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 ContentType="image/tif"/>
  <Default Extension="tiff" ContentType="image/tiff"/>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4.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5.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6.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7.xml" ContentType="application/vnd.openxmlformats-officedocument.theme+xml"/>
  <Override PartName="/ppt/slideLayouts/slideLayout50.xml" ContentType="application/vnd.openxmlformats-officedocument.presentationml.slideLayout+xml"/>
  <Override PartName="/ppt/theme/theme8.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9.xml" ContentType="application/vnd.openxmlformats-officedocument.theme+xml"/>
  <Override PartName="/ppt/slideLayouts/slideLayout53.xml" ContentType="application/vnd.openxmlformats-officedocument.presentationml.slideLayout+xml"/>
  <Override PartName="/ppt/theme/theme10.xml" ContentType="application/vnd.openxmlformats-officedocument.theme+xml"/>
  <Override PartName="/ppt/slideLayouts/slideLayout54.xml" ContentType="application/vnd.openxmlformats-officedocument.presentationml.slideLayout+xml"/>
  <Override PartName="/ppt/theme/theme11.xml" ContentType="application/vnd.openxmlformats-officedocument.theme+xml"/>
  <Override PartName="/ppt/slideLayouts/slideLayout55.xml" ContentType="application/vnd.openxmlformats-officedocument.presentationml.slideLayout+xml"/>
  <Override PartName="/ppt/theme/theme12.xml" ContentType="application/vnd.openxmlformats-officedocument.theme+xml"/>
  <Override PartName="/ppt/slideLayouts/slideLayout56.xml" ContentType="application/vnd.openxmlformats-officedocument.presentationml.slideLayout+xml"/>
  <Override PartName="/ppt/theme/theme13.xml" ContentType="application/vnd.openxmlformats-officedocument.theme+xml"/>
  <Override PartName="/ppt/slideLayouts/slideLayout57.xml" ContentType="application/vnd.openxmlformats-officedocument.presentationml.slideLayout+xml"/>
  <Override PartName="/ppt/theme/theme14.xml" ContentType="application/vnd.openxmlformats-officedocument.theme+xml"/>
  <Override PartName="/ppt/slideLayouts/slideLayout58.xml" ContentType="application/vnd.openxmlformats-officedocument.presentationml.slideLayout+xml"/>
  <Override PartName="/ppt/theme/theme15.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16.xml" ContentType="application/vnd.openxmlformats-officedocument.theme+xml"/>
  <Override PartName="/ppt/slideLayouts/slideLayout61.xml" ContentType="application/vnd.openxmlformats-officedocument.presentationml.slideLayout+xml"/>
  <Override PartName="/ppt/theme/theme17.xml" ContentType="application/vnd.openxmlformats-officedocument.theme+xml"/>
  <Override PartName="/ppt/slideLayouts/slideLayout62.xml" ContentType="application/vnd.openxmlformats-officedocument.presentationml.slideLayout+xml"/>
  <Override PartName="/ppt/theme/theme18.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19.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20.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21.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22.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23.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2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25.xml" ContentType="application/vnd.openxmlformats-officedocument.theme+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26.xml" ContentType="application/vnd.openxmlformats-officedocument.theme+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27.xml" ContentType="application/vnd.openxmlformats-officedocument.theme+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28.xml" ContentType="application/vnd.openxmlformats-officedocument.theme+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theme/theme29.xml" ContentType="application/vnd.openxmlformats-officedocument.theme+xml"/>
  <Override PartName="/ppt/slideLayouts/slideLayout236.xml" ContentType="application/vnd.openxmlformats-officedocument.presentationml.slideLayout+xml"/>
  <Override PartName="/ppt/theme/theme30.xml" ContentType="application/vnd.openxmlformats-officedocument.theme+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theme/theme31.xml" ContentType="application/vnd.openxmlformats-officedocument.theme+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theme/theme32.xml" ContentType="application/vnd.openxmlformats-officedocument.theme+xml"/>
  <Override PartName="/ppt/theme/theme33.xml" ContentType="application/vnd.openxmlformats-officedocument.theme+xml"/>
  <Override PartName="/ppt/theme/theme3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omments/comment1.xml" ContentType="application/vnd.openxmlformats-officedocument.presentationml.comment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9.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0.xml" ContentType="application/vnd.openxmlformats-officedocument.presentationml.tags+xml"/>
  <Override PartName="/ppt/notesSlides/notesSlide25.xml" ContentType="application/vnd.openxmlformats-officedocument.presentationml.notesSlide+xml"/>
  <Override PartName="/ppt/tags/tag11.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12.xml" ContentType="application/vnd.openxmlformats-officedocument.presentationml.tags+xml"/>
  <Override PartName="/ppt/notesSlides/notesSlide29.xml" ContentType="application/vnd.openxmlformats-officedocument.presentationml.notesSlide+xml"/>
  <Override PartName="/ppt/tags/tag13.xml" ContentType="application/vnd.openxmlformats-officedocument.presentationml.tags+xml"/>
  <Override PartName="/ppt/notesSlides/notesSlide30.xml" ContentType="application/vnd.openxmlformats-officedocument.presentationml.notesSlide+xml"/>
  <Override PartName="/ppt/tags/tag14.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5.xml" ContentType="application/vnd.openxmlformats-officedocument.presentationml.tags+xml"/>
  <Override PartName="/ppt/notesSlides/notesSlide33.xml" ContentType="application/vnd.openxmlformats-officedocument.presentationml.notesSlide+xml"/>
  <Override PartName="/ppt/tags/tag16.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17.xml" ContentType="application/vnd.openxmlformats-officedocument.presentationml.tags+xml"/>
  <Override PartName="/ppt/notesSlides/notesSlide36.xml" ContentType="application/vnd.openxmlformats-officedocument.presentationml.notesSlide+xml"/>
  <Override PartName="/ppt/tags/tag18.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tags/tag19.xml" ContentType="application/vnd.openxmlformats-officedocument.presentationml.tags+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20"/>
    <p:sldMasterId id="2147483741" r:id="rId21"/>
    <p:sldMasterId id="2147483743" r:id="rId22"/>
    <p:sldMasterId id="2147483761" r:id="rId23"/>
    <p:sldMasterId id="2147483837" r:id="rId24"/>
    <p:sldMasterId id="2147484006" r:id="rId25"/>
    <p:sldMasterId id="2147484009" r:id="rId26"/>
    <p:sldMasterId id="2147484011" r:id="rId27"/>
    <p:sldMasterId id="2147484014" r:id="rId28"/>
    <p:sldMasterId id="2147484016" r:id="rId29"/>
    <p:sldMasterId id="2147484025" r:id="rId30"/>
    <p:sldMasterId id="2147484034" r:id="rId31"/>
    <p:sldMasterId id="2147484036" r:id="rId32"/>
    <p:sldMasterId id="2147484038" r:id="rId33"/>
    <p:sldMasterId id="2147484043" r:id="rId34"/>
    <p:sldMasterId id="2147484058" r:id="rId35"/>
    <p:sldMasterId id="2147484060" r:id="rId36"/>
    <p:sldMasterId id="2147484063" r:id="rId37"/>
    <p:sldMasterId id="2147484066" r:id="rId38"/>
    <p:sldMasterId id="2147484086" r:id="rId39"/>
    <p:sldMasterId id="2147484153" r:id="rId40"/>
    <p:sldMasterId id="2147484244" r:id="rId41"/>
    <p:sldMasterId id="2147484259" r:id="rId42"/>
    <p:sldMasterId id="2147484281" r:id="rId43"/>
    <p:sldMasterId id="2147484304" r:id="rId44"/>
    <p:sldMasterId id="2147484320" r:id="rId45"/>
    <p:sldMasterId id="2147484352" r:id="rId46"/>
    <p:sldMasterId id="2147484365" r:id="rId47"/>
    <p:sldMasterId id="2147484394" r:id="rId48"/>
    <p:sldMasterId id="2147484398" r:id="rId49"/>
    <p:sldMasterId id="2147484400" r:id="rId50"/>
    <p:sldMasterId id="2147484453" r:id="rId51"/>
  </p:sldMasterIdLst>
  <p:notesMasterIdLst>
    <p:notesMasterId r:id="rId208"/>
  </p:notesMasterIdLst>
  <p:handoutMasterIdLst>
    <p:handoutMasterId r:id="rId209"/>
  </p:handoutMasterIdLst>
  <p:sldIdLst>
    <p:sldId id="695" r:id="rId52"/>
    <p:sldId id="808" r:id="rId53"/>
    <p:sldId id="1023" r:id="rId54"/>
    <p:sldId id="1036" r:id="rId55"/>
    <p:sldId id="1037" r:id="rId56"/>
    <p:sldId id="1045" r:id="rId57"/>
    <p:sldId id="1056" r:id="rId58"/>
    <p:sldId id="1050" r:id="rId59"/>
    <p:sldId id="837" r:id="rId60"/>
    <p:sldId id="266" r:id="rId61"/>
    <p:sldId id="936" r:id="rId62"/>
    <p:sldId id="938" r:id="rId63"/>
    <p:sldId id="1057" r:id="rId64"/>
    <p:sldId id="948" r:id="rId65"/>
    <p:sldId id="1047" r:id="rId66"/>
    <p:sldId id="1048" r:id="rId67"/>
    <p:sldId id="848" r:id="rId68"/>
    <p:sldId id="849" r:id="rId69"/>
    <p:sldId id="851" r:id="rId70"/>
    <p:sldId id="852" r:id="rId71"/>
    <p:sldId id="261" r:id="rId72"/>
    <p:sldId id="1870" r:id="rId73"/>
    <p:sldId id="850" r:id="rId74"/>
    <p:sldId id="853" r:id="rId75"/>
    <p:sldId id="714" r:id="rId76"/>
    <p:sldId id="525" r:id="rId77"/>
    <p:sldId id="606" r:id="rId78"/>
    <p:sldId id="607" r:id="rId79"/>
    <p:sldId id="978" r:id="rId80"/>
    <p:sldId id="715" r:id="rId81"/>
    <p:sldId id="1049" r:id="rId82"/>
    <p:sldId id="608" r:id="rId83"/>
    <p:sldId id="609" r:id="rId84"/>
    <p:sldId id="961" r:id="rId85"/>
    <p:sldId id="962" r:id="rId86"/>
    <p:sldId id="963" r:id="rId87"/>
    <p:sldId id="964" r:id="rId88"/>
    <p:sldId id="965" r:id="rId89"/>
    <p:sldId id="966" r:id="rId90"/>
    <p:sldId id="856" r:id="rId91"/>
    <p:sldId id="857" r:id="rId92"/>
    <p:sldId id="858" r:id="rId93"/>
    <p:sldId id="859" r:id="rId94"/>
    <p:sldId id="867" r:id="rId95"/>
    <p:sldId id="868" r:id="rId96"/>
    <p:sldId id="904" r:id="rId97"/>
    <p:sldId id="869" r:id="rId98"/>
    <p:sldId id="899" r:id="rId99"/>
    <p:sldId id="905" r:id="rId100"/>
    <p:sldId id="972" r:id="rId101"/>
    <p:sldId id="1934" r:id="rId102"/>
    <p:sldId id="1935" r:id="rId103"/>
    <p:sldId id="870" r:id="rId104"/>
    <p:sldId id="871" r:id="rId105"/>
    <p:sldId id="872" r:id="rId106"/>
    <p:sldId id="873" r:id="rId107"/>
    <p:sldId id="874" r:id="rId108"/>
    <p:sldId id="875" r:id="rId109"/>
    <p:sldId id="876" r:id="rId110"/>
    <p:sldId id="877" r:id="rId111"/>
    <p:sldId id="878" r:id="rId112"/>
    <p:sldId id="906" r:id="rId113"/>
    <p:sldId id="922" r:id="rId114"/>
    <p:sldId id="880" r:id="rId115"/>
    <p:sldId id="882" r:id="rId116"/>
    <p:sldId id="450" r:id="rId117"/>
    <p:sldId id="493" r:id="rId118"/>
    <p:sldId id="494" r:id="rId119"/>
    <p:sldId id="495" r:id="rId120"/>
    <p:sldId id="496" r:id="rId121"/>
    <p:sldId id="497" r:id="rId122"/>
    <p:sldId id="498" r:id="rId123"/>
    <p:sldId id="458" r:id="rId124"/>
    <p:sldId id="459" r:id="rId125"/>
    <p:sldId id="460" r:id="rId126"/>
    <p:sldId id="461" r:id="rId127"/>
    <p:sldId id="462" r:id="rId128"/>
    <p:sldId id="457" r:id="rId129"/>
    <p:sldId id="480" r:id="rId130"/>
    <p:sldId id="481" r:id="rId131"/>
    <p:sldId id="482" r:id="rId132"/>
    <p:sldId id="483" r:id="rId133"/>
    <p:sldId id="484" r:id="rId134"/>
    <p:sldId id="485" r:id="rId135"/>
    <p:sldId id="486" r:id="rId136"/>
    <p:sldId id="487" r:id="rId137"/>
    <p:sldId id="488" r:id="rId138"/>
    <p:sldId id="1931" r:id="rId139"/>
    <p:sldId id="490" r:id="rId140"/>
    <p:sldId id="491" r:id="rId141"/>
    <p:sldId id="1861" r:id="rId142"/>
    <p:sldId id="1886" r:id="rId143"/>
    <p:sldId id="1884" r:id="rId144"/>
    <p:sldId id="1882" r:id="rId145"/>
    <p:sldId id="1883" r:id="rId146"/>
    <p:sldId id="1885" r:id="rId147"/>
    <p:sldId id="1887" r:id="rId148"/>
    <p:sldId id="1903" r:id="rId149"/>
    <p:sldId id="1901" r:id="rId150"/>
    <p:sldId id="1905" r:id="rId151"/>
    <p:sldId id="1907" r:id="rId152"/>
    <p:sldId id="1908" r:id="rId153"/>
    <p:sldId id="1909" r:id="rId154"/>
    <p:sldId id="1906" r:id="rId155"/>
    <p:sldId id="1910" r:id="rId156"/>
    <p:sldId id="1911" r:id="rId157"/>
    <p:sldId id="1921" r:id="rId158"/>
    <p:sldId id="1837" r:id="rId159"/>
    <p:sldId id="1897" r:id="rId160"/>
    <p:sldId id="1881" r:id="rId161"/>
    <p:sldId id="1826" r:id="rId162"/>
    <p:sldId id="1888" r:id="rId163"/>
    <p:sldId id="1892" r:id="rId164"/>
    <p:sldId id="1890" r:id="rId165"/>
    <p:sldId id="1893" r:id="rId166"/>
    <p:sldId id="1894" r:id="rId167"/>
    <p:sldId id="1895" r:id="rId168"/>
    <p:sldId id="1889" r:id="rId169"/>
    <p:sldId id="1891" r:id="rId170"/>
    <p:sldId id="1902" r:id="rId171"/>
    <p:sldId id="1912" r:id="rId172"/>
    <p:sldId id="1904" r:id="rId173"/>
    <p:sldId id="1913" r:id="rId174"/>
    <p:sldId id="1900" r:id="rId175"/>
    <p:sldId id="1899" r:id="rId176"/>
    <p:sldId id="1896" r:id="rId177"/>
    <p:sldId id="1914" r:id="rId178"/>
    <p:sldId id="1932" r:id="rId179"/>
    <p:sldId id="1915" r:id="rId180"/>
    <p:sldId id="1933" r:id="rId181"/>
    <p:sldId id="1920" r:id="rId182"/>
    <p:sldId id="958" r:id="rId183"/>
    <p:sldId id="765" r:id="rId184"/>
    <p:sldId id="992" r:id="rId185"/>
    <p:sldId id="998" r:id="rId186"/>
    <p:sldId id="1017" r:id="rId187"/>
    <p:sldId id="539" r:id="rId188"/>
    <p:sldId id="262" r:id="rId189"/>
    <p:sldId id="489" r:id="rId190"/>
    <p:sldId id="580" r:id="rId191"/>
    <p:sldId id="541" r:id="rId192"/>
    <p:sldId id="542" r:id="rId193"/>
    <p:sldId id="263" r:id="rId194"/>
    <p:sldId id="1872" r:id="rId195"/>
    <p:sldId id="1874" r:id="rId196"/>
    <p:sldId id="259" r:id="rId197"/>
    <p:sldId id="258" r:id="rId198"/>
    <p:sldId id="1928" r:id="rId199"/>
    <p:sldId id="264" r:id="rId200"/>
    <p:sldId id="1927" r:id="rId201"/>
    <p:sldId id="1929" r:id="rId202"/>
    <p:sldId id="1917" r:id="rId203"/>
    <p:sldId id="1918" r:id="rId204"/>
    <p:sldId id="1919" r:id="rId205"/>
    <p:sldId id="1926" r:id="rId206"/>
    <p:sldId id="410" r:id="rId207"/>
  </p:sldIdLst>
  <p:sldSz cx="12192000" cy="73152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7DE57D0-C6DD-485D-AD05-A20C3F8D2862}">
          <p14:sldIdLst>
            <p14:sldId id="695"/>
            <p14:sldId id="808"/>
            <p14:sldId id="1023"/>
            <p14:sldId id="1036"/>
            <p14:sldId id="1037"/>
            <p14:sldId id="1045"/>
            <p14:sldId id="1056"/>
            <p14:sldId id="1050"/>
            <p14:sldId id="837"/>
            <p14:sldId id="266"/>
            <p14:sldId id="936"/>
            <p14:sldId id="938"/>
            <p14:sldId id="1057"/>
            <p14:sldId id="948"/>
            <p14:sldId id="1047"/>
            <p14:sldId id="1048"/>
            <p14:sldId id="848"/>
            <p14:sldId id="849"/>
            <p14:sldId id="851"/>
            <p14:sldId id="852"/>
            <p14:sldId id="261"/>
            <p14:sldId id="1870"/>
            <p14:sldId id="850"/>
            <p14:sldId id="853"/>
            <p14:sldId id="714"/>
            <p14:sldId id="525"/>
            <p14:sldId id="606"/>
            <p14:sldId id="607"/>
            <p14:sldId id="978"/>
            <p14:sldId id="715"/>
            <p14:sldId id="1049"/>
            <p14:sldId id="608"/>
            <p14:sldId id="609"/>
            <p14:sldId id="961"/>
            <p14:sldId id="962"/>
            <p14:sldId id="963"/>
            <p14:sldId id="964"/>
            <p14:sldId id="965"/>
            <p14:sldId id="966"/>
            <p14:sldId id="856"/>
            <p14:sldId id="857"/>
            <p14:sldId id="858"/>
            <p14:sldId id="859"/>
            <p14:sldId id="867"/>
            <p14:sldId id="868"/>
            <p14:sldId id="904"/>
            <p14:sldId id="869"/>
            <p14:sldId id="899"/>
            <p14:sldId id="905"/>
            <p14:sldId id="972"/>
            <p14:sldId id="1934"/>
            <p14:sldId id="1935"/>
            <p14:sldId id="870"/>
            <p14:sldId id="871"/>
            <p14:sldId id="872"/>
            <p14:sldId id="873"/>
            <p14:sldId id="874"/>
            <p14:sldId id="875"/>
            <p14:sldId id="876"/>
            <p14:sldId id="877"/>
            <p14:sldId id="878"/>
            <p14:sldId id="906"/>
            <p14:sldId id="922"/>
            <p14:sldId id="880"/>
            <p14:sldId id="882"/>
            <p14:sldId id="450"/>
            <p14:sldId id="493"/>
            <p14:sldId id="494"/>
            <p14:sldId id="495"/>
            <p14:sldId id="496"/>
            <p14:sldId id="497"/>
            <p14:sldId id="498"/>
            <p14:sldId id="458"/>
            <p14:sldId id="459"/>
            <p14:sldId id="460"/>
            <p14:sldId id="461"/>
            <p14:sldId id="462"/>
            <p14:sldId id="457"/>
            <p14:sldId id="480"/>
            <p14:sldId id="481"/>
            <p14:sldId id="482"/>
            <p14:sldId id="483"/>
            <p14:sldId id="484"/>
            <p14:sldId id="485"/>
            <p14:sldId id="486"/>
            <p14:sldId id="487"/>
            <p14:sldId id="488"/>
            <p14:sldId id="1931"/>
            <p14:sldId id="490"/>
            <p14:sldId id="491"/>
            <p14:sldId id="1861"/>
            <p14:sldId id="1886"/>
            <p14:sldId id="1884"/>
            <p14:sldId id="1882"/>
            <p14:sldId id="1883"/>
            <p14:sldId id="1885"/>
            <p14:sldId id="1887"/>
            <p14:sldId id="1903"/>
            <p14:sldId id="1901"/>
            <p14:sldId id="1905"/>
            <p14:sldId id="1907"/>
            <p14:sldId id="1908"/>
            <p14:sldId id="1909"/>
            <p14:sldId id="1906"/>
            <p14:sldId id="1910"/>
            <p14:sldId id="1911"/>
            <p14:sldId id="1921"/>
            <p14:sldId id="1837"/>
            <p14:sldId id="1897"/>
            <p14:sldId id="1881"/>
            <p14:sldId id="1826"/>
            <p14:sldId id="1888"/>
            <p14:sldId id="1892"/>
            <p14:sldId id="1890"/>
            <p14:sldId id="1893"/>
            <p14:sldId id="1894"/>
            <p14:sldId id="1895"/>
            <p14:sldId id="1889"/>
            <p14:sldId id="1891"/>
            <p14:sldId id="1902"/>
            <p14:sldId id="1912"/>
            <p14:sldId id="1904"/>
            <p14:sldId id="1913"/>
            <p14:sldId id="1900"/>
            <p14:sldId id="1899"/>
            <p14:sldId id="1896"/>
            <p14:sldId id="1914"/>
            <p14:sldId id="1932"/>
            <p14:sldId id="1915"/>
            <p14:sldId id="1933"/>
            <p14:sldId id="1920"/>
            <p14:sldId id="958"/>
            <p14:sldId id="765"/>
            <p14:sldId id="992"/>
            <p14:sldId id="998"/>
            <p14:sldId id="1017"/>
            <p14:sldId id="539"/>
            <p14:sldId id="262"/>
            <p14:sldId id="489"/>
            <p14:sldId id="580"/>
            <p14:sldId id="541"/>
            <p14:sldId id="542"/>
            <p14:sldId id="263"/>
            <p14:sldId id="1872"/>
            <p14:sldId id="1874"/>
            <p14:sldId id="259"/>
            <p14:sldId id="258"/>
            <p14:sldId id="1928"/>
            <p14:sldId id="264"/>
            <p14:sldId id="1927"/>
            <p14:sldId id="1929"/>
            <p14:sldId id="1917"/>
            <p14:sldId id="1918"/>
            <p14:sldId id="1919"/>
            <p14:sldId id="1926"/>
            <p14:sldId id="410"/>
          </p14:sldIdLst>
        </p14:section>
        <p14:section name="Extra" id="{41BF475A-30E3-4D44-8A4B-D6072C6A2E12}">
          <p14:sldIdLst/>
        </p14:section>
        <p14:section name="Extra" id="{32D1A570-454F-4CFE-A85D-BD652F37277D}">
          <p14:sldIdLst/>
        </p14:section>
      </p14:sectionLst>
    </p:ext>
    <p:ext uri="{EFAFB233-063F-42B5-8137-9DF3F51BA10A}">
      <p15:sldGuideLst xmlns:p15="http://schemas.microsoft.com/office/powerpoint/2012/main">
        <p15:guide id="1" orient="horz" pos="2304">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rica Lien" initials="" lastIdx="3" clrIdx="0"/>
  <p:cmAuthor id="2" name="Microsoft Office User" initials="Office" lastIdx="1" clrIdx="1"/>
  <p:cmAuthor id="3" name="Mark Russinovich" initials="MR" lastIdx="1" clrIdx="2">
    <p:extLst>
      <p:ext uri="{19B8F6BF-5375-455C-9EA6-DF929625EA0E}">
        <p15:presenceInfo xmlns:p15="http://schemas.microsoft.com/office/powerpoint/2012/main" userId="Mark Russinovich" providerId="None"/>
      </p:ext>
    </p:extLst>
  </p:cmAuthor>
  <p:cmAuthor id="4" name="Haishi Bai" initials="HB" lastIdx="3" clrIdx="3">
    <p:extLst>
      <p:ext uri="{19B8F6BF-5375-455C-9EA6-DF929625EA0E}">
        <p15:presenceInfo xmlns:p15="http://schemas.microsoft.com/office/powerpoint/2012/main" userId="S-1-5-21-2127521184-1604012920-1887927527-880968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9900"/>
    <a:srgbClr val="00A1E3"/>
    <a:srgbClr val="002050"/>
    <a:srgbClr val="00337E"/>
    <a:srgbClr val="008BD7"/>
    <a:srgbClr val="A5A5C3"/>
    <a:srgbClr val="666699"/>
    <a:srgbClr val="0078C9"/>
    <a:srgbClr val="008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20775" autoAdjust="0"/>
    <p:restoredTop sz="86102" autoAdjust="0"/>
  </p:normalViewPr>
  <p:slideViewPr>
    <p:cSldViewPr snapToGrid="0">
      <p:cViewPr varScale="1">
        <p:scale>
          <a:sx n="83" d="100"/>
          <a:sy n="83" d="100"/>
        </p:scale>
        <p:origin x="327" y="39"/>
      </p:cViewPr>
      <p:guideLst>
        <p:guide orient="horz" pos="2304"/>
        <p:guide pos="3840"/>
      </p:guideLst>
    </p:cSldViewPr>
  </p:slideViewPr>
  <p:outlineViewPr>
    <p:cViewPr>
      <p:scale>
        <a:sx n="33" d="100"/>
        <a:sy n="33" d="100"/>
      </p:scale>
      <p:origin x="0" y="-11421"/>
    </p:cViewPr>
  </p:outlin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76" d="100"/>
          <a:sy n="76" d="100"/>
        </p:scale>
        <p:origin x="2781" y="72"/>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66.xml"/><Relationship Id="rId21" Type="http://schemas.openxmlformats.org/officeDocument/2006/relationships/slideMaster" Target="slideMasters/slideMaster2.xml"/><Relationship Id="rId42" Type="http://schemas.openxmlformats.org/officeDocument/2006/relationships/slideMaster" Target="slideMasters/slideMaster23.xml"/><Relationship Id="rId63" Type="http://schemas.openxmlformats.org/officeDocument/2006/relationships/slide" Target="slides/slide12.xml"/><Relationship Id="rId84" Type="http://schemas.openxmlformats.org/officeDocument/2006/relationships/slide" Target="slides/slide33.xml"/><Relationship Id="rId138" Type="http://schemas.openxmlformats.org/officeDocument/2006/relationships/slide" Target="slides/slide87.xml"/><Relationship Id="rId159" Type="http://schemas.openxmlformats.org/officeDocument/2006/relationships/slide" Target="slides/slide108.xml"/><Relationship Id="rId170" Type="http://schemas.openxmlformats.org/officeDocument/2006/relationships/slide" Target="slides/slide119.xml"/><Relationship Id="rId191" Type="http://schemas.openxmlformats.org/officeDocument/2006/relationships/slide" Target="slides/slide140.xml"/><Relationship Id="rId205" Type="http://schemas.openxmlformats.org/officeDocument/2006/relationships/slide" Target="slides/slide154.xml"/><Relationship Id="rId107" Type="http://schemas.openxmlformats.org/officeDocument/2006/relationships/slide" Target="slides/slide56.xml"/><Relationship Id="rId11" Type="http://schemas.openxmlformats.org/officeDocument/2006/relationships/customXml" Target="../customXml/item11.xml"/><Relationship Id="rId32" Type="http://schemas.openxmlformats.org/officeDocument/2006/relationships/slideMaster" Target="slideMasters/slideMaster13.xml"/><Relationship Id="rId53" Type="http://schemas.openxmlformats.org/officeDocument/2006/relationships/slide" Target="slides/slide2.xml"/><Relationship Id="rId74" Type="http://schemas.openxmlformats.org/officeDocument/2006/relationships/slide" Target="slides/slide23.xml"/><Relationship Id="rId128" Type="http://schemas.openxmlformats.org/officeDocument/2006/relationships/slide" Target="slides/slide77.xml"/><Relationship Id="rId149" Type="http://schemas.openxmlformats.org/officeDocument/2006/relationships/slide" Target="slides/slide98.xml"/><Relationship Id="rId5" Type="http://schemas.openxmlformats.org/officeDocument/2006/relationships/customXml" Target="../customXml/item5.xml"/><Relationship Id="rId95" Type="http://schemas.openxmlformats.org/officeDocument/2006/relationships/slide" Target="slides/slide44.xml"/><Relationship Id="rId160" Type="http://schemas.openxmlformats.org/officeDocument/2006/relationships/slide" Target="slides/slide109.xml"/><Relationship Id="rId181" Type="http://schemas.openxmlformats.org/officeDocument/2006/relationships/slide" Target="slides/slide130.xml"/><Relationship Id="rId22" Type="http://schemas.openxmlformats.org/officeDocument/2006/relationships/slideMaster" Target="slideMasters/slideMaster3.xml"/><Relationship Id="rId43" Type="http://schemas.openxmlformats.org/officeDocument/2006/relationships/slideMaster" Target="slideMasters/slideMaster24.xml"/><Relationship Id="rId64" Type="http://schemas.openxmlformats.org/officeDocument/2006/relationships/slide" Target="slides/slide13.xml"/><Relationship Id="rId118" Type="http://schemas.openxmlformats.org/officeDocument/2006/relationships/slide" Target="slides/slide67.xml"/><Relationship Id="rId139" Type="http://schemas.openxmlformats.org/officeDocument/2006/relationships/slide" Target="slides/slide88.xml"/><Relationship Id="rId85" Type="http://schemas.openxmlformats.org/officeDocument/2006/relationships/slide" Target="slides/slide34.xml"/><Relationship Id="rId150" Type="http://schemas.openxmlformats.org/officeDocument/2006/relationships/slide" Target="slides/slide99.xml"/><Relationship Id="rId171" Type="http://schemas.openxmlformats.org/officeDocument/2006/relationships/slide" Target="slides/slide120.xml"/><Relationship Id="rId192" Type="http://schemas.openxmlformats.org/officeDocument/2006/relationships/slide" Target="slides/slide141.xml"/><Relationship Id="rId206" Type="http://schemas.openxmlformats.org/officeDocument/2006/relationships/slide" Target="slides/slide155.xml"/><Relationship Id="rId12" Type="http://schemas.openxmlformats.org/officeDocument/2006/relationships/customXml" Target="../customXml/item12.xml"/><Relationship Id="rId33" Type="http://schemas.openxmlformats.org/officeDocument/2006/relationships/slideMaster" Target="slideMasters/slideMaster14.xml"/><Relationship Id="rId108" Type="http://schemas.openxmlformats.org/officeDocument/2006/relationships/slide" Target="slides/slide57.xml"/><Relationship Id="rId129" Type="http://schemas.openxmlformats.org/officeDocument/2006/relationships/slide" Target="slides/slide78.xml"/><Relationship Id="rId54" Type="http://schemas.openxmlformats.org/officeDocument/2006/relationships/slide" Target="slides/slide3.xml"/><Relationship Id="rId75" Type="http://schemas.openxmlformats.org/officeDocument/2006/relationships/slide" Target="slides/slide24.xml"/><Relationship Id="rId96" Type="http://schemas.openxmlformats.org/officeDocument/2006/relationships/slide" Target="slides/slide45.xml"/><Relationship Id="rId140" Type="http://schemas.openxmlformats.org/officeDocument/2006/relationships/slide" Target="slides/slide89.xml"/><Relationship Id="rId161" Type="http://schemas.openxmlformats.org/officeDocument/2006/relationships/slide" Target="slides/slide110.xml"/><Relationship Id="rId182" Type="http://schemas.openxmlformats.org/officeDocument/2006/relationships/slide" Target="slides/slide131.xml"/><Relationship Id="rId6" Type="http://schemas.openxmlformats.org/officeDocument/2006/relationships/customXml" Target="../customXml/item6.xml"/><Relationship Id="rId23" Type="http://schemas.openxmlformats.org/officeDocument/2006/relationships/slideMaster" Target="slideMasters/slideMaster4.xml"/><Relationship Id="rId119" Type="http://schemas.openxmlformats.org/officeDocument/2006/relationships/slide" Target="slides/slide68.xml"/><Relationship Id="rId44" Type="http://schemas.openxmlformats.org/officeDocument/2006/relationships/slideMaster" Target="slideMasters/slideMaster25.xml"/><Relationship Id="rId65" Type="http://schemas.openxmlformats.org/officeDocument/2006/relationships/slide" Target="slides/slide14.xml"/><Relationship Id="rId86" Type="http://schemas.openxmlformats.org/officeDocument/2006/relationships/slide" Target="slides/slide35.xml"/><Relationship Id="rId130" Type="http://schemas.openxmlformats.org/officeDocument/2006/relationships/slide" Target="slides/slide79.xml"/><Relationship Id="rId151" Type="http://schemas.openxmlformats.org/officeDocument/2006/relationships/slide" Target="slides/slide100.xml"/><Relationship Id="rId172" Type="http://schemas.openxmlformats.org/officeDocument/2006/relationships/slide" Target="slides/slide121.xml"/><Relationship Id="rId193" Type="http://schemas.openxmlformats.org/officeDocument/2006/relationships/slide" Target="slides/slide142.xml"/><Relationship Id="rId207" Type="http://schemas.openxmlformats.org/officeDocument/2006/relationships/slide" Target="slides/slide156.xml"/><Relationship Id="rId13" Type="http://schemas.openxmlformats.org/officeDocument/2006/relationships/customXml" Target="../customXml/item13.xml"/><Relationship Id="rId109" Type="http://schemas.openxmlformats.org/officeDocument/2006/relationships/slide" Target="slides/slide58.xml"/><Relationship Id="rId34" Type="http://schemas.openxmlformats.org/officeDocument/2006/relationships/slideMaster" Target="slideMasters/slideMaster15.xml"/><Relationship Id="rId55" Type="http://schemas.openxmlformats.org/officeDocument/2006/relationships/slide" Target="slides/slide4.xml"/><Relationship Id="rId76" Type="http://schemas.openxmlformats.org/officeDocument/2006/relationships/slide" Target="slides/slide25.xml"/><Relationship Id="rId97" Type="http://schemas.openxmlformats.org/officeDocument/2006/relationships/slide" Target="slides/slide46.xml"/><Relationship Id="rId120" Type="http://schemas.openxmlformats.org/officeDocument/2006/relationships/slide" Target="slides/slide69.xml"/><Relationship Id="rId141" Type="http://schemas.openxmlformats.org/officeDocument/2006/relationships/slide" Target="slides/slide90.xml"/><Relationship Id="rId7" Type="http://schemas.openxmlformats.org/officeDocument/2006/relationships/customXml" Target="../customXml/item7.xml"/><Relationship Id="rId162" Type="http://schemas.openxmlformats.org/officeDocument/2006/relationships/slide" Target="slides/slide111.xml"/><Relationship Id="rId183" Type="http://schemas.openxmlformats.org/officeDocument/2006/relationships/slide" Target="slides/slide132.xml"/><Relationship Id="rId24" Type="http://schemas.openxmlformats.org/officeDocument/2006/relationships/slideMaster" Target="slideMasters/slideMaster5.xml"/><Relationship Id="rId45" Type="http://schemas.openxmlformats.org/officeDocument/2006/relationships/slideMaster" Target="slideMasters/slideMaster26.xml"/><Relationship Id="rId66" Type="http://schemas.openxmlformats.org/officeDocument/2006/relationships/slide" Target="slides/slide15.xml"/><Relationship Id="rId87" Type="http://schemas.openxmlformats.org/officeDocument/2006/relationships/slide" Target="slides/slide36.xml"/><Relationship Id="rId110" Type="http://schemas.openxmlformats.org/officeDocument/2006/relationships/slide" Target="slides/slide59.xml"/><Relationship Id="rId131" Type="http://schemas.openxmlformats.org/officeDocument/2006/relationships/slide" Target="slides/slide80.xml"/><Relationship Id="rId152" Type="http://schemas.openxmlformats.org/officeDocument/2006/relationships/slide" Target="slides/slide101.xml"/><Relationship Id="rId173" Type="http://schemas.openxmlformats.org/officeDocument/2006/relationships/slide" Target="slides/slide122.xml"/><Relationship Id="rId194" Type="http://schemas.openxmlformats.org/officeDocument/2006/relationships/slide" Target="slides/slide143.xml"/><Relationship Id="rId208" Type="http://schemas.openxmlformats.org/officeDocument/2006/relationships/notesMaster" Target="notesMasters/notesMaster1.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slideMaster" Target="slideMasters/slideMaster11.xml"/><Relationship Id="rId35" Type="http://schemas.openxmlformats.org/officeDocument/2006/relationships/slideMaster" Target="slideMasters/slideMaster16.xml"/><Relationship Id="rId56" Type="http://schemas.openxmlformats.org/officeDocument/2006/relationships/slide" Target="slides/slide5.xml"/><Relationship Id="rId77" Type="http://schemas.openxmlformats.org/officeDocument/2006/relationships/slide" Target="slides/slide26.xml"/><Relationship Id="rId100" Type="http://schemas.openxmlformats.org/officeDocument/2006/relationships/slide" Target="slides/slide49.xml"/><Relationship Id="rId105" Type="http://schemas.openxmlformats.org/officeDocument/2006/relationships/slide" Target="slides/slide54.xml"/><Relationship Id="rId126" Type="http://schemas.openxmlformats.org/officeDocument/2006/relationships/slide" Target="slides/slide75.xml"/><Relationship Id="rId147" Type="http://schemas.openxmlformats.org/officeDocument/2006/relationships/slide" Target="slides/slide96.xml"/><Relationship Id="rId168" Type="http://schemas.openxmlformats.org/officeDocument/2006/relationships/slide" Target="slides/slide117.xml"/><Relationship Id="rId8" Type="http://schemas.openxmlformats.org/officeDocument/2006/relationships/customXml" Target="../customXml/item8.xml"/><Relationship Id="rId51" Type="http://schemas.openxmlformats.org/officeDocument/2006/relationships/slideMaster" Target="slideMasters/slideMaster32.xml"/><Relationship Id="rId72" Type="http://schemas.openxmlformats.org/officeDocument/2006/relationships/slide" Target="slides/slide21.xml"/><Relationship Id="rId93" Type="http://schemas.openxmlformats.org/officeDocument/2006/relationships/slide" Target="slides/slide42.xml"/><Relationship Id="rId98" Type="http://schemas.openxmlformats.org/officeDocument/2006/relationships/slide" Target="slides/slide47.xml"/><Relationship Id="rId121" Type="http://schemas.openxmlformats.org/officeDocument/2006/relationships/slide" Target="slides/slide70.xml"/><Relationship Id="rId142" Type="http://schemas.openxmlformats.org/officeDocument/2006/relationships/slide" Target="slides/slide91.xml"/><Relationship Id="rId163" Type="http://schemas.openxmlformats.org/officeDocument/2006/relationships/slide" Target="slides/slide112.xml"/><Relationship Id="rId184" Type="http://schemas.openxmlformats.org/officeDocument/2006/relationships/slide" Target="slides/slide133.xml"/><Relationship Id="rId189" Type="http://schemas.openxmlformats.org/officeDocument/2006/relationships/slide" Target="slides/slide138.xml"/><Relationship Id="rId3" Type="http://schemas.openxmlformats.org/officeDocument/2006/relationships/customXml" Target="../customXml/item3.xml"/><Relationship Id="rId214" Type="http://schemas.openxmlformats.org/officeDocument/2006/relationships/tableStyles" Target="tableStyles.xml"/><Relationship Id="rId25" Type="http://schemas.openxmlformats.org/officeDocument/2006/relationships/slideMaster" Target="slideMasters/slideMaster6.xml"/><Relationship Id="rId46" Type="http://schemas.openxmlformats.org/officeDocument/2006/relationships/slideMaster" Target="slideMasters/slideMaster27.xml"/><Relationship Id="rId67" Type="http://schemas.openxmlformats.org/officeDocument/2006/relationships/slide" Target="slides/slide16.xml"/><Relationship Id="rId116" Type="http://schemas.openxmlformats.org/officeDocument/2006/relationships/slide" Target="slides/slide65.xml"/><Relationship Id="rId137" Type="http://schemas.openxmlformats.org/officeDocument/2006/relationships/slide" Target="slides/slide86.xml"/><Relationship Id="rId158" Type="http://schemas.openxmlformats.org/officeDocument/2006/relationships/slide" Target="slides/slide107.xml"/><Relationship Id="rId20" Type="http://schemas.openxmlformats.org/officeDocument/2006/relationships/slideMaster" Target="slideMasters/slideMaster1.xml"/><Relationship Id="rId41" Type="http://schemas.openxmlformats.org/officeDocument/2006/relationships/slideMaster" Target="slideMasters/slideMaster22.xml"/><Relationship Id="rId62" Type="http://schemas.openxmlformats.org/officeDocument/2006/relationships/slide" Target="slides/slide11.xml"/><Relationship Id="rId83" Type="http://schemas.openxmlformats.org/officeDocument/2006/relationships/slide" Target="slides/slide32.xml"/><Relationship Id="rId88" Type="http://schemas.openxmlformats.org/officeDocument/2006/relationships/slide" Target="slides/slide37.xml"/><Relationship Id="rId111" Type="http://schemas.openxmlformats.org/officeDocument/2006/relationships/slide" Target="slides/slide60.xml"/><Relationship Id="rId132" Type="http://schemas.openxmlformats.org/officeDocument/2006/relationships/slide" Target="slides/slide81.xml"/><Relationship Id="rId153" Type="http://schemas.openxmlformats.org/officeDocument/2006/relationships/slide" Target="slides/slide102.xml"/><Relationship Id="rId174" Type="http://schemas.openxmlformats.org/officeDocument/2006/relationships/slide" Target="slides/slide123.xml"/><Relationship Id="rId179" Type="http://schemas.openxmlformats.org/officeDocument/2006/relationships/slide" Target="slides/slide128.xml"/><Relationship Id="rId195" Type="http://schemas.openxmlformats.org/officeDocument/2006/relationships/slide" Target="slides/slide144.xml"/><Relationship Id="rId209" Type="http://schemas.openxmlformats.org/officeDocument/2006/relationships/handoutMaster" Target="handoutMasters/handoutMaster1.xml"/><Relationship Id="rId190" Type="http://schemas.openxmlformats.org/officeDocument/2006/relationships/slide" Target="slides/slide139.xml"/><Relationship Id="rId204" Type="http://schemas.openxmlformats.org/officeDocument/2006/relationships/slide" Target="slides/slide153.xml"/><Relationship Id="rId15" Type="http://schemas.openxmlformats.org/officeDocument/2006/relationships/customXml" Target="../customXml/item15.xml"/><Relationship Id="rId36" Type="http://schemas.openxmlformats.org/officeDocument/2006/relationships/slideMaster" Target="slideMasters/slideMaster17.xml"/><Relationship Id="rId57" Type="http://schemas.openxmlformats.org/officeDocument/2006/relationships/slide" Target="slides/slide6.xml"/><Relationship Id="rId106" Type="http://schemas.openxmlformats.org/officeDocument/2006/relationships/slide" Target="slides/slide55.xml"/><Relationship Id="rId127" Type="http://schemas.openxmlformats.org/officeDocument/2006/relationships/slide" Target="slides/slide76.xml"/><Relationship Id="rId10" Type="http://schemas.openxmlformats.org/officeDocument/2006/relationships/customXml" Target="../customXml/item10.xml"/><Relationship Id="rId31" Type="http://schemas.openxmlformats.org/officeDocument/2006/relationships/slideMaster" Target="slideMasters/slideMaster12.xml"/><Relationship Id="rId52" Type="http://schemas.openxmlformats.org/officeDocument/2006/relationships/slide" Target="slides/slide1.xml"/><Relationship Id="rId73" Type="http://schemas.openxmlformats.org/officeDocument/2006/relationships/slide" Target="slides/slide22.xml"/><Relationship Id="rId78" Type="http://schemas.openxmlformats.org/officeDocument/2006/relationships/slide" Target="slides/slide27.xml"/><Relationship Id="rId94" Type="http://schemas.openxmlformats.org/officeDocument/2006/relationships/slide" Target="slides/slide43.xml"/><Relationship Id="rId99" Type="http://schemas.openxmlformats.org/officeDocument/2006/relationships/slide" Target="slides/slide48.xml"/><Relationship Id="rId101" Type="http://schemas.openxmlformats.org/officeDocument/2006/relationships/slide" Target="slides/slide50.xml"/><Relationship Id="rId122" Type="http://schemas.openxmlformats.org/officeDocument/2006/relationships/slide" Target="slides/slide71.xml"/><Relationship Id="rId143" Type="http://schemas.openxmlformats.org/officeDocument/2006/relationships/slide" Target="slides/slide92.xml"/><Relationship Id="rId148" Type="http://schemas.openxmlformats.org/officeDocument/2006/relationships/slide" Target="slides/slide97.xml"/><Relationship Id="rId164" Type="http://schemas.openxmlformats.org/officeDocument/2006/relationships/slide" Target="slides/slide113.xml"/><Relationship Id="rId169" Type="http://schemas.openxmlformats.org/officeDocument/2006/relationships/slide" Target="slides/slide118.xml"/><Relationship Id="rId185" Type="http://schemas.openxmlformats.org/officeDocument/2006/relationships/slide" Target="slides/slide134.xml"/><Relationship Id="rId4" Type="http://schemas.openxmlformats.org/officeDocument/2006/relationships/customXml" Target="../customXml/item4.xml"/><Relationship Id="rId9" Type="http://schemas.openxmlformats.org/officeDocument/2006/relationships/customXml" Target="../customXml/item9.xml"/><Relationship Id="rId180" Type="http://schemas.openxmlformats.org/officeDocument/2006/relationships/slide" Target="slides/slide129.xml"/><Relationship Id="rId210" Type="http://schemas.openxmlformats.org/officeDocument/2006/relationships/commentAuthors" Target="commentAuthors.xml"/><Relationship Id="rId26" Type="http://schemas.openxmlformats.org/officeDocument/2006/relationships/slideMaster" Target="slideMasters/slideMaster7.xml"/><Relationship Id="rId47" Type="http://schemas.openxmlformats.org/officeDocument/2006/relationships/slideMaster" Target="slideMasters/slideMaster28.xml"/><Relationship Id="rId68" Type="http://schemas.openxmlformats.org/officeDocument/2006/relationships/slide" Target="slides/slide17.xml"/><Relationship Id="rId89" Type="http://schemas.openxmlformats.org/officeDocument/2006/relationships/slide" Target="slides/slide38.xml"/><Relationship Id="rId112" Type="http://schemas.openxmlformats.org/officeDocument/2006/relationships/slide" Target="slides/slide61.xml"/><Relationship Id="rId133" Type="http://schemas.openxmlformats.org/officeDocument/2006/relationships/slide" Target="slides/slide82.xml"/><Relationship Id="rId154" Type="http://schemas.openxmlformats.org/officeDocument/2006/relationships/slide" Target="slides/slide103.xml"/><Relationship Id="rId175" Type="http://schemas.openxmlformats.org/officeDocument/2006/relationships/slide" Target="slides/slide124.xml"/><Relationship Id="rId196" Type="http://schemas.openxmlformats.org/officeDocument/2006/relationships/slide" Target="slides/slide145.xml"/><Relationship Id="rId200" Type="http://schemas.openxmlformats.org/officeDocument/2006/relationships/slide" Target="slides/slide149.xml"/><Relationship Id="rId16" Type="http://schemas.openxmlformats.org/officeDocument/2006/relationships/customXml" Target="../customXml/item16.xml"/><Relationship Id="rId37" Type="http://schemas.openxmlformats.org/officeDocument/2006/relationships/slideMaster" Target="slideMasters/slideMaster18.xml"/><Relationship Id="rId58" Type="http://schemas.openxmlformats.org/officeDocument/2006/relationships/slide" Target="slides/slide7.xml"/><Relationship Id="rId79" Type="http://schemas.openxmlformats.org/officeDocument/2006/relationships/slide" Target="slides/slide28.xml"/><Relationship Id="rId102" Type="http://schemas.openxmlformats.org/officeDocument/2006/relationships/slide" Target="slides/slide51.xml"/><Relationship Id="rId123" Type="http://schemas.openxmlformats.org/officeDocument/2006/relationships/slide" Target="slides/slide72.xml"/><Relationship Id="rId144" Type="http://schemas.openxmlformats.org/officeDocument/2006/relationships/slide" Target="slides/slide93.xml"/><Relationship Id="rId90" Type="http://schemas.openxmlformats.org/officeDocument/2006/relationships/slide" Target="slides/slide39.xml"/><Relationship Id="rId165" Type="http://schemas.openxmlformats.org/officeDocument/2006/relationships/slide" Target="slides/slide114.xml"/><Relationship Id="rId186" Type="http://schemas.openxmlformats.org/officeDocument/2006/relationships/slide" Target="slides/slide135.xml"/><Relationship Id="rId211" Type="http://schemas.openxmlformats.org/officeDocument/2006/relationships/presProps" Target="presProps.xml"/><Relationship Id="rId27" Type="http://schemas.openxmlformats.org/officeDocument/2006/relationships/slideMaster" Target="slideMasters/slideMaster8.xml"/><Relationship Id="rId48" Type="http://schemas.openxmlformats.org/officeDocument/2006/relationships/slideMaster" Target="slideMasters/slideMaster29.xml"/><Relationship Id="rId69" Type="http://schemas.openxmlformats.org/officeDocument/2006/relationships/slide" Target="slides/slide18.xml"/><Relationship Id="rId113" Type="http://schemas.openxmlformats.org/officeDocument/2006/relationships/slide" Target="slides/slide62.xml"/><Relationship Id="rId134" Type="http://schemas.openxmlformats.org/officeDocument/2006/relationships/slide" Target="slides/slide83.xml"/><Relationship Id="rId80" Type="http://schemas.openxmlformats.org/officeDocument/2006/relationships/slide" Target="slides/slide29.xml"/><Relationship Id="rId155" Type="http://schemas.openxmlformats.org/officeDocument/2006/relationships/slide" Target="slides/slide104.xml"/><Relationship Id="rId176" Type="http://schemas.openxmlformats.org/officeDocument/2006/relationships/slide" Target="slides/slide125.xml"/><Relationship Id="rId197" Type="http://schemas.openxmlformats.org/officeDocument/2006/relationships/slide" Target="slides/slide146.xml"/><Relationship Id="rId201" Type="http://schemas.openxmlformats.org/officeDocument/2006/relationships/slide" Target="slides/slide150.xml"/><Relationship Id="rId17" Type="http://schemas.openxmlformats.org/officeDocument/2006/relationships/customXml" Target="../customXml/item17.xml"/><Relationship Id="rId38" Type="http://schemas.openxmlformats.org/officeDocument/2006/relationships/slideMaster" Target="slideMasters/slideMaster19.xml"/><Relationship Id="rId59" Type="http://schemas.openxmlformats.org/officeDocument/2006/relationships/slide" Target="slides/slide8.xml"/><Relationship Id="rId103" Type="http://schemas.openxmlformats.org/officeDocument/2006/relationships/slide" Target="slides/slide52.xml"/><Relationship Id="rId124" Type="http://schemas.openxmlformats.org/officeDocument/2006/relationships/slide" Target="slides/slide73.xml"/><Relationship Id="rId70" Type="http://schemas.openxmlformats.org/officeDocument/2006/relationships/slide" Target="slides/slide19.xml"/><Relationship Id="rId91" Type="http://schemas.openxmlformats.org/officeDocument/2006/relationships/slide" Target="slides/slide40.xml"/><Relationship Id="rId145" Type="http://schemas.openxmlformats.org/officeDocument/2006/relationships/slide" Target="slides/slide94.xml"/><Relationship Id="rId166" Type="http://schemas.openxmlformats.org/officeDocument/2006/relationships/slide" Target="slides/slide115.xml"/><Relationship Id="rId187" Type="http://schemas.openxmlformats.org/officeDocument/2006/relationships/slide" Target="slides/slide136.xml"/><Relationship Id="rId1" Type="http://schemas.openxmlformats.org/officeDocument/2006/relationships/customXml" Target="../customXml/item1.xml"/><Relationship Id="rId212" Type="http://schemas.openxmlformats.org/officeDocument/2006/relationships/viewProps" Target="viewProps.xml"/><Relationship Id="rId28" Type="http://schemas.openxmlformats.org/officeDocument/2006/relationships/slideMaster" Target="slideMasters/slideMaster9.xml"/><Relationship Id="rId49" Type="http://schemas.openxmlformats.org/officeDocument/2006/relationships/slideMaster" Target="slideMasters/slideMaster30.xml"/><Relationship Id="rId114" Type="http://schemas.openxmlformats.org/officeDocument/2006/relationships/slide" Target="slides/slide63.xml"/><Relationship Id="rId60" Type="http://schemas.openxmlformats.org/officeDocument/2006/relationships/slide" Target="slides/slide9.xml"/><Relationship Id="rId81" Type="http://schemas.openxmlformats.org/officeDocument/2006/relationships/slide" Target="slides/slide30.xml"/><Relationship Id="rId135" Type="http://schemas.openxmlformats.org/officeDocument/2006/relationships/slide" Target="slides/slide84.xml"/><Relationship Id="rId156" Type="http://schemas.openxmlformats.org/officeDocument/2006/relationships/slide" Target="slides/slide105.xml"/><Relationship Id="rId177" Type="http://schemas.openxmlformats.org/officeDocument/2006/relationships/slide" Target="slides/slide126.xml"/><Relationship Id="rId198" Type="http://schemas.openxmlformats.org/officeDocument/2006/relationships/slide" Target="slides/slide147.xml"/><Relationship Id="rId202" Type="http://schemas.openxmlformats.org/officeDocument/2006/relationships/slide" Target="slides/slide151.xml"/><Relationship Id="rId18" Type="http://schemas.openxmlformats.org/officeDocument/2006/relationships/customXml" Target="../customXml/item18.xml"/><Relationship Id="rId39" Type="http://schemas.openxmlformats.org/officeDocument/2006/relationships/slideMaster" Target="slideMasters/slideMaster20.xml"/><Relationship Id="rId50" Type="http://schemas.openxmlformats.org/officeDocument/2006/relationships/slideMaster" Target="slideMasters/slideMaster31.xml"/><Relationship Id="rId104" Type="http://schemas.openxmlformats.org/officeDocument/2006/relationships/slide" Target="slides/slide53.xml"/><Relationship Id="rId125" Type="http://schemas.openxmlformats.org/officeDocument/2006/relationships/slide" Target="slides/slide74.xml"/><Relationship Id="rId146" Type="http://schemas.openxmlformats.org/officeDocument/2006/relationships/slide" Target="slides/slide95.xml"/><Relationship Id="rId167" Type="http://schemas.openxmlformats.org/officeDocument/2006/relationships/slide" Target="slides/slide116.xml"/><Relationship Id="rId188" Type="http://schemas.openxmlformats.org/officeDocument/2006/relationships/slide" Target="slides/slide137.xml"/><Relationship Id="rId71" Type="http://schemas.openxmlformats.org/officeDocument/2006/relationships/slide" Target="slides/slide20.xml"/><Relationship Id="rId92" Type="http://schemas.openxmlformats.org/officeDocument/2006/relationships/slide" Target="slides/slide41.xml"/><Relationship Id="rId213" Type="http://schemas.openxmlformats.org/officeDocument/2006/relationships/theme" Target="theme/theme1.xml"/><Relationship Id="rId2" Type="http://schemas.openxmlformats.org/officeDocument/2006/relationships/customXml" Target="../customXml/item2.xml"/><Relationship Id="rId29" Type="http://schemas.openxmlformats.org/officeDocument/2006/relationships/slideMaster" Target="slideMasters/slideMaster10.xml"/><Relationship Id="rId40" Type="http://schemas.openxmlformats.org/officeDocument/2006/relationships/slideMaster" Target="slideMasters/slideMaster21.xml"/><Relationship Id="rId115" Type="http://schemas.openxmlformats.org/officeDocument/2006/relationships/slide" Target="slides/slide64.xml"/><Relationship Id="rId136" Type="http://schemas.openxmlformats.org/officeDocument/2006/relationships/slide" Target="slides/slide85.xml"/><Relationship Id="rId157" Type="http://schemas.openxmlformats.org/officeDocument/2006/relationships/slide" Target="slides/slide106.xml"/><Relationship Id="rId178" Type="http://schemas.openxmlformats.org/officeDocument/2006/relationships/slide" Target="slides/slide127.xml"/><Relationship Id="rId61" Type="http://schemas.openxmlformats.org/officeDocument/2006/relationships/slide" Target="slides/slide10.xml"/><Relationship Id="rId82" Type="http://schemas.openxmlformats.org/officeDocument/2006/relationships/slide" Target="slides/slide31.xml"/><Relationship Id="rId199" Type="http://schemas.openxmlformats.org/officeDocument/2006/relationships/slide" Target="slides/slide148.xml"/><Relationship Id="rId203" Type="http://schemas.openxmlformats.org/officeDocument/2006/relationships/slide" Target="slides/slide152.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Book1" TargetMode="Externa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overlay val="0"/>
      <c:spPr>
        <a:noFill/>
        <a:ln>
          <a:noFill/>
        </a:ln>
        <a:effectLst/>
      </c:spPr>
      <c:txPr>
        <a:bodyPr rot="0" spcFirstLastPara="1" vertOverflow="ellipsis" vert="horz" wrap="square" anchor="ctr" anchorCtr="1"/>
        <a:lstStyle/>
        <a:p>
          <a:pPr>
            <a:defRPr sz="192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pieChart>
        <c:varyColors val="1"/>
        <c:ser>
          <c:idx val="0"/>
          <c:order val="0"/>
          <c:tx>
            <c:strRef>
              <c:f>Sheet1!$B$1</c:f>
              <c:strCache>
                <c:ptCount val="1"/>
                <c:pt idx="0">
                  <c:v>Usage (%)</c:v>
                </c:pt>
              </c:strCache>
            </c:strRef>
          </c:tx>
          <c:dPt>
            <c:idx val="0"/>
            <c:bubble3D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1-F1DC-43EC-BB99-197C2E252901}"/>
              </c:ext>
            </c:extLst>
          </c:dPt>
          <c:dPt>
            <c:idx val="1"/>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3-F1DC-43EC-BB99-197C2E252901}"/>
              </c:ext>
            </c:extLst>
          </c:dPt>
          <c:dPt>
            <c:idx val="2"/>
            <c:bubble3D val="0"/>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5-F1DC-43EC-BB99-197C2E252901}"/>
              </c:ext>
            </c:extLst>
          </c:dPt>
          <c:dPt>
            <c:idx val="3"/>
            <c:bubble3D val="0"/>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7-F1DC-43EC-BB99-197C2E252901}"/>
              </c:ext>
            </c:extLst>
          </c:dPt>
          <c:dPt>
            <c:idx val="4"/>
            <c:bubble3D val="0"/>
            <c:spPr>
              <a:gradFill rotWithShape="1">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9-F1DC-43EC-BB99-197C2E252901}"/>
              </c:ext>
            </c:extLst>
          </c:dPt>
          <c:dLbls>
            <c:spPr>
              <a:noFill/>
              <a:ln>
                <a:noFill/>
              </a:ln>
              <a:effectLst/>
            </c:spPr>
            <c:txPr>
              <a:bodyPr rot="0" spcFirstLastPara="1" vertOverflow="ellipsis" vert="horz" wrap="square" anchor="ctr" anchorCtr="1"/>
              <a:lstStyle/>
              <a:p>
                <a:pPr>
                  <a:defRPr sz="16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showLeaderLines val="1"/>
            <c:leaderLines>
              <c:spPr>
                <a:ln w="9525">
                  <a:solidFill>
                    <a:schemeClr val="lt1">
                      <a:lumMod val="95000"/>
                      <a:alpha val="54000"/>
                    </a:schemeClr>
                  </a:solidFill>
                </a:ln>
                <a:effectLst/>
              </c:spPr>
            </c:leaderLines>
            <c:extLst>
              <c:ext xmlns:c15="http://schemas.microsoft.com/office/drawing/2012/chart" uri="{CE6537A1-D6FC-4f65-9D91-7224C49458BB}"/>
            </c:extLst>
          </c:dLbls>
          <c:cat>
            <c:strRef>
              <c:f>Sheet1!$A$2:$A$6</c:f>
              <c:strCache>
                <c:ptCount val="5"/>
                <c:pt idx="0">
                  <c:v>Strong</c:v>
                </c:pt>
                <c:pt idx="1">
                  <c:v>Bounded Staleness</c:v>
                </c:pt>
                <c:pt idx="2">
                  <c:v>Session</c:v>
                </c:pt>
                <c:pt idx="3">
                  <c:v>Consistent Prefix</c:v>
                </c:pt>
                <c:pt idx="4">
                  <c:v>Eventual</c:v>
                </c:pt>
              </c:strCache>
            </c:strRef>
          </c:cat>
          <c:val>
            <c:numRef>
              <c:f>Sheet1!$B$2:$B$6</c:f>
              <c:numCache>
                <c:formatCode>General</c:formatCode>
                <c:ptCount val="5"/>
                <c:pt idx="0">
                  <c:v>4</c:v>
                </c:pt>
                <c:pt idx="1">
                  <c:v>18</c:v>
                </c:pt>
                <c:pt idx="2">
                  <c:v>73</c:v>
                </c:pt>
                <c:pt idx="3">
                  <c:v>2</c:v>
                </c:pt>
                <c:pt idx="4">
                  <c:v>3</c:v>
                </c:pt>
              </c:numCache>
            </c:numRef>
          </c:val>
          <c:extLst>
            <c:ext xmlns:c16="http://schemas.microsoft.com/office/drawing/2014/chart" uri="{C3380CC4-5D6E-409C-BE32-E72D297353CC}">
              <c16:uniqueId val="{0000000A-F1DC-43EC-BB99-197C2E252901}"/>
            </c:ext>
          </c:extLst>
        </c:ser>
        <c:dLbls>
          <c:dLblPos val="outEnd"/>
          <c:showLegendKey val="0"/>
          <c:showVal val="1"/>
          <c:showCatName val="0"/>
          <c:showSerName val="0"/>
          <c:showPercent val="0"/>
          <c:showBubbleSize val="0"/>
          <c:showLeaderLines val="1"/>
        </c:dLbls>
        <c:firstSliceAng val="0"/>
      </c:pieChart>
      <c:spPr>
        <a:noFill/>
        <a:ln>
          <a:noFill/>
        </a:ln>
        <a:effectLst/>
      </c:spPr>
    </c:plotArea>
    <c:legend>
      <c:legendPos val="r"/>
      <c:layout>
        <c:manualLayout>
          <c:xMode val="edge"/>
          <c:yMode val="edge"/>
          <c:x val="0.56857202608784463"/>
          <c:y val="0.30095435987168273"/>
          <c:w val="0.42401599120678168"/>
          <c:h val="0.61571230679498401"/>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1600"/>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overlay val="0"/>
      <c:spPr>
        <a:noFill/>
        <a:ln>
          <a:noFill/>
        </a:ln>
        <a:effectLst/>
      </c:spPr>
      <c:txPr>
        <a:bodyPr rot="0" spcFirstLastPara="1" vertOverflow="ellipsis" vert="horz" wrap="square" anchor="ctr" anchorCtr="1"/>
        <a:lstStyle/>
        <a:p>
          <a:pPr>
            <a:defRPr sz="288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barChart>
        <c:barDir val="col"/>
        <c:grouping val="clustered"/>
        <c:varyColors val="0"/>
        <c:ser>
          <c:idx val="0"/>
          <c:order val="0"/>
          <c:tx>
            <c:strRef>
              <c:f>Sheet1!$C$1</c:f>
              <c:strCache>
                <c:ptCount val="1"/>
                <c:pt idx="0">
                  <c:v>Throughput</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cat>
            <c:strRef>
              <c:f>Sheet1!$A$2:$A$8</c:f>
              <c:strCache>
                <c:ptCount val="5"/>
                <c:pt idx="0">
                  <c:v>Strong</c:v>
                </c:pt>
                <c:pt idx="1">
                  <c:v>Bounded Staleness</c:v>
                </c:pt>
                <c:pt idx="2">
                  <c:v>Session</c:v>
                </c:pt>
                <c:pt idx="3">
                  <c:v>Consistent Prefix</c:v>
                </c:pt>
                <c:pt idx="4">
                  <c:v>Eventual</c:v>
                </c:pt>
              </c:strCache>
            </c:strRef>
          </c:cat>
          <c:val>
            <c:numRef>
              <c:f>Sheet1!$C$2:$C$8</c:f>
              <c:numCache>
                <c:formatCode>General</c:formatCode>
                <c:ptCount val="7"/>
                <c:pt idx="0">
                  <c:v>0.5</c:v>
                </c:pt>
                <c:pt idx="1">
                  <c:v>0.5</c:v>
                </c:pt>
                <c:pt idx="2">
                  <c:v>1</c:v>
                </c:pt>
                <c:pt idx="3">
                  <c:v>1</c:v>
                </c:pt>
                <c:pt idx="4">
                  <c:v>1</c:v>
                </c:pt>
              </c:numCache>
            </c:numRef>
          </c:val>
          <c:extLst>
            <c:ext xmlns:c16="http://schemas.microsoft.com/office/drawing/2014/chart" uri="{C3380CC4-5D6E-409C-BE32-E72D297353CC}">
              <c16:uniqueId val="{00000000-DB83-4248-9428-3F9A025CD2E1}"/>
            </c:ext>
          </c:extLst>
        </c:ser>
        <c:dLbls>
          <c:showLegendKey val="0"/>
          <c:showVal val="0"/>
          <c:showCatName val="0"/>
          <c:showSerName val="0"/>
          <c:showPercent val="0"/>
          <c:showBubbleSize val="0"/>
        </c:dLbls>
        <c:gapWidth val="100"/>
        <c:overlap val="-24"/>
        <c:axId val="446536680"/>
        <c:axId val="446537072"/>
      </c:barChart>
      <c:catAx>
        <c:axId val="446536680"/>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2400" b="0" i="0" u="none" strike="noStrike" kern="1200" baseline="0">
                <a:solidFill>
                  <a:schemeClr val="lt1">
                    <a:lumMod val="85000"/>
                  </a:schemeClr>
                </a:solidFill>
                <a:latin typeface="+mn-lt"/>
                <a:ea typeface="+mn-ea"/>
                <a:cs typeface="+mn-cs"/>
              </a:defRPr>
            </a:pPr>
            <a:endParaRPr lang="en-US"/>
          </a:p>
        </c:txPr>
        <c:crossAx val="446537072"/>
        <c:crosses val="autoZero"/>
        <c:auto val="1"/>
        <c:lblAlgn val="ctr"/>
        <c:lblOffset val="100"/>
        <c:noMultiLvlLbl val="0"/>
      </c:catAx>
      <c:valAx>
        <c:axId val="446537072"/>
        <c:scaling>
          <c:orientation val="minMax"/>
        </c:scaling>
        <c:delete val="0"/>
        <c:axPos val="l"/>
        <c:majorGridlines>
          <c:spPr>
            <a:ln w="9525" cap="flat" cmpd="sng" algn="ctr">
              <a:solidFill>
                <a:schemeClr val="lt1">
                  <a:lumMod val="95000"/>
                  <a:alpha val="10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2400" b="0" i="0" u="none" strike="noStrike" kern="1200" baseline="0">
                <a:solidFill>
                  <a:schemeClr val="lt1">
                    <a:lumMod val="85000"/>
                  </a:schemeClr>
                </a:solidFill>
                <a:latin typeface="+mn-lt"/>
                <a:ea typeface="+mn-ea"/>
                <a:cs typeface="+mn-cs"/>
              </a:defRPr>
            </a:pPr>
            <a:endParaRPr lang="en-US"/>
          </a:p>
        </c:txPr>
        <c:crossAx val="446536680"/>
        <c:crosses val="autoZero"/>
        <c:crossBetween val="between"/>
      </c:valAx>
      <c:spPr>
        <a:noFill/>
        <a:ln>
          <a:noFill/>
        </a:ln>
        <a:effectLst/>
      </c:spPr>
    </c:plotArea>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sz="2400"/>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7">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lt1"/>
    </cs:fontRef>
  </cs:wall>
</cs:chartStyle>
</file>

<file path=ppt/comments/comment1.xml><?xml version="1.0" encoding="utf-8"?>
<p:cmLst xmlns:a="http://schemas.openxmlformats.org/drawingml/2006/main" xmlns:r="http://schemas.openxmlformats.org/officeDocument/2006/relationships" xmlns:p="http://schemas.openxmlformats.org/presentationml/2006/main">
  <p:cm authorId="3" dt="2018-01-27T14:33:35.714" idx="1">
    <p:pos x="6996" y="1459"/>
    <p:text>Have click-to-builds with the following order:
* plannet with text
* key-value, column-family, etc. layer
* JS, MongoDB, Table, Gremlin next
* Cassandra, Hbase, ANSI SQL, Zookeeper, etcd next</p:text>
    <p:extLst mod="1">
      <p:ext uri="{C676402C-5697-4E1C-873F-D02D1690AC5C}">
        <p15:threadingInfo xmlns:p15="http://schemas.microsoft.com/office/powerpoint/2012/main" timeZoneBias="480"/>
      </p:ext>
    </p:extLst>
  </p:cm>
  <p:cm authorId="4" dt="2018-01-28T17:14:51.044" idx="3">
    <p:pos x="6996" y="1555"/>
    <p:text>Updated.</p:text>
    <p:extLst>
      <p:ext uri="{C676402C-5697-4E1C-873F-D02D1690AC5C}">
        <p15:threadingInfo xmlns:p15="http://schemas.microsoft.com/office/powerpoint/2012/main" timeZoneBias="480">
          <p15:parentCm authorId="3" idx="1"/>
        </p15:threadingInfo>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48377381-832B-414E-9BBB-62D054D90188}" type="datetimeFigureOut">
              <a:rPr lang="en-US" smtClean="0"/>
              <a:t>1/8/2019</a:t>
            </a:fld>
            <a:endParaRPr lang="en-US"/>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2845F16E-C305-48AE-916C-D3DCDF0F5B07}" type="slidenum">
              <a:rPr lang="en-US" smtClean="0"/>
              <a:t>‹#›</a:t>
            </a:fld>
            <a:endParaRPr lang="en-US"/>
          </a:p>
        </p:txBody>
      </p:sp>
    </p:spTree>
    <p:extLst>
      <p:ext uri="{BB962C8B-B14F-4D97-AF65-F5344CB8AC3E}">
        <p14:creationId xmlns:p14="http://schemas.microsoft.com/office/powerpoint/2010/main" val="1197771707"/>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7-05-23T01:42:59.125"/>
    </inkml:context>
    <inkml:brush xml:id="br0">
      <inkml:brushProperty name="width" value="0.1" units="cm"/>
      <inkml:brushProperty name="height" value="0.2" units="cm"/>
      <inkml:brushProperty name="color" value="#FFFF00"/>
      <inkml:brushProperty name="tip" value="rectangle"/>
      <inkml:brushProperty name="rasterOp" value="maskPen"/>
      <inkml:brushProperty name="ignorePressure" value="1"/>
    </inkml:brush>
  </inkml:definitions>
  <inkml:trace contextRef="#ctx0" brushRef="#br0">28294 10116,'3'0,"4"0,7 0,3 0,2 0,1 0,0 0,0 0,-2 0,7 0,3 0,6 0,2 0,-2 0,4 0,3 0,0 0,-7 0,-2 0,2-2,5-2,-3 1,-4 0,0 0,1 2,2 0,2 1,-5 0,-3 0,-4 0,-3 1,-3-1,-1 0,-2 0,7 0,4 0,4 0,2 3,5 7,-1 1,-5-1,2-1,7-4,5 2,6-2,-2 2,4 0,3-2,9-1,-1-1,5-2,2 2,-2 1,-3 0,-7-1,-8-1,-7-1,-8-1,-2 0,-3 0,-5 0,-3 0,-4 0,1 0,3 0,1 0,-2 0,1 0,6 0,10 0,6 0,1 0,2 0,-1 0,-1 0,1 0,-2 0,0 0,4 0,5 0,-3 0,-3 5,-3 3,-1-1,-2-1,-2-1,1-3,1 0,3-2,-1 0,1 0,1 6,-1 2,0-2,11 0,0-2,0-1,2-2,-1 0,-3-1,-3-1,-4 7,-5 2,-3-1,0-1,-1-3,-4 3,-5-1,4 0,-1-2,4-1,0-1,3-1,1 0,1 0,7 0,9 0,0-1,3 1,8 0,10 0,12-3,-3-1,-5-3,-8 0,-7 2,-5-2,0 0,-3 2,-4 1,-5 1,-4 2,-4 1,-4 0,-5 0,-6 0,-5 1,3-1,9 0,6 0,4 0,2 0,-1 0,6 0,1 0,2 0,-2 0,-4 0,-1 0,-3-6,-7-2,0 2,-5 0,-3 1,0 2,-1 2,-3 0,0 1,5 1,6-4,1-1,0 1,0-3,-1 0,4 1,-1 2,9 1,1 0,7 2,0-1,2 2,-3-1,-3 0,-1 0,9 1,-2-1,-1 0,-7 0,-1 0,0 0,-6 0,-5 0,2 0,-2 0,1 0,0 0,2 0,1 0,0 0,-3 0,-1 0,0 0,2 0,1 0,0 0,0 0,1 0,3 0,-4 0,-3 0,-6 0,-5 0,2 0,1 0,4 0,3 0,3 0,3 0,-2 0,-6 0,-6 0,-5 0,-4 0,-3 0,2 0,1 0,-2 0,1 0,-2 0,3 0,12 0,5 0,6 0,2 0,2 0,-2 0,1 0,1 0,-2 0,3 0,2 0,-4 0,-9 0,1 0,-6 0,-5 0,-3 0,-5 0,-1 0,-1 0,0 0,3 3,-1 0,3 0,5 1,5-2,5-1,5 0,1-1,2 0,-4 0,-6 0,-6 0,-5-1,-5 1,-2 0,4 0,2 0,0 0,-2 0,5 0,3 0,-4-3,4-6,2-2,-2 0,-9 3,-16-1,-16 2,-13 2,-8-2,-2 1,1 1,-4-1,-3 0,2-5,2 1,-2 0,-2 3,0-1,-4 1,0 2,-1 3,4 0,2-2,6 0,3 0,-1 2,-2 0,-2-5,1-2,2 2,-1 1,-3 2,2 2,4-3,3 1,2-3,-3 1,3 0,-3-1,-3 1,-3 1,-6 1,3-1,1 0,-2 1,2 1,5-2,-1 0,0 0,5 2,3 2,3-6,2-1,-2 0,0 2,0 2,2 1,0 2,1 1,0 0,1 0,-3 0,-1 1,-3-1,-6 0,-4 0,-4 0,-1 0,6 0,-1 0,1 0,2 0,2 0,4 0,0 0,1 0,2 0,-2 0,1 0,2 0,-3 0,2 0,-1 0,3 0,0 0,1 0,2 0,-3 0,-1 0,-9 0,-4 0,0 0,-4 0,0 0,-3 0,0 0,-2 0,2 0,4 0,-1 0,-3 0,0 0,-3 0,4 0,3-3,4-1,2 1,1 0,3 1,2 1,-3 0,-3 1,1 0,0 0,-1 0,-4 0,-2 0,-7 0,-4 1,-3-1,1 0,7 0,1-3,3-1,4 0,-1 1,1 0,-3 2,-4 0,-2 1,0 0,-6 0,1 0,-1 1,-1-1,3 0,1 0,-4 0,-2 0,2-6,2-2,-1-2,3 0,0 2,3 2,0 3,4-2,4 0,-3 1,2 1,-3 0,-3-2,-6 1,2 1,-3-6,-1 0,-4 1,-5 2,-9 0,-2-1,-7 2,-1 2,1 1,-5 1,-5 0,4 1,3 1,5-1,6 0,3 1,5-1,6 0,4 0,2 0,4 0,-2 0,-2 0,2 0,-6 0,-11 0,-12 0,-5 0,-1 0,6 0,4 0,6 0,7 0,6 0,7 0,1 0,7 0,5 0,8 0,-3 0,0 0,-5 0,-3 0,-10 0,-2 0,-2 0,-9 6,-5 2,-8-1,3 1,4 4,4-2,7-1,10-4,4-2,3 5,2 0,1 0,4-2,-1-2,-3-2,-2-1,-2 2,-3 1,-3-1,3-1,3 0,5-1,5 0,0-1,1 0,2 0,-3 0,-3 0,2-1,2 1,5 0,-3 0,1 0,-1 0,-4 0,-2 0,-6 0,-8 6,-6 2,-17 3,-2-1,3-3,10-1,11-2,9 0,3 1,6-1,5 5,1 3,-6 0,-5 1,-4-1,-3 1,0 1,7-3,-1-1,3-1,3-4,5-1,2-2,3 2,-1 0,-1 0,-2 1,-7 1,0-1,1-2,3 0,3-2,3 0,-2-1,1 0,0-1,1 1,1 0,1 0,1 0,-4 0,6 0,10 0,16 0,12 0,13 0,19 0,8 0,11 0,11 0,9 0,6 0,8 0,5 0,-5 0,-10 0,-6 0,-13 0,-3 0,-5 0,3 0,1 0,-2 0,4 0,-8 0,-2 0,0 0,-3 0,-4 0,-8 0,-2 0,-5 0,-4 0,-3 0,2 0,-2 0,-3 0,0 0,8 0,-2 0,1 0,-4 0,-2 0,2 0,3-6,0-2,2 0,0 2,4 1,9 3,7 0,10 2,-5 0,-4 0,-1-3,-8 0,4 0,-5 0,-8 1,-1 1,3 0,2 1,-2 0,13 6,-3 1,2 1,2 1,-1 6,1-2,-1-1,-5-3,-3-3,6 0,-3-1,-5 0,-3-1,-1 2,4 4,5 2,1-3,10 0,0 0,-3 4,-11-1,-2-2,2-4,0-1,-5-2,1-2,0-1,11-1,0 1,-2-1,-7 1,-7 0,8-1,3 4,1 1,-3 0,-2-1,-3-1,-2 0,-2-2,6 1,0-1,1 0,-3-1,0 1,-3 0,-3 0,-3 0,-5 0,-5 0,1 0,-2 0,-2 0,-3 0,-2 0,-2 0,1 0,1 0,-1 0,1 0,-2 0,-1 0,0-3,1-1,3 0,2 1,6 1,3 1,-2-3,-12-8,-16-4,-17-2,-20-2,-15 1,-13 1,-14-2,-18 1,-5 6,-3 1,-1 2,1 4,7 2,8 2,8 2,9 0,5 0,8 1,6-1,2 1,3-1,8 0,0 3,1 1,-1 0,-1-1,-2-1,-4 0,1-2,-10 1,1-1,-5 0,-2-1,1 1,-7 0,2 0,-1 0,-3 0,-2 0,1 0,3 0,4 0,-1 0,5 0,2 0,6 0,2 0,4 0,-6 0,3-3,3-1,1 0,-4 1,-9-5,-1 0,0-1,0-6,4-2,4 4,-2 3,-1 0,5-1,7 3,12-9,18 0,18 4,18 2,23 5,12 2,1 2,9 2,5 0,8 1,8-1,0 4,2 3,2 2,3-3,2-1,2-2,-6 0,2 4,-4 1,-1-1,2-1,-11-2,0-2,1 2,-5 0,3 0,3-1,6-2,-6 0,-4 0,-6-1,-6 0,-4 0,-7-1,-6 1,-2 0,-5 0,-1 0,-3 0,7 0,-1 0,2 0,-3 0,-1 0,4 0,5 0,2 6,8 2,-4 0,-1-2,2-3,-2 0,0-2,0 0,6 2,-2 1,6-1,-7 0,-2-1,2-1,-2 0,5 5,-7 2,0-1,-9-2,-3-1,-8-1,-6-2,-8 0,-3-1,1 0,1-1,-2 1,-1 0,-2-1,5 1,3 0,2 0,-1 0,0 0,-1 0,4 0,1 0,-2 0,5 0,-1 0,-2 0,-3 0,3 0,-2 0,5 0,4 0,3 0,3 0,-1 0,-4 0,-1 0,-1 0,-5 0,-1 0,-4 0,-5 0,-1 3,-1 1,0 0,4-1,5-1,5 0,5-2,8 1,1-1,1 0,-5-1,-2 1,-3 0,3 0,-3 0,1 0,0 0,-5 0,-2 0,-2 0,-4 0,4 0,-3 0,-2 0,-2 0,5 0,4 0,3 0,4 0,11 0,4 0,2 0,-4 0,-7 0,-5 0,-5 0,-7 0,-5 0,-6 0,-1 0,2 0,-2 0,1 0,-1 0,-3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7-05-23T01:43:03.230"/>
    </inkml:context>
    <inkml:brush xml:id="br0">
      <inkml:brushProperty name="width" value="0.1" units="cm"/>
      <inkml:brushProperty name="height" value="0.2" units="cm"/>
      <inkml:brushProperty name="color" value="#FFFF00"/>
      <inkml:brushProperty name="tip" value="rectangle"/>
      <inkml:brushProperty name="rasterOp" value="maskPen"/>
      <inkml:brushProperty name="ignorePressure" value="1"/>
    </inkml:brush>
  </inkml:definitions>
  <inkml:trace contextRef="#ctx0" brushRef="#br0">28382 10143,'3'0,"7"0,10 0,9 0,0 0,1 0,-1 0,1 0,5 0,1 0,5 0,6 0,4 0,-4 0,3 0,-3 0,1 0,-3 0,1 0,-3 0,-4 0,-2 0,0 0,2 0,-1 0,-7 0,2 0,-2 0,-4 0,-2 0,-4 0,-2 0,1 0,2 0,-2 0,-1 0,4 0,4 0,5 0,6 0,2 0,3 0,-12 6,-13 2,-17-1,-17-2,-11 0,-16-2,-6-2,-11 0,0-1,1 0,5-1,4 0,2 1,2 0,6 0,6 0,6 0,6 0,-1 0,-1 0,-6 0,-3 0,1 0,1 3,0 1,-2 0,1-1,1-1,3 0,-1-2,4 0,-6 0,3 0,0 0,4 0,2 0,3 0,-2 0,3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7-05-23T01:43:06.087"/>
    </inkml:context>
    <inkml:brush xml:id="br0">
      <inkml:brushProperty name="width" value="0.1" units="cm"/>
      <inkml:brushProperty name="height" value="0.2" units="cm"/>
      <inkml:brushProperty name="color" value="#FFFF00"/>
      <inkml:brushProperty name="tip" value="rectangle"/>
      <inkml:brushProperty name="rasterOp" value="maskPen"/>
      <inkml:brushProperty name="ignorePressure" value="1"/>
    </inkml:brush>
  </inkml:definitions>
  <inkml:trace contextRef="#ctx0" brushRef="#br0">28364 10226,'9'0,"8"0,5 0,7 0,2 0,-2 0,7 0,9 0,4 0,-2 0,-6 0,-2 0,-4 0,-5 0,-5 0,-3 0,-5 0,7 0,3 0,7 0,0 0,-4 0,2 0,1 6,6 2,1-1,-3 0,1-4,0 0,2-2,5 0,-6-1,-4-1,-6 1,-3 3,-6 0,-1 1,1-1,3-1,1 2,-2 1,7-1,1-1,6 2,3 0,3-1,-3-1,2-1,-2-1,-2 0,-7-1,-2 0,-1 3,-6 0,1 1,0-1,1-1,3-1,-3 0,-1-1,1 0,3 0,-1 6,0 2,-3-2,-2 0,-1-1,-1-3,0 0,5-2,1 0,1 0,-2 0,-3 0,4-1,1 1,-2-3,-3-4,-2-3,0-1,5 2,5 3,2 1,3 3,0 1,-6 1,5 0,1 1,3-4,2-1,5 1,2 1,-1 0,3 1,-3 0,1-5,-5-2,-5 0,-7-1,-1 1,-3 3,-3 0,-1 0,-1-1,-5-1,-4-3,-4-2,-2-3,-6-4,-6-1,-3-2,-5 5,-8 3,-7 3,-2 2,2 1,1-5,-2-1,3 1,4 1,-2 3,-3 0,-6-1,-3 1,2 2,0 2,1 2,5 2,6 0,2 1,-2 1,-4-1,-5 1,-6-1,0 0,3 0,4 0,3 0,1 0,-3 0,-5 0,0 0,-4 0,-4 0,4 0,4 0,7 0,5 0,4 0,6 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7-05-23T01:43:07.305"/>
    </inkml:context>
    <inkml:brush xml:id="br0">
      <inkml:brushProperty name="width" value="0.1" units="cm"/>
      <inkml:brushProperty name="height" value="0.2" units="cm"/>
      <inkml:brushProperty name="color" value="#FFFF00"/>
      <inkml:brushProperty name="tip" value="rectangle"/>
      <inkml:brushProperty name="rasterOp" value="maskPen"/>
      <inkml:brushProperty name="ignorePressure" value="1"/>
    </inkml:brush>
  </inkml:definitions>
  <inkml:trace contextRef="#ctx0" brushRef="#br0">31115 10142,'3'0,"10"0,5 0,3 0,1 0,2 0,6 0,8 0,1 0,8 0,9 0,7 0,11 0,-2 0,12 0,5 0,5 0,-8 0,-8 0,-8 0,-5 0,-8 0,-6 0,-5 0,-1-6,0-2,-2 1,1 0,-4 1,-6-1,-4 2,4-2,-6 1</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7-05-23T01:43:12.630"/>
    </inkml:context>
    <inkml:brush xml:id="br0">
      <inkml:brushProperty name="width" value="0.1" units="cm"/>
      <inkml:brushProperty name="height" value="0.2" units="cm"/>
      <inkml:brushProperty name="color" value="#FFFF00"/>
      <inkml:brushProperty name="tip" value="rectangle"/>
      <inkml:brushProperty name="rasterOp" value="maskPen"/>
      <inkml:brushProperty name="ignorePressure" value="1"/>
    </inkml:brush>
  </inkml:definitions>
  <inkml:trace contextRef="#ctx0" brushRef="#br0">18306 10599,'3'3,"10"7,5 1,9 0,17 0,14 5,13-2,12-2,3 0,-3-2,-5-3,2 2,-10 1,0-1,-6-3,-7-2,-6 1,-3 3,0-1,-6-1,-5 5,1 0,3 2,-4-4,-3 0,-6-4,-4-1,2-3,0 0,-2-2,2 1,4-1,0 1,-1-3,-4-2,-2-5,0 0,-3-3,-2-1,-6-2,-3 0,-3-1,-4-6,-10 0,-4-1,-5 3,-10 5,-2 6,-5 5,-4 2,3 2,4 1,-2 1,3 1,0-2,-2 1,1 0,-2-1,-1 0,-3 0,-4 0,2 0,-3 0,5 0,6 0,1 0,-3 0,2 0,-1 0,1 0,1 0,3 0,5 0,-2 0,-5-6,0-2,2 0,-4 2,-2 2,-4-5,-5 1,2-1,4 3,6 2,5 2,4 1,-1 0,-1 2,-2-1,-3 0,-4 1,-6-1,-1 0,2 0,0 0,1 0,6 0,5 0,2 0,3 3,0 1,-2 0,6 2,0-1,1 0,2 5,3 7,0 2,3 2,9 0,10-4,7-1,12-4,2-3,-2-2,7 5,-2 1,-3-3,2 1,-3-3,-3-1,-4-3,-4 1,5 0,2-1,7-1,2-1,4-1,1-1,-2 0,0 0,-4-1,-7 1,1 0,3 0,-3 0,-3 0,3 0,1 0,6 0,4 0,2 0,1 0,-3 0,-5 0,-7 0,1 0,2 0,3 0,2 0,4 0,3 0,-4-3,-6-1,-4-3,-7-6,-5-3,-5-3,-5-1,-4 1,-3 0,-1 1,-1-4,-3 0,-10 5,-7 3,-11 5,-2 4,3 3,-5 1,1-1,-1-1,0 0,2 2,6-1,3 1,1 1,1-4,2 0,1 1,2 0,0 1,0 0,2-1,-4-1,-1 0,0 1,1 1,-2 1,-7 0,-6 1,-1 0,3 0,4 0,5 0,2 1,-2-1,-5 0,1 0,-2 0,3 0,10-6,15-1,26-1,16 2,12 2,1 1,2 1,-6 2,-12 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7-05-23T01:43:13.765"/>
    </inkml:context>
    <inkml:brush xml:id="br0">
      <inkml:brushProperty name="width" value="0.1" units="cm"/>
      <inkml:brushProperty name="height" value="0.2" units="cm"/>
      <inkml:brushProperty name="color" value="#FFFF00"/>
      <inkml:brushProperty name="tip" value="rectangle"/>
      <inkml:brushProperty name="rasterOp" value="maskPen"/>
      <inkml:brushProperty name="ignorePressure" value="1"/>
    </inkml:brush>
  </inkml:definitions>
  <inkml:trace contextRef="#ctx0" brushRef="#br0">44186 14570,'12'0,"4"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B700B8A9-F6A9-468C-8230-D47A8E21CCB5}" type="datetimeFigureOut">
              <a:rPr lang="en-US" smtClean="0"/>
              <a:pPr/>
              <a:t>1/8/2019</a:t>
            </a:fld>
            <a:endParaRPr lang="en-US"/>
          </a:p>
        </p:txBody>
      </p:sp>
      <p:sp>
        <p:nvSpPr>
          <p:cNvPr id="4" name="Slide Image Placeholder 3"/>
          <p:cNvSpPr>
            <a:spLocks noGrp="1" noRot="1" noChangeAspect="1"/>
          </p:cNvSpPr>
          <p:nvPr>
            <p:ph type="sldImg" idx="2"/>
          </p:nvPr>
        </p:nvSpPr>
        <p:spPr>
          <a:xfrm>
            <a:off x="890588" y="1162050"/>
            <a:ext cx="5229225"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49F67C77-7EFA-4CAA-A410-E92D82C8E6E1}" type="slidenum">
              <a:rPr lang="en-US" smtClean="0"/>
              <a:pPr/>
              <a:t>‹#›</a:t>
            </a:fld>
            <a:endParaRPr lang="en-US"/>
          </a:p>
        </p:txBody>
      </p:sp>
    </p:spTree>
    <p:extLst>
      <p:ext uri="{BB962C8B-B14F-4D97-AF65-F5344CB8AC3E}">
        <p14:creationId xmlns:p14="http://schemas.microsoft.com/office/powerpoint/2010/main" val="3751277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F67C77-7EFA-4CAA-A410-E92D82C8E6E1}" type="slidenum">
              <a:rPr lang="en-US" smtClean="0"/>
              <a:pPr/>
              <a:t>1</a:t>
            </a:fld>
            <a:endParaRPr lang="en-US"/>
          </a:p>
        </p:txBody>
      </p:sp>
    </p:spTree>
    <p:extLst>
      <p:ext uri="{BB962C8B-B14F-4D97-AF65-F5344CB8AC3E}">
        <p14:creationId xmlns:p14="http://schemas.microsoft.com/office/powerpoint/2010/main" val="16188272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8A1414-A082-40CA-ABEA-9E910D2345FA}" type="slidenum">
              <a:rPr lang="en-US" smtClean="0"/>
              <a:t>11</a:t>
            </a:fld>
            <a:endParaRPr lang="en-US" dirty="0"/>
          </a:p>
        </p:txBody>
      </p:sp>
    </p:spTree>
    <p:extLst>
      <p:ext uri="{BB962C8B-B14F-4D97-AF65-F5344CB8AC3E}">
        <p14:creationId xmlns:p14="http://schemas.microsoft.com/office/powerpoint/2010/main" val="327747468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400" b="0" i="0" kern="1200" baseline="0">
                <a:solidFill>
                  <a:schemeClr val="tx1"/>
                </a:solidFill>
                <a:effectLst/>
                <a:latin typeface="Segoe UI Light" pitchFamily="34" charset="0"/>
                <a:ea typeface="+mn-ea"/>
                <a:cs typeface="+mn-cs"/>
              </a:rPr>
              <a:t>Key part of monitoring throughput is to see:</a:t>
            </a:r>
          </a:p>
          <a:p>
            <a:r>
              <a:rPr lang="en-US" sz="400" b="0" i="0" kern="1200" baseline="0">
                <a:solidFill>
                  <a:schemeClr val="tx1"/>
                </a:solidFill>
                <a:effectLst/>
                <a:latin typeface="Segoe UI Light" pitchFamily="34" charset="0"/>
                <a:ea typeface="+mn-ea"/>
                <a:cs typeface="+mn-cs"/>
              </a:rPr>
              <a:t>1. Check if your operations are getting throttled. Look at the "Requests exceeding capacity" chart on the throughput tab.</a:t>
            </a:r>
          </a:p>
          <a:p>
            <a:r>
              <a:rPr lang="en-US" sz="400" b="0" i="0" kern="1200" baseline="0">
                <a:solidFill>
                  <a:schemeClr val="tx1"/>
                </a:solidFill>
                <a:effectLst/>
                <a:latin typeface="Segoe UI Light" pitchFamily="34" charset="0"/>
                <a:ea typeface="+mn-ea"/>
                <a:cs typeface="+mn-cs"/>
              </a:rPr>
              <a:t>2. Check if consumed throughput exceeds the provisioned throughput on any of the physical partitions (partition key ranges), by looking at the "Max RU/second consumed per partition" metric.</a:t>
            </a:r>
          </a:p>
          <a:p>
            <a:r>
              <a:rPr lang="en-US" sz="400" b="0" i="0" kern="1200" baseline="0">
                <a:solidFill>
                  <a:schemeClr val="tx1"/>
                </a:solidFill>
                <a:effectLst/>
                <a:latin typeface="Segoe UI Light" pitchFamily="34" charset="0"/>
                <a:ea typeface="+mn-ea"/>
                <a:cs typeface="+mn-cs"/>
              </a:rPr>
              <a:t>3. Select the time where the maximum consumed throughput per partitions exceeded provisioned on the chart "Max consumed throughput by each partition" to investigate the per-partition distribution of the consumed throughput at that time.</a:t>
            </a:r>
          </a:p>
          <a:p>
            <a:r>
              <a:rPr lang="en-US" sz="400" b="0" i="0" kern="1200" baseline="0">
                <a:solidFill>
                  <a:schemeClr val="tx1"/>
                </a:solidFill>
                <a:effectLst/>
                <a:latin typeface="Segoe UI Light" pitchFamily="34" charset="0"/>
                <a:ea typeface="+mn-ea"/>
                <a:cs typeface="+mn-cs"/>
              </a:rPr>
              <a:t>4. This is usually followed by looking at client side telemetry (today) of RU charges for operations to find out culprit operations/queries.</a:t>
            </a:r>
            <a:endParaRPr lang="en-US" sz="400" baseline="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4184368"/>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sz="400" baseline="0"/>
              <a:t>Show </a:t>
            </a:r>
            <a:r>
              <a:rPr lang="en-US" sz="400" baseline="0" err="1"/>
              <a:t>RequestCharge</a:t>
            </a:r>
            <a:r>
              <a:rPr lang="en-US" sz="400" baseline="0"/>
              <a:t> demo and show how each operation returns </a:t>
            </a:r>
            <a:r>
              <a:rPr lang="en-US" sz="400" baseline="0" err="1"/>
              <a:t>RequestCharge</a:t>
            </a:r>
            <a:r>
              <a:rPr lang="en-US" sz="400" baseline="0"/>
              <a:t> which can be logged</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60726389"/>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a:solidFill>
                  <a:schemeClr val="tx1"/>
                </a:solidFill>
                <a:effectLst/>
                <a:latin typeface="Segoe UI Light" pitchFamily="34" charset="0"/>
                <a:ea typeface="+mn-ea"/>
                <a:cs typeface="+mn-cs"/>
              </a:rPr>
              <a:t>To summarize</a:t>
            </a:r>
          </a:p>
          <a:p>
            <a:r>
              <a:rPr lang="en-US" sz="882" b="0" i="0" kern="1200">
                <a:solidFill>
                  <a:schemeClr val="tx1"/>
                </a:solidFill>
                <a:effectLst/>
                <a:latin typeface="Segoe UI Light" pitchFamily="34" charset="0"/>
                <a:ea typeface="+mn-ea"/>
                <a:cs typeface="+mn-cs"/>
              </a:rPr>
              <a:t>- Verify Storage pane has information that your data is well distributed across the partitions.</a:t>
            </a:r>
          </a:p>
          <a:p>
            <a:r>
              <a:rPr lang="en-US" sz="882" b="0" i="0" kern="1200">
                <a:solidFill>
                  <a:schemeClr val="tx1"/>
                </a:solidFill>
                <a:effectLst/>
                <a:latin typeface="Segoe UI Light" pitchFamily="34" charset="0"/>
                <a:ea typeface="+mn-ea"/>
                <a:cs typeface="+mn-cs"/>
              </a:rPr>
              <a:t>- Verify throttles are not happening with help if Throughput pane.</a:t>
            </a:r>
          </a:p>
          <a:p>
            <a:r>
              <a:rPr lang="en-US" sz="882" b="0" i="0" kern="1200">
                <a:solidFill>
                  <a:schemeClr val="tx1"/>
                </a:solidFill>
                <a:effectLst/>
                <a:latin typeface="Segoe UI Light" pitchFamily="34" charset="0"/>
                <a:ea typeface="+mn-ea"/>
                <a:cs typeface="+mn-cs"/>
              </a:rPr>
              <a:t>- If throttles are present — verify if throttles are across all the partitions or specific partition.</a:t>
            </a:r>
          </a:p>
          <a:p>
            <a:r>
              <a:rPr lang="en-US" sz="882" b="0" i="0" kern="1200">
                <a:solidFill>
                  <a:schemeClr val="tx1"/>
                </a:solidFill>
                <a:effectLst/>
                <a:latin typeface="Segoe UI Light" pitchFamily="34" charset="0"/>
                <a:ea typeface="+mn-ea"/>
                <a:cs typeface="+mn-cs"/>
              </a:rPr>
              <a:t>- Use client side metrics of Request charge and query statistics to find out where you spend RU /time— always focus on dominant queries/operations to focus on 80% of workload. Either increase the RU if needed or modify the query.</a:t>
            </a:r>
          </a:p>
          <a:p>
            <a:r>
              <a:rPr lang="en-US" sz="882" b="0" i="0" kern="1200">
                <a:solidFill>
                  <a:schemeClr val="tx1"/>
                </a:solidFill>
                <a:effectLst/>
                <a:latin typeface="Segoe UI Light" pitchFamily="34" charset="0"/>
                <a:ea typeface="+mn-ea"/>
                <a:cs typeface="+mn-cs"/>
              </a:rPr>
              <a:t>- Use log analytics to deeper pinpointed investigation of issues and focus on queries or other operations.</a:t>
            </a:r>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44655721"/>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400" baseline="0"/>
              <a:t>- Talk about RU provisioning – and how profiling application’s read write request charges is necessary upfront for precise RU provisioning</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17638983"/>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85816492"/>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5040774"/>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41480861"/>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427A7F7-BB1E-479D-AFAA-B52F4D0C99F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2188930"/>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7484005"/>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a:t>
            </a:r>
            <a:r>
              <a:rPr lang="en-US" err="1"/>
              <a:t>www.ericsson.com</a:t>
            </a:r>
            <a:r>
              <a:rPr lang="en-US"/>
              <a:t>/research-blog/data-processing-architectures-lambda-and-kappa/</a:t>
            </a:r>
          </a:p>
          <a:p>
            <a:endParaRPr lang="en-US"/>
          </a:p>
          <a:p>
            <a:pPr marL="171450" indent="-171450">
              <a:buFontTx/>
              <a:buChar char="-"/>
            </a:pPr>
            <a:r>
              <a:rPr lang="en-US"/>
              <a:t>Nathan </a:t>
            </a:r>
            <a:r>
              <a:rPr lang="en-US" err="1"/>
              <a:t>Marz</a:t>
            </a:r>
            <a:r>
              <a:rPr lang="en-US"/>
              <a:t> (creator of Apache Storm) came up with Lambda architecture – used by a lot of companies – Netflix, Yahoo, </a:t>
            </a:r>
            <a:r>
              <a:rPr lang="en-US" err="1"/>
              <a:t>etc</a:t>
            </a:r>
            <a:endParaRPr lang="en-US"/>
          </a:p>
          <a:p>
            <a:pPr marL="384432" lvl="1" indent="-171450">
              <a:buFontTx/>
              <a:buChar char="-"/>
            </a:pPr>
            <a:r>
              <a:rPr lang="en-US"/>
              <a:t>Designed to handle low-latency reads and updates in a linearly scalable and fault-tolerant way</a:t>
            </a:r>
          </a:p>
          <a:p>
            <a:pPr marL="171450" indent="-171450">
              <a:buFontTx/>
              <a:buChar char="-"/>
            </a:pPr>
            <a:r>
              <a:rPr lang="en-US"/>
              <a:t>Summer of 2014 – Jay Kreps from LinkedIn describe Kappa architecture – addressing some of the pitfalls associated with Lambda</a:t>
            </a:r>
          </a:p>
          <a:p>
            <a:pPr marL="171450" indent="-171450">
              <a:buFontTx/>
              <a:buChar char="-"/>
            </a:pPr>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72829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95775" y="674688"/>
            <a:ext cx="4795838" cy="2878137"/>
          </a:xfrm>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pPr>
              <a:defRPr/>
            </a:pPr>
            <a:r>
              <a:rPr lang="en-GB">
                <a:solidFill>
                  <a:srgbClr val="878785"/>
                </a:solidFill>
              </a:rPr>
              <a:t>Header - Use 'Insert &gt;Header &amp; Footer' to modify this text and ‘Apply to all’</a:t>
            </a:r>
            <a:endParaRPr lang="de-DE">
              <a:solidFill>
                <a:srgbClr val="878785"/>
              </a:solidFill>
            </a:endParaRPr>
          </a:p>
        </p:txBody>
      </p:sp>
      <p:sp>
        <p:nvSpPr>
          <p:cNvPr id="5" name="Footer Placeholder 4"/>
          <p:cNvSpPr>
            <a:spLocks noGrp="1"/>
          </p:cNvSpPr>
          <p:nvPr>
            <p:ph type="ftr" sz="quarter" idx="11"/>
          </p:nvPr>
        </p:nvSpPr>
        <p:spPr/>
        <p:txBody>
          <a:bodyPr/>
          <a:lstStyle/>
          <a:p>
            <a:r>
              <a:rPr lang="en-GB">
                <a:solidFill>
                  <a:prstClr val="black"/>
                </a:solidFill>
              </a:rPr>
              <a:t>Footer - Use 'Insert &gt;Header &amp; Footer' to modify this text and ‘Apply to all’</a:t>
            </a:r>
          </a:p>
        </p:txBody>
      </p:sp>
      <p:sp>
        <p:nvSpPr>
          <p:cNvPr id="6" name="Slide Number Placeholder 5"/>
          <p:cNvSpPr>
            <a:spLocks noGrp="1"/>
          </p:cNvSpPr>
          <p:nvPr>
            <p:ph type="sldNum" sz="quarter" idx="12"/>
          </p:nvPr>
        </p:nvSpPr>
        <p:spPr/>
        <p:txBody>
          <a:bodyPr/>
          <a:lstStyle/>
          <a:p>
            <a:fld id="{90D93DA3-2A01-4D17-B1E9-D362EE71B141}" type="slidenum">
              <a:rPr lang="en-GB" smtClean="0">
                <a:solidFill>
                  <a:prstClr val="black"/>
                </a:solidFill>
              </a:rPr>
              <a:pPr/>
              <a:t>12</a:t>
            </a:fld>
            <a:endParaRPr lang="en-GB">
              <a:solidFill>
                <a:prstClr val="black"/>
              </a:solidFill>
            </a:endParaRPr>
          </a:p>
        </p:txBody>
      </p:sp>
    </p:spTree>
    <p:extLst>
      <p:ext uri="{BB962C8B-B14F-4D97-AF65-F5344CB8AC3E}">
        <p14:creationId xmlns:p14="http://schemas.microsoft.com/office/powerpoint/2010/main" val="184161954"/>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a:t>
            </a:r>
            <a:r>
              <a:rPr lang="en-US" err="1"/>
              <a:t>www.talend.com</a:t>
            </a:r>
            <a:r>
              <a:rPr lang="en-US"/>
              <a:t>/blog/2017/08/28/lambda-kappa-real-time-big-data-architectures/</a:t>
            </a:r>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60714329"/>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a:t>
            </a:r>
            <a:r>
              <a:rPr lang="en-US" err="1"/>
              <a:t>www.talend.com</a:t>
            </a:r>
            <a:r>
              <a:rPr lang="en-US"/>
              <a:t>/blog/2017/08/28/lambda-kappa-real-time-big-data-architectures/</a:t>
            </a:r>
          </a:p>
          <a:p>
            <a:endParaRPr lang="en-US"/>
          </a:p>
          <a:p>
            <a:pPr marL="171450" indent="-171450">
              <a:buFontTx/>
              <a:buChar char="-"/>
            </a:pPr>
            <a:r>
              <a:rPr lang="en-US"/>
              <a:t>Attempts to simplify Lambda by only keeping one code base rather than manage one for each batch and speed layers</a:t>
            </a:r>
          </a:p>
          <a:p>
            <a:pPr marL="171450" indent="-171450">
              <a:buFontTx/>
              <a:buChar char="-"/>
            </a:pPr>
            <a:r>
              <a:rPr lang="en-US"/>
              <a:t>Queries only need to look in a single real-time view in serving layer than having to merge both batch and real-time views</a:t>
            </a:r>
          </a:p>
          <a:p>
            <a:pPr marL="171450" indent="-171450">
              <a:buFontTx/>
              <a:buChar char="-"/>
            </a:pPr>
            <a:endParaRPr lang="en-US"/>
          </a:p>
          <a:p>
            <a:pPr marL="171450" indent="-171450">
              <a:buFontTx/>
              <a:buChar char="-"/>
            </a:pPr>
            <a:r>
              <a:rPr lang="en-US"/>
              <a:t>Complications:</a:t>
            </a:r>
          </a:p>
          <a:p>
            <a:pPr marL="171450" indent="-171450">
              <a:buFontTx/>
              <a:buChar char="-"/>
            </a:pPr>
            <a:r>
              <a:rPr lang="en-US"/>
              <a:t>Handling duplicate events, cross-referencing events, maintaining order – operations which are easier in batch processing</a:t>
            </a:r>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56516269"/>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a:t>
            </a:r>
            <a:r>
              <a:rPr lang="en-US" err="1"/>
              <a:t>www.ericsson.com</a:t>
            </a:r>
            <a:r>
              <a:rPr lang="en-US"/>
              <a:t>/research-blog/data-processing-architectures-lambda-and-kappa/</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23340490"/>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74702358"/>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01413208"/>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44160627"/>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94774419"/>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Show single-click deployment demo</a:t>
            </a:r>
          </a:p>
          <a:p>
            <a:r>
              <a:rPr lang="en-US"/>
              <a:t>- Show how whole system auto-scales on load increase</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76171862"/>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80226643"/>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905725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3"/>
        <p:cNvGrpSpPr/>
        <p:nvPr/>
      </p:nvGrpSpPr>
      <p:grpSpPr>
        <a:xfrm>
          <a:off x="0" y="0"/>
          <a:ext cx="0" cy="0"/>
          <a:chOff x="0" y="0"/>
          <a:chExt cx="0" cy="0"/>
        </a:xfrm>
      </p:grpSpPr>
      <p:sp>
        <p:nvSpPr>
          <p:cNvPr id="104" name="Shape 104"/>
          <p:cNvSpPr>
            <a:spLocks noGrp="1" noRot="1" noChangeAspect="1"/>
          </p:cNvSpPr>
          <p:nvPr>
            <p:ph type="sldImg" idx="2"/>
          </p:nvPr>
        </p:nvSpPr>
        <p:spPr>
          <a:xfrm>
            <a:off x="571500" y="685800"/>
            <a:ext cx="5715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5" name="Shape 105"/>
          <p:cNvSpPr txBox="1">
            <a:spLocks noGrp="1"/>
          </p:cNvSpPr>
          <p:nvPr>
            <p:ph type="body" idx="1"/>
          </p:nvPr>
        </p:nvSpPr>
        <p:spPr>
          <a:xfrm>
            <a:off x="914400" y="4343400"/>
            <a:ext cx="5029200" cy="4114800"/>
          </a:xfrm>
          <a:prstGeom prst="rect">
            <a:avLst/>
          </a:prstGeom>
        </p:spPr>
        <p:txBody>
          <a:bodyPr lIns="91425" tIns="91425" rIns="91425" bIns="91425" anchor="t" anchorCtr="0">
            <a:noAutofit/>
          </a:bodyPr>
          <a:lstStyle/>
          <a:p>
            <a:pPr lvl="0">
              <a:spcBef>
                <a:spcPts val="0"/>
              </a:spcBef>
              <a:buClr>
                <a:schemeClr val="dk1"/>
              </a:buClr>
              <a:buSzPct val="50000"/>
              <a:buFont typeface="Arial"/>
              <a:buNone/>
            </a:pPr>
            <a:r>
              <a:rPr lang="en-US" dirty="0">
                <a:solidFill>
                  <a:schemeClr val="dk1"/>
                </a:solidFill>
              </a:rPr>
              <a:t>On the page you can see how people are matched to play against each other in real time, red lines represents each match made.</a:t>
            </a:r>
          </a:p>
          <a:p>
            <a:pPr lvl="0">
              <a:spcBef>
                <a:spcPts val="0"/>
              </a:spcBef>
              <a:buClr>
                <a:schemeClr val="dk1"/>
              </a:buClr>
              <a:buSzPct val="50000"/>
              <a:buFont typeface="Arial"/>
              <a:buNone/>
            </a:pPr>
            <a:endParaRPr lang="en-US" dirty="0">
              <a:solidFill>
                <a:schemeClr val="dk1"/>
              </a:solidFill>
            </a:endParaRPr>
          </a:p>
          <a:p>
            <a:pPr lvl="0">
              <a:spcBef>
                <a:spcPts val="0"/>
              </a:spcBef>
              <a:buClr>
                <a:schemeClr val="dk1"/>
              </a:buClr>
              <a:buSzPct val="50000"/>
              <a:buFont typeface="Arial"/>
              <a:buNone/>
            </a:pPr>
            <a:r>
              <a:rPr lang="en-US" dirty="0">
                <a:solidFill>
                  <a:schemeClr val="dk1"/>
                </a:solidFill>
              </a:rPr>
              <a:t>With Azure and DocumentDB we were able to create this demo in just few hours. We used our existing architecture on top of Azure </a:t>
            </a:r>
            <a:r>
              <a:rPr lang="en-US" dirty="0" err="1">
                <a:solidFill>
                  <a:schemeClr val="dk1"/>
                </a:solidFill>
              </a:rPr>
              <a:t>WebApps</a:t>
            </a:r>
            <a:r>
              <a:rPr lang="en-US" dirty="0">
                <a:solidFill>
                  <a:schemeClr val="dk1"/>
                </a:solidFill>
              </a:rPr>
              <a:t> in order accomplish this. </a:t>
            </a:r>
          </a:p>
          <a:p>
            <a:pPr lvl="0">
              <a:spcBef>
                <a:spcPts val="0"/>
              </a:spcBef>
              <a:buClr>
                <a:schemeClr val="dk1"/>
              </a:buClr>
              <a:buSzPct val="50000"/>
              <a:buFont typeface="Arial"/>
              <a:buNone/>
            </a:pPr>
            <a:endParaRPr dirty="0">
              <a:solidFill>
                <a:schemeClr val="dk1"/>
              </a:solidFill>
            </a:endParaRPr>
          </a:p>
        </p:txBody>
      </p:sp>
    </p:spTree>
    <p:extLst>
      <p:ext uri="{BB962C8B-B14F-4D97-AF65-F5344CB8AC3E}">
        <p14:creationId xmlns:p14="http://schemas.microsoft.com/office/powerpoint/2010/main" val="1537232665"/>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96584522"/>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75949901"/>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73064280"/>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60053739"/>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74811965"/>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9221537"/>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08037296"/>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how DMS demo</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54140499"/>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1500" y="685800"/>
            <a:ext cx="5715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F67C77-7EFA-4CAA-A410-E92D82C8E6E1}" type="slidenum">
              <a:rPr kumimoji="0" lang="en-US" sz="1200" b="0" i="0" u="none" strike="noStrike" kern="1200" cap="none" spc="0" normalizeH="0" baseline="0" noProof="0" smtClean="0">
                <a:ln>
                  <a:noFill/>
                </a:ln>
                <a:solidFill>
                  <a:prstClr val="black"/>
                </a:solidFill>
                <a:effectLst/>
                <a:uLnTx/>
                <a:uFillTx/>
                <a:latin typeface="Calibri"/>
                <a:ea typeface="+mn-ea"/>
                <a:cs typeface="Segoe UI"/>
                <a:sym typeface="Segoe UI"/>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US" sz="1200" b="0" i="0" u="none" strike="noStrike" kern="1200" cap="none" spc="0" normalizeH="0" baseline="0" noProof="0">
              <a:ln>
                <a:noFill/>
              </a:ln>
              <a:solidFill>
                <a:prstClr val="black"/>
              </a:solidFill>
              <a:effectLst/>
              <a:uLnTx/>
              <a:uFillTx/>
              <a:latin typeface="Calibri"/>
              <a:ea typeface="+mn-ea"/>
              <a:cs typeface="Segoe UI"/>
              <a:sym typeface="Segoe UI"/>
            </a:endParaRPr>
          </a:p>
        </p:txBody>
      </p:sp>
    </p:spTree>
    <p:extLst>
      <p:ext uri="{BB962C8B-B14F-4D97-AF65-F5344CB8AC3E}">
        <p14:creationId xmlns:p14="http://schemas.microsoft.com/office/powerpoint/2010/main" val="1721531555"/>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87618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1500" y="685800"/>
            <a:ext cx="5715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F67C77-7EFA-4CAA-A410-E92D82C8E6E1}" type="slidenum">
              <a:rPr kumimoji="0" lang="en-US" sz="1200" b="0" i="0" u="none" strike="noStrike" kern="1200" cap="none" spc="0" normalizeH="0" baseline="0" noProof="0" smtClean="0">
                <a:ln>
                  <a:noFill/>
                </a:ln>
                <a:solidFill>
                  <a:prstClr val="black"/>
                </a:solidFill>
                <a:effectLst/>
                <a:uLnTx/>
                <a:uFillTx/>
                <a:latin typeface="Calibri"/>
                <a:ea typeface="+mn-ea"/>
                <a:cs typeface="Segoe UI"/>
                <a:sym typeface="Segoe UI"/>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Segoe UI"/>
              <a:sym typeface="Segoe UI"/>
            </a:endParaRPr>
          </a:p>
        </p:txBody>
      </p:sp>
    </p:spTree>
    <p:extLst>
      <p:ext uri="{BB962C8B-B14F-4D97-AF65-F5344CB8AC3E}">
        <p14:creationId xmlns:p14="http://schemas.microsoft.com/office/powerpoint/2010/main" val="3585029075"/>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F67C77-7EFA-4CAA-A410-E92D82C8E6E1}" type="slidenum">
              <a:rPr lang="en-US" smtClean="0"/>
              <a:pPr/>
              <a:t>134</a:t>
            </a:fld>
            <a:endParaRPr lang="en-US"/>
          </a:p>
        </p:txBody>
      </p:sp>
    </p:spTree>
    <p:extLst>
      <p:ext uri="{BB962C8B-B14F-4D97-AF65-F5344CB8AC3E}">
        <p14:creationId xmlns:p14="http://schemas.microsoft.com/office/powerpoint/2010/main" val="68076331"/>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F67C77-7EFA-4CAA-A410-E92D82C8E6E1}" type="slidenum">
              <a:rPr lang="en-US" smtClean="0"/>
              <a:pPr/>
              <a:t>135</a:t>
            </a:fld>
            <a:endParaRPr lang="en-US"/>
          </a:p>
        </p:txBody>
      </p:sp>
    </p:spTree>
    <p:extLst>
      <p:ext uri="{BB962C8B-B14F-4D97-AF65-F5344CB8AC3E}">
        <p14:creationId xmlns:p14="http://schemas.microsoft.com/office/powerpoint/2010/main" val="634329722"/>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1037876"/>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refer to for questions, https://docs.microsoft.com/en-us/azure/cosmos-db/vnet-service-endpoint#frequently-asked-question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FA6BD1-E8EF-4630-8805-C05F1B8F9C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9562905"/>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2975973"/>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1707550"/>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dirty="0">
                <a:latin typeface="Segoe UI" panose="020B0502040204020203" pitchFamily="34" charset="0"/>
                <a:cs typeface="Segoe UI" panose="020B0502040204020203" pitchFamily="34" charset="0"/>
              </a:rPr>
              <a:t>When a bulk import API is triggered with a batch of documents, on the client-side, they are first shuffled into buckets corresponding to their target Cosmos DB partition key range. Within each </a:t>
            </a:r>
            <a:r>
              <a:rPr lang="en-US" dirty="0" err="1">
                <a:latin typeface="Segoe UI" panose="020B0502040204020203" pitchFamily="34" charset="0"/>
                <a:cs typeface="Segoe UI" panose="020B0502040204020203" pitchFamily="34" charset="0"/>
              </a:rPr>
              <a:t>partiton</a:t>
            </a:r>
            <a:r>
              <a:rPr lang="en-US" dirty="0">
                <a:latin typeface="Segoe UI" panose="020B0502040204020203" pitchFamily="34" charset="0"/>
                <a:cs typeface="Segoe UI" panose="020B0502040204020203" pitchFamily="34" charset="0"/>
              </a:rPr>
              <a:t> key range bucket, they are broken down into mini-batches and each mini-batch of documents acts as a payload that is committed transactionally.</a:t>
            </a:r>
          </a:p>
          <a:p>
            <a:pPr lvl="1"/>
            <a:endParaRPr lang="en-US" dirty="0">
              <a:latin typeface="Segoe UI" panose="020B0502040204020203" pitchFamily="34" charset="0"/>
              <a:cs typeface="Segoe UI" panose="020B0502040204020203" pitchFamily="34" charset="0"/>
            </a:endParaRPr>
          </a:p>
          <a:p>
            <a:pPr lvl="1"/>
            <a:r>
              <a:rPr lang="en-US" dirty="0">
                <a:latin typeface="Segoe UI" panose="020B0502040204020203" pitchFamily="34" charset="0"/>
                <a:cs typeface="Segoe UI" panose="020B0502040204020203" pitchFamily="34" charset="0"/>
              </a:rPr>
              <a:t>We have built in optimizations for the concurrent execution of these mini-batches both within and across partition key ranges to maximally utilize the allocated container throughput. We have designed an AIMD-style congestion control mechanism for each Cosmos DB partition key range to efficiently handle being rate-limited and timeouts.</a:t>
            </a:r>
          </a:p>
          <a:p>
            <a:pPr lvl="1"/>
            <a:endParaRPr lang="en-US" dirty="0">
              <a:latin typeface="Segoe UI" panose="020B0502040204020203" pitchFamily="34" charset="0"/>
              <a:cs typeface="Segoe UI" panose="020B0502040204020203" pitchFamily="34" charset="0"/>
            </a:endParaRPr>
          </a:p>
          <a:p>
            <a:pPr lvl="1"/>
            <a:r>
              <a:rPr lang="en-US" dirty="0">
                <a:latin typeface="Segoe UI" panose="020B0502040204020203" pitchFamily="34" charset="0"/>
                <a:cs typeface="Segoe UI" panose="020B0502040204020203" pitchFamily="34" charset="0"/>
              </a:rPr>
              <a:t>These client-side optimizations augment server-side features specific to the </a:t>
            </a:r>
            <a:r>
              <a:rPr lang="en-US" dirty="0" err="1">
                <a:latin typeface="Segoe UI" panose="020B0502040204020203" pitchFamily="34" charset="0"/>
                <a:cs typeface="Segoe UI" panose="020B0502040204020203" pitchFamily="34" charset="0"/>
              </a:rPr>
              <a:t>BulkExecutor</a:t>
            </a:r>
            <a:r>
              <a:rPr lang="en-US" dirty="0">
                <a:latin typeface="Segoe UI" panose="020B0502040204020203" pitchFamily="34" charset="0"/>
                <a:cs typeface="Segoe UI" panose="020B0502040204020203" pitchFamily="34" charset="0"/>
              </a:rPr>
              <a:t> library which together make maximal consumption of available throughput possible.</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FA6BD1-E8EF-4630-8805-C05F1B8F9C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386849"/>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49A09B-4A39-974B-9594-129A7470D5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8072406"/>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CA" dirty="0"/>
              <a:t>&lt;10ms reads and writes with Azure Cosmos DB multi-master</a:t>
            </a:r>
          </a:p>
          <a:p>
            <a:pPr marL="171450" indent="-171450">
              <a:buFont typeface="Arial" panose="020B0604020202020204" pitchFamily="34" charset="0"/>
              <a:buChar char="•"/>
            </a:pPr>
            <a:r>
              <a:rPr lang="en-CA" dirty="0"/>
              <a:t>18 node (L16) DataStax Cassandra cluster ($10,800 DSE licenses, $896 Electricity, $2,540 Networking, $1.146 SSD storage, $9,360 Servers, $16,639 Data Centre)</a:t>
            </a:r>
          </a:p>
          <a:p>
            <a:pPr marL="171450" indent="-171450">
              <a:buFont typeface="Arial" panose="020B0604020202020204" pitchFamily="34" charset="0"/>
              <a:buChar char="•"/>
            </a:pPr>
            <a:r>
              <a:rPr lang="en-CA" dirty="0"/>
              <a:t>18 node (L16) Apache Cassandra cluster ($896 Electricity, $2,540 Networking, $1,146 SSD storage, $9,360 Servers, $16,639 Data Centre)</a:t>
            </a:r>
          </a:p>
          <a:p>
            <a:pPr marL="171450" indent="-171450">
              <a:buFont typeface="Arial" panose="020B0604020202020204" pitchFamily="34" charset="0"/>
              <a:buChar char="•"/>
            </a:pPr>
            <a:r>
              <a:rPr lang="en-CA" dirty="0"/>
              <a:t>Azure Cosmos DB 1 </a:t>
            </a:r>
            <a:r>
              <a:rPr lang="en-CA" dirty="0" err="1"/>
              <a:t>Yr</a:t>
            </a:r>
            <a:r>
              <a:rPr lang="en-CA" dirty="0"/>
              <a:t> reserved capacity ($130 Bandwidth, $1,500 storage, $5,806 throughput)</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79D306-ABDF-4C48-ABA4-A063A909384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9673990"/>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CA" dirty="0"/>
              <a:t>18 node (L16) DataStax Cassandra cluster ($10,800 DSE licenses, $130 bandwidth, $17,832 VMs)</a:t>
            </a:r>
          </a:p>
          <a:p>
            <a:pPr marL="171450" indent="-171450">
              <a:buFont typeface="Arial" panose="020B0604020202020204" pitchFamily="34" charset="0"/>
              <a:buChar char="•"/>
            </a:pPr>
            <a:r>
              <a:rPr lang="en-CA" dirty="0"/>
              <a:t>18 node (L16) Apache Cassandra cluster ($130 bandwidth, $17,832 VMs)</a:t>
            </a:r>
          </a:p>
          <a:p>
            <a:pPr marL="171450" indent="-171450">
              <a:buFont typeface="Arial" panose="020B0604020202020204" pitchFamily="34" charset="0"/>
              <a:buChar char="•"/>
            </a:pPr>
            <a:r>
              <a:rPr lang="en-CA" dirty="0"/>
              <a:t>Azure Cosmos DB ($130 bandwidth, $1,500 storage, $8,294 throughput)</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79D306-ABDF-4C48-ABA4-A063A909384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55967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68575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rPr>
              <a:t>Microsoft Build 2017</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sym typeface="Gill Sans"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81693E6E-1E62-44E6-ADEC-B246846247C0}" type="datetime8">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
        <p:nvSpPr>
          <p:cNvPr id="7" name="Slide Number Placeholder 6"/>
          <p:cNvSpPr>
            <a:spLocks noGrp="1"/>
          </p:cNvSpPr>
          <p:nvPr>
            <p:ph type="sldNum" sz="quarter" idx="13"/>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Tree>
    <p:extLst>
      <p:ext uri="{BB962C8B-B14F-4D97-AF65-F5344CB8AC3E}">
        <p14:creationId xmlns:p14="http://schemas.microsoft.com/office/powerpoint/2010/main" val="3010353085"/>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CA" dirty="0"/>
              <a:t>12 node (L16) MongoDB Enterprise cluster with support ($4.800 MongoDB licenses, $261 bandwidth, $11,889 VMs)</a:t>
            </a:r>
          </a:p>
          <a:p>
            <a:pPr marL="171450" indent="-171450">
              <a:buFont typeface="Arial" panose="020B0604020202020204" pitchFamily="34" charset="0"/>
              <a:buChar char="•"/>
            </a:pPr>
            <a:r>
              <a:rPr lang="en-CA" dirty="0"/>
              <a:t>18 node (L16) MongoDB cluster ($261 bandwidth, $11,889 VMs)</a:t>
            </a:r>
          </a:p>
          <a:p>
            <a:pPr marL="171450" indent="-171450">
              <a:buFont typeface="Arial" panose="020B0604020202020204" pitchFamily="34" charset="0"/>
              <a:buChar char="•"/>
            </a:pPr>
            <a:r>
              <a:rPr lang="en-CA" dirty="0"/>
              <a:t>Azure Cosmos DB ($261 bandwidth, $500 storage, $2,794 throughput)</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79D306-ABDF-4C48-ABA4-A063A909384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739683"/>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a:t>
            </a:r>
            <a:r>
              <a:rPr lang="en-US" err="1"/>
              <a:t>highscalability.com</a:t>
            </a:r>
            <a:r>
              <a:rPr lang="en-US"/>
              <a:t>/blog/2014/3/5/10-things-you-should-know-about-running-mongodb-at-scale.html </a:t>
            </a:r>
          </a:p>
          <a:p>
            <a:r>
              <a:rPr lang="en-US"/>
              <a:t>https://</a:t>
            </a:r>
            <a:r>
              <a:rPr lang="en-US" err="1"/>
              <a:t>eladnava.com</a:t>
            </a:r>
            <a:r>
              <a:rPr lang="en-US"/>
              <a:t>/deploy-a-highly-available-</a:t>
            </a:r>
            <a:r>
              <a:rPr lang="en-US" err="1"/>
              <a:t>mongodb</a:t>
            </a:r>
            <a:r>
              <a:rPr lang="en-US"/>
              <a:t>-replica-set-on-</a:t>
            </a:r>
            <a:r>
              <a:rPr lang="en-US" err="1"/>
              <a:t>aws</a:t>
            </a:r>
            <a:r>
              <a:rPr lang="en-US"/>
              <a:t>/</a:t>
            </a:r>
          </a:p>
          <a:p>
            <a:r>
              <a:rPr lang="en-US"/>
              <a:t>http://</a:t>
            </a:r>
            <a:r>
              <a:rPr lang="en-US" err="1"/>
              <a:t>blog.scottlogic.com</a:t>
            </a:r>
            <a:r>
              <a:rPr lang="en-US"/>
              <a:t>/2017/10/06/</a:t>
            </a:r>
            <a:r>
              <a:rPr lang="en-US" err="1"/>
              <a:t>cassandra</a:t>
            </a:r>
            <a:r>
              <a:rPr lang="en-US"/>
              <a:t>-eventual-</a:t>
            </a:r>
            <a:r>
              <a:rPr lang="en-US" err="1"/>
              <a:t>consistency.html</a:t>
            </a:r>
            <a:r>
              <a:rPr lang="en-US"/>
              <a:t> </a:t>
            </a:r>
          </a:p>
          <a:p>
            <a:r>
              <a:rPr lang="en-US"/>
              <a:t>https://</a:t>
            </a:r>
            <a:r>
              <a:rPr lang="en-US" err="1"/>
              <a:t>www.mongodb.com</a:t>
            </a:r>
            <a:r>
              <a:rPr lang="en-US"/>
              <a:t>/</a:t>
            </a:r>
            <a:r>
              <a:rPr lang="en-US" err="1"/>
              <a:t>faq#consistency</a:t>
            </a:r>
            <a:endParaRPr lang="en-US"/>
          </a:p>
          <a:p>
            <a:r>
              <a:rPr lang="en-US"/>
              <a:t>http://</a:t>
            </a:r>
            <a:r>
              <a:rPr lang="en-US" err="1"/>
              <a:t>highscalability.com</a:t>
            </a:r>
            <a:r>
              <a:rPr lang="en-US"/>
              <a:t>/blog/2016/8/1/how-to-setup-a-highly-available-multi-az-cassandra-cluster-o.html</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79D306-ABDF-4C48-ABA4-A063A909384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6020065"/>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2146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3A93720-CC73-4224-8451-8D62661EC7A7}" type="slidenum">
              <a:rPr kumimoji="0" lang="en-US" sz="1200" b="0" i="0" u="none" strike="noStrike" kern="1200" cap="none" spc="0" normalizeH="0" baseline="0" noProof="0" smtClean="0">
                <a:ln>
                  <a:noFill/>
                </a:ln>
                <a:solidFill>
                  <a:srgbClr val="000000"/>
                </a:solidFill>
                <a:effectLst/>
                <a:uLnTx/>
                <a:uFillTx/>
                <a:latin typeface="Gill Sans" charset="0"/>
                <a:ea typeface="Heiti SC Light" charset="-122"/>
                <a:cs typeface="+mn-cs"/>
                <a:sym typeface="Gill Sans" charset="0"/>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US" sz="1200" b="0" i="0" u="none" strike="noStrike" kern="1200" cap="none" spc="0" normalizeH="0" baseline="0" noProof="0">
              <a:ln>
                <a:noFill/>
              </a:ln>
              <a:solidFill>
                <a:srgbClr val="000000"/>
              </a:solidFill>
              <a:effectLst/>
              <a:uLnTx/>
              <a:uFillTx/>
              <a:latin typeface="Gill Sans" charset="0"/>
              <a:ea typeface="Heiti SC Light" charset="-122"/>
              <a:cs typeface="+mn-cs"/>
              <a:sym typeface="Gill Sans" charset="0"/>
            </a:endParaRPr>
          </a:p>
        </p:txBody>
      </p:sp>
    </p:spTree>
    <p:extLst>
      <p:ext uri="{BB962C8B-B14F-4D97-AF65-F5344CB8AC3E}">
        <p14:creationId xmlns:p14="http://schemas.microsoft.com/office/powerpoint/2010/main" val="28410443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3A5C127-CB05-47B6-8D1E-7BC74A68F50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2019 11:5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185496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991885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atin typeface="+mn-lt"/>
              </a:rPr>
              <a:t> </a:t>
            </a:r>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D6FCFD6A-4BD9-4516-9E31-F047A5C7030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33700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F67C77-7EFA-4CAA-A410-E92D82C8E6E1}"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35276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F67C77-7EFA-4CAA-A410-E92D82C8E6E1}" type="slidenum">
              <a:rPr lang="en-US" smtClean="0"/>
              <a:pPr/>
              <a:t>2</a:t>
            </a:fld>
            <a:endParaRPr lang="en-US"/>
          </a:p>
        </p:txBody>
      </p:sp>
    </p:spTree>
    <p:extLst>
      <p:ext uri="{BB962C8B-B14F-4D97-AF65-F5344CB8AC3E}">
        <p14:creationId xmlns:p14="http://schemas.microsoft.com/office/powerpoint/2010/main" val="17193624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08254" rtl="0" eaLnBrk="1" fontAlgn="auto" latinLnBrk="0" hangingPunct="1">
              <a:lnSpc>
                <a:spcPct val="100000"/>
              </a:lnSpc>
              <a:spcBef>
                <a:spcPts val="0"/>
              </a:spcBef>
              <a:spcAft>
                <a:spcPts val="0"/>
              </a:spcAft>
              <a:buClrTx/>
              <a:buSzTx/>
              <a:buFontTx/>
              <a:buNone/>
              <a:tabLst/>
              <a:defRPr/>
            </a:pPr>
            <a:fld id="{33B4F511-E339-46BF-9D1D-672D4B95B88F}"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08254"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229709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997830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608869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F67C77-7EFA-4CAA-A410-E92D82C8E6E1}" type="slidenum">
              <a:rPr lang="en-US" smtClean="0"/>
              <a:pPr/>
              <a:t>25</a:t>
            </a:fld>
            <a:endParaRPr lang="en-US"/>
          </a:p>
        </p:txBody>
      </p:sp>
    </p:spTree>
    <p:extLst>
      <p:ext uri="{BB962C8B-B14F-4D97-AF65-F5344CB8AC3E}">
        <p14:creationId xmlns:p14="http://schemas.microsoft.com/office/powerpoint/2010/main" val="22275046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3A93720-CC73-4224-8451-8D62661EC7A7}" type="slidenum">
              <a:rPr kumimoji="0" lang="en-US" sz="1200" b="0" i="0" u="none" strike="noStrike" kern="1200" cap="none" spc="0" normalizeH="0" baseline="0" noProof="0" smtClean="0">
                <a:ln>
                  <a:noFill/>
                </a:ln>
                <a:solidFill>
                  <a:srgbClr val="000000"/>
                </a:solidFill>
                <a:effectLst/>
                <a:uLnTx/>
                <a:uFillTx/>
                <a:latin typeface="Gill Sans" charset="0"/>
                <a:ea typeface="Heiti SC Light" charset="-122"/>
                <a:cs typeface="+mn-cs"/>
                <a:sym typeface="Gill Sans" charset="0"/>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en-US" sz="1200" b="0" i="0" u="none" strike="noStrike" kern="1200" cap="none" spc="0" normalizeH="0" baseline="0" noProof="0">
              <a:ln>
                <a:noFill/>
              </a:ln>
              <a:solidFill>
                <a:srgbClr val="000000"/>
              </a:solidFill>
              <a:effectLst/>
              <a:uLnTx/>
              <a:uFillTx/>
              <a:latin typeface="Gill Sans" charset="0"/>
              <a:ea typeface="Heiti SC Light" charset="-122"/>
              <a:cs typeface="+mn-cs"/>
              <a:sym typeface="Gill Sans" charset="0"/>
            </a:endParaRPr>
          </a:p>
        </p:txBody>
      </p:sp>
    </p:spTree>
    <p:extLst>
      <p:ext uri="{BB962C8B-B14F-4D97-AF65-F5344CB8AC3E}">
        <p14:creationId xmlns:p14="http://schemas.microsoft.com/office/powerpoint/2010/main" val="280112117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68575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Heiti SC Light" charset="-122"/>
                <a:cs typeface="+mn-cs"/>
                <a:sym typeface="Gill Sans" charset="0"/>
              </a:rPr>
              <a:t>Microsoft Build 2017</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sym typeface="Gill Sans"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81693E6E-1E62-44E6-ADEC-B246846247C0}" type="datetime8">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Heiti SC Light" charset="-122"/>
              <a:cs typeface="+mn-cs"/>
              <a:sym typeface="Gill Sans" charset="0"/>
            </a:endParaRPr>
          </a:p>
        </p:txBody>
      </p:sp>
      <p:sp>
        <p:nvSpPr>
          <p:cNvPr id="7" name="Slide Number Placeholder 6"/>
          <p:cNvSpPr>
            <a:spLocks noGrp="1"/>
          </p:cNvSpPr>
          <p:nvPr>
            <p:ph type="sldNum" sz="quarter" idx="13"/>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Heiti SC Light" charset="-122"/>
              <a:cs typeface="+mn-cs"/>
              <a:sym typeface="Gill Sans" charset="0"/>
            </a:endParaRPr>
          </a:p>
        </p:txBody>
      </p:sp>
    </p:spTree>
    <p:extLst>
      <p:ext uri="{BB962C8B-B14F-4D97-AF65-F5344CB8AC3E}">
        <p14:creationId xmlns:p14="http://schemas.microsoft.com/office/powerpoint/2010/main" val="35340994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68575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Heiti SC Light" charset="-122"/>
                <a:cs typeface="+mn-cs"/>
                <a:sym typeface="Gill Sans" charset="0"/>
              </a:rPr>
              <a:t>Microsoft Build 2017</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sym typeface="Gill Sans"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81693E6E-1E62-44E6-ADEC-B246846247C0}" type="datetime8">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Heiti SC Light" charset="-122"/>
              <a:cs typeface="+mn-cs"/>
              <a:sym typeface="Gill Sans" charset="0"/>
            </a:endParaRPr>
          </a:p>
        </p:txBody>
      </p:sp>
      <p:sp>
        <p:nvSpPr>
          <p:cNvPr id="7" name="Slide Number Placeholder 6"/>
          <p:cNvSpPr>
            <a:spLocks noGrp="1"/>
          </p:cNvSpPr>
          <p:nvPr>
            <p:ph type="sldNum" sz="quarter" idx="13"/>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Heiti SC Light" charset="-122"/>
              <a:cs typeface="+mn-cs"/>
              <a:sym typeface="Gill Sans" charset="0"/>
            </a:endParaRPr>
          </a:p>
        </p:txBody>
      </p:sp>
    </p:spTree>
    <p:extLst>
      <p:ext uri="{BB962C8B-B14F-4D97-AF65-F5344CB8AC3E}">
        <p14:creationId xmlns:p14="http://schemas.microsoft.com/office/powerpoint/2010/main" val="181341830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49F67C77-7EFA-4CAA-A410-E92D82C8E6E1}" type="slidenum">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Tree>
    <p:extLst>
      <p:ext uri="{BB962C8B-B14F-4D97-AF65-F5344CB8AC3E}">
        <p14:creationId xmlns:p14="http://schemas.microsoft.com/office/powerpoint/2010/main" val="197676972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F67C77-7EFA-4CAA-A410-E92D82C8E6E1}" type="slidenum">
              <a:rPr lang="en-US" smtClean="0"/>
              <a:pPr/>
              <a:t>30</a:t>
            </a:fld>
            <a:endParaRPr lang="en-US"/>
          </a:p>
        </p:txBody>
      </p:sp>
    </p:spTree>
    <p:extLst>
      <p:ext uri="{BB962C8B-B14F-4D97-AF65-F5344CB8AC3E}">
        <p14:creationId xmlns:p14="http://schemas.microsoft.com/office/powerpoint/2010/main" val="28128394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68575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rPr>
              <a:t>Microsoft Build 2017</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sym typeface="Gill Sans"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81693E6E-1E62-44E6-ADEC-B246846247C0}" type="datetime8">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
        <p:nvSpPr>
          <p:cNvPr id="7" name="Slide Number Placeholder 6"/>
          <p:cNvSpPr>
            <a:spLocks noGrp="1"/>
          </p:cNvSpPr>
          <p:nvPr>
            <p:ph type="sldNum" sz="quarter" idx="13"/>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Tree>
    <p:extLst>
      <p:ext uri="{BB962C8B-B14F-4D97-AF65-F5344CB8AC3E}">
        <p14:creationId xmlns:p14="http://schemas.microsoft.com/office/powerpoint/2010/main" val="35566354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2v9y0dukr6mq2.cloudfront.net/video/thumbnail/xCCDBUa/blue-planet-earth-rotation-with-space-background-4k-animation_ed3hfc3cl__F0000.png</a:t>
            </a:r>
          </a:p>
          <a:p>
            <a:r>
              <a:rPr lang="en-US" sz="900" u="sng" dirty="0">
                <a:solidFill>
                  <a:schemeClr val="bg1"/>
                </a:solidFill>
                <a:latin typeface="Mathlete Bulky" panose="00000600000000000000" pitchFamily="50" charset="0"/>
              </a:rPr>
              <a:t>Earth Planet Profile</a:t>
            </a:r>
          </a:p>
          <a:p>
            <a:r>
              <a:rPr lang="en-US" sz="900" dirty="0">
                <a:solidFill>
                  <a:schemeClr val="bg1"/>
                </a:solidFill>
                <a:latin typeface="Mathlete Bulky" panose="00000600000000000000" pitchFamily="50" charset="0"/>
              </a:rPr>
              <a:t>Equatorial Diameter: 12,756 km</a:t>
            </a:r>
          </a:p>
          <a:p>
            <a:r>
              <a:rPr lang="en-US" sz="900" dirty="0">
                <a:solidFill>
                  <a:schemeClr val="bg1"/>
                </a:solidFill>
                <a:latin typeface="Mathlete Bulky" panose="00000600000000000000" pitchFamily="50" charset="0"/>
              </a:rPr>
              <a:t>Polar Diameter: 12,714 km</a:t>
            </a:r>
          </a:p>
          <a:p>
            <a:endParaRPr lang="en-US" dirty="0"/>
          </a:p>
        </p:txBody>
      </p:sp>
      <p:sp>
        <p:nvSpPr>
          <p:cNvPr id="4" name="Slide Number Placeholder 3"/>
          <p:cNvSpPr>
            <a:spLocks noGrp="1"/>
          </p:cNvSpPr>
          <p:nvPr>
            <p:ph type="sldNum" sz="quarter" idx="10"/>
          </p:nvPr>
        </p:nvSpPr>
        <p:spPr/>
        <p:txBody>
          <a:bodyPr/>
          <a:lstStyle/>
          <a:p>
            <a:pPr marL="0" marR="0" lvl="0" indent="0" algn="r" defTabSz="685800" rtl="0" eaLnBrk="1" fontAlgn="auto" latinLnBrk="1" hangingPunct="1">
              <a:lnSpc>
                <a:spcPct val="100000"/>
              </a:lnSpc>
              <a:spcBef>
                <a:spcPts val="0"/>
              </a:spcBef>
              <a:spcAft>
                <a:spcPts val="0"/>
              </a:spcAft>
              <a:buClrTx/>
              <a:buSzTx/>
              <a:buFontTx/>
              <a:buNone/>
              <a:tabLst/>
              <a:defRPr/>
            </a:pPr>
            <a:fld id="{04D36DE5-3C53-40F6-957E-75AFBAC560B5}" type="slidenum">
              <a:rPr kumimoji="0" lang="ko-KR" altLang="en-US" sz="1200" b="0" i="0" u="none" strike="noStrike" kern="1200" cap="none" spc="0" normalizeH="0" baseline="0" noProof="0" smtClean="0">
                <a:ln>
                  <a:noFill/>
                </a:ln>
                <a:solidFill>
                  <a:prstClr val="black"/>
                </a:solidFill>
                <a:effectLst/>
                <a:uLnTx/>
                <a:uFillTx/>
                <a:latin typeface="맑은 고딕" panose="020F0502020204030204"/>
                <a:ea typeface="맑은 고딕" panose="020B0503020000020004" pitchFamily="34" charset="-127"/>
                <a:cs typeface="+mn-cs"/>
              </a:rPr>
              <a:pPr marL="0" marR="0" lvl="0" indent="0" algn="r" defTabSz="685800" rtl="0" eaLnBrk="1" fontAlgn="auto" latinLnBrk="1" hangingPunct="1">
                <a:lnSpc>
                  <a:spcPct val="100000"/>
                </a:lnSpc>
                <a:spcBef>
                  <a:spcPts val="0"/>
                </a:spcBef>
                <a:spcAft>
                  <a:spcPts val="0"/>
                </a:spcAft>
                <a:buClrTx/>
                <a:buSzTx/>
                <a:buFontTx/>
                <a:buNone/>
                <a:tabLst/>
                <a:defRPr/>
              </a:pPr>
              <a:t>3</a:t>
            </a:fld>
            <a:endParaRPr kumimoji="0" lang="ko-KR" altLang="en-US" sz="1200" b="0" i="0" u="none" strike="noStrike" kern="1200" cap="none" spc="0" normalizeH="0" baseline="0" noProof="0">
              <a:ln>
                <a:noFill/>
              </a:ln>
              <a:solidFill>
                <a:prstClr val="black"/>
              </a:solidFill>
              <a:effectLst/>
              <a:uLnTx/>
              <a:uFillTx/>
              <a:latin typeface="맑은 고딕" panose="020F0502020204030204"/>
              <a:ea typeface="맑은 고딕" panose="020B0503020000020004" pitchFamily="34" charset="-127"/>
              <a:cs typeface="+mn-cs"/>
            </a:endParaRPr>
          </a:p>
        </p:txBody>
      </p:sp>
    </p:spTree>
    <p:extLst>
      <p:ext uri="{BB962C8B-B14F-4D97-AF65-F5344CB8AC3E}">
        <p14:creationId xmlns:p14="http://schemas.microsoft.com/office/powerpoint/2010/main" val="13915519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68575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Heiti SC Light" charset="-122"/>
                <a:cs typeface="+mn-cs"/>
                <a:sym typeface="Gill Sans" charset="0"/>
              </a:rPr>
              <a:t>Microsoft Build 2017</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sym typeface="Gill Sans"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81693E6E-1E62-44E6-ADEC-B246846247C0}" type="datetime8">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Heiti SC Light" charset="-122"/>
              <a:cs typeface="+mn-cs"/>
              <a:sym typeface="Gill Sans" charset="0"/>
            </a:endParaRPr>
          </a:p>
        </p:txBody>
      </p:sp>
      <p:sp>
        <p:nvSpPr>
          <p:cNvPr id="7" name="Slide Number Placeholder 6"/>
          <p:cNvSpPr>
            <a:spLocks noGrp="1"/>
          </p:cNvSpPr>
          <p:nvPr>
            <p:ph type="sldNum" sz="quarter" idx="13"/>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Heiti SC Light" charset="-122"/>
              <a:cs typeface="+mn-cs"/>
              <a:sym typeface="Gill Sans" charset="0"/>
            </a:endParaRPr>
          </a:p>
        </p:txBody>
      </p:sp>
    </p:spTree>
    <p:extLst>
      <p:ext uri="{BB962C8B-B14F-4D97-AF65-F5344CB8AC3E}">
        <p14:creationId xmlns:p14="http://schemas.microsoft.com/office/powerpoint/2010/main" val="51454809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68575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Heiti SC Light" charset="-122"/>
                <a:cs typeface="+mn-cs"/>
                <a:sym typeface="Gill Sans" charset="0"/>
              </a:rPr>
              <a:t>Microsoft Build 2017</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sym typeface="Gill Sans"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81693E6E-1E62-44E6-ADEC-B246846247C0}" type="datetime8">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Heiti SC Light" charset="-122"/>
              <a:cs typeface="+mn-cs"/>
              <a:sym typeface="Gill Sans" charset="0"/>
            </a:endParaRPr>
          </a:p>
        </p:txBody>
      </p:sp>
      <p:sp>
        <p:nvSpPr>
          <p:cNvPr id="7" name="Slide Number Placeholder 6"/>
          <p:cNvSpPr>
            <a:spLocks noGrp="1"/>
          </p:cNvSpPr>
          <p:nvPr>
            <p:ph type="sldNum" sz="quarter" idx="13"/>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Heiti SC Light" charset="-122"/>
              <a:cs typeface="+mn-cs"/>
              <a:sym typeface="Gill Sans" charset="0"/>
            </a:endParaRPr>
          </a:p>
        </p:txBody>
      </p:sp>
    </p:spTree>
    <p:extLst>
      <p:ext uri="{BB962C8B-B14F-4D97-AF65-F5344CB8AC3E}">
        <p14:creationId xmlns:p14="http://schemas.microsoft.com/office/powerpoint/2010/main" val="306511479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3A93720-CC73-4224-8451-8D62661EC7A7}" type="slidenum">
              <a:rPr kumimoji="0" lang="en-US" sz="1200" b="0" i="0" u="none" strike="noStrike" kern="1200" cap="none" spc="0" normalizeH="0" baseline="0" noProof="0" smtClean="0">
                <a:ln>
                  <a:noFill/>
                </a:ln>
                <a:solidFill>
                  <a:srgbClr val="000000"/>
                </a:solidFill>
                <a:effectLst/>
                <a:uLnTx/>
                <a:uFillTx/>
                <a:latin typeface="Gill Sans" charset="0"/>
                <a:ea typeface="Heiti SC Light" charset="-122"/>
                <a:cs typeface="+mn-cs"/>
                <a:sym typeface="Gill Sans" charset="0"/>
              </a:rPr>
              <a:pPr marL="0" marR="0" lvl="0" indent="0" algn="r" defTabSz="914400" rtl="0" eaLnBrk="1" fontAlgn="base" latinLnBrk="0" hangingPunct="1">
                <a:lnSpc>
                  <a:spcPct val="100000"/>
                </a:lnSpc>
                <a:spcBef>
                  <a:spcPct val="0"/>
                </a:spcBef>
                <a:spcAft>
                  <a:spcPct val="0"/>
                </a:spcAft>
                <a:buClrTx/>
                <a:buSzTx/>
                <a:buFontTx/>
                <a:buNone/>
                <a:tabLst/>
                <a:defRPr/>
              </a:pPr>
              <a:t>34</a:t>
            </a:fld>
            <a:endParaRPr kumimoji="0" lang="en-US" sz="1200" b="0" i="0" u="none" strike="noStrike" kern="1200" cap="none" spc="0" normalizeH="0" baseline="0" noProof="0">
              <a:ln>
                <a:noFill/>
              </a:ln>
              <a:solidFill>
                <a:srgbClr val="000000"/>
              </a:solidFill>
              <a:effectLst/>
              <a:uLnTx/>
              <a:uFillTx/>
              <a:latin typeface="Gill Sans" charset="0"/>
              <a:ea typeface="Heiti SC Light" charset="-122"/>
              <a:cs typeface="+mn-cs"/>
              <a:sym typeface="Gill Sans" charset="0"/>
            </a:endParaRPr>
          </a:p>
        </p:txBody>
      </p:sp>
    </p:spTree>
    <p:extLst>
      <p:ext uri="{BB962C8B-B14F-4D97-AF65-F5344CB8AC3E}">
        <p14:creationId xmlns:p14="http://schemas.microsoft.com/office/powerpoint/2010/main" val="143767872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68575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rPr>
              <a:t>Microsoft Build 2017</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sym typeface="Gill Sans"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81693E6E-1E62-44E6-ADEC-B246846247C0}" type="datetime8">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
        <p:nvSpPr>
          <p:cNvPr id="7" name="Slide Number Placeholder 6"/>
          <p:cNvSpPr>
            <a:spLocks noGrp="1"/>
          </p:cNvSpPr>
          <p:nvPr>
            <p:ph type="sldNum" sz="quarter" idx="13"/>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Tree>
    <p:extLst>
      <p:ext uri="{BB962C8B-B14F-4D97-AF65-F5344CB8AC3E}">
        <p14:creationId xmlns:p14="http://schemas.microsoft.com/office/powerpoint/2010/main" val="375119467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68575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rPr>
              <a:t>Microsoft Build 2017</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sym typeface="Gill Sans"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81693E6E-1E62-44E6-ADEC-B246846247C0}" type="datetime8">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
        <p:nvSpPr>
          <p:cNvPr id="7" name="Slide Number Placeholder 6"/>
          <p:cNvSpPr>
            <a:spLocks noGrp="1"/>
          </p:cNvSpPr>
          <p:nvPr>
            <p:ph type="sldNum" sz="quarter" idx="13"/>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Tree>
    <p:extLst>
      <p:ext uri="{BB962C8B-B14F-4D97-AF65-F5344CB8AC3E}">
        <p14:creationId xmlns:p14="http://schemas.microsoft.com/office/powerpoint/2010/main" val="235285824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3A93720-CC73-4224-8451-8D62661EC7A7}" type="slidenum">
              <a:rPr kumimoji="0" lang="en-US" sz="1200" b="0" i="0" u="none" strike="noStrike" kern="1200" cap="none" spc="0" normalizeH="0" baseline="0" noProof="0" smtClean="0">
                <a:ln>
                  <a:noFill/>
                </a:ln>
                <a:solidFill>
                  <a:srgbClr val="000000"/>
                </a:solidFill>
                <a:effectLst/>
                <a:uLnTx/>
                <a:uFillTx/>
                <a:latin typeface="Gill Sans" charset="0"/>
                <a:ea typeface="Heiti SC Light" charset="-122"/>
                <a:cs typeface="+mn-cs"/>
                <a:sym typeface="Gill Sans" charset="0"/>
              </a:rPr>
              <a:pPr marL="0" marR="0" lvl="0" indent="0" algn="r" defTabSz="914400" rtl="0" eaLnBrk="1" fontAlgn="base" latinLnBrk="0" hangingPunct="1">
                <a:lnSpc>
                  <a:spcPct val="100000"/>
                </a:lnSpc>
                <a:spcBef>
                  <a:spcPct val="0"/>
                </a:spcBef>
                <a:spcAft>
                  <a:spcPct val="0"/>
                </a:spcAft>
                <a:buClrTx/>
                <a:buSzTx/>
                <a:buFontTx/>
                <a:buNone/>
                <a:tabLst/>
                <a:defRPr/>
              </a:pPr>
              <a:t>37</a:t>
            </a:fld>
            <a:endParaRPr kumimoji="0" lang="en-US" sz="1200" b="0" i="0" u="none" strike="noStrike" kern="1200" cap="none" spc="0" normalizeH="0" baseline="0" noProof="0">
              <a:ln>
                <a:noFill/>
              </a:ln>
              <a:solidFill>
                <a:srgbClr val="000000"/>
              </a:solidFill>
              <a:effectLst/>
              <a:uLnTx/>
              <a:uFillTx/>
              <a:latin typeface="Gill Sans" charset="0"/>
              <a:ea typeface="Heiti SC Light" charset="-122"/>
              <a:cs typeface="+mn-cs"/>
              <a:sym typeface="Gill Sans" charset="0"/>
            </a:endParaRPr>
          </a:p>
        </p:txBody>
      </p:sp>
    </p:spTree>
    <p:extLst>
      <p:ext uri="{BB962C8B-B14F-4D97-AF65-F5344CB8AC3E}">
        <p14:creationId xmlns:p14="http://schemas.microsoft.com/office/powerpoint/2010/main" val="289391013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68575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rPr>
              <a:t>Microsoft Build 2017</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sym typeface="Gill Sans"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81693E6E-1E62-44E6-ADEC-B246846247C0}" type="datetime8">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
        <p:nvSpPr>
          <p:cNvPr id="7" name="Slide Number Placeholder 6"/>
          <p:cNvSpPr>
            <a:spLocks noGrp="1"/>
          </p:cNvSpPr>
          <p:nvPr>
            <p:ph type="sldNum" sz="quarter" idx="13"/>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Tree>
    <p:extLst>
      <p:ext uri="{BB962C8B-B14F-4D97-AF65-F5344CB8AC3E}">
        <p14:creationId xmlns:p14="http://schemas.microsoft.com/office/powerpoint/2010/main" val="248489197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68575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rPr>
              <a:t>Microsoft Build 2017</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sym typeface="Gill Sans"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81693E6E-1E62-44E6-ADEC-B246846247C0}" type="datetime8">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
        <p:nvSpPr>
          <p:cNvPr id="7" name="Slide Number Placeholder 6"/>
          <p:cNvSpPr>
            <a:spLocks noGrp="1"/>
          </p:cNvSpPr>
          <p:nvPr>
            <p:ph type="sldNum" sz="quarter" idx="13"/>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Tree>
    <p:extLst>
      <p:ext uri="{BB962C8B-B14F-4D97-AF65-F5344CB8AC3E}">
        <p14:creationId xmlns:p14="http://schemas.microsoft.com/office/powerpoint/2010/main" val="222717729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3704213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4500" dirty="0">
                <a:solidFill>
                  <a:srgbClr val="00B0F0"/>
                </a:solidFill>
                <a:cs typeface="Segoe UI Light" panose="020B0502040204020203" pitchFamily="34" charset="0"/>
              </a:rPr>
              <a:t>Unique design of the quorum based replication protocol</a:t>
            </a:r>
          </a:p>
          <a:p>
            <a:pPr lvl="1"/>
            <a:r>
              <a:rPr lang="en-US" sz="3700" dirty="0">
                <a:solidFill>
                  <a:schemeClr val="bg1"/>
                </a:solidFill>
                <a:cs typeface="Segoe UI Light" panose="020B0502040204020203" pitchFamily="34" charset="0"/>
              </a:rPr>
              <a:t>Globally distributed with reads and writes served from local region</a:t>
            </a:r>
          </a:p>
          <a:p>
            <a:pPr lvl="1"/>
            <a:r>
              <a:rPr lang="en-US" sz="3700" dirty="0">
                <a:solidFill>
                  <a:schemeClr val="bg1"/>
                </a:solidFill>
                <a:cs typeface="Segoe UI Light" panose="020B0502040204020203" pitchFamily="34" charset="0"/>
              </a:rPr>
              <a:t>Well defined consistency models designed to provide precise consistency guarantees</a:t>
            </a:r>
          </a:p>
          <a:p>
            <a:pPr lvl="1"/>
            <a:endParaRPr lang="en-US" sz="3700" dirty="0">
              <a:solidFill>
                <a:schemeClr val="bg1"/>
              </a:solidFill>
              <a:cs typeface="Segoe UI Light" panose="020B0502040204020203" pitchFamily="34" charset="0"/>
            </a:endParaRPr>
          </a:p>
          <a:p>
            <a:pPr lvl="0"/>
            <a:r>
              <a:rPr lang="en-US" sz="4500" dirty="0">
                <a:solidFill>
                  <a:srgbClr val="00B0F0"/>
                </a:solidFill>
                <a:cs typeface="Segoe UI Light" panose="020B0502040204020203" pitchFamily="34" charset="0"/>
              </a:rPr>
              <a:t>Unique design of database engine</a:t>
            </a:r>
          </a:p>
          <a:p>
            <a:pPr lvl="1"/>
            <a:r>
              <a:rPr lang="en-US" sz="3700" dirty="0">
                <a:solidFill>
                  <a:schemeClr val="bg1"/>
                </a:solidFill>
                <a:cs typeface="Segoe UI Light" panose="020B0502040204020203" pitchFamily="34" charset="0"/>
              </a:rPr>
              <a:t>Write optimized, latch-free database engine designed for SSDs and low latency access</a:t>
            </a:r>
          </a:p>
          <a:p>
            <a:pPr lvl="1"/>
            <a:r>
              <a:rPr lang="en-US" sz="3700" dirty="0">
                <a:solidFill>
                  <a:schemeClr val="bg1"/>
                </a:solidFill>
                <a:cs typeface="Segoe UI Light" panose="020B0502040204020203" pitchFamily="34" charset="0"/>
              </a:rPr>
              <a:t>Culmination of decades of database system research in marrying the best of NoSQL techniques for the write path with the Relational query optimized data structures concurrent </a:t>
            </a:r>
            <a:r>
              <a:rPr lang="en-US" sz="3700" dirty="0" err="1">
                <a:solidFill>
                  <a:schemeClr val="bg1"/>
                </a:solidFill>
                <a:cs typeface="Segoe UI Light" panose="020B0502040204020203" pitchFamily="34" charset="0"/>
              </a:rPr>
              <a:t>btree</a:t>
            </a:r>
            <a:r>
              <a:rPr lang="en-US" sz="3700" dirty="0">
                <a:solidFill>
                  <a:schemeClr val="bg1"/>
                </a:solidFill>
                <a:cs typeface="Segoe UI Light" panose="020B0502040204020203" pitchFamily="34" charset="0"/>
              </a:rPr>
              <a:t> on the read/query path</a:t>
            </a:r>
          </a:p>
          <a:p>
            <a:pPr lvl="1"/>
            <a:r>
              <a:rPr lang="en-US" sz="3700" dirty="0">
                <a:solidFill>
                  <a:schemeClr val="bg1"/>
                </a:solidFill>
                <a:cs typeface="Segoe UI Light" panose="020B0502040204020203" pitchFamily="34" charset="0"/>
              </a:rPr>
              <a:t>Benchmarked to have the lowest write and read amplifications.</a:t>
            </a:r>
          </a:p>
          <a:p>
            <a:pPr lvl="1"/>
            <a:r>
              <a:rPr lang="en-US" sz="3700" dirty="0">
                <a:solidFill>
                  <a:schemeClr val="bg1"/>
                </a:solidFill>
                <a:cs typeface="Segoe UI Light" panose="020B0502040204020203" pitchFamily="34" charset="0"/>
              </a:rPr>
              <a:t>Better performance and TCO compared to all popular log structured engines </a:t>
            </a:r>
            <a:r>
              <a:rPr lang="en-US" sz="3700" dirty="0" err="1">
                <a:solidFill>
                  <a:schemeClr val="bg1"/>
                </a:solidFill>
                <a:cs typeface="Segoe UI Light" panose="020B0502040204020203" pitchFamily="34" charset="0"/>
              </a:rPr>
              <a:t>LevelDB</a:t>
            </a:r>
            <a:r>
              <a:rPr lang="en-US" sz="3700" dirty="0">
                <a:solidFill>
                  <a:schemeClr val="bg1"/>
                </a:solidFill>
                <a:cs typeface="Segoe UI Light" panose="020B0502040204020203" pitchFamily="34" charset="0"/>
              </a:rPr>
              <a:t>, </a:t>
            </a:r>
            <a:r>
              <a:rPr lang="en-US" sz="3700" dirty="0" err="1">
                <a:solidFill>
                  <a:schemeClr val="bg1"/>
                </a:solidFill>
                <a:cs typeface="Segoe UI Light" panose="020B0502040204020203" pitchFamily="34" charset="0"/>
              </a:rPr>
              <a:t>RocksDB</a:t>
            </a:r>
            <a:r>
              <a:rPr lang="en-US" sz="3700" dirty="0">
                <a:solidFill>
                  <a:schemeClr val="bg1"/>
                </a:solidFill>
                <a:cs typeface="Segoe UI Light" panose="020B0502040204020203" pitchFamily="34" charset="0"/>
              </a:rPr>
              <a:t>, </a:t>
            </a:r>
            <a:r>
              <a:rPr lang="en-US" sz="3700" dirty="0" err="1">
                <a:solidFill>
                  <a:schemeClr val="bg1"/>
                </a:solidFill>
                <a:cs typeface="Segoe UI Light" panose="020B0502040204020203" pitchFamily="34" charset="0"/>
              </a:rPr>
              <a:t>TokuDB</a:t>
            </a:r>
            <a:r>
              <a:rPr lang="en-US" sz="3700" dirty="0">
                <a:solidFill>
                  <a:schemeClr val="bg1"/>
                </a:solidFill>
                <a:cs typeface="Segoe UI Light" panose="020B0502040204020203" pitchFamily="34" charset="0"/>
              </a:rPr>
              <a:t>, </a:t>
            </a:r>
            <a:r>
              <a:rPr lang="en-US" sz="3700" dirty="0" err="1">
                <a:solidFill>
                  <a:schemeClr val="bg1"/>
                </a:solidFill>
                <a:cs typeface="Segoe UI Light" panose="020B0502040204020203" pitchFamily="34" charset="0"/>
              </a:rPr>
              <a:t>WiredTiger</a:t>
            </a:r>
            <a:endParaRPr lang="en-US" sz="3700" dirty="0">
              <a:solidFill>
                <a:schemeClr val="bg1"/>
              </a:solidFill>
              <a:cs typeface="Segoe UI Light" panose="020B0502040204020203" pitchFamily="34" charset="0"/>
            </a:endParaRPr>
          </a:p>
          <a:p>
            <a:pPr lvl="1"/>
            <a:r>
              <a:rPr lang="en-US" sz="3700" dirty="0">
                <a:solidFill>
                  <a:schemeClr val="bg1"/>
                </a:solidFill>
                <a:cs typeface="Segoe UI Light" panose="020B0502040204020203" pitchFamily="34" charset="0"/>
              </a:rPr>
              <a:t>Fully resource governed NO WRITE PAUSES</a:t>
            </a:r>
          </a:p>
          <a:p>
            <a:pPr marL="593960" lvl="1" indent="0">
              <a:buNone/>
            </a:pPr>
            <a:endParaRPr lang="en-US" sz="3700" dirty="0">
              <a:solidFill>
                <a:schemeClr val="bg1"/>
              </a:solidFill>
              <a:cs typeface="Segoe UI Light" panose="020B0502040204020203" pitchFamily="34" charset="0"/>
            </a:endParaRPr>
          </a:p>
          <a:p>
            <a:pPr lvl="0"/>
            <a:r>
              <a:rPr lang="en-US" sz="4500" dirty="0">
                <a:solidFill>
                  <a:srgbClr val="00B0F0"/>
                </a:solidFill>
                <a:cs typeface="Segoe UI Light" panose="020B0502040204020203" pitchFamily="34" charset="0"/>
              </a:rPr>
              <a:t>Synchronous and automatic indexing at sustained ingestion rates</a:t>
            </a:r>
          </a:p>
          <a:p>
            <a:pPr lvl="1"/>
            <a:r>
              <a:rPr lang="en-US" sz="3700" dirty="0">
                <a:solidFill>
                  <a:schemeClr val="bg1"/>
                </a:solidFill>
                <a:cs typeface="Segoe UI Light" panose="020B0502040204020203" pitchFamily="34" charset="0"/>
              </a:rPr>
              <a:t>No schema or index management needed</a:t>
            </a:r>
          </a:p>
          <a:p>
            <a:pPr lvl="1"/>
            <a:r>
              <a:rPr lang="en-US" sz="3700" dirty="0">
                <a:solidFill>
                  <a:schemeClr val="bg1"/>
                </a:solidFill>
                <a:cs typeface="Segoe UI Light" panose="020B0502040204020203" pitchFamily="34" charset="0"/>
              </a:rPr>
              <a:t>No schema versioning needed</a:t>
            </a:r>
          </a:p>
          <a:p>
            <a:pPr lvl="1"/>
            <a:r>
              <a:rPr lang="en-US" sz="3700" dirty="0">
                <a:solidFill>
                  <a:schemeClr val="bg1"/>
                </a:solidFill>
                <a:cs typeface="Segoe UI Light" panose="020B0502040204020203" pitchFamily="34" charset="0"/>
              </a:rPr>
              <a:t>No schema migration needed</a:t>
            </a:r>
          </a:p>
          <a:p>
            <a:pPr lvl="1"/>
            <a:r>
              <a:rPr lang="en-US" sz="3700" dirty="0">
                <a:solidFill>
                  <a:schemeClr val="bg1"/>
                </a:solidFill>
                <a:cs typeface="Segoe UI Light" panose="020B0502040204020203" pitchFamily="34" charset="0"/>
              </a:rPr>
              <a:t>All of this is highly relevant for rapidly evolving apps in a globally distributed setup</a:t>
            </a:r>
          </a:p>
          <a:p>
            <a:pPr marL="272941" indent="-272941" defTabSz="873409"/>
            <a:endParaRPr lang="en-US" sz="2300" kern="0" dirty="0">
              <a:solidFill>
                <a:schemeClr val="bg1"/>
              </a:solidFill>
              <a:cs typeface="Segoe UI Light" panose="020B0502040204020203" pitchFamily="34" charset="0"/>
            </a:endParaRPr>
          </a:p>
          <a:p>
            <a:pPr marL="272941" indent="-272941" defTabSz="873409"/>
            <a:endParaRPr lang="en-US" sz="2300" kern="0" dirty="0">
              <a:solidFill>
                <a:schemeClr val="bg1"/>
              </a:solidFill>
              <a:cs typeface="Segoe UI Light" panose="020B0502040204020203" pitchFamily="34" charset="0"/>
            </a:endParaRPr>
          </a:p>
          <a:p>
            <a:pPr defTabSz="930772">
              <a:lnSpc>
                <a:spcPct val="100000"/>
              </a:lnSpc>
              <a:spcAft>
                <a:spcPts val="0"/>
              </a:spcAft>
              <a:defRPr/>
            </a:pPr>
            <a:endParaRPr lang="en-US" sz="1200" dirty="0"/>
          </a:p>
          <a:p>
            <a:pPr defTabSz="930772">
              <a:lnSpc>
                <a:spcPct val="100000"/>
              </a:lnSpc>
              <a:spcAft>
                <a:spcPts val="0"/>
              </a:spcAft>
              <a:defRPr/>
            </a:pPr>
            <a:endParaRPr lang="en-US" sz="1200" dirty="0"/>
          </a:p>
          <a:p>
            <a:pPr defTabSz="930772">
              <a:lnSpc>
                <a:spcPct val="100000"/>
              </a:lnSpc>
              <a:spcAft>
                <a:spcPts val="0"/>
              </a:spcAft>
              <a:defRPr/>
            </a:pPr>
            <a:endParaRPr lang="en-US" sz="1200" dirty="0"/>
          </a:p>
          <a:p>
            <a:pPr defTabSz="930772">
              <a:lnSpc>
                <a:spcPct val="100000"/>
              </a:lnSpc>
              <a:spcAft>
                <a:spcPts val="0"/>
              </a:spcAft>
              <a:defRPr/>
            </a:pPr>
            <a:endParaRPr lang="en-US" sz="1200" dirty="0"/>
          </a:p>
          <a:p>
            <a:pPr defTabSz="930772">
              <a:lnSpc>
                <a:spcPct val="100000"/>
              </a:lnSpc>
              <a:spcAft>
                <a:spcPts val="0"/>
              </a:spcAft>
              <a:defRPr/>
            </a:pPr>
            <a:r>
              <a:rPr lang="en-US" sz="1200" dirty="0"/>
              <a:t>Cosmos DB guarantees low latency access by serving reads and writes from the local regions. This helps your applications to beat the speed of light or network latency across regions.</a:t>
            </a:r>
          </a:p>
          <a:p>
            <a:pPr defTabSz="930772">
              <a:lnSpc>
                <a:spcPct val="100000"/>
              </a:lnSpc>
              <a:spcAft>
                <a:spcPts val="0"/>
              </a:spcAft>
              <a:defRPr/>
            </a:pPr>
            <a:endParaRPr lang="en-US" sz="1200" dirty="0"/>
          </a:p>
          <a:p>
            <a:pPr defTabSz="930772">
              <a:lnSpc>
                <a:spcPct val="100000"/>
              </a:lnSpc>
              <a:spcAft>
                <a:spcPts val="0"/>
              </a:spcAft>
              <a:defRPr/>
            </a:pPr>
            <a:r>
              <a:rPr lang="en-US" sz="1200" dirty="0"/>
              <a:t>Nucleus of Cosmos DB is a write optimized, latch-free database engine which is designed for Solid State Drives. The core design point is low latency and performance and global scale. </a:t>
            </a:r>
          </a:p>
          <a:p>
            <a:pPr defTabSz="930772">
              <a:lnSpc>
                <a:spcPct val="100000"/>
              </a:lnSpc>
              <a:spcAft>
                <a:spcPts val="0"/>
              </a:spcAft>
              <a:defRPr/>
            </a:pPr>
            <a:r>
              <a:rPr lang="en-US" sz="1200" dirty="0"/>
              <a:t>Cosmos DB indexes all your data automatically, synchronously at sustained ingestion rates. There is no overhead of secondary indexes as with other databases. Most of us know the pain of managing indexes. Now imagine for a moment maintaining, managing, migrating indexes at global scale. It is almost impossible but with Azure Cosmos DB, you don’t have to. At P99 Cosmos DB guarantees &lt;10ms latency for read access and &lt;15ms for write access. Most applications will experience even lower latency of under &lt;2ms for reads and &lt;6ms for writes.</a:t>
            </a:r>
          </a:p>
          <a:p>
            <a:pPr defTabSz="930772">
              <a:lnSpc>
                <a:spcPct val="100000"/>
              </a:lnSpc>
              <a:spcAft>
                <a:spcPts val="0"/>
              </a:spcAft>
              <a:defRPr/>
            </a:pPr>
            <a:endParaRPr lang="en-US" sz="1200" dirty="0"/>
          </a:p>
          <a:p>
            <a:pPr defTabSz="930772">
              <a:lnSpc>
                <a:spcPct val="100000"/>
              </a:lnSpc>
              <a:spcAft>
                <a:spcPts val="0"/>
              </a:spcAft>
              <a:defRPr/>
            </a:pPr>
            <a:r>
              <a:rPr lang="en-US" sz="1200" dirty="0"/>
              <a:t>Several of our large scale cloud services at Microsoft uses Cosmos DB for low latency access. All the device telemetry from windows mobile devices is stored in a globally distributed database and with 100s of millions of devices out there, low latency was a key factor in deciding on the right data store.</a:t>
            </a:r>
          </a:p>
          <a:p>
            <a:pPr defTabSz="930772">
              <a:lnSpc>
                <a:spcPct val="100000"/>
              </a:lnSpc>
              <a:spcAft>
                <a:spcPts val="0"/>
              </a:spcAft>
              <a:defRPr/>
            </a:pPr>
            <a:endParaRPr lang="en-US" sz="1200" dirty="0"/>
          </a:p>
          <a:p>
            <a:pPr defTabSz="930772">
              <a:lnSpc>
                <a:spcPct val="100000"/>
              </a:lnSpc>
              <a:spcAft>
                <a:spcPts val="0"/>
              </a:spcAft>
              <a:defRPr/>
            </a:pPr>
            <a:endParaRPr lang="en-US" sz="1200" dirty="0"/>
          </a:p>
          <a:p>
            <a:pPr marL="356054" indent="-356054" defTabSz="930772">
              <a:buFont typeface="Arial" panose="020B0604020202020204" pitchFamily="34" charset="0"/>
              <a:buChar char="•"/>
            </a:pPr>
            <a:endParaRPr lang="en-US" sz="3400" kern="0" dirty="0"/>
          </a:p>
          <a:p>
            <a:endParaRPr lang="en-US" sz="1800" dirty="0">
              <a:solidFill>
                <a:schemeClr val="tx1">
                  <a:lumMod val="75000"/>
                  <a:lumOff val="25000"/>
                </a:schemeClr>
              </a:solidFill>
              <a:cs typeface="Segoe UI Light" panose="020B0502040204020203" pitchFamily="34" charset="0"/>
            </a:endParaRPr>
          </a:p>
          <a:p>
            <a:endParaRPr lang="en-US" dirty="0"/>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EFA9C58-574A-4572-AC9A-C11D2F34D15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Footer Placeholder 7"/>
          <p:cNvSpPr>
            <a:spLocks noGrp="1"/>
          </p:cNvSpPr>
          <p:nvPr>
            <p:ph type="ftr" sz="quarter" idx="14"/>
          </p:nvPr>
        </p:nvSpPr>
        <p:spPr/>
        <p:txBody>
          <a:bodyPr/>
          <a:lstStyle/>
          <a:p>
            <a:pPr marL="413749" marR="0" lvl="0" indent="0" algn="l" defTabSz="9491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1259849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Cosmos DB is a database built for the cloud from the ground up, for the cloud. </a:t>
            </a:r>
            <a:r>
              <a:rPr lang="en-US" sz="1200" kern="1200">
                <a:solidFill>
                  <a:schemeClr val="tx1"/>
                </a:solidFill>
                <a:effectLst/>
                <a:latin typeface="+mn-lt"/>
                <a:ea typeface="+mn-ea"/>
                <a:cs typeface="+mn-cs"/>
              </a:rPr>
              <a:t>It exploits three fundamental properties of the cloud – (1) </a:t>
            </a:r>
            <a:r>
              <a:rPr lang="en-US" sz="1200" b="1" kern="1200">
                <a:solidFill>
                  <a:schemeClr val="tx1"/>
                </a:solidFill>
                <a:effectLst/>
                <a:latin typeface="+mn-lt"/>
                <a:ea typeface="+mn-ea"/>
                <a:cs typeface="+mn-cs"/>
              </a:rPr>
              <a:t>global distribution</a:t>
            </a:r>
            <a:r>
              <a:rPr lang="en-US" sz="1200" kern="1200">
                <a:solidFill>
                  <a:schemeClr val="tx1"/>
                </a:solidFill>
                <a:effectLst/>
                <a:latin typeface="+mn-lt"/>
                <a:ea typeface="+mn-ea"/>
                <a:cs typeface="+mn-cs"/>
              </a:rPr>
              <a:t> </a:t>
            </a:r>
            <a:r>
              <a:rPr lang="en-US" sz="1200" i="1" kern="1200">
                <a:solidFill>
                  <a:schemeClr val="tx1"/>
                </a:solidFill>
                <a:effectLst/>
                <a:latin typeface="+mn-lt"/>
                <a:ea typeface="+mn-ea"/>
                <a:cs typeface="+mn-cs"/>
              </a:rPr>
              <a:t>by virtue of novel WAN replication techniques</a:t>
            </a:r>
            <a:r>
              <a:rPr lang="en-US" sz="1200" kern="1200">
                <a:solidFill>
                  <a:schemeClr val="tx1"/>
                </a:solidFill>
                <a:effectLst/>
                <a:latin typeface="+mn-lt"/>
                <a:ea typeface="+mn-ea"/>
                <a:cs typeface="+mn-cs"/>
              </a:rPr>
              <a:t> (2) </a:t>
            </a:r>
            <a:r>
              <a:rPr lang="en-US" sz="1200" b="1" kern="1200">
                <a:solidFill>
                  <a:schemeClr val="tx1"/>
                </a:solidFill>
                <a:effectLst/>
                <a:latin typeface="+mn-lt"/>
                <a:ea typeface="+mn-ea"/>
                <a:cs typeface="+mn-cs"/>
              </a:rPr>
              <a:t>elastic scalability</a:t>
            </a:r>
            <a:r>
              <a:rPr lang="en-US" sz="1200" kern="1200">
                <a:solidFill>
                  <a:schemeClr val="tx1"/>
                </a:solidFill>
                <a:effectLst/>
                <a:latin typeface="+mn-lt"/>
                <a:ea typeface="+mn-ea"/>
                <a:cs typeface="+mn-cs"/>
              </a:rPr>
              <a:t> </a:t>
            </a:r>
            <a:r>
              <a:rPr lang="en-US" sz="1200" i="1" kern="1200">
                <a:solidFill>
                  <a:schemeClr val="tx1"/>
                </a:solidFill>
                <a:effectLst/>
                <a:latin typeface="+mn-lt"/>
                <a:ea typeface="+mn-ea"/>
                <a:cs typeface="+mn-cs"/>
              </a:rPr>
              <a:t>by virtue of transparent horizontal partitioning</a:t>
            </a:r>
            <a:r>
              <a:rPr lang="en-US" sz="1200" kern="1200">
                <a:solidFill>
                  <a:schemeClr val="tx1"/>
                </a:solidFill>
                <a:effectLst/>
                <a:latin typeface="+mn-lt"/>
                <a:ea typeface="+mn-ea"/>
                <a:cs typeface="+mn-cs"/>
              </a:rPr>
              <a:t> and (3) </a:t>
            </a:r>
            <a:r>
              <a:rPr lang="en-US" sz="1200" b="1" kern="1200">
                <a:solidFill>
                  <a:schemeClr val="tx1"/>
                </a:solidFill>
                <a:effectLst/>
                <a:latin typeface="+mn-lt"/>
                <a:ea typeface="+mn-ea"/>
                <a:cs typeface="+mn-cs"/>
              </a:rPr>
              <a:t>multi-tenancy</a:t>
            </a:r>
            <a:r>
              <a:rPr lang="en-US" sz="1200" kern="1200">
                <a:solidFill>
                  <a:schemeClr val="tx1"/>
                </a:solidFill>
                <a:effectLst/>
                <a:latin typeface="+mn-lt"/>
                <a:ea typeface="+mn-ea"/>
                <a:cs typeface="+mn-cs"/>
              </a:rPr>
              <a:t> </a:t>
            </a:r>
            <a:r>
              <a:rPr lang="en-US" sz="1200" i="1" kern="1200">
                <a:solidFill>
                  <a:schemeClr val="tx1"/>
                </a:solidFill>
                <a:effectLst/>
                <a:latin typeface="+mn-lt"/>
                <a:ea typeface="+mn-ea"/>
                <a:cs typeface="+mn-cs"/>
              </a:rPr>
              <a:t>by virtue of fine grained resource governance</a:t>
            </a:r>
            <a:r>
              <a:rPr lang="en-US" sz="1200" kern="1200">
                <a:solidFill>
                  <a:schemeClr val="tx1"/>
                </a:solidFill>
                <a:effectLst/>
                <a:latin typeface="+mn-lt"/>
                <a:ea typeface="+mn-ea"/>
                <a:cs typeface="+mn-cs"/>
              </a:rPr>
              <a:t>.</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5200035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F67C77-7EFA-4CAA-A410-E92D82C8E6E1}" type="slidenum">
              <a:rPr lang="en-US" smtClean="0"/>
              <a:pPr/>
              <a:t>42</a:t>
            </a:fld>
            <a:endParaRPr lang="en-US"/>
          </a:p>
        </p:txBody>
      </p:sp>
    </p:spTree>
    <p:extLst>
      <p:ext uri="{BB962C8B-B14F-4D97-AF65-F5344CB8AC3E}">
        <p14:creationId xmlns:p14="http://schemas.microsoft.com/office/powerpoint/2010/main" val="263640894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F67C77-7EFA-4CAA-A410-E92D82C8E6E1}" type="slidenum">
              <a:rPr lang="en-US" smtClean="0"/>
              <a:pPr/>
              <a:t>43</a:t>
            </a:fld>
            <a:endParaRPr lang="en-US"/>
          </a:p>
        </p:txBody>
      </p:sp>
    </p:spTree>
    <p:extLst>
      <p:ext uri="{BB962C8B-B14F-4D97-AF65-F5344CB8AC3E}">
        <p14:creationId xmlns:p14="http://schemas.microsoft.com/office/powerpoint/2010/main" val="81417892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5914783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6104239-5842-467B-A09D-4193CE28CF54}"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019</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37798438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F67C77-7EFA-4CAA-A410-E92D82C8E6E1}" type="slidenum">
              <a:rPr kumimoji="0" lang="en-US" sz="1200" b="0" i="0" u="none" strike="noStrike" kern="1200" cap="none" spc="0" normalizeH="0" baseline="0" noProof="0" smtClean="0">
                <a:ln>
                  <a:noFill/>
                </a:ln>
                <a:solidFill>
                  <a:prstClr val="black"/>
                </a:solidFill>
                <a:effectLst/>
                <a:uLnTx/>
                <a:uFillTx/>
                <a:latin typeface="Calibri"/>
                <a:ea typeface="+mn-ea"/>
                <a:cs typeface="Segoe UI"/>
                <a:sym typeface="Segoe UI"/>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Calibri"/>
              <a:ea typeface="+mn-ea"/>
              <a:cs typeface="Segoe UI"/>
              <a:sym typeface="Segoe UI"/>
            </a:endParaRPr>
          </a:p>
        </p:txBody>
      </p:sp>
    </p:spTree>
    <p:extLst>
      <p:ext uri="{BB962C8B-B14F-4D97-AF65-F5344CB8AC3E}">
        <p14:creationId xmlns:p14="http://schemas.microsoft.com/office/powerpoint/2010/main" val="9743937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i="0" kern="1200" dirty="0">
                <a:solidFill>
                  <a:schemeClr val="tx1"/>
                </a:solidFill>
                <a:effectLst/>
                <a:latin typeface="Segoe UI Light" pitchFamily="34" charset="0"/>
                <a:ea typeface="+mn-ea"/>
                <a:cs typeface="+mn-cs"/>
              </a:rPr>
              <a:t>Consistency Levels and guarantees</a:t>
            </a:r>
            <a:endParaRPr lang="en-US" sz="900" b="0" i="0" kern="1200" dirty="0">
              <a:solidFill>
                <a:schemeClr val="tx1"/>
              </a:solidFill>
              <a:effectLst/>
              <a:latin typeface="Segoe UI Light" pitchFamily="34" charset="0"/>
              <a:ea typeface="+mn-ea"/>
              <a:cs typeface="+mn-cs"/>
            </a:endParaRPr>
          </a:p>
          <a:p>
            <a:r>
              <a:rPr lang="en-US" dirty="0"/>
              <a:t>Consistency </a:t>
            </a:r>
            <a:r>
              <a:rPr lang="en-US" dirty="0" err="1"/>
              <a:t>LevelGuarantees</a:t>
            </a:r>
            <a:endParaRPr lang="en-US" dirty="0"/>
          </a:p>
          <a:p>
            <a:endParaRPr lang="en-US" dirty="0">
              <a:effectLst/>
            </a:endParaRPr>
          </a:p>
          <a:p>
            <a:r>
              <a:rPr lang="en-US" dirty="0">
                <a:effectLst/>
              </a:rPr>
              <a:t>Strong – Linearizability</a:t>
            </a:r>
          </a:p>
          <a:p>
            <a:r>
              <a:rPr lang="en-US" dirty="0">
                <a:effectLst/>
              </a:rPr>
              <a:t>Bounded Staleness</a:t>
            </a:r>
            <a:r>
              <a:rPr lang="en-US" baseline="0" dirty="0">
                <a:effectLst/>
              </a:rPr>
              <a:t> - </a:t>
            </a:r>
            <a:r>
              <a:rPr lang="en-US" dirty="0">
                <a:effectLst/>
              </a:rPr>
              <a:t>Reads lag behind writes by k prefixes or t interval</a:t>
            </a:r>
          </a:p>
          <a:p>
            <a:r>
              <a:rPr lang="en-US" dirty="0">
                <a:effectLst/>
              </a:rPr>
              <a:t>Session - Monotonic reads, monotonic writes, read-your-writes, write-follows-reads</a:t>
            </a:r>
          </a:p>
          <a:p>
            <a:r>
              <a:rPr lang="en-US" dirty="0">
                <a:effectLst/>
              </a:rPr>
              <a:t>Consistent Prefix - Updates returned are some prefix of all the updates, with no gaps</a:t>
            </a:r>
          </a:p>
          <a:p>
            <a:r>
              <a:rPr lang="en-US" dirty="0" err="1">
                <a:effectLst/>
              </a:rPr>
              <a:t>EventualOut</a:t>
            </a:r>
            <a:r>
              <a:rPr lang="en-US" dirty="0">
                <a:effectLst/>
              </a:rPr>
              <a:t> of order read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11820944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Consistency Levels and guarantees</a:t>
            </a:r>
            <a:endParaRPr lang="en-US" dirty="0"/>
          </a:p>
          <a:p>
            <a:r>
              <a:rPr lang="en-US" dirty="0"/>
              <a:t>Consistency </a:t>
            </a:r>
            <a:r>
              <a:rPr lang="en-US" dirty="0" err="1"/>
              <a:t>LevelGuarantees</a:t>
            </a:r>
            <a:endParaRPr lang="en-US" dirty="0"/>
          </a:p>
          <a:p>
            <a:endParaRPr lang="en-US" dirty="0">
              <a:effectLst/>
            </a:endParaRPr>
          </a:p>
          <a:p>
            <a:r>
              <a:rPr lang="en-US" dirty="0">
                <a:effectLst/>
              </a:rPr>
              <a:t>Strong – Linearizability</a:t>
            </a:r>
          </a:p>
          <a:p>
            <a:r>
              <a:rPr lang="en-US" dirty="0">
                <a:effectLst/>
              </a:rPr>
              <a:t>Bounded Staleness</a:t>
            </a:r>
            <a:r>
              <a:rPr lang="en-US" baseline="0" dirty="0">
                <a:effectLst/>
              </a:rPr>
              <a:t> - </a:t>
            </a:r>
            <a:r>
              <a:rPr lang="en-US" dirty="0">
                <a:effectLst/>
              </a:rPr>
              <a:t>Reads lag behind writes by k prefixes or t interval</a:t>
            </a:r>
          </a:p>
          <a:p>
            <a:r>
              <a:rPr lang="en-US" dirty="0">
                <a:effectLst/>
              </a:rPr>
              <a:t>Session - Monotonic reads, monotonic writes, read-your-writes, write-follows-reads</a:t>
            </a:r>
          </a:p>
          <a:p>
            <a:r>
              <a:rPr lang="en-US" dirty="0">
                <a:effectLst/>
              </a:rPr>
              <a:t>Consistent Prefix - Updates returned are some prefix of all the updates, with no gaps</a:t>
            </a:r>
          </a:p>
          <a:p>
            <a:r>
              <a:rPr lang="en-US" dirty="0" err="1">
                <a:effectLst/>
              </a:rPr>
              <a:t>EventualOut</a:t>
            </a:r>
            <a:r>
              <a:rPr lang="en-US" dirty="0">
                <a:effectLst/>
              </a:rPr>
              <a:t> of order reads</a:t>
            </a:r>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58192202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1500" y="685800"/>
            <a:ext cx="5715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5996BA33-6360-40A1-9606-58E0047CF44A}" type="slidenum">
              <a:rPr kumimoji="0" lang="en-US" sz="1800" b="0" i="0" u="none" strike="noStrike" kern="0" cap="none" spc="0" normalizeH="0" baseline="0" noProof="0">
                <a:ln>
                  <a:noFill/>
                </a:ln>
                <a:solidFill>
                  <a:sysClr val="windowText" lastClr="000000"/>
                </a:solidFill>
                <a:effectLst/>
                <a:uLnTx/>
                <a:uFillTx/>
                <a:latin typeface="Calibri"/>
                <a:ea typeface="+mn-ea"/>
                <a:cs typeface="Segoe UI"/>
                <a:sym typeface="Segoe UI"/>
              </a:rPr>
              <a:pPr marL="0" marR="0" lvl="0" indent="0" algn="r" defTabSz="931774" rtl="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Segoe UI"/>
              <a:sym typeface="Segoe UI"/>
            </a:endParaRPr>
          </a:p>
        </p:txBody>
      </p:sp>
    </p:spTree>
    <p:extLst>
      <p:ext uri="{BB962C8B-B14F-4D97-AF65-F5344CB8AC3E}">
        <p14:creationId xmlns:p14="http://schemas.microsoft.com/office/powerpoint/2010/main" val="111524922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68575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rPr>
              <a:t>Microsoft Build 2017</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sym typeface="Gill Sans"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81693E6E-1E62-44E6-ADEC-B246846247C0}" type="datetime8">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
        <p:nvSpPr>
          <p:cNvPr id="7" name="Slide Number Placeholder 6"/>
          <p:cNvSpPr>
            <a:spLocks noGrp="1"/>
          </p:cNvSpPr>
          <p:nvPr>
            <p:ph type="sldNum" sz="quarter" idx="13"/>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Tree>
    <p:extLst>
      <p:ext uri="{BB962C8B-B14F-4D97-AF65-F5344CB8AC3E}">
        <p14:creationId xmlns:p14="http://schemas.microsoft.com/office/powerpoint/2010/main" val="190385241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While most database services force you to choose between strong or eventual consistency, Azure Cosmos DB provides </a:t>
            </a:r>
            <a:r>
              <a:rPr lang="en-US" sz="1200" b="1" kern="1200" dirty="0">
                <a:solidFill>
                  <a:schemeClr val="tx1"/>
                </a:solidFill>
                <a:effectLst/>
                <a:latin typeface="+mn-lt"/>
                <a:ea typeface="+mn-ea"/>
                <a:cs typeface="+mn-cs"/>
              </a:rPr>
              <a:t>multiple well-defined, intuitive consistency choices</a:t>
            </a:r>
            <a:r>
              <a:rPr lang="en-US" sz="1200" kern="1200" dirty="0">
                <a:solidFill>
                  <a:schemeClr val="tx1"/>
                </a:solidFill>
                <a:effectLst/>
                <a:latin typeface="+mn-lt"/>
                <a:ea typeface="+mn-ea"/>
                <a:cs typeface="+mn-cs"/>
              </a:rPr>
              <a:t> – so you can select just the right one for your app. </a:t>
            </a:r>
          </a:p>
          <a:p>
            <a:r>
              <a:rPr lang="en-US" sz="1200" kern="1200" dirty="0">
                <a:solidFill>
                  <a:schemeClr val="tx1"/>
                </a:solidFill>
                <a:effectLst/>
                <a:latin typeface="+mn-lt"/>
                <a:ea typeface="+mn-ea"/>
                <a:cs typeface="+mn-cs"/>
              </a:rPr>
              <a:t> </a:t>
            </a:r>
          </a:p>
          <a:p>
            <a:endParaRPr lang="en-US" sz="1200" kern="1200" dirty="0">
              <a:solidFill>
                <a:schemeClr val="tx1"/>
              </a:solidFill>
              <a:effectLst/>
              <a:latin typeface="+mn-lt"/>
              <a:ea typeface="+mn-ea"/>
              <a:cs typeface="+mn-cs"/>
            </a:endParaRPr>
          </a:p>
          <a:p>
            <a:pPr marL="342900" marR="0" lvl="0" indent="-342900">
              <a:spcBef>
                <a:spcPts val="0"/>
              </a:spcBef>
              <a:spcAft>
                <a:spcPts val="0"/>
              </a:spcAft>
              <a:buFont typeface="Symbol" panose="05050102010706020507" pitchFamily="18" charset="2"/>
              <a:buChar char=""/>
            </a:pP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Cosmos offers 5 well-defined, precise, consistency models to choose from</a:t>
            </a:r>
          </a:p>
          <a:p>
            <a:pPr marL="742950" marR="0" lvl="1" indent="-285750">
              <a:spcBef>
                <a:spcPts val="0"/>
              </a:spcBef>
              <a:spcAft>
                <a:spcPts val="0"/>
              </a:spcAft>
              <a:buFont typeface="Courier New" panose="02070309020205020404" pitchFamily="49" charset="0"/>
              <a:buChar char="o"/>
            </a:pP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Describe each one</a:t>
            </a:r>
          </a:p>
          <a:p>
            <a:pPr marL="342900" marR="0" lvl="0" indent="-342900">
              <a:spcBef>
                <a:spcPts val="0"/>
              </a:spcBef>
              <a:spcAft>
                <a:spcPts val="0"/>
              </a:spcAft>
              <a:buFont typeface="Symbol" panose="05050102010706020507" pitchFamily="18" charset="2"/>
              <a:buChar char=""/>
            </a:pP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You can change your choice anytime via API</a:t>
            </a:r>
          </a:p>
          <a:p>
            <a:pPr marL="342900" marR="0" lvl="0" indent="-342900">
              <a:spcBef>
                <a:spcPts val="0"/>
              </a:spcBef>
              <a:spcAft>
                <a:spcPts val="0"/>
              </a:spcAft>
              <a:buFont typeface="Symbol" panose="05050102010706020507" pitchFamily="18" charset="2"/>
              <a:buChar char=""/>
            </a:pP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You can override it on a per request basis</a:t>
            </a:r>
          </a:p>
          <a:p>
            <a:pPr marL="342900" marR="0" lvl="0" indent="-342900">
              <a:spcBef>
                <a:spcPts val="0"/>
              </a:spcBef>
              <a:spcAft>
                <a:spcPts val="0"/>
              </a:spcAft>
              <a:buFont typeface="Symbol" panose="05050102010706020507" pitchFamily="18" charset="2"/>
              <a:buChar char=""/>
            </a:pP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ACID Transactions</a:t>
            </a:r>
          </a:p>
          <a:p>
            <a:pPr marL="742950" marR="0" lvl="1" indent="-285750">
              <a:spcBef>
                <a:spcPts val="0"/>
              </a:spcBef>
              <a:spcAft>
                <a:spcPts val="0"/>
              </a:spcAft>
              <a:buFont typeface="Courier New" panose="02070309020205020404" pitchFamily="49" charset="0"/>
              <a:buChar char="o"/>
            </a:pP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All read and write requests are wrapped in a transactions</a:t>
            </a:r>
          </a:p>
          <a:p>
            <a:pPr marL="742950" marR="0" lvl="1" indent="-285750">
              <a:spcBef>
                <a:spcPts val="0"/>
              </a:spcBef>
              <a:spcAft>
                <a:spcPts val="0"/>
              </a:spcAft>
              <a:buFont typeface="Courier New" panose="02070309020205020404" pitchFamily="49" charset="0"/>
              <a:buChar char="o"/>
            </a:pP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Language integrated batch transactions</a:t>
            </a:r>
          </a:p>
          <a:p>
            <a:pPr marL="742950" marR="0" lvl="1" indent="-285750">
              <a:spcBef>
                <a:spcPts val="0"/>
              </a:spcBef>
              <a:spcAft>
                <a:spcPts val="0"/>
              </a:spcAft>
              <a:buFont typeface="Courier New" panose="02070309020205020404" pitchFamily="49" charset="0"/>
              <a:buChar char="o"/>
            </a:pP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Snapshot isolation by default</a:t>
            </a:r>
          </a:p>
          <a:p>
            <a:pPr marL="342900" marR="0" lvl="0" indent="-342900">
              <a:spcBef>
                <a:spcPts val="0"/>
              </a:spcBef>
              <a:spcAft>
                <a:spcPts val="0"/>
              </a:spcAft>
              <a:buFont typeface="Symbol" panose="05050102010706020507" pitchFamily="18" charset="2"/>
              <a:buChar char=""/>
            </a:pP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Q: Do you support strong consistency across multiple regions? </a:t>
            </a:r>
          </a:p>
          <a:p>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A: Yes. We don’t expose it publicly but have enabled it for several customers. When configured like this, the write latency suffers; read latency is still guaranteed as before. Write latency is the same as RTT between the farthest of regions. Availability is not compromised for the regions we have operationalized it (Q: Which regions? A: US and Europe) </a:t>
            </a:r>
            <a:endParaRPr lang="en-US" sz="4000" dirty="0">
              <a:solidFill>
                <a:schemeClr val="bg1"/>
              </a:solidFill>
            </a:endParaRP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F67C77-7EFA-4CAA-A410-E92D82C8E6E1}"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5696241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342867" fontAlgn="base" latinLnBrk="0">
              <a:lnSpc>
                <a:spcPct val="90000"/>
              </a:lnSpc>
              <a:spcBef>
                <a:spcPct val="0"/>
              </a:spcBef>
              <a:spcAft>
                <a:spcPts val="300"/>
              </a:spcAft>
            </a:pPr>
            <a:r>
              <a:rPr lang="en-US" sz="900" dirty="0">
                <a:solidFill>
                  <a:srgbClr val="FFFF00"/>
                </a:solidFill>
                <a:latin typeface="Segoe UI Light"/>
                <a:ea typeface="Heiti SC Light" charset="-122"/>
                <a:sym typeface="Gill Sans" charset="0"/>
              </a:rPr>
              <a:t>Requirements (circa 2010)</a:t>
            </a:r>
          </a:p>
          <a:p>
            <a:pPr marL="142871" indent="-142871" defTabSz="342867" fontAlgn="base" latinLnBrk="0">
              <a:lnSpc>
                <a:spcPct val="90000"/>
              </a:lnSpc>
              <a:spcBef>
                <a:spcPct val="0"/>
              </a:spcBef>
              <a:spcAft>
                <a:spcPts val="300"/>
              </a:spcAft>
              <a:buFont typeface="Arial" panose="020B0604020202020204" pitchFamily="34" charset="0"/>
              <a:buChar char="•"/>
            </a:pPr>
            <a:r>
              <a:rPr lang="en-US" sz="900" dirty="0">
                <a:solidFill>
                  <a:srgbClr val="FFFFFF"/>
                </a:solidFill>
                <a:latin typeface="Segoe UI Light"/>
                <a:ea typeface="Heiti SC Light" charset="-122"/>
                <a:sym typeface="Gill Sans" charset="0"/>
              </a:rPr>
              <a:t>Turnkey global distribution</a:t>
            </a:r>
          </a:p>
          <a:p>
            <a:pPr marL="142871" indent="-142871" defTabSz="342867" fontAlgn="base" latinLnBrk="0">
              <a:lnSpc>
                <a:spcPct val="90000"/>
              </a:lnSpc>
              <a:spcBef>
                <a:spcPct val="0"/>
              </a:spcBef>
              <a:spcAft>
                <a:spcPts val="300"/>
              </a:spcAft>
              <a:buFont typeface="Arial" panose="020B0604020202020204" pitchFamily="34" charset="0"/>
              <a:buChar char="•"/>
            </a:pPr>
            <a:r>
              <a:rPr lang="en-US" sz="900" dirty="0">
                <a:solidFill>
                  <a:srgbClr val="FFFFFF"/>
                </a:solidFill>
                <a:latin typeface="Segoe UI Light"/>
                <a:ea typeface="Heiti SC Light" charset="-122"/>
                <a:sym typeface="Gill Sans" charset="0"/>
              </a:rPr>
              <a:t>Low latency at the 99</a:t>
            </a:r>
            <a:r>
              <a:rPr lang="en-US" sz="900" baseline="30000" dirty="0">
                <a:solidFill>
                  <a:srgbClr val="FFFFFF"/>
                </a:solidFill>
                <a:latin typeface="Segoe UI Light"/>
                <a:ea typeface="Heiti SC Light" charset="-122"/>
                <a:sym typeface="Gill Sans" charset="0"/>
              </a:rPr>
              <a:t>th</a:t>
            </a:r>
            <a:r>
              <a:rPr lang="en-US" sz="900" dirty="0">
                <a:solidFill>
                  <a:srgbClr val="FFFFFF"/>
                </a:solidFill>
                <a:latin typeface="Segoe UI Light"/>
                <a:ea typeface="Heiti SC Light" charset="-122"/>
                <a:sym typeface="Gill Sans" charset="0"/>
              </a:rPr>
              <a:t> percentile, worldwide</a:t>
            </a:r>
          </a:p>
          <a:p>
            <a:pPr marL="142871" indent="-142871" defTabSz="342867" fontAlgn="base" latinLnBrk="0">
              <a:lnSpc>
                <a:spcPct val="90000"/>
              </a:lnSpc>
              <a:spcBef>
                <a:spcPct val="0"/>
              </a:spcBef>
              <a:spcAft>
                <a:spcPts val="300"/>
              </a:spcAft>
              <a:buFont typeface="Arial" panose="020B0604020202020204" pitchFamily="34" charset="0"/>
              <a:buChar char="•"/>
            </a:pPr>
            <a:r>
              <a:rPr lang="en-US" sz="900" dirty="0">
                <a:solidFill>
                  <a:srgbClr val="FFFFFF"/>
                </a:solidFill>
                <a:latin typeface="Segoe UI Light"/>
                <a:ea typeface="Heiti SC Light" charset="-122"/>
                <a:sym typeface="Gill Sans" charset="0"/>
              </a:rPr>
              <a:t>Guaranteed high availability</a:t>
            </a:r>
          </a:p>
          <a:p>
            <a:pPr marL="142871" indent="-142871" defTabSz="342867" fontAlgn="base" latinLnBrk="0">
              <a:lnSpc>
                <a:spcPct val="90000"/>
              </a:lnSpc>
              <a:spcBef>
                <a:spcPct val="0"/>
              </a:spcBef>
              <a:spcAft>
                <a:spcPts val="300"/>
              </a:spcAft>
              <a:buFont typeface="Arial" panose="020B0604020202020204" pitchFamily="34" charset="0"/>
              <a:buChar char="•"/>
            </a:pPr>
            <a:r>
              <a:rPr lang="en-US" sz="900" dirty="0">
                <a:solidFill>
                  <a:srgbClr val="FFFFFF"/>
                </a:solidFill>
                <a:latin typeface="Segoe UI Light"/>
                <a:ea typeface="Heiti SC Light" charset="-122"/>
                <a:sym typeface="Gill Sans" charset="0"/>
              </a:rPr>
              <a:t>Programmable consistency</a:t>
            </a:r>
          </a:p>
          <a:p>
            <a:pPr marL="142871" indent="-142871" defTabSz="342867" fontAlgn="base" latinLnBrk="0">
              <a:lnSpc>
                <a:spcPct val="90000"/>
              </a:lnSpc>
              <a:spcBef>
                <a:spcPct val="0"/>
              </a:spcBef>
              <a:spcAft>
                <a:spcPts val="300"/>
              </a:spcAft>
              <a:buFont typeface="Arial" panose="020B0604020202020204" pitchFamily="34" charset="0"/>
              <a:buChar char="•"/>
            </a:pPr>
            <a:r>
              <a:rPr lang="en-US" sz="900" dirty="0">
                <a:solidFill>
                  <a:srgbClr val="FFFFFF"/>
                </a:solidFill>
                <a:latin typeface="Segoe UI Light"/>
                <a:ea typeface="Heiti SC Light" charset="-122"/>
                <a:sym typeface="Gill Sans" charset="0"/>
              </a:rPr>
              <a:t>Elastically scale throughput and storage, globally, on demand</a:t>
            </a:r>
          </a:p>
          <a:p>
            <a:pPr marL="142871" indent="-142871" defTabSz="342867" fontAlgn="base" latinLnBrk="0">
              <a:lnSpc>
                <a:spcPct val="90000"/>
              </a:lnSpc>
              <a:spcBef>
                <a:spcPct val="0"/>
              </a:spcBef>
              <a:spcAft>
                <a:spcPts val="300"/>
              </a:spcAft>
              <a:buFont typeface="Arial" panose="020B0604020202020204" pitchFamily="34" charset="0"/>
              <a:buChar char="•"/>
            </a:pPr>
            <a:r>
              <a:rPr lang="en-US" sz="900" dirty="0">
                <a:solidFill>
                  <a:srgbClr val="FFFFFF"/>
                </a:solidFill>
                <a:latin typeface="Segoe UI Light"/>
                <a:ea typeface="Heiti SC Light" charset="-122"/>
                <a:sym typeface="Gill Sans" charset="0"/>
              </a:rPr>
              <a:t>Operate at </a:t>
            </a:r>
            <a:r>
              <a:rPr lang="en-US" sz="900" u="sng" dirty="0">
                <a:solidFill>
                  <a:srgbClr val="FFFFFF"/>
                </a:solidFill>
                <a:latin typeface="Segoe UI Light"/>
                <a:ea typeface="Heiti SC Light" charset="-122"/>
                <a:sym typeface="Gill Sans" charset="0"/>
              </a:rPr>
              <a:t>low cost</a:t>
            </a:r>
            <a:endParaRPr lang="en-US" sz="900" dirty="0">
              <a:solidFill>
                <a:srgbClr val="FFFFFF"/>
              </a:solidFill>
              <a:latin typeface="Gill Sans" charset="0"/>
              <a:ea typeface="Heiti SC Light" charset="-122"/>
              <a:sym typeface="Gill Sans"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685800" rtl="0" eaLnBrk="1" fontAlgn="auto" latinLnBrk="1" hangingPunct="1">
              <a:lnSpc>
                <a:spcPct val="100000"/>
              </a:lnSpc>
              <a:spcBef>
                <a:spcPts val="0"/>
              </a:spcBef>
              <a:spcAft>
                <a:spcPts val="0"/>
              </a:spcAft>
              <a:buClrTx/>
              <a:buSzTx/>
              <a:buFontTx/>
              <a:buNone/>
              <a:tabLst/>
              <a:defRPr/>
            </a:pPr>
            <a:fld id="{04D36DE5-3C53-40F6-957E-75AFBAC560B5}" type="slidenum">
              <a:rPr kumimoji="0" lang="ko-KR" altLang="en-US" sz="1200" b="0" i="0" u="none" strike="noStrike" kern="1200" cap="none" spc="0" normalizeH="0" baseline="0" noProof="0" smtClean="0">
                <a:ln>
                  <a:noFill/>
                </a:ln>
                <a:solidFill>
                  <a:prstClr val="black"/>
                </a:solidFill>
                <a:effectLst/>
                <a:uLnTx/>
                <a:uFillTx/>
                <a:latin typeface="맑은 고딕" panose="020F0502020204030204"/>
                <a:ea typeface="맑은 고딕" panose="020B0503020000020004" pitchFamily="34" charset="-127"/>
                <a:cs typeface="+mn-cs"/>
              </a:rPr>
              <a:pPr marL="0" marR="0" lvl="0" indent="0" algn="r" defTabSz="685800" rtl="0" eaLnBrk="1" fontAlgn="auto" latinLnBrk="1" hangingPunct="1">
                <a:lnSpc>
                  <a:spcPct val="100000"/>
                </a:lnSpc>
                <a:spcBef>
                  <a:spcPts val="0"/>
                </a:spcBef>
                <a:spcAft>
                  <a:spcPts val="0"/>
                </a:spcAft>
                <a:buClrTx/>
                <a:buSzTx/>
                <a:buFontTx/>
                <a:buNone/>
                <a:tabLst/>
                <a:defRPr/>
              </a:pPr>
              <a:t>5</a:t>
            </a:fld>
            <a:endParaRPr kumimoji="0" lang="ko-KR" altLang="en-US" sz="1200" b="0" i="0" u="none" strike="noStrike" kern="1200" cap="none" spc="0" normalizeH="0" baseline="0" noProof="0">
              <a:ln>
                <a:noFill/>
              </a:ln>
              <a:solidFill>
                <a:prstClr val="black"/>
              </a:solidFill>
              <a:effectLst/>
              <a:uLnTx/>
              <a:uFillTx/>
              <a:latin typeface="맑은 고딕" panose="020F0502020204030204"/>
              <a:ea typeface="맑은 고딕" panose="020B0503020000020004" pitchFamily="34" charset="-127"/>
              <a:cs typeface="+mn-cs"/>
            </a:endParaRPr>
          </a:p>
        </p:txBody>
      </p:sp>
    </p:spTree>
    <p:extLst>
      <p:ext uri="{BB962C8B-B14F-4D97-AF65-F5344CB8AC3E}">
        <p14:creationId xmlns:p14="http://schemas.microsoft.com/office/powerpoint/2010/main" val="268987480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8778250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ake off with confidence knowing Azure Cosmos DB provides guarantees and comprehensive SLAs other databases would never attempt: high-availability, consistency, throughput and single-digit millisecond latencies at the 99</a:t>
            </a:r>
            <a:r>
              <a:rPr lang="en-US" sz="1200" kern="1200" baseline="30000" dirty="0">
                <a:solidFill>
                  <a:schemeClr val="tx1"/>
                </a:solidFill>
                <a:effectLst/>
                <a:latin typeface="+mn-lt"/>
                <a:ea typeface="+mn-ea"/>
                <a:cs typeface="+mn-cs"/>
              </a:rPr>
              <a:t>th</a:t>
            </a:r>
            <a:r>
              <a:rPr lang="en-US" sz="1200" kern="1200" dirty="0">
                <a:solidFill>
                  <a:schemeClr val="tx1"/>
                </a:solidFill>
                <a:effectLst/>
                <a:latin typeface="+mn-lt"/>
                <a:ea typeface="+mn-ea"/>
                <a:cs typeface="+mn-cs"/>
              </a:rPr>
              <a:t> percentile to ensure service.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Your app deserves a globally distributed database service that’s out of this world. Welcome to Azure Cosmos DB.</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F67C77-7EFA-4CAA-A410-E92D82C8E6E1}"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39289200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9F67C77-7EFA-4CAA-A410-E92D82C8E6E1}"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0285533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8/20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Tree>
    <p:extLst>
      <p:ext uri="{BB962C8B-B14F-4D97-AF65-F5344CB8AC3E}">
        <p14:creationId xmlns:p14="http://schemas.microsoft.com/office/powerpoint/2010/main" val="72351187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05453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693E6E-1E62-44E6-ADEC-B246846247C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3106713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693E6E-1E62-44E6-ADEC-B246846247C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5475109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kern="0" dirty="0">
                <a:solidFill>
                  <a:schemeClr val="bg1"/>
                </a:solidFill>
                <a:latin typeface="Segoe UI Light" panose="020B0502040204020203" pitchFamily="34" charset="0"/>
                <a:ea typeface="Segoe UI Semibold" charset="0"/>
                <a:cs typeface="Segoe UI Light" panose="020B0502040204020203" pitchFamily="34" charset="0"/>
              </a:rPr>
              <a:t>Use key-value, graph, and document with a schema-agnostic service that doesn’t require any schema or secondary indexes</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9F67C77-7EFA-4CAA-A410-E92D82C8E6E1}"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5347274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F67C77-7EFA-4CAA-A410-E92D82C8E6E1}" type="slidenum">
              <a:rPr lang="en-US" smtClean="0"/>
              <a:pPr/>
              <a:t>62</a:t>
            </a:fld>
            <a:endParaRPr lang="en-US"/>
          </a:p>
        </p:txBody>
      </p:sp>
    </p:spTree>
    <p:extLst>
      <p:ext uri="{BB962C8B-B14F-4D97-AF65-F5344CB8AC3E}">
        <p14:creationId xmlns:p14="http://schemas.microsoft.com/office/powerpoint/2010/main" val="91077780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F67C77-7EFA-4CAA-A410-E92D82C8E6E1}" type="slidenum">
              <a:rPr lang="en-US" smtClean="0"/>
              <a:pPr/>
              <a:t>63</a:t>
            </a:fld>
            <a:endParaRPr lang="en-US"/>
          </a:p>
        </p:txBody>
      </p:sp>
    </p:spTree>
    <p:extLst>
      <p:ext uri="{BB962C8B-B14F-4D97-AF65-F5344CB8AC3E}">
        <p14:creationId xmlns:p14="http://schemas.microsoft.com/office/powerpoint/2010/main" val="16095954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re value prop</a:t>
            </a:r>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D6FCFD6A-4BD9-4516-9E31-F047A5C70304}"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648883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1169138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F67C77-7EFA-4CAA-A410-E92D82C8E6E1}" type="slidenum">
              <a:rPr lang="en-US" smtClean="0"/>
              <a:pPr/>
              <a:t>65</a:t>
            </a:fld>
            <a:endParaRPr lang="en-US"/>
          </a:p>
        </p:txBody>
      </p:sp>
    </p:spTree>
    <p:extLst>
      <p:ext uri="{BB962C8B-B14F-4D97-AF65-F5344CB8AC3E}">
        <p14:creationId xmlns:p14="http://schemas.microsoft.com/office/powerpoint/2010/main" val="318910127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303663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5230353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5851145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4915526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2844339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8754433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5129864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49455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F67C77-7EFA-4CAA-A410-E92D82C8E6E1}" type="slidenum">
              <a:rPr lang="en-US" smtClean="0"/>
              <a:pPr/>
              <a:t>7</a:t>
            </a:fld>
            <a:endParaRPr lang="en-US"/>
          </a:p>
        </p:txBody>
      </p:sp>
    </p:spTree>
    <p:extLst>
      <p:ext uri="{BB962C8B-B14F-4D97-AF65-F5344CB8AC3E}">
        <p14:creationId xmlns:p14="http://schemas.microsoft.com/office/powerpoint/2010/main" val="99551633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4400" dirty="0">
                <a:solidFill>
                  <a:schemeClr val="bg1"/>
                </a:solidFill>
                <a:latin typeface="Segoe UI Light" panose="020B0502040204020203" pitchFamily="34" charset="0"/>
                <a:cs typeface="Segoe UI Light" panose="020B0502040204020203" pitchFamily="34" charset="0"/>
              </a:rPr>
              <a:t>At </a:t>
            </a:r>
            <a:r>
              <a:rPr lang="en-US" sz="4400" u="sng" dirty="0">
                <a:solidFill>
                  <a:schemeClr val="bg1"/>
                </a:solidFill>
                <a:latin typeface="Segoe UI Light" panose="020B0502040204020203" pitchFamily="34" charset="0"/>
                <a:cs typeface="Segoe UI Light" panose="020B0502040204020203" pitchFamily="34" charset="0"/>
              </a:rPr>
              <a:t>global scale</a:t>
            </a:r>
            <a:r>
              <a:rPr lang="en-US" sz="4400" dirty="0">
                <a:solidFill>
                  <a:schemeClr val="bg1"/>
                </a:solidFill>
                <a:latin typeface="Segoe UI Light" panose="020B0502040204020203" pitchFamily="34" charset="0"/>
                <a:cs typeface="Segoe UI Light" panose="020B0502040204020203" pitchFamily="34" charset="0"/>
              </a:rPr>
              <a:t>, </a:t>
            </a:r>
            <a:r>
              <a:rPr lang="en-US" sz="4400" dirty="0">
                <a:solidFill>
                  <a:srgbClr val="00B050"/>
                </a:solidFill>
                <a:latin typeface="Segoe UI Light" panose="020B0502040204020203" pitchFamily="34" charset="0"/>
                <a:cs typeface="Segoe UI Light" panose="020B0502040204020203" pitchFamily="34" charset="0"/>
              </a:rPr>
              <a:t>schema/index management is hard</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Automatic and synchronous indexing of all ingested content - hash, range, geo-spatial, and columnar</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3600" dirty="0">
                <a:solidFill>
                  <a:schemeClr val="bg1"/>
                </a:solidFill>
                <a:latin typeface="Segoe UI Light" panose="020B0502040204020203" pitchFamily="34" charset="0"/>
                <a:cs typeface="Segoe UI Light" panose="020B0502040204020203" pitchFamily="34" charset="0"/>
              </a:rPr>
              <a:t>No need to define schemas or secondary indices upfront</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Resource governed, write optimized database engine with latch free and log structured techniques</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Online and in-situ index transformation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270513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727E79B-87EE-4D7E-9AEF-AA9974620F48}" type="slidenum">
              <a:rPr lang="en-US" smtClean="0"/>
              <a:t>75</a:t>
            </a:fld>
            <a:endParaRPr lang="en-US"/>
          </a:p>
        </p:txBody>
      </p:sp>
    </p:spTree>
    <p:extLst>
      <p:ext uri="{BB962C8B-B14F-4D97-AF65-F5344CB8AC3E}">
        <p14:creationId xmlns:p14="http://schemas.microsoft.com/office/powerpoint/2010/main" val="102635831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727E79B-87EE-4D7E-9AEF-AA9974620F48}" type="slidenum">
              <a:rPr lang="en-US" smtClean="0"/>
              <a:t>76</a:t>
            </a:fld>
            <a:endParaRPr lang="en-US"/>
          </a:p>
        </p:txBody>
      </p:sp>
    </p:spTree>
    <p:extLst>
      <p:ext uri="{BB962C8B-B14F-4D97-AF65-F5344CB8AC3E}">
        <p14:creationId xmlns:p14="http://schemas.microsoft.com/office/powerpoint/2010/main" val="409268857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727E79B-87EE-4D7E-9AEF-AA9974620F48}" type="slidenum">
              <a:rPr lang="en-US" smtClean="0"/>
              <a:t>77</a:t>
            </a:fld>
            <a:endParaRPr lang="en-US"/>
          </a:p>
        </p:txBody>
      </p:sp>
    </p:spTree>
    <p:extLst>
      <p:ext uri="{BB962C8B-B14F-4D97-AF65-F5344CB8AC3E}">
        <p14:creationId xmlns:p14="http://schemas.microsoft.com/office/powerpoint/2010/main" val="407140186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967618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9F26854-F9AE-4E32-B2A5-59EE421C280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0823142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9F26854-F9AE-4E32-B2A5-59EE421C280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1047763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212162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5486109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4225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68575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rPr>
              <a:t>Microsoft Build 2017</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sym typeface="Gill Sans"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81693E6E-1E62-44E6-ADEC-B246846247C0}" type="datetime8">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
        <p:nvSpPr>
          <p:cNvPr id="7" name="Slide Number Placeholder 6"/>
          <p:cNvSpPr>
            <a:spLocks noGrp="1"/>
          </p:cNvSpPr>
          <p:nvPr>
            <p:ph type="sldNum" sz="quarter" idx="13"/>
          </p:nvPr>
        </p:nvSpPr>
        <p:spPr/>
        <p:txBody>
          <a:bodyPr/>
          <a:lstStyle/>
          <a:p>
            <a:pPr marL="0" marR="0" lvl="0" indent="0" algn="r" defTabSz="68575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Heiti SC Light" charset="-122"/>
                <a:cs typeface="+mn-cs"/>
                <a:sym typeface="Gill Sans" charset="0"/>
              </a:rPr>
              <a:pPr marL="0" marR="0" lvl="0" indent="0" algn="r" defTabSz="68575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Heiti SC Light" charset="-122"/>
              <a:cs typeface="+mn-cs"/>
              <a:sym typeface="Gill Sans" charset="0"/>
            </a:endParaRPr>
          </a:p>
        </p:txBody>
      </p:sp>
    </p:spTree>
    <p:extLst>
      <p:ext uri="{BB962C8B-B14F-4D97-AF65-F5344CB8AC3E}">
        <p14:creationId xmlns:p14="http://schemas.microsoft.com/office/powerpoint/2010/main" val="2280192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9F26854-F9AE-4E32-B2A5-59EE421C280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09539458"/>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9F26854-F9AE-4E32-B2A5-59EE421C280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0268518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9F26854-F9AE-4E32-B2A5-59EE421C280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35173445"/>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9F26854-F9AE-4E32-B2A5-59EE421C280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439518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9F26854-F9AE-4E32-B2A5-59EE421C280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4382510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9F26854-F9AE-4E32-B2A5-59EE421C280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5175746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9F26854-F9AE-4E32-B2A5-59EE421C280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6089680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Tx/>
              <a:buChar char="-"/>
            </a:pPr>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8100854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97587367"/>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57236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1" dirty="0"/>
              <a:t>Retail-</a:t>
            </a:r>
          </a:p>
          <a:p>
            <a:pPr marL="171450" indent="-171450">
              <a:buFont typeface="Arial" panose="020B0604020202020204" pitchFamily="34" charset="0"/>
              <a:buChar char="•"/>
            </a:pPr>
            <a:r>
              <a:rPr lang="en-US" b="1" dirty="0"/>
              <a:t>JJ Food Service: </a:t>
            </a:r>
            <a:r>
              <a:rPr lang="en-US" dirty="0"/>
              <a:t>https://customers.microsoft.com/Pages/CustomerStory.aspx?recid=12792</a:t>
            </a:r>
          </a:p>
          <a:p>
            <a:pPr marL="171450" indent="-171450">
              <a:buFont typeface="Arial" panose="020B0604020202020204" pitchFamily="34" charset="0"/>
              <a:buChar char="•"/>
            </a:pPr>
            <a:r>
              <a:rPr lang="en-US" b="1" dirty="0" err="1"/>
              <a:t>Arca</a:t>
            </a:r>
            <a:r>
              <a:rPr lang="en-US" b="1" dirty="0"/>
              <a:t> Continental: </a:t>
            </a:r>
            <a:r>
              <a:rPr lang="en-US" dirty="0"/>
              <a:t>https://customers.microsoft.com/Pages/CustomerStory.aspx?recid=26082</a:t>
            </a:r>
          </a:p>
          <a:p>
            <a:pPr marL="171450" indent="-171450">
              <a:buFont typeface="Arial" panose="020B0604020202020204" pitchFamily="34" charset="0"/>
              <a:buChar char="•"/>
            </a:pPr>
            <a:r>
              <a:rPr lang="en-US" b="1" dirty="0" err="1"/>
              <a:t>Ziosk</a:t>
            </a:r>
            <a:r>
              <a:rPr lang="en-US" b="1" dirty="0"/>
              <a:t>: </a:t>
            </a:r>
            <a:r>
              <a:rPr lang="en-US" dirty="0"/>
              <a:t>https://customers.microsoft.com/Pages/CustomerStory.aspx?recid=18294</a:t>
            </a:r>
          </a:p>
          <a:p>
            <a:pPr marL="171450" indent="-171450">
              <a:buFont typeface="Arial" panose="020B0604020202020204" pitchFamily="34" charset="0"/>
              <a:buChar char="•"/>
            </a:pPr>
            <a:r>
              <a:rPr lang="en-US" b="1" dirty="0" err="1"/>
              <a:t>Youboox</a:t>
            </a:r>
            <a:r>
              <a:rPr lang="en-US" b="1" dirty="0"/>
              <a:t>: </a:t>
            </a:r>
            <a:r>
              <a:rPr lang="en-US" dirty="0"/>
              <a:t>https://customers.microsoft.com/Pages/CustomerStory.aspx?recid=19460</a:t>
            </a:r>
          </a:p>
          <a:p>
            <a:pPr marL="171450" indent="-171450">
              <a:buFont typeface="Arial" panose="020B0604020202020204" pitchFamily="34" charset="0"/>
              <a:buChar char="•"/>
            </a:pPr>
            <a:r>
              <a:rPr lang="en-US" b="1" dirty="0"/>
              <a:t>Pier 1 Imports: </a:t>
            </a:r>
            <a:r>
              <a:rPr lang="en-US" dirty="0"/>
              <a:t>https://customers.microsoft.com/Pages/CustomerStory.aspx?recid=11257</a:t>
            </a:r>
          </a:p>
          <a:p>
            <a:pPr marL="171450" indent="-171450">
              <a:buFont typeface="Arial" panose="020B0604020202020204" pitchFamily="34" charset="0"/>
              <a:buChar char="•"/>
            </a:pPr>
            <a:r>
              <a:rPr lang="en-US" b="1" dirty="0"/>
              <a:t>Sun Branding Solutions: </a:t>
            </a:r>
            <a:r>
              <a:rPr lang="en-US" dirty="0"/>
              <a:t>https://customers.microsoft.com/Pages/CustomerStory.aspx?recid=22768</a:t>
            </a:r>
          </a:p>
          <a:p>
            <a:pPr marL="171450" indent="-171450">
              <a:buFont typeface="Arial" panose="020B0604020202020204" pitchFamily="34" charset="0"/>
              <a:buChar char="•"/>
            </a:pPr>
            <a:r>
              <a:rPr lang="en-US" b="1" dirty="0"/>
              <a:t>Ridge Tool Company (Emerson): </a:t>
            </a:r>
            <a:r>
              <a:rPr lang="en-US" dirty="0"/>
              <a:t>https://customers.microsoft.com/Pages/CustomerStory.aspx?recid=26779</a:t>
            </a:r>
          </a:p>
          <a:p>
            <a:pPr marL="171450" indent="-171450">
              <a:buFont typeface="Arial" panose="020B0604020202020204" pitchFamily="34" charset="0"/>
              <a:buChar char="•"/>
            </a:pPr>
            <a:endParaRPr lang="en-US" dirty="0"/>
          </a:p>
          <a:p>
            <a:r>
              <a:rPr lang="en-US" sz="1400" b="1" dirty="0"/>
              <a:t>Manufacturing-</a:t>
            </a:r>
          </a:p>
          <a:p>
            <a:pPr marL="171450" indent="-171450">
              <a:buFont typeface="Arial" panose="020B0604020202020204" pitchFamily="34" charset="0"/>
              <a:buChar char="•"/>
            </a:pPr>
            <a:r>
              <a:rPr lang="en-US" b="1" dirty="0" err="1"/>
              <a:t>eSmart</a:t>
            </a:r>
            <a:r>
              <a:rPr lang="en-US" b="1" dirty="0"/>
              <a:t> Systems: </a:t>
            </a:r>
            <a:r>
              <a:rPr lang="en-US" dirty="0"/>
              <a:t>https://customers.microsoft.com/Pages/CustomerStory.aspx?recid=18945</a:t>
            </a:r>
          </a:p>
          <a:p>
            <a:pPr marL="171450" indent="-171450">
              <a:buFont typeface="Arial" panose="020B0604020202020204" pitchFamily="34" charset="0"/>
              <a:buChar char="•"/>
            </a:pPr>
            <a:r>
              <a:rPr lang="en-US" b="1" dirty="0"/>
              <a:t>Rockwell Automation: </a:t>
            </a:r>
            <a:r>
              <a:rPr lang="en-US" dirty="0"/>
              <a:t>https://customers.microsoft.com/Pages/CustomerStory.aspx?recid=18356</a:t>
            </a:r>
          </a:p>
          <a:p>
            <a:pPr marL="171450" indent="-171450">
              <a:buFont typeface="Arial" panose="020B0604020202020204" pitchFamily="34" charset="0"/>
              <a:buChar char="•"/>
            </a:pPr>
            <a:r>
              <a:rPr lang="en-US" b="1" dirty="0"/>
              <a:t>Jabil: </a:t>
            </a:r>
            <a:r>
              <a:rPr lang="en-US" dirty="0"/>
              <a:t>https://customers.microsoft.com/Pages/CustomerStory.aspx?recid=27206</a:t>
            </a:r>
          </a:p>
          <a:p>
            <a:pPr marL="171450" indent="-171450">
              <a:buFont typeface="Arial" panose="020B0604020202020204" pitchFamily="34" charset="0"/>
              <a:buChar char="•"/>
            </a:pPr>
            <a:r>
              <a:rPr lang="en-US" b="1" dirty="0" err="1"/>
              <a:t>OSIsoft</a:t>
            </a:r>
            <a:r>
              <a:rPr lang="en-US" b="1" dirty="0"/>
              <a:t>: </a:t>
            </a:r>
            <a:r>
              <a:rPr lang="en-US" dirty="0"/>
              <a:t>https://customers.microsoft.com/Pages/CustomerStory.aspx?recid=20391</a:t>
            </a:r>
          </a:p>
          <a:p>
            <a:pPr marL="171450" indent="-171450">
              <a:buFont typeface="Arial" panose="020B0604020202020204" pitchFamily="34" charset="0"/>
              <a:buChar char="•"/>
            </a:pPr>
            <a:r>
              <a:rPr lang="en-US" b="1" dirty="0" err="1"/>
              <a:t>Hafslund</a:t>
            </a:r>
            <a:r>
              <a:rPr lang="en-US" b="1" dirty="0"/>
              <a:t>: </a:t>
            </a:r>
            <a:r>
              <a:rPr lang="en-US" dirty="0"/>
              <a:t>https://customers.microsoft.com/Pages/CustomerStory.aspx?recid=25205</a:t>
            </a:r>
          </a:p>
          <a:p>
            <a:pPr marL="171450" indent="-171450">
              <a:buFont typeface="Arial" panose="020B0604020202020204" pitchFamily="34" charset="0"/>
              <a:buChar char="•"/>
            </a:pPr>
            <a:r>
              <a:rPr lang="en-US" b="1" dirty="0"/>
              <a:t>Fujitsu Limited: </a:t>
            </a:r>
            <a:r>
              <a:rPr lang="en-US" dirty="0"/>
              <a:t>https://customers.microsoft.com/Pages/CustomerStory.aspx?recid=12766</a:t>
            </a:r>
          </a:p>
          <a:p>
            <a:pPr marL="171450" indent="-171450">
              <a:buFont typeface="Arial" panose="020B0604020202020204" pitchFamily="34" charset="0"/>
              <a:buChar char="•"/>
            </a:pPr>
            <a:r>
              <a:rPr lang="en-US" b="1" dirty="0" err="1"/>
              <a:t>Mojio</a:t>
            </a:r>
            <a:r>
              <a:rPr lang="en-US" b="1" dirty="0"/>
              <a:t>: </a:t>
            </a:r>
            <a:r>
              <a:rPr lang="en-US" dirty="0"/>
              <a:t>https://customers.microsoft.com/Pages/CustomerStory.aspx?recid=27054</a:t>
            </a:r>
          </a:p>
          <a:p>
            <a:pPr marL="171450" indent="-171450">
              <a:buFont typeface="Arial" panose="020B0604020202020204" pitchFamily="34" charset="0"/>
              <a:buChar char="•"/>
            </a:pPr>
            <a:r>
              <a:rPr lang="en-US" b="1" dirty="0"/>
              <a:t>Ecolab: </a:t>
            </a:r>
            <a:r>
              <a:rPr lang="en-US" dirty="0"/>
              <a:t>https://customers.microsoft.com/Pages/CustomerStory.aspx?recid=26527</a:t>
            </a:r>
          </a:p>
          <a:p>
            <a:endParaRPr lang="en-US" b="1" dirty="0"/>
          </a:p>
          <a:p>
            <a:r>
              <a:rPr lang="en-US" sz="1400" b="1" dirty="0"/>
              <a:t>Government-</a:t>
            </a:r>
          </a:p>
          <a:p>
            <a:pPr marL="171450" indent="-171450">
              <a:buFont typeface="Arial" panose="020B0604020202020204" pitchFamily="34" charset="0"/>
              <a:buChar char="•"/>
            </a:pPr>
            <a:r>
              <a:rPr lang="en-US" b="1" dirty="0"/>
              <a:t>Kellogg School of Management: </a:t>
            </a:r>
            <a:r>
              <a:rPr lang="en-US" dirty="0"/>
              <a:t>https://customers.microsoft.com/Pages/CustomerStory.aspx?recid=23915</a:t>
            </a:r>
          </a:p>
          <a:p>
            <a:pPr marL="171450" indent="-171450">
              <a:buFont typeface="Arial" panose="020B0604020202020204" pitchFamily="34" charset="0"/>
              <a:buChar char="•"/>
            </a:pPr>
            <a:r>
              <a:rPr lang="en-US" b="1" dirty="0"/>
              <a:t>Carnegie Mellon University/</a:t>
            </a:r>
            <a:r>
              <a:rPr lang="en-US" b="1" dirty="0" err="1"/>
              <a:t>OSIsoft</a:t>
            </a:r>
            <a:r>
              <a:rPr lang="en-US" b="1" dirty="0"/>
              <a:t>: </a:t>
            </a:r>
            <a:r>
              <a:rPr lang="en-US" dirty="0"/>
              <a:t>https://customers.microsoft.com/Pages/CustomerStory.aspx?recid=8576</a:t>
            </a:r>
          </a:p>
          <a:p>
            <a:pPr marL="171450" indent="-171450">
              <a:buFont typeface="Arial" panose="020B0604020202020204" pitchFamily="34" charset="0"/>
              <a:buChar char="•"/>
            </a:pPr>
            <a:r>
              <a:rPr lang="en-US" b="1" dirty="0"/>
              <a:t>Tacoma Public Schools: </a:t>
            </a:r>
            <a:r>
              <a:rPr lang="en-US" dirty="0"/>
              <a:t>https://customers.microsoft.com/Pages/CustomerStory.aspx?recid=20703</a:t>
            </a:r>
          </a:p>
          <a:p>
            <a:endParaRPr lang="en-US" dirty="0"/>
          </a:p>
          <a:p>
            <a:r>
              <a:rPr lang="en-US" sz="1400" b="1" dirty="0"/>
              <a:t>Healthcare-</a:t>
            </a:r>
          </a:p>
          <a:p>
            <a:pPr marL="171450" indent="-171450">
              <a:buFont typeface="Arial" panose="020B0604020202020204" pitchFamily="34" charset="0"/>
              <a:buChar char="•"/>
            </a:pPr>
            <a:r>
              <a:rPr lang="en-US" b="1" dirty="0" err="1"/>
              <a:t>Optolexia</a:t>
            </a:r>
            <a:r>
              <a:rPr lang="en-US" b="1" dirty="0"/>
              <a:t>: </a:t>
            </a:r>
            <a:r>
              <a:rPr lang="en-US" dirty="0"/>
              <a:t>https://customers.microsoft.com/Pages/CustomerStory.aspx?recid=23569</a:t>
            </a:r>
          </a:p>
          <a:p>
            <a:pPr marL="171450" indent="-171450">
              <a:buFont typeface="Arial" panose="020B0604020202020204" pitchFamily="34" charset="0"/>
              <a:buChar char="•"/>
            </a:pPr>
            <a:r>
              <a:rPr lang="en-US" b="1" dirty="0" err="1"/>
              <a:t>Aerocrine</a:t>
            </a:r>
            <a:r>
              <a:rPr lang="en-US" b="1" dirty="0"/>
              <a:t>: </a:t>
            </a:r>
            <a:r>
              <a:rPr lang="en-US" dirty="0"/>
              <a:t>https://customers.microsoft.com/Pages/CustomerStory.aspx?recid=12216</a:t>
            </a:r>
          </a:p>
          <a:p>
            <a:endParaRPr lang="en-US" b="1" dirty="0"/>
          </a:p>
          <a:p>
            <a:r>
              <a:rPr lang="en-US" sz="1400" b="1" dirty="0"/>
              <a:t>Financial Services-</a:t>
            </a:r>
          </a:p>
          <a:p>
            <a:pPr marL="171450" indent="-171450">
              <a:buFont typeface="Arial" panose="020B0604020202020204" pitchFamily="34" charset="0"/>
              <a:buChar char="•"/>
            </a:pPr>
            <a:r>
              <a:rPr lang="en-US" b="1" dirty="0"/>
              <a:t>Tangerine: </a:t>
            </a:r>
            <a:r>
              <a:rPr lang="en-US" dirty="0"/>
              <a:t>https://customers.microsoft.com/Pages/CustomerStory.aspx?recid=14594</a:t>
            </a:r>
          </a:p>
          <a:p>
            <a:pPr marL="171450" indent="-171450">
              <a:buFont typeface="Arial" panose="020B0604020202020204" pitchFamily="34" charset="0"/>
              <a:buChar char="•"/>
            </a:pPr>
            <a:r>
              <a:rPr lang="en-US" b="1" dirty="0" err="1"/>
              <a:t>Genscape</a:t>
            </a:r>
            <a:r>
              <a:rPr lang="en-US" b="1" dirty="0"/>
              <a:t>: </a:t>
            </a:r>
            <a:r>
              <a:rPr lang="en-US" dirty="0"/>
              <a:t>https://customers.microsoft.com/Pages/CustomerStory.aspx?recid=21394</a:t>
            </a:r>
          </a:p>
          <a:p>
            <a:pPr marL="171450" indent="-171450">
              <a:buFont typeface="Arial" panose="020B0604020202020204" pitchFamily="34" charset="0"/>
              <a:buChar char="•"/>
            </a:pPr>
            <a:r>
              <a:rPr lang="en-US" b="1" dirty="0"/>
              <a:t>Direct One: </a:t>
            </a:r>
            <a:r>
              <a:rPr lang="en-US" dirty="0"/>
              <a:t>https://customers.microsoft.com/Pages/CustomerStory.aspx?recid=15476</a:t>
            </a:r>
          </a:p>
          <a:p>
            <a:endParaRPr lang="en-US" b="1" dirty="0"/>
          </a:p>
          <a:p>
            <a:r>
              <a:rPr lang="en-US" sz="1400" b="1" dirty="0"/>
              <a:t>Professional Services-</a:t>
            </a:r>
          </a:p>
          <a:p>
            <a:pPr marL="171450" indent="-171450">
              <a:buFont typeface="Arial" panose="020B0604020202020204" pitchFamily="34" charset="0"/>
              <a:buChar char="•"/>
            </a:pPr>
            <a:r>
              <a:rPr lang="en-US" b="1" dirty="0"/>
              <a:t>WASH Multifamily Laundry Systems: </a:t>
            </a:r>
            <a:r>
              <a:rPr lang="en-US" dirty="0"/>
              <a:t>https://customers.microsoft.com/Pages/CustomerStory.aspx?recid=11768</a:t>
            </a:r>
          </a:p>
          <a:p>
            <a:pPr marL="171450" indent="-171450">
              <a:buFont typeface="Arial" panose="020B0604020202020204" pitchFamily="34" charset="0"/>
              <a:buChar char="•"/>
            </a:pPr>
            <a:r>
              <a:rPr lang="en-US" b="1" dirty="0" err="1"/>
              <a:t>Codit</a:t>
            </a:r>
            <a:r>
              <a:rPr lang="en-US" b="1" dirty="0"/>
              <a:t>: </a:t>
            </a:r>
            <a:r>
              <a:rPr lang="en-US" dirty="0"/>
              <a:t>https://customers.microsoft.com/Pages/CustomerStory.aspx?recid=26340</a:t>
            </a:r>
          </a:p>
          <a:p>
            <a:pPr marL="171450" indent="-171450">
              <a:buFont typeface="Arial" panose="020B0604020202020204" pitchFamily="34" charset="0"/>
              <a:buChar char="•"/>
            </a:pPr>
            <a:r>
              <a:rPr lang="en-US" b="1" dirty="0" err="1"/>
              <a:t>Mendeley</a:t>
            </a:r>
            <a:r>
              <a:rPr lang="en-US" b="1" dirty="0"/>
              <a:t>: </a:t>
            </a:r>
            <a:r>
              <a:rPr lang="en-US" dirty="0"/>
              <a:t>https://customers.microsoft.com/Pages/CustomerStory.aspx?recid=19726</a:t>
            </a:r>
          </a:p>
          <a:p>
            <a:pPr marL="171450" indent="-171450">
              <a:buFont typeface="Arial" panose="020B0604020202020204" pitchFamily="34" charset="0"/>
              <a:buChar char="•"/>
            </a:pPr>
            <a:r>
              <a:rPr lang="en-US" b="1" dirty="0"/>
              <a:t>Microsoft Digital Crimes Unit: </a:t>
            </a:r>
            <a:r>
              <a:rPr lang="en-US" dirty="0"/>
              <a:t>https://customers.microsoft.com/Pages/CustomerStory.aspx?recid=19112</a:t>
            </a:r>
          </a:p>
          <a:p>
            <a:pPr marL="171450" indent="-171450">
              <a:buFont typeface="Arial" panose="020B0604020202020204" pitchFamily="34" charset="0"/>
              <a:buChar char="•"/>
            </a:pPr>
            <a:r>
              <a:rPr lang="en-US" b="1" dirty="0"/>
              <a:t>Microsoft Corporation- GMO: </a:t>
            </a:r>
            <a:r>
              <a:rPr lang="en-US" dirty="0"/>
              <a:t>https://customers.microsoft.com/Pages/CustomerStory.aspx?recid=20542</a:t>
            </a:r>
          </a:p>
          <a:p>
            <a:pPr marL="171450" indent="-171450">
              <a:buFont typeface="Arial" panose="020B0604020202020204" pitchFamily="34" charset="0"/>
              <a:buChar char="•"/>
            </a:pPr>
            <a:r>
              <a:rPr lang="en-US" b="1" dirty="0"/>
              <a:t>North American Eagle: </a:t>
            </a:r>
            <a:r>
              <a:rPr lang="en-US" dirty="0"/>
              <a:t>https://customers.microsoft.com/Pages/CustomerStory.aspx?recid=23153</a:t>
            </a:r>
          </a:p>
          <a:p>
            <a:pPr marL="171450" indent="-171450">
              <a:buFont typeface="Arial" panose="020B0604020202020204" pitchFamily="34" charset="0"/>
              <a:buChar char="•"/>
            </a:pPr>
            <a:r>
              <a:rPr lang="en-US" b="1" dirty="0" err="1"/>
              <a:t>Gjirafa</a:t>
            </a:r>
            <a:r>
              <a:rPr lang="en-US" b="1" dirty="0"/>
              <a:t>: </a:t>
            </a:r>
            <a:r>
              <a:rPr lang="en-US" dirty="0"/>
              <a:t>https://customers.microsoft.com/Pages/CustomerStory.aspx?recid=18633</a:t>
            </a:r>
          </a:p>
          <a:p>
            <a:pPr marL="171450" indent="-171450">
              <a:buFont typeface="Arial" panose="020B0604020202020204" pitchFamily="34" charset="0"/>
              <a:buChar char="•"/>
            </a:pPr>
            <a:r>
              <a:rPr lang="en-US" b="1" dirty="0"/>
              <a:t>JLL (Jones Lang LaSalle): </a:t>
            </a:r>
            <a:r>
              <a:rPr lang="en-US" dirty="0"/>
              <a:t>https://customers.microsoft.com/Pages/CustomerStory.aspx?recid=18662</a:t>
            </a:r>
          </a:p>
          <a:p>
            <a:pPr marL="171450" indent="-171450">
              <a:buFont typeface="Arial" panose="020B0604020202020204" pitchFamily="34" charset="0"/>
              <a:buChar char="•"/>
            </a:pPr>
            <a:r>
              <a:rPr lang="en-US" b="1" dirty="0"/>
              <a:t>Ultra Tendency: </a:t>
            </a:r>
            <a:r>
              <a:rPr lang="en-US" dirty="0"/>
              <a:t>https://customers.microsoft.com/Pages/CustomerStory.aspx?recid=21129</a:t>
            </a:r>
          </a:p>
          <a:p>
            <a:r>
              <a:rPr lang="en-US" b="1" dirty="0"/>
              <a:t>The Next Up: </a:t>
            </a:r>
            <a:r>
              <a:rPr lang="en-US" dirty="0"/>
              <a:t>https://customers.microsoft.com/Pages/CustomerStory.aspx?recid=22123</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8669D1-E39F-4DFA-A9A2-F554B4BB76C4}"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9255701"/>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86990387"/>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05515569"/>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9738032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ross-partition query</a:t>
            </a:r>
          </a:p>
          <a:p>
            <a:pPr marL="171450" indent="-171450">
              <a:buFontTx/>
              <a:buChar char="-"/>
            </a:pPr>
            <a:r>
              <a:rPr lang="en-US"/>
              <a:t>Show </a:t>
            </a:r>
            <a:r>
              <a:rPr lang="en-US" err="1"/>
              <a:t>EnableCrossPartitionQuery</a:t>
            </a:r>
            <a:r>
              <a:rPr lang="en-US"/>
              <a:t> in </a:t>
            </a:r>
            <a:r>
              <a:rPr lang="en-US" err="1"/>
              <a:t>FeedOptions</a:t>
            </a:r>
            <a:endParaRPr lang="en-US"/>
          </a:p>
          <a:p>
            <a:pPr marL="171450" indent="-171450">
              <a:buFontTx/>
              <a:buChar char="-"/>
            </a:pPr>
            <a:r>
              <a:rPr lang="en-US"/>
              <a:t>Show </a:t>
            </a:r>
            <a:r>
              <a:rPr lang="en-US" err="1"/>
              <a:t>MaxDegreeOfParallelism</a:t>
            </a:r>
            <a:endParaRPr lang="en-US"/>
          </a:p>
          <a:p>
            <a:endParaRPr lang="en-US"/>
          </a:p>
          <a:p>
            <a:r>
              <a:rPr lang="en-US"/>
              <a:t>In Game pivot, cx-partition query becomes GET</a:t>
            </a:r>
          </a:p>
          <a:p>
            <a:endParaRPr lang="en-US"/>
          </a:p>
          <a:p>
            <a:r>
              <a:rPr lang="en-US"/>
              <a:t>Leave change feed draining on</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0826606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3377059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57720103"/>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how partition stats demo</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52541933"/>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at if you need to partition data differently? Utilize change feed to populate different collection with different partition key choice</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55493586"/>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11462287"/>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11:5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049611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2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2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21.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6.wmf"/><Relationship Id="rId1" Type="http://schemas.openxmlformats.org/officeDocument/2006/relationships/slideMaster" Target="../slideMasters/slideMaster2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6.wmf"/><Relationship Id="rId1" Type="http://schemas.openxmlformats.org/officeDocument/2006/relationships/slideMaster" Target="../slideMasters/slideMaster2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3.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24.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24.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39.emf"/><Relationship Id="rId5" Type="http://schemas.openxmlformats.org/officeDocument/2006/relationships/image" Target="../media/image38.emf"/><Relationship Id="rId4" Type="http://schemas.openxmlformats.org/officeDocument/2006/relationships/oleObject" Target="../embeddings/oleObject3.bin"/></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2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38.emf"/><Relationship Id="rId4" Type="http://schemas.openxmlformats.org/officeDocument/2006/relationships/oleObject" Target="../embeddings/oleObject4.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38.emf"/><Relationship Id="rId4" Type="http://schemas.openxmlformats.org/officeDocument/2006/relationships/oleObject" Target="../embeddings/oleObject5.bin"/></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38.emf"/><Relationship Id="rId4" Type="http://schemas.openxmlformats.org/officeDocument/2006/relationships/oleObject" Target="../embeddings/oleObject6.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38.emf"/><Relationship Id="rId4" Type="http://schemas.openxmlformats.org/officeDocument/2006/relationships/oleObject" Target="../embeddings/oleObject5.bin"/></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24.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2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26.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26.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2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26.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26.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2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26.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26.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26.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26.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8.jp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26.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26.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26.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26.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51.jpg"/><Relationship Id="rId1" Type="http://schemas.openxmlformats.org/officeDocument/2006/relationships/slideMaster" Target="../slideMasters/slideMaster26.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52.jpg"/><Relationship Id="rId1" Type="http://schemas.openxmlformats.org/officeDocument/2006/relationships/slideMaster" Target="../slideMasters/slideMaster2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2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2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53.jpeg"/><Relationship Id="rId1" Type="http://schemas.openxmlformats.org/officeDocument/2006/relationships/slideMaster" Target="../slideMasters/slideMaster28.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54.png"/><Relationship Id="rId1" Type="http://schemas.openxmlformats.org/officeDocument/2006/relationships/slideMaster" Target="../slideMasters/slideMaster2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55.emf"/><Relationship Id="rId1" Type="http://schemas.openxmlformats.org/officeDocument/2006/relationships/slideMaster" Target="../slideMasters/slideMaster2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Master" Target="../slideMasters/slideMaster2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emf"/><Relationship Id="rId1" Type="http://schemas.openxmlformats.org/officeDocument/2006/relationships/slideMaster" Target="../slideMasters/slideMaster31.xml"/><Relationship Id="rId5" Type="http://schemas.openxmlformats.org/officeDocument/2006/relationships/image" Target="../media/image61.png"/><Relationship Id="rId4" Type="http://schemas.openxmlformats.org/officeDocument/2006/relationships/image" Target="../media/image60.svg"/></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Master" Target="../slideMasters/slideMaster31.xml"/><Relationship Id="rId4" Type="http://schemas.openxmlformats.org/officeDocument/2006/relationships/image" Target="../media/image58.emf"/></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Master" Target="../slideMasters/slideMaster31.xml"/><Relationship Id="rId4" Type="http://schemas.openxmlformats.org/officeDocument/2006/relationships/image" Target="../media/image64.pn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31.xml"/><Relationship Id="rId4" Type="http://schemas.openxmlformats.org/officeDocument/2006/relationships/image" Target="../media/image67.pn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31.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3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3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3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53.jpeg"/><Relationship Id="rId1" Type="http://schemas.openxmlformats.org/officeDocument/2006/relationships/slideMaster" Target="../slideMasters/slideMaster32.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68.png"/><Relationship Id="rId1" Type="http://schemas.openxmlformats.org/officeDocument/2006/relationships/slideMaster" Target="../slideMasters/slideMaster3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1.emf"/><Relationship Id="rId4" Type="http://schemas.openxmlformats.org/officeDocument/2006/relationships/oleObject" Target="../embeddings/oleObject1.bin"/></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55.emf"/><Relationship Id="rId1" Type="http://schemas.openxmlformats.org/officeDocument/2006/relationships/slideMaster" Target="../slideMasters/slideMaster32.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Master" Target="../slideMasters/slideMaster3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Master" Target="../slideMasters/slideMaster20.xml"/><Relationship Id="rId4" Type="http://schemas.openxmlformats.org/officeDocument/2006/relationships/image" Target="../media/image29.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0.png"/><Relationship Id="rId1" Type="http://schemas.openxmlformats.org/officeDocument/2006/relationships/slideMaster" Target="../slideMasters/slideMaster20.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0.png"/><Relationship Id="rId1" Type="http://schemas.openxmlformats.org/officeDocument/2006/relationships/slideMaster" Target="../slideMasters/slideMaster20.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0.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2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7" y="1614752"/>
            <a:ext cx="11653523" cy="2055306"/>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946554649"/>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7" y="1614752"/>
            <a:ext cx="11653523" cy="2055306"/>
          </a:xfrm>
        </p:spPr>
        <p:txBody>
          <a:bodyPr>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80976800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5" y="0"/>
            <a:ext cx="12191377" cy="7315865"/>
          </a:xfrm>
          <a:prstGeom prst="rect">
            <a:avLst/>
          </a:prstGeom>
        </p:spPr>
      </p:pic>
      <p:sp>
        <p:nvSpPr>
          <p:cNvPr id="6" name="Rectangle 5"/>
          <p:cNvSpPr/>
          <p:nvPr userDrawn="1"/>
        </p:nvSpPr>
        <p:spPr bwMode="gray">
          <a:xfrm>
            <a:off x="0" y="5410857"/>
            <a:ext cx="12192000" cy="1904343"/>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6170702" y="6404462"/>
            <a:ext cx="5752044"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algn="r" defTabSz="913850" eaLnBrk="0" hangingPunct="0"/>
            <a:r>
              <a:rPr lang="en-US" sz="686" dirty="0">
                <a:solidFill>
                  <a:schemeClr val="bg1"/>
                </a:solidFill>
                <a:cs typeface="Segoe UI" pitchFamily="34" charset="0"/>
              </a:rPr>
              <a:t>© 2015 Microsoft Corporation. All rights reserved.</a:t>
            </a:r>
          </a:p>
          <a:p>
            <a:pPr algn="r" defTabSz="913924" eaLnBrk="0" hangingPunct="0"/>
            <a:r>
              <a:rPr lang="en-US" sz="686" dirty="0">
                <a:solidFill>
                  <a:schemeClr val="bg1"/>
                </a:solidFill>
                <a:cs typeface="Segoe UI" pitchFamily="34" charset="0"/>
              </a:rPr>
              <a:t>Microsoft, Windows and other product names are or may be registered trademarks and/or trademarks in the U.S. and/or other countries.</a:t>
            </a:r>
          </a:p>
          <a:p>
            <a:pPr algn="r" defTabSz="913924" eaLnBrk="0" hangingPunct="0"/>
            <a:r>
              <a:rPr lang="en-US" sz="686" dirty="0">
                <a:solidFill>
                  <a:schemeClr val="bg1"/>
                </a:solidFill>
                <a:cs typeface="Segoe UI" pitchFamily="34" charset="0"/>
              </a:rPr>
              <a:t>MICROSOFT MAKES NO WARRANTIES, EXPRESS, IMPLIED OR STATUTORY, AS TO THE INFORMATION IN THIS PRESENTATION.</a:t>
            </a:r>
          </a:p>
          <a:p>
            <a:pPr algn="r" defTabSz="913850" eaLnBrk="0" hangingPunct="0"/>
            <a:r>
              <a:rPr lang="en-US" sz="686" dirty="0">
                <a:gradFill>
                  <a:gsLst>
                    <a:gs pos="12389">
                      <a:srgbClr val="FFFFFF"/>
                    </a:gs>
                    <a:gs pos="54000">
                      <a:srgbClr val="FFFFFF"/>
                    </a:gs>
                  </a:gsLst>
                  <a:lin ang="5400000" scaled="0"/>
                </a:gradFill>
                <a:cs typeface="Segoe UI" pitchFamily="34" charset="0"/>
              </a:rPr>
              <a:t>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2750" y="6014346"/>
            <a:ext cx="3227129" cy="733840"/>
          </a:xfrm>
          <a:prstGeom prst="rect">
            <a:avLst/>
          </a:prstGeom>
        </p:spPr>
      </p:pic>
    </p:spTree>
    <p:extLst>
      <p:ext uri="{BB962C8B-B14F-4D97-AF65-F5344CB8AC3E}">
        <p14:creationId xmlns:p14="http://schemas.microsoft.com/office/powerpoint/2010/main" val="2455071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268456"/>
            <a:ext cx="11653523" cy="2399311"/>
          </a:xfrm>
          <a:prstGeom prst="rect">
            <a:avLst/>
          </a:prstGeom>
        </p:spPr>
        <p:txBody>
          <a:bodyPr/>
          <a:lstStyle>
            <a:lvl1pPr marL="284767" indent="-284767">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96" indent="-275431">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64" indent="-284767">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43" indent="-224079">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21" indent="-224079">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654802"/>
            <a:ext cx="12192001" cy="66040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85464398"/>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NZ"/>
          </a:p>
        </p:txBody>
      </p:sp>
      <p:sp>
        <p:nvSpPr>
          <p:cNvPr id="3" name="Date Placeholder 2"/>
          <p:cNvSpPr>
            <a:spLocks noGrp="1"/>
          </p:cNvSpPr>
          <p:nvPr>
            <p:ph type="dt" sz="half" idx="10"/>
          </p:nvPr>
        </p:nvSpPr>
        <p:spPr>
          <a:xfrm>
            <a:off x="838843" y="6780590"/>
            <a:ext cx="2742188" cy="388506"/>
          </a:xfrm>
          <a:prstGeom prst="rect">
            <a:avLst/>
          </a:prstGeom>
        </p:spPr>
        <p:txBody>
          <a:bodyPr/>
          <a:lstStyle/>
          <a:p>
            <a:fld id="{0626A314-07C3-4D18-A5FC-2D5811D0A94B}" type="datetimeFigureOut">
              <a:rPr lang="en-NZ" smtClean="0"/>
              <a:t>8/01/2019</a:t>
            </a:fld>
            <a:endParaRPr lang="en-NZ" dirty="0"/>
          </a:p>
        </p:txBody>
      </p:sp>
      <p:sp>
        <p:nvSpPr>
          <p:cNvPr id="4" name="Footer Placeholder 3"/>
          <p:cNvSpPr>
            <a:spLocks noGrp="1"/>
          </p:cNvSpPr>
          <p:nvPr>
            <p:ph type="ftr" sz="quarter" idx="11"/>
          </p:nvPr>
        </p:nvSpPr>
        <p:spPr>
          <a:xfrm>
            <a:off x="4038581" y="6780590"/>
            <a:ext cx="4114839" cy="388506"/>
          </a:xfrm>
          <a:prstGeom prst="rect">
            <a:avLst/>
          </a:prstGeom>
        </p:spPr>
        <p:txBody>
          <a:bodyPr/>
          <a:lstStyle/>
          <a:p>
            <a:endParaRPr lang="en-NZ" dirty="0"/>
          </a:p>
        </p:txBody>
      </p:sp>
      <p:sp>
        <p:nvSpPr>
          <p:cNvPr id="5" name="Slide Number Placeholder 4"/>
          <p:cNvSpPr>
            <a:spLocks noGrp="1"/>
          </p:cNvSpPr>
          <p:nvPr>
            <p:ph type="sldNum" sz="quarter" idx="12"/>
          </p:nvPr>
        </p:nvSpPr>
        <p:spPr>
          <a:xfrm>
            <a:off x="8610971" y="6780590"/>
            <a:ext cx="2742188" cy="388506"/>
          </a:xfrm>
          <a:prstGeom prst="rect">
            <a:avLst/>
          </a:prstGeom>
        </p:spPr>
        <p:txBody>
          <a:bodyPr/>
          <a:lstStyle/>
          <a:p>
            <a:fld id="{FB0C7228-8968-4EAD-A859-852F0E05042B}" type="slidenum">
              <a:rPr lang="en-NZ" smtClean="0"/>
              <a:t>‹#›</a:t>
            </a:fld>
            <a:endParaRPr lang="en-NZ" dirty="0"/>
          </a:p>
        </p:txBody>
      </p:sp>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9569" y="1"/>
            <a:ext cx="12251139" cy="7323501"/>
          </a:xfrm>
          <a:prstGeom prst="rect">
            <a:avLst/>
          </a:prstGeom>
        </p:spPr>
      </p:pic>
    </p:spTree>
    <p:extLst>
      <p:ext uri="{BB962C8B-B14F-4D97-AF65-F5344CB8AC3E}">
        <p14:creationId xmlns:p14="http://schemas.microsoft.com/office/powerpoint/2010/main" val="289253273"/>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Fact Layout_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71685" y="2223118"/>
            <a:ext cx="8058229" cy="191264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3580798963"/>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1_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94135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97187"/>
            <a:ext cx="9144000" cy="2546773"/>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842174"/>
            <a:ext cx="9144000" cy="1766146"/>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01120C9-890A-4013-ADCB-1DF4AE2150B6}" type="datetimeFigureOut">
              <a:rPr lang="en-US" smtClean="0"/>
              <a:t>1/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83857441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1/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97864315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823721"/>
            <a:ext cx="10515600" cy="3042919"/>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895428"/>
            <a:ext cx="10515600" cy="1600199"/>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01120C9-890A-4013-ADCB-1DF4AE2150B6}" type="datetimeFigureOut">
              <a:rPr lang="en-US" smtClean="0"/>
              <a:t>1/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61660637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947333"/>
            <a:ext cx="5181600" cy="46414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947333"/>
            <a:ext cx="5181600" cy="46414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01120C9-890A-4013-ADCB-1DF4AE2150B6}" type="datetimeFigureOut">
              <a:rPr lang="en-US" smtClean="0"/>
              <a:t>1/8/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66575653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89467"/>
            <a:ext cx="10515600" cy="1413934"/>
          </a:xfrm>
        </p:spPr>
        <p:txBody>
          <a:bodyPr/>
          <a:lstStyle/>
          <a:p>
            <a:r>
              <a:rPr lang="en-US"/>
              <a:t>Click to edit Master title style</a:t>
            </a:r>
          </a:p>
        </p:txBody>
      </p:sp>
      <p:sp>
        <p:nvSpPr>
          <p:cNvPr id="3" name="Text Placeholder 2"/>
          <p:cNvSpPr>
            <a:spLocks noGrp="1"/>
          </p:cNvSpPr>
          <p:nvPr>
            <p:ph type="body" idx="1"/>
          </p:nvPr>
        </p:nvSpPr>
        <p:spPr>
          <a:xfrm>
            <a:off x="839789" y="1793241"/>
            <a:ext cx="5157787" cy="87883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9" y="2672080"/>
            <a:ext cx="5157787" cy="39302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793241"/>
            <a:ext cx="5183188" cy="87883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672080"/>
            <a:ext cx="5183188" cy="39302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01120C9-890A-4013-ADCB-1DF4AE2150B6}" type="datetimeFigureOut">
              <a:rPr lang="en-US" smtClean="0"/>
              <a:t>1/8/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42469484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2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7" y="1644249"/>
            <a:ext cx="11653523" cy="2055306"/>
          </a:xfrm>
        </p:spPr>
        <p:txBody>
          <a:bodyPr>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284376" y="684606"/>
            <a:ext cx="10955156" cy="959643"/>
          </a:xfrm>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205830134"/>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01120C9-890A-4013-ADCB-1DF4AE2150B6}" type="datetimeFigureOut">
              <a:rPr lang="en-US" smtClean="0"/>
              <a:t>1/8/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73304389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01120C9-890A-4013-ADCB-1DF4AE2150B6}" type="datetimeFigureOut">
              <a:rPr lang="en-US" smtClean="0"/>
              <a:t>1/8/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404810350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87680"/>
            <a:ext cx="3932237" cy="170688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1053254"/>
            <a:ext cx="6172200" cy="519853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194560"/>
            <a:ext cx="3932237" cy="406569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1/8/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55939929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87680"/>
            <a:ext cx="3932237" cy="170688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1053254"/>
            <a:ext cx="6172200" cy="519853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9" y="2194560"/>
            <a:ext cx="3932237" cy="406569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1/8/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74344845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1/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38952541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89467"/>
            <a:ext cx="2628900" cy="619929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89467"/>
            <a:ext cx="7734300" cy="619929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1/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84349325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2_Title Only_3">
    <p:spTree>
      <p:nvGrpSpPr>
        <p:cNvPr id="1" name=""/>
        <p:cNvGrpSpPr/>
        <p:nvPr/>
      </p:nvGrpSpPr>
      <p:grpSpPr>
        <a:xfrm>
          <a:off x="0" y="0"/>
          <a:ext cx="0" cy="0"/>
          <a:chOff x="0" y="0"/>
          <a:chExt cx="0" cy="0"/>
        </a:xfrm>
      </p:grpSpPr>
      <p:sp>
        <p:nvSpPr>
          <p:cNvPr id="3" name="Rectangle 2"/>
          <p:cNvSpPr/>
          <p:nvPr userDrawn="1"/>
        </p:nvSpPr>
        <p:spPr>
          <a:xfrm>
            <a:off x="1" y="1523698"/>
            <a:ext cx="12191999" cy="5808461"/>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00" kern="0">
              <a:solidFill>
                <a:sysClr val="windowText" lastClr="000000"/>
              </a:solidFill>
            </a:endParaRP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483269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308812"/>
            <a:ext cx="6904778" cy="959643"/>
          </a:xfrm>
        </p:spPr>
        <p:txBody>
          <a:bodyPr/>
          <a:lstStyle>
            <a:lvl1pPr>
              <a:defRPr sz="3921"/>
            </a:lvl1pPr>
          </a:lstStyle>
          <a:p>
            <a:r>
              <a:rPr lang="en-US" dirty="0"/>
              <a:t>Click to edit Master title style</a:t>
            </a:r>
          </a:p>
        </p:txBody>
      </p:sp>
      <p:sp>
        <p:nvSpPr>
          <p:cNvPr id="4" name="Text Placeholder 3"/>
          <p:cNvSpPr>
            <a:spLocks noGrp="1"/>
          </p:cNvSpPr>
          <p:nvPr>
            <p:ph type="body" sz="quarter" idx="10"/>
          </p:nvPr>
        </p:nvSpPr>
        <p:spPr>
          <a:xfrm>
            <a:off x="5020303" y="5092083"/>
            <a:ext cx="6904016" cy="191264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1" y="-1"/>
            <a:ext cx="4828867" cy="7315865"/>
          </a:xfrm>
          <a:prstGeom prst="rect">
            <a:avLst/>
          </a:prstGeom>
        </p:spPr>
      </p:pic>
    </p:spTree>
    <p:extLst>
      <p:ext uri="{BB962C8B-B14F-4D97-AF65-F5344CB8AC3E}">
        <p14:creationId xmlns:p14="http://schemas.microsoft.com/office/powerpoint/2010/main" val="1901512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GoodPello">
    <p:spTree>
      <p:nvGrpSpPr>
        <p:cNvPr id="1" name=""/>
        <p:cNvGrpSpPr/>
        <p:nvPr/>
      </p:nvGrpSpPr>
      <p:grpSpPr>
        <a:xfrm>
          <a:off x="0" y="0"/>
          <a:ext cx="0" cy="0"/>
          <a:chOff x="0" y="0"/>
          <a:chExt cx="0" cy="0"/>
        </a:xfrm>
      </p:grpSpPr>
      <p:grpSp>
        <p:nvGrpSpPr>
          <p:cNvPr id="8" name="그룹 7"/>
          <p:cNvGrpSpPr/>
          <p:nvPr userDrawn="1"/>
        </p:nvGrpSpPr>
        <p:grpSpPr>
          <a:xfrm>
            <a:off x="0" y="0"/>
            <a:ext cx="12192000" cy="7315200"/>
            <a:chOff x="0" y="0"/>
            <a:chExt cx="12192000" cy="6858000"/>
          </a:xfrm>
        </p:grpSpPr>
        <p:sp>
          <p:nvSpPr>
            <p:cNvPr id="2" name="직사각형 1"/>
            <p:cNvSpPr/>
            <p:nvPr userDrawn="1"/>
          </p:nvSpPr>
          <p:spPr>
            <a:xfrm>
              <a:off x="0" y="0"/>
              <a:ext cx="12192000"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1" dirty="0">
                <a:solidFill>
                  <a:prstClr val="white"/>
                </a:solidFill>
              </a:endParaRPr>
            </a:p>
          </p:txBody>
        </p:sp>
        <p:pic>
          <p:nvPicPr>
            <p:cNvPr id="3" name="그림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000" y="1790185"/>
              <a:ext cx="9144000" cy="2908300"/>
            </a:xfrm>
            <a:prstGeom prst="rect">
              <a:avLst/>
            </a:prstGeom>
          </p:spPr>
        </p:pic>
        <p:sp>
          <p:nvSpPr>
            <p:cNvPr id="4" name="TextBox 3"/>
            <p:cNvSpPr txBox="1"/>
            <p:nvPr userDrawn="1"/>
          </p:nvSpPr>
          <p:spPr>
            <a:xfrm>
              <a:off x="4943475" y="5476359"/>
              <a:ext cx="2305051" cy="281447"/>
            </a:xfrm>
            <a:prstGeom prst="rect">
              <a:avLst/>
            </a:prstGeom>
            <a:noFill/>
          </p:spPr>
          <p:txBody>
            <a:bodyPr wrap="square" rtlCol="0">
              <a:spAutoFit/>
            </a:bodyPr>
            <a:lstStyle/>
            <a:p>
              <a:pPr algn="ctr"/>
              <a:r>
                <a:rPr lang="en-US" altLang="ko-KR" sz="1351" dirty="0">
                  <a:solidFill>
                    <a:prstClr val="white">
                      <a:lumMod val="85000"/>
                    </a:prstClr>
                  </a:solidFill>
                </a:rPr>
                <a:t>www.goodpello.com</a:t>
              </a:r>
              <a:endParaRPr lang="ko-KR" altLang="en-US" sz="1351" dirty="0">
                <a:solidFill>
                  <a:prstClr val="white">
                    <a:lumMod val="85000"/>
                  </a:prstClr>
                </a:solidFill>
              </a:endParaRPr>
            </a:p>
          </p:txBody>
        </p:sp>
        <p:grpSp>
          <p:nvGrpSpPr>
            <p:cNvPr id="5" name="그룹 4"/>
            <p:cNvGrpSpPr/>
            <p:nvPr userDrawn="1"/>
          </p:nvGrpSpPr>
          <p:grpSpPr>
            <a:xfrm>
              <a:off x="3657600" y="5661025"/>
              <a:ext cx="4876800" cy="0"/>
              <a:chOff x="2105025" y="5566291"/>
              <a:chExt cx="4876800" cy="0"/>
            </a:xfrm>
          </p:grpSpPr>
          <p:cxnSp>
            <p:nvCxnSpPr>
              <p:cNvPr id="6" name="직선 연결선 5"/>
              <p:cNvCxnSpPr/>
              <p:nvPr userDrawn="1"/>
            </p:nvCxnSpPr>
            <p:spPr>
              <a:xfrm flipH="1">
                <a:off x="2105025" y="5566291"/>
                <a:ext cx="1200150"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7" name="직선 연결선 6"/>
              <p:cNvCxnSpPr/>
              <p:nvPr userDrawn="1"/>
            </p:nvCxnSpPr>
            <p:spPr>
              <a:xfrm flipH="1">
                <a:off x="5781675" y="5566291"/>
                <a:ext cx="1200150"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453257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over">
    <p:bg>
      <p:bgPr>
        <a:gradFill>
          <a:gsLst>
            <a:gs pos="0">
              <a:srgbClr val="0F1121"/>
            </a:gs>
            <a:gs pos="100000">
              <a:srgbClr val="152B2D"/>
            </a:gs>
          </a:gsLst>
          <a:lin ang="0" scaled="1"/>
        </a:gradFill>
        <a:effectLst/>
      </p:bgPr>
    </p:bg>
    <p:spTree>
      <p:nvGrpSpPr>
        <p:cNvPr id="1" name=""/>
        <p:cNvGrpSpPr/>
        <p:nvPr/>
      </p:nvGrpSpPr>
      <p:grpSpPr>
        <a:xfrm>
          <a:off x="0" y="0"/>
          <a:ext cx="0" cy="0"/>
          <a:chOff x="0" y="0"/>
          <a:chExt cx="0" cy="0"/>
        </a:xfrm>
      </p:grpSpPr>
      <p:grpSp>
        <p:nvGrpSpPr>
          <p:cNvPr id="8" name="그룹 7"/>
          <p:cNvGrpSpPr/>
          <p:nvPr userDrawn="1"/>
        </p:nvGrpSpPr>
        <p:grpSpPr>
          <a:xfrm>
            <a:off x="739247" y="367983"/>
            <a:ext cx="10713508" cy="6579234"/>
            <a:chOff x="644444" y="206067"/>
            <a:chExt cx="8035131" cy="4626024"/>
          </a:xfrm>
          <a:solidFill>
            <a:schemeClr val="bg1">
              <a:alpha val="30000"/>
            </a:schemeClr>
          </a:solidFill>
        </p:grpSpPr>
        <p:sp>
          <p:nvSpPr>
            <p:cNvPr id="9" name="포인트가 4개인 별 8"/>
            <p:cNvSpPr/>
            <p:nvPr/>
          </p:nvSpPr>
          <p:spPr>
            <a:xfrm>
              <a:off x="1631853" y="1074261"/>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0" name="포인트가 4개인 별 9"/>
            <p:cNvSpPr/>
            <p:nvPr/>
          </p:nvSpPr>
          <p:spPr>
            <a:xfrm>
              <a:off x="2006991" y="3293263"/>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1" name="포인트가 4개인 별 10"/>
            <p:cNvSpPr/>
            <p:nvPr/>
          </p:nvSpPr>
          <p:spPr>
            <a:xfrm>
              <a:off x="3261361" y="1783808"/>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2" name="포인트가 4개인 별 11"/>
            <p:cNvSpPr/>
            <p:nvPr/>
          </p:nvSpPr>
          <p:spPr>
            <a:xfrm>
              <a:off x="3596614" y="342128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3" name="포인트가 4개인 별 12"/>
            <p:cNvSpPr/>
            <p:nvPr/>
          </p:nvSpPr>
          <p:spPr>
            <a:xfrm>
              <a:off x="5413691" y="147525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4" name="포인트가 4개인 별 13"/>
            <p:cNvSpPr/>
            <p:nvPr/>
          </p:nvSpPr>
          <p:spPr>
            <a:xfrm>
              <a:off x="6515660" y="421845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5" name="포인트가 4개인 별 14"/>
            <p:cNvSpPr/>
            <p:nvPr/>
          </p:nvSpPr>
          <p:spPr>
            <a:xfrm>
              <a:off x="4897876" y="4229535"/>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6" name="포인트가 4개인 별 15"/>
            <p:cNvSpPr/>
            <p:nvPr/>
          </p:nvSpPr>
          <p:spPr>
            <a:xfrm>
              <a:off x="2975291" y="4461385"/>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7" name="포인트가 4개인 별 16"/>
            <p:cNvSpPr/>
            <p:nvPr/>
          </p:nvSpPr>
          <p:spPr>
            <a:xfrm>
              <a:off x="1134763" y="3549309"/>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8" name="포인트가 4개인 별 17"/>
            <p:cNvSpPr/>
            <p:nvPr/>
          </p:nvSpPr>
          <p:spPr>
            <a:xfrm>
              <a:off x="2165104" y="2024074"/>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9" name="포인트가 4개인 별 18"/>
            <p:cNvSpPr/>
            <p:nvPr/>
          </p:nvSpPr>
          <p:spPr>
            <a:xfrm>
              <a:off x="3419474" y="514619"/>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0" name="포인트가 4개인 별 19"/>
            <p:cNvSpPr/>
            <p:nvPr/>
          </p:nvSpPr>
          <p:spPr>
            <a:xfrm>
              <a:off x="3754727" y="2152097"/>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1" name="포인트가 4개인 별 20"/>
            <p:cNvSpPr/>
            <p:nvPr/>
          </p:nvSpPr>
          <p:spPr>
            <a:xfrm>
              <a:off x="5571804" y="206067"/>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2" name="포인트가 4개인 별 21"/>
            <p:cNvSpPr/>
            <p:nvPr/>
          </p:nvSpPr>
          <p:spPr>
            <a:xfrm>
              <a:off x="6673773" y="2949267"/>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3" name="포인트가 4개인 별 22"/>
            <p:cNvSpPr/>
            <p:nvPr/>
          </p:nvSpPr>
          <p:spPr>
            <a:xfrm>
              <a:off x="5055989" y="296034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4" name="포인트가 4개인 별 23"/>
            <p:cNvSpPr/>
            <p:nvPr/>
          </p:nvSpPr>
          <p:spPr>
            <a:xfrm>
              <a:off x="3133404" y="319219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5" name="포인트가 4개인 별 24"/>
            <p:cNvSpPr/>
            <p:nvPr/>
          </p:nvSpPr>
          <p:spPr>
            <a:xfrm>
              <a:off x="1292876" y="2280120"/>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6" name="포인트가 4개인 별 25"/>
            <p:cNvSpPr/>
            <p:nvPr/>
          </p:nvSpPr>
          <p:spPr>
            <a:xfrm>
              <a:off x="6491481" y="1379747"/>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7" name="포인트가 4개인 별 26"/>
            <p:cNvSpPr/>
            <p:nvPr/>
          </p:nvSpPr>
          <p:spPr>
            <a:xfrm>
              <a:off x="6866619" y="3598749"/>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8" name="포인트가 4개인 별 27"/>
            <p:cNvSpPr/>
            <p:nvPr/>
          </p:nvSpPr>
          <p:spPr>
            <a:xfrm>
              <a:off x="8120989" y="2089294"/>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9" name="포인트가 4개인 별 28"/>
            <p:cNvSpPr/>
            <p:nvPr/>
          </p:nvSpPr>
          <p:spPr>
            <a:xfrm>
              <a:off x="8456242" y="3726772"/>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0" name="포인트가 4개인 별 29"/>
            <p:cNvSpPr/>
            <p:nvPr/>
          </p:nvSpPr>
          <p:spPr>
            <a:xfrm>
              <a:off x="7834919" y="4766871"/>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1" name="포인트가 4개인 별 30"/>
            <p:cNvSpPr/>
            <p:nvPr/>
          </p:nvSpPr>
          <p:spPr>
            <a:xfrm>
              <a:off x="5994391" y="3854795"/>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2" name="포인트가 4개인 별 31"/>
            <p:cNvSpPr/>
            <p:nvPr/>
          </p:nvSpPr>
          <p:spPr>
            <a:xfrm>
              <a:off x="7024732" y="2329560"/>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3" name="포인트가 4개인 별 32"/>
            <p:cNvSpPr/>
            <p:nvPr/>
          </p:nvSpPr>
          <p:spPr>
            <a:xfrm>
              <a:off x="8279102" y="820105"/>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4" name="포인트가 4개인 별 33"/>
            <p:cNvSpPr/>
            <p:nvPr/>
          </p:nvSpPr>
          <p:spPr>
            <a:xfrm>
              <a:off x="8614355" y="2457583"/>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5" name="포인트가 4개인 별 34"/>
            <p:cNvSpPr/>
            <p:nvPr/>
          </p:nvSpPr>
          <p:spPr>
            <a:xfrm>
              <a:off x="7993032" y="3497682"/>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6" name="포인트가 4개인 별 35"/>
            <p:cNvSpPr/>
            <p:nvPr/>
          </p:nvSpPr>
          <p:spPr>
            <a:xfrm>
              <a:off x="6152504" y="258560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7" name="포인트가 4개인 별 36"/>
            <p:cNvSpPr/>
            <p:nvPr/>
          </p:nvSpPr>
          <p:spPr>
            <a:xfrm>
              <a:off x="1160259" y="1685575"/>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8" name="포인트가 4개인 별 37"/>
            <p:cNvSpPr/>
            <p:nvPr/>
          </p:nvSpPr>
          <p:spPr>
            <a:xfrm>
              <a:off x="2262228" y="4428775"/>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9" name="포인트가 4개인 별 38"/>
            <p:cNvSpPr/>
            <p:nvPr/>
          </p:nvSpPr>
          <p:spPr>
            <a:xfrm>
              <a:off x="644444" y="4439854"/>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0" name="포인트가 4개인 별 39"/>
            <p:cNvSpPr/>
            <p:nvPr/>
          </p:nvSpPr>
          <p:spPr>
            <a:xfrm>
              <a:off x="1318372" y="41638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1" name="포인트가 4개인 별 40"/>
            <p:cNvSpPr/>
            <p:nvPr/>
          </p:nvSpPr>
          <p:spPr>
            <a:xfrm>
              <a:off x="2420341" y="315958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2" name="포인트가 4개인 별 41"/>
            <p:cNvSpPr/>
            <p:nvPr/>
          </p:nvSpPr>
          <p:spPr>
            <a:xfrm>
              <a:off x="802557" y="3170665"/>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3" name="포인트가 4개인 별 42"/>
            <p:cNvSpPr/>
            <p:nvPr/>
          </p:nvSpPr>
          <p:spPr>
            <a:xfrm>
              <a:off x="2238049" y="159006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4" name="포인트가 4개인 별 43"/>
            <p:cNvSpPr/>
            <p:nvPr/>
          </p:nvSpPr>
          <p:spPr>
            <a:xfrm>
              <a:off x="2613187" y="3809068"/>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5" name="포인트가 4개인 별 44"/>
            <p:cNvSpPr/>
            <p:nvPr/>
          </p:nvSpPr>
          <p:spPr>
            <a:xfrm>
              <a:off x="1740959" y="4065114"/>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6" name="포인트가 4개인 별 45"/>
            <p:cNvSpPr/>
            <p:nvPr/>
          </p:nvSpPr>
          <p:spPr>
            <a:xfrm>
              <a:off x="2771300" y="2539879"/>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7" name="포인트가 4개인 별 46"/>
            <p:cNvSpPr/>
            <p:nvPr/>
          </p:nvSpPr>
          <p:spPr>
            <a:xfrm>
              <a:off x="1899072" y="2795925"/>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sp>
        <p:nvSpPr>
          <p:cNvPr id="48" name="포인트가 5개인 별 47"/>
          <p:cNvSpPr/>
          <p:nvPr userDrawn="1"/>
        </p:nvSpPr>
        <p:spPr>
          <a:xfrm>
            <a:off x="3107110" y="5268657"/>
            <a:ext cx="99892" cy="106551"/>
          </a:xfrm>
          <a:prstGeom prst="star5">
            <a:avLst>
              <a:gd name="adj" fmla="val 28797"/>
              <a:gd name="hf" fmla="val 105146"/>
              <a:gd name="vf" fmla="val 11055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9" name="포인트가 5개인 별 48"/>
          <p:cNvSpPr/>
          <p:nvPr userDrawn="1"/>
        </p:nvSpPr>
        <p:spPr>
          <a:xfrm rot="-1740000">
            <a:off x="7247662" y="6036973"/>
            <a:ext cx="99892" cy="106551"/>
          </a:xfrm>
          <a:prstGeom prst="star5">
            <a:avLst>
              <a:gd name="adj" fmla="val 28797"/>
              <a:gd name="hf" fmla="val 105146"/>
              <a:gd name="vf" fmla="val 11055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0" name="포인트가 5개인 별 49"/>
          <p:cNvSpPr/>
          <p:nvPr userDrawn="1"/>
        </p:nvSpPr>
        <p:spPr>
          <a:xfrm>
            <a:off x="9593854" y="2412000"/>
            <a:ext cx="99892" cy="106551"/>
          </a:xfrm>
          <a:prstGeom prst="star5">
            <a:avLst>
              <a:gd name="adj" fmla="val 28797"/>
              <a:gd name="hf" fmla="val 105146"/>
              <a:gd name="vf" fmla="val 11055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1" name="포인트가 4개인 별 50"/>
          <p:cNvSpPr/>
          <p:nvPr userDrawn="1"/>
        </p:nvSpPr>
        <p:spPr>
          <a:xfrm rot="2760000">
            <a:off x="7320155" y="1506189"/>
            <a:ext cx="153600" cy="14400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2" name="포인트가 4개인 별 51"/>
          <p:cNvSpPr/>
          <p:nvPr userDrawn="1"/>
        </p:nvSpPr>
        <p:spPr>
          <a:xfrm>
            <a:off x="10838245" y="5997848"/>
            <a:ext cx="144000" cy="153600"/>
          </a:xfrm>
          <a:prstGeom prst="star4">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3" name="포인트가 5개인 별 52"/>
          <p:cNvSpPr/>
          <p:nvPr userDrawn="1"/>
        </p:nvSpPr>
        <p:spPr>
          <a:xfrm>
            <a:off x="2456085" y="1131520"/>
            <a:ext cx="99892" cy="106551"/>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4" name="포인트가 5개인 별 53"/>
          <p:cNvSpPr/>
          <p:nvPr userDrawn="1"/>
        </p:nvSpPr>
        <p:spPr>
          <a:xfrm rot="-1740000">
            <a:off x="9146406" y="746641"/>
            <a:ext cx="99892" cy="106551"/>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5" name="포인트가 5개인 별 54"/>
          <p:cNvSpPr/>
          <p:nvPr userDrawn="1"/>
        </p:nvSpPr>
        <p:spPr>
          <a:xfrm rot="-1740000">
            <a:off x="7948795" y="3828919"/>
            <a:ext cx="99892" cy="106551"/>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6" name="포인트가 5개인 별 55"/>
          <p:cNvSpPr/>
          <p:nvPr userDrawn="1"/>
        </p:nvSpPr>
        <p:spPr>
          <a:xfrm rot="2760000">
            <a:off x="10770318" y="4215190"/>
            <a:ext cx="106551" cy="99892"/>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7" name="포인트가 5개인 별 56"/>
          <p:cNvSpPr/>
          <p:nvPr userDrawn="1"/>
        </p:nvSpPr>
        <p:spPr>
          <a:xfrm>
            <a:off x="5555677" y="2451976"/>
            <a:ext cx="99892" cy="106551"/>
          </a:xfrm>
          <a:prstGeom prst="star5">
            <a:avLst>
              <a:gd name="adj" fmla="val 28797"/>
              <a:gd name="hf" fmla="val 105146"/>
              <a:gd name="vf" fmla="val 11055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8" name="포인트가 5개인 별 57"/>
          <p:cNvSpPr/>
          <p:nvPr userDrawn="1"/>
        </p:nvSpPr>
        <p:spPr>
          <a:xfrm>
            <a:off x="1394406" y="5949164"/>
            <a:ext cx="99892" cy="106551"/>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9" name="포인트가 5개인 별 58"/>
          <p:cNvSpPr/>
          <p:nvPr userDrawn="1"/>
        </p:nvSpPr>
        <p:spPr>
          <a:xfrm>
            <a:off x="11731993" y="314707"/>
            <a:ext cx="99892" cy="106551"/>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0" name="포인트가 4개인 별 59"/>
          <p:cNvSpPr/>
          <p:nvPr userDrawn="1"/>
        </p:nvSpPr>
        <p:spPr>
          <a:xfrm>
            <a:off x="5232484" y="4085333"/>
            <a:ext cx="144000" cy="153600"/>
          </a:xfrm>
          <a:prstGeom prst="star4">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 name="포인트가 4개인 별 60"/>
          <p:cNvSpPr/>
          <p:nvPr userDrawn="1"/>
        </p:nvSpPr>
        <p:spPr>
          <a:xfrm>
            <a:off x="4762537" y="1609984"/>
            <a:ext cx="144000" cy="153600"/>
          </a:xfrm>
          <a:prstGeom prst="star4">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nvGrpSpPr>
          <p:cNvPr id="62" name="그룹 61"/>
          <p:cNvGrpSpPr/>
          <p:nvPr userDrawn="1"/>
        </p:nvGrpSpPr>
        <p:grpSpPr>
          <a:xfrm>
            <a:off x="7804113" y="6188566"/>
            <a:ext cx="497420" cy="462849"/>
            <a:chOff x="3459207" y="4846674"/>
            <a:chExt cx="373065" cy="325441"/>
          </a:xfrm>
        </p:grpSpPr>
        <p:sp>
          <p:nvSpPr>
            <p:cNvPr id="63" name="Freeform 908"/>
            <p:cNvSpPr>
              <a:spLocks/>
            </p:cNvSpPr>
            <p:nvPr/>
          </p:nvSpPr>
          <p:spPr bwMode="auto">
            <a:xfrm>
              <a:off x="3525882" y="5059401"/>
              <a:ext cx="49213" cy="47625"/>
            </a:xfrm>
            <a:custGeom>
              <a:avLst/>
              <a:gdLst>
                <a:gd name="T0" fmla="*/ 79 w 157"/>
                <a:gd name="T1" fmla="*/ 123 h 149"/>
                <a:gd name="T2" fmla="*/ 126 w 157"/>
                <a:gd name="T3" fmla="*/ 149 h 149"/>
                <a:gd name="T4" fmla="*/ 118 w 157"/>
                <a:gd name="T5" fmla="*/ 95 h 149"/>
                <a:gd name="T6" fmla="*/ 157 w 157"/>
                <a:gd name="T7" fmla="*/ 56 h 149"/>
                <a:gd name="T8" fmla="*/ 102 w 157"/>
                <a:gd name="T9" fmla="*/ 49 h 149"/>
                <a:gd name="T10" fmla="*/ 79 w 157"/>
                <a:gd name="T11" fmla="*/ 0 h 149"/>
                <a:gd name="T12" fmla="*/ 54 w 157"/>
                <a:gd name="T13" fmla="*/ 49 h 149"/>
                <a:gd name="T14" fmla="*/ 0 w 157"/>
                <a:gd name="T15" fmla="*/ 56 h 149"/>
                <a:gd name="T16" fmla="*/ 39 w 157"/>
                <a:gd name="T17" fmla="*/ 95 h 149"/>
                <a:gd name="T18" fmla="*/ 30 w 157"/>
                <a:gd name="T19" fmla="*/ 149 h 149"/>
                <a:gd name="T20" fmla="*/ 79 w 157"/>
                <a:gd name="T21" fmla="*/ 12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149">
                  <a:moveTo>
                    <a:pt x="79" y="123"/>
                  </a:moveTo>
                  <a:lnTo>
                    <a:pt x="126" y="149"/>
                  </a:lnTo>
                  <a:lnTo>
                    <a:pt x="118" y="95"/>
                  </a:lnTo>
                  <a:lnTo>
                    <a:pt x="157" y="56"/>
                  </a:lnTo>
                  <a:lnTo>
                    <a:pt x="102" y="49"/>
                  </a:lnTo>
                  <a:lnTo>
                    <a:pt x="79" y="0"/>
                  </a:lnTo>
                  <a:lnTo>
                    <a:pt x="54" y="49"/>
                  </a:lnTo>
                  <a:lnTo>
                    <a:pt x="0" y="56"/>
                  </a:lnTo>
                  <a:lnTo>
                    <a:pt x="39" y="95"/>
                  </a:lnTo>
                  <a:lnTo>
                    <a:pt x="30" y="149"/>
                  </a:lnTo>
                  <a:lnTo>
                    <a:pt x="79" y="12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 name="Freeform 909"/>
            <p:cNvSpPr>
              <a:spLocks/>
            </p:cNvSpPr>
            <p:nvPr/>
          </p:nvSpPr>
          <p:spPr bwMode="auto">
            <a:xfrm>
              <a:off x="3698921" y="4846674"/>
              <a:ext cx="38100" cy="36513"/>
            </a:xfrm>
            <a:custGeom>
              <a:avLst/>
              <a:gdLst>
                <a:gd name="T0" fmla="*/ 61 w 121"/>
                <a:gd name="T1" fmla="*/ 95 h 114"/>
                <a:gd name="T2" fmla="*/ 98 w 121"/>
                <a:gd name="T3" fmla="*/ 114 h 114"/>
                <a:gd name="T4" fmla="*/ 91 w 121"/>
                <a:gd name="T5" fmla="*/ 73 h 114"/>
                <a:gd name="T6" fmla="*/ 121 w 121"/>
                <a:gd name="T7" fmla="*/ 44 h 114"/>
                <a:gd name="T8" fmla="*/ 80 w 121"/>
                <a:gd name="T9" fmla="*/ 38 h 114"/>
                <a:gd name="T10" fmla="*/ 61 w 121"/>
                <a:gd name="T11" fmla="*/ 0 h 114"/>
                <a:gd name="T12" fmla="*/ 42 w 121"/>
                <a:gd name="T13" fmla="*/ 38 h 114"/>
                <a:gd name="T14" fmla="*/ 0 w 121"/>
                <a:gd name="T15" fmla="*/ 44 h 114"/>
                <a:gd name="T16" fmla="*/ 31 w 121"/>
                <a:gd name="T17" fmla="*/ 73 h 114"/>
                <a:gd name="T18" fmla="*/ 24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1" y="73"/>
                  </a:lnTo>
                  <a:lnTo>
                    <a:pt x="121" y="44"/>
                  </a:lnTo>
                  <a:lnTo>
                    <a:pt x="80" y="38"/>
                  </a:lnTo>
                  <a:lnTo>
                    <a:pt x="61" y="0"/>
                  </a:lnTo>
                  <a:lnTo>
                    <a:pt x="42" y="38"/>
                  </a:lnTo>
                  <a:lnTo>
                    <a:pt x="0" y="44"/>
                  </a:lnTo>
                  <a:lnTo>
                    <a:pt x="31" y="73"/>
                  </a:lnTo>
                  <a:lnTo>
                    <a:pt x="24" y="114"/>
                  </a:lnTo>
                  <a:lnTo>
                    <a:pt x="61" y="95"/>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 name="Freeform 910"/>
            <p:cNvSpPr>
              <a:spLocks/>
            </p:cNvSpPr>
            <p:nvPr/>
          </p:nvSpPr>
          <p:spPr bwMode="auto">
            <a:xfrm>
              <a:off x="3665583" y="5135602"/>
              <a:ext cx="38100" cy="36513"/>
            </a:xfrm>
            <a:custGeom>
              <a:avLst/>
              <a:gdLst>
                <a:gd name="T0" fmla="*/ 60 w 120"/>
                <a:gd name="T1" fmla="*/ 95 h 114"/>
                <a:gd name="T2" fmla="*/ 98 w 120"/>
                <a:gd name="T3" fmla="*/ 114 h 114"/>
                <a:gd name="T4" fmla="*/ 91 w 120"/>
                <a:gd name="T5" fmla="*/ 73 h 114"/>
                <a:gd name="T6" fmla="*/ 120 w 120"/>
                <a:gd name="T7" fmla="*/ 43 h 114"/>
                <a:gd name="T8" fmla="*/ 78 w 120"/>
                <a:gd name="T9" fmla="*/ 37 h 114"/>
                <a:gd name="T10" fmla="*/ 60 w 120"/>
                <a:gd name="T11" fmla="*/ 0 h 114"/>
                <a:gd name="T12" fmla="*/ 42 w 120"/>
                <a:gd name="T13" fmla="*/ 37 h 114"/>
                <a:gd name="T14" fmla="*/ 0 w 120"/>
                <a:gd name="T15" fmla="*/ 43 h 114"/>
                <a:gd name="T16" fmla="*/ 31 w 120"/>
                <a:gd name="T17" fmla="*/ 73 h 114"/>
                <a:gd name="T18" fmla="*/ 24 w 120"/>
                <a:gd name="T19" fmla="*/ 114 h 114"/>
                <a:gd name="T20" fmla="*/ 60 w 120"/>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 h="114">
                  <a:moveTo>
                    <a:pt x="60" y="95"/>
                  </a:moveTo>
                  <a:lnTo>
                    <a:pt x="98" y="114"/>
                  </a:lnTo>
                  <a:lnTo>
                    <a:pt x="91" y="73"/>
                  </a:lnTo>
                  <a:lnTo>
                    <a:pt x="120" y="43"/>
                  </a:lnTo>
                  <a:lnTo>
                    <a:pt x="78" y="37"/>
                  </a:lnTo>
                  <a:lnTo>
                    <a:pt x="60" y="0"/>
                  </a:lnTo>
                  <a:lnTo>
                    <a:pt x="42" y="37"/>
                  </a:lnTo>
                  <a:lnTo>
                    <a:pt x="0" y="43"/>
                  </a:lnTo>
                  <a:lnTo>
                    <a:pt x="31" y="73"/>
                  </a:lnTo>
                  <a:lnTo>
                    <a:pt x="24" y="114"/>
                  </a:lnTo>
                  <a:lnTo>
                    <a:pt x="60"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 name="Freeform 911"/>
            <p:cNvSpPr>
              <a:spLocks/>
            </p:cNvSpPr>
            <p:nvPr/>
          </p:nvSpPr>
          <p:spPr bwMode="auto">
            <a:xfrm>
              <a:off x="3459207" y="4980026"/>
              <a:ext cx="38100" cy="36513"/>
            </a:xfrm>
            <a:custGeom>
              <a:avLst/>
              <a:gdLst>
                <a:gd name="T0" fmla="*/ 61 w 121"/>
                <a:gd name="T1" fmla="*/ 95 h 114"/>
                <a:gd name="T2" fmla="*/ 98 w 121"/>
                <a:gd name="T3" fmla="*/ 114 h 114"/>
                <a:gd name="T4" fmla="*/ 90 w 121"/>
                <a:gd name="T5" fmla="*/ 73 h 114"/>
                <a:gd name="T6" fmla="*/ 121 w 121"/>
                <a:gd name="T7" fmla="*/ 44 h 114"/>
                <a:gd name="T8" fmla="*/ 79 w 121"/>
                <a:gd name="T9" fmla="*/ 38 h 114"/>
                <a:gd name="T10" fmla="*/ 61 w 121"/>
                <a:gd name="T11" fmla="*/ 0 h 114"/>
                <a:gd name="T12" fmla="*/ 41 w 121"/>
                <a:gd name="T13" fmla="*/ 38 h 114"/>
                <a:gd name="T14" fmla="*/ 0 w 121"/>
                <a:gd name="T15" fmla="*/ 44 h 114"/>
                <a:gd name="T16" fmla="*/ 31 w 121"/>
                <a:gd name="T17" fmla="*/ 73 h 114"/>
                <a:gd name="T18" fmla="*/ 23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0" y="73"/>
                  </a:lnTo>
                  <a:lnTo>
                    <a:pt x="121" y="44"/>
                  </a:lnTo>
                  <a:lnTo>
                    <a:pt x="79" y="38"/>
                  </a:lnTo>
                  <a:lnTo>
                    <a:pt x="61" y="0"/>
                  </a:lnTo>
                  <a:lnTo>
                    <a:pt x="41" y="38"/>
                  </a:lnTo>
                  <a:lnTo>
                    <a:pt x="0" y="44"/>
                  </a:lnTo>
                  <a:lnTo>
                    <a:pt x="31" y="73"/>
                  </a:lnTo>
                  <a:lnTo>
                    <a:pt x="23" y="114"/>
                  </a:lnTo>
                  <a:lnTo>
                    <a:pt x="61"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 name="Freeform 912"/>
            <p:cNvSpPr>
              <a:spLocks/>
            </p:cNvSpPr>
            <p:nvPr/>
          </p:nvSpPr>
          <p:spPr bwMode="auto">
            <a:xfrm>
              <a:off x="3575095" y="4935575"/>
              <a:ext cx="128588" cy="127001"/>
            </a:xfrm>
            <a:custGeom>
              <a:avLst/>
              <a:gdLst>
                <a:gd name="T0" fmla="*/ 272 w 401"/>
                <a:gd name="T1" fmla="*/ 130 h 402"/>
                <a:gd name="T2" fmla="*/ 401 w 401"/>
                <a:gd name="T3" fmla="*/ 201 h 402"/>
                <a:gd name="T4" fmla="*/ 272 w 401"/>
                <a:gd name="T5" fmla="*/ 272 h 402"/>
                <a:gd name="T6" fmla="*/ 201 w 401"/>
                <a:gd name="T7" fmla="*/ 402 h 402"/>
                <a:gd name="T8" fmla="*/ 129 w 401"/>
                <a:gd name="T9" fmla="*/ 272 h 402"/>
                <a:gd name="T10" fmla="*/ 0 w 401"/>
                <a:gd name="T11" fmla="*/ 201 h 402"/>
                <a:gd name="T12" fmla="*/ 129 w 401"/>
                <a:gd name="T13" fmla="*/ 130 h 402"/>
                <a:gd name="T14" fmla="*/ 201 w 401"/>
                <a:gd name="T15" fmla="*/ 0 h 402"/>
                <a:gd name="T16" fmla="*/ 272 w 401"/>
                <a:gd name="T17" fmla="*/ 13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1" h="402">
                  <a:moveTo>
                    <a:pt x="272" y="130"/>
                  </a:moveTo>
                  <a:lnTo>
                    <a:pt x="401" y="201"/>
                  </a:lnTo>
                  <a:lnTo>
                    <a:pt x="272" y="272"/>
                  </a:lnTo>
                  <a:lnTo>
                    <a:pt x="201" y="402"/>
                  </a:lnTo>
                  <a:lnTo>
                    <a:pt x="129" y="272"/>
                  </a:lnTo>
                  <a:lnTo>
                    <a:pt x="0" y="201"/>
                  </a:lnTo>
                  <a:lnTo>
                    <a:pt x="129" y="130"/>
                  </a:lnTo>
                  <a:lnTo>
                    <a:pt x="201" y="0"/>
                  </a:lnTo>
                  <a:lnTo>
                    <a:pt x="27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 name="Freeform 913"/>
            <p:cNvSpPr>
              <a:spLocks/>
            </p:cNvSpPr>
            <p:nvPr/>
          </p:nvSpPr>
          <p:spPr bwMode="auto">
            <a:xfrm>
              <a:off x="3771947" y="4975263"/>
              <a:ext cx="60325" cy="58738"/>
            </a:xfrm>
            <a:custGeom>
              <a:avLst/>
              <a:gdLst>
                <a:gd name="T0" fmla="*/ 126 w 186"/>
                <a:gd name="T1" fmla="*/ 59 h 185"/>
                <a:gd name="T2" fmla="*/ 186 w 186"/>
                <a:gd name="T3" fmla="*/ 92 h 185"/>
                <a:gd name="T4" fmla="*/ 126 w 186"/>
                <a:gd name="T5" fmla="*/ 125 h 185"/>
                <a:gd name="T6" fmla="*/ 93 w 186"/>
                <a:gd name="T7" fmla="*/ 185 h 185"/>
                <a:gd name="T8" fmla="*/ 60 w 186"/>
                <a:gd name="T9" fmla="*/ 125 h 185"/>
                <a:gd name="T10" fmla="*/ 0 w 186"/>
                <a:gd name="T11" fmla="*/ 92 h 185"/>
                <a:gd name="T12" fmla="*/ 60 w 186"/>
                <a:gd name="T13" fmla="*/ 59 h 185"/>
                <a:gd name="T14" fmla="*/ 93 w 186"/>
                <a:gd name="T15" fmla="*/ 0 h 185"/>
                <a:gd name="T16" fmla="*/ 126 w 186"/>
                <a:gd name="T17" fmla="*/ 59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85">
                  <a:moveTo>
                    <a:pt x="126" y="59"/>
                  </a:moveTo>
                  <a:lnTo>
                    <a:pt x="186" y="92"/>
                  </a:lnTo>
                  <a:lnTo>
                    <a:pt x="126" y="125"/>
                  </a:lnTo>
                  <a:lnTo>
                    <a:pt x="93" y="185"/>
                  </a:lnTo>
                  <a:lnTo>
                    <a:pt x="60" y="125"/>
                  </a:lnTo>
                  <a:lnTo>
                    <a:pt x="0" y="92"/>
                  </a:lnTo>
                  <a:lnTo>
                    <a:pt x="60" y="59"/>
                  </a:lnTo>
                  <a:lnTo>
                    <a:pt x="93" y="0"/>
                  </a:lnTo>
                  <a:lnTo>
                    <a:pt x="126" y="59"/>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 name="Freeform 914"/>
            <p:cNvSpPr>
              <a:spLocks/>
            </p:cNvSpPr>
            <p:nvPr/>
          </p:nvSpPr>
          <p:spPr bwMode="auto">
            <a:xfrm>
              <a:off x="3517945" y="4902237"/>
              <a:ext cx="39688" cy="39688"/>
            </a:xfrm>
            <a:custGeom>
              <a:avLst/>
              <a:gdLst>
                <a:gd name="T0" fmla="*/ 84 w 125"/>
                <a:gd name="T1" fmla="*/ 40 h 124"/>
                <a:gd name="T2" fmla="*/ 125 w 125"/>
                <a:gd name="T3" fmla="*/ 62 h 124"/>
                <a:gd name="T4" fmla="*/ 84 w 125"/>
                <a:gd name="T5" fmla="*/ 84 h 124"/>
                <a:gd name="T6" fmla="*/ 63 w 125"/>
                <a:gd name="T7" fmla="*/ 124 h 124"/>
                <a:gd name="T8" fmla="*/ 41 w 125"/>
                <a:gd name="T9" fmla="*/ 84 h 124"/>
                <a:gd name="T10" fmla="*/ 0 w 125"/>
                <a:gd name="T11" fmla="*/ 62 h 124"/>
                <a:gd name="T12" fmla="*/ 41 w 125"/>
                <a:gd name="T13" fmla="*/ 40 h 124"/>
                <a:gd name="T14" fmla="*/ 63 w 125"/>
                <a:gd name="T15" fmla="*/ 0 h 124"/>
                <a:gd name="T16" fmla="*/ 84 w 125"/>
                <a:gd name="T17" fmla="*/ 4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124">
                  <a:moveTo>
                    <a:pt x="84" y="40"/>
                  </a:moveTo>
                  <a:lnTo>
                    <a:pt x="125" y="62"/>
                  </a:lnTo>
                  <a:lnTo>
                    <a:pt x="84" y="84"/>
                  </a:lnTo>
                  <a:lnTo>
                    <a:pt x="63" y="124"/>
                  </a:lnTo>
                  <a:lnTo>
                    <a:pt x="41" y="84"/>
                  </a:lnTo>
                  <a:lnTo>
                    <a:pt x="0" y="62"/>
                  </a:lnTo>
                  <a:lnTo>
                    <a:pt x="41" y="40"/>
                  </a:lnTo>
                  <a:lnTo>
                    <a:pt x="63" y="0"/>
                  </a:lnTo>
                  <a:lnTo>
                    <a:pt x="84"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 name="Freeform 915"/>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 name="Freeform 916"/>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2" name="Freeform 917"/>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3" name="Freeform 918"/>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 name="Freeform 919"/>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 name="Freeform 920"/>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6" name="Freeform 921"/>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7" name="Freeform 922"/>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8" name="Freeform 923"/>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 name="Freeform 924"/>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 name="Freeform 925"/>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 name="Freeform 926"/>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82" name="그룹 81"/>
          <p:cNvGrpSpPr/>
          <p:nvPr userDrawn="1"/>
        </p:nvGrpSpPr>
        <p:grpSpPr>
          <a:xfrm flipH="1">
            <a:off x="3904026" y="1544553"/>
            <a:ext cx="497420" cy="462849"/>
            <a:chOff x="3459207" y="4846674"/>
            <a:chExt cx="373065" cy="325441"/>
          </a:xfrm>
        </p:grpSpPr>
        <p:sp>
          <p:nvSpPr>
            <p:cNvPr id="83" name="Freeform 908"/>
            <p:cNvSpPr>
              <a:spLocks/>
            </p:cNvSpPr>
            <p:nvPr/>
          </p:nvSpPr>
          <p:spPr bwMode="auto">
            <a:xfrm>
              <a:off x="3525882" y="5059401"/>
              <a:ext cx="49213" cy="47625"/>
            </a:xfrm>
            <a:custGeom>
              <a:avLst/>
              <a:gdLst>
                <a:gd name="T0" fmla="*/ 79 w 157"/>
                <a:gd name="T1" fmla="*/ 123 h 149"/>
                <a:gd name="T2" fmla="*/ 126 w 157"/>
                <a:gd name="T3" fmla="*/ 149 h 149"/>
                <a:gd name="T4" fmla="*/ 118 w 157"/>
                <a:gd name="T5" fmla="*/ 95 h 149"/>
                <a:gd name="T6" fmla="*/ 157 w 157"/>
                <a:gd name="T7" fmla="*/ 56 h 149"/>
                <a:gd name="T8" fmla="*/ 102 w 157"/>
                <a:gd name="T9" fmla="*/ 49 h 149"/>
                <a:gd name="T10" fmla="*/ 79 w 157"/>
                <a:gd name="T11" fmla="*/ 0 h 149"/>
                <a:gd name="T12" fmla="*/ 54 w 157"/>
                <a:gd name="T13" fmla="*/ 49 h 149"/>
                <a:gd name="T14" fmla="*/ 0 w 157"/>
                <a:gd name="T15" fmla="*/ 56 h 149"/>
                <a:gd name="T16" fmla="*/ 39 w 157"/>
                <a:gd name="T17" fmla="*/ 95 h 149"/>
                <a:gd name="T18" fmla="*/ 30 w 157"/>
                <a:gd name="T19" fmla="*/ 149 h 149"/>
                <a:gd name="T20" fmla="*/ 79 w 157"/>
                <a:gd name="T21" fmla="*/ 12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149">
                  <a:moveTo>
                    <a:pt x="79" y="123"/>
                  </a:moveTo>
                  <a:lnTo>
                    <a:pt x="126" y="149"/>
                  </a:lnTo>
                  <a:lnTo>
                    <a:pt x="118" y="95"/>
                  </a:lnTo>
                  <a:lnTo>
                    <a:pt x="157" y="56"/>
                  </a:lnTo>
                  <a:lnTo>
                    <a:pt x="102" y="49"/>
                  </a:lnTo>
                  <a:lnTo>
                    <a:pt x="79" y="0"/>
                  </a:lnTo>
                  <a:lnTo>
                    <a:pt x="54" y="49"/>
                  </a:lnTo>
                  <a:lnTo>
                    <a:pt x="0" y="56"/>
                  </a:lnTo>
                  <a:lnTo>
                    <a:pt x="39" y="95"/>
                  </a:lnTo>
                  <a:lnTo>
                    <a:pt x="30" y="149"/>
                  </a:lnTo>
                  <a:lnTo>
                    <a:pt x="79" y="12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 name="Freeform 909"/>
            <p:cNvSpPr>
              <a:spLocks/>
            </p:cNvSpPr>
            <p:nvPr/>
          </p:nvSpPr>
          <p:spPr bwMode="auto">
            <a:xfrm>
              <a:off x="3698921" y="4846674"/>
              <a:ext cx="38100" cy="36513"/>
            </a:xfrm>
            <a:custGeom>
              <a:avLst/>
              <a:gdLst>
                <a:gd name="T0" fmla="*/ 61 w 121"/>
                <a:gd name="T1" fmla="*/ 95 h 114"/>
                <a:gd name="T2" fmla="*/ 98 w 121"/>
                <a:gd name="T3" fmla="*/ 114 h 114"/>
                <a:gd name="T4" fmla="*/ 91 w 121"/>
                <a:gd name="T5" fmla="*/ 73 h 114"/>
                <a:gd name="T6" fmla="*/ 121 w 121"/>
                <a:gd name="T7" fmla="*/ 44 h 114"/>
                <a:gd name="T8" fmla="*/ 80 w 121"/>
                <a:gd name="T9" fmla="*/ 38 h 114"/>
                <a:gd name="T10" fmla="*/ 61 w 121"/>
                <a:gd name="T11" fmla="*/ 0 h 114"/>
                <a:gd name="T12" fmla="*/ 42 w 121"/>
                <a:gd name="T13" fmla="*/ 38 h 114"/>
                <a:gd name="T14" fmla="*/ 0 w 121"/>
                <a:gd name="T15" fmla="*/ 44 h 114"/>
                <a:gd name="T16" fmla="*/ 31 w 121"/>
                <a:gd name="T17" fmla="*/ 73 h 114"/>
                <a:gd name="T18" fmla="*/ 24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1" y="73"/>
                  </a:lnTo>
                  <a:lnTo>
                    <a:pt x="121" y="44"/>
                  </a:lnTo>
                  <a:lnTo>
                    <a:pt x="80" y="38"/>
                  </a:lnTo>
                  <a:lnTo>
                    <a:pt x="61" y="0"/>
                  </a:lnTo>
                  <a:lnTo>
                    <a:pt x="42" y="38"/>
                  </a:lnTo>
                  <a:lnTo>
                    <a:pt x="0" y="44"/>
                  </a:lnTo>
                  <a:lnTo>
                    <a:pt x="31" y="73"/>
                  </a:lnTo>
                  <a:lnTo>
                    <a:pt x="24" y="114"/>
                  </a:lnTo>
                  <a:lnTo>
                    <a:pt x="61" y="95"/>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5" name="Freeform 910"/>
            <p:cNvSpPr>
              <a:spLocks/>
            </p:cNvSpPr>
            <p:nvPr/>
          </p:nvSpPr>
          <p:spPr bwMode="auto">
            <a:xfrm>
              <a:off x="3665583" y="5135602"/>
              <a:ext cx="38100" cy="36513"/>
            </a:xfrm>
            <a:custGeom>
              <a:avLst/>
              <a:gdLst>
                <a:gd name="T0" fmla="*/ 60 w 120"/>
                <a:gd name="T1" fmla="*/ 95 h 114"/>
                <a:gd name="T2" fmla="*/ 98 w 120"/>
                <a:gd name="T3" fmla="*/ 114 h 114"/>
                <a:gd name="T4" fmla="*/ 91 w 120"/>
                <a:gd name="T5" fmla="*/ 73 h 114"/>
                <a:gd name="T6" fmla="*/ 120 w 120"/>
                <a:gd name="T7" fmla="*/ 43 h 114"/>
                <a:gd name="T8" fmla="*/ 78 w 120"/>
                <a:gd name="T9" fmla="*/ 37 h 114"/>
                <a:gd name="T10" fmla="*/ 60 w 120"/>
                <a:gd name="T11" fmla="*/ 0 h 114"/>
                <a:gd name="T12" fmla="*/ 42 w 120"/>
                <a:gd name="T13" fmla="*/ 37 h 114"/>
                <a:gd name="T14" fmla="*/ 0 w 120"/>
                <a:gd name="T15" fmla="*/ 43 h 114"/>
                <a:gd name="T16" fmla="*/ 31 w 120"/>
                <a:gd name="T17" fmla="*/ 73 h 114"/>
                <a:gd name="T18" fmla="*/ 24 w 120"/>
                <a:gd name="T19" fmla="*/ 114 h 114"/>
                <a:gd name="T20" fmla="*/ 60 w 120"/>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 h="114">
                  <a:moveTo>
                    <a:pt x="60" y="95"/>
                  </a:moveTo>
                  <a:lnTo>
                    <a:pt x="98" y="114"/>
                  </a:lnTo>
                  <a:lnTo>
                    <a:pt x="91" y="73"/>
                  </a:lnTo>
                  <a:lnTo>
                    <a:pt x="120" y="43"/>
                  </a:lnTo>
                  <a:lnTo>
                    <a:pt x="78" y="37"/>
                  </a:lnTo>
                  <a:lnTo>
                    <a:pt x="60" y="0"/>
                  </a:lnTo>
                  <a:lnTo>
                    <a:pt x="42" y="37"/>
                  </a:lnTo>
                  <a:lnTo>
                    <a:pt x="0" y="43"/>
                  </a:lnTo>
                  <a:lnTo>
                    <a:pt x="31" y="73"/>
                  </a:lnTo>
                  <a:lnTo>
                    <a:pt x="24" y="114"/>
                  </a:lnTo>
                  <a:lnTo>
                    <a:pt x="60"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 name="Freeform 911"/>
            <p:cNvSpPr>
              <a:spLocks/>
            </p:cNvSpPr>
            <p:nvPr/>
          </p:nvSpPr>
          <p:spPr bwMode="auto">
            <a:xfrm>
              <a:off x="3459207" y="4980026"/>
              <a:ext cx="38100" cy="36513"/>
            </a:xfrm>
            <a:custGeom>
              <a:avLst/>
              <a:gdLst>
                <a:gd name="T0" fmla="*/ 61 w 121"/>
                <a:gd name="T1" fmla="*/ 95 h 114"/>
                <a:gd name="T2" fmla="*/ 98 w 121"/>
                <a:gd name="T3" fmla="*/ 114 h 114"/>
                <a:gd name="T4" fmla="*/ 90 w 121"/>
                <a:gd name="T5" fmla="*/ 73 h 114"/>
                <a:gd name="T6" fmla="*/ 121 w 121"/>
                <a:gd name="T7" fmla="*/ 44 h 114"/>
                <a:gd name="T8" fmla="*/ 79 w 121"/>
                <a:gd name="T9" fmla="*/ 38 h 114"/>
                <a:gd name="T10" fmla="*/ 61 w 121"/>
                <a:gd name="T11" fmla="*/ 0 h 114"/>
                <a:gd name="T12" fmla="*/ 41 w 121"/>
                <a:gd name="T13" fmla="*/ 38 h 114"/>
                <a:gd name="T14" fmla="*/ 0 w 121"/>
                <a:gd name="T15" fmla="*/ 44 h 114"/>
                <a:gd name="T16" fmla="*/ 31 w 121"/>
                <a:gd name="T17" fmla="*/ 73 h 114"/>
                <a:gd name="T18" fmla="*/ 23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0" y="73"/>
                  </a:lnTo>
                  <a:lnTo>
                    <a:pt x="121" y="44"/>
                  </a:lnTo>
                  <a:lnTo>
                    <a:pt x="79" y="38"/>
                  </a:lnTo>
                  <a:lnTo>
                    <a:pt x="61" y="0"/>
                  </a:lnTo>
                  <a:lnTo>
                    <a:pt x="41" y="38"/>
                  </a:lnTo>
                  <a:lnTo>
                    <a:pt x="0" y="44"/>
                  </a:lnTo>
                  <a:lnTo>
                    <a:pt x="31" y="73"/>
                  </a:lnTo>
                  <a:lnTo>
                    <a:pt x="23" y="114"/>
                  </a:lnTo>
                  <a:lnTo>
                    <a:pt x="61"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 name="Freeform 912"/>
            <p:cNvSpPr>
              <a:spLocks/>
            </p:cNvSpPr>
            <p:nvPr/>
          </p:nvSpPr>
          <p:spPr bwMode="auto">
            <a:xfrm>
              <a:off x="3575095" y="4935575"/>
              <a:ext cx="128588" cy="127001"/>
            </a:xfrm>
            <a:custGeom>
              <a:avLst/>
              <a:gdLst>
                <a:gd name="T0" fmla="*/ 272 w 401"/>
                <a:gd name="T1" fmla="*/ 130 h 402"/>
                <a:gd name="T2" fmla="*/ 401 w 401"/>
                <a:gd name="T3" fmla="*/ 201 h 402"/>
                <a:gd name="T4" fmla="*/ 272 w 401"/>
                <a:gd name="T5" fmla="*/ 272 h 402"/>
                <a:gd name="T6" fmla="*/ 201 w 401"/>
                <a:gd name="T7" fmla="*/ 402 h 402"/>
                <a:gd name="T8" fmla="*/ 129 w 401"/>
                <a:gd name="T9" fmla="*/ 272 h 402"/>
                <a:gd name="T10" fmla="*/ 0 w 401"/>
                <a:gd name="T11" fmla="*/ 201 h 402"/>
                <a:gd name="T12" fmla="*/ 129 w 401"/>
                <a:gd name="T13" fmla="*/ 130 h 402"/>
                <a:gd name="T14" fmla="*/ 201 w 401"/>
                <a:gd name="T15" fmla="*/ 0 h 402"/>
                <a:gd name="T16" fmla="*/ 272 w 401"/>
                <a:gd name="T17" fmla="*/ 13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1" h="402">
                  <a:moveTo>
                    <a:pt x="272" y="130"/>
                  </a:moveTo>
                  <a:lnTo>
                    <a:pt x="401" y="201"/>
                  </a:lnTo>
                  <a:lnTo>
                    <a:pt x="272" y="272"/>
                  </a:lnTo>
                  <a:lnTo>
                    <a:pt x="201" y="402"/>
                  </a:lnTo>
                  <a:lnTo>
                    <a:pt x="129" y="272"/>
                  </a:lnTo>
                  <a:lnTo>
                    <a:pt x="0" y="201"/>
                  </a:lnTo>
                  <a:lnTo>
                    <a:pt x="129" y="130"/>
                  </a:lnTo>
                  <a:lnTo>
                    <a:pt x="201" y="0"/>
                  </a:lnTo>
                  <a:lnTo>
                    <a:pt x="27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 name="Freeform 913"/>
            <p:cNvSpPr>
              <a:spLocks/>
            </p:cNvSpPr>
            <p:nvPr/>
          </p:nvSpPr>
          <p:spPr bwMode="auto">
            <a:xfrm>
              <a:off x="3771947" y="4975263"/>
              <a:ext cx="60325" cy="58738"/>
            </a:xfrm>
            <a:custGeom>
              <a:avLst/>
              <a:gdLst>
                <a:gd name="T0" fmla="*/ 126 w 186"/>
                <a:gd name="T1" fmla="*/ 59 h 185"/>
                <a:gd name="T2" fmla="*/ 186 w 186"/>
                <a:gd name="T3" fmla="*/ 92 h 185"/>
                <a:gd name="T4" fmla="*/ 126 w 186"/>
                <a:gd name="T5" fmla="*/ 125 h 185"/>
                <a:gd name="T6" fmla="*/ 93 w 186"/>
                <a:gd name="T7" fmla="*/ 185 h 185"/>
                <a:gd name="T8" fmla="*/ 60 w 186"/>
                <a:gd name="T9" fmla="*/ 125 h 185"/>
                <a:gd name="T10" fmla="*/ 0 w 186"/>
                <a:gd name="T11" fmla="*/ 92 h 185"/>
                <a:gd name="T12" fmla="*/ 60 w 186"/>
                <a:gd name="T13" fmla="*/ 59 h 185"/>
                <a:gd name="T14" fmla="*/ 93 w 186"/>
                <a:gd name="T15" fmla="*/ 0 h 185"/>
                <a:gd name="T16" fmla="*/ 126 w 186"/>
                <a:gd name="T17" fmla="*/ 59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85">
                  <a:moveTo>
                    <a:pt x="126" y="59"/>
                  </a:moveTo>
                  <a:lnTo>
                    <a:pt x="186" y="92"/>
                  </a:lnTo>
                  <a:lnTo>
                    <a:pt x="126" y="125"/>
                  </a:lnTo>
                  <a:lnTo>
                    <a:pt x="93" y="185"/>
                  </a:lnTo>
                  <a:lnTo>
                    <a:pt x="60" y="125"/>
                  </a:lnTo>
                  <a:lnTo>
                    <a:pt x="0" y="92"/>
                  </a:lnTo>
                  <a:lnTo>
                    <a:pt x="60" y="59"/>
                  </a:lnTo>
                  <a:lnTo>
                    <a:pt x="93" y="0"/>
                  </a:lnTo>
                  <a:lnTo>
                    <a:pt x="126" y="59"/>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 name="Freeform 914"/>
            <p:cNvSpPr>
              <a:spLocks/>
            </p:cNvSpPr>
            <p:nvPr/>
          </p:nvSpPr>
          <p:spPr bwMode="auto">
            <a:xfrm>
              <a:off x="3517945" y="4902237"/>
              <a:ext cx="39688" cy="39688"/>
            </a:xfrm>
            <a:custGeom>
              <a:avLst/>
              <a:gdLst>
                <a:gd name="T0" fmla="*/ 84 w 125"/>
                <a:gd name="T1" fmla="*/ 40 h 124"/>
                <a:gd name="T2" fmla="*/ 125 w 125"/>
                <a:gd name="T3" fmla="*/ 62 h 124"/>
                <a:gd name="T4" fmla="*/ 84 w 125"/>
                <a:gd name="T5" fmla="*/ 84 h 124"/>
                <a:gd name="T6" fmla="*/ 63 w 125"/>
                <a:gd name="T7" fmla="*/ 124 h 124"/>
                <a:gd name="T8" fmla="*/ 41 w 125"/>
                <a:gd name="T9" fmla="*/ 84 h 124"/>
                <a:gd name="T10" fmla="*/ 0 w 125"/>
                <a:gd name="T11" fmla="*/ 62 h 124"/>
                <a:gd name="T12" fmla="*/ 41 w 125"/>
                <a:gd name="T13" fmla="*/ 40 h 124"/>
                <a:gd name="T14" fmla="*/ 63 w 125"/>
                <a:gd name="T15" fmla="*/ 0 h 124"/>
                <a:gd name="T16" fmla="*/ 84 w 125"/>
                <a:gd name="T17" fmla="*/ 4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124">
                  <a:moveTo>
                    <a:pt x="84" y="40"/>
                  </a:moveTo>
                  <a:lnTo>
                    <a:pt x="125" y="62"/>
                  </a:lnTo>
                  <a:lnTo>
                    <a:pt x="84" y="84"/>
                  </a:lnTo>
                  <a:lnTo>
                    <a:pt x="63" y="124"/>
                  </a:lnTo>
                  <a:lnTo>
                    <a:pt x="41" y="84"/>
                  </a:lnTo>
                  <a:lnTo>
                    <a:pt x="0" y="62"/>
                  </a:lnTo>
                  <a:lnTo>
                    <a:pt x="41" y="40"/>
                  </a:lnTo>
                  <a:lnTo>
                    <a:pt x="63" y="0"/>
                  </a:lnTo>
                  <a:lnTo>
                    <a:pt x="84"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0" name="Freeform 915"/>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1" name="Freeform 916"/>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2" name="Freeform 917"/>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3" name="Freeform 918"/>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4" name="Freeform 919"/>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5" name="Freeform 920"/>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 name="Freeform 921"/>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 name="Freeform 922"/>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 name="Freeform 923"/>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 name="Freeform 924"/>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 name="Freeform 925"/>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 name="Freeform 926"/>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102" name="그룹 101"/>
          <p:cNvGrpSpPr/>
          <p:nvPr userDrawn="1"/>
        </p:nvGrpSpPr>
        <p:grpSpPr>
          <a:xfrm flipV="1">
            <a:off x="9916087" y="1576925"/>
            <a:ext cx="410460" cy="381934"/>
            <a:chOff x="3459207" y="4846674"/>
            <a:chExt cx="373065" cy="325441"/>
          </a:xfrm>
        </p:grpSpPr>
        <p:sp>
          <p:nvSpPr>
            <p:cNvPr id="103" name="Freeform 908"/>
            <p:cNvSpPr>
              <a:spLocks/>
            </p:cNvSpPr>
            <p:nvPr/>
          </p:nvSpPr>
          <p:spPr bwMode="auto">
            <a:xfrm>
              <a:off x="3525882" y="5059401"/>
              <a:ext cx="49213" cy="47625"/>
            </a:xfrm>
            <a:custGeom>
              <a:avLst/>
              <a:gdLst>
                <a:gd name="T0" fmla="*/ 79 w 157"/>
                <a:gd name="T1" fmla="*/ 123 h 149"/>
                <a:gd name="T2" fmla="*/ 126 w 157"/>
                <a:gd name="T3" fmla="*/ 149 h 149"/>
                <a:gd name="T4" fmla="*/ 118 w 157"/>
                <a:gd name="T5" fmla="*/ 95 h 149"/>
                <a:gd name="T6" fmla="*/ 157 w 157"/>
                <a:gd name="T7" fmla="*/ 56 h 149"/>
                <a:gd name="T8" fmla="*/ 102 w 157"/>
                <a:gd name="T9" fmla="*/ 49 h 149"/>
                <a:gd name="T10" fmla="*/ 79 w 157"/>
                <a:gd name="T11" fmla="*/ 0 h 149"/>
                <a:gd name="T12" fmla="*/ 54 w 157"/>
                <a:gd name="T13" fmla="*/ 49 h 149"/>
                <a:gd name="T14" fmla="*/ 0 w 157"/>
                <a:gd name="T15" fmla="*/ 56 h 149"/>
                <a:gd name="T16" fmla="*/ 39 w 157"/>
                <a:gd name="T17" fmla="*/ 95 h 149"/>
                <a:gd name="T18" fmla="*/ 30 w 157"/>
                <a:gd name="T19" fmla="*/ 149 h 149"/>
                <a:gd name="T20" fmla="*/ 79 w 157"/>
                <a:gd name="T21" fmla="*/ 12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149">
                  <a:moveTo>
                    <a:pt x="79" y="123"/>
                  </a:moveTo>
                  <a:lnTo>
                    <a:pt x="126" y="149"/>
                  </a:lnTo>
                  <a:lnTo>
                    <a:pt x="118" y="95"/>
                  </a:lnTo>
                  <a:lnTo>
                    <a:pt x="157" y="56"/>
                  </a:lnTo>
                  <a:lnTo>
                    <a:pt x="102" y="49"/>
                  </a:lnTo>
                  <a:lnTo>
                    <a:pt x="79" y="0"/>
                  </a:lnTo>
                  <a:lnTo>
                    <a:pt x="54" y="49"/>
                  </a:lnTo>
                  <a:lnTo>
                    <a:pt x="0" y="56"/>
                  </a:lnTo>
                  <a:lnTo>
                    <a:pt x="39" y="95"/>
                  </a:lnTo>
                  <a:lnTo>
                    <a:pt x="30" y="149"/>
                  </a:lnTo>
                  <a:lnTo>
                    <a:pt x="79" y="12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4" name="Freeform 909"/>
            <p:cNvSpPr>
              <a:spLocks/>
            </p:cNvSpPr>
            <p:nvPr/>
          </p:nvSpPr>
          <p:spPr bwMode="auto">
            <a:xfrm>
              <a:off x="3698921" y="4846674"/>
              <a:ext cx="38100" cy="36513"/>
            </a:xfrm>
            <a:custGeom>
              <a:avLst/>
              <a:gdLst>
                <a:gd name="T0" fmla="*/ 61 w 121"/>
                <a:gd name="T1" fmla="*/ 95 h 114"/>
                <a:gd name="T2" fmla="*/ 98 w 121"/>
                <a:gd name="T3" fmla="*/ 114 h 114"/>
                <a:gd name="T4" fmla="*/ 91 w 121"/>
                <a:gd name="T5" fmla="*/ 73 h 114"/>
                <a:gd name="T6" fmla="*/ 121 w 121"/>
                <a:gd name="T7" fmla="*/ 44 h 114"/>
                <a:gd name="T8" fmla="*/ 80 w 121"/>
                <a:gd name="T9" fmla="*/ 38 h 114"/>
                <a:gd name="T10" fmla="*/ 61 w 121"/>
                <a:gd name="T11" fmla="*/ 0 h 114"/>
                <a:gd name="T12" fmla="*/ 42 w 121"/>
                <a:gd name="T13" fmla="*/ 38 h 114"/>
                <a:gd name="T14" fmla="*/ 0 w 121"/>
                <a:gd name="T15" fmla="*/ 44 h 114"/>
                <a:gd name="T16" fmla="*/ 31 w 121"/>
                <a:gd name="T17" fmla="*/ 73 h 114"/>
                <a:gd name="T18" fmla="*/ 24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1" y="73"/>
                  </a:lnTo>
                  <a:lnTo>
                    <a:pt x="121" y="44"/>
                  </a:lnTo>
                  <a:lnTo>
                    <a:pt x="80" y="38"/>
                  </a:lnTo>
                  <a:lnTo>
                    <a:pt x="61" y="0"/>
                  </a:lnTo>
                  <a:lnTo>
                    <a:pt x="42" y="38"/>
                  </a:lnTo>
                  <a:lnTo>
                    <a:pt x="0" y="44"/>
                  </a:lnTo>
                  <a:lnTo>
                    <a:pt x="31" y="73"/>
                  </a:lnTo>
                  <a:lnTo>
                    <a:pt x="24" y="114"/>
                  </a:lnTo>
                  <a:lnTo>
                    <a:pt x="61" y="95"/>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 name="Freeform 910"/>
            <p:cNvSpPr>
              <a:spLocks/>
            </p:cNvSpPr>
            <p:nvPr/>
          </p:nvSpPr>
          <p:spPr bwMode="auto">
            <a:xfrm>
              <a:off x="3665583" y="5135602"/>
              <a:ext cx="38100" cy="36513"/>
            </a:xfrm>
            <a:custGeom>
              <a:avLst/>
              <a:gdLst>
                <a:gd name="T0" fmla="*/ 60 w 120"/>
                <a:gd name="T1" fmla="*/ 95 h 114"/>
                <a:gd name="T2" fmla="*/ 98 w 120"/>
                <a:gd name="T3" fmla="*/ 114 h 114"/>
                <a:gd name="T4" fmla="*/ 91 w 120"/>
                <a:gd name="T5" fmla="*/ 73 h 114"/>
                <a:gd name="T6" fmla="*/ 120 w 120"/>
                <a:gd name="T7" fmla="*/ 43 h 114"/>
                <a:gd name="T8" fmla="*/ 78 w 120"/>
                <a:gd name="T9" fmla="*/ 37 h 114"/>
                <a:gd name="T10" fmla="*/ 60 w 120"/>
                <a:gd name="T11" fmla="*/ 0 h 114"/>
                <a:gd name="T12" fmla="*/ 42 w 120"/>
                <a:gd name="T13" fmla="*/ 37 h 114"/>
                <a:gd name="T14" fmla="*/ 0 w 120"/>
                <a:gd name="T15" fmla="*/ 43 h 114"/>
                <a:gd name="T16" fmla="*/ 31 w 120"/>
                <a:gd name="T17" fmla="*/ 73 h 114"/>
                <a:gd name="T18" fmla="*/ 24 w 120"/>
                <a:gd name="T19" fmla="*/ 114 h 114"/>
                <a:gd name="T20" fmla="*/ 60 w 120"/>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 h="114">
                  <a:moveTo>
                    <a:pt x="60" y="95"/>
                  </a:moveTo>
                  <a:lnTo>
                    <a:pt x="98" y="114"/>
                  </a:lnTo>
                  <a:lnTo>
                    <a:pt x="91" y="73"/>
                  </a:lnTo>
                  <a:lnTo>
                    <a:pt x="120" y="43"/>
                  </a:lnTo>
                  <a:lnTo>
                    <a:pt x="78" y="37"/>
                  </a:lnTo>
                  <a:lnTo>
                    <a:pt x="60" y="0"/>
                  </a:lnTo>
                  <a:lnTo>
                    <a:pt x="42" y="37"/>
                  </a:lnTo>
                  <a:lnTo>
                    <a:pt x="0" y="43"/>
                  </a:lnTo>
                  <a:lnTo>
                    <a:pt x="31" y="73"/>
                  </a:lnTo>
                  <a:lnTo>
                    <a:pt x="24" y="114"/>
                  </a:lnTo>
                  <a:lnTo>
                    <a:pt x="60"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6" name="Freeform 911"/>
            <p:cNvSpPr>
              <a:spLocks/>
            </p:cNvSpPr>
            <p:nvPr/>
          </p:nvSpPr>
          <p:spPr bwMode="auto">
            <a:xfrm>
              <a:off x="3459207" y="4980026"/>
              <a:ext cx="38100" cy="36513"/>
            </a:xfrm>
            <a:custGeom>
              <a:avLst/>
              <a:gdLst>
                <a:gd name="T0" fmla="*/ 61 w 121"/>
                <a:gd name="T1" fmla="*/ 95 h 114"/>
                <a:gd name="T2" fmla="*/ 98 w 121"/>
                <a:gd name="T3" fmla="*/ 114 h 114"/>
                <a:gd name="T4" fmla="*/ 90 w 121"/>
                <a:gd name="T5" fmla="*/ 73 h 114"/>
                <a:gd name="T6" fmla="*/ 121 w 121"/>
                <a:gd name="T7" fmla="*/ 44 h 114"/>
                <a:gd name="T8" fmla="*/ 79 w 121"/>
                <a:gd name="T9" fmla="*/ 38 h 114"/>
                <a:gd name="T10" fmla="*/ 61 w 121"/>
                <a:gd name="T11" fmla="*/ 0 h 114"/>
                <a:gd name="T12" fmla="*/ 41 w 121"/>
                <a:gd name="T13" fmla="*/ 38 h 114"/>
                <a:gd name="T14" fmla="*/ 0 w 121"/>
                <a:gd name="T15" fmla="*/ 44 h 114"/>
                <a:gd name="T16" fmla="*/ 31 w 121"/>
                <a:gd name="T17" fmla="*/ 73 h 114"/>
                <a:gd name="T18" fmla="*/ 23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0" y="73"/>
                  </a:lnTo>
                  <a:lnTo>
                    <a:pt x="121" y="44"/>
                  </a:lnTo>
                  <a:lnTo>
                    <a:pt x="79" y="38"/>
                  </a:lnTo>
                  <a:lnTo>
                    <a:pt x="61" y="0"/>
                  </a:lnTo>
                  <a:lnTo>
                    <a:pt x="41" y="38"/>
                  </a:lnTo>
                  <a:lnTo>
                    <a:pt x="0" y="44"/>
                  </a:lnTo>
                  <a:lnTo>
                    <a:pt x="31" y="73"/>
                  </a:lnTo>
                  <a:lnTo>
                    <a:pt x="23" y="114"/>
                  </a:lnTo>
                  <a:lnTo>
                    <a:pt x="61"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7" name="Freeform 912"/>
            <p:cNvSpPr>
              <a:spLocks/>
            </p:cNvSpPr>
            <p:nvPr/>
          </p:nvSpPr>
          <p:spPr bwMode="auto">
            <a:xfrm>
              <a:off x="3575095" y="4935575"/>
              <a:ext cx="128588" cy="127001"/>
            </a:xfrm>
            <a:custGeom>
              <a:avLst/>
              <a:gdLst>
                <a:gd name="T0" fmla="*/ 272 w 401"/>
                <a:gd name="T1" fmla="*/ 130 h 402"/>
                <a:gd name="T2" fmla="*/ 401 w 401"/>
                <a:gd name="T3" fmla="*/ 201 h 402"/>
                <a:gd name="T4" fmla="*/ 272 w 401"/>
                <a:gd name="T5" fmla="*/ 272 h 402"/>
                <a:gd name="T6" fmla="*/ 201 w 401"/>
                <a:gd name="T7" fmla="*/ 402 h 402"/>
                <a:gd name="T8" fmla="*/ 129 w 401"/>
                <a:gd name="T9" fmla="*/ 272 h 402"/>
                <a:gd name="T10" fmla="*/ 0 w 401"/>
                <a:gd name="T11" fmla="*/ 201 h 402"/>
                <a:gd name="T12" fmla="*/ 129 w 401"/>
                <a:gd name="T13" fmla="*/ 130 h 402"/>
                <a:gd name="T14" fmla="*/ 201 w 401"/>
                <a:gd name="T15" fmla="*/ 0 h 402"/>
                <a:gd name="T16" fmla="*/ 272 w 401"/>
                <a:gd name="T17" fmla="*/ 13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1" h="402">
                  <a:moveTo>
                    <a:pt x="272" y="130"/>
                  </a:moveTo>
                  <a:lnTo>
                    <a:pt x="401" y="201"/>
                  </a:lnTo>
                  <a:lnTo>
                    <a:pt x="272" y="272"/>
                  </a:lnTo>
                  <a:lnTo>
                    <a:pt x="201" y="402"/>
                  </a:lnTo>
                  <a:lnTo>
                    <a:pt x="129" y="272"/>
                  </a:lnTo>
                  <a:lnTo>
                    <a:pt x="0" y="201"/>
                  </a:lnTo>
                  <a:lnTo>
                    <a:pt x="129" y="130"/>
                  </a:lnTo>
                  <a:lnTo>
                    <a:pt x="201" y="0"/>
                  </a:lnTo>
                  <a:lnTo>
                    <a:pt x="27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 name="Freeform 913"/>
            <p:cNvSpPr>
              <a:spLocks/>
            </p:cNvSpPr>
            <p:nvPr/>
          </p:nvSpPr>
          <p:spPr bwMode="auto">
            <a:xfrm>
              <a:off x="3771947" y="4975263"/>
              <a:ext cx="60325" cy="58738"/>
            </a:xfrm>
            <a:custGeom>
              <a:avLst/>
              <a:gdLst>
                <a:gd name="T0" fmla="*/ 126 w 186"/>
                <a:gd name="T1" fmla="*/ 59 h 185"/>
                <a:gd name="T2" fmla="*/ 186 w 186"/>
                <a:gd name="T3" fmla="*/ 92 h 185"/>
                <a:gd name="T4" fmla="*/ 126 w 186"/>
                <a:gd name="T5" fmla="*/ 125 h 185"/>
                <a:gd name="T6" fmla="*/ 93 w 186"/>
                <a:gd name="T7" fmla="*/ 185 h 185"/>
                <a:gd name="T8" fmla="*/ 60 w 186"/>
                <a:gd name="T9" fmla="*/ 125 h 185"/>
                <a:gd name="T10" fmla="*/ 0 w 186"/>
                <a:gd name="T11" fmla="*/ 92 h 185"/>
                <a:gd name="T12" fmla="*/ 60 w 186"/>
                <a:gd name="T13" fmla="*/ 59 h 185"/>
                <a:gd name="T14" fmla="*/ 93 w 186"/>
                <a:gd name="T15" fmla="*/ 0 h 185"/>
                <a:gd name="T16" fmla="*/ 126 w 186"/>
                <a:gd name="T17" fmla="*/ 59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85">
                  <a:moveTo>
                    <a:pt x="126" y="59"/>
                  </a:moveTo>
                  <a:lnTo>
                    <a:pt x="186" y="92"/>
                  </a:lnTo>
                  <a:lnTo>
                    <a:pt x="126" y="125"/>
                  </a:lnTo>
                  <a:lnTo>
                    <a:pt x="93" y="185"/>
                  </a:lnTo>
                  <a:lnTo>
                    <a:pt x="60" y="125"/>
                  </a:lnTo>
                  <a:lnTo>
                    <a:pt x="0" y="92"/>
                  </a:lnTo>
                  <a:lnTo>
                    <a:pt x="60" y="59"/>
                  </a:lnTo>
                  <a:lnTo>
                    <a:pt x="93" y="0"/>
                  </a:lnTo>
                  <a:lnTo>
                    <a:pt x="126" y="59"/>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 name="Freeform 914"/>
            <p:cNvSpPr>
              <a:spLocks/>
            </p:cNvSpPr>
            <p:nvPr/>
          </p:nvSpPr>
          <p:spPr bwMode="auto">
            <a:xfrm>
              <a:off x="3517945" y="4902237"/>
              <a:ext cx="39688" cy="39688"/>
            </a:xfrm>
            <a:custGeom>
              <a:avLst/>
              <a:gdLst>
                <a:gd name="T0" fmla="*/ 84 w 125"/>
                <a:gd name="T1" fmla="*/ 40 h 124"/>
                <a:gd name="T2" fmla="*/ 125 w 125"/>
                <a:gd name="T3" fmla="*/ 62 h 124"/>
                <a:gd name="T4" fmla="*/ 84 w 125"/>
                <a:gd name="T5" fmla="*/ 84 h 124"/>
                <a:gd name="T6" fmla="*/ 63 w 125"/>
                <a:gd name="T7" fmla="*/ 124 h 124"/>
                <a:gd name="T8" fmla="*/ 41 w 125"/>
                <a:gd name="T9" fmla="*/ 84 h 124"/>
                <a:gd name="T10" fmla="*/ 0 w 125"/>
                <a:gd name="T11" fmla="*/ 62 h 124"/>
                <a:gd name="T12" fmla="*/ 41 w 125"/>
                <a:gd name="T13" fmla="*/ 40 h 124"/>
                <a:gd name="T14" fmla="*/ 63 w 125"/>
                <a:gd name="T15" fmla="*/ 0 h 124"/>
                <a:gd name="T16" fmla="*/ 84 w 125"/>
                <a:gd name="T17" fmla="*/ 4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124">
                  <a:moveTo>
                    <a:pt x="84" y="40"/>
                  </a:moveTo>
                  <a:lnTo>
                    <a:pt x="125" y="62"/>
                  </a:lnTo>
                  <a:lnTo>
                    <a:pt x="84" y="84"/>
                  </a:lnTo>
                  <a:lnTo>
                    <a:pt x="63" y="124"/>
                  </a:lnTo>
                  <a:lnTo>
                    <a:pt x="41" y="84"/>
                  </a:lnTo>
                  <a:lnTo>
                    <a:pt x="0" y="62"/>
                  </a:lnTo>
                  <a:lnTo>
                    <a:pt x="41" y="40"/>
                  </a:lnTo>
                  <a:lnTo>
                    <a:pt x="63" y="0"/>
                  </a:lnTo>
                  <a:lnTo>
                    <a:pt x="84"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 name="Freeform 915"/>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1" name="Freeform 916"/>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 name="Freeform 917"/>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3" name="Freeform 918"/>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4" name="Freeform 919"/>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5" name="Freeform 920"/>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6" name="Freeform 921"/>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7" name="Freeform 922"/>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8" name="Freeform 923"/>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9" name="Freeform 924"/>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20" name="Freeform 925"/>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21" name="Freeform 926"/>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122" name="그룹 121"/>
          <p:cNvGrpSpPr/>
          <p:nvPr userDrawn="1"/>
        </p:nvGrpSpPr>
        <p:grpSpPr>
          <a:xfrm>
            <a:off x="1" y="0"/>
            <a:ext cx="8768780" cy="7315200"/>
            <a:chOff x="19482" y="469057"/>
            <a:chExt cx="6576585" cy="5143500"/>
          </a:xfrm>
        </p:grpSpPr>
        <p:sp>
          <p:nvSpPr>
            <p:cNvPr id="123" name="Freeform 387"/>
            <p:cNvSpPr>
              <a:spLocks/>
            </p:cNvSpPr>
            <p:nvPr/>
          </p:nvSpPr>
          <p:spPr bwMode="auto">
            <a:xfrm>
              <a:off x="19482" y="469057"/>
              <a:ext cx="6548207" cy="5143500"/>
            </a:xfrm>
            <a:custGeom>
              <a:avLst/>
              <a:gdLst>
                <a:gd name="T0" fmla="*/ 5145 w 5539"/>
                <a:gd name="T1" fmla="*/ 1866 h 4350"/>
                <a:gd name="T2" fmla="*/ 4972 w 5539"/>
                <a:gd name="T3" fmla="*/ 1872 h 4350"/>
                <a:gd name="T4" fmla="*/ 4796 w 5539"/>
                <a:gd name="T5" fmla="*/ 1808 h 4350"/>
                <a:gd name="T6" fmla="*/ 4634 w 5539"/>
                <a:gd name="T7" fmla="*/ 1711 h 4350"/>
                <a:gd name="T8" fmla="*/ 4503 w 5539"/>
                <a:gd name="T9" fmla="*/ 1618 h 4350"/>
                <a:gd name="T10" fmla="*/ 4348 w 5539"/>
                <a:gd name="T11" fmla="*/ 1564 h 4350"/>
                <a:gd name="T12" fmla="*/ 4193 w 5539"/>
                <a:gd name="T13" fmla="*/ 1551 h 4350"/>
                <a:gd name="T14" fmla="*/ 4028 w 5539"/>
                <a:gd name="T15" fmla="*/ 1462 h 4350"/>
                <a:gd name="T16" fmla="*/ 3831 w 5539"/>
                <a:gd name="T17" fmla="*/ 1421 h 4350"/>
                <a:gd name="T18" fmla="*/ 3708 w 5539"/>
                <a:gd name="T19" fmla="*/ 1332 h 4350"/>
                <a:gd name="T20" fmla="*/ 3530 w 5539"/>
                <a:gd name="T21" fmla="*/ 1258 h 4350"/>
                <a:gd name="T22" fmla="*/ 3380 w 5539"/>
                <a:gd name="T23" fmla="*/ 1249 h 4350"/>
                <a:gd name="T24" fmla="*/ 3214 w 5539"/>
                <a:gd name="T25" fmla="*/ 1220 h 4350"/>
                <a:gd name="T26" fmla="*/ 3102 w 5539"/>
                <a:gd name="T27" fmla="*/ 1120 h 4350"/>
                <a:gd name="T28" fmla="*/ 2919 w 5539"/>
                <a:gd name="T29" fmla="*/ 1042 h 4350"/>
                <a:gd name="T30" fmla="*/ 2779 w 5539"/>
                <a:gd name="T31" fmla="*/ 1065 h 4350"/>
                <a:gd name="T32" fmla="*/ 2657 w 5539"/>
                <a:gd name="T33" fmla="*/ 1036 h 4350"/>
                <a:gd name="T34" fmla="*/ 2518 w 5539"/>
                <a:gd name="T35" fmla="*/ 959 h 4350"/>
                <a:gd name="T36" fmla="*/ 2384 w 5539"/>
                <a:gd name="T37" fmla="*/ 948 h 4350"/>
                <a:gd name="T38" fmla="*/ 2398 w 5539"/>
                <a:gd name="T39" fmla="*/ 874 h 4350"/>
                <a:gd name="T40" fmla="*/ 2595 w 5539"/>
                <a:gd name="T41" fmla="*/ 735 h 4350"/>
                <a:gd name="T42" fmla="*/ 2637 w 5539"/>
                <a:gd name="T43" fmla="*/ 526 h 4350"/>
                <a:gd name="T44" fmla="*/ 2611 w 5539"/>
                <a:gd name="T45" fmla="*/ 371 h 4350"/>
                <a:gd name="T46" fmla="*/ 2673 w 5539"/>
                <a:gd name="T47" fmla="*/ 267 h 4350"/>
                <a:gd name="T48" fmla="*/ 2942 w 5539"/>
                <a:gd name="T49" fmla="*/ 175 h 4350"/>
                <a:gd name="T50" fmla="*/ 2124 w 5539"/>
                <a:gd name="T51" fmla="*/ 0 h 4350"/>
                <a:gd name="T52" fmla="*/ 3239 w 5539"/>
                <a:gd name="T53" fmla="*/ 4301 h 4350"/>
                <a:gd name="T54" fmla="*/ 3111 w 5539"/>
                <a:gd name="T55" fmla="*/ 4204 h 4350"/>
                <a:gd name="T56" fmla="*/ 2997 w 5539"/>
                <a:gd name="T57" fmla="*/ 4169 h 4350"/>
                <a:gd name="T58" fmla="*/ 2885 w 5539"/>
                <a:gd name="T59" fmla="*/ 3999 h 4350"/>
                <a:gd name="T60" fmla="*/ 2918 w 5539"/>
                <a:gd name="T61" fmla="*/ 3861 h 4350"/>
                <a:gd name="T62" fmla="*/ 2845 w 5539"/>
                <a:gd name="T63" fmla="*/ 3702 h 4350"/>
                <a:gd name="T64" fmla="*/ 2759 w 5539"/>
                <a:gd name="T65" fmla="*/ 3577 h 4350"/>
                <a:gd name="T66" fmla="*/ 2613 w 5539"/>
                <a:gd name="T67" fmla="*/ 3510 h 4350"/>
                <a:gd name="T68" fmla="*/ 2497 w 5539"/>
                <a:gd name="T69" fmla="*/ 3337 h 4350"/>
                <a:gd name="T70" fmla="*/ 2578 w 5539"/>
                <a:gd name="T71" fmla="*/ 3258 h 4350"/>
                <a:gd name="T72" fmla="*/ 2615 w 5539"/>
                <a:gd name="T73" fmla="*/ 3150 h 4350"/>
                <a:gd name="T74" fmla="*/ 2789 w 5539"/>
                <a:gd name="T75" fmla="*/ 3165 h 4350"/>
                <a:gd name="T76" fmla="*/ 2946 w 5539"/>
                <a:gd name="T77" fmla="*/ 3073 h 4350"/>
                <a:gd name="T78" fmla="*/ 3059 w 5539"/>
                <a:gd name="T79" fmla="*/ 3052 h 4350"/>
                <a:gd name="T80" fmla="*/ 3190 w 5539"/>
                <a:gd name="T81" fmla="*/ 2953 h 4350"/>
                <a:gd name="T82" fmla="*/ 3325 w 5539"/>
                <a:gd name="T83" fmla="*/ 2933 h 4350"/>
                <a:gd name="T84" fmla="*/ 3508 w 5539"/>
                <a:gd name="T85" fmla="*/ 2997 h 4350"/>
                <a:gd name="T86" fmla="*/ 3684 w 5539"/>
                <a:gd name="T87" fmla="*/ 2938 h 4350"/>
                <a:gd name="T88" fmla="*/ 3789 w 5539"/>
                <a:gd name="T89" fmla="*/ 2790 h 4350"/>
                <a:gd name="T90" fmla="*/ 3931 w 5539"/>
                <a:gd name="T91" fmla="*/ 2758 h 4350"/>
                <a:gd name="T92" fmla="*/ 4096 w 5539"/>
                <a:gd name="T93" fmla="*/ 2802 h 4350"/>
                <a:gd name="T94" fmla="*/ 4246 w 5539"/>
                <a:gd name="T95" fmla="*/ 2776 h 4350"/>
                <a:gd name="T96" fmla="*/ 4369 w 5539"/>
                <a:gd name="T97" fmla="*/ 2674 h 4350"/>
                <a:gd name="T98" fmla="*/ 4506 w 5539"/>
                <a:gd name="T99" fmla="*/ 2682 h 4350"/>
                <a:gd name="T100" fmla="*/ 4638 w 5539"/>
                <a:gd name="T101" fmla="*/ 2615 h 4350"/>
                <a:gd name="T102" fmla="*/ 4751 w 5539"/>
                <a:gd name="T103" fmla="*/ 2594 h 4350"/>
                <a:gd name="T104" fmla="*/ 4905 w 5539"/>
                <a:gd name="T105" fmla="*/ 2595 h 4350"/>
                <a:gd name="T106" fmla="*/ 5048 w 5539"/>
                <a:gd name="T107" fmla="*/ 2512 h 4350"/>
                <a:gd name="T108" fmla="*/ 5171 w 5539"/>
                <a:gd name="T109" fmla="*/ 2470 h 4350"/>
                <a:gd name="T110" fmla="*/ 5369 w 5539"/>
                <a:gd name="T111" fmla="*/ 2462 h 4350"/>
                <a:gd name="T112" fmla="*/ 5527 w 5539"/>
                <a:gd name="T113" fmla="*/ 2286 h 4350"/>
                <a:gd name="T114" fmla="*/ 5506 w 5539"/>
                <a:gd name="T115" fmla="*/ 2068 h 4350"/>
                <a:gd name="T116" fmla="*/ 5316 w 5539"/>
                <a:gd name="T117" fmla="*/ 1927 h 4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539" h="4350">
                  <a:moveTo>
                    <a:pt x="5259" y="1921"/>
                  </a:moveTo>
                  <a:lnTo>
                    <a:pt x="5259" y="1921"/>
                  </a:lnTo>
                  <a:lnTo>
                    <a:pt x="5256" y="1921"/>
                  </a:lnTo>
                  <a:lnTo>
                    <a:pt x="5256" y="1921"/>
                  </a:lnTo>
                  <a:lnTo>
                    <a:pt x="5236" y="1907"/>
                  </a:lnTo>
                  <a:lnTo>
                    <a:pt x="5215" y="1894"/>
                  </a:lnTo>
                  <a:lnTo>
                    <a:pt x="5193" y="1883"/>
                  </a:lnTo>
                  <a:lnTo>
                    <a:pt x="5170" y="1874"/>
                  </a:lnTo>
                  <a:lnTo>
                    <a:pt x="5145" y="1866"/>
                  </a:lnTo>
                  <a:lnTo>
                    <a:pt x="5120" y="1861"/>
                  </a:lnTo>
                  <a:lnTo>
                    <a:pt x="5095" y="1858"/>
                  </a:lnTo>
                  <a:lnTo>
                    <a:pt x="5068" y="1857"/>
                  </a:lnTo>
                  <a:lnTo>
                    <a:pt x="5068" y="1857"/>
                  </a:lnTo>
                  <a:lnTo>
                    <a:pt x="5043" y="1858"/>
                  </a:lnTo>
                  <a:lnTo>
                    <a:pt x="5018" y="1861"/>
                  </a:lnTo>
                  <a:lnTo>
                    <a:pt x="4994" y="1866"/>
                  </a:lnTo>
                  <a:lnTo>
                    <a:pt x="4972" y="1872"/>
                  </a:lnTo>
                  <a:lnTo>
                    <a:pt x="4972" y="1872"/>
                  </a:lnTo>
                  <a:lnTo>
                    <a:pt x="4953" y="1858"/>
                  </a:lnTo>
                  <a:lnTo>
                    <a:pt x="4933" y="1846"/>
                  </a:lnTo>
                  <a:lnTo>
                    <a:pt x="4912" y="1834"/>
                  </a:lnTo>
                  <a:lnTo>
                    <a:pt x="4891" y="1825"/>
                  </a:lnTo>
                  <a:lnTo>
                    <a:pt x="4868" y="1818"/>
                  </a:lnTo>
                  <a:lnTo>
                    <a:pt x="4845" y="1813"/>
                  </a:lnTo>
                  <a:lnTo>
                    <a:pt x="4821" y="1809"/>
                  </a:lnTo>
                  <a:lnTo>
                    <a:pt x="4796" y="1808"/>
                  </a:lnTo>
                  <a:lnTo>
                    <a:pt x="4796" y="1808"/>
                  </a:lnTo>
                  <a:lnTo>
                    <a:pt x="4781" y="1809"/>
                  </a:lnTo>
                  <a:lnTo>
                    <a:pt x="4765" y="1810"/>
                  </a:lnTo>
                  <a:lnTo>
                    <a:pt x="4765" y="1810"/>
                  </a:lnTo>
                  <a:lnTo>
                    <a:pt x="4748" y="1789"/>
                  </a:lnTo>
                  <a:lnTo>
                    <a:pt x="4728" y="1769"/>
                  </a:lnTo>
                  <a:lnTo>
                    <a:pt x="4707" y="1752"/>
                  </a:lnTo>
                  <a:lnTo>
                    <a:pt x="4684" y="1736"/>
                  </a:lnTo>
                  <a:lnTo>
                    <a:pt x="4659" y="1723"/>
                  </a:lnTo>
                  <a:lnTo>
                    <a:pt x="4634" y="1711"/>
                  </a:lnTo>
                  <a:lnTo>
                    <a:pt x="4608" y="1702"/>
                  </a:lnTo>
                  <a:lnTo>
                    <a:pt x="4580" y="1695"/>
                  </a:lnTo>
                  <a:lnTo>
                    <a:pt x="4580" y="1695"/>
                  </a:lnTo>
                  <a:lnTo>
                    <a:pt x="4569" y="1680"/>
                  </a:lnTo>
                  <a:lnTo>
                    <a:pt x="4557" y="1667"/>
                  </a:lnTo>
                  <a:lnTo>
                    <a:pt x="4545" y="1654"/>
                  </a:lnTo>
                  <a:lnTo>
                    <a:pt x="4532" y="1641"/>
                  </a:lnTo>
                  <a:lnTo>
                    <a:pt x="4518" y="1630"/>
                  </a:lnTo>
                  <a:lnTo>
                    <a:pt x="4503" y="1618"/>
                  </a:lnTo>
                  <a:lnTo>
                    <a:pt x="4489" y="1609"/>
                  </a:lnTo>
                  <a:lnTo>
                    <a:pt x="4473" y="1600"/>
                  </a:lnTo>
                  <a:lnTo>
                    <a:pt x="4455" y="1592"/>
                  </a:lnTo>
                  <a:lnTo>
                    <a:pt x="4440" y="1584"/>
                  </a:lnTo>
                  <a:lnTo>
                    <a:pt x="4422" y="1578"/>
                  </a:lnTo>
                  <a:lnTo>
                    <a:pt x="4404" y="1573"/>
                  </a:lnTo>
                  <a:lnTo>
                    <a:pt x="4385" y="1569"/>
                  </a:lnTo>
                  <a:lnTo>
                    <a:pt x="4367" y="1567"/>
                  </a:lnTo>
                  <a:lnTo>
                    <a:pt x="4348" y="1564"/>
                  </a:lnTo>
                  <a:lnTo>
                    <a:pt x="4328" y="1564"/>
                  </a:lnTo>
                  <a:lnTo>
                    <a:pt x="4328" y="1564"/>
                  </a:lnTo>
                  <a:lnTo>
                    <a:pt x="4302" y="1565"/>
                  </a:lnTo>
                  <a:lnTo>
                    <a:pt x="4276" y="1568"/>
                  </a:lnTo>
                  <a:lnTo>
                    <a:pt x="4250" y="1574"/>
                  </a:lnTo>
                  <a:lnTo>
                    <a:pt x="4227" y="1581"/>
                  </a:lnTo>
                  <a:lnTo>
                    <a:pt x="4227" y="1581"/>
                  </a:lnTo>
                  <a:lnTo>
                    <a:pt x="4211" y="1565"/>
                  </a:lnTo>
                  <a:lnTo>
                    <a:pt x="4193" y="1551"/>
                  </a:lnTo>
                  <a:lnTo>
                    <a:pt x="4175" y="1536"/>
                  </a:lnTo>
                  <a:lnTo>
                    <a:pt x="4155" y="1524"/>
                  </a:lnTo>
                  <a:lnTo>
                    <a:pt x="4135" y="1515"/>
                  </a:lnTo>
                  <a:lnTo>
                    <a:pt x="4114" y="1506"/>
                  </a:lnTo>
                  <a:lnTo>
                    <a:pt x="4092" y="1499"/>
                  </a:lnTo>
                  <a:lnTo>
                    <a:pt x="4068" y="1494"/>
                  </a:lnTo>
                  <a:lnTo>
                    <a:pt x="4068" y="1494"/>
                  </a:lnTo>
                  <a:lnTo>
                    <a:pt x="4049" y="1476"/>
                  </a:lnTo>
                  <a:lnTo>
                    <a:pt x="4028" y="1462"/>
                  </a:lnTo>
                  <a:lnTo>
                    <a:pt x="4006" y="1449"/>
                  </a:lnTo>
                  <a:lnTo>
                    <a:pt x="3983" y="1438"/>
                  </a:lnTo>
                  <a:lnTo>
                    <a:pt x="3958" y="1429"/>
                  </a:lnTo>
                  <a:lnTo>
                    <a:pt x="3933" y="1422"/>
                  </a:lnTo>
                  <a:lnTo>
                    <a:pt x="3906" y="1418"/>
                  </a:lnTo>
                  <a:lnTo>
                    <a:pt x="3879" y="1417"/>
                  </a:lnTo>
                  <a:lnTo>
                    <a:pt x="3879" y="1417"/>
                  </a:lnTo>
                  <a:lnTo>
                    <a:pt x="3855" y="1418"/>
                  </a:lnTo>
                  <a:lnTo>
                    <a:pt x="3831" y="1421"/>
                  </a:lnTo>
                  <a:lnTo>
                    <a:pt x="3807" y="1426"/>
                  </a:lnTo>
                  <a:lnTo>
                    <a:pt x="3785" y="1434"/>
                  </a:lnTo>
                  <a:lnTo>
                    <a:pt x="3785" y="1434"/>
                  </a:lnTo>
                  <a:lnTo>
                    <a:pt x="3775" y="1414"/>
                  </a:lnTo>
                  <a:lnTo>
                    <a:pt x="3763" y="1396"/>
                  </a:lnTo>
                  <a:lnTo>
                    <a:pt x="3751" y="1378"/>
                  </a:lnTo>
                  <a:lnTo>
                    <a:pt x="3738" y="1363"/>
                  </a:lnTo>
                  <a:lnTo>
                    <a:pt x="3724" y="1347"/>
                  </a:lnTo>
                  <a:lnTo>
                    <a:pt x="3708" y="1332"/>
                  </a:lnTo>
                  <a:lnTo>
                    <a:pt x="3692" y="1319"/>
                  </a:lnTo>
                  <a:lnTo>
                    <a:pt x="3673" y="1307"/>
                  </a:lnTo>
                  <a:lnTo>
                    <a:pt x="3656" y="1295"/>
                  </a:lnTo>
                  <a:lnTo>
                    <a:pt x="3636" y="1286"/>
                  </a:lnTo>
                  <a:lnTo>
                    <a:pt x="3616" y="1278"/>
                  </a:lnTo>
                  <a:lnTo>
                    <a:pt x="3595" y="1270"/>
                  </a:lnTo>
                  <a:lnTo>
                    <a:pt x="3574" y="1265"/>
                  </a:lnTo>
                  <a:lnTo>
                    <a:pt x="3553" y="1261"/>
                  </a:lnTo>
                  <a:lnTo>
                    <a:pt x="3530" y="1258"/>
                  </a:lnTo>
                  <a:lnTo>
                    <a:pt x="3508" y="1258"/>
                  </a:lnTo>
                  <a:lnTo>
                    <a:pt x="3508" y="1258"/>
                  </a:lnTo>
                  <a:lnTo>
                    <a:pt x="3484" y="1258"/>
                  </a:lnTo>
                  <a:lnTo>
                    <a:pt x="3460" y="1261"/>
                  </a:lnTo>
                  <a:lnTo>
                    <a:pt x="3438" y="1266"/>
                  </a:lnTo>
                  <a:lnTo>
                    <a:pt x="3415" y="1271"/>
                  </a:lnTo>
                  <a:lnTo>
                    <a:pt x="3415" y="1271"/>
                  </a:lnTo>
                  <a:lnTo>
                    <a:pt x="3398" y="1259"/>
                  </a:lnTo>
                  <a:lnTo>
                    <a:pt x="3380" y="1249"/>
                  </a:lnTo>
                  <a:lnTo>
                    <a:pt x="3360" y="1239"/>
                  </a:lnTo>
                  <a:lnTo>
                    <a:pt x="3340" y="1232"/>
                  </a:lnTo>
                  <a:lnTo>
                    <a:pt x="3319" y="1225"/>
                  </a:lnTo>
                  <a:lnTo>
                    <a:pt x="3298" y="1221"/>
                  </a:lnTo>
                  <a:lnTo>
                    <a:pt x="3275" y="1218"/>
                  </a:lnTo>
                  <a:lnTo>
                    <a:pt x="3253" y="1217"/>
                  </a:lnTo>
                  <a:lnTo>
                    <a:pt x="3253" y="1217"/>
                  </a:lnTo>
                  <a:lnTo>
                    <a:pt x="3233" y="1218"/>
                  </a:lnTo>
                  <a:lnTo>
                    <a:pt x="3214" y="1220"/>
                  </a:lnTo>
                  <a:lnTo>
                    <a:pt x="3196" y="1224"/>
                  </a:lnTo>
                  <a:lnTo>
                    <a:pt x="3177" y="1228"/>
                  </a:lnTo>
                  <a:lnTo>
                    <a:pt x="3177" y="1228"/>
                  </a:lnTo>
                  <a:lnTo>
                    <a:pt x="3168" y="1208"/>
                  </a:lnTo>
                  <a:lnTo>
                    <a:pt x="3157" y="1188"/>
                  </a:lnTo>
                  <a:lnTo>
                    <a:pt x="3145" y="1171"/>
                  </a:lnTo>
                  <a:lnTo>
                    <a:pt x="3132" y="1152"/>
                  </a:lnTo>
                  <a:lnTo>
                    <a:pt x="3118" y="1136"/>
                  </a:lnTo>
                  <a:lnTo>
                    <a:pt x="3102" y="1120"/>
                  </a:lnTo>
                  <a:lnTo>
                    <a:pt x="3085" y="1107"/>
                  </a:lnTo>
                  <a:lnTo>
                    <a:pt x="3067" y="1094"/>
                  </a:lnTo>
                  <a:lnTo>
                    <a:pt x="3047" y="1082"/>
                  </a:lnTo>
                  <a:lnTo>
                    <a:pt x="3029" y="1071"/>
                  </a:lnTo>
                  <a:lnTo>
                    <a:pt x="3008" y="1062"/>
                  </a:lnTo>
                  <a:lnTo>
                    <a:pt x="2987" y="1055"/>
                  </a:lnTo>
                  <a:lnTo>
                    <a:pt x="2965" y="1049"/>
                  </a:lnTo>
                  <a:lnTo>
                    <a:pt x="2943" y="1045"/>
                  </a:lnTo>
                  <a:lnTo>
                    <a:pt x="2919" y="1042"/>
                  </a:lnTo>
                  <a:lnTo>
                    <a:pt x="2895" y="1041"/>
                  </a:lnTo>
                  <a:lnTo>
                    <a:pt x="2895" y="1041"/>
                  </a:lnTo>
                  <a:lnTo>
                    <a:pt x="2878" y="1042"/>
                  </a:lnTo>
                  <a:lnTo>
                    <a:pt x="2861" y="1043"/>
                  </a:lnTo>
                  <a:lnTo>
                    <a:pt x="2844" y="1046"/>
                  </a:lnTo>
                  <a:lnTo>
                    <a:pt x="2826" y="1049"/>
                  </a:lnTo>
                  <a:lnTo>
                    <a:pt x="2811" y="1054"/>
                  </a:lnTo>
                  <a:lnTo>
                    <a:pt x="2793" y="1059"/>
                  </a:lnTo>
                  <a:lnTo>
                    <a:pt x="2779" y="1065"/>
                  </a:lnTo>
                  <a:lnTo>
                    <a:pt x="2763" y="1071"/>
                  </a:lnTo>
                  <a:lnTo>
                    <a:pt x="2763" y="1071"/>
                  </a:lnTo>
                  <a:lnTo>
                    <a:pt x="2750" y="1063"/>
                  </a:lnTo>
                  <a:lnTo>
                    <a:pt x="2735" y="1057"/>
                  </a:lnTo>
                  <a:lnTo>
                    <a:pt x="2721" y="1050"/>
                  </a:lnTo>
                  <a:lnTo>
                    <a:pt x="2706" y="1045"/>
                  </a:lnTo>
                  <a:lnTo>
                    <a:pt x="2690" y="1041"/>
                  </a:lnTo>
                  <a:lnTo>
                    <a:pt x="2674" y="1037"/>
                  </a:lnTo>
                  <a:lnTo>
                    <a:pt x="2657" y="1036"/>
                  </a:lnTo>
                  <a:lnTo>
                    <a:pt x="2641" y="1036"/>
                  </a:lnTo>
                  <a:lnTo>
                    <a:pt x="2641" y="1036"/>
                  </a:lnTo>
                  <a:lnTo>
                    <a:pt x="2635" y="1036"/>
                  </a:lnTo>
                  <a:lnTo>
                    <a:pt x="2635" y="1036"/>
                  </a:lnTo>
                  <a:lnTo>
                    <a:pt x="2615" y="1016"/>
                  </a:lnTo>
                  <a:lnTo>
                    <a:pt x="2594" y="997"/>
                  </a:lnTo>
                  <a:lnTo>
                    <a:pt x="2570" y="983"/>
                  </a:lnTo>
                  <a:lnTo>
                    <a:pt x="2545" y="969"/>
                  </a:lnTo>
                  <a:lnTo>
                    <a:pt x="2518" y="959"/>
                  </a:lnTo>
                  <a:lnTo>
                    <a:pt x="2490" y="951"/>
                  </a:lnTo>
                  <a:lnTo>
                    <a:pt x="2476" y="948"/>
                  </a:lnTo>
                  <a:lnTo>
                    <a:pt x="2461" y="947"/>
                  </a:lnTo>
                  <a:lnTo>
                    <a:pt x="2447" y="945"/>
                  </a:lnTo>
                  <a:lnTo>
                    <a:pt x="2432" y="944"/>
                  </a:lnTo>
                  <a:lnTo>
                    <a:pt x="2432" y="944"/>
                  </a:lnTo>
                  <a:lnTo>
                    <a:pt x="2416" y="945"/>
                  </a:lnTo>
                  <a:lnTo>
                    <a:pt x="2400" y="947"/>
                  </a:lnTo>
                  <a:lnTo>
                    <a:pt x="2384" y="948"/>
                  </a:lnTo>
                  <a:lnTo>
                    <a:pt x="2369" y="952"/>
                  </a:lnTo>
                  <a:lnTo>
                    <a:pt x="2369" y="952"/>
                  </a:lnTo>
                  <a:lnTo>
                    <a:pt x="2370" y="934"/>
                  </a:lnTo>
                  <a:lnTo>
                    <a:pt x="2371" y="915"/>
                  </a:lnTo>
                  <a:lnTo>
                    <a:pt x="2371" y="915"/>
                  </a:lnTo>
                  <a:lnTo>
                    <a:pt x="2370" y="896"/>
                  </a:lnTo>
                  <a:lnTo>
                    <a:pt x="2369" y="878"/>
                  </a:lnTo>
                  <a:lnTo>
                    <a:pt x="2369" y="878"/>
                  </a:lnTo>
                  <a:lnTo>
                    <a:pt x="2398" y="874"/>
                  </a:lnTo>
                  <a:lnTo>
                    <a:pt x="2424" y="867"/>
                  </a:lnTo>
                  <a:lnTo>
                    <a:pt x="2451" y="857"/>
                  </a:lnTo>
                  <a:lnTo>
                    <a:pt x="2476" y="846"/>
                  </a:lnTo>
                  <a:lnTo>
                    <a:pt x="2500" y="832"/>
                  </a:lnTo>
                  <a:lnTo>
                    <a:pt x="2522" y="816"/>
                  </a:lnTo>
                  <a:lnTo>
                    <a:pt x="2543" y="798"/>
                  </a:lnTo>
                  <a:lnTo>
                    <a:pt x="2562" y="779"/>
                  </a:lnTo>
                  <a:lnTo>
                    <a:pt x="2579" y="757"/>
                  </a:lnTo>
                  <a:lnTo>
                    <a:pt x="2595" y="735"/>
                  </a:lnTo>
                  <a:lnTo>
                    <a:pt x="2608" y="711"/>
                  </a:lnTo>
                  <a:lnTo>
                    <a:pt x="2620" y="686"/>
                  </a:lnTo>
                  <a:lnTo>
                    <a:pt x="2628" y="659"/>
                  </a:lnTo>
                  <a:lnTo>
                    <a:pt x="2635" y="632"/>
                  </a:lnTo>
                  <a:lnTo>
                    <a:pt x="2640" y="604"/>
                  </a:lnTo>
                  <a:lnTo>
                    <a:pt x="2641" y="575"/>
                  </a:lnTo>
                  <a:lnTo>
                    <a:pt x="2641" y="575"/>
                  </a:lnTo>
                  <a:lnTo>
                    <a:pt x="2640" y="550"/>
                  </a:lnTo>
                  <a:lnTo>
                    <a:pt x="2637" y="526"/>
                  </a:lnTo>
                  <a:lnTo>
                    <a:pt x="2632" y="503"/>
                  </a:lnTo>
                  <a:lnTo>
                    <a:pt x="2627" y="481"/>
                  </a:lnTo>
                  <a:lnTo>
                    <a:pt x="2619" y="459"/>
                  </a:lnTo>
                  <a:lnTo>
                    <a:pt x="2609" y="438"/>
                  </a:lnTo>
                  <a:lnTo>
                    <a:pt x="2598" y="418"/>
                  </a:lnTo>
                  <a:lnTo>
                    <a:pt x="2586" y="399"/>
                  </a:lnTo>
                  <a:lnTo>
                    <a:pt x="2586" y="399"/>
                  </a:lnTo>
                  <a:lnTo>
                    <a:pt x="2599" y="385"/>
                  </a:lnTo>
                  <a:lnTo>
                    <a:pt x="2611" y="371"/>
                  </a:lnTo>
                  <a:lnTo>
                    <a:pt x="2623" y="355"/>
                  </a:lnTo>
                  <a:lnTo>
                    <a:pt x="2633" y="339"/>
                  </a:lnTo>
                  <a:lnTo>
                    <a:pt x="2643" y="322"/>
                  </a:lnTo>
                  <a:lnTo>
                    <a:pt x="2650" y="305"/>
                  </a:lnTo>
                  <a:lnTo>
                    <a:pt x="2658" y="286"/>
                  </a:lnTo>
                  <a:lnTo>
                    <a:pt x="2664" y="267"/>
                  </a:lnTo>
                  <a:lnTo>
                    <a:pt x="2664" y="267"/>
                  </a:lnTo>
                  <a:lnTo>
                    <a:pt x="2673" y="267"/>
                  </a:lnTo>
                  <a:lnTo>
                    <a:pt x="2673" y="267"/>
                  </a:lnTo>
                  <a:lnTo>
                    <a:pt x="2706" y="266"/>
                  </a:lnTo>
                  <a:lnTo>
                    <a:pt x="2739" y="262"/>
                  </a:lnTo>
                  <a:lnTo>
                    <a:pt x="2771" y="257"/>
                  </a:lnTo>
                  <a:lnTo>
                    <a:pt x="2803" y="248"/>
                  </a:lnTo>
                  <a:lnTo>
                    <a:pt x="2833" y="237"/>
                  </a:lnTo>
                  <a:lnTo>
                    <a:pt x="2861" y="225"/>
                  </a:lnTo>
                  <a:lnTo>
                    <a:pt x="2890" y="209"/>
                  </a:lnTo>
                  <a:lnTo>
                    <a:pt x="2916" y="193"/>
                  </a:lnTo>
                  <a:lnTo>
                    <a:pt x="2942" y="175"/>
                  </a:lnTo>
                  <a:lnTo>
                    <a:pt x="2965" y="154"/>
                  </a:lnTo>
                  <a:lnTo>
                    <a:pt x="2988" y="132"/>
                  </a:lnTo>
                  <a:lnTo>
                    <a:pt x="3008" y="109"/>
                  </a:lnTo>
                  <a:lnTo>
                    <a:pt x="3026" y="83"/>
                  </a:lnTo>
                  <a:lnTo>
                    <a:pt x="3043" y="57"/>
                  </a:lnTo>
                  <a:lnTo>
                    <a:pt x="3059" y="29"/>
                  </a:lnTo>
                  <a:lnTo>
                    <a:pt x="3073" y="0"/>
                  </a:lnTo>
                  <a:lnTo>
                    <a:pt x="2269" y="0"/>
                  </a:lnTo>
                  <a:lnTo>
                    <a:pt x="2124" y="0"/>
                  </a:lnTo>
                  <a:lnTo>
                    <a:pt x="0" y="0"/>
                  </a:lnTo>
                  <a:lnTo>
                    <a:pt x="0" y="4350"/>
                  </a:lnTo>
                  <a:lnTo>
                    <a:pt x="2173" y="4350"/>
                  </a:lnTo>
                  <a:lnTo>
                    <a:pt x="2269" y="4350"/>
                  </a:lnTo>
                  <a:lnTo>
                    <a:pt x="3264" y="4350"/>
                  </a:lnTo>
                  <a:lnTo>
                    <a:pt x="3264" y="4350"/>
                  </a:lnTo>
                  <a:lnTo>
                    <a:pt x="3258" y="4333"/>
                  </a:lnTo>
                  <a:lnTo>
                    <a:pt x="3249" y="4317"/>
                  </a:lnTo>
                  <a:lnTo>
                    <a:pt x="3239" y="4301"/>
                  </a:lnTo>
                  <a:lnTo>
                    <a:pt x="3229" y="4286"/>
                  </a:lnTo>
                  <a:lnTo>
                    <a:pt x="3217" y="4273"/>
                  </a:lnTo>
                  <a:lnTo>
                    <a:pt x="3205" y="4260"/>
                  </a:lnTo>
                  <a:lnTo>
                    <a:pt x="3190" y="4248"/>
                  </a:lnTo>
                  <a:lnTo>
                    <a:pt x="3177" y="4237"/>
                  </a:lnTo>
                  <a:lnTo>
                    <a:pt x="3161" y="4227"/>
                  </a:lnTo>
                  <a:lnTo>
                    <a:pt x="3145" y="4219"/>
                  </a:lnTo>
                  <a:lnTo>
                    <a:pt x="3128" y="4211"/>
                  </a:lnTo>
                  <a:lnTo>
                    <a:pt x="3111" y="4204"/>
                  </a:lnTo>
                  <a:lnTo>
                    <a:pt x="3094" y="4200"/>
                  </a:lnTo>
                  <a:lnTo>
                    <a:pt x="3075" y="4196"/>
                  </a:lnTo>
                  <a:lnTo>
                    <a:pt x="3055" y="4194"/>
                  </a:lnTo>
                  <a:lnTo>
                    <a:pt x="3037" y="4194"/>
                  </a:lnTo>
                  <a:lnTo>
                    <a:pt x="3037" y="4194"/>
                  </a:lnTo>
                  <a:lnTo>
                    <a:pt x="3022" y="4194"/>
                  </a:lnTo>
                  <a:lnTo>
                    <a:pt x="3008" y="4195"/>
                  </a:lnTo>
                  <a:lnTo>
                    <a:pt x="3008" y="4195"/>
                  </a:lnTo>
                  <a:lnTo>
                    <a:pt x="2997" y="4169"/>
                  </a:lnTo>
                  <a:lnTo>
                    <a:pt x="2984" y="4143"/>
                  </a:lnTo>
                  <a:lnTo>
                    <a:pt x="2969" y="4118"/>
                  </a:lnTo>
                  <a:lnTo>
                    <a:pt x="2954" y="4096"/>
                  </a:lnTo>
                  <a:lnTo>
                    <a:pt x="2936" y="4073"/>
                  </a:lnTo>
                  <a:lnTo>
                    <a:pt x="2918" y="4052"/>
                  </a:lnTo>
                  <a:lnTo>
                    <a:pt x="2897" y="4032"/>
                  </a:lnTo>
                  <a:lnTo>
                    <a:pt x="2875" y="4014"/>
                  </a:lnTo>
                  <a:lnTo>
                    <a:pt x="2875" y="4014"/>
                  </a:lnTo>
                  <a:lnTo>
                    <a:pt x="2885" y="3999"/>
                  </a:lnTo>
                  <a:lnTo>
                    <a:pt x="2894" y="3983"/>
                  </a:lnTo>
                  <a:lnTo>
                    <a:pt x="2901" y="3966"/>
                  </a:lnTo>
                  <a:lnTo>
                    <a:pt x="2907" y="3949"/>
                  </a:lnTo>
                  <a:lnTo>
                    <a:pt x="2911" y="3932"/>
                  </a:lnTo>
                  <a:lnTo>
                    <a:pt x="2915" y="3913"/>
                  </a:lnTo>
                  <a:lnTo>
                    <a:pt x="2916" y="3896"/>
                  </a:lnTo>
                  <a:lnTo>
                    <a:pt x="2918" y="3876"/>
                  </a:lnTo>
                  <a:lnTo>
                    <a:pt x="2918" y="3876"/>
                  </a:lnTo>
                  <a:lnTo>
                    <a:pt x="2918" y="3861"/>
                  </a:lnTo>
                  <a:lnTo>
                    <a:pt x="2916" y="3847"/>
                  </a:lnTo>
                  <a:lnTo>
                    <a:pt x="2914" y="3834"/>
                  </a:lnTo>
                  <a:lnTo>
                    <a:pt x="2911" y="3819"/>
                  </a:lnTo>
                  <a:lnTo>
                    <a:pt x="2907" y="3806"/>
                  </a:lnTo>
                  <a:lnTo>
                    <a:pt x="2903" y="3793"/>
                  </a:lnTo>
                  <a:lnTo>
                    <a:pt x="2893" y="3767"/>
                  </a:lnTo>
                  <a:lnTo>
                    <a:pt x="2879" y="3744"/>
                  </a:lnTo>
                  <a:lnTo>
                    <a:pt x="2864" y="3722"/>
                  </a:lnTo>
                  <a:lnTo>
                    <a:pt x="2845" y="3702"/>
                  </a:lnTo>
                  <a:lnTo>
                    <a:pt x="2825" y="3684"/>
                  </a:lnTo>
                  <a:lnTo>
                    <a:pt x="2825" y="3684"/>
                  </a:lnTo>
                  <a:lnTo>
                    <a:pt x="2819" y="3667"/>
                  </a:lnTo>
                  <a:lnTo>
                    <a:pt x="2812" y="3649"/>
                  </a:lnTo>
                  <a:lnTo>
                    <a:pt x="2803" y="3634"/>
                  </a:lnTo>
                  <a:lnTo>
                    <a:pt x="2793" y="3618"/>
                  </a:lnTo>
                  <a:lnTo>
                    <a:pt x="2783" y="3603"/>
                  </a:lnTo>
                  <a:lnTo>
                    <a:pt x="2772" y="3590"/>
                  </a:lnTo>
                  <a:lnTo>
                    <a:pt x="2759" y="3577"/>
                  </a:lnTo>
                  <a:lnTo>
                    <a:pt x="2746" y="3565"/>
                  </a:lnTo>
                  <a:lnTo>
                    <a:pt x="2731" y="3554"/>
                  </a:lnTo>
                  <a:lnTo>
                    <a:pt x="2717" y="3545"/>
                  </a:lnTo>
                  <a:lnTo>
                    <a:pt x="2701" y="3536"/>
                  </a:lnTo>
                  <a:lnTo>
                    <a:pt x="2685" y="3528"/>
                  </a:lnTo>
                  <a:lnTo>
                    <a:pt x="2668" y="3521"/>
                  </a:lnTo>
                  <a:lnTo>
                    <a:pt x="2649" y="3516"/>
                  </a:lnTo>
                  <a:lnTo>
                    <a:pt x="2632" y="3512"/>
                  </a:lnTo>
                  <a:lnTo>
                    <a:pt x="2613" y="3510"/>
                  </a:lnTo>
                  <a:lnTo>
                    <a:pt x="2613" y="3510"/>
                  </a:lnTo>
                  <a:lnTo>
                    <a:pt x="2607" y="3483"/>
                  </a:lnTo>
                  <a:lnTo>
                    <a:pt x="2599" y="3457"/>
                  </a:lnTo>
                  <a:lnTo>
                    <a:pt x="2587" y="3432"/>
                  </a:lnTo>
                  <a:lnTo>
                    <a:pt x="2574" y="3410"/>
                  </a:lnTo>
                  <a:lnTo>
                    <a:pt x="2558" y="3389"/>
                  </a:lnTo>
                  <a:lnTo>
                    <a:pt x="2539" y="3369"/>
                  </a:lnTo>
                  <a:lnTo>
                    <a:pt x="2519" y="3352"/>
                  </a:lnTo>
                  <a:lnTo>
                    <a:pt x="2497" y="3337"/>
                  </a:lnTo>
                  <a:lnTo>
                    <a:pt x="2497" y="3337"/>
                  </a:lnTo>
                  <a:lnTo>
                    <a:pt x="2509" y="3329"/>
                  </a:lnTo>
                  <a:lnTo>
                    <a:pt x="2521" y="3320"/>
                  </a:lnTo>
                  <a:lnTo>
                    <a:pt x="2531" y="3312"/>
                  </a:lnTo>
                  <a:lnTo>
                    <a:pt x="2542" y="3301"/>
                  </a:lnTo>
                  <a:lnTo>
                    <a:pt x="2551" y="3292"/>
                  </a:lnTo>
                  <a:lnTo>
                    <a:pt x="2560" y="3281"/>
                  </a:lnTo>
                  <a:lnTo>
                    <a:pt x="2570" y="3269"/>
                  </a:lnTo>
                  <a:lnTo>
                    <a:pt x="2578" y="3258"/>
                  </a:lnTo>
                  <a:lnTo>
                    <a:pt x="2584" y="3246"/>
                  </a:lnTo>
                  <a:lnTo>
                    <a:pt x="2591" y="3234"/>
                  </a:lnTo>
                  <a:lnTo>
                    <a:pt x="2598" y="3220"/>
                  </a:lnTo>
                  <a:lnTo>
                    <a:pt x="2601" y="3207"/>
                  </a:lnTo>
                  <a:lnTo>
                    <a:pt x="2607" y="3193"/>
                  </a:lnTo>
                  <a:lnTo>
                    <a:pt x="2609" y="3179"/>
                  </a:lnTo>
                  <a:lnTo>
                    <a:pt x="2612" y="3165"/>
                  </a:lnTo>
                  <a:lnTo>
                    <a:pt x="2615" y="3150"/>
                  </a:lnTo>
                  <a:lnTo>
                    <a:pt x="2615" y="3150"/>
                  </a:lnTo>
                  <a:lnTo>
                    <a:pt x="2641" y="3160"/>
                  </a:lnTo>
                  <a:lnTo>
                    <a:pt x="2668" y="3166"/>
                  </a:lnTo>
                  <a:lnTo>
                    <a:pt x="2697" y="3170"/>
                  </a:lnTo>
                  <a:lnTo>
                    <a:pt x="2726" y="3171"/>
                  </a:lnTo>
                  <a:lnTo>
                    <a:pt x="2726" y="3171"/>
                  </a:lnTo>
                  <a:lnTo>
                    <a:pt x="2742" y="3171"/>
                  </a:lnTo>
                  <a:lnTo>
                    <a:pt x="2759" y="3170"/>
                  </a:lnTo>
                  <a:lnTo>
                    <a:pt x="2774" y="3167"/>
                  </a:lnTo>
                  <a:lnTo>
                    <a:pt x="2789" y="3165"/>
                  </a:lnTo>
                  <a:lnTo>
                    <a:pt x="2805" y="3161"/>
                  </a:lnTo>
                  <a:lnTo>
                    <a:pt x="2820" y="3157"/>
                  </a:lnTo>
                  <a:lnTo>
                    <a:pt x="2834" y="3152"/>
                  </a:lnTo>
                  <a:lnTo>
                    <a:pt x="2849" y="3145"/>
                  </a:lnTo>
                  <a:lnTo>
                    <a:pt x="2862" y="3138"/>
                  </a:lnTo>
                  <a:lnTo>
                    <a:pt x="2875" y="3130"/>
                  </a:lnTo>
                  <a:lnTo>
                    <a:pt x="2901" y="3115"/>
                  </a:lnTo>
                  <a:lnTo>
                    <a:pt x="2924" y="3095"/>
                  </a:lnTo>
                  <a:lnTo>
                    <a:pt x="2946" y="3073"/>
                  </a:lnTo>
                  <a:lnTo>
                    <a:pt x="2946" y="3073"/>
                  </a:lnTo>
                  <a:lnTo>
                    <a:pt x="2947" y="3073"/>
                  </a:lnTo>
                  <a:lnTo>
                    <a:pt x="2947" y="3073"/>
                  </a:lnTo>
                  <a:lnTo>
                    <a:pt x="2967" y="3072"/>
                  </a:lnTo>
                  <a:lnTo>
                    <a:pt x="2985" y="3071"/>
                  </a:lnTo>
                  <a:lnTo>
                    <a:pt x="3005" y="3067"/>
                  </a:lnTo>
                  <a:lnTo>
                    <a:pt x="3024" y="3063"/>
                  </a:lnTo>
                  <a:lnTo>
                    <a:pt x="3041" y="3058"/>
                  </a:lnTo>
                  <a:lnTo>
                    <a:pt x="3059" y="3052"/>
                  </a:lnTo>
                  <a:lnTo>
                    <a:pt x="3077" y="3044"/>
                  </a:lnTo>
                  <a:lnTo>
                    <a:pt x="3092" y="3036"/>
                  </a:lnTo>
                  <a:lnTo>
                    <a:pt x="3108" y="3027"/>
                  </a:lnTo>
                  <a:lnTo>
                    <a:pt x="3124" y="3017"/>
                  </a:lnTo>
                  <a:lnTo>
                    <a:pt x="3139" y="3005"/>
                  </a:lnTo>
                  <a:lnTo>
                    <a:pt x="3152" y="2993"/>
                  </a:lnTo>
                  <a:lnTo>
                    <a:pt x="3165" y="2981"/>
                  </a:lnTo>
                  <a:lnTo>
                    <a:pt x="3178" y="2968"/>
                  </a:lnTo>
                  <a:lnTo>
                    <a:pt x="3190" y="2953"/>
                  </a:lnTo>
                  <a:lnTo>
                    <a:pt x="3201" y="2937"/>
                  </a:lnTo>
                  <a:lnTo>
                    <a:pt x="3201" y="2937"/>
                  </a:lnTo>
                  <a:lnTo>
                    <a:pt x="3226" y="2941"/>
                  </a:lnTo>
                  <a:lnTo>
                    <a:pt x="3253" y="2942"/>
                  </a:lnTo>
                  <a:lnTo>
                    <a:pt x="3253" y="2942"/>
                  </a:lnTo>
                  <a:lnTo>
                    <a:pt x="3271" y="2941"/>
                  </a:lnTo>
                  <a:lnTo>
                    <a:pt x="3290" y="2940"/>
                  </a:lnTo>
                  <a:lnTo>
                    <a:pt x="3308" y="2937"/>
                  </a:lnTo>
                  <a:lnTo>
                    <a:pt x="3325" y="2933"/>
                  </a:lnTo>
                  <a:lnTo>
                    <a:pt x="3325" y="2933"/>
                  </a:lnTo>
                  <a:lnTo>
                    <a:pt x="3345" y="2948"/>
                  </a:lnTo>
                  <a:lnTo>
                    <a:pt x="3365" y="2960"/>
                  </a:lnTo>
                  <a:lnTo>
                    <a:pt x="3388" y="2970"/>
                  </a:lnTo>
                  <a:lnTo>
                    <a:pt x="3410" y="2979"/>
                  </a:lnTo>
                  <a:lnTo>
                    <a:pt x="3434" y="2987"/>
                  </a:lnTo>
                  <a:lnTo>
                    <a:pt x="3458" y="2991"/>
                  </a:lnTo>
                  <a:lnTo>
                    <a:pt x="3483" y="2995"/>
                  </a:lnTo>
                  <a:lnTo>
                    <a:pt x="3508" y="2997"/>
                  </a:lnTo>
                  <a:lnTo>
                    <a:pt x="3508" y="2997"/>
                  </a:lnTo>
                  <a:lnTo>
                    <a:pt x="3532" y="2995"/>
                  </a:lnTo>
                  <a:lnTo>
                    <a:pt x="3556" y="2993"/>
                  </a:lnTo>
                  <a:lnTo>
                    <a:pt x="3579" y="2987"/>
                  </a:lnTo>
                  <a:lnTo>
                    <a:pt x="3602" y="2981"/>
                  </a:lnTo>
                  <a:lnTo>
                    <a:pt x="3623" y="2973"/>
                  </a:lnTo>
                  <a:lnTo>
                    <a:pt x="3644" y="2962"/>
                  </a:lnTo>
                  <a:lnTo>
                    <a:pt x="3664" y="2952"/>
                  </a:lnTo>
                  <a:lnTo>
                    <a:pt x="3684" y="2938"/>
                  </a:lnTo>
                  <a:lnTo>
                    <a:pt x="3701" y="2924"/>
                  </a:lnTo>
                  <a:lnTo>
                    <a:pt x="3718" y="2908"/>
                  </a:lnTo>
                  <a:lnTo>
                    <a:pt x="3733" y="2891"/>
                  </a:lnTo>
                  <a:lnTo>
                    <a:pt x="3747" y="2874"/>
                  </a:lnTo>
                  <a:lnTo>
                    <a:pt x="3759" y="2854"/>
                  </a:lnTo>
                  <a:lnTo>
                    <a:pt x="3771" y="2834"/>
                  </a:lnTo>
                  <a:lnTo>
                    <a:pt x="3781" y="2813"/>
                  </a:lnTo>
                  <a:lnTo>
                    <a:pt x="3789" y="2790"/>
                  </a:lnTo>
                  <a:lnTo>
                    <a:pt x="3789" y="2790"/>
                  </a:lnTo>
                  <a:lnTo>
                    <a:pt x="3802" y="2791"/>
                  </a:lnTo>
                  <a:lnTo>
                    <a:pt x="3802" y="2791"/>
                  </a:lnTo>
                  <a:lnTo>
                    <a:pt x="3822" y="2790"/>
                  </a:lnTo>
                  <a:lnTo>
                    <a:pt x="3841" y="2789"/>
                  </a:lnTo>
                  <a:lnTo>
                    <a:pt x="3860" y="2785"/>
                  </a:lnTo>
                  <a:lnTo>
                    <a:pt x="3879" y="2779"/>
                  </a:lnTo>
                  <a:lnTo>
                    <a:pt x="3897" y="2774"/>
                  </a:lnTo>
                  <a:lnTo>
                    <a:pt x="3914" y="2768"/>
                  </a:lnTo>
                  <a:lnTo>
                    <a:pt x="3931" y="2758"/>
                  </a:lnTo>
                  <a:lnTo>
                    <a:pt x="3947" y="2749"/>
                  </a:lnTo>
                  <a:lnTo>
                    <a:pt x="3947" y="2749"/>
                  </a:lnTo>
                  <a:lnTo>
                    <a:pt x="3966" y="2761"/>
                  </a:lnTo>
                  <a:lnTo>
                    <a:pt x="3986" y="2772"/>
                  </a:lnTo>
                  <a:lnTo>
                    <a:pt x="4007" y="2781"/>
                  </a:lnTo>
                  <a:lnTo>
                    <a:pt x="4028" y="2789"/>
                  </a:lnTo>
                  <a:lnTo>
                    <a:pt x="4049" y="2795"/>
                  </a:lnTo>
                  <a:lnTo>
                    <a:pt x="4073" y="2799"/>
                  </a:lnTo>
                  <a:lnTo>
                    <a:pt x="4096" y="2802"/>
                  </a:lnTo>
                  <a:lnTo>
                    <a:pt x="4119" y="2803"/>
                  </a:lnTo>
                  <a:lnTo>
                    <a:pt x="4119" y="2803"/>
                  </a:lnTo>
                  <a:lnTo>
                    <a:pt x="4139" y="2802"/>
                  </a:lnTo>
                  <a:lnTo>
                    <a:pt x="4158" y="2801"/>
                  </a:lnTo>
                  <a:lnTo>
                    <a:pt x="4176" y="2798"/>
                  </a:lnTo>
                  <a:lnTo>
                    <a:pt x="4195" y="2794"/>
                  </a:lnTo>
                  <a:lnTo>
                    <a:pt x="4212" y="2789"/>
                  </a:lnTo>
                  <a:lnTo>
                    <a:pt x="4229" y="2782"/>
                  </a:lnTo>
                  <a:lnTo>
                    <a:pt x="4246" y="2776"/>
                  </a:lnTo>
                  <a:lnTo>
                    <a:pt x="4262" y="2768"/>
                  </a:lnTo>
                  <a:lnTo>
                    <a:pt x="4278" y="2758"/>
                  </a:lnTo>
                  <a:lnTo>
                    <a:pt x="4294" y="2749"/>
                  </a:lnTo>
                  <a:lnTo>
                    <a:pt x="4309" y="2738"/>
                  </a:lnTo>
                  <a:lnTo>
                    <a:pt x="4322" y="2727"/>
                  </a:lnTo>
                  <a:lnTo>
                    <a:pt x="4335" y="2715"/>
                  </a:lnTo>
                  <a:lnTo>
                    <a:pt x="4347" y="2701"/>
                  </a:lnTo>
                  <a:lnTo>
                    <a:pt x="4359" y="2687"/>
                  </a:lnTo>
                  <a:lnTo>
                    <a:pt x="4369" y="2674"/>
                  </a:lnTo>
                  <a:lnTo>
                    <a:pt x="4369" y="2674"/>
                  </a:lnTo>
                  <a:lnTo>
                    <a:pt x="4391" y="2679"/>
                  </a:lnTo>
                  <a:lnTo>
                    <a:pt x="4410" y="2683"/>
                  </a:lnTo>
                  <a:lnTo>
                    <a:pt x="4433" y="2685"/>
                  </a:lnTo>
                  <a:lnTo>
                    <a:pt x="4454" y="2687"/>
                  </a:lnTo>
                  <a:lnTo>
                    <a:pt x="4454" y="2687"/>
                  </a:lnTo>
                  <a:lnTo>
                    <a:pt x="4473" y="2685"/>
                  </a:lnTo>
                  <a:lnTo>
                    <a:pt x="4490" y="2684"/>
                  </a:lnTo>
                  <a:lnTo>
                    <a:pt x="4506" y="2682"/>
                  </a:lnTo>
                  <a:lnTo>
                    <a:pt x="4523" y="2678"/>
                  </a:lnTo>
                  <a:lnTo>
                    <a:pt x="4539" y="2674"/>
                  </a:lnTo>
                  <a:lnTo>
                    <a:pt x="4555" y="2668"/>
                  </a:lnTo>
                  <a:lnTo>
                    <a:pt x="4569" y="2662"/>
                  </a:lnTo>
                  <a:lnTo>
                    <a:pt x="4584" y="2654"/>
                  </a:lnTo>
                  <a:lnTo>
                    <a:pt x="4598" y="2646"/>
                  </a:lnTo>
                  <a:lnTo>
                    <a:pt x="4613" y="2636"/>
                  </a:lnTo>
                  <a:lnTo>
                    <a:pt x="4625" y="2626"/>
                  </a:lnTo>
                  <a:lnTo>
                    <a:pt x="4638" y="2615"/>
                  </a:lnTo>
                  <a:lnTo>
                    <a:pt x="4650" y="2605"/>
                  </a:lnTo>
                  <a:lnTo>
                    <a:pt x="4661" y="2593"/>
                  </a:lnTo>
                  <a:lnTo>
                    <a:pt x="4671" y="2580"/>
                  </a:lnTo>
                  <a:lnTo>
                    <a:pt x="4680" y="2566"/>
                  </a:lnTo>
                  <a:lnTo>
                    <a:pt x="4680" y="2566"/>
                  </a:lnTo>
                  <a:lnTo>
                    <a:pt x="4698" y="2576"/>
                  </a:lnTo>
                  <a:lnTo>
                    <a:pt x="4715" y="2582"/>
                  </a:lnTo>
                  <a:lnTo>
                    <a:pt x="4732" y="2589"/>
                  </a:lnTo>
                  <a:lnTo>
                    <a:pt x="4751" y="2594"/>
                  </a:lnTo>
                  <a:lnTo>
                    <a:pt x="4770" y="2599"/>
                  </a:lnTo>
                  <a:lnTo>
                    <a:pt x="4789" y="2602"/>
                  </a:lnTo>
                  <a:lnTo>
                    <a:pt x="4809" y="2605"/>
                  </a:lnTo>
                  <a:lnTo>
                    <a:pt x="4829" y="2605"/>
                  </a:lnTo>
                  <a:lnTo>
                    <a:pt x="4829" y="2605"/>
                  </a:lnTo>
                  <a:lnTo>
                    <a:pt x="4849" y="2605"/>
                  </a:lnTo>
                  <a:lnTo>
                    <a:pt x="4868" y="2602"/>
                  </a:lnTo>
                  <a:lnTo>
                    <a:pt x="4887" y="2599"/>
                  </a:lnTo>
                  <a:lnTo>
                    <a:pt x="4905" y="2595"/>
                  </a:lnTo>
                  <a:lnTo>
                    <a:pt x="4924" y="2590"/>
                  </a:lnTo>
                  <a:lnTo>
                    <a:pt x="4941" y="2584"/>
                  </a:lnTo>
                  <a:lnTo>
                    <a:pt x="4958" y="2576"/>
                  </a:lnTo>
                  <a:lnTo>
                    <a:pt x="4976" y="2568"/>
                  </a:lnTo>
                  <a:lnTo>
                    <a:pt x="4991" y="2558"/>
                  </a:lnTo>
                  <a:lnTo>
                    <a:pt x="5007" y="2548"/>
                  </a:lnTo>
                  <a:lnTo>
                    <a:pt x="5022" y="2536"/>
                  </a:lnTo>
                  <a:lnTo>
                    <a:pt x="5035" y="2524"/>
                  </a:lnTo>
                  <a:lnTo>
                    <a:pt x="5048" y="2512"/>
                  </a:lnTo>
                  <a:lnTo>
                    <a:pt x="5062" y="2497"/>
                  </a:lnTo>
                  <a:lnTo>
                    <a:pt x="5072" y="2483"/>
                  </a:lnTo>
                  <a:lnTo>
                    <a:pt x="5084" y="2468"/>
                  </a:lnTo>
                  <a:lnTo>
                    <a:pt x="5084" y="2468"/>
                  </a:lnTo>
                  <a:lnTo>
                    <a:pt x="5099" y="2467"/>
                  </a:lnTo>
                  <a:lnTo>
                    <a:pt x="5114" y="2466"/>
                  </a:lnTo>
                  <a:lnTo>
                    <a:pt x="5145" y="2459"/>
                  </a:lnTo>
                  <a:lnTo>
                    <a:pt x="5145" y="2459"/>
                  </a:lnTo>
                  <a:lnTo>
                    <a:pt x="5171" y="2470"/>
                  </a:lnTo>
                  <a:lnTo>
                    <a:pt x="5199" y="2478"/>
                  </a:lnTo>
                  <a:lnTo>
                    <a:pt x="5228" y="2482"/>
                  </a:lnTo>
                  <a:lnTo>
                    <a:pt x="5244" y="2483"/>
                  </a:lnTo>
                  <a:lnTo>
                    <a:pt x="5259" y="2483"/>
                  </a:lnTo>
                  <a:lnTo>
                    <a:pt x="5259" y="2483"/>
                  </a:lnTo>
                  <a:lnTo>
                    <a:pt x="5288" y="2482"/>
                  </a:lnTo>
                  <a:lnTo>
                    <a:pt x="5316" y="2478"/>
                  </a:lnTo>
                  <a:lnTo>
                    <a:pt x="5342" y="2471"/>
                  </a:lnTo>
                  <a:lnTo>
                    <a:pt x="5369" y="2462"/>
                  </a:lnTo>
                  <a:lnTo>
                    <a:pt x="5392" y="2450"/>
                  </a:lnTo>
                  <a:lnTo>
                    <a:pt x="5416" y="2435"/>
                  </a:lnTo>
                  <a:lnTo>
                    <a:pt x="5437" y="2419"/>
                  </a:lnTo>
                  <a:lnTo>
                    <a:pt x="5457" y="2401"/>
                  </a:lnTo>
                  <a:lnTo>
                    <a:pt x="5476" y="2381"/>
                  </a:lnTo>
                  <a:lnTo>
                    <a:pt x="5492" y="2360"/>
                  </a:lnTo>
                  <a:lnTo>
                    <a:pt x="5506" y="2336"/>
                  </a:lnTo>
                  <a:lnTo>
                    <a:pt x="5518" y="2312"/>
                  </a:lnTo>
                  <a:lnTo>
                    <a:pt x="5527" y="2286"/>
                  </a:lnTo>
                  <a:lnTo>
                    <a:pt x="5534" y="2259"/>
                  </a:lnTo>
                  <a:lnTo>
                    <a:pt x="5538" y="2231"/>
                  </a:lnTo>
                  <a:lnTo>
                    <a:pt x="5539" y="2202"/>
                  </a:lnTo>
                  <a:lnTo>
                    <a:pt x="5539" y="2202"/>
                  </a:lnTo>
                  <a:lnTo>
                    <a:pt x="5538" y="2173"/>
                  </a:lnTo>
                  <a:lnTo>
                    <a:pt x="5534" y="2145"/>
                  </a:lnTo>
                  <a:lnTo>
                    <a:pt x="5527" y="2119"/>
                  </a:lnTo>
                  <a:lnTo>
                    <a:pt x="5518" y="2094"/>
                  </a:lnTo>
                  <a:lnTo>
                    <a:pt x="5506" y="2068"/>
                  </a:lnTo>
                  <a:lnTo>
                    <a:pt x="5492" y="2045"/>
                  </a:lnTo>
                  <a:lnTo>
                    <a:pt x="5476" y="2023"/>
                  </a:lnTo>
                  <a:lnTo>
                    <a:pt x="5457" y="2004"/>
                  </a:lnTo>
                  <a:lnTo>
                    <a:pt x="5437" y="1985"/>
                  </a:lnTo>
                  <a:lnTo>
                    <a:pt x="5416" y="1969"/>
                  </a:lnTo>
                  <a:lnTo>
                    <a:pt x="5392" y="1956"/>
                  </a:lnTo>
                  <a:lnTo>
                    <a:pt x="5369" y="1944"/>
                  </a:lnTo>
                  <a:lnTo>
                    <a:pt x="5342" y="1933"/>
                  </a:lnTo>
                  <a:lnTo>
                    <a:pt x="5316" y="1927"/>
                  </a:lnTo>
                  <a:lnTo>
                    <a:pt x="5288" y="1923"/>
                  </a:lnTo>
                  <a:lnTo>
                    <a:pt x="5259" y="1921"/>
                  </a:lnTo>
                  <a:lnTo>
                    <a:pt x="5259" y="1921"/>
                  </a:lnTo>
                  <a:close/>
                </a:path>
              </a:pathLst>
            </a:custGeom>
            <a:solidFill>
              <a:srgbClr val="F57E20">
                <a:alpha val="90000"/>
              </a:srgbClr>
            </a:solidFill>
            <a:ln>
              <a:noFill/>
            </a:ln>
          </p:spPr>
          <p:txBody>
            <a:bodyPr vert="horz" wrap="square" lIns="91440" tIns="45720" rIns="91440" bIns="45720" numCol="1" anchor="t" anchorCtr="0" compatLnSpc="1">
              <a:prstTxWarp prst="textNoShape">
                <a:avLst/>
              </a:prstTxWarp>
            </a:bodyPr>
            <a:lstStyle/>
            <a:p>
              <a:endParaRPr lang="ko-KR" altLang="en-US" sz="2400"/>
            </a:p>
          </p:txBody>
        </p:sp>
        <p:sp>
          <p:nvSpPr>
            <p:cNvPr id="124" name="Freeform 388"/>
            <p:cNvSpPr>
              <a:spLocks/>
            </p:cNvSpPr>
            <p:nvPr/>
          </p:nvSpPr>
          <p:spPr bwMode="auto">
            <a:xfrm>
              <a:off x="19482" y="469057"/>
              <a:ext cx="6548207" cy="5143500"/>
            </a:xfrm>
            <a:custGeom>
              <a:avLst/>
              <a:gdLst>
                <a:gd name="T0" fmla="*/ 5417 w 5539"/>
                <a:gd name="T1" fmla="*/ 1948 h 4350"/>
                <a:gd name="T2" fmla="*/ 5252 w 5539"/>
                <a:gd name="T3" fmla="*/ 1900 h 4350"/>
                <a:gd name="T4" fmla="*/ 5093 w 5539"/>
                <a:gd name="T5" fmla="*/ 1858 h 4350"/>
                <a:gd name="T6" fmla="*/ 4962 w 5539"/>
                <a:gd name="T7" fmla="*/ 1895 h 4350"/>
                <a:gd name="T8" fmla="*/ 4785 w 5539"/>
                <a:gd name="T9" fmla="*/ 1838 h 4350"/>
                <a:gd name="T10" fmla="*/ 4667 w 5539"/>
                <a:gd name="T11" fmla="*/ 1768 h 4350"/>
                <a:gd name="T12" fmla="*/ 4505 w 5539"/>
                <a:gd name="T13" fmla="*/ 1708 h 4350"/>
                <a:gd name="T14" fmla="*/ 4337 w 5539"/>
                <a:gd name="T15" fmla="*/ 1696 h 4350"/>
                <a:gd name="T16" fmla="*/ 4155 w 5539"/>
                <a:gd name="T17" fmla="*/ 1708 h 4350"/>
                <a:gd name="T18" fmla="*/ 4045 w 5539"/>
                <a:gd name="T19" fmla="*/ 1535 h 4350"/>
                <a:gd name="T20" fmla="*/ 3852 w 5539"/>
                <a:gd name="T21" fmla="*/ 1450 h 4350"/>
                <a:gd name="T22" fmla="*/ 3678 w 5539"/>
                <a:gd name="T23" fmla="*/ 1469 h 4350"/>
                <a:gd name="T24" fmla="*/ 3569 w 5539"/>
                <a:gd name="T25" fmla="*/ 1439 h 4350"/>
                <a:gd name="T26" fmla="*/ 3426 w 5539"/>
                <a:gd name="T27" fmla="*/ 1381 h 4350"/>
                <a:gd name="T28" fmla="*/ 3322 w 5539"/>
                <a:gd name="T29" fmla="*/ 1331 h 4350"/>
                <a:gd name="T30" fmla="*/ 3166 w 5539"/>
                <a:gd name="T31" fmla="*/ 1202 h 4350"/>
                <a:gd name="T32" fmla="*/ 2990 w 5539"/>
                <a:gd name="T33" fmla="*/ 1221 h 4350"/>
                <a:gd name="T34" fmla="*/ 2871 w 5539"/>
                <a:gd name="T35" fmla="*/ 1357 h 4350"/>
                <a:gd name="T36" fmla="*/ 2753 w 5539"/>
                <a:gd name="T37" fmla="*/ 1139 h 4350"/>
                <a:gd name="T38" fmla="*/ 2515 w 5539"/>
                <a:gd name="T39" fmla="*/ 1079 h 4350"/>
                <a:gd name="T40" fmla="*/ 2393 w 5539"/>
                <a:gd name="T41" fmla="*/ 1014 h 4350"/>
                <a:gd name="T42" fmla="*/ 2260 w 5539"/>
                <a:gd name="T43" fmla="*/ 975 h 4350"/>
                <a:gd name="T44" fmla="*/ 2121 w 5539"/>
                <a:gd name="T45" fmla="*/ 949 h 4350"/>
                <a:gd name="T46" fmla="*/ 2016 w 5539"/>
                <a:gd name="T47" fmla="*/ 781 h 4350"/>
                <a:gd name="T48" fmla="*/ 2026 w 5539"/>
                <a:gd name="T49" fmla="*/ 612 h 4350"/>
                <a:gd name="T50" fmla="*/ 2175 w 5539"/>
                <a:gd name="T51" fmla="*/ 510 h 4350"/>
                <a:gd name="T52" fmla="*/ 2213 w 5539"/>
                <a:gd name="T53" fmla="*/ 334 h 4350"/>
                <a:gd name="T54" fmla="*/ 2362 w 5539"/>
                <a:gd name="T55" fmla="*/ 205 h 4350"/>
                <a:gd name="T56" fmla="*/ 0 w 5539"/>
                <a:gd name="T57" fmla="*/ 0 h 4350"/>
                <a:gd name="T58" fmla="*/ 2565 w 5539"/>
                <a:gd name="T59" fmla="*/ 4284 h 4350"/>
                <a:gd name="T60" fmla="*/ 2520 w 5539"/>
                <a:gd name="T61" fmla="*/ 4105 h 4350"/>
                <a:gd name="T62" fmla="*/ 2401 w 5539"/>
                <a:gd name="T63" fmla="*/ 3974 h 4350"/>
                <a:gd name="T64" fmla="*/ 2229 w 5539"/>
                <a:gd name="T65" fmla="*/ 3912 h 4350"/>
                <a:gd name="T66" fmla="*/ 2073 w 5539"/>
                <a:gd name="T67" fmla="*/ 3896 h 4350"/>
                <a:gd name="T68" fmla="*/ 1985 w 5539"/>
                <a:gd name="T69" fmla="*/ 3778 h 4350"/>
                <a:gd name="T70" fmla="*/ 1933 w 5539"/>
                <a:gd name="T71" fmla="*/ 3639 h 4350"/>
                <a:gd name="T72" fmla="*/ 1925 w 5539"/>
                <a:gd name="T73" fmla="*/ 3483 h 4350"/>
                <a:gd name="T74" fmla="*/ 1990 w 5539"/>
                <a:gd name="T75" fmla="*/ 3357 h 4350"/>
                <a:gd name="T76" fmla="*/ 2068 w 5539"/>
                <a:gd name="T77" fmla="*/ 3336 h 4350"/>
                <a:gd name="T78" fmla="*/ 2243 w 5539"/>
                <a:gd name="T79" fmla="*/ 3340 h 4350"/>
                <a:gd name="T80" fmla="*/ 2367 w 5539"/>
                <a:gd name="T81" fmla="*/ 3239 h 4350"/>
                <a:gd name="T82" fmla="*/ 2475 w 5539"/>
                <a:gd name="T83" fmla="*/ 3254 h 4350"/>
                <a:gd name="T84" fmla="*/ 2618 w 5539"/>
                <a:gd name="T85" fmla="*/ 3189 h 4350"/>
                <a:gd name="T86" fmla="*/ 2669 w 5539"/>
                <a:gd name="T87" fmla="*/ 3073 h 4350"/>
                <a:gd name="T88" fmla="*/ 2872 w 5539"/>
                <a:gd name="T89" fmla="*/ 2995 h 4350"/>
                <a:gd name="T90" fmla="*/ 3001 w 5539"/>
                <a:gd name="T91" fmla="*/ 2923 h 4350"/>
                <a:gd name="T92" fmla="*/ 3193 w 5539"/>
                <a:gd name="T93" fmla="*/ 2926 h 4350"/>
                <a:gd name="T94" fmla="*/ 3353 w 5539"/>
                <a:gd name="T95" fmla="*/ 2901 h 4350"/>
                <a:gd name="T96" fmla="*/ 3549 w 5539"/>
                <a:gd name="T97" fmla="*/ 2880 h 4350"/>
                <a:gd name="T98" fmla="*/ 3686 w 5539"/>
                <a:gd name="T99" fmla="*/ 2760 h 4350"/>
                <a:gd name="T100" fmla="*/ 3804 w 5539"/>
                <a:gd name="T101" fmla="*/ 2791 h 4350"/>
                <a:gd name="T102" fmla="*/ 3996 w 5539"/>
                <a:gd name="T103" fmla="*/ 2716 h 4350"/>
                <a:gd name="T104" fmla="*/ 4176 w 5539"/>
                <a:gd name="T105" fmla="*/ 2644 h 4350"/>
                <a:gd name="T106" fmla="*/ 4349 w 5539"/>
                <a:gd name="T107" fmla="*/ 2646 h 4350"/>
                <a:gd name="T108" fmla="*/ 4500 w 5539"/>
                <a:gd name="T109" fmla="*/ 2627 h 4350"/>
                <a:gd name="T110" fmla="*/ 4663 w 5539"/>
                <a:gd name="T111" fmla="*/ 2613 h 4350"/>
                <a:gd name="T112" fmla="*/ 4781 w 5539"/>
                <a:gd name="T113" fmla="*/ 2495 h 4350"/>
                <a:gd name="T114" fmla="*/ 4924 w 5539"/>
                <a:gd name="T115" fmla="*/ 2493 h 4350"/>
                <a:gd name="T116" fmla="*/ 5061 w 5539"/>
                <a:gd name="T117" fmla="*/ 2380 h 4350"/>
                <a:gd name="T118" fmla="*/ 5161 w 5539"/>
                <a:gd name="T119" fmla="*/ 2403 h 4350"/>
                <a:gd name="T120" fmla="*/ 5294 w 5539"/>
                <a:gd name="T121" fmla="*/ 2443 h 4350"/>
                <a:gd name="T122" fmla="*/ 5498 w 5539"/>
                <a:gd name="T123" fmla="*/ 2335 h 4350"/>
                <a:gd name="T124" fmla="*/ 5534 w 5539"/>
                <a:gd name="T125" fmla="*/ 2148 h 4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539" h="4350">
                  <a:moveTo>
                    <a:pt x="5505" y="2072"/>
                  </a:moveTo>
                  <a:lnTo>
                    <a:pt x="5505" y="2072"/>
                  </a:lnTo>
                  <a:lnTo>
                    <a:pt x="5498" y="2054"/>
                  </a:lnTo>
                  <a:lnTo>
                    <a:pt x="5490" y="2035"/>
                  </a:lnTo>
                  <a:lnTo>
                    <a:pt x="5481" y="2019"/>
                  </a:lnTo>
                  <a:lnTo>
                    <a:pt x="5470" y="2004"/>
                  </a:lnTo>
                  <a:lnTo>
                    <a:pt x="5458" y="1988"/>
                  </a:lnTo>
                  <a:lnTo>
                    <a:pt x="5446" y="1973"/>
                  </a:lnTo>
                  <a:lnTo>
                    <a:pt x="5432" y="1960"/>
                  </a:lnTo>
                  <a:lnTo>
                    <a:pt x="5417" y="1948"/>
                  </a:lnTo>
                  <a:lnTo>
                    <a:pt x="5401" y="1937"/>
                  </a:lnTo>
                  <a:lnTo>
                    <a:pt x="5385" y="1928"/>
                  </a:lnTo>
                  <a:lnTo>
                    <a:pt x="5367" y="1920"/>
                  </a:lnTo>
                  <a:lnTo>
                    <a:pt x="5350" y="1912"/>
                  </a:lnTo>
                  <a:lnTo>
                    <a:pt x="5331" y="1907"/>
                  </a:lnTo>
                  <a:lnTo>
                    <a:pt x="5311" y="1903"/>
                  </a:lnTo>
                  <a:lnTo>
                    <a:pt x="5292" y="1900"/>
                  </a:lnTo>
                  <a:lnTo>
                    <a:pt x="5270" y="1900"/>
                  </a:lnTo>
                  <a:lnTo>
                    <a:pt x="5270" y="1900"/>
                  </a:lnTo>
                  <a:lnTo>
                    <a:pt x="5252" y="1900"/>
                  </a:lnTo>
                  <a:lnTo>
                    <a:pt x="5235" y="1903"/>
                  </a:lnTo>
                  <a:lnTo>
                    <a:pt x="5235" y="1903"/>
                  </a:lnTo>
                  <a:lnTo>
                    <a:pt x="5219" y="1892"/>
                  </a:lnTo>
                  <a:lnTo>
                    <a:pt x="5203" y="1883"/>
                  </a:lnTo>
                  <a:lnTo>
                    <a:pt x="5186" y="1875"/>
                  </a:lnTo>
                  <a:lnTo>
                    <a:pt x="5168" y="1870"/>
                  </a:lnTo>
                  <a:lnTo>
                    <a:pt x="5150" y="1864"/>
                  </a:lnTo>
                  <a:lnTo>
                    <a:pt x="5131" y="1861"/>
                  </a:lnTo>
                  <a:lnTo>
                    <a:pt x="5113" y="1858"/>
                  </a:lnTo>
                  <a:lnTo>
                    <a:pt x="5093" y="1858"/>
                  </a:lnTo>
                  <a:lnTo>
                    <a:pt x="5093" y="1858"/>
                  </a:lnTo>
                  <a:lnTo>
                    <a:pt x="5076" y="1858"/>
                  </a:lnTo>
                  <a:lnTo>
                    <a:pt x="5057" y="1861"/>
                  </a:lnTo>
                  <a:lnTo>
                    <a:pt x="5040" y="1863"/>
                  </a:lnTo>
                  <a:lnTo>
                    <a:pt x="5024" y="1867"/>
                  </a:lnTo>
                  <a:lnTo>
                    <a:pt x="5008" y="1872"/>
                  </a:lnTo>
                  <a:lnTo>
                    <a:pt x="4992" y="1879"/>
                  </a:lnTo>
                  <a:lnTo>
                    <a:pt x="4977" y="1887"/>
                  </a:lnTo>
                  <a:lnTo>
                    <a:pt x="4962" y="1895"/>
                  </a:lnTo>
                  <a:lnTo>
                    <a:pt x="4962" y="1895"/>
                  </a:lnTo>
                  <a:lnTo>
                    <a:pt x="4946" y="1882"/>
                  </a:lnTo>
                  <a:lnTo>
                    <a:pt x="4929" y="1871"/>
                  </a:lnTo>
                  <a:lnTo>
                    <a:pt x="4910" y="1861"/>
                  </a:lnTo>
                  <a:lnTo>
                    <a:pt x="4891" y="1853"/>
                  </a:lnTo>
                  <a:lnTo>
                    <a:pt x="4871" y="1846"/>
                  </a:lnTo>
                  <a:lnTo>
                    <a:pt x="4850" y="1842"/>
                  </a:lnTo>
                  <a:lnTo>
                    <a:pt x="4827" y="1838"/>
                  </a:lnTo>
                  <a:lnTo>
                    <a:pt x="4805" y="1838"/>
                  </a:lnTo>
                  <a:lnTo>
                    <a:pt x="4805" y="1838"/>
                  </a:lnTo>
                  <a:lnTo>
                    <a:pt x="4785" y="1838"/>
                  </a:lnTo>
                  <a:lnTo>
                    <a:pt x="4766" y="1841"/>
                  </a:lnTo>
                  <a:lnTo>
                    <a:pt x="4746" y="1845"/>
                  </a:lnTo>
                  <a:lnTo>
                    <a:pt x="4728" y="1850"/>
                  </a:lnTo>
                  <a:lnTo>
                    <a:pt x="4728" y="1850"/>
                  </a:lnTo>
                  <a:lnTo>
                    <a:pt x="4720" y="1834"/>
                  </a:lnTo>
                  <a:lnTo>
                    <a:pt x="4712" y="1819"/>
                  </a:lnTo>
                  <a:lnTo>
                    <a:pt x="4701" y="1806"/>
                  </a:lnTo>
                  <a:lnTo>
                    <a:pt x="4691" y="1793"/>
                  </a:lnTo>
                  <a:lnTo>
                    <a:pt x="4679" y="1780"/>
                  </a:lnTo>
                  <a:lnTo>
                    <a:pt x="4667" y="1768"/>
                  </a:lnTo>
                  <a:lnTo>
                    <a:pt x="4654" y="1757"/>
                  </a:lnTo>
                  <a:lnTo>
                    <a:pt x="4639" y="1748"/>
                  </a:lnTo>
                  <a:lnTo>
                    <a:pt x="4625" y="1739"/>
                  </a:lnTo>
                  <a:lnTo>
                    <a:pt x="4610" y="1731"/>
                  </a:lnTo>
                  <a:lnTo>
                    <a:pt x="4593" y="1724"/>
                  </a:lnTo>
                  <a:lnTo>
                    <a:pt x="4577" y="1719"/>
                  </a:lnTo>
                  <a:lnTo>
                    <a:pt x="4560" y="1714"/>
                  </a:lnTo>
                  <a:lnTo>
                    <a:pt x="4543" y="1711"/>
                  </a:lnTo>
                  <a:lnTo>
                    <a:pt x="4524" y="1708"/>
                  </a:lnTo>
                  <a:lnTo>
                    <a:pt x="4505" y="1708"/>
                  </a:lnTo>
                  <a:lnTo>
                    <a:pt x="4505" y="1708"/>
                  </a:lnTo>
                  <a:lnTo>
                    <a:pt x="4479" y="1710"/>
                  </a:lnTo>
                  <a:lnTo>
                    <a:pt x="4454" y="1714"/>
                  </a:lnTo>
                  <a:lnTo>
                    <a:pt x="4429" y="1720"/>
                  </a:lnTo>
                  <a:lnTo>
                    <a:pt x="4405" y="1729"/>
                  </a:lnTo>
                  <a:lnTo>
                    <a:pt x="4405" y="1729"/>
                  </a:lnTo>
                  <a:lnTo>
                    <a:pt x="4389" y="1720"/>
                  </a:lnTo>
                  <a:lnTo>
                    <a:pt x="4373" y="1711"/>
                  </a:lnTo>
                  <a:lnTo>
                    <a:pt x="4356" y="1703"/>
                  </a:lnTo>
                  <a:lnTo>
                    <a:pt x="4337" y="1696"/>
                  </a:lnTo>
                  <a:lnTo>
                    <a:pt x="4319" y="1691"/>
                  </a:lnTo>
                  <a:lnTo>
                    <a:pt x="4300" y="1687"/>
                  </a:lnTo>
                  <a:lnTo>
                    <a:pt x="4281" y="1684"/>
                  </a:lnTo>
                  <a:lnTo>
                    <a:pt x="4261" y="1683"/>
                  </a:lnTo>
                  <a:lnTo>
                    <a:pt x="4261" y="1683"/>
                  </a:lnTo>
                  <a:lnTo>
                    <a:pt x="4247" y="1684"/>
                  </a:lnTo>
                  <a:lnTo>
                    <a:pt x="4233" y="1686"/>
                  </a:lnTo>
                  <a:lnTo>
                    <a:pt x="4206" y="1690"/>
                  </a:lnTo>
                  <a:lnTo>
                    <a:pt x="4180" y="1698"/>
                  </a:lnTo>
                  <a:lnTo>
                    <a:pt x="4155" y="1708"/>
                  </a:lnTo>
                  <a:lnTo>
                    <a:pt x="4155" y="1708"/>
                  </a:lnTo>
                  <a:lnTo>
                    <a:pt x="4150" y="1686"/>
                  </a:lnTo>
                  <a:lnTo>
                    <a:pt x="4142" y="1665"/>
                  </a:lnTo>
                  <a:lnTo>
                    <a:pt x="4132" y="1643"/>
                  </a:lnTo>
                  <a:lnTo>
                    <a:pt x="4122" y="1623"/>
                  </a:lnTo>
                  <a:lnTo>
                    <a:pt x="4108" y="1604"/>
                  </a:lnTo>
                  <a:lnTo>
                    <a:pt x="4095" y="1585"/>
                  </a:lnTo>
                  <a:lnTo>
                    <a:pt x="4079" y="1568"/>
                  </a:lnTo>
                  <a:lnTo>
                    <a:pt x="4063" y="1551"/>
                  </a:lnTo>
                  <a:lnTo>
                    <a:pt x="4045" y="1535"/>
                  </a:lnTo>
                  <a:lnTo>
                    <a:pt x="4026" y="1519"/>
                  </a:lnTo>
                  <a:lnTo>
                    <a:pt x="4007" y="1506"/>
                  </a:lnTo>
                  <a:lnTo>
                    <a:pt x="3984" y="1494"/>
                  </a:lnTo>
                  <a:lnTo>
                    <a:pt x="3962" y="1482"/>
                  </a:lnTo>
                  <a:lnTo>
                    <a:pt x="3939" y="1473"/>
                  </a:lnTo>
                  <a:lnTo>
                    <a:pt x="3914" y="1465"/>
                  </a:lnTo>
                  <a:lnTo>
                    <a:pt x="3889" y="1457"/>
                  </a:lnTo>
                  <a:lnTo>
                    <a:pt x="3889" y="1457"/>
                  </a:lnTo>
                  <a:lnTo>
                    <a:pt x="3870" y="1454"/>
                  </a:lnTo>
                  <a:lnTo>
                    <a:pt x="3852" y="1450"/>
                  </a:lnTo>
                  <a:lnTo>
                    <a:pt x="3833" y="1449"/>
                  </a:lnTo>
                  <a:lnTo>
                    <a:pt x="3816" y="1447"/>
                  </a:lnTo>
                  <a:lnTo>
                    <a:pt x="3798" y="1447"/>
                  </a:lnTo>
                  <a:lnTo>
                    <a:pt x="3780" y="1447"/>
                  </a:lnTo>
                  <a:lnTo>
                    <a:pt x="3762" y="1449"/>
                  </a:lnTo>
                  <a:lnTo>
                    <a:pt x="3745" y="1451"/>
                  </a:lnTo>
                  <a:lnTo>
                    <a:pt x="3727" y="1455"/>
                  </a:lnTo>
                  <a:lnTo>
                    <a:pt x="3711" y="1458"/>
                  </a:lnTo>
                  <a:lnTo>
                    <a:pt x="3694" y="1463"/>
                  </a:lnTo>
                  <a:lnTo>
                    <a:pt x="3678" y="1469"/>
                  </a:lnTo>
                  <a:lnTo>
                    <a:pt x="3663" y="1475"/>
                  </a:lnTo>
                  <a:lnTo>
                    <a:pt x="3648" y="1482"/>
                  </a:lnTo>
                  <a:lnTo>
                    <a:pt x="3632" y="1488"/>
                  </a:lnTo>
                  <a:lnTo>
                    <a:pt x="3618" y="1498"/>
                  </a:lnTo>
                  <a:lnTo>
                    <a:pt x="3618" y="1498"/>
                  </a:lnTo>
                  <a:lnTo>
                    <a:pt x="3610" y="1484"/>
                  </a:lnTo>
                  <a:lnTo>
                    <a:pt x="3600" y="1473"/>
                  </a:lnTo>
                  <a:lnTo>
                    <a:pt x="3591" y="1461"/>
                  </a:lnTo>
                  <a:lnTo>
                    <a:pt x="3579" y="1450"/>
                  </a:lnTo>
                  <a:lnTo>
                    <a:pt x="3569" y="1439"/>
                  </a:lnTo>
                  <a:lnTo>
                    <a:pt x="3557" y="1430"/>
                  </a:lnTo>
                  <a:lnTo>
                    <a:pt x="3543" y="1421"/>
                  </a:lnTo>
                  <a:lnTo>
                    <a:pt x="3530" y="1413"/>
                  </a:lnTo>
                  <a:lnTo>
                    <a:pt x="3517" y="1406"/>
                  </a:lnTo>
                  <a:lnTo>
                    <a:pt x="3504" y="1400"/>
                  </a:lnTo>
                  <a:lnTo>
                    <a:pt x="3488" y="1394"/>
                  </a:lnTo>
                  <a:lnTo>
                    <a:pt x="3473" y="1389"/>
                  </a:lnTo>
                  <a:lnTo>
                    <a:pt x="3457" y="1385"/>
                  </a:lnTo>
                  <a:lnTo>
                    <a:pt x="3443" y="1382"/>
                  </a:lnTo>
                  <a:lnTo>
                    <a:pt x="3426" y="1381"/>
                  </a:lnTo>
                  <a:lnTo>
                    <a:pt x="3410" y="1381"/>
                  </a:lnTo>
                  <a:lnTo>
                    <a:pt x="3410" y="1381"/>
                  </a:lnTo>
                  <a:lnTo>
                    <a:pt x="3393" y="1381"/>
                  </a:lnTo>
                  <a:lnTo>
                    <a:pt x="3375" y="1384"/>
                  </a:lnTo>
                  <a:lnTo>
                    <a:pt x="3358" y="1386"/>
                  </a:lnTo>
                  <a:lnTo>
                    <a:pt x="3342" y="1390"/>
                  </a:lnTo>
                  <a:lnTo>
                    <a:pt x="3342" y="1390"/>
                  </a:lnTo>
                  <a:lnTo>
                    <a:pt x="3337" y="1369"/>
                  </a:lnTo>
                  <a:lnTo>
                    <a:pt x="3330" y="1349"/>
                  </a:lnTo>
                  <a:lnTo>
                    <a:pt x="3322" y="1331"/>
                  </a:lnTo>
                  <a:lnTo>
                    <a:pt x="3312" y="1312"/>
                  </a:lnTo>
                  <a:lnTo>
                    <a:pt x="3300" y="1295"/>
                  </a:lnTo>
                  <a:lnTo>
                    <a:pt x="3288" y="1279"/>
                  </a:lnTo>
                  <a:lnTo>
                    <a:pt x="3273" y="1263"/>
                  </a:lnTo>
                  <a:lnTo>
                    <a:pt x="3259" y="1250"/>
                  </a:lnTo>
                  <a:lnTo>
                    <a:pt x="3242" y="1237"/>
                  </a:lnTo>
                  <a:lnTo>
                    <a:pt x="3225" y="1226"/>
                  </a:lnTo>
                  <a:lnTo>
                    <a:pt x="3206" y="1217"/>
                  </a:lnTo>
                  <a:lnTo>
                    <a:pt x="3186" y="1209"/>
                  </a:lnTo>
                  <a:lnTo>
                    <a:pt x="3166" y="1202"/>
                  </a:lnTo>
                  <a:lnTo>
                    <a:pt x="3145" y="1197"/>
                  </a:lnTo>
                  <a:lnTo>
                    <a:pt x="3124" y="1194"/>
                  </a:lnTo>
                  <a:lnTo>
                    <a:pt x="3103" y="1193"/>
                  </a:lnTo>
                  <a:lnTo>
                    <a:pt x="3103" y="1193"/>
                  </a:lnTo>
                  <a:lnTo>
                    <a:pt x="3083" y="1194"/>
                  </a:lnTo>
                  <a:lnTo>
                    <a:pt x="3063" y="1197"/>
                  </a:lnTo>
                  <a:lnTo>
                    <a:pt x="3045" y="1201"/>
                  </a:lnTo>
                  <a:lnTo>
                    <a:pt x="3026" y="1206"/>
                  </a:lnTo>
                  <a:lnTo>
                    <a:pt x="3007" y="1213"/>
                  </a:lnTo>
                  <a:lnTo>
                    <a:pt x="2990" y="1221"/>
                  </a:lnTo>
                  <a:lnTo>
                    <a:pt x="2974" y="1230"/>
                  </a:lnTo>
                  <a:lnTo>
                    <a:pt x="2959" y="1239"/>
                  </a:lnTo>
                  <a:lnTo>
                    <a:pt x="2944" y="1251"/>
                  </a:lnTo>
                  <a:lnTo>
                    <a:pt x="2931" y="1263"/>
                  </a:lnTo>
                  <a:lnTo>
                    <a:pt x="2917" y="1278"/>
                  </a:lnTo>
                  <a:lnTo>
                    <a:pt x="2906" y="1292"/>
                  </a:lnTo>
                  <a:lnTo>
                    <a:pt x="2895" y="1307"/>
                  </a:lnTo>
                  <a:lnTo>
                    <a:pt x="2886" y="1323"/>
                  </a:lnTo>
                  <a:lnTo>
                    <a:pt x="2878" y="1340"/>
                  </a:lnTo>
                  <a:lnTo>
                    <a:pt x="2871" y="1357"/>
                  </a:lnTo>
                  <a:lnTo>
                    <a:pt x="2871" y="1357"/>
                  </a:lnTo>
                  <a:lnTo>
                    <a:pt x="2867" y="1328"/>
                  </a:lnTo>
                  <a:lnTo>
                    <a:pt x="2861" y="1300"/>
                  </a:lnTo>
                  <a:lnTo>
                    <a:pt x="2853" y="1273"/>
                  </a:lnTo>
                  <a:lnTo>
                    <a:pt x="2841" y="1247"/>
                  </a:lnTo>
                  <a:lnTo>
                    <a:pt x="2828" y="1222"/>
                  </a:lnTo>
                  <a:lnTo>
                    <a:pt x="2812" y="1198"/>
                  </a:lnTo>
                  <a:lnTo>
                    <a:pt x="2794" y="1177"/>
                  </a:lnTo>
                  <a:lnTo>
                    <a:pt x="2775" y="1157"/>
                  </a:lnTo>
                  <a:lnTo>
                    <a:pt x="2753" y="1139"/>
                  </a:lnTo>
                  <a:lnTo>
                    <a:pt x="2731" y="1123"/>
                  </a:lnTo>
                  <a:lnTo>
                    <a:pt x="2706" y="1108"/>
                  </a:lnTo>
                  <a:lnTo>
                    <a:pt x="2681" y="1096"/>
                  </a:lnTo>
                  <a:lnTo>
                    <a:pt x="2653" y="1087"/>
                  </a:lnTo>
                  <a:lnTo>
                    <a:pt x="2625" y="1081"/>
                  </a:lnTo>
                  <a:lnTo>
                    <a:pt x="2596" y="1077"/>
                  </a:lnTo>
                  <a:lnTo>
                    <a:pt x="2565" y="1075"/>
                  </a:lnTo>
                  <a:lnTo>
                    <a:pt x="2565" y="1075"/>
                  </a:lnTo>
                  <a:lnTo>
                    <a:pt x="2540" y="1075"/>
                  </a:lnTo>
                  <a:lnTo>
                    <a:pt x="2515" y="1079"/>
                  </a:lnTo>
                  <a:lnTo>
                    <a:pt x="2491" y="1085"/>
                  </a:lnTo>
                  <a:lnTo>
                    <a:pt x="2469" y="1091"/>
                  </a:lnTo>
                  <a:lnTo>
                    <a:pt x="2469" y="1091"/>
                  </a:lnTo>
                  <a:lnTo>
                    <a:pt x="2460" y="1078"/>
                  </a:lnTo>
                  <a:lnTo>
                    <a:pt x="2450" y="1066"/>
                  </a:lnTo>
                  <a:lnTo>
                    <a:pt x="2441" y="1054"/>
                  </a:lnTo>
                  <a:lnTo>
                    <a:pt x="2431" y="1043"/>
                  </a:lnTo>
                  <a:lnTo>
                    <a:pt x="2419" y="1033"/>
                  </a:lnTo>
                  <a:lnTo>
                    <a:pt x="2407" y="1024"/>
                  </a:lnTo>
                  <a:lnTo>
                    <a:pt x="2393" y="1014"/>
                  </a:lnTo>
                  <a:lnTo>
                    <a:pt x="2382" y="1006"/>
                  </a:lnTo>
                  <a:lnTo>
                    <a:pt x="2367" y="1000"/>
                  </a:lnTo>
                  <a:lnTo>
                    <a:pt x="2354" y="993"/>
                  </a:lnTo>
                  <a:lnTo>
                    <a:pt x="2339" y="988"/>
                  </a:lnTo>
                  <a:lnTo>
                    <a:pt x="2323" y="983"/>
                  </a:lnTo>
                  <a:lnTo>
                    <a:pt x="2309" y="980"/>
                  </a:lnTo>
                  <a:lnTo>
                    <a:pt x="2293" y="977"/>
                  </a:lnTo>
                  <a:lnTo>
                    <a:pt x="2277" y="976"/>
                  </a:lnTo>
                  <a:lnTo>
                    <a:pt x="2260" y="975"/>
                  </a:lnTo>
                  <a:lnTo>
                    <a:pt x="2260" y="975"/>
                  </a:lnTo>
                  <a:lnTo>
                    <a:pt x="2245" y="975"/>
                  </a:lnTo>
                  <a:lnTo>
                    <a:pt x="2231" y="976"/>
                  </a:lnTo>
                  <a:lnTo>
                    <a:pt x="2217" y="979"/>
                  </a:lnTo>
                  <a:lnTo>
                    <a:pt x="2204" y="981"/>
                  </a:lnTo>
                  <a:lnTo>
                    <a:pt x="2190" y="985"/>
                  </a:lnTo>
                  <a:lnTo>
                    <a:pt x="2176" y="989"/>
                  </a:lnTo>
                  <a:lnTo>
                    <a:pt x="2151" y="1000"/>
                  </a:lnTo>
                  <a:lnTo>
                    <a:pt x="2151" y="1000"/>
                  </a:lnTo>
                  <a:lnTo>
                    <a:pt x="2138" y="975"/>
                  </a:lnTo>
                  <a:lnTo>
                    <a:pt x="2121" y="949"/>
                  </a:lnTo>
                  <a:lnTo>
                    <a:pt x="2104" y="927"/>
                  </a:lnTo>
                  <a:lnTo>
                    <a:pt x="2084" y="906"/>
                  </a:lnTo>
                  <a:lnTo>
                    <a:pt x="2063" y="886"/>
                  </a:lnTo>
                  <a:lnTo>
                    <a:pt x="2040" y="867"/>
                  </a:lnTo>
                  <a:lnTo>
                    <a:pt x="2015" y="850"/>
                  </a:lnTo>
                  <a:lnTo>
                    <a:pt x="1990" y="836"/>
                  </a:lnTo>
                  <a:lnTo>
                    <a:pt x="1990" y="836"/>
                  </a:lnTo>
                  <a:lnTo>
                    <a:pt x="1999" y="818"/>
                  </a:lnTo>
                  <a:lnTo>
                    <a:pt x="2008" y="800"/>
                  </a:lnTo>
                  <a:lnTo>
                    <a:pt x="2016" y="781"/>
                  </a:lnTo>
                  <a:lnTo>
                    <a:pt x="2022" y="761"/>
                  </a:lnTo>
                  <a:lnTo>
                    <a:pt x="2027" y="742"/>
                  </a:lnTo>
                  <a:lnTo>
                    <a:pt x="2031" y="720"/>
                  </a:lnTo>
                  <a:lnTo>
                    <a:pt x="2032" y="701"/>
                  </a:lnTo>
                  <a:lnTo>
                    <a:pt x="2034" y="678"/>
                  </a:lnTo>
                  <a:lnTo>
                    <a:pt x="2034" y="678"/>
                  </a:lnTo>
                  <a:lnTo>
                    <a:pt x="2034" y="661"/>
                  </a:lnTo>
                  <a:lnTo>
                    <a:pt x="2031" y="645"/>
                  </a:lnTo>
                  <a:lnTo>
                    <a:pt x="2030" y="628"/>
                  </a:lnTo>
                  <a:lnTo>
                    <a:pt x="2026" y="612"/>
                  </a:lnTo>
                  <a:lnTo>
                    <a:pt x="2026" y="612"/>
                  </a:lnTo>
                  <a:lnTo>
                    <a:pt x="2045" y="606"/>
                  </a:lnTo>
                  <a:lnTo>
                    <a:pt x="2065" y="599"/>
                  </a:lnTo>
                  <a:lnTo>
                    <a:pt x="2084" y="591"/>
                  </a:lnTo>
                  <a:lnTo>
                    <a:pt x="2102" y="580"/>
                  </a:lnTo>
                  <a:lnTo>
                    <a:pt x="2118" y="568"/>
                  </a:lnTo>
                  <a:lnTo>
                    <a:pt x="2134" y="556"/>
                  </a:lnTo>
                  <a:lnTo>
                    <a:pt x="2149" y="542"/>
                  </a:lnTo>
                  <a:lnTo>
                    <a:pt x="2162" y="527"/>
                  </a:lnTo>
                  <a:lnTo>
                    <a:pt x="2175" y="510"/>
                  </a:lnTo>
                  <a:lnTo>
                    <a:pt x="2186" y="493"/>
                  </a:lnTo>
                  <a:lnTo>
                    <a:pt x="2195" y="474"/>
                  </a:lnTo>
                  <a:lnTo>
                    <a:pt x="2203" y="456"/>
                  </a:lnTo>
                  <a:lnTo>
                    <a:pt x="2208" y="436"/>
                  </a:lnTo>
                  <a:lnTo>
                    <a:pt x="2213" y="416"/>
                  </a:lnTo>
                  <a:lnTo>
                    <a:pt x="2216" y="395"/>
                  </a:lnTo>
                  <a:lnTo>
                    <a:pt x="2217" y="372"/>
                  </a:lnTo>
                  <a:lnTo>
                    <a:pt x="2217" y="372"/>
                  </a:lnTo>
                  <a:lnTo>
                    <a:pt x="2216" y="352"/>
                  </a:lnTo>
                  <a:lnTo>
                    <a:pt x="2213" y="334"/>
                  </a:lnTo>
                  <a:lnTo>
                    <a:pt x="2210" y="315"/>
                  </a:lnTo>
                  <a:lnTo>
                    <a:pt x="2206" y="297"/>
                  </a:lnTo>
                  <a:lnTo>
                    <a:pt x="2206" y="297"/>
                  </a:lnTo>
                  <a:lnTo>
                    <a:pt x="2231" y="289"/>
                  </a:lnTo>
                  <a:lnTo>
                    <a:pt x="2255" y="278"/>
                  </a:lnTo>
                  <a:lnTo>
                    <a:pt x="2278" y="267"/>
                  </a:lnTo>
                  <a:lnTo>
                    <a:pt x="2301" y="254"/>
                  </a:lnTo>
                  <a:lnTo>
                    <a:pt x="2322" y="240"/>
                  </a:lnTo>
                  <a:lnTo>
                    <a:pt x="2343" y="224"/>
                  </a:lnTo>
                  <a:lnTo>
                    <a:pt x="2362" y="205"/>
                  </a:lnTo>
                  <a:lnTo>
                    <a:pt x="2380" y="187"/>
                  </a:lnTo>
                  <a:lnTo>
                    <a:pt x="2396" y="167"/>
                  </a:lnTo>
                  <a:lnTo>
                    <a:pt x="2412" y="147"/>
                  </a:lnTo>
                  <a:lnTo>
                    <a:pt x="2425" y="124"/>
                  </a:lnTo>
                  <a:lnTo>
                    <a:pt x="2438" y="101"/>
                  </a:lnTo>
                  <a:lnTo>
                    <a:pt x="2449" y="77"/>
                  </a:lnTo>
                  <a:lnTo>
                    <a:pt x="2458" y="53"/>
                  </a:lnTo>
                  <a:lnTo>
                    <a:pt x="2465" y="26"/>
                  </a:lnTo>
                  <a:lnTo>
                    <a:pt x="2470" y="0"/>
                  </a:lnTo>
                  <a:lnTo>
                    <a:pt x="0" y="0"/>
                  </a:lnTo>
                  <a:lnTo>
                    <a:pt x="0" y="338"/>
                  </a:lnTo>
                  <a:lnTo>
                    <a:pt x="0" y="524"/>
                  </a:lnTo>
                  <a:lnTo>
                    <a:pt x="0" y="3631"/>
                  </a:lnTo>
                  <a:lnTo>
                    <a:pt x="0" y="3925"/>
                  </a:lnTo>
                  <a:lnTo>
                    <a:pt x="0" y="4350"/>
                  </a:lnTo>
                  <a:lnTo>
                    <a:pt x="2560" y="4350"/>
                  </a:lnTo>
                  <a:lnTo>
                    <a:pt x="2560" y="4350"/>
                  </a:lnTo>
                  <a:lnTo>
                    <a:pt x="2564" y="4317"/>
                  </a:lnTo>
                  <a:lnTo>
                    <a:pt x="2565" y="4284"/>
                  </a:lnTo>
                  <a:lnTo>
                    <a:pt x="2565" y="4284"/>
                  </a:lnTo>
                  <a:lnTo>
                    <a:pt x="2565" y="4265"/>
                  </a:lnTo>
                  <a:lnTo>
                    <a:pt x="2564" y="4245"/>
                  </a:lnTo>
                  <a:lnTo>
                    <a:pt x="2562" y="4227"/>
                  </a:lnTo>
                  <a:lnTo>
                    <a:pt x="2559" y="4208"/>
                  </a:lnTo>
                  <a:lnTo>
                    <a:pt x="2555" y="4191"/>
                  </a:lnTo>
                  <a:lnTo>
                    <a:pt x="2550" y="4173"/>
                  </a:lnTo>
                  <a:lnTo>
                    <a:pt x="2543" y="4155"/>
                  </a:lnTo>
                  <a:lnTo>
                    <a:pt x="2536" y="4138"/>
                  </a:lnTo>
                  <a:lnTo>
                    <a:pt x="2530" y="4122"/>
                  </a:lnTo>
                  <a:lnTo>
                    <a:pt x="2520" y="4105"/>
                  </a:lnTo>
                  <a:lnTo>
                    <a:pt x="2511" y="4090"/>
                  </a:lnTo>
                  <a:lnTo>
                    <a:pt x="2502" y="4075"/>
                  </a:lnTo>
                  <a:lnTo>
                    <a:pt x="2491" y="4060"/>
                  </a:lnTo>
                  <a:lnTo>
                    <a:pt x="2481" y="4045"/>
                  </a:lnTo>
                  <a:lnTo>
                    <a:pt x="2469" y="4032"/>
                  </a:lnTo>
                  <a:lnTo>
                    <a:pt x="2457" y="4019"/>
                  </a:lnTo>
                  <a:lnTo>
                    <a:pt x="2444" y="4007"/>
                  </a:lnTo>
                  <a:lnTo>
                    <a:pt x="2429" y="3995"/>
                  </a:lnTo>
                  <a:lnTo>
                    <a:pt x="2416" y="3985"/>
                  </a:lnTo>
                  <a:lnTo>
                    <a:pt x="2401" y="3974"/>
                  </a:lnTo>
                  <a:lnTo>
                    <a:pt x="2386" y="3963"/>
                  </a:lnTo>
                  <a:lnTo>
                    <a:pt x="2370" y="3955"/>
                  </a:lnTo>
                  <a:lnTo>
                    <a:pt x="2354" y="3946"/>
                  </a:lnTo>
                  <a:lnTo>
                    <a:pt x="2338" y="3939"/>
                  </a:lnTo>
                  <a:lnTo>
                    <a:pt x="2321" y="3933"/>
                  </a:lnTo>
                  <a:lnTo>
                    <a:pt x="2303" y="3926"/>
                  </a:lnTo>
                  <a:lnTo>
                    <a:pt x="2285" y="3921"/>
                  </a:lnTo>
                  <a:lnTo>
                    <a:pt x="2268" y="3917"/>
                  </a:lnTo>
                  <a:lnTo>
                    <a:pt x="2249" y="3914"/>
                  </a:lnTo>
                  <a:lnTo>
                    <a:pt x="2229" y="3912"/>
                  </a:lnTo>
                  <a:lnTo>
                    <a:pt x="2211" y="3910"/>
                  </a:lnTo>
                  <a:lnTo>
                    <a:pt x="2192" y="3909"/>
                  </a:lnTo>
                  <a:lnTo>
                    <a:pt x="2192" y="3909"/>
                  </a:lnTo>
                  <a:lnTo>
                    <a:pt x="2163" y="3910"/>
                  </a:lnTo>
                  <a:lnTo>
                    <a:pt x="2135" y="3914"/>
                  </a:lnTo>
                  <a:lnTo>
                    <a:pt x="2109" y="3918"/>
                  </a:lnTo>
                  <a:lnTo>
                    <a:pt x="2082" y="3926"/>
                  </a:lnTo>
                  <a:lnTo>
                    <a:pt x="2082" y="3926"/>
                  </a:lnTo>
                  <a:lnTo>
                    <a:pt x="2079" y="3910"/>
                  </a:lnTo>
                  <a:lnTo>
                    <a:pt x="2073" y="3896"/>
                  </a:lnTo>
                  <a:lnTo>
                    <a:pt x="2068" y="3881"/>
                  </a:lnTo>
                  <a:lnTo>
                    <a:pt x="2061" y="3868"/>
                  </a:lnTo>
                  <a:lnTo>
                    <a:pt x="2055" y="3855"/>
                  </a:lnTo>
                  <a:lnTo>
                    <a:pt x="2047" y="3842"/>
                  </a:lnTo>
                  <a:lnTo>
                    <a:pt x="2037" y="3830"/>
                  </a:lnTo>
                  <a:lnTo>
                    <a:pt x="2028" y="3818"/>
                  </a:lnTo>
                  <a:lnTo>
                    <a:pt x="2019" y="3807"/>
                  </a:lnTo>
                  <a:lnTo>
                    <a:pt x="2007" y="3796"/>
                  </a:lnTo>
                  <a:lnTo>
                    <a:pt x="1996" y="3786"/>
                  </a:lnTo>
                  <a:lnTo>
                    <a:pt x="1985" y="3778"/>
                  </a:lnTo>
                  <a:lnTo>
                    <a:pt x="1971" y="3769"/>
                  </a:lnTo>
                  <a:lnTo>
                    <a:pt x="1958" y="3762"/>
                  </a:lnTo>
                  <a:lnTo>
                    <a:pt x="1945" y="3754"/>
                  </a:lnTo>
                  <a:lnTo>
                    <a:pt x="1930" y="3749"/>
                  </a:lnTo>
                  <a:lnTo>
                    <a:pt x="1930" y="3749"/>
                  </a:lnTo>
                  <a:lnTo>
                    <a:pt x="1934" y="3718"/>
                  </a:lnTo>
                  <a:lnTo>
                    <a:pt x="1936" y="3687"/>
                  </a:lnTo>
                  <a:lnTo>
                    <a:pt x="1936" y="3687"/>
                  </a:lnTo>
                  <a:lnTo>
                    <a:pt x="1936" y="3663"/>
                  </a:lnTo>
                  <a:lnTo>
                    <a:pt x="1933" y="3639"/>
                  </a:lnTo>
                  <a:lnTo>
                    <a:pt x="1930" y="3616"/>
                  </a:lnTo>
                  <a:lnTo>
                    <a:pt x="1925" y="3594"/>
                  </a:lnTo>
                  <a:lnTo>
                    <a:pt x="1918" y="3573"/>
                  </a:lnTo>
                  <a:lnTo>
                    <a:pt x="1910" y="3550"/>
                  </a:lnTo>
                  <a:lnTo>
                    <a:pt x="1902" y="3530"/>
                  </a:lnTo>
                  <a:lnTo>
                    <a:pt x="1892" y="3510"/>
                  </a:lnTo>
                  <a:lnTo>
                    <a:pt x="1892" y="3510"/>
                  </a:lnTo>
                  <a:lnTo>
                    <a:pt x="1904" y="3501"/>
                  </a:lnTo>
                  <a:lnTo>
                    <a:pt x="1914" y="3492"/>
                  </a:lnTo>
                  <a:lnTo>
                    <a:pt x="1925" y="3483"/>
                  </a:lnTo>
                  <a:lnTo>
                    <a:pt x="1934" y="3472"/>
                  </a:lnTo>
                  <a:lnTo>
                    <a:pt x="1944" y="3460"/>
                  </a:lnTo>
                  <a:lnTo>
                    <a:pt x="1951" y="3450"/>
                  </a:lnTo>
                  <a:lnTo>
                    <a:pt x="1959" y="3438"/>
                  </a:lnTo>
                  <a:lnTo>
                    <a:pt x="1966" y="3424"/>
                  </a:lnTo>
                  <a:lnTo>
                    <a:pt x="1973" y="3412"/>
                  </a:lnTo>
                  <a:lnTo>
                    <a:pt x="1978" y="3399"/>
                  </a:lnTo>
                  <a:lnTo>
                    <a:pt x="1982" y="3385"/>
                  </a:lnTo>
                  <a:lnTo>
                    <a:pt x="1986" y="3371"/>
                  </a:lnTo>
                  <a:lnTo>
                    <a:pt x="1990" y="3357"/>
                  </a:lnTo>
                  <a:lnTo>
                    <a:pt x="1992" y="3342"/>
                  </a:lnTo>
                  <a:lnTo>
                    <a:pt x="1994" y="3326"/>
                  </a:lnTo>
                  <a:lnTo>
                    <a:pt x="1994" y="3312"/>
                  </a:lnTo>
                  <a:lnTo>
                    <a:pt x="1994" y="3312"/>
                  </a:lnTo>
                  <a:lnTo>
                    <a:pt x="1992" y="3288"/>
                  </a:lnTo>
                  <a:lnTo>
                    <a:pt x="1992" y="3288"/>
                  </a:lnTo>
                  <a:lnTo>
                    <a:pt x="2010" y="3303"/>
                  </a:lnTo>
                  <a:lnTo>
                    <a:pt x="2028" y="3316"/>
                  </a:lnTo>
                  <a:lnTo>
                    <a:pt x="2048" y="3326"/>
                  </a:lnTo>
                  <a:lnTo>
                    <a:pt x="2068" y="3336"/>
                  </a:lnTo>
                  <a:lnTo>
                    <a:pt x="2090" y="3344"/>
                  </a:lnTo>
                  <a:lnTo>
                    <a:pt x="2112" y="3349"/>
                  </a:lnTo>
                  <a:lnTo>
                    <a:pt x="2135" y="3353"/>
                  </a:lnTo>
                  <a:lnTo>
                    <a:pt x="2159" y="3354"/>
                  </a:lnTo>
                  <a:lnTo>
                    <a:pt x="2159" y="3354"/>
                  </a:lnTo>
                  <a:lnTo>
                    <a:pt x="2176" y="3353"/>
                  </a:lnTo>
                  <a:lnTo>
                    <a:pt x="2194" y="3352"/>
                  </a:lnTo>
                  <a:lnTo>
                    <a:pt x="2211" y="3349"/>
                  </a:lnTo>
                  <a:lnTo>
                    <a:pt x="2227" y="3344"/>
                  </a:lnTo>
                  <a:lnTo>
                    <a:pt x="2243" y="3340"/>
                  </a:lnTo>
                  <a:lnTo>
                    <a:pt x="2258" y="3333"/>
                  </a:lnTo>
                  <a:lnTo>
                    <a:pt x="2273" y="3326"/>
                  </a:lnTo>
                  <a:lnTo>
                    <a:pt x="2286" y="3318"/>
                  </a:lnTo>
                  <a:lnTo>
                    <a:pt x="2301" y="3309"/>
                  </a:lnTo>
                  <a:lnTo>
                    <a:pt x="2314" y="3299"/>
                  </a:lnTo>
                  <a:lnTo>
                    <a:pt x="2326" y="3288"/>
                  </a:lnTo>
                  <a:lnTo>
                    <a:pt x="2338" y="3277"/>
                  </a:lnTo>
                  <a:lnTo>
                    <a:pt x="2348" y="3264"/>
                  </a:lnTo>
                  <a:lnTo>
                    <a:pt x="2358" y="3252"/>
                  </a:lnTo>
                  <a:lnTo>
                    <a:pt x="2367" y="3239"/>
                  </a:lnTo>
                  <a:lnTo>
                    <a:pt x="2375" y="3224"/>
                  </a:lnTo>
                  <a:lnTo>
                    <a:pt x="2375" y="3224"/>
                  </a:lnTo>
                  <a:lnTo>
                    <a:pt x="2387" y="3231"/>
                  </a:lnTo>
                  <a:lnTo>
                    <a:pt x="2397" y="3236"/>
                  </a:lnTo>
                  <a:lnTo>
                    <a:pt x="2411" y="3242"/>
                  </a:lnTo>
                  <a:lnTo>
                    <a:pt x="2423" y="3246"/>
                  </a:lnTo>
                  <a:lnTo>
                    <a:pt x="2436" y="3250"/>
                  </a:lnTo>
                  <a:lnTo>
                    <a:pt x="2449" y="3252"/>
                  </a:lnTo>
                  <a:lnTo>
                    <a:pt x="2462" y="3254"/>
                  </a:lnTo>
                  <a:lnTo>
                    <a:pt x="2475" y="3254"/>
                  </a:lnTo>
                  <a:lnTo>
                    <a:pt x="2475" y="3254"/>
                  </a:lnTo>
                  <a:lnTo>
                    <a:pt x="2495" y="3254"/>
                  </a:lnTo>
                  <a:lnTo>
                    <a:pt x="2513" y="3251"/>
                  </a:lnTo>
                  <a:lnTo>
                    <a:pt x="2531" y="3246"/>
                  </a:lnTo>
                  <a:lnTo>
                    <a:pt x="2547" y="3240"/>
                  </a:lnTo>
                  <a:lnTo>
                    <a:pt x="2563" y="3232"/>
                  </a:lnTo>
                  <a:lnTo>
                    <a:pt x="2579" y="3223"/>
                  </a:lnTo>
                  <a:lnTo>
                    <a:pt x="2593" y="3213"/>
                  </a:lnTo>
                  <a:lnTo>
                    <a:pt x="2607" y="3202"/>
                  </a:lnTo>
                  <a:lnTo>
                    <a:pt x="2618" y="3189"/>
                  </a:lnTo>
                  <a:lnTo>
                    <a:pt x="2629" y="3174"/>
                  </a:lnTo>
                  <a:lnTo>
                    <a:pt x="2638" y="3160"/>
                  </a:lnTo>
                  <a:lnTo>
                    <a:pt x="2646" y="3144"/>
                  </a:lnTo>
                  <a:lnTo>
                    <a:pt x="2653" y="3128"/>
                  </a:lnTo>
                  <a:lnTo>
                    <a:pt x="2658" y="3111"/>
                  </a:lnTo>
                  <a:lnTo>
                    <a:pt x="2661" y="3092"/>
                  </a:lnTo>
                  <a:lnTo>
                    <a:pt x="2663" y="3073"/>
                  </a:lnTo>
                  <a:lnTo>
                    <a:pt x="2663" y="3073"/>
                  </a:lnTo>
                  <a:lnTo>
                    <a:pt x="2669" y="3073"/>
                  </a:lnTo>
                  <a:lnTo>
                    <a:pt x="2669" y="3073"/>
                  </a:lnTo>
                  <a:lnTo>
                    <a:pt x="2691" y="3073"/>
                  </a:lnTo>
                  <a:lnTo>
                    <a:pt x="2715" y="3071"/>
                  </a:lnTo>
                  <a:lnTo>
                    <a:pt x="2736" y="3066"/>
                  </a:lnTo>
                  <a:lnTo>
                    <a:pt x="2759" y="3060"/>
                  </a:lnTo>
                  <a:lnTo>
                    <a:pt x="2780" y="3054"/>
                  </a:lnTo>
                  <a:lnTo>
                    <a:pt x="2800" y="3044"/>
                  </a:lnTo>
                  <a:lnTo>
                    <a:pt x="2820" y="3034"/>
                  </a:lnTo>
                  <a:lnTo>
                    <a:pt x="2838" y="3023"/>
                  </a:lnTo>
                  <a:lnTo>
                    <a:pt x="2855" y="3010"/>
                  </a:lnTo>
                  <a:lnTo>
                    <a:pt x="2872" y="2995"/>
                  </a:lnTo>
                  <a:lnTo>
                    <a:pt x="2888" y="2981"/>
                  </a:lnTo>
                  <a:lnTo>
                    <a:pt x="2903" y="2965"/>
                  </a:lnTo>
                  <a:lnTo>
                    <a:pt x="2916" y="2948"/>
                  </a:lnTo>
                  <a:lnTo>
                    <a:pt x="2928" y="2929"/>
                  </a:lnTo>
                  <a:lnTo>
                    <a:pt x="2939" y="2909"/>
                  </a:lnTo>
                  <a:lnTo>
                    <a:pt x="2949" y="2889"/>
                  </a:lnTo>
                  <a:lnTo>
                    <a:pt x="2949" y="2889"/>
                  </a:lnTo>
                  <a:lnTo>
                    <a:pt x="2965" y="2903"/>
                  </a:lnTo>
                  <a:lnTo>
                    <a:pt x="2982" y="2913"/>
                  </a:lnTo>
                  <a:lnTo>
                    <a:pt x="3001" y="2923"/>
                  </a:lnTo>
                  <a:lnTo>
                    <a:pt x="3019" y="2929"/>
                  </a:lnTo>
                  <a:lnTo>
                    <a:pt x="3039" y="2936"/>
                  </a:lnTo>
                  <a:lnTo>
                    <a:pt x="3059" y="2941"/>
                  </a:lnTo>
                  <a:lnTo>
                    <a:pt x="3080" y="2944"/>
                  </a:lnTo>
                  <a:lnTo>
                    <a:pt x="3103" y="2944"/>
                  </a:lnTo>
                  <a:lnTo>
                    <a:pt x="3103" y="2944"/>
                  </a:lnTo>
                  <a:lnTo>
                    <a:pt x="3125" y="2944"/>
                  </a:lnTo>
                  <a:lnTo>
                    <a:pt x="3149" y="2940"/>
                  </a:lnTo>
                  <a:lnTo>
                    <a:pt x="3172" y="2934"/>
                  </a:lnTo>
                  <a:lnTo>
                    <a:pt x="3193" y="2926"/>
                  </a:lnTo>
                  <a:lnTo>
                    <a:pt x="3213" y="2917"/>
                  </a:lnTo>
                  <a:lnTo>
                    <a:pt x="3232" y="2907"/>
                  </a:lnTo>
                  <a:lnTo>
                    <a:pt x="3251" y="2893"/>
                  </a:lnTo>
                  <a:lnTo>
                    <a:pt x="3268" y="2880"/>
                  </a:lnTo>
                  <a:lnTo>
                    <a:pt x="3268" y="2880"/>
                  </a:lnTo>
                  <a:lnTo>
                    <a:pt x="3284" y="2885"/>
                  </a:lnTo>
                  <a:lnTo>
                    <a:pt x="3300" y="2891"/>
                  </a:lnTo>
                  <a:lnTo>
                    <a:pt x="3317" y="2895"/>
                  </a:lnTo>
                  <a:lnTo>
                    <a:pt x="3336" y="2897"/>
                  </a:lnTo>
                  <a:lnTo>
                    <a:pt x="3353" y="2901"/>
                  </a:lnTo>
                  <a:lnTo>
                    <a:pt x="3371" y="2903"/>
                  </a:lnTo>
                  <a:lnTo>
                    <a:pt x="3391" y="2904"/>
                  </a:lnTo>
                  <a:lnTo>
                    <a:pt x="3410" y="2904"/>
                  </a:lnTo>
                  <a:lnTo>
                    <a:pt x="3410" y="2904"/>
                  </a:lnTo>
                  <a:lnTo>
                    <a:pt x="3435" y="2904"/>
                  </a:lnTo>
                  <a:lnTo>
                    <a:pt x="3459" y="2901"/>
                  </a:lnTo>
                  <a:lnTo>
                    <a:pt x="3483" y="2899"/>
                  </a:lnTo>
                  <a:lnTo>
                    <a:pt x="3506" y="2893"/>
                  </a:lnTo>
                  <a:lnTo>
                    <a:pt x="3528" y="2888"/>
                  </a:lnTo>
                  <a:lnTo>
                    <a:pt x="3549" y="2880"/>
                  </a:lnTo>
                  <a:lnTo>
                    <a:pt x="3570" y="2872"/>
                  </a:lnTo>
                  <a:lnTo>
                    <a:pt x="3588" y="2863"/>
                  </a:lnTo>
                  <a:lnTo>
                    <a:pt x="3606" y="2852"/>
                  </a:lnTo>
                  <a:lnTo>
                    <a:pt x="3623" y="2842"/>
                  </a:lnTo>
                  <a:lnTo>
                    <a:pt x="3637" y="2830"/>
                  </a:lnTo>
                  <a:lnTo>
                    <a:pt x="3651" y="2817"/>
                  </a:lnTo>
                  <a:lnTo>
                    <a:pt x="3663" y="2803"/>
                  </a:lnTo>
                  <a:lnTo>
                    <a:pt x="3672" y="2789"/>
                  </a:lnTo>
                  <a:lnTo>
                    <a:pt x="3681" y="2774"/>
                  </a:lnTo>
                  <a:lnTo>
                    <a:pt x="3686" y="2760"/>
                  </a:lnTo>
                  <a:lnTo>
                    <a:pt x="3686" y="2760"/>
                  </a:lnTo>
                  <a:lnTo>
                    <a:pt x="3700" y="2766"/>
                  </a:lnTo>
                  <a:lnTo>
                    <a:pt x="3714" y="2773"/>
                  </a:lnTo>
                  <a:lnTo>
                    <a:pt x="3727" y="2778"/>
                  </a:lnTo>
                  <a:lnTo>
                    <a:pt x="3742" y="2783"/>
                  </a:lnTo>
                  <a:lnTo>
                    <a:pt x="3758" y="2787"/>
                  </a:lnTo>
                  <a:lnTo>
                    <a:pt x="3772" y="2790"/>
                  </a:lnTo>
                  <a:lnTo>
                    <a:pt x="3788" y="2791"/>
                  </a:lnTo>
                  <a:lnTo>
                    <a:pt x="3804" y="2791"/>
                  </a:lnTo>
                  <a:lnTo>
                    <a:pt x="3804" y="2791"/>
                  </a:lnTo>
                  <a:lnTo>
                    <a:pt x="3829" y="2790"/>
                  </a:lnTo>
                  <a:lnTo>
                    <a:pt x="3854" y="2786"/>
                  </a:lnTo>
                  <a:lnTo>
                    <a:pt x="3878" y="2779"/>
                  </a:lnTo>
                  <a:lnTo>
                    <a:pt x="3901" y="2770"/>
                  </a:lnTo>
                  <a:lnTo>
                    <a:pt x="3922" y="2760"/>
                  </a:lnTo>
                  <a:lnTo>
                    <a:pt x="3942" y="2746"/>
                  </a:lnTo>
                  <a:lnTo>
                    <a:pt x="3960" y="2731"/>
                  </a:lnTo>
                  <a:lnTo>
                    <a:pt x="3976" y="2713"/>
                  </a:lnTo>
                  <a:lnTo>
                    <a:pt x="3976" y="2713"/>
                  </a:lnTo>
                  <a:lnTo>
                    <a:pt x="3996" y="2716"/>
                  </a:lnTo>
                  <a:lnTo>
                    <a:pt x="4017" y="2717"/>
                  </a:lnTo>
                  <a:lnTo>
                    <a:pt x="4017" y="2717"/>
                  </a:lnTo>
                  <a:lnTo>
                    <a:pt x="4040" y="2716"/>
                  </a:lnTo>
                  <a:lnTo>
                    <a:pt x="4062" y="2712"/>
                  </a:lnTo>
                  <a:lnTo>
                    <a:pt x="4085" y="2707"/>
                  </a:lnTo>
                  <a:lnTo>
                    <a:pt x="4106" y="2697"/>
                  </a:lnTo>
                  <a:lnTo>
                    <a:pt x="4126" y="2687"/>
                  </a:lnTo>
                  <a:lnTo>
                    <a:pt x="4143" y="2675"/>
                  </a:lnTo>
                  <a:lnTo>
                    <a:pt x="4160" y="2660"/>
                  </a:lnTo>
                  <a:lnTo>
                    <a:pt x="4176" y="2644"/>
                  </a:lnTo>
                  <a:lnTo>
                    <a:pt x="4176" y="2644"/>
                  </a:lnTo>
                  <a:lnTo>
                    <a:pt x="4196" y="2655"/>
                  </a:lnTo>
                  <a:lnTo>
                    <a:pt x="4217" y="2662"/>
                  </a:lnTo>
                  <a:lnTo>
                    <a:pt x="4239" y="2667"/>
                  </a:lnTo>
                  <a:lnTo>
                    <a:pt x="4263" y="2668"/>
                  </a:lnTo>
                  <a:lnTo>
                    <a:pt x="4263" y="2668"/>
                  </a:lnTo>
                  <a:lnTo>
                    <a:pt x="4286" y="2667"/>
                  </a:lnTo>
                  <a:lnTo>
                    <a:pt x="4308" y="2662"/>
                  </a:lnTo>
                  <a:lnTo>
                    <a:pt x="4329" y="2655"/>
                  </a:lnTo>
                  <a:lnTo>
                    <a:pt x="4349" y="2646"/>
                  </a:lnTo>
                  <a:lnTo>
                    <a:pt x="4368" y="2633"/>
                  </a:lnTo>
                  <a:lnTo>
                    <a:pt x="4385" y="2619"/>
                  </a:lnTo>
                  <a:lnTo>
                    <a:pt x="4400" y="2602"/>
                  </a:lnTo>
                  <a:lnTo>
                    <a:pt x="4412" y="2585"/>
                  </a:lnTo>
                  <a:lnTo>
                    <a:pt x="4412" y="2585"/>
                  </a:lnTo>
                  <a:lnTo>
                    <a:pt x="4427" y="2595"/>
                  </a:lnTo>
                  <a:lnTo>
                    <a:pt x="4445" y="2606"/>
                  </a:lnTo>
                  <a:lnTo>
                    <a:pt x="4462" y="2614"/>
                  </a:lnTo>
                  <a:lnTo>
                    <a:pt x="4480" y="2621"/>
                  </a:lnTo>
                  <a:lnTo>
                    <a:pt x="4500" y="2627"/>
                  </a:lnTo>
                  <a:lnTo>
                    <a:pt x="4520" y="2631"/>
                  </a:lnTo>
                  <a:lnTo>
                    <a:pt x="4540" y="2634"/>
                  </a:lnTo>
                  <a:lnTo>
                    <a:pt x="4560" y="2634"/>
                  </a:lnTo>
                  <a:lnTo>
                    <a:pt x="4560" y="2634"/>
                  </a:lnTo>
                  <a:lnTo>
                    <a:pt x="4578" y="2634"/>
                  </a:lnTo>
                  <a:lnTo>
                    <a:pt x="4595" y="2631"/>
                  </a:lnTo>
                  <a:lnTo>
                    <a:pt x="4614" y="2629"/>
                  </a:lnTo>
                  <a:lnTo>
                    <a:pt x="4630" y="2625"/>
                  </a:lnTo>
                  <a:lnTo>
                    <a:pt x="4647" y="2619"/>
                  </a:lnTo>
                  <a:lnTo>
                    <a:pt x="4663" y="2613"/>
                  </a:lnTo>
                  <a:lnTo>
                    <a:pt x="4678" y="2605"/>
                  </a:lnTo>
                  <a:lnTo>
                    <a:pt x="4692" y="2595"/>
                  </a:lnTo>
                  <a:lnTo>
                    <a:pt x="4707" y="2586"/>
                  </a:lnTo>
                  <a:lnTo>
                    <a:pt x="4720" y="2576"/>
                  </a:lnTo>
                  <a:lnTo>
                    <a:pt x="4732" y="2564"/>
                  </a:lnTo>
                  <a:lnTo>
                    <a:pt x="4744" y="2552"/>
                  </a:lnTo>
                  <a:lnTo>
                    <a:pt x="4754" y="2538"/>
                  </a:lnTo>
                  <a:lnTo>
                    <a:pt x="4765" y="2525"/>
                  </a:lnTo>
                  <a:lnTo>
                    <a:pt x="4773" y="2511"/>
                  </a:lnTo>
                  <a:lnTo>
                    <a:pt x="4781" y="2495"/>
                  </a:lnTo>
                  <a:lnTo>
                    <a:pt x="4781" y="2495"/>
                  </a:lnTo>
                  <a:lnTo>
                    <a:pt x="4798" y="2499"/>
                  </a:lnTo>
                  <a:lnTo>
                    <a:pt x="4814" y="2503"/>
                  </a:lnTo>
                  <a:lnTo>
                    <a:pt x="4831" y="2504"/>
                  </a:lnTo>
                  <a:lnTo>
                    <a:pt x="4848" y="2505"/>
                  </a:lnTo>
                  <a:lnTo>
                    <a:pt x="4848" y="2505"/>
                  </a:lnTo>
                  <a:lnTo>
                    <a:pt x="4868" y="2504"/>
                  </a:lnTo>
                  <a:lnTo>
                    <a:pt x="4887" y="2501"/>
                  </a:lnTo>
                  <a:lnTo>
                    <a:pt x="4905" y="2497"/>
                  </a:lnTo>
                  <a:lnTo>
                    <a:pt x="4924" y="2493"/>
                  </a:lnTo>
                  <a:lnTo>
                    <a:pt x="4941" y="2487"/>
                  </a:lnTo>
                  <a:lnTo>
                    <a:pt x="4958" y="2479"/>
                  </a:lnTo>
                  <a:lnTo>
                    <a:pt x="4974" y="2470"/>
                  </a:lnTo>
                  <a:lnTo>
                    <a:pt x="4988" y="2460"/>
                  </a:lnTo>
                  <a:lnTo>
                    <a:pt x="5003" y="2450"/>
                  </a:lnTo>
                  <a:lnTo>
                    <a:pt x="5016" y="2438"/>
                  </a:lnTo>
                  <a:lnTo>
                    <a:pt x="5030" y="2425"/>
                  </a:lnTo>
                  <a:lnTo>
                    <a:pt x="5041" y="2410"/>
                  </a:lnTo>
                  <a:lnTo>
                    <a:pt x="5052" y="2395"/>
                  </a:lnTo>
                  <a:lnTo>
                    <a:pt x="5061" y="2380"/>
                  </a:lnTo>
                  <a:lnTo>
                    <a:pt x="5071" y="2364"/>
                  </a:lnTo>
                  <a:lnTo>
                    <a:pt x="5077" y="2346"/>
                  </a:lnTo>
                  <a:lnTo>
                    <a:pt x="5077" y="2346"/>
                  </a:lnTo>
                  <a:lnTo>
                    <a:pt x="5093" y="2348"/>
                  </a:lnTo>
                  <a:lnTo>
                    <a:pt x="5093" y="2348"/>
                  </a:lnTo>
                  <a:lnTo>
                    <a:pt x="5101" y="2346"/>
                  </a:lnTo>
                  <a:lnTo>
                    <a:pt x="5101" y="2346"/>
                  </a:lnTo>
                  <a:lnTo>
                    <a:pt x="5118" y="2368"/>
                  </a:lnTo>
                  <a:lnTo>
                    <a:pt x="5139" y="2386"/>
                  </a:lnTo>
                  <a:lnTo>
                    <a:pt x="5161" y="2403"/>
                  </a:lnTo>
                  <a:lnTo>
                    <a:pt x="5184" y="2417"/>
                  </a:lnTo>
                  <a:lnTo>
                    <a:pt x="5198" y="2422"/>
                  </a:lnTo>
                  <a:lnTo>
                    <a:pt x="5211" y="2427"/>
                  </a:lnTo>
                  <a:lnTo>
                    <a:pt x="5224" y="2433"/>
                  </a:lnTo>
                  <a:lnTo>
                    <a:pt x="5237" y="2435"/>
                  </a:lnTo>
                  <a:lnTo>
                    <a:pt x="5252" y="2439"/>
                  </a:lnTo>
                  <a:lnTo>
                    <a:pt x="5265" y="2441"/>
                  </a:lnTo>
                  <a:lnTo>
                    <a:pt x="5280" y="2442"/>
                  </a:lnTo>
                  <a:lnTo>
                    <a:pt x="5294" y="2443"/>
                  </a:lnTo>
                  <a:lnTo>
                    <a:pt x="5294" y="2443"/>
                  </a:lnTo>
                  <a:lnTo>
                    <a:pt x="5319" y="2442"/>
                  </a:lnTo>
                  <a:lnTo>
                    <a:pt x="5344" y="2438"/>
                  </a:lnTo>
                  <a:lnTo>
                    <a:pt x="5367" y="2431"/>
                  </a:lnTo>
                  <a:lnTo>
                    <a:pt x="5389" y="2423"/>
                  </a:lnTo>
                  <a:lnTo>
                    <a:pt x="5411" y="2413"/>
                  </a:lnTo>
                  <a:lnTo>
                    <a:pt x="5432" y="2401"/>
                  </a:lnTo>
                  <a:lnTo>
                    <a:pt x="5450" y="2386"/>
                  </a:lnTo>
                  <a:lnTo>
                    <a:pt x="5468" y="2370"/>
                  </a:lnTo>
                  <a:lnTo>
                    <a:pt x="5483" y="2353"/>
                  </a:lnTo>
                  <a:lnTo>
                    <a:pt x="5498" y="2335"/>
                  </a:lnTo>
                  <a:lnTo>
                    <a:pt x="5510" y="2315"/>
                  </a:lnTo>
                  <a:lnTo>
                    <a:pt x="5520" y="2294"/>
                  </a:lnTo>
                  <a:lnTo>
                    <a:pt x="5528" y="2271"/>
                  </a:lnTo>
                  <a:lnTo>
                    <a:pt x="5535" y="2247"/>
                  </a:lnTo>
                  <a:lnTo>
                    <a:pt x="5538" y="2223"/>
                  </a:lnTo>
                  <a:lnTo>
                    <a:pt x="5539" y="2198"/>
                  </a:lnTo>
                  <a:lnTo>
                    <a:pt x="5539" y="2198"/>
                  </a:lnTo>
                  <a:lnTo>
                    <a:pt x="5539" y="2181"/>
                  </a:lnTo>
                  <a:lnTo>
                    <a:pt x="5538" y="2164"/>
                  </a:lnTo>
                  <a:lnTo>
                    <a:pt x="5534" y="2148"/>
                  </a:lnTo>
                  <a:lnTo>
                    <a:pt x="5530" y="2132"/>
                  </a:lnTo>
                  <a:lnTo>
                    <a:pt x="5526" y="2116"/>
                  </a:lnTo>
                  <a:lnTo>
                    <a:pt x="5519" y="2100"/>
                  </a:lnTo>
                  <a:lnTo>
                    <a:pt x="5513" y="2086"/>
                  </a:lnTo>
                  <a:lnTo>
                    <a:pt x="5505" y="2072"/>
                  </a:lnTo>
                  <a:lnTo>
                    <a:pt x="5505" y="2072"/>
                  </a:lnTo>
                  <a:close/>
                </a:path>
              </a:pathLst>
            </a:custGeom>
            <a:solidFill>
              <a:srgbClr val="F8A022">
                <a:alpha val="90000"/>
              </a:srgbClr>
            </a:solidFill>
            <a:ln>
              <a:noFill/>
            </a:ln>
          </p:spPr>
          <p:txBody>
            <a:bodyPr vert="horz" wrap="square" lIns="91440" tIns="45720" rIns="91440" bIns="45720" numCol="1" anchor="t" anchorCtr="0" compatLnSpc="1">
              <a:prstTxWarp prst="textNoShape">
                <a:avLst/>
              </a:prstTxWarp>
            </a:bodyPr>
            <a:lstStyle/>
            <a:p>
              <a:endParaRPr lang="ko-KR" altLang="en-US" sz="2400"/>
            </a:p>
          </p:txBody>
        </p:sp>
        <p:sp>
          <p:nvSpPr>
            <p:cNvPr id="125" name="Freeform 389"/>
            <p:cNvSpPr>
              <a:spLocks noEditPoints="1"/>
            </p:cNvSpPr>
            <p:nvPr/>
          </p:nvSpPr>
          <p:spPr bwMode="auto">
            <a:xfrm>
              <a:off x="19482" y="1040164"/>
              <a:ext cx="6576585" cy="3827475"/>
            </a:xfrm>
            <a:custGeom>
              <a:avLst/>
              <a:gdLst>
                <a:gd name="T0" fmla="*/ 5205 w 5563"/>
                <a:gd name="T1" fmla="*/ 1485 h 3238"/>
                <a:gd name="T2" fmla="*/ 4970 w 5563"/>
                <a:gd name="T3" fmla="*/ 1411 h 3238"/>
                <a:gd name="T4" fmla="*/ 4741 w 5563"/>
                <a:gd name="T5" fmla="*/ 1387 h 3238"/>
                <a:gd name="T6" fmla="*/ 4534 w 5563"/>
                <a:gd name="T7" fmla="*/ 1305 h 3238"/>
                <a:gd name="T8" fmla="*/ 4301 w 5563"/>
                <a:gd name="T9" fmla="*/ 1234 h 3238"/>
                <a:gd name="T10" fmla="*/ 4202 w 5563"/>
                <a:gd name="T11" fmla="*/ 1197 h 3238"/>
                <a:gd name="T12" fmla="*/ 4081 w 5563"/>
                <a:gd name="T13" fmla="*/ 1110 h 3238"/>
                <a:gd name="T14" fmla="*/ 3936 w 5563"/>
                <a:gd name="T15" fmla="*/ 1158 h 3238"/>
                <a:gd name="T16" fmla="*/ 3679 w 5563"/>
                <a:gd name="T17" fmla="*/ 1031 h 3238"/>
                <a:gd name="T18" fmla="*/ 3482 w 5563"/>
                <a:gd name="T19" fmla="*/ 987 h 3238"/>
                <a:gd name="T20" fmla="*/ 3284 w 5563"/>
                <a:gd name="T21" fmla="*/ 959 h 3238"/>
                <a:gd name="T22" fmla="*/ 3028 w 5563"/>
                <a:gd name="T23" fmla="*/ 857 h 3238"/>
                <a:gd name="T24" fmla="*/ 2839 w 5563"/>
                <a:gd name="T25" fmla="*/ 763 h 3238"/>
                <a:gd name="T26" fmla="*/ 2623 w 5563"/>
                <a:gd name="T27" fmla="*/ 731 h 3238"/>
                <a:gd name="T28" fmla="*/ 2427 w 5563"/>
                <a:gd name="T29" fmla="*/ 631 h 3238"/>
                <a:gd name="T30" fmla="*/ 2173 w 5563"/>
                <a:gd name="T31" fmla="*/ 591 h 3238"/>
                <a:gd name="T32" fmla="*/ 1941 w 5563"/>
                <a:gd name="T33" fmla="*/ 551 h 3238"/>
                <a:gd name="T34" fmla="*/ 1804 w 5563"/>
                <a:gd name="T35" fmla="*/ 439 h 3238"/>
                <a:gd name="T36" fmla="*/ 1584 w 5563"/>
                <a:gd name="T37" fmla="*/ 378 h 3238"/>
                <a:gd name="T38" fmla="*/ 1393 w 5563"/>
                <a:gd name="T39" fmla="*/ 278 h 3238"/>
                <a:gd name="T40" fmla="*/ 1097 w 5563"/>
                <a:gd name="T41" fmla="*/ 218 h 3238"/>
                <a:gd name="T42" fmla="*/ 830 w 5563"/>
                <a:gd name="T43" fmla="*/ 248 h 3238"/>
                <a:gd name="T44" fmla="*/ 647 w 5563"/>
                <a:gd name="T45" fmla="*/ 47 h 3238"/>
                <a:gd name="T46" fmla="*/ 347 w 5563"/>
                <a:gd name="T47" fmla="*/ 41 h 3238"/>
                <a:gd name="T48" fmla="*/ 67 w 5563"/>
                <a:gd name="T49" fmla="*/ 0 h 3238"/>
                <a:gd name="T50" fmla="*/ 28 w 5563"/>
                <a:gd name="T51" fmla="*/ 2475 h 3238"/>
                <a:gd name="T52" fmla="*/ 122 w 5563"/>
                <a:gd name="T53" fmla="*/ 3218 h 3238"/>
                <a:gd name="T54" fmla="*/ 251 w 5563"/>
                <a:gd name="T55" fmla="*/ 3233 h 3238"/>
                <a:gd name="T56" fmla="*/ 433 w 5563"/>
                <a:gd name="T57" fmla="*/ 3164 h 3238"/>
                <a:gd name="T58" fmla="*/ 598 w 5563"/>
                <a:gd name="T59" fmla="*/ 3156 h 3238"/>
                <a:gd name="T60" fmla="*/ 803 w 5563"/>
                <a:gd name="T61" fmla="*/ 3123 h 3238"/>
                <a:gd name="T62" fmla="*/ 1011 w 5563"/>
                <a:gd name="T63" fmla="*/ 3061 h 3238"/>
                <a:gd name="T64" fmla="*/ 1165 w 5563"/>
                <a:gd name="T65" fmla="*/ 3025 h 3238"/>
                <a:gd name="T66" fmla="*/ 1253 w 5563"/>
                <a:gd name="T67" fmla="*/ 2906 h 3238"/>
                <a:gd name="T68" fmla="*/ 1354 w 5563"/>
                <a:gd name="T69" fmla="*/ 2854 h 3238"/>
                <a:gd name="T70" fmla="*/ 1505 w 5563"/>
                <a:gd name="T71" fmla="*/ 2829 h 3238"/>
                <a:gd name="T72" fmla="*/ 1763 w 5563"/>
                <a:gd name="T73" fmla="*/ 2776 h 3238"/>
                <a:gd name="T74" fmla="*/ 1888 w 5563"/>
                <a:gd name="T75" fmla="*/ 2829 h 3238"/>
                <a:gd name="T76" fmla="*/ 2038 w 5563"/>
                <a:gd name="T77" fmla="*/ 2789 h 3238"/>
                <a:gd name="T78" fmla="*/ 2305 w 5563"/>
                <a:gd name="T79" fmla="*/ 2716 h 3238"/>
                <a:gd name="T80" fmla="*/ 2442 w 5563"/>
                <a:gd name="T81" fmla="*/ 2583 h 3238"/>
                <a:gd name="T82" fmla="*/ 2555 w 5563"/>
                <a:gd name="T83" fmla="*/ 2507 h 3238"/>
                <a:gd name="T84" fmla="*/ 2758 w 5563"/>
                <a:gd name="T85" fmla="*/ 2528 h 3238"/>
                <a:gd name="T86" fmla="*/ 3036 w 5563"/>
                <a:gd name="T87" fmla="*/ 2405 h 3238"/>
                <a:gd name="T88" fmla="*/ 3281 w 5563"/>
                <a:gd name="T89" fmla="*/ 2425 h 3238"/>
                <a:gd name="T90" fmla="*/ 3537 w 5563"/>
                <a:gd name="T91" fmla="*/ 2285 h 3238"/>
                <a:gd name="T92" fmla="*/ 3679 w 5563"/>
                <a:gd name="T93" fmla="*/ 2206 h 3238"/>
                <a:gd name="T94" fmla="*/ 3888 w 5563"/>
                <a:gd name="T95" fmla="*/ 2218 h 3238"/>
                <a:gd name="T96" fmla="*/ 4168 w 5563"/>
                <a:gd name="T97" fmla="*/ 2144 h 3238"/>
                <a:gd name="T98" fmla="*/ 4303 w 5563"/>
                <a:gd name="T99" fmla="*/ 2106 h 3238"/>
                <a:gd name="T100" fmla="*/ 4388 w 5563"/>
                <a:gd name="T101" fmla="*/ 2022 h 3238"/>
                <a:gd name="T102" fmla="*/ 4523 w 5563"/>
                <a:gd name="T103" fmla="*/ 1954 h 3238"/>
                <a:gd name="T104" fmla="*/ 4735 w 5563"/>
                <a:gd name="T105" fmla="*/ 1999 h 3238"/>
                <a:gd name="T106" fmla="*/ 4932 w 5563"/>
                <a:gd name="T107" fmla="*/ 1910 h 3238"/>
                <a:gd name="T108" fmla="*/ 5101 w 5563"/>
                <a:gd name="T109" fmla="*/ 1940 h 3238"/>
                <a:gd name="T110" fmla="*/ 5354 w 5563"/>
                <a:gd name="T111" fmla="*/ 1936 h 3238"/>
                <a:gd name="T112" fmla="*/ 5530 w 5563"/>
                <a:gd name="T113" fmla="*/ 1801 h 3238"/>
                <a:gd name="T114" fmla="*/ 5539 w 5563"/>
                <a:gd name="T115" fmla="*/ 1597 h 3238"/>
                <a:gd name="T116" fmla="*/ 1171 w 5563"/>
                <a:gd name="T117" fmla="*/ 2684 h 3238"/>
                <a:gd name="T118" fmla="*/ 1186 w 5563"/>
                <a:gd name="T119" fmla="*/ 2674 h 3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63" h="3238">
                  <a:moveTo>
                    <a:pt x="5365" y="1494"/>
                  </a:moveTo>
                  <a:lnTo>
                    <a:pt x="5365" y="1494"/>
                  </a:lnTo>
                  <a:lnTo>
                    <a:pt x="5352" y="1494"/>
                  </a:lnTo>
                  <a:lnTo>
                    <a:pt x="5338" y="1495"/>
                  </a:lnTo>
                  <a:lnTo>
                    <a:pt x="5326" y="1498"/>
                  </a:lnTo>
                  <a:lnTo>
                    <a:pt x="5313" y="1501"/>
                  </a:lnTo>
                  <a:lnTo>
                    <a:pt x="5313" y="1501"/>
                  </a:lnTo>
                  <a:lnTo>
                    <a:pt x="5292" y="1494"/>
                  </a:lnTo>
                  <a:lnTo>
                    <a:pt x="5271" y="1489"/>
                  </a:lnTo>
                  <a:lnTo>
                    <a:pt x="5248" y="1485"/>
                  </a:lnTo>
                  <a:lnTo>
                    <a:pt x="5224" y="1485"/>
                  </a:lnTo>
                  <a:lnTo>
                    <a:pt x="5224" y="1485"/>
                  </a:lnTo>
                  <a:lnTo>
                    <a:pt x="5205" y="1485"/>
                  </a:lnTo>
                  <a:lnTo>
                    <a:pt x="5205" y="1485"/>
                  </a:lnTo>
                  <a:lnTo>
                    <a:pt x="5186" y="1468"/>
                  </a:lnTo>
                  <a:lnTo>
                    <a:pt x="5168" y="1452"/>
                  </a:lnTo>
                  <a:lnTo>
                    <a:pt x="5146" y="1438"/>
                  </a:lnTo>
                  <a:lnTo>
                    <a:pt x="5124" y="1426"/>
                  </a:lnTo>
                  <a:lnTo>
                    <a:pt x="5100" y="1417"/>
                  </a:lnTo>
                  <a:lnTo>
                    <a:pt x="5075" y="1411"/>
                  </a:lnTo>
                  <a:lnTo>
                    <a:pt x="5050" y="1407"/>
                  </a:lnTo>
                  <a:lnTo>
                    <a:pt x="5023" y="1405"/>
                  </a:lnTo>
                  <a:lnTo>
                    <a:pt x="5023" y="1405"/>
                  </a:lnTo>
                  <a:lnTo>
                    <a:pt x="5005" y="1405"/>
                  </a:lnTo>
                  <a:lnTo>
                    <a:pt x="4988" y="1408"/>
                  </a:lnTo>
                  <a:lnTo>
                    <a:pt x="4970" y="1411"/>
                  </a:lnTo>
                  <a:lnTo>
                    <a:pt x="4955" y="1415"/>
                  </a:lnTo>
                  <a:lnTo>
                    <a:pt x="4939" y="1420"/>
                  </a:lnTo>
                  <a:lnTo>
                    <a:pt x="4923" y="1426"/>
                  </a:lnTo>
                  <a:lnTo>
                    <a:pt x="4908" y="1433"/>
                  </a:lnTo>
                  <a:lnTo>
                    <a:pt x="4894" y="1442"/>
                  </a:lnTo>
                  <a:lnTo>
                    <a:pt x="4894" y="1442"/>
                  </a:lnTo>
                  <a:lnTo>
                    <a:pt x="4874" y="1429"/>
                  </a:lnTo>
                  <a:lnTo>
                    <a:pt x="4854" y="1419"/>
                  </a:lnTo>
                  <a:lnTo>
                    <a:pt x="4833" y="1409"/>
                  </a:lnTo>
                  <a:lnTo>
                    <a:pt x="4812" y="1401"/>
                  </a:lnTo>
                  <a:lnTo>
                    <a:pt x="4788" y="1395"/>
                  </a:lnTo>
                  <a:lnTo>
                    <a:pt x="4765" y="1389"/>
                  </a:lnTo>
                  <a:lnTo>
                    <a:pt x="4741" y="1387"/>
                  </a:lnTo>
                  <a:lnTo>
                    <a:pt x="4716" y="1385"/>
                  </a:lnTo>
                  <a:lnTo>
                    <a:pt x="4716" y="1385"/>
                  </a:lnTo>
                  <a:lnTo>
                    <a:pt x="4690" y="1387"/>
                  </a:lnTo>
                  <a:lnTo>
                    <a:pt x="4662" y="1391"/>
                  </a:lnTo>
                  <a:lnTo>
                    <a:pt x="4636" y="1397"/>
                  </a:lnTo>
                  <a:lnTo>
                    <a:pt x="4610" y="1405"/>
                  </a:lnTo>
                  <a:lnTo>
                    <a:pt x="4610" y="1405"/>
                  </a:lnTo>
                  <a:lnTo>
                    <a:pt x="4601" y="1387"/>
                  </a:lnTo>
                  <a:lnTo>
                    <a:pt x="4589" y="1368"/>
                  </a:lnTo>
                  <a:lnTo>
                    <a:pt x="4577" y="1351"/>
                  </a:lnTo>
                  <a:lnTo>
                    <a:pt x="4564" y="1335"/>
                  </a:lnTo>
                  <a:lnTo>
                    <a:pt x="4550" y="1319"/>
                  </a:lnTo>
                  <a:lnTo>
                    <a:pt x="4534" y="1305"/>
                  </a:lnTo>
                  <a:lnTo>
                    <a:pt x="4518" y="1293"/>
                  </a:lnTo>
                  <a:lnTo>
                    <a:pt x="4501" y="1280"/>
                  </a:lnTo>
                  <a:lnTo>
                    <a:pt x="4482" y="1269"/>
                  </a:lnTo>
                  <a:lnTo>
                    <a:pt x="4462" y="1260"/>
                  </a:lnTo>
                  <a:lnTo>
                    <a:pt x="4442" y="1252"/>
                  </a:lnTo>
                  <a:lnTo>
                    <a:pt x="4423" y="1245"/>
                  </a:lnTo>
                  <a:lnTo>
                    <a:pt x="4401" y="1240"/>
                  </a:lnTo>
                  <a:lnTo>
                    <a:pt x="4380" y="1236"/>
                  </a:lnTo>
                  <a:lnTo>
                    <a:pt x="4358" y="1233"/>
                  </a:lnTo>
                  <a:lnTo>
                    <a:pt x="4335" y="1232"/>
                  </a:lnTo>
                  <a:lnTo>
                    <a:pt x="4335" y="1232"/>
                  </a:lnTo>
                  <a:lnTo>
                    <a:pt x="4318" y="1233"/>
                  </a:lnTo>
                  <a:lnTo>
                    <a:pt x="4301" y="1234"/>
                  </a:lnTo>
                  <a:lnTo>
                    <a:pt x="4284" y="1236"/>
                  </a:lnTo>
                  <a:lnTo>
                    <a:pt x="4268" y="1240"/>
                  </a:lnTo>
                  <a:lnTo>
                    <a:pt x="4251" y="1244"/>
                  </a:lnTo>
                  <a:lnTo>
                    <a:pt x="4235" y="1249"/>
                  </a:lnTo>
                  <a:lnTo>
                    <a:pt x="4219" y="1254"/>
                  </a:lnTo>
                  <a:lnTo>
                    <a:pt x="4204" y="1261"/>
                  </a:lnTo>
                  <a:lnTo>
                    <a:pt x="4204" y="1261"/>
                  </a:lnTo>
                  <a:lnTo>
                    <a:pt x="4207" y="1249"/>
                  </a:lnTo>
                  <a:lnTo>
                    <a:pt x="4207" y="1236"/>
                  </a:lnTo>
                  <a:lnTo>
                    <a:pt x="4207" y="1236"/>
                  </a:lnTo>
                  <a:lnTo>
                    <a:pt x="4207" y="1223"/>
                  </a:lnTo>
                  <a:lnTo>
                    <a:pt x="4204" y="1211"/>
                  </a:lnTo>
                  <a:lnTo>
                    <a:pt x="4202" y="1197"/>
                  </a:lnTo>
                  <a:lnTo>
                    <a:pt x="4198" y="1187"/>
                  </a:lnTo>
                  <a:lnTo>
                    <a:pt x="4192" y="1175"/>
                  </a:lnTo>
                  <a:lnTo>
                    <a:pt x="4186" y="1166"/>
                  </a:lnTo>
                  <a:lnTo>
                    <a:pt x="4178" y="1155"/>
                  </a:lnTo>
                  <a:lnTo>
                    <a:pt x="4170" y="1147"/>
                  </a:lnTo>
                  <a:lnTo>
                    <a:pt x="4162" y="1138"/>
                  </a:lnTo>
                  <a:lnTo>
                    <a:pt x="4151" y="1131"/>
                  </a:lnTo>
                  <a:lnTo>
                    <a:pt x="4141" y="1125"/>
                  </a:lnTo>
                  <a:lnTo>
                    <a:pt x="4130" y="1119"/>
                  </a:lnTo>
                  <a:lnTo>
                    <a:pt x="4118" y="1115"/>
                  </a:lnTo>
                  <a:lnTo>
                    <a:pt x="4106" y="1113"/>
                  </a:lnTo>
                  <a:lnTo>
                    <a:pt x="4094" y="1110"/>
                  </a:lnTo>
                  <a:lnTo>
                    <a:pt x="4081" y="1110"/>
                  </a:lnTo>
                  <a:lnTo>
                    <a:pt x="4081" y="1110"/>
                  </a:lnTo>
                  <a:lnTo>
                    <a:pt x="4072" y="1110"/>
                  </a:lnTo>
                  <a:lnTo>
                    <a:pt x="4061" y="1111"/>
                  </a:lnTo>
                  <a:lnTo>
                    <a:pt x="4043" y="1115"/>
                  </a:lnTo>
                  <a:lnTo>
                    <a:pt x="4026" y="1123"/>
                  </a:lnTo>
                  <a:lnTo>
                    <a:pt x="4008" y="1133"/>
                  </a:lnTo>
                  <a:lnTo>
                    <a:pt x="3994" y="1146"/>
                  </a:lnTo>
                  <a:lnTo>
                    <a:pt x="3982" y="1159"/>
                  </a:lnTo>
                  <a:lnTo>
                    <a:pt x="3971" y="1175"/>
                  </a:lnTo>
                  <a:lnTo>
                    <a:pt x="3963" y="1193"/>
                  </a:lnTo>
                  <a:lnTo>
                    <a:pt x="3963" y="1193"/>
                  </a:lnTo>
                  <a:lnTo>
                    <a:pt x="3950" y="1175"/>
                  </a:lnTo>
                  <a:lnTo>
                    <a:pt x="3936" y="1158"/>
                  </a:lnTo>
                  <a:lnTo>
                    <a:pt x="3921" y="1142"/>
                  </a:lnTo>
                  <a:lnTo>
                    <a:pt x="3905" y="1126"/>
                  </a:lnTo>
                  <a:lnTo>
                    <a:pt x="3888" y="1111"/>
                  </a:lnTo>
                  <a:lnTo>
                    <a:pt x="3869" y="1098"/>
                  </a:lnTo>
                  <a:lnTo>
                    <a:pt x="3851" y="1086"/>
                  </a:lnTo>
                  <a:lnTo>
                    <a:pt x="3832" y="1074"/>
                  </a:lnTo>
                  <a:lnTo>
                    <a:pt x="3813" y="1065"/>
                  </a:lnTo>
                  <a:lnTo>
                    <a:pt x="3791" y="1056"/>
                  </a:lnTo>
                  <a:lnTo>
                    <a:pt x="3770" y="1048"/>
                  </a:lnTo>
                  <a:lnTo>
                    <a:pt x="3748" y="1042"/>
                  </a:lnTo>
                  <a:lnTo>
                    <a:pt x="3725" y="1037"/>
                  </a:lnTo>
                  <a:lnTo>
                    <a:pt x="3703" y="1033"/>
                  </a:lnTo>
                  <a:lnTo>
                    <a:pt x="3679" y="1031"/>
                  </a:lnTo>
                  <a:lnTo>
                    <a:pt x="3655" y="1031"/>
                  </a:lnTo>
                  <a:lnTo>
                    <a:pt x="3655" y="1031"/>
                  </a:lnTo>
                  <a:lnTo>
                    <a:pt x="3622" y="1032"/>
                  </a:lnTo>
                  <a:lnTo>
                    <a:pt x="3622" y="1032"/>
                  </a:lnTo>
                  <a:lnTo>
                    <a:pt x="3607" y="1021"/>
                  </a:lnTo>
                  <a:lnTo>
                    <a:pt x="3592" y="1013"/>
                  </a:lnTo>
                  <a:lnTo>
                    <a:pt x="3574" y="1005"/>
                  </a:lnTo>
                  <a:lnTo>
                    <a:pt x="3557" y="999"/>
                  </a:lnTo>
                  <a:lnTo>
                    <a:pt x="3539" y="993"/>
                  </a:lnTo>
                  <a:lnTo>
                    <a:pt x="3520" y="990"/>
                  </a:lnTo>
                  <a:lnTo>
                    <a:pt x="3502" y="988"/>
                  </a:lnTo>
                  <a:lnTo>
                    <a:pt x="3482" y="987"/>
                  </a:lnTo>
                  <a:lnTo>
                    <a:pt x="3482" y="987"/>
                  </a:lnTo>
                  <a:lnTo>
                    <a:pt x="3462" y="988"/>
                  </a:lnTo>
                  <a:lnTo>
                    <a:pt x="3443" y="990"/>
                  </a:lnTo>
                  <a:lnTo>
                    <a:pt x="3425" y="993"/>
                  </a:lnTo>
                  <a:lnTo>
                    <a:pt x="3408" y="999"/>
                  </a:lnTo>
                  <a:lnTo>
                    <a:pt x="3390" y="1004"/>
                  </a:lnTo>
                  <a:lnTo>
                    <a:pt x="3373" y="1012"/>
                  </a:lnTo>
                  <a:lnTo>
                    <a:pt x="3357" y="1021"/>
                  </a:lnTo>
                  <a:lnTo>
                    <a:pt x="3343" y="1031"/>
                  </a:lnTo>
                  <a:lnTo>
                    <a:pt x="3343" y="1031"/>
                  </a:lnTo>
                  <a:lnTo>
                    <a:pt x="3329" y="1011"/>
                  </a:lnTo>
                  <a:lnTo>
                    <a:pt x="3315" y="993"/>
                  </a:lnTo>
                  <a:lnTo>
                    <a:pt x="3300" y="976"/>
                  </a:lnTo>
                  <a:lnTo>
                    <a:pt x="3284" y="959"/>
                  </a:lnTo>
                  <a:lnTo>
                    <a:pt x="3267" y="944"/>
                  </a:lnTo>
                  <a:lnTo>
                    <a:pt x="3249" y="930"/>
                  </a:lnTo>
                  <a:lnTo>
                    <a:pt x="3230" y="917"/>
                  </a:lnTo>
                  <a:lnTo>
                    <a:pt x="3210" y="905"/>
                  </a:lnTo>
                  <a:lnTo>
                    <a:pt x="3189" y="894"/>
                  </a:lnTo>
                  <a:lnTo>
                    <a:pt x="3168" y="885"/>
                  </a:lnTo>
                  <a:lnTo>
                    <a:pt x="3146" y="877"/>
                  </a:lnTo>
                  <a:lnTo>
                    <a:pt x="3123" y="870"/>
                  </a:lnTo>
                  <a:lnTo>
                    <a:pt x="3101" y="865"/>
                  </a:lnTo>
                  <a:lnTo>
                    <a:pt x="3077" y="861"/>
                  </a:lnTo>
                  <a:lnTo>
                    <a:pt x="3052" y="858"/>
                  </a:lnTo>
                  <a:lnTo>
                    <a:pt x="3028" y="857"/>
                  </a:lnTo>
                  <a:lnTo>
                    <a:pt x="3028" y="857"/>
                  </a:lnTo>
                  <a:lnTo>
                    <a:pt x="3007" y="858"/>
                  </a:lnTo>
                  <a:lnTo>
                    <a:pt x="2987" y="860"/>
                  </a:lnTo>
                  <a:lnTo>
                    <a:pt x="2967" y="862"/>
                  </a:lnTo>
                  <a:lnTo>
                    <a:pt x="2948" y="866"/>
                  </a:lnTo>
                  <a:lnTo>
                    <a:pt x="2948" y="866"/>
                  </a:lnTo>
                  <a:lnTo>
                    <a:pt x="2936" y="850"/>
                  </a:lnTo>
                  <a:lnTo>
                    <a:pt x="2926" y="836"/>
                  </a:lnTo>
                  <a:lnTo>
                    <a:pt x="2913" y="821"/>
                  </a:lnTo>
                  <a:lnTo>
                    <a:pt x="2899" y="808"/>
                  </a:lnTo>
                  <a:lnTo>
                    <a:pt x="2886" y="795"/>
                  </a:lnTo>
                  <a:lnTo>
                    <a:pt x="2870" y="784"/>
                  </a:lnTo>
                  <a:lnTo>
                    <a:pt x="2856" y="772"/>
                  </a:lnTo>
                  <a:lnTo>
                    <a:pt x="2839" y="763"/>
                  </a:lnTo>
                  <a:lnTo>
                    <a:pt x="2823" y="754"/>
                  </a:lnTo>
                  <a:lnTo>
                    <a:pt x="2804" y="746"/>
                  </a:lnTo>
                  <a:lnTo>
                    <a:pt x="2787" y="739"/>
                  </a:lnTo>
                  <a:lnTo>
                    <a:pt x="2768" y="734"/>
                  </a:lnTo>
                  <a:lnTo>
                    <a:pt x="2749" y="730"/>
                  </a:lnTo>
                  <a:lnTo>
                    <a:pt x="2730" y="727"/>
                  </a:lnTo>
                  <a:lnTo>
                    <a:pt x="2710" y="725"/>
                  </a:lnTo>
                  <a:lnTo>
                    <a:pt x="2689" y="725"/>
                  </a:lnTo>
                  <a:lnTo>
                    <a:pt x="2689" y="725"/>
                  </a:lnTo>
                  <a:lnTo>
                    <a:pt x="2672" y="725"/>
                  </a:lnTo>
                  <a:lnTo>
                    <a:pt x="2656" y="726"/>
                  </a:lnTo>
                  <a:lnTo>
                    <a:pt x="2639" y="729"/>
                  </a:lnTo>
                  <a:lnTo>
                    <a:pt x="2623" y="731"/>
                  </a:lnTo>
                  <a:lnTo>
                    <a:pt x="2606" y="735"/>
                  </a:lnTo>
                  <a:lnTo>
                    <a:pt x="2590" y="741"/>
                  </a:lnTo>
                  <a:lnTo>
                    <a:pt x="2575" y="746"/>
                  </a:lnTo>
                  <a:lnTo>
                    <a:pt x="2559" y="752"/>
                  </a:lnTo>
                  <a:lnTo>
                    <a:pt x="2559" y="752"/>
                  </a:lnTo>
                  <a:lnTo>
                    <a:pt x="2547" y="734"/>
                  </a:lnTo>
                  <a:lnTo>
                    <a:pt x="2533" y="717"/>
                  </a:lnTo>
                  <a:lnTo>
                    <a:pt x="2517" y="700"/>
                  </a:lnTo>
                  <a:lnTo>
                    <a:pt x="2501" y="684"/>
                  </a:lnTo>
                  <a:lnTo>
                    <a:pt x="2484" y="669"/>
                  </a:lnTo>
                  <a:lnTo>
                    <a:pt x="2467" y="654"/>
                  </a:lnTo>
                  <a:lnTo>
                    <a:pt x="2447" y="641"/>
                  </a:lnTo>
                  <a:lnTo>
                    <a:pt x="2427" y="631"/>
                  </a:lnTo>
                  <a:lnTo>
                    <a:pt x="2407" y="620"/>
                  </a:lnTo>
                  <a:lnTo>
                    <a:pt x="2386" y="611"/>
                  </a:lnTo>
                  <a:lnTo>
                    <a:pt x="2363" y="603"/>
                  </a:lnTo>
                  <a:lnTo>
                    <a:pt x="2342" y="596"/>
                  </a:lnTo>
                  <a:lnTo>
                    <a:pt x="2318" y="591"/>
                  </a:lnTo>
                  <a:lnTo>
                    <a:pt x="2295" y="587"/>
                  </a:lnTo>
                  <a:lnTo>
                    <a:pt x="2271" y="584"/>
                  </a:lnTo>
                  <a:lnTo>
                    <a:pt x="2247" y="583"/>
                  </a:lnTo>
                  <a:lnTo>
                    <a:pt x="2247" y="583"/>
                  </a:lnTo>
                  <a:lnTo>
                    <a:pt x="2228" y="584"/>
                  </a:lnTo>
                  <a:lnTo>
                    <a:pt x="2209" y="586"/>
                  </a:lnTo>
                  <a:lnTo>
                    <a:pt x="2190" y="588"/>
                  </a:lnTo>
                  <a:lnTo>
                    <a:pt x="2173" y="591"/>
                  </a:lnTo>
                  <a:lnTo>
                    <a:pt x="2154" y="595"/>
                  </a:lnTo>
                  <a:lnTo>
                    <a:pt x="2137" y="600"/>
                  </a:lnTo>
                  <a:lnTo>
                    <a:pt x="2120" y="605"/>
                  </a:lnTo>
                  <a:lnTo>
                    <a:pt x="2103" y="612"/>
                  </a:lnTo>
                  <a:lnTo>
                    <a:pt x="2103" y="612"/>
                  </a:lnTo>
                  <a:lnTo>
                    <a:pt x="2086" y="599"/>
                  </a:lnTo>
                  <a:lnTo>
                    <a:pt x="2068" y="587"/>
                  </a:lnTo>
                  <a:lnTo>
                    <a:pt x="2049" y="576"/>
                  </a:lnTo>
                  <a:lnTo>
                    <a:pt x="2029" y="567"/>
                  </a:lnTo>
                  <a:lnTo>
                    <a:pt x="2007" y="560"/>
                  </a:lnTo>
                  <a:lnTo>
                    <a:pt x="1986" y="555"/>
                  </a:lnTo>
                  <a:lnTo>
                    <a:pt x="1964" y="553"/>
                  </a:lnTo>
                  <a:lnTo>
                    <a:pt x="1941" y="551"/>
                  </a:lnTo>
                  <a:lnTo>
                    <a:pt x="1941" y="551"/>
                  </a:lnTo>
                  <a:lnTo>
                    <a:pt x="1923" y="551"/>
                  </a:lnTo>
                  <a:lnTo>
                    <a:pt x="1907" y="554"/>
                  </a:lnTo>
                  <a:lnTo>
                    <a:pt x="1890" y="556"/>
                  </a:lnTo>
                  <a:lnTo>
                    <a:pt x="1874" y="560"/>
                  </a:lnTo>
                  <a:lnTo>
                    <a:pt x="1874" y="560"/>
                  </a:lnTo>
                  <a:lnTo>
                    <a:pt x="1867" y="541"/>
                  </a:lnTo>
                  <a:lnTo>
                    <a:pt x="1861" y="522"/>
                  </a:lnTo>
                  <a:lnTo>
                    <a:pt x="1851" y="504"/>
                  </a:lnTo>
                  <a:lnTo>
                    <a:pt x="1842" y="486"/>
                  </a:lnTo>
                  <a:lnTo>
                    <a:pt x="1830" y="469"/>
                  </a:lnTo>
                  <a:lnTo>
                    <a:pt x="1817" y="453"/>
                  </a:lnTo>
                  <a:lnTo>
                    <a:pt x="1804" y="439"/>
                  </a:lnTo>
                  <a:lnTo>
                    <a:pt x="1788" y="425"/>
                  </a:lnTo>
                  <a:lnTo>
                    <a:pt x="1772" y="413"/>
                  </a:lnTo>
                  <a:lnTo>
                    <a:pt x="1755" y="403"/>
                  </a:lnTo>
                  <a:lnTo>
                    <a:pt x="1736" y="394"/>
                  </a:lnTo>
                  <a:lnTo>
                    <a:pt x="1718" y="386"/>
                  </a:lnTo>
                  <a:lnTo>
                    <a:pt x="1698" y="380"/>
                  </a:lnTo>
                  <a:lnTo>
                    <a:pt x="1678" y="375"/>
                  </a:lnTo>
                  <a:lnTo>
                    <a:pt x="1657" y="372"/>
                  </a:lnTo>
                  <a:lnTo>
                    <a:pt x="1634" y="372"/>
                  </a:lnTo>
                  <a:lnTo>
                    <a:pt x="1634" y="372"/>
                  </a:lnTo>
                  <a:lnTo>
                    <a:pt x="1617" y="372"/>
                  </a:lnTo>
                  <a:lnTo>
                    <a:pt x="1601" y="374"/>
                  </a:lnTo>
                  <a:lnTo>
                    <a:pt x="1584" y="378"/>
                  </a:lnTo>
                  <a:lnTo>
                    <a:pt x="1568" y="382"/>
                  </a:lnTo>
                  <a:lnTo>
                    <a:pt x="1552" y="387"/>
                  </a:lnTo>
                  <a:lnTo>
                    <a:pt x="1536" y="392"/>
                  </a:lnTo>
                  <a:lnTo>
                    <a:pt x="1522" y="400"/>
                  </a:lnTo>
                  <a:lnTo>
                    <a:pt x="1507" y="408"/>
                  </a:lnTo>
                  <a:lnTo>
                    <a:pt x="1507" y="408"/>
                  </a:lnTo>
                  <a:lnTo>
                    <a:pt x="1495" y="386"/>
                  </a:lnTo>
                  <a:lnTo>
                    <a:pt x="1481" y="366"/>
                  </a:lnTo>
                  <a:lnTo>
                    <a:pt x="1466" y="346"/>
                  </a:lnTo>
                  <a:lnTo>
                    <a:pt x="1449" y="327"/>
                  </a:lnTo>
                  <a:lnTo>
                    <a:pt x="1432" y="309"/>
                  </a:lnTo>
                  <a:lnTo>
                    <a:pt x="1413" y="293"/>
                  </a:lnTo>
                  <a:lnTo>
                    <a:pt x="1393" y="278"/>
                  </a:lnTo>
                  <a:lnTo>
                    <a:pt x="1372" y="264"/>
                  </a:lnTo>
                  <a:lnTo>
                    <a:pt x="1351" y="252"/>
                  </a:lnTo>
                  <a:lnTo>
                    <a:pt x="1329" y="241"/>
                  </a:lnTo>
                  <a:lnTo>
                    <a:pt x="1305" y="231"/>
                  </a:lnTo>
                  <a:lnTo>
                    <a:pt x="1280" y="223"/>
                  </a:lnTo>
                  <a:lnTo>
                    <a:pt x="1256" y="218"/>
                  </a:lnTo>
                  <a:lnTo>
                    <a:pt x="1229" y="212"/>
                  </a:lnTo>
                  <a:lnTo>
                    <a:pt x="1204" y="210"/>
                  </a:lnTo>
                  <a:lnTo>
                    <a:pt x="1176" y="210"/>
                  </a:lnTo>
                  <a:lnTo>
                    <a:pt x="1176" y="210"/>
                  </a:lnTo>
                  <a:lnTo>
                    <a:pt x="1150" y="210"/>
                  </a:lnTo>
                  <a:lnTo>
                    <a:pt x="1124" y="212"/>
                  </a:lnTo>
                  <a:lnTo>
                    <a:pt x="1097" y="218"/>
                  </a:lnTo>
                  <a:lnTo>
                    <a:pt x="1072" y="224"/>
                  </a:lnTo>
                  <a:lnTo>
                    <a:pt x="1048" y="232"/>
                  </a:lnTo>
                  <a:lnTo>
                    <a:pt x="1024" y="241"/>
                  </a:lnTo>
                  <a:lnTo>
                    <a:pt x="1000" y="253"/>
                  </a:lnTo>
                  <a:lnTo>
                    <a:pt x="979" y="266"/>
                  </a:lnTo>
                  <a:lnTo>
                    <a:pt x="979" y="266"/>
                  </a:lnTo>
                  <a:lnTo>
                    <a:pt x="953" y="257"/>
                  </a:lnTo>
                  <a:lnTo>
                    <a:pt x="925" y="251"/>
                  </a:lnTo>
                  <a:lnTo>
                    <a:pt x="897" y="247"/>
                  </a:lnTo>
                  <a:lnTo>
                    <a:pt x="868" y="245"/>
                  </a:lnTo>
                  <a:lnTo>
                    <a:pt x="868" y="245"/>
                  </a:lnTo>
                  <a:lnTo>
                    <a:pt x="848" y="245"/>
                  </a:lnTo>
                  <a:lnTo>
                    <a:pt x="830" y="248"/>
                  </a:lnTo>
                  <a:lnTo>
                    <a:pt x="811" y="251"/>
                  </a:lnTo>
                  <a:lnTo>
                    <a:pt x="794" y="255"/>
                  </a:lnTo>
                  <a:lnTo>
                    <a:pt x="794" y="255"/>
                  </a:lnTo>
                  <a:lnTo>
                    <a:pt x="787" y="228"/>
                  </a:lnTo>
                  <a:lnTo>
                    <a:pt x="779" y="203"/>
                  </a:lnTo>
                  <a:lnTo>
                    <a:pt x="769" y="178"/>
                  </a:lnTo>
                  <a:lnTo>
                    <a:pt x="757" y="155"/>
                  </a:lnTo>
                  <a:lnTo>
                    <a:pt x="742" y="133"/>
                  </a:lnTo>
                  <a:lnTo>
                    <a:pt x="727" y="113"/>
                  </a:lnTo>
                  <a:lnTo>
                    <a:pt x="709" y="93"/>
                  </a:lnTo>
                  <a:lnTo>
                    <a:pt x="689" y="76"/>
                  </a:lnTo>
                  <a:lnTo>
                    <a:pt x="670" y="60"/>
                  </a:lnTo>
                  <a:lnTo>
                    <a:pt x="647" y="47"/>
                  </a:lnTo>
                  <a:lnTo>
                    <a:pt x="623" y="33"/>
                  </a:lnTo>
                  <a:lnTo>
                    <a:pt x="599" y="24"/>
                  </a:lnTo>
                  <a:lnTo>
                    <a:pt x="574" y="15"/>
                  </a:lnTo>
                  <a:lnTo>
                    <a:pt x="548" y="10"/>
                  </a:lnTo>
                  <a:lnTo>
                    <a:pt x="521" y="6"/>
                  </a:lnTo>
                  <a:lnTo>
                    <a:pt x="494" y="4"/>
                  </a:lnTo>
                  <a:lnTo>
                    <a:pt x="494" y="4"/>
                  </a:lnTo>
                  <a:lnTo>
                    <a:pt x="467" y="6"/>
                  </a:lnTo>
                  <a:lnTo>
                    <a:pt x="442" y="10"/>
                  </a:lnTo>
                  <a:lnTo>
                    <a:pt x="417" y="15"/>
                  </a:lnTo>
                  <a:lnTo>
                    <a:pt x="393" y="22"/>
                  </a:lnTo>
                  <a:lnTo>
                    <a:pt x="369" y="31"/>
                  </a:lnTo>
                  <a:lnTo>
                    <a:pt x="347" y="41"/>
                  </a:lnTo>
                  <a:lnTo>
                    <a:pt x="326" y="55"/>
                  </a:lnTo>
                  <a:lnTo>
                    <a:pt x="306" y="69"/>
                  </a:lnTo>
                  <a:lnTo>
                    <a:pt x="306" y="69"/>
                  </a:lnTo>
                  <a:lnTo>
                    <a:pt x="282" y="53"/>
                  </a:lnTo>
                  <a:lnTo>
                    <a:pt x="258" y="40"/>
                  </a:lnTo>
                  <a:lnTo>
                    <a:pt x="232" y="28"/>
                  </a:lnTo>
                  <a:lnTo>
                    <a:pt x="205" y="19"/>
                  </a:lnTo>
                  <a:lnTo>
                    <a:pt x="177" y="11"/>
                  </a:lnTo>
                  <a:lnTo>
                    <a:pt x="150" y="4"/>
                  </a:lnTo>
                  <a:lnTo>
                    <a:pt x="120" y="2"/>
                  </a:lnTo>
                  <a:lnTo>
                    <a:pt x="90" y="0"/>
                  </a:lnTo>
                  <a:lnTo>
                    <a:pt x="90" y="0"/>
                  </a:lnTo>
                  <a:lnTo>
                    <a:pt x="67" y="0"/>
                  </a:lnTo>
                  <a:lnTo>
                    <a:pt x="44" y="3"/>
                  </a:lnTo>
                  <a:lnTo>
                    <a:pt x="22" y="7"/>
                  </a:lnTo>
                  <a:lnTo>
                    <a:pt x="0" y="11"/>
                  </a:lnTo>
                  <a:lnTo>
                    <a:pt x="0" y="2168"/>
                  </a:lnTo>
                  <a:lnTo>
                    <a:pt x="0" y="2168"/>
                  </a:lnTo>
                  <a:lnTo>
                    <a:pt x="5" y="2172"/>
                  </a:lnTo>
                  <a:lnTo>
                    <a:pt x="5" y="2172"/>
                  </a:lnTo>
                  <a:lnTo>
                    <a:pt x="0" y="2183"/>
                  </a:lnTo>
                  <a:lnTo>
                    <a:pt x="0" y="2426"/>
                  </a:lnTo>
                  <a:lnTo>
                    <a:pt x="0" y="2426"/>
                  </a:lnTo>
                  <a:lnTo>
                    <a:pt x="8" y="2443"/>
                  </a:lnTo>
                  <a:lnTo>
                    <a:pt x="17" y="2459"/>
                  </a:lnTo>
                  <a:lnTo>
                    <a:pt x="28" y="2475"/>
                  </a:lnTo>
                  <a:lnTo>
                    <a:pt x="38" y="2491"/>
                  </a:lnTo>
                  <a:lnTo>
                    <a:pt x="38" y="2491"/>
                  </a:lnTo>
                  <a:lnTo>
                    <a:pt x="20" y="2490"/>
                  </a:lnTo>
                  <a:lnTo>
                    <a:pt x="0" y="2490"/>
                  </a:lnTo>
                  <a:lnTo>
                    <a:pt x="0" y="3238"/>
                  </a:lnTo>
                  <a:lnTo>
                    <a:pt x="0" y="3238"/>
                  </a:lnTo>
                  <a:lnTo>
                    <a:pt x="19" y="3238"/>
                  </a:lnTo>
                  <a:lnTo>
                    <a:pt x="36" y="3237"/>
                  </a:lnTo>
                  <a:lnTo>
                    <a:pt x="54" y="3234"/>
                  </a:lnTo>
                  <a:lnTo>
                    <a:pt x="71" y="3231"/>
                  </a:lnTo>
                  <a:lnTo>
                    <a:pt x="89" y="3227"/>
                  </a:lnTo>
                  <a:lnTo>
                    <a:pt x="106" y="3223"/>
                  </a:lnTo>
                  <a:lnTo>
                    <a:pt x="122" y="3218"/>
                  </a:lnTo>
                  <a:lnTo>
                    <a:pt x="139" y="3212"/>
                  </a:lnTo>
                  <a:lnTo>
                    <a:pt x="139" y="3212"/>
                  </a:lnTo>
                  <a:lnTo>
                    <a:pt x="147" y="3218"/>
                  </a:lnTo>
                  <a:lnTo>
                    <a:pt x="155" y="3223"/>
                  </a:lnTo>
                  <a:lnTo>
                    <a:pt x="164" y="3227"/>
                  </a:lnTo>
                  <a:lnTo>
                    <a:pt x="175" y="3231"/>
                  </a:lnTo>
                  <a:lnTo>
                    <a:pt x="184" y="3234"/>
                  </a:lnTo>
                  <a:lnTo>
                    <a:pt x="195" y="3237"/>
                  </a:lnTo>
                  <a:lnTo>
                    <a:pt x="205" y="3238"/>
                  </a:lnTo>
                  <a:lnTo>
                    <a:pt x="216" y="3238"/>
                  </a:lnTo>
                  <a:lnTo>
                    <a:pt x="216" y="3238"/>
                  </a:lnTo>
                  <a:lnTo>
                    <a:pt x="234" y="3237"/>
                  </a:lnTo>
                  <a:lnTo>
                    <a:pt x="251" y="3233"/>
                  </a:lnTo>
                  <a:lnTo>
                    <a:pt x="269" y="3227"/>
                  </a:lnTo>
                  <a:lnTo>
                    <a:pt x="283" y="3218"/>
                  </a:lnTo>
                  <a:lnTo>
                    <a:pt x="298" y="3208"/>
                  </a:lnTo>
                  <a:lnTo>
                    <a:pt x="310" y="3196"/>
                  </a:lnTo>
                  <a:lnTo>
                    <a:pt x="320" y="3182"/>
                  </a:lnTo>
                  <a:lnTo>
                    <a:pt x="328" y="3166"/>
                  </a:lnTo>
                  <a:lnTo>
                    <a:pt x="328" y="3166"/>
                  </a:lnTo>
                  <a:lnTo>
                    <a:pt x="351" y="3169"/>
                  </a:lnTo>
                  <a:lnTo>
                    <a:pt x="375" y="3170"/>
                  </a:lnTo>
                  <a:lnTo>
                    <a:pt x="375" y="3170"/>
                  </a:lnTo>
                  <a:lnTo>
                    <a:pt x="394" y="3169"/>
                  </a:lnTo>
                  <a:lnTo>
                    <a:pt x="414" y="3168"/>
                  </a:lnTo>
                  <a:lnTo>
                    <a:pt x="433" y="3164"/>
                  </a:lnTo>
                  <a:lnTo>
                    <a:pt x="453" y="3160"/>
                  </a:lnTo>
                  <a:lnTo>
                    <a:pt x="471" y="3155"/>
                  </a:lnTo>
                  <a:lnTo>
                    <a:pt x="488" y="3148"/>
                  </a:lnTo>
                  <a:lnTo>
                    <a:pt x="506" y="3140"/>
                  </a:lnTo>
                  <a:lnTo>
                    <a:pt x="523" y="3132"/>
                  </a:lnTo>
                  <a:lnTo>
                    <a:pt x="523" y="3132"/>
                  </a:lnTo>
                  <a:lnTo>
                    <a:pt x="540" y="3143"/>
                  </a:lnTo>
                  <a:lnTo>
                    <a:pt x="557" y="3149"/>
                  </a:lnTo>
                  <a:lnTo>
                    <a:pt x="566" y="3153"/>
                  </a:lnTo>
                  <a:lnTo>
                    <a:pt x="577" y="3155"/>
                  </a:lnTo>
                  <a:lnTo>
                    <a:pt x="588" y="3156"/>
                  </a:lnTo>
                  <a:lnTo>
                    <a:pt x="598" y="3156"/>
                  </a:lnTo>
                  <a:lnTo>
                    <a:pt x="598" y="3156"/>
                  </a:lnTo>
                  <a:lnTo>
                    <a:pt x="613" y="3156"/>
                  </a:lnTo>
                  <a:lnTo>
                    <a:pt x="627" y="3153"/>
                  </a:lnTo>
                  <a:lnTo>
                    <a:pt x="640" y="3149"/>
                  </a:lnTo>
                  <a:lnTo>
                    <a:pt x="654" y="3143"/>
                  </a:lnTo>
                  <a:lnTo>
                    <a:pt x="666" y="3136"/>
                  </a:lnTo>
                  <a:lnTo>
                    <a:pt x="678" y="3128"/>
                  </a:lnTo>
                  <a:lnTo>
                    <a:pt x="687" y="3119"/>
                  </a:lnTo>
                  <a:lnTo>
                    <a:pt x="696" y="3108"/>
                  </a:lnTo>
                  <a:lnTo>
                    <a:pt x="696" y="3108"/>
                  </a:lnTo>
                  <a:lnTo>
                    <a:pt x="723" y="3115"/>
                  </a:lnTo>
                  <a:lnTo>
                    <a:pt x="749" y="3119"/>
                  </a:lnTo>
                  <a:lnTo>
                    <a:pt x="775" y="3123"/>
                  </a:lnTo>
                  <a:lnTo>
                    <a:pt x="803" y="3123"/>
                  </a:lnTo>
                  <a:lnTo>
                    <a:pt x="803" y="3123"/>
                  </a:lnTo>
                  <a:lnTo>
                    <a:pt x="822" y="3123"/>
                  </a:lnTo>
                  <a:lnTo>
                    <a:pt x="840" y="3121"/>
                  </a:lnTo>
                  <a:lnTo>
                    <a:pt x="859" y="3119"/>
                  </a:lnTo>
                  <a:lnTo>
                    <a:pt x="877" y="3116"/>
                  </a:lnTo>
                  <a:lnTo>
                    <a:pt x="896" y="3112"/>
                  </a:lnTo>
                  <a:lnTo>
                    <a:pt x="913" y="3107"/>
                  </a:lnTo>
                  <a:lnTo>
                    <a:pt x="930" y="3100"/>
                  </a:lnTo>
                  <a:lnTo>
                    <a:pt x="948" y="3094"/>
                  </a:lnTo>
                  <a:lnTo>
                    <a:pt x="963" y="3087"/>
                  </a:lnTo>
                  <a:lnTo>
                    <a:pt x="981" y="3079"/>
                  </a:lnTo>
                  <a:lnTo>
                    <a:pt x="995" y="3070"/>
                  </a:lnTo>
                  <a:lnTo>
                    <a:pt x="1011" y="3061"/>
                  </a:lnTo>
                  <a:lnTo>
                    <a:pt x="1026" y="3050"/>
                  </a:lnTo>
                  <a:lnTo>
                    <a:pt x="1040" y="3038"/>
                  </a:lnTo>
                  <a:lnTo>
                    <a:pt x="1053" y="3027"/>
                  </a:lnTo>
                  <a:lnTo>
                    <a:pt x="1067" y="3014"/>
                  </a:lnTo>
                  <a:lnTo>
                    <a:pt x="1067" y="3014"/>
                  </a:lnTo>
                  <a:lnTo>
                    <a:pt x="1080" y="3022"/>
                  </a:lnTo>
                  <a:lnTo>
                    <a:pt x="1096" y="3026"/>
                  </a:lnTo>
                  <a:lnTo>
                    <a:pt x="1112" y="3030"/>
                  </a:lnTo>
                  <a:lnTo>
                    <a:pt x="1127" y="3031"/>
                  </a:lnTo>
                  <a:lnTo>
                    <a:pt x="1127" y="3031"/>
                  </a:lnTo>
                  <a:lnTo>
                    <a:pt x="1141" y="3030"/>
                  </a:lnTo>
                  <a:lnTo>
                    <a:pt x="1153" y="3029"/>
                  </a:lnTo>
                  <a:lnTo>
                    <a:pt x="1165" y="3025"/>
                  </a:lnTo>
                  <a:lnTo>
                    <a:pt x="1176" y="3021"/>
                  </a:lnTo>
                  <a:lnTo>
                    <a:pt x="1187" y="3016"/>
                  </a:lnTo>
                  <a:lnTo>
                    <a:pt x="1198" y="3009"/>
                  </a:lnTo>
                  <a:lnTo>
                    <a:pt x="1207" y="3002"/>
                  </a:lnTo>
                  <a:lnTo>
                    <a:pt x="1216" y="2994"/>
                  </a:lnTo>
                  <a:lnTo>
                    <a:pt x="1224" y="2985"/>
                  </a:lnTo>
                  <a:lnTo>
                    <a:pt x="1232" y="2976"/>
                  </a:lnTo>
                  <a:lnTo>
                    <a:pt x="1237" y="2965"/>
                  </a:lnTo>
                  <a:lnTo>
                    <a:pt x="1243" y="2955"/>
                  </a:lnTo>
                  <a:lnTo>
                    <a:pt x="1248" y="2943"/>
                  </a:lnTo>
                  <a:lnTo>
                    <a:pt x="1251" y="2931"/>
                  </a:lnTo>
                  <a:lnTo>
                    <a:pt x="1252" y="2919"/>
                  </a:lnTo>
                  <a:lnTo>
                    <a:pt x="1253" y="2906"/>
                  </a:lnTo>
                  <a:lnTo>
                    <a:pt x="1253" y="2906"/>
                  </a:lnTo>
                  <a:lnTo>
                    <a:pt x="1253" y="2906"/>
                  </a:lnTo>
                  <a:lnTo>
                    <a:pt x="1253" y="2906"/>
                  </a:lnTo>
                  <a:lnTo>
                    <a:pt x="1265" y="2904"/>
                  </a:lnTo>
                  <a:lnTo>
                    <a:pt x="1277" y="2903"/>
                  </a:lnTo>
                  <a:lnTo>
                    <a:pt x="1289" y="2900"/>
                  </a:lnTo>
                  <a:lnTo>
                    <a:pt x="1300" y="2896"/>
                  </a:lnTo>
                  <a:lnTo>
                    <a:pt x="1310" y="2891"/>
                  </a:lnTo>
                  <a:lnTo>
                    <a:pt x="1321" y="2886"/>
                  </a:lnTo>
                  <a:lnTo>
                    <a:pt x="1330" y="2879"/>
                  </a:lnTo>
                  <a:lnTo>
                    <a:pt x="1339" y="2871"/>
                  </a:lnTo>
                  <a:lnTo>
                    <a:pt x="1347" y="2863"/>
                  </a:lnTo>
                  <a:lnTo>
                    <a:pt x="1354" y="2854"/>
                  </a:lnTo>
                  <a:lnTo>
                    <a:pt x="1360" y="2845"/>
                  </a:lnTo>
                  <a:lnTo>
                    <a:pt x="1366" y="2834"/>
                  </a:lnTo>
                  <a:lnTo>
                    <a:pt x="1371" y="2824"/>
                  </a:lnTo>
                  <a:lnTo>
                    <a:pt x="1374" y="2813"/>
                  </a:lnTo>
                  <a:lnTo>
                    <a:pt x="1376" y="2801"/>
                  </a:lnTo>
                  <a:lnTo>
                    <a:pt x="1378" y="2789"/>
                  </a:lnTo>
                  <a:lnTo>
                    <a:pt x="1378" y="2789"/>
                  </a:lnTo>
                  <a:lnTo>
                    <a:pt x="1397" y="2798"/>
                  </a:lnTo>
                  <a:lnTo>
                    <a:pt x="1419" y="2806"/>
                  </a:lnTo>
                  <a:lnTo>
                    <a:pt x="1440" y="2814"/>
                  </a:lnTo>
                  <a:lnTo>
                    <a:pt x="1461" y="2820"/>
                  </a:lnTo>
                  <a:lnTo>
                    <a:pt x="1482" y="2825"/>
                  </a:lnTo>
                  <a:lnTo>
                    <a:pt x="1505" y="2829"/>
                  </a:lnTo>
                  <a:lnTo>
                    <a:pt x="1528" y="2830"/>
                  </a:lnTo>
                  <a:lnTo>
                    <a:pt x="1551" y="2831"/>
                  </a:lnTo>
                  <a:lnTo>
                    <a:pt x="1551" y="2831"/>
                  </a:lnTo>
                  <a:lnTo>
                    <a:pt x="1579" y="2830"/>
                  </a:lnTo>
                  <a:lnTo>
                    <a:pt x="1607" y="2828"/>
                  </a:lnTo>
                  <a:lnTo>
                    <a:pt x="1632" y="2822"/>
                  </a:lnTo>
                  <a:lnTo>
                    <a:pt x="1658" y="2816"/>
                  </a:lnTo>
                  <a:lnTo>
                    <a:pt x="1683" y="2808"/>
                  </a:lnTo>
                  <a:lnTo>
                    <a:pt x="1707" y="2797"/>
                  </a:lnTo>
                  <a:lnTo>
                    <a:pt x="1730" y="2786"/>
                  </a:lnTo>
                  <a:lnTo>
                    <a:pt x="1752" y="2773"/>
                  </a:lnTo>
                  <a:lnTo>
                    <a:pt x="1752" y="2773"/>
                  </a:lnTo>
                  <a:lnTo>
                    <a:pt x="1763" y="2776"/>
                  </a:lnTo>
                  <a:lnTo>
                    <a:pt x="1773" y="2779"/>
                  </a:lnTo>
                  <a:lnTo>
                    <a:pt x="1784" y="2780"/>
                  </a:lnTo>
                  <a:lnTo>
                    <a:pt x="1794" y="2780"/>
                  </a:lnTo>
                  <a:lnTo>
                    <a:pt x="1794" y="2780"/>
                  </a:lnTo>
                  <a:lnTo>
                    <a:pt x="1805" y="2780"/>
                  </a:lnTo>
                  <a:lnTo>
                    <a:pt x="1816" y="2779"/>
                  </a:lnTo>
                  <a:lnTo>
                    <a:pt x="1816" y="2779"/>
                  </a:lnTo>
                  <a:lnTo>
                    <a:pt x="1825" y="2790"/>
                  </a:lnTo>
                  <a:lnTo>
                    <a:pt x="1835" y="2801"/>
                  </a:lnTo>
                  <a:lnTo>
                    <a:pt x="1847" y="2810"/>
                  </a:lnTo>
                  <a:lnTo>
                    <a:pt x="1859" y="2818"/>
                  </a:lnTo>
                  <a:lnTo>
                    <a:pt x="1874" y="2825"/>
                  </a:lnTo>
                  <a:lnTo>
                    <a:pt x="1888" y="2829"/>
                  </a:lnTo>
                  <a:lnTo>
                    <a:pt x="1903" y="2833"/>
                  </a:lnTo>
                  <a:lnTo>
                    <a:pt x="1920" y="2833"/>
                  </a:lnTo>
                  <a:lnTo>
                    <a:pt x="1920" y="2833"/>
                  </a:lnTo>
                  <a:lnTo>
                    <a:pt x="1935" y="2833"/>
                  </a:lnTo>
                  <a:lnTo>
                    <a:pt x="1949" y="2830"/>
                  </a:lnTo>
                  <a:lnTo>
                    <a:pt x="1962" y="2826"/>
                  </a:lnTo>
                  <a:lnTo>
                    <a:pt x="1976" y="2820"/>
                  </a:lnTo>
                  <a:lnTo>
                    <a:pt x="1988" y="2813"/>
                  </a:lnTo>
                  <a:lnTo>
                    <a:pt x="2000" y="2805"/>
                  </a:lnTo>
                  <a:lnTo>
                    <a:pt x="2010" y="2796"/>
                  </a:lnTo>
                  <a:lnTo>
                    <a:pt x="2019" y="2784"/>
                  </a:lnTo>
                  <a:lnTo>
                    <a:pt x="2019" y="2784"/>
                  </a:lnTo>
                  <a:lnTo>
                    <a:pt x="2038" y="2789"/>
                  </a:lnTo>
                  <a:lnTo>
                    <a:pt x="2059" y="2793"/>
                  </a:lnTo>
                  <a:lnTo>
                    <a:pt x="2079" y="2794"/>
                  </a:lnTo>
                  <a:lnTo>
                    <a:pt x="2100" y="2796"/>
                  </a:lnTo>
                  <a:lnTo>
                    <a:pt x="2100" y="2796"/>
                  </a:lnTo>
                  <a:lnTo>
                    <a:pt x="2127" y="2794"/>
                  </a:lnTo>
                  <a:lnTo>
                    <a:pt x="2152" y="2792"/>
                  </a:lnTo>
                  <a:lnTo>
                    <a:pt x="2176" y="2786"/>
                  </a:lnTo>
                  <a:lnTo>
                    <a:pt x="2199" y="2779"/>
                  </a:lnTo>
                  <a:lnTo>
                    <a:pt x="2223" y="2769"/>
                  </a:lnTo>
                  <a:lnTo>
                    <a:pt x="2244" y="2759"/>
                  </a:lnTo>
                  <a:lnTo>
                    <a:pt x="2266" y="2747"/>
                  </a:lnTo>
                  <a:lnTo>
                    <a:pt x="2285" y="2732"/>
                  </a:lnTo>
                  <a:lnTo>
                    <a:pt x="2305" y="2716"/>
                  </a:lnTo>
                  <a:lnTo>
                    <a:pt x="2322" y="2700"/>
                  </a:lnTo>
                  <a:lnTo>
                    <a:pt x="2338" y="2682"/>
                  </a:lnTo>
                  <a:lnTo>
                    <a:pt x="2353" y="2662"/>
                  </a:lnTo>
                  <a:lnTo>
                    <a:pt x="2366" y="2641"/>
                  </a:lnTo>
                  <a:lnTo>
                    <a:pt x="2377" y="2620"/>
                  </a:lnTo>
                  <a:lnTo>
                    <a:pt x="2386" y="2597"/>
                  </a:lnTo>
                  <a:lnTo>
                    <a:pt x="2394" y="2573"/>
                  </a:lnTo>
                  <a:lnTo>
                    <a:pt x="2394" y="2573"/>
                  </a:lnTo>
                  <a:lnTo>
                    <a:pt x="2406" y="2577"/>
                  </a:lnTo>
                  <a:lnTo>
                    <a:pt x="2416" y="2580"/>
                  </a:lnTo>
                  <a:lnTo>
                    <a:pt x="2428" y="2581"/>
                  </a:lnTo>
                  <a:lnTo>
                    <a:pt x="2442" y="2583"/>
                  </a:lnTo>
                  <a:lnTo>
                    <a:pt x="2442" y="2583"/>
                  </a:lnTo>
                  <a:lnTo>
                    <a:pt x="2452" y="2581"/>
                  </a:lnTo>
                  <a:lnTo>
                    <a:pt x="2464" y="2580"/>
                  </a:lnTo>
                  <a:lnTo>
                    <a:pt x="2475" y="2577"/>
                  </a:lnTo>
                  <a:lnTo>
                    <a:pt x="2485" y="2575"/>
                  </a:lnTo>
                  <a:lnTo>
                    <a:pt x="2496" y="2569"/>
                  </a:lnTo>
                  <a:lnTo>
                    <a:pt x="2505" y="2564"/>
                  </a:lnTo>
                  <a:lnTo>
                    <a:pt x="2514" y="2559"/>
                  </a:lnTo>
                  <a:lnTo>
                    <a:pt x="2524" y="2552"/>
                  </a:lnTo>
                  <a:lnTo>
                    <a:pt x="2532" y="2544"/>
                  </a:lnTo>
                  <a:lnTo>
                    <a:pt x="2538" y="2536"/>
                  </a:lnTo>
                  <a:lnTo>
                    <a:pt x="2545" y="2527"/>
                  </a:lnTo>
                  <a:lnTo>
                    <a:pt x="2551" y="2518"/>
                  </a:lnTo>
                  <a:lnTo>
                    <a:pt x="2555" y="2507"/>
                  </a:lnTo>
                  <a:lnTo>
                    <a:pt x="2559" y="2498"/>
                  </a:lnTo>
                  <a:lnTo>
                    <a:pt x="2563" y="2486"/>
                  </a:lnTo>
                  <a:lnTo>
                    <a:pt x="2565" y="2475"/>
                  </a:lnTo>
                  <a:lnTo>
                    <a:pt x="2565" y="2475"/>
                  </a:lnTo>
                  <a:lnTo>
                    <a:pt x="2587" y="2487"/>
                  </a:lnTo>
                  <a:lnTo>
                    <a:pt x="2610" y="2498"/>
                  </a:lnTo>
                  <a:lnTo>
                    <a:pt x="2632" y="2507"/>
                  </a:lnTo>
                  <a:lnTo>
                    <a:pt x="2656" y="2515"/>
                  </a:lnTo>
                  <a:lnTo>
                    <a:pt x="2681" y="2520"/>
                  </a:lnTo>
                  <a:lnTo>
                    <a:pt x="2706" y="2526"/>
                  </a:lnTo>
                  <a:lnTo>
                    <a:pt x="2731" y="2528"/>
                  </a:lnTo>
                  <a:lnTo>
                    <a:pt x="2758" y="2528"/>
                  </a:lnTo>
                  <a:lnTo>
                    <a:pt x="2758" y="2528"/>
                  </a:lnTo>
                  <a:lnTo>
                    <a:pt x="2783" y="2528"/>
                  </a:lnTo>
                  <a:lnTo>
                    <a:pt x="2808" y="2526"/>
                  </a:lnTo>
                  <a:lnTo>
                    <a:pt x="2832" y="2522"/>
                  </a:lnTo>
                  <a:lnTo>
                    <a:pt x="2856" y="2516"/>
                  </a:lnTo>
                  <a:lnTo>
                    <a:pt x="2880" y="2508"/>
                  </a:lnTo>
                  <a:lnTo>
                    <a:pt x="2902" y="2500"/>
                  </a:lnTo>
                  <a:lnTo>
                    <a:pt x="2923" y="2490"/>
                  </a:lnTo>
                  <a:lnTo>
                    <a:pt x="2944" y="2479"/>
                  </a:lnTo>
                  <a:lnTo>
                    <a:pt x="2964" y="2466"/>
                  </a:lnTo>
                  <a:lnTo>
                    <a:pt x="2984" y="2453"/>
                  </a:lnTo>
                  <a:lnTo>
                    <a:pt x="3003" y="2438"/>
                  </a:lnTo>
                  <a:lnTo>
                    <a:pt x="3020" y="2422"/>
                  </a:lnTo>
                  <a:lnTo>
                    <a:pt x="3036" y="2405"/>
                  </a:lnTo>
                  <a:lnTo>
                    <a:pt x="3052" y="2387"/>
                  </a:lnTo>
                  <a:lnTo>
                    <a:pt x="3066" y="2368"/>
                  </a:lnTo>
                  <a:lnTo>
                    <a:pt x="3078" y="2348"/>
                  </a:lnTo>
                  <a:lnTo>
                    <a:pt x="3078" y="2348"/>
                  </a:lnTo>
                  <a:lnTo>
                    <a:pt x="3099" y="2365"/>
                  </a:lnTo>
                  <a:lnTo>
                    <a:pt x="3122" y="2380"/>
                  </a:lnTo>
                  <a:lnTo>
                    <a:pt x="3146" y="2393"/>
                  </a:lnTo>
                  <a:lnTo>
                    <a:pt x="3171" y="2404"/>
                  </a:lnTo>
                  <a:lnTo>
                    <a:pt x="3197" y="2413"/>
                  </a:lnTo>
                  <a:lnTo>
                    <a:pt x="3224" y="2420"/>
                  </a:lnTo>
                  <a:lnTo>
                    <a:pt x="3251" y="2424"/>
                  </a:lnTo>
                  <a:lnTo>
                    <a:pt x="3281" y="2425"/>
                  </a:lnTo>
                  <a:lnTo>
                    <a:pt x="3281" y="2425"/>
                  </a:lnTo>
                  <a:lnTo>
                    <a:pt x="3306" y="2424"/>
                  </a:lnTo>
                  <a:lnTo>
                    <a:pt x="3329" y="2421"/>
                  </a:lnTo>
                  <a:lnTo>
                    <a:pt x="3352" y="2416"/>
                  </a:lnTo>
                  <a:lnTo>
                    <a:pt x="3376" y="2409"/>
                  </a:lnTo>
                  <a:lnTo>
                    <a:pt x="3397" y="2401"/>
                  </a:lnTo>
                  <a:lnTo>
                    <a:pt x="3418" y="2392"/>
                  </a:lnTo>
                  <a:lnTo>
                    <a:pt x="3439" y="2380"/>
                  </a:lnTo>
                  <a:lnTo>
                    <a:pt x="3458" y="2368"/>
                  </a:lnTo>
                  <a:lnTo>
                    <a:pt x="3476" y="2353"/>
                  </a:lnTo>
                  <a:lnTo>
                    <a:pt x="3494" y="2339"/>
                  </a:lnTo>
                  <a:lnTo>
                    <a:pt x="3509" y="2322"/>
                  </a:lnTo>
                  <a:lnTo>
                    <a:pt x="3524" y="2304"/>
                  </a:lnTo>
                  <a:lnTo>
                    <a:pt x="3537" y="2285"/>
                  </a:lnTo>
                  <a:lnTo>
                    <a:pt x="3549" y="2266"/>
                  </a:lnTo>
                  <a:lnTo>
                    <a:pt x="3560" y="2245"/>
                  </a:lnTo>
                  <a:lnTo>
                    <a:pt x="3568" y="2224"/>
                  </a:lnTo>
                  <a:lnTo>
                    <a:pt x="3568" y="2224"/>
                  </a:lnTo>
                  <a:lnTo>
                    <a:pt x="3588" y="2228"/>
                  </a:lnTo>
                  <a:lnTo>
                    <a:pt x="3597" y="2229"/>
                  </a:lnTo>
                  <a:lnTo>
                    <a:pt x="3607" y="2229"/>
                  </a:lnTo>
                  <a:lnTo>
                    <a:pt x="3607" y="2229"/>
                  </a:lnTo>
                  <a:lnTo>
                    <a:pt x="3623" y="2228"/>
                  </a:lnTo>
                  <a:lnTo>
                    <a:pt x="3638" y="2225"/>
                  </a:lnTo>
                  <a:lnTo>
                    <a:pt x="3652" y="2221"/>
                  </a:lnTo>
                  <a:lnTo>
                    <a:pt x="3667" y="2214"/>
                  </a:lnTo>
                  <a:lnTo>
                    <a:pt x="3679" y="2206"/>
                  </a:lnTo>
                  <a:lnTo>
                    <a:pt x="3691" y="2197"/>
                  </a:lnTo>
                  <a:lnTo>
                    <a:pt x="3701" y="2187"/>
                  </a:lnTo>
                  <a:lnTo>
                    <a:pt x="3711" y="2175"/>
                  </a:lnTo>
                  <a:lnTo>
                    <a:pt x="3711" y="2175"/>
                  </a:lnTo>
                  <a:lnTo>
                    <a:pt x="3730" y="2184"/>
                  </a:lnTo>
                  <a:lnTo>
                    <a:pt x="3752" y="2193"/>
                  </a:lnTo>
                  <a:lnTo>
                    <a:pt x="3773" y="2201"/>
                  </a:lnTo>
                  <a:lnTo>
                    <a:pt x="3795" y="2208"/>
                  </a:lnTo>
                  <a:lnTo>
                    <a:pt x="3818" y="2212"/>
                  </a:lnTo>
                  <a:lnTo>
                    <a:pt x="3840" y="2216"/>
                  </a:lnTo>
                  <a:lnTo>
                    <a:pt x="3864" y="2218"/>
                  </a:lnTo>
                  <a:lnTo>
                    <a:pt x="3888" y="2218"/>
                  </a:lnTo>
                  <a:lnTo>
                    <a:pt x="3888" y="2218"/>
                  </a:lnTo>
                  <a:lnTo>
                    <a:pt x="3905" y="2218"/>
                  </a:lnTo>
                  <a:lnTo>
                    <a:pt x="3922" y="2217"/>
                  </a:lnTo>
                  <a:lnTo>
                    <a:pt x="3940" y="2216"/>
                  </a:lnTo>
                  <a:lnTo>
                    <a:pt x="3957" y="2213"/>
                  </a:lnTo>
                  <a:lnTo>
                    <a:pt x="3990" y="2205"/>
                  </a:lnTo>
                  <a:lnTo>
                    <a:pt x="4022" y="2195"/>
                  </a:lnTo>
                  <a:lnTo>
                    <a:pt x="4052" y="2181"/>
                  </a:lnTo>
                  <a:lnTo>
                    <a:pt x="4081" y="2165"/>
                  </a:lnTo>
                  <a:lnTo>
                    <a:pt x="4108" y="2147"/>
                  </a:lnTo>
                  <a:lnTo>
                    <a:pt x="4134" y="2127"/>
                  </a:lnTo>
                  <a:lnTo>
                    <a:pt x="4134" y="2127"/>
                  </a:lnTo>
                  <a:lnTo>
                    <a:pt x="4150" y="2136"/>
                  </a:lnTo>
                  <a:lnTo>
                    <a:pt x="4168" y="2144"/>
                  </a:lnTo>
                  <a:lnTo>
                    <a:pt x="4187" y="2148"/>
                  </a:lnTo>
                  <a:lnTo>
                    <a:pt x="4196" y="2150"/>
                  </a:lnTo>
                  <a:lnTo>
                    <a:pt x="4207" y="2150"/>
                  </a:lnTo>
                  <a:lnTo>
                    <a:pt x="4207" y="2150"/>
                  </a:lnTo>
                  <a:lnTo>
                    <a:pt x="4220" y="2150"/>
                  </a:lnTo>
                  <a:lnTo>
                    <a:pt x="4232" y="2147"/>
                  </a:lnTo>
                  <a:lnTo>
                    <a:pt x="4244" y="2144"/>
                  </a:lnTo>
                  <a:lnTo>
                    <a:pt x="4256" y="2140"/>
                  </a:lnTo>
                  <a:lnTo>
                    <a:pt x="4266" y="2135"/>
                  </a:lnTo>
                  <a:lnTo>
                    <a:pt x="4277" y="2130"/>
                  </a:lnTo>
                  <a:lnTo>
                    <a:pt x="4286" y="2122"/>
                  </a:lnTo>
                  <a:lnTo>
                    <a:pt x="4294" y="2114"/>
                  </a:lnTo>
                  <a:lnTo>
                    <a:pt x="4303" y="2106"/>
                  </a:lnTo>
                  <a:lnTo>
                    <a:pt x="4310" y="2097"/>
                  </a:lnTo>
                  <a:lnTo>
                    <a:pt x="4317" y="2086"/>
                  </a:lnTo>
                  <a:lnTo>
                    <a:pt x="4322" y="2075"/>
                  </a:lnTo>
                  <a:lnTo>
                    <a:pt x="4326" y="2063"/>
                  </a:lnTo>
                  <a:lnTo>
                    <a:pt x="4330" y="2052"/>
                  </a:lnTo>
                  <a:lnTo>
                    <a:pt x="4331" y="2040"/>
                  </a:lnTo>
                  <a:lnTo>
                    <a:pt x="4333" y="2028"/>
                  </a:lnTo>
                  <a:lnTo>
                    <a:pt x="4333" y="2028"/>
                  </a:lnTo>
                  <a:lnTo>
                    <a:pt x="4350" y="2022"/>
                  </a:lnTo>
                  <a:lnTo>
                    <a:pt x="4367" y="2017"/>
                  </a:lnTo>
                  <a:lnTo>
                    <a:pt x="4367" y="2017"/>
                  </a:lnTo>
                  <a:lnTo>
                    <a:pt x="4378" y="2020"/>
                  </a:lnTo>
                  <a:lnTo>
                    <a:pt x="4388" y="2022"/>
                  </a:lnTo>
                  <a:lnTo>
                    <a:pt x="4400" y="2024"/>
                  </a:lnTo>
                  <a:lnTo>
                    <a:pt x="4411" y="2025"/>
                  </a:lnTo>
                  <a:lnTo>
                    <a:pt x="4411" y="2025"/>
                  </a:lnTo>
                  <a:lnTo>
                    <a:pt x="4421" y="2024"/>
                  </a:lnTo>
                  <a:lnTo>
                    <a:pt x="4432" y="2022"/>
                  </a:lnTo>
                  <a:lnTo>
                    <a:pt x="4441" y="2021"/>
                  </a:lnTo>
                  <a:lnTo>
                    <a:pt x="4452" y="2018"/>
                  </a:lnTo>
                  <a:lnTo>
                    <a:pt x="4461" y="2014"/>
                  </a:lnTo>
                  <a:lnTo>
                    <a:pt x="4470" y="2010"/>
                  </a:lnTo>
                  <a:lnTo>
                    <a:pt x="4486" y="2000"/>
                  </a:lnTo>
                  <a:lnTo>
                    <a:pt x="4501" y="1987"/>
                  </a:lnTo>
                  <a:lnTo>
                    <a:pt x="4514" y="1971"/>
                  </a:lnTo>
                  <a:lnTo>
                    <a:pt x="4523" y="1954"/>
                  </a:lnTo>
                  <a:lnTo>
                    <a:pt x="4527" y="1944"/>
                  </a:lnTo>
                  <a:lnTo>
                    <a:pt x="4531" y="1935"/>
                  </a:lnTo>
                  <a:lnTo>
                    <a:pt x="4531" y="1935"/>
                  </a:lnTo>
                  <a:lnTo>
                    <a:pt x="4551" y="1950"/>
                  </a:lnTo>
                  <a:lnTo>
                    <a:pt x="4572" y="1961"/>
                  </a:lnTo>
                  <a:lnTo>
                    <a:pt x="4595" y="1972"/>
                  </a:lnTo>
                  <a:lnTo>
                    <a:pt x="4617" y="1981"/>
                  </a:lnTo>
                  <a:lnTo>
                    <a:pt x="4641" y="1989"/>
                  </a:lnTo>
                  <a:lnTo>
                    <a:pt x="4666" y="1995"/>
                  </a:lnTo>
                  <a:lnTo>
                    <a:pt x="4691" y="1997"/>
                  </a:lnTo>
                  <a:lnTo>
                    <a:pt x="4716" y="1999"/>
                  </a:lnTo>
                  <a:lnTo>
                    <a:pt x="4716" y="1999"/>
                  </a:lnTo>
                  <a:lnTo>
                    <a:pt x="4735" y="1999"/>
                  </a:lnTo>
                  <a:lnTo>
                    <a:pt x="4752" y="1996"/>
                  </a:lnTo>
                  <a:lnTo>
                    <a:pt x="4769" y="1993"/>
                  </a:lnTo>
                  <a:lnTo>
                    <a:pt x="4786" y="1991"/>
                  </a:lnTo>
                  <a:lnTo>
                    <a:pt x="4804" y="1987"/>
                  </a:lnTo>
                  <a:lnTo>
                    <a:pt x="4820" y="1981"/>
                  </a:lnTo>
                  <a:lnTo>
                    <a:pt x="4835" y="1975"/>
                  </a:lnTo>
                  <a:lnTo>
                    <a:pt x="4851" y="1968"/>
                  </a:lnTo>
                  <a:lnTo>
                    <a:pt x="4866" y="1960"/>
                  </a:lnTo>
                  <a:lnTo>
                    <a:pt x="4880" y="1951"/>
                  </a:lnTo>
                  <a:lnTo>
                    <a:pt x="4894" y="1942"/>
                  </a:lnTo>
                  <a:lnTo>
                    <a:pt x="4907" y="1932"/>
                  </a:lnTo>
                  <a:lnTo>
                    <a:pt x="4920" y="1922"/>
                  </a:lnTo>
                  <a:lnTo>
                    <a:pt x="4932" y="1910"/>
                  </a:lnTo>
                  <a:lnTo>
                    <a:pt x="4944" y="1898"/>
                  </a:lnTo>
                  <a:lnTo>
                    <a:pt x="4955" y="1885"/>
                  </a:lnTo>
                  <a:lnTo>
                    <a:pt x="4955" y="1885"/>
                  </a:lnTo>
                  <a:lnTo>
                    <a:pt x="4972" y="1889"/>
                  </a:lnTo>
                  <a:lnTo>
                    <a:pt x="4988" y="1893"/>
                  </a:lnTo>
                  <a:lnTo>
                    <a:pt x="5005" y="1894"/>
                  </a:lnTo>
                  <a:lnTo>
                    <a:pt x="5023" y="1895"/>
                  </a:lnTo>
                  <a:lnTo>
                    <a:pt x="5023" y="1895"/>
                  </a:lnTo>
                  <a:lnTo>
                    <a:pt x="5043" y="1894"/>
                  </a:lnTo>
                  <a:lnTo>
                    <a:pt x="5043" y="1894"/>
                  </a:lnTo>
                  <a:lnTo>
                    <a:pt x="5060" y="1911"/>
                  </a:lnTo>
                  <a:lnTo>
                    <a:pt x="5080" y="1927"/>
                  </a:lnTo>
                  <a:lnTo>
                    <a:pt x="5101" y="1940"/>
                  </a:lnTo>
                  <a:lnTo>
                    <a:pt x="5124" y="1952"/>
                  </a:lnTo>
                  <a:lnTo>
                    <a:pt x="5148" y="1961"/>
                  </a:lnTo>
                  <a:lnTo>
                    <a:pt x="5172" y="1968"/>
                  </a:lnTo>
                  <a:lnTo>
                    <a:pt x="5198" y="1972"/>
                  </a:lnTo>
                  <a:lnTo>
                    <a:pt x="5224" y="1973"/>
                  </a:lnTo>
                  <a:lnTo>
                    <a:pt x="5224" y="1973"/>
                  </a:lnTo>
                  <a:lnTo>
                    <a:pt x="5239" y="1973"/>
                  </a:lnTo>
                  <a:lnTo>
                    <a:pt x="5252" y="1972"/>
                  </a:lnTo>
                  <a:lnTo>
                    <a:pt x="5267" y="1971"/>
                  </a:lnTo>
                  <a:lnTo>
                    <a:pt x="5280" y="1968"/>
                  </a:lnTo>
                  <a:lnTo>
                    <a:pt x="5307" y="1960"/>
                  </a:lnTo>
                  <a:lnTo>
                    <a:pt x="5332" y="1950"/>
                  </a:lnTo>
                  <a:lnTo>
                    <a:pt x="5354" y="1936"/>
                  </a:lnTo>
                  <a:lnTo>
                    <a:pt x="5377" y="1922"/>
                  </a:lnTo>
                  <a:lnTo>
                    <a:pt x="5397" y="1903"/>
                  </a:lnTo>
                  <a:lnTo>
                    <a:pt x="5414" y="1883"/>
                  </a:lnTo>
                  <a:lnTo>
                    <a:pt x="5414" y="1883"/>
                  </a:lnTo>
                  <a:lnTo>
                    <a:pt x="5430" y="1879"/>
                  </a:lnTo>
                  <a:lnTo>
                    <a:pt x="5445" y="1873"/>
                  </a:lnTo>
                  <a:lnTo>
                    <a:pt x="5460" y="1866"/>
                  </a:lnTo>
                  <a:lnTo>
                    <a:pt x="5473" y="1858"/>
                  </a:lnTo>
                  <a:lnTo>
                    <a:pt x="5487" y="1849"/>
                  </a:lnTo>
                  <a:lnTo>
                    <a:pt x="5498" y="1838"/>
                  </a:lnTo>
                  <a:lnTo>
                    <a:pt x="5510" y="1826"/>
                  </a:lnTo>
                  <a:lnTo>
                    <a:pt x="5521" y="1814"/>
                  </a:lnTo>
                  <a:lnTo>
                    <a:pt x="5530" y="1801"/>
                  </a:lnTo>
                  <a:lnTo>
                    <a:pt x="5538" y="1788"/>
                  </a:lnTo>
                  <a:lnTo>
                    <a:pt x="5546" y="1773"/>
                  </a:lnTo>
                  <a:lnTo>
                    <a:pt x="5551" y="1758"/>
                  </a:lnTo>
                  <a:lnTo>
                    <a:pt x="5557" y="1743"/>
                  </a:lnTo>
                  <a:lnTo>
                    <a:pt x="5561" y="1726"/>
                  </a:lnTo>
                  <a:lnTo>
                    <a:pt x="5562" y="1710"/>
                  </a:lnTo>
                  <a:lnTo>
                    <a:pt x="5563" y="1693"/>
                  </a:lnTo>
                  <a:lnTo>
                    <a:pt x="5563" y="1693"/>
                  </a:lnTo>
                  <a:lnTo>
                    <a:pt x="5562" y="1671"/>
                  </a:lnTo>
                  <a:lnTo>
                    <a:pt x="5559" y="1653"/>
                  </a:lnTo>
                  <a:lnTo>
                    <a:pt x="5554" y="1633"/>
                  </a:lnTo>
                  <a:lnTo>
                    <a:pt x="5547" y="1615"/>
                  </a:lnTo>
                  <a:lnTo>
                    <a:pt x="5539" y="1597"/>
                  </a:lnTo>
                  <a:lnTo>
                    <a:pt x="5529" y="1581"/>
                  </a:lnTo>
                  <a:lnTo>
                    <a:pt x="5518" y="1567"/>
                  </a:lnTo>
                  <a:lnTo>
                    <a:pt x="5505" y="1552"/>
                  </a:lnTo>
                  <a:lnTo>
                    <a:pt x="5490" y="1539"/>
                  </a:lnTo>
                  <a:lnTo>
                    <a:pt x="5476" y="1528"/>
                  </a:lnTo>
                  <a:lnTo>
                    <a:pt x="5459" y="1518"/>
                  </a:lnTo>
                  <a:lnTo>
                    <a:pt x="5442" y="1510"/>
                  </a:lnTo>
                  <a:lnTo>
                    <a:pt x="5424" y="1503"/>
                  </a:lnTo>
                  <a:lnTo>
                    <a:pt x="5404" y="1498"/>
                  </a:lnTo>
                  <a:lnTo>
                    <a:pt x="5385" y="1495"/>
                  </a:lnTo>
                  <a:lnTo>
                    <a:pt x="5365" y="1494"/>
                  </a:lnTo>
                  <a:lnTo>
                    <a:pt x="5365" y="1494"/>
                  </a:lnTo>
                  <a:close/>
                  <a:moveTo>
                    <a:pt x="1171" y="2684"/>
                  </a:moveTo>
                  <a:lnTo>
                    <a:pt x="1171" y="2684"/>
                  </a:lnTo>
                  <a:lnTo>
                    <a:pt x="1170" y="2675"/>
                  </a:lnTo>
                  <a:lnTo>
                    <a:pt x="1170" y="2675"/>
                  </a:lnTo>
                  <a:lnTo>
                    <a:pt x="1186" y="2669"/>
                  </a:lnTo>
                  <a:lnTo>
                    <a:pt x="1199" y="2661"/>
                  </a:lnTo>
                  <a:lnTo>
                    <a:pt x="1212" y="2650"/>
                  </a:lnTo>
                  <a:lnTo>
                    <a:pt x="1224" y="2638"/>
                  </a:lnTo>
                  <a:lnTo>
                    <a:pt x="1224" y="2638"/>
                  </a:lnTo>
                  <a:lnTo>
                    <a:pt x="1235" y="2655"/>
                  </a:lnTo>
                  <a:lnTo>
                    <a:pt x="1235" y="2655"/>
                  </a:lnTo>
                  <a:lnTo>
                    <a:pt x="1217" y="2659"/>
                  </a:lnTo>
                  <a:lnTo>
                    <a:pt x="1200" y="2666"/>
                  </a:lnTo>
                  <a:lnTo>
                    <a:pt x="1186" y="2674"/>
                  </a:lnTo>
                  <a:lnTo>
                    <a:pt x="1171" y="2684"/>
                  </a:lnTo>
                  <a:lnTo>
                    <a:pt x="1171" y="2684"/>
                  </a:lnTo>
                  <a:close/>
                </a:path>
              </a:pathLst>
            </a:custGeom>
            <a:solidFill>
              <a:srgbClr val="FBB715">
                <a:alpha val="90000"/>
              </a:srgbClr>
            </a:solidFill>
            <a:ln>
              <a:noFill/>
            </a:ln>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126" name="그룹 125"/>
          <p:cNvGrpSpPr/>
          <p:nvPr userDrawn="1"/>
        </p:nvGrpSpPr>
        <p:grpSpPr>
          <a:xfrm>
            <a:off x="6400114" y="899569"/>
            <a:ext cx="221193" cy="273193"/>
            <a:chOff x="4264075" y="4816511"/>
            <a:chExt cx="331791" cy="384179"/>
          </a:xfrm>
        </p:grpSpPr>
        <p:sp>
          <p:nvSpPr>
            <p:cNvPr id="127" name="Freeform 626"/>
            <p:cNvSpPr>
              <a:spLocks/>
            </p:cNvSpPr>
            <p:nvPr/>
          </p:nvSpPr>
          <p:spPr bwMode="auto">
            <a:xfrm>
              <a:off x="4556178" y="5127664"/>
              <a:ext cx="1588" cy="1588"/>
            </a:xfrm>
            <a:custGeom>
              <a:avLst/>
              <a:gdLst>
                <a:gd name="T0" fmla="*/ 2 w 2"/>
                <a:gd name="T1" fmla="*/ 3 h 3"/>
                <a:gd name="T2" fmla="*/ 2 w 2"/>
                <a:gd name="T3" fmla="*/ 3 h 3"/>
                <a:gd name="T4" fmla="*/ 0 w 2"/>
                <a:gd name="T5" fmla="*/ 0 h 3"/>
                <a:gd name="T6" fmla="*/ 0 w 2"/>
                <a:gd name="T7" fmla="*/ 0 h 3"/>
                <a:gd name="T8" fmla="*/ 2 w 2"/>
                <a:gd name="T9" fmla="*/ 3 h 3"/>
                <a:gd name="T10" fmla="*/ 2 w 2"/>
                <a:gd name="T11" fmla="*/ 3 h 3"/>
              </a:gdLst>
              <a:ahLst/>
              <a:cxnLst>
                <a:cxn ang="0">
                  <a:pos x="T0" y="T1"/>
                </a:cxn>
                <a:cxn ang="0">
                  <a:pos x="T2" y="T3"/>
                </a:cxn>
                <a:cxn ang="0">
                  <a:pos x="T4" y="T5"/>
                </a:cxn>
                <a:cxn ang="0">
                  <a:pos x="T6" y="T7"/>
                </a:cxn>
                <a:cxn ang="0">
                  <a:pos x="T8" y="T9"/>
                </a:cxn>
                <a:cxn ang="0">
                  <a:pos x="T10" y="T11"/>
                </a:cxn>
              </a:cxnLst>
              <a:rect l="0" t="0" r="r" b="b"/>
              <a:pathLst>
                <a:path w="2" h="3">
                  <a:moveTo>
                    <a:pt x="2" y="3"/>
                  </a:moveTo>
                  <a:lnTo>
                    <a:pt x="2" y="3"/>
                  </a:lnTo>
                  <a:lnTo>
                    <a:pt x="0" y="0"/>
                  </a:lnTo>
                  <a:lnTo>
                    <a:pt x="0" y="0"/>
                  </a:lnTo>
                  <a:lnTo>
                    <a:pt x="2" y="3"/>
                  </a:lnTo>
                  <a:lnTo>
                    <a:pt x="2" y="3"/>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28" name="Freeform 627"/>
            <p:cNvSpPr>
              <a:spLocks/>
            </p:cNvSpPr>
            <p:nvPr/>
          </p:nvSpPr>
          <p:spPr bwMode="auto">
            <a:xfrm>
              <a:off x="4535540" y="5116552"/>
              <a:ext cx="3175" cy="1588"/>
            </a:xfrm>
            <a:custGeom>
              <a:avLst/>
              <a:gdLst>
                <a:gd name="T0" fmla="*/ 0 w 10"/>
                <a:gd name="T1" fmla="*/ 0 h 3"/>
                <a:gd name="T2" fmla="*/ 0 w 10"/>
                <a:gd name="T3" fmla="*/ 0 h 3"/>
                <a:gd name="T4" fmla="*/ 10 w 10"/>
                <a:gd name="T5" fmla="*/ 3 h 3"/>
                <a:gd name="T6" fmla="*/ 10 w 10"/>
                <a:gd name="T7" fmla="*/ 3 h 3"/>
                <a:gd name="T8" fmla="*/ 0 w 10"/>
                <a:gd name="T9" fmla="*/ 0 h 3"/>
                <a:gd name="T10" fmla="*/ 0 w 10"/>
                <a:gd name="T11" fmla="*/ 0 h 3"/>
              </a:gdLst>
              <a:ahLst/>
              <a:cxnLst>
                <a:cxn ang="0">
                  <a:pos x="T0" y="T1"/>
                </a:cxn>
                <a:cxn ang="0">
                  <a:pos x="T2" y="T3"/>
                </a:cxn>
                <a:cxn ang="0">
                  <a:pos x="T4" y="T5"/>
                </a:cxn>
                <a:cxn ang="0">
                  <a:pos x="T6" y="T7"/>
                </a:cxn>
                <a:cxn ang="0">
                  <a:pos x="T8" y="T9"/>
                </a:cxn>
                <a:cxn ang="0">
                  <a:pos x="T10" y="T11"/>
                </a:cxn>
              </a:cxnLst>
              <a:rect l="0" t="0" r="r" b="b"/>
              <a:pathLst>
                <a:path w="10" h="3">
                  <a:moveTo>
                    <a:pt x="0" y="0"/>
                  </a:moveTo>
                  <a:lnTo>
                    <a:pt x="0" y="0"/>
                  </a:lnTo>
                  <a:lnTo>
                    <a:pt x="10" y="3"/>
                  </a:lnTo>
                  <a:lnTo>
                    <a:pt x="10" y="3"/>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29" name="Freeform 628"/>
            <p:cNvSpPr>
              <a:spLocks/>
            </p:cNvSpPr>
            <p:nvPr/>
          </p:nvSpPr>
          <p:spPr bwMode="auto">
            <a:xfrm>
              <a:off x="4546653" y="5121314"/>
              <a:ext cx="3175" cy="1588"/>
            </a:xfrm>
            <a:custGeom>
              <a:avLst/>
              <a:gdLst>
                <a:gd name="T0" fmla="*/ 0 w 9"/>
                <a:gd name="T1" fmla="*/ 0 h 5"/>
                <a:gd name="T2" fmla="*/ 0 w 9"/>
                <a:gd name="T3" fmla="*/ 0 h 5"/>
                <a:gd name="T4" fmla="*/ 9 w 9"/>
                <a:gd name="T5" fmla="*/ 5 h 5"/>
                <a:gd name="T6" fmla="*/ 9 w 9"/>
                <a:gd name="T7" fmla="*/ 5 h 5"/>
                <a:gd name="T8" fmla="*/ 0 w 9"/>
                <a:gd name="T9" fmla="*/ 0 h 5"/>
                <a:gd name="T10" fmla="*/ 0 w 9"/>
                <a:gd name="T11" fmla="*/ 0 h 5"/>
              </a:gdLst>
              <a:ahLst/>
              <a:cxnLst>
                <a:cxn ang="0">
                  <a:pos x="T0" y="T1"/>
                </a:cxn>
                <a:cxn ang="0">
                  <a:pos x="T2" y="T3"/>
                </a:cxn>
                <a:cxn ang="0">
                  <a:pos x="T4" y="T5"/>
                </a:cxn>
                <a:cxn ang="0">
                  <a:pos x="T6" y="T7"/>
                </a:cxn>
                <a:cxn ang="0">
                  <a:pos x="T8" y="T9"/>
                </a:cxn>
                <a:cxn ang="0">
                  <a:pos x="T10" y="T11"/>
                </a:cxn>
              </a:cxnLst>
              <a:rect l="0" t="0" r="r" b="b"/>
              <a:pathLst>
                <a:path w="9" h="5">
                  <a:moveTo>
                    <a:pt x="0" y="0"/>
                  </a:moveTo>
                  <a:lnTo>
                    <a:pt x="0" y="0"/>
                  </a:lnTo>
                  <a:lnTo>
                    <a:pt x="9" y="5"/>
                  </a:lnTo>
                  <a:lnTo>
                    <a:pt x="9" y="5"/>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30" name="Freeform 629"/>
            <p:cNvSpPr>
              <a:spLocks/>
            </p:cNvSpPr>
            <p:nvPr/>
          </p:nvSpPr>
          <p:spPr bwMode="auto">
            <a:xfrm>
              <a:off x="4538715" y="5118139"/>
              <a:ext cx="7938" cy="3175"/>
            </a:xfrm>
            <a:custGeom>
              <a:avLst/>
              <a:gdLst>
                <a:gd name="T0" fmla="*/ 0 w 25"/>
                <a:gd name="T1" fmla="*/ 0 h 9"/>
                <a:gd name="T2" fmla="*/ 0 w 25"/>
                <a:gd name="T3" fmla="*/ 0 h 9"/>
                <a:gd name="T4" fmla="*/ 13 w 25"/>
                <a:gd name="T5" fmla="*/ 5 h 9"/>
                <a:gd name="T6" fmla="*/ 25 w 25"/>
                <a:gd name="T7" fmla="*/ 9 h 9"/>
                <a:gd name="T8" fmla="*/ 25 w 25"/>
                <a:gd name="T9" fmla="*/ 9 h 9"/>
                <a:gd name="T10" fmla="*/ 13 w 25"/>
                <a:gd name="T11" fmla="*/ 5 h 9"/>
                <a:gd name="T12" fmla="*/ 0 w 25"/>
                <a:gd name="T13" fmla="*/ 0 h 9"/>
                <a:gd name="T14" fmla="*/ 0 w 25"/>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9">
                  <a:moveTo>
                    <a:pt x="0" y="0"/>
                  </a:moveTo>
                  <a:lnTo>
                    <a:pt x="0" y="0"/>
                  </a:lnTo>
                  <a:lnTo>
                    <a:pt x="13" y="5"/>
                  </a:lnTo>
                  <a:lnTo>
                    <a:pt x="25" y="9"/>
                  </a:lnTo>
                  <a:lnTo>
                    <a:pt x="25" y="9"/>
                  </a:lnTo>
                  <a:lnTo>
                    <a:pt x="13" y="5"/>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31" name="Freeform 630"/>
            <p:cNvSpPr>
              <a:spLocks/>
            </p:cNvSpPr>
            <p:nvPr/>
          </p:nvSpPr>
          <p:spPr bwMode="auto">
            <a:xfrm>
              <a:off x="4484740" y="5116552"/>
              <a:ext cx="50800" cy="71438"/>
            </a:xfrm>
            <a:custGeom>
              <a:avLst/>
              <a:gdLst>
                <a:gd name="T0" fmla="*/ 66 w 156"/>
                <a:gd name="T1" fmla="*/ 99 h 226"/>
                <a:gd name="T2" fmla="*/ 66 w 156"/>
                <a:gd name="T3" fmla="*/ 99 h 226"/>
                <a:gd name="T4" fmla="*/ 67 w 156"/>
                <a:gd name="T5" fmla="*/ 89 h 226"/>
                <a:gd name="T6" fmla="*/ 68 w 156"/>
                <a:gd name="T7" fmla="*/ 80 h 226"/>
                <a:gd name="T8" fmla="*/ 70 w 156"/>
                <a:gd name="T9" fmla="*/ 71 h 226"/>
                <a:gd name="T10" fmla="*/ 73 w 156"/>
                <a:gd name="T11" fmla="*/ 62 h 226"/>
                <a:gd name="T12" fmla="*/ 77 w 156"/>
                <a:gd name="T13" fmla="*/ 55 h 226"/>
                <a:gd name="T14" fmla="*/ 81 w 156"/>
                <a:gd name="T15" fmla="*/ 46 h 226"/>
                <a:gd name="T16" fmla="*/ 86 w 156"/>
                <a:gd name="T17" fmla="*/ 39 h 226"/>
                <a:gd name="T18" fmla="*/ 92 w 156"/>
                <a:gd name="T19" fmla="*/ 33 h 226"/>
                <a:gd name="T20" fmla="*/ 98 w 156"/>
                <a:gd name="T21" fmla="*/ 27 h 226"/>
                <a:gd name="T22" fmla="*/ 106 w 156"/>
                <a:gd name="T23" fmla="*/ 21 h 226"/>
                <a:gd name="T24" fmla="*/ 113 w 156"/>
                <a:gd name="T25" fmla="*/ 16 h 226"/>
                <a:gd name="T26" fmla="*/ 120 w 156"/>
                <a:gd name="T27" fmla="*/ 11 h 226"/>
                <a:gd name="T28" fmla="*/ 129 w 156"/>
                <a:gd name="T29" fmla="*/ 7 h 226"/>
                <a:gd name="T30" fmla="*/ 137 w 156"/>
                <a:gd name="T31" fmla="*/ 5 h 226"/>
                <a:gd name="T32" fmla="*/ 147 w 156"/>
                <a:gd name="T33" fmla="*/ 2 h 226"/>
                <a:gd name="T34" fmla="*/ 156 w 156"/>
                <a:gd name="T35" fmla="*/ 1 h 226"/>
                <a:gd name="T36" fmla="*/ 156 w 156"/>
                <a:gd name="T37" fmla="*/ 1 h 226"/>
                <a:gd name="T38" fmla="*/ 145 w 156"/>
                <a:gd name="T39" fmla="*/ 0 h 226"/>
                <a:gd name="T40" fmla="*/ 133 w 156"/>
                <a:gd name="T41" fmla="*/ 0 h 226"/>
                <a:gd name="T42" fmla="*/ 133 w 156"/>
                <a:gd name="T43" fmla="*/ 0 h 226"/>
                <a:gd name="T44" fmla="*/ 119 w 156"/>
                <a:gd name="T45" fmla="*/ 0 h 226"/>
                <a:gd name="T46" fmla="*/ 106 w 156"/>
                <a:gd name="T47" fmla="*/ 2 h 226"/>
                <a:gd name="T48" fmla="*/ 94 w 156"/>
                <a:gd name="T49" fmla="*/ 5 h 226"/>
                <a:gd name="T50" fmla="*/ 81 w 156"/>
                <a:gd name="T51" fmla="*/ 10 h 226"/>
                <a:gd name="T52" fmla="*/ 69 w 156"/>
                <a:gd name="T53" fmla="*/ 16 h 226"/>
                <a:gd name="T54" fmla="*/ 58 w 156"/>
                <a:gd name="T55" fmla="*/ 22 h 226"/>
                <a:gd name="T56" fmla="*/ 48 w 156"/>
                <a:gd name="T57" fmla="*/ 29 h 226"/>
                <a:gd name="T58" fmla="*/ 39 w 156"/>
                <a:gd name="T59" fmla="*/ 38 h 226"/>
                <a:gd name="T60" fmla="*/ 30 w 156"/>
                <a:gd name="T61" fmla="*/ 48 h 226"/>
                <a:gd name="T62" fmla="*/ 23 w 156"/>
                <a:gd name="T63" fmla="*/ 59 h 226"/>
                <a:gd name="T64" fmla="*/ 17 w 156"/>
                <a:gd name="T65" fmla="*/ 68 h 226"/>
                <a:gd name="T66" fmla="*/ 11 w 156"/>
                <a:gd name="T67" fmla="*/ 80 h 226"/>
                <a:gd name="T68" fmla="*/ 6 w 156"/>
                <a:gd name="T69" fmla="*/ 93 h 226"/>
                <a:gd name="T70" fmla="*/ 3 w 156"/>
                <a:gd name="T71" fmla="*/ 105 h 226"/>
                <a:gd name="T72" fmla="*/ 1 w 156"/>
                <a:gd name="T73" fmla="*/ 118 h 226"/>
                <a:gd name="T74" fmla="*/ 0 w 156"/>
                <a:gd name="T75" fmla="*/ 132 h 226"/>
                <a:gd name="T76" fmla="*/ 0 w 156"/>
                <a:gd name="T77" fmla="*/ 132 h 226"/>
                <a:gd name="T78" fmla="*/ 1 w 156"/>
                <a:gd name="T79" fmla="*/ 145 h 226"/>
                <a:gd name="T80" fmla="*/ 3 w 156"/>
                <a:gd name="T81" fmla="*/ 158 h 226"/>
                <a:gd name="T82" fmla="*/ 6 w 156"/>
                <a:gd name="T83" fmla="*/ 172 h 226"/>
                <a:gd name="T84" fmla="*/ 11 w 156"/>
                <a:gd name="T85" fmla="*/ 184 h 226"/>
                <a:gd name="T86" fmla="*/ 16 w 156"/>
                <a:gd name="T87" fmla="*/ 195 h 226"/>
                <a:gd name="T88" fmla="*/ 23 w 156"/>
                <a:gd name="T89" fmla="*/ 206 h 226"/>
                <a:gd name="T90" fmla="*/ 30 w 156"/>
                <a:gd name="T91" fmla="*/ 216 h 226"/>
                <a:gd name="T92" fmla="*/ 39 w 156"/>
                <a:gd name="T93" fmla="*/ 226 h 226"/>
                <a:gd name="T94" fmla="*/ 96 w 156"/>
                <a:gd name="T95" fmla="*/ 169 h 226"/>
                <a:gd name="T96" fmla="*/ 96 w 156"/>
                <a:gd name="T97" fmla="*/ 169 h 226"/>
                <a:gd name="T98" fmla="*/ 89 w 156"/>
                <a:gd name="T99" fmla="*/ 162 h 226"/>
                <a:gd name="T100" fmla="*/ 84 w 156"/>
                <a:gd name="T101" fmla="*/ 155 h 226"/>
                <a:gd name="T102" fmla="*/ 78 w 156"/>
                <a:gd name="T103" fmla="*/ 146 h 226"/>
                <a:gd name="T104" fmla="*/ 74 w 156"/>
                <a:gd name="T105" fmla="*/ 138 h 226"/>
                <a:gd name="T106" fmla="*/ 70 w 156"/>
                <a:gd name="T107" fmla="*/ 128 h 226"/>
                <a:gd name="T108" fmla="*/ 68 w 156"/>
                <a:gd name="T109" fmla="*/ 119 h 226"/>
                <a:gd name="T110" fmla="*/ 67 w 156"/>
                <a:gd name="T111" fmla="*/ 110 h 226"/>
                <a:gd name="T112" fmla="*/ 66 w 156"/>
                <a:gd name="T113" fmla="*/ 99 h 226"/>
                <a:gd name="T114" fmla="*/ 66 w 156"/>
                <a:gd name="T115" fmla="*/ 99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6" h="226">
                  <a:moveTo>
                    <a:pt x="66" y="99"/>
                  </a:moveTo>
                  <a:lnTo>
                    <a:pt x="66" y="99"/>
                  </a:lnTo>
                  <a:lnTo>
                    <a:pt x="67" y="89"/>
                  </a:lnTo>
                  <a:lnTo>
                    <a:pt x="68" y="80"/>
                  </a:lnTo>
                  <a:lnTo>
                    <a:pt x="70" y="71"/>
                  </a:lnTo>
                  <a:lnTo>
                    <a:pt x="73" y="62"/>
                  </a:lnTo>
                  <a:lnTo>
                    <a:pt x="77" y="55"/>
                  </a:lnTo>
                  <a:lnTo>
                    <a:pt x="81" y="46"/>
                  </a:lnTo>
                  <a:lnTo>
                    <a:pt x="86" y="39"/>
                  </a:lnTo>
                  <a:lnTo>
                    <a:pt x="92" y="33"/>
                  </a:lnTo>
                  <a:lnTo>
                    <a:pt x="98" y="27"/>
                  </a:lnTo>
                  <a:lnTo>
                    <a:pt x="106" y="21"/>
                  </a:lnTo>
                  <a:lnTo>
                    <a:pt x="113" y="16"/>
                  </a:lnTo>
                  <a:lnTo>
                    <a:pt x="120" y="11"/>
                  </a:lnTo>
                  <a:lnTo>
                    <a:pt x="129" y="7"/>
                  </a:lnTo>
                  <a:lnTo>
                    <a:pt x="137" y="5"/>
                  </a:lnTo>
                  <a:lnTo>
                    <a:pt x="147" y="2"/>
                  </a:lnTo>
                  <a:lnTo>
                    <a:pt x="156" y="1"/>
                  </a:lnTo>
                  <a:lnTo>
                    <a:pt x="156" y="1"/>
                  </a:lnTo>
                  <a:lnTo>
                    <a:pt x="145" y="0"/>
                  </a:lnTo>
                  <a:lnTo>
                    <a:pt x="133" y="0"/>
                  </a:lnTo>
                  <a:lnTo>
                    <a:pt x="133" y="0"/>
                  </a:lnTo>
                  <a:lnTo>
                    <a:pt x="119" y="0"/>
                  </a:lnTo>
                  <a:lnTo>
                    <a:pt x="106" y="2"/>
                  </a:lnTo>
                  <a:lnTo>
                    <a:pt x="94" y="5"/>
                  </a:lnTo>
                  <a:lnTo>
                    <a:pt x="81" y="10"/>
                  </a:lnTo>
                  <a:lnTo>
                    <a:pt x="69" y="16"/>
                  </a:lnTo>
                  <a:lnTo>
                    <a:pt x="58" y="22"/>
                  </a:lnTo>
                  <a:lnTo>
                    <a:pt x="48" y="29"/>
                  </a:lnTo>
                  <a:lnTo>
                    <a:pt x="39" y="38"/>
                  </a:lnTo>
                  <a:lnTo>
                    <a:pt x="30" y="48"/>
                  </a:lnTo>
                  <a:lnTo>
                    <a:pt x="23" y="59"/>
                  </a:lnTo>
                  <a:lnTo>
                    <a:pt x="17" y="68"/>
                  </a:lnTo>
                  <a:lnTo>
                    <a:pt x="11" y="80"/>
                  </a:lnTo>
                  <a:lnTo>
                    <a:pt x="6" y="93"/>
                  </a:lnTo>
                  <a:lnTo>
                    <a:pt x="3" y="105"/>
                  </a:lnTo>
                  <a:lnTo>
                    <a:pt x="1" y="118"/>
                  </a:lnTo>
                  <a:lnTo>
                    <a:pt x="0" y="132"/>
                  </a:lnTo>
                  <a:lnTo>
                    <a:pt x="0" y="132"/>
                  </a:lnTo>
                  <a:lnTo>
                    <a:pt x="1" y="145"/>
                  </a:lnTo>
                  <a:lnTo>
                    <a:pt x="3" y="158"/>
                  </a:lnTo>
                  <a:lnTo>
                    <a:pt x="6" y="172"/>
                  </a:lnTo>
                  <a:lnTo>
                    <a:pt x="11" y="184"/>
                  </a:lnTo>
                  <a:lnTo>
                    <a:pt x="16" y="195"/>
                  </a:lnTo>
                  <a:lnTo>
                    <a:pt x="23" y="206"/>
                  </a:lnTo>
                  <a:lnTo>
                    <a:pt x="30" y="216"/>
                  </a:lnTo>
                  <a:lnTo>
                    <a:pt x="39" y="226"/>
                  </a:lnTo>
                  <a:lnTo>
                    <a:pt x="96" y="169"/>
                  </a:lnTo>
                  <a:lnTo>
                    <a:pt x="96" y="169"/>
                  </a:lnTo>
                  <a:lnTo>
                    <a:pt x="89" y="162"/>
                  </a:lnTo>
                  <a:lnTo>
                    <a:pt x="84" y="155"/>
                  </a:lnTo>
                  <a:lnTo>
                    <a:pt x="78" y="146"/>
                  </a:lnTo>
                  <a:lnTo>
                    <a:pt x="74" y="138"/>
                  </a:lnTo>
                  <a:lnTo>
                    <a:pt x="70" y="128"/>
                  </a:lnTo>
                  <a:lnTo>
                    <a:pt x="68" y="119"/>
                  </a:lnTo>
                  <a:lnTo>
                    <a:pt x="67" y="110"/>
                  </a:lnTo>
                  <a:lnTo>
                    <a:pt x="66" y="99"/>
                  </a:lnTo>
                  <a:lnTo>
                    <a:pt x="66" y="99"/>
                  </a:lnTo>
                  <a:close/>
                </a:path>
              </a:pathLst>
            </a:custGeom>
            <a:solidFill>
              <a:srgbClr val="DD39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32" name="Freeform 631"/>
            <p:cNvSpPr>
              <a:spLocks/>
            </p:cNvSpPr>
            <p:nvPr/>
          </p:nvSpPr>
          <p:spPr bwMode="auto">
            <a:xfrm>
              <a:off x="4549828" y="5122902"/>
              <a:ext cx="6350" cy="4763"/>
            </a:xfrm>
            <a:custGeom>
              <a:avLst/>
              <a:gdLst>
                <a:gd name="T0" fmla="*/ 0 w 22"/>
                <a:gd name="T1" fmla="*/ 0 h 17"/>
                <a:gd name="T2" fmla="*/ 0 w 22"/>
                <a:gd name="T3" fmla="*/ 0 h 17"/>
                <a:gd name="T4" fmla="*/ 11 w 22"/>
                <a:gd name="T5" fmla="*/ 9 h 17"/>
                <a:gd name="T6" fmla="*/ 22 w 22"/>
                <a:gd name="T7" fmla="*/ 17 h 17"/>
                <a:gd name="T8" fmla="*/ 22 w 22"/>
                <a:gd name="T9" fmla="*/ 17 h 17"/>
                <a:gd name="T10" fmla="*/ 11 w 22"/>
                <a:gd name="T11" fmla="*/ 9 h 17"/>
                <a:gd name="T12" fmla="*/ 0 w 22"/>
                <a:gd name="T13" fmla="*/ 0 h 17"/>
                <a:gd name="T14" fmla="*/ 0 w 22"/>
                <a:gd name="T15" fmla="*/ 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7">
                  <a:moveTo>
                    <a:pt x="0" y="0"/>
                  </a:moveTo>
                  <a:lnTo>
                    <a:pt x="0" y="0"/>
                  </a:lnTo>
                  <a:lnTo>
                    <a:pt x="11" y="9"/>
                  </a:lnTo>
                  <a:lnTo>
                    <a:pt x="22" y="17"/>
                  </a:lnTo>
                  <a:lnTo>
                    <a:pt x="22" y="17"/>
                  </a:lnTo>
                  <a:lnTo>
                    <a:pt x="11" y="9"/>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33" name="Freeform 632"/>
            <p:cNvSpPr>
              <a:spLocks/>
            </p:cNvSpPr>
            <p:nvPr/>
          </p:nvSpPr>
          <p:spPr bwMode="auto">
            <a:xfrm>
              <a:off x="4546653" y="512131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34" name="Freeform 633"/>
            <p:cNvSpPr>
              <a:spLocks/>
            </p:cNvSpPr>
            <p:nvPr/>
          </p:nvSpPr>
          <p:spPr bwMode="auto">
            <a:xfrm>
              <a:off x="4549828" y="5122902"/>
              <a:ext cx="0" cy="0"/>
            </a:xfrm>
            <a:custGeom>
              <a:avLst/>
              <a:gdLst>
                <a:gd name="T0" fmla="*/ 0 w 1"/>
                <a:gd name="T1" fmla="*/ 1 w 1"/>
                <a:gd name="T2" fmla="*/ 0 w 1"/>
              </a:gdLst>
              <a:ahLst/>
              <a:cxnLst>
                <a:cxn ang="0">
                  <a:pos x="T0" y="0"/>
                </a:cxn>
                <a:cxn ang="0">
                  <a:pos x="T1" y="0"/>
                </a:cxn>
                <a:cxn ang="0">
                  <a:pos x="T2" y="0"/>
                </a:cxn>
              </a:cxnLst>
              <a:rect l="0" t="0" r="r" b="b"/>
              <a:pathLst>
                <a:path w="1">
                  <a:moveTo>
                    <a:pt x="0" y="0"/>
                  </a:moveTo>
                  <a:lnTo>
                    <a:pt x="1"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35" name="Freeform 634"/>
            <p:cNvSpPr>
              <a:spLocks/>
            </p:cNvSpPr>
            <p:nvPr/>
          </p:nvSpPr>
          <p:spPr bwMode="auto">
            <a:xfrm>
              <a:off x="4556178" y="512766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36" name="Line 635"/>
            <p:cNvSpPr>
              <a:spLocks noChangeShapeType="1"/>
            </p:cNvSpPr>
            <p:nvPr/>
          </p:nvSpPr>
          <p:spPr bwMode="auto">
            <a:xfrm>
              <a:off x="4535540" y="511655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37" name="Line 636"/>
            <p:cNvSpPr>
              <a:spLocks noChangeShapeType="1"/>
            </p:cNvSpPr>
            <p:nvPr/>
          </p:nvSpPr>
          <p:spPr bwMode="auto">
            <a:xfrm>
              <a:off x="4535540" y="511655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38" name="Freeform 637"/>
            <p:cNvSpPr>
              <a:spLocks/>
            </p:cNvSpPr>
            <p:nvPr/>
          </p:nvSpPr>
          <p:spPr bwMode="auto">
            <a:xfrm>
              <a:off x="4538715" y="5118139"/>
              <a:ext cx="0" cy="0"/>
            </a:xfrm>
            <a:custGeom>
              <a:avLst/>
              <a:gdLst>
                <a:gd name="T0" fmla="*/ 0 w 1"/>
                <a:gd name="T1" fmla="*/ 0 w 1"/>
                <a:gd name="T2" fmla="*/ 1 w 1"/>
                <a:gd name="T3" fmla="*/ 1 w 1"/>
                <a:gd name="T4" fmla="*/ 0 w 1"/>
                <a:gd name="T5" fmla="*/ 0 w 1"/>
              </a:gdLst>
              <a:ahLst/>
              <a:cxnLst>
                <a:cxn ang="0">
                  <a:pos x="T0" y="0"/>
                </a:cxn>
                <a:cxn ang="0">
                  <a:pos x="T1" y="0"/>
                </a:cxn>
                <a:cxn ang="0">
                  <a:pos x="T2" y="0"/>
                </a:cxn>
                <a:cxn ang="0">
                  <a:pos x="T3" y="0"/>
                </a:cxn>
                <a:cxn ang="0">
                  <a:pos x="T4" y="0"/>
                </a:cxn>
                <a:cxn ang="0">
                  <a:pos x="T5" y="0"/>
                </a:cxn>
              </a:cxnLst>
              <a:rect l="0" t="0" r="r" b="b"/>
              <a:pathLst>
                <a:path w="1">
                  <a:moveTo>
                    <a:pt x="0" y="0"/>
                  </a:moveTo>
                  <a:lnTo>
                    <a:pt x="0" y="0"/>
                  </a:lnTo>
                  <a:lnTo>
                    <a:pt x="1" y="0"/>
                  </a:lnTo>
                  <a:lnTo>
                    <a:pt x="1" y="0"/>
                  </a:ln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39" name="Freeform 638"/>
            <p:cNvSpPr>
              <a:spLocks/>
            </p:cNvSpPr>
            <p:nvPr/>
          </p:nvSpPr>
          <p:spPr bwMode="auto">
            <a:xfrm>
              <a:off x="4506965" y="5116552"/>
              <a:ext cx="50800" cy="53976"/>
            </a:xfrm>
            <a:custGeom>
              <a:avLst/>
              <a:gdLst>
                <a:gd name="T0" fmla="*/ 0 w 160"/>
                <a:gd name="T1" fmla="*/ 98 h 168"/>
                <a:gd name="T2" fmla="*/ 0 w 160"/>
                <a:gd name="T3" fmla="*/ 98 h 168"/>
                <a:gd name="T4" fmla="*/ 1 w 160"/>
                <a:gd name="T5" fmla="*/ 109 h 168"/>
                <a:gd name="T6" fmla="*/ 2 w 160"/>
                <a:gd name="T7" fmla="*/ 118 h 168"/>
                <a:gd name="T8" fmla="*/ 4 w 160"/>
                <a:gd name="T9" fmla="*/ 127 h 168"/>
                <a:gd name="T10" fmla="*/ 8 w 160"/>
                <a:gd name="T11" fmla="*/ 137 h 168"/>
                <a:gd name="T12" fmla="*/ 12 w 160"/>
                <a:gd name="T13" fmla="*/ 145 h 168"/>
                <a:gd name="T14" fmla="*/ 18 w 160"/>
                <a:gd name="T15" fmla="*/ 154 h 168"/>
                <a:gd name="T16" fmla="*/ 23 w 160"/>
                <a:gd name="T17" fmla="*/ 161 h 168"/>
                <a:gd name="T18" fmla="*/ 30 w 160"/>
                <a:gd name="T19" fmla="*/ 168 h 168"/>
                <a:gd name="T20" fmla="*/ 160 w 160"/>
                <a:gd name="T21" fmla="*/ 37 h 168"/>
                <a:gd name="T22" fmla="*/ 160 w 160"/>
                <a:gd name="T23" fmla="*/ 37 h 168"/>
                <a:gd name="T24" fmla="*/ 158 w 160"/>
                <a:gd name="T25" fmla="*/ 34 h 168"/>
                <a:gd name="T26" fmla="*/ 158 w 160"/>
                <a:gd name="T27" fmla="*/ 34 h 168"/>
                <a:gd name="T28" fmla="*/ 158 w 160"/>
                <a:gd name="T29" fmla="*/ 34 h 168"/>
                <a:gd name="T30" fmla="*/ 147 w 160"/>
                <a:gd name="T31" fmla="*/ 26 h 168"/>
                <a:gd name="T32" fmla="*/ 136 w 160"/>
                <a:gd name="T33" fmla="*/ 17 h 168"/>
                <a:gd name="T34" fmla="*/ 135 w 160"/>
                <a:gd name="T35" fmla="*/ 17 h 168"/>
                <a:gd name="T36" fmla="*/ 135 w 160"/>
                <a:gd name="T37" fmla="*/ 17 h 168"/>
                <a:gd name="T38" fmla="*/ 126 w 160"/>
                <a:gd name="T39" fmla="*/ 12 h 168"/>
                <a:gd name="T40" fmla="*/ 126 w 160"/>
                <a:gd name="T41" fmla="*/ 12 h 168"/>
                <a:gd name="T42" fmla="*/ 126 w 160"/>
                <a:gd name="T43" fmla="*/ 12 h 168"/>
                <a:gd name="T44" fmla="*/ 114 w 160"/>
                <a:gd name="T45" fmla="*/ 8 h 168"/>
                <a:gd name="T46" fmla="*/ 101 w 160"/>
                <a:gd name="T47" fmla="*/ 3 h 168"/>
                <a:gd name="T48" fmla="*/ 101 w 160"/>
                <a:gd name="T49" fmla="*/ 3 h 168"/>
                <a:gd name="T50" fmla="*/ 100 w 160"/>
                <a:gd name="T51" fmla="*/ 3 h 168"/>
                <a:gd name="T52" fmla="*/ 100 w 160"/>
                <a:gd name="T53" fmla="*/ 3 h 168"/>
                <a:gd name="T54" fmla="*/ 90 w 160"/>
                <a:gd name="T55" fmla="*/ 0 h 168"/>
                <a:gd name="T56" fmla="*/ 90 w 160"/>
                <a:gd name="T57" fmla="*/ 0 h 168"/>
                <a:gd name="T58" fmla="*/ 81 w 160"/>
                <a:gd name="T59" fmla="*/ 1 h 168"/>
                <a:gd name="T60" fmla="*/ 71 w 160"/>
                <a:gd name="T61" fmla="*/ 4 h 168"/>
                <a:gd name="T62" fmla="*/ 63 w 160"/>
                <a:gd name="T63" fmla="*/ 6 h 168"/>
                <a:gd name="T64" fmla="*/ 54 w 160"/>
                <a:gd name="T65" fmla="*/ 10 h 168"/>
                <a:gd name="T66" fmla="*/ 47 w 160"/>
                <a:gd name="T67" fmla="*/ 15 h 168"/>
                <a:gd name="T68" fmla="*/ 40 w 160"/>
                <a:gd name="T69" fmla="*/ 20 h 168"/>
                <a:gd name="T70" fmla="*/ 32 w 160"/>
                <a:gd name="T71" fmla="*/ 26 h 168"/>
                <a:gd name="T72" fmla="*/ 26 w 160"/>
                <a:gd name="T73" fmla="*/ 32 h 168"/>
                <a:gd name="T74" fmla="*/ 20 w 160"/>
                <a:gd name="T75" fmla="*/ 38 h 168"/>
                <a:gd name="T76" fmla="*/ 15 w 160"/>
                <a:gd name="T77" fmla="*/ 45 h 168"/>
                <a:gd name="T78" fmla="*/ 11 w 160"/>
                <a:gd name="T79" fmla="*/ 54 h 168"/>
                <a:gd name="T80" fmla="*/ 7 w 160"/>
                <a:gd name="T81" fmla="*/ 61 h 168"/>
                <a:gd name="T82" fmla="*/ 4 w 160"/>
                <a:gd name="T83" fmla="*/ 70 h 168"/>
                <a:gd name="T84" fmla="*/ 2 w 160"/>
                <a:gd name="T85" fmla="*/ 79 h 168"/>
                <a:gd name="T86" fmla="*/ 1 w 160"/>
                <a:gd name="T87" fmla="*/ 88 h 168"/>
                <a:gd name="T88" fmla="*/ 0 w 160"/>
                <a:gd name="T89" fmla="*/ 98 h 168"/>
                <a:gd name="T90" fmla="*/ 0 w 160"/>
                <a:gd name="T91" fmla="*/ 9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0" h="168">
                  <a:moveTo>
                    <a:pt x="0" y="98"/>
                  </a:moveTo>
                  <a:lnTo>
                    <a:pt x="0" y="98"/>
                  </a:lnTo>
                  <a:lnTo>
                    <a:pt x="1" y="109"/>
                  </a:lnTo>
                  <a:lnTo>
                    <a:pt x="2" y="118"/>
                  </a:lnTo>
                  <a:lnTo>
                    <a:pt x="4" y="127"/>
                  </a:lnTo>
                  <a:lnTo>
                    <a:pt x="8" y="137"/>
                  </a:lnTo>
                  <a:lnTo>
                    <a:pt x="12" y="145"/>
                  </a:lnTo>
                  <a:lnTo>
                    <a:pt x="18" y="154"/>
                  </a:lnTo>
                  <a:lnTo>
                    <a:pt x="23" y="161"/>
                  </a:lnTo>
                  <a:lnTo>
                    <a:pt x="30" y="168"/>
                  </a:lnTo>
                  <a:lnTo>
                    <a:pt x="160" y="37"/>
                  </a:lnTo>
                  <a:lnTo>
                    <a:pt x="160" y="37"/>
                  </a:lnTo>
                  <a:lnTo>
                    <a:pt x="158" y="34"/>
                  </a:lnTo>
                  <a:lnTo>
                    <a:pt x="158" y="34"/>
                  </a:lnTo>
                  <a:lnTo>
                    <a:pt x="158" y="34"/>
                  </a:lnTo>
                  <a:lnTo>
                    <a:pt x="147" y="26"/>
                  </a:lnTo>
                  <a:lnTo>
                    <a:pt x="136" y="17"/>
                  </a:lnTo>
                  <a:lnTo>
                    <a:pt x="135" y="17"/>
                  </a:lnTo>
                  <a:lnTo>
                    <a:pt x="135" y="17"/>
                  </a:lnTo>
                  <a:lnTo>
                    <a:pt x="126" y="12"/>
                  </a:lnTo>
                  <a:lnTo>
                    <a:pt x="126" y="12"/>
                  </a:lnTo>
                  <a:lnTo>
                    <a:pt x="126" y="12"/>
                  </a:lnTo>
                  <a:lnTo>
                    <a:pt x="114" y="8"/>
                  </a:lnTo>
                  <a:lnTo>
                    <a:pt x="101" y="3"/>
                  </a:lnTo>
                  <a:lnTo>
                    <a:pt x="101" y="3"/>
                  </a:lnTo>
                  <a:lnTo>
                    <a:pt x="100" y="3"/>
                  </a:lnTo>
                  <a:lnTo>
                    <a:pt x="100" y="3"/>
                  </a:lnTo>
                  <a:lnTo>
                    <a:pt x="90" y="0"/>
                  </a:lnTo>
                  <a:lnTo>
                    <a:pt x="90" y="0"/>
                  </a:lnTo>
                  <a:lnTo>
                    <a:pt x="81" y="1"/>
                  </a:lnTo>
                  <a:lnTo>
                    <a:pt x="71" y="4"/>
                  </a:lnTo>
                  <a:lnTo>
                    <a:pt x="63" y="6"/>
                  </a:lnTo>
                  <a:lnTo>
                    <a:pt x="54" y="10"/>
                  </a:lnTo>
                  <a:lnTo>
                    <a:pt x="47" y="15"/>
                  </a:lnTo>
                  <a:lnTo>
                    <a:pt x="40" y="20"/>
                  </a:lnTo>
                  <a:lnTo>
                    <a:pt x="32" y="26"/>
                  </a:lnTo>
                  <a:lnTo>
                    <a:pt x="26" y="32"/>
                  </a:lnTo>
                  <a:lnTo>
                    <a:pt x="20" y="38"/>
                  </a:lnTo>
                  <a:lnTo>
                    <a:pt x="15" y="45"/>
                  </a:lnTo>
                  <a:lnTo>
                    <a:pt x="11" y="54"/>
                  </a:lnTo>
                  <a:lnTo>
                    <a:pt x="7" y="61"/>
                  </a:lnTo>
                  <a:lnTo>
                    <a:pt x="4" y="70"/>
                  </a:lnTo>
                  <a:lnTo>
                    <a:pt x="2" y="79"/>
                  </a:lnTo>
                  <a:lnTo>
                    <a:pt x="1" y="88"/>
                  </a:lnTo>
                  <a:lnTo>
                    <a:pt x="0" y="98"/>
                  </a:lnTo>
                  <a:lnTo>
                    <a:pt x="0" y="98"/>
                  </a:lnTo>
                  <a:close/>
                </a:path>
              </a:pathLst>
            </a:custGeom>
            <a:solidFill>
              <a:srgbClr val="FF54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40" name="Freeform 639"/>
            <p:cNvSpPr>
              <a:spLocks/>
            </p:cNvSpPr>
            <p:nvPr/>
          </p:nvSpPr>
          <p:spPr bwMode="auto">
            <a:xfrm>
              <a:off x="4497440" y="5148302"/>
              <a:ext cx="71438" cy="52388"/>
            </a:xfrm>
            <a:custGeom>
              <a:avLst/>
              <a:gdLst>
                <a:gd name="T0" fmla="*/ 94 w 226"/>
                <a:gd name="T1" fmla="*/ 165 h 165"/>
                <a:gd name="T2" fmla="*/ 94 w 226"/>
                <a:gd name="T3" fmla="*/ 165 h 165"/>
                <a:gd name="T4" fmla="*/ 107 w 226"/>
                <a:gd name="T5" fmla="*/ 165 h 165"/>
                <a:gd name="T6" fmla="*/ 120 w 226"/>
                <a:gd name="T7" fmla="*/ 162 h 165"/>
                <a:gd name="T8" fmla="*/ 134 w 226"/>
                <a:gd name="T9" fmla="*/ 158 h 165"/>
                <a:gd name="T10" fmla="*/ 146 w 226"/>
                <a:gd name="T11" fmla="*/ 155 h 165"/>
                <a:gd name="T12" fmla="*/ 157 w 226"/>
                <a:gd name="T13" fmla="*/ 149 h 165"/>
                <a:gd name="T14" fmla="*/ 168 w 226"/>
                <a:gd name="T15" fmla="*/ 143 h 165"/>
                <a:gd name="T16" fmla="*/ 179 w 226"/>
                <a:gd name="T17" fmla="*/ 134 h 165"/>
                <a:gd name="T18" fmla="*/ 187 w 226"/>
                <a:gd name="T19" fmla="*/ 126 h 165"/>
                <a:gd name="T20" fmla="*/ 196 w 226"/>
                <a:gd name="T21" fmla="*/ 117 h 165"/>
                <a:gd name="T22" fmla="*/ 205 w 226"/>
                <a:gd name="T23" fmla="*/ 106 h 165"/>
                <a:gd name="T24" fmla="*/ 211 w 226"/>
                <a:gd name="T25" fmla="*/ 95 h 165"/>
                <a:gd name="T26" fmla="*/ 217 w 226"/>
                <a:gd name="T27" fmla="*/ 84 h 165"/>
                <a:gd name="T28" fmla="*/ 220 w 226"/>
                <a:gd name="T29" fmla="*/ 72 h 165"/>
                <a:gd name="T30" fmla="*/ 224 w 226"/>
                <a:gd name="T31" fmla="*/ 58 h 165"/>
                <a:gd name="T32" fmla="*/ 226 w 226"/>
                <a:gd name="T33" fmla="*/ 46 h 165"/>
                <a:gd name="T34" fmla="*/ 226 w 226"/>
                <a:gd name="T35" fmla="*/ 32 h 165"/>
                <a:gd name="T36" fmla="*/ 226 w 226"/>
                <a:gd name="T37" fmla="*/ 32 h 165"/>
                <a:gd name="T38" fmla="*/ 225 w 226"/>
                <a:gd name="T39" fmla="*/ 16 h 165"/>
                <a:gd name="T40" fmla="*/ 223 w 226"/>
                <a:gd name="T41" fmla="*/ 0 h 165"/>
                <a:gd name="T42" fmla="*/ 223 w 226"/>
                <a:gd name="T43" fmla="*/ 0 h 165"/>
                <a:gd name="T44" fmla="*/ 222 w 226"/>
                <a:gd name="T45" fmla="*/ 10 h 165"/>
                <a:gd name="T46" fmla="*/ 220 w 226"/>
                <a:gd name="T47" fmla="*/ 19 h 165"/>
                <a:gd name="T48" fmla="*/ 218 w 226"/>
                <a:gd name="T49" fmla="*/ 29 h 165"/>
                <a:gd name="T50" fmla="*/ 214 w 226"/>
                <a:gd name="T51" fmla="*/ 38 h 165"/>
                <a:gd name="T52" fmla="*/ 211 w 226"/>
                <a:gd name="T53" fmla="*/ 46 h 165"/>
                <a:gd name="T54" fmla="*/ 206 w 226"/>
                <a:gd name="T55" fmla="*/ 55 h 165"/>
                <a:gd name="T56" fmla="*/ 200 w 226"/>
                <a:gd name="T57" fmla="*/ 62 h 165"/>
                <a:gd name="T58" fmla="*/ 194 w 226"/>
                <a:gd name="T59" fmla="*/ 68 h 165"/>
                <a:gd name="T60" fmla="*/ 186 w 226"/>
                <a:gd name="T61" fmla="*/ 74 h 165"/>
                <a:gd name="T62" fmla="*/ 179 w 226"/>
                <a:gd name="T63" fmla="*/ 80 h 165"/>
                <a:gd name="T64" fmla="*/ 172 w 226"/>
                <a:gd name="T65" fmla="*/ 85 h 165"/>
                <a:gd name="T66" fmla="*/ 163 w 226"/>
                <a:gd name="T67" fmla="*/ 89 h 165"/>
                <a:gd name="T68" fmla="*/ 153 w 226"/>
                <a:gd name="T69" fmla="*/ 93 h 165"/>
                <a:gd name="T70" fmla="*/ 145 w 226"/>
                <a:gd name="T71" fmla="*/ 95 h 165"/>
                <a:gd name="T72" fmla="*/ 135 w 226"/>
                <a:gd name="T73" fmla="*/ 96 h 165"/>
                <a:gd name="T74" fmla="*/ 125 w 226"/>
                <a:gd name="T75" fmla="*/ 96 h 165"/>
                <a:gd name="T76" fmla="*/ 125 w 226"/>
                <a:gd name="T77" fmla="*/ 96 h 165"/>
                <a:gd name="T78" fmla="*/ 116 w 226"/>
                <a:gd name="T79" fmla="*/ 96 h 165"/>
                <a:gd name="T80" fmla="*/ 106 w 226"/>
                <a:gd name="T81" fmla="*/ 95 h 165"/>
                <a:gd name="T82" fmla="*/ 96 w 226"/>
                <a:gd name="T83" fmla="*/ 93 h 165"/>
                <a:gd name="T84" fmla="*/ 88 w 226"/>
                <a:gd name="T85" fmla="*/ 89 h 165"/>
                <a:gd name="T86" fmla="*/ 79 w 226"/>
                <a:gd name="T87" fmla="*/ 85 h 165"/>
                <a:gd name="T88" fmla="*/ 70 w 226"/>
                <a:gd name="T89" fmla="*/ 80 h 165"/>
                <a:gd name="T90" fmla="*/ 63 w 226"/>
                <a:gd name="T91" fmla="*/ 76 h 165"/>
                <a:gd name="T92" fmla="*/ 57 w 226"/>
                <a:gd name="T93" fmla="*/ 69 h 165"/>
                <a:gd name="T94" fmla="*/ 0 w 226"/>
                <a:gd name="T95" fmla="*/ 126 h 165"/>
                <a:gd name="T96" fmla="*/ 0 w 226"/>
                <a:gd name="T97" fmla="*/ 126 h 165"/>
                <a:gd name="T98" fmla="*/ 9 w 226"/>
                <a:gd name="T99" fmla="*/ 134 h 165"/>
                <a:gd name="T100" fmla="*/ 19 w 226"/>
                <a:gd name="T101" fmla="*/ 141 h 165"/>
                <a:gd name="T102" fmla="*/ 30 w 226"/>
                <a:gd name="T103" fmla="*/ 149 h 165"/>
                <a:gd name="T104" fmla="*/ 42 w 226"/>
                <a:gd name="T105" fmla="*/ 155 h 165"/>
                <a:gd name="T106" fmla="*/ 55 w 226"/>
                <a:gd name="T107" fmla="*/ 158 h 165"/>
                <a:gd name="T108" fmla="*/ 67 w 226"/>
                <a:gd name="T109" fmla="*/ 162 h 165"/>
                <a:gd name="T110" fmla="*/ 80 w 226"/>
                <a:gd name="T111" fmla="*/ 165 h 165"/>
                <a:gd name="T112" fmla="*/ 94 w 226"/>
                <a:gd name="T113" fmla="*/ 165 h 165"/>
                <a:gd name="T114" fmla="*/ 94 w 226"/>
                <a:gd name="T115"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6" h="165">
                  <a:moveTo>
                    <a:pt x="94" y="165"/>
                  </a:moveTo>
                  <a:lnTo>
                    <a:pt x="94" y="165"/>
                  </a:lnTo>
                  <a:lnTo>
                    <a:pt x="107" y="165"/>
                  </a:lnTo>
                  <a:lnTo>
                    <a:pt x="120" y="162"/>
                  </a:lnTo>
                  <a:lnTo>
                    <a:pt x="134" y="158"/>
                  </a:lnTo>
                  <a:lnTo>
                    <a:pt x="146" y="155"/>
                  </a:lnTo>
                  <a:lnTo>
                    <a:pt x="157" y="149"/>
                  </a:lnTo>
                  <a:lnTo>
                    <a:pt x="168" y="143"/>
                  </a:lnTo>
                  <a:lnTo>
                    <a:pt x="179" y="134"/>
                  </a:lnTo>
                  <a:lnTo>
                    <a:pt x="187" y="126"/>
                  </a:lnTo>
                  <a:lnTo>
                    <a:pt x="196" y="117"/>
                  </a:lnTo>
                  <a:lnTo>
                    <a:pt x="205" y="106"/>
                  </a:lnTo>
                  <a:lnTo>
                    <a:pt x="211" y="95"/>
                  </a:lnTo>
                  <a:lnTo>
                    <a:pt x="217" y="84"/>
                  </a:lnTo>
                  <a:lnTo>
                    <a:pt x="220" y="72"/>
                  </a:lnTo>
                  <a:lnTo>
                    <a:pt x="224" y="58"/>
                  </a:lnTo>
                  <a:lnTo>
                    <a:pt x="226" y="46"/>
                  </a:lnTo>
                  <a:lnTo>
                    <a:pt x="226" y="32"/>
                  </a:lnTo>
                  <a:lnTo>
                    <a:pt x="226" y="32"/>
                  </a:lnTo>
                  <a:lnTo>
                    <a:pt x="225" y="16"/>
                  </a:lnTo>
                  <a:lnTo>
                    <a:pt x="223" y="0"/>
                  </a:lnTo>
                  <a:lnTo>
                    <a:pt x="223" y="0"/>
                  </a:lnTo>
                  <a:lnTo>
                    <a:pt x="222" y="10"/>
                  </a:lnTo>
                  <a:lnTo>
                    <a:pt x="220" y="19"/>
                  </a:lnTo>
                  <a:lnTo>
                    <a:pt x="218" y="29"/>
                  </a:lnTo>
                  <a:lnTo>
                    <a:pt x="214" y="38"/>
                  </a:lnTo>
                  <a:lnTo>
                    <a:pt x="211" y="46"/>
                  </a:lnTo>
                  <a:lnTo>
                    <a:pt x="206" y="55"/>
                  </a:lnTo>
                  <a:lnTo>
                    <a:pt x="200" y="62"/>
                  </a:lnTo>
                  <a:lnTo>
                    <a:pt x="194" y="68"/>
                  </a:lnTo>
                  <a:lnTo>
                    <a:pt x="186" y="74"/>
                  </a:lnTo>
                  <a:lnTo>
                    <a:pt x="179" y="80"/>
                  </a:lnTo>
                  <a:lnTo>
                    <a:pt x="172" y="85"/>
                  </a:lnTo>
                  <a:lnTo>
                    <a:pt x="163" y="89"/>
                  </a:lnTo>
                  <a:lnTo>
                    <a:pt x="153" y="93"/>
                  </a:lnTo>
                  <a:lnTo>
                    <a:pt x="145" y="95"/>
                  </a:lnTo>
                  <a:lnTo>
                    <a:pt x="135" y="96"/>
                  </a:lnTo>
                  <a:lnTo>
                    <a:pt x="125" y="96"/>
                  </a:lnTo>
                  <a:lnTo>
                    <a:pt x="125" y="96"/>
                  </a:lnTo>
                  <a:lnTo>
                    <a:pt x="116" y="96"/>
                  </a:lnTo>
                  <a:lnTo>
                    <a:pt x="106" y="95"/>
                  </a:lnTo>
                  <a:lnTo>
                    <a:pt x="96" y="93"/>
                  </a:lnTo>
                  <a:lnTo>
                    <a:pt x="88" y="89"/>
                  </a:lnTo>
                  <a:lnTo>
                    <a:pt x="79" y="85"/>
                  </a:lnTo>
                  <a:lnTo>
                    <a:pt x="70" y="80"/>
                  </a:lnTo>
                  <a:lnTo>
                    <a:pt x="63" y="76"/>
                  </a:lnTo>
                  <a:lnTo>
                    <a:pt x="57" y="69"/>
                  </a:lnTo>
                  <a:lnTo>
                    <a:pt x="0" y="126"/>
                  </a:lnTo>
                  <a:lnTo>
                    <a:pt x="0" y="126"/>
                  </a:lnTo>
                  <a:lnTo>
                    <a:pt x="9" y="134"/>
                  </a:lnTo>
                  <a:lnTo>
                    <a:pt x="19" y="141"/>
                  </a:lnTo>
                  <a:lnTo>
                    <a:pt x="30" y="149"/>
                  </a:lnTo>
                  <a:lnTo>
                    <a:pt x="42" y="155"/>
                  </a:lnTo>
                  <a:lnTo>
                    <a:pt x="55" y="158"/>
                  </a:lnTo>
                  <a:lnTo>
                    <a:pt x="67" y="162"/>
                  </a:lnTo>
                  <a:lnTo>
                    <a:pt x="80" y="165"/>
                  </a:lnTo>
                  <a:lnTo>
                    <a:pt x="94" y="165"/>
                  </a:lnTo>
                  <a:lnTo>
                    <a:pt x="94" y="165"/>
                  </a:lnTo>
                  <a:close/>
                </a:path>
              </a:pathLst>
            </a:custGeom>
            <a:solidFill>
              <a:srgbClr val="AD26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41" name="Freeform 640"/>
            <p:cNvSpPr>
              <a:spLocks/>
            </p:cNvSpPr>
            <p:nvPr/>
          </p:nvSpPr>
          <p:spPr bwMode="auto">
            <a:xfrm>
              <a:off x="4557765" y="5130839"/>
              <a:ext cx="11113" cy="17463"/>
            </a:xfrm>
            <a:custGeom>
              <a:avLst/>
              <a:gdLst>
                <a:gd name="T0" fmla="*/ 0 w 32"/>
                <a:gd name="T1" fmla="*/ 0 h 57"/>
                <a:gd name="T2" fmla="*/ 0 w 32"/>
                <a:gd name="T3" fmla="*/ 0 h 57"/>
                <a:gd name="T4" fmla="*/ 11 w 32"/>
                <a:gd name="T5" fmla="*/ 12 h 57"/>
                <a:gd name="T6" fmla="*/ 20 w 32"/>
                <a:gd name="T7" fmla="*/ 26 h 57"/>
                <a:gd name="T8" fmla="*/ 27 w 32"/>
                <a:gd name="T9" fmla="*/ 41 h 57"/>
                <a:gd name="T10" fmla="*/ 32 w 32"/>
                <a:gd name="T11" fmla="*/ 57 h 57"/>
                <a:gd name="T12" fmla="*/ 32 w 32"/>
                <a:gd name="T13" fmla="*/ 57 h 57"/>
                <a:gd name="T14" fmla="*/ 27 w 32"/>
                <a:gd name="T15" fmla="*/ 41 h 57"/>
                <a:gd name="T16" fmla="*/ 20 w 32"/>
                <a:gd name="T17" fmla="*/ 26 h 57"/>
                <a:gd name="T18" fmla="*/ 11 w 32"/>
                <a:gd name="T19" fmla="*/ 12 h 57"/>
                <a:gd name="T20" fmla="*/ 0 w 32"/>
                <a:gd name="T21" fmla="*/ 0 h 57"/>
                <a:gd name="T22" fmla="*/ 0 w 32"/>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57">
                  <a:moveTo>
                    <a:pt x="0" y="0"/>
                  </a:moveTo>
                  <a:lnTo>
                    <a:pt x="0" y="0"/>
                  </a:lnTo>
                  <a:lnTo>
                    <a:pt x="11" y="12"/>
                  </a:lnTo>
                  <a:lnTo>
                    <a:pt x="20" y="26"/>
                  </a:lnTo>
                  <a:lnTo>
                    <a:pt x="27" y="41"/>
                  </a:lnTo>
                  <a:lnTo>
                    <a:pt x="32" y="57"/>
                  </a:lnTo>
                  <a:lnTo>
                    <a:pt x="32" y="57"/>
                  </a:lnTo>
                  <a:lnTo>
                    <a:pt x="27" y="41"/>
                  </a:lnTo>
                  <a:lnTo>
                    <a:pt x="20" y="26"/>
                  </a:lnTo>
                  <a:lnTo>
                    <a:pt x="11" y="12"/>
                  </a:ln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42" name="Freeform 641"/>
            <p:cNvSpPr>
              <a:spLocks/>
            </p:cNvSpPr>
            <p:nvPr/>
          </p:nvSpPr>
          <p:spPr bwMode="auto">
            <a:xfrm>
              <a:off x="4557765" y="5129252"/>
              <a:ext cx="0" cy="0"/>
            </a:xfrm>
            <a:custGeom>
              <a:avLst/>
              <a:gdLst>
                <a:gd name="T0" fmla="*/ 4 w 4"/>
                <a:gd name="T1" fmla="*/ 3 h 3"/>
                <a:gd name="T2" fmla="*/ 4 w 4"/>
                <a:gd name="T3" fmla="*/ 3 h 3"/>
                <a:gd name="T4" fmla="*/ 0 w 4"/>
                <a:gd name="T5" fmla="*/ 0 h 3"/>
                <a:gd name="T6" fmla="*/ 0 w 4"/>
                <a:gd name="T7" fmla="*/ 0 h 3"/>
                <a:gd name="T8" fmla="*/ 0 w 4"/>
                <a:gd name="T9" fmla="*/ 0 h 3"/>
                <a:gd name="T10" fmla="*/ 4 w 4"/>
                <a:gd name="T11" fmla="*/ 3 h 3"/>
                <a:gd name="T12" fmla="*/ 4 w 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4" y="3"/>
                  </a:moveTo>
                  <a:lnTo>
                    <a:pt x="4" y="3"/>
                  </a:lnTo>
                  <a:lnTo>
                    <a:pt x="0" y="0"/>
                  </a:lnTo>
                  <a:lnTo>
                    <a:pt x="0" y="0"/>
                  </a:lnTo>
                  <a:lnTo>
                    <a:pt x="0" y="0"/>
                  </a:lnTo>
                  <a:lnTo>
                    <a:pt x="4" y="3"/>
                  </a:lnTo>
                  <a:lnTo>
                    <a:pt x="4" y="3"/>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43" name="Freeform 642"/>
            <p:cNvSpPr>
              <a:spLocks/>
            </p:cNvSpPr>
            <p:nvPr/>
          </p:nvSpPr>
          <p:spPr bwMode="auto">
            <a:xfrm>
              <a:off x="4568878" y="514830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44" name="Freeform 643"/>
            <p:cNvSpPr>
              <a:spLocks/>
            </p:cNvSpPr>
            <p:nvPr/>
          </p:nvSpPr>
          <p:spPr bwMode="auto">
            <a:xfrm>
              <a:off x="4557765" y="5129252"/>
              <a:ext cx="0" cy="1588"/>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45" name="Freeform 644"/>
            <p:cNvSpPr>
              <a:spLocks/>
            </p:cNvSpPr>
            <p:nvPr/>
          </p:nvSpPr>
          <p:spPr bwMode="auto">
            <a:xfrm>
              <a:off x="4516490" y="5129252"/>
              <a:ext cx="52388" cy="49213"/>
            </a:xfrm>
            <a:custGeom>
              <a:avLst/>
              <a:gdLst>
                <a:gd name="T0" fmla="*/ 0 w 166"/>
                <a:gd name="T1" fmla="*/ 131 h 158"/>
                <a:gd name="T2" fmla="*/ 0 w 166"/>
                <a:gd name="T3" fmla="*/ 131 h 158"/>
                <a:gd name="T4" fmla="*/ 6 w 166"/>
                <a:gd name="T5" fmla="*/ 138 h 158"/>
                <a:gd name="T6" fmla="*/ 13 w 166"/>
                <a:gd name="T7" fmla="*/ 142 h 158"/>
                <a:gd name="T8" fmla="*/ 22 w 166"/>
                <a:gd name="T9" fmla="*/ 147 h 158"/>
                <a:gd name="T10" fmla="*/ 31 w 166"/>
                <a:gd name="T11" fmla="*/ 151 h 158"/>
                <a:gd name="T12" fmla="*/ 39 w 166"/>
                <a:gd name="T13" fmla="*/ 155 h 158"/>
                <a:gd name="T14" fmla="*/ 49 w 166"/>
                <a:gd name="T15" fmla="*/ 157 h 158"/>
                <a:gd name="T16" fmla="*/ 59 w 166"/>
                <a:gd name="T17" fmla="*/ 158 h 158"/>
                <a:gd name="T18" fmla="*/ 68 w 166"/>
                <a:gd name="T19" fmla="*/ 158 h 158"/>
                <a:gd name="T20" fmla="*/ 68 w 166"/>
                <a:gd name="T21" fmla="*/ 158 h 158"/>
                <a:gd name="T22" fmla="*/ 78 w 166"/>
                <a:gd name="T23" fmla="*/ 158 h 158"/>
                <a:gd name="T24" fmla="*/ 88 w 166"/>
                <a:gd name="T25" fmla="*/ 157 h 158"/>
                <a:gd name="T26" fmla="*/ 96 w 166"/>
                <a:gd name="T27" fmla="*/ 155 h 158"/>
                <a:gd name="T28" fmla="*/ 106 w 166"/>
                <a:gd name="T29" fmla="*/ 151 h 158"/>
                <a:gd name="T30" fmla="*/ 115 w 166"/>
                <a:gd name="T31" fmla="*/ 147 h 158"/>
                <a:gd name="T32" fmla="*/ 122 w 166"/>
                <a:gd name="T33" fmla="*/ 142 h 158"/>
                <a:gd name="T34" fmla="*/ 129 w 166"/>
                <a:gd name="T35" fmla="*/ 136 h 158"/>
                <a:gd name="T36" fmla="*/ 137 w 166"/>
                <a:gd name="T37" fmla="*/ 130 h 158"/>
                <a:gd name="T38" fmla="*/ 143 w 166"/>
                <a:gd name="T39" fmla="*/ 124 h 158"/>
                <a:gd name="T40" fmla="*/ 149 w 166"/>
                <a:gd name="T41" fmla="*/ 117 h 158"/>
                <a:gd name="T42" fmla="*/ 154 w 166"/>
                <a:gd name="T43" fmla="*/ 108 h 158"/>
                <a:gd name="T44" fmla="*/ 157 w 166"/>
                <a:gd name="T45" fmla="*/ 100 h 158"/>
                <a:gd name="T46" fmla="*/ 161 w 166"/>
                <a:gd name="T47" fmla="*/ 91 h 158"/>
                <a:gd name="T48" fmla="*/ 163 w 166"/>
                <a:gd name="T49" fmla="*/ 81 h 158"/>
                <a:gd name="T50" fmla="*/ 165 w 166"/>
                <a:gd name="T51" fmla="*/ 72 h 158"/>
                <a:gd name="T52" fmla="*/ 166 w 166"/>
                <a:gd name="T53" fmla="*/ 62 h 158"/>
                <a:gd name="T54" fmla="*/ 166 w 166"/>
                <a:gd name="T55" fmla="*/ 62 h 158"/>
                <a:gd name="T56" fmla="*/ 166 w 166"/>
                <a:gd name="T57" fmla="*/ 62 h 158"/>
                <a:gd name="T58" fmla="*/ 161 w 166"/>
                <a:gd name="T59" fmla="*/ 46 h 158"/>
                <a:gd name="T60" fmla="*/ 154 w 166"/>
                <a:gd name="T61" fmla="*/ 31 h 158"/>
                <a:gd name="T62" fmla="*/ 145 w 166"/>
                <a:gd name="T63" fmla="*/ 17 h 158"/>
                <a:gd name="T64" fmla="*/ 134 w 166"/>
                <a:gd name="T65" fmla="*/ 5 h 158"/>
                <a:gd name="T66" fmla="*/ 134 w 166"/>
                <a:gd name="T67" fmla="*/ 3 h 158"/>
                <a:gd name="T68" fmla="*/ 134 w 166"/>
                <a:gd name="T69" fmla="*/ 3 h 158"/>
                <a:gd name="T70" fmla="*/ 130 w 166"/>
                <a:gd name="T71" fmla="*/ 0 h 158"/>
                <a:gd name="T72" fmla="*/ 0 w 166"/>
                <a:gd name="T73" fmla="*/ 13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6" h="158">
                  <a:moveTo>
                    <a:pt x="0" y="131"/>
                  </a:moveTo>
                  <a:lnTo>
                    <a:pt x="0" y="131"/>
                  </a:lnTo>
                  <a:lnTo>
                    <a:pt x="6" y="138"/>
                  </a:lnTo>
                  <a:lnTo>
                    <a:pt x="13" y="142"/>
                  </a:lnTo>
                  <a:lnTo>
                    <a:pt x="22" y="147"/>
                  </a:lnTo>
                  <a:lnTo>
                    <a:pt x="31" y="151"/>
                  </a:lnTo>
                  <a:lnTo>
                    <a:pt x="39" y="155"/>
                  </a:lnTo>
                  <a:lnTo>
                    <a:pt x="49" y="157"/>
                  </a:lnTo>
                  <a:lnTo>
                    <a:pt x="59" y="158"/>
                  </a:lnTo>
                  <a:lnTo>
                    <a:pt x="68" y="158"/>
                  </a:lnTo>
                  <a:lnTo>
                    <a:pt x="68" y="158"/>
                  </a:lnTo>
                  <a:lnTo>
                    <a:pt x="78" y="158"/>
                  </a:lnTo>
                  <a:lnTo>
                    <a:pt x="88" y="157"/>
                  </a:lnTo>
                  <a:lnTo>
                    <a:pt x="96" y="155"/>
                  </a:lnTo>
                  <a:lnTo>
                    <a:pt x="106" y="151"/>
                  </a:lnTo>
                  <a:lnTo>
                    <a:pt x="115" y="147"/>
                  </a:lnTo>
                  <a:lnTo>
                    <a:pt x="122" y="142"/>
                  </a:lnTo>
                  <a:lnTo>
                    <a:pt x="129" y="136"/>
                  </a:lnTo>
                  <a:lnTo>
                    <a:pt x="137" y="130"/>
                  </a:lnTo>
                  <a:lnTo>
                    <a:pt x="143" y="124"/>
                  </a:lnTo>
                  <a:lnTo>
                    <a:pt x="149" y="117"/>
                  </a:lnTo>
                  <a:lnTo>
                    <a:pt x="154" y="108"/>
                  </a:lnTo>
                  <a:lnTo>
                    <a:pt x="157" y="100"/>
                  </a:lnTo>
                  <a:lnTo>
                    <a:pt x="161" y="91"/>
                  </a:lnTo>
                  <a:lnTo>
                    <a:pt x="163" y="81"/>
                  </a:lnTo>
                  <a:lnTo>
                    <a:pt x="165" y="72"/>
                  </a:lnTo>
                  <a:lnTo>
                    <a:pt x="166" y="62"/>
                  </a:lnTo>
                  <a:lnTo>
                    <a:pt x="166" y="62"/>
                  </a:lnTo>
                  <a:lnTo>
                    <a:pt x="166" y="62"/>
                  </a:lnTo>
                  <a:lnTo>
                    <a:pt x="161" y="46"/>
                  </a:lnTo>
                  <a:lnTo>
                    <a:pt x="154" y="31"/>
                  </a:lnTo>
                  <a:lnTo>
                    <a:pt x="145" y="17"/>
                  </a:lnTo>
                  <a:lnTo>
                    <a:pt x="134" y="5"/>
                  </a:lnTo>
                  <a:lnTo>
                    <a:pt x="134" y="3"/>
                  </a:lnTo>
                  <a:lnTo>
                    <a:pt x="134" y="3"/>
                  </a:lnTo>
                  <a:lnTo>
                    <a:pt x="130" y="0"/>
                  </a:lnTo>
                  <a:lnTo>
                    <a:pt x="0" y="131"/>
                  </a:lnTo>
                  <a:close/>
                </a:path>
              </a:pathLst>
            </a:custGeom>
            <a:solidFill>
              <a:srgbClr val="DD39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46" name="Freeform 645"/>
            <p:cNvSpPr>
              <a:spLocks/>
            </p:cNvSpPr>
            <p:nvPr/>
          </p:nvSpPr>
          <p:spPr bwMode="auto">
            <a:xfrm>
              <a:off x="4399014" y="4816511"/>
              <a:ext cx="120651" cy="303215"/>
            </a:xfrm>
            <a:custGeom>
              <a:avLst/>
              <a:gdLst>
                <a:gd name="T0" fmla="*/ 234 w 382"/>
                <a:gd name="T1" fmla="*/ 953 h 953"/>
                <a:gd name="T2" fmla="*/ 382 w 382"/>
                <a:gd name="T3" fmla="*/ 857 h 953"/>
                <a:gd name="T4" fmla="*/ 175 w 382"/>
                <a:gd name="T5" fmla="*/ 259 h 953"/>
                <a:gd name="T6" fmla="*/ 136 w 382"/>
                <a:gd name="T7" fmla="*/ 382 h 953"/>
                <a:gd name="T8" fmla="*/ 0 w 382"/>
                <a:gd name="T9" fmla="*/ 0 h 953"/>
                <a:gd name="T10" fmla="*/ 14 w 382"/>
                <a:gd name="T11" fmla="*/ 500 h 953"/>
                <a:gd name="T12" fmla="*/ 234 w 382"/>
                <a:gd name="T13" fmla="*/ 953 h 953"/>
              </a:gdLst>
              <a:ahLst/>
              <a:cxnLst>
                <a:cxn ang="0">
                  <a:pos x="T0" y="T1"/>
                </a:cxn>
                <a:cxn ang="0">
                  <a:pos x="T2" y="T3"/>
                </a:cxn>
                <a:cxn ang="0">
                  <a:pos x="T4" y="T5"/>
                </a:cxn>
                <a:cxn ang="0">
                  <a:pos x="T6" y="T7"/>
                </a:cxn>
                <a:cxn ang="0">
                  <a:pos x="T8" y="T9"/>
                </a:cxn>
                <a:cxn ang="0">
                  <a:pos x="T10" y="T11"/>
                </a:cxn>
                <a:cxn ang="0">
                  <a:pos x="T12" y="T13"/>
                </a:cxn>
              </a:cxnLst>
              <a:rect l="0" t="0" r="r" b="b"/>
              <a:pathLst>
                <a:path w="382" h="953">
                  <a:moveTo>
                    <a:pt x="234" y="953"/>
                  </a:moveTo>
                  <a:lnTo>
                    <a:pt x="382" y="857"/>
                  </a:lnTo>
                  <a:lnTo>
                    <a:pt x="175" y="259"/>
                  </a:lnTo>
                  <a:lnTo>
                    <a:pt x="136" y="382"/>
                  </a:lnTo>
                  <a:lnTo>
                    <a:pt x="0" y="0"/>
                  </a:lnTo>
                  <a:lnTo>
                    <a:pt x="14" y="500"/>
                  </a:lnTo>
                  <a:lnTo>
                    <a:pt x="234" y="95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47" name="Freeform 646"/>
            <p:cNvSpPr>
              <a:spLocks/>
            </p:cNvSpPr>
            <p:nvPr/>
          </p:nvSpPr>
          <p:spPr bwMode="auto">
            <a:xfrm>
              <a:off x="4264075" y="4840324"/>
              <a:ext cx="233364" cy="279403"/>
            </a:xfrm>
            <a:custGeom>
              <a:avLst/>
              <a:gdLst>
                <a:gd name="T0" fmla="*/ 657 w 735"/>
                <a:gd name="T1" fmla="*/ 882 h 882"/>
                <a:gd name="T2" fmla="*/ 735 w 735"/>
                <a:gd name="T3" fmla="*/ 833 h 882"/>
                <a:gd name="T4" fmla="*/ 491 w 735"/>
                <a:gd name="T5" fmla="*/ 276 h 882"/>
                <a:gd name="T6" fmla="*/ 458 w 735"/>
                <a:gd name="T7" fmla="*/ 337 h 882"/>
                <a:gd name="T8" fmla="*/ 369 w 735"/>
                <a:gd name="T9" fmla="*/ 213 h 882"/>
                <a:gd name="T10" fmla="*/ 357 w 735"/>
                <a:gd name="T11" fmla="*/ 290 h 882"/>
                <a:gd name="T12" fmla="*/ 0 w 735"/>
                <a:gd name="T13" fmla="*/ 0 h 882"/>
                <a:gd name="T14" fmla="*/ 214 w 735"/>
                <a:gd name="T15" fmla="*/ 420 h 882"/>
                <a:gd name="T16" fmla="*/ 92 w 735"/>
                <a:gd name="T17" fmla="*/ 365 h 882"/>
                <a:gd name="T18" fmla="*/ 657 w 735"/>
                <a:gd name="T19" fmla="*/ 882 h 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5" h="882">
                  <a:moveTo>
                    <a:pt x="657" y="882"/>
                  </a:moveTo>
                  <a:lnTo>
                    <a:pt x="735" y="833"/>
                  </a:lnTo>
                  <a:lnTo>
                    <a:pt x="491" y="276"/>
                  </a:lnTo>
                  <a:lnTo>
                    <a:pt x="458" y="337"/>
                  </a:lnTo>
                  <a:lnTo>
                    <a:pt x="369" y="213"/>
                  </a:lnTo>
                  <a:lnTo>
                    <a:pt x="357" y="290"/>
                  </a:lnTo>
                  <a:lnTo>
                    <a:pt x="0" y="0"/>
                  </a:lnTo>
                  <a:lnTo>
                    <a:pt x="214" y="420"/>
                  </a:lnTo>
                  <a:lnTo>
                    <a:pt x="92" y="365"/>
                  </a:lnTo>
                  <a:lnTo>
                    <a:pt x="657" y="8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48" name="Freeform 647"/>
            <p:cNvSpPr>
              <a:spLocks/>
            </p:cNvSpPr>
            <p:nvPr/>
          </p:nvSpPr>
          <p:spPr bwMode="auto">
            <a:xfrm>
              <a:off x="4553003" y="5059401"/>
              <a:ext cx="6350" cy="30163"/>
            </a:xfrm>
            <a:custGeom>
              <a:avLst/>
              <a:gdLst>
                <a:gd name="T0" fmla="*/ 23 w 23"/>
                <a:gd name="T1" fmla="*/ 82 h 94"/>
                <a:gd name="T2" fmla="*/ 23 w 23"/>
                <a:gd name="T3" fmla="*/ 82 h 94"/>
                <a:gd name="T4" fmla="*/ 22 w 23"/>
                <a:gd name="T5" fmla="*/ 87 h 94"/>
                <a:gd name="T6" fmla="*/ 19 w 23"/>
                <a:gd name="T7" fmla="*/ 91 h 94"/>
                <a:gd name="T8" fmla="*/ 16 w 23"/>
                <a:gd name="T9" fmla="*/ 93 h 94"/>
                <a:gd name="T10" fmla="*/ 12 w 23"/>
                <a:gd name="T11" fmla="*/ 94 h 94"/>
                <a:gd name="T12" fmla="*/ 12 w 23"/>
                <a:gd name="T13" fmla="*/ 94 h 94"/>
                <a:gd name="T14" fmla="*/ 7 w 23"/>
                <a:gd name="T15" fmla="*/ 93 h 94"/>
                <a:gd name="T16" fmla="*/ 4 w 23"/>
                <a:gd name="T17" fmla="*/ 91 h 94"/>
                <a:gd name="T18" fmla="*/ 1 w 23"/>
                <a:gd name="T19" fmla="*/ 87 h 94"/>
                <a:gd name="T20" fmla="*/ 0 w 23"/>
                <a:gd name="T21" fmla="*/ 82 h 94"/>
                <a:gd name="T22" fmla="*/ 0 w 23"/>
                <a:gd name="T23" fmla="*/ 11 h 94"/>
                <a:gd name="T24" fmla="*/ 0 w 23"/>
                <a:gd name="T25" fmla="*/ 11 h 94"/>
                <a:gd name="T26" fmla="*/ 1 w 23"/>
                <a:gd name="T27" fmla="*/ 8 h 94"/>
                <a:gd name="T28" fmla="*/ 4 w 23"/>
                <a:gd name="T29" fmla="*/ 4 h 94"/>
                <a:gd name="T30" fmla="*/ 7 w 23"/>
                <a:gd name="T31" fmla="*/ 2 h 94"/>
                <a:gd name="T32" fmla="*/ 12 w 23"/>
                <a:gd name="T33" fmla="*/ 0 h 94"/>
                <a:gd name="T34" fmla="*/ 12 w 23"/>
                <a:gd name="T35" fmla="*/ 0 h 94"/>
                <a:gd name="T36" fmla="*/ 16 w 23"/>
                <a:gd name="T37" fmla="*/ 2 h 94"/>
                <a:gd name="T38" fmla="*/ 19 w 23"/>
                <a:gd name="T39" fmla="*/ 4 h 94"/>
                <a:gd name="T40" fmla="*/ 22 w 23"/>
                <a:gd name="T41" fmla="*/ 8 h 94"/>
                <a:gd name="T42" fmla="*/ 23 w 23"/>
                <a:gd name="T43" fmla="*/ 11 h 94"/>
                <a:gd name="T44" fmla="*/ 23 w 23"/>
                <a:gd name="T45"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94">
                  <a:moveTo>
                    <a:pt x="23" y="82"/>
                  </a:moveTo>
                  <a:lnTo>
                    <a:pt x="23" y="82"/>
                  </a:lnTo>
                  <a:lnTo>
                    <a:pt x="22" y="87"/>
                  </a:lnTo>
                  <a:lnTo>
                    <a:pt x="19" y="91"/>
                  </a:lnTo>
                  <a:lnTo>
                    <a:pt x="16" y="93"/>
                  </a:lnTo>
                  <a:lnTo>
                    <a:pt x="12" y="94"/>
                  </a:lnTo>
                  <a:lnTo>
                    <a:pt x="12" y="94"/>
                  </a:lnTo>
                  <a:lnTo>
                    <a:pt x="7" y="93"/>
                  </a:lnTo>
                  <a:lnTo>
                    <a:pt x="4" y="91"/>
                  </a:lnTo>
                  <a:lnTo>
                    <a:pt x="1" y="87"/>
                  </a:lnTo>
                  <a:lnTo>
                    <a:pt x="0" y="82"/>
                  </a:lnTo>
                  <a:lnTo>
                    <a:pt x="0" y="11"/>
                  </a:lnTo>
                  <a:lnTo>
                    <a:pt x="0" y="11"/>
                  </a:lnTo>
                  <a:lnTo>
                    <a:pt x="1" y="8"/>
                  </a:lnTo>
                  <a:lnTo>
                    <a:pt x="4" y="4"/>
                  </a:lnTo>
                  <a:lnTo>
                    <a:pt x="7" y="2"/>
                  </a:lnTo>
                  <a:lnTo>
                    <a:pt x="12" y="0"/>
                  </a:lnTo>
                  <a:lnTo>
                    <a:pt x="12" y="0"/>
                  </a:lnTo>
                  <a:lnTo>
                    <a:pt x="16" y="2"/>
                  </a:lnTo>
                  <a:lnTo>
                    <a:pt x="19" y="4"/>
                  </a:lnTo>
                  <a:lnTo>
                    <a:pt x="22" y="8"/>
                  </a:lnTo>
                  <a:lnTo>
                    <a:pt x="23" y="11"/>
                  </a:lnTo>
                  <a:lnTo>
                    <a:pt x="23" y="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49" name="Freeform 648"/>
            <p:cNvSpPr>
              <a:spLocks/>
            </p:cNvSpPr>
            <p:nvPr/>
          </p:nvSpPr>
          <p:spPr bwMode="auto">
            <a:xfrm>
              <a:off x="4578403" y="5051464"/>
              <a:ext cx="17463" cy="44450"/>
            </a:xfrm>
            <a:custGeom>
              <a:avLst/>
              <a:gdLst>
                <a:gd name="T0" fmla="*/ 21 w 56"/>
                <a:gd name="T1" fmla="*/ 130 h 137"/>
                <a:gd name="T2" fmla="*/ 21 w 56"/>
                <a:gd name="T3" fmla="*/ 130 h 137"/>
                <a:gd name="T4" fmla="*/ 19 w 56"/>
                <a:gd name="T5" fmla="*/ 133 h 137"/>
                <a:gd name="T6" fmla="*/ 17 w 56"/>
                <a:gd name="T7" fmla="*/ 136 h 137"/>
                <a:gd name="T8" fmla="*/ 12 w 56"/>
                <a:gd name="T9" fmla="*/ 137 h 137"/>
                <a:gd name="T10" fmla="*/ 8 w 56"/>
                <a:gd name="T11" fmla="*/ 137 h 137"/>
                <a:gd name="T12" fmla="*/ 8 w 56"/>
                <a:gd name="T13" fmla="*/ 137 h 137"/>
                <a:gd name="T14" fmla="*/ 3 w 56"/>
                <a:gd name="T15" fmla="*/ 135 h 137"/>
                <a:gd name="T16" fmla="*/ 1 w 56"/>
                <a:gd name="T17" fmla="*/ 132 h 137"/>
                <a:gd name="T18" fmla="*/ 0 w 56"/>
                <a:gd name="T19" fmla="*/ 127 h 137"/>
                <a:gd name="T20" fmla="*/ 0 w 56"/>
                <a:gd name="T21" fmla="*/ 124 h 137"/>
                <a:gd name="T22" fmla="*/ 34 w 56"/>
                <a:gd name="T23" fmla="*/ 9 h 137"/>
                <a:gd name="T24" fmla="*/ 34 w 56"/>
                <a:gd name="T25" fmla="*/ 9 h 137"/>
                <a:gd name="T26" fmla="*/ 36 w 56"/>
                <a:gd name="T27" fmla="*/ 5 h 137"/>
                <a:gd name="T28" fmla="*/ 40 w 56"/>
                <a:gd name="T29" fmla="*/ 2 h 137"/>
                <a:gd name="T30" fmla="*/ 43 w 56"/>
                <a:gd name="T31" fmla="*/ 0 h 137"/>
                <a:gd name="T32" fmla="*/ 48 w 56"/>
                <a:gd name="T33" fmla="*/ 2 h 137"/>
                <a:gd name="T34" fmla="*/ 48 w 56"/>
                <a:gd name="T35" fmla="*/ 2 h 137"/>
                <a:gd name="T36" fmla="*/ 52 w 56"/>
                <a:gd name="T37" fmla="*/ 3 h 137"/>
                <a:gd name="T38" fmla="*/ 54 w 56"/>
                <a:gd name="T39" fmla="*/ 7 h 137"/>
                <a:gd name="T40" fmla="*/ 56 w 56"/>
                <a:gd name="T41" fmla="*/ 11 h 137"/>
                <a:gd name="T42" fmla="*/ 56 w 56"/>
                <a:gd name="T43" fmla="*/ 15 h 137"/>
                <a:gd name="T44" fmla="*/ 21 w 56"/>
                <a:gd name="T45" fmla="*/ 13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137">
                  <a:moveTo>
                    <a:pt x="21" y="130"/>
                  </a:moveTo>
                  <a:lnTo>
                    <a:pt x="21" y="130"/>
                  </a:lnTo>
                  <a:lnTo>
                    <a:pt x="19" y="133"/>
                  </a:lnTo>
                  <a:lnTo>
                    <a:pt x="17" y="136"/>
                  </a:lnTo>
                  <a:lnTo>
                    <a:pt x="12" y="137"/>
                  </a:lnTo>
                  <a:lnTo>
                    <a:pt x="8" y="137"/>
                  </a:lnTo>
                  <a:lnTo>
                    <a:pt x="8" y="137"/>
                  </a:lnTo>
                  <a:lnTo>
                    <a:pt x="3" y="135"/>
                  </a:lnTo>
                  <a:lnTo>
                    <a:pt x="1" y="132"/>
                  </a:lnTo>
                  <a:lnTo>
                    <a:pt x="0" y="127"/>
                  </a:lnTo>
                  <a:lnTo>
                    <a:pt x="0" y="124"/>
                  </a:lnTo>
                  <a:lnTo>
                    <a:pt x="34" y="9"/>
                  </a:lnTo>
                  <a:lnTo>
                    <a:pt x="34" y="9"/>
                  </a:lnTo>
                  <a:lnTo>
                    <a:pt x="36" y="5"/>
                  </a:lnTo>
                  <a:lnTo>
                    <a:pt x="40" y="2"/>
                  </a:lnTo>
                  <a:lnTo>
                    <a:pt x="43" y="0"/>
                  </a:lnTo>
                  <a:lnTo>
                    <a:pt x="48" y="2"/>
                  </a:lnTo>
                  <a:lnTo>
                    <a:pt x="48" y="2"/>
                  </a:lnTo>
                  <a:lnTo>
                    <a:pt x="52" y="3"/>
                  </a:lnTo>
                  <a:lnTo>
                    <a:pt x="54" y="7"/>
                  </a:lnTo>
                  <a:lnTo>
                    <a:pt x="56" y="11"/>
                  </a:lnTo>
                  <a:lnTo>
                    <a:pt x="56" y="15"/>
                  </a:lnTo>
                  <a:lnTo>
                    <a:pt x="21"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50" name="Freeform 649"/>
            <p:cNvSpPr>
              <a:spLocks/>
            </p:cNvSpPr>
            <p:nvPr/>
          </p:nvSpPr>
          <p:spPr bwMode="auto">
            <a:xfrm>
              <a:off x="4421239" y="5138777"/>
              <a:ext cx="28575" cy="14288"/>
            </a:xfrm>
            <a:custGeom>
              <a:avLst/>
              <a:gdLst>
                <a:gd name="T0" fmla="*/ 75 w 90"/>
                <a:gd name="T1" fmla="*/ 46 h 46"/>
                <a:gd name="T2" fmla="*/ 75 w 90"/>
                <a:gd name="T3" fmla="*/ 46 h 46"/>
                <a:gd name="T4" fmla="*/ 79 w 90"/>
                <a:gd name="T5" fmla="*/ 46 h 46"/>
                <a:gd name="T6" fmla="*/ 84 w 90"/>
                <a:gd name="T7" fmla="*/ 44 h 46"/>
                <a:gd name="T8" fmla="*/ 87 w 90"/>
                <a:gd name="T9" fmla="*/ 42 h 46"/>
                <a:gd name="T10" fmla="*/ 89 w 90"/>
                <a:gd name="T11" fmla="*/ 38 h 46"/>
                <a:gd name="T12" fmla="*/ 89 w 90"/>
                <a:gd name="T13" fmla="*/ 38 h 46"/>
                <a:gd name="T14" fmla="*/ 90 w 90"/>
                <a:gd name="T15" fmla="*/ 33 h 46"/>
                <a:gd name="T16" fmla="*/ 89 w 90"/>
                <a:gd name="T17" fmla="*/ 30 h 46"/>
                <a:gd name="T18" fmla="*/ 86 w 90"/>
                <a:gd name="T19" fmla="*/ 26 h 46"/>
                <a:gd name="T20" fmla="*/ 82 w 90"/>
                <a:gd name="T21" fmla="*/ 24 h 46"/>
                <a:gd name="T22" fmla="*/ 15 w 90"/>
                <a:gd name="T23" fmla="*/ 2 h 46"/>
                <a:gd name="T24" fmla="*/ 15 w 90"/>
                <a:gd name="T25" fmla="*/ 2 h 46"/>
                <a:gd name="T26" fmla="*/ 11 w 90"/>
                <a:gd name="T27" fmla="*/ 0 h 46"/>
                <a:gd name="T28" fmla="*/ 7 w 90"/>
                <a:gd name="T29" fmla="*/ 2 h 46"/>
                <a:gd name="T30" fmla="*/ 3 w 90"/>
                <a:gd name="T31" fmla="*/ 4 h 46"/>
                <a:gd name="T32" fmla="*/ 1 w 90"/>
                <a:gd name="T33" fmla="*/ 8 h 46"/>
                <a:gd name="T34" fmla="*/ 1 w 90"/>
                <a:gd name="T35" fmla="*/ 8 h 46"/>
                <a:gd name="T36" fmla="*/ 0 w 90"/>
                <a:gd name="T37" fmla="*/ 13 h 46"/>
                <a:gd name="T38" fmla="*/ 1 w 90"/>
                <a:gd name="T39" fmla="*/ 16 h 46"/>
                <a:gd name="T40" fmla="*/ 4 w 90"/>
                <a:gd name="T41" fmla="*/ 20 h 46"/>
                <a:gd name="T42" fmla="*/ 8 w 90"/>
                <a:gd name="T43" fmla="*/ 22 h 46"/>
                <a:gd name="T44" fmla="*/ 75 w 90"/>
                <a:gd name="T45"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0" h="46">
                  <a:moveTo>
                    <a:pt x="75" y="46"/>
                  </a:moveTo>
                  <a:lnTo>
                    <a:pt x="75" y="46"/>
                  </a:lnTo>
                  <a:lnTo>
                    <a:pt x="79" y="46"/>
                  </a:lnTo>
                  <a:lnTo>
                    <a:pt x="84" y="44"/>
                  </a:lnTo>
                  <a:lnTo>
                    <a:pt x="87" y="42"/>
                  </a:lnTo>
                  <a:lnTo>
                    <a:pt x="89" y="38"/>
                  </a:lnTo>
                  <a:lnTo>
                    <a:pt x="89" y="38"/>
                  </a:lnTo>
                  <a:lnTo>
                    <a:pt x="90" y="33"/>
                  </a:lnTo>
                  <a:lnTo>
                    <a:pt x="89" y="30"/>
                  </a:lnTo>
                  <a:lnTo>
                    <a:pt x="86" y="26"/>
                  </a:lnTo>
                  <a:lnTo>
                    <a:pt x="82" y="24"/>
                  </a:lnTo>
                  <a:lnTo>
                    <a:pt x="15" y="2"/>
                  </a:lnTo>
                  <a:lnTo>
                    <a:pt x="15" y="2"/>
                  </a:lnTo>
                  <a:lnTo>
                    <a:pt x="11" y="0"/>
                  </a:lnTo>
                  <a:lnTo>
                    <a:pt x="7" y="2"/>
                  </a:lnTo>
                  <a:lnTo>
                    <a:pt x="3" y="4"/>
                  </a:lnTo>
                  <a:lnTo>
                    <a:pt x="1" y="8"/>
                  </a:lnTo>
                  <a:lnTo>
                    <a:pt x="1" y="8"/>
                  </a:lnTo>
                  <a:lnTo>
                    <a:pt x="0" y="13"/>
                  </a:lnTo>
                  <a:lnTo>
                    <a:pt x="1" y="16"/>
                  </a:lnTo>
                  <a:lnTo>
                    <a:pt x="4" y="20"/>
                  </a:lnTo>
                  <a:lnTo>
                    <a:pt x="8" y="22"/>
                  </a:lnTo>
                  <a:lnTo>
                    <a:pt x="75"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51" name="Freeform 650"/>
            <p:cNvSpPr>
              <a:spLocks/>
            </p:cNvSpPr>
            <p:nvPr/>
          </p:nvSpPr>
          <p:spPr bwMode="auto">
            <a:xfrm>
              <a:off x="4403777" y="5172115"/>
              <a:ext cx="44450" cy="7938"/>
            </a:xfrm>
            <a:custGeom>
              <a:avLst/>
              <a:gdLst>
                <a:gd name="T0" fmla="*/ 130 w 142"/>
                <a:gd name="T1" fmla="*/ 27 h 27"/>
                <a:gd name="T2" fmla="*/ 130 w 142"/>
                <a:gd name="T3" fmla="*/ 27 h 27"/>
                <a:gd name="T4" fmla="*/ 135 w 142"/>
                <a:gd name="T5" fmla="*/ 25 h 27"/>
                <a:gd name="T6" fmla="*/ 138 w 142"/>
                <a:gd name="T7" fmla="*/ 24 h 27"/>
                <a:gd name="T8" fmla="*/ 141 w 142"/>
                <a:gd name="T9" fmla="*/ 21 h 27"/>
                <a:gd name="T10" fmla="*/ 142 w 142"/>
                <a:gd name="T11" fmla="*/ 16 h 27"/>
                <a:gd name="T12" fmla="*/ 142 w 142"/>
                <a:gd name="T13" fmla="*/ 16 h 27"/>
                <a:gd name="T14" fmla="*/ 141 w 142"/>
                <a:gd name="T15" fmla="*/ 11 h 27"/>
                <a:gd name="T16" fmla="*/ 138 w 142"/>
                <a:gd name="T17" fmla="*/ 7 h 27"/>
                <a:gd name="T18" fmla="*/ 135 w 142"/>
                <a:gd name="T19" fmla="*/ 5 h 27"/>
                <a:gd name="T20" fmla="*/ 131 w 142"/>
                <a:gd name="T21" fmla="*/ 4 h 27"/>
                <a:gd name="T22" fmla="*/ 11 w 142"/>
                <a:gd name="T23" fmla="*/ 0 h 27"/>
                <a:gd name="T24" fmla="*/ 11 w 142"/>
                <a:gd name="T25" fmla="*/ 0 h 27"/>
                <a:gd name="T26" fmla="*/ 8 w 142"/>
                <a:gd name="T27" fmla="*/ 0 h 27"/>
                <a:gd name="T28" fmla="*/ 4 w 142"/>
                <a:gd name="T29" fmla="*/ 2 h 27"/>
                <a:gd name="T30" fmla="*/ 0 w 142"/>
                <a:gd name="T31" fmla="*/ 6 h 27"/>
                <a:gd name="T32" fmla="*/ 0 w 142"/>
                <a:gd name="T33" fmla="*/ 11 h 27"/>
                <a:gd name="T34" fmla="*/ 0 w 142"/>
                <a:gd name="T35" fmla="*/ 11 h 27"/>
                <a:gd name="T36" fmla="*/ 0 w 142"/>
                <a:gd name="T37" fmla="*/ 15 h 27"/>
                <a:gd name="T38" fmla="*/ 3 w 142"/>
                <a:gd name="T39" fmla="*/ 18 h 27"/>
                <a:gd name="T40" fmla="*/ 7 w 142"/>
                <a:gd name="T41" fmla="*/ 22 h 27"/>
                <a:gd name="T42" fmla="*/ 10 w 142"/>
                <a:gd name="T43" fmla="*/ 22 h 27"/>
                <a:gd name="T44" fmla="*/ 130 w 142"/>
                <a:gd name="T45"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2" h="27">
                  <a:moveTo>
                    <a:pt x="130" y="27"/>
                  </a:moveTo>
                  <a:lnTo>
                    <a:pt x="130" y="27"/>
                  </a:lnTo>
                  <a:lnTo>
                    <a:pt x="135" y="25"/>
                  </a:lnTo>
                  <a:lnTo>
                    <a:pt x="138" y="24"/>
                  </a:lnTo>
                  <a:lnTo>
                    <a:pt x="141" y="21"/>
                  </a:lnTo>
                  <a:lnTo>
                    <a:pt x="142" y="16"/>
                  </a:lnTo>
                  <a:lnTo>
                    <a:pt x="142" y="16"/>
                  </a:lnTo>
                  <a:lnTo>
                    <a:pt x="141" y="11"/>
                  </a:lnTo>
                  <a:lnTo>
                    <a:pt x="138" y="7"/>
                  </a:lnTo>
                  <a:lnTo>
                    <a:pt x="135" y="5"/>
                  </a:lnTo>
                  <a:lnTo>
                    <a:pt x="131" y="4"/>
                  </a:lnTo>
                  <a:lnTo>
                    <a:pt x="11" y="0"/>
                  </a:lnTo>
                  <a:lnTo>
                    <a:pt x="11" y="0"/>
                  </a:lnTo>
                  <a:lnTo>
                    <a:pt x="8" y="0"/>
                  </a:lnTo>
                  <a:lnTo>
                    <a:pt x="4" y="2"/>
                  </a:lnTo>
                  <a:lnTo>
                    <a:pt x="0" y="6"/>
                  </a:lnTo>
                  <a:lnTo>
                    <a:pt x="0" y="11"/>
                  </a:lnTo>
                  <a:lnTo>
                    <a:pt x="0" y="11"/>
                  </a:lnTo>
                  <a:lnTo>
                    <a:pt x="0" y="15"/>
                  </a:lnTo>
                  <a:lnTo>
                    <a:pt x="3" y="18"/>
                  </a:lnTo>
                  <a:lnTo>
                    <a:pt x="7" y="22"/>
                  </a:lnTo>
                  <a:lnTo>
                    <a:pt x="10" y="22"/>
                  </a:lnTo>
                  <a:lnTo>
                    <a:pt x="130"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52" name="Freeform 651"/>
            <p:cNvSpPr>
              <a:spLocks/>
            </p:cNvSpPr>
            <p:nvPr/>
          </p:nvSpPr>
          <p:spPr bwMode="auto">
            <a:xfrm>
              <a:off x="4527602" y="5126077"/>
              <a:ext cx="25400" cy="23813"/>
            </a:xfrm>
            <a:custGeom>
              <a:avLst/>
              <a:gdLst>
                <a:gd name="T0" fmla="*/ 78 w 78"/>
                <a:gd name="T1" fmla="*/ 39 h 78"/>
                <a:gd name="T2" fmla="*/ 78 w 78"/>
                <a:gd name="T3" fmla="*/ 39 h 78"/>
                <a:gd name="T4" fmla="*/ 77 w 78"/>
                <a:gd name="T5" fmla="*/ 46 h 78"/>
                <a:gd name="T6" fmla="*/ 74 w 78"/>
                <a:gd name="T7" fmla="*/ 53 h 78"/>
                <a:gd name="T8" fmla="*/ 71 w 78"/>
                <a:gd name="T9" fmla="*/ 61 h 78"/>
                <a:gd name="T10" fmla="*/ 66 w 78"/>
                <a:gd name="T11" fmla="*/ 67 h 78"/>
                <a:gd name="T12" fmla="*/ 61 w 78"/>
                <a:gd name="T13" fmla="*/ 71 h 78"/>
                <a:gd name="T14" fmla="*/ 54 w 78"/>
                <a:gd name="T15" fmla="*/ 74 h 78"/>
                <a:gd name="T16" fmla="*/ 46 w 78"/>
                <a:gd name="T17" fmla="*/ 77 h 78"/>
                <a:gd name="T18" fmla="*/ 39 w 78"/>
                <a:gd name="T19" fmla="*/ 78 h 78"/>
                <a:gd name="T20" fmla="*/ 39 w 78"/>
                <a:gd name="T21" fmla="*/ 78 h 78"/>
                <a:gd name="T22" fmla="*/ 31 w 78"/>
                <a:gd name="T23" fmla="*/ 77 h 78"/>
                <a:gd name="T24" fmla="*/ 23 w 78"/>
                <a:gd name="T25" fmla="*/ 74 h 78"/>
                <a:gd name="T26" fmla="*/ 17 w 78"/>
                <a:gd name="T27" fmla="*/ 71 h 78"/>
                <a:gd name="T28" fmla="*/ 11 w 78"/>
                <a:gd name="T29" fmla="*/ 67 h 78"/>
                <a:gd name="T30" fmla="*/ 6 w 78"/>
                <a:gd name="T31" fmla="*/ 61 h 78"/>
                <a:gd name="T32" fmla="*/ 4 w 78"/>
                <a:gd name="T33" fmla="*/ 53 h 78"/>
                <a:gd name="T34" fmla="*/ 1 w 78"/>
                <a:gd name="T35" fmla="*/ 46 h 78"/>
                <a:gd name="T36" fmla="*/ 0 w 78"/>
                <a:gd name="T37" fmla="*/ 39 h 78"/>
                <a:gd name="T38" fmla="*/ 0 w 78"/>
                <a:gd name="T39" fmla="*/ 39 h 78"/>
                <a:gd name="T40" fmla="*/ 1 w 78"/>
                <a:gd name="T41" fmla="*/ 32 h 78"/>
                <a:gd name="T42" fmla="*/ 4 w 78"/>
                <a:gd name="T43" fmla="*/ 24 h 78"/>
                <a:gd name="T44" fmla="*/ 6 w 78"/>
                <a:gd name="T45" fmla="*/ 17 h 78"/>
                <a:gd name="T46" fmla="*/ 11 w 78"/>
                <a:gd name="T47" fmla="*/ 12 h 78"/>
                <a:gd name="T48" fmla="*/ 17 w 78"/>
                <a:gd name="T49" fmla="*/ 7 h 78"/>
                <a:gd name="T50" fmla="*/ 23 w 78"/>
                <a:gd name="T51" fmla="*/ 3 h 78"/>
                <a:gd name="T52" fmla="*/ 31 w 78"/>
                <a:gd name="T53" fmla="*/ 1 h 78"/>
                <a:gd name="T54" fmla="*/ 39 w 78"/>
                <a:gd name="T55" fmla="*/ 0 h 78"/>
                <a:gd name="T56" fmla="*/ 39 w 78"/>
                <a:gd name="T57" fmla="*/ 0 h 78"/>
                <a:gd name="T58" fmla="*/ 46 w 78"/>
                <a:gd name="T59" fmla="*/ 1 h 78"/>
                <a:gd name="T60" fmla="*/ 54 w 78"/>
                <a:gd name="T61" fmla="*/ 3 h 78"/>
                <a:gd name="T62" fmla="*/ 61 w 78"/>
                <a:gd name="T63" fmla="*/ 7 h 78"/>
                <a:gd name="T64" fmla="*/ 66 w 78"/>
                <a:gd name="T65" fmla="*/ 12 h 78"/>
                <a:gd name="T66" fmla="*/ 71 w 78"/>
                <a:gd name="T67" fmla="*/ 17 h 78"/>
                <a:gd name="T68" fmla="*/ 74 w 78"/>
                <a:gd name="T69" fmla="*/ 24 h 78"/>
                <a:gd name="T70" fmla="*/ 77 w 78"/>
                <a:gd name="T71" fmla="*/ 32 h 78"/>
                <a:gd name="T72" fmla="*/ 78 w 78"/>
                <a:gd name="T73" fmla="*/ 39 h 78"/>
                <a:gd name="T74" fmla="*/ 78 w 78"/>
                <a:gd name="T7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 h="78">
                  <a:moveTo>
                    <a:pt x="78" y="39"/>
                  </a:moveTo>
                  <a:lnTo>
                    <a:pt x="78" y="39"/>
                  </a:lnTo>
                  <a:lnTo>
                    <a:pt x="77" y="46"/>
                  </a:lnTo>
                  <a:lnTo>
                    <a:pt x="74" y="53"/>
                  </a:lnTo>
                  <a:lnTo>
                    <a:pt x="71" y="61"/>
                  </a:lnTo>
                  <a:lnTo>
                    <a:pt x="66" y="67"/>
                  </a:lnTo>
                  <a:lnTo>
                    <a:pt x="61" y="71"/>
                  </a:lnTo>
                  <a:lnTo>
                    <a:pt x="54" y="74"/>
                  </a:lnTo>
                  <a:lnTo>
                    <a:pt x="46" y="77"/>
                  </a:lnTo>
                  <a:lnTo>
                    <a:pt x="39" y="78"/>
                  </a:lnTo>
                  <a:lnTo>
                    <a:pt x="39" y="78"/>
                  </a:lnTo>
                  <a:lnTo>
                    <a:pt x="31" y="77"/>
                  </a:lnTo>
                  <a:lnTo>
                    <a:pt x="23" y="74"/>
                  </a:lnTo>
                  <a:lnTo>
                    <a:pt x="17" y="71"/>
                  </a:lnTo>
                  <a:lnTo>
                    <a:pt x="11" y="67"/>
                  </a:lnTo>
                  <a:lnTo>
                    <a:pt x="6" y="61"/>
                  </a:lnTo>
                  <a:lnTo>
                    <a:pt x="4" y="53"/>
                  </a:lnTo>
                  <a:lnTo>
                    <a:pt x="1" y="46"/>
                  </a:lnTo>
                  <a:lnTo>
                    <a:pt x="0" y="39"/>
                  </a:lnTo>
                  <a:lnTo>
                    <a:pt x="0" y="39"/>
                  </a:lnTo>
                  <a:lnTo>
                    <a:pt x="1" y="32"/>
                  </a:lnTo>
                  <a:lnTo>
                    <a:pt x="4" y="24"/>
                  </a:lnTo>
                  <a:lnTo>
                    <a:pt x="6" y="17"/>
                  </a:lnTo>
                  <a:lnTo>
                    <a:pt x="11" y="12"/>
                  </a:lnTo>
                  <a:lnTo>
                    <a:pt x="17" y="7"/>
                  </a:lnTo>
                  <a:lnTo>
                    <a:pt x="23" y="3"/>
                  </a:lnTo>
                  <a:lnTo>
                    <a:pt x="31" y="1"/>
                  </a:lnTo>
                  <a:lnTo>
                    <a:pt x="39" y="0"/>
                  </a:lnTo>
                  <a:lnTo>
                    <a:pt x="39" y="0"/>
                  </a:lnTo>
                  <a:lnTo>
                    <a:pt x="46" y="1"/>
                  </a:lnTo>
                  <a:lnTo>
                    <a:pt x="54" y="3"/>
                  </a:lnTo>
                  <a:lnTo>
                    <a:pt x="61" y="7"/>
                  </a:lnTo>
                  <a:lnTo>
                    <a:pt x="66" y="12"/>
                  </a:lnTo>
                  <a:lnTo>
                    <a:pt x="71" y="17"/>
                  </a:lnTo>
                  <a:lnTo>
                    <a:pt x="74" y="24"/>
                  </a:lnTo>
                  <a:lnTo>
                    <a:pt x="77" y="32"/>
                  </a:lnTo>
                  <a:lnTo>
                    <a:pt x="78" y="39"/>
                  </a:lnTo>
                  <a:lnTo>
                    <a:pt x="7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153" name="그룹 152"/>
          <p:cNvGrpSpPr/>
          <p:nvPr userDrawn="1"/>
        </p:nvGrpSpPr>
        <p:grpSpPr>
          <a:xfrm>
            <a:off x="6654111" y="855524"/>
            <a:ext cx="513709" cy="634476"/>
            <a:chOff x="4264075" y="4816511"/>
            <a:chExt cx="331791" cy="384179"/>
          </a:xfrm>
        </p:grpSpPr>
        <p:sp>
          <p:nvSpPr>
            <p:cNvPr id="154" name="Freeform 626"/>
            <p:cNvSpPr>
              <a:spLocks/>
            </p:cNvSpPr>
            <p:nvPr/>
          </p:nvSpPr>
          <p:spPr bwMode="auto">
            <a:xfrm>
              <a:off x="4556178" y="5127664"/>
              <a:ext cx="1588" cy="1588"/>
            </a:xfrm>
            <a:custGeom>
              <a:avLst/>
              <a:gdLst>
                <a:gd name="T0" fmla="*/ 2 w 2"/>
                <a:gd name="T1" fmla="*/ 3 h 3"/>
                <a:gd name="T2" fmla="*/ 2 w 2"/>
                <a:gd name="T3" fmla="*/ 3 h 3"/>
                <a:gd name="T4" fmla="*/ 0 w 2"/>
                <a:gd name="T5" fmla="*/ 0 h 3"/>
                <a:gd name="T6" fmla="*/ 0 w 2"/>
                <a:gd name="T7" fmla="*/ 0 h 3"/>
                <a:gd name="T8" fmla="*/ 2 w 2"/>
                <a:gd name="T9" fmla="*/ 3 h 3"/>
                <a:gd name="T10" fmla="*/ 2 w 2"/>
                <a:gd name="T11" fmla="*/ 3 h 3"/>
              </a:gdLst>
              <a:ahLst/>
              <a:cxnLst>
                <a:cxn ang="0">
                  <a:pos x="T0" y="T1"/>
                </a:cxn>
                <a:cxn ang="0">
                  <a:pos x="T2" y="T3"/>
                </a:cxn>
                <a:cxn ang="0">
                  <a:pos x="T4" y="T5"/>
                </a:cxn>
                <a:cxn ang="0">
                  <a:pos x="T6" y="T7"/>
                </a:cxn>
                <a:cxn ang="0">
                  <a:pos x="T8" y="T9"/>
                </a:cxn>
                <a:cxn ang="0">
                  <a:pos x="T10" y="T11"/>
                </a:cxn>
              </a:cxnLst>
              <a:rect l="0" t="0" r="r" b="b"/>
              <a:pathLst>
                <a:path w="2" h="3">
                  <a:moveTo>
                    <a:pt x="2" y="3"/>
                  </a:moveTo>
                  <a:lnTo>
                    <a:pt x="2" y="3"/>
                  </a:lnTo>
                  <a:lnTo>
                    <a:pt x="0" y="0"/>
                  </a:lnTo>
                  <a:lnTo>
                    <a:pt x="0" y="0"/>
                  </a:lnTo>
                  <a:lnTo>
                    <a:pt x="2" y="3"/>
                  </a:lnTo>
                  <a:lnTo>
                    <a:pt x="2" y="3"/>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55" name="Freeform 627"/>
            <p:cNvSpPr>
              <a:spLocks/>
            </p:cNvSpPr>
            <p:nvPr/>
          </p:nvSpPr>
          <p:spPr bwMode="auto">
            <a:xfrm>
              <a:off x="4535540" y="5116552"/>
              <a:ext cx="3175" cy="1588"/>
            </a:xfrm>
            <a:custGeom>
              <a:avLst/>
              <a:gdLst>
                <a:gd name="T0" fmla="*/ 0 w 10"/>
                <a:gd name="T1" fmla="*/ 0 h 3"/>
                <a:gd name="T2" fmla="*/ 0 w 10"/>
                <a:gd name="T3" fmla="*/ 0 h 3"/>
                <a:gd name="T4" fmla="*/ 10 w 10"/>
                <a:gd name="T5" fmla="*/ 3 h 3"/>
                <a:gd name="T6" fmla="*/ 10 w 10"/>
                <a:gd name="T7" fmla="*/ 3 h 3"/>
                <a:gd name="T8" fmla="*/ 0 w 10"/>
                <a:gd name="T9" fmla="*/ 0 h 3"/>
                <a:gd name="T10" fmla="*/ 0 w 10"/>
                <a:gd name="T11" fmla="*/ 0 h 3"/>
              </a:gdLst>
              <a:ahLst/>
              <a:cxnLst>
                <a:cxn ang="0">
                  <a:pos x="T0" y="T1"/>
                </a:cxn>
                <a:cxn ang="0">
                  <a:pos x="T2" y="T3"/>
                </a:cxn>
                <a:cxn ang="0">
                  <a:pos x="T4" y="T5"/>
                </a:cxn>
                <a:cxn ang="0">
                  <a:pos x="T6" y="T7"/>
                </a:cxn>
                <a:cxn ang="0">
                  <a:pos x="T8" y="T9"/>
                </a:cxn>
                <a:cxn ang="0">
                  <a:pos x="T10" y="T11"/>
                </a:cxn>
              </a:cxnLst>
              <a:rect l="0" t="0" r="r" b="b"/>
              <a:pathLst>
                <a:path w="10" h="3">
                  <a:moveTo>
                    <a:pt x="0" y="0"/>
                  </a:moveTo>
                  <a:lnTo>
                    <a:pt x="0" y="0"/>
                  </a:lnTo>
                  <a:lnTo>
                    <a:pt x="10" y="3"/>
                  </a:lnTo>
                  <a:lnTo>
                    <a:pt x="10" y="3"/>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56" name="Freeform 628"/>
            <p:cNvSpPr>
              <a:spLocks/>
            </p:cNvSpPr>
            <p:nvPr/>
          </p:nvSpPr>
          <p:spPr bwMode="auto">
            <a:xfrm>
              <a:off x="4546653" y="5121314"/>
              <a:ext cx="3175" cy="1588"/>
            </a:xfrm>
            <a:custGeom>
              <a:avLst/>
              <a:gdLst>
                <a:gd name="T0" fmla="*/ 0 w 9"/>
                <a:gd name="T1" fmla="*/ 0 h 5"/>
                <a:gd name="T2" fmla="*/ 0 w 9"/>
                <a:gd name="T3" fmla="*/ 0 h 5"/>
                <a:gd name="T4" fmla="*/ 9 w 9"/>
                <a:gd name="T5" fmla="*/ 5 h 5"/>
                <a:gd name="T6" fmla="*/ 9 w 9"/>
                <a:gd name="T7" fmla="*/ 5 h 5"/>
                <a:gd name="T8" fmla="*/ 0 w 9"/>
                <a:gd name="T9" fmla="*/ 0 h 5"/>
                <a:gd name="T10" fmla="*/ 0 w 9"/>
                <a:gd name="T11" fmla="*/ 0 h 5"/>
              </a:gdLst>
              <a:ahLst/>
              <a:cxnLst>
                <a:cxn ang="0">
                  <a:pos x="T0" y="T1"/>
                </a:cxn>
                <a:cxn ang="0">
                  <a:pos x="T2" y="T3"/>
                </a:cxn>
                <a:cxn ang="0">
                  <a:pos x="T4" y="T5"/>
                </a:cxn>
                <a:cxn ang="0">
                  <a:pos x="T6" y="T7"/>
                </a:cxn>
                <a:cxn ang="0">
                  <a:pos x="T8" y="T9"/>
                </a:cxn>
                <a:cxn ang="0">
                  <a:pos x="T10" y="T11"/>
                </a:cxn>
              </a:cxnLst>
              <a:rect l="0" t="0" r="r" b="b"/>
              <a:pathLst>
                <a:path w="9" h="5">
                  <a:moveTo>
                    <a:pt x="0" y="0"/>
                  </a:moveTo>
                  <a:lnTo>
                    <a:pt x="0" y="0"/>
                  </a:lnTo>
                  <a:lnTo>
                    <a:pt x="9" y="5"/>
                  </a:lnTo>
                  <a:lnTo>
                    <a:pt x="9" y="5"/>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57" name="Freeform 629"/>
            <p:cNvSpPr>
              <a:spLocks/>
            </p:cNvSpPr>
            <p:nvPr/>
          </p:nvSpPr>
          <p:spPr bwMode="auto">
            <a:xfrm>
              <a:off x="4538715" y="5118139"/>
              <a:ext cx="7938" cy="3175"/>
            </a:xfrm>
            <a:custGeom>
              <a:avLst/>
              <a:gdLst>
                <a:gd name="T0" fmla="*/ 0 w 25"/>
                <a:gd name="T1" fmla="*/ 0 h 9"/>
                <a:gd name="T2" fmla="*/ 0 w 25"/>
                <a:gd name="T3" fmla="*/ 0 h 9"/>
                <a:gd name="T4" fmla="*/ 13 w 25"/>
                <a:gd name="T5" fmla="*/ 5 h 9"/>
                <a:gd name="T6" fmla="*/ 25 w 25"/>
                <a:gd name="T7" fmla="*/ 9 h 9"/>
                <a:gd name="T8" fmla="*/ 25 w 25"/>
                <a:gd name="T9" fmla="*/ 9 h 9"/>
                <a:gd name="T10" fmla="*/ 13 w 25"/>
                <a:gd name="T11" fmla="*/ 5 h 9"/>
                <a:gd name="T12" fmla="*/ 0 w 25"/>
                <a:gd name="T13" fmla="*/ 0 h 9"/>
                <a:gd name="T14" fmla="*/ 0 w 25"/>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9">
                  <a:moveTo>
                    <a:pt x="0" y="0"/>
                  </a:moveTo>
                  <a:lnTo>
                    <a:pt x="0" y="0"/>
                  </a:lnTo>
                  <a:lnTo>
                    <a:pt x="13" y="5"/>
                  </a:lnTo>
                  <a:lnTo>
                    <a:pt x="25" y="9"/>
                  </a:lnTo>
                  <a:lnTo>
                    <a:pt x="25" y="9"/>
                  </a:lnTo>
                  <a:lnTo>
                    <a:pt x="13" y="5"/>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58" name="Freeform 630"/>
            <p:cNvSpPr>
              <a:spLocks/>
            </p:cNvSpPr>
            <p:nvPr/>
          </p:nvSpPr>
          <p:spPr bwMode="auto">
            <a:xfrm>
              <a:off x="4484740" y="5116552"/>
              <a:ext cx="50800" cy="71438"/>
            </a:xfrm>
            <a:custGeom>
              <a:avLst/>
              <a:gdLst>
                <a:gd name="T0" fmla="*/ 66 w 156"/>
                <a:gd name="T1" fmla="*/ 99 h 226"/>
                <a:gd name="T2" fmla="*/ 66 w 156"/>
                <a:gd name="T3" fmla="*/ 99 h 226"/>
                <a:gd name="T4" fmla="*/ 67 w 156"/>
                <a:gd name="T5" fmla="*/ 89 h 226"/>
                <a:gd name="T6" fmla="*/ 68 w 156"/>
                <a:gd name="T7" fmla="*/ 80 h 226"/>
                <a:gd name="T8" fmla="*/ 70 w 156"/>
                <a:gd name="T9" fmla="*/ 71 h 226"/>
                <a:gd name="T10" fmla="*/ 73 w 156"/>
                <a:gd name="T11" fmla="*/ 62 h 226"/>
                <a:gd name="T12" fmla="*/ 77 w 156"/>
                <a:gd name="T13" fmla="*/ 55 h 226"/>
                <a:gd name="T14" fmla="*/ 81 w 156"/>
                <a:gd name="T15" fmla="*/ 46 h 226"/>
                <a:gd name="T16" fmla="*/ 86 w 156"/>
                <a:gd name="T17" fmla="*/ 39 h 226"/>
                <a:gd name="T18" fmla="*/ 92 w 156"/>
                <a:gd name="T19" fmla="*/ 33 h 226"/>
                <a:gd name="T20" fmla="*/ 98 w 156"/>
                <a:gd name="T21" fmla="*/ 27 h 226"/>
                <a:gd name="T22" fmla="*/ 106 w 156"/>
                <a:gd name="T23" fmla="*/ 21 h 226"/>
                <a:gd name="T24" fmla="*/ 113 w 156"/>
                <a:gd name="T25" fmla="*/ 16 h 226"/>
                <a:gd name="T26" fmla="*/ 120 w 156"/>
                <a:gd name="T27" fmla="*/ 11 h 226"/>
                <a:gd name="T28" fmla="*/ 129 w 156"/>
                <a:gd name="T29" fmla="*/ 7 h 226"/>
                <a:gd name="T30" fmla="*/ 137 w 156"/>
                <a:gd name="T31" fmla="*/ 5 h 226"/>
                <a:gd name="T32" fmla="*/ 147 w 156"/>
                <a:gd name="T33" fmla="*/ 2 h 226"/>
                <a:gd name="T34" fmla="*/ 156 w 156"/>
                <a:gd name="T35" fmla="*/ 1 h 226"/>
                <a:gd name="T36" fmla="*/ 156 w 156"/>
                <a:gd name="T37" fmla="*/ 1 h 226"/>
                <a:gd name="T38" fmla="*/ 145 w 156"/>
                <a:gd name="T39" fmla="*/ 0 h 226"/>
                <a:gd name="T40" fmla="*/ 133 w 156"/>
                <a:gd name="T41" fmla="*/ 0 h 226"/>
                <a:gd name="T42" fmla="*/ 133 w 156"/>
                <a:gd name="T43" fmla="*/ 0 h 226"/>
                <a:gd name="T44" fmla="*/ 119 w 156"/>
                <a:gd name="T45" fmla="*/ 0 h 226"/>
                <a:gd name="T46" fmla="*/ 106 w 156"/>
                <a:gd name="T47" fmla="*/ 2 h 226"/>
                <a:gd name="T48" fmla="*/ 94 w 156"/>
                <a:gd name="T49" fmla="*/ 5 h 226"/>
                <a:gd name="T50" fmla="*/ 81 w 156"/>
                <a:gd name="T51" fmla="*/ 10 h 226"/>
                <a:gd name="T52" fmla="*/ 69 w 156"/>
                <a:gd name="T53" fmla="*/ 16 h 226"/>
                <a:gd name="T54" fmla="*/ 58 w 156"/>
                <a:gd name="T55" fmla="*/ 22 h 226"/>
                <a:gd name="T56" fmla="*/ 48 w 156"/>
                <a:gd name="T57" fmla="*/ 29 h 226"/>
                <a:gd name="T58" fmla="*/ 39 w 156"/>
                <a:gd name="T59" fmla="*/ 38 h 226"/>
                <a:gd name="T60" fmla="*/ 30 w 156"/>
                <a:gd name="T61" fmla="*/ 48 h 226"/>
                <a:gd name="T62" fmla="*/ 23 w 156"/>
                <a:gd name="T63" fmla="*/ 59 h 226"/>
                <a:gd name="T64" fmla="*/ 17 w 156"/>
                <a:gd name="T65" fmla="*/ 68 h 226"/>
                <a:gd name="T66" fmla="*/ 11 w 156"/>
                <a:gd name="T67" fmla="*/ 80 h 226"/>
                <a:gd name="T68" fmla="*/ 6 w 156"/>
                <a:gd name="T69" fmla="*/ 93 h 226"/>
                <a:gd name="T70" fmla="*/ 3 w 156"/>
                <a:gd name="T71" fmla="*/ 105 h 226"/>
                <a:gd name="T72" fmla="*/ 1 w 156"/>
                <a:gd name="T73" fmla="*/ 118 h 226"/>
                <a:gd name="T74" fmla="*/ 0 w 156"/>
                <a:gd name="T75" fmla="*/ 132 h 226"/>
                <a:gd name="T76" fmla="*/ 0 w 156"/>
                <a:gd name="T77" fmla="*/ 132 h 226"/>
                <a:gd name="T78" fmla="*/ 1 w 156"/>
                <a:gd name="T79" fmla="*/ 145 h 226"/>
                <a:gd name="T80" fmla="*/ 3 w 156"/>
                <a:gd name="T81" fmla="*/ 158 h 226"/>
                <a:gd name="T82" fmla="*/ 6 w 156"/>
                <a:gd name="T83" fmla="*/ 172 h 226"/>
                <a:gd name="T84" fmla="*/ 11 w 156"/>
                <a:gd name="T85" fmla="*/ 184 h 226"/>
                <a:gd name="T86" fmla="*/ 16 w 156"/>
                <a:gd name="T87" fmla="*/ 195 h 226"/>
                <a:gd name="T88" fmla="*/ 23 w 156"/>
                <a:gd name="T89" fmla="*/ 206 h 226"/>
                <a:gd name="T90" fmla="*/ 30 w 156"/>
                <a:gd name="T91" fmla="*/ 216 h 226"/>
                <a:gd name="T92" fmla="*/ 39 w 156"/>
                <a:gd name="T93" fmla="*/ 226 h 226"/>
                <a:gd name="T94" fmla="*/ 96 w 156"/>
                <a:gd name="T95" fmla="*/ 169 h 226"/>
                <a:gd name="T96" fmla="*/ 96 w 156"/>
                <a:gd name="T97" fmla="*/ 169 h 226"/>
                <a:gd name="T98" fmla="*/ 89 w 156"/>
                <a:gd name="T99" fmla="*/ 162 h 226"/>
                <a:gd name="T100" fmla="*/ 84 w 156"/>
                <a:gd name="T101" fmla="*/ 155 h 226"/>
                <a:gd name="T102" fmla="*/ 78 w 156"/>
                <a:gd name="T103" fmla="*/ 146 h 226"/>
                <a:gd name="T104" fmla="*/ 74 w 156"/>
                <a:gd name="T105" fmla="*/ 138 h 226"/>
                <a:gd name="T106" fmla="*/ 70 w 156"/>
                <a:gd name="T107" fmla="*/ 128 h 226"/>
                <a:gd name="T108" fmla="*/ 68 w 156"/>
                <a:gd name="T109" fmla="*/ 119 h 226"/>
                <a:gd name="T110" fmla="*/ 67 w 156"/>
                <a:gd name="T111" fmla="*/ 110 h 226"/>
                <a:gd name="T112" fmla="*/ 66 w 156"/>
                <a:gd name="T113" fmla="*/ 99 h 226"/>
                <a:gd name="T114" fmla="*/ 66 w 156"/>
                <a:gd name="T115" fmla="*/ 99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6" h="226">
                  <a:moveTo>
                    <a:pt x="66" y="99"/>
                  </a:moveTo>
                  <a:lnTo>
                    <a:pt x="66" y="99"/>
                  </a:lnTo>
                  <a:lnTo>
                    <a:pt x="67" y="89"/>
                  </a:lnTo>
                  <a:lnTo>
                    <a:pt x="68" y="80"/>
                  </a:lnTo>
                  <a:lnTo>
                    <a:pt x="70" y="71"/>
                  </a:lnTo>
                  <a:lnTo>
                    <a:pt x="73" y="62"/>
                  </a:lnTo>
                  <a:lnTo>
                    <a:pt x="77" y="55"/>
                  </a:lnTo>
                  <a:lnTo>
                    <a:pt x="81" y="46"/>
                  </a:lnTo>
                  <a:lnTo>
                    <a:pt x="86" y="39"/>
                  </a:lnTo>
                  <a:lnTo>
                    <a:pt x="92" y="33"/>
                  </a:lnTo>
                  <a:lnTo>
                    <a:pt x="98" y="27"/>
                  </a:lnTo>
                  <a:lnTo>
                    <a:pt x="106" y="21"/>
                  </a:lnTo>
                  <a:lnTo>
                    <a:pt x="113" y="16"/>
                  </a:lnTo>
                  <a:lnTo>
                    <a:pt x="120" y="11"/>
                  </a:lnTo>
                  <a:lnTo>
                    <a:pt x="129" y="7"/>
                  </a:lnTo>
                  <a:lnTo>
                    <a:pt x="137" y="5"/>
                  </a:lnTo>
                  <a:lnTo>
                    <a:pt x="147" y="2"/>
                  </a:lnTo>
                  <a:lnTo>
                    <a:pt x="156" y="1"/>
                  </a:lnTo>
                  <a:lnTo>
                    <a:pt x="156" y="1"/>
                  </a:lnTo>
                  <a:lnTo>
                    <a:pt x="145" y="0"/>
                  </a:lnTo>
                  <a:lnTo>
                    <a:pt x="133" y="0"/>
                  </a:lnTo>
                  <a:lnTo>
                    <a:pt x="133" y="0"/>
                  </a:lnTo>
                  <a:lnTo>
                    <a:pt x="119" y="0"/>
                  </a:lnTo>
                  <a:lnTo>
                    <a:pt x="106" y="2"/>
                  </a:lnTo>
                  <a:lnTo>
                    <a:pt x="94" y="5"/>
                  </a:lnTo>
                  <a:lnTo>
                    <a:pt x="81" y="10"/>
                  </a:lnTo>
                  <a:lnTo>
                    <a:pt x="69" y="16"/>
                  </a:lnTo>
                  <a:lnTo>
                    <a:pt x="58" y="22"/>
                  </a:lnTo>
                  <a:lnTo>
                    <a:pt x="48" y="29"/>
                  </a:lnTo>
                  <a:lnTo>
                    <a:pt x="39" y="38"/>
                  </a:lnTo>
                  <a:lnTo>
                    <a:pt x="30" y="48"/>
                  </a:lnTo>
                  <a:lnTo>
                    <a:pt x="23" y="59"/>
                  </a:lnTo>
                  <a:lnTo>
                    <a:pt x="17" y="68"/>
                  </a:lnTo>
                  <a:lnTo>
                    <a:pt x="11" y="80"/>
                  </a:lnTo>
                  <a:lnTo>
                    <a:pt x="6" y="93"/>
                  </a:lnTo>
                  <a:lnTo>
                    <a:pt x="3" y="105"/>
                  </a:lnTo>
                  <a:lnTo>
                    <a:pt x="1" y="118"/>
                  </a:lnTo>
                  <a:lnTo>
                    <a:pt x="0" y="132"/>
                  </a:lnTo>
                  <a:lnTo>
                    <a:pt x="0" y="132"/>
                  </a:lnTo>
                  <a:lnTo>
                    <a:pt x="1" y="145"/>
                  </a:lnTo>
                  <a:lnTo>
                    <a:pt x="3" y="158"/>
                  </a:lnTo>
                  <a:lnTo>
                    <a:pt x="6" y="172"/>
                  </a:lnTo>
                  <a:lnTo>
                    <a:pt x="11" y="184"/>
                  </a:lnTo>
                  <a:lnTo>
                    <a:pt x="16" y="195"/>
                  </a:lnTo>
                  <a:lnTo>
                    <a:pt x="23" y="206"/>
                  </a:lnTo>
                  <a:lnTo>
                    <a:pt x="30" y="216"/>
                  </a:lnTo>
                  <a:lnTo>
                    <a:pt x="39" y="226"/>
                  </a:lnTo>
                  <a:lnTo>
                    <a:pt x="96" y="169"/>
                  </a:lnTo>
                  <a:lnTo>
                    <a:pt x="96" y="169"/>
                  </a:lnTo>
                  <a:lnTo>
                    <a:pt x="89" y="162"/>
                  </a:lnTo>
                  <a:lnTo>
                    <a:pt x="84" y="155"/>
                  </a:lnTo>
                  <a:lnTo>
                    <a:pt x="78" y="146"/>
                  </a:lnTo>
                  <a:lnTo>
                    <a:pt x="74" y="138"/>
                  </a:lnTo>
                  <a:lnTo>
                    <a:pt x="70" y="128"/>
                  </a:lnTo>
                  <a:lnTo>
                    <a:pt x="68" y="119"/>
                  </a:lnTo>
                  <a:lnTo>
                    <a:pt x="67" y="110"/>
                  </a:lnTo>
                  <a:lnTo>
                    <a:pt x="66" y="99"/>
                  </a:lnTo>
                  <a:lnTo>
                    <a:pt x="66" y="99"/>
                  </a:lnTo>
                  <a:close/>
                </a:path>
              </a:pathLst>
            </a:custGeom>
            <a:solidFill>
              <a:srgbClr val="DD39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59" name="Freeform 631"/>
            <p:cNvSpPr>
              <a:spLocks/>
            </p:cNvSpPr>
            <p:nvPr/>
          </p:nvSpPr>
          <p:spPr bwMode="auto">
            <a:xfrm>
              <a:off x="4549828" y="5122902"/>
              <a:ext cx="6350" cy="4763"/>
            </a:xfrm>
            <a:custGeom>
              <a:avLst/>
              <a:gdLst>
                <a:gd name="T0" fmla="*/ 0 w 22"/>
                <a:gd name="T1" fmla="*/ 0 h 17"/>
                <a:gd name="T2" fmla="*/ 0 w 22"/>
                <a:gd name="T3" fmla="*/ 0 h 17"/>
                <a:gd name="T4" fmla="*/ 11 w 22"/>
                <a:gd name="T5" fmla="*/ 9 h 17"/>
                <a:gd name="T6" fmla="*/ 22 w 22"/>
                <a:gd name="T7" fmla="*/ 17 h 17"/>
                <a:gd name="T8" fmla="*/ 22 w 22"/>
                <a:gd name="T9" fmla="*/ 17 h 17"/>
                <a:gd name="T10" fmla="*/ 11 w 22"/>
                <a:gd name="T11" fmla="*/ 9 h 17"/>
                <a:gd name="T12" fmla="*/ 0 w 22"/>
                <a:gd name="T13" fmla="*/ 0 h 17"/>
                <a:gd name="T14" fmla="*/ 0 w 22"/>
                <a:gd name="T15" fmla="*/ 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7">
                  <a:moveTo>
                    <a:pt x="0" y="0"/>
                  </a:moveTo>
                  <a:lnTo>
                    <a:pt x="0" y="0"/>
                  </a:lnTo>
                  <a:lnTo>
                    <a:pt x="11" y="9"/>
                  </a:lnTo>
                  <a:lnTo>
                    <a:pt x="22" y="17"/>
                  </a:lnTo>
                  <a:lnTo>
                    <a:pt x="22" y="17"/>
                  </a:lnTo>
                  <a:lnTo>
                    <a:pt x="11" y="9"/>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60" name="Freeform 632"/>
            <p:cNvSpPr>
              <a:spLocks/>
            </p:cNvSpPr>
            <p:nvPr/>
          </p:nvSpPr>
          <p:spPr bwMode="auto">
            <a:xfrm>
              <a:off x="4546653" y="512131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61" name="Freeform 633"/>
            <p:cNvSpPr>
              <a:spLocks/>
            </p:cNvSpPr>
            <p:nvPr/>
          </p:nvSpPr>
          <p:spPr bwMode="auto">
            <a:xfrm>
              <a:off x="4549828" y="5122902"/>
              <a:ext cx="0" cy="0"/>
            </a:xfrm>
            <a:custGeom>
              <a:avLst/>
              <a:gdLst>
                <a:gd name="T0" fmla="*/ 0 w 1"/>
                <a:gd name="T1" fmla="*/ 1 w 1"/>
                <a:gd name="T2" fmla="*/ 0 w 1"/>
              </a:gdLst>
              <a:ahLst/>
              <a:cxnLst>
                <a:cxn ang="0">
                  <a:pos x="T0" y="0"/>
                </a:cxn>
                <a:cxn ang="0">
                  <a:pos x="T1" y="0"/>
                </a:cxn>
                <a:cxn ang="0">
                  <a:pos x="T2" y="0"/>
                </a:cxn>
              </a:cxnLst>
              <a:rect l="0" t="0" r="r" b="b"/>
              <a:pathLst>
                <a:path w="1">
                  <a:moveTo>
                    <a:pt x="0" y="0"/>
                  </a:moveTo>
                  <a:lnTo>
                    <a:pt x="1"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62" name="Freeform 634"/>
            <p:cNvSpPr>
              <a:spLocks/>
            </p:cNvSpPr>
            <p:nvPr/>
          </p:nvSpPr>
          <p:spPr bwMode="auto">
            <a:xfrm>
              <a:off x="4556178" y="512766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63" name="Line 635"/>
            <p:cNvSpPr>
              <a:spLocks noChangeShapeType="1"/>
            </p:cNvSpPr>
            <p:nvPr/>
          </p:nvSpPr>
          <p:spPr bwMode="auto">
            <a:xfrm>
              <a:off x="4535540" y="511655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64" name="Line 636"/>
            <p:cNvSpPr>
              <a:spLocks noChangeShapeType="1"/>
            </p:cNvSpPr>
            <p:nvPr/>
          </p:nvSpPr>
          <p:spPr bwMode="auto">
            <a:xfrm>
              <a:off x="4535540" y="511655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65" name="Freeform 637"/>
            <p:cNvSpPr>
              <a:spLocks/>
            </p:cNvSpPr>
            <p:nvPr/>
          </p:nvSpPr>
          <p:spPr bwMode="auto">
            <a:xfrm>
              <a:off x="4538715" y="5118139"/>
              <a:ext cx="0" cy="0"/>
            </a:xfrm>
            <a:custGeom>
              <a:avLst/>
              <a:gdLst>
                <a:gd name="T0" fmla="*/ 0 w 1"/>
                <a:gd name="T1" fmla="*/ 0 w 1"/>
                <a:gd name="T2" fmla="*/ 1 w 1"/>
                <a:gd name="T3" fmla="*/ 1 w 1"/>
                <a:gd name="T4" fmla="*/ 0 w 1"/>
                <a:gd name="T5" fmla="*/ 0 w 1"/>
              </a:gdLst>
              <a:ahLst/>
              <a:cxnLst>
                <a:cxn ang="0">
                  <a:pos x="T0" y="0"/>
                </a:cxn>
                <a:cxn ang="0">
                  <a:pos x="T1" y="0"/>
                </a:cxn>
                <a:cxn ang="0">
                  <a:pos x="T2" y="0"/>
                </a:cxn>
                <a:cxn ang="0">
                  <a:pos x="T3" y="0"/>
                </a:cxn>
                <a:cxn ang="0">
                  <a:pos x="T4" y="0"/>
                </a:cxn>
                <a:cxn ang="0">
                  <a:pos x="T5" y="0"/>
                </a:cxn>
              </a:cxnLst>
              <a:rect l="0" t="0" r="r" b="b"/>
              <a:pathLst>
                <a:path w="1">
                  <a:moveTo>
                    <a:pt x="0" y="0"/>
                  </a:moveTo>
                  <a:lnTo>
                    <a:pt x="0" y="0"/>
                  </a:lnTo>
                  <a:lnTo>
                    <a:pt x="1" y="0"/>
                  </a:lnTo>
                  <a:lnTo>
                    <a:pt x="1" y="0"/>
                  </a:ln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66" name="Freeform 638"/>
            <p:cNvSpPr>
              <a:spLocks/>
            </p:cNvSpPr>
            <p:nvPr/>
          </p:nvSpPr>
          <p:spPr bwMode="auto">
            <a:xfrm>
              <a:off x="4506965" y="5116552"/>
              <a:ext cx="50800" cy="53976"/>
            </a:xfrm>
            <a:custGeom>
              <a:avLst/>
              <a:gdLst>
                <a:gd name="T0" fmla="*/ 0 w 160"/>
                <a:gd name="T1" fmla="*/ 98 h 168"/>
                <a:gd name="T2" fmla="*/ 0 w 160"/>
                <a:gd name="T3" fmla="*/ 98 h 168"/>
                <a:gd name="T4" fmla="*/ 1 w 160"/>
                <a:gd name="T5" fmla="*/ 109 h 168"/>
                <a:gd name="T6" fmla="*/ 2 w 160"/>
                <a:gd name="T7" fmla="*/ 118 h 168"/>
                <a:gd name="T8" fmla="*/ 4 w 160"/>
                <a:gd name="T9" fmla="*/ 127 h 168"/>
                <a:gd name="T10" fmla="*/ 8 w 160"/>
                <a:gd name="T11" fmla="*/ 137 h 168"/>
                <a:gd name="T12" fmla="*/ 12 w 160"/>
                <a:gd name="T13" fmla="*/ 145 h 168"/>
                <a:gd name="T14" fmla="*/ 18 w 160"/>
                <a:gd name="T15" fmla="*/ 154 h 168"/>
                <a:gd name="T16" fmla="*/ 23 w 160"/>
                <a:gd name="T17" fmla="*/ 161 h 168"/>
                <a:gd name="T18" fmla="*/ 30 w 160"/>
                <a:gd name="T19" fmla="*/ 168 h 168"/>
                <a:gd name="T20" fmla="*/ 160 w 160"/>
                <a:gd name="T21" fmla="*/ 37 h 168"/>
                <a:gd name="T22" fmla="*/ 160 w 160"/>
                <a:gd name="T23" fmla="*/ 37 h 168"/>
                <a:gd name="T24" fmla="*/ 158 w 160"/>
                <a:gd name="T25" fmla="*/ 34 h 168"/>
                <a:gd name="T26" fmla="*/ 158 w 160"/>
                <a:gd name="T27" fmla="*/ 34 h 168"/>
                <a:gd name="T28" fmla="*/ 158 w 160"/>
                <a:gd name="T29" fmla="*/ 34 h 168"/>
                <a:gd name="T30" fmla="*/ 147 w 160"/>
                <a:gd name="T31" fmla="*/ 26 h 168"/>
                <a:gd name="T32" fmla="*/ 136 w 160"/>
                <a:gd name="T33" fmla="*/ 17 h 168"/>
                <a:gd name="T34" fmla="*/ 135 w 160"/>
                <a:gd name="T35" fmla="*/ 17 h 168"/>
                <a:gd name="T36" fmla="*/ 135 w 160"/>
                <a:gd name="T37" fmla="*/ 17 h 168"/>
                <a:gd name="T38" fmla="*/ 126 w 160"/>
                <a:gd name="T39" fmla="*/ 12 h 168"/>
                <a:gd name="T40" fmla="*/ 126 w 160"/>
                <a:gd name="T41" fmla="*/ 12 h 168"/>
                <a:gd name="T42" fmla="*/ 126 w 160"/>
                <a:gd name="T43" fmla="*/ 12 h 168"/>
                <a:gd name="T44" fmla="*/ 114 w 160"/>
                <a:gd name="T45" fmla="*/ 8 h 168"/>
                <a:gd name="T46" fmla="*/ 101 w 160"/>
                <a:gd name="T47" fmla="*/ 3 h 168"/>
                <a:gd name="T48" fmla="*/ 101 w 160"/>
                <a:gd name="T49" fmla="*/ 3 h 168"/>
                <a:gd name="T50" fmla="*/ 100 w 160"/>
                <a:gd name="T51" fmla="*/ 3 h 168"/>
                <a:gd name="T52" fmla="*/ 100 w 160"/>
                <a:gd name="T53" fmla="*/ 3 h 168"/>
                <a:gd name="T54" fmla="*/ 90 w 160"/>
                <a:gd name="T55" fmla="*/ 0 h 168"/>
                <a:gd name="T56" fmla="*/ 90 w 160"/>
                <a:gd name="T57" fmla="*/ 0 h 168"/>
                <a:gd name="T58" fmla="*/ 81 w 160"/>
                <a:gd name="T59" fmla="*/ 1 h 168"/>
                <a:gd name="T60" fmla="*/ 71 w 160"/>
                <a:gd name="T61" fmla="*/ 4 h 168"/>
                <a:gd name="T62" fmla="*/ 63 w 160"/>
                <a:gd name="T63" fmla="*/ 6 h 168"/>
                <a:gd name="T64" fmla="*/ 54 w 160"/>
                <a:gd name="T65" fmla="*/ 10 h 168"/>
                <a:gd name="T66" fmla="*/ 47 w 160"/>
                <a:gd name="T67" fmla="*/ 15 h 168"/>
                <a:gd name="T68" fmla="*/ 40 w 160"/>
                <a:gd name="T69" fmla="*/ 20 h 168"/>
                <a:gd name="T70" fmla="*/ 32 w 160"/>
                <a:gd name="T71" fmla="*/ 26 h 168"/>
                <a:gd name="T72" fmla="*/ 26 w 160"/>
                <a:gd name="T73" fmla="*/ 32 h 168"/>
                <a:gd name="T74" fmla="*/ 20 w 160"/>
                <a:gd name="T75" fmla="*/ 38 h 168"/>
                <a:gd name="T76" fmla="*/ 15 w 160"/>
                <a:gd name="T77" fmla="*/ 45 h 168"/>
                <a:gd name="T78" fmla="*/ 11 w 160"/>
                <a:gd name="T79" fmla="*/ 54 h 168"/>
                <a:gd name="T80" fmla="*/ 7 w 160"/>
                <a:gd name="T81" fmla="*/ 61 h 168"/>
                <a:gd name="T82" fmla="*/ 4 w 160"/>
                <a:gd name="T83" fmla="*/ 70 h 168"/>
                <a:gd name="T84" fmla="*/ 2 w 160"/>
                <a:gd name="T85" fmla="*/ 79 h 168"/>
                <a:gd name="T86" fmla="*/ 1 w 160"/>
                <a:gd name="T87" fmla="*/ 88 h 168"/>
                <a:gd name="T88" fmla="*/ 0 w 160"/>
                <a:gd name="T89" fmla="*/ 98 h 168"/>
                <a:gd name="T90" fmla="*/ 0 w 160"/>
                <a:gd name="T91" fmla="*/ 9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0" h="168">
                  <a:moveTo>
                    <a:pt x="0" y="98"/>
                  </a:moveTo>
                  <a:lnTo>
                    <a:pt x="0" y="98"/>
                  </a:lnTo>
                  <a:lnTo>
                    <a:pt x="1" y="109"/>
                  </a:lnTo>
                  <a:lnTo>
                    <a:pt x="2" y="118"/>
                  </a:lnTo>
                  <a:lnTo>
                    <a:pt x="4" y="127"/>
                  </a:lnTo>
                  <a:lnTo>
                    <a:pt x="8" y="137"/>
                  </a:lnTo>
                  <a:lnTo>
                    <a:pt x="12" y="145"/>
                  </a:lnTo>
                  <a:lnTo>
                    <a:pt x="18" y="154"/>
                  </a:lnTo>
                  <a:lnTo>
                    <a:pt x="23" y="161"/>
                  </a:lnTo>
                  <a:lnTo>
                    <a:pt x="30" y="168"/>
                  </a:lnTo>
                  <a:lnTo>
                    <a:pt x="160" y="37"/>
                  </a:lnTo>
                  <a:lnTo>
                    <a:pt x="160" y="37"/>
                  </a:lnTo>
                  <a:lnTo>
                    <a:pt x="158" y="34"/>
                  </a:lnTo>
                  <a:lnTo>
                    <a:pt x="158" y="34"/>
                  </a:lnTo>
                  <a:lnTo>
                    <a:pt x="158" y="34"/>
                  </a:lnTo>
                  <a:lnTo>
                    <a:pt x="147" y="26"/>
                  </a:lnTo>
                  <a:lnTo>
                    <a:pt x="136" y="17"/>
                  </a:lnTo>
                  <a:lnTo>
                    <a:pt x="135" y="17"/>
                  </a:lnTo>
                  <a:lnTo>
                    <a:pt x="135" y="17"/>
                  </a:lnTo>
                  <a:lnTo>
                    <a:pt x="126" y="12"/>
                  </a:lnTo>
                  <a:lnTo>
                    <a:pt x="126" y="12"/>
                  </a:lnTo>
                  <a:lnTo>
                    <a:pt x="126" y="12"/>
                  </a:lnTo>
                  <a:lnTo>
                    <a:pt x="114" y="8"/>
                  </a:lnTo>
                  <a:lnTo>
                    <a:pt x="101" y="3"/>
                  </a:lnTo>
                  <a:lnTo>
                    <a:pt x="101" y="3"/>
                  </a:lnTo>
                  <a:lnTo>
                    <a:pt x="100" y="3"/>
                  </a:lnTo>
                  <a:lnTo>
                    <a:pt x="100" y="3"/>
                  </a:lnTo>
                  <a:lnTo>
                    <a:pt x="90" y="0"/>
                  </a:lnTo>
                  <a:lnTo>
                    <a:pt x="90" y="0"/>
                  </a:lnTo>
                  <a:lnTo>
                    <a:pt x="81" y="1"/>
                  </a:lnTo>
                  <a:lnTo>
                    <a:pt x="71" y="4"/>
                  </a:lnTo>
                  <a:lnTo>
                    <a:pt x="63" y="6"/>
                  </a:lnTo>
                  <a:lnTo>
                    <a:pt x="54" y="10"/>
                  </a:lnTo>
                  <a:lnTo>
                    <a:pt x="47" y="15"/>
                  </a:lnTo>
                  <a:lnTo>
                    <a:pt x="40" y="20"/>
                  </a:lnTo>
                  <a:lnTo>
                    <a:pt x="32" y="26"/>
                  </a:lnTo>
                  <a:lnTo>
                    <a:pt x="26" y="32"/>
                  </a:lnTo>
                  <a:lnTo>
                    <a:pt x="20" y="38"/>
                  </a:lnTo>
                  <a:lnTo>
                    <a:pt x="15" y="45"/>
                  </a:lnTo>
                  <a:lnTo>
                    <a:pt x="11" y="54"/>
                  </a:lnTo>
                  <a:lnTo>
                    <a:pt x="7" y="61"/>
                  </a:lnTo>
                  <a:lnTo>
                    <a:pt x="4" y="70"/>
                  </a:lnTo>
                  <a:lnTo>
                    <a:pt x="2" y="79"/>
                  </a:lnTo>
                  <a:lnTo>
                    <a:pt x="1" y="88"/>
                  </a:lnTo>
                  <a:lnTo>
                    <a:pt x="0" y="98"/>
                  </a:lnTo>
                  <a:lnTo>
                    <a:pt x="0" y="98"/>
                  </a:lnTo>
                  <a:close/>
                </a:path>
              </a:pathLst>
            </a:custGeom>
            <a:solidFill>
              <a:srgbClr val="FF54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67" name="Freeform 639"/>
            <p:cNvSpPr>
              <a:spLocks/>
            </p:cNvSpPr>
            <p:nvPr/>
          </p:nvSpPr>
          <p:spPr bwMode="auto">
            <a:xfrm>
              <a:off x="4497440" y="5148302"/>
              <a:ext cx="71438" cy="52388"/>
            </a:xfrm>
            <a:custGeom>
              <a:avLst/>
              <a:gdLst>
                <a:gd name="T0" fmla="*/ 94 w 226"/>
                <a:gd name="T1" fmla="*/ 165 h 165"/>
                <a:gd name="T2" fmla="*/ 94 w 226"/>
                <a:gd name="T3" fmla="*/ 165 h 165"/>
                <a:gd name="T4" fmla="*/ 107 w 226"/>
                <a:gd name="T5" fmla="*/ 165 h 165"/>
                <a:gd name="T6" fmla="*/ 120 w 226"/>
                <a:gd name="T7" fmla="*/ 162 h 165"/>
                <a:gd name="T8" fmla="*/ 134 w 226"/>
                <a:gd name="T9" fmla="*/ 158 h 165"/>
                <a:gd name="T10" fmla="*/ 146 w 226"/>
                <a:gd name="T11" fmla="*/ 155 h 165"/>
                <a:gd name="T12" fmla="*/ 157 w 226"/>
                <a:gd name="T13" fmla="*/ 149 h 165"/>
                <a:gd name="T14" fmla="*/ 168 w 226"/>
                <a:gd name="T15" fmla="*/ 143 h 165"/>
                <a:gd name="T16" fmla="*/ 179 w 226"/>
                <a:gd name="T17" fmla="*/ 134 h 165"/>
                <a:gd name="T18" fmla="*/ 187 w 226"/>
                <a:gd name="T19" fmla="*/ 126 h 165"/>
                <a:gd name="T20" fmla="*/ 196 w 226"/>
                <a:gd name="T21" fmla="*/ 117 h 165"/>
                <a:gd name="T22" fmla="*/ 205 w 226"/>
                <a:gd name="T23" fmla="*/ 106 h 165"/>
                <a:gd name="T24" fmla="*/ 211 w 226"/>
                <a:gd name="T25" fmla="*/ 95 h 165"/>
                <a:gd name="T26" fmla="*/ 217 w 226"/>
                <a:gd name="T27" fmla="*/ 84 h 165"/>
                <a:gd name="T28" fmla="*/ 220 w 226"/>
                <a:gd name="T29" fmla="*/ 72 h 165"/>
                <a:gd name="T30" fmla="*/ 224 w 226"/>
                <a:gd name="T31" fmla="*/ 58 h 165"/>
                <a:gd name="T32" fmla="*/ 226 w 226"/>
                <a:gd name="T33" fmla="*/ 46 h 165"/>
                <a:gd name="T34" fmla="*/ 226 w 226"/>
                <a:gd name="T35" fmla="*/ 32 h 165"/>
                <a:gd name="T36" fmla="*/ 226 w 226"/>
                <a:gd name="T37" fmla="*/ 32 h 165"/>
                <a:gd name="T38" fmla="*/ 225 w 226"/>
                <a:gd name="T39" fmla="*/ 16 h 165"/>
                <a:gd name="T40" fmla="*/ 223 w 226"/>
                <a:gd name="T41" fmla="*/ 0 h 165"/>
                <a:gd name="T42" fmla="*/ 223 w 226"/>
                <a:gd name="T43" fmla="*/ 0 h 165"/>
                <a:gd name="T44" fmla="*/ 222 w 226"/>
                <a:gd name="T45" fmla="*/ 10 h 165"/>
                <a:gd name="T46" fmla="*/ 220 w 226"/>
                <a:gd name="T47" fmla="*/ 19 h 165"/>
                <a:gd name="T48" fmla="*/ 218 w 226"/>
                <a:gd name="T49" fmla="*/ 29 h 165"/>
                <a:gd name="T50" fmla="*/ 214 w 226"/>
                <a:gd name="T51" fmla="*/ 38 h 165"/>
                <a:gd name="T52" fmla="*/ 211 w 226"/>
                <a:gd name="T53" fmla="*/ 46 h 165"/>
                <a:gd name="T54" fmla="*/ 206 w 226"/>
                <a:gd name="T55" fmla="*/ 55 h 165"/>
                <a:gd name="T56" fmla="*/ 200 w 226"/>
                <a:gd name="T57" fmla="*/ 62 h 165"/>
                <a:gd name="T58" fmla="*/ 194 w 226"/>
                <a:gd name="T59" fmla="*/ 68 h 165"/>
                <a:gd name="T60" fmla="*/ 186 w 226"/>
                <a:gd name="T61" fmla="*/ 74 h 165"/>
                <a:gd name="T62" fmla="*/ 179 w 226"/>
                <a:gd name="T63" fmla="*/ 80 h 165"/>
                <a:gd name="T64" fmla="*/ 172 w 226"/>
                <a:gd name="T65" fmla="*/ 85 h 165"/>
                <a:gd name="T66" fmla="*/ 163 w 226"/>
                <a:gd name="T67" fmla="*/ 89 h 165"/>
                <a:gd name="T68" fmla="*/ 153 w 226"/>
                <a:gd name="T69" fmla="*/ 93 h 165"/>
                <a:gd name="T70" fmla="*/ 145 w 226"/>
                <a:gd name="T71" fmla="*/ 95 h 165"/>
                <a:gd name="T72" fmla="*/ 135 w 226"/>
                <a:gd name="T73" fmla="*/ 96 h 165"/>
                <a:gd name="T74" fmla="*/ 125 w 226"/>
                <a:gd name="T75" fmla="*/ 96 h 165"/>
                <a:gd name="T76" fmla="*/ 125 w 226"/>
                <a:gd name="T77" fmla="*/ 96 h 165"/>
                <a:gd name="T78" fmla="*/ 116 w 226"/>
                <a:gd name="T79" fmla="*/ 96 h 165"/>
                <a:gd name="T80" fmla="*/ 106 w 226"/>
                <a:gd name="T81" fmla="*/ 95 h 165"/>
                <a:gd name="T82" fmla="*/ 96 w 226"/>
                <a:gd name="T83" fmla="*/ 93 h 165"/>
                <a:gd name="T84" fmla="*/ 88 w 226"/>
                <a:gd name="T85" fmla="*/ 89 h 165"/>
                <a:gd name="T86" fmla="*/ 79 w 226"/>
                <a:gd name="T87" fmla="*/ 85 h 165"/>
                <a:gd name="T88" fmla="*/ 70 w 226"/>
                <a:gd name="T89" fmla="*/ 80 h 165"/>
                <a:gd name="T90" fmla="*/ 63 w 226"/>
                <a:gd name="T91" fmla="*/ 76 h 165"/>
                <a:gd name="T92" fmla="*/ 57 w 226"/>
                <a:gd name="T93" fmla="*/ 69 h 165"/>
                <a:gd name="T94" fmla="*/ 0 w 226"/>
                <a:gd name="T95" fmla="*/ 126 h 165"/>
                <a:gd name="T96" fmla="*/ 0 w 226"/>
                <a:gd name="T97" fmla="*/ 126 h 165"/>
                <a:gd name="T98" fmla="*/ 9 w 226"/>
                <a:gd name="T99" fmla="*/ 134 h 165"/>
                <a:gd name="T100" fmla="*/ 19 w 226"/>
                <a:gd name="T101" fmla="*/ 141 h 165"/>
                <a:gd name="T102" fmla="*/ 30 w 226"/>
                <a:gd name="T103" fmla="*/ 149 h 165"/>
                <a:gd name="T104" fmla="*/ 42 w 226"/>
                <a:gd name="T105" fmla="*/ 155 h 165"/>
                <a:gd name="T106" fmla="*/ 55 w 226"/>
                <a:gd name="T107" fmla="*/ 158 h 165"/>
                <a:gd name="T108" fmla="*/ 67 w 226"/>
                <a:gd name="T109" fmla="*/ 162 h 165"/>
                <a:gd name="T110" fmla="*/ 80 w 226"/>
                <a:gd name="T111" fmla="*/ 165 h 165"/>
                <a:gd name="T112" fmla="*/ 94 w 226"/>
                <a:gd name="T113" fmla="*/ 165 h 165"/>
                <a:gd name="T114" fmla="*/ 94 w 226"/>
                <a:gd name="T115"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6" h="165">
                  <a:moveTo>
                    <a:pt x="94" y="165"/>
                  </a:moveTo>
                  <a:lnTo>
                    <a:pt x="94" y="165"/>
                  </a:lnTo>
                  <a:lnTo>
                    <a:pt x="107" y="165"/>
                  </a:lnTo>
                  <a:lnTo>
                    <a:pt x="120" y="162"/>
                  </a:lnTo>
                  <a:lnTo>
                    <a:pt x="134" y="158"/>
                  </a:lnTo>
                  <a:lnTo>
                    <a:pt x="146" y="155"/>
                  </a:lnTo>
                  <a:lnTo>
                    <a:pt x="157" y="149"/>
                  </a:lnTo>
                  <a:lnTo>
                    <a:pt x="168" y="143"/>
                  </a:lnTo>
                  <a:lnTo>
                    <a:pt x="179" y="134"/>
                  </a:lnTo>
                  <a:lnTo>
                    <a:pt x="187" y="126"/>
                  </a:lnTo>
                  <a:lnTo>
                    <a:pt x="196" y="117"/>
                  </a:lnTo>
                  <a:lnTo>
                    <a:pt x="205" y="106"/>
                  </a:lnTo>
                  <a:lnTo>
                    <a:pt x="211" y="95"/>
                  </a:lnTo>
                  <a:lnTo>
                    <a:pt x="217" y="84"/>
                  </a:lnTo>
                  <a:lnTo>
                    <a:pt x="220" y="72"/>
                  </a:lnTo>
                  <a:lnTo>
                    <a:pt x="224" y="58"/>
                  </a:lnTo>
                  <a:lnTo>
                    <a:pt x="226" y="46"/>
                  </a:lnTo>
                  <a:lnTo>
                    <a:pt x="226" y="32"/>
                  </a:lnTo>
                  <a:lnTo>
                    <a:pt x="226" y="32"/>
                  </a:lnTo>
                  <a:lnTo>
                    <a:pt x="225" y="16"/>
                  </a:lnTo>
                  <a:lnTo>
                    <a:pt x="223" y="0"/>
                  </a:lnTo>
                  <a:lnTo>
                    <a:pt x="223" y="0"/>
                  </a:lnTo>
                  <a:lnTo>
                    <a:pt x="222" y="10"/>
                  </a:lnTo>
                  <a:lnTo>
                    <a:pt x="220" y="19"/>
                  </a:lnTo>
                  <a:lnTo>
                    <a:pt x="218" y="29"/>
                  </a:lnTo>
                  <a:lnTo>
                    <a:pt x="214" y="38"/>
                  </a:lnTo>
                  <a:lnTo>
                    <a:pt x="211" y="46"/>
                  </a:lnTo>
                  <a:lnTo>
                    <a:pt x="206" y="55"/>
                  </a:lnTo>
                  <a:lnTo>
                    <a:pt x="200" y="62"/>
                  </a:lnTo>
                  <a:lnTo>
                    <a:pt x="194" y="68"/>
                  </a:lnTo>
                  <a:lnTo>
                    <a:pt x="186" y="74"/>
                  </a:lnTo>
                  <a:lnTo>
                    <a:pt x="179" y="80"/>
                  </a:lnTo>
                  <a:lnTo>
                    <a:pt x="172" y="85"/>
                  </a:lnTo>
                  <a:lnTo>
                    <a:pt x="163" y="89"/>
                  </a:lnTo>
                  <a:lnTo>
                    <a:pt x="153" y="93"/>
                  </a:lnTo>
                  <a:lnTo>
                    <a:pt x="145" y="95"/>
                  </a:lnTo>
                  <a:lnTo>
                    <a:pt x="135" y="96"/>
                  </a:lnTo>
                  <a:lnTo>
                    <a:pt x="125" y="96"/>
                  </a:lnTo>
                  <a:lnTo>
                    <a:pt x="125" y="96"/>
                  </a:lnTo>
                  <a:lnTo>
                    <a:pt x="116" y="96"/>
                  </a:lnTo>
                  <a:lnTo>
                    <a:pt x="106" y="95"/>
                  </a:lnTo>
                  <a:lnTo>
                    <a:pt x="96" y="93"/>
                  </a:lnTo>
                  <a:lnTo>
                    <a:pt x="88" y="89"/>
                  </a:lnTo>
                  <a:lnTo>
                    <a:pt x="79" y="85"/>
                  </a:lnTo>
                  <a:lnTo>
                    <a:pt x="70" y="80"/>
                  </a:lnTo>
                  <a:lnTo>
                    <a:pt x="63" y="76"/>
                  </a:lnTo>
                  <a:lnTo>
                    <a:pt x="57" y="69"/>
                  </a:lnTo>
                  <a:lnTo>
                    <a:pt x="0" y="126"/>
                  </a:lnTo>
                  <a:lnTo>
                    <a:pt x="0" y="126"/>
                  </a:lnTo>
                  <a:lnTo>
                    <a:pt x="9" y="134"/>
                  </a:lnTo>
                  <a:lnTo>
                    <a:pt x="19" y="141"/>
                  </a:lnTo>
                  <a:lnTo>
                    <a:pt x="30" y="149"/>
                  </a:lnTo>
                  <a:lnTo>
                    <a:pt x="42" y="155"/>
                  </a:lnTo>
                  <a:lnTo>
                    <a:pt x="55" y="158"/>
                  </a:lnTo>
                  <a:lnTo>
                    <a:pt x="67" y="162"/>
                  </a:lnTo>
                  <a:lnTo>
                    <a:pt x="80" y="165"/>
                  </a:lnTo>
                  <a:lnTo>
                    <a:pt x="94" y="165"/>
                  </a:lnTo>
                  <a:lnTo>
                    <a:pt x="94" y="165"/>
                  </a:lnTo>
                  <a:close/>
                </a:path>
              </a:pathLst>
            </a:custGeom>
            <a:solidFill>
              <a:srgbClr val="AD26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68" name="Freeform 640"/>
            <p:cNvSpPr>
              <a:spLocks/>
            </p:cNvSpPr>
            <p:nvPr/>
          </p:nvSpPr>
          <p:spPr bwMode="auto">
            <a:xfrm>
              <a:off x="4557765" y="5130839"/>
              <a:ext cx="11113" cy="17463"/>
            </a:xfrm>
            <a:custGeom>
              <a:avLst/>
              <a:gdLst>
                <a:gd name="T0" fmla="*/ 0 w 32"/>
                <a:gd name="T1" fmla="*/ 0 h 57"/>
                <a:gd name="T2" fmla="*/ 0 w 32"/>
                <a:gd name="T3" fmla="*/ 0 h 57"/>
                <a:gd name="T4" fmla="*/ 11 w 32"/>
                <a:gd name="T5" fmla="*/ 12 h 57"/>
                <a:gd name="T6" fmla="*/ 20 w 32"/>
                <a:gd name="T7" fmla="*/ 26 h 57"/>
                <a:gd name="T8" fmla="*/ 27 w 32"/>
                <a:gd name="T9" fmla="*/ 41 h 57"/>
                <a:gd name="T10" fmla="*/ 32 w 32"/>
                <a:gd name="T11" fmla="*/ 57 h 57"/>
                <a:gd name="T12" fmla="*/ 32 w 32"/>
                <a:gd name="T13" fmla="*/ 57 h 57"/>
                <a:gd name="T14" fmla="*/ 27 w 32"/>
                <a:gd name="T15" fmla="*/ 41 h 57"/>
                <a:gd name="T16" fmla="*/ 20 w 32"/>
                <a:gd name="T17" fmla="*/ 26 h 57"/>
                <a:gd name="T18" fmla="*/ 11 w 32"/>
                <a:gd name="T19" fmla="*/ 12 h 57"/>
                <a:gd name="T20" fmla="*/ 0 w 32"/>
                <a:gd name="T21" fmla="*/ 0 h 57"/>
                <a:gd name="T22" fmla="*/ 0 w 32"/>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57">
                  <a:moveTo>
                    <a:pt x="0" y="0"/>
                  </a:moveTo>
                  <a:lnTo>
                    <a:pt x="0" y="0"/>
                  </a:lnTo>
                  <a:lnTo>
                    <a:pt x="11" y="12"/>
                  </a:lnTo>
                  <a:lnTo>
                    <a:pt x="20" y="26"/>
                  </a:lnTo>
                  <a:lnTo>
                    <a:pt x="27" y="41"/>
                  </a:lnTo>
                  <a:lnTo>
                    <a:pt x="32" y="57"/>
                  </a:lnTo>
                  <a:lnTo>
                    <a:pt x="32" y="57"/>
                  </a:lnTo>
                  <a:lnTo>
                    <a:pt x="27" y="41"/>
                  </a:lnTo>
                  <a:lnTo>
                    <a:pt x="20" y="26"/>
                  </a:lnTo>
                  <a:lnTo>
                    <a:pt x="11" y="12"/>
                  </a:ln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69" name="Freeform 641"/>
            <p:cNvSpPr>
              <a:spLocks/>
            </p:cNvSpPr>
            <p:nvPr/>
          </p:nvSpPr>
          <p:spPr bwMode="auto">
            <a:xfrm>
              <a:off x="4557765" y="5129252"/>
              <a:ext cx="0" cy="0"/>
            </a:xfrm>
            <a:custGeom>
              <a:avLst/>
              <a:gdLst>
                <a:gd name="T0" fmla="*/ 4 w 4"/>
                <a:gd name="T1" fmla="*/ 3 h 3"/>
                <a:gd name="T2" fmla="*/ 4 w 4"/>
                <a:gd name="T3" fmla="*/ 3 h 3"/>
                <a:gd name="T4" fmla="*/ 0 w 4"/>
                <a:gd name="T5" fmla="*/ 0 h 3"/>
                <a:gd name="T6" fmla="*/ 0 w 4"/>
                <a:gd name="T7" fmla="*/ 0 h 3"/>
                <a:gd name="T8" fmla="*/ 0 w 4"/>
                <a:gd name="T9" fmla="*/ 0 h 3"/>
                <a:gd name="T10" fmla="*/ 4 w 4"/>
                <a:gd name="T11" fmla="*/ 3 h 3"/>
                <a:gd name="T12" fmla="*/ 4 w 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4" y="3"/>
                  </a:moveTo>
                  <a:lnTo>
                    <a:pt x="4" y="3"/>
                  </a:lnTo>
                  <a:lnTo>
                    <a:pt x="0" y="0"/>
                  </a:lnTo>
                  <a:lnTo>
                    <a:pt x="0" y="0"/>
                  </a:lnTo>
                  <a:lnTo>
                    <a:pt x="0" y="0"/>
                  </a:lnTo>
                  <a:lnTo>
                    <a:pt x="4" y="3"/>
                  </a:lnTo>
                  <a:lnTo>
                    <a:pt x="4" y="3"/>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70" name="Freeform 642"/>
            <p:cNvSpPr>
              <a:spLocks/>
            </p:cNvSpPr>
            <p:nvPr/>
          </p:nvSpPr>
          <p:spPr bwMode="auto">
            <a:xfrm>
              <a:off x="4568878" y="514830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71" name="Freeform 643"/>
            <p:cNvSpPr>
              <a:spLocks/>
            </p:cNvSpPr>
            <p:nvPr/>
          </p:nvSpPr>
          <p:spPr bwMode="auto">
            <a:xfrm>
              <a:off x="4557765" y="5129252"/>
              <a:ext cx="0" cy="1588"/>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72" name="Freeform 644"/>
            <p:cNvSpPr>
              <a:spLocks/>
            </p:cNvSpPr>
            <p:nvPr/>
          </p:nvSpPr>
          <p:spPr bwMode="auto">
            <a:xfrm>
              <a:off x="4516490" y="5129252"/>
              <a:ext cx="52388" cy="49213"/>
            </a:xfrm>
            <a:custGeom>
              <a:avLst/>
              <a:gdLst>
                <a:gd name="T0" fmla="*/ 0 w 166"/>
                <a:gd name="T1" fmla="*/ 131 h 158"/>
                <a:gd name="T2" fmla="*/ 0 w 166"/>
                <a:gd name="T3" fmla="*/ 131 h 158"/>
                <a:gd name="T4" fmla="*/ 6 w 166"/>
                <a:gd name="T5" fmla="*/ 138 h 158"/>
                <a:gd name="T6" fmla="*/ 13 w 166"/>
                <a:gd name="T7" fmla="*/ 142 h 158"/>
                <a:gd name="T8" fmla="*/ 22 w 166"/>
                <a:gd name="T9" fmla="*/ 147 h 158"/>
                <a:gd name="T10" fmla="*/ 31 w 166"/>
                <a:gd name="T11" fmla="*/ 151 h 158"/>
                <a:gd name="T12" fmla="*/ 39 w 166"/>
                <a:gd name="T13" fmla="*/ 155 h 158"/>
                <a:gd name="T14" fmla="*/ 49 w 166"/>
                <a:gd name="T15" fmla="*/ 157 h 158"/>
                <a:gd name="T16" fmla="*/ 59 w 166"/>
                <a:gd name="T17" fmla="*/ 158 h 158"/>
                <a:gd name="T18" fmla="*/ 68 w 166"/>
                <a:gd name="T19" fmla="*/ 158 h 158"/>
                <a:gd name="T20" fmla="*/ 68 w 166"/>
                <a:gd name="T21" fmla="*/ 158 h 158"/>
                <a:gd name="T22" fmla="*/ 78 w 166"/>
                <a:gd name="T23" fmla="*/ 158 h 158"/>
                <a:gd name="T24" fmla="*/ 88 w 166"/>
                <a:gd name="T25" fmla="*/ 157 h 158"/>
                <a:gd name="T26" fmla="*/ 96 w 166"/>
                <a:gd name="T27" fmla="*/ 155 h 158"/>
                <a:gd name="T28" fmla="*/ 106 w 166"/>
                <a:gd name="T29" fmla="*/ 151 h 158"/>
                <a:gd name="T30" fmla="*/ 115 w 166"/>
                <a:gd name="T31" fmla="*/ 147 h 158"/>
                <a:gd name="T32" fmla="*/ 122 w 166"/>
                <a:gd name="T33" fmla="*/ 142 h 158"/>
                <a:gd name="T34" fmla="*/ 129 w 166"/>
                <a:gd name="T35" fmla="*/ 136 h 158"/>
                <a:gd name="T36" fmla="*/ 137 w 166"/>
                <a:gd name="T37" fmla="*/ 130 h 158"/>
                <a:gd name="T38" fmla="*/ 143 w 166"/>
                <a:gd name="T39" fmla="*/ 124 h 158"/>
                <a:gd name="T40" fmla="*/ 149 w 166"/>
                <a:gd name="T41" fmla="*/ 117 h 158"/>
                <a:gd name="T42" fmla="*/ 154 w 166"/>
                <a:gd name="T43" fmla="*/ 108 h 158"/>
                <a:gd name="T44" fmla="*/ 157 w 166"/>
                <a:gd name="T45" fmla="*/ 100 h 158"/>
                <a:gd name="T46" fmla="*/ 161 w 166"/>
                <a:gd name="T47" fmla="*/ 91 h 158"/>
                <a:gd name="T48" fmla="*/ 163 w 166"/>
                <a:gd name="T49" fmla="*/ 81 h 158"/>
                <a:gd name="T50" fmla="*/ 165 w 166"/>
                <a:gd name="T51" fmla="*/ 72 h 158"/>
                <a:gd name="T52" fmla="*/ 166 w 166"/>
                <a:gd name="T53" fmla="*/ 62 h 158"/>
                <a:gd name="T54" fmla="*/ 166 w 166"/>
                <a:gd name="T55" fmla="*/ 62 h 158"/>
                <a:gd name="T56" fmla="*/ 166 w 166"/>
                <a:gd name="T57" fmla="*/ 62 h 158"/>
                <a:gd name="T58" fmla="*/ 161 w 166"/>
                <a:gd name="T59" fmla="*/ 46 h 158"/>
                <a:gd name="T60" fmla="*/ 154 w 166"/>
                <a:gd name="T61" fmla="*/ 31 h 158"/>
                <a:gd name="T62" fmla="*/ 145 w 166"/>
                <a:gd name="T63" fmla="*/ 17 h 158"/>
                <a:gd name="T64" fmla="*/ 134 w 166"/>
                <a:gd name="T65" fmla="*/ 5 h 158"/>
                <a:gd name="T66" fmla="*/ 134 w 166"/>
                <a:gd name="T67" fmla="*/ 3 h 158"/>
                <a:gd name="T68" fmla="*/ 134 w 166"/>
                <a:gd name="T69" fmla="*/ 3 h 158"/>
                <a:gd name="T70" fmla="*/ 130 w 166"/>
                <a:gd name="T71" fmla="*/ 0 h 158"/>
                <a:gd name="T72" fmla="*/ 0 w 166"/>
                <a:gd name="T73" fmla="*/ 13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6" h="158">
                  <a:moveTo>
                    <a:pt x="0" y="131"/>
                  </a:moveTo>
                  <a:lnTo>
                    <a:pt x="0" y="131"/>
                  </a:lnTo>
                  <a:lnTo>
                    <a:pt x="6" y="138"/>
                  </a:lnTo>
                  <a:lnTo>
                    <a:pt x="13" y="142"/>
                  </a:lnTo>
                  <a:lnTo>
                    <a:pt x="22" y="147"/>
                  </a:lnTo>
                  <a:lnTo>
                    <a:pt x="31" y="151"/>
                  </a:lnTo>
                  <a:lnTo>
                    <a:pt x="39" y="155"/>
                  </a:lnTo>
                  <a:lnTo>
                    <a:pt x="49" y="157"/>
                  </a:lnTo>
                  <a:lnTo>
                    <a:pt x="59" y="158"/>
                  </a:lnTo>
                  <a:lnTo>
                    <a:pt x="68" y="158"/>
                  </a:lnTo>
                  <a:lnTo>
                    <a:pt x="68" y="158"/>
                  </a:lnTo>
                  <a:lnTo>
                    <a:pt x="78" y="158"/>
                  </a:lnTo>
                  <a:lnTo>
                    <a:pt x="88" y="157"/>
                  </a:lnTo>
                  <a:lnTo>
                    <a:pt x="96" y="155"/>
                  </a:lnTo>
                  <a:lnTo>
                    <a:pt x="106" y="151"/>
                  </a:lnTo>
                  <a:lnTo>
                    <a:pt x="115" y="147"/>
                  </a:lnTo>
                  <a:lnTo>
                    <a:pt x="122" y="142"/>
                  </a:lnTo>
                  <a:lnTo>
                    <a:pt x="129" y="136"/>
                  </a:lnTo>
                  <a:lnTo>
                    <a:pt x="137" y="130"/>
                  </a:lnTo>
                  <a:lnTo>
                    <a:pt x="143" y="124"/>
                  </a:lnTo>
                  <a:lnTo>
                    <a:pt x="149" y="117"/>
                  </a:lnTo>
                  <a:lnTo>
                    <a:pt x="154" y="108"/>
                  </a:lnTo>
                  <a:lnTo>
                    <a:pt x="157" y="100"/>
                  </a:lnTo>
                  <a:lnTo>
                    <a:pt x="161" y="91"/>
                  </a:lnTo>
                  <a:lnTo>
                    <a:pt x="163" y="81"/>
                  </a:lnTo>
                  <a:lnTo>
                    <a:pt x="165" y="72"/>
                  </a:lnTo>
                  <a:lnTo>
                    <a:pt x="166" y="62"/>
                  </a:lnTo>
                  <a:lnTo>
                    <a:pt x="166" y="62"/>
                  </a:lnTo>
                  <a:lnTo>
                    <a:pt x="166" y="62"/>
                  </a:lnTo>
                  <a:lnTo>
                    <a:pt x="161" y="46"/>
                  </a:lnTo>
                  <a:lnTo>
                    <a:pt x="154" y="31"/>
                  </a:lnTo>
                  <a:lnTo>
                    <a:pt x="145" y="17"/>
                  </a:lnTo>
                  <a:lnTo>
                    <a:pt x="134" y="5"/>
                  </a:lnTo>
                  <a:lnTo>
                    <a:pt x="134" y="3"/>
                  </a:lnTo>
                  <a:lnTo>
                    <a:pt x="134" y="3"/>
                  </a:lnTo>
                  <a:lnTo>
                    <a:pt x="130" y="0"/>
                  </a:lnTo>
                  <a:lnTo>
                    <a:pt x="0" y="131"/>
                  </a:lnTo>
                  <a:close/>
                </a:path>
              </a:pathLst>
            </a:custGeom>
            <a:solidFill>
              <a:srgbClr val="DD39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73" name="Freeform 645"/>
            <p:cNvSpPr>
              <a:spLocks/>
            </p:cNvSpPr>
            <p:nvPr/>
          </p:nvSpPr>
          <p:spPr bwMode="auto">
            <a:xfrm>
              <a:off x="4399014" y="4816511"/>
              <a:ext cx="120651" cy="303215"/>
            </a:xfrm>
            <a:custGeom>
              <a:avLst/>
              <a:gdLst>
                <a:gd name="T0" fmla="*/ 234 w 382"/>
                <a:gd name="T1" fmla="*/ 953 h 953"/>
                <a:gd name="T2" fmla="*/ 382 w 382"/>
                <a:gd name="T3" fmla="*/ 857 h 953"/>
                <a:gd name="T4" fmla="*/ 175 w 382"/>
                <a:gd name="T5" fmla="*/ 259 h 953"/>
                <a:gd name="T6" fmla="*/ 136 w 382"/>
                <a:gd name="T7" fmla="*/ 382 h 953"/>
                <a:gd name="T8" fmla="*/ 0 w 382"/>
                <a:gd name="T9" fmla="*/ 0 h 953"/>
                <a:gd name="T10" fmla="*/ 14 w 382"/>
                <a:gd name="T11" fmla="*/ 500 h 953"/>
                <a:gd name="T12" fmla="*/ 234 w 382"/>
                <a:gd name="T13" fmla="*/ 953 h 953"/>
              </a:gdLst>
              <a:ahLst/>
              <a:cxnLst>
                <a:cxn ang="0">
                  <a:pos x="T0" y="T1"/>
                </a:cxn>
                <a:cxn ang="0">
                  <a:pos x="T2" y="T3"/>
                </a:cxn>
                <a:cxn ang="0">
                  <a:pos x="T4" y="T5"/>
                </a:cxn>
                <a:cxn ang="0">
                  <a:pos x="T6" y="T7"/>
                </a:cxn>
                <a:cxn ang="0">
                  <a:pos x="T8" y="T9"/>
                </a:cxn>
                <a:cxn ang="0">
                  <a:pos x="T10" y="T11"/>
                </a:cxn>
                <a:cxn ang="0">
                  <a:pos x="T12" y="T13"/>
                </a:cxn>
              </a:cxnLst>
              <a:rect l="0" t="0" r="r" b="b"/>
              <a:pathLst>
                <a:path w="382" h="953">
                  <a:moveTo>
                    <a:pt x="234" y="953"/>
                  </a:moveTo>
                  <a:lnTo>
                    <a:pt x="382" y="857"/>
                  </a:lnTo>
                  <a:lnTo>
                    <a:pt x="175" y="259"/>
                  </a:lnTo>
                  <a:lnTo>
                    <a:pt x="136" y="382"/>
                  </a:lnTo>
                  <a:lnTo>
                    <a:pt x="0" y="0"/>
                  </a:lnTo>
                  <a:lnTo>
                    <a:pt x="14" y="500"/>
                  </a:lnTo>
                  <a:lnTo>
                    <a:pt x="234" y="95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74" name="Freeform 646"/>
            <p:cNvSpPr>
              <a:spLocks/>
            </p:cNvSpPr>
            <p:nvPr/>
          </p:nvSpPr>
          <p:spPr bwMode="auto">
            <a:xfrm>
              <a:off x="4264075" y="4840324"/>
              <a:ext cx="233364" cy="279403"/>
            </a:xfrm>
            <a:custGeom>
              <a:avLst/>
              <a:gdLst>
                <a:gd name="T0" fmla="*/ 657 w 735"/>
                <a:gd name="T1" fmla="*/ 882 h 882"/>
                <a:gd name="T2" fmla="*/ 735 w 735"/>
                <a:gd name="T3" fmla="*/ 833 h 882"/>
                <a:gd name="T4" fmla="*/ 491 w 735"/>
                <a:gd name="T5" fmla="*/ 276 h 882"/>
                <a:gd name="T6" fmla="*/ 458 w 735"/>
                <a:gd name="T7" fmla="*/ 337 h 882"/>
                <a:gd name="T8" fmla="*/ 369 w 735"/>
                <a:gd name="T9" fmla="*/ 213 h 882"/>
                <a:gd name="T10" fmla="*/ 357 w 735"/>
                <a:gd name="T11" fmla="*/ 290 h 882"/>
                <a:gd name="T12" fmla="*/ 0 w 735"/>
                <a:gd name="T13" fmla="*/ 0 h 882"/>
                <a:gd name="T14" fmla="*/ 214 w 735"/>
                <a:gd name="T15" fmla="*/ 420 h 882"/>
                <a:gd name="T16" fmla="*/ 92 w 735"/>
                <a:gd name="T17" fmla="*/ 365 h 882"/>
                <a:gd name="T18" fmla="*/ 657 w 735"/>
                <a:gd name="T19" fmla="*/ 882 h 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5" h="882">
                  <a:moveTo>
                    <a:pt x="657" y="882"/>
                  </a:moveTo>
                  <a:lnTo>
                    <a:pt x="735" y="833"/>
                  </a:lnTo>
                  <a:lnTo>
                    <a:pt x="491" y="276"/>
                  </a:lnTo>
                  <a:lnTo>
                    <a:pt x="458" y="337"/>
                  </a:lnTo>
                  <a:lnTo>
                    <a:pt x="369" y="213"/>
                  </a:lnTo>
                  <a:lnTo>
                    <a:pt x="357" y="290"/>
                  </a:lnTo>
                  <a:lnTo>
                    <a:pt x="0" y="0"/>
                  </a:lnTo>
                  <a:lnTo>
                    <a:pt x="214" y="420"/>
                  </a:lnTo>
                  <a:lnTo>
                    <a:pt x="92" y="365"/>
                  </a:lnTo>
                  <a:lnTo>
                    <a:pt x="657" y="8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75" name="Freeform 647"/>
            <p:cNvSpPr>
              <a:spLocks/>
            </p:cNvSpPr>
            <p:nvPr/>
          </p:nvSpPr>
          <p:spPr bwMode="auto">
            <a:xfrm>
              <a:off x="4553003" y="5059401"/>
              <a:ext cx="6350" cy="30163"/>
            </a:xfrm>
            <a:custGeom>
              <a:avLst/>
              <a:gdLst>
                <a:gd name="T0" fmla="*/ 23 w 23"/>
                <a:gd name="T1" fmla="*/ 82 h 94"/>
                <a:gd name="T2" fmla="*/ 23 w 23"/>
                <a:gd name="T3" fmla="*/ 82 h 94"/>
                <a:gd name="T4" fmla="*/ 22 w 23"/>
                <a:gd name="T5" fmla="*/ 87 h 94"/>
                <a:gd name="T6" fmla="*/ 19 w 23"/>
                <a:gd name="T7" fmla="*/ 91 h 94"/>
                <a:gd name="T8" fmla="*/ 16 w 23"/>
                <a:gd name="T9" fmla="*/ 93 h 94"/>
                <a:gd name="T10" fmla="*/ 12 w 23"/>
                <a:gd name="T11" fmla="*/ 94 h 94"/>
                <a:gd name="T12" fmla="*/ 12 w 23"/>
                <a:gd name="T13" fmla="*/ 94 h 94"/>
                <a:gd name="T14" fmla="*/ 7 w 23"/>
                <a:gd name="T15" fmla="*/ 93 h 94"/>
                <a:gd name="T16" fmla="*/ 4 w 23"/>
                <a:gd name="T17" fmla="*/ 91 h 94"/>
                <a:gd name="T18" fmla="*/ 1 w 23"/>
                <a:gd name="T19" fmla="*/ 87 h 94"/>
                <a:gd name="T20" fmla="*/ 0 w 23"/>
                <a:gd name="T21" fmla="*/ 82 h 94"/>
                <a:gd name="T22" fmla="*/ 0 w 23"/>
                <a:gd name="T23" fmla="*/ 11 h 94"/>
                <a:gd name="T24" fmla="*/ 0 w 23"/>
                <a:gd name="T25" fmla="*/ 11 h 94"/>
                <a:gd name="T26" fmla="*/ 1 w 23"/>
                <a:gd name="T27" fmla="*/ 8 h 94"/>
                <a:gd name="T28" fmla="*/ 4 w 23"/>
                <a:gd name="T29" fmla="*/ 4 h 94"/>
                <a:gd name="T30" fmla="*/ 7 w 23"/>
                <a:gd name="T31" fmla="*/ 2 h 94"/>
                <a:gd name="T32" fmla="*/ 12 w 23"/>
                <a:gd name="T33" fmla="*/ 0 h 94"/>
                <a:gd name="T34" fmla="*/ 12 w 23"/>
                <a:gd name="T35" fmla="*/ 0 h 94"/>
                <a:gd name="T36" fmla="*/ 16 w 23"/>
                <a:gd name="T37" fmla="*/ 2 h 94"/>
                <a:gd name="T38" fmla="*/ 19 w 23"/>
                <a:gd name="T39" fmla="*/ 4 h 94"/>
                <a:gd name="T40" fmla="*/ 22 w 23"/>
                <a:gd name="T41" fmla="*/ 8 h 94"/>
                <a:gd name="T42" fmla="*/ 23 w 23"/>
                <a:gd name="T43" fmla="*/ 11 h 94"/>
                <a:gd name="T44" fmla="*/ 23 w 23"/>
                <a:gd name="T45"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94">
                  <a:moveTo>
                    <a:pt x="23" y="82"/>
                  </a:moveTo>
                  <a:lnTo>
                    <a:pt x="23" y="82"/>
                  </a:lnTo>
                  <a:lnTo>
                    <a:pt x="22" y="87"/>
                  </a:lnTo>
                  <a:lnTo>
                    <a:pt x="19" y="91"/>
                  </a:lnTo>
                  <a:lnTo>
                    <a:pt x="16" y="93"/>
                  </a:lnTo>
                  <a:lnTo>
                    <a:pt x="12" y="94"/>
                  </a:lnTo>
                  <a:lnTo>
                    <a:pt x="12" y="94"/>
                  </a:lnTo>
                  <a:lnTo>
                    <a:pt x="7" y="93"/>
                  </a:lnTo>
                  <a:lnTo>
                    <a:pt x="4" y="91"/>
                  </a:lnTo>
                  <a:lnTo>
                    <a:pt x="1" y="87"/>
                  </a:lnTo>
                  <a:lnTo>
                    <a:pt x="0" y="82"/>
                  </a:lnTo>
                  <a:lnTo>
                    <a:pt x="0" y="11"/>
                  </a:lnTo>
                  <a:lnTo>
                    <a:pt x="0" y="11"/>
                  </a:lnTo>
                  <a:lnTo>
                    <a:pt x="1" y="8"/>
                  </a:lnTo>
                  <a:lnTo>
                    <a:pt x="4" y="4"/>
                  </a:lnTo>
                  <a:lnTo>
                    <a:pt x="7" y="2"/>
                  </a:lnTo>
                  <a:lnTo>
                    <a:pt x="12" y="0"/>
                  </a:lnTo>
                  <a:lnTo>
                    <a:pt x="12" y="0"/>
                  </a:lnTo>
                  <a:lnTo>
                    <a:pt x="16" y="2"/>
                  </a:lnTo>
                  <a:lnTo>
                    <a:pt x="19" y="4"/>
                  </a:lnTo>
                  <a:lnTo>
                    <a:pt x="22" y="8"/>
                  </a:lnTo>
                  <a:lnTo>
                    <a:pt x="23" y="11"/>
                  </a:lnTo>
                  <a:lnTo>
                    <a:pt x="23" y="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76" name="Freeform 648"/>
            <p:cNvSpPr>
              <a:spLocks/>
            </p:cNvSpPr>
            <p:nvPr/>
          </p:nvSpPr>
          <p:spPr bwMode="auto">
            <a:xfrm>
              <a:off x="4578403" y="5051464"/>
              <a:ext cx="17463" cy="44450"/>
            </a:xfrm>
            <a:custGeom>
              <a:avLst/>
              <a:gdLst>
                <a:gd name="T0" fmla="*/ 21 w 56"/>
                <a:gd name="T1" fmla="*/ 130 h 137"/>
                <a:gd name="T2" fmla="*/ 21 w 56"/>
                <a:gd name="T3" fmla="*/ 130 h 137"/>
                <a:gd name="T4" fmla="*/ 19 w 56"/>
                <a:gd name="T5" fmla="*/ 133 h 137"/>
                <a:gd name="T6" fmla="*/ 17 w 56"/>
                <a:gd name="T7" fmla="*/ 136 h 137"/>
                <a:gd name="T8" fmla="*/ 12 w 56"/>
                <a:gd name="T9" fmla="*/ 137 h 137"/>
                <a:gd name="T10" fmla="*/ 8 w 56"/>
                <a:gd name="T11" fmla="*/ 137 h 137"/>
                <a:gd name="T12" fmla="*/ 8 w 56"/>
                <a:gd name="T13" fmla="*/ 137 h 137"/>
                <a:gd name="T14" fmla="*/ 3 w 56"/>
                <a:gd name="T15" fmla="*/ 135 h 137"/>
                <a:gd name="T16" fmla="*/ 1 w 56"/>
                <a:gd name="T17" fmla="*/ 132 h 137"/>
                <a:gd name="T18" fmla="*/ 0 w 56"/>
                <a:gd name="T19" fmla="*/ 127 h 137"/>
                <a:gd name="T20" fmla="*/ 0 w 56"/>
                <a:gd name="T21" fmla="*/ 124 h 137"/>
                <a:gd name="T22" fmla="*/ 34 w 56"/>
                <a:gd name="T23" fmla="*/ 9 h 137"/>
                <a:gd name="T24" fmla="*/ 34 w 56"/>
                <a:gd name="T25" fmla="*/ 9 h 137"/>
                <a:gd name="T26" fmla="*/ 36 w 56"/>
                <a:gd name="T27" fmla="*/ 5 h 137"/>
                <a:gd name="T28" fmla="*/ 40 w 56"/>
                <a:gd name="T29" fmla="*/ 2 h 137"/>
                <a:gd name="T30" fmla="*/ 43 w 56"/>
                <a:gd name="T31" fmla="*/ 0 h 137"/>
                <a:gd name="T32" fmla="*/ 48 w 56"/>
                <a:gd name="T33" fmla="*/ 2 h 137"/>
                <a:gd name="T34" fmla="*/ 48 w 56"/>
                <a:gd name="T35" fmla="*/ 2 h 137"/>
                <a:gd name="T36" fmla="*/ 52 w 56"/>
                <a:gd name="T37" fmla="*/ 3 h 137"/>
                <a:gd name="T38" fmla="*/ 54 w 56"/>
                <a:gd name="T39" fmla="*/ 7 h 137"/>
                <a:gd name="T40" fmla="*/ 56 w 56"/>
                <a:gd name="T41" fmla="*/ 11 h 137"/>
                <a:gd name="T42" fmla="*/ 56 w 56"/>
                <a:gd name="T43" fmla="*/ 15 h 137"/>
                <a:gd name="T44" fmla="*/ 21 w 56"/>
                <a:gd name="T45" fmla="*/ 13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137">
                  <a:moveTo>
                    <a:pt x="21" y="130"/>
                  </a:moveTo>
                  <a:lnTo>
                    <a:pt x="21" y="130"/>
                  </a:lnTo>
                  <a:lnTo>
                    <a:pt x="19" y="133"/>
                  </a:lnTo>
                  <a:lnTo>
                    <a:pt x="17" y="136"/>
                  </a:lnTo>
                  <a:lnTo>
                    <a:pt x="12" y="137"/>
                  </a:lnTo>
                  <a:lnTo>
                    <a:pt x="8" y="137"/>
                  </a:lnTo>
                  <a:lnTo>
                    <a:pt x="8" y="137"/>
                  </a:lnTo>
                  <a:lnTo>
                    <a:pt x="3" y="135"/>
                  </a:lnTo>
                  <a:lnTo>
                    <a:pt x="1" y="132"/>
                  </a:lnTo>
                  <a:lnTo>
                    <a:pt x="0" y="127"/>
                  </a:lnTo>
                  <a:lnTo>
                    <a:pt x="0" y="124"/>
                  </a:lnTo>
                  <a:lnTo>
                    <a:pt x="34" y="9"/>
                  </a:lnTo>
                  <a:lnTo>
                    <a:pt x="34" y="9"/>
                  </a:lnTo>
                  <a:lnTo>
                    <a:pt x="36" y="5"/>
                  </a:lnTo>
                  <a:lnTo>
                    <a:pt x="40" y="2"/>
                  </a:lnTo>
                  <a:lnTo>
                    <a:pt x="43" y="0"/>
                  </a:lnTo>
                  <a:lnTo>
                    <a:pt x="48" y="2"/>
                  </a:lnTo>
                  <a:lnTo>
                    <a:pt x="48" y="2"/>
                  </a:lnTo>
                  <a:lnTo>
                    <a:pt x="52" y="3"/>
                  </a:lnTo>
                  <a:lnTo>
                    <a:pt x="54" y="7"/>
                  </a:lnTo>
                  <a:lnTo>
                    <a:pt x="56" y="11"/>
                  </a:lnTo>
                  <a:lnTo>
                    <a:pt x="56" y="15"/>
                  </a:lnTo>
                  <a:lnTo>
                    <a:pt x="21"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77" name="Freeform 649"/>
            <p:cNvSpPr>
              <a:spLocks/>
            </p:cNvSpPr>
            <p:nvPr/>
          </p:nvSpPr>
          <p:spPr bwMode="auto">
            <a:xfrm>
              <a:off x="4421239" y="5138777"/>
              <a:ext cx="28575" cy="14288"/>
            </a:xfrm>
            <a:custGeom>
              <a:avLst/>
              <a:gdLst>
                <a:gd name="T0" fmla="*/ 75 w 90"/>
                <a:gd name="T1" fmla="*/ 46 h 46"/>
                <a:gd name="T2" fmla="*/ 75 w 90"/>
                <a:gd name="T3" fmla="*/ 46 h 46"/>
                <a:gd name="T4" fmla="*/ 79 w 90"/>
                <a:gd name="T5" fmla="*/ 46 h 46"/>
                <a:gd name="T6" fmla="*/ 84 w 90"/>
                <a:gd name="T7" fmla="*/ 44 h 46"/>
                <a:gd name="T8" fmla="*/ 87 w 90"/>
                <a:gd name="T9" fmla="*/ 42 h 46"/>
                <a:gd name="T10" fmla="*/ 89 w 90"/>
                <a:gd name="T11" fmla="*/ 38 h 46"/>
                <a:gd name="T12" fmla="*/ 89 w 90"/>
                <a:gd name="T13" fmla="*/ 38 h 46"/>
                <a:gd name="T14" fmla="*/ 90 w 90"/>
                <a:gd name="T15" fmla="*/ 33 h 46"/>
                <a:gd name="T16" fmla="*/ 89 w 90"/>
                <a:gd name="T17" fmla="*/ 30 h 46"/>
                <a:gd name="T18" fmla="*/ 86 w 90"/>
                <a:gd name="T19" fmla="*/ 26 h 46"/>
                <a:gd name="T20" fmla="*/ 82 w 90"/>
                <a:gd name="T21" fmla="*/ 24 h 46"/>
                <a:gd name="T22" fmla="*/ 15 w 90"/>
                <a:gd name="T23" fmla="*/ 2 h 46"/>
                <a:gd name="T24" fmla="*/ 15 w 90"/>
                <a:gd name="T25" fmla="*/ 2 h 46"/>
                <a:gd name="T26" fmla="*/ 11 w 90"/>
                <a:gd name="T27" fmla="*/ 0 h 46"/>
                <a:gd name="T28" fmla="*/ 7 w 90"/>
                <a:gd name="T29" fmla="*/ 2 h 46"/>
                <a:gd name="T30" fmla="*/ 3 w 90"/>
                <a:gd name="T31" fmla="*/ 4 h 46"/>
                <a:gd name="T32" fmla="*/ 1 w 90"/>
                <a:gd name="T33" fmla="*/ 8 h 46"/>
                <a:gd name="T34" fmla="*/ 1 w 90"/>
                <a:gd name="T35" fmla="*/ 8 h 46"/>
                <a:gd name="T36" fmla="*/ 0 w 90"/>
                <a:gd name="T37" fmla="*/ 13 h 46"/>
                <a:gd name="T38" fmla="*/ 1 w 90"/>
                <a:gd name="T39" fmla="*/ 16 h 46"/>
                <a:gd name="T40" fmla="*/ 4 w 90"/>
                <a:gd name="T41" fmla="*/ 20 h 46"/>
                <a:gd name="T42" fmla="*/ 8 w 90"/>
                <a:gd name="T43" fmla="*/ 22 h 46"/>
                <a:gd name="T44" fmla="*/ 75 w 90"/>
                <a:gd name="T45"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0" h="46">
                  <a:moveTo>
                    <a:pt x="75" y="46"/>
                  </a:moveTo>
                  <a:lnTo>
                    <a:pt x="75" y="46"/>
                  </a:lnTo>
                  <a:lnTo>
                    <a:pt x="79" y="46"/>
                  </a:lnTo>
                  <a:lnTo>
                    <a:pt x="84" y="44"/>
                  </a:lnTo>
                  <a:lnTo>
                    <a:pt x="87" y="42"/>
                  </a:lnTo>
                  <a:lnTo>
                    <a:pt x="89" y="38"/>
                  </a:lnTo>
                  <a:lnTo>
                    <a:pt x="89" y="38"/>
                  </a:lnTo>
                  <a:lnTo>
                    <a:pt x="90" y="33"/>
                  </a:lnTo>
                  <a:lnTo>
                    <a:pt x="89" y="30"/>
                  </a:lnTo>
                  <a:lnTo>
                    <a:pt x="86" y="26"/>
                  </a:lnTo>
                  <a:lnTo>
                    <a:pt x="82" y="24"/>
                  </a:lnTo>
                  <a:lnTo>
                    <a:pt x="15" y="2"/>
                  </a:lnTo>
                  <a:lnTo>
                    <a:pt x="15" y="2"/>
                  </a:lnTo>
                  <a:lnTo>
                    <a:pt x="11" y="0"/>
                  </a:lnTo>
                  <a:lnTo>
                    <a:pt x="7" y="2"/>
                  </a:lnTo>
                  <a:lnTo>
                    <a:pt x="3" y="4"/>
                  </a:lnTo>
                  <a:lnTo>
                    <a:pt x="1" y="8"/>
                  </a:lnTo>
                  <a:lnTo>
                    <a:pt x="1" y="8"/>
                  </a:lnTo>
                  <a:lnTo>
                    <a:pt x="0" y="13"/>
                  </a:lnTo>
                  <a:lnTo>
                    <a:pt x="1" y="16"/>
                  </a:lnTo>
                  <a:lnTo>
                    <a:pt x="4" y="20"/>
                  </a:lnTo>
                  <a:lnTo>
                    <a:pt x="8" y="22"/>
                  </a:lnTo>
                  <a:lnTo>
                    <a:pt x="75"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78" name="Freeform 650"/>
            <p:cNvSpPr>
              <a:spLocks/>
            </p:cNvSpPr>
            <p:nvPr/>
          </p:nvSpPr>
          <p:spPr bwMode="auto">
            <a:xfrm>
              <a:off x="4403777" y="5172115"/>
              <a:ext cx="44450" cy="7938"/>
            </a:xfrm>
            <a:custGeom>
              <a:avLst/>
              <a:gdLst>
                <a:gd name="T0" fmla="*/ 130 w 142"/>
                <a:gd name="T1" fmla="*/ 27 h 27"/>
                <a:gd name="T2" fmla="*/ 130 w 142"/>
                <a:gd name="T3" fmla="*/ 27 h 27"/>
                <a:gd name="T4" fmla="*/ 135 w 142"/>
                <a:gd name="T5" fmla="*/ 25 h 27"/>
                <a:gd name="T6" fmla="*/ 138 w 142"/>
                <a:gd name="T7" fmla="*/ 24 h 27"/>
                <a:gd name="T8" fmla="*/ 141 w 142"/>
                <a:gd name="T9" fmla="*/ 21 h 27"/>
                <a:gd name="T10" fmla="*/ 142 w 142"/>
                <a:gd name="T11" fmla="*/ 16 h 27"/>
                <a:gd name="T12" fmla="*/ 142 w 142"/>
                <a:gd name="T13" fmla="*/ 16 h 27"/>
                <a:gd name="T14" fmla="*/ 141 w 142"/>
                <a:gd name="T15" fmla="*/ 11 h 27"/>
                <a:gd name="T16" fmla="*/ 138 w 142"/>
                <a:gd name="T17" fmla="*/ 7 h 27"/>
                <a:gd name="T18" fmla="*/ 135 w 142"/>
                <a:gd name="T19" fmla="*/ 5 h 27"/>
                <a:gd name="T20" fmla="*/ 131 w 142"/>
                <a:gd name="T21" fmla="*/ 4 h 27"/>
                <a:gd name="T22" fmla="*/ 11 w 142"/>
                <a:gd name="T23" fmla="*/ 0 h 27"/>
                <a:gd name="T24" fmla="*/ 11 w 142"/>
                <a:gd name="T25" fmla="*/ 0 h 27"/>
                <a:gd name="T26" fmla="*/ 8 w 142"/>
                <a:gd name="T27" fmla="*/ 0 h 27"/>
                <a:gd name="T28" fmla="*/ 4 w 142"/>
                <a:gd name="T29" fmla="*/ 2 h 27"/>
                <a:gd name="T30" fmla="*/ 0 w 142"/>
                <a:gd name="T31" fmla="*/ 6 h 27"/>
                <a:gd name="T32" fmla="*/ 0 w 142"/>
                <a:gd name="T33" fmla="*/ 11 h 27"/>
                <a:gd name="T34" fmla="*/ 0 w 142"/>
                <a:gd name="T35" fmla="*/ 11 h 27"/>
                <a:gd name="T36" fmla="*/ 0 w 142"/>
                <a:gd name="T37" fmla="*/ 15 h 27"/>
                <a:gd name="T38" fmla="*/ 3 w 142"/>
                <a:gd name="T39" fmla="*/ 18 h 27"/>
                <a:gd name="T40" fmla="*/ 7 w 142"/>
                <a:gd name="T41" fmla="*/ 22 h 27"/>
                <a:gd name="T42" fmla="*/ 10 w 142"/>
                <a:gd name="T43" fmla="*/ 22 h 27"/>
                <a:gd name="T44" fmla="*/ 130 w 142"/>
                <a:gd name="T45"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2" h="27">
                  <a:moveTo>
                    <a:pt x="130" y="27"/>
                  </a:moveTo>
                  <a:lnTo>
                    <a:pt x="130" y="27"/>
                  </a:lnTo>
                  <a:lnTo>
                    <a:pt x="135" y="25"/>
                  </a:lnTo>
                  <a:lnTo>
                    <a:pt x="138" y="24"/>
                  </a:lnTo>
                  <a:lnTo>
                    <a:pt x="141" y="21"/>
                  </a:lnTo>
                  <a:lnTo>
                    <a:pt x="142" y="16"/>
                  </a:lnTo>
                  <a:lnTo>
                    <a:pt x="142" y="16"/>
                  </a:lnTo>
                  <a:lnTo>
                    <a:pt x="141" y="11"/>
                  </a:lnTo>
                  <a:lnTo>
                    <a:pt x="138" y="7"/>
                  </a:lnTo>
                  <a:lnTo>
                    <a:pt x="135" y="5"/>
                  </a:lnTo>
                  <a:lnTo>
                    <a:pt x="131" y="4"/>
                  </a:lnTo>
                  <a:lnTo>
                    <a:pt x="11" y="0"/>
                  </a:lnTo>
                  <a:lnTo>
                    <a:pt x="11" y="0"/>
                  </a:lnTo>
                  <a:lnTo>
                    <a:pt x="8" y="0"/>
                  </a:lnTo>
                  <a:lnTo>
                    <a:pt x="4" y="2"/>
                  </a:lnTo>
                  <a:lnTo>
                    <a:pt x="0" y="6"/>
                  </a:lnTo>
                  <a:lnTo>
                    <a:pt x="0" y="11"/>
                  </a:lnTo>
                  <a:lnTo>
                    <a:pt x="0" y="11"/>
                  </a:lnTo>
                  <a:lnTo>
                    <a:pt x="0" y="15"/>
                  </a:lnTo>
                  <a:lnTo>
                    <a:pt x="3" y="18"/>
                  </a:lnTo>
                  <a:lnTo>
                    <a:pt x="7" y="22"/>
                  </a:lnTo>
                  <a:lnTo>
                    <a:pt x="10" y="22"/>
                  </a:lnTo>
                  <a:lnTo>
                    <a:pt x="130"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79" name="Freeform 651"/>
            <p:cNvSpPr>
              <a:spLocks/>
            </p:cNvSpPr>
            <p:nvPr/>
          </p:nvSpPr>
          <p:spPr bwMode="auto">
            <a:xfrm>
              <a:off x="4527602" y="5126077"/>
              <a:ext cx="25400" cy="23813"/>
            </a:xfrm>
            <a:custGeom>
              <a:avLst/>
              <a:gdLst>
                <a:gd name="T0" fmla="*/ 78 w 78"/>
                <a:gd name="T1" fmla="*/ 39 h 78"/>
                <a:gd name="T2" fmla="*/ 78 w 78"/>
                <a:gd name="T3" fmla="*/ 39 h 78"/>
                <a:gd name="T4" fmla="*/ 77 w 78"/>
                <a:gd name="T5" fmla="*/ 46 h 78"/>
                <a:gd name="T6" fmla="*/ 74 w 78"/>
                <a:gd name="T7" fmla="*/ 53 h 78"/>
                <a:gd name="T8" fmla="*/ 71 w 78"/>
                <a:gd name="T9" fmla="*/ 61 h 78"/>
                <a:gd name="T10" fmla="*/ 66 w 78"/>
                <a:gd name="T11" fmla="*/ 67 h 78"/>
                <a:gd name="T12" fmla="*/ 61 w 78"/>
                <a:gd name="T13" fmla="*/ 71 h 78"/>
                <a:gd name="T14" fmla="*/ 54 w 78"/>
                <a:gd name="T15" fmla="*/ 74 h 78"/>
                <a:gd name="T16" fmla="*/ 46 w 78"/>
                <a:gd name="T17" fmla="*/ 77 h 78"/>
                <a:gd name="T18" fmla="*/ 39 w 78"/>
                <a:gd name="T19" fmla="*/ 78 h 78"/>
                <a:gd name="T20" fmla="*/ 39 w 78"/>
                <a:gd name="T21" fmla="*/ 78 h 78"/>
                <a:gd name="T22" fmla="*/ 31 w 78"/>
                <a:gd name="T23" fmla="*/ 77 h 78"/>
                <a:gd name="T24" fmla="*/ 23 w 78"/>
                <a:gd name="T25" fmla="*/ 74 h 78"/>
                <a:gd name="T26" fmla="*/ 17 w 78"/>
                <a:gd name="T27" fmla="*/ 71 h 78"/>
                <a:gd name="T28" fmla="*/ 11 w 78"/>
                <a:gd name="T29" fmla="*/ 67 h 78"/>
                <a:gd name="T30" fmla="*/ 6 w 78"/>
                <a:gd name="T31" fmla="*/ 61 h 78"/>
                <a:gd name="T32" fmla="*/ 4 w 78"/>
                <a:gd name="T33" fmla="*/ 53 h 78"/>
                <a:gd name="T34" fmla="*/ 1 w 78"/>
                <a:gd name="T35" fmla="*/ 46 h 78"/>
                <a:gd name="T36" fmla="*/ 0 w 78"/>
                <a:gd name="T37" fmla="*/ 39 h 78"/>
                <a:gd name="T38" fmla="*/ 0 w 78"/>
                <a:gd name="T39" fmla="*/ 39 h 78"/>
                <a:gd name="T40" fmla="*/ 1 w 78"/>
                <a:gd name="T41" fmla="*/ 32 h 78"/>
                <a:gd name="T42" fmla="*/ 4 w 78"/>
                <a:gd name="T43" fmla="*/ 24 h 78"/>
                <a:gd name="T44" fmla="*/ 6 w 78"/>
                <a:gd name="T45" fmla="*/ 17 h 78"/>
                <a:gd name="T46" fmla="*/ 11 w 78"/>
                <a:gd name="T47" fmla="*/ 12 h 78"/>
                <a:gd name="T48" fmla="*/ 17 w 78"/>
                <a:gd name="T49" fmla="*/ 7 h 78"/>
                <a:gd name="T50" fmla="*/ 23 w 78"/>
                <a:gd name="T51" fmla="*/ 3 h 78"/>
                <a:gd name="T52" fmla="*/ 31 w 78"/>
                <a:gd name="T53" fmla="*/ 1 h 78"/>
                <a:gd name="T54" fmla="*/ 39 w 78"/>
                <a:gd name="T55" fmla="*/ 0 h 78"/>
                <a:gd name="T56" fmla="*/ 39 w 78"/>
                <a:gd name="T57" fmla="*/ 0 h 78"/>
                <a:gd name="T58" fmla="*/ 46 w 78"/>
                <a:gd name="T59" fmla="*/ 1 h 78"/>
                <a:gd name="T60" fmla="*/ 54 w 78"/>
                <a:gd name="T61" fmla="*/ 3 h 78"/>
                <a:gd name="T62" fmla="*/ 61 w 78"/>
                <a:gd name="T63" fmla="*/ 7 h 78"/>
                <a:gd name="T64" fmla="*/ 66 w 78"/>
                <a:gd name="T65" fmla="*/ 12 h 78"/>
                <a:gd name="T66" fmla="*/ 71 w 78"/>
                <a:gd name="T67" fmla="*/ 17 h 78"/>
                <a:gd name="T68" fmla="*/ 74 w 78"/>
                <a:gd name="T69" fmla="*/ 24 h 78"/>
                <a:gd name="T70" fmla="*/ 77 w 78"/>
                <a:gd name="T71" fmla="*/ 32 h 78"/>
                <a:gd name="T72" fmla="*/ 78 w 78"/>
                <a:gd name="T73" fmla="*/ 39 h 78"/>
                <a:gd name="T74" fmla="*/ 78 w 78"/>
                <a:gd name="T7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 h="78">
                  <a:moveTo>
                    <a:pt x="78" y="39"/>
                  </a:moveTo>
                  <a:lnTo>
                    <a:pt x="78" y="39"/>
                  </a:lnTo>
                  <a:lnTo>
                    <a:pt x="77" y="46"/>
                  </a:lnTo>
                  <a:lnTo>
                    <a:pt x="74" y="53"/>
                  </a:lnTo>
                  <a:lnTo>
                    <a:pt x="71" y="61"/>
                  </a:lnTo>
                  <a:lnTo>
                    <a:pt x="66" y="67"/>
                  </a:lnTo>
                  <a:lnTo>
                    <a:pt x="61" y="71"/>
                  </a:lnTo>
                  <a:lnTo>
                    <a:pt x="54" y="74"/>
                  </a:lnTo>
                  <a:lnTo>
                    <a:pt x="46" y="77"/>
                  </a:lnTo>
                  <a:lnTo>
                    <a:pt x="39" y="78"/>
                  </a:lnTo>
                  <a:lnTo>
                    <a:pt x="39" y="78"/>
                  </a:lnTo>
                  <a:lnTo>
                    <a:pt x="31" y="77"/>
                  </a:lnTo>
                  <a:lnTo>
                    <a:pt x="23" y="74"/>
                  </a:lnTo>
                  <a:lnTo>
                    <a:pt x="17" y="71"/>
                  </a:lnTo>
                  <a:lnTo>
                    <a:pt x="11" y="67"/>
                  </a:lnTo>
                  <a:lnTo>
                    <a:pt x="6" y="61"/>
                  </a:lnTo>
                  <a:lnTo>
                    <a:pt x="4" y="53"/>
                  </a:lnTo>
                  <a:lnTo>
                    <a:pt x="1" y="46"/>
                  </a:lnTo>
                  <a:lnTo>
                    <a:pt x="0" y="39"/>
                  </a:lnTo>
                  <a:lnTo>
                    <a:pt x="0" y="39"/>
                  </a:lnTo>
                  <a:lnTo>
                    <a:pt x="1" y="32"/>
                  </a:lnTo>
                  <a:lnTo>
                    <a:pt x="4" y="24"/>
                  </a:lnTo>
                  <a:lnTo>
                    <a:pt x="6" y="17"/>
                  </a:lnTo>
                  <a:lnTo>
                    <a:pt x="11" y="12"/>
                  </a:lnTo>
                  <a:lnTo>
                    <a:pt x="17" y="7"/>
                  </a:lnTo>
                  <a:lnTo>
                    <a:pt x="23" y="3"/>
                  </a:lnTo>
                  <a:lnTo>
                    <a:pt x="31" y="1"/>
                  </a:lnTo>
                  <a:lnTo>
                    <a:pt x="39" y="0"/>
                  </a:lnTo>
                  <a:lnTo>
                    <a:pt x="39" y="0"/>
                  </a:lnTo>
                  <a:lnTo>
                    <a:pt x="46" y="1"/>
                  </a:lnTo>
                  <a:lnTo>
                    <a:pt x="54" y="3"/>
                  </a:lnTo>
                  <a:lnTo>
                    <a:pt x="61" y="7"/>
                  </a:lnTo>
                  <a:lnTo>
                    <a:pt x="66" y="12"/>
                  </a:lnTo>
                  <a:lnTo>
                    <a:pt x="71" y="17"/>
                  </a:lnTo>
                  <a:lnTo>
                    <a:pt x="74" y="24"/>
                  </a:lnTo>
                  <a:lnTo>
                    <a:pt x="77" y="32"/>
                  </a:lnTo>
                  <a:lnTo>
                    <a:pt x="78" y="39"/>
                  </a:lnTo>
                  <a:lnTo>
                    <a:pt x="7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180" name="그룹 179"/>
          <p:cNvGrpSpPr/>
          <p:nvPr userDrawn="1"/>
        </p:nvGrpSpPr>
        <p:grpSpPr>
          <a:xfrm flipH="1">
            <a:off x="9268637" y="5840761"/>
            <a:ext cx="393703" cy="498972"/>
            <a:chOff x="1897095" y="3168671"/>
            <a:chExt cx="295277" cy="350840"/>
          </a:xfrm>
        </p:grpSpPr>
        <p:sp>
          <p:nvSpPr>
            <p:cNvPr id="181" name="Freeform 587"/>
            <p:cNvSpPr>
              <a:spLocks/>
            </p:cNvSpPr>
            <p:nvPr/>
          </p:nvSpPr>
          <p:spPr bwMode="auto">
            <a:xfrm>
              <a:off x="1965358" y="3281384"/>
              <a:ext cx="227014" cy="238127"/>
            </a:xfrm>
            <a:custGeom>
              <a:avLst/>
              <a:gdLst>
                <a:gd name="T0" fmla="*/ 689 w 717"/>
                <a:gd name="T1" fmla="*/ 395 h 752"/>
                <a:gd name="T2" fmla="*/ 712 w 717"/>
                <a:gd name="T3" fmla="*/ 365 h 752"/>
                <a:gd name="T4" fmla="*/ 716 w 717"/>
                <a:gd name="T5" fmla="*/ 327 h 752"/>
                <a:gd name="T6" fmla="*/ 707 w 717"/>
                <a:gd name="T7" fmla="*/ 302 h 752"/>
                <a:gd name="T8" fmla="*/ 678 w 717"/>
                <a:gd name="T9" fmla="*/ 259 h 752"/>
                <a:gd name="T10" fmla="*/ 657 w 717"/>
                <a:gd name="T11" fmla="*/ 226 h 752"/>
                <a:gd name="T12" fmla="*/ 633 w 717"/>
                <a:gd name="T13" fmla="*/ 181 h 752"/>
                <a:gd name="T14" fmla="*/ 618 w 717"/>
                <a:gd name="T15" fmla="*/ 163 h 752"/>
                <a:gd name="T16" fmla="*/ 570 w 717"/>
                <a:gd name="T17" fmla="*/ 128 h 752"/>
                <a:gd name="T18" fmla="*/ 500 w 717"/>
                <a:gd name="T19" fmla="*/ 85 h 752"/>
                <a:gd name="T20" fmla="*/ 452 w 717"/>
                <a:gd name="T21" fmla="*/ 50 h 752"/>
                <a:gd name="T22" fmla="*/ 399 w 717"/>
                <a:gd name="T23" fmla="*/ 20 h 752"/>
                <a:gd name="T24" fmla="*/ 362 w 717"/>
                <a:gd name="T25" fmla="*/ 6 h 752"/>
                <a:gd name="T26" fmla="*/ 322 w 717"/>
                <a:gd name="T27" fmla="*/ 0 h 752"/>
                <a:gd name="T28" fmla="*/ 292 w 717"/>
                <a:gd name="T29" fmla="*/ 5 h 752"/>
                <a:gd name="T30" fmla="*/ 272 w 717"/>
                <a:gd name="T31" fmla="*/ 13 h 752"/>
                <a:gd name="T32" fmla="*/ 238 w 717"/>
                <a:gd name="T33" fmla="*/ 33 h 752"/>
                <a:gd name="T34" fmla="*/ 209 w 717"/>
                <a:gd name="T35" fmla="*/ 42 h 752"/>
                <a:gd name="T36" fmla="*/ 156 w 717"/>
                <a:gd name="T37" fmla="*/ 49 h 752"/>
                <a:gd name="T38" fmla="*/ 106 w 717"/>
                <a:gd name="T39" fmla="*/ 63 h 752"/>
                <a:gd name="T40" fmla="*/ 76 w 717"/>
                <a:gd name="T41" fmla="*/ 81 h 752"/>
                <a:gd name="T42" fmla="*/ 42 w 717"/>
                <a:gd name="T43" fmla="*/ 113 h 752"/>
                <a:gd name="T44" fmla="*/ 21 w 717"/>
                <a:gd name="T45" fmla="*/ 154 h 752"/>
                <a:gd name="T46" fmla="*/ 9 w 717"/>
                <a:gd name="T47" fmla="*/ 215 h 752"/>
                <a:gd name="T48" fmla="*/ 0 w 717"/>
                <a:gd name="T49" fmla="*/ 309 h 752"/>
                <a:gd name="T50" fmla="*/ 3 w 717"/>
                <a:gd name="T51" fmla="*/ 326 h 752"/>
                <a:gd name="T52" fmla="*/ 14 w 717"/>
                <a:gd name="T53" fmla="*/ 338 h 752"/>
                <a:gd name="T54" fmla="*/ 16 w 717"/>
                <a:gd name="T55" fmla="*/ 340 h 752"/>
                <a:gd name="T56" fmla="*/ 34 w 717"/>
                <a:gd name="T57" fmla="*/ 354 h 752"/>
                <a:gd name="T58" fmla="*/ 118 w 717"/>
                <a:gd name="T59" fmla="*/ 427 h 752"/>
                <a:gd name="T60" fmla="*/ 167 w 717"/>
                <a:gd name="T61" fmla="*/ 460 h 752"/>
                <a:gd name="T62" fmla="*/ 192 w 717"/>
                <a:gd name="T63" fmla="*/ 468 h 752"/>
                <a:gd name="T64" fmla="*/ 215 w 717"/>
                <a:gd name="T65" fmla="*/ 522 h 752"/>
                <a:gd name="T66" fmla="*/ 221 w 717"/>
                <a:gd name="T67" fmla="*/ 563 h 752"/>
                <a:gd name="T68" fmla="*/ 221 w 717"/>
                <a:gd name="T69" fmla="*/ 604 h 752"/>
                <a:gd name="T70" fmla="*/ 222 w 717"/>
                <a:gd name="T71" fmla="*/ 624 h 752"/>
                <a:gd name="T72" fmla="*/ 227 w 717"/>
                <a:gd name="T73" fmla="*/ 635 h 752"/>
                <a:gd name="T74" fmla="*/ 245 w 717"/>
                <a:gd name="T75" fmla="*/ 641 h 752"/>
                <a:gd name="T76" fmla="*/ 290 w 717"/>
                <a:gd name="T77" fmla="*/ 663 h 752"/>
                <a:gd name="T78" fmla="*/ 394 w 717"/>
                <a:gd name="T79" fmla="*/ 714 h 752"/>
                <a:gd name="T80" fmla="*/ 477 w 717"/>
                <a:gd name="T81" fmla="*/ 745 h 752"/>
                <a:gd name="T82" fmla="*/ 531 w 717"/>
                <a:gd name="T83" fmla="*/ 752 h 752"/>
                <a:gd name="T84" fmla="*/ 570 w 717"/>
                <a:gd name="T85" fmla="*/ 750 h 752"/>
                <a:gd name="T86" fmla="*/ 606 w 717"/>
                <a:gd name="T87" fmla="*/ 736 h 752"/>
                <a:gd name="T88" fmla="*/ 641 w 717"/>
                <a:gd name="T89" fmla="*/ 712 h 752"/>
                <a:gd name="T90" fmla="*/ 666 w 717"/>
                <a:gd name="T91" fmla="*/ 684 h 752"/>
                <a:gd name="T92" fmla="*/ 695 w 717"/>
                <a:gd name="T93" fmla="*/ 623 h 752"/>
                <a:gd name="T94" fmla="*/ 702 w 717"/>
                <a:gd name="T95" fmla="*/ 555 h 752"/>
                <a:gd name="T96" fmla="*/ 698 w 717"/>
                <a:gd name="T97" fmla="*/ 501 h 752"/>
                <a:gd name="T98" fmla="*/ 684 w 717"/>
                <a:gd name="T99" fmla="*/ 41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7" h="752">
                  <a:moveTo>
                    <a:pt x="679" y="405"/>
                  </a:moveTo>
                  <a:lnTo>
                    <a:pt x="679" y="405"/>
                  </a:lnTo>
                  <a:lnTo>
                    <a:pt x="689" y="395"/>
                  </a:lnTo>
                  <a:lnTo>
                    <a:pt x="699" y="385"/>
                  </a:lnTo>
                  <a:lnTo>
                    <a:pt x="706" y="376"/>
                  </a:lnTo>
                  <a:lnTo>
                    <a:pt x="712" y="365"/>
                  </a:lnTo>
                  <a:lnTo>
                    <a:pt x="716" y="354"/>
                  </a:lnTo>
                  <a:lnTo>
                    <a:pt x="717" y="341"/>
                  </a:lnTo>
                  <a:lnTo>
                    <a:pt x="716" y="327"/>
                  </a:lnTo>
                  <a:lnTo>
                    <a:pt x="711" y="312"/>
                  </a:lnTo>
                  <a:lnTo>
                    <a:pt x="711" y="312"/>
                  </a:lnTo>
                  <a:lnTo>
                    <a:pt x="707" y="302"/>
                  </a:lnTo>
                  <a:lnTo>
                    <a:pt x="701" y="294"/>
                  </a:lnTo>
                  <a:lnTo>
                    <a:pt x="690" y="276"/>
                  </a:lnTo>
                  <a:lnTo>
                    <a:pt x="678" y="259"/>
                  </a:lnTo>
                  <a:lnTo>
                    <a:pt x="666" y="241"/>
                  </a:lnTo>
                  <a:lnTo>
                    <a:pt x="666" y="241"/>
                  </a:lnTo>
                  <a:lnTo>
                    <a:pt x="657" y="226"/>
                  </a:lnTo>
                  <a:lnTo>
                    <a:pt x="650" y="211"/>
                  </a:lnTo>
                  <a:lnTo>
                    <a:pt x="641" y="195"/>
                  </a:lnTo>
                  <a:lnTo>
                    <a:pt x="633" y="181"/>
                  </a:lnTo>
                  <a:lnTo>
                    <a:pt x="633" y="181"/>
                  </a:lnTo>
                  <a:lnTo>
                    <a:pt x="626" y="172"/>
                  </a:lnTo>
                  <a:lnTo>
                    <a:pt x="618" y="163"/>
                  </a:lnTo>
                  <a:lnTo>
                    <a:pt x="604" y="150"/>
                  </a:lnTo>
                  <a:lnTo>
                    <a:pt x="587" y="139"/>
                  </a:lnTo>
                  <a:lnTo>
                    <a:pt x="570" y="128"/>
                  </a:lnTo>
                  <a:lnTo>
                    <a:pt x="534" y="109"/>
                  </a:lnTo>
                  <a:lnTo>
                    <a:pt x="517" y="98"/>
                  </a:lnTo>
                  <a:lnTo>
                    <a:pt x="500" y="85"/>
                  </a:lnTo>
                  <a:lnTo>
                    <a:pt x="500" y="85"/>
                  </a:lnTo>
                  <a:lnTo>
                    <a:pt x="468" y="61"/>
                  </a:lnTo>
                  <a:lnTo>
                    <a:pt x="452" y="50"/>
                  </a:lnTo>
                  <a:lnTo>
                    <a:pt x="435" y="38"/>
                  </a:lnTo>
                  <a:lnTo>
                    <a:pt x="417" y="28"/>
                  </a:lnTo>
                  <a:lnTo>
                    <a:pt x="399" y="20"/>
                  </a:lnTo>
                  <a:lnTo>
                    <a:pt x="381" y="12"/>
                  </a:lnTo>
                  <a:lnTo>
                    <a:pt x="362" y="6"/>
                  </a:lnTo>
                  <a:lnTo>
                    <a:pt x="362" y="6"/>
                  </a:lnTo>
                  <a:lnTo>
                    <a:pt x="342" y="3"/>
                  </a:lnTo>
                  <a:lnTo>
                    <a:pt x="332" y="1"/>
                  </a:lnTo>
                  <a:lnTo>
                    <a:pt x="322" y="0"/>
                  </a:lnTo>
                  <a:lnTo>
                    <a:pt x="312" y="1"/>
                  </a:lnTo>
                  <a:lnTo>
                    <a:pt x="301" y="3"/>
                  </a:lnTo>
                  <a:lnTo>
                    <a:pt x="292" y="5"/>
                  </a:lnTo>
                  <a:lnTo>
                    <a:pt x="282" y="9"/>
                  </a:lnTo>
                  <a:lnTo>
                    <a:pt x="282" y="9"/>
                  </a:lnTo>
                  <a:lnTo>
                    <a:pt x="272" y="13"/>
                  </a:lnTo>
                  <a:lnTo>
                    <a:pt x="262" y="18"/>
                  </a:lnTo>
                  <a:lnTo>
                    <a:pt x="246" y="28"/>
                  </a:lnTo>
                  <a:lnTo>
                    <a:pt x="238" y="33"/>
                  </a:lnTo>
                  <a:lnTo>
                    <a:pt x="229" y="37"/>
                  </a:lnTo>
                  <a:lnTo>
                    <a:pt x="220" y="39"/>
                  </a:lnTo>
                  <a:lnTo>
                    <a:pt x="209" y="42"/>
                  </a:lnTo>
                  <a:lnTo>
                    <a:pt x="209" y="42"/>
                  </a:lnTo>
                  <a:lnTo>
                    <a:pt x="173" y="45"/>
                  </a:lnTo>
                  <a:lnTo>
                    <a:pt x="156" y="49"/>
                  </a:lnTo>
                  <a:lnTo>
                    <a:pt x="139" y="53"/>
                  </a:lnTo>
                  <a:lnTo>
                    <a:pt x="123" y="57"/>
                  </a:lnTo>
                  <a:lnTo>
                    <a:pt x="106" y="63"/>
                  </a:lnTo>
                  <a:lnTo>
                    <a:pt x="92" y="71"/>
                  </a:lnTo>
                  <a:lnTo>
                    <a:pt x="76" y="81"/>
                  </a:lnTo>
                  <a:lnTo>
                    <a:pt x="76" y="81"/>
                  </a:lnTo>
                  <a:lnTo>
                    <a:pt x="62" y="90"/>
                  </a:lnTo>
                  <a:lnTo>
                    <a:pt x="51" y="101"/>
                  </a:lnTo>
                  <a:lnTo>
                    <a:pt x="42" y="113"/>
                  </a:lnTo>
                  <a:lnTo>
                    <a:pt x="33" y="126"/>
                  </a:lnTo>
                  <a:lnTo>
                    <a:pt x="26" y="140"/>
                  </a:lnTo>
                  <a:lnTo>
                    <a:pt x="21" y="154"/>
                  </a:lnTo>
                  <a:lnTo>
                    <a:pt x="16" y="168"/>
                  </a:lnTo>
                  <a:lnTo>
                    <a:pt x="14" y="184"/>
                  </a:lnTo>
                  <a:lnTo>
                    <a:pt x="9" y="215"/>
                  </a:lnTo>
                  <a:lnTo>
                    <a:pt x="5" y="246"/>
                  </a:lnTo>
                  <a:lnTo>
                    <a:pt x="4" y="278"/>
                  </a:lnTo>
                  <a:lnTo>
                    <a:pt x="0" y="309"/>
                  </a:lnTo>
                  <a:lnTo>
                    <a:pt x="0" y="309"/>
                  </a:lnTo>
                  <a:lnTo>
                    <a:pt x="0" y="318"/>
                  </a:lnTo>
                  <a:lnTo>
                    <a:pt x="3" y="326"/>
                  </a:lnTo>
                  <a:lnTo>
                    <a:pt x="8" y="333"/>
                  </a:lnTo>
                  <a:lnTo>
                    <a:pt x="14" y="338"/>
                  </a:lnTo>
                  <a:lnTo>
                    <a:pt x="14" y="338"/>
                  </a:lnTo>
                  <a:lnTo>
                    <a:pt x="16" y="340"/>
                  </a:lnTo>
                  <a:lnTo>
                    <a:pt x="16" y="340"/>
                  </a:lnTo>
                  <a:lnTo>
                    <a:pt x="16" y="340"/>
                  </a:lnTo>
                  <a:lnTo>
                    <a:pt x="21" y="343"/>
                  </a:lnTo>
                  <a:lnTo>
                    <a:pt x="21" y="343"/>
                  </a:lnTo>
                  <a:lnTo>
                    <a:pt x="34" y="354"/>
                  </a:lnTo>
                  <a:lnTo>
                    <a:pt x="51" y="368"/>
                  </a:lnTo>
                  <a:lnTo>
                    <a:pt x="94" y="407"/>
                  </a:lnTo>
                  <a:lnTo>
                    <a:pt x="118" y="427"/>
                  </a:lnTo>
                  <a:lnTo>
                    <a:pt x="143" y="445"/>
                  </a:lnTo>
                  <a:lnTo>
                    <a:pt x="155" y="452"/>
                  </a:lnTo>
                  <a:lnTo>
                    <a:pt x="167" y="460"/>
                  </a:lnTo>
                  <a:lnTo>
                    <a:pt x="179" y="465"/>
                  </a:lnTo>
                  <a:lnTo>
                    <a:pt x="192" y="468"/>
                  </a:lnTo>
                  <a:lnTo>
                    <a:pt x="192" y="468"/>
                  </a:lnTo>
                  <a:lnTo>
                    <a:pt x="200" y="485"/>
                  </a:lnTo>
                  <a:lnTo>
                    <a:pt x="209" y="502"/>
                  </a:lnTo>
                  <a:lnTo>
                    <a:pt x="215" y="522"/>
                  </a:lnTo>
                  <a:lnTo>
                    <a:pt x="218" y="541"/>
                  </a:lnTo>
                  <a:lnTo>
                    <a:pt x="218" y="541"/>
                  </a:lnTo>
                  <a:lnTo>
                    <a:pt x="221" y="563"/>
                  </a:lnTo>
                  <a:lnTo>
                    <a:pt x="222" y="584"/>
                  </a:lnTo>
                  <a:lnTo>
                    <a:pt x="222" y="584"/>
                  </a:lnTo>
                  <a:lnTo>
                    <a:pt x="221" y="604"/>
                  </a:lnTo>
                  <a:lnTo>
                    <a:pt x="221" y="613"/>
                  </a:lnTo>
                  <a:lnTo>
                    <a:pt x="222" y="624"/>
                  </a:lnTo>
                  <a:lnTo>
                    <a:pt x="222" y="624"/>
                  </a:lnTo>
                  <a:lnTo>
                    <a:pt x="223" y="628"/>
                  </a:lnTo>
                  <a:lnTo>
                    <a:pt x="225" y="632"/>
                  </a:lnTo>
                  <a:lnTo>
                    <a:pt x="227" y="635"/>
                  </a:lnTo>
                  <a:lnTo>
                    <a:pt x="231" y="638"/>
                  </a:lnTo>
                  <a:lnTo>
                    <a:pt x="237" y="640"/>
                  </a:lnTo>
                  <a:lnTo>
                    <a:pt x="245" y="641"/>
                  </a:lnTo>
                  <a:lnTo>
                    <a:pt x="245" y="641"/>
                  </a:lnTo>
                  <a:lnTo>
                    <a:pt x="267" y="652"/>
                  </a:lnTo>
                  <a:lnTo>
                    <a:pt x="290" y="663"/>
                  </a:lnTo>
                  <a:lnTo>
                    <a:pt x="342" y="689"/>
                  </a:lnTo>
                  <a:lnTo>
                    <a:pt x="367" y="702"/>
                  </a:lnTo>
                  <a:lnTo>
                    <a:pt x="394" y="714"/>
                  </a:lnTo>
                  <a:lnTo>
                    <a:pt x="422" y="727"/>
                  </a:lnTo>
                  <a:lnTo>
                    <a:pt x="449" y="736"/>
                  </a:lnTo>
                  <a:lnTo>
                    <a:pt x="477" y="745"/>
                  </a:lnTo>
                  <a:lnTo>
                    <a:pt x="504" y="750"/>
                  </a:lnTo>
                  <a:lnTo>
                    <a:pt x="517" y="752"/>
                  </a:lnTo>
                  <a:lnTo>
                    <a:pt x="531" y="752"/>
                  </a:lnTo>
                  <a:lnTo>
                    <a:pt x="544" y="752"/>
                  </a:lnTo>
                  <a:lnTo>
                    <a:pt x="557" y="752"/>
                  </a:lnTo>
                  <a:lnTo>
                    <a:pt x="570" y="750"/>
                  </a:lnTo>
                  <a:lnTo>
                    <a:pt x="582" y="746"/>
                  </a:lnTo>
                  <a:lnTo>
                    <a:pt x="595" y="743"/>
                  </a:lnTo>
                  <a:lnTo>
                    <a:pt x="606" y="736"/>
                  </a:lnTo>
                  <a:lnTo>
                    <a:pt x="618" y="730"/>
                  </a:lnTo>
                  <a:lnTo>
                    <a:pt x="630" y="722"/>
                  </a:lnTo>
                  <a:lnTo>
                    <a:pt x="641" y="712"/>
                  </a:lnTo>
                  <a:lnTo>
                    <a:pt x="652" y="701"/>
                  </a:lnTo>
                  <a:lnTo>
                    <a:pt x="652" y="701"/>
                  </a:lnTo>
                  <a:lnTo>
                    <a:pt x="666" y="684"/>
                  </a:lnTo>
                  <a:lnTo>
                    <a:pt x="678" y="664"/>
                  </a:lnTo>
                  <a:lnTo>
                    <a:pt x="688" y="644"/>
                  </a:lnTo>
                  <a:lnTo>
                    <a:pt x="695" y="623"/>
                  </a:lnTo>
                  <a:lnTo>
                    <a:pt x="700" y="601"/>
                  </a:lnTo>
                  <a:lnTo>
                    <a:pt x="702" y="578"/>
                  </a:lnTo>
                  <a:lnTo>
                    <a:pt x="702" y="555"/>
                  </a:lnTo>
                  <a:lnTo>
                    <a:pt x="701" y="533"/>
                  </a:lnTo>
                  <a:lnTo>
                    <a:pt x="701" y="533"/>
                  </a:lnTo>
                  <a:lnTo>
                    <a:pt x="698" y="501"/>
                  </a:lnTo>
                  <a:lnTo>
                    <a:pt x="694" y="468"/>
                  </a:lnTo>
                  <a:lnTo>
                    <a:pt x="688" y="437"/>
                  </a:lnTo>
                  <a:lnTo>
                    <a:pt x="684" y="419"/>
                  </a:lnTo>
                  <a:lnTo>
                    <a:pt x="679" y="405"/>
                  </a:lnTo>
                  <a:lnTo>
                    <a:pt x="679" y="405"/>
                  </a:lnTo>
                  <a:close/>
                </a:path>
              </a:pathLst>
            </a:custGeom>
            <a:solidFill>
              <a:srgbClr val="4F17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82" name="Freeform 588"/>
            <p:cNvSpPr>
              <a:spLocks/>
            </p:cNvSpPr>
            <p:nvPr/>
          </p:nvSpPr>
          <p:spPr bwMode="auto">
            <a:xfrm>
              <a:off x="1973295" y="3281384"/>
              <a:ext cx="219077" cy="165102"/>
            </a:xfrm>
            <a:custGeom>
              <a:avLst/>
              <a:gdLst>
                <a:gd name="T0" fmla="*/ 669 w 691"/>
                <a:gd name="T1" fmla="*/ 482 h 519"/>
                <a:gd name="T2" fmla="*/ 653 w 691"/>
                <a:gd name="T3" fmla="*/ 405 h 519"/>
                <a:gd name="T4" fmla="*/ 673 w 691"/>
                <a:gd name="T5" fmla="*/ 385 h 519"/>
                <a:gd name="T6" fmla="*/ 690 w 691"/>
                <a:gd name="T7" fmla="*/ 354 h 519"/>
                <a:gd name="T8" fmla="*/ 685 w 691"/>
                <a:gd name="T9" fmla="*/ 312 h 519"/>
                <a:gd name="T10" fmla="*/ 675 w 691"/>
                <a:gd name="T11" fmla="*/ 294 h 519"/>
                <a:gd name="T12" fmla="*/ 640 w 691"/>
                <a:gd name="T13" fmla="*/ 241 h 519"/>
                <a:gd name="T14" fmla="*/ 624 w 691"/>
                <a:gd name="T15" fmla="*/ 211 h 519"/>
                <a:gd name="T16" fmla="*/ 607 w 691"/>
                <a:gd name="T17" fmla="*/ 181 h 519"/>
                <a:gd name="T18" fmla="*/ 578 w 691"/>
                <a:gd name="T19" fmla="*/ 150 h 519"/>
                <a:gd name="T20" fmla="*/ 508 w 691"/>
                <a:gd name="T21" fmla="*/ 109 h 519"/>
                <a:gd name="T22" fmla="*/ 474 w 691"/>
                <a:gd name="T23" fmla="*/ 85 h 519"/>
                <a:gd name="T24" fmla="*/ 409 w 691"/>
                <a:gd name="T25" fmla="*/ 38 h 519"/>
                <a:gd name="T26" fmla="*/ 355 w 691"/>
                <a:gd name="T27" fmla="*/ 12 h 519"/>
                <a:gd name="T28" fmla="*/ 316 w 691"/>
                <a:gd name="T29" fmla="*/ 3 h 519"/>
                <a:gd name="T30" fmla="*/ 286 w 691"/>
                <a:gd name="T31" fmla="*/ 1 h 519"/>
                <a:gd name="T32" fmla="*/ 256 w 691"/>
                <a:gd name="T33" fmla="*/ 9 h 519"/>
                <a:gd name="T34" fmla="*/ 236 w 691"/>
                <a:gd name="T35" fmla="*/ 18 h 519"/>
                <a:gd name="T36" fmla="*/ 203 w 691"/>
                <a:gd name="T37" fmla="*/ 37 h 519"/>
                <a:gd name="T38" fmla="*/ 183 w 691"/>
                <a:gd name="T39" fmla="*/ 42 h 519"/>
                <a:gd name="T40" fmla="*/ 113 w 691"/>
                <a:gd name="T41" fmla="*/ 53 h 519"/>
                <a:gd name="T42" fmla="*/ 66 w 691"/>
                <a:gd name="T43" fmla="*/ 71 h 519"/>
                <a:gd name="T44" fmla="*/ 41 w 691"/>
                <a:gd name="T45" fmla="*/ 87 h 519"/>
                <a:gd name="T46" fmla="*/ 19 w 691"/>
                <a:gd name="T47" fmla="*/ 107 h 519"/>
                <a:gd name="T48" fmla="*/ 0 w 691"/>
                <a:gd name="T49" fmla="*/ 140 h 519"/>
                <a:gd name="T50" fmla="*/ 18 w 691"/>
                <a:gd name="T51" fmla="*/ 220 h 519"/>
                <a:gd name="T52" fmla="*/ 25 w 691"/>
                <a:gd name="T53" fmla="*/ 254 h 519"/>
                <a:gd name="T54" fmla="*/ 44 w 691"/>
                <a:gd name="T55" fmla="*/ 270 h 519"/>
                <a:gd name="T56" fmla="*/ 47 w 691"/>
                <a:gd name="T57" fmla="*/ 271 h 519"/>
                <a:gd name="T58" fmla="*/ 53 w 691"/>
                <a:gd name="T59" fmla="*/ 272 h 519"/>
                <a:gd name="T60" fmla="*/ 89 w 691"/>
                <a:gd name="T61" fmla="*/ 287 h 519"/>
                <a:gd name="T62" fmla="*/ 200 w 691"/>
                <a:gd name="T63" fmla="*/ 333 h 519"/>
                <a:gd name="T64" fmla="*/ 240 w 691"/>
                <a:gd name="T65" fmla="*/ 340 h 519"/>
                <a:gd name="T66" fmla="*/ 267 w 691"/>
                <a:gd name="T67" fmla="*/ 354 h 519"/>
                <a:gd name="T68" fmla="*/ 300 w 691"/>
                <a:gd name="T69" fmla="*/ 402 h 519"/>
                <a:gd name="T70" fmla="*/ 317 w 691"/>
                <a:gd name="T71" fmla="*/ 441 h 519"/>
                <a:gd name="T72" fmla="*/ 324 w 691"/>
                <a:gd name="T73" fmla="*/ 471 h 519"/>
                <a:gd name="T74" fmla="*/ 330 w 691"/>
                <a:gd name="T75" fmla="*/ 484 h 519"/>
                <a:gd name="T76" fmla="*/ 340 w 691"/>
                <a:gd name="T77" fmla="*/ 490 h 519"/>
                <a:gd name="T78" fmla="*/ 356 w 691"/>
                <a:gd name="T79" fmla="*/ 490 h 519"/>
                <a:gd name="T80" fmla="*/ 470 w 691"/>
                <a:gd name="T81" fmla="*/ 507 h 519"/>
                <a:gd name="T82" fmla="*/ 575 w 691"/>
                <a:gd name="T83" fmla="*/ 519 h 519"/>
                <a:gd name="T84" fmla="*/ 635 w 691"/>
                <a:gd name="T85" fmla="*/ 516 h 519"/>
                <a:gd name="T86" fmla="*/ 673 w 691"/>
                <a:gd name="T87" fmla="*/ 507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91" h="519">
                  <a:moveTo>
                    <a:pt x="673" y="507"/>
                  </a:moveTo>
                  <a:lnTo>
                    <a:pt x="673" y="507"/>
                  </a:lnTo>
                  <a:lnTo>
                    <a:pt x="669" y="482"/>
                  </a:lnTo>
                  <a:lnTo>
                    <a:pt x="665" y="455"/>
                  </a:lnTo>
                  <a:lnTo>
                    <a:pt x="661" y="429"/>
                  </a:lnTo>
                  <a:lnTo>
                    <a:pt x="653" y="405"/>
                  </a:lnTo>
                  <a:lnTo>
                    <a:pt x="653" y="405"/>
                  </a:lnTo>
                  <a:lnTo>
                    <a:pt x="663" y="395"/>
                  </a:lnTo>
                  <a:lnTo>
                    <a:pt x="673" y="385"/>
                  </a:lnTo>
                  <a:lnTo>
                    <a:pt x="680" y="376"/>
                  </a:lnTo>
                  <a:lnTo>
                    <a:pt x="686" y="365"/>
                  </a:lnTo>
                  <a:lnTo>
                    <a:pt x="690" y="354"/>
                  </a:lnTo>
                  <a:lnTo>
                    <a:pt x="691" y="341"/>
                  </a:lnTo>
                  <a:lnTo>
                    <a:pt x="690" y="327"/>
                  </a:lnTo>
                  <a:lnTo>
                    <a:pt x="685" y="312"/>
                  </a:lnTo>
                  <a:lnTo>
                    <a:pt x="685" y="312"/>
                  </a:lnTo>
                  <a:lnTo>
                    <a:pt x="681" y="302"/>
                  </a:lnTo>
                  <a:lnTo>
                    <a:pt x="675" y="294"/>
                  </a:lnTo>
                  <a:lnTo>
                    <a:pt x="664" y="276"/>
                  </a:lnTo>
                  <a:lnTo>
                    <a:pt x="652" y="259"/>
                  </a:lnTo>
                  <a:lnTo>
                    <a:pt x="640" y="241"/>
                  </a:lnTo>
                  <a:lnTo>
                    <a:pt x="640" y="241"/>
                  </a:lnTo>
                  <a:lnTo>
                    <a:pt x="631" y="226"/>
                  </a:lnTo>
                  <a:lnTo>
                    <a:pt x="624" y="211"/>
                  </a:lnTo>
                  <a:lnTo>
                    <a:pt x="615" y="195"/>
                  </a:lnTo>
                  <a:lnTo>
                    <a:pt x="607" y="181"/>
                  </a:lnTo>
                  <a:lnTo>
                    <a:pt x="607" y="181"/>
                  </a:lnTo>
                  <a:lnTo>
                    <a:pt x="600" y="172"/>
                  </a:lnTo>
                  <a:lnTo>
                    <a:pt x="592" y="163"/>
                  </a:lnTo>
                  <a:lnTo>
                    <a:pt x="578" y="150"/>
                  </a:lnTo>
                  <a:lnTo>
                    <a:pt x="561" y="139"/>
                  </a:lnTo>
                  <a:lnTo>
                    <a:pt x="544" y="128"/>
                  </a:lnTo>
                  <a:lnTo>
                    <a:pt x="508" y="109"/>
                  </a:lnTo>
                  <a:lnTo>
                    <a:pt x="491" y="98"/>
                  </a:lnTo>
                  <a:lnTo>
                    <a:pt x="474" y="85"/>
                  </a:lnTo>
                  <a:lnTo>
                    <a:pt x="474" y="85"/>
                  </a:lnTo>
                  <a:lnTo>
                    <a:pt x="442" y="61"/>
                  </a:lnTo>
                  <a:lnTo>
                    <a:pt x="426" y="50"/>
                  </a:lnTo>
                  <a:lnTo>
                    <a:pt x="409" y="38"/>
                  </a:lnTo>
                  <a:lnTo>
                    <a:pt x="391" y="28"/>
                  </a:lnTo>
                  <a:lnTo>
                    <a:pt x="373" y="20"/>
                  </a:lnTo>
                  <a:lnTo>
                    <a:pt x="355" y="12"/>
                  </a:lnTo>
                  <a:lnTo>
                    <a:pt x="336" y="6"/>
                  </a:lnTo>
                  <a:lnTo>
                    <a:pt x="336" y="6"/>
                  </a:lnTo>
                  <a:lnTo>
                    <a:pt x="316" y="3"/>
                  </a:lnTo>
                  <a:lnTo>
                    <a:pt x="306" y="1"/>
                  </a:lnTo>
                  <a:lnTo>
                    <a:pt x="296" y="0"/>
                  </a:lnTo>
                  <a:lnTo>
                    <a:pt x="286" y="1"/>
                  </a:lnTo>
                  <a:lnTo>
                    <a:pt x="275" y="3"/>
                  </a:lnTo>
                  <a:lnTo>
                    <a:pt x="266" y="5"/>
                  </a:lnTo>
                  <a:lnTo>
                    <a:pt x="256" y="9"/>
                  </a:lnTo>
                  <a:lnTo>
                    <a:pt x="256" y="9"/>
                  </a:lnTo>
                  <a:lnTo>
                    <a:pt x="246" y="13"/>
                  </a:lnTo>
                  <a:lnTo>
                    <a:pt x="236" y="18"/>
                  </a:lnTo>
                  <a:lnTo>
                    <a:pt x="220" y="28"/>
                  </a:lnTo>
                  <a:lnTo>
                    <a:pt x="212" y="33"/>
                  </a:lnTo>
                  <a:lnTo>
                    <a:pt x="203" y="37"/>
                  </a:lnTo>
                  <a:lnTo>
                    <a:pt x="194" y="39"/>
                  </a:lnTo>
                  <a:lnTo>
                    <a:pt x="183" y="42"/>
                  </a:lnTo>
                  <a:lnTo>
                    <a:pt x="183" y="42"/>
                  </a:lnTo>
                  <a:lnTo>
                    <a:pt x="147" y="45"/>
                  </a:lnTo>
                  <a:lnTo>
                    <a:pt x="130" y="49"/>
                  </a:lnTo>
                  <a:lnTo>
                    <a:pt x="113" y="53"/>
                  </a:lnTo>
                  <a:lnTo>
                    <a:pt x="97" y="57"/>
                  </a:lnTo>
                  <a:lnTo>
                    <a:pt x="80" y="63"/>
                  </a:lnTo>
                  <a:lnTo>
                    <a:pt x="66" y="71"/>
                  </a:lnTo>
                  <a:lnTo>
                    <a:pt x="50" y="81"/>
                  </a:lnTo>
                  <a:lnTo>
                    <a:pt x="50" y="81"/>
                  </a:lnTo>
                  <a:lnTo>
                    <a:pt x="41" y="87"/>
                  </a:lnTo>
                  <a:lnTo>
                    <a:pt x="33" y="93"/>
                  </a:lnTo>
                  <a:lnTo>
                    <a:pt x="27" y="100"/>
                  </a:lnTo>
                  <a:lnTo>
                    <a:pt x="19" y="107"/>
                  </a:lnTo>
                  <a:lnTo>
                    <a:pt x="8" y="123"/>
                  </a:lnTo>
                  <a:lnTo>
                    <a:pt x="0" y="140"/>
                  </a:lnTo>
                  <a:lnTo>
                    <a:pt x="0" y="140"/>
                  </a:lnTo>
                  <a:lnTo>
                    <a:pt x="5" y="167"/>
                  </a:lnTo>
                  <a:lnTo>
                    <a:pt x="11" y="194"/>
                  </a:lnTo>
                  <a:lnTo>
                    <a:pt x="18" y="220"/>
                  </a:lnTo>
                  <a:lnTo>
                    <a:pt x="23" y="245"/>
                  </a:lnTo>
                  <a:lnTo>
                    <a:pt x="23" y="245"/>
                  </a:lnTo>
                  <a:lnTo>
                    <a:pt x="25" y="254"/>
                  </a:lnTo>
                  <a:lnTo>
                    <a:pt x="30" y="261"/>
                  </a:lnTo>
                  <a:lnTo>
                    <a:pt x="36" y="266"/>
                  </a:lnTo>
                  <a:lnTo>
                    <a:pt x="44" y="270"/>
                  </a:lnTo>
                  <a:lnTo>
                    <a:pt x="44" y="270"/>
                  </a:lnTo>
                  <a:lnTo>
                    <a:pt x="47" y="271"/>
                  </a:lnTo>
                  <a:lnTo>
                    <a:pt x="47" y="271"/>
                  </a:lnTo>
                  <a:lnTo>
                    <a:pt x="47" y="271"/>
                  </a:lnTo>
                  <a:lnTo>
                    <a:pt x="47" y="271"/>
                  </a:lnTo>
                  <a:lnTo>
                    <a:pt x="53" y="272"/>
                  </a:lnTo>
                  <a:lnTo>
                    <a:pt x="53" y="272"/>
                  </a:lnTo>
                  <a:lnTo>
                    <a:pt x="68" y="278"/>
                  </a:lnTo>
                  <a:lnTo>
                    <a:pt x="89" y="287"/>
                  </a:lnTo>
                  <a:lnTo>
                    <a:pt x="141" y="311"/>
                  </a:lnTo>
                  <a:lnTo>
                    <a:pt x="170" y="323"/>
                  </a:lnTo>
                  <a:lnTo>
                    <a:pt x="200" y="333"/>
                  </a:lnTo>
                  <a:lnTo>
                    <a:pt x="213" y="337"/>
                  </a:lnTo>
                  <a:lnTo>
                    <a:pt x="228" y="339"/>
                  </a:lnTo>
                  <a:lnTo>
                    <a:pt x="240" y="340"/>
                  </a:lnTo>
                  <a:lnTo>
                    <a:pt x="252" y="340"/>
                  </a:lnTo>
                  <a:lnTo>
                    <a:pt x="252" y="340"/>
                  </a:lnTo>
                  <a:lnTo>
                    <a:pt x="267" y="354"/>
                  </a:lnTo>
                  <a:lnTo>
                    <a:pt x="279" y="368"/>
                  </a:lnTo>
                  <a:lnTo>
                    <a:pt x="290" y="384"/>
                  </a:lnTo>
                  <a:lnTo>
                    <a:pt x="300" y="402"/>
                  </a:lnTo>
                  <a:lnTo>
                    <a:pt x="300" y="402"/>
                  </a:lnTo>
                  <a:lnTo>
                    <a:pt x="309" y="422"/>
                  </a:lnTo>
                  <a:lnTo>
                    <a:pt x="317" y="441"/>
                  </a:lnTo>
                  <a:lnTo>
                    <a:pt x="317" y="441"/>
                  </a:lnTo>
                  <a:lnTo>
                    <a:pt x="322" y="461"/>
                  </a:lnTo>
                  <a:lnTo>
                    <a:pt x="324" y="471"/>
                  </a:lnTo>
                  <a:lnTo>
                    <a:pt x="328" y="479"/>
                  </a:lnTo>
                  <a:lnTo>
                    <a:pt x="328" y="479"/>
                  </a:lnTo>
                  <a:lnTo>
                    <a:pt x="330" y="484"/>
                  </a:lnTo>
                  <a:lnTo>
                    <a:pt x="334" y="487"/>
                  </a:lnTo>
                  <a:lnTo>
                    <a:pt x="336" y="489"/>
                  </a:lnTo>
                  <a:lnTo>
                    <a:pt x="340" y="490"/>
                  </a:lnTo>
                  <a:lnTo>
                    <a:pt x="347" y="491"/>
                  </a:lnTo>
                  <a:lnTo>
                    <a:pt x="356" y="490"/>
                  </a:lnTo>
                  <a:lnTo>
                    <a:pt x="356" y="490"/>
                  </a:lnTo>
                  <a:lnTo>
                    <a:pt x="391" y="494"/>
                  </a:lnTo>
                  <a:lnTo>
                    <a:pt x="429" y="501"/>
                  </a:lnTo>
                  <a:lnTo>
                    <a:pt x="470" y="507"/>
                  </a:lnTo>
                  <a:lnTo>
                    <a:pt x="512" y="515"/>
                  </a:lnTo>
                  <a:lnTo>
                    <a:pt x="554" y="518"/>
                  </a:lnTo>
                  <a:lnTo>
                    <a:pt x="575" y="519"/>
                  </a:lnTo>
                  <a:lnTo>
                    <a:pt x="596" y="519"/>
                  </a:lnTo>
                  <a:lnTo>
                    <a:pt x="615" y="518"/>
                  </a:lnTo>
                  <a:lnTo>
                    <a:pt x="635" y="516"/>
                  </a:lnTo>
                  <a:lnTo>
                    <a:pt x="654" y="512"/>
                  </a:lnTo>
                  <a:lnTo>
                    <a:pt x="673" y="507"/>
                  </a:lnTo>
                  <a:lnTo>
                    <a:pt x="673" y="507"/>
                  </a:lnTo>
                  <a:close/>
                </a:path>
              </a:pathLst>
            </a:custGeom>
            <a:solidFill>
              <a:srgbClr val="681F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83" name="Freeform 589"/>
            <p:cNvSpPr>
              <a:spLocks/>
            </p:cNvSpPr>
            <p:nvPr/>
          </p:nvSpPr>
          <p:spPr bwMode="auto">
            <a:xfrm>
              <a:off x="2098709" y="3376635"/>
              <a:ext cx="47625" cy="47625"/>
            </a:xfrm>
            <a:custGeom>
              <a:avLst/>
              <a:gdLst>
                <a:gd name="T0" fmla="*/ 0 w 149"/>
                <a:gd name="T1" fmla="*/ 75 h 149"/>
                <a:gd name="T2" fmla="*/ 0 w 149"/>
                <a:gd name="T3" fmla="*/ 75 h 149"/>
                <a:gd name="T4" fmla="*/ 0 w 149"/>
                <a:gd name="T5" fmla="*/ 82 h 149"/>
                <a:gd name="T6" fmla="*/ 1 w 149"/>
                <a:gd name="T7" fmla="*/ 89 h 149"/>
                <a:gd name="T8" fmla="*/ 6 w 149"/>
                <a:gd name="T9" fmla="*/ 104 h 149"/>
                <a:gd name="T10" fmla="*/ 12 w 149"/>
                <a:gd name="T11" fmla="*/ 116 h 149"/>
                <a:gd name="T12" fmla="*/ 22 w 149"/>
                <a:gd name="T13" fmla="*/ 127 h 149"/>
                <a:gd name="T14" fmla="*/ 33 w 149"/>
                <a:gd name="T15" fmla="*/ 136 h 149"/>
                <a:gd name="T16" fmla="*/ 45 w 149"/>
                <a:gd name="T17" fmla="*/ 143 h 149"/>
                <a:gd name="T18" fmla="*/ 52 w 149"/>
                <a:gd name="T19" fmla="*/ 145 h 149"/>
                <a:gd name="T20" fmla="*/ 60 w 149"/>
                <a:gd name="T21" fmla="*/ 148 h 149"/>
                <a:gd name="T22" fmla="*/ 67 w 149"/>
                <a:gd name="T23" fmla="*/ 149 h 149"/>
                <a:gd name="T24" fmla="*/ 74 w 149"/>
                <a:gd name="T25" fmla="*/ 149 h 149"/>
                <a:gd name="T26" fmla="*/ 74 w 149"/>
                <a:gd name="T27" fmla="*/ 149 h 149"/>
                <a:gd name="T28" fmla="*/ 82 w 149"/>
                <a:gd name="T29" fmla="*/ 149 h 149"/>
                <a:gd name="T30" fmla="*/ 89 w 149"/>
                <a:gd name="T31" fmla="*/ 148 h 149"/>
                <a:gd name="T32" fmla="*/ 96 w 149"/>
                <a:gd name="T33" fmla="*/ 145 h 149"/>
                <a:gd name="T34" fmla="*/ 102 w 149"/>
                <a:gd name="T35" fmla="*/ 143 h 149"/>
                <a:gd name="T36" fmla="*/ 116 w 149"/>
                <a:gd name="T37" fmla="*/ 136 h 149"/>
                <a:gd name="T38" fmla="*/ 127 w 149"/>
                <a:gd name="T39" fmla="*/ 127 h 149"/>
                <a:gd name="T40" fmla="*/ 135 w 149"/>
                <a:gd name="T41" fmla="*/ 116 h 149"/>
                <a:gd name="T42" fmla="*/ 143 w 149"/>
                <a:gd name="T43" fmla="*/ 104 h 149"/>
                <a:gd name="T44" fmla="*/ 146 w 149"/>
                <a:gd name="T45" fmla="*/ 89 h 149"/>
                <a:gd name="T46" fmla="*/ 148 w 149"/>
                <a:gd name="T47" fmla="*/ 82 h 149"/>
                <a:gd name="T48" fmla="*/ 149 w 149"/>
                <a:gd name="T49" fmla="*/ 75 h 149"/>
                <a:gd name="T50" fmla="*/ 149 w 149"/>
                <a:gd name="T51" fmla="*/ 75 h 149"/>
                <a:gd name="T52" fmla="*/ 148 w 149"/>
                <a:gd name="T53" fmla="*/ 67 h 149"/>
                <a:gd name="T54" fmla="*/ 146 w 149"/>
                <a:gd name="T55" fmla="*/ 60 h 149"/>
                <a:gd name="T56" fmla="*/ 145 w 149"/>
                <a:gd name="T57" fmla="*/ 53 h 149"/>
                <a:gd name="T58" fmla="*/ 143 w 149"/>
                <a:gd name="T59" fmla="*/ 46 h 149"/>
                <a:gd name="T60" fmla="*/ 135 w 149"/>
                <a:gd name="T61" fmla="*/ 33 h 149"/>
                <a:gd name="T62" fmla="*/ 127 w 149"/>
                <a:gd name="T63" fmla="*/ 22 h 149"/>
                <a:gd name="T64" fmla="*/ 116 w 149"/>
                <a:gd name="T65" fmla="*/ 14 h 149"/>
                <a:gd name="T66" fmla="*/ 102 w 149"/>
                <a:gd name="T67" fmla="*/ 7 h 149"/>
                <a:gd name="T68" fmla="*/ 96 w 149"/>
                <a:gd name="T69" fmla="*/ 4 h 149"/>
                <a:gd name="T70" fmla="*/ 89 w 149"/>
                <a:gd name="T71" fmla="*/ 2 h 149"/>
                <a:gd name="T72" fmla="*/ 82 w 149"/>
                <a:gd name="T73" fmla="*/ 0 h 149"/>
                <a:gd name="T74" fmla="*/ 74 w 149"/>
                <a:gd name="T75" fmla="*/ 0 h 149"/>
                <a:gd name="T76" fmla="*/ 74 w 149"/>
                <a:gd name="T77" fmla="*/ 0 h 149"/>
                <a:gd name="T78" fmla="*/ 67 w 149"/>
                <a:gd name="T79" fmla="*/ 0 h 149"/>
                <a:gd name="T80" fmla="*/ 60 w 149"/>
                <a:gd name="T81" fmla="*/ 2 h 149"/>
                <a:gd name="T82" fmla="*/ 52 w 149"/>
                <a:gd name="T83" fmla="*/ 4 h 149"/>
                <a:gd name="T84" fmla="*/ 45 w 149"/>
                <a:gd name="T85" fmla="*/ 7 h 149"/>
                <a:gd name="T86" fmla="*/ 33 w 149"/>
                <a:gd name="T87" fmla="*/ 14 h 149"/>
                <a:gd name="T88" fmla="*/ 22 w 149"/>
                <a:gd name="T89" fmla="*/ 22 h 149"/>
                <a:gd name="T90" fmla="*/ 12 w 149"/>
                <a:gd name="T91" fmla="*/ 33 h 149"/>
                <a:gd name="T92" fmla="*/ 6 w 149"/>
                <a:gd name="T93" fmla="*/ 46 h 149"/>
                <a:gd name="T94" fmla="*/ 4 w 149"/>
                <a:gd name="T95" fmla="*/ 53 h 149"/>
                <a:gd name="T96" fmla="*/ 1 w 149"/>
                <a:gd name="T97" fmla="*/ 60 h 149"/>
                <a:gd name="T98" fmla="*/ 0 w 149"/>
                <a:gd name="T99" fmla="*/ 67 h 149"/>
                <a:gd name="T100" fmla="*/ 0 w 149"/>
                <a:gd name="T101" fmla="*/ 75 h 149"/>
                <a:gd name="T102" fmla="*/ 0 w 149"/>
                <a:gd name="T103"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9" h="149">
                  <a:moveTo>
                    <a:pt x="0" y="75"/>
                  </a:moveTo>
                  <a:lnTo>
                    <a:pt x="0" y="75"/>
                  </a:lnTo>
                  <a:lnTo>
                    <a:pt x="0" y="82"/>
                  </a:lnTo>
                  <a:lnTo>
                    <a:pt x="1" y="89"/>
                  </a:lnTo>
                  <a:lnTo>
                    <a:pt x="6" y="104"/>
                  </a:lnTo>
                  <a:lnTo>
                    <a:pt x="12" y="116"/>
                  </a:lnTo>
                  <a:lnTo>
                    <a:pt x="22" y="127"/>
                  </a:lnTo>
                  <a:lnTo>
                    <a:pt x="33" y="136"/>
                  </a:lnTo>
                  <a:lnTo>
                    <a:pt x="45" y="143"/>
                  </a:lnTo>
                  <a:lnTo>
                    <a:pt x="52" y="145"/>
                  </a:lnTo>
                  <a:lnTo>
                    <a:pt x="60" y="148"/>
                  </a:lnTo>
                  <a:lnTo>
                    <a:pt x="67" y="149"/>
                  </a:lnTo>
                  <a:lnTo>
                    <a:pt x="74" y="149"/>
                  </a:lnTo>
                  <a:lnTo>
                    <a:pt x="74" y="149"/>
                  </a:lnTo>
                  <a:lnTo>
                    <a:pt x="82" y="149"/>
                  </a:lnTo>
                  <a:lnTo>
                    <a:pt x="89" y="148"/>
                  </a:lnTo>
                  <a:lnTo>
                    <a:pt x="96" y="145"/>
                  </a:lnTo>
                  <a:lnTo>
                    <a:pt x="102" y="143"/>
                  </a:lnTo>
                  <a:lnTo>
                    <a:pt x="116" y="136"/>
                  </a:lnTo>
                  <a:lnTo>
                    <a:pt x="127" y="127"/>
                  </a:lnTo>
                  <a:lnTo>
                    <a:pt x="135" y="116"/>
                  </a:lnTo>
                  <a:lnTo>
                    <a:pt x="143" y="104"/>
                  </a:lnTo>
                  <a:lnTo>
                    <a:pt x="146" y="89"/>
                  </a:lnTo>
                  <a:lnTo>
                    <a:pt x="148" y="82"/>
                  </a:lnTo>
                  <a:lnTo>
                    <a:pt x="149" y="75"/>
                  </a:lnTo>
                  <a:lnTo>
                    <a:pt x="149" y="75"/>
                  </a:lnTo>
                  <a:lnTo>
                    <a:pt x="148" y="67"/>
                  </a:lnTo>
                  <a:lnTo>
                    <a:pt x="146" y="60"/>
                  </a:lnTo>
                  <a:lnTo>
                    <a:pt x="145" y="53"/>
                  </a:lnTo>
                  <a:lnTo>
                    <a:pt x="143" y="46"/>
                  </a:lnTo>
                  <a:lnTo>
                    <a:pt x="135" y="33"/>
                  </a:lnTo>
                  <a:lnTo>
                    <a:pt x="127" y="22"/>
                  </a:lnTo>
                  <a:lnTo>
                    <a:pt x="116" y="14"/>
                  </a:lnTo>
                  <a:lnTo>
                    <a:pt x="102" y="7"/>
                  </a:lnTo>
                  <a:lnTo>
                    <a:pt x="96" y="4"/>
                  </a:lnTo>
                  <a:lnTo>
                    <a:pt x="89" y="2"/>
                  </a:lnTo>
                  <a:lnTo>
                    <a:pt x="82" y="0"/>
                  </a:lnTo>
                  <a:lnTo>
                    <a:pt x="74" y="0"/>
                  </a:lnTo>
                  <a:lnTo>
                    <a:pt x="74" y="0"/>
                  </a:lnTo>
                  <a:lnTo>
                    <a:pt x="67" y="0"/>
                  </a:lnTo>
                  <a:lnTo>
                    <a:pt x="60" y="2"/>
                  </a:lnTo>
                  <a:lnTo>
                    <a:pt x="52" y="4"/>
                  </a:lnTo>
                  <a:lnTo>
                    <a:pt x="45" y="7"/>
                  </a:lnTo>
                  <a:lnTo>
                    <a:pt x="33" y="14"/>
                  </a:lnTo>
                  <a:lnTo>
                    <a:pt x="22" y="22"/>
                  </a:lnTo>
                  <a:lnTo>
                    <a:pt x="12" y="33"/>
                  </a:lnTo>
                  <a:lnTo>
                    <a:pt x="6" y="46"/>
                  </a:lnTo>
                  <a:lnTo>
                    <a:pt x="4" y="53"/>
                  </a:lnTo>
                  <a:lnTo>
                    <a:pt x="1" y="60"/>
                  </a:lnTo>
                  <a:lnTo>
                    <a:pt x="0" y="67"/>
                  </a:lnTo>
                  <a:lnTo>
                    <a:pt x="0" y="75"/>
                  </a:lnTo>
                  <a:lnTo>
                    <a:pt x="0" y="75"/>
                  </a:lnTo>
                  <a:close/>
                </a:path>
              </a:pathLst>
            </a:custGeom>
            <a:solidFill>
              <a:srgbClr val="FF4F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84" name="Freeform 590"/>
            <p:cNvSpPr>
              <a:spLocks/>
            </p:cNvSpPr>
            <p:nvPr/>
          </p:nvSpPr>
          <p:spPr bwMode="auto">
            <a:xfrm>
              <a:off x="2059021" y="3324247"/>
              <a:ext cx="31750" cy="31750"/>
            </a:xfrm>
            <a:custGeom>
              <a:avLst/>
              <a:gdLst>
                <a:gd name="T0" fmla="*/ 0 w 102"/>
                <a:gd name="T1" fmla="*/ 51 h 102"/>
                <a:gd name="T2" fmla="*/ 0 w 102"/>
                <a:gd name="T3" fmla="*/ 51 h 102"/>
                <a:gd name="T4" fmla="*/ 1 w 102"/>
                <a:gd name="T5" fmla="*/ 61 h 102"/>
                <a:gd name="T6" fmla="*/ 5 w 102"/>
                <a:gd name="T7" fmla="*/ 71 h 102"/>
                <a:gd name="T8" fmla="*/ 9 w 102"/>
                <a:gd name="T9" fmla="*/ 79 h 102"/>
                <a:gd name="T10" fmla="*/ 16 w 102"/>
                <a:gd name="T11" fmla="*/ 87 h 102"/>
                <a:gd name="T12" fmla="*/ 23 w 102"/>
                <a:gd name="T13" fmla="*/ 94 h 102"/>
                <a:gd name="T14" fmla="*/ 32 w 102"/>
                <a:gd name="T15" fmla="*/ 97 h 102"/>
                <a:gd name="T16" fmla="*/ 41 w 102"/>
                <a:gd name="T17" fmla="*/ 101 h 102"/>
                <a:gd name="T18" fmla="*/ 51 w 102"/>
                <a:gd name="T19" fmla="*/ 102 h 102"/>
                <a:gd name="T20" fmla="*/ 51 w 102"/>
                <a:gd name="T21" fmla="*/ 102 h 102"/>
                <a:gd name="T22" fmla="*/ 62 w 102"/>
                <a:gd name="T23" fmla="*/ 101 h 102"/>
                <a:gd name="T24" fmla="*/ 72 w 102"/>
                <a:gd name="T25" fmla="*/ 97 h 102"/>
                <a:gd name="T26" fmla="*/ 80 w 102"/>
                <a:gd name="T27" fmla="*/ 94 h 102"/>
                <a:gd name="T28" fmla="*/ 88 w 102"/>
                <a:gd name="T29" fmla="*/ 87 h 102"/>
                <a:gd name="T30" fmla="*/ 94 w 102"/>
                <a:gd name="T31" fmla="*/ 79 h 102"/>
                <a:gd name="T32" fmla="*/ 99 w 102"/>
                <a:gd name="T33" fmla="*/ 71 h 102"/>
                <a:gd name="T34" fmla="*/ 101 w 102"/>
                <a:gd name="T35" fmla="*/ 61 h 102"/>
                <a:gd name="T36" fmla="*/ 102 w 102"/>
                <a:gd name="T37" fmla="*/ 51 h 102"/>
                <a:gd name="T38" fmla="*/ 102 w 102"/>
                <a:gd name="T39" fmla="*/ 51 h 102"/>
                <a:gd name="T40" fmla="*/ 101 w 102"/>
                <a:gd name="T41" fmla="*/ 40 h 102"/>
                <a:gd name="T42" fmla="*/ 99 w 102"/>
                <a:gd name="T43" fmla="*/ 30 h 102"/>
                <a:gd name="T44" fmla="*/ 94 w 102"/>
                <a:gd name="T45" fmla="*/ 22 h 102"/>
                <a:gd name="T46" fmla="*/ 88 w 102"/>
                <a:gd name="T47" fmla="*/ 15 h 102"/>
                <a:gd name="T48" fmla="*/ 80 w 102"/>
                <a:gd name="T49" fmla="*/ 8 h 102"/>
                <a:gd name="T50" fmla="*/ 72 w 102"/>
                <a:gd name="T51" fmla="*/ 4 h 102"/>
                <a:gd name="T52" fmla="*/ 62 w 102"/>
                <a:gd name="T53" fmla="*/ 1 h 102"/>
                <a:gd name="T54" fmla="*/ 51 w 102"/>
                <a:gd name="T55" fmla="*/ 0 h 102"/>
                <a:gd name="T56" fmla="*/ 51 w 102"/>
                <a:gd name="T57" fmla="*/ 0 h 102"/>
                <a:gd name="T58" fmla="*/ 41 w 102"/>
                <a:gd name="T59" fmla="*/ 1 h 102"/>
                <a:gd name="T60" fmla="*/ 32 w 102"/>
                <a:gd name="T61" fmla="*/ 4 h 102"/>
                <a:gd name="T62" fmla="*/ 23 w 102"/>
                <a:gd name="T63" fmla="*/ 8 h 102"/>
                <a:gd name="T64" fmla="*/ 16 w 102"/>
                <a:gd name="T65" fmla="*/ 15 h 102"/>
                <a:gd name="T66" fmla="*/ 9 w 102"/>
                <a:gd name="T67" fmla="*/ 22 h 102"/>
                <a:gd name="T68" fmla="*/ 5 w 102"/>
                <a:gd name="T69" fmla="*/ 30 h 102"/>
                <a:gd name="T70" fmla="*/ 1 w 102"/>
                <a:gd name="T71" fmla="*/ 40 h 102"/>
                <a:gd name="T72" fmla="*/ 0 w 102"/>
                <a:gd name="T73" fmla="*/ 51 h 102"/>
                <a:gd name="T74" fmla="*/ 0 w 102"/>
                <a:gd name="T75" fmla="*/ 5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2">
                  <a:moveTo>
                    <a:pt x="0" y="51"/>
                  </a:moveTo>
                  <a:lnTo>
                    <a:pt x="0" y="51"/>
                  </a:lnTo>
                  <a:lnTo>
                    <a:pt x="1" y="61"/>
                  </a:lnTo>
                  <a:lnTo>
                    <a:pt x="5" y="71"/>
                  </a:lnTo>
                  <a:lnTo>
                    <a:pt x="9" y="79"/>
                  </a:lnTo>
                  <a:lnTo>
                    <a:pt x="16" y="87"/>
                  </a:lnTo>
                  <a:lnTo>
                    <a:pt x="23" y="94"/>
                  </a:lnTo>
                  <a:lnTo>
                    <a:pt x="32" y="97"/>
                  </a:lnTo>
                  <a:lnTo>
                    <a:pt x="41" y="101"/>
                  </a:lnTo>
                  <a:lnTo>
                    <a:pt x="51" y="102"/>
                  </a:lnTo>
                  <a:lnTo>
                    <a:pt x="51" y="102"/>
                  </a:lnTo>
                  <a:lnTo>
                    <a:pt x="62" y="101"/>
                  </a:lnTo>
                  <a:lnTo>
                    <a:pt x="72" y="97"/>
                  </a:lnTo>
                  <a:lnTo>
                    <a:pt x="80" y="94"/>
                  </a:lnTo>
                  <a:lnTo>
                    <a:pt x="88" y="87"/>
                  </a:lnTo>
                  <a:lnTo>
                    <a:pt x="94" y="79"/>
                  </a:lnTo>
                  <a:lnTo>
                    <a:pt x="99" y="71"/>
                  </a:lnTo>
                  <a:lnTo>
                    <a:pt x="101" y="61"/>
                  </a:lnTo>
                  <a:lnTo>
                    <a:pt x="102" y="51"/>
                  </a:lnTo>
                  <a:lnTo>
                    <a:pt x="102" y="51"/>
                  </a:lnTo>
                  <a:lnTo>
                    <a:pt x="101" y="40"/>
                  </a:lnTo>
                  <a:lnTo>
                    <a:pt x="99" y="30"/>
                  </a:lnTo>
                  <a:lnTo>
                    <a:pt x="94" y="22"/>
                  </a:lnTo>
                  <a:lnTo>
                    <a:pt x="88" y="15"/>
                  </a:lnTo>
                  <a:lnTo>
                    <a:pt x="80" y="8"/>
                  </a:lnTo>
                  <a:lnTo>
                    <a:pt x="72" y="4"/>
                  </a:lnTo>
                  <a:lnTo>
                    <a:pt x="62" y="1"/>
                  </a:lnTo>
                  <a:lnTo>
                    <a:pt x="51" y="0"/>
                  </a:lnTo>
                  <a:lnTo>
                    <a:pt x="51" y="0"/>
                  </a:lnTo>
                  <a:lnTo>
                    <a:pt x="41" y="1"/>
                  </a:lnTo>
                  <a:lnTo>
                    <a:pt x="32" y="4"/>
                  </a:lnTo>
                  <a:lnTo>
                    <a:pt x="23" y="8"/>
                  </a:lnTo>
                  <a:lnTo>
                    <a:pt x="16" y="15"/>
                  </a:lnTo>
                  <a:lnTo>
                    <a:pt x="9" y="22"/>
                  </a:lnTo>
                  <a:lnTo>
                    <a:pt x="5" y="30"/>
                  </a:lnTo>
                  <a:lnTo>
                    <a:pt x="1" y="40"/>
                  </a:lnTo>
                  <a:lnTo>
                    <a:pt x="0" y="51"/>
                  </a:lnTo>
                  <a:lnTo>
                    <a:pt x="0" y="51"/>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85" name="Freeform 591"/>
            <p:cNvSpPr>
              <a:spLocks/>
            </p:cNvSpPr>
            <p:nvPr/>
          </p:nvSpPr>
          <p:spPr bwMode="auto">
            <a:xfrm>
              <a:off x="2073308" y="3454423"/>
              <a:ext cx="20638" cy="20638"/>
            </a:xfrm>
            <a:custGeom>
              <a:avLst/>
              <a:gdLst>
                <a:gd name="T0" fmla="*/ 0 w 67"/>
                <a:gd name="T1" fmla="*/ 34 h 68"/>
                <a:gd name="T2" fmla="*/ 0 w 67"/>
                <a:gd name="T3" fmla="*/ 34 h 68"/>
                <a:gd name="T4" fmla="*/ 0 w 67"/>
                <a:gd name="T5" fmla="*/ 41 h 68"/>
                <a:gd name="T6" fmla="*/ 2 w 67"/>
                <a:gd name="T7" fmla="*/ 47 h 68"/>
                <a:gd name="T8" fmla="*/ 5 w 67"/>
                <a:gd name="T9" fmla="*/ 53 h 68"/>
                <a:gd name="T10" fmla="*/ 10 w 67"/>
                <a:gd name="T11" fmla="*/ 58 h 68"/>
                <a:gd name="T12" fmla="*/ 15 w 67"/>
                <a:gd name="T13" fmla="*/ 63 h 68"/>
                <a:gd name="T14" fmla="*/ 21 w 67"/>
                <a:gd name="T15" fmla="*/ 65 h 68"/>
                <a:gd name="T16" fmla="*/ 27 w 67"/>
                <a:gd name="T17" fmla="*/ 68 h 68"/>
                <a:gd name="T18" fmla="*/ 33 w 67"/>
                <a:gd name="T19" fmla="*/ 68 h 68"/>
                <a:gd name="T20" fmla="*/ 33 w 67"/>
                <a:gd name="T21" fmla="*/ 68 h 68"/>
                <a:gd name="T22" fmla="*/ 40 w 67"/>
                <a:gd name="T23" fmla="*/ 68 h 68"/>
                <a:gd name="T24" fmla="*/ 46 w 67"/>
                <a:gd name="T25" fmla="*/ 65 h 68"/>
                <a:gd name="T26" fmla="*/ 52 w 67"/>
                <a:gd name="T27" fmla="*/ 63 h 68"/>
                <a:gd name="T28" fmla="*/ 57 w 67"/>
                <a:gd name="T29" fmla="*/ 58 h 68"/>
                <a:gd name="T30" fmla="*/ 62 w 67"/>
                <a:gd name="T31" fmla="*/ 53 h 68"/>
                <a:gd name="T32" fmla="*/ 65 w 67"/>
                <a:gd name="T33" fmla="*/ 47 h 68"/>
                <a:gd name="T34" fmla="*/ 67 w 67"/>
                <a:gd name="T35" fmla="*/ 41 h 68"/>
                <a:gd name="T36" fmla="*/ 67 w 67"/>
                <a:gd name="T37" fmla="*/ 34 h 68"/>
                <a:gd name="T38" fmla="*/ 67 w 67"/>
                <a:gd name="T39" fmla="*/ 34 h 68"/>
                <a:gd name="T40" fmla="*/ 67 w 67"/>
                <a:gd name="T41" fmla="*/ 28 h 68"/>
                <a:gd name="T42" fmla="*/ 65 w 67"/>
                <a:gd name="T43" fmla="*/ 22 h 68"/>
                <a:gd name="T44" fmla="*/ 62 w 67"/>
                <a:gd name="T45" fmla="*/ 15 h 68"/>
                <a:gd name="T46" fmla="*/ 57 w 67"/>
                <a:gd name="T47" fmla="*/ 11 h 68"/>
                <a:gd name="T48" fmla="*/ 52 w 67"/>
                <a:gd name="T49" fmla="*/ 6 h 68"/>
                <a:gd name="T50" fmla="*/ 46 w 67"/>
                <a:gd name="T51" fmla="*/ 3 h 68"/>
                <a:gd name="T52" fmla="*/ 40 w 67"/>
                <a:gd name="T53" fmla="*/ 1 h 68"/>
                <a:gd name="T54" fmla="*/ 33 w 67"/>
                <a:gd name="T55" fmla="*/ 0 h 68"/>
                <a:gd name="T56" fmla="*/ 33 w 67"/>
                <a:gd name="T57" fmla="*/ 0 h 68"/>
                <a:gd name="T58" fmla="*/ 27 w 67"/>
                <a:gd name="T59" fmla="*/ 1 h 68"/>
                <a:gd name="T60" fmla="*/ 21 w 67"/>
                <a:gd name="T61" fmla="*/ 3 h 68"/>
                <a:gd name="T62" fmla="*/ 15 w 67"/>
                <a:gd name="T63" fmla="*/ 6 h 68"/>
                <a:gd name="T64" fmla="*/ 10 w 67"/>
                <a:gd name="T65" fmla="*/ 11 h 68"/>
                <a:gd name="T66" fmla="*/ 5 w 67"/>
                <a:gd name="T67" fmla="*/ 15 h 68"/>
                <a:gd name="T68" fmla="*/ 2 w 67"/>
                <a:gd name="T69" fmla="*/ 22 h 68"/>
                <a:gd name="T70" fmla="*/ 0 w 67"/>
                <a:gd name="T71" fmla="*/ 28 h 68"/>
                <a:gd name="T72" fmla="*/ 0 w 67"/>
                <a:gd name="T73" fmla="*/ 34 h 68"/>
                <a:gd name="T74" fmla="*/ 0 w 67"/>
                <a:gd name="T7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68">
                  <a:moveTo>
                    <a:pt x="0" y="34"/>
                  </a:moveTo>
                  <a:lnTo>
                    <a:pt x="0" y="34"/>
                  </a:lnTo>
                  <a:lnTo>
                    <a:pt x="0" y="41"/>
                  </a:lnTo>
                  <a:lnTo>
                    <a:pt x="2" y="47"/>
                  </a:lnTo>
                  <a:lnTo>
                    <a:pt x="5" y="53"/>
                  </a:lnTo>
                  <a:lnTo>
                    <a:pt x="10" y="58"/>
                  </a:lnTo>
                  <a:lnTo>
                    <a:pt x="15" y="63"/>
                  </a:lnTo>
                  <a:lnTo>
                    <a:pt x="21" y="65"/>
                  </a:lnTo>
                  <a:lnTo>
                    <a:pt x="27" y="68"/>
                  </a:lnTo>
                  <a:lnTo>
                    <a:pt x="33" y="68"/>
                  </a:lnTo>
                  <a:lnTo>
                    <a:pt x="33" y="68"/>
                  </a:lnTo>
                  <a:lnTo>
                    <a:pt x="40" y="68"/>
                  </a:lnTo>
                  <a:lnTo>
                    <a:pt x="46" y="65"/>
                  </a:lnTo>
                  <a:lnTo>
                    <a:pt x="52" y="63"/>
                  </a:lnTo>
                  <a:lnTo>
                    <a:pt x="57" y="58"/>
                  </a:lnTo>
                  <a:lnTo>
                    <a:pt x="62" y="53"/>
                  </a:lnTo>
                  <a:lnTo>
                    <a:pt x="65" y="47"/>
                  </a:lnTo>
                  <a:lnTo>
                    <a:pt x="67" y="41"/>
                  </a:lnTo>
                  <a:lnTo>
                    <a:pt x="67" y="34"/>
                  </a:lnTo>
                  <a:lnTo>
                    <a:pt x="67" y="34"/>
                  </a:lnTo>
                  <a:lnTo>
                    <a:pt x="67" y="28"/>
                  </a:lnTo>
                  <a:lnTo>
                    <a:pt x="65" y="22"/>
                  </a:lnTo>
                  <a:lnTo>
                    <a:pt x="62" y="15"/>
                  </a:lnTo>
                  <a:lnTo>
                    <a:pt x="57" y="11"/>
                  </a:lnTo>
                  <a:lnTo>
                    <a:pt x="52" y="6"/>
                  </a:lnTo>
                  <a:lnTo>
                    <a:pt x="46" y="3"/>
                  </a:lnTo>
                  <a:lnTo>
                    <a:pt x="40" y="1"/>
                  </a:lnTo>
                  <a:lnTo>
                    <a:pt x="33" y="0"/>
                  </a:lnTo>
                  <a:lnTo>
                    <a:pt x="33" y="0"/>
                  </a:lnTo>
                  <a:lnTo>
                    <a:pt x="27" y="1"/>
                  </a:lnTo>
                  <a:lnTo>
                    <a:pt x="21" y="3"/>
                  </a:lnTo>
                  <a:lnTo>
                    <a:pt x="15" y="6"/>
                  </a:lnTo>
                  <a:lnTo>
                    <a:pt x="10" y="11"/>
                  </a:lnTo>
                  <a:lnTo>
                    <a:pt x="5" y="15"/>
                  </a:lnTo>
                  <a:lnTo>
                    <a:pt x="2" y="22"/>
                  </a:lnTo>
                  <a:lnTo>
                    <a:pt x="0" y="28"/>
                  </a:lnTo>
                  <a:lnTo>
                    <a:pt x="0" y="34"/>
                  </a:lnTo>
                  <a:lnTo>
                    <a:pt x="0" y="34"/>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86" name="Freeform 592"/>
            <p:cNvSpPr>
              <a:spLocks/>
            </p:cNvSpPr>
            <p:nvPr/>
          </p:nvSpPr>
          <p:spPr bwMode="auto">
            <a:xfrm>
              <a:off x="2001870" y="3340122"/>
              <a:ext cx="20638" cy="20638"/>
            </a:xfrm>
            <a:custGeom>
              <a:avLst/>
              <a:gdLst>
                <a:gd name="T0" fmla="*/ 0 w 68"/>
                <a:gd name="T1" fmla="*/ 34 h 68"/>
                <a:gd name="T2" fmla="*/ 0 w 68"/>
                <a:gd name="T3" fmla="*/ 34 h 68"/>
                <a:gd name="T4" fmla="*/ 1 w 68"/>
                <a:gd name="T5" fmla="*/ 40 h 68"/>
                <a:gd name="T6" fmla="*/ 2 w 68"/>
                <a:gd name="T7" fmla="*/ 46 h 68"/>
                <a:gd name="T8" fmla="*/ 6 w 68"/>
                <a:gd name="T9" fmla="*/ 53 h 68"/>
                <a:gd name="T10" fmla="*/ 9 w 68"/>
                <a:gd name="T11" fmla="*/ 57 h 68"/>
                <a:gd name="T12" fmla="*/ 15 w 68"/>
                <a:gd name="T13" fmla="*/ 62 h 68"/>
                <a:gd name="T14" fmla="*/ 20 w 68"/>
                <a:gd name="T15" fmla="*/ 65 h 68"/>
                <a:gd name="T16" fmla="*/ 28 w 68"/>
                <a:gd name="T17" fmla="*/ 67 h 68"/>
                <a:gd name="T18" fmla="*/ 34 w 68"/>
                <a:gd name="T19" fmla="*/ 68 h 68"/>
                <a:gd name="T20" fmla="*/ 34 w 68"/>
                <a:gd name="T21" fmla="*/ 68 h 68"/>
                <a:gd name="T22" fmla="*/ 41 w 68"/>
                <a:gd name="T23" fmla="*/ 67 h 68"/>
                <a:gd name="T24" fmla="*/ 47 w 68"/>
                <a:gd name="T25" fmla="*/ 65 h 68"/>
                <a:gd name="T26" fmla="*/ 53 w 68"/>
                <a:gd name="T27" fmla="*/ 62 h 68"/>
                <a:gd name="T28" fmla="*/ 58 w 68"/>
                <a:gd name="T29" fmla="*/ 57 h 68"/>
                <a:gd name="T30" fmla="*/ 62 w 68"/>
                <a:gd name="T31" fmla="*/ 53 h 68"/>
                <a:gd name="T32" fmla="*/ 65 w 68"/>
                <a:gd name="T33" fmla="*/ 46 h 68"/>
                <a:gd name="T34" fmla="*/ 67 w 68"/>
                <a:gd name="T35" fmla="*/ 40 h 68"/>
                <a:gd name="T36" fmla="*/ 68 w 68"/>
                <a:gd name="T37" fmla="*/ 34 h 68"/>
                <a:gd name="T38" fmla="*/ 68 w 68"/>
                <a:gd name="T39" fmla="*/ 34 h 68"/>
                <a:gd name="T40" fmla="*/ 67 w 68"/>
                <a:gd name="T41" fmla="*/ 27 h 68"/>
                <a:gd name="T42" fmla="*/ 65 w 68"/>
                <a:gd name="T43" fmla="*/ 21 h 68"/>
                <a:gd name="T44" fmla="*/ 62 w 68"/>
                <a:gd name="T45" fmla="*/ 15 h 68"/>
                <a:gd name="T46" fmla="*/ 58 w 68"/>
                <a:gd name="T47" fmla="*/ 10 h 68"/>
                <a:gd name="T48" fmla="*/ 53 w 68"/>
                <a:gd name="T49" fmla="*/ 5 h 68"/>
                <a:gd name="T50" fmla="*/ 47 w 68"/>
                <a:gd name="T51" fmla="*/ 3 h 68"/>
                <a:gd name="T52" fmla="*/ 41 w 68"/>
                <a:gd name="T53" fmla="*/ 0 h 68"/>
                <a:gd name="T54" fmla="*/ 34 w 68"/>
                <a:gd name="T55" fmla="*/ 0 h 68"/>
                <a:gd name="T56" fmla="*/ 34 w 68"/>
                <a:gd name="T57" fmla="*/ 0 h 68"/>
                <a:gd name="T58" fmla="*/ 28 w 68"/>
                <a:gd name="T59" fmla="*/ 0 h 68"/>
                <a:gd name="T60" fmla="*/ 20 w 68"/>
                <a:gd name="T61" fmla="*/ 3 h 68"/>
                <a:gd name="T62" fmla="*/ 15 w 68"/>
                <a:gd name="T63" fmla="*/ 5 h 68"/>
                <a:gd name="T64" fmla="*/ 9 w 68"/>
                <a:gd name="T65" fmla="*/ 10 h 68"/>
                <a:gd name="T66" fmla="*/ 6 w 68"/>
                <a:gd name="T67" fmla="*/ 15 h 68"/>
                <a:gd name="T68" fmla="*/ 2 w 68"/>
                <a:gd name="T69" fmla="*/ 21 h 68"/>
                <a:gd name="T70" fmla="*/ 1 w 68"/>
                <a:gd name="T71" fmla="*/ 27 h 68"/>
                <a:gd name="T72" fmla="*/ 0 w 68"/>
                <a:gd name="T73" fmla="*/ 34 h 68"/>
                <a:gd name="T74" fmla="*/ 0 w 68"/>
                <a:gd name="T7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8" h="68">
                  <a:moveTo>
                    <a:pt x="0" y="34"/>
                  </a:moveTo>
                  <a:lnTo>
                    <a:pt x="0" y="34"/>
                  </a:lnTo>
                  <a:lnTo>
                    <a:pt x="1" y="40"/>
                  </a:lnTo>
                  <a:lnTo>
                    <a:pt x="2" y="46"/>
                  </a:lnTo>
                  <a:lnTo>
                    <a:pt x="6" y="53"/>
                  </a:lnTo>
                  <a:lnTo>
                    <a:pt x="9" y="57"/>
                  </a:lnTo>
                  <a:lnTo>
                    <a:pt x="15" y="62"/>
                  </a:lnTo>
                  <a:lnTo>
                    <a:pt x="20" y="65"/>
                  </a:lnTo>
                  <a:lnTo>
                    <a:pt x="28" y="67"/>
                  </a:lnTo>
                  <a:lnTo>
                    <a:pt x="34" y="68"/>
                  </a:lnTo>
                  <a:lnTo>
                    <a:pt x="34" y="68"/>
                  </a:lnTo>
                  <a:lnTo>
                    <a:pt x="41" y="67"/>
                  </a:lnTo>
                  <a:lnTo>
                    <a:pt x="47" y="65"/>
                  </a:lnTo>
                  <a:lnTo>
                    <a:pt x="53" y="62"/>
                  </a:lnTo>
                  <a:lnTo>
                    <a:pt x="58" y="57"/>
                  </a:lnTo>
                  <a:lnTo>
                    <a:pt x="62" y="53"/>
                  </a:lnTo>
                  <a:lnTo>
                    <a:pt x="65" y="46"/>
                  </a:lnTo>
                  <a:lnTo>
                    <a:pt x="67" y="40"/>
                  </a:lnTo>
                  <a:lnTo>
                    <a:pt x="68" y="34"/>
                  </a:lnTo>
                  <a:lnTo>
                    <a:pt x="68" y="34"/>
                  </a:lnTo>
                  <a:lnTo>
                    <a:pt x="67" y="27"/>
                  </a:lnTo>
                  <a:lnTo>
                    <a:pt x="65" y="21"/>
                  </a:lnTo>
                  <a:lnTo>
                    <a:pt x="62" y="15"/>
                  </a:lnTo>
                  <a:lnTo>
                    <a:pt x="58" y="10"/>
                  </a:lnTo>
                  <a:lnTo>
                    <a:pt x="53" y="5"/>
                  </a:lnTo>
                  <a:lnTo>
                    <a:pt x="47" y="3"/>
                  </a:lnTo>
                  <a:lnTo>
                    <a:pt x="41" y="0"/>
                  </a:lnTo>
                  <a:lnTo>
                    <a:pt x="34" y="0"/>
                  </a:lnTo>
                  <a:lnTo>
                    <a:pt x="34" y="0"/>
                  </a:lnTo>
                  <a:lnTo>
                    <a:pt x="28" y="0"/>
                  </a:lnTo>
                  <a:lnTo>
                    <a:pt x="20" y="3"/>
                  </a:lnTo>
                  <a:lnTo>
                    <a:pt x="15" y="5"/>
                  </a:lnTo>
                  <a:lnTo>
                    <a:pt x="9" y="10"/>
                  </a:lnTo>
                  <a:lnTo>
                    <a:pt x="6" y="15"/>
                  </a:lnTo>
                  <a:lnTo>
                    <a:pt x="2" y="21"/>
                  </a:lnTo>
                  <a:lnTo>
                    <a:pt x="1" y="27"/>
                  </a:lnTo>
                  <a:lnTo>
                    <a:pt x="0" y="34"/>
                  </a:lnTo>
                  <a:lnTo>
                    <a:pt x="0" y="34"/>
                  </a:lnTo>
                  <a:close/>
                </a:path>
              </a:pathLst>
            </a:custGeom>
            <a:solidFill>
              <a:srgbClr val="FF4F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87" name="Freeform 593"/>
            <p:cNvSpPr>
              <a:spLocks/>
            </p:cNvSpPr>
            <p:nvPr/>
          </p:nvSpPr>
          <p:spPr bwMode="auto">
            <a:xfrm>
              <a:off x="2130459" y="3459186"/>
              <a:ext cx="17463" cy="15875"/>
            </a:xfrm>
            <a:custGeom>
              <a:avLst/>
              <a:gdLst>
                <a:gd name="T0" fmla="*/ 0 w 52"/>
                <a:gd name="T1" fmla="*/ 25 h 51"/>
                <a:gd name="T2" fmla="*/ 0 w 52"/>
                <a:gd name="T3" fmla="*/ 25 h 51"/>
                <a:gd name="T4" fmla="*/ 1 w 52"/>
                <a:gd name="T5" fmla="*/ 30 h 51"/>
                <a:gd name="T6" fmla="*/ 2 w 52"/>
                <a:gd name="T7" fmla="*/ 35 h 51"/>
                <a:gd name="T8" fmla="*/ 5 w 52"/>
                <a:gd name="T9" fmla="*/ 40 h 51"/>
                <a:gd name="T10" fmla="*/ 7 w 52"/>
                <a:gd name="T11" fmla="*/ 44 h 51"/>
                <a:gd name="T12" fmla="*/ 12 w 52"/>
                <a:gd name="T13" fmla="*/ 47 h 51"/>
                <a:gd name="T14" fmla="*/ 16 w 52"/>
                <a:gd name="T15" fmla="*/ 50 h 51"/>
                <a:gd name="T16" fmla="*/ 21 w 52"/>
                <a:gd name="T17" fmla="*/ 51 h 51"/>
                <a:gd name="T18" fmla="*/ 26 w 52"/>
                <a:gd name="T19" fmla="*/ 51 h 51"/>
                <a:gd name="T20" fmla="*/ 26 w 52"/>
                <a:gd name="T21" fmla="*/ 51 h 51"/>
                <a:gd name="T22" fmla="*/ 32 w 52"/>
                <a:gd name="T23" fmla="*/ 51 h 51"/>
                <a:gd name="T24" fmla="*/ 37 w 52"/>
                <a:gd name="T25" fmla="*/ 50 h 51"/>
                <a:gd name="T26" fmla="*/ 40 w 52"/>
                <a:gd name="T27" fmla="*/ 47 h 51"/>
                <a:gd name="T28" fmla="*/ 45 w 52"/>
                <a:gd name="T29" fmla="*/ 44 h 51"/>
                <a:gd name="T30" fmla="*/ 48 w 52"/>
                <a:gd name="T31" fmla="*/ 40 h 51"/>
                <a:gd name="T32" fmla="*/ 50 w 52"/>
                <a:gd name="T33" fmla="*/ 35 h 51"/>
                <a:gd name="T34" fmla="*/ 51 w 52"/>
                <a:gd name="T35" fmla="*/ 30 h 51"/>
                <a:gd name="T36" fmla="*/ 52 w 52"/>
                <a:gd name="T37" fmla="*/ 25 h 51"/>
                <a:gd name="T38" fmla="*/ 52 w 52"/>
                <a:gd name="T39" fmla="*/ 25 h 51"/>
                <a:gd name="T40" fmla="*/ 51 w 52"/>
                <a:gd name="T41" fmla="*/ 20 h 51"/>
                <a:gd name="T42" fmla="*/ 50 w 52"/>
                <a:gd name="T43" fmla="*/ 15 h 51"/>
                <a:gd name="T44" fmla="*/ 48 w 52"/>
                <a:gd name="T45" fmla="*/ 11 h 51"/>
                <a:gd name="T46" fmla="*/ 45 w 52"/>
                <a:gd name="T47" fmla="*/ 7 h 51"/>
                <a:gd name="T48" fmla="*/ 40 w 52"/>
                <a:gd name="T49" fmla="*/ 3 h 51"/>
                <a:gd name="T50" fmla="*/ 37 w 52"/>
                <a:gd name="T51" fmla="*/ 1 h 51"/>
                <a:gd name="T52" fmla="*/ 32 w 52"/>
                <a:gd name="T53" fmla="*/ 0 h 51"/>
                <a:gd name="T54" fmla="*/ 26 w 52"/>
                <a:gd name="T55" fmla="*/ 0 h 51"/>
                <a:gd name="T56" fmla="*/ 26 w 52"/>
                <a:gd name="T57" fmla="*/ 0 h 51"/>
                <a:gd name="T58" fmla="*/ 21 w 52"/>
                <a:gd name="T59" fmla="*/ 0 h 51"/>
                <a:gd name="T60" fmla="*/ 16 w 52"/>
                <a:gd name="T61" fmla="*/ 1 h 51"/>
                <a:gd name="T62" fmla="*/ 12 w 52"/>
                <a:gd name="T63" fmla="*/ 3 h 51"/>
                <a:gd name="T64" fmla="*/ 7 w 52"/>
                <a:gd name="T65" fmla="*/ 7 h 51"/>
                <a:gd name="T66" fmla="*/ 5 w 52"/>
                <a:gd name="T67" fmla="*/ 11 h 51"/>
                <a:gd name="T68" fmla="*/ 2 w 52"/>
                <a:gd name="T69" fmla="*/ 15 h 51"/>
                <a:gd name="T70" fmla="*/ 1 w 52"/>
                <a:gd name="T71" fmla="*/ 20 h 51"/>
                <a:gd name="T72" fmla="*/ 0 w 52"/>
                <a:gd name="T73" fmla="*/ 25 h 51"/>
                <a:gd name="T74" fmla="*/ 0 w 52"/>
                <a:gd name="T75"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51">
                  <a:moveTo>
                    <a:pt x="0" y="25"/>
                  </a:moveTo>
                  <a:lnTo>
                    <a:pt x="0" y="25"/>
                  </a:lnTo>
                  <a:lnTo>
                    <a:pt x="1" y="30"/>
                  </a:lnTo>
                  <a:lnTo>
                    <a:pt x="2" y="35"/>
                  </a:lnTo>
                  <a:lnTo>
                    <a:pt x="5" y="40"/>
                  </a:lnTo>
                  <a:lnTo>
                    <a:pt x="7" y="44"/>
                  </a:lnTo>
                  <a:lnTo>
                    <a:pt x="12" y="47"/>
                  </a:lnTo>
                  <a:lnTo>
                    <a:pt x="16" y="50"/>
                  </a:lnTo>
                  <a:lnTo>
                    <a:pt x="21" y="51"/>
                  </a:lnTo>
                  <a:lnTo>
                    <a:pt x="26" y="51"/>
                  </a:lnTo>
                  <a:lnTo>
                    <a:pt x="26" y="51"/>
                  </a:lnTo>
                  <a:lnTo>
                    <a:pt x="32" y="51"/>
                  </a:lnTo>
                  <a:lnTo>
                    <a:pt x="37" y="50"/>
                  </a:lnTo>
                  <a:lnTo>
                    <a:pt x="40" y="47"/>
                  </a:lnTo>
                  <a:lnTo>
                    <a:pt x="45" y="44"/>
                  </a:lnTo>
                  <a:lnTo>
                    <a:pt x="48" y="40"/>
                  </a:lnTo>
                  <a:lnTo>
                    <a:pt x="50" y="35"/>
                  </a:lnTo>
                  <a:lnTo>
                    <a:pt x="51" y="30"/>
                  </a:lnTo>
                  <a:lnTo>
                    <a:pt x="52" y="25"/>
                  </a:lnTo>
                  <a:lnTo>
                    <a:pt x="52" y="25"/>
                  </a:lnTo>
                  <a:lnTo>
                    <a:pt x="51" y="20"/>
                  </a:lnTo>
                  <a:lnTo>
                    <a:pt x="50" y="15"/>
                  </a:lnTo>
                  <a:lnTo>
                    <a:pt x="48" y="11"/>
                  </a:lnTo>
                  <a:lnTo>
                    <a:pt x="45" y="7"/>
                  </a:lnTo>
                  <a:lnTo>
                    <a:pt x="40" y="3"/>
                  </a:lnTo>
                  <a:lnTo>
                    <a:pt x="37" y="1"/>
                  </a:lnTo>
                  <a:lnTo>
                    <a:pt x="32" y="0"/>
                  </a:lnTo>
                  <a:lnTo>
                    <a:pt x="26" y="0"/>
                  </a:lnTo>
                  <a:lnTo>
                    <a:pt x="26" y="0"/>
                  </a:lnTo>
                  <a:lnTo>
                    <a:pt x="21" y="0"/>
                  </a:lnTo>
                  <a:lnTo>
                    <a:pt x="16" y="1"/>
                  </a:lnTo>
                  <a:lnTo>
                    <a:pt x="12" y="3"/>
                  </a:lnTo>
                  <a:lnTo>
                    <a:pt x="7" y="7"/>
                  </a:lnTo>
                  <a:lnTo>
                    <a:pt x="5" y="11"/>
                  </a:lnTo>
                  <a:lnTo>
                    <a:pt x="2" y="15"/>
                  </a:lnTo>
                  <a:lnTo>
                    <a:pt x="1" y="20"/>
                  </a:lnTo>
                  <a:lnTo>
                    <a:pt x="0" y="25"/>
                  </a:lnTo>
                  <a:lnTo>
                    <a:pt x="0" y="25"/>
                  </a:lnTo>
                  <a:close/>
                </a:path>
              </a:pathLst>
            </a:custGeom>
            <a:solidFill>
              <a:srgbClr val="FF4F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88" name="Freeform 594"/>
            <p:cNvSpPr>
              <a:spLocks/>
            </p:cNvSpPr>
            <p:nvPr/>
          </p:nvSpPr>
          <p:spPr bwMode="auto">
            <a:xfrm>
              <a:off x="1897095" y="3168671"/>
              <a:ext cx="87313" cy="100013"/>
            </a:xfrm>
            <a:custGeom>
              <a:avLst/>
              <a:gdLst>
                <a:gd name="T0" fmla="*/ 5 w 272"/>
                <a:gd name="T1" fmla="*/ 2 h 317"/>
                <a:gd name="T2" fmla="*/ 5 w 272"/>
                <a:gd name="T3" fmla="*/ 2 h 317"/>
                <a:gd name="T4" fmla="*/ 2 w 272"/>
                <a:gd name="T5" fmla="*/ 7 h 317"/>
                <a:gd name="T6" fmla="*/ 0 w 272"/>
                <a:gd name="T7" fmla="*/ 12 h 317"/>
                <a:gd name="T8" fmla="*/ 1 w 272"/>
                <a:gd name="T9" fmla="*/ 17 h 317"/>
                <a:gd name="T10" fmla="*/ 4 w 272"/>
                <a:gd name="T11" fmla="*/ 22 h 317"/>
                <a:gd name="T12" fmla="*/ 247 w 272"/>
                <a:gd name="T13" fmla="*/ 312 h 317"/>
                <a:gd name="T14" fmla="*/ 247 w 272"/>
                <a:gd name="T15" fmla="*/ 312 h 317"/>
                <a:gd name="T16" fmla="*/ 252 w 272"/>
                <a:gd name="T17" fmla="*/ 316 h 317"/>
                <a:gd name="T18" fmla="*/ 257 w 272"/>
                <a:gd name="T19" fmla="*/ 317 h 317"/>
                <a:gd name="T20" fmla="*/ 262 w 272"/>
                <a:gd name="T21" fmla="*/ 317 h 317"/>
                <a:gd name="T22" fmla="*/ 267 w 272"/>
                <a:gd name="T23" fmla="*/ 314 h 317"/>
                <a:gd name="T24" fmla="*/ 267 w 272"/>
                <a:gd name="T25" fmla="*/ 314 h 317"/>
                <a:gd name="T26" fmla="*/ 270 w 272"/>
                <a:gd name="T27" fmla="*/ 310 h 317"/>
                <a:gd name="T28" fmla="*/ 272 w 272"/>
                <a:gd name="T29" fmla="*/ 305 h 317"/>
                <a:gd name="T30" fmla="*/ 272 w 272"/>
                <a:gd name="T31" fmla="*/ 300 h 317"/>
                <a:gd name="T32" fmla="*/ 268 w 272"/>
                <a:gd name="T33" fmla="*/ 295 h 317"/>
                <a:gd name="T34" fmla="*/ 24 w 272"/>
                <a:gd name="T35" fmla="*/ 5 h 317"/>
                <a:gd name="T36" fmla="*/ 24 w 272"/>
                <a:gd name="T37" fmla="*/ 5 h 317"/>
                <a:gd name="T38" fmla="*/ 21 w 272"/>
                <a:gd name="T39" fmla="*/ 1 h 317"/>
                <a:gd name="T40" fmla="*/ 16 w 272"/>
                <a:gd name="T41" fmla="*/ 0 h 317"/>
                <a:gd name="T42" fmla="*/ 10 w 272"/>
                <a:gd name="T43" fmla="*/ 0 h 317"/>
                <a:gd name="T44" fmla="*/ 5 w 272"/>
                <a:gd name="T45" fmla="*/ 2 h 317"/>
                <a:gd name="T46" fmla="*/ 5 w 272"/>
                <a:gd name="T47" fmla="*/ 2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2" h="317">
                  <a:moveTo>
                    <a:pt x="5" y="2"/>
                  </a:moveTo>
                  <a:lnTo>
                    <a:pt x="5" y="2"/>
                  </a:lnTo>
                  <a:lnTo>
                    <a:pt x="2" y="7"/>
                  </a:lnTo>
                  <a:lnTo>
                    <a:pt x="0" y="12"/>
                  </a:lnTo>
                  <a:lnTo>
                    <a:pt x="1" y="17"/>
                  </a:lnTo>
                  <a:lnTo>
                    <a:pt x="4" y="22"/>
                  </a:lnTo>
                  <a:lnTo>
                    <a:pt x="247" y="312"/>
                  </a:lnTo>
                  <a:lnTo>
                    <a:pt x="247" y="312"/>
                  </a:lnTo>
                  <a:lnTo>
                    <a:pt x="252" y="316"/>
                  </a:lnTo>
                  <a:lnTo>
                    <a:pt x="257" y="317"/>
                  </a:lnTo>
                  <a:lnTo>
                    <a:pt x="262" y="317"/>
                  </a:lnTo>
                  <a:lnTo>
                    <a:pt x="267" y="314"/>
                  </a:lnTo>
                  <a:lnTo>
                    <a:pt x="267" y="314"/>
                  </a:lnTo>
                  <a:lnTo>
                    <a:pt x="270" y="310"/>
                  </a:lnTo>
                  <a:lnTo>
                    <a:pt x="272" y="305"/>
                  </a:lnTo>
                  <a:lnTo>
                    <a:pt x="272" y="300"/>
                  </a:lnTo>
                  <a:lnTo>
                    <a:pt x="268" y="295"/>
                  </a:lnTo>
                  <a:lnTo>
                    <a:pt x="24" y="5"/>
                  </a:lnTo>
                  <a:lnTo>
                    <a:pt x="24" y="5"/>
                  </a:lnTo>
                  <a:lnTo>
                    <a:pt x="21" y="1"/>
                  </a:lnTo>
                  <a:lnTo>
                    <a:pt x="16" y="0"/>
                  </a:lnTo>
                  <a:lnTo>
                    <a:pt x="10" y="0"/>
                  </a:lnTo>
                  <a:lnTo>
                    <a:pt x="5" y="2"/>
                  </a:lnTo>
                  <a:lnTo>
                    <a:pt x="5" y="2"/>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89" name="Freeform 595"/>
            <p:cNvSpPr>
              <a:spLocks/>
            </p:cNvSpPr>
            <p:nvPr/>
          </p:nvSpPr>
          <p:spPr bwMode="auto">
            <a:xfrm>
              <a:off x="1905032" y="3246459"/>
              <a:ext cx="41275" cy="47625"/>
            </a:xfrm>
            <a:custGeom>
              <a:avLst/>
              <a:gdLst>
                <a:gd name="T0" fmla="*/ 5 w 131"/>
                <a:gd name="T1" fmla="*/ 3 h 150"/>
                <a:gd name="T2" fmla="*/ 5 w 131"/>
                <a:gd name="T3" fmla="*/ 3 h 150"/>
                <a:gd name="T4" fmla="*/ 1 w 131"/>
                <a:gd name="T5" fmla="*/ 8 h 150"/>
                <a:gd name="T6" fmla="*/ 0 w 131"/>
                <a:gd name="T7" fmla="*/ 13 h 150"/>
                <a:gd name="T8" fmla="*/ 1 w 131"/>
                <a:gd name="T9" fmla="*/ 17 h 150"/>
                <a:gd name="T10" fmla="*/ 3 w 131"/>
                <a:gd name="T11" fmla="*/ 22 h 150"/>
                <a:gd name="T12" fmla="*/ 107 w 131"/>
                <a:gd name="T13" fmla="*/ 145 h 150"/>
                <a:gd name="T14" fmla="*/ 107 w 131"/>
                <a:gd name="T15" fmla="*/ 145 h 150"/>
                <a:gd name="T16" fmla="*/ 111 w 131"/>
                <a:gd name="T17" fmla="*/ 149 h 150"/>
                <a:gd name="T18" fmla="*/ 116 w 131"/>
                <a:gd name="T19" fmla="*/ 150 h 150"/>
                <a:gd name="T20" fmla="*/ 122 w 131"/>
                <a:gd name="T21" fmla="*/ 150 h 150"/>
                <a:gd name="T22" fmla="*/ 127 w 131"/>
                <a:gd name="T23" fmla="*/ 148 h 150"/>
                <a:gd name="T24" fmla="*/ 127 w 131"/>
                <a:gd name="T25" fmla="*/ 148 h 150"/>
                <a:gd name="T26" fmla="*/ 129 w 131"/>
                <a:gd name="T27" fmla="*/ 143 h 150"/>
                <a:gd name="T28" fmla="*/ 131 w 131"/>
                <a:gd name="T29" fmla="*/ 138 h 150"/>
                <a:gd name="T30" fmla="*/ 130 w 131"/>
                <a:gd name="T31" fmla="*/ 133 h 150"/>
                <a:gd name="T32" fmla="*/ 128 w 131"/>
                <a:gd name="T33" fmla="*/ 128 h 150"/>
                <a:gd name="T34" fmla="*/ 24 w 131"/>
                <a:gd name="T35" fmla="*/ 5 h 150"/>
                <a:gd name="T36" fmla="*/ 24 w 131"/>
                <a:gd name="T37" fmla="*/ 5 h 150"/>
                <a:gd name="T38" fmla="*/ 21 w 131"/>
                <a:gd name="T39" fmla="*/ 2 h 150"/>
                <a:gd name="T40" fmla="*/ 14 w 131"/>
                <a:gd name="T41" fmla="*/ 0 h 150"/>
                <a:gd name="T42" fmla="*/ 10 w 131"/>
                <a:gd name="T43" fmla="*/ 0 h 150"/>
                <a:gd name="T44" fmla="*/ 5 w 131"/>
                <a:gd name="T45" fmla="*/ 3 h 150"/>
                <a:gd name="T46" fmla="*/ 5 w 131"/>
                <a:gd name="T47" fmla="*/ 3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1" h="150">
                  <a:moveTo>
                    <a:pt x="5" y="3"/>
                  </a:moveTo>
                  <a:lnTo>
                    <a:pt x="5" y="3"/>
                  </a:lnTo>
                  <a:lnTo>
                    <a:pt x="1" y="8"/>
                  </a:lnTo>
                  <a:lnTo>
                    <a:pt x="0" y="13"/>
                  </a:lnTo>
                  <a:lnTo>
                    <a:pt x="1" y="17"/>
                  </a:lnTo>
                  <a:lnTo>
                    <a:pt x="3" y="22"/>
                  </a:lnTo>
                  <a:lnTo>
                    <a:pt x="107" y="145"/>
                  </a:lnTo>
                  <a:lnTo>
                    <a:pt x="107" y="145"/>
                  </a:lnTo>
                  <a:lnTo>
                    <a:pt x="111" y="149"/>
                  </a:lnTo>
                  <a:lnTo>
                    <a:pt x="116" y="150"/>
                  </a:lnTo>
                  <a:lnTo>
                    <a:pt x="122" y="150"/>
                  </a:lnTo>
                  <a:lnTo>
                    <a:pt x="127" y="148"/>
                  </a:lnTo>
                  <a:lnTo>
                    <a:pt x="127" y="148"/>
                  </a:lnTo>
                  <a:lnTo>
                    <a:pt x="129" y="143"/>
                  </a:lnTo>
                  <a:lnTo>
                    <a:pt x="131" y="138"/>
                  </a:lnTo>
                  <a:lnTo>
                    <a:pt x="130" y="133"/>
                  </a:lnTo>
                  <a:lnTo>
                    <a:pt x="128" y="128"/>
                  </a:lnTo>
                  <a:lnTo>
                    <a:pt x="24" y="5"/>
                  </a:lnTo>
                  <a:lnTo>
                    <a:pt x="24" y="5"/>
                  </a:lnTo>
                  <a:lnTo>
                    <a:pt x="21" y="2"/>
                  </a:lnTo>
                  <a:lnTo>
                    <a:pt x="14" y="0"/>
                  </a:lnTo>
                  <a:lnTo>
                    <a:pt x="10" y="0"/>
                  </a:lnTo>
                  <a:lnTo>
                    <a:pt x="5" y="3"/>
                  </a:lnTo>
                  <a:lnTo>
                    <a:pt x="5" y="3"/>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90" name="Freeform 596"/>
            <p:cNvSpPr>
              <a:spLocks/>
            </p:cNvSpPr>
            <p:nvPr/>
          </p:nvSpPr>
          <p:spPr bwMode="auto">
            <a:xfrm>
              <a:off x="1973295" y="3187721"/>
              <a:ext cx="42863" cy="47625"/>
            </a:xfrm>
            <a:custGeom>
              <a:avLst/>
              <a:gdLst>
                <a:gd name="T0" fmla="*/ 5 w 132"/>
                <a:gd name="T1" fmla="*/ 4 h 151"/>
                <a:gd name="T2" fmla="*/ 5 w 132"/>
                <a:gd name="T3" fmla="*/ 4 h 151"/>
                <a:gd name="T4" fmla="*/ 2 w 132"/>
                <a:gd name="T5" fmla="*/ 8 h 151"/>
                <a:gd name="T6" fmla="*/ 0 w 132"/>
                <a:gd name="T7" fmla="*/ 12 h 151"/>
                <a:gd name="T8" fmla="*/ 1 w 132"/>
                <a:gd name="T9" fmla="*/ 19 h 151"/>
                <a:gd name="T10" fmla="*/ 4 w 132"/>
                <a:gd name="T11" fmla="*/ 23 h 151"/>
                <a:gd name="T12" fmla="*/ 107 w 132"/>
                <a:gd name="T13" fmla="*/ 147 h 151"/>
                <a:gd name="T14" fmla="*/ 107 w 132"/>
                <a:gd name="T15" fmla="*/ 147 h 151"/>
                <a:gd name="T16" fmla="*/ 112 w 132"/>
                <a:gd name="T17" fmla="*/ 150 h 151"/>
                <a:gd name="T18" fmla="*/ 117 w 132"/>
                <a:gd name="T19" fmla="*/ 151 h 151"/>
                <a:gd name="T20" fmla="*/ 122 w 132"/>
                <a:gd name="T21" fmla="*/ 150 h 151"/>
                <a:gd name="T22" fmla="*/ 127 w 132"/>
                <a:gd name="T23" fmla="*/ 148 h 151"/>
                <a:gd name="T24" fmla="*/ 127 w 132"/>
                <a:gd name="T25" fmla="*/ 148 h 151"/>
                <a:gd name="T26" fmla="*/ 130 w 132"/>
                <a:gd name="T27" fmla="*/ 144 h 151"/>
                <a:gd name="T28" fmla="*/ 132 w 132"/>
                <a:gd name="T29" fmla="*/ 138 h 151"/>
                <a:gd name="T30" fmla="*/ 130 w 132"/>
                <a:gd name="T31" fmla="*/ 133 h 151"/>
                <a:gd name="T32" fmla="*/ 128 w 132"/>
                <a:gd name="T33" fmla="*/ 128 h 151"/>
                <a:gd name="T34" fmla="*/ 24 w 132"/>
                <a:gd name="T35" fmla="*/ 5 h 151"/>
                <a:gd name="T36" fmla="*/ 24 w 132"/>
                <a:gd name="T37" fmla="*/ 5 h 151"/>
                <a:gd name="T38" fmla="*/ 21 w 132"/>
                <a:gd name="T39" fmla="*/ 2 h 151"/>
                <a:gd name="T40" fmla="*/ 16 w 132"/>
                <a:gd name="T41" fmla="*/ 0 h 151"/>
                <a:gd name="T42" fmla="*/ 10 w 132"/>
                <a:gd name="T43" fmla="*/ 0 h 151"/>
                <a:gd name="T44" fmla="*/ 5 w 132"/>
                <a:gd name="T45" fmla="*/ 4 h 151"/>
                <a:gd name="T46" fmla="*/ 5 w 132"/>
                <a:gd name="T47" fmla="*/ 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51">
                  <a:moveTo>
                    <a:pt x="5" y="4"/>
                  </a:moveTo>
                  <a:lnTo>
                    <a:pt x="5" y="4"/>
                  </a:lnTo>
                  <a:lnTo>
                    <a:pt x="2" y="8"/>
                  </a:lnTo>
                  <a:lnTo>
                    <a:pt x="0" y="12"/>
                  </a:lnTo>
                  <a:lnTo>
                    <a:pt x="1" y="19"/>
                  </a:lnTo>
                  <a:lnTo>
                    <a:pt x="4" y="23"/>
                  </a:lnTo>
                  <a:lnTo>
                    <a:pt x="107" y="147"/>
                  </a:lnTo>
                  <a:lnTo>
                    <a:pt x="107" y="147"/>
                  </a:lnTo>
                  <a:lnTo>
                    <a:pt x="112" y="150"/>
                  </a:lnTo>
                  <a:lnTo>
                    <a:pt x="117" y="151"/>
                  </a:lnTo>
                  <a:lnTo>
                    <a:pt x="122" y="150"/>
                  </a:lnTo>
                  <a:lnTo>
                    <a:pt x="127" y="148"/>
                  </a:lnTo>
                  <a:lnTo>
                    <a:pt x="127" y="148"/>
                  </a:lnTo>
                  <a:lnTo>
                    <a:pt x="130" y="144"/>
                  </a:lnTo>
                  <a:lnTo>
                    <a:pt x="132" y="138"/>
                  </a:lnTo>
                  <a:lnTo>
                    <a:pt x="130" y="133"/>
                  </a:lnTo>
                  <a:lnTo>
                    <a:pt x="128" y="128"/>
                  </a:lnTo>
                  <a:lnTo>
                    <a:pt x="24" y="5"/>
                  </a:lnTo>
                  <a:lnTo>
                    <a:pt x="24" y="5"/>
                  </a:lnTo>
                  <a:lnTo>
                    <a:pt x="21" y="2"/>
                  </a:lnTo>
                  <a:lnTo>
                    <a:pt x="16" y="0"/>
                  </a:lnTo>
                  <a:lnTo>
                    <a:pt x="10" y="0"/>
                  </a:lnTo>
                  <a:lnTo>
                    <a:pt x="5" y="4"/>
                  </a:lnTo>
                  <a:lnTo>
                    <a:pt x="5" y="4"/>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191" name="그룹 190"/>
          <p:cNvGrpSpPr/>
          <p:nvPr userDrawn="1"/>
        </p:nvGrpSpPr>
        <p:grpSpPr>
          <a:xfrm>
            <a:off x="10522689" y="449995"/>
            <a:ext cx="795713" cy="1581535"/>
            <a:chOff x="8540251" y="316402"/>
            <a:chExt cx="596785" cy="1112017"/>
          </a:xfrm>
        </p:grpSpPr>
        <p:sp>
          <p:nvSpPr>
            <p:cNvPr id="192" name="타원 191"/>
            <p:cNvSpPr/>
            <p:nvPr/>
          </p:nvSpPr>
          <p:spPr>
            <a:xfrm>
              <a:off x="8540251" y="571984"/>
              <a:ext cx="596785" cy="596785"/>
            </a:xfrm>
            <a:prstGeom prst="ellipse">
              <a:avLst/>
            </a:prstGeom>
            <a:solidFill>
              <a:srgbClr val="299C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nvGrpSpPr>
            <p:cNvPr id="193" name="그룹 192"/>
            <p:cNvGrpSpPr/>
            <p:nvPr/>
          </p:nvGrpSpPr>
          <p:grpSpPr>
            <a:xfrm>
              <a:off x="8542615" y="316402"/>
              <a:ext cx="594421" cy="1112017"/>
              <a:chOff x="1928845" y="4791111"/>
              <a:chExt cx="233364" cy="436567"/>
            </a:xfrm>
          </p:grpSpPr>
          <p:sp>
            <p:nvSpPr>
              <p:cNvPr id="194" name="Freeform 877"/>
              <p:cNvSpPr>
                <a:spLocks/>
              </p:cNvSpPr>
              <p:nvPr/>
            </p:nvSpPr>
            <p:spPr bwMode="auto">
              <a:xfrm>
                <a:off x="1928845" y="4891125"/>
                <a:ext cx="136526" cy="198439"/>
              </a:xfrm>
              <a:custGeom>
                <a:avLst/>
                <a:gdLst>
                  <a:gd name="T0" fmla="*/ 181 w 430"/>
                  <a:gd name="T1" fmla="*/ 276 h 626"/>
                  <a:gd name="T2" fmla="*/ 186 w 430"/>
                  <a:gd name="T3" fmla="*/ 224 h 626"/>
                  <a:gd name="T4" fmla="*/ 201 w 430"/>
                  <a:gd name="T5" fmla="*/ 175 h 626"/>
                  <a:gd name="T6" fmla="*/ 224 w 430"/>
                  <a:gd name="T7" fmla="*/ 131 h 626"/>
                  <a:gd name="T8" fmla="*/ 253 w 430"/>
                  <a:gd name="T9" fmla="*/ 92 h 626"/>
                  <a:gd name="T10" fmla="*/ 291 w 430"/>
                  <a:gd name="T11" fmla="*/ 59 h 626"/>
                  <a:gd name="T12" fmla="*/ 332 w 430"/>
                  <a:gd name="T13" fmla="*/ 33 h 626"/>
                  <a:gd name="T14" fmla="*/ 380 w 430"/>
                  <a:gd name="T15" fmla="*/ 15 h 626"/>
                  <a:gd name="T16" fmla="*/ 430 w 430"/>
                  <a:gd name="T17" fmla="*/ 7 h 626"/>
                  <a:gd name="T18" fmla="*/ 398 w 430"/>
                  <a:gd name="T19" fmla="*/ 3 h 626"/>
                  <a:gd name="T20" fmla="*/ 367 w 430"/>
                  <a:gd name="T21" fmla="*/ 0 h 626"/>
                  <a:gd name="T22" fmla="*/ 347 w 430"/>
                  <a:gd name="T23" fmla="*/ 2 h 626"/>
                  <a:gd name="T24" fmla="*/ 310 w 430"/>
                  <a:gd name="T25" fmla="*/ 5 h 626"/>
                  <a:gd name="T26" fmla="*/ 274 w 430"/>
                  <a:gd name="T27" fmla="*/ 13 h 626"/>
                  <a:gd name="T28" fmla="*/ 240 w 430"/>
                  <a:gd name="T29" fmla="*/ 22 h 626"/>
                  <a:gd name="T30" fmla="*/ 207 w 430"/>
                  <a:gd name="T31" fmla="*/ 37 h 626"/>
                  <a:gd name="T32" fmla="*/ 176 w 430"/>
                  <a:gd name="T33" fmla="*/ 54 h 626"/>
                  <a:gd name="T34" fmla="*/ 147 w 430"/>
                  <a:gd name="T35" fmla="*/ 74 h 626"/>
                  <a:gd name="T36" fmla="*/ 119 w 430"/>
                  <a:gd name="T37" fmla="*/ 96 h 626"/>
                  <a:gd name="T38" fmla="*/ 95 w 430"/>
                  <a:gd name="T39" fmla="*/ 121 h 626"/>
                  <a:gd name="T40" fmla="*/ 73 w 430"/>
                  <a:gd name="T41" fmla="*/ 148 h 626"/>
                  <a:gd name="T42" fmla="*/ 53 w 430"/>
                  <a:gd name="T43" fmla="*/ 177 h 626"/>
                  <a:gd name="T44" fmla="*/ 36 w 430"/>
                  <a:gd name="T45" fmla="*/ 208 h 626"/>
                  <a:gd name="T46" fmla="*/ 22 w 430"/>
                  <a:gd name="T47" fmla="*/ 241 h 626"/>
                  <a:gd name="T48" fmla="*/ 11 w 430"/>
                  <a:gd name="T49" fmla="*/ 276 h 626"/>
                  <a:gd name="T50" fmla="*/ 3 w 430"/>
                  <a:gd name="T51" fmla="*/ 311 h 626"/>
                  <a:gd name="T52" fmla="*/ 0 w 430"/>
                  <a:gd name="T53" fmla="*/ 348 h 626"/>
                  <a:gd name="T54" fmla="*/ 0 w 430"/>
                  <a:gd name="T55" fmla="*/ 367 h 626"/>
                  <a:gd name="T56" fmla="*/ 2 w 430"/>
                  <a:gd name="T57" fmla="*/ 404 h 626"/>
                  <a:gd name="T58" fmla="*/ 7 w 430"/>
                  <a:gd name="T59" fmla="*/ 441 h 626"/>
                  <a:gd name="T60" fmla="*/ 15 w 430"/>
                  <a:gd name="T61" fmla="*/ 476 h 626"/>
                  <a:gd name="T62" fmla="*/ 28 w 430"/>
                  <a:gd name="T63" fmla="*/ 509 h 626"/>
                  <a:gd name="T64" fmla="*/ 43 w 430"/>
                  <a:gd name="T65" fmla="*/ 541 h 626"/>
                  <a:gd name="T66" fmla="*/ 62 w 430"/>
                  <a:gd name="T67" fmla="*/ 571 h 626"/>
                  <a:gd name="T68" fmla="*/ 82 w 430"/>
                  <a:gd name="T69" fmla="*/ 599 h 626"/>
                  <a:gd name="T70" fmla="*/ 106 w 430"/>
                  <a:gd name="T71" fmla="*/ 626 h 626"/>
                  <a:gd name="T72" fmla="*/ 263 w 430"/>
                  <a:gd name="T73" fmla="*/ 469 h 626"/>
                  <a:gd name="T74" fmla="*/ 229 w 430"/>
                  <a:gd name="T75" fmla="*/ 428 h 626"/>
                  <a:gd name="T76" fmla="*/ 203 w 430"/>
                  <a:gd name="T77" fmla="*/ 382 h 626"/>
                  <a:gd name="T78" fmla="*/ 187 w 430"/>
                  <a:gd name="T79" fmla="*/ 331 h 626"/>
                  <a:gd name="T80" fmla="*/ 181 w 430"/>
                  <a:gd name="T81" fmla="*/ 276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30" h="626">
                    <a:moveTo>
                      <a:pt x="181" y="276"/>
                    </a:moveTo>
                    <a:lnTo>
                      <a:pt x="181" y="276"/>
                    </a:lnTo>
                    <a:lnTo>
                      <a:pt x="182" y="249"/>
                    </a:lnTo>
                    <a:lnTo>
                      <a:pt x="186" y="224"/>
                    </a:lnTo>
                    <a:lnTo>
                      <a:pt x="192" y="199"/>
                    </a:lnTo>
                    <a:lnTo>
                      <a:pt x="201" y="175"/>
                    </a:lnTo>
                    <a:lnTo>
                      <a:pt x="211" y="153"/>
                    </a:lnTo>
                    <a:lnTo>
                      <a:pt x="224" y="131"/>
                    </a:lnTo>
                    <a:lnTo>
                      <a:pt x="237" y="111"/>
                    </a:lnTo>
                    <a:lnTo>
                      <a:pt x="253" y="92"/>
                    </a:lnTo>
                    <a:lnTo>
                      <a:pt x="271" y="75"/>
                    </a:lnTo>
                    <a:lnTo>
                      <a:pt x="291" y="59"/>
                    </a:lnTo>
                    <a:lnTo>
                      <a:pt x="310" y="46"/>
                    </a:lnTo>
                    <a:lnTo>
                      <a:pt x="332" y="33"/>
                    </a:lnTo>
                    <a:lnTo>
                      <a:pt x="356" y="24"/>
                    </a:lnTo>
                    <a:lnTo>
                      <a:pt x="380" y="15"/>
                    </a:lnTo>
                    <a:lnTo>
                      <a:pt x="404" y="10"/>
                    </a:lnTo>
                    <a:lnTo>
                      <a:pt x="430" y="7"/>
                    </a:lnTo>
                    <a:lnTo>
                      <a:pt x="430" y="7"/>
                    </a:lnTo>
                    <a:lnTo>
                      <a:pt x="398" y="3"/>
                    </a:lnTo>
                    <a:lnTo>
                      <a:pt x="382" y="2"/>
                    </a:lnTo>
                    <a:lnTo>
                      <a:pt x="367" y="0"/>
                    </a:lnTo>
                    <a:lnTo>
                      <a:pt x="367" y="0"/>
                    </a:lnTo>
                    <a:lnTo>
                      <a:pt x="347" y="2"/>
                    </a:lnTo>
                    <a:lnTo>
                      <a:pt x="329" y="3"/>
                    </a:lnTo>
                    <a:lnTo>
                      <a:pt x="310" y="5"/>
                    </a:lnTo>
                    <a:lnTo>
                      <a:pt x="292" y="8"/>
                    </a:lnTo>
                    <a:lnTo>
                      <a:pt x="274" y="13"/>
                    </a:lnTo>
                    <a:lnTo>
                      <a:pt x="257" y="18"/>
                    </a:lnTo>
                    <a:lnTo>
                      <a:pt x="240" y="22"/>
                    </a:lnTo>
                    <a:lnTo>
                      <a:pt x="224" y="30"/>
                    </a:lnTo>
                    <a:lnTo>
                      <a:pt x="207" y="37"/>
                    </a:lnTo>
                    <a:lnTo>
                      <a:pt x="191" y="44"/>
                    </a:lnTo>
                    <a:lnTo>
                      <a:pt x="176" y="54"/>
                    </a:lnTo>
                    <a:lnTo>
                      <a:pt x="162" y="64"/>
                    </a:lnTo>
                    <a:lnTo>
                      <a:pt x="147" y="74"/>
                    </a:lnTo>
                    <a:lnTo>
                      <a:pt x="132" y="85"/>
                    </a:lnTo>
                    <a:lnTo>
                      <a:pt x="119" y="96"/>
                    </a:lnTo>
                    <a:lnTo>
                      <a:pt x="107" y="108"/>
                    </a:lnTo>
                    <a:lnTo>
                      <a:pt x="95" y="121"/>
                    </a:lnTo>
                    <a:lnTo>
                      <a:pt x="84" y="135"/>
                    </a:lnTo>
                    <a:lnTo>
                      <a:pt x="73" y="148"/>
                    </a:lnTo>
                    <a:lnTo>
                      <a:pt x="62" y="163"/>
                    </a:lnTo>
                    <a:lnTo>
                      <a:pt x="53" y="177"/>
                    </a:lnTo>
                    <a:lnTo>
                      <a:pt x="43" y="193"/>
                    </a:lnTo>
                    <a:lnTo>
                      <a:pt x="36" y="208"/>
                    </a:lnTo>
                    <a:lnTo>
                      <a:pt x="29" y="225"/>
                    </a:lnTo>
                    <a:lnTo>
                      <a:pt x="22" y="241"/>
                    </a:lnTo>
                    <a:lnTo>
                      <a:pt x="17" y="258"/>
                    </a:lnTo>
                    <a:lnTo>
                      <a:pt x="11" y="276"/>
                    </a:lnTo>
                    <a:lnTo>
                      <a:pt x="7" y="293"/>
                    </a:lnTo>
                    <a:lnTo>
                      <a:pt x="3" y="311"/>
                    </a:lnTo>
                    <a:lnTo>
                      <a:pt x="2" y="330"/>
                    </a:lnTo>
                    <a:lnTo>
                      <a:pt x="0" y="348"/>
                    </a:lnTo>
                    <a:lnTo>
                      <a:pt x="0" y="367"/>
                    </a:lnTo>
                    <a:lnTo>
                      <a:pt x="0" y="367"/>
                    </a:lnTo>
                    <a:lnTo>
                      <a:pt x="0" y="386"/>
                    </a:lnTo>
                    <a:lnTo>
                      <a:pt x="2" y="404"/>
                    </a:lnTo>
                    <a:lnTo>
                      <a:pt x="3" y="422"/>
                    </a:lnTo>
                    <a:lnTo>
                      <a:pt x="7" y="441"/>
                    </a:lnTo>
                    <a:lnTo>
                      <a:pt x="11" y="459"/>
                    </a:lnTo>
                    <a:lnTo>
                      <a:pt x="15" y="476"/>
                    </a:lnTo>
                    <a:lnTo>
                      <a:pt x="22" y="493"/>
                    </a:lnTo>
                    <a:lnTo>
                      <a:pt x="28" y="509"/>
                    </a:lnTo>
                    <a:lnTo>
                      <a:pt x="35" y="526"/>
                    </a:lnTo>
                    <a:lnTo>
                      <a:pt x="43" y="541"/>
                    </a:lnTo>
                    <a:lnTo>
                      <a:pt x="52" y="556"/>
                    </a:lnTo>
                    <a:lnTo>
                      <a:pt x="62" y="571"/>
                    </a:lnTo>
                    <a:lnTo>
                      <a:pt x="72" y="586"/>
                    </a:lnTo>
                    <a:lnTo>
                      <a:pt x="82" y="599"/>
                    </a:lnTo>
                    <a:lnTo>
                      <a:pt x="95" y="612"/>
                    </a:lnTo>
                    <a:lnTo>
                      <a:pt x="106" y="626"/>
                    </a:lnTo>
                    <a:lnTo>
                      <a:pt x="263" y="469"/>
                    </a:lnTo>
                    <a:lnTo>
                      <a:pt x="263" y="469"/>
                    </a:lnTo>
                    <a:lnTo>
                      <a:pt x="245" y="449"/>
                    </a:lnTo>
                    <a:lnTo>
                      <a:pt x="229" y="428"/>
                    </a:lnTo>
                    <a:lnTo>
                      <a:pt x="215" y="406"/>
                    </a:lnTo>
                    <a:lnTo>
                      <a:pt x="203" y="382"/>
                    </a:lnTo>
                    <a:lnTo>
                      <a:pt x="193" y="358"/>
                    </a:lnTo>
                    <a:lnTo>
                      <a:pt x="187" y="331"/>
                    </a:lnTo>
                    <a:lnTo>
                      <a:pt x="182" y="304"/>
                    </a:lnTo>
                    <a:lnTo>
                      <a:pt x="181" y="276"/>
                    </a:lnTo>
                    <a:close/>
                  </a:path>
                </a:pathLst>
              </a:custGeom>
              <a:solidFill>
                <a:srgbClr val="299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95" name="Freeform 878"/>
              <p:cNvSpPr>
                <a:spLocks/>
              </p:cNvSpPr>
              <p:nvPr/>
            </p:nvSpPr>
            <p:spPr bwMode="auto">
              <a:xfrm>
                <a:off x="1928845" y="4891125"/>
                <a:ext cx="136526" cy="198439"/>
              </a:xfrm>
              <a:custGeom>
                <a:avLst/>
                <a:gdLst>
                  <a:gd name="T0" fmla="*/ 181 w 430"/>
                  <a:gd name="T1" fmla="*/ 276 h 626"/>
                  <a:gd name="T2" fmla="*/ 186 w 430"/>
                  <a:gd name="T3" fmla="*/ 224 h 626"/>
                  <a:gd name="T4" fmla="*/ 201 w 430"/>
                  <a:gd name="T5" fmla="*/ 175 h 626"/>
                  <a:gd name="T6" fmla="*/ 224 w 430"/>
                  <a:gd name="T7" fmla="*/ 131 h 626"/>
                  <a:gd name="T8" fmla="*/ 253 w 430"/>
                  <a:gd name="T9" fmla="*/ 92 h 626"/>
                  <a:gd name="T10" fmla="*/ 291 w 430"/>
                  <a:gd name="T11" fmla="*/ 59 h 626"/>
                  <a:gd name="T12" fmla="*/ 332 w 430"/>
                  <a:gd name="T13" fmla="*/ 33 h 626"/>
                  <a:gd name="T14" fmla="*/ 380 w 430"/>
                  <a:gd name="T15" fmla="*/ 15 h 626"/>
                  <a:gd name="T16" fmla="*/ 430 w 430"/>
                  <a:gd name="T17" fmla="*/ 7 h 626"/>
                  <a:gd name="T18" fmla="*/ 398 w 430"/>
                  <a:gd name="T19" fmla="*/ 3 h 626"/>
                  <a:gd name="T20" fmla="*/ 367 w 430"/>
                  <a:gd name="T21" fmla="*/ 0 h 626"/>
                  <a:gd name="T22" fmla="*/ 347 w 430"/>
                  <a:gd name="T23" fmla="*/ 2 h 626"/>
                  <a:gd name="T24" fmla="*/ 310 w 430"/>
                  <a:gd name="T25" fmla="*/ 5 h 626"/>
                  <a:gd name="T26" fmla="*/ 274 w 430"/>
                  <a:gd name="T27" fmla="*/ 13 h 626"/>
                  <a:gd name="T28" fmla="*/ 240 w 430"/>
                  <a:gd name="T29" fmla="*/ 22 h 626"/>
                  <a:gd name="T30" fmla="*/ 207 w 430"/>
                  <a:gd name="T31" fmla="*/ 37 h 626"/>
                  <a:gd name="T32" fmla="*/ 176 w 430"/>
                  <a:gd name="T33" fmla="*/ 54 h 626"/>
                  <a:gd name="T34" fmla="*/ 147 w 430"/>
                  <a:gd name="T35" fmla="*/ 74 h 626"/>
                  <a:gd name="T36" fmla="*/ 119 w 430"/>
                  <a:gd name="T37" fmla="*/ 96 h 626"/>
                  <a:gd name="T38" fmla="*/ 95 w 430"/>
                  <a:gd name="T39" fmla="*/ 121 h 626"/>
                  <a:gd name="T40" fmla="*/ 73 w 430"/>
                  <a:gd name="T41" fmla="*/ 148 h 626"/>
                  <a:gd name="T42" fmla="*/ 53 w 430"/>
                  <a:gd name="T43" fmla="*/ 177 h 626"/>
                  <a:gd name="T44" fmla="*/ 36 w 430"/>
                  <a:gd name="T45" fmla="*/ 208 h 626"/>
                  <a:gd name="T46" fmla="*/ 22 w 430"/>
                  <a:gd name="T47" fmla="*/ 241 h 626"/>
                  <a:gd name="T48" fmla="*/ 11 w 430"/>
                  <a:gd name="T49" fmla="*/ 276 h 626"/>
                  <a:gd name="T50" fmla="*/ 3 w 430"/>
                  <a:gd name="T51" fmla="*/ 311 h 626"/>
                  <a:gd name="T52" fmla="*/ 0 w 430"/>
                  <a:gd name="T53" fmla="*/ 348 h 626"/>
                  <a:gd name="T54" fmla="*/ 0 w 430"/>
                  <a:gd name="T55" fmla="*/ 367 h 626"/>
                  <a:gd name="T56" fmla="*/ 2 w 430"/>
                  <a:gd name="T57" fmla="*/ 404 h 626"/>
                  <a:gd name="T58" fmla="*/ 7 w 430"/>
                  <a:gd name="T59" fmla="*/ 441 h 626"/>
                  <a:gd name="T60" fmla="*/ 15 w 430"/>
                  <a:gd name="T61" fmla="*/ 476 h 626"/>
                  <a:gd name="T62" fmla="*/ 28 w 430"/>
                  <a:gd name="T63" fmla="*/ 509 h 626"/>
                  <a:gd name="T64" fmla="*/ 43 w 430"/>
                  <a:gd name="T65" fmla="*/ 541 h 626"/>
                  <a:gd name="T66" fmla="*/ 62 w 430"/>
                  <a:gd name="T67" fmla="*/ 571 h 626"/>
                  <a:gd name="T68" fmla="*/ 82 w 430"/>
                  <a:gd name="T69" fmla="*/ 599 h 626"/>
                  <a:gd name="T70" fmla="*/ 106 w 430"/>
                  <a:gd name="T71" fmla="*/ 626 h 626"/>
                  <a:gd name="T72" fmla="*/ 263 w 430"/>
                  <a:gd name="T73" fmla="*/ 469 h 626"/>
                  <a:gd name="T74" fmla="*/ 229 w 430"/>
                  <a:gd name="T75" fmla="*/ 428 h 626"/>
                  <a:gd name="T76" fmla="*/ 203 w 430"/>
                  <a:gd name="T77" fmla="*/ 382 h 626"/>
                  <a:gd name="T78" fmla="*/ 187 w 430"/>
                  <a:gd name="T79" fmla="*/ 331 h 626"/>
                  <a:gd name="T80" fmla="*/ 181 w 430"/>
                  <a:gd name="T81" fmla="*/ 276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30" h="626">
                    <a:moveTo>
                      <a:pt x="181" y="276"/>
                    </a:moveTo>
                    <a:lnTo>
                      <a:pt x="181" y="276"/>
                    </a:lnTo>
                    <a:lnTo>
                      <a:pt x="182" y="249"/>
                    </a:lnTo>
                    <a:lnTo>
                      <a:pt x="186" y="224"/>
                    </a:lnTo>
                    <a:lnTo>
                      <a:pt x="192" y="199"/>
                    </a:lnTo>
                    <a:lnTo>
                      <a:pt x="201" y="175"/>
                    </a:lnTo>
                    <a:lnTo>
                      <a:pt x="211" y="153"/>
                    </a:lnTo>
                    <a:lnTo>
                      <a:pt x="224" y="131"/>
                    </a:lnTo>
                    <a:lnTo>
                      <a:pt x="237" y="111"/>
                    </a:lnTo>
                    <a:lnTo>
                      <a:pt x="253" y="92"/>
                    </a:lnTo>
                    <a:lnTo>
                      <a:pt x="271" y="75"/>
                    </a:lnTo>
                    <a:lnTo>
                      <a:pt x="291" y="59"/>
                    </a:lnTo>
                    <a:lnTo>
                      <a:pt x="310" y="46"/>
                    </a:lnTo>
                    <a:lnTo>
                      <a:pt x="332" y="33"/>
                    </a:lnTo>
                    <a:lnTo>
                      <a:pt x="356" y="24"/>
                    </a:lnTo>
                    <a:lnTo>
                      <a:pt x="380" y="15"/>
                    </a:lnTo>
                    <a:lnTo>
                      <a:pt x="404" y="10"/>
                    </a:lnTo>
                    <a:lnTo>
                      <a:pt x="430" y="7"/>
                    </a:lnTo>
                    <a:lnTo>
                      <a:pt x="430" y="7"/>
                    </a:lnTo>
                    <a:lnTo>
                      <a:pt x="398" y="3"/>
                    </a:lnTo>
                    <a:lnTo>
                      <a:pt x="382" y="2"/>
                    </a:lnTo>
                    <a:lnTo>
                      <a:pt x="367" y="0"/>
                    </a:lnTo>
                    <a:lnTo>
                      <a:pt x="367" y="0"/>
                    </a:lnTo>
                    <a:lnTo>
                      <a:pt x="347" y="2"/>
                    </a:lnTo>
                    <a:lnTo>
                      <a:pt x="329" y="3"/>
                    </a:lnTo>
                    <a:lnTo>
                      <a:pt x="310" y="5"/>
                    </a:lnTo>
                    <a:lnTo>
                      <a:pt x="292" y="8"/>
                    </a:lnTo>
                    <a:lnTo>
                      <a:pt x="274" y="13"/>
                    </a:lnTo>
                    <a:lnTo>
                      <a:pt x="257" y="18"/>
                    </a:lnTo>
                    <a:lnTo>
                      <a:pt x="240" y="22"/>
                    </a:lnTo>
                    <a:lnTo>
                      <a:pt x="224" y="30"/>
                    </a:lnTo>
                    <a:lnTo>
                      <a:pt x="207" y="37"/>
                    </a:lnTo>
                    <a:lnTo>
                      <a:pt x="191" y="44"/>
                    </a:lnTo>
                    <a:lnTo>
                      <a:pt x="176" y="54"/>
                    </a:lnTo>
                    <a:lnTo>
                      <a:pt x="162" y="64"/>
                    </a:lnTo>
                    <a:lnTo>
                      <a:pt x="147" y="74"/>
                    </a:lnTo>
                    <a:lnTo>
                      <a:pt x="132" y="85"/>
                    </a:lnTo>
                    <a:lnTo>
                      <a:pt x="119" y="96"/>
                    </a:lnTo>
                    <a:lnTo>
                      <a:pt x="107" y="108"/>
                    </a:lnTo>
                    <a:lnTo>
                      <a:pt x="95" y="121"/>
                    </a:lnTo>
                    <a:lnTo>
                      <a:pt x="84" y="135"/>
                    </a:lnTo>
                    <a:lnTo>
                      <a:pt x="73" y="148"/>
                    </a:lnTo>
                    <a:lnTo>
                      <a:pt x="62" y="163"/>
                    </a:lnTo>
                    <a:lnTo>
                      <a:pt x="53" y="177"/>
                    </a:lnTo>
                    <a:lnTo>
                      <a:pt x="43" y="193"/>
                    </a:lnTo>
                    <a:lnTo>
                      <a:pt x="36" y="208"/>
                    </a:lnTo>
                    <a:lnTo>
                      <a:pt x="29" y="225"/>
                    </a:lnTo>
                    <a:lnTo>
                      <a:pt x="22" y="241"/>
                    </a:lnTo>
                    <a:lnTo>
                      <a:pt x="17" y="258"/>
                    </a:lnTo>
                    <a:lnTo>
                      <a:pt x="11" y="276"/>
                    </a:lnTo>
                    <a:lnTo>
                      <a:pt x="7" y="293"/>
                    </a:lnTo>
                    <a:lnTo>
                      <a:pt x="3" y="311"/>
                    </a:lnTo>
                    <a:lnTo>
                      <a:pt x="2" y="330"/>
                    </a:lnTo>
                    <a:lnTo>
                      <a:pt x="0" y="348"/>
                    </a:lnTo>
                    <a:lnTo>
                      <a:pt x="0" y="367"/>
                    </a:lnTo>
                    <a:lnTo>
                      <a:pt x="0" y="367"/>
                    </a:lnTo>
                    <a:lnTo>
                      <a:pt x="0" y="386"/>
                    </a:lnTo>
                    <a:lnTo>
                      <a:pt x="2" y="404"/>
                    </a:lnTo>
                    <a:lnTo>
                      <a:pt x="3" y="422"/>
                    </a:lnTo>
                    <a:lnTo>
                      <a:pt x="7" y="441"/>
                    </a:lnTo>
                    <a:lnTo>
                      <a:pt x="11" y="459"/>
                    </a:lnTo>
                    <a:lnTo>
                      <a:pt x="15" y="476"/>
                    </a:lnTo>
                    <a:lnTo>
                      <a:pt x="22" y="493"/>
                    </a:lnTo>
                    <a:lnTo>
                      <a:pt x="28" y="509"/>
                    </a:lnTo>
                    <a:lnTo>
                      <a:pt x="35" y="526"/>
                    </a:lnTo>
                    <a:lnTo>
                      <a:pt x="43" y="541"/>
                    </a:lnTo>
                    <a:lnTo>
                      <a:pt x="52" y="556"/>
                    </a:lnTo>
                    <a:lnTo>
                      <a:pt x="62" y="571"/>
                    </a:lnTo>
                    <a:lnTo>
                      <a:pt x="72" y="586"/>
                    </a:lnTo>
                    <a:lnTo>
                      <a:pt x="82" y="599"/>
                    </a:lnTo>
                    <a:lnTo>
                      <a:pt x="95" y="612"/>
                    </a:lnTo>
                    <a:lnTo>
                      <a:pt x="106" y="626"/>
                    </a:lnTo>
                    <a:lnTo>
                      <a:pt x="263" y="469"/>
                    </a:lnTo>
                    <a:lnTo>
                      <a:pt x="263" y="469"/>
                    </a:lnTo>
                    <a:lnTo>
                      <a:pt x="245" y="449"/>
                    </a:lnTo>
                    <a:lnTo>
                      <a:pt x="229" y="428"/>
                    </a:lnTo>
                    <a:lnTo>
                      <a:pt x="215" y="406"/>
                    </a:lnTo>
                    <a:lnTo>
                      <a:pt x="203" y="382"/>
                    </a:lnTo>
                    <a:lnTo>
                      <a:pt x="193" y="358"/>
                    </a:lnTo>
                    <a:lnTo>
                      <a:pt x="187" y="331"/>
                    </a:lnTo>
                    <a:lnTo>
                      <a:pt x="182" y="304"/>
                    </a:lnTo>
                    <a:lnTo>
                      <a:pt x="181" y="27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96" name="Freeform 879"/>
              <p:cNvSpPr>
                <a:spLocks/>
              </p:cNvSpPr>
              <p:nvPr/>
            </p:nvSpPr>
            <p:spPr bwMode="auto">
              <a:xfrm>
                <a:off x="1985996" y="4894300"/>
                <a:ext cx="141289" cy="146051"/>
              </a:xfrm>
              <a:custGeom>
                <a:avLst/>
                <a:gdLst>
                  <a:gd name="T0" fmla="*/ 0 w 443"/>
                  <a:gd name="T1" fmla="*/ 269 h 462"/>
                  <a:gd name="T2" fmla="*/ 0 w 443"/>
                  <a:gd name="T3" fmla="*/ 269 h 462"/>
                  <a:gd name="T4" fmla="*/ 1 w 443"/>
                  <a:gd name="T5" fmla="*/ 297 h 462"/>
                  <a:gd name="T6" fmla="*/ 6 w 443"/>
                  <a:gd name="T7" fmla="*/ 324 h 462"/>
                  <a:gd name="T8" fmla="*/ 12 w 443"/>
                  <a:gd name="T9" fmla="*/ 351 h 462"/>
                  <a:gd name="T10" fmla="*/ 22 w 443"/>
                  <a:gd name="T11" fmla="*/ 375 h 462"/>
                  <a:gd name="T12" fmla="*/ 34 w 443"/>
                  <a:gd name="T13" fmla="*/ 399 h 462"/>
                  <a:gd name="T14" fmla="*/ 48 w 443"/>
                  <a:gd name="T15" fmla="*/ 421 h 462"/>
                  <a:gd name="T16" fmla="*/ 64 w 443"/>
                  <a:gd name="T17" fmla="*/ 442 h 462"/>
                  <a:gd name="T18" fmla="*/ 82 w 443"/>
                  <a:gd name="T19" fmla="*/ 462 h 462"/>
                  <a:gd name="T20" fmla="*/ 443 w 443"/>
                  <a:gd name="T21" fmla="*/ 101 h 462"/>
                  <a:gd name="T22" fmla="*/ 443 w 443"/>
                  <a:gd name="T23" fmla="*/ 101 h 462"/>
                  <a:gd name="T24" fmla="*/ 435 w 443"/>
                  <a:gd name="T25" fmla="*/ 93 h 462"/>
                  <a:gd name="T26" fmla="*/ 435 w 443"/>
                  <a:gd name="T27" fmla="*/ 93 h 462"/>
                  <a:gd name="T28" fmla="*/ 435 w 443"/>
                  <a:gd name="T29" fmla="*/ 93 h 462"/>
                  <a:gd name="T30" fmla="*/ 421 w 443"/>
                  <a:gd name="T31" fmla="*/ 80 h 462"/>
                  <a:gd name="T32" fmla="*/ 406 w 443"/>
                  <a:gd name="T33" fmla="*/ 69 h 462"/>
                  <a:gd name="T34" fmla="*/ 392 w 443"/>
                  <a:gd name="T35" fmla="*/ 58 h 462"/>
                  <a:gd name="T36" fmla="*/ 376 w 443"/>
                  <a:gd name="T37" fmla="*/ 47 h 462"/>
                  <a:gd name="T38" fmla="*/ 376 w 443"/>
                  <a:gd name="T39" fmla="*/ 47 h 462"/>
                  <a:gd name="T40" fmla="*/ 372 w 443"/>
                  <a:gd name="T41" fmla="*/ 45 h 462"/>
                  <a:gd name="T42" fmla="*/ 372 w 443"/>
                  <a:gd name="T43" fmla="*/ 45 h 462"/>
                  <a:gd name="T44" fmla="*/ 350 w 443"/>
                  <a:gd name="T45" fmla="*/ 34 h 462"/>
                  <a:gd name="T46" fmla="*/ 350 w 443"/>
                  <a:gd name="T47" fmla="*/ 34 h 462"/>
                  <a:gd name="T48" fmla="*/ 350 w 443"/>
                  <a:gd name="T49" fmla="*/ 34 h 462"/>
                  <a:gd name="T50" fmla="*/ 333 w 443"/>
                  <a:gd name="T51" fmla="*/ 25 h 462"/>
                  <a:gd name="T52" fmla="*/ 315 w 443"/>
                  <a:gd name="T53" fmla="*/ 18 h 462"/>
                  <a:gd name="T54" fmla="*/ 296 w 443"/>
                  <a:gd name="T55" fmla="*/ 12 h 462"/>
                  <a:gd name="T56" fmla="*/ 278 w 443"/>
                  <a:gd name="T57" fmla="*/ 6 h 462"/>
                  <a:gd name="T58" fmla="*/ 278 w 443"/>
                  <a:gd name="T59" fmla="*/ 6 h 462"/>
                  <a:gd name="T60" fmla="*/ 273 w 443"/>
                  <a:gd name="T61" fmla="*/ 4 h 462"/>
                  <a:gd name="T62" fmla="*/ 273 w 443"/>
                  <a:gd name="T63" fmla="*/ 4 h 462"/>
                  <a:gd name="T64" fmla="*/ 249 w 443"/>
                  <a:gd name="T65" fmla="*/ 0 h 462"/>
                  <a:gd name="T66" fmla="*/ 249 w 443"/>
                  <a:gd name="T67" fmla="*/ 0 h 462"/>
                  <a:gd name="T68" fmla="*/ 223 w 443"/>
                  <a:gd name="T69" fmla="*/ 3 h 462"/>
                  <a:gd name="T70" fmla="*/ 199 w 443"/>
                  <a:gd name="T71" fmla="*/ 8 h 462"/>
                  <a:gd name="T72" fmla="*/ 175 w 443"/>
                  <a:gd name="T73" fmla="*/ 17 h 462"/>
                  <a:gd name="T74" fmla="*/ 151 w 443"/>
                  <a:gd name="T75" fmla="*/ 26 h 462"/>
                  <a:gd name="T76" fmla="*/ 129 w 443"/>
                  <a:gd name="T77" fmla="*/ 39 h 462"/>
                  <a:gd name="T78" fmla="*/ 110 w 443"/>
                  <a:gd name="T79" fmla="*/ 52 h 462"/>
                  <a:gd name="T80" fmla="*/ 90 w 443"/>
                  <a:gd name="T81" fmla="*/ 68 h 462"/>
                  <a:gd name="T82" fmla="*/ 72 w 443"/>
                  <a:gd name="T83" fmla="*/ 85 h 462"/>
                  <a:gd name="T84" fmla="*/ 56 w 443"/>
                  <a:gd name="T85" fmla="*/ 104 h 462"/>
                  <a:gd name="T86" fmla="*/ 43 w 443"/>
                  <a:gd name="T87" fmla="*/ 124 h 462"/>
                  <a:gd name="T88" fmla="*/ 30 w 443"/>
                  <a:gd name="T89" fmla="*/ 146 h 462"/>
                  <a:gd name="T90" fmla="*/ 20 w 443"/>
                  <a:gd name="T91" fmla="*/ 168 h 462"/>
                  <a:gd name="T92" fmla="*/ 11 w 443"/>
                  <a:gd name="T93" fmla="*/ 192 h 462"/>
                  <a:gd name="T94" fmla="*/ 5 w 443"/>
                  <a:gd name="T95" fmla="*/ 217 h 462"/>
                  <a:gd name="T96" fmla="*/ 1 w 443"/>
                  <a:gd name="T97" fmla="*/ 242 h 462"/>
                  <a:gd name="T98" fmla="*/ 0 w 443"/>
                  <a:gd name="T99" fmla="*/ 269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3" h="462">
                    <a:moveTo>
                      <a:pt x="0" y="269"/>
                    </a:moveTo>
                    <a:lnTo>
                      <a:pt x="0" y="269"/>
                    </a:lnTo>
                    <a:lnTo>
                      <a:pt x="1" y="297"/>
                    </a:lnTo>
                    <a:lnTo>
                      <a:pt x="6" y="324"/>
                    </a:lnTo>
                    <a:lnTo>
                      <a:pt x="12" y="351"/>
                    </a:lnTo>
                    <a:lnTo>
                      <a:pt x="22" y="375"/>
                    </a:lnTo>
                    <a:lnTo>
                      <a:pt x="34" y="399"/>
                    </a:lnTo>
                    <a:lnTo>
                      <a:pt x="48" y="421"/>
                    </a:lnTo>
                    <a:lnTo>
                      <a:pt x="64" y="442"/>
                    </a:lnTo>
                    <a:lnTo>
                      <a:pt x="82" y="462"/>
                    </a:lnTo>
                    <a:lnTo>
                      <a:pt x="443" y="101"/>
                    </a:lnTo>
                    <a:lnTo>
                      <a:pt x="443" y="101"/>
                    </a:lnTo>
                    <a:lnTo>
                      <a:pt x="435" y="93"/>
                    </a:lnTo>
                    <a:lnTo>
                      <a:pt x="435" y="93"/>
                    </a:lnTo>
                    <a:lnTo>
                      <a:pt x="435" y="93"/>
                    </a:lnTo>
                    <a:lnTo>
                      <a:pt x="421" y="80"/>
                    </a:lnTo>
                    <a:lnTo>
                      <a:pt x="406" y="69"/>
                    </a:lnTo>
                    <a:lnTo>
                      <a:pt x="392" y="58"/>
                    </a:lnTo>
                    <a:lnTo>
                      <a:pt x="376" y="47"/>
                    </a:lnTo>
                    <a:lnTo>
                      <a:pt x="376" y="47"/>
                    </a:lnTo>
                    <a:lnTo>
                      <a:pt x="372" y="45"/>
                    </a:lnTo>
                    <a:lnTo>
                      <a:pt x="372" y="45"/>
                    </a:lnTo>
                    <a:lnTo>
                      <a:pt x="350" y="34"/>
                    </a:lnTo>
                    <a:lnTo>
                      <a:pt x="350" y="34"/>
                    </a:lnTo>
                    <a:lnTo>
                      <a:pt x="350" y="34"/>
                    </a:lnTo>
                    <a:lnTo>
                      <a:pt x="333" y="25"/>
                    </a:lnTo>
                    <a:lnTo>
                      <a:pt x="315" y="18"/>
                    </a:lnTo>
                    <a:lnTo>
                      <a:pt x="296" y="12"/>
                    </a:lnTo>
                    <a:lnTo>
                      <a:pt x="278" y="6"/>
                    </a:lnTo>
                    <a:lnTo>
                      <a:pt x="278" y="6"/>
                    </a:lnTo>
                    <a:lnTo>
                      <a:pt x="273" y="4"/>
                    </a:lnTo>
                    <a:lnTo>
                      <a:pt x="273" y="4"/>
                    </a:lnTo>
                    <a:lnTo>
                      <a:pt x="249" y="0"/>
                    </a:lnTo>
                    <a:lnTo>
                      <a:pt x="249" y="0"/>
                    </a:lnTo>
                    <a:lnTo>
                      <a:pt x="223" y="3"/>
                    </a:lnTo>
                    <a:lnTo>
                      <a:pt x="199" y="8"/>
                    </a:lnTo>
                    <a:lnTo>
                      <a:pt x="175" y="17"/>
                    </a:lnTo>
                    <a:lnTo>
                      <a:pt x="151" y="26"/>
                    </a:lnTo>
                    <a:lnTo>
                      <a:pt x="129" y="39"/>
                    </a:lnTo>
                    <a:lnTo>
                      <a:pt x="110" y="52"/>
                    </a:lnTo>
                    <a:lnTo>
                      <a:pt x="90" y="68"/>
                    </a:lnTo>
                    <a:lnTo>
                      <a:pt x="72" y="85"/>
                    </a:lnTo>
                    <a:lnTo>
                      <a:pt x="56" y="104"/>
                    </a:lnTo>
                    <a:lnTo>
                      <a:pt x="43" y="124"/>
                    </a:lnTo>
                    <a:lnTo>
                      <a:pt x="30" y="146"/>
                    </a:lnTo>
                    <a:lnTo>
                      <a:pt x="20" y="168"/>
                    </a:lnTo>
                    <a:lnTo>
                      <a:pt x="11" y="192"/>
                    </a:lnTo>
                    <a:lnTo>
                      <a:pt x="5" y="217"/>
                    </a:lnTo>
                    <a:lnTo>
                      <a:pt x="1" y="242"/>
                    </a:lnTo>
                    <a:lnTo>
                      <a:pt x="0" y="269"/>
                    </a:lnTo>
                    <a:close/>
                  </a:path>
                </a:pathLst>
              </a:custGeom>
              <a:solidFill>
                <a:srgbClr val="43CE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97" name="Freeform 880"/>
              <p:cNvSpPr>
                <a:spLocks/>
              </p:cNvSpPr>
              <p:nvPr/>
            </p:nvSpPr>
            <p:spPr bwMode="auto">
              <a:xfrm>
                <a:off x="1985996" y="4894300"/>
                <a:ext cx="141289" cy="146051"/>
              </a:xfrm>
              <a:custGeom>
                <a:avLst/>
                <a:gdLst>
                  <a:gd name="T0" fmla="*/ 0 w 443"/>
                  <a:gd name="T1" fmla="*/ 269 h 462"/>
                  <a:gd name="T2" fmla="*/ 0 w 443"/>
                  <a:gd name="T3" fmla="*/ 269 h 462"/>
                  <a:gd name="T4" fmla="*/ 1 w 443"/>
                  <a:gd name="T5" fmla="*/ 297 h 462"/>
                  <a:gd name="T6" fmla="*/ 6 w 443"/>
                  <a:gd name="T7" fmla="*/ 324 h 462"/>
                  <a:gd name="T8" fmla="*/ 12 w 443"/>
                  <a:gd name="T9" fmla="*/ 351 h 462"/>
                  <a:gd name="T10" fmla="*/ 22 w 443"/>
                  <a:gd name="T11" fmla="*/ 375 h 462"/>
                  <a:gd name="T12" fmla="*/ 34 w 443"/>
                  <a:gd name="T13" fmla="*/ 399 h 462"/>
                  <a:gd name="T14" fmla="*/ 48 w 443"/>
                  <a:gd name="T15" fmla="*/ 421 h 462"/>
                  <a:gd name="T16" fmla="*/ 64 w 443"/>
                  <a:gd name="T17" fmla="*/ 442 h 462"/>
                  <a:gd name="T18" fmla="*/ 82 w 443"/>
                  <a:gd name="T19" fmla="*/ 462 h 462"/>
                  <a:gd name="T20" fmla="*/ 443 w 443"/>
                  <a:gd name="T21" fmla="*/ 101 h 462"/>
                  <a:gd name="T22" fmla="*/ 443 w 443"/>
                  <a:gd name="T23" fmla="*/ 101 h 462"/>
                  <a:gd name="T24" fmla="*/ 435 w 443"/>
                  <a:gd name="T25" fmla="*/ 93 h 462"/>
                  <a:gd name="T26" fmla="*/ 435 w 443"/>
                  <a:gd name="T27" fmla="*/ 93 h 462"/>
                  <a:gd name="T28" fmla="*/ 435 w 443"/>
                  <a:gd name="T29" fmla="*/ 93 h 462"/>
                  <a:gd name="T30" fmla="*/ 421 w 443"/>
                  <a:gd name="T31" fmla="*/ 80 h 462"/>
                  <a:gd name="T32" fmla="*/ 406 w 443"/>
                  <a:gd name="T33" fmla="*/ 69 h 462"/>
                  <a:gd name="T34" fmla="*/ 392 w 443"/>
                  <a:gd name="T35" fmla="*/ 58 h 462"/>
                  <a:gd name="T36" fmla="*/ 376 w 443"/>
                  <a:gd name="T37" fmla="*/ 47 h 462"/>
                  <a:gd name="T38" fmla="*/ 376 w 443"/>
                  <a:gd name="T39" fmla="*/ 47 h 462"/>
                  <a:gd name="T40" fmla="*/ 372 w 443"/>
                  <a:gd name="T41" fmla="*/ 45 h 462"/>
                  <a:gd name="T42" fmla="*/ 372 w 443"/>
                  <a:gd name="T43" fmla="*/ 45 h 462"/>
                  <a:gd name="T44" fmla="*/ 350 w 443"/>
                  <a:gd name="T45" fmla="*/ 34 h 462"/>
                  <a:gd name="T46" fmla="*/ 350 w 443"/>
                  <a:gd name="T47" fmla="*/ 34 h 462"/>
                  <a:gd name="T48" fmla="*/ 350 w 443"/>
                  <a:gd name="T49" fmla="*/ 34 h 462"/>
                  <a:gd name="T50" fmla="*/ 333 w 443"/>
                  <a:gd name="T51" fmla="*/ 25 h 462"/>
                  <a:gd name="T52" fmla="*/ 315 w 443"/>
                  <a:gd name="T53" fmla="*/ 18 h 462"/>
                  <a:gd name="T54" fmla="*/ 296 w 443"/>
                  <a:gd name="T55" fmla="*/ 12 h 462"/>
                  <a:gd name="T56" fmla="*/ 278 w 443"/>
                  <a:gd name="T57" fmla="*/ 6 h 462"/>
                  <a:gd name="T58" fmla="*/ 278 w 443"/>
                  <a:gd name="T59" fmla="*/ 6 h 462"/>
                  <a:gd name="T60" fmla="*/ 273 w 443"/>
                  <a:gd name="T61" fmla="*/ 4 h 462"/>
                  <a:gd name="T62" fmla="*/ 273 w 443"/>
                  <a:gd name="T63" fmla="*/ 4 h 462"/>
                  <a:gd name="T64" fmla="*/ 249 w 443"/>
                  <a:gd name="T65" fmla="*/ 0 h 462"/>
                  <a:gd name="T66" fmla="*/ 249 w 443"/>
                  <a:gd name="T67" fmla="*/ 0 h 462"/>
                  <a:gd name="T68" fmla="*/ 223 w 443"/>
                  <a:gd name="T69" fmla="*/ 3 h 462"/>
                  <a:gd name="T70" fmla="*/ 199 w 443"/>
                  <a:gd name="T71" fmla="*/ 8 h 462"/>
                  <a:gd name="T72" fmla="*/ 175 w 443"/>
                  <a:gd name="T73" fmla="*/ 17 h 462"/>
                  <a:gd name="T74" fmla="*/ 151 w 443"/>
                  <a:gd name="T75" fmla="*/ 26 h 462"/>
                  <a:gd name="T76" fmla="*/ 129 w 443"/>
                  <a:gd name="T77" fmla="*/ 39 h 462"/>
                  <a:gd name="T78" fmla="*/ 110 w 443"/>
                  <a:gd name="T79" fmla="*/ 52 h 462"/>
                  <a:gd name="T80" fmla="*/ 90 w 443"/>
                  <a:gd name="T81" fmla="*/ 68 h 462"/>
                  <a:gd name="T82" fmla="*/ 72 w 443"/>
                  <a:gd name="T83" fmla="*/ 85 h 462"/>
                  <a:gd name="T84" fmla="*/ 56 w 443"/>
                  <a:gd name="T85" fmla="*/ 104 h 462"/>
                  <a:gd name="T86" fmla="*/ 43 w 443"/>
                  <a:gd name="T87" fmla="*/ 124 h 462"/>
                  <a:gd name="T88" fmla="*/ 30 w 443"/>
                  <a:gd name="T89" fmla="*/ 146 h 462"/>
                  <a:gd name="T90" fmla="*/ 20 w 443"/>
                  <a:gd name="T91" fmla="*/ 168 h 462"/>
                  <a:gd name="T92" fmla="*/ 11 w 443"/>
                  <a:gd name="T93" fmla="*/ 192 h 462"/>
                  <a:gd name="T94" fmla="*/ 5 w 443"/>
                  <a:gd name="T95" fmla="*/ 217 h 462"/>
                  <a:gd name="T96" fmla="*/ 1 w 443"/>
                  <a:gd name="T97" fmla="*/ 242 h 462"/>
                  <a:gd name="T98" fmla="*/ 0 w 443"/>
                  <a:gd name="T99" fmla="*/ 269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3" h="462">
                    <a:moveTo>
                      <a:pt x="0" y="269"/>
                    </a:moveTo>
                    <a:lnTo>
                      <a:pt x="0" y="269"/>
                    </a:lnTo>
                    <a:lnTo>
                      <a:pt x="1" y="297"/>
                    </a:lnTo>
                    <a:lnTo>
                      <a:pt x="6" y="324"/>
                    </a:lnTo>
                    <a:lnTo>
                      <a:pt x="12" y="351"/>
                    </a:lnTo>
                    <a:lnTo>
                      <a:pt x="22" y="375"/>
                    </a:lnTo>
                    <a:lnTo>
                      <a:pt x="34" y="399"/>
                    </a:lnTo>
                    <a:lnTo>
                      <a:pt x="48" y="421"/>
                    </a:lnTo>
                    <a:lnTo>
                      <a:pt x="64" y="442"/>
                    </a:lnTo>
                    <a:lnTo>
                      <a:pt x="82" y="462"/>
                    </a:lnTo>
                    <a:lnTo>
                      <a:pt x="443" y="101"/>
                    </a:lnTo>
                    <a:lnTo>
                      <a:pt x="443" y="101"/>
                    </a:lnTo>
                    <a:lnTo>
                      <a:pt x="435" y="93"/>
                    </a:lnTo>
                    <a:lnTo>
                      <a:pt x="435" y="93"/>
                    </a:lnTo>
                    <a:lnTo>
                      <a:pt x="435" y="93"/>
                    </a:lnTo>
                    <a:lnTo>
                      <a:pt x="421" y="80"/>
                    </a:lnTo>
                    <a:lnTo>
                      <a:pt x="406" y="69"/>
                    </a:lnTo>
                    <a:lnTo>
                      <a:pt x="392" y="58"/>
                    </a:lnTo>
                    <a:lnTo>
                      <a:pt x="376" y="47"/>
                    </a:lnTo>
                    <a:lnTo>
                      <a:pt x="376" y="47"/>
                    </a:lnTo>
                    <a:lnTo>
                      <a:pt x="372" y="45"/>
                    </a:lnTo>
                    <a:lnTo>
                      <a:pt x="372" y="45"/>
                    </a:lnTo>
                    <a:lnTo>
                      <a:pt x="350" y="34"/>
                    </a:lnTo>
                    <a:lnTo>
                      <a:pt x="350" y="34"/>
                    </a:lnTo>
                    <a:lnTo>
                      <a:pt x="350" y="34"/>
                    </a:lnTo>
                    <a:lnTo>
                      <a:pt x="333" y="25"/>
                    </a:lnTo>
                    <a:lnTo>
                      <a:pt x="315" y="18"/>
                    </a:lnTo>
                    <a:lnTo>
                      <a:pt x="296" y="12"/>
                    </a:lnTo>
                    <a:lnTo>
                      <a:pt x="278" y="6"/>
                    </a:lnTo>
                    <a:lnTo>
                      <a:pt x="278" y="6"/>
                    </a:lnTo>
                    <a:lnTo>
                      <a:pt x="273" y="4"/>
                    </a:lnTo>
                    <a:lnTo>
                      <a:pt x="273" y="4"/>
                    </a:lnTo>
                    <a:lnTo>
                      <a:pt x="249" y="0"/>
                    </a:lnTo>
                    <a:lnTo>
                      <a:pt x="249" y="0"/>
                    </a:lnTo>
                    <a:lnTo>
                      <a:pt x="223" y="3"/>
                    </a:lnTo>
                    <a:lnTo>
                      <a:pt x="199" y="8"/>
                    </a:lnTo>
                    <a:lnTo>
                      <a:pt x="175" y="17"/>
                    </a:lnTo>
                    <a:lnTo>
                      <a:pt x="151" y="26"/>
                    </a:lnTo>
                    <a:lnTo>
                      <a:pt x="129" y="39"/>
                    </a:lnTo>
                    <a:lnTo>
                      <a:pt x="110" y="52"/>
                    </a:lnTo>
                    <a:lnTo>
                      <a:pt x="90" y="68"/>
                    </a:lnTo>
                    <a:lnTo>
                      <a:pt x="72" y="85"/>
                    </a:lnTo>
                    <a:lnTo>
                      <a:pt x="56" y="104"/>
                    </a:lnTo>
                    <a:lnTo>
                      <a:pt x="43" y="124"/>
                    </a:lnTo>
                    <a:lnTo>
                      <a:pt x="30" y="146"/>
                    </a:lnTo>
                    <a:lnTo>
                      <a:pt x="20" y="168"/>
                    </a:lnTo>
                    <a:lnTo>
                      <a:pt x="11" y="192"/>
                    </a:lnTo>
                    <a:lnTo>
                      <a:pt x="5" y="217"/>
                    </a:lnTo>
                    <a:lnTo>
                      <a:pt x="1" y="242"/>
                    </a:lnTo>
                    <a:lnTo>
                      <a:pt x="0" y="2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98" name="Freeform 881"/>
              <p:cNvSpPr>
                <a:spLocks/>
              </p:cNvSpPr>
              <p:nvPr/>
            </p:nvSpPr>
            <p:spPr bwMode="auto">
              <a:xfrm>
                <a:off x="1962183" y="4980026"/>
                <a:ext cx="200026" cy="144464"/>
              </a:xfrm>
              <a:custGeom>
                <a:avLst/>
                <a:gdLst>
                  <a:gd name="T0" fmla="*/ 261 w 626"/>
                  <a:gd name="T1" fmla="*/ 453 h 453"/>
                  <a:gd name="T2" fmla="*/ 297 w 626"/>
                  <a:gd name="T3" fmla="*/ 452 h 453"/>
                  <a:gd name="T4" fmla="*/ 334 w 626"/>
                  <a:gd name="T5" fmla="*/ 446 h 453"/>
                  <a:gd name="T6" fmla="*/ 369 w 626"/>
                  <a:gd name="T7" fmla="*/ 437 h 453"/>
                  <a:gd name="T8" fmla="*/ 403 w 626"/>
                  <a:gd name="T9" fmla="*/ 425 h 453"/>
                  <a:gd name="T10" fmla="*/ 435 w 626"/>
                  <a:gd name="T11" fmla="*/ 409 h 453"/>
                  <a:gd name="T12" fmla="*/ 465 w 626"/>
                  <a:gd name="T13" fmla="*/ 391 h 453"/>
                  <a:gd name="T14" fmla="*/ 493 w 626"/>
                  <a:gd name="T15" fmla="*/ 370 h 453"/>
                  <a:gd name="T16" fmla="*/ 519 w 626"/>
                  <a:gd name="T17" fmla="*/ 346 h 453"/>
                  <a:gd name="T18" fmla="*/ 542 w 626"/>
                  <a:gd name="T19" fmla="*/ 320 h 453"/>
                  <a:gd name="T20" fmla="*/ 564 w 626"/>
                  <a:gd name="T21" fmla="*/ 292 h 453"/>
                  <a:gd name="T22" fmla="*/ 582 w 626"/>
                  <a:gd name="T23" fmla="*/ 262 h 453"/>
                  <a:gd name="T24" fmla="*/ 597 w 626"/>
                  <a:gd name="T25" fmla="*/ 230 h 453"/>
                  <a:gd name="T26" fmla="*/ 610 w 626"/>
                  <a:gd name="T27" fmla="*/ 196 h 453"/>
                  <a:gd name="T28" fmla="*/ 619 w 626"/>
                  <a:gd name="T29" fmla="*/ 161 h 453"/>
                  <a:gd name="T30" fmla="*/ 625 w 626"/>
                  <a:gd name="T31" fmla="*/ 124 h 453"/>
                  <a:gd name="T32" fmla="*/ 626 w 626"/>
                  <a:gd name="T33" fmla="*/ 87 h 453"/>
                  <a:gd name="T34" fmla="*/ 625 w 626"/>
                  <a:gd name="T35" fmla="*/ 64 h 453"/>
                  <a:gd name="T36" fmla="*/ 620 w 626"/>
                  <a:gd name="T37" fmla="*/ 20 h 453"/>
                  <a:gd name="T38" fmla="*/ 615 w 626"/>
                  <a:gd name="T39" fmla="*/ 0 h 453"/>
                  <a:gd name="T40" fmla="*/ 609 w 626"/>
                  <a:gd name="T41" fmla="*/ 53 h 453"/>
                  <a:gd name="T42" fmla="*/ 593 w 626"/>
                  <a:gd name="T43" fmla="*/ 103 h 453"/>
                  <a:gd name="T44" fmla="*/ 568 w 626"/>
                  <a:gd name="T45" fmla="*/ 148 h 453"/>
                  <a:gd name="T46" fmla="*/ 535 w 626"/>
                  <a:gd name="T47" fmla="*/ 187 h 453"/>
                  <a:gd name="T48" fmla="*/ 496 w 626"/>
                  <a:gd name="T49" fmla="*/ 220 h 453"/>
                  <a:gd name="T50" fmla="*/ 450 w 626"/>
                  <a:gd name="T51" fmla="*/ 245 h 453"/>
                  <a:gd name="T52" fmla="*/ 400 w 626"/>
                  <a:gd name="T53" fmla="*/ 261 h 453"/>
                  <a:gd name="T54" fmla="*/ 346 w 626"/>
                  <a:gd name="T55" fmla="*/ 265 h 453"/>
                  <a:gd name="T56" fmla="*/ 318 w 626"/>
                  <a:gd name="T57" fmla="*/ 264 h 453"/>
                  <a:gd name="T58" fmla="*/ 267 w 626"/>
                  <a:gd name="T59" fmla="*/ 254 h 453"/>
                  <a:gd name="T60" fmla="*/ 218 w 626"/>
                  <a:gd name="T61" fmla="*/ 234 h 453"/>
                  <a:gd name="T62" fmla="*/ 175 w 626"/>
                  <a:gd name="T63" fmla="*/ 206 h 453"/>
                  <a:gd name="T64" fmla="*/ 0 w 626"/>
                  <a:gd name="T65" fmla="*/ 346 h 453"/>
                  <a:gd name="T66" fmla="*/ 13 w 626"/>
                  <a:gd name="T67" fmla="*/ 358 h 453"/>
                  <a:gd name="T68" fmla="*/ 40 w 626"/>
                  <a:gd name="T69" fmla="*/ 380 h 453"/>
                  <a:gd name="T70" fmla="*/ 69 w 626"/>
                  <a:gd name="T71" fmla="*/ 400 h 453"/>
                  <a:gd name="T72" fmla="*/ 101 w 626"/>
                  <a:gd name="T73" fmla="*/ 417 h 453"/>
                  <a:gd name="T74" fmla="*/ 134 w 626"/>
                  <a:gd name="T75" fmla="*/ 431 h 453"/>
                  <a:gd name="T76" fmla="*/ 168 w 626"/>
                  <a:gd name="T77" fmla="*/ 442 h 453"/>
                  <a:gd name="T78" fmla="*/ 204 w 626"/>
                  <a:gd name="T79" fmla="*/ 450 h 453"/>
                  <a:gd name="T80" fmla="*/ 241 w 626"/>
                  <a:gd name="T81" fmla="*/ 453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26" h="453">
                    <a:moveTo>
                      <a:pt x="261" y="453"/>
                    </a:moveTo>
                    <a:lnTo>
                      <a:pt x="261" y="453"/>
                    </a:lnTo>
                    <a:lnTo>
                      <a:pt x="279" y="453"/>
                    </a:lnTo>
                    <a:lnTo>
                      <a:pt x="297" y="452"/>
                    </a:lnTo>
                    <a:lnTo>
                      <a:pt x="315" y="450"/>
                    </a:lnTo>
                    <a:lnTo>
                      <a:pt x="334" y="446"/>
                    </a:lnTo>
                    <a:lnTo>
                      <a:pt x="352" y="442"/>
                    </a:lnTo>
                    <a:lnTo>
                      <a:pt x="369" y="437"/>
                    </a:lnTo>
                    <a:lnTo>
                      <a:pt x="386" y="431"/>
                    </a:lnTo>
                    <a:lnTo>
                      <a:pt x="403" y="425"/>
                    </a:lnTo>
                    <a:lnTo>
                      <a:pt x="419" y="418"/>
                    </a:lnTo>
                    <a:lnTo>
                      <a:pt x="435" y="409"/>
                    </a:lnTo>
                    <a:lnTo>
                      <a:pt x="450" y="401"/>
                    </a:lnTo>
                    <a:lnTo>
                      <a:pt x="465" y="391"/>
                    </a:lnTo>
                    <a:lnTo>
                      <a:pt x="479" y="381"/>
                    </a:lnTo>
                    <a:lnTo>
                      <a:pt x="493" y="370"/>
                    </a:lnTo>
                    <a:lnTo>
                      <a:pt x="507" y="358"/>
                    </a:lnTo>
                    <a:lnTo>
                      <a:pt x="519" y="346"/>
                    </a:lnTo>
                    <a:lnTo>
                      <a:pt x="531" y="334"/>
                    </a:lnTo>
                    <a:lnTo>
                      <a:pt x="542" y="320"/>
                    </a:lnTo>
                    <a:lnTo>
                      <a:pt x="553" y="307"/>
                    </a:lnTo>
                    <a:lnTo>
                      <a:pt x="564" y="292"/>
                    </a:lnTo>
                    <a:lnTo>
                      <a:pt x="574" y="278"/>
                    </a:lnTo>
                    <a:lnTo>
                      <a:pt x="582" y="262"/>
                    </a:lnTo>
                    <a:lnTo>
                      <a:pt x="590" y="246"/>
                    </a:lnTo>
                    <a:lnTo>
                      <a:pt x="597" y="230"/>
                    </a:lnTo>
                    <a:lnTo>
                      <a:pt x="604" y="213"/>
                    </a:lnTo>
                    <a:lnTo>
                      <a:pt x="610" y="196"/>
                    </a:lnTo>
                    <a:lnTo>
                      <a:pt x="615" y="179"/>
                    </a:lnTo>
                    <a:lnTo>
                      <a:pt x="619" y="161"/>
                    </a:lnTo>
                    <a:lnTo>
                      <a:pt x="623" y="144"/>
                    </a:lnTo>
                    <a:lnTo>
                      <a:pt x="625" y="124"/>
                    </a:lnTo>
                    <a:lnTo>
                      <a:pt x="626" y="106"/>
                    </a:lnTo>
                    <a:lnTo>
                      <a:pt x="626" y="87"/>
                    </a:lnTo>
                    <a:lnTo>
                      <a:pt x="626" y="87"/>
                    </a:lnTo>
                    <a:lnTo>
                      <a:pt x="625" y="64"/>
                    </a:lnTo>
                    <a:lnTo>
                      <a:pt x="624" y="42"/>
                    </a:lnTo>
                    <a:lnTo>
                      <a:pt x="620" y="20"/>
                    </a:lnTo>
                    <a:lnTo>
                      <a:pt x="615" y="0"/>
                    </a:lnTo>
                    <a:lnTo>
                      <a:pt x="615" y="0"/>
                    </a:lnTo>
                    <a:lnTo>
                      <a:pt x="614" y="26"/>
                    </a:lnTo>
                    <a:lnTo>
                      <a:pt x="609" y="53"/>
                    </a:lnTo>
                    <a:lnTo>
                      <a:pt x="602" y="79"/>
                    </a:lnTo>
                    <a:lnTo>
                      <a:pt x="593" y="103"/>
                    </a:lnTo>
                    <a:lnTo>
                      <a:pt x="581" y="126"/>
                    </a:lnTo>
                    <a:lnTo>
                      <a:pt x="568" y="148"/>
                    </a:lnTo>
                    <a:lnTo>
                      <a:pt x="553" y="169"/>
                    </a:lnTo>
                    <a:lnTo>
                      <a:pt x="535" y="187"/>
                    </a:lnTo>
                    <a:lnTo>
                      <a:pt x="517" y="206"/>
                    </a:lnTo>
                    <a:lnTo>
                      <a:pt x="496" y="220"/>
                    </a:lnTo>
                    <a:lnTo>
                      <a:pt x="473" y="234"/>
                    </a:lnTo>
                    <a:lnTo>
                      <a:pt x="450" y="245"/>
                    </a:lnTo>
                    <a:lnTo>
                      <a:pt x="425" y="254"/>
                    </a:lnTo>
                    <a:lnTo>
                      <a:pt x="400" y="261"/>
                    </a:lnTo>
                    <a:lnTo>
                      <a:pt x="373" y="264"/>
                    </a:lnTo>
                    <a:lnTo>
                      <a:pt x="346" y="265"/>
                    </a:lnTo>
                    <a:lnTo>
                      <a:pt x="346" y="265"/>
                    </a:lnTo>
                    <a:lnTo>
                      <a:pt x="318" y="264"/>
                    </a:lnTo>
                    <a:lnTo>
                      <a:pt x="292" y="261"/>
                    </a:lnTo>
                    <a:lnTo>
                      <a:pt x="267" y="254"/>
                    </a:lnTo>
                    <a:lnTo>
                      <a:pt x="242" y="245"/>
                    </a:lnTo>
                    <a:lnTo>
                      <a:pt x="218" y="234"/>
                    </a:lnTo>
                    <a:lnTo>
                      <a:pt x="196" y="222"/>
                    </a:lnTo>
                    <a:lnTo>
                      <a:pt x="175" y="206"/>
                    </a:lnTo>
                    <a:lnTo>
                      <a:pt x="157" y="189"/>
                    </a:lnTo>
                    <a:lnTo>
                      <a:pt x="0" y="346"/>
                    </a:lnTo>
                    <a:lnTo>
                      <a:pt x="0" y="346"/>
                    </a:lnTo>
                    <a:lnTo>
                      <a:pt x="13" y="358"/>
                    </a:lnTo>
                    <a:lnTo>
                      <a:pt x="26" y="369"/>
                    </a:lnTo>
                    <a:lnTo>
                      <a:pt x="40" y="380"/>
                    </a:lnTo>
                    <a:lnTo>
                      <a:pt x="55" y="391"/>
                    </a:lnTo>
                    <a:lnTo>
                      <a:pt x="69" y="400"/>
                    </a:lnTo>
                    <a:lnTo>
                      <a:pt x="85" y="409"/>
                    </a:lnTo>
                    <a:lnTo>
                      <a:pt x="101" y="417"/>
                    </a:lnTo>
                    <a:lnTo>
                      <a:pt x="117" y="424"/>
                    </a:lnTo>
                    <a:lnTo>
                      <a:pt x="134" y="431"/>
                    </a:lnTo>
                    <a:lnTo>
                      <a:pt x="151" y="437"/>
                    </a:lnTo>
                    <a:lnTo>
                      <a:pt x="168" y="442"/>
                    </a:lnTo>
                    <a:lnTo>
                      <a:pt x="186" y="446"/>
                    </a:lnTo>
                    <a:lnTo>
                      <a:pt x="204" y="450"/>
                    </a:lnTo>
                    <a:lnTo>
                      <a:pt x="223" y="452"/>
                    </a:lnTo>
                    <a:lnTo>
                      <a:pt x="241" y="453"/>
                    </a:lnTo>
                    <a:lnTo>
                      <a:pt x="261" y="453"/>
                    </a:lnTo>
                    <a:close/>
                  </a:path>
                </a:pathLst>
              </a:custGeom>
              <a:solidFill>
                <a:srgbClr val="1A81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99" name="Freeform 882"/>
              <p:cNvSpPr>
                <a:spLocks/>
              </p:cNvSpPr>
              <p:nvPr/>
            </p:nvSpPr>
            <p:spPr bwMode="auto">
              <a:xfrm>
                <a:off x="1962183" y="4980026"/>
                <a:ext cx="200026" cy="144464"/>
              </a:xfrm>
              <a:custGeom>
                <a:avLst/>
                <a:gdLst>
                  <a:gd name="T0" fmla="*/ 261 w 626"/>
                  <a:gd name="T1" fmla="*/ 453 h 453"/>
                  <a:gd name="T2" fmla="*/ 297 w 626"/>
                  <a:gd name="T3" fmla="*/ 452 h 453"/>
                  <a:gd name="T4" fmla="*/ 334 w 626"/>
                  <a:gd name="T5" fmla="*/ 446 h 453"/>
                  <a:gd name="T6" fmla="*/ 369 w 626"/>
                  <a:gd name="T7" fmla="*/ 437 h 453"/>
                  <a:gd name="T8" fmla="*/ 403 w 626"/>
                  <a:gd name="T9" fmla="*/ 425 h 453"/>
                  <a:gd name="T10" fmla="*/ 435 w 626"/>
                  <a:gd name="T11" fmla="*/ 409 h 453"/>
                  <a:gd name="T12" fmla="*/ 465 w 626"/>
                  <a:gd name="T13" fmla="*/ 391 h 453"/>
                  <a:gd name="T14" fmla="*/ 493 w 626"/>
                  <a:gd name="T15" fmla="*/ 370 h 453"/>
                  <a:gd name="T16" fmla="*/ 519 w 626"/>
                  <a:gd name="T17" fmla="*/ 346 h 453"/>
                  <a:gd name="T18" fmla="*/ 542 w 626"/>
                  <a:gd name="T19" fmla="*/ 320 h 453"/>
                  <a:gd name="T20" fmla="*/ 564 w 626"/>
                  <a:gd name="T21" fmla="*/ 292 h 453"/>
                  <a:gd name="T22" fmla="*/ 582 w 626"/>
                  <a:gd name="T23" fmla="*/ 262 h 453"/>
                  <a:gd name="T24" fmla="*/ 597 w 626"/>
                  <a:gd name="T25" fmla="*/ 230 h 453"/>
                  <a:gd name="T26" fmla="*/ 610 w 626"/>
                  <a:gd name="T27" fmla="*/ 196 h 453"/>
                  <a:gd name="T28" fmla="*/ 619 w 626"/>
                  <a:gd name="T29" fmla="*/ 161 h 453"/>
                  <a:gd name="T30" fmla="*/ 625 w 626"/>
                  <a:gd name="T31" fmla="*/ 124 h 453"/>
                  <a:gd name="T32" fmla="*/ 626 w 626"/>
                  <a:gd name="T33" fmla="*/ 87 h 453"/>
                  <a:gd name="T34" fmla="*/ 625 w 626"/>
                  <a:gd name="T35" fmla="*/ 64 h 453"/>
                  <a:gd name="T36" fmla="*/ 620 w 626"/>
                  <a:gd name="T37" fmla="*/ 20 h 453"/>
                  <a:gd name="T38" fmla="*/ 615 w 626"/>
                  <a:gd name="T39" fmla="*/ 0 h 453"/>
                  <a:gd name="T40" fmla="*/ 609 w 626"/>
                  <a:gd name="T41" fmla="*/ 53 h 453"/>
                  <a:gd name="T42" fmla="*/ 593 w 626"/>
                  <a:gd name="T43" fmla="*/ 103 h 453"/>
                  <a:gd name="T44" fmla="*/ 568 w 626"/>
                  <a:gd name="T45" fmla="*/ 148 h 453"/>
                  <a:gd name="T46" fmla="*/ 535 w 626"/>
                  <a:gd name="T47" fmla="*/ 187 h 453"/>
                  <a:gd name="T48" fmla="*/ 496 w 626"/>
                  <a:gd name="T49" fmla="*/ 220 h 453"/>
                  <a:gd name="T50" fmla="*/ 450 w 626"/>
                  <a:gd name="T51" fmla="*/ 245 h 453"/>
                  <a:gd name="T52" fmla="*/ 400 w 626"/>
                  <a:gd name="T53" fmla="*/ 261 h 453"/>
                  <a:gd name="T54" fmla="*/ 346 w 626"/>
                  <a:gd name="T55" fmla="*/ 265 h 453"/>
                  <a:gd name="T56" fmla="*/ 318 w 626"/>
                  <a:gd name="T57" fmla="*/ 264 h 453"/>
                  <a:gd name="T58" fmla="*/ 267 w 626"/>
                  <a:gd name="T59" fmla="*/ 254 h 453"/>
                  <a:gd name="T60" fmla="*/ 218 w 626"/>
                  <a:gd name="T61" fmla="*/ 234 h 453"/>
                  <a:gd name="T62" fmla="*/ 175 w 626"/>
                  <a:gd name="T63" fmla="*/ 206 h 453"/>
                  <a:gd name="T64" fmla="*/ 0 w 626"/>
                  <a:gd name="T65" fmla="*/ 346 h 453"/>
                  <a:gd name="T66" fmla="*/ 13 w 626"/>
                  <a:gd name="T67" fmla="*/ 358 h 453"/>
                  <a:gd name="T68" fmla="*/ 40 w 626"/>
                  <a:gd name="T69" fmla="*/ 380 h 453"/>
                  <a:gd name="T70" fmla="*/ 69 w 626"/>
                  <a:gd name="T71" fmla="*/ 400 h 453"/>
                  <a:gd name="T72" fmla="*/ 101 w 626"/>
                  <a:gd name="T73" fmla="*/ 417 h 453"/>
                  <a:gd name="T74" fmla="*/ 134 w 626"/>
                  <a:gd name="T75" fmla="*/ 431 h 453"/>
                  <a:gd name="T76" fmla="*/ 168 w 626"/>
                  <a:gd name="T77" fmla="*/ 442 h 453"/>
                  <a:gd name="T78" fmla="*/ 204 w 626"/>
                  <a:gd name="T79" fmla="*/ 450 h 453"/>
                  <a:gd name="T80" fmla="*/ 241 w 626"/>
                  <a:gd name="T81" fmla="*/ 453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26" h="453">
                    <a:moveTo>
                      <a:pt x="261" y="453"/>
                    </a:moveTo>
                    <a:lnTo>
                      <a:pt x="261" y="453"/>
                    </a:lnTo>
                    <a:lnTo>
                      <a:pt x="279" y="453"/>
                    </a:lnTo>
                    <a:lnTo>
                      <a:pt x="297" y="452"/>
                    </a:lnTo>
                    <a:lnTo>
                      <a:pt x="315" y="450"/>
                    </a:lnTo>
                    <a:lnTo>
                      <a:pt x="334" y="446"/>
                    </a:lnTo>
                    <a:lnTo>
                      <a:pt x="352" y="442"/>
                    </a:lnTo>
                    <a:lnTo>
                      <a:pt x="369" y="437"/>
                    </a:lnTo>
                    <a:lnTo>
                      <a:pt x="386" y="431"/>
                    </a:lnTo>
                    <a:lnTo>
                      <a:pt x="403" y="425"/>
                    </a:lnTo>
                    <a:lnTo>
                      <a:pt x="419" y="418"/>
                    </a:lnTo>
                    <a:lnTo>
                      <a:pt x="435" y="409"/>
                    </a:lnTo>
                    <a:lnTo>
                      <a:pt x="450" y="401"/>
                    </a:lnTo>
                    <a:lnTo>
                      <a:pt x="465" y="391"/>
                    </a:lnTo>
                    <a:lnTo>
                      <a:pt x="479" y="381"/>
                    </a:lnTo>
                    <a:lnTo>
                      <a:pt x="493" y="370"/>
                    </a:lnTo>
                    <a:lnTo>
                      <a:pt x="507" y="358"/>
                    </a:lnTo>
                    <a:lnTo>
                      <a:pt x="519" y="346"/>
                    </a:lnTo>
                    <a:lnTo>
                      <a:pt x="531" y="334"/>
                    </a:lnTo>
                    <a:lnTo>
                      <a:pt x="542" y="320"/>
                    </a:lnTo>
                    <a:lnTo>
                      <a:pt x="553" y="307"/>
                    </a:lnTo>
                    <a:lnTo>
                      <a:pt x="564" y="292"/>
                    </a:lnTo>
                    <a:lnTo>
                      <a:pt x="574" y="278"/>
                    </a:lnTo>
                    <a:lnTo>
                      <a:pt x="582" y="262"/>
                    </a:lnTo>
                    <a:lnTo>
                      <a:pt x="590" y="246"/>
                    </a:lnTo>
                    <a:lnTo>
                      <a:pt x="597" y="230"/>
                    </a:lnTo>
                    <a:lnTo>
                      <a:pt x="604" y="213"/>
                    </a:lnTo>
                    <a:lnTo>
                      <a:pt x="610" y="196"/>
                    </a:lnTo>
                    <a:lnTo>
                      <a:pt x="615" y="179"/>
                    </a:lnTo>
                    <a:lnTo>
                      <a:pt x="619" y="161"/>
                    </a:lnTo>
                    <a:lnTo>
                      <a:pt x="623" y="144"/>
                    </a:lnTo>
                    <a:lnTo>
                      <a:pt x="625" y="124"/>
                    </a:lnTo>
                    <a:lnTo>
                      <a:pt x="626" y="106"/>
                    </a:lnTo>
                    <a:lnTo>
                      <a:pt x="626" y="87"/>
                    </a:lnTo>
                    <a:lnTo>
                      <a:pt x="626" y="87"/>
                    </a:lnTo>
                    <a:lnTo>
                      <a:pt x="625" y="64"/>
                    </a:lnTo>
                    <a:lnTo>
                      <a:pt x="624" y="42"/>
                    </a:lnTo>
                    <a:lnTo>
                      <a:pt x="620" y="20"/>
                    </a:lnTo>
                    <a:lnTo>
                      <a:pt x="615" y="0"/>
                    </a:lnTo>
                    <a:lnTo>
                      <a:pt x="615" y="0"/>
                    </a:lnTo>
                    <a:lnTo>
                      <a:pt x="614" y="26"/>
                    </a:lnTo>
                    <a:lnTo>
                      <a:pt x="609" y="53"/>
                    </a:lnTo>
                    <a:lnTo>
                      <a:pt x="602" y="79"/>
                    </a:lnTo>
                    <a:lnTo>
                      <a:pt x="593" y="103"/>
                    </a:lnTo>
                    <a:lnTo>
                      <a:pt x="581" y="126"/>
                    </a:lnTo>
                    <a:lnTo>
                      <a:pt x="568" y="148"/>
                    </a:lnTo>
                    <a:lnTo>
                      <a:pt x="553" y="169"/>
                    </a:lnTo>
                    <a:lnTo>
                      <a:pt x="535" y="187"/>
                    </a:lnTo>
                    <a:lnTo>
                      <a:pt x="517" y="206"/>
                    </a:lnTo>
                    <a:lnTo>
                      <a:pt x="496" y="220"/>
                    </a:lnTo>
                    <a:lnTo>
                      <a:pt x="473" y="234"/>
                    </a:lnTo>
                    <a:lnTo>
                      <a:pt x="450" y="245"/>
                    </a:lnTo>
                    <a:lnTo>
                      <a:pt x="425" y="254"/>
                    </a:lnTo>
                    <a:lnTo>
                      <a:pt x="400" y="261"/>
                    </a:lnTo>
                    <a:lnTo>
                      <a:pt x="373" y="264"/>
                    </a:lnTo>
                    <a:lnTo>
                      <a:pt x="346" y="265"/>
                    </a:lnTo>
                    <a:lnTo>
                      <a:pt x="346" y="265"/>
                    </a:lnTo>
                    <a:lnTo>
                      <a:pt x="318" y="264"/>
                    </a:lnTo>
                    <a:lnTo>
                      <a:pt x="292" y="261"/>
                    </a:lnTo>
                    <a:lnTo>
                      <a:pt x="267" y="254"/>
                    </a:lnTo>
                    <a:lnTo>
                      <a:pt x="242" y="245"/>
                    </a:lnTo>
                    <a:lnTo>
                      <a:pt x="218" y="234"/>
                    </a:lnTo>
                    <a:lnTo>
                      <a:pt x="196" y="222"/>
                    </a:lnTo>
                    <a:lnTo>
                      <a:pt x="175" y="206"/>
                    </a:lnTo>
                    <a:lnTo>
                      <a:pt x="157" y="189"/>
                    </a:lnTo>
                    <a:lnTo>
                      <a:pt x="0" y="346"/>
                    </a:lnTo>
                    <a:lnTo>
                      <a:pt x="0" y="346"/>
                    </a:lnTo>
                    <a:lnTo>
                      <a:pt x="13" y="358"/>
                    </a:lnTo>
                    <a:lnTo>
                      <a:pt x="26" y="369"/>
                    </a:lnTo>
                    <a:lnTo>
                      <a:pt x="40" y="380"/>
                    </a:lnTo>
                    <a:lnTo>
                      <a:pt x="55" y="391"/>
                    </a:lnTo>
                    <a:lnTo>
                      <a:pt x="69" y="400"/>
                    </a:lnTo>
                    <a:lnTo>
                      <a:pt x="85" y="409"/>
                    </a:lnTo>
                    <a:lnTo>
                      <a:pt x="101" y="417"/>
                    </a:lnTo>
                    <a:lnTo>
                      <a:pt x="117" y="424"/>
                    </a:lnTo>
                    <a:lnTo>
                      <a:pt x="134" y="431"/>
                    </a:lnTo>
                    <a:lnTo>
                      <a:pt x="151" y="437"/>
                    </a:lnTo>
                    <a:lnTo>
                      <a:pt x="168" y="442"/>
                    </a:lnTo>
                    <a:lnTo>
                      <a:pt x="186" y="446"/>
                    </a:lnTo>
                    <a:lnTo>
                      <a:pt x="204" y="450"/>
                    </a:lnTo>
                    <a:lnTo>
                      <a:pt x="223" y="452"/>
                    </a:lnTo>
                    <a:lnTo>
                      <a:pt x="241" y="453"/>
                    </a:lnTo>
                    <a:lnTo>
                      <a:pt x="261" y="45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00" name="Freeform 883"/>
              <p:cNvSpPr>
                <a:spLocks/>
              </p:cNvSpPr>
              <p:nvPr/>
            </p:nvSpPr>
            <p:spPr bwMode="auto">
              <a:xfrm>
                <a:off x="2012983" y="4926050"/>
                <a:ext cx="144464" cy="138114"/>
              </a:xfrm>
              <a:custGeom>
                <a:avLst/>
                <a:gdLst>
                  <a:gd name="T0" fmla="*/ 0 w 458"/>
                  <a:gd name="T1" fmla="*/ 361 h 437"/>
                  <a:gd name="T2" fmla="*/ 0 w 458"/>
                  <a:gd name="T3" fmla="*/ 361 h 437"/>
                  <a:gd name="T4" fmla="*/ 18 w 458"/>
                  <a:gd name="T5" fmla="*/ 378 h 437"/>
                  <a:gd name="T6" fmla="*/ 39 w 458"/>
                  <a:gd name="T7" fmla="*/ 394 h 437"/>
                  <a:gd name="T8" fmla="*/ 61 w 458"/>
                  <a:gd name="T9" fmla="*/ 406 h 437"/>
                  <a:gd name="T10" fmla="*/ 85 w 458"/>
                  <a:gd name="T11" fmla="*/ 417 h 437"/>
                  <a:gd name="T12" fmla="*/ 110 w 458"/>
                  <a:gd name="T13" fmla="*/ 426 h 437"/>
                  <a:gd name="T14" fmla="*/ 135 w 458"/>
                  <a:gd name="T15" fmla="*/ 433 h 437"/>
                  <a:gd name="T16" fmla="*/ 161 w 458"/>
                  <a:gd name="T17" fmla="*/ 436 h 437"/>
                  <a:gd name="T18" fmla="*/ 189 w 458"/>
                  <a:gd name="T19" fmla="*/ 437 h 437"/>
                  <a:gd name="T20" fmla="*/ 189 w 458"/>
                  <a:gd name="T21" fmla="*/ 437 h 437"/>
                  <a:gd name="T22" fmla="*/ 216 w 458"/>
                  <a:gd name="T23" fmla="*/ 436 h 437"/>
                  <a:gd name="T24" fmla="*/ 243 w 458"/>
                  <a:gd name="T25" fmla="*/ 433 h 437"/>
                  <a:gd name="T26" fmla="*/ 268 w 458"/>
                  <a:gd name="T27" fmla="*/ 426 h 437"/>
                  <a:gd name="T28" fmla="*/ 293 w 458"/>
                  <a:gd name="T29" fmla="*/ 417 h 437"/>
                  <a:gd name="T30" fmla="*/ 316 w 458"/>
                  <a:gd name="T31" fmla="*/ 406 h 437"/>
                  <a:gd name="T32" fmla="*/ 339 w 458"/>
                  <a:gd name="T33" fmla="*/ 392 h 437"/>
                  <a:gd name="T34" fmla="*/ 360 w 458"/>
                  <a:gd name="T35" fmla="*/ 378 h 437"/>
                  <a:gd name="T36" fmla="*/ 378 w 458"/>
                  <a:gd name="T37" fmla="*/ 359 h 437"/>
                  <a:gd name="T38" fmla="*/ 396 w 458"/>
                  <a:gd name="T39" fmla="*/ 341 h 437"/>
                  <a:gd name="T40" fmla="*/ 411 w 458"/>
                  <a:gd name="T41" fmla="*/ 320 h 437"/>
                  <a:gd name="T42" fmla="*/ 424 w 458"/>
                  <a:gd name="T43" fmla="*/ 298 h 437"/>
                  <a:gd name="T44" fmla="*/ 436 w 458"/>
                  <a:gd name="T45" fmla="*/ 275 h 437"/>
                  <a:gd name="T46" fmla="*/ 445 w 458"/>
                  <a:gd name="T47" fmla="*/ 251 h 437"/>
                  <a:gd name="T48" fmla="*/ 452 w 458"/>
                  <a:gd name="T49" fmla="*/ 225 h 437"/>
                  <a:gd name="T50" fmla="*/ 457 w 458"/>
                  <a:gd name="T51" fmla="*/ 198 h 437"/>
                  <a:gd name="T52" fmla="*/ 458 w 458"/>
                  <a:gd name="T53" fmla="*/ 172 h 437"/>
                  <a:gd name="T54" fmla="*/ 458 w 458"/>
                  <a:gd name="T55" fmla="*/ 172 h 437"/>
                  <a:gd name="T56" fmla="*/ 458 w 458"/>
                  <a:gd name="T57" fmla="*/ 172 h 437"/>
                  <a:gd name="T58" fmla="*/ 452 w 458"/>
                  <a:gd name="T59" fmla="*/ 149 h 437"/>
                  <a:gd name="T60" fmla="*/ 445 w 458"/>
                  <a:gd name="T61" fmla="*/ 127 h 437"/>
                  <a:gd name="T62" fmla="*/ 435 w 458"/>
                  <a:gd name="T63" fmla="*/ 106 h 437"/>
                  <a:gd name="T64" fmla="*/ 425 w 458"/>
                  <a:gd name="T65" fmla="*/ 85 h 437"/>
                  <a:gd name="T66" fmla="*/ 413 w 458"/>
                  <a:gd name="T67" fmla="*/ 66 h 437"/>
                  <a:gd name="T68" fmla="*/ 401 w 458"/>
                  <a:gd name="T69" fmla="*/ 47 h 437"/>
                  <a:gd name="T70" fmla="*/ 388 w 458"/>
                  <a:gd name="T71" fmla="*/ 29 h 437"/>
                  <a:gd name="T72" fmla="*/ 373 w 458"/>
                  <a:gd name="T73" fmla="*/ 12 h 437"/>
                  <a:gd name="T74" fmla="*/ 373 w 458"/>
                  <a:gd name="T75" fmla="*/ 12 h 437"/>
                  <a:gd name="T76" fmla="*/ 372 w 458"/>
                  <a:gd name="T77" fmla="*/ 11 h 437"/>
                  <a:gd name="T78" fmla="*/ 372 w 458"/>
                  <a:gd name="T79" fmla="*/ 11 h 437"/>
                  <a:gd name="T80" fmla="*/ 361 w 458"/>
                  <a:gd name="T81" fmla="*/ 0 h 437"/>
                  <a:gd name="T82" fmla="*/ 0 w 458"/>
                  <a:gd name="T83" fmla="*/ 361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58" h="437">
                    <a:moveTo>
                      <a:pt x="0" y="361"/>
                    </a:moveTo>
                    <a:lnTo>
                      <a:pt x="0" y="361"/>
                    </a:lnTo>
                    <a:lnTo>
                      <a:pt x="18" y="378"/>
                    </a:lnTo>
                    <a:lnTo>
                      <a:pt x="39" y="394"/>
                    </a:lnTo>
                    <a:lnTo>
                      <a:pt x="61" y="406"/>
                    </a:lnTo>
                    <a:lnTo>
                      <a:pt x="85" y="417"/>
                    </a:lnTo>
                    <a:lnTo>
                      <a:pt x="110" y="426"/>
                    </a:lnTo>
                    <a:lnTo>
                      <a:pt x="135" y="433"/>
                    </a:lnTo>
                    <a:lnTo>
                      <a:pt x="161" y="436"/>
                    </a:lnTo>
                    <a:lnTo>
                      <a:pt x="189" y="437"/>
                    </a:lnTo>
                    <a:lnTo>
                      <a:pt x="189" y="437"/>
                    </a:lnTo>
                    <a:lnTo>
                      <a:pt x="216" y="436"/>
                    </a:lnTo>
                    <a:lnTo>
                      <a:pt x="243" y="433"/>
                    </a:lnTo>
                    <a:lnTo>
                      <a:pt x="268" y="426"/>
                    </a:lnTo>
                    <a:lnTo>
                      <a:pt x="293" y="417"/>
                    </a:lnTo>
                    <a:lnTo>
                      <a:pt x="316" y="406"/>
                    </a:lnTo>
                    <a:lnTo>
                      <a:pt x="339" y="392"/>
                    </a:lnTo>
                    <a:lnTo>
                      <a:pt x="360" y="378"/>
                    </a:lnTo>
                    <a:lnTo>
                      <a:pt x="378" y="359"/>
                    </a:lnTo>
                    <a:lnTo>
                      <a:pt x="396" y="341"/>
                    </a:lnTo>
                    <a:lnTo>
                      <a:pt x="411" y="320"/>
                    </a:lnTo>
                    <a:lnTo>
                      <a:pt x="424" y="298"/>
                    </a:lnTo>
                    <a:lnTo>
                      <a:pt x="436" y="275"/>
                    </a:lnTo>
                    <a:lnTo>
                      <a:pt x="445" y="251"/>
                    </a:lnTo>
                    <a:lnTo>
                      <a:pt x="452" y="225"/>
                    </a:lnTo>
                    <a:lnTo>
                      <a:pt x="457" y="198"/>
                    </a:lnTo>
                    <a:lnTo>
                      <a:pt x="458" y="172"/>
                    </a:lnTo>
                    <a:lnTo>
                      <a:pt x="458" y="172"/>
                    </a:lnTo>
                    <a:lnTo>
                      <a:pt x="458" y="172"/>
                    </a:lnTo>
                    <a:lnTo>
                      <a:pt x="452" y="149"/>
                    </a:lnTo>
                    <a:lnTo>
                      <a:pt x="445" y="127"/>
                    </a:lnTo>
                    <a:lnTo>
                      <a:pt x="435" y="106"/>
                    </a:lnTo>
                    <a:lnTo>
                      <a:pt x="425" y="85"/>
                    </a:lnTo>
                    <a:lnTo>
                      <a:pt x="413" y="66"/>
                    </a:lnTo>
                    <a:lnTo>
                      <a:pt x="401" y="47"/>
                    </a:lnTo>
                    <a:lnTo>
                      <a:pt x="388" y="29"/>
                    </a:lnTo>
                    <a:lnTo>
                      <a:pt x="373" y="12"/>
                    </a:lnTo>
                    <a:lnTo>
                      <a:pt x="373" y="12"/>
                    </a:lnTo>
                    <a:lnTo>
                      <a:pt x="372" y="11"/>
                    </a:lnTo>
                    <a:lnTo>
                      <a:pt x="372" y="11"/>
                    </a:lnTo>
                    <a:lnTo>
                      <a:pt x="361" y="0"/>
                    </a:lnTo>
                    <a:lnTo>
                      <a:pt x="0" y="361"/>
                    </a:lnTo>
                    <a:close/>
                  </a:path>
                </a:pathLst>
              </a:custGeom>
              <a:solidFill>
                <a:srgbClr val="299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01" name="Freeform 884"/>
              <p:cNvSpPr>
                <a:spLocks/>
              </p:cNvSpPr>
              <p:nvPr/>
            </p:nvSpPr>
            <p:spPr bwMode="auto">
              <a:xfrm>
                <a:off x="2012983" y="4926050"/>
                <a:ext cx="144464" cy="138114"/>
              </a:xfrm>
              <a:custGeom>
                <a:avLst/>
                <a:gdLst>
                  <a:gd name="T0" fmla="*/ 0 w 458"/>
                  <a:gd name="T1" fmla="*/ 361 h 437"/>
                  <a:gd name="T2" fmla="*/ 0 w 458"/>
                  <a:gd name="T3" fmla="*/ 361 h 437"/>
                  <a:gd name="T4" fmla="*/ 18 w 458"/>
                  <a:gd name="T5" fmla="*/ 378 h 437"/>
                  <a:gd name="T6" fmla="*/ 39 w 458"/>
                  <a:gd name="T7" fmla="*/ 394 h 437"/>
                  <a:gd name="T8" fmla="*/ 61 w 458"/>
                  <a:gd name="T9" fmla="*/ 406 h 437"/>
                  <a:gd name="T10" fmla="*/ 85 w 458"/>
                  <a:gd name="T11" fmla="*/ 417 h 437"/>
                  <a:gd name="T12" fmla="*/ 110 w 458"/>
                  <a:gd name="T13" fmla="*/ 426 h 437"/>
                  <a:gd name="T14" fmla="*/ 135 w 458"/>
                  <a:gd name="T15" fmla="*/ 433 h 437"/>
                  <a:gd name="T16" fmla="*/ 161 w 458"/>
                  <a:gd name="T17" fmla="*/ 436 h 437"/>
                  <a:gd name="T18" fmla="*/ 189 w 458"/>
                  <a:gd name="T19" fmla="*/ 437 h 437"/>
                  <a:gd name="T20" fmla="*/ 189 w 458"/>
                  <a:gd name="T21" fmla="*/ 437 h 437"/>
                  <a:gd name="T22" fmla="*/ 216 w 458"/>
                  <a:gd name="T23" fmla="*/ 436 h 437"/>
                  <a:gd name="T24" fmla="*/ 243 w 458"/>
                  <a:gd name="T25" fmla="*/ 433 h 437"/>
                  <a:gd name="T26" fmla="*/ 268 w 458"/>
                  <a:gd name="T27" fmla="*/ 426 h 437"/>
                  <a:gd name="T28" fmla="*/ 293 w 458"/>
                  <a:gd name="T29" fmla="*/ 417 h 437"/>
                  <a:gd name="T30" fmla="*/ 316 w 458"/>
                  <a:gd name="T31" fmla="*/ 406 h 437"/>
                  <a:gd name="T32" fmla="*/ 339 w 458"/>
                  <a:gd name="T33" fmla="*/ 392 h 437"/>
                  <a:gd name="T34" fmla="*/ 360 w 458"/>
                  <a:gd name="T35" fmla="*/ 378 h 437"/>
                  <a:gd name="T36" fmla="*/ 378 w 458"/>
                  <a:gd name="T37" fmla="*/ 359 h 437"/>
                  <a:gd name="T38" fmla="*/ 396 w 458"/>
                  <a:gd name="T39" fmla="*/ 341 h 437"/>
                  <a:gd name="T40" fmla="*/ 411 w 458"/>
                  <a:gd name="T41" fmla="*/ 320 h 437"/>
                  <a:gd name="T42" fmla="*/ 424 w 458"/>
                  <a:gd name="T43" fmla="*/ 298 h 437"/>
                  <a:gd name="T44" fmla="*/ 436 w 458"/>
                  <a:gd name="T45" fmla="*/ 275 h 437"/>
                  <a:gd name="T46" fmla="*/ 445 w 458"/>
                  <a:gd name="T47" fmla="*/ 251 h 437"/>
                  <a:gd name="T48" fmla="*/ 452 w 458"/>
                  <a:gd name="T49" fmla="*/ 225 h 437"/>
                  <a:gd name="T50" fmla="*/ 457 w 458"/>
                  <a:gd name="T51" fmla="*/ 198 h 437"/>
                  <a:gd name="T52" fmla="*/ 458 w 458"/>
                  <a:gd name="T53" fmla="*/ 172 h 437"/>
                  <a:gd name="T54" fmla="*/ 458 w 458"/>
                  <a:gd name="T55" fmla="*/ 172 h 437"/>
                  <a:gd name="T56" fmla="*/ 458 w 458"/>
                  <a:gd name="T57" fmla="*/ 172 h 437"/>
                  <a:gd name="T58" fmla="*/ 452 w 458"/>
                  <a:gd name="T59" fmla="*/ 149 h 437"/>
                  <a:gd name="T60" fmla="*/ 445 w 458"/>
                  <a:gd name="T61" fmla="*/ 127 h 437"/>
                  <a:gd name="T62" fmla="*/ 435 w 458"/>
                  <a:gd name="T63" fmla="*/ 106 h 437"/>
                  <a:gd name="T64" fmla="*/ 425 w 458"/>
                  <a:gd name="T65" fmla="*/ 85 h 437"/>
                  <a:gd name="T66" fmla="*/ 413 w 458"/>
                  <a:gd name="T67" fmla="*/ 66 h 437"/>
                  <a:gd name="T68" fmla="*/ 401 w 458"/>
                  <a:gd name="T69" fmla="*/ 47 h 437"/>
                  <a:gd name="T70" fmla="*/ 388 w 458"/>
                  <a:gd name="T71" fmla="*/ 29 h 437"/>
                  <a:gd name="T72" fmla="*/ 373 w 458"/>
                  <a:gd name="T73" fmla="*/ 12 h 437"/>
                  <a:gd name="T74" fmla="*/ 373 w 458"/>
                  <a:gd name="T75" fmla="*/ 12 h 437"/>
                  <a:gd name="T76" fmla="*/ 372 w 458"/>
                  <a:gd name="T77" fmla="*/ 11 h 437"/>
                  <a:gd name="T78" fmla="*/ 372 w 458"/>
                  <a:gd name="T79" fmla="*/ 11 h 437"/>
                  <a:gd name="T80" fmla="*/ 361 w 458"/>
                  <a:gd name="T81" fmla="*/ 0 h 437"/>
                  <a:gd name="T82" fmla="*/ 0 w 458"/>
                  <a:gd name="T83" fmla="*/ 361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58" h="437">
                    <a:moveTo>
                      <a:pt x="0" y="361"/>
                    </a:moveTo>
                    <a:lnTo>
                      <a:pt x="0" y="361"/>
                    </a:lnTo>
                    <a:lnTo>
                      <a:pt x="18" y="378"/>
                    </a:lnTo>
                    <a:lnTo>
                      <a:pt x="39" y="394"/>
                    </a:lnTo>
                    <a:lnTo>
                      <a:pt x="61" y="406"/>
                    </a:lnTo>
                    <a:lnTo>
                      <a:pt x="85" y="417"/>
                    </a:lnTo>
                    <a:lnTo>
                      <a:pt x="110" y="426"/>
                    </a:lnTo>
                    <a:lnTo>
                      <a:pt x="135" y="433"/>
                    </a:lnTo>
                    <a:lnTo>
                      <a:pt x="161" y="436"/>
                    </a:lnTo>
                    <a:lnTo>
                      <a:pt x="189" y="437"/>
                    </a:lnTo>
                    <a:lnTo>
                      <a:pt x="189" y="437"/>
                    </a:lnTo>
                    <a:lnTo>
                      <a:pt x="216" y="436"/>
                    </a:lnTo>
                    <a:lnTo>
                      <a:pt x="243" y="433"/>
                    </a:lnTo>
                    <a:lnTo>
                      <a:pt x="268" y="426"/>
                    </a:lnTo>
                    <a:lnTo>
                      <a:pt x="293" y="417"/>
                    </a:lnTo>
                    <a:lnTo>
                      <a:pt x="316" y="406"/>
                    </a:lnTo>
                    <a:lnTo>
                      <a:pt x="339" y="392"/>
                    </a:lnTo>
                    <a:lnTo>
                      <a:pt x="360" y="378"/>
                    </a:lnTo>
                    <a:lnTo>
                      <a:pt x="378" y="359"/>
                    </a:lnTo>
                    <a:lnTo>
                      <a:pt x="396" y="341"/>
                    </a:lnTo>
                    <a:lnTo>
                      <a:pt x="411" y="320"/>
                    </a:lnTo>
                    <a:lnTo>
                      <a:pt x="424" y="298"/>
                    </a:lnTo>
                    <a:lnTo>
                      <a:pt x="436" y="275"/>
                    </a:lnTo>
                    <a:lnTo>
                      <a:pt x="445" y="251"/>
                    </a:lnTo>
                    <a:lnTo>
                      <a:pt x="452" y="225"/>
                    </a:lnTo>
                    <a:lnTo>
                      <a:pt x="457" y="198"/>
                    </a:lnTo>
                    <a:lnTo>
                      <a:pt x="458" y="172"/>
                    </a:lnTo>
                    <a:lnTo>
                      <a:pt x="458" y="172"/>
                    </a:lnTo>
                    <a:lnTo>
                      <a:pt x="458" y="172"/>
                    </a:lnTo>
                    <a:lnTo>
                      <a:pt x="452" y="149"/>
                    </a:lnTo>
                    <a:lnTo>
                      <a:pt x="445" y="127"/>
                    </a:lnTo>
                    <a:lnTo>
                      <a:pt x="435" y="106"/>
                    </a:lnTo>
                    <a:lnTo>
                      <a:pt x="425" y="85"/>
                    </a:lnTo>
                    <a:lnTo>
                      <a:pt x="413" y="66"/>
                    </a:lnTo>
                    <a:lnTo>
                      <a:pt x="401" y="47"/>
                    </a:lnTo>
                    <a:lnTo>
                      <a:pt x="388" y="29"/>
                    </a:lnTo>
                    <a:lnTo>
                      <a:pt x="373" y="12"/>
                    </a:lnTo>
                    <a:lnTo>
                      <a:pt x="373" y="12"/>
                    </a:lnTo>
                    <a:lnTo>
                      <a:pt x="372" y="11"/>
                    </a:lnTo>
                    <a:lnTo>
                      <a:pt x="372" y="11"/>
                    </a:lnTo>
                    <a:lnTo>
                      <a:pt x="361" y="0"/>
                    </a:lnTo>
                    <a:lnTo>
                      <a:pt x="0" y="36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02" name="Freeform 885"/>
              <p:cNvSpPr>
                <a:spLocks/>
              </p:cNvSpPr>
              <p:nvPr/>
            </p:nvSpPr>
            <p:spPr bwMode="auto">
              <a:xfrm>
                <a:off x="2063784" y="4791111"/>
                <a:ext cx="68263" cy="120651"/>
              </a:xfrm>
              <a:custGeom>
                <a:avLst/>
                <a:gdLst>
                  <a:gd name="T0" fmla="*/ 196 w 215"/>
                  <a:gd name="T1" fmla="*/ 0 h 380"/>
                  <a:gd name="T2" fmla="*/ 181 w 215"/>
                  <a:gd name="T3" fmla="*/ 6 h 380"/>
                  <a:gd name="T4" fmla="*/ 163 w 215"/>
                  <a:gd name="T5" fmla="*/ 23 h 380"/>
                  <a:gd name="T6" fmla="*/ 142 w 215"/>
                  <a:gd name="T7" fmla="*/ 51 h 380"/>
                  <a:gd name="T8" fmla="*/ 118 w 215"/>
                  <a:gd name="T9" fmla="*/ 89 h 380"/>
                  <a:gd name="T10" fmla="*/ 62 w 215"/>
                  <a:gd name="T11" fmla="*/ 190 h 380"/>
                  <a:gd name="T12" fmla="*/ 0 w 215"/>
                  <a:gd name="T13" fmla="*/ 321 h 380"/>
                  <a:gd name="T14" fmla="*/ 7 w 215"/>
                  <a:gd name="T15" fmla="*/ 323 h 380"/>
                  <a:gd name="T16" fmla="*/ 7 w 215"/>
                  <a:gd name="T17" fmla="*/ 323 h 380"/>
                  <a:gd name="T18" fmla="*/ 24 w 215"/>
                  <a:gd name="T19" fmla="*/ 326 h 380"/>
                  <a:gd name="T20" fmla="*/ 37 w 215"/>
                  <a:gd name="T21" fmla="*/ 302 h 380"/>
                  <a:gd name="T22" fmla="*/ 63 w 215"/>
                  <a:gd name="T23" fmla="*/ 260 h 380"/>
                  <a:gd name="T24" fmla="*/ 86 w 215"/>
                  <a:gd name="T25" fmla="*/ 231 h 380"/>
                  <a:gd name="T26" fmla="*/ 104 w 215"/>
                  <a:gd name="T27" fmla="*/ 217 h 380"/>
                  <a:gd name="T28" fmla="*/ 112 w 215"/>
                  <a:gd name="T29" fmla="*/ 215 h 380"/>
                  <a:gd name="T30" fmla="*/ 115 w 215"/>
                  <a:gd name="T31" fmla="*/ 215 h 380"/>
                  <a:gd name="T32" fmla="*/ 118 w 215"/>
                  <a:gd name="T33" fmla="*/ 217 h 380"/>
                  <a:gd name="T34" fmla="*/ 123 w 215"/>
                  <a:gd name="T35" fmla="*/ 224 h 380"/>
                  <a:gd name="T36" fmla="*/ 126 w 215"/>
                  <a:gd name="T37" fmla="*/ 242 h 380"/>
                  <a:gd name="T38" fmla="*/ 126 w 215"/>
                  <a:gd name="T39" fmla="*/ 279 h 380"/>
                  <a:gd name="T40" fmla="*/ 119 w 215"/>
                  <a:gd name="T41" fmla="*/ 330 h 380"/>
                  <a:gd name="T42" fmla="*/ 114 w 215"/>
                  <a:gd name="T43" fmla="*/ 359 h 380"/>
                  <a:gd name="T44" fmla="*/ 130 w 215"/>
                  <a:gd name="T45" fmla="*/ 368 h 380"/>
                  <a:gd name="T46" fmla="*/ 134 w 215"/>
                  <a:gd name="T47" fmla="*/ 370 h 380"/>
                  <a:gd name="T48" fmla="*/ 148 w 215"/>
                  <a:gd name="T49" fmla="*/ 380 h 380"/>
                  <a:gd name="T50" fmla="*/ 187 w 215"/>
                  <a:gd name="T51" fmla="*/ 231 h 380"/>
                  <a:gd name="T52" fmla="*/ 209 w 215"/>
                  <a:gd name="T53" fmla="*/ 114 h 380"/>
                  <a:gd name="T54" fmla="*/ 214 w 215"/>
                  <a:gd name="T55" fmla="*/ 69 h 380"/>
                  <a:gd name="T56" fmla="*/ 214 w 215"/>
                  <a:gd name="T57" fmla="*/ 35 h 380"/>
                  <a:gd name="T58" fmla="*/ 211 w 215"/>
                  <a:gd name="T59" fmla="*/ 12 h 380"/>
                  <a:gd name="T60" fmla="*/ 203 w 215"/>
                  <a:gd name="T61" fmla="*/ 2 h 380"/>
                  <a:gd name="T62" fmla="*/ 201 w 215"/>
                  <a:gd name="T63" fmla="*/ 1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5" h="380">
                    <a:moveTo>
                      <a:pt x="196" y="0"/>
                    </a:moveTo>
                    <a:lnTo>
                      <a:pt x="196" y="0"/>
                    </a:lnTo>
                    <a:lnTo>
                      <a:pt x="190" y="2"/>
                    </a:lnTo>
                    <a:lnTo>
                      <a:pt x="181" y="6"/>
                    </a:lnTo>
                    <a:lnTo>
                      <a:pt x="173" y="13"/>
                    </a:lnTo>
                    <a:lnTo>
                      <a:pt x="163" y="23"/>
                    </a:lnTo>
                    <a:lnTo>
                      <a:pt x="153" y="35"/>
                    </a:lnTo>
                    <a:lnTo>
                      <a:pt x="142" y="51"/>
                    </a:lnTo>
                    <a:lnTo>
                      <a:pt x="130" y="68"/>
                    </a:lnTo>
                    <a:lnTo>
                      <a:pt x="118" y="89"/>
                    </a:lnTo>
                    <a:lnTo>
                      <a:pt x="91" y="135"/>
                    </a:lnTo>
                    <a:lnTo>
                      <a:pt x="62" y="190"/>
                    </a:lnTo>
                    <a:lnTo>
                      <a:pt x="31" y="252"/>
                    </a:lnTo>
                    <a:lnTo>
                      <a:pt x="0" y="321"/>
                    </a:lnTo>
                    <a:lnTo>
                      <a:pt x="0" y="321"/>
                    </a:lnTo>
                    <a:lnTo>
                      <a:pt x="7" y="323"/>
                    </a:lnTo>
                    <a:lnTo>
                      <a:pt x="7" y="323"/>
                    </a:lnTo>
                    <a:lnTo>
                      <a:pt x="7" y="323"/>
                    </a:lnTo>
                    <a:lnTo>
                      <a:pt x="7" y="323"/>
                    </a:lnTo>
                    <a:lnTo>
                      <a:pt x="24" y="326"/>
                    </a:lnTo>
                    <a:lnTo>
                      <a:pt x="24" y="326"/>
                    </a:lnTo>
                    <a:lnTo>
                      <a:pt x="37" y="302"/>
                    </a:lnTo>
                    <a:lnTo>
                      <a:pt x="51" y="280"/>
                    </a:lnTo>
                    <a:lnTo>
                      <a:pt x="63" y="260"/>
                    </a:lnTo>
                    <a:lnTo>
                      <a:pt x="75" y="245"/>
                    </a:lnTo>
                    <a:lnTo>
                      <a:pt x="86" y="231"/>
                    </a:lnTo>
                    <a:lnTo>
                      <a:pt x="96" y="223"/>
                    </a:lnTo>
                    <a:lnTo>
                      <a:pt x="104" y="217"/>
                    </a:lnTo>
                    <a:lnTo>
                      <a:pt x="108" y="215"/>
                    </a:lnTo>
                    <a:lnTo>
                      <a:pt x="112" y="215"/>
                    </a:lnTo>
                    <a:lnTo>
                      <a:pt x="112" y="215"/>
                    </a:lnTo>
                    <a:lnTo>
                      <a:pt x="115" y="215"/>
                    </a:lnTo>
                    <a:lnTo>
                      <a:pt x="115" y="215"/>
                    </a:lnTo>
                    <a:lnTo>
                      <a:pt x="118" y="217"/>
                    </a:lnTo>
                    <a:lnTo>
                      <a:pt x="120" y="220"/>
                    </a:lnTo>
                    <a:lnTo>
                      <a:pt x="123" y="224"/>
                    </a:lnTo>
                    <a:lnTo>
                      <a:pt x="125" y="229"/>
                    </a:lnTo>
                    <a:lnTo>
                      <a:pt x="126" y="242"/>
                    </a:lnTo>
                    <a:lnTo>
                      <a:pt x="128" y="258"/>
                    </a:lnTo>
                    <a:lnTo>
                      <a:pt x="126" y="279"/>
                    </a:lnTo>
                    <a:lnTo>
                      <a:pt x="124" y="303"/>
                    </a:lnTo>
                    <a:lnTo>
                      <a:pt x="119" y="330"/>
                    </a:lnTo>
                    <a:lnTo>
                      <a:pt x="114" y="359"/>
                    </a:lnTo>
                    <a:lnTo>
                      <a:pt x="114" y="359"/>
                    </a:lnTo>
                    <a:lnTo>
                      <a:pt x="130" y="368"/>
                    </a:lnTo>
                    <a:lnTo>
                      <a:pt x="130" y="368"/>
                    </a:lnTo>
                    <a:lnTo>
                      <a:pt x="134" y="370"/>
                    </a:lnTo>
                    <a:lnTo>
                      <a:pt x="134" y="370"/>
                    </a:lnTo>
                    <a:lnTo>
                      <a:pt x="148" y="380"/>
                    </a:lnTo>
                    <a:lnTo>
                      <a:pt x="148" y="380"/>
                    </a:lnTo>
                    <a:lnTo>
                      <a:pt x="169" y="302"/>
                    </a:lnTo>
                    <a:lnTo>
                      <a:pt x="187" y="231"/>
                    </a:lnTo>
                    <a:lnTo>
                      <a:pt x="201" y="169"/>
                    </a:lnTo>
                    <a:lnTo>
                      <a:pt x="209" y="114"/>
                    </a:lnTo>
                    <a:lnTo>
                      <a:pt x="213" y="90"/>
                    </a:lnTo>
                    <a:lnTo>
                      <a:pt x="214" y="69"/>
                    </a:lnTo>
                    <a:lnTo>
                      <a:pt x="215" y="51"/>
                    </a:lnTo>
                    <a:lnTo>
                      <a:pt x="214" y="35"/>
                    </a:lnTo>
                    <a:lnTo>
                      <a:pt x="213" y="21"/>
                    </a:lnTo>
                    <a:lnTo>
                      <a:pt x="211" y="12"/>
                    </a:lnTo>
                    <a:lnTo>
                      <a:pt x="206" y="4"/>
                    </a:lnTo>
                    <a:lnTo>
                      <a:pt x="203" y="2"/>
                    </a:lnTo>
                    <a:lnTo>
                      <a:pt x="201" y="1"/>
                    </a:lnTo>
                    <a:lnTo>
                      <a:pt x="201" y="1"/>
                    </a:lnTo>
                    <a:lnTo>
                      <a:pt x="196"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03" name="Freeform 886"/>
              <p:cNvSpPr>
                <a:spLocks/>
              </p:cNvSpPr>
              <p:nvPr/>
            </p:nvSpPr>
            <p:spPr bwMode="auto">
              <a:xfrm>
                <a:off x="2063784" y="4791111"/>
                <a:ext cx="68263" cy="120651"/>
              </a:xfrm>
              <a:custGeom>
                <a:avLst/>
                <a:gdLst>
                  <a:gd name="T0" fmla="*/ 196 w 215"/>
                  <a:gd name="T1" fmla="*/ 0 h 380"/>
                  <a:gd name="T2" fmla="*/ 181 w 215"/>
                  <a:gd name="T3" fmla="*/ 6 h 380"/>
                  <a:gd name="T4" fmla="*/ 163 w 215"/>
                  <a:gd name="T5" fmla="*/ 23 h 380"/>
                  <a:gd name="T6" fmla="*/ 142 w 215"/>
                  <a:gd name="T7" fmla="*/ 51 h 380"/>
                  <a:gd name="T8" fmla="*/ 118 w 215"/>
                  <a:gd name="T9" fmla="*/ 89 h 380"/>
                  <a:gd name="T10" fmla="*/ 62 w 215"/>
                  <a:gd name="T11" fmla="*/ 190 h 380"/>
                  <a:gd name="T12" fmla="*/ 0 w 215"/>
                  <a:gd name="T13" fmla="*/ 321 h 380"/>
                  <a:gd name="T14" fmla="*/ 7 w 215"/>
                  <a:gd name="T15" fmla="*/ 323 h 380"/>
                  <a:gd name="T16" fmla="*/ 7 w 215"/>
                  <a:gd name="T17" fmla="*/ 323 h 380"/>
                  <a:gd name="T18" fmla="*/ 24 w 215"/>
                  <a:gd name="T19" fmla="*/ 326 h 380"/>
                  <a:gd name="T20" fmla="*/ 37 w 215"/>
                  <a:gd name="T21" fmla="*/ 302 h 380"/>
                  <a:gd name="T22" fmla="*/ 63 w 215"/>
                  <a:gd name="T23" fmla="*/ 260 h 380"/>
                  <a:gd name="T24" fmla="*/ 86 w 215"/>
                  <a:gd name="T25" fmla="*/ 231 h 380"/>
                  <a:gd name="T26" fmla="*/ 104 w 215"/>
                  <a:gd name="T27" fmla="*/ 217 h 380"/>
                  <a:gd name="T28" fmla="*/ 112 w 215"/>
                  <a:gd name="T29" fmla="*/ 215 h 380"/>
                  <a:gd name="T30" fmla="*/ 115 w 215"/>
                  <a:gd name="T31" fmla="*/ 215 h 380"/>
                  <a:gd name="T32" fmla="*/ 118 w 215"/>
                  <a:gd name="T33" fmla="*/ 217 h 380"/>
                  <a:gd name="T34" fmla="*/ 123 w 215"/>
                  <a:gd name="T35" fmla="*/ 224 h 380"/>
                  <a:gd name="T36" fmla="*/ 126 w 215"/>
                  <a:gd name="T37" fmla="*/ 242 h 380"/>
                  <a:gd name="T38" fmla="*/ 126 w 215"/>
                  <a:gd name="T39" fmla="*/ 279 h 380"/>
                  <a:gd name="T40" fmla="*/ 119 w 215"/>
                  <a:gd name="T41" fmla="*/ 330 h 380"/>
                  <a:gd name="T42" fmla="*/ 114 w 215"/>
                  <a:gd name="T43" fmla="*/ 359 h 380"/>
                  <a:gd name="T44" fmla="*/ 130 w 215"/>
                  <a:gd name="T45" fmla="*/ 368 h 380"/>
                  <a:gd name="T46" fmla="*/ 134 w 215"/>
                  <a:gd name="T47" fmla="*/ 370 h 380"/>
                  <a:gd name="T48" fmla="*/ 148 w 215"/>
                  <a:gd name="T49" fmla="*/ 380 h 380"/>
                  <a:gd name="T50" fmla="*/ 187 w 215"/>
                  <a:gd name="T51" fmla="*/ 231 h 380"/>
                  <a:gd name="T52" fmla="*/ 209 w 215"/>
                  <a:gd name="T53" fmla="*/ 114 h 380"/>
                  <a:gd name="T54" fmla="*/ 214 w 215"/>
                  <a:gd name="T55" fmla="*/ 69 h 380"/>
                  <a:gd name="T56" fmla="*/ 214 w 215"/>
                  <a:gd name="T57" fmla="*/ 35 h 380"/>
                  <a:gd name="T58" fmla="*/ 211 w 215"/>
                  <a:gd name="T59" fmla="*/ 12 h 380"/>
                  <a:gd name="T60" fmla="*/ 203 w 215"/>
                  <a:gd name="T61" fmla="*/ 2 h 380"/>
                  <a:gd name="T62" fmla="*/ 201 w 215"/>
                  <a:gd name="T63" fmla="*/ 1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5" h="380">
                    <a:moveTo>
                      <a:pt x="196" y="0"/>
                    </a:moveTo>
                    <a:lnTo>
                      <a:pt x="196" y="0"/>
                    </a:lnTo>
                    <a:lnTo>
                      <a:pt x="190" y="2"/>
                    </a:lnTo>
                    <a:lnTo>
                      <a:pt x="181" y="6"/>
                    </a:lnTo>
                    <a:lnTo>
                      <a:pt x="173" y="13"/>
                    </a:lnTo>
                    <a:lnTo>
                      <a:pt x="163" y="23"/>
                    </a:lnTo>
                    <a:lnTo>
                      <a:pt x="153" y="35"/>
                    </a:lnTo>
                    <a:lnTo>
                      <a:pt x="142" y="51"/>
                    </a:lnTo>
                    <a:lnTo>
                      <a:pt x="130" y="68"/>
                    </a:lnTo>
                    <a:lnTo>
                      <a:pt x="118" y="89"/>
                    </a:lnTo>
                    <a:lnTo>
                      <a:pt x="91" y="135"/>
                    </a:lnTo>
                    <a:lnTo>
                      <a:pt x="62" y="190"/>
                    </a:lnTo>
                    <a:lnTo>
                      <a:pt x="31" y="252"/>
                    </a:lnTo>
                    <a:lnTo>
                      <a:pt x="0" y="321"/>
                    </a:lnTo>
                    <a:lnTo>
                      <a:pt x="0" y="321"/>
                    </a:lnTo>
                    <a:lnTo>
                      <a:pt x="7" y="323"/>
                    </a:lnTo>
                    <a:lnTo>
                      <a:pt x="7" y="323"/>
                    </a:lnTo>
                    <a:lnTo>
                      <a:pt x="7" y="323"/>
                    </a:lnTo>
                    <a:lnTo>
                      <a:pt x="7" y="323"/>
                    </a:lnTo>
                    <a:lnTo>
                      <a:pt x="24" y="326"/>
                    </a:lnTo>
                    <a:lnTo>
                      <a:pt x="24" y="326"/>
                    </a:lnTo>
                    <a:lnTo>
                      <a:pt x="37" y="302"/>
                    </a:lnTo>
                    <a:lnTo>
                      <a:pt x="51" y="280"/>
                    </a:lnTo>
                    <a:lnTo>
                      <a:pt x="63" y="260"/>
                    </a:lnTo>
                    <a:lnTo>
                      <a:pt x="75" y="245"/>
                    </a:lnTo>
                    <a:lnTo>
                      <a:pt x="86" y="231"/>
                    </a:lnTo>
                    <a:lnTo>
                      <a:pt x="96" y="223"/>
                    </a:lnTo>
                    <a:lnTo>
                      <a:pt x="104" y="217"/>
                    </a:lnTo>
                    <a:lnTo>
                      <a:pt x="108" y="215"/>
                    </a:lnTo>
                    <a:lnTo>
                      <a:pt x="112" y="215"/>
                    </a:lnTo>
                    <a:lnTo>
                      <a:pt x="112" y="215"/>
                    </a:lnTo>
                    <a:lnTo>
                      <a:pt x="115" y="215"/>
                    </a:lnTo>
                    <a:lnTo>
                      <a:pt x="115" y="215"/>
                    </a:lnTo>
                    <a:lnTo>
                      <a:pt x="118" y="217"/>
                    </a:lnTo>
                    <a:lnTo>
                      <a:pt x="120" y="220"/>
                    </a:lnTo>
                    <a:lnTo>
                      <a:pt x="123" y="224"/>
                    </a:lnTo>
                    <a:lnTo>
                      <a:pt x="125" y="229"/>
                    </a:lnTo>
                    <a:lnTo>
                      <a:pt x="126" y="242"/>
                    </a:lnTo>
                    <a:lnTo>
                      <a:pt x="128" y="258"/>
                    </a:lnTo>
                    <a:lnTo>
                      <a:pt x="126" y="279"/>
                    </a:lnTo>
                    <a:lnTo>
                      <a:pt x="124" y="303"/>
                    </a:lnTo>
                    <a:lnTo>
                      <a:pt x="119" y="330"/>
                    </a:lnTo>
                    <a:lnTo>
                      <a:pt x="114" y="359"/>
                    </a:lnTo>
                    <a:lnTo>
                      <a:pt x="114" y="359"/>
                    </a:lnTo>
                    <a:lnTo>
                      <a:pt x="130" y="368"/>
                    </a:lnTo>
                    <a:lnTo>
                      <a:pt x="130" y="368"/>
                    </a:lnTo>
                    <a:lnTo>
                      <a:pt x="134" y="370"/>
                    </a:lnTo>
                    <a:lnTo>
                      <a:pt x="134" y="370"/>
                    </a:lnTo>
                    <a:lnTo>
                      <a:pt x="148" y="380"/>
                    </a:lnTo>
                    <a:lnTo>
                      <a:pt x="148" y="380"/>
                    </a:lnTo>
                    <a:lnTo>
                      <a:pt x="169" y="302"/>
                    </a:lnTo>
                    <a:lnTo>
                      <a:pt x="187" y="231"/>
                    </a:lnTo>
                    <a:lnTo>
                      <a:pt x="201" y="169"/>
                    </a:lnTo>
                    <a:lnTo>
                      <a:pt x="209" y="114"/>
                    </a:lnTo>
                    <a:lnTo>
                      <a:pt x="213" y="90"/>
                    </a:lnTo>
                    <a:lnTo>
                      <a:pt x="214" y="69"/>
                    </a:lnTo>
                    <a:lnTo>
                      <a:pt x="215" y="51"/>
                    </a:lnTo>
                    <a:lnTo>
                      <a:pt x="214" y="35"/>
                    </a:lnTo>
                    <a:lnTo>
                      <a:pt x="213" y="21"/>
                    </a:lnTo>
                    <a:lnTo>
                      <a:pt x="211" y="12"/>
                    </a:lnTo>
                    <a:lnTo>
                      <a:pt x="206" y="4"/>
                    </a:lnTo>
                    <a:lnTo>
                      <a:pt x="203" y="2"/>
                    </a:lnTo>
                    <a:lnTo>
                      <a:pt x="201" y="1"/>
                    </a:lnTo>
                    <a:lnTo>
                      <a:pt x="201" y="1"/>
                    </a:lnTo>
                    <a:lnTo>
                      <a:pt x="1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04" name="Freeform 887"/>
              <p:cNvSpPr>
                <a:spLocks/>
              </p:cNvSpPr>
              <p:nvPr/>
            </p:nvSpPr>
            <p:spPr bwMode="auto">
              <a:xfrm>
                <a:off x="2063784" y="4892712"/>
                <a:ext cx="1588" cy="1588"/>
              </a:xfrm>
              <a:custGeom>
                <a:avLst/>
                <a:gdLst>
                  <a:gd name="T0" fmla="*/ 0 w 7"/>
                  <a:gd name="T1" fmla="*/ 0 h 2"/>
                  <a:gd name="T2" fmla="*/ 0 w 7"/>
                  <a:gd name="T3" fmla="*/ 0 h 2"/>
                  <a:gd name="T4" fmla="*/ 0 w 7"/>
                  <a:gd name="T5" fmla="*/ 0 h 2"/>
                  <a:gd name="T6" fmla="*/ 0 w 7"/>
                  <a:gd name="T7" fmla="*/ 0 h 2"/>
                  <a:gd name="T8" fmla="*/ 7 w 7"/>
                  <a:gd name="T9" fmla="*/ 2 h 2"/>
                  <a:gd name="T10" fmla="*/ 7 w 7"/>
                  <a:gd name="T11" fmla="*/ 2 h 2"/>
                  <a:gd name="T12" fmla="*/ 0 w 7"/>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7" h="2">
                    <a:moveTo>
                      <a:pt x="0" y="0"/>
                    </a:moveTo>
                    <a:lnTo>
                      <a:pt x="0" y="0"/>
                    </a:lnTo>
                    <a:lnTo>
                      <a:pt x="0" y="0"/>
                    </a:lnTo>
                    <a:lnTo>
                      <a:pt x="0" y="0"/>
                    </a:lnTo>
                    <a:lnTo>
                      <a:pt x="7" y="2"/>
                    </a:lnTo>
                    <a:lnTo>
                      <a:pt x="7" y="2"/>
                    </a:lnTo>
                    <a:lnTo>
                      <a:pt x="0" y="0"/>
                    </a:lnTo>
                    <a:close/>
                  </a:path>
                </a:pathLst>
              </a:custGeom>
              <a:solidFill>
                <a:srgbClr val="6ABA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05" name="Freeform 888"/>
              <p:cNvSpPr>
                <a:spLocks/>
              </p:cNvSpPr>
              <p:nvPr/>
            </p:nvSpPr>
            <p:spPr bwMode="auto">
              <a:xfrm>
                <a:off x="2063784" y="4892712"/>
                <a:ext cx="1588" cy="1588"/>
              </a:xfrm>
              <a:custGeom>
                <a:avLst/>
                <a:gdLst>
                  <a:gd name="T0" fmla="*/ 0 w 7"/>
                  <a:gd name="T1" fmla="*/ 0 h 2"/>
                  <a:gd name="T2" fmla="*/ 0 w 7"/>
                  <a:gd name="T3" fmla="*/ 0 h 2"/>
                  <a:gd name="T4" fmla="*/ 0 w 7"/>
                  <a:gd name="T5" fmla="*/ 0 h 2"/>
                  <a:gd name="T6" fmla="*/ 0 w 7"/>
                  <a:gd name="T7" fmla="*/ 0 h 2"/>
                  <a:gd name="T8" fmla="*/ 7 w 7"/>
                  <a:gd name="T9" fmla="*/ 2 h 2"/>
                  <a:gd name="T10" fmla="*/ 7 w 7"/>
                  <a:gd name="T11" fmla="*/ 2 h 2"/>
                  <a:gd name="T12" fmla="*/ 0 w 7"/>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7" h="2">
                    <a:moveTo>
                      <a:pt x="0" y="0"/>
                    </a:moveTo>
                    <a:lnTo>
                      <a:pt x="0" y="0"/>
                    </a:lnTo>
                    <a:lnTo>
                      <a:pt x="0" y="0"/>
                    </a:lnTo>
                    <a:lnTo>
                      <a:pt x="0" y="0"/>
                    </a:lnTo>
                    <a:lnTo>
                      <a:pt x="7" y="2"/>
                    </a:lnTo>
                    <a:lnTo>
                      <a:pt x="7"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06" name="Freeform 889"/>
              <p:cNvSpPr>
                <a:spLocks noEditPoints="1"/>
              </p:cNvSpPr>
              <p:nvPr/>
            </p:nvSpPr>
            <p:spPr bwMode="auto">
              <a:xfrm>
                <a:off x="2065371" y="4894300"/>
                <a:ext cx="44450" cy="76201"/>
              </a:xfrm>
              <a:custGeom>
                <a:avLst/>
                <a:gdLst>
                  <a:gd name="T0" fmla="*/ 107 w 141"/>
                  <a:gd name="T1" fmla="*/ 36 h 243"/>
                  <a:gd name="T2" fmla="*/ 107 w 141"/>
                  <a:gd name="T3" fmla="*/ 36 h 243"/>
                  <a:gd name="T4" fmla="*/ 96 w 141"/>
                  <a:gd name="T5" fmla="*/ 81 h 243"/>
                  <a:gd name="T6" fmla="*/ 84 w 141"/>
                  <a:gd name="T7" fmla="*/ 131 h 243"/>
                  <a:gd name="T8" fmla="*/ 69 w 141"/>
                  <a:gd name="T9" fmla="*/ 186 h 243"/>
                  <a:gd name="T10" fmla="*/ 51 w 141"/>
                  <a:gd name="T11" fmla="*/ 243 h 243"/>
                  <a:gd name="T12" fmla="*/ 99 w 141"/>
                  <a:gd name="T13" fmla="*/ 196 h 243"/>
                  <a:gd name="T14" fmla="*/ 99 w 141"/>
                  <a:gd name="T15" fmla="*/ 196 h 243"/>
                  <a:gd name="T16" fmla="*/ 121 w 141"/>
                  <a:gd name="T17" fmla="*/ 125 h 243"/>
                  <a:gd name="T18" fmla="*/ 141 w 141"/>
                  <a:gd name="T19" fmla="*/ 57 h 243"/>
                  <a:gd name="T20" fmla="*/ 141 w 141"/>
                  <a:gd name="T21" fmla="*/ 57 h 243"/>
                  <a:gd name="T22" fmla="*/ 127 w 141"/>
                  <a:gd name="T23" fmla="*/ 47 h 243"/>
                  <a:gd name="T24" fmla="*/ 127 w 141"/>
                  <a:gd name="T25" fmla="*/ 47 h 243"/>
                  <a:gd name="T26" fmla="*/ 123 w 141"/>
                  <a:gd name="T27" fmla="*/ 45 h 243"/>
                  <a:gd name="T28" fmla="*/ 123 w 141"/>
                  <a:gd name="T29" fmla="*/ 45 h 243"/>
                  <a:gd name="T30" fmla="*/ 107 w 141"/>
                  <a:gd name="T31" fmla="*/ 36 h 243"/>
                  <a:gd name="T32" fmla="*/ 0 w 141"/>
                  <a:gd name="T33" fmla="*/ 0 h 243"/>
                  <a:gd name="T34" fmla="*/ 0 w 141"/>
                  <a:gd name="T35" fmla="*/ 0 h 243"/>
                  <a:gd name="T36" fmla="*/ 17 w 141"/>
                  <a:gd name="T37" fmla="*/ 3 h 243"/>
                  <a:gd name="T38" fmla="*/ 17 w 141"/>
                  <a:gd name="T39" fmla="*/ 3 h 243"/>
                  <a:gd name="T40" fmla="*/ 17 w 141"/>
                  <a:gd name="T41" fmla="*/ 3 h 243"/>
                  <a:gd name="T42" fmla="*/ 17 w 141"/>
                  <a:gd name="T43" fmla="*/ 3 h 243"/>
                  <a:gd name="T44" fmla="*/ 0 w 141"/>
                  <a:gd name="T45" fmla="*/ 0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1" h="243">
                    <a:moveTo>
                      <a:pt x="107" y="36"/>
                    </a:moveTo>
                    <a:lnTo>
                      <a:pt x="107" y="36"/>
                    </a:lnTo>
                    <a:lnTo>
                      <a:pt x="96" y="81"/>
                    </a:lnTo>
                    <a:lnTo>
                      <a:pt x="84" y="131"/>
                    </a:lnTo>
                    <a:lnTo>
                      <a:pt x="69" y="186"/>
                    </a:lnTo>
                    <a:lnTo>
                      <a:pt x="51" y="243"/>
                    </a:lnTo>
                    <a:lnTo>
                      <a:pt x="99" y="196"/>
                    </a:lnTo>
                    <a:lnTo>
                      <a:pt x="99" y="196"/>
                    </a:lnTo>
                    <a:lnTo>
                      <a:pt x="121" y="125"/>
                    </a:lnTo>
                    <a:lnTo>
                      <a:pt x="141" y="57"/>
                    </a:lnTo>
                    <a:lnTo>
                      <a:pt x="141" y="57"/>
                    </a:lnTo>
                    <a:lnTo>
                      <a:pt x="127" y="47"/>
                    </a:lnTo>
                    <a:lnTo>
                      <a:pt x="127" y="47"/>
                    </a:lnTo>
                    <a:lnTo>
                      <a:pt x="123" y="45"/>
                    </a:lnTo>
                    <a:lnTo>
                      <a:pt x="123" y="45"/>
                    </a:lnTo>
                    <a:lnTo>
                      <a:pt x="107" y="36"/>
                    </a:lnTo>
                    <a:close/>
                    <a:moveTo>
                      <a:pt x="0" y="0"/>
                    </a:moveTo>
                    <a:lnTo>
                      <a:pt x="0" y="0"/>
                    </a:lnTo>
                    <a:lnTo>
                      <a:pt x="17" y="3"/>
                    </a:lnTo>
                    <a:lnTo>
                      <a:pt x="17" y="3"/>
                    </a:lnTo>
                    <a:lnTo>
                      <a:pt x="17" y="3"/>
                    </a:lnTo>
                    <a:lnTo>
                      <a:pt x="17" y="3"/>
                    </a:lnTo>
                    <a:lnTo>
                      <a:pt x="0" y="0"/>
                    </a:lnTo>
                    <a:close/>
                  </a:path>
                </a:pathLst>
              </a:custGeom>
              <a:solidFill>
                <a:srgbClr val="7CDD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07" name="Freeform 890"/>
              <p:cNvSpPr>
                <a:spLocks/>
              </p:cNvSpPr>
              <p:nvPr/>
            </p:nvSpPr>
            <p:spPr bwMode="auto">
              <a:xfrm>
                <a:off x="2081246" y="4905412"/>
                <a:ext cx="28575" cy="65088"/>
              </a:xfrm>
              <a:custGeom>
                <a:avLst/>
                <a:gdLst>
                  <a:gd name="T0" fmla="*/ 56 w 90"/>
                  <a:gd name="T1" fmla="*/ 0 h 207"/>
                  <a:gd name="T2" fmla="*/ 56 w 90"/>
                  <a:gd name="T3" fmla="*/ 0 h 207"/>
                  <a:gd name="T4" fmla="*/ 45 w 90"/>
                  <a:gd name="T5" fmla="*/ 45 h 207"/>
                  <a:gd name="T6" fmla="*/ 33 w 90"/>
                  <a:gd name="T7" fmla="*/ 95 h 207"/>
                  <a:gd name="T8" fmla="*/ 18 w 90"/>
                  <a:gd name="T9" fmla="*/ 150 h 207"/>
                  <a:gd name="T10" fmla="*/ 0 w 90"/>
                  <a:gd name="T11" fmla="*/ 207 h 207"/>
                  <a:gd name="T12" fmla="*/ 48 w 90"/>
                  <a:gd name="T13" fmla="*/ 160 h 207"/>
                  <a:gd name="T14" fmla="*/ 48 w 90"/>
                  <a:gd name="T15" fmla="*/ 160 h 207"/>
                  <a:gd name="T16" fmla="*/ 70 w 90"/>
                  <a:gd name="T17" fmla="*/ 89 h 207"/>
                  <a:gd name="T18" fmla="*/ 90 w 90"/>
                  <a:gd name="T19" fmla="*/ 21 h 207"/>
                  <a:gd name="T20" fmla="*/ 90 w 90"/>
                  <a:gd name="T21" fmla="*/ 21 h 207"/>
                  <a:gd name="T22" fmla="*/ 76 w 90"/>
                  <a:gd name="T23" fmla="*/ 11 h 207"/>
                  <a:gd name="T24" fmla="*/ 76 w 90"/>
                  <a:gd name="T25" fmla="*/ 11 h 207"/>
                  <a:gd name="T26" fmla="*/ 72 w 90"/>
                  <a:gd name="T27" fmla="*/ 9 h 207"/>
                  <a:gd name="T28" fmla="*/ 72 w 90"/>
                  <a:gd name="T29" fmla="*/ 9 h 207"/>
                  <a:gd name="T30" fmla="*/ 56 w 90"/>
                  <a:gd name="T31"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207">
                    <a:moveTo>
                      <a:pt x="56" y="0"/>
                    </a:moveTo>
                    <a:lnTo>
                      <a:pt x="56" y="0"/>
                    </a:lnTo>
                    <a:lnTo>
                      <a:pt x="45" y="45"/>
                    </a:lnTo>
                    <a:lnTo>
                      <a:pt x="33" y="95"/>
                    </a:lnTo>
                    <a:lnTo>
                      <a:pt x="18" y="150"/>
                    </a:lnTo>
                    <a:lnTo>
                      <a:pt x="0" y="207"/>
                    </a:lnTo>
                    <a:lnTo>
                      <a:pt x="48" y="160"/>
                    </a:lnTo>
                    <a:lnTo>
                      <a:pt x="48" y="160"/>
                    </a:lnTo>
                    <a:lnTo>
                      <a:pt x="70" y="89"/>
                    </a:lnTo>
                    <a:lnTo>
                      <a:pt x="90" y="21"/>
                    </a:lnTo>
                    <a:lnTo>
                      <a:pt x="90" y="21"/>
                    </a:lnTo>
                    <a:lnTo>
                      <a:pt x="76" y="11"/>
                    </a:lnTo>
                    <a:lnTo>
                      <a:pt x="76" y="11"/>
                    </a:lnTo>
                    <a:lnTo>
                      <a:pt x="72" y="9"/>
                    </a:lnTo>
                    <a:lnTo>
                      <a:pt x="72" y="9"/>
                    </a:lnTo>
                    <a:lnTo>
                      <a:pt x="5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08" name="Freeform 891"/>
              <p:cNvSpPr>
                <a:spLocks/>
              </p:cNvSpPr>
              <p:nvPr/>
            </p:nvSpPr>
            <p:spPr bwMode="auto">
              <a:xfrm>
                <a:off x="2065371" y="4894300"/>
                <a:ext cx="6350" cy="0"/>
              </a:xfrm>
              <a:custGeom>
                <a:avLst/>
                <a:gdLst>
                  <a:gd name="T0" fmla="*/ 0 w 17"/>
                  <a:gd name="T1" fmla="*/ 0 h 3"/>
                  <a:gd name="T2" fmla="*/ 0 w 17"/>
                  <a:gd name="T3" fmla="*/ 0 h 3"/>
                  <a:gd name="T4" fmla="*/ 17 w 17"/>
                  <a:gd name="T5" fmla="*/ 3 h 3"/>
                  <a:gd name="T6" fmla="*/ 17 w 17"/>
                  <a:gd name="T7" fmla="*/ 3 h 3"/>
                  <a:gd name="T8" fmla="*/ 17 w 17"/>
                  <a:gd name="T9" fmla="*/ 3 h 3"/>
                  <a:gd name="T10" fmla="*/ 17 w 17"/>
                  <a:gd name="T11" fmla="*/ 3 h 3"/>
                  <a:gd name="T12" fmla="*/ 0 w 17"/>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17" h="3">
                    <a:moveTo>
                      <a:pt x="0" y="0"/>
                    </a:moveTo>
                    <a:lnTo>
                      <a:pt x="0" y="0"/>
                    </a:lnTo>
                    <a:lnTo>
                      <a:pt x="17" y="3"/>
                    </a:lnTo>
                    <a:lnTo>
                      <a:pt x="17" y="3"/>
                    </a:lnTo>
                    <a:lnTo>
                      <a:pt x="17" y="3"/>
                    </a:lnTo>
                    <a:lnTo>
                      <a:pt x="17" y="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09" name="Freeform 892"/>
              <p:cNvSpPr>
                <a:spLocks/>
              </p:cNvSpPr>
              <p:nvPr/>
            </p:nvSpPr>
            <p:spPr bwMode="auto">
              <a:xfrm>
                <a:off x="1963770" y="5107027"/>
                <a:ext cx="69851" cy="120651"/>
              </a:xfrm>
              <a:custGeom>
                <a:avLst/>
                <a:gdLst>
                  <a:gd name="T0" fmla="*/ 65 w 218"/>
                  <a:gd name="T1" fmla="*/ 0 h 376"/>
                  <a:gd name="T2" fmla="*/ 65 w 218"/>
                  <a:gd name="T3" fmla="*/ 0 h 376"/>
                  <a:gd name="T4" fmla="*/ 45 w 218"/>
                  <a:gd name="T5" fmla="*/ 77 h 376"/>
                  <a:gd name="T6" fmla="*/ 28 w 218"/>
                  <a:gd name="T7" fmla="*/ 147 h 376"/>
                  <a:gd name="T8" fmla="*/ 14 w 218"/>
                  <a:gd name="T9" fmla="*/ 209 h 376"/>
                  <a:gd name="T10" fmla="*/ 6 w 218"/>
                  <a:gd name="T11" fmla="*/ 263 h 376"/>
                  <a:gd name="T12" fmla="*/ 2 w 218"/>
                  <a:gd name="T13" fmla="*/ 286 h 376"/>
                  <a:gd name="T14" fmla="*/ 1 w 218"/>
                  <a:gd name="T15" fmla="*/ 308 h 376"/>
                  <a:gd name="T16" fmla="*/ 0 w 218"/>
                  <a:gd name="T17" fmla="*/ 326 h 376"/>
                  <a:gd name="T18" fmla="*/ 1 w 218"/>
                  <a:gd name="T19" fmla="*/ 342 h 376"/>
                  <a:gd name="T20" fmla="*/ 2 w 218"/>
                  <a:gd name="T21" fmla="*/ 355 h 376"/>
                  <a:gd name="T22" fmla="*/ 4 w 218"/>
                  <a:gd name="T23" fmla="*/ 364 h 376"/>
                  <a:gd name="T24" fmla="*/ 9 w 218"/>
                  <a:gd name="T25" fmla="*/ 372 h 376"/>
                  <a:gd name="T26" fmla="*/ 12 w 218"/>
                  <a:gd name="T27" fmla="*/ 374 h 376"/>
                  <a:gd name="T28" fmla="*/ 14 w 218"/>
                  <a:gd name="T29" fmla="*/ 375 h 376"/>
                  <a:gd name="T30" fmla="*/ 14 w 218"/>
                  <a:gd name="T31" fmla="*/ 375 h 376"/>
                  <a:gd name="T32" fmla="*/ 19 w 218"/>
                  <a:gd name="T33" fmla="*/ 376 h 376"/>
                  <a:gd name="T34" fmla="*/ 19 w 218"/>
                  <a:gd name="T35" fmla="*/ 376 h 376"/>
                  <a:gd name="T36" fmla="*/ 25 w 218"/>
                  <a:gd name="T37" fmla="*/ 374 h 376"/>
                  <a:gd name="T38" fmla="*/ 34 w 218"/>
                  <a:gd name="T39" fmla="*/ 370 h 376"/>
                  <a:gd name="T40" fmla="*/ 42 w 218"/>
                  <a:gd name="T41" fmla="*/ 363 h 376"/>
                  <a:gd name="T42" fmla="*/ 52 w 218"/>
                  <a:gd name="T43" fmla="*/ 353 h 376"/>
                  <a:gd name="T44" fmla="*/ 63 w 218"/>
                  <a:gd name="T45" fmla="*/ 340 h 376"/>
                  <a:gd name="T46" fmla="*/ 74 w 218"/>
                  <a:gd name="T47" fmla="*/ 325 h 376"/>
                  <a:gd name="T48" fmla="*/ 86 w 218"/>
                  <a:gd name="T49" fmla="*/ 307 h 376"/>
                  <a:gd name="T50" fmla="*/ 98 w 218"/>
                  <a:gd name="T51" fmla="*/ 287 h 376"/>
                  <a:gd name="T52" fmla="*/ 125 w 218"/>
                  <a:gd name="T53" fmla="*/ 240 h 376"/>
                  <a:gd name="T54" fmla="*/ 154 w 218"/>
                  <a:gd name="T55" fmla="*/ 184 h 376"/>
                  <a:gd name="T56" fmla="*/ 185 w 218"/>
                  <a:gd name="T57" fmla="*/ 120 h 376"/>
                  <a:gd name="T58" fmla="*/ 218 w 218"/>
                  <a:gd name="T59" fmla="*/ 51 h 376"/>
                  <a:gd name="T60" fmla="*/ 218 w 218"/>
                  <a:gd name="T61" fmla="*/ 51 h 376"/>
                  <a:gd name="T62" fmla="*/ 197 w 218"/>
                  <a:gd name="T63" fmla="*/ 49 h 376"/>
                  <a:gd name="T64" fmla="*/ 178 w 218"/>
                  <a:gd name="T65" fmla="*/ 45 h 376"/>
                  <a:gd name="T66" fmla="*/ 178 w 218"/>
                  <a:gd name="T67" fmla="*/ 45 h 376"/>
                  <a:gd name="T68" fmla="*/ 164 w 218"/>
                  <a:gd name="T69" fmla="*/ 69 h 376"/>
                  <a:gd name="T70" fmla="*/ 151 w 218"/>
                  <a:gd name="T71" fmla="*/ 91 h 376"/>
                  <a:gd name="T72" fmla="*/ 139 w 218"/>
                  <a:gd name="T73" fmla="*/ 111 h 376"/>
                  <a:gd name="T74" fmla="*/ 126 w 218"/>
                  <a:gd name="T75" fmla="*/ 127 h 376"/>
                  <a:gd name="T76" fmla="*/ 117 w 218"/>
                  <a:gd name="T77" fmla="*/ 140 h 376"/>
                  <a:gd name="T78" fmla="*/ 107 w 218"/>
                  <a:gd name="T79" fmla="*/ 148 h 376"/>
                  <a:gd name="T80" fmla="*/ 98 w 218"/>
                  <a:gd name="T81" fmla="*/ 155 h 376"/>
                  <a:gd name="T82" fmla="*/ 93 w 218"/>
                  <a:gd name="T83" fmla="*/ 156 h 376"/>
                  <a:gd name="T84" fmla="*/ 90 w 218"/>
                  <a:gd name="T85" fmla="*/ 156 h 376"/>
                  <a:gd name="T86" fmla="*/ 90 w 218"/>
                  <a:gd name="T87" fmla="*/ 156 h 376"/>
                  <a:gd name="T88" fmla="*/ 86 w 218"/>
                  <a:gd name="T89" fmla="*/ 156 h 376"/>
                  <a:gd name="T90" fmla="*/ 86 w 218"/>
                  <a:gd name="T91" fmla="*/ 156 h 376"/>
                  <a:gd name="T92" fmla="*/ 84 w 218"/>
                  <a:gd name="T93" fmla="*/ 155 h 376"/>
                  <a:gd name="T94" fmla="*/ 81 w 218"/>
                  <a:gd name="T95" fmla="*/ 151 h 376"/>
                  <a:gd name="T96" fmla="*/ 79 w 218"/>
                  <a:gd name="T97" fmla="*/ 147 h 376"/>
                  <a:gd name="T98" fmla="*/ 78 w 218"/>
                  <a:gd name="T99" fmla="*/ 142 h 376"/>
                  <a:gd name="T100" fmla="*/ 75 w 218"/>
                  <a:gd name="T101" fmla="*/ 129 h 376"/>
                  <a:gd name="T102" fmla="*/ 74 w 218"/>
                  <a:gd name="T103" fmla="*/ 113 h 376"/>
                  <a:gd name="T104" fmla="*/ 75 w 218"/>
                  <a:gd name="T105" fmla="*/ 92 h 376"/>
                  <a:gd name="T106" fmla="*/ 79 w 218"/>
                  <a:gd name="T107" fmla="*/ 69 h 376"/>
                  <a:gd name="T108" fmla="*/ 82 w 218"/>
                  <a:gd name="T109" fmla="*/ 42 h 376"/>
                  <a:gd name="T110" fmla="*/ 89 w 218"/>
                  <a:gd name="T111" fmla="*/ 12 h 376"/>
                  <a:gd name="T112" fmla="*/ 89 w 218"/>
                  <a:gd name="T113" fmla="*/ 12 h 376"/>
                  <a:gd name="T114" fmla="*/ 65 w 218"/>
                  <a:gd name="T115"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8" h="376">
                    <a:moveTo>
                      <a:pt x="65" y="0"/>
                    </a:moveTo>
                    <a:lnTo>
                      <a:pt x="65" y="0"/>
                    </a:lnTo>
                    <a:lnTo>
                      <a:pt x="45" y="77"/>
                    </a:lnTo>
                    <a:lnTo>
                      <a:pt x="28" y="147"/>
                    </a:lnTo>
                    <a:lnTo>
                      <a:pt x="14" y="209"/>
                    </a:lnTo>
                    <a:lnTo>
                      <a:pt x="6" y="263"/>
                    </a:lnTo>
                    <a:lnTo>
                      <a:pt x="2" y="286"/>
                    </a:lnTo>
                    <a:lnTo>
                      <a:pt x="1" y="308"/>
                    </a:lnTo>
                    <a:lnTo>
                      <a:pt x="0" y="326"/>
                    </a:lnTo>
                    <a:lnTo>
                      <a:pt x="1" y="342"/>
                    </a:lnTo>
                    <a:lnTo>
                      <a:pt x="2" y="355"/>
                    </a:lnTo>
                    <a:lnTo>
                      <a:pt x="4" y="364"/>
                    </a:lnTo>
                    <a:lnTo>
                      <a:pt x="9" y="372"/>
                    </a:lnTo>
                    <a:lnTo>
                      <a:pt x="12" y="374"/>
                    </a:lnTo>
                    <a:lnTo>
                      <a:pt x="14" y="375"/>
                    </a:lnTo>
                    <a:lnTo>
                      <a:pt x="14" y="375"/>
                    </a:lnTo>
                    <a:lnTo>
                      <a:pt x="19" y="376"/>
                    </a:lnTo>
                    <a:lnTo>
                      <a:pt x="19" y="376"/>
                    </a:lnTo>
                    <a:lnTo>
                      <a:pt x="25" y="374"/>
                    </a:lnTo>
                    <a:lnTo>
                      <a:pt x="34" y="370"/>
                    </a:lnTo>
                    <a:lnTo>
                      <a:pt x="42" y="363"/>
                    </a:lnTo>
                    <a:lnTo>
                      <a:pt x="52" y="353"/>
                    </a:lnTo>
                    <a:lnTo>
                      <a:pt x="63" y="340"/>
                    </a:lnTo>
                    <a:lnTo>
                      <a:pt x="74" y="325"/>
                    </a:lnTo>
                    <a:lnTo>
                      <a:pt x="86" y="307"/>
                    </a:lnTo>
                    <a:lnTo>
                      <a:pt x="98" y="287"/>
                    </a:lnTo>
                    <a:lnTo>
                      <a:pt x="125" y="240"/>
                    </a:lnTo>
                    <a:lnTo>
                      <a:pt x="154" y="184"/>
                    </a:lnTo>
                    <a:lnTo>
                      <a:pt x="185" y="120"/>
                    </a:lnTo>
                    <a:lnTo>
                      <a:pt x="218" y="51"/>
                    </a:lnTo>
                    <a:lnTo>
                      <a:pt x="218" y="51"/>
                    </a:lnTo>
                    <a:lnTo>
                      <a:pt x="197" y="49"/>
                    </a:lnTo>
                    <a:lnTo>
                      <a:pt x="178" y="45"/>
                    </a:lnTo>
                    <a:lnTo>
                      <a:pt x="178" y="45"/>
                    </a:lnTo>
                    <a:lnTo>
                      <a:pt x="164" y="69"/>
                    </a:lnTo>
                    <a:lnTo>
                      <a:pt x="151" y="91"/>
                    </a:lnTo>
                    <a:lnTo>
                      <a:pt x="139" y="111"/>
                    </a:lnTo>
                    <a:lnTo>
                      <a:pt x="126" y="127"/>
                    </a:lnTo>
                    <a:lnTo>
                      <a:pt x="117" y="140"/>
                    </a:lnTo>
                    <a:lnTo>
                      <a:pt x="107" y="148"/>
                    </a:lnTo>
                    <a:lnTo>
                      <a:pt x="98" y="155"/>
                    </a:lnTo>
                    <a:lnTo>
                      <a:pt x="93" y="156"/>
                    </a:lnTo>
                    <a:lnTo>
                      <a:pt x="90" y="156"/>
                    </a:lnTo>
                    <a:lnTo>
                      <a:pt x="90" y="156"/>
                    </a:lnTo>
                    <a:lnTo>
                      <a:pt x="86" y="156"/>
                    </a:lnTo>
                    <a:lnTo>
                      <a:pt x="86" y="156"/>
                    </a:lnTo>
                    <a:lnTo>
                      <a:pt x="84" y="155"/>
                    </a:lnTo>
                    <a:lnTo>
                      <a:pt x="81" y="151"/>
                    </a:lnTo>
                    <a:lnTo>
                      <a:pt x="79" y="147"/>
                    </a:lnTo>
                    <a:lnTo>
                      <a:pt x="78" y="142"/>
                    </a:lnTo>
                    <a:lnTo>
                      <a:pt x="75" y="129"/>
                    </a:lnTo>
                    <a:lnTo>
                      <a:pt x="74" y="113"/>
                    </a:lnTo>
                    <a:lnTo>
                      <a:pt x="75" y="92"/>
                    </a:lnTo>
                    <a:lnTo>
                      <a:pt x="79" y="69"/>
                    </a:lnTo>
                    <a:lnTo>
                      <a:pt x="82" y="42"/>
                    </a:lnTo>
                    <a:lnTo>
                      <a:pt x="89" y="12"/>
                    </a:lnTo>
                    <a:lnTo>
                      <a:pt x="89" y="12"/>
                    </a:lnTo>
                    <a:lnTo>
                      <a:pt x="65"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10" name="Freeform 893"/>
              <p:cNvSpPr>
                <a:spLocks/>
              </p:cNvSpPr>
              <p:nvPr/>
            </p:nvSpPr>
            <p:spPr bwMode="auto">
              <a:xfrm>
                <a:off x="1963770" y="5107027"/>
                <a:ext cx="69851" cy="120651"/>
              </a:xfrm>
              <a:custGeom>
                <a:avLst/>
                <a:gdLst>
                  <a:gd name="T0" fmla="*/ 65 w 218"/>
                  <a:gd name="T1" fmla="*/ 0 h 376"/>
                  <a:gd name="T2" fmla="*/ 65 w 218"/>
                  <a:gd name="T3" fmla="*/ 0 h 376"/>
                  <a:gd name="T4" fmla="*/ 45 w 218"/>
                  <a:gd name="T5" fmla="*/ 77 h 376"/>
                  <a:gd name="T6" fmla="*/ 28 w 218"/>
                  <a:gd name="T7" fmla="*/ 147 h 376"/>
                  <a:gd name="T8" fmla="*/ 14 w 218"/>
                  <a:gd name="T9" fmla="*/ 209 h 376"/>
                  <a:gd name="T10" fmla="*/ 6 w 218"/>
                  <a:gd name="T11" fmla="*/ 263 h 376"/>
                  <a:gd name="T12" fmla="*/ 2 w 218"/>
                  <a:gd name="T13" fmla="*/ 286 h 376"/>
                  <a:gd name="T14" fmla="*/ 1 w 218"/>
                  <a:gd name="T15" fmla="*/ 308 h 376"/>
                  <a:gd name="T16" fmla="*/ 0 w 218"/>
                  <a:gd name="T17" fmla="*/ 326 h 376"/>
                  <a:gd name="T18" fmla="*/ 1 w 218"/>
                  <a:gd name="T19" fmla="*/ 342 h 376"/>
                  <a:gd name="T20" fmla="*/ 2 w 218"/>
                  <a:gd name="T21" fmla="*/ 355 h 376"/>
                  <a:gd name="T22" fmla="*/ 4 w 218"/>
                  <a:gd name="T23" fmla="*/ 364 h 376"/>
                  <a:gd name="T24" fmla="*/ 9 w 218"/>
                  <a:gd name="T25" fmla="*/ 372 h 376"/>
                  <a:gd name="T26" fmla="*/ 12 w 218"/>
                  <a:gd name="T27" fmla="*/ 374 h 376"/>
                  <a:gd name="T28" fmla="*/ 14 w 218"/>
                  <a:gd name="T29" fmla="*/ 375 h 376"/>
                  <a:gd name="T30" fmla="*/ 14 w 218"/>
                  <a:gd name="T31" fmla="*/ 375 h 376"/>
                  <a:gd name="T32" fmla="*/ 19 w 218"/>
                  <a:gd name="T33" fmla="*/ 376 h 376"/>
                  <a:gd name="T34" fmla="*/ 19 w 218"/>
                  <a:gd name="T35" fmla="*/ 376 h 376"/>
                  <a:gd name="T36" fmla="*/ 25 w 218"/>
                  <a:gd name="T37" fmla="*/ 374 h 376"/>
                  <a:gd name="T38" fmla="*/ 34 w 218"/>
                  <a:gd name="T39" fmla="*/ 370 h 376"/>
                  <a:gd name="T40" fmla="*/ 42 w 218"/>
                  <a:gd name="T41" fmla="*/ 363 h 376"/>
                  <a:gd name="T42" fmla="*/ 52 w 218"/>
                  <a:gd name="T43" fmla="*/ 353 h 376"/>
                  <a:gd name="T44" fmla="*/ 63 w 218"/>
                  <a:gd name="T45" fmla="*/ 340 h 376"/>
                  <a:gd name="T46" fmla="*/ 74 w 218"/>
                  <a:gd name="T47" fmla="*/ 325 h 376"/>
                  <a:gd name="T48" fmla="*/ 86 w 218"/>
                  <a:gd name="T49" fmla="*/ 307 h 376"/>
                  <a:gd name="T50" fmla="*/ 98 w 218"/>
                  <a:gd name="T51" fmla="*/ 287 h 376"/>
                  <a:gd name="T52" fmla="*/ 125 w 218"/>
                  <a:gd name="T53" fmla="*/ 240 h 376"/>
                  <a:gd name="T54" fmla="*/ 154 w 218"/>
                  <a:gd name="T55" fmla="*/ 184 h 376"/>
                  <a:gd name="T56" fmla="*/ 185 w 218"/>
                  <a:gd name="T57" fmla="*/ 120 h 376"/>
                  <a:gd name="T58" fmla="*/ 218 w 218"/>
                  <a:gd name="T59" fmla="*/ 51 h 376"/>
                  <a:gd name="T60" fmla="*/ 218 w 218"/>
                  <a:gd name="T61" fmla="*/ 51 h 376"/>
                  <a:gd name="T62" fmla="*/ 197 w 218"/>
                  <a:gd name="T63" fmla="*/ 49 h 376"/>
                  <a:gd name="T64" fmla="*/ 178 w 218"/>
                  <a:gd name="T65" fmla="*/ 45 h 376"/>
                  <a:gd name="T66" fmla="*/ 178 w 218"/>
                  <a:gd name="T67" fmla="*/ 45 h 376"/>
                  <a:gd name="T68" fmla="*/ 164 w 218"/>
                  <a:gd name="T69" fmla="*/ 69 h 376"/>
                  <a:gd name="T70" fmla="*/ 151 w 218"/>
                  <a:gd name="T71" fmla="*/ 91 h 376"/>
                  <a:gd name="T72" fmla="*/ 139 w 218"/>
                  <a:gd name="T73" fmla="*/ 111 h 376"/>
                  <a:gd name="T74" fmla="*/ 126 w 218"/>
                  <a:gd name="T75" fmla="*/ 127 h 376"/>
                  <a:gd name="T76" fmla="*/ 117 w 218"/>
                  <a:gd name="T77" fmla="*/ 140 h 376"/>
                  <a:gd name="T78" fmla="*/ 107 w 218"/>
                  <a:gd name="T79" fmla="*/ 148 h 376"/>
                  <a:gd name="T80" fmla="*/ 98 w 218"/>
                  <a:gd name="T81" fmla="*/ 155 h 376"/>
                  <a:gd name="T82" fmla="*/ 93 w 218"/>
                  <a:gd name="T83" fmla="*/ 156 h 376"/>
                  <a:gd name="T84" fmla="*/ 90 w 218"/>
                  <a:gd name="T85" fmla="*/ 156 h 376"/>
                  <a:gd name="T86" fmla="*/ 90 w 218"/>
                  <a:gd name="T87" fmla="*/ 156 h 376"/>
                  <a:gd name="T88" fmla="*/ 86 w 218"/>
                  <a:gd name="T89" fmla="*/ 156 h 376"/>
                  <a:gd name="T90" fmla="*/ 86 w 218"/>
                  <a:gd name="T91" fmla="*/ 156 h 376"/>
                  <a:gd name="T92" fmla="*/ 84 w 218"/>
                  <a:gd name="T93" fmla="*/ 155 h 376"/>
                  <a:gd name="T94" fmla="*/ 81 w 218"/>
                  <a:gd name="T95" fmla="*/ 151 h 376"/>
                  <a:gd name="T96" fmla="*/ 79 w 218"/>
                  <a:gd name="T97" fmla="*/ 147 h 376"/>
                  <a:gd name="T98" fmla="*/ 78 w 218"/>
                  <a:gd name="T99" fmla="*/ 142 h 376"/>
                  <a:gd name="T100" fmla="*/ 75 w 218"/>
                  <a:gd name="T101" fmla="*/ 129 h 376"/>
                  <a:gd name="T102" fmla="*/ 74 w 218"/>
                  <a:gd name="T103" fmla="*/ 113 h 376"/>
                  <a:gd name="T104" fmla="*/ 75 w 218"/>
                  <a:gd name="T105" fmla="*/ 92 h 376"/>
                  <a:gd name="T106" fmla="*/ 79 w 218"/>
                  <a:gd name="T107" fmla="*/ 69 h 376"/>
                  <a:gd name="T108" fmla="*/ 82 w 218"/>
                  <a:gd name="T109" fmla="*/ 42 h 376"/>
                  <a:gd name="T110" fmla="*/ 89 w 218"/>
                  <a:gd name="T111" fmla="*/ 12 h 376"/>
                  <a:gd name="T112" fmla="*/ 89 w 218"/>
                  <a:gd name="T113" fmla="*/ 12 h 376"/>
                  <a:gd name="T114" fmla="*/ 65 w 218"/>
                  <a:gd name="T115"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8" h="376">
                    <a:moveTo>
                      <a:pt x="65" y="0"/>
                    </a:moveTo>
                    <a:lnTo>
                      <a:pt x="65" y="0"/>
                    </a:lnTo>
                    <a:lnTo>
                      <a:pt x="45" y="77"/>
                    </a:lnTo>
                    <a:lnTo>
                      <a:pt x="28" y="147"/>
                    </a:lnTo>
                    <a:lnTo>
                      <a:pt x="14" y="209"/>
                    </a:lnTo>
                    <a:lnTo>
                      <a:pt x="6" y="263"/>
                    </a:lnTo>
                    <a:lnTo>
                      <a:pt x="2" y="286"/>
                    </a:lnTo>
                    <a:lnTo>
                      <a:pt x="1" y="308"/>
                    </a:lnTo>
                    <a:lnTo>
                      <a:pt x="0" y="326"/>
                    </a:lnTo>
                    <a:lnTo>
                      <a:pt x="1" y="342"/>
                    </a:lnTo>
                    <a:lnTo>
                      <a:pt x="2" y="355"/>
                    </a:lnTo>
                    <a:lnTo>
                      <a:pt x="4" y="364"/>
                    </a:lnTo>
                    <a:lnTo>
                      <a:pt x="9" y="372"/>
                    </a:lnTo>
                    <a:lnTo>
                      <a:pt x="12" y="374"/>
                    </a:lnTo>
                    <a:lnTo>
                      <a:pt x="14" y="375"/>
                    </a:lnTo>
                    <a:lnTo>
                      <a:pt x="14" y="375"/>
                    </a:lnTo>
                    <a:lnTo>
                      <a:pt x="19" y="376"/>
                    </a:lnTo>
                    <a:lnTo>
                      <a:pt x="19" y="376"/>
                    </a:lnTo>
                    <a:lnTo>
                      <a:pt x="25" y="374"/>
                    </a:lnTo>
                    <a:lnTo>
                      <a:pt x="34" y="370"/>
                    </a:lnTo>
                    <a:lnTo>
                      <a:pt x="42" y="363"/>
                    </a:lnTo>
                    <a:lnTo>
                      <a:pt x="52" y="353"/>
                    </a:lnTo>
                    <a:lnTo>
                      <a:pt x="63" y="340"/>
                    </a:lnTo>
                    <a:lnTo>
                      <a:pt x="74" y="325"/>
                    </a:lnTo>
                    <a:lnTo>
                      <a:pt x="86" y="307"/>
                    </a:lnTo>
                    <a:lnTo>
                      <a:pt x="98" y="287"/>
                    </a:lnTo>
                    <a:lnTo>
                      <a:pt x="125" y="240"/>
                    </a:lnTo>
                    <a:lnTo>
                      <a:pt x="154" y="184"/>
                    </a:lnTo>
                    <a:lnTo>
                      <a:pt x="185" y="120"/>
                    </a:lnTo>
                    <a:lnTo>
                      <a:pt x="218" y="51"/>
                    </a:lnTo>
                    <a:lnTo>
                      <a:pt x="218" y="51"/>
                    </a:lnTo>
                    <a:lnTo>
                      <a:pt x="197" y="49"/>
                    </a:lnTo>
                    <a:lnTo>
                      <a:pt x="178" y="45"/>
                    </a:lnTo>
                    <a:lnTo>
                      <a:pt x="178" y="45"/>
                    </a:lnTo>
                    <a:lnTo>
                      <a:pt x="164" y="69"/>
                    </a:lnTo>
                    <a:lnTo>
                      <a:pt x="151" y="91"/>
                    </a:lnTo>
                    <a:lnTo>
                      <a:pt x="139" y="111"/>
                    </a:lnTo>
                    <a:lnTo>
                      <a:pt x="126" y="127"/>
                    </a:lnTo>
                    <a:lnTo>
                      <a:pt x="117" y="140"/>
                    </a:lnTo>
                    <a:lnTo>
                      <a:pt x="107" y="148"/>
                    </a:lnTo>
                    <a:lnTo>
                      <a:pt x="98" y="155"/>
                    </a:lnTo>
                    <a:lnTo>
                      <a:pt x="93" y="156"/>
                    </a:lnTo>
                    <a:lnTo>
                      <a:pt x="90" y="156"/>
                    </a:lnTo>
                    <a:lnTo>
                      <a:pt x="90" y="156"/>
                    </a:lnTo>
                    <a:lnTo>
                      <a:pt x="86" y="156"/>
                    </a:lnTo>
                    <a:lnTo>
                      <a:pt x="86" y="156"/>
                    </a:lnTo>
                    <a:lnTo>
                      <a:pt x="84" y="155"/>
                    </a:lnTo>
                    <a:lnTo>
                      <a:pt x="81" y="151"/>
                    </a:lnTo>
                    <a:lnTo>
                      <a:pt x="79" y="147"/>
                    </a:lnTo>
                    <a:lnTo>
                      <a:pt x="78" y="142"/>
                    </a:lnTo>
                    <a:lnTo>
                      <a:pt x="75" y="129"/>
                    </a:lnTo>
                    <a:lnTo>
                      <a:pt x="74" y="113"/>
                    </a:lnTo>
                    <a:lnTo>
                      <a:pt x="75" y="92"/>
                    </a:lnTo>
                    <a:lnTo>
                      <a:pt x="79" y="69"/>
                    </a:lnTo>
                    <a:lnTo>
                      <a:pt x="82" y="42"/>
                    </a:lnTo>
                    <a:lnTo>
                      <a:pt x="89" y="12"/>
                    </a:lnTo>
                    <a:lnTo>
                      <a:pt x="89" y="12"/>
                    </a:lnTo>
                    <a:lnTo>
                      <a:pt x="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11" name="Freeform 894"/>
              <p:cNvSpPr>
                <a:spLocks noEditPoints="1"/>
              </p:cNvSpPr>
              <p:nvPr/>
            </p:nvSpPr>
            <p:spPr bwMode="auto">
              <a:xfrm>
                <a:off x="1984408" y="5060989"/>
                <a:ext cx="74613" cy="63501"/>
              </a:xfrm>
              <a:custGeom>
                <a:avLst/>
                <a:gdLst>
                  <a:gd name="T0" fmla="*/ 0 w 232"/>
                  <a:gd name="T1" fmla="*/ 145 h 196"/>
                  <a:gd name="T2" fmla="*/ 0 w 232"/>
                  <a:gd name="T3" fmla="*/ 145 h 196"/>
                  <a:gd name="T4" fmla="*/ 0 w 232"/>
                  <a:gd name="T5" fmla="*/ 145 h 196"/>
                  <a:gd name="T6" fmla="*/ 0 w 232"/>
                  <a:gd name="T7" fmla="*/ 145 h 196"/>
                  <a:gd name="T8" fmla="*/ 24 w 232"/>
                  <a:gd name="T9" fmla="*/ 157 h 196"/>
                  <a:gd name="T10" fmla="*/ 24 w 232"/>
                  <a:gd name="T11" fmla="*/ 157 h 196"/>
                  <a:gd name="T12" fmla="*/ 24 w 232"/>
                  <a:gd name="T13" fmla="*/ 157 h 196"/>
                  <a:gd name="T14" fmla="*/ 24 w 232"/>
                  <a:gd name="T15" fmla="*/ 157 h 196"/>
                  <a:gd name="T16" fmla="*/ 0 w 232"/>
                  <a:gd name="T17" fmla="*/ 145 h 196"/>
                  <a:gd name="T18" fmla="*/ 202 w 232"/>
                  <a:gd name="T19" fmla="*/ 0 h 196"/>
                  <a:gd name="T20" fmla="*/ 202 w 232"/>
                  <a:gd name="T21" fmla="*/ 0 h 196"/>
                  <a:gd name="T22" fmla="*/ 178 w 232"/>
                  <a:gd name="T23" fmla="*/ 53 h 196"/>
                  <a:gd name="T24" fmla="*/ 156 w 232"/>
                  <a:gd name="T25" fmla="*/ 103 h 196"/>
                  <a:gd name="T26" fmla="*/ 134 w 232"/>
                  <a:gd name="T27" fmla="*/ 148 h 196"/>
                  <a:gd name="T28" fmla="*/ 113 w 232"/>
                  <a:gd name="T29" fmla="*/ 190 h 196"/>
                  <a:gd name="T30" fmla="*/ 113 w 232"/>
                  <a:gd name="T31" fmla="*/ 190 h 196"/>
                  <a:gd name="T32" fmla="*/ 132 w 232"/>
                  <a:gd name="T33" fmla="*/ 194 h 196"/>
                  <a:gd name="T34" fmla="*/ 153 w 232"/>
                  <a:gd name="T35" fmla="*/ 196 h 196"/>
                  <a:gd name="T36" fmla="*/ 153 w 232"/>
                  <a:gd name="T37" fmla="*/ 196 h 196"/>
                  <a:gd name="T38" fmla="*/ 192 w 232"/>
                  <a:gd name="T39" fmla="*/ 105 h 196"/>
                  <a:gd name="T40" fmla="*/ 232 w 232"/>
                  <a:gd name="T41" fmla="*/ 7 h 196"/>
                  <a:gd name="T42" fmla="*/ 232 w 232"/>
                  <a:gd name="T43" fmla="*/ 7 h 196"/>
                  <a:gd name="T44" fmla="*/ 216 w 232"/>
                  <a:gd name="T45" fmla="*/ 3 h 196"/>
                  <a:gd name="T46" fmla="*/ 202 w 232"/>
                  <a:gd name="T47"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2" h="196">
                    <a:moveTo>
                      <a:pt x="0" y="145"/>
                    </a:moveTo>
                    <a:lnTo>
                      <a:pt x="0" y="145"/>
                    </a:lnTo>
                    <a:lnTo>
                      <a:pt x="0" y="145"/>
                    </a:lnTo>
                    <a:lnTo>
                      <a:pt x="0" y="145"/>
                    </a:lnTo>
                    <a:lnTo>
                      <a:pt x="24" y="157"/>
                    </a:lnTo>
                    <a:lnTo>
                      <a:pt x="24" y="157"/>
                    </a:lnTo>
                    <a:lnTo>
                      <a:pt x="24" y="157"/>
                    </a:lnTo>
                    <a:lnTo>
                      <a:pt x="24" y="157"/>
                    </a:lnTo>
                    <a:lnTo>
                      <a:pt x="0" y="145"/>
                    </a:lnTo>
                    <a:close/>
                    <a:moveTo>
                      <a:pt x="202" y="0"/>
                    </a:moveTo>
                    <a:lnTo>
                      <a:pt x="202" y="0"/>
                    </a:lnTo>
                    <a:lnTo>
                      <a:pt x="178" y="53"/>
                    </a:lnTo>
                    <a:lnTo>
                      <a:pt x="156" y="103"/>
                    </a:lnTo>
                    <a:lnTo>
                      <a:pt x="134" y="148"/>
                    </a:lnTo>
                    <a:lnTo>
                      <a:pt x="113" y="190"/>
                    </a:lnTo>
                    <a:lnTo>
                      <a:pt x="113" y="190"/>
                    </a:lnTo>
                    <a:lnTo>
                      <a:pt x="132" y="194"/>
                    </a:lnTo>
                    <a:lnTo>
                      <a:pt x="153" y="196"/>
                    </a:lnTo>
                    <a:lnTo>
                      <a:pt x="153" y="196"/>
                    </a:lnTo>
                    <a:lnTo>
                      <a:pt x="192" y="105"/>
                    </a:lnTo>
                    <a:lnTo>
                      <a:pt x="232" y="7"/>
                    </a:lnTo>
                    <a:lnTo>
                      <a:pt x="232" y="7"/>
                    </a:lnTo>
                    <a:lnTo>
                      <a:pt x="216" y="3"/>
                    </a:lnTo>
                    <a:lnTo>
                      <a:pt x="202" y="0"/>
                    </a:lnTo>
                    <a:close/>
                  </a:path>
                </a:pathLst>
              </a:custGeom>
              <a:solidFill>
                <a:srgbClr val="5FA7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12" name="Freeform 895"/>
              <p:cNvSpPr>
                <a:spLocks/>
              </p:cNvSpPr>
              <p:nvPr/>
            </p:nvSpPr>
            <p:spPr bwMode="auto">
              <a:xfrm>
                <a:off x="1984408" y="5107027"/>
                <a:ext cx="7938" cy="4763"/>
              </a:xfrm>
              <a:custGeom>
                <a:avLst/>
                <a:gdLst>
                  <a:gd name="T0" fmla="*/ 0 w 24"/>
                  <a:gd name="T1" fmla="*/ 0 h 12"/>
                  <a:gd name="T2" fmla="*/ 0 w 24"/>
                  <a:gd name="T3" fmla="*/ 0 h 12"/>
                  <a:gd name="T4" fmla="*/ 0 w 24"/>
                  <a:gd name="T5" fmla="*/ 0 h 12"/>
                  <a:gd name="T6" fmla="*/ 0 w 24"/>
                  <a:gd name="T7" fmla="*/ 0 h 12"/>
                  <a:gd name="T8" fmla="*/ 24 w 24"/>
                  <a:gd name="T9" fmla="*/ 12 h 12"/>
                  <a:gd name="T10" fmla="*/ 24 w 24"/>
                  <a:gd name="T11" fmla="*/ 12 h 12"/>
                  <a:gd name="T12" fmla="*/ 24 w 24"/>
                  <a:gd name="T13" fmla="*/ 12 h 12"/>
                  <a:gd name="T14" fmla="*/ 24 w 24"/>
                  <a:gd name="T15" fmla="*/ 12 h 12"/>
                  <a:gd name="T16" fmla="*/ 0 w 2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2">
                    <a:moveTo>
                      <a:pt x="0" y="0"/>
                    </a:moveTo>
                    <a:lnTo>
                      <a:pt x="0" y="0"/>
                    </a:lnTo>
                    <a:lnTo>
                      <a:pt x="0" y="0"/>
                    </a:lnTo>
                    <a:lnTo>
                      <a:pt x="0" y="0"/>
                    </a:lnTo>
                    <a:lnTo>
                      <a:pt x="24" y="12"/>
                    </a:lnTo>
                    <a:lnTo>
                      <a:pt x="24" y="12"/>
                    </a:lnTo>
                    <a:lnTo>
                      <a:pt x="24" y="12"/>
                    </a:lnTo>
                    <a:lnTo>
                      <a:pt x="24" y="1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13" name="Freeform 896"/>
              <p:cNvSpPr>
                <a:spLocks/>
              </p:cNvSpPr>
              <p:nvPr/>
            </p:nvSpPr>
            <p:spPr bwMode="auto">
              <a:xfrm>
                <a:off x="2020921" y="5060989"/>
                <a:ext cx="38100" cy="63501"/>
              </a:xfrm>
              <a:custGeom>
                <a:avLst/>
                <a:gdLst>
                  <a:gd name="T0" fmla="*/ 89 w 119"/>
                  <a:gd name="T1" fmla="*/ 0 h 196"/>
                  <a:gd name="T2" fmla="*/ 89 w 119"/>
                  <a:gd name="T3" fmla="*/ 0 h 196"/>
                  <a:gd name="T4" fmla="*/ 65 w 119"/>
                  <a:gd name="T5" fmla="*/ 53 h 196"/>
                  <a:gd name="T6" fmla="*/ 43 w 119"/>
                  <a:gd name="T7" fmla="*/ 103 h 196"/>
                  <a:gd name="T8" fmla="*/ 21 w 119"/>
                  <a:gd name="T9" fmla="*/ 148 h 196"/>
                  <a:gd name="T10" fmla="*/ 0 w 119"/>
                  <a:gd name="T11" fmla="*/ 190 h 196"/>
                  <a:gd name="T12" fmla="*/ 0 w 119"/>
                  <a:gd name="T13" fmla="*/ 190 h 196"/>
                  <a:gd name="T14" fmla="*/ 19 w 119"/>
                  <a:gd name="T15" fmla="*/ 194 h 196"/>
                  <a:gd name="T16" fmla="*/ 40 w 119"/>
                  <a:gd name="T17" fmla="*/ 196 h 196"/>
                  <a:gd name="T18" fmla="*/ 40 w 119"/>
                  <a:gd name="T19" fmla="*/ 196 h 196"/>
                  <a:gd name="T20" fmla="*/ 79 w 119"/>
                  <a:gd name="T21" fmla="*/ 105 h 196"/>
                  <a:gd name="T22" fmla="*/ 119 w 119"/>
                  <a:gd name="T23" fmla="*/ 7 h 196"/>
                  <a:gd name="T24" fmla="*/ 119 w 119"/>
                  <a:gd name="T25" fmla="*/ 7 h 196"/>
                  <a:gd name="T26" fmla="*/ 103 w 119"/>
                  <a:gd name="T27" fmla="*/ 3 h 196"/>
                  <a:gd name="T28" fmla="*/ 89 w 119"/>
                  <a:gd name="T2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9" h="196">
                    <a:moveTo>
                      <a:pt x="89" y="0"/>
                    </a:moveTo>
                    <a:lnTo>
                      <a:pt x="89" y="0"/>
                    </a:lnTo>
                    <a:lnTo>
                      <a:pt x="65" y="53"/>
                    </a:lnTo>
                    <a:lnTo>
                      <a:pt x="43" y="103"/>
                    </a:lnTo>
                    <a:lnTo>
                      <a:pt x="21" y="148"/>
                    </a:lnTo>
                    <a:lnTo>
                      <a:pt x="0" y="190"/>
                    </a:lnTo>
                    <a:lnTo>
                      <a:pt x="0" y="190"/>
                    </a:lnTo>
                    <a:lnTo>
                      <a:pt x="19" y="194"/>
                    </a:lnTo>
                    <a:lnTo>
                      <a:pt x="40" y="196"/>
                    </a:lnTo>
                    <a:lnTo>
                      <a:pt x="40" y="196"/>
                    </a:lnTo>
                    <a:lnTo>
                      <a:pt x="79" y="105"/>
                    </a:lnTo>
                    <a:lnTo>
                      <a:pt x="119" y="7"/>
                    </a:lnTo>
                    <a:lnTo>
                      <a:pt x="119" y="7"/>
                    </a:lnTo>
                    <a:lnTo>
                      <a:pt x="103" y="3"/>
                    </a:lnTo>
                    <a:lnTo>
                      <a:pt x="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14" name="Freeform 897"/>
              <p:cNvSpPr>
                <a:spLocks/>
              </p:cNvSpPr>
              <p:nvPr/>
            </p:nvSpPr>
            <p:spPr bwMode="auto">
              <a:xfrm>
                <a:off x="2049496" y="4956213"/>
                <a:ext cx="47625" cy="107951"/>
              </a:xfrm>
              <a:custGeom>
                <a:avLst/>
                <a:gdLst>
                  <a:gd name="T0" fmla="*/ 151 w 151"/>
                  <a:gd name="T1" fmla="*/ 0 h 340"/>
                  <a:gd name="T2" fmla="*/ 103 w 151"/>
                  <a:gd name="T3" fmla="*/ 47 h 340"/>
                  <a:gd name="T4" fmla="*/ 103 w 151"/>
                  <a:gd name="T5" fmla="*/ 47 h 340"/>
                  <a:gd name="T6" fmla="*/ 81 w 151"/>
                  <a:gd name="T7" fmla="*/ 117 h 340"/>
                  <a:gd name="T8" fmla="*/ 56 w 151"/>
                  <a:gd name="T9" fmla="*/ 189 h 340"/>
                  <a:gd name="T10" fmla="*/ 56 w 151"/>
                  <a:gd name="T11" fmla="*/ 189 h 340"/>
                  <a:gd name="T12" fmla="*/ 28 w 151"/>
                  <a:gd name="T13" fmla="*/ 263 h 340"/>
                  <a:gd name="T14" fmla="*/ 0 w 151"/>
                  <a:gd name="T15" fmla="*/ 333 h 340"/>
                  <a:gd name="T16" fmla="*/ 0 w 151"/>
                  <a:gd name="T17" fmla="*/ 333 h 340"/>
                  <a:gd name="T18" fmla="*/ 14 w 151"/>
                  <a:gd name="T19" fmla="*/ 336 h 340"/>
                  <a:gd name="T20" fmla="*/ 30 w 151"/>
                  <a:gd name="T21" fmla="*/ 340 h 340"/>
                  <a:gd name="T22" fmla="*/ 30 w 151"/>
                  <a:gd name="T23" fmla="*/ 340 h 340"/>
                  <a:gd name="T24" fmla="*/ 56 w 151"/>
                  <a:gd name="T25" fmla="*/ 271 h 340"/>
                  <a:gd name="T26" fmla="*/ 82 w 151"/>
                  <a:gd name="T27" fmla="*/ 199 h 340"/>
                  <a:gd name="T28" fmla="*/ 82 w 151"/>
                  <a:gd name="T29" fmla="*/ 199 h 340"/>
                  <a:gd name="T30" fmla="*/ 119 w 151"/>
                  <a:gd name="T31" fmla="*/ 97 h 340"/>
                  <a:gd name="T32" fmla="*/ 151 w 151"/>
                  <a:gd name="T33" fmla="*/ 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1" h="340">
                    <a:moveTo>
                      <a:pt x="151" y="0"/>
                    </a:moveTo>
                    <a:lnTo>
                      <a:pt x="103" y="47"/>
                    </a:lnTo>
                    <a:lnTo>
                      <a:pt x="103" y="47"/>
                    </a:lnTo>
                    <a:lnTo>
                      <a:pt x="81" y="117"/>
                    </a:lnTo>
                    <a:lnTo>
                      <a:pt x="56" y="189"/>
                    </a:lnTo>
                    <a:lnTo>
                      <a:pt x="56" y="189"/>
                    </a:lnTo>
                    <a:lnTo>
                      <a:pt x="28" y="263"/>
                    </a:lnTo>
                    <a:lnTo>
                      <a:pt x="0" y="333"/>
                    </a:lnTo>
                    <a:lnTo>
                      <a:pt x="0" y="333"/>
                    </a:lnTo>
                    <a:lnTo>
                      <a:pt x="14" y="336"/>
                    </a:lnTo>
                    <a:lnTo>
                      <a:pt x="30" y="340"/>
                    </a:lnTo>
                    <a:lnTo>
                      <a:pt x="30" y="340"/>
                    </a:lnTo>
                    <a:lnTo>
                      <a:pt x="56" y="271"/>
                    </a:lnTo>
                    <a:lnTo>
                      <a:pt x="82" y="199"/>
                    </a:lnTo>
                    <a:lnTo>
                      <a:pt x="82" y="199"/>
                    </a:lnTo>
                    <a:lnTo>
                      <a:pt x="119" y="97"/>
                    </a:lnTo>
                    <a:lnTo>
                      <a:pt x="151" y="0"/>
                    </a:lnTo>
                    <a:close/>
                  </a:path>
                </a:pathLst>
              </a:custGeom>
              <a:solidFill>
                <a:srgbClr val="6ABA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15" name="Freeform 898"/>
              <p:cNvSpPr>
                <a:spLocks/>
              </p:cNvSpPr>
              <p:nvPr/>
            </p:nvSpPr>
            <p:spPr bwMode="auto">
              <a:xfrm>
                <a:off x="2049496" y="4956213"/>
                <a:ext cx="47625" cy="107951"/>
              </a:xfrm>
              <a:custGeom>
                <a:avLst/>
                <a:gdLst>
                  <a:gd name="T0" fmla="*/ 151 w 151"/>
                  <a:gd name="T1" fmla="*/ 0 h 340"/>
                  <a:gd name="T2" fmla="*/ 103 w 151"/>
                  <a:gd name="T3" fmla="*/ 47 h 340"/>
                  <a:gd name="T4" fmla="*/ 103 w 151"/>
                  <a:gd name="T5" fmla="*/ 47 h 340"/>
                  <a:gd name="T6" fmla="*/ 81 w 151"/>
                  <a:gd name="T7" fmla="*/ 117 h 340"/>
                  <a:gd name="T8" fmla="*/ 56 w 151"/>
                  <a:gd name="T9" fmla="*/ 189 h 340"/>
                  <a:gd name="T10" fmla="*/ 56 w 151"/>
                  <a:gd name="T11" fmla="*/ 189 h 340"/>
                  <a:gd name="T12" fmla="*/ 28 w 151"/>
                  <a:gd name="T13" fmla="*/ 263 h 340"/>
                  <a:gd name="T14" fmla="*/ 0 w 151"/>
                  <a:gd name="T15" fmla="*/ 333 h 340"/>
                  <a:gd name="T16" fmla="*/ 0 w 151"/>
                  <a:gd name="T17" fmla="*/ 333 h 340"/>
                  <a:gd name="T18" fmla="*/ 14 w 151"/>
                  <a:gd name="T19" fmla="*/ 336 h 340"/>
                  <a:gd name="T20" fmla="*/ 30 w 151"/>
                  <a:gd name="T21" fmla="*/ 340 h 340"/>
                  <a:gd name="T22" fmla="*/ 30 w 151"/>
                  <a:gd name="T23" fmla="*/ 340 h 340"/>
                  <a:gd name="T24" fmla="*/ 56 w 151"/>
                  <a:gd name="T25" fmla="*/ 271 h 340"/>
                  <a:gd name="T26" fmla="*/ 82 w 151"/>
                  <a:gd name="T27" fmla="*/ 199 h 340"/>
                  <a:gd name="T28" fmla="*/ 82 w 151"/>
                  <a:gd name="T29" fmla="*/ 199 h 340"/>
                  <a:gd name="T30" fmla="*/ 119 w 151"/>
                  <a:gd name="T31" fmla="*/ 97 h 340"/>
                  <a:gd name="T32" fmla="*/ 151 w 151"/>
                  <a:gd name="T33" fmla="*/ 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1" h="340">
                    <a:moveTo>
                      <a:pt x="151" y="0"/>
                    </a:moveTo>
                    <a:lnTo>
                      <a:pt x="103" y="47"/>
                    </a:lnTo>
                    <a:lnTo>
                      <a:pt x="103" y="47"/>
                    </a:lnTo>
                    <a:lnTo>
                      <a:pt x="81" y="117"/>
                    </a:lnTo>
                    <a:lnTo>
                      <a:pt x="56" y="189"/>
                    </a:lnTo>
                    <a:lnTo>
                      <a:pt x="56" y="189"/>
                    </a:lnTo>
                    <a:lnTo>
                      <a:pt x="28" y="263"/>
                    </a:lnTo>
                    <a:lnTo>
                      <a:pt x="0" y="333"/>
                    </a:lnTo>
                    <a:lnTo>
                      <a:pt x="0" y="333"/>
                    </a:lnTo>
                    <a:lnTo>
                      <a:pt x="14" y="336"/>
                    </a:lnTo>
                    <a:lnTo>
                      <a:pt x="30" y="340"/>
                    </a:lnTo>
                    <a:lnTo>
                      <a:pt x="30" y="340"/>
                    </a:lnTo>
                    <a:lnTo>
                      <a:pt x="56" y="271"/>
                    </a:lnTo>
                    <a:lnTo>
                      <a:pt x="82" y="199"/>
                    </a:lnTo>
                    <a:lnTo>
                      <a:pt x="82" y="199"/>
                    </a:lnTo>
                    <a:lnTo>
                      <a:pt x="119" y="97"/>
                    </a:lnTo>
                    <a:lnTo>
                      <a:pt x="15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grpSp>
        <p:nvGrpSpPr>
          <p:cNvPr id="254" name="그룹 253"/>
          <p:cNvGrpSpPr/>
          <p:nvPr userDrawn="1"/>
        </p:nvGrpSpPr>
        <p:grpSpPr>
          <a:xfrm>
            <a:off x="8158751" y="2326881"/>
            <a:ext cx="4648056" cy="2661441"/>
            <a:chOff x="5898401" y="1636088"/>
            <a:chExt cx="3486042" cy="1871326"/>
          </a:xfrm>
        </p:grpSpPr>
        <p:grpSp>
          <p:nvGrpSpPr>
            <p:cNvPr id="217" name="그룹 216"/>
            <p:cNvGrpSpPr/>
            <p:nvPr/>
          </p:nvGrpSpPr>
          <p:grpSpPr>
            <a:xfrm>
              <a:off x="5898402" y="1636088"/>
              <a:ext cx="3486041" cy="1871326"/>
              <a:chOff x="0" y="117474"/>
              <a:chExt cx="9143997" cy="4908552"/>
            </a:xfrm>
          </p:grpSpPr>
          <p:sp>
            <p:nvSpPr>
              <p:cNvPr id="223" name="AutoShape 300"/>
              <p:cNvSpPr>
                <a:spLocks noChangeAspect="1" noChangeArrowheads="1" noTextEdit="1"/>
              </p:cNvSpPr>
              <p:nvPr/>
            </p:nvSpPr>
            <p:spPr bwMode="auto">
              <a:xfrm>
                <a:off x="0" y="117474"/>
                <a:ext cx="9143997" cy="4908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24" name="Freeform 302"/>
              <p:cNvSpPr>
                <a:spLocks noEditPoints="1"/>
              </p:cNvSpPr>
              <p:nvPr/>
            </p:nvSpPr>
            <p:spPr bwMode="auto">
              <a:xfrm>
                <a:off x="2109788" y="930274"/>
                <a:ext cx="6551610" cy="3279776"/>
              </a:xfrm>
              <a:custGeom>
                <a:avLst/>
                <a:gdLst>
                  <a:gd name="T0" fmla="*/ 6751 w 8255"/>
                  <a:gd name="T1" fmla="*/ 1014 h 4134"/>
                  <a:gd name="T2" fmla="*/ 6388 w 8255"/>
                  <a:gd name="T3" fmla="*/ 814 h 4134"/>
                  <a:gd name="T4" fmla="*/ 6091 w 8255"/>
                  <a:gd name="T5" fmla="*/ 666 h 4134"/>
                  <a:gd name="T6" fmla="*/ 5623 w 8255"/>
                  <a:gd name="T7" fmla="*/ 461 h 4134"/>
                  <a:gd name="T8" fmla="*/ 5127 w 8255"/>
                  <a:gd name="T9" fmla="*/ 281 h 4134"/>
                  <a:gd name="T10" fmla="*/ 4870 w 8255"/>
                  <a:gd name="T11" fmla="*/ 204 h 4134"/>
                  <a:gd name="T12" fmla="*/ 4609 w 8255"/>
                  <a:gd name="T13" fmla="*/ 137 h 4134"/>
                  <a:gd name="T14" fmla="*/ 4345 w 8255"/>
                  <a:gd name="T15" fmla="*/ 83 h 4134"/>
                  <a:gd name="T16" fmla="*/ 4076 w 8255"/>
                  <a:gd name="T17" fmla="*/ 40 h 4134"/>
                  <a:gd name="T18" fmla="*/ 3805 w 8255"/>
                  <a:gd name="T19" fmla="*/ 14 h 4134"/>
                  <a:gd name="T20" fmla="*/ 3590 w 8255"/>
                  <a:gd name="T21" fmla="*/ 2 h 4134"/>
                  <a:gd name="T22" fmla="*/ 3307 w 8255"/>
                  <a:gd name="T23" fmla="*/ 2 h 4134"/>
                  <a:gd name="T24" fmla="*/ 2849 w 8255"/>
                  <a:gd name="T25" fmla="*/ 20 h 4134"/>
                  <a:gd name="T26" fmla="*/ 2507 w 8255"/>
                  <a:gd name="T27" fmla="*/ 52 h 4134"/>
                  <a:gd name="T28" fmla="*/ 2004 w 8255"/>
                  <a:gd name="T29" fmla="*/ 121 h 4134"/>
                  <a:gd name="T30" fmla="*/ 1496 w 8255"/>
                  <a:gd name="T31" fmla="*/ 216 h 4134"/>
                  <a:gd name="T32" fmla="*/ 968 w 8255"/>
                  <a:gd name="T33" fmla="*/ 338 h 4134"/>
                  <a:gd name="T34" fmla="*/ 0 w 8255"/>
                  <a:gd name="T35" fmla="*/ 589 h 4134"/>
                  <a:gd name="T36" fmla="*/ 0 w 8255"/>
                  <a:gd name="T37" fmla="*/ 3525 h 4134"/>
                  <a:gd name="T38" fmla="*/ 966 w 8255"/>
                  <a:gd name="T39" fmla="*/ 3786 h 4134"/>
                  <a:gd name="T40" fmla="*/ 1488 w 8255"/>
                  <a:gd name="T41" fmla="*/ 3912 h 4134"/>
                  <a:gd name="T42" fmla="*/ 1992 w 8255"/>
                  <a:gd name="T43" fmla="*/ 4011 h 4134"/>
                  <a:gd name="T44" fmla="*/ 2499 w 8255"/>
                  <a:gd name="T45" fmla="*/ 4082 h 4134"/>
                  <a:gd name="T46" fmla="*/ 2849 w 8255"/>
                  <a:gd name="T47" fmla="*/ 4114 h 4134"/>
                  <a:gd name="T48" fmla="*/ 3309 w 8255"/>
                  <a:gd name="T49" fmla="*/ 4134 h 4134"/>
                  <a:gd name="T50" fmla="*/ 3590 w 8255"/>
                  <a:gd name="T51" fmla="*/ 4132 h 4134"/>
                  <a:gd name="T52" fmla="*/ 3803 w 8255"/>
                  <a:gd name="T53" fmla="*/ 4122 h 4134"/>
                  <a:gd name="T54" fmla="*/ 4072 w 8255"/>
                  <a:gd name="T55" fmla="*/ 4094 h 4134"/>
                  <a:gd name="T56" fmla="*/ 4337 w 8255"/>
                  <a:gd name="T57" fmla="*/ 4053 h 4134"/>
                  <a:gd name="T58" fmla="*/ 4600 w 8255"/>
                  <a:gd name="T59" fmla="*/ 3999 h 4134"/>
                  <a:gd name="T60" fmla="*/ 4856 w 8255"/>
                  <a:gd name="T61" fmla="*/ 3934 h 4134"/>
                  <a:gd name="T62" fmla="*/ 5277 w 8255"/>
                  <a:gd name="T63" fmla="*/ 3804 h 4134"/>
                  <a:gd name="T64" fmla="*/ 5759 w 8255"/>
                  <a:gd name="T65" fmla="*/ 3618 h 4134"/>
                  <a:gd name="T66" fmla="*/ 6214 w 8255"/>
                  <a:gd name="T67" fmla="*/ 3409 h 4134"/>
                  <a:gd name="T68" fmla="*/ 6492 w 8255"/>
                  <a:gd name="T69" fmla="*/ 3264 h 4134"/>
                  <a:gd name="T70" fmla="*/ 6872 w 8255"/>
                  <a:gd name="T71" fmla="*/ 3051 h 4134"/>
                  <a:gd name="T72" fmla="*/ 7172 w 8255"/>
                  <a:gd name="T73" fmla="*/ 2865 h 4134"/>
                  <a:gd name="T74" fmla="*/ 7565 w 8255"/>
                  <a:gd name="T75" fmla="*/ 2600 h 4134"/>
                  <a:gd name="T76" fmla="*/ 7879 w 8255"/>
                  <a:gd name="T77" fmla="*/ 2371 h 4134"/>
                  <a:gd name="T78" fmla="*/ 8158 w 8255"/>
                  <a:gd name="T79" fmla="*/ 2150 h 4134"/>
                  <a:gd name="T80" fmla="*/ 8255 w 8255"/>
                  <a:gd name="T81" fmla="*/ 2067 h 4134"/>
                  <a:gd name="T82" fmla="*/ 8037 w 8255"/>
                  <a:gd name="T83" fmla="*/ 1887 h 4134"/>
                  <a:gd name="T84" fmla="*/ 7780 w 8255"/>
                  <a:gd name="T85" fmla="*/ 1690 h 4134"/>
                  <a:gd name="T86" fmla="*/ 7439 w 8255"/>
                  <a:gd name="T87" fmla="*/ 1447 h 4134"/>
                  <a:gd name="T88" fmla="*/ 7020 w 8255"/>
                  <a:gd name="T89" fmla="*/ 1174 h 4134"/>
                  <a:gd name="T90" fmla="*/ 3062 w 8255"/>
                  <a:gd name="T91" fmla="*/ 3845 h 4134"/>
                  <a:gd name="T92" fmla="*/ 3118 w 8255"/>
                  <a:gd name="T93" fmla="*/ 3744 h 4134"/>
                  <a:gd name="T94" fmla="*/ 3195 w 8255"/>
                  <a:gd name="T95" fmla="*/ 3576 h 4134"/>
                  <a:gd name="T96" fmla="*/ 3264 w 8255"/>
                  <a:gd name="T97" fmla="*/ 3387 h 4134"/>
                  <a:gd name="T98" fmla="*/ 3264 w 8255"/>
                  <a:gd name="T99" fmla="*/ 3387 h 4134"/>
                  <a:gd name="T100" fmla="*/ 3195 w 8255"/>
                  <a:gd name="T101" fmla="*/ 3576 h 4134"/>
                  <a:gd name="T102" fmla="*/ 3118 w 8255"/>
                  <a:gd name="T103" fmla="*/ 3744 h 4134"/>
                  <a:gd name="T104" fmla="*/ 3062 w 8255"/>
                  <a:gd name="T105" fmla="*/ 3845 h 4134"/>
                  <a:gd name="T106" fmla="*/ 3242 w 8255"/>
                  <a:gd name="T107" fmla="*/ 682 h 4134"/>
                  <a:gd name="T108" fmla="*/ 3169 w 8255"/>
                  <a:gd name="T109" fmla="*/ 498 h 4134"/>
                  <a:gd name="T110" fmla="*/ 3090 w 8255"/>
                  <a:gd name="T111" fmla="*/ 338 h 4134"/>
                  <a:gd name="T112" fmla="*/ 3090 w 8255"/>
                  <a:gd name="T113" fmla="*/ 338 h 4134"/>
                  <a:gd name="T114" fmla="*/ 3169 w 8255"/>
                  <a:gd name="T115" fmla="*/ 498 h 4134"/>
                  <a:gd name="T116" fmla="*/ 3242 w 8255"/>
                  <a:gd name="T117" fmla="*/ 682 h 4134"/>
                  <a:gd name="T118" fmla="*/ 3264 w 8255"/>
                  <a:gd name="T119" fmla="*/ 749 h 4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255" h="4134">
                    <a:moveTo>
                      <a:pt x="6866" y="1081"/>
                    </a:moveTo>
                    <a:lnTo>
                      <a:pt x="6866" y="1081"/>
                    </a:lnTo>
                    <a:lnTo>
                      <a:pt x="6751" y="1014"/>
                    </a:lnTo>
                    <a:lnTo>
                      <a:pt x="6632" y="947"/>
                    </a:lnTo>
                    <a:lnTo>
                      <a:pt x="6512" y="880"/>
                    </a:lnTo>
                    <a:lnTo>
                      <a:pt x="6388" y="814"/>
                    </a:lnTo>
                    <a:lnTo>
                      <a:pt x="6388" y="814"/>
                    </a:lnTo>
                    <a:lnTo>
                      <a:pt x="6241" y="739"/>
                    </a:lnTo>
                    <a:lnTo>
                      <a:pt x="6091" y="666"/>
                    </a:lnTo>
                    <a:lnTo>
                      <a:pt x="5939" y="595"/>
                    </a:lnTo>
                    <a:lnTo>
                      <a:pt x="5783" y="528"/>
                    </a:lnTo>
                    <a:lnTo>
                      <a:pt x="5623" y="461"/>
                    </a:lnTo>
                    <a:lnTo>
                      <a:pt x="5461" y="398"/>
                    </a:lnTo>
                    <a:lnTo>
                      <a:pt x="5295" y="336"/>
                    </a:lnTo>
                    <a:lnTo>
                      <a:pt x="5127" y="281"/>
                    </a:lnTo>
                    <a:lnTo>
                      <a:pt x="5042" y="253"/>
                    </a:lnTo>
                    <a:lnTo>
                      <a:pt x="4957" y="228"/>
                    </a:lnTo>
                    <a:lnTo>
                      <a:pt x="4870" y="204"/>
                    </a:lnTo>
                    <a:lnTo>
                      <a:pt x="4783" y="180"/>
                    </a:lnTo>
                    <a:lnTo>
                      <a:pt x="4696" y="158"/>
                    </a:lnTo>
                    <a:lnTo>
                      <a:pt x="4609" y="137"/>
                    </a:lnTo>
                    <a:lnTo>
                      <a:pt x="4523" y="117"/>
                    </a:lnTo>
                    <a:lnTo>
                      <a:pt x="4434" y="99"/>
                    </a:lnTo>
                    <a:lnTo>
                      <a:pt x="4345" y="83"/>
                    </a:lnTo>
                    <a:lnTo>
                      <a:pt x="4256" y="68"/>
                    </a:lnTo>
                    <a:lnTo>
                      <a:pt x="4167" y="54"/>
                    </a:lnTo>
                    <a:lnTo>
                      <a:pt x="4076" y="40"/>
                    </a:lnTo>
                    <a:lnTo>
                      <a:pt x="3987" y="30"/>
                    </a:lnTo>
                    <a:lnTo>
                      <a:pt x="3896" y="20"/>
                    </a:lnTo>
                    <a:lnTo>
                      <a:pt x="3805" y="14"/>
                    </a:lnTo>
                    <a:lnTo>
                      <a:pt x="3714" y="8"/>
                    </a:lnTo>
                    <a:lnTo>
                      <a:pt x="3714" y="8"/>
                    </a:lnTo>
                    <a:lnTo>
                      <a:pt x="3590" y="2"/>
                    </a:lnTo>
                    <a:lnTo>
                      <a:pt x="3468" y="0"/>
                    </a:lnTo>
                    <a:lnTo>
                      <a:pt x="3468" y="0"/>
                    </a:lnTo>
                    <a:lnTo>
                      <a:pt x="3307" y="2"/>
                    </a:lnTo>
                    <a:lnTo>
                      <a:pt x="3153" y="6"/>
                    </a:lnTo>
                    <a:lnTo>
                      <a:pt x="2999" y="12"/>
                    </a:lnTo>
                    <a:lnTo>
                      <a:pt x="2849" y="20"/>
                    </a:lnTo>
                    <a:lnTo>
                      <a:pt x="2849" y="20"/>
                    </a:lnTo>
                    <a:lnTo>
                      <a:pt x="2677" y="34"/>
                    </a:lnTo>
                    <a:lnTo>
                      <a:pt x="2507" y="52"/>
                    </a:lnTo>
                    <a:lnTo>
                      <a:pt x="2337" y="72"/>
                    </a:lnTo>
                    <a:lnTo>
                      <a:pt x="2170" y="95"/>
                    </a:lnTo>
                    <a:lnTo>
                      <a:pt x="2004" y="121"/>
                    </a:lnTo>
                    <a:lnTo>
                      <a:pt x="1836" y="149"/>
                    </a:lnTo>
                    <a:lnTo>
                      <a:pt x="1666" y="182"/>
                    </a:lnTo>
                    <a:lnTo>
                      <a:pt x="1496" y="216"/>
                    </a:lnTo>
                    <a:lnTo>
                      <a:pt x="1324" y="253"/>
                    </a:lnTo>
                    <a:lnTo>
                      <a:pt x="1148" y="295"/>
                    </a:lnTo>
                    <a:lnTo>
                      <a:pt x="968" y="338"/>
                    </a:lnTo>
                    <a:lnTo>
                      <a:pt x="787" y="384"/>
                    </a:lnTo>
                    <a:lnTo>
                      <a:pt x="405" y="482"/>
                    </a:lnTo>
                    <a:lnTo>
                      <a:pt x="0" y="589"/>
                    </a:lnTo>
                    <a:lnTo>
                      <a:pt x="0" y="3525"/>
                    </a:lnTo>
                    <a:lnTo>
                      <a:pt x="0" y="3525"/>
                    </a:lnTo>
                    <a:lnTo>
                      <a:pt x="0" y="3525"/>
                    </a:lnTo>
                    <a:lnTo>
                      <a:pt x="407" y="3638"/>
                    </a:lnTo>
                    <a:lnTo>
                      <a:pt x="785" y="3738"/>
                    </a:lnTo>
                    <a:lnTo>
                      <a:pt x="966" y="3786"/>
                    </a:lnTo>
                    <a:lnTo>
                      <a:pt x="1144" y="3831"/>
                    </a:lnTo>
                    <a:lnTo>
                      <a:pt x="1316" y="3873"/>
                    </a:lnTo>
                    <a:lnTo>
                      <a:pt x="1488" y="3912"/>
                    </a:lnTo>
                    <a:lnTo>
                      <a:pt x="1656" y="3948"/>
                    </a:lnTo>
                    <a:lnTo>
                      <a:pt x="1824" y="3981"/>
                    </a:lnTo>
                    <a:lnTo>
                      <a:pt x="1992" y="4011"/>
                    </a:lnTo>
                    <a:lnTo>
                      <a:pt x="2160" y="4039"/>
                    </a:lnTo>
                    <a:lnTo>
                      <a:pt x="2328" y="4063"/>
                    </a:lnTo>
                    <a:lnTo>
                      <a:pt x="2499" y="4082"/>
                    </a:lnTo>
                    <a:lnTo>
                      <a:pt x="2673" y="4100"/>
                    </a:lnTo>
                    <a:lnTo>
                      <a:pt x="2849" y="4114"/>
                    </a:lnTo>
                    <a:lnTo>
                      <a:pt x="2849" y="4114"/>
                    </a:lnTo>
                    <a:lnTo>
                      <a:pt x="3001" y="4122"/>
                    </a:lnTo>
                    <a:lnTo>
                      <a:pt x="3153" y="4130"/>
                    </a:lnTo>
                    <a:lnTo>
                      <a:pt x="3309" y="4134"/>
                    </a:lnTo>
                    <a:lnTo>
                      <a:pt x="3468" y="4134"/>
                    </a:lnTo>
                    <a:lnTo>
                      <a:pt x="3468" y="4134"/>
                    </a:lnTo>
                    <a:lnTo>
                      <a:pt x="3590" y="4132"/>
                    </a:lnTo>
                    <a:lnTo>
                      <a:pt x="3714" y="4128"/>
                    </a:lnTo>
                    <a:lnTo>
                      <a:pt x="3714" y="4128"/>
                    </a:lnTo>
                    <a:lnTo>
                      <a:pt x="3803" y="4122"/>
                    </a:lnTo>
                    <a:lnTo>
                      <a:pt x="3894" y="4114"/>
                    </a:lnTo>
                    <a:lnTo>
                      <a:pt x="3983" y="4104"/>
                    </a:lnTo>
                    <a:lnTo>
                      <a:pt x="4072" y="4094"/>
                    </a:lnTo>
                    <a:lnTo>
                      <a:pt x="4161" y="4082"/>
                    </a:lnTo>
                    <a:lnTo>
                      <a:pt x="4250" y="4068"/>
                    </a:lnTo>
                    <a:lnTo>
                      <a:pt x="4337" y="4053"/>
                    </a:lnTo>
                    <a:lnTo>
                      <a:pt x="4426" y="4037"/>
                    </a:lnTo>
                    <a:lnTo>
                      <a:pt x="4513" y="4019"/>
                    </a:lnTo>
                    <a:lnTo>
                      <a:pt x="4600" y="3999"/>
                    </a:lnTo>
                    <a:lnTo>
                      <a:pt x="4685" y="3980"/>
                    </a:lnTo>
                    <a:lnTo>
                      <a:pt x="4771" y="3958"/>
                    </a:lnTo>
                    <a:lnTo>
                      <a:pt x="4856" y="3934"/>
                    </a:lnTo>
                    <a:lnTo>
                      <a:pt x="4941" y="3910"/>
                    </a:lnTo>
                    <a:lnTo>
                      <a:pt x="5111" y="3859"/>
                    </a:lnTo>
                    <a:lnTo>
                      <a:pt x="5277" y="3804"/>
                    </a:lnTo>
                    <a:lnTo>
                      <a:pt x="5439" y="3744"/>
                    </a:lnTo>
                    <a:lnTo>
                      <a:pt x="5601" y="3683"/>
                    </a:lnTo>
                    <a:lnTo>
                      <a:pt x="5759" y="3618"/>
                    </a:lnTo>
                    <a:lnTo>
                      <a:pt x="5913" y="3551"/>
                    </a:lnTo>
                    <a:lnTo>
                      <a:pt x="6065" y="3480"/>
                    </a:lnTo>
                    <a:lnTo>
                      <a:pt x="6214" y="3409"/>
                    </a:lnTo>
                    <a:lnTo>
                      <a:pt x="6360" y="3335"/>
                    </a:lnTo>
                    <a:lnTo>
                      <a:pt x="6360" y="3335"/>
                    </a:lnTo>
                    <a:lnTo>
                      <a:pt x="6492" y="3264"/>
                    </a:lnTo>
                    <a:lnTo>
                      <a:pt x="6623" y="3193"/>
                    </a:lnTo>
                    <a:lnTo>
                      <a:pt x="6749" y="3122"/>
                    </a:lnTo>
                    <a:lnTo>
                      <a:pt x="6872" y="3051"/>
                    </a:lnTo>
                    <a:lnTo>
                      <a:pt x="6872" y="3051"/>
                    </a:lnTo>
                    <a:lnTo>
                      <a:pt x="7026" y="2956"/>
                    </a:lnTo>
                    <a:lnTo>
                      <a:pt x="7172" y="2865"/>
                    </a:lnTo>
                    <a:lnTo>
                      <a:pt x="7310" y="2774"/>
                    </a:lnTo>
                    <a:lnTo>
                      <a:pt x="7443" y="2685"/>
                    </a:lnTo>
                    <a:lnTo>
                      <a:pt x="7565" y="2600"/>
                    </a:lnTo>
                    <a:lnTo>
                      <a:pt x="7678" y="2519"/>
                    </a:lnTo>
                    <a:lnTo>
                      <a:pt x="7782" y="2442"/>
                    </a:lnTo>
                    <a:lnTo>
                      <a:pt x="7879" y="2371"/>
                    </a:lnTo>
                    <a:lnTo>
                      <a:pt x="7964" y="2306"/>
                    </a:lnTo>
                    <a:lnTo>
                      <a:pt x="8039" y="2247"/>
                    </a:lnTo>
                    <a:lnTo>
                      <a:pt x="8158" y="2150"/>
                    </a:lnTo>
                    <a:lnTo>
                      <a:pt x="8231" y="2089"/>
                    </a:lnTo>
                    <a:lnTo>
                      <a:pt x="8255" y="2067"/>
                    </a:lnTo>
                    <a:lnTo>
                      <a:pt x="8255" y="2067"/>
                    </a:lnTo>
                    <a:lnTo>
                      <a:pt x="8229" y="2045"/>
                    </a:lnTo>
                    <a:lnTo>
                      <a:pt x="8156" y="1984"/>
                    </a:lnTo>
                    <a:lnTo>
                      <a:pt x="8037" y="1887"/>
                    </a:lnTo>
                    <a:lnTo>
                      <a:pt x="7962" y="1828"/>
                    </a:lnTo>
                    <a:lnTo>
                      <a:pt x="7877" y="1763"/>
                    </a:lnTo>
                    <a:lnTo>
                      <a:pt x="7780" y="1690"/>
                    </a:lnTo>
                    <a:lnTo>
                      <a:pt x="7676" y="1613"/>
                    </a:lnTo>
                    <a:lnTo>
                      <a:pt x="7561" y="1532"/>
                    </a:lnTo>
                    <a:lnTo>
                      <a:pt x="7439" y="1447"/>
                    </a:lnTo>
                    <a:lnTo>
                      <a:pt x="7308" y="1358"/>
                    </a:lnTo>
                    <a:lnTo>
                      <a:pt x="7168" y="1267"/>
                    </a:lnTo>
                    <a:lnTo>
                      <a:pt x="7020" y="1174"/>
                    </a:lnTo>
                    <a:lnTo>
                      <a:pt x="6866" y="1081"/>
                    </a:lnTo>
                    <a:lnTo>
                      <a:pt x="6866" y="1081"/>
                    </a:lnTo>
                    <a:close/>
                    <a:moveTo>
                      <a:pt x="3062" y="3845"/>
                    </a:moveTo>
                    <a:lnTo>
                      <a:pt x="3062" y="3845"/>
                    </a:lnTo>
                    <a:lnTo>
                      <a:pt x="3090" y="3796"/>
                    </a:lnTo>
                    <a:lnTo>
                      <a:pt x="3118" y="3744"/>
                    </a:lnTo>
                    <a:lnTo>
                      <a:pt x="3145" y="3691"/>
                    </a:lnTo>
                    <a:lnTo>
                      <a:pt x="3169" y="3636"/>
                    </a:lnTo>
                    <a:lnTo>
                      <a:pt x="3195" y="3576"/>
                    </a:lnTo>
                    <a:lnTo>
                      <a:pt x="3219" y="3515"/>
                    </a:lnTo>
                    <a:lnTo>
                      <a:pt x="3242" y="3452"/>
                    </a:lnTo>
                    <a:lnTo>
                      <a:pt x="3264" y="3387"/>
                    </a:lnTo>
                    <a:lnTo>
                      <a:pt x="3264" y="3387"/>
                    </a:lnTo>
                    <a:lnTo>
                      <a:pt x="3264" y="3387"/>
                    </a:lnTo>
                    <a:lnTo>
                      <a:pt x="3264" y="3387"/>
                    </a:lnTo>
                    <a:lnTo>
                      <a:pt x="3242" y="3452"/>
                    </a:lnTo>
                    <a:lnTo>
                      <a:pt x="3219" y="3515"/>
                    </a:lnTo>
                    <a:lnTo>
                      <a:pt x="3195" y="3576"/>
                    </a:lnTo>
                    <a:lnTo>
                      <a:pt x="3171" y="3636"/>
                    </a:lnTo>
                    <a:lnTo>
                      <a:pt x="3145" y="3691"/>
                    </a:lnTo>
                    <a:lnTo>
                      <a:pt x="3118" y="3744"/>
                    </a:lnTo>
                    <a:lnTo>
                      <a:pt x="3092" y="3796"/>
                    </a:lnTo>
                    <a:lnTo>
                      <a:pt x="3062" y="3845"/>
                    </a:lnTo>
                    <a:lnTo>
                      <a:pt x="3062" y="3845"/>
                    </a:lnTo>
                    <a:close/>
                    <a:moveTo>
                      <a:pt x="3264" y="749"/>
                    </a:moveTo>
                    <a:lnTo>
                      <a:pt x="3264" y="749"/>
                    </a:lnTo>
                    <a:lnTo>
                      <a:pt x="3242" y="682"/>
                    </a:lnTo>
                    <a:lnTo>
                      <a:pt x="3219" y="619"/>
                    </a:lnTo>
                    <a:lnTo>
                      <a:pt x="3195" y="558"/>
                    </a:lnTo>
                    <a:lnTo>
                      <a:pt x="3169" y="498"/>
                    </a:lnTo>
                    <a:lnTo>
                      <a:pt x="3144" y="443"/>
                    </a:lnTo>
                    <a:lnTo>
                      <a:pt x="3118" y="390"/>
                    </a:lnTo>
                    <a:lnTo>
                      <a:pt x="3090" y="338"/>
                    </a:lnTo>
                    <a:lnTo>
                      <a:pt x="3062" y="289"/>
                    </a:lnTo>
                    <a:lnTo>
                      <a:pt x="3062" y="289"/>
                    </a:lnTo>
                    <a:lnTo>
                      <a:pt x="3090" y="338"/>
                    </a:lnTo>
                    <a:lnTo>
                      <a:pt x="3118" y="390"/>
                    </a:lnTo>
                    <a:lnTo>
                      <a:pt x="3144" y="443"/>
                    </a:lnTo>
                    <a:lnTo>
                      <a:pt x="3169" y="498"/>
                    </a:lnTo>
                    <a:lnTo>
                      <a:pt x="3195" y="558"/>
                    </a:lnTo>
                    <a:lnTo>
                      <a:pt x="3219" y="619"/>
                    </a:lnTo>
                    <a:lnTo>
                      <a:pt x="3242" y="682"/>
                    </a:lnTo>
                    <a:lnTo>
                      <a:pt x="3264" y="749"/>
                    </a:lnTo>
                    <a:lnTo>
                      <a:pt x="3264" y="749"/>
                    </a:lnTo>
                    <a:lnTo>
                      <a:pt x="3264" y="749"/>
                    </a:lnTo>
                    <a:lnTo>
                      <a:pt x="3264" y="749"/>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25" name="Rectangle 303"/>
              <p:cNvSpPr>
                <a:spLocks noChangeArrowheads="1"/>
              </p:cNvSpPr>
              <p:nvPr/>
            </p:nvSpPr>
            <p:spPr bwMode="auto">
              <a:xfrm>
                <a:off x="8272459" y="2557462"/>
                <a:ext cx="779464" cy="28575"/>
              </a:xfrm>
              <a:prstGeom prst="rect">
                <a:avLst/>
              </a:prstGeom>
              <a:solidFill>
                <a:srgbClr val="80828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26" name="Freeform 304"/>
              <p:cNvSpPr>
                <a:spLocks/>
              </p:cNvSpPr>
              <p:nvPr/>
            </p:nvSpPr>
            <p:spPr bwMode="auto">
              <a:xfrm>
                <a:off x="8956673" y="2479676"/>
                <a:ext cx="187324" cy="185737"/>
              </a:xfrm>
              <a:custGeom>
                <a:avLst/>
                <a:gdLst>
                  <a:gd name="T0" fmla="*/ 118 w 235"/>
                  <a:gd name="T1" fmla="*/ 236 h 236"/>
                  <a:gd name="T2" fmla="*/ 118 w 235"/>
                  <a:gd name="T3" fmla="*/ 236 h 236"/>
                  <a:gd name="T4" fmla="*/ 107 w 235"/>
                  <a:gd name="T5" fmla="*/ 234 h 236"/>
                  <a:gd name="T6" fmla="*/ 95 w 235"/>
                  <a:gd name="T7" fmla="*/ 232 h 236"/>
                  <a:gd name="T8" fmla="*/ 71 w 235"/>
                  <a:gd name="T9" fmla="*/ 226 h 236"/>
                  <a:gd name="T10" fmla="*/ 51 w 235"/>
                  <a:gd name="T11" fmla="*/ 214 h 236"/>
                  <a:gd name="T12" fmla="*/ 35 w 235"/>
                  <a:gd name="T13" fmla="*/ 200 h 236"/>
                  <a:gd name="T14" fmla="*/ 20 w 235"/>
                  <a:gd name="T15" fmla="*/ 182 h 236"/>
                  <a:gd name="T16" fmla="*/ 10 w 235"/>
                  <a:gd name="T17" fmla="*/ 162 h 236"/>
                  <a:gd name="T18" fmla="*/ 2 w 235"/>
                  <a:gd name="T19" fmla="*/ 141 h 236"/>
                  <a:gd name="T20" fmla="*/ 0 w 235"/>
                  <a:gd name="T21" fmla="*/ 129 h 236"/>
                  <a:gd name="T22" fmla="*/ 0 w 235"/>
                  <a:gd name="T23" fmla="*/ 117 h 236"/>
                  <a:gd name="T24" fmla="*/ 0 w 235"/>
                  <a:gd name="T25" fmla="*/ 117 h 236"/>
                  <a:gd name="T26" fmla="*/ 0 w 235"/>
                  <a:gd name="T27" fmla="*/ 105 h 236"/>
                  <a:gd name="T28" fmla="*/ 2 w 235"/>
                  <a:gd name="T29" fmla="*/ 93 h 236"/>
                  <a:gd name="T30" fmla="*/ 10 w 235"/>
                  <a:gd name="T31" fmla="*/ 72 h 236"/>
                  <a:gd name="T32" fmla="*/ 20 w 235"/>
                  <a:gd name="T33" fmla="*/ 52 h 236"/>
                  <a:gd name="T34" fmla="*/ 35 w 235"/>
                  <a:gd name="T35" fmla="*/ 34 h 236"/>
                  <a:gd name="T36" fmla="*/ 51 w 235"/>
                  <a:gd name="T37" fmla="*/ 20 h 236"/>
                  <a:gd name="T38" fmla="*/ 71 w 235"/>
                  <a:gd name="T39" fmla="*/ 8 h 236"/>
                  <a:gd name="T40" fmla="*/ 95 w 235"/>
                  <a:gd name="T41" fmla="*/ 2 h 236"/>
                  <a:gd name="T42" fmla="*/ 107 w 235"/>
                  <a:gd name="T43" fmla="*/ 0 h 236"/>
                  <a:gd name="T44" fmla="*/ 118 w 235"/>
                  <a:gd name="T45" fmla="*/ 0 h 236"/>
                  <a:gd name="T46" fmla="*/ 118 w 235"/>
                  <a:gd name="T47" fmla="*/ 0 h 236"/>
                  <a:gd name="T48" fmla="*/ 130 w 235"/>
                  <a:gd name="T49" fmla="*/ 0 h 236"/>
                  <a:gd name="T50" fmla="*/ 142 w 235"/>
                  <a:gd name="T51" fmla="*/ 2 h 236"/>
                  <a:gd name="T52" fmla="*/ 164 w 235"/>
                  <a:gd name="T53" fmla="*/ 8 h 236"/>
                  <a:gd name="T54" fmla="*/ 184 w 235"/>
                  <a:gd name="T55" fmla="*/ 20 h 236"/>
                  <a:gd name="T56" fmla="*/ 201 w 235"/>
                  <a:gd name="T57" fmla="*/ 34 h 236"/>
                  <a:gd name="T58" fmla="*/ 215 w 235"/>
                  <a:gd name="T59" fmla="*/ 52 h 236"/>
                  <a:gd name="T60" fmla="*/ 227 w 235"/>
                  <a:gd name="T61" fmla="*/ 72 h 236"/>
                  <a:gd name="T62" fmla="*/ 233 w 235"/>
                  <a:gd name="T63" fmla="*/ 93 h 236"/>
                  <a:gd name="T64" fmla="*/ 235 w 235"/>
                  <a:gd name="T65" fmla="*/ 105 h 236"/>
                  <a:gd name="T66" fmla="*/ 235 w 235"/>
                  <a:gd name="T67" fmla="*/ 117 h 236"/>
                  <a:gd name="T68" fmla="*/ 235 w 235"/>
                  <a:gd name="T69" fmla="*/ 117 h 236"/>
                  <a:gd name="T70" fmla="*/ 235 w 235"/>
                  <a:gd name="T71" fmla="*/ 129 h 236"/>
                  <a:gd name="T72" fmla="*/ 233 w 235"/>
                  <a:gd name="T73" fmla="*/ 141 h 236"/>
                  <a:gd name="T74" fmla="*/ 227 w 235"/>
                  <a:gd name="T75" fmla="*/ 162 h 236"/>
                  <a:gd name="T76" fmla="*/ 215 w 235"/>
                  <a:gd name="T77" fmla="*/ 182 h 236"/>
                  <a:gd name="T78" fmla="*/ 201 w 235"/>
                  <a:gd name="T79" fmla="*/ 200 h 236"/>
                  <a:gd name="T80" fmla="*/ 184 w 235"/>
                  <a:gd name="T81" fmla="*/ 214 h 236"/>
                  <a:gd name="T82" fmla="*/ 164 w 235"/>
                  <a:gd name="T83" fmla="*/ 226 h 236"/>
                  <a:gd name="T84" fmla="*/ 142 w 235"/>
                  <a:gd name="T85" fmla="*/ 232 h 236"/>
                  <a:gd name="T86" fmla="*/ 130 w 235"/>
                  <a:gd name="T87" fmla="*/ 234 h 236"/>
                  <a:gd name="T88" fmla="*/ 118 w 235"/>
                  <a:gd name="T89" fmla="*/ 236 h 236"/>
                  <a:gd name="T90" fmla="*/ 118 w 235"/>
                  <a:gd name="T91"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5" h="236">
                    <a:moveTo>
                      <a:pt x="118" y="236"/>
                    </a:moveTo>
                    <a:lnTo>
                      <a:pt x="118" y="236"/>
                    </a:lnTo>
                    <a:lnTo>
                      <a:pt x="107" y="234"/>
                    </a:lnTo>
                    <a:lnTo>
                      <a:pt x="95" y="232"/>
                    </a:lnTo>
                    <a:lnTo>
                      <a:pt x="71" y="226"/>
                    </a:lnTo>
                    <a:lnTo>
                      <a:pt x="51" y="214"/>
                    </a:lnTo>
                    <a:lnTo>
                      <a:pt x="35" y="200"/>
                    </a:lnTo>
                    <a:lnTo>
                      <a:pt x="20" y="182"/>
                    </a:lnTo>
                    <a:lnTo>
                      <a:pt x="10" y="162"/>
                    </a:lnTo>
                    <a:lnTo>
                      <a:pt x="2" y="141"/>
                    </a:lnTo>
                    <a:lnTo>
                      <a:pt x="0" y="129"/>
                    </a:lnTo>
                    <a:lnTo>
                      <a:pt x="0" y="117"/>
                    </a:lnTo>
                    <a:lnTo>
                      <a:pt x="0" y="117"/>
                    </a:lnTo>
                    <a:lnTo>
                      <a:pt x="0" y="105"/>
                    </a:lnTo>
                    <a:lnTo>
                      <a:pt x="2" y="93"/>
                    </a:lnTo>
                    <a:lnTo>
                      <a:pt x="10" y="72"/>
                    </a:lnTo>
                    <a:lnTo>
                      <a:pt x="20" y="52"/>
                    </a:lnTo>
                    <a:lnTo>
                      <a:pt x="35" y="34"/>
                    </a:lnTo>
                    <a:lnTo>
                      <a:pt x="51" y="20"/>
                    </a:lnTo>
                    <a:lnTo>
                      <a:pt x="71" y="8"/>
                    </a:lnTo>
                    <a:lnTo>
                      <a:pt x="95" y="2"/>
                    </a:lnTo>
                    <a:lnTo>
                      <a:pt x="107" y="0"/>
                    </a:lnTo>
                    <a:lnTo>
                      <a:pt x="118" y="0"/>
                    </a:lnTo>
                    <a:lnTo>
                      <a:pt x="118" y="0"/>
                    </a:lnTo>
                    <a:lnTo>
                      <a:pt x="130" y="0"/>
                    </a:lnTo>
                    <a:lnTo>
                      <a:pt x="142" y="2"/>
                    </a:lnTo>
                    <a:lnTo>
                      <a:pt x="164" y="8"/>
                    </a:lnTo>
                    <a:lnTo>
                      <a:pt x="184" y="20"/>
                    </a:lnTo>
                    <a:lnTo>
                      <a:pt x="201" y="34"/>
                    </a:lnTo>
                    <a:lnTo>
                      <a:pt x="215" y="52"/>
                    </a:lnTo>
                    <a:lnTo>
                      <a:pt x="227" y="72"/>
                    </a:lnTo>
                    <a:lnTo>
                      <a:pt x="233" y="93"/>
                    </a:lnTo>
                    <a:lnTo>
                      <a:pt x="235" y="105"/>
                    </a:lnTo>
                    <a:lnTo>
                      <a:pt x="235" y="117"/>
                    </a:lnTo>
                    <a:lnTo>
                      <a:pt x="235" y="117"/>
                    </a:lnTo>
                    <a:lnTo>
                      <a:pt x="235" y="129"/>
                    </a:lnTo>
                    <a:lnTo>
                      <a:pt x="233" y="141"/>
                    </a:lnTo>
                    <a:lnTo>
                      <a:pt x="227" y="162"/>
                    </a:lnTo>
                    <a:lnTo>
                      <a:pt x="215" y="182"/>
                    </a:lnTo>
                    <a:lnTo>
                      <a:pt x="201" y="200"/>
                    </a:lnTo>
                    <a:lnTo>
                      <a:pt x="184" y="214"/>
                    </a:lnTo>
                    <a:lnTo>
                      <a:pt x="164" y="226"/>
                    </a:lnTo>
                    <a:lnTo>
                      <a:pt x="142" y="232"/>
                    </a:lnTo>
                    <a:lnTo>
                      <a:pt x="130" y="234"/>
                    </a:lnTo>
                    <a:lnTo>
                      <a:pt x="118" y="236"/>
                    </a:lnTo>
                    <a:lnTo>
                      <a:pt x="118" y="236"/>
                    </a:ln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27" name="Freeform 305"/>
              <p:cNvSpPr>
                <a:spLocks/>
              </p:cNvSpPr>
              <p:nvPr/>
            </p:nvSpPr>
            <p:spPr bwMode="auto">
              <a:xfrm>
                <a:off x="0" y="3390902"/>
                <a:ext cx="3254374" cy="1635124"/>
              </a:xfrm>
              <a:custGeom>
                <a:avLst/>
                <a:gdLst>
                  <a:gd name="T0" fmla="*/ 4099 w 4099"/>
                  <a:gd name="T1" fmla="*/ 769 h 2061"/>
                  <a:gd name="T2" fmla="*/ 4099 w 4099"/>
                  <a:gd name="T3" fmla="*/ 769 h 2061"/>
                  <a:gd name="T4" fmla="*/ 4074 w 4099"/>
                  <a:gd name="T5" fmla="*/ 804 h 2061"/>
                  <a:gd name="T6" fmla="*/ 4001 w 4099"/>
                  <a:gd name="T7" fmla="*/ 905 h 2061"/>
                  <a:gd name="T8" fmla="*/ 3898 w 4099"/>
                  <a:gd name="T9" fmla="*/ 1055 h 2061"/>
                  <a:gd name="T10" fmla="*/ 3839 w 4099"/>
                  <a:gd name="T11" fmla="*/ 1146 h 2061"/>
                  <a:gd name="T12" fmla="*/ 3777 w 4099"/>
                  <a:gd name="T13" fmla="*/ 1243 h 2061"/>
                  <a:gd name="T14" fmla="*/ 3716 w 4099"/>
                  <a:gd name="T15" fmla="*/ 1344 h 2061"/>
                  <a:gd name="T16" fmla="*/ 3653 w 4099"/>
                  <a:gd name="T17" fmla="*/ 1451 h 2061"/>
                  <a:gd name="T18" fmla="*/ 3594 w 4099"/>
                  <a:gd name="T19" fmla="*/ 1557 h 2061"/>
                  <a:gd name="T20" fmla="*/ 3538 w 4099"/>
                  <a:gd name="T21" fmla="*/ 1666 h 2061"/>
                  <a:gd name="T22" fmla="*/ 3515 w 4099"/>
                  <a:gd name="T23" fmla="*/ 1719 h 2061"/>
                  <a:gd name="T24" fmla="*/ 3491 w 4099"/>
                  <a:gd name="T25" fmla="*/ 1771 h 2061"/>
                  <a:gd name="T26" fmla="*/ 3469 w 4099"/>
                  <a:gd name="T27" fmla="*/ 1822 h 2061"/>
                  <a:gd name="T28" fmla="*/ 3449 w 4099"/>
                  <a:gd name="T29" fmla="*/ 1873 h 2061"/>
                  <a:gd name="T30" fmla="*/ 3432 w 4099"/>
                  <a:gd name="T31" fmla="*/ 1923 h 2061"/>
                  <a:gd name="T32" fmla="*/ 3416 w 4099"/>
                  <a:gd name="T33" fmla="*/ 1970 h 2061"/>
                  <a:gd name="T34" fmla="*/ 3404 w 4099"/>
                  <a:gd name="T35" fmla="*/ 2018 h 2061"/>
                  <a:gd name="T36" fmla="*/ 3396 w 4099"/>
                  <a:gd name="T37" fmla="*/ 2061 h 2061"/>
                  <a:gd name="T38" fmla="*/ 0 w 4099"/>
                  <a:gd name="T39" fmla="*/ 1342 h 2061"/>
                  <a:gd name="T40" fmla="*/ 0 w 4099"/>
                  <a:gd name="T41" fmla="*/ 1113 h 2061"/>
                  <a:gd name="T42" fmla="*/ 0 w 4099"/>
                  <a:gd name="T43" fmla="*/ 1113 h 2061"/>
                  <a:gd name="T44" fmla="*/ 109 w 4099"/>
                  <a:gd name="T45" fmla="*/ 1123 h 2061"/>
                  <a:gd name="T46" fmla="*/ 231 w 4099"/>
                  <a:gd name="T47" fmla="*/ 1134 h 2061"/>
                  <a:gd name="T48" fmla="*/ 393 w 4099"/>
                  <a:gd name="T49" fmla="*/ 1144 h 2061"/>
                  <a:gd name="T50" fmla="*/ 486 w 4099"/>
                  <a:gd name="T51" fmla="*/ 1150 h 2061"/>
                  <a:gd name="T52" fmla="*/ 585 w 4099"/>
                  <a:gd name="T53" fmla="*/ 1154 h 2061"/>
                  <a:gd name="T54" fmla="*/ 691 w 4099"/>
                  <a:gd name="T55" fmla="*/ 1156 h 2061"/>
                  <a:gd name="T56" fmla="*/ 802 w 4099"/>
                  <a:gd name="T57" fmla="*/ 1158 h 2061"/>
                  <a:gd name="T58" fmla="*/ 917 w 4099"/>
                  <a:gd name="T59" fmla="*/ 1158 h 2061"/>
                  <a:gd name="T60" fmla="*/ 1035 w 4099"/>
                  <a:gd name="T61" fmla="*/ 1156 h 2061"/>
                  <a:gd name="T62" fmla="*/ 1158 w 4099"/>
                  <a:gd name="T63" fmla="*/ 1150 h 2061"/>
                  <a:gd name="T64" fmla="*/ 1280 w 4099"/>
                  <a:gd name="T65" fmla="*/ 1142 h 2061"/>
                  <a:gd name="T66" fmla="*/ 1403 w 4099"/>
                  <a:gd name="T67" fmla="*/ 1132 h 2061"/>
                  <a:gd name="T68" fmla="*/ 1527 w 4099"/>
                  <a:gd name="T69" fmla="*/ 1119 h 2061"/>
                  <a:gd name="T70" fmla="*/ 1650 w 4099"/>
                  <a:gd name="T71" fmla="*/ 1103 h 2061"/>
                  <a:gd name="T72" fmla="*/ 1770 w 4099"/>
                  <a:gd name="T73" fmla="*/ 1081 h 2061"/>
                  <a:gd name="T74" fmla="*/ 1831 w 4099"/>
                  <a:gd name="T75" fmla="*/ 1069 h 2061"/>
                  <a:gd name="T76" fmla="*/ 1891 w 4099"/>
                  <a:gd name="T77" fmla="*/ 1055 h 2061"/>
                  <a:gd name="T78" fmla="*/ 1948 w 4099"/>
                  <a:gd name="T79" fmla="*/ 1042 h 2061"/>
                  <a:gd name="T80" fmla="*/ 2005 w 4099"/>
                  <a:gd name="T81" fmla="*/ 1026 h 2061"/>
                  <a:gd name="T82" fmla="*/ 2061 w 4099"/>
                  <a:gd name="T83" fmla="*/ 1010 h 2061"/>
                  <a:gd name="T84" fmla="*/ 2116 w 4099"/>
                  <a:gd name="T85" fmla="*/ 992 h 2061"/>
                  <a:gd name="T86" fmla="*/ 2169 w 4099"/>
                  <a:gd name="T87" fmla="*/ 972 h 2061"/>
                  <a:gd name="T88" fmla="*/ 2223 w 4099"/>
                  <a:gd name="T89" fmla="*/ 953 h 2061"/>
                  <a:gd name="T90" fmla="*/ 2272 w 4099"/>
                  <a:gd name="T91" fmla="*/ 931 h 2061"/>
                  <a:gd name="T92" fmla="*/ 2321 w 4099"/>
                  <a:gd name="T93" fmla="*/ 907 h 2061"/>
                  <a:gd name="T94" fmla="*/ 2369 w 4099"/>
                  <a:gd name="T95" fmla="*/ 883 h 2061"/>
                  <a:gd name="T96" fmla="*/ 2414 w 4099"/>
                  <a:gd name="T97" fmla="*/ 858 h 2061"/>
                  <a:gd name="T98" fmla="*/ 2458 w 4099"/>
                  <a:gd name="T99" fmla="*/ 830 h 2061"/>
                  <a:gd name="T100" fmla="*/ 2499 w 4099"/>
                  <a:gd name="T101" fmla="*/ 800 h 2061"/>
                  <a:gd name="T102" fmla="*/ 2539 w 4099"/>
                  <a:gd name="T103" fmla="*/ 771 h 2061"/>
                  <a:gd name="T104" fmla="*/ 2576 w 4099"/>
                  <a:gd name="T105" fmla="*/ 737 h 2061"/>
                  <a:gd name="T106" fmla="*/ 2612 w 4099"/>
                  <a:gd name="T107" fmla="*/ 704 h 2061"/>
                  <a:gd name="T108" fmla="*/ 2643 w 4099"/>
                  <a:gd name="T109" fmla="*/ 668 h 2061"/>
                  <a:gd name="T110" fmla="*/ 2673 w 4099"/>
                  <a:gd name="T111" fmla="*/ 633 h 2061"/>
                  <a:gd name="T112" fmla="*/ 2701 w 4099"/>
                  <a:gd name="T113" fmla="*/ 593 h 2061"/>
                  <a:gd name="T114" fmla="*/ 2726 w 4099"/>
                  <a:gd name="T115" fmla="*/ 552 h 2061"/>
                  <a:gd name="T116" fmla="*/ 2748 w 4099"/>
                  <a:gd name="T117" fmla="*/ 510 h 2061"/>
                  <a:gd name="T118" fmla="*/ 2766 w 4099"/>
                  <a:gd name="T119" fmla="*/ 465 h 2061"/>
                  <a:gd name="T120" fmla="*/ 2782 w 4099"/>
                  <a:gd name="T121" fmla="*/ 419 h 2061"/>
                  <a:gd name="T122" fmla="*/ 3843 w 4099"/>
                  <a:gd name="T123" fmla="*/ 0 h 2061"/>
                  <a:gd name="T124" fmla="*/ 4099 w 4099"/>
                  <a:gd name="T125" fmla="*/ 769 h 20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99" h="2061">
                    <a:moveTo>
                      <a:pt x="4099" y="769"/>
                    </a:moveTo>
                    <a:lnTo>
                      <a:pt x="4099" y="769"/>
                    </a:lnTo>
                    <a:lnTo>
                      <a:pt x="4074" y="804"/>
                    </a:lnTo>
                    <a:lnTo>
                      <a:pt x="4001" y="905"/>
                    </a:lnTo>
                    <a:lnTo>
                      <a:pt x="3898" y="1055"/>
                    </a:lnTo>
                    <a:lnTo>
                      <a:pt x="3839" y="1146"/>
                    </a:lnTo>
                    <a:lnTo>
                      <a:pt x="3777" y="1243"/>
                    </a:lnTo>
                    <a:lnTo>
                      <a:pt x="3716" y="1344"/>
                    </a:lnTo>
                    <a:lnTo>
                      <a:pt x="3653" y="1451"/>
                    </a:lnTo>
                    <a:lnTo>
                      <a:pt x="3594" y="1557"/>
                    </a:lnTo>
                    <a:lnTo>
                      <a:pt x="3538" y="1666"/>
                    </a:lnTo>
                    <a:lnTo>
                      <a:pt x="3515" y="1719"/>
                    </a:lnTo>
                    <a:lnTo>
                      <a:pt x="3491" y="1771"/>
                    </a:lnTo>
                    <a:lnTo>
                      <a:pt x="3469" y="1822"/>
                    </a:lnTo>
                    <a:lnTo>
                      <a:pt x="3449" y="1873"/>
                    </a:lnTo>
                    <a:lnTo>
                      <a:pt x="3432" y="1923"/>
                    </a:lnTo>
                    <a:lnTo>
                      <a:pt x="3416" y="1970"/>
                    </a:lnTo>
                    <a:lnTo>
                      <a:pt x="3404" y="2018"/>
                    </a:lnTo>
                    <a:lnTo>
                      <a:pt x="3396" y="2061"/>
                    </a:lnTo>
                    <a:lnTo>
                      <a:pt x="0" y="1342"/>
                    </a:lnTo>
                    <a:lnTo>
                      <a:pt x="0" y="1113"/>
                    </a:lnTo>
                    <a:lnTo>
                      <a:pt x="0" y="1113"/>
                    </a:lnTo>
                    <a:lnTo>
                      <a:pt x="109" y="1123"/>
                    </a:lnTo>
                    <a:lnTo>
                      <a:pt x="231" y="1134"/>
                    </a:lnTo>
                    <a:lnTo>
                      <a:pt x="393" y="1144"/>
                    </a:lnTo>
                    <a:lnTo>
                      <a:pt x="486" y="1150"/>
                    </a:lnTo>
                    <a:lnTo>
                      <a:pt x="585" y="1154"/>
                    </a:lnTo>
                    <a:lnTo>
                      <a:pt x="691" y="1156"/>
                    </a:lnTo>
                    <a:lnTo>
                      <a:pt x="802" y="1158"/>
                    </a:lnTo>
                    <a:lnTo>
                      <a:pt x="917" y="1158"/>
                    </a:lnTo>
                    <a:lnTo>
                      <a:pt x="1035" y="1156"/>
                    </a:lnTo>
                    <a:lnTo>
                      <a:pt x="1158" y="1150"/>
                    </a:lnTo>
                    <a:lnTo>
                      <a:pt x="1280" y="1142"/>
                    </a:lnTo>
                    <a:lnTo>
                      <a:pt x="1403" y="1132"/>
                    </a:lnTo>
                    <a:lnTo>
                      <a:pt x="1527" y="1119"/>
                    </a:lnTo>
                    <a:lnTo>
                      <a:pt x="1650" y="1103"/>
                    </a:lnTo>
                    <a:lnTo>
                      <a:pt x="1770" y="1081"/>
                    </a:lnTo>
                    <a:lnTo>
                      <a:pt x="1831" y="1069"/>
                    </a:lnTo>
                    <a:lnTo>
                      <a:pt x="1891" y="1055"/>
                    </a:lnTo>
                    <a:lnTo>
                      <a:pt x="1948" y="1042"/>
                    </a:lnTo>
                    <a:lnTo>
                      <a:pt x="2005" y="1026"/>
                    </a:lnTo>
                    <a:lnTo>
                      <a:pt x="2061" y="1010"/>
                    </a:lnTo>
                    <a:lnTo>
                      <a:pt x="2116" y="992"/>
                    </a:lnTo>
                    <a:lnTo>
                      <a:pt x="2169" y="972"/>
                    </a:lnTo>
                    <a:lnTo>
                      <a:pt x="2223" y="953"/>
                    </a:lnTo>
                    <a:lnTo>
                      <a:pt x="2272" y="931"/>
                    </a:lnTo>
                    <a:lnTo>
                      <a:pt x="2321" y="907"/>
                    </a:lnTo>
                    <a:lnTo>
                      <a:pt x="2369" y="883"/>
                    </a:lnTo>
                    <a:lnTo>
                      <a:pt x="2414" y="858"/>
                    </a:lnTo>
                    <a:lnTo>
                      <a:pt x="2458" y="830"/>
                    </a:lnTo>
                    <a:lnTo>
                      <a:pt x="2499" y="800"/>
                    </a:lnTo>
                    <a:lnTo>
                      <a:pt x="2539" y="771"/>
                    </a:lnTo>
                    <a:lnTo>
                      <a:pt x="2576" y="737"/>
                    </a:lnTo>
                    <a:lnTo>
                      <a:pt x="2612" y="704"/>
                    </a:lnTo>
                    <a:lnTo>
                      <a:pt x="2643" y="668"/>
                    </a:lnTo>
                    <a:lnTo>
                      <a:pt x="2673" y="633"/>
                    </a:lnTo>
                    <a:lnTo>
                      <a:pt x="2701" y="593"/>
                    </a:lnTo>
                    <a:lnTo>
                      <a:pt x="2726" y="552"/>
                    </a:lnTo>
                    <a:lnTo>
                      <a:pt x="2748" y="510"/>
                    </a:lnTo>
                    <a:lnTo>
                      <a:pt x="2766" y="465"/>
                    </a:lnTo>
                    <a:lnTo>
                      <a:pt x="2782" y="419"/>
                    </a:lnTo>
                    <a:lnTo>
                      <a:pt x="3843" y="0"/>
                    </a:lnTo>
                    <a:lnTo>
                      <a:pt x="4099" y="769"/>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28" name="Freeform 306"/>
              <p:cNvSpPr>
                <a:spLocks/>
              </p:cNvSpPr>
              <p:nvPr/>
            </p:nvSpPr>
            <p:spPr bwMode="auto">
              <a:xfrm>
                <a:off x="2159000" y="3390902"/>
                <a:ext cx="1095374" cy="757237"/>
              </a:xfrm>
              <a:custGeom>
                <a:avLst/>
                <a:gdLst>
                  <a:gd name="T0" fmla="*/ 1379 w 1379"/>
                  <a:gd name="T1" fmla="*/ 769 h 955"/>
                  <a:gd name="T2" fmla="*/ 1123 w 1379"/>
                  <a:gd name="T3" fmla="*/ 0 h 955"/>
                  <a:gd name="T4" fmla="*/ 62 w 1379"/>
                  <a:gd name="T5" fmla="*/ 419 h 955"/>
                  <a:gd name="T6" fmla="*/ 62 w 1379"/>
                  <a:gd name="T7" fmla="*/ 419 h 955"/>
                  <a:gd name="T8" fmla="*/ 50 w 1379"/>
                  <a:gd name="T9" fmla="*/ 457 h 955"/>
                  <a:gd name="T10" fmla="*/ 34 w 1379"/>
                  <a:gd name="T11" fmla="*/ 492 h 955"/>
                  <a:gd name="T12" fmla="*/ 18 w 1379"/>
                  <a:gd name="T13" fmla="*/ 528 h 955"/>
                  <a:gd name="T14" fmla="*/ 0 w 1379"/>
                  <a:gd name="T15" fmla="*/ 559 h 955"/>
                  <a:gd name="T16" fmla="*/ 0 w 1379"/>
                  <a:gd name="T17" fmla="*/ 559 h 955"/>
                  <a:gd name="T18" fmla="*/ 74 w 1379"/>
                  <a:gd name="T19" fmla="*/ 591 h 955"/>
                  <a:gd name="T20" fmla="*/ 149 w 1379"/>
                  <a:gd name="T21" fmla="*/ 621 h 955"/>
                  <a:gd name="T22" fmla="*/ 226 w 1379"/>
                  <a:gd name="T23" fmla="*/ 650 h 955"/>
                  <a:gd name="T24" fmla="*/ 305 w 1379"/>
                  <a:gd name="T25" fmla="*/ 680 h 955"/>
                  <a:gd name="T26" fmla="*/ 471 w 1379"/>
                  <a:gd name="T27" fmla="*/ 735 h 955"/>
                  <a:gd name="T28" fmla="*/ 637 w 1379"/>
                  <a:gd name="T29" fmla="*/ 789 h 955"/>
                  <a:gd name="T30" fmla="*/ 801 w 1379"/>
                  <a:gd name="T31" fmla="*/ 838 h 955"/>
                  <a:gd name="T32" fmla="*/ 961 w 1379"/>
                  <a:gd name="T33" fmla="*/ 881 h 955"/>
                  <a:gd name="T34" fmla="*/ 1111 w 1379"/>
                  <a:gd name="T35" fmla="*/ 921 h 955"/>
                  <a:gd name="T36" fmla="*/ 1247 w 1379"/>
                  <a:gd name="T37" fmla="*/ 955 h 955"/>
                  <a:gd name="T38" fmla="*/ 1247 w 1379"/>
                  <a:gd name="T39" fmla="*/ 955 h 955"/>
                  <a:gd name="T40" fmla="*/ 1342 w 1379"/>
                  <a:gd name="T41" fmla="*/ 818 h 955"/>
                  <a:gd name="T42" fmla="*/ 1379 w 1379"/>
                  <a:gd name="T43" fmla="*/ 769 h 955"/>
                  <a:gd name="T44" fmla="*/ 1379 w 1379"/>
                  <a:gd name="T45" fmla="*/ 769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79" h="955">
                    <a:moveTo>
                      <a:pt x="1379" y="769"/>
                    </a:moveTo>
                    <a:lnTo>
                      <a:pt x="1123" y="0"/>
                    </a:lnTo>
                    <a:lnTo>
                      <a:pt x="62" y="419"/>
                    </a:lnTo>
                    <a:lnTo>
                      <a:pt x="62" y="419"/>
                    </a:lnTo>
                    <a:lnTo>
                      <a:pt x="50" y="457"/>
                    </a:lnTo>
                    <a:lnTo>
                      <a:pt x="34" y="492"/>
                    </a:lnTo>
                    <a:lnTo>
                      <a:pt x="18" y="528"/>
                    </a:lnTo>
                    <a:lnTo>
                      <a:pt x="0" y="559"/>
                    </a:lnTo>
                    <a:lnTo>
                      <a:pt x="0" y="559"/>
                    </a:lnTo>
                    <a:lnTo>
                      <a:pt x="74" y="591"/>
                    </a:lnTo>
                    <a:lnTo>
                      <a:pt x="149" y="621"/>
                    </a:lnTo>
                    <a:lnTo>
                      <a:pt x="226" y="650"/>
                    </a:lnTo>
                    <a:lnTo>
                      <a:pt x="305" y="680"/>
                    </a:lnTo>
                    <a:lnTo>
                      <a:pt x="471" y="735"/>
                    </a:lnTo>
                    <a:lnTo>
                      <a:pt x="637" y="789"/>
                    </a:lnTo>
                    <a:lnTo>
                      <a:pt x="801" y="838"/>
                    </a:lnTo>
                    <a:lnTo>
                      <a:pt x="961" y="881"/>
                    </a:lnTo>
                    <a:lnTo>
                      <a:pt x="1111" y="921"/>
                    </a:lnTo>
                    <a:lnTo>
                      <a:pt x="1247" y="955"/>
                    </a:lnTo>
                    <a:lnTo>
                      <a:pt x="1247" y="955"/>
                    </a:lnTo>
                    <a:lnTo>
                      <a:pt x="1342" y="818"/>
                    </a:lnTo>
                    <a:lnTo>
                      <a:pt x="1379" y="769"/>
                    </a:lnTo>
                    <a:lnTo>
                      <a:pt x="1379" y="769"/>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29" name="Freeform 307"/>
              <p:cNvSpPr>
                <a:spLocks/>
              </p:cNvSpPr>
              <p:nvPr/>
            </p:nvSpPr>
            <p:spPr bwMode="auto">
              <a:xfrm>
                <a:off x="0" y="117474"/>
                <a:ext cx="3254374" cy="1635124"/>
              </a:xfrm>
              <a:custGeom>
                <a:avLst/>
                <a:gdLst>
                  <a:gd name="T0" fmla="*/ 4099 w 4099"/>
                  <a:gd name="T1" fmla="*/ 1294 h 2061"/>
                  <a:gd name="T2" fmla="*/ 4099 w 4099"/>
                  <a:gd name="T3" fmla="*/ 1294 h 2061"/>
                  <a:gd name="T4" fmla="*/ 4074 w 4099"/>
                  <a:gd name="T5" fmla="*/ 1257 h 2061"/>
                  <a:gd name="T6" fmla="*/ 4001 w 4099"/>
                  <a:gd name="T7" fmla="*/ 1156 h 2061"/>
                  <a:gd name="T8" fmla="*/ 3898 w 4099"/>
                  <a:gd name="T9" fmla="*/ 1006 h 2061"/>
                  <a:gd name="T10" fmla="*/ 3839 w 4099"/>
                  <a:gd name="T11" fmla="*/ 915 h 2061"/>
                  <a:gd name="T12" fmla="*/ 3777 w 4099"/>
                  <a:gd name="T13" fmla="*/ 820 h 2061"/>
                  <a:gd name="T14" fmla="*/ 3716 w 4099"/>
                  <a:gd name="T15" fmla="*/ 717 h 2061"/>
                  <a:gd name="T16" fmla="*/ 3653 w 4099"/>
                  <a:gd name="T17" fmla="*/ 610 h 2061"/>
                  <a:gd name="T18" fmla="*/ 3594 w 4099"/>
                  <a:gd name="T19" fmla="*/ 504 h 2061"/>
                  <a:gd name="T20" fmla="*/ 3538 w 4099"/>
                  <a:gd name="T21" fmla="*/ 395 h 2061"/>
                  <a:gd name="T22" fmla="*/ 3515 w 4099"/>
                  <a:gd name="T23" fmla="*/ 344 h 2061"/>
                  <a:gd name="T24" fmla="*/ 3491 w 4099"/>
                  <a:gd name="T25" fmla="*/ 290 h 2061"/>
                  <a:gd name="T26" fmla="*/ 3469 w 4099"/>
                  <a:gd name="T27" fmla="*/ 239 h 2061"/>
                  <a:gd name="T28" fmla="*/ 3449 w 4099"/>
                  <a:gd name="T29" fmla="*/ 188 h 2061"/>
                  <a:gd name="T30" fmla="*/ 3432 w 4099"/>
                  <a:gd name="T31" fmla="*/ 138 h 2061"/>
                  <a:gd name="T32" fmla="*/ 3416 w 4099"/>
                  <a:gd name="T33" fmla="*/ 91 h 2061"/>
                  <a:gd name="T34" fmla="*/ 3404 w 4099"/>
                  <a:gd name="T35" fmla="*/ 43 h 2061"/>
                  <a:gd name="T36" fmla="*/ 3396 w 4099"/>
                  <a:gd name="T37" fmla="*/ 0 h 2061"/>
                  <a:gd name="T38" fmla="*/ 0 w 4099"/>
                  <a:gd name="T39" fmla="*/ 719 h 2061"/>
                  <a:gd name="T40" fmla="*/ 0 w 4099"/>
                  <a:gd name="T41" fmla="*/ 950 h 2061"/>
                  <a:gd name="T42" fmla="*/ 0 w 4099"/>
                  <a:gd name="T43" fmla="*/ 950 h 2061"/>
                  <a:gd name="T44" fmla="*/ 109 w 4099"/>
                  <a:gd name="T45" fmla="*/ 938 h 2061"/>
                  <a:gd name="T46" fmla="*/ 231 w 4099"/>
                  <a:gd name="T47" fmla="*/ 927 h 2061"/>
                  <a:gd name="T48" fmla="*/ 393 w 4099"/>
                  <a:gd name="T49" fmla="*/ 917 h 2061"/>
                  <a:gd name="T50" fmla="*/ 486 w 4099"/>
                  <a:gd name="T51" fmla="*/ 911 h 2061"/>
                  <a:gd name="T52" fmla="*/ 585 w 4099"/>
                  <a:gd name="T53" fmla="*/ 907 h 2061"/>
                  <a:gd name="T54" fmla="*/ 691 w 4099"/>
                  <a:gd name="T55" fmla="*/ 905 h 2061"/>
                  <a:gd name="T56" fmla="*/ 802 w 4099"/>
                  <a:gd name="T57" fmla="*/ 903 h 2061"/>
                  <a:gd name="T58" fmla="*/ 917 w 4099"/>
                  <a:gd name="T59" fmla="*/ 903 h 2061"/>
                  <a:gd name="T60" fmla="*/ 1035 w 4099"/>
                  <a:gd name="T61" fmla="*/ 907 h 2061"/>
                  <a:gd name="T62" fmla="*/ 1158 w 4099"/>
                  <a:gd name="T63" fmla="*/ 911 h 2061"/>
                  <a:gd name="T64" fmla="*/ 1280 w 4099"/>
                  <a:gd name="T65" fmla="*/ 919 h 2061"/>
                  <a:gd name="T66" fmla="*/ 1403 w 4099"/>
                  <a:gd name="T67" fmla="*/ 929 h 2061"/>
                  <a:gd name="T68" fmla="*/ 1527 w 4099"/>
                  <a:gd name="T69" fmla="*/ 942 h 2061"/>
                  <a:gd name="T70" fmla="*/ 1650 w 4099"/>
                  <a:gd name="T71" fmla="*/ 960 h 2061"/>
                  <a:gd name="T72" fmla="*/ 1770 w 4099"/>
                  <a:gd name="T73" fmla="*/ 980 h 2061"/>
                  <a:gd name="T74" fmla="*/ 1831 w 4099"/>
                  <a:gd name="T75" fmla="*/ 992 h 2061"/>
                  <a:gd name="T76" fmla="*/ 1891 w 4099"/>
                  <a:gd name="T77" fmla="*/ 1006 h 2061"/>
                  <a:gd name="T78" fmla="*/ 1948 w 4099"/>
                  <a:gd name="T79" fmla="*/ 1019 h 2061"/>
                  <a:gd name="T80" fmla="*/ 2005 w 4099"/>
                  <a:gd name="T81" fmla="*/ 1035 h 2061"/>
                  <a:gd name="T82" fmla="*/ 2061 w 4099"/>
                  <a:gd name="T83" fmla="*/ 1051 h 2061"/>
                  <a:gd name="T84" fmla="*/ 2116 w 4099"/>
                  <a:gd name="T85" fmla="*/ 1069 h 2061"/>
                  <a:gd name="T86" fmla="*/ 2169 w 4099"/>
                  <a:gd name="T87" fmla="*/ 1089 h 2061"/>
                  <a:gd name="T88" fmla="*/ 2223 w 4099"/>
                  <a:gd name="T89" fmla="*/ 1108 h 2061"/>
                  <a:gd name="T90" fmla="*/ 2272 w 4099"/>
                  <a:gd name="T91" fmla="*/ 1130 h 2061"/>
                  <a:gd name="T92" fmla="*/ 2321 w 4099"/>
                  <a:gd name="T93" fmla="*/ 1154 h 2061"/>
                  <a:gd name="T94" fmla="*/ 2369 w 4099"/>
                  <a:gd name="T95" fmla="*/ 1178 h 2061"/>
                  <a:gd name="T96" fmla="*/ 2414 w 4099"/>
                  <a:gd name="T97" fmla="*/ 1203 h 2061"/>
                  <a:gd name="T98" fmla="*/ 2458 w 4099"/>
                  <a:gd name="T99" fmla="*/ 1231 h 2061"/>
                  <a:gd name="T100" fmla="*/ 2499 w 4099"/>
                  <a:gd name="T101" fmla="*/ 1261 h 2061"/>
                  <a:gd name="T102" fmla="*/ 2539 w 4099"/>
                  <a:gd name="T103" fmla="*/ 1290 h 2061"/>
                  <a:gd name="T104" fmla="*/ 2576 w 4099"/>
                  <a:gd name="T105" fmla="*/ 1324 h 2061"/>
                  <a:gd name="T106" fmla="*/ 2612 w 4099"/>
                  <a:gd name="T107" fmla="*/ 1357 h 2061"/>
                  <a:gd name="T108" fmla="*/ 2643 w 4099"/>
                  <a:gd name="T109" fmla="*/ 1393 h 2061"/>
                  <a:gd name="T110" fmla="*/ 2673 w 4099"/>
                  <a:gd name="T111" fmla="*/ 1428 h 2061"/>
                  <a:gd name="T112" fmla="*/ 2701 w 4099"/>
                  <a:gd name="T113" fmla="*/ 1468 h 2061"/>
                  <a:gd name="T114" fmla="*/ 2726 w 4099"/>
                  <a:gd name="T115" fmla="*/ 1509 h 2061"/>
                  <a:gd name="T116" fmla="*/ 2748 w 4099"/>
                  <a:gd name="T117" fmla="*/ 1551 h 2061"/>
                  <a:gd name="T118" fmla="*/ 2766 w 4099"/>
                  <a:gd name="T119" fmla="*/ 1596 h 2061"/>
                  <a:gd name="T120" fmla="*/ 2782 w 4099"/>
                  <a:gd name="T121" fmla="*/ 1642 h 2061"/>
                  <a:gd name="T122" fmla="*/ 3843 w 4099"/>
                  <a:gd name="T123" fmla="*/ 2061 h 2061"/>
                  <a:gd name="T124" fmla="*/ 4099 w 4099"/>
                  <a:gd name="T125" fmla="*/ 1294 h 20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99" h="2061">
                    <a:moveTo>
                      <a:pt x="4099" y="1294"/>
                    </a:moveTo>
                    <a:lnTo>
                      <a:pt x="4099" y="1294"/>
                    </a:lnTo>
                    <a:lnTo>
                      <a:pt x="4074" y="1257"/>
                    </a:lnTo>
                    <a:lnTo>
                      <a:pt x="4001" y="1156"/>
                    </a:lnTo>
                    <a:lnTo>
                      <a:pt x="3898" y="1006"/>
                    </a:lnTo>
                    <a:lnTo>
                      <a:pt x="3839" y="915"/>
                    </a:lnTo>
                    <a:lnTo>
                      <a:pt x="3777" y="820"/>
                    </a:lnTo>
                    <a:lnTo>
                      <a:pt x="3716" y="717"/>
                    </a:lnTo>
                    <a:lnTo>
                      <a:pt x="3653" y="610"/>
                    </a:lnTo>
                    <a:lnTo>
                      <a:pt x="3594" y="504"/>
                    </a:lnTo>
                    <a:lnTo>
                      <a:pt x="3538" y="395"/>
                    </a:lnTo>
                    <a:lnTo>
                      <a:pt x="3515" y="344"/>
                    </a:lnTo>
                    <a:lnTo>
                      <a:pt x="3491" y="290"/>
                    </a:lnTo>
                    <a:lnTo>
                      <a:pt x="3469" y="239"/>
                    </a:lnTo>
                    <a:lnTo>
                      <a:pt x="3449" y="188"/>
                    </a:lnTo>
                    <a:lnTo>
                      <a:pt x="3432" y="138"/>
                    </a:lnTo>
                    <a:lnTo>
                      <a:pt x="3416" y="91"/>
                    </a:lnTo>
                    <a:lnTo>
                      <a:pt x="3404" y="43"/>
                    </a:lnTo>
                    <a:lnTo>
                      <a:pt x="3396" y="0"/>
                    </a:lnTo>
                    <a:lnTo>
                      <a:pt x="0" y="719"/>
                    </a:lnTo>
                    <a:lnTo>
                      <a:pt x="0" y="950"/>
                    </a:lnTo>
                    <a:lnTo>
                      <a:pt x="0" y="950"/>
                    </a:lnTo>
                    <a:lnTo>
                      <a:pt x="109" y="938"/>
                    </a:lnTo>
                    <a:lnTo>
                      <a:pt x="231" y="927"/>
                    </a:lnTo>
                    <a:lnTo>
                      <a:pt x="393" y="917"/>
                    </a:lnTo>
                    <a:lnTo>
                      <a:pt x="486" y="911"/>
                    </a:lnTo>
                    <a:lnTo>
                      <a:pt x="585" y="907"/>
                    </a:lnTo>
                    <a:lnTo>
                      <a:pt x="691" y="905"/>
                    </a:lnTo>
                    <a:lnTo>
                      <a:pt x="802" y="903"/>
                    </a:lnTo>
                    <a:lnTo>
                      <a:pt x="917" y="903"/>
                    </a:lnTo>
                    <a:lnTo>
                      <a:pt x="1035" y="907"/>
                    </a:lnTo>
                    <a:lnTo>
                      <a:pt x="1158" y="911"/>
                    </a:lnTo>
                    <a:lnTo>
                      <a:pt x="1280" y="919"/>
                    </a:lnTo>
                    <a:lnTo>
                      <a:pt x="1403" y="929"/>
                    </a:lnTo>
                    <a:lnTo>
                      <a:pt x="1527" y="942"/>
                    </a:lnTo>
                    <a:lnTo>
                      <a:pt x="1650" y="960"/>
                    </a:lnTo>
                    <a:lnTo>
                      <a:pt x="1770" y="980"/>
                    </a:lnTo>
                    <a:lnTo>
                      <a:pt x="1831" y="992"/>
                    </a:lnTo>
                    <a:lnTo>
                      <a:pt x="1891" y="1006"/>
                    </a:lnTo>
                    <a:lnTo>
                      <a:pt x="1948" y="1019"/>
                    </a:lnTo>
                    <a:lnTo>
                      <a:pt x="2005" y="1035"/>
                    </a:lnTo>
                    <a:lnTo>
                      <a:pt x="2061" y="1051"/>
                    </a:lnTo>
                    <a:lnTo>
                      <a:pt x="2116" y="1069"/>
                    </a:lnTo>
                    <a:lnTo>
                      <a:pt x="2169" y="1089"/>
                    </a:lnTo>
                    <a:lnTo>
                      <a:pt x="2223" y="1108"/>
                    </a:lnTo>
                    <a:lnTo>
                      <a:pt x="2272" y="1130"/>
                    </a:lnTo>
                    <a:lnTo>
                      <a:pt x="2321" y="1154"/>
                    </a:lnTo>
                    <a:lnTo>
                      <a:pt x="2369" y="1178"/>
                    </a:lnTo>
                    <a:lnTo>
                      <a:pt x="2414" y="1203"/>
                    </a:lnTo>
                    <a:lnTo>
                      <a:pt x="2458" y="1231"/>
                    </a:lnTo>
                    <a:lnTo>
                      <a:pt x="2499" y="1261"/>
                    </a:lnTo>
                    <a:lnTo>
                      <a:pt x="2539" y="1290"/>
                    </a:lnTo>
                    <a:lnTo>
                      <a:pt x="2576" y="1324"/>
                    </a:lnTo>
                    <a:lnTo>
                      <a:pt x="2612" y="1357"/>
                    </a:lnTo>
                    <a:lnTo>
                      <a:pt x="2643" y="1393"/>
                    </a:lnTo>
                    <a:lnTo>
                      <a:pt x="2673" y="1428"/>
                    </a:lnTo>
                    <a:lnTo>
                      <a:pt x="2701" y="1468"/>
                    </a:lnTo>
                    <a:lnTo>
                      <a:pt x="2726" y="1509"/>
                    </a:lnTo>
                    <a:lnTo>
                      <a:pt x="2748" y="1551"/>
                    </a:lnTo>
                    <a:lnTo>
                      <a:pt x="2766" y="1596"/>
                    </a:lnTo>
                    <a:lnTo>
                      <a:pt x="2782" y="1642"/>
                    </a:lnTo>
                    <a:lnTo>
                      <a:pt x="3843" y="2061"/>
                    </a:lnTo>
                    <a:lnTo>
                      <a:pt x="4099" y="1294"/>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0" name="Freeform 308"/>
              <p:cNvSpPr>
                <a:spLocks/>
              </p:cNvSpPr>
              <p:nvPr/>
            </p:nvSpPr>
            <p:spPr bwMode="auto">
              <a:xfrm>
                <a:off x="2159000" y="995361"/>
                <a:ext cx="1095374" cy="757237"/>
              </a:xfrm>
              <a:custGeom>
                <a:avLst/>
                <a:gdLst>
                  <a:gd name="T0" fmla="*/ 1379 w 1379"/>
                  <a:gd name="T1" fmla="*/ 188 h 955"/>
                  <a:gd name="T2" fmla="*/ 1123 w 1379"/>
                  <a:gd name="T3" fmla="*/ 955 h 955"/>
                  <a:gd name="T4" fmla="*/ 62 w 1379"/>
                  <a:gd name="T5" fmla="*/ 536 h 955"/>
                  <a:gd name="T6" fmla="*/ 62 w 1379"/>
                  <a:gd name="T7" fmla="*/ 536 h 955"/>
                  <a:gd name="T8" fmla="*/ 50 w 1379"/>
                  <a:gd name="T9" fmla="*/ 498 h 955"/>
                  <a:gd name="T10" fmla="*/ 34 w 1379"/>
                  <a:gd name="T11" fmla="*/ 463 h 955"/>
                  <a:gd name="T12" fmla="*/ 18 w 1379"/>
                  <a:gd name="T13" fmla="*/ 429 h 955"/>
                  <a:gd name="T14" fmla="*/ 0 w 1379"/>
                  <a:gd name="T15" fmla="*/ 396 h 955"/>
                  <a:gd name="T16" fmla="*/ 0 w 1379"/>
                  <a:gd name="T17" fmla="*/ 396 h 955"/>
                  <a:gd name="T18" fmla="*/ 74 w 1379"/>
                  <a:gd name="T19" fmla="*/ 364 h 955"/>
                  <a:gd name="T20" fmla="*/ 149 w 1379"/>
                  <a:gd name="T21" fmla="*/ 334 h 955"/>
                  <a:gd name="T22" fmla="*/ 226 w 1379"/>
                  <a:gd name="T23" fmla="*/ 305 h 955"/>
                  <a:gd name="T24" fmla="*/ 305 w 1379"/>
                  <a:gd name="T25" fmla="*/ 275 h 955"/>
                  <a:gd name="T26" fmla="*/ 471 w 1379"/>
                  <a:gd name="T27" fmla="*/ 220 h 955"/>
                  <a:gd name="T28" fmla="*/ 637 w 1379"/>
                  <a:gd name="T29" fmla="*/ 166 h 955"/>
                  <a:gd name="T30" fmla="*/ 801 w 1379"/>
                  <a:gd name="T31" fmla="*/ 119 h 955"/>
                  <a:gd name="T32" fmla="*/ 961 w 1379"/>
                  <a:gd name="T33" fmla="*/ 74 h 955"/>
                  <a:gd name="T34" fmla="*/ 1111 w 1379"/>
                  <a:gd name="T35" fmla="*/ 34 h 955"/>
                  <a:gd name="T36" fmla="*/ 1247 w 1379"/>
                  <a:gd name="T37" fmla="*/ 0 h 955"/>
                  <a:gd name="T38" fmla="*/ 1247 w 1379"/>
                  <a:gd name="T39" fmla="*/ 0 h 955"/>
                  <a:gd name="T40" fmla="*/ 1342 w 1379"/>
                  <a:gd name="T41" fmla="*/ 137 h 955"/>
                  <a:gd name="T42" fmla="*/ 1379 w 1379"/>
                  <a:gd name="T43" fmla="*/ 188 h 955"/>
                  <a:gd name="T44" fmla="*/ 1379 w 1379"/>
                  <a:gd name="T45" fmla="*/ 188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79" h="955">
                    <a:moveTo>
                      <a:pt x="1379" y="188"/>
                    </a:moveTo>
                    <a:lnTo>
                      <a:pt x="1123" y="955"/>
                    </a:lnTo>
                    <a:lnTo>
                      <a:pt x="62" y="536"/>
                    </a:lnTo>
                    <a:lnTo>
                      <a:pt x="62" y="536"/>
                    </a:lnTo>
                    <a:lnTo>
                      <a:pt x="50" y="498"/>
                    </a:lnTo>
                    <a:lnTo>
                      <a:pt x="34" y="463"/>
                    </a:lnTo>
                    <a:lnTo>
                      <a:pt x="18" y="429"/>
                    </a:lnTo>
                    <a:lnTo>
                      <a:pt x="0" y="396"/>
                    </a:lnTo>
                    <a:lnTo>
                      <a:pt x="0" y="396"/>
                    </a:lnTo>
                    <a:lnTo>
                      <a:pt x="74" y="364"/>
                    </a:lnTo>
                    <a:lnTo>
                      <a:pt x="149" y="334"/>
                    </a:lnTo>
                    <a:lnTo>
                      <a:pt x="226" y="305"/>
                    </a:lnTo>
                    <a:lnTo>
                      <a:pt x="305" y="275"/>
                    </a:lnTo>
                    <a:lnTo>
                      <a:pt x="471" y="220"/>
                    </a:lnTo>
                    <a:lnTo>
                      <a:pt x="637" y="166"/>
                    </a:lnTo>
                    <a:lnTo>
                      <a:pt x="801" y="119"/>
                    </a:lnTo>
                    <a:lnTo>
                      <a:pt x="961" y="74"/>
                    </a:lnTo>
                    <a:lnTo>
                      <a:pt x="1111" y="34"/>
                    </a:lnTo>
                    <a:lnTo>
                      <a:pt x="1247" y="0"/>
                    </a:lnTo>
                    <a:lnTo>
                      <a:pt x="1247" y="0"/>
                    </a:lnTo>
                    <a:lnTo>
                      <a:pt x="1342" y="137"/>
                    </a:lnTo>
                    <a:lnTo>
                      <a:pt x="1379" y="188"/>
                    </a:lnTo>
                    <a:lnTo>
                      <a:pt x="1379" y="188"/>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1" name="Freeform 309"/>
              <p:cNvSpPr>
                <a:spLocks/>
              </p:cNvSpPr>
              <p:nvPr/>
            </p:nvSpPr>
            <p:spPr bwMode="auto">
              <a:xfrm>
                <a:off x="4370387" y="930274"/>
                <a:ext cx="1033463" cy="1639888"/>
              </a:xfrm>
              <a:custGeom>
                <a:avLst/>
                <a:gdLst>
                  <a:gd name="T0" fmla="*/ 593 w 1302"/>
                  <a:gd name="T1" fmla="*/ 2067 h 2067"/>
                  <a:gd name="T2" fmla="*/ 593 w 1302"/>
                  <a:gd name="T3" fmla="*/ 2067 h 2067"/>
                  <a:gd name="T4" fmla="*/ 1302 w 1302"/>
                  <a:gd name="T5" fmla="*/ 2067 h 2067"/>
                  <a:gd name="T6" fmla="*/ 1302 w 1302"/>
                  <a:gd name="T7" fmla="*/ 2067 h 2067"/>
                  <a:gd name="T8" fmla="*/ 1302 w 1302"/>
                  <a:gd name="T9" fmla="*/ 2067 h 2067"/>
                  <a:gd name="T10" fmla="*/ 1300 w 1302"/>
                  <a:gd name="T11" fmla="*/ 1921 h 2067"/>
                  <a:gd name="T12" fmla="*/ 1292 w 1302"/>
                  <a:gd name="T13" fmla="*/ 1775 h 2067"/>
                  <a:gd name="T14" fmla="*/ 1282 w 1302"/>
                  <a:gd name="T15" fmla="*/ 1632 h 2067"/>
                  <a:gd name="T16" fmla="*/ 1267 w 1302"/>
                  <a:gd name="T17" fmla="*/ 1490 h 2067"/>
                  <a:gd name="T18" fmla="*/ 1249 w 1302"/>
                  <a:gd name="T19" fmla="*/ 1352 h 2067"/>
                  <a:gd name="T20" fmla="*/ 1227 w 1302"/>
                  <a:gd name="T21" fmla="*/ 1214 h 2067"/>
                  <a:gd name="T22" fmla="*/ 1201 w 1302"/>
                  <a:gd name="T23" fmla="*/ 1079 h 2067"/>
                  <a:gd name="T24" fmla="*/ 1174 w 1302"/>
                  <a:gd name="T25" fmla="*/ 949 h 2067"/>
                  <a:gd name="T26" fmla="*/ 1142 w 1302"/>
                  <a:gd name="T27" fmla="*/ 820 h 2067"/>
                  <a:gd name="T28" fmla="*/ 1108 w 1302"/>
                  <a:gd name="T29" fmla="*/ 694 h 2067"/>
                  <a:gd name="T30" fmla="*/ 1073 w 1302"/>
                  <a:gd name="T31" fmla="*/ 571 h 2067"/>
                  <a:gd name="T32" fmla="*/ 1035 w 1302"/>
                  <a:gd name="T33" fmla="*/ 451 h 2067"/>
                  <a:gd name="T34" fmla="*/ 996 w 1302"/>
                  <a:gd name="T35" fmla="*/ 334 h 2067"/>
                  <a:gd name="T36" fmla="*/ 952 w 1302"/>
                  <a:gd name="T37" fmla="*/ 222 h 2067"/>
                  <a:gd name="T38" fmla="*/ 911 w 1302"/>
                  <a:gd name="T39" fmla="*/ 113 h 2067"/>
                  <a:gd name="T40" fmla="*/ 865 w 1302"/>
                  <a:gd name="T41" fmla="*/ 8 h 2067"/>
                  <a:gd name="T42" fmla="*/ 865 w 1302"/>
                  <a:gd name="T43" fmla="*/ 8 h 2067"/>
                  <a:gd name="T44" fmla="*/ 741 w 1302"/>
                  <a:gd name="T45" fmla="*/ 2 h 2067"/>
                  <a:gd name="T46" fmla="*/ 619 w 1302"/>
                  <a:gd name="T47" fmla="*/ 0 h 2067"/>
                  <a:gd name="T48" fmla="*/ 619 w 1302"/>
                  <a:gd name="T49" fmla="*/ 0 h 2067"/>
                  <a:gd name="T50" fmla="*/ 458 w 1302"/>
                  <a:gd name="T51" fmla="*/ 2 h 2067"/>
                  <a:gd name="T52" fmla="*/ 304 w 1302"/>
                  <a:gd name="T53" fmla="*/ 6 h 2067"/>
                  <a:gd name="T54" fmla="*/ 150 w 1302"/>
                  <a:gd name="T55" fmla="*/ 12 h 2067"/>
                  <a:gd name="T56" fmla="*/ 0 w 1302"/>
                  <a:gd name="T57" fmla="*/ 20 h 2067"/>
                  <a:gd name="T58" fmla="*/ 0 w 1302"/>
                  <a:gd name="T59" fmla="*/ 20 h 2067"/>
                  <a:gd name="T60" fmla="*/ 32 w 1302"/>
                  <a:gd name="T61" fmla="*/ 50 h 2067"/>
                  <a:gd name="T62" fmla="*/ 61 w 1302"/>
                  <a:gd name="T63" fmla="*/ 81 h 2067"/>
                  <a:gd name="T64" fmla="*/ 91 w 1302"/>
                  <a:gd name="T65" fmla="*/ 113 h 2067"/>
                  <a:gd name="T66" fmla="*/ 119 w 1302"/>
                  <a:gd name="T67" fmla="*/ 151 h 2067"/>
                  <a:gd name="T68" fmla="*/ 148 w 1302"/>
                  <a:gd name="T69" fmla="*/ 188 h 2067"/>
                  <a:gd name="T70" fmla="*/ 176 w 1302"/>
                  <a:gd name="T71" fmla="*/ 228 h 2067"/>
                  <a:gd name="T72" fmla="*/ 204 w 1302"/>
                  <a:gd name="T73" fmla="*/ 271 h 2067"/>
                  <a:gd name="T74" fmla="*/ 229 w 1302"/>
                  <a:gd name="T75" fmla="*/ 317 h 2067"/>
                  <a:gd name="T76" fmla="*/ 255 w 1302"/>
                  <a:gd name="T77" fmla="*/ 364 h 2067"/>
                  <a:gd name="T78" fmla="*/ 281 w 1302"/>
                  <a:gd name="T79" fmla="*/ 413 h 2067"/>
                  <a:gd name="T80" fmla="*/ 306 w 1302"/>
                  <a:gd name="T81" fmla="*/ 465 h 2067"/>
                  <a:gd name="T82" fmla="*/ 330 w 1302"/>
                  <a:gd name="T83" fmla="*/ 520 h 2067"/>
                  <a:gd name="T84" fmla="*/ 354 w 1302"/>
                  <a:gd name="T85" fmla="*/ 575 h 2067"/>
                  <a:gd name="T86" fmla="*/ 376 w 1302"/>
                  <a:gd name="T87" fmla="*/ 635 h 2067"/>
                  <a:gd name="T88" fmla="*/ 397 w 1302"/>
                  <a:gd name="T89" fmla="*/ 696 h 2067"/>
                  <a:gd name="T90" fmla="*/ 419 w 1302"/>
                  <a:gd name="T91" fmla="*/ 759 h 2067"/>
                  <a:gd name="T92" fmla="*/ 439 w 1302"/>
                  <a:gd name="T93" fmla="*/ 824 h 2067"/>
                  <a:gd name="T94" fmla="*/ 457 w 1302"/>
                  <a:gd name="T95" fmla="*/ 891 h 2067"/>
                  <a:gd name="T96" fmla="*/ 474 w 1302"/>
                  <a:gd name="T97" fmla="*/ 963 h 2067"/>
                  <a:gd name="T98" fmla="*/ 490 w 1302"/>
                  <a:gd name="T99" fmla="*/ 1034 h 2067"/>
                  <a:gd name="T100" fmla="*/ 506 w 1302"/>
                  <a:gd name="T101" fmla="*/ 1109 h 2067"/>
                  <a:gd name="T102" fmla="*/ 522 w 1302"/>
                  <a:gd name="T103" fmla="*/ 1186 h 2067"/>
                  <a:gd name="T104" fmla="*/ 534 w 1302"/>
                  <a:gd name="T105" fmla="*/ 1263 h 2067"/>
                  <a:gd name="T106" fmla="*/ 545 w 1302"/>
                  <a:gd name="T107" fmla="*/ 1344 h 2067"/>
                  <a:gd name="T108" fmla="*/ 557 w 1302"/>
                  <a:gd name="T109" fmla="*/ 1427 h 2067"/>
                  <a:gd name="T110" fmla="*/ 567 w 1302"/>
                  <a:gd name="T111" fmla="*/ 1512 h 2067"/>
                  <a:gd name="T112" fmla="*/ 575 w 1302"/>
                  <a:gd name="T113" fmla="*/ 1599 h 2067"/>
                  <a:gd name="T114" fmla="*/ 581 w 1302"/>
                  <a:gd name="T115" fmla="*/ 1690 h 2067"/>
                  <a:gd name="T116" fmla="*/ 587 w 1302"/>
                  <a:gd name="T117" fmla="*/ 1781 h 2067"/>
                  <a:gd name="T118" fmla="*/ 591 w 1302"/>
                  <a:gd name="T119" fmla="*/ 1873 h 2067"/>
                  <a:gd name="T120" fmla="*/ 593 w 1302"/>
                  <a:gd name="T121" fmla="*/ 1970 h 2067"/>
                  <a:gd name="T122" fmla="*/ 593 w 1302"/>
                  <a:gd name="T123" fmla="*/ 2067 h 2067"/>
                  <a:gd name="T124" fmla="*/ 593 w 1302"/>
                  <a:gd name="T125" fmla="*/ 2067 h 2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02" h="2067">
                    <a:moveTo>
                      <a:pt x="593" y="2067"/>
                    </a:moveTo>
                    <a:lnTo>
                      <a:pt x="593" y="2067"/>
                    </a:lnTo>
                    <a:lnTo>
                      <a:pt x="1302" y="2067"/>
                    </a:lnTo>
                    <a:lnTo>
                      <a:pt x="1302" y="2067"/>
                    </a:lnTo>
                    <a:lnTo>
                      <a:pt x="1302" y="2067"/>
                    </a:lnTo>
                    <a:lnTo>
                      <a:pt x="1300" y="1921"/>
                    </a:lnTo>
                    <a:lnTo>
                      <a:pt x="1292" y="1775"/>
                    </a:lnTo>
                    <a:lnTo>
                      <a:pt x="1282" y="1632"/>
                    </a:lnTo>
                    <a:lnTo>
                      <a:pt x="1267" y="1490"/>
                    </a:lnTo>
                    <a:lnTo>
                      <a:pt x="1249" y="1352"/>
                    </a:lnTo>
                    <a:lnTo>
                      <a:pt x="1227" y="1214"/>
                    </a:lnTo>
                    <a:lnTo>
                      <a:pt x="1201" y="1079"/>
                    </a:lnTo>
                    <a:lnTo>
                      <a:pt x="1174" y="949"/>
                    </a:lnTo>
                    <a:lnTo>
                      <a:pt x="1142" y="820"/>
                    </a:lnTo>
                    <a:lnTo>
                      <a:pt x="1108" y="694"/>
                    </a:lnTo>
                    <a:lnTo>
                      <a:pt x="1073" y="571"/>
                    </a:lnTo>
                    <a:lnTo>
                      <a:pt x="1035" y="451"/>
                    </a:lnTo>
                    <a:lnTo>
                      <a:pt x="996" y="334"/>
                    </a:lnTo>
                    <a:lnTo>
                      <a:pt x="952" y="222"/>
                    </a:lnTo>
                    <a:lnTo>
                      <a:pt x="911" y="113"/>
                    </a:lnTo>
                    <a:lnTo>
                      <a:pt x="865" y="8"/>
                    </a:lnTo>
                    <a:lnTo>
                      <a:pt x="865" y="8"/>
                    </a:lnTo>
                    <a:lnTo>
                      <a:pt x="741" y="2"/>
                    </a:lnTo>
                    <a:lnTo>
                      <a:pt x="619" y="0"/>
                    </a:lnTo>
                    <a:lnTo>
                      <a:pt x="619" y="0"/>
                    </a:lnTo>
                    <a:lnTo>
                      <a:pt x="458" y="2"/>
                    </a:lnTo>
                    <a:lnTo>
                      <a:pt x="304" y="6"/>
                    </a:lnTo>
                    <a:lnTo>
                      <a:pt x="150" y="12"/>
                    </a:lnTo>
                    <a:lnTo>
                      <a:pt x="0" y="20"/>
                    </a:lnTo>
                    <a:lnTo>
                      <a:pt x="0" y="20"/>
                    </a:lnTo>
                    <a:lnTo>
                      <a:pt x="32" y="50"/>
                    </a:lnTo>
                    <a:lnTo>
                      <a:pt x="61" y="81"/>
                    </a:lnTo>
                    <a:lnTo>
                      <a:pt x="91" y="113"/>
                    </a:lnTo>
                    <a:lnTo>
                      <a:pt x="119" y="151"/>
                    </a:lnTo>
                    <a:lnTo>
                      <a:pt x="148" y="188"/>
                    </a:lnTo>
                    <a:lnTo>
                      <a:pt x="176" y="228"/>
                    </a:lnTo>
                    <a:lnTo>
                      <a:pt x="204" y="271"/>
                    </a:lnTo>
                    <a:lnTo>
                      <a:pt x="229" y="317"/>
                    </a:lnTo>
                    <a:lnTo>
                      <a:pt x="255" y="364"/>
                    </a:lnTo>
                    <a:lnTo>
                      <a:pt x="281" y="413"/>
                    </a:lnTo>
                    <a:lnTo>
                      <a:pt x="306" y="465"/>
                    </a:lnTo>
                    <a:lnTo>
                      <a:pt x="330" y="520"/>
                    </a:lnTo>
                    <a:lnTo>
                      <a:pt x="354" y="575"/>
                    </a:lnTo>
                    <a:lnTo>
                      <a:pt x="376" y="635"/>
                    </a:lnTo>
                    <a:lnTo>
                      <a:pt x="397" y="696"/>
                    </a:lnTo>
                    <a:lnTo>
                      <a:pt x="419" y="759"/>
                    </a:lnTo>
                    <a:lnTo>
                      <a:pt x="439" y="824"/>
                    </a:lnTo>
                    <a:lnTo>
                      <a:pt x="457" y="891"/>
                    </a:lnTo>
                    <a:lnTo>
                      <a:pt x="474" y="963"/>
                    </a:lnTo>
                    <a:lnTo>
                      <a:pt x="490" y="1034"/>
                    </a:lnTo>
                    <a:lnTo>
                      <a:pt x="506" y="1109"/>
                    </a:lnTo>
                    <a:lnTo>
                      <a:pt x="522" y="1186"/>
                    </a:lnTo>
                    <a:lnTo>
                      <a:pt x="534" y="1263"/>
                    </a:lnTo>
                    <a:lnTo>
                      <a:pt x="545" y="1344"/>
                    </a:lnTo>
                    <a:lnTo>
                      <a:pt x="557" y="1427"/>
                    </a:lnTo>
                    <a:lnTo>
                      <a:pt x="567" y="1512"/>
                    </a:lnTo>
                    <a:lnTo>
                      <a:pt x="575" y="1599"/>
                    </a:lnTo>
                    <a:lnTo>
                      <a:pt x="581" y="1690"/>
                    </a:lnTo>
                    <a:lnTo>
                      <a:pt x="587" y="1781"/>
                    </a:lnTo>
                    <a:lnTo>
                      <a:pt x="591" y="1873"/>
                    </a:lnTo>
                    <a:lnTo>
                      <a:pt x="593" y="1970"/>
                    </a:lnTo>
                    <a:lnTo>
                      <a:pt x="593" y="2067"/>
                    </a:lnTo>
                    <a:lnTo>
                      <a:pt x="593" y="2067"/>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2" name="Freeform 310"/>
              <p:cNvSpPr>
                <a:spLocks/>
              </p:cNvSpPr>
              <p:nvPr/>
            </p:nvSpPr>
            <p:spPr bwMode="auto">
              <a:xfrm>
                <a:off x="4370387" y="2570162"/>
                <a:ext cx="1033463" cy="1639888"/>
              </a:xfrm>
              <a:custGeom>
                <a:avLst/>
                <a:gdLst>
                  <a:gd name="T0" fmla="*/ 865 w 1302"/>
                  <a:gd name="T1" fmla="*/ 2061 h 2067"/>
                  <a:gd name="T2" fmla="*/ 865 w 1302"/>
                  <a:gd name="T3" fmla="*/ 2061 h 2067"/>
                  <a:gd name="T4" fmla="*/ 911 w 1302"/>
                  <a:gd name="T5" fmla="*/ 1954 h 2067"/>
                  <a:gd name="T6" fmla="*/ 954 w 1302"/>
                  <a:gd name="T7" fmla="*/ 1845 h 2067"/>
                  <a:gd name="T8" fmla="*/ 996 w 1302"/>
                  <a:gd name="T9" fmla="*/ 1733 h 2067"/>
                  <a:gd name="T10" fmla="*/ 1035 w 1302"/>
                  <a:gd name="T11" fmla="*/ 1616 h 2067"/>
                  <a:gd name="T12" fmla="*/ 1073 w 1302"/>
                  <a:gd name="T13" fmla="*/ 1498 h 2067"/>
                  <a:gd name="T14" fmla="*/ 1108 w 1302"/>
                  <a:gd name="T15" fmla="*/ 1375 h 2067"/>
                  <a:gd name="T16" fmla="*/ 1142 w 1302"/>
                  <a:gd name="T17" fmla="*/ 1249 h 2067"/>
                  <a:gd name="T18" fmla="*/ 1174 w 1302"/>
                  <a:gd name="T19" fmla="*/ 1120 h 2067"/>
                  <a:gd name="T20" fmla="*/ 1201 w 1302"/>
                  <a:gd name="T21" fmla="*/ 988 h 2067"/>
                  <a:gd name="T22" fmla="*/ 1227 w 1302"/>
                  <a:gd name="T23" fmla="*/ 854 h 2067"/>
                  <a:gd name="T24" fmla="*/ 1249 w 1302"/>
                  <a:gd name="T25" fmla="*/ 717 h 2067"/>
                  <a:gd name="T26" fmla="*/ 1267 w 1302"/>
                  <a:gd name="T27" fmla="*/ 577 h 2067"/>
                  <a:gd name="T28" fmla="*/ 1282 w 1302"/>
                  <a:gd name="T29" fmla="*/ 437 h 2067"/>
                  <a:gd name="T30" fmla="*/ 1292 w 1302"/>
                  <a:gd name="T31" fmla="*/ 292 h 2067"/>
                  <a:gd name="T32" fmla="*/ 1300 w 1302"/>
                  <a:gd name="T33" fmla="*/ 148 h 2067"/>
                  <a:gd name="T34" fmla="*/ 1302 w 1302"/>
                  <a:gd name="T35" fmla="*/ 0 h 2067"/>
                  <a:gd name="T36" fmla="*/ 1302 w 1302"/>
                  <a:gd name="T37" fmla="*/ 0 h 2067"/>
                  <a:gd name="T38" fmla="*/ 593 w 1302"/>
                  <a:gd name="T39" fmla="*/ 0 h 2067"/>
                  <a:gd name="T40" fmla="*/ 593 w 1302"/>
                  <a:gd name="T41" fmla="*/ 0 h 2067"/>
                  <a:gd name="T42" fmla="*/ 593 w 1302"/>
                  <a:gd name="T43" fmla="*/ 0 h 2067"/>
                  <a:gd name="T44" fmla="*/ 593 w 1302"/>
                  <a:gd name="T45" fmla="*/ 99 h 2067"/>
                  <a:gd name="T46" fmla="*/ 591 w 1302"/>
                  <a:gd name="T47" fmla="*/ 194 h 2067"/>
                  <a:gd name="T48" fmla="*/ 587 w 1302"/>
                  <a:gd name="T49" fmla="*/ 287 h 2067"/>
                  <a:gd name="T50" fmla="*/ 581 w 1302"/>
                  <a:gd name="T51" fmla="*/ 379 h 2067"/>
                  <a:gd name="T52" fmla="*/ 575 w 1302"/>
                  <a:gd name="T53" fmla="*/ 468 h 2067"/>
                  <a:gd name="T54" fmla="*/ 567 w 1302"/>
                  <a:gd name="T55" fmla="*/ 555 h 2067"/>
                  <a:gd name="T56" fmla="*/ 557 w 1302"/>
                  <a:gd name="T57" fmla="*/ 640 h 2067"/>
                  <a:gd name="T58" fmla="*/ 545 w 1302"/>
                  <a:gd name="T59" fmla="*/ 723 h 2067"/>
                  <a:gd name="T60" fmla="*/ 534 w 1302"/>
                  <a:gd name="T61" fmla="*/ 804 h 2067"/>
                  <a:gd name="T62" fmla="*/ 522 w 1302"/>
                  <a:gd name="T63" fmla="*/ 883 h 2067"/>
                  <a:gd name="T64" fmla="*/ 506 w 1302"/>
                  <a:gd name="T65" fmla="*/ 960 h 2067"/>
                  <a:gd name="T66" fmla="*/ 490 w 1302"/>
                  <a:gd name="T67" fmla="*/ 1033 h 2067"/>
                  <a:gd name="T68" fmla="*/ 474 w 1302"/>
                  <a:gd name="T69" fmla="*/ 1106 h 2067"/>
                  <a:gd name="T70" fmla="*/ 457 w 1302"/>
                  <a:gd name="T71" fmla="*/ 1176 h 2067"/>
                  <a:gd name="T72" fmla="*/ 439 w 1302"/>
                  <a:gd name="T73" fmla="*/ 1243 h 2067"/>
                  <a:gd name="T74" fmla="*/ 419 w 1302"/>
                  <a:gd name="T75" fmla="*/ 1308 h 2067"/>
                  <a:gd name="T76" fmla="*/ 397 w 1302"/>
                  <a:gd name="T77" fmla="*/ 1371 h 2067"/>
                  <a:gd name="T78" fmla="*/ 376 w 1302"/>
                  <a:gd name="T79" fmla="*/ 1432 h 2067"/>
                  <a:gd name="T80" fmla="*/ 354 w 1302"/>
                  <a:gd name="T81" fmla="*/ 1492 h 2067"/>
                  <a:gd name="T82" fmla="*/ 330 w 1302"/>
                  <a:gd name="T83" fmla="*/ 1549 h 2067"/>
                  <a:gd name="T84" fmla="*/ 306 w 1302"/>
                  <a:gd name="T85" fmla="*/ 1602 h 2067"/>
                  <a:gd name="T86" fmla="*/ 281 w 1302"/>
                  <a:gd name="T87" fmla="*/ 1656 h 2067"/>
                  <a:gd name="T88" fmla="*/ 255 w 1302"/>
                  <a:gd name="T89" fmla="*/ 1705 h 2067"/>
                  <a:gd name="T90" fmla="*/ 229 w 1302"/>
                  <a:gd name="T91" fmla="*/ 1752 h 2067"/>
                  <a:gd name="T92" fmla="*/ 204 w 1302"/>
                  <a:gd name="T93" fmla="*/ 1796 h 2067"/>
                  <a:gd name="T94" fmla="*/ 176 w 1302"/>
                  <a:gd name="T95" fmla="*/ 1839 h 2067"/>
                  <a:gd name="T96" fmla="*/ 148 w 1302"/>
                  <a:gd name="T97" fmla="*/ 1881 h 2067"/>
                  <a:gd name="T98" fmla="*/ 119 w 1302"/>
                  <a:gd name="T99" fmla="*/ 1918 h 2067"/>
                  <a:gd name="T100" fmla="*/ 91 w 1302"/>
                  <a:gd name="T101" fmla="*/ 1954 h 2067"/>
                  <a:gd name="T102" fmla="*/ 61 w 1302"/>
                  <a:gd name="T103" fmla="*/ 1988 h 2067"/>
                  <a:gd name="T104" fmla="*/ 32 w 1302"/>
                  <a:gd name="T105" fmla="*/ 2017 h 2067"/>
                  <a:gd name="T106" fmla="*/ 0 w 1302"/>
                  <a:gd name="T107" fmla="*/ 2047 h 2067"/>
                  <a:gd name="T108" fmla="*/ 0 w 1302"/>
                  <a:gd name="T109" fmla="*/ 2047 h 2067"/>
                  <a:gd name="T110" fmla="*/ 152 w 1302"/>
                  <a:gd name="T111" fmla="*/ 2055 h 2067"/>
                  <a:gd name="T112" fmla="*/ 304 w 1302"/>
                  <a:gd name="T113" fmla="*/ 2063 h 2067"/>
                  <a:gd name="T114" fmla="*/ 460 w 1302"/>
                  <a:gd name="T115" fmla="*/ 2067 h 2067"/>
                  <a:gd name="T116" fmla="*/ 619 w 1302"/>
                  <a:gd name="T117" fmla="*/ 2067 h 2067"/>
                  <a:gd name="T118" fmla="*/ 619 w 1302"/>
                  <a:gd name="T119" fmla="*/ 2067 h 2067"/>
                  <a:gd name="T120" fmla="*/ 741 w 1302"/>
                  <a:gd name="T121" fmla="*/ 2065 h 2067"/>
                  <a:gd name="T122" fmla="*/ 865 w 1302"/>
                  <a:gd name="T123" fmla="*/ 2061 h 2067"/>
                  <a:gd name="T124" fmla="*/ 865 w 1302"/>
                  <a:gd name="T125" fmla="*/ 2061 h 2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02" h="2067">
                    <a:moveTo>
                      <a:pt x="865" y="2061"/>
                    </a:moveTo>
                    <a:lnTo>
                      <a:pt x="865" y="2061"/>
                    </a:lnTo>
                    <a:lnTo>
                      <a:pt x="911" y="1954"/>
                    </a:lnTo>
                    <a:lnTo>
                      <a:pt x="954" y="1845"/>
                    </a:lnTo>
                    <a:lnTo>
                      <a:pt x="996" y="1733"/>
                    </a:lnTo>
                    <a:lnTo>
                      <a:pt x="1035" y="1616"/>
                    </a:lnTo>
                    <a:lnTo>
                      <a:pt x="1073" y="1498"/>
                    </a:lnTo>
                    <a:lnTo>
                      <a:pt x="1108" y="1375"/>
                    </a:lnTo>
                    <a:lnTo>
                      <a:pt x="1142" y="1249"/>
                    </a:lnTo>
                    <a:lnTo>
                      <a:pt x="1174" y="1120"/>
                    </a:lnTo>
                    <a:lnTo>
                      <a:pt x="1201" y="988"/>
                    </a:lnTo>
                    <a:lnTo>
                      <a:pt x="1227" y="854"/>
                    </a:lnTo>
                    <a:lnTo>
                      <a:pt x="1249" y="717"/>
                    </a:lnTo>
                    <a:lnTo>
                      <a:pt x="1267" y="577"/>
                    </a:lnTo>
                    <a:lnTo>
                      <a:pt x="1282" y="437"/>
                    </a:lnTo>
                    <a:lnTo>
                      <a:pt x="1292" y="292"/>
                    </a:lnTo>
                    <a:lnTo>
                      <a:pt x="1300" y="148"/>
                    </a:lnTo>
                    <a:lnTo>
                      <a:pt x="1302" y="0"/>
                    </a:lnTo>
                    <a:lnTo>
                      <a:pt x="1302" y="0"/>
                    </a:lnTo>
                    <a:lnTo>
                      <a:pt x="593" y="0"/>
                    </a:lnTo>
                    <a:lnTo>
                      <a:pt x="593" y="0"/>
                    </a:lnTo>
                    <a:lnTo>
                      <a:pt x="593" y="0"/>
                    </a:lnTo>
                    <a:lnTo>
                      <a:pt x="593" y="99"/>
                    </a:lnTo>
                    <a:lnTo>
                      <a:pt x="591" y="194"/>
                    </a:lnTo>
                    <a:lnTo>
                      <a:pt x="587" y="287"/>
                    </a:lnTo>
                    <a:lnTo>
                      <a:pt x="581" y="379"/>
                    </a:lnTo>
                    <a:lnTo>
                      <a:pt x="575" y="468"/>
                    </a:lnTo>
                    <a:lnTo>
                      <a:pt x="567" y="555"/>
                    </a:lnTo>
                    <a:lnTo>
                      <a:pt x="557" y="640"/>
                    </a:lnTo>
                    <a:lnTo>
                      <a:pt x="545" y="723"/>
                    </a:lnTo>
                    <a:lnTo>
                      <a:pt x="534" y="804"/>
                    </a:lnTo>
                    <a:lnTo>
                      <a:pt x="522" y="883"/>
                    </a:lnTo>
                    <a:lnTo>
                      <a:pt x="506" y="960"/>
                    </a:lnTo>
                    <a:lnTo>
                      <a:pt x="490" y="1033"/>
                    </a:lnTo>
                    <a:lnTo>
                      <a:pt x="474" y="1106"/>
                    </a:lnTo>
                    <a:lnTo>
                      <a:pt x="457" y="1176"/>
                    </a:lnTo>
                    <a:lnTo>
                      <a:pt x="439" y="1243"/>
                    </a:lnTo>
                    <a:lnTo>
                      <a:pt x="419" y="1308"/>
                    </a:lnTo>
                    <a:lnTo>
                      <a:pt x="397" y="1371"/>
                    </a:lnTo>
                    <a:lnTo>
                      <a:pt x="376" y="1432"/>
                    </a:lnTo>
                    <a:lnTo>
                      <a:pt x="354" y="1492"/>
                    </a:lnTo>
                    <a:lnTo>
                      <a:pt x="330" y="1549"/>
                    </a:lnTo>
                    <a:lnTo>
                      <a:pt x="306" y="1602"/>
                    </a:lnTo>
                    <a:lnTo>
                      <a:pt x="281" y="1656"/>
                    </a:lnTo>
                    <a:lnTo>
                      <a:pt x="255" y="1705"/>
                    </a:lnTo>
                    <a:lnTo>
                      <a:pt x="229" y="1752"/>
                    </a:lnTo>
                    <a:lnTo>
                      <a:pt x="204" y="1796"/>
                    </a:lnTo>
                    <a:lnTo>
                      <a:pt x="176" y="1839"/>
                    </a:lnTo>
                    <a:lnTo>
                      <a:pt x="148" y="1881"/>
                    </a:lnTo>
                    <a:lnTo>
                      <a:pt x="119" y="1918"/>
                    </a:lnTo>
                    <a:lnTo>
                      <a:pt x="91" y="1954"/>
                    </a:lnTo>
                    <a:lnTo>
                      <a:pt x="61" y="1988"/>
                    </a:lnTo>
                    <a:lnTo>
                      <a:pt x="32" y="2017"/>
                    </a:lnTo>
                    <a:lnTo>
                      <a:pt x="0" y="2047"/>
                    </a:lnTo>
                    <a:lnTo>
                      <a:pt x="0" y="2047"/>
                    </a:lnTo>
                    <a:lnTo>
                      <a:pt x="152" y="2055"/>
                    </a:lnTo>
                    <a:lnTo>
                      <a:pt x="304" y="2063"/>
                    </a:lnTo>
                    <a:lnTo>
                      <a:pt x="460" y="2067"/>
                    </a:lnTo>
                    <a:lnTo>
                      <a:pt x="619" y="2067"/>
                    </a:lnTo>
                    <a:lnTo>
                      <a:pt x="619" y="2067"/>
                    </a:lnTo>
                    <a:lnTo>
                      <a:pt x="741" y="2065"/>
                    </a:lnTo>
                    <a:lnTo>
                      <a:pt x="865" y="2061"/>
                    </a:lnTo>
                    <a:lnTo>
                      <a:pt x="865" y="2061"/>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3" name="Freeform 311"/>
              <p:cNvSpPr>
                <a:spLocks/>
              </p:cNvSpPr>
              <p:nvPr/>
            </p:nvSpPr>
            <p:spPr bwMode="auto">
              <a:xfrm>
                <a:off x="7156450" y="1576389"/>
                <a:ext cx="1504949" cy="2000250"/>
              </a:xfrm>
              <a:custGeom>
                <a:avLst/>
                <a:gdLst>
                  <a:gd name="T0" fmla="*/ 0 w 1895"/>
                  <a:gd name="T1" fmla="*/ 2521 h 2521"/>
                  <a:gd name="T2" fmla="*/ 263 w 1895"/>
                  <a:gd name="T3" fmla="*/ 2379 h 2521"/>
                  <a:gd name="T4" fmla="*/ 512 w 1895"/>
                  <a:gd name="T5" fmla="*/ 2237 h 2521"/>
                  <a:gd name="T6" fmla="*/ 666 w 1895"/>
                  <a:gd name="T7" fmla="*/ 2142 h 2521"/>
                  <a:gd name="T8" fmla="*/ 950 w 1895"/>
                  <a:gd name="T9" fmla="*/ 1960 h 2521"/>
                  <a:gd name="T10" fmla="*/ 1205 w 1895"/>
                  <a:gd name="T11" fmla="*/ 1786 h 2521"/>
                  <a:gd name="T12" fmla="*/ 1422 w 1895"/>
                  <a:gd name="T13" fmla="*/ 1628 h 2521"/>
                  <a:gd name="T14" fmla="*/ 1604 w 1895"/>
                  <a:gd name="T15" fmla="*/ 1492 h 2521"/>
                  <a:gd name="T16" fmla="*/ 1798 w 1895"/>
                  <a:gd name="T17" fmla="*/ 1336 h 2521"/>
                  <a:gd name="T18" fmla="*/ 1895 w 1895"/>
                  <a:gd name="T19" fmla="*/ 1253 h 2521"/>
                  <a:gd name="T20" fmla="*/ 1869 w 1895"/>
                  <a:gd name="T21" fmla="*/ 1231 h 2521"/>
                  <a:gd name="T22" fmla="*/ 1677 w 1895"/>
                  <a:gd name="T23" fmla="*/ 1073 h 2521"/>
                  <a:gd name="T24" fmla="*/ 1517 w 1895"/>
                  <a:gd name="T25" fmla="*/ 949 h 2521"/>
                  <a:gd name="T26" fmla="*/ 1316 w 1895"/>
                  <a:gd name="T27" fmla="*/ 799 h 2521"/>
                  <a:gd name="T28" fmla="*/ 1079 w 1895"/>
                  <a:gd name="T29" fmla="*/ 633 h 2521"/>
                  <a:gd name="T30" fmla="*/ 808 w 1895"/>
                  <a:gd name="T31" fmla="*/ 453 h 2521"/>
                  <a:gd name="T32" fmla="*/ 506 w 1895"/>
                  <a:gd name="T33" fmla="*/ 267 h 2521"/>
                  <a:gd name="T34" fmla="*/ 391 w 1895"/>
                  <a:gd name="T35" fmla="*/ 200 h 2521"/>
                  <a:gd name="T36" fmla="*/ 152 w 1895"/>
                  <a:gd name="T37" fmla="*/ 66 h 2521"/>
                  <a:gd name="T38" fmla="*/ 28 w 1895"/>
                  <a:gd name="T39" fmla="*/ 0 h 2521"/>
                  <a:gd name="T40" fmla="*/ 79 w 1895"/>
                  <a:gd name="T41" fmla="*/ 236 h 2521"/>
                  <a:gd name="T42" fmla="*/ 122 w 1895"/>
                  <a:gd name="T43" fmla="*/ 496 h 2521"/>
                  <a:gd name="T44" fmla="*/ 154 w 1895"/>
                  <a:gd name="T45" fmla="*/ 781 h 2521"/>
                  <a:gd name="T46" fmla="*/ 168 w 1895"/>
                  <a:gd name="T47" fmla="*/ 1010 h 2521"/>
                  <a:gd name="T48" fmla="*/ 172 w 1895"/>
                  <a:gd name="T49" fmla="*/ 1168 h 2521"/>
                  <a:gd name="T50" fmla="*/ 170 w 1895"/>
                  <a:gd name="T51" fmla="*/ 1334 h 2521"/>
                  <a:gd name="T52" fmla="*/ 162 w 1895"/>
                  <a:gd name="T53" fmla="*/ 1502 h 2521"/>
                  <a:gd name="T54" fmla="*/ 148 w 1895"/>
                  <a:gd name="T55" fmla="*/ 1678 h 2521"/>
                  <a:gd name="T56" fmla="*/ 128 w 1895"/>
                  <a:gd name="T57" fmla="*/ 1858 h 2521"/>
                  <a:gd name="T58" fmla="*/ 101 w 1895"/>
                  <a:gd name="T59" fmla="*/ 2041 h 2521"/>
                  <a:gd name="T60" fmla="*/ 65 w 1895"/>
                  <a:gd name="T61" fmla="*/ 2231 h 2521"/>
                  <a:gd name="T62" fmla="*/ 24 w 1895"/>
                  <a:gd name="T63" fmla="*/ 2423 h 2521"/>
                  <a:gd name="T64" fmla="*/ 0 w 1895"/>
                  <a:gd name="T65" fmla="*/ 2521 h 2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95" h="2521">
                    <a:moveTo>
                      <a:pt x="0" y="2521"/>
                    </a:moveTo>
                    <a:lnTo>
                      <a:pt x="0" y="2521"/>
                    </a:lnTo>
                    <a:lnTo>
                      <a:pt x="132" y="2450"/>
                    </a:lnTo>
                    <a:lnTo>
                      <a:pt x="263" y="2379"/>
                    </a:lnTo>
                    <a:lnTo>
                      <a:pt x="389" y="2308"/>
                    </a:lnTo>
                    <a:lnTo>
                      <a:pt x="512" y="2237"/>
                    </a:lnTo>
                    <a:lnTo>
                      <a:pt x="512" y="2237"/>
                    </a:lnTo>
                    <a:lnTo>
                      <a:pt x="666" y="2142"/>
                    </a:lnTo>
                    <a:lnTo>
                      <a:pt x="812" y="2051"/>
                    </a:lnTo>
                    <a:lnTo>
                      <a:pt x="950" y="1960"/>
                    </a:lnTo>
                    <a:lnTo>
                      <a:pt x="1083" y="1871"/>
                    </a:lnTo>
                    <a:lnTo>
                      <a:pt x="1205" y="1786"/>
                    </a:lnTo>
                    <a:lnTo>
                      <a:pt x="1318" y="1705"/>
                    </a:lnTo>
                    <a:lnTo>
                      <a:pt x="1422" y="1628"/>
                    </a:lnTo>
                    <a:lnTo>
                      <a:pt x="1519" y="1557"/>
                    </a:lnTo>
                    <a:lnTo>
                      <a:pt x="1604" y="1492"/>
                    </a:lnTo>
                    <a:lnTo>
                      <a:pt x="1679" y="1433"/>
                    </a:lnTo>
                    <a:lnTo>
                      <a:pt x="1798" y="1336"/>
                    </a:lnTo>
                    <a:lnTo>
                      <a:pt x="1871" y="1275"/>
                    </a:lnTo>
                    <a:lnTo>
                      <a:pt x="1895" y="1253"/>
                    </a:lnTo>
                    <a:lnTo>
                      <a:pt x="1895" y="1253"/>
                    </a:lnTo>
                    <a:lnTo>
                      <a:pt x="1869" y="1231"/>
                    </a:lnTo>
                    <a:lnTo>
                      <a:pt x="1796" y="1170"/>
                    </a:lnTo>
                    <a:lnTo>
                      <a:pt x="1677" y="1073"/>
                    </a:lnTo>
                    <a:lnTo>
                      <a:pt x="1602" y="1014"/>
                    </a:lnTo>
                    <a:lnTo>
                      <a:pt x="1517" y="949"/>
                    </a:lnTo>
                    <a:lnTo>
                      <a:pt x="1420" y="876"/>
                    </a:lnTo>
                    <a:lnTo>
                      <a:pt x="1316" y="799"/>
                    </a:lnTo>
                    <a:lnTo>
                      <a:pt x="1201" y="718"/>
                    </a:lnTo>
                    <a:lnTo>
                      <a:pt x="1079" y="633"/>
                    </a:lnTo>
                    <a:lnTo>
                      <a:pt x="948" y="544"/>
                    </a:lnTo>
                    <a:lnTo>
                      <a:pt x="808" y="453"/>
                    </a:lnTo>
                    <a:lnTo>
                      <a:pt x="660" y="360"/>
                    </a:lnTo>
                    <a:lnTo>
                      <a:pt x="506" y="267"/>
                    </a:lnTo>
                    <a:lnTo>
                      <a:pt x="506" y="267"/>
                    </a:lnTo>
                    <a:lnTo>
                      <a:pt x="391" y="200"/>
                    </a:lnTo>
                    <a:lnTo>
                      <a:pt x="272" y="133"/>
                    </a:lnTo>
                    <a:lnTo>
                      <a:pt x="152" y="66"/>
                    </a:lnTo>
                    <a:lnTo>
                      <a:pt x="28" y="0"/>
                    </a:lnTo>
                    <a:lnTo>
                      <a:pt x="28" y="0"/>
                    </a:lnTo>
                    <a:lnTo>
                      <a:pt x="55" y="115"/>
                    </a:lnTo>
                    <a:lnTo>
                      <a:pt x="79" y="236"/>
                    </a:lnTo>
                    <a:lnTo>
                      <a:pt x="103" y="362"/>
                    </a:lnTo>
                    <a:lnTo>
                      <a:pt x="122" y="496"/>
                    </a:lnTo>
                    <a:lnTo>
                      <a:pt x="140" y="635"/>
                    </a:lnTo>
                    <a:lnTo>
                      <a:pt x="154" y="781"/>
                    </a:lnTo>
                    <a:lnTo>
                      <a:pt x="164" y="931"/>
                    </a:lnTo>
                    <a:lnTo>
                      <a:pt x="168" y="1010"/>
                    </a:lnTo>
                    <a:lnTo>
                      <a:pt x="170" y="1089"/>
                    </a:lnTo>
                    <a:lnTo>
                      <a:pt x="172" y="1168"/>
                    </a:lnTo>
                    <a:lnTo>
                      <a:pt x="170" y="1251"/>
                    </a:lnTo>
                    <a:lnTo>
                      <a:pt x="170" y="1334"/>
                    </a:lnTo>
                    <a:lnTo>
                      <a:pt x="166" y="1417"/>
                    </a:lnTo>
                    <a:lnTo>
                      <a:pt x="162" y="1502"/>
                    </a:lnTo>
                    <a:lnTo>
                      <a:pt x="156" y="1589"/>
                    </a:lnTo>
                    <a:lnTo>
                      <a:pt x="148" y="1678"/>
                    </a:lnTo>
                    <a:lnTo>
                      <a:pt x="138" y="1767"/>
                    </a:lnTo>
                    <a:lnTo>
                      <a:pt x="128" y="1858"/>
                    </a:lnTo>
                    <a:lnTo>
                      <a:pt x="114" y="1948"/>
                    </a:lnTo>
                    <a:lnTo>
                      <a:pt x="101" y="2041"/>
                    </a:lnTo>
                    <a:lnTo>
                      <a:pt x="85" y="2136"/>
                    </a:lnTo>
                    <a:lnTo>
                      <a:pt x="65" y="2231"/>
                    </a:lnTo>
                    <a:lnTo>
                      <a:pt x="45" y="2326"/>
                    </a:lnTo>
                    <a:lnTo>
                      <a:pt x="24" y="2423"/>
                    </a:lnTo>
                    <a:lnTo>
                      <a:pt x="0" y="2521"/>
                    </a:lnTo>
                    <a:lnTo>
                      <a:pt x="0" y="2521"/>
                    </a:lnTo>
                    <a:close/>
                  </a:path>
                </a:pathLst>
              </a:custGeom>
              <a:solidFill>
                <a:srgbClr val="F1A7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4" name="Freeform 312"/>
              <p:cNvSpPr>
                <a:spLocks/>
              </p:cNvSpPr>
              <p:nvPr/>
            </p:nvSpPr>
            <p:spPr bwMode="auto">
              <a:xfrm>
                <a:off x="2109789" y="936625"/>
                <a:ext cx="5183186" cy="3268665"/>
              </a:xfrm>
              <a:custGeom>
                <a:avLst/>
                <a:gdLst>
                  <a:gd name="T0" fmla="*/ 4135 w 6532"/>
                  <a:gd name="T1" fmla="*/ 2434 h 4120"/>
                  <a:gd name="T2" fmla="*/ 4072 w 6532"/>
                  <a:gd name="T3" fmla="*/ 2934 h 4120"/>
                  <a:gd name="T4" fmla="*/ 3967 w 6532"/>
                  <a:gd name="T5" fmla="*/ 3401 h 4120"/>
                  <a:gd name="T6" fmla="*/ 3831 w 6532"/>
                  <a:gd name="T7" fmla="*/ 3827 h 4120"/>
                  <a:gd name="T8" fmla="*/ 3714 w 6532"/>
                  <a:gd name="T9" fmla="*/ 4120 h 4120"/>
                  <a:gd name="T10" fmla="*/ 4072 w 6532"/>
                  <a:gd name="T11" fmla="*/ 4086 h 4120"/>
                  <a:gd name="T12" fmla="*/ 4426 w 6532"/>
                  <a:gd name="T13" fmla="*/ 4029 h 4120"/>
                  <a:gd name="T14" fmla="*/ 4771 w 6532"/>
                  <a:gd name="T15" fmla="*/ 3950 h 4120"/>
                  <a:gd name="T16" fmla="*/ 5277 w 6532"/>
                  <a:gd name="T17" fmla="*/ 3796 h 4120"/>
                  <a:gd name="T18" fmla="*/ 5913 w 6532"/>
                  <a:gd name="T19" fmla="*/ 3543 h 4120"/>
                  <a:gd name="T20" fmla="*/ 6360 w 6532"/>
                  <a:gd name="T21" fmla="*/ 3327 h 4120"/>
                  <a:gd name="T22" fmla="*/ 6445 w 6532"/>
                  <a:gd name="T23" fmla="*/ 2942 h 4120"/>
                  <a:gd name="T24" fmla="*/ 6498 w 6532"/>
                  <a:gd name="T25" fmla="*/ 2573 h 4120"/>
                  <a:gd name="T26" fmla="*/ 6526 w 6532"/>
                  <a:gd name="T27" fmla="*/ 2223 h 4120"/>
                  <a:gd name="T28" fmla="*/ 6530 w 6532"/>
                  <a:gd name="T29" fmla="*/ 1895 h 4120"/>
                  <a:gd name="T30" fmla="*/ 6500 w 6532"/>
                  <a:gd name="T31" fmla="*/ 1441 h 4120"/>
                  <a:gd name="T32" fmla="*/ 6415 w 6532"/>
                  <a:gd name="T33" fmla="*/ 921 h 4120"/>
                  <a:gd name="T34" fmla="*/ 6091 w 6532"/>
                  <a:gd name="T35" fmla="*/ 658 h 4120"/>
                  <a:gd name="T36" fmla="*/ 5461 w 6532"/>
                  <a:gd name="T37" fmla="*/ 390 h 4120"/>
                  <a:gd name="T38" fmla="*/ 4957 w 6532"/>
                  <a:gd name="T39" fmla="*/ 220 h 4120"/>
                  <a:gd name="T40" fmla="*/ 4609 w 6532"/>
                  <a:gd name="T41" fmla="*/ 129 h 4120"/>
                  <a:gd name="T42" fmla="*/ 4256 w 6532"/>
                  <a:gd name="T43" fmla="*/ 60 h 4120"/>
                  <a:gd name="T44" fmla="*/ 3896 w 6532"/>
                  <a:gd name="T45" fmla="*/ 12 h 4120"/>
                  <a:gd name="T46" fmla="*/ 3754 w 6532"/>
                  <a:gd name="T47" fmla="*/ 93 h 4120"/>
                  <a:gd name="T48" fmla="*/ 3902 w 6532"/>
                  <a:gd name="T49" fmla="*/ 498 h 4120"/>
                  <a:gd name="T50" fmla="*/ 4025 w 6532"/>
                  <a:gd name="T51" fmla="*/ 947 h 4120"/>
                  <a:gd name="T52" fmla="*/ 4110 w 6532"/>
                  <a:gd name="T53" fmla="*/ 1431 h 4120"/>
                  <a:gd name="T54" fmla="*/ 3436 w 6532"/>
                  <a:gd name="T55" fmla="*/ 1812 h 4120"/>
                  <a:gd name="T56" fmla="*/ 3420 w 6532"/>
                  <a:gd name="T57" fmla="*/ 1563 h 4120"/>
                  <a:gd name="T58" fmla="*/ 3383 w 6532"/>
                  <a:gd name="T59" fmla="*/ 1255 h 4120"/>
                  <a:gd name="T60" fmla="*/ 3327 w 6532"/>
                  <a:gd name="T61" fmla="*/ 976 h 4120"/>
                  <a:gd name="T62" fmla="*/ 3260 w 6532"/>
                  <a:gd name="T63" fmla="*/ 727 h 4120"/>
                  <a:gd name="T64" fmla="*/ 3177 w 6532"/>
                  <a:gd name="T65" fmla="*/ 508 h 4120"/>
                  <a:gd name="T66" fmla="*/ 3086 w 6532"/>
                  <a:gd name="T67" fmla="*/ 320 h 4120"/>
                  <a:gd name="T68" fmla="*/ 2985 w 6532"/>
                  <a:gd name="T69" fmla="*/ 164 h 4120"/>
                  <a:gd name="T70" fmla="*/ 2877 w 6532"/>
                  <a:gd name="T71" fmla="*/ 40 h 4120"/>
                  <a:gd name="T72" fmla="*/ 2507 w 6532"/>
                  <a:gd name="T73" fmla="*/ 44 h 4120"/>
                  <a:gd name="T74" fmla="*/ 1836 w 6532"/>
                  <a:gd name="T75" fmla="*/ 141 h 4120"/>
                  <a:gd name="T76" fmla="*/ 1148 w 6532"/>
                  <a:gd name="T77" fmla="*/ 287 h 4120"/>
                  <a:gd name="T78" fmla="*/ 0 w 6532"/>
                  <a:gd name="T79" fmla="*/ 581 h 4120"/>
                  <a:gd name="T80" fmla="*/ 407 w 6532"/>
                  <a:gd name="T81" fmla="*/ 3630 h 4120"/>
                  <a:gd name="T82" fmla="*/ 1316 w 6532"/>
                  <a:gd name="T83" fmla="*/ 3865 h 4120"/>
                  <a:gd name="T84" fmla="*/ 1992 w 6532"/>
                  <a:gd name="T85" fmla="*/ 4003 h 4120"/>
                  <a:gd name="T86" fmla="*/ 2673 w 6532"/>
                  <a:gd name="T87" fmla="*/ 4092 h 4120"/>
                  <a:gd name="T88" fmla="*/ 2904 w 6532"/>
                  <a:gd name="T89" fmla="*/ 4051 h 4120"/>
                  <a:gd name="T90" fmla="*/ 3011 w 6532"/>
                  <a:gd name="T91" fmla="*/ 3918 h 4120"/>
                  <a:gd name="T92" fmla="*/ 3110 w 6532"/>
                  <a:gd name="T93" fmla="*/ 3754 h 4120"/>
                  <a:gd name="T94" fmla="*/ 3199 w 6532"/>
                  <a:gd name="T95" fmla="*/ 3559 h 4120"/>
                  <a:gd name="T96" fmla="*/ 3278 w 6532"/>
                  <a:gd name="T97" fmla="*/ 3331 h 4120"/>
                  <a:gd name="T98" fmla="*/ 3343 w 6532"/>
                  <a:gd name="T99" fmla="*/ 3075 h 4120"/>
                  <a:gd name="T100" fmla="*/ 3394 w 6532"/>
                  <a:gd name="T101" fmla="*/ 2790 h 4120"/>
                  <a:gd name="T102" fmla="*/ 3426 w 6532"/>
                  <a:gd name="T103" fmla="*/ 2474 h 4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532" h="4120">
                    <a:moveTo>
                      <a:pt x="3436" y="2306"/>
                    </a:moveTo>
                    <a:lnTo>
                      <a:pt x="4143" y="2306"/>
                    </a:lnTo>
                    <a:lnTo>
                      <a:pt x="4143" y="2306"/>
                    </a:lnTo>
                    <a:lnTo>
                      <a:pt x="4135" y="2434"/>
                    </a:lnTo>
                    <a:lnTo>
                      <a:pt x="4123" y="2563"/>
                    </a:lnTo>
                    <a:lnTo>
                      <a:pt x="4110" y="2687"/>
                    </a:lnTo>
                    <a:lnTo>
                      <a:pt x="4092" y="2812"/>
                    </a:lnTo>
                    <a:lnTo>
                      <a:pt x="4072" y="2934"/>
                    </a:lnTo>
                    <a:lnTo>
                      <a:pt x="4048" y="3053"/>
                    </a:lnTo>
                    <a:lnTo>
                      <a:pt x="4025" y="3171"/>
                    </a:lnTo>
                    <a:lnTo>
                      <a:pt x="3997" y="3288"/>
                    </a:lnTo>
                    <a:lnTo>
                      <a:pt x="3967" y="3401"/>
                    </a:lnTo>
                    <a:lnTo>
                      <a:pt x="3936" y="3511"/>
                    </a:lnTo>
                    <a:lnTo>
                      <a:pt x="3902" y="3620"/>
                    </a:lnTo>
                    <a:lnTo>
                      <a:pt x="3867" y="3725"/>
                    </a:lnTo>
                    <a:lnTo>
                      <a:pt x="3831" y="3827"/>
                    </a:lnTo>
                    <a:lnTo>
                      <a:pt x="3793" y="3928"/>
                    </a:lnTo>
                    <a:lnTo>
                      <a:pt x="3754" y="4025"/>
                    </a:lnTo>
                    <a:lnTo>
                      <a:pt x="3714" y="4120"/>
                    </a:lnTo>
                    <a:lnTo>
                      <a:pt x="3714" y="4120"/>
                    </a:lnTo>
                    <a:lnTo>
                      <a:pt x="3803" y="4114"/>
                    </a:lnTo>
                    <a:lnTo>
                      <a:pt x="3894" y="4106"/>
                    </a:lnTo>
                    <a:lnTo>
                      <a:pt x="3983" y="4096"/>
                    </a:lnTo>
                    <a:lnTo>
                      <a:pt x="4072" y="4086"/>
                    </a:lnTo>
                    <a:lnTo>
                      <a:pt x="4161" y="4074"/>
                    </a:lnTo>
                    <a:lnTo>
                      <a:pt x="4250" y="4060"/>
                    </a:lnTo>
                    <a:lnTo>
                      <a:pt x="4337" y="4045"/>
                    </a:lnTo>
                    <a:lnTo>
                      <a:pt x="4426" y="4029"/>
                    </a:lnTo>
                    <a:lnTo>
                      <a:pt x="4513" y="4011"/>
                    </a:lnTo>
                    <a:lnTo>
                      <a:pt x="4600" y="3991"/>
                    </a:lnTo>
                    <a:lnTo>
                      <a:pt x="4685" y="3972"/>
                    </a:lnTo>
                    <a:lnTo>
                      <a:pt x="4771" y="3950"/>
                    </a:lnTo>
                    <a:lnTo>
                      <a:pt x="4856" y="3926"/>
                    </a:lnTo>
                    <a:lnTo>
                      <a:pt x="4941" y="3902"/>
                    </a:lnTo>
                    <a:lnTo>
                      <a:pt x="5111" y="3851"/>
                    </a:lnTo>
                    <a:lnTo>
                      <a:pt x="5277" y="3796"/>
                    </a:lnTo>
                    <a:lnTo>
                      <a:pt x="5439" y="3736"/>
                    </a:lnTo>
                    <a:lnTo>
                      <a:pt x="5601" y="3675"/>
                    </a:lnTo>
                    <a:lnTo>
                      <a:pt x="5759" y="3610"/>
                    </a:lnTo>
                    <a:lnTo>
                      <a:pt x="5913" y="3543"/>
                    </a:lnTo>
                    <a:lnTo>
                      <a:pt x="6065" y="3472"/>
                    </a:lnTo>
                    <a:lnTo>
                      <a:pt x="6214" y="3401"/>
                    </a:lnTo>
                    <a:lnTo>
                      <a:pt x="6360" y="3327"/>
                    </a:lnTo>
                    <a:lnTo>
                      <a:pt x="6360" y="3327"/>
                    </a:lnTo>
                    <a:lnTo>
                      <a:pt x="6384" y="3229"/>
                    </a:lnTo>
                    <a:lnTo>
                      <a:pt x="6405" y="3132"/>
                    </a:lnTo>
                    <a:lnTo>
                      <a:pt x="6425" y="3037"/>
                    </a:lnTo>
                    <a:lnTo>
                      <a:pt x="6445" y="2942"/>
                    </a:lnTo>
                    <a:lnTo>
                      <a:pt x="6461" y="2847"/>
                    </a:lnTo>
                    <a:lnTo>
                      <a:pt x="6474" y="2754"/>
                    </a:lnTo>
                    <a:lnTo>
                      <a:pt x="6488" y="2664"/>
                    </a:lnTo>
                    <a:lnTo>
                      <a:pt x="6498" y="2573"/>
                    </a:lnTo>
                    <a:lnTo>
                      <a:pt x="6508" y="2484"/>
                    </a:lnTo>
                    <a:lnTo>
                      <a:pt x="6516" y="2395"/>
                    </a:lnTo>
                    <a:lnTo>
                      <a:pt x="6522" y="2308"/>
                    </a:lnTo>
                    <a:lnTo>
                      <a:pt x="6526" y="2223"/>
                    </a:lnTo>
                    <a:lnTo>
                      <a:pt x="6530" y="2140"/>
                    </a:lnTo>
                    <a:lnTo>
                      <a:pt x="6530" y="2057"/>
                    </a:lnTo>
                    <a:lnTo>
                      <a:pt x="6532" y="1974"/>
                    </a:lnTo>
                    <a:lnTo>
                      <a:pt x="6530" y="1895"/>
                    </a:lnTo>
                    <a:lnTo>
                      <a:pt x="6528" y="1816"/>
                    </a:lnTo>
                    <a:lnTo>
                      <a:pt x="6524" y="1737"/>
                    </a:lnTo>
                    <a:lnTo>
                      <a:pt x="6514" y="1587"/>
                    </a:lnTo>
                    <a:lnTo>
                      <a:pt x="6500" y="1441"/>
                    </a:lnTo>
                    <a:lnTo>
                      <a:pt x="6482" y="1302"/>
                    </a:lnTo>
                    <a:lnTo>
                      <a:pt x="6463" y="1168"/>
                    </a:lnTo>
                    <a:lnTo>
                      <a:pt x="6439" y="1042"/>
                    </a:lnTo>
                    <a:lnTo>
                      <a:pt x="6415" y="921"/>
                    </a:lnTo>
                    <a:lnTo>
                      <a:pt x="6388" y="806"/>
                    </a:lnTo>
                    <a:lnTo>
                      <a:pt x="6388" y="806"/>
                    </a:lnTo>
                    <a:lnTo>
                      <a:pt x="6241" y="731"/>
                    </a:lnTo>
                    <a:lnTo>
                      <a:pt x="6091" y="658"/>
                    </a:lnTo>
                    <a:lnTo>
                      <a:pt x="5939" y="587"/>
                    </a:lnTo>
                    <a:lnTo>
                      <a:pt x="5783" y="520"/>
                    </a:lnTo>
                    <a:lnTo>
                      <a:pt x="5623" y="453"/>
                    </a:lnTo>
                    <a:lnTo>
                      <a:pt x="5461" y="390"/>
                    </a:lnTo>
                    <a:lnTo>
                      <a:pt x="5295" y="328"/>
                    </a:lnTo>
                    <a:lnTo>
                      <a:pt x="5127" y="273"/>
                    </a:lnTo>
                    <a:lnTo>
                      <a:pt x="5042" y="245"/>
                    </a:lnTo>
                    <a:lnTo>
                      <a:pt x="4957" y="220"/>
                    </a:lnTo>
                    <a:lnTo>
                      <a:pt x="4870" y="196"/>
                    </a:lnTo>
                    <a:lnTo>
                      <a:pt x="4783" y="172"/>
                    </a:lnTo>
                    <a:lnTo>
                      <a:pt x="4696" y="150"/>
                    </a:lnTo>
                    <a:lnTo>
                      <a:pt x="4609" y="129"/>
                    </a:lnTo>
                    <a:lnTo>
                      <a:pt x="4523" y="109"/>
                    </a:lnTo>
                    <a:lnTo>
                      <a:pt x="4434" y="91"/>
                    </a:lnTo>
                    <a:lnTo>
                      <a:pt x="4345" y="75"/>
                    </a:lnTo>
                    <a:lnTo>
                      <a:pt x="4256" y="60"/>
                    </a:lnTo>
                    <a:lnTo>
                      <a:pt x="4167" y="46"/>
                    </a:lnTo>
                    <a:lnTo>
                      <a:pt x="4076" y="32"/>
                    </a:lnTo>
                    <a:lnTo>
                      <a:pt x="3987" y="22"/>
                    </a:lnTo>
                    <a:lnTo>
                      <a:pt x="3896" y="12"/>
                    </a:lnTo>
                    <a:lnTo>
                      <a:pt x="3805" y="6"/>
                    </a:lnTo>
                    <a:lnTo>
                      <a:pt x="3714" y="0"/>
                    </a:lnTo>
                    <a:lnTo>
                      <a:pt x="3714" y="0"/>
                    </a:lnTo>
                    <a:lnTo>
                      <a:pt x="3754" y="93"/>
                    </a:lnTo>
                    <a:lnTo>
                      <a:pt x="3793" y="190"/>
                    </a:lnTo>
                    <a:lnTo>
                      <a:pt x="3831" y="291"/>
                    </a:lnTo>
                    <a:lnTo>
                      <a:pt x="3867" y="393"/>
                    </a:lnTo>
                    <a:lnTo>
                      <a:pt x="3902" y="498"/>
                    </a:lnTo>
                    <a:lnTo>
                      <a:pt x="3936" y="607"/>
                    </a:lnTo>
                    <a:lnTo>
                      <a:pt x="3967" y="718"/>
                    </a:lnTo>
                    <a:lnTo>
                      <a:pt x="3997" y="832"/>
                    </a:lnTo>
                    <a:lnTo>
                      <a:pt x="4025" y="947"/>
                    </a:lnTo>
                    <a:lnTo>
                      <a:pt x="4048" y="1065"/>
                    </a:lnTo>
                    <a:lnTo>
                      <a:pt x="4072" y="1186"/>
                    </a:lnTo>
                    <a:lnTo>
                      <a:pt x="4092" y="1306"/>
                    </a:lnTo>
                    <a:lnTo>
                      <a:pt x="4110" y="1431"/>
                    </a:lnTo>
                    <a:lnTo>
                      <a:pt x="4123" y="1555"/>
                    </a:lnTo>
                    <a:lnTo>
                      <a:pt x="4135" y="1684"/>
                    </a:lnTo>
                    <a:lnTo>
                      <a:pt x="4143" y="1812"/>
                    </a:lnTo>
                    <a:lnTo>
                      <a:pt x="3436" y="1812"/>
                    </a:lnTo>
                    <a:lnTo>
                      <a:pt x="3436" y="1812"/>
                    </a:lnTo>
                    <a:lnTo>
                      <a:pt x="3432" y="1727"/>
                    </a:lnTo>
                    <a:lnTo>
                      <a:pt x="3426" y="1644"/>
                    </a:lnTo>
                    <a:lnTo>
                      <a:pt x="3420" y="1563"/>
                    </a:lnTo>
                    <a:lnTo>
                      <a:pt x="3412" y="1484"/>
                    </a:lnTo>
                    <a:lnTo>
                      <a:pt x="3404" y="1405"/>
                    </a:lnTo>
                    <a:lnTo>
                      <a:pt x="3394" y="1330"/>
                    </a:lnTo>
                    <a:lnTo>
                      <a:pt x="3383" y="1255"/>
                    </a:lnTo>
                    <a:lnTo>
                      <a:pt x="3371" y="1184"/>
                    </a:lnTo>
                    <a:lnTo>
                      <a:pt x="3357" y="1113"/>
                    </a:lnTo>
                    <a:lnTo>
                      <a:pt x="3343" y="1044"/>
                    </a:lnTo>
                    <a:lnTo>
                      <a:pt x="3327" y="976"/>
                    </a:lnTo>
                    <a:lnTo>
                      <a:pt x="3311" y="911"/>
                    </a:lnTo>
                    <a:lnTo>
                      <a:pt x="3296" y="848"/>
                    </a:lnTo>
                    <a:lnTo>
                      <a:pt x="3278" y="787"/>
                    </a:lnTo>
                    <a:lnTo>
                      <a:pt x="3260" y="727"/>
                    </a:lnTo>
                    <a:lnTo>
                      <a:pt x="3240" y="670"/>
                    </a:lnTo>
                    <a:lnTo>
                      <a:pt x="3221" y="615"/>
                    </a:lnTo>
                    <a:lnTo>
                      <a:pt x="3199" y="561"/>
                    </a:lnTo>
                    <a:lnTo>
                      <a:pt x="3177" y="508"/>
                    </a:lnTo>
                    <a:lnTo>
                      <a:pt x="3155" y="459"/>
                    </a:lnTo>
                    <a:lnTo>
                      <a:pt x="3134" y="411"/>
                    </a:lnTo>
                    <a:lnTo>
                      <a:pt x="3110" y="366"/>
                    </a:lnTo>
                    <a:lnTo>
                      <a:pt x="3086" y="320"/>
                    </a:lnTo>
                    <a:lnTo>
                      <a:pt x="3061" y="279"/>
                    </a:lnTo>
                    <a:lnTo>
                      <a:pt x="3037" y="239"/>
                    </a:lnTo>
                    <a:lnTo>
                      <a:pt x="3011" y="200"/>
                    </a:lnTo>
                    <a:lnTo>
                      <a:pt x="2985" y="164"/>
                    </a:lnTo>
                    <a:lnTo>
                      <a:pt x="2958" y="131"/>
                    </a:lnTo>
                    <a:lnTo>
                      <a:pt x="2932" y="97"/>
                    </a:lnTo>
                    <a:lnTo>
                      <a:pt x="2904" y="67"/>
                    </a:lnTo>
                    <a:lnTo>
                      <a:pt x="2877" y="40"/>
                    </a:lnTo>
                    <a:lnTo>
                      <a:pt x="2849" y="12"/>
                    </a:lnTo>
                    <a:lnTo>
                      <a:pt x="2849" y="12"/>
                    </a:lnTo>
                    <a:lnTo>
                      <a:pt x="2677" y="26"/>
                    </a:lnTo>
                    <a:lnTo>
                      <a:pt x="2507" y="44"/>
                    </a:lnTo>
                    <a:lnTo>
                      <a:pt x="2337" y="64"/>
                    </a:lnTo>
                    <a:lnTo>
                      <a:pt x="2170" y="87"/>
                    </a:lnTo>
                    <a:lnTo>
                      <a:pt x="2004" y="113"/>
                    </a:lnTo>
                    <a:lnTo>
                      <a:pt x="1836" y="141"/>
                    </a:lnTo>
                    <a:lnTo>
                      <a:pt x="1666" y="174"/>
                    </a:lnTo>
                    <a:lnTo>
                      <a:pt x="1496" y="208"/>
                    </a:lnTo>
                    <a:lnTo>
                      <a:pt x="1324" y="245"/>
                    </a:lnTo>
                    <a:lnTo>
                      <a:pt x="1148" y="287"/>
                    </a:lnTo>
                    <a:lnTo>
                      <a:pt x="968" y="330"/>
                    </a:lnTo>
                    <a:lnTo>
                      <a:pt x="787" y="376"/>
                    </a:lnTo>
                    <a:lnTo>
                      <a:pt x="405" y="474"/>
                    </a:lnTo>
                    <a:lnTo>
                      <a:pt x="0" y="581"/>
                    </a:lnTo>
                    <a:lnTo>
                      <a:pt x="0" y="3517"/>
                    </a:lnTo>
                    <a:lnTo>
                      <a:pt x="0" y="3517"/>
                    </a:lnTo>
                    <a:lnTo>
                      <a:pt x="0" y="3517"/>
                    </a:lnTo>
                    <a:lnTo>
                      <a:pt x="407" y="3630"/>
                    </a:lnTo>
                    <a:lnTo>
                      <a:pt x="785" y="3730"/>
                    </a:lnTo>
                    <a:lnTo>
                      <a:pt x="966" y="3778"/>
                    </a:lnTo>
                    <a:lnTo>
                      <a:pt x="1144" y="3823"/>
                    </a:lnTo>
                    <a:lnTo>
                      <a:pt x="1316" y="3865"/>
                    </a:lnTo>
                    <a:lnTo>
                      <a:pt x="1488" y="3904"/>
                    </a:lnTo>
                    <a:lnTo>
                      <a:pt x="1656" y="3940"/>
                    </a:lnTo>
                    <a:lnTo>
                      <a:pt x="1824" y="3973"/>
                    </a:lnTo>
                    <a:lnTo>
                      <a:pt x="1992" y="4003"/>
                    </a:lnTo>
                    <a:lnTo>
                      <a:pt x="2160" y="4031"/>
                    </a:lnTo>
                    <a:lnTo>
                      <a:pt x="2328" y="4055"/>
                    </a:lnTo>
                    <a:lnTo>
                      <a:pt x="2499" y="4074"/>
                    </a:lnTo>
                    <a:lnTo>
                      <a:pt x="2673" y="4092"/>
                    </a:lnTo>
                    <a:lnTo>
                      <a:pt x="2849" y="4106"/>
                    </a:lnTo>
                    <a:lnTo>
                      <a:pt x="2849" y="4106"/>
                    </a:lnTo>
                    <a:lnTo>
                      <a:pt x="2877" y="4080"/>
                    </a:lnTo>
                    <a:lnTo>
                      <a:pt x="2904" y="4051"/>
                    </a:lnTo>
                    <a:lnTo>
                      <a:pt x="2932" y="4021"/>
                    </a:lnTo>
                    <a:lnTo>
                      <a:pt x="2958" y="3989"/>
                    </a:lnTo>
                    <a:lnTo>
                      <a:pt x="2985" y="3954"/>
                    </a:lnTo>
                    <a:lnTo>
                      <a:pt x="3011" y="3918"/>
                    </a:lnTo>
                    <a:lnTo>
                      <a:pt x="3037" y="3881"/>
                    </a:lnTo>
                    <a:lnTo>
                      <a:pt x="3061" y="3839"/>
                    </a:lnTo>
                    <a:lnTo>
                      <a:pt x="3086" y="3798"/>
                    </a:lnTo>
                    <a:lnTo>
                      <a:pt x="3110" y="3754"/>
                    </a:lnTo>
                    <a:lnTo>
                      <a:pt x="3134" y="3707"/>
                    </a:lnTo>
                    <a:lnTo>
                      <a:pt x="3155" y="3659"/>
                    </a:lnTo>
                    <a:lnTo>
                      <a:pt x="3177" y="3610"/>
                    </a:lnTo>
                    <a:lnTo>
                      <a:pt x="3199" y="3559"/>
                    </a:lnTo>
                    <a:lnTo>
                      <a:pt x="3221" y="3503"/>
                    </a:lnTo>
                    <a:lnTo>
                      <a:pt x="3240" y="3448"/>
                    </a:lnTo>
                    <a:lnTo>
                      <a:pt x="3260" y="3391"/>
                    </a:lnTo>
                    <a:lnTo>
                      <a:pt x="3278" y="3331"/>
                    </a:lnTo>
                    <a:lnTo>
                      <a:pt x="3296" y="3270"/>
                    </a:lnTo>
                    <a:lnTo>
                      <a:pt x="3311" y="3207"/>
                    </a:lnTo>
                    <a:lnTo>
                      <a:pt x="3327" y="3142"/>
                    </a:lnTo>
                    <a:lnTo>
                      <a:pt x="3343" y="3075"/>
                    </a:lnTo>
                    <a:lnTo>
                      <a:pt x="3357" y="3007"/>
                    </a:lnTo>
                    <a:lnTo>
                      <a:pt x="3371" y="2936"/>
                    </a:lnTo>
                    <a:lnTo>
                      <a:pt x="3383" y="2863"/>
                    </a:lnTo>
                    <a:lnTo>
                      <a:pt x="3394" y="2790"/>
                    </a:lnTo>
                    <a:lnTo>
                      <a:pt x="3404" y="2713"/>
                    </a:lnTo>
                    <a:lnTo>
                      <a:pt x="3412" y="2636"/>
                    </a:lnTo>
                    <a:lnTo>
                      <a:pt x="3420" y="2555"/>
                    </a:lnTo>
                    <a:lnTo>
                      <a:pt x="3426" y="2474"/>
                    </a:lnTo>
                    <a:lnTo>
                      <a:pt x="3432" y="2391"/>
                    </a:lnTo>
                    <a:lnTo>
                      <a:pt x="3436" y="2306"/>
                    </a:lnTo>
                    <a:lnTo>
                      <a:pt x="3436" y="2306"/>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5" name="Freeform 313"/>
              <p:cNvSpPr>
                <a:spLocks/>
              </p:cNvSpPr>
              <p:nvPr/>
            </p:nvSpPr>
            <p:spPr bwMode="auto">
              <a:xfrm>
                <a:off x="2035174" y="1395413"/>
                <a:ext cx="185736" cy="2332039"/>
              </a:xfrm>
              <a:custGeom>
                <a:avLst/>
                <a:gdLst>
                  <a:gd name="T0" fmla="*/ 234 w 234"/>
                  <a:gd name="T1" fmla="*/ 1470 h 2938"/>
                  <a:gd name="T2" fmla="*/ 226 w 234"/>
                  <a:gd name="T3" fmla="*/ 897 h 2938"/>
                  <a:gd name="T4" fmla="*/ 216 w 234"/>
                  <a:gd name="T5" fmla="*/ 648 h 2938"/>
                  <a:gd name="T6" fmla="*/ 202 w 234"/>
                  <a:gd name="T7" fmla="*/ 431 h 2938"/>
                  <a:gd name="T8" fmla="*/ 182 w 234"/>
                  <a:gd name="T9" fmla="*/ 251 h 2938"/>
                  <a:gd name="T10" fmla="*/ 160 w 234"/>
                  <a:gd name="T11" fmla="*/ 115 h 2938"/>
                  <a:gd name="T12" fmla="*/ 139 w 234"/>
                  <a:gd name="T13" fmla="*/ 46 h 2938"/>
                  <a:gd name="T14" fmla="*/ 125 w 234"/>
                  <a:gd name="T15" fmla="*/ 16 h 2938"/>
                  <a:gd name="T16" fmla="*/ 107 w 234"/>
                  <a:gd name="T17" fmla="*/ 2 h 2938"/>
                  <a:gd name="T18" fmla="*/ 99 w 234"/>
                  <a:gd name="T19" fmla="*/ 0 h 2938"/>
                  <a:gd name="T20" fmla="*/ 83 w 234"/>
                  <a:gd name="T21" fmla="*/ 8 h 2938"/>
                  <a:gd name="T22" fmla="*/ 68 w 234"/>
                  <a:gd name="T23" fmla="*/ 30 h 2938"/>
                  <a:gd name="T24" fmla="*/ 56 w 234"/>
                  <a:gd name="T25" fmla="*/ 65 h 2938"/>
                  <a:gd name="T26" fmla="*/ 34 w 234"/>
                  <a:gd name="T27" fmla="*/ 176 h 2938"/>
                  <a:gd name="T28" fmla="*/ 20 w 234"/>
                  <a:gd name="T29" fmla="*/ 336 h 2938"/>
                  <a:gd name="T30" fmla="*/ 10 w 234"/>
                  <a:gd name="T31" fmla="*/ 534 h 2938"/>
                  <a:gd name="T32" fmla="*/ 2 w 234"/>
                  <a:gd name="T33" fmla="*/ 897 h 2938"/>
                  <a:gd name="T34" fmla="*/ 0 w 234"/>
                  <a:gd name="T35" fmla="*/ 1470 h 2938"/>
                  <a:gd name="T36" fmla="*/ 0 w 234"/>
                  <a:gd name="T37" fmla="*/ 1765 h 2938"/>
                  <a:gd name="T38" fmla="*/ 6 w 234"/>
                  <a:gd name="T39" fmla="*/ 2290 h 2938"/>
                  <a:gd name="T40" fmla="*/ 14 w 234"/>
                  <a:gd name="T41" fmla="*/ 2507 h 2938"/>
                  <a:gd name="T42" fmla="*/ 26 w 234"/>
                  <a:gd name="T43" fmla="*/ 2687 h 2938"/>
                  <a:gd name="T44" fmla="*/ 44 w 234"/>
                  <a:gd name="T45" fmla="*/ 2824 h 2938"/>
                  <a:gd name="T46" fmla="*/ 62 w 234"/>
                  <a:gd name="T47" fmla="*/ 2893 h 2938"/>
                  <a:gd name="T48" fmla="*/ 75 w 234"/>
                  <a:gd name="T49" fmla="*/ 2922 h 2938"/>
                  <a:gd name="T50" fmla="*/ 91 w 234"/>
                  <a:gd name="T51" fmla="*/ 2936 h 2938"/>
                  <a:gd name="T52" fmla="*/ 99 w 234"/>
                  <a:gd name="T53" fmla="*/ 2938 h 2938"/>
                  <a:gd name="T54" fmla="*/ 117 w 234"/>
                  <a:gd name="T55" fmla="*/ 2932 h 2938"/>
                  <a:gd name="T56" fmla="*/ 133 w 234"/>
                  <a:gd name="T57" fmla="*/ 2908 h 2938"/>
                  <a:gd name="T58" fmla="*/ 147 w 234"/>
                  <a:gd name="T59" fmla="*/ 2873 h 2938"/>
                  <a:gd name="T60" fmla="*/ 172 w 234"/>
                  <a:gd name="T61" fmla="*/ 2762 h 2938"/>
                  <a:gd name="T62" fmla="*/ 192 w 234"/>
                  <a:gd name="T63" fmla="*/ 2604 h 2938"/>
                  <a:gd name="T64" fmla="*/ 210 w 234"/>
                  <a:gd name="T65" fmla="*/ 2405 h 2938"/>
                  <a:gd name="T66" fmla="*/ 222 w 234"/>
                  <a:gd name="T67" fmla="*/ 2170 h 2938"/>
                  <a:gd name="T68" fmla="*/ 232 w 234"/>
                  <a:gd name="T69" fmla="*/ 1765 h 2938"/>
                  <a:gd name="T70" fmla="*/ 234 w 234"/>
                  <a:gd name="T71" fmla="*/ 1470 h 2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4" h="2938">
                    <a:moveTo>
                      <a:pt x="234" y="1470"/>
                    </a:moveTo>
                    <a:lnTo>
                      <a:pt x="234" y="1470"/>
                    </a:lnTo>
                    <a:lnTo>
                      <a:pt x="232" y="1174"/>
                    </a:lnTo>
                    <a:lnTo>
                      <a:pt x="226" y="897"/>
                    </a:lnTo>
                    <a:lnTo>
                      <a:pt x="222" y="769"/>
                    </a:lnTo>
                    <a:lnTo>
                      <a:pt x="216" y="648"/>
                    </a:lnTo>
                    <a:lnTo>
                      <a:pt x="210" y="534"/>
                    </a:lnTo>
                    <a:lnTo>
                      <a:pt x="202" y="431"/>
                    </a:lnTo>
                    <a:lnTo>
                      <a:pt x="192" y="336"/>
                    </a:lnTo>
                    <a:lnTo>
                      <a:pt x="182" y="251"/>
                    </a:lnTo>
                    <a:lnTo>
                      <a:pt x="172" y="176"/>
                    </a:lnTo>
                    <a:lnTo>
                      <a:pt x="160" y="115"/>
                    </a:lnTo>
                    <a:lnTo>
                      <a:pt x="147" y="65"/>
                    </a:lnTo>
                    <a:lnTo>
                      <a:pt x="139" y="46"/>
                    </a:lnTo>
                    <a:lnTo>
                      <a:pt x="133" y="30"/>
                    </a:lnTo>
                    <a:lnTo>
                      <a:pt x="125" y="16"/>
                    </a:lnTo>
                    <a:lnTo>
                      <a:pt x="117" y="8"/>
                    </a:lnTo>
                    <a:lnTo>
                      <a:pt x="107" y="2"/>
                    </a:lnTo>
                    <a:lnTo>
                      <a:pt x="99" y="0"/>
                    </a:lnTo>
                    <a:lnTo>
                      <a:pt x="99" y="0"/>
                    </a:lnTo>
                    <a:lnTo>
                      <a:pt x="91" y="2"/>
                    </a:lnTo>
                    <a:lnTo>
                      <a:pt x="83" y="8"/>
                    </a:lnTo>
                    <a:lnTo>
                      <a:pt x="75" y="16"/>
                    </a:lnTo>
                    <a:lnTo>
                      <a:pt x="68" y="30"/>
                    </a:lnTo>
                    <a:lnTo>
                      <a:pt x="62" y="46"/>
                    </a:lnTo>
                    <a:lnTo>
                      <a:pt x="56" y="65"/>
                    </a:lnTo>
                    <a:lnTo>
                      <a:pt x="44" y="115"/>
                    </a:lnTo>
                    <a:lnTo>
                      <a:pt x="34" y="176"/>
                    </a:lnTo>
                    <a:lnTo>
                      <a:pt x="26" y="251"/>
                    </a:lnTo>
                    <a:lnTo>
                      <a:pt x="20" y="336"/>
                    </a:lnTo>
                    <a:lnTo>
                      <a:pt x="14" y="431"/>
                    </a:lnTo>
                    <a:lnTo>
                      <a:pt x="10" y="534"/>
                    </a:lnTo>
                    <a:lnTo>
                      <a:pt x="6" y="648"/>
                    </a:lnTo>
                    <a:lnTo>
                      <a:pt x="2" y="897"/>
                    </a:lnTo>
                    <a:lnTo>
                      <a:pt x="0" y="1174"/>
                    </a:lnTo>
                    <a:lnTo>
                      <a:pt x="0" y="1470"/>
                    </a:lnTo>
                    <a:lnTo>
                      <a:pt x="0" y="1470"/>
                    </a:lnTo>
                    <a:lnTo>
                      <a:pt x="0" y="1765"/>
                    </a:lnTo>
                    <a:lnTo>
                      <a:pt x="2" y="2041"/>
                    </a:lnTo>
                    <a:lnTo>
                      <a:pt x="6" y="2290"/>
                    </a:lnTo>
                    <a:lnTo>
                      <a:pt x="10" y="2405"/>
                    </a:lnTo>
                    <a:lnTo>
                      <a:pt x="14" y="2507"/>
                    </a:lnTo>
                    <a:lnTo>
                      <a:pt x="20" y="2604"/>
                    </a:lnTo>
                    <a:lnTo>
                      <a:pt x="26" y="2687"/>
                    </a:lnTo>
                    <a:lnTo>
                      <a:pt x="34" y="2762"/>
                    </a:lnTo>
                    <a:lnTo>
                      <a:pt x="44" y="2824"/>
                    </a:lnTo>
                    <a:lnTo>
                      <a:pt x="56" y="2873"/>
                    </a:lnTo>
                    <a:lnTo>
                      <a:pt x="62" y="2893"/>
                    </a:lnTo>
                    <a:lnTo>
                      <a:pt x="68" y="2908"/>
                    </a:lnTo>
                    <a:lnTo>
                      <a:pt x="75" y="2922"/>
                    </a:lnTo>
                    <a:lnTo>
                      <a:pt x="83" y="2932"/>
                    </a:lnTo>
                    <a:lnTo>
                      <a:pt x="91" y="2936"/>
                    </a:lnTo>
                    <a:lnTo>
                      <a:pt x="99" y="2938"/>
                    </a:lnTo>
                    <a:lnTo>
                      <a:pt x="99" y="2938"/>
                    </a:lnTo>
                    <a:lnTo>
                      <a:pt x="107" y="2936"/>
                    </a:lnTo>
                    <a:lnTo>
                      <a:pt x="117" y="2932"/>
                    </a:lnTo>
                    <a:lnTo>
                      <a:pt x="125" y="2922"/>
                    </a:lnTo>
                    <a:lnTo>
                      <a:pt x="133" y="2908"/>
                    </a:lnTo>
                    <a:lnTo>
                      <a:pt x="139" y="2893"/>
                    </a:lnTo>
                    <a:lnTo>
                      <a:pt x="147" y="2873"/>
                    </a:lnTo>
                    <a:lnTo>
                      <a:pt x="160" y="2824"/>
                    </a:lnTo>
                    <a:lnTo>
                      <a:pt x="172" y="2762"/>
                    </a:lnTo>
                    <a:lnTo>
                      <a:pt x="182" y="2687"/>
                    </a:lnTo>
                    <a:lnTo>
                      <a:pt x="192" y="2604"/>
                    </a:lnTo>
                    <a:lnTo>
                      <a:pt x="202" y="2507"/>
                    </a:lnTo>
                    <a:lnTo>
                      <a:pt x="210" y="2405"/>
                    </a:lnTo>
                    <a:lnTo>
                      <a:pt x="216" y="2290"/>
                    </a:lnTo>
                    <a:lnTo>
                      <a:pt x="222" y="2170"/>
                    </a:lnTo>
                    <a:lnTo>
                      <a:pt x="226" y="2041"/>
                    </a:lnTo>
                    <a:lnTo>
                      <a:pt x="232" y="1765"/>
                    </a:lnTo>
                    <a:lnTo>
                      <a:pt x="234" y="1470"/>
                    </a:lnTo>
                    <a:lnTo>
                      <a:pt x="234" y="147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6" name="Freeform 314"/>
              <p:cNvSpPr>
                <a:spLocks/>
              </p:cNvSpPr>
              <p:nvPr/>
            </p:nvSpPr>
            <p:spPr bwMode="auto">
              <a:xfrm>
                <a:off x="4083049" y="1371601"/>
                <a:ext cx="2398711" cy="2397126"/>
              </a:xfrm>
              <a:custGeom>
                <a:avLst/>
                <a:gdLst>
                  <a:gd name="T0" fmla="*/ 2 w 3020"/>
                  <a:gd name="T1" fmla="*/ 1432 h 3018"/>
                  <a:gd name="T2" fmla="*/ 31 w 3020"/>
                  <a:gd name="T3" fmla="*/ 1205 h 3018"/>
                  <a:gd name="T4" fmla="*/ 92 w 3020"/>
                  <a:gd name="T5" fmla="*/ 991 h 3018"/>
                  <a:gd name="T6" fmla="*/ 183 w 3020"/>
                  <a:gd name="T7" fmla="*/ 790 h 3018"/>
                  <a:gd name="T8" fmla="*/ 300 w 3020"/>
                  <a:gd name="T9" fmla="*/ 606 h 3018"/>
                  <a:gd name="T10" fmla="*/ 442 w 3020"/>
                  <a:gd name="T11" fmla="*/ 442 h 3018"/>
                  <a:gd name="T12" fmla="*/ 608 w 3020"/>
                  <a:gd name="T13" fmla="*/ 300 h 3018"/>
                  <a:gd name="T14" fmla="*/ 792 w 3020"/>
                  <a:gd name="T15" fmla="*/ 181 h 3018"/>
                  <a:gd name="T16" fmla="*/ 991 w 3020"/>
                  <a:gd name="T17" fmla="*/ 92 h 3018"/>
                  <a:gd name="T18" fmla="*/ 1207 w 3020"/>
                  <a:gd name="T19" fmla="*/ 31 h 3018"/>
                  <a:gd name="T20" fmla="*/ 1432 w 3020"/>
                  <a:gd name="T21" fmla="*/ 2 h 3018"/>
                  <a:gd name="T22" fmla="*/ 1588 w 3020"/>
                  <a:gd name="T23" fmla="*/ 2 h 3018"/>
                  <a:gd name="T24" fmla="*/ 1813 w 3020"/>
                  <a:gd name="T25" fmla="*/ 31 h 3018"/>
                  <a:gd name="T26" fmla="*/ 2029 w 3020"/>
                  <a:gd name="T27" fmla="*/ 92 h 3018"/>
                  <a:gd name="T28" fmla="*/ 2228 w 3020"/>
                  <a:gd name="T29" fmla="*/ 181 h 3018"/>
                  <a:gd name="T30" fmla="*/ 2412 w 3020"/>
                  <a:gd name="T31" fmla="*/ 300 h 3018"/>
                  <a:gd name="T32" fmla="*/ 2578 w 3020"/>
                  <a:gd name="T33" fmla="*/ 442 h 3018"/>
                  <a:gd name="T34" fmla="*/ 2720 w 3020"/>
                  <a:gd name="T35" fmla="*/ 606 h 3018"/>
                  <a:gd name="T36" fmla="*/ 2837 w 3020"/>
                  <a:gd name="T37" fmla="*/ 790 h 3018"/>
                  <a:gd name="T38" fmla="*/ 2927 w 3020"/>
                  <a:gd name="T39" fmla="*/ 991 h 3018"/>
                  <a:gd name="T40" fmla="*/ 2989 w 3020"/>
                  <a:gd name="T41" fmla="*/ 1205 h 3018"/>
                  <a:gd name="T42" fmla="*/ 3018 w 3020"/>
                  <a:gd name="T43" fmla="*/ 1432 h 3018"/>
                  <a:gd name="T44" fmla="*/ 3018 w 3020"/>
                  <a:gd name="T45" fmla="*/ 1586 h 3018"/>
                  <a:gd name="T46" fmla="*/ 2989 w 3020"/>
                  <a:gd name="T47" fmla="*/ 1813 h 3018"/>
                  <a:gd name="T48" fmla="*/ 2927 w 3020"/>
                  <a:gd name="T49" fmla="*/ 2029 h 3018"/>
                  <a:gd name="T50" fmla="*/ 2837 w 3020"/>
                  <a:gd name="T51" fmla="*/ 2228 h 3018"/>
                  <a:gd name="T52" fmla="*/ 2720 w 3020"/>
                  <a:gd name="T53" fmla="*/ 2412 h 3018"/>
                  <a:gd name="T54" fmla="*/ 2578 w 3020"/>
                  <a:gd name="T55" fmla="*/ 2576 h 3018"/>
                  <a:gd name="T56" fmla="*/ 2412 w 3020"/>
                  <a:gd name="T57" fmla="*/ 2718 h 3018"/>
                  <a:gd name="T58" fmla="*/ 2228 w 3020"/>
                  <a:gd name="T59" fmla="*/ 2837 h 3018"/>
                  <a:gd name="T60" fmla="*/ 2029 w 3020"/>
                  <a:gd name="T61" fmla="*/ 2928 h 3018"/>
                  <a:gd name="T62" fmla="*/ 1813 w 3020"/>
                  <a:gd name="T63" fmla="*/ 2989 h 3018"/>
                  <a:gd name="T64" fmla="*/ 1588 w 3020"/>
                  <a:gd name="T65" fmla="*/ 3016 h 3018"/>
                  <a:gd name="T66" fmla="*/ 1432 w 3020"/>
                  <a:gd name="T67" fmla="*/ 3016 h 3018"/>
                  <a:gd name="T68" fmla="*/ 1207 w 3020"/>
                  <a:gd name="T69" fmla="*/ 2989 h 3018"/>
                  <a:gd name="T70" fmla="*/ 991 w 3020"/>
                  <a:gd name="T71" fmla="*/ 2928 h 3018"/>
                  <a:gd name="T72" fmla="*/ 792 w 3020"/>
                  <a:gd name="T73" fmla="*/ 2837 h 3018"/>
                  <a:gd name="T74" fmla="*/ 608 w 3020"/>
                  <a:gd name="T75" fmla="*/ 2718 h 3018"/>
                  <a:gd name="T76" fmla="*/ 442 w 3020"/>
                  <a:gd name="T77" fmla="*/ 2576 h 3018"/>
                  <a:gd name="T78" fmla="*/ 300 w 3020"/>
                  <a:gd name="T79" fmla="*/ 2412 h 3018"/>
                  <a:gd name="T80" fmla="*/ 183 w 3020"/>
                  <a:gd name="T81" fmla="*/ 2228 h 3018"/>
                  <a:gd name="T82" fmla="*/ 92 w 3020"/>
                  <a:gd name="T83" fmla="*/ 2029 h 3018"/>
                  <a:gd name="T84" fmla="*/ 31 w 3020"/>
                  <a:gd name="T85" fmla="*/ 1813 h 3018"/>
                  <a:gd name="T86" fmla="*/ 2 w 3020"/>
                  <a:gd name="T87" fmla="*/ 1586 h 3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20" h="3018">
                    <a:moveTo>
                      <a:pt x="0" y="1509"/>
                    </a:moveTo>
                    <a:lnTo>
                      <a:pt x="0" y="1509"/>
                    </a:lnTo>
                    <a:lnTo>
                      <a:pt x="2" y="1432"/>
                    </a:lnTo>
                    <a:lnTo>
                      <a:pt x="7" y="1355"/>
                    </a:lnTo>
                    <a:lnTo>
                      <a:pt x="17" y="1280"/>
                    </a:lnTo>
                    <a:lnTo>
                      <a:pt x="31" y="1205"/>
                    </a:lnTo>
                    <a:lnTo>
                      <a:pt x="47" y="1132"/>
                    </a:lnTo>
                    <a:lnTo>
                      <a:pt x="69" y="1061"/>
                    </a:lnTo>
                    <a:lnTo>
                      <a:pt x="92" y="991"/>
                    </a:lnTo>
                    <a:lnTo>
                      <a:pt x="120" y="922"/>
                    </a:lnTo>
                    <a:lnTo>
                      <a:pt x="150" y="855"/>
                    </a:lnTo>
                    <a:lnTo>
                      <a:pt x="183" y="790"/>
                    </a:lnTo>
                    <a:lnTo>
                      <a:pt x="219" y="727"/>
                    </a:lnTo>
                    <a:lnTo>
                      <a:pt x="258" y="665"/>
                    </a:lnTo>
                    <a:lnTo>
                      <a:pt x="300" y="606"/>
                    </a:lnTo>
                    <a:lnTo>
                      <a:pt x="345" y="549"/>
                    </a:lnTo>
                    <a:lnTo>
                      <a:pt x="393" y="495"/>
                    </a:lnTo>
                    <a:lnTo>
                      <a:pt x="442" y="442"/>
                    </a:lnTo>
                    <a:lnTo>
                      <a:pt x="495" y="393"/>
                    </a:lnTo>
                    <a:lnTo>
                      <a:pt x="551" y="345"/>
                    </a:lnTo>
                    <a:lnTo>
                      <a:pt x="608" y="300"/>
                    </a:lnTo>
                    <a:lnTo>
                      <a:pt x="667" y="258"/>
                    </a:lnTo>
                    <a:lnTo>
                      <a:pt x="729" y="219"/>
                    </a:lnTo>
                    <a:lnTo>
                      <a:pt x="792" y="181"/>
                    </a:lnTo>
                    <a:lnTo>
                      <a:pt x="857" y="150"/>
                    </a:lnTo>
                    <a:lnTo>
                      <a:pt x="922" y="118"/>
                    </a:lnTo>
                    <a:lnTo>
                      <a:pt x="991" y="92"/>
                    </a:lnTo>
                    <a:lnTo>
                      <a:pt x="1062" y="67"/>
                    </a:lnTo>
                    <a:lnTo>
                      <a:pt x="1134" y="47"/>
                    </a:lnTo>
                    <a:lnTo>
                      <a:pt x="1207" y="31"/>
                    </a:lnTo>
                    <a:lnTo>
                      <a:pt x="1280" y="17"/>
                    </a:lnTo>
                    <a:lnTo>
                      <a:pt x="1357" y="7"/>
                    </a:lnTo>
                    <a:lnTo>
                      <a:pt x="1432" y="2"/>
                    </a:lnTo>
                    <a:lnTo>
                      <a:pt x="1511" y="0"/>
                    </a:lnTo>
                    <a:lnTo>
                      <a:pt x="1511" y="0"/>
                    </a:lnTo>
                    <a:lnTo>
                      <a:pt x="1588" y="2"/>
                    </a:lnTo>
                    <a:lnTo>
                      <a:pt x="1665" y="7"/>
                    </a:lnTo>
                    <a:lnTo>
                      <a:pt x="1740" y="17"/>
                    </a:lnTo>
                    <a:lnTo>
                      <a:pt x="1813" y="31"/>
                    </a:lnTo>
                    <a:lnTo>
                      <a:pt x="1886" y="47"/>
                    </a:lnTo>
                    <a:lnTo>
                      <a:pt x="1959" y="67"/>
                    </a:lnTo>
                    <a:lnTo>
                      <a:pt x="2029" y="92"/>
                    </a:lnTo>
                    <a:lnTo>
                      <a:pt x="2098" y="118"/>
                    </a:lnTo>
                    <a:lnTo>
                      <a:pt x="2165" y="150"/>
                    </a:lnTo>
                    <a:lnTo>
                      <a:pt x="2228" y="181"/>
                    </a:lnTo>
                    <a:lnTo>
                      <a:pt x="2291" y="219"/>
                    </a:lnTo>
                    <a:lnTo>
                      <a:pt x="2353" y="258"/>
                    </a:lnTo>
                    <a:lnTo>
                      <a:pt x="2412" y="300"/>
                    </a:lnTo>
                    <a:lnTo>
                      <a:pt x="2469" y="345"/>
                    </a:lnTo>
                    <a:lnTo>
                      <a:pt x="2524" y="393"/>
                    </a:lnTo>
                    <a:lnTo>
                      <a:pt x="2578" y="442"/>
                    </a:lnTo>
                    <a:lnTo>
                      <a:pt x="2627" y="495"/>
                    </a:lnTo>
                    <a:lnTo>
                      <a:pt x="2675" y="549"/>
                    </a:lnTo>
                    <a:lnTo>
                      <a:pt x="2720" y="606"/>
                    </a:lnTo>
                    <a:lnTo>
                      <a:pt x="2762" y="665"/>
                    </a:lnTo>
                    <a:lnTo>
                      <a:pt x="2801" y="727"/>
                    </a:lnTo>
                    <a:lnTo>
                      <a:pt x="2837" y="790"/>
                    </a:lnTo>
                    <a:lnTo>
                      <a:pt x="2870" y="855"/>
                    </a:lnTo>
                    <a:lnTo>
                      <a:pt x="2902" y="922"/>
                    </a:lnTo>
                    <a:lnTo>
                      <a:pt x="2927" y="991"/>
                    </a:lnTo>
                    <a:lnTo>
                      <a:pt x="2951" y="1061"/>
                    </a:lnTo>
                    <a:lnTo>
                      <a:pt x="2973" y="1132"/>
                    </a:lnTo>
                    <a:lnTo>
                      <a:pt x="2989" y="1205"/>
                    </a:lnTo>
                    <a:lnTo>
                      <a:pt x="3003" y="1280"/>
                    </a:lnTo>
                    <a:lnTo>
                      <a:pt x="3012" y="1355"/>
                    </a:lnTo>
                    <a:lnTo>
                      <a:pt x="3018" y="1432"/>
                    </a:lnTo>
                    <a:lnTo>
                      <a:pt x="3020" y="1509"/>
                    </a:lnTo>
                    <a:lnTo>
                      <a:pt x="3020" y="1509"/>
                    </a:lnTo>
                    <a:lnTo>
                      <a:pt x="3018" y="1586"/>
                    </a:lnTo>
                    <a:lnTo>
                      <a:pt x="3012" y="1663"/>
                    </a:lnTo>
                    <a:lnTo>
                      <a:pt x="3003" y="1738"/>
                    </a:lnTo>
                    <a:lnTo>
                      <a:pt x="2989" y="1813"/>
                    </a:lnTo>
                    <a:lnTo>
                      <a:pt x="2973" y="1886"/>
                    </a:lnTo>
                    <a:lnTo>
                      <a:pt x="2951" y="1958"/>
                    </a:lnTo>
                    <a:lnTo>
                      <a:pt x="2927" y="2029"/>
                    </a:lnTo>
                    <a:lnTo>
                      <a:pt x="2902" y="2096"/>
                    </a:lnTo>
                    <a:lnTo>
                      <a:pt x="2870" y="2163"/>
                    </a:lnTo>
                    <a:lnTo>
                      <a:pt x="2837" y="2228"/>
                    </a:lnTo>
                    <a:lnTo>
                      <a:pt x="2801" y="2291"/>
                    </a:lnTo>
                    <a:lnTo>
                      <a:pt x="2762" y="2353"/>
                    </a:lnTo>
                    <a:lnTo>
                      <a:pt x="2720" y="2412"/>
                    </a:lnTo>
                    <a:lnTo>
                      <a:pt x="2675" y="2469"/>
                    </a:lnTo>
                    <a:lnTo>
                      <a:pt x="2627" y="2525"/>
                    </a:lnTo>
                    <a:lnTo>
                      <a:pt x="2578" y="2576"/>
                    </a:lnTo>
                    <a:lnTo>
                      <a:pt x="2524" y="2627"/>
                    </a:lnTo>
                    <a:lnTo>
                      <a:pt x="2469" y="2675"/>
                    </a:lnTo>
                    <a:lnTo>
                      <a:pt x="2412" y="2718"/>
                    </a:lnTo>
                    <a:lnTo>
                      <a:pt x="2353" y="2762"/>
                    </a:lnTo>
                    <a:lnTo>
                      <a:pt x="2291" y="2801"/>
                    </a:lnTo>
                    <a:lnTo>
                      <a:pt x="2228" y="2837"/>
                    </a:lnTo>
                    <a:lnTo>
                      <a:pt x="2165" y="2870"/>
                    </a:lnTo>
                    <a:lnTo>
                      <a:pt x="2098" y="2900"/>
                    </a:lnTo>
                    <a:lnTo>
                      <a:pt x="2029" y="2928"/>
                    </a:lnTo>
                    <a:lnTo>
                      <a:pt x="1959" y="2951"/>
                    </a:lnTo>
                    <a:lnTo>
                      <a:pt x="1886" y="2971"/>
                    </a:lnTo>
                    <a:lnTo>
                      <a:pt x="1813" y="2989"/>
                    </a:lnTo>
                    <a:lnTo>
                      <a:pt x="1740" y="3003"/>
                    </a:lnTo>
                    <a:lnTo>
                      <a:pt x="1665" y="3011"/>
                    </a:lnTo>
                    <a:lnTo>
                      <a:pt x="1588" y="3016"/>
                    </a:lnTo>
                    <a:lnTo>
                      <a:pt x="1511" y="3018"/>
                    </a:lnTo>
                    <a:lnTo>
                      <a:pt x="1511" y="3018"/>
                    </a:lnTo>
                    <a:lnTo>
                      <a:pt x="1432" y="3016"/>
                    </a:lnTo>
                    <a:lnTo>
                      <a:pt x="1357" y="3011"/>
                    </a:lnTo>
                    <a:lnTo>
                      <a:pt x="1280" y="3003"/>
                    </a:lnTo>
                    <a:lnTo>
                      <a:pt x="1207" y="2989"/>
                    </a:lnTo>
                    <a:lnTo>
                      <a:pt x="1134" y="2971"/>
                    </a:lnTo>
                    <a:lnTo>
                      <a:pt x="1062" y="2951"/>
                    </a:lnTo>
                    <a:lnTo>
                      <a:pt x="991" y="2928"/>
                    </a:lnTo>
                    <a:lnTo>
                      <a:pt x="922" y="2900"/>
                    </a:lnTo>
                    <a:lnTo>
                      <a:pt x="857" y="2870"/>
                    </a:lnTo>
                    <a:lnTo>
                      <a:pt x="792" y="2837"/>
                    </a:lnTo>
                    <a:lnTo>
                      <a:pt x="729" y="2801"/>
                    </a:lnTo>
                    <a:lnTo>
                      <a:pt x="667" y="2762"/>
                    </a:lnTo>
                    <a:lnTo>
                      <a:pt x="608" y="2718"/>
                    </a:lnTo>
                    <a:lnTo>
                      <a:pt x="551" y="2675"/>
                    </a:lnTo>
                    <a:lnTo>
                      <a:pt x="495" y="2627"/>
                    </a:lnTo>
                    <a:lnTo>
                      <a:pt x="442" y="2576"/>
                    </a:lnTo>
                    <a:lnTo>
                      <a:pt x="393" y="2525"/>
                    </a:lnTo>
                    <a:lnTo>
                      <a:pt x="345" y="2469"/>
                    </a:lnTo>
                    <a:lnTo>
                      <a:pt x="300" y="2412"/>
                    </a:lnTo>
                    <a:lnTo>
                      <a:pt x="258" y="2353"/>
                    </a:lnTo>
                    <a:lnTo>
                      <a:pt x="219" y="2291"/>
                    </a:lnTo>
                    <a:lnTo>
                      <a:pt x="183" y="2228"/>
                    </a:lnTo>
                    <a:lnTo>
                      <a:pt x="150" y="2163"/>
                    </a:lnTo>
                    <a:lnTo>
                      <a:pt x="120" y="2096"/>
                    </a:lnTo>
                    <a:lnTo>
                      <a:pt x="92" y="2029"/>
                    </a:lnTo>
                    <a:lnTo>
                      <a:pt x="69" y="1958"/>
                    </a:lnTo>
                    <a:lnTo>
                      <a:pt x="47" y="1886"/>
                    </a:lnTo>
                    <a:lnTo>
                      <a:pt x="31" y="1813"/>
                    </a:lnTo>
                    <a:lnTo>
                      <a:pt x="17" y="1738"/>
                    </a:lnTo>
                    <a:lnTo>
                      <a:pt x="7" y="1663"/>
                    </a:lnTo>
                    <a:lnTo>
                      <a:pt x="2" y="1586"/>
                    </a:lnTo>
                    <a:lnTo>
                      <a:pt x="0" y="1509"/>
                    </a:lnTo>
                    <a:lnTo>
                      <a:pt x="0" y="1509"/>
                    </a:lnTo>
                    <a:close/>
                  </a:path>
                </a:pathLst>
              </a:custGeom>
              <a:solidFill>
                <a:srgbClr val="B7B7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7" name="Freeform 315"/>
              <p:cNvSpPr>
                <a:spLocks/>
              </p:cNvSpPr>
              <p:nvPr/>
            </p:nvSpPr>
            <p:spPr bwMode="auto">
              <a:xfrm>
                <a:off x="4186238" y="1474787"/>
                <a:ext cx="2190751" cy="2190750"/>
              </a:xfrm>
              <a:custGeom>
                <a:avLst/>
                <a:gdLst>
                  <a:gd name="T0" fmla="*/ 1310 w 2760"/>
                  <a:gd name="T1" fmla="*/ 2758 h 2758"/>
                  <a:gd name="T2" fmla="*/ 1102 w 2760"/>
                  <a:gd name="T3" fmla="*/ 2730 h 2758"/>
                  <a:gd name="T4" fmla="*/ 905 w 2760"/>
                  <a:gd name="T5" fmla="*/ 2675 h 2758"/>
                  <a:gd name="T6" fmla="*/ 723 w 2760"/>
                  <a:gd name="T7" fmla="*/ 2592 h 2758"/>
                  <a:gd name="T8" fmla="*/ 555 w 2760"/>
                  <a:gd name="T9" fmla="*/ 2485 h 2758"/>
                  <a:gd name="T10" fmla="*/ 405 w 2760"/>
                  <a:gd name="T11" fmla="*/ 2355 h 2758"/>
                  <a:gd name="T12" fmla="*/ 275 w 2760"/>
                  <a:gd name="T13" fmla="*/ 2205 h 2758"/>
                  <a:gd name="T14" fmla="*/ 168 w 2760"/>
                  <a:gd name="T15" fmla="*/ 2037 h 2758"/>
                  <a:gd name="T16" fmla="*/ 85 w 2760"/>
                  <a:gd name="T17" fmla="*/ 1853 h 2758"/>
                  <a:gd name="T18" fmla="*/ 28 w 2760"/>
                  <a:gd name="T19" fmla="*/ 1658 h 2758"/>
                  <a:gd name="T20" fmla="*/ 2 w 2760"/>
                  <a:gd name="T21" fmla="*/ 1450 h 2758"/>
                  <a:gd name="T22" fmla="*/ 2 w 2760"/>
                  <a:gd name="T23" fmla="*/ 1308 h 2758"/>
                  <a:gd name="T24" fmla="*/ 28 w 2760"/>
                  <a:gd name="T25" fmla="*/ 1100 h 2758"/>
                  <a:gd name="T26" fmla="*/ 85 w 2760"/>
                  <a:gd name="T27" fmla="*/ 905 h 2758"/>
                  <a:gd name="T28" fmla="*/ 168 w 2760"/>
                  <a:gd name="T29" fmla="*/ 721 h 2758"/>
                  <a:gd name="T30" fmla="*/ 275 w 2760"/>
                  <a:gd name="T31" fmla="*/ 553 h 2758"/>
                  <a:gd name="T32" fmla="*/ 405 w 2760"/>
                  <a:gd name="T33" fmla="*/ 403 h 2758"/>
                  <a:gd name="T34" fmla="*/ 555 w 2760"/>
                  <a:gd name="T35" fmla="*/ 275 h 2758"/>
                  <a:gd name="T36" fmla="*/ 723 w 2760"/>
                  <a:gd name="T37" fmla="*/ 166 h 2758"/>
                  <a:gd name="T38" fmla="*/ 905 w 2760"/>
                  <a:gd name="T39" fmla="*/ 83 h 2758"/>
                  <a:gd name="T40" fmla="*/ 1102 w 2760"/>
                  <a:gd name="T41" fmla="*/ 28 h 2758"/>
                  <a:gd name="T42" fmla="*/ 1310 w 2760"/>
                  <a:gd name="T43" fmla="*/ 2 h 2758"/>
                  <a:gd name="T44" fmla="*/ 1450 w 2760"/>
                  <a:gd name="T45" fmla="*/ 2 h 2758"/>
                  <a:gd name="T46" fmla="*/ 1658 w 2760"/>
                  <a:gd name="T47" fmla="*/ 28 h 2758"/>
                  <a:gd name="T48" fmla="*/ 1855 w 2760"/>
                  <a:gd name="T49" fmla="*/ 83 h 2758"/>
                  <a:gd name="T50" fmla="*/ 2037 w 2760"/>
                  <a:gd name="T51" fmla="*/ 166 h 2758"/>
                  <a:gd name="T52" fmla="*/ 2205 w 2760"/>
                  <a:gd name="T53" fmla="*/ 275 h 2758"/>
                  <a:gd name="T54" fmla="*/ 2355 w 2760"/>
                  <a:gd name="T55" fmla="*/ 403 h 2758"/>
                  <a:gd name="T56" fmla="*/ 2485 w 2760"/>
                  <a:gd name="T57" fmla="*/ 553 h 2758"/>
                  <a:gd name="T58" fmla="*/ 2592 w 2760"/>
                  <a:gd name="T59" fmla="*/ 721 h 2758"/>
                  <a:gd name="T60" fmla="*/ 2675 w 2760"/>
                  <a:gd name="T61" fmla="*/ 905 h 2758"/>
                  <a:gd name="T62" fmla="*/ 2732 w 2760"/>
                  <a:gd name="T63" fmla="*/ 1100 h 2758"/>
                  <a:gd name="T64" fmla="*/ 2758 w 2760"/>
                  <a:gd name="T65" fmla="*/ 1308 h 2758"/>
                  <a:gd name="T66" fmla="*/ 2758 w 2760"/>
                  <a:gd name="T67" fmla="*/ 1450 h 2758"/>
                  <a:gd name="T68" fmla="*/ 2732 w 2760"/>
                  <a:gd name="T69" fmla="*/ 1658 h 2758"/>
                  <a:gd name="T70" fmla="*/ 2675 w 2760"/>
                  <a:gd name="T71" fmla="*/ 1853 h 2758"/>
                  <a:gd name="T72" fmla="*/ 2592 w 2760"/>
                  <a:gd name="T73" fmla="*/ 2037 h 2758"/>
                  <a:gd name="T74" fmla="*/ 2485 w 2760"/>
                  <a:gd name="T75" fmla="*/ 2205 h 2758"/>
                  <a:gd name="T76" fmla="*/ 2355 w 2760"/>
                  <a:gd name="T77" fmla="*/ 2355 h 2758"/>
                  <a:gd name="T78" fmla="*/ 2205 w 2760"/>
                  <a:gd name="T79" fmla="*/ 2485 h 2758"/>
                  <a:gd name="T80" fmla="*/ 2037 w 2760"/>
                  <a:gd name="T81" fmla="*/ 2592 h 2758"/>
                  <a:gd name="T82" fmla="*/ 1855 w 2760"/>
                  <a:gd name="T83" fmla="*/ 2675 h 2758"/>
                  <a:gd name="T84" fmla="*/ 1658 w 2760"/>
                  <a:gd name="T85" fmla="*/ 2730 h 2758"/>
                  <a:gd name="T86" fmla="*/ 1450 w 2760"/>
                  <a:gd name="T87" fmla="*/ 2758 h 2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60" h="2758">
                    <a:moveTo>
                      <a:pt x="1381" y="2758"/>
                    </a:moveTo>
                    <a:lnTo>
                      <a:pt x="1381" y="2758"/>
                    </a:lnTo>
                    <a:lnTo>
                      <a:pt x="1310" y="2758"/>
                    </a:lnTo>
                    <a:lnTo>
                      <a:pt x="1239" y="2752"/>
                    </a:lnTo>
                    <a:lnTo>
                      <a:pt x="1170" y="2742"/>
                    </a:lnTo>
                    <a:lnTo>
                      <a:pt x="1102" y="2730"/>
                    </a:lnTo>
                    <a:lnTo>
                      <a:pt x="1035" y="2715"/>
                    </a:lnTo>
                    <a:lnTo>
                      <a:pt x="970" y="2697"/>
                    </a:lnTo>
                    <a:lnTo>
                      <a:pt x="905" y="2675"/>
                    </a:lnTo>
                    <a:lnTo>
                      <a:pt x="844" y="2651"/>
                    </a:lnTo>
                    <a:lnTo>
                      <a:pt x="782" y="2624"/>
                    </a:lnTo>
                    <a:lnTo>
                      <a:pt x="723" y="2592"/>
                    </a:lnTo>
                    <a:lnTo>
                      <a:pt x="664" y="2559"/>
                    </a:lnTo>
                    <a:lnTo>
                      <a:pt x="608" y="2523"/>
                    </a:lnTo>
                    <a:lnTo>
                      <a:pt x="555" y="2485"/>
                    </a:lnTo>
                    <a:lnTo>
                      <a:pt x="502" y="2444"/>
                    </a:lnTo>
                    <a:lnTo>
                      <a:pt x="452" y="2400"/>
                    </a:lnTo>
                    <a:lnTo>
                      <a:pt x="405" y="2355"/>
                    </a:lnTo>
                    <a:lnTo>
                      <a:pt x="360" y="2308"/>
                    </a:lnTo>
                    <a:lnTo>
                      <a:pt x="316" y="2256"/>
                    </a:lnTo>
                    <a:lnTo>
                      <a:pt x="275" y="2205"/>
                    </a:lnTo>
                    <a:lnTo>
                      <a:pt x="237" y="2152"/>
                    </a:lnTo>
                    <a:lnTo>
                      <a:pt x="200" y="2094"/>
                    </a:lnTo>
                    <a:lnTo>
                      <a:pt x="168" y="2037"/>
                    </a:lnTo>
                    <a:lnTo>
                      <a:pt x="136" y="1978"/>
                    </a:lnTo>
                    <a:lnTo>
                      <a:pt x="109" y="1916"/>
                    </a:lnTo>
                    <a:lnTo>
                      <a:pt x="85" y="1853"/>
                    </a:lnTo>
                    <a:lnTo>
                      <a:pt x="63" y="1790"/>
                    </a:lnTo>
                    <a:lnTo>
                      <a:pt x="43" y="1725"/>
                    </a:lnTo>
                    <a:lnTo>
                      <a:pt x="28" y="1658"/>
                    </a:lnTo>
                    <a:lnTo>
                      <a:pt x="16" y="1590"/>
                    </a:lnTo>
                    <a:lnTo>
                      <a:pt x="8" y="1521"/>
                    </a:lnTo>
                    <a:lnTo>
                      <a:pt x="2" y="1450"/>
                    </a:lnTo>
                    <a:lnTo>
                      <a:pt x="0" y="1379"/>
                    </a:lnTo>
                    <a:lnTo>
                      <a:pt x="0" y="1379"/>
                    </a:lnTo>
                    <a:lnTo>
                      <a:pt x="2" y="1308"/>
                    </a:lnTo>
                    <a:lnTo>
                      <a:pt x="8" y="1239"/>
                    </a:lnTo>
                    <a:lnTo>
                      <a:pt x="16" y="1170"/>
                    </a:lnTo>
                    <a:lnTo>
                      <a:pt x="28" y="1100"/>
                    </a:lnTo>
                    <a:lnTo>
                      <a:pt x="43" y="1035"/>
                    </a:lnTo>
                    <a:lnTo>
                      <a:pt x="63" y="970"/>
                    </a:lnTo>
                    <a:lnTo>
                      <a:pt x="85" y="905"/>
                    </a:lnTo>
                    <a:lnTo>
                      <a:pt x="109" y="842"/>
                    </a:lnTo>
                    <a:lnTo>
                      <a:pt x="136" y="780"/>
                    </a:lnTo>
                    <a:lnTo>
                      <a:pt x="168" y="721"/>
                    </a:lnTo>
                    <a:lnTo>
                      <a:pt x="200" y="664"/>
                    </a:lnTo>
                    <a:lnTo>
                      <a:pt x="237" y="608"/>
                    </a:lnTo>
                    <a:lnTo>
                      <a:pt x="275" y="553"/>
                    </a:lnTo>
                    <a:lnTo>
                      <a:pt x="316" y="502"/>
                    </a:lnTo>
                    <a:lnTo>
                      <a:pt x="360" y="452"/>
                    </a:lnTo>
                    <a:lnTo>
                      <a:pt x="405" y="403"/>
                    </a:lnTo>
                    <a:lnTo>
                      <a:pt x="452" y="358"/>
                    </a:lnTo>
                    <a:lnTo>
                      <a:pt x="502" y="314"/>
                    </a:lnTo>
                    <a:lnTo>
                      <a:pt x="555" y="275"/>
                    </a:lnTo>
                    <a:lnTo>
                      <a:pt x="608" y="235"/>
                    </a:lnTo>
                    <a:lnTo>
                      <a:pt x="664" y="200"/>
                    </a:lnTo>
                    <a:lnTo>
                      <a:pt x="723" y="166"/>
                    </a:lnTo>
                    <a:lnTo>
                      <a:pt x="782" y="136"/>
                    </a:lnTo>
                    <a:lnTo>
                      <a:pt x="844" y="109"/>
                    </a:lnTo>
                    <a:lnTo>
                      <a:pt x="905" y="83"/>
                    </a:lnTo>
                    <a:lnTo>
                      <a:pt x="970" y="61"/>
                    </a:lnTo>
                    <a:lnTo>
                      <a:pt x="1035" y="43"/>
                    </a:lnTo>
                    <a:lnTo>
                      <a:pt x="1102" y="28"/>
                    </a:lnTo>
                    <a:lnTo>
                      <a:pt x="1170" y="16"/>
                    </a:lnTo>
                    <a:lnTo>
                      <a:pt x="1239" y="8"/>
                    </a:lnTo>
                    <a:lnTo>
                      <a:pt x="1310" y="2"/>
                    </a:lnTo>
                    <a:lnTo>
                      <a:pt x="1381" y="0"/>
                    </a:lnTo>
                    <a:lnTo>
                      <a:pt x="1381" y="0"/>
                    </a:lnTo>
                    <a:lnTo>
                      <a:pt x="1450" y="2"/>
                    </a:lnTo>
                    <a:lnTo>
                      <a:pt x="1521" y="8"/>
                    </a:lnTo>
                    <a:lnTo>
                      <a:pt x="1590" y="16"/>
                    </a:lnTo>
                    <a:lnTo>
                      <a:pt x="1658" y="28"/>
                    </a:lnTo>
                    <a:lnTo>
                      <a:pt x="1725" y="43"/>
                    </a:lnTo>
                    <a:lnTo>
                      <a:pt x="1790" y="61"/>
                    </a:lnTo>
                    <a:lnTo>
                      <a:pt x="1855" y="83"/>
                    </a:lnTo>
                    <a:lnTo>
                      <a:pt x="1916" y="109"/>
                    </a:lnTo>
                    <a:lnTo>
                      <a:pt x="1978" y="136"/>
                    </a:lnTo>
                    <a:lnTo>
                      <a:pt x="2037" y="166"/>
                    </a:lnTo>
                    <a:lnTo>
                      <a:pt x="2096" y="200"/>
                    </a:lnTo>
                    <a:lnTo>
                      <a:pt x="2151" y="235"/>
                    </a:lnTo>
                    <a:lnTo>
                      <a:pt x="2205" y="275"/>
                    </a:lnTo>
                    <a:lnTo>
                      <a:pt x="2258" y="314"/>
                    </a:lnTo>
                    <a:lnTo>
                      <a:pt x="2308" y="358"/>
                    </a:lnTo>
                    <a:lnTo>
                      <a:pt x="2355" y="403"/>
                    </a:lnTo>
                    <a:lnTo>
                      <a:pt x="2400" y="452"/>
                    </a:lnTo>
                    <a:lnTo>
                      <a:pt x="2444" y="502"/>
                    </a:lnTo>
                    <a:lnTo>
                      <a:pt x="2485" y="553"/>
                    </a:lnTo>
                    <a:lnTo>
                      <a:pt x="2525" y="608"/>
                    </a:lnTo>
                    <a:lnTo>
                      <a:pt x="2560" y="664"/>
                    </a:lnTo>
                    <a:lnTo>
                      <a:pt x="2592" y="721"/>
                    </a:lnTo>
                    <a:lnTo>
                      <a:pt x="2624" y="780"/>
                    </a:lnTo>
                    <a:lnTo>
                      <a:pt x="2651" y="842"/>
                    </a:lnTo>
                    <a:lnTo>
                      <a:pt x="2675" y="905"/>
                    </a:lnTo>
                    <a:lnTo>
                      <a:pt x="2697" y="970"/>
                    </a:lnTo>
                    <a:lnTo>
                      <a:pt x="2716" y="1035"/>
                    </a:lnTo>
                    <a:lnTo>
                      <a:pt x="2732" y="1100"/>
                    </a:lnTo>
                    <a:lnTo>
                      <a:pt x="2744" y="1170"/>
                    </a:lnTo>
                    <a:lnTo>
                      <a:pt x="2752" y="1239"/>
                    </a:lnTo>
                    <a:lnTo>
                      <a:pt x="2758" y="1308"/>
                    </a:lnTo>
                    <a:lnTo>
                      <a:pt x="2760" y="1379"/>
                    </a:lnTo>
                    <a:lnTo>
                      <a:pt x="2760" y="1379"/>
                    </a:lnTo>
                    <a:lnTo>
                      <a:pt x="2758" y="1450"/>
                    </a:lnTo>
                    <a:lnTo>
                      <a:pt x="2752" y="1521"/>
                    </a:lnTo>
                    <a:lnTo>
                      <a:pt x="2744" y="1590"/>
                    </a:lnTo>
                    <a:lnTo>
                      <a:pt x="2732" y="1658"/>
                    </a:lnTo>
                    <a:lnTo>
                      <a:pt x="2716" y="1725"/>
                    </a:lnTo>
                    <a:lnTo>
                      <a:pt x="2697" y="1790"/>
                    </a:lnTo>
                    <a:lnTo>
                      <a:pt x="2675" y="1853"/>
                    </a:lnTo>
                    <a:lnTo>
                      <a:pt x="2651" y="1916"/>
                    </a:lnTo>
                    <a:lnTo>
                      <a:pt x="2624" y="1978"/>
                    </a:lnTo>
                    <a:lnTo>
                      <a:pt x="2592" y="2037"/>
                    </a:lnTo>
                    <a:lnTo>
                      <a:pt x="2560" y="2094"/>
                    </a:lnTo>
                    <a:lnTo>
                      <a:pt x="2525" y="2152"/>
                    </a:lnTo>
                    <a:lnTo>
                      <a:pt x="2485" y="2205"/>
                    </a:lnTo>
                    <a:lnTo>
                      <a:pt x="2444" y="2256"/>
                    </a:lnTo>
                    <a:lnTo>
                      <a:pt x="2400" y="2308"/>
                    </a:lnTo>
                    <a:lnTo>
                      <a:pt x="2355" y="2355"/>
                    </a:lnTo>
                    <a:lnTo>
                      <a:pt x="2308" y="2400"/>
                    </a:lnTo>
                    <a:lnTo>
                      <a:pt x="2258" y="2444"/>
                    </a:lnTo>
                    <a:lnTo>
                      <a:pt x="2205" y="2485"/>
                    </a:lnTo>
                    <a:lnTo>
                      <a:pt x="2151" y="2523"/>
                    </a:lnTo>
                    <a:lnTo>
                      <a:pt x="2096" y="2559"/>
                    </a:lnTo>
                    <a:lnTo>
                      <a:pt x="2037" y="2592"/>
                    </a:lnTo>
                    <a:lnTo>
                      <a:pt x="1978" y="2624"/>
                    </a:lnTo>
                    <a:lnTo>
                      <a:pt x="1916" y="2651"/>
                    </a:lnTo>
                    <a:lnTo>
                      <a:pt x="1855" y="2675"/>
                    </a:lnTo>
                    <a:lnTo>
                      <a:pt x="1790" y="2697"/>
                    </a:lnTo>
                    <a:lnTo>
                      <a:pt x="1725" y="2715"/>
                    </a:lnTo>
                    <a:lnTo>
                      <a:pt x="1658" y="2730"/>
                    </a:lnTo>
                    <a:lnTo>
                      <a:pt x="1590" y="2742"/>
                    </a:lnTo>
                    <a:lnTo>
                      <a:pt x="1521" y="2752"/>
                    </a:lnTo>
                    <a:lnTo>
                      <a:pt x="1450" y="2758"/>
                    </a:lnTo>
                    <a:lnTo>
                      <a:pt x="1381" y="2758"/>
                    </a:lnTo>
                    <a:lnTo>
                      <a:pt x="1381" y="2758"/>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8" name="Freeform 316"/>
              <p:cNvSpPr>
                <a:spLocks/>
              </p:cNvSpPr>
              <p:nvPr/>
            </p:nvSpPr>
            <p:spPr bwMode="auto">
              <a:xfrm>
                <a:off x="4416423" y="1704974"/>
                <a:ext cx="1731962" cy="1730376"/>
              </a:xfrm>
              <a:custGeom>
                <a:avLst/>
                <a:gdLst>
                  <a:gd name="T0" fmla="*/ 1036 w 2184"/>
                  <a:gd name="T1" fmla="*/ 2182 h 2182"/>
                  <a:gd name="T2" fmla="*/ 872 w 2184"/>
                  <a:gd name="T3" fmla="*/ 2160 h 2182"/>
                  <a:gd name="T4" fmla="*/ 718 w 2184"/>
                  <a:gd name="T5" fmla="*/ 2116 h 2182"/>
                  <a:gd name="T6" fmla="*/ 571 w 2184"/>
                  <a:gd name="T7" fmla="*/ 2051 h 2182"/>
                  <a:gd name="T8" fmla="*/ 439 w 2184"/>
                  <a:gd name="T9" fmla="*/ 1966 h 2182"/>
                  <a:gd name="T10" fmla="*/ 320 w 2184"/>
                  <a:gd name="T11" fmla="*/ 1864 h 2182"/>
                  <a:gd name="T12" fmla="*/ 218 w 2184"/>
                  <a:gd name="T13" fmla="*/ 1745 h 2182"/>
                  <a:gd name="T14" fmla="*/ 133 w 2184"/>
                  <a:gd name="T15" fmla="*/ 1611 h 2182"/>
                  <a:gd name="T16" fmla="*/ 68 w 2184"/>
                  <a:gd name="T17" fmla="*/ 1466 h 2182"/>
                  <a:gd name="T18" fmla="*/ 24 w 2184"/>
                  <a:gd name="T19" fmla="*/ 1310 h 2182"/>
                  <a:gd name="T20" fmla="*/ 2 w 2184"/>
                  <a:gd name="T21" fmla="*/ 1148 h 2182"/>
                  <a:gd name="T22" fmla="*/ 2 w 2184"/>
                  <a:gd name="T23" fmla="*/ 1036 h 2182"/>
                  <a:gd name="T24" fmla="*/ 24 w 2184"/>
                  <a:gd name="T25" fmla="*/ 872 h 2182"/>
                  <a:gd name="T26" fmla="*/ 68 w 2184"/>
                  <a:gd name="T27" fmla="*/ 716 h 2182"/>
                  <a:gd name="T28" fmla="*/ 133 w 2184"/>
                  <a:gd name="T29" fmla="*/ 571 h 2182"/>
                  <a:gd name="T30" fmla="*/ 218 w 2184"/>
                  <a:gd name="T31" fmla="*/ 439 h 2182"/>
                  <a:gd name="T32" fmla="*/ 320 w 2184"/>
                  <a:gd name="T33" fmla="*/ 320 h 2182"/>
                  <a:gd name="T34" fmla="*/ 439 w 2184"/>
                  <a:gd name="T35" fmla="*/ 218 h 2182"/>
                  <a:gd name="T36" fmla="*/ 571 w 2184"/>
                  <a:gd name="T37" fmla="*/ 133 h 2182"/>
                  <a:gd name="T38" fmla="*/ 718 w 2184"/>
                  <a:gd name="T39" fmla="*/ 68 h 2182"/>
                  <a:gd name="T40" fmla="*/ 872 w 2184"/>
                  <a:gd name="T41" fmla="*/ 22 h 2182"/>
                  <a:gd name="T42" fmla="*/ 1036 w 2184"/>
                  <a:gd name="T43" fmla="*/ 2 h 2182"/>
                  <a:gd name="T44" fmla="*/ 1148 w 2184"/>
                  <a:gd name="T45" fmla="*/ 2 h 2182"/>
                  <a:gd name="T46" fmla="*/ 1312 w 2184"/>
                  <a:gd name="T47" fmla="*/ 22 h 2182"/>
                  <a:gd name="T48" fmla="*/ 1466 w 2184"/>
                  <a:gd name="T49" fmla="*/ 68 h 2182"/>
                  <a:gd name="T50" fmla="*/ 1613 w 2184"/>
                  <a:gd name="T51" fmla="*/ 133 h 2182"/>
                  <a:gd name="T52" fmla="*/ 1745 w 2184"/>
                  <a:gd name="T53" fmla="*/ 218 h 2182"/>
                  <a:gd name="T54" fmla="*/ 1863 w 2184"/>
                  <a:gd name="T55" fmla="*/ 320 h 2182"/>
                  <a:gd name="T56" fmla="*/ 1966 w 2184"/>
                  <a:gd name="T57" fmla="*/ 439 h 2182"/>
                  <a:gd name="T58" fmla="*/ 2051 w 2184"/>
                  <a:gd name="T59" fmla="*/ 571 h 2182"/>
                  <a:gd name="T60" fmla="*/ 2116 w 2184"/>
                  <a:gd name="T61" fmla="*/ 716 h 2182"/>
                  <a:gd name="T62" fmla="*/ 2160 w 2184"/>
                  <a:gd name="T63" fmla="*/ 872 h 2182"/>
                  <a:gd name="T64" fmla="*/ 2182 w 2184"/>
                  <a:gd name="T65" fmla="*/ 1036 h 2182"/>
                  <a:gd name="T66" fmla="*/ 2182 w 2184"/>
                  <a:gd name="T67" fmla="*/ 1148 h 2182"/>
                  <a:gd name="T68" fmla="*/ 2160 w 2184"/>
                  <a:gd name="T69" fmla="*/ 1310 h 2182"/>
                  <a:gd name="T70" fmla="*/ 2116 w 2184"/>
                  <a:gd name="T71" fmla="*/ 1466 h 2182"/>
                  <a:gd name="T72" fmla="*/ 2051 w 2184"/>
                  <a:gd name="T73" fmla="*/ 1611 h 2182"/>
                  <a:gd name="T74" fmla="*/ 1966 w 2184"/>
                  <a:gd name="T75" fmla="*/ 1745 h 2182"/>
                  <a:gd name="T76" fmla="*/ 1863 w 2184"/>
                  <a:gd name="T77" fmla="*/ 1864 h 2182"/>
                  <a:gd name="T78" fmla="*/ 1745 w 2184"/>
                  <a:gd name="T79" fmla="*/ 1966 h 2182"/>
                  <a:gd name="T80" fmla="*/ 1613 w 2184"/>
                  <a:gd name="T81" fmla="*/ 2051 h 2182"/>
                  <a:gd name="T82" fmla="*/ 1466 w 2184"/>
                  <a:gd name="T83" fmla="*/ 2116 h 2182"/>
                  <a:gd name="T84" fmla="*/ 1312 w 2184"/>
                  <a:gd name="T85" fmla="*/ 2160 h 2182"/>
                  <a:gd name="T86" fmla="*/ 1148 w 2184"/>
                  <a:gd name="T87" fmla="*/ 2182 h 2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84" h="2182">
                    <a:moveTo>
                      <a:pt x="1093" y="2182"/>
                    </a:moveTo>
                    <a:lnTo>
                      <a:pt x="1093" y="2182"/>
                    </a:lnTo>
                    <a:lnTo>
                      <a:pt x="1036" y="2182"/>
                    </a:lnTo>
                    <a:lnTo>
                      <a:pt x="980" y="2178"/>
                    </a:lnTo>
                    <a:lnTo>
                      <a:pt x="925" y="2170"/>
                    </a:lnTo>
                    <a:lnTo>
                      <a:pt x="872" y="2160"/>
                    </a:lnTo>
                    <a:lnTo>
                      <a:pt x="820" y="2148"/>
                    </a:lnTo>
                    <a:lnTo>
                      <a:pt x="767" y="2134"/>
                    </a:lnTo>
                    <a:lnTo>
                      <a:pt x="718" y="2116"/>
                    </a:lnTo>
                    <a:lnTo>
                      <a:pt x="668" y="2097"/>
                    </a:lnTo>
                    <a:lnTo>
                      <a:pt x="619" y="2075"/>
                    </a:lnTo>
                    <a:lnTo>
                      <a:pt x="571" y="2051"/>
                    </a:lnTo>
                    <a:lnTo>
                      <a:pt x="526" y="2024"/>
                    </a:lnTo>
                    <a:lnTo>
                      <a:pt x="482" y="1996"/>
                    </a:lnTo>
                    <a:lnTo>
                      <a:pt x="439" y="1966"/>
                    </a:lnTo>
                    <a:lnTo>
                      <a:pt x="398" y="1933"/>
                    </a:lnTo>
                    <a:lnTo>
                      <a:pt x="358" y="1899"/>
                    </a:lnTo>
                    <a:lnTo>
                      <a:pt x="320" y="1864"/>
                    </a:lnTo>
                    <a:lnTo>
                      <a:pt x="285" y="1824"/>
                    </a:lnTo>
                    <a:lnTo>
                      <a:pt x="249" y="1785"/>
                    </a:lnTo>
                    <a:lnTo>
                      <a:pt x="218" y="1745"/>
                    </a:lnTo>
                    <a:lnTo>
                      <a:pt x="188" y="1702"/>
                    </a:lnTo>
                    <a:lnTo>
                      <a:pt x="158" y="1656"/>
                    </a:lnTo>
                    <a:lnTo>
                      <a:pt x="133" y="1611"/>
                    </a:lnTo>
                    <a:lnTo>
                      <a:pt x="109" y="1565"/>
                    </a:lnTo>
                    <a:lnTo>
                      <a:pt x="87" y="1516"/>
                    </a:lnTo>
                    <a:lnTo>
                      <a:pt x="68" y="1466"/>
                    </a:lnTo>
                    <a:lnTo>
                      <a:pt x="50" y="1415"/>
                    </a:lnTo>
                    <a:lnTo>
                      <a:pt x="36" y="1364"/>
                    </a:lnTo>
                    <a:lnTo>
                      <a:pt x="24" y="1310"/>
                    </a:lnTo>
                    <a:lnTo>
                      <a:pt x="14" y="1257"/>
                    </a:lnTo>
                    <a:lnTo>
                      <a:pt x="6" y="1204"/>
                    </a:lnTo>
                    <a:lnTo>
                      <a:pt x="2" y="1148"/>
                    </a:lnTo>
                    <a:lnTo>
                      <a:pt x="0" y="1091"/>
                    </a:lnTo>
                    <a:lnTo>
                      <a:pt x="0" y="1091"/>
                    </a:lnTo>
                    <a:lnTo>
                      <a:pt x="2" y="1036"/>
                    </a:lnTo>
                    <a:lnTo>
                      <a:pt x="6" y="980"/>
                    </a:lnTo>
                    <a:lnTo>
                      <a:pt x="14" y="925"/>
                    </a:lnTo>
                    <a:lnTo>
                      <a:pt x="24" y="872"/>
                    </a:lnTo>
                    <a:lnTo>
                      <a:pt x="36" y="818"/>
                    </a:lnTo>
                    <a:lnTo>
                      <a:pt x="50" y="767"/>
                    </a:lnTo>
                    <a:lnTo>
                      <a:pt x="68" y="716"/>
                    </a:lnTo>
                    <a:lnTo>
                      <a:pt x="87" y="666"/>
                    </a:lnTo>
                    <a:lnTo>
                      <a:pt x="109" y="619"/>
                    </a:lnTo>
                    <a:lnTo>
                      <a:pt x="133" y="571"/>
                    </a:lnTo>
                    <a:lnTo>
                      <a:pt x="158" y="526"/>
                    </a:lnTo>
                    <a:lnTo>
                      <a:pt x="188" y="481"/>
                    </a:lnTo>
                    <a:lnTo>
                      <a:pt x="218" y="439"/>
                    </a:lnTo>
                    <a:lnTo>
                      <a:pt x="249" y="398"/>
                    </a:lnTo>
                    <a:lnTo>
                      <a:pt x="285" y="358"/>
                    </a:lnTo>
                    <a:lnTo>
                      <a:pt x="320" y="320"/>
                    </a:lnTo>
                    <a:lnTo>
                      <a:pt x="358" y="283"/>
                    </a:lnTo>
                    <a:lnTo>
                      <a:pt x="398" y="249"/>
                    </a:lnTo>
                    <a:lnTo>
                      <a:pt x="439" y="218"/>
                    </a:lnTo>
                    <a:lnTo>
                      <a:pt x="482" y="186"/>
                    </a:lnTo>
                    <a:lnTo>
                      <a:pt x="526" y="158"/>
                    </a:lnTo>
                    <a:lnTo>
                      <a:pt x="571" y="133"/>
                    </a:lnTo>
                    <a:lnTo>
                      <a:pt x="619" y="107"/>
                    </a:lnTo>
                    <a:lnTo>
                      <a:pt x="668" y="85"/>
                    </a:lnTo>
                    <a:lnTo>
                      <a:pt x="718" y="68"/>
                    </a:lnTo>
                    <a:lnTo>
                      <a:pt x="767" y="50"/>
                    </a:lnTo>
                    <a:lnTo>
                      <a:pt x="820" y="34"/>
                    </a:lnTo>
                    <a:lnTo>
                      <a:pt x="872" y="22"/>
                    </a:lnTo>
                    <a:lnTo>
                      <a:pt x="925" y="12"/>
                    </a:lnTo>
                    <a:lnTo>
                      <a:pt x="980" y="6"/>
                    </a:lnTo>
                    <a:lnTo>
                      <a:pt x="1036" y="2"/>
                    </a:lnTo>
                    <a:lnTo>
                      <a:pt x="1093" y="0"/>
                    </a:lnTo>
                    <a:lnTo>
                      <a:pt x="1093" y="0"/>
                    </a:lnTo>
                    <a:lnTo>
                      <a:pt x="1148" y="2"/>
                    </a:lnTo>
                    <a:lnTo>
                      <a:pt x="1204" y="6"/>
                    </a:lnTo>
                    <a:lnTo>
                      <a:pt x="1259" y="12"/>
                    </a:lnTo>
                    <a:lnTo>
                      <a:pt x="1312" y="22"/>
                    </a:lnTo>
                    <a:lnTo>
                      <a:pt x="1366" y="34"/>
                    </a:lnTo>
                    <a:lnTo>
                      <a:pt x="1417" y="50"/>
                    </a:lnTo>
                    <a:lnTo>
                      <a:pt x="1466" y="68"/>
                    </a:lnTo>
                    <a:lnTo>
                      <a:pt x="1516" y="85"/>
                    </a:lnTo>
                    <a:lnTo>
                      <a:pt x="1565" y="107"/>
                    </a:lnTo>
                    <a:lnTo>
                      <a:pt x="1613" y="133"/>
                    </a:lnTo>
                    <a:lnTo>
                      <a:pt x="1658" y="158"/>
                    </a:lnTo>
                    <a:lnTo>
                      <a:pt x="1701" y="186"/>
                    </a:lnTo>
                    <a:lnTo>
                      <a:pt x="1745" y="218"/>
                    </a:lnTo>
                    <a:lnTo>
                      <a:pt x="1786" y="249"/>
                    </a:lnTo>
                    <a:lnTo>
                      <a:pt x="1826" y="283"/>
                    </a:lnTo>
                    <a:lnTo>
                      <a:pt x="1863" y="320"/>
                    </a:lnTo>
                    <a:lnTo>
                      <a:pt x="1899" y="358"/>
                    </a:lnTo>
                    <a:lnTo>
                      <a:pt x="1935" y="398"/>
                    </a:lnTo>
                    <a:lnTo>
                      <a:pt x="1966" y="439"/>
                    </a:lnTo>
                    <a:lnTo>
                      <a:pt x="1996" y="481"/>
                    </a:lnTo>
                    <a:lnTo>
                      <a:pt x="2025" y="526"/>
                    </a:lnTo>
                    <a:lnTo>
                      <a:pt x="2051" y="571"/>
                    </a:lnTo>
                    <a:lnTo>
                      <a:pt x="2075" y="619"/>
                    </a:lnTo>
                    <a:lnTo>
                      <a:pt x="2097" y="666"/>
                    </a:lnTo>
                    <a:lnTo>
                      <a:pt x="2116" y="716"/>
                    </a:lnTo>
                    <a:lnTo>
                      <a:pt x="2134" y="767"/>
                    </a:lnTo>
                    <a:lnTo>
                      <a:pt x="2148" y="818"/>
                    </a:lnTo>
                    <a:lnTo>
                      <a:pt x="2160" y="872"/>
                    </a:lnTo>
                    <a:lnTo>
                      <a:pt x="2170" y="925"/>
                    </a:lnTo>
                    <a:lnTo>
                      <a:pt x="2178" y="980"/>
                    </a:lnTo>
                    <a:lnTo>
                      <a:pt x="2182" y="1036"/>
                    </a:lnTo>
                    <a:lnTo>
                      <a:pt x="2184" y="1091"/>
                    </a:lnTo>
                    <a:lnTo>
                      <a:pt x="2184" y="1091"/>
                    </a:lnTo>
                    <a:lnTo>
                      <a:pt x="2182" y="1148"/>
                    </a:lnTo>
                    <a:lnTo>
                      <a:pt x="2178" y="1204"/>
                    </a:lnTo>
                    <a:lnTo>
                      <a:pt x="2170" y="1257"/>
                    </a:lnTo>
                    <a:lnTo>
                      <a:pt x="2160" y="1310"/>
                    </a:lnTo>
                    <a:lnTo>
                      <a:pt x="2148" y="1364"/>
                    </a:lnTo>
                    <a:lnTo>
                      <a:pt x="2134" y="1415"/>
                    </a:lnTo>
                    <a:lnTo>
                      <a:pt x="2116" y="1466"/>
                    </a:lnTo>
                    <a:lnTo>
                      <a:pt x="2097" y="1516"/>
                    </a:lnTo>
                    <a:lnTo>
                      <a:pt x="2075" y="1565"/>
                    </a:lnTo>
                    <a:lnTo>
                      <a:pt x="2051" y="1611"/>
                    </a:lnTo>
                    <a:lnTo>
                      <a:pt x="2025" y="1656"/>
                    </a:lnTo>
                    <a:lnTo>
                      <a:pt x="1996" y="1702"/>
                    </a:lnTo>
                    <a:lnTo>
                      <a:pt x="1966" y="1745"/>
                    </a:lnTo>
                    <a:lnTo>
                      <a:pt x="1935" y="1785"/>
                    </a:lnTo>
                    <a:lnTo>
                      <a:pt x="1899" y="1824"/>
                    </a:lnTo>
                    <a:lnTo>
                      <a:pt x="1863" y="1864"/>
                    </a:lnTo>
                    <a:lnTo>
                      <a:pt x="1826" y="1899"/>
                    </a:lnTo>
                    <a:lnTo>
                      <a:pt x="1786" y="1933"/>
                    </a:lnTo>
                    <a:lnTo>
                      <a:pt x="1745" y="1966"/>
                    </a:lnTo>
                    <a:lnTo>
                      <a:pt x="1701" y="1996"/>
                    </a:lnTo>
                    <a:lnTo>
                      <a:pt x="1658" y="2024"/>
                    </a:lnTo>
                    <a:lnTo>
                      <a:pt x="1613" y="2051"/>
                    </a:lnTo>
                    <a:lnTo>
                      <a:pt x="1565" y="2075"/>
                    </a:lnTo>
                    <a:lnTo>
                      <a:pt x="1516" y="2097"/>
                    </a:lnTo>
                    <a:lnTo>
                      <a:pt x="1466" y="2116"/>
                    </a:lnTo>
                    <a:lnTo>
                      <a:pt x="1417" y="2134"/>
                    </a:lnTo>
                    <a:lnTo>
                      <a:pt x="1366" y="2148"/>
                    </a:lnTo>
                    <a:lnTo>
                      <a:pt x="1312" y="2160"/>
                    </a:lnTo>
                    <a:lnTo>
                      <a:pt x="1259" y="2170"/>
                    </a:lnTo>
                    <a:lnTo>
                      <a:pt x="1204" y="2178"/>
                    </a:lnTo>
                    <a:lnTo>
                      <a:pt x="1148" y="2182"/>
                    </a:lnTo>
                    <a:lnTo>
                      <a:pt x="1093" y="2182"/>
                    </a:lnTo>
                    <a:lnTo>
                      <a:pt x="1093" y="2182"/>
                    </a:lnTo>
                    <a:close/>
                  </a:path>
                </a:pathLst>
              </a:custGeom>
              <a:solidFill>
                <a:srgbClr val="6DCF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9" name="Freeform 317"/>
              <p:cNvSpPr>
                <a:spLocks/>
              </p:cNvSpPr>
              <p:nvPr/>
            </p:nvSpPr>
            <p:spPr bwMode="auto">
              <a:xfrm>
                <a:off x="6221413" y="2527299"/>
                <a:ext cx="84138" cy="85726"/>
              </a:xfrm>
              <a:custGeom>
                <a:avLst/>
                <a:gdLst>
                  <a:gd name="T0" fmla="*/ 54 w 107"/>
                  <a:gd name="T1" fmla="*/ 106 h 106"/>
                  <a:gd name="T2" fmla="*/ 54 w 107"/>
                  <a:gd name="T3" fmla="*/ 106 h 106"/>
                  <a:gd name="T4" fmla="*/ 44 w 107"/>
                  <a:gd name="T5" fmla="*/ 104 h 106"/>
                  <a:gd name="T6" fmla="*/ 34 w 107"/>
                  <a:gd name="T7" fmla="*/ 102 h 106"/>
                  <a:gd name="T8" fmla="*/ 24 w 107"/>
                  <a:gd name="T9" fmla="*/ 96 h 106"/>
                  <a:gd name="T10" fmla="*/ 16 w 107"/>
                  <a:gd name="T11" fmla="*/ 91 h 106"/>
                  <a:gd name="T12" fmla="*/ 10 w 107"/>
                  <a:gd name="T13" fmla="*/ 83 h 106"/>
                  <a:gd name="T14" fmla="*/ 4 w 107"/>
                  <a:gd name="T15" fmla="*/ 75 h 106"/>
                  <a:gd name="T16" fmla="*/ 2 w 107"/>
                  <a:gd name="T17" fmla="*/ 65 h 106"/>
                  <a:gd name="T18" fmla="*/ 0 w 107"/>
                  <a:gd name="T19" fmla="*/ 53 h 106"/>
                  <a:gd name="T20" fmla="*/ 0 w 107"/>
                  <a:gd name="T21" fmla="*/ 53 h 106"/>
                  <a:gd name="T22" fmla="*/ 2 w 107"/>
                  <a:gd name="T23" fmla="*/ 43 h 106"/>
                  <a:gd name="T24" fmla="*/ 4 w 107"/>
                  <a:gd name="T25" fmla="*/ 33 h 106"/>
                  <a:gd name="T26" fmla="*/ 10 w 107"/>
                  <a:gd name="T27" fmla="*/ 23 h 106"/>
                  <a:gd name="T28" fmla="*/ 16 w 107"/>
                  <a:gd name="T29" fmla="*/ 15 h 106"/>
                  <a:gd name="T30" fmla="*/ 24 w 107"/>
                  <a:gd name="T31" fmla="*/ 10 h 106"/>
                  <a:gd name="T32" fmla="*/ 34 w 107"/>
                  <a:gd name="T33" fmla="*/ 6 h 106"/>
                  <a:gd name="T34" fmla="*/ 44 w 107"/>
                  <a:gd name="T35" fmla="*/ 2 h 106"/>
                  <a:gd name="T36" fmla="*/ 54 w 107"/>
                  <a:gd name="T37" fmla="*/ 0 h 106"/>
                  <a:gd name="T38" fmla="*/ 54 w 107"/>
                  <a:gd name="T39" fmla="*/ 0 h 106"/>
                  <a:gd name="T40" fmla="*/ 64 w 107"/>
                  <a:gd name="T41" fmla="*/ 2 h 106"/>
                  <a:gd name="T42" fmla="*/ 73 w 107"/>
                  <a:gd name="T43" fmla="*/ 6 h 106"/>
                  <a:gd name="T44" fmla="*/ 83 w 107"/>
                  <a:gd name="T45" fmla="*/ 10 h 106"/>
                  <a:gd name="T46" fmla="*/ 91 w 107"/>
                  <a:gd name="T47" fmla="*/ 15 h 106"/>
                  <a:gd name="T48" fmla="*/ 97 w 107"/>
                  <a:gd name="T49" fmla="*/ 23 h 106"/>
                  <a:gd name="T50" fmla="*/ 103 w 107"/>
                  <a:gd name="T51" fmla="*/ 33 h 106"/>
                  <a:gd name="T52" fmla="*/ 105 w 107"/>
                  <a:gd name="T53" fmla="*/ 43 h 106"/>
                  <a:gd name="T54" fmla="*/ 107 w 107"/>
                  <a:gd name="T55" fmla="*/ 53 h 106"/>
                  <a:gd name="T56" fmla="*/ 107 w 107"/>
                  <a:gd name="T57" fmla="*/ 53 h 106"/>
                  <a:gd name="T58" fmla="*/ 105 w 107"/>
                  <a:gd name="T59" fmla="*/ 65 h 106"/>
                  <a:gd name="T60" fmla="*/ 103 w 107"/>
                  <a:gd name="T61" fmla="*/ 75 h 106"/>
                  <a:gd name="T62" fmla="*/ 97 w 107"/>
                  <a:gd name="T63" fmla="*/ 83 h 106"/>
                  <a:gd name="T64" fmla="*/ 91 w 107"/>
                  <a:gd name="T65" fmla="*/ 91 h 106"/>
                  <a:gd name="T66" fmla="*/ 83 w 107"/>
                  <a:gd name="T67" fmla="*/ 96 h 106"/>
                  <a:gd name="T68" fmla="*/ 73 w 107"/>
                  <a:gd name="T69" fmla="*/ 102 h 106"/>
                  <a:gd name="T70" fmla="*/ 64 w 107"/>
                  <a:gd name="T71" fmla="*/ 104 h 106"/>
                  <a:gd name="T72" fmla="*/ 54 w 107"/>
                  <a:gd name="T73" fmla="*/ 106 h 106"/>
                  <a:gd name="T74" fmla="*/ 54 w 107"/>
                  <a:gd name="T75"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6">
                    <a:moveTo>
                      <a:pt x="54" y="106"/>
                    </a:moveTo>
                    <a:lnTo>
                      <a:pt x="54" y="106"/>
                    </a:lnTo>
                    <a:lnTo>
                      <a:pt x="44" y="104"/>
                    </a:lnTo>
                    <a:lnTo>
                      <a:pt x="34" y="102"/>
                    </a:lnTo>
                    <a:lnTo>
                      <a:pt x="24" y="96"/>
                    </a:lnTo>
                    <a:lnTo>
                      <a:pt x="16" y="91"/>
                    </a:lnTo>
                    <a:lnTo>
                      <a:pt x="10" y="83"/>
                    </a:lnTo>
                    <a:lnTo>
                      <a:pt x="4" y="75"/>
                    </a:lnTo>
                    <a:lnTo>
                      <a:pt x="2" y="65"/>
                    </a:lnTo>
                    <a:lnTo>
                      <a:pt x="0" y="53"/>
                    </a:lnTo>
                    <a:lnTo>
                      <a:pt x="0" y="53"/>
                    </a:lnTo>
                    <a:lnTo>
                      <a:pt x="2" y="43"/>
                    </a:lnTo>
                    <a:lnTo>
                      <a:pt x="4" y="33"/>
                    </a:lnTo>
                    <a:lnTo>
                      <a:pt x="10" y="23"/>
                    </a:lnTo>
                    <a:lnTo>
                      <a:pt x="16" y="15"/>
                    </a:lnTo>
                    <a:lnTo>
                      <a:pt x="24" y="10"/>
                    </a:lnTo>
                    <a:lnTo>
                      <a:pt x="34" y="6"/>
                    </a:lnTo>
                    <a:lnTo>
                      <a:pt x="44" y="2"/>
                    </a:lnTo>
                    <a:lnTo>
                      <a:pt x="54" y="0"/>
                    </a:lnTo>
                    <a:lnTo>
                      <a:pt x="54" y="0"/>
                    </a:lnTo>
                    <a:lnTo>
                      <a:pt x="64" y="2"/>
                    </a:lnTo>
                    <a:lnTo>
                      <a:pt x="73" y="6"/>
                    </a:lnTo>
                    <a:lnTo>
                      <a:pt x="83" y="10"/>
                    </a:lnTo>
                    <a:lnTo>
                      <a:pt x="91" y="15"/>
                    </a:lnTo>
                    <a:lnTo>
                      <a:pt x="97" y="23"/>
                    </a:lnTo>
                    <a:lnTo>
                      <a:pt x="103" y="33"/>
                    </a:lnTo>
                    <a:lnTo>
                      <a:pt x="105" y="43"/>
                    </a:lnTo>
                    <a:lnTo>
                      <a:pt x="107" y="53"/>
                    </a:lnTo>
                    <a:lnTo>
                      <a:pt x="107" y="53"/>
                    </a:lnTo>
                    <a:lnTo>
                      <a:pt x="105" y="65"/>
                    </a:lnTo>
                    <a:lnTo>
                      <a:pt x="103" y="75"/>
                    </a:lnTo>
                    <a:lnTo>
                      <a:pt x="97" y="83"/>
                    </a:lnTo>
                    <a:lnTo>
                      <a:pt x="91" y="91"/>
                    </a:lnTo>
                    <a:lnTo>
                      <a:pt x="83" y="96"/>
                    </a:lnTo>
                    <a:lnTo>
                      <a:pt x="73" y="102"/>
                    </a:lnTo>
                    <a:lnTo>
                      <a:pt x="64" y="104"/>
                    </a:lnTo>
                    <a:lnTo>
                      <a:pt x="54" y="106"/>
                    </a:lnTo>
                    <a:lnTo>
                      <a:pt x="54" y="10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0" name="Freeform 318"/>
              <p:cNvSpPr>
                <a:spLocks/>
              </p:cNvSpPr>
              <p:nvPr/>
            </p:nvSpPr>
            <p:spPr bwMode="auto">
              <a:xfrm>
                <a:off x="4259261" y="2527299"/>
                <a:ext cx="84138" cy="85726"/>
              </a:xfrm>
              <a:custGeom>
                <a:avLst/>
                <a:gdLst>
                  <a:gd name="T0" fmla="*/ 53 w 107"/>
                  <a:gd name="T1" fmla="*/ 106 h 106"/>
                  <a:gd name="T2" fmla="*/ 53 w 107"/>
                  <a:gd name="T3" fmla="*/ 106 h 106"/>
                  <a:gd name="T4" fmla="*/ 43 w 107"/>
                  <a:gd name="T5" fmla="*/ 104 h 106"/>
                  <a:gd name="T6" fmla="*/ 33 w 107"/>
                  <a:gd name="T7" fmla="*/ 102 h 106"/>
                  <a:gd name="T8" fmla="*/ 24 w 107"/>
                  <a:gd name="T9" fmla="*/ 96 h 106"/>
                  <a:gd name="T10" fmla="*/ 16 w 107"/>
                  <a:gd name="T11" fmla="*/ 91 h 106"/>
                  <a:gd name="T12" fmla="*/ 10 w 107"/>
                  <a:gd name="T13" fmla="*/ 83 h 106"/>
                  <a:gd name="T14" fmla="*/ 4 w 107"/>
                  <a:gd name="T15" fmla="*/ 75 h 106"/>
                  <a:gd name="T16" fmla="*/ 2 w 107"/>
                  <a:gd name="T17" fmla="*/ 65 h 106"/>
                  <a:gd name="T18" fmla="*/ 0 w 107"/>
                  <a:gd name="T19" fmla="*/ 53 h 106"/>
                  <a:gd name="T20" fmla="*/ 0 w 107"/>
                  <a:gd name="T21" fmla="*/ 53 h 106"/>
                  <a:gd name="T22" fmla="*/ 2 w 107"/>
                  <a:gd name="T23" fmla="*/ 43 h 106"/>
                  <a:gd name="T24" fmla="*/ 4 w 107"/>
                  <a:gd name="T25" fmla="*/ 33 h 106"/>
                  <a:gd name="T26" fmla="*/ 10 w 107"/>
                  <a:gd name="T27" fmla="*/ 23 h 106"/>
                  <a:gd name="T28" fmla="*/ 16 w 107"/>
                  <a:gd name="T29" fmla="*/ 15 h 106"/>
                  <a:gd name="T30" fmla="*/ 24 w 107"/>
                  <a:gd name="T31" fmla="*/ 10 h 106"/>
                  <a:gd name="T32" fmla="*/ 33 w 107"/>
                  <a:gd name="T33" fmla="*/ 6 h 106"/>
                  <a:gd name="T34" fmla="*/ 43 w 107"/>
                  <a:gd name="T35" fmla="*/ 2 h 106"/>
                  <a:gd name="T36" fmla="*/ 53 w 107"/>
                  <a:gd name="T37" fmla="*/ 0 h 106"/>
                  <a:gd name="T38" fmla="*/ 53 w 107"/>
                  <a:gd name="T39" fmla="*/ 0 h 106"/>
                  <a:gd name="T40" fmla="*/ 63 w 107"/>
                  <a:gd name="T41" fmla="*/ 2 h 106"/>
                  <a:gd name="T42" fmla="*/ 73 w 107"/>
                  <a:gd name="T43" fmla="*/ 6 h 106"/>
                  <a:gd name="T44" fmla="*/ 83 w 107"/>
                  <a:gd name="T45" fmla="*/ 10 h 106"/>
                  <a:gd name="T46" fmla="*/ 91 w 107"/>
                  <a:gd name="T47" fmla="*/ 15 h 106"/>
                  <a:gd name="T48" fmla="*/ 97 w 107"/>
                  <a:gd name="T49" fmla="*/ 23 h 106"/>
                  <a:gd name="T50" fmla="*/ 103 w 107"/>
                  <a:gd name="T51" fmla="*/ 33 h 106"/>
                  <a:gd name="T52" fmla="*/ 105 w 107"/>
                  <a:gd name="T53" fmla="*/ 43 h 106"/>
                  <a:gd name="T54" fmla="*/ 107 w 107"/>
                  <a:gd name="T55" fmla="*/ 53 h 106"/>
                  <a:gd name="T56" fmla="*/ 107 w 107"/>
                  <a:gd name="T57" fmla="*/ 53 h 106"/>
                  <a:gd name="T58" fmla="*/ 105 w 107"/>
                  <a:gd name="T59" fmla="*/ 65 h 106"/>
                  <a:gd name="T60" fmla="*/ 103 w 107"/>
                  <a:gd name="T61" fmla="*/ 75 h 106"/>
                  <a:gd name="T62" fmla="*/ 97 w 107"/>
                  <a:gd name="T63" fmla="*/ 83 h 106"/>
                  <a:gd name="T64" fmla="*/ 91 w 107"/>
                  <a:gd name="T65" fmla="*/ 91 h 106"/>
                  <a:gd name="T66" fmla="*/ 83 w 107"/>
                  <a:gd name="T67" fmla="*/ 96 h 106"/>
                  <a:gd name="T68" fmla="*/ 73 w 107"/>
                  <a:gd name="T69" fmla="*/ 102 h 106"/>
                  <a:gd name="T70" fmla="*/ 63 w 107"/>
                  <a:gd name="T71" fmla="*/ 104 h 106"/>
                  <a:gd name="T72" fmla="*/ 53 w 107"/>
                  <a:gd name="T73" fmla="*/ 106 h 106"/>
                  <a:gd name="T74" fmla="*/ 53 w 107"/>
                  <a:gd name="T75"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6">
                    <a:moveTo>
                      <a:pt x="53" y="106"/>
                    </a:moveTo>
                    <a:lnTo>
                      <a:pt x="53" y="106"/>
                    </a:lnTo>
                    <a:lnTo>
                      <a:pt x="43" y="104"/>
                    </a:lnTo>
                    <a:lnTo>
                      <a:pt x="33" y="102"/>
                    </a:lnTo>
                    <a:lnTo>
                      <a:pt x="24" y="96"/>
                    </a:lnTo>
                    <a:lnTo>
                      <a:pt x="16" y="91"/>
                    </a:lnTo>
                    <a:lnTo>
                      <a:pt x="10" y="83"/>
                    </a:lnTo>
                    <a:lnTo>
                      <a:pt x="4" y="75"/>
                    </a:lnTo>
                    <a:lnTo>
                      <a:pt x="2" y="65"/>
                    </a:lnTo>
                    <a:lnTo>
                      <a:pt x="0" y="53"/>
                    </a:lnTo>
                    <a:lnTo>
                      <a:pt x="0" y="53"/>
                    </a:lnTo>
                    <a:lnTo>
                      <a:pt x="2" y="43"/>
                    </a:lnTo>
                    <a:lnTo>
                      <a:pt x="4" y="33"/>
                    </a:lnTo>
                    <a:lnTo>
                      <a:pt x="10" y="23"/>
                    </a:lnTo>
                    <a:lnTo>
                      <a:pt x="16" y="15"/>
                    </a:lnTo>
                    <a:lnTo>
                      <a:pt x="24" y="10"/>
                    </a:lnTo>
                    <a:lnTo>
                      <a:pt x="33" y="6"/>
                    </a:lnTo>
                    <a:lnTo>
                      <a:pt x="43" y="2"/>
                    </a:lnTo>
                    <a:lnTo>
                      <a:pt x="53" y="0"/>
                    </a:lnTo>
                    <a:lnTo>
                      <a:pt x="53" y="0"/>
                    </a:lnTo>
                    <a:lnTo>
                      <a:pt x="63" y="2"/>
                    </a:lnTo>
                    <a:lnTo>
                      <a:pt x="73" y="6"/>
                    </a:lnTo>
                    <a:lnTo>
                      <a:pt x="83" y="10"/>
                    </a:lnTo>
                    <a:lnTo>
                      <a:pt x="91" y="15"/>
                    </a:lnTo>
                    <a:lnTo>
                      <a:pt x="97" y="23"/>
                    </a:lnTo>
                    <a:lnTo>
                      <a:pt x="103" y="33"/>
                    </a:lnTo>
                    <a:lnTo>
                      <a:pt x="105" y="43"/>
                    </a:lnTo>
                    <a:lnTo>
                      <a:pt x="107" y="53"/>
                    </a:lnTo>
                    <a:lnTo>
                      <a:pt x="107" y="53"/>
                    </a:lnTo>
                    <a:lnTo>
                      <a:pt x="105" y="65"/>
                    </a:lnTo>
                    <a:lnTo>
                      <a:pt x="103" y="75"/>
                    </a:lnTo>
                    <a:lnTo>
                      <a:pt x="97" y="83"/>
                    </a:lnTo>
                    <a:lnTo>
                      <a:pt x="91" y="91"/>
                    </a:lnTo>
                    <a:lnTo>
                      <a:pt x="83" y="96"/>
                    </a:lnTo>
                    <a:lnTo>
                      <a:pt x="73" y="102"/>
                    </a:lnTo>
                    <a:lnTo>
                      <a:pt x="63" y="104"/>
                    </a:lnTo>
                    <a:lnTo>
                      <a:pt x="53" y="106"/>
                    </a:lnTo>
                    <a:lnTo>
                      <a:pt x="53" y="10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1" name="Freeform 319"/>
              <p:cNvSpPr>
                <a:spLocks/>
              </p:cNvSpPr>
              <p:nvPr/>
            </p:nvSpPr>
            <p:spPr bwMode="auto">
              <a:xfrm>
                <a:off x="5934075" y="3222625"/>
                <a:ext cx="84138" cy="82550"/>
              </a:xfrm>
              <a:custGeom>
                <a:avLst/>
                <a:gdLst>
                  <a:gd name="T0" fmla="*/ 16 w 107"/>
                  <a:gd name="T1" fmla="*/ 89 h 105"/>
                  <a:gd name="T2" fmla="*/ 16 w 107"/>
                  <a:gd name="T3" fmla="*/ 89 h 105"/>
                  <a:gd name="T4" fmla="*/ 8 w 107"/>
                  <a:gd name="T5" fmla="*/ 81 h 105"/>
                  <a:gd name="T6" fmla="*/ 4 w 107"/>
                  <a:gd name="T7" fmla="*/ 73 h 105"/>
                  <a:gd name="T8" fmla="*/ 2 w 107"/>
                  <a:gd name="T9" fmla="*/ 63 h 105"/>
                  <a:gd name="T10" fmla="*/ 0 w 107"/>
                  <a:gd name="T11" fmla="*/ 51 h 105"/>
                  <a:gd name="T12" fmla="*/ 2 w 107"/>
                  <a:gd name="T13" fmla="*/ 41 h 105"/>
                  <a:gd name="T14" fmla="*/ 4 w 107"/>
                  <a:gd name="T15" fmla="*/ 32 h 105"/>
                  <a:gd name="T16" fmla="*/ 8 w 107"/>
                  <a:gd name="T17" fmla="*/ 24 h 105"/>
                  <a:gd name="T18" fmla="*/ 16 w 107"/>
                  <a:gd name="T19" fmla="*/ 16 h 105"/>
                  <a:gd name="T20" fmla="*/ 16 w 107"/>
                  <a:gd name="T21" fmla="*/ 16 h 105"/>
                  <a:gd name="T22" fmla="*/ 24 w 107"/>
                  <a:gd name="T23" fmla="*/ 8 h 105"/>
                  <a:gd name="T24" fmla="*/ 33 w 107"/>
                  <a:gd name="T25" fmla="*/ 4 h 105"/>
                  <a:gd name="T26" fmla="*/ 43 w 107"/>
                  <a:gd name="T27" fmla="*/ 0 h 105"/>
                  <a:gd name="T28" fmla="*/ 53 w 107"/>
                  <a:gd name="T29" fmla="*/ 0 h 105"/>
                  <a:gd name="T30" fmla="*/ 63 w 107"/>
                  <a:gd name="T31" fmla="*/ 0 h 105"/>
                  <a:gd name="T32" fmla="*/ 73 w 107"/>
                  <a:gd name="T33" fmla="*/ 4 h 105"/>
                  <a:gd name="T34" fmla="*/ 83 w 107"/>
                  <a:gd name="T35" fmla="*/ 8 h 105"/>
                  <a:gd name="T36" fmla="*/ 91 w 107"/>
                  <a:gd name="T37" fmla="*/ 16 h 105"/>
                  <a:gd name="T38" fmla="*/ 91 w 107"/>
                  <a:gd name="T39" fmla="*/ 16 h 105"/>
                  <a:gd name="T40" fmla="*/ 97 w 107"/>
                  <a:gd name="T41" fmla="*/ 24 h 105"/>
                  <a:gd name="T42" fmla="*/ 103 w 107"/>
                  <a:gd name="T43" fmla="*/ 32 h 105"/>
                  <a:gd name="T44" fmla="*/ 105 w 107"/>
                  <a:gd name="T45" fmla="*/ 41 h 105"/>
                  <a:gd name="T46" fmla="*/ 107 w 107"/>
                  <a:gd name="T47" fmla="*/ 51 h 105"/>
                  <a:gd name="T48" fmla="*/ 105 w 107"/>
                  <a:gd name="T49" fmla="*/ 63 h 105"/>
                  <a:gd name="T50" fmla="*/ 103 w 107"/>
                  <a:gd name="T51" fmla="*/ 73 h 105"/>
                  <a:gd name="T52" fmla="*/ 97 w 107"/>
                  <a:gd name="T53" fmla="*/ 81 h 105"/>
                  <a:gd name="T54" fmla="*/ 91 w 107"/>
                  <a:gd name="T55" fmla="*/ 89 h 105"/>
                  <a:gd name="T56" fmla="*/ 91 w 107"/>
                  <a:gd name="T57" fmla="*/ 89 h 105"/>
                  <a:gd name="T58" fmla="*/ 83 w 107"/>
                  <a:gd name="T59" fmla="*/ 97 h 105"/>
                  <a:gd name="T60" fmla="*/ 73 w 107"/>
                  <a:gd name="T61" fmla="*/ 101 h 105"/>
                  <a:gd name="T62" fmla="*/ 63 w 107"/>
                  <a:gd name="T63" fmla="*/ 105 h 105"/>
                  <a:gd name="T64" fmla="*/ 53 w 107"/>
                  <a:gd name="T65" fmla="*/ 105 h 105"/>
                  <a:gd name="T66" fmla="*/ 43 w 107"/>
                  <a:gd name="T67" fmla="*/ 105 h 105"/>
                  <a:gd name="T68" fmla="*/ 33 w 107"/>
                  <a:gd name="T69" fmla="*/ 101 h 105"/>
                  <a:gd name="T70" fmla="*/ 24 w 107"/>
                  <a:gd name="T71" fmla="*/ 97 h 105"/>
                  <a:gd name="T72" fmla="*/ 16 w 107"/>
                  <a:gd name="T73" fmla="*/ 89 h 105"/>
                  <a:gd name="T74" fmla="*/ 16 w 107"/>
                  <a:gd name="T75" fmla="*/ 8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5">
                    <a:moveTo>
                      <a:pt x="16" y="89"/>
                    </a:moveTo>
                    <a:lnTo>
                      <a:pt x="16" y="89"/>
                    </a:lnTo>
                    <a:lnTo>
                      <a:pt x="8" y="81"/>
                    </a:lnTo>
                    <a:lnTo>
                      <a:pt x="4" y="73"/>
                    </a:lnTo>
                    <a:lnTo>
                      <a:pt x="2" y="63"/>
                    </a:lnTo>
                    <a:lnTo>
                      <a:pt x="0" y="51"/>
                    </a:lnTo>
                    <a:lnTo>
                      <a:pt x="2" y="41"/>
                    </a:lnTo>
                    <a:lnTo>
                      <a:pt x="4" y="32"/>
                    </a:lnTo>
                    <a:lnTo>
                      <a:pt x="8" y="24"/>
                    </a:lnTo>
                    <a:lnTo>
                      <a:pt x="16" y="16"/>
                    </a:lnTo>
                    <a:lnTo>
                      <a:pt x="16" y="16"/>
                    </a:lnTo>
                    <a:lnTo>
                      <a:pt x="24" y="8"/>
                    </a:lnTo>
                    <a:lnTo>
                      <a:pt x="33" y="4"/>
                    </a:lnTo>
                    <a:lnTo>
                      <a:pt x="43" y="0"/>
                    </a:lnTo>
                    <a:lnTo>
                      <a:pt x="53" y="0"/>
                    </a:lnTo>
                    <a:lnTo>
                      <a:pt x="63" y="0"/>
                    </a:lnTo>
                    <a:lnTo>
                      <a:pt x="73" y="4"/>
                    </a:lnTo>
                    <a:lnTo>
                      <a:pt x="83" y="8"/>
                    </a:lnTo>
                    <a:lnTo>
                      <a:pt x="91" y="16"/>
                    </a:lnTo>
                    <a:lnTo>
                      <a:pt x="91" y="16"/>
                    </a:lnTo>
                    <a:lnTo>
                      <a:pt x="97" y="24"/>
                    </a:lnTo>
                    <a:lnTo>
                      <a:pt x="103" y="32"/>
                    </a:lnTo>
                    <a:lnTo>
                      <a:pt x="105" y="41"/>
                    </a:lnTo>
                    <a:lnTo>
                      <a:pt x="107" y="51"/>
                    </a:lnTo>
                    <a:lnTo>
                      <a:pt x="105" y="63"/>
                    </a:lnTo>
                    <a:lnTo>
                      <a:pt x="103" y="73"/>
                    </a:lnTo>
                    <a:lnTo>
                      <a:pt x="97" y="81"/>
                    </a:lnTo>
                    <a:lnTo>
                      <a:pt x="91" y="89"/>
                    </a:lnTo>
                    <a:lnTo>
                      <a:pt x="91" y="89"/>
                    </a:lnTo>
                    <a:lnTo>
                      <a:pt x="83" y="97"/>
                    </a:lnTo>
                    <a:lnTo>
                      <a:pt x="73" y="101"/>
                    </a:lnTo>
                    <a:lnTo>
                      <a:pt x="63" y="105"/>
                    </a:lnTo>
                    <a:lnTo>
                      <a:pt x="53" y="105"/>
                    </a:lnTo>
                    <a:lnTo>
                      <a:pt x="43" y="105"/>
                    </a:lnTo>
                    <a:lnTo>
                      <a:pt x="33" y="101"/>
                    </a:lnTo>
                    <a:lnTo>
                      <a:pt x="24" y="97"/>
                    </a:lnTo>
                    <a:lnTo>
                      <a:pt x="16" y="89"/>
                    </a:lnTo>
                    <a:lnTo>
                      <a:pt x="16" y="89"/>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2" name="Freeform 320"/>
              <p:cNvSpPr>
                <a:spLocks/>
              </p:cNvSpPr>
              <p:nvPr/>
            </p:nvSpPr>
            <p:spPr bwMode="auto">
              <a:xfrm>
                <a:off x="4546599" y="1835148"/>
                <a:ext cx="84138" cy="84138"/>
              </a:xfrm>
              <a:custGeom>
                <a:avLst/>
                <a:gdLst>
                  <a:gd name="T0" fmla="*/ 16 w 107"/>
                  <a:gd name="T1" fmla="*/ 91 h 107"/>
                  <a:gd name="T2" fmla="*/ 16 w 107"/>
                  <a:gd name="T3" fmla="*/ 91 h 107"/>
                  <a:gd name="T4" fmla="*/ 10 w 107"/>
                  <a:gd name="T5" fmla="*/ 83 h 107"/>
                  <a:gd name="T6" fmla="*/ 4 w 107"/>
                  <a:gd name="T7" fmla="*/ 74 h 107"/>
                  <a:gd name="T8" fmla="*/ 2 w 107"/>
                  <a:gd name="T9" fmla="*/ 64 h 107"/>
                  <a:gd name="T10" fmla="*/ 0 w 107"/>
                  <a:gd name="T11" fmla="*/ 54 h 107"/>
                  <a:gd name="T12" fmla="*/ 2 w 107"/>
                  <a:gd name="T13" fmla="*/ 44 h 107"/>
                  <a:gd name="T14" fmla="*/ 4 w 107"/>
                  <a:gd name="T15" fmla="*/ 34 h 107"/>
                  <a:gd name="T16" fmla="*/ 10 w 107"/>
                  <a:gd name="T17" fmla="*/ 24 h 107"/>
                  <a:gd name="T18" fmla="*/ 16 w 107"/>
                  <a:gd name="T19" fmla="*/ 16 h 107"/>
                  <a:gd name="T20" fmla="*/ 16 w 107"/>
                  <a:gd name="T21" fmla="*/ 16 h 107"/>
                  <a:gd name="T22" fmla="*/ 26 w 107"/>
                  <a:gd name="T23" fmla="*/ 10 h 107"/>
                  <a:gd name="T24" fmla="*/ 34 w 107"/>
                  <a:gd name="T25" fmla="*/ 4 h 107"/>
                  <a:gd name="T26" fmla="*/ 44 w 107"/>
                  <a:gd name="T27" fmla="*/ 2 h 107"/>
                  <a:gd name="T28" fmla="*/ 54 w 107"/>
                  <a:gd name="T29" fmla="*/ 0 h 107"/>
                  <a:gd name="T30" fmla="*/ 64 w 107"/>
                  <a:gd name="T31" fmla="*/ 2 h 107"/>
                  <a:gd name="T32" fmla="*/ 74 w 107"/>
                  <a:gd name="T33" fmla="*/ 4 h 107"/>
                  <a:gd name="T34" fmla="*/ 83 w 107"/>
                  <a:gd name="T35" fmla="*/ 10 h 107"/>
                  <a:gd name="T36" fmla="*/ 91 w 107"/>
                  <a:gd name="T37" fmla="*/ 16 h 107"/>
                  <a:gd name="T38" fmla="*/ 91 w 107"/>
                  <a:gd name="T39" fmla="*/ 16 h 107"/>
                  <a:gd name="T40" fmla="*/ 99 w 107"/>
                  <a:gd name="T41" fmla="*/ 24 h 107"/>
                  <a:gd name="T42" fmla="*/ 103 w 107"/>
                  <a:gd name="T43" fmla="*/ 34 h 107"/>
                  <a:gd name="T44" fmla="*/ 107 w 107"/>
                  <a:gd name="T45" fmla="*/ 44 h 107"/>
                  <a:gd name="T46" fmla="*/ 107 w 107"/>
                  <a:gd name="T47" fmla="*/ 54 h 107"/>
                  <a:gd name="T48" fmla="*/ 107 w 107"/>
                  <a:gd name="T49" fmla="*/ 64 h 107"/>
                  <a:gd name="T50" fmla="*/ 103 w 107"/>
                  <a:gd name="T51" fmla="*/ 74 h 107"/>
                  <a:gd name="T52" fmla="*/ 99 w 107"/>
                  <a:gd name="T53" fmla="*/ 83 h 107"/>
                  <a:gd name="T54" fmla="*/ 91 w 107"/>
                  <a:gd name="T55" fmla="*/ 91 h 107"/>
                  <a:gd name="T56" fmla="*/ 91 w 107"/>
                  <a:gd name="T57" fmla="*/ 91 h 107"/>
                  <a:gd name="T58" fmla="*/ 83 w 107"/>
                  <a:gd name="T59" fmla="*/ 97 h 107"/>
                  <a:gd name="T60" fmla="*/ 74 w 107"/>
                  <a:gd name="T61" fmla="*/ 103 h 107"/>
                  <a:gd name="T62" fmla="*/ 64 w 107"/>
                  <a:gd name="T63" fmla="*/ 105 h 107"/>
                  <a:gd name="T64" fmla="*/ 54 w 107"/>
                  <a:gd name="T65" fmla="*/ 107 h 107"/>
                  <a:gd name="T66" fmla="*/ 44 w 107"/>
                  <a:gd name="T67" fmla="*/ 105 h 107"/>
                  <a:gd name="T68" fmla="*/ 34 w 107"/>
                  <a:gd name="T69" fmla="*/ 103 h 107"/>
                  <a:gd name="T70" fmla="*/ 26 w 107"/>
                  <a:gd name="T71" fmla="*/ 97 h 107"/>
                  <a:gd name="T72" fmla="*/ 16 w 107"/>
                  <a:gd name="T73" fmla="*/ 91 h 107"/>
                  <a:gd name="T74" fmla="*/ 16 w 107"/>
                  <a:gd name="T75" fmla="*/ 9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7">
                    <a:moveTo>
                      <a:pt x="16" y="91"/>
                    </a:moveTo>
                    <a:lnTo>
                      <a:pt x="16" y="91"/>
                    </a:lnTo>
                    <a:lnTo>
                      <a:pt x="10" y="83"/>
                    </a:lnTo>
                    <a:lnTo>
                      <a:pt x="4" y="74"/>
                    </a:lnTo>
                    <a:lnTo>
                      <a:pt x="2" y="64"/>
                    </a:lnTo>
                    <a:lnTo>
                      <a:pt x="0" y="54"/>
                    </a:lnTo>
                    <a:lnTo>
                      <a:pt x="2" y="44"/>
                    </a:lnTo>
                    <a:lnTo>
                      <a:pt x="4" y="34"/>
                    </a:lnTo>
                    <a:lnTo>
                      <a:pt x="10" y="24"/>
                    </a:lnTo>
                    <a:lnTo>
                      <a:pt x="16" y="16"/>
                    </a:lnTo>
                    <a:lnTo>
                      <a:pt x="16" y="16"/>
                    </a:lnTo>
                    <a:lnTo>
                      <a:pt x="26" y="10"/>
                    </a:lnTo>
                    <a:lnTo>
                      <a:pt x="34" y="4"/>
                    </a:lnTo>
                    <a:lnTo>
                      <a:pt x="44" y="2"/>
                    </a:lnTo>
                    <a:lnTo>
                      <a:pt x="54" y="0"/>
                    </a:lnTo>
                    <a:lnTo>
                      <a:pt x="64" y="2"/>
                    </a:lnTo>
                    <a:lnTo>
                      <a:pt x="74" y="4"/>
                    </a:lnTo>
                    <a:lnTo>
                      <a:pt x="83" y="10"/>
                    </a:lnTo>
                    <a:lnTo>
                      <a:pt x="91" y="16"/>
                    </a:lnTo>
                    <a:lnTo>
                      <a:pt x="91" y="16"/>
                    </a:lnTo>
                    <a:lnTo>
                      <a:pt x="99" y="24"/>
                    </a:lnTo>
                    <a:lnTo>
                      <a:pt x="103" y="34"/>
                    </a:lnTo>
                    <a:lnTo>
                      <a:pt x="107" y="44"/>
                    </a:lnTo>
                    <a:lnTo>
                      <a:pt x="107" y="54"/>
                    </a:lnTo>
                    <a:lnTo>
                      <a:pt x="107" y="64"/>
                    </a:lnTo>
                    <a:lnTo>
                      <a:pt x="103" y="74"/>
                    </a:lnTo>
                    <a:lnTo>
                      <a:pt x="99" y="83"/>
                    </a:lnTo>
                    <a:lnTo>
                      <a:pt x="91" y="91"/>
                    </a:lnTo>
                    <a:lnTo>
                      <a:pt x="91" y="91"/>
                    </a:lnTo>
                    <a:lnTo>
                      <a:pt x="83" y="97"/>
                    </a:lnTo>
                    <a:lnTo>
                      <a:pt x="74" y="103"/>
                    </a:lnTo>
                    <a:lnTo>
                      <a:pt x="64" y="105"/>
                    </a:lnTo>
                    <a:lnTo>
                      <a:pt x="54" y="107"/>
                    </a:lnTo>
                    <a:lnTo>
                      <a:pt x="44" y="105"/>
                    </a:lnTo>
                    <a:lnTo>
                      <a:pt x="34" y="103"/>
                    </a:lnTo>
                    <a:lnTo>
                      <a:pt x="26" y="97"/>
                    </a:lnTo>
                    <a:lnTo>
                      <a:pt x="16" y="91"/>
                    </a:lnTo>
                    <a:lnTo>
                      <a:pt x="16" y="91"/>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3" name="Freeform 321"/>
              <p:cNvSpPr>
                <a:spLocks/>
              </p:cNvSpPr>
              <p:nvPr/>
            </p:nvSpPr>
            <p:spPr bwMode="auto">
              <a:xfrm>
                <a:off x="5934075" y="1835148"/>
                <a:ext cx="84138" cy="84138"/>
              </a:xfrm>
              <a:custGeom>
                <a:avLst/>
                <a:gdLst>
                  <a:gd name="T0" fmla="*/ 16 w 107"/>
                  <a:gd name="T1" fmla="*/ 16 h 107"/>
                  <a:gd name="T2" fmla="*/ 16 w 107"/>
                  <a:gd name="T3" fmla="*/ 16 h 107"/>
                  <a:gd name="T4" fmla="*/ 8 w 107"/>
                  <a:gd name="T5" fmla="*/ 24 h 107"/>
                  <a:gd name="T6" fmla="*/ 4 w 107"/>
                  <a:gd name="T7" fmla="*/ 34 h 107"/>
                  <a:gd name="T8" fmla="*/ 2 w 107"/>
                  <a:gd name="T9" fmla="*/ 44 h 107"/>
                  <a:gd name="T10" fmla="*/ 0 w 107"/>
                  <a:gd name="T11" fmla="*/ 54 h 107"/>
                  <a:gd name="T12" fmla="*/ 2 w 107"/>
                  <a:gd name="T13" fmla="*/ 64 h 107"/>
                  <a:gd name="T14" fmla="*/ 4 w 107"/>
                  <a:gd name="T15" fmla="*/ 74 h 107"/>
                  <a:gd name="T16" fmla="*/ 8 w 107"/>
                  <a:gd name="T17" fmla="*/ 83 h 107"/>
                  <a:gd name="T18" fmla="*/ 16 w 107"/>
                  <a:gd name="T19" fmla="*/ 91 h 107"/>
                  <a:gd name="T20" fmla="*/ 16 w 107"/>
                  <a:gd name="T21" fmla="*/ 91 h 107"/>
                  <a:gd name="T22" fmla="*/ 24 w 107"/>
                  <a:gd name="T23" fmla="*/ 97 h 107"/>
                  <a:gd name="T24" fmla="*/ 33 w 107"/>
                  <a:gd name="T25" fmla="*/ 103 h 107"/>
                  <a:gd name="T26" fmla="*/ 43 w 107"/>
                  <a:gd name="T27" fmla="*/ 105 h 107"/>
                  <a:gd name="T28" fmla="*/ 53 w 107"/>
                  <a:gd name="T29" fmla="*/ 107 h 107"/>
                  <a:gd name="T30" fmla="*/ 63 w 107"/>
                  <a:gd name="T31" fmla="*/ 105 h 107"/>
                  <a:gd name="T32" fmla="*/ 73 w 107"/>
                  <a:gd name="T33" fmla="*/ 103 h 107"/>
                  <a:gd name="T34" fmla="*/ 83 w 107"/>
                  <a:gd name="T35" fmla="*/ 97 h 107"/>
                  <a:gd name="T36" fmla="*/ 91 w 107"/>
                  <a:gd name="T37" fmla="*/ 91 h 107"/>
                  <a:gd name="T38" fmla="*/ 91 w 107"/>
                  <a:gd name="T39" fmla="*/ 91 h 107"/>
                  <a:gd name="T40" fmla="*/ 97 w 107"/>
                  <a:gd name="T41" fmla="*/ 83 h 107"/>
                  <a:gd name="T42" fmla="*/ 103 w 107"/>
                  <a:gd name="T43" fmla="*/ 74 h 107"/>
                  <a:gd name="T44" fmla="*/ 105 w 107"/>
                  <a:gd name="T45" fmla="*/ 64 h 107"/>
                  <a:gd name="T46" fmla="*/ 107 w 107"/>
                  <a:gd name="T47" fmla="*/ 54 h 107"/>
                  <a:gd name="T48" fmla="*/ 105 w 107"/>
                  <a:gd name="T49" fmla="*/ 44 h 107"/>
                  <a:gd name="T50" fmla="*/ 103 w 107"/>
                  <a:gd name="T51" fmla="*/ 34 h 107"/>
                  <a:gd name="T52" fmla="*/ 97 w 107"/>
                  <a:gd name="T53" fmla="*/ 24 h 107"/>
                  <a:gd name="T54" fmla="*/ 91 w 107"/>
                  <a:gd name="T55" fmla="*/ 16 h 107"/>
                  <a:gd name="T56" fmla="*/ 91 w 107"/>
                  <a:gd name="T57" fmla="*/ 16 h 107"/>
                  <a:gd name="T58" fmla="*/ 83 w 107"/>
                  <a:gd name="T59" fmla="*/ 10 h 107"/>
                  <a:gd name="T60" fmla="*/ 73 w 107"/>
                  <a:gd name="T61" fmla="*/ 4 h 107"/>
                  <a:gd name="T62" fmla="*/ 63 w 107"/>
                  <a:gd name="T63" fmla="*/ 2 h 107"/>
                  <a:gd name="T64" fmla="*/ 53 w 107"/>
                  <a:gd name="T65" fmla="*/ 0 h 107"/>
                  <a:gd name="T66" fmla="*/ 43 w 107"/>
                  <a:gd name="T67" fmla="*/ 2 h 107"/>
                  <a:gd name="T68" fmla="*/ 33 w 107"/>
                  <a:gd name="T69" fmla="*/ 4 h 107"/>
                  <a:gd name="T70" fmla="*/ 24 w 107"/>
                  <a:gd name="T71" fmla="*/ 10 h 107"/>
                  <a:gd name="T72" fmla="*/ 16 w 107"/>
                  <a:gd name="T73" fmla="*/ 16 h 107"/>
                  <a:gd name="T74" fmla="*/ 16 w 107"/>
                  <a:gd name="T75" fmla="*/ 1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7">
                    <a:moveTo>
                      <a:pt x="16" y="16"/>
                    </a:moveTo>
                    <a:lnTo>
                      <a:pt x="16" y="16"/>
                    </a:lnTo>
                    <a:lnTo>
                      <a:pt x="8" y="24"/>
                    </a:lnTo>
                    <a:lnTo>
                      <a:pt x="4" y="34"/>
                    </a:lnTo>
                    <a:lnTo>
                      <a:pt x="2" y="44"/>
                    </a:lnTo>
                    <a:lnTo>
                      <a:pt x="0" y="54"/>
                    </a:lnTo>
                    <a:lnTo>
                      <a:pt x="2" y="64"/>
                    </a:lnTo>
                    <a:lnTo>
                      <a:pt x="4" y="74"/>
                    </a:lnTo>
                    <a:lnTo>
                      <a:pt x="8" y="83"/>
                    </a:lnTo>
                    <a:lnTo>
                      <a:pt x="16" y="91"/>
                    </a:lnTo>
                    <a:lnTo>
                      <a:pt x="16" y="91"/>
                    </a:lnTo>
                    <a:lnTo>
                      <a:pt x="24" y="97"/>
                    </a:lnTo>
                    <a:lnTo>
                      <a:pt x="33" y="103"/>
                    </a:lnTo>
                    <a:lnTo>
                      <a:pt x="43" y="105"/>
                    </a:lnTo>
                    <a:lnTo>
                      <a:pt x="53" y="107"/>
                    </a:lnTo>
                    <a:lnTo>
                      <a:pt x="63" y="105"/>
                    </a:lnTo>
                    <a:lnTo>
                      <a:pt x="73" y="103"/>
                    </a:lnTo>
                    <a:lnTo>
                      <a:pt x="83" y="97"/>
                    </a:lnTo>
                    <a:lnTo>
                      <a:pt x="91" y="91"/>
                    </a:lnTo>
                    <a:lnTo>
                      <a:pt x="91" y="91"/>
                    </a:lnTo>
                    <a:lnTo>
                      <a:pt x="97" y="83"/>
                    </a:lnTo>
                    <a:lnTo>
                      <a:pt x="103" y="74"/>
                    </a:lnTo>
                    <a:lnTo>
                      <a:pt x="105" y="64"/>
                    </a:lnTo>
                    <a:lnTo>
                      <a:pt x="107" y="54"/>
                    </a:lnTo>
                    <a:lnTo>
                      <a:pt x="105" y="44"/>
                    </a:lnTo>
                    <a:lnTo>
                      <a:pt x="103" y="34"/>
                    </a:lnTo>
                    <a:lnTo>
                      <a:pt x="97" y="24"/>
                    </a:lnTo>
                    <a:lnTo>
                      <a:pt x="91" y="16"/>
                    </a:lnTo>
                    <a:lnTo>
                      <a:pt x="91" y="16"/>
                    </a:lnTo>
                    <a:lnTo>
                      <a:pt x="83" y="10"/>
                    </a:lnTo>
                    <a:lnTo>
                      <a:pt x="73" y="4"/>
                    </a:lnTo>
                    <a:lnTo>
                      <a:pt x="63" y="2"/>
                    </a:lnTo>
                    <a:lnTo>
                      <a:pt x="53" y="0"/>
                    </a:lnTo>
                    <a:lnTo>
                      <a:pt x="43" y="2"/>
                    </a:lnTo>
                    <a:lnTo>
                      <a:pt x="33" y="4"/>
                    </a:lnTo>
                    <a:lnTo>
                      <a:pt x="24" y="10"/>
                    </a:lnTo>
                    <a:lnTo>
                      <a:pt x="16" y="16"/>
                    </a:lnTo>
                    <a:lnTo>
                      <a:pt x="16" y="1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4" name="Freeform 322"/>
              <p:cNvSpPr>
                <a:spLocks/>
              </p:cNvSpPr>
              <p:nvPr/>
            </p:nvSpPr>
            <p:spPr bwMode="auto">
              <a:xfrm>
                <a:off x="4546599" y="3222625"/>
                <a:ext cx="84138" cy="82550"/>
              </a:xfrm>
              <a:custGeom>
                <a:avLst/>
                <a:gdLst>
                  <a:gd name="T0" fmla="*/ 16 w 107"/>
                  <a:gd name="T1" fmla="*/ 16 h 105"/>
                  <a:gd name="T2" fmla="*/ 16 w 107"/>
                  <a:gd name="T3" fmla="*/ 16 h 105"/>
                  <a:gd name="T4" fmla="*/ 10 w 107"/>
                  <a:gd name="T5" fmla="*/ 24 h 105"/>
                  <a:gd name="T6" fmla="*/ 4 w 107"/>
                  <a:gd name="T7" fmla="*/ 32 h 105"/>
                  <a:gd name="T8" fmla="*/ 2 w 107"/>
                  <a:gd name="T9" fmla="*/ 41 h 105"/>
                  <a:gd name="T10" fmla="*/ 0 w 107"/>
                  <a:gd name="T11" fmla="*/ 51 h 105"/>
                  <a:gd name="T12" fmla="*/ 2 w 107"/>
                  <a:gd name="T13" fmla="*/ 63 h 105"/>
                  <a:gd name="T14" fmla="*/ 4 w 107"/>
                  <a:gd name="T15" fmla="*/ 73 h 105"/>
                  <a:gd name="T16" fmla="*/ 10 w 107"/>
                  <a:gd name="T17" fmla="*/ 81 h 105"/>
                  <a:gd name="T18" fmla="*/ 16 w 107"/>
                  <a:gd name="T19" fmla="*/ 89 h 105"/>
                  <a:gd name="T20" fmla="*/ 16 w 107"/>
                  <a:gd name="T21" fmla="*/ 89 h 105"/>
                  <a:gd name="T22" fmla="*/ 26 w 107"/>
                  <a:gd name="T23" fmla="*/ 97 h 105"/>
                  <a:gd name="T24" fmla="*/ 34 w 107"/>
                  <a:gd name="T25" fmla="*/ 101 h 105"/>
                  <a:gd name="T26" fmla="*/ 44 w 107"/>
                  <a:gd name="T27" fmla="*/ 105 h 105"/>
                  <a:gd name="T28" fmla="*/ 54 w 107"/>
                  <a:gd name="T29" fmla="*/ 105 h 105"/>
                  <a:gd name="T30" fmla="*/ 64 w 107"/>
                  <a:gd name="T31" fmla="*/ 105 h 105"/>
                  <a:gd name="T32" fmla="*/ 74 w 107"/>
                  <a:gd name="T33" fmla="*/ 101 h 105"/>
                  <a:gd name="T34" fmla="*/ 83 w 107"/>
                  <a:gd name="T35" fmla="*/ 97 h 105"/>
                  <a:gd name="T36" fmla="*/ 91 w 107"/>
                  <a:gd name="T37" fmla="*/ 89 h 105"/>
                  <a:gd name="T38" fmla="*/ 91 w 107"/>
                  <a:gd name="T39" fmla="*/ 89 h 105"/>
                  <a:gd name="T40" fmla="*/ 99 w 107"/>
                  <a:gd name="T41" fmla="*/ 81 h 105"/>
                  <a:gd name="T42" fmla="*/ 103 w 107"/>
                  <a:gd name="T43" fmla="*/ 73 h 105"/>
                  <a:gd name="T44" fmla="*/ 107 w 107"/>
                  <a:gd name="T45" fmla="*/ 63 h 105"/>
                  <a:gd name="T46" fmla="*/ 107 w 107"/>
                  <a:gd name="T47" fmla="*/ 51 h 105"/>
                  <a:gd name="T48" fmla="*/ 107 w 107"/>
                  <a:gd name="T49" fmla="*/ 41 h 105"/>
                  <a:gd name="T50" fmla="*/ 103 w 107"/>
                  <a:gd name="T51" fmla="*/ 32 h 105"/>
                  <a:gd name="T52" fmla="*/ 99 w 107"/>
                  <a:gd name="T53" fmla="*/ 24 h 105"/>
                  <a:gd name="T54" fmla="*/ 91 w 107"/>
                  <a:gd name="T55" fmla="*/ 16 h 105"/>
                  <a:gd name="T56" fmla="*/ 91 w 107"/>
                  <a:gd name="T57" fmla="*/ 16 h 105"/>
                  <a:gd name="T58" fmla="*/ 83 w 107"/>
                  <a:gd name="T59" fmla="*/ 8 h 105"/>
                  <a:gd name="T60" fmla="*/ 74 w 107"/>
                  <a:gd name="T61" fmla="*/ 4 h 105"/>
                  <a:gd name="T62" fmla="*/ 64 w 107"/>
                  <a:gd name="T63" fmla="*/ 0 h 105"/>
                  <a:gd name="T64" fmla="*/ 54 w 107"/>
                  <a:gd name="T65" fmla="*/ 0 h 105"/>
                  <a:gd name="T66" fmla="*/ 44 w 107"/>
                  <a:gd name="T67" fmla="*/ 0 h 105"/>
                  <a:gd name="T68" fmla="*/ 34 w 107"/>
                  <a:gd name="T69" fmla="*/ 4 h 105"/>
                  <a:gd name="T70" fmla="*/ 26 w 107"/>
                  <a:gd name="T71" fmla="*/ 8 h 105"/>
                  <a:gd name="T72" fmla="*/ 16 w 107"/>
                  <a:gd name="T73" fmla="*/ 16 h 105"/>
                  <a:gd name="T74" fmla="*/ 16 w 107"/>
                  <a:gd name="T75" fmla="*/ 1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5">
                    <a:moveTo>
                      <a:pt x="16" y="16"/>
                    </a:moveTo>
                    <a:lnTo>
                      <a:pt x="16" y="16"/>
                    </a:lnTo>
                    <a:lnTo>
                      <a:pt x="10" y="24"/>
                    </a:lnTo>
                    <a:lnTo>
                      <a:pt x="4" y="32"/>
                    </a:lnTo>
                    <a:lnTo>
                      <a:pt x="2" y="41"/>
                    </a:lnTo>
                    <a:lnTo>
                      <a:pt x="0" y="51"/>
                    </a:lnTo>
                    <a:lnTo>
                      <a:pt x="2" y="63"/>
                    </a:lnTo>
                    <a:lnTo>
                      <a:pt x="4" y="73"/>
                    </a:lnTo>
                    <a:lnTo>
                      <a:pt x="10" y="81"/>
                    </a:lnTo>
                    <a:lnTo>
                      <a:pt x="16" y="89"/>
                    </a:lnTo>
                    <a:lnTo>
                      <a:pt x="16" y="89"/>
                    </a:lnTo>
                    <a:lnTo>
                      <a:pt x="26" y="97"/>
                    </a:lnTo>
                    <a:lnTo>
                      <a:pt x="34" y="101"/>
                    </a:lnTo>
                    <a:lnTo>
                      <a:pt x="44" y="105"/>
                    </a:lnTo>
                    <a:lnTo>
                      <a:pt x="54" y="105"/>
                    </a:lnTo>
                    <a:lnTo>
                      <a:pt x="64" y="105"/>
                    </a:lnTo>
                    <a:lnTo>
                      <a:pt x="74" y="101"/>
                    </a:lnTo>
                    <a:lnTo>
                      <a:pt x="83" y="97"/>
                    </a:lnTo>
                    <a:lnTo>
                      <a:pt x="91" y="89"/>
                    </a:lnTo>
                    <a:lnTo>
                      <a:pt x="91" y="89"/>
                    </a:lnTo>
                    <a:lnTo>
                      <a:pt x="99" y="81"/>
                    </a:lnTo>
                    <a:lnTo>
                      <a:pt x="103" y="73"/>
                    </a:lnTo>
                    <a:lnTo>
                      <a:pt x="107" y="63"/>
                    </a:lnTo>
                    <a:lnTo>
                      <a:pt x="107" y="51"/>
                    </a:lnTo>
                    <a:lnTo>
                      <a:pt x="107" y="41"/>
                    </a:lnTo>
                    <a:lnTo>
                      <a:pt x="103" y="32"/>
                    </a:lnTo>
                    <a:lnTo>
                      <a:pt x="99" y="24"/>
                    </a:lnTo>
                    <a:lnTo>
                      <a:pt x="91" y="16"/>
                    </a:lnTo>
                    <a:lnTo>
                      <a:pt x="91" y="16"/>
                    </a:lnTo>
                    <a:lnTo>
                      <a:pt x="83" y="8"/>
                    </a:lnTo>
                    <a:lnTo>
                      <a:pt x="74" y="4"/>
                    </a:lnTo>
                    <a:lnTo>
                      <a:pt x="64" y="0"/>
                    </a:lnTo>
                    <a:lnTo>
                      <a:pt x="54" y="0"/>
                    </a:lnTo>
                    <a:lnTo>
                      <a:pt x="44" y="0"/>
                    </a:lnTo>
                    <a:lnTo>
                      <a:pt x="34" y="4"/>
                    </a:lnTo>
                    <a:lnTo>
                      <a:pt x="26" y="8"/>
                    </a:lnTo>
                    <a:lnTo>
                      <a:pt x="16" y="16"/>
                    </a:lnTo>
                    <a:lnTo>
                      <a:pt x="16" y="1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5" name="Freeform 323"/>
              <p:cNvSpPr>
                <a:spLocks/>
              </p:cNvSpPr>
              <p:nvPr/>
            </p:nvSpPr>
            <p:spPr bwMode="auto">
              <a:xfrm>
                <a:off x="5240337" y="3509964"/>
                <a:ext cx="84138" cy="82550"/>
              </a:xfrm>
              <a:custGeom>
                <a:avLst/>
                <a:gdLst>
                  <a:gd name="T0" fmla="*/ 0 w 104"/>
                  <a:gd name="T1" fmla="*/ 54 h 105"/>
                  <a:gd name="T2" fmla="*/ 0 w 104"/>
                  <a:gd name="T3" fmla="*/ 54 h 105"/>
                  <a:gd name="T4" fmla="*/ 0 w 104"/>
                  <a:gd name="T5" fmla="*/ 42 h 105"/>
                  <a:gd name="T6" fmla="*/ 4 w 104"/>
                  <a:gd name="T7" fmla="*/ 32 h 105"/>
                  <a:gd name="T8" fmla="*/ 8 w 104"/>
                  <a:gd name="T9" fmla="*/ 24 h 105"/>
                  <a:gd name="T10" fmla="*/ 15 w 104"/>
                  <a:gd name="T11" fmla="*/ 16 h 105"/>
                  <a:gd name="T12" fmla="*/ 23 w 104"/>
                  <a:gd name="T13" fmla="*/ 8 h 105"/>
                  <a:gd name="T14" fmla="*/ 31 w 104"/>
                  <a:gd name="T15" fmla="*/ 4 h 105"/>
                  <a:gd name="T16" fmla="*/ 41 w 104"/>
                  <a:gd name="T17" fmla="*/ 0 h 105"/>
                  <a:gd name="T18" fmla="*/ 53 w 104"/>
                  <a:gd name="T19" fmla="*/ 0 h 105"/>
                  <a:gd name="T20" fmla="*/ 53 w 104"/>
                  <a:gd name="T21" fmla="*/ 0 h 105"/>
                  <a:gd name="T22" fmla="*/ 63 w 104"/>
                  <a:gd name="T23" fmla="*/ 0 h 105"/>
                  <a:gd name="T24" fmla="*/ 73 w 104"/>
                  <a:gd name="T25" fmla="*/ 4 h 105"/>
                  <a:gd name="T26" fmla="*/ 81 w 104"/>
                  <a:gd name="T27" fmla="*/ 8 h 105"/>
                  <a:gd name="T28" fmla="*/ 89 w 104"/>
                  <a:gd name="T29" fmla="*/ 16 h 105"/>
                  <a:gd name="T30" fmla="*/ 96 w 104"/>
                  <a:gd name="T31" fmla="*/ 24 h 105"/>
                  <a:gd name="T32" fmla="*/ 100 w 104"/>
                  <a:gd name="T33" fmla="*/ 32 h 105"/>
                  <a:gd name="T34" fmla="*/ 104 w 104"/>
                  <a:gd name="T35" fmla="*/ 42 h 105"/>
                  <a:gd name="T36" fmla="*/ 104 w 104"/>
                  <a:gd name="T37" fmla="*/ 54 h 105"/>
                  <a:gd name="T38" fmla="*/ 104 w 104"/>
                  <a:gd name="T39" fmla="*/ 54 h 105"/>
                  <a:gd name="T40" fmla="*/ 104 w 104"/>
                  <a:gd name="T41" fmla="*/ 64 h 105"/>
                  <a:gd name="T42" fmla="*/ 100 w 104"/>
                  <a:gd name="T43" fmla="*/ 74 h 105"/>
                  <a:gd name="T44" fmla="*/ 96 w 104"/>
                  <a:gd name="T45" fmla="*/ 83 h 105"/>
                  <a:gd name="T46" fmla="*/ 89 w 104"/>
                  <a:gd name="T47" fmla="*/ 91 h 105"/>
                  <a:gd name="T48" fmla="*/ 81 w 104"/>
                  <a:gd name="T49" fmla="*/ 97 h 105"/>
                  <a:gd name="T50" fmla="*/ 73 w 104"/>
                  <a:gd name="T51" fmla="*/ 101 h 105"/>
                  <a:gd name="T52" fmla="*/ 63 w 104"/>
                  <a:gd name="T53" fmla="*/ 105 h 105"/>
                  <a:gd name="T54" fmla="*/ 53 w 104"/>
                  <a:gd name="T55" fmla="*/ 105 h 105"/>
                  <a:gd name="T56" fmla="*/ 53 w 104"/>
                  <a:gd name="T57" fmla="*/ 105 h 105"/>
                  <a:gd name="T58" fmla="*/ 41 w 104"/>
                  <a:gd name="T59" fmla="*/ 105 h 105"/>
                  <a:gd name="T60" fmla="*/ 31 w 104"/>
                  <a:gd name="T61" fmla="*/ 101 h 105"/>
                  <a:gd name="T62" fmla="*/ 23 w 104"/>
                  <a:gd name="T63" fmla="*/ 97 h 105"/>
                  <a:gd name="T64" fmla="*/ 15 w 104"/>
                  <a:gd name="T65" fmla="*/ 91 h 105"/>
                  <a:gd name="T66" fmla="*/ 8 w 104"/>
                  <a:gd name="T67" fmla="*/ 83 h 105"/>
                  <a:gd name="T68" fmla="*/ 4 w 104"/>
                  <a:gd name="T69" fmla="*/ 74 h 105"/>
                  <a:gd name="T70" fmla="*/ 0 w 104"/>
                  <a:gd name="T71" fmla="*/ 64 h 105"/>
                  <a:gd name="T72" fmla="*/ 0 w 104"/>
                  <a:gd name="T73" fmla="*/ 54 h 105"/>
                  <a:gd name="T74" fmla="*/ 0 w 104"/>
                  <a:gd name="T75" fmla="*/ 5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4" h="105">
                    <a:moveTo>
                      <a:pt x="0" y="54"/>
                    </a:moveTo>
                    <a:lnTo>
                      <a:pt x="0" y="54"/>
                    </a:lnTo>
                    <a:lnTo>
                      <a:pt x="0" y="42"/>
                    </a:lnTo>
                    <a:lnTo>
                      <a:pt x="4" y="32"/>
                    </a:lnTo>
                    <a:lnTo>
                      <a:pt x="8" y="24"/>
                    </a:lnTo>
                    <a:lnTo>
                      <a:pt x="15" y="16"/>
                    </a:lnTo>
                    <a:lnTo>
                      <a:pt x="23" y="8"/>
                    </a:lnTo>
                    <a:lnTo>
                      <a:pt x="31" y="4"/>
                    </a:lnTo>
                    <a:lnTo>
                      <a:pt x="41" y="0"/>
                    </a:lnTo>
                    <a:lnTo>
                      <a:pt x="53" y="0"/>
                    </a:lnTo>
                    <a:lnTo>
                      <a:pt x="53" y="0"/>
                    </a:lnTo>
                    <a:lnTo>
                      <a:pt x="63" y="0"/>
                    </a:lnTo>
                    <a:lnTo>
                      <a:pt x="73" y="4"/>
                    </a:lnTo>
                    <a:lnTo>
                      <a:pt x="81" y="8"/>
                    </a:lnTo>
                    <a:lnTo>
                      <a:pt x="89" y="16"/>
                    </a:lnTo>
                    <a:lnTo>
                      <a:pt x="96" y="24"/>
                    </a:lnTo>
                    <a:lnTo>
                      <a:pt x="100" y="32"/>
                    </a:lnTo>
                    <a:lnTo>
                      <a:pt x="104" y="42"/>
                    </a:lnTo>
                    <a:lnTo>
                      <a:pt x="104" y="54"/>
                    </a:lnTo>
                    <a:lnTo>
                      <a:pt x="104" y="54"/>
                    </a:lnTo>
                    <a:lnTo>
                      <a:pt x="104" y="64"/>
                    </a:lnTo>
                    <a:lnTo>
                      <a:pt x="100" y="74"/>
                    </a:lnTo>
                    <a:lnTo>
                      <a:pt x="96" y="83"/>
                    </a:lnTo>
                    <a:lnTo>
                      <a:pt x="89" y="91"/>
                    </a:lnTo>
                    <a:lnTo>
                      <a:pt x="81" y="97"/>
                    </a:lnTo>
                    <a:lnTo>
                      <a:pt x="73" y="101"/>
                    </a:lnTo>
                    <a:lnTo>
                      <a:pt x="63" y="105"/>
                    </a:lnTo>
                    <a:lnTo>
                      <a:pt x="53" y="105"/>
                    </a:lnTo>
                    <a:lnTo>
                      <a:pt x="53" y="105"/>
                    </a:lnTo>
                    <a:lnTo>
                      <a:pt x="41" y="105"/>
                    </a:lnTo>
                    <a:lnTo>
                      <a:pt x="31" y="101"/>
                    </a:lnTo>
                    <a:lnTo>
                      <a:pt x="23" y="97"/>
                    </a:lnTo>
                    <a:lnTo>
                      <a:pt x="15" y="91"/>
                    </a:lnTo>
                    <a:lnTo>
                      <a:pt x="8" y="83"/>
                    </a:lnTo>
                    <a:lnTo>
                      <a:pt x="4" y="74"/>
                    </a:lnTo>
                    <a:lnTo>
                      <a:pt x="0" y="64"/>
                    </a:lnTo>
                    <a:lnTo>
                      <a:pt x="0" y="54"/>
                    </a:lnTo>
                    <a:lnTo>
                      <a:pt x="0" y="54"/>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6" name="Freeform 324"/>
              <p:cNvSpPr>
                <a:spLocks/>
              </p:cNvSpPr>
              <p:nvPr/>
            </p:nvSpPr>
            <p:spPr bwMode="auto">
              <a:xfrm>
                <a:off x="5240337" y="1547813"/>
                <a:ext cx="84138" cy="82550"/>
              </a:xfrm>
              <a:custGeom>
                <a:avLst/>
                <a:gdLst>
                  <a:gd name="T0" fmla="*/ 0 w 104"/>
                  <a:gd name="T1" fmla="*/ 53 h 105"/>
                  <a:gd name="T2" fmla="*/ 0 w 104"/>
                  <a:gd name="T3" fmla="*/ 53 h 105"/>
                  <a:gd name="T4" fmla="*/ 0 w 104"/>
                  <a:gd name="T5" fmla="*/ 41 h 105"/>
                  <a:gd name="T6" fmla="*/ 4 w 104"/>
                  <a:gd name="T7" fmla="*/ 31 h 105"/>
                  <a:gd name="T8" fmla="*/ 8 w 104"/>
                  <a:gd name="T9" fmla="*/ 24 h 105"/>
                  <a:gd name="T10" fmla="*/ 15 w 104"/>
                  <a:gd name="T11" fmla="*/ 16 h 105"/>
                  <a:gd name="T12" fmla="*/ 23 w 104"/>
                  <a:gd name="T13" fmla="*/ 10 h 105"/>
                  <a:gd name="T14" fmla="*/ 31 w 104"/>
                  <a:gd name="T15" fmla="*/ 4 h 105"/>
                  <a:gd name="T16" fmla="*/ 41 w 104"/>
                  <a:gd name="T17" fmla="*/ 0 h 105"/>
                  <a:gd name="T18" fmla="*/ 53 w 104"/>
                  <a:gd name="T19" fmla="*/ 0 h 105"/>
                  <a:gd name="T20" fmla="*/ 53 w 104"/>
                  <a:gd name="T21" fmla="*/ 0 h 105"/>
                  <a:gd name="T22" fmla="*/ 63 w 104"/>
                  <a:gd name="T23" fmla="*/ 0 h 105"/>
                  <a:gd name="T24" fmla="*/ 73 w 104"/>
                  <a:gd name="T25" fmla="*/ 4 h 105"/>
                  <a:gd name="T26" fmla="*/ 81 w 104"/>
                  <a:gd name="T27" fmla="*/ 10 h 105"/>
                  <a:gd name="T28" fmla="*/ 89 w 104"/>
                  <a:gd name="T29" fmla="*/ 16 h 105"/>
                  <a:gd name="T30" fmla="*/ 96 w 104"/>
                  <a:gd name="T31" fmla="*/ 24 h 105"/>
                  <a:gd name="T32" fmla="*/ 100 w 104"/>
                  <a:gd name="T33" fmla="*/ 31 h 105"/>
                  <a:gd name="T34" fmla="*/ 104 w 104"/>
                  <a:gd name="T35" fmla="*/ 41 h 105"/>
                  <a:gd name="T36" fmla="*/ 104 w 104"/>
                  <a:gd name="T37" fmla="*/ 53 h 105"/>
                  <a:gd name="T38" fmla="*/ 104 w 104"/>
                  <a:gd name="T39" fmla="*/ 53 h 105"/>
                  <a:gd name="T40" fmla="*/ 104 w 104"/>
                  <a:gd name="T41" fmla="*/ 63 h 105"/>
                  <a:gd name="T42" fmla="*/ 100 w 104"/>
                  <a:gd name="T43" fmla="*/ 73 h 105"/>
                  <a:gd name="T44" fmla="*/ 96 w 104"/>
                  <a:gd name="T45" fmla="*/ 83 h 105"/>
                  <a:gd name="T46" fmla="*/ 89 w 104"/>
                  <a:gd name="T47" fmla="*/ 91 h 105"/>
                  <a:gd name="T48" fmla="*/ 81 w 104"/>
                  <a:gd name="T49" fmla="*/ 97 h 105"/>
                  <a:gd name="T50" fmla="*/ 73 w 104"/>
                  <a:gd name="T51" fmla="*/ 101 h 105"/>
                  <a:gd name="T52" fmla="*/ 63 w 104"/>
                  <a:gd name="T53" fmla="*/ 105 h 105"/>
                  <a:gd name="T54" fmla="*/ 53 w 104"/>
                  <a:gd name="T55" fmla="*/ 105 h 105"/>
                  <a:gd name="T56" fmla="*/ 53 w 104"/>
                  <a:gd name="T57" fmla="*/ 105 h 105"/>
                  <a:gd name="T58" fmla="*/ 41 w 104"/>
                  <a:gd name="T59" fmla="*/ 105 h 105"/>
                  <a:gd name="T60" fmla="*/ 31 w 104"/>
                  <a:gd name="T61" fmla="*/ 101 h 105"/>
                  <a:gd name="T62" fmla="*/ 23 w 104"/>
                  <a:gd name="T63" fmla="*/ 97 h 105"/>
                  <a:gd name="T64" fmla="*/ 15 w 104"/>
                  <a:gd name="T65" fmla="*/ 91 h 105"/>
                  <a:gd name="T66" fmla="*/ 8 w 104"/>
                  <a:gd name="T67" fmla="*/ 83 h 105"/>
                  <a:gd name="T68" fmla="*/ 4 w 104"/>
                  <a:gd name="T69" fmla="*/ 73 h 105"/>
                  <a:gd name="T70" fmla="*/ 0 w 104"/>
                  <a:gd name="T71" fmla="*/ 63 h 105"/>
                  <a:gd name="T72" fmla="*/ 0 w 104"/>
                  <a:gd name="T73" fmla="*/ 53 h 105"/>
                  <a:gd name="T74" fmla="*/ 0 w 104"/>
                  <a:gd name="T75" fmla="*/ 5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4" h="105">
                    <a:moveTo>
                      <a:pt x="0" y="53"/>
                    </a:moveTo>
                    <a:lnTo>
                      <a:pt x="0" y="53"/>
                    </a:lnTo>
                    <a:lnTo>
                      <a:pt x="0" y="41"/>
                    </a:lnTo>
                    <a:lnTo>
                      <a:pt x="4" y="31"/>
                    </a:lnTo>
                    <a:lnTo>
                      <a:pt x="8" y="24"/>
                    </a:lnTo>
                    <a:lnTo>
                      <a:pt x="15" y="16"/>
                    </a:lnTo>
                    <a:lnTo>
                      <a:pt x="23" y="10"/>
                    </a:lnTo>
                    <a:lnTo>
                      <a:pt x="31" y="4"/>
                    </a:lnTo>
                    <a:lnTo>
                      <a:pt x="41" y="0"/>
                    </a:lnTo>
                    <a:lnTo>
                      <a:pt x="53" y="0"/>
                    </a:lnTo>
                    <a:lnTo>
                      <a:pt x="53" y="0"/>
                    </a:lnTo>
                    <a:lnTo>
                      <a:pt x="63" y="0"/>
                    </a:lnTo>
                    <a:lnTo>
                      <a:pt x="73" y="4"/>
                    </a:lnTo>
                    <a:lnTo>
                      <a:pt x="81" y="10"/>
                    </a:lnTo>
                    <a:lnTo>
                      <a:pt x="89" y="16"/>
                    </a:lnTo>
                    <a:lnTo>
                      <a:pt x="96" y="24"/>
                    </a:lnTo>
                    <a:lnTo>
                      <a:pt x="100" y="31"/>
                    </a:lnTo>
                    <a:lnTo>
                      <a:pt x="104" y="41"/>
                    </a:lnTo>
                    <a:lnTo>
                      <a:pt x="104" y="53"/>
                    </a:lnTo>
                    <a:lnTo>
                      <a:pt x="104" y="53"/>
                    </a:lnTo>
                    <a:lnTo>
                      <a:pt x="104" y="63"/>
                    </a:lnTo>
                    <a:lnTo>
                      <a:pt x="100" y="73"/>
                    </a:lnTo>
                    <a:lnTo>
                      <a:pt x="96" y="83"/>
                    </a:lnTo>
                    <a:lnTo>
                      <a:pt x="89" y="91"/>
                    </a:lnTo>
                    <a:lnTo>
                      <a:pt x="81" y="97"/>
                    </a:lnTo>
                    <a:lnTo>
                      <a:pt x="73" y="101"/>
                    </a:lnTo>
                    <a:lnTo>
                      <a:pt x="63" y="105"/>
                    </a:lnTo>
                    <a:lnTo>
                      <a:pt x="53" y="105"/>
                    </a:lnTo>
                    <a:lnTo>
                      <a:pt x="53" y="105"/>
                    </a:lnTo>
                    <a:lnTo>
                      <a:pt x="41" y="105"/>
                    </a:lnTo>
                    <a:lnTo>
                      <a:pt x="31" y="101"/>
                    </a:lnTo>
                    <a:lnTo>
                      <a:pt x="23" y="97"/>
                    </a:lnTo>
                    <a:lnTo>
                      <a:pt x="15" y="91"/>
                    </a:lnTo>
                    <a:lnTo>
                      <a:pt x="8" y="83"/>
                    </a:lnTo>
                    <a:lnTo>
                      <a:pt x="4" y="73"/>
                    </a:lnTo>
                    <a:lnTo>
                      <a:pt x="0" y="63"/>
                    </a:lnTo>
                    <a:lnTo>
                      <a:pt x="0" y="53"/>
                    </a:lnTo>
                    <a:lnTo>
                      <a:pt x="0" y="53"/>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7" name="Freeform 325"/>
              <p:cNvSpPr>
                <a:spLocks/>
              </p:cNvSpPr>
              <p:nvPr/>
            </p:nvSpPr>
            <p:spPr bwMode="auto">
              <a:xfrm>
                <a:off x="822324" y="1751013"/>
                <a:ext cx="334961" cy="1641477"/>
              </a:xfrm>
              <a:custGeom>
                <a:avLst/>
                <a:gdLst>
                  <a:gd name="T0" fmla="*/ 0 w 423"/>
                  <a:gd name="T1" fmla="*/ 2066 h 2066"/>
                  <a:gd name="T2" fmla="*/ 0 w 423"/>
                  <a:gd name="T3" fmla="*/ 0 h 2066"/>
                  <a:gd name="T4" fmla="*/ 423 w 423"/>
                  <a:gd name="T5" fmla="*/ 25 h 2066"/>
                  <a:gd name="T6" fmla="*/ 423 w 423"/>
                  <a:gd name="T7" fmla="*/ 2041 h 2066"/>
                  <a:gd name="T8" fmla="*/ 0 w 423"/>
                  <a:gd name="T9" fmla="*/ 2066 h 2066"/>
                </a:gdLst>
                <a:ahLst/>
                <a:cxnLst>
                  <a:cxn ang="0">
                    <a:pos x="T0" y="T1"/>
                  </a:cxn>
                  <a:cxn ang="0">
                    <a:pos x="T2" y="T3"/>
                  </a:cxn>
                  <a:cxn ang="0">
                    <a:pos x="T4" y="T5"/>
                  </a:cxn>
                  <a:cxn ang="0">
                    <a:pos x="T6" y="T7"/>
                  </a:cxn>
                  <a:cxn ang="0">
                    <a:pos x="T8" y="T9"/>
                  </a:cxn>
                </a:cxnLst>
                <a:rect l="0" t="0" r="r" b="b"/>
                <a:pathLst>
                  <a:path w="423" h="2066">
                    <a:moveTo>
                      <a:pt x="0" y="2066"/>
                    </a:moveTo>
                    <a:lnTo>
                      <a:pt x="0" y="0"/>
                    </a:lnTo>
                    <a:lnTo>
                      <a:pt x="423" y="25"/>
                    </a:lnTo>
                    <a:lnTo>
                      <a:pt x="423" y="2041"/>
                    </a:lnTo>
                    <a:lnTo>
                      <a:pt x="0" y="2066"/>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8" name="Freeform 326"/>
              <p:cNvSpPr>
                <a:spLocks/>
              </p:cNvSpPr>
              <p:nvPr/>
            </p:nvSpPr>
            <p:spPr bwMode="auto">
              <a:xfrm>
                <a:off x="1157288" y="1924050"/>
                <a:ext cx="1006475" cy="1295400"/>
              </a:xfrm>
              <a:custGeom>
                <a:avLst/>
                <a:gdLst>
                  <a:gd name="T0" fmla="*/ 1140 w 1268"/>
                  <a:gd name="T1" fmla="*/ 1425 h 1632"/>
                  <a:gd name="T2" fmla="*/ 1140 w 1268"/>
                  <a:gd name="T3" fmla="*/ 1425 h 1632"/>
                  <a:gd name="T4" fmla="*/ 1146 w 1268"/>
                  <a:gd name="T5" fmla="*/ 1425 h 1632"/>
                  <a:gd name="T6" fmla="*/ 1152 w 1268"/>
                  <a:gd name="T7" fmla="*/ 1423 h 1632"/>
                  <a:gd name="T8" fmla="*/ 1160 w 1268"/>
                  <a:gd name="T9" fmla="*/ 1419 h 1632"/>
                  <a:gd name="T10" fmla="*/ 1166 w 1268"/>
                  <a:gd name="T11" fmla="*/ 1413 h 1632"/>
                  <a:gd name="T12" fmla="*/ 1178 w 1268"/>
                  <a:gd name="T13" fmla="*/ 1397 h 1632"/>
                  <a:gd name="T14" fmla="*/ 1189 w 1268"/>
                  <a:gd name="T15" fmla="*/ 1377 h 1632"/>
                  <a:gd name="T16" fmla="*/ 1201 w 1268"/>
                  <a:gd name="T17" fmla="*/ 1351 h 1632"/>
                  <a:gd name="T18" fmla="*/ 1211 w 1268"/>
                  <a:gd name="T19" fmla="*/ 1322 h 1632"/>
                  <a:gd name="T20" fmla="*/ 1221 w 1268"/>
                  <a:gd name="T21" fmla="*/ 1286 h 1632"/>
                  <a:gd name="T22" fmla="*/ 1231 w 1268"/>
                  <a:gd name="T23" fmla="*/ 1247 h 1632"/>
                  <a:gd name="T24" fmla="*/ 1239 w 1268"/>
                  <a:gd name="T25" fmla="*/ 1203 h 1632"/>
                  <a:gd name="T26" fmla="*/ 1247 w 1268"/>
                  <a:gd name="T27" fmla="*/ 1156 h 1632"/>
                  <a:gd name="T28" fmla="*/ 1253 w 1268"/>
                  <a:gd name="T29" fmla="*/ 1106 h 1632"/>
                  <a:gd name="T30" fmla="*/ 1259 w 1268"/>
                  <a:gd name="T31" fmla="*/ 1053 h 1632"/>
                  <a:gd name="T32" fmla="*/ 1262 w 1268"/>
                  <a:gd name="T33" fmla="*/ 998 h 1632"/>
                  <a:gd name="T34" fmla="*/ 1266 w 1268"/>
                  <a:gd name="T35" fmla="*/ 938 h 1632"/>
                  <a:gd name="T36" fmla="*/ 1268 w 1268"/>
                  <a:gd name="T37" fmla="*/ 879 h 1632"/>
                  <a:gd name="T38" fmla="*/ 1268 w 1268"/>
                  <a:gd name="T39" fmla="*/ 816 h 1632"/>
                  <a:gd name="T40" fmla="*/ 1268 w 1268"/>
                  <a:gd name="T41" fmla="*/ 816 h 1632"/>
                  <a:gd name="T42" fmla="*/ 1268 w 1268"/>
                  <a:gd name="T43" fmla="*/ 755 h 1632"/>
                  <a:gd name="T44" fmla="*/ 1266 w 1268"/>
                  <a:gd name="T45" fmla="*/ 694 h 1632"/>
                  <a:gd name="T46" fmla="*/ 1262 w 1268"/>
                  <a:gd name="T47" fmla="*/ 634 h 1632"/>
                  <a:gd name="T48" fmla="*/ 1259 w 1268"/>
                  <a:gd name="T49" fmla="*/ 579 h 1632"/>
                  <a:gd name="T50" fmla="*/ 1253 w 1268"/>
                  <a:gd name="T51" fmla="*/ 526 h 1632"/>
                  <a:gd name="T52" fmla="*/ 1247 w 1268"/>
                  <a:gd name="T53" fmla="*/ 476 h 1632"/>
                  <a:gd name="T54" fmla="*/ 1239 w 1268"/>
                  <a:gd name="T55" fmla="*/ 429 h 1632"/>
                  <a:gd name="T56" fmla="*/ 1231 w 1268"/>
                  <a:gd name="T57" fmla="*/ 385 h 1632"/>
                  <a:gd name="T58" fmla="*/ 1221 w 1268"/>
                  <a:gd name="T59" fmla="*/ 346 h 1632"/>
                  <a:gd name="T60" fmla="*/ 1211 w 1268"/>
                  <a:gd name="T61" fmla="*/ 312 h 1632"/>
                  <a:gd name="T62" fmla="*/ 1201 w 1268"/>
                  <a:gd name="T63" fmla="*/ 281 h 1632"/>
                  <a:gd name="T64" fmla="*/ 1189 w 1268"/>
                  <a:gd name="T65" fmla="*/ 255 h 1632"/>
                  <a:gd name="T66" fmla="*/ 1178 w 1268"/>
                  <a:gd name="T67" fmla="*/ 235 h 1632"/>
                  <a:gd name="T68" fmla="*/ 1166 w 1268"/>
                  <a:gd name="T69" fmla="*/ 219 h 1632"/>
                  <a:gd name="T70" fmla="*/ 1160 w 1268"/>
                  <a:gd name="T71" fmla="*/ 215 h 1632"/>
                  <a:gd name="T72" fmla="*/ 1152 w 1268"/>
                  <a:gd name="T73" fmla="*/ 211 h 1632"/>
                  <a:gd name="T74" fmla="*/ 1146 w 1268"/>
                  <a:gd name="T75" fmla="*/ 207 h 1632"/>
                  <a:gd name="T76" fmla="*/ 1140 w 1268"/>
                  <a:gd name="T77" fmla="*/ 207 h 1632"/>
                  <a:gd name="T78" fmla="*/ 0 w 1268"/>
                  <a:gd name="T79" fmla="*/ 0 h 1632"/>
                  <a:gd name="T80" fmla="*/ 0 w 1268"/>
                  <a:gd name="T81" fmla="*/ 1632 h 1632"/>
                  <a:gd name="T82" fmla="*/ 1140 w 1268"/>
                  <a:gd name="T83" fmla="*/ 1425 h 1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68" h="1632">
                    <a:moveTo>
                      <a:pt x="1140" y="1425"/>
                    </a:moveTo>
                    <a:lnTo>
                      <a:pt x="1140" y="1425"/>
                    </a:lnTo>
                    <a:lnTo>
                      <a:pt x="1146" y="1425"/>
                    </a:lnTo>
                    <a:lnTo>
                      <a:pt x="1152" y="1423"/>
                    </a:lnTo>
                    <a:lnTo>
                      <a:pt x="1160" y="1419"/>
                    </a:lnTo>
                    <a:lnTo>
                      <a:pt x="1166" y="1413"/>
                    </a:lnTo>
                    <a:lnTo>
                      <a:pt x="1178" y="1397"/>
                    </a:lnTo>
                    <a:lnTo>
                      <a:pt x="1189" y="1377"/>
                    </a:lnTo>
                    <a:lnTo>
                      <a:pt x="1201" y="1351"/>
                    </a:lnTo>
                    <a:lnTo>
                      <a:pt x="1211" y="1322"/>
                    </a:lnTo>
                    <a:lnTo>
                      <a:pt x="1221" y="1286"/>
                    </a:lnTo>
                    <a:lnTo>
                      <a:pt x="1231" y="1247"/>
                    </a:lnTo>
                    <a:lnTo>
                      <a:pt x="1239" y="1203"/>
                    </a:lnTo>
                    <a:lnTo>
                      <a:pt x="1247" y="1156"/>
                    </a:lnTo>
                    <a:lnTo>
                      <a:pt x="1253" y="1106"/>
                    </a:lnTo>
                    <a:lnTo>
                      <a:pt x="1259" y="1053"/>
                    </a:lnTo>
                    <a:lnTo>
                      <a:pt x="1262" y="998"/>
                    </a:lnTo>
                    <a:lnTo>
                      <a:pt x="1266" y="938"/>
                    </a:lnTo>
                    <a:lnTo>
                      <a:pt x="1268" y="879"/>
                    </a:lnTo>
                    <a:lnTo>
                      <a:pt x="1268" y="816"/>
                    </a:lnTo>
                    <a:lnTo>
                      <a:pt x="1268" y="816"/>
                    </a:lnTo>
                    <a:lnTo>
                      <a:pt x="1268" y="755"/>
                    </a:lnTo>
                    <a:lnTo>
                      <a:pt x="1266" y="694"/>
                    </a:lnTo>
                    <a:lnTo>
                      <a:pt x="1262" y="634"/>
                    </a:lnTo>
                    <a:lnTo>
                      <a:pt x="1259" y="579"/>
                    </a:lnTo>
                    <a:lnTo>
                      <a:pt x="1253" y="526"/>
                    </a:lnTo>
                    <a:lnTo>
                      <a:pt x="1247" y="476"/>
                    </a:lnTo>
                    <a:lnTo>
                      <a:pt x="1239" y="429"/>
                    </a:lnTo>
                    <a:lnTo>
                      <a:pt x="1231" y="385"/>
                    </a:lnTo>
                    <a:lnTo>
                      <a:pt x="1221" y="346"/>
                    </a:lnTo>
                    <a:lnTo>
                      <a:pt x="1211" y="312"/>
                    </a:lnTo>
                    <a:lnTo>
                      <a:pt x="1201" y="281"/>
                    </a:lnTo>
                    <a:lnTo>
                      <a:pt x="1189" y="255"/>
                    </a:lnTo>
                    <a:lnTo>
                      <a:pt x="1178" y="235"/>
                    </a:lnTo>
                    <a:lnTo>
                      <a:pt x="1166" y="219"/>
                    </a:lnTo>
                    <a:lnTo>
                      <a:pt x="1160" y="215"/>
                    </a:lnTo>
                    <a:lnTo>
                      <a:pt x="1152" y="211"/>
                    </a:lnTo>
                    <a:lnTo>
                      <a:pt x="1146" y="207"/>
                    </a:lnTo>
                    <a:lnTo>
                      <a:pt x="1140" y="207"/>
                    </a:lnTo>
                    <a:lnTo>
                      <a:pt x="0" y="0"/>
                    </a:lnTo>
                    <a:lnTo>
                      <a:pt x="0" y="1632"/>
                    </a:lnTo>
                    <a:lnTo>
                      <a:pt x="1140" y="1425"/>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9" name="Rectangle 327"/>
              <p:cNvSpPr>
                <a:spLocks noChangeArrowheads="1"/>
              </p:cNvSpPr>
              <p:nvPr/>
            </p:nvSpPr>
            <p:spPr bwMode="auto">
              <a:xfrm>
                <a:off x="0" y="2478091"/>
                <a:ext cx="3254374" cy="184149"/>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50" name="Rectangle 328"/>
              <p:cNvSpPr>
                <a:spLocks noChangeArrowheads="1"/>
              </p:cNvSpPr>
              <p:nvPr/>
            </p:nvSpPr>
            <p:spPr bwMode="auto">
              <a:xfrm>
                <a:off x="2159000" y="2478088"/>
                <a:ext cx="1095374" cy="184149"/>
              </a:xfrm>
              <a:prstGeom prst="rect">
                <a:avLst/>
              </a:prstGeom>
              <a:solidFill>
                <a:srgbClr val="80828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218" name="그룹 217"/>
            <p:cNvGrpSpPr/>
            <p:nvPr/>
          </p:nvGrpSpPr>
          <p:grpSpPr>
            <a:xfrm rot="3600000">
              <a:off x="7577687" y="2239697"/>
              <a:ext cx="666345" cy="666000"/>
              <a:chOff x="-5705856" y="-3474720"/>
              <a:chExt cx="1609344" cy="1609344"/>
            </a:xfrm>
          </p:grpSpPr>
          <p:sp>
            <p:nvSpPr>
              <p:cNvPr id="220" name="자유형 219"/>
              <p:cNvSpPr/>
              <p:nvPr/>
            </p:nvSpPr>
            <p:spPr>
              <a:xfrm>
                <a:off x="-4910328" y="-3474720"/>
                <a:ext cx="237744" cy="1609344"/>
              </a:xfrm>
              <a:custGeom>
                <a:avLst/>
                <a:gdLst>
                  <a:gd name="connsiteX0" fmla="*/ 9144 w 237744"/>
                  <a:gd name="connsiteY0" fmla="*/ 0 h 1609344"/>
                  <a:gd name="connsiteX1" fmla="*/ 171313 w 237744"/>
                  <a:gd name="connsiteY1" fmla="*/ 16348 h 1609344"/>
                  <a:gd name="connsiteX2" fmla="*/ 237744 w 237744"/>
                  <a:gd name="connsiteY2" fmla="*/ 33429 h 1609344"/>
                  <a:gd name="connsiteX3" fmla="*/ 237744 w 237744"/>
                  <a:gd name="connsiteY3" fmla="*/ 1575915 h 1609344"/>
                  <a:gd name="connsiteX4" fmla="*/ 171313 w 237744"/>
                  <a:gd name="connsiteY4" fmla="*/ 1592996 h 1609344"/>
                  <a:gd name="connsiteX5" fmla="*/ 9144 w 237744"/>
                  <a:gd name="connsiteY5" fmla="*/ 1609344 h 1609344"/>
                  <a:gd name="connsiteX6" fmla="*/ 0 w 237744"/>
                  <a:gd name="connsiteY6" fmla="*/ 1608883 h 1609344"/>
                  <a:gd name="connsiteX7" fmla="*/ 0 w 237744"/>
                  <a:gd name="connsiteY7" fmla="*/ 462 h 1609344"/>
                  <a:gd name="connsiteX8" fmla="*/ 9144 w 237744"/>
                  <a:gd name="connsiteY8" fmla="*/ 0 h 1609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7744" h="1609344">
                    <a:moveTo>
                      <a:pt x="9144" y="0"/>
                    </a:moveTo>
                    <a:cubicBezTo>
                      <a:pt x="64695" y="0"/>
                      <a:pt x="118931" y="5629"/>
                      <a:pt x="171313" y="16348"/>
                    </a:cubicBezTo>
                    <a:lnTo>
                      <a:pt x="237744" y="33429"/>
                    </a:lnTo>
                    <a:lnTo>
                      <a:pt x="237744" y="1575915"/>
                    </a:lnTo>
                    <a:lnTo>
                      <a:pt x="171313" y="1592996"/>
                    </a:lnTo>
                    <a:cubicBezTo>
                      <a:pt x="118931" y="1603715"/>
                      <a:pt x="64695" y="1609344"/>
                      <a:pt x="9144" y="1609344"/>
                    </a:cubicBezTo>
                    <a:lnTo>
                      <a:pt x="0" y="1608883"/>
                    </a:lnTo>
                    <a:lnTo>
                      <a:pt x="0" y="462"/>
                    </a:lnTo>
                    <a:lnTo>
                      <a:pt x="9144"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21" name="자유형 220"/>
              <p:cNvSpPr/>
              <p:nvPr/>
            </p:nvSpPr>
            <p:spPr>
              <a:xfrm>
                <a:off x="-5705856" y="-3448343"/>
                <a:ext cx="603504" cy="1556593"/>
              </a:xfrm>
              <a:custGeom>
                <a:avLst/>
                <a:gdLst>
                  <a:gd name="connsiteX0" fmla="*/ 603504 w 603504"/>
                  <a:gd name="connsiteY0" fmla="*/ 0 h 1556593"/>
                  <a:gd name="connsiteX1" fmla="*/ 603504 w 603504"/>
                  <a:gd name="connsiteY1" fmla="*/ 1556593 h 1556593"/>
                  <a:gd name="connsiteX2" fmla="*/ 565387 w 603504"/>
                  <a:gd name="connsiteY2" fmla="*/ 1546792 h 1556593"/>
                  <a:gd name="connsiteX3" fmla="*/ 0 w 603504"/>
                  <a:gd name="connsiteY3" fmla="*/ 778296 h 1556593"/>
                  <a:gd name="connsiteX4" fmla="*/ 565387 w 603504"/>
                  <a:gd name="connsiteY4" fmla="*/ 9800 h 1556593"/>
                  <a:gd name="connsiteX5" fmla="*/ 603504 w 603504"/>
                  <a:gd name="connsiteY5" fmla="*/ 0 h 1556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3504" h="1556593">
                    <a:moveTo>
                      <a:pt x="603504" y="0"/>
                    </a:moveTo>
                    <a:lnTo>
                      <a:pt x="603504" y="1556593"/>
                    </a:lnTo>
                    <a:lnTo>
                      <a:pt x="565387" y="1546792"/>
                    </a:lnTo>
                    <a:cubicBezTo>
                      <a:pt x="237830" y="1444911"/>
                      <a:pt x="0" y="1139378"/>
                      <a:pt x="0" y="778296"/>
                    </a:cubicBezTo>
                    <a:cubicBezTo>
                      <a:pt x="0" y="417215"/>
                      <a:pt x="237830" y="111681"/>
                      <a:pt x="565387" y="9800"/>
                    </a:cubicBezTo>
                    <a:lnTo>
                      <a:pt x="603504"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22" name="자유형 221"/>
              <p:cNvSpPr/>
              <p:nvPr/>
            </p:nvSpPr>
            <p:spPr>
              <a:xfrm>
                <a:off x="-4590288" y="-3412334"/>
                <a:ext cx="493776" cy="1484572"/>
              </a:xfrm>
              <a:custGeom>
                <a:avLst/>
                <a:gdLst>
                  <a:gd name="connsiteX0" fmla="*/ 0 w 493776"/>
                  <a:gd name="connsiteY0" fmla="*/ 0 h 1484572"/>
                  <a:gd name="connsiteX1" fmla="*/ 2319 w 493776"/>
                  <a:gd name="connsiteY1" fmla="*/ 849 h 1484572"/>
                  <a:gd name="connsiteX2" fmla="*/ 493776 w 493776"/>
                  <a:gd name="connsiteY2" fmla="*/ 742286 h 1484572"/>
                  <a:gd name="connsiteX3" fmla="*/ 2319 w 493776"/>
                  <a:gd name="connsiteY3" fmla="*/ 1483723 h 1484572"/>
                  <a:gd name="connsiteX4" fmla="*/ 0 w 493776"/>
                  <a:gd name="connsiteY4" fmla="*/ 1484572 h 1484572"/>
                  <a:gd name="connsiteX5" fmla="*/ 0 w 493776"/>
                  <a:gd name="connsiteY5" fmla="*/ 0 h 1484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6" h="1484572">
                    <a:moveTo>
                      <a:pt x="0" y="0"/>
                    </a:moveTo>
                    <a:lnTo>
                      <a:pt x="2319" y="849"/>
                    </a:lnTo>
                    <a:cubicBezTo>
                      <a:pt x="291128" y="123005"/>
                      <a:pt x="493776" y="408980"/>
                      <a:pt x="493776" y="742286"/>
                    </a:cubicBezTo>
                    <a:cubicBezTo>
                      <a:pt x="493776" y="1075592"/>
                      <a:pt x="291128" y="1361567"/>
                      <a:pt x="2319" y="1483723"/>
                    </a:cubicBezTo>
                    <a:lnTo>
                      <a:pt x="0" y="1484572"/>
                    </a:lnTo>
                    <a:lnTo>
                      <a:pt x="0"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sp>
          <p:nvSpPr>
            <p:cNvPr id="219" name="자유형 218"/>
            <p:cNvSpPr/>
            <p:nvPr/>
          </p:nvSpPr>
          <p:spPr>
            <a:xfrm>
              <a:off x="5898401" y="2571146"/>
              <a:ext cx="3486042" cy="936267"/>
            </a:xfrm>
            <a:custGeom>
              <a:avLst/>
              <a:gdLst>
                <a:gd name="connsiteX0" fmla="*/ 1445129 w 2931167"/>
                <a:gd name="connsiteY0" fmla="*/ 468602 h 787241"/>
                <a:gd name="connsiteX1" fmla="*/ 1442195 w 2931167"/>
                <a:gd name="connsiteY1" fmla="*/ 472777 h 787241"/>
                <a:gd name="connsiteX2" fmla="*/ 1435581 w 2931167"/>
                <a:gd name="connsiteY2" fmla="*/ 481932 h 787241"/>
                <a:gd name="connsiteX3" fmla="*/ 1428714 w 2931167"/>
                <a:gd name="connsiteY3" fmla="*/ 490833 h 787241"/>
                <a:gd name="connsiteX4" fmla="*/ 1422100 w 2931167"/>
                <a:gd name="connsiteY4" fmla="*/ 498972 h 787241"/>
                <a:gd name="connsiteX5" fmla="*/ 1414978 w 2931167"/>
                <a:gd name="connsiteY5" fmla="*/ 506601 h 787241"/>
                <a:gd name="connsiteX6" fmla="*/ 1408785 w 2931167"/>
                <a:gd name="connsiteY6" fmla="*/ 513251 h 787241"/>
                <a:gd name="connsiteX7" fmla="*/ 1409097 w 2931167"/>
                <a:gd name="connsiteY7" fmla="*/ 512959 h 787241"/>
                <a:gd name="connsiteX8" fmla="*/ 1416476 w 2931167"/>
                <a:gd name="connsiteY8" fmla="*/ 505584 h 787241"/>
                <a:gd name="connsiteX9" fmla="*/ 1424109 w 2931167"/>
                <a:gd name="connsiteY9" fmla="*/ 496937 h 787241"/>
                <a:gd name="connsiteX10" fmla="*/ 1431234 w 2931167"/>
                <a:gd name="connsiteY10" fmla="*/ 487782 h 787241"/>
                <a:gd name="connsiteX11" fmla="*/ 1438612 w 2931167"/>
                <a:gd name="connsiteY11" fmla="*/ 478372 h 787241"/>
                <a:gd name="connsiteX12" fmla="*/ 1458759 w 2931167"/>
                <a:gd name="connsiteY12" fmla="*/ 446379 h 787241"/>
                <a:gd name="connsiteX13" fmla="*/ 1454913 w 2931167"/>
                <a:gd name="connsiteY13" fmla="*/ 452686 h 787241"/>
                <a:gd name="connsiteX14" fmla="*/ 1450629 w 2931167"/>
                <a:gd name="connsiteY14" fmla="*/ 460181 h 787241"/>
                <a:gd name="connsiteX15" fmla="*/ 1452861 w 2931167"/>
                <a:gd name="connsiteY15" fmla="*/ 456755 h 787241"/>
                <a:gd name="connsiteX16" fmla="*/ 1472551 w 2931167"/>
                <a:gd name="connsiteY16" fmla="*/ 420938 h 787241"/>
                <a:gd name="connsiteX17" fmla="*/ 1472186 w 2931167"/>
                <a:gd name="connsiteY17" fmla="*/ 421654 h 787241"/>
                <a:gd name="connsiteX18" fmla="*/ 1472453 w 2931167"/>
                <a:gd name="connsiteY18" fmla="*/ 421150 h 787241"/>
                <a:gd name="connsiteX19" fmla="*/ 1669574 w 2931167"/>
                <a:gd name="connsiteY19" fmla="*/ 394616 h 787241"/>
                <a:gd name="connsiteX20" fmla="*/ 1668111 w 2931167"/>
                <a:gd name="connsiteY20" fmla="*/ 399157 h 787241"/>
                <a:gd name="connsiteX21" fmla="*/ 1668833 w 2931167"/>
                <a:gd name="connsiteY21" fmla="*/ 396990 h 787241"/>
                <a:gd name="connsiteX22" fmla="*/ 1494018 w 2931167"/>
                <a:gd name="connsiteY22" fmla="*/ 371288 h 787241"/>
                <a:gd name="connsiteX23" fmla="*/ 1490015 w 2931167"/>
                <a:gd name="connsiteY23" fmla="*/ 381477 h 787241"/>
                <a:gd name="connsiteX24" fmla="*/ 1484419 w 2931167"/>
                <a:gd name="connsiteY24" fmla="*/ 394447 h 787241"/>
                <a:gd name="connsiteX25" fmla="*/ 1478823 w 2931167"/>
                <a:gd name="connsiteY25" fmla="*/ 406908 h 787241"/>
                <a:gd name="connsiteX26" fmla="*/ 1474960 w 2931167"/>
                <a:gd name="connsiteY26" fmla="*/ 415738 h 787241"/>
                <a:gd name="connsiteX27" fmla="*/ 1478814 w 2931167"/>
                <a:gd name="connsiteY27" fmla="*/ 407417 h 787241"/>
                <a:gd name="connsiteX28" fmla="*/ 1484921 w 2931167"/>
                <a:gd name="connsiteY28" fmla="*/ 393938 h 787241"/>
                <a:gd name="connsiteX29" fmla="*/ 1491027 w 2931167"/>
                <a:gd name="connsiteY29" fmla="*/ 379442 h 787241"/>
                <a:gd name="connsiteX30" fmla="*/ 1698631 w 2931167"/>
                <a:gd name="connsiteY30" fmla="*/ 289018 h 787241"/>
                <a:gd name="connsiteX31" fmla="*/ 1691527 w 2931167"/>
                <a:gd name="connsiteY31" fmla="*/ 317643 h 787241"/>
                <a:gd name="connsiteX32" fmla="*/ 1682876 w 2931167"/>
                <a:gd name="connsiteY32" fmla="*/ 349687 h 787241"/>
                <a:gd name="connsiteX33" fmla="*/ 1675427 w 2931167"/>
                <a:gd name="connsiteY33" fmla="*/ 375853 h 787241"/>
                <a:gd name="connsiteX34" fmla="*/ 1677481 w 2931167"/>
                <a:gd name="connsiteY34" fmla="*/ 369269 h 787241"/>
                <a:gd name="connsiteX35" fmla="*/ 1685366 w 2931167"/>
                <a:gd name="connsiteY35" fmla="*/ 341294 h 787241"/>
                <a:gd name="connsiteX36" fmla="*/ 1692997 w 2931167"/>
                <a:gd name="connsiteY36" fmla="*/ 312556 h 787241"/>
                <a:gd name="connsiteX37" fmla="*/ 1700798 w 2931167"/>
                <a:gd name="connsiteY37" fmla="*/ 279319 h 787241"/>
                <a:gd name="connsiteX38" fmla="*/ 1699887 w 2931167"/>
                <a:gd name="connsiteY38" fmla="*/ 283772 h 787241"/>
                <a:gd name="connsiteX39" fmla="*/ 1700119 w 2931167"/>
                <a:gd name="connsiteY39" fmla="*/ 282801 h 787241"/>
                <a:gd name="connsiteX40" fmla="*/ 1525851 w 2931167"/>
                <a:gd name="connsiteY40" fmla="*/ 261707 h 787241"/>
                <a:gd name="connsiteX41" fmla="*/ 1522574 w 2931167"/>
                <a:gd name="connsiteY41" fmla="*/ 275426 h 787241"/>
                <a:gd name="connsiteX42" fmla="*/ 1518504 w 2931167"/>
                <a:gd name="connsiteY42" fmla="*/ 291957 h 787241"/>
                <a:gd name="connsiteX43" fmla="*/ 1514688 w 2931167"/>
                <a:gd name="connsiteY43" fmla="*/ 307979 h 787241"/>
                <a:gd name="connsiteX44" fmla="*/ 1510110 w 2931167"/>
                <a:gd name="connsiteY44" fmla="*/ 323492 h 787241"/>
                <a:gd name="connsiteX45" fmla="*/ 1506125 w 2931167"/>
                <a:gd name="connsiteY45" fmla="*/ 336771 h 787241"/>
                <a:gd name="connsiteX46" fmla="*/ 1507566 w 2931167"/>
                <a:gd name="connsiteY46" fmla="*/ 332647 h 787241"/>
                <a:gd name="connsiteX47" fmla="*/ 1512655 w 2931167"/>
                <a:gd name="connsiteY47" fmla="*/ 316117 h 787241"/>
                <a:gd name="connsiteX48" fmla="*/ 1517235 w 2931167"/>
                <a:gd name="connsiteY48" fmla="*/ 299077 h 787241"/>
                <a:gd name="connsiteX49" fmla="*/ 1521560 w 2931167"/>
                <a:gd name="connsiteY49" fmla="*/ 281275 h 787241"/>
                <a:gd name="connsiteX50" fmla="*/ 1525631 w 2931167"/>
                <a:gd name="connsiteY50" fmla="*/ 262710 h 787241"/>
                <a:gd name="connsiteX51" fmla="*/ 1536909 w 2931167"/>
                <a:gd name="connsiteY51" fmla="*/ 203869 h 787241"/>
                <a:gd name="connsiteX52" fmla="*/ 1536818 w 2931167"/>
                <a:gd name="connsiteY52" fmla="*/ 204471 h 787241"/>
                <a:gd name="connsiteX53" fmla="*/ 1533766 w 2931167"/>
                <a:gd name="connsiteY53" fmla="*/ 223037 h 787241"/>
                <a:gd name="connsiteX54" fmla="*/ 1530205 w 2931167"/>
                <a:gd name="connsiteY54" fmla="*/ 241093 h 787241"/>
                <a:gd name="connsiteX55" fmla="*/ 1527646 w 2931167"/>
                <a:gd name="connsiteY55" fmla="*/ 253523 h 787241"/>
                <a:gd name="connsiteX56" fmla="*/ 1529702 w 2931167"/>
                <a:gd name="connsiteY56" fmla="*/ 244145 h 787241"/>
                <a:gd name="connsiteX57" fmla="*/ 1533774 w 2931167"/>
                <a:gd name="connsiteY57" fmla="*/ 224562 h 787241"/>
                <a:gd name="connsiteX58" fmla="*/ 1536827 w 2931167"/>
                <a:gd name="connsiteY58" fmla="*/ 204471 h 787241"/>
                <a:gd name="connsiteX59" fmla="*/ 1722073 w 2931167"/>
                <a:gd name="connsiteY59" fmla="*/ 156535 h 787241"/>
                <a:gd name="connsiteX60" fmla="*/ 1721033 w 2931167"/>
                <a:gd name="connsiteY60" fmla="*/ 164622 h 787241"/>
                <a:gd name="connsiteX61" fmla="*/ 1721740 w 2931167"/>
                <a:gd name="connsiteY61" fmla="*/ 159711 h 787241"/>
                <a:gd name="connsiteX62" fmla="*/ 1550299 w 2931167"/>
                <a:gd name="connsiteY62" fmla="*/ 62816 h 787241"/>
                <a:gd name="connsiteX63" fmla="*/ 1549282 w 2931167"/>
                <a:gd name="connsiteY63" fmla="*/ 84433 h 787241"/>
                <a:gd name="connsiteX64" fmla="*/ 1547756 w 2931167"/>
                <a:gd name="connsiteY64" fmla="*/ 105542 h 787241"/>
                <a:gd name="connsiteX65" fmla="*/ 1546230 w 2931167"/>
                <a:gd name="connsiteY65" fmla="*/ 126141 h 787241"/>
                <a:gd name="connsiteX66" fmla="*/ 1544195 w 2931167"/>
                <a:gd name="connsiteY66" fmla="*/ 146741 h 787241"/>
                <a:gd name="connsiteX67" fmla="*/ 1542160 w 2931167"/>
                <a:gd name="connsiteY67" fmla="*/ 166324 h 787241"/>
                <a:gd name="connsiteX68" fmla="*/ 1542125 w 2931167"/>
                <a:gd name="connsiteY68" fmla="*/ 166594 h 787241"/>
                <a:gd name="connsiteX69" fmla="*/ 1542679 w 2931167"/>
                <a:gd name="connsiteY69" fmla="*/ 162763 h 787241"/>
                <a:gd name="connsiteX70" fmla="*/ 1545223 w 2931167"/>
                <a:gd name="connsiteY70" fmla="*/ 141146 h 787241"/>
                <a:gd name="connsiteX71" fmla="*/ 1547259 w 2931167"/>
                <a:gd name="connsiteY71" fmla="*/ 119020 h 787241"/>
                <a:gd name="connsiteX72" fmla="*/ 1548786 w 2931167"/>
                <a:gd name="connsiteY72" fmla="*/ 96386 h 787241"/>
                <a:gd name="connsiteX73" fmla="*/ 1550312 w 2931167"/>
                <a:gd name="connsiteY73" fmla="*/ 72988 h 787241"/>
                <a:gd name="connsiteX74" fmla="*/ 1550750 w 2931167"/>
                <a:gd name="connsiteY74" fmla="*/ 62816 h 787241"/>
                <a:gd name="connsiteX75" fmla="*/ 2337323 w 2931167"/>
                <a:gd name="connsiteY75" fmla="*/ 0 h 787241"/>
                <a:gd name="connsiteX76" fmla="*/ 2931167 w 2931167"/>
                <a:gd name="connsiteY76" fmla="*/ 0 h 787241"/>
                <a:gd name="connsiteX77" fmla="*/ 2931167 w 2931167"/>
                <a:gd name="connsiteY77" fmla="*/ 510 h 787241"/>
                <a:gd name="connsiteX78" fmla="*/ 2931167 w 2931167"/>
                <a:gd name="connsiteY78" fmla="*/ 3538 h 787241"/>
                <a:gd name="connsiteX79" fmla="*/ 2930656 w 2931167"/>
                <a:gd name="connsiteY79" fmla="*/ 6565 h 787241"/>
                <a:gd name="connsiteX80" fmla="*/ 2929123 w 2931167"/>
                <a:gd name="connsiteY80" fmla="*/ 11863 h 787241"/>
                <a:gd name="connsiteX81" fmla="*/ 2926057 w 2931167"/>
                <a:gd name="connsiteY81" fmla="*/ 16909 h 787241"/>
                <a:gd name="connsiteX82" fmla="*/ 2922479 w 2931167"/>
                <a:gd name="connsiteY82" fmla="*/ 21450 h 787241"/>
                <a:gd name="connsiteX83" fmla="*/ 2918135 w 2931167"/>
                <a:gd name="connsiteY83" fmla="*/ 24982 h 787241"/>
                <a:gd name="connsiteX84" fmla="*/ 2913025 w 2931167"/>
                <a:gd name="connsiteY84" fmla="*/ 28009 h 787241"/>
                <a:gd name="connsiteX85" fmla="*/ 2907403 w 2931167"/>
                <a:gd name="connsiteY85" fmla="*/ 29523 h 787241"/>
                <a:gd name="connsiteX86" fmla="*/ 2904337 w 2931167"/>
                <a:gd name="connsiteY86" fmla="*/ 30027 h 787241"/>
                <a:gd name="connsiteX87" fmla="*/ 2901271 w 2931167"/>
                <a:gd name="connsiteY87" fmla="*/ 30532 h 787241"/>
                <a:gd name="connsiteX88" fmla="*/ 2898460 w 2931167"/>
                <a:gd name="connsiteY88" fmla="*/ 30027 h 787241"/>
                <a:gd name="connsiteX89" fmla="*/ 2895394 w 2931167"/>
                <a:gd name="connsiteY89" fmla="*/ 29523 h 787241"/>
                <a:gd name="connsiteX90" fmla="*/ 2889261 w 2931167"/>
                <a:gd name="connsiteY90" fmla="*/ 28009 h 787241"/>
                <a:gd name="connsiteX91" fmla="*/ 2884151 w 2931167"/>
                <a:gd name="connsiteY91" fmla="*/ 24982 h 787241"/>
                <a:gd name="connsiteX92" fmla="*/ 2880062 w 2931167"/>
                <a:gd name="connsiteY92" fmla="*/ 21450 h 787241"/>
                <a:gd name="connsiteX93" fmla="*/ 2876229 w 2931167"/>
                <a:gd name="connsiteY93" fmla="*/ 16909 h 787241"/>
                <a:gd name="connsiteX94" fmla="*/ 2873674 w 2931167"/>
                <a:gd name="connsiteY94" fmla="*/ 11863 h 787241"/>
                <a:gd name="connsiteX95" fmla="*/ 2871630 w 2931167"/>
                <a:gd name="connsiteY95" fmla="*/ 6565 h 787241"/>
                <a:gd name="connsiteX96" fmla="*/ 2871381 w 2931167"/>
                <a:gd name="connsiteY96" fmla="*/ 5088 h 787241"/>
                <a:gd name="connsiteX97" fmla="*/ 2771049 w 2931167"/>
                <a:gd name="connsiteY97" fmla="*/ 5088 h 787241"/>
                <a:gd name="connsiteX98" fmla="*/ 2770356 w 2931167"/>
                <a:gd name="connsiteY98" fmla="*/ 5723 h 787241"/>
                <a:gd name="connsiteX99" fmla="*/ 2751772 w 2931167"/>
                <a:gd name="connsiteY99" fmla="*/ 21238 h 787241"/>
                <a:gd name="connsiteX100" fmla="*/ 2721478 w 2931167"/>
                <a:gd name="connsiteY100" fmla="*/ 45909 h 787241"/>
                <a:gd name="connsiteX101" fmla="*/ 2702384 w 2931167"/>
                <a:gd name="connsiteY101" fmla="*/ 60915 h 787241"/>
                <a:gd name="connsiteX102" fmla="*/ 2680746 w 2931167"/>
                <a:gd name="connsiteY102" fmla="*/ 77447 h 787241"/>
                <a:gd name="connsiteX103" fmla="*/ 2656052 w 2931167"/>
                <a:gd name="connsiteY103" fmla="*/ 95505 h 787241"/>
                <a:gd name="connsiteX104" fmla="*/ 2629576 w 2931167"/>
                <a:gd name="connsiteY104" fmla="*/ 115089 h 787241"/>
                <a:gd name="connsiteX105" fmla="*/ 2600809 w 2931167"/>
                <a:gd name="connsiteY105" fmla="*/ 135691 h 787241"/>
                <a:gd name="connsiteX106" fmla="*/ 2569750 w 2931167"/>
                <a:gd name="connsiteY106" fmla="*/ 157310 h 787241"/>
                <a:gd name="connsiteX107" fmla="*/ 2535892 w 2931167"/>
                <a:gd name="connsiteY107" fmla="*/ 179946 h 787241"/>
                <a:gd name="connsiteX108" fmla="*/ 2500760 w 2931167"/>
                <a:gd name="connsiteY108" fmla="*/ 203091 h 787241"/>
                <a:gd name="connsiteX109" fmla="*/ 2463592 w 2931167"/>
                <a:gd name="connsiteY109" fmla="*/ 226236 h 787241"/>
                <a:gd name="connsiteX110" fmla="*/ 2424388 w 2931167"/>
                <a:gd name="connsiteY110" fmla="*/ 250398 h 787241"/>
                <a:gd name="connsiteX111" fmla="*/ 2393075 w 2931167"/>
                <a:gd name="connsiteY111" fmla="*/ 268457 h 787241"/>
                <a:gd name="connsiteX112" fmla="*/ 2360998 w 2931167"/>
                <a:gd name="connsiteY112" fmla="*/ 286515 h 787241"/>
                <a:gd name="connsiteX113" fmla="*/ 2327649 w 2931167"/>
                <a:gd name="connsiteY113" fmla="*/ 304573 h 787241"/>
                <a:gd name="connsiteX114" fmla="*/ 2294045 w 2931167"/>
                <a:gd name="connsiteY114" fmla="*/ 322631 h 787241"/>
                <a:gd name="connsiteX115" fmla="*/ 2300155 w 2931167"/>
                <a:gd name="connsiteY115" fmla="*/ 297706 h 787241"/>
                <a:gd name="connsiteX116" fmla="*/ 2305501 w 2931167"/>
                <a:gd name="connsiteY116" fmla="*/ 273035 h 787241"/>
                <a:gd name="connsiteX117" fmla="*/ 2310592 w 2931167"/>
                <a:gd name="connsiteY117" fmla="*/ 248872 h 787241"/>
                <a:gd name="connsiteX118" fmla="*/ 2315684 w 2931167"/>
                <a:gd name="connsiteY118" fmla="*/ 224710 h 787241"/>
                <a:gd name="connsiteX119" fmla="*/ 2319757 w 2931167"/>
                <a:gd name="connsiteY119" fmla="*/ 200548 h 787241"/>
                <a:gd name="connsiteX120" fmla="*/ 2323067 w 2931167"/>
                <a:gd name="connsiteY120" fmla="*/ 176894 h 787241"/>
                <a:gd name="connsiteX121" fmla="*/ 2326631 w 2931167"/>
                <a:gd name="connsiteY121" fmla="*/ 154003 h 787241"/>
                <a:gd name="connsiteX122" fmla="*/ 2329176 w 2931167"/>
                <a:gd name="connsiteY122" fmla="*/ 130858 h 787241"/>
                <a:gd name="connsiteX123" fmla="*/ 2331722 w 2931167"/>
                <a:gd name="connsiteY123" fmla="*/ 108222 h 787241"/>
                <a:gd name="connsiteX124" fmla="*/ 2333759 w 2931167"/>
                <a:gd name="connsiteY124" fmla="*/ 85586 h 787241"/>
                <a:gd name="connsiteX125" fmla="*/ 2335286 w 2931167"/>
                <a:gd name="connsiteY125" fmla="*/ 63458 h 787241"/>
                <a:gd name="connsiteX126" fmla="*/ 2336305 w 2931167"/>
                <a:gd name="connsiteY126" fmla="*/ 41839 h 787241"/>
                <a:gd name="connsiteX127" fmla="*/ 2337323 w 2931167"/>
                <a:gd name="connsiteY127" fmla="*/ 20729 h 787241"/>
                <a:gd name="connsiteX128" fmla="*/ 0 w 2931167"/>
                <a:gd name="connsiteY128" fmla="*/ 0 h 787241"/>
                <a:gd name="connsiteX129" fmla="*/ 2337300 w 2931167"/>
                <a:gd name="connsiteY129" fmla="*/ 0 h 787241"/>
                <a:gd name="connsiteX130" fmla="*/ 2337300 w 2931167"/>
                <a:gd name="connsiteY130" fmla="*/ 20599 h 787241"/>
                <a:gd name="connsiteX131" fmla="*/ 2336283 w 2931167"/>
                <a:gd name="connsiteY131" fmla="*/ 41708 h 787241"/>
                <a:gd name="connsiteX132" fmla="*/ 2335265 w 2931167"/>
                <a:gd name="connsiteY132" fmla="*/ 63325 h 787241"/>
                <a:gd name="connsiteX133" fmla="*/ 2333739 w 2931167"/>
                <a:gd name="connsiteY133" fmla="*/ 85451 h 787241"/>
                <a:gd name="connsiteX134" fmla="*/ 2331704 w 2931167"/>
                <a:gd name="connsiteY134" fmla="*/ 108085 h 787241"/>
                <a:gd name="connsiteX135" fmla="*/ 2329161 w 2931167"/>
                <a:gd name="connsiteY135" fmla="*/ 130719 h 787241"/>
                <a:gd name="connsiteX136" fmla="*/ 2326617 w 2931167"/>
                <a:gd name="connsiteY136" fmla="*/ 153862 h 787241"/>
                <a:gd name="connsiteX137" fmla="*/ 2323056 w 2931167"/>
                <a:gd name="connsiteY137" fmla="*/ 176751 h 787241"/>
                <a:gd name="connsiteX138" fmla="*/ 2319749 w 2931167"/>
                <a:gd name="connsiteY138" fmla="*/ 200402 h 787241"/>
                <a:gd name="connsiteX139" fmla="*/ 2315679 w 2931167"/>
                <a:gd name="connsiteY139" fmla="*/ 224562 h 787241"/>
                <a:gd name="connsiteX140" fmla="*/ 2310592 w 2931167"/>
                <a:gd name="connsiteY140" fmla="*/ 248723 h 787241"/>
                <a:gd name="connsiteX141" fmla="*/ 2305505 w 2931167"/>
                <a:gd name="connsiteY141" fmla="*/ 272883 h 787241"/>
                <a:gd name="connsiteX142" fmla="*/ 2300163 w 2931167"/>
                <a:gd name="connsiteY142" fmla="*/ 297552 h 787241"/>
                <a:gd name="connsiteX143" fmla="*/ 2294058 w 2931167"/>
                <a:gd name="connsiteY143" fmla="*/ 322475 h 787241"/>
                <a:gd name="connsiteX144" fmla="*/ 2256921 w 2931167"/>
                <a:gd name="connsiteY144" fmla="*/ 341294 h 787241"/>
                <a:gd name="connsiteX145" fmla="*/ 2219021 w 2931167"/>
                <a:gd name="connsiteY145" fmla="*/ 359351 h 787241"/>
                <a:gd name="connsiteX146" fmla="*/ 2180358 w 2931167"/>
                <a:gd name="connsiteY146" fmla="*/ 377408 h 787241"/>
                <a:gd name="connsiteX147" fmla="*/ 2141186 w 2931167"/>
                <a:gd name="connsiteY147" fmla="*/ 394447 h 787241"/>
                <a:gd name="connsiteX148" fmla="*/ 2100996 w 2931167"/>
                <a:gd name="connsiteY148" fmla="*/ 410978 h 787241"/>
                <a:gd name="connsiteX149" fmla="*/ 2059790 w 2931167"/>
                <a:gd name="connsiteY149" fmla="*/ 426491 h 787241"/>
                <a:gd name="connsiteX150" fmla="*/ 2018583 w 2931167"/>
                <a:gd name="connsiteY150" fmla="*/ 441750 h 787241"/>
                <a:gd name="connsiteX151" fmla="*/ 1976358 w 2931167"/>
                <a:gd name="connsiteY151" fmla="*/ 455737 h 787241"/>
                <a:gd name="connsiteX152" fmla="*/ 1933116 w 2931167"/>
                <a:gd name="connsiteY152" fmla="*/ 468708 h 787241"/>
                <a:gd name="connsiteX153" fmla="*/ 1911496 w 2931167"/>
                <a:gd name="connsiteY153" fmla="*/ 474811 h 787241"/>
                <a:gd name="connsiteX154" fmla="*/ 1889875 w 2931167"/>
                <a:gd name="connsiteY154" fmla="*/ 480915 h 787241"/>
                <a:gd name="connsiteX155" fmla="*/ 1868000 w 2931167"/>
                <a:gd name="connsiteY155" fmla="*/ 486510 h 787241"/>
                <a:gd name="connsiteX156" fmla="*/ 1846378 w 2931167"/>
                <a:gd name="connsiteY156" fmla="*/ 491342 h 787241"/>
                <a:gd name="connsiteX157" fmla="*/ 1824249 w 2931167"/>
                <a:gd name="connsiteY157" fmla="*/ 496428 h 787241"/>
                <a:gd name="connsiteX158" fmla="*/ 1802119 w 2931167"/>
                <a:gd name="connsiteY158" fmla="*/ 501006 h 787241"/>
                <a:gd name="connsiteX159" fmla="*/ 1779481 w 2931167"/>
                <a:gd name="connsiteY159" fmla="*/ 505075 h 787241"/>
                <a:gd name="connsiteX160" fmla="*/ 1757351 w 2931167"/>
                <a:gd name="connsiteY160" fmla="*/ 508890 h 787241"/>
                <a:gd name="connsiteX161" fmla="*/ 1734713 w 2931167"/>
                <a:gd name="connsiteY161" fmla="*/ 512450 h 787241"/>
                <a:gd name="connsiteX162" fmla="*/ 1712075 w 2931167"/>
                <a:gd name="connsiteY162" fmla="*/ 515502 h 787241"/>
                <a:gd name="connsiteX163" fmla="*/ 1689436 w 2931167"/>
                <a:gd name="connsiteY163" fmla="*/ 518045 h 787241"/>
                <a:gd name="connsiteX164" fmla="*/ 1666798 w 2931167"/>
                <a:gd name="connsiteY164" fmla="*/ 520589 h 787241"/>
                <a:gd name="connsiteX165" fmla="*/ 1643651 w 2931167"/>
                <a:gd name="connsiteY165" fmla="*/ 522623 h 787241"/>
                <a:gd name="connsiteX166" fmla="*/ 1621048 w 2931167"/>
                <a:gd name="connsiteY166" fmla="*/ 524147 h 787241"/>
                <a:gd name="connsiteX167" fmla="*/ 1621047 w 2931167"/>
                <a:gd name="connsiteY167" fmla="*/ 524149 h 787241"/>
                <a:gd name="connsiteX168" fmla="*/ 1589496 w 2931167"/>
                <a:gd name="connsiteY168" fmla="*/ 525166 h 787241"/>
                <a:gd name="connsiteX169" fmla="*/ 1558454 w 2931167"/>
                <a:gd name="connsiteY169" fmla="*/ 525675 h 787241"/>
                <a:gd name="connsiteX170" fmla="*/ 1517998 w 2931167"/>
                <a:gd name="connsiteY170" fmla="*/ 525675 h 787241"/>
                <a:gd name="connsiteX171" fmla="*/ 1478305 w 2931167"/>
                <a:gd name="connsiteY171" fmla="*/ 524658 h 787241"/>
                <a:gd name="connsiteX172" fmla="*/ 1439630 w 2931167"/>
                <a:gd name="connsiteY172" fmla="*/ 522623 h 787241"/>
                <a:gd name="connsiteX173" fmla="*/ 1400955 w 2931167"/>
                <a:gd name="connsiteY173" fmla="*/ 520589 h 787241"/>
                <a:gd name="connsiteX174" fmla="*/ 1400958 w 2931167"/>
                <a:gd name="connsiteY174" fmla="*/ 520586 h 787241"/>
                <a:gd name="connsiteX175" fmla="*/ 1356220 w 2931167"/>
                <a:gd name="connsiteY175" fmla="*/ 517028 h 787241"/>
                <a:gd name="connsiteX176" fmla="*/ 1311961 w 2931167"/>
                <a:gd name="connsiteY176" fmla="*/ 512450 h 787241"/>
                <a:gd name="connsiteX177" fmla="*/ 1268464 w 2931167"/>
                <a:gd name="connsiteY177" fmla="*/ 507618 h 787241"/>
                <a:gd name="connsiteX178" fmla="*/ 1225731 w 2931167"/>
                <a:gd name="connsiteY178" fmla="*/ 501515 h 787241"/>
                <a:gd name="connsiteX179" fmla="*/ 1182998 w 2931167"/>
                <a:gd name="connsiteY179" fmla="*/ 494394 h 787241"/>
                <a:gd name="connsiteX180" fmla="*/ 1140265 w 2931167"/>
                <a:gd name="connsiteY180" fmla="*/ 486764 h 787241"/>
                <a:gd name="connsiteX181" fmla="*/ 1097532 w 2931167"/>
                <a:gd name="connsiteY181" fmla="*/ 478372 h 787241"/>
                <a:gd name="connsiteX182" fmla="*/ 1054799 w 2931167"/>
                <a:gd name="connsiteY182" fmla="*/ 469216 h 787241"/>
                <a:gd name="connsiteX183" fmla="*/ 1038334 w 2931167"/>
                <a:gd name="connsiteY183" fmla="*/ 465484 h 787241"/>
                <a:gd name="connsiteX184" fmla="*/ 1036847 w 2931167"/>
                <a:gd name="connsiteY184" fmla="*/ 467564 h 787241"/>
                <a:gd name="connsiteX185" fmla="*/ 1020004 w 2931167"/>
                <a:gd name="connsiteY185" fmla="*/ 490851 h 787241"/>
                <a:gd name="connsiteX186" fmla="*/ 1011990 w 2931167"/>
                <a:gd name="connsiteY186" fmla="*/ 502387 h 787241"/>
                <a:gd name="connsiteX187" fmla="*/ 992055 w 2931167"/>
                <a:gd name="connsiteY187" fmla="*/ 531397 h 787241"/>
                <a:gd name="connsiteX188" fmla="*/ 977039 w 2931167"/>
                <a:gd name="connsiteY188" fmla="*/ 554540 h 787241"/>
                <a:gd name="connsiteX189" fmla="*/ 961260 w 2931167"/>
                <a:gd name="connsiteY189" fmla="*/ 579209 h 787241"/>
                <a:gd name="connsiteX190" fmla="*/ 945735 w 2931167"/>
                <a:gd name="connsiteY190" fmla="*/ 604895 h 787241"/>
                <a:gd name="connsiteX191" fmla="*/ 929701 w 2931167"/>
                <a:gd name="connsiteY191" fmla="*/ 632107 h 787241"/>
                <a:gd name="connsiteX192" fmla="*/ 914686 w 2931167"/>
                <a:gd name="connsiteY192" fmla="*/ 659065 h 787241"/>
                <a:gd name="connsiteX193" fmla="*/ 900434 w 2931167"/>
                <a:gd name="connsiteY193" fmla="*/ 686786 h 787241"/>
                <a:gd name="connsiteX194" fmla="*/ 894580 w 2931167"/>
                <a:gd name="connsiteY194" fmla="*/ 700264 h 787241"/>
                <a:gd name="connsiteX195" fmla="*/ 888472 w 2931167"/>
                <a:gd name="connsiteY195" fmla="*/ 713489 h 787241"/>
                <a:gd name="connsiteX196" fmla="*/ 882873 w 2931167"/>
                <a:gd name="connsiteY196" fmla="*/ 726459 h 787241"/>
                <a:gd name="connsiteX197" fmla="*/ 877783 w 2931167"/>
                <a:gd name="connsiteY197" fmla="*/ 739429 h 787241"/>
                <a:gd name="connsiteX198" fmla="*/ 873456 w 2931167"/>
                <a:gd name="connsiteY198" fmla="*/ 752145 h 787241"/>
                <a:gd name="connsiteX199" fmla="*/ 869384 w 2931167"/>
                <a:gd name="connsiteY199" fmla="*/ 764098 h 787241"/>
                <a:gd name="connsiteX200" fmla="*/ 866330 w 2931167"/>
                <a:gd name="connsiteY200" fmla="*/ 776305 h 787241"/>
                <a:gd name="connsiteX201" fmla="*/ 864294 w 2931167"/>
                <a:gd name="connsiteY201" fmla="*/ 787241 h 787241"/>
                <a:gd name="connsiteX202" fmla="*/ 0 w 2931167"/>
                <a:gd name="connsiteY202" fmla="*/ 604387 h 787241"/>
                <a:gd name="connsiteX203" fmla="*/ 0 w 2931167"/>
                <a:gd name="connsiteY203" fmla="*/ 546148 h 787241"/>
                <a:gd name="connsiteX204" fmla="*/ 27741 w 2931167"/>
                <a:gd name="connsiteY204" fmla="*/ 548691 h 787241"/>
                <a:gd name="connsiteX205" fmla="*/ 58790 w 2931167"/>
                <a:gd name="connsiteY205" fmla="*/ 551488 h 787241"/>
                <a:gd name="connsiteX206" fmla="*/ 100020 w 2931167"/>
                <a:gd name="connsiteY206" fmla="*/ 554032 h 787241"/>
                <a:gd name="connsiteX207" fmla="*/ 123689 w 2931167"/>
                <a:gd name="connsiteY207" fmla="*/ 555558 h 787241"/>
                <a:gd name="connsiteX208" fmla="*/ 148885 w 2931167"/>
                <a:gd name="connsiteY208" fmla="*/ 556575 h 787241"/>
                <a:gd name="connsiteX209" fmla="*/ 175862 w 2931167"/>
                <a:gd name="connsiteY209" fmla="*/ 557083 h 787241"/>
                <a:gd name="connsiteX210" fmla="*/ 204112 w 2931167"/>
                <a:gd name="connsiteY210" fmla="*/ 557592 h 787241"/>
                <a:gd name="connsiteX211" fmla="*/ 233380 w 2931167"/>
                <a:gd name="connsiteY211" fmla="*/ 557592 h 787241"/>
                <a:gd name="connsiteX212" fmla="*/ 263411 w 2931167"/>
                <a:gd name="connsiteY212" fmla="*/ 557083 h 787241"/>
                <a:gd name="connsiteX213" fmla="*/ 294715 w 2931167"/>
                <a:gd name="connsiteY213" fmla="*/ 555558 h 787241"/>
                <a:gd name="connsiteX214" fmla="*/ 325765 w 2931167"/>
                <a:gd name="connsiteY214" fmla="*/ 553523 h 787241"/>
                <a:gd name="connsiteX215" fmla="*/ 357068 w 2931167"/>
                <a:gd name="connsiteY215" fmla="*/ 550980 h 787241"/>
                <a:gd name="connsiteX216" fmla="*/ 388627 w 2931167"/>
                <a:gd name="connsiteY216" fmla="*/ 547674 h 787241"/>
                <a:gd name="connsiteX217" fmla="*/ 419931 w 2931167"/>
                <a:gd name="connsiteY217" fmla="*/ 543605 h 787241"/>
                <a:gd name="connsiteX218" fmla="*/ 450471 w 2931167"/>
                <a:gd name="connsiteY218" fmla="*/ 538010 h 787241"/>
                <a:gd name="connsiteX219" fmla="*/ 465996 w 2931167"/>
                <a:gd name="connsiteY219" fmla="*/ 534958 h 787241"/>
                <a:gd name="connsiteX220" fmla="*/ 481266 w 2931167"/>
                <a:gd name="connsiteY220" fmla="*/ 531397 h 787241"/>
                <a:gd name="connsiteX221" fmla="*/ 495773 w 2931167"/>
                <a:gd name="connsiteY221" fmla="*/ 528091 h 787241"/>
                <a:gd name="connsiteX222" fmla="*/ 510280 w 2931167"/>
                <a:gd name="connsiteY222" fmla="*/ 524022 h 787241"/>
                <a:gd name="connsiteX223" fmla="*/ 524532 w 2931167"/>
                <a:gd name="connsiteY223" fmla="*/ 519953 h 787241"/>
                <a:gd name="connsiteX224" fmla="*/ 538530 w 2931167"/>
                <a:gd name="connsiteY224" fmla="*/ 515375 h 787241"/>
                <a:gd name="connsiteX225" fmla="*/ 552018 w 2931167"/>
                <a:gd name="connsiteY225" fmla="*/ 510289 h 787241"/>
                <a:gd name="connsiteX226" fmla="*/ 565761 w 2931167"/>
                <a:gd name="connsiteY226" fmla="*/ 505457 h 787241"/>
                <a:gd name="connsiteX227" fmla="*/ 578232 w 2931167"/>
                <a:gd name="connsiteY227" fmla="*/ 499862 h 787241"/>
                <a:gd name="connsiteX228" fmla="*/ 590703 w 2931167"/>
                <a:gd name="connsiteY228" fmla="*/ 493758 h 787241"/>
                <a:gd name="connsiteX229" fmla="*/ 602919 w 2931167"/>
                <a:gd name="connsiteY229" fmla="*/ 487655 h 787241"/>
                <a:gd name="connsiteX230" fmla="*/ 614372 w 2931167"/>
                <a:gd name="connsiteY230" fmla="*/ 481297 h 787241"/>
                <a:gd name="connsiteX231" fmla="*/ 625570 w 2931167"/>
                <a:gd name="connsiteY231" fmla="*/ 474176 h 787241"/>
                <a:gd name="connsiteX232" fmla="*/ 636004 w 2931167"/>
                <a:gd name="connsiteY232" fmla="*/ 466546 h 787241"/>
                <a:gd name="connsiteX233" fmla="*/ 646184 w 2931167"/>
                <a:gd name="connsiteY233" fmla="*/ 459171 h 787241"/>
                <a:gd name="connsiteX234" fmla="*/ 655601 w 2931167"/>
                <a:gd name="connsiteY234" fmla="*/ 450524 h 787241"/>
                <a:gd name="connsiteX235" fmla="*/ 664763 w 2931167"/>
                <a:gd name="connsiteY235" fmla="*/ 442132 h 787241"/>
                <a:gd name="connsiteX236" fmla="*/ 672653 w 2931167"/>
                <a:gd name="connsiteY236" fmla="*/ 432976 h 787241"/>
                <a:gd name="connsiteX237" fmla="*/ 680288 w 2931167"/>
                <a:gd name="connsiteY237" fmla="*/ 424075 h 787241"/>
                <a:gd name="connsiteX238" fmla="*/ 687414 w 2931167"/>
                <a:gd name="connsiteY238" fmla="*/ 413902 h 787241"/>
                <a:gd name="connsiteX239" fmla="*/ 692602 w 2931167"/>
                <a:gd name="connsiteY239" fmla="*/ 405401 h 787241"/>
                <a:gd name="connsiteX240" fmla="*/ 692081 w 2931167"/>
                <a:gd name="connsiteY240" fmla="*/ 405176 h 787241"/>
                <a:gd name="connsiteX241" fmla="*/ 696664 w 2931167"/>
                <a:gd name="connsiteY241" fmla="*/ 397296 h 787241"/>
                <a:gd name="connsiteX242" fmla="*/ 700738 w 2931167"/>
                <a:gd name="connsiteY242" fmla="*/ 388146 h 787241"/>
                <a:gd name="connsiteX243" fmla="*/ 704295 w 2931167"/>
                <a:gd name="connsiteY243" fmla="*/ 380379 h 787241"/>
                <a:gd name="connsiteX244" fmla="*/ 704871 w 2931167"/>
                <a:gd name="connsiteY244" fmla="*/ 378725 h 787241"/>
                <a:gd name="connsiteX245" fmla="*/ 676306 w 2931167"/>
                <a:gd name="connsiteY245" fmla="*/ 370795 h 787241"/>
                <a:gd name="connsiteX246" fmla="*/ 676306 w 2931167"/>
                <a:gd name="connsiteY246" fmla="*/ 370657 h 787241"/>
                <a:gd name="connsiteX247" fmla="*/ 675543 w 2931167"/>
                <a:gd name="connsiteY247" fmla="*/ 370466 h 787241"/>
                <a:gd name="connsiteX248" fmla="*/ 673508 w 2931167"/>
                <a:gd name="connsiteY248" fmla="*/ 369448 h 787241"/>
                <a:gd name="connsiteX249" fmla="*/ 671472 w 2931167"/>
                <a:gd name="connsiteY249" fmla="*/ 366904 h 787241"/>
                <a:gd name="connsiteX250" fmla="*/ 669691 w 2931167"/>
                <a:gd name="connsiteY250" fmla="*/ 363342 h 787241"/>
                <a:gd name="connsiteX251" fmla="*/ 668164 w 2931167"/>
                <a:gd name="connsiteY251" fmla="*/ 359525 h 787241"/>
                <a:gd name="connsiteX252" fmla="*/ 666638 w 2931167"/>
                <a:gd name="connsiteY252" fmla="*/ 354436 h 787241"/>
                <a:gd name="connsiteX253" fmla="*/ 663584 w 2931167"/>
                <a:gd name="connsiteY253" fmla="*/ 341969 h 787241"/>
                <a:gd name="connsiteX254" fmla="*/ 661040 w 2931167"/>
                <a:gd name="connsiteY254" fmla="*/ 326193 h 787241"/>
                <a:gd name="connsiteX255" fmla="*/ 659004 w 2931167"/>
                <a:gd name="connsiteY255" fmla="*/ 307110 h 787241"/>
                <a:gd name="connsiteX256" fmla="*/ 657478 w 2931167"/>
                <a:gd name="connsiteY256" fmla="*/ 285992 h 787241"/>
                <a:gd name="connsiteX257" fmla="*/ 655951 w 2931167"/>
                <a:gd name="connsiteY257" fmla="*/ 261311 h 787241"/>
                <a:gd name="connsiteX258" fmla="*/ 654933 w 2931167"/>
                <a:gd name="connsiteY258" fmla="*/ 235358 h 787241"/>
                <a:gd name="connsiteX259" fmla="*/ 653916 w 2931167"/>
                <a:gd name="connsiteY259" fmla="*/ 206097 h 787241"/>
                <a:gd name="connsiteX260" fmla="*/ 653126 w 2931167"/>
                <a:gd name="connsiteY260" fmla="*/ 156900 h 787241"/>
                <a:gd name="connsiteX261" fmla="*/ 370977 w 2931167"/>
                <a:gd name="connsiteY261" fmla="*/ 208132 h 787241"/>
                <a:gd name="connsiteX262" fmla="*/ 370977 w 2931167"/>
                <a:gd name="connsiteY262" fmla="*/ 29514 h 787241"/>
                <a:gd name="connsiteX263" fmla="*/ 370976 w 2931167"/>
                <a:gd name="connsiteY263" fmla="*/ 29514 h 787241"/>
                <a:gd name="connsiteX264" fmla="*/ 370976 w 2931167"/>
                <a:gd name="connsiteY264" fmla="*/ 257234 h 787241"/>
                <a:gd name="connsiteX265" fmla="*/ 263602 w 2931167"/>
                <a:gd name="connsiteY265" fmla="*/ 263601 h 787241"/>
                <a:gd name="connsiteX266" fmla="*/ 263602 w 2931167"/>
                <a:gd name="connsiteY266" fmla="*/ 29514 h 787241"/>
                <a:gd name="connsiteX267" fmla="*/ 0 w 2931167"/>
                <a:gd name="connsiteY267" fmla="*/ 29514 h 787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Lst>
              <a:rect l="l" t="t" r="r" b="b"/>
              <a:pathLst>
                <a:path w="2931167" h="787241">
                  <a:moveTo>
                    <a:pt x="1445129" y="468602"/>
                  </a:moveTo>
                  <a:lnTo>
                    <a:pt x="1442195" y="472777"/>
                  </a:lnTo>
                  <a:lnTo>
                    <a:pt x="1435581" y="481932"/>
                  </a:lnTo>
                  <a:lnTo>
                    <a:pt x="1428714" y="490833"/>
                  </a:lnTo>
                  <a:lnTo>
                    <a:pt x="1422100" y="498972"/>
                  </a:lnTo>
                  <a:lnTo>
                    <a:pt x="1414978" y="506601"/>
                  </a:lnTo>
                  <a:lnTo>
                    <a:pt x="1408785" y="513251"/>
                  </a:lnTo>
                  <a:lnTo>
                    <a:pt x="1409097" y="512959"/>
                  </a:lnTo>
                  <a:lnTo>
                    <a:pt x="1416476" y="505584"/>
                  </a:lnTo>
                  <a:lnTo>
                    <a:pt x="1424109" y="496937"/>
                  </a:lnTo>
                  <a:lnTo>
                    <a:pt x="1431234" y="487782"/>
                  </a:lnTo>
                  <a:lnTo>
                    <a:pt x="1438612" y="478372"/>
                  </a:lnTo>
                  <a:close/>
                  <a:moveTo>
                    <a:pt x="1458759" y="446379"/>
                  </a:moveTo>
                  <a:lnTo>
                    <a:pt x="1454913" y="452686"/>
                  </a:lnTo>
                  <a:lnTo>
                    <a:pt x="1450629" y="460181"/>
                  </a:lnTo>
                  <a:lnTo>
                    <a:pt x="1452861" y="456755"/>
                  </a:lnTo>
                  <a:close/>
                  <a:moveTo>
                    <a:pt x="1472551" y="420938"/>
                  </a:moveTo>
                  <a:lnTo>
                    <a:pt x="1472186" y="421654"/>
                  </a:lnTo>
                  <a:lnTo>
                    <a:pt x="1472453" y="421150"/>
                  </a:lnTo>
                  <a:close/>
                  <a:moveTo>
                    <a:pt x="1669574" y="394616"/>
                  </a:moveTo>
                  <a:lnTo>
                    <a:pt x="1668111" y="399157"/>
                  </a:lnTo>
                  <a:lnTo>
                    <a:pt x="1668833" y="396990"/>
                  </a:lnTo>
                  <a:close/>
                  <a:moveTo>
                    <a:pt x="1494018" y="371288"/>
                  </a:moveTo>
                  <a:lnTo>
                    <a:pt x="1490015" y="381477"/>
                  </a:lnTo>
                  <a:lnTo>
                    <a:pt x="1484419" y="394447"/>
                  </a:lnTo>
                  <a:lnTo>
                    <a:pt x="1478823" y="406908"/>
                  </a:lnTo>
                  <a:lnTo>
                    <a:pt x="1474960" y="415738"/>
                  </a:lnTo>
                  <a:lnTo>
                    <a:pt x="1478814" y="407417"/>
                  </a:lnTo>
                  <a:lnTo>
                    <a:pt x="1484921" y="393938"/>
                  </a:lnTo>
                  <a:lnTo>
                    <a:pt x="1491027" y="379442"/>
                  </a:lnTo>
                  <a:close/>
                  <a:moveTo>
                    <a:pt x="1698631" y="289018"/>
                  </a:moveTo>
                  <a:lnTo>
                    <a:pt x="1691527" y="317643"/>
                  </a:lnTo>
                  <a:lnTo>
                    <a:pt x="1682876" y="349687"/>
                  </a:lnTo>
                  <a:lnTo>
                    <a:pt x="1675427" y="375853"/>
                  </a:lnTo>
                  <a:lnTo>
                    <a:pt x="1677481" y="369269"/>
                  </a:lnTo>
                  <a:lnTo>
                    <a:pt x="1685366" y="341294"/>
                  </a:lnTo>
                  <a:lnTo>
                    <a:pt x="1692997" y="312556"/>
                  </a:lnTo>
                  <a:close/>
                  <a:moveTo>
                    <a:pt x="1700798" y="279319"/>
                  </a:moveTo>
                  <a:lnTo>
                    <a:pt x="1699887" y="283772"/>
                  </a:lnTo>
                  <a:lnTo>
                    <a:pt x="1700119" y="282801"/>
                  </a:lnTo>
                  <a:close/>
                  <a:moveTo>
                    <a:pt x="1525851" y="261707"/>
                  </a:moveTo>
                  <a:lnTo>
                    <a:pt x="1522574" y="275426"/>
                  </a:lnTo>
                  <a:lnTo>
                    <a:pt x="1518504" y="291957"/>
                  </a:lnTo>
                  <a:lnTo>
                    <a:pt x="1514688" y="307979"/>
                  </a:lnTo>
                  <a:lnTo>
                    <a:pt x="1510110" y="323492"/>
                  </a:lnTo>
                  <a:lnTo>
                    <a:pt x="1506125" y="336771"/>
                  </a:lnTo>
                  <a:lnTo>
                    <a:pt x="1507566" y="332647"/>
                  </a:lnTo>
                  <a:lnTo>
                    <a:pt x="1512655" y="316117"/>
                  </a:lnTo>
                  <a:lnTo>
                    <a:pt x="1517235" y="299077"/>
                  </a:lnTo>
                  <a:lnTo>
                    <a:pt x="1521560" y="281275"/>
                  </a:lnTo>
                  <a:lnTo>
                    <a:pt x="1525631" y="262710"/>
                  </a:lnTo>
                  <a:close/>
                  <a:moveTo>
                    <a:pt x="1536909" y="203869"/>
                  </a:moveTo>
                  <a:lnTo>
                    <a:pt x="1536818" y="204471"/>
                  </a:lnTo>
                  <a:lnTo>
                    <a:pt x="1533766" y="223037"/>
                  </a:lnTo>
                  <a:lnTo>
                    <a:pt x="1530205" y="241093"/>
                  </a:lnTo>
                  <a:lnTo>
                    <a:pt x="1527646" y="253523"/>
                  </a:lnTo>
                  <a:lnTo>
                    <a:pt x="1529702" y="244145"/>
                  </a:lnTo>
                  <a:lnTo>
                    <a:pt x="1533774" y="224562"/>
                  </a:lnTo>
                  <a:lnTo>
                    <a:pt x="1536827" y="204471"/>
                  </a:lnTo>
                  <a:close/>
                  <a:moveTo>
                    <a:pt x="1722073" y="156535"/>
                  </a:moveTo>
                  <a:lnTo>
                    <a:pt x="1721033" y="164622"/>
                  </a:lnTo>
                  <a:lnTo>
                    <a:pt x="1721740" y="159711"/>
                  </a:lnTo>
                  <a:close/>
                  <a:moveTo>
                    <a:pt x="1550299" y="62816"/>
                  </a:moveTo>
                  <a:lnTo>
                    <a:pt x="1549282" y="84433"/>
                  </a:lnTo>
                  <a:lnTo>
                    <a:pt x="1547756" y="105542"/>
                  </a:lnTo>
                  <a:lnTo>
                    <a:pt x="1546230" y="126141"/>
                  </a:lnTo>
                  <a:lnTo>
                    <a:pt x="1544195" y="146741"/>
                  </a:lnTo>
                  <a:lnTo>
                    <a:pt x="1542160" y="166324"/>
                  </a:lnTo>
                  <a:lnTo>
                    <a:pt x="1542125" y="166594"/>
                  </a:lnTo>
                  <a:lnTo>
                    <a:pt x="1542679" y="162763"/>
                  </a:lnTo>
                  <a:lnTo>
                    <a:pt x="1545223" y="141146"/>
                  </a:lnTo>
                  <a:lnTo>
                    <a:pt x="1547259" y="119020"/>
                  </a:lnTo>
                  <a:lnTo>
                    <a:pt x="1548786" y="96386"/>
                  </a:lnTo>
                  <a:lnTo>
                    <a:pt x="1550312" y="72988"/>
                  </a:lnTo>
                  <a:lnTo>
                    <a:pt x="1550750" y="62816"/>
                  </a:lnTo>
                  <a:close/>
                  <a:moveTo>
                    <a:pt x="2337323" y="0"/>
                  </a:moveTo>
                  <a:lnTo>
                    <a:pt x="2931167" y="0"/>
                  </a:lnTo>
                  <a:lnTo>
                    <a:pt x="2931167" y="510"/>
                  </a:lnTo>
                  <a:lnTo>
                    <a:pt x="2931167" y="3538"/>
                  </a:lnTo>
                  <a:lnTo>
                    <a:pt x="2930656" y="6565"/>
                  </a:lnTo>
                  <a:lnTo>
                    <a:pt x="2929123" y="11863"/>
                  </a:lnTo>
                  <a:lnTo>
                    <a:pt x="2926057" y="16909"/>
                  </a:lnTo>
                  <a:lnTo>
                    <a:pt x="2922479" y="21450"/>
                  </a:lnTo>
                  <a:lnTo>
                    <a:pt x="2918135" y="24982"/>
                  </a:lnTo>
                  <a:lnTo>
                    <a:pt x="2913025" y="28009"/>
                  </a:lnTo>
                  <a:lnTo>
                    <a:pt x="2907403" y="29523"/>
                  </a:lnTo>
                  <a:lnTo>
                    <a:pt x="2904337" y="30027"/>
                  </a:lnTo>
                  <a:lnTo>
                    <a:pt x="2901271" y="30532"/>
                  </a:lnTo>
                  <a:lnTo>
                    <a:pt x="2898460" y="30027"/>
                  </a:lnTo>
                  <a:lnTo>
                    <a:pt x="2895394" y="29523"/>
                  </a:lnTo>
                  <a:lnTo>
                    <a:pt x="2889261" y="28009"/>
                  </a:lnTo>
                  <a:lnTo>
                    <a:pt x="2884151" y="24982"/>
                  </a:lnTo>
                  <a:lnTo>
                    <a:pt x="2880062" y="21450"/>
                  </a:lnTo>
                  <a:lnTo>
                    <a:pt x="2876229" y="16909"/>
                  </a:lnTo>
                  <a:lnTo>
                    <a:pt x="2873674" y="11863"/>
                  </a:lnTo>
                  <a:lnTo>
                    <a:pt x="2871630" y="6565"/>
                  </a:lnTo>
                  <a:lnTo>
                    <a:pt x="2871381" y="5088"/>
                  </a:lnTo>
                  <a:lnTo>
                    <a:pt x="2771049" y="5088"/>
                  </a:lnTo>
                  <a:lnTo>
                    <a:pt x="2770356" y="5723"/>
                  </a:lnTo>
                  <a:lnTo>
                    <a:pt x="2751772" y="21238"/>
                  </a:lnTo>
                  <a:lnTo>
                    <a:pt x="2721478" y="45909"/>
                  </a:lnTo>
                  <a:lnTo>
                    <a:pt x="2702384" y="60915"/>
                  </a:lnTo>
                  <a:lnTo>
                    <a:pt x="2680746" y="77447"/>
                  </a:lnTo>
                  <a:lnTo>
                    <a:pt x="2656052" y="95505"/>
                  </a:lnTo>
                  <a:lnTo>
                    <a:pt x="2629576" y="115089"/>
                  </a:lnTo>
                  <a:lnTo>
                    <a:pt x="2600809" y="135691"/>
                  </a:lnTo>
                  <a:lnTo>
                    <a:pt x="2569750" y="157310"/>
                  </a:lnTo>
                  <a:lnTo>
                    <a:pt x="2535892" y="179946"/>
                  </a:lnTo>
                  <a:lnTo>
                    <a:pt x="2500760" y="203091"/>
                  </a:lnTo>
                  <a:lnTo>
                    <a:pt x="2463592" y="226236"/>
                  </a:lnTo>
                  <a:lnTo>
                    <a:pt x="2424388" y="250398"/>
                  </a:lnTo>
                  <a:lnTo>
                    <a:pt x="2393075" y="268457"/>
                  </a:lnTo>
                  <a:lnTo>
                    <a:pt x="2360998" y="286515"/>
                  </a:lnTo>
                  <a:lnTo>
                    <a:pt x="2327649" y="304573"/>
                  </a:lnTo>
                  <a:lnTo>
                    <a:pt x="2294045" y="322631"/>
                  </a:lnTo>
                  <a:lnTo>
                    <a:pt x="2300155" y="297706"/>
                  </a:lnTo>
                  <a:lnTo>
                    <a:pt x="2305501" y="273035"/>
                  </a:lnTo>
                  <a:lnTo>
                    <a:pt x="2310592" y="248872"/>
                  </a:lnTo>
                  <a:lnTo>
                    <a:pt x="2315684" y="224710"/>
                  </a:lnTo>
                  <a:lnTo>
                    <a:pt x="2319757" y="200548"/>
                  </a:lnTo>
                  <a:lnTo>
                    <a:pt x="2323067" y="176894"/>
                  </a:lnTo>
                  <a:lnTo>
                    <a:pt x="2326631" y="154003"/>
                  </a:lnTo>
                  <a:lnTo>
                    <a:pt x="2329176" y="130858"/>
                  </a:lnTo>
                  <a:lnTo>
                    <a:pt x="2331722" y="108222"/>
                  </a:lnTo>
                  <a:lnTo>
                    <a:pt x="2333759" y="85586"/>
                  </a:lnTo>
                  <a:lnTo>
                    <a:pt x="2335286" y="63458"/>
                  </a:lnTo>
                  <a:lnTo>
                    <a:pt x="2336305" y="41839"/>
                  </a:lnTo>
                  <a:lnTo>
                    <a:pt x="2337323" y="20729"/>
                  </a:lnTo>
                  <a:close/>
                  <a:moveTo>
                    <a:pt x="0" y="0"/>
                  </a:moveTo>
                  <a:lnTo>
                    <a:pt x="2337300" y="0"/>
                  </a:lnTo>
                  <a:lnTo>
                    <a:pt x="2337300" y="20599"/>
                  </a:lnTo>
                  <a:lnTo>
                    <a:pt x="2336283" y="41708"/>
                  </a:lnTo>
                  <a:lnTo>
                    <a:pt x="2335265" y="63325"/>
                  </a:lnTo>
                  <a:lnTo>
                    <a:pt x="2333739" y="85451"/>
                  </a:lnTo>
                  <a:lnTo>
                    <a:pt x="2331704" y="108085"/>
                  </a:lnTo>
                  <a:lnTo>
                    <a:pt x="2329161" y="130719"/>
                  </a:lnTo>
                  <a:lnTo>
                    <a:pt x="2326617" y="153862"/>
                  </a:lnTo>
                  <a:lnTo>
                    <a:pt x="2323056" y="176751"/>
                  </a:lnTo>
                  <a:lnTo>
                    <a:pt x="2319749" y="200402"/>
                  </a:lnTo>
                  <a:lnTo>
                    <a:pt x="2315679" y="224562"/>
                  </a:lnTo>
                  <a:lnTo>
                    <a:pt x="2310592" y="248723"/>
                  </a:lnTo>
                  <a:lnTo>
                    <a:pt x="2305505" y="272883"/>
                  </a:lnTo>
                  <a:lnTo>
                    <a:pt x="2300163" y="297552"/>
                  </a:lnTo>
                  <a:lnTo>
                    <a:pt x="2294058" y="322475"/>
                  </a:lnTo>
                  <a:lnTo>
                    <a:pt x="2256921" y="341294"/>
                  </a:lnTo>
                  <a:lnTo>
                    <a:pt x="2219021" y="359351"/>
                  </a:lnTo>
                  <a:lnTo>
                    <a:pt x="2180358" y="377408"/>
                  </a:lnTo>
                  <a:lnTo>
                    <a:pt x="2141186" y="394447"/>
                  </a:lnTo>
                  <a:lnTo>
                    <a:pt x="2100996" y="410978"/>
                  </a:lnTo>
                  <a:lnTo>
                    <a:pt x="2059790" y="426491"/>
                  </a:lnTo>
                  <a:lnTo>
                    <a:pt x="2018583" y="441750"/>
                  </a:lnTo>
                  <a:lnTo>
                    <a:pt x="1976358" y="455737"/>
                  </a:lnTo>
                  <a:lnTo>
                    <a:pt x="1933116" y="468708"/>
                  </a:lnTo>
                  <a:lnTo>
                    <a:pt x="1911496" y="474811"/>
                  </a:lnTo>
                  <a:lnTo>
                    <a:pt x="1889875" y="480915"/>
                  </a:lnTo>
                  <a:lnTo>
                    <a:pt x="1868000" y="486510"/>
                  </a:lnTo>
                  <a:lnTo>
                    <a:pt x="1846378" y="491342"/>
                  </a:lnTo>
                  <a:lnTo>
                    <a:pt x="1824249" y="496428"/>
                  </a:lnTo>
                  <a:lnTo>
                    <a:pt x="1802119" y="501006"/>
                  </a:lnTo>
                  <a:lnTo>
                    <a:pt x="1779481" y="505075"/>
                  </a:lnTo>
                  <a:lnTo>
                    <a:pt x="1757351" y="508890"/>
                  </a:lnTo>
                  <a:lnTo>
                    <a:pt x="1734713" y="512450"/>
                  </a:lnTo>
                  <a:lnTo>
                    <a:pt x="1712075" y="515502"/>
                  </a:lnTo>
                  <a:lnTo>
                    <a:pt x="1689436" y="518045"/>
                  </a:lnTo>
                  <a:lnTo>
                    <a:pt x="1666798" y="520589"/>
                  </a:lnTo>
                  <a:lnTo>
                    <a:pt x="1643651" y="522623"/>
                  </a:lnTo>
                  <a:lnTo>
                    <a:pt x="1621048" y="524147"/>
                  </a:lnTo>
                  <a:lnTo>
                    <a:pt x="1621047" y="524149"/>
                  </a:lnTo>
                  <a:lnTo>
                    <a:pt x="1589496" y="525166"/>
                  </a:lnTo>
                  <a:lnTo>
                    <a:pt x="1558454" y="525675"/>
                  </a:lnTo>
                  <a:lnTo>
                    <a:pt x="1517998" y="525675"/>
                  </a:lnTo>
                  <a:lnTo>
                    <a:pt x="1478305" y="524658"/>
                  </a:lnTo>
                  <a:lnTo>
                    <a:pt x="1439630" y="522623"/>
                  </a:lnTo>
                  <a:lnTo>
                    <a:pt x="1400955" y="520589"/>
                  </a:lnTo>
                  <a:lnTo>
                    <a:pt x="1400958" y="520586"/>
                  </a:lnTo>
                  <a:lnTo>
                    <a:pt x="1356220" y="517028"/>
                  </a:lnTo>
                  <a:lnTo>
                    <a:pt x="1311961" y="512450"/>
                  </a:lnTo>
                  <a:lnTo>
                    <a:pt x="1268464" y="507618"/>
                  </a:lnTo>
                  <a:lnTo>
                    <a:pt x="1225731" y="501515"/>
                  </a:lnTo>
                  <a:lnTo>
                    <a:pt x="1182998" y="494394"/>
                  </a:lnTo>
                  <a:lnTo>
                    <a:pt x="1140265" y="486764"/>
                  </a:lnTo>
                  <a:lnTo>
                    <a:pt x="1097532" y="478372"/>
                  </a:lnTo>
                  <a:lnTo>
                    <a:pt x="1054799" y="469216"/>
                  </a:lnTo>
                  <a:lnTo>
                    <a:pt x="1038334" y="465484"/>
                  </a:lnTo>
                  <a:lnTo>
                    <a:pt x="1036847" y="467564"/>
                  </a:lnTo>
                  <a:lnTo>
                    <a:pt x="1020004" y="490851"/>
                  </a:lnTo>
                  <a:lnTo>
                    <a:pt x="1011990" y="502387"/>
                  </a:lnTo>
                  <a:lnTo>
                    <a:pt x="992055" y="531397"/>
                  </a:lnTo>
                  <a:lnTo>
                    <a:pt x="977039" y="554540"/>
                  </a:lnTo>
                  <a:lnTo>
                    <a:pt x="961260" y="579209"/>
                  </a:lnTo>
                  <a:lnTo>
                    <a:pt x="945735" y="604895"/>
                  </a:lnTo>
                  <a:lnTo>
                    <a:pt x="929701" y="632107"/>
                  </a:lnTo>
                  <a:lnTo>
                    <a:pt x="914686" y="659065"/>
                  </a:lnTo>
                  <a:lnTo>
                    <a:pt x="900434" y="686786"/>
                  </a:lnTo>
                  <a:lnTo>
                    <a:pt x="894580" y="700264"/>
                  </a:lnTo>
                  <a:lnTo>
                    <a:pt x="888472" y="713489"/>
                  </a:lnTo>
                  <a:lnTo>
                    <a:pt x="882873" y="726459"/>
                  </a:lnTo>
                  <a:lnTo>
                    <a:pt x="877783" y="739429"/>
                  </a:lnTo>
                  <a:lnTo>
                    <a:pt x="873456" y="752145"/>
                  </a:lnTo>
                  <a:lnTo>
                    <a:pt x="869384" y="764098"/>
                  </a:lnTo>
                  <a:lnTo>
                    <a:pt x="866330" y="776305"/>
                  </a:lnTo>
                  <a:lnTo>
                    <a:pt x="864294" y="787241"/>
                  </a:lnTo>
                  <a:lnTo>
                    <a:pt x="0" y="604387"/>
                  </a:lnTo>
                  <a:lnTo>
                    <a:pt x="0" y="546148"/>
                  </a:lnTo>
                  <a:lnTo>
                    <a:pt x="27741" y="548691"/>
                  </a:lnTo>
                  <a:lnTo>
                    <a:pt x="58790" y="551488"/>
                  </a:lnTo>
                  <a:lnTo>
                    <a:pt x="100020" y="554032"/>
                  </a:lnTo>
                  <a:lnTo>
                    <a:pt x="123689" y="555558"/>
                  </a:lnTo>
                  <a:lnTo>
                    <a:pt x="148885" y="556575"/>
                  </a:lnTo>
                  <a:lnTo>
                    <a:pt x="175862" y="557083"/>
                  </a:lnTo>
                  <a:lnTo>
                    <a:pt x="204112" y="557592"/>
                  </a:lnTo>
                  <a:lnTo>
                    <a:pt x="233380" y="557592"/>
                  </a:lnTo>
                  <a:lnTo>
                    <a:pt x="263411" y="557083"/>
                  </a:lnTo>
                  <a:lnTo>
                    <a:pt x="294715" y="555558"/>
                  </a:lnTo>
                  <a:lnTo>
                    <a:pt x="325765" y="553523"/>
                  </a:lnTo>
                  <a:lnTo>
                    <a:pt x="357068" y="550980"/>
                  </a:lnTo>
                  <a:lnTo>
                    <a:pt x="388627" y="547674"/>
                  </a:lnTo>
                  <a:lnTo>
                    <a:pt x="419931" y="543605"/>
                  </a:lnTo>
                  <a:lnTo>
                    <a:pt x="450471" y="538010"/>
                  </a:lnTo>
                  <a:lnTo>
                    <a:pt x="465996" y="534958"/>
                  </a:lnTo>
                  <a:lnTo>
                    <a:pt x="481266" y="531397"/>
                  </a:lnTo>
                  <a:lnTo>
                    <a:pt x="495773" y="528091"/>
                  </a:lnTo>
                  <a:lnTo>
                    <a:pt x="510280" y="524022"/>
                  </a:lnTo>
                  <a:lnTo>
                    <a:pt x="524532" y="519953"/>
                  </a:lnTo>
                  <a:lnTo>
                    <a:pt x="538530" y="515375"/>
                  </a:lnTo>
                  <a:lnTo>
                    <a:pt x="552018" y="510289"/>
                  </a:lnTo>
                  <a:lnTo>
                    <a:pt x="565761" y="505457"/>
                  </a:lnTo>
                  <a:lnTo>
                    <a:pt x="578232" y="499862"/>
                  </a:lnTo>
                  <a:lnTo>
                    <a:pt x="590703" y="493758"/>
                  </a:lnTo>
                  <a:lnTo>
                    <a:pt x="602919" y="487655"/>
                  </a:lnTo>
                  <a:lnTo>
                    <a:pt x="614372" y="481297"/>
                  </a:lnTo>
                  <a:lnTo>
                    <a:pt x="625570" y="474176"/>
                  </a:lnTo>
                  <a:lnTo>
                    <a:pt x="636004" y="466546"/>
                  </a:lnTo>
                  <a:lnTo>
                    <a:pt x="646184" y="459171"/>
                  </a:lnTo>
                  <a:lnTo>
                    <a:pt x="655601" y="450524"/>
                  </a:lnTo>
                  <a:lnTo>
                    <a:pt x="664763" y="442132"/>
                  </a:lnTo>
                  <a:lnTo>
                    <a:pt x="672653" y="432976"/>
                  </a:lnTo>
                  <a:lnTo>
                    <a:pt x="680288" y="424075"/>
                  </a:lnTo>
                  <a:lnTo>
                    <a:pt x="687414" y="413902"/>
                  </a:lnTo>
                  <a:lnTo>
                    <a:pt x="692602" y="405401"/>
                  </a:lnTo>
                  <a:lnTo>
                    <a:pt x="692081" y="405176"/>
                  </a:lnTo>
                  <a:lnTo>
                    <a:pt x="696664" y="397296"/>
                  </a:lnTo>
                  <a:lnTo>
                    <a:pt x="700738" y="388146"/>
                  </a:lnTo>
                  <a:lnTo>
                    <a:pt x="704295" y="380379"/>
                  </a:lnTo>
                  <a:lnTo>
                    <a:pt x="704871" y="378725"/>
                  </a:lnTo>
                  <a:lnTo>
                    <a:pt x="676306" y="370795"/>
                  </a:lnTo>
                  <a:lnTo>
                    <a:pt x="676306" y="370657"/>
                  </a:lnTo>
                  <a:lnTo>
                    <a:pt x="675543" y="370466"/>
                  </a:lnTo>
                  <a:lnTo>
                    <a:pt x="673508" y="369448"/>
                  </a:lnTo>
                  <a:lnTo>
                    <a:pt x="671472" y="366904"/>
                  </a:lnTo>
                  <a:lnTo>
                    <a:pt x="669691" y="363342"/>
                  </a:lnTo>
                  <a:lnTo>
                    <a:pt x="668164" y="359525"/>
                  </a:lnTo>
                  <a:lnTo>
                    <a:pt x="666638" y="354436"/>
                  </a:lnTo>
                  <a:lnTo>
                    <a:pt x="663584" y="341969"/>
                  </a:lnTo>
                  <a:lnTo>
                    <a:pt x="661040" y="326193"/>
                  </a:lnTo>
                  <a:lnTo>
                    <a:pt x="659004" y="307110"/>
                  </a:lnTo>
                  <a:lnTo>
                    <a:pt x="657478" y="285992"/>
                  </a:lnTo>
                  <a:lnTo>
                    <a:pt x="655951" y="261311"/>
                  </a:lnTo>
                  <a:lnTo>
                    <a:pt x="654933" y="235358"/>
                  </a:lnTo>
                  <a:lnTo>
                    <a:pt x="653916" y="206097"/>
                  </a:lnTo>
                  <a:lnTo>
                    <a:pt x="653126" y="156900"/>
                  </a:lnTo>
                  <a:lnTo>
                    <a:pt x="370977" y="208132"/>
                  </a:lnTo>
                  <a:lnTo>
                    <a:pt x="370977" y="29514"/>
                  </a:lnTo>
                  <a:lnTo>
                    <a:pt x="370976" y="29514"/>
                  </a:lnTo>
                  <a:lnTo>
                    <a:pt x="370976" y="257234"/>
                  </a:lnTo>
                  <a:lnTo>
                    <a:pt x="263602" y="263601"/>
                  </a:lnTo>
                  <a:lnTo>
                    <a:pt x="263602" y="29514"/>
                  </a:lnTo>
                  <a:lnTo>
                    <a:pt x="0" y="29514"/>
                  </a:lnTo>
                  <a:close/>
                </a:path>
              </a:pathLst>
            </a:custGeom>
            <a:solidFill>
              <a:schemeClr val="tx1">
                <a:lumMod val="85000"/>
                <a:lumOff val="1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sp>
        <p:nvSpPr>
          <p:cNvPr id="251" name="텍스트 개체 틀 13"/>
          <p:cNvSpPr>
            <a:spLocks noGrp="1"/>
          </p:cNvSpPr>
          <p:nvPr userDrawn="1">
            <p:ph type="body" sz="quarter" idx="11" hasCustomPrompt="1"/>
          </p:nvPr>
        </p:nvSpPr>
        <p:spPr>
          <a:xfrm>
            <a:off x="643894" y="3439744"/>
            <a:ext cx="3921177" cy="459645"/>
          </a:xfrm>
          <a:prstGeom prst="rect">
            <a:avLst/>
          </a:prstGeom>
        </p:spPr>
        <p:txBody>
          <a:bodyPr lIns="0" tIns="0" rIns="0" bIns="0"/>
          <a:lstStyle>
            <a:lvl1pPr marL="0" indent="0">
              <a:buNone/>
              <a:defRPr sz="2667" b="1">
                <a:solidFill>
                  <a:schemeClr val="bg1"/>
                </a:solidFill>
                <a:latin typeface="Tahoma" panose="020B0604030504040204" pitchFamily="34" charset="0"/>
                <a:cs typeface="Tahoma" panose="020B0604030504040204" pitchFamily="34" charset="0"/>
              </a:defRPr>
            </a:lvl1pPr>
          </a:lstStyle>
          <a:p>
            <a:r>
              <a:rPr lang="en-US" altLang="ko-KR"/>
              <a:t>Presentation sub title</a:t>
            </a:r>
            <a:endParaRPr lang="ko-KR" altLang="en-US"/>
          </a:p>
        </p:txBody>
      </p:sp>
      <p:sp>
        <p:nvSpPr>
          <p:cNvPr id="252" name="텍스트 개체 틀 14"/>
          <p:cNvSpPr>
            <a:spLocks noGrp="1"/>
          </p:cNvSpPr>
          <p:nvPr userDrawn="1">
            <p:ph type="body" sz="quarter" idx="12" hasCustomPrompt="1"/>
          </p:nvPr>
        </p:nvSpPr>
        <p:spPr>
          <a:xfrm>
            <a:off x="643894" y="2604811"/>
            <a:ext cx="6295253" cy="817094"/>
          </a:xfrm>
          <a:prstGeom prst="rect">
            <a:avLst/>
          </a:prstGeom>
        </p:spPr>
        <p:txBody>
          <a:bodyPr lIns="0" tIns="0" rIns="0" bIns="0"/>
          <a:lstStyle>
            <a:lvl1pPr marL="0" indent="0">
              <a:buNone/>
              <a:defRPr sz="5333" b="1" baseline="0">
                <a:latin typeface="Tahoma" panose="020B0604030504040204" pitchFamily="34" charset="0"/>
                <a:cs typeface="Tahoma" panose="020B0604030504040204" pitchFamily="34" charset="0"/>
              </a:defRPr>
            </a:lvl1pPr>
          </a:lstStyle>
          <a:p>
            <a:r>
              <a:rPr lang="en-US" altLang="ko-KR"/>
              <a:t>Presentation title</a:t>
            </a:r>
            <a:endParaRPr lang="ko-KR" altLang="en-US"/>
          </a:p>
        </p:txBody>
      </p:sp>
    </p:spTree>
    <p:extLst>
      <p:ext uri="{BB962C8B-B14F-4D97-AF65-F5344CB8AC3E}">
        <p14:creationId xmlns:p14="http://schemas.microsoft.com/office/powerpoint/2010/main" val="3959202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3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7" y="1614752"/>
            <a:ext cx="11653523" cy="2055306"/>
          </a:xfrm>
        </p:spPr>
        <p:txBody>
          <a:bodyPr>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509117850"/>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ntent">
    <p:bg>
      <p:bgPr>
        <a:gradFill>
          <a:gsLst>
            <a:gs pos="0">
              <a:srgbClr val="0F1121"/>
            </a:gs>
            <a:gs pos="100000">
              <a:srgbClr val="152B2D"/>
            </a:gs>
          </a:gsLst>
          <a:lin ang="0" scaled="1"/>
        </a:gradFill>
        <a:effectLst/>
      </p:bgPr>
    </p:bg>
    <p:spTree>
      <p:nvGrpSpPr>
        <p:cNvPr id="1" name=""/>
        <p:cNvGrpSpPr/>
        <p:nvPr/>
      </p:nvGrpSpPr>
      <p:grpSpPr>
        <a:xfrm>
          <a:off x="0" y="0"/>
          <a:ext cx="0" cy="0"/>
          <a:chOff x="0" y="0"/>
          <a:chExt cx="0" cy="0"/>
        </a:xfrm>
      </p:grpSpPr>
      <p:grpSp>
        <p:nvGrpSpPr>
          <p:cNvPr id="2" name="그룹 1"/>
          <p:cNvGrpSpPr/>
          <p:nvPr userDrawn="1"/>
        </p:nvGrpSpPr>
        <p:grpSpPr>
          <a:xfrm flipH="1">
            <a:off x="549682" y="341345"/>
            <a:ext cx="11092637" cy="6632511"/>
            <a:chOff x="554435" y="221278"/>
            <a:chExt cx="8319478" cy="4663484"/>
          </a:xfrm>
        </p:grpSpPr>
        <p:grpSp>
          <p:nvGrpSpPr>
            <p:cNvPr id="8" name="그룹 7"/>
            <p:cNvGrpSpPr/>
            <p:nvPr userDrawn="1"/>
          </p:nvGrpSpPr>
          <p:grpSpPr>
            <a:xfrm>
              <a:off x="554435" y="258738"/>
              <a:ext cx="8035131" cy="4626024"/>
              <a:chOff x="644444" y="206067"/>
              <a:chExt cx="8035131" cy="4626024"/>
            </a:xfrm>
            <a:solidFill>
              <a:schemeClr val="bg1">
                <a:alpha val="30000"/>
              </a:schemeClr>
            </a:solidFill>
          </p:grpSpPr>
          <p:sp>
            <p:nvSpPr>
              <p:cNvPr id="9" name="포인트가 4개인 별 8"/>
              <p:cNvSpPr/>
              <p:nvPr/>
            </p:nvSpPr>
            <p:spPr>
              <a:xfrm>
                <a:off x="1631853" y="1074261"/>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0" name="포인트가 4개인 별 9"/>
              <p:cNvSpPr/>
              <p:nvPr/>
            </p:nvSpPr>
            <p:spPr>
              <a:xfrm>
                <a:off x="2006991" y="3293263"/>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1" name="포인트가 4개인 별 10"/>
              <p:cNvSpPr/>
              <p:nvPr/>
            </p:nvSpPr>
            <p:spPr>
              <a:xfrm>
                <a:off x="3261361" y="1783808"/>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2" name="포인트가 4개인 별 11"/>
              <p:cNvSpPr/>
              <p:nvPr/>
            </p:nvSpPr>
            <p:spPr>
              <a:xfrm>
                <a:off x="3596614" y="342128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3" name="포인트가 4개인 별 12"/>
              <p:cNvSpPr/>
              <p:nvPr/>
            </p:nvSpPr>
            <p:spPr>
              <a:xfrm>
                <a:off x="5413691" y="147525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4" name="포인트가 4개인 별 13"/>
              <p:cNvSpPr/>
              <p:nvPr/>
            </p:nvSpPr>
            <p:spPr>
              <a:xfrm>
                <a:off x="6515660" y="421845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5" name="포인트가 4개인 별 14"/>
              <p:cNvSpPr/>
              <p:nvPr/>
            </p:nvSpPr>
            <p:spPr>
              <a:xfrm>
                <a:off x="4897876" y="4229535"/>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6" name="포인트가 4개인 별 15"/>
              <p:cNvSpPr/>
              <p:nvPr/>
            </p:nvSpPr>
            <p:spPr>
              <a:xfrm>
                <a:off x="2975291" y="4461385"/>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7" name="포인트가 4개인 별 16"/>
              <p:cNvSpPr/>
              <p:nvPr/>
            </p:nvSpPr>
            <p:spPr>
              <a:xfrm>
                <a:off x="1134763" y="3549309"/>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8" name="포인트가 4개인 별 17"/>
              <p:cNvSpPr/>
              <p:nvPr/>
            </p:nvSpPr>
            <p:spPr>
              <a:xfrm>
                <a:off x="2165104" y="2024074"/>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9" name="포인트가 4개인 별 18"/>
              <p:cNvSpPr/>
              <p:nvPr/>
            </p:nvSpPr>
            <p:spPr>
              <a:xfrm>
                <a:off x="3419474" y="514619"/>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0" name="포인트가 4개인 별 19"/>
              <p:cNvSpPr/>
              <p:nvPr/>
            </p:nvSpPr>
            <p:spPr>
              <a:xfrm>
                <a:off x="3754727" y="2152097"/>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1" name="포인트가 4개인 별 20"/>
              <p:cNvSpPr/>
              <p:nvPr/>
            </p:nvSpPr>
            <p:spPr>
              <a:xfrm>
                <a:off x="5571804" y="206067"/>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2" name="포인트가 4개인 별 21"/>
              <p:cNvSpPr/>
              <p:nvPr/>
            </p:nvSpPr>
            <p:spPr>
              <a:xfrm>
                <a:off x="6673773" y="2949267"/>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3" name="포인트가 4개인 별 22"/>
              <p:cNvSpPr/>
              <p:nvPr/>
            </p:nvSpPr>
            <p:spPr>
              <a:xfrm>
                <a:off x="5055989" y="296034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4" name="포인트가 4개인 별 23"/>
              <p:cNvSpPr/>
              <p:nvPr/>
            </p:nvSpPr>
            <p:spPr>
              <a:xfrm>
                <a:off x="3133404" y="319219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5" name="포인트가 4개인 별 24"/>
              <p:cNvSpPr/>
              <p:nvPr/>
            </p:nvSpPr>
            <p:spPr>
              <a:xfrm>
                <a:off x="1292876" y="2280120"/>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6" name="포인트가 4개인 별 25"/>
              <p:cNvSpPr/>
              <p:nvPr/>
            </p:nvSpPr>
            <p:spPr>
              <a:xfrm>
                <a:off x="6491481" y="1379747"/>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7" name="포인트가 4개인 별 26"/>
              <p:cNvSpPr/>
              <p:nvPr/>
            </p:nvSpPr>
            <p:spPr>
              <a:xfrm>
                <a:off x="6866619" y="3598749"/>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8" name="포인트가 4개인 별 27"/>
              <p:cNvSpPr/>
              <p:nvPr/>
            </p:nvSpPr>
            <p:spPr>
              <a:xfrm>
                <a:off x="8120989" y="2089294"/>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9" name="포인트가 4개인 별 28"/>
              <p:cNvSpPr/>
              <p:nvPr/>
            </p:nvSpPr>
            <p:spPr>
              <a:xfrm>
                <a:off x="8456242" y="3726772"/>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0" name="포인트가 4개인 별 29"/>
              <p:cNvSpPr/>
              <p:nvPr/>
            </p:nvSpPr>
            <p:spPr>
              <a:xfrm>
                <a:off x="7834919" y="4766871"/>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1" name="포인트가 4개인 별 30"/>
              <p:cNvSpPr/>
              <p:nvPr/>
            </p:nvSpPr>
            <p:spPr>
              <a:xfrm>
                <a:off x="5994391" y="3854795"/>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2" name="포인트가 4개인 별 31"/>
              <p:cNvSpPr/>
              <p:nvPr/>
            </p:nvSpPr>
            <p:spPr>
              <a:xfrm>
                <a:off x="7024732" y="2329560"/>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3" name="포인트가 4개인 별 32"/>
              <p:cNvSpPr/>
              <p:nvPr/>
            </p:nvSpPr>
            <p:spPr>
              <a:xfrm>
                <a:off x="8279102" y="820105"/>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4" name="포인트가 4개인 별 33"/>
              <p:cNvSpPr/>
              <p:nvPr/>
            </p:nvSpPr>
            <p:spPr>
              <a:xfrm>
                <a:off x="8614355" y="2457583"/>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5" name="포인트가 4개인 별 34"/>
              <p:cNvSpPr/>
              <p:nvPr/>
            </p:nvSpPr>
            <p:spPr>
              <a:xfrm>
                <a:off x="7993032" y="3497682"/>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6" name="포인트가 4개인 별 35"/>
              <p:cNvSpPr/>
              <p:nvPr/>
            </p:nvSpPr>
            <p:spPr>
              <a:xfrm>
                <a:off x="6152504" y="258560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7" name="포인트가 4개인 별 36"/>
              <p:cNvSpPr/>
              <p:nvPr/>
            </p:nvSpPr>
            <p:spPr>
              <a:xfrm>
                <a:off x="1160259" y="1685575"/>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8" name="포인트가 4개인 별 37"/>
              <p:cNvSpPr/>
              <p:nvPr/>
            </p:nvSpPr>
            <p:spPr>
              <a:xfrm>
                <a:off x="2262228" y="4428775"/>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9" name="포인트가 4개인 별 38"/>
              <p:cNvSpPr/>
              <p:nvPr/>
            </p:nvSpPr>
            <p:spPr>
              <a:xfrm>
                <a:off x="644444" y="4439854"/>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0" name="포인트가 4개인 별 39"/>
              <p:cNvSpPr/>
              <p:nvPr/>
            </p:nvSpPr>
            <p:spPr>
              <a:xfrm>
                <a:off x="1318372" y="41638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1" name="포인트가 4개인 별 40"/>
              <p:cNvSpPr/>
              <p:nvPr/>
            </p:nvSpPr>
            <p:spPr>
              <a:xfrm>
                <a:off x="2420341" y="315958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2" name="포인트가 4개인 별 41"/>
              <p:cNvSpPr/>
              <p:nvPr/>
            </p:nvSpPr>
            <p:spPr>
              <a:xfrm>
                <a:off x="802557" y="3170665"/>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3" name="포인트가 4개인 별 42"/>
              <p:cNvSpPr/>
              <p:nvPr/>
            </p:nvSpPr>
            <p:spPr>
              <a:xfrm>
                <a:off x="2238049" y="1590066"/>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4" name="포인트가 4개인 별 43"/>
              <p:cNvSpPr/>
              <p:nvPr/>
            </p:nvSpPr>
            <p:spPr>
              <a:xfrm>
                <a:off x="2613187" y="3809068"/>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5" name="포인트가 4개인 별 44"/>
              <p:cNvSpPr/>
              <p:nvPr/>
            </p:nvSpPr>
            <p:spPr>
              <a:xfrm>
                <a:off x="1740959" y="4065114"/>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6" name="포인트가 4개인 별 45"/>
              <p:cNvSpPr/>
              <p:nvPr/>
            </p:nvSpPr>
            <p:spPr>
              <a:xfrm>
                <a:off x="2771300" y="2539879"/>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7" name="포인트가 4개인 별 46"/>
              <p:cNvSpPr/>
              <p:nvPr/>
            </p:nvSpPr>
            <p:spPr>
              <a:xfrm>
                <a:off x="1899072" y="2795925"/>
                <a:ext cx="65220" cy="65220"/>
              </a:xfrm>
              <a:prstGeom prst="star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sp>
          <p:nvSpPr>
            <p:cNvPr id="48" name="포인트가 5개인 별 47"/>
            <p:cNvSpPr/>
            <p:nvPr userDrawn="1"/>
          </p:nvSpPr>
          <p:spPr>
            <a:xfrm>
              <a:off x="2330332" y="3704524"/>
              <a:ext cx="74919" cy="74919"/>
            </a:xfrm>
            <a:prstGeom prst="star5">
              <a:avLst>
                <a:gd name="adj" fmla="val 28797"/>
                <a:gd name="hf" fmla="val 105146"/>
                <a:gd name="vf" fmla="val 11055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9" name="포인트가 5개인 별 48"/>
            <p:cNvSpPr/>
            <p:nvPr userDrawn="1"/>
          </p:nvSpPr>
          <p:spPr>
            <a:xfrm rot="-1740000">
              <a:off x="5435746" y="4244746"/>
              <a:ext cx="74919" cy="74919"/>
            </a:xfrm>
            <a:prstGeom prst="star5">
              <a:avLst>
                <a:gd name="adj" fmla="val 28797"/>
                <a:gd name="hf" fmla="val 105146"/>
                <a:gd name="vf" fmla="val 11055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1" name="포인트가 4개인 별 50"/>
            <p:cNvSpPr/>
            <p:nvPr userDrawn="1"/>
          </p:nvSpPr>
          <p:spPr>
            <a:xfrm rot="2760000">
              <a:off x="5493716" y="1055664"/>
              <a:ext cx="108000" cy="10800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2" name="포인트가 4개인 별 51"/>
            <p:cNvSpPr/>
            <p:nvPr userDrawn="1"/>
          </p:nvSpPr>
          <p:spPr>
            <a:xfrm>
              <a:off x="8128684" y="4217237"/>
              <a:ext cx="108000" cy="108000"/>
            </a:xfrm>
            <a:prstGeom prst="star4">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3" name="포인트가 5개인 별 52"/>
            <p:cNvSpPr/>
            <p:nvPr userDrawn="1"/>
          </p:nvSpPr>
          <p:spPr>
            <a:xfrm>
              <a:off x="1842063" y="795599"/>
              <a:ext cx="74919" cy="74919"/>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4" name="포인트가 5개인 별 53"/>
            <p:cNvSpPr/>
            <p:nvPr userDrawn="1"/>
          </p:nvSpPr>
          <p:spPr>
            <a:xfrm rot="-1740000">
              <a:off x="6859804" y="524981"/>
              <a:ext cx="74919" cy="74919"/>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5" name="포인트가 5개인 별 54"/>
            <p:cNvSpPr/>
            <p:nvPr userDrawn="1"/>
          </p:nvSpPr>
          <p:spPr>
            <a:xfrm rot="-1740000">
              <a:off x="5961596" y="2692208"/>
              <a:ext cx="74919" cy="74919"/>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6" name="포인트가 5개인 별 55"/>
            <p:cNvSpPr/>
            <p:nvPr userDrawn="1"/>
          </p:nvSpPr>
          <p:spPr>
            <a:xfrm rot="2760000">
              <a:off x="8080235" y="2961464"/>
              <a:ext cx="74919" cy="74919"/>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7" name="포인트가 5개인 별 56"/>
            <p:cNvSpPr/>
            <p:nvPr userDrawn="1"/>
          </p:nvSpPr>
          <p:spPr>
            <a:xfrm>
              <a:off x="4166757" y="1724045"/>
              <a:ext cx="74919" cy="74919"/>
            </a:xfrm>
            <a:prstGeom prst="star5">
              <a:avLst>
                <a:gd name="adj" fmla="val 28797"/>
                <a:gd name="hf" fmla="val 105146"/>
                <a:gd name="vf" fmla="val 11055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8" name="포인트가 5개인 별 57"/>
            <p:cNvSpPr/>
            <p:nvPr userDrawn="1"/>
          </p:nvSpPr>
          <p:spPr>
            <a:xfrm>
              <a:off x="1045804" y="4183005"/>
              <a:ext cx="74919" cy="74919"/>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9" name="포인트가 5개인 별 58"/>
            <p:cNvSpPr/>
            <p:nvPr userDrawn="1"/>
          </p:nvSpPr>
          <p:spPr>
            <a:xfrm>
              <a:off x="8798994" y="221278"/>
              <a:ext cx="74919" cy="74919"/>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0" name="포인트가 4개인 별 59"/>
            <p:cNvSpPr/>
            <p:nvPr userDrawn="1"/>
          </p:nvSpPr>
          <p:spPr>
            <a:xfrm>
              <a:off x="3924363" y="2872500"/>
              <a:ext cx="108000" cy="108000"/>
            </a:xfrm>
            <a:prstGeom prst="star4">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 name="포인트가 4개인 별 60"/>
            <p:cNvSpPr/>
            <p:nvPr userDrawn="1"/>
          </p:nvSpPr>
          <p:spPr>
            <a:xfrm>
              <a:off x="3571903" y="1132020"/>
              <a:ext cx="108000" cy="108000"/>
            </a:xfrm>
            <a:prstGeom prst="star4">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grpSp>
        <p:nvGrpSpPr>
          <p:cNvPr id="6" name="그룹 5"/>
          <p:cNvGrpSpPr/>
          <p:nvPr userDrawn="1"/>
        </p:nvGrpSpPr>
        <p:grpSpPr>
          <a:xfrm>
            <a:off x="236659" y="453915"/>
            <a:ext cx="6281435" cy="6764983"/>
            <a:chOff x="-24276" y="402934"/>
            <a:chExt cx="4711076" cy="4756629"/>
          </a:xfrm>
        </p:grpSpPr>
        <p:grpSp>
          <p:nvGrpSpPr>
            <p:cNvPr id="5" name="그룹 4"/>
            <p:cNvGrpSpPr/>
            <p:nvPr userDrawn="1"/>
          </p:nvGrpSpPr>
          <p:grpSpPr>
            <a:xfrm>
              <a:off x="-24276" y="541811"/>
              <a:ext cx="4669666" cy="4617752"/>
              <a:chOff x="-24276" y="541811"/>
              <a:chExt cx="4669666" cy="4617752"/>
            </a:xfrm>
          </p:grpSpPr>
          <p:grpSp>
            <p:nvGrpSpPr>
              <p:cNvPr id="267" name="그룹 266"/>
              <p:cNvGrpSpPr/>
              <p:nvPr userDrawn="1"/>
            </p:nvGrpSpPr>
            <p:grpSpPr>
              <a:xfrm>
                <a:off x="0" y="541811"/>
                <a:ext cx="4645390" cy="4601689"/>
                <a:chOff x="0" y="541811"/>
                <a:chExt cx="4645390" cy="4601689"/>
              </a:xfrm>
              <a:gradFill flip="none" rotWithShape="1">
                <a:gsLst>
                  <a:gs pos="100000">
                    <a:srgbClr val="2E4D64">
                      <a:alpha val="10000"/>
                    </a:srgbClr>
                  </a:gs>
                  <a:gs pos="4000">
                    <a:srgbClr val="152B2D">
                      <a:alpha val="0"/>
                    </a:srgbClr>
                  </a:gs>
                </a:gsLst>
                <a:lin ang="18900000" scaled="1"/>
                <a:tileRect/>
              </a:gradFill>
            </p:grpSpPr>
            <p:sp>
              <p:nvSpPr>
                <p:cNvPr id="268" name="자유형 267"/>
                <p:cNvSpPr/>
                <p:nvPr/>
              </p:nvSpPr>
              <p:spPr>
                <a:xfrm>
                  <a:off x="0" y="541811"/>
                  <a:ext cx="4645390" cy="4601689"/>
                </a:xfrm>
                <a:custGeom>
                  <a:avLst/>
                  <a:gdLst>
                    <a:gd name="connsiteX0" fmla="*/ 1692820 w 4645390"/>
                    <a:gd name="connsiteY0" fmla="*/ 0 h 4601689"/>
                    <a:gd name="connsiteX1" fmla="*/ 4645390 w 4645390"/>
                    <a:gd name="connsiteY1" fmla="*/ 2952571 h 4601689"/>
                    <a:gd name="connsiteX2" fmla="*/ 4289031 w 4645390"/>
                    <a:gd name="connsiteY2" fmla="*/ 4359941 h 4601689"/>
                    <a:gd name="connsiteX3" fmla="*/ 4142165 w 4645390"/>
                    <a:gd name="connsiteY3" fmla="*/ 4601689 h 4601689"/>
                    <a:gd name="connsiteX4" fmla="*/ 4069384 w 4645390"/>
                    <a:gd name="connsiteY4" fmla="*/ 4601689 h 4601689"/>
                    <a:gd name="connsiteX5" fmla="*/ 4092594 w 4645390"/>
                    <a:gd name="connsiteY5" fmla="*/ 4570650 h 4601689"/>
                    <a:gd name="connsiteX6" fmla="*/ 4586848 w 4645390"/>
                    <a:gd name="connsiteY6" fmla="*/ 2952571 h 4601689"/>
                    <a:gd name="connsiteX7" fmla="*/ 1692820 w 4645390"/>
                    <a:gd name="connsiteY7" fmla="*/ 58542 h 4601689"/>
                    <a:gd name="connsiteX8" fmla="*/ 74741 w 4645390"/>
                    <a:gd name="connsiteY8" fmla="*/ 552797 h 4601689"/>
                    <a:gd name="connsiteX9" fmla="*/ 0 w 4645390"/>
                    <a:gd name="connsiteY9" fmla="*/ 608687 h 4601689"/>
                    <a:gd name="connsiteX10" fmla="*/ 0 w 4645390"/>
                    <a:gd name="connsiteY10" fmla="*/ 535667 h 4601689"/>
                    <a:gd name="connsiteX11" fmla="*/ 42009 w 4645390"/>
                    <a:gd name="connsiteY11" fmla="*/ 504253 h 4601689"/>
                    <a:gd name="connsiteX12" fmla="*/ 1692820 w 4645390"/>
                    <a:gd name="connsiteY12" fmla="*/ 0 h 4601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45390" h="4601689">
                      <a:moveTo>
                        <a:pt x="1692820" y="0"/>
                      </a:moveTo>
                      <a:cubicBezTo>
                        <a:pt x="3323479" y="0"/>
                        <a:pt x="4645390" y="1321911"/>
                        <a:pt x="4645390" y="2952571"/>
                      </a:cubicBezTo>
                      <a:cubicBezTo>
                        <a:pt x="4645390" y="3462152"/>
                        <a:pt x="4516297" y="3941582"/>
                        <a:pt x="4289031" y="4359941"/>
                      </a:cubicBezTo>
                      <a:lnTo>
                        <a:pt x="4142165" y="4601689"/>
                      </a:lnTo>
                      <a:lnTo>
                        <a:pt x="4069384" y="4601689"/>
                      </a:lnTo>
                      <a:lnTo>
                        <a:pt x="4092594" y="4570650"/>
                      </a:lnTo>
                      <a:cubicBezTo>
                        <a:pt x="4404640" y="4108760"/>
                        <a:pt x="4586848" y="3551944"/>
                        <a:pt x="4586848" y="2952571"/>
                      </a:cubicBezTo>
                      <a:cubicBezTo>
                        <a:pt x="4586848" y="1354243"/>
                        <a:pt x="3291148" y="58542"/>
                        <a:pt x="1692820" y="58542"/>
                      </a:cubicBezTo>
                      <a:cubicBezTo>
                        <a:pt x="1093447" y="58542"/>
                        <a:pt x="536631" y="240750"/>
                        <a:pt x="74741" y="552797"/>
                      </a:cubicBezTo>
                      <a:lnTo>
                        <a:pt x="0" y="608687"/>
                      </a:lnTo>
                      <a:lnTo>
                        <a:pt x="0" y="535667"/>
                      </a:lnTo>
                      <a:lnTo>
                        <a:pt x="42009" y="504253"/>
                      </a:lnTo>
                      <a:cubicBezTo>
                        <a:pt x="513243" y="185894"/>
                        <a:pt x="1081323" y="0"/>
                        <a:pt x="169282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69" name="자유형 268"/>
                <p:cNvSpPr/>
                <p:nvPr/>
              </p:nvSpPr>
              <p:spPr>
                <a:xfrm>
                  <a:off x="0" y="901746"/>
                  <a:ext cx="4285456" cy="4241754"/>
                </a:xfrm>
                <a:custGeom>
                  <a:avLst/>
                  <a:gdLst>
                    <a:gd name="connsiteX0" fmla="*/ 1670205 w 4285456"/>
                    <a:gd name="connsiteY0" fmla="*/ 0 h 4241754"/>
                    <a:gd name="connsiteX1" fmla="*/ 4285456 w 4285456"/>
                    <a:gd name="connsiteY1" fmla="*/ 2615251 h 4241754"/>
                    <a:gd name="connsiteX2" fmla="*/ 3838812 w 4285456"/>
                    <a:gd name="connsiteY2" fmla="*/ 4077463 h 4241754"/>
                    <a:gd name="connsiteX3" fmla="*/ 3715958 w 4285456"/>
                    <a:gd name="connsiteY3" fmla="*/ 4241754 h 4241754"/>
                    <a:gd name="connsiteX4" fmla="*/ 3629457 w 4285456"/>
                    <a:gd name="connsiteY4" fmla="*/ 4241754 h 4241754"/>
                    <a:gd name="connsiteX5" fmla="*/ 3635397 w 4285456"/>
                    <a:gd name="connsiteY5" fmla="*/ 4235218 h 4241754"/>
                    <a:gd name="connsiteX6" fmla="*/ 4216950 w 4285456"/>
                    <a:gd name="connsiteY6" fmla="*/ 2615251 h 4241754"/>
                    <a:gd name="connsiteX7" fmla="*/ 1670205 w 4285456"/>
                    <a:gd name="connsiteY7" fmla="*/ 68506 h 4241754"/>
                    <a:gd name="connsiteX8" fmla="*/ 50238 w 4285456"/>
                    <a:gd name="connsiteY8" fmla="*/ 650059 h 4241754"/>
                    <a:gd name="connsiteX9" fmla="*/ 0 w 4285456"/>
                    <a:gd name="connsiteY9" fmla="*/ 695718 h 4241754"/>
                    <a:gd name="connsiteX10" fmla="*/ 0 w 4285456"/>
                    <a:gd name="connsiteY10" fmla="*/ 603252 h 4241754"/>
                    <a:gd name="connsiteX11" fmla="*/ 6663 w 4285456"/>
                    <a:gd name="connsiteY11" fmla="*/ 597196 h 4241754"/>
                    <a:gd name="connsiteX12" fmla="*/ 1670205 w 4285456"/>
                    <a:gd name="connsiteY12" fmla="*/ 0 h 4241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85456" h="4241754">
                      <a:moveTo>
                        <a:pt x="1670205" y="0"/>
                      </a:moveTo>
                      <a:cubicBezTo>
                        <a:pt x="3114569" y="0"/>
                        <a:pt x="4285456" y="1170888"/>
                        <a:pt x="4285456" y="2615251"/>
                      </a:cubicBezTo>
                      <a:cubicBezTo>
                        <a:pt x="4285456" y="3156888"/>
                        <a:pt x="4120800" y="3660067"/>
                        <a:pt x="3838812" y="4077463"/>
                      </a:cubicBezTo>
                      <a:lnTo>
                        <a:pt x="3715958" y="4241754"/>
                      </a:lnTo>
                      <a:lnTo>
                        <a:pt x="3629457" y="4241754"/>
                      </a:lnTo>
                      <a:lnTo>
                        <a:pt x="3635397" y="4235218"/>
                      </a:lnTo>
                      <a:cubicBezTo>
                        <a:pt x="3998706" y="3794990"/>
                        <a:pt x="4216950" y="3230608"/>
                        <a:pt x="4216950" y="2615251"/>
                      </a:cubicBezTo>
                      <a:cubicBezTo>
                        <a:pt x="4216950" y="1208722"/>
                        <a:pt x="3076734" y="68506"/>
                        <a:pt x="1670205" y="68506"/>
                      </a:cubicBezTo>
                      <a:cubicBezTo>
                        <a:pt x="1054849" y="68506"/>
                        <a:pt x="490466" y="286751"/>
                        <a:pt x="50238" y="650059"/>
                      </a:cubicBezTo>
                      <a:lnTo>
                        <a:pt x="0" y="695718"/>
                      </a:lnTo>
                      <a:lnTo>
                        <a:pt x="0" y="603252"/>
                      </a:lnTo>
                      <a:lnTo>
                        <a:pt x="6663" y="597196"/>
                      </a:lnTo>
                      <a:cubicBezTo>
                        <a:pt x="458732" y="224115"/>
                        <a:pt x="1038296" y="0"/>
                        <a:pt x="167020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70" name="자유형 269"/>
                <p:cNvSpPr/>
                <p:nvPr/>
              </p:nvSpPr>
              <p:spPr>
                <a:xfrm>
                  <a:off x="0" y="1117508"/>
                  <a:ext cx="4069693" cy="4025992"/>
                </a:xfrm>
                <a:custGeom>
                  <a:avLst/>
                  <a:gdLst>
                    <a:gd name="connsiteX0" fmla="*/ 1656648 w 4069693"/>
                    <a:gd name="connsiteY0" fmla="*/ 0 h 4025992"/>
                    <a:gd name="connsiteX1" fmla="*/ 4069693 w 4069693"/>
                    <a:gd name="connsiteY1" fmla="*/ 2413046 h 4025992"/>
                    <a:gd name="connsiteX2" fmla="*/ 3518671 w 4069693"/>
                    <a:gd name="connsiteY2" fmla="*/ 3947967 h 4025992"/>
                    <a:gd name="connsiteX3" fmla="*/ 3447757 w 4069693"/>
                    <a:gd name="connsiteY3" fmla="*/ 4025992 h 4025992"/>
                    <a:gd name="connsiteX4" fmla="*/ 3367803 w 4069693"/>
                    <a:gd name="connsiteY4" fmla="*/ 4025992 h 4025992"/>
                    <a:gd name="connsiteX5" fmla="*/ 3472962 w 4069693"/>
                    <a:gd name="connsiteY5" fmla="*/ 3910288 h 4025992"/>
                    <a:gd name="connsiteX6" fmla="*/ 4010458 w 4069693"/>
                    <a:gd name="connsiteY6" fmla="*/ 2413046 h 4025992"/>
                    <a:gd name="connsiteX7" fmla="*/ 1656648 w 4069693"/>
                    <a:gd name="connsiteY7" fmla="*/ 59235 h 4025992"/>
                    <a:gd name="connsiteX8" fmla="*/ 159406 w 4069693"/>
                    <a:gd name="connsiteY8" fmla="*/ 596731 h 4025992"/>
                    <a:gd name="connsiteX9" fmla="*/ 0 w 4069693"/>
                    <a:gd name="connsiteY9" fmla="*/ 741609 h 4025992"/>
                    <a:gd name="connsiteX10" fmla="*/ 0 w 4069693"/>
                    <a:gd name="connsiteY10" fmla="*/ 661655 h 4025992"/>
                    <a:gd name="connsiteX11" fmla="*/ 121726 w 4069693"/>
                    <a:gd name="connsiteY11" fmla="*/ 551022 h 4025992"/>
                    <a:gd name="connsiteX12" fmla="*/ 1656648 w 4069693"/>
                    <a:gd name="connsiteY12" fmla="*/ 0 h 4025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69693" h="4025992">
                      <a:moveTo>
                        <a:pt x="1656648" y="0"/>
                      </a:moveTo>
                      <a:cubicBezTo>
                        <a:pt x="2989336" y="0"/>
                        <a:pt x="4069693" y="1080357"/>
                        <a:pt x="4069693" y="2413046"/>
                      </a:cubicBezTo>
                      <a:cubicBezTo>
                        <a:pt x="4069693" y="2996097"/>
                        <a:pt x="3862906" y="3530851"/>
                        <a:pt x="3518671" y="3947967"/>
                      </a:cubicBezTo>
                      <a:lnTo>
                        <a:pt x="3447757" y="4025992"/>
                      </a:lnTo>
                      <a:lnTo>
                        <a:pt x="3367803" y="4025992"/>
                      </a:lnTo>
                      <a:lnTo>
                        <a:pt x="3472962" y="3910288"/>
                      </a:lnTo>
                      <a:cubicBezTo>
                        <a:pt x="3808747" y="3503411"/>
                        <a:pt x="4010458" y="2981784"/>
                        <a:pt x="4010458" y="2413046"/>
                      </a:cubicBezTo>
                      <a:cubicBezTo>
                        <a:pt x="4010458" y="1113073"/>
                        <a:pt x="2956621" y="59235"/>
                        <a:pt x="1656648" y="59235"/>
                      </a:cubicBezTo>
                      <a:cubicBezTo>
                        <a:pt x="1087910" y="59235"/>
                        <a:pt x="566283" y="260946"/>
                        <a:pt x="159406" y="596731"/>
                      </a:cubicBezTo>
                      <a:lnTo>
                        <a:pt x="0" y="741609"/>
                      </a:lnTo>
                      <a:lnTo>
                        <a:pt x="0" y="661655"/>
                      </a:lnTo>
                      <a:lnTo>
                        <a:pt x="121726" y="551022"/>
                      </a:lnTo>
                      <a:cubicBezTo>
                        <a:pt x="538843" y="206787"/>
                        <a:pt x="1073597" y="0"/>
                        <a:pt x="1656648"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71" name="자유형 270"/>
                <p:cNvSpPr/>
                <p:nvPr/>
              </p:nvSpPr>
              <p:spPr>
                <a:xfrm>
                  <a:off x="0" y="1517666"/>
                  <a:ext cx="3669535" cy="3625834"/>
                </a:xfrm>
                <a:custGeom>
                  <a:avLst/>
                  <a:gdLst>
                    <a:gd name="connsiteX0" fmla="*/ 1631505 w 3669535"/>
                    <a:gd name="connsiteY0" fmla="*/ 0 h 3625834"/>
                    <a:gd name="connsiteX1" fmla="*/ 3669535 w 3669535"/>
                    <a:gd name="connsiteY1" fmla="*/ 2038031 h 3625834"/>
                    <a:gd name="connsiteX2" fmla="*/ 2927881 w 3669535"/>
                    <a:gd name="connsiteY2" fmla="*/ 3610674 h 3625834"/>
                    <a:gd name="connsiteX3" fmla="*/ 2907608 w 3669535"/>
                    <a:gd name="connsiteY3" fmla="*/ 3625834 h 3625834"/>
                    <a:gd name="connsiteX4" fmla="*/ 2790694 w 3669535"/>
                    <a:gd name="connsiteY4" fmla="*/ 3625834 h 3625834"/>
                    <a:gd name="connsiteX5" fmla="*/ 2883296 w 3669535"/>
                    <a:gd name="connsiteY5" fmla="*/ 3556587 h 3625834"/>
                    <a:gd name="connsiteX6" fmla="*/ 3599443 w 3669535"/>
                    <a:gd name="connsiteY6" fmla="*/ 2038030 h 3625834"/>
                    <a:gd name="connsiteX7" fmla="*/ 1631503 w 3669535"/>
                    <a:gd name="connsiteY7" fmla="*/ 70090 h 3625834"/>
                    <a:gd name="connsiteX8" fmla="*/ 112946 w 3669535"/>
                    <a:gd name="connsiteY8" fmla="*/ 786238 h 3625834"/>
                    <a:gd name="connsiteX9" fmla="*/ 0 w 3669535"/>
                    <a:gd name="connsiteY9" fmla="*/ 937277 h 3625834"/>
                    <a:gd name="connsiteX10" fmla="*/ 0 w 3669535"/>
                    <a:gd name="connsiteY10" fmla="*/ 820368 h 3625834"/>
                    <a:gd name="connsiteX11" fmla="*/ 58861 w 3669535"/>
                    <a:gd name="connsiteY11" fmla="*/ 741654 h 3625834"/>
                    <a:gd name="connsiteX12" fmla="*/ 1631505 w 3669535"/>
                    <a:gd name="connsiteY12" fmla="*/ 0 h 3625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69535" h="3625834">
                      <a:moveTo>
                        <a:pt x="1631505" y="0"/>
                      </a:moveTo>
                      <a:cubicBezTo>
                        <a:pt x="2757078" y="0"/>
                        <a:pt x="3669535" y="912457"/>
                        <a:pt x="3669535" y="2038031"/>
                      </a:cubicBezTo>
                      <a:cubicBezTo>
                        <a:pt x="3669535" y="2671166"/>
                        <a:pt x="3380828" y="3236870"/>
                        <a:pt x="2927881" y="3610674"/>
                      </a:cubicBezTo>
                      <a:lnTo>
                        <a:pt x="2907608" y="3625834"/>
                      </a:lnTo>
                      <a:lnTo>
                        <a:pt x="2790694" y="3625834"/>
                      </a:lnTo>
                      <a:lnTo>
                        <a:pt x="2883296" y="3556587"/>
                      </a:lnTo>
                      <a:cubicBezTo>
                        <a:pt x="3320665" y="3195639"/>
                        <a:pt x="3599443" y="2649391"/>
                        <a:pt x="3599443" y="2038030"/>
                      </a:cubicBezTo>
                      <a:cubicBezTo>
                        <a:pt x="3599443" y="951167"/>
                        <a:pt x="2718367" y="70090"/>
                        <a:pt x="1631503" y="70090"/>
                      </a:cubicBezTo>
                      <a:cubicBezTo>
                        <a:pt x="1020143" y="70090"/>
                        <a:pt x="473894" y="348868"/>
                        <a:pt x="112946" y="786238"/>
                      </a:cubicBezTo>
                      <a:lnTo>
                        <a:pt x="0" y="937277"/>
                      </a:lnTo>
                      <a:lnTo>
                        <a:pt x="0" y="820368"/>
                      </a:lnTo>
                      <a:lnTo>
                        <a:pt x="58861" y="741654"/>
                      </a:lnTo>
                      <a:cubicBezTo>
                        <a:pt x="432666" y="288707"/>
                        <a:pt x="998370" y="0"/>
                        <a:pt x="163150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72" name="자유형 271"/>
                <p:cNvSpPr/>
                <p:nvPr/>
              </p:nvSpPr>
              <p:spPr>
                <a:xfrm>
                  <a:off x="0" y="1707755"/>
                  <a:ext cx="3479447" cy="3435745"/>
                </a:xfrm>
                <a:custGeom>
                  <a:avLst/>
                  <a:gdLst>
                    <a:gd name="connsiteX0" fmla="*/ 1619562 w 3479447"/>
                    <a:gd name="connsiteY0" fmla="*/ 0 h 3435745"/>
                    <a:gd name="connsiteX1" fmla="*/ 3479447 w 3479447"/>
                    <a:gd name="connsiteY1" fmla="*/ 1859885 h 3435745"/>
                    <a:gd name="connsiteX2" fmla="*/ 2659441 w 3479447"/>
                    <a:gd name="connsiteY2" fmla="*/ 3402131 h 3435745"/>
                    <a:gd name="connsiteX3" fmla="*/ 2604111 w 3479447"/>
                    <a:gd name="connsiteY3" fmla="*/ 3435745 h 3435745"/>
                    <a:gd name="connsiteX4" fmla="*/ 2477919 w 3479447"/>
                    <a:gd name="connsiteY4" fmla="*/ 3435745 h 3435745"/>
                    <a:gd name="connsiteX5" fmla="*/ 2622771 w 3479447"/>
                    <a:gd name="connsiteY5" fmla="*/ 3347745 h 3435745"/>
                    <a:gd name="connsiteX6" fmla="*/ 3413860 w 3479447"/>
                    <a:gd name="connsiteY6" fmla="*/ 1859885 h 3435745"/>
                    <a:gd name="connsiteX7" fmla="*/ 1619562 w 3479447"/>
                    <a:gd name="connsiteY7" fmla="*/ 65587 h 3435745"/>
                    <a:gd name="connsiteX8" fmla="*/ 41826 w 3479447"/>
                    <a:gd name="connsiteY8" fmla="*/ 1004616 h 3435745"/>
                    <a:gd name="connsiteX9" fmla="*/ 0 w 3479447"/>
                    <a:gd name="connsiteY9" fmla="*/ 1091442 h 3435745"/>
                    <a:gd name="connsiteX10" fmla="*/ 0 w 3479447"/>
                    <a:gd name="connsiteY10" fmla="*/ 947272 h 3435745"/>
                    <a:gd name="connsiteX11" fmla="*/ 77316 w 3479447"/>
                    <a:gd name="connsiteY11" fmla="*/ 820006 h 3435745"/>
                    <a:gd name="connsiteX12" fmla="*/ 1619562 w 3479447"/>
                    <a:gd name="connsiteY12" fmla="*/ 0 h 3435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9447" h="3435745">
                      <a:moveTo>
                        <a:pt x="1619562" y="0"/>
                      </a:moveTo>
                      <a:cubicBezTo>
                        <a:pt x="2646748" y="0"/>
                        <a:pt x="3479447" y="832699"/>
                        <a:pt x="3479447" y="1859885"/>
                      </a:cubicBezTo>
                      <a:cubicBezTo>
                        <a:pt x="3479447" y="2501876"/>
                        <a:pt x="3154174" y="3067896"/>
                        <a:pt x="2659441" y="3402131"/>
                      </a:cubicBezTo>
                      <a:lnTo>
                        <a:pt x="2604111" y="3435745"/>
                      </a:lnTo>
                      <a:lnTo>
                        <a:pt x="2477919" y="3435745"/>
                      </a:lnTo>
                      <a:lnTo>
                        <a:pt x="2622771" y="3347745"/>
                      </a:lnTo>
                      <a:cubicBezTo>
                        <a:pt x="3100058" y="3025297"/>
                        <a:pt x="3413860" y="2479238"/>
                        <a:pt x="3413860" y="1859885"/>
                      </a:cubicBezTo>
                      <a:cubicBezTo>
                        <a:pt x="3413860" y="868922"/>
                        <a:pt x="2610526" y="65587"/>
                        <a:pt x="1619562" y="65587"/>
                      </a:cubicBezTo>
                      <a:cubicBezTo>
                        <a:pt x="938274" y="65587"/>
                        <a:pt x="345671" y="445288"/>
                        <a:pt x="41826" y="1004616"/>
                      </a:cubicBezTo>
                      <a:lnTo>
                        <a:pt x="0" y="1091442"/>
                      </a:lnTo>
                      <a:lnTo>
                        <a:pt x="0" y="947272"/>
                      </a:lnTo>
                      <a:lnTo>
                        <a:pt x="77316" y="820006"/>
                      </a:lnTo>
                      <a:cubicBezTo>
                        <a:pt x="411551" y="325273"/>
                        <a:pt x="977571" y="0"/>
                        <a:pt x="161956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73" name="자유형 272"/>
                <p:cNvSpPr/>
                <p:nvPr/>
              </p:nvSpPr>
              <p:spPr>
                <a:xfrm>
                  <a:off x="0" y="4336084"/>
                  <a:ext cx="761205" cy="807416"/>
                </a:xfrm>
                <a:custGeom>
                  <a:avLst/>
                  <a:gdLst>
                    <a:gd name="connsiteX0" fmla="*/ 0 w 761205"/>
                    <a:gd name="connsiteY0" fmla="*/ 0 h 807416"/>
                    <a:gd name="connsiteX1" fmla="*/ 41826 w 761205"/>
                    <a:gd name="connsiteY1" fmla="*/ 86825 h 807416"/>
                    <a:gd name="connsiteX2" fmla="*/ 616353 w 761205"/>
                    <a:gd name="connsiteY2" fmla="*/ 719416 h 807416"/>
                    <a:gd name="connsiteX3" fmla="*/ 761205 w 761205"/>
                    <a:gd name="connsiteY3" fmla="*/ 807416 h 807416"/>
                    <a:gd name="connsiteX4" fmla="*/ 635013 w 761205"/>
                    <a:gd name="connsiteY4" fmla="*/ 807416 h 807416"/>
                    <a:gd name="connsiteX5" fmla="*/ 579683 w 761205"/>
                    <a:gd name="connsiteY5" fmla="*/ 773802 h 807416"/>
                    <a:gd name="connsiteX6" fmla="*/ 77316 w 761205"/>
                    <a:gd name="connsiteY6" fmla="*/ 271435 h 807416"/>
                    <a:gd name="connsiteX7" fmla="*/ 0 w 761205"/>
                    <a:gd name="connsiteY7" fmla="*/ 144170 h 807416"/>
                    <a:gd name="connsiteX8" fmla="*/ 0 w 761205"/>
                    <a:gd name="connsiteY8" fmla="*/ 0 h 80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1205" h="807416">
                      <a:moveTo>
                        <a:pt x="0" y="0"/>
                      </a:moveTo>
                      <a:lnTo>
                        <a:pt x="41826" y="86825"/>
                      </a:lnTo>
                      <a:cubicBezTo>
                        <a:pt x="179937" y="341065"/>
                        <a:pt x="377710" y="558192"/>
                        <a:pt x="616353" y="719416"/>
                      </a:cubicBezTo>
                      <a:lnTo>
                        <a:pt x="761205" y="807416"/>
                      </a:lnTo>
                      <a:lnTo>
                        <a:pt x="635013" y="807416"/>
                      </a:lnTo>
                      <a:lnTo>
                        <a:pt x="579683" y="773802"/>
                      </a:lnTo>
                      <a:cubicBezTo>
                        <a:pt x="381790" y="640108"/>
                        <a:pt x="211010" y="469329"/>
                        <a:pt x="77316" y="271435"/>
                      </a:cubicBezTo>
                      <a:lnTo>
                        <a:pt x="0" y="14417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74" name="자유형 273"/>
                <p:cNvSpPr/>
                <p:nvPr/>
              </p:nvSpPr>
              <p:spPr>
                <a:xfrm>
                  <a:off x="0" y="4656449"/>
                  <a:ext cx="472313" cy="487051"/>
                </a:xfrm>
                <a:custGeom>
                  <a:avLst/>
                  <a:gdLst>
                    <a:gd name="connsiteX0" fmla="*/ 0 w 472313"/>
                    <a:gd name="connsiteY0" fmla="*/ 0 h 487051"/>
                    <a:gd name="connsiteX1" fmla="*/ 112946 w 472313"/>
                    <a:gd name="connsiteY1" fmla="*/ 151039 h 487051"/>
                    <a:gd name="connsiteX2" fmla="*/ 379711 w 472313"/>
                    <a:gd name="connsiteY2" fmla="*/ 417804 h 487051"/>
                    <a:gd name="connsiteX3" fmla="*/ 472313 w 472313"/>
                    <a:gd name="connsiteY3" fmla="*/ 487051 h 487051"/>
                    <a:gd name="connsiteX4" fmla="*/ 355401 w 472313"/>
                    <a:gd name="connsiteY4" fmla="*/ 487051 h 487051"/>
                    <a:gd name="connsiteX5" fmla="*/ 335128 w 472313"/>
                    <a:gd name="connsiteY5" fmla="*/ 471891 h 487051"/>
                    <a:gd name="connsiteX6" fmla="*/ 58861 w 472313"/>
                    <a:gd name="connsiteY6" fmla="*/ 195624 h 487051"/>
                    <a:gd name="connsiteX7" fmla="*/ 0 w 472313"/>
                    <a:gd name="connsiteY7" fmla="*/ 116910 h 487051"/>
                    <a:gd name="connsiteX8" fmla="*/ 0 w 472313"/>
                    <a:gd name="connsiteY8" fmla="*/ 0 h 48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2313" h="487051">
                      <a:moveTo>
                        <a:pt x="0" y="0"/>
                      </a:moveTo>
                      <a:lnTo>
                        <a:pt x="112946" y="151039"/>
                      </a:lnTo>
                      <a:cubicBezTo>
                        <a:pt x="193156" y="248232"/>
                        <a:pt x="282518" y="337594"/>
                        <a:pt x="379711" y="417804"/>
                      </a:cubicBezTo>
                      <a:lnTo>
                        <a:pt x="472313" y="487051"/>
                      </a:lnTo>
                      <a:lnTo>
                        <a:pt x="355401" y="487051"/>
                      </a:lnTo>
                      <a:lnTo>
                        <a:pt x="335128" y="471891"/>
                      </a:lnTo>
                      <a:cubicBezTo>
                        <a:pt x="234473" y="388824"/>
                        <a:pt x="141929" y="296279"/>
                        <a:pt x="58861" y="195624"/>
                      </a:cubicBezTo>
                      <a:lnTo>
                        <a:pt x="0" y="11691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grpSp>
            <p:nvGrpSpPr>
              <p:cNvPr id="275" name="그룹 274"/>
              <p:cNvGrpSpPr/>
              <p:nvPr userDrawn="1"/>
            </p:nvGrpSpPr>
            <p:grpSpPr>
              <a:xfrm>
                <a:off x="-24276" y="557874"/>
                <a:ext cx="4645390" cy="4601689"/>
                <a:chOff x="0" y="541811"/>
                <a:chExt cx="4645390" cy="4601689"/>
              </a:xfrm>
              <a:gradFill flip="none" rotWithShape="1">
                <a:gsLst>
                  <a:gs pos="100000">
                    <a:srgbClr val="2E4D64">
                      <a:alpha val="10000"/>
                    </a:srgbClr>
                  </a:gs>
                  <a:gs pos="4000">
                    <a:srgbClr val="152B2D">
                      <a:alpha val="0"/>
                    </a:srgbClr>
                  </a:gs>
                </a:gsLst>
                <a:lin ang="18900000" scaled="1"/>
                <a:tileRect/>
              </a:gradFill>
            </p:grpSpPr>
            <p:sp>
              <p:nvSpPr>
                <p:cNvPr id="276" name="자유형 275"/>
                <p:cNvSpPr/>
                <p:nvPr/>
              </p:nvSpPr>
              <p:spPr>
                <a:xfrm>
                  <a:off x="0" y="541811"/>
                  <a:ext cx="4645390" cy="4601689"/>
                </a:xfrm>
                <a:custGeom>
                  <a:avLst/>
                  <a:gdLst>
                    <a:gd name="connsiteX0" fmla="*/ 1692820 w 4645390"/>
                    <a:gd name="connsiteY0" fmla="*/ 0 h 4601689"/>
                    <a:gd name="connsiteX1" fmla="*/ 4645390 w 4645390"/>
                    <a:gd name="connsiteY1" fmla="*/ 2952571 h 4601689"/>
                    <a:gd name="connsiteX2" fmla="*/ 4289031 w 4645390"/>
                    <a:gd name="connsiteY2" fmla="*/ 4359941 h 4601689"/>
                    <a:gd name="connsiteX3" fmla="*/ 4142165 w 4645390"/>
                    <a:gd name="connsiteY3" fmla="*/ 4601689 h 4601689"/>
                    <a:gd name="connsiteX4" fmla="*/ 4069384 w 4645390"/>
                    <a:gd name="connsiteY4" fmla="*/ 4601689 h 4601689"/>
                    <a:gd name="connsiteX5" fmla="*/ 4092594 w 4645390"/>
                    <a:gd name="connsiteY5" fmla="*/ 4570650 h 4601689"/>
                    <a:gd name="connsiteX6" fmla="*/ 4586848 w 4645390"/>
                    <a:gd name="connsiteY6" fmla="*/ 2952571 h 4601689"/>
                    <a:gd name="connsiteX7" fmla="*/ 1692820 w 4645390"/>
                    <a:gd name="connsiteY7" fmla="*/ 58542 h 4601689"/>
                    <a:gd name="connsiteX8" fmla="*/ 74741 w 4645390"/>
                    <a:gd name="connsiteY8" fmla="*/ 552797 h 4601689"/>
                    <a:gd name="connsiteX9" fmla="*/ 0 w 4645390"/>
                    <a:gd name="connsiteY9" fmla="*/ 608687 h 4601689"/>
                    <a:gd name="connsiteX10" fmla="*/ 0 w 4645390"/>
                    <a:gd name="connsiteY10" fmla="*/ 535667 h 4601689"/>
                    <a:gd name="connsiteX11" fmla="*/ 42009 w 4645390"/>
                    <a:gd name="connsiteY11" fmla="*/ 504253 h 4601689"/>
                    <a:gd name="connsiteX12" fmla="*/ 1692820 w 4645390"/>
                    <a:gd name="connsiteY12" fmla="*/ 0 h 4601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45390" h="4601689">
                      <a:moveTo>
                        <a:pt x="1692820" y="0"/>
                      </a:moveTo>
                      <a:cubicBezTo>
                        <a:pt x="3323479" y="0"/>
                        <a:pt x="4645390" y="1321911"/>
                        <a:pt x="4645390" y="2952571"/>
                      </a:cubicBezTo>
                      <a:cubicBezTo>
                        <a:pt x="4645390" y="3462152"/>
                        <a:pt x="4516297" y="3941582"/>
                        <a:pt x="4289031" y="4359941"/>
                      </a:cubicBezTo>
                      <a:lnTo>
                        <a:pt x="4142165" y="4601689"/>
                      </a:lnTo>
                      <a:lnTo>
                        <a:pt x="4069384" y="4601689"/>
                      </a:lnTo>
                      <a:lnTo>
                        <a:pt x="4092594" y="4570650"/>
                      </a:lnTo>
                      <a:cubicBezTo>
                        <a:pt x="4404640" y="4108760"/>
                        <a:pt x="4586848" y="3551944"/>
                        <a:pt x="4586848" y="2952571"/>
                      </a:cubicBezTo>
                      <a:cubicBezTo>
                        <a:pt x="4586848" y="1354243"/>
                        <a:pt x="3291148" y="58542"/>
                        <a:pt x="1692820" y="58542"/>
                      </a:cubicBezTo>
                      <a:cubicBezTo>
                        <a:pt x="1093447" y="58542"/>
                        <a:pt x="536631" y="240750"/>
                        <a:pt x="74741" y="552797"/>
                      </a:cubicBezTo>
                      <a:lnTo>
                        <a:pt x="0" y="608687"/>
                      </a:lnTo>
                      <a:lnTo>
                        <a:pt x="0" y="535667"/>
                      </a:lnTo>
                      <a:lnTo>
                        <a:pt x="42009" y="504253"/>
                      </a:lnTo>
                      <a:cubicBezTo>
                        <a:pt x="513243" y="185894"/>
                        <a:pt x="1081323" y="0"/>
                        <a:pt x="169282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77" name="자유형 276"/>
                <p:cNvSpPr/>
                <p:nvPr/>
              </p:nvSpPr>
              <p:spPr>
                <a:xfrm>
                  <a:off x="0" y="901746"/>
                  <a:ext cx="4285456" cy="4241754"/>
                </a:xfrm>
                <a:custGeom>
                  <a:avLst/>
                  <a:gdLst>
                    <a:gd name="connsiteX0" fmla="*/ 1670205 w 4285456"/>
                    <a:gd name="connsiteY0" fmla="*/ 0 h 4241754"/>
                    <a:gd name="connsiteX1" fmla="*/ 4285456 w 4285456"/>
                    <a:gd name="connsiteY1" fmla="*/ 2615251 h 4241754"/>
                    <a:gd name="connsiteX2" fmla="*/ 3838812 w 4285456"/>
                    <a:gd name="connsiteY2" fmla="*/ 4077463 h 4241754"/>
                    <a:gd name="connsiteX3" fmla="*/ 3715958 w 4285456"/>
                    <a:gd name="connsiteY3" fmla="*/ 4241754 h 4241754"/>
                    <a:gd name="connsiteX4" fmla="*/ 3629457 w 4285456"/>
                    <a:gd name="connsiteY4" fmla="*/ 4241754 h 4241754"/>
                    <a:gd name="connsiteX5" fmla="*/ 3635397 w 4285456"/>
                    <a:gd name="connsiteY5" fmla="*/ 4235218 h 4241754"/>
                    <a:gd name="connsiteX6" fmla="*/ 4216950 w 4285456"/>
                    <a:gd name="connsiteY6" fmla="*/ 2615251 h 4241754"/>
                    <a:gd name="connsiteX7" fmla="*/ 1670205 w 4285456"/>
                    <a:gd name="connsiteY7" fmla="*/ 68506 h 4241754"/>
                    <a:gd name="connsiteX8" fmla="*/ 50238 w 4285456"/>
                    <a:gd name="connsiteY8" fmla="*/ 650059 h 4241754"/>
                    <a:gd name="connsiteX9" fmla="*/ 0 w 4285456"/>
                    <a:gd name="connsiteY9" fmla="*/ 695718 h 4241754"/>
                    <a:gd name="connsiteX10" fmla="*/ 0 w 4285456"/>
                    <a:gd name="connsiteY10" fmla="*/ 603252 h 4241754"/>
                    <a:gd name="connsiteX11" fmla="*/ 6663 w 4285456"/>
                    <a:gd name="connsiteY11" fmla="*/ 597196 h 4241754"/>
                    <a:gd name="connsiteX12" fmla="*/ 1670205 w 4285456"/>
                    <a:gd name="connsiteY12" fmla="*/ 0 h 4241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85456" h="4241754">
                      <a:moveTo>
                        <a:pt x="1670205" y="0"/>
                      </a:moveTo>
                      <a:cubicBezTo>
                        <a:pt x="3114569" y="0"/>
                        <a:pt x="4285456" y="1170888"/>
                        <a:pt x="4285456" y="2615251"/>
                      </a:cubicBezTo>
                      <a:cubicBezTo>
                        <a:pt x="4285456" y="3156888"/>
                        <a:pt x="4120800" y="3660067"/>
                        <a:pt x="3838812" y="4077463"/>
                      </a:cubicBezTo>
                      <a:lnTo>
                        <a:pt x="3715958" y="4241754"/>
                      </a:lnTo>
                      <a:lnTo>
                        <a:pt x="3629457" y="4241754"/>
                      </a:lnTo>
                      <a:lnTo>
                        <a:pt x="3635397" y="4235218"/>
                      </a:lnTo>
                      <a:cubicBezTo>
                        <a:pt x="3998706" y="3794990"/>
                        <a:pt x="4216950" y="3230608"/>
                        <a:pt x="4216950" y="2615251"/>
                      </a:cubicBezTo>
                      <a:cubicBezTo>
                        <a:pt x="4216950" y="1208722"/>
                        <a:pt x="3076734" y="68506"/>
                        <a:pt x="1670205" y="68506"/>
                      </a:cubicBezTo>
                      <a:cubicBezTo>
                        <a:pt x="1054849" y="68506"/>
                        <a:pt x="490466" y="286751"/>
                        <a:pt x="50238" y="650059"/>
                      </a:cubicBezTo>
                      <a:lnTo>
                        <a:pt x="0" y="695718"/>
                      </a:lnTo>
                      <a:lnTo>
                        <a:pt x="0" y="603252"/>
                      </a:lnTo>
                      <a:lnTo>
                        <a:pt x="6663" y="597196"/>
                      </a:lnTo>
                      <a:cubicBezTo>
                        <a:pt x="458732" y="224115"/>
                        <a:pt x="1038296" y="0"/>
                        <a:pt x="167020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78" name="자유형 277"/>
                <p:cNvSpPr/>
                <p:nvPr/>
              </p:nvSpPr>
              <p:spPr>
                <a:xfrm>
                  <a:off x="0" y="1117508"/>
                  <a:ext cx="4069693" cy="4025992"/>
                </a:xfrm>
                <a:custGeom>
                  <a:avLst/>
                  <a:gdLst>
                    <a:gd name="connsiteX0" fmla="*/ 1656648 w 4069693"/>
                    <a:gd name="connsiteY0" fmla="*/ 0 h 4025992"/>
                    <a:gd name="connsiteX1" fmla="*/ 4069693 w 4069693"/>
                    <a:gd name="connsiteY1" fmla="*/ 2413046 h 4025992"/>
                    <a:gd name="connsiteX2" fmla="*/ 3518671 w 4069693"/>
                    <a:gd name="connsiteY2" fmla="*/ 3947967 h 4025992"/>
                    <a:gd name="connsiteX3" fmla="*/ 3447757 w 4069693"/>
                    <a:gd name="connsiteY3" fmla="*/ 4025992 h 4025992"/>
                    <a:gd name="connsiteX4" fmla="*/ 3367803 w 4069693"/>
                    <a:gd name="connsiteY4" fmla="*/ 4025992 h 4025992"/>
                    <a:gd name="connsiteX5" fmla="*/ 3472962 w 4069693"/>
                    <a:gd name="connsiteY5" fmla="*/ 3910288 h 4025992"/>
                    <a:gd name="connsiteX6" fmla="*/ 4010458 w 4069693"/>
                    <a:gd name="connsiteY6" fmla="*/ 2413046 h 4025992"/>
                    <a:gd name="connsiteX7" fmla="*/ 1656648 w 4069693"/>
                    <a:gd name="connsiteY7" fmla="*/ 59235 h 4025992"/>
                    <a:gd name="connsiteX8" fmla="*/ 159406 w 4069693"/>
                    <a:gd name="connsiteY8" fmla="*/ 596731 h 4025992"/>
                    <a:gd name="connsiteX9" fmla="*/ 0 w 4069693"/>
                    <a:gd name="connsiteY9" fmla="*/ 741609 h 4025992"/>
                    <a:gd name="connsiteX10" fmla="*/ 0 w 4069693"/>
                    <a:gd name="connsiteY10" fmla="*/ 661655 h 4025992"/>
                    <a:gd name="connsiteX11" fmla="*/ 121726 w 4069693"/>
                    <a:gd name="connsiteY11" fmla="*/ 551022 h 4025992"/>
                    <a:gd name="connsiteX12" fmla="*/ 1656648 w 4069693"/>
                    <a:gd name="connsiteY12" fmla="*/ 0 h 4025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69693" h="4025992">
                      <a:moveTo>
                        <a:pt x="1656648" y="0"/>
                      </a:moveTo>
                      <a:cubicBezTo>
                        <a:pt x="2989336" y="0"/>
                        <a:pt x="4069693" y="1080357"/>
                        <a:pt x="4069693" y="2413046"/>
                      </a:cubicBezTo>
                      <a:cubicBezTo>
                        <a:pt x="4069693" y="2996097"/>
                        <a:pt x="3862906" y="3530851"/>
                        <a:pt x="3518671" y="3947967"/>
                      </a:cubicBezTo>
                      <a:lnTo>
                        <a:pt x="3447757" y="4025992"/>
                      </a:lnTo>
                      <a:lnTo>
                        <a:pt x="3367803" y="4025992"/>
                      </a:lnTo>
                      <a:lnTo>
                        <a:pt x="3472962" y="3910288"/>
                      </a:lnTo>
                      <a:cubicBezTo>
                        <a:pt x="3808747" y="3503411"/>
                        <a:pt x="4010458" y="2981784"/>
                        <a:pt x="4010458" y="2413046"/>
                      </a:cubicBezTo>
                      <a:cubicBezTo>
                        <a:pt x="4010458" y="1113073"/>
                        <a:pt x="2956621" y="59235"/>
                        <a:pt x="1656648" y="59235"/>
                      </a:cubicBezTo>
                      <a:cubicBezTo>
                        <a:pt x="1087910" y="59235"/>
                        <a:pt x="566283" y="260946"/>
                        <a:pt x="159406" y="596731"/>
                      </a:cubicBezTo>
                      <a:lnTo>
                        <a:pt x="0" y="741609"/>
                      </a:lnTo>
                      <a:lnTo>
                        <a:pt x="0" y="661655"/>
                      </a:lnTo>
                      <a:lnTo>
                        <a:pt x="121726" y="551022"/>
                      </a:lnTo>
                      <a:cubicBezTo>
                        <a:pt x="538843" y="206787"/>
                        <a:pt x="1073597" y="0"/>
                        <a:pt x="1656648"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79" name="자유형 278"/>
                <p:cNvSpPr/>
                <p:nvPr/>
              </p:nvSpPr>
              <p:spPr>
                <a:xfrm>
                  <a:off x="0" y="1517666"/>
                  <a:ext cx="3669535" cy="3625834"/>
                </a:xfrm>
                <a:custGeom>
                  <a:avLst/>
                  <a:gdLst>
                    <a:gd name="connsiteX0" fmla="*/ 1631505 w 3669535"/>
                    <a:gd name="connsiteY0" fmla="*/ 0 h 3625834"/>
                    <a:gd name="connsiteX1" fmla="*/ 3669535 w 3669535"/>
                    <a:gd name="connsiteY1" fmla="*/ 2038031 h 3625834"/>
                    <a:gd name="connsiteX2" fmla="*/ 2927881 w 3669535"/>
                    <a:gd name="connsiteY2" fmla="*/ 3610674 h 3625834"/>
                    <a:gd name="connsiteX3" fmla="*/ 2907608 w 3669535"/>
                    <a:gd name="connsiteY3" fmla="*/ 3625834 h 3625834"/>
                    <a:gd name="connsiteX4" fmla="*/ 2790694 w 3669535"/>
                    <a:gd name="connsiteY4" fmla="*/ 3625834 h 3625834"/>
                    <a:gd name="connsiteX5" fmla="*/ 2883296 w 3669535"/>
                    <a:gd name="connsiteY5" fmla="*/ 3556587 h 3625834"/>
                    <a:gd name="connsiteX6" fmla="*/ 3599443 w 3669535"/>
                    <a:gd name="connsiteY6" fmla="*/ 2038030 h 3625834"/>
                    <a:gd name="connsiteX7" fmla="*/ 1631503 w 3669535"/>
                    <a:gd name="connsiteY7" fmla="*/ 70090 h 3625834"/>
                    <a:gd name="connsiteX8" fmla="*/ 112946 w 3669535"/>
                    <a:gd name="connsiteY8" fmla="*/ 786238 h 3625834"/>
                    <a:gd name="connsiteX9" fmla="*/ 0 w 3669535"/>
                    <a:gd name="connsiteY9" fmla="*/ 937277 h 3625834"/>
                    <a:gd name="connsiteX10" fmla="*/ 0 w 3669535"/>
                    <a:gd name="connsiteY10" fmla="*/ 820368 h 3625834"/>
                    <a:gd name="connsiteX11" fmla="*/ 58861 w 3669535"/>
                    <a:gd name="connsiteY11" fmla="*/ 741654 h 3625834"/>
                    <a:gd name="connsiteX12" fmla="*/ 1631505 w 3669535"/>
                    <a:gd name="connsiteY12" fmla="*/ 0 h 3625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69535" h="3625834">
                      <a:moveTo>
                        <a:pt x="1631505" y="0"/>
                      </a:moveTo>
                      <a:cubicBezTo>
                        <a:pt x="2757078" y="0"/>
                        <a:pt x="3669535" y="912457"/>
                        <a:pt x="3669535" y="2038031"/>
                      </a:cubicBezTo>
                      <a:cubicBezTo>
                        <a:pt x="3669535" y="2671166"/>
                        <a:pt x="3380828" y="3236870"/>
                        <a:pt x="2927881" y="3610674"/>
                      </a:cubicBezTo>
                      <a:lnTo>
                        <a:pt x="2907608" y="3625834"/>
                      </a:lnTo>
                      <a:lnTo>
                        <a:pt x="2790694" y="3625834"/>
                      </a:lnTo>
                      <a:lnTo>
                        <a:pt x="2883296" y="3556587"/>
                      </a:lnTo>
                      <a:cubicBezTo>
                        <a:pt x="3320665" y="3195639"/>
                        <a:pt x="3599443" y="2649391"/>
                        <a:pt x="3599443" y="2038030"/>
                      </a:cubicBezTo>
                      <a:cubicBezTo>
                        <a:pt x="3599443" y="951167"/>
                        <a:pt x="2718367" y="70090"/>
                        <a:pt x="1631503" y="70090"/>
                      </a:cubicBezTo>
                      <a:cubicBezTo>
                        <a:pt x="1020143" y="70090"/>
                        <a:pt x="473894" y="348868"/>
                        <a:pt x="112946" y="786238"/>
                      </a:cubicBezTo>
                      <a:lnTo>
                        <a:pt x="0" y="937277"/>
                      </a:lnTo>
                      <a:lnTo>
                        <a:pt x="0" y="820368"/>
                      </a:lnTo>
                      <a:lnTo>
                        <a:pt x="58861" y="741654"/>
                      </a:lnTo>
                      <a:cubicBezTo>
                        <a:pt x="432666" y="288707"/>
                        <a:pt x="998370" y="0"/>
                        <a:pt x="163150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80" name="자유형 279"/>
                <p:cNvSpPr/>
                <p:nvPr/>
              </p:nvSpPr>
              <p:spPr>
                <a:xfrm>
                  <a:off x="0" y="1707755"/>
                  <a:ext cx="3479447" cy="3435745"/>
                </a:xfrm>
                <a:custGeom>
                  <a:avLst/>
                  <a:gdLst>
                    <a:gd name="connsiteX0" fmla="*/ 1619562 w 3479447"/>
                    <a:gd name="connsiteY0" fmla="*/ 0 h 3435745"/>
                    <a:gd name="connsiteX1" fmla="*/ 3479447 w 3479447"/>
                    <a:gd name="connsiteY1" fmla="*/ 1859885 h 3435745"/>
                    <a:gd name="connsiteX2" fmla="*/ 2659441 w 3479447"/>
                    <a:gd name="connsiteY2" fmla="*/ 3402131 h 3435745"/>
                    <a:gd name="connsiteX3" fmla="*/ 2604111 w 3479447"/>
                    <a:gd name="connsiteY3" fmla="*/ 3435745 h 3435745"/>
                    <a:gd name="connsiteX4" fmla="*/ 2477919 w 3479447"/>
                    <a:gd name="connsiteY4" fmla="*/ 3435745 h 3435745"/>
                    <a:gd name="connsiteX5" fmla="*/ 2622771 w 3479447"/>
                    <a:gd name="connsiteY5" fmla="*/ 3347745 h 3435745"/>
                    <a:gd name="connsiteX6" fmla="*/ 3413860 w 3479447"/>
                    <a:gd name="connsiteY6" fmla="*/ 1859885 h 3435745"/>
                    <a:gd name="connsiteX7" fmla="*/ 1619562 w 3479447"/>
                    <a:gd name="connsiteY7" fmla="*/ 65587 h 3435745"/>
                    <a:gd name="connsiteX8" fmla="*/ 41826 w 3479447"/>
                    <a:gd name="connsiteY8" fmla="*/ 1004616 h 3435745"/>
                    <a:gd name="connsiteX9" fmla="*/ 0 w 3479447"/>
                    <a:gd name="connsiteY9" fmla="*/ 1091442 h 3435745"/>
                    <a:gd name="connsiteX10" fmla="*/ 0 w 3479447"/>
                    <a:gd name="connsiteY10" fmla="*/ 947272 h 3435745"/>
                    <a:gd name="connsiteX11" fmla="*/ 77316 w 3479447"/>
                    <a:gd name="connsiteY11" fmla="*/ 820006 h 3435745"/>
                    <a:gd name="connsiteX12" fmla="*/ 1619562 w 3479447"/>
                    <a:gd name="connsiteY12" fmla="*/ 0 h 3435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9447" h="3435745">
                      <a:moveTo>
                        <a:pt x="1619562" y="0"/>
                      </a:moveTo>
                      <a:cubicBezTo>
                        <a:pt x="2646748" y="0"/>
                        <a:pt x="3479447" y="832699"/>
                        <a:pt x="3479447" y="1859885"/>
                      </a:cubicBezTo>
                      <a:cubicBezTo>
                        <a:pt x="3479447" y="2501876"/>
                        <a:pt x="3154174" y="3067896"/>
                        <a:pt x="2659441" y="3402131"/>
                      </a:cubicBezTo>
                      <a:lnTo>
                        <a:pt x="2604111" y="3435745"/>
                      </a:lnTo>
                      <a:lnTo>
                        <a:pt x="2477919" y="3435745"/>
                      </a:lnTo>
                      <a:lnTo>
                        <a:pt x="2622771" y="3347745"/>
                      </a:lnTo>
                      <a:cubicBezTo>
                        <a:pt x="3100058" y="3025297"/>
                        <a:pt x="3413860" y="2479238"/>
                        <a:pt x="3413860" y="1859885"/>
                      </a:cubicBezTo>
                      <a:cubicBezTo>
                        <a:pt x="3413860" y="868922"/>
                        <a:pt x="2610526" y="65587"/>
                        <a:pt x="1619562" y="65587"/>
                      </a:cubicBezTo>
                      <a:cubicBezTo>
                        <a:pt x="938274" y="65587"/>
                        <a:pt x="345671" y="445288"/>
                        <a:pt x="41826" y="1004616"/>
                      </a:cubicBezTo>
                      <a:lnTo>
                        <a:pt x="0" y="1091442"/>
                      </a:lnTo>
                      <a:lnTo>
                        <a:pt x="0" y="947272"/>
                      </a:lnTo>
                      <a:lnTo>
                        <a:pt x="77316" y="820006"/>
                      </a:lnTo>
                      <a:cubicBezTo>
                        <a:pt x="411551" y="325273"/>
                        <a:pt x="977571" y="0"/>
                        <a:pt x="161956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81" name="자유형 280"/>
                <p:cNvSpPr/>
                <p:nvPr/>
              </p:nvSpPr>
              <p:spPr>
                <a:xfrm>
                  <a:off x="0" y="4336084"/>
                  <a:ext cx="761205" cy="807416"/>
                </a:xfrm>
                <a:custGeom>
                  <a:avLst/>
                  <a:gdLst>
                    <a:gd name="connsiteX0" fmla="*/ 0 w 761205"/>
                    <a:gd name="connsiteY0" fmla="*/ 0 h 807416"/>
                    <a:gd name="connsiteX1" fmla="*/ 41826 w 761205"/>
                    <a:gd name="connsiteY1" fmla="*/ 86825 h 807416"/>
                    <a:gd name="connsiteX2" fmla="*/ 616353 w 761205"/>
                    <a:gd name="connsiteY2" fmla="*/ 719416 h 807416"/>
                    <a:gd name="connsiteX3" fmla="*/ 761205 w 761205"/>
                    <a:gd name="connsiteY3" fmla="*/ 807416 h 807416"/>
                    <a:gd name="connsiteX4" fmla="*/ 635013 w 761205"/>
                    <a:gd name="connsiteY4" fmla="*/ 807416 h 807416"/>
                    <a:gd name="connsiteX5" fmla="*/ 579683 w 761205"/>
                    <a:gd name="connsiteY5" fmla="*/ 773802 h 807416"/>
                    <a:gd name="connsiteX6" fmla="*/ 77316 w 761205"/>
                    <a:gd name="connsiteY6" fmla="*/ 271435 h 807416"/>
                    <a:gd name="connsiteX7" fmla="*/ 0 w 761205"/>
                    <a:gd name="connsiteY7" fmla="*/ 144170 h 807416"/>
                    <a:gd name="connsiteX8" fmla="*/ 0 w 761205"/>
                    <a:gd name="connsiteY8" fmla="*/ 0 h 80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1205" h="807416">
                      <a:moveTo>
                        <a:pt x="0" y="0"/>
                      </a:moveTo>
                      <a:lnTo>
                        <a:pt x="41826" y="86825"/>
                      </a:lnTo>
                      <a:cubicBezTo>
                        <a:pt x="179937" y="341065"/>
                        <a:pt x="377710" y="558192"/>
                        <a:pt x="616353" y="719416"/>
                      </a:cubicBezTo>
                      <a:lnTo>
                        <a:pt x="761205" y="807416"/>
                      </a:lnTo>
                      <a:lnTo>
                        <a:pt x="635013" y="807416"/>
                      </a:lnTo>
                      <a:lnTo>
                        <a:pt x="579683" y="773802"/>
                      </a:lnTo>
                      <a:cubicBezTo>
                        <a:pt x="381790" y="640108"/>
                        <a:pt x="211010" y="469329"/>
                        <a:pt x="77316" y="271435"/>
                      </a:cubicBezTo>
                      <a:lnTo>
                        <a:pt x="0" y="14417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282" name="자유형 281"/>
                <p:cNvSpPr/>
                <p:nvPr/>
              </p:nvSpPr>
              <p:spPr>
                <a:xfrm>
                  <a:off x="0" y="4656449"/>
                  <a:ext cx="472313" cy="487051"/>
                </a:xfrm>
                <a:custGeom>
                  <a:avLst/>
                  <a:gdLst>
                    <a:gd name="connsiteX0" fmla="*/ 0 w 472313"/>
                    <a:gd name="connsiteY0" fmla="*/ 0 h 487051"/>
                    <a:gd name="connsiteX1" fmla="*/ 112946 w 472313"/>
                    <a:gd name="connsiteY1" fmla="*/ 151039 h 487051"/>
                    <a:gd name="connsiteX2" fmla="*/ 379711 w 472313"/>
                    <a:gd name="connsiteY2" fmla="*/ 417804 h 487051"/>
                    <a:gd name="connsiteX3" fmla="*/ 472313 w 472313"/>
                    <a:gd name="connsiteY3" fmla="*/ 487051 h 487051"/>
                    <a:gd name="connsiteX4" fmla="*/ 355401 w 472313"/>
                    <a:gd name="connsiteY4" fmla="*/ 487051 h 487051"/>
                    <a:gd name="connsiteX5" fmla="*/ 335128 w 472313"/>
                    <a:gd name="connsiteY5" fmla="*/ 471891 h 487051"/>
                    <a:gd name="connsiteX6" fmla="*/ 58861 w 472313"/>
                    <a:gd name="connsiteY6" fmla="*/ 195624 h 487051"/>
                    <a:gd name="connsiteX7" fmla="*/ 0 w 472313"/>
                    <a:gd name="connsiteY7" fmla="*/ 116910 h 487051"/>
                    <a:gd name="connsiteX8" fmla="*/ 0 w 472313"/>
                    <a:gd name="connsiteY8" fmla="*/ 0 h 48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2313" h="487051">
                      <a:moveTo>
                        <a:pt x="0" y="0"/>
                      </a:moveTo>
                      <a:lnTo>
                        <a:pt x="112946" y="151039"/>
                      </a:lnTo>
                      <a:cubicBezTo>
                        <a:pt x="193156" y="248232"/>
                        <a:pt x="282518" y="337594"/>
                        <a:pt x="379711" y="417804"/>
                      </a:cubicBezTo>
                      <a:lnTo>
                        <a:pt x="472313" y="487051"/>
                      </a:lnTo>
                      <a:lnTo>
                        <a:pt x="355401" y="487051"/>
                      </a:lnTo>
                      <a:lnTo>
                        <a:pt x="335128" y="471891"/>
                      </a:lnTo>
                      <a:cubicBezTo>
                        <a:pt x="234473" y="388824"/>
                        <a:pt x="141929" y="296279"/>
                        <a:pt x="58861" y="195624"/>
                      </a:cubicBezTo>
                      <a:lnTo>
                        <a:pt x="0" y="11691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grpSp>
        <p:grpSp>
          <p:nvGrpSpPr>
            <p:cNvPr id="3" name="그룹 2"/>
            <p:cNvGrpSpPr/>
            <p:nvPr userDrawn="1"/>
          </p:nvGrpSpPr>
          <p:grpSpPr>
            <a:xfrm>
              <a:off x="99784" y="402934"/>
              <a:ext cx="4587016" cy="4606788"/>
              <a:chOff x="99784" y="402934"/>
              <a:chExt cx="4587016" cy="4606788"/>
            </a:xfrm>
          </p:grpSpPr>
          <p:grpSp>
            <p:nvGrpSpPr>
              <p:cNvPr id="253" name="그룹 252"/>
              <p:cNvGrpSpPr/>
              <p:nvPr userDrawn="1"/>
            </p:nvGrpSpPr>
            <p:grpSpPr>
              <a:xfrm>
                <a:off x="99784" y="2247153"/>
                <a:ext cx="2762568" cy="2762569"/>
                <a:chOff x="3943349" y="0"/>
                <a:chExt cx="1573212" cy="1573211"/>
              </a:xfrm>
            </p:grpSpPr>
            <p:sp>
              <p:nvSpPr>
                <p:cNvPr id="254" name="Freeform 216"/>
                <p:cNvSpPr>
                  <a:spLocks/>
                </p:cNvSpPr>
                <p:nvPr/>
              </p:nvSpPr>
              <p:spPr bwMode="auto">
                <a:xfrm>
                  <a:off x="4100512" y="157163"/>
                  <a:ext cx="1258888" cy="1258886"/>
                </a:xfrm>
                <a:custGeom>
                  <a:avLst/>
                  <a:gdLst>
                    <a:gd name="T0" fmla="*/ 5447 w 5554"/>
                    <a:gd name="T1" fmla="*/ 2025 h 5554"/>
                    <a:gd name="T2" fmla="*/ 5379 w 5554"/>
                    <a:gd name="T3" fmla="*/ 1816 h 5554"/>
                    <a:gd name="T4" fmla="*/ 5258 w 5554"/>
                    <a:gd name="T5" fmla="*/ 1537 h 5554"/>
                    <a:gd name="T6" fmla="*/ 5036 w 5554"/>
                    <a:gd name="T7" fmla="*/ 1168 h 5554"/>
                    <a:gd name="T8" fmla="*/ 4821 w 5554"/>
                    <a:gd name="T9" fmla="*/ 902 h 5554"/>
                    <a:gd name="T10" fmla="*/ 4731 w 5554"/>
                    <a:gd name="T11" fmla="*/ 811 h 5554"/>
                    <a:gd name="T12" fmla="*/ 4672 w 5554"/>
                    <a:gd name="T13" fmla="*/ 752 h 5554"/>
                    <a:gd name="T14" fmla="*/ 4397 w 5554"/>
                    <a:gd name="T15" fmla="*/ 525 h 5554"/>
                    <a:gd name="T16" fmla="*/ 4191 w 5554"/>
                    <a:gd name="T17" fmla="*/ 390 h 5554"/>
                    <a:gd name="T18" fmla="*/ 4030 w 5554"/>
                    <a:gd name="T19" fmla="*/ 302 h 5554"/>
                    <a:gd name="T20" fmla="*/ 3896 w 5554"/>
                    <a:gd name="T21" fmla="*/ 237 h 5554"/>
                    <a:gd name="T22" fmla="*/ 3556 w 5554"/>
                    <a:gd name="T23" fmla="*/ 114 h 5554"/>
                    <a:gd name="T24" fmla="*/ 3402 w 5554"/>
                    <a:gd name="T25" fmla="*/ 74 h 5554"/>
                    <a:gd name="T26" fmla="*/ 3206 w 5554"/>
                    <a:gd name="T27" fmla="*/ 36 h 5554"/>
                    <a:gd name="T28" fmla="*/ 2902 w 5554"/>
                    <a:gd name="T29" fmla="*/ 4 h 5554"/>
                    <a:gd name="T30" fmla="*/ 2634 w 5554"/>
                    <a:gd name="T31" fmla="*/ 4 h 5554"/>
                    <a:gd name="T32" fmla="*/ 2286 w 5554"/>
                    <a:gd name="T33" fmla="*/ 44 h 5554"/>
                    <a:gd name="T34" fmla="*/ 1951 w 5554"/>
                    <a:gd name="T35" fmla="*/ 124 h 5554"/>
                    <a:gd name="T36" fmla="*/ 1634 w 5554"/>
                    <a:gd name="T37" fmla="*/ 245 h 5554"/>
                    <a:gd name="T38" fmla="*/ 1337 w 5554"/>
                    <a:gd name="T39" fmla="*/ 402 h 5554"/>
                    <a:gd name="T40" fmla="*/ 1062 w 5554"/>
                    <a:gd name="T41" fmla="*/ 592 h 5554"/>
                    <a:gd name="T42" fmla="*/ 813 w 5554"/>
                    <a:gd name="T43" fmla="*/ 813 h 5554"/>
                    <a:gd name="T44" fmla="*/ 592 w 5554"/>
                    <a:gd name="T45" fmla="*/ 1063 h 5554"/>
                    <a:gd name="T46" fmla="*/ 402 w 5554"/>
                    <a:gd name="T47" fmla="*/ 1337 h 5554"/>
                    <a:gd name="T48" fmla="*/ 246 w 5554"/>
                    <a:gd name="T49" fmla="*/ 1634 h 5554"/>
                    <a:gd name="T50" fmla="*/ 125 w 5554"/>
                    <a:gd name="T51" fmla="*/ 1952 h 5554"/>
                    <a:gd name="T52" fmla="*/ 43 w 5554"/>
                    <a:gd name="T53" fmla="*/ 2285 h 5554"/>
                    <a:gd name="T54" fmla="*/ 4 w 5554"/>
                    <a:gd name="T55" fmla="*/ 2634 h 5554"/>
                    <a:gd name="T56" fmla="*/ 4 w 5554"/>
                    <a:gd name="T57" fmla="*/ 2920 h 5554"/>
                    <a:gd name="T58" fmla="*/ 43 w 5554"/>
                    <a:gd name="T59" fmla="*/ 3266 h 5554"/>
                    <a:gd name="T60" fmla="*/ 124 w 5554"/>
                    <a:gd name="T61" fmla="*/ 3599 h 5554"/>
                    <a:gd name="T62" fmla="*/ 243 w 5554"/>
                    <a:gd name="T63" fmla="*/ 3916 h 5554"/>
                    <a:gd name="T64" fmla="*/ 399 w 5554"/>
                    <a:gd name="T65" fmla="*/ 4212 h 5554"/>
                    <a:gd name="T66" fmla="*/ 588 w 5554"/>
                    <a:gd name="T67" fmla="*/ 4486 h 5554"/>
                    <a:gd name="T68" fmla="*/ 807 w 5554"/>
                    <a:gd name="T69" fmla="*/ 4734 h 5554"/>
                    <a:gd name="T70" fmla="*/ 1004 w 5554"/>
                    <a:gd name="T71" fmla="*/ 4915 h 5554"/>
                    <a:gd name="T72" fmla="*/ 1275 w 5554"/>
                    <a:gd name="T73" fmla="*/ 5113 h 5554"/>
                    <a:gd name="T74" fmla="*/ 1568 w 5554"/>
                    <a:gd name="T75" fmla="*/ 5278 h 5554"/>
                    <a:gd name="T76" fmla="*/ 1883 w 5554"/>
                    <a:gd name="T77" fmla="*/ 5407 h 5554"/>
                    <a:gd name="T78" fmla="*/ 2215 w 5554"/>
                    <a:gd name="T79" fmla="*/ 5497 h 5554"/>
                    <a:gd name="T80" fmla="*/ 2562 w 5554"/>
                    <a:gd name="T81" fmla="*/ 5546 h 5554"/>
                    <a:gd name="T82" fmla="*/ 2849 w 5554"/>
                    <a:gd name="T83" fmla="*/ 5553 h 5554"/>
                    <a:gd name="T84" fmla="*/ 3200 w 5554"/>
                    <a:gd name="T85" fmla="*/ 5522 h 5554"/>
                    <a:gd name="T86" fmla="*/ 3537 w 5554"/>
                    <a:gd name="T87" fmla="*/ 5448 h 5554"/>
                    <a:gd name="T88" fmla="*/ 3857 w 5554"/>
                    <a:gd name="T89" fmla="*/ 5335 h 5554"/>
                    <a:gd name="T90" fmla="*/ 4159 w 5554"/>
                    <a:gd name="T91" fmla="*/ 5186 h 5554"/>
                    <a:gd name="T92" fmla="*/ 4439 w 5554"/>
                    <a:gd name="T93" fmla="*/ 5003 h 5554"/>
                    <a:gd name="T94" fmla="*/ 4693 w 5554"/>
                    <a:gd name="T95" fmla="*/ 4787 h 5554"/>
                    <a:gd name="T96" fmla="*/ 4920 w 5554"/>
                    <a:gd name="T97" fmla="*/ 4543 h 5554"/>
                    <a:gd name="T98" fmla="*/ 5117 w 5554"/>
                    <a:gd name="T99" fmla="*/ 4274 h 5554"/>
                    <a:gd name="T100" fmla="*/ 5280 w 5554"/>
                    <a:gd name="T101" fmla="*/ 3981 h 5554"/>
                    <a:gd name="T102" fmla="*/ 5408 w 5554"/>
                    <a:gd name="T103" fmla="*/ 3668 h 5554"/>
                    <a:gd name="T104" fmla="*/ 5498 w 5554"/>
                    <a:gd name="T105" fmla="*/ 3337 h 5554"/>
                    <a:gd name="T106" fmla="*/ 5546 w 5554"/>
                    <a:gd name="T107" fmla="*/ 2991 h 5554"/>
                    <a:gd name="T108" fmla="*/ 5553 w 5554"/>
                    <a:gd name="T109" fmla="*/ 2735 h 5554"/>
                    <a:gd name="T110" fmla="*/ 5531 w 5554"/>
                    <a:gd name="T111" fmla="*/ 2437 h 5554"/>
                    <a:gd name="T112" fmla="*/ 5470 w 5554"/>
                    <a:gd name="T113" fmla="*/ 2110 h 5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554" h="5554">
                      <a:moveTo>
                        <a:pt x="5470" y="2110"/>
                      </a:moveTo>
                      <a:lnTo>
                        <a:pt x="5470" y="2110"/>
                      </a:lnTo>
                      <a:lnTo>
                        <a:pt x="5470" y="2110"/>
                      </a:lnTo>
                      <a:lnTo>
                        <a:pt x="5459" y="2068"/>
                      </a:lnTo>
                      <a:lnTo>
                        <a:pt x="5447" y="2025"/>
                      </a:lnTo>
                      <a:lnTo>
                        <a:pt x="5434" y="1983"/>
                      </a:lnTo>
                      <a:lnTo>
                        <a:pt x="5422" y="1940"/>
                      </a:lnTo>
                      <a:lnTo>
                        <a:pt x="5408" y="1899"/>
                      </a:lnTo>
                      <a:lnTo>
                        <a:pt x="5394" y="1857"/>
                      </a:lnTo>
                      <a:lnTo>
                        <a:pt x="5379" y="1816"/>
                      </a:lnTo>
                      <a:lnTo>
                        <a:pt x="5364" y="1775"/>
                      </a:lnTo>
                      <a:lnTo>
                        <a:pt x="5348" y="1735"/>
                      </a:lnTo>
                      <a:lnTo>
                        <a:pt x="5331" y="1695"/>
                      </a:lnTo>
                      <a:lnTo>
                        <a:pt x="5296" y="1615"/>
                      </a:lnTo>
                      <a:lnTo>
                        <a:pt x="5258" y="1537"/>
                      </a:lnTo>
                      <a:lnTo>
                        <a:pt x="5219" y="1460"/>
                      </a:lnTo>
                      <a:lnTo>
                        <a:pt x="5176" y="1385"/>
                      </a:lnTo>
                      <a:lnTo>
                        <a:pt x="5132" y="1311"/>
                      </a:lnTo>
                      <a:lnTo>
                        <a:pt x="5086" y="1239"/>
                      </a:lnTo>
                      <a:lnTo>
                        <a:pt x="5036" y="1168"/>
                      </a:lnTo>
                      <a:lnTo>
                        <a:pt x="4985" y="1098"/>
                      </a:lnTo>
                      <a:lnTo>
                        <a:pt x="4932" y="1032"/>
                      </a:lnTo>
                      <a:lnTo>
                        <a:pt x="4877" y="966"/>
                      </a:lnTo>
                      <a:lnTo>
                        <a:pt x="4821" y="902"/>
                      </a:lnTo>
                      <a:lnTo>
                        <a:pt x="4821" y="902"/>
                      </a:lnTo>
                      <a:lnTo>
                        <a:pt x="4809" y="890"/>
                      </a:lnTo>
                      <a:lnTo>
                        <a:pt x="4809" y="890"/>
                      </a:lnTo>
                      <a:lnTo>
                        <a:pt x="4771" y="850"/>
                      </a:lnTo>
                      <a:lnTo>
                        <a:pt x="4731" y="811"/>
                      </a:lnTo>
                      <a:lnTo>
                        <a:pt x="4731" y="811"/>
                      </a:lnTo>
                      <a:lnTo>
                        <a:pt x="4703" y="783"/>
                      </a:lnTo>
                      <a:lnTo>
                        <a:pt x="4676" y="755"/>
                      </a:lnTo>
                      <a:lnTo>
                        <a:pt x="4676" y="755"/>
                      </a:lnTo>
                      <a:lnTo>
                        <a:pt x="4672" y="752"/>
                      </a:lnTo>
                      <a:lnTo>
                        <a:pt x="4672" y="752"/>
                      </a:lnTo>
                      <a:lnTo>
                        <a:pt x="4619" y="704"/>
                      </a:lnTo>
                      <a:lnTo>
                        <a:pt x="4566" y="656"/>
                      </a:lnTo>
                      <a:lnTo>
                        <a:pt x="4511" y="611"/>
                      </a:lnTo>
                      <a:lnTo>
                        <a:pt x="4455" y="568"/>
                      </a:lnTo>
                      <a:lnTo>
                        <a:pt x="4397" y="525"/>
                      </a:lnTo>
                      <a:lnTo>
                        <a:pt x="4338" y="485"/>
                      </a:lnTo>
                      <a:lnTo>
                        <a:pt x="4278" y="445"/>
                      </a:lnTo>
                      <a:lnTo>
                        <a:pt x="4217" y="407"/>
                      </a:lnTo>
                      <a:lnTo>
                        <a:pt x="4217" y="407"/>
                      </a:lnTo>
                      <a:lnTo>
                        <a:pt x="4191" y="390"/>
                      </a:lnTo>
                      <a:lnTo>
                        <a:pt x="4191" y="390"/>
                      </a:lnTo>
                      <a:lnTo>
                        <a:pt x="4152" y="367"/>
                      </a:lnTo>
                      <a:lnTo>
                        <a:pt x="4112" y="344"/>
                      </a:lnTo>
                      <a:lnTo>
                        <a:pt x="4071" y="322"/>
                      </a:lnTo>
                      <a:lnTo>
                        <a:pt x="4030" y="302"/>
                      </a:lnTo>
                      <a:lnTo>
                        <a:pt x="4030" y="302"/>
                      </a:lnTo>
                      <a:lnTo>
                        <a:pt x="4025" y="299"/>
                      </a:lnTo>
                      <a:lnTo>
                        <a:pt x="4025" y="299"/>
                      </a:lnTo>
                      <a:lnTo>
                        <a:pt x="3961" y="267"/>
                      </a:lnTo>
                      <a:lnTo>
                        <a:pt x="3896" y="237"/>
                      </a:lnTo>
                      <a:lnTo>
                        <a:pt x="3830" y="210"/>
                      </a:lnTo>
                      <a:lnTo>
                        <a:pt x="3762" y="183"/>
                      </a:lnTo>
                      <a:lnTo>
                        <a:pt x="3694" y="158"/>
                      </a:lnTo>
                      <a:lnTo>
                        <a:pt x="3625" y="135"/>
                      </a:lnTo>
                      <a:lnTo>
                        <a:pt x="3556" y="114"/>
                      </a:lnTo>
                      <a:lnTo>
                        <a:pt x="3484" y="95"/>
                      </a:lnTo>
                      <a:lnTo>
                        <a:pt x="3484" y="95"/>
                      </a:lnTo>
                      <a:lnTo>
                        <a:pt x="3447" y="85"/>
                      </a:lnTo>
                      <a:lnTo>
                        <a:pt x="3447" y="85"/>
                      </a:lnTo>
                      <a:lnTo>
                        <a:pt x="3402" y="74"/>
                      </a:lnTo>
                      <a:lnTo>
                        <a:pt x="3356" y="63"/>
                      </a:lnTo>
                      <a:lnTo>
                        <a:pt x="3311" y="54"/>
                      </a:lnTo>
                      <a:lnTo>
                        <a:pt x="3265" y="45"/>
                      </a:lnTo>
                      <a:lnTo>
                        <a:pt x="3265" y="45"/>
                      </a:lnTo>
                      <a:lnTo>
                        <a:pt x="3206" y="36"/>
                      </a:lnTo>
                      <a:lnTo>
                        <a:pt x="3146" y="27"/>
                      </a:lnTo>
                      <a:lnTo>
                        <a:pt x="3085" y="19"/>
                      </a:lnTo>
                      <a:lnTo>
                        <a:pt x="3024" y="13"/>
                      </a:lnTo>
                      <a:lnTo>
                        <a:pt x="2963" y="7"/>
                      </a:lnTo>
                      <a:lnTo>
                        <a:pt x="2902" y="4"/>
                      </a:lnTo>
                      <a:lnTo>
                        <a:pt x="2839" y="1"/>
                      </a:lnTo>
                      <a:lnTo>
                        <a:pt x="2777" y="0"/>
                      </a:lnTo>
                      <a:lnTo>
                        <a:pt x="2777" y="0"/>
                      </a:lnTo>
                      <a:lnTo>
                        <a:pt x="2705" y="1"/>
                      </a:lnTo>
                      <a:lnTo>
                        <a:pt x="2634" y="4"/>
                      </a:lnTo>
                      <a:lnTo>
                        <a:pt x="2563" y="8"/>
                      </a:lnTo>
                      <a:lnTo>
                        <a:pt x="2493" y="14"/>
                      </a:lnTo>
                      <a:lnTo>
                        <a:pt x="2423" y="22"/>
                      </a:lnTo>
                      <a:lnTo>
                        <a:pt x="2354" y="32"/>
                      </a:lnTo>
                      <a:lnTo>
                        <a:pt x="2286" y="44"/>
                      </a:lnTo>
                      <a:lnTo>
                        <a:pt x="2218" y="57"/>
                      </a:lnTo>
                      <a:lnTo>
                        <a:pt x="2150" y="71"/>
                      </a:lnTo>
                      <a:lnTo>
                        <a:pt x="2083" y="88"/>
                      </a:lnTo>
                      <a:lnTo>
                        <a:pt x="2016" y="105"/>
                      </a:lnTo>
                      <a:lnTo>
                        <a:pt x="1951" y="124"/>
                      </a:lnTo>
                      <a:lnTo>
                        <a:pt x="1886" y="146"/>
                      </a:lnTo>
                      <a:lnTo>
                        <a:pt x="1822" y="168"/>
                      </a:lnTo>
                      <a:lnTo>
                        <a:pt x="1758" y="192"/>
                      </a:lnTo>
                      <a:lnTo>
                        <a:pt x="1696" y="218"/>
                      </a:lnTo>
                      <a:lnTo>
                        <a:pt x="1634" y="245"/>
                      </a:lnTo>
                      <a:lnTo>
                        <a:pt x="1573" y="274"/>
                      </a:lnTo>
                      <a:lnTo>
                        <a:pt x="1513" y="304"/>
                      </a:lnTo>
                      <a:lnTo>
                        <a:pt x="1453" y="335"/>
                      </a:lnTo>
                      <a:lnTo>
                        <a:pt x="1395" y="367"/>
                      </a:lnTo>
                      <a:lnTo>
                        <a:pt x="1337" y="402"/>
                      </a:lnTo>
                      <a:lnTo>
                        <a:pt x="1281" y="438"/>
                      </a:lnTo>
                      <a:lnTo>
                        <a:pt x="1224" y="474"/>
                      </a:lnTo>
                      <a:lnTo>
                        <a:pt x="1169" y="512"/>
                      </a:lnTo>
                      <a:lnTo>
                        <a:pt x="1115" y="552"/>
                      </a:lnTo>
                      <a:lnTo>
                        <a:pt x="1062" y="592"/>
                      </a:lnTo>
                      <a:lnTo>
                        <a:pt x="1010" y="634"/>
                      </a:lnTo>
                      <a:lnTo>
                        <a:pt x="959" y="677"/>
                      </a:lnTo>
                      <a:lnTo>
                        <a:pt x="910" y="722"/>
                      </a:lnTo>
                      <a:lnTo>
                        <a:pt x="860" y="767"/>
                      </a:lnTo>
                      <a:lnTo>
                        <a:pt x="813" y="813"/>
                      </a:lnTo>
                      <a:lnTo>
                        <a:pt x="767" y="861"/>
                      </a:lnTo>
                      <a:lnTo>
                        <a:pt x="721" y="910"/>
                      </a:lnTo>
                      <a:lnTo>
                        <a:pt x="677" y="959"/>
                      </a:lnTo>
                      <a:lnTo>
                        <a:pt x="634" y="1011"/>
                      </a:lnTo>
                      <a:lnTo>
                        <a:pt x="592" y="1063"/>
                      </a:lnTo>
                      <a:lnTo>
                        <a:pt x="552" y="1116"/>
                      </a:lnTo>
                      <a:lnTo>
                        <a:pt x="513" y="1170"/>
                      </a:lnTo>
                      <a:lnTo>
                        <a:pt x="475" y="1224"/>
                      </a:lnTo>
                      <a:lnTo>
                        <a:pt x="438" y="1280"/>
                      </a:lnTo>
                      <a:lnTo>
                        <a:pt x="402" y="1337"/>
                      </a:lnTo>
                      <a:lnTo>
                        <a:pt x="368" y="1394"/>
                      </a:lnTo>
                      <a:lnTo>
                        <a:pt x="335" y="1453"/>
                      </a:lnTo>
                      <a:lnTo>
                        <a:pt x="303" y="1513"/>
                      </a:lnTo>
                      <a:lnTo>
                        <a:pt x="273" y="1573"/>
                      </a:lnTo>
                      <a:lnTo>
                        <a:pt x="246" y="1634"/>
                      </a:lnTo>
                      <a:lnTo>
                        <a:pt x="218" y="1696"/>
                      </a:lnTo>
                      <a:lnTo>
                        <a:pt x="193" y="1759"/>
                      </a:lnTo>
                      <a:lnTo>
                        <a:pt x="168" y="1823"/>
                      </a:lnTo>
                      <a:lnTo>
                        <a:pt x="145" y="1886"/>
                      </a:lnTo>
                      <a:lnTo>
                        <a:pt x="125" y="1952"/>
                      </a:lnTo>
                      <a:lnTo>
                        <a:pt x="105" y="2017"/>
                      </a:lnTo>
                      <a:lnTo>
                        <a:pt x="87" y="2083"/>
                      </a:lnTo>
                      <a:lnTo>
                        <a:pt x="71" y="2150"/>
                      </a:lnTo>
                      <a:lnTo>
                        <a:pt x="57" y="2218"/>
                      </a:lnTo>
                      <a:lnTo>
                        <a:pt x="43" y="2285"/>
                      </a:lnTo>
                      <a:lnTo>
                        <a:pt x="31" y="2355"/>
                      </a:lnTo>
                      <a:lnTo>
                        <a:pt x="22" y="2424"/>
                      </a:lnTo>
                      <a:lnTo>
                        <a:pt x="14" y="2493"/>
                      </a:lnTo>
                      <a:lnTo>
                        <a:pt x="8" y="2563"/>
                      </a:lnTo>
                      <a:lnTo>
                        <a:pt x="4" y="2634"/>
                      </a:lnTo>
                      <a:lnTo>
                        <a:pt x="0" y="2706"/>
                      </a:lnTo>
                      <a:lnTo>
                        <a:pt x="0" y="2777"/>
                      </a:lnTo>
                      <a:lnTo>
                        <a:pt x="0" y="2777"/>
                      </a:lnTo>
                      <a:lnTo>
                        <a:pt x="0" y="2848"/>
                      </a:lnTo>
                      <a:lnTo>
                        <a:pt x="4" y="2920"/>
                      </a:lnTo>
                      <a:lnTo>
                        <a:pt x="8" y="2990"/>
                      </a:lnTo>
                      <a:lnTo>
                        <a:pt x="14" y="3060"/>
                      </a:lnTo>
                      <a:lnTo>
                        <a:pt x="22" y="3129"/>
                      </a:lnTo>
                      <a:lnTo>
                        <a:pt x="31" y="3198"/>
                      </a:lnTo>
                      <a:lnTo>
                        <a:pt x="43" y="3266"/>
                      </a:lnTo>
                      <a:lnTo>
                        <a:pt x="56" y="3334"/>
                      </a:lnTo>
                      <a:lnTo>
                        <a:pt x="71" y="3401"/>
                      </a:lnTo>
                      <a:lnTo>
                        <a:pt x="87" y="3468"/>
                      </a:lnTo>
                      <a:lnTo>
                        <a:pt x="104" y="3535"/>
                      </a:lnTo>
                      <a:lnTo>
                        <a:pt x="124" y="3599"/>
                      </a:lnTo>
                      <a:lnTo>
                        <a:pt x="144" y="3664"/>
                      </a:lnTo>
                      <a:lnTo>
                        <a:pt x="167" y="3728"/>
                      </a:lnTo>
                      <a:lnTo>
                        <a:pt x="191" y="3791"/>
                      </a:lnTo>
                      <a:lnTo>
                        <a:pt x="217" y="3854"/>
                      </a:lnTo>
                      <a:lnTo>
                        <a:pt x="243" y="3916"/>
                      </a:lnTo>
                      <a:lnTo>
                        <a:pt x="272" y="3976"/>
                      </a:lnTo>
                      <a:lnTo>
                        <a:pt x="302" y="4037"/>
                      </a:lnTo>
                      <a:lnTo>
                        <a:pt x="333" y="4095"/>
                      </a:lnTo>
                      <a:lnTo>
                        <a:pt x="365" y="4154"/>
                      </a:lnTo>
                      <a:lnTo>
                        <a:pt x="399" y="4212"/>
                      </a:lnTo>
                      <a:lnTo>
                        <a:pt x="434" y="4268"/>
                      </a:lnTo>
                      <a:lnTo>
                        <a:pt x="470" y="4323"/>
                      </a:lnTo>
                      <a:lnTo>
                        <a:pt x="508" y="4379"/>
                      </a:lnTo>
                      <a:lnTo>
                        <a:pt x="547" y="4433"/>
                      </a:lnTo>
                      <a:lnTo>
                        <a:pt x="588" y="4486"/>
                      </a:lnTo>
                      <a:lnTo>
                        <a:pt x="629" y="4537"/>
                      </a:lnTo>
                      <a:lnTo>
                        <a:pt x="672" y="4588"/>
                      </a:lnTo>
                      <a:lnTo>
                        <a:pt x="716" y="4638"/>
                      </a:lnTo>
                      <a:lnTo>
                        <a:pt x="761" y="4686"/>
                      </a:lnTo>
                      <a:lnTo>
                        <a:pt x="807" y="4734"/>
                      </a:lnTo>
                      <a:lnTo>
                        <a:pt x="807" y="4734"/>
                      </a:lnTo>
                      <a:lnTo>
                        <a:pt x="855" y="4780"/>
                      </a:lnTo>
                      <a:lnTo>
                        <a:pt x="904" y="4826"/>
                      </a:lnTo>
                      <a:lnTo>
                        <a:pt x="954" y="4871"/>
                      </a:lnTo>
                      <a:lnTo>
                        <a:pt x="1004" y="4915"/>
                      </a:lnTo>
                      <a:lnTo>
                        <a:pt x="1057" y="4957"/>
                      </a:lnTo>
                      <a:lnTo>
                        <a:pt x="1110" y="4998"/>
                      </a:lnTo>
                      <a:lnTo>
                        <a:pt x="1164" y="5037"/>
                      </a:lnTo>
                      <a:lnTo>
                        <a:pt x="1218" y="5076"/>
                      </a:lnTo>
                      <a:lnTo>
                        <a:pt x="1275" y="5113"/>
                      </a:lnTo>
                      <a:lnTo>
                        <a:pt x="1332" y="5149"/>
                      </a:lnTo>
                      <a:lnTo>
                        <a:pt x="1390" y="5183"/>
                      </a:lnTo>
                      <a:lnTo>
                        <a:pt x="1449" y="5216"/>
                      </a:lnTo>
                      <a:lnTo>
                        <a:pt x="1509" y="5248"/>
                      </a:lnTo>
                      <a:lnTo>
                        <a:pt x="1568" y="5278"/>
                      </a:lnTo>
                      <a:lnTo>
                        <a:pt x="1629" y="5307"/>
                      </a:lnTo>
                      <a:lnTo>
                        <a:pt x="1692" y="5334"/>
                      </a:lnTo>
                      <a:lnTo>
                        <a:pt x="1755" y="5360"/>
                      </a:lnTo>
                      <a:lnTo>
                        <a:pt x="1818" y="5384"/>
                      </a:lnTo>
                      <a:lnTo>
                        <a:pt x="1883" y="5407"/>
                      </a:lnTo>
                      <a:lnTo>
                        <a:pt x="1948" y="5429"/>
                      </a:lnTo>
                      <a:lnTo>
                        <a:pt x="2014" y="5448"/>
                      </a:lnTo>
                      <a:lnTo>
                        <a:pt x="2080" y="5465"/>
                      </a:lnTo>
                      <a:lnTo>
                        <a:pt x="2148" y="5483"/>
                      </a:lnTo>
                      <a:lnTo>
                        <a:pt x="2215" y="5497"/>
                      </a:lnTo>
                      <a:lnTo>
                        <a:pt x="2283" y="5510"/>
                      </a:lnTo>
                      <a:lnTo>
                        <a:pt x="2352" y="5522"/>
                      </a:lnTo>
                      <a:lnTo>
                        <a:pt x="2422" y="5531"/>
                      </a:lnTo>
                      <a:lnTo>
                        <a:pt x="2492" y="5539"/>
                      </a:lnTo>
                      <a:lnTo>
                        <a:pt x="2562" y="5546"/>
                      </a:lnTo>
                      <a:lnTo>
                        <a:pt x="2633" y="5551"/>
                      </a:lnTo>
                      <a:lnTo>
                        <a:pt x="2705" y="5553"/>
                      </a:lnTo>
                      <a:lnTo>
                        <a:pt x="2777" y="5554"/>
                      </a:lnTo>
                      <a:lnTo>
                        <a:pt x="2777" y="5554"/>
                      </a:lnTo>
                      <a:lnTo>
                        <a:pt x="2849" y="5553"/>
                      </a:lnTo>
                      <a:lnTo>
                        <a:pt x="2920" y="5551"/>
                      </a:lnTo>
                      <a:lnTo>
                        <a:pt x="2990" y="5546"/>
                      </a:lnTo>
                      <a:lnTo>
                        <a:pt x="3060" y="5539"/>
                      </a:lnTo>
                      <a:lnTo>
                        <a:pt x="3131" y="5532"/>
                      </a:lnTo>
                      <a:lnTo>
                        <a:pt x="3200" y="5522"/>
                      </a:lnTo>
                      <a:lnTo>
                        <a:pt x="3269" y="5510"/>
                      </a:lnTo>
                      <a:lnTo>
                        <a:pt x="3337" y="5498"/>
                      </a:lnTo>
                      <a:lnTo>
                        <a:pt x="3404" y="5483"/>
                      </a:lnTo>
                      <a:lnTo>
                        <a:pt x="3470" y="5467"/>
                      </a:lnTo>
                      <a:lnTo>
                        <a:pt x="3537" y="5448"/>
                      </a:lnTo>
                      <a:lnTo>
                        <a:pt x="3603" y="5429"/>
                      </a:lnTo>
                      <a:lnTo>
                        <a:pt x="3667" y="5408"/>
                      </a:lnTo>
                      <a:lnTo>
                        <a:pt x="3732" y="5386"/>
                      </a:lnTo>
                      <a:lnTo>
                        <a:pt x="3795" y="5362"/>
                      </a:lnTo>
                      <a:lnTo>
                        <a:pt x="3857" y="5335"/>
                      </a:lnTo>
                      <a:lnTo>
                        <a:pt x="3919" y="5309"/>
                      </a:lnTo>
                      <a:lnTo>
                        <a:pt x="3980" y="5280"/>
                      </a:lnTo>
                      <a:lnTo>
                        <a:pt x="4041" y="5250"/>
                      </a:lnTo>
                      <a:lnTo>
                        <a:pt x="4100" y="5219"/>
                      </a:lnTo>
                      <a:lnTo>
                        <a:pt x="4159" y="5186"/>
                      </a:lnTo>
                      <a:lnTo>
                        <a:pt x="4216" y="5152"/>
                      </a:lnTo>
                      <a:lnTo>
                        <a:pt x="4274" y="5117"/>
                      </a:lnTo>
                      <a:lnTo>
                        <a:pt x="4329" y="5080"/>
                      </a:lnTo>
                      <a:lnTo>
                        <a:pt x="4384" y="5042"/>
                      </a:lnTo>
                      <a:lnTo>
                        <a:pt x="4439" y="5003"/>
                      </a:lnTo>
                      <a:lnTo>
                        <a:pt x="4491" y="4961"/>
                      </a:lnTo>
                      <a:lnTo>
                        <a:pt x="4543" y="4920"/>
                      </a:lnTo>
                      <a:lnTo>
                        <a:pt x="4594" y="4877"/>
                      </a:lnTo>
                      <a:lnTo>
                        <a:pt x="4643" y="4832"/>
                      </a:lnTo>
                      <a:lnTo>
                        <a:pt x="4693" y="4787"/>
                      </a:lnTo>
                      <a:lnTo>
                        <a:pt x="4740" y="4740"/>
                      </a:lnTo>
                      <a:lnTo>
                        <a:pt x="4787" y="4693"/>
                      </a:lnTo>
                      <a:lnTo>
                        <a:pt x="4832" y="4645"/>
                      </a:lnTo>
                      <a:lnTo>
                        <a:pt x="4876" y="4594"/>
                      </a:lnTo>
                      <a:lnTo>
                        <a:pt x="4920" y="4543"/>
                      </a:lnTo>
                      <a:lnTo>
                        <a:pt x="4961" y="4491"/>
                      </a:lnTo>
                      <a:lnTo>
                        <a:pt x="5001" y="4438"/>
                      </a:lnTo>
                      <a:lnTo>
                        <a:pt x="5042" y="4384"/>
                      </a:lnTo>
                      <a:lnTo>
                        <a:pt x="5080" y="4330"/>
                      </a:lnTo>
                      <a:lnTo>
                        <a:pt x="5117" y="4274"/>
                      </a:lnTo>
                      <a:lnTo>
                        <a:pt x="5151" y="4217"/>
                      </a:lnTo>
                      <a:lnTo>
                        <a:pt x="5186" y="4160"/>
                      </a:lnTo>
                      <a:lnTo>
                        <a:pt x="5218" y="4101"/>
                      </a:lnTo>
                      <a:lnTo>
                        <a:pt x="5250" y="4041"/>
                      </a:lnTo>
                      <a:lnTo>
                        <a:pt x="5280" y="3981"/>
                      </a:lnTo>
                      <a:lnTo>
                        <a:pt x="5308" y="3920"/>
                      </a:lnTo>
                      <a:lnTo>
                        <a:pt x="5335" y="3858"/>
                      </a:lnTo>
                      <a:lnTo>
                        <a:pt x="5361" y="3795"/>
                      </a:lnTo>
                      <a:lnTo>
                        <a:pt x="5385" y="3732"/>
                      </a:lnTo>
                      <a:lnTo>
                        <a:pt x="5408" y="3668"/>
                      </a:lnTo>
                      <a:lnTo>
                        <a:pt x="5429" y="3603"/>
                      </a:lnTo>
                      <a:lnTo>
                        <a:pt x="5448" y="3537"/>
                      </a:lnTo>
                      <a:lnTo>
                        <a:pt x="5467" y="3471"/>
                      </a:lnTo>
                      <a:lnTo>
                        <a:pt x="5483" y="3405"/>
                      </a:lnTo>
                      <a:lnTo>
                        <a:pt x="5498" y="3337"/>
                      </a:lnTo>
                      <a:lnTo>
                        <a:pt x="5510" y="3269"/>
                      </a:lnTo>
                      <a:lnTo>
                        <a:pt x="5522" y="3200"/>
                      </a:lnTo>
                      <a:lnTo>
                        <a:pt x="5531" y="3131"/>
                      </a:lnTo>
                      <a:lnTo>
                        <a:pt x="5539" y="3061"/>
                      </a:lnTo>
                      <a:lnTo>
                        <a:pt x="5546" y="2991"/>
                      </a:lnTo>
                      <a:lnTo>
                        <a:pt x="5549" y="2920"/>
                      </a:lnTo>
                      <a:lnTo>
                        <a:pt x="5553" y="2848"/>
                      </a:lnTo>
                      <a:lnTo>
                        <a:pt x="5554" y="2777"/>
                      </a:lnTo>
                      <a:lnTo>
                        <a:pt x="5554" y="2777"/>
                      </a:lnTo>
                      <a:lnTo>
                        <a:pt x="5553" y="2735"/>
                      </a:lnTo>
                      <a:lnTo>
                        <a:pt x="5552" y="2691"/>
                      </a:lnTo>
                      <a:lnTo>
                        <a:pt x="5551" y="2648"/>
                      </a:lnTo>
                      <a:lnTo>
                        <a:pt x="5548" y="2606"/>
                      </a:lnTo>
                      <a:lnTo>
                        <a:pt x="5541" y="2522"/>
                      </a:lnTo>
                      <a:lnTo>
                        <a:pt x="5531" y="2437"/>
                      </a:lnTo>
                      <a:lnTo>
                        <a:pt x="5520" y="2355"/>
                      </a:lnTo>
                      <a:lnTo>
                        <a:pt x="5506" y="2273"/>
                      </a:lnTo>
                      <a:lnTo>
                        <a:pt x="5488" y="2191"/>
                      </a:lnTo>
                      <a:lnTo>
                        <a:pt x="5470" y="2110"/>
                      </a:lnTo>
                      <a:lnTo>
                        <a:pt x="5470" y="2110"/>
                      </a:lnTo>
                      <a:close/>
                    </a:path>
                  </a:pathLst>
                </a:custGeom>
                <a:solidFill>
                  <a:srgbClr val="F99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55" name="Freeform 217"/>
                <p:cNvSpPr>
                  <a:spLocks noEditPoints="1"/>
                </p:cNvSpPr>
                <p:nvPr/>
              </p:nvSpPr>
              <p:spPr bwMode="auto">
                <a:xfrm>
                  <a:off x="3943349" y="0"/>
                  <a:ext cx="1573212" cy="1573211"/>
                </a:xfrm>
                <a:custGeom>
                  <a:avLst/>
                  <a:gdLst>
                    <a:gd name="T0" fmla="*/ 2856 w 6941"/>
                    <a:gd name="T1" fmla="*/ 54 h 6940"/>
                    <a:gd name="T2" fmla="*/ 2120 w 6941"/>
                    <a:gd name="T3" fmla="*/ 273 h 6940"/>
                    <a:gd name="T4" fmla="*/ 1462 w 6941"/>
                    <a:gd name="T5" fmla="*/ 640 h 6940"/>
                    <a:gd name="T6" fmla="*/ 902 w 6941"/>
                    <a:gd name="T7" fmla="*/ 1136 h 6940"/>
                    <a:gd name="T8" fmla="*/ 461 w 6941"/>
                    <a:gd name="T9" fmla="*/ 1743 h 6940"/>
                    <a:gd name="T10" fmla="*/ 157 w 6941"/>
                    <a:gd name="T11" fmla="*/ 2439 h 6940"/>
                    <a:gd name="T12" fmla="*/ 11 w 6941"/>
                    <a:gd name="T13" fmla="*/ 3203 h 6940"/>
                    <a:gd name="T14" fmla="*/ 29 w 6941"/>
                    <a:gd name="T15" fmla="*/ 3912 h 6940"/>
                    <a:gd name="T16" fmla="*/ 211 w 6941"/>
                    <a:gd name="T17" fmla="*/ 4663 h 6940"/>
                    <a:gd name="T18" fmla="*/ 547 w 6941"/>
                    <a:gd name="T19" fmla="*/ 5340 h 6940"/>
                    <a:gd name="T20" fmla="*/ 1017 w 6941"/>
                    <a:gd name="T21" fmla="*/ 5924 h 6940"/>
                    <a:gd name="T22" fmla="*/ 1600 w 6941"/>
                    <a:gd name="T23" fmla="*/ 6393 h 6940"/>
                    <a:gd name="T24" fmla="*/ 2277 w 6941"/>
                    <a:gd name="T25" fmla="*/ 6730 h 6940"/>
                    <a:gd name="T26" fmla="*/ 3029 w 6941"/>
                    <a:gd name="T27" fmla="*/ 6913 h 6940"/>
                    <a:gd name="T28" fmla="*/ 3737 w 6941"/>
                    <a:gd name="T29" fmla="*/ 6930 h 6940"/>
                    <a:gd name="T30" fmla="*/ 4503 w 6941"/>
                    <a:gd name="T31" fmla="*/ 6784 h 6940"/>
                    <a:gd name="T32" fmla="*/ 5198 w 6941"/>
                    <a:gd name="T33" fmla="*/ 6481 h 6940"/>
                    <a:gd name="T34" fmla="*/ 5804 w 6941"/>
                    <a:gd name="T35" fmla="*/ 6039 h 6940"/>
                    <a:gd name="T36" fmla="*/ 6301 w 6941"/>
                    <a:gd name="T37" fmla="*/ 5479 h 6940"/>
                    <a:gd name="T38" fmla="*/ 6668 w 6941"/>
                    <a:gd name="T39" fmla="*/ 4821 h 6940"/>
                    <a:gd name="T40" fmla="*/ 6887 w 6941"/>
                    <a:gd name="T41" fmla="*/ 4084 h 6940"/>
                    <a:gd name="T42" fmla="*/ 6940 w 6941"/>
                    <a:gd name="T43" fmla="*/ 3380 h 6940"/>
                    <a:gd name="T44" fmla="*/ 6832 w 6941"/>
                    <a:gd name="T45" fmla="*/ 2603 h 6940"/>
                    <a:gd name="T46" fmla="*/ 6561 w 6941"/>
                    <a:gd name="T47" fmla="*/ 1890 h 6940"/>
                    <a:gd name="T48" fmla="*/ 6148 w 6941"/>
                    <a:gd name="T49" fmla="*/ 1263 h 6940"/>
                    <a:gd name="T50" fmla="*/ 5613 w 6941"/>
                    <a:gd name="T51" fmla="*/ 740 h 6940"/>
                    <a:gd name="T52" fmla="*/ 4975 w 6941"/>
                    <a:gd name="T53" fmla="*/ 342 h 6940"/>
                    <a:gd name="T54" fmla="*/ 4254 w 6941"/>
                    <a:gd name="T55" fmla="*/ 89 h 6940"/>
                    <a:gd name="T56" fmla="*/ 3471 w 6941"/>
                    <a:gd name="T57" fmla="*/ 0 h 6940"/>
                    <a:gd name="T58" fmla="*/ 2987 w 6941"/>
                    <a:gd name="T59" fmla="*/ 6614 h 6940"/>
                    <a:gd name="T60" fmla="*/ 2305 w 6941"/>
                    <a:gd name="T61" fmla="*/ 6430 h 6940"/>
                    <a:gd name="T62" fmla="*/ 1693 w 6941"/>
                    <a:gd name="T63" fmla="*/ 6108 h 6940"/>
                    <a:gd name="T64" fmla="*/ 1169 w 6941"/>
                    <a:gd name="T65" fmla="*/ 5665 h 6940"/>
                    <a:gd name="T66" fmla="*/ 751 w 6941"/>
                    <a:gd name="T67" fmla="*/ 5119 h 6940"/>
                    <a:gd name="T68" fmla="*/ 457 w 6941"/>
                    <a:gd name="T69" fmla="*/ 4490 h 6940"/>
                    <a:gd name="T70" fmla="*/ 306 w 6941"/>
                    <a:gd name="T71" fmla="*/ 3795 h 6940"/>
                    <a:gd name="T72" fmla="*/ 306 w 6941"/>
                    <a:gd name="T73" fmla="*/ 3144 h 6940"/>
                    <a:gd name="T74" fmla="*/ 457 w 6941"/>
                    <a:gd name="T75" fmla="*/ 2450 h 6940"/>
                    <a:gd name="T76" fmla="*/ 751 w 6941"/>
                    <a:gd name="T77" fmla="*/ 1821 h 6940"/>
                    <a:gd name="T78" fmla="*/ 1169 w 6941"/>
                    <a:gd name="T79" fmla="*/ 1276 h 6940"/>
                    <a:gd name="T80" fmla="*/ 1693 w 6941"/>
                    <a:gd name="T81" fmla="*/ 832 h 6940"/>
                    <a:gd name="T82" fmla="*/ 2305 w 6941"/>
                    <a:gd name="T83" fmla="*/ 510 h 6940"/>
                    <a:gd name="T84" fmla="*/ 2987 w 6941"/>
                    <a:gd name="T85" fmla="*/ 326 h 6940"/>
                    <a:gd name="T86" fmla="*/ 3635 w 6941"/>
                    <a:gd name="T87" fmla="*/ 294 h 6940"/>
                    <a:gd name="T88" fmla="*/ 4342 w 6941"/>
                    <a:gd name="T89" fmla="*/ 410 h 6940"/>
                    <a:gd name="T90" fmla="*/ 4986 w 6941"/>
                    <a:gd name="T91" fmla="*/ 674 h 6940"/>
                    <a:gd name="T92" fmla="*/ 5552 w 6941"/>
                    <a:gd name="T93" fmla="*/ 1065 h 6940"/>
                    <a:gd name="T94" fmla="*/ 6019 w 6941"/>
                    <a:gd name="T95" fmla="*/ 1567 h 6940"/>
                    <a:gd name="T96" fmla="*/ 6370 w 6941"/>
                    <a:gd name="T97" fmla="*/ 2161 h 6940"/>
                    <a:gd name="T98" fmla="*/ 6587 w 6941"/>
                    <a:gd name="T99" fmla="*/ 2829 h 6940"/>
                    <a:gd name="T100" fmla="*/ 6651 w 6941"/>
                    <a:gd name="T101" fmla="*/ 3470 h 6940"/>
                    <a:gd name="T102" fmla="*/ 6569 w 6941"/>
                    <a:gd name="T103" fmla="*/ 4189 h 6940"/>
                    <a:gd name="T104" fmla="*/ 6338 w 6941"/>
                    <a:gd name="T105" fmla="*/ 4849 h 6940"/>
                    <a:gd name="T106" fmla="*/ 5973 w 6941"/>
                    <a:gd name="T107" fmla="*/ 5433 h 6940"/>
                    <a:gd name="T108" fmla="*/ 5494 w 6941"/>
                    <a:gd name="T109" fmla="*/ 5925 h 6940"/>
                    <a:gd name="T110" fmla="*/ 4918 w 6941"/>
                    <a:gd name="T111" fmla="*/ 6302 h 6940"/>
                    <a:gd name="T112" fmla="*/ 4266 w 6941"/>
                    <a:gd name="T113" fmla="*/ 6550 h 6940"/>
                    <a:gd name="T114" fmla="*/ 3553 w 6941"/>
                    <a:gd name="T115" fmla="*/ 6649 h 69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941" h="6940">
                      <a:moveTo>
                        <a:pt x="3471" y="0"/>
                      </a:moveTo>
                      <a:lnTo>
                        <a:pt x="3471" y="0"/>
                      </a:lnTo>
                      <a:lnTo>
                        <a:pt x="3381" y="1"/>
                      </a:lnTo>
                      <a:lnTo>
                        <a:pt x="3292" y="5"/>
                      </a:lnTo>
                      <a:lnTo>
                        <a:pt x="3204" y="10"/>
                      </a:lnTo>
                      <a:lnTo>
                        <a:pt x="3116" y="17"/>
                      </a:lnTo>
                      <a:lnTo>
                        <a:pt x="3029" y="28"/>
                      </a:lnTo>
                      <a:lnTo>
                        <a:pt x="2943" y="40"/>
                      </a:lnTo>
                      <a:lnTo>
                        <a:pt x="2856" y="54"/>
                      </a:lnTo>
                      <a:lnTo>
                        <a:pt x="2771" y="70"/>
                      </a:lnTo>
                      <a:lnTo>
                        <a:pt x="2687" y="89"/>
                      </a:lnTo>
                      <a:lnTo>
                        <a:pt x="2603" y="109"/>
                      </a:lnTo>
                      <a:lnTo>
                        <a:pt x="2520" y="131"/>
                      </a:lnTo>
                      <a:lnTo>
                        <a:pt x="2439" y="155"/>
                      </a:lnTo>
                      <a:lnTo>
                        <a:pt x="2358" y="182"/>
                      </a:lnTo>
                      <a:lnTo>
                        <a:pt x="2277" y="211"/>
                      </a:lnTo>
                      <a:lnTo>
                        <a:pt x="2198" y="241"/>
                      </a:lnTo>
                      <a:lnTo>
                        <a:pt x="2120" y="273"/>
                      </a:lnTo>
                      <a:lnTo>
                        <a:pt x="2043" y="306"/>
                      </a:lnTo>
                      <a:lnTo>
                        <a:pt x="1967" y="342"/>
                      </a:lnTo>
                      <a:lnTo>
                        <a:pt x="1891" y="380"/>
                      </a:lnTo>
                      <a:lnTo>
                        <a:pt x="1817" y="419"/>
                      </a:lnTo>
                      <a:lnTo>
                        <a:pt x="1743" y="459"/>
                      </a:lnTo>
                      <a:lnTo>
                        <a:pt x="1672" y="502"/>
                      </a:lnTo>
                      <a:lnTo>
                        <a:pt x="1600" y="547"/>
                      </a:lnTo>
                      <a:lnTo>
                        <a:pt x="1530" y="593"/>
                      </a:lnTo>
                      <a:lnTo>
                        <a:pt x="1462" y="640"/>
                      </a:lnTo>
                      <a:lnTo>
                        <a:pt x="1394" y="690"/>
                      </a:lnTo>
                      <a:lnTo>
                        <a:pt x="1329" y="740"/>
                      </a:lnTo>
                      <a:lnTo>
                        <a:pt x="1263" y="792"/>
                      </a:lnTo>
                      <a:lnTo>
                        <a:pt x="1200" y="846"/>
                      </a:lnTo>
                      <a:lnTo>
                        <a:pt x="1138" y="901"/>
                      </a:lnTo>
                      <a:lnTo>
                        <a:pt x="1077" y="958"/>
                      </a:lnTo>
                      <a:lnTo>
                        <a:pt x="1017" y="1017"/>
                      </a:lnTo>
                      <a:lnTo>
                        <a:pt x="959" y="1075"/>
                      </a:lnTo>
                      <a:lnTo>
                        <a:pt x="902" y="1136"/>
                      </a:lnTo>
                      <a:lnTo>
                        <a:pt x="846" y="1199"/>
                      </a:lnTo>
                      <a:lnTo>
                        <a:pt x="793" y="1263"/>
                      </a:lnTo>
                      <a:lnTo>
                        <a:pt x="740" y="1327"/>
                      </a:lnTo>
                      <a:lnTo>
                        <a:pt x="690" y="1394"/>
                      </a:lnTo>
                      <a:lnTo>
                        <a:pt x="641" y="1461"/>
                      </a:lnTo>
                      <a:lnTo>
                        <a:pt x="593" y="1530"/>
                      </a:lnTo>
                      <a:lnTo>
                        <a:pt x="547" y="1599"/>
                      </a:lnTo>
                      <a:lnTo>
                        <a:pt x="503" y="1671"/>
                      </a:lnTo>
                      <a:lnTo>
                        <a:pt x="461" y="1743"/>
                      </a:lnTo>
                      <a:lnTo>
                        <a:pt x="419" y="1816"/>
                      </a:lnTo>
                      <a:lnTo>
                        <a:pt x="380" y="1890"/>
                      </a:lnTo>
                      <a:lnTo>
                        <a:pt x="343" y="1965"/>
                      </a:lnTo>
                      <a:lnTo>
                        <a:pt x="308" y="2042"/>
                      </a:lnTo>
                      <a:lnTo>
                        <a:pt x="273" y="2120"/>
                      </a:lnTo>
                      <a:lnTo>
                        <a:pt x="242" y="2198"/>
                      </a:lnTo>
                      <a:lnTo>
                        <a:pt x="211" y="2277"/>
                      </a:lnTo>
                      <a:lnTo>
                        <a:pt x="183" y="2357"/>
                      </a:lnTo>
                      <a:lnTo>
                        <a:pt x="157" y="2439"/>
                      </a:lnTo>
                      <a:lnTo>
                        <a:pt x="133" y="2520"/>
                      </a:lnTo>
                      <a:lnTo>
                        <a:pt x="110" y="2603"/>
                      </a:lnTo>
                      <a:lnTo>
                        <a:pt x="90" y="2686"/>
                      </a:lnTo>
                      <a:lnTo>
                        <a:pt x="72" y="2770"/>
                      </a:lnTo>
                      <a:lnTo>
                        <a:pt x="55" y="2855"/>
                      </a:lnTo>
                      <a:lnTo>
                        <a:pt x="40" y="2942"/>
                      </a:lnTo>
                      <a:lnTo>
                        <a:pt x="29" y="3028"/>
                      </a:lnTo>
                      <a:lnTo>
                        <a:pt x="19" y="3115"/>
                      </a:lnTo>
                      <a:lnTo>
                        <a:pt x="11" y="3203"/>
                      </a:lnTo>
                      <a:lnTo>
                        <a:pt x="5" y="3292"/>
                      </a:lnTo>
                      <a:lnTo>
                        <a:pt x="1" y="3380"/>
                      </a:lnTo>
                      <a:lnTo>
                        <a:pt x="0" y="3470"/>
                      </a:lnTo>
                      <a:lnTo>
                        <a:pt x="0" y="3470"/>
                      </a:lnTo>
                      <a:lnTo>
                        <a:pt x="1" y="3560"/>
                      </a:lnTo>
                      <a:lnTo>
                        <a:pt x="5" y="3649"/>
                      </a:lnTo>
                      <a:lnTo>
                        <a:pt x="11" y="3737"/>
                      </a:lnTo>
                      <a:lnTo>
                        <a:pt x="19" y="3825"/>
                      </a:lnTo>
                      <a:lnTo>
                        <a:pt x="29" y="3912"/>
                      </a:lnTo>
                      <a:lnTo>
                        <a:pt x="40" y="3999"/>
                      </a:lnTo>
                      <a:lnTo>
                        <a:pt x="55" y="4084"/>
                      </a:lnTo>
                      <a:lnTo>
                        <a:pt x="72" y="4169"/>
                      </a:lnTo>
                      <a:lnTo>
                        <a:pt x="90" y="4254"/>
                      </a:lnTo>
                      <a:lnTo>
                        <a:pt x="110" y="4337"/>
                      </a:lnTo>
                      <a:lnTo>
                        <a:pt x="133" y="4420"/>
                      </a:lnTo>
                      <a:lnTo>
                        <a:pt x="157" y="4502"/>
                      </a:lnTo>
                      <a:lnTo>
                        <a:pt x="183" y="4583"/>
                      </a:lnTo>
                      <a:lnTo>
                        <a:pt x="211" y="4663"/>
                      </a:lnTo>
                      <a:lnTo>
                        <a:pt x="242" y="4742"/>
                      </a:lnTo>
                      <a:lnTo>
                        <a:pt x="273" y="4821"/>
                      </a:lnTo>
                      <a:lnTo>
                        <a:pt x="308" y="4898"/>
                      </a:lnTo>
                      <a:lnTo>
                        <a:pt x="343" y="4975"/>
                      </a:lnTo>
                      <a:lnTo>
                        <a:pt x="380" y="5050"/>
                      </a:lnTo>
                      <a:lnTo>
                        <a:pt x="419" y="5125"/>
                      </a:lnTo>
                      <a:lnTo>
                        <a:pt x="461" y="5197"/>
                      </a:lnTo>
                      <a:lnTo>
                        <a:pt x="503" y="5270"/>
                      </a:lnTo>
                      <a:lnTo>
                        <a:pt x="547" y="5340"/>
                      </a:lnTo>
                      <a:lnTo>
                        <a:pt x="593" y="5410"/>
                      </a:lnTo>
                      <a:lnTo>
                        <a:pt x="641" y="5479"/>
                      </a:lnTo>
                      <a:lnTo>
                        <a:pt x="690" y="5546"/>
                      </a:lnTo>
                      <a:lnTo>
                        <a:pt x="740" y="5613"/>
                      </a:lnTo>
                      <a:lnTo>
                        <a:pt x="793" y="5677"/>
                      </a:lnTo>
                      <a:lnTo>
                        <a:pt x="846" y="5741"/>
                      </a:lnTo>
                      <a:lnTo>
                        <a:pt x="902" y="5804"/>
                      </a:lnTo>
                      <a:lnTo>
                        <a:pt x="959" y="5864"/>
                      </a:lnTo>
                      <a:lnTo>
                        <a:pt x="1017" y="5924"/>
                      </a:lnTo>
                      <a:lnTo>
                        <a:pt x="1077" y="5982"/>
                      </a:lnTo>
                      <a:lnTo>
                        <a:pt x="1138" y="6039"/>
                      </a:lnTo>
                      <a:lnTo>
                        <a:pt x="1200" y="6094"/>
                      </a:lnTo>
                      <a:lnTo>
                        <a:pt x="1263" y="6148"/>
                      </a:lnTo>
                      <a:lnTo>
                        <a:pt x="1329" y="6200"/>
                      </a:lnTo>
                      <a:lnTo>
                        <a:pt x="1394" y="6251"/>
                      </a:lnTo>
                      <a:lnTo>
                        <a:pt x="1462" y="6300"/>
                      </a:lnTo>
                      <a:lnTo>
                        <a:pt x="1530" y="6347"/>
                      </a:lnTo>
                      <a:lnTo>
                        <a:pt x="1600" y="6393"/>
                      </a:lnTo>
                      <a:lnTo>
                        <a:pt x="1672" y="6438"/>
                      </a:lnTo>
                      <a:lnTo>
                        <a:pt x="1743" y="6481"/>
                      </a:lnTo>
                      <a:lnTo>
                        <a:pt x="1817" y="6521"/>
                      </a:lnTo>
                      <a:lnTo>
                        <a:pt x="1891" y="6560"/>
                      </a:lnTo>
                      <a:lnTo>
                        <a:pt x="1967" y="6598"/>
                      </a:lnTo>
                      <a:lnTo>
                        <a:pt x="2043" y="6634"/>
                      </a:lnTo>
                      <a:lnTo>
                        <a:pt x="2120" y="6667"/>
                      </a:lnTo>
                      <a:lnTo>
                        <a:pt x="2198" y="6700"/>
                      </a:lnTo>
                      <a:lnTo>
                        <a:pt x="2277" y="6730"/>
                      </a:lnTo>
                      <a:lnTo>
                        <a:pt x="2358" y="6758"/>
                      </a:lnTo>
                      <a:lnTo>
                        <a:pt x="2439" y="6784"/>
                      </a:lnTo>
                      <a:lnTo>
                        <a:pt x="2520" y="6809"/>
                      </a:lnTo>
                      <a:lnTo>
                        <a:pt x="2603" y="6831"/>
                      </a:lnTo>
                      <a:lnTo>
                        <a:pt x="2687" y="6852"/>
                      </a:lnTo>
                      <a:lnTo>
                        <a:pt x="2771" y="6870"/>
                      </a:lnTo>
                      <a:lnTo>
                        <a:pt x="2856" y="6886"/>
                      </a:lnTo>
                      <a:lnTo>
                        <a:pt x="2943" y="6900"/>
                      </a:lnTo>
                      <a:lnTo>
                        <a:pt x="3029" y="6913"/>
                      </a:lnTo>
                      <a:lnTo>
                        <a:pt x="3116" y="6922"/>
                      </a:lnTo>
                      <a:lnTo>
                        <a:pt x="3204" y="6930"/>
                      </a:lnTo>
                      <a:lnTo>
                        <a:pt x="3292" y="6936"/>
                      </a:lnTo>
                      <a:lnTo>
                        <a:pt x="3381" y="6939"/>
                      </a:lnTo>
                      <a:lnTo>
                        <a:pt x="3471" y="6940"/>
                      </a:lnTo>
                      <a:lnTo>
                        <a:pt x="3471" y="6940"/>
                      </a:lnTo>
                      <a:lnTo>
                        <a:pt x="3560" y="6939"/>
                      </a:lnTo>
                      <a:lnTo>
                        <a:pt x="3650" y="6936"/>
                      </a:lnTo>
                      <a:lnTo>
                        <a:pt x="3737" y="6930"/>
                      </a:lnTo>
                      <a:lnTo>
                        <a:pt x="3826" y="6922"/>
                      </a:lnTo>
                      <a:lnTo>
                        <a:pt x="3912" y="6913"/>
                      </a:lnTo>
                      <a:lnTo>
                        <a:pt x="4000" y="6900"/>
                      </a:lnTo>
                      <a:lnTo>
                        <a:pt x="4085" y="6886"/>
                      </a:lnTo>
                      <a:lnTo>
                        <a:pt x="4170" y="6870"/>
                      </a:lnTo>
                      <a:lnTo>
                        <a:pt x="4254" y="6852"/>
                      </a:lnTo>
                      <a:lnTo>
                        <a:pt x="4338" y="6831"/>
                      </a:lnTo>
                      <a:lnTo>
                        <a:pt x="4421" y="6809"/>
                      </a:lnTo>
                      <a:lnTo>
                        <a:pt x="4503" y="6784"/>
                      </a:lnTo>
                      <a:lnTo>
                        <a:pt x="4583" y="6758"/>
                      </a:lnTo>
                      <a:lnTo>
                        <a:pt x="4664" y="6730"/>
                      </a:lnTo>
                      <a:lnTo>
                        <a:pt x="4743" y="6700"/>
                      </a:lnTo>
                      <a:lnTo>
                        <a:pt x="4822" y="6667"/>
                      </a:lnTo>
                      <a:lnTo>
                        <a:pt x="4899" y="6634"/>
                      </a:lnTo>
                      <a:lnTo>
                        <a:pt x="4975" y="6598"/>
                      </a:lnTo>
                      <a:lnTo>
                        <a:pt x="5051" y="6560"/>
                      </a:lnTo>
                      <a:lnTo>
                        <a:pt x="5124" y="6521"/>
                      </a:lnTo>
                      <a:lnTo>
                        <a:pt x="5198" y="6481"/>
                      </a:lnTo>
                      <a:lnTo>
                        <a:pt x="5270" y="6438"/>
                      </a:lnTo>
                      <a:lnTo>
                        <a:pt x="5341" y="6393"/>
                      </a:lnTo>
                      <a:lnTo>
                        <a:pt x="5411" y="6347"/>
                      </a:lnTo>
                      <a:lnTo>
                        <a:pt x="5479" y="6300"/>
                      </a:lnTo>
                      <a:lnTo>
                        <a:pt x="5547" y="6251"/>
                      </a:lnTo>
                      <a:lnTo>
                        <a:pt x="5613" y="6200"/>
                      </a:lnTo>
                      <a:lnTo>
                        <a:pt x="5678" y="6148"/>
                      </a:lnTo>
                      <a:lnTo>
                        <a:pt x="5742" y="6094"/>
                      </a:lnTo>
                      <a:lnTo>
                        <a:pt x="5804" y="6039"/>
                      </a:lnTo>
                      <a:lnTo>
                        <a:pt x="5865" y="5982"/>
                      </a:lnTo>
                      <a:lnTo>
                        <a:pt x="5925" y="5924"/>
                      </a:lnTo>
                      <a:lnTo>
                        <a:pt x="5982" y="5864"/>
                      </a:lnTo>
                      <a:lnTo>
                        <a:pt x="6040" y="5804"/>
                      </a:lnTo>
                      <a:lnTo>
                        <a:pt x="6095" y="5741"/>
                      </a:lnTo>
                      <a:lnTo>
                        <a:pt x="6148" y="5677"/>
                      </a:lnTo>
                      <a:lnTo>
                        <a:pt x="6201" y="5613"/>
                      </a:lnTo>
                      <a:lnTo>
                        <a:pt x="6252" y="5546"/>
                      </a:lnTo>
                      <a:lnTo>
                        <a:pt x="6301" y="5479"/>
                      </a:lnTo>
                      <a:lnTo>
                        <a:pt x="6348" y="5410"/>
                      </a:lnTo>
                      <a:lnTo>
                        <a:pt x="6394" y="5340"/>
                      </a:lnTo>
                      <a:lnTo>
                        <a:pt x="6438" y="5270"/>
                      </a:lnTo>
                      <a:lnTo>
                        <a:pt x="6481" y="5197"/>
                      </a:lnTo>
                      <a:lnTo>
                        <a:pt x="6522" y="5125"/>
                      </a:lnTo>
                      <a:lnTo>
                        <a:pt x="6561" y="5050"/>
                      </a:lnTo>
                      <a:lnTo>
                        <a:pt x="6598" y="4975"/>
                      </a:lnTo>
                      <a:lnTo>
                        <a:pt x="6634" y="4898"/>
                      </a:lnTo>
                      <a:lnTo>
                        <a:pt x="6668" y="4821"/>
                      </a:lnTo>
                      <a:lnTo>
                        <a:pt x="6701" y="4742"/>
                      </a:lnTo>
                      <a:lnTo>
                        <a:pt x="6730" y="4663"/>
                      </a:lnTo>
                      <a:lnTo>
                        <a:pt x="6758" y="4583"/>
                      </a:lnTo>
                      <a:lnTo>
                        <a:pt x="6785" y="4502"/>
                      </a:lnTo>
                      <a:lnTo>
                        <a:pt x="6809" y="4420"/>
                      </a:lnTo>
                      <a:lnTo>
                        <a:pt x="6832" y="4337"/>
                      </a:lnTo>
                      <a:lnTo>
                        <a:pt x="6851" y="4254"/>
                      </a:lnTo>
                      <a:lnTo>
                        <a:pt x="6870" y="4169"/>
                      </a:lnTo>
                      <a:lnTo>
                        <a:pt x="6887" y="4084"/>
                      </a:lnTo>
                      <a:lnTo>
                        <a:pt x="6901" y="3999"/>
                      </a:lnTo>
                      <a:lnTo>
                        <a:pt x="6912" y="3912"/>
                      </a:lnTo>
                      <a:lnTo>
                        <a:pt x="6923" y="3825"/>
                      </a:lnTo>
                      <a:lnTo>
                        <a:pt x="6931" y="3737"/>
                      </a:lnTo>
                      <a:lnTo>
                        <a:pt x="6937" y="3649"/>
                      </a:lnTo>
                      <a:lnTo>
                        <a:pt x="6940" y="3560"/>
                      </a:lnTo>
                      <a:lnTo>
                        <a:pt x="6941" y="3470"/>
                      </a:lnTo>
                      <a:lnTo>
                        <a:pt x="6941" y="3470"/>
                      </a:lnTo>
                      <a:lnTo>
                        <a:pt x="6940" y="3380"/>
                      </a:lnTo>
                      <a:lnTo>
                        <a:pt x="6937" y="3292"/>
                      </a:lnTo>
                      <a:lnTo>
                        <a:pt x="6931" y="3203"/>
                      </a:lnTo>
                      <a:lnTo>
                        <a:pt x="6923" y="3115"/>
                      </a:lnTo>
                      <a:lnTo>
                        <a:pt x="6912" y="3028"/>
                      </a:lnTo>
                      <a:lnTo>
                        <a:pt x="6901" y="2942"/>
                      </a:lnTo>
                      <a:lnTo>
                        <a:pt x="6887" y="2855"/>
                      </a:lnTo>
                      <a:lnTo>
                        <a:pt x="6870" y="2770"/>
                      </a:lnTo>
                      <a:lnTo>
                        <a:pt x="6851" y="2686"/>
                      </a:lnTo>
                      <a:lnTo>
                        <a:pt x="6832" y="2603"/>
                      </a:lnTo>
                      <a:lnTo>
                        <a:pt x="6809" y="2520"/>
                      </a:lnTo>
                      <a:lnTo>
                        <a:pt x="6785" y="2439"/>
                      </a:lnTo>
                      <a:lnTo>
                        <a:pt x="6758" y="2357"/>
                      </a:lnTo>
                      <a:lnTo>
                        <a:pt x="6730" y="2277"/>
                      </a:lnTo>
                      <a:lnTo>
                        <a:pt x="6701" y="2198"/>
                      </a:lnTo>
                      <a:lnTo>
                        <a:pt x="6668" y="2120"/>
                      </a:lnTo>
                      <a:lnTo>
                        <a:pt x="6634" y="2042"/>
                      </a:lnTo>
                      <a:lnTo>
                        <a:pt x="6598" y="1965"/>
                      </a:lnTo>
                      <a:lnTo>
                        <a:pt x="6561" y="1890"/>
                      </a:lnTo>
                      <a:lnTo>
                        <a:pt x="6522" y="1816"/>
                      </a:lnTo>
                      <a:lnTo>
                        <a:pt x="6481" y="1743"/>
                      </a:lnTo>
                      <a:lnTo>
                        <a:pt x="6438" y="1671"/>
                      </a:lnTo>
                      <a:lnTo>
                        <a:pt x="6394" y="1599"/>
                      </a:lnTo>
                      <a:lnTo>
                        <a:pt x="6348" y="1530"/>
                      </a:lnTo>
                      <a:lnTo>
                        <a:pt x="6301" y="1461"/>
                      </a:lnTo>
                      <a:lnTo>
                        <a:pt x="6252" y="1394"/>
                      </a:lnTo>
                      <a:lnTo>
                        <a:pt x="6201" y="1327"/>
                      </a:lnTo>
                      <a:lnTo>
                        <a:pt x="6148" y="1263"/>
                      </a:lnTo>
                      <a:lnTo>
                        <a:pt x="6095" y="1199"/>
                      </a:lnTo>
                      <a:lnTo>
                        <a:pt x="6040" y="1136"/>
                      </a:lnTo>
                      <a:lnTo>
                        <a:pt x="5982" y="1075"/>
                      </a:lnTo>
                      <a:lnTo>
                        <a:pt x="5925" y="1017"/>
                      </a:lnTo>
                      <a:lnTo>
                        <a:pt x="5865" y="958"/>
                      </a:lnTo>
                      <a:lnTo>
                        <a:pt x="5804" y="901"/>
                      </a:lnTo>
                      <a:lnTo>
                        <a:pt x="5742" y="846"/>
                      </a:lnTo>
                      <a:lnTo>
                        <a:pt x="5678" y="792"/>
                      </a:lnTo>
                      <a:lnTo>
                        <a:pt x="5613" y="740"/>
                      </a:lnTo>
                      <a:lnTo>
                        <a:pt x="5547" y="690"/>
                      </a:lnTo>
                      <a:lnTo>
                        <a:pt x="5479" y="640"/>
                      </a:lnTo>
                      <a:lnTo>
                        <a:pt x="5411" y="593"/>
                      </a:lnTo>
                      <a:lnTo>
                        <a:pt x="5341" y="547"/>
                      </a:lnTo>
                      <a:lnTo>
                        <a:pt x="5270" y="502"/>
                      </a:lnTo>
                      <a:lnTo>
                        <a:pt x="5198" y="459"/>
                      </a:lnTo>
                      <a:lnTo>
                        <a:pt x="5124" y="419"/>
                      </a:lnTo>
                      <a:lnTo>
                        <a:pt x="5051" y="380"/>
                      </a:lnTo>
                      <a:lnTo>
                        <a:pt x="4975" y="342"/>
                      </a:lnTo>
                      <a:lnTo>
                        <a:pt x="4899" y="306"/>
                      </a:lnTo>
                      <a:lnTo>
                        <a:pt x="4822" y="273"/>
                      </a:lnTo>
                      <a:lnTo>
                        <a:pt x="4743" y="241"/>
                      </a:lnTo>
                      <a:lnTo>
                        <a:pt x="4664" y="211"/>
                      </a:lnTo>
                      <a:lnTo>
                        <a:pt x="4583" y="182"/>
                      </a:lnTo>
                      <a:lnTo>
                        <a:pt x="4503" y="155"/>
                      </a:lnTo>
                      <a:lnTo>
                        <a:pt x="4421" y="131"/>
                      </a:lnTo>
                      <a:lnTo>
                        <a:pt x="4338" y="109"/>
                      </a:lnTo>
                      <a:lnTo>
                        <a:pt x="4254" y="89"/>
                      </a:lnTo>
                      <a:lnTo>
                        <a:pt x="4170" y="70"/>
                      </a:lnTo>
                      <a:lnTo>
                        <a:pt x="4085" y="54"/>
                      </a:lnTo>
                      <a:lnTo>
                        <a:pt x="4000" y="40"/>
                      </a:lnTo>
                      <a:lnTo>
                        <a:pt x="3912" y="28"/>
                      </a:lnTo>
                      <a:lnTo>
                        <a:pt x="3826" y="17"/>
                      </a:lnTo>
                      <a:lnTo>
                        <a:pt x="3737" y="10"/>
                      </a:lnTo>
                      <a:lnTo>
                        <a:pt x="3650" y="5"/>
                      </a:lnTo>
                      <a:lnTo>
                        <a:pt x="3560" y="1"/>
                      </a:lnTo>
                      <a:lnTo>
                        <a:pt x="3471" y="0"/>
                      </a:lnTo>
                      <a:lnTo>
                        <a:pt x="3471" y="0"/>
                      </a:lnTo>
                      <a:close/>
                      <a:moveTo>
                        <a:pt x="3471" y="6650"/>
                      </a:moveTo>
                      <a:lnTo>
                        <a:pt x="3471" y="6650"/>
                      </a:lnTo>
                      <a:lnTo>
                        <a:pt x="3388" y="6649"/>
                      </a:lnTo>
                      <a:lnTo>
                        <a:pt x="3307" y="6647"/>
                      </a:lnTo>
                      <a:lnTo>
                        <a:pt x="3226" y="6641"/>
                      </a:lnTo>
                      <a:lnTo>
                        <a:pt x="3145" y="6634"/>
                      </a:lnTo>
                      <a:lnTo>
                        <a:pt x="3066" y="6625"/>
                      </a:lnTo>
                      <a:lnTo>
                        <a:pt x="2987" y="6614"/>
                      </a:lnTo>
                      <a:lnTo>
                        <a:pt x="2908" y="6601"/>
                      </a:lnTo>
                      <a:lnTo>
                        <a:pt x="2830" y="6586"/>
                      </a:lnTo>
                      <a:lnTo>
                        <a:pt x="2753" y="6569"/>
                      </a:lnTo>
                      <a:lnTo>
                        <a:pt x="2676" y="6550"/>
                      </a:lnTo>
                      <a:lnTo>
                        <a:pt x="2600" y="6530"/>
                      </a:lnTo>
                      <a:lnTo>
                        <a:pt x="2525" y="6507"/>
                      </a:lnTo>
                      <a:lnTo>
                        <a:pt x="2451" y="6483"/>
                      </a:lnTo>
                      <a:lnTo>
                        <a:pt x="2378" y="6458"/>
                      </a:lnTo>
                      <a:lnTo>
                        <a:pt x="2305" y="6430"/>
                      </a:lnTo>
                      <a:lnTo>
                        <a:pt x="2232" y="6400"/>
                      </a:lnTo>
                      <a:lnTo>
                        <a:pt x="2162" y="6369"/>
                      </a:lnTo>
                      <a:lnTo>
                        <a:pt x="2092" y="6337"/>
                      </a:lnTo>
                      <a:lnTo>
                        <a:pt x="2023" y="6302"/>
                      </a:lnTo>
                      <a:lnTo>
                        <a:pt x="1955" y="6267"/>
                      </a:lnTo>
                      <a:lnTo>
                        <a:pt x="1888" y="6229"/>
                      </a:lnTo>
                      <a:lnTo>
                        <a:pt x="1821" y="6190"/>
                      </a:lnTo>
                      <a:lnTo>
                        <a:pt x="1757" y="6149"/>
                      </a:lnTo>
                      <a:lnTo>
                        <a:pt x="1693" y="6108"/>
                      </a:lnTo>
                      <a:lnTo>
                        <a:pt x="1629" y="6064"/>
                      </a:lnTo>
                      <a:lnTo>
                        <a:pt x="1568" y="6019"/>
                      </a:lnTo>
                      <a:lnTo>
                        <a:pt x="1507" y="5972"/>
                      </a:lnTo>
                      <a:lnTo>
                        <a:pt x="1447" y="5925"/>
                      </a:lnTo>
                      <a:lnTo>
                        <a:pt x="1390" y="5875"/>
                      </a:lnTo>
                      <a:lnTo>
                        <a:pt x="1332" y="5825"/>
                      </a:lnTo>
                      <a:lnTo>
                        <a:pt x="1277" y="5773"/>
                      </a:lnTo>
                      <a:lnTo>
                        <a:pt x="1222" y="5719"/>
                      </a:lnTo>
                      <a:lnTo>
                        <a:pt x="1169" y="5665"/>
                      </a:lnTo>
                      <a:lnTo>
                        <a:pt x="1117" y="5608"/>
                      </a:lnTo>
                      <a:lnTo>
                        <a:pt x="1066" y="5552"/>
                      </a:lnTo>
                      <a:lnTo>
                        <a:pt x="1017" y="5493"/>
                      </a:lnTo>
                      <a:lnTo>
                        <a:pt x="968" y="5433"/>
                      </a:lnTo>
                      <a:lnTo>
                        <a:pt x="922" y="5373"/>
                      </a:lnTo>
                      <a:lnTo>
                        <a:pt x="877" y="5311"/>
                      </a:lnTo>
                      <a:lnTo>
                        <a:pt x="834" y="5248"/>
                      </a:lnTo>
                      <a:lnTo>
                        <a:pt x="791" y="5184"/>
                      </a:lnTo>
                      <a:lnTo>
                        <a:pt x="751" y="5119"/>
                      </a:lnTo>
                      <a:lnTo>
                        <a:pt x="712" y="5053"/>
                      </a:lnTo>
                      <a:lnTo>
                        <a:pt x="675" y="4986"/>
                      </a:lnTo>
                      <a:lnTo>
                        <a:pt x="638" y="4918"/>
                      </a:lnTo>
                      <a:lnTo>
                        <a:pt x="605" y="4849"/>
                      </a:lnTo>
                      <a:lnTo>
                        <a:pt x="571" y="4779"/>
                      </a:lnTo>
                      <a:lnTo>
                        <a:pt x="540" y="4708"/>
                      </a:lnTo>
                      <a:lnTo>
                        <a:pt x="511" y="4636"/>
                      </a:lnTo>
                      <a:lnTo>
                        <a:pt x="484" y="4564"/>
                      </a:lnTo>
                      <a:lnTo>
                        <a:pt x="457" y="4490"/>
                      </a:lnTo>
                      <a:lnTo>
                        <a:pt x="433" y="4415"/>
                      </a:lnTo>
                      <a:lnTo>
                        <a:pt x="411" y="4341"/>
                      </a:lnTo>
                      <a:lnTo>
                        <a:pt x="390" y="4265"/>
                      </a:lnTo>
                      <a:lnTo>
                        <a:pt x="372" y="4189"/>
                      </a:lnTo>
                      <a:lnTo>
                        <a:pt x="355" y="4111"/>
                      </a:lnTo>
                      <a:lnTo>
                        <a:pt x="340" y="4033"/>
                      </a:lnTo>
                      <a:lnTo>
                        <a:pt x="327" y="3955"/>
                      </a:lnTo>
                      <a:lnTo>
                        <a:pt x="316" y="3875"/>
                      </a:lnTo>
                      <a:lnTo>
                        <a:pt x="306" y="3795"/>
                      </a:lnTo>
                      <a:lnTo>
                        <a:pt x="300" y="3714"/>
                      </a:lnTo>
                      <a:lnTo>
                        <a:pt x="295" y="3634"/>
                      </a:lnTo>
                      <a:lnTo>
                        <a:pt x="291" y="3552"/>
                      </a:lnTo>
                      <a:lnTo>
                        <a:pt x="290" y="3470"/>
                      </a:lnTo>
                      <a:lnTo>
                        <a:pt x="290" y="3470"/>
                      </a:lnTo>
                      <a:lnTo>
                        <a:pt x="291" y="3388"/>
                      </a:lnTo>
                      <a:lnTo>
                        <a:pt x="295" y="3307"/>
                      </a:lnTo>
                      <a:lnTo>
                        <a:pt x="300" y="3225"/>
                      </a:lnTo>
                      <a:lnTo>
                        <a:pt x="306" y="3144"/>
                      </a:lnTo>
                      <a:lnTo>
                        <a:pt x="316" y="3065"/>
                      </a:lnTo>
                      <a:lnTo>
                        <a:pt x="327" y="2985"/>
                      </a:lnTo>
                      <a:lnTo>
                        <a:pt x="340" y="2907"/>
                      </a:lnTo>
                      <a:lnTo>
                        <a:pt x="355" y="2829"/>
                      </a:lnTo>
                      <a:lnTo>
                        <a:pt x="372" y="2752"/>
                      </a:lnTo>
                      <a:lnTo>
                        <a:pt x="390" y="2676"/>
                      </a:lnTo>
                      <a:lnTo>
                        <a:pt x="411" y="2600"/>
                      </a:lnTo>
                      <a:lnTo>
                        <a:pt x="433" y="2524"/>
                      </a:lnTo>
                      <a:lnTo>
                        <a:pt x="457" y="2450"/>
                      </a:lnTo>
                      <a:lnTo>
                        <a:pt x="484" y="2376"/>
                      </a:lnTo>
                      <a:lnTo>
                        <a:pt x="511" y="2304"/>
                      </a:lnTo>
                      <a:lnTo>
                        <a:pt x="540" y="2232"/>
                      </a:lnTo>
                      <a:lnTo>
                        <a:pt x="571" y="2161"/>
                      </a:lnTo>
                      <a:lnTo>
                        <a:pt x="605" y="2091"/>
                      </a:lnTo>
                      <a:lnTo>
                        <a:pt x="638" y="2022"/>
                      </a:lnTo>
                      <a:lnTo>
                        <a:pt x="675" y="1954"/>
                      </a:lnTo>
                      <a:lnTo>
                        <a:pt x="712" y="1887"/>
                      </a:lnTo>
                      <a:lnTo>
                        <a:pt x="751" y="1821"/>
                      </a:lnTo>
                      <a:lnTo>
                        <a:pt x="791" y="1756"/>
                      </a:lnTo>
                      <a:lnTo>
                        <a:pt x="834" y="1691"/>
                      </a:lnTo>
                      <a:lnTo>
                        <a:pt x="877" y="1629"/>
                      </a:lnTo>
                      <a:lnTo>
                        <a:pt x="922" y="1567"/>
                      </a:lnTo>
                      <a:lnTo>
                        <a:pt x="968" y="1506"/>
                      </a:lnTo>
                      <a:lnTo>
                        <a:pt x="1017" y="1447"/>
                      </a:lnTo>
                      <a:lnTo>
                        <a:pt x="1066" y="1389"/>
                      </a:lnTo>
                      <a:lnTo>
                        <a:pt x="1117" y="1332"/>
                      </a:lnTo>
                      <a:lnTo>
                        <a:pt x="1169" y="1276"/>
                      </a:lnTo>
                      <a:lnTo>
                        <a:pt x="1222" y="1222"/>
                      </a:lnTo>
                      <a:lnTo>
                        <a:pt x="1277" y="1167"/>
                      </a:lnTo>
                      <a:lnTo>
                        <a:pt x="1332" y="1116"/>
                      </a:lnTo>
                      <a:lnTo>
                        <a:pt x="1390" y="1065"/>
                      </a:lnTo>
                      <a:lnTo>
                        <a:pt x="1447" y="1015"/>
                      </a:lnTo>
                      <a:lnTo>
                        <a:pt x="1507" y="968"/>
                      </a:lnTo>
                      <a:lnTo>
                        <a:pt x="1568" y="921"/>
                      </a:lnTo>
                      <a:lnTo>
                        <a:pt x="1629" y="876"/>
                      </a:lnTo>
                      <a:lnTo>
                        <a:pt x="1693" y="832"/>
                      </a:lnTo>
                      <a:lnTo>
                        <a:pt x="1757" y="791"/>
                      </a:lnTo>
                      <a:lnTo>
                        <a:pt x="1821" y="750"/>
                      </a:lnTo>
                      <a:lnTo>
                        <a:pt x="1888" y="710"/>
                      </a:lnTo>
                      <a:lnTo>
                        <a:pt x="1955" y="674"/>
                      </a:lnTo>
                      <a:lnTo>
                        <a:pt x="2023" y="638"/>
                      </a:lnTo>
                      <a:lnTo>
                        <a:pt x="2092" y="603"/>
                      </a:lnTo>
                      <a:lnTo>
                        <a:pt x="2162" y="571"/>
                      </a:lnTo>
                      <a:lnTo>
                        <a:pt x="2232" y="540"/>
                      </a:lnTo>
                      <a:lnTo>
                        <a:pt x="2305" y="510"/>
                      </a:lnTo>
                      <a:lnTo>
                        <a:pt x="2378" y="482"/>
                      </a:lnTo>
                      <a:lnTo>
                        <a:pt x="2451" y="457"/>
                      </a:lnTo>
                      <a:lnTo>
                        <a:pt x="2525" y="433"/>
                      </a:lnTo>
                      <a:lnTo>
                        <a:pt x="2600" y="410"/>
                      </a:lnTo>
                      <a:lnTo>
                        <a:pt x="2676" y="389"/>
                      </a:lnTo>
                      <a:lnTo>
                        <a:pt x="2753" y="371"/>
                      </a:lnTo>
                      <a:lnTo>
                        <a:pt x="2830" y="355"/>
                      </a:lnTo>
                      <a:lnTo>
                        <a:pt x="2908" y="340"/>
                      </a:lnTo>
                      <a:lnTo>
                        <a:pt x="2987" y="326"/>
                      </a:lnTo>
                      <a:lnTo>
                        <a:pt x="3066" y="315"/>
                      </a:lnTo>
                      <a:lnTo>
                        <a:pt x="3145" y="306"/>
                      </a:lnTo>
                      <a:lnTo>
                        <a:pt x="3226" y="299"/>
                      </a:lnTo>
                      <a:lnTo>
                        <a:pt x="3307" y="294"/>
                      </a:lnTo>
                      <a:lnTo>
                        <a:pt x="3388" y="290"/>
                      </a:lnTo>
                      <a:lnTo>
                        <a:pt x="3471" y="289"/>
                      </a:lnTo>
                      <a:lnTo>
                        <a:pt x="3471" y="289"/>
                      </a:lnTo>
                      <a:lnTo>
                        <a:pt x="3553" y="290"/>
                      </a:lnTo>
                      <a:lnTo>
                        <a:pt x="3635" y="294"/>
                      </a:lnTo>
                      <a:lnTo>
                        <a:pt x="3715" y="299"/>
                      </a:lnTo>
                      <a:lnTo>
                        <a:pt x="3796" y="306"/>
                      </a:lnTo>
                      <a:lnTo>
                        <a:pt x="3875" y="315"/>
                      </a:lnTo>
                      <a:lnTo>
                        <a:pt x="3955" y="326"/>
                      </a:lnTo>
                      <a:lnTo>
                        <a:pt x="4034" y="340"/>
                      </a:lnTo>
                      <a:lnTo>
                        <a:pt x="4111" y="355"/>
                      </a:lnTo>
                      <a:lnTo>
                        <a:pt x="4188" y="371"/>
                      </a:lnTo>
                      <a:lnTo>
                        <a:pt x="4266" y="389"/>
                      </a:lnTo>
                      <a:lnTo>
                        <a:pt x="4342" y="410"/>
                      </a:lnTo>
                      <a:lnTo>
                        <a:pt x="4416" y="433"/>
                      </a:lnTo>
                      <a:lnTo>
                        <a:pt x="4491" y="457"/>
                      </a:lnTo>
                      <a:lnTo>
                        <a:pt x="4564" y="482"/>
                      </a:lnTo>
                      <a:lnTo>
                        <a:pt x="4636" y="510"/>
                      </a:lnTo>
                      <a:lnTo>
                        <a:pt x="4709" y="540"/>
                      </a:lnTo>
                      <a:lnTo>
                        <a:pt x="4779" y="571"/>
                      </a:lnTo>
                      <a:lnTo>
                        <a:pt x="4849" y="603"/>
                      </a:lnTo>
                      <a:lnTo>
                        <a:pt x="4918" y="638"/>
                      </a:lnTo>
                      <a:lnTo>
                        <a:pt x="4986" y="674"/>
                      </a:lnTo>
                      <a:lnTo>
                        <a:pt x="5054" y="710"/>
                      </a:lnTo>
                      <a:lnTo>
                        <a:pt x="5120" y="750"/>
                      </a:lnTo>
                      <a:lnTo>
                        <a:pt x="5184" y="791"/>
                      </a:lnTo>
                      <a:lnTo>
                        <a:pt x="5249" y="832"/>
                      </a:lnTo>
                      <a:lnTo>
                        <a:pt x="5312" y="876"/>
                      </a:lnTo>
                      <a:lnTo>
                        <a:pt x="5373" y="921"/>
                      </a:lnTo>
                      <a:lnTo>
                        <a:pt x="5434" y="968"/>
                      </a:lnTo>
                      <a:lnTo>
                        <a:pt x="5494" y="1015"/>
                      </a:lnTo>
                      <a:lnTo>
                        <a:pt x="5552" y="1065"/>
                      </a:lnTo>
                      <a:lnTo>
                        <a:pt x="5609" y="1116"/>
                      </a:lnTo>
                      <a:lnTo>
                        <a:pt x="5664" y="1167"/>
                      </a:lnTo>
                      <a:lnTo>
                        <a:pt x="5720" y="1222"/>
                      </a:lnTo>
                      <a:lnTo>
                        <a:pt x="5773" y="1276"/>
                      </a:lnTo>
                      <a:lnTo>
                        <a:pt x="5824" y="1332"/>
                      </a:lnTo>
                      <a:lnTo>
                        <a:pt x="5875" y="1389"/>
                      </a:lnTo>
                      <a:lnTo>
                        <a:pt x="5925" y="1447"/>
                      </a:lnTo>
                      <a:lnTo>
                        <a:pt x="5973" y="1506"/>
                      </a:lnTo>
                      <a:lnTo>
                        <a:pt x="6019" y="1567"/>
                      </a:lnTo>
                      <a:lnTo>
                        <a:pt x="6064" y="1629"/>
                      </a:lnTo>
                      <a:lnTo>
                        <a:pt x="6108" y="1691"/>
                      </a:lnTo>
                      <a:lnTo>
                        <a:pt x="6150" y="1756"/>
                      </a:lnTo>
                      <a:lnTo>
                        <a:pt x="6191" y="1821"/>
                      </a:lnTo>
                      <a:lnTo>
                        <a:pt x="6230" y="1887"/>
                      </a:lnTo>
                      <a:lnTo>
                        <a:pt x="6268" y="1954"/>
                      </a:lnTo>
                      <a:lnTo>
                        <a:pt x="6303" y="2022"/>
                      </a:lnTo>
                      <a:lnTo>
                        <a:pt x="6338" y="2091"/>
                      </a:lnTo>
                      <a:lnTo>
                        <a:pt x="6370" y="2161"/>
                      </a:lnTo>
                      <a:lnTo>
                        <a:pt x="6401" y="2232"/>
                      </a:lnTo>
                      <a:lnTo>
                        <a:pt x="6430" y="2304"/>
                      </a:lnTo>
                      <a:lnTo>
                        <a:pt x="6458" y="2376"/>
                      </a:lnTo>
                      <a:lnTo>
                        <a:pt x="6484" y="2450"/>
                      </a:lnTo>
                      <a:lnTo>
                        <a:pt x="6508" y="2524"/>
                      </a:lnTo>
                      <a:lnTo>
                        <a:pt x="6530" y="2600"/>
                      </a:lnTo>
                      <a:lnTo>
                        <a:pt x="6551" y="2676"/>
                      </a:lnTo>
                      <a:lnTo>
                        <a:pt x="6569" y="2752"/>
                      </a:lnTo>
                      <a:lnTo>
                        <a:pt x="6587" y="2829"/>
                      </a:lnTo>
                      <a:lnTo>
                        <a:pt x="6602" y="2907"/>
                      </a:lnTo>
                      <a:lnTo>
                        <a:pt x="6614" y="2985"/>
                      </a:lnTo>
                      <a:lnTo>
                        <a:pt x="6626" y="3065"/>
                      </a:lnTo>
                      <a:lnTo>
                        <a:pt x="6635" y="3144"/>
                      </a:lnTo>
                      <a:lnTo>
                        <a:pt x="6642" y="3225"/>
                      </a:lnTo>
                      <a:lnTo>
                        <a:pt x="6646" y="3307"/>
                      </a:lnTo>
                      <a:lnTo>
                        <a:pt x="6650" y="3388"/>
                      </a:lnTo>
                      <a:lnTo>
                        <a:pt x="6651" y="3470"/>
                      </a:lnTo>
                      <a:lnTo>
                        <a:pt x="6651" y="3470"/>
                      </a:lnTo>
                      <a:lnTo>
                        <a:pt x="6650" y="3552"/>
                      </a:lnTo>
                      <a:lnTo>
                        <a:pt x="6646" y="3634"/>
                      </a:lnTo>
                      <a:lnTo>
                        <a:pt x="6642" y="3714"/>
                      </a:lnTo>
                      <a:lnTo>
                        <a:pt x="6635" y="3795"/>
                      </a:lnTo>
                      <a:lnTo>
                        <a:pt x="6626" y="3875"/>
                      </a:lnTo>
                      <a:lnTo>
                        <a:pt x="6614" y="3955"/>
                      </a:lnTo>
                      <a:lnTo>
                        <a:pt x="6602" y="4033"/>
                      </a:lnTo>
                      <a:lnTo>
                        <a:pt x="6587" y="4111"/>
                      </a:lnTo>
                      <a:lnTo>
                        <a:pt x="6569" y="4189"/>
                      </a:lnTo>
                      <a:lnTo>
                        <a:pt x="6551" y="4265"/>
                      </a:lnTo>
                      <a:lnTo>
                        <a:pt x="6530" y="4341"/>
                      </a:lnTo>
                      <a:lnTo>
                        <a:pt x="6508" y="4415"/>
                      </a:lnTo>
                      <a:lnTo>
                        <a:pt x="6484" y="4490"/>
                      </a:lnTo>
                      <a:lnTo>
                        <a:pt x="6458" y="4564"/>
                      </a:lnTo>
                      <a:lnTo>
                        <a:pt x="6430" y="4636"/>
                      </a:lnTo>
                      <a:lnTo>
                        <a:pt x="6401" y="4708"/>
                      </a:lnTo>
                      <a:lnTo>
                        <a:pt x="6370" y="4779"/>
                      </a:lnTo>
                      <a:lnTo>
                        <a:pt x="6338" y="4849"/>
                      </a:lnTo>
                      <a:lnTo>
                        <a:pt x="6303" y="4918"/>
                      </a:lnTo>
                      <a:lnTo>
                        <a:pt x="6268" y="4986"/>
                      </a:lnTo>
                      <a:lnTo>
                        <a:pt x="6230" y="5053"/>
                      </a:lnTo>
                      <a:lnTo>
                        <a:pt x="6191" y="5119"/>
                      </a:lnTo>
                      <a:lnTo>
                        <a:pt x="6150" y="5184"/>
                      </a:lnTo>
                      <a:lnTo>
                        <a:pt x="6108" y="5248"/>
                      </a:lnTo>
                      <a:lnTo>
                        <a:pt x="6064" y="5311"/>
                      </a:lnTo>
                      <a:lnTo>
                        <a:pt x="6019" y="5373"/>
                      </a:lnTo>
                      <a:lnTo>
                        <a:pt x="5973" y="5433"/>
                      </a:lnTo>
                      <a:lnTo>
                        <a:pt x="5925" y="5493"/>
                      </a:lnTo>
                      <a:lnTo>
                        <a:pt x="5875" y="5552"/>
                      </a:lnTo>
                      <a:lnTo>
                        <a:pt x="5824" y="5608"/>
                      </a:lnTo>
                      <a:lnTo>
                        <a:pt x="5773" y="5665"/>
                      </a:lnTo>
                      <a:lnTo>
                        <a:pt x="5720" y="5719"/>
                      </a:lnTo>
                      <a:lnTo>
                        <a:pt x="5664" y="5773"/>
                      </a:lnTo>
                      <a:lnTo>
                        <a:pt x="5609" y="5825"/>
                      </a:lnTo>
                      <a:lnTo>
                        <a:pt x="5552" y="5875"/>
                      </a:lnTo>
                      <a:lnTo>
                        <a:pt x="5494" y="5925"/>
                      </a:lnTo>
                      <a:lnTo>
                        <a:pt x="5434" y="5972"/>
                      </a:lnTo>
                      <a:lnTo>
                        <a:pt x="5373" y="6019"/>
                      </a:lnTo>
                      <a:lnTo>
                        <a:pt x="5312" y="6064"/>
                      </a:lnTo>
                      <a:lnTo>
                        <a:pt x="5249" y="6108"/>
                      </a:lnTo>
                      <a:lnTo>
                        <a:pt x="5184" y="6149"/>
                      </a:lnTo>
                      <a:lnTo>
                        <a:pt x="5120" y="6190"/>
                      </a:lnTo>
                      <a:lnTo>
                        <a:pt x="5054" y="6229"/>
                      </a:lnTo>
                      <a:lnTo>
                        <a:pt x="4986" y="6267"/>
                      </a:lnTo>
                      <a:lnTo>
                        <a:pt x="4918" y="6302"/>
                      </a:lnTo>
                      <a:lnTo>
                        <a:pt x="4849" y="6337"/>
                      </a:lnTo>
                      <a:lnTo>
                        <a:pt x="4779" y="6369"/>
                      </a:lnTo>
                      <a:lnTo>
                        <a:pt x="4709" y="6400"/>
                      </a:lnTo>
                      <a:lnTo>
                        <a:pt x="4636" y="6430"/>
                      </a:lnTo>
                      <a:lnTo>
                        <a:pt x="4564" y="6458"/>
                      </a:lnTo>
                      <a:lnTo>
                        <a:pt x="4491" y="6483"/>
                      </a:lnTo>
                      <a:lnTo>
                        <a:pt x="4416" y="6507"/>
                      </a:lnTo>
                      <a:lnTo>
                        <a:pt x="4342" y="6530"/>
                      </a:lnTo>
                      <a:lnTo>
                        <a:pt x="4266" y="6550"/>
                      </a:lnTo>
                      <a:lnTo>
                        <a:pt x="4188" y="6569"/>
                      </a:lnTo>
                      <a:lnTo>
                        <a:pt x="4111" y="6586"/>
                      </a:lnTo>
                      <a:lnTo>
                        <a:pt x="4034" y="6601"/>
                      </a:lnTo>
                      <a:lnTo>
                        <a:pt x="3955" y="6614"/>
                      </a:lnTo>
                      <a:lnTo>
                        <a:pt x="3875" y="6625"/>
                      </a:lnTo>
                      <a:lnTo>
                        <a:pt x="3796" y="6634"/>
                      </a:lnTo>
                      <a:lnTo>
                        <a:pt x="3715" y="6641"/>
                      </a:lnTo>
                      <a:lnTo>
                        <a:pt x="3635" y="6647"/>
                      </a:lnTo>
                      <a:lnTo>
                        <a:pt x="3553" y="6649"/>
                      </a:lnTo>
                      <a:lnTo>
                        <a:pt x="3471" y="6650"/>
                      </a:lnTo>
                      <a:lnTo>
                        <a:pt x="3471" y="6650"/>
                      </a:lnTo>
                      <a:close/>
                    </a:path>
                  </a:pathLst>
                </a:custGeom>
                <a:solidFill>
                  <a:srgbClr val="FFD41D">
                    <a:alpha val="20000"/>
                  </a:srgbClr>
                </a:solidFill>
                <a:ln>
                  <a:noFill/>
                </a:ln>
              </p:spPr>
              <p:txBody>
                <a:bodyPr vert="horz" wrap="square" lIns="91440" tIns="45720" rIns="91440" bIns="45720" numCol="1" anchor="t" anchorCtr="0" compatLnSpc="1">
                  <a:prstTxWarp prst="textNoShape">
                    <a:avLst/>
                  </a:prstTxWarp>
                </a:bodyPr>
                <a:lstStyle/>
                <a:p>
                  <a:endParaRPr lang="ko-KR" altLang="en-US" sz="2400"/>
                </a:p>
              </p:txBody>
            </p:sp>
            <p:sp>
              <p:nvSpPr>
                <p:cNvPr id="256" name="Freeform 218"/>
                <p:cNvSpPr>
                  <a:spLocks/>
                </p:cNvSpPr>
                <p:nvPr/>
              </p:nvSpPr>
              <p:spPr bwMode="auto">
                <a:xfrm>
                  <a:off x="4027487" y="84138"/>
                  <a:ext cx="1406525" cy="1406523"/>
                </a:xfrm>
                <a:custGeom>
                  <a:avLst/>
                  <a:gdLst>
                    <a:gd name="T0" fmla="*/ 6192 w 6202"/>
                    <a:gd name="T1" fmla="*/ 3340 h 6203"/>
                    <a:gd name="T2" fmla="*/ 6138 w 6202"/>
                    <a:gd name="T3" fmla="*/ 3727 h 6203"/>
                    <a:gd name="T4" fmla="*/ 6038 w 6202"/>
                    <a:gd name="T5" fmla="*/ 4097 h 6203"/>
                    <a:gd name="T6" fmla="*/ 5895 w 6202"/>
                    <a:gd name="T7" fmla="*/ 4447 h 6203"/>
                    <a:gd name="T8" fmla="*/ 5713 w 6202"/>
                    <a:gd name="T9" fmla="*/ 4774 h 6203"/>
                    <a:gd name="T10" fmla="*/ 5494 w 6202"/>
                    <a:gd name="T11" fmla="*/ 5074 h 6203"/>
                    <a:gd name="T12" fmla="*/ 5240 w 6202"/>
                    <a:gd name="T13" fmla="*/ 5347 h 6203"/>
                    <a:gd name="T14" fmla="*/ 4956 w 6202"/>
                    <a:gd name="T15" fmla="*/ 5587 h 6203"/>
                    <a:gd name="T16" fmla="*/ 4644 w 6202"/>
                    <a:gd name="T17" fmla="*/ 5793 h 6203"/>
                    <a:gd name="T18" fmla="*/ 4308 w 6202"/>
                    <a:gd name="T19" fmla="*/ 5960 h 6203"/>
                    <a:gd name="T20" fmla="*/ 3950 w 6202"/>
                    <a:gd name="T21" fmla="*/ 6085 h 6203"/>
                    <a:gd name="T22" fmla="*/ 3573 w 6202"/>
                    <a:gd name="T23" fmla="*/ 6167 h 6203"/>
                    <a:gd name="T24" fmla="*/ 3181 w 6202"/>
                    <a:gd name="T25" fmla="*/ 6203 h 6203"/>
                    <a:gd name="T26" fmla="*/ 2862 w 6202"/>
                    <a:gd name="T27" fmla="*/ 6195 h 6203"/>
                    <a:gd name="T28" fmla="*/ 2476 w 6202"/>
                    <a:gd name="T29" fmla="*/ 6140 h 6203"/>
                    <a:gd name="T30" fmla="*/ 2107 w 6202"/>
                    <a:gd name="T31" fmla="*/ 6040 h 6203"/>
                    <a:gd name="T32" fmla="*/ 1757 w 6202"/>
                    <a:gd name="T33" fmla="*/ 5898 h 6203"/>
                    <a:gd name="T34" fmla="*/ 1430 w 6202"/>
                    <a:gd name="T35" fmla="*/ 5714 h 6203"/>
                    <a:gd name="T36" fmla="*/ 1128 w 6202"/>
                    <a:gd name="T37" fmla="*/ 5495 h 6203"/>
                    <a:gd name="T38" fmla="*/ 856 w 6202"/>
                    <a:gd name="T39" fmla="*/ 5241 h 6203"/>
                    <a:gd name="T40" fmla="*/ 616 w 6202"/>
                    <a:gd name="T41" fmla="*/ 4957 h 6203"/>
                    <a:gd name="T42" fmla="*/ 411 w 6202"/>
                    <a:gd name="T43" fmla="*/ 4646 h 6203"/>
                    <a:gd name="T44" fmla="*/ 244 w 6202"/>
                    <a:gd name="T45" fmla="*/ 4309 h 6203"/>
                    <a:gd name="T46" fmla="*/ 117 w 6202"/>
                    <a:gd name="T47" fmla="*/ 3951 h 6203"/>
                    <a:gd name="T48" fmla="*/ 35 w 6202"/>
                    <a:gd name="T49" fmla="*/ 3574 h 6203"/>
                    <a:gd name="T50" fmla="*/ 1 w 6202"/>
                    <a:gd name="T51" fmla="*/ 3182 h 6203"/>
                    <a:gd name="T52" fmla="*/ 9 w 6202"/>
                    <a:gd name="T53" fmla="*/ 2864 h 6203"/>
                    <a:gd name="T54" fmla="*/ 63 w 6202"/>
                    <a:gd name="T55" fmla="*/ 2477 h 6203"/>
                    <a:gd name="T56" fmla="*/ 163 w 6202"/>
                    <a:gd name="T57" fmla="*/ 2107 h 6203"/>
                    <a:gd name="T58" fmla="*/ 306 w 6202"/>
                    <a:gd name="T59" fmla="*/ 1757 h 6203"/>
                    <a:gd name="T60" fmla="*/ 488 w 6202"/>
                    <a:gd name="T61" fmla="*/ 1430 h 6203"/>
                    <a:gd name="T62" fmla="*/ 708 w 6202"/>
                    <a:gd name="T63" fmla="*/ 1130 h 6203"/>
                    <a:gd name="T64" fmla="*/ 961 w 6202"/>
                    <a:gd name="T65" fmla="*/ 857 h 6203"/>
                    <a:gd name="T66" fmla="*/ 1245 w 6202"/>
                    <a:gd name="T67" fmla="*/ 618 h 6203"/>
                    <a:gd name="T68" fmla="*/ 1557 w 6202"/>
                    <a:gd name="T69" fmla="*/ 411 h 6203"/>
                    <a:gd name="T70" fmla="*/ 1894 w 6202"/>
                    <a:gd name="T71" fmla="*/ 245 h 6203"/>
                    <a:gd name="T72" fmla="*/ 2252 w 6202"/>
                    <a:gd name="T73" fmla="*/ 119 h 6203"/>
                    <a:gd name="T74" fmla="*/ 2628 w 6202"/>
                    <a:gd name="T75" fmla="*/ 36 h 6203"/>
                    <a:gd name="T76" fmla="*/ 3021 w 6202"/>
                    <a:gd name="T77" fmla="*/ 2 h 6203"/>
                    <a:gd name="T78" fmla="*/ 3340 w 6202"/>
                    <a:gd name="T79" fmla="*/ 10 h 6203"/>
                    <a:gd name="T80" fmla="*/ 3725 w 6202"/>
                    <a:gd name="T81" fmla="*/ 64 h 6203"/>
                    <a:gd name="T82" fmla="*/ 4095 w 6202"/>
                    <a:gd name="T83" fmla="*/ 164 h 6203"/>
                    <a:gd name="T84" fmla="*/ 4445 w 6202"/>
                    <a:gd name="T85" fmla="*/ 307 h 6203"/>
                    <a:gd name="T86" fmla="*/ 4772 w 6202"/>
                    <a:gd name="T87" fmla="*/ 490 h 6203"/>
                    <a:gd name="T88" fmla="*/ 5073 w 6202"/>
                    <a:gd name="T89" fmla="*/ 710 h 6203"/>
                    <a:gd name="T90" fmla="*/ 5345 w 6202"/>
                    <a:gd name="T91" fmla="*/ 963 h 6203"/>
                    <a:gd name="T92" fmla="*/ 5586 w 6202"/>
                    <a:gd name="T93" fmla="*/ 1246 h 6203"/>
                    <a:gd name="T94" fmla="*/ 5791 w 6202"/>
                    <a:gd name="T95" fmla="*/ 1558 h 6203"/>
                    <a:gd name="T96" fmla="*/ 5958 w 6202"/>
                    <a:gd name="T97" fmla="*/ 1896 h 6203"/>
                    <a:gd name="T98" fmla="*/ 6084 w 6202"/>
                    <a:gd name="T99" fmla="*/ 2254 h 6203"/>
                    <a:gd name="T100" fmla="*/ 6166 w 6202"/>
                    <a:gd name="T101" fmla="*/ 2630 h 6203"/>
                    <a:gd name="T102" fmla="*/ 6200 w 6202"/>
                    <a:gd name="T103" fmla="*/ 3022 h 6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202" h="6203">
                      <a:moveTo>
                        <a:pt x="6202" y="3102"/>
                      </a:moveTo>
                      <a:lnTo>
                        <a:pt x="6202" y="3102"/>
                      </a:lnTo>
                      <a:lnTo>
                        <a:pt x="6200" y="3182"/>
                      </a:lnTo>
                      <a:lnTo>
                        <a:pt x="6197" y="3262"/>
                      </a:lnTo>
                      <a:lnTo>
                        <a:pt x="6192" y="3340"/>
                      </a:lnTo>
                      <a:lnTo>
                        <a:pt x="6185" y="3419"/>
                      </a:lnTo>
                      <a:lnTo>
                        <a:pt x="6176" y="3497"/>
                      </a:lnTo>
                      <a:lnTo>
                        <a:pt x="6166" y="3574"/>
                      </a:lnTo>
                      <a:lnTo>
                        <a:pt x="6153" y="3651"/>
                      </a:lnTo>
                      <a:lnTo>
                        <a:pt x="6138" y="3727"/>
                      </a:lnTo>
                      <a:lnTo>
                        <a:pt x="6122" y="3802"/>
                      </a:lnTo>
                      <a:lnTo>
                        <a:pt x="6104" y="3877"/>
                      </a:lnTo>
                      <a:lnTo>
                        <a:pt x="6084" y="3951"/>
                      </a:lnTo>
                      <a:lnTo>
                        <a:pt x="6062" y="4024"/>
                      </a:lnTo>
                      <a:lnTo>
                        <a:pt x="6038" y="4097"/>
                      </a:lnTo>
                      <a:lnTo>
                        <a:pt x="6014" y="4168"/>
                      </a:lnTo>
                      <a:lnTo>
                        <a:pt x="5986" y="4240"/>
                      </a:lnTo>
                      <a:lnTo>
                        <a:pt x="5958" y="4309"/>
                      </a:lnTo>
                      <a:lnTo>
                        <a:pt x="5928" y="4378"/>
                      </a:lnTo>
                      <a:lnTo>
                        <a:pt x="5895" y="4447"/>
                      </a:lnTo>
                      <a:lnTo>
                        <a:pt x="5862" y="4514"/>
                      </a:lnTo>
                      <a:lnTo>
                        <a:pt x="5827" y="4580"/>
                      </a:lnTo>
                      <a:lnTo>
                        <a:pt x="5791" y="4646"/>
                      </a:lnTo>
                      <a:lnTo>
                        <a:pt x="5753" y="4711"/>
                      </a:lnTo>
                      <a:lnTo>
                        <a:pt x="5713" y="4774"/>
                      </a:lnTo>
                      <a:lnTo>
                        <a:pt x="5672" y="4836"/>
                      </a:lnTo>
                      <a:lnTo>
                        <a:pt x="5629" y="4897"/>
                      </a:lnTo>
                      <a:lnTo>
                        <a:pt x="5586" y="4957"/>
                      </a:lnTo>
                      <a:lnTo>
                        <a:pt x="5541" y="5017"/>
                      </a:lnTo>
                      <a:lnTo>
                        <a:pt x="5494" y="5074"/>
                      </a:lnTo>
                      <a:lnTo>
                        <a:pt x="5445" y="5132"/>
                      </a:lnTo>
                      <a:lnTo>
                        <a:pt x="5396" y="5187"/>
                      </a:lnTo>
                      <a:lnTo>
                        <a:pt x="5345" y="5241"/>
                      </a:lnTo>
                      <a:lnTo>
                        <a:pt x="5293" y="5294"/>
                      </a:lnTo>
                      <a:lnTo>
                        <a:pt x="5240" y="5347"/>
                      </a:lnTo>
                      <a:lnTo>
                        <a:pt x="5186" y="5398"/>
                      </a:lnTo>
                      <a:lnTo>
                        <a:pt x="5130" y="5447"/>
                      </a:lnTo>
                      <a:lnTo>
                        <a:pt x="5073" y="5495"/>
                      </a:lnTo>
                      <a:lnTo>
                        <a:pt x="5015" y="5542"/>
                      </a:lnTo>
                      <a:lnTo>
                        <a:pt x="4956" y="5587"/>
                      </a:lnTo>
                      <a:lnTo>
                        <a:pt x="4896" y="5630"/>
                      </a:lnTo>
                      <a:lnTo>
                        <a:pt x="4834" y="5673"/>
                      </a:lnTo>
                      <a:lnTo>
                        <a:pt x="4772" y="5714"/>
                      </a:lnTo>
                      <a:lnTo>
                        <a:pt x="4708" y="5754"/>
                      </a:lnTo>
                      <a:lnTo>
                        <a:pt x="4644" y="5793"/>
                      </a:lnTo>
                      <a:lnTo>
                        <a:pt x="4578" y="5828"/>
                      </a:lnTo>
                      <a:lnTo>
                        <a:pt x="4513" y="5864"/>
                      </a:lnTo>
                      <a:lnTo>
                        <a:pt x="4445" y="5898"/>
                      </a:lnTo>
                      <a:lnTo>
                        <a:pt x="4377" y="5929"/>
                      </a:lnTo>
                      <a:lnTo>
                        <a:pt x="4308" y="5960"/>
                      </a:lnTo>
                      <a:lnTo>
                        <a:pt x="4238" y="5988"/>
                      </a:lnTo>
                      <a:lnTo>
                        <a:pt x="4167" y="6015"/>
                      </a:lnTo>
                      <a:lnTo>
                        <a:pt x="4095" y="6040"/>
                      </a:lnTo>
                      <a:lnTo>
                        <a:pt x="4023" y="6063"/>
                      </a:lnTo>
                      <a:lnTo>
                        <a:pt x="3950" y="6085"/>
                      </a:lnTo>
                      <a:lnTo>
                        <a:pt x="3876" y="6106"/>
                      </a:lnTo>
                      <a:lnTo>
                        <a:pt x="3801" y="6123"/>
                      </a:lnTo>
                      <a:lnTo>
                        <a:pt x="3725" y="6140"/>
                      </a:lnTo>
                      <a:lnTo>
                        <a:pt x="3649" y="6154"/>
                      </a:lnTo>
                      <a:lnTo>
                        <a:pt x="3573" y="6167"/>
                      </a:lnTo>
                      <a:lnTo>
                        <a:pt x="3496" y="6178"/>
                      </a:lnTo>
                      <a:lnTo>
                        <a:pt x="3418" y="6187"/>
                      </a:lnTo>
                      <a:lnTo>
                        <a:pt x="3340" y="6195"/>
                      </a:lnTo>
                      <a:lnTo>
                        <a:pt x="3260" y="6199"/>
                      </a:lnTo>
                      <a:lnTo>
                        <a:pt x="3181" y="6203"/>
                      </a:lnTo>
                      <a:lnTo>
                        <a:pt x="3101" y="6203"/>
                      </a:lnTo>
                      <a:lnTo>
                        <a:pt x="3101" y="6203"/>
                      </a:lnTo>
                      <a:lnTo>
                        <a:pt x="3021" y="6203"/>
                      </a:lnTo>
                      <a:lnTo>
                        <a:pt x="2941" y="6199"/>
                      </a:lnTo>
                      <a:lnTo>
                        <a:pt x="2862" y="6195"/>
                      </a:lnTo>
                      <a:lnTo>
                        <a:pt x="2783" y="6187"/>
                      </a:lnTo>
                      <a:lnTo>
                        <a:pt x="2706" y="6178"/>
                      </a:lnTo>
                      <a:lnTo>
                        <a:pt x="2628" y="6167"/>
                      </a:lnTo>
                      <a:lnTo>
                        <a:pt x="2552" y="6154"/>
                      </a:lnTo>
                      <a:lnTo>
                        <a:pt x="2476" y="6140"/>
                      </a:lnTo>
                      <a:lnTo>
                        <a:pt x="2400" y="6123"/>
                      </a:lnTo>
                      <a:lnTo>
                        <a:pt x="2325" y="6106"/>
                      </a:lnTo>
                      <a:lnTo>
                        <a:pt x="2252" y="6085"/>
                      </a:lnTo>
                      <a:lnTo>
                        <a:pt x="2179" y="6063"/>
                      </a:lnTo>
                      <a:lnTo>
                        <a:pt x="2107" y="6040"/>
                      </a:lnTo>
                      <a:lnTo>
                        <a:pt x="2034" y="6015"/>
                      </a:lnTo>
                      <a:lnTo>
                        <a:pt x="1964" y="5988"/>
                      </a:lnTo>
                      <a:lnTo>
                        <a:pt x="1894" y="5960"/>
                      </a:lnTo>
                      <a:lnTo>
                        <a:pt x="1824" y="5929"/>
                      </a:lnTo>
                      <a:lnTo>
                        <a:pt x="1757" y="5898"/>
                      </a:lnTo>
                      <a:lnTo>
                        <a:pt x="1689" y="5864"/>
                      </a:lnTo>
                      <a:lnTo>
                        <a:pt x="1623" y="5828"/>
                      </a:lnTo>
                      <a:lnTo>
                        <a:pt x="1557" y="5793"/>
                      </a:lnTo>
                      <a:lnTo>
                        <a:pt x="1493" y="5754"/>
                      </a:lnTo>
                      <a:lnTo>
                        <a:pt x="1430" y="5714"/>
                      </a:lnTo>
                      <a:lnTo>
                        <a:pt x="1367" y="5673"/>
                      </a:lnTo>
                      <a:lnTo>
                        <a:pt x="1305" y="5630"/>
                      </a:lnTo>
                      <a:lnTo>
                        <a:pt x="1245" y="5587"/>
                      </a:lnTo>
                      <a:lnTo>
                        <a:pt x="1187" y="5542"/>
                      </a:lnTo>
                      <a:lnTo>
                        <a:pt x="1128" y="5495"/>
                      </a:lnTo>
                      <a:lnTo>
                        <a:pt x="1072" y="5447"/>
                      </a:lnTo>
                      <a:lnTo>
                        <a:pt x="1016" y="5398"/>
                      </a:lnTo>
                      <a:lnTo>
                        <a:pt x="961" y="5347"/>
                      </a:lnTo>
                      <a:lnTo>
                        <a:pt x="908" y="5294"/>
                      </a:lnTo>
                      <a:lnTo>
                        <a:pt x="856" y="5241"/>
                      </a:lnTo>
                      <a:lnTo>
                        <a:pt x="806" y="5187"/>
                      </a:lnTo>
                      <a:lnTo>
                        <a:pt x="756" y="5132"/>
                      </a:lnTo>
                      <a:lnTo>
                        <a:pt x="708" y="5074"/>
                      </a:lnTo>
                      <a:lnTo>
                        <a:pt x="662" y="5017"/>
                      </a:lnTo>
                      <a:lnTo>
                        <a:pt x="616" y="4957"/>
                      </a:lnTo>
                      <a:lnTo>
                        <a:pt x="572" y="4897"/>
                      </a:lnTo>
                      <a:lnTo>
                        <a:pt x="529" y="4836"/>
                      </a:lnTo>
                      <a:lnTo>
                        <a:pt x="488" y="4774"/>
                      </a:lnTo>
                      <a:lnTo>
                        <a:pt x="449" y="4711"/>
                      </a:lnTo>
                      <a:lnTo>
                        <a:pt x="411" y="4646"/>
                      </a:lnTo>
                      <a:lnTo>
                        <a:pt x="374" y="4580"/>
                      </a:lnTo>
                      <a:lnTo>
                        <a:pt x="339" y="4514"/>
                      </a:lnTo>
                      <a:lnTo>
                        <a:pt x="306" y="4447"/>
                      </a:lnTo>
                      <a:lnTo>
                        <a:pt x="274" y="4378"/>
                      </a:lnTo>
                      <a:lnTo>
                        <a:pt x="244" y="4309"/>
                      </a:lnTo>
                      <a:lnTo>
                        <a:pt x="215" y="4240"/>
                      </a:lnTo>
                      <a:lnTo>
                        <a:pt x="189" y="4168"/>
                      </a:lnTo>
                      <a:lnTo>
                        <a:pt x="163" y="4097"/>
                      </a:lnTo>
                      <a:lnTo>
                        <a:pt x="139" y="4024"/>
                      </a:lnTo>
                      <a:lnTo>
                        <a:pt x="117" y="3951"/>
                      </a:lnTo>
                      <a:lnTo>
                        <a:pt x="98" y="3877"/>
                      </a:lnTo>
                      <a:lnTo>
                        <a:pt x="79" y="3802"/>
                      </a:lnTo>
                      <a:lnTo>
                        <a:pt x="63" y="3727"/>
                      </a:lnTo>
                      <a:lnTo>
                        <a:pt x="48" y="3651"/>
                      </a:lnTo>
                      <a:lnTo>
                        <a:pt x="35" y="3574"/>
                      </a:lnTo>
                      <a:lnTo>
                        <a:pt x="25" y="3497"/>
                      </a:lnTo>
                      <a:lnTo>
                        <a:pt x="16" y="3419"/>
                      </a:lnTo>
                      <a:lnTo>
                        <a:pt x="9" y="3340"/>
                      </a:lnTo>
                      <a:lnTo>
                        <a:pt x="4" y="3262"/>
                      </a:lnTo>
                      <a:lnTo>
                        <a:pt x="1" y="3182"/>
                      </a:lnTo>
                      <a:lnTo>
                        <a:pt x="0" y="3102"/>
                      </a:lnTo>
                      <a:lnTo>
                        <a:pt x="0" y="3102"/>
                      </a:lnTo>
                      <a:lnTo>
                        <a:pt x="1" y="3022"/>
                      </a:lnTo>
                      <a:lnTo>
                        <a:pt x="4" y="2942"/>
                      </a:lnTo>
                      <a:lnTo>
                        <a:pt x="9" y="2864"/>
                      </a:lnTo>
                      <a:lnTo>
                        <a:pt x="16" y="2785"/>
                      </a:lnTo>
                      <a:lnTo>
                        <a:pt x="25" y="2707"/>
                      </a:lnTo>
                      <a:lnTo>
                        <a:pt x="35" y="2630"/>
                      </a:lnTo>
                      <a:lnTo>
                        <a:pt x="48" y="2553"/>
                      </a:lnTo>
                      <a:lnTo>
                        <a:pt x="63" y="2477"/>
                      </a:lnTo>
                      <a:lnTo>
                        <a:pt x="79" y="2402"/>
                      </a:lnTo>
                      <a:lnTo>
                        <a:pt x="98" y="2327"/>
                      </a:lnTo>
                      <a:lnTo>
                        <a:pt x="117" y="2254"/>
                      </a:lnTo>
                      <a:lnTo>
                        <a:pt x="139" y="2180"/>
                      </a:lnTo>
                      <a:lnTo>
                        <a:pt x="163" y="2107"/>
                      </a:lnTo>
                      <a:lnTo>
                        <a:pt x="189" y="2036"/>
                      </a:lnTo>
                      <a:lnTo>
                        <a:pt x="215" y="1965"/>
                      </a:lnTo>
                      <a:lnTo>
                        <a:pt x="244" y="1896"/>
                      </a:lnTo>
                      <a:lnTo>
                        <a:pt x="274" y="1825"/>
                      </a:lnTo>
                      <a:lnTo>
                        <a:pt x="306" y="1757"/>
                      </a:lnTo>
                      <a:lnTo>
                        <a:pt x="339" y="1691"/>
                      </a:lnTo>
                      <a:lnTo>
                        <a:pt x="374" y="1624"/>
                      </a:lnTo>
                      <a:lnTo>
                        <a:pt x="411" y="1558"/>
                      </a:lnTo>
                      <a:lnTo>
                        <a:pt x="449" y="1494"/>
                      </a:lnTo>
                      <a:lnTo>
                        <a:pt x="488" y="1430"/>
                      </a:lnTo>
                      <a:lnTo>
                        <a:pt x="529" y="1368"/>
                      </a:lnTo>
                      <a:lnTo>
                        <a:pt x="572" y="1307"/>
                      </a:lnTo>
                      <a:lnTo>
                        <a:pt x="616" y="1246"/>
                      </a:lnTo>
                      <a:lnTo>
                        <a:pt x="662" y="1187"/>
                      </a:lnTo>
                      <a:lnTo>
                        <a:pt x="708" y="1130"/>
                      </a:lnTo>
                      <a:lnTo>
                        <a:pt x="756" y="1072"/>
                      </a:lnTo>
                      <a:lnTo>
                        <a:pt x="806" y="1017"/>
                      </a:lnTo>
                      <a:lnTo>
                        <a:pt x="856" y="963"/>
                      </a:lnTo>
                      <a:lnTo>
                        <a:pt x="908" y="909"/>
                      </a:lnTo>
                      <a:lnTo>
                        <a:pt x="961" y="857"/>
                      </a:lnTo>
                      <a:lnTo>
                        <a:pt x="1016" y="806"/>
                      </a:lnTo>
                      <a:lnTo>
                        <a:pt x="1072" y="757"/>
                      </a:lnTo>
                      <a:lnTo>
                        <a:pt x="1128" y="710"/>
                      </a:lnTo>
                      <a:lnTo>
                        <a:pt x="1187" y="662"/>
                      </a:lnTo>
                      <a:lnTo>
                        <a:pt x="1245" y="618"/>
                      </a:lnTo>
                      <a:lnTo>
                        <a:pt x="1305" y="573"/>
                      </a:lnTo>
                      <a:lnTo>
                        <a:pt x="1367" y="530"/>
                      </a:lnTo>
                      <a:lnTo>
                        <a:pt x="1430" y="490"/>
                      </a:lnTo>
                      <a:lnTo>
                        <a:pt x="1493" y="449"/>
                      </a:lnTo>
                      <a:lnTo>
                        <a:pt x="1557" y="411"/>
                      </a:lnTo>
                      <a:lnTo>
                        <a:pt x="1623" y="376"/>
                      </a:lnTo>
                      <a:lnTo>
                        <a:pt x="1689" y="340"/>
                      </a:lnTo>
                      <a:lnTo>
                        <a:pt x="1757" y="307"/>
                      </a:lnTo>
                      <a:lnTo>
                        <a:pt x="1824" y="274"/>
                      </a:lnTo>
                      <a:lnTo>
                        <a:pt x="1894" y="245"/>
                      </a:lnTo>
                      <a:lnTo>
                        <a:pt x="1964" y="216"/>
                      </a:lnTo>
                      <a:lnTo>
                        <a:pt x="2034" y="189"/>
                      </a:lnTo>
                      <a:lnTo>
                        <a:pt x="2107" y="164"/>
                      </a:lnTo>
                      <a:lnTo>
                        <a:pt x="2179" y="141"/>
                      </a:lnTo>
                      <a:lnTo>
                        <a:pt x="2252" y="119"/>
                      </a:lnTo>
                      <a:lnTo>
                        <a:pt x="2325" y="98"/>
                      </a:lnTo>
                      <a:lnTo>
                        <a:pt x="2400" y="80"/>
                      </a:lnTo>
                      <a:lnTo>
                        <a:pt x="2476" y="64"/>
                      </a:lnTo>
                      <a:lnTo>
                        <a:pt x="2552" y="50"/>
                      </a:lnTo>
                      <a:lnTo>
                        <a:pt x="2628" y="36"/>
                      </a:lnTo>
                      <a:lnTo>
                        <a:pt x="2706" y="26"/>
                      </a:lnTo>
                      <a:lnTo>
                        <a:pt x="2783" y="17"/>
                      </a:lnTo>
                      <a:lnTo>
                        <a:pt x="2862" y="10"/>
                      </a:lnTo>
                      <a:lnTo>
                        <a:pt x="2941" y="5"/>
                      </a:lnTo>
                      <a:lnTo>
                        <a:pt x="3021" y="2"/>
                      </a:lnTo>
                      <a:lnTo>
                        <a:pt x="3101" y="0"/>
                      </a:lnTo>
                      <a:lnTo>
                        <a:pt x="3101" y="0"/>
                      </a:lnTo>
                      <a:lnTo>
                        <a:pt x="3181" y="2"/>
                      </a:lnTo>
                      <a:lnTo>
                        <a:pt x="3260" y="5"/>
                      </a:lnTo>
                      <a:lnTo>
                        <a:pt x="3340" y="10"/>
                      </a:lnTo>
                      <a:lnTo>
                        <a:pt x="3418" y="17"/>
                      </a:lnTo>
                      <a:lnTo>
                        <a:pt x="3496" y="26"/>
                      </a:lnTo>
                      <a:lnTo>
                        <a:pt x="3573" y="36"/>
                      </a:lnTo>
                      <a:lnTo>
                        <a:pt x="3649" y="50"/>
                      </a:lnTo>
                      <a:lnTo>
                        <a:pt x="3725" y="64"/>
                      </a:lnTo>
                      <a:lnTo>
                        <a:pt x="3801" y="80"/>
                      </a:lnTo>
                      <a:lnTo>
                        <a:pt x="3876" y="98"/>
                      </a:lnTo>
                      <a:lnTo>
                        <a:pt x="3950" y="119"/>
                      </a:lnTo>
                      <a:lnTo>
                        <a:pt x="4023" y="141"/>
                      </a:lnTo>
                      <a:lnTo>
                        <a:pt x="4095" y="164"/>
                      </a:lnTo>
                      <a:lnTo>
                        <a:pt x="4167" y="189"/>
                      </a:lnTo>
                      <a:lnTo>
                        <a:pt x="4238" y="216"/>
                      </a:lnTo>
                      <a:lnTo>
                        <a:pt x="4308" y="245"/>
                      </a:lnTo>
                      <a:lnTo>
                        <a:pt x="4377" y="274"/>
                      </a:lnTo>
                      <a:lnTo>
                        <a:pt x="4445" y="307"/>
                      </a:lnTo>
                      <a:lnTo>
                        <a:pt x="4513" y="340"/>
                      </a:lnTo>
                      <a:lnTo>
                        <a:pt x="4578" y="376"/>
                      </a:lnTo>
                      <a:lnTo>
                        <a:pt x="4644" y="411"/>
                      </a:lnTo>
                      <a:lnTo>
                        <a:pt x="4708" y="449"/>
                      </a:lnTo>
                      <a:lnTo>
                        <a:pt x="4772" y="490"/>
                      </a:lnTo>
                      <a:lnTo>
                        <a:pt x="4834" y="530"/>
                      </a:lnTo>
                      <a:lnTo>
                        <a:pt x="4896" y="573"/>
                      </a:lnTo>
                      <a:lnTo>
                        <a:pt x="4956" y="618"/>
                      </a:lnTo>
                      <a:lnTo>
                        <a:pt x="5015" y="662"/>
                      </a:lnTo>
                      <a:lnTo>
                        <a:pt x="5073" y="710"/>
                      </a:lnTo>
                      <a:lnTo>
                        <a:pt x="5130" y="757"/>
                      </a:lnTo>
                      <a:lnTo>
                        <a:pt x="5186" y="806"/>
                      </a:lnTo>
                      <a:lnTo>
                        <a:pt x="5240" y="857"/>
                      </a:lnTo>
                      <a:lnTo>
                        <a:pt x="5293" y="909"/>
                      </a:lnTo>
                      <a:lnTo>
                        <a:pt x="5345" y="963"/>
                      </a:lnTo>
                      <a:lnTo>
                        <a:pt x="5396" y="1017"/>
                      </a:lnTo>
                      <a:lnTo>
                        <a:pt x="5445" y="1072"/>
                      </a:lnTo>
                      <a:lnTo>
                        <a:pt x="5494" y="1130"/>
                      </a:lnTo>
                      <a:lnTo>
                        <a:pt x="5541" y="1187"/>
                      </a:lnTo>
                      <a:lnTo>
                        <a:pt x="5586" y="1246"/>
                      </a:lnTo>
                      <a:lnTo>
                        <a:pt x="5629" y="1307"/>
                      </a:lnTo>
                      <a:lnTo>
                        <a:pt x="5672" y="1368"/>
                      </a:lnTo>
                      <a:lnTo>
                        <a:pt x="5713" y="1430"/>
                      </a:lnTo>
                      <a:lnTo>
                        <a:pt x="5753" y="1494"/>
                      </a:lnTo>
                      <a:lnTo>
                        <a:pt x="5791" y="1558"/>
                      </a:lnTo>
                      <a:lnTo>
                        <a:pt x="5827" y="1624"/>
                      </a:lnTo>
                      <a:lnTo>
                        <a:pt x="5862" y="1691"/>
                      </a:lnTo>
                      <a:lnTo>
                        <a:pt x="5895" y="1757"/>
                      </a:lnTo>
                      <a:lnTo>
                        <a:pt x="5928" y="1825"/>
                      </a:lnTo>
                      <a:lnTo>
                        <a:pt x="5958" y="1896"/>
                      </a:lnTo>
                      <a:lnTo>
                        <a:pt x="5986" y="1965"/>
                      </a:lnTo>
                      <a:lnTo>
                        <a:pt x="6014" y="2036"/>
                      </a:lnTo>
                      <a:lnTo>
                        <a:pt x="6038" y="2107"/>
                      </a:lnTo>
                      <a:lnTo>
                        <a:pt x="6062" y="2180"/>
                      </a:lnTo>
                      <a:lnTo>
                        <a:pt x="6084" y="2254"/>
                      </a:lnTo>
                      <a:lnTo>
                        <a:pt x="6104" y="2327"/>
                      </a:lnTo>
                      <a:lnTo>
                        <a:pt x="6122" y="2402"/>
                      </a:lnTo>
                      <a:lnTo>
                        <a:pt x="6138" y="2477"/>
                      </a:lnTo>
                      <a:lnTo>
                        <a:pt x="6153" y="2553"/>
                      </a:lnTo>
                      <a:lnTo>
                        <a:pt x="6166" y="2630"/>
                      </a:lnTo>
                      <a:lnTo>
                        <a:pt x="6176" y="2707"/>
                      </a:lnTo>
                      <a:lnTo>
                        <a:pt x="6185" y="2785"/>
                      </a:lnTo>
                      <a:lnTo>
                        <a:pt x="6192" y="2864"/>
                      </a:lnTo>
                      <a:lnTo>
                        <a:pt x="6197" y="2942"/>
                      </a:lnTo>
                      <a:lnTo>
                        <a:pt x="6200" y="3022"/>
                      </a:lnTo>
                      <a:lnTo>
                        <a:pt x="6202" y="3102"/>
                      </a:lnTo>
                      <a:lnTo>
                        <a:pt x="6202" y="3102"/>
                      </a:lnTo>
                      <a:close/>
                    </a:path>
                  </a:pathLst>
                </a:custGeom>
                <a:solidFill>
                  <a:srgbClr val="FFD41D">
                    <a:alpha val="40000"/>
                  </a:srgbClr>
                </a:solidFill>
                <a:ln>
                  <a:noFill/>
                </a:ln>
              </p:spPr>
              <p:txBody>
                <a:bodyPr vert="horz" wrap="square" lIns="91440" tIns="45720" rIns="91440" bIns="45720" numCol="1" anchor="t" anchorCtr="0" compatLnSpc="1">
                  <a:prstTxWarp prst="textNoShape">
                    <a:avLst/>
                  </a:prstTxWarp>
                </a:bodyPr>
                <a:lstStyle/>
                <a:p>
                  <a:endParaRPr lang="ko-KR" altLang="en-US" sz="2400"/>
                </a:p>
              </p:txBody>
            </p:sp>
            <p:sp>
              <p:nvSpPr>
                <p:cNvPr id="257" name="Freeform 219"/>
                <p:cNvSpPr>
                  <a:spLocks/>
                </p:cNvSpPr>
                <p:nvPr/>
              </p:nvSpPr>
              <p:spPr bwMode="auto">
                <a:xfrm>
                  <a:off x="4100511" y="157163"/>
                  <a:ext cx="739775" cy="1073149"/>
                </a:xfrm>
                <a:custGeom>
                  <a:avLst/>
                  <a:gdLst>
                    <a:gd name="T0" fmla="*/ 1378 w 3265"/>
                    <a:gd name="T1" fmla="*/ 1985 h 4734"/>
                    <a:gd name="T2" fmla="*/ 1398 w 3265"/>
                    <a:gd name="T3" fmla="*/ 1788 h 4734"/>
                    <a:gd name="T4" fmla="*/ 1435 w 3265"/>
                    <a:gd name="T5" fmla="*/ 1597 h 4734"/>
                    <a:gd name="T6" fmla="*/ 1490 w 3265"/>
                    <a:gd name="T7" fmla="*/ 1413 h 4734"/>
                    <a:gd name="T8" fmla="*/ 1560 w 3265"/>
                    <a:gd name="T9" fmla="*/ 1235 h 4734"/>
                    <a:gd name="T10" fmla="*/ 1647 w 3265"/>
                    <a:gd name="T11" fmla="*/ 1069 h 4734"/>
                    <a:gd name="T12" fmla="*/ 1748 w 3265"/>
                    <a:gd name="T13" fmla="*/ 910 h 4734"/>
                    <a:gd name="T14" fmla="*/ 1862 w 3265"/>
                    <a:gd name="T15" fmla="*/ 761 h 4734"/>
                    <a:gd name="T16" fmla="*/ 1990 w 3265"/>
                    <a:gd name="T17" fmla="*/ 625 h 4734"/>
                    <a:gd name="T18" fmla="*/ 2129 w 3265"/>
                    <a:gd name="T19" fmla="*/ 500 h 4734"/>
                    <a:gd name="T20" fmla="*/ 2280 w 3265"/>
                    <a:gd name="T21" fmla="*/ 388 h 4734"/>
                    <a:gd name="T22" fmla="*/ 2441 w 3265"/>
                    <a:gd name="T23" fmla="*/ 290 h 4734"/>
                    <a:gd name="T24" fmla="*/ 2610 w 3265"/>
                    <a:gd name="T25" fmla="*/ 207 h 4734"/>
                    <a:gd name="T26" fmla="*/ 2789 w 3265"/>
                    <a:gd name="T27" fmla="*/ 139 h 4734"/>
                    <a:gd name="T28" fmla="*/ 2974 w 3265"/>
                    <a:gd name="T29" fmla="*/ 89 h 4734"/>
                    <a:gd name="T30" fmla="*/ 3166 w 3265"/>
                    <a:gd name="T31" fmla="*/ 55 h 4734"/>
                    <a:gd name="T32" fmla="*/ 3206 w 3265"/>
                    <a:gd name="T33" fmla="*/ 36 h 4734"/>
                    <a:gd name="T34" fmla="*/ 2963 w 3265"/>
                    <a:gd name="T35" fmla="*/ 7 h 4734"/>
                    <a:gd name="T36" fmla="*/ 2777 w 3265"/>
                    <a:gd name="T37" fmla="*/ 0 h 4734"/>
                    <a:gd name="T38" fmla="*/ 2493 w 3265"/>
                    <a:gd name="T39" fmla="*/ 14 h 4734"/>
                    <a:gd name="T40" fmla="*/ 2218 w 3265"/>
                    <a:gd name="T41" fmla="*/ 57 h 4734"/>
                    <a:gd name="T42" fmla="*/ 1951 w 3265"/>
                    <a:gd name="T43" fmla="*/ 124 h 4734"/>
                    <a:gd name="T44" fmla="*/ 1696 w 3265"/>
                    <a:gd name="T45" fmla="*/ 218 h 4734"/>
                    <a:gd name="T46" fmla="*/ 1453 w 3265"/>
                    <a:gd name="T47" fmla="*/ 335 h 4734"/>
                    <a:gd name="T48" fmla="*/ 1224 w 3265"/>
                    <a:gd name="T49" fmla="*/ 474 h 4734"/>
                    <a:gd name="T50" fmla="*/ 1010 w 3265"/>
                    <a:gd name="T51" fmla="*/ 634 h 4734"/>
                    <a:gd name="T52" fmla="*/ 813 w 3265"/>
                    <a:gd name="T53" fmla="*/ 813 h 4734"/>
                    <a:gd name="T54" fmla="*/ 634 w 3265"/>
                    <a:gd name="T55" fmla="*/ 1011 h 4734"/>
                    <a:gd name="T56" fmla="*/ 475 w 3265"/>
                    <a:gd name="T57" fmla="*/ 1224 h 4734"/>
                    <a:gd name="T58" fmla="*/ 335 w 3265"/>
                    <a:gd name="T59" fmla="*/ 1453 h 4734"/>
                    <a:gd name="T60" fmla="*/ 218 w 3265"/>
                    <a:gd name="T61" fmla="*/ 1696 h 4734"/>
                    <a:gd name="T62" fmla="*/ 125 w 3265"/>
                    <a:gd name="T63" fmla="*/ 1952 h 4734"/>
                    <a:gd name="T64" fmla="*/ 57 w 3265"/>
                    <a:gd name="T65" fmla="*/ 2218 h 4734"/>
                    <a:gd name="T66" fmla="*/ 14 w 3265"/>
                    <a:gd name="T67" fmla="*/ 2493 h 4734"/>
                    <a:gd name="T68" fmla="*/ 0 w 3265"/>
                    <a:gd name="T69" fmla="*/ 2777 h 4734"/>
                    <a:gd name="T70" fmla="*/ 8 w 3265"/>
                    <a:gd name="T71" fmla="*/ 2990 h 4734"/>
                    <a:gd name="T72" fmla="*/ 43 w 3265"/>
                    <a:gd name="T73" fmla="*/ 3266 h 4734"/>
                    <a:gd name="T74" fmla="*/ 104 w 3265"/>
                    <a:gd name="T75" fmla="*/ 3535 h 4734"/>
                    <a:gd name="T76" fmla="*/ 191 w 3265"/>
                    <a:gd name="T77" fmla="*/ 3791 h 4734"/>
                    <a:gd name="T78" fmla="*/ 302 w 3265"/>
                    <a:gd name="T79" fmla="*/ 4037 h 4734"/>
                    <a:gd name="T80" fmla="*/ 434 w 3265"/>
                    <a:gd name="T81" fmla="*/ 4268 h 4734"/>
                    <a:gd name="T82" fmla="*/ 588 w 3265"/>
                    <a:gd name="T83" fmla="*/ 4486 h 4734"/>
                    <a:gd name="T84" fmla="*/ 761 w 3265"/>
                    <a:gd name="T85" fmla="*/ 4686 h 4734"/>
                    <a:gd name="T86" fmla="*/ 1958 w 3265"/>
                    <a:gd name="T87" fmla="*/ 3513 h 4734"/>
                    <a:gd name="T88" fmla="*/ 1826 w 3265"/>
                    <a:gd name="T89" fmla="*/ 3363 h 4734"/>
                    <a:gd name="T90" fmla="*/ 1709 w 3265"/>
                    <a:gd name="T91" fmla="*/ 3202 h 4734"/>
                    <a:gd name="T92" fmla="*/ 1608 w 3265"/>
                    <a:gd name="T93" fmla="*/ 3029 h 4734"/>
                    <a:gd name="T94" fmla="*/ 1524 w 3265"/>
                    <a:gd name="T95" fmla="*/ 2845 h 4734"/>
                    <a:gd name="T96" fmla="*/ 1457 w 3265"/>
                    <a:gd name="T97" fmla="*/ 2653 h 4734"/>
                    <a:gd name="T98" fmla="*/ 1410 w 3265"/>
                    <a:gd name="T99" fmla="*/ 2452 h 4734"/>
                    <a:gd name="T100" fmla="*/ 1383 w 3265"/>
                    <a:gd name="T101" fmla="*/ 2245 h 4734"/>
                    <a:gd name="T102" fmla="*/ 1376 w 3265"/>
                    <a:gd name="T103" fmla="*/ 2085 h 4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65" h="4734">
                      <a:moveTo>
                        <a:pt x="1376" y="2085"/>
                      </a:moveTo>
                      <a:lnTo>
                        <a:pt x="1376" y="2085"/>
                      </a:lnTo>
                      <a:lnTo>
                        <a:pt x="1377" y="2034"/>
                      </a:lnTo>
                      <a:lnTo>
                        <a:pt x="1378" y="1985"/>
                      </a:lnTo>
                      <a:lnTo>
                        <a:pt x="1382" y="1934"/>
                      </a:lnTo>
                      <a:lnTo>
                        <a:pt x="1387" y="1885"/>
                      </a:lnTo>
                      <a:lnTo>
                        <a:pt x="1391" y="1836"/>
                      </a:lnTo>
                      <a:lnTo>
                        <a:pt x="1398" y="1788"/>
                      </a:lnTo>
                      <a:lnTo>
                        <a:pt x="1406" y="1740"/>
                      </a:lnTo>
                      <a:lnTo>
                        <a:pt x="1414" y="1691"/>
                      </a:lnTo>
                      <a:lnTo>
                        <a:pt x="1425" y="1644"/>
                      </a:lnTo>
                      <a:lnTo>
                        <a:pt x="1435" y="1597"/>
                      </a:lnTo>
                      <a:lnTo>
                        <a:pt x="1448" y="1550"/>
                      </a:lnTo>
                      <a:lnTo>
                        <a:pt x="1460" y="1504"/>
                      </a:lnTo>
                      <a:lnTo>
                        <a:pt x="1474" y="1458"/>
                      </a:lnTo>
                      <a:lnTo>
                        <a:pt x="1490" y="1413"/>
                      </a:lnTo>
                      <a:lnTo>
                        <a:pt x="1506" y="1368"/>
                      </a:lnTo>
                      <a:lnTo>
                        <a:pt x="1524" y="1323"/>
                      </a:lnTo>
                      <a:lnTo>
                        <a:pt x="1541" y="1279"/>
                      </a:lnTo>
                      <a:lnTo>
                        <a:pt x="1560" y="1235"/>
                      </a:lnTo>
                      <a:lnTo>
                        <a:pt x="1581" y="1193"/>
                      </a:lnTo>
                      <a:lnTo>
                        <a:pt x="1602" y="1151"/>
                      </a:lnTo>
                      <a:lnTo>
                        <a:pt x="1624" y="1109"/>
                      </a:lnTo>
                      <a:lnTo>
                        <a:pt x="1647" y="1069"/>
                      </a:lnTo>
                      <a:lnTo>
                        <a:pt x="1671" y="1027"/>
                      </a:lnTo>
                      <a:lnTo>
                        <a:pt x="1695" y="988"/>
                      </a:lnTo>
                      <a:lnTo>
                        <a:pt x="1722" y="949"/>
                      </a:lnTo>
                      <a:lnTo>
                        <a:pt x="1748" y="910"/>
                      </a:lnTo>
                      <a:lnTo>
                        <a:pt x="1776" y="872"/>
                      </a:lnTo>
                      <a:lnTo>
                        <a:pt x="1803" y="835"/>
                      </a:lnTo>
                      <a:lnTo>
                        <a:pt x="1833" y="798"/>
                      </a:lnTo>
                      <a:lnTo>
                        <a:pt x="1862" y="761"/>
                      </a:lnTo>
                      <a:lnTo>
                        <a:pt x="1893" y="727"/>
                      </a:lnTo>
                      <a:lnTo>
                        <a:pt x="1925" y="692"/>
                      </a:lnTo>
                      <a:lnTo>
                        <a:pt x="1958" y="658"/>
                      </a:lnTo>
                      <a:lnTo>
                        <a:pt x="1990" y="625"/>
                      </a:lnTo>
                      <a:lnTo>
                        <a:pt x="2024" y="592"/>
                      </a:lnTo>
                      <a:lnTo>
                        <a:pt x="2059" y="561"/>
                      </a:lnTo>
                      <a:lnTo>
                        <a:pt x="2093" y="530"/>
                      </a:lnTo>
                      <a:lnTo>
                        <a:pt x="2129" y="500"/>
                      </a:lnTo>
                      <a:lnTo>
                        <a:pt x="2166" y="471"/>
                      </a:lnTo>
                      <a:lnTo>
                        <a:pt x="2204" y="442"/>
                      </a:lnTo>
                      <a:lnTo>
                        <a:pt x="2242" y="415"/>
                      </a:lnTo>
                      <a:lnTo>
                        <a:pt x="2280" y="388"/>
                      </a:lnTo>
                      <a:lnTo>
                        <a:pt x="2319" y="363"/>
                      </a:lnTo>
                      <a:lnTo>
                        <a:pt x="2359" y="337"/>
                      </a:lnTo>
                      <a:lnTo>
                        <a:pt x="2400" y="313"/>
                      </a:lnTo>
                      <a:lnTo>
                        <a:pt x="2441" y="290"/>
                      </a:lnTo>
                      <a:lnTo>
                        <a:pt x="2483" y="268"/>
                      </a:lnTo>
                      <a:lnTo>
                        <a:pt x="2524" y="246"/>
                      </a:lnTo>
                      <a:lnTo>
                        <a:pt x="2568" y="227"/>
                      </a:lnTo>
                      <a:lnTo>
                        <a:pt x="2610" y="207"/>
                      </a:lnTo>
                      <a:lnTo>
                        <a:pt x="2654" y="189"/>
                      </a:lnTo>
                      <a:lnTo>
                        <a:pt x="2699" y="172"/>
                      </a:lnTo>
                      <a:lnTo>
                        <a:pt x="2744" y="156"/>
                      </a:lnTo>
                      <a:lnTo>
                        <a:pt x="2789" y="139"/>
                      </a:lnTo>
                      <a:lnTo>
                        <a:pt x="2835" y="126"/>
                      </a:lnTo>
                      <a:lnTo>
                        <a:pt x="2881" y="112"/>
                      </a:lnTo>
                      <a:lnTo>
                        <a:pt x="2927" y="100"/>
                      </a:lnTo>
                      <a:lnTo>
                        <a:pt x="2974" y="89"/>
                      </a:lnTo>
                      <a:lnTo>
                        <a:pt x="3022" y="78"/>
                      </a:lnTo>
                      <a:lnTo>
                        <a:pt x="3070" y="70"/>
                      </a:lnTo>
                      <a:lnTo>
                        <a:pt x="3118" y="62"/>
                      </a:lnTo>
                      <a:lnTo>
                        <a:pt x="3166" y="55"/>
                      </a:lnTo>
                      <a:lnTo>
                        <a:pt x="3216" y="50"/>
                      </a:lnTo>
                      <a:lnTo>
                        <a:pt x="3265" y="45"/>
                      </a:lnTo>
                      <a:lnTo>
                        <a:pt x="3265" y="45"/>
                      </a:lnTo>
                      <a:lnTo>
                        <a:pt x="3206" y="36"/>
                      </a:lnTo>
                      <a:lnTo>
                        <a:pt x="3146" y="27"/>
                      </a:lnTo>
                      <a:lnTo>
                        <a:pt x="3085" y="19"/>
                      </a:lnTo>
                      <a:lnTo>
                        <a:pt x="3024" y="13"/>
                      </a:lnTo>
                      <a:lnTo>
                        <a:pt x="2963" y="7"/>
                      </a:lnTo>
                      <a:lnTo>
                        <a:pt x="2902" y="4"/>
                      </a:lnTo>
                      <a:lnTo>
                        <a:pt x="2839" y="1"/>
                      </a:lnTo>
                      <a:lnTo>
                        <a:pt x="2777" y="0"/>
                      </a:lnTo>
                      <a:lnTo>
                        <a:pt x="2777" y="0"/>
                      </a:lnTo>
                      <a:lnTo>
                        <a:pt x="2705" y="1"/>
                      </a:lnTo>
                      <a:lnTo>
                        <a:pt x="2634" y="4"/>
                      </a:lnTo>
                      <a:lnTo>
                        <a:pt x="2563" y="8"/>
                      </a:lnTo>
                      <a:lnTo>
                        <a:pt x="2493" y="14"/>
                      </a:lnTo>
                      <a:lnTo>
                        <a:pt x="2423" y="22"/>
                      </a:lnTo>
                      <a:lnTo>
                        <a:pt x="2354" y="32"/>
                      </a:lnTo>
                      <a:lnTo>
                        <a:pt x="2286" y="44"/>
                      </a:lnTo>
                      <a:lnTo>
                        <a:pt x="2218" y="57"/>
                      </a:lnTo>
                      <a:lnTo>
                        <a:pt x="2150" y="71"/>
                      </a:lnTo>
                      <a:lnTo>
                        <a:pt x="2083" y="88"/>
                      </a:lnTo>
                      <a:lnTo>
                        <a:pt x="2016" y="105"/>
                      </a:lnTo>
                      <a:lnTo>
                        <a:pt x="1951" y="124"/>
                      </a:lnTo>
                      <a:lnTo>
                        <a:pt x="1886" y="146"/>
                      </a:lnTo>
                      <a:lnTo>
                        <a:pt x="1822" y="168"/>
                      </a:lnTo>
                      <a:lnTo>
                        <a:pt x="1758" y="192"/>
                      </a:lnTo>
                      <a:lnTo>
                        <a:pt x="1696" y="218"/>
                      </a:lnTo>
                      <a:lnTo>
                        <a:pt x="1634" y="245"/>
                      </a:lnTo>
                      <a:lnTo>
                        <a:pt x="1573" y="274"/>
                      </a:lnTo>
                      <a:lnTo>
                        <a:pt x="1513" y="304"/>
                      </a:lnTo>
                      <a:lnTo>
                        <a:pt x="1453" y="335"/>
                      </a:lnTo>
                      <a:lnTo>
                        <a:pt x="1395" y="367"/>
                      </a:lnTo>
                      <a:lnTo>
                        <a:pt x="1337" y="402"/>
                      </a:lnTo>
                      <a:lnTo>
                        <a:pt x="1281" y="438"/>
                      </a:lnTo>
                      <a:lnTo>
                        <a:pt x="1224" y="474"/>
                      </a:lnTo>
                      <a:lnTo>
                        <a:pt x="1169" y="512"/>
                      </a:lnTo>
                      <a:lnTo>
                        <a:pt x="1115" y="552"/>
                      </a:lnTo>
                      <a:lnTo>
                        <a:pt x="1062" y="592"/>
                      </a:lnTo>
                      <a:lnTo>
                        <a:pt x="1010" y="634"/>
                      </a:lnTo>
                      <a:lnTo>
                        <a:pt x="959" y="677"/>
                      </a:lnTo>
                      <a:lnTo>
                        <a:pt x="910" y="722"/>
                      </a:lnTo>
                      <a:lnTo>
                        <a:pt x="860" y="767"/>
                      </a:lnTo>
                      <a:lnTo>
                        <a:pt x="813" y="813"/>
                      </a:lnTo>
                      <a:lnTo>
                        <a:pt x="767" y="861"/>
                      </a:lnTo>
                      <a:lnTo>
                        <a:pt x="721" y="910"/>
                      </a:lnTo>
                      <a:lnTo>
                        <a:pt x="677" y="959"/>
                      </a:lnTo>
                      <a:lnTo>
                        <a:pt x="634" y="1011"/>
                      </a:lnTo>
                      <a:lnTo>
                        <a:pt x="592" y="1063"/>
                      </a:lnTo>
                      <a:lnTo>
                        <a:pt x="552" y="1116"/>
                      </a:lnTo>
                      <a:lnTo>
                        <a:pt x="513" y="1170"/>
                      </a:lnTo>
                      <a:lnTo>
                        <a:pt x="475" y="1224"/>
                      </a:lnTo>
                      <a:lnTo>
                        <a:pt x="438" y="1280"/>
                      </a:lnTo>
                      <a:lnTo>
                        <a:pt x="402" y="1337"/>
                      </a:lnTo>
                      <a:lnTo>
                        <a:pt x="368" y="1394"/>
                      </a:lnTo>
                      <a:lnTo>
                        <a:pt x="335" y="1453"/>
                      </a:lnTo>
                      <a:lnTo>
                        <a:pt x="303" y="1513"/>
                      </a:lnTo>
                      <a:lnTo>
                        <a:pt x="273" y="1573"/>
                      </a:lnTo>
                      <a:lnTo>
                        <a:pt x="246" y="1634"/>
                      </a:lnTo>
                      <a:lnTo>
                        <a:pt x="218" y="1696"/>
                      </a:lnTo>
                      <a:lnTo>
                        <a:pt x="193" y="1759"/>
                      </a:lnTo>
                      <a:lnTo>
                        <a:pt x="168" y="1823"/>
                      </a:lnTo>
                      <a:lnTo>
                        <a:pt x="145" y="1886"/>
                      </a:lnTo>
                      <a:lnTo>
                        <a:pt x="125" y="1952"/>
                      </a:lnTo>
                      <a:lnTo>
                        <a:pt x="105" y="2017"/>
                      </a:lnTo>
                      <a:lnTo>
                        <a:pt x="87" y="2083"/>
                      </a:lnTo>
                      <a:lnTo>
                        <a:pt x="71" y="2150"/>
                      </a:lnTo>
                      <a:lnTo>
                        <a:pt x="57" y="2218"/>
                      </a:lnTo>
                      <a:lnTo>
                        <a:pt x="43" y="2285"/>
                      </a:lnTo>
                      <a:lnTo>
                        <a:pt x="31" y="2355"/>
                      </a:lnTo>
                      <a:lnTo>
                        <a:pt x="22" y="2424"/>
                      </a:lnTo>
                      <a:lnTo>
                        <a:pt x="14" y="2493"/>
                      </a:lnTo>
                      <a:lnTo>
                        <a:pt x="8" y="2563"/>
                      </a:lnTo>
                      <a:lnTo>
                        <a:pt x="4" y="2634"/>
                      </a:lnTo>
                      <a:lnTo>
                        <a:pt x="0" y="2706"/>
                      </a:lnTo>
                      <a:lnTo>
                        <a:pt x="0" y="2777"/>
                      </a:lnTo>
                      <a:lnTo>
                        <a:pt x="0" y="2777"/>
                      </a:lnTo>
                      <a:lnTo>
                        <a:pt x="0" y="2848"/>
                      </a:lnTo>
                      <a:lnTo>
                        <a:pt x="4" y="2920"/>
                      </a:lnTo>
                      <a:lnTo>
                        <a:pt x="8" y="2990"/>
                      </a:lnTo>
                      <a:lnTo>
                        <a:pt x="14" y="3060"/>
                      </a:lnTo>
                      <a:lnTo>
                        <a:pt x="22" y="3129"/>
                      </a:lnTo>
                      <a:lnTo>
                        <a:pt x="31" y="3198"/>
                      </a:lnTo>
                      <a:lnTo>
                        <a:pt x="43" y="3266"/>
                      </a:lnTo>
                      <a:lnTo>
                        <a:pt x="56" y="3334"/>
                      </a:lnTo>
                      <a:lnTo>
                        <a:pt x="71" y="3401"/>
                      </a:lnTo>
                      <a:lnTo>
                        <a:pt x="87" y="3468"/>
                      </a:lnTo>
                      <a:lnTo>
                        <a:pt x="104" y="3535"/>
                      </a:lnTo>
                      <a:lnTo>
                        <a:pt x="124" y="3599"/>
                      </a:lnTo>
                      <a:lnTo>
                        <a:pt x="144" y="3664"/>
                      </a:lnTo>
                      <a:lnTo>
                        <a:pt x="167" y="3728"/>
                      </a:lnTo>
                      <a:lnTo>
                        <a:pt x="191" y="3791"/>
                      </a:lnTo>
                      <a:lnTo>
                        <a:pt x="217" y="3854"/>
                      </a:lnTo>
                      <a:lnTo>
                        <a:pt x="243" y="3916"/>
                      </a:lnTo>
                      <a:lnTo>
                        <a:pt x="272" y="3976"/>
                      </a:lnTo>
                      <a:lnTo>
                        <a:pt x="302" y="4037"/>
                      </a:lnTo>
                      <a:lnTo>
                        <a:pt x="333" y="4095"/>
                      </a:lnTo>
                      <a:lnTo>
                        <a:pt x="365" y="4154"/>
                      </a:lnTo>
                      <a:lnTo>
                        <a:pt x="399" y="4212"/>
                      </a:lnTo>
                      <a:lnTo>
                        <a:pt x="434" y="4268"/>
                      </a:lnTo>
                      <a:lnTo>
                        <a:pt x="470" y="4323"/>
                      </a:lnTo>
                      <a:lnTo>
                        <a:pt x="508" y="4379"/>
                      </a:lnTo>
                      <a:lnTo>
                        <a:pt x="547" y="4433"/>
                      </a:lnTo>
                      <a:lnTo>
                        <a:pt x="588" y="4486"/>
                      </a:lnTo>
                      <a:lnTo>
                        <a:pt x="629" y="4537"/>
                      </a:lnTo>
                      <a:lnTo>
                        <a:pt x="672" y="4588"/>
                      </a:lnTo>
                      <a:lnTo>
                        <a:pt x="716" y="4638"/>
                      </a:lnTo>
                      <a:lnTo>
                        <a:pt x="761" y="4686"/>
                      </a:lnTo>
                      <a:lnTo>
                        <a:pt x="807" y="4734"/>
                      </a:lnTo>
                      <a:lnTo>
                        <a:pt x="1993" y="3548"/>
                      </a:lnTo>
                      <a:lnTo>
                        <a:pt x="1993" y="3548"/>
                      </a:lnTo>
                      <a:lnTo>
                        <a:pt x="1958" y="3513"/>
                      </a:lnTo>
                      <a:lnTo>
                        <a:pt x="1924" y="3477"/>
                      </a:lnTo>
                      <a:lnTo>
                        <a:pt x="1891" y="3440"/>
                      </a:lnTo>
                      <a:lnTo>
                        <a:pt x="1857" y="3402"/>
                      </a:lnTo>
                      <a:lnTo>
                        <a:pt x="1826" y="3363"/>
                      </a:lnTo>
                      <a:lnTo>
                        <a:pt x="1795" y="3324"/>
                      </a:lnTo>
                      <a:lnTo>
                        <a:pt x="1765" y="3284"/>
                      </a:lnTo>
                      <a:lnTo>
                        <a:pt x="1736" y="3243"/>
                      </a:lnTo>
                      <a:lnTo>
                        <a:pt x="1709" y="3202"/>
                      </a:lnTo>
                      <a:lnTo>
                        <a:pt x="1681" y="3159"/>
                      </a:lnTo>
                      <a:lnTo>
                        <a:pt x="1656" y="3117"/>
                      </a:lnTo>
                      <a:lnTo>
                        <a:pt x="1631" y="3073"/>
                      </a:lnTo>
                      <a:lnTo>
                        <a:pt x="1608" y="3029"/>
                      </a:lnTo>
                      <a:lnTo>
                        <a:pt x="1585" y="2984"/>
                      </a:lnTo>
                      <a:lnTo>
                        <a:pt x="1563" y="2938"/>
                      </a:lnTo>
                      <a:lnTo>
                        <a:pt x="1542" y="2892"/>
                      </a:lnTo>
                      <a:lnTo>
                        <a:pt x="1524" y="2845"/>
                      </a:lnTo>
                      <a:lnTo>
                        <a:pt x="1505" y="2798"/>
                      </a:lnTo>
                      <a:lnTo>
                        <a:pt x="1488" y="2751"/>
                      </a:lnTo>
                      <a:lnTo>
                        <a:pt x="1472" y="2702"/>
                      </a:lnTo>
                      <a:lnTo>
                        <a:pt x="1457" y="2653"/>
                      </a:lnTo>
                      <a:lnTo>
                        <a:pt x="1443" y="2603"/>
                      </a:lnTo>
                      <a:lnTo>
                        <a:pt x="1430" y="2554"/>
                      </a:lnTo>
                      <a:lnTo>
                        <a:pt x="1420" y="2503"/>
                      </a:lnTo>
                      <a:lnTo>
                        <a:pt x="1410" y="2452"/>
                      </a:lnTo>
                      <a:lnTo>
                        <a:pt x="1401" y="2401"/>
                      </a:lnTo>
                      <a:lnTo>
                        <a:pt x="1393" y="2349"/>
                      </a:lnTo>
                      <a:lnTo>
                        <a:pt x="1388" y="2297"/>
                      </a:lnTo>
                      <a:lnTo>
                        <a:pt x="1383" y="2245"/>
                      </a:lnTo>
                      <a:lnTo>
                        <a:pt x="1380" y="2192"/>
                      </a:lnTo>
                      <a:lnTo>
                        <a:pt x="1377" y="2138"/>
                      </a:lnTo>
                      <a:lnTo>
                        <a:pt x="1376" y="2085"/>
                      </a:lnTo>
                      <a:lnTo>
                        <a:pt x="1376" y="2085"/>
                      </a:lnTo>
                      <a:close/>
                    </a:path>
                  </a:pathLst>
                </a:custGeom>
                <a:solidFill>
                  <a:srgbClr val="F99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58" name="Freeform 220"/>
                <p:cNvSpPr>
                  <a:spLocks/>
                </p:cNvSpPr>
                <p:nvPr/>
              </p:nvSpPr>
              <p:spPr bwMode="auto">
                <a:xfrm>
                  <a:off x="4413248" y="166688"/>
                  <a:ext cx="760413" cy="795337"/>
                </a:xfrm>
                <a:custGeom>
                  <a:avLst/>
                  <a:gdLst>
                    <a:gd name="T0" fmla="*/ 1 w 3355"/>
                    <a:gd name="T1" fmla="*/ 2093 h 3503"/>
                    <a:gd name="T2" fmla="*/ 12 w 3355"/>
                    <a:gd name="T3" fmla="*/ 2252 h 3503"/>
                    <a:gd name="T4" fmla="*/ 34 w 3355"/>
                    <a:gd name="T5" fmla="*/ 2407 h 3503"/>
                    <a:gd name="T6" fmla="*/ 67 w 3355"/>
                    <a:gd name="T7" fmla="*/ 2558 h 3503"/>
                    <a:gd name="T8" fmla="*/ 112 w 3355"/>
                    <a:gd name="T9" fmla="*/ 2706 h 3503"/>
                    <a:gd name="T10" fmla="*/ 166 w 3355"/>
                    <a:gd name="T11" fmla="*/ 2847 h 3503"/>
                    <a:gd name="T12" fmla="*/ 232 w 3355"/>
                    <a:gd name="T13" fmla="*/ 2984 h 3503"/>
                    <a:gd name="T14" fmla="*/ 305 w 3355"/>
                    <a:gd name="T15" fmla="*/ 3114 h 3503"/>
                    <a:gd name="T16" fmla="*/ 389 w 3355"/>
                    <a:gd name="T17" fmla="*/ 3239 h 3503"/>
                    <a:gd name="T18" fmla="*/ 481 w 3355"/>
                    <a:gd name="T19" fmla="*/ 3357 h 3503"/>
                    <a:gd name="T20" fmla="*/ 582 w 3355"/>
                    <a:gd name="T21" fmla="*/ 3468 h 3503"/>
                    <a:gd name="T22" fmla="*/ 3355 w 3355"/>
                    <a:gd name="T23" fmla="*/ 766 h 3503"/>
                    <a:gd name="T24" fmla="*/ 3300 w 3355"/>
                    <a:gd name="T25" fmla="*/ 710 h 3503"/>
                    <a:gd name="T26" fmla="*/ 3243 w 3355"/>
                    <a:gd name="T27" fmla="*/ 659 h 3503"/>
                    <a:gd name="T28" fmla="*/ 3079 w 3355"/>
                    <a:gd name="T29" fmla="*/ 523 h 3503"/>
                    <a:gd name="T30" fmla="*/ 2902 w 3355"/>
                    <a:gd name="T31" fmla="*/ 400 h 3503"/>
                    <a:gd name="T32" fmla="*/ 2815 w 3355"/>
                    <a:gd name="T33" fmla="*/ 345 h 3503"/>
                    <a:gd name="T34" fmla="*/ 2736 w 3355"/>
                    <a:gd name="T35" fmla="*/ 299 h 3503"/>
                    <a:gd name="T36" fmla="*/ 2654 w 3355"/>
                    <a:gd name="T37" fmla="*/ 257 h 3503"/>
                    <a:gd name="T38" fmla="*/ 2585 w 3355"/>
                    <a:gd name="T39" fmla="*/ 222 h 3503"/>
                    <a:gd name="T40" fmla="*/ 2386 w 3355"/>
                    <a:gd name="T41" fmla="*/ 138 h 3503"/>
                    <a:gd name="T42" fmla="*/ 2180 w 3355"/>
                    <a:gd name="T43" fmla="*/ 69 h 3503"/>
                    <a:gd name="T44" fmla="*/ 2071 w 3355"/>
                    <a:gd name="T45" fmla="*/ 40 h 3503"/>
                    <a:gd name="T46" fmla="*/ 1980 w 3355"/>
                    <a:gd name="T47" fmla="*/ 18 h 3503"/>
                    <a:gd name="T48" fmla="*/ 1889 w 3355"/>
                    <a:gd name="T49" fmla="*/ 0 h 3503"/>
                    <a:gd name="T50" fmla="*/ 1742 w 3355"/>
                    <a:gd name="T51" fmla="*/ 17 h 3503"/>
                    <a:gd name="T52" fmla="*/ 1598 w 3355"/>
                    <a:gd name="T53" fmla="*/ 44 h 3503"/>
                    <a:gd name="T54" fmla="*/ 1459 w 3355"/>
                    <a:gd name="T55" fmla="*/ 81 h 3503"/>
                    <a:gd name="T56" fmla="*/ 1323 w 3355"/>
                    <a:gd name="T57" fmla="*/ 127 h 3503"/>
                    <a:gd name="T58" fmla="*/ 1192 w 3355"/>
                    <a:gd name="T59" fmla="*/ 182 h 3503"/>
                    <a:gd name="T60" fmla="*/ 1065 w 3355"/>
                    <a:gd name="T61" fmla="*/ 245 h 3503"/>
                    <a:gd name="T62" fmla="*/ 943 w 3355"/>
                    <a:gd name="T63" fmla="*/ 318 h 3503"/>
                    <a:gd name="T64" fmla="*/ 828 w 3355"/>
                    <a:gd name="T65" fmla="*/ 397 h 3503"/>
                    <a:gd name="T66" fmla="*/ 717 w 3355"/>
                    <a:gd name="T67" fmla="*/ 485 h 3503"/>
                    <a:gd name="T68" fmla="*/ 614 w 3355"/>
                    <a:gd name="T69" fmla="*/ 580 h 3503"/>
                    <a:gd name="T70" fmla="*/ 517 w 3355"/>
                    <a:gd name="T71" fmla="*/ 682 h 3503"/>
                    <a:gd name="T72" fmla="*/ 427 w 3355"/>
                    <a:gd name="T73" fmla="*/ 790 h 3503"/>
                    <a:gd name="T74" fmla="*/ 346 w 3355"/>
                    <a:gd name="T75" fmla="*/ 904 h 3503"/>
                    <a:gd name="T76" fmla="*/ 271 w 3355"/>
                    <a:gd name="T77" fmla="*/ 1024 h 3503"/>
                    <a:gd name="T78" fmla="*/ 205 w 3355"/>
                    <a:gd name="T79" fmla="*/ 1148 h 3503"/>
                    <a:gd name="T80" fmla="*/ 148 w 3355"/>
                    <a:gd name="T81" fmla="*/ 1278 h 3503"/>
                    <a:gd name="T82" fmla="*/ 98 w 3355"/>
                    <a:gd name="T83" fmla="*/ 1413 h 3503"/>
                    <a:gd name="T84" fmla="*/ 59 w 3355"/>
                    <a:gd name="T85" fmla="*/ 1552 h 3503"/>
                    <a:gd name="T86" fmla="*/ 30 w 3355"/>
                    <a:gd name="T87" fmla="*/ 1695 h 3503"/>
                    <a:gd name="T88" fmla="*/ 11 w 3355"/>
                    <a:gd name="T89" fmla="*/ 1840 h 3503"/>
                    <a:gd name="T90" fmla="*/ 1 w 3355"/>
                    <a:gd name="T91" fmla="*/ 1989 h 3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355" h="3503">
                      <a:moveTo>
                        <a:pt x="0" y="2040"/>
                      </a:moveTo>
                      <a:lnTo>
                        <a:pt x="0" y="2040"/>
                      </a:lnTo>
                      <a:lnTo>
                        <a:pt x="1" y="2093"/>
                      </a:lnTo>
                      <a:lnTo>
                        <a:pt x="4" y="2147"/>
                      </a:lnTo>
                      <a:lnTo>
                        <a:pt x="7" y="2200"/>
                      </a:lnTo>
                      <a:lnTo>
                        <a:pt x="12" y="2252"/>
                      </a:lnTo>
                      <a:lnTo>
                        <a:pt x="17" y="2304"/>
                      </a:lnTo>
                      <a:lnTo>
                        <a:pt x="25" y="2356"/>
                      </a:lnTo>
                      <a:lnTo>
                        <a:pt x="34" y="2407"/>
                      </a:lnTo>
                      <a:lnTo>
                        <a:pt x="44" y="2458"/>
                      </a:lnTo>
                      <a:lnTo>
                        <a:pt x="54" y="2509"/>
                      </a:lnTo>
                      <a:lnTo>
                        <a:pt x="67" y="2558"/>
                      </a:lnTo>
                      <a:lnTo>
                        <a:pt x="81" y="2608"/>
                      </a:lnTo>
                      <a:lnTo>
                        <a:pt x="96" y="2657"/>
                      </a:lnTo>
                      <a:lnTo>
                        <a:pt x="112" y="2706"/>
                      </a:lnTo>
                      <a:lnTo>
                        <a:pt x="129" y="2753"/>
                      </a:lnTo>
                      <a:lnTo>
                        <a:pt x="148" y="2800"/>
                      </a:lnTo>
                      <a:lnTo>
                        <a:pt x="166" y="2847"/>
                      </a:lnTo>
                      <a:lnTo>
                        <a:pt x="187" y="2893"/>
                      </a:lnTo>
                      <a:lnTo>
                        <a:pt x="209" y="2939"/>
                      </a:lnTo>
                      <a:lnTo>
                        <a:pt x="232" y="2984"/>
                      </a:lnTo>
                      <a:lnTo>
                        <a:pt x="255" y="3028"/>
                      </a:lnTo>
                      <a:lnTo>
                        <a:pt x="280" y="3072"/>
                      </a:lnTo>
                      <a:lnTo>
                        <a:pt x="305" y="3114"/>
                      </a:lnTo>
                      <a:lnTo>
                        <a:pt x="333" y="3157"/>
                      </a:lnTo>
                      <a:lnTo>
                        <a:pt x="360" y="3198"/>
                      </a:lnTo>
                      <a:lnTo>
                        <a:pt x="389" y="3239"/>
                      </a:lnTo>
                      <a:lnTo>
                        <a:pt x="419" y="3279"/>
                      </a:lnTo>
                      <a:lnTo>
                        <a:pt x="450" y="3318"/>
                      </a:lnTo>
                      <a:lnTo>
                        <a:pt x="481" y="3357"/>
                      </a:lnTo>
                      <a:lnTo>
                        <a:pt x="515" y="3395"/>
                      </a:lnTo>
                      <a:lnTo>
                        <a:pt x="548" y="3432"/>
                      </a:lnTo>
                      <a:lnTo>
                        <a:pt x="582" y="3468"/>
                      </a:lnTo>
                      <a:lnTo>
                        <a:pt x="617" y="3503"/>
                      </a:lnTo>
                      <a:lnTo>
                        <a:pt x="3355" y="766"/>
                      </a:lnTo>
                      <a:lnTo>
                        <a:pt x="3355" y="766"/>
                      </a:lnTo>
                      <a:lnTo>
                        <a:pt x="3327" y="738"/>
                      </a:lnTo>
                      <a:lnTo>
                        <a:pt x="3300" y="710"/>
                      </a:lnTo>
                      <a:lnTo>
                        <a:pt x="3300" y="710"/>
                      </a:lnTo>
                      <a:lnTo>
                        <a:pt x="3296" y="707"/>
                      </a:lnTo>
                      <a:lnTo>
                        <a:pt x="3296" y="707"/>
                      </a:lnTo>
                      <a:lnTo>
                        <a:pt x="3243" y="659"/>
                      </a:lnTo>
                      <a:lnTo>
                        <a:pt x="3190" y="611"/>
                      </a:lnTo>
                      <a:lnTo>
                        <a:pt x="3135" y="566"/>
                      </a:lnTo>
                      <a:lnTo>
                        <a:pt x="3079" y="523"/>
                      </a:lnTo>
                      <a:lnTo>
                        <a:pt x="3021" y="480"/>
                      </a:lnTo>
                      <a:lnTo>
                        <a:pt x="2962" y="440"/>
                      </a:lnTo>
                      <a:lnTo>
                        <a:pt x="2902" y="400"/>
                      </a:lnTo>
                      <a:lnTo>
                        <a:pt x="2841" y="362"/>
                      </a:lnTo>
                      <a:lnTo>
                        <a:pt x="2841" y="362"/>
                      </a:lnTo>
                      <a:lnTo>
                        <a:pt x="2815" y="345"/>
                      </a:lnTo>
                      <a:lnTo>
                        <a:pt x="2815" y="345"/>
                      </a:lnTo>
                      <a:lnTo>
                        <a:pt x="2776" y="322"/>
                      </a:lnTo>
                      <a:lnTo>
                        <a:pt x="2736" y="299"/>
                      </a:lnTo>
                      <a:lnTo>
                        <a:pt x="2695" y="277"/>
                      </a:lnTo>
                      <a:lnTo>
                        <a:pt x="2654" y="257"/>
                      </a:lnTo>
                      <a:lnTo>
                        <a:pt x="2654" y="257"/>
                      </a:lnTo>
                      <a:lnTo>
                        <a:pt x="2649" y="254"/>
                      </a:lnTo>
                      <a:lnTo>
                        <a:pt x="2649" y="254"/>
                      </a:lnTo>
                      <a:lnTo>
                        <a:pt x="2585" y="222"/>
                      </a:lnTo>
                      <a:lnTo>
                        <a:pt x="2520" y="192"/>
                      </a:lnTo>
                      <a:lnTo>
                        <a:pt x="2454" y="165"/>
                      </a:lnTo>
                      <a:lnTo>
                        <a:pt x="2386" y="138"/>
                      </a:lnTo>
                      <a:lnTo>
                        <a:pt x="2318" y="113"/>
                      </a:lnTo>
                      <a:lnTo>
                        <a:pt x="2249" y="90"/>
                      </a:lnTo>
                      <a:lnTo>
                        <a:pt x="2180" y="69"/>
                      </a:lnTo>
                      <a:lnTo>
                        <a:pt x="2108" y="50"/>
                      </a:lnTo>
                      <a:lnTo>
                        <a:pt x="2108" y="50"/>
                      </a:lnTo>
                      <a:lnTo>
                        <a:pt x="2071" y="40"/>
                      </a:lnTo>
                      <a:lnTo>
                        <a:pt x="2071" y="40"/>
                      </a:lnTo>
                      <a:lnTo>
                        <a:pt x="2026" y="29"/>
                      </a:lnTo>
                      <a:lnTo>
                        <a:pt x="1980" y="18"/>
                      </a:lnTo>
                      <a:lnTo>
                        <a:pt x="1935" y="9"/>
                      </a:lnTo>
                      <a:lnTo>
                        <a:pt x="1889" y="0"/>
                      </a:lnTo>
                      <a:lnTo>
                        <a:pt x="1889" y="0"/>
                      </a:lnTo>
                      <a:lnTo>
                        <a:pt x="1840" y="5"/>
                      </a:lnTo>
                      <a:lnTo>
                        <a:pt x="1790" y="10"/>
                      </a:lnTo>
                      <a:lnTo>
                        <a:pt x="1742" y="17"/>
                      </a:lnTo>
                      <a:lnTo>
                        <a:pt x="1694" y="25"/>
                      </a:lnTo>
                      <a:lnTo>
                        <a:pt x="1646" y="33"/>
                      </a:lnTo>
                      <a:lnTo>
                        <a:pt x="1598" y="44"/>
                      </a:lnTo>
                      <a:lnTo>
                        <a:pt x="1551" y="55"/>
                      </a:lnTo>
                      <a:lnTo>
                        <a:pt x="1505" y="67"/>
                      </a:lnTo>
                      <a:lnTo>
                        <a:pt x="1459" y="81"/>
                      </a:lnTo>
                      <a:lnTo>
                        <a:pt x="1413" y="94"/>
                      </a:lnTo>
                      <a:lnTo>
                        <a:pt x="1368" y="111"/>
                      </a:lnTo>
                      <a:lnTo>
                        <a:pt x="1323" y="127"/>
                      </a:lnTo>
                      <a:lnTo>
                        <a:pt x="1278" y="144"/>
                      </a:lnTo>
                      <a:lnTo>
                        <a:pt x="1234" y="162"/>
                      </a:lnTo>
                      <a:lnTo>
                        <a:pt x="1192" y="182"/>
                      </a:lnTo>
                      <a:lnTo>
                        <a:pt x="1148" y="201"/>
                      </a:lnTo>
                      <a:lnTo>
                        <a:pt x="1107" y="223"/>
                      </a:lnTo>
                      <a:lnTo>
                        <a:pt x="1065" y="245"/>
                      </a:lnTo>
                      <a:lnTo>
                        <a:pt x="1024" y="268"/>
                      </a:lnTo>
                      <a:lnTo>
                        <a:pt x="983" y="292"/>
                      </a:lnTo>
                      <a:lnTo>
                        <a:pt x="943" y="318"/>
                      </a:lnTo>
                      <a:lnTo>
                        <a:pt x="904" y="343"/>
                      </a:lnTo>
                      <a:lnTo>
                        <a:pt x="866" y="370"/>
                      </a:lnTo>
                      <a:lnTo>
                        <a:pt x="828" y="397"/>
                      </a:lnTo>
                      <a:lnTo>
                        <a:pt x="790" y="426"/>
                      </a:lnTo>
                      <a:lnTo>
                        <a:pt x="753" y="455"/>
                      </a:lnTo>
                      <a:lnTo>
                        <a:pt x="717" y="485"/>
                      </a:lnTo>
                      <a:lnTo>
                        <a:pt x="683" y="516"/>
                      </a:lnTo>
                      <a:lnTo>
                        <a:pt x="648" y="547"/>
                      </a:lnTo>
                      <a:lnTo>
                        <a:pt x="614" y="580"/>
                      </a:lnTo>
                      <a:lnTo>
                        <a:pt x="582" y="613"/>
                      </a:lnTo>
                      <a:lnTo>
                        <a:pt x="549" y="647"/>
                      </a:lnTo>
                      <a:lnTo>
                        <a:pt x="517" y="682"/>
                      </a:lnTo>
                      <a:lnTo>
                        <a:pt x="486" y="716"/>
                      </a:lnTo>
                      <a:lnTo>
                        <a:pt x="457" y="753"/>
                      </a:lnTo>
                      <a:lnTo>
                        <a:pt x="427" y="790"/>
                      </a:lnTo>
                      <a:lnTo>
                        <a:pt x="400" y="827"/>
                      </a:lnTo>
                      <a:lnTo>
                        <a:pt x="372" y="865"/>
                      </a:lnTo>
                      <a:lnTo>
                        <a:pt x="346" y="904"/>
                      </a:lnTo>
                      <a:lnTo>
                        <a:pt x="319" y="943"/>
                      </a:lnTo>
                      <a:lnTo>
                        <a:pt x="295" y="982"/>
                      </a:lnTo>
                      <a:lnTo>
                        <a:pt x="271" y="1024"/>
                      </a:lnTo>
                      <a:lnTo>
                        <a:pt x="248" y="1064"/>
                      </a:lnTo>
                      <a:lnTo>
                        <a:pt x="226" y="1106"/>
                      </a:lnTo>
                      <a:lnTo>
                        <a:pt x="205" y="1148"/>
                      </a:lnTo>
                      <a:lnTo>
                        <a:pt x="184" y="1190"/>
                      </a:lnTo>
                      <a:lnTo>
                        <a:pt x="165" y="1234"/>
                      </a:lnTo>
                      <a:lnTo>
                        <a:pt x="148" y="1278"/>
                      </a:lnTo>
                      <a:lnTo>
                        <a:pt x="130" y="1323"/>
                      </a:lnTo>
                      <a:lnTo>
                        <a:pt x="114" y="1368"/>
                      </a:lnTo>
                      <a:lnTo>
                        <a:pt x="98" y="1413"/>
                      </a:lnTo>
                      <a:lnTo>
                        <a:pt x="84" y="1459"/>
                      </a:lnTo>
                      <a:lnTo>
                        <a:pt x="72" y="1505"/>
                      </a:lnTo>
                      <a:lnTo>
                        <a:pt x="59" y="1552"/>
                      </a:lnTo>
                      <a:lnTo>
                        <a:pt x="49" y="1599"/>
                      </a:lnTo>
                      <a:lnTo>
                        <a:pt x="38" y="1646"/>
                      </a:lnTo>
                      <a:lnTo>
                        <a:pt x="30" y="1695"/>
                      </a:lnTo>
                      <a:lnTo>
                        <a:pt x="22" y="1743"/>
                      </a:lnTo>
                      <a:lnTo>
                        <a:pt x="15" y="1791"/>
                      </a:lnTo>
                      <a:lnTo>
                        <a:pt x="11" y="1840"/>
                      </a:lnTo>
                      <a:lnTo>
                        <a:pt x="6" y="1889"/>
                      </a:lnTo>
                      <a:lnTo>
                        <a:pt x="2" y="1940"/>
                      </a:lnTo>
                      <a:lnTo>
                        <a:pt x="1" y="1989"/>
                      </a:lnTo>
                      <a:lnTo>
                        <a:pt x="0" y="2040"/>
                      </a:lnTo>
                      <a:lnTo>
                        <a:pt x="0" y="2040"/>
                      </a:lnTo>
                      <a:close/>
                    </a:path>
                  </a:pathLst>
                </a:custGeom>
                <a:solidFill>
                  <a:srgbClr val="FFD1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59" name="Freeform 221"/>
                <p:cNvSpPr>
                  <a:spLocks/>
                </p:cNvSpPr>
                <p:nvPr/>
              </p:nvSpPr>
              <p:spPr bwMode="auto">
                <a:xfrm>
                  <a:off x="4283073" y="635000"/>
                  <a:ext cx="1076324" cy="781049"/>
                </a:xfrm>
                <a:custGeom>
                  <a:avLst/>
                  <a:gdLst>
                    <a:gd name="T0" fmla="*/ 2113 w 4747"/>
                    <a:gd name="T1" fmla="*/ 3441 h 3444"/>
                    <a:gd name="T2" fmla="*/ 2393 w 4747"/>
                    <a:gd name="T3" fmla="*/ 3412 h 3444"/>
                    <a:gd name="T4" fmla="*/ 2663 w 4747"/>
                    <a:gd name="T5" fmla="*/ 3357 h 3444"/>
                    <a:gd name="T6" fmla="*/ 2925 w 4747"/>
                    <a:gd name="T7" fmla="*/ 3276 h 3444"/>
                    <a:gd name="T8" fmla="*/ 3173 w 4747"/>
                    <a:gd name="T9" fmla="*/ 3170 h 3444"/>
                    <a:gd name="T10" fmla="*/ 3409 w 4747"/>
                    <a:gd name="T11" fmla="*/ 3042 h 3444"/>
                    <a:gd name="T12" fmla="*/ 3632 w 4747"/>
                    <a:gd name="T13" fmla="*/ 2893 h 3444"/>
                    <a:gd name="T14" fmla="*/ 3836 w 4747"/>
                    <a:gd name="T15" fmla="*/ 2722 h 3444"/>
                    <a:gd name="T16" fmla="*/ 4025 w 4747"/>
                    <a:gd name="T17" fmla="*/ 2535 h 3444"/>
                    <a:gd name="T18" fmla="*/ 4194 w 4747"/>
                    <a:gd name="T19" fmla="*/ 2328 h 3444"/>
                    <a:gd name="T20" fmla="*/ 4344 w 4747"/>
                    <a:gd name="T21" fmla="*/ 2107 h 3444"/>
                    <a:gd name="T22" fmla="*/ 4473 w 4747"/>
                    <a:gd name="T23" fmla="*/ 1871 h 3444"/>
                    <a:gd name="T24" fmla="*/ 4578 w 4747"/>
                    <a:gd name="T25" fmla="*/ 1622 h 3444"/>
                    <a:gd name="T26" fmla="*/ 4660 w 4747"/>
                    <a:gd name="T27" fmla="*/ 1361 h 3444"/>
                    <a:gd name="T28" fmla="*/ 4715 w 4747"/>
                    <a:gd name="T29" fmla="*/ 1090 h 3444"/>
                    <a:gd name="T30" fmla="*/ 4742 w 4747"/>
                    <a:gd name="T31" fmla="*/ 810 h 3444"/>
                    <a:gd name="T32" fmla="*/ 4746 w 4747"/>
                    <a:gd name="T33" fmla="*/ 625 h 3444"/>
                    <a:gd name="T34" fmla="*/ 4734 w 4747"/>
                    <a:gd name="T35" fmla="*/ 412 h 3444"/>
                    <a:gd name="T36" fmla="*/ 4681 w 4747"/>
                    <a:gd name="T37" fmla="*/ 81 h 3444"/>
                    <a:gd name="T38" fmla="*/ 4658 w 4747"/>
                    <a:gd name="T39" fmla="*/ 105 h 3444"/>
                    <a:gd name="T40" fmla="*/ 4635 w 4747"/>
                    <a:gd name="T41" fmla="*/ 309 h 3444"/>
                    <a:gd name="T42" fmla="*/ 4593 w 4747"/>
                    <a:gd name="T43" fmla="*/ 507 h 3444"/>
                    <a:gd name="T44" fmla="*/ 4532 w 4747"/>
                    <a:gd name="T45" fmla="*/ 697 h 3444"/>
                    <a:gd name="T46" fmla="*/ 4454 w 4747"/>
                    <a:gd name="T47" fmla="*/ 878 h 3444"/>
                    <a:gd name="T48" fmla="*/ 4358 w 4747"/>
                    <a:gd name="T49" fmla="*/ 1049 h 3444"/>
                    <a:gd name="T50" fmla="*/ 4247 w 4747"/>
                    <a:gd name="T51" fmla="*/ 1212 h 3444"/>
                    <a:gd name="T52" fmla="*/ 4123 w 4747"/>
                    <a:gd name="T53" fmla="*/ 1361 h 3444"/>
                    <a:gd name="T54" fmla="*/ 3985 w 4747"/>
                    <a:gd name="T55" fmla="*/ 1498 h 3444"/>
                    <a:gd name="T56" fmla="*/ 3833 w 4747"/>
                    <a:gd name="T57" fmla="*/ 1622 h 3444"/>
                    <a:gd name="T58" fmla="*/ 3671 w 4747"/>
                    <a:gd name="T59" fmla="*/ 1730 h 3444"/>
                    <a:gd name="T60" fmla="*/ 3498 w 4747"/>
                    <a:gd name="T61" fmla="*/ 1823 h 3444"/>
                    <a:gd name="T62" fmla="*/ 3316 w 4747"/>
                    <a:gd name="T63" fmla="*/ 1900 h 3444"/>
                    <a:gd name="T64" fmla="*/ 3125 w 4747"/>
                    <a:gd name="T65" fmla="*/ 1959 h 3444"/>
                    <a:gd name="T66" fmla="*/ 2926 w 4747"/>
                    <a:gd name="T67" fmla="*/ 1999 h 3444"/>
                    <a:gd name="T68" fmla="*/ 2721 w 4747"/>
                    <a:gd name="T69" fmla="*/ 2020 h 3444"/>
                    <a:gd name="T70" fmla="*/ 2564 w 4747"/>
                    <a:gd name="T71" fmla="*/ 2021 h 3444"/>
                    <a:gd name="T72" fmla="*/ 2359 w 4747"/>
                    <a:gd name="T73" fmla="*/ 2006 h 3444"/>
                    <a:gd name="T74" fmla="*/ 2161 w 4747"/>
                    <a:gd name="T75" fmla="*/ 1972 h 3444"/>
                    <a:gd name="T76" fmla="*/ 1969 w 4747"/>
                    <a:gd name="T77" fmla="*/ 1917 h 3444"/>
                    <a:gd name="T78" fmla="*/ 1786 w 4747"/>
                    <a:gd name="T79" fmla="*/ 1846 h 3444"/>
                    <a:gd name="T80" fmla="*/ 1611 w 4747"/>
                    <a:gd name="T81" fmla="*/ 1759 h 3444"/>
                    <a:gd name="T82" fmla="*/ 1448 w 4747"/>
                    <a:gd name="T83" fmla="*/ 1654 h 3444"/>
                    <a:gd name="T84" fmla="*/ 1293 w 4747"/>
                    <a:gd name="T85" fmla="*/ 1536 h 3444"/>
                    <a:gd name="T86" fmla="*/ 0 w 4747"/>
                    <a:gd name="T87" fmla="*/ 2624 h 3444"/>
                    <a:gd name="T88" fmla="*/ 147 w 4747"/>
                    <a:gd name="T89" fmla="*/ 2761 h 3444"/>
                    <a:gd name="T90" fmla="*/ 357 w 4747"/>
                    <a:gd name="T91" fmla="*/ 2927 h 3444"/>
                    <a:gd name="T92" fmla="*/ 583 w 4747"/>
                    <a:gd name="T93" fmla="*/ 3073 h 3444"/>
                    <a:gd name="T94" fmla="*/ 822 w 4747"/>
                    <a:gd name="T95" fmla="*/ 3197 h 3444"/>
                    <a:gd name="T96" fmla="*/ 1076 w 4747"/>
                    <a:gd name="T97" fmla="*/ 3297 h 3444"/>
                    <a:gd name="T98" fmla="*/ 1341 w 4747"/>
                    <a:gd name="T99" fmla="*/ 3373 h 3444"/>
                    <a:gd name="T100" fmla="*/ 1615 w 4747"/>
                    <a:gd name="T101" fmla="*/ 3421 h 3444"/>
                    <a:gd name="T102" fmla="*/ 1898 w 4747"/>
                    <a:gd name="T103" fmla="*/ 3443 h 3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47" h="3444">
                      <a:moveTo>
                        <a:pt x="1970" y="3444"/>
                      </a:moveTo>
                      <a:lnTo>
                        <a:pt x="1970" y="3444"/>
                      </a:lnTo>
                      <a:lnTo>
                        <a:pt x="2042" y="3443"/>
                      </a:lnTo>
                      <a:lnTo>
                        <a:pt x="2113" y="3441"/>
                      </a:lnTo>
                      <a:lnTo>
                        <a:pt x="2183" y="3436"/>
                      </a:lnTo>
                      <a:lnTo>
                        <a:pt x="2253" y="3429"/>
                      </a:lnTo>
                      <a:lnTo>
                        <a:pt x="2324" y="3422"/>
                      </a:lnTo>
                      <a:lnTo>
                        <a:pt x="2393" y="3412"/>
                      </a:lnTo>
                      <a:lnTo>
                        <a:pt x="2462" y="3400"/>
                      </a:lnTo>
                      <a:lnTo>
                        <a:pt x="2530" y="3388"/>
                      </a:lnTo>
                      <a:lnTo>
                        <a:pt x="2597" y="3373"/>
                      </a:lnTo>
                      <a:lnTo>
                        <a:pt x="2663" y="3357"/>
                      </a:lnTo>
                      <a:lnTo>
                        <a:pt x="2730" y="3338"/>
                      </a:lnTo>
                      <a:lnTo>
                        <a:pt x="2796" y="3319"/>
                      </a:lnTo>
                      <a:lnTo>
                        <a:pt x="2860" y="3298"/>
                      </a:lnTo>
                      <a:lnTo>
                        <a:pt x="2925" y="3276"/>
                      </a:lnTo>
                      <a:lnTo>
                        <a:pt x="2988" y="3252"/>
                      </a:lnTo>
                      <a:lnTo>
                        <a:pt x="3050" y="3225"/>
                      </a:lnTo>
                      <a:lnTo>
                        <a:pt x="3112" y="3199"/>
                      </a:lnTo>
                      <a:lnTo>
                        <a:pt x="3173" y="3170"/>
                      </a:lnTo>
                      <a:lnTo>
                        <a:pt x="3234" y="3140"/>
                      </a:lnTo>
                      <a:lnTo>
                        <a:pt x="3293" y="3109"/>
                      </a:lnTo>
                      <a:lnTo>
                        <a:pt x="3352" y="3076"/>
                      </a:lnTo>
                      <a:lnTo>
                        <a:pt x="3409" y="3042"/>
                      </a:lnTo>
                      <a:lnTo>
                        <a:pt x="3467" y="3007"/>
                      </a:lnTo>
                      <a:lnTo>
                        <a:pt x="3522" y="2970"/>
                      </a:lnTo>
                      <a:lnTo>
                        <a:pt x="3577" y="2932"/>
                      </a:lnTo>
                      <a:lnTo>
                        <a:pt x="3632" y="2893"/>
                      </a:lnTo>
                      <a:lnTo>
                        <a:pt x="3684" y="2851"/>
                      </a:lnTo>
                      <a:lnTo>
                        <a:pt x="3736" y="2810"/>
                      </a:lnTo>
                      <a:lnTo>
                        <a:pt x="3787" y="2767"/>
                      </a:lnTo>
                      <a:lnTo>
                        <a:pt x="3836" y="2722"/>
                      </a:lnTo>
                      <a:lnTo>
                        <a:pt x="3886" y="2677"/>
                      </a:lnTo>
                      <a:lnTo>
                        <a:pt x="3933" y="2630"/>
                      </a:lnTo>
                      <a:lnTo>
                        <a:pt x="3980" y="2583"/>
                      </a:lnTo>
                      <a:lnTo>
                        <a:pt x="4025" y="2535"/>
                      </a:lnTo>
                      <a:lnTo>
                        <a:pt x="4069" y="2484"/>
                      </a:lnTo>
                      <a:lnTo>
                        <a:pt x="4113" y="2433"/>
                      </a:lnTo>
                      <a:lnTo>
                        <a:pt x="4154" y="2381"/>
                      </a:lnTo>
                      <a:lnTo>
                        <a:pt x="4194" y="2328"/>
                      </a:lnTo>
                      <a:lnTo>
                        <a:pt x="4235" y="2274"/>
                      </a:lnTo>
                      <a:lnTo>
                        <a:pt x="4273" y="2220"/>
                      </a:lnTo>
                      <a:lnTo>
                        <a:pt x="4310" y="2164"/>
                      </a:lnTo>
                      <a:lnTo>
                        <a:pt x="4344" y="2107"/>
                      </a:lnTo>
                      <a:lnTo>
                        <a:pt x="4379" y="2050"/>
                      </a:lnTo>
                      <a:lnTo>
                        <a:pt x="4411" y="1991"/>
                      </a:lnTo>
                      <a:lnTo>
                        <a:pt x="4443" y="1931"/>
                      </a:lnTo>
                      <a:lnTo>
                        <a:pt x="4473" y="1871"/>
                      </a:lnTo>
                      <a:lnTo>
                        <a:pt x="4501" y="1810"/>
                      </a:lnTo>
                      <a:lnTo>
                        <a:pt x="4528" y="1748"/>
                      </a:lnTo>
                      <a:lnTo>
                        <a:pt x="4554" y="1685"/>
                      </a:lnTo>
                      <a:lnTo>
                        <a:pt x="4578" y="1622"/>
                      </a:lnTo>
                      <a:lnTo>
                        <a:pt x="4601" y="1558"/>
                      </a:lnTo>
                      <a:lnTo>
                        <a:pt x="4622" y="1493"/>
                      </a:lnTo>
                      <a:lnTo>
                        <a:pt x="4641" y="1427"/>
                      </a:lnTo>
                      <a:lnTo>
                        <a:pt x="4660" y="1361"/>
                      </a:lnTo>
                      <a:lnTo>
                        <a:pt x="4676" y="1295"/>
                      </a:lnTo>
                      <a:lnTo>
                        <a:pt x="4691" y="1227"/>
                      </a:lnTo>
                      <a:lnTo>
                        <a:pt x="4703" y="1159"/>
                      </a:lnTo>
                      <a:lnTo>
                        <a:pt x="4715" y="1090"/>
                      </a:lnTo>
                      <a:lnTo>
                        <a:pt x="4724" y="1021"/>
                      </a:lnTo>
                      <a:lnTo>
                        <a:pt x="4732" y="951"/>
                      </a:lnTo>
                      <a:lnTo>
                        <a:pt x="4739" y="881"/>
                      </a:lnTo>
                      <a:lnTo>
                        <a:pt x="4742" y="810"/>
                      </a:lnTo>
                      <a:lnTo>
                        <a:pt x="4746" y="738"/>
                      </a:lnTo>
                      <a:lnTo>
                        <a:pt x="4747" y="667"/>
                      </a:lnTo>
                      <a:lnTo>
                        <a:pt x="4747" y="667"/>
                      </a:lnTo>
                      <a:lnTo>
                        <a:pt x="4746" y="625"/>
                      </a:lnTo>
                      <a:lnTo>
                        <a:pt x="4745" y="581"/>
                      </a:lnTo>
                      <a:lnTo>
                        <a:pt x="4744" y="538"/>
                      </a:lnTo>
                      <a:lnTo>
                        <a:pt x="4741" y="496"/>
                      </a:lnTo>
                      <a:lnTo>
                        <a:pt x="4734" y="412"/>
                      </a:lnTo>
                      <a:lnTo>
                        <a:pt x="4724" y="327"/>
                      </a:lnTo>
                      <a:lnTo>
                        <a:pt x="4713" y="245"/>
                      </a:lnTo>
                      <a:lnTo>
                        <a:pt x="4699" y="163"/>
                      </a:lnTo>
                      <a:lnTo>
                        <a:pt x="4681" y="81"/>
                      </a:lnTo>
                      <a:lnTo>
                        <a:pt x="4663" y="0"/>
                      </a:lnTo>
                      <a:lnTo>
                        <a:pt x="4663" y="0"/>
                      </a:lnTo>
                      <a:lnTo>
                        <a:pt x="4662" y="52"/>
                      </a:lnTo>
                      <a:lnTo>
                        <a:pt x="4658" y="105"/>
                      </a:lnTo>
                      <a:lnTo>
                        <a:pt x="4655" y="156"/>
                      </a:lnTo>
                      <a:lnTo>
                        <a:pt x="4650" y="208"/>
                      </a:lnTo>
                      <a:lnTo>
                        <a:pt x="4643" y="258"/>
                      </a:lnTo>
                      <a:lnTo>
                        <a:pt x="4635" y="309"/>
                      </a:lnTo>
                      <a:lnTo>
                        <a:pt x="4627" y="359"/>
                      </a:lnTo>
                      <a:lnTo>
                        <a:pt x="4617" y="409"/>
                      </a:lnTo>
                      <a:lnTo>
                        <a:pt x="4605" y="458"/>
                      </a:lnTo>
                      <a:lnTo>
                        <a:pt x="4593" y="507"/>
                      </a:lnTo>
                      <a:lnTo>
                        <a:pt x="4580" y="554"/>
                      </a:lnTo>
                      <a:lnTo>
                        <a:pt x="4565" y="603"/>
                      </a:lnTo>
                      <a:lnTo>
                        <a:pt x="4549" y="650"/>
                      </a:lnTo>
                      <a:lnTo>
                        <a:pt x="4532" y="697"/>
                      </a:lnTo>
                      <a:lnTo>
                        <a:pt x="4515" y="743"/>
                      </a:lnTo>
                      <a:lnTo>
                        <a:pt x="4495" y="788"/>
                      </a:lnTo>
                      <a:lnTo>
                        <a:pt x="4474" y="834"/>
                      </a:lnTo>
                      <a:lnTo>
                        <a:pt x="4454" y="878"/>
                      </a:lnTo>
                      <a:lnTo>
                        <a:pt x="4432" y="922"/>
                      </a:lnTo>
                      <a:lnTo>
                        <a:pt x="4409" y="965"/>
                      </a:lnTo>
                      <a:lnTo>
                        <a:pt x="4383" y="1008"/>
                      </a:lnTo>
                      <a:lnTo>
                        <a:pt x="4358" y="1049"/>
                      </a:lnTo>
                      <a:lnTo>
                        <a:pt x="4333" y="1091"/>
                      </a:lnTo>
                      <a:lnTo>
                        <a:pt x="4305" y="1132"/>
                      </a:lnTo>
                      <a:lnTo>
                        <a:pt x="4277" y="1171"/>
                      </a:lnTo>
                      <a:lnTo>
                        <a:pt x="4247" y="1212"/>
                      </a:lnTo>
                      <a:lnTo>
                        <a:pt x="4218" y="1250"/>
                      </a:lnTo>
                      <a:lnTo>
                        <a:pt x="4188" y="1288"/>
                      </a:lnTo>
                      <a:lnTo>
                        <a:pt x="4155" y="1325"/>
                      </a:lnTo>
                      <a:lnTo>
                        <a:pt x="4123" y="1361"/>
                      </a:lnTo>
                      <a:lnTo>
                        <a:pt x="4090" y="1396"/>
                      </a:lnTo>
                      <a:lnTo>
                        <a:pt x="4055" y="1430"/>
                      </a:lnTo>
                      <a:lnTo>
                        <a:pt x="4021" y="1465"/>
                      </a:lnTo>
                      <a:lnTo>
                        <a:pt x="3985" y="1498"/>
                      </a:lnTo>
                      <a:lnTo>
                        <a:pt x="3948" y="1531"/>
                      </a:lnTo>
                      <a:lnTo>
                        <a:pt x="3910" y="1562"/>
                      </a:lnTo>
                      <a:lnTo>
                        <a:pt x="3872" y="1592"/>
                      </a:lnTo>
                      <a:lnTo>
                        <a:pt x="3833" y="1622"/>
                      </a:lnTo>
                      <a:lnTo>
                        <a:pt x="3794" y="1650"/>
                      </a:lnTo>
                      <a:lnTo>
                        <a:pt x="3754" y="1678"/>
                      </a:lnTo>
                      <a:lnTo>
                        <a:pt x="3712" y="1704"/>
                      </a:lnTo>
                      <a:lnTo>
                        <a:pt x="3671" y="1730"/>
                      </a:lnTo>
                      <a:lnTo>
                        <a:pt x="3628" y="1755"/>
                      </a:lnTo>
                      <a:lnTo>
                        <a:pt x="3585" y="1779"/>
                      </a:lnTo>
                      <a:lnTo>
                        <a:pt x="3542" y="1801"/>
                      </a:lnTo>
                      <a:lnTo>
                        <a:pt x="3498" y="1823"/>
                      </a:lnTo>
                      <a:lnTo>
                        <a:pt x="3453" y="1844"/>
                      </a:lnTo>
                      <a:lnTo>
                        <a:pt x="3408" y="1863"/>
                      </a:lnTo>
                      <a:lnTo>
                        <a:pt x="3362" y="1882"/>
                      </a:lnTo>
                      <a:lnTo>
                        <a:pt x="3316" y="1900"/>
                      </a:lnTo>
                      <a:lnTo>
                        <a:pt x="3269" y="1916"/>
                      </a:lnTo>
                      <a:lnTo>
                        <a:pt x="3221" y="1931"/>
                      </a:lnTo>
                      <a:lnTo>
                        <a:pt x="3173" y="1946"/>
                      </a:lnTo>
                      <a:lnTo>
                        <a:pt x="3125" y="1959"/>
                      </a:lnTo>
                      <a:lnTo>
                        <a:pt x="3075" y="1970"/>
                      </a:lnTo>
                      <a:lnTo>
                        <a:pt x="3026" y="1981"/>
                      </a:lnTo>
                      <a:lnTo>
                        <a:pt x="2976" y="1991"/>
                      </a:lnTo>
                      <a:lnTo>
                        <a:pt x="2926" y="1999"/>
                      </a:lnTo>
                      <a:lnTo>
                        <a:pt x="2875" y="2006"/>
                      </a:lnTo>
                      <a:lnTo>
                        <a:pt x="2824" y="2012"/>
                      </a:lnTo>
                      <a:lnTo>
                        <a:pt x="2773" y="2016"/>
                      </a:lnTo>
                      <a:lnTo>
                        <a:pt x="2721" y="2020"/>
                      </a:lnTo>
                      <a:lnTo>
                        <a:pt x="2669" y="2021"/>
                      </a:lnTo>
                      <a:lnTo>
                        <a:pt x="2617" y="2022"/>
                      </a:lnTo>
                      <a:lnTo>
                        <a:pt x="2617" y="2022"/>
                      </a:lnTo>
                      <a:lnTo>
                        <a:pt x="2564" y="2021"/>
                      </a:lnTo>
                      <a:lnTo>
                        <a:pt x="2512" y="2020"/>
                      </a:lnTo>
                      <a:lnTo>
                        <a:pt x="2462" y="2016"/>
                      </a:lnTo>
                      <a:lnTo>
                        <a:pt x="2410" y="2012"/>
                      </a:lnTo>
                      <a:lnTo>
                        <a:pt x="2359" y="2006"/>
                      </a:lnTo>
                      <a:lnTo>
                        <a:pt x="2310" y="1999"/>
                      </a:lnTo>
                      <a:lnTo>
                        <a:pt x="2259" y="1991"/>
                      </a:lnTo>
                      <a:lnTo>
                        <a:pt x="2210" y="1982"/>
                      </a:lnTo>
                      <a:lnTo>
                        <a:pt x="2161" y="1972"/>
                      </a:lnTo>
                      <a:lnTo>
                        <a:pt x="2113" y="1960"/>
                      </a:lnTo>
                      <a:lnTo>
                        <a:pt x="2065" y="1946"/>
                      </a:lnTo>
                      <a:lnTo>
                        <a:pt x="2016" y="1932"/>
                      </a:lnTo>
                      <a:lnTo>
                        <a:pt x="1969" y="1917"/>
                      </a:lnTo>
                      <a:lnTo>
                        <a:pt x="1923" y="1901"/>
                      </a:lnTo>
                      <a:lnTo>
                        <a:pt x="1877" y="1884"/>
                      </a:lnTo>
                      <a:lnTo>
                        <a:pt x="1831" y="1866"/>
                      </a:lnTo>
                      <a:lnTo>
                        <a:pt x="1786" y="1846"/>
                      </a:lnTo>
                      <a:lnTo>
                        <a:pt x="1741" y="1825"/>
                      </a:lnTo>
                      <a:lnTo>
                        <a:pt x="1697" y="1805"/>
                      </a:lnTo>
                      <a:lnTo>
                        <a:pt x="1654" y="1782"/>
                      </a:lnTo>
                      <a:lnTo>
                        <a:pt x="1611" y="1759"/>
                      </a:lnTo>
                      <a:lnTo>
                        <a:pt x="1570" y="1733"/>
                      </a:lnTo>
                      <a:lnTo>
                        <a:pt x="1528" y="1708"/>
                      </a:lnTo>
                      <a:lnTo>
                        <a:pt x="1487" y="1681"/>
                      </a:lnTo>
                      <a:lnTo>
                        <a:pt x="1448" y="1654"/>
                      </a:lnTo>
                      <a:lnTo>
                        <a:pt x="1407" y="1626"/>
                      </a:lnTo>
                      <a:lnTo>
                        <a:pt x="1369" y="1597"/>
                      </a:lnTo>
                      <a:lnTo>
                        <a:pt x="1331" y="1566"/>
                      </a:lnTo>
                      <a:lnTo>
                        <a:pt x="1293" y="1536"/>
                      </a:lnTo>
                      <a:lnTo>
                        <a:pt x="1256" y="1504"/>
                      </a:lnTo>
                      <a:lnTo>
                        <a:pt x="1221" y="1472"/>
                      </a:lnTo>
                      <a:lnTo>
                        <a:pt x="1186" y="1438"/>
                      </a:lnTo>
                      <a:lnTo>
                        <a:pt x="0" y="2624"/>
                      </a:lnTo>
                      <a:lnTo>
                        <a:pt x="0" y="2624"/>
                      </a:lnTo>
                      <a:lnTo>
                        <a:pt x="48" y="2670"/>
                      </a:lnTo>
                      <a:lnTo>
                        <a:pt x="97" y="2716"/>
                      </a:lnTo>
                      <a:lnTo>
                        <a:pt x="147" y="2761"/>
                      </a:lnTo>
                      <a:lnTo>
                        <a:pt x="197" y="2805"/>
                      </a:lnTo>
                      <a:lnTo>
                        <a:pt x="250" y="2847"/>
                      </a:lnTo>
                      <a:lnTo>
                        <a:pt x="303" y="2888"/>
                      </a:lnTo>
                      <a:lnTo>
                        <a:pt x="357" y="2927"/>
                      </a:lnTo>
                      <a:lnTo>
                        <a:pt x="411" y="2966"/>
                      </a:lnTo>
                      <a:lnTo>
                        <a:pt x="468" y="3003"/>
                      </a:lnTo>
                      <a:lnTo>
                        <a:pt x="525" y="3039"/>
                      </a:lnTo>
                      <a:lnTo>
                        <a:pt x="583" y="3073"/>
                      </a:lnTo>
                      <a:lnTo>
                        <a:pt x="642" y="3106"/>
                      </a:lnTo>
                      <a:lnTo>
                        <a:pt x="702" y="3138"/>
                      </a:lnTo>
                      <a:lnTo>
                        <a:pt x="761" y="3168"/>
                      </a:lnTo>
                      <a:lnTo>
                        <a:pt x="822" y="3197"/>
                      </a:lnTo>
                      <a:lnTo>
                        <a:pt x="885" y="3224"/>
                      </a:lnTo>
                      <a:lnTo>
                        <a:pt x="948" y="3250"/>
                      </a:lnTo>
                      <a:lnTo>
                        <a:pt x="1011" y="3274"/>
                      </a:lnTo>
                      <a:lnTo>
                        <a:pt x="1076" y="3297"/>
                      </a:lnTo>
                      <a:lnTo>
                        <a:pt x="1141" y="3319"/>
                      </a:lnTo>
                      <a:lnTo>
                        <a:pt x="1207" y="3338"/>
                      </a:lnTo>
                      <a:lnTo>
                        <a:pt x="1273" y="3355"/>
                      </a:lnTo>
                      <a:lnTo>
                        <a:pt x="1341" y="3373"/>
                      </a:lnTo>
                      <a:lnTo>
                        <a:pt x="1408" y="3387"/>
                      </a:lnTo>
                      <a:lnTo>
                        <a:pt x="1476" y="3400"/>
                      </a:lnTo>
                      <a:lnTo>
                        <a:pt x="1545" y="3412"/>
                      </a:lnTo>
                      <a:lnTo>
                        <a:pt x="1615" y="3421"/>
                      </a:lnTo>
                      <a:lnTo>
                        <a:pt x="1685" y="3429"/>
                      </a:lnTo>
                      <a:lnTo>
                        <a:pt x="1755" y="3436"/>
                      </a:lnTo>
                      <a:lnTo>
                        <a:pt x="1826" y="3441"/>
                      </a:lnTo>
                      <a:lnTo>
                        <a:pt x="1898" y="3443"/>
                      </a:lnTo>
                      <a:lnTo>
                        <a:pt x="1970" y="3444"/>
                      </a:lnTo>
                      <a:lnTo>
                        <a:pt x="1970" y="3444"/>
                      </a:lnTo>
                      <a:close/>
                    </a:path>
                  </a:pathLst>
                </a:custGeom>
                <a:solidFill>
                  <a:srgbClr val="C64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60" name="Freeform 222"/>
                <p:cNvSpPr>
                  <a:spLocks/>
                </p:cNvSpPr>
                <p:nvPr/>
              </p:nvSpPr>
              <p:spPr bwMode="auto">
                <a:xfrm>
                  <a:off x="4552947" y="341313"/>
                  <a:ext cx="787400" cy="752474"/>
                </a:xfrm>
                <a:custGeom>
                  <a:avLst/>
                  <a:gdLst>
                    <a:gd name="T0" fmla="*/ 35 w 3477"/>
                    <a:gd name="T1" fmla="*/ 2771 h 3321"/>
                    <a:gd name="T2" fmla="*/ 145 w 3477"/>
                    <a:gd name="T3" fmla="*/ 2865 h 3321"/>
                    <a:gd name="T4" fmla="*/ 262 w 3477"/>
                    <a:gd name="T5" fmla="*/ 2953 h 3321"/>
                    <a:gd name="T6" fmla="*/ 384 w 3477"/>
                    <a:gd name="T7" fmla="*/ 3032 h 3321"/>
                    <a:gd name="T8" fmla="*/ 511 w 3477"/>
                    <a:gd name="T9" fmla="*/ 3104 h 3321"/>
                    <a:gd name="T10" fmla="*/ 645 w 3477"/>
                    <a:gd name="T11" fmla="*/ 3165 h 3321"/>
                    <a:gd name="T12" fmla="*/ 783 w 3477"/>
                    <a:gd name="T13" fmla="*/ 3216 h 3321"/>
                    <a:gd name="T14" fmla="*/ 927 w 3477"/>
                    <a:gd name="T15" fmla="*/ 3259 h 3321"/>
                    <a:gd name="T16" fmla="*/ 1073 w 3477"/>
                    <a:gd name="T17" fmla="*/ 3290 h 3321"/>
                    <a:gd name="T18" fmla="*/ 1224 w 3477"/>
                    <a:gd name="T19" fmla="*/ 3311 h 3321"/>
                    <a:gd name="T20" fmla="*/ 1378 w 3477"/>
                    <a:gd name="T21" fmla="*/ 3320 h 3321"/>
                    <a:gd name="T22" fmla="*/ 1483 w 3477"/>
                    <a:gd name="T23" fmla="*/ 3320 h 3321"/>
                    <a:gd name="T24" fmla="*/ 1638 w 3477"/>
                    <a:gd name="T25" fmla="*/ 3311 h 3321"/>
                    <a:gd name="T26" fmla="*/ 1790 w 3477"/>
                    <a:gd name="T27" fmla="*/ 3290 h 3321"/>
                    <a:gd name="T28" fmla="*/ 1939 w 3477"/>
                    <a:gd name="T29" fmla="*/ 3258 h 3321"/>
                    <a:gd name="T30" fmla="*/ 2083 w 3477"/>
                    <a:gd name="T31" fmla="*/ 3215 h 3321"/>
                    <a:gd name="T32" fmla="*/ 2222 w 3477"/>
                    <a:gd name="T33" fmla="*/ 3162 h 3321"/>
                    <a:gd name="T34" fmla="*/ 2356 w 3477"/>
                    <a:gd name="T35" fmla="*/ 3100 h 3321"/>
                    <a:gd name="T36" fmla="*/ 2485 w 3477"/>
                    <a:gd name="T37" fmla="*/ 3029 h 3321"/>
                    <a:gd name="T38" fmla="*/ 2608 w 3477"/>
                    <a:gd name="T39" fmla="*/ 2949 h 3321"/>
                    <a:gd name="T40" fmla="*/ 2724 w 3477"/>
                    <a:gd name="T41" fmla="*/ 2861 h 3321"/>
                    <a:gd name="T42" fmla="*/ 2835 w 3477"/>
                    <a:gd name="T43" fmla="*/ 2764 h 3321"/>
                    <a:gd name="T44" fmla="*/ 2937 w 3477"/>
                    <a:gd name="T45" fmla="*/ 2660 h 3321"/>
                    <a:gd name="T46" fmla="*/ 3032 w 3477"/>
                    <a:gd name="T47" fmla="*/ 2549 h 3321"/>
                    <a:gd name="T48" fmla="*/ 3119 w 3477"/>
                    <a:gd name="T49" fmla="*/ 2431 h 3321"/>
                    <a:gd name="T50" fmla="*/ 3197 w 3477"/>
                    <a:gd name="T51" fmla="*/ 2307 h 3321"/>
                    <a:gd name="T52" fmla="*/ 3268 w 3477"/>
                    <a:gd name="T53" fmla="*/ 2177 h 3321"/>
                    <a:gd name="T54" fmla="*/ 3329 w 3477"/>
                    <a:gd name="T55" fmla="*/ 2042 h 3321"/>
                    <a:gd name="T56" fmla="*/ 3379 w 3477"/>
                    <a:gd name="T57" fmla="*/ 1902 h 3321"/>
                    <a:gd name="T58" fmla="*/ 3419 w 3477"/>
                    <a:gd name="T59" fmla="*/ 1757 h 3321"/>
                    <a:gd name="T60" fmla="*/ 3449 w 3477"/>
                    <a:gd name="T61" fmla="*/ 1608 h 3321"/>
                    <a:gd name="T62" fmla="*/ 3469 w 3477"/>
                    <a:gd name="T63" fmla="*/ 1455 h 3321"/>
                    <a:gd name="T64" fmla="*/ 3477 w 3477"/>
                    <a:gd name="T65" fmla="*/ 1299 h 3321"/>
                    <a:gd name="T66" fmla="*/ 3466 w 3477"/>
                    <a:gd name="T67" fmla="*/ 1257 h 3321"/>
                    <a:gd name="T68" fmla="*/ 3429 w 3477"/>
                    <a:gd name="T69" fmla="*/ 1129 h 3321"/>
                    <a:gd name="T70" fmla="*/ 3386 w 3477"/>
                    <a:gd name="T71" fmla="*/ 1005 h 3321"/>
                    <a:gd name="T72" fmla="*/ 3338 w 3477"/>
                    <a:gd name="T73" fmla="*/ 884 h 3321"/>
                    <a:gd name="T74" fmla="*/ 3226 w 3477"/>
                    <a:gd name="T75" fmla="*/ 649 h 3321"/>
                    <a:gd name="T76" fmla="*/ 3093 w 3477"/>
                    <a:gd name="T77" fmla="*/ 428 h 3321"/>
                    <a:gd name="T78" fmla="*/ 2939 w 3477"/>
                    <a:gd name="T79" fmla="*/ 221 h 3321"/>
                    <a:gd name="T80" fmla="*/ 2828 w 3477"/>
                    <a:gd name="T81" fmla="*/ 91 h 3321"/>
                    <a:gd name="T82" fmla="*/ 2778 w 3477"/>
                    <a:gd name="T83" fmla="*/ 39 h 3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77" h="3321">
                      <a:moveTo>
                        <a:pt x="0" y="2737"/>
                      </a:moveTo>
                      <a:lnTo>
                        <a:pt x="0" y="2737"/>
                      </a:lnTo>
                      <a:lnTo>
                        <a:pt x="35" y="2771"/>
                      </a:lnTo>
                      <a:lnTo>
                        <a:pt x="70" y="2803"/>
                      </a:lnTo>
                      <a:lnTo>
                        <a:pt x="107" y="2835"/>
                      </a:lnTo>
                      <a:lnTo>
                        <a:pt x="145" y="2865"/>
                      </a:lnTo>
                      <a:lnTo>
                        <a:pt x="183" y="2896"/>
                      </a:lnTo>
                      <a:lnTo>
                        <a:pt x="221" y="2925"/>
                      </a:lnTo>
                      <a:lnTo>
                        <a:pt x="262" y="2953"/>
                      </a:lnTo>
                      <a:lnTo>
                        <a:pt x="301" y="2980"/>
                      </a:lnTo>
                      <a:lnTo>
                        <a:pt x="342" y="3007"/>
                      </a:lnTo>
                      <a:lnTo>
                        <a:pt x="384" y="3032"/>
                      </a:lnTo>
                      <a:lnTo>
                        <a:pt x="425" y="3058"/>
                      </a:lnTo>
                      <a:lnTo>
                        <a:pt x="468" y="3081"/>
                      </a:lnTo>
                      <a:lnTo>
                        <a:pt x="511" y="3104"/>
                      </a:lnTo>
                      <a:lnTo>
                        <a:pt x="555" y="3124"/>
                      </a:lnTo>
                      <a:lnTo>
                        <a:pt x="600" y="3145"/>
                      </a:lnTo>
                      <a:lnTo>
                        <a:pt x="645" y="3165"/>
                      </a:lnTo>
                      <a:lnTo>
                        <a:pt x="691" y="3183"/>
                      </a:lnTo>
                      <a:lnTo>
                        <a:pt x="737" y="3200"/>
                      </a:lnTo>
                      <a:lnTo>
                        <a:pt x="783" y="3216"/>
                      </a:lnTo>
                      <a:lnTo>
                        <a:pt x="830" y="3231"/>
                      </a:lnTo>
                      <a:lnTo>
                        <a:pt x="879" y="3245"/>
                      </a:lnTo>
                      <a:lnTo>
                        <a:pt x="927" y="3259"/>
                      </a:lnTo>
                      <a:lnTo>
                        <a:pt x="975" y="3271"/>
                      </a:lnTo>
                      <a:lnTo>
                        <a:pt x="1024" y="3281"/>
                      </a:lnTo>
                      <a:lnTo>
                        <a:pt x="1073" y="3290"/>
                      </a:lnTo>
                      <a:lnTo>
                        <a:pt x="1124" y="3298"/>
                      </a:lnTo>
                      <a:lnTo>
                        <a:pt x="1173" y="3305"/>
                      </a:lnTo>
                      <a:lnTo>
                        <a:pt x="1224" y="3311"/>
                      </a:lnTo>
                      <a:lnTo>
                        <a:pt x="1276" y="3315"/>
                      </a:lnTo>
                      <a:lnTo>
                        <a:pt x="1326" y="3319"/>
                      </a:lnTo>
                      <a:lnTo>
                        <a:pt x="1378" y="3320"/>
                      </a:lnTo>
                      <a:lnTo>
                        <a:pt x="1431" y="3321"/>
                      </a:lnTo>
                      <a:lnTo>
                        <a:pt x="1431" y="3321"/>
                      </a:lnTo>
                      <a:lnTo>
                        <a:pt x="1483" y="3320"/>
                      </a:lnTo>
                      <a:lnTo>
                        <a:pt x="1535" y="3319"/>
                      </a:lnTo>
                      <a:lnTo>
                        <a:pt x="1587" y="3315"/>
                      </a:lnTo>
                      <a:lnTo>
                        <a:pt x="1638" y="3311"/>
                      </a:lnTo>
                      <a:lnTo>
                        <a:pt x="1689" y="3305"/>
                      </a:lnTo>
                      <a:lnTo>
                        <a:pt x="1740" y="3298"/>
                      </a:lnTo>
                      <a:lnTo>
                        <a:pt x="1790" y="3290"/>
                      </a:lnTo>
                      <a:lnTo>
                        <a:pt x="1840" y="3280"/>
                      </a:lnTo>
                      <a:lnTo>
                        <a:pt x="1889" y="3269"/>
                      </a:lnTo>
                      <a:lnTo>
                        <a:pt x="1939" y="3258"/>
                      </a:lnTo>
                      <a:lnTo>
                        <a:pt x="1987" y="3245"/>
                      </a:lnTo>
                      <a:lnTo>
                        <a:pt x="2035" y="3230"/>
                      </a:lnTo>
                      <a:lnTo>
                        <a:pt x="2083" y="3215"/>
                      </a:lnTo>
                      <a:lnTo>
                        <a:pt x="2130" y="3199"/>
                      </a:lnTo>
                      <a:lnTo>
                        <a:pt x="2176" y="3181"/>
                      </a:lnTo>
                      <a:lnTo>
                        <a:pt x="2222" y="3162"/>
                      </a:lnTo>
                      <a:lnTo>
                        <a:pt x="2267" y="3143"/>
                      </a:lnTo>
                      <a:lnTo>
                        <a:pt x="2312" y="3122"/>
                      </a:lnTo>
                      <a:lnTo>
                        <a:pt x="2356" y="3100"/>
                      </a:lnTo>
                      <a:lnTo>
                        <a:pt x="2399" y="3078"/>
                      </a:lnTo>
                      <a:lnTo>
                        <a:pt x="2442" y="3054"/>
                      </a:lnTo>
                      <a:lnTo>
                        <a:pt x="2485" y="3029"/>
                      </a:lnTo>
                      <a:lnTo>
                        <a:pt x="2526" y="3003"/>
                      </a:lnTo>
                      <a:lnTo>
                        <a:pt x="2568" y="2977"/>
                      </a:lnTo>
                      <a:lnTo>
                        <a:pt x="2608" y="2949"/>
                      </a:lnTo>
                      <a:lnTo>
                        <a:pt x="2647" y="2921"/>
                      </a:lnTo>
                      <a:lnTo>
                        <a:pt x="2686" y="2891"/>
                      </a:lnTo>
                      <a:lnTo>
                        <a:pt x="2724" y="2861"/>
                      </a:lnTo>
                      <a:lnTo>
                        <a:pt x="2762" y="2830"/>
                      </a:lnTo>
                      <a:lnTo>
                        <a:pt x="2799" y="2797"/>
                      </a:lnTo>
                      <a:lnTo>
                        <a:pt x="2835" y="2764"/>
                      </a:lnTo>
                      <a:lnTo>
                        <a:pt x="2869" y="2729"/>
                      </a:lnTo>
                      <a:lnTo>
                        <a:pt x="2904" y="2695"/>
                      </a:lnTo>
                      <a:lnTo>
                        <a:pt x="2937" y="2660"/>
                      </a:lnTo>
                      <a:lnTo>
                        <a:pt x="2969" y="2624"/>
                      </a:lnTo>
                      <a:lnTo>
                        <a:pt x="3002" y="2587"/>
                      </a:lnTo>
                      <a:lnTo>
                        <a:pt x="3032" y="2549"/>
                      </a:lnTo>
                      <a:lnTo>
                        <a:pt x="3061" y="2511"/>
                      </a:lnTo>
                      <a:lnTo>
                        <a:pt x="3091" y="2470"/>
                      </a:lnTo>
                      <a:lnTo>
                        <a:pt x="3119" y="2431"/>
                      </a:lnTo>
                      <a:lnTo>
                        <a:pt x="3147" y="2390"/>
                      </a:lnTo>
                      <a:lnTo>
                        <a:pt x="3172" y="2348"/>
                      </a:lnTo>
                      <a:lnTo>
                        <a:pt x="3197" y="2307"/>
                      </a:lnTo>
                      <a:lnTo>
                        <a:pt x="3223" y="2264"/>
                      </a:lnTo>
                      <a:lnTo>
                        <a:pt x="3246" y="2221"/>
                      </a:lnTo>
                      <a:lnTo>
                        <a:pt x="3268" y="2177"/>
                      </a:lnTo>
                      <a:lnTo>
                        <a:pt x="3288" y="2133"/>
                      </a:lnTo>
                      <a:lnTo>
                        <a:pt x="3309" y="2087"/>
                      </a:lnTo>
                      <a:lnTo>
                        <a:pt x="3329" y="2042"/>
                      </a:lnTo>
                      <a:lnTo>
                        <a:pt x="3346" y="1996"/>
                      </a:lnTo>
                      <a:lnTo>
                        <a:pt x="3363" y="1949"/>
                      </a:lnTo>
                      <a:lnTo>
                        <a:pt x="3379" y="1902"/>
                      </a:lnTo>
                      <a:lnTo>
                        <a:pt x="3394" y="1853"/>
                      </a:lnTo>
                      <a:lnTo>
                        <a:pt x="3407" y="1806"/>
                      </a:lnTo>
                      <a:lnTo>
                        <a:pt x="3419" y="1757"/>
                      </a:lnTo>
                      <a:lnTo>
                        <a:pt x="3431" y="1708"/>
                      </a:lnTo>
                      <a:lnTo>
                        <a:pt x="3441" y="1658"/>
                      </a:lnTo>
                      <a:lnTo>
                        <a:pt x="3449" y="1608"/>
                      </a:lnTo>
                      <a:lnTo>
                        <a:pt x="3457" y="1557"/>
                      </a:lnTo>
                      <a:lnTo>
                        <a:pt x="3464" y="1507"/>
                      </a:lnTo>
                      <a:lnTo>
                        <a:pt x="3469" y="1455"/>
                      </a:lnTo>
                      <a:lnTo>
                        <a:pt x="3472" y="1404"/>
                      </a:lnTo>
                      <a:lnTo>
                        <a:pt x="3476" y="1351"/>
                      </a:lnTo>
                      <a:lnTo>
                        <a:pt x="3477" y="1299"/>
                      </a:lnTo>
                      <a:lnTo>
                        <a:pt x="3477" y="1299"/>
                      </a:lnTo>
                      <a:lnTo>
                        <a:pt x="3477" y="1299"/>
                      </a:lnTo>
                      <a:lnTo>
                        <a:pt x="3466" y="1257"/>
                      </a:lnTo>
                      <a:lnTo>
                        <a:pt x="3454" y="1214"/>
                      </a:lnTo>
                      <a:lnTo>
                        <a:pt x="3441" y="1172"/>
                      </a:lnTo>
                      <a:lnTo>
                        <a:pt x="3429" y="1129"/>
                      </a:lnTo>
                      <a:lnTo>
                        <a:pt x="3415" y="1088"/>
                      </a:lnTo>
                      <a:lnTo>
                        <a:pt x="3401" y="1046"/>
                      </a:lnTo>
                      <a:lnTo>
                        <a:pt x="3386" y="1005"/>
                      </a:lnTo>
                      <a:lnTo>
                        <a:pt x="3371" y="964"/>
                      </a:lnTo>
                      <a:lnTo>
                        <a:pt x="3355" y="924"/>
                      </a:lnTo>
                      <a:lnTo>
                        <a:pt x="3338" y="884"/>
                      </a:lnTo>
                      <a:lnTo>
                        <a:pt x="3303" y="804"/>
                      </a:lnTo>
                      <a:lnTo>
                        <a:pt x="3265" y="726"/>
                      </a:lnTo>
                      <a:lnTo>
                        <a:pt x="3226" y="649"/>
                      </a:lnTo>
                      <a:lnTo>
                        <a:pt x="3183" y="574"/>
                      </a:lnTo>
                      <a:lnTo>
                        <a:pt x="3139" y="500"/>
                      </a:lnTo>
                      <a:lnTo>
                        <a:pt x="3093" y="428"/>
                      </a:lnTo>
                      <a:lnTo>
                        <a:pt x="3043" y="357"/>
                      </a:lnTo>
                      <a:lnTo>
                        <a:pt x="2992" y="287"/>
                      </a:lnTo>
                      <a:lnTo>
                        <a:pt x="2939" y="221"/>
                      </a:lnTo>
                      <a:lnTo>
                        <a:pt x="2884" y="155"/>
                      </a:lnTo>
                      <a:lnTo>
                        <a:pt x="2828" y="91"/>
                      </a:lnTo>
                      <a:lnTo>
                        <a:pt x="2828" y="91"/>
                      </a:lnTo>
                      <a:lnTo>
                        <a:pt x="2816" y="79"/>
                      </a:lnTo>
                      <a:lnTo>
                        <a:pt x="2816" y="79"/>
                      </a:lnTo>
                      <a:lnTo>
                        <a:pt x="2778" y="39"/>
                      </a:lnTo>
                      <a:lnTo>
                        <a:pt x="2738" y="0"/>
                      </a:lnTo>
                      <a:lnTo>
                        <a:pt x="0" y="2737"/>
                      </a:lnTo>
                      <a:close/>
                    </a:path>
                  </a:pathLst>
                </a:custGeom>
                <a:solidFill>
                  <a:srgbClr val="F99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61" name="Freeform 223"/>
                <p:cNvSpPr>
                  <a:spLocks/>
                </p:cNvSpPr>
                <p:nvPr/>
              </p:nvSpPr>
              <p:spPr bwMode="auto">
                <a:xfrm>
                  <a:off x="4259261" y="415925"/>
                  <a:ext cx="520700" cy="107950"/>
                </a:xfrm>
                <a:custGeom>
                  <a:avLst/>
                  <a:gdLst>
                    <a:gd name="T0" fmla="*/ 2297 w 2297"/>
                    <a:gd name="T1" fmla="*/ 238 h 475"/>
                    <a:gd name="T2" fmla="*/ 2293 w 2297"/>
                    <a:gd name="T3" fmla="*/ 285 h 475"/>
                    <a:gd name="T4" fmla="*/ 2279 w 2297"/>
                    <a:gd name="T5" fmla="*/ 330 h 475"/>
                    <a:gd name="T6" fmla="*/ 2257 w 2297"/>
                    <a:gd name="T7" fmla="*/ 370 h 475"/>
                    <a:gd name="T8" fmla="*/ 2227 w 2297"/>
                    <a:gd name="T9" fmla="*/ 406 h 475"/>
                    <a:gd name="T10" fmla="*/ 2192 w 2297"/>
                    <a:gd name="T11" fmla="*/ 435 h 475"/>
                    <a:gd name="T12" fmla="*/ 2152 w 2297"/>
                    <a:gd name="T13" fmla="*/ 457 h 475"/>
                    <a:gd name="T14" fmla="*/ 2107 w 2297"/>
                    <a:gd name="T15" fmla="*/ 471 h 475"/>
                    <a:gd name="T16" fmla="*/ 2059 w 2297"/>
                    <a:gd name="T17" fmla="*/ 475 h 475"/>
                    <a:gd name="T18" fmla="*/ 239 w 2297"/>
                    <a:gd name="T19" fmla="*/ 475 h 475"/>
                    <a:gd name="T20" fmla="*/ 190 w 2297"/>
                    <a:gd name="T21" fmla="*/ 471 h 475"/>
                    <a:gd name="T22" fmla="*/ 147 w 2297"/>
                    <a:gd name="T23" fmla="*/ 457 h 475"/>
                    <a:gd name="T24" fmla="*/ 106 w 2297"/>
                    <a:gd name="T25" fmla="*/ 435 h 475"/>
                    <a:gd name="T26" fmla="*/ 71 w 2297"/>
                    <a:gd name="T27" fmla="*/ 406 h 475"/>
                    <a:gd name="T28" fmla="*/ 42 w 2297"/>
                    <a:gd name="T29" fmla="*/ 370 h 475"/>
                    <a:gd name="T30" fmla="*/ 20 w 2297"/>
                    <a:gd name="T31" fmla="*/ 330 h 475"/>
                    <a:gd name="T32" fmla="*/ 6 w 2297"/>
                    <a:gd name="T33" fmla="*/ 285 h 475"/>
                    <a:gd name="T34" fmla="*/ 0 w 2297"/>
                    <a:gd name="T35" fmla="*/ 238 h 475"/>
                    <a:gd name="T36" fmla="*/ 2 w 2297"/>
                    <a:gd name="T37" fmla="*/ 214 h 475"/>
                    <a:gd name="T38" fmla="*/ 12 w 2297"/>
                    <a:gd name="T39" fmla="*/ 167 h 475"/>
                    <a:gd name="T40" fmla="*/ 29 w 2297"/>
                    <a:gd name="T41" fmla="*/ 124 h 475"/>
                    <a:gd name="T42" fmla="*/ 56 w 2297"/>
                    <a:gd name="T43" fmla="*/ 86 h 475"/>
                    <a:gd name="T44" fmla="*/ 88 w 2297"/>
                    <a:gd name="T45" fmla="*/ 54 h 475"/>
                    <a:gd name="T46" fmla="*/ 126 w 2297"/>
                    <a:gd name="T47" fmla="*/ 29 h 475"/>
                    <a:gd name="T48" fmla="*/ 168 w 2297"/>
                    <a:gd name="T49" fmla="*/ 10 h 475"/>
                    <a:gd name="T50" fmla="*/ 214 w 2297"/>
                    <a:gd name="T51" fmla="*/ 1 h 475"/>
                    <a:gd name="T52" fmla="*/ 2059 w 2297"/>
                    <a:gd name="T53" fmla="*/ 0 h 475"/>
                    <a:gd name="T54" fmla="*/ 2083 w 2297"/>
                    <a:gd name="T55" fmla="*/ 1 h 475"/>
                    <a:gd name="T56" fmla="*/ 2130 w 2297"/>
                    <a:gd name="T57" fmla="*/ 10 h 475"/>
                    <a:gd name="T58" fmla="*/ 2173 w 2297"/>
                    <a:gd name="T59" fmla="*/ 29 h 475"/>
                    <a:gd name="T60" fmla="*/ 2211 w 2297"/>
                    <a:gd name="T61" fmla="*/ 54 h 475"/>
                    <a:gd name="T62" fmla="*/ 2243 w 2297"/>
                    <a:gd name="T63" fmla="*/ 86 h 475"/>
                    <a:gd name="T64" fmla="*/ 2268 w 2297"/>
                    <a:gd name="T65" fmla="*/ 124 h 475"/>
                    <a:gd name="T66" fmla="*/ 2287 w 2297"/>
                    <a:gd name="T67" fmla="*/ 167 h 475"/>
                    <a:gd name="T68" fmla="*/ 2296 w 2297"/>
                    <a:gd name="T69" fmla="*/ 214 h 475"/>
                    <a:gd name="T70" fmla="*/ 2297 w 2297"/>
                    <a:gd name="T71" fmla="*/ 238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97" h="475">
                      <a:moveTo>
                        <a:pt x="2297" y="238"/>
                      </a:moveTo>
                      <a:lnTo>
                        <a:pt x="2297" y="238"/>
                      </a:lnTo>
                      <a:lnTo>
                        <a:pt x="2296" y="262"/>
                      </a:lnTo>
                      <a:lnTo>
                        <a:pt x="2293" y="285"/>
                      </a:lnTo>
                      <a:lnTo>
                        <a:pt x="2287" y="308"/>
                      </a:lnTo>
                      <a:lnTo>
                        <a:pt x="2279" y="330"/>
                      </a:lnTo>
                      <a:lnTo>
                        <a:pt x="2268" y="351"/>
                      </a:lnTo>
                      <a:lnTo>
                        <a:pt x="2257" y="370"/>
                      </a:lnTo>
                      <a:lnTo>
                        <a:pt x="2243" y="389"/>
                      </a:lnTo>
                      <a:lnTo>
                        <a:pt x="2227" y="406"/>
                      </a:lnTo>
                      <a:lnTo>
                        <a:pt x="2211" y="421"/>
                      </a:lnTo>
                      <a:lnTo>
                        <a:pt x="2192" y="435"/>
                      </a:lnTo>
                      <a:lnTo>
                        <a:pt x="2173" y="446"/>
                      </a:lnTo>
                      <a:lnTo>
                        <a:pt x="2152" y="457"/>
                      </a:lnTo>
                      <a:lnTo>
                        <a:pt x="2130" y="465"/>
                      </a:lnTo>
                      <a:lnTo>
                        <a:pt x="2107" y="471"/>
                      </a:lnTo>
                      <a:lnTo>
                        <a:pt x="2083" y="474"/>
                      </a:lnTo>
                      <a:lnTo>
                        <a:pt x="2059" y="475"/>
                      </a:lnTo>
                      <a:lnTo>
                        <a:pt x="239" y="475"/>
                      </a:lnTo>
                      <a:lnTo>
                        <a:pt x="239" y="475"/>
                      </a:lnTo>
                      <a:lnTo>
                        <a:pt x="214" y="474"/>
                      </a:lnTo>
                      <a:lnTo>
                        <a:pt x="190" y="471"/>
                      </a:lnTo>
                      <a:lnTo>
                        <a:pt x="168" y="465"/>
                      </a:lnTo>
                      <a:lnTo>
                        <a:pt x="147" y="457"/>
                      </a:lnTo>
                      <a:lnTo>
                        <a:pt x="126" y="446"/>
                      </a:lnTo>
                      <a:lnTo>
                        <a:pt x="106" y="435"/>
                      </a:lnTo>
                      <a:lnTo>
                        <a:pt x="88" y="421"/>
                      </a:lnTo>
                      <a:lnTo>
                        <a:pt x="71" y="406"/>
                      </a:lnTo>
                      <a:lnTo>
                        <a:pt x="56" y="389"/>
                      </a:lnTo>
                      <a:lnTo>
                        <a:pt x="42" y="370"/>
                      </a:lnTo>
                      <a:lnTo>
                        <a:pt x="29" y="351"/>
                      </a:lnTo>
                      <a:lnTo>
                        <a:pt x="20" y="330"/>
                      </a:lnTo>
                      <a:lnTo>
                        <a:pt x="12" y="308"/>
                      </a:lnTo>
                      <a:lnTo>
                        <a:pt x="6" y="285"/>
                      </a:lnTo>
                      <a:lnTo>
                        <a:pt x="2" y="262"/>
                      </a:lnTo>
                      <a:lnTo>
                        <a:pt x="0" y="238"/>
                      </a:lnTo>
                      <a:lnTo>
                        <a:pt x="0" y="238"/>
                      </a:lnTo>
                      <a:lnTo>
                        <a:pt x="2" y="214"/>
                      </a:lnTo>
                      <a:lnTo>
                        <a:pt x="6" y="190"/>
                      </a:lnTo>
                      <a:lnTo>
                        <a:pt x="12" y="167"/>
                      </a:lnTo>
                      <a:lnTo>
                        <a:pt x="20" y="145"/>
                      </a:lnTo>
                      <a:lnTo>
                        <a:pt x="29" y="124"/>
                      </a:lnTo>
                      <a:lnTo>
                        <a:pt x="42" y="105"/>
                      </a:lnTo>
                      <a:lnTo>
                        <a:pt x="56" y="86"/>
                      </a:lnTo>
                      <a:lnTo>
                        <a:pt x="71" y="70"/>
                      </a:lnTo>
                      <a:lnTo>
                        <a:pt x="88" y="54"/>
                      </a:lnTo>
                      <a:lnTo>
                        <a:pt x="106" y="40"/>
                      </a:lnTo>
                      <a:lnTo>
                        <a:pt x="126" y="29"/>
                      </a:lnTo>
                      <a:lnTo>
                        <a:pt x="147" y="18"/>
                      </a:lnTo>
                      <a:lnTo>
                        <a:pt x="168" y="10"/>
                      </a:lnTo>
                      <a:lnTo>
                        <a:pt x="190" y="4"/>
                      </a:lnTo>
                      <a:lnTo>
                        <a:pt x="214" y="1"/>
                      </a:lnTo>
                      <a:lnTo>
                        <a:pt x="239" y="0"/>
                      </a:lnTo>
                      <a:lnTo>
                        <a:pt x="2059" y="0"/>
                      </a:lnTo>
                      <a:lnTo>
                        <a:pt x="2059" y="0"/>
                      </a:lnTo>
                      <a:lnTo>
                        <a:pt x="2083" y="1"/>
                      </a:lnTo>
                      <a:lnTo>
                        <a:pt x="2107" y="4"/>
                      </a:lnTo>
                      <a:lnTo>
                        <a:pt x="2130" y="10"/>
                      </a:lnTo>
                      <a:lnTo>
                        <a:pt x="2152" y="18"/>
                      </a:lnTo>
                      <a:lnTo>
                        <a:pt x="2173" y="29"/>
                      </a:lnTo>
                      <a:lnTo>
                        <a:pt x="2192" y="40"/>
                      </a:lnTo>
                      <a:lnTo>
                        <a:pt x="2211" y="54"/>
                      </a:lnTo>
                      <a:lnTo>
                        <a:pt x="2227" y="70"/>
                      </a:lnTo>
                      <a:lnTo>
                        <a:pt x="2243" y="86"/>
                      </a:lnTo>
                      <a:lnTo>
                        <a:pt x="2257" y="105"/>
                      </a:lnTo>
                      <a:lnTo>
                        <a:pt x="2268" y="124"/>
                      </a:lnTo>
                      <a:lnTo>
                        <a:pt x="2279" y="145"/>
                      </a:lnTo>
                      <a:lnTo>
                        <a:pt x="2287" y="167"/>
                      </a:lnTo>
                      <a:lnTo>
                        <a:pt x="2293" y="190"/>
                      </a:lnTo>
                      <a:lnTo>
                        <a:pt x="2296" y="214"/>
                      </a:lnTo>
                      <a:lnTo>
                        <a:pt x="2297" y="238"/>
                      </a:lnTo>
                      <a:lnTo>
                        <a:pt x="2297" y="238"/>
                      </a:lnTo>
                      <a:close/>
                    </a:path>
                  </a:pathLst>
                </a:custGeom>
                <a:solidFill>
                  <a:srgbClr val="FFD1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62" name="Freeform 224"/>
                <p:cNvSpPr>
                  <a:spLocks/>
                </p:cNvSpPr>
                <p:nvPr/>
              </p:nvSpPr>
              <p:spPr bwMode="auto">
                <a:xfrm>
                  <a:off x="4283073" y="1103312"/>
                  <a:ext cx="398463" cy="82550"/>
                </a:xfrm>
                <a:custGeom>
                  <a:avLst/>
                  <a:gdLst>
                    <a:gd name="T0" fmla="*/ 1758 w 1758"/>
                    <a:gd name="T1" fmla="*/ 183 h 365"/>
                    <a:gd name="T2" fmla="*/ 1754 w 1758"/>
                    <a:gd name="T3" fmla="*/ 219 h 365"/>
                    <a:gd name="T4" fmla="*/ 1743 w 1758"/>
                    <a:gd name="T5" fmla="*/ 253 h 365"/>
                    <a:gd name="T6" fmla="*/ 1727 w 1758"/>
                    <a:gd name="T7" fmla="*/ 284 h 365"/>
                    <a:gd name="T8" fmla="*/ 1704 w 1758"/>
                    <a:gd name="T9" fmla="*/ 311 h 365"/>
                    <a:gd name="T10" fmla="*/ 1678 w 1758"/>
                    <a:gd name="T11" fmla="*/ 334 h 365"/>
                    <a:gd name="T12" fmla="*/ 1647 w 1758"/>
                    <a:gd name="T13" fmla="*/ 350 h 365"/>
                    <a:gd name="T14" fmla="*/ 1612 w 1758"/>
                    <a:gd name="T15" fmla="*/ 362 h 365"/>
                    <a:gd name="T16" fmla="*/ 1575 w 1758"/>
                    <a:gd name="T17" fmla="*/ 365 h 365"/>
                    <a:gd name="T18" fmla="*/ 182 w 1758"/>
                    <a:gd name="T19" fmla="*/ 365 h 365"/>
                    <a:gd name="T20" fmla="*/ 145 w 1758"/>
                    <a:gd name="T21" fmla="*/ 362 h 365"/>
                    <a:gd name="T22" fmla="*/ 111 w 1758"/>
                    <a:gd name="T23" fmla="*/ 350 h 365"/>
                    <a:gd name="T24" fmla="*/ 81 w 1758"/>
                    <a:gd name="T25" fmla="*/ 334 h 365"/>
                    <a:gd name="T26" fmla="*/ 53 w 1758"/>
                    <a:gd name="T27" fmla="*/ 311 h 365"/>
                    <a:gd name="T28" fmla="*/ 32 w 1758"/>
                    <a:gd name="T29" fmla="*/ 284 h 365"/>
                    <a:gd name="T30" fmla="*/ 14 w 1758"/>
                    <a:gd name="T31" fmla="*/ 253 h 365"/>
                    <a:gd name="T32" fmla="*/ 4 w 1758"/>
                    <a:gd name="T33" fmla="*/ 219 h 365"/>
                    <a:gd name="T34" fmla="*/ 0 w 1758"/>
                    <a:gd name="T35" fmla="*/ 183 h 365"/>
                    <a:gd name="T36" fmla="*/ 2 w 1758"/>
                    <a:gd name="T37" fmla="*/ 164 h 365"/>
                    <a:gd name="T38" fmla="*/ 8 w 1758"/>
                    <a:gd name="T39" fmla="*/ 129 h 365"/>
                    <a:gd name="T40" fmla="*/ 22 w 1758"/>
                    <a:gd name="T41" fmla="*/ 96 h 365"/>
                    <a:gd name="T42" fmla="*/ 42 w 1758"/>
                    <a:gd name="T43" fmla="*/ 67 h 365"/>
                    <a:gd name="T44" fmla="*/ 66 w 1758"/>
                    <a:gd name="T45" fmla="*/ 43 h 365"/>
                    <a:gd name="T46" fmla="*/ 96 w 1758"/>
                    <a:gd name="T47" fmla="*/ 23 h 365"/>
                    <a:gd name="T48" fmla="*/ 128 w 1758"/>
                    <a:gd name="T49" fmla="*/ 9 h 365"/>
                    <a:gd name="T50" fmla="*/ 164 w 1758"/>
                    <a:gd name="T51" fmla="*/ 1 h 365"/>
                    <a:gd name="T52" fmla="*/ 1575 w 1758"/>
                    <a:gd name="T53" fmla="*/ 0 h 365"/>
                    <a:gd name="T54" fmla="*/ 1595 w 1758"/>
                    <a:gd name="T55" fmla="*/ 1 h 365"/>
                    <a:gd name="T56" fmla="*/ 1629 w 1758"/>
                    <a:gd name="T57" fmla="*/ 9 h 365"/>
                    <a:gd name="T58" fmla="*/ 1663 w 1758"/>
                    <a:gd name="T59" fmla="*/ 23 h 365"/>
                    <a:gd name="T60" fmla="*/ 1692 w 1758"/>
                    <a:gd name="T61" fmla="*/ 43 h 365"/>
                    <a:gd name="T62" fmla="*/ 1716 w 1758"/>
                    <a:gd name="T63" fmla="*/ 67 h 365"/>
                    <a:gd name="T64" fmla="*/ 1735 w 1758"/>
                    <a:gd name="T65" fmla="*/ 96 h 365"/>
                    <a:gd name="T66" fmla="*/ 1749 w 1758"/>
                    <a:gd name="T67" fmla="*/ 129 h 365"/>
                    <a:gd name="T68" fmla="*/ 1757 w 1758"/>
                    <a:gd name="T69" fmla="*/ 164 h 365"/>
                    <a:gd name="T70" fmla="*/ 1758 w 1758"/>
                    <a:gd name="T71" fmla="*/ 183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58" h="365">
                      <a:moveTo>
                        <a:pt x="1758" y="183"/>
                      </a:moveTo>
                      <a:lnTo>
                        <a:pt x="1758" y="183"/>
                      </a:lnTo>
                      <a:lnTo>
                        <a:pt x="1757" y="202"/>
                      </a:lnTo>
                      <a:lnTo>
                        <a:pt x="1754" y="219"/>
                      </a:lnTo>
                      <a:lnTo>
                        <a:pt x="1749" y="237"/>
                      </a:lnTo>
                      <a:lnTo>
                        <a:pt x="1743" y="253"/>
                      </a:lnTo>
                      <a:lnTo>
                        <a:pt x="1735" y="269"/>
                      </a:lnTo>
                      <a:lnTo>
                        <a:pt x="1727" y="284"/>
                      </a:lnTo>
                      <a:lnTo>
                        <a:pt x="1716" y="298"/>
                      </a:lnTo>
                      <a:lnTo>
                        <a:pt x="1704" y="311"/>
                      </a:lnTo>
                      <a:lnTo>
                        <a:pt x="1692" y="324"/>
                      </a:lnTo>
                      <a:lnTo>
                        <a:pt x="1678" y="334"/>
                      </a:lnTo>
                      <a:lnTo>
                        <a:pt x="1663" y="343"/>
                      </a:lnTo>
                      <a:lnTo>
                        <a:pt x="1647" y="350"/>
                      </a:lnTo>
                      <a:lnTo>
                        <a:pt x="1629" y="357"/>
                      </a:lnTo>
                      <a:lnTo>
                        <a:pt x="1612" y="362"/>
                      </a:lnTo>
                      <a:lnTo>
                        <a:pt x="1595" y="364"/>
                      </a:lnTo>
                      <a:lnTo>
                        <a:pt x="1575" y="365"/>
                      </a:lnTo>
                      <a:lnTo>
                        <a:pt x="182" y="365"/>
                      </a:lnTo>
                      <a:lnTo>
                        <a:pt x="182" y="365"/>
                      </a:lnTo>
                      <a:lnTo>
                        <a:pt x="164" y="364"/>
                      </a:lnTo>
                      <a:lnTo>
                        <a:pt x="145" y="362"/>
                      </a:lnTo>
                      <a:lnTo>
                        <a:pt x="128" y="357"/>
                      </a:lnTo>
                      <a:lnTo>
                        <a:pt x="111" y="350"/>
                      </a:lnTo>
                      <a:lnTo>
                        <a:pt x="96" y="343"/>
                      </a:lnTo>
                      <a:lnTo>
                        <a:pt x="81" y="334"/>
                      </a:lnTo>
                      <a:lnTo>
                        <a:pt x="66" y="324"/>
                      </a:lnTo>
                      <a:lnTo>
                        <a:pt x="53" y="311"/>
                      </a:lnTo>
                      <a:lnTo>
                        <a:pt x="42" y="298"/>
                      </a:lnTo>
                      <a:lnTo>
                        <a:pt x="32" y="284"/>
                      </a:lnTo>
                      <a:lnTo>
                        <a:pt x="22" y="269"/>
                      </a:lnTo>
                      <a:lnTo>
                        <a:pt x="14" y="253"/>
                      </a:lnTo>
                      <a:lnTo>
                        <a:pt x="8" y="237"/>
                      </a:lnTo>
                      <a:lnTo>
                        <a:pt x="4" y="219"/>
                      </a:lnTo>
                      <a:lnTo>
                        <a:pt x="2" y="202"/>
                      </a:lnTo>
                      <a:lnTo>
                        <a:pt x="0" y="183"/>
                      </a:lnTo>
                      <a:lnTo>
                        <a:pt x="0" y="183"/>
                      </a:lnTo>
                      <a:lnTo>
                        <a:pt x="2" y="164"/>
                      </a:lnTo>
                      <a:lnTo>
                        <a:pt x="4" y="146"/>
                      </a:lnTo>
                      <a:lnTo>
                        <a:pt x="8" y="129"/>
                      </a:lnTo>
                      <a:lnTo>
                        <a:pt x="14" y="112"/>
                      </a:lnTo>
                      <a:lnTo>
                        <a:pt x="22" y="96"/>
                      </a:lnTo>
                      <a:lnTo>
                        <a:pt x="32" y="81"/>
                      </a:lnTo>
                      <a:lnTo>
                        <a:pt x="42" y="67"/>
                      </a:lnTo>
                      <a:lnTo>
                        <a:pt x="53" y="54"/>
                      </a:lnTo>
                      <a:lnTo>
                        <a:pt x="66" y="43"/>
                      </a:lnTo>
                      <a:lnTo>
                        <a:pt x="81" y="31"/>
                      </a:lnTo>
                      <a:lnTo>
                        <a:pt x="96" y="23"/>
                      </a:lnTo>
                      <a:lnTo>
                        <a:pt x="111" y="15"/>
                      </a:lnTo>
                      <a:lnTo>
                        <a:pt x="128" y="9"/>
                      </a:lnTo>
                      <a:lnTo>
                        <a:pt x="145" y="5"/>
                      </a:lnTo>
                      <a:lnTo>
                        <a:pt x="164" y="1"/>
                      </a:lnTo>
                      <a:lnTo>
                        <a:pt x="182" y="0"/>
                      </a:lnTo>
                      <a:lnTo>
                        <a:pt x="1575" y="0"/>
                      </a:lnTo>
                      <a:lnTo>
                        <a:pt x="1575" y="0"/>
                      </a:lnTo>
                      <a:lnTo>
                        <a:pt x="1595" y="1"/>
                      </a:lnTo>
                      <a:lnTo>
                        <a:pt x="1612" y="5"/>
                      </a:lnTo>
                      <a:lnTo>
                        <a:pt x="1629" y="9"/>
                      </a:lnTo>
                      <a:lnTo>
                        <a:pt x="1647" y="15"/>
                      </a:lnTo>
                      <a:lnTo>
                        <a:pt x="1663" y="23"/>
                      </a:lnTo>
                      <a:lnTo>
                        <a:pt x="1678" y="31"/>
                      </a:lnTo>
                      <a:lnTo>
                        <a:pt x="1692" y="43"/>
                      </a:lnTo>
                      <a:lnTo>
                        <a:pt x="1704" y="54"/>
                      </a:lnTo>
                      <a:lnTo>
                        <a:pt x="1716" y="67"/>
                      </a:lnTo>
                      <a:lnTo>
                        <a:pt x="1727" y="81"/>
                      </a:lnTo>
                      <a:lnTo>
                        <a:pt x="1735" y="96"/>
                      </a:lnTo>
                      <a:lnTo>
                        <a:pt x="1743" y="112"/>
                      </a:lnTo>
                      <a:lnTo>
                        <a:pt x="1749" y="129"/>
                      </a:lnTo>
                      <a:lnTo>
                        <a:pt x="1754" y="146"/>
                      </a:lnTo>
                      <a:lnTo>
                        <a:pt x="1757" y="164"/>
                      </a:lnTo>
                      <a:lnTo>
                        <a:pt x="1758" y="183"/>
                      </a:lnTo>
                      <a:lnTo>
                        <a:pt x="1758" y="183"/>
                      </a:lnTo>
                      <a:close/>
                    </a:path>
                  </a:pathLst>
                </a:custGeom>
                <a:solidFill>
                  <a:srgbClr val="FFD1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63" name="Freeform 225"/>
                <p:cNvSpPr>
                  <a:spLocks/>
                </p:cNvSpPr>
                <p:nvPr/>
              </p:nvSpPr>
              <p:spPr bwMode="auto">
                <a:xfrm>
                  <a:off x="4946647" y="849312"/>
                  <a:ext cx="371475" cy="77788"/>
                </a:xfrm>
                <a:custGeom>
                  <a:avLst/>
                  <a:gdLst>
                    <a:gd name="T0" fmla="*/ 1634 w 1634"/>
                    <a:gd name="T1" fmla="*/ 169 h 338"/>
                    <a:gd name="T2" fmla="*/ 1631 w 1634"/>
                    <a:gd name="T3" fmla="*/ 203 h 338"/>
                    <a:gd name="T4" fmla="*/ 1621 w 1634"/>
                    <a:gd name="T5" fmla="*/ 234 h 338"/>
                    <a:gd name="T6" fmla="*/ 1606 w 1634"/>
                    <a:gd name="T7" fmla="*/ 263 h 338"/>
                    <a:gd name="T8" fmla="*/ 1585 w 1634"/>
                    <a:gd name="T9" fmla="*/ 289 h 338"/>
                    <a:gd name="T10" fmla="*/ 1560 w 1634"/>
                    <a:gd name="T11" fmla="*/ 309 h 338"/>
                    <a:gd name="T12" fmla="*/ 1531 w 1634"/>
                    <a:gd name="T13" fmla="*/ 324 h 338"/>
                    <a:gd name="T14" fmla="*/ 1499 w 1634"/>
                    <a:gd name="T15" fmla="*/ 335 h 338"/>
                    <a:gd name="T16" fmla="*/ 1465 w 1634"/>
                    <a:gd name="T17" fmla="*/ 338 h 338"/>
                    <a:gd name="T18" fmla="*/ 169 w 1634"/>
                    <a:gd name="T19" fmla="*/ 338 h 338"/>
                    <a:gd name="T20" fmla="*/ 134 w 1634"/>
                    <a:gd name="T21" fmla="*/ 335 h 338"/>
                    <a:gd name="T22" fmla="*/ 103 w 1634"/>
                    <a:gd name="T23" fmla="*/ 324 h 338"/>
                    <a:gd name="T24" fmla="*/ 74 w 1634"/>
                    <a:gd name="T25" fmla="*/ 309 h 338"/>
                    <a:gd name="T26" fmla="*/ 49 w 1634"/>
                    <a:gd name="T27" fmla="*/ 289 h 338"/>
                    <a:gd name="T28" fmla="*/ 28 w 1634"/>
                    <a:gd name="T29" fmla="*/ 263 h 338"/>
                    <a:gd name="T30" fmla="*/ 12 w 1634"/>
                    <a:gd name="T31" fmla="*/ 234 h 338"/>
                    <a:gd name="T32" fmla="*/ 3 w 1634"/>
                    <a:gd name="T33" fmla="*/ 203 h 338"/>
                    <a:gd name="T34" fmla="*/ 0 w 1634"/>
                    <a:gd name="T35" fmla="*/ 169 h 338"/>
                    <a:gd name="T36" fmla="*/ 1 w 1634"/>
                    <a:gd name="T37" fmla="*/ 152 h 338"/>
                    <a:gd name="T38" fmla="*/ 7 w 1634"/>
                    <a:gd name="T39" fmla="*/ 118 h 338"/>
                    <a:gd name="T40" fmla="*/ 20 w 1634"/>
                    <a:gd name="T41" fmla="*/ 88 h 338"/>
                    <a:gd name="T42" fmla="*/ 38 w 1634"/>
                    <a:gd name="T43" fmla="*/ 61 h 338"/>
                    <a:gd name="T44" fmla="*/ 61 w 1634"/>
                    <a:gd name="T45" fmla="*/ 38 h 338"/>
                    <a:gd name="T46" fmla="*/ 88 w 1634"/>
                    <a:gd name="T47" fmla="*/ 20 h 338"/>
                    <a:gd name="T48" fmla="*/ 118 w 1634"/>
                    <a:gd name="T49" fmla="*/ 6 h 338"/>
                    <a:gd name="T50" fmla="*/ 152 w 1634"/>
                    <a:gd name="T51" fmla="*/ 1 h 338"/>
                    <a:gd name="T52" fmla="*/ 1465 w 1634"/>
                    <a:gd name="T53" fmla="*/ 0 h 338"/>
                    <a:gd name="T54" fmla="*/ 1482 w 1634"/>
                    <a:gd name="T55" fmla="*/ 1 h 338"/>
                    <a:gd name="T56" fmla="*/ 1515 w 1634"/>
                    <a:gd name="T57" fmla="*/ 6 h 338"/>
                    <a:gd name="T58" fmla="*/ 1546 w 1634"/>
                    <a:gd name="T59" fmla="*/ 20 h 338"/>
                    <a:gd name="T60" fmla="*/ 1572 w 1634"/>
                    <a:gd name="T61" fmla="*/ 38 h 338"/>
                    <a:gd name="T62" fmla="*/ 1595 w 1634"/>
                    <a:gd name="T63" fmla="*/ 61 h 338"/>
                    <a:gd name="T64" fmla="*/ 1614 w 1634"/>
                    <a:gd name="T65" fmla="*/ 88 h 338"/>
                    <a:gd name="T66" fmla="*/ 1626 w 1634"/>
                    <a:gd name="T67" fmla="*/ 118 h 338"/>
                    <a:gd name="T68" fmla="*/ 1633 w 1634"/>
                    <a:gd name="T69" fmla="*/ 152 h 338"/>
                    <a:gd name="T70" fmla="*/ 1634 w 1634"/>
                    <a:gd name="T71" fmla="*/ 169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34" h="338">
                      <a:moveTo>
                        <a:pt x="1634" y="169"/>
                      </a:moveTo>
                      <a:lnTo>
                        <a:pt x="1634" y="169"/>
                      </a:lnTo>
                      <a:lnTo>
                        <a:pt x="1633" y="186"/>
                      </a:lnTo>
                      <a:lnTo>
                        <a:pt x="1631" y="203"/>
                      </a:lnTo>
                      <a:lnTo>
                        <a:pt x="1626" y="219"/>
                      </a:lnTo>
                      <a:lnTo>
                        <a:pt x="1621" y="234"/>
                      </a:lnTo>
                      <a:lnTo>
                        <a:pt x="1614" y="249"/>
                      </a:lnTo>
                      <a:lnTo>
                        <a:pt x="1606" y="263"/>
                      </a:lnTo>
                      <a:lnTo>
                        <a:pt x="1595" y="276"/>
                      </a:lnTo>
                      <a:lnTo>
                        <a:pt x="1585" y="289"/>
                      </a:lnTo>
                      <a:lnTo>
                        <a:pt x="1572" y="299"/>
                      </a:lnTo>
                      <a:lnTo>
                        <a:pt x="1560" y="309"/>
                      </a:lnTo>
                      <a:lnTo>
                        <a:pt x="1546" y="317"/>
                      </a:lnTo>
                      <a:lnTo>
                        <a:pt x="1531" y="324"/>
                      </a:lnTo>
                      <a:lnTo>
                        <a:pt x="1515" y="330"/>
                      </a:lnTo>
                      <a:lnTo>
                        <a:pt x="1499" y="335"/>
                      </a:lnTo>
                      <a:lnTo>
                        <a:pt x="1482" y="337"/>
                      </a:lnTo>
                      <a:lnTo>
                        <a:pt x="1465" y="338"/>
                      </a:lnTo>
                      <a:lnTo>
                        <a:pt x="169" y="338"/>
                      </a:lnTo>
                      <a:lnTo>
                        <a:pt x="169" y="338"/>
                      </a:lnTo>
                      <a:lnTo>
                        <a:pt x="152" y="337"/>
                      </a:lnTo>
                      <a:lnTo>
                        <a:pt x="134" y="335"/>
                      </a:lnTo>
                      <a:lnTo>
                        <a:pt x="118" y="330"/>
                      </a:lnTo>
                      <a:lnTo>
                        <a:pt x="103" y="324"/>
                      </a:lnTo>
                      <a:lnTo>
                        <a:pt x="88" y="317"/>
                      </a:lnTo>
                      <a:lnTo>
                        <a:pt x="74" y="309"/>
                      </a:lnTo>
                      <a:lnTo>
                        <a:pt x="61" y="299"/>
                      </a:lnTo>
                      <a:lnTo>
                        <a:pt x="49" y="289"/>
                      </a:lnTo>
                      <a:lnTo>
                        <a:pt x="38" y="276"/>
                      </a:lnTo>
                      <a:lnTo>
                        <a:pt x="28" y="263"/>
                      </a:lnTo>
                      <a:lnTo>
                        <a:pt x="20" y="249"/>
                      </a:lnTo>
                      <a:lnTo>
                        <a:pt x="12" y="234"/>
                      </a:lnTo>
                      <a:lnTo>
                        <a:pt x="7" y="219"/>
                      </a:lnTo>
                      <a:lnTo>
                        <a:pt x="3" y="203"/>
                      </a:lnTo>
                      <a:lnTo>
                        <a:pt x="1" y="186"/>
                      </a:lnTo>
                      <a:lnTo>
                        <a:pt x="0" y="169"/>
                      </a:lnTo>
                      <a:lnTo>
                        <a:pt x="0" y="169"/>
                      </a:lnTo>
                      <a:lnTo>
                        <a:pt x="1" y="152"/>
                      </a:lnTo>
                      <a:lnTo>
                        <a:pt x="3" y="134"/>
                      </a:lnTo>
                      <a:lnTo>
                        <a:pt x="7" y="118"/>
                      </a:lnTo>
                      <a:lnTo>
                        <a:pt x="12" y="103"/>
                      </a:lnTo>
                      <a:lnTo>
                        <a:pt x="20" y="88"/>
                      </a:lnTo>
                      <a:lnTo>
                        <a:pt x="28" y="74"/>
                      </a:lnTo>
                      <a:lnTo>
                        <a:pt x="38" y="61"/>
                      </a:lnTo>
                      <a:lnTo>
                        <a:pt x="49" y="49"/>
                      </a:lnTo>
                      <a:lnTo>
                        <a:pt x="61" y="38"/>
                      </a:lnTo>
                      <a:lnTo>
                        <a:pt x="74" y="28"/>
                      </a:lnTo>
                      <a:lnTo>
                        <a:pt x="88" y="20"/>
                      </a:lnTo>
                      <a:lnTo>
                        <a:pt x="103" y="12"/>
                      </a:lnTo>
                      <a:lnTo>
                        <a:pt x="118" y="6"/>
                      </a:lnTo>
                      <a:lnTo>
                        <a:pt x="134" y="3"/>
                      </a:lnTo>
                      <a:lnTo>
                        <a:pt x="152" y="1"/>
                      </a:lnTo>
                      <a:lnTo>
                        <a:pt x="169" y="0"/>
                      </a:lnTo>
                      <a:lnTo>
                        <a:pt x="1465" y="0"/>
                      </a:lnTo>
                      <a:lnTo>
                        <a:pt x="1465" y="0"/>
                      </a:lnTo>
                      <a:lnTo>
                        <a:pt x="1482" y="1"/>
                      </a:lnTo>
                      <a:lnTo>
                        <a:pt x="1499" y="3"/>
                      </a:lnTo>
                      <a:lnTo>
                        <a:pt x="1515" y="6"/>
                      </a:lnTo>
                      <a:lnTo>
                        <a:pt x="1531" y="12"/>
                      </a:lnTo>
                      <a:lnTo>
                        <a:pt x="1546" y="20"/>
                      </a:lnTo>
                      <a:lnTo>
                        <a:pt x="1560" y="28"/>
                      </a:lnTo>
                      <a:lnTo>
                        <a:pt x="1572" y="38"/>
                      </a:lnTo>
                      <a:lnTo>
                        <a:pt x="1585" y="49"/>
                      </a:lnTo>
                      <a:lnTo>
                        <a:pt x="1595" y="61"/>
                      </a:lnTo>
                      <a:lnTo>
                        <a:pt x="1606" y="74"/>
                      </a:lnTo>
                      <a:lnTo>
                        <a:pt x="1614" y="88"/>
                      </a:lnTo>
                      <a:lnTo>
                        <a:pt x="1621" y="103"/>
                      </a:lnTo>
                      <a:lnTo>
                        <a:pt x="1626" y="118"/>
                      </a:lnTo>
                      <a:lnTo>
                        <a:pt x="1631" y="134"/>
                      </a:lnTo>
                      <a:lnTo>
                        <a:pt x="1633" y="152"/>
                      </a:lnTo>
                      <a:lnTo>
                        <a:pt x="1634" y="169"/>
                      </a:lnTo>
                      <a:lnTo>
                        <a:pt x="1634" y="169"/>
                      </a:lnTo>
                      <a:close/>
                    </a:path>
                  </a:pathLst>
                </a:custGeom>
                <a:solidFill>
                  <a:srgbClr val="FFD1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64" name="Freeform 226"/>
                <p:cNvSpPr>
                  <a:spLocks/>
                </p:cNvSpPr>
                <p:nvPr/>
              </p:nvSpPr>
              <p:spPr bwMode="auto">
                <a:xfrm>
                  <a:off x="4552947" y="565150"/>
                  <a:ext cx="128588" cy="128588"/>
                </a:xfrm>
                <a:custGeom>
                  <a:avLst/>
                  <a:gdLst>
                    <a:gd name="T0" fmla="*/ 572 w 572"/>
                    <a:gd name="T1" fmla="*/ 286 h 571"/>
                    <a:gd name="T2" fmla="*/ 570 w 572"/>
                    <a:gd name="T3" fmla="*/ 315 h 571"/>
                    <a:gd name="T4" fmla="*/ 566 w 572"/>
                    <a:gd name="T5" fmla="*/ 343 h 571"/>
                    <a:gd name="T6" fmla="*/ 559 w 572"/>
                    <a:gd name="T7" fmla="*/ 371 h 571"/>
                    <a:gd name="T8" fmla="*/ 549 w 572"/>
                    <a:gd name="T9" fmla="*/ 396 h 571"/>
                    <a:gd name="T10" fmla="*/ 523 w 572"/>
                    <a:gd name="T11" fmla="*/ 446 h 571"/>
                    <a:gd name="T12" fmla="*/ 488 w 572"/>
                    <a:gd name="T13" fmla="*/ 487 h 571"/>
                    <a:gd name="T14" fmla="*/ 446 w 572"/>
                    <a:gd name="T15" fmla="*/ 523 h 571"/>
                    <a:gd name="T16" fmla="*/ 397 w 572"/>
                    <a:gd name="T17" fmla="*/ 550 h 571"/>
                    <a:gd name="T18" fmla="*/ 371 w 572"/>
                    <a:gd name="T19" fmla="*/ 559 h 571"/>
                    <a:gd name="T20" fmla="*/ 343 w 572"/>
                    <a:gd name="T21" fmla="*/ 566 h 571"/>
                    <a:gd name="T22" fmla="*/ 316 w 572"/>
                    <a:gd name="T23" fmla="*/ 570 h 571"/>
                    <a:gd name="T24" fmla="*/ 286 w 572"/>
                    <a:gd name="T25" fmla="*/ 571 h 571"/>
                    <a:gd name="T26" fmla="*/ 271 w 572"/>
                    <a:gd name="T27" fmla="*/ 571 h 571"/>
                    <a:gd name="T28" fmla="*/ 242 w 572"/>
                    <a:gd name="T29" fmla="*/ 568 h 571"/>
                    <a:gd name="T30" fmla="*/ 214 w 572"/>
                    <a:gd name="T31" fmla="*/ 562 h 571"/>
                    <a:gd name="T32" fmla="*/ 188 w 572"/>
                    <a:gd name="T33" fmla="*/ 554 h 571"/>
                    <a:gd name="T34" fmla="*/ 150 w 572"/>
                    <a:gd name="T35" fmla="*/ 537 h 571"/>
                    <a:gd name="T36" fmla="*/ 104 w 572"/>
                    <a:gd name="T37" fmla="*/ 506 h 571"/>
                    <a:gd name="T38" fmla="*/ 66 w 572"/>
                    <a:gd name="T39" fmla="*/ 468 h 571"/>
                    <a:gd name="T40" fmla="*/ 35 w 572"/>
                    <a:gd name="T41" fmla="*/ 422 h 571"/>
                    <a:gd name="T42" fmla="*/ 17 w 572"/>
                    <a:gd name="T43" fmla="*/ 384 h 571"/>
                    <a:gd name="T44" fmla="*/ 9 w 572"/>
                    <a:gd name="T45" fmla="*/ 357 h 571"/>
                    <a:gd name="T46" fmla="*/ 4 w 572"/>
                    <a:gd name="T47" fmla="*/ 330 h 571"/>
                    <a:gd name="T48" fmla="*/ 0 w 572"/>
                    <a:gd name="T49" fmla="*/ 301 h 571"/>
                    <a:gd name="T50" fmla="*/ 0 w 572"/>
                    <a:gd name="T51" fmla="*/ 286 h 571"/>
                    <a:gd name="T52" fmla="*/ 1 w 572"/>
                    <a:gd name="T53" fmla="*/ 256 h 571"/>
                    <a:gd name="T54" fmla="*/ 6 w 572"/>
                    <a:gd name="T55" fmla="*/ 228 h 571"/>
                    <a:gd name="T56" fmla="*/ 13 w 572"/>
                    <a:gd name="T57" fmla="*/ 201 h 571"/>
                    <a:gd name="T58" fmla="*/ 23 w 572"/>
                    <a:gd name="T59" fmla="*/ 174 h 571"/>
                    <a:gd name="T60" fmla="*/ 49 w 572"/>
                    <a:gd name="T61" fmla="*/ 126 h 571"/>
                    <a:gd name="T62" fmla="*/ 84 w 572"/>
                    <a:gd name="T63" fmla="*/ 83 h 571"/>
                    <a:gd name="T64" fmla="*/ 126 w 572"/>
                    <a:gd name="T65" fmla="*/ 49 h 571"/>
                    <a:gd name="T66" fmla="*/ 175 w 572"/>
                    <a:gd name="T67" fmla="*/ 22 h 571"/>
                    <a:gd name="T68" fmla="*/ 201 w 572"/>
                    <a:gd name="T69" fmla="*/ 13 h 571"/>
                    <a:gd name="T70" fmla="*/ 228 w 572"/>
                    <a:gd name="T71" fmla="*/ 6 h 571"/>
                    <a:gd name="T72" fmla="*/ 257 w 572"/>
                    <a:gd name="T73" fmla="*/ 1 h 571"/>
                    <a:gd name="T74" fmla="*/ 286 w 572"/>
                    <a:gd name="T75" fmla="*/ 0 h 571"/>
                    <a:gd name="T76" fmla="*/ 301 w 572"/>
                    <a:gd name="T77" fmla="*/ 0 h 571"/>
                    <a:gd name="T78" fmla="*/ 329 w 572"/>
                    <a:gd name="T79" fmla="*/ 3 h 571"/>
                    <a:gd name="T80" fmla="*/ 357 w 572"/>
                    <a:gd name="T81" fmla="*/ 8 h 571"/>
                    <a:gd name="T82" fmla="*/ 385 w 572"/>
                    <a:gd name="T83" fmla="*/ 18 h 571"/>
                    <a:gd name="T84" fmla="*/ 423 w 572"/>
                    <a:gd name="T85" fmla="*/ 35 h 571"/>
                    <a:gd name="T86" fmla="*/ 468 w 572"/>
                    <a:gd name="T87" fmla="*/ 65 h 571"/>
                    <a:gd name="T88" fmla="*/ 507 w 572"/>
                    <a:gd name="T89" fmla="*/ 104 h 571"/>
                    <a:gd name="T90" fmla="*/ 538 w 572"/>
                    <a:gd name="T91" fmla="*/ 149 h 571"/>
                    <a:gd name="T92" fmla="*/ 554 w 572"/>
                    <a:gd name="T93" fmla="*/ 187 h 571"/>
                    <a:gd name="T94" fmla="*/ 563 w 572"/>
                    <a:gd name="T95" fmla="*/ 214 h 571"/>
                    <a:gd name="T96" fmla="*/ 569 w 572"/>
                    <a:gd name="T97" fmla="*/ 242 h 571"/>
                    <a:gd name="T98" fmla="*/ 571 w 572"/>
                    <a:gd name="T99" fmla="*/ 271 h 571"/>
                    <a:gd name="T100" fmla="*/ 572 w 572"/>
                    <a:gd name="T101" fmla="*/ 286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72" h="571">
                      <a:moveTo>
                        <a:pt x="572" y="286"/>
                      </a:moveTo>
                      <a:lnTo>
                        <a:pt x="572" y="286"/>
                      </a:lnTo>
                      <a:lnTo>
                        <a:pt x="571" y="301"/>
                      </a:lnTo>
                      <a:lnTo>
                        <a:pt x="570" y="315"/>
                      </a:lnTo>
                      <a:lnTo>
                        <a:pt x="569" y="330"/>
                      </a:lnTo>
                      <a:lnTo>
                        <a:pt x="566" y="343"/>
                      </a:lnTo>
                      <a:lnTo>
                        <a:pt x="563" y="357"/>
                      </a:lnTo>
                      <a:lnTo>
                        <a:pt x="559" y="371"/>
                      </a:lnTo>
                      <a:lnTo>
                        <a:pt x="554" y="384"/>
                      </a:lnTo>
                      <a:lnTo>
                        <a:pt x="549" y="396"/>
                      </a:lnTo>
                      <a:lnTo>
                        <a:pt x="538" y="422"/>
                      </a:lnTo>
                      <a:lnTo>
                        <a:pt x="523" y="446"/>
                      </a:lnTo>
                      <a:lnTo>
                        <a:pt x="507" y="468"/>
                      </a:lnTo>
                      <a:lnTo>
                        <a:pt x="488" y="487"/>
                      </a:lnTo>
                      <a:lnTo>
                        <a:pt x="468" y="506"/>
                      </a:lnTo>
                      <a:lnTo>
                        <a:pt x="446" y="523"/>
                      </a:lnTo>
                      <a:lnTo>
                        <a:pt x="423" y="537"/>
                      </a:lnTo>
                      <a:lnTo>
                        <a:pt x="397" y="550"/>
                      </a:lnTo>
                      <a:lnTo>
                        <a:pt x="385" y="554"/>
                      </a:lnTo>
                      <a:lnTo>
                        <a:pt x="371" y="559"/>
                      </a:lnTo>
                      <a:lnTo>
                        <a:pt x="357" y="562"/>
                      </a:lnTo>
                      <a:lnTo>
                        <a:pt x="343" y="566"/>
                      </a:lnTo>
                      <a:lnTo>
                        <a:pt x="329" y="568"/>
                      </a:lnTo>
                      <a:lnTo>
                        <a:pt x="316" y="570"/>
                      </a:lnTo>
                      <a:lnTo>
                        <a:pt x="301" y="571"/>
                      </a:lnTo>
                      <a:lnTo>
                        <a:pt x="286" y="571"/>
                      </a:lnTo>
                      <a:lnTo>
                        <a:pt x="286" y="571"/>
                      </a:lnTo>
                      <a:lnTo>
                        <a:pt x="271" y="571"/>
                      </a:lnTo>
                      <a:lnTo>
                        <a:pt x="257" y="570"/>
                      </a:lnTo>
                      <a:lnTo>
                        <a:pt x="242" y="568"/>
                      </a:lnTo>
                      <a:lnTo>
                        <a:pt x="228" y="566"/>
                      </a:lnTo>
                      <a:lnTo>
                        <a:pt x="214" y="562"/>
                      </a:lnTo>
                      <a:lnTo>
                        <a:pt x="201" y="559"/>
                      </a:lnTo>
                      <a:lnTo>
                        <a:pt x="188" y="554"/>
                      </a:lnTo>
                      <a:lnTo>
                        <a:pt x="175" y="550"/>
                      </a:lnTo>
                      <a:lnTo>
                        <a:pt x="150" y="537"/>
                      </a:lnTo>
                      <a:lnTo>
                        <a:pt x="126" y="523"/>
                      </a:lnTo>
                      <a:lnTo>
                        <a:pt x="104" y="506"/>
                      </a:lnTo>
                      <a:lnTo>
                        <a:pt x="84" y="487"/>
                      </a:lnTo>
                      <a:lnTo>
                        <a:pt x="66" y="468"/>
                      </a:lnTo>
                      <a:lnTo>
                        <a:pt x="49" y="446"/>
                      </a:lnTo>
                      <a:lnTo>
                        <a:pt x="35" y="422"/>
                      </a:lnTo>
                      <a:lnTo>
                        <a:pt x="23" y="396"/>
                      </a:lnTo>
                      <a:lnTo>
                        <a:pt x="17" y="384"/>
                      </a:lnTo>
                      <a:lnTo>
                        <a:pt x="13" y="371"/>
                      </a:lnTo>
                      <a:lnTo>
                        <a:pt x="9" y="357"/>
                      </a:lnTo>
                      <a:lnTo>
                        <a:pt x="6" y="343"/>
                      </a:lnTo>
                      <a:lnTo>
                        <a:pt x="4" y="330"/>
                      </a:lnTo>
                      <a:lnTo>
                        <a:pt x="1" y="315"/>
                      </a:lnTo>
                      <a:lnTo>
                        <a:pt x="0" y="301"/>
                      </a:lnTo>
                      <a:lnTo>
                        <a:pt x="0" y="286"/>
                      </a:lnTo>
                      <a:lnTo>
                        <a:pt x="0" y="286"/>
                      </a:lnTo>
                      <a:lnTo>
                        <a:pt x="0" y="271"/>
                      </a:lnTo>
                      <a:lnTo>
                        <a:pt x="1" y="256"/>
                      </a:lnTo>
                      <a:lnTo>
                        <a:pt x="4" y="242"/>
                      </a:lnTo>
                      <a:lnTo>
                        <a:pt x="6" y="228"/>
                      </a:lnTo>
                      <a:lnTo>
                        <a:pt x="9" y="214"/>
                      </a:lnTo>
                      <a:lnTo>
                        <a:pt x="13" y="201"/>
                      </a:lnTo>
                      <a:lnTo>
                        <a:pt x="17" y="187"/>
                      </a:lnTo>
                      <a:lnTo>
                        <a:pt x="23" y="174"/>
                      </a:lnTo>
                      <a:lnTo>
                        <a:pt x="35" y="149"/>
                      </a:lnTo>
                      <a:lnTo>
                        <a:pt x="49" y="126"/>
                      </a:lnTo>
                      <a:lnTo>
                        <a:pt x="66" y="104"/>
                      </a:lnTo>
                      <a:lnTo>
                        <a:pt x="84" y="83"/>
                      </a:lnTo>
                      <a:lnTo>
                        <a:pt x="104" y="65"/>
                      </a:lnTo>
                      <a:lnTo>
                        <a:pt x="126" y="49"/>
                      </a:lnTo>
                      <a:lnTo>
                        <a:pt x="150" y="35"/>
                      </a:lnTo>
                      <a:lnTo>
                        <a:pt x="175" y="22"/>
                      </a:lnTo>
                      <a:lnTo>
                        <a:pt x="188" y="18"/>
                      </a:lnTo>
                      <a:lnTo>
                        <a:pt x="201" y="13"/>
                      </a:lnTo>
                      <a:lnTo>
                        <a:pt x="214" y="8"/>
                      </a:lnTo>
                      <a:lnTo>
                        <a:pt x="228" y="6"/>
                      </a:lnTo>
                      <a:lnTo>
                        <a:pt x="242" y="3"/>
                      </a:lnTo>
                      <a:lnTo>
                        <a:pt x="257" y="1"/>
                      </a:lnTo>
                      <a:lnTo>
                        <a:pt x="271" y="0"/>
                      </a:lnTo>
                      <a:lnTo>
                        <a:pt x="286" y="0"/>
                      </a:lnTo>
                      <a:lnTo>
                        <a:pt x="286" y="0"/>
                      </a:lnTo>
                      <a:lnTo>
                        <a:pt x="301" y="0"/>
                      </a:lnTo>
                      <a:lnTo>
                        <a:pt x="316" y="1"/>
                      </a:lnTo>
                      <a:lnTo>
                        <a:pt x="329" y="3"/>
                      </a:lnTo>
                      <a:lnTo>
                        <a:pt x="343" y="6"/>
                      </a:lnTo>
                      <a:lnTo>
                        <a:pt x="357" y="8"/>
                      </a:lnTo>
                      <a:lnTo>
                        <a:pt x="371" y="13"/>
                      </a:lnTo>
                      <a:lnTo>
                        <a:pt x="385" y="18"/>
                      </a:lnTo>
                      <a:lnTo>
                        <a:pt x="397" y="22"/>
                      </a:lnTo>
                      <a:lnTo>
                        <a:pt x="423" y="35"/>
                      </a:lnTo>
                      <a:lnTo>
                        <a:pt x="446" y="49"/>
                      </a:lnTo>
                      <a:lnTo>
                        <a:pt x="468" y="65"/>
                      </a:lnTo>
                      <a:lnTo>
                        <a:pt x="488" y="83"/>
                      </a:lnTo>
                      <a:lnTo>
                        <a:pt x="507" y="104"/>
                      </a:lnTo>
                      <a:lnTo>
                        <a:pt x="523" y="126"/>
                      </a:lnTo>
                      <a:lnTo>
                        <a:pt x="538" y="149"/>
                      </a:lnTo>
                      <a:lnTo>
                        <a:pt x="549" y="174"/>
                      </a:lnTo>
                      <a:lnTo>
                        <a:pt x="554" y="187"/>
                      </a:lnTo>
                      <a:lnTo>
                        <a:pt x="559" y="201"/>
                      </a:lnTo>
                      <a:lnTo>
                        <a:pt x="563" y="214"/>
                      </a:lnTo>
                      <a:lnTo>
                        <a:pt x="566" y="228"/>
                      </a:lnTo>
                      <a:lnTo>
                        <a:pt x="569" y="242"/>
                      </a:lnTo>
                      <a:lnTo>
                        <a:pt x="570" y="256"/>
                      </a:lnTo>
                      <a:lnTo>
                        <a:pt x="571" y="271"/>
                      </a:lnTo>
                      <a:lnTo>
                        <a:pt x="572" y="286"/>
                      </a:lnTo>
                      <a:lnTo>
                        <a:pt x="572" y="2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65" name="Freeform 227"/>
                <p:cNvSpPr>
                  <a:spLocks/>
                </p:cNvSpPr>
                <p:nvPr/>
              </p:nvSpPr>
              <p:spPr bwMode="auto">
                <a:xfrm>
                  <a:off x="4183060" y="758824"/>
                  <a:ext cx="201613" cy="201613"/>
                </a:xfrm>
                <a:custGeom>
                  <a:avLst/>
                  <a:gdLst>
                    <a:gd name="T0" fmla="*/ 888 w 889"/>
                    <a:gd name="T1" fmla="*/ 467 h 888"/>
                    <a:gd name="T2" fmla="*/ 880 w 889"/>
                    <a:gd name="T3" fmla="*/ 534 h 888"/>
                    <a:gd name="T4" fmla="*/ 861 w 889"/>
                    <a:gd name="T5" fmla="*/ 597 h 888"/>
                    <a:gd name="T6" fmla="*/ 835 w 889"/>
                    <a:gd name="T7" fmla="*/ 656 h 888"/>
                    <a:gd name="T8" fmla="*/ 800 w 889"/>
                    <a:gd name="T9" fmla="*/ 710 h 888"/>
                    <a:gd name="T10" fmla="*/ 759 w 889"/>
                    <a:gd name="T11" fmla="*/ 758 h 888"/>
                    <a:gd name="T12" fmla="*/ 710 w 889"/>
                    <a:gd name="T13" fmla="*/ 800 h 888"/>
                    <a:gd name="T14" fmla="*/ 656 w 889"/>
                    <a:gd name="T15" fmla="*/ 834 h 888"/>
                    <a:gd name="T16" fmla="*/ 596 w 889"/>
                    <a:gd name="T17" fmla="*/ 861 h 888"/>
                    <a:gd name="T18" fmla="*/ 534 w 889"/>
                    <a:gd name="T19" fmla="*/ 879 h 888"/>
                    <a:gd name="T20" fmla="*/ 467 w 889"/>
                    <a:gd name="T21" fmla="*/ 887 h 888"/>
                    <a:gd name="T22" fmla="*/ 421 w 889"/>
                    <a:gd name="T23" fmla="*/ 887 h 888"/>
                    <a:gd name="T24" fmla="*/ 355 w 889"/>
                    <a:gd name="T25" fmla="*/ 879 h 888"/>
                    <a:gd name="T26" fmla="*/ 291 w 889"/>
                    <a:gd name="T27" fmla="*/ 861 h 888"/>
                    <a:gd name="T28" fmla="*/ 233 w 889"/>
                    <a:gd name="T29" fmla="*/ 834 h 888"/>
                    <a:gd name="T30" fmla="*/ 178 w 889"/>
                    <a:gd name="T31" fmla="*/ 800 h 888"/>
                    <a:gd name="T32" fmla="*/ 130 w 889"/>
                    <a:gd name="T33" fmla="*/ 758 h 888"/>
                    <a:gd name="T34" fmla="*/ 89 w 889"/>
                    <a:gd name="T35" fmla="*/ 710 h 888"/>
                    <a:gd name="T36" fmla="*/ 54 w 889"/>
                    <a:gd name="T37" fmla="*/ 656 h 888"/>
                    <a:gd name="T38" fmla="*/ 28 w 889"/>
                    <a:gd name="T39" fmla="*/ 597 h 888"/>
                    <a:gd name="T40" fmla="*/ 9 w 889"/>
                    <a:gd name="T41" fmla="*/ 534 h 888"/>
                    <a:gd name="T42" fmla="*/ 1 w 889"/>
                    <a:gd name="T43" fmla="*/ 467 h 888"/>
                    <a:gd name="T44" fmla="*/ 1 w 889"/>
                    <a:gd name="T45" fmla="*/ 421 h 888"/>
                    <a:gd name="T46" fmla="*/ 9 w 889"/>
                    <a:gd name="T47" fmla="*/ 354 h 888"/>
                    <a:gd name="T48" fmla="*/ 28 w 889"/>
                    <a:gd name="T49" fmla="*/ 291 h 888"/>
                    <a:gd name="T50" fmla="*/ 54 w 889"/>
                    <a:gd name="T51" fmla="*/ 232 h 888"/>
                    <a:gd name="T52" fmla="*/ 89 w 889"/>
                    <a:gd name="T53" fmla="*/ 178 h 888"/>
                    <a:gd name="T54" fmla="*/ 130 w 889"/>
                    <a:gd name="T55" fmla="*/ 130 h 888"/>
                    <a:gd name="T56" fmla="*/ 178 w 889"/>
                    <a:gd name="T57" fmla="*/ 88 h 888"/>
                    <a:gd name="T58" fmla="*/ 233 w 889"/>
                    <a:gd name="T59" fmla="*/ 54 h 888"/>
                    <a:gd name="T60" fmla="*/ 291 w 889"/>
                    <a:gd name="T61" fmla="*/ 27 h 888"/>
                    <a:gd name="T62" fmla="*/ 355 w 889"/>
                    <a:gd name="T63" fmla="*/ 9 h 888"/>
                    <a:gd name="T64" fmla="*/ 421 w 889"/>
                    <a:gd name="T65" fmla="*/ 1 h 888"/>
                    <a:gd name="T66" fmla="*/ 467 w 889"/>
                    <a:gd name="T67" fmla="*/ 1 h 888"/>
                    <a:gd name="T68" fmla="*/ 534 w 889"/>
                    <a:gd name="T69" fmla="*/ 9 h 888"/>
                    <a:gd name="T70" fmla="*/ 596 w 889"/>
                    <a:gd name="T71" fmla="*/ 27 h 888"/>
                    <a:gd name="T72" fmla="*/ 656 w 889"/>
                    <a:gd name="T73" fmla="*/ 54 h 888"/>
                    <a:gd name="T74" fmla="*/ 710 w 889"/>
                    <a:gd name="T75" fmla="*/ 88 h 888"/>
                    <a:gd name="T76" fmla="*/ 759 w 889"/>
                    <a:gd name="T77" fmla="*/ 130 h 888"/>
                    <a:gd name="T78" fmla="*/ 800 w 889"/>
                    <a:gd name="T79" fmla="*/ 178 h 888"/>
                    <a:gd name="T80" fmla="*/ 835 w 889"/>
                    <a:gd name="T81" fmla="*/ 232 h 888"/>
                    <a:gd name="T82" fmla="*/ 861 w 889"/>
                    <a:gd name="T83" fmla="*/ 291 h 888"/>
                    <a:gd name="T84" fmla="*/ 880 w 889"/>
                    <a:gd name="T85" fmla="*/ 354 h 888"/>
                    <a:gd name="T86" fmla="*/ 888 w 889"/>
                    <a:gd name="T87" fmla="*/ 421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89" h="888">
                      <a:moveTo>
                        <a:pt x="889" y="444"/>
                      </a:moveTo>
                      <a:lnTo>
                        <a:pt x="889" y="444"/>
                      </a:lnTo>
                      <a:lnTo>
                        <a:pt x="888" y="467"/>
                      </a:lnTo>
                      <a:lnTo>
                        <a:pt x="887" y="489"/>
                      </a:lnTo>
                      <a:lnTo>
                        <a:pt x="883" y="512"/>
                      </a:lnTo>
                      <a:lnTo>
                        <a:pt x="880" y="534"/>
                      </a:lnTo>
                      <a:lnTo>
                        <a:pt x="874" y="555"/>
                      </a:lnTo>
                      <a:lnTo>
                        <a:pt x="868" y="576"/>
                      </a:lnTo>
                      <a:lnTo>
                        <a:pt x="861" y="597"/>
                      </a:lnTo>
                      <a:lnTo>
                        <a:pt x="853" y="617"/>
                      </a:lnTo>
                      <a:lnTo>
                        <a:pt x="845" y="636"/>
                      </a:lnTo>
                      <a:lnTo>
                        <a:pt x="835" y="656"/>
                      </a:lnTo>
                      <a:lnTo>
                        <a:pt x="824" y="674"/>
                      </a:lnTo>
                      <a:lnTo>
                        <a:pt x="813" y="693"/>
                      </a:lnTo>
                      <a:lnTo>
                        <a:pt x="800" y="710"/>
                      </a:lnTo>
                      <a:lnTo>
                        <a:pt x="786" y="726"/>
                      </a:lnTo>
                      <a:lnTo>
                        <a:pt x="773" y="742"/>
                      </a:lnTo>
                      <a:lnTo>
                        <a:pt x="759" y="758"/>
                      </a:lnTo>
                      <a:lnTo>
                        <a:pt x="743" y="772"/>
                      </a:lnTo>
                      <a:lnTo>
                        <a:pt x="726" y="787"/>
                      </a:lnTo>
                      <a:lnTo>
                        <a:pt x="710" y="800"/>
                      </a:lnTo>
                      <a:lnTo>
                        <a:pt x="692" y="812"/>
                      </a:lnTo>
                      <a:lnTo>
                        <a:pt x="675" y="824"/>
                      </a:lnTo>
                      <a:lnTo>
                        <a:pt x="656" y="834"/>
                      </a:lnTo>
                      <a:lnTo>
                        <a:pt x="637" y="845"/>
                      </a:lnTo>
                      <a:lnTo>
                        <a:pt x="617" y="853"/>
                      </a:lnTo>
                      <a:lnTo>
                        <a:pt x="596" y="861"/>
                      </a:lnTo>
                      <a:lnTo>
                        <a:pt x="577" y="868"/>
                      </a:lnTo>
                      <a:lnTo>
                        <a:pt x="555" y="875"/>
                      </a:lnTo>
                      <a:lnTo>
                        <a:pt x="534" y="879"/>
                      </a:lnTo>
                      <a:lnTo>
                        <a:pt x="512" y="883"/>
                      </a:lnTo>
                      <a:lnTo>
                        <a:pt x="489" y="886"/>
                      </a:lnTo>
                      <a:lnTo>
                        <a:pt x="467" y="887"/>
                      </a:lnTo>
                      <a:lnTo>
                        <a:pt x="444" y="888"/>
                      </a:lnTo>
                      <a:lnTo>
                        <a:pt x="444" y="888"/>
                      </a:lnTo>
                      <a:lnTo>
                        <a:pt x="421" y="887"/>
                      </a:lnTo>
                      <a:lnTo>
                        <a:pt x="398" y="886"/>
                      </a:lnTo>
                      <a:lnTo>
                        <a:pt x="376" y="883"/>
                      </a:lnTo>
                      <a:lnTo>
                        <a:pt x="355" y="879"/>
                      </a:lnTo>
                      <a:lnTo>
                        <a:pt x="333" y="875"/>
                      </a:lnTo>
                      <a:lnTo>
                        <a:pt x="312" y="868"/>
                      </a:lnTo>
                      <a:lnTo>
                        <a:pt x="291" y="861"/>
                      </a:lnTo>
                      <a:lnTo>
                        <a:pt x="272" y="853"/>
                      </a:lnTo>
                      <a:lnTo>
                        <a:pt x="252" y="845"/>
                      </a:lnTo>
                      <a:lnTo>
                        <a:pt x="233" y="834"/>
                      </a:lnTo>
                      <a:lnTo>
                        <a:pt x="214" y="824"/>
                      </a:lnTo>
                      <a:lnTo>
                        <a:pt x="196" y="812"/>
                      </a:lnTo>
                      <a:lnTo>
                        <a:pt x="178" y="800"/>
                      </a:lnTo>
                      <a:lnTo>
                        <a:pt x="161" y="787"/>
                      </a:lnTo>
                      <a:lnTo>
                        <a:pt x="145" y="772"/>
                      </a:lnTo>
                      <a:lnTo>
                        <a:pt x="130" y="758"/>
                      </a:lnTo>
                      <a:lnTo>
                        <a:pt x="115" y="742"/>
                      </a:lnTo>
                      <a:lnTo>
                        <a:pt x="101" y="726"/>
                      </a:lnTo>
                      <a:lnTo>
                        <a:pt x="89" y="710"/>
                      </a:lnTo>
                      <a:lnTo>
                        <a:pt x="76" y="693"/>
                      </a:lnTo>
                      <a:lnTo>
                        <a:pt x="65" y="674"/>
                      </a:lnTo>
                      <a:lnTo>
                        <a:pt x="54" y="656"/>
                      </a:lnTo>
                      <a:lnTo>
                        <a:pt x="44" y="636"/>
                      </a:lnTo>
                      <a:lnTo>
                        <a:pt x="35" y="617"/>
                      </a:lnTo>
                      <a:lnTo>
                        <a:pt x="28" y="597"/>
                      </a:lnTo>
                      <a:lnTo>
                        <a:pt x="20" y="576"/>
                      </a:lnTo>
                      <a:lnTo>
                        <a:pt x="14" y="555"/>
                      </a:lnTo>
                      <a:lnTo>
                        <a:pt x="9" y="534"/>
                      </a:lnTo>
                      <a:lnTo>
                        <a:pt x="6" y="512"/>
                      </a:lnTo>
                      <a:lnTo>
                        <a:pt x="2" y="489"/>
                      </a:lnTo>
                      <a:lnTo>
                        <a:pt x="1" y="467"/>
                      </a:lnTo>
                      <a:lnTo>
                        <a:pt x="0" y="444"/>
                      </a:lnTo>
                      <a:lnTo>
                        <a:pt x="0" y="444"/>
                      </a:lnTo>
                      <a:lnTo>
                        <a:pt x="1" y="421"/>
                      </a:lnTo>
                      <a:lnTo>
                        <a:pt x="2" y="399"/>
                      </a:lnTo>
                      <a:lnTo>
                        <a:pt x="6" y="376"/>
                      </a:lnTo>
                      <a:lnTo>
                        <a:pt x="9" y="354"/>
                      </a:lnTo>
                      <a:lnTo>
                        <a:pt x="14" y="333"/>
                      </a:lnTo>
                      <a:lnTo>
                        <a:pt x="20" y="312"/>
                      </a:lnTo>
                      <a:lnTo>
                        <a:pt x="28" y="291"/>
                      </a:lnTo>
                      <a:lnTo>
                        <a:pt x="35" y="271"/>
                      </a:lnTo>
                      <a:lnTo>
                        <a:pt x="44" y="252"/>
                      </a:lnTo>
                      <a:lnTo>
                        <a:pt x="54" y="232"/>
                      </a:lnTo>
                      <a:lnTo>
                        <a:pt x="65" y="214"/>
                      </a:lnTo>
                      <a:lnTo>
                        <a:pt x="76" y="195"/>
                      </a:lnTo>
                      <a:lnTo>
                        <a:pt x="89" y="178"/>
                      </a:lnTo>
                      <a:lnTo>
                        <a:pt x="101" y="162"/>
                      </a:lnTo>
                      <a:lnTo>
                        <a:pt x="115" y="146"/>
                      </a:lnTo>
                      <a:lnTo>
                        <a:pt x="130" y="130"/>
                      </a:lnTo>
                      <a:lnTo>
                        <a:pt x="145" y="115"/>
                      </a:lnTo>
                      <a:lnTo>
                        <a:pt x="161" y="101"/>
                      </a:lnTo>
                      <a:lnTo>
                        <a:pt x="178" y="88"/>
                      </a:lnTo>
                      <a:lnTo>
                        <a:pt x="196" y="76"/>
                      </a:lnTo>
                      <a:lnTo>
                        <a:pt x="214" y="64"/>
                      </a:lnTo>
                      <a:lnTo>
                        <a:pt x="233" y="54"/>
                      </a:lnTo>
                      <a:lnTo>
                        <a:pt x="252" y="43"/>
                      </a:lnTo>
                      <a:lnTo>
                        <a:pt x="272" y="35"/>
                      </a:lnTo>
                      <a:lnTo>
                        <a:pt x="291" y="27"/>
                      </a:lnTo>
                      <a:lnTo>
                        <a:pt x="312" y="20"/>
                      </a:lnTo>
                      <a:lnTo>
                        <a:pt x="333" y="13"/>
                      </a:lnTo>
                      <a:lnTo>
                        <a:pt x="355" y="9"/>
                      </a:lnTo>
                      <a:lnTo>
                        <a:pt x="376" y="5"/>
                      </a:lnTo>
                      <a:lnTo>
                        <a:pt x="398" y="2"/>
                      </a:lnTo>
                      <a:lnTo>
                        <a:pt x="421" y="1"/>
                      </a:lnTo>
                      <a:lnTo>
                        <a:pt x="444" y="0"/>
                      </a:lnTo>
                      <a:lnTo>
                        <a:pt x="444" y="0"/>
                      </a:lnTo>
                      <a:lnTo>
                        <a:pt x="467" y="1"/>
                      </a:lnTo>
                      <a:lnTo>
                        <a:pt x="489" y="2"/>
                      </a:lnTo>
                      <a:lnTo>
                        <a:pt x="512" y="5"/>
                      </a:lnTo>
                      <a:lnTo>
                        <a:pt x="534" y="9"/>
                      </a:lnTo>
                      <a:lnTo>
                        <a:pt x="555" y="13"/>
                      </a:lnTo>
                      <a:lnTo>
                        <a:pt x="577" y="20"/>
                      </a:lnTo>
                      <a:lnTo>
                        <a:pt x="596" y="27"/>
                      </a:lnTo>
                      <a:lnTo>
                        <a:pt x="617" y="35"/>
                      </a:lnTo>
                      <a:lnTo>
                        <a:pt x="637" y="43"/>
                      </a:lnTo>
                      <a:lnTo>
                        <a:pt x="656" y="54"/>
                      </a:lnTo>
                      <a:lnTo>
                        <a:pt x="675" y="64"/>
                      </a:lnTo>
                      <a:lnTo>
                        <a:pt x="692" y="76"/>
                      </a:lnTo>
                      <a:lnTo>
                        <a:pt x="710" y="88"/>
                      </a:lnTo>
                      <a:lnTo>
                        <a:pt x="726" y="101"/>
                      </a:lnTo>
                      <a:lnTo>
                        <a:pt x="743" y="115"/>
                      </a:lnTo>
                      <a:lnTo>
                        <a:pt x="759" y="130"/>
                      </a:lnTo>
                      <a:lnTo>
                        <a:pt x="773" y="146"/>
                      </a:lnTo>
                      <a:lnTo>
                        <a:pt x="786" y="162"/>
                      </a:lnTo>
                      <a:lnTo>
                        <a:pt x="800" y="178"/>
                      </a:lnTo>
                      <a:lnTo>
                        <a:pt x="813" y="195"/>
                      </a:lnTo>
                      <a:lnTo>
                        <a:pt x="824" y="214"/>
                      </a:lnTo>
                      <a:lnTo>
                        <a:pt x="835" y="232"/>
                      </a:lnTo>
                      <a:lnTo>
                        <a:pt x="845" y="252"/>
                      </a:lnTo>
                      <a:lnTo>
                        <a:pt x="853" y="271"/>
                      </a:lnTo>
                      <a:lnTo>
                        <a:pt x="861" y="291"/>
                      </a:lnTo>
                      <a:lnTo>
                        <a:pt x="868" y="312"/>
                      </a:lnTo>
                      <a:lnTo>
                        <a:pt x="874" y="333"/>
                      </a:lnTo>
                      <a:lnTo>
                        <a:pt x="880" y="354"/>
                      </a:lnTo>
                      <a:lnTo>
                        <a:pt x="883" y="376"/>
                      </a:lnTo>
                      <a:lnTo>
                        <a:pt x="887" y="399"/>
                      </a:lnTo>
                      <a:lnTo>
                        <a:pt x="888" y="421"/>
                      </a:lnTo>
                      <a:lnTo>
                        <a:pt x="889" y="444"/>
                      </a:lnTo>
                      <a:lnTo>
                        <a:pt x="889" y="444"/>
                      </a:lnTo>
                      <a:close/>
                    </a:path>
                  </a:pathLst>
                </a:custGeom>
                <a:solidFill>
                  <a:srgbClr val="C64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66" name="Freeform 228"/>
                <p:cNvSpPr>
                  <a:spLocks/>
                </p:cNvSpPr>
                <p:nvPr/>
              </p:nvSpPr>
              <p:spPr bwMode="auto">
                <a:xfrm>
                  <a:off x="4681538" y="301625"/>
                  <a:ext cx="265113" cy="265113"/>
                </a:xfrm>
                <a:custGeom>
                  <a:avLst/>
                  <a:gdLst>
                    <a:gd name="T0" fmla="*/ 1165 w 1167"/>
                    <a:gd name="T1" fmla="*/ 614 h 1167"/>
                    <a:gd name="T2" fmla="*/ 1155 w 1167"/>
                    <a:gd name="T3" fmla="*/ 701 h 1167"/>
                    <a:gd name="T4" fmla="*/ 1131 w 1167"/>
                    <a:gd name="T5" fmla="*/ 784 h 1167"/>
                    <a:gd name="T6" fmla="*/ 1096 w 1167"/>
                    <a:gd name="T7" fmla="*/ 861 h 1167"/>
                    <a:gd name="T8" fmla="*/ 1050 w 1167"/>
                    <a:gd name="T9" fmla="*/ 933 h 1167"/>
                    <a:gd name="T10" fmla="*/ 995 w 1167"/>
                    <a:gd name="T11" fmla="*/ 996 h 1167"/>
                    <a:gd name="T12" fmla="*/ 932 w 1167"/>
                    <a:gd name="T13" fmla="*/ 1051 h 1167"/>
                    <a:gd name="T14" fmla="*/ 862 w 1167"/>
                    <a:gd name="T15" fmla="*/ 1096 h 1167"/>
                    <a:gd name="T16" fmla="*/ 783 w 1167"/>
                    <a:gd name="T17" fmla="*/ 1132 h 1167"/>
                    <a:gd name="T18" fmla="*/ 700 w 1167"/>
                    <a:gd name="T19" fmla="*/ 1155 h 1167"/>
                    <a:gd name="T20" fmla="*/ 613 w 1167"/>
                    <a:gd name="T21" fmla="*/ 1167 h 1167"/>
                    <a:gd name="T22" fmla="*/ 553 w 1167"/>
                    <a:gd name="T23" fmla="*/ 1167 h 1167"/>
                    <a:gd name="T24" fmla="*/ 466 w 1167"/>
                    <a:gd name="T25" fmla="*/ 1155 h 1167"/>
                    <a:gd name="T26" fmla="*/ 383 w 1167"/>
                    <a:gd name="T27" fmla="*/ 1132 h 1167"/>
                    <a:gd name="T28" fmla="*/ 305 w 1167"/>
                    <a:gd name="T29" fmla="*/ 1096 h 1167"/>
                    <a:gd name="T30" fmla="*/ 234 w 1167"/>
                    <a:gd name="T31" fmla="*/ 1051 h 1167"/>
                    <a:gd name="T32" fmla="*/ 171 w 1167"/>
                    <a:gd name="T33" fmla="*/ 996 h 1167"/>
                    <a:gd name="T34" fmla="*/ 116 w 1167"/>
                    <a:gd name="T35" fmla="*/ 933 h 1167"/>
                    <a:gd name="T36" fmla="*/ 71 w 1167"/>
                    <a:gd name="T37" fmla="*/ 861 h 1167"/>
                    <a:gd name="T38" fmla="*/ 35 w 1167"/>
                    <a:gd name="T39" fmla="*/ 784 h 1167"/>
                    <a:gd name="T40" fmla="*/ 12 w 1167"/>
                    <a:gd name="T41" fmla="*/ 701 h 1167"/>
                    <a:gd name="T42" fmla="*/ 0 w 1167"/>
                    <a:gd name="T43" fmla="*/ 614 h 1167"/>
                    <a:gd name="T44" fmla="*/ 0 w 1167"/>
                    <a:gd name="T45" fmla="*/ 554 h 1167"/>
                    <a:gd name="T46" fmla="*/ 12 w 1167"/>
                    <a:gd name="T47" fmla="*/ 467 h 1167"/>
                    <a:gd name="T48" fmla="*/ 35 w 1167"/>
                    <a:gd name="T49" fmla="*/ 384 h 1167"/>
                    <a:gd name="T50" fmla="*/ 71 w 1167"/>
                    <a:gd name="T51" fmla="*/ 305 h 1167"/>
                    <a:gd name="T52" fmla="*/ 116 w 1167"/>
                    <a:gd name="T53" fmla="*/ 235 h 1167"/>
                    <a:gd name="T54" fmla="*/ 171 w 1167"/>
                    <a:gd name="T55" fmla="*/ 171 h 1167"/>
                    <a:gd name="T56" fmla="*/ 234 w 1167"/>
                    <a:gd name="T57" fmla="*/ 117 h 1167"/>
                    <a:gd name="T58" fmla="*/ 305 w 1167"/>
                    <a:gd name="T59" fmla="*/ 70 h 1167"/>
                    <a:gd name="T60" fmla="*/ 383 w 1167"/>
                    <a:gd name="T61" fmla="*/ 36 h 1167"/>
                    <a:gd name="T62" fmla="*/ 466 w 1167"/>
                    <a:gd name="T63" fmla="*/ 12 h 1167"/>
                    <a:gd name="T64" fmla="*/ 553 w 1167"/>
                    <a:gd name="T65" fmla="*/ 1 h 1167"/>
                    <a:gd name="T66" fmla="*/ 613 w 1167"/>
                    <a:gd name="T67" fmla="*/ 1 h 1167"/>
                    <a:gd name="T68" fmla="*/ 700 w 1167"/>
                    <a:gd name="T69" fmla="*/ 12 h 1167"/>
                    <a:gd name="T70" fmla="*/ 783 w 1167"/>
                    <a:gd name="T71" fmla="*/ 36 h 1167"/>
                    <a:gd name="T72" fmla="*/ 862 w 1167"/>
                    <a:gd name="T73" fmla="*/ 70 h 1167"/>
                    <a:gd name="T74" fmla="*/ 932 w 1167"/>
                    <a:gd name="T75" fmla="*/ 117 h 1167"/>
                    <a:gd name="T76" fmla="*/ 995 w 1167"/>
                    <a:gd name="T77" fmla="*/ 171 h 1167"/>
                    <a:gd name="T78" fmla="*/ 1050 w 1167"/>
                    <a:gd name="T79" fmla="*/ 235 h 1167"/>
                    <a:gd name="T80" fmla="*/ 1096 w 1167"/>
                    <a:gd name="T81" fmla="*/ 305 h 1167"/>
                    <a:gd name="T82" fmla="*/ 1131 w 1167"/>
                    <a:gd name="T83" fmla="*/ 384 h 1167"/>
                    <a:gd name="T84" fmla="*/ 1155 w 1167"/>
                    <a:gd name="T85" fmla="*/ 467 h 1167"/>
                    <a:gd name="T86" fmla="*/ 1165 w 1167"/>
                    <a:gd name="T87" fmla="*/ 554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67" h="1167">
                      <a:moveTo>
                        <a:pt x="1167" y="584"/>
                      </a:moveTo>
                      <a:lnTo>
                        <a:pt x="1167" y="584"/>
                      </a:lnTo>
                      <a:lnTo>
                        <a:pt x="1165" y="614"/>
                      </a:lnTo>
                      <a:lnTo>
                        <a:pt x="1163" y="644"/>
                      </a:lnTo>
                      <a:lnTo>
                        <a:pt x="1160" y="673"/>
                      </a:lnTo>
                      <a:lnTo>
                        <a:pt x="1155" y="701"/>
                      </a:lnTo>
                      <a:lnTo>
                        <a:pt x="1148" y="729"/>
                      </a:lnTo>
                      <a:lnTo>
                        <a:pt x="1140" y="757"/>
                      </a:lnTo>
                      <a:lnTo>
                        <a:pt x="1131" y="784"/>
                      </a:lnTo>
                      <a:lnTo>
                        <a:pt x="1121" y="811"/>
                      </a:lnTo>
                      <a:lnTo>
                        <a:pt x="1109" y="836"/>
                      </a:lnTo>
                      <a:lnTo>
                        <a:pt x="1096" y="861"/>
                      </a:lnTo>
                      <a:lnTo>
                        <a:pt x="1083" y="886"/>
                      </a:lnTo>
                      <a:lnTo>
                        <a:pt x="1066" y="910"/>
                      </a:lnTo>
                      <a:lnTo>
                        <a:pt x="1050" y="933"/>
                      </a:lnTo>
                      <a:lnTo>
                        <a:pt x="1033" y="955"/>
                      </a:lnTo>
                      <a:lnTo>
                        <a:pt x="1015" y="975"/>
                      </a:lnTo>
                      <a:lnTo>
                        <a:pt x="995" y="996"/>
                      </a:lnTo>
                      <a:lnTo>
                        <a:pt x="976" y="1016"/>
                      </a:lnTo>
                      <a:lnTo>
                        <a:pt x="954" y="1034"/>
                      </a:lnTo>
                      <a:lnTo>
                        <a:pt x="932" y="1051"/>
                      </a:lnTo>
                      <a:lnTo>
                        <a:pt x="909" y="1068"/>
                      </a:lnTo>
                      <a:lnTo>
                        <a:pt x="886" y="1082"/>
                      </a:lnTo>
                      <a:lnTo>
                        <a:pt x="862" y="1096"/>
                      </a:lnTo>
                      <a:lnTo>
                        <a:pt x="836" y="1109"/>
                      </a:lnTo>
                      <a:lnTo>
                        <a:pt x="810" y="1122"/>
                      </a:lnTo>
                      <a:lnTo>
                        <a:pt x="783" y="1132"/>
                      </a:lnTo>
                      <a:lnTo>
                        <a:pt x="757" y="1141"/>
                      </a:lnTo>
                      <a:lnTo>
                        <a:pt x="729" y="1148"/>
                      </a:lnTo>
                      <a:lnTo>
                        <a:pt x="700" y="1155"/>
                      </a:lnTo>
                      <a:lnTo>
                        <a:pt x="672" y="1161"/>
                      </a:lnTo>
                      <a:lnTo>
                        <a:pt x="643" y="1164"/>
                      </a:lnTo>
                      <a:lnTo>
                        <a:pt x="613" y="1167"/>
                      </a:lnTo>
                      <a:lnTo>
                        <a:pt x="583" y="1167"/>
                      </a:lnTo>
                      <a:lnTo>
                        <a:pt x="583" y="1167"/>
                      </a:lnTo>
                      <a:lnTo>
                        <a:pt x="553" y="1167"/>
                      </a:lnTo>
                      <a:lnTo>
                        <a:pt x="523" y="1164"/>
                      </a:lnTo>
                      <a:lnTo>
                        <a:pt x="494" y="1161"/>
                      </a:lnTo>
                      <a:lnTo>
                        <a:pt x="466" y="1155"/>
                      </a:lnTo>
                      <a:lnTo>
                        <a:pt x="438" y="1148"/>
                      </a:lnTo>
                      <a:lnTo>
                        <a:pt x="410" y="1141"/>
                      </a:lnTo>
                      <a:lnTo>
                        <a:pt x="383" y="1132"/>
                      </a:lnTo>
                      <a:lnTo>
                        <a:pt x="356" y="1122"/>
                      </a:lnTo>
                      <a:lnTo>
                        <a:pt x="331" y="1109"/>
                      </a:lnTo>
                      <a:lnTo>
                        <a:pt x="305" y="1096"/>
                      </a:lnTo>
                      <a:lnTo>
                        <a:pt x="280" y="1082"/>
                      </a:lnTo>
                      <a:lnTo>
                        <a:pt x="257" y="1068"/>
                      </a:lnTo>
                      <a:lnTo>
                        <a:pt x="234" y="1051"/>
                      </a:lnTo>
                      <a:lnTo>
                        <a:pt x="212" y="1034"/>
                      </a:lnTo>
                      <a:lnTo>
                        <a:pt x="192" y="1016"/>
                      </a:lnTo>
                      <a:lnTo>
                        <a:pt x="171" y="996"/>
                      </a:lnTo>
                      <a:lnTo>
                        <a:pt x="151" y="975"/>
                      </a:lnTo>
                      <a:lnTo>
                        <a:pt x="133" y="955"/>
                      </a:lnTo>
                      <a:lnTo>
                        <a:pt x="116" y="933"/>
                      </a:lnTo>
                      <a:lnTo>
                        <a:pt x="99" y="910"/>
                      </a:lnTo>
                      <a:lnTo>
                        <a:pt x="84" y="886"/>
                      </a:lnTo>
                      <a:lnTo>
                        <a:pt x="71" y="861"/>
                      </a:lnTo>
                      <a:lnTo>
                        <a:pt x="57" y="836"/>
                      </a:lnTo>
                      <a:lnTo>
                        <a:pt x="45" y="811"/>
                      </a:lnTo>
                      <a:lnTo>
                        <a:pt x="35" y="784"/>
                      </a:lnTo>
                      <a:lnTo>
                        <a:pt x="26" y="757"/>
                      </a:lnTo>
                      <a:lnTo>
                        <a:pt x="18" y="729"/>
                      </a:lnTo>
                      <a:lnTo>
                        <a:pt x="12" y="701"/>
                      </a:lnTo>
                      <a:lnTo>
                        <a:pt x="6" y="673"/>
                      </a:lnTo>
                      <a:lnTo>
                        <a:pt x="3" y="644"/>
                      </a:lnTo>
                      <a:lnTo>
                        <a:pt x="0" y="614"/>
                      </a:lnTo>
                      <a:lnTo>
                        <a:pt x="0" y="584"/>
                      </a:lnTo>
                      <a:lnTo>
                        <a:pt x="0" y="584"/>
                      </a:lnTo>
                      <a:lnTo>
                        <a:pt x="0" y="554"/>
                      </a:lnTo>
                      <a:lnTo>
                        <a:pt x="3" y="524"/>
                      </a:lnTo>
                      <a:lnTo>
                        <a:pt x="6" y="495"/>
                      </a:lnTo>
                      <a:lnTo>
                        <a:pt x="12" y="467"/>
                      </a:lnTo>
                      <a:lnTo>
                        <a:pt x="18" y="438"/>
                      </a:lnTo>
                      <a:lnTo>
                        <a:pt x="26" y="410"/>
                      </a:lnTo>
                      <a:lnTo>
                        <a:pt x="35" y="384"/>
                      </a:lnTo>
                      <a:lnTo>
                        <a:pt x="45" y="357"/>
                      </a:lnTo>
                      <a:lnTo>
                        <a:pt x="57" y="331"/>
                      </a:lnTo>
                      <a:lnTo>
                        <a:pt x="71" y="305"/>
                      </a:lnTo>
                      <a:lnTo>
                        <a:pt x="84" y="281"/>
                      </a:lnTo>
                      <a:lnTo>
                        <a:pt x="99" y="257"/>
                      </a:lnTo>
                      <a:lnTo>
                        <a:pt x="116" y="235"/>
                      </a:lnTo>
                      <a:lnTo>
                        <a:pt x="133" y="212"/>
                      </a:lnTo>
                      <a:lnTo>
                        <a:pt x="151" y="191"/>
                      </a:lnTo>
                      <a:lnTo>
                        <a:pt x="171" y="171"/>
                      </a:lnTo>
                      <a:lnTo>
                        <a:pt x="192" y="152"/>
                      </a:lnTo>
                      <a:lnTo>
                        <a:pt x="212" y="134"/>
                      </a:lnTo>
                      <a:lnTo>
                        <a:pt x="234" y="117"/>
                      </a:lnTo>
                      <a:lnTo>
                        <a:pt x="257" y="100"/>
                      </a:lnTo>
                      <a:lnTo>
                        <a:pt x="280" y="84"/>
                      </a:lnTo>
                      <a:lnTo>
                        <a:pt x="305" y="70"/>
                      </a:lnTo>
                      <a:lnTo>
                        <a:pt x="331" y="58"/>
                      </a:lnTo>
                      <a:lnTo>
                        <a:pt x="356" y="46"/>
                      </a:lnTo>
                      <a:lnTo>
                        <a:pt x="383" y="36"/>
                      </a:lnTo>
                      <a:lnTo>
                        <a:pt x="410" y="27"/>
                      </a:lnTo>
                      <a:lnTo>
                        <a:pt x="438" y="19"/>
                      </a:lnTo>
                      <a:lnTo>
                        <a:pt x="466" y="12"/>
                      </a:lnTo>
                      <a:lnTo>
                        <a:pt x="494" y="7"/>
                      </a:lnTo>
                      <a:lnTo>
                        <a:pt x="523" y="4"/>
                      </a:lnTo>
                      <a:lnTo>
                        <a:pt x="553" y="1"/>
                      </a:lnTo>
                      <a:lnTo>
                        <a:pt x="583" y="0"/>
                      </a:lnTo>
                      <a:lnTo>
                        <a:pt x="583" y="0"/>
                      </a:lnTo>
                      <a:lnTo>
                        <a:pt x="613" y="1"/>
                      </a:lnTo>
                      <a:lnTo>
                        <a:pt x="643" y="4"/>
                      </a:lnTo>
                      <a:lnTo>
                        <a:pt x="672" y="7"/>
                      </a:lnTo>
                      <a:lnTo>
                        <a:pt x="700" y="12"/>
                      </a:lnTo>
                      <a:lnTo>
                        <a:pt x="729" y="19"/>
                      </a:lnTo>
                      <a:lnTo>
                        <a:pt x="757" y="27"/>
                      </a:lnTo>
                      <a:lnTo>
                        <a:pt x="783" y="36"/>
                      </a:lnTo>
                      <a:lnTo>
                        <a:pt x="810" y="46"/>
                      </a:lnTo>
                      <a:lnTo>
                        <a:pt x="836" y="58"/>
                      </a:lnTo>
                      <a:lnTo>
                        <a:pt x="862" y="70"/>
                      </a:lnTo>
                      <a:lnTo>
                        <a:pt x="886" y="84"/>
                      </a:lnTo>
                      <a:lnTo>
                        <a:pt x="909" y="100"/>
                      </a:lnTo>
                      <a:lnTo>
                        <a:pt x="932" y="117"/>
                      </a:lnTo>
                      <a:lnTo>
                        <a:pt x="954" y="134"/>
                      </a:lnTo>
                      <a:lnTo>
                        <a:pt x="976" y="152"/>
                      </a:lnTo>
                      <a:lnTo>
                        <a:pt x="995" y="171"/>
                      </a:lnTo>
                      <a:lnTo>
                        <a:pt x="1015" y="191"/>
                      </a:lnTo>
                      <a:lnTo>
                        <a:pt x="1033" y="212"/>
                      </a:lnTo>
                      <a:lnTo>
                        <a:pt x="1050" y="235"/>
                      </a:lnTo>
                      <a:lnTo>
                        <a:pt x="1066" y="257"/>
                      </a:lnTo>
                      <a:lnTo>
                        <a:pt x="1083" y="281"/>
                      </a:lnTo>
                      <a:lnTo>
                        <a:pt x="1096" y="305"/>
                      </a:lnTo>
                      <a:lnTo>
                        <a:pt x="1109" y="331"/>
                      </a:lnTo>
                      <a:lnTo>
                        <a:pt x="1121" y="357"/>
                      </a:lnTo>
                      <a:lnTo>
                        <a:pt x="1131" y="384"/>
                      </a:lnTo>
                      <a:lnTo>
                        <a:pt x="1140" y="410"/>
                      </a:lnTo>
                      <a:lnTo>
                        <a:pt x="1148" y="438"/>
                      </a:lnTo>
                      <a:lnTo>
                        <a:pt x="1155" y="467"/>
                      </a:lnTo>
                      <a:lnTo>
                        <a:pt x="1160" y="495"/>
                      </a:lnTo>
                      <a:lnTo>
                        <a:pt x="1163" y="524"/>
                      </a:lnTo>
                      <a:lnTo>
                        <a:pt x="1165" y="554"/>
                      </a:lnTo>
                      <a:lnTo>
                        <a:pt x="1167" y="584"/>
                      </a:lnTo>
                      <a:lnTo>
                        <a:pt x="1167" y="5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283" name="그룹 282"/>
              <p:cNvGrpSpPr/>
              <p:nvPr userDrawn="1"/>
            </p:nvGrpSpPr>
            <p:grpSpPr>
              <a:xfrm>
                <a:off x="3011968" y="3022670"/>
                <a:ext cx="733014" cy="733999"/>
                <a:chOff x="4129088" y="3960813"/>
                <a:chExt cx="1181100" cy="1182688"/>
              </a:xfrm>
            </p:grpSpPr>
            <p:sp>
              <p:nvSpPr>
                <p:cNvPr id="284" name="Freeform 229"/>
                <p:cNvSpPr>
                  <a:spLocks/>
                </p:cNvSpPr>
                <p:nvPr/>
              </p:nvSpPr>
              <p:spPr bwMode="auto">
                <a:xfrm>
                  <a:off x="4129088" y="3960813"/>
                  <a:ext cx="1181100" cy="1182688"/>
                </a:xfrm>
                <a:custGeom>
                  <a:avLst/>
                  <a:gdLst>
                    <a:gd name="T0" fmla="*/ 5087 w 5211"/>
                    <a:gd name="T1" fmla="*/ 1821 h 5212"/>
                    <a:gd name="T2" fmla="*/ 4933 w 5211"/>
                    <a:gd name="T3" fmla="*/ 1443 h 5212"/>
                    <a:gd name="T4" fmla="*/ 4725 w 5211"/>
                    <a:gd name="T5" fmla="*/ 1096 h 5212"/>
                    <a:gd name="T6" fmla="*/ 4523 w 5211"/>
                    <a:gd name="T7" fmla="*/ 846 h 5212"/>
                    <a:gd name="T8" fmla="*/ 4439 w 5211"/>
                    <a:gd name="T9" fmla="*/ 761 h 5212"/>
                    <a:gd name="T10" fmla="*/ 4384 w 5211"/>
                    <a:gd name="T11" fmla="*/ 706 h 5212"/>
                    <a:gd name="T12" fmla="*/ 4125 w 5211"/>
                    <a:gd name="T13" fmla="*/ 493 h 5212"/>
                    <a:gd name="T14" fmla="*/ 3933 w 5211"/>
                    <a:gd name="T15" fmla="*/ 367 h 5212"/>
                    <a:gd name="T16" fmla="*/ 3781 w 5211"/>
                    <a:gd name="T17" fmla="*/ 283 h 5212"/>
                    <a:gd name="T18" fmla="*/ 3593 w 5211"/>
                    <a:gd name="T19" fmla="*/ 197 h 5212"/>
                    <a:gd name="T20" fmla="*/ 3269 w 5211"/>
                    <a:gd name="T21" fmla="*/ 90 h 5212"/>
                    <a:gd name="T22" fmla="*/ 3106 w 5211"/>
                    <a:gd name="T23" fmla="*/ 52 h 5212"/>
                    <a:gd name="T24" fmla="*/ 2894 w 5211"/>
                    <a:gd name="T25" fmla="*/ 18 h 5212"/>
                    <a:gd name="T26" fmla="*/ 2605 w 5211"/>
                    <a:gd name="T27" fmla="*/ 0 h 5212"/>
                    <a:gd name="T28" fmla="*/ 2339 w 5211"/>
                    <a:gd name="T29" fmla="*/ 14 h 5212"/>
                    <a:gd name="T30" fmla="*/ 2017 w 5211"/>
                    <a:gd name="T31" fmla="*/ 67 h 5212"/>
                    <a:gd name="T32" fmla="*/ 1710 w 5211"/>
                    <a:gd name="T33" fmla="*/ 159 h 5212"/>
                    <a:gd name="T34" fmla="*/ 1419 w 5211"/>
                    <a:gd name="T35" fmla="*/ 285 h 5212"/>
                    <a:gd name="T36" fmla="*/ 1149 w 5211"/>
                    <a:gd name="T37" fmla="*/ 446 h 5212"/>
                    <a:gd name="T38" fmla="*/ 900 w 5211"/>
                    <a:gd name="T39" fmla="*/ 635 h 5212"/>
                    <a:gd name="T40" fmla="*/ 677 w 5211"/>
                    <a:gd name="T41" fmla="*/ 854 h 5212"/>
                    <a:gd name="T42" fmla="*/ 481 w 5211"/>
                    <a:gd name="T43" fmla="*/ 1097 h 5212"/>
                    <a:gd name="T44" fmla="*/ 314 w 5211"/>
                    <a:gd name="T45" fmla="*/ 1364 h 5212"/>
                    <a:gd name="T46" fmla="*/ 181 w 5211"/>
                    <a:gd name="T47" fmla="*/ 1651 h 5212"/>
                    <a:gd name="T48" fmla="*/ 82 w 5211"/>
                    <a:gd name="T49" fmla="*/ 1955 h 5212"/>
                    <a:gd name="T50" fmla="*/ 21 w 5211"/>
                    <a:gd name="T51" fmla="*/ 2274 h 5212"/>
                    <a:gd name="T52" fmla="*/ 0 w 5211"/>
                    <a:gd name="T53" fmla="*/ 2605 h 5212"/>
                    <a:gd name="T54" fmla="*/ 14 w 5211"/>
                    <a:gd name="T55" fmla="*/ 2871 h 5212"/>
                    <a:gd name="T56" fmla="*/ 67 w 5211"/>
                    <a:gd name="T57" fmla="*/ 3191 h 5212"/>
                    <a:gd name="T58" fmla="*/ 156 w 5211"/>
                    <a:gd name="T59" fmla="*/ 3498 h 5212"/>
                    <a:gd name="T60" fmla="*/ 283 w 5211"/>
                    <a:gd name="T61" fmla="*/ 3788 h 5212"/>
                    <a:gd name="T62" fmla="*/ 442 w 5211"/>
                    <a:gd name="T63" fmla="*/ 4057 h 5212"/>
                    <a:gd name="T64" fmla="*/ 631 w 5211"/>
                    <a:gd name="T65" fmla="*/ 4305 h 5212"/>
                    <a:gd name="T66" fmla="*/ 802 w 5211"/>
                    <a:gd name="T67" fmla="*/ 4487 h 5212"/>
                    <a:gd name="T68" fmla="*/ 1042 w 5211"/>
                    <a:gd name="T69" fmla="*/ 4689 h 5212"/>
                    <a:gd name="T70" fmla="*/ 1304 w 5211"/>
                    <a:gd name="T71" fmla="*/ 4863 h 5212"/>
                    <a:gd name="T72" fmla="*/ 1587 w 5211"/>
                    <a:gd name="T73" fmla="*/ 5005 h 5212"/>
                    <a:gd name="T74" fmla="*/ 1889 w 5211"/>
                    <a:gd name="T75" fmla="*/ 5112 h 5212"/>
                    <a:gd name="T76" fmla="*/ 2207 w 5211"/>
                    <a:gd name="T77" fmla="*/ 5181 h 5212"/>
                    <a:gd name="T78" fmla="*/ 2537 w 5211"/>
                    <a:gd name="T79" fmla="*/ 5211 h 5212"/>
                    <a:gd name="T80" fmla="*/ 2806 w 5211"/>
                    <a:gd name="T81" fmla="*/ 5204 h 5212"/>
                    <a:gd name="T82" fmla="*/ 3130 w 5211"/>
                    <a:gd name="T83" fmla="*/ 5159 h 5212"/>
                    <a:gd name="T84" fmla="*/ 3441 w 5211"/>
                    <a:gd name="T85" fmla="*/ 5075 h 5212"/>
                    <a:gd name="T86" fmla="*/ 3735 w 5211"/>
                    <a:gd name="T87" fmla="*/ 4954 h 5212"/>
                    <a:gd name="T88" fmla="*/ 4010 w 5211"/>
                    <a:gd name="T89" fmla="*/ 4801 h 5212"/>
                    <a:gd name="T90" fmla="*/ 4263 w 5211"/>
                    <a:gd name="T91" fmla="*/ 4617 h 5212"/>
                    <a:gd name="T92" fmla="*/ 4491 w 5211"/>
                    <a:gd name="T93" fmla="*/ 4404 h 5212"/>
                    <a:gd name="T94" fmla="*/ 4692 w 5211"/>
                    <a:gd name="T95" fmla="*/ 4164 h 5212"/>
                    <a:gd name="T96" fmla="*/ 4865 w 5211"/>
                    <a:gd name="T97" fmla="*/ 3903 h 5212"/>
                    <a:gd name="T98" fmla="*/ 5006 w 5211"/>
                    <a:gd name="T99" fmla="*/ 3620 h 5212"/>
                    <a:gd name="T100" fmla="*/ 5112 w 5211"/>
                    <a:gd name="T101" fmla="*/ 3319 h 5212"/>
                    <a:gd name="T102" fmla="*/ 5181 w 5211"/>
                    <a:gd name="T103" fmla="*/ 3003 h 5212"/>
                    <a:gd name="T104" fmla="*/ 5209 w 5211"/>
                    <a:gd name="T105" fmla="*/ 2673 h 5212"/>
                    <a:gd name="T106" fmla="*/ 5199 w 5211"/>
                    <a:gd name="T107" fmla="*/ 2366 h 5212"/>
                    <a:gd name="T108" fmla="*/ 5132 w 5211"/>
                    <a:gd name="T109" fmla="*/ 1980 h 5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11" h="5212">
                      <a:moveTo>
                        <a:pt x="5132" y="1980"/>
                      </a:moveTo>
                      <a:lnTo>
                        <a:pt x="5132" y="1980"/>
                      </a:lnTo>
                      <a:lnTo>
                        <a:pt x="5132" y="1980"/>
                      </a:lnTo>
                      <a:lnTo>
                        <a:pt x="5110" y="1901"/>
                      </a:lnTo>
                      <a:lnTo>
                        <a:pt x="5087" y="1821"/>
                      </a:lnTo>
                      <a:lnTo>
                        <a:pt x="5061" y="1743"/>
                      </a:lnTo>
                      <a:lnTo>
                        <a:pt x="5032" y="1666"/>
                      </a:lnTo>
                      <a:lnTo>
                        <a:pt x="5002" y="1590"/>
                      </a:lnTo>
                      <a:lnTo>
                        <a:pt x="4969" y="1516"/>
                      </a:lnTo>
                      <a:lnTo>
                        <a:pt x="4933" y="1443"/>
                      </a:lnTo>
                      <a:lnTo>
                        <a:pt x="4896" y="1370"/>
                      </a:lnTo>
                      <a:lnTo>
                        <a:pt x="4857" y="1300"/>
                      </a:lnTo>
                      <a:lnTo>
                        <a:pt x="4814" y="1231"/>
                      </a:lnTo>
                      <a:lnTo>
                        <a:pt x="4771" y="1163"/>
                      </a:lnTo>
                      <a:lnTo>
                        <a:pt x="4725" y="1096"/>
                      </a:lnTo>
                      <a:lnTo>
                        <a:pt x="4677" y="1032"/>
                      </a:lnTo>
                      <a:lnTo>
                        <a:pt x="4628" y="968"/>
                      </a:lnTo>
                      <a:lnTo>
                        <a:pt x="4576" y="906"/>
                      </a:lnTo>
                      <a:lnTo>
                        <a:pt x="4523" y="846"/>
                      </a:lnTo>
                      <a:lnTo>
                        <a:pt x="4523" y="846"/>
                      </a:lnTo>
                      <a:lnTo>
                        <a:pt x="4513" y="836"/>
                      </a:lnTo>
                      <a:lnTo>
                        <a:pt x="4513" y="836"/>
                      </a:lnTo>
                      <a:lnTo>
                        <a:pt x="4476" y="798"/>
                      </a:lnTo>
                      <a:lnTo>
                        <a:pt x="4439" y="761"/>
                      </a:lnTo>
                      <a:lnTo>
                        <a:pt x="4439" y="761"/>
                      </a:lnTo>
                      <a:lnTo>
                        <a:pt x="4413" y="734"/>
                      </a:lnTo>
                      <a:lnTo>
                        <a:pt x="4387" y="709"/>
                      </a:lnTo>
                      <a:lnTo>
                        <a:pt x="4387" y="709"/>
                      </a:lnTo>
                      <a:lnTo>
                        <a:pt x="4384" y="706"/>
                      </a:lnTo>
                      <a:lnTo>
                        <a:pt x="4384" y="706"/>
                      </a:lnTo>
                      <a:lnTo>
                        <a:pt x="4334" y="661"/>
                      </a:lnTo>
                      <a:lnTo>
                        <a:pt x="4284" y="617"/>
                      </a:lnTo>
                      <a:lnTo>
                        <a:pt x="4232" y="574"/>
                      </a:lnTo>
                      <a:lnTo>
                        <a:pt x="4179" y="533"/>
                      </a:lnTo>
                      <a:lnTo>
                        <a:pt x="4125" y="493"/>
                      </a:lnTo>
                      <a:lnTo>
                        <a:pt x="4071" y="455"/>
                      </a:lnTo>
                      <a:lnTo>
                        <a:pt x="4014" y="418"/>
                      </a:lnTo>
                      <a:lnTo>
                        <a:pt x="3958" y="382"/>
                      </a:lnTo>
                      <a:lnTo>
                        <a:pt x="3958" y="382"/>
                      </a:lnTo>
                      <a:lnTo>
                        <a:pt x="3933" y="367"/>
                      </a:lnTo>
                      <a:lnTo>
                        <a:pt x="3933" y="367"/>
                      </a:lnTo>
                      <a:lnTo>
                        <a:pt x="3858" y="323"/>
                      </a:lnTo>
                      <a:lnTo>
                        <a:pt x="3820" y="303"/>
                      </a:lnTo>
                      <a:lnTo>
                        <a:pt x="3781" y="283"/>
                      </a:lnTo>
                      <a:lnTo>
                        <a:pt x="3781" y="283"/>
                      </a:lnTo>
                      <a:lnTo>
                        <a:pt x="3777" y="281"/>
                      </a:lnTo>
                      <a:lnTo>
                        <a:pt x="3777" y="281"/>
                      </a:lnTo>
                      <a:lnTo>
                        <a:pt x="3716" y="252"/>
                      </a:lnTo>
                      <a:lnTo>
                        <a:pt x="3655" y="223"/>
                      </a:lnTo>
                      <a:lnTo>
                        <a:pt x="3593" y="197"/>
                      </a:lnTo>
                      <a:lnTo>
                        <a:pt x="3530" y="173"/>
                      </a:lnTo>
                      <a:lnTo>
                        <a:pt x="3465" y="150"/>
                      </a:lnTo>
                      <a:lnTo>
                        <a:pt x="3401" y="128"/>
                      </a:lnTo>
                      <a:lnTo>
                        <a:pt x="3335" y="107"/>
                      </a:lnTo>
                      <a:lnTo>
                        <a:pt x="3269" y="90"/>
                      </a:lnTo>
                      <a:lnTo>
                        <a:pt x="3269" y="90"/>
                      </a:lnTo>
                      <a:lnTo>
                        <a:pt x="3234" y="81"/>
                      </a:lnTo>
                      <a:lnTo>
                        <a:pt x="3234" y="81"/>
                      </a:lnTo>
                      <a:lnTo>
                        <a:pt x="3150" y="60"/>
                      </a:lnTo>
                      <a:lnTo>
                        <a:pt x="3106" y="52"/>
                      </a:lnTo>
                      <a:lnTo>
                        <a:pt x="3063" y="44"/>
                      </a:lnTo>
                      <a:lnTo>
                        <a:pt x="3063" y="44"/>
                      </a:lnTo>
                      <a:lnTo>
                        <a:pt x="3007" y="33"/>
                      </a:lnTo>
                      <a:lnTo>
                        <a:pt x="2951" y="25"/>
                      </a:lnTo>
                      <a:lnTo>
                        <a:pt x="2894" y="18"/>
                      </a:lnTo>
                      <a:lnTo>
                        <a:pt x="2838" y="11"/>
                      </a:lnTo>
                      <a:lnTo>
                        <a:pt x="2780" y="7"/>
                      </a:lnTo>
                      <a:lnTo>
                        <a:pt x="2721" y="3"/>
                      </a:lnTo>
                      <a:lnTo>
                        <a:pt x="2664" y="1"/>
                      </a:lnTo>
                      <a:lnTo>
                        <a:pt x="2605" y="0"/>
                      </a:lnTo>
                      <a:lnTo>
                        <a:pt x="2605" y="0"/>
                      </a:lnTo>
                      <a:lnTo>
                        <a:pt x="2538" y="1"/>
                      </a:lnTo>
                      <a:lnTo>
                        <a:pt x="2472" y="3"/>
                      </a:lnTo>
                      <a:lnTo>
                        <a:pt x="2405" y="8"/>
                      </a:lnTo>
                      <a:lnTo>
                        <a:pt x="2339" y="14"/>
                      </a:lnTo>
                      <a:lnTo>
                        <a:pt x="2274" y="22"/>
                      </a:lnTo>
                      <a:lnTo>
                        <a:pt x="2208" y="31"/>
                      </a:lnTo>
                      <a:lnTo>
                        <a:pt x="2144" y="41"/>
                      </a:lnTo>
                      <a:lnTo>
                        <a:pt x="2080" y="53"/>
                      </a:lnTo>
                      <a:lnTo>
                        <a:pt x="2017" y="67"/>
                      </a:lnTo>
                      <a:lnTo>
                        <a:pt x="1954" y="83"/>
                      </a:lnTo>
                      <a:lnTo>
                        <a:pt x="1893" y="99"/>
                      </a:lnTo>
                      <a:lnTo>
                        <a:pt x="1830" y="117"/>
                      </a:lnTo>
                      <a:lnTo>
                        <a:pt x="1769" y="137"/>
                      </a:lnTo>
                      <a:lnTo>
                        <a:pt x="1710" y="159"/>
                      </a:lnTo>
                      <a:lnTo>
                        <a:pt x="1650" y="181"/>
                      </a:lnTo>
                      <a:lnTo>
                        <a:pt x="1591" y="205"/>
                      </a:lnTo>
                      <a:lnTo>
                        <a:pt x="1533" y="230"/>
                      </a:lnTo>
                      <a:lnTo>
                        <a:pt x="1476" y="258"/>
                      </a:lnTo>
                      <a:lnTo>
                        <a:pt x="1419" y="285"/>
                      </a:lnTo>
                      <a:lnTo>
                        <a:pt x="1363" y="315"/>
                      </a:lnTo>
                      <a:lnTo>
                        <a:pt x="1309" y="345"/>
                      </a:lnTo>
                      <a:lnTo>
                        <a:pt x="1255" y="378"/>
                      </a:lnTo>
                      <a:lnTo>
                        <a:pt x="1201" y="411"/>
                      </a:lnTo>
                      <a:lnTo>
                        <a:pt x="1149" y="446"/>
                      </a:lnTo>
                      <a:lnTo>
                        <a:pt x="1097" y="481"/>
                      </a:lnTo>
                      <a:lnTo>
                        <a:pt x="1046" y="518"/>
                      </a:lnTo>
                      <a:lnTo>
                        <a:pt x="997" y="556"/>
                      </a:lnTo>
                      <a:lnTo>
                        <a:pt x="949" y="595"/>
                      </a:lnTo>
                      <a:lnTo>
                        <a:pt x="900" y="635"/>
                      </a:lnTo>
                      <a:lnTo>
                        <a:pt x="853" y="677"/>
                      </a:lnTo>
                      <a:lnTo>
                        <a:pt x="808" y="720"/>
                      </a:lnTo>
                      <a:lnTo>
                        <a:pt x="763" y="763"/>
                      </a:lnTo>
                      <a:lnTo>
                        <a:pt x="719" y="808"/>
                      </a:lnTo>
                      <a:lnTo>
                        <a:pt x="677" y="854"/>
                      </a:lnTo>
                      <a:lnTo>
                        <a:pt x="635" y="901"/>
                      </a:lnTo>
                      <a:lnTo>
                        <a:pt x="595" y="949"/>
                      </a:lnTo>
                      <a:lnTo>
                        <a:pt x="556" y="997"/>
                      </a:lnTo>
                      <a:lnTo>
                        <a:pt x="518" y="1046"/>
                      </a:lnTo>
                      <a:lnTo>
                        <a:pt x="481" y="1097"/>
                      </a:lnTo>
                      <a:lnTo>
                        <a:pt x="444" y="1149"/>
                      </a:lnTo>
                      <a:lnTo>
                        <a:pt x="411" y="1202"/>
                      </a:lnTo>
                      <a:lnTo>
                        <a:pt x="377" y="1255"/>
                      </a:lnTo>
                      <a:lnTo>
                        <a:pt x="345" y="1309"/>
                      </a:lnTo>
                      <a:lnTo>
                        <a:pt x="314" y="1364"/>
                      </a:lnTo>
                      <a:lnTo>
                        <a:pt x="285" y="1420"/>
                      </a:lnTo>
                      <a:lnTo>
                        <a:pt x="257" y="1476"/>
                      </a:lnTo>
                      <a:lnTo>
                        <a:pt x="230" y="1534"/>
                      </a:lnTo>
                      <a:lnTo>
                        <a:pt x="205" y="1592"/>
                      </a:lnTo>
                      <a:lnTo>
                        <a:pt x="181" y="1651"/>
                      </a:lnTo>
                      <a:lnTo>
                        <a:pt x="158" y="1710"/>
                      </a:lnTo>
                      <a:lnTo>
                        <a:pt x="137" y="1771"/>
                      </a:lnTo>
                      <a:lnTo>
                        <a:pt x="117" y="1832"/>
                      </a:lnTo>
                      <a:lnTo>
                        <a:pt x="99" y="1893"/>
                      </a:lnTo>
                      <a:lnTo>
                        <a:pt x="82" y="1955"/>
                      </a:lnTo>
                      <a:lnTo>
                        <a:pt x="67" y="2017"/>
                      </a:lnTo>
                      <a:lnTo>
                        <a:pt x="53" y="2080"/>
                      </a:lnTo>
                      <a:lnTo>
                        <a:pt x="40" y="2145"/>
                      </a:lnTo>
                      <a:lnTo>
                        <a:pt x="30" y="2209"/>
                      </a:lnTo>
                      <a:lnTo>
                        <a:pt x="21" y="2274"/>
                      </a:lnTo>
                      <a:lnTo>
                        <a:pt x="14" y="2339"/>
                      </a:lnTo>
                      <a:lnTo>
                        <a:pt x="8" y="2405"/>
                      </a:lnTo>
                      <a:lnTo>
                        <a:pt x="3" y="2472"/>
                      </a:lnTo>
                      <a:lnTo>
                        <a:pt x="1" y="2539"/>
                      </a:lnTo>
                      <a:lnTo>
                        <a:pt x="0" y="2605"/>
                      </a:lnTo>
                      <a:lnTo>
                        <a:pt x="0" y="2605"/>
                      </a:lnTo>
                      <a:lnTo>
                        <a:pt x="1" y="2673"/>
                      </a:lnTo>
                      <a:lnTo>
                        <a:pt x="3" y="2739"/>
                      </a:lnTo>
                      <a:lnTo>
                        <a:pt x="8" y="2806"/>
                      </a:lnTo>
                      <a:lnTo>
                        <a:pt x="14" y="2871"/>
                      </a:lnTo>
                      <a:lnTo>
                        <a:pt x="21" y="2936"/>
                      </a:lnTo>
                      <a:lnTo>
                        <a:pt x="30" y="3001"/>
                      </a:lnTo>
                      <a:lnTo>
                        <a:pt x="40" y="3065"/>
                      </a:lnTo>
                      <a:lnTo>
                        <a:pt x="53" y="3129"/>
                      </a:lnTo>
                      <a:lnTo>
                        <a:pt x="67" y="3191"/>
                      </a:lnTo>
                      <a:lnTo>
                        <a:pt x="82" y="3255"/>
                      </a:lnTo>
                      <a:lnTo>
                        <a:pt x="98" y="3316"/>
                      </a:lnTo>
                      <a:lnTo>
                        <a:pt x="116" y="3378"/>
                      </a:lnTo>
                      <a:lnTo>
                        <a:pt x="136" y="3438"/>
                      </a:lnTo>
                      <a:lnTo>
                        <a:pt x="156" y="3498"/>
                      </a:lnTo>
                      <a:lnTo>
                        <a:pt x="179" y="3558"/>
                      </a:lnTo>
                      <a:lnTo>
                        <a:pt x="204" y="3616"/>
                      </a:lnTo>
                      <a:lnTo>
                        <a:pt x="228" y="3674"/>
                      </a:lnTo>
                      <a:lnTo>
                        <a:pt x="255" y="3731"/>
                      </a:lnTo>
                      <a:lnTo>
                        <a:pt x="283" y="3788"/>
                      </a:lnTo>
                      <a:lnTo>
                        <a:pt x="312" y="3843"/>
                      </a:lnTo>
                      <a:lnTo>
                        <a:pt x="343" y="3898"/>
                      </a:lnTo>
                      <a:lnTo>
                        <a:pt x="374" y="3951"/>
                      </a:lnTo>
                      <a:lnTo>
                        <a:pt x="407" y="4005"/>
                      </a:lnTo>
                      <a:lnTo>
                        <a:pt x="442" y="4057"/>
                      </a:lnTo>
                      <a:lnTo>
                        <a:pt x="476" y="4109"/>
                      </a:lnTo>
                      <a:lnTo>
                        <a:pt x="513" y="4160"/>
                      </a:lnTo>
                      <a:lnTo>
                        <a:pt x="551" y="4209"/>
                      </a:lnTo>
                      <a:lnTo>
                        <a:pt x="590" y="4258"/>
                      </a:lnTo>
                      <a:lnTo>
                        <a:pt x="631" y="4305"/>
                      </a:lnTo>
                      <a:lnTo>
                        <a:pt x="672" y="4352"/>
                      </a:lnTo>
                      <a:lnTo>
                        <a:pt x="714" y="4398"/>
                      </a:lnTo>
                      <a:lnTo>
                        <a:pt x="757" y="4442"/>
                      </a:lnTo>
                      <a:lnTo>
                        <a:pt x="757" y="4442"/>
                      </a:lnTo>
                      <a:lnTo>
                        <a:pt x="802" y="4487"/>
                      </a:lnTo>
                      <a:lnTo>
                        <a:pt x="848" y="4529"/>
                      </a:lnTo>
                      <a:lnTo>
                        <a:pt x="894" y="4571"/>
                      </a:lnTo>
                      <a:lnTo>
                        <a:pt x="943" y="4611"/>
                      </a:lnTo>
                      <a:lnTo>
                        <a:pt x="991" y="4651"/>
                      </a:lnTo>
                      <a:lnTo>
                        <a:pt x="1042" y="4689"/>
                      </a:lnTo>
                      <a:lnTo>
                        <a:pt x="1092" y="4726"/>
                      </a:lnTo>
                      <a:lnTo>
                        <a:pt x="1143" y="4763"/>
                      </a:lnTo>
                      <a:lnTo>
                        <a:pt x="1196" y="4798"/>
                      </a:lnTo>
                      <a:lnTo>
                        <a:pt x="1249" y="4831"/>
                      </a:lnTo>
                      <a:lnTo>
                        <a:pt x="1304" y="4863"/>
                      </a:lnTo>
                      <a:lnTo>
                        <a:pt x="1358" y="4894"/>
                      </a:lnTo>
                      <a:lnTo>
                        <a:pt x="1415" y="4924"/>
                      </a:lnTo>
                      <a:lnTo>
                        <a:pt x="1471" y="4952"/>
                      </a:lnTo>
                      <a:lnTo>
                        <a:pt x="1529" y="4979"/>
                      </a:lnTo>
                      <a:lnTo>
                        <a:pt x="1587" y="5005"/>
                      </a:lnTo>
                      <a:lnTo>
                        <a:pt x="1646" y="5029"/>
                      </a:lnTo>
                      <a:lnTo>
                        <a:pt x="1706" y="5052"/>
                      </a:lnTo>
                      <a:lnTo>
                        <a:pt x="1766" y="5074"/>
                      </a:lnTo>
                      <a:lnTo>
                        <a:pt x="1828" y="5093"/>
                      </a:lnTo>
                      <a:lnTo>
                        <a:pt x="1889" y="5112"/>
                      </a:lnTo>
                      <a:lnTo>
                        <a:pt x="1951" y="5129"/>
                      </a:lnTo>
                      <a:lnTo>
                        <a:pt x="2015" y="5144"/>
                      </a:lnTo>
                      <a:lnTo>
                        <a:pt x="2078" y="5158"/>
                      </a:lnTo>
                      <a:lnTo>
                        <a:pt x="2142" y="5171"/>
                      </a:lnTo>
                      <a:lnTo>
                        <a:pt x="2207" y="5181"/>
                      </a:lnTo>
                      <a:lnTo>
                        <a:pt x="2272" y="5190"/>
                      </a:lnTo>
                      <a:lnTo>
                        <a:pt x="2338" y="5198"/>
                      </a:lnTo>
                      <a:lnTo>
                        <a:pt x="2404" y="5204"/>
                      </a:lnTo>
                      <a:lnTo>
                        <a:pt x="2470" y="5209"/>
                      </a:lnTo>
                      <a:lnTo>
                        <a:pt x="2537" y="5211"/>
                      </a:lnTo>
                      <a:lnTo>
                        <a:pt x="2605" y="5212"/>
                      </a:lnTo>
                      <a:lnTo>
                        <a:pt x="2605" y="5212"/>
                      </a:lnTo>
                      <a:lnTo>
                        <a:pt x="2672" y="5211"/>
                      </a:lnTo>
                      <a:lnTo>
                        <a:pt x="2740" y="5209"/>
                      </a:lnTo>
                      <a:lnTo>
                        <a:pt x="2806" y="5204"/>
                      </a:lnTo>
                      <a:lnTo>
                        <a:pt x="2871" y="5198"/>
                      </a:lnTo>
                      <a:lnTo>
                        <a:pt x="2937" y="5190"/>
                      </a:lnTo>
                      <a:lnTo>
                        <a:pt x="3002" y="5181"/>
                      </a:lnTo>
                      <a:lnTo>
                        <a:pt x="3067" y="5171"/>
                      </a:lnTo>
                      <a:lnTo>
                        <a:pt x="3130" y="5159"/>
                      </a:lnTo>
                      <a:lnTo>
                        <a:pt x="3193" y="5145"/>
                      </a:lnTo>
                      <a:lnTo>
                        <a:pt x="3257" y="5129"/>
                      </a:lnTo>
                      <a:lnTo>
                        <a:pt x="3319" y="5113"/>
                      </a:lnTo>
                      <a:lnTo>
                        <a:pt x="3380" y="5095"/>
                      </a:lnTo>
                      <a:lnTo>
                        <a:pt x="3441" y="5075"/>
                      </a:lnTo>
                      <a:lnTo>
                        <a:pt x="3501" y="5053"/>
                      </a:lnTo>
                      <a:lnTo>
                        <a:pt x="3561" y="5031"/>
                      </a:lnTo>
                      <a:lnTo>
                        <a:pt x="3619" y="5007"/>
                      </a:lnTo>
                      <a:lnTo>
                        <a:pt x="3677" y="4982"/>
                      </a:lnTo>
                      <a:lnTo>
                        <a:pt x="3735" y="4954"/>
                      </a:lnTo>
                      <a:lnTo>
                        <a:pt x="3791" y="4926"/>
                      </a:lnTo>
                      <a:lnTo>
                        <a:pt x="3847" y="4897"/>
                      </a:lnTo>
                      <a:lnTo>
                        <a:pt x="3902" y="4867"/>
                      </a:lnTo>
                      <a:lnTo>
                        <a:pt x="3956" y="4834"/>
                      </a:lnTo>
                      <a:lnTo>
                        <a:pt x="4010" y="4801"/>
                      </a:lnTo>
                      <a:lnTo>
                        <a:pt x="4062" y="4766"/>
                      </a:lnTo>
                      <a:lnTo>
                        <a:pt x="4113" y="4731"/>
                      </a:lnTo>
                      <a:lnTo>
                        <a:pt x="4164" y="4694"/>
                      </a:lnTo>
                      <a:lnTo>
                        <a:pt x="4214" y="4656"/>
                      </a:lnTo>
                      <a:lnTo>
                        <a:pt x="4263" y="4617"/>
                      </a:lnTo>
                      <a:lnTo>
                        <a:pt x="4310" y="4576"/>
                      </a:lnTo>
                      <a:lnTo>
                        <a:pt x="4357" y="4535"/>
                      </a:lnTo>
                      <a:lnTo>
                        <a:pt x="4402" y="4492"/>
                      </a:lnTo>
                      <a:lnTo>
                        <a:pt x="4447" y="4449"/>
                      </a:lnTo>
                      <a:lnTo>
                        <a:pt x="4491" y="4404"/>
                      </a:lnTo>
                      <a:lnTo>
                        <a:pt x="4534" y="4358"/>
                      </a:lnTo>
                      <a:lnTo>
                        <a:pt x="4575" y="4311"/>
                      </a:lnTo>
                      <a:lnTo>
                        <a:pt x="4615" y="4263"/>
                      </a:lnTo>
                      <a:lnTo>
                        <a:pt x="4654" y="4215"/>
                      </a:lnTo>
                      <a:lnTo>
                        <a:pt x="4692" y="4164"/>
                      </a:lnTo>
                      <a:lnTo>
                        <a:pt x="4730" y="4115"/>
                      </a:lnTo>
                      <a:lnTo>
                        <a:pt x="4766" y="4063"/>
                      </a:lnTo>
                      <a:lnTo>
                        <a:pt x="4801" y="4010"/>
                      </a:lnTo>
                      <a:lnTo>
                        <a:pt x="4833" y="3957"/>
                      </a:lnTo>
                      <a:lnTo>
                        <a:pt x="4865" y="3903"/>
                      </a:lnTo>
                      <a:lnTo>
                        <a:pt x="4896" y="3848"/>
                      </a:lnTo>
                      <a:lnTo>
                        <a:pt x="4925" y="3792"/>
                      </a:lnTo>
                      <a:lnTo>
                        <a:pt x="4954" y="3736"/>
                      </a:lnTo>
                      <a:lnTo>
                        <a:pt x="4980" y="3678"/>
                      </a:lnTo>
                      <a:lnTo>
                        <a:pt x="5006" y="3620"/>
                      </a:lnTo>
                      <a:lnTo>
                        <a:pt x="5030" y="3561"/>
                      </a:lnTo>
                      <a:lnTo>
                        <a:pt x="5053" y="3502"/>
                      </a:lnTo>
                      <a:lnTo>
                        <a:pt x="5074" y="3441"/>
                      </a:lnTo>
                      <a:lnTo>
                        <a:pt x="5093" y="3380"/>
                      </a:lnTo>
                      <a:lnTo>
                        <a:pt x="5112" y="3319"/>
                      </a:lnTo>
                      <a:lnTo>
                        <a:pt x="5129" y="3257"/>
                      </a:lnTo>
                      <a:lnTo>
                        <a:pt x="5144" y="3195"/>
                      </a:lnTo>
                      <a:lnTo>
                        <a:pt x="5158" y="3132"/>
                      </a:lnTo>
                      <a:lnTo>
                        <a:pt x="5170" y="3067"/>
                      </a:lnTo>
                      <a:lnTo>
                        <a:pt x="5181" y="3003"/>
                      </a:lnTo>
                      <a:lnTo>
                        <a:pt x="5190" y="2938"/>
                      </a:lnTo>
                      <a:lnTo>
                        <a:pt x="5197" y="2873"/>
                      </a:lnTo>
                      <a:lnTo>
                        <a:pt x="5202" y="2807"/>
                      </a:lnTo>
                      <a:lnTo>
                        <a:pt x="5207" y="2740"/>
                      </a:lnTo>
                      <a:lnTo>
                        <a:pt x="5209" y="2673"/>
                      </a:lnTo>
                      <a:lnTo>
                        <a:pt x="5211" y="2605"/>
                      </a:lnTo>
                      <a:lnTo>
                        <a:pt x="5211" y="2605"/>
                      </a:lnTo>
                      <a:lnTo>
                        <a:pt x="5209" y="2525"/>
                      </a:lnTo>
                      <a:lnTo>
                        <a:pt x="5205" y="2445"/>
                      </a:lnTo>
                      <a:lnTo>
                        <a:pt x="5199" y="2366"/>
                      </a:lnTo>
                      <a:lnTo>
                        <a:pt x="5190" y="2288"/>
                      </a:lnTo>
                      <a:lnTo>
                        <a:pt x="5178" y="2209"/>
                      </a:lnTo>
                      <a:lnTo>
                        <a:pt x="5166" y="2132"/>
                      </a:lnTo>
                      <a:lnTo>
                        <a:pt x="5149" y="2056"/>
                      </a:lnTo>
                      <a:lnTo>
                        <a:pt x="5132" y="1980"/>
                      </a:lnTo>
                      <a:lnTo>
                        <a:pt x="5132" y="1980"/>
                      </a:lnTo>
                      <a:close/>
                    </a:path>
                  </a:pathLst>
                </a:custGeom>
                <a:solidFill>
                  <a:srgbClr val="C968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85" name="Freeform 230"/>
                <p:cNvSpPr>
                  <a:spLocks/>
                </p:cNvSpPr>
                <p:nvPr/>
              </p:nvSpPr>
              <p:spPr bwMode="auto">
                <a:xfrm>
                  <a:off x="4129088" y="3960813"/>
                  <a:ext cx="695325" cy="1008063"/>
                </a:xfrm>
                <a:custGeom>
                  <a:avLst/>
                  <a:gdLst>
                    <a:gd name="T0" fmla="*/ 1294 w 3063"/>
                    <a:gd name="T1" fmla="*/ 1863 h 4442"/>
                    <a:gd name="T2" fmla="*/ 1311 w 3063"/>
                    <a:gd name="T3" fmla="*/ 1677 h 4442"/>
                    <a:gd name="T4" fmla="*/ 1347 w 3063"/>
                    <a:gd name="T5" fmla="*/ 1499 h 4442"/>
                    <a:gd name="T6" fmla="*/ 1398 w 3063"/>
                    <a:gd name="T7" fmla="*/ 1326 h 4442"/>
                    <a:gd name="T8" fmla="*/ 1464 w 3063"/>
                    <a:gd name="T9" fmla="*/ 1160 h 4442"/>
                    <a:gd name="T10" fmla="*/ 1545 w 3063"/>
                    <a:gd name="T11" fmla="*/ 1003 h 4442"/>
                    <a:gd name="T12" fmla="*/ 1640 w 3063"/>
                    <a:gd name="T13" fmla="*/ 854 h 4442"/>
                    <a:gd name="T14" fmla="*/ 1747 w 3063"/>
                    <a:gd name="T15" fmla="*/ 715 h 4442"/>
                    <a:gd name="T16" fmla="*/ 1867 w 3063"/>
                    <a:gd name="T17" fmla="*/ 587 h 4442"/>
                    <a:gd name="T18" fmla="*/ 1998 w 3063"/>
                    <a:gd name="T19" fmla="*/ 470 h 4442"/>
                    <a:gd name="T20" fmla="*/ 2139 w 3063"/>
                    <a:gd name="T21" fmla="*/ 365 h 4442"/>
                    <a:gd name="T22" fmla="*/ 2290 w 3063"/>
                    <a:gd name="T23" fmla="*/ 273 h 4442"/>
                    <a:gd name="T24" fmla="*/ 2450 w 3063"/>
                    <a:gd name="T25" fmla="*/ 195 h 4442"/>
                    <a:gd name="T26" fmla="*/ 2617 w 3063"/>
                    <a:gd name="T27" fmla="*/ 131 h 4442"/>
                    <a:gd name="T28" fmla="*/ 2791 w 3063"/>
                    <a:gd name="T29" fmla="*/ 84 h 4442"/>
                    <a:gd name="T30" fmla="*/ 2971 w 3063"/>
                    <a:gd name="T31" fmla="*/ 53 h 4442"/>
                    <a:gd name="T32" fmla="*/ 3007 w 3063"/>
                    <a:gd name="T33" fmla="*/ 33 h 4442"/>
                    <a:gd name="T34" fmla="*/ 2780 w 3063"/>
                    <a:gd name="T35" fmla="*/ 7 h 4442"/>
                    <a:gd name="T36" fmla="*/ 2605 w 3063"/>
                    <a:gd name="T37" fmla="*/ 0 h 4442"/>
                    <a:gd name="T38" fmla="*/ 2339 w 3063"/>
                    <a:gd name="T39" fmla="*/ 14 h 4442"/>
                    <a:gd name="T40" fmla="*/ 2080 w 3063"/>
                    <a:gd name="T41" fmla="*/ 53 h 4442"/>
                    <a:gd name="T42" fmla="*/ 1830 w 3063"/>
                    <a:gd name="T43" fmla="*/ 117 h 4442"/>
                    <a:gd name="T44" fmla="*/ 1591 w 3063"/>
                    <a:gd name="T45" fmla="*/ 205 h 4442"/>
                    <a:gd name="T46" fmla="*/ 1363 w 3063"/>
                    <a:gd name="T47" fmla="*/ 315 h 4442"/>
                    <a:gd name="T48" fmla="*/ 1149 w 3063"/>
                    <a:gd name="T49" fmla="*/ 446 h 4442"/>
                    <a:gd name="T50" fmla="*/ 949 w 3063"/>
                    <a:gd name="T51" fmla="*/ 595 h 4442"/>
                    <a:gd name="T52" fmla="*/ 763 w 3063"/>
                    <a:gd name="T53" fmla="*/ 763 h 4442"/>
                    <a:gd name="T54" fmla="*/ 595 w 3063"/>
                    <a:gd name="T55" fmla="*/ 949 h 4442"/>
                    <a:gd name="T56" fmla="*/ 444 w 3063"/>
                    <a:gd name="T57" fmla="*/ 1149 h 4442"/>
                    <a:gd name="T58" fmla="*/ 314 w 3063"/>
                    <a:gd name="T59" fmla="*/ 1364 h 4442"/>
                    <a:gd name="T60" fmla="*/ 205 w 3063"/>
                    <a:gd name="T61" fmla="*/ 1592 h 4442"/>
                    <a:gd name="T62" fmla="*/ 117 w 3063"/>
                    <a:gd name="T63" fmla="*/ 1832 h 4442"/>
                    <a:gd name="T64" fmla="*/ 53 w 3063"/>
                    <a:gd name="T65" fmla="*/ 2080 h 4442"/>
                    <a:gd name="T66" fmla="*/ 14 w 3063"/>
                    <a:gd name="T67" fmla="*/ 2339 h 4442"/>
                    <a:gd name="T68" fmla="*/ 0 w 3063"/>
                    <a:gd name="T69" fmla="*/ 2605 h 4442"/>
                    <a:gd name="T70" fmla="*/ 8 w 3063"/>
                    <a:gd name="T71" fmla="*/ 2806 h 4442"/>
                    <a:gd name="T72" fmla="*/ 40 w 3063"/>
                    <a:gd name="T73" fmla="*/ 3065 h 4442"/>
                    <a:gd name="T74" fmla="*/ 98 w 3063"/>
                    <a:gd name="T75" fmla="*/ 3316 h 4442"/>
                    <a:gd name="T76" fmla="*/ 179 w 3063"/>
                    <a:gd name="T77" fmla="*/ 3558 h 4442"/>
                    <a:gd name="T78" fmla="*/ 283 w 3063"/>
                    <a:gd name="T79" fmla="*/ 3788 h 4442"/>
                    <a:gd name="T80" fmla="*/ 407 w 3063"/>
                    <a:gd name="T81" fmla="*/ 4005 h 4442"/>
                    <a:gd name="T82" fmla="*/ 551 w 3063"/>
                    <a:gd name="T83" fmla="*/ 4209 h 4442"/>
                    <a:gd name="T84" fmla="*/ 714 w 3063"/>
                    <a:gd name="T85" fmla="*/ 4398 h 4442"/>
                    <a:gd name="T86" fmla="*/ 1837 w 3063"/>
                    <a:gd name="T87" fmla="*/ 3296 h 4442"/>
                    <a:gd name="T88" fmla="*/ 1713 w 3063"/>
                    <a:gd name="T89" fmla="*/ 3156 h 4442"/>
                    <a:gd name="T90" fmla="*/ 1604 w 3063"/>
                    <a:gd name="T91" fmla="*/ 3005 h 4442"/>
                    <a:gd name="T92" fmla="*/ 1508 w 3063"/>
                    <a:gd name="T93" fmla="*/ 2843 h 4442"/>
                    <a:gd name="T94" fmla="*/ 1429 w 3063"/>
                    <a:gd name="T95" fmla="*/ 2670 h 4442"/>
                    <a:gd name="T96" fmla="*/ 1366 w 3063"/>
                    <a:gd name="T97" fmla="*/ 2489 h 4442"/>
                    <a:gd name="T98" fmla="*/ 1323 w 3063"/>
                    <a:gd name="T99" fmla="*/ 2301 h 4442"/>
                    <a:gd name="T100" fmla="*/ 1297 w 3063"/>
                    <a:gd name="T101" fmla="*/ 2107 h 4442"/>
                    <a:gd name="T102" fmla="*/ 1292 w 3063"/>
                    <a:gd name="T103" fmla="*/ 1956 h 4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63" h="4442">
                      <a:moveTo>
                        <a:pt x="1292" y="1956"/>
                      </a:moveTo>
                      <a:lnTo>
                        <a:pt x="1292" y="1956"/>
                      </a:lnTo>
                      <a:lnTo>
                        <a:pt x="1292" y="1909"/>
                      </a:lnTo>
                      <a:lnTo>
                        <a:pt x="1294" y="1863"/>
                      </a:lnTo>
                      <a:lnTo>
                        <a:pt x="1296" y="1816"/>
                      </a:lnTo>
                      <a:lnTo>
                        <a:pt x="1301" y="1770"/>
                      </a:lnTo>
                      <a:lnTo>
                        <a:pt x="1305" y="1723"/>
                      </a:lnTo>
                      <a:lnTo>
                        <a:pt x="1311" y="1677"/>
                      </a:lnTo>
                      <a:lnTo>
                        <a:pt x="1319" y="1633"/>
                      </a:lnTo>
                      <a:lnTo>
                        <a:pt x="1327" y="1588"/>
                      </a:lnTo>
                      <a:lnTo>
                        <a:pt x="1336" y="1543"/>
                      </a:lnTo>
                      <a:lnTo>
                        <a:pt x="1347" y="1499"/>
                      </a:lnTo>
                      <a:lnTo>
                        <a:pt x="1358" y="1455"/>
                      </a:lnTo>
                      <a:lnTo>
                        <a:pt x="1370" y="1411"/>
                      </a:lnTo>
                      <a:lnTo>
                        <a:pt x="1384" y="1368"/>
                      </a:lnTo>
                      <a:lnTo>
                        <a:pt x="1398" y="1326"/>
                      </a:lnTo>
                      <a:lnTo>
                        <a:pt x="1412" y="1284"/>
                      </a:lnTo>
                      <a:lnTo>
                        <a:pt x="1429" y="1242"/>
                      </a:lnTo>
                      <a:lnTo>
                        <a:pt x="1446" y="1201"/>
                      </a:lnTo>
                      <a:lnTo>
                        <a:pt x="1464" y="1160"/>
                      </a:lnTo>
                      <a:lnTo>
                        <a:pt x="1483" y="1120"/>
                      </a:lnTo>
                      <a:lnTo>
                        <a:pt x="1503" y="1080"/>
                      </a:lnTo>
                      <a:lnTo>
                        <a:pt x="1523" y="1041"/>
                      </a:lnTo>
                      <a:lnTo>
                        <a:pt x="1545" y="1003"/>
                      </a:lnTo>
                      <a:lnTo>
                        <a:pt x="1568" y="965"/>
                      </a:lnTo>
                      <a:lnTo>
                        <a:pt x="1591" y="927"/>
                      </a:lnTo>
                      <a:lnTo>
                        <a:pt x="1615" y="890"/>
                      </a:lnTo>
                      <a:lnTo>
                        <a:pt x="1640" y="854"/>
                      </a:lnTo>
                      <a:lnTo>
                        <a:pt x="1666" y="819"/>
                      </a:lnTo>
                      <a:lnTo>
                        <a:pt x="1692" y="783"/>
                      </a:lnTo>
                      <a:lnTo>
                        <a:pt x="1720" y="748"/>
                      </a:lnTo>
                      <a:lnTo>
                        <a:pt x="1747" y="715"/>
                      </a:lnTo>
                      <a:lnTo>
                        <a:pt x="1776" y="682"/>
                      </a:lnTo>
                      <a:lnTo>
                        <a:pt x="1806" y="649"/>
                      </a:lnTo>
                      <a:lnTo>
                        <a:pt x="1836" y="618"/>
                      </a:lnTo>
                      <a:lnTo>
                        <a:pt x="1867" y="587"/>
                      </a:lnTo>
                      <a:lnTo>
                        <a:pt x="1898" y="556"/>
                      </a:lnTo>
                      <a:lnTo>
                        <a:pt x="1932" y="527"/>
                      </a:lnTo>
                      <a:lnTo>
                        <a:pt x="1964" y="497"/>
                      </a:lnTo>
                      <a:lnTo>
                        <a:pt x="1998" y="470"/>
                      </a:lnTo>
                      <a:lnTo>
                        <a:pt x="2032" y="442"/>
                      </a:lnTo>
                      <a:lnTo>
                        <a:pt x="2068" y="416"/>
                      </a:lnTo>
                      <a:lnTo>
                        <a:pt x="2103" y="390"/>
                      </a:lnTo>
                      <a:lnTo>
                        <a:pt x="2139" y="365"/>
                      </a:lnTo>
                      <a:lnTo>
                        <a:pt x="2176" y="341"/>
                      </a:lnTo>
                      <a:lnTo>
                        <a:pt x="2214" y="318"/>
                      </a:lnTo>
                      <a:lnTo>
                        <a:pt x="2252" y="295"/>
                      </a:lnTo>
                      <a:lnTo>
                        <a:pt x="2290" y="273"/>
                      </a:lnTo>
                      <a:lnTo>
                        <a:pt x="2329" y="252"/>
                      </a:lnTo>
                      <a:lnTo>
                        <a:pt x="2368" y="233"/>
                      </a:lnTo>
                      <a:lnTo>
                        <a:pt x="2408" y="213"/>
                      </a:lnTo>
                      <a:lnTo>
                        <a:pt x="2450" y="195"/>
                      </a:lnTo>
                      <a:lnTo>
                        <a:pt x="2490" y="177"/>
                      </a:lnTo>
                      <a:lnTo>
                        <a:pt x="2532" y="161"/>
                      </a:lnTo>
                      <a:lnTo>
                        <a:pt x="2574" y="146"/>
                      </a:lnTo>
                      <a:lnTo>
                        <a:pt x="2617" y="131"/>
                      </a:lnTo>
                      <a:lnTo>
                        <a:pt x="2659" y="119"/>
                      </a:lnTo>
                      <a:lnTo>
                        <a:pt x="2703" y="106"/>
                      </a:lnTo>
                      <a:lnTo>
                        <a:pt x="2747" y="94"/>
                      </a:lnTo>
                      <a:lnTo>
                        <a:pt x="2791" y="84"/>
                      </a:lnTo>
                      <a:lnTo>
                        <a:pt x="2835" y="75"/>
                      </a:lnTo>
                      <a:lnTo>
                        <a:pt x="2880" y="66"/>
                      </a:lnTo>
                      <a:lnTo>
                        <a:pt x="2925" y="59"/>
                      </a:lnTo>
                      <a:lnTo>
                        <a:pt x="2971" y="53"/>
                      </a:lnTo>
                      <a:lnTo>
                        <a:pt x="3017" y="47"/>
                      </a:lnTo>
                      <a:lnTo>
                        <a:pt x="3063" y="44"/>
                      </a:lnTo>
                      <a:lnTo>
                        <a:pt x="3063" y="44"/>
                      </a:lnTo>
                      <a:lnTo>
                        <a:pt x="3007" y="33"/>
                      </a:lnTo>
                      <a:lnTo>
                        <a:pt x="2951" y="25"/>
                      </a:lnTo>
                      <a:lnTo>
                        <a:pt x="2894" y="18"/>
                      </a:lnTo>
                      <a:lnTo>
                        <a:pt x="2838" y="11"/>
                      </a:lnTo>
                      <a:lnTo>
                        <a:pt x="2780" y="7"/>
                      </a:lnTo>
                      <a:lnTo>
                        <a:pt x="2721" y="3"/>
                      </a:lnTo>
                      <a:lnTo>
                        <a:pt x="2664" y="1"/>
                      </a:lnTo>
                      <a:lnTo>
                        <a:pt x="2605" y="0"/>
                      </a:lnTo>
                      <a:lnTo>
                        <a:pt x="2605" y="0"/>
                      </a:lnTo>
                      <a:lnTo>
                        <a:pt x="2538" y="1"/>
                      </a:lnTo>
                      <a:lnTo>
                        <a:pt x="2472" y="3"/>
                      </a:lnTo>
                      <a:lnTo>
                        <a:pt x="2405" y="8"/>
                      </a:lnTo>
                      <a:lnTo>
                        <a:pt x="2339" y="14"/>
                      </a:lnTo>
                      <a:lnTo>
                        <a:pt x="2274" y="22"/>
                      </a:lnTo>
                      <a:lnTo>
                        <a:pt x="2208" y="31"/>
                      </a:lnTo>
                      <a:lnTo>
                        <a:pt x="2144" y="41"/>
                      </a:lnTo>
                      <a:lnTo>
                        <a:pt x="2080" y="53"/>
                      </a:lnTo>
                      <a:lnTo>
                        <a:pt x="2017" y="67"/>
                      </a:lnTo>
                      <a:lnTo>
                        <a:pt x="1954" y="83"/>
                      </a:lnTo>
                      <a:lnTo>
                        <a:pt x="1893" y="99"/>
                      </a:lnTo>
                      <a:lnTo>
                        <a:pt x="1830" y="117"/>
                      </a:lnTo>
                      <a:lnTo>
                        <a:pt x="1769" y="137"/>
                      </a:lnTo>
                      <a:lnTo>
                        <a:pt x="1710" y="159"/>
                      </a:lnTo>
                      <a:lnTo>
                        <a:pt x="1650" y="181"/>
                      </a:lnTo>
                      <a:lnTo>
                        <a:pt x="1591" y="205"/>
                      </a:lnTo>
                      <a:lnTo>
                        <a:pt x="1533" y="230"/>
                      </a:lnTo>
                      <a:lnTo>
                        <a:pt x="1476" y="258"/>
                      </a:lnTo>
                      <a:lnTo>
                        <a:pt x="1419" y="285"/>
                      </a:lnTo>
                      <a:lnTo>
                        <a:pt x="1363" y="315"/>
                      </a:lnTo>
                      <a:lnTo>
                        <a:pt x="1309" y="345"/>
                      </a:lnTo>
                      <a:lnTo>
                        <a:pt x="1255" y="378"/>
                      </a:lnTo>
                      <a:lnTo>
                        <a:pt x="1201" y="411"/>
                      </a:lnTo>
                      <a:lnTo>
                        <a:pt x="1149" y="446"/>
                      </a:lnTo>
                      <a:lnTo>
                        <a:pt x="1097" y="481"/>
                      </a:lnTo>
                      <a:lnTo>
                        <a:pt x="1046" y="518"/>
                      </a:lnTo>
                      <a:lnTo>
                        <a:pt x="997" y="556"/>
                      </a:lnTo>
                      <a:lnTo>
                        <a:pt x="949" y="595"/>
                      </a:lnTo>
                      <a:lnTo>
                        <a:pt x="900" y="635"/>
                      </a:lnTo>
                      <a:lnTo>
                        <a:pt x="853" y="677"/>
                      </a:lnTo>
                      <a:lnTo>
                        <a:pt x="808" y="720"/>
                      </a:lnTo>
                      <a:lnTo>
                        <a:pt x="763" y="763"/>
                      </a:lnTo>
                      <a:lnTo>
                        <a:pt x="719" y="808"/>
                      </a:lnTo>
                      <a:lnTo>
                        <a:pt x="677" y="854"/>
                      </a:lnTo>
                      <a:lnTo>
                        <a:pt x="635" y="901"/>
                      </a:lnTo>
                      <a:lnTo>
                        <a:pt x="595" y="949"/>
                      </a:lnTo>
                      <a:lnTo>
                        <a:pt x="556" y="997"/>
                      </a:lnTo>
                      <a:lnTo>
                        <a:pt x="518" y="1046"/>
                      </a:lnTo>
                      <a:lnTo>
                        <a:pt x="481" y="1097"/>
                      </a:lnTo>
                      <a:lnTo>
                        <a:pt x="444" y="1149"/>
                      </a:lnTo>
                      <a:lnTo>
                        <a:pt x="411" y="1202"/>
                      </a:lnTo>
                      <a:lnTo>
                        <a:pt x="377" y="1255"/>
                      </a:lnTo>
                      <a:lnTo>
                        <a:pt x="345" y="1309"/>
                      </a:lnTo>
                      <a:lnTo>
                        <a:pt x="314" y="1364"/>
                      </a:lnTo>
                      <a:lnTo>
                        <a:pt x="285" y="1420"/>
                      </a:lnTo>
                      <a:lnTo>
                        <a:pt x="257" y="1476"/>
                      </a:lnTo>
                      <a:lnTo>
                        <a:pt x="230" y="1534"/>
                      </a:lnTo>
                      <a:lnTo>
                        <a:pt x="205" y="1592"/>
                      </a:lnTo>
                      <a:lnTo>
                        <a:pt x="181" y="1651"/>
                      </a:lnTo>
                      <a:lnTo>
                        <a:pt x="158" y="1710"/>
                      </a:lnTo>
                      <a:lnTo>
                        <a:pt x="137" y="1771"/>
                      </a:lnTo>
                      <a:lnTo>
                        <a:pt x="117" y="1832"/>
                      </a:lnTo>
                      <a:lnTo>
                        <a:pt x="99" y="1893"/>
                      </a:lnTo>
                      <a:lnTo>
                        <a:pt x="82" y="1955"/>
                      </a:lnTo>
                      <a:lnTo>
                        <a:pt x="67" y="2017"/>
                      </a:lnTo>
                      <a:lnTo>
                        <a:pt x="53" y="2080"/>
                      </a:lnTo>
                      <a:lnTo>
                        <a:pt x="40" y="2145"/>
                      </a:lnTo>
                      <a:lnTo>
                        <a:pt x="30" y="2209"/>
                      </a:lnTo>
                      <a:lnTo>
                        <a:pt x="21" y="2274"/>
                      </a:lnTo>
                      <a:lnTo>
                        <a:pt x="14" y="2339"/>
                      </a:lnTo>
                      <a:lnTo>
                        <a:pt x="8" y="2405"/>
                      </a:lnTo>
                      <a:lnTo>
                        <a:pt x="3" y="2472"/>
                      </a:lnTo>
                      <a:lnTo>
                        <a:pt x="1" y="2539"/>
                      </a:lnTo>
                      <a:lnTo>
                        <a:pt x="0" y="2605"/>
                      </a:lnTo>
                      <a:lnTo>
                        <a:pt x="0" y="2605"/>
                      </a:lnTo>
                      <a:lnTo>
                        <a:pt x="1" y="2673"/>
                      </a:lnTo>
                      <a:lnTo>
                        <a:pt x="3" y="2739"/>
                      </a:lnTo>
                      <a:lnTo>
                        <a:pt x="8" y="2806"/>
                      </a:lnTo>
                      <a:lnTo>
                        <a:pt x="14" y="2871"/>
                      </a:lnTo>
                      <a:lnTo>
                        <a:pt x="21" y="2936"/>
                      </a:lnTo>
                      <a:lnTo>
                        <a:pt x="30" y="3001"/>
                      </a:lnTo>
                      <a:lnTo>
                        <a:pt x="40" y="3065"/>
                      </a:lnTo>
                      <a:lnTo>
                        <a:pt x="53" y="3129"/>
                      </a:lnTo>
                      <a:lnTo>
                        <a:pt x="67" y="3191"/>
                      </a:lnTo>
                      <a:lnTo>
                        <a:pt x="82" y="3255"/>
                      </a:lnTo>
                      <a:lnTo>
                        <a:pt x="98" y="3316"/>
                      </a:lnTo>
                      <a:lnTo>
                        <a:pt x="116" y="3378"/>
                      </a:lnTo>
                      <a:lnTo>
                        <a:pt x="136" y="3438"/>
                      </a:lnTo>
                      <a:lnTo>
                        <a:pt x="156" y="3498"/>
                      </a:lnTo>
                      <a:lnTo>
                        <a:pt x="179" y="3558"/>
                      </a:lnTo>
                      <a:lnTo>
                        <a:pt x="204" y="3616"/>
                      </a:lnTo>
                      <a:lnTo>
                        <a:pt x="228" y="3674"/>
                      </a:lnTo>
                      <a:lnTo>
                        <a:pt x="255" y="3731"/>
                      </a:lnTo>
                      <a:lnTo>
                        <a:pt x="283" y="3788"/>
                      </a:lnTo>
                      <a:lnTo>
                        <a:pt x="312" y="3843"/>
                      </a:lnTo>
                      <a:lnTo>
                        <a:pt x="343" y="3898"/>
                      </a:lnTo>
                      <a:lnTo>
                        <a:pt x="374" y="3951"/>
                      </a:lnTo>
                      <a:lnTo>
                        <a:pt x="407" y="4005"/>
                      </a:lnTo>
                      <a:lnTo>
                        <a:pt x="442" y="4057"/>
                      </a:lnTo>
                      <a:lnTo>
                        <a:pt x="476" y="4109"/>
                      </a:lnTo>
                      <a:lnTo>
                        <a:pt x="513" y="4160"/>
                      </a:lnTo>
                      <a:lnTo>
                        <a:pt x="551" y="4209"/>
                      </a:lnTo>
                      <a:lnTo>
                        <a:pt x="590" y="4258"/>
                      </a:lnTo>
                      <a:lnTo>
                        <a:pt x="631" y="4305"/>
                      </a:lnTo>
                      <a:lnTo>
                        <a:pt x="672" y="4352"/>
                      </a:lnTo>
                      <a:lnTo>
                        <a:pt x="714" y="4398"/>
                      </a:lnTo>
                      <a:lnTo>
                        <a:pt x="757" y="4442"/>
                      </a:lnTo>
                      <a:lnTo>
                        <a:pt x="1870" y="3330"/>
                      </a:lnTo>
                      <a:lnTo>
                        <a:pt x="1870" y="3330"/>
                      </a:lnTo>
                      <a:lnTo>
                        <a:pt x="1837" y="3296"/>
                      </a:lnTo>
                      <a:lnTo>
                        <a:pt x="1805" y="3263"/>
                      </a:lnTo>
                      <a:lnTo>
                        <a:pt x="1773" y="3228"/>
                      </a:lnTo>
                      <a:lnTo>
                        <a:pt x="1743" y="3193"/>
                      </a:lnTo>
                      <a:lnTo>
                        <a:pt x="1713" y="3156"/>
                      </a:lnTo>
                      <a:lnTo>
                        <a:pt x="1684" y="3119"/>
                      </a:lnTo>
                      <a:lnTo>
                        <a:pt x="1657" y="3082"/>
                      </a:lnTo>
                      <a:lnTo>
                        <a:pt x="1629" y="3043"/>
                      </a:lnTo>
                      <a:lnTo>
                        <a:pt x="1604" y="3005"/>
                      </a:lnTo>
                      <a:lnTo>
                        <a:pt x="1578" y="2965"/>
                      </a:lnTo>
                      <a:lnTo>
                        <a:pt x="1554" y="2924"/>
                      </a:lnTo>
                      <a:lnTo>
                        <a:pt x="1530" y="2884"/>
                      </a:lnTo>
                      <a:lnTo>
                        <a:pt x="1508" y="2843"/>
                      </a:lnTo>
                      <a:lnTo>
                        <a:pt x="1486" y="2800"/>
                      </a:lnTo>
                      <a:lnTo>
                        <a:pt x="1467" y="2757"/>
                      </a:lnTo>
                      <a:lnTo>
                        <a:pt x="1447" y="2714"/>
                      </a:lnTo>
                      <a:lnTo>
                        <a:pt x="1429" y="2670"/>
                      </a:lnTo>
                      <a:lnTo>
                        <a:pt x="1411" y="2626"/>
                      </a:lnTo>
                      <a:lnTo>
                        <a:pt x="1395" y="2581"/>
                      </a:lnTo>
                      <a:lnTo>
                        <a:pt x="1380" y="2535"/>
                      </a:lnTo>
                      <a:lnTo>
                        <a:pt x="1366" y="2489"/>
                      </a:lnTo>
                      <a:lnTo>
                        <a:pt x="1354" y="2443"/>
                      </a:lnTo>
                      <a:lnTo>
                        <a:pt x="1342" y="2396"/>
                      </a:lnTo>
                      <a:lnTo>
                        <a:pt x="1332" y="2349"/>
                      </a:lnTo>
                      <a:lnTo>
                        <a:pt x="1323" y="2301"/>
                      </a:lnTo>
                      <a:lnTo>
                        <a:pt x="1315" y="2253"/>
                      </a:lnTo>
                      <a:lnTo>
                        <a:pt x="1308" y="2205"/>
                      </a:lnTo>
                      <a:lnTo>
                        <a:pt x="1302" y="2155"/>
                      </a:lnTo>
                      <a:lnTo>
                        <a:pt x="1297" y="2107"/>
                      </a:lnTo>
                      <a:lnTo>
                        <a:pt x="1294" y="2057"/>
                      </a:lnTo>
                      <a:lnTo>
                        <a:pt x="1292" y="2007"/>
                      </a:lnTo>
                      <a:lnTo>
                        <a:pt x="1292" y="1956"/>
                      </a:lnTo>
                      <a:lnTo>
                        <a:pt x="1292" y="1956"/>
                      </a:lnTo>
                      <a:close/>
                    </a:path>
                  </a:pathLst>
                </a:custGeom>
                <a:solidFill>
                  <a:srgbClr val="EC8B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86" name="Freeform 231"/>
                <p:cNvSpPr>
                  <a:spLocks/>
                </p:cNvSpPr>
                <p:nvPr/>
              </p:nvSpPr>
              <p:spPr bwMode="auto">
                <a:xfrm>
                  <a:off x="4422775" y="3971925"/>
                  <a:ext cx="712788" cy="744538"/>
                </a:xfrm>
                <a:custGeom>
                  <a:avLst/>
                  <a:gdLst>
                    <a:gd name="T0" fmla="*/ 0 w 3147"/>
                    <a:gd name="T1" fmla="*/ 1963 h 3286"/>
                    <a:gd name="T2" fmla="*/ 10 w 3147"/>
                    <a:gd name="T3" fmla="*/ 2111 h 3286"/>
                    <a:gd name="T4" fmla="*/ 31 w 3147"/>
                    <a:gd name="T5" fmla="*/ 2257 h 3286"/>
                    <a:gd name="T6" fmla="*/ 62 w 3147"/>
                    <a:gd name="T7" fmla="*/ 2399 h 3286"/>
                    <a:gd name="T8" fmla="*/ 103 w 3147"/>
                    <a:gd name="T9" fmla="*/ 2537 h 3286"/>
                    <a:gd name="T10" fmla="*/ 155 w 3147"/>
                    <a:gd name="T11" fmla="*/ 2670 h 3286"/>
                    <a:gd name="T12" fmla="*/ 216 w 3147"/>
                    <a:gd name="T13" fmla="*/ 2799 h 3286"/>
                    <a:gd name="T14" fmla="*/ 286 w 3147"/>
                    <a:gd name="T15" fmla="*/ 2921 h 3286"/>
                    <a:gd name="T16" fmla="*/ 365 w 3147"/>
                    <a:gd name="T17" fmla="*/ 3038 h 3286"/>
                    <a:gd name="T18" fmla="*/ 451 w 3147"/>
                    <a:gd name="T19" fmla="*/ 3149 h 3286"/>
                    <a:gd name="T20" fmla="*/ 545 w 3147"/>
                    <a:gd name="T21" fmla="*/ 3252 h 3286"/>
                    <a:gd name="T22" fmla="*/ 3147 w 3147"/>
                    <a:gd name="T23" fmla="*/ 717 h 3286"/>
                    <a:gd name="T24" fmla="*/ 3095 w 3147"/>
                    <a:gd name="T25" fmla="*/ 665 h 3286"/>
                    <a:gd name="T26" fmla="*/ 3042 w 3147"/>
                    <a:gd name="T27" fmla="*/ 617 h 3286"/>
                    <a:gd name="T28" fmla="*/ 2887 w 3147"/>
                    <a:gd name="T29" fmla="*/ 489 h 3286"/>
                    <a:gd name="T30" fmla="*/ 2722 w 3147"/>
                    <a:gd name="T31" fmla="*/ 374 h 3286"/>
                    <a:gd name="T32" fmla="*/ 2641 w 3147"/>
                    <a:gd name="T33" fmla="*/ 323 h 3286"/>
                    <a:gd name="T34" fmla="*/ 2528 w 3147"/>
                    <a:gd name="T35" fmla="*/ 259 h 3286"/>
                    <a:gd name="T36" fmla="*/ 2485 w 3147"/>
                    <a:gd name="T37" fmla="*/ 237 h 3286"/>
                    <a:gd name="T38" fmla="*/ 2363 w 3147"/>
                    <a:gd name="T39" fmla="*/ 179 h 3286"/>
                    <a:gd name="T40" fmla="*/ 2173 w 3147"/>
                    <a:gd name="T41" fmla="*/ 106 h 3286"/>
                    <a:gd name="T42" fmla="*/ 1977 w 3147"/>
                    <a:gd name="T43" fmla="*/ 46 h 3286"/>
                    <a:gd name="T44" fmla="*/ 1942 w 3147"/>
                    <a:gd name="T45" fmla="*/ 37 h 3286"/>
                    <a:gd name="T46" fmla="*/ 1771 w 3147"/>
                    <a:gd name="T47" fmla="*/ 0 h 3286"/>
                    <a:gd name="T48" fmla="*/ 1679 w 3147"/>
                    <a:gd name="T49" fmla="*/ 9 h 3286"/>
                    <a:gd name="T50" fmla="*/ 1543 w 3147"/>
                    <a:gd name="T51" fmla="*/ 31 h 3286"/>
                    <a:gd name="T52" fmla="*/ 1411 w 3147"/>
                    <a:gd name="T53" fmla="*/ 62 h 3286"/>
                    <a:gd name="T54" fmla="*/ 1282 w 3147"/>
                    <a:gd name="T55" fmla="*/ 102 h 3286"/>
                    <a:gd name="T56" fmla="*/ 1158 w 3147"/>
                    <a:gd name="T57" fmla="*/ 151 h 3286"/>
                    <a:gd name="T58" fmla="*/ 1037 w 3147"/>
                    <a:gd name="T59" fmla="*/ 208 h 3286"/>
                    <a:gd name="T60" fmla="*/ 922 w 3147"/>
                    <a:gd name="T61" fmla="*/ 274 h 3286"/>
                    <a:gd name="T62" fmla="*/ 811 w 3147"/>
                    <a:gd name="T63" fmla="*/ 346 h 3286"/>
                    <a:gd name="T64" fmla="*/ 706 w 3147"/>
                    <a:gd name="T65" fmla="*/ 426 h 3286"/>
                    <a:gd name="T66" fmla="*/ 606 w 3147"/>
                    <a:gd name="T67" fmla="*/ 512 h 3286"/>
                    <a:gd name="T68" fmla="*/ 514 w 3147"/>
                    <a:gd name="T69" fmla="*/ 605 h 3286"/>
                    <a:gd name="T70" fmla="*/ 428 w 3147"/>
                    <a:gd name="T71" fmla="*/ 704 h 3286"/>
                    <a:gd name="T72" fmla="*/ 348 w 3147"/>
                    <a:gd name="T73" fmla="*/ 810 h 3286"/>
                    <a:gd name="T74" fmla="*/ 276 w 3147"/>
                    <a:gd name="T75" fmla="*/ 921 h 3286"/>
                    <a:gd name="T76" fmla="*/ 211 w 3147"/>
                    <a:gd name="T77" fmla="*/ 1036 h 3286"/>
                    <a:gd name="T78" fmla="*/ 154 w 3147"/>
                    <a:gd name="T79" fmla="*/ 1157 h 3286"/>
                    <a:gd name="T80" fmla="*/ 106 w 3147"/>
                    <a:gd name="T81" fmla="*/ 1282 h 3286"/>
                    <a:gd name="T82" fmla="*/ 66 w 3147"/>
                    <a:gd name="T83" fmla="*/ 1411 h 3286"/>
                    <a:gd name="T84" fmla="*/ 35 w 3147"/>
                    <a:gd name="T85" fmla="*/ 1544 h 3286"/>
                    <a:gd name="T86" fmla="*/ 13 w 3147"/>
                    <a:gd name="T87" fmla="*/ 1679 h 3286"/>
                    <a:gd name="T88" fmla="*/ 2 w 3147"/>
                    <a:gd name="T89" fmla="*/ 1819 h 3286"/>
                    <a:gd name="T90" fmla="*/ 0 w 3147"/>
                    <a:gd name="T91" fmla="*/ 1912 h 3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47" h="3286">
                      <a:moveTo>
                        <a:pt x="0" y="1912"/>
                      </a:moveTo>
                      <a:lnTo>
                        <a:pt x="0" y="1912"/>
                      </a:lnTo>
                      <a:lnTo>
                        <a:pt x="0" y="1963"/>
                      </a:lnTo>
                      <a:lnTo>
                        <a:pt x="2" y="2013"/>
                      </a:lnTo>
                      <a:lnTo>
                        <a:pt x="5" y="2063"/>
                      </a:lnTo>
                      <a:lnTo>
                        <a:pt x="10" y="2111"/>
                      </a:lnTo>
                      <a:lnTo>
                        <a:pt x="16" y="2161"/>
                      </a:lnTo>
                      <a:lnTo>
                        <a:pt x="23" y="2209"/>
                      </a:lnTo>
                      <a:lnTo>
                        <a:pt x="31" y="2257"/>
                      </a:lnTo>
                      <a:lnTo>
                        <a:pt x="40" y="2305"/>
                      </a:lnTo>
                      <a:lnTo>
                        <a:pt x="50" y="2352"/>
                      </a:lnTo>
                      <a:lnTo>
                        <a:pt x="62" y="2399"/>
                      </a:lnTo>
                      <a:lnTo>
                        <a:pt x="74" y="2445"/>
                      </a:lnTo>
                      <a:lnTo>
                        <a:pt x="88" y="2491"/>
                      </a:lnTo>
                      <a:lnTo>
                        <a:pt x="103" y="2537"/>
                      </a:lnTo>
                      <a:lnTo>
                        <a:pt x="119" y="2582"/>
                      </a:lnTo>
                      <a:lnTo>
                        <a:pt x="137" y="2626"/>
                      </a:lnTo>
                      <a:lnTo>
                        <a:pt x="155" y="2670"/>
                      </a:lnTo>
                      <a:lnTo>
                        <a:pt x="175" y="2713"/>
                      </a:lnTo>
                      <a:lnTo>
                        <a:pt x="194" y="2756"/>
                      </a:lnTo>
                      <a:lnTo>
                        <a:pt x="216" y="2799"/>
                      </a:lnTo>
                      <a:lnTo>
                        <a:pt x="238" y="2840"/>
                      </a:lnTo>
                      <a:lnTo>
                        <a:pt x="262" y="2880"/>
                      </a:lnTo>
                      <a:lnTo>
                        <a:pt x="286" y="2921"/>
                      </a:lnTo>
                      <a:lnTo>
                        <a:pt x="312" y="2961"/>
                      </a:lnTo>
                      <a:lnTo>
                        <a:pt x="337" y="2999"/>
                      </a:lnTo>
                      <a:lnTo>
                        <a:pt x="365" y="3038"/>
                      </a:lnTo>
                      <a:lnTo>
                        <a:pt x="392" y="3075"/>
                      </a:lnTo>
                      <a:lnTo>
                        <a:pt x="421" y="3112"/>
                      </a:lnTo>
                      <a:lnTo>
                        <a:pt x="451" y="3149"/>
                      </a:lnTo>
                      <a:lnTo>
                        <a:pt x="481" y="3184"/>
                      </a:lnTo>
                      <a:lnTo>
                        <a:pt x="513" y="3219"/>
                      </a:lnTo>
                      <a:lnTo>
                        <a:pt x="545" y="3252"/>
                      </a:lnTo>
                      <a:lnTo>
                        <a:pt x="578" y="3286"/>
                      </a:lnTo>
                      <a:lnTo>
                        <a:pt x="3147" y="717"/>
                      </a:lnTo>
                      <a:lnTo>
                        <a:pt x="3147" y="717"/>
                      </a:lnTo>
                      <a:lnTo>
                        <a:pt x="3121" y="690"/>
                      </a:lnTo>
                      <a:lnTo>
                        <a:pt x="3095" y="665"/>
                      </a:lnTo>
                      <a:lnTo>
                        <a:pt x="3095" y="665"/>
                      </a:lnTo>
                      <a:lnTo>
                        <a:pt x="3092" y="662"/>
                      </a:lnTo>
                      <a:lnTo>
                        <a:pt x="3092" y="662"/>
                      </a:lnTo>
                      <a:lnTo>
                        <a:pt x="3042" y="617"/>
                      </a:lnTo>
                      <a:lnTo>
                        <a:pt x="2992" y="573"/>
                      </a:lnTo>
                      <a:lnTo>
                        <a:pt x="2940" y="530"/>
                      </a:lnTo>
                      <a:lnTo>
                        <a:pt x="2887" y="489"/>
                      </a:lnTo>
                      <a:lnTo>
                        <a:pt x="2833" y="449"/>
                      </a:lnTo>
                      <a:lnTo>
                        <a:pt x="2779" y="411"/>
                      </a:lnTo>
                      <a:lnTo>
                        <a:pt x="2722" y="374"/>
                      </a:lnTo>
                      <a:lnTo>
                        <a:pt x="2666" y="338"/>
                      </a:lnTo>
                      <a:lnTo>
                        <a:pt x="2666" y="338"/>
                      </a:lnTo>
                      <a:lnTo>
                        <a:pt x="2641" y="323"/>
                      </a:lnTo>
                      <a:lnTo>
                        <a:pt x="2641" y="323"/>
                      </a:lnTo>
                      <a:lnTo>
                        <a:pt x="2566" y="279"/>
                      </a:lnTo>
                      <a:lnTo>
                        <a:pt x="2528" y="259"/>
                      </a:lnTo>
                      <a:lnTo>
                        <a:pt x="2489" y="239"/>
                      </a:lnTo>
                      <a:lnTo>
                        <a:pt x="2489" y="239"/>
                      </a:lnTo>
                      <a:lnTo>
                        <a:pt x="2485" y="237"/>
                      </a:lnTo>
                      <a:lnTo>
                        <a:pt x="2485" y="237"/>
                      </a:lnTo>
                      <a:lnTo>
                        <a:pt x="2424" y="208"/>
                      </a:lnTo>
                      <a:lnTo>
                        <a:pt x="2363" y="179"/>
                      </a:lnTo>
                      <a:lnTo>
                        <a:pt x="2301" y="153"/>
                      </a:lnTo>
                      <a:lnTo>
                        <a:pt x="2238" y="129"/>
                      </a:lnTo>
                      <a:lnTo>
                        <a:pt x="2173" y="106"/>
                      </a:lnTo>
                      <a:lnTo>
                        <a:pt x="2109" y="84"/>
                      </a:lnTo>
                      <a:lnTo>
                        <a:pt x="2043" y="63"/>
                      </a:lnTo>
                      <a:lnTo>
                        <a:pt x="1977" y="46"/>
                      </a:lnTo>
                      <a:lnTo>
                        <a:pt x="1977" y="46"/>
                      </a:lnTo>
                      <a:lnTo>
                        <a:pt x="1942" y="37"/>
                      </a:lnTo>
                      <a:lnTo>
                        <a:pt x="1942" y="37"/>
                      </a:lnTo>
                      <a:lnTo>
                        <a:pt x="1858" y="16"/>
                      </a:lnTo>
                      <a:lnTo>
                        <a:pt x="1814" y="8"/>
                      </a:lnTo>
                      <a:lnTo>
                        <a:pt x="1771" y="0"/>
                      </a:lnTo>
                      <a:lnTo>
                        <a:pt x="1771" y="0"/>
                      </a:lnTo>
                      <a:lnTo>
                        <a:pt x="1725" y="3"/>
                      </a:lnTo>
                      <a:lnTo>
                        <a:pt x="1679" y="9"/>
                      </a:lnTo>
                      <a:lnTo>
                        <a:pt x="1633" y="15"/>
                      </a:lnTo>
                      <a:lnTo>
                        <a:pt x="1588" y="22"/>
                      </a:lnTo>
                      <a:lnTo>
                        <a:pt x="1543" y="31"/>
                      </a:lnTo>
                      <a:lnTo>
                        <a:pt x="1499" y="40"/>
                      </a:lnTo>
                      <a:lnTo>
                        <a:pt x="1455" y="50"/>
                      </a:lnTo>
                      <a:lnTo>
                        <a:pt x="1411" y="62"/>
                      </a:lnTo>
                      <a:lnTo>
                        <a:pt x="1367" y="75"/>
                      </a:lnTo>
                      <a:lnTo>
                        <a:pt x="1325" y="87"/>
                      </a:lnTo>
                      <a:lnTo>
                        <a:pt x="1282" y="102"/>
                      </a:lnTo>
                      <a:lnTo>
                        <a:pt x="1240" y="117"/>
                      </a:lnTo>
                      <a:lnTo>
                        <a:pt x="1198" y="133"/>
                      </a:lnTo>
                      <a:lnTo>
                        <a:pt x="1158" y="151"/>
                      </a:lnTo>
                      <a:lnTo>
                        <a:pt x="1116" y="169"/>
                      </a:lnTo>
                      <a:lnTo>
                        <a:pt x="1076" y="189"/>
                      </a:lnTo>
                      <a:lnTo>
                        <a:pt x="1037" y="208"/>
                      </a:lnTo>
                      <a:lnTo>
                        <a:pt x="998" y="229"/>
                      </a:lnTo>
                      <a:lnTo>
                        <a:pt x="960" y="251"/>
                      </a:lnTo>
                      <a:lnTo>
                        <a:pt x="922" y="274"/>
                      </a:lnTo>
                      <a:lnTo>
                        <a:pt x="884" y="297"/>
                      </a:lnTo>
                      <a:lnTo>
                        <a:pt x="847" y="321"/>
                      </a:lnTo>
                      <a:lnTo>
                        <a:pt x="811" y="346"/>
                      </a:lnTo>
                      <a:lnTo>
                        <a:pt x="776" y="372"/>
                      </a:lnTo>
                      <a:lnTo>
                        <a:pt x="740" y="398"/>
                      </a:lnTo>
                      <a:lnTo>
                        <a:pt x="706" y="426"/>
                      </a:lnTo>
                      <a:lnTo>
                        <a:pt x="672" y="453"/>
                      </a:lnTo>
                      <a:lnTo>
                        <a:pt x="640" y="483"/>
                      </a:lnTo>
                      <a:lnTo>
                        <a:pt x="606" y="512"/>
                      </a:lnTo>
                      <a:lnTo>
                        <a:pt x="575" y="543"/>
                      </a:lnTo>
                      <a:lnTo>
                        <a:pt x="544" y="574"/>
                      </a:lnTo>
                      <a:lnTo>
                        <a:pt x="514" y="605"/>
                      </a:lnTo>
                      <a:lnTo>
                        <a:pt x="484" y="638"/>
                      </a:lnTo>
                      <a:lnTo>
                        <a:pt x="455" y="671"/>
                      </a:lnTo>
                      <a:lnTo>
                        <a:pt x="428" y="704"/>
                      </a:lnTo>
                      <a:lnTo>
                        <a:pt x="400" y="739"/>
                      </a:lnTo>
                      <a:lnTo>
                        <a:pt x="374" y="775"/>
                      </a:lnTo>
                      <a:lnTo>
                        <a:pt x="348" y="810"/>
                      </a:lnTo>
                      <a:lnTo>
                        <a:pt x="323" y="846"/>
                      </a:lnTo>
                      <a:lnTo>
                        <a:pt x="299" y="883"/>
                      </a:lnTo>
                      <a:lnTo>
                        <a:pt x="276" y="921"/>
                      </a:lnTo>
                      <a:lnTo>
                        <a:pt x="253" y="959"/>
                      </a:lnTo>
                      <a:lnTo>
                        <a:pt x="231" y="997"/>
                      </a:lnTo>
                      <a:lnTo>
                        <a:pt x="211" y="1036"/>
                      </a:lnTo>
                      <a:lnTo>
                        <a:pt x="191" y="1076"/>
                      </a:lnTo>
                      <a:lnTo>
                        <a:pt x="172" y="1116"/>
                      </a:lnTo>
                      <a:lnTo>
                        <a:pt x="154" y="1157"/>
                      </a:lnTo>
                      <a:lnTo>
                        <a:pt x="137" y="1198"/>
                      </a:lnTo>
                      <a:lnTo>
                        <a:pt x="120" y="1240"/>
                      </a:lnTo>
                      <a:lnTo>
                        <a:pt x="106" y="1282"/>
                      </a:lnTo>
                      <a:lnTo>
                        <a:pt x="92" y="1324"/>
                      </a:lnTo>
                      <a:lnTo>
                        <a:pt x="78" y="1367"/>
                      </a:lnTo>
                      <a:lnTo>
                        <a:pt x="66" y="1411"/>
                      </a:lnTo>
                      <a:lnTo>
                        <a:pt x="55" y="1455"/>
                      </a:lnTo>
                      <a:lnTo>
                        <a:pt x="44" y="1499"/>
                      </a:lnTo>
                      <a:lnTo>
                        <a:pt x="35" y="1544"/>
                      </a:lnTo>
                      <a:lnTo>
                        <a:pt x="27" y="1589"/>
                      </a:lnTo>
                      <a:lnTo>
                        <a:pt x="19" y="1633"/>
                      </a:lnTo>
                      <a:lnTo>
                        <a:pt x="13" y="1679"/>
                      </a:lnTo>
                      <a:lnTo>
                        <a:pt x="9" y="1726"/>
                      </a:lnTo>
                      <a:lnTo>
                        <a:pt x="4" y="1772"/>
                      </a:lnTo>
                      <a:lnTo>
                        <a:pt x="2" y="1819"/>
                      </a:lnTo>
                      <a:lnTo>
                        <a:pt x="0" y="1865"/>
                      </a:lnTo>
                      <a:lnTo>
                        <a:pt x="0" y="1912"/>
                      </a:lnTo>
                      <a:lnTo>
                        <a:pt x="0" y="1912"/>
                      </a:lnTo>
                      <a:close/>
                    </a:path>
                  </a:pathLst>
                </a:custGeom>
                <a:solidFill>
                  <a:srgbClr val="FFAF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87" name="Freeform 232"/>
                <p:cNvSpPr>
                  <a:spLocks/>
                </p:cNvSpPr>
                <p:nvPr/>
              </p:nvSpPr>
              <p:spPr bwMode="auto">
                <a:xfrm>
                  <a:off x="4300538" y="4410075"/>
                  <a:ext cx="1009650" cy="733425"/>
                </a:xfrm>
                <a:custGeom>
                  <a:avLst/>
                  <a:gdLst>
                    <a:gd name="T0" fmla="*/ 1983 w 4454"/>
                    <a:gd name="T1" fmla="*/ 3229 h 3232"/>
                    <a:gd name="T2" fmla="*/ 2245 w 4454"/>
                    <a:gd name="T3" fmla="*/ 3201 h 3232"/>
                    <a:gd name="T4" fmla="*/ 2500 w 4454"/>
                    <a:gd name="T5" fmla="*/ 3149 h 3232"/>
                    <a:gd name="T6" fmla="*/ 2744 w 4454"/>
                    <a:gd name="T7" fmla="*/ 3073 h 3232"/>
                    <a:gd name="T8" fmla="*/ 2978 w 4454"/>
                    <a:gd name="T9" fmla="*/ 2974 h 3232"/>
                    <a:gd name="T10" fmla="*/ 3199 w 4454"/>
                    <a:gd name="T11" fmla="*/ 2854 h 3232"/>
                    <a:gd name="T12" fmla="*/ 3407 w 4454"/>
                    <a:gd name="T13" fmla="*/ 2714 h 3232"/>
                    <a:gd name="T14" fmla="*/ 3600 w 4454"/>
                    <a:gd name="T15" fmla="*/ 2555 h 3232"/>
                    <a:gd name="T16" fmla="*/ 3777 w 4454"/>
                    <a:gd name="T17" fmla="*/ 2378 h 3232"/>
                    <a:gd name="T18" fmla="*/ 3935 w 4454"/>
                    <a:gd name="T19" fmla="*/ 2184 h 3232"/>
                    <a:gd name="T20" fmla="*/ 4076 w 4454"/>
                    <a:gd name="T21" fmla="*/ 1977 h 3232"/>
                    <a:gd name="T22" fmla="*/ 4197 w 4454"/>
                    <a:gd name="T23" fmla="*/ 1756 h 3232"/>
                    <a:gd name="T24" fmla="*/ 4296 w 4454"/>
                    <a:gd name="T25" fmla="*/ 1522 h 3232"/>
                    <a:gd name="T26" fmla="*/ 4372 w 4454"/>
                    <a:gd name="T27" fmla="*/ 1277 h 3232"/>
                    <a:gd name="T28" fmla="*/ 4424 w 4454"/>
                    <a:gd name="T29" fmla="*/ 1023 h 3232"/>
                    <a:gd name="T30" fmla="*/ 4450 w 4454"/>
                    <a:gd name="T31" fmla="*/ 760 h 3232"/>
                    <a:gd name="T32" fmla="*/ 4452 w 4454"/>
                    <a:gd name="T33" fmla="*/ 545 h 3232"/>
                    <a:gd name="T34" fmla="*/ 4421 w 4454"/>
                    <a:gd name="T35" fmla="*/ 229 h 3232"/>
                    <a:gd name="T36" fmla="*/ 4375 w 4454"/>
                    <a:gd name="T37" fmla="*/ 0 h 3232"/>
                    <a:gd name="T38" fmla="*/ 4363 w 4454"/>
                    <a:gd name="T39" fmla="*/ 195 h 3232"/>
                    <a:gd name="T40" fmla="*/ 4331 w 4454"/>
                    <a:gd name="T41" fmla="*/ 384 h 3232"/>
                    <a:gd name="T42" fmla="*/ 4283 w 4454"/>
                    <a:gd name="T43" fmla="*/ 566 h 3232"/>
                    <a:gd name="T44" fmla="*/ 4218 w 4454"/>
                    <a:gd name="T45" fmla="*/ 739 h 3232"/>
                    <a:gd name="T46" fmla="*/ 4136 w 4454"/>
                    <a:gd name="T47" fmla="*/ 905 h 3232"/>
                    <a:gd name="T48" fmla="*/ 4039 w 4454"/>
                    <a:gd name="T49" fmla="*/ 1062 h 3232"/>
                    <a:gd name="T50" fmla="*/ 3929 w 4454"/>
                    <a:gd name="T51" fmla="*/ 1208 h 3232"/>
                    <a:gd name="T52" fmla="*/ 3805 w 4454"/>
                    <a:gd name="T53" fmla="*/ 1343 h 3232"/>
                    <a:gd name="T54" fmla="*/ 3669 w 4454"/>
                    <a:gd name="T55" fmla="*/ 1465 h 3232"/>
                    <a:gd name="T56" fmla="*/ 3522 w 4454"/>
                    <a:gd name="T57" fmla="*/ 1574 h 3232"/>
                    <a:gd name="T58" fmla="*/ 3364 w 4454"/>
                    <a:gd name="T59" fmla="*/ 1668 h 3232"/>
                    <a:gd name="T60" fmla="*/ 3197 w 4454"/>
                    <a:gd name="T61" fmla="*/ 1749 h 3232"/>
                    <a:gd name="T62" fmla="*/ 3022 w 4454"/>
                    <a:gd name="T63" fmla="*/ 1812 h 3232"/>
                    <a:gd name="T64" fmla="*/ 2839 w 4454"/>
                    <a:gd name="T65" fmla="*/ 1858 h 3232"/>
                    <a:gd name="T66" fmla="*/ 2651 w 4454"/>
                    <a:gd name="T67" fmla="*/ 1887 h 3232"/>
                    <a:gd name="T68" fmla="*/ 2455 w 4454"/>
                    <a:gd name="T69" fmla="*/ 1898 h 3232"/>
                    <a:gd name="T70" fmla="*/ 2310 w 4454"/>
                    <a:gd name="T71" fmla="*/ 1892 h 3232"/>
                    <a:gd name="T72" fmla="*/ 2120 w 4454"/>
                    <a:gd name="T73" fmla="*/ 1869 h 3232"/>
                    <a:gd name="T74" fmla="*/ 1937 w 4454"/>
                    <a:gd name="T75" fmla="*/ 1826 h 3232"/>
                    <a:gd name="T76" fmla="*/ 1761 w 4454"/>
                    <a:gd name="T77" fmla="*/ 1768 h 3232"/>
                    <a:gd name="T78" fmla="*/ 1593 w 4454"/>
                    <a:gd name="T79" fmla="*/ 1693 h 3232"/>
                    <a:gd name="T80" fmla="*/ 1434 w 4454"/>
                    <a:gd name="T81" fmla="*/ 1603 h 3232"/>
                    <a:gd name="T82" fmla="*/ 1284 w 4454"/>
                    <a:gd name="T83" fmla="*/ 1498 h 3232"/>
                    <a:gd name="T84" fmla="*/ 1146 w 4454"/>
                    <a:gd name="T85" fmla="*/ 1381 h 3232"/>
                    <a:gd name="T86" fmla="*/ 45 w 4454"/>
                    <a:gd name="T87" fmla="*/ 2507 h 3232"/>
                    <a:gd name="T88" fmla="*/ 234 w 4454"/>
                    <a:gd name="T89" fmla="*/ 2671 h 3232"/>
                    <a:gd name="T90" fmla="*/ 439 w 4454"/>
                    <a:gd name="T91" fmla="*/ 2818 h 3232"/>
                    <a:gd name="T92" fmla="*/ 658 w 4454"/>
                    <a:gd name="T93" fmla="*/ 2944 h 3232"/>
                    <a:gd name="T94" fmla="*/ 889 w 4454"/>
                    <a:gd name="T95" fmla="*/ 3049 h 3232"/>
                    <a:gd name="T96" fmla="*/ 1132 w 4454"/>
                    <a:gd name="T97" fmla="*/ 3132 h 3232"/>
                    <a:gd name="T98" fmla="*/ 1385 w 4454"/>
                    <a:gd name="T99" fmla="*/ 3191 h 3232"/>
                    <a:gd name="T100" fmla="*/ 1647 w 4454"/>
                    <a:gd name="T101" fmla="*/ 3224 h 3232"/>
                    <a:gd name="T102" fmla="*/ 1848 w 4454"/>
                    <a:gd name="T103" fmla="*/ 3232 h 3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54" h="3232">
                      <a:moveTo>
                        <a:pt x="1848" y="3232"/>
                      </a:moveTo>
                      <a:lnTo>
                        <a:pt x="1848" y="3232"/>
                      </a:lnTo>
                      <a:lnTo>
                        <a:pt x="1915" y="3231"/>
                      </a:lnTo>
                      <a:lnTo>
                        <a:pt x="1983" y="3229"/>
                      </a:lnTo>
                      <a:lnTo>
                        <a:pt x="2049" y="3224"/>
                      </a:lnTo>
                      <a:lnTo>
                        <a:pt x="2114" y="3218"/>
                      </a:lnTo>
                      <a:lnTo>
                        <a:pt x="2180" y="3210"/>
                      </a:lnTo>
                      <a:lnTo>
                        <a:pt x="2245" y="3201"/>
                      </a:lnTo>
                      <a:lnTo>
                        <a:pt x="2310" y="3191"/>
                      </a:lnTo>
                      <a:lnTo>
                        <a:pt x="2373" y="3179"/>
                      </a:lnTo>
                      <a:lnTo>
                        <a:pt x="2436" y="3165"/>
                      </a:lnTo>
                      <a:lnTo>
                        <a:pt x="2500" y="3149"/>
                      </a:lnTo>
                      <a:lnTo>
                        <a:pt x="2562" y="3133"/>
                      </a:lnTo>
                      <a:lnTo>
                        <a:pt x="2623" y="3115"/>
                      </a:lnTo>
                      <a:lnTo>
                        <a:pt x="2684" y="3095"/>
                      </a:lnTo>
                      <a:lnTo>
                        <a:pt x="2744" y="3073"/>
                      </a:lnTo>
                      <a:lnTo>
                        <a:pt x="2804" y="3051"/>
                      </a:lnTo>
                      <a:lnTo>
                        <a:pt x="2862" y="3027"/>
                      </a:lnTo>
                      <a:lnTo>
                        <a:pt x="2920" y="3002"/>
                      </a:lnTo>
                      <a:lnTo>
                        <a:pt x="2978" y="2974"/>
                      </a:lnTo>
                      <a:lnTo>
                        <a:pt x="3034" y="2946"/>
                      </a:lnTo>
                      <a:lnTo>
                        <a:pt x="3090" y="2917"/>
                      </a:lnTo>
                      <a:lnTo>
                        <a:pt x="3145" y="2887"/>
                      </a:lnTo>
                      <a:lnTo>
                        <a:pt x="3199" y="2854"/>
                      </a:lnTo>
                      <a:lnTo>
                        <a:pt x="3253" y="2821"/>
                      </a:lnTo>
                      <a:lnTo>
                        <a:pt x="3305" y="2786"/>
                      </a:lnTo>
                      <a:lnTo>
                        <a:pt x="3356" y="2751"/>
                      </a:lnTo>
                      <a:lnTo>
                        <a:pt x="3407" y="2714"/>
                      </a:lnTo>
                      <a:lnTo>
                        <a:pt x="3457" y="2676"/>
                      </a:lnTo>
                      <a:lnTo>
                        <a:pt x="3506" y="2637"/>
                      </a:lnTo>
                      <a:lnTo>
                        <a:pt x="3553" y="2596"/>
                      </a:lnTo>
                      <a:lnTo>
                        <a:pt x="3600" y="2555"/>
                      </a:lnTo>
                      <a:lnTo>
                        <a:pt x="3645" y="2512"/>
                      </a:lnTo>
                      <a:lnTo>
                        <a:pt x="3690" y="2469"/>
                      </a:lnTo>
                      <a:lnTo>
                        <a:pt x="3734" y="2424"/>
                      </a:lnTo>
                      <a:lnTo>
                        <a:pt x="3777" y="2378"/>
                      </a:lnTo>
                      <a:lnTo>
                        <a:pt x="3818" y="2331"/>
                      </a:lnTo>
                      <a:lnTo>
                        <a:pt x="3858" y="2283"/>
                      </a:lnTo>
                      <a:lnTo>
                        <a:pt x="3897" y="2235"/>
                      </a:lnTo>
                      <a:lnTo>
                        <a:pt x="3935" y="2184"/>
                      </a:lnTo>
                      <a:lnTo>
                        <a:pt x="3973" y="2135"/>
                      </a:lnTo>
                      <a:lnTo>
                        <a:pt x="4009" y="2083"/>
                      </a:lnTo>
                      <a:lnTo>
                        <a:pt x="4044" y="2030"/>
                      </a:lnTo>
                      <a:lnTo>
                        <a:pt x="4076" y="1977"/>
                      </a:lnTo>
                      <a:lnTo>
                        <a:pt x="4108" y="1923"/>
                      </a:lnTo>
                      <a:lnTo>
                        <a:pt x="4139" y="1868"/>
                      </a:lnTo>
                      <a:lnTo>
                        <a:pt x="4168" y="1812"/>
                      </a:lnTo>
                      <a:lnTo>
                        <a:pt x="4197" y="1756"/>
                      </a:lnTo>
                      <a:lnTo>
                        <a:pt x="4223" y="1698"/>
                      </a:lnTo>
                      <a:lnTo>
                        <a:pt x="4249" y="1640"/>
                      </a:lnTo>
                      <a:lnTo>
                        <a:pt x="4273" y="1581"/>
                      </a:lnTo>
                      <a:lnTo>
                        <a:pt x="4296" y="1522"/>
                      </a:lnTo>
                      <a:lnTo>
                        <a:pt x="4317" y="1461"/>
                      </a:lnTo>
                      <a:lnTo>
                        <a:pt x="4336" y="1400"/>
                      </a:lnTo>
                      <a:lnTo>
                        <a:pt x="4355" y="1339"/>
                      </a:lnTo>
                      <a:lnTo>
                        <a:pt x="4372" y="1277"/>
                      </a:lnTo>
                      <a:lnTo>
                        <a:pt x="4387" y="1215"/>
                      </a:lnTo>
                      <a:lnTo>
                        <a:pt x="4401" y="1152"/>
                      </a:lnTo>
                      <a:lnTo>
                        <a:pt x="4413" y="1087"/>
                      </a:lnTo>
                      <a:lnTo>
                        <a:pt x="4424" y="1023"/>
                      </a:lnTo>
                      <a:lnTo>
                        <a:pt x="4433" y="958"/>
                      </a:lnTo>
                      <a:lnTo>
                        <a:pt x="4440" y="893"/>
                      </a:lnTo>
                      <a:lnTo>
                        <a:pt x="4445" y="827"/>
                      </a:lnTo>
                      <a:lnTo>
                        <a:pt x="4450" y="760"/>
                      </a:lnTo>
                      <a:lnTo>
                        <a:pt x="4452" y="693"/>
                      </a:lnTo>
                      <a:lnTo>
                        <a:pt x="4454" y="625"/>
                      </a:lnTo>
                      <a:lnTo>
                        <a:pt x="4454" y="625"/>
                      </a:lnTo>
                      <a:lnTo>
                        <a:pt x="4452" y="545"/>
                      </a:lnTo>
                      <a:lnTo>
                        <a:pt x="4448" y="465"/>
                      </a:lnTo>
                      <a:lnTo>
                        <a:pt x="4442" y="386"/>
                      </a:lnTo>
                      <a:lnTo>
                        <a:pt x="4433" y="308"/>
                      </a:lnTo>
                      <a:lnTo>
                        <a:pt x="4421" y="229"/>
                      </a:lnTo>
                      <a:lnTo>
                        <a:pt x="4409" y="152"/>
                      </a:lnTo>
                      <a:lnTo>
                        <a:pt x="4392" y="76"/>
                      </a:lnTo>
                      <a:lnTo>
                        <a:pt x="4375" y="0"/>
                      </a:lnTo>
                      <a:lnTo>
                        <a:pt x="4375" y="0"/>
                      </a:lnTo>
                      <a:lnTo>
                        <a:pt x="4374" y="50"/>
                      </a:lnTo>
                      <a:lnTo>
                        <a:pt x="4372" y="98"/>
                      </a:lnTo>
                      <a:lnTo>
                        <a:pt x="4367" y="146"/>
                      </a:lnTo>
                      <a:lnTo>
                        <a:pt x="4363" y="195"/>
                      </a:lnTo>
                      <a:lnTo>
                        <a:pt x="4357" y="243"/>
                      </a:lnTo>
                      <a:lnTo>
                        <a:pt x="4350" y="290"/>
                      </a:lnTo>
                      <a:lnTo>
                        <a:pt x="4341" y="336"/>
                      </a:lnTo>
                      <a:lnTo>
                        <a:pt x="4331" y="384"/>
                      </a:lnTo>
                      <a:lnTo>
                        <a:pt x="4321" y="430"/>
                      </a:lnTo>
                      <a:lnTo>
                        <a:pt x="4310" y="476"/>
                      </a:lnTo>
                      <a:lnTo>
                        <a:pt x="4297" y="521"/>
                      </a:lnTo>
                      <a:lnTo>
                        <a:pt x="4283" y="566"/>
                      </a:lnTo>
                      <a:lnTo>
                        <a:pt x="4268" y="609"/>
                      </a:lnTo>
                      <a:lnTo>
                        <a:pt x="4252" y="654"/>
                      </a:lnTo>
                      <a:lnTo>
                        <a:pt x="4236" y="697"/>
                      </a:lnTo>
                      <a:lnTo>
                        <a:pt x="4218" y="739"/>
                      </a:lnTo>
                      <a:lnTo>
                        <a:pt x="4199" y="782"/>
                      </a:lnTo>
                      <a:lnTo>
                        <a:pt x="4178" y="823"/>
                      </a:lnTo>
                      <a:lnTo>
                        <a:pt x="4158" y="865"/>
                      </a:lnTo>
                      <a:lnTo>
                        <a:pt x="4136" y="905"/>
                      </a:lnTo>
                      <a:lnTo>
                        <a:pt x="4113" y="945"/>
                      </a:lnTo>
                      <a:lnTo>
                        <a:pt x="4090" y="985"/>
                      </a:lnTo>
                      <a:lnTo>
                        <a:pt x="4064" y="1024"/>
                      </a:lnTo>
                      <a:lnTo>
                        <a:pt x="4039" y="1062"/>
                      </a:lnTo>
                      <a:lnTo>
                        <a:pt x="4013" y="1100"/>
                      </a:lnTo>
                      <a:lnTo>
                        <a:pt x="3986" y="1137"/>
                      </a:lnTo>
                      <a:lnTo>
                        <a:pt x="3957" y="1172"/>
                      </a:lnTo>
                      <a:lnTo>
                        <a:pt x="3929" y="1208"/>
                      </a:lnTo>
                      <a:lnTo>
                        <a:pt x="3899" y="1243"/>
                      </a:lnTo>
                      <a:lnTo>
                        <a:pt x="3869" y="1277"/>
                      </a:lnTo>
                      <a:lnTo>
                        <a:pt x="3838" y="1310"/>
                      </a:lnTo>
                      <a:lnTo>
                        <a:pt x="3805" y="1343"/>
                      </a:lnTo>
                      <a:lnTo>
                        <a:pt x="3772" y="1375"/>
                      </a:lnTo>
                      <a:lnTo>
                        <a:pt x="3739" y="1406"/>
                      </a:lnTo>
                      <a:lnTo>
                        <a:pt x="3704" y="1436"/>
                      </a:lnTo>
                      <a:lnTo>
                        <a:pt x="3669" y="1465"/>
                      </a:lnTo>
                      <a:lnTo>
                        <a:pt x="3634" y="1493"/>
                      </a:lnTo>
                      <a:lnTo>
                        <a:pt x="3597" y="1521"/>
                      </a:lnTo>
                      <a:lnTo>
                        <a:pt x="3560" y="1548"/>
                      </a:lnTo>
                      <a:lnTo>
                        <a:pt x="3522" y="1574"/>
                      </a:lnTo>
                      <a:lnTo>
                        <a:pt x="3483" y="1599"/>
                      </a:lnTo>
                      <a:lnTo>
                        <a:pt x="3444" y="1624"/>
                      </a:lnTo>
                      <a:lnTo>
                        <a:pt x="3405" y="1647"/>
                      </a:lnTo>
                      <a:lnTo>
                        <a:pt x="3364" y="1668"/>
                      </a:lnTo>
                      <a:lnTo>
                        <a:pt x="3323" y="1690"/>
                      </a:lnTo>
                      <a:lnTo>
                        <a:pt x="3282" y="1711"/>
                      </a:lnTo>
                      <a:lnTo>
                        <a:pt x="3240" y="1731"/>
                      </a:lnTo>
                      <a:lnTo>
                        <a:pt x="3197" y="1749"/>
                      </a:lnTo>
                      <a:lnTo>
                        <a:pt x="3155" y="1766"/>
                      </a:lnTo>
                      <a:lnTo>
                        <a:pt x="3111" y="1782"/>
                      </a:lnTo>
                      <a:lnTo>
                        <a:pt x="3067" y="1797"/>
                      </a:lnTo>
                      <a:lnTo>
                        <a:pt x="3022" y="1812"/>
                      </a:lnTo>
                      <a:lnTo>
                        <a:pt x="2978" y="1826"/>
                      </a:lnTo>
                      <a:lnTo>
                        <a:pt x="2932" y="1838"/>
                      </a:lnTo>
                      <a:lnTo>
                        <a:pt x="2885" y="1849"/>
                      </a:lnTo>
                      <a:lnTo>
                        <a:pt x="2839" y="1858"/>
                      </a:lnTo>
                      <a:lnTo>
                        <a:pt x="2792" y="1868"/>
                      </a:lnTo>
                      <a:lnTo>
                        <a:pt x="2746" y="1876"/>
                      </a:lnTo>
                      <a:lnTo>
                        <a:pt x="2698" y="1883"/>
                      </a:lnTo>
                      <a:lnTo>
                        <a:pt x="2651" y="1887"/>
                      </a:lnTo>
                      <a:lnTo>
                        <a:pt x="2602" y="1892"/>
                      </a:lnTo>
                      <a:lnTo>
                        <a:pt x="2554" y="1895"/>
                      </a:lnTo>
                      <a:lnTo>
                        <a:pt x="2504" y="1896"/>
                      </a:lnTo>
                      <a:lnTo>
                        <a:pt x="2455" y="1898"/>
                      </a:lnTo>
                      <a:lnTo>
                        <a:pt x="2455" y="1898"/>
                      </a:lnTo>
                      <a:lnTo>
                        <a:pt x="2407" y="1896"/>
                      </a:lnTo>
                      <a:lnTo>
                        <a:pt x="2358" y="1895"/>
                      </a:lnTo>
                      <a:lnTo>
                        <a:pt x="2310" y="1892"/>
                      </a:lnTo>
                      <a:lnTo>
                        <a:pt x="2261" y="1887"/>
                      </a:lnTo>
                      <a:lnTo>
                        <a:pt x="2214" y="1883"/>
                      </a:lnTo>
                      <a:lnTo>
                        <a:pt x="2167" y="1876"/>
                      </a:lnTo>
                      <a:lnTo>
                        <a:pt x="2120" y="1869"/>
                      </a:lnTo>
                      <a:lnTo>
                        <a:pt x="2074" y="1860"/>
                      </a:lnTo>
                      <a:lnTo>
                        <a:pt x="2028" y="1849"/>
                      </a:lnTo>
                      <a:lnTo>
                        <a:pt x="1982" y="1839"/>
                      </a:lnTo>
                      <a:lnTo>
                        <a:pt x="1937" y="1826"/>
                      </a:lnTo>
                      <a:lnTo>
                        <a:pt x="1892" y="1814"/>
                      </a:lnTo>
                      <a:lnTo>
                        <a:pt x="1848" y="1799"/>
                      </a:lnTo>
                      <a:lnTo>
                        <a:pt x="1804" y="1784"/>
                      </a:lnTo>
                      <a:lnTo>
                        <a:pt x="1761" y="1768"/>
                      </a:lnTo>
                      <a:lnTo>
                        <a:pt x="1718" y="1750"/>
                      </a:lnTo>
                      <a:lnTo>
                        <a:pt x="1676" y="1732"/>
                      </a:lnTo>
                      <a:lnTo>
                        <a:pt x="1634" y="1713"/>
                      </a:lnTo>
                      <a:lnTo>
                        <a:pt x="1593" y="1693"/>
                      </a:lnTo>
                      <a:lnTo>
                        <a:pt x="1552" y="1672"/>
                      </a:lnTo>
                      <a:lnTo>
                        <a:pt x="1512" y="1650"/>
                      </a:lnTo>
                      <a:lnTo>
                        <a:pt x="1473" y="1627"/>
                      </a:lnTo>
                      <a:lnTo>
                        <a:pt x="1434" y="1603"/>
                      </a:lnTo>
                      <a:lnTo>
                        <a:pt x="1396" y="1578"/>
                      </a:lnTo>
                      <a:lnTo>
                        <a:pt x="1358" y="1552"/>
                      </a:lnTo>
                      <a:lnTo>
                        <a:pt x="1321" y="1526"/>
                      </a:lnTo>
                      <a:lnTo>
                        <a:pt x="1284" y="1498"/>
                      </a:lnTo>
                      <a:lnTo>
                        <a:pt x="1248" y="1470"/>
                      </a:lnTo>
                      <a:lnTo>
                        <a:pt x="1214" y="1442"/>
                      </a:lnTo>
                      <a:lnTo>
                        <a:pt x="1179" y="1412"/>
                      </a:lnTo>
                      <a:lnTo>
                        <a:pt x="1146" y="1381"/>
                      </a:lnTo>
                      <a:lnTo>
                        <a:pt x="1113" y="1350"/>
                      </a:lnTo>
                      <a:lnTo>
                        <a:pt x="0" y="2462"/>
                      </a:lnTo>
                      <a:lnTo>
                        <a:pt x="0" y="2462"/>
                      </a:lnTo>
                      <a:lnTo>
                        <a:pt x="45" y="2507"/>
                      </a:lnTo>
                      <a:lnTo>
                        <a:pt x="91" y="2549"/>
                      </a:lnTo>
                      <a:lnTo>
                        <a:pt x="137" y="2591"/>
                      </a:lnTo>
                      <a:lnTo>
                        <a:pt x="186" y="2631"/>
                      </a:lnTo>
                      <a:lnTo>
                        <a:pt x="234" y="2671"/>
                      </a:lnTo>
                      <a:lnTo>
                        <a:pt x="285" y="2709"/>
                      </a:lnTo>
                      <a:lnTo>
                        <a:pt x="335" y="2746"/>
                      </a:lnTo>
                      <a:lnTo>
                        <a:pt x="386" y="2783"/>
                      </a:lnTo>
                      <a:lnTo>
                        <a:pt x="439" y="2818"/>
                      </a:lnTo>
                      <a:lnTo>
                        <a:pt x="492" y="2851"/>
                      </a:lnTo>
                      <a:lnTo>
                        <a:pt x="547" y="2883"/>
                      </a:lnTo>
                      <a:lnTo>
                        <a:pt x="601" y="2914"/>
                      </a:lnTo>
                      <a:lnTo>
                        <a:pt x="658" y="2944"/>
                      </a:lnTo>
                      <a:lnTo>
                        <a:pt x="714" y="2972"/>
                      </a:lnTo>
                      <a:lnTo>
                        <a:pt x="772" y="2999"/>
                      </a:lnTo>
                      <a:lnTo>
                        <a:pt x="830" y="3025"/>
                      </a:lnTo>
                      <a:lnTo>
                        <a:pt x="889" y="3049"/>
                      </a:lnTo>
                      <a:lnTo>
                        <a:pt x="949" y="3072"/>
                      </a:lnTo>
                      <a:lnTo>
                        <a:pt x="1009" y="3094"/>
                      </a:lnTo>
                      <a:lnTo>
                        <a:pt x="1071" y="3113"/>
                      </a:lnTo>
                      <a:lnTo>
                        <a:pt x="1132" y="3132"/>
                      </a:lnTo>
                      <a:lnTo>
                        <a:pt x="1194" y="3149"/>
                      </a:lnTo>
                      <a:lnTo>
                        <a:pt x="1258" y="3164"/>
                      </a:lnTo>
                      <a:lnTo>
                        <a:pt x="1321" y="3178"/>
                      </a:lnTo>
                      <a:lnTo>
                        <a:pt x="1385" y="3191"/>
                      </a:lnTo>
                      <a:lnTo>
                        <a:pt x="1450" y="3201"/>
                      </a:lnTo>
                      <a:lnTo>
                        <a:pt x="1515" y="3210"/>
                      </a:lnTo>
                      <a:lnTo>
                        <a:pt x="1581" y="3218"/>
                      </a:lnTo>
                      <a:lnTo>
                        <a:pt x="1647" y="3224"/>
                      </a:lnTo>
                      <a:lnTo>
                        <a:pt x="1713" y="3229"/>
                      </a:lnTo>
                      <a:lnTo>
                        <a:pt x="1780" y="3231"/>
                      </a:lnTo>
                      <a:lnTo>
                        <a:pt x="1848" y="3232"/>
                      </a:lnTo>
                      <a:lnTo>
                        <a:pt x="1848" y="3232"/>
                      </a:lnTo>
                      <a:close/>
                    </a:path>
                  </a:pathLst>
                </a:custGeom>
                <a:solidFill>
                  <a:srgbClr val="C968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88" name="Freeform 233"/>
                <p:cNvSpPr>
                  <a:spLocks/>
                </p:cNvSpPr>
                <p:nvPr/>
              </p:nvSpPr>
              <p:spPr bwMode="auto">
                <a:xfrm>
                  <a:off x="4552950" y="4133850"/>
                  <a:ext cx="739775" cy="706438"/>
                </a:xfrm>
                <a:custGeom>
                  <a:avLst/>
                  <a:gdLst>
                    <a:gd name="T0" fmla="*/ 0 w 3262"/>
                    <a:gd name="T1" fmla="*/ 2569 h 3117"/>
                    <a:gd name="T2" fmla="*/ 66 w 3262"/>
                    <a:gd name="T3" fmla="*/ 2631 h 3117"/>
                    <a:gd name="T4" fmla="*/ 135 w 3262"/>
                    <a:gd name="T5" fmla="*/ 2689 h 3117"/>
                    <a:gd name="T6" fmla="*/ 208 w 3262"/>
                    <a:gd name="T7" fmla="*/ 2745 h 3117"/>
                    <a:gd name="T8" fmla="*/ 283 w 3262"/>
                    <a:gd name="T9" fmla="*/ 2797 h 3117"/>
                    <a:gd name="T10" fmla="*/ 360 w 3262"/>
                    <a:gd name="T11" fmla="*/ 2846 h 3117"/>
                    <a:gd name="T12" fmla="*/ 439 w 3262"/>
                    <a:gd name="T13" fmla="*/ 2891 h 3117"/>
                    <a:gd name="T14" fmla="*/ 521 w 3262"/>
                    <a:gd name="T15" fmla="*/ 2932 h 3117"/>
                    <a:gd name="T16" fmla="*/ 605 w 3262"/>
                    <a:gd name="T17" fmla="*/ 2969 h 3117"/>
                    <a:gd name="T18" fmla="*/ 691 w 3262"/>
                    <a:gd name="T19" fmla="*/ 3003 h 3117"/>
                    <a:gd name="T20" fmla="*/ 779 w 3262"/>
                    <a:gd name="T21" fmla="*/ 3033 h 3117"/>
                    <a:gd name="T22" fmla="*/ 869 w 3262"/>
                    <a:gd name="T23" fmla="*/ 3058 h 3117"/>
                    <a:gd name="T24" fmla="*/ 961 w 3262"/>
                    <a:gd name="T25" fmla="*/ 3079 h 3117"/>
                    <a:gd name="T26" fmla="*/ 1054 w 3262"/>
                    <a:gd name="T27" fmla="*/ 3095 h 3117"/>
                    <a:gd name="T28" fmla="*/ 1148 w 3262"/>
                    <a:gd name="T29" fmla="*/ 3106 h 3117"/>
                    <a:gd name="T30" fmla="*/ 1245 w 3262"/>
                    <a:gd name="T31" fmla="*/ 3114 h 3117"/>
                    <a:gd name="T32" fmla="*/ 1342 w 3262"/>
                    <a:gd name="T33" fmla="*/ 3117 h 3117"/>
                    <a:gd name="T34" fmla="*/ 1391 w 3262"/>
                    <a:gd name="T35" fmla="*/ 3115 h 3117"/>
                    <a:gd name="T36" fmla="*/ 1489 w 3262"/>
                    <a:gd name="T37" fmla="*/ 3111 h 3117"/>
                    <a:gd name="T38" fmla="*/ 1585 w 3262"/>
                    <a:gd name="T39" fmla="*/ 3102 h 3117"/>
                    <a:gd name="T40" fmla="*/ 1679 w 3262"/>
                    <a:gd name="T41" fmla="*/ 3087 h 3117"/>
                    <a:gd name="T42" fmla="*/ 1772 w 3262"/>
                    <a:gd name="T43" fmla="*/ 3068 h 3117"/>
                    <a:gd name="T44" fmla="*/ 1865 w 3262"/>
                    <a:gd name="T45" fmla="*/ 3045 h 3117"/>
                    <a:gd name="T46" fmla="*/ 1954 w 3262"/>
                    <a:gd name="T47" fmla="*/ 3016 h 3117"/>
                    <a:gd name="T48" fmla="*/ 2042 w 3262"/>
                    <a:gd name="T49" fmla="*/ 2985 h 3117"/>
                    <a:gd name="T50" fmla="*/ 2127 w 3262"/>
                    <a:gd name="T51" fmla="*/ 2950 h 3117"/>
                    <a:gd name="T52" fmla="*/ 2210 w 3262"/>
                    <a:gd name="T53" fmla="*/ 2909 h 3117"/>
                    <a:gd name="T54" fmla="*/ 2292 w 3262"/>
                    <a:gd name="T55" fmla="*/ 2866 h 3117"/>
                    <a:gd name="T56" fmla="*/ 2370 w 3262"/>
                    <a:gd name="T57" fmla="*/ 2818 h 3117"/>
                    <a:gd name="T58" fmla="*/ 2447 w 3262"/>
                    <a:gd name="T59" fmla="*/ 2767 h 3117"/>
                    <a:gd name="T60" fmla="*/ 2521 w 3262"/>
                    <a:gd name="T61" fmla="*/ 2712 h 3117"/>
                    <a:gd name="T62" fmla="*/ 2591 w 3262"/>
                    <a:gd name="T63" fmla="*/ 2655 h 3117"/>
                    <a:gd name="T64" fmla="*/ 2659 w 3262"/>
                    <a:gd name="T65" fmla="*/ 2594 h 3117"/>
                    <a:gd name="T66" fmla="*/ 2725 w 3262"/>
                    <a:gd name="T67" fmla="*/ 2529 h 3117"/>
                    <a:gd name="T68" fmla="*/ 2786 w 3262"/>
                    <a:gd name="T69" fmla="*/ 2462 h 3117"/>
                    <a:gd name="T70" fmla="*/ 2844 w 3262"/>
                    <a:gd name="T71" fmla="*/ 2391 h 3117"/>
                    <a:gd name="T72" fmla="*/ 2900 w 3262"/>
                    <a:gd name="T73" fmla="*/ 2319 h 3117"/>
                    <a:gd name="T74" fmla="*/ 2951 w 3262"/>
                    <a:gd name="T75" fmla="*/ 2243 h 3117"/>
                    <a:gd name="T76" fmla="*/ 3000 w 3262"/>
                    <a:gd name="T77" fmla="*/ 2164 h 3117"/>
                    <a:gd name="T78" fmla="*/ 3045 w 3262"/>
                    <a:gd name="T79" fmla="*/ 2084 h 3117"/>
                    <a:gd name="T80" fmla="*/ 3086 w 3262"/>
                    <a:gd name="T81" fmla="*/ 2001 h 3117"/>
                    <a:gd name="T82" fmla="*/ 3123 w 3262"/>
                    <a:gd name="T83" fmla="*/ 1916 h 3117"/>
                    <a:gd name="T84" fmla="*/ 3155 w 3262"/>
                    <a:gd name="T85" fmla="*/ 1828 h 3117"/>
                    <a:gd name="T86" fmla="*/ 3184 w 3262"/>
                    <a:gd name="T87" fmla="*/ 1740 h 3117"/>
                    <a:gd name="T88" fmla="*/ 3208 w 3262"/>
                    <a:gd name="T89" fmla="*/ 1649 h 3117"/>
                    <a:gd name="T90" fmla="*/ 3228 w 3262"/>
                    <a:gd name="T91" fmla="*/ 1555 h 3117"/>
                    <a:gd name="T92" fmla="*/ 3244 w 3262"/>
                    <a:gd name="T93" fmla="*/ 1462 h 3117"/>
                    <a:gd name="T94" fmla="*/ 3254 w 3262"/>
                    <a:gd name="T95" fmla="*/ 1365 h 3117"/>
                    <a:gd name="T96" fmla="*/ 3261 w 3262"/>
                    <a:gd name="T97" fmla="*/ 1269 h 3117"/>
                    <a:gd name="T98" fmla="*/ 3262 w 3262"/>
                    <a:gd name="T99" fmla="*/ 1219 h 3117"/>
                    <a:gd name="T100" fmla="*/ 3240 w 3262"/>
                    <a:gd name="T101" fmla="*/ 1140 h 3117"/>
                    <a:gd name="T102" fmla="*/ 3191 w 3262"/>
                    <a:gd name="T103" fmla="*/ 982 h 3117"/>
                    <a:gd name="T104" fmla="*/ 3132 w 3262"/>
                    <a:gd name="T105" fmla="*/ 829 h 3117"/>
                    <a:gd name="T106" fmla="*/ 3063 w 3262"/>
                    <a:gd name="T107" fmla="*/ 682 h 3117"/>
                    <a:gd name="T108" fmla="*/ 2987 w 3262"/>
                    <a:gd name="T109" fmla="*/ 539 h 3117"/>
                    <a:gd name="T110" fmla="*/ 2901 w 3262"/>
                    <a:gd name="T111" fmla="*/ 402 h 3117"/>
                    <a:gd name="T112" fmla="*/ 2807 w 3262"/>
                    <a:gd name="T113" fmla="*/ 271 h 3117"/>
                    <a:gd name="T114" fmla="*/ 2706 w 3262"/>
                    <a:gd name="T115" fmla="*/ 145 h 3117"/>
                    <a:gd name="T116" fmla="*/ 2653 w 3262"/>
                    <a:gd name="T117" fmla="*/ 85 h 3117"/>
                    <a:gd name="T118" fmla="*/ 2643 w 3262"/>
                    <a:gd name="T119" fmla="*/ 75 h 3117"/>
                    <a:gd name="T120" fmla="*/ 2569 w 3262"/>
                    <a:gd name="T121" fmla="*/ 0 h 3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62" h="3117">
                      <a:moveTo>
                        <a:pt x="0" y="2569"/>
                      </a:moveTo>
                      <a:lnTo>
                        <a:pt x="0" y="2569"/>
                      </a:lnTo>
                      <a:lnTo>
                        <a:pt x="33" y="2600"/>
                      </a:lnTo>
                      <a:lnTo>
                        <a:pt x="66" y="2631"/>
                      </a:lnTo>
                      <a:lnTo>
                        <a:pt x="101" y="2661"/>
                      </a:lnTo>
                      <a:lnTo>
                        <a:pt x="135" y="2689"/>
                      </a:lnTo>
                      <a:lnTo>
                        <a:pt x="171" y="2717"/>
                      </a:lnTo>
                      <a:lnTo>
                        <a:pt x="208" y="2745"/>
                      </a:lnTo>
                      <a:lnTo>
                        <a:pt x="245" y="2771"/>
                      </a:lnTo>
                      <a:lnTo>
                        <a:pt x="283" y="2797"/>
                      </a:lnTo>
                      <a:lnTo>
                        <a:pt x="321" y="2822"/>
                      </a:lnTo>
                      <a:lnTo>
                        <a:pt x="360" y="2846"/>
                      </a:lnTo>
                      <a:lnTo>
                        <a:pt x="399" y="2869"/>
                      </a:lnTo>
                      <a:lnTo>
                        <a:pt x="439" y="2891"/>
                      </a:lnTo>
                      <a:lnTo>
                        <a:pt x="480" y="2912"/>
                      </a:lnTo>
                      <a:lnTo>
                        <a:pt x="521" y="2932"/>
                      </a:lnTo>
                      <a:lnTo>
                        <a:pt x="563" y="2951"/>
                      </a:lnTo>
                      <a:lnTo>
                        <a:pt x="605" y="2969"/>
                      </a:lnTo>
                      <a:lnTo>
                        <a:pt x="648" y="2987"/>
                      </a:lnTo>
                      <a:lnTo>
                        <a:pt x="691" y="3003"/>
                      </a:lnTo>
                      <a:lnTo>
                        <a:pt x="735" y="3018"/>
                      </a:lnTo>
                      <a:lnTo>
                        <a:pt x="779" y="3033"/>
                      </a:lnTo>
                      <a:lnTo>
                        <a:pt x="824" y="3045"/>
                      </a:lnTo>
                      <a:lnTo>
                        <a:pt x="869" y="3058"/>
                      </a:lnTo>
                      <a:lnTo>
                        <a:pt x="915" y="3068"/>
                      </a:lnTo>
                      <a:lnTo>
                        <a:pt x="961" y="3079"/>
                      </a:lnTo>
                      <a:lnTo>
                        <a:pt x="1007" y="3088"/>
                      </a:lnTo>
                      <a:lnTo>
                        <a:pt x="1054" y="3095"/>
                      </a:lnTo>
                      <a:lnTo>
                        <a:pt x="1101" y="3102"/>
                      </a:lnTo>
                      <a:lnTo>
                        <a:pt x="1148" y="3106"/>
                      </a:lnTo>
                      <a:lnTo>
                        <a:pt x="1197" y="3111"/>
                      </a:lnTo>
                      <a:lnTo>
                        <a:pt x="1245" y="3114"/>
                      </a:lnTo>
                      <a:lnTo>
                        <a:pt x="1294" y="3115"/>
                      </a:lnTo>
                      <a:lnTo>
                        <a:pt x="1342" y="3117"/>
                      </a:lnTo>
                      <a:lnTo>
                        <a:pt x="1342" y="3117"/>
                      </a:lnTo>
                      <a:lnTo>
                        <a:pt x="1391" y="3115"/>
                      </a:lnTo>
                      <a:lnTo>
                        <a:pt x="1441" y="3114"/>
                      </a:lnTo>
                      <a:lnTo>
                        <a:pt x="1489" y="3111"/>
                      </a:lnTo>
                      <a:lnTo>
                        <a:pt x="1538" y="3106"/>
                      </a:lnTo>
                      <a:lnTo>
                        <a:pt x="1585" y="3102"/>
                      </a:lnTo>
                      <a:lnTo>
                        <a:pt x="1633" y="3095"/>
                      </a:lnTo>
                      <a:lnTo>
                        <a:pt x="1679" y="3087"/>
                      </a:lnTo>
                      <a:lnTo>
                        <a:pt x="1726" y="3077"/>
                      </a:lnTo>
                      <a:lnTo>
                        <a:pt x="1772" y="3068"/>
                      </a:lnTo>
                      <a:lnTo>
                        <a:pt x="1819" y="3057"/>
                      </a:lnTo>
                      <a:lnTo>
                        <a:pt x="1865" y="3045"/>
                      </a:lnTo>
                      <a:lnTo>
                        <a:pt x="1909" y="3031"/>
                      </a:lnTo>
                      <a:lnTo>
                        <a:pt x="1954" y="3016"/>
                      </a:lnTo>
                      <a:lnTo>
                        <a:pt x="1998" y="3001"/>
                      </a:lnTo>
                      <a:lnTo>
                        <a:pt x="2042" y="2985"/>
                      </a:lnTo>
                      <a:lnTo>
                        <a:pt x="2084" y="2968"/>
                      </a:lnTo>
                      <a:lnTo>
                        <a:pt x="2127" y="2950"/>
                      </a:lnTo>
                      <a:lnTo>
                        <a:pt x="2169" y="2930"/>
                      </a:lnTo>
                      <a:lnTo>
                        <a:pt x="2210" y="2909"/>
                      </a:lnTo>
                      <a:lnTo>
                        <a:pt x="2251" y="2887"/>
                      </a:lnTo>
                      <a:lnTo>
                        <a:pt x="2292" y="2866"/>
                      </a:lnTo>
                      <a:lnTo>
                        <a:pt x="2331" y="2843"/>
                      </a:lnTo>
                      <a:lnTo>
                        <a:pt x="2370" y="2818"/>
                      </a:lnTo>
                      <a:lnTo>
                        <a:pt x="2409" y="2793"/>
                      </a:lnTo>
                      <a:lnTo>
                        <a:pt x="2447" y="2767"/>
                      </a:lnTo>
                      <a:lnTo>
                        <a:pt x="2484" y="2740"/>
                      </a:lnTo>
                      <a:lnTo>
                        <a:pt x="2521" y="2712"/>
                      </a:lnTo>
                      <a:lnTo>
                        <a:pt x="2556" y="2684"/>
                      </a:lnTo>
                      <a:lnTo>
                        <a:pt x="2591" y="2655"/>
                      </a:lnTo>
                      <a:lnTo>
                        <a:pt x="2626" y="2625"/>
                      </a:lnTo>
                      <a:lnTo>
                        <a:pt x="2659" y="2594"/>
                      </a:lnTo>
                      <a:lnTo>
                        <a:pt x="2692" y="2562"/>
                      </a:lnTo>
                      <a:lnTo>
                        <a:pt x="2725" y="2529"/>
                      </a:lnTo>
                      <a:lnTo>
                        <a:pt x="2756" y="2496"/>
                      </a:lnTo>
                      <a:lnTo>
                        <a:pt x="2786" y="2462"/>
                      </a:lnTo>
                      <a:lnTo>
                        <a:pt x="2816" y="2427"/>
                      </a:lnTo>
                      <a:lnTo>
                        <a:pt x="2844" y="2391"/>
                      </a:lnTo>
                      <a:lnTo>
                        <a:pt x="2873" y="2356"/>
                      </a:lnTo>
                      <a:lnTo>
                        <a:pt x="2900" y="2319"/>
                      </a:lnTo>
                      <a:lnTo>
                        <a:pt x="2926" y="2281"/>
                      </a:lnTo>
                      <a:lnTo>
                        <a:pt x="2951" y="2243"/>
                      </a:lnTo>
                      <a:lnTo>
                        <a:pt x="2977" y="2204"/>
                      </a:lnTo>
                      <a:lnTo>
                        <a:pt x="3000" y="2164"/>
                      </a:lnTo>
                      <a:lnTo>
                        <a:pt x="3023" y="2124"/>
                      </a:lnTo>
                      <a:lnTo>
                        <a:pt x="3045" y="2084"/>
                      </a:lnTo>
                      <a:lnTo>
                        <a:pt x="3065" y="2042"/>
                      </a:lnTo>
                      <a:lnTo>
                        <a:pt x="3086" y="2001"/>
                      </a:lnTo>
                      <a:lnTo>
                        <a:pt x="3105" y="1958"/>
                      </a:lnTo>
                      <a:lnTo>
                        <a:pt x="3123" y="1916"/>
                      </a:lnTo>
                      <a:lnTo>
                        <a:pt x="3139" y="1873"/>
                      </a:lnTo>
                      <a:lnTo>
                        <a:pt x="3155" y="1828"/>
                      </a:lnTo>
                      <a:lnTo>
                        <a:pt x="3170" y="1785"/>
                      </a:lnTo>
                      <a:lnTo>
                        <a:pt x="3184" y="1740"/>
                      </a:lnTo>
                      <a:lnTo>
                        <a:pt x="3197" y="1695"/>
                      </a:lnTo>
                      <a:lnTo>
                        <a:pt x="3208" y="1649"/>
                      </a:lnTo>
                      <a:lnTo>
                        <a:pt x="3218" y="1603"/>
                      </a:lnTo>
                      <a:lnTo>
                        <a:pt x="3228" y="1555"/>
                      </a:lnTo>
                      <a:lnTo>
                        <a:pt x="3237" y="1509"/>
                      </a:lnTo>
                      <a:lnTo>
                        <a:pt x="3244" y="1462"/>
                      </a:lnTo>
                      <a:lnTo>
                        <a:pt x="3250" y="1414"/>
                      </a:lnTo>
                      <a:lnTo>
                        <a:pt x="3254" y="1365"/>
                      </a:lnTo>
                      <a:lnTo>
                        <a:pt x="3259" y="1317"/>
                      </a:lnTo>
                      <a:lnTo>
                        <a:pt x="3261" y="1269"/>
                      </a:lnTo>
                      <a:lnTo>
                        <a:pt x="3262" y="1219"/>
                      </a:lnTo>
                      <a:lnTo>
                        <a:pt x="3262" y="1219"/>
                      </a:lnTo>
                      <a:lnTo>
                        <a:pt x="3262" y="1219"/>
                      </a:lnTo>
                      <a:lnTo>
                        <a:pt x="3240" y="1140"/>
                      </a:lnTo>
                      <a:lnTo>
                        <a:pt x="3217" y="1060"/>
                      </a:lnTo>
                      <a:lnTo>
                        <a:pt x="3191" y="982"/>
                      </a:lnTo>
                      <a:lnTo>
                        <a:pt x="3162" y="905"/>
                      </a:lnTo>
                      <a:lnTo>
                        <a:pt x="3132" y="829"/>
                      </a:lnTo>
                      <a:lnTo>
                        <a:pt x="3099" y="755"/>
                      </a:lnTo>
                      <a:lnTo>
                        <a:pt x="3063" y="682"/>
                      </a:lnTo>
                      <a:lnTo>
                        <a:pt x="3026" y="609"/>
                      </a:lnTo>
                      <a:lnTo>
                        <a:pt x="2987" y="539"/>
                      </a:lnTo>
                      <a:lnTo>
                        <a:pt x="2944" y="470"/>
                      </a:lnTo>
                      <a:lnTo>
                        <a:pt x="2901" y="402"/>
                      </a:lnTo>
                      <a:lnTo>
                        <a:pt x="2855" y="335"/>
                      </a:lnTo>
                      <a:lnTo>
                        <a:pt x="2807" y="271"/>
                      </a:lnTo>
                      <a:lnTo>
                        <a:pt x="2758" y="207"/>
                      </a:lnTo>
                      <a:lnTo>
                        <a:pt x="2706" y="145"/>
                      </a:lnTo>
                      <a:lnTo>
                        <a:pt x="2653" y="85"/>
                      </a:lnTo>
                      <a:lnTo>
                        <a:pt x="2653" y="85"/>
                      </a:lnTo>
                      <a:lnTo>
                        <a:pt x="2643" y="75"/>
                      </a:lnTo>
                      <a:lnTo>
                        <a:pt x="2643" y="75"/>
                      </a:lnTo>
                      <a:lnTo>
                        <a:pt x="2606" y="37"/>
                      </a:lnTo>
                      <a:lnTo>
                        <a:pt x="2569" y="0"/>
                      </a:lnTo>
                      <a:lnTo>
                        <a:pt x="0" y="2569"/>
                      </a:lnTo>
                      <a:close/>
                    </a:path>
                  </a:pathLst>
                </a:custGeom>
                <a:solidFill>
                  <a:srgbClr val="EC8B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89" name="Freeform 234"/>
                <p:cNvSpPr>
                  <a:spLocks/>
                </p:cNvSpPr>
                <p:nvPr/>
              </p:nvSpPr>
              <p:spPr bwMode="auto">
                <a:xfrm>
                  <a:off x="4278313" y="4203700"/>
                  <a:ext cx="488950" cy="101600"/>
                </a:xfrm>
                <a:custGeom>
                  <a:avLst/>
                  <a:gdLst>
                    <a:gd name="T0" fmla="*/ 2155 w 2155"/>
                    <a:gd name="T1" fmla="*/ 222 h 445"/>
                    <a:gd name="T2" fmla="*/ 2151 w 2155"/>
                    <a:gd name="T3" fmla="*/ 268 h 445"/>
                    <a:gd name="T4" fmla="*/ 2137 w 2155"/>
                    <a:gd name="T5" fmla="*/ 309 h 445"/>
                    <a:gd name="T6" fmla="*/ 2116 w 2155"/>
                    <a:gd name="T7" fmla="*/ 347 h 445"/>
                    <a:gd name="T8" fmla="*/ 2090 w 2155"/>
                    <a:gd name="T9" fmla="*/ 381 h 445"/>
                    <a:gd name="T10" fmla="*/ 2056 w 2155"/>
                    <a:gd name="T11" fmla="*/ 407 h 445"/>
                    <a:gd name="T12" fmla="*/ 2018 w 2155"/>
                    <a:gd name="T13" fmla="*/ 428 h 445"/>
                    <a:gd name="T14" fmla="*/ 1977 w 2155"/>
                    <a:gd name="T15" fmla="*/ 440 h 445"/>
                    <a:gd name="T16" fmla="*/ 1932 w 2155"/>
                    <a:gd name="T17" fmla="*/ 445 h 445"/>
                    <a:gd name="T18" fmla="*/ 224 w 2155"/>
                    <a:gd name="T19" fmla="*/ 445 h 445"/>
                    <a:gd name="T20" fmla="*/ 179 w 2155"/>
                    <a:gd name="T21" fmla="*/ 440 h 445"/>
                    <a:gd name="T22" fmla="*/ 137 w 2155"/>
                    <a:gd name="T23" fmla="*/ 428 h 445"/>
                    <a:gd name="T24" fmla="*/ 99 w 2155"/>
                    <a:gd name="T25" fmla="*/ 407 h 445"/>
                    <a:gd name="T26" fmla="*/ 66 w 2155"/>
                    <a:gd name="T27" fmla="*/ 381 h 445"/>
                    <a:gd name="T28" fmla="*/ 38 w 2155"/>
                    <a:gd name="T29" fmla="*/ 347 h 445"/>
                    <a:gd name="T30" fmla="*/ 18 w 2155"/>
                    <a:gd name="T31" fmla="*/ 309 h 445"/>
                    <a:gd name="T32" fmla="*/ 5 w 2155"/>
                    <a:gd name="T33" fmla="*/ 268 h 445"/>
                    <a:gd name="T34" fmla="*/ 0 w 2155"/>
                    <a:gd name="T35" fmla="*/ 222 h 445"/>
                    <a:gd name="T36" fmla="*/ 1 w 2155"/>
                    <a:gd name="T37" fmla="*/ 200 h 445"/>
                    <a:gd name="T38" fmla="*/ 11 w 2155"/>
                    <a:gd name="T39" fmla="*/ 156 h 445"/>
                    <a:gd name="T40" fmla="*/ 28 w 2155"/>
                    <a:gd name="T41" fmla="*/ 116 h 445"/>
                    <a:gd name="T42" fmla="*/ 51 w 2155"/>
                    <a:gd name="T43" fmla="*/ 80 h 445"/>
                    <a:gd name="T44" fmla="*/ 82 w 2155"/>
                    <a:gd name="T45" fmla="*/ 50 h 445"/>
                    <a:gd name="T46" fmla="*/ 118 w 2155"/>
                    <a:gd name="T47" fmla="*/ 26 h 445"/>
                    <a:gd name="T48" fmla="*/ 157 w 2155"/>
                    <a:gd name="T49" fmla="*/ 9 h 445"/>
                    <a:gd name="T50" fmla="*/ 201 w 2155"/>
                    <a:gd name="T51" fmla="*/ 1 h 445"/>
                    <a:gd name="T52" fmla="*/ 1932 w 2155"/>
                    <a:gd name="T53" fmla="*/ 0 h 445"/>
                    <a:gd name="T54" fmla="*/ 1954 w 2155"/>
                    <a:gd name="T55" fmla="*/ 1 h 445"/>
                    <a:gd name="T56" fmla="*/ 1998 w 2155"/>
                    <a:gd name="T57" fmla="*/ 9 h 445"/>
                    <a:gd name="T58" fmla="*/ 2038 w 2155"/>
                    <a:gd name="T59" fmla="*/ 26 h 445"/>
                    <a:gd name="T60" fmla="*/ 2074 w 2155"/>
                    <a:gd name="T61" fmla="*/ 50 h 445"/>
                    <a:gd name="T62" fmla="*/ 2104 w 2155"/>
                    <a:gd name="T63" fmla="*/ 80 h 445"/>
                    <a:gd name="T64" fmla="*/ 2128 w 2155"/>
                    <a:gd name="T65" fmla="*/ 116 h 445"/>
                    <a:gd name="T66" fmla="*/ 2145 w 2155"/>
                    <a:gd name="T67" fmla="*/ 156 h 445"/>
                    <a:gd name="T68" fmla="*/ 2154 w 2155"/>
                    <a:gd name="T69" fmla="*/ 200 h 445"/>
                    <a:gd name="T70" fmla="*/ 2155 w 2155"/>
                    <a:gd name="T71" fmla="*/ 222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55" h="445">
                      <a:moveTo>
                        <a:pt x="2155" y="222"/>
                      </a:moveTo>
                      <a:lnTo>
                        <a:pt x="2155" y="222"/>
                      </a:lnTo>
                      <a:lnTo>
                        <a:pt x="2154" y="245"/>
                      </a:lnTo>
                      <a:lnTo>
                        <a:pt x="2151" y="268"/>
                      </a:lnTo>
                      <a:lnTo>
                        <a:pt x="2145" y="289"/>
                      </a:lnTo>
                      <a:lnTo>
                        <a:pt x="2137" y="309"/>
                      </a:lnTo>
                      <a:lnTo>
                        <a:pt x="2128" y="329"/>
                      </a:lnTo>
                      <a:lnTo>
                        <a:pt x="2116" y="347"/>
                      </a:lnTo>
                      <a:lnTo>
                        <a:pt x="2104" y="364"/>
                      </a:lnTo>
                      <a:lnTo>
                        <a:pt x="2090" y="381"/>
                      </a:lnTo>
                      <a:lnTo>
                        <a:pt x="2074" y="394"/>
                      </a:lnTo>
                      <a:lnTo>
                        <a:pt x="2056" y="407"/>
                      </a:lnTo>
                      <a:lnTo>
                        <a:pt x="2038" y="419"/>
                      </a:lnTo>
                      <a:lnTo>
                        <a:pt x="2018" y="428"/>
                      </a:lnTo>
                      <a:lnTo>
                        <a:pt x="1998" y="436"/>
                      </a:lnTo>
                      <a:lnTo>
                        <a:pt x="1977" y="440"/>
                      </a:lnTo>
                      <a:lnTo>
                        <a:pt x="1954" y="444"/>
                      </a:lnTo>
                      <a:lnTo>
                        <a:pt x="1932" y="445"/>
                      </a:lnTo>
                      <a:lnTo>
                        <a:pt x="224" y="445"/>
                      </a:lnTo>
                      <a:lnTo>
                        <a:pt x="224" y="445"/>
                      </a:lnTo>
                      <a:lnTo>
                        <a:pt x="201" y="444"/>
                      </a:lnTo>
                      <a:lnTo>
                        <a:pt x="179" y="440"/>
                      </a:lnTo>
                      <a:lnTo>
                        <a:pt x="157" y="436"/>
                      </a:lnTo>
                      <a:lnTo>
                        <a:pt x="137" y="428"/>
                      </a:lnTo>
                      <a:lnTo>
                        <a:pt x="118" y="419"/>
                      </a:lnTo>
                      <a:lnTo>
                        <a:pt x="99" y="407"/>
                      </a:lnTo>
                      <a:lnTo>
                        <a:pt x="82" y="394"/>
                      </a:lnTo>
                      <a:lnTo>
                        <a:pt x="66" y="381"/>
                      </a:lnTo>
                      <a:lnTo>
                        <a:pt x="51" y="364"/>
                      </a:lnTo>
                      <a:lnTo>
                        <a:pt x="38" y="347"/>
                      </a:lnTo>
                      <a:lnTo>
                        <a:pt x="28" y="329"/>
                      </a:lnTo>
                      <a:lnTo>
                        <a:pt x="18" y="309"/>
                      </a:lnTo>
                      <a:lnTo>
                        <a:pt x="11" y="289"/>
                      </a:lnTo>
                      <a:lnTo>
                        <a:pt x="5" y="268"/>
                      </a:lnTo>
                      <a:lnTo>
                        <a:pt x="1" y="245"/>
                      </a:lnTo>
                      <a:lnTo>
                        <a:pt x="0" y="222"/>
                      </a:lnTo>
                      <a:lnTo>
                        <a:pt x="0" y="222"/>
                      </a:lnTo>
                      <a:lnTo>
                        <a:pt x="1" y="200"/>
                      </a:lnTo>
                      <a:lnTo>
                        <a:pt x="5" y="177"/>
                      </a:lnTo>
                      <a:lnTo>
                        <a:pt x="11" y="156"/>
                      </a:lnTo>
                      <a:lnTo>
                        <a:pt x="18" y="135"/>
                      </a:lnTo>
                      <a:lnTo>
                        <a:pt x="28" y="116"/>
                      </a:lnTo>
                      <a:lnTo>
                        <a:pt x="38" y="97"/>
                      </a:lnTo>
                      <a:lnTo>
                        <a:pt x="51" y="80"/>
                      </a:lnTo>
                      <a:lnTo>
                        <a:pt x="66" y="64"/>
                      </a:lnTo>
                      <a:lnTo>
                        <a:pt x="82" y="50"/>
                      </a:lnTo>
                      <a:lnTo>
                        <a:pt x="99" y="38"/>
                      </a:lnTo>
                      <a:lnTo>
                        <a:pt x="118" y="26"/>
                      </a:lnTo>
                      <a:lnTo>
                        <a:pt x="137" y="17"/>
                      </a:lnTo>
                      <a:lnTo>
                        <a:pt x="157" y="9"/>
                      </a:lnTo>
                      <a:lnTo>
                        <a:pt x="179" y="4"/>
                      </a:lnTo>
                      <a:lnTo>
                        <a:pt x="201" y="1"/>
                      </a:lnTo>
                      <a:lnTo>
                        <a:pt x="224" y="0"/>
                      </a:lnTo>
                      <a:lnTo>
                        <a:pt x="1932" y="0"/>
                      </a:lnTo>
                      <a:lnTo>
                        <a:pt x="1932" y="0"/>
                      </a:lnTo>
                      <a:lnTo>
                        <a:pt x="1954" y="1"/>
                      </a:lnTo>
                      <a:lnTo>
                        <a:pt x="1977" y="4"/>
                      </a:lnTo>
                      <a:lnTo>
                        <a:pt x="1998" y="9"/>
                      </a:lnTo>
                      <a:lnTo>
                        <a:pt x="2018" y="17"/>
                      </a:lnTo>
                      <a:lnTo>
                        <a:pt x="2038" y="26"/>
                      </a:lnTo>
                      <a:lnTo>
                        <a:pt x="2056" y="38"/>
                      </a:lnTo>
                      <a:lnTo>
                        <a:pt x="2074" y="50"/>
                      </a:lnTo>
                      <a:lnTo>
                        <a:pt x="2090" y="64"/>
                      </a:lnTo>
                      <a:lnTo>
                        <a:pt x="2104" y="80"/>
                      </a:lnTo>
                      <a:lnTo>
                        <a:pt x="2116" y="97"/>
                      </a:lnTo>
                      <a:lnTo>
                        <a:pt x="2128" y="116"/>
                      </a:lnTo>
                      <a:lnTo>
                        <a:pt x="2137" y="135"/>
                      </a:lnTo>
                      <a:lnTo>
                        <a:pt x="2145" y="156"/>
                      </a:lnTo>
                      <a:lnTo>
                        <a:pt x="2151" y="177"/>
                      </a:lnTo>
                      <a:lnTo>
                        <a:pt x="2154" y="200"/>
                      </a:lnTo>
                      <a:lnTo>
                        <a:pt x="2155" y="222"/>
                      </a:lnTo>
                      <a:lnTo>
                        <a:pt x="2155" y="222"/>
                      </a:lnTo>
                      <a:close/>
                    </a:path>
                  </a:pathLst>
                </a:custGeom>
                <a:solidFill>
                  <a:srgbClr val="C968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90" name="Freeform 235"/>
                <p:cNvSpPr>
                  <a:spLocks/>
                </p:cNvSpPr>
                <p:nvPr/>
              </p:nvSpPr>
              <p:spPr bwMode="auto">
                <a:xfrm>
                  <a:off x="4300538" y="4848225"/>
                  <a:ext cx="374650" cy="77788"/>
                </a:xfrm>
                <a:custGeom>
                  <a:avLst/>
                  <a:gdLst>
                    <a:gd name="T0" fmla="*/ 1649 w 1649"/>
                    <a:gd name="T1" fmla="*/ 172 h 342"/>
                    <a:gd name="T2" fmla="*/ 1646 w 1649"/>
                    <a:gd name="T3" fmla="*/ 206 h 342"/>
                    <a:gd name="T4" fmla="*/ 1636 w 1649"/>
                    <a:gd name="T5" fmla="*/ 237 h 342"/>
                    <a:gd name="T6" fmla="*/ 1620 w 1649"/>
                    <a:gd name="T7" fmla="*/ 267 h 342"/>
                    <a:gd name="T8" fmla="*/ 1600 w 1649"/>
                    <a:gd name="T9" fmla="*/ 293 h 342"/>
                    <a:gd name="T10" fmla="*/ 1574 w 1649"/>
                    <a:gd name="T11" fmla="*/ 313 h 342"/>
                    <a:gd name="T12" fmla="*/ 1545 w 1649"/>
                    <a:gd name="T13" fmla="*/ 328 h 342"/>
                    <a:gd name="T14" fmla="*/ 1513 w 1649"/>
                    <a:gd name="T15" fmla="*/ 339 h 342"/>
                    <a:gd name="T16" fmla="*/ 1479 w 1649"/>
                    <a:gd name="T17" fmla="*/ 342 h 342"/>
                    <a:gd name="T18" fmla="*/ 171 w 1649"/>
                    <a:gd name="T19" fmla="*/ 342 h 342"/>
                    <a:gd name="T20" fmla="*/ 136 w 1649"/>
                    <a:gd name="T21" fmla="*/ 339 h 342"/>
                    <a:gd name="T22" fmla="*/ 105 w 1649"/>
                    <a:gd name="T23" fmla="*/ 328 h 342"/>
                    <a:gd name="T24" fmla="*/ 75 w 1649"/>
                    <a:gd name="T25" fmla="*/ 313 h 342"/>
                    <a:gd name="T26" fmla="*/ 50 w 1649"/>
                    <a:gd name="T27" fmla="*/ 293 h 342"/>
                    <a:gd name="T28" fmla="*/ 29 w 1649"/>
                    <a:gd name="T29" fmla="*/ 267 h 342"/>
                    <a:gd name="T30" fmla="*/ 14 w 1649"/>
                    <a:gd name="T31" fmla="*/ 237 h 342"/>
                    <a:gd name="T32" fmla="*/ 4 w 1649"/>
                    <a:gd name="T33" fmla="*/ 206 h 342"/>
                    <a:gd name="T34" fmla="*/ 0 w 1649"/>
                    <a:gd name="T35" fmla="*/ 172 h 342"/>
                    <a:gd name="T36" fmla="*/ 2 w 1649"/>
                    <a:gd name="T37" fmla="*/ 154 h 342"/>
                    <a:gd name="T38" fmla="*/ 8 w 1649"/>
                    <a:gd name="T39" fmla="*/ 121 h 342"/>
                    <a:gd name="T40" fmla="*/ 21 w 1649"/>
                    <a:gd name="T41" fmla="*/ 90 h 342"/>
                    <a:gd name="T42" fmla="*/ 40 w 1649"/>
                    <a:gd name="T43" fmla="*/ 62 h 342"/>
                    <a:gd name="T44" fmla="*/ 63 w 1649"/>
                    <a:gd name="T45" fmla="*/ 39 h 342"/>
                    <a:gd name="T46" fmla="*/ 90 w 1649"/>
                    <a:gd name="T47" fmla="*/ 21 h 342"/>
                    <a:gd name="T48" fmla="*/ 120 w 1649"/>
                    <a:gd name="T49" fmla="*/ 8 h 342"/>
                    <a:gd name="T50" fmla="*/ 154 w 1649"/>
                    <a:gd name="T51" fmla="*/ 1 h 342"/>
                    <a:gd name="T52" fmla="*/ 1479 w 1649"/>
                    <a:gd name="T53" fmla="*/ 0 h 342"/>
                    <a:gd name="T54" fmla="*/ 1496 w 1649"/>
                    <a:gd name="T55" fmla="*/ 1 h 342"/>
                    <a:gd name="T56" fmla="*/ 1529 w 1649"/>
                    <a:gd name="T57" fmla="*/ 8 h 342"/>
                    <a:gd name="T58" fmla="*/ 1560 w 1649"/>
                    <a:gd name="T59" fmla="*/ 21 h 342"/>
                    <a:gd name="T60" fmla="*/ 1587 w 1649"/>
                    <a:gd name="T61" fmla="*/ 39 h 342"/>
                    <a:gd name="T62" fmla="*/ 1610 w 1649"/>
                    <a:gd name="T63" fmla="*/ 62 h 342"/>
                    <a:gd name="T64" fmla="*/ 1628 w 1649"/>
                    <a:gd name="T65" fmla="*/ 90 h 342"/>
                    <a:gd name="T66" fmla="*/ 1642 w 1649"/>
                    <a:gd name="T67" fmla="*/ 121 h 342"/>
                    <a:gd name="T68" fmla="*/ 1649 w 1649"/>
                    <a:gd name="T69" fmla="*/ 154 h 342"/>
                    <a:gd name="T70" fmla="*/ 1649 w 1649"/>
                    <a:gd name="T71" fmla="*/ 172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9" h="342">
                      <a:moveTo>
                        <a:pt x="1649" y="172"/>
                      </a:moveTo>
                      <a:lnTo>
                        <a:pt x="1649" y="172"/>
                      </a:lnTo>
                      <a:lnTo>
                        <a:pt x="1649" y="189"/>
                      </a:lnTo>
                      <a:lnTo>
                        <a:pt x="1646" y="206"/>
                      </a:lnTo>
                      <a:lnTo>
                        <a:pt x="1642" y="222"/>
                      </a:lnTo>
                      <a:lnTo>
                        <a:pt x="1636" y="237"/>
                      </a:lnTo>
                      <a:lnTo>
                        <a:pt x="1628" y="252"/>
                      </a:lnTo>
                      <a:lnTo>
                        <a:pt x="1620" y="267"/>
                      </a:lnTo>
                      <a:lnTo>
                        <a:pt x="1610" y="280"/>
                      </a:lnTo>
                      <a:lnTo>
                        <a:pt x="1600" y="293"/>
                      </a:lnTo>
                      <a:lnTo>
                        <a:pt x="1587" y="303"/>
                      </a:lnTo>
                      <a:lnTo>
                        <a:pt x="1574" y="313"/>
                      </a:lnTo>
                      <a:lnTo>
                        <a:pt x="1560" y="321"/>
                      </a:lnTo>
                      <a:lnTo>
                        <a:pt x="1545" y="328"/>
                      </a:lnTo>
                      <a:lnTo>
                        <a:pt x="1529" y="334"/>
                      </a:lnTo>
                      <a:lnTo>
                        <a:pt x="1513" y="339"/>
                      </a:lnTo>
                      <a:lnTo>
                        <a:pt x="1496" y="341"/>
                      </a:lnTo>
                      <a:lnTo>
                        <a:pt x="1479" y="342"/>
                      </a:lnTo>
                      <a:lnTo>
                        <a:pt x="171" y="342"/>
                      </a:lnTo>
                      <a:lnTo>
                        <a:pt x="171" y="342"/>
                      </a:lnTo>
                      <a:lnTo>
                        <a:pt x="154" y="341"/>
                      </a:lnTo>
                      <a:lnTo>
                        <a:pt x="136" y="339"/>
                      </a:lnTo>
                      <a:lnTo>
                        <a:pt x="120" y="334"/>
                      </a:lnTo>
                      <a:lnTo>
                        <a:pt x="105" y="328"/>
                      </a:lnTo>
                      <a:lnTo>
                        <a:pt x="90" y="321"/>
                      </a:lnTo>
                      <a:lnTo>
                        <a:pt x="75" y="313"/>
                      </a:lnTo>
                      <a:lnTo>
                        <a:pt x="63" y="303"/>
                      </a:lnTo>
                      <a:lnTo>
                        <a:pt x="50" y="293"/>
                      </a:lnTo>
                      <a:lnTo>
                        <a:pt x="40" y="280"/>
                      </a:lnTo>
                      <a:lnTo>
                        <a:pt x="29" y="267"/>
                      </a:lnTo>
                      <a:lnTo>
                        <a:pt x="21" y="252"/>
                      </a:lnTo>
                      <a:lnTo>
                        <a:pt x="14" y="237"/>
                      </a:lnTo>
                      <a:lnTo>
                        <a:pt x="8" y="222"/>
                      </a:lnTo>
                      <a:lnTo>
                        <a:pt x="4" y="206"/>
                      </a:lnTo>
                      <a:lnTo>
                        <a:pt x="2" y="189"/>
                      </a:lnTo>
                      <a:lnTo>
                        <a:pt x="0" y="172"/>
                      </a:lnTo>
                      <a:lnTo>
                        <a:pt x="0" y="172"/>
                      </a:lnTo>
                      <a:lnTo>
                        <a:pt x="2" y="154"/>
                      </a:lnTo>
                      <a:lnTo>
                        <a:pt x="4" y="137"/>
                      </a:lnTo>
                      <a:lnTo>
                        <a:pt x="8" y="121"/>
                      </a:lnTo>
                      <a:lnTo>
                        <a:pt x="14" y="105"/>
                      </a:lnTo>
                      <a:lnTo>
                        <a:pt x="21" y="90"/>
                      </a:lnTo>
                      <a:lnTo>
                        <a:pt x="29" y="76"/>
                      </a:lnTo>
                      <a:lnTo>
                        <a:pt x="40" y="62"/>
                      </a:lnTo>
                      <a:lnTo>
                        <a:pt x="50" y="51"/>
                      </a:lnTo>
                      <a:lnTo>
                        <a:pt x="63" y="39"/>
                      </a:lnTo>
                      <a:lnTo>
                        <a:pt x="75" y="30"/>
                      </a:lnTo>
                      <a:lnTo>
                        <a:pt x="90" y="21"/>
                      </a:lnTo>
                      <a:lnTo>
                        <a:pt x="105" y="14"/>
                      </a:lnTo>
                      <a:lnTo>
                        <a:pt x="120" y="8"/>
                      </a:lnTo>
                      <a:lnTo>
                        <a:pt x="136" y="4"/>
                      </a:lnTo>
                      <a:lnTo>
                        <a:pt x="154" y="1"/>
                      </a:lnTo>
                      <a:lnTo>
                        <a:pt x="171" y="0"/>
                      </a:lnTo>
                      <a:lnTo>
                        <a:pt x="1479" y="0"/>
                      </a:lnTo>
                      <a:lnTo>
                        <a:pt x="1479" y="0"/>
                      </a:lnTo>
                      <a:lnTo>
                        <a:pt x="1496" y="1"/>
                      </a:lnTo>
                      <a:lnTo>
                        <a:pt x="1513" y="4"/>
                      </a:lnTo>
                      <a:lnTo>
                        <a:pt x="1529" y="8"/>
                      </a:lnTo>
                      <a:lnTo>
                        <a:pt x="1545" y="14"/>
                      </a:lnTo>
                      <a:lnTo>
                        <a:pt x="1560" y="21"/>
                      </a:lnTo>
                      <a:lnTo>
                        <a:pt x="1574" y="30"/>
                      </a:lnTo>
                      <a:lnTo>
                        <a:pt x="1587" y="39"/>
                      </a:lnTo>
                      <a:lnTo>
                        <a:pt x="1600" y="51"/>
                      </a:lnTo>
                      <a:lnTo>
                        <a:pt x="1610" y="62"/>
                      </a:lnTo>
                      <a:lnTo>
                        <a:pt x="1620" y="76"/>
                      </a:lnTo>
                      <a:lnTo>
                        <a:pt x="1628" y="90"/>
                      </a:lnTo>
                      <a:lnTo>
                        <a:pt x="1636" y="105"/>
                      </a:lnTo>
                      <a:lnTo>
                        <a:pt x="1642" y="121"/>
                      </a:lnTo>
                      <a:lnTo>
                        <a:pt x="1646" y="137"/>
                      </a:lnTo>
                      <a:lnTo>
                        <a:pt x="1649" y="154"/>
                      </a:lnTo>
                      <a:lnTo>
                        <a:pt x="1649" y="172"/>
                      </a:lnTo>
                      <a:lnTo>
                        <a:pt x="1649" y="172"/>
                      </a:lnTo>
                      <a:close/>
                    </a:path>
                  </a:pathLst>
                </a:custGeom>
                <a:solidFill>
                  <a:srgbClr val="EC8B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91" name="Freeform 236"/>
                <p:cNvSpPr>
                  <a:spLocks/>
                </p:cNvSpPr>
                <p:nvPr/>
              </p:nvSpPr>
              <p:spPr bwMode="auto">
                <a:xfrm>
                  <a:off x="4203700" y="4433888"/>
                  <a:ext cx="400050" cy="101600"/>
                </a:xfrm>
                <a:custGeom>
                  <a:avLst/>
                  <a:gdLst>
                    <a:gd name="T0" fmla="*/ 1769 w 1769"/>
                    <a:gd name="T1" fmla="*/ 223 h 446"/>
                    <a:gd name="T2" fmla="*/ 1765 w 1769"/>
                    <a:gd name="T3" fmla="*/ 268 h 446"/>
                    <a:gd name="T4" fmla="*/ 1752 w 1769"/>
                    <a:gd name="T5" fmla="*/ 309 h 446"/>
                    <a:gd name="T6" fmla="*/ 1731 w 1769"/>
                    <a:gd name="T7" fmla="*/ 347 h 446"/>
                    <a:gd name="T8" fmla="*/ 1704 w 1769"/>
                    <a:gd name="T9" fmla="*/ 381 h 446"/>
                    <a:gd name="T10" fmla="*/ 1670 w 1769"/>
                    <a:gd name="T11" fmla="*/ 408 h 446"/>
                    <a:gd name="T12" fmla="*/ 1633 w 1769"/>
                    <a:gd name="T13" fmla="*/ 429 h 446"/>
                    <a:gd name="T14" fmla="*/ 1591 w 1769"/>
                    <a:gd name="T15" fmla="*/ 442 h 446"/>
                    <a:gd name="T16" fmla="*/ 1546 w 1769"/>
                    <a:gd name="T17" fmla="*/ 446 h 446"/>
                    <a:gd name="T18" fmla="*/ 223 w 1769"/>
                    <a:gd name="T19" fmla="*/ 446 h 446"/>
                    <a:gd name="T20" fmla="*/ 178 w 1769"/>
                    <a:gd name="T21" fmla="*/ 442 h 446"/>
                    <a:gd name="T22" fmla="*/ 137 w 1769"/>
                    <a:gd name="T23" fmla="*/ 429 h 446"/>
                    <a:gd name="T24" fmla="*/ 99 w 1769"/>
                    <a:gd name="T25" fmla="*/ 408 h 446"/>
                    <a:gd name="T26" fmla="*/ 65 w 1769"/>
                    <a:gd name="T27" fmla="*/ 381 h 446"/>
                    <a:gd name="T28" fmla="*/ 38 w 1769"/>
                    <a:gd name="T29" fmla="*/ 347 h 446"/>
                    <a:gd name="T30" fmla="*/ 17 w 1769"/>
                    <a:gd name="T31" fmla="*/ 309 h 446"/>
                    <a:gd name="T32" fmla="*/ 4 w 1769"/>
                    <a:gd name="T33" fmla="*/ 268 h 446"/>
                    <a:gd name="T34" fmla="*/ 0 w 1769"/>
                    <a:gd name="T35" fmla="*/ 223 h 446"/>
                    <a:gd name="T36" fmla="*/ 1 w 1769"/>
                    <a:gd name="T37" fmla="*/ 200 h 446"/>
                    <a:gd name="T38" fmla="*/ 10 w 1769"/>
                    <a:gd name="T39" fmla="*/ 156 h 446"/>
                    <a:gd name="T40" fmla="*/ 27 w 1769"/>
                    <a:gd name="T41" fmla="*/ 117 h 446"/>
                    <a:gd name="T42" fmla="*/ 50 w 1769"/>
                    <a:gd name="T43" fmla="*/ 81 h 446"/>
                    <a:gd name="T44" fmla="*/ 82 w 1769"/>
                    <a:gd name="T45" fmla="*/ 50 h 446"/>
                    <a:gd name="T46" fmla="*/ 117 w 1769"/>
                    <a:gd name="T47" fmla="*/ 26 h 446"/>
                    <a:gd name="T48" fmla="*/ 156 w 1769"/>
                    <a:gd name="T49" fmla="*/ 10 h 446"/>
                    <a:gd name="T50" fmla="*/ 200 w 1769"/>
                    <a:gd name="T51" fmla="*/ 1 h 446"/>
                    <a:gd name="T52" fmla="*/ 1546 w 1769"/>
                    <a:gd name="T53" fmla="*/ 0 h 446"/>
                    <a:gd name="T54" fmla="*/ 1569 w 1769"/>
                    <a:gd name="T55" fmla="*/ 1 h 446"/>
                    <a:gd name="T56" fmla="*/ 1613 w 1769"/>
                    <a:gd name="T57" fmla="*/ 10 h 446"/>
                    <a:gd name="T58" fmla="*/ 1652 w 1769"/>
                    <a:gd name="T59" fmla="*/ 26 h 446"/>
                    <a:gd name="T60" fmla="*/ 1688 w 1769"/>
                    <a:gd name="T61" fmla="*/ 50 h 446"/>
                    <a:gd name="T62" fmla="*/ 1719 w 1769"/>
                    <a:gd name="T63" fmla="*/ 81 h 446"/>
                    <a:gd name="T64" fmla="*/ 1742 w 1769"/>
                    <a:gd name="T65" fmla="*/ 117 h 446"/>
                    <a:gd name="T66" fmla="*/ 1759 w 1769"/>
                    <a:gd name="T67" fmla="*/ 156 h 446"/>
                    <a:gd name="T68" fmla="*/ 1768 w 1769"/>
                    <a:gd name="T69" fmla="*/ 200 h 446"/>
                    <a:gd name="T70" fmla="*/ 1769 w 1769"/>
                    <a:gd name="T71" fmla="*/ 22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69" h="446">
                      <a:moveTo>
                        <a:pt x="1769" y="223"/>
                      </a:moveTo>
                      <a:lnTo>
                        <a:pt x="1769" y="223"/>
                      </a:lnTo>
                      <a:lnTo>
                        <a:pt x="1768" y="246"/>
                      </a:lnTo>
                      <a:lnTo>
                        <a:pt x="1765" y="268"/>
                      </a:lnTo>
                      <a:lnTo>
                        <a:pt x="1759" y="290"/>
                      </a:lnTo>
                      <a:lnTo>
                        <a:pt x="1752" y="309"/>
                      </a:lnTo>
                      <a:lnTo>
                        <a:pt x="1742" y="329"/>
                      </a:lnTo>
                      <a:lnTo>
                        <a:pt x="1731" y="347"/>
                      </a:lnTo>
                      <a:lnTo>
                        <a:pt x="1719" y="365"/>
                      </a:lnTo>
                      <a:lnTo>
                        <a:pt x="1704" y="381"/>
                      </a:lnTo>
                      <a:lnTo>
                        <a:pt x="1688" y="396"/>
                      </a:lnTo>
                      <a:lnTo>
                        <a:pt x="1670" y="408"/>
                      </a:lnTo>
                      <a:lnTo>
                        <a:pt x="1652" y="419"/>
                      </a:lnTo>
                      <a:lnTo>
                        <a:pt x="1633" y="429"/>
                      </a:lnTo>
                      <a:lnTo>
                        <a:pt x="1613" y="436"/>
                      </a:lnTo>
                      <a:lnTo>
                        <a:pt x="1591" y="442"/>
                      </a:lnTo>
                      <a:lnTo>
                        <a:pt x="1569" y="445"/>
                      </a:lnTo>
                      <a:lnTo>
                        <a:pt x="1546" y="446"/>
                      </a:lnTo>
                      <a:lnTo>
                        <a:pt x="223" y="446"/>
                      </a:lnTo>
                      <a:lnTo>
                        <a:pt x="223" y="446"/>
                      </a:lnTo>
                      <a:lnTo>
                        <a:pt x="200" y="445"/>
                      </a:lnTo>
                      <a:lnTo>
                        <a:pt x="178" y="442"/>
                      </a:lnTo>
                      <a:lnTo>
                        <a:pt x="156" y="436"/>
                      </a:lnTo>
                      <a:lnTo>
                        <a:pt x="137" y="429"/>
                      </a:lnTo>
                      <a:lnTo>
                        <a:pt x="117" y="419"/>
                      </a:lnTo>
                      <a:lnTo>
                        <a:pt x="99" y="408"/>
                      </a:lnTo>
                      <a:lnTo>
                        <a:pt x="82" y="396"/>
                      </a:lnTo>
                      <a:lnTo>
                        <a:pt x="65" y="381"/>
                      </a:lnTo>
                      <a:lnTo>
                        <a:pt x="50" y="365"/>
                      </a:lnTo>
                      <a:lnTo>
                        <a:pt x="38" y="347"/>
                      </a:lnTo>
                      <a:lnTo>
                        <a:pt x="27" y="329"/>
                      </a:lnTo>
                      <a:lnTo>
                        <a:pt x="17" y="309"/>
                      </a:lnTo>
                      <a:lnTo>
                        <a:pt x="10" y="290"/>
                      </a:lnTo>
                      <a:lnTo>
                        <a:pt x="4" y="268"/>
                      </a:lnTo>
                      <a:lnTo>
                        <a:pt x="1" y="246"/>
                      </a:lnTo>
                      <a:lnTo>
                        <a:pt x="0" y="223"/>
                      </a:lnTo>
                      <a:lnTo>
                        <a:pt x="0" y="223"/>
                      </a:lnTo>
                      <a:lnTo>
                        <a:pt x="1" y="200"/>
                      </a:lnTo>
                      <a:lnTo>
                        <a:pt x="4" y="178"/>
                      </a:lnTo>
                      <a:lnTo>
                        <a:pt x="10" y="156"/>
                      </a:lnTo>
                      <a:lnTo>
                        <a:pt x="17" y="135"/>
                      </a:lnTo>
                      <a:lnTo>
                        <a:pt x="27" y="117"/>
                      </a:lnTo>
                      <a:lnTo>
                        <a:pt x="38" y="99"/>
                      </a:lnTo>
                      <a:lnTo>
                        <a:pt x="50" y="81"/>
                      </a:lnTo>
                      <a:lnTo>
                        <a:pt x="65" y="65"/>
                      </a:lnTo>
                      <a:lnTo>
                        <a:pt x="82" y="50"/>
                      </a:lnTo>
                      <a:lnTo>
                        <a:pt x="99" y="38"/>
                      </a:lnTo>
                      <a:lnTo>
                        <a:pt x="117" y="26"/>
                      </a:lnTo>
                      <a:lnTo>
                        <a:pt x="137" y="17"/>
                      </a:lnTo>
                      <a:lnTo>
                        <a:pt x="156" y="10"/>
                      </a:lnTo>
                      <a:lnTo>
                        <a:pt x="178" y="4"/>
                      </a:lnTo>
                      <a:lnTo>
                        <a:pt x="200" y="1"/>
                      </a:lnTo>
                      <a:lnTo>
                        <a:pt x="223" y="0"/>
                      </a:lnTo>
                      <a:lnTo>
                        <a:pt x="1546" y="0"/>
                      </a:lnTo>
                      <a:lnTo>
                        <a:pt x="1546" y="0"/>
                      </a:lnTo>
                      <a:lnTo>
                        <a:pt x="1569" y="1"/>
                      </a:lnTo>
                      <a:lnTo>
                        <a:pt x="1591" y="4"/>
                      </a:lnTo>
                      <a:lnTo>
                        <a:pt x="1613" y="10"/>
                      </a:lnTo>
                      <a:lnTo>
                        <a:pt x="1633" y="17"/>
                      </a:lnTo>
                      <a:lnTo>
                        <a:pt x="1652" y="26"/>
                      </a:lnTo>
                      <a:lnTo>
                        <a:pt x="1670" y="38"/>
                      </a:lnTo>
                      <a:lnTo>
                        <a:pt x="1688" y="50"/>
                      </a:lnTo>
                      <a:lnTo>
                        <a:pt x="1704" y="65"/>
                      </a:lnTo>
                      <a:lnTo>
                        <a:pt x="1719" y="81"/>
                      </a:lnTo>
                      <a:lnTo>
                        <a:pt x="1731" y="99"/>
                      </a:lnTo>
                      <a:lnTo>
                        <a:pt x="1742" y="117"/>
                      </a:lnTo>
                      <a:lnTo>
                        <a:pt x="1752" y="135"/>
                      </a:lnTo>
                      <a:lnTo>
                        <a:pt x="1759" y="156"/>
                      </a:lnTo>
                      <a:lnTo>
                        <a:pt x="1765" y="178"/>
                      </a:lnTo>
                      <a:lnTo>
                        <a:pt x="1768" y="200"/>
                      </a:lnTo>
                      <a:lnTo>
                        <a:pt x="1769" y="223"/>
                      </a:lnTo>
                      <a:lnTo>
                        <a:pt x="1769" y="223"/>
                      </a:lnTo>
                      <a:close/>
                    </a:path>
                  </a:pathLst>
                </a:custGeom>
                <a:solidFill>
                  <a:srgbClr val="FFAF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92" name="Freeform 237"/>
                <p:cNvSpPr>
                  <a:spLocks/>
                </p:cNvSpPr>
                <p:nvPr/>
              </p:nvSpPr>
              <p:spPr bwMode="auto">
                <a:xfrm>
                  <a:off x="4606925" y="4370388"/>
                  <a:ext cx="319088" cy="80963"/>
                </a:xfrm>
                <a:custGeom>
                  <a:avLst/>
                  <a:gdLst>
                    <a:gd name="T0" fmla="*/ 1408 w 1408"/>
                    <a:gd name="T1" fmla="*/ 177 h 356"/>
                    <a:gd name="T2" fmla="*/ 1404 w 1408"/>
                    <a:gd name="T3" fmla="*/ 214 h 356"/>
                    <a:gd name="T4" fmla="*/ 1394 w 1408"/>
                    <a:gd name="T5" fmla="*/ 246 h 356"/>
                    <a:gd name="T6" fmla="*/ 1378 w 1408"/>
                    <a:gd name="T7" fmla="*/ 277 h 356"/>
                    <a:gd name="T8" fmla="*/ 1356 w 1408"/>
                    <a:gd name="T9" fmla="*/ 304 h 356"/>
                    <a:gd name="T10" fmla="*/ 1330 w 1408"/>
                    <a:gd name="T11" fmla="*/ 325 h 356"/>
                    <a:gd name="T12" fmla="*/ 1300 w 1408"/>
                    <a:gd name="T13" fmla="*/ 342 h 356"/>
                    <a:gd name="T14" fmla="*/ 1266 w 1408"/>
                    <a:gd name="T15" fmla="*/ 352 h 356"/>
                    <a:gd name="T16" fmla="*/ 1231 w 1408"/>
                    <a:gd name="T17" fmla="*/ 356 h 356"/>
                    <a:gd name="T18" fmla="*/ 177 w 1408"/>
                    <a:gd name="T19" fmla="*/ 356 h 356"/>
                    <a:gd name="T20" fmla="*/ 141 w 1408"/>
                    <a:gd name="T21" fmla="*/ 352 h 356"/>
                    <a:gd name="T22" fmla="*/ 108 w 1408"/>
                    <a:gd name="T23" fmla="*/ 342 h 356"/>
                    <a:gd name="T24" fmla="*/ 78 w 1408"/>
                    <a:gd name="T25" fmla="*/ 325 h 356"/>
                    <a:gd name="T26" fmla="*/ 52 w 1408"/>
                    <a:gd name="T27" fmla="*/ 304 h 356"/>
                    <a:gd name="T28" fmla="*/ 30 w 1408"/>
                    <a:gd name="T29" fmla="*/ 277 h 356"/>
                    <a:gd name="T30" fmla="*/ 14 w 1408"/>
                    <a:gd name="T31" fmla="*/ 246 h 356"/>
                    <a:gd name="T32" fmla="*/ 3 w 1408"/>
                    <a:gd name="T33" fmla="*/ 214 h 356"/>
                    <a:gd name="T34" fmla="*/ 0 w 1408"/>
                    <a:gd name="T35" fmla="*/ 177 h 356"/>
                    <a:gd name="T36" fmla="*/ 1 w 1408"/>
                    <a:gd name="T37" fmla="*/ 160 h 356"/>
                    <a:gd name="T38" fmla="*/ 8 w 1408"/>
                    <a:gd name="T39" fmla="*/ 125 h 356"/>
                    <a:gd name="T40" fmla="*/ 22 w 1408"/>
                    <a:gd name="T41" fmla="*/ 93 h 356"/>
                    <a:gd name="T42" fmla="*/ 40 w 1408"/>
                    <a:gd name="T43" fmla="*/ 64 h 356"/>
                    <a:gd name="T44" fmla="*/ 64 w 1408"/>
                    <a:gd name="T45" fmla="*/ 40 h 356"/>
                    <a:gd name="T46" fmla="*/ 93 w 1408"/>
                    <a:gd name="T47" fmla="*/ 22 h 356"/>
                    <a:gd name="T48" fmla="*/ 124 w 1408"/>
                    <a:gd name="T49" fmla="*/ 8 h 356"/>
                    <a:gd name="T50" fmla="*/ 160 w 1408"/>
                    <a:gd name="T51" fmla="*/ 1 h 356"/>
                    <a:gd name="T52" fmla="*/ 1231 w 1408"/>
                    <a:gd name="T53" fmla="*/ 0 h 356"/>
                    <a:gd name="T54" fmla="*/ 1249 w 1408"/>
                    <a:gd name="T55" fmla="*/ 1 h 356"/>
                    <a:gd name="T56" fmla="*/ 1284 w 1408"/>
                    <a:gd name="T57" fmla="*/ 8 h 356"/>
                    <a:gd name="T58" fmla="*/ 1315 w 1408"/>
                    <a:gd name="T59" fmla="*/ 22 h 356"/>
                    <a:gd name="T60" fmla="*/ 1343 w 1408"/>
                    <a:gd name="T61" fmla="*/ 40 h 356"/>
                    <a:gd name="T62" fmla="*/ 1368 w 1408"/>
                    <a:gd name="T63" fmla="*/ 64 h 356"/>
                    <a:gd name="T64" fmla="*/ 1387 w 1408"/>
                    <a:gd name="T65" fmla="*/ 93 h 356"/>
                    <a:gd name="T66" fmla="*/ 1400 w 1408"/>
                    <a:gd name="T67" fmla="*/ 125 h 356"/>
                    <a:gd name="T68" fmla="*/ 1407 w 1408"/>
                    <a:gd name="T69" fmla="*/ 160 h 356"/>
                    <a:gd name="T70" fmla="*/ 1408 w 1408"/>
                    <a:gd name="T71" fmla="*/ 17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08" h="356">
                      <a:moveTo>
                        <a:pt x="1408" y="177"/>
                      </a:moveTo>
                      <a:lnTo>
                        <a:pt x="1408" y="177"/>
                      </a:lnTo>
                      <a:lnTo>
                        <a:pt x="1407" y="196"/>
                      </a:lnTo>
                      <a:lnTo>
                        <a:pt x="1404" y="214"/>
                      </a:lnTo>
                      <a:lnTo>
                        <a:pt x="1400" y="230"/>
                      </a:lnTo>
                      <a:lnTo>
                        <a:pt x="1394" y="246"/>
                      </a:lnTo>
                      <a:lnTo>
                        <a:pt x="1387" y="262"/>
                      </a:lnTo>
                      <a:lnTo>
                        <a:pt x="1378" y="277"/>
                      </a:lnTo>
                      <a:lnTo>
                        <a:pt x="1368" y="291"/>
                      </a:lnTo>
                      <a:lnTo>
                        <a:pt x="1356" y="304"/>
                      </a:lnTo>
                      <a:lnTo>
                        <a:pt x="1343" y="314"/>
                      </a:lnTo>
                      <a:lnTo>
                        <a:pt x="1330" y="325"/>
                      </a:lnTo>
                      <a:lnTo>
                        <a:pt x="1315" y="334"/>
                      </a:lnTo>
                      <a:lnTo>
                        <a:pt x="1300" y="342"/>
                      </a:lnTo>
                      <a:lnTo>
                        <a:pt x="1284" y="348"/>
                      </a:lnTo>
                      <a:lnTo>
                        <a:pt x="1266" y="352"/>
                      </a:lnTo>
                      <a:lnTo>
                        <a:pt x="1249" y="355"/>
                      </a:lnTo>
                      <a:lnTo>
                        <a:pt x="1231" y="356"/>
                      </a:lnTo>
                      <a:lnTo>
                        <a:pt x="177" y="356"/>
                      </a:lnTo>
                      <a:lnTo>
                        <a:pt x="177" y="356"/>
                      </a:lnTo>
                      <a:lnTo>
                        <a:pt x="160" y="355"/>
                      </a:lnTo>
                      <a:lnTo>
                        <a:pt x="141" y="352"/>
                      </a:lnTo>
                      <a:lnTo>
                        <a:pt x="124" y="348"/>
                      </a:lnTo>
                      <a:lnTo>
                        <a:pt x="108" y="342"/>
                      </a:lnTo>
                      <a:lnTo>
                        <a:pt x="93" y="334"/>
                      </a:lnTo>
                      <a:lnTo>
                        <a:pt x="78" y="325"/>
                      </a:lnTo>
                      <a:lnTo>
                        <a:pt x="64" y="314"/>
                      </a:lnTo>
                      <a:lnTo>
                        <a:pt x="52" y="304"/>
                      </a:lnTo>
                      <a:lnTo>
                        <a:pt x="40" y="291"/>
                      </a:lnTo>
                      <a:lnTo>
                        <a:pt x="30" y="277"/>
                      </a:lnTo>
                      <a:lnTo>
                        <a:pt x="22" y="262"/>
                      </a:lnTo>
                      <a:lnTo>
                        <a:pt x="14" y="246"/>
                      </a:lnTo>
                      <a:lnTo>
                        <a:pt x="8" y="230"/>
                      </a:lnTo>
                      <a:lnTo>
                        <a:pt x="3" y="214"/>
                      </a:lnTo>
                      <a:lnTo>
                        <a:pt x="1" y="196"/>
                      </a:lnTo>
                      <a:lnTo>
                        <a:pt x="0" y="177"/>
                      </a:lnTo>
                      <a:lnTo>
                        <a:pt x="0" y="177"/>
                      </a:lnTo>
                      <a:lnTo>
                        <a:pt x="1" y="160"/>
                      </a:lnTo>
                      <a:lnTo>
                        <a:pt x="3" y="142"/>
                      </a:lnTo>
                      <a:lnTo>
                        <a:pt x="8" y="125"/>
                      </a:lnTo>
                      <a:lnTo>
                        <a:pt x="14" y="108"/>
                      </a:lnTo>
                      <a:lnTo>
                        <a:pt x="22" y="93"/>
                      </a:lnTo>
                      <a:lnTo>
                        <a:pt x="30" y="78"/>
                      </a:lnTo>
                      <a:lnTo>
                        <a:pt x="40" y="64"/>
                      </a:lnTo>
                      <a:lnTo>
                        <a:pt x="52" y="52"/>
                      </a:lnTo>
                      <a:lnTo>
                        <a:pt x="64" y="40"/>
                      </a:lnTo>
                      <a:lnTo>
                        <a:pt x="78" y="30"/>
                      </a:lnTo>
                      <a:lnTo>
                        <a:pt x="93" y="22"/>
                      </a:lnTo>
                      <a:lnTo>
                        <a:pt x="108" y="14"/>
                      </a:lnTo>
                      <a:lnTo>
                        <a:pt x="124" y="8"/>
                      </a:lnTo>
                      <a:lnTo>
                        <a:pt x="141" y="3"/>
                      </a:lnTo>
                      <a:lnTo>
                        <a:pt x="160" y="1"/>
                      </a:lnTo>
                      <a:lnTo>
                        <a:pt x="177" y="0"/>
                      </a:lnTo>
                      <a:lnTo>
                        <a:pt x="1231" y="0"/>
                      </a:lnTo>
                      <a:lnTo>
                        <a:pt x="1231" y="0"/>
                      </a:lnTo>
                      <a:lnTo>
                        <a:pt x="1249" y="1"/>
                      </a:lnTo>
                      <a:lnTo>
                        <a:pt x="1266" y="3"/>
                      </a:lnTo>
                      <a:lnTo>
                        <a:pt x="1284" y="8"/>
                      </a:lnTo>
                      <a:lnTo>
                        <a:pt x="1300" y="14"/>
                      </a:lnTo>
                      <a:lnTo>
                        <a:pt x="1315" y="22"/>
                      </a:lnTo>
                      <a:lnTo>
                        <a:pt x="1330" y="30"/>
                      </a:lnTo>
                      <a:lnTo>
                        <a:pt x="1343" y="40"/>
                      </a:lnTo>
                      <a:lnTo>
                        <a:pt x="1356" y="52"/>
                      </a:lnTo>
                      <a:lnTo>
                        <a:pt x="1368" y="64"/>
                      </a:lnTo>
                      <a:lnTo>
                        <a:pt x="1378" y="78"/>
                      </a:lnTo>
                      <a:lnTo>
                        <a:pt x="1387" y="93"/>
                      </a:lnTo>
                      <a:lnTo>
                        <a:pt x="1394" y="108"/>
                      </a:lnTo>
                      <a:lnTo>
                        <a:pt x="1400" y="125"/>
                      </a:lnTo>
                      <a:lnTo>
                        <a:pt x="1404" y="142"/>
                      </a:lnTo>
                      <a:lnTo>
                        <a:pt x="1407" y="160"/>
                      </a:lnTo>
                      <a:lnTo>
                        <a:pt x="1408" y="177"/>
                      </a:lnTo>
                      <a:lnTo>
                        <a:pt x="1408" y="177"/>
                      </a:lnTo>
                      <a:close/>
                    </a:path>
                  </a:pathLst>
                </a:custGeom>
                <a:solidFill>
                  <a:srgbClr val="EC8B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93" name="Freeform 238"/>
                <p:cNvSpPr>
                  <a:spLocks/>
                </p:cNvSpPr>
                <p:nvPr/>
              </p:nvSpPr>
              <p:spPr bwMode="auto">
                <a:xfrm>
                  <a:off x="4922838" y="4611688"/>
                  <a:ext cx="347663" cy="71438"/>
                </a:xfrm>
                <a:custGeom>
                  <a:avLst/>
                  <a:gdLst>
                    <a:gd name="T0" fmla="*/ 1533 w 1533"/>
                    <a:gd name="T1" fmla="*/ 158 h 317"/>
                    <a:gd name="T2" fmla="*/ 1530 w 1533"/>
                    <a:gd name="T3" fmla="*/ 191 h 317"/>
                    <a:gd name="T4" fmla="*/ 1521 w 1533"/>
                    <a:gd name="T5" fmla="*/ 221 h 317"/>
                    <a:gd name="T6" fmla="*/ 1507 w 1533"/>
                    <a:gd name="T7" fmla="*/ 248 h 317"/>
                    <a:gd name="T8" fmla="*/ 1487 w 1533"/>
                    <a:gd name="T9" fmla="*/ 271 h 317"/>
                    <a:gd name="T10" fmla="*/ 1463 w 1533"/>
                    <a:gd name="T11" fmla="*/ 291 h 317"/>
                    <a:gd name="T12" fmla="*/ 1437 w 1533"/>
                    <a:gd name="T13" fmla="*/ 306 h 317"/>
                    <a:gd name="T14" fmla="*/ 1407 w 1533"/>
                    <a:gd name="T15" fmla="*/ 315 h 317"/>
                    <a:gd name="T16" fmla="*/ 1374 w 1533"/>
                    <a:gd name="T17" fmla="*/ 317 h 317"/>
                    <a:gd name="T18" fmla="*/ 159 w 1533"/>
                    <a:gd name="T19" fmla="*/ 317 h 317"/>
                    <a:gd name="T20" fmla="*/ 127 w 1533"/>
                    <a:gd name="T21" fmla="*/ 315 h 317"/>
                    <a:gd name="T22" fmla="*/ 97 w 1533"/>
                    <a:gd name="T23" fmla="*/ 306 h 317"/>
                    <a:gd name="T24" fmla="*/ 70 w 1533"/>
                    <a:gd name="T25" fmla="*/ 291 h 317"/>
                    <a:gd name="T26" fmla="*/ 47 w 1533"/>
                    <a:gd name="T27" fmla="*/ 271 h 317"/>
                    <a:gd name="T28" fmla="*/ 28 w 1533"/>
                    <a:gd name="T29" fmla="*/ 248 h 317"/>
                    <a:gd name="T30" fmla="*/ 13 w 1533"/>
                    <a:gd name="T31" fmla="*/ 221 h 317"/>
                    <a:gd name="T32" fmla="*/ 3 w 1533"/>
                    <a:gd name="T33" fmla="*/ 191 h 317"/>
                    <a:gd name="T34" fmla="*/ 0 w 1533"/>
                    <a:gd name="T35" fmla="*/ 158 h 317"/>
                    <a:gd name="T36" fmla="*/ 1 w 1533"/>
                    <a:gd name="T37" fmla="*/ 142 h 317"/>
                    <a:gd name="T38" fmla="*/ 7 w 1533"/>
                    <a:gd name="T39" fmla="*/ 111 h 317"/>
                    <a:gd name="T40" fmla="*/ 19 w 1533"/>
                    <a:gd name="T41" fmla="*/ 84 h 317"/>
                    <a:gd name="T42" fmla="*/ 37 w 1533"/>
                    <a:gd name="T43" fmla="*/ 58 h 317"/>
                    <a:gd name="T44" fmla="*/ 57 w 1533"/>
                    <a:gd name="T45" fmla="*/ 36 h 317"/>
                    <a:gd name="T46" fmla="*/ 83 w 1533"/>
                    <a:gd name="T47" fmla="*/ 19 h 317"/>
                    <a:gd name="T48" fmla="*/ 112 w 1533"/>
                    <a:gd name="T49" fmla="*/ 8 h 317"/>
                    <a:gd name="T50" fmla="*/ 143 w 1533"/>
                    <a:gd name="T51" fmla="*/ 1 h 317"/>
                    <a:gd name="T52" fmla="*/ 1374 w 1533"/>
                    <a:gd name="T53" fmla="*/ 0 h 317"/>
                    <a:gd name="T54" fmla="*/ 1391 w 1533"/>
                    <a:gd name="T55" fmla="*/ 1 h 317"/>
                    <a:gd name="T56" fmla="*/ 1422 w 1533"/>
                    <a:gd name="T57" fmla="*/ 8 h 317"/>
                    <a:gd name="T58" fmla="*/ 1450 w 1533"/>
                    <a:gd name="T59" fmla="*/ 19 h 317"/>
                    <a:gd name="T60" fmla="*/ 1476 w 1533"/>
                    <a:gd name="T61" fmla="*/ 36 h 317"/>
                    <a:gd name="T62" fmla="*/ 1498 w 1533"/>
                    <a:gd name="T63" fmla="*/ 58 h 317"/>
                    <a:gd name="T64" fmla="*/ 1515 w 1533"/>
                    <a:gd name="T65" fmla="*/ 84 h 317"/>
                    <a:gd name="T66" fmla="*/ 1526 w 1533"/>
                    <a:gd name="T67" fmla="*/ 111 h 317"/>
                    <a:gd name="T68" fmla="*/ 1533 w 1533"/>
                    <a:gd name="T69" fmla="*/ 142 h 317"/>
                    <a:gd name="T70" fmla="*/ 1533 w 1533"/>
                    <a:gd name="T71" fmla="*/ 158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33" h="317">
                      <a:moveTo>
                        <a:pt x="1533" y="158"/>
                      </a:moveTo>
                      <a:lnTo>
                        <a:pt x="1533" y="158"/>
                      </a:lnTo>
                      <a:lnTo>
                        <a:pt x="1533" y="176"/>
                      </a:lnTo>
                      <a:lnTo>
                        <a:pt x="1530" y="191"/>
                      </a:lnTo>
                      <a:lnTo>
                        <a:pt x="1526" y="207"/>
                      </a:lnTo>
                      <a:lnTo>
                        <a:pt x="1521" y="221"/>
                      </a:lnTo>
                      <a:lnTo>
                        <a:pt x="1515" y="234"/>
                      </a:lnTo>
                      <a:lnTo>
                        <a:pt x="1507" y="248"/>
                      </a:lnTo>
                      <a:lnTo>
                        <a:pt x="1498" y="260"/>
                      </a:lnTo>
                      <a:lnTo>
                        <a:pt x="1487" y="271"/>
                      </a:lnTo>
                      <a:lnTo>
                        <a:pt x="1476" y="282"/>
                      </a:lnTo>
                      <a:lnTo>
                        <a:pt x="1463" y="291"/>
                      </a:lnTo>
                      <a:lnTo>
                        <a:pt x="1450" y="299"/>
                      </a:lnTo>
                      <a:lnTo>
                        <a:pt x="1437" y="306"/>
                      </a:lnTo>
                      <a:lnTo>
                        <a:pt x="1422" y="310"/>
                      </a:lnTo>
                      <a:lnTo>
                        <a:pt x="1407" y="315"/>
                      </a:lnTo>
                      <a:lnTo>
                        <a:pt x="1391" y="317"/>
                      </a:lnTo>
                      <a:lnTo>
                        <a:pt x="1374" y="317"/>
                      </a:lnTo>
                      <a:lnTo>
                        <a:pt x="159" y="317"/>
                      </a:lnTo>
                      <a:lnTo>
                        <a:pt x="159" y="317"/>
                      </a:lnTo>
                      <a:lnTo>
                        <a:pt x="143" y="317"/>
                      </a:lnTo>
                      <a:lnTo>
                        <a:pt x="127" y="315"/>
                      </a:lnTo>
                      <a:lnTo>
                        <a:pt x="112" y="310"/>
                      </a:lnTo>
                      <a:lnTo>
                        <a:pt x="97" y="306"/>
                      </a:lnTo>
                      <a:lnTo>
                        <a:pt x="83" y="299"/>
                      </a:lnTo>
                      <a:lnTo>
                        <a:pt x="70" y="291"/>
                      </a:lnTo>
                      <a:lnTo>
                        <a:pt x="57" y="282"/>
                      </a:lnTo>
                      <a:lnTo>
                        <a:pt x="47" y="271"/>
                      </a:lnTo>
                      <a:lnTo>
                        <a:pt x="37" y="260"/>
                      </a:lnTo>
                      <a:lnTo>
                        <a:pt x="28" y="248"/>
                      </a:lnTo>
                      <a:lnTo>
                        <a:pt x="19" y="234"/>
                      </a:lnTo>
                      <a:lnTo>
                        <a:pt x="13" y="221"/>
                      </a:lnTo>
                      <a:lnTo>
                        <a:pt x="7" y="207"/>
                      </a:lnTo>
                      <a:lnTo>
                        <a:pt x="3" y="191"/>
                      </a:lnTo>
                      <a:lnTo>
                        <a:pt x="1" y="176"/>
                      </a:lnTo>
                      <a:lnTo>
                        <a:pt x="0" y="158"/>
                      </a:lnTo>
                      <a:lnTo>
                        <a:pt x="0" y="158"/>
                      </a:lnTo>
                      <a:lnTo>
                        <a:pt x="1" y="142"/>
                      </a:lnTo>
                      <a:lnTo>
                        <a:pt x="3" y="127"/>
                      </a:lnTo>
                      <a:lnTo>
                        <a:pt x="7" y="111"/>
                      </a:lnTo>
                      <a:lnTo>
                        <a:pt x="13" y="97"/>
                      </a:lnTo>
                      <a:lnTo>
                        <a:pt x="19" y="84"/>
                      </a:lnTo>
                      <a:lnTo>
                        <a:pt x="28" y="70"/>
                      </a:lnTo>
                      <a:lnTo>
                        <a:pt x="37" y="58"/>
                      </a:lnTo>
                      <a:lnTo>
                        <a:pt x="47" y="47"/>
                      </a:lnTo>
                      <a:lnTo>
                        <a:pt x="57" y="36"/>
                      </a:lnTo>
                      <a:lnTo>
                        <a:pt x="70" y="27"/>
                      </a:lnTo>
                      <a:lnTo>
                        <a:pt x="83" y="19"/>
                      </a:lnTo>
                      <a:lnTo>
                        <a:pt x="97" y="12"/>
                      </a:lnTo>
                      <a:lnTo>
                        <a:pt x="112" y="8"/>
                      </a:lnTo>
                      <a:lnTo>
                        <a:pt x="127" y="3"/>
                      </a:lnTo>
                      <a:lnTo>
                        <a:pt x="143" y="1"/>
                      </a:lnTo>
                      <a:lnTo>
                        <a:pt x="159" y="0"/>
                      </a:lnTo>
                      <a:lnTo>
                        <a:pt x="1374" y="0"/>
                      </a:lnTo>
                      <a:lnTo>
                        <a:pt x="1374" y="0"/>
                      </a:lnTo>
                      <a:lnTo>
                        <a:pt x="1391" y="1"/>
                      </a:lnTo>
                      <a:lnTo>
                        <a:pt x="1407" y="3"/>
                      </a:lnTo>
                      <a:lnTo>
                        <a:pt x="1422" y="8"/>
                      </a:lnTo>
                      <a:lnTo>
                        <a:pt x="1437" y="12"/>
                      </a:lnTo>
                      <a:lnTo>
                        <a:pt x="1450" y="19"/>
                      </a:lnTo>
                      <a:lnTo>
                        <a:pt x="1463" y="27"/>
                      </a:lnTo>
                      <a:lnTo>
                        <a:pt x="1476" y="36"/>
                      </a:lnTo>
                      <a:lnTo>
                        <a:pt x="1487" y="47"/>
                      </a:lnTo>
                      <a:lnTo>
                        <a:pt x="1498" y="58"/>
                      </a:lnTo>
                      <a:lnTo>
                        <a:pt x="1507" y="70"/>
                      </a:lnTo>
                      <a:lnTo>
                        <a:pt x="1515" y="84"/>
                      </a:lnTo>
                      <a:lnTo>
                        <a:pt x="1521" y="97"/>
                      </a:lnTo>
                      <a:lnTo>
                        <a:pt x="1526" y="111"/>
                      </a:lnTo>
                      <a:lnTo>
                        <a:pt x="1530" y="127"/>
                      </a:lnTo>
                      <a:lnTo>
                        <a:pt x="1533" y="142"/>
                      </a:lnTo>
                      <a:lnTo>
                        <a:pt x="1533" y="158"/>
                      </a:lnTo>
                      <a:lnTo>
                        <a:pt x="1533" y="158"/>
                      </a:lnTo>
                      <a:close/>
                    </a:path>
                  </a:pathLst>
                </a:custGeom>
                <a:solidFill>
                  <a:srgbClr val="C968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294" name="그룹 293"/>
              <p:cNvGrpSpPr/>
              <p:nvPr userDrawn="1"/>
            </p:nvGrpSpPr>
            <p:grpSpPr>
              <a:xfrm>
                <a:off x="2332749" y="1537004"/>
                <a:ext cx="561684" cy="560952"/>
                <a:chOff x="4286250" y="2605088"/>
                <a:chExt cx="1217613" cy="1216025"/>
              </a:xfrm>
            </p:grpSpPr>
            <p:sp>
              <p:nvSpPr>
                <p:cNvPr id="295" name="Freeform 239"/>
                <p:cNvSpPr>
                  <a:spLocks/>
                </p:cNvSpPr>
                <p:nvPr/>
              </p:nvSpPr>
              <p:spPr bwMode="auto">
                <a:xfrm>
                  <a:off x="4286250" y="2605088"/>
                  <a:ext cx="1217613" cy="1216025"/>
                </a:xfrm>
                <a:custGeom>
                  <a:avLst/>
                  <a:gdLst>
                    <a:gd name="T0" fmla="*/ 5239 w 5366"/>
                    <a:gd name="T1" fmla="*/ 1874 h 5365"/>
                    <a:gd name="T2" fmla="*/ 5081 w 5366"/>
                    <a:gd name="T3" fmla="*/ 1485 h 5365"/>
                    <a:gd name="T4" fmla="*/ 4867 w 5366"/>
                    <a:gd name="T5" fmla="*/ 1128 h 5365"/>
                    <a:gd name="T6" fmla="*/ 4657 w 5366"/>
                    <a:gd name="T7" fmla="*/ 870 h 5365"/>
                    <a:gd name="T8" fmla="*/ 4571 w 5366"/>
                    <a:gd name="T9" fmla="*/ 783 h 5365"/>
                    <a:gd name="T10" fmla="*/ 4515 w 5366"/>
                    <a:gd name="T11" fmla="*/ 726 h 5365"/>
                    <a:gd name="T12" fmla="*/ 4249 w 5366"/>
                    <a:gd name="T13" fmla="*/ 507 h 5365"/>
                    <a:gd name="T14" fmla="*/ 4051 w 5366"/>
                    <a:gd name="T15" fmla="*/ 377 h 5365"/>
                    <a:gd name="T16" fmla="*/ 3894 w 5366"/>
                    <a:gd name="T17" fmla="*/ 291 h 5365"/>
                    <a:gd name="T18" fmla="*/ 3765 w 5366"/>
                    <a:gd name="T19" fmla="*/ 230 h 5365"/>
                    <a:gd name="T20" fmla="*/ 3436 w 5366"/>
                    <a:gd name="T21" fmla="*/ 110 h 5365"/>
                    <a:gd name="T22" fmla="*/ 3287 w 5366"/>
                    <a:gd name="T23" fmla="*/ 71 h 5365"/>
                    <a:gd name="T24" fmla="*/ 3097 w 5366"/>
                    <a:gd name="T25" fmla="*/ 34 h 5365"/>
                    <a:gd name="T26" fmla="*/ 2804 w 5366"/>
                    <a:gd name="T27" fmla="*/ 3 h 5365"/>
                    <a:gd name="T28" fmla="*/ 2546 w 5366"/>
                    <a:gd name="T29" fmla="*/ 3 h 5365"/>
                    <a:gd name="T30" fmla="*/ 2209 w 5366"/>
                    <a:gd name="T31" fmla="*/ 41 h 5365"/>
                    <a:gd name="T32" fmla="*/ 1886 w 5366"/>
                    <a:gd name="T33" fmla="*/ 121 h 5365"/>
                    <a:gd name="T34" fmla="*/ 1580 w 5366"/>
                    <a:gd name="T35" fmla="*/ 237 h 5365"/>
                    <a:gd name="T36" fmla="*/ 1292 w 5366"/>
                    <a:gd name="T37" fmla="*/ 388 h 5365"/>
                    <a:gd name="T38" fmla="*/ 1027 w 5366"/>
                    <a:gd name="T39" fmla="*/ 572 h 5365"/>
                    <a:gd name="T40" fmla="*/ 787 w 5366"/>
                    <a:gd name="T41" fmla="*/ 785 h 5365"/>
                    <a:gd name="T42" fmla="*/ 573 w 5366"/>
                    <a:gd name="T43" fmla="*/ 1027 h 5365"/>
                    <a:gd name="T44" fmla="*/ 390 w 5366"/>
                    <a:gd name="T45" fmla="*/ 1291 h 5365"/>
                    <a:gd name="T46" fmla="*/ 238 w 5366"/>
                    <a:gd name="T47" fmla="*/ 1578 h 5365"/>
                    <a:gd name="T48" fmla="*/ 121 w 5366"/>
                    <a:gd name="T49" fmla="*/ 1884 h 5365"/>
                    <a:gd name="T50" fmla="*/ 43 w 5366"/>
                    <a:gd name="T51" fmla="*/ 2208 h 5365"/>
                    <a:gd name="T52" fmla="*/ 4 w 5366"/>
                    <a:gd name="T53" fmla="*/ 2544 h 5365"/>
                    <a:gd name="T54" fmla="*/ 4 w 5366"/>
                    <a:gd name="T55" fmla="*/ 2820 h 5365"/>
                    <a:gd name="T56" fmla="*/ 43 w 5366"/>
                    <a:gd name="T57" fmla="*/ 3155 h 5365"/>
                    <a:gd name="T58" fmla="*/ 120 w 5366"/>
                    <a:gd name="T59" fmla="*/ 3477 h 5365"/>
                    <a:gd name="T60" fmla="*/ 236 w 5366"/>
                    <a:gd name="T61" fmla="*/ 3782 h 5365"/>
                    <a:gd name="T62" fmla="*/ 386 w 5366"/>
                    <a:gd name="T63" fmla="*/ 4068 h 5365"/>
                    <a:gd name="T64" fmla="*/ 569 w 5366"/>
                    <a:gd name="T65" fmla="*/ 4333 h 5365"/>
                    <a:gd name="T66" fmla="*/ 781 w 5366"/>
                    <a:gd name="T67" fmla="*/ 4573 h 5365"/>
                    <a:gd name="T68" fmla="*/ 972 w 5366"/>
                    <a:gd name="T69" fmla="*/ 4748 h 5365"/>
                    <a:gd name="T70" fmla="*/ 1232 w 5366"/>
                    <a:gd name="T71" fmla="*/ 4939 h 5365"/>
                    <a:gd name="T72" fmla="*/ 1517 w 5366"/>
                    <a:gd name="T73" fmla="*/ 5099 h 5365"/>
                    <a:gd name="T74" fmla="*/ 1819 w 5366"/>
                    <a:gd name="T75" fmla="*/ 5223 h 5365"/>
                    <a:gd name="T76" fmla="*/ 2141 w 5366"/>
                    <a:gd name="T77" fmla="*/ 5311 h 5365"/>
                    <a:gd name="T78" fmla="*/ 2477 w 5366"/>
                    <a:gd name="T79" fmla="*/ 5357 h 5365"/>
                    <a:gd name="T80" fmla="*/ 2753 w 5366"/>
                    <a:gd name="T81" fmla="*/ 5365 h 5365"/>
                    <a:gd name="T82" fmla="*/ 3092 w 5366"/>
                    <a:gd name="T83" fmla="*/ 5334 h 5365"/>
                    <a:gd name="T84" fmla="*/ 3417 w 5366"/>
                    <a:gd name="T85" fmla="*/ 5264 h 5365"/>
                    <a:gd name="T86" fmla="*/ 3728 w 5366"/>
                    <a:gd name="T87" fmla="*/ 5154 h 5365"/>
                    <a:gd name="T88" fmla="*/ 4018 w 5366"/>
                    <a:gd name="T89" fmla="*/ 5010 h 5365"/>
                    <a:gd name="T90" fmla="*/ 4289 w 5366"/>
                    <a:gd name="T91" fmla="*/ 4832 h 5365"/>
                    <a:gd name="T92" fmla="*/ 4534 w 5366"/>
                    <a:gd name="T93" fmla="*/ 4625 h 5365"/>
                    <a:gd name="T94" fmla="*/ 4754 w 5366"/>
                    <a:gd name="T95" fmla="*/ 4389 h 5365"/>
                    <a:gd name="T96" fmla="*/ 4944 w 5366"/>
                    <a:gd name="T97" fmla="*/ 4128 h 5365"/>
                    <a:gd name="T98" fmla="*/ 5102 w 5366"/>
                    <a:gd name="T99" fmla="*/ 3845 h 5365"/>
                    <a:gd name="T100" fmla="*/ 5225 w 5366"/>
                    <a:gd name="T101" fmla="*/ 3542 h 5365"/>
                    <a:gd name="T102" fmla="*/ 5311 w 5366"/>
                    <a:gd name="T103" fmla="*/ 3223 h 5365"/>
                    <a:gd name="T104" fmla="*/ 5358 w 5366"/>
                    <a:gd name="T105" fmla="*/ 2888 h 5365"/>
                    <a:gd name="T106" fmla="*/ 5365 w 5366"/>
                    <a:gd name="T107" fmla="*/ 2641 h 5365"/>
                    <a:gd name="T108" fmla="*/ 5333 w 5366"/>
                    <a:gd name="T109" fmla="*/ 2275 h 5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366" h="5365">
                      <a:moveTo>
                        <a:pt x="5285" y="2039"/>
                      </a:moveTo>
                      <a:lnTo>
                        <a:pt x="5285" y="2039"/>
                      </a:lnTo>
                      <a:lnTo>
                        <a:pt x="5285" y="2039"/>
                      </a:lnTo>
                      <a:lnTo>
                        <a:pt x="5263" y="1956"/>
                      </a:lnTo>
                      <a:lnTo>
                        <a:pt x="5239" y="1874"/>
                      </a:lnTo>
                      <a:lnTo>
                        <a:pt x="5212" y="1793"/>
                      </a:lnTo>
                      <a:lnTo>
                        <a:pt x="5183" y="1715"/>
                      </a:lnTo>
                      <a:lnTo>
                        <a:pt x="5151" y="1637"/>
                      </a:lnTo>
                      <a:lnTo>
                        <a:pt x="5118" y="1560"/>
                      </a:lnTo>
                      <a:lnTo>
                        <a:pt x="5081" y="1485"/>
                      </a:lnTo>
                      <a:lnTo>
                        <a:pt x="5042" y="1410"/>
                      </a:lnTo>
                      <a:lnTo>
                        <a:pt x="5001" y="1337"/>
                      </a:lnTo>
                      <a:lnTo>
                        <a:pt x="4959" y="1266"/>
                      </a:lnTo>
                      <a:lnTo>
                        <a:pt x="4914" y="1196"/>
                      </a:lnTo>
                      <a:lnTo>
                        <a:pt x="4867" y="1128"/>
                      </a:lnTo>
                      <a:lnTo>
                        <a:pt x="4817" y="1061"/>
                      </a:lnTo>
                      <a:lnTo>
                        <a:pt x="4765" y="996"/>
                      </a:lnTo>
                      <a:lnTo>
                        <a:pt x="4713" y="932"/>
                      </a:lnTo>
                      <a:lnTo>
                        <a:pt x="4657" y="870"/>
                      </a:lnTo>
                      <a:lnTo>
                        <a:pt x="4657" y="870"/>
                      </a:lnTo>
                      <a:lnTo>
                        <a:pt x="4648" y="860"/>
                      </a:lnTo>
                      <a:lnTo>
                        <a:pt x="4648" y="860"/>
                      </a:lnTo>
                      <a:lnTo>
                        <a:pt x="4610" y="821"/>
                      </a:lnTo>
                      <a:lnTo>
                        <a:pt x="4571" y="783"/>
                      </a:lnTo>
                      <a:lnTo>
                        <a:pt x="4571" y="783"/>
                      </a:lnTo>
                      <a:lnTo>
                        <a:pt x="4544" y="756"/>
                      </a:lnTo>
                      <a:lnTo>
                        <a:pt x="4518" y="730"/>
                      </a:lnTo>
                      <a:lnTo>
                        <a:pt x="4518" y="730"/>
                      </a:lnTo>
                      <a:lnTo>
                        <a:pt x="4515" y="726"/>
                      </a:lnTo>
                      <a:lnTo>
                        <a:pt x="4515" y="726"/>
                      </a:lnTo>
                      <a:lnTo>
                        <a:pt x="4464" y="679"/>
                      </a:lnTo>
                      <a:lnTo>
                        <a:pt x="4412" y="634"/>
                      </a:lnTo>
                      <a:lnTo>
                        <a:pt x="4359" y="590"/>
                      </a:lnTo>
                      <a:lnTo>
                        <a:pt x="4304" y="548"/>
                      </a:lnTo>
                      <a:lnTo>
                        <a:pt x="4249" y="507"/>
                      </a:lnTo>
                      <a:lnTo>
                        <a:pt x="4192" y="467"/>
                      </a:lnTo>
                      <a:lnTo>
                        <a:pt x="4135" y="429"/>
                      </a:lnTo>
                      <a:lnTo>
                        <a:pt x="4076" y="392"/>
                      </a:lnTo>
                      <a:lnTo>
                        <a:pt x="4076" y="392"/>
                      </a:lnTo>
                      <a:lnTo>
                        <a:pt x="4051" y="377"/>
                      </a:lnTo>
                      <a:lnTo>
                        <a:pt x="4051" y="377"/>
                      </a:lnTo>
                      <a:lnTo>
                        <a:pt x="4011" y="354"/>
                      </a:lnTo>
                      <a:lnTo>
                        <a:pt x="3973" y="332"/>
                      </a:lnTo>
                      <a:lnTo>
                        <a:pt x="3934" y="312"/>
                      </a:lnTo>
                      <a:lnTo>
                        <a:pt x="3894" y="291"/>
                      </a:lnTo>
                      <a:lnTo>
                        <a:pt x="3894" y="291"/>
                      </a:lnTo>
                      <a:lnTo>
                        <a:pt x="3891" y="289"/>
                      </a:lnTo>
                      <a:lnTo>
                        <a:pt x="3891" y="289"/>
                      </a:lnTo>
                      <a:lnTo>
                        <a:pt x="3827" y="259"/>
                      </a:lnTo>
                      <a:lnTo>
                        <a:pt x="3765" y="230"/>
                      </a:lnTo>
                      <a:lnTo>
                        <a:pt x="3701" y="202"/>
                      </a:lnTo>
                      <a:lnTo>
                        <a:pt x="3635" y="177"/>
                      </a:lnTo>
                      <a:lnTo>
                        <a:pt x="3569" y="153"/>
                      </a:lnTo>
                      <a:lnTo>
                        <a:pt x="3503" y="131"/>
                      </a:lnTo>
                      <a:lnTo>
                        <a:pt x="3436" y="110"/>
                      </a:lnTo>
                      <a:lnTo>
                        <a:pt x="3368" y="91"/>
                      </a:lnTo>
                      <a:lnTo>
                        <a:pt x="3368" y="91"/>
                      </a:lnTo>
                      <a:lnTo>
                        <a:pt x="3331" y="81"/>
                      </a:lnTo>
                      <a:lnTo>
                        <a:pt x="3331" y="81"/>
                      </a:lnTo>
                      <a:lnTo>
                        <a:pt x="3287" y="71"/>
                      </a:lnTo>
                      <a:lnTo>
                        <a:pt x="3244" y="61"/>
                      </a:lnTo>
                      <a:lnTo>
                        <a:pt x="3200" y="51"/>
                      </a:lnTo>
                      <a:lnTo>
                        <a:pt x="3155" y="43"/>
                      </a:lnTo>
                      <a:lnTo>
                        <a:pt x="3155" y="43"/>
                      </a:lnTo>
                      <a:lnTo>
                        <a:pt x="3097" y="34"/>
                      </a:lnTo>
                      <a:lnTo>
                        <a:pt x="3040" y="25"/>
                      </a:lnTo>
                      <a:lnTo>
                        <a:pt x="2981" y="18"/>
                      </a:lnTo>
                      <a:lnTo>
                        <a:pt x="2922" y="11"/>
                      </a:lnTo>
                      <a:lnTo>
                        <a:pt x="2864" y="7"/>
                      </a:lnTo>
                      <a:lnTo>
                        <a:pt x="2804" y="3"/>
                      </a:lnTo>
                      <a:lnTo>
                        <a:pt x="2744" y="1"/>
                      </a:lnTo>
                      <a:lnTo>
                        <a:pt x="2684" y="0"/>
                      </a:lnTo>
                      <a:lnTo>
                        <a:pt x="2684" y="0"/>
                      </a:lnTo>
                      <a:lnTo>
                        <a:pt x="2614" y="1"/>
                      </a:lnTo>
                      <a:lnTo>
                        <a:pt x="2546" y="3"/>
                      </a:lnTo>
                      <a:lnTo>
                        <a:pt x="2477" y="8"/>
                      </a:lnTo>
                      <a:lnTo>
                        <a:pt x="2409" y="13"/>
                      </a:lnTo>
                      <a:lnTo>
                        <a:pt x="2342" y="22"/>
                      </a:lnTo>
                      <a:lnTo>
                        <a:pt x="2275" y="31"/>
                      </a:lnTo>
                      <a:lnTo>
                        <a:pt x="2209" y="41"/>
                      </a:lnTo>
                      <a:lnTo>
                        <a:pt x="2143" y="54"/>
                      </a:lnTo>
                      <a:lnTo>
                        <a:pt x="2077" y="69"/>
                      </a:lnTo>
                      <a:lnTo>
                        <a:pt x="2013" y="84"/>
                      </a:lnTo>
                      <a:lnTo>
                        <a:pt x="1949" y="101"/>
                      </a:lnTo>
                      <a:lnTo>
                        <a:pt x="1886" y="121"/>
                      </a:lnTo>
                      <a:lnTo>
                        <a:pt x="1823" y="140"/>
                      </a:lnTo>
                      <a:lnTo>
                        <a:pt x="1761" y="162"/>
                      </a:lnTo>
                      <a:lnTo>
                        <a:pt x="1700" y="186"/>
                      </a:lnTo>
                      <a:lnTo>
                        <a:pt x="1640" y="210"/>
                      </a:lnTo>
                      <a:lnTo>
                        <a:pt x="1580" y="237"/>
                      </a:lnTo>
                      <a:lnTo>
                        <a:pt x="1520" y="264"/>
                      </a:lnTo>
                      <a:lnTo>
                        <a:pt x="1463" y="293"/>
                      </a:lnTo>
                      <a:lnTo>
                        <a:pt x="1405" y="323"/>
                      </a:lnTo>
                      <a:lnTo>
                        <a:pt x="1349" y="355"/>
                      </a:lnTo>
                      <a:lnTo>
                        <a:pt x="1292" y="388"/>
                      </a:lnTo>
                      <a:lnTo>
                        <a:pt x="1238" y="422"/>
                      </a:lnTo>
                      <a:lnTo>
                        <a:pt x="1184" y="458"/>
                      </a:lnTo>
                      <a:lnTo>
                        <a:pt x="1131" y="495"/>
                      </a:lnTo>
                      <a:lnTo>
                        <a:pt x="1078" y="533"/>
                      </a:lnTo>
                      <a:lnTo>
                        <a:pt x="1027" y="572"/>
                      </a:lnTo>
                      <a:lnTo>
                        <a:pt x="977" y="612"/>
                      </a:lnTo>
                      <a:lnTo>
                        <a:pt x="928" y="654"/>
                      </a:lnTo>
                      <a:lnTo>
                        <a:pt x="880" y="696"/>
                      </a:lnTo>
                      <a:lnTo>
                        <a:pt x="833" y="740"/>
                      </a:lnTo>
                      <a:lnTo>
                        <a:pt x="787" y="785"/>
                      </a:lnTo>
                      <a:lnTo>
                        <a:pt x="742" y="831"/>
                      </a:lnTo>
                      <a:lnTo>
                        <a:pt x="698" y="878"/>
                      </a:lnTo>
                      <a:lnTo>
                        <a:pt x="655" y="926"/>
                      </a:lnTo>
                      <a:lnTo>
                        <a:pt x="614" y="976"/>
                      </a:lnTo>
                      <a:lnTo>
                        <a:pt x="573" y="1027"/>
                      </a:lnTo>
                      <a:lnTo>
                        <a:pt x="533" y="1077"/>
                      </a:lnTo>
                      <a:lnTo>
                        <a:pt x="495" y="1129"/>
                      </a:lnTo>
                      <a:lnTo>
                        <a:pt x="459" y="1182"/>
                      </a:lnTo>
                      <a:lnTo>
                        <a:pt x="424" y="1236"/>
                      </a:lnTo>
                      <a:lnTo>
                        <a:pt x="390" y="1291"/>
                      </a:lnTo>
                      <a:lnTo>
                        <a:pt x="356" y="1347"/>
                      </a:lnTo>
                      <a:lnTo>
                        <a:pt x="325" y="1403"/>
                      </a:lnTo>
                      <a:lnTo>
                        <a:pt x="294" y="1461"/>
                      </a:lnTo>
                      <a:lnTo>
                        <a:pt x="265" y="1519"/>
                      </a:lnTo>
                      <a:lnTo>
                        <a:pt x="238" y="1578"/>
                      </a:lnTo>
                      <a:lnTo>
                        <a:pt x="212" y="1638"/>
                      </a:lnTo>
                      <a:lnTo>
                        <a:pt x="187" y="1699"/>
                      </a:lnTo>
                      <a:lnTo>
                        <a:pt x="164" y="1760"/>
                      </a:lnTo>
                      <a:lnTo>
                        <a:pt x="142" y="1822"/>
                      </a:lnTo>
                      <a:lnTo>
                        <a:pt x="121" y="1884"/>
                      </a:lnTo>
                      <a:lnTo>
                        <a:pt x="103" y="1948"/>
                      </a:lnTo>
                      <a:lnTo>
                        <a:pt x="86" y="2012"/>
                      </a:lnTo>
                      <a:lnTo>
                        <a:pt x="69" y="2077"/>
                      </a:lnTo>
                      <a:lnTo>
                        <a:pt x="56" y="2142"/>
                      </a:lnTo>
                      <a:lnTo>
                        <a:pt x="43" y="2208"/>
                      </a:lnTo>
                      <a:lnTo>
                        <a:pt x="31" y="2274"/>
                      </a:lnTo>
                      <a:lnTo>
                        <a:pt x="22" y="2340"/>
                      </a:lnTo>
                      <a:lnTo>
                        <a:pt x="14" y="2408"/>
                      </a:lnTo>
                      <a:lnTo>
                        <a:pt x="8" y="2476"/>
                      </a:lnTo>
                      <a:lnTo>
                        <a:pt x="4" y="2544"/>
                      </a:lnTo>
                      <a:lnTo>
                        <a:pt x="2" y="2613"/>
                      </a:lnTo>
                      <a:lnTo>
                        <a:pt x="0" y="2682"/>
                      </a:lnTo>
                      <a:lnTo>
                        <a:pt x="0" y="2682"/>
                      </a:lnTo>
                      <a:lnTo>
                        <a:pt x="2" y="2751"/>
                      </a:lnTo>
                      <a:lnTo>
                        <a:pt x="4" y="2820"/>
                      </a:lnTo>
                      <a:lnTo>
                        <a:pt x="8" y="2888"/>
                      </a:lnTo>
                      <a:lnTo>
                        <a:pt x="14" y="2955"/>
                      </a:lnTo>
                      <a:lnTo>
                        <a:pt x="22" y="3023"/>
                      </a:lnTo>
                      <a:lnTo>
                        <a:pt x="31" y="3090"/>
                      </a:lnTo>
                      <a:lnTo>
                        <a:pt x="43" y="3155"/>
                      </a:lnTo>
                      <a:lnTo>
                        <a:pt x="55" y="3221"/>
                      </a:lnTo>
                      <a:lnTo>
                        <a:pt x="69" y="3286"/>
                      </a:lnTo>
                      <a:lnTo>
                        <a:pt x="84" y="3350"/>
                      </a:lnTo>
                      <a:lnTo>
                        <a:pt x="102" y="3413"/>
                      </a:lnTo>
                      <a:lnTo>
                        <a:pt x="120" y="3477"/>
                      </a:lnTo>
                      <a:lnTo>
                        <a:pt x="141" y="3539"/>
                      </a:lnTo>
                      <a:lnTo>
                        <a:pt x="163" y="3601"/>
                      </a:lnTo>
                      <a:lnTo>
                        <a:pt x="186" y="3662"/>
                      </a:lnTo>
                      <a:lnTo>
                        <a:pt x="210" y="3723"/>
                      </a:lnTo>
                      <a:lnTo>
                        <a:pt x="236" y="3782"/>
                      </a:lnTo>
                      <a:lnTo>
                        <a:pt x="264" y="3840"/>
                      </a:lnTo>
                      <a:lnTo>
                        <a:pt x="292" y="3899"/>
                      </a:lnTo>
                      <a:lnTo>
                        <a:pt x="323" y="3957"/>
                      </a:lnTo>
                      <a:lnTo>
                        <a:pt x="354" y="4013"/>
                      </a:lnTo>
                      <a:lnTo>
                        <a:pt x="386" y="4068"/>
                      </a:lnTo>
                      <a:lnTo>
                        <a:pt x="421" y="4123"/>
                      </a:lnTo>
                      <a:lnTo>
                        <a:pt x="455" y="4177"/>
                      </a:lnTo>
                      <a:lnTo>
                        <a:pt x="492" y="4230"/>
                      </a:lnTo>
                      <a:lnTo>
                        <a:pt x="530" y="4281"/>
                      </a:lnTo>
                      <a:lnTo>
                        <a:pt x="569" y="4333"/>
                      </a:lnTo>
                      <a:lnTo>
                        <a:pt x="609" y="4383"/>
                      </a:lnTo>
                      <a:lnTo>
                        <a:pt x="650" y="4432"/>
                      </a:lnTo>
                      <a:lnTo>
                        <a:pt x="692" y="4479"/>
                      </a:lnTo>
                      <a:lnTo>
                        <a:pt x="736" y="4527"/>
                      </a:lnTo>
                      <a:lnTo>
                        <a:pt x="781" y="4573"/>
                      </a:lnTo>
                      <a:lnTo>
                        <a:pt x="781" y="4573"/>
                      </a:lnTo>
                      <a:lnTo>
                        <a:pt x="827" y="4619"/>
                      </a:lnTo>
                      <a:lnTo>
                        <a:pt x="874" y="4663"/>
                      </a:lnTo>
                      <a:lnTo>
                        <a:pt x="923" y="4705"/>
                      </a:lnTo>
                      <a:lnTo>
                        <a:pt x="972" y="4748"/>
                      </a:lnTo>
                      <a:lnTo>
                        <a:pt x="1022" y="4788"/>
                      </a:lnTo>
                      <a:lnTo>
                        <a:pt x="1073" y="4828"/>
                      </a:lnTo>
                      <a:lnTo>
                        <a:pt x="1125" y="4866"/>
                      </a:lnTo>
                      <a:lnTo>
                        <a:pt x="1178" y="4903"/>
                      </a:lnTo>
                      <a:lnTo>
                        <a:pt x="1232" y="4939"/>
                      </a:lnTo>
                      <a:lnTo>
                        <a:pt x="1288" y="4973"/>
                      </a:lnTo>
                      <a:lnTo>
                        <a:pt x="1344" y="5007"/>
                      </a:lnTo>
                      <a:lnTo>
                        <a:pt x="1400" y="5039"/>
                      </a:lnTo>
                      <a:lnTo>
                        <a:pt x="1458" y="5069"/>
                      </a:lnTo>
                      <a:lnTo>
                        <a:pt x="1517" y="5099"/>
                      </a:lnTo>
                      <a:lnTo>
                        <a:pt x="1575" y="5127"/>
                      </a:lnTo>
                      <a:lnTo>
                        <a:pt x="1635" y="5153"/>
                      </a:lnTo>
                      <a:lnTo>
                        <a:pt x="1696" y="5177"/>
                      </a:lnTo>
                      <a:lnTo>
                        <a:pt x="1757" y="5201"/>
                      </a:lnTo>
                      <a:lnTo>
                        <a:pt x="1819" y="5223"/>
                      </a:lnTo>
                      <a:lnTo>
                        <a:pt x="1883" y="5244"/>
                      </a:lnTo>
                      <a:lnTo>
                        <a:pt x="1946" y="5262"/>
                      </a:lnTo>
                      <a:lnTo>
                        <a:pt x="2011" y="5280"/>
                      </a:lnTo>
                      <a:lnTo>
                        <a:pt x="2075" y="5296"/>
                      </a:lnTo>
                      <a:lnTo>
                        <a:pt x="2141" y="5311"/>
                      </a:lnTo>
                      <a:lnTo>
                        <a:pt x="2206" y="5323"/>
                      </a:lnTo>
                      <a:lnTo>
                        <a:pt x="2273" y="5334"/>
                      </a:lnTo>
                      <a:lnTo>
                        <a:pt x="2341" y="5343"/>
                      </a:lnTo>
                      <a:lnTo>
                        <a:pt x="2408" y="5351"/>
                      </a:lnTo>
                      <a:lnTo>
                        <a:pt x="2477" y="5357"/>
                      </a:lnTo>
                      <a:lnTo>
                        <a:pt x="2545" y="5361"/>
                      </a:lnTo>
                      <a:lnTo>
                        <a:pt x="2614" y="5365"/>
                      </a:lnTo>
                      <a:lnTo>
                        <a:pt x="2684" y="5365"/>
                      </a:lnTo>
                      <a:lnTo>
                        <a:pt x="2684" y="5365"/>
                      </a:lnTo>
                      <a:lnTo>
                        <a:pt x="2753" y="5365"/>
                      </a:lnTo>
                      <a:lnTo>
                        <a:pt x="2821" y="5361"/>
                      </a:lnTo>
                      <a:lnTo>
                        <a:pt x="2890" y="5357"/>
                      </a:lnTo>
                      <a:lnTo>
                        <a:pt x="2958" y="5351"/>
                      </a:lnTo>
                      <a:lnTo>
                        <a:pt x="3025" y="5344"/>
                      </a:lnTo>
                      <a:lnTo>
                        <a:pt x="3092" y="5334"/>
                      </a:lnTo>
                      <a:lnTo>
                        <a:pt x="3158" y="5323"/>
                      </a:lnTo>
                      <a:lnTo>
                        <a:pt x="3224" y="5311"/>
                      </a:lnTo>
                      <a:lnTo>
                        <a:pt x="3290" y="5297"/>
                      </a:lnTo>
                      <a:lnTo>
                        <a:pt x="3354" y="5281"/>
                      </a:lnTo>
                      <a:lnTo>
                        <a:pt x="3417" y="5264"/>
                      </a:lnTo>
                      <a:lnTo>
                        <a:pt x="3481" y="5245"/>
                      </a:lnTo>
                      <a:lnTo>
                        <a:pt x="3544" y="5224"/>
                      </a:lnTo>
                      <a:lnTo>
                        <a:pt x="3606" y="5202"/>
                      </a:lnTo>
                      <a:lnTo>
                        <a:pt x="3667" y="5179"/>
                      </a:lnTo>
                      <a:lnTo>
                        <a:pt x="3728" y="5154"/>
                      </a:lnTo>
                      <a:lnTo>
                        <a:pt x="3787" y="5128"/>
                      </a:lnTo>
                      <a:lnTo>
                        <a:pt x="3847" y="5101"/>
                      </a:lnTo>
                      <a:lnTo>
                        <a:pt x="3904" y="5071"/>
                      </a:lnTo>
                      <a:lnTo>
                        <a:pt x="3962" y="5041"/>
                      </a:lnTo>
                      <a:lnTo>
                        <a:pt x="4018" y="5010"/>
                      </a:lnTo>
                      <a:lnTo>
                        <a:pt x="4075" y="4977"/>
                      </a:lnTo>
                      <a:lnTo>
                        <a:pt x="4129" y="4942"/>
                      </a:lnTo>
                      <a:lnTo>
                        <a:pt x="4183" y="4907"/>
                      </a:lnTo>
                      <a:lnTo>
                        <a:pt x="4236" y="4870"/>
                      </a:lnTo>
                      <a:lnTo>
                        <a:pt x="4289" y="4832"/>
                      </a:lnTo>
                      <a:lnTo>
                        <a:pt x="4340" y="4793"/>
                      </a:lnTo>
                      <a:lnTo>
                        <a:pt x="4390" y="4752"/>
                      </a:lnTo>
                      <a:lnTo>
                        <a:pt x="4439" y="4711"/>
                      </a:lnTo>
                      <a:lnTo>
                        <a:pt x="4487" y="4668"/>
                      </a:lnTo>
                      <a:lnTo>
                        <a:pt x="4534" y="4625"/>
                      </a:lnTo>
                      <a:lnTo>
                        <a:pt x="4580" y="4580"/>
                      </a:lnTo>
                      <a:lnTo>
                        <a:pt x="4625" y="4534"/>
                      </a:lnTo>
                      <a:lnTo>
                        <a:pt x="4669" y="4486"/>
                      </a:lnTo>
                      <a:lnTo>
                        <a:pt x="4711" y="4438"/>
                      </a:lnTo>
                      <a:lnTo>
                        <a:pt x="4754" y="4389"/>
                      </a:lnTo>
                      <a:lnTo>
                        <a:pt x="4794" y="4339"/>
                      </a:lnTo>
                      <a:lnTo>
                        <a:pt x="4833" y="4287"/>
                      </a:lnTo>
                      <a:lnTo>
                        <a:pt x="4871" y="4235"/>
                      </a:lnTo>
                      <a:lnTo>
                        <a:pt x="4908" y="4182"/>
                      </a:lnTo>
                      <a:lnTo>
                        <a:pt x="4944" y="4128"/>
                      </a:lnTo>
                      <a:lnTo>
                        <a:pt x="4977" y="4073"/>
                      </a:lnTo>
                      <a:lnTo>
                        <a:pt x="5011" y="4018"/>
                      </a:lnTo>
                      <a:lnTo>
                        <a:pt x="5042" y="3961"/>
                      </a:lnTo>
                      <a:lnTo>
                        <a:pt x="5073" y="3904"/>
                      </a:lnTo>
                      <a:lnTo>
                        <a:pt x="5102" y="3845"/>
                      </a:lnTo>
                      <a:lnTo>
                        <a:pt x="5129" y="3786"/>
                      </a:lnTo>
                      <a:lnTo>
                        <a:pt x="5156" y="3726"/>
                      </a:lnTo>
                      <a:lnTo>
                        <a:pt x="5180" y="3667"/>
                      </a:lnTo>
                      <a:lnTo>
                        <a:pt x="5203" y="3604"/>
                      </a:lnTo>
                      <a:lnTo>
                        <a:pt x="5225" y="3542"/>
                      </a:lnTo>
                      <a:lnTo>
                        <a:pt x="5246" y="3480"/>
                      </a:lnTo>
                      <a:lnTo>
                        <a:pt x="5264" y="3417"/>
                      </a:lnTo>
                      <a:lnTo>
                        <a:pt x="5281" y="3352"/>
                      </a:lnTo>
                      <a:lnTo>
                        <a:pt x="5297" y="3288"/>
                      </a:lnTo>
                      <a:lnTo>
                        <a:pt x="5311" y="3223"/>
                      </a:lnTo>
                      <a:lnTo>
                        <a:pt x="5324" y="3158"/>
                      </a:lnTo>
                      <a:lnTo>
                        <a:pt x="5335" y="3091"/>
                      </a:lnTo>
                      <a:lnTo>
                        <a:pt x="5345" y="3024"/>
                      </a:lnTo>
                      <a:lnTo>
                        <a:pt x="5353" y="2956"/>
                      </a:lnTo>
                      <a:lnTo>
                        <a:pt x="5358" y="2888"/>
                      </a:lnTo>
                      <a:lnTo>
                        <a:pt x="5363" y="2820"/>
                      </a:lnTo>
                      <a:lnTo>
                        <a:pt x="5365" y="2751"/>
                      </a:lnTo>
                      <a:lnTo>
                        <a:pt x="5366" y="2682"/>
                      </a:lnTo>
                      <a:lnTo>
                        <a:pt x="5366" y="2682"/>
                      </a:lnTo>
                      <a:lnTo>
                        <a:pt x="5365" y="2641"/>
                      </a:lnTo>
                      <a:lnTo>
                        <a:pt x="5364" y="2599"/>
                      </a:lnTo>
                      <a:lnTo>
                        <a:pt x="5361" y="2518"/>
                      </a:lnTo>
                      <a:lnTo>
                        <a:pt x="5354" y="2436"/>
                      </a:lnTo>
                      <a:lnTo>
                        <a:pt x="5345" y="2354"/>
                      </a:lnTo>
                      <a:lnTo>
                        <a:pt x="5333" y="2275"/>
                      </a:lnTo>
                      <a:lnTo>
                        <a:pt x="5319" y="2195"/>
                      </a:lnTo>
                      <a:lnTo>
                        <a:pt x="5303" y="2117"/>
                      </a:lnTo>
                      <a:lnTo>
                        <a:pt x="5285" y="2039"/>
                      </a:lnTo>
                      <a:close/>
                    </a:path>
                  </a:pathLst>
                </a:custGeom>
                <a:solidFill>
                  <a:srgbClr val="DD39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96" name="Freeform 240"/>
                <p:cNvSpPr>
                  <a:spLocks/>
                </p:cNvSpPr>
                <p:nvPr/>
              </p:nvSpPr>
              <p:spPr bwMode="auto">
                <a:xfrm>
                  <a:off x="4286250" y="2605088"/>
                  <a:ext cx="1217613" cy="1216025"/>
                </a:xfrm>
                <a:custGeom>
                  <a:avLst/>
                  <a:gdLst>
                    <a:gd name="T0" fmla="*/ 5239 w 5366"/>
                    <a:gd name="T1" fmla="*/ 1874 h 5365"/>
                    <a:gd name="T2" fmla="*/ 5081 w 5366"/>
                    <a:gd name="T3" fmla="*/ 1485 h 5365"/>
                    <a:gd name="T4" fmla="*/ 4867 w 5366"/>
                    <a:gd name="T5" fmla="*/ 1128 h 5365"/>
                    <a:gd name="T6" fmla="*/ 4657 w 5366"/>
                    <a:gd name="T7" fmla="*/ 870 h 5365"/>
                    <a:gd name="T8" fmla="*/ 4571 w 5366"/>
                    <a:gd name="T9" fmla="*/ 783 h 5365"/>
                    <a:gd name="T10" fmla="*/ 4515 w 5366"/>
                    <a:gd name="T11" fmla="*/ 726 h 5365"/>
                    <a:gd name="T12" fmla="*/ 4249 w 5366"/>
                    <a:gd name="T13" fmla="*/ 507 h 5365"/>
                    <a:gd name="T14" fmla="*/ 4051 w 5366"/>
                    <a:gd name="T15" fmla="*/ 377 h 5365"/>
                    <a:gd name="T16" fmla="*/ 3894 w 5366"/>
                    <a:gd name="T17" fmla="*/ 291 h 5365"/>
                    <a:gd name="T18" fmla="*/ 3765 w 5366"/>
                    <a:gd name="T19" fmla="*/ 230 h 5365"/>
                    <a:gd name="T20" fmla="*/ 3436 w 5366"/>
                    <a:gd name="T21" fmla="*/ 110 h 5365"/>
                    <a:gd name="T22" fmla="*/ 3287 w 5366"/>
                    <a:gd name="T23" fmla="*/ 71 h 5365"/>
                    <a:gd name="T24" fmla="*/ 3097 w 5366"/>
                    <a:gd name="T25" fmla="*/ 34 h 5365"/>
                    <a:gd name="T26" fmla="*/ 2804 w 5366"/>
                    <a:gd name="T27" fmla="*/ 3 h 5365"/>
                    <a:gd name="T28" fmla="*/ 2546 w 5366"/>
                    <a:gd name="T29" fmla="*/ 3 h 5365"/>
                    <a:gd name="T30" fmla="*/ 2209 w 5366"/>
                    <a:gd name="T31" fmla="*/ 41 h 5365"/>
                    <a:gd name="T32" fmla="*/ 1886 w 5366"/>
                    <a:gd name="T33" fmla="*/ 121 h 5365"/>
                    <a:gd name="T34" fmla="*/ 1580 w 5366"/>
                    <a:gd name="T35" fmla="*/ 237 h 5365"/>
                    <a:gd name="T36" fmla="*/ 1292 w 5366"/>
                    <a:gd name="T37" fmla="*/ 388 h 5365"/>
                    <a:gd name="T38" fmla="*/ 1027 w 5366"/>
                    <a:gd name="T39" fmla="*/ 572 h 5365"/>
                    <a:gd name="T40" fmla="*/ 787 w 5366"/>
                    <a:gd name="T41" fmla="*/ 785 h 5365"/>
                    <a:gd name="T42" fmla="*/ 573 w 5366"/>
                    <a:gd name="T43" fmla="*/ 1027 h 5365"/>
                    <a:gd name="T44" fmla="*/ 390 w 5366"/>
                    <a:gd name="T45" fmla="*/ 1291 h 5365"/>
                    <a:gd name="T46" fmla="*/ 238 w 5366"/>
                    <a:gd name="T47" fmla="*/ 1578 h 5365"/>
                    <a:gd name="T48" fmla="*/ 121 w 5366"/>
                    <a:gd name="T49" fmla="*/ 1884 h 5365"/>
                    <a:gd name="T50" fmla="*/ 43 w 5366"/>
                    <a:gd name="T51" fmla="*/ 2208 h 5365"/>
                    <a:gd name="T52" fmla="*/ 4 w 5366"/>
                    <a:gd name="T53" fmla="*/ 2544 h 5365"/>
                    <a:gd name="T54" fmla="*/ 4 w 5366"/>
                    <a:gd name="T55" fmla="*/ 2820 h 5365"/>
                    <a:gd name="T56" fmla="*/ 43 w 5366"/>
                    <a:gd name="T57" fmla="*/ 3155 h 5365"/>
                    <a:gd name="T58" fmla="*/ 120 w 5366"/>
                    <a:gd name="T59" fmla="*/ 3477 h 5365"/>
                    <a:gd name="T60" fmla="*/ 236 w 5366"/>
                    <a:gd name="T61" fmla="*/ 3782 h 5365"/>
                    <a:gd name="T62" fmla="*/ 386 w 5366"/>
                    <a:gd name="T63" fmla="*/ 4068 h 5365"/>
                    <a:gd name="T64" fmla="*/ 569 w 5366"/>
                    <a:gd name="T65" fmla="*/ 4333 h 5365"/>
                    <a:gd name="T66" fmla="*/ 781 w 5366"/>
                    <a:gd name="T67" fmla="*/ 4573 h 5365"/>
                    <a:gd name="T68" fmla="*/ 972 w 5366"/>
                    <a:gd name="T69" fmla="*/ 4748 h 5365"/>
                    <a:gd name="T70" fmla="*/ 1232 w 5366"/>
                    <a:gd name="T71" fmla="*/ 4939 h 5365"/>
                    <a:gd name="T72" fmla="*/ 1517 w 5366"/>
                    <a:gd name="T73" fmla="*/ 5099 h 5365"/>
                    <a:gd name="T74" fmla="*/ 1819 w 5366"/>
                    <a:gd name="T75" fmla="*/ 5223 h 5365"/>
                    <a:gd name="T76" fmla="*/ 2141 w 5366"/>
                    <a:gd name="T77" fmla="*/ 5311 h 5365"/>
                    <a:gd name="T78" fmla="*/ 2477 w 5366"/>
                    <a:gd name="T79" fmla="*/ 5357 h 5365"/>
                    <a:gd name="T80" fmla="*/ 2753 w 5366"/>
                    <a:gd name="T81" fmla="*/ 5365 h 5365"/>
                    <a:gd name="T82" fmla="*/ 3092 w 5366"/>
                    <a:gd name="T83" fmla="*/ 5334 h 5365"/>
                    <a:gd name="T84" fmla="*/ 3417 w 5366"/>
                    <a:gd name="T85" fmla="*/ 5264 h 5365"/>
                    <a:gd name="T86" fmla="*/ 3728 w 5366"/>
                    <a:gd name="T87" fmla="*/ 5154 h 5365"/>
                    <a:gd name="T88" fmla="*/ 4018 w 5366"/>
                    <a:gd name="T89" fmla="*/ 5010 h 5365"/>
                    <a:gd name="T90" fmla="*/ 4289 w 5366"/>
                    <a:gd name="T91" fmla="*/ 4832 h 5365"/>
                    <a:gd name="T92" fmla="*/ 4534 w 5366"/>
                    <a:gd name="T93" fmla="*/ 4625 h 5365"/>
                    <a:gd name="T94" fmla="*/ 4754 w 5366"/>
                    <a:gd name="T95" fmla="*/ 4389 h 5365"/>
                    <a:gd name="T96" fmla="*/ 4944 w 5366"/>
                    <a:gd name="T97" fmla="*/ 4128 h 5365"/>
                    <a:gd name="T98" fmla="*/ 5102 w 5366"/>
                    <a:gd name="T99" fmla="*/ 3845 h 5365"/>
                    <a:gd name="T100" fmla="*/ 5225 w 5366"/>
                    <a:gd name="T101" fmla="*/ 3542 h 5365"/>
                    <a:gd name="T102" fmla="*/ 5311 w 5366"/>
                    <a:gd name="T103" fmla="*/ 3223 h 5365"/>
                    <a:gd name="T104" fmla="*/ 5358 w 5366"/>
                    <a:gd name="T105" fmla="*/ 2888 h 5365"/>
                    <a:gd name="T106" fmla="*/ 5365 w 5366"/>
                    <a:gd name="T107" fmla="*/ 2641 h 5365"/>
                    <a:gd name="T108" fmla="*/ 5333 w 5366"/>
                    <a:gd name="T109" fmla="*/ 2275 h 5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366" h="5365">
                      <a:moveTo>
                        <a:pt x="5285" y="2039"/>
                      </a:moveTo>
                      <a:lnTo>
                        <a:pt x="5285" y="2039"/>
                      </a:lnTo>
                      <a:lnTo>
                        <a:pt x="5285" y="2039"/>
                      </a:lnTo>
                      <a:lnTo>
                        <a:pt x="5263" y="1956"/>
                      </a:lnTo>
                      <a:lnTo>
                        <a:pt x="5239" y="1874"/>
                      </a:lnTo>
                      <a:lnTo>
                        <a:pt x="5212" y="1793"/>
                      </a:lnTo>
                      <a:lnTo>
                        <a:pt x="5183" y="1715"/>
                      </a:lnTo>
                      <a:lnTo>
                        <a:pt x="5151" y="1637"/>
                      </a:lnTo>
                      <a:lnTo>
                        <a:pt x="5118" y="1560"/>
                      </a:lnTo>
                      <a:lnTo>
                        <a:pt x="5081" y="1485"/>
                      </a:lnTo>
                      <a:lnTo>
                        <a:pt x="5042" y="1410"/>
                      </a:lnTo>
                      <a:lnTo>
                        <a:pt x="5001" y="1337"/>
                      </a:lnTo>
                      <a:lnTo>
                        <a:pt x="4959" y="1266"/>
                      </a:lnTo>
                      <a:lnTo>
                        <a:pt x="4914" y="1196"/>
                      </a:lnTo>
                      <a:lnTo>
                        <a:pt x="4867" y="1128"/>
                      </a:lnTo>
                      <a:lnTo>
                        <a:pt x="4817" y="1061"/>
                      </a:lnTo>
                      <a:lnTo>
                        <a:pt x="4765" y="996"/>
                      </a:lnTo>
                      <a:lnTo>
                        <a:pt x="4713" y="932"/>
                      </a:lnTo>
                      <a:lnTo>
                        <a:pt x="4657" y="870"/>
                      </a:lnTo>
                      <a:lnTo>
                        <a:pt x="4657" y="870"/>
                      </a:lnTo>
                      <a:lnTo>
                        <a:pt x="4648" y="860"/>
                      </a:lnTo>
                      <a:lnTo>
                        <a:pt x="4648" y="860"/>
                      </a:lnTo>
                      <a:lnTo>
                        <a:pt x="4610" y="821"/>
                      </a:lnTo>
                      <a:lnTo>
                        <a:pt x="4571" y="783"/>
                      </a:lnTo>
                      <a:lnTo>
                        <a:pt x="4571" y="783"/>
                      </a:lnTo>
                      <a:lnTo>
                        <a:pt x="4544" y="756"/>
                      </a:lnTo>
                      <a:lnTo>
                        <a:pt x="4518" y="730"/>
                      </a:lnTo>
                      <a:lnTo>
                        <a:pt x="4518" y="730"/>
                      </a:lnTo>
                      <a:lnTo>
                        <a:pt x="4515" y="726"/>
                      </a:lnTo>
                      <a:lnTo>
                        <a:pt x="4515" y="726"/>
                      </a:lnTo>
                      <a:lnTo>
                        <a:pt x="4464" y="679"/>
                      </a:lnTo>
                      <a:lnTo>
                        <a:pt x="4412" y="634"/>
                      </a:lnTo>
                      <a:lnTo>
                        <a:pt x="4359" y="590"/>
                      </a:lnTo>
                      <a:lnTo>
                        <a:pt x="4304" y="548"/>
                      </a:lnTo>
                      <a:lnTo>
                        <a:pt x="4249" y="507"/>
                      </a:lnTo>
                      <a:lnTo>
                        <a:pt x="4192" y="467"/>
                      </a:lnTo>
                      <a:lnTo>
                        <a:pt x="4135" y="429"/>
                      </a:lnTo>
                      <a:lnTo>
                        <a:pt x="4076" y="392"/>
                      </a:lnTo>
                      <a:lnTo>
                        <a:pt x="4076" y="392"/>
                      </a:lnTo>
                      <a:lnTo>
                        <a:pt x="4051" y="377"/>
                      </a:lnTo>
                      <a:lnTo>
                        <a:pt x="4051" y="377"/>
                      </a:lnTo>
                      <a:lnTo>
                        <a:pt x="4011" y="354"/>
                      </a:lnTo>
                      <a:lnTo>
                        <a:pt x="3973" y="332"/>
                      </a:lnTo>
                      <a:lnTo>
                        <a:pt x="3934" y="312"/>
                      </a:lnTo>
                      <a:lnTo>
                        <a:pt x="3894" y="291"/>
                      </a:lnTo>
                      <a:lnTo>
                        <a:pt x="3894" y="291"/>
                      </a:lnTo>
                      <a:lnTo>
                        <a:pt x="3891" y="289"/>
                      </a:lnTo>
                      <a:lnTo>
                        <a:pt x="3891" y="289"/>
                      </a:lnTo>
                      <a:lnTo>
                        <a:pt x="3827" y="259"/>
                      </a:lnTo>
                      <a:lnTo>
                        <a:pt x="3765" y="230"/>
                      </a:lnTo>
                      <a:lnTo>
                        <a:pt x="3701" y="202"/>
                      </a:lnTo>
                      <a:lnTo>
                        <a:pt x="3635" y="177"/>
                      </a:lnTo>
                      <a:lnTo>
                        <a:pt x="3569" y="153"/>
                      </a:lnTo>
                      <a:lnTo>
                        <a:pt x="3503" y="131"/>
                      </a:lnTo>
                      <a:lnTo>
                        <a:pt x="3436" y="110"/>
                      </a:lnTo>
                      <a:lnTo>
                        <a:pt x="3368" y="91"/>
                      </a:lnTo>
                      <a:lnTo>
                        <a:pt x="3368" y="91"/>
                      </a:lnTo>
                      <a:lnTo>
                        <a:pt x="3331" y="81"/>
                      </a:lnTo>
                      <a:lnTo>
                        <a:pt x="3331" y="81"/>
                      </a:lnTo>
                      <a:lnTo>
                        <a:pt x="3287" y="71"/>
                      </a:lnTo>
                      <a:lnTo>
                        <a:pt x="3244" y="61"/>
                      </a:lnTo>
                      <a:lnTo>
                        <a:pt x="3200" y="51"/>
                      </a:lnTo>
                      <a:lnTo>
                        <a:pt x="3155" y="43"/>
                      </a:lnTo>
                      <a:lnTo>
                        <a:pt x="3155" y="43"/>
                      </a:lnTo>
                      <a:lnTo>
                        <a:pt x="3097" y="34"/>
                      </a:lnTo>
                      <a:lnTo>
                        <a:pt x="3040" y="25"/>
                      </a:lnTo>
                      <a:lnTo>
                        <a:pt x="2981" y="18"/>
                      </a:lnTo>
                      <a:lnTo>
                        <a:pt x="2922" y="11"/>
                      </a:lnTo>
                      <a:lnTo>
                        <a:pt x="2864" y="7"/>
                      </a:lnTo>
                      <a:lnTo>
                        <a:pt x="2804" y="3"/>
                      </a:lnTo>
                      <a:lnTo>
                        <a:pt x="2744" y="1"/>
                      </a:lnTo>
                      <a:lnTo>
                        <a:pt x="2684" y="0"/>
                      </a:lnTo>
                      <a:lnTo>
                        <a:pt x="2684" y="0"/>
                      </a:lnTo>
                      <a:lnTo>
                        <a:pt x="2614" y="1"/>
                      </a:lnTo>
                      <a:lnTo>
                        <a:pt x="2546" y="3"/>
                      </a:lnTo>
                      <a:lnTo>
                        <a:pt x="2477" y="8"/>
                      </a:lnTo>
                      <a:lnTo>
                        <a:pt x="2409" y="13"/>
                      </a:lnTo>
                      <a:lnTo>
                        <a:pt x="2342" y="22"/>
                      </a:lnTo>
                      <a:lnTo>
                        <a:pt x="2275" y="31"/>
                      </a:lnTo>
                      <a:lnTo>
                        <a:pt x="2209" y="41"/>
                      </a:lnTo>
                      <a:lnTo>
                        <a:pt x="2143" y="54"/>
                      </a:lnTo>
                      <a:lnTo>
                        <a:pt x="2077" y="69"/>
                      </a:lnTo>
                      <a:lnTo>
                        <a:pt x="2013" y="84"/>
                      </a:lnTo>
                      <a:lnTo>
                        <a:pt x="1949" y="101"/>
                      </a:lnTo>
                      <a:lnTo>
                        <a:pt x="1886" y="121"/>
                      </a:lnTo>
                      <a:lnTo>
                        <a:pt x="1823" y="140"/>
                      </a:lnTo>
                      <a:lnTo>
                        <a:pt x="1761" y="162"/>
                      </a:lnTo>
                      <a:lnTo>
                        <a:pt x="1700" y="186"/>
                      </a:lnTo>
                      <a:lnTo>
                        <a:pt x="1640" y="210"/>
                      </a:lnTo>
                      <a:lnTo>
                        <a:pt x="1580" y="237"/>
                      </a:lnTo>
                      <a:lnTo>
                        <a:pt x="1520" y="264"/>
                      </a:lnTo>
                      <a:lnTo>
                        <a:pt x="1463" y="293"/>
                      </a:lnTo>
                      <a:lnTo>
                        <a:pt x="1405" y="323"/>
                      </a:lnTo>
                      <a:lnTo>
                        <a:pt x="1349" y="355"/>
                      </a:lnTo>
                      <a:lnTo>
                        <a:pt x="1292" y="388"/>
                      </a:lnTo>
                      <a:lnTo>
                        <a:pt x="1238" y="422"/>
                      </a:lnTo>
                      <a:lnTo>
                        <a:pt x="1184" y="458"/>
                      </a:lnTo>
                      <a:lnTo>
                        <a:pt x="1131" y="495"/>
                      </a:lnTo>
                      <a:lnTo>
                        <a:pt x="1078" y="533"/>
                      </a:lnTo>
                      <a:lnTo>
                        <a:pt x="1027" y="572"/>
                      </a:lnTo>
                      <a:lnTo>
                        <a:pt x="977" y="612"/>
                      </a:lnTo>
                      <a:lnTo>
                        <a:pt x="928" y="654"/>
                      </a:lnTo>
                      <a:lnTo>
                        <a:pt x="880" y="696"/>
                      </a:lnTo>
                      <a:lnTo>
                        <a:pt x="833" y="740"/>
                      </a:lnTo>
                      <a:lnTo>
                        <a:pt x="787" y="785"/>
                      </a:lnTo>
                      <a:lnTo>
                        <a:pt x="742" y="831"/>
                      </a:lnTo>
                      <a:lnTo>
                        <a:pt x="698" y="878"/>
                      </a:lnTo>
                      <a:lnTo>
                        <a:pt x="655" y="926"/>
                      </a:lnTo>
                      <a:lnTo>
                        <a:pt x="614" y="976"/>
                      </a:lnTo>
                      <a:lnTo>
                        <a:pt x="573" y="1027"/>
                      </a:lnTo>
                      <a:lnTo>
                        <a:pt x="533" y="1077"/>
                      </a:lnTo>
                      <a:lnTo>
                        <a:pt x="495" y="1129"/>
                      </a:lnTo>
                      <a:lnTo>
                        <a:pt x="459" y="1182"/>
                      </a:lnTo>
                      <a:lnTo>
                        <a:pt x="424" y="1236"/>
                      </a:lnTo>
                      <a:lnTo>
                        <a:pt x="390" y="1291"/>
                      </a:lnTo>
                      <a:lnTo>
                        <a:pt x="356" y="1347"/>
                      </a:lnTo>
                      <a:lnTo>
                        <a:pt x="325" y="1403"/>
                      </a:lnTo>
                      <a:lnTo>
                        <a:pt x="294" y="1461"/>
                      </a:lnTo>
                      <a:lnTo>
                        <a:pt x="265" y="1519"/>
                      </a:lnTo>
                      <a:lnTo>
                        <a:pt x="238" y="1578"/>
                      </a:lnTo>
                      <a:lnTo>
                        <a:pt x="212" y="1638"/>
                      </a:lnTo>
                      <a:lnTo>
                        <a:pt x="187" y="1699"/>
                      </a:lnTo>
                      <a:lnTo>
                        <a:pt x="164" y="1760"/>
                      </a:lnTo>
                      <a:lnTo>
                        <a:pt x="142" y="1822"/>
                      </a:lnTo>
                      <a:lnTo>
                        <a:pt x="121" y="1884"/>
                      </a:lnTo>
                      <a:lnTo>
                        <a:pt x="103" y="1948"/>
                      </a:lnTo>
                      <a:lnTo>
                        <a:pt x="86" y="2012"/>
                      </a:lnTo>
                      <a:lnTo>
                        <a:pt x="69" y="2077"/>
                      </a:lnTo>
                      <a:lnTo>
                        <a:pt x="56" y="2142"/>
                      </a:lnTo>
                      <a:lnTo>
                        <a:pt x="43" y="2208"/>
                      </a:lnTo>
                      <a:lnTo>
                        <a:pt x="31" y="2274"/>
                      </a:lnTo>
                      <a:lnTo>
                        <a:pt x="22" y="2340"/>
                      </a:lnTo>
                      <a:lnTo>
                        <a:pt x="14" y="2408"/>
                      </a:lnTo>
                      <a:lnTo>
                        <a:pt x="8" y="2476"/>
                      </a:lnTo>
                      <a:lnTo>
                        <a:pt x="4" y="2544"/>
                      </a:lnTo>
                      <a:lnTo>
                        <a:pt x="2" y="2613"/>
                      </a:lnTo>
                      <a:lnTo>
                        <a:pt x="0" y="2682"/>
                      </a:lnTo>
                      <a:lnTo>
                        <a:pt x="0" y="2682"/>
                      </a:lnTo>
                      <a:lnTo>
                        <a:pt x="2" y="2751"/>
                      </a:lnTo>
                      <a:lnTo>
                        <a:pt x="4" y="2820"/>
                      </a:lnTo>
                      <a:lnTo>
                        <a:pt x="8" y="2888"/>
                      </a:lnTo>
                      <a:lnTo>
                        <a:pt x="14" y="2955"/>
                      </a:lnTo>
                      <a:lnTo>
                        <a:pt x="22" y="3023"/>
                      </a:lnTo>
                      <a:lnTo>
                        <a:pt x="31" y="3090"/>
                      </a:lnTo>
                      <a:lnTo>
                        <a:pt x="43" y="3155"/>
                      </a:lnTo>
                      <a:lnTo>
                        <a:pt x="55" y="3221"/>
                      </a:lnTo>
                      <a:lnTo>
                        <a:pt x="69" y="3286"/>
                      </a:lnTo>
                      <a:lnTo>
                        <a:pt x="84" y="3350"/>
                      </a:lnTo>
                      <a:lnTo>
                        <a:pt x="102" y="3413"/>
                      </a:lnTo>
                      <a:lnTo>
                        <a:pt x="120" y="3477"/>
                      </a:lnTo>
                      <a:lnTo>
                        <a:pt x="141" y="3539"/>
                      </a:lnTo>
                      <a:lnTo>
                        <a:pt x="163" y="3601"/>
                      </a:lnTo>
                      <a:lnTo>
                        <a:pt x="186" y="3662"/>
                      </a:lnTo>
                      <a:lnTo>
                        <a:pt x="210" y="3723"/>
                      </a:lnTo>
                      <a:lnTo>
                        <a:pt x="236" y="3782"/>
                      </a:lnTo>
                      <a:lnTo>
                        <a:pt x="264" y="3840"/>
                      </a:lnTo>
                      <a:lnTo>
                        <a:pt x="292" y="3899"/>
                      </a:lnTo>
                      <a:lnTo>
                        <a:pt x="323" y="3957"/>
                      </a:lnTo>
                      <a:lnTo>
                        <a:pt x="354" y="4013"/>
                      </a:lnTo>
                      <a:lnTo>
                        <a:pt x="386" y="4068"/>
                      </a:lnTo>
                      <a:lnTo>
                        <a:pt x="421" y="4123"/>
                      </a:lnTo>
                      <a:lnTo>
                        <a:pt x="455" y="4177"/>
                      </a:lnTo>
                      <a:lnTo>
                        <a:pt x="492" y="4230"/>
                      </a:lnTo>
                      <a:lnTo>
                        <a:pt x="530" y="4281"/>
                      </a:lnTo>
                      <a:lnTo>
                        <a:pt x="569" y="4333"/>
                      </a:lnTo>
                      <a:lnTo>
                        <a:pt x="609" y="4383"/>
                      </a:lnTo>
                      <a:lnTo>
                        <a:pt x="650" y="4432"/>
                      </a:lnTo>
                      <a:lnTo>
                        <a:pt x="692" y="4479"/>
                      </a:lnTo>
                      <a:lnTo>
                        <a:pt x="736" y="4527"/>
                      </a:lnTo>
                      <a:lnTo>
                        <a:pt x="781" y="4573"/>
                      </a:lnTo>
                      <a:lnTo>
                        <a:pt x="781" y="4573"/>
                      </a:lnTo>
                      <a:lnTo>
                        <a:pt x="827" y="4619"/>
                      </a:lnTo>
                      <a:lnTo>
                        <a:pt x="874" y="4663"/>
                      </a:lnTo>
                      <a:lnTo>
                        <a:pt x="923" y="4705"/>
                      </a:lnTo>
                      <a:lnTo>
                        <a:pt x="972" y="4748"/>
                      </a:lnTo>
                      <a:lnTo>
                        <a:pt x="1022" y="4788"/>
                      </a:lnTo>
                      <a:lnTo>
                        <a:pt x="1073" y="4828"/>
                      </a:lnTo>
                      <a:lnTo>
                        <a:pt x="1125" y="4866"/>
                      </a:lnTo>
                      <a:lnTo>
                        <a:pt x="1178" y="4903"/>
                      </a:lnTo>
                      <a:lnTo>
                        <a:pt x="1232" y="4939"/>
                      </a:lnTo>
                      <a:lnTo>
                        <a:pt x="1288" y="4973"/>
                      </a:lnTo>
                      <a:lnTo>
                        <a:pt x="1344" y="5007"/>
                      </a:lnTo>
                      <a:lnTo>
                        <a:pt x="1400" y="5039"/>
                      </a:lnTo>
                      <a:lnTo>
                        <a:pt x="1458" y="5069"/>
                      </a:lnTo>
                      <a:lnTo>
                        <a:pt x="1517" y="5099"/>
                      </a:lnTo>
                      <a:lnTo>
                        <a:pt x="1575" y="5127"/>
                      </a:lnTo>
                      <a:lnTo>
                        <a:pt x="1635" y="5153"/>
                      </a:lnTo>
                      <a:lnTo>
                        <a:pt x="1696" y="5177"/>
                      </a:lnTo>
                      <a:lnTo>
                        <a:pt x="1757" y="5201"/>
                      </a:lnTo>
                      <a:lnTo>
                        <a:pt x="1819" y="5223"/>
                      </a:lnTo>
                      <a:lnTo>
                        <a:pt x="1883" y="5244"/>
                      </a:lnTo>
                      <a:lnTo>
                        <a:pt x="1946" y="5262"/>
                      </a:lnTo>
                      <a:lnTo>
                        <a:pt x="2011" y="5280"/>
                      </a:lnTo>
                      <a:lnTo>
                        <a:pt x="2075" y="5296"/>
                      </a:lnTo>
                      <a:lnTo>
                        <a:pt x="2141" y="5311"/>
                      </a:lnTo>
                      <a:lnTo>
                        <a:pt x="2206" y="5323"/>
                      </a:lnTo>
                      <a:lnTo>
                        <a:pt x="2273" y="5334"/>
                      </a:lnTo>
                      <a:lnTo>
                        <a:pt x="2341" y="5343"/>
                      </a:lnTo>
                      <a:lnTo>
                        <a:pt x="2408" y="5351"/>
                      </a:lnTo>
                      <a:lnTo>
                        <a:pt x="2477" y="5357"/>
                      </a:lnTo>
                      <a:lnTo>
                        <a:pt x="2545" y="5361"/>
                      </a:lnTo>
                      <a:lnTo>
                        <a:pt x="2614" y="5365"/>
                      </a:lnTo>
                      <a:lnTo>
                        <a:pt x="2684" y="5365"/>
                      </a:lnTo>
                      <a:lnTo>
                        <a:pt x="2684" y="5365"/>
                      </a:lnTo>
                      <a:lnTo>
                        <a:pt x="2753" y="5365"/>
                      </a:lnTo>
                      <a:lnTo>
                        <a:pt x="2821" y="5361"/>
                      </a:lnTo>
                      <a:lnTo>
                        <a:pt x="2890" y="5357"/>
                      </a:lnTo>
                      <a:lnTo>
                        <a:pt x="2958" y="5351"/>
                      </a:lnTo>
                      <a:lnTo>
                        <a:pt x="3025" y="5344"/>
                      </a:lnTo>
                      <a:lnTo>
                        <a:pt x="3092" y="5334"/>
                      </a:lnTo>
                      <a:lnTo>
                        <a:pt x="3158" y="5323"/>
                      </a:lnTo>
                      <a:lnTo>
                        <a:pt x="3224" y="5311"/>
                      </a:lnTo>
                      <a:lnTo>
                        <a:pt x="3290" y="5297"/>
                      </a:lnTo>
                      <a:lnTo>
                        <a:pt x="3354" y="5281"/>
                      </a:lnTo>
                      <a:lnTo>
                        <a:pt x="3417" y="5264"/>
                      </a:lnTo>
                      <a:lnTo>
                        <a:pt x="3481" y="5245"/>
                      </a:lnTo>
                      <a:lnTo>
                        <a:pt x="3544" y="5224"/>
                      </a:lnTo>
                      <a:lnTo>
                        <a:pt x="3606" y="5202"/>
                      </a:lnTo>
                      <a:lnTo>
                        <a:pt x="3667" y="5179"/>
                      </a:lnTo>
                      <a:lnTo>
                        <a:pt x="3728" y="5154"/>
                      </a:lnTo>
                      <a:lnTo>
                        <a:pt x="3787" y="5128"/>
                      </a:lnTo>
                      <a:lnTo>
                        <a:pt x="3847" y="5101"/>
                      </a:lnTo>
                      <a:lnTo>
                        <a:pt x="3904" y="5071"/>
                      </a:lnTo>
                      <a:lnTo>
                        <a:pt x="3962" y="5041"/>
                      </a:lnTo>
                      <a:lnTo>
                        <a:pt x="4018" y="5010"/>
                      </a:lnTo>
                      <a:lnTo>
                        <a:pt x="4075" y="4977"/>
                      </a:lnTo>
                      <a:lnTo>
                        <a:pt x="4129" y="4942"/>
                      </a:lnTo>
                      <a:lnTo>
                        <a:pt x="4183" y="4907"/>
                      </a:lnTo>
                      <a:lnTo>
                        <a:pt x="4236" y="4870"/>
                      </a:lnTo>
                      <a:lnTo>
                        <a:pt x="4289" y="4832"/>
                      </a:lnTo>
                      <a:lnTo>
                        <a:pt x="4340" y="4793"/>
                      </a:lnTo>
                      <a:lnTo>
                        <a:pt x="4390" y="4752"/>
                      </a:lnTo>
                      <a:lnTo>
                        <a:pt x="4439" y="4711"/>
                      </a:lnTo>
                      <a:lnTo>
                        <a:pt x="4487" y="4668"/>
                      </a:lnTo>
                      <a:lnTo>
                        <a:pt x="4534" y="4625"/>
                      </a:lnTo>
                      <a:lnTo>
                        <a:pt x="4580" y="4580"/>
                      </a:lnTo>
                      <a:lnTo>
                        <a:pt x="4625" y="4534"/>
                      </a:lnTo>
                      <a:lnTo>
                        <a:pt x="4669" y="4486"/>
                      </a:lnTo>
                      <a:lnTo>
                        <a:pt x="4711" y="4438"/>
                      </a:lnTo>
                      <a:lnTo>
                        <a:pt x="4754" y="4389"/>
                      </a:lnTo>
                      <a:lnTo>
                        <a:pt x="4794" y="4339"/>
                      </a:lnTo>
                      <a:lnTo>
                        <a:pt x="4833" y="4287"/>
                      </a:lnTo>
                      <a:lnTo>
                        <a:pt x="4871" y="4235"/>
                      </a:lnTo>
                      <a:lnTo>
                        <a:pt x="4908" y="4182"/>
                      </a:lnTo>
                      <a:lnTo>
                        <a:pt x="4944" y="4128"/>
                      </a:lnTo>
                      <a:lnTo>
                        <a:pt x="4977" y="4073"/>
                      </a:lnTo>
                      <a:lnTo>
                        <a:pt x="5011" y="4018"/>
                      </a:lnTo>
                      <a:lnTo>
                        <a:pt x="5042" y="3961"/>
                      </a:lnTo>
                      <a:lnTo>
                        <a:pt x="5073" y="3904"/>
                      </a:lnTo>
                      <a:lnTo>
                        <a:pt x="5102" y="3845"/>
                      </a:lnTo>
                      <a:lnTo>
                        <a:pt x="5129" y="3786"/>
                      </a:lnTo>
                      <a:lnTo>
                        <a:pt x="5156" y="3726"/>
                      </a:lnTo>
                      <a:lnTo>
                        <a:pt x="5180" y="3667"/>
                      </a:lnTo>
                      <a:lnTo>
                        <a:pt x="5203" y="3604"/>
                      </a:lnTo>
                      <a:lnTo>
                        <a:pt x="5225" y="3542"/>
                      </a:lnTo>
                      <a:lnTo>
                        <a:pt x="5246" y="3480"/>
                      </a:lnTo>
                      <a:lnTo>
                        <a:pt x="5264" y="3417"/>
                      </a:lnTo>
                      <a:lnTo>
                        <a:pt x="5281" y="3352"/>
                      </a:lnTo>
                      <a:lnTo>
                        <a:pt x="5297" y="3288"/>
                      </a:lnTo>
                      <a:lnTo>
                        <a:pt x="5311" y="3223"/>
                      </a:lnTo>
                      <a:lnTo>
                        <a:pt x="5324" y="3158"/>
                      </a:lnTo>
                      <a:lnTo>
                        <a:pt x="5335" y="3091"/>
                      </a:lnTo>
                      <a:lnTo>
                        <a:pt x="5345" y="3024"/>
                      </a:lnTo>
                      <a:lnTo>
                        <a:pt x="5353" y="2956"/>
                      </a:lnTo>
                      <a:lnTo>
                        <a:pt x="5358" y="2888"/>
                      </a:lnTo>
                      <a:lnTo>
                        <a:pt x="5363" y="2820"/>
                      </a:lnTo>
                      <a:lnTo>
                        <a:pt x="5365" y="2751"/>
                      </a:lnTo>
                      <a:lnTo>
                        <a:pt x="5366" y="2682"/>
                      </a:lnTo>
                      <a:lnTo>
                        <a:pt x="5366" y="2682"/>
                      </a:lnTo>
                      <a:lnTo>
                        <a:pt x="5365" y="2641"/>
                      </a:lnTo>
                      <a:lnTo>
                        <a:pt x="5364" y="2599"/>
                      </a:lnTo>
                      <a:lnTo>
                        <a:pt x="5361" y="2518"/>
                      </a:lnTo>
                      <a:lnTo>
                        <a:pt x="5354" y="2436"/>
                      </a:lnTo>
                      <a:lnTo>
                        <a:pt x="5345" y="2354"/>
                      </a:lnTo>
                      <a:lnTo>
                        <a:pt x="5333" y="2275"/>
                      </a:lnTo>
                      <a:lnTo>
                        <a:pt x="5319" y="2195"/>
                      </a:lnTo>
                      <a:lnTo>
                        <a:pt x="5303" y="2117"/>
                      </a:lnTo>
                      <a:lnTo>
                        <a:pt x="5285" y="203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97" name="Freeform 241"/>
                <p:cNvSpPr>
                  <a:spLocks/>
                </p:cNvSpPr>
                <p:nvPr/>
              </p:nvSpPr>
              <p:spPr bwMode="auto">
                <a:xfrm>
                  <a:off x="4286250" y="2605088"/>
                  <a:ext cx="715963" cy="1036638"/>
                </a:xfrm>
                <a:custGeom>
                  <a:avLst/>
                  <a:gdLst>
                    <a:gd name="T0" fmla="*/ 1334 w 3155"/>
                    <a:gd name="T1" fmla="*/ 1917 h 4573"/>
                    <a:gd name="T2" fmla="*/ 1352 w 3155"/>
                    <a:gd name="T3" fmla="*/ 1727 h 4573"/>
                    <a:gd name="T4" fmla="*/ 1388 w 3155"/>
                    <a:gd name="T5" fmla="*/ 1542 h 4573"/>
                    <a:gd name="T6" fmla="*/ 1441 w 3155"/>
                    <a:gd name="T7" fmla="*/ 1364 h 4573"/>
                    <a:gd name="T8" fmla="*/ 1509 w 3155"/>
                    <a:gd name="T9" fmla="*/ 1194 h 4573"/>
                    <a:gd name="T10" fmla="*/ 1591 w 3155"/>
                    <a:gd name="T11" fmla="*/ 1031 h 4573"/>
                    <a:gd name="T12" fmla="*/ 1689 w 3155"/>
                    <a:gd name="T13" fmla="*/ 878 h 4573"/>
                    <a:gd name="T14" fmla="*/ 1800 w 3155"/>
                    <a:gd name="T15" fmla="*/ 735 h 4573"/>
                    <a:gd name="T16" fmla="*/ 1923 w 3155"/>
                    <a:gd name="T17" fmla="*/ 603 h 4573"/>
                    <a:gd name="T18" fmla="*/ 2058 w 3155"/>
                    <a:gd name="T19" fmla="*/ 483 h 4573"/>
                    <a:gd name="T20" fmla="*/ 2204 w 3155"/>
                    <a:gd name="T21" fmla="*/ 375 h 4573"/>
                    <a:gd name="T22" fmla="*/ 2358 w 3155"/>
                    <a:gd name="T23" fmla="*/ 281 h 4573"/>
                    <a:gd name="T24" fmla="*/ 2523 w 3155"/>
                    <a:gd name="T25" fmla="*/ 200 h 4573"/>
                    <a:gd name="T26" fmla="*/ 2696 w 3155"/>
                    <a:gd name="T27" fmla="*/ 134 h 4573"/>
                    <a:gd name="T28" fmla="*/ 2874 w 3155"/>
                    <a:gd name="T29" fmla="*/ 86 h 4573"/>
                    <a:gd name="T30" fmla="*/ 3060 w 3155"/>
                    <a:gd name="T31" fmla="*/ 54 h 4573"/>
                    <a:gd name="T32" fmla="*/ 3097 w 3155"/>
                    <a:gd name="T33" fmla="*/ 34 h 4573"/>
                    <a:gd name="T34" fmla="*/ 2864 w 3155"/>
                    <a:gd name="T35" fmla="*/ 7 h 4573"/>
                    <a:gd name="T36" fmla="*/ 2684 w 3155"/>
                    <a:gd name="T37" fmla="*/ 0 h 4573"/>
                    <a:gd name="T38" fmla="*/ 2409 w 3155"/>
                    <a:gd name="T39" fmla="*/ 13 h 4573"/>
                    <a:gd name="T40" fmla="*/ 2143 w 3155"/>
                    <a:gd name="T41" fmla="*/ 54 h 4573"/>
                    <a:gd name="T42" fmla="*/ 1886 w 3155"/>
                    <a:gd name="T43" fmla="*/ 121 h 4573"/>
                    <a:gd name="T44" fmla="*/ 1640 w 3155"/>
                    <a:gd name="T45" fmla="*/ 210 h 4573"/>
                    <a:gd name="T46" fmla="*/ 1405 w 3155"/>
                    <a:gd name="T47" fmla="*/ 323 h 4573"/>
                    <a:gd name="T48" fmla="*/ 1184 w 3155"/>
                    <a:gd name="T49" fmla="*/ 458 h 4573"/>
                    <a:gd name="T50" fmla="*/ 977 w 3155"/>
                    <a:gd name="T51" fmla="*/ 612 h 4573"/>
                    <a:gd name="T52" fmla="*/ 787 w 3155"/>
                    <a:gd name="T53" fmla="*/ 785 h 4573"/>
                    <a:gd name="T54" fmla="*/ 614 w 3155"/>
                    <a:gd name="T55" fmla="*/ 976 h 4573"/>
                    <a:gd name="T56" fmla="*/ 459 w 3155"/>
                    <a:gd name="T57" fmla="*/ 1182 h 4573"/>
                    <a:gd name="T58" fmla="*/ 325 w 3155"/>
                    <a:gd name="T59" fmla="*/ 1403 h 4573"/>
                    <a:gd name="T60" fmla="*/ 212 w 3155"/>
                    <a:gd name="T61" fmla="*/ 1638 h 4573"/>
                    <a:gd name="T62" fmla="*/ 121 w 3155"/>
                    <a:gd name="T63" fmla="*/ 1884 h 4573"/>
                    <a:gd name="T64" fmla="*/ 56 w 3155"/>
                    <a:gd name="T65" fmla="*/ 2142 h 4573"/>
                    <a:gd name="T66" fmla="*/ 14 w 3155"/>
                    <a:gd name="T67" fmla="*/ 2408 h 4573"/>
                    <a:gd name="T68" fmla="*/ 0 w 3155"/>
                    <a:gd name="T69" fmla="*/ 2682 h 4573"/>
                    <a:gd name="T70" fmla="*/ 8 w 3155"/>
                    <a:gd name="T71" fmla="*/ 2888 h 4573"/>
                    <a:gd name="T72" fmla="*/ 43 w 3155"/>
                    <a:gd name="T73" fmla="*/ 3155 h 4573"/>
                    <a:gd name="T74" fmla="*/ 102 w 3155"/>
                    <a:gd name="T75" fmla="*/ 3413 h 4573"/>
                    <a:gd name="T76" fmla="*/ 186 w 3155"/>
                    <a:gd name="T77" fmla="*/ 3662 h 4573"/>
                    <a:gd name="T78" fmla="*/ 292 w 3155"/>
                    <a:gd name="T79" fmla="*/ 3899 h 4573"/>
                    <a:gd name="T80" fmla="*/ 421 w 3155"/>
                    <a:gd name="T81" fmla="*/ 4123 h 4573"/>
                    <a:gd name="T82" fmla="*/ 569 w 3155"/>
                    <a:gd name="T83" fmla="*/ 4333 h 4573"/>
                    <a:gd name="T84" fmla="*/ 736 w 3155"/>
                    <a:gd name="T85" fmla="*/ 4527 h 4573"/>
                    <a:gd name="T86" fmla="*/ 1892 w 3155"/>
                    <a:gd name="T87" fmla="*/ 3394 h 4573"/>
                    <a:gd name="T88" fmla="*/ 1765 w 3155"/>
                    <a:gd name="T89" fmla="*/ 3249 h 4573"/>
                    <a:gd name="T90" fmla="*/ 1651 w 3155"/>
                    <a:gd name="T91" fmla="*/ 3093 h 4573"/>
                    <a:gd name="T92" fmla="*/ 1553 w 3155"/>
                    <a:gd name="T93" fmla="*/ 2925 h 4573"/>
                    <a:gd name="T94" fmla="*/ 1472 w 3155"/>
                    <a:gd name="T95" fmla="*/ 2749 h 4573"/>
                    <a:gd name="T96" fmla="*/ 1408 w 3155"/>
                    <a:gd name="T97" fmla="*/ 2562 h 4573"/>
                    <a:gd name="T98" fmla="*/ 1362 w 3155"/>
                    <a:gd name="T99" fmla="*/ 2369 h 4573"/>
                    <a:gd name="T100" fmla="*/ 1337 w 3155"/>
                    <a:gd name="T101" fmla="*/ 2168 h 4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55" h="4573">
                      <a:moveTo>
                        <a:pt x="1331" y="2013"/>
                      </a:moveTo>
                      <a:lnTo>
                        <a:pt x="1331" y="2013"/>
                      </a:lnTo>
                      <a:lnTo>
                        <a:pt x="1331" y="1965"/>
                      </a:lnTo>
                      <a:lnTo>
                        <a:pt x="1334" y="1917"/>
                      </a:lnTo>
                      <a:lnTo>
                        <a:pt x="1336" y="1868"/>
                      </a:lnTo>
                      <a:lnTo>
                        <a:pt x="1340" y="1821"/>
                      </a:lnTo>
                      <a:lnTo>
                        <a:pt x="1345" y="1774"/>
                      </a:lnTo>
                      <a:lnTo>
                        <a:pt x="1352" y="1727"/>
                      </a:lnTo>
                      <a:lnTo>
                        <a:pt x="1359" y="1679"/>
                      </a:lnTo>
                      <a:lnTo>
                        <a:pt x="1367" y="1633"/>
                      </a:lnTo>
                      <a:lnTo>
                        <a:pt x="1377" y="1587"/>
                      </a:lnTo>
                      <a:lnTo>
                        <a:pt x="1388" y="1542"/>
                      </a:lnTo>
                      <a:lnTo>
                        <a:pt x="1399" y="1498"/>
                      </a:lnTo>
                      <a:lnTo>
                        <a:pt x="1412" y="1453"/>
                      </a:lnTo>
                      <a:lnTo>
                        <a:pt x="1426" y="1408"/>
                      </a:lnTo>
                      <a:lnTo>
                        <a:pt x="1441" y="1364"/>
                      </a:lnTo>
                      <a:lnTo>
                        <a:pt x="1456" y="1321"/>
                      </a:lnTo>
                      <a:lnTo>
                        <a:pt x="1473" y="1278"/>
                      </a:lnTo>
                      <a:lnTo>
                        <a:pt x="1490" y="1236"/>
                      </a:lnTo>
                      <a:lnTo>
                        <a:pt x="1509" y="1194"/>
                      </a:lnTo>
                      <a:lnTo>
                        <a:pt x="1528" y="1152"/>
                      </a:lnTo>
                      <a:lnTo>
                        <a:pt x="1549" y="1112"/>
                      </a:lnTo>
                      <a:lnTo>
                        <a:pt x="1570" y="1072"/>
                      </a:lnTo>
                      <a:lnTo>
                        <a:pt x="1591" y="1031"/>
                      </a:lnTo>
                      <a:lnTo>
                        <a:pt x="1616" y="992"/>
                      </a:lnTo>
                      <a:lnTo>
                        <a:pt x="1639" y="954"/>
                      </a:lnTo>
                      <a:lnTo>
                        <a:pt x="1664" y="916"/>
                      </a:lnTo>
                      <a:lnTo>
                        <a:pt x="1689" y="878"/>
                      </a:lnTo>
                      <a:lnTo>
                        <a:pt x="1716" y="841"/>
                      </a:lnTo>
                      <a:lnTo>
                        <a:pt x="1743" y="806"/>
                      </a:lnTo>
                      <a:lnTo>
                        <a:pt x="1771" y="770"/>
                      </a:lnTo>
                      <a:lnTo>
                        <a:pt x="1800" y="735"/>
                      </a:lnTo>
                      <a:lnTo>
                        <a:pt x="1830" y="701"/>
                      </a:lnTo>
                      <a:lnTo>
                        <a:pt x="1861" y="667"/>
                      </a:lnTo>
                      <a:lnTo>
                        <a:pt x="1892" y="635"/>
                      </a:lnTo>
                      <a:lnTo>
                        <a:pt x="1923" y="603"/>
                      </a:lnTo>
                      <a:lnTo>
                        <a:pt x="1956" y="572"/>
                      </a:lnTo>
                      <a:lnTo>
                        <a:pt x="1990" y="542"/>
                      </a:lnTo>
                      <a:lnTo>
                        <a:pt x="2023" y="512"/>
                      </a:lnTo>
                      <a:lnTo>
                        <a:pt x="2058" y="483"/>
                      </a:lnTo>
                      <a:lnTo>
                        <a:pt x="2093" y="454"/>
                      </a:lnTo>
                      <a:lnTo>
                        <a:pt x="2129" y="427"/>
                      </a:lnTo>
                      <a:lnTo>
                        <a:pt x="2166" y="400"/>
                      </a:lnTo>
                      <a:lnTo>
                        <a:pt x="2204" y="375"/>
                      </a:lnTo>
                      <a:lnTo>
                        <a:pt x="2242" y="350"/>
                      </a:lnTo>
                      <a:lnTo>
                        <a:pt x="2280" y="325"/>
                      </a:lnTo>
                      <a:lnTo>
                        <a:pt x="2319" y="302"/>
                      </a:lnTo>
                      <a:lnTo>
                        <a:pt x="2358" y="281"/>
                      </a:lnTo>
                      <a:lnTo>
                        <a:pt x="2398" y="259"/>
                      </a:lnTo>
                      <a:lnTo>
                        <a:pt x="2440" y="238"/>
                      </a:lnTo>
                      <a:lnTo>
                        <a:pt x="2481" y="218"/>
                      </a:lnTo>
                      <a:lnTo>
                        <a:pt x="2523" y="200"/>
                      </a:lnTo>
                      <a:lnTo>
                        <a:pt x="2565" y="183"/>
                      </a:lnTo>
                      <a:lnTo>
                        <a:pt x="2608" y="165"/>
                      </a:lnTo>
                      <a:lnTo>
                        <a:pt x="2652" y="149"/>
                      </a:lnTo>
                      <a:lnTo>
                        <a:pt x="2696" y="134"/>
                      </a:lnTo>
                      <a:lnTo>
                        <a:pt x="2739" y="121"/>
                      </a:lnTo>
                      <a:lnTo>
                        <a:pt x="2784" y="108"/>
                      </a:lnTo>
                      <a:lnTo>
                        <a:pt x="2829" y="96"/>
                      </a:lnTo>
                      <a:lnTo>
                        <a:pt x="2874" y="86"/>
                      </a:lnTo>
                      <a:lnTo>
                        <a:pt x="2920" y="76"/>
                      </a:lnTo>
                      <a:lnTo>
                        <a:pt x="2966" y="68"/>
                      </a:lnTo>
                      <a:lnTo>
                        <a:pt x="3013" y="60"/>
                      </a:lnTo>
                      <a:lnTo>
                        <a:pt x="3060" y="54"/>
                      </a:lnTo>
                      <a:lnTo>
                        <a:pt x="3108" y="48"/>
                      </a:lnTo>
                      <a:lnTo>
                        <a:pt x="3155" y="43"/>
                      </a:lnTo>
                      <a:lnTo>
                        <a:pt x="3155" y="43"/>
                      </a:lnTo>
                      <a:lnTo>
                        <a:pt x="3097" y="34"/>
                      </a:lnTo>
                      <a:lnTo>
                        <a:pt x="3040" y="25"/>
                      </a:lnTo>
                      <a:lnTo>
                        <a:pt x="2981" y="18"/>
                      </a:lnTo>
                      <a:lnTo>
                        <a:pt x="2922" y="11"/>
                      </a:lnTo>
                      <a:lnTo>
                        <a:pt x="2864" y="7"/>
                      </a:lnTo>
                      <a:lnTo>
                        <a:pt x="2804" y="3"/>
                      </a:lnTo>
                      <a:lnTo>
                        <a:pt x="2744" y="1"/>
                      </a:lnTo>
                      <a:lnTo>
                        <a:pt x="2684" y="0"/>
                      </a:lnTo>
                      <a:lnTo>
                        <a:pt x="2684" y="0"/>
                      </a:lnTo>
                      <a:lnTo>
                        <a:pt x="2614" y="1"/>
                      </a:lnTo>
                      <a:lnTo>
                        <a:pt x="2546" y="3"/>
                      </a:lnTo>
                      <a:lnTo>
                        <a:pt x="2477" y="8"/>
                      </a:lnTo>
                      <a:lnTo>
                        <a:pt x="2409" y="13"/>
                      </a:lnTo>
                      <a:lnTo>
                        <a:pt x="2342" y="22"/>
                      </a:lnTo>
                      <a:lnTo>
                        <a:pt x="2275" y="31"/>
                      </a:lnTo>
                      <a:lnTo>
                        <a:pt x="2209" y="41"/>
                      </a:lnTo>
                      <a:lnTo>
                        <a:pt x="2143" y="54"/>
                      </a:lnTo>
                      <a:lnTo>
                        <a:pt x="2077" y="69"/>
                      </a:lnTo>
                      <a:lnTo>
                        <a:pt x="2013" y="84"/>
                      </a:lnTo>
                      <a:lnTo>
                        <a:pt x="1949" y="101"/>
                      </a:lnTo>
                      <a:lnTo>
                        <a:pt x="1886" y="121"/>
                      </a:lnTo>
                      <a:lnTo>
                        <a:pt x="1823" y="140"/>
                      </a:lnTo>
                      <a:lnTo>
                        <a:pt x="1761" y="162"/>
                      </a:lnTo>
                      <a:lnTo>
                        <a:pt x="1700" y="186"/>
                      </a:lnTo>
                      <a:lnTo>
                        <a:pt x="1640" y="210"/>
                      </a:lnTo>
                      <a:lnTo>
                        <a:pt x="1580" y="237"/>
                      </a:lnTo>
                      <a:lnTo>
                        <a:pt x="1520" y="264"/>
                      </a:lnTo>
                      <a:lnTo>
                        <a:pt x="1463" y="293"/>
                      </a:lnTo>
                      <a:lnTo>
                        <a:pt x="1405" y="323"/>
                      </a:lnTo>
                      <a:lnTo>
                        <a:pt x="1349" y="355"/>
                      </a:lnTo>
                      <a:lnTo>
                        <a:pt x="1292" y="388"/>
                      </a:lnTo>
                      <a:lnTo>
                        <a:pt x="1238" y="422"/>
                      </a:lnTo>
                      <a:lnTo>
                        <a:pt x="1184" y="458"/>
                      </a:lnTo>
                      <a:lnTo>
                        <a:pt x="1131" y="495"/>
                      </a:lnTo>
                      <a:lnTo>
                        <a:pt x="1078" y="533"/>
                      </a:lnTo>
                      <a:lnTo>
                        <a:pt x="1027" y="572"/>
                      </a:lnTo>
                      <a:lnTo>
                        <a:pt x="977" y="612"/>
                      </a:lnTo>
                      <a:lnTo>
                        <a:pt x="928" y="654"/>
                      </a:lnTo>
                      <a:lnTo>
                        <a:pt x="880" y="696"/>
                      </a:lnTo>
                      <a:lnTo>
                        <a:pt x="833" y="740"/>
                      </a:lnTo>
                      <a:lnTo>
                        <a:pt x="787" y="785"/>
                      </a:lnTo>
                      <a:lnTo>
                        <a:pt x="742" y="831"/>
                      </a:lnTo>
                      <a:lnTo>
                        <a:pt x="698" y="878"/>
                      </a:lnTo>
                      <a:lnTo>
                        <a:pt x="655" y="926"/>
                      </a:lnTo>
                      <a:lnTo>
                        <a:pt x="614" y="976"/>
                      </a:lnTo>
                      <a:lnTo>
                        <a:pt x="573" y="1027"/>
                      </a:lnTo>
                      <a:lnTo>
                        <a:pt x="533" y="1077"/>
                      </a:lnTo>
                      <a:lnTo>
                        <a:pt x="495" y="1129"/>
                      </a:lnTo>
                      <a:lnTo>
                        <a:pt x="459" y="1182"/>
                      </a:lnTo>
                      <a:lnTo>
                        <a:pt x="424" y="1236"/>
                      </a:lnTo>
                      <a:lnTo>
                        <a:pt x="390" y="1291"/>
                      </a:lnTo>
                      <a:lnTo>
                        <a:pt x="356" y="1347"/>
                      </a:lnTo>
                      <a:lnTo>
                        <a:pt x="325" y="1403"/>
                      </a:lnTo>
                      <a:lnTo>
                        <a:pt x="294" y="1461"/>
                      </a:lnTo>
                      <a:lnTo>
                        <a:pt x="265" y="1519"/>
                      </a:lnTo>
                      <a:lnTo>
                        <a:pt x="238" y="1578"/>
                      </a:lnTo>
                      <a:lnTo>
                        <a:pt x="212" y="1638"/>
                      </a:lnTo>
                      <a:lnTo>
                        <a:pt x="187" y="1699"/>
                      </a:lnTo>
                      <a:lnTo>
                        <a:pt x="164" y="1760"/>
                      </a:lnTo>
                      <a:lnTo>
                        <a:pt x="142" y="1822"/>
                      </a:lnTo>
                      <a:lnTo>
                        <a:pt x="121" y="1884"/>
                      </a:lnTo>
                      <a:lnTo>
                        <a:pt x="103" y="1948"/>
                      </a:lnTo>
                      <a:lnTo>
                        <a:pt x="86" y="2012"/>
                      </a:lnTo>
                      <a:lnTo>
                        <a:pt x="69" y="2077"/>
                      </a:lnTo>
                      <a:lnTo>
                        <a:pt x="56" y="2142"/>
                      </a:lnTo>
                      <a:lnTo>
                        <a:pt x="43" y="2208"/>
                      </a:lnTo>
                      <a:lnTo>
                        <a:pt x="31" y="2274"/>
                      </a:lnTo>
                      <a:lnTo>
                        <a:pt x="22" y="2340"/>
                      </a:lnTo>
                      <a:lnTo>
                        <a:pt x="14" y="2408"/>
                      </a:lnTo>
                      <a:lnTo>
                        <a:pt x="8" y="2476"/>
                      </a:lnTo>
                      <a:lnTo>
                        <a:pt x="4" y="2544"/>
                      </a:lnTo>
                      <a:lnTo>
                        <a:pt x="2" y="2613"/>
                      </a:lnTo>
                      <a:lnTo>
                        <a:pt x="0" y="2682"/>
                      </a:lnTo>
                      <a:lnTo>
                        <a:pt x="0" y="2682"/>
                      </a:lnTo>
                      <a:lnTo>
                        <a:pt x="2" y="2751"/>
                      </a:lnTo>
                      <a:lnTo>
                        <a:pt x="4" y="2820"/>
                      </a:lnTo>
                      <a:lnTo>
                        <a:pt x="8" y="2888"/>
                      </a:lnTo>
                      <a:lnTo>
                        <a:pt x="14" y="2955"/>
                      </a:lnTo>
                      <a:lnTo>
                        <a:pt x="22" y="3023"/>
                      </a:lnTo>
                      <a:lnTo>
                        <a:pt x="31" y="3090"/>
                      </a:lnTo>
                      <a:lnTo>
                        <a:pt x="43" y="3155"/>
                      </a:lnTo>
                      <a:lnTo>
                        <a:pt x="55" y="3221"/>
                      </a:lnTo>
                      <a:lnTo>
                        <a:pt x="69" y="3286"/>
                      </a:lnTo>
                      <a:lnTo>
                        <a:pt x="84" y="3350"/>
                      </a:lnTo>
                      <a:lnTo>
                        <a:pt x="102" y="3413"/>
                      </a:lnTo>
                      <a:lnTo>
                        <a:pt x="120" y="3477"/>
                      </a:lnTo>
                      <a:lnTo>
                        <a:pt x="141" y="3539"/>
                      </a:lnTo>
                      <a:lnTo>
                        <a:pt x="163" y="3601"/>
                      </a:lnTo>
                      <a:lnTo>
                        <a:pt x="186" y="3662"/>
                      </a:lnTo>
                      <a:lnTo>
                        <a:pt x="210" y="3723"/>
                      </a:lnTo>
                      <a:lnTo>
                        <a:pt x="236" y="3782"/>
                      </a:lnTo>
                      <a:lnTo>
                        <a:pt x="264" y="3840"/>
                      </a:lnTo>
                      <a:lnTo>
                        <a:pt x="292" y="3899"/>
                      </a:lnTo>
                      <a:lnTo>
                        <a:pt x="323" y="3957"/>
                      </a:lnTo>
                      <a:lnTo>
                        <a:pt x="354" y="4013"/>
                      </a:lnTo>
                      <a:lnTo>
                        <a:pt x="386" y="4068"/>
                      </a:lnTo>
                      <a:lnTo>
                        <a:pt x="421" y="4123"/>
                      </a:lnTo>
                      <a:lnTo>
                        <a:pt x="455" y="4177"/>
                      </a:lnTo>
                      <a:lnTo>
                        <a:pt x="492" y="4230"/>
                      </a:lnTo>
                      <a:lnTo>
                        <a:pt x="530" y="4281"/>
                      </a:lnTo>
                      <a:lnTo>
                        <a:pt x="569" y="4333"/>
                      </a:lnTo>
                      <a:lnTo>
                        <a:pt x="609" y="4383"/>
                      </a:lnTo>
                      <a:lnTo>
                        <a:pt x="650" y="4432"/>
                      </a:lnTo>
                      <a:lnTo>
                        <a:pt x="692" y="4479"/>
                      </a:lnTo>
                      <a:lnTo>
                        <a:pt x="736" y="4527"/>
                      </a:lnTo>
                      <a:lnTo>
                        <a:pt x="781" y="4573"/>
                      </a:lnTo>
                      <a:lnTo>
                        <a:pt x="1926" y="3427"/>
                      </a:lnTo>
                      <a:lnTo>
                        <a:pt x="1926" y="3427"/>
                      </a:lnTo>
                      <a:lnTo>
                        <a:pt x="1892" y="3394"/>
                      </a:lnTo>
                      <a:lnTo>
                        <a:pt x="1860" y="3358"/>
                      </a:lnTo>
                      <a:lnTo>
                        <a:pt x="1827" y="3322"/>
                      </a:lnTo>
                      <a:lnTo>
                        <a:pt x="1795" y="3287"/>
                      </a:lnTo>
                      <a:lnTo>
                        <a:pt x="1765" y="3249"/>
                      </a:lnTo>
                      <a:lnTo>
                        <a:pt x="1735" y="3211"/>
                      </a:lnTo>
                      <a:lnTo>
                        <a:pt x="1707" y="3173"/>
                      </a:lnTo>
                      <a:lnTo>
                        <a:pt x="1679" y="3132"/>
                      </a:lnTo>
                      <a:lnTo>
                        <a:pt x="1651" y="3093"/>
                      </a:lnTo>
                      <a:lnTo>
                        <a:pt x="1626" y="3052"/>
                      </a:lnTo>
                      <a:lnTo>
                        <a:pt x="1601" y="3010"/>
                      </a:lnTo>
                      <a:lnTo>
                        <a:pt x="1576" y="2969"/>
                      </a:lnTo>
                      <a:lnTo>
                        <a:pt x="1553" y="2925"/>
                      </a:lnTo>
                      <a:lnTo>
                        <a:pt x="1532" y="2883"/>
                      </a:lnTo>
                      <a:lnTo>
                        <a:pt x="1511" y="2839"/>
                      </a:lnTo>
                      <a:lnTo>
                        <a:pt x="1491" y="2794"/>
                      </a:lnTo>
                      <a:lnTo>
                        <a:pt x="1472" y="2749"/>
                      </a:lnTo>
                      <a:lnTo>
                        <a:pt x="1454" y="2703"/>
                      </a:lnTo>
                      <a:lnTo>
                        <a:pt x="1438" y="2657"/>
                      </a:lnTo>
                      <a:lnTo>
                        <a:pt x="1422" y="2610"/>
                      </a:lnTo>
                      <a:lnTo>
                        <a:pt x="1408" y="2562"/>
                      </a:lnTo>
                      <a:lnTo>
                        <a:pt x="1395" y="2515"/>
                      </a:lnTo>
                      <a:lnTo>
                        <a:pt x="1383" y="2467"/>
                      </a:lnTo>
                      <a:lnTo>
                        <a:pt x="1373" y="2417"/>
                      </a:lnTo>
                      <a:lnTo>
                        <a:pt x="1362" y="2369"/>
                      </a:lnTo>
                      <a:lnTo>
                        <a:pt x="1354" y="2320"/>
                      </a:lnTo>
                      <a:lnTo>
                        <a:pt x="1347" y="2269"/>
                      </a:lnTo>
                      <a:lnTo>
                        <a:pt x="1342" y="2219"/>
                      </a:lnTo>
                      <a:lnTo>
                        <a:pt x="1337" y="2168"/>
                      </a:lnTo>
                      <a:lnTo>
                        <a:pt x="1334" y="2117"/>
                      </a:lnTo>
                      <a:lnTo>
                        <a:pt x="1331" y="2065"/>
                      </a:lnTo>
                      <a:lnTo>
                        <a:pt x="1331" y="2013"/>
                      </a:lnTo>
                      <a:close/>
                    </a:path>
                  </a:pathLst>
                </a:custGeom>
                <a:solidFill>
                  <a:srgbClr val="DD39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98" name="Freeform 242"/>
                <p:cNvSpPr>
                  <a:spLocks/>
                </p:cNvSpPr>
                <p:nvPr/>
              </p:nvSpPr>
              <p:spPr bwMode="auto">
                <a:xfrm>
                  <a:off x="4286250" y="2605088"/>
                  <a:ext cx="715963" cy="1036638"/>
                </a:xfrm>
                <a:custGeom>
                  <a:avLst/>
                  <a:gdLst>
                    <a:gd name="T0" fmla="*/ 1334 w 3155"/>
                    <a:gd name="T1" fmla="*/ 1917 h 4573"/>
                    <a:gd name="T2" fmla="*/ 1352 w 3155"/>
                    <a:gd name="T3" fmla="*/ 1727 h 4573"/>
                    <a:gd name="T4" fmla="*/ 1388 w 3155"/>
                    <a:gd name="T5" fmla="*/ 1542 h 4573"/>
                    <a:gd name="T6" fmla="*/ 1441 w 3155"/>
                    <a:gd name="T7" fmla="*/ 1364 h 4573"/>
                    <a:gd name="T8" fmla="*/ 1509 w 3155"/>
                    <a:gd name="T9" fmla="*/ 1194 h 4573"/>
                    <a:gd name="T10" fmla="*/ 1591 w 3155"/>
                    <a:gd name="T11" fmla="*/ 1031 h 4573"/>
                    <a:gd name="T12" fmla="*/ 1689 w 3155"/>
                    <a:gd name="T13" fmla="*/ 878 h 4573"/>
                    <a:gd name="T14" fmla="*/ 1800 w 3155"/>
                    <a:gd name="T15" fmla="*/ 735 h 4573"/>
                    <a:gd name="T16" fmla="*/ 1923 w 3155"/>
                    <a:gd name="T17" fmla="*/ 603 h 4573"/>
                    <a:gd name="T18" fmla="*/ 2058 w 3155"/>
                    <a:gd name="T19" fmla="*/ 483 h 4573"/>
                    <a:gd name="T20" fmla="*/ 2204 w 3155"/>
                    <a:gd name="T21" fmla="*/ 375 h 4573"/>
                    <a:gd name="T22" fmla="*/ 2358 w 3155"/>
                    <a:gd name="T23" fmla="*/ 281 h 4573"/>
                    <a:gd name="T24" fmla="*/ 2523 w 3155"/>
                    <a:gd name="T25" fmla="*/ 200 h 4573"/>
                    <a:gd name="T26" fmla="*/ 2696 w 3155"/>
                    <a:gd name="T27" fmla="*/ 134 h 4573"/>
                    <a:gd name="T28" fmla="*/ 2874 w 3155"/>
                    <a:gd name="T29" fmla="*/ 86 h 4573"/>
                    <a:gd name="T30" fmla="*/ 3060 w 3155"/>
                    <a:gd name="T31" fmla="*/ 54 h 4573"/>
                    <a:gd name="T32" fmla="*/ 3097 w 3155"/>
                    <a:gd name="T33" fmla="*/ 34 h 4573"/>
                    <a:gd name="T34" fmla="*/ 2864 w 3155"/>
                    <a:gd name="T35" fmla="*/ 7 h 4573"/>
                    <a:gd name="T36" fmla="*/ 2684 w 3155"/>
                    <a:gd name="T37" fmla="*/ 0 h 4573"/>
                    <a:gd name="T38" fmla="*/ 2409 w 3155"/>
                    <a:gd name="T39" fmla="*/ 13 h 4573"/>
                    <a:gd name="T40" fmla="*/ 2143 w 3155"/>
                    <a:gd name="T41" fmla="*/ 54 h 4573"/>
                    <a:gd name="T42" fmla="*/ 1886 w 3155"/>
                    <a:gd name="T43" fmla="*/ 121 h 4573"/>
                    <a:gd name="T44" fmla="*/ 1640 w 3155"/>
                    <a:gd name="T45" fmla="*/ 210 h 4573"/>
                    <a:gd name="T46" fmla="*/ 1405 w 3155"/>
                    <a:gd name="T47" fmla="*/ 323 h 4573"/>
                    <a:gd name="T48" fmla="*/ 1184 w 3155"/>
                    <a:gd name="T49" fmla="*/ 458 h 4573"/>
                    <a:gd name="T50" fmla="*/ 977 w 3155"/>
                    <a:gd name="T51" fmla="*/ 612 h 4573"/>
                    <a:gd name="T52" fmla="*/ 787 w 3155"/>
                    <a:gd name="T53" fmla="*/ 785 h 4573"/>
                    <a:gd name="T54" fmla="*/ 614 w 3155"/>
                    <a:gd name="T55" fmla="*/ 976 h 4573"/>
                    <a:gd name="T56" fmla="*/ 459 w 3155"/>
                    <a:gd name="T57" fmla="*/ 1182 h 4573"/>
                    <a:gd name="T58" fmla="*/ 325 w 3155"/>
                    <a:gd name="T59" fmla="*/ 1403 h 4573"/>
                    <a:gd name="T60" fmla="*/ 212 w 3155"/>
                    <a:gd name="T61" fmla="*/ 1638 h 4573"/>
                    <a:gd name="T62" fmla="*/ 121 w 3155"/>
                    <a:gd name="T63" fmla="*/ 1884 h 4573"/>
                    <a:gd name="T64" fmla="*/ 56 w 3155"/>
                    <a:gd name="T65" fmla="*/ 2142 h 4573"/>
                    <a:gd name="T66" fmla="*/ 14 w 3155"/>
                    <a:gd name="T67" fmla="*/ 2408 h 4573"/>
                    <a:gd name="T68" fmla="*/ 0 w 3155"/>
                    <a:gd name="T69" fmla="*/ 2682 h 4573"/>
                    <a:gd name="T70" fmla="*/ 8 w 3155"/>
                    <a:gd name="T71" fmla="*/ 2888 h 4573"/>
                    <a:gd name="T72" fmla="*/ 43 w 3155"/>
                    <a:gd name="T73" fmla="*/ 3155 h 4573"/>
                    <a:gd name="T74" fmla="*/ 102 w 3155"/>
                    <a:gd name="T75" fmla="*/ 3413 h 4573"/>
                    <a:gd name="T76" fmla="*/ 186 w 3155"/>
                    <a:gd name="T77" fmla="*/ 3662 h 4573"/>
                    <a:gd name="T78" fmla="*/ 292 w 3155"/>
                    <a:gd name="T79" fmla="*/ 3899 h 4573"/>
                    <a:gd name="T80" fmla="*/ 421 w 3155"/>
                    <a:gd name="T81" fmla="*/ 4123 h 4573"/>
                    <a:gd name="T82" fmla="*/ 569 w 3155"/>
                    <a:gd name="T83" fmla="*/ 4333 h 4573"/>
                    <a:gd name="T84" fmla="*/ 736 w 3155"/>
                    <a:gd name="T85" fmla="*/ 4527 h 4573"/>
                    <a:gd name="T86" fmla="*/ 1892 w 3155"/>
                    <a:gd name="T87" fmla="*/ 3394 h 4573"/>
                    <a:gd name="T88" fmla="*/ 1765 w 3155"/>
                    <a:gd name="T89" fmla="*/ 3249 h 4573"/>
                    <a:gd name="T90" fmla="*/ 1651 w 3155"/>
                    <a:gd name="T91" fmla="*/ 3093 h 4573"/>
                    <a:gd name="T92" fmla="*/ 1553 w 3155"/>
                    <a:gd name="T93" fmla="*/ 2925 h 4573"/>
                    <a:gd name="T94" fmla="*/ 1472 w 3155"/>
                    <a:gd name="T95" fmla="*/ 2749 h 4573"/>
                    <a:gd name="T96" fmla="*/ 1408 w 3155"/>
                    <a:gd name="T97" fmla="*/ 2562 h 4573"/>
                    <a:gd name="T98" fmla="*/ 1362 w 3155"/>
                    <a:gd name="T99" fmla="*/ 2369 h 4573"/>
                    <a:gd name="T100" fmla="*/ 1337 w 3155"/>
                    <a:gd name="T101" fmla="*/ 2168 h 4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55" h="4573">
                      <a:moveTo>
                        <a:pt x="1331" y="2013"/>
                      </a:moveTo>
                      <a:lnTo>
                        <a:pt x="1331" y="2013"/>
                      </a:lnTo>
                      <a:lnTo>
                        <a:pt x="1331" y="1965"/>
                      </a:lnTo>
                      <a:lnTo>
                        <a:pt x="1334" y="1917"/>
                      </a:lnTo>
                      <a:lnTo>
                        <a:pt x="1336" y="1868"/>
                      </a:lnTo>
                      <a:lnTo>
                        <a:pt x="1340" y="1821"/>
                      </a:lnTo>
                      <a:lnTo>
                        <a:pt x="1345" y="1774"/>
                      </a:lnTo>
                      <a:lnTo>
                        <a:pt x="1352" y="1727"/>
                      </a:lnTo>
                      <a:lnTo>
                        <a:pt x="1359" y="1679"/>
                      </a:lnTo>
                      <a:lnTo>
                        <a:pt x="1367" y="1633"/>
                      </a:lnTo>
                      <a:lnTo>
                        <a:pt x="1377" y="1587"/>
                      </a:lnTo>
                      <a:lnTo>
                        <a:pt x="1388" y="1542"/>
                      </a:lnTo>
                      <a:lnTo>
                        <a:pt x="1399" y="1498"/>
                      </a:lnTo>
                      <a:lnTo>
                        <a:pt x="1412" y="1453"/>
                      </a:lnTo>
                      <a:lnTo>
                        <a:pt x="1426" y="1408"/>
                      </a:lnTo>
                      <a:lnTo>
                        <a:pt x="1441" y="1364"/>
                      </a:lnTo>
                      <a:lnTo>
                        <a:pt x="1456" y="1321"/>
                      </a:lnTo>
                      <a:lnTo>
                        <a:pt x="1473" y="1278"/>
                      </a:lnTo>
                      <a:lnTo>
                        <a:pt x="1490" y="1236"/>
                      </a:lnTo>
                      <a:lnTo>
                        <a:pt x="1509" y="1194"/>
                      </a:lnTo>
                      <a:lnTo>
                        <a:pt x="1528" y="1152"/>
                      </a:lnTo>
                      <a:lnTo>
                        <a:pt x="1549" y="1112"/>
                      </a:lnTo>
                      <a:lnTo>
                        <a:pt x="1570" y="1072"/>
                      </a:lnTo>
                      <a:lnTo>
                        <a:pt x="1591" y="1031"/>
                      </a:lnTo>
                      <a:lnTo>
                        <a:pt x="1616" y="992"/>
                      </a:lnTo>
                      <a:lnTo>
                        <a:pt x="1639" y="954"/>
                      </a:lnTo>
                      <a:lnTo>
                        <a:pt x="1664" y="916"/>
                      </a:lnTo>
                      <a:lnTo>
                        <a:pt x="1689" y="878"/>
                      </a:lnTo>
                      <a:lnTo>
                        <a:pt x="1716" y="841"/>
                      </a:lnTo>
                      <a:lnTo>
                        <a:pt x="1743" y="806"/>
                      </a:lnTo>
                      <a:lnTo>
                        <a:pt x="1771" y="770"/>
                      </a:lnTo>
                      <a:lnTo>
                        <a:pt x="1800" y="735"/>
                      </a:lnTo>
                      <a:lnTo>
                        <a:pt x="1830" y="701"/>
                      </a:lnTo>
                      <a:lnTo>
                        <a:pt x="1861" y="667"/>
                      </a:lnTo>
                      <a:lnTo>
                        <a:pt x="1892" y="635"/>
                      </a:lnTo>
                      <a:lnTo>
                        <a:pt x="1923" y="603"/>
                      </a:lnTo>
                      <a:lnTo>
                        <a:pt x="1956" y="572"/>
                      </a:lnTo>
                      <a:lnTo>
                        <a:pt x="1990" y="542"/>
                      </a:lnTo>
                      <a:lnTo>
                        <a:pt x="2023" y="512"/>
                      </a:lnTo>
                      <a:lnTo>
                        <a:pt x="2058" y="483"/>
                      </a:lnTo>
                      <a:lnTo>
                        <a:pt x="2093" y="454"/>
                      </a:lnTo>
                      <a:lnTo>
                        <a:pt x="2129" y="427"/>
                      </a:lnTo>
                      <a:lnTo>
                        <a:pt x="2166" y="400"/>
                      </a:lnTo>
                      <a:lnTo>
                        <a:pt x="2204" y="375"/>
                      </a:lnTo>
                      <a:lnTo>
                        <a:pt x="2242" y="350"/>
                      </a:lnTo>
                      <a:lnTo>
                        <a:pt x="2280" y="325"/>
                      </a:lnTo>
                      <a:lnTo>
                        <a:pt x="2319" y="302"/>
                      </a:lnTo>
                      <a:lnTo>
                        <a:pt x="2358" y="281"/>
                      </a:lnTo>
                      <a:lnTo>
                        <a:pt x="2398" y="259"/>
                      </a:lnTo>
                      <a:lnTo>
                        <a:pt x="2440" y="238"/>
                      </a:lnTo>
                      <a:lnTo>
                        <a:pt x="2481" y="218"/>
                      </a:lnTo>
                      <a:lnTo>
                        <a:pt x="2523" y="200"/>
                      </a:lnTo>
                      <a:lnTo>
                        <a:pt x="2565" y="183"/>
                      </a:lnTo>
                      <a:lnTo>
                        <a:pt x="2608" y="165"/>
                      </a:lnTo>
                      <a:lnTo>
                        <a:pt x="2652" y="149"/>
                      </a:lnTo>
                      <a:lnTo>
                        <a:pt x="2696" y="134"/>
                      </a:lnTo>
                      <a:lnTo>
                        <a:pt x="2739" y="121"/>
                      </a:lnTo>
                      <a:lnTo>
                        <a:pt x="2784" y="108"/>
                      </a:lnTo>
                      <a:lnTo>
                        <a:pt x="2829" y="96"/>
                      </a:lnTo>
                      <a:lnTo>
                        <a:pt x="2874" y="86"/>
                      </a:lnTo>
                      <a:lnTo>
                        <a:pt x="2920" y="76"/>
                      </a:lnTo>
                      <a:lnTo>
                        <a:pt x="2966" y="68"/>
                      </a:lnTo>
                      <a:lnTo>
                        <a:pt x="3013" y="60"/>
                      </a:lnTo>
                      <a:lnTo>
                        <a:pt x="3060" y="54"/>
                      </a:lnTo>
                      <a:lnTo>
                        <a:pt x="3108" y="48"/>
                      </a:lnTo>
                      <a:lnTo>
                        <a:pt x="3155" y="43"/>
                      </a:lnTo>
                      <a:lnTo>
                        <a:pt x="3155" y="43"/>
                      </a:lnTo>
                      <a:lnTo>
                        <a:pt x="3097" y="34"/>
                      </a:lnTo>
                      <a:lnTo>
                        <a:pt x="3040" y="25"/>
                      </a:lnTo>
                      <a:lnTo>
                        <a:pt x="2981" y="18"/>
                      </a:lnTo>
                      <a:lnTo>
                        <a:pt x="2922" y="11"/>
                      </a:lnTo>
                      <a:lnTo>
                        <a:pt x="2864" y="7"/>
                      </a:lnTo>
                      <a:lnTo>
                        <a:pt x="2804" y="3"/>
                      </a:lnTo>
                      <a:lnTo>
                        <a:pt x="2744" y="1"/>
                      </a:lnTo>
                      <a:lnTo>
                        <a:pt x="2684" y="0"/>
                      </a:lnTo>
                      <a:lnTo>
                        <a:pt x="2684" y="0"/>
                      </a:lnTo>
                      <a:lnTo>
                        <a:pt x="2614" y="1"/>
                      </a:lnTo>
                      <a:lnTo>
                        <a:pt x="2546" y="3"/>
                      </a:lnTo>
                      <a:lnTo>
                        <a:pt x="2477" y="8"/>
                      </a:lnTo>
                      <a:lnTo>
                        <a:pt x="2409" y="13"/>
                      </a:lnTo>
                      <a:lnTo>
                        <a:pt x="2342" y="22"/>
                      </a:lnTo>
                      <a:lnTo>
                        <a:pt x="2275" y="31"/>
                      </a:lnTo>
                      <a:lnTo>
                        <a:pt x="2209" y="41"/>
                      </a:lnTo>
                      <a:lnTo>
                        <a:pt x="2143" y="54"/>
                      </a:lnTo>
                      <a:lnTo>
                        <a:pt x="2077" y="69"/>
                      </a:lnTo>
                      <a:lnTo>
                        <a:pt x="2013" y="84"/>
                      </a:lnTo>
                      <a:lnTo>
                        <a:pt x="1949" y="101"/>
                      </a:lnTo>
                      <a:lnTo>
                        <a:pt x="1886" y="121"/>
                      </a:lnTo>
                      <a:lnTo>
                        <a:pt x="1823" y="140"/>
                      </a:lnTo>
                      <a:lnTo>
                        <a:pt x="1761" y="162"/>
                      </a:lnTo>
                      <a:lnTo>
                        <a:pt x="1700" y="186"/>
                      </a:lnTo>
                      <a:lnTo>
                        <a:pt x="1640" y="210"/>
                      </a:lnTo>
                      <a:lnTo>
                        <a:pt x="1580" y="237"/>
                      </a:lnTo>
                      <a:lnTo>
                        <a:pt x="1520" y="264"/>
                      </a:lnTo>
                      <a:lnTo>
                        <a:pt x="1463" y="293"/>
                      </a:lnTo>
                      <a:lnTo>
                        <a:pt x="1405" y="323"/>
                      </a:lnTo>
                      <a:lnTo>
                        <a:pt x="1349" y="355"/>
                      </a:lnTo>
                      <a:lnTo>
                        <a:pt x="1292" y="388"/>
                      </a:lnTo>
                      <a:lnTo>
                        <a:pt x="1238" y="422"/>
                      </a:lnTo>
                      <a:lnTo>
                        <a:pt x="1184" y="458"/>
                      </a:lnTo>
                      <a:lnTo>
                        <a:pt x="1131" y="495"/>
                      </a:lnTo>
                      <a:lnTo>
                        <a:pt x="1078" y="533"/>
                      </a:lnTo>
                      <a:lnTo>
                        <a:pt x="1027" y="572"/>
                      </a:lnTo>
                      <a:lnTo>
                        <a:pt x="977" y="612"/>
                      </a:lnTo>
                      <a:lnTo>
                        <a:pt x="928" y="654"/>
                      </a:lnTo>
                      <a:lnTo>
                        <a:pt x="880" y="696"/>
                      </a:lnTo>
                      <a:lnTo>
                        <a:pt x="833" y="740"/>
                      </a:lnTo>
                      <a:lnTo>
                        <a:pt x="787" y="785"/>
                      </a:lnTo>
                      <a:lnTo>
                        <a:pt x="742" y="831"/>
                      </a:lnTo>
                      <a:lnTo>
                        <a:pt x="698" y="878"/>
                      </a:lnTo>
                      <a:lnTo>
                        <a:pt x="655" y="926"/>
                      </a:lnTo>
                      <a:lnTo>
                        <a:pt x="614" y="976"/>
                      </a:lnTo>
                      <a:lnTo>
                        <a:pt x="573" y="1027"/>
                      </a:lnTo>
                      <a:lnTo>
                        <a:pt x="533" y="1077"/>
                      </a:lnTo>
                      <a:lnTo>
                        <a:pt x="495" y="1129"/>
                      </a:lnTo>
                      <a:lnTo>
                        <a:pt x="459" y="1182"/>
                      </a:lnTo>
                      <a:lnTo>
                        <a:pt x="424" y="1236"/>
                      </a:lnTo>
                      <a:lnTo>
                        <a:pt x="390" y="1291"/>
                      </a:lnTo>
                      <a:lnTo>
                        <a:pt x="356" y="1347"/>
                      </a:lnTo>
                      <a:lnTo>
                        <a:pt x="325" y="1403"/>
                      </a:lnTo>
                      <a:lnTo>
                        <a:pt x="294" y="1461"/>
                      </a:lnTo>
                      <a:lnTo>
                        <a:pt x="265" y="1519"/>
                      </a:lnTo>
                      <a:lnTo>
                        <a:pt x="238" y="1578"/>
                      </a:lnTo>
                      <a:lnTo>
                        <a:pt x="212" y="1638"/>
                      </a:lnTo>
                      <a:lnTo>
                        <a:pt x="187" y="1699"/>
                      </a:lnTo>
                      <a:lnTo>
                        <a:pt x="164" y="1760"/>
                      </a:lnTo>
                      <a:lnTo>
                        <a:pt x="142" y="1822"/>
                      </a:lnTo>
                      <a:lnTo>
                        <a:pt x="121" y="1884"/>
                      </a:lnTo>
                      <a:lnTo>
                        <a:pt x="103" y="1948"/>
                      </a:lnTo>
                      <a:lnTo>
                        <a:pt x="86" y="2012"/>
                      </a:lnTo>
                      <a:lnTo>
                        <a:pt x="69" y="2077"/>
                      </a:lnTo>
                      <a:lnTo>
                        <a:pt x="56" y="2142"/>
                      </a:lnTo>
                      <a:lnTo>
                        <a:pt x="43" y="2208"/>
                      </a:lnTo>
                      <a:lnTo>
                        <a:pt x="31" y="2274"/>
                      </a:lnTo>
                      <a:lnTo>
                        <a:pt x="22" y="2340"/>
                      </a:lnTo>
                      <a:lnTo>
                        <a:pt x="14" y="2408"/>
                      </a:lnTo>
                      <a:lnTo>
                        <a:pt x="8" y="2476"/>
                      </a:lnTo>
                      <a:lnTo>
                        <a:pt x="4" y="2544"/>
                      </a:lnTo>
                      <a:lnTo>
                        <a:pt x="2" y="2613"/>
                      </a:lnTo>
                      <a:lnTo>
                        <a:pt x="0" y="2682"/>
                      </a:lnTo>
                      <a:lnTo>
                        <a:pt x="0" y="2682"/>
                      </a:lnTo>
                      <a:lnTo>
                        <a:pt x="2" y="2751"/>
                      </a:lnTo>
                      <a:lnTo>
                        <a:pt x="4" y="2820"/>
                      </a:lnTo>
                      <a:lnTo>
                        <a:pt x="8" y="2888"/>
                      </a:lnTo>
                      <a:lnTo>
                        <a:pt x="14" y="2955"/>
                      </a:lnTo>
                      <a:lnTo>
                        <a:pt x="22" y="3023"/>
                      </a:lnTo>
                      <a:lnTo>
                        <a:pt x="31" y="3090"/>
                      </a:lnTo>
                      <a:lnTo>
                        <a:pt x="43" y="3155"/>
                      </a:lnTo>
                      <a:lnTo>
                        <a:pt x="55" y="3221"/>
                      </a:lnTo>
                      <a:lnTo>
                        <a:pt x="69" y="3286"/>
                      </a:lnTo>
                      <a:lnTo>
                        <a:pt x="84" y="3350"/>
                      </a:lnTo>
                      <a:lnTo>
                        <a:pt x="102" y="3413"/>
                      </a:lnTo>
                      <a:lnTo>
                        <a:pt x="120" y="3477"/>
                      </a:lnTo>
                      <a:lnTo>
                        <a:pt x="141" y="3539"/>
                      </a:lnTo>
                      <a:lnTo>
                        <a:pt x="163" y="3601"/>
                      </a:lnTo>
                      <a:lnTo>
                        <a:pt x="186" y="3662"/>
                      </a:lnTo>
                      <a:lnTo>
                        <a:pt x="210" y="3723"/>
                      </a:lnTo>
                      <a:lnTo>
                        <a:pt x="236" y="3782"/>
                      </a:lnTo>
                      <a:lnTo>
                        <a:pt x="264" y="3840"/>
                      </a:lnTo>
                      <a:lnTo>
                        <a:pt x="292" y="3899"/>
                      </a:lnTo>
                      <a:lnTo>
                        <a:pt x="323" y="3957"/>
                      </a:lnTo>
                      <a:lnTo>
                        <a:pt x="354" y="4013"/>
                      </a:lnTo>
                      <a:lnTo>
                        <a:pt x="386" y="4068"/>
                      </a:lnTo>
                      <a:lnTo>
                        <a:pt x="421" y="4123"/>
                      </a:lnTo>
                      <a:lnTo>
                        <a:pt x="455" y="4177"/>
                      </a:lnTo>
                      <a:lnTo>
                        <a:pt x="492" y="4230"/>
                      </a:lnTo>
                      <a:lnTo>
                        <a:pt x="530" y="4281"/>
                      </a:lnTo>
                      <a:lnTo>
                        <a:pt x="569" y="4333"/>
                      </a:lnTo>
                      <a:lnTo>
                        <a:pt x="609" y="4383"/>
                      </a:lnTo>
                      <a:lnTo>
                        <a:pt x="650" y="4432"/>
                      </a:lnTo>
                      <a:lnTo>
                        <a:pt x="692" y="4479"/>
                      </a:lnTo>
                      <a:lnTo>
                        <a:pt x="736" y="4527"/>
                      </a:lnTo>
                      <a:lnTo>
                        <a:pt x="781" y="4573"/>
                      </a:lnTo>
                      <a:lnTo>
                        <a:pt x="1926" y="3427"/>
                      </a:lnTo>
                      <a:lnTo>
                        <a:pt x="1926" y="3427"/>
                      </a:lnTo>
                      <a:lnTo>
                        <a:pt x="1892" y="3394"/>
                      </a:lnTo>
                      <a:lnTo>
                        <a:pt x="1860" y="3358"/>
                      </a:lnTo>
                      <a:lnTo>
                        <a:pt x="1827" y="3322"/>
                      </a:lnTo>
                      <a:lnTo>
                        <a:pt x="1795" y="3287"/>
                      </a:lnTo>
                      <a:lnTo>
                        <a:pt x="1765" y="3249"/>
                      </a:lnTo>
                      <a:lnTo>
                        <a:pt x="1735" y="3211"/>
                      </a:lnTo>
                      <a:lnTo>
                        <a:pt x="1707" y="3173"/>
                      </a:lnTo>
                      <a:lnTo>
                        <a:pt x="1679" y="3132"/>
                      </a:lnTo>
                      <a:lnTo>
                        <a:pt x="1651" y="3093"/>
                      </a:lnTo>
                      <a:lnTo>
                        <a:pt x="1626" y="3052"/>
                      </a:lnTo>
                      <a:lnTo>
                        <a:pt x="1601" y="3010"/>
                      </a:lnTo>
                      <a:lnTo>
                        <a:pt x="1576" y="2969"/>
                      </a:lnTo>
                      <a:lnTo>
                        <a:pt x="1553" y="2925"/>
                      </a:lnTo>
                      <a:lnTo>
                        <a:pt x="1532" y="2883"/>
                      </a:lnTo>
                      <a:lnTo>
                        <a:pt x="1511" y="2839"/>
                      </a:lnTo>
                      <a:lnTo>
                        <a:pt x="1491" y="2794"/>
                      </a:lnTo>
                      <a:lnTo>
                        <a:pt x="1472" y="2749"/>
                      </a:lnTo>
                      <a:lnTo>
                        <a:pt x="1454" y="2703"/>
                      </a:lnTo>
                      <a:lnTo>
                        <a:pt x="1438" y="2657"/>
                      </a:lnTo>
                      <a:lnTo>
                        <a:pt x="1422" y="2610"/>
                      </a:lnTo>
                      <a:lnTo>
                        <a:pt x="1408" y="2562"/>
                      </a:lnTo>
                      <a:lnTo>
                        <a:pt x="1395" y="2515"/>
                      </a:lnTo>
                      <a:lnTo>
                        <a:pt x="1383" y="2467"/>
                      </a:lnTo>
                      <a:lnTo>
                        <a:pt x="1373" y="2417"/>
                      </a:lnTo>
                      <a:lnTo>
                        <a:pt x="1362" y="2369"/>
                      </a:lnTo>
                      <a:lnTo>
                        <a:pt x="1354" y="2320"/>
                      </a:lnTo>
                      <a:lnTo>
                        <a:pt x="1347" y="2269"/>
                      </a:lnTo>
                      <a:lnTo>
                        <a:pt x="1342" y="2219"/>
                      </a:lnTo>
                      <a:lnTo>
                        <a:pt x="1337" y="2168"/>
                      </a:lnTo>
                      <a:lnTo>
                        <a:pt x="1334" y="2117"/>
                      </a:lnTo>
                      <a:lnTo>
                        <a:pt x="1331" y="2065"/>
                      </a:lnTo>
                      <a:lnTo>
                        <a:pt x="1331" y="20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99" name="Freeform 243"/>
                <p:cNvSpPr>
                  <a:spLocks/>
                </p:cNvSpPr>
                <p:nvPr/>
              </p:nvSpPr>
              <p:spPr bwMode="auto">
                <a:xfrm>
                  <a:off x="4589463" y="2614613"/>
                  <a:ext cx="733425" cy="766763"/>
                </a:xfrm>
                <a:custGeom>
                  <a:avLst/>
                  <a:gdLst>
                    <a:gd name="T0" fmla="*/ 0 w 3240"/>
                    <a:gd name="T1" fmla="*/ 2022 h 3384"/>
                    <a:gd name="T2" fmla="*/ 11 w 3240"/>
                    <a:gd name="T3" fmla="*/ 2176 h 3384"/>
                    <a:gd name="T4" fmla="*/ 31 w 3240"/>
                    <a:gd name="T5" fmla="*/ 2326 h 3384"/>
                    <a:gd name="T6" fmla="*/ 64 w 3240"/>
                    <a:gd name="T7" fmla="*/ 2472 h 3384"/>
                    <a:gd name="T8" fmla="*/ 107 w 3240"/>
                    <a:gd name="T9" fmla="*/ 2614 h 3384"/>
                    <a:gd name="T10" fmla="*/ 160 w 3240"/>
                    <a:gd name="T11" fmla="*/ 2751 h 3384"/>
                    <a:gd name="T12" fmla="*/ 222 w 3240"/>
                    <a:gd name="T13" fmla="*/ 2882 h 3384"/>
                    <a:gd name="T14" fmla="*/ 295 w 3240"/>
                    <a:gd name="T15" fmla="*/ 3009 h 3384"/>
                    <a:gd name="T16" fmla="*/ 376 w 3240"/>
                    <a:gd name="T17" fmla="*/ 3130 h 3384"/>
                    <a:gd name="T18" fmla="*/ 464 w 3240"/>
                    <a:gd name="T19" fmla="*/ 3244 h 3384"/>
                    <a:gd name="T20" fmla="*/ 561 w 3240"/>
                    <a:gd name="T21" fmla="*/ 3351 h 3384"/>
                    <a:gd name="T22" fmla="*/ 3240 w 3240"/>
                    <a:gd name="T23" fmla="*/ 740 h 3384"/>
                    <a:gd name="T24" fmla="*/ 3187 w 3240"/>
                    <a:gd name="T25" fmla="*/ 687 h 3384"/>
                    <a:gd name="T26" fmla="*/ 3133 w 3240"/>
                    <a:gd name="T27" fmla="*/ 636 h 3384"/>
                    <a:gd name="T28" fmla="*/ 2973 w 3240"/>
                    <a:gd name="T29" fmla="*/ 505 h 3384"/>
                    <a:gd name="T30" fmla="*/ 2804 w 3240"/>
                    <a:gd name="T31" fmla="*/ 386 h 3384"/>
                    <a:gd name="T32" fmla="*/ 2720 w 3240"/>
                    <a:gd name="T33" fmla="*/ 334 h 3384"/>
                    <a:gd name="T34" fmla="*/ 2642 w 3240"/>
                    <a:gd name="T35" fmla="*/ 289 h 3384"/>
                    <a:gd name="T36" fmla="*/ 2563 w 3240"/>
                    <a:gd name="T37" fmla="*/ 248 h 3384"/>
                    <a:gd name="T38" fmla="*/ 2496 w 3240"/>
                    <a:gd name="T39" fmla="*/ 216 h 3384"/>
                    <a:gd name="T40" fmla="*/ 2304 w 3240"/>
                    <a:gd name="T41" fmla="*/ 134 h 3384"/>
                    <a:gd name="T42" fmla="*/ 2105 w 3240"/>
                    <a:gd name="T43" fmla="*/ 67 h 3384"/>
                    <a:gd name="T44" fmla="*/ 2000 w 3240"/>
                    <a:gd name="T45" fmla="*/ 38 h 3384"/>
                    <a:gd name="T46" fmla="*/ 1913 w 3240"/>
                    <a:gd name="T47" fmla="*/ 18 h 3384"/>
                    <a:gd name="T48" fmla="*/ 1824 w 3240"/>
                    <a:gd name="T49" fmla="*/ 0 h 3384"/>
                    <a:gd name="T50" fmla="*/ 1682 w 3240"/>
                    <a:gd name="T51" fmla="*/ 17 h 3384"/>
                    <a:gd name="T52" fmla="*/ 1543 w 3240"/>
                    <a:gd name="T53" fmla="*/ 43 h 3384"/>
                    <a:gd name="T54" fmla="*/ 1408 w 3240"/>
                    <a:gd name="T55" fmla="*/ 78 h 3384"/>
                    <a:gd name="T56" fmla="*/ 1277 w 3240"/>
                    <a:gd name="T57" fmla="*/ 122 h 3384"/>
                    <a:gd name="T58" fmla="*/ 1150 w 3240"/>
                    <a:gd name="T59" fmla="*/ 175 h 3384"/>
                    <a:gd name="T60" fmla="*/ 1027 w 3240"/>
                    <a:gd name="T61" fmla="*/ 238 h 3384"/>
                    <a:gd name="T62" fmla="*/ 911 w 3240"/>
                    <a:gd name="T63" fmla="*/ 307 h 3384"/>
                    <a:gd name="T64" fmla="*/ 798 w 3240"/>
                    <a:gd name="T65" fmla="*/ 384 h 3384"/>
                    <a:gd name="T66" fmla="*/ 692 w 3240"/>
                    <a:gd name="T67" fmla="*/ 469 h 3384"/>
                    <a:gd name="T68" fmla="*/ 592 w 3240"/>
                    <a:gd name="T69" fmla="*/ 560 h 3384"/>
                    <a:gd name="T70" fmla="*/ 499 w 3240"/>
                    <a:gd name="T71" fmla="*/ 658 h 3384"/>
                    <a:gd name="T72" fmla="*/ 412 w 3240"/>
                    <a:gd name="T73" fmla="*/ 763 h 3384"/>
                    <a:gd name="T74" fmla="*/ 333 w 3240"/>
                    <a:gd name="T75" fmla="*/ 873 h 3384"/>
                    <a:gd name="T76" fmla="*/ 260 w 3240"/>
                    <a:gd name="T77" fmla="*/ 988 h 3384"/>
                    <a:gd name="T78" fmla="*/ 197 w 3240"/>
                    <a:gd name="T79" fmla="*/ 1109 h 3384"/>
                    <a:gd name="T80" fmla="*/ 142 w 3240"/>
                    <a:gd name="T81" fmla="*/ 1235 h 3384"/>
                    <a:gd name="T82" fmla="*/ 95 w 3240"/>
                    <a:gd name="T83" fmla="*/ 1365 h 3384"/>
                    <a:gd name="T84" fmla="*/ 57 w 3240"/>
                    <a:gd name="T85" fmla="*/ 1499 h 3384"/>
                    <a:gd name="T86" fmla="*/ 28 w 3240"/>
                    <a:gd name="T87" fmla="*/ 1636 h 3384"/>
                    <a:gd name="T88" fmla="*/ 9 w 3240"/>
                    <a:gd name="T89" fmla="*/ 1778 h 3384"/>
                    <a:gd name="T90" fmla="*/ 0 w 3240"/>
                    <a:gd name="T91" fmla="*/ 1922 h 3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40" h="3384">
                      <a:moveTo>
                        <a:pt x="0" y="1970"/>
                      </a:moveTo>
                      <a:lnTo>
                        <a:pt x="0" y="1970"/>
                      </a:lnTo>
                      <a:lnTo>
                        <a:pt x="0" y="2022"/>
                      </a:lnTo>
                      <a:lnTo>
                        <a:pt x="3" y="2074"/>
                      </a:lnTo>
                      <a:lnTo>
                        <a:pt x="6" y="2125"/>
                      </a:lnTo>
                      <a:lnTo>
                        <a:pt x="11" y="2176"/>
                      </a:lnTo>
                      <a:lnTo>
                        <a:pt x="16" y="2226"/>
                      </a:lnTo>
                      <a:lnTo>
                        <a:pt x="23" y="2277"/>
                      </a:lnTo>
                      <a:lnTo>
                        <a:pt x="31" y="2326"/>
                      </a:lnTo>
                      <a:lnTo>
                        <a:pt x="42" y="2374"/>
                      </a:lnTo>
                      <a:lnTo>
                        <a:pt x="52" y="2424"/>
                      </a:lnTo>
                      <a:lnTo>
                        <a:pt x="64" y="2472"/>
                      </a:lnTo>
                      <a:lnTo>
                        <a:pt x="77" y="2519"/>
                      </a:lnTo>
                      <a:lnTo>
                        <a:pt x="91" y="2567"/>
                      </a:lnTo>
                      <a:lnTo>
                        <a:pt x="107" y="2614"/>
                      </a:lnTo>
                      <a:lnTo>
                        <a:pt x="123" y="2660"/>
                      </a:lnTo>
                      <a:lnTo>
                        <a:pt x="141" y="2706"/>
                      </a:lnTo>
                      <a:lnTo>
                        <a:pt x="160" y="2751"/>
                      </a:lnTo>
                      <a:lnTo>
                        <a:pt x="180" y="2796"/>
                      </a:lnTo>
                      <a:lnTo>
                        <a:pt x="201" y="2840"/>
                      </a:lnTo>
                      <a:lnTo>
                        <a:pt x="222" y="2882"/>
                      </a:lnTo>
                      <a:lnTo>
                        <a:pt x="245" y="2926"/>
                      </a:lnTo>
                      <a:lnTo>
                        <a:pt x="270" y="2967"/>
                      </a:lnTo>
                      <a:lnTo>
                        <a:pt x="295" y="3009"/>
                      </a:lnTo>
                      <a:lnTo>
                        <a:pt x="320" y="3050"/>
                      </a:lnTo>
                      <a:lnTo>
                        <a:pt x="348" y="3089"/>
                      </a:lnTo>
                      <a:lnTo>
                        <a:pt x="376" y="3130"/>
                      </a:lnTo>
                      <a:lnTo>
                        <a:pt x="404" y="3168"/>
                      </a:lnTo>
                      <a:lnTo>
                        <a:pt x="434" y="3206"/>
                      </a:lnTo>
                      <a:lnTo>
                        <a:pt x="464" y="3244"/>
                      </a:lnTo>
                      <a:lnTo>
                        <a:pt x="496" y="3279"/>
                      </a:lnTo>
                      <a:lnTo>
                        <a:pt x="529" y="3315"/>
                      </a:lnTo>
                      <a:lnTo>
                        <a:pt x="561" y="3351"/>
                      </a:lnTo>
                      <a:lnTo>
                        <a:pt x="595" y="3384"/>
                      </a:lnTo>
                      <a:lnTo>
                        <a:pt x="3240" y="740"/>
                      </a:lnTo>
                      <a:lnTo>
                        <a:pt x="3240" y="740"/>
                      </a:lnTo>
                      <a:lnTo>
                        <a:pt x="3213" y="713"/>
                      </a:lnTo>
                      <a:lnTo>
                        <a:pt x="3187" y="687"/>
                      </a:lnTo>
                      <a:lnTo>
                        <a:pt x="3187" y="687"/>
                      </a:lnTo>
                      <a:lnTo>
                        <a:pt x="3184" y="683"/>
                      </a:lnTo>
                      <a:lnTo>
                        <a:pt x="3184" y="683"/>
                      </a:lnTo>
                      <a:lnTo>
                        <a:pt x="3133" y="636"/>
                      </a:lnTo>
                      <a:lnTo>
                        <a:pt x="3081" y="591"/>
                      </a:lnTo>
                      <a:lnTo>
                        <a:pt x="3028" y="547"/>
                      </a:lnTo>
                      <a:lnTo>
                        <a:pt x="2973" y="505"/>
                      </a:lnTo>
                      <a:lnTo>
                        <a:pt x="2918" y="464"/>
                      </a:lnTo>
                      <a:lnTo>
                        <a:pt x="2861" y="424"/>
                      </a:lnTo>
                      <a:lnTo>
                        <a:pt x="2804" y="386"/>
                      </a:lnTo>
                      <a:lnTo>
                        <a:pt x="2745" y="349"/>
                      </a:lnTo>
                      <a:lnTo>
                        <a:pt x="2745" y="349"/>
                      </a:lnTo>
                      <a:lnTo>
                        <a:pt x="2720" y="334"/>
                      </a:lnTo>
                      <a:lnTo>
                        <a:pt x="2720" y="334"/>
                      </a:lnTo>
                      <a:lnTo>
                        <a:pt x="2680" y="311"/>
                      </a:lnTo>
                      <a:lnTo>
                        <a:pt x="2642" y="289"/>
                      </a:lnTo>
                      <a:lnTo>
                        <a:pt x="2603" y="269"/>
                      </a:lnTo>
                      <a:lnTo>
                        <a:pt x="2563" y="248"/>
                      </a:lnTo>
                      <a:lnTo>
                        <a:pt x="2563" y="248"/>
                      </a:lnTo>
                      <a:lnTo>
                        <a:pt x="2560" y="246"/>
                      </a:lnTo>
                      <a:lnTo>
                        <a:pt x="2560" y="246"/>
                      </a:lnTo>
                      <a:lnTo>
                        <a:pt x="2496" y="216"/>
                      </a:lnTo>
                      <a:lnTo>
                        <a:pt x="2434" y="187"/>
                      </a:lnTo>
                      <a:lnTo>
                        <a:pt x="2370" y="159"/>
                      </a:lnTo>
                      <a:lnTo>
                        <a:pt x="2304" y="134"/>
                      </a:lnTo>
                      <a:lnTo>
                        <a:pt x="2238" y="110"/>
                      </a:lnTo>
                      <a:lnTo>
                        <a:pt x="2172" y="88"/>
                      </a:lnTo>
                      <a:lnTo>
                        <a:pt x="2105" y="67"/>
                      </a:lnTo>
                      <a:lnTo>
                        <a:pt x="2037" y="48"/>
                      </a:lnTo>
                      <a:lnTo>
                        <a:pt x="2037" y="48"/>
                      </a:lnTo>
                      <a:lnTo>
                        <a:pt x="2000" y="38"/>
                      </a:lnTo>
                      <a:lnTo>
                        <a:pt x="2000" y="38"/>
                      </a:lnTo>
                      <a:lnTo>
                        <a:pt x="1956" y="28"/>
                      </a:lnTo>
                      <a:lnTo>
                        <a:pt x="1913" y="18"/>
                      </a:lnTo>
                      <a:lnTo>
                        <a:pt x="1869" y="8"/>
                      </a:lnTo>
                      <a:lnTo>
                        <a:pt x="1824" y="0"/>
                      </a:lnTo>
                      <a:lnTo>
                        <a:pt x="1824" y="0"/>
                      </a:lnTo>
                      <a:lnTo>
                        <a:pt x="1777" y="5"/>
                      </a:lnTo>
                      <a:lnTo>
                        <a:pt x="1729" y="11"/>
                      </a:lnTo>
                      <a:lnTo>
                        <a:pt x="1682" y="17"/>
                      </a:lnTo>
                      <a:lnTo>
                        <a:pt x="1635" y="25"/>
                      </a:lnTo>
                      <a:lnTo>
                        <a:pt x="1589" y="33"/>
                      </a:lnTo>
                      <a:lnTo>
                        <a:pt x="1543" y="43"/>
                      </a:lnTo>
                      <a:lnTo>
                        <a:pt x="1498" y="53"/>
                      </a:lnTo>
                      <a:lnTo>
                        <a:pt x="1453" y="65"/>
                      </a:lnTo>
                      <a:lnTo>
                        <a:pt x="1408" y="78"/>
                      </a:lnTo>
                      <a:lnTo>
                        <a:pt x="1365" y="91"/>
                      </a:lnTo>
                      <a:lnTo>
                        <a:pt x="1321" y="106"/>
                      </a:lnTo>
                      <a:lnTo>
                        <a:pt x="1277" y="122"/>
                      </a:lnTo>
                      <a:lnTo>
                        <a:pt x="1234" y="140"/>
                      </a:lnTo>
                      <a:lnTo>
                        <a:pt x="1192" y="157"/>
                      </a:lnTo>
                      <a:lnTo>
                        <a:pt x="1150" y="175"/>
                      </a:lnTo>
                      <a:lnTo>
                        <a:pt x="1109" y="195"/>
                      </a:lnTo>
                      <a:lnTo>
                        <a:pt x="1067" y="216"/>
                      </a:lnTo>
                      <a:lnTo>
                        <a:pt x="1027" y="238"/>
                      </a:lnTo>
                      <a:lnTo>
                        <a:pt x="988" y="259"/>
                      </a:lnTo>
                      <a:lnTo>
                        <a:pt x="949" y="282"/>
                      </a:lnTo>
                      <a:lnTo>
                        <a:pt x="911" y="307"/>
                      </a:lnTo>
                      <a:lnTo>
                        <a:pt x="873" y="332"/>
                      </a:lnTo>
                      <a:lnTo>
                        <a:pt x="835" y="357"/>
                      </a:lnTo>
                      <a:lnTo>
                        <a:pt x="798" y="384"/>
                      </a:lnTo>
                      <a:lnTo>
                        <a:pt x="762" y="411"/>
                      </a:lnTo>
                      <a:lnTo>
                        <a:pt x="727" y="440"/>
                      </a:lnTo>
                      <a:lnTo>
                        <a:pt x="692" y="469"/>
                      </a:lnTo>
                      <a:lnTo>
                        <a:pt x="659" y="499"/>
                      </a:lnTo>
                      <a:lnTo>
                        <a:pt x="625" y="529"/>
                      </a:lnTo>
                      <a:lnTo>
                        <a:pt x="592" y="560"/>
                      </a:lnTo>
                      <a:lnTo>
                        <a:pt x="561" y="592"/>
                      </a:lnTo>
                      <a:lnTo>
                        <a:pt x="530" y="624"/>
                      </a:lnTo>
                      <a:lnTo>
                        <a:pt x="499" y="658"/>
                      </a:lnTo>
                      <a:lnTo>
                        <a:pt x="469" y="692"/>
                      </a:lnTo>
                      <a:lnTo>
                        <a:pt x="440" y="727"/>
                      </a:lnTo>
                      <a:lnTo>
                        <a:pt x="412" y="763"/>
                      </a:lnTo>
                      <a:lnTo>
                        <a:pt x="385" y="798"/>
                      </a:lnTo>
                      <a:lnTo>
                        <a:pt x="358" y="835"/>
                      </a:lnTo>
                      <a:lnTo>
                        <a:pt x="333" y="873"/>
                      </a:lnTo>
                      <a:lnTo>
                        <a:pt x="308" y="911"/>
                      </a:lnTo>
                      <a:lnTo>
                        <a:pt x="285" y="949"/>
                      </a:lnTo>
                      <a:lnTo>
                        <a:pt x="260" y="988"/>
                      </a:lnTo>
                      <a:lnTo>
                        <a:pt x="239" y="1029"/>
                      </a:lnTo>
                      <a:lnTo>
                        <a:pt x="218" y="1069"/>
                      </a:lnTo>
                      <a:lnTo>
                        <a:pt x="197" y="1109"/>
                      </a:lnTo>
                      <a:lnTo>
                        <a:pt x="178" y="1151"/>
                      </a:lnTo>
                      <a:lnTo>
                        <a:pt x="159" y="1193"/>
                      </a:lnTo>
                      <a:lnTo>
                        <a:pt x="142" y="1235"/>
                      </a:lnTo>
                      <a:lnTo>
                        <a:pt x="125" y="1278"/>
                      </a:lnTo>
                      <a:lnTo>
                        <a:pt x="110" y="1321"/>
                      </a:lnTo>
                      <a:lnTo>
                        <a:pt x="95" y="1365"/>
                      </a:lnTo>
                      <a:lnTo>
                        <a:pt x="81" y="1410"/>
                      </a:lnTo>
                      <a:lnTo>
                        <a:pt x="68" y="1455"/>
                      </a:lnTo>
                      <a:lnTo>
                        <a:pt x="57" y="1499"/>
                      </a:lnTo>
                      <a:lnTo>
                        <a:pt x="46" y="1544"/>
                      </a:lnTo>
                      <a:lnTo>
                        <a:pt x="36" y="1590"/>
                      </a:lnTo>
                      <a:lnTo>
                        <a:pt x="28" y="1636"/>
                      </a:lnTo>
                      <a:lnTo>
                        <a:pt x="21" y="1684"/>
                      </a:lnTo>
                      <a:lnTo>
                        <a:pt x="14" y="1731"/>
                      </a:lnTo>
                      <a:lnTo>
                        <a:pt x="9" y="1778"/>
                      </a:lnTo>
                      <a:lnTo>
                        <a:pt x="5" y="1825"/>
                      </a:lnTo>
                      <a:lnTo>
                        <a:pt x="3" y="1874"/>
                      </a:lnTo>
                      <a:lnTo>
                        <a:pt x="0" y="1922"/>
                      </a:lnTo>
                      <a:lnTo>
                        <a:pt x="0" y="1970"/>
                      </a:lnTo>
                      <a:close/>
                    </a:path>
                  </a:pathLst>
                </a:custGeom>
                <a:solidFill>
                  <a:srgbClr val="FF54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0" name="Freeform 244"/>
                <p:cNvSpPr>
                  <a:spLocks/>
                </p:cNvSpPr>
                <p:nvPr/>
              </p:nvSpPr>
              <p:spPr bwMode="auto">
                <a:xfrm>
                  <a:off x="4589463" y="2614613"/>
                  <a:ext cx="733425" cy="766763"/>
                </a:xfrm>
                <a:custGeom>
                  <a:avLst/>
                  <a:gdLst>
                    <a:gd name="T0" fmla="*/ 0 w 3240"/>
                    <a:gd name="T1" fmla="*/ 2022 h 3384"/>
                    <a:gd name="T2" fmla="*/ 11 w 3240"/>
                    <a:gd name="T3" fmla="*/ 2176 h 3384"/>
                    <a:gd name="T4" fmla="*/ 31 w 3240"/>
                    <a:gd name="T5" fmla="*/ 2326 h 3384"/>
                    <a:gd name="T6" fmla="*/ 64 w 3240"/>
                    <a:gd name="T7" fmla="*/ 2472 h 3384"/>
                    <a:gd name="T8" fmla="*/ 107 w 3240"/>
                    <a:gd name="T9" fmla="*/ 2614 h 3384"/>
                    <a:gd name="T10" fmla="*/ 160 w 3240"/>
                    <a:gd name="T11" fmla="*/ 2751 h 3384"/>
                    <a:gd name="T12" fmla="*/ 222 w 3240"/>
                    <a:gd name="T13" fmla="*/ 2882 h 3384"/>
                    <a:gd name="T14" fmla="*/ 295 w 3240"/>
                    <a:gd name="T15" fmla="*/ 3009 h 3384"/>
                    <a:gd name="T16" fmla="*/ 376 w 3240"/>
                    <a:gd name="T17" fmla="*/ 3130 h 3384"/>
                    <a:gd name="T18" fmla="*/ 464 w 3240"/>
                    <a:gd name="T19" fmla="*/ 3244 h 3384"/>
                    <a:gd name="T20" fmla="*/ 561 w 3240"/>
                    <a:gd name="T21" fmla="*/ 3351 h 3384"/>
                    <a:gd name="T22" fmla="*/ 3240 w 3240"/>
                    <a:gd name="T23" fmla="*/ 740 h 3384"/>
                    <a:gd name="T24" fmla="*/ 3187 w 3240"/>
                    <a:gd name="T25" fmla="*/ 687 h 3384"/>
                    <a:gd name="T26" fmla="*/ 3133 w 3240"/>
                    <a:gd name="T27" fmla="*/ 636 h 3384"/>
                    <a:gd name="T28" fmla="*/ 2973 w 3240"/>
                    <a:gd name="T29" fmla="*/ 505 h 3384"/>
                    <a:gd name="T30" fmla="*/ 2804 w 3240"/>
                    <a:gd name="T31" fmla="*/ 386 h 3384"/>
                    <a:gd name="T32" fmla="*/ 2720 w 3240"/>
                    <a:gd name="T33" fmla="*/ 334 h 3384"/>
                    <a:gd name="T34" fmla="*/ 2642 w 3240"/>
                    <a:gd name="T35" fmla="*/ 289 h 3384"/>
                    <a:gd name="T36" fmla="*/ 2563 w 3240"/>
                    <a:gd name="T37" fmla="*/ 248 h 3384"/>
                    <a:gd name="T38" fmla="*/ 2496 w 3240"/>
                    <a:gd name="T39" fmla="*/ 216 h 3384"/>
                    <a:gd name="T40" fmla="*/ 2304 w 3240"/>
                    <a:gd name="T41" fmla="*/ 134 h 3384"/>
                    <a:gd name="T42" fmla="*/ 2105 w 3240"/>
                    <a:gd name="T43" fmla="*/ 67 h 3384"/>
                    <a:gd name="T44" fmla="*/ 2000 w 3240"/>
                    <a:gd name="T45" fmla="*/ 38 h 3384"/>
                    <a:gd name="T46" fmla="*/ 1913 w 3240"/>
                    <a:gd name="T47" fmla="*/ 18 h 3384"/>
                    <a:gd name="T48" fmla="*/ 1824 w 3240"/>
                    <a:gd name="T49" fmla="*/ 0 h 3384"/>
                    <a:gd name="T50" fmla="*/ 1682 w 3240"/>
                    <a:gd name="T51" fmla="*/ 17 h 3384"/>
                    <a:gd name="T52" fmla="*/ 1543 w 3240"/>
                    <a:gd name="T53" fmla="*/ 43 h 3384"/>
                    <a:gd name="T54" fmla="*/ 1408 w 3240"/>
                    <a:gd name="T55" fmla="*/ 78 h 3384"/>
                    <a:gd name="T56" fmla="*/ 1277 w 3240"/>
                    <a:gd name="T57" fmla="*/ 122 h 3384"/>
                    <a:gd name="T58" fmla="*/ 1150 w 3240"/>
                    <a:gd name="T59" fmla="*/ 175 h 3384"/>
                    <a:gd name="T60" fmla="*/ 1027 w 3240"/>
                    <a:gd name="T61" fmla="*/ 238 h 3384"/>
                    <a:gd name="T62" fmla="*/ 911 w 3240"/>
                    <a:gd name="T63" fmla="*/ 307 h 3384"/>
                    <a:gd name="T64" fmla="*/ 798 w 3240"/>
                    <a:gd name="T65" fmla="*/ 384 h 3384"/>
                    <a:gd name="T66" fmla="*/ 692 w 3240"/>
                    <a:gd name="T67" fmla="*/ 469 h 3384"/>
                    <a:gd name="T68" fmla="*/ 592 w 3240"/>
                    <a:gd name="T69" fmla="*/ 560 h 3384"/>
                    <a:gd name="T70" fmla="*/ 499 w 3240"/>
                    <a:gd name="T71" fmla="*/ 658 h 3384"/>
                    <a:gd name="T72" fmla="*/ 412 w 3240"/>
                    <a:gd name="T73" fmla="*/ 763 h 3384"/>
                    <a:gd name="T74" fmla="*/ 333 w 3240"/>
                    <a:gd name="T75" fmla="*/ 873 h 3384"/>
                    <a:gd name="T76" fmla="*/ 260 w 3240"/>
                    <a:gd name="T77" fmla="*/ 988 h 3384"/>
                    <a:gd name="T78" fmla="*/ 197 w 3240"/>
                    <a:gd name="T79" fmla="*/ 1109 h 3384"/>
                    <a:gd name="T80" fmla="*/ 142 w 3240"/>
                    <a:gd name="T81" fmla="*/ 1235 h 3384"/>
                    <a:gd name="T82" fmla="*/ 95 w 3240"/>
                    <a:gd name="T83" fmla="*/ 1365 h 3384"/>
                    <a:gd name="T84" fmla="*/ 57 w 3240"/>
                    <a:gd name="T85" fmla="*/ 1499 h 3384"/>
                    <a:gd name="T86" fmla="*/ 28 w 3240"/>
                    <a:gd name="T87" fmla="*/ 1636 h 3384"/>
                    <a:gd name="T88" fmla="*/ 9 w 3240"/>
                    <a:gd name="T89" fmla="*/ 1778 h 3384"/>
                    <a:gd name="T90" fmla="*/ 0 w 3240"/>
                    <a:gd name="T91" fmla="*/ 1922 h 3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40" h="3384">
                      <a:moveTo>
                        <a:pt x="0" y="1970"/>
                      </a:moveTo>
                      <a:lnTo>
                        <a:pt x="0" y="1970"/>
                      </a:lnTo>
                      <a:lnTo>
                        <a:pt x="0" y="2022"/>
                      </a:lnTo>
                      <a:lnTo>
                        <a:pt x="3" y="2074"/>
                      </a:lnTo>
                      <a:lnTo>
                        <a:pt x="6" y="2125"/>
                      </a:lnTo>
                      <a:lnTo>
                        <a:pt x="11" y="2176"/>
                      </a:lnTo>
                      <a:lnTo>
                        <a:pt x="16" y="2226"/>
                      </a:lnTo>
                      <a:lnTo>
                        <a:pt x="23" y="2277"/>
                      </a:lnTo>
                      <a:lnTo>
                        <a:pt x="31" y="2326"/>
                      </a:lnTo>
                      <a:lnTo>
                        <a:pt x="42" y="2374"/>
                      </a:lnTo>
                      <a:lnTo>
                        <a:pt x="52" y="2424"/>
                      </a:lnTo>
                      <a:lnTo>
                        <a:pt x="64" y="2472"/>
                      </a:lnTo>
                      <a:lnTo>
                        <a:pt x="77" y="2519"/>
                      </a:lnTo>
                      <a:lnTo>
                        <a:pt x="91" y="2567"/>
                      </a:lnTo>
                      <a:lnTo>
                        <a:pt x="107" y="2614"/>
                      </a:lnTo>
                      <a:lnTo>
                        <a:pt x="123" y="2660"/>
                      </a:lnTo>
                      <a:lnTo>
                        <a:pt x="141" y="2706"/>
                      </a:lnTo>
                      <a:lnTo>
                        <a:pt x="160" y="2751"/>
                      </a:lnTo>
                      <a:lnTo>
                        <a:pt x="180" y="2796"/>
                      </a:lnTo>
                      <a:lnTo>
                        <a:pt x="201" y="2840"/>
                      </a:lnTo>
                      <a:lnTo>
                        <a:pt x="222" y="2882"/>
                      </a:lnTo>
                      <a:lnTo>
                        <a:pt x="245" y="2926"/>
                      </a:lnTo>
                      <a:lnTo>
                        <a:pt x="270" y="2967"/>
                      </a:lnTo>
                      <a:lnTo>
                        <a:pt x="295" y="3009"/>
                      </a:lnTo>
                      <a:lnTo>
                        <a:pt x="320" y="3050"/>
                      </a:lnTo>
                      <a:lnTo>
                        <a:pt x="348" y="3089"/>
                      </a:lnTo>
                      <a:lnTo>
                        <a:pt x="376" y="3130"/>
                      </a:lnTo>
                      <a:lnTo>
                        <a:pt x="404" y="3168"/>
                      </a:lnTo>
                      <a:lnTo>
                        <a:pt x="434" y="3206"/>
                      </a:lnTo>
                      <a:lnTo>
                        <a:pt x="464" y="3244"/>
                      </a:lnTo>
                      <a:lnTo>
                        <a:pt x="496" y="3279"/>
                      </a:lnTo>
                      <a:lnTo>
                        <a:pt x="529" y="3315"/>
                      </a:lnTo>
                      <a:lnTo>
                        <a:pt x="561" y="3351"/>
                      </a:lnTo>
                      <a:lnTo>
                        <a:pt x="595" y="3384"/>
                      </a:lnTo>
                      <a:lnTo>
                        <a:pt x="3240" y="740"/>
                      </a:lnTo>
                      <a:lnTo>
                        <a:pt x="3240" y="740"/>
                      </a:lnTo>
                      <a:lnTo>
                        <a:pt x="3213" y="713"/>
                      </a:lnTo>
                      <a:lnTo>
                        <a:pt x="3187" y="687"/>
                      </a:lnTo>
                      <a:lnTo>
                        <a:pt x="3187" y="687"/>
                      </a:lnTo>
                      <a:lnTo>
                        <a:pt x="3184" y="683"/>
                      </a:lnTo>
                      <a:lnTo>
                        <a:pt x="3184" y="683"/>
                      </a:lnTo>
                      <a:lnTo>
                        <a:pt x="3133" y="636"/>
                      </a:lnTo>
                      <a:lnTo>
                        <a:pt x="3081" y="591"/>
                      </a:lnTo>
                      <a:lnTo>
                        <a:pt x="3028" y="547"/>
                      </a:lnTo>
                      <a:lnTo>
                        <a:pt x="2973" y="505"/>
                      </a:lnTo>
                      <a:lnTo>
                        <a:pt x="2918" y="464"/>
                      </a:lnTo>
                      <a:lnTo>
                        <a:pt x="2861" y="424"/>
                      </a:lnTo>
                      <a:lnTo>
                        <a:pt x="2804" y="386"/>
                      </a:lnTo>
                      <a:lnTo>
                        <a:pt x="2745" y="349"/>
                      </a:lnTo>
                      <a:lnTo>
                        <a:pt x="2745" y="349"/>
                      </a:lnTo>
                      <a:lnTo>
                        <a:pt x="2720" y="334"/>
                      </a:lnTo>
                      <a:lnTo>
                        <a:pt x="2720" y="334"/>
                      </a:lnTo>
                      <a:lnTo>
                        <a:pt x="2680" y="311"/>
                      </a:lnTo>
                      <a:lnTo>
                        <a:pt x="2642" y="289"/>
                      </a:lnTo>
                      <a:lnTo>
                        <a:pt x="2603" y="269"/>
                      </a:lnTo>
                      <a:lnTo>
                        <a:pt x="2563" y="248"/>
                      </a:lnTo>
                      <a:lnTo>
                        <a:pt x="2563" y="248"/>
                      </a:lnTo>
                      <a:lnTo>
                        <a:pt x="2560" y="246"/>
                      </a:lnTo>
                      <a:lnTo>
                        <a:pt x="2560" y="246"/>
                      </a:lnTo>
                      <a:lnTo>
                        <a:pt x="2496" y="216"/>
                      </a:lnTo>
                      <a:lnTo>
                        <a:pt x="2434" y="187"/>
                      </a:lnTo>
                      <a:lnTo>
                        <a:pt x="2370" y="159"/>
                      </a:lnTo>
                      <a:lnTo>
                        <a:pt x="2304" y="134"/>
                      </a:lnTo>
                      <a:lnTo>
                        <a:pt x="2238" y="110"/>
                      </a:lnTo>
                      <a:lnTo>
                        <a:pt x="2172" y="88"/>
                      </a:lnTo>
                      <a:lnTo>
                        <a:pt x="2105" y="67"/>
                      </a:lnTo>
                      <a:lnTo>
                        <a:pt x="2037" y="48"/>
                      </a:lnTo>
                      <a:lnTo>
                        <a:pt x="2037" y="48"/>
                      </a:lnTo>
                      <a:lnTo>
                        <a:pt x="2000" y="38"/>
                      </a:lnTo>
                      <a:lnTo>
                        <a:pt x="2000" y="38"/>
                      </a:lnTo>
                      <a:lnTo>
                        <a:pt x="1956" y="28"/>
                      </a:lnTo>
                      <a:lnTo>
                        <a:pt x="1913" y="18"/>
                      </a:lnTo>
                      <a:lnTo>
                        <a:pt x="1869" y="8"/>
                      </a:lnTo>
                      <a:lnTo>
                        <a:pt x="1824" y="0"/>
                      </a:lnTo>
                      <a:lnTo>
                        <a:pt x="1824" y="0"/>
                      </a:lnTo>
                      <a:lnTo>
                        <a:pt x="1777" y="5"/>
                      </a:lnTo>
                      <a:lnTo>
                        <a:pt x="1729" y="11"/>
                      </a:lnTo>
                      <a:lnTo>
                        <a:pt x="1682" y="17"/>
                      </a:lnTo>
                      <a:lnTo>
                        <a:pt x="1635" y="25"/>
                      </a:lnTo>
                      <a:lnTo>
                        <a:pt x="1589" y="33"/>
                      </a:lnTo>
                      <a:lnTo>
                        <a:pt x="1543" y="43"/>
                      </a:lnTo>
                      <a:lnTo>
                        <a:pt x="1498" y="53"/>
                      </a:lnTo>
                      <a:lnTo>
                        <a:pt x="1453" y="65"/>
                      </a:lnTo>
                      <a:lnTo>
                        <a:pt x="1408" y="78"/>
                      </a:lnTo>
                      <a:lnTo>
                        <a:pt x="1365" y="91"/>
                      </a:lnTo>
                      <a:lnTo>
                        <a:pt x="1321" y="106"/>
                      </a:lnTo>
                      <a:lnTo>
                        <a:pt x="1277" y="122"/>
                      </a:lnTo>
                      <a:lnTo>
                        <a:pt x="1234" y="140"/>
                      </a:lnTo>
                      <a:lnTo>
                        <a:pt x="1192" y="157"/>
                      </a:lnTo>
                      <a:lnTo>
                        <a:pt x="1150" y="175"/>
                      </a:lnTo>
                      <a:lnTo>
                        <a:pt x="1109" y="195"/>
                      </a:lnTo>
                      <a:lnTo>
                        <a:pt x="1067" y="216"/>
                      </a:lnTo>
                      <a:lnTo>
                        <a:pt x="1027" y="238"/>
                      </a:lnTo>
                      <a:lnTo>
                        <a:pt x="988" y="259"/>
                      </a:lnTo>
                      <a:lnTo>
                        <a:pt x="949" y="282"/>
                      </a:lnTo>
                      <a:lnTo>
                        <a:pt x="911" y="307"/>
                      </a:lnTo>
                      <a:lnTo>
                        <a:pt x="873" y="332"/>
                      </a:lnTo>
                      <a:lnTo>
                        <a:pt x="835" y="357"/>
                      </a:lnTo>
                      <a:lnTo>
                        <a:pt x="798" y="384"/>
                      </a:lnTo>
                      <a:lnTo>
                        <a:pt x="762" y="411"/>
                      </a:lnTo>
                      <a:lnTo>
                        <a:pt x="727" y="440"/>
                      </a:lnTo>
                      <a:lnTo>
                        <a:pt x="692" y="469"/>
                      </a:lnTo>
                      <a:lnTo>
                        <a:pt x="659" y="499"/>
                      </a:lnTo>
                      <a:lnTo>
                        <a:pt x="625" y="529"/>
                      </a:lnTo>
                      <a:lnTo>
                        <a:pt x="592" y="560"/>
                      </a:lnTo>
                      <a:lnTo>
                        <a:pt x="561" y="592"/>
                      </a:lnTo>
                      <a:lnTo>
                        <a:pt x="530" y="624"/>
                      </a:lnTo>
                      <a:lnTo>
                        <a:pt x="499" y="658"/>
                      </a:lnTo>
                      <a:lnTo>
                        <a:pt x="469" y="692"/>
                      </a:lnTo>
                      <a:lnTo>
                        <a:pt x="440" y="727"/>
                      </a:lnTo>
                      <a:lnTo>
                        <a:pt x="412" y="763"/>
                      </a:lnTo>
                      <a:lnTo>
                        <a:pt x="385" y="798"/>
                      </a:lnTo>
                      <a:lnTo>
                        <a:pt x="358" y="835"/>
                      </a:lnTo>
                      <a:lnTo>
                        <a:pt x="333" y="873"/>
                      </a:lnTo>
                      <a:lnTo>
                        <a:pt x="308" y="911"/>
                      </a:lnTo>
                      <a:lnTo>
                        <a:pt x="285" y="949"/>
                      </a:lnTo>
                      <a:lnTo>
                        <a:pt x="260" y="988"/>
                      </a:lnTo>
                      <a:lnTo>
                        <a:pt x="239" y="1029"/>
                      </a:lnTo>
                      <a:lnTo>
                        <a:pt x="218" y="1069"/>
                      </a:lnTo>
                      <a:lnTo>
                        <a:pt x="197" y="1109"/>
                      </a:lnTo>
                      <a:lnTo>
                        <a:pt x="178" y="1151"/>
                      </a:lnTo>
                      <a:lnTo>
                        <a:pt x="159" y="1193"/>
                      </a:lnTo>
                      <a:lnTo>
                        <a:pt x="142" y="1235"/>
                      </a:lnTo>
                      <a:lnTo>
                        <a:pt x="125" y="1278"/>
                      </a:lnTo>
                      <a:lnTo>
                        <a:pt x="110" y="1321"/>
                      </a:lnTo>
                      <a:lnTo>
                        <a:pt x="95" y="1365"/>
                      </a:lnTo>
                      <a:lnTo>
                        <a:pt x="81" y="1410"/>
                      </a:lnTo>
                      <a:lnTo>
                        <a:pt x="68" y="1455"/>
                      </a:lnTo>
                      <a:lnTo>
                        <a:pt x="57" y="1499"/>
                      </a:lnTo>
                      <a:lnTo>
                        <a:pt x="46" y="1544"/>
                      </a:lnTo>
                      <a:lnTo>
                        <a:pt x="36" y="1590"/>
                      </a:lnTo>
                      <a:lnTo>
                        <a:pt x="28" y="1636"/>
                      </a:lnTo>
                      <a:lnTo>
                        <a:pt x="21" y="1684"/>
                      </a:lnTo>
                      <a:lnTo>
                        <a:pt x="14" y="1731"/>
                      </a:lnTo>
                      <a:lnTo>
                        <a:pt x="9" y="1778"/>
                      </a:lnTo>
                      <a:lnTo>
                        <a:pt x="5" y="1825"/>
                      </a:lnTo>
                      <a:lnTo>
                        <a:pt x="3" y="1874"/>
                      </a:lnTo>
                      <a:lnTo>
                        <a:pt x="0" y="1922"/>
                      </a:lnTo>
                      <a:lnTo>
                        <a:pt x="0" y="197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1" name="Freeform 245"/>
                <p:cNvSpPr>
                  <a:spLocks/>
                </p:cNvSpPr>
                <p:nvPr/>
              </p:nvSpPr>
              <p:spPr bwMode="auto">
                <a:xfrm>
                  <a:off x="4464050" y="3067050"/>
                  <a:ext cx="1039813" cy="754063"/>
                </a:xfrm>
                <a:custGeom>
                  <a:avLst/>
                  <a:gdLst>
                    <a:gd name="T0" fmla="*/ 2040 w 4585"/>
                    <a:gd name="T1" fmla="*/ 3322 h 3326"/>
                    <a:gd name="T2" fmla="*/ 2311 w 4585"/>
                    <a:gd name="T3" fmla="*/ 3295 h 3326"/>
                    <a:gd name="T4" fmla="*/ 2573 w 4585"/>
                    <a:gd name="T5" fmla="*/ 3242 h 3326"/>
                    <a:gd name="T6" fmla="*/ 2825 w 4585"/>
                    <a:gd name="T7" fmla="*/ 3163 h 3326"/>
                    <a:gd name="T8" fmla="*/ 3066 w 4585"/>
                    <a:gd name="T9" fmla="*/ 3062 h 3326"/>
                    <a:gd name="T10" fmla="*/ 3294 w 4585"/>
                    <a:gd name="T11" fmla="*/ 2938 h 3326"/>
                    <a:gd name="T12" fmla="*/ 3508 w 4585"/>
                    <a:gd name="T13" fmla="*/ 2793 h 3326"/>
                    <a:gd name="T14" fmla="*/ 3706 w 4585"/>
                    <a:gd name="T15" fmla="*/ 2629 h 3326"/>
                    <a:gd name="T16" fmla="*/ 3888 w 4585"/>
                    <a:gd name="T17" fmla="*/ 2447 h 3326"/>
                    <a:gd name="T18" fmla="*/ 4052 w 4585"/>
                    <a:gd name="T19" fmla="*/ 2248 h 3326"/>
                    <a:gd name="T20" fmla="*/ 4196 w 4585"/>
                    <a:gd name="T21" fmla="*/ 2034 h 3326"/>
                    <a:gd name="T22" fmla="*/ 4321 w 4585"/>
                    <a:gd name="T23" fmla="*/ 1806 h 3326"/>
                    <a:gd name="T24" fmla="*/ 4422 w 4585"/>
                    <a:gd name="T25" fmla="*/ 1565 h 3326"/>
                    <a:gd name="T26" fmla="*/ 4500 w 4585"/>
                    <a:gd name="T27" fmla="*/ 1313 h 3326"/>
                    <a:gd name="T28" fmla="*/ 4554 w 4585"/>
                    <a:gd name="T29" fmla="*/ 1052 h 3326"/>
                    <a:gd name="T30" fmla="*/ 4582 w 4585"/>
                    <a:gd name="T31" fmla="*/ 781 h 3326"/>
                    <a:gd name="T32" fmla="*/ 4584 w 4585"/>
                    <a:gd name="T33" fmla="*/ 602 h 3326"/>
                    <a:gd name="T34" fmla="*/ 4564 w 4585"/>
                    <a:gd name="T35" fmla="*/ 315 h 3326"/>
                    <a:gd name="T36" fmla="*/ 4504 w 4585"/>
                    <a:gd name="T37" fmla="*/ 0 h 3326"/>
                    <a:gd name="T38" fmla="*/ 4497 w 4585"/>
                    <a:gd name="T39" fmla="*/ 150 h 3326"/>
                    <a:gd name="T40" fmla="*/ 4469 w 4585"/>
                    <a:gd name="T41" fmla="*/ 346 h 3326"/>
                    <a:gd name="T42" fmla="*/ 4424 w 4585"/>
                    <a:gd name="T43" fmla="*/ 535 h 3326"/>
                    <a:gd name="T44" fmla="*/ 4361 w 4585"/>
                    <a:gd name="T45" fmla="*/ 717 h 3326"/>
                    <a:gd name="T46" fmla="*/ 4280 w 4585"/>
                    <a:gd name="T47" fmla="*/ 890 h 3326"/>
                    <a:gd name="T48" fmla="*/ 4185 w 4585"/>
                    <a:gd name="T49" fmla="*/ 1053 h 3326"/>
                    <a:gd name="T50" fmla="*/ 4074 w 4585"/>
                    <a:gd name="T51" fmla="*/ 1206 h 3326"/>
                    <a:gd name="T52" fmla="*/ 3950 w 4585"/>
                    <a:gd name="T53" fmla="*/ 1348 h 3326"/>
                    <a:gd name="T54" fmla="*/ 3813 w 4585"/>
                    <a:gd name="T55" fmla="*/ 1477 h 3326"/>
                    <a:gd name="T56" fmla="*/ 3664 w 4585"/>
                    <a:gd name="T57" fmla="*/ 1593 h 3326"/>
                    <a:gd name="T58" fmla="*/ 3506 w 4585"/>
                    <a:gd name="T59" fmla="*/ 1694 h 3326"/>
                    <a:gd name="T60" fmla="*/ 3335 w 4585"/>
                    <a:gd name="T61" fmla="*/ 1781 h 3326"/>
                    <a:gd name="T62" fmla="*/ 3157 w 4585"/>
                    <a:gd name="T63" fmla="*/ 1850 h 3326"/>
                    <a:gd name="T64" fmla="*/ 2971 w 4585"/>
                    <a:gd name="T65" fmla="*/ 1903 h 3326"/>
                    <a:gd name="T66" fmla="*/ 2778 w 4585"/>
                    <a:gd name="T67" fmla="*/ 1937 h 3326"/>
                    <a:gd name="T68" fmla="*/ 2579 w 4585"/>
                    <a:gd name="T69" fmla="*/ 1952 h 3326"/>
                    <a:gd name="T70" fmla="*/ 2427 w 4585"/>
                    <a:gd name="T71" fmla="*/ 1950 h 3326"/>
                    <a:gd name="T72" fmla="*/ 2231 w 4585"/>
                    <a:gd name="T73" fmla="*/ 1930 h 3326"/>
                    <a:gd name="T74" fmla="*/ 2040 w 4585"/>
                    <a:gd name="T75" fmla="*/ 1892 h 3326"/>
                    <a:gd name="T76" fmla="*/ 1857 w 4585"/>
                    <a:gd name="T77" fmla="*/ 1836 h 3326"/>
                    <a:gd name="T78" fmla="*/ 1682 w 4585"/>
                    <a:gd name="T79" fmla="*/ 1762 h 3326"/>
                    <a:gd name="T80" fmla="*/ 1516 w 4585"/>
                    <a:gd name="T81" fmla="*/ 1674 h 3326"/>
                    <a:gd name="T82" fmla="*/ 1360 w 4585"/>
                    <a:gd name="T83" fmla="*/ 1570 h 3326"/>
                    <a:gd name="T84" fmla="*/ 1213 w 4585"/>
                    <a:gd name="T85" fmla="*/ 1453 h 3326"/>
                    <a:gd name="T86" fmla="*/ 0 w 4585"/>
                    <a:gd name="T87" fmla="*/ 2534 h 3326"/>
                    <a:gd name="T88" fmla="*/ 191 w 4585"/>
                    <a:gd name="T89" fmla="*/ 2709 h 3326"/>
                    <a:gd name="T90" fmla="*/ 397 w 4585"/>
                    <a:gd name="T91" fmla="*/ 2864 h 3326"/>
                    <a:gd name="T92" fmla="*/ 619 w 4585"/>
                    <a:gd name="T93" fmla="*/ 3000 h 3326"/>
                    <a:gd name="T94" fmla="*/ 854 w 4585"/>
                    <a:gd name="T95" fmla="*/ 3114 h 3326"/>
                    <a:gd name="T96" fmla="*/ 1102 w 4585"/>
                    <a:gd name="T97" fmla="*/ 3205 h 3326"/>
                    <a:gd name="T98" fmla="*/ 1360 w 4585"/>
                    <a:gd name="T99" fmla="*/ 3272 h 3326"/>
                    <a:gd name="T100" fmla="*/ 1627 w 4585"/>
                    <a:gd name="T101" fmla="*/ 3312 h 3326"/>
                    <a:gd name="T102" fmla="*/ 1903 w 4585"/>
                    <a:gd name="T103" fmla="*/ 3326 h 3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585" h="3326">
                      <a:moveTo>
                        <a:pt x="1903" y="3326"/>
                      </a:moveTo>
                      <a:lnTo>
                        <a:pt x="1903" y="3326"/>
                      </a:lnTo>
                      <a:lnTo>
                        <a:pt x="1972" y="3326"/>
                      </a:lnTo>
                      <a:lnTo>
                        <a:pt x="2040" y="3322"/>
                      </a:lnTo>
                      <a:lnTo>
                        <a:pt x="2109" y="3318"/>
                      </a:lnTo>
                      <a:lnTo>
                        <a:pt x="2177" y="3312"/>
                      </a:lnTo>
                      <a:lnTo>
                        <a:pt x="2244" y="3305"/>
                      </a:lnTo>
                      <a:lnTo>
                        <a:pt x="2311" y="3295"/>
                      </a:lnTo>
                      <a:lnTo>
                        <a:pt x="2377" y="3284"/>
                      </a:lnTo>
                      <a:lnTo>
                        <a:pt x="2443" y="3272"/>
                      </a:lnTo>
                      <a:lnTo>
                        <a:pt x="2509" y="3258"/>
                      </a:lnTo>
                      <a:lnTo>
                        <a:pt x="2573" y="3242"/>
                      </a:lnTo>
                      <a:lnTo>
                        <a:pt x="2636" y="3225"/>
                      </a:lnTo>
                      <a:lnTo>
                        <a:pt x="2700" y="3206"/>
                      </a:lnTo>
                      <a:lnTo>
                        <a:pt x="2763" y="3185"/>
                      </a:lnTo>
                      <a:lnTo>
                        <a:pt x="2825" y="3163"/>
                      </a:lnTo>
                      <a:lnTo>
                        <a:pt x="2886" y="3140"/>
                      </a:lnTo>
                      <a:lnTo>
                        <a:pt x="2947" y="3115"/>
                      </a:lnTo>
                      <a:lnTo>
                        <a:pt x="3006" y="3089"/>
                      </a:lnTo>
                      <a:lnTo>
                        <a:pt x="3066" y="3062"/>
                      </a:lnTo>
                      <a:lnTo>
                        <a:pt x="3123" y="3032"/>
                      </a:lnTo>
                      <a:lnTo>
                        <a:pt x="3181" y="3002"/>
                      </a:lnTo>
                      <a:lnTo>
                        <a:pt x="3237" y="2971"/>
                      </a:lnTo>
                      <a:lnTo>
                        <a:pt x="3294" y="2938"/>
                      </a:lnTo>
                      <a:lnTo>
                        <a:pt x="3348" y="2903"/>
                      </a:lnTo>
                      <a:lnTo>
                        <a:pt x="3402" y="2868"/>
                      </a:lnTo>
                      <a:lnTo>
                        <a:pt x="3455" y="2831"/>
                      </a:lnTo>
                      <a:lnTo>
                        <a:pt x="3508" y="2793"/>
                      </a:lnTo>
                      <a:lnTo>
                        <a:pt x="3559" y="2754"/>
                      </a:lnTo>
                      <a:lnTo>
                        <a:pt x="3609" y="2713"/>
                      </a:lnTo>
                      <a:lnTo>
                        <a:pt x="3658" y="2672"/>
                      </a:lnTo>
                      <a:lnTo>
                        <a:pt x="3706" y="2629"/>
                      </a:lnTo>
                      <a:lnTo>
                        <a:pt x="3753" y="2586"/>
                      </a:lnTo>
                      <a:lnTo>
                        <a:pt x="3799" y="2541"/>
                      </a:lnTo>
                      <a:lnTo>
                        <a:pt x="3844" y="2495"/>
                      </a:lnTo>
                      <a:lnTo>
                        <a:pt x="3888" y="2447"/>
                      </a:lnTo>
                      <a:lnTo>
                        <a:pt x="3930" y="2399"/>
                      </a:lnTo>
                      <a:lnTo>
                        <a:pt x="3973" y="2350"/>
                      </a:lnTo>
                      <a:lnTo>
                        <a:pt x="4013" y="2300"/>
                      </a:lnTo>
                      <a:lnTo>
                        <a:pt x="4052" y="2248"/>
                      </a:lnTo>
                      <a:lnTo>
                        <a:pt x="4090" y="2196"/>
                      </a:lnTo>
                      <a:lnTo>
                        <a:pt x="4127" y="2143"/>
                      </a:lnTo>
                      <a:lnTo>
                        <a:pt x="4163" y="2089"/>
                      </a:lnTo>
                      <a:lnTo>
                        <a:pt x="4196" y="2034"/>
                      </a:lnTo>
                      <a:lnTo>
                        <a:pt x="4230" y="1979"/>
                      </a:lnTo>
                      <a:lnTo>
                        <a:pt x="4261" y="1922"/>
                      </a:lnTo>
                      <a:lnTo>
                        <a:pt x="4292" y="1865"/>
                      </a:lnTo>
                      <a:lnTo>
                        <a:pt x="4321" y="1806"/>
                      </a:lnTo>
                      <a:lnTo>
                        <a:pt x="4348" y="1747"/>
                      </a:lnTo>
                      <a:lnTo>
                        <a:pt x="4375" y="1687"/>
                      </a:lnTo>
                      <a:lnTo>
                        <a:pt x="4399" y="1628"/>
                      </a:lnTo>
                      <a:lnTo>
                        <a:pt x="4422" y="1565"/>
                      </a:lnTo>
                      <a:lnTo>
                        <a:pt x="4444" y="1503"/>
                      </a:lnTo>
                      <a:lnTo>
                        <a:pt x="4465" y="1441"/>
                      </a:lnTo>
                      <a:lnTo>
                        <a:pt x="4483" y="1378"/>
                      </a:lnTo>
                      <a:lnTo>
                        <a:pt x="4500" y="1313"/>
                      </a:lnTo>
                      <a:lnTo>
                        <a:pt x="4516" y="1249"/>
                      </a:lnTo>
                      <a:lnTo>
                        <a:pt x="4530" y="1184"/>
                      </a:lnTo>
                      <a:lnTo>
                        <a:pt x="4543" y="1119"/>
                      </a:lnTo>
                      <a:lnTo>
                        <a:pt x="4554" y="1052"/>
                      </a:lnTo>
                      <a:lnTo>
                        <a:pt x="4564" y="985"/>
                      </a:lnTo>
                      <a:lnTo>
                        <a:pt x="4572" y="917"/>
                      </a:lnTo>
                      <a:lnTo>
                        <a:pt x="4577" y="849"/>
                      </a:lnTo>
                      <a:lnTo>
                        <a:pt x="4582" y="781"/>
                      </a:lnTo>
                      <a:lnTo>
                        <a:pt x="4584" y="712"/>
                      </a:lnTo>
                      <a:lnTo>
                        <a:pt x="4585" y="643"/>
                      </a:lnTo>
                      <a:lnTo>
                        <a:pt x="4585" y="643"/>
                      </a:lnTo>
                      <a:lnTo>
                        <a:pt x="4584" y="602"/>
                      </a:lnTo>
                      <a:lnTo>
                        <a:pt x="4583" y="560"/>
                      </a:lnTo>
                      <a:lnTo>
                        <a:pt x="4580" y="479"/>
                      </a:lnTo>
                      <a:lnTo>
                        <a:pt x="4573" y="397"/>
                      </a:lnTo>
                      <a:lnTo>
                        <a:pt x="4564" y="315"/>
                      </a:lnTo>
                      <a:lnTo>
                        <a:pt x="4552" y="236"/>
                      </a:lnTo>
                      <a:lnTo>
                        <a:pt x="4538" y="156"/>
                      </a:lnTo>
                      <a:lnTo>
                        <a:pt x="4522" y="78"/>
                      </a:lnTo>
                      <a:lnTo>
                        <a:pt x="4504" y="0"/>
                      </a:lnTo>
                      <a:lnTo>
                        <a:pt x="4504" y="0"/>
                      </a:lnTo>
                      <a:lnTo>
                        <a:pt x="4503" y="50"/>
                      </a:lnTo>
                      <a:lnTo>
                        <a:pt x="4500" y="100"/>
                      </a:lnTo>
                      <a:lnTo>
                        <a:pt x="4497" y="150"/>
                      </a:lnTo>
                      <a:lnTo>
                        <a:pt x="4491" y="200"/>
                      </a:lnTo>
                      <a:lnTo>
                        <a:pt x="4485" y="248"/>
                      </a:lnTo>
                      <a:lnTo>
                        <a:pt x="4478" y="298"/>
                      </a:lnTo>
                      <a:lnTo>
                        <a:pt x="4469" y="346"/>
                      </a:lnTo>
                      <a:lnTo>
                        <a:pt x="4460" y="393"/>
                      </a:lnTo>
                      <a:lnTo>
                        <a:pt x="4448" y="442"/>
                      </a:lnTo>
                      <a:lnTo>
                        <a:pt x="4437" y="489"/>
                      </a:lnTo>
                      <a:lnTo>
                        <a:pt x="4424" y="535"/>
                      </a:lnTo>
                      <a:lnTo>
                        <a:pt x="4409" y="581"/>
                      </a:lnTo>
                      <a:lnTo>
                        <a:pt x="4394" y="627"/>
                      </a:lnTo>
                      <a:lnTo>
                        <a:pt x="4378" y="672"/>
                      </a:lnTo>
                      <a:lnTo>
                        <a:pt x="4361" y="717"/>
                      </a:lnTo>
                      <a:lnTo>
                        <a:pt x="4343" y="761"/>
                      </a:lnTo>
                      <a:lnTo>
                        <a:pt x="4323" y="804"/>
                      </a:lnTo>
                      <a:lnTo>
                        <a:pt x="4302" y="847"/>
                      </a:lnTo>
                      <a:lnTo>
                        <a:pt x="4280" y="890"/>
                      </a:lnTo>
                      <a:lnTo>
                        <a:pt x="4258" y="931"/>
                      </a:lnTo>
                      <a:lnTo>
                        <a:pt x="4234" y="973"/>
                      </a:lnTo>
                      <a:lnTo>
                        <a:pt x="4210" y="1013"/>
                      </a:lnTo>
                      <a:lnTo>
                        <a:pt x="4185" y="1053"/>
                      </a:lnTo>
                      <a:lnTo>
                        <a:pt x="4158" y="1092"/>
                      </a:lnTo>
                      <a:lnTo>
                        <a:pt x="4132" y="1131"/>
                      </a:lnTo>
                      <a:lnTo>
                        <a:pt x="4103" y="1169"/>
                      </a:lnTo>
                      <a:lnTo>
                        <a:pt x="4074" y="1206"/>
                      </a:lnTo>
                      <a:lnTo>
                        <a:pt x="4044" y="1243"/>
                      </a:lnTo>
                      <a:lnTo>
                        <a:pt x="4014" y="1279"/>
                      </a:lnTo>
                      <a:lnTo>
                        <a:pt x="3982" y="1313"/>
                      </a:lnTo>
                      <a:lnTo>
                        <a:pt x="3950" y="1348"/>
                      </a:lnTo>
                      <a:lnTo>
                        <a:pt x="3918" y="1381"/>
                      </a:lnTo>
                      <a:lnTo>
                        <a:pt x="3883" y="1415"/>
                      </a:lnTo>
                      <a:lnTo>
                        <a:pt x="3849" y="1446"/>
                      </a:lnTo>
                      <a:lnTo>
                        <a:pt x="3813" y="1477"/>
                      </a:lnTo>
                      <a:lnTo>
                        <a:pt x="3777" y="1508"/>
                      </a:lnTo>
                      <a:lnTo>
                        <a:pt x="3740" y="1537"/>
                      </a:lnTo>
                      <a:lnTo>
                        <a:pt x="3702" y="1565"/>
                      </a:lnTo>
                      <a:lnTo>
                        <a:pt x="3664" y="1593"/>
                      </a:lnTo>
                      <a:lnTo>
                        <a:pt x="3625" y="1620"/>
                      </a:lnTo>
                      <a:lnTo>
                        <a:pt x="3586" y="1646"/>
                      </a:lnTo>
                      <a:lnTo>
                        <a:pt x="3546" y="1670"/>
                      </a:lnTo>
                      <a:lnTo>
                        <a:pt x="3506" y="1694"/>
                      </a:lnTo>
                      <a:lnTo>
                        <a:pt x="3464" y="1717"/>
                      </a:lnTo>
                      <a:lnTo>
                        <a:pt x="3422" y="1739"/>
                      </a:lnTo>
                      <a:lnTo>
                        <a:pt x="3379" y="1760"/>
                      </a:lnTo>
                      <a:lnTo>
                        <a:pt x="3335" y="1781"/>
                      </a:lnTo>
                      <a:lnTo>
                        <a:pt x="3291" y="1799"/>
                      </a:lnTo>
                      <a:lnTo>
                        <a:pt x="3248" y="1818"/>
                      </a:lnTo>
                      <a:lnTo>
                        <a:pt x="3203" y="1835"/>
                      </a:lnTo>
                      <a:lnTo>
                        <a:pt x="3157" y="1850"/>
                      </a:lnTo>
                      <a:lnTo>
                        <a:pt x="3112" y="1865"/>
                      </a:lnTo>
                      <a:lnTo>
                        <a:pt x="3065" y="1879"/>
                      </a:lnTo>
                      <a:lnTo>
                        <a:pt x="3019" y="1891"/>
                      </a:lnTo>
                      <a:lnTo>
                        <a:pt x="2971" y="1903"/>
                      </a:lnTo>
                      <a:lnTo>
                        <a:pt x="2923" y="1913"/>
                      </a:lnTo>
                      <a:lnTo>
                        <a:pt x="2875" y="1922"/>
                      </a:lnTo>
                      <a:lnTo>
                        <a:pt x="2826" y="1930"/>
                      </a:lnTo>
                      <a:lnTo>
                        <a:pt x="2778" y="1937"/>
                      </a:lnTo>
                      <a:lnTo>
                        <a:pt x="2728" y="1943"/>
                      </a:lnTo>
                      <a:lnTo>
                        <a:pt x="2679" y="1947"/>
                      </a:lnTo>
                      <a:lnTo>
                        <a:pt x="2628" y="1950"/>
                      </a:lnTo>
                      <a:lnTo>
                        <a:pt x="2579" y="1952"/>
                      </a:lnTo>
                      <a:lnTo>
                        <a:pt x="2528" y="1952"/>
                      </a:lnTo>
                      <a:lnTo>
                        <a:pt x="2528" y="1952"/>
                      </a:lnTo>
                      <a:lnTo>
                        <a:pt x="2477" y="1952"/>
                      </a:lnTo>
                      <a:lnTo>
                        <a:pt x="2427" y="1950"/>
                      </a:lnTo>
                      <a:lnTo>
                        <a:pt x="2377" y="1947"/>
                      </a:lnTo>
                      <a:lnTo>
                        <a:pt x="2328" y="1943"/>
                      </a:lnTo>
                      <a:lnTo>
                        <a:pt x="2279" y="1937"/>
                      </a:lnTo>
                      <a:lnTo>
                        <a:pt x="2231" y="1930"/>
                      </a:lnTo>
                      <a:lnTo>
                        <a:pt x="2183" y="1922"/>
                      </a:lnTo>
                      <a:lnTo>
                        <a:pt x="2134" y="1913"/>
                      </a:lnTo>
                      <a:lnTo>
                        <a:pt x="2087" y="1903"/>
                      </a:lnTo>
                      <a:lnTo>
                        <a:pt x="2040" y="1892"/>
                      </a:lnTo>
                      <a:lnTo>
                        <a:pt x="1994" y="1880"/>
                      </a:lnTo>
                      <a:lnTo>
                        <a:pt x="1948" y="1866"/>
                      </a:lnTo>
                      <a:lnTo>
                        <a:pt x="1902" y="1851"/>
                      </a:lnTo>
                      <a:lnTo>
                        <a:pt x="1857" y="1836"/>
                      </a:lnTo>
                      <a:lnTo>
                        <a:pt x="1812" y="1819"/>
                      </a:lnTo>
                      <a:lnTo>
                        <a:pt x="1768" y="1801"/>
                      </a:lnTo>
                      <a:lnTo>
                        <a:pt x="1725" y="1782"/>
                      </a:lnTo>
                      <a:lnTo>
                        <a:pt x="1682" y="1762"/>
                      </a:lnTo>
                      <a:lnTo>
                        <a:pt x="1639" y="1742"/>
                      </a:lnTo>
                      <a:lnTo>
                        <a:pt x="1598" y="1720"/>
                      </a:lnTo>
                      <a:lnTo>
                        <a:pt x="1556" y="1698"/>
                      </a:lnTo>
                      <a:lnTo>
                        <a:pt x="1516" y="1674"/>
                      </a:lnTo>
                      <a:lnTo>
                        <a:pt x="1476" y="1649"/>
                      </a:lnTo>
                      <a:lnTo>
                        <a:pt x="1437" y="1624"/>
                      </a:lnTo>
                      <a:lnTo>
                        <a:pt x="1398" y="1598"/>
                      </a:lnTo>
                      <a:lnTo>
                        <a:pt x="1360" y="1570"/>
                      </a:lnTo>
                      <a:lnTo>
                        <a:pt x="1322" y="1541"/>
                      </a:lnTo>
                      <a:lnTo>
                        <a:pt x="1285" y="1512"/>
                      </a:lnTo>
                      <a:lnTo>
                        <a:pt x="1249" y="1483"/>
                      </a:lnTo>
                      <a:lnTo>
                        <a:pt x="1213" y="1453"/>
                      </a:lnTo>
                      <a:lnTo>
                        <a:pt x="1179" y="1420"/>
                      </a:lnTo>
                      <a:lnTo>
                        <a:pt x="1145" y="1388"/>
                      </a:lnTo>
                      <a:lnTo>
                        <a:pt x="0" y="2534"/>
                      </a:lnTo>
                      <a:lnTo>
                        <a:pt x="0" y="2534"/>
                      </a:lnTo>
                      <a:lnTo>
                        <a:pt x="46" y="2580"/>
                      </a:lnTo>
                      <a:lnTo>
                        <a:pt x="93" y="2624"/>
                      </a:lnTo>
                      <a:lnTo>
                        <a:pt x="142" y="2666"/>
                      </a:lnTo>
                      <a:lnTo>
                        <a:pt x="191" y="2709"/>
                      </a:lnTo>
                      <a:lnTo>
                        <a:pt x="241" y="2749"/>
                      </a:lnTo>
                      <a:lnTo>
                        <a:pt x="292" y="2789"/>
                      </a:lnTo>
                      <a:lnTo>
                        <a:pt x="344" y="2827"/>
                      </a:lnTo>
                      <a:lnTo>
                        <a:pt x="397" y="2864"/>
                      </a:lnTo>
                      <a:lnTo>
                        <a:pt x="451" y="2900"/>
                      </a:lnTo>
                      <a:lnTo>
                        <a:pt x="507" y="2934"/>
                      </a:lnTo>
                      <a:lnTo>
                        <a:pt x="563" y="2968"/>
                      </a:lnTo>
                      <a:lnTo>
                        <a:pt x="619" y="3000"/>
                      </a:lnTo>
                      <a:lnTo>
                        <a:pt x="677" y="3030"/>
                      </a:lnTo>
                      <a:lnTo>
                        <a:pt x="736" y="3060"/>
                      </a:lnTo>
                      <a:lnTo>
                        <a:pt x="794" y="3088"/>
                      </a:lnTo>
                      <a:lnTo>
                        <a:pt x="854" y="3114"/>
                      </a:lnTo>
                      <a:lnTo>
                        <a:pt x="915" y="3138"/>
                      </a:lnTo>
                      <a:lnTo>
                        <a:pt x="976" y="3162"/>
                      </a:lnTo>
                      <a:lnTo>
                        <a:pt x="1038" y="3184"/>
                      </a:lnTo>
                      <a:lnTo>
                        <a:pt x="1102" y="3205"/>
                      </a:lnTo>
                      <a:lnTo>
                        <a:pt x="1165" y="3223"/>
                      </a:lnTo>
                      <a:lnTo>
                        <a:pt x="1230" y="3241"/>
                      </a:lnTo>
                      <a:lnTo>
                        <a:pt x="1294" y="3257"/>
                      </a:lnTo>
                      <a:lnTo>
                        <a:pt x="1360" y="3272"/>
                      </a:lnTo>
                      <a:lnTo>
                        <a:pt x="1425" y="3284"/>
                      </a:lnTo>
                      <a:lnTo>
                        <a:pt x="1492" y="3295"/>
                      </a:lnTo>
                      <a:lnTo>
                        <a:pt x="1560" y="3304"/>
                      </a:lnTo>
                      <a:lnTo>
                        <a:pt x="1627" y="3312"/>
                      </a:lnTo>
                      <a:lnTo>
                        <a:pt x="1696" y="3318"/>
                      </a:lnTo>
                      <a:lnTo>
                        <a:pt x="1764" y="3322"/>
                      </a:lnTo>
                      <a:lnTo>
                        <a:pt x="1833" y="3326"/>
                      </a:lnTo>
                      <a:lnTo>
                        <a:pt x="1903" y="3326"/>
                      </a:lnTo>
                      <a:close/>
                    </a:path>
                  </a:pathLst>
                </a:custGeom>
                <a:solidFill>
                  <a:srgbClr val="AD26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2" name="Freeform 246"/>
                <p:cNvSpPr>
                  <a:spLocks/>
                </p:cNvSpPr>
                <p:nvPr/>
              </p:nvSpPr>
              <p:spPr bwMode="auto">
                <a:xfrm>
                  <a:off x="4464050" y="3067050"/>
                  <a:ext cx="1039813" cy="754063"/>
                </a:xfrm>
                <a:custGeom>
                  <a:avLst/>
                  <a:gdLst>
                    <a:gd name="T0" fmla="*/ 2040 w 4585"/>
                    <a:gd name="T1" fmla="*/ 3322 h 3326"/>
                    <a:gd name="T2" fmla="*/ 2311 w 4585"/>
                    <a:gd name="T3" fmla="*/ 3295 h 3326"/>
                    <a:gd name="T4" fmla="*/ 2573 w 4585"/>
                    <a:gd name="T5" fmla="*/ 3242 h 3326"/>
                    <a:gd name="T6" fmla="*/ 2825 w 4585"/>
                    <a:gd name="T7" fmla="*/ 3163 h 3326"/>
                    <a:gd name="T8" fmla="*/ 3066 w 4585"/>
                    <a:gd name="T9" fmla="*/ 3062 h 3326"/>
                    <a:gd name="T10" fmla="*/ 3294 w 4585"/>
                    <a:gd name="T11" fmla="*/ 2938 h 3326"/>
                    <a:gd name="T12" fmla="*/ 3508 w 4585"/>
                    <a:gd name="T13" fmla="*/ 2793 h 3326"/>
                    <a:gd name="T14" fmla="*/ 3706 w 4585"/>
                    <a:gd name="T15" fmla="*/ 2629 h 3326"/>
                    <a:gd name="T16" fmla="*/ 3888 w 4585"/>
                    <a:gd name="T17" fmla="*/ 2447 h 3326"/>
                    <a:gd name="T18" fmla="*/ 4052 w 4585"/>
                    <a:gd name="T19" fmla="*/ 2248 h 3326"/>
                    <a:gd name="T20" fmla="*/ 4196 w 4585"/>
                    <a:gd name="T21" fmla="*/ 2034 h 3326"/>
                    <a:gd name="T22" fmla="*/ 4321 w 4585"/>
                    <a:gd name="T23" fmla="*/ 1806 h 3326"/>
                    <a:gd name="T24" fmla="*/ 4422 w 4585"/>
                    <a:gd name="T25" fmla="*/ 1565 h 3326"/>
                    <a:gd name="T26" fmla="*/ 4500 w 4585"/>
                    <a:gd name="T27" fmla="*/ 1313 h 3326"/>
                    <a:gd name="T28" fmla="*/ 4554 w 4585"/>
                    <a:gd name="T29" fmla="*/ 1052 h 3326"/>
                    <a:gd name="T30" fmla="*/ 4582 w 4585"/>
                    <a:gd name="T31" fmla="*/ 781 h 3326"/>
                    <a:gd name="T32" fmla="*/ 4584 w 4585"/>
                    <a:gd name="T33" fmla="*/ 602 h 3326"/>
                    <a:gd name="T34" fmla="*/ 4564 w 4585"/>
                    <a:gd name="T35" fmla="*/ 315 h 3326"/>
                    <a:gd name="T36" fmla="*/ 4504 w 4585"/>
                    <a:gd name="T37" fmla="*/ 0 h 3326"/>
                    <a:gd name="T38" fmla="*/ 4497 w 4585"/>
                    <a:gd name="T39" fmla="*/ 150 h 3326"/>
                    <a:gd name="T40" fmla="*/ 4469 w 4585"/>
                    <a:gd name="T41" fmla="*/ 346 h 3326"/>
                    <a:gd name="T42" fmla="*/ 4424 w 4585"/>
                    <a:gd name="T43" fmla="*/ 535 h 3326"/>
                    <a:gd name="T44" fmla="*/ 4361 w 4585"/>
                    <a:gd name="T45" fmla="*/ 717 h 3326"/>
                    <a:gd name="T46" fmla="*/ 4280 w 4585"/>
                    <a:gd name="T47" fmla="*/ 890 h 3326"/>
                    <a:gd name="T48" fmla="*/ 4185 w 4585"/>
                    <a:gd name="T49" fmla="*/ 1053 h 3326"/>
                    <a:gd name="T50" fmla="*/ 4074 w 4585"/>
                    <a:gd name="T51" fmla="*/ 1206 h 3326"/>
                    <a:gd name="T52" fmla="*/ 3950 w 4585"/>
                    <a:gd name="T53" fmla="*/ 1348 h 3326"/>
                    <a:gd name="T54" fmla="*/ 3813 w 4585"/>
                    <a:gd name="T55" fmla="*/ 1477 h 3326"/>
                    <a:gd name="T56" fmla="*/ 3664 w 4585"/>
                    <a:gd name="T57" fmla="*/ 1593 h 3326"/>
                    <a:gd name="T58" fmla="*/ 3506 w 4585"/>
                    <a:gd name="T59" fmla="*/ 1694 h 3326"/>
                    <a:gd name="T60" fmla="*/ 3335 w 4585"/>
                    <a:gd name="T61" fmla="*/ 1781 h 3326"/>
                    <a:gd name="T62" fmla="*/ 3157 w 4585"/>
                    <a:gd name="T63" fmla="*/ 1850 h 3326"/>
                    <a:gd name="T64" fmla="*/ 2971 w 4585"/>
                    <a:gd name="T65" fmla="*/ 1903 h 3326"/>
                    <a:gd name="T66" fmla="*/ 2778 w 4585"/>
                    <a:gd name="T67" fmla="*/ 1937 h 3326"/>
                    <a:gd name="T68" fmla="*/ 2579 w 4585"/>
                    <a:gd name="T69" fmla="*/ 1952 h 3326"/>
                    <a:gd name="T70" fmla="*/ 2427 w 4585"/>
                    <a:gd name="T71" fmla="*/ 1950 h 3326"/>
                    <a:gd name="T72" fmla="*/ 2231 w 4585"/>
                    <a:gd name="T73" fmla="*/ 1930 h 3326"/>
                    <a:gd name="T74" fmla="*/ 2040 w 4585"/>
                    <a:gd name="T75" fmla="*/ 1892 h 3326"/>
                    <a:gd name="T76" fmla="*/ 1857 w 4585"/>
                    <a:gd name="T77" fmla="*/ 1836 h 3326"/>
                    <a:gd name="T78" fmla="*/ 1682 w 4585"/>
                    <a:gd name="T79" fmla="*/ 1762 h 3326"/>
                    <a:gd name="T80" fmla="*/ 1516 w 4585"/>
                    <a:gd name="T81" fmla="*/ 1674 h 3326"/>
                    <a:gd name="T82" fmla="*/ 1360 w 4585"/>
                    <a:gd name="T83" fmla="*/ 1570 h 3326"/>
                    <a:gd name="T84" fmla="*/ 1213 w 4585"/>
                    <a:gd name="T85" fmla="*/ 1453 h 3326"/>
                    <a:gd name="T86" fmla="*/ 0 w 4585"/>
                    <a:gd name="T87" fmla="*/ 2534 h 3326"/>
                    <a:gd name="T88" fmla="*/ 191 w 4585"/>
                    <a:gd name="T89" fmla="*/ 2709 h 3326"/>
                    <a:gd name="T90" fmla="*/ 397 w 4585"/>
                    <a:gd name="T91" fmla="*/ 2864 h 3326"/>
                    <a:gd name="T92" fmla="*/ 619 w 4585"/>
                    <a:gd name="T93" fmla="*/ 3000 h 3326"/>
                    <a:gd name="T94" fmla="*/ 854 w 4585"/>
                    <a:gd name="T95" fmla="*/ 3114 h 3326"/>
                    <a:gd name="T96" fmla="*/ 1102 w 4585"/>
                    <a:gd name="T97" fmla="*/ 3205 h 3326"/>
                    <a:gd name="T98" fmla="*/ 1360 w 4585"/>
                    <a:gd name="T99" fmla="*/ 3272 h 3326"/>
                    <a:gd name="T100" fmla="*/ 1627 w 4585"/>
                    <a:gd name="T101" fmla="*/ 3312 h 3326"/>
                    <a:gd name="T102" fmla="*/ 1903 w 4585"/>
                    <a:gd name="T103" fmla="*/ 3326 h 3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585" h="3326">
                      <a:moveTo>
                        <a:pt x="1903" y="3326"/>
                      </a:moveTo>
                      <a:lnTo>
                        <a:pt x="1903" y="3326"/>
                      </a:lnTo>
                      <a:lnTo>
                        <a:pt x="1972" y="3326"/>
                      </a:lnTo>
                      <a:lnTo>
                        <a:pt x="2040" y="3322"/>
                      </a:lnTo>
                      <a:lnTo>
                        <a:pt x="2109" y="3318"/>
                      </a:lnTo>
                      <a:lnTo>
                        <a:pt x="2177" y="3312"/>
                      </a:lnTo>
                      <a:lnTo>
                        <a:pt x="2244" y="3305"/>
                      </a:lnTo>
                      <a:lnTo>
                        <a:pt x="2311" y="3295"/>
                      </a:lnTo>
                      <a:lnTo>
                        <a:pt x="2377" y="3284"/>
                      </a:lnTo>
                      <a:lnTo>
                        <a:pt x="2443" y="3272"/>
                      </a:lnTo>
                      <a:lnTo>
                        <a:pt x="2509" y="3258"/>
                      </a:lnTo>
                      <a:lnTo>
                        <a:pt x="2573" y="3242"/>
                      </a:lnTo>
                      <a:lnTo>
                        <a:pt x="2636" y="3225"/>
                      </a:lnTo>
                      <a:lnTo>
                        <a:pt x="2700" y="3206"/>
                      </a:lnTo>
                      <a:lnTo>
                        <a:pt x="2763" y="3185"/>
                      </a:lnTo>
                      <a:lnTo>
                        <a:pt x="2825" y="3163"/>
                      </a:lnTo>
                      <a:lnTo>
                        <a:pt x="2886" y="3140"/>
                      </a:lnTo>
                      <a:lnTo>
                        <a:pt x="2947" y="3115"/>
                      </a:lnTo>
                      <a:lnTo>
                        <a:pt x="3006" y="3089"/>
                      </a:lnTo>
                      <a:lnTo>
                        <a:pt x="3066" y="3062"/>
                      </a:lnTo>
                      <a:lnTo>
                        <a:pt x="3123" y="3032"/>
                      </a:lnTo>
                      <a:lnTo>
                        <a:pt x="3181" y="3002"/>
                      </a:lnTo>
                      <a:lnTo>
                        <a:pt x="3237" y="2971"/>
                      </a:lnTo>
                      <a:lnTo>
                        <a:pt x="3294" y="2938"/>
                      </a:lnTo>
                      <a:lnTo>
                        <a:pt x="3348" y="2903"/>
                      </a:lnTo>
                      <a:lnTo>
                        <a:pt x="3402" y="2868"/>
                      </a:lnTo>
                      <a:lnTo>
                        <a:pt x="3455" y="2831"/>
                      </a:lnTo>
                      <a:lnTo>
                        <a:pt x="3508" y="2793"/>
                      </a:lnTo>
                      <a:lnTo>
                        <a:pt x="3559" y="2754"/>
                      </a:lnTo>
                      <a:lnTo>
                        <a:pt x="3609" y="2713"/>
                      </a:lnTo>
                      <a:lnTo>
                        <a:pt x="3658" y="2672"/>
                      </a:lnTo>
                      <a:lnTo>
                        <a:pt x="3706" y="2629"/>
                      </a:lnTo>
                      <a:lnTo>
                        <a:pt x="3753" y="2586"/>
                      </a:lnTo>
                      <a:lnTo>
                        <a:pt x="3799" y="2541"/>
                      </a:lnTo>
                      <a:lnTo>
                        <a:pt x="3844" y="2495"/>
                      </a:lnTo>
                      <a:lnTo>
                        <a:pt x="3888" y="2447"/>
                      </a:lnTo>
                      <a:lnTo>
                        <a:pt x="3930" y="2399"/>
                      </a:lnTo>
                      <a:lnTo>
                        <a:pt x="3973" y="2350"/>
                      </a:lnTo>
                      <a:lnTo>
                        <a:pt x="4013" y="2300"/>
                      </a:lnTo>
                      <a:lnTo>
                        <a:pt x="4052" y="2248"/>
                      </a:lnTo>
                      <a:lnTo>
                        <a:pt x="4090" y="2196"/>
                      </a:lnTo>
                      <a:lnTo>
                        <a:pt x="4127" y="2143"/>
                      </a:lnTo>
                      <a:lnTo>
                        <a:pt x="4163" y="2089"/>
                      </a:lnTo>
                      <a:lnTo>
                        <a:pt x="4196" y="2034"/>
                      </a:lnTo>
                      <a:lnTo>
                        <a:pt x="4230" y="1979"/>
                      </a:lnTo>
                      <a:lnTo>
                        <a:pt x="4261" y="1922"/>
                      </a:lnTo>
                      <a:lnTo>
                        <a:pt x="4292" y="1865"/>
                      </a:lnTo>
                      <a:lnTo>
                        <a:pt x="4321" y="1806"/>
                      </a:lnTo>
                      <a:lnTo>
                        <a:pt x="4348" y="1747"/>
                      </a:lnTo>
                      <a:lnTo>
                        <a:pt x="4375" y="1687"/>
                      </a:lnTo>
                      <a:lnTo>
                        <a:pt x="4399" y="1628"/>
                      </a:lnTo>
                      <a:lnTo>
                        <a:pt x="4422" y="1565"/>
                      </a:lnTo>
                      <a:lnTo>
                        <a:pt x="4444" y="1503"/>
                      </a:lnTo>
                      <a:lnTo>
                        <a:pt x="4465" y="1441"/>
                      </a:lnTo>
                      <a:lnTo>
                        <a:pt x="4483" y="1378"/>
                      </a:lnTo>
                      <a:lnTo>
                        <a:pt x="4500" y="1313"/>
                      </a:lnTo>
                      <a:lnTo>
                        <a:pt x="4516" y="1249"/>
                      </a:lnTo>
                      <a:lnTo>
                        <a:pt x="4530" y="1184"/>
                      </a:lnTo>
                      <a:lnTo>
                        <a:pt x="4543" y="1119"/>
                      </a:lnTo>
                      <a:lnTo>
                        <a:pt x="4554" y="1052"/>
                      </a:lnTo>
                      <a:lnTo>
                        <a:pt x="4564" y="985"/>
                      </a:lnTo>
                      <a:lnTo>
                        <a:pt x="4572" y="917"/>
                      </a:lnTo>
                      <a:lnTo>
                        <a:pt x="4577" y="849"/>
                      </a:lnTo>
                      <a:lnTo>
                        <a:pt x="4582" y="781"/>
                      </a:lnTo>
                      <a:lnTo>
                        <a:pt x="4584" y="712"/>
                      </a:lnTo>
                      <a:lnTo>
                        <a:pt x="4585" y="643"/>
                      </a:lnTo>
                      <a:lnTo>
                        <a:pt x="4585" y="643"/>
                      </a:lnTo>
                      <a:lnTo>
                        <a:pt x="4584" y="602"/>
                      </a:lnTo>
                      <a:lnTo>
                        <a:pt x="4583" y="560"/>
                      </a:lnTo>
                      <a:lnTo>
                        <a:pt x="4580" y="479"/>
                      </a:lnTo>
                      <a:lnTo>
                        <a:pt x="4573" y="397"/>
                      </a:lnTo>
                      <a:lnTo>
                        <a:pt x="4564" y="315"/>
                      </a:lnTo>
                      <a:lnTo>
                        <a:pt x="4552" y="236"/>
                      </a:lnTo>
                      <a:lnTo>
                        <a:pt x="4538" y="156"/>
                      </a:lnTo>
                      <a:lnTo>
                        <a:pt x="4522" y="78"/>
                      </a:lnTo>
                      <a:lnTo>
                        <a:pt x="4504" y="0"/>
                      </a:lnTo>
                      <a:lnTo>
                        <a:pt x="4504" y="0"/>
                      </a:lnTo>
                      <a:lnTo>
                        <a:pt x="4503" y="50"/>
                      </a:lnTo>
                      <a:lnTo>
                        <a:pt x="4500" y="100"/>
                      </a:lnTo>
                      <a:lnTo>
                        <a:pt x="4497" y="150"/>
                      </a:lnTo>
                      <a:lnTo>
                        <a:pt x="4491" y="200"/>
                      </a:lnTo>
                      <a:lnTo>
                        <a:pt x="4485" y="248"/>
                      </a:lnTo>
                      <a:lnTo>
                        <a:pt x="4478" y="298"/>
                      </a:lnTo>
                      <a:lnTo>
                        <a:pt x="4469" y="346"/>
                      </a:lnTo>
                      <a:lnTo>
                        <a:pt x="4460" y="393"/>
                      </a:lnTo>
                      <a:lnTo>
                        <a:pt x="4448" y="442"/>
                      </a:lnTo>
                      <a:lnTo>
                        <a:pt x="4437" y="489"/>
                      </a:lnTo>
                      <a:lnTo>
                        <a:pt x="4424" y="535"/>
                      </a:lnTo>
                      <a:lnTo>
                        <a:pt x="4409" y="581"/>
                      </a:lnTo>
                      <a:lnTo>
                        <a:pt x="4394" y="627"/>
                      </a:lnTo>
                      <a:lnTo>
                        <a:pt x="4378" y="672"/>
                      </a:lnTo>
                      <a:lnTo>
                        <a:pt x="4361" y="717"/>
                      </a:lnTo>
                      <a:lnTo>
                        <a:pt x="4343" y="761"/>
                      </a:lnTo>
                      <a:lnTo>
                        <a:pt x="4323" y="804"/>
                      </a:lnTo>
                      <a:lnTo>
                        <a:pt x="4302" y="847"/>
                      </a:lnTo>
                      <a:lnTo>
                        <a:pt x="4280" y="890"/>
                      </a:lnTo>
                      <a:lnTo>
                        <a:pt x="4258" y="931"/>
                      </a:lnTo>
                      <a:lnTo>
                        <a:pt x="4234" y="973"/>
                      </a:lnTo>
                      <a:lnTo>
                        <a:pt x="4210" y="1013"/>
                      </a:lnTo>
                      <a:lnTo>
                        <a:pt x="4185" y="1053"/>
                      </a:lnTo>
                      <a:lnTo>
                        <a:pt x="4158" y="1092"/>
                      </a:lnTo>
                      <a:lnTo>
                        <a:pt x="4132" y="1131"/>
                      </a:lnTo>
                      <a:lnTo>
                        <a:pt x="4103" y="1169"/>
                      </a:lnTo>
                      <a:lnTo>
                        <a:pt x="4074" y="1206"/>
                      </a:lnTo>
                      <a:lnTo>
                        <a:pt x="4044" y="1243"/>
                      </a:lnTo>
                      <a:lnTo>
                        <a:pt x="4014" y="1279"/>
                      </a:lnTo>
                      <a:lnTo>
                        <a:pt x="3982" y="1313"/>
                      </a:lnTo>
                      <a:lnTo>
                        <a:pt x="3950" y="1348"/>
                      </a:lnTo>
                      <a:lnTo>
                        <a:pt x="3918" y="1381"/>
                      </a:lnTo>
                      <a:lnTo>
                        <a:pt x="3883" y="1415"/>
                      </a:lnTo>
                      <a:lnTo>
                        <a:pt x="3849" y="1446"/>
                      </a:lnTo>
                      <a:lnTo>
                        <a:pt x="3813" y="1477"/>
                      </a:lnTo>
                      <a:lnTo>
                        <a:pt x="3777" y="1508"/>
                      </a:lnTo>
                      <a:lnTo>
                        <a:pt x="3740" y="1537"/>
                      </a:lnTo>
                      <a:lnTo>
                        <a:pt x="3702" y="1565"/>
                      </a:lnTo>
                      <a:lnTo>
                        <a:pt x="3664" y="1593"/>
                      </a:lnTo>
                      <a:lnTo>
                        <a:pt x="3625" y="1620"/>
                      </a:lnTo>
                      <a:lnTo>
                        <a:pt x="3586" y="1646"/>
                      </a:lnTo>
                      <a:lnTo>
                        <a:pt x="3546" y="1670"/>
                      </a:lnTo>
                      <a:lnTo>
                        <a:pt x="3506" y="1694"/>
                      </a:lnTo>
                      <a:lnTo>
                        <a:pt x="3464" y="1717"/>
                      </a:lnTo>
                      <a:lnTo>
                        <a:pt x="3422" y="1739"/>
                      </a:lnTo>
                      <a:lnTo>
                        <a:pt x="3379" y="1760"/>
                      </a:lnTo>
                      <a:lnTo>
                        <a:pt x="3335" y="1781"/>
                      </a:lnTo>
                      <a:lnTo>
                        <a:pt x="3291" y="1799"/>
                      </a:lnTo>
                      <a:lnTo>
                        <a:pt x="3248" y="1818"/>
                      </a:lnTo>
                      <a:lnTo>
                        <a:pt x="3203" y="1835"/>
                      </a:lnTo>
                      <a:lnTo>
                        <a:pt x="3157" y="1850"/>
                      </a:lnTo>
                      <a:lnTo>
                        <a:pt x="3112" y="1865"/>
                      </a:lnTo>
                      <a:lnTo>
                        <a:pt x="3065" y="1879"/>
                      </a:lnTo>
                      <a:lnTo>
                        <a:pt x="3019" y="1891"/>
                      </a:lnTo>
                      <a:lnTo>
                        <a:pt x="2971" y="1903"/>
                      </a:lnTo>
                      <a:lnTo>
                        <a:pt x="2923" y="1913"/>
                      </a:lnTo>
                      <a:lnTo>
                        <a:pt x="2875" y="1922"/>
                      </a:lnTo>
                      <a:lnTo>
                        <a:pt x="2826" y="1930"/>
                      </a:lnTo>
                      <a:lnTo>
                        <a:pt x="2778" y="1937"/>
                      </a:lnTo>
                      <a:lnTo>
                        <a:pt x="2728" y="1943"/>
                      </a:lnTo>
                      <a:lnTo>
                        <a:pt x="2679" y="1947"/>
                      </a:lnTo>
                      <a:lnTo>
                        <a:pt x="2628" y="1950"/>
                      </a:lnTo>
                      <a:lnTo>
                        <a:pt x="2579" y="1952"/>
                      </a:lnTo>
                      <a:lnTo>
                        <a:pt x="2528" y="1952"/>
                      </a:lnTo>
                      <a:lnTo>
                        <a:pt x="2528" y="1952"/>
                      </a:lnTo>
                      <a:lnTo>
                        <a:pt x="2477" y="1952"/>
                      </a:lnTo>
                      <a:lnTo>
                        <a:pt x="2427" y="1950"/>
                      </a:lnTo>
                      <a:lnTo>
                        <a:pt x="2377" y="1947"/>
                      </a:lnTo>
                      <a:lnTo>
                        <a:pt x="2328" y="1943"/>
                      </a:lnTo>
                      <a:lnTo>
                        <a:pt x="2279" y="1937"/>
                      </a:lnTo>
                      <a:lnTo>
                        <a:pt x="2231" y="1930"/>
                      </a:lnTo>
                      <a:lnTo>
                        <a:pt x="2183" y="1922"/>
                      </a:lnTo>
                      <a:lnTo>
                        <a:pt x="2134" y="1913"/>
                      </a:lnTo>
                      <a:lnTo>
                        <a:pt x="2087" y="1903"/>
                      </a:lnTo>
                      <a:lnTo>
                        <a:pt x="2040" y="1892"/>
                      </a:lnTo>
                      <a:lnTo>
                        <a:pt x="1994" y="1880"/>
                      </a:lnTo>
                      <a:lnTo>
                        <a:pt x="1948" y="1866"/>
                      </a:lnTo>
                      <a:lnTo>
                        <a:pt x="1902" y="1851"/>
                      </a:lnTo>
                      <a:lnTo>
                        <a:pt x="1857" y="1836"/>
                      </a:lnTo>
                      <a:lnTo>
                        <a:pt x="1812" y="1819"/>
                      </a:lnTo>
                      <a:lnTo>
                        <a:pt x="1768" y="1801"/>
                      </a:lnTo>
                      <a:lnTo>
                        <a:pt x="1725" y="1782"/>
                      </a:lnTo>
                      <a:lnTo>
                        <a:pt x="1682" y="1762"/>
                      </a:lnTo>
                      <a:lnTo>
                        <a:pt x="1639" y="1742"/>
                      </a:lnTo>
                      <a:lnTo>
                        <a:pt x="1598" y="1720"/>
                      </a:lnTo>
                      <a:lnTo>
                        <a:pt x="1556" y="1698"/>
                      </a:lnTo>
                      <a:lnTo>
                        <a:pt x="1516" y="1674"/>
                      </a:lnTo>
                      <a:lnTo>
                        <a:pt x="1476" y="1649"/>
                      </a:lnTo>
                      <a:lnTo>
                        <a:pt x="1437" y="1624"/>
                      </a:lnTo>
                      <a:lnTo>
                        <a:pt x="1398" y="1598"/>
                      </a:lnTo>
                      <a:lnTo>
                        <a:pt x="1360" y="1570"/>
                      </a:lnTo>
                      <a:lnTo>
                        <a:pt x="1322" y="1541"/>
                      </a:lnTo>
                      <a:lnTo>
                        <a:pt x="1285" y="1512"/>
                      </a:lnTo>
                      <a:lnTo>
                        <a:pt x="1249" y="1483"/>
                      </a:lnTo>
                      <a:lnTo>
                        <a:pt x="1213" y="1453"/>
                      </a:lnTo>
                      <a:lnTo>
                        <a:pt x="1179" y="1420"/>
                      </a:lnTo>
                      <a:lnTo>
                        <a:pt x="1145" y="1388"/>
                      </a:lnTo>
                      <a:lnTo>
                        <a:pt x="0" y="2534"/>
                      </a:lnTo>
                      <a:lnTo>
                        <a:pt x="0" y="2534"/>
                      </a:lnTo>
                      <a:lnTo>
                        <a:pt x="46" y="2580"/>
                      </a:lnTo>
                      <a:lnTo>
                        <a:pt x="93" y="2624"/>
                      </a:lnTo>
                      <a:lnTo>
                        <a:pt x="142" y="2666"/>
                      </a:lnTo>
                      <a:lnTo>
                        <a:pt x="191" y="2709"/>
                      </a:lnTo>
                      <a:lnTo>
                        <a:pt x="241" y="2749"/>
                      </a:lnTo>
                      <a:lnTo>
                        <a:pt x="292" y="2789"/>
                      </a:lnTo>
                      <a:lnTo>
                        <a:pt x="344" y="2827"/>
                      </a:lnTo>
                      <a:lnTo>
                        <a:pt x="397" y="2864"/>
                      </a:lnTo>
                      <a:lnTo>
                        <a:pt x="451" y="2900"/>
                      </a:lnTo>
                      <a:lnTo>
                        <a:pt x="507" y="2934"/>
                      </a:lnTo>
                      <a:lnTo>
                        <a:pt x="563" y="2968"/>
                      </a:lnTo>
                      <a:lnTo>
                        <a:pt x="619" y="3000"/>
                      </a:lnTo>
                      <a:lnTo>
                        <a:pt x="677" y="3030"/>
                      </a:lnTo>
                      <a:lnTo>
                        <a:pt x="736" y="3060"/>
                      </a:lnTo>
                      <a:lnTo>
                        <a:pt x="794" y="3088"/>
                      </a:lnTo>
                      <a:lnTo>
                        <a:pt x="854" y="3114"/>
                      </a:lnTo>
                      <a:lnTo>
                        <a:pt x="915" y="3138"/>
                      </a:lnTo>
                      <a:lnTo>
                        <a:pt x="976" y="3162"/>
                      </a:lnTo>
                      <a:lnTo>
                        <a:pt x="1038" y="3184"/>
                      </a:lnTo>
                      <a:lnTo>
                        <a:pt x="1102" y="3205"/>
                      </a:lnTo>
                      <a:lnTo>
                        <a:pt x="1165" y="3223"/>
                      </a:lnTo>
                      <a:lnTo>
                        <a:pt x="1230" y="3241"/>
                      </a:lnTo>
                      <a:lnTo>
                        <a:pt x="1294" y="3257"/>
                      </a:lnTo>
                      <a:lnTo>
                        <a:pt x="1360" y="3272"/>
                      </a:lnTo>
                      <a:lnTo>
                        <a:pt x="1425" y="3284"/>
                      </a:lnTo>
                      <a:lnTo>
                        <a:pt x="1492" y="3295"/>
                      </a:lnTo>
                      <a:lnTo>
                        <a:pt x="1560" y="3304"/>
                      </a:lnTo>
                      <a:lnTo>
                        <a:pt x="1627" y="3312"/>
                      </a:lnTo>
                      <a:lnTo>
                        <a:pt x="1696" y="3318"/>
                      </a:lnTo>
                      <a:lnTo>
                        <a:pt x="1764" y="3322"/>
                      </a:lnTo>
                      <a:lnTo>
                        <a:pt x="1833" y="3326"/>
                      </a:lnTo>
                      <a:lnTo>
                        <a:pt x="1903" y="33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3" name="Freeform 247"/>
                <p:cNvSpPr>
                  <a:spLocks/>
                </p:cNvSpPr>
                <p:nvPr/>
              </p:nvSpPr>
              <p:spPr bwMode="auto">
                <a:xfrm>
                  <a:off x="4724400" y="2782888"/>
                  <a:ext cx="760413" cy="727075"/>
                </a:xfrm>
                <a:custGeom>
                  <a:avLst/>
                  <a:gdLst>
                    <a:gd name="T0" fmla="*/ 0 w 3359"/>
                    <a:gd name="T1" fmla="*/ 2644 h 3208"/>
                    <a:gd name="T2" fmla="*/ 68 w 3359"/>
                    <a:gd name="T3" fmla="*/ 2709 h 3208"/>
                    <a:gd name="T4" fmla="*/ 140 w 3359"/>
                    <a:gd name="T5" fmla="*/ 2768 h 3208"/>
                    <a:gd name="T6" fmla="*/ 215 w 3359"/>
                    <a:gd name="T7" fmla="*/ 2826 h 3208"/>
                    <a:gd name="T8" fmla="*/ 292 w 3359"/>
                    <a:gd name="T9" fmla="*/ 2880 h 3208"/>
                    <a:gd name="T10" fmla="*/ 371 w 3359"/>
                    <a:gd name="T11" fmla="*/ 2930 h 3208"/>
                    <a:gd name="T12" fmla="*/ 453 w 3359"/>
                    <a:gd name="T13" fmla="*/ 2976 h 3208"/>
                    <a:gd name="T14" fmla="*/ 537 w 3359"/>
                    <a:gd name="T15" fmla="*/ 3018 h 3208"/>
                    <a:gd name="T16" fmla="*/ 623 w 3359"/>
                    <a:gd name="T17" fmla="*/ 3057 h 3208"/>
                    <a:gd name="T18" fmla="*/ 712 w 3359"/>
                    <a:gd name="T19" fmla="*/ 3092 h 3208"/>
                    <a:gd name="T20" fmla="*/ 803 w 3359"/>
                    <a:gd name="T21" fmla="*/ 3122 h 3208"/>
                    <a:gd name="T22" fmla="*/ 895 w 3359"/>
                    <a:gd name="T23" fmla="*/ 3148 h 3208"/>
                    <a:gd name="T24" fmla="*/ 989 w 3359"/>
                    <a:gd name="T25" fmla="*/ 3169 h 3208"/>
                    <a:gd name="T26" fmla="*/ 1086 w 3359"/>
                    <a:gd name="T27" fmla="*/ 3186 h 3208"/>
                    <a:gd name="T28" fmla="*/ 1183 w 3359"/>
                    <a:gd name="T29" fmla="*/ 3199 h 3208"/>
                    <a:gd name="T30" fmla="*/ 1282 w 3359"/>
                    <a:gd name="T31" fmla="*/ 3206 h 3208"/>
                    <a:gd name="T32" fmla="*/ 1383 w 3359"/>
                    <a:gd name="T33" fmla="*/ 3208 h 3208"/>
                    <a:gd name="T34" fmla="*/ 1434 w 3359"/>
                    <a:gd name="T35" fmla="*/ 3208 h 3208"/>
                    <a:gd name="T36" fmla="*/ 1534 w 3359"/>
                    <a:gd name="T37" fmla="*/ 3203 h 3208"/>
                    <a:gd name="T38" fmla="*/ 1633 w 3359"/>
                    <a:gd name="T39" fmla="*/ 3193 h 3208"/>
                    <a:gd name="T40" fmla="*/ 1730 w 3359"/>
                    <a:gd name="T41" fmla="*/ 3178 h 3208"/>
                    <a:gd name="T42" fmla="*/ 1826 w 3359"/>
                    <a:gd name="T43" fmla="*/ 3159 h 3208"/>
                    <a:gd name="T44" fmla="*/ 1920 w 3359"/>
                    <a:gd name="T45" fmla="*/ 3135 h 3208"/>
                    <a:gd name="T46" fmla="*/ 2012 w 3359"/>
                    <a:gd name="T47" fmla="*/ 3106 h 3208"/>
                    <a:gd name="T48" fmla="*/ 2103 w 3359"/>
                    <a:gd name="T49" fmla="*/ 3074 h 3208"/>
                    <a:gd name="T50" fmla="*/ 2190 w 3359"/>
                    <a:gd name="T51" fmla="*/ 3037 h 3208"/>
                    <a:gd name="T52" fmla="*/ 2277 w 3359"/>
                    <a:gd name="T53" fmla="*/ 2995 h 3208"/>
                    <a:gd name="T54" fmla="*/ 2361 w 3359"/>
                    <a:gd name="T55" fmla="*/ 2950 h 3208"/>
                    <a:gd name="T56" fmla="*/ 2441 w 3359"/>
                    <a:gd name="T57" fmla="*/ 2902 h 3208"/>
                    <a:gd name="T58" fmla="*/ 2519 w 3359"/>
                    <a:gd name="T59" fmla="*/ 2849 h 3208"/>
                    <a:gd name="T60" fmla="*/ 2595 w 3359"/>
                    <a:gd name="T61" fmla="*/ 2793 h 3208"/>
                    <a:gd name="T62" fmla="*/ 2668 w 3359"/>
                    <a:gd name="T63" fmla="*/ 2733 h 3208"/>
                    <a:gd name="T64" fmla="*/ 2738 w 3359"/>
                    <a:gd name="T65" fmla="*/ 2671 h 3208"/>
                    <a:gd name="T66" fmla="*/ 2805 w 3359"/>
                    <a:gd name="T67" fmla="*/ 2604 h 3208"/>
                    <a:gd name="T68" fmla="*/ 2869 w 3359"/>
                    <a:gd name="T69" fmla="*/ 2535 h 3208"/>
                    <a:gd name="T70" fmla="*/ 2929 w 3359"/>
                    <a:gd name="T71" fmla="*/ 2462 h 3208"/>
                    <a:gd name="T72" fmla="*/ 2987 w 3359"/>
                    <a:gd name="T73" fmla="*/ 2387 h 3208"/>
                    <a:gd name="T74" fmla="*/ 3040 w 3359"/>
                    <a:gd name="T75" fmla="*/ 2309 h 3208"/>
                    <a:gd name="T76" fmla="*/ 3089 w 3359"/>
                    <a:gd name="T77" fmla="*/ 2229 h 3208"/>
                    <a:gd name="T78" fmla="*/ 3135 w 3359"/>
                    <a:gd name="T79" fmla="*/ 2146 h 3208"/>
                    <a:gd name="T80" fmla="*/ 3178 w 3359"/>
                    <a:gd name="T81" fmla="*/ 2060 h 3208"/>
                    <a:gd name="T82" fmla="*/ 3216 w 3359"/>
                    <a:gd name="T83" fmla="*/ 1973 h 3208"/>
                    <a:gd name="T84" fmla="*/ 3249 w 3359"/>
                    <a:gd name="T85" fmla="*/ 1883 h 3208"/>
                    <a:gd name="T86" fmla="*/ 3279 w 3359"/>
                    <a:gd name="T87" fmla="*/ 1791 h 3208"/>
                    <a:gd name="T88" fmla="*/ 3303 w 3359"/>
                    <a:gd name="T89" fmla="*/ 1698 h 3208"/>
                    <a:gd name="T90" fmla="*/ 3324 w 3359"/>
                    <a:gd name="T91" fmla="*/ 1602 h 3208"/>
                    <a:gd name="T92" fmla="*/ 3340 w 3359"/>
                    <a:gd name="T93" fmla="*/ 1504 h 3208"/>
                    <a:gd name="T94" fmla="*/ 3352 w 3359"/>
                    <a:gd name="T95" fmla="*/ 1406 h 3208"/>
                    <a:gd name="T96" fmla="*/ 3358 w 3359"/>
                    <a:gd name="T97" fmla="*/ 1306 h 3208"/>
                    <a:gd name="T98" fmla="*/ 3359 w 3359"/>
                    <a:gd name="T99" fmla="*/ 1256 h 3208"/>
                    <a:gd name="T100" fmla="*/ 3337 w 3359"/>
                    <a:gd name="T101" fmla="*/ 1173 h 3208"/>
                    <a:gd name="T102" fmla="*/ 3286 w 3359"/>
                    <a:gd name="T103" fmla="*/ 1010 h 3208"/>
                    <a:gd name="T104" fmla="*/ 3225 w 3359"/>
                    <a:gd name="T105" fmla="*/ 854 h 3208"/>
                    <a:gd name="T106" fmla="*/ 3155 w 3359"/>
                    <a:gd name="T107" fmla="*/ 702 h 3208"/>
                    <a:gd name="T108" fmla="*/ 3075 w 3359"/>
                    <a:gd name="T109" fmla="*/ 554 h 3208"/>
                    <a:gd name="T110" fmla="*/ 2988 w 3359"/>
                    <a:gd name="T111" fmla="*/ 413 h 3208"/>
                    <a:gd name="T112" fmla="*/ 2891 w 3359"/>
                    <a:gd name="T113" fmla="*/ 278 h 3208"/>
                    <a:gd name="T114" fmla="*/ 2787 w 3359"/>
                    <a:gd name="T115" fmla="*/ 149 h 3208"/>
                    <a:gd name="T116" fmla="*/ 2731 w 3359"/>
                    <a:gd name="T117" fmla="*/ 87 h 3208"/>
                    <a:gd name="T118" fmla="*/ 2722 w 3359"/>
                    <a:gd name="T119" fmla="*/ 77 h 3208"/>
                    <a:gd name="T120" fmla="*/ 2645 w 3359"/>
                    <a:gd name="T121" fmla="*/ 0 h 3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59" h="3208">
                      <a:moveTo>
                        <a:pt x="0" y="2644"/>
                      </a:moveTo>
                      <a:lnTo>
                        <a:pt x="0" y="2644"/>
                      </a:lnTo>
                      <a:lnTo>
                        <a:pt x="34" y="2676"/>
                      </a:lnTo>
                      <a:lnTo>
                        <a:pt x="68" y="2709"/>
                      </a:lnTo>
                      <a:lnTo>
                        <a:pt x="104" y="2739"/>
                      </a:lnTo>
                      <a:lnTo>
                        <a:pt x="140" y="2768"/>
                      </a:lnTo>
                      <a:lnTo>
                        <a:pt x="177" y="2797"/>
                      </a:lnTo>
                      <a:lnTo>
                        <a:pt x="215" y="2826"/>
                      </a:lnTo>
                      <a:lnTo>
                        <a:pt x="253" y="2854"/>
                      </a:lnTo>
                      <a:lnTo>
                        <a:pt x="292" y="2880"/>
                      </a:lnTo>
                      <a:lnTo>
                        <a:pt x="331" y="2905"/>
                      </a:lnTo>
                      <a:lnTo>
                        <a:pt x="371" y="2930"/>
                      </a:lnTo>
                      <a:lnTo>
                        <a:pt x="411" y="2954"/>
                      </a:lnTo>
                      <a:lnTo>
                        <a:pt x="453" y="2976"/>
                      </a:lnTo>
                      <a:lnTo>
                        <a:pt x="494" y="2998"/>
                      </a:lnTo>
                      <a:lnTo>
                        <a:pt x="537" y="3018"/>
                      </a:lnTo>
                      <a:lnTo>
                        <a:pt x="580" y="3038"/>
                      </a:lnTo>
                      <a:lnTo>
                        <a:pt x="623" y="3057"/>
                      </a:lnTo>
                      <a:lnTo>
                        <a:pt x="667" y="3075"/>
                      </a:lnTo>
                      <a:lnTo>
                        <a:pt x="712" y="3092"/>
                      </a:lnTo>
                      <a:lnTo>
                        <a:pt x="757" y="3107"/>
                      </a:lnTo>
                      <a:lnTo>
                        <a:pt x="803" y="3122"/>
                      </a:lnTo>
                      <a:lnTo>
                        <a:pt x="849" y="3136"/>
                      </a:lnTo>
                      <a:lnTo>
                        <a:pt x="895" y="3148"/>
                      </a:lnTo>
                      <a:lnTo>
                        <a:pt x="942" y="3159"/>
                      </a:lnTo>
                      <a:lnTo>
                        <a:pt x="989" y="3169"/>
                      </a:lnTo>
                      <a:lnTo>
                        <a:pt x="1038" y="3178"/>
                      </a:lnTo>
                      <a:lnTo>
                        <a:pt x="1086" y="3186"/>
                      </a:lnTo>
                      <a:lnTo>
                        <a:pt x="1134" y="3193"/>
                      </a:lnTo>
                      <a:lnTo>
                        <a:pt x="1183" y="3199"/>
                      </a:lnTo>
                      <a:lnTo>
                        <a:pt x="1232" y="3203"/>
                      </a:lnTo>
                      <a:lnTo>
                        <a:pt x="1282" y="3206"/>
                      </a:lnTo>
                      <a:lnTo>
                        <a:pt x="1332" y="3208"/>
                      </a:lnTo>
                      <a:lnTo>
                        <a:pt x="1383" y="3208"/>
                      </a:lnTo>
                      <a:lnTo>
                        <a:pt x="1383" y="3208"/>
                      </a:lnTo>
                      <a:lnTo>
                        <a:pt x="1434" y="3208"/>
                      </a:lnTo>
                      <a:lnTo>
                        <a:pt x="1483" y="3206"/>
                      </a:lnTo>
                      <a:lnTo>
                        <a:pt x="1534" y="3203"/>
                      </a:lnTo>
                      <a:lnTo>
                        <a:pt x="1583" y="3199"/>
                      </a:lnTo>
                      <a:lnTo>
                        <a:pt x="1633" y="3193"/>
                      </a:lnTo>
                      <a:lnTo>
                        <a:pt x="1681" y="3186"/>
                      </a:lnTo>
                      <a:lnTo>
                        <a:pt x="1730" y="3178"/>
                      </a:lnTo>
                      <a:lnTo>
                        <a:pt x="1778" y="3169"/>
                      </a:lnTo>
                      <a:lnTo>
                        <a:pt x="1826" y="3159"/>
                      </a:lnTo>
                      <a:lnTo>
                        <a:pt x="1874" y="3147"/>
                      </a:lnTo>
                      <a:lnTo>
                        <a:pt x="1920" y="3135"/>
                      </a:lnTo>
                      <a:lnTo>
                        <a:pt x="1967" y="3121"/>
                      </a:lnTo>
                      <a:lnTo>
                        <a:pt x="2012" y="3106"/>
                      </a:lnTo>
                      <a:lnTo>
                        <a:pt x="2058" y="3091"/>
                      </a:lnTo>
                      <a:lnTo>
                        <a:pt x="2103" y="3074"/>
                      </a:lnTo>
                      <a:lnTo>
                        <a:pt x="2146" y="3055"/>
                      </a:lnTo>
                      <a:lnTo>
                        <a:pt x="2190" y="3037"/>
                      </a:lnTo>
                      <a:lnTo>
                        <a:pt x="2234" y="3016"/>
                      </a:lnTo>
                      <a:lnTo>
                        <a:pt x="2277" y="2995"/>
                      </a:lnTo>
                      <a:lnTo>
                        <a:pt x="2319" y="2973"/>
                      </a:lnTo>
                      <a:lnTo>
                        <a:pt x="2361" y="2950"/>
                      </a:lnTo>
                      <a:lnTo>
                        <a:pt x="2401" y="2926"/>
                      </a:lnTo>
                      <a:lnTo>
                        <a:pt x="2441" y="2902"/>
                      </a:lnTo>
                      <a:lnTo>
                        <a:pt x="2480" y="2876"/>
                      </a:lnTo>
                      <a:lnTo>
                        <a:pt x="2519" y="2849"/>
                      </a:lnTo>
                      <a:lnTo>
                        <a:pt x="2557" y="2821"/>
                      </a:lnTo>
                      <a:lnTo>
                        <a:pt x="2595" y="2793"/>
                      </a:lnTo>
                      <a:lnTo>
                        <a:pt x="2632" y="2764"/>
                      </a:lnTo>
                      <a:lnTo>
                        <a:pt x="2668" y="2733"/>
                      </a:lnTo>
                      <a:lnTo>
                        <a:pt x="2704" y="2702"/>
                      </a:lnTo>
                      <a:lnTo>
                        <a:pt x="2738" y="2671"/>
                      </a:lnTo>
                      <a:lnTo>
                        <a:pt x="2773" y="2637"/>
                      </a:lnTo>
                      <a:lnTo>
                        <a:pt x="2805" y="2604"/>
                      </a:lnTo>
                      <a:lnTo>
                        <a:pt x="2837" y="2569"/>
                      </a:lnTo>
                      <a:lnTo>
                        <a:pt x="2869" y="2535"/>
                      </a:lnTo>
                      <a:lnTo>
                        <a:pt x="2899" y="2499"/>
                      </a:lnTo>
                      <a:lnTo>
                        <a:pt x="2929" y="2462"/>
                      </a:lnTo>
                      <a:lnTo>
                        <a:pt x="2958" y="2425"/>
                      </a:lnTo>
                      <a:lnTo>
                        <a:pt x="2987" y="2387"/>
                      </a:lnTo>
                      <a:lnTo>
                        <a:pt x="3013" y="2348"/>
                      </a:lnTo>
                      <a:lnTo>
                        <a:pt x="3040" y="2309"/>
                      </a:lnTo>
                      <a:lnTo>
                        <a:pt x="3065" y="2269"/>
                      </a:lnTo>
                      <a:lnTo>
                        <a:pt x="3089" y="2229"/>
                      </a:lnTo>
                      <a:lnTo>
                        <a:pt x="3113" y="2187"/>
                      </a:lnTo>
                      <a:lnTo>
                        <a:pt x="3135" y="2146"/>
                      </a:lnTo>
                      <a:lnTo>
                        <a:pt x="3157" y="2103"/>
                      </a:lnTo>
                      <a:lnTo>
                        <a:pt x="3178" y="2060"/>
                      </a:lnTo>
                      <a:lnTo>
                        <a:pt x="3198" y="2017"/>
                      </a:lnTo>
                      <a:lnTo>
                        <a:pt x="3216" y="1973"/>
                      </a:lnTo>
                      <a:lnTo>
                        <a:pt x="3233" y="1928"/>
                      </a:lnTo>
                      <a:lnTo>
                        <a:pt x="3249" y="1883"/>
                      </a:lnTo>
                      <a:lnTo>
                        <a:pt x="3264" y="1837"/>
                      </a:lnTo>
                      <a:lnTo>
                        <a:pt x="3279" y="1791"/>
                      </a:lnTo>
                      <a:lnTo>
                        <a:pt x="3292" y="1745"/>
                      </a:lnTo>
                      <a:lnTo>
                        <a:pt x="3303" y="1698"/>
                      </a:lnTo>
                      <a:lnTo>
                        <a:pt x="3315" y="1649"/>
                      </a:lnTo>
                      <a:lnTo>
                        <a:pt x="3324" y="1602"/>
                      </a:lnTo>
                      <a:lnTo>
                        <a:pt x="3333" y="1554"/>
                      </a:lnTo>
                      <a:lnTo>
                        <a:pt x="3340" y="1504"/>
                      </a:lnTo>
                      <a:lnTo>
                        <a:pt x="3346" y="1456"/>
                      </a:lnTo>
                      <a:lnTo>
                        <a:pt x="3352" y="1406"/>
                      </a:lnTo>
                      <a:lnTo>
                        <a:pt x="3355" y="1356"/>
                      </a:lnTo>
                      <a:lnTo>
                        <a:pt x="3358" y="1306"/>
                      </a:lnTo>
                      <a:lnTo>
                        <a:pt x="3359" y="1256"/>
                      </a:lnTo>
                      <a:lnTo>
                        <a:pt x="3359" y="1256"/>
                      </a:lnTo>
                      <a:lnTo>
                        <a:pt x="3359" y="1256"/>
                      </a:lnTo>
                      <a:lnTo>
                        <a:pt x="3337" y="1173"/>
                      </a:lnTo>
                      <a:lnTo>
                        <a:pt x="3313" y="1091"/>
                      </a:lnTo>
                      <a:lnTo>
                        <a:pt x="3286" y="1010"/>
                      </a:lnTo>
                      <a:lnTo>
                        <a:pt x="3257" y="932"/>
                      </a:lnTo>
                      <a:lnTo>
                        <a:pt x="3225" y="854"/>
                      </a:lnTo>
                      <a:lnTo>
                        <a:pt x="3192" y="777"/>
                      </a:lnTo>
                      <a:lnTo>
                        <a:pt x="3155" y="702"/>
                      </a:lnTo>
                      <a:lnTo>
                        <a:pt x="3116" y="627"/>
                      </a:lnTo>
                      <a:lnTo>
                        <a:pt x="3075" y="554"/>
                      </a:lnTo>
                      <a:lnTo>
                        <a:pt x="3033" y="483"/>
                      </a:lnTo>
                      <a:lnTo>
                        <a:pt x="2988" y="413"/>
                      </a:lnTo>
                      <a:lnTo>
                        <a:pt x="2941" y="345"/>
                      </a:lnTo>
                      <a:lnTo>
                        <a:pt x="2891" y="278"/>
                      </a:lnTo>
                      <a:lnTo>
                        <a:pt x="2839" y="213"/>
                      </a:lnTo>
                      <a:lnTo>
                        <a:pt x="2787" y="149"/>
                      </a:lnTo>
                      <a:lnTo>
                        <a:pt x="2731" y="87"/>
                      </a:lnTo>
                      <a:lnTo>
                        <a:pt x="2731" y="87"/>
                      </a:lnTo>
                      <a:lnTo>
                        <a:pt x="2722" y="77"/>
                      </a:lnTo>
                      <a:lnTo>
                        <a:pt x="2722" y="77"/>
                      </a:lnTo>
                      <a:lnTo>
                        <a:pt x="2684" y="38"/>
                      </a:lnTo>
                      <a:lnTo>
                        <a:pt x="2645" y="0"/>
                      </a:lnTo>
                      <a:lnTo>
                        <a:pt x="0" y="2644"/>
                      </a:lnTo>
                      <a:close/>
                    </a:path>
                  </a:pathLst>
                </a:custGeom>
                <a:solidFill>
                  <a:srgbClr val="DD39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4" name="Freeform 248"/>
                <p:cNvSpPr>
                  <a:spLocks/>
                </p:cNvSpPr>
                <p:nvPr/>
              </p:nvSpPr>
              <p:spPr bwMode="auto">
                <a:xfrm>
                  <a:off x="4724400" y="2782888"/>
                  <a:ext cx="760413" cy="727075"/>
                </a:xfrm>
                <a:custGeom>
                  <a:avLst/>
                  <a:gdLst>
                    <a:gd name="T0" fmla="*/ 0 w 3359"/>
                    <a:gd name="T1" fmla="*/ 2644 h 3208"/>
                    <a:gd name="T2" fmla="*/ 68 w 3359"/>
                    <a:gd name="T3" fmla="*/ 2709 h 3208"/>
                    <a:gd name="T4" fmla="*/ 140 w 3359"/>
                    <a:gd name="T5" fmla="*/ 2768 h 3208"/>
                    <a:gd name="T6" fmla="*/ 215 w 3359"/>
                    <a:gd name="T7" fmla="*/ 2826 h 3208"/>
                    <a:gd name="T8" fmla="*/ 292 w 3359"/>
                    <a:gd name="T9" fmla="*/ 2880 h 3208"/>
                    <a:gd name="T10" fmla="*/ 371 w 3359"/>
                    <a:gd name="T11" fmla="*/ 2930 h 3208"/>
                    <a:gd name="T12" fmla="*/ 453 w 3359"/>
                    <a:gd name="T13" fmla="*/ 2976 h 3208"/>
                    <a:gd name="T14" fmla="*/ 537 w 3359"/>
                    <a:gd name="T15" fmla="*/ 3018 h 3208"/>
                    <a:gd name="T16" fmla="*/ 623 w 3359"/>
                    <a:gd name="T17" fmla="*/ 3057 h 3208"/>
                    <a:gd name="T18" fmla="*/ 712 w 3359"/>
                    <a:gd name="T19" fmla="*/ 3092 h 3208"/>
                    <a:gd name="T20" fmla="*/ 803 w 3359"/>
                    <a:gd name="T21" fmla="*/ 3122 h 3208"/>
                    <a:gd name="T22" fmla="*/ 895 w 3359"/>
                    <a:gd name="T23" fmla="*/ 3148 h 3208"/>
                    <a:gd name="T24" fmla="*/ 989 w 3359"/>
                    <a:gd name="T25" fmla="*/ 3169 h 3208"/>
                    <a:gd name="T26" fmla="*/ 1086 w 3359"/>
                    <a:gd name="T27" fmla="*/ 3186 h 3208"/>
                    <a:gd name="T28" fmla="*/ 1183 w 3359"/>
                    <a:gd name="T29" fmla="*/ 3199 h 3208"/>
                    <a:gd name="T30" fmla="*/ 1282 w 3359"/>
                    <a:gd name="T31" fmla="*/ 3206 h 3208"/>
                    <a:gd name="T32" fmla="*/ 1383 w 3359"/>
                    <a:gd name="T33" fmla="*/ 3208 h 3208"/>
                    <a:gd name="T34" fmla="*/ 1434 w 3359"/>
                    <a:gd name="T35" fmla="*/ 3208 h 3208"/>
                    <a:gd name="T36" fmla="*/ 1534 w 3359"/>
                    <a:gd name="T37" fmla="*/ 3203 h 3208"/>
                    <a:gd name="T38" fmla="*/ 1633 w 3359"/>
                    <a:gd name="T39" fmla="*/ 3193 h 3208"/>
                    <a:gd name="T40" fmla="*/ 1730 w 3359"/>
                    <a:gd name="T41" fmla="*/ 3178 h 3208"/>
                    <a:gd name="T42" fmla="*/ 1826 w 3359"/>
                    <a:gd name="T43" fmla="*/ 3159 h 3208"/>
                    <a:gd name="T44" fmla="*/ 1920 w 3359"/>
                    <a:gd name="T45" fmla="*/ 3135 h 3208"/>
                    <a:gd name="T46" fmla="*/ 2012 w 3359"/>
                    <a:gd name="T47" fmla="*/ 3106 h 3208"/>
                    <a:gd name="T48" fmla="*/ 2103 w 3359"/>
                    <a:gd name="T49" fmla="*/ 3074 h 3208"/>
                    <a:gd name="T50" fmla="*/ 2190 w 3359"/>
                    <a:gd name="T51" fmla="*/ 3037 h 3208"/>
                    <a:gd name="T52" fmla="*/ 2277 w 3359"/>
                    <a:gd name="T53" fmla="*/ 2995 h 3208"/>
                    <a:gd name="T54" fmla="*/ 2361 w 3359"/>
                    <a:gd name="T55" fmla="*/ 2950 h 3208"/>
                    <a:gd name="T56" fmla="*/ 2441 w 3359"/>
                    <a:gd name="T57" fmla="*/ 2902 h 3208"/>
                    <a:gd name="T58" fmla="*/ 2519 w 3359"/>
                    <a:gd name="T59" fmla="*/ 2849 h 3208"/>
                    <a:gd name="T60" fmla="*/ 2595 w 3359"/>
                    <a:gd name="T61" fmla="*/ 2793 h 3208"/>
                    <a:gd name="T62" fmla="*/ 2668 w 3359"/>
                    <a:gd name="T63" fmla="*/ 2733 h 3208"/>
                    <a:gd name="T64" fmla="*/ 2738 w 3359"/>
                    <a:gd name="T65" fmla="*/ 2671 h 3208"/>
                    <a:gd name="T66" fmla="*/ 2805 w 3359"/>
                    <a:gd name="T67" fmla="*/ 2604 h 3208"/>
                    <a:gd name="T68" fmla="*/ 2869 w 3359"/>
                    <a:gd name="T69" fmla="*/ 2535 h 3208"/>
                    <a:gd name="T70" fmla="*/ 2929 w 3359"/>
                    <a:gd name="T71" fmla="*/ 2462 h 3208"/>
                    <a:gd name="T72" fmla="*/ 2987 w 3359"/>
                    <a:gd name="T73" fmla="*/ 2387 h 3208"/>
                    <a:gd name="T74" fmla="*/ 3040 w 3359"/>
                    <a:gd name="T75" fmla="*/ 2309 h 3208"/>
                    <a:gd name="T76" fmla="*/ 3089 w 3359"/>
                    <a:gd name="T77" fmla="*/ 2229 h 3208"/>
                    <a:gd name="T78" fmla="*/ 3135 w 3359"/>
                    <a:gd name="T79" fmla="*/ 2146 h 3208"/>
                    <a:gd name="T80" fmla="*/ 3178 w 3359"/>
                    <a:gd name="T81" fmla="*/ 2060 h 3208"/>
                    <a:gd name="T82" fmla="*/ 3216 w 3359"/>
                    <a:gd name="T83" fmla="*/ 1973 h 3208"/>
                    <a:gd name="T84" fmla="*/ 3249 w 3359"/>
                    <a:gd name="T85" fmla="*/ 1883 h 3208"/>
                    <a:gd name="T86" fmla="*/ 3279 w 3359"/>
                    <a:gd name="T87" fmla="*/ 1791 h 3208"/>
                    <a:gd name="T88" fmla="*/ 3303 w 3359"/>
                    <a:gd name="T89" fmla="*/ 1698 h 3208"/>
                    <a:gd name="T90" fmla="*/ 3324 w 3359"/>
                    <a:gd name="T91" fmla="*/ 1602 h 3208"/>
                    <a:gd name="T92" fmla="*/ 3340 w 3359"/>
                    <a:gd name="T93" fmla="*/ 1504 h 3208"/>
                    <a:gd name="T94" fmla="*/ 3352 w 3359"/>
                    <a:gd name="T95" fmla="*/ 1406 h 3208"/>
                    <a:gd name="T96" fmla="*/ 3358 w 3359"/>
                    <a:gd name="T97" fmla="*/ 1306 h 3208"/>
                    <a:gd name="T98" fmla="*/ 3359 w 3359"/>
                    <a:gd name="T99" fmla="*/ 1256 h 3208"/>
                    <a:gd name="T100" fmla="*/ 3337 w 3359"/>
                    <a:gd name="T101" fmla="*/ 1173 h 3208"/>
                    <a:gd name="T102" fmla="*/ 3286 w 3359"/>
                    <a:gd name="T103" fmla="*/ 1010 h 3208"/>
                    <a:gd name="T104" fmla="*/ 3225 w 3359"/>
                    <a:gd name="T105" fmla="*/ 854 h 3208"/>
                    <a:gd name="T106" fmla="*/ 3155 w 3359"/>
                    <a:gd name="T107" fmla="*/ 702 h 3208"/>
                    <a:gd name="T108" fmla="*/ 3075 w 3359"/>
                    <a:gd name="T109" fmla="*/ 554 h 3208"/>
                    <a:gd name="T110" fmla="*/ 2988 w 3359"/>
                    <a:gd name="T111" fmla="*/ 413 h 3208"/>
                    <a:gd name="T112" fmla="*/ 2891 w 3359"/>
                    <a:gd name="T113" fmla="*/ 278 h 3208"/>
                    <a:gd name="T114" fmla="*/ 2787 w 3359"/>
                    <a:gd name="T115" fmla="*/ 149 h 3208"/>
                    <a:gd name="T116" fmla="*/ 2731 w 3359"/>
                    <a:gd name="T117" fmla="*/ 87 h 3208"/>
                    <a:gd name="T118" fmla="*/ 2722 w 3359"/>
                    <a:gd name="T119" fmla="*/ 77 h 3208"/>
                    <a:gd name="T120" fmla="*/ 2645 w 3359"/>
                    <a:gd name="T121" fmla="*/ 0 h 3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59" h="3208">
                      <a:moveTo>
                        <a:pt x="0" y="2644"/>
                      </a:moveTo>
                      <a:lnTo>
                        <a:pt x="0" y="2644"/>
                      </a:lnTo>
                      <a:lnTo>
                        <a:pt x="34" y="2676"/>
                      </a:lnTo>
                      <a:lnTo>
                        <a:pt x="68" y="2709"/>
                      </a:lnTo>
                      <a:lnTo>
                        <a:pt x="104" y="2739"/>
                      </a:lnTo>
                      <a:lnTo>
                        <a:pt x="140" y="2768"/>
                      </a:lnTo>
                      <a:lnTo>
                        <a:pt x="177" y="2797"/>
                      </a:lnTo>
                      <a:lnTo>
                        <a:pt x="215" y="2826"/>
                      </a:lnTo>
                      <a:lnTo>
                        <a:pt x="253" y="2854"/>
                      </a:lnTo>
                      <a:lnTo>
                        <a:pt x="292" y="2880"/>
                      </a:lnTo>
                      <a:lnTo>
                        <a:pt x="331" y="2905"/>
                      </a:lnTo>
                      <a:lnTo>
                        <a:pt x="371" y="2930"/>
                      </a:lnTo>
                      <a:lnTo>
                        <a:pt x="411" y="2954"/>
                      </a:lnTo>
                      <a:lnTo>
                        <a:pt x="453" y="2976"/>
                      </a:lnTo>
                      <a:lnTo>
                        <a:pt x="494" y="2998"/>
                      </a:lnTo>
                      <a:lnTo>
                        <a:pt x="537" y="3018"/>
                      </a:lnTo>
                      <a:lnTo>
                        <a:pt x="580" y="3038"/>
                      </a:lnTo>
                      <a:lnTo>
                        <a:pt x="623" y="3057"/>
                      </a:lnTo>
                      <a:lnTo>
                        <a:pt x="667" y="3075"/>
                      </a:lnTo>
                      <a:lnTo>
                        <a:pt x="712" y="3092"/>
                      </a:lnTo>
                      <a:lnTo>
                        <a:pt x="757" y="3107"/>
                      </a:lnTo>
                      <a:lnTo>
                        <a:pt x="803" y="3122"/>
                      </a:lnTo>
                      <a:lnTo>
                        <a:pt x="849" y="3136"/>
                      </a:lnTo>
                      <a:lnTo>
                        <a:pt x="895" y="3148"/>
                      </a:lnTo>
                      <a:lnTo>
                        <a:pt x="942" y="3159"/>
                      </a:lnTo>
                      <a:lnTo>
                        <a:pt x="989" y="3169"/>
                      </a:lnTo>
                      <a:lnTo>
                        <a:pt x="1038" y="3178"/>
                      </a:lnTo>
                      <a:lnTo>
                        <a:pt x="1086" y="3186"/>
                      </a:lnTo>
                      <a:lnTo>
                        <a:pt x="1134" y="3193"/>
                      </a:lnTo>
                      <a:lnTo>
                        <a:pt x="1183" y="3199"/>
                      </a:lnTo>
                      <a:lnTo>
                        <a:pt x="1232" y="3203"/>
                      </a:lnTo>
                      <a:lnTo>
                        <a:pt x="1282" y="3206"/>
                      </a:lnTo>
                      <a:lnTo>
                        <a:pt x="1332" y="3208"/>
                      </a:lnTo>
                      <a:lnTo>
                        <a:pt x="1383" y="3208"/>
                      </a:lnTo>
                      <a:lnTo>
                        <a:pt x="1383" y="3208"/>
                      </a:lnTo>
                      <a:lnTo>
                        <a:pt x="1434" y="3208"/>
                      </a:lnTo>
                      <a:lnTo>
                        <a:pt x="1483" y="3206"/>
                      </a:lnTo>
                      <a:lnTo>
                        <a:pt x="1534" y="3203"/>
                      </a:lnTo>
                      <a:lnTo>
                        <a:pt x="1583" y="3199"/>
                      </a:lnTo>
                      <a:lnTo>
                        <a:pt x="1633" y="3193"/>
                      </a:lnTo>
                      <a:lnTo>
                        <a:pt x="1681" y="3186"/>
                      </a:lnTo>
                      <a:lnTo>
                        <a:pt x="1730" y="3178"/>
                      </a:lnTo>
                      <a:lnTo>
                        <a:pt x="1778" y="3169"/>
                      </a:lnTo>
                      <a:lnTo>
                        <a:pt x="1826" y="3159"/>
                      </a:lnTo>
                      <a:lnTo>
                        <a:pt x="1874" y="3147"/>
                      </a:lnTo>
                      <a:lnTo>
                        <a:pt x="1920" y="3135"/>
                      </a:lnTo>
                      <a:lnTo>
                        <a:pt x="1967" y="3121"/>
                      </a:lnTo>
                      <a:lnTo>
                        <a:pt x="2012" y="3106"/>
                      </a:lnTo>
                      <a:lnTo>
                        <a:pt x="2058" y="3091"/>
                      </a:lnTo>
                      <a:lnTo>
                        <a:pt x="2103" y="3074"/>
                      </a:lnTo>
                      <a:lnTo>
                        <a:pt x="2146" y="3055"/>
                      </a:lnTo>
                      <a:lnTo>
                        <a:pt x="2190" y="3037"/>
                      </a:lnTo>
                      <a:lnTo>
                        <a:pt x="2234" y="3016"/>
                      </a:lnTo>
                      <a:lnTo>
                        <a:pt x="2277" y="2995"/>
                      </a:lnTo>
                      <a:lnTo>
                        <a:pt x="2319" y="2973"/>
                      </a:lnTo>
                      <a:lnTo>
                        <a:pt x="2361" y="2950"/>
                      </a:lnTo>
                      <a:lnTo>
                        <a:pt x="2401" y="2926"/>
                      </a:lnTo>
                      <a:lnTo>
                        <a:pt x="2441" y="2902"/>
                      </a:lnTo>
                      <a:lnTo>
                        <a:pt x="2480" y="2876"/>
                      </a:lnTo>
                      <a:lnTo>
                        <a:pt x="2519" y="2849"/>
                      </a:lnTo>
                      <a:lnTo>
                        <a:pt x="2557" y="2821"/>
                      </a:lnTo>
                      <a:lnTo>
                        <a:pt x="2595" y="2793"/>
                      </a:lnTo>
                      <a:lnTo>
                        <a:pt x="2632" y="2764"/>
                      </a:lnTo>
                      <a:lnTo>
                        <a:pt x="2668" y="2733"/>
                      </a:lnTo>
                      <a:lnTo>
                        <a:pt x="2704" y="2702"/>
                      </a:lnTo>
                      <a:lnTo>
                        <a:pt x="2738" y="2671"/>
                      </a:lnTo>
                      <a:lnTo>
                        <a:pt x="2773" y="2637"/>
                      </a:lnTo>
                      <a:lnTo>
                        <a:pt x="2805" y="2604"/>
                      </a:lnTo>
                      <a:lnTo>
                        <a:pt x="2837" y="2569"/>
                      </a:lnTo>
                      <a:lnTo>
                        <a:pt x="2869" y="2535"/>
                      </a:lnTo>
                      <a:lnTo>
                        <a:pt x="2899" y="2499"/>
                      </a:lnTo>
                      <a:lnTo>
                        <a:pt x="2929" y="2462"/>
                      </a:lnTo>
                      <a:lnTo>
                        <a:pt x="2958" y="2425"/>
                      </a:lnTo>
                      <a:lnTo>
                        <a:pt x="2987" y="2387"/>
                      </a:lnTo>
                      <a:lnTo>
                        <a:pt x="3013" y="2348"/>
                      </a:lnTo>
                      <a:lnTo>
                        <a:pt x="3040" y="2309"/>
                      </a:lnTo>
                      <a:lnTo>
                        <a:pt x="3065" y="2269"/>
                      </a:lnTo>
                      <a:lnTo>
                        <a:pt x="3089" y="2229"/>
                      </a:lnTo>
                      <a:lnTo>
                        <a:pt x="3113" y="2187"/>
                      </a:lnTo>
                      <a:lnTo>
                        <a:pt x="3135" y="2146"/>
                      </a:lnTo>
                      <a:lnTo>
                        <a:pt x="3157" y="2103"/>
                      </a:lnTo>
                      <a:lnTo>
                        <a:pt x="3178" y="2060"/>
                      </a:lnTo>
                      <a:lnTo>
                        <a:pt x="3198" y="2017"/>
                      </a:lnTo>
                      <a:lnTo>
                        <a:pt x="3216" y="1973"/>
                      </a:lnTo>
                      <a:lnTo>
                        <a:pt x="3233" y="1928"/>
                      </a:lnTo>
                      <a:lnTo>
                        <a:pt x="3249" y="1883"/>
                      </a:lnTo>
                      <a:lnTo>
                        <a:pt x="3264" y="1837"/>
                      </a:lnTo>
                      <a:lnTo>
                        <a:pt x="3279" y="1791"/>
                      </a:lnTo>
                      <a:lnTo>
                        <a:pt x="3292" y="1745"/>
                      </a:lnTo>
                      <a:lnTo>
                        <a:pt x="3303" y="1698"/>
                      </a:lnTo>
                      <a:lnTo>
                        <a:pt x="3315" y="1649"/>
                      </a:lnTo>
                      <a:lnTo>
                        <a:pt x="3324" y="1602"/>
                      </a:lnTo>
                      <a:lnTo>
                        <a:pt x="3333" y="1554"/>
                      </a:lnTo>
                      <a:lnTo>
                        <a:pt x="3340" y="1504"/>
                      </a:lnTo>
                      <a:lnTo>
                        <a:pt x="3346" y="1456"/>
                      </a:lnTo>
                      <a:lnTo>
                        <a:pt x="3352" y="1406"/>
                      </a:lnTo>
                      <a:lnTo>
                        <a:pt x="3355" y="1356"/>
                      </a:lnTo>
                      <a:lnTo>
                        <a:pt x="3358" y="1306"/>
                      </a:lnTo>
                      <a:lnTo>
                        <a:pt x="3359" y="1256"/>
                      </a:lnTo>
                      <a:lnTo>
                        <a:pt x="3359" y="1256"/>
                      </a:lnTo>
                      <a:lnTo>
                        <a:pt x="3359" y="1256"/>
                      </a:lnTo>
                      <a:lnTo>
                        <a:pt x="3337" y="1173"/>
                      </a:lnTo>
                      <a:lnTo>
                        <a:pt x="3313" y="1091"/>
                      </a:lnTo>
                      <a:lnTo>
                        <a:pt x="3286" y="1010"/>
                      </a:lnTo>
                      <a:lnTo>
                        <a:pt x="3257" y="932"/>
                      </a:lnTo>
                      <a:lnTo>
                        <a:pt x="3225" y="854"/>
                      </a:lnTo>
                      <a:lnTo>
                        <a:pt x="3192" y="777"/>
                      </a:lnTo>
                      <a:lnTo>
                        <a:pt x="3155" y="702"/>
                      </a:lnTo>
                      <a:lnTo>
                        <a:pt x="3116" y="627"/>
                      </a:lnTo>
                      <a:lnTo>
                        <a:pt x="3075" y="554"/>
                      </a:lnTo>
                      <a:lnTo>
                        <a:pt x="3033" y="483"/>
                      </a:lnTo>
                      <a:lnTo>
                        <a:pt x="2988" y="413"/>
                      </a:lnTo>
                      <a:lnTo>
                        <a:pt x="2941" y="345"/>
                      </a:lnTo>
                      <a:lnTo>
                        <a:pt x="2891" y="278"/>
                      </a:lnTo>
                      <a:lnTo>
                        <a:pt x="2839" y="213"/>
                      </a:lnTo>
                      <a:lnTo>
                        <a:pt x="2787" y="149"/>
                      </a:lnTo>
                      <a:lnTo>
                        <a:pt x="2731" y="87"/>
                      </a:lnTo>
                      <a:lnTo>
                        <a:pt x="2731" y="87"/>
                      </a:lnTo>
                      <a:lnTo>
                        <a:pt x="2722" y="77"/>
                      </a:lnTo>
                      <a:lnTo>
                        <a:pt x="2722" y="77"/>
                      </a:lnTo>
                      <a:lnTo>
                        <a:pt x="2684" y="38"/>
                      </a:lnTo>
                      <a:lnTo>
                        <a:pt x="2645" y="0"/>
                      </a:lnTo>
                      <a:lnTo>
                        <a:pt x="0" y="26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5" name="Freeform 249"/>
                <p:cNvSpPr>
                  <a:spLocks/>
                </p:cNvSpPr>
                <p:nvPr/>
              </p:nvSpPr>
              <p:spPr bwMode="auto">
                <a:xfrm>
                  <a:off x="4457700" y="2901950"/>
                  <a:ext cx="158750" cy="261938"/>
                </a:xfrm>
                <a:custGeom>
                  <a:avLst/>
                  <a:gdLst>
                    <a:gd name="T0" fmla="*/ 579 w 704"/>
                    <a:gd name="T1" fmla="*/ 0 h 1157"/>
                    <a:gd name="T2" fmla="*/ 519 w 704"/>
                    <a:gd name="T3" fmla="*/ 3 h 1157"/>
                    <a:gd name="T4" fmla="*/ 462 w 704"/>
                    <a:gd name="T5" fmla="*/ 11 h 1157"/>
                    <a:gd name="T6" fmla="*/ 407 w 704"/>
                    <a:gd name="T7" fmla="*/ 26 h 1157"/>
                    <a:gd name="T8" fmla="*/ 354 w 704"/>
                    <a:gd name="T9" fmla="*/ 46 h 1157"/>
                    <a:gd name="T10" fmla="*/ 303 w 704"/>
                    <a:gd name="T11" fmla="*/ 70 h 1157"/>
                    <a:gd name="T12" fmla="*/ 256 w 704"/>
                    <a:gd name="T13" fmla="*/ 99 h 1157"/>
                    <a:gd name="T14" fmla="*/ 211 w 704"/>
                    <a:gd name="T15" fmla="*/ 132 h 1157"/>
                    <a:gd name="T16" fmla="*/ 169 w 704"/>
                    <a:gd name="T17" fmla="*/ 169 h 1157"/>
                    <a:gd name="T18" fmla="*/ 133 w 704"/>
                    <a:gd name="T19" fmla="*/ 210 h 1157"/>
                    <a:gd name="T20" fmla="*/ 99 w 704"/>
                    <a:gd name="T21" fmla="*/ 255 h 1157"/>
                    <a:gd name="T22" fmla="*/ 70 w 704"/>
                    <a:gd name="T23" fmla="*/ 302 h 1157"/>
                    <a:gd name="T24" fmla="*/ 45 w 704"/>
                    <a:gd name="T25" fmla="*/ 353 h 1157"/>
                    <a:gd name="T26" fmla="*/ 27 w 704"/>
                    <a:gd name="T27" fmla="*/ 406 h 1157"/>
                    <a:gd name="T28" fmla="*/ 12 w 704"/>
                    <a:gd name="T29" fmla="*/ 461 h 1157"/>
                    <a:gd name="T30" fmla="*/ 4 w 704"/>
                    <a:gd name="T31" fmla="*/ 519 h 1157"/>
                    <a:gd name="T32" fmla="*/ 0 w 704"/>
                    <a:gd name="T33" fmla="*/ 579 h 1157"/>
                    <a:gd name="T34" fmla="*/ 1 w 704"/>
                    <a:gd name="T35" fmla="*/ 609 h 1157"/>
                    <a:gd name="T36" fmla="*/ 7 w 704"/>
                    <a:gd name="T37" fmla="*/ 666 h 1157"/>
                    <a:gd name="T38" fmla="*/ 19 w 704"/>
                    <a:gd name="T39" fmla="*/ 723 h 1157"/>
                    <a:gd name="T40" fmla="*/ 35 w 704"/>
                    <a:gd name="T41" fmla="*/ 778 h 1157"/>
                    <a:gd name="T42" fmla="*/ 58 w 704"/>
                    <a:gd name="T43" fmla="*/ 830 h 1157"/>
                    <a:gd name="T44" fmla="*/ 84 w 704"/>
                    <a:gd name="T45" fmla="*/ 878 h 1157"/>
                    <a:gd name="T46" fmla="*/ 115 w 704"/>
                    <a:gd name="T47" fmla="*/ 925 h 1157"/>
                    <a:gd name="T48" fmla="*/ 151 w 704"/>
                    <a:gd name="T49" fmla="*/ 968 h 1157"/>
                    <a:gd name="T50" fmla="*/ 190 w 704"/>
                    <a:gd name="T51" fmla="*/ 1007 h 1157"/>
                    <a:gd name="T52" fmla="*/ 233 w 704"/>
                    <a:gd name="T53" fmla="*/ 1043 h 1157"/>
                    <a:gd name="T54" fmla="*/ 279 w 704"/>
                    <a:gd name="T55" fmla="*/ 1074 h 1157"/>
                    <a:gd name="T56" fmla="*/ 328 w 704"/>
                    <a:gd name="T57" fmla="*/ 1100 h 1157"/>
                    <a:gd name="T58" fmla="*/ 380 w 704"/>
                    <a:gd name="T59" fmla="*/ 1122 h 1157"/>
                    <a:gd name="T60" fmla="*/ 434 w 704"/>
                    <a:gd name="T61" fmla="*/ 1139 h 1157"/>
                    <a:gd name="T62" fmla="*/ 491 w 704"/>
                    <a:gd name="T63" fmla="*/ 1151 h 1157"/>
                    <a:gd name="T64" fmla="*/ 549 w 704"/>
                    <a:gd name="T65" fmla="*/ 1157 h 1157"/>
                    <a:gd name="T66" fmla="*/ 579 w 704"/>
                    <a:gd name="T67" fmla="*/ 1157 h 1157"/>
                    <a:gd name="T68" fmla="*/ 630 w 704"/>
                    <a:gd name="T69" fmla="*/ 1154 h 1157"/>
                    <a:gd name="T70" fmla="*/ 618 w 704"/>
                    <a:gd name="T71" fmla="*/ 1100 h 1157"/>
                    <a:gd name="T72" fmla="*/ 599 w 704"/>
                    <a:gd name="T73" fmla="*/ 990 h 1157"/>
                    <a:gd name="T74" fmla="*/ 586 w 704"/>
                    <a:gd name="T75" fmla="*/ 878 h 1157"/>
                    <a:gd name="T76" fmla="*/ 579 w 704"/>
                    <a:gd name="T77" fmla="*/ 764 h 1157"/>
                    <a:gd name="T78" fmla="*/ 579 w 704"/>
                    <a:gd name="T79" fmla="*/ 705 h 1157"/>
                    <a:gd name="T80" fmla="*/ 579 w 704"/>
                    <a:gd name="T81" fmla="*/ 705 h 1157"/>
                    <a:gd name="T82" fmla="*/ 580 w 704"/>
                    <a:gd name="T83" fmla="*/ 614 h 1157"/>
                    <a:gd name="T84" fmla="*/ 587 w 704"/>
                    <a:gd name="T85" fmla="*/ 525 h 1157"/>
                    <a:gd name="T86" fmla="*/ 597 w 704"/>
                    <a:gd name="T87" fmla="*/ 436 h 1157"/>
                    <a:gd name="T88" fmla="*/ 611 w 704"/>
                    <a:gd name="T89" fmla="*/ 348 h 1157"/>
                    <a:gd name="T90" fmla="*/ 629 w 704"/>
                    <a:gd name="T91" fmla="*/ 263 h 1157"/>
                    <a:gd name="T92" fmla="*/ 651 w 704"/>
                    <a:gd name="T93" fmla="*/ 178 h 1157"/>
                    <a:gd name="T94" fmla="*/ 675 w 704"/>
                    <a:gd name="T95" fmla="*/ 95 h 1157"/>
                    <a:gd name="T96" fmla="*/ 704 w 704"/>
                    <a:gd name="T97" fmla="*/ 13 h 1157"/>
                    <a:gd name="T98" fmla="*/ 674 w 704"/>
                    <a:gd name="T99" fmla="*/ 8 h 1157"/>
                    <a:gd name="T100" fmla="*/ 610 w 704"/>
                    <a:gd name="T101" fmla="*/ 1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04" h="1157">
                      <a:moveTo>
                        <a:pt x="579" y="0"/>
                      </a:moveTo>
                      <a:lnTo>
                        <a:pt x="579" y="0"/>
                      </a:lnTo>
                      <a:lnTo>
                        <a:pt x="549" y="1"/>
                      </a:lnTo>
                      <a:lnTo>
                        <a:pt x="519" y="3"/>
                      </a:lnTo>
                      <a:lnTo>
                        <a:pt x="491" y="6"/>
                      </a:lnTo>
                      <a:lnTo>
                        <a:pt x="462" y="11"/>
                      </a:lnTo>
                      <a:lnTo>
                        <a:pt x="434" y="18"/>
                      </a:lnTo>
                      <a:lnTo>
                        <a:pt x="407" y="26"/>
                      </a:lnTo>
                      <a:lnTo>
                        <a:pt x="380" y="35"/>
                      </a:lnTo>
                      <a:lnTo>
                        <a:pt x="354" y="46"/>
                      </a:lnTo>
                      <a:lnTo>
                        <a:pt x="328" y="57"/>
                      </a:lnTo>
                      <a:lnTo>
                        <a:pt x="303" y="70"/>
                      </a:lnTo>
                      <a:lnTo>
                        <a:pt x="279" y="84"/>
                      </a:lnTo>
                      <a:lnTo>
                        <a:pt x="256" y="99"/>
                      </a:lnTo>
                      <a:lnTo>
                        <a:pt x="233" y="115"/>
                      </a:lnTo>
                      <a:lnTo>
                        <a:pt x="211" y="132"/>
                      </a:lnTo>
                      <a:lnTo>
                        <a:pt x="190" y="150"/>
                      </a:lnTo>
                      <a:lnTo>
                        <a:pt x="169" y="169"/>
                      </a:lnTo>
                      <a:lnTo>
                        <a:pt x="151" y="190"/>
                      </a:lnTo>
                      <a:lnTo>
                        <a:pt x="133" y="210"/>
                      </a:lnTo>
                      <a:lnTo>
                        <a:pt x="115" y="232"/>
                      </a:lnTo>
                      <a:lnTo>
                        <a:pt x="99" y="255"/>
                      </a:lnTo>
                      <a:lnTo>
                        <a:pt x="84" y="278"/>
                      </a:lnTo>
                      <a:lnTo>
                        <a:pt x="70" y="302"/>
                      </a:lnTo>
                      <a:lnTo>
                        <a:pt x="58" y="328"/>
                      </a:lnTo>
                      <a:lnTo>
                        <a:pt x="45" y="353"/>
                      </a:lnTo>
                      <a:lnTo>
                        <a:pt x="35" y="379"/>
                      </a:lnTo>
                      <a:lnTo>
                        <a:pt x="27" y="406"/>
                      </a:lnTo>
                      <a:lnTo>
                        <a:pt x="19" y="434"/>
                      </a:lnTo>
                      <a:lnTo>
                        <a:pt x="12" y="461"/>
                      </a:lnTo>
                      <a:lnTo>
                        <a:pt x="7" y="490"/>
                      </a:lnTo>
                      <a:lnTo>
                        <a:pt x="4" y="519"/>
                      </a:lnTo>
                      <a:lnTo>
                        <a:pt x="1" y="549"/>
                      </a:lnTo>
                      <a:lnTo>
                        <a:pt x="0" y="579"/>
                      </a:lnTo>
                      <a:lnTo>
                        <a:pt x="0" y="579"/>
                      </a:lnTo>
                      <a:lnTo>
                        <a:pt x="1" y="609"/>
                      </a:lnTo>
                      <a:lnTo>
                        <a:pt x="4" y="637"/>
                      </a:lnTo>
                      <a:lnTo>
                        <a:pt x="7" y="666"/>
                      </a:lnTo>
                      <a:lnTo>
                        <a:pt x="12" y="695"/>
                      </a:lnTo>
                      <a:lnTo>
                        <a:pt x="19" y="723"/>
                      </a:lnTo>
                      <a:lnTo>
                        <a:pt x="27" y="750"/>
                      </a:lnTo>
                      <a:lnTo>
                        <a:pt x="35" y="778"/>
                      </a:lnTo>
                      <a:lnTo>
                        <a:pt x="45" y="803"/>
                      </a:lnTo>
                      <a:lnTo>
                        <a:pt x="58" y="830"/>
                      </a:lnTo>
                      <a:lnTo>
                        <a:pt x="70" y="854"/>
                      </a:lnTo>
                      <a:lnTo>
                        <a:pt x="84" y="878"/>
                      </a:lnTo>
                      <a:lnTo>
                        <a:pt x="99" y="902"/>
                      </a:lnTo>
                      <a:lnTo>
                        <a:pt x="115" y="925"/>
                      </a:lnTo>
                      <a:lnTo>
                        <a:pt x="133" y="947"/>
                      </a:lnTo>
                      <a:lnTo>
                        <a:pt x="151" y="968"/>
                      </a:lnTo>
                      <a:lnTo>
                        <a:pt x="169" y="987"/>
                      </a:lnTo>
                      <a:lnTo>
                        <a:pt x="190" y="1007"/>
                      </a:lnTo>
                      <a:lnTo>
                        <a:pt x="211" y="1025"/>
                      </a:lnTo>
                      <a:lnTo>
                        <a:pt x="233" y="1043"/>
                      </a:lnTo>
                      <a:lnTo>
                        <a:pt x="256" y="1059"/>
                      </a:lnTo>
                      <a:lnTo>
                        <a:pt x="279" y="1074"/>
                      </a:lnTo>
                      <a:lnTo>
                        <a:pt x="303" y="1088"/>
                      </a:lnTo>
                      <a:lnTo>
                        <a:pt x="328" y="1100"/>
                      </a:lnTo>
                      <a:lnTo>
                        <a:pt x="354" y="1112"/>
                      </a:lnTo>
                      <a:lnTo>
                        <a:pt x="380" y="1122"/>
                      </a:lnTo>
                      <a:lnTo>
                        <a:pt x="407" y="1131"/>
                      </a:lnTo>
                      <a:lnTo>
                        <a:pt x="434" y="1139"/>
                      </a:lnTo>
                      <a:lnTo>
                        <a:pt x="462" y="1145"/>
                      </a:lnTo>
                      <a:lnTo>
                        <a:pt x="491" y="1151"/>
                      </a:lnTo>
                      <a:lnTo>
                        <a:pt x="519" y="1154"/>
                      </a:lnTo>
                      <a:lnTo>
                        <a:pt x="549" y="1157"/>
                      </a:lnTo>
                      <a:lnTo>
                        <a:pt x="579" y="1157"/>
                      </a:lnTo>
                      <a:lnTo>
                        <a:pt x="579" y="1157"/>
                      </a:lnTo>
                      <a:lnTo>
                        <a:pt x="605" y="1157"/>
                      </a:lnTo>
                      <a:lnTo>
                        <a:pt x="630" y="1154"/>
                      </a:lnTo>
                      <a:lnTo>
                        <a:pt x="630" y="1154"/>
                      </a:lnTo>
                      <a:lnTo>
                        <a:pt x="618" y="1100"/>
                      </a:lnTo>
                      <a:lnTo>
                        <a:pt x="608" y="1046"/>
                      </a:lnTo>
                      <a:lnTo>
                        <a:pt x="599" y="990"/>
                      </a:lnTo>
                      <a:lnTo>
                        <a:pt x="592" y="934"/>
                      </a:lnTo>
                      <a:lnTo>
                        <a:pt x="586" y="878"/>
                      </a:lnTo>
                      <a:lnTo>
                        <a:pt x="582" y="820"/>
                      </a:lnTo>
                      <a:lnTo>
                        <a:pt x="579" y="764"/>
                      </a:lnTo>
                      <a:lnTo>
                        <a:pt x="579" y="705"/>
                      </a:lnTo>
                      <a:lnTo>
                        <a:pt x="579" y="705"/>
                      </a:lnTo>
                      <a:lnTo>
                        <a:pt x="579" y="705"/>
                      </a:lnTo>
                      <a:lnTo>
                        <a:pt x="579" y="705"/>
                      </a:lnTo>
                      <a:lnTo>
                        <a:pt x="579" y="660"/>
                      </a:lnTo>
                      <a:lnTo>
                        <a:pt x="580" y="614"/>
                      </a:lnTo>
                      <a:lnTo>
                        <a:pt x="584" y="569"/>
                      </a:lnTo>
                      <a:lnTo>
                        <a:pt x="587" y="525"/>
                      </a:lnTo>
                      <a:lnTo>
                        <a:pt x="592" y="481"/>
                      </a:lnTo>
                      <a:lnTo>
                        <a:pt x="597" y="436"/>
                      </a:lnTo>
                      <a:lnTo>
                        <a:pt x="603" y="392"/>
                      </a:lnTo>
                      <a:lnTo>
                        <a:pt x="611" y="348"/>
                      </a:lnTo>
                      <a:lnTo>
                        <a:pt x="620" y="306"/>
                      </a:lnTo>
                      <a:lnTo>
                        <a:pt x="629" y="263"/>
                      </a:lnTo>
                      <a:lnTo>
                        <a:pt x="639" y="221"/>
                      </a:lnTo>
                      <a:lnTo>
                        <a:pt x="651" y="178"/>
                      </a:lnTo>
                      <a:lnTo>
                        <a:pt x="662" y="137"/>
                      </a:lnTo>
                      <a:lnTo>
                        <a:pt x="675" y="95"/>
                      </a:lnTo>
                      <a:lnTo>
                        <a:pt x="689" y="54"/>
                      </a:lnTo>
                      <a:lnTo>
                        <a:pt x="704" y="13"/>
                      </a:lnTo>
                      <a:lnTo>
                        <a:pt x="704" y="13"/>
                      </a:lnTo>
                      <a:lnTo>
                        <a:pt x="674" y="8"/>
                      </a:lnTo>
                      <a:lnTo>
                        <a:pt x="643" y="3"/>
                      </a:lnTo>
                      <a:lnTo>
                        <a:pt x="610" y="1"/>
                      </a:lnTo>
                      <a:lnTo>
                        <a:pt x="579" y="0"/>
                      </a:lnTo>
                      <a:close/>
                    </a:path>
                  </a:pathLst>
                </a:custGeom>
                <a:solidFill>
                  <a:srgbClr val="B12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6" name="Freeform 250"/>
                <p:cNvSpPr>
                  <a:spLocks/>
                </p:cNvSpPr>
                <p:nvPr/>
              </p:nvSpPr>
              <p:spPr bwMode="auto">
                <a:xfrm>
                  <a:off x="4457700" y="2901950"/>
                  <a:ext cx="158750" cy="261938"/>
                </a:xfrm>
                <a:custGeom>
                  <a:avLst/>
                  <a:gdLst>
                    <a:gd name="T0" fmla="*/ 579 w 704"/>
                    <a:gd name="T1" fmla="*/ 0 h 1157"/>
                    <a:gd name="T2" fmla="*/ 519 w 704"/>
                    <a:gd name="T3" fmla="*/ 3 h 1157"/>
                    <a:gd name="T4" fmla="*/ 462 w 704"/>
                    <a:gd name="T5" fmla="*/ 11 h 1157"/>
                    <a:gd name="T6" fmla="*/ 407 w 704"/>
                    <a:gd name="T7" fmla="*/ 26 h 1157"/>
                    <a:gd name="T8" fmla="*/ 354 w 704"/>
                    <a:gd name="T9" fmla="*/ 46 h 1157"/>
                    <a:gd name="T10" fmla="*/ 303 w 704"/>
                    <a:gd name="T11" fmla="*/ 70 h 1157"/>
                    <a:gd name="T12" fmla="*/ 256 w 704"/>
                    <a:gd name="T13" fmla="*/ 99 h 1157"/>
                    <a:gd name="T14" fmla="*/ 211 w 704"/>
                    <a:gd name="T15" fmla="*/ 132 h 1157"/>
                    <a:gd name="T16" fmla="*/ 169 w 704"/>
                    <a:gd name="T17" fmla="*/ 169 h 1157"/>
                    <a:gd name="T18" fmla="*/ 133 w 704"/>
                    <a:gd name="T19" fmla="*/ 210 h 1157"/>
                    <a:gd name="T20" fmla="*/ 99 w 704"/>
                    <a:gd name="T21" fmla="*/ 255 h 1157"/>
                    <a:gd name="T22" fmla="*/ 70 w 704"/>
                    <a:gd name="T23" fmla="*/ 302 h 1157"/>
                    <a:gd name="T24" fmla="*/ 45 w 704"/>
                    <a:gd name="T25" fmla="*/ 353 h 1157"/>
                    <a:gd name="T26" fmla="*/ 27 w 704"/>
                    <a:gd name="T27" fmla="*/ 406 h 1157"/>
                    <a:gd name="T28" fmla="*/ 12 w 704"/>
                    <a:gd name="T29" fmla="*/ 461 h 1157"/>
                    <a:gd name="T30" fmla="*/ 4 w 704"/>
                    <a:gd name="T31" fmla="*/ 519 h 1157"/>
                    <a:gd name="T32" fmla="*/ 0 w 704"/>
                    <a:gd name="T33" fmla="*/ 579 h 1157"/>
                    <a:gd name="T34" fmla="*/ 1 w 704"/>
                    <a:gd name="T35" fmla="*/ 609 h 1157"/>
                    <a:gd name="T36" fmla="*/ 7 w 704"/>
                    <a:gd name="T37" fmla="*/ 666 h 1157"/>
                    <a:gd name="T38" fmla="*/ 19 w 704"/>
                    <a:gd name="T39" fmla="*/ 723 h 1157"/>
                    <a:gd name="T40" fmla="*/ 35 w 704"/>
                    <a:gd name="T41" fmla="*/ 778 h 1157"/>
                    <a:gd name="T42" fmla="*/ 58 w 704"/>
                    <a:gd name="T43" fmla="*/ 830 h 1157"/>
                    <a:gd name="T44" fmla="*/ 84 w 704"/>
                    <a:gd name="T45" fmla="*/ 878 h 1157"/>
                    <a:gd name="T46" fmla="*/ 115 w 704"/>
                    <a:gd name="T47" fmla="*/ 925 h 1157"/>
                    <a:gd name="T48" fmla="*/ 151 w 704"/>
                    <a:gd name="T49" fmla="*/ 968 h 1157"/>
                    <a:gd name="T50" fmla="*/ 190 w 704"/>
                    <a:gd name="T51" fmla="*/ 1007 h 1157"/>
                    <a:gd name="T52" fmla="*/ 233 w 704"/>
                    <a:gd name="T53" fmla="*/ 1043 h 1157"/>
                    <a:gd name="T54" fmla="*/ 279 w 704"/>
                    <a:gd name="T55" fmla="*/ 1074 h 1157"/>
                    <a:gd name="T56" fmla="*/ 328 w 704"/>
                    <a:gd name="T57" fmla="*/ 1100 h 1157"/>
                    <a:gd name="T58" fmla="*/ 380 w 704"/>
                    <a:gd name="T59" fmla="*/ 1122 h 1157"/>
                    <a:gd name="T60" fmla="*/ 434 w 704"/>
                    <a:gd name="T61" fmla="*/ 1139 h 1157"/>
                    <a:gd name="T62" fmla="*/ 491 w 704"/>
                    <a:gd name="T63" fmla="*/ 1151 h 1157"/>
                    <a:gd name="T64" fmla="*/ 549 w 704"/>
                    <a:gd name="T65" fmla="*/ 1157 h 1157"/>
                    <a:gd name="T66" fmla="*/ 579 w 704"/>
                    <a:gd name="T67" fmla="*/ 1157 h 1157"/>
                    <a:gd name="T68" fmla="*/ 630 w 704"/>
                    <a:gd name="T69" fmla="*/ 1154 h 1157"/>
                    <a:gd name="T70" fmla="*/ 618 w 704"/>
                    <a:gd name="T71" fmla="*/ 1100 h 1157"/>
                    <a:gd name="T72" fmla="*/ 599 w 704"/>
                    <a:gd name="T73" fmla="*/ 990 h 1157"/>
                    <a:gd name="T74" fmla="*/ 586 w 704"/>
                    <a:gd name="T75" fmla="*/ 878 h 1157"/>
                    <a:gd name="T76" fmla="*/ 579 w 704"/>
                    <a:gd name="T77" fmla="*/ 764 h 1157"/>
                    <a:gd name="T78" fmla="*/ 579 w 704"/>
                    <a:gd name="T79" fmla="*/ 705 h 1157"/>
                    <a:gd name="T80" fmla="*/ 579 w 704"/>
                    <a:gd name="T81" fmla="*/ 705 h 1157"/>
                    <a:gd name="T82" fmla="*/ 580 w 704"/>
                    <a:gd name="T83" fmla="*/ 614 h 1157"/>
                    <a:gd name="T84" fmla="*/ 587 w 704"/>
                    <a:gd name="T85" fmla="*/ 525 h 1157"/>
                    <a:gd name="T86" fmla="*/ 597 w 704"/>
                    <a:gd name="T87" fmla="*/ 436 h 1157"/>
                    <a:gd name="T88" fmla="*/ 611 w 704"/>
                    <a:gd name="T89" fmla="*/ 348 h 1157"/>
                    <a:gd name="T90" fmla="*/ 629 w 704"/>
                    <a:gd name="T91" fmla="*/ 263 h 1157"/>
                    <a:gd name="T92" fmla="*/ 651 w 704"/>
                    <a:gd name="T93" fmla="*/ 178 h 1157"/>
                    <a:gd name="T94" fmla="*/ 675 w 704"/>
                    <a:gd name="T95" fmla="*/ 95 h 1157"/>
                    <a:gd name="T96" fmla="*/ 704 w 704"/>
                    <a:gd name="T97" fmla="*/ 13 h 1157"/>
                    <a:gd name="T98" fmla="*/ 674 w 704"/>
                    <a:gd name="T99" fmla="*/ 8 h 1157"/>
                    <a:gd name="T100" fmla="*/ 610 w 704"/>
                    <a:gd name="T101" fmla="*/ 1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04" h="1157">
                      <a:moveTo>
                        <a:pt x="579" y="0"/>
                      </a:moveTo>
                      <a:lnTo>
                        <a:pt x="579" y="0"/>
                      </a:lnTo>
                      <a:lnTo>
                        <a:pt x="549" y="1"/>
                      </a:lnTo>
                      <a:lnTo>
                        <a:pt x="519" y="3"/>
                      </a:lnTo>
                      <a:lnTo>
                        <a:pt x="491" y="6"/>
                      </a:lnTo>
                      <a:lnTo>
                        <a:pt x="462" y="11"/>
                      </a:lnTo>
                      <a:lnTo>
                        <a:pt x="434" y="18"/>
                      </a:lnTo>
                      <a:lnTo>
                        <a:pt x="407" y="26"/>
                      </a:lnTo>
                      <a:lnTo>
                        <a:pt x="380" y="35"/>
                      </a:lnTo>
                      <a:lnTo>
                        <a:pt x="354" y="46"/>
                      </a:lnTo>
                      <a:lnTo>
                        <a:pt x="328" y="57"/>
                      </a:lnTo>
                      <a:lnTo>
                        <a:pt x="303" y="70"/>
                      </a:lnTo>
                      <a:lnTo>
                        <a:pt x="279" y="84"/>
                      </a:lnTo>
                      <a:lnTo>
                        <a:pt x="256" y="99"/>
                      </a:lnTo>
                      <a:lnTo>
                        <a:pt x="233" y="115"/>
                      </a:lnTo>
                      <a:lnTo>
                        <a:pt x="211" y="132"/>
                      </a:lnTo>
                      <a:lnTo>
                        <a:pt x="190" y="150"/>
                      </a:lnTo>
                      <a:lnTo>
                        <a:pt x="169" y="169"/>
                      </a:lnTo>
                      <a:lnTo>
                        <a:pt x="151" y="190"/>
                      </a:lnTo>
                      <a:lnTo>
                        <a:pt x="133" y="210"/>
                      </a:lnTo>
                      <a:lnTo>
                        <a:pt x="115" y="232"/>
                      </a:lnTo>
                      <a:lnTo>
                        <a:pt x="99" y="255"/>
                      </a:lnTo>
                      <a:lnTo>
                        <a:pt x="84" y="278"/>
                      </a:lnTo>
                      <a:lnTo>
                        <a:pt x="70" y="302"/>
                      </a:lnTo>
                      <a:lnTo>
                        <a:pt x="58" y="328"/>
                      </a:lnTo>
                      <a:lnTo>
                        <a:pt x="45" y="353"/>
                      </a:lnTo>
                      <a:lnTo>
                        <a:pt x="35" y="379"/>
                      </a:lnTo>
                      <a:lnTo>
                        <a:pt x="27" y="406"/>
                      </a:lnTo>
                      <a:lnTo>
                        <a:pt x="19" y="434"/>
                      </a:lnTo>
                      <a:lnTo>
                        <a:pt x="12" y="461"/>
                      </a:lnTo>
                      <a:lnTo>
                        <a:pt x="7" y="490"/>
                      </a:lnTo>
                      <a:lnTo>
                        <a:pt x="4" y="519"/>
                      </a:lnTo>
                      <a:lnTo>
                        <a:pt x="1" y="549"/>
                      </a:lnTo>
                      <a:lnTo>
                        <a:pt x="0" y="579"/>
                      </a:lnTo>
                      <a:lnTo>
                        <a:pt x="0" y="579"/>
                      </a:lnTo>
                      <a:lnTo>
                        <a:pt x="1" y="609"/>
                      </a:lnTo>
                      <a:lnTo>
                        <a:pt x="4" y="637"/>
                      </a:lnTo>
                      <a:lnTo>
                        <a:pt x="7" y="666"/>
                      </a:lnTo>
                      <a:lnTo>
                        <a:pt x="12" y="695"/>
                      </a:lnTo>
                      <a:lnTo>
                        <a:pt x="19" y="723"/>
                      </a:lnTo>
                      <a:lnTo>
                        <a:pt x="27" y="750"/>
                      </a:lnTo>
                      <a:lnTo>
                        <a:pt x="35" y="778"/>
                      </a:lnTo>
                      <a:lnTo>
                        <a:pt x="45" y="803"/>
                      </a:lnTo>
                      <a:lnTo>
                        <a:pt x="58" y="830"/>
                      </a:lnTo>
                      <a:lnTo>
                        <a:pt x="70" y="854"/>
                      </a:lnTo>
                      <a:lnTo>
                        <a:pt x="84" y="878"/>
                      </a:lnTo>
                      <a:lnTo>
                        <a:pt x="99" y="902"/>
                      </a:lnTo>
                      <a:lnTo>
                        <a:pt x="115" y="925"/>
                      </a:lnTo>
                      <a:lnTo>
                        <a:pt x="133" y="947"/>
                      </a:lnTo>
                      <a:lnTo>
                        <a:pt x="151" y="968"/>
                      </a:lnTo>
                      <a:lnTo>
                        <a:pt x="169" y="987"/>
                      </a:lnTo>
                      <a:lnTo>
                        <a:pt x="190" y="1007"/>
                      </a:lnTo>
                      <a:lnTo>
                        <a:pt x="211" y="1025"/>
                      </a:lnTo>
                      <a:lnTo>
                        <a:pt x="233" y="1043"/>
                      </a:lnTo>
                      <a:lnTo>
                        <a:pt x="256" y="1059"/>
                      </a:lnTo>
                      <a:lnTo>
                        <a:pt x="279" y="1074"/>
                      </a:lnTo>
                      <a:lnTo>
                        <a:pt x="303" y="1088"/>
                      </a:lnTo>
                      <a:lnTo>
                        <a:pt x="328" y="1100"/>
                      </a:lnTo>
                      <a:lnTo>
                        <a:pt x="354" y="1112"/>
                      </a:lnTo>
                      <a:lnTo>
                        <a:pt x="380" y="1122"/>
                      </a:lnTo>
                      <a:lnTo>
                        <a:pt x="407" y="1131"/>
                      </a:lnTo>
                      <a:lnTo>
                        <a:pt x="434" y="1139"/>
                      </a:lnTo>
                      <a:lnTo>
                        <a:pt x="462" y="1145"/>
                      </a:lnTo>
                      <a:lnTo>
                        <a:pt x="491" y="1151"/>
                      </a:lnTo>
                      <a:lnTo>
                        <a:pt x="519" y="1154"/>
                      </a:lnTo>
                      <a:lnTo>
                        <a:pt x="549" y="1157"/>
                      </a:lnTo>
                      <a:lnTo>
                        <a:pt x="579" y="1157"/>
                      </a:lnTo>
                      <a:lnTo>
                        <a:pt x="579" y="1157"/>
                      </a:lnTo>
                      <a:lnTo>
                        <a:pt x="605" y="1157"/>
                      </a:lnTo>
                      <a:lnTo>
                        <a:pt x="630" y="1154"/>
                      </a:lnTo>
                      <a:lnTo>
                        <a:pt x="630" y="1154"/>
                      </a:lnTo>
                      <a:lnTo>
                        <a:pt x="618" y="1100"/>
                      </a:lnTo>
                      <a:lnTo>
                        <a:pt x="608" y="1046"/>
                      </a:lnTo>
                      <a:lnTo>
                        <a:pt x="599" y="990"/>
                      </a:lnTo>
                      <a:lnTo>
                        <a:pt x="592" y="934"/>
                      </a:lnTo>
                      <a:lnTo>
                        <a:pt x="586" y="878"/>
                      </a:lnTo>
                      <a:lnTo>
                        <a:pt x="582" y="820"/>
                      </a:lnTo>
                      <a:lnTo>
                        <a:pt x="579" y="764"/>
                      </a:lnTo>
                      <a:lnTo>
                        <a:pt x="579" y="705"/>
                      </a:lnTo>
                      <a:lnTo>
                        <a:pt x="579" y="705"/>
                      </a:lnTo>
                      <a:lnTo>
                        <a:pt x="579" y="705"/>
                      </a:lnTo>
                      <a:lnTo>
                        <a:pt x="579" y="705"/>
                      </a:lnTo>
                      <a:lnTo>
                        <a:pt x="579" y="660"/>
                      </a:lnTo>
                      <a:lnTo>
                        <a:pt x="580" y="614"/>
                      </a:lnTo>
                      <a:lnTo>
                        <a:pt x="584" y="569"/>
                      </a:lnTo>
                      <a:lnTo>
                        <a:pt x="587" y="525"/>
                      </a:lnTo>
                      <a:lnTo>
                        <a:pt x="592" y="481"/>
                      </a:lnTo>
                      <a:lnTo>
                        <a:pt x="597" y="436"/>
                      </a:lnTo>
                      <a:lnTo>
                        <a:pt x="603" y="392"/>
                      </a:lnTo>
                      <a:lnTo>
                        <a:pt x="611" y="348"/>
                      </a:lnTo>
                      <a:lnTo>
                        <a:pt x="620" y="306"/>
                      </a:lnTo>
                      <a:lnTo>
                        <a:pt x="629" y="263"/>
                      </a:lnTo>
                      <a:lnTo>
                        <a:pt x="639" y="221"/>
                      </a:lnTo>
                      <a:lnTo>
                        <a:pt x="651" y="178"/>
                      </a:lnTo>
                      <a:lnTo>
                        <a:pt x="662" y="137"/>
                      </a:lnTo>
                      <a:lnTo>
                        <a:pt x="675" y="95"/>
                      </a:lnTo>
                      <a:lnTo>
                        <a:pt x="689" y="54"/>
                      </a:lnTo>
                      <a:lnTo>
                        <a:pt x="704" y="13"/>
                      </a:lnTo>
                      <a:lnTo>
                        <a:pt x="704" y="13"/>
                      </a:lnTo>
                      <a:lnTo>
                        <a:pt x="674" y="8"/>
                      </a:lnTo>
                      <a:lnTo>
                        <a:pt x="643" y="3"/>
                      </a:lnTo>
                      <a:lnTo>
                        <a:pt x="610" y="1"/>
                      </a:lnTo>
                      <a:lnTo>
                        <a:pt x="5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7" name="Freeform 251"/>
                <p:cNvSpPr>
                  <a:spLocks/>
                </p:cNvSpPr>
                <p:nvPr/>
              </p:nvSpPr>
              <p:spPr bwMode="auto">
                <a:xfrm>
                  <a:off x="4589463" y="2905125"/>
                  <a:ext cx="130175" cy="258763"/>
                </a:xfrm>
                <a:custGeom>
                  <a:avLst/>
                  <a:gdLst>
                    <a:gd name="T0" fmla="*/ 125 w 578"/>
                    <a:gd name="T1" fmla="*/ 0 h 1141"/>
                    <a:gd name="T2" fmla="*/ 96 w 578"/>
                    <a:gd name="T3" fmla="*/ 82 h 1141"/>
                    <a:gd name="T4" fmla="*/ 72 w 578"/>
                    <a:gd name="T5" fmla="*/ 165 h 1141"/>
                    <a:gd name="T6" fmla="*/ 50 w 578"/>
                    <a:gd name="T7" fmla="*/ 250 h 1141"/>
                    <a:gd name="T8" fmla="*/ 32 w 578"/>
                    <a:gd name="T9" fmla="*/ 335 h 1141"/>
                    <a:gd name="T10" fmla="*/ 18 w 578"/>
                    <a:gd name="T11" fmla="*/ 423 h 1141"/>
                    <a:gd name="T12" fmla="*/ 8 w 578"/>
                    <a:gd name="T13" fmla="*/ 512 h 1141"/>
                    <a:gd name="T14" fmla="*/ 1 w 578"/>
                    <a:gd name="T15" fmla="*/ 601 h 1141"/>
                    <a:gd name="T16" fmla="*/ 0 w 578"/>
                    <a:gd name="T17" fmla="*/ 692 h 1141"/>
                    <a:gd name="T18" fmla="*/ 0 w 578"/>
                    <a:gd name="T19" fmla="*/ 692 h 1141"/>
                    <a:gd name="T20" fmla="*/ 3 w 578"/>
                    <a:gd name="T21" fmla="*/ 807 h 1141"/>
                    <a:gd name="T22" fmla="*/ 13 w 578"/>
                    <a:gd name="T23" fmla="*/ 921 h 1141"/>
                    <a:gd name="T24" fmla="*/ 29 w 578"/>
                    <a:gd name="T25" fmla="*/ 1033 h 1141"/>
                    <a:gd name="T26" fmla="*/ 51 w 578"/>
                    <a:gd name="T27" fmla="*/ 1141 h 1141"/>
                    <a:gd name="T28" fmla="*/ 79 w 578"/>
                    <a:gd name="T29" fmla="*/ 1139 h 1141"/>
                    <a:gd name="T30" fmla="*/ 133 w 578"/>
                    <a:gd name="T31" fmla="*/ 1129 h 1141"/>
                    <a:gd name="T32" fmla="*/ 184 w 578"/>
                    <a:gd name="T33" fmla="*/ 1114 h 1141"/>
                    <a:gd name="T34" fmla="*/ 234 w 578"/>
                    <a:gd name="T35" fmla="*/ 1094 h 1141"/>
                    <a:gd name="T36" fmla="*/ 281 w 578"/>
                    <a:gd name="T37" fmla="*/ 1071 h 1141"/>
                    <a:gd name="T38" fmla="*/ 326 w 578"/>
                    <a:gd name="T39" fmla="*/ 1043 h 1141"/>
                    <a:gd name="T40" fmla="*/ 369 w 578"/>
                    <a:gd name="T41" fmla="*/ 1011 h 1141"/>
                    <a:gd name="T42" fmla="*/ 408 w 578"/>
                    <a:gd name="T43" fmla="*/ 977 h 1141"/>
                    <a:gd name="T44" fmla="*/ 443 w 578"/>
                    <a:gd name="T45" fmla="*/ 938 h 1141"/>
                    <a:gd name="T46" fmla="*/ 475 w 578"/>
                    <a:gd name="T47" fmla="*/ 896 h 1141"/>
                    <a:gd name="T48" fmla="*/ 503 w 578"/>
                    <a:gd name="T49" fmla="*/ 851 h 1141"/>
                    <a:gd name="T50" fmla="*/ 528 w 578"/>
                    <a:gd name="T51" fmla="*/ 804 h 1141"/>
                    <a:gd name="T52" fmla="*/ 547 w 578"/>
                    <a:gd name="T53" fmla="*/ 754 h 1141"/>
                    <a:gd name="T54" fmla="*/ 562 w 578"/>
                    <a:gd name="T55" fmla="*/ 703 h 1141"/>
                    <a:gd name="T56" fmla="*/ 572 w 578"/>
                    <a:gd name="T57" fmla="*/ 649 h 1141"/>
                    <a:gd name="T58" fmla="*/ 578 w 578"/>
                    <a:gd name="T59" fmla="*/ 593 h 1141"/>
                    <a:gd name="T60" fmla="*/ 578 w 578"/>
                    <a:gd name="T61" fmla="*/ 566 h 1141"/>
                    <a:gd name="T62" fmla="*/ 576 w 578"/>
                    <a:gd name="T63" fmla="*/ 514 h 1141"/>
                    <a:gd name="T64" fmla="*/ 570 w 578"/>
                    <a:gd name="T65" fmla="*/ 464 h 1141"/>
                    <a:gd name="T66" fmla="*/ 559 w 578"/>
                    <a:gd name="T67" fmla="*/ 415 h 1141"/>
                    <a:gd name="T68" fmla="*/ 544 w 578"/>
                    <a:gd name="T69" fmla="*/ 369 h 1141"/>
                    <a:gd name="T70" fmla="*/ 525 w 578"/>
                    <a:gd name="T71" fmla="*/ 323 h 1141"/>
                    <a:gd name="T72" fmla="*/ 503 w 578"/>
                    <a:gd name="T73" fmla="*/ 280 h 1141"/>
                    <a:gd name="T74" fmla="*/ 478 w 578"/>
                    <a:gd name="T75" fmla="*/ 239 h 1141"/>
                    <a:gd name="T76" fmla="*/ 449 w 578"/>
                    <a:gd name="T77" fmla="*/ 201 h 1141"/>
                    <a:gd name="T78" fmla="*/ 417 w 578"/>
                    <a:gd name="T79" fmla="*/ 164 h 1141"/>
                    <a:gd name="T80" fmla="*/ 382 w 578"/>
                    <a:gd name="T81" fmla="*/ 132 h 1141"/>
                    <a:gd name="T82" fmla="*/ 344 w 578"/>
                    <a:gd name="T83" fmla="*/ 101 h 1141"/>
                    <a:gd name="T84" fmla="*/ 305 w 578"/>
                    <a:gd name="T85" fmla="*/ 74 h 1141"/>
                    <a:gd name="T86" fmla="*/ 263 w 578"/>
                    <a:gd name="T87" fmla="*/ 50 h 1141"/>
                    <a:gd name="T88" fmla="*/ 219 w 578"/>
                    <a:gd name="T89" fmla="*/ 29 h 1141"/>
                    <a:gd name="T90" fmla="*/ 173 w 578"/>
                    <a:gd name="T91" fmla="*/ 13 h 1141"/>
                    <a:gd name="T92" fmla="*/ 125 w 578"/>
                    <a:gd name="T93" fmla="*/ 0 h 1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78" h="1141">
                      <a:moveTo>
                        <a:pt x="125" y="0"/>
                      </a:moveTo>
                      <a:lnTo>
                        <a:pt x="125" y="0"/>
                      </a:lnTo>
                      <a:lnTo>
                        <a:pt x="110" y="41"/>
                      </a:lnTo>
                      <a:lnTo>
                        <a:pt x="96" y="82"/>
                      </a:lnTo>
                      <a:lnTo>
                        <a:pt x="83" y="124"/>
                      </a:lnTo>
                      <a:lnTo>
                        <a:pt x="72" y="165"/>
                      </a:lnTo>
                      <a:lnTo>
                        <a:pt x="60" y="208"/>
                      </a:lnTo>
                      <a:lnTo>
                        <a:pt x="50" y="250"/>
                      </a:lnTo>
                      <a:lnTo>
                        <a:pt x="41" y="293"/>
                      </a:lnTo>
                      <a:lnTo>
                        <a:pt x="32" y="335"/>
                      </a:lnTo>
                      <a:lnTo>
                        <a:pt x="24" y="379"/>
                      </a:lnTo>
                      <a:lnTo>
                        <a:pt x="18" y="423"/>
                      </a:lnTo>
                      <a:lnTo>
                        <a:pt x="13" y="468"/>
                      </a:lnTo>
                      <a:lnTo>
                        <a:pt x="8" y="512"/>
                      </a:lnTo>
                      <a:lnTo>
                        <a:pt x="5" y="556"/>
                      </a:lnTo>
                      <a:lnTo>
                        <a:pt x="1" y="601"/>
                      </a:lnTo>
                      <a:lnTo>
                        <a:pt x="0" y="647"/>
                      </a:lnTo>
                      <a:lnTo>
                        <a:pt x="0" y="692"/>
                      </a:lnTo>
                      <a:lnTo>
                        <a:pt x="0" y="692"/>
                      </a:lnTo>
                      <a:lnTo>
                        <a:pt x="0" y="692"/>
                      </a:lnTo>
                      <a:lnTo>
                        <a:pt x="0" y="751"/>
                      </a:lnTo>
                      <a:lnTo>
                        <a:pt x="3" y="807"/>
                      </a:lnTo>
                      <a:lnTo>
                        <a:pt x="7" y="865"/>
                      </a:lnTo>
                      <a:lnTo>
                        <a:pt x="13" y="921"/>
                      </a:lnTo>
                      <a:lnTo>
                        <a:pt x="20" y="977"/>
                      </a:lnTo>
                      <a:lnTo>
                        <a:pt x="29" y="1033"/>
                      </a:lnTo>
                      <a:lnTo>
                        <a:pt x="39" y="1087"/>
                      </a:lnTo>
                      <a:lnTo>
                        <a:pt x="51" y="1141"/>
                      </a:lnTo>
                      <a:lnTo>
                        <a:pt x="51" y="1141"/>
                      </a:lnTo>
                      <a:lnTo>
                        <a:pt x="79" y="1139"/>
                      </a:lnTo>
                      <a:lnTo>
                        <a:pt x="106" y="1134"/>
                      </a:lnTo>
                      <a:lnTo>
                        <a:pt x="133" y="1129"/>
                      </a:lnTo>
                      <a:lnTo>
                        <a:pt x="159" y="1122"/>
                      </a:lnTo>
                      <a:lnTo>
                        <a:pt x="184" y="1114"/>
                      </a:lnTo>
                      <a:lnTo>
                        <a:pt x="210" y="1104"/>
                      </a:lnTo>
                      <a:lnTo>
                        <a:pt x="234" y="1094"/>
                      </a:lnTo>
                      <a:lnTo>
                        <a:pt x="258" y="1084"/>
                      </a:lnTo>
                      <a:lnTo>
                        <a:pt x="281" y="1071"/>
                      </a:lnTo>
                      <a:lnTo>
                        <a:pt x="304" y="1057"/>
                      </a:lnTo>
                      <a:lnTo>
                        <a:pt x="326" y="1043"/>
                      </a:lnTo>
                      <a:lnTo>
                        <a:pt x="348" y="1027"/>
                      </a:lnTo>
                      <a:lnTo>
                        <a:pt x="369" y="1011"/>
                      </a:lnTo>
                      <a:lnTo>
                        <a:pt x="388" y="994"/>
                      </a:lnTo>
                      <a:lnTo>
                        <a:pt x="408" y="977"/>
                      </a:lnTo>
                      <a:lnTo>
                        <a:pt x="426" y="957"/>
                      </a:lnTo>
                      <a:lnTo>
                        <a:pt x="443" y="938"/>
                      </a:lnTo>
                      <a:lnTo>
                        <a:pt x="460" y="917"/>
                      </a:lnTo>
                      <a:lnTo>
                        <a:pt x="475" y="896"/>
                      </a:lnTo>
                      <a:lnTo>
                        <a:pt x="490" y="874"/>
                      </a:lnTo>
                      <a:lnTo>
                        <a:pt x="503" y="851"/>
                      </a:lnTo>
                      <a:lnTo>
                        <a:pt x="516" y="828"/>
                      </a:lnTo>
                      <a:lnTo>
                        <a:pt x="528" y="804"/>
                      </a:lnTo>
                      <a:lnTo>
                        <a:pt x="538" y="780"/>
                      </a:lnTo>
                      <a:lnTo>
                        <a:pt x="547" y="754"/>
                      </a:lnTo>
                      <a:lnTo>
                        <a:pt x="555" y="729"/>
                      </a:lnTo>
                      <a:lnTo>
                        <a:pt x="562" y="703"/>
                      </a:lnTo>
                      <a:lnTo>
                        <a:pt x="568" y="676"/>
                      </a:lnTo>
                      <a:lnTo>
                        <a:pt x="572" y="649"/>
                      </a:lnTo>
                      <a:lnTo>
                        <a:pt x="576" y="621"/>
                      </a:lnTo>
                      <a:lnTo>
                        <a:pt x="578" y="593"/>
                      </a:lnTo>
                      <a:lnTo>
                        <a:pt x="578" y="566"/>
                      </a:lnTo>
                      <a:lnTo>
                        <a:pt x="578" y="566"/>
                      </a:lnTo>
                      <a:lnTo>
                        <a:pt x="578" y="539"/>
                      </a:lnTo>
                      <a:lnTo>
                        <a:pt x="576" y="514"/>
                      </a:lnTo>
                      <a:lnTo>
                        <a:pt x="574" y="489"/>
                      </a:lnTo>
                      <a:lnTo>
                        <a:pt x="570" y="464"/>
                      </a:lnTo>
                      <a:lnTo>
                        <a:pt x="564" y="439"/>
                      </a:lnTo>
                      <a:lnTo>
                        <a:pt x="559" y="415"/>
                      </a:lnTo>
                      <a:lnTo>
                        <a:pt x="552" y="392"/>
                      </a:lnTo>
                      <a:lnTo>
                        <a:pt x="544" y="369"/>
                      </a:lnTo>
                      <a:lnTo>
                        <a:pt x="536" y="346"/>
                      </a:lnTo>
                      <a:lnTo>
                        <a:pt x="525" y="323"/>
                      </a:lnTo>
                      <a:lnTo>
                        <a:pt x="515" y="301"/>
                      </a:lnTo>
                      <a:lnTo>
                        <a:pt x="503" y="280"/>
                      </a:lnTo>
                      <a:lnTo>
                        <a:pt x="491" y="259"/>
                      </a:lnTo>
                      <a:lnTo>
                        <a:pt x="478" y="239"/>
                      </a:lnTo>
                      <a:lnTo>
                        <a:pt x="464" y="219"/>
                      </a:lnTo>
                      <a:lnTo>
                        <a:pt x="449" y="201"/>
                      </a:lnTo>
                      <a:lnTo>
                        <a:pt x="433" y="182"/>
                      </a:lnTo>
                      <a:lnTo>
                        <a:pt x="417" y="164"/>
                      </a:lnTo>
                      <a:lnTo>
                        <a:pt x="400" y="148"/>
                      </a:lnTo>
                      <a:lnTo>
                        <a:pt x="382" y="132"/>
                      </a:lnTo>
                      <a:lnTo>
                        <a:pt x="364" y="115"/>
                      </a:lnTo>
                      <a:lnTo>
                        <a:pt x="344" y="101"/>
                      </a:lnTo>
                      <a:lnTo>
                        <a:pt x="325" y="87"/>
                      </a:lnTo>
                      <a:lnTo>
                        <a:pt x="305" y="74"/>
                      </a:lnTo>
                      <a:lnTo>
                        <a:pt x="285" y="61"/>
                      </a:lnTo>
                      <a:lnTo>
                        <a:pt x="263" y="50"/>
                      </a:lnTo>
                      <a:lnTo>
                        <a:pt x="241" y="40"/>
                      </a:lnTo>
                      <a:lnTo>
                        <a:pt x="219" y="29"/>
                      </a:lnTo>
                      <a:lnTo>
                        <a:pt x="196" y="21"/>
                      </a:lnTo>
                      <a:lnTo>
                        <a:pt x="173" y="13"/>
                      </a:lnTo>
                      <a:lnTo>
                        <a:pt x="149" y="6"/>
                      </a:lnTo>
                      <a:lnTo>
                        <a:pt x="125" y="0"/>
                      </a:lnTo>
                      <a:close/>
                    </a:path>
                  </a:pathLst>
                </a:custGeom>
                <a:solidFill>
                  <a:srgbClr val="CC43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8" name="Freeform 252"/>
                <p:cNvSpPr>
                  <a:spLocks/>
                </p:cNvSpPr>
                <p:nvPr/>
              </p:nvSpPr>
              <p:spPr bwMode="auto">
                <a:xfrm>
                  <a:off x="4589463" y="2905125"/>
                  <a:ext cx="130175" cy="258763"/>
                </a:xfrm>
                <a:custGeom>
                  <a:avLst/>
                  <a:gdLst>
                    <a:gd name="T0" fmla="*/ 125 w 578"/>
                    <a:gd name="T1" fmla="*/ 0 h 1141"/>
                    <a:gd name="T2" fmla="*/ 96 w 578"/>
                    <a:gd name="T3" fmla="*/ 82 h 1141"/>
                    <a:gd name="T4" fmla="*/ 72 w 578"/>
                    <a:gd name="T5" fmla="*/ 165 h 1141"/>
                    <a:gd name="T6" fmla="*/ 50 w 578"/>
                    <a:gd name="T7" fmla="*/ 250 h 1141"/>
                    <a:gd name="T8" fmla="*/ 32 w 578"/>
                    <a:gd name="T9" fmla="*/ 335 h 1141"/>
                    <a:gd name="T10" fmla="*/ 18 w 578"/>
                    <a:gd name="T11" fmla="*/ 423 h 1141"/>
                    <a:gd name="T12" fmla="*/ 8 w 578"/>
                    <a:gd name="T13" fmla="*/ 512 h 1141"/>
                    <a:gd name="T14" fmla="*/ 1 w 578"/>
                    <a:gd name="T15" fmla="*/ 601 h 1141"/>
                    <a:gd name="T16" fmla="*/ 0 w 578"/>
                    <a:gd name="T17" fmla="*/ 692 h 1141"/>
                    <a:gd name="T18" fmla="*/ 0 w 578"/>
                    <a:gd name="T19" fmla="*/ 692 h 1141"/>
                    <a:gd name="T20" fmla="*/ 3 w 578"/>
                    <a:gd name="T21" fmla="*/ 807 h 1141"/>
                    <a:gd name="T22" fmla="*/ 13 w 578"/>
                    <a:gd name="T23" fmla="*/ 921 h 1141"/>
                    <a:gd name="T24" fmla="*/ 29 w 578"/>
                    <a:gd name="T25" fmla="*/ 1033 h 1141"/>
                    <a:gd name="T26" fmla="*/ 51 w 578"/>
                    <a:gd name="T27" fmla="*/ 1141 h 1141"/>
                    <a:gd name="T28" fmla="*/ 79 w 578"/>
                    <a:gd name="T29" fmla="*/ 1139 h 1141"/>
                    <a:gd name="T30" fmla="*/ 133 w 578"/>
                    <a:gd name="T31" fmla="*/ 1129 h 1141"/>
                    <a:gd name="T32" fmla="*/ 184 w 578"/>
                    <a:gd name="T33" fmla="*/ 1114 h 1141"/>
                    <a:gd name="T34" fmla="*/ 234 w 578"/>
                    <a:gd name="T35" fmla="*/ 1094 h 1141"/>
                    <a:gd name="T36" fmla="*/ 281 w 578"/>
                    <a:gd name="T37" fmla="*/ 1071 h 1141"/>
                    <a:gd name="T38" fmla="*/ 326 w 578"/>
                    <a:gd name="T39" fmla="*/ 1043 h 1141"/>
                    <a:gd name="T40" fmla="*/ 369 w 578"/>
                    <a:gd name="T41" fmla="*/ 1011 h 1141"/>
                    <a:gd name="T42" fmla="*/ 408 w 578"/>
                    <a:gd name="T43" fmla="*/ 977 h 1141"/>
                    <a:gd name="T44" fmla="*/ 443 w 578"/>
                    <a:gd name="T45" fmla="*/ 938 h 1141"/>
                    <a:gd name="T46" fmla="*/ 475 w 578"/>
                    <a:gd name="T47" fmla="*/ 896 h 1141"/>
                    <a:gd name="T48" fmla="*/ 503 w 578"/>
                    <a:gd name="T49" fmla="*/ 851 h 1141"/>
                    <a:gd name="T50" fmla="*/ 528 w 578"/>
                    <a:gd name="T51" fmla="*/ 804 h 1141"/>
                    <a:gd name="T52" fmla="*/ 547 w 578"/>
                    <a:gd name="T53" fmla="*/ 754 h 1141"/>
                    <a:gd name="T54" fmla="*/ 562 w 578"/>
                    <a:gd name="T55" fmla="*/ 703 h 1141"/>
                    <a:gd name="T56" fmla="*/ 572 w 578"/>
                    <a:gd name="T57" fmla="*/ 649 h 1141"/>
                    <a:gd name="T58" fmla="*/ 578 w 578"/>
                    <a:gd name="T59" fmla="*/ 593 h 1141"/>
                    <a:gd name="T60" fmla="*/ 578 w 578"/>
                    <a:gd name="T61" fmla="*/ 566 h 1141"/>
                    <a:gd name="T62" fmla="*/ 576 w 578"/>
                    <a:gd name="T63" fmla="*/ 514 h 1141"/>
                    <a:gd name="T64" fmla="*/ 570 w 578"/>
                    <a:gd name="T65" fmla="*/ 464 h 1141"/>
                    <a:gd name="T66" fmla="*/ 559 w 578"/>
                    <a:gd name="T67" fmla="*/ 415 h 1141"/>
                    <a:gd name="T68" fmla="*/ 544 w 578"/>
                    <a:gd name="T69" fmla="*/ 369 h 1141"/>
                    <a:gd name="T70" fmla="*/ 525 w 578"/>
                    <a:gd name="T71" fmla="*/ 323 h 1141"/>
                    <a:gd name="T72" fmla="*/ 503 w 578"/>
                    <a:gd name="T73" fmla="*/ 280 h 1141"/>
                    <a:gd name="T74" fmla="*/ 478 w 578"/>
                    <a:gd name="T75" fmla="*/ 239 h 1141"/>
                    <a:gd name="T76" fmla="*/ 449 w 578"/>
                    <a:gd name="T77" fmla="*/ 201 h 1141"/>
                    <a:gd name="T78" fmla="*/ 417 w 578"/>
                    <a:gd name="T79" fmla="*/ 164 h 1141"/>
                    <a:gd name="T80" fmla="*/ 382 w 578"/>
                    <a:gd name="T81" fmla="*/ 132 h 1141"/>
                    <a:gd name="T82" fmla="*/ 344 w 578"/>
                    <a:gd name="T83" fmla="*/ 101 h 1141"/>
                    <a:gd name="T84" fmla="*/ 305 w 578"/>
                    <a:gd name="T85" fmla="*/ 74 h 1141"/>
                    <a:gd name="T86" fmla="*/ 263 w 578"/>
                    <a:gd name="T87" fmla="*/ 50 h 1141"/>
                    <a:gd name="T88" fmla="*/ 219 w 578"/>
                    <a:gd name="T89" fmla="*/ 29 h 1141"/>
                    <a:gd name="T90" fmla="*/ 173 w 578"/>
                    <a:gd name="T91" fmla="*/ 13 h 1141"/>
                    <a:gd name="T92" fmla="*/ 125 w 578"/>
                    <a:gd name="T93" fmla="*/ 0 h 1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78" h="1141">
                      <a:moveTo>
                        <a:pt x="125" y="0"/>
                      </a:moveTo>
                      <a:lnTo>
                        <a:pt x="125" y="0"/>
                      </a:lnTo>
                      <a:lnTo>
                        <a:pt x="110" y="41"/>
                      </a:lnTo>
                      <a:lnTo>
                        <a:pt x="96" y="82"/>
                      </a:lnTo>
                      <a:lnTo>
                        <a:pt x="83" y="124"/>
                      </a:lnTo>
                      <a:lnTo>
                        <a:pt x="72" y="165"/>
                      </a:lnTo>
                      <a:lnTo>
                        <a:pt x="60" y="208"/>
                      </a:lnTo>
                      <a:lnTo>
                        <a:pt x="50" y="250"/>
                      </a:lnTo>
                      <a:lnTo>
                        <a:pt x="41" y="293"/>
                      </a:lnTo>
                      <a:lnTo>
                        <a:pt x="32" y="335"/>
                      </a:lnTo>
                      <a:lnTo>
                        <a:pt x="24" y="379"/>
                      </a:lnTo>
                      <a:lnTo>
                        <a:pt x="18" y="423"/>
                      </a:lnTo>
                      <a:lnTo>
                        <a:pt x="13" y="468"/>
                      </a:lnTo>
                      <a:lnTo>
                        <a:pt x="8" y="512"/>
                      </a:lnTo>
                      <a:lnTo>
                        <a:pt x="5" y="556"/>
                      </a:lnTo>
                      <a:lnTo>
                        <a:pt x="1" y="601"/>
                      </a:lnTo>
                      <a:lnTo>
                        <a:pt x="0" y="647"/>
                      </a:lnTo>
                      <a:lnTo>
                        <a:pt x="0" y="692"/>
                      </a:lnTo>
                      <a:lnTo>
                        <a:pt x="0" y="692"/>
                      </a:lnTo>
                      <a:lnTo>
                        <a:pt x="0" y="692"/>
                      </a:lnTo>
                      <a:lnTo>
                        <a:pt x="0" y="751"/>
                      </a:lnTo>
                      <a:lnTo>
                        <a:pt x="3" y="807"/>
                      </a:lnTo>
                      <a:lnTo>
                        <a:pt x="7" y="865"/>
                      </a:lnTo>
                      <a:lnTo>
                        <a:pt x="13" y="921"/>
                      </a:lnTo>
                      <a:lnTo>
                        <a:pt x="20" y="977"/>
                      </a:lnTo>
                      <a:lnTo>
                        <a:pt x="29" y="1033"/>
                      </a:lnTo>
                      <a:lnTo>
                        <a:pt x="39" y="1087"/>
                      </a:lnTo>
                      <a:lnTo>
                        <a:pt x="51" y="1141"/>
                      </a:lnTo>
                      <a:lnTo>
                        <a:pt x="51" y="1141"/>
                      </a:lnTo>
                      <a:lnTo>
                        <a:pt x="79" y="1139"/>
                      </a:lnTo>
                      <a:lnTo>
                        <a:pt x="106" y="1134"/>
                      </a:lnTo>
                      <a:lnTo>
                        <a:pt x="133" y="1129"/>
                      </a:lnTo>
                      <a:lnTo>
                        <a:pt x="159" y="1122"/>
                      </a:lnTo>
                      <a:lnTo>
                        <a:pt x="184" y="1114"/>
                      </a:lnTo>
                      <a:lnTo>
                        <a:pt x="210" y="1104"/>
                      </a:lnTo>
                      <a:lnTo>
                        <a:pt x="234" y="1094"/>
                      </a:lnTo>
                      <a:lnTo>
                        <a:pt x="258" y="1084"/>
                      </a:lnTo>
                      <a:lnTo>
                        <a:pt x="281" y="1071"/>
                      </a:lnTo>
                      <a:lnTo>
                        <a:pt x="304" y="1057"/>
                      </a:lnTo>
                      <a:lnTo>
                        <a:pt x="326" y="1043"/>
                      </a:lnTo>
                      <a:lnTo>
                        <a:pt x="348" y="1027"/>
                      </a:lnTo>
                      <a:lnTo>
                        <a:pt x="369" y="1011"/>
                      </a:lnTo>
                      <a:lnTo>
                        <a:pt x="388" y="994"/>
                      </a:lnTo>
                      <a:lnTo>
                        <a:pt x="408" y="977"/>
                      </a:lnTo>
                      <a:lnTo>
                        <a:pt x="426" y="957"/>
                      </a:lnTo>
                      <a:lnTo>
                        <a:pt x="443" y="938"/>
                      </a:lnTo>
                      <a:lnTo>
                        <a:pt x="460" y="917"/>
                      </a:lnTo>
                      <a:lnTo>
                        <a:pt x="475" y="896"/>
                      </a:lnTo>
                      <a:lnTo>
                        <a:pt x="490" y="874"/>
                      </a:lnTo>
                      <a:lnTo>
                        <a:pt x="503" y="851"/>
                      </a:lnTo>
                      <a:lnTo>
                        <a:pt x="516" y="828"/>
                      </a:lnTo>
                      <a:lnTo>
                        <a:pt x="528" y="804"/>
                      </a:lnTo>
                      <a:lnTo>
                        <a:pt x="538" y="780"/>
                      </a:lnTo>
                      <a:lnTo>
                        <a:pt x="547" y="754"/>
                      </a:lnTo>
                      <a:lnTo>
                        <a:pt x="555" y="729"/>
                      </a:lnTo>
                      <a:lnTo>
                        <a:pt x="562" y="703"/>
                      </a:lnTo>
                      <a:lnTo>
                        <a:pt x="568" y="676"/>
                      </a:lnTo>
                      <a:lnTo>
                        <a:pt x="572" y="649"/>
                      </a:lnTo>
                      <a:lnTo>
                        <a:pt x="576" y="621"/>
                      </a:lnTo>
                      <a:lnTo>
                        <a:pt x="578" y="593"/>
                      </a:lnTo>
                      <a:lnTo>
                        <a:pt x="578" y="566"/>
                      </a:lnTo>
                      <a:lnTo>
                        <a:pt x="578" y="566"/>
                      </a:lnTo>
                      <a:lnTo>
                        <a:pt x="578" y="539"/>
                      </a:lnTo>
                      <a:lnTo>
                        <a:pt x="576" y="514"/>
                      </a:lnTo>
                      <a:lnTo>
                        <a:pt x="574" y="489"/>
                      </a:lnTo>
                      <a:lnTo>
                        <a:pt x="570" y="464"/>
                      </a:lnTo>
                      <a:lnTo>
                        <a:pt x="564" y="439"/>
                      </a:lnTo>
                      <a:lnTo>
                        <a:pt x="559" y="415"/>
                      </a:lnTo>
                      <a:lnTo>
                        <a:pt x="552" y="392"/>
                      </a:lnTo>
                      <a:lnTo>
                        <a:pt x="544" y="369"/>
                      </a:lnTo>
                      <a:lnTo>
                        <a:pt x="536" y="346"/>
                      </a:lnTo>
                      <a:lnTo>
                        <a:pt x="525" y="323"/>
                      </a:lnTo>
                      <a:lnTo>
                        <a:pt x="515" y="301"/>
                      </a:lnTo>
                      <a:lnTo>
                        <a:pt x="503" y="280"/>
                      </a:lnTo>
                      <a:lnTo>
                        <a:pt x="491" y="259"/>
                      </a:lnTo>
                      <a:lnTo>
                        <a:pt x="478" y="239"/>
                      </a:lnTo>
                      <a:lnTo>
                        <a:pt x="464" y="219"/>
                      </a:lnTo>
                      <a:lnTo>
                        <a:pt x="449" y="201"/>
                      </a:lnTo>
                      <a:lnTo>
                        <a:pt x="433" y="182"/>
                      </a:lnTo>
                      <a:lnTo>
                        <a:pt x="417" y="164"/>
                      </a:lnTo>
                      <a:lnTo>
                        <a:pt x="400" y="148"/>
                      </a:lnTo>
                      <a:lnTo>
                        <a:pt x="382" y="132"/>
                      </a:lnTo>
                      <a:lnTo>
                        <a:pt x="364" y="115"/>
                      </a:lnTo>
                      <a:lnTo>
                        <a:pt x="344" y="101"/>
                      </a:lnTo>
                      <a:lnTo>
                        <a:pt x="325" y="87"/>
                      </a:lnTo>
                      <a:lnTo>
                        <a:pt x="305" y="74"/>
                      </a:lnTo>
                      <a:lnTo>
                        <a:pt x="285" y="61"/>
                      </a:lnTo>
                      <a:lnTo>
                        <a:pt x="263" y="50"/>
                      </a:lnTo>
                      <a:lnTo>
                        <a:pt x="241" y="40"/>
                      </a:lnTo>
                      <a:lnTo>
                        <a:pt x="219" y="29"/>
                      </a:lnTo>
                      <a:lnTo>
                        <a:pt x="196" y="21"/>
                      </a:lnTo>
                      <a:lnTo>
                        <a:pt x="173" y="13"/>
                      </a:lnTo>
                      <a:lnTo>
                        <a:pt x="149" y="6"/>
                      </a:lnTo>
                      <a:lnTo>
                        <a:pt x="1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9" name="Freeform 253"/>
                <p:cNvSpPr>
                  <a:spLocks/>
                </p:cNvSpPr>
                <p:nvPr/>
              </p:nvSpPr>
              <p:spPr bwMode="auto">
                <a:xfrm>
                  <a:off x="4464050" y="3286125"/>
                  <a:ext cx="161925" cy="161925"/>
                </a:xfrm>
                <a:custGeom>
                  <a:avLst/>
                  <a:gdLst>
                    <a:gd name="T0" fmla="*/ 340 w 716"/>
                    <a:gd name="T1" fmla="*/ 0 h 716"/>
                    <a:gd name="T2" fmla="*/ 285 w 716"/>
                    <a:gd name="T3" fmla="*/ 7 h 716"/>
                    <a:gd name="T4" fmla="*/ 235 w 716"/>
                    <a:gd name="T5" fmla="*/ 22 h 716"/>
                    <a:gd name="T6" fmla="*/ 188 w 716"/>
                    <a:gd name="T7" fmla="*/ 43 h 716"/>
                    <a:gd name="T8" fmla="*/ 144 w 716"/>
                    <a:gd name="T9" fmla="*/ 72 h 716"/>
                    <a:gd name="T10" fmla="*/ 105 w 716"/>
                    <a:gd name="T11" fmla="*/ 105 h 716"/>
                    <a:gd name="T12" fmla="*/ 71 w 716"/>
                    <a:gd name="T13" fmla="*/ 144 h 716"/>
                    <a:gd name="T14" fmla="*/ 43 w 716"/>
                    <a:gd name="T15" fmla="*/ 188 h 716"/>
                    <a:gd name="T16" fmla="*/ 22 w 716"/>
                    <a:gd name="T17" fmla="*/ 235 h 716"/>
                    <a:gd name="T18" fmla="*/ 7 w 716"/>
                    <a:gd name="T19" fmla="*/ 286 h 716"/>
                    <a:gd name="T20" fmla="*/ 0 w 716"/>
                    <a:gd name="T21" fmla="*/ 340 h 716"/>
                    <a:gd name="T22" fmla="*/ 0 w 716"/>
                    <a:gd name="T23" fmla="*/ 377 h 716"/>
                    <a:gd name="T24" fmla="*/ 7 w 716"/>
                    <a:gd name="T25" fmla="*/ 431 h 716"/>
                    <a:gd name="T26" fmla="*/ 22 w 716"/>
                    <a:gd name="T27" fmla="*/ 481 h 716"/>
                    <a:gd name="T28" fmla="*/ 43 w 716"/>
                    <a:gd name="T29" fmla="*/ 529 h 716"/>
                    <a:gd name="T30" fmla="*/ 71 w 716"/>
                    <a:gd name="T31" fmla="*/ 572 h 716"/>
                    <a:gd name="T32" fmla="*/ 105 w 716"/>
                    <a:gd name="T33" fmla="*/ 612 h 716"/>
                    <a:gd name="T34" fmla="*/ 144 w 716"/>
                    <a:gd name="T35" fmla="*/ 645 h 716"/>
                    <a:gd name="T36" fmla="*/ 188 w 716"/>
                    <a:gd name="T37" fmla="*/ 673 h 716"/>
                    <a:gd name="T38" fmla="*/ 235 w 716"/>
                    <a:gd name="T39" fmla="*/ 694 h 716"/>
                    <a:gd name="T40" fmla="*/ 285 w 716"/>
                    <a:gd name="T41" fmla="*/ 709 h 716"/>
                    <a:gd name="T42" fmla="*/ 340 w 716"/>
                    <a:gd name="T43" fmla="*/ 716 h 716"/>
                    <a:gd name="T44" fmla="*/ 376 w 716"/>
                    <a:gd name="T45" fmla="*/ 716 h 716"/>
                    <a:gd name="T46" fmla="*/ 431 w 716"/>
                    <a:gd name="T47" fmla="*/ 709 h 716"/>
                    <a:gd name="T48" fmla="*/ 481 w 716"/>
                    <a:gd name="T49" fmla="*/ 694 h 716"/>
                    <a:gd name="T50" fmla="*/ 528 w 716"/>
                    <a:gd name="T51" fmla="*/ 673 h 716"/>
                    <a:gd name="T52" fmla="*/ 572 w 716"/>
                    <a:gd name="T53" fmla="*/ 645 h 716"/>
                    <a:gd name="T54" fmla="*/ 611 w 716"/>
                    <a:gd name="T55" fmla="*/ 612 h 716"/>
                    <a:gd name="T56" fmla="*/ 645 w 716"/>
                    <a:gd name="T57" fmla="*/ 572 h 716"/>
                    <a:gd name="T58" fmla="*/ 673 w 716"/>
                    <a:gd name="T59" fmla="*/ 529 h 716"/>
                    <a:gd name="T60" fmla="*/ 694 w 716"/>
                    <a:gd name="T61" fmla="*/ 481 h 716"/>
                    <a:gd name="T62" fmla="*/ 709 w 716"/>
                    <a:gd name="T63" fmla="*/ 431 h 716"/>
                    <a:gd name="T64" fmla="*/ 716 w 716"/>
                    <a:gd name="T65" fmla="*/ 377 h 716"/>
                    <a:gd name="T66" fmla="*/ 716 w 716"/>
                    <a:gd name="T67" fmla="*/ 340 h 716"/>
                    <a:gd name="T68" fmla="*/ 709 w 716"/>
                    <a:gd name="T69" fmla="*/ 286 h 716"/>
                    <a:gd name="T70" fmla="*/ 694 w 716"/>
                    <a:gd name="T71" fmla="*/ 235 h 716"/>
                    <a:gd name="T72" fmla="*/ 673 w 716"/>
                    <a:gd name="T73" fmla="*/ 188 h 716"/>
                    <a:gd name="T74" fmla="*/ 645 w 716"/>
                    <a:gd name="T75" fmla="*/ 144 h 716"/>
                    <a:gd name="T76" fmla="*/ 611 w 716"/>
                    <a:gd name="T77" fmla="*/ 105 h 716"/>
                    <a:gd name="T78" fmla="*/ 572 w 716"/>
                    <a:gd name="T79" fmla="*/ 72 h 716"/>
                    <a:gd name="T80" fmla="*/ 528 w 716"/>
                    <a:gd name="T81" fmla="*/ 43 h 716"/>
                    <a:gd name="T82" fmla="*/ 481 w 716"/>
                    <a:gd name="T83" fmla="*/ 22 h 716"/>
                    <a:gd name="T84" fmla="*/ 431 w 716"/>
                    <a:gd name="T85" fmla="*/ 7 h 716"/>
                    <a:gd name="T86" fmla="*/ 376 w 716"/>
                    <a:gd name="T87" fmla="*/ 0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16" h="716">
                      <a:moveTo>
                        <a:pt x="358" y="0"/>
                      </a:moveTo>
                      <a:lnTo>
                        <a:pt x="358" y="0"/>
                      </a:lnTo>
                      <a:lnTo>
                        <a:pt x="340" y="0"/>
                      </a:lnTo>
                      <a:lnTo>
                        <a:pt x="321" y="1"/>
                      </a:lnTo>
                      <a:lnTo>
                        <a:pt x="304" y="4"/>
                      </a:lnTo>
                      <a:lnTo>
                        <a:pt x="285" y="7"/>
                      </a:lnTo>
                      <a:lnTo>
                        <a:pt x="268" y="12"/>
                      </a:lnTo>
                      <a:lnTo>
                        <a:pt x="252" y="16"/>
                      </a:lnTo>
                      <a:lnTo>
                        <a:pt x="235" y="22"/>
                      </a:lnTo>
                      <a:lnTo>
                        <a:pt x="219" y="28"/>
                      </a:lnTo>
                      <a:lnTo>
                        <a:pt x="203" y="35"/>
                      </a:lnTo>
                      <a:lnTo>
                        <a:pt x="188" y="43"/>
                      </a:lnTo>
                      <a:lnTo>
                        <a:pt x="173" y="52"/>
                      </a:lnTo>
                      <a:lnTo>
                        <a:pt x="158" y="61"/>
                      </a:lnTo>
                      <a:lnTo>
                        <a:pt x="144" y="72"/>
                      </a:lnTo>
                      <a:lnTo>
                        <a:pt x="130" y="82"/>
                      </a:lnTo>
                      <a:lnTo>
                        <a:pt x="117" y="93"/>
                      </a:lnTo>
                      <a:lnTo>
                        <a:pt x="105" y="105"/>
                      </a:lnTo>
                      <a:lnTo>
                        <a:pt x="93" y="118"/>
                      </a:lnTo>
                      <a:lnTo>
                        <a:pt x="82" y="130"/>
                      </a:lnTo>
                      <a:lnTo>
                        <a:pt x="71" y="144"/>
                      </a:lnTo>
                      <a:lnTo>
                        <a:pt x="61" y="158"/>
                      </a:lnTo>
                      <a:lnTo>
                        <a:pt x="52" y="173"/>
                      </a:lnTo>
                      <a:lnTo>
                        <a:pt x="43" y="188"/>
                      </a:lnTo>
                      <a:lnTo>
                        <a:pt x="36" y="203"/>
                      </a:lnTo>
                      <a:lnTo>
                        <a:pt x="28" y="219"/>
                      </a:lnTo>
                      <a:lnTo>
                        <a:pt x="22" y="235"/>
                      </a:lnTo>
                      <a:lnTo>
                        <a:pt x="16" y="251"/>
                      </a:lnTo>
                      <a:lnTo>
                        <a:pt x="11" y="268"/>
                      </a:lnTo>
                      <a:lnTo>
                        <a:pt x="7" y="286"/>
                      </a:lnTo>
                      <a:lnTo>
                        <a:pt x="5" y="304"/>
                      </a:lnTo>
                      <a:lnTo>
                        <a:pt x="2" y="321"/>
                      </a:lnTo>
                      <a:lnTo>
                        <a:pt x="0" y="340"/>
                      </a:lnTo>
                      <a:lnTo>
                        <a:pt x="0" y="358"/>
                      </a:lnTo>
                      <a:lnTo>
                        <a:pt x="0" y="358"/>
                      </a:lnTo>
                      <a:lnTo>
                        <a:pt x="0" y="377"/>
                      </a:lnTo>
                      <a:lnTo>
                        <a:pt x="2" y="395"/>
                      </a:lnTo>
                      <a:lnTo>
                        <a:pt x="5" y="412"/>
                      </a:lnTo>
                      <a:lnTo>
                        <a:pt x="7" y="431"/>
                      </a:lnTo>
                      <a:lnTo>
                        <a:pt x="11" y="448"/>
                      </a:lnTo>
                      <a:lnTo>
                        <a:pt x="16" y="464"/>
                      </a:lnTo>
                      <a:lnTo>
                        <a:pt x="22" y="481"/>
                      </a:lnTo>
                      <a:lnTo>
                        <a:pt x="28" y="498"/>
                      </a:lnTo>
                      <a:lnTo>
                        <a:pt x="36" y="514"/>
                      </a:lnTo>
                      <a:lnTo>
                        <a:pt x="43" y="529"/>
                      </a:lnTo>
                      <a:lnTo>
                        <a:pt x="52" y="544"/>
                      </a:lnTo>
                      <a:lnTo>
                        <a:pt x="61" y="559"/>
                      </a:lnTo>
                      <a:lnTo>
                        <a:pt x="71" y="572"/>
                      </a:lnTo>
                      <a:lnTo>
                        <a:pt x="82" y="586"/>
                      </a:lnTo>
                      <a:lnTo>
                        <a:pt x="93" y="599"/>
                      </a:lnTo>
                      <a:lnTo>
                        <a:pt x="105" y="612"/>
                      </a:lnTo>
                      <a:lnTo>
                        <a:pt x="117" y="623"/>
                      </a:lnTo>
                      <a:lnTo>
                        <a:pt x="130" y="635"/>
                      </a:lnTo>
                      <a:lnTo>
                        <a:pt x="144" y="645"/>
                      </a:lnTo>
                      <a:lnTo>
                        <a:pt x="158" y="655"/>
                      </a:lnTo>
                      <a:lnTo>
                        <a:pt x="173" y="664"/>
                      </a:lnTo>
                      <a:lnTo>
                        <a:pt x="188" y="673"/>
                      </a:lnTo>
                      <a:lnTo>
                        <a:pt x="203" y="681"/>
                      </a:lnTo>
                      <a:lnTo>
                        <a:pt x="219" y="689"/>
                      </a:lnTo>
                      <a:lnTo>
                        <a:pt x="235" y="694"/>
                      </a:lnTo>
                      <a:lnTo>
                        <a:pt x="252" y="700"/>
                      </a:lnTo>
                      <a:lnTo>
                        <a:pt x="268" y="705"/>
                      </a:lnTo>
                      <a:lnTo>
                        <a:pt x="285" y="709"/>
                      </a:lnTo>
                      <a:lnTo>
                        <a:pt x="304" y="712"/>
                      </a:lnTo>
                      <a:lnTo>
                        <a:pt x="321" y="714"/>
                      </a:lnTo>
                      <a:lnTo>
                        <a:pt x="340" y="716"/>
                      </a:lnTo>
                      <a:lnTo>
                        <a:pt x="358" y="716"/>
                      </a:lnTo>
                      <a:lnTo>
                        <a:pt x="358" y="716"/>
                      </a:lnTo>
                      <a:lnTo>
                        <a:pt x="376" y="716"/>
                      </a:lnTo>
                      <a:lnTo>
                        <a:pt x="395" y="714"/>
                      </a:lnTo>
                      <a:lnTo>
                        <a:pt x="412" y="712"/>
                      </a:lnTo>
                      <a:lnTo>
                        <a:pt x="431" y="709"/>
                      </a:lnTo>
                      <a:lnTo>
                        <a:pt x="448" y="705"/>
                      </a:lnTo>
                      <a:lnTo>
                        <a:pt x="465" y="700"/>
                      </a:lnTo>
                      <a:lnTo>
                        <a:pt x="481" y="694"/>
                      </a:lnTo>
                      <a:lnTo>
                        <a:pt x="497" y="689"/>
                      </a:lnTo>
                      <a:lnTo>
                        <a:pt x="513" y="681"/>
                      </a:lnTo>
                      <a:lnTo>
                        <a:pt x="528" y="673"/>
                      </a:lnTo>
                      <a:lnTo>
                        <a:pt x="543" y="664"/>
                      </a:lnTo>
                      <a:lnTo>
                        <a:pt x="558" y="655"/>
                      </a:lnTo>
                      <a:lnTo>
                        <a:pt x="572" y="645"/>
                      </a:lnTo>
                      <a:lnTo>
                        <a:pt x="586" y="635"/>
                      </a:lnTo>
                      <a:lnTo>
                        <a:pt x="599" y="623"/>
                      </a:lnTo>
                      <a:lnTo>
                        <a:pt x="611" y="612"/>
                      </a:lnTo>
                      <a:lnTo>
                        <a:pt x="623" y="599"/>
                      </a:lnTo>
                      <a:lnTo>
                        <a:pt x="634" y="586"/>
                      </a:lnTo>
                      <a:lnTo>
                        <a:pt x="645" y="572"/>
                      </a:lnTo>
                      <a:lnTo>
                        <a:pt x="655" y="559"/>
                      </a:lnTo>
                      <a:lnTo>
                        <a:pt x="664" y="544"/>
                      </a:lnTo>
                      <a:lnTo>
                        <a:pt x="673" y="529"/>
                      </a:lnTo>
                      <a:lnTo>
                        <a:pt x="680" y="514"/>
                      </a:lnTo>
                      <a:lnTo>
                        <a:pt x="688" y="498"/>
                      </a:lnTo>
                      <a:lnTo>
                        <a:pt x="694" y="481"/>
                      </a:lnTo>
                      <a:lnTo>
                        <a:pt x="700" y="464"/>
                      </a:lnTo>
                      <a:lnTo>
                        <a:pt x="705" y="448"/>
                      </a:lnTo>
                      <a:lnTo>
                        <a:pt x="709" y="431"/>
                      </a:lnTo>
                      <a:lnTo>
                        <a:pt x="713" y="412"/>
                      </a:lnTo>
                      <a:lnTo>
                        <a:pt x="714" y="395"/>
                      </a:lnTo>
                      <a:lnTo>
                        <a:pt x="716" y="377"/>
                      </a:lnTo>
                      <a:lnTo>
                        <a:pt x="716" y="358"/>
                      </a:lnTo>
                      <a:lnTo>
                        <a:pt x="716" y="358"/>
                      </a:lnTo>
                      <a:lnTo>
                        <a:pt x="716" y="340"/>
                      </a:lnTo>
                      <a:lnTo>
                        <a:pt x="714" y="321"/>
                      </a:lnTo>
                      <a:lnTo>
                        <a:pt x="713" y="304"/>
                      </a:lnTo>
                      <a:lnTo>
                        <a:pt x="709" y="286"/>
                      </a:lnTo>
                      <a:lnTo>
                        <a:pt x="705" y="268"/>
                      </a:lnTo>
                      <a:lnTo>
                        <a:pt x="700" y="251"/>
                      </a:lnTo>
                      <a:lnTo>
                        <a:pt x="694" y="235"/>
                      </a:lnTo>
                      <a:lnTo>
                        <a:pt x="688" y="219"/>
                      </a:lnTo>
                      <a:lnTo>
                        <a:pt x="680" y="203"/>
                      </a:lnTo>
                      <a:lnTo>
                        <a:pt x="673" y="188"/>
                      </a:lnTo>
                      <a:lnTo>
                        <a:pt x="664" y="173"/>
                      </a:lnTo>
                      <a:lnTo>
                        <a:pt x="655" y="158"/>
                      </a:lnTo>
                      <a:lnTo>
                        <a:pt x="645" y="144"/>
                      </a:lnTo>
                      <a:lnTo>
                        <a:pt x="634" y="130"/>
                      </a:lnTo>
                      <a:lnTo>
                        <a:pt x="623" y="118"/>
                      </a:lnTo>
                      <a:lnTo>
                        <a:pt x="611" y="105"/>
                      </a:lnTo>
                      <a:lnTo>
                        <a:pt x="599" y="93"/>
                      </a:lnTo>
                      <a:lnTo>
                        <a:pt x="586" y="82"/>
                      </a:lnTo>
                      <a:lnTo>
                        <a:pt x="572" y="72"/>
                      </a:lnTo>
                      <a:lnTo>
                        <a:pt x="558" y="61"/>
                      </a:lnTo>
                      <a:lnTo>
                        <a:pt x="543" y="52"/>
                      </a:lnTo>
                      <a:lnTo>
                        <a:pt x="528" y="43"/>
                      </a:lnTo>
                      <a:lnTo>
                        <a:pt x="513" y="35"/>
                      </a:lnTo>
                      <a:lnTo>
                        <a:pt x="497" y="28"/>
                      </a:lnTo>
                      <a:lnTo>
                        <a:pt x="481" y="22"/>
                      </a:lnTo>
                      <a:lnTo>
                        <a:pt x="465" y="16"/>
                      </a:lnTo>
                      <a:lnTo>
                        <a:pt x="448" y="12"/>
                      </a:lnTo>
                      <a:lnTo>
                        <a:pt x="431" y="7"/>
                      </a:lnTo>
                      <a:lnTo>
                        <a:pt x="412" y="4"/>
                      </a:lnTo>
                      <a:lnTo>
                        <a:pt x="395" y="1"/>
                      </a:lnTo>
                      <a:lnTo>
                        <a:pt x="376" y="0"/>
                      </a:lnTo>
                      <a:lnTo>
                        <a:pt x="358" y="0"/>
                      </a:lnTo>
                      <a:close/>
                    </a:path>
                  </a:pathLst>
                </a:custGeom>
                <a:solidFill>
                  <a:srgbClr val="B12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0" name="Freeform 254"/>
                <p:cNvSpPr>
                  <a:spLocks/>
                </p:cNvSpPr>
                <p:nvPr/>
              </p:nvSpPr>
              <p:spPr bwMode="auto">
                <a:xfrm>
                  <a:off x="4464050" y="3286125"/>
                  <a:ext cx="161925" cy="161925"/>
                </a:xfrm>
                <a:custGeom>
                  <a:avLst/>
                  <a:gdLst>
                    <a:gd name="T0" fmla="*/ 340 w 716"/>
                    <a:gd name="T1" fmla="*/ 0 h 716"/>
                    <a:gd name="T2" fmla="*/ 285 w 716"/>
                    <a:gd name="T3" fmla="*/ 7 h 716"/>
                    <a:gd name="T4" fmla="*/ 235 w 716"/>
                    <a:gd name="T5" fmla="*/ 22 h 716"/>
                    <a:gd name="T6" fmla="*/ 188 w 716"/>
                    <a:gd name="T7" fmla="*/ 43 h 716"/>
                    <a:gd name="T8" fmla="*/ 144 w 716"/>
                    <a:gd name="T9" fmla="*/ 72 h 716"/>
                    <a:gd name="T10" fmla="*/ 105 w 716"/>
                    <a:gd name="T11" fmla="*/ 105 h 716"/>
                    <a:gd name="T12" fmla="*/ 71 w 716"/>
                    <a:gd name="T13" fmla="*/ 144 h 716"/>
                    <a:gd name="T14" fmla="*/ 43 w 716"/>
                    <a:gd name="T15" fmla="*/ 188 h 716"/>
                    <a:gd name="T16" fmla="*/ 22 w 716"/>
                    <a:gd name="T17" fmla="*/ 235 h 716"/>
                    <a:gd name="T18" fmla="*/ 7 w 716"/>
                    <a:gd name="T19" fmla="*/ 286 h 716"/>
                    <a:gd name="T20" fmla="*/ 0 w 716"/>
                    <a:gd name="T21" fmla="*/ 340 h 716"/>
                    <a:gd name="T22" fmla="*/ 0 w 716"/>
                    <a:gd name="T23" fmla="*/ 377 h 716"/>
                    <a:gd name="T24" fmla="*/ 7 w 716"/>
                    <a:gd name="T25" fmla="*/ 431 h 716"/>
                    <a:gd name="T26" fmla="*/ 22 w 716"/>
                    <a:gd name="T27" fmla="*/ 481 h 716"/>
                    <a:gd name="T28" fmla="*/ 43 w 716"/>
                    <a:gd name="T29" fmla="*/ 529 h 716"/>
                    <a:gd name="T30" fmla="*/ 71 w 716"/>
                    <a:gd name="T31" fmla="*/ 572 h 716"/>
                    <a:gd name="T32" fmla="*/ 105 w 716"/>
                    <a:gd name="T33" fmla="*/ 612 h 716"/>
                    <a:gd name="T34" fmla="*/ 144 w 716"/>
                    <a:gd name="T35" fmla="*/ 645 h 716"/>
                    <a:gd name="T36" fmla="*/ 188 w 716"/>
                    <a:gd name="T37" fmla="*/ 673 h 716"/>
                    <a:gd name="T38" fmla="*/ 235 w 716"/>
                    <a:gd name="T39" fmla="*/ 694 h 716"/>
                    <a:gd name="T40" fmla="*/ 285 w 716"/>
                    <a:gd name="T41" fmla="*/ 709 h 716"/>
                    <a:gd name="T42" fmla="*/ 340 w 716"/>
                    <a:gd name="T43" fmla="*/ 716 h 716"/>
                    <a:gd name="T44" fmla="*/ 376 w 716"/>
                    <a:gd name="T45" fmla="*/ 716 h 716"/>
                    <a:gd name="T46" fmla="*/ 431 w 716"/>
                    <a:gd name="T47" fmla="*/ 709 h 716"/>
                    <a:gd name="T48" fmla="*/ 481 w 716"/>
                    <a:gd name="T49" fmla="*/ 694 h 716"/>
                    <a:gd name="T50" fmla="*/ 528 w 716"/>
                    <a:gd name="T51" fmla="*/ 673 h 716"/>
                    <a:gd name="T52" fmla="*/ 572 w 716"/>
                    <a:gd name="T53" fmla="*/ 645 h 716"/>
                    <a:gd name="T54" fmla="*/ 611 w 716"/>
                    <a:gd name="T55" fmla="*/ 612 h 716"/>
                    <a:gd name="T56" fmla="*/ 645 w 716"/>
                    <a:gd name="T57" fmla="*/ 572 h 716"/>
                    <a:gd name="T58" fmla="*/ 673 w 716"/>
                    <a:gd name="T59" fmla="*/ 529 h 716"/>
                    <a:gd name="T60" fmla="*/ 694 w 716"/>
                    <a:gd name="T61" fmla="*/ 481 h 716"/>
                    <a:gd name="T62" fmla="*/ 709 w 716"/>
                    <a:gd name="T63" fmla="*/ 431 h 716"/>
                    <a:gd name="T64" fmla="*/ 716 w 716"/>
                    <a:gd name="T65" fmla="*/ 377 h 716"/>
                    <a:gd name="T66" fmla="*/ 716 w 716"/>
                    <a:gd name="T67" fmla="*/ 340 h 716"/>
                    <a:gd name="T68" fmla="*/ 709 w 716"/>
                    <a:gd name="T69" fmla="*/ 286 h 716"/>
                    <a:gd name="T70" fmla="*/ 694 w 716"/>
                    <a:gd name="T71" fmla="*/ 235 h 716"/>
                    <a:gd name="T72" fmla="*/ 673 w 716"/>
                    <a:gd name="T73" fmla="*/ 188 h 716"/>
                    <a:gd name="T74" fmla="*/ 645 w 716"/>
                    <a:gd name="T75" fmla="*/ 144 h 716"/>
                    <a:gd name="T76" fmla="*/ 611 w 716"/>
                    <a:gd name="T77" fmla="*/ 105 h 716"/>
                    <a:gd name="T78" fmla="*/ 572 w 716"/>
                    <a:gd name="T79" fmla="*/ 72 h 716"/>
                    <a:gd name="T80" fmla="*/ 528 w 716"/>
                    <a:gd name="T81" fmla="*/ 43 h 716"/>
                    <a:gd name="T82" fmla="*/ 481 w 716"/>
                    <a:gd name="T83" fmla="*/ 22 h 716"/>
                    <a:gd name="T84" fmla="*/ 431 w 716"/>
                    <a:gd name="T85" fmla="*/ 7 h 716"/>
                    <a:gd name="T86" fmla="*/ 376 w 716"/>
                    <a:gd name="T87" fmla="*/ 0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16" h="716">
                      <a:moveTo>
                        <a:pt x="358" y="0"/>
                      </a:moveTo>
                      <a:lnTo>
                        <a:pt x="358" y="0"/>
                      </a:lnTo>
                      <a:lnTo>
                        <a:pt x="340" y="0"/>
                      </a:lnTo>
                      <a:lnTo>
                        <a:pt x="321" y="1"/>
                      </a:lnTo>
                      <a:lnTo>
                        <a:pt x="304" y="4"/>
                      </a:lnTo>
                      <a:lnTo>
                        <a:pt x="285" y="7"/>
                      </a:lnTo>
                      <a:lnTo>
                        <a:pt x="268" y="12"/>
                      </a:lnTo>
                      <a:lnTo>
                        <a:pt x="252" y="16"/>
                      </a:lnTo>
                      <a:lnTo>
                        <a:pt x="235" y="22"/>
                      </a:lnTo>
                      <a:lnTo>
                        <a:pt x="219" y="28"/>
                      </a:lnTo>
                      <a:lnTo>
                        <a:pt x="203" y="35"/>
                      </a:lnTo>
                      <a:lnTo>
                        <a:pt x="188" y="43"/>
                      </a:lnTo>
                      <a:lnTo>
                        <a:pt x="173" y="52"/>
                      </a:lnTo>
                      <a:lnTo>
                        <a:pt x="158" y="61"/>
                      </a:lnTo>
                      <a:lnTo>
                        <a:pt x="144" y="72"/>
                      </a:lnTo>
                      <a:lnTo>
                        <a:pt x="130" y="82"/>
                      </a:lnTo>
                      <a:lnTo>
                        <a:pt x="117" y="93"/>
                      </a:lnTo>
                      <a:lnTo>
                        <a:pt x="105" y="105"/>
                      </a:lnTo>
                      <a:lnTo>
                        <a:pt x="93" y="118"/>
                      </a:lnTo>
                      <a:lnTo>
                        <a:pt x="82" y="130"/>
                      </a:lnTo>
                      <a:lnTo>
                        <a:pt x="71" y="144"/>
                      </a:lnTo>
                      <a:lnTo>
                        <a:pt x="61" y="158"/>
                      </a:lnTo>
                      <a:lnTo>
                        <a:pt x="52" y="173"/>
                      </a:lnTo>
                      <a:lnTo>
                        <a:pt x="43" y="188"/>
                      </a:lnTo>
                      <a:lnTo>
                        <a:pt x="36" y="203"/>
                      </a:lnTo>
                      <a:lnTo>
                        <a:pt x="28" y="219"/>
                      </a:lnTo>
                      <a:lnTo>
                        <a:pt x="22" y="235"/>
                      </a:lnTo>
                      <a:lnTo>
                        <a:pt x="16" y="251"/>
                      </a:lnTo>
                      <a:lnTo>
                        <a:pt x="11" y="268"/>
                      </a:lnTo>
                      <a:lnTo>
                        <a:pt x="7" y="286"/>
                      </a:lnTo>
                      <a:lnTo>
                        <a:pt x="5" y="304"/>
                      </a:lnTo>
                      <a:lnTo>
                        <a:pt x="2" y="321"/>
                      </a:lnTo>
                      <a:lnTo>
                        <a:pt x="0" y="340"/>
                      </a:lnTo>
                      <a:lnTo>
                        <a:pt x="0" y="358"/>
                      </a:lnTo>
                      <a:lnTo>
                        <a:pt x="0" y="358"/>
                      </a:lnTo>
                      <a:lnTo>
                        <a:pt x="0" y="377"/>
                      </a:lnTo>
                      <a:lnTo>
                        <a:pt x="2" y="395"/>
                      </a:lnTo>
                      <a:lnTo>
                        <a:pt x="5" y="412"/>
                      </a:lnTo>
                      <a:lnTo>
                        <a:pt x="7" y="431"/>
                      </a:lnTo>
                      <a:lnTo>
                        <a:pt x="11" y="448"/>
                      </a:lnTo>
                      <a:lnTo>
                        <a:pt x="16" y="464"/>
                      </a:lnTo>
                      <a:lnTo>
                        <a:pt x="22" y="481"/>
                      </a:lnTo>
                      <a:lnTo>
                        <a:pt x="28" y="498"/>
                      </a:lnTo>
                      <a:lnTo>
                        <a:pt x="36" y="514"/>
                      </a:lnTo>
                      <a:lnTo>
                        <a:pt x="43" y="529"/>
                      </a:lnTo>
                      <a:lnTo>
                        <a:pt x="52" y="544"/>
                      </a:lnTo>
                      <a:lnTo>
                        <a:pt x="61" y="559"/>
                      </a:lnTo>
                      <a:lnTo>
                        <a:pt x="71" y="572"/>
                      </a:lnTo>
                      <a:lnTo>
                        <a:pt x="82" y="586"/>
                      </a:lnTo>
                      <a:lnTo>
                        <a:pt x="93" y="599"/>
                      </a:lnTo>
                      <a:lnTo>
                        <a:pt x="105" y="612"/>
                      </a:lnTo>
                      <a:lnTo>
                        <a:pt x="117" y="623"/>
                      </a:lnTo>
                      <a:lnTo>
                        <a:pt x="130" y="635"/>
                      </a:lnTo>
                      <a:lnTo>
                        <a:pt x="144" y="645"/>
                      </a:lnTo>
                      <a:lnTo>
                        <a:pt x="158" y="655"/>
                      </a:lnTo>
                      <a:lnTo>
                        <a:pt x="173" y="664"/>
                      </a:lnTo>
                      <a:lnTo>
                        <a:pt x="188" y="673"/>
                      </a:lnTo>
                      <a:lnTo>
                        <a:pt x="203" y="681"/>
                      </a:lnTo>
                      <a:lnTo>
                        <a:pt x="219" y="689"/>
                      </a:lnTo>
                      <a:lnTo>
                        <a:pt x="235" y="694"/>
                      </a:lnTo>
                      <a:lnTo>
                        <a:pt x="252" y="700"/>
                      </a:lnTo>
                      <a:lnTo>
                        <a:pt x="268" y="705"/>
                      </a:lnTo>
                      <a:lnTo>
                        <a:pt x="285" y="709"/>
                      </a:lnTo>
                      <a:lnTo>
                        <a:pt x="304" y="712"/>
                      </a:lnTo>
                      <a:lnTo>
                        <a:pt x="321" y="714"/>
                      </a:lnTo>
                      <a:lnTo>
                        <a:pt x="340" y="716"/>
                      </a:lnTo>
                      <a:lnTo>
                        <a:pt x="358" y="716"/>
                      </a:lnTo>
                      <a:lnTo>
                        <a:pt x="358" y="716"/>
                      </a:lnTo>
                      <a:lnTo>
                        <a:pt x="376" y="716"/>
                      </a:lnTo>
                      <a:lnTo>
                        <a:pt x="395" y="714"/>
                      </a:lnTo>
                      <a:lnTo>
                        <a:pt x="412" y="712"/>
                      </a:lnTo>
                      <a:lnTo>
                        <a:pt x="431" y="709"/>
                      </a:lnTo>
                      <a:lnTo>
                        <a:pt x="448" y="705"/>
                      </a:lnTo>
                      <a:lnTo>
                        <a:pt x="465" y="700"/>
                      </a:lnTo>
                      <a:lnTo>
                        <a:pt x="481" y="694"/>
                      </a:lnTo>
                      <a:lnTo>
                        <a:pt x="497" y="689"/>
                      </a:lnTo>
                      <a:lnTo>
                        <a:pt x="513" y="681"/>
                      </a:lnTo>
                      <a:lnTo>
                        <a:pt x="528" y="673"/>
                      </a:lnTo>
                      <a:lnTo>
                        <a:pt x="543" y="664"/>
                      </a:lnTo>
                      <a:lnTo>
                        <a:pt x="558" y="655"/>
                      </a:lnTo>
                      <a:lnTo>
                        <a:pt x="572" y="645"/>
                      </a:lnTo>
                      <a:lnTo>
                        <a:pt x="586" y="635"/>
                      </a:lnTo>
                      <a:lnTo>
                        <a:pt x="599" y="623"/>
                      </a:lnTo>
                      <a:lnTo>
                        <a:pt x="611" y="612"/>
                      </a:lnTo>
                      <a:lnTo>
                        <a:pt x="623" y="599"/>
                      </a:lnTo>
                      <a:lnTo>
                        <a:pt x="634" y="586"/>
                      </a:lnTo>
                      <a:lnTo>
                        <a:pt x="645" y="572"/>
                      </a:lnTo>
                      <a:lnTo>
                        <a:pt x="655" y="559"/>
                      </a:lnTo>
                      <a:lnTo>
                        <a:pt x="664" y="544"/>
                      </a:lnTo>
                      <a:lnTo>
                        <a:pt x="673" y="529"/>
                      </a:lnTo>
                      <a:lnTo>
                        <a:pt x="680" y="514"/>
                      </a:lnTo>
                      <a:lnTo>
                        <a:pt x="688" y="498"/>
                      </a:lnTo>
                      <a:lnTo>
                        <a:pt x="694" y="481"/>
                      </a:lnTo>
                      <a:lnTo>
                        <a:pt x="700" y="464"/>
                      </a:lnTo>
                      <a:lnTo>
                        <a:pt x="705" y="448"/>
                      </a:lnTo>
                      <a:lnTo>
                        <a:pt x="709" y="431"/>
                      </a:lnTo>
                      <a:lnTo>
                        <a:pt x="713" y="412"/>
                      </a:lnTo>
                      <a:lnTo>
                        <a:pt x="714" y="395"/>
                      </a:lnTo>
                      <a:lnTo>
                        <a:pt x="716" y="377"/>
                      </a:lnTo>
                      <a:lnTo>
                        <a:pt x="716" y="358"/>
                      </a:lnTo>
                      <a:lnTo>
                        <a:pt x="716" y="358"/>
                      </a:lnTo>
                      <a:lnTo>
                        <a:pt x="716" y="340"/>
                      </a:lnTo>
                      <a:lnTo>
                        <a:pt x="714" y="321"/>
                      </a:lnTo>
                      <a:lnTo>
                        <a:pt x="713" y="304"/>
                      </a:lnTo>
                      <a:lnTo>
                        <a:pt x="709" y="286"/>
                      </a:lnTo>
                      <a:lnTo>
                        <a:pt x="705" y="268"/>
                      </a:lnTo>
                      <a:lnTo>
                        <a:pt x="700" y="251"/>
                      </a:lnTo>
                      <a:lnTo>
                        <a:pt x="694" y="235"/>
                      </a:lnTo>
                      <a:lnTo>
                        <a:pt x="688" y="219"/>
                      </a:lnTo>
                      <a:lnTo>
                        <a:pt x="680" y="203"/>
                      </a:lnTo>
                      <a:lnTo>
                        <a:pt x="673" y="188"/>
                      </a:lnTo>
                      <a:lnTo>
                        <a:pt x="664" y="173"/>
                      </a:lnTo>
                      <a:lnTo>
                        <a:pt x="655" y="158"/>
                      </a:lnTo>
                      <a:lnTo>
                        <a:pt x="645" y="144"/>
                      </a:lnTo>
                      <a:lnTo>
                        <a:pt x="634" y="130"/>
                      </a:lnTo>
                      <a:lnTo>
                        <a:pt x="623" y="118"/>
                      </a:lnTo>
                      <a:lnTo>
                        <a:pt x="611" y="105"/>
                      </a:lnTo>
                      <a:lnTo>
                        <a:pt x="599" y="93"/>
                      </a:lnTo>
                      <a:lnTo>
                        <a:pt x="586" y="82"/>
                      </a:lnTo>
                      <a:lnTo>
                        <a:pt x="572" y="72"/>
                      </a:lnTo>
                      <a:lnTo>
                        <a:pt x="558" y="61"/>
                      </a:lnTo>
                      <a:lnTo>
                        <a:pt x="543" y="52"/>
                      </a:lnTo>
                      <a:lnTo>
                        <a:pt x="528" y="43"/>
                      </a:lnTo>
                      <a:lnTo>
                        <a:pt x="513" y="35"/>
                      </a:lnTo>
                      <a:lnTo>
                        <a:pt x="497" y="28"/>
                      </a:lnTo>
                      <a:lnTo>
                        <a:pt x="481" y="22"/>
                      </a:lnTo>
                      <a:lnTo>
                        <a:pt x="465" y="16"/>
                      </a:lnTo>
                      <a:lnTo>
                        <a:pt x="448" y="12"/>
                      </a:lnTo>
                      <a:lnTo>
                        <a:pt x="431" y="7"/>
                      </a:lnTo>
                      <a:lnTo>
                        <a:pt x="412" y="4"/>
                      </a:lnTo>
                      <a:lnTo>
                        <a:pt x="395" y="1"/>
                      </a:lnTo>
                      <a:lnTo>
                        <a:pt x="376" y="0"/>
                      </a:lnTo>
                      <a:lnTo>
                        <a:pt x="35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1" name="Freeform 255"/>
                <p:cNvSpPr>
                  <a:spLocks/>
                </p:cNvSpPr>
                <p:nvPr/>
              </p:nvSpPr>
              <p:spPr bwMode="auto">
                <a:xfrm>
                  <a:off x="4905375" y="3351213"/>
                  <a:ext cx="101600" cy="101600"/>
                </a:xfrm>
                <a:custGeom>
                  <a:avLst/>
                  <a:gdLst>
                    <a:gd name="T0" fmla="*/ 224 w 449"/>
                    <a:gd name="T1" fmla="*/ 0 h 449"/>
                    <a:gd name="T2" fmla="*/ 179 w 449"/>
                    <a:gd name="T3" fmla="*/ 5 h 449"/>
                    <a:gd name="T4" fmla="*/ 137 w 449"/>
                    <a:gd name="T5" fmla="*/ 19 h 449"/>
                    <a:gd name="T6" fmla="*/ 99 w 449"/>
                    <a:gd name="T7" fmla="*/ 39 h 449"/>
                    <a:gd name="T8" fmla="*/ 65 w 449"/>
                    <a:gd name="T9" fmla="*/ 66 h 449"/>
                    <a:gd name="T10" fmla="*/ 38 w 449"/>
                    <a:gd name="T11" fmla="*/ 99 h 449"/>
                    <a:gd name="T12" fmla="*/ 18 w 449"/>
                    <a:gd name="T13" fmla="*/ 137 h 449"/>
                    <a:gd name="T14" fmla="*/ 4 w 449"/>
                    <a:gd name="T15" fmla="*/ 180 h 449"/>
                    <a:gd name="T16" fmla="*/ 0 w 449"/>
                    <a:gd name="T17" fmla="*/ 225 h 449"/>
                    <a:gd name="T18" fmla="*/ 1 w 449"/>
                    <a:gd name="T19" fmla="*/ 248 h 449"/>
                    <a:gd name="T20" fmla="*/ 10 w 449"/>
                    <a:gd name="T21" fmla="*/ 291 h 449"/>
                    <a:gd name="T22" fmla="*/ 27 w 449"/>
                    <a:gd name="T23" fmla="*/ 332 h 449"/>
                    <a:gd name="T24" fmla="*/ 51 w 449"/>
                    <a:gd name="T25" fmla="*/ 367 h 449"/>
                    <a:gd name="T26" fmla="*/ 81 w 449"/>
                    <a:gd name="T27" fmla="*/ 397 h 449"/>
                    <a:gd name="T28" fmla="*/ 117 w 449"/>
                    <a:gd name="T29" fmla="*/ 422 h 449"/>
                    <a:gd name="T30" fmla="*/ 157 w 449"/>
                    <a:gd name="T31" fmla="*/ 439 h 449"/>
                    <a:gd name="T32" fmla="*/ 201 w 449"/>
                    <a:gd name="T33" fmla="*/ 448 h 449"/>
                    <a:gd name="T34" fmla="*/ 224 w 449"/>
                    <a:gd name="T35" fmla="*/ 449 h 449"/>
                    <a:gd name="T36" fmla="*/ 269 w 449"/>
                    <a:gd name="T37" fmla="*/ 445 h 449"/>
                    <a:gd name="T38" fmla="*/ 312 w 449"/>
                    <a:gd name="T39" fmla="*/ 432 h 449"/>
                    <a:gd name="T40" fmla="*/ 350 w 449"/>
                    <a:gd name="T41" fmla="*/ 411 h 449"/>
                    <a:gd name="T42" fmla="*/ 383 w 449"/>
                    <a:gd name="T43" fmla="*/ 384 h 449"/>
                    <a:gd name="T44" fmla="*/ 409 w 449"/>
                    <a:gd name="T45" fmla="*/ 350 h 449"/>
                    <a:gd name="T46" fmla="*/ 430 w 449"/>
                    <a:gd name="T47" fmla="*/ 312 h 449"/>
                    <a:gd name="T48" fmla="*/ 444 w 449"/>
                    <a:gd name="T49" fmla="*/ 270 h 449"/>
                    <a:gd name="T50" fmla="*/ 449 w 449"/>
                    <a:gd name="T51" fmla="*/ 225 h 449"/>
                    <a:gd name="T52" fmla="*/ 447 w 449"/>
                    <a:gd name="T53" fmla="*/ 202 h 449"/>
                    <a:gd name="T54" fmla="*/ 438 w 449"/>
                    <a:gd name="T55" fmla="*/ 158 h 449"/>
                    <a:gd name="T56" fmla="*/ 421 w 449"/>
                    <a:gd name="T57" fmla="*/ 118 h 449"/>
                    <a:gd name="T58" fmla="*/ 397 w 449"/>
                    <a:gd name="T59" fmla="*/ 82 h 449"/>
                    <a:gd name="T60" fmla="*/ 367 w 449"/>
                    <a:gd name="T61" fmla="*/ 52 h 449"/>
                    <a:gd name="T62" fmla="*/ 331 w 449"/>
                    <a:gd name="T63" fmla="*/ 28 h 449"/>
                    <a:gd name="T64" fmla="*/ 291 w 449"/>
                    <a:gd name="T65" fmla="*/ 10 h 449"/>
                    <a:gd name="T66" fmla="*/ 247 w 449"/>
                    <a:gd name="T67" fmla="*/ 1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9" h="449">
                      <a:moveTo>
                        <a:pt x="224" y="0"/>
                      </a:moveTo>
                      <a:lnTo>
                        <a:pt x="224" y="0"/>
                      </a:lnTo>
                      <a:lnTo>
                        <a:pt x="201" y="1"/>
                      </a:lnTo>
                      <a:lnTo>
                        <a:pt x="179" y="5"/>
                      </a:lnTo>
                      <a:lnTo>
                        <a:pt x="157" y="10"/>
                      </a:lnTo>
                      <a:lnTo>
                        <a:pt x="137" y="19"/>
                      </a:lnTo>
                      <a:lnTo>
                        <a:pt x="117" y="28"/>
                      </a:lnTo>
                      <a:lnTo>
                        <a:pt x="99" y="39"/>
                      </a:lnTo>
                      <a:lnTo>
                        <a:pt x="81" y="52"/>
                      </a:lnTo>
                      <a:lnTo>
                        <a:pt x="65" y="66"/>
                      </a:lnTo>
                      <a:lnTo>
                        <a:pt x="51" y="82"/>
                      </a:lnTo>
                      <a:lnTo>
                        <a:pt x="38" y="99"/>
                      </a:lnTo>
                      <a:lnTo>
                        <a:pt x="27" y="118"/>
                      </a:lnTo>
                      <a:lnTo>
                        <a:pt x="18" y="137"/>
                      </a:lnTo>
                      <a:lnTo>
                        <a:pt x="10" y="158"/>
                      </a:lnTo>
                      <a:lnTo>
                        <a:pt x="4" y="180"/>
                      </a:lnTo>
                      <a:lnTo>
                        <a:pt x="1" y="202"/>
                      </a:lnTo>
                      <a:lnTo>
                        <a:pt x="0" y="225"/>
                      </a:lnTo>
                      <a:lnTo>
                        <a:pt x="0" y="225"/>
                      </a:lnTo>
                      <a:lnTo>
                        <a:pt x="1" y="248"/>
                      </a:lnTo>
                      <a:lnTo>
                        <a:pt x="4" y="270"/>
                      </a:lnTo>
                      <a:lnTo>
                        <a:pt x="10" y="291"/>
                      </a:lnTo>
                      <a:lnTo>
                        <a:pt x="18" y="312"/>
                      </a:lnTo>
                      <a:lnTo>
                        <a:pt x="27" y="332"/>
                      </a:lnTo>
                      <a:lnTo>
                        <a:pt x="38" y="350"/>
                      </a:lnTo>
                      <a:lnTo>
                        <a:pt x="51" y="367"/>
                      </a:lnTo>
                      <a:lnTo>
                        <a:pt x="65" y="384"/>
                      </a:lnTo>
                      <a:lnTo>
                        <a:pt x="81" y="397"/>
                      </a:lnTo>
                      <a:lnTo>
                        <a:pt x="99" y="411"/>
                      </a:lnTo>
                      <a:lnTo>
                        <a:pt x="117" y="422"/>
                      </a:lnTo>
                      <a:lnTo>
                        <a:pt x="137" y="432"/>
                      </a:lnTo>
                      <a:lnTo>
                        <a:pt x="157" y="439"/>
                      </a:lnTo>
                      <a:lnTo>
                        <a:pt x="179" y="445"/>
                      </a:lnTo>
                      <a:lnTo>
                        <a:pt x="201" y="448"/>
                      </a:lnTo>
                      <a:lnTo>
                        <a:pt x="224" y="449"/>
                      </a:lnTo>
                      <a:lnTo>
                        <a:pt x="224" y="449"/>
                      </a:lnTo>
                      <a:lnTo>
                        <a:pt x="247" y="448"/>
                      </a:lnTo>
                      <a:lnTo>
                        <a:pt x="269" y="445"/>
                      </a:lnTo>
                      <a:lnTo>
                        <a:pt x="291" y="439"/>
                      </a:lnTo>
                      <a:lnTo>
                        <a:pt x="312" y="432"/>
                      </a:lnTo>
                      <a:lnTo>
                        <a:pt x="331" y="422"/>
                      </a:lnTo>
                      <a:lnTo>
                        <a:pt x="350" y="411"/>
                      </a:lnTo>
                      <a:lnTo>
                        <a:pt x="367" y="397"/>
                      </a:lnTo>
                      <a:lnTo>
                        <a:pt x="383" y="384"/>
                      </a:lnTo>
                      <a:lnTo>
                        <a:pt x="397" y="367"/>
                      </a:lnTo>
                      <a:lnTo>
                        <a:pt x="409" y="350"/>
                      </a:lnTo>
                      <a:lnTo>
                        <a:pt x="421" y="332"/>
                      </a:lnTo>
                      <a:lnTo>
                        <a:pt x="430" y="312"/>
                      </a:lnTo>
                      <a:lnTo>
                        <a:pt x="438" y="291"/>
                      </a:lnTo>
                      <a:lnTo>
                        <a:pt x="444" y="270"/>
                      </a:lnTo>
                      <a:lnTo>
                        <a:pt x="447" y="248"/>
                      </a:lnTo>
                      <a:lnTo>
                        <a:pt x="449" y="225"/>
                      </a:lnTo>
                      <a:lnTo>
                        <a:pt x="449" y="225"/>
                      </a:lnTo>
                      <a:lnTo>
                        <a:pt x="447" y="202"/>
                      </a:lnTo>
                      <a:lnTo>
                        <a:pt x="444" y="180"/>
                      </a:lnTo>
                      <a:lnTo>
                        <a:pt x="438" y="158"/>
                      </a:lnTo>
                      <a:lnTo>
                        <a:pt x="430" y="137"/>
                      </a:lnTo>
                      <a:lnTo>
                        <a:pt x="421" y="118"/>
                      </a:lnTo>
                      <a:lnTo>
                        <a:pt x="409" y="99"/>
                      </a:lnTo>
                      <a:lnTo>
                        <a:pt x="397" y="82"/>
                      </a:lnTo>
                      <a:lnTo>
                        <a:pt x="383" y="66"/>
                      </a:lnTo>
                      <a:lnTo>
                        <a:pt x="367" y="52"/>
                      </a:lnTo>
                      <a:lnTo>
                        <a:pt x="350" y="39"/>
                      </a:lnTo>
                      <a:lnTo>
                        <a:pt x="331" y="28"/>
                      </a:lnTo>
                      <a:lnTo>
                        <a:pt x="312" y="19"/>
                      </a:lnTo>
                      <a:lnTo>
                        <a:pt x="291" y="10"/>
                      </a:lnTo>
                      <a:lnTo>
                        <a:pt x="269" y="5"/>
                      </a:lnTo>
                      <a:lnTo>
                        <a:pt x="247" y="1"/>
                      </a:lnTo>
                      <a:lnTo>
                        <a:pt x="224" y="0"/>
                      </a:lnTo>
                      <a:close/>
                    </a:path>
                  </a:pathLst>
                </a:custGeom>
                <a:solidFill>
                  <a:srgbClr val="B12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2" name="Freeform 256"/>
                <p:cNvSpPr>
                  <a:spLocks/>
                </p:cNvSpPr>
                <p:nvPr/>
              </p:nvSpPr>
              <p:spPr bwMode="auto">
                <a:xfrm>
                  <a:off x="4905375" y="3351213"/>
                  <a:ext cx="101600" cy="101600"/>
                </a:xfrm>
                <a:custGeom>
                  <a:avLst/>
                  <a:gdLst>
                    <a:gd name="T0" fmla="*/ 224 w 449"/>
                    <a:gd name="T1" fmla="*/ 0 h 449"/>
                    <a:gd name="T2" fmla="*/ 179 w 449"/>
                    <a:gd name="T3" fmla="*/ 5 h 449"/>
                    <a:gd name="T4" fmla="*/ 137 w 449"/>
                    <a:gd name="T5" fmla="*/ 19 h 449"/>
                    <a:gd name="T6" fmla="*/ 99 w 449"/>
                    <a:gd name="T7" fmla="*/ 39 h 449"/>
                    <a:gd name="T8" fmla="*/ 65 w 449"/>
                    <a:gd name="T9" fmla="*/ 66 h 449"/>
                    <a:gd name="T10" fmla="*/ 38 w 449"/>
                    <a:gd name="T11" fmla="*/ 99 h 449"/>
                    <a:gd name="T12" fmla="*/ 18 w 449"/>
                    <a:gd name="T13" fmla="*/ 137 h 449"/>
                    <a:gd name="T14" fmla="*/ 4 w 449"/>
                    <a:gd name="T15" fmla="*/ 180 h 449"/>
                    <a:gd name="T16" fmla="*/ 0 w 449"/>
                    <a:gd name="T17" fmla="*/ 225 h 449"/>
                    <a:gd name="T18" fmla="*/ 1 w 449"/>
                    <a:gd name="T19" fmla="*/ 248 h 449"/>
                    <a:gd name="T20" fmla="*/ 10 w 449"/>
                    <a:gd name="T21" fmla="*/ 291 h 449"/>
                    <a:gd name="T22" fmla="*/ 27 w 449"/>
                    <a:gd name="T23" fmla="*/ 332 h 449"/>
                    <a:gd name="T24" fmla="*/ 51 w 449"/>
                    <a:gd name="T25" fmla="*/ 367 h 449"/>
                    <a:gd name="T26" fmla="*/ 81 w 449"/>
                    <a:gd name="T27" fmla="*/ 397 h 449"/>
                    <a:gd name="T28" fmla="*/ 117 w 449"/>
                    <a:gd name="T29" fmla="*/ 422 h 449"/>
                    <a:gd name="T30" fmla="*/ 157 w 449"/>
                    <a:gd name="T31" fmla="*/ 439 h 449"/>
                    <a:gd name="T32" fmla="*/ 201 w 449"/>
                    <a:gd name="T33" fmla="*/ 448 h 449"/>
                    <a:gd name="T34" fmla="*/ 224 w 449"/>
                    <a:gd name="T35" fmla="*/ 449 h 449"/>
                    <a:gd name="T36" fmla="*/ 269 w 449"/>
                    <a:gd name="T37" fmla="*/ 445 h 449"/>
                    <a:gd name="T38" fmla="*/ 312 w 449"/>
                    <a:gd name="T39" fmla="*/ 432 h 449"/>
                    <a:gd name="T40" fmla="*/ 350 w 449"/>
                    <a:gd name="T41" fmla="*/ 411 h 449"/>
                    <a:gd name="T42" fmla="*/ 383 w 449"/>
                    <a:gd name="T43" fmla="*/ 384 h 449"/>
                    <a:gd name="T44" fmla="*/ 409 w 449"/>
                    <a:gd name="T45" fmla="*/ 350 h 449"/>
                    <a:gd name="T46" fmla="*/ 430 w 449"/>
                    <a:gd name="T47" fmla="*/ 312 h 449"/>
                    <a:gd name="T48" fmla="*/ 444 w 449"/>
                    <a:gd name="T49" fmla="*/ 270 h 449"/>
                    <a:gd name="T50" fmla="*/ 449 w 449"/>
                    <a:gd name="T51" fmla="*/ 225 h 449"/>
                    <a:gd name="T52" fmla="*/ 447 w 449"/>
                    <a:gd name="T53" fmla="*/ 202 h 449"/>
                    <a:gd name="T54" fmla="*/ 438 w 449"/>
                    <a:gd name="T55" fmla="*/ 158 h 449"/>
                    <a:gd name="T56" fmla="*/ 421 w 449"/>
                    <a:gd name="T57" fmla="*/ 118 h 449"/>
                    <a:gd name="T58" fmla="*/ 397 w 449"/>
                    <a:gd name="T59" fmla="*/ 82 h 449"/>
                    <a:gd name="T60" fmla="*/ 367 w 449"/>
                    <a:gd name="T61" fmla="*/ 52 h 449"/>
                    <a:gd name="T62" fmla="*/ 331 w 449"/>
                    <a:gd name="T63" fmla="*/ 28 h 449"/>
                    <a:gd name="T64" fmla="*/ 291 w 449"/>
                    <a:gd name="T65" fmla="*/ 10 h 449"/>
                    <a:gd name="T66" fmla="*/ 247 w 449"/>
                    <a:gd name="T67" fmla="*/ 1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9" h="449">
                      <a:moveTo>
                        <a:pt x="224" y="0"/>
                      </a:moveTo>
                      <a:lnTo>
                        <a:pt x="224" y="0"/>
                      </a:lnTo>
                      <a:lnTo>
                        <a:pt x="201" y="1"/>
                      </a:lnTo>
                      <a:lnTo>
                        <a:pt x="179" y="5"/>
                      </a:lnTo>
                      <a:lnTo>
                        <a:pt x="157" y="10"/>
                      </a:lnTo>
                      <a:lnTo>
                        <a:pt x="137" y="19"/>
                      </a:lnTo>
                      <a:lnTo>
                        <a:pt x="117" y="28"/>
                      </a:lnTo>
                      <a:lnTo>
                        <a:pt x="99" y="39"/>
                      </a:lnTo>
                      <a:lnTo>
                        <a:pt x="81" y="52"/>
                      </a:lnTo>
                      <a:lnTo>
                        <a:pt x="65" y="66"/>
                      </a:lnTo>
                      <a:lnTo>
                        <a:pt x="51" y="82"/>
                      </a:lnTo>
                      <a:lnTo>
                        <a:pt x="38" y="99"/>
                      </a:lnTo>
                      <a:lnTo>
                        <a:pt x="27" y="118"/>
                      </a:lnTo>
                      <a:lnTo>
                        <a:pt x="18" y="137"/>
                      </a:lnTo>
                      <a:lnTo>
                        <a:pt x="10" y="158"/>
                      </a:lnTo>
                      <a:lnTo>
                        <a:pt x="4" y="180"/>
                      </a:lnTo>
                      <a:lnTo>
                        <a:pt x="1" y="202"/>
                      </a:lnTo>
                      <a:lnTo>
                        <a:pt x="0" y="225"/>
                      </a:lnTo>
                      <a:lnTo>
                        <a:pt x="0" y="225"/>
                      </a:lnTo>
                      <a:lnTo>
                        <a:pt x="1" y="248"/>
                      </a:lnTo>
                      <a:lnTo>
                        <a:pt x="4" y="270"/>
                      </a:lnTo>
                      <a:lnTo>
                        <a:pt x="10" y="291"/>
                      </a:lnTo>
                      <a:lnTo>
                        <a:pt x="18" y="312"/>
                      </a:lnTo>
                      <a:lnTo>
                        <a:pt x="27" y="332"/>
                      </a:lnTo>
                      <a:lnTo>
                        <a:pt x="38" y="350"/>
                      </a:lnTo>
                      <a:lnTo>
                        <a:pt x="51" y="367"/>
                      </a:lnTo>
                      <a:lnTo>
                        <a:pt x="65" y="384"/>
                      </a:lnTo>
                      <a:lnTo>
                        <a:pt x="81" y="397"/>
                      </a:lnTo>
                      <a:lnTo>
                        <a:pt x="99" y="411"/>
                      </a:lnTo>
                      <a:lnTo>
                        <a:pt x="117" y="422"/>
                      </a:lnTo>
                      <a:lnTo>
                        <a:pt x="137" y="432"/>
                      </a:lnTo>
                      <a:lnTo>
                        <a:pt x="157" y="439"/>
                      </a:lnTo>
                      <a:lnTo>
                        <a:pt x="179" y="445"/>
                      </a:lnTo>
                      <a:lnTo>
                        <a:pt x="201" y="448"/>
                      </a:lnTo>
                      <a:lnTo>
                        <a:pt x="224" y="449"/>
                      </a:lnTo>
                      <a:lnTo>
                        <a:pt x="224" y="449"/>
                      </a:lnTo>
                      <a:lnTo>
                        <a:pt x="247" y="448"/>
                      </a:lnTo>
                      <a:lnTo>
                        <a:pt x="269" y="445"/>
                      </a:lnTo>
                      <a:lnTo>
                        <a:pt x="291" y="439"/>
                      </a:lnTo>
                      <a:lnTo>
                        <a:pt x="312" y="432"/>
                      </a:lnTo>
                      <a:lnTo>
                        <a:pt x="331" y="422"/>
                      </a:lnTo>
                      <a:lnTo>
                        <a:pt x="350" y="411"/>
                      </a:lnTo>
                      <a:lnTo>
                        <a:pt x="367" y="397"/>
                      </a:lnTo>
                      <a:lnTo>
                        <a:pt x="383" y="384"/>
                      </a:lnTo>
                      <a:lnTo>
                        <a:pt x="397" y="367"/>
                      </a:lnTo>
                      <a:lnTo>
                        <a:pt x="409" y="350"/>
                      </a:lnTo>
                      <a:lnTo>
                        <a:pt x="421" y="332"/>
                      </a:lnTo>
                      <a:lnTo>
                        <a:pt x="430" y="312"/>
                      </a:lnTo>
                      <a:lnTo>
                        <a:pt x="438" y="291"/>
                      </a:lnTo>
                      <a:lnTo>
                        <a:pt x="444" y="270"/>
                      </a:lnTo>
                      <a:lnTo>
                        <a:pt x="447" y="248"/>
                      </a:lnTo>
                      <a:lnTo>
                        <a:pt x="449" y="225"/>
                      </a:lnTo>
                      <a:lnTo>
                        <a:pt x="449" y="225"/>
                      </a:lnTo>
                      <a:lnTo>
                        <a:pt x="447" y="202"/>
                      </a:lnTo>
                      <a:lnTo>
                        <a:pt x="444" y="180"/>
                      </a:lnTo>
                      <a:lnTo>
                        <a:pt x="438" y="158"/>
                      </a:lnTo>
                      <a:lnTo>
                        <a:pt x="430" y="137"/>
                      </a:lnTo>
                      <a:lnTo>
                        <a:pt x="421" y="118"/>
                      </a:lnTo>
                      <a:lnTo>
                        <a:pt x="409" y="99"/>
                      </a:lnTo>
                      <a:lnTo>
                        <a:pt x="397" y="82"/>
                      </a:lnTo>
                      <a:lnTo>
                        <a:pt x="383" y="66"/>
                      </a:lnTo>
                      <a:lnTo>
                        <a:pt x="367" y="52"/>
                      </a:lnTo>
                      <a:lnTo>
                        <a:pt x="350" y="39"/>
                      </a:lnTo>
                      <a:lnTo>
                        <a:pt x="331" y="28"/>
                      </a:lnTo>
                      <a:lnTo>
                        <a:pt x="312" y="19"/>
                      </a:lnTo>
                      <a:lnTo>
                        <a:pt x="291" y="10"/>
                      </a:lnTo>
                      <a:lnTo>
                        <a:pt x="269" y="5"/>
                      </a:lnTo>
                      <a:lnTo>
                        <a:pt x="247" y="1"/>
                      </a:lnTo>
                      <a:lnTo>
                        <a:pt x="2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3" name="Freeform 257"/>
                <p:cNvSpPr>
                  <a:spLocks/>
                </p:cNvSpPr>
                <p:nvPr/>
              </p:nvSpPr>
              <p:spPr bwMode="auto">
                <a:xfrm>
                  <a:off x="4791075" y="3538538"/>
                  <a:ext cx="165100" cy="166688"/>
                </a:xfrm>
                <a:custGeom>
                  <a:avLst/>
                  <a:gdLst>
                    <a:gd name="T0" fmla="*/ 347 w 731"/>
                    <a:gd name="T1" fmla="*/ 1 h 731"/>
                    <a:gd name="T2" fmla="*/ 292 w 731"/>
                    <a:gd name="T3" fmla="*/ 8 h 731"/>
                    <a:gd name="T4" fmla="*/ 239 w 731"/>
                    <a:gd name="T5" fmla="*/ 23 h 731"/>
                    <a:gd name="T6" fmla="*/ 191 w 731"/>
                    <a:gd name="T7" fmla="*/ 45 h 731"/>
                    <a:gd name="T8" fmla="*/ 147 w 731"/>
                    <a:gd name="T9" fmla="*/ 73 h 731"/>
                    <a:gd name="T10" fmla="*/ 107 w 731"/>
                    <a:gd name="T11" fmla="*/ 107 h 731"/>
                    <a:gd name="T12" fmla="*/ 73 w 731"/>
                    <a:gd name="T13" fmla="*/ 147 h 731"/>
                    <a:gd name="T14" fmla="*/ 44 w 731"/>
                    <a:gd name="T15" fmla="*/ 191 h 731"/>
                    <a:gd name="T16" fmla="*/ 22 w 731"/>
                    <a:gd name="T17" fmla="*/ 241 h 731"/>
                    <a:gd name="T18" fmla="*/ 8 w 731"/>
                    <a:gd name="T19" fmla="*/ 293 h 731"/>
                    <a:gd name="T20" fmla="*/ 1 w 731"/>
                    <a:gd name="T21" fmla="*/ 347 h 731"/>
                    <a:gd name="T22" fmla="*/ 1 w 731"/>
                    <a:gd name="T23" fmla="*/ 385 h 731"/>
                    <a:gd name="T24" fmla="*/ 8 w 731"/>
                    <a:gd name="T25" fmla="*/ 440 h 731"/>
                    <a:gd name="T26" fmla="*/ 22 w 731"/>
                    <a:gd name="T27" fmla="*/ 492 h 731"/>
                    <a:gd name="T28" fmla="*/ 44 w 731"/>
                    <a:gd name="T29" fmla="*/ 540 h 731"/>
                    <a:gd name="T30" fmla="*/ 73 w 731"/>
                    <a:gd name="T31" fmla="*/ 585 h 731"/>
                    <a:gd name="T32" fmla="*/ 107 w 731"/>
                    <a:gd name="T33" fmla="*/ 624 h 731"/>
                    <a:gd name="T34" fmla="*/ 147 w 731"/>
                    <a:gd name="T35" fmla="*/ 659 h 731"/>
                    <a:gd name="T36" fmla="*/ 191 w 731"/>
                    <a:gd name="T37" fmla="*/ 687 h 731"/>
                    <a:gd name="T38" fmla="*/ 239 w 731"/>
                    <a:gd name="T39" fmla="*/ 709 h 731"/>
                    <a:gd name="T40" fmla="*/ 292 w 731"/>
                    <a:gd name="T41" fmla="*/ 724 h 731"/>
                    <a:gd name="T42" fmla="*/ 347 w 731"/>
                    <a:gd name="T43" fmla="*/ 731 h 731"/>
                    <a:gd name="T44" fmla="*/ 385 w 731"/>
                    <a:gd name="T45" fmla="*/ 731 h 731"/>
                    <a:gd name="T46" fmla="*/ 440 w 731"/>
                    <a:gd name="T47" fmla="*/ 724 h 731"/>
                    <a:gd name="T48" fmla="*/ 492 w 731"/>
                    <a:gd name="T49" fmla="*/ 709 h 731"/>
                    <a:gd name="T50" fmla="*/ 540 w 731"/>
                    <a:gd name="T51" fmla="*/ 687 h 731"/>
                    <a:gd name="T52" fmla="*/ 584 w 731"/>
                    <a:gd name="T53" fmla="*/ 659 h 731"/>
                    <a:gd name="T54" fmla="*/ 624 w 731"/>
                    <a:gd name="T55" fmla="*/ 624 h 731"/>
                    <a:gd name="T56" fmla="*/ 659 w 731"/>
                    <a:gd name="T57" fmla="*/ 585 h 731"/>
                    <a:gd name="T58" fmla="*/ 687 w 731"/>
                    <a:gd name="T59" fmla="*/ 540 h 731"/>
                    <a:gd name="T60" fmla="*/ 709 w 731"/>
                    <a:gd name="T61" fmla="*/ 492 h 731"/>
                    <a:gd name="T62" fmla="*/ 724 w 731"/>
                    <a:gd name="T63" fmla="*/ 440 h 731"/>
                    <a:gd name="T64" fmla="*/ 731 w 731"/>
                    <a:gd name="T65" fmla="*/ 385 h 731"/>
                    <a:gd name="T66" fmla="*/ 731 w 731"/>
                    <a:gd name="T67" fmla="*/ 347 h 731"/>
                    <a:gd name="T68" fmla="*/ 724 w 731"/>
                    <a:gd name="T69" fmla="*/ 293 h 731"/>
                    <a:gd name="T70" fmla="*/ 709 w 731"/>
                    <a:gd name="T71" fmla="*/ 241 h 731"/>
                    <a:gd name="T72" fmla="*/ 687 w 731"/>
                    <a:gd name="T73" fmla="*/ 191 h 731"/>
                    <a:gd name="T74" fmla="*/ 659 w 731"/>
                    <a:gd name="T75" fmla="*/ 147 h 731"/>
                    <a:gd name="T76" fmla="*/ 624 w 731"/>
                    <a:gd name="T77" fmla="*/ 107 h 731"/>
                    <a:gd name="T78" fmla="*/ 584 w 731"/>
                    <a:gd name="T79" fmla="*/ 73 h 731"/>
                    <a:gd name="T80" fmla="*/ 540 w 731"/>
                    <a:gd name="T81" fmla="*/ 45 h 731"/>
                    <a:gd name="T82" fmla="*/ 492 w 731"/>
                    <a:gd name="T83" fmla="*/ 23 h 731"/>
                    <a:gd name="T84" fmla="*/ 440 w 731"/>
                    <a:gd name="T85" fmla="*/ 8 h 731"/>
                    <a:gd name="T86" fmla="*/ 385 w 731"/>
                    <a:gd name="T87" fmla="*/ 1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1" h="731">
                      <a:moveTo>
                        <a:pt x="366" y="0"/>
                      </a:moveTo>
                      <a:lnTo>
                        <a:pt x="366" y="0"/>
                      </a:lnTo>
                      <a:lnTo>
                        <a:pt x="347" y="1"/>
                      </a:lnTo>
                      <a:lnTo>
                        <a:pt x="328" y="2"/>
                      </a:lnTo>
                      <a:lnTo>
                        <a:pt x="310" y="5"/>
                      </a:lnTo>
                      <a:lnTo>
                        <a:pt x="292" y="8"/>
                      </a:lnTo>
                      <a:lnTo>
                        <a:pt x="274" y="12"/>
                      </a:lnTo>
                      <a:lnTo>
                        <a:pt x="257" y="17"/>
                      </a:lnTo>
                      <a:lnTo>
                        <a:pt x="239" y="23"/>
                      </a:lnTo>
                      <a:lnTo>
                        <a:pt x="223" y="29"/>
                      </a:lnTo>
                      <a:lnTo>
                        <a:pt x="207" y="37"/>
                      </a:lnTo>
                      <a:lnTo>
                        <a:pt x="191" y="45"/>
                      </a:lnTo>
                      <a:lnTo>
                        <a:pt x="176" y="53"/>
                      </a:lnTo>
                      <a:lnTo>
                        <a:pt x="161" y="63"/>
                      </a:lnTo>
                      <a:lnTo>
                        <a:pt x="147" y="73"/>
                      </a:lnTo>
                      <a:lnTo>
                        <a:pt x="134" y="84"/>
                      </a:lnTo>
                      <a:lnTo>
                        <a:pt x="120" y="96"/>
                      </a:lnTo>
                      <a:lnTo>
                        <a:pt x="107" y="107"/>
                      </a:lnTo>
                      <a:lnTo>
                        <a:pt x="96" y="120"/>
                      </a:lnTo>
                      <a:lnTo>
                        <a:pt x="84" y="134"/>
                      </a:lnTo>
                      <a:lnTo>
                        <a:pt x="73" y="147"/>
                      </a:lnTo>
                      <a:lnTo>
                        <a:pt x="62" y="161"/>
                      </a:lnTo>
                      <a:lnTo>
                        <a:pt x="53" y="176"/>
                      </a:lnTo>
                      <a:lnTo>
                        <a:pt x="44" y="191"/>
                      </a:lnTo>
                      <a:lnTo>
                        <a:pt x="36" y="207"/>
                      </a:lnTo>
                      <a:lnTo>
                        <a:pt x="29" y="223"/>
                      </a:lnTo>
                      <a:lnTo>
                        <a:pt x="22" y="241"/>
                      </a:lnTo>
                      <a:lnTo>
                        <a:pt x="16" y="257"/>
                      </a:lnTo>
                      <a:lnTo>
                        <a:pt x="12" y="274"/>
                      </a:lnTo>
                      <a:lnTo>
                        <a:pt x="8" y="293"/>
                      </a:lnTo>
                      <a:lnTo>
                        <a:pt x="5" y="310"/>
                      </a:lnTo>
                      <a:lnTo>
                        <a:pt x="2" y="328"/>
                      </a:lnTo>
                      <a:lnTo>
                        <a:pt x="1" y="347"/>
                      </a:lnTo>
                      <a:lnTo>
                        <a:pt x="0" y="366"/>
                      </a:lnTo>
                      <a:lnTo>
                        <a:pt x="0" y="366"/>
                      </a:lnTo>
                      <a:lnTo>
                        <a:pt x="1" y="385"/>
                      </a:lnTo>
                      <a:lnTo>
                        <a:pt x="2" y="403"/>
                      </a:lnTo>
                      <a:lnTo>
                        <a:pt x="5" y="421"/>
                      </a:lnTo>
                      <a:lnTo>
                        <a:pt x="8" y="440"/>
                      </a:lnTo>
                      <a:lnTo>
                        <a:pt x="12" y="457"/>
                      </a:lnTo>
                      <a:lnTo>
                        <a:pt x="16" y="474"/>
                      </a:lnTo>
                      <a:lnTo>
                        <a:pt x="22" y="492"/>
                      </a:lnTo>
                      <a:lnTo>
                        <a:pt x="29" y="508"/>
                      </a:lnTo>
                      <a:lnTo>
                        <a:pt x="36" y="524"/>
                      </a:lnTo>
                      <a:lnTo>
                        <a:pt x="44" y="540"/>
                      </a:lnTo>
                      <a:lnTo>
                        <a:pt x="53" y="555"/>
                      </a:lnTo>
                      <a:lnTo>
                        <a:pt x="62" y="570"/>
                      </a:lnTo>
                      <a:lnTo>
                        <a:pt x="73" y="585"/>
                      </a:lnTo>
                      <a:lnTo>
                        <a:pt x="84" y="599"/>
                      </a:lnTo>
                      <a:lnTo>
                        <a:pt x="96" y="611"/>
                      </a:lnTo>
                      <a:lnTo>
                        <a:pt x="107" y="624"/>
                      </a:lnTo>
                      <a:lnTo>
                        <a:pt x="120" y="637"/>
                      </a:lnTo>
                      <a:lnTo>
                        <a:pt x="134" y="648"/>
                      </a:lnTo>
                      <a:lnTo>
                        <a:pt x="147" y="659"/>
                      </a:lnTo>
                      <a:lnTo>
                        <a:pt x="161" y="669"/>
                      </a:lnTo>
                      <a:lnTo>
                        <a:pt x="176" y="678"/>
                      </a:lnTo>
                      <a:lnTo>
                        <a:pt x="191" y="687"/>
                      </a:lnTo>
                      <a:lnTo>
                        <a:pt x="207" y="695"/>
                      </a:lnTo>
                      <a:lnTo>
                        <a:pt x="223" y="702"/>
                      </a:lnTo>
                      <a:lnTo>
                        <a:pt x="239" y="709"/>
                      </a:lnTo>
                      <a:lnTo>
                        <a:pt x="257" y="715"/>
                      </a:lnTo>
                      <a:lnTo>
                        <a:pt x="274" y="720"/>
                      </a:lnTo>
                      <a:lnTo>
                        <a:pt x="292" y="724"/>
                      </a:lnTo>
                      <a:lnTo>
                        <a:pt x="310" y="727"/>
                      </a:lnTo>
                      <a:lnTo>
                        <a:pt x="328" y="729"/>
                      </a:lnTo>
                      <a:lnTo>
                        <a:pt x="347" y="731"/>
                      </a:lnTo>
                      <a:lnTo>
                        <a:pt x="366" y="731"/>
                      </a:lnTo>
                      <a:lnTo>
                        <a:pt x="366" y="731"/>
                      </a:lnTo>
                      <a:lnTo>
                        <a:pt x="385" y="731"/>
                      </a:lnTo>
                      <a:lnTo>
                        <a:pt x="403" y="729"/>
                      </a:lnTo>
                      <a:lnTo>
                        <a:pt x="421" y="727"/>
                      </a:lnTo>
                      <a:lnTo>
                        <a:pt x="440" y="724"/>
                      </a:lnTo>
                      <a:lnTo>
                        <a:pt x="457" y="720"/>
                      </a:lnTo>
                      <a:lnTo>
                        <a:pt x="474" y="715"/>
                      </a:lnTo>
                      <a:lnTo>
                        <a:pt x="492" y="709"/>
                      </a:lnTo>
                      <a:lnTo>
                        <a:pt x="508" y="702"/>
                      </a:lnTo>
                      <a:lnTo>
                        <a:pt x="524" y="695"/>
                      </a:lnTo>
                      <a:lnTo>
                        <a:pt x="540" y="687"/>
                      </a:lnTo>
                      <a:lnTo>
                        <a:pt x="555" y="678"/>
                      </a:lnTo>
                      <a:lnTo>
                        <a:pt x="570" y="669"/>
                      </a:lnTo>
                      <a:lnTo>
                        <a:pt x="584" y="659"/>
                      </a:lnTo>
                      <a:lnTo>
                        <a:pt x="598" y="648"/>
                      </a:lnTo>
                      <a:lnTo>
                        <a:pt x="611" y="637"/>
                      </a:lnTo>
                      <a:lnTo>
                        <a:pt x="624" y="624"/>
                      </a:lnTo>
                      <a:lnTo>
                        <a:pt x="637" y="611"/>
                      </a:lnTo>
                      <a:lnTo>
                        <a:pt x="647" y="599"/>
                      </a:lnTo>
                      <a:lnTo>
                        <a:pt x="659" y="585"/>
                      </a:lnTo>
                      <a:lnTo>
                        <a:pt x="669" y="570"/>
                      </a:lnTo>
                      <a:lnTo>
                        <a:pt x="678" y="555"/>
                      </a:lnTo>
                      <a:lnTo>
                        <a:pt x="687" y="540"/>
                      </a:lnTo>
                      <a:lnTo>
                        <a:pt x="695" y="524"/>
                      </a:lnTo>
                      <a:lnTo>
                        <a:pt x="702" y="508"/>
                      </a:lnTo>
                      <a:lnTo>
                        <a:pt x="709" y="492"/>
                      </a:lnTo>
                      <a:lnTo>
                        <a:pt x="715" y="474"/>
                      </a:lnTo>
                      <a:lnTo>
                        <a:pt x="720" y="457"/>
                      </a:lnTo>
                      <a:lnTo>
                        <a:pt x="724" y="440"/>
                      </a:lnTo>
                      <a:lnTo>
                        <a:pt x="726" y="421"/>
                      </a:lnTo>
                      <a:lnTo>
                        <a:pt x="729" y="403"/>
                      </a:lnTo>
                      <a:lnTo>
                        <a:pt x="731" y="385"/>
                      </a:lnTo>
                      <a:lnTo>
                        <a:pt x="731" y="366"/>
                      </a:lnTo>
                      <a:lnTo>
                        <a:pt x="731" y="366"/>
                      </a:lnTo>
                      <a:lnTo>
                        <a:pt x="731" y="347"/>
                      </a:lnTo>
                      <a:lnTo>
                        <a:pt x="729" y="328"/>
                      </a:lnTo>
                      <a:lnTo>
                        <a:pt x="726" y="310"/>
                      </a:lnTo>
                      <a:lnTo>
                        <a:pt x="724" y="293"/>
                      </a:lnTo>
                      <a:lnTo>
                        <a:pt x="720" y="274"/>
                      </a:lnTo>
                      <a:lnTo>
                        <a:pt x="715" y="257"/>
                      </a:lnTo>
                      <a:lnTo>
                        <a:pt x="709" y="241"/>
                      </a:lnTo>
                      <a:lnTo>
                        <a:pt x="702" y="223"/>
                      </a:lnTo>
                      <a:lnTo>
                        <a:pt x="695" y="207"/>
                      </a:lnTo>
                      <a:lnTo>
                        <a:pt x="687" y="191"/>
                      </a:lnTo>
                      <a:lnTo>
                        <a:pt x="678" y="176"/>
                      </a:lnTo>
                      <a:lnTo>
                        <a:pt x="669" y="161"/>
                      </a:lnTo>
                      <a:lnTo>
                        <a:pt x="659" y="147"/>
                      </a:lnTo>
                      <a:lnTo>
                        <a:pt x="647" y="134"/>
                      </a:lnTo>
                      <a:lnTo>
                        <a:pt x="637" y="120"/>
                      </a:lnTo>
                      <a:lnTo>
                        <a:pt x="624" y="107"/>
                      </a:lnTo>
                      <a:lnTo>
                        <a:pt x="611" y="96"/>
                      </a:lnTo>
                      <a:lnTo>
                        <a:pt x="598" y="84"/>
                      </a:lnTo>
                      <a:lnTo>
                        <a:pt x="584" y="73"/>
                      </a:lnTo>
                      <a:lnTo>
                        <a:pt x="570" y="63"/>
                      </a:lnTo>
                      <a:lnTo>
                        <a:pt x="555" y="53"/>
                      </a:lnTo>
                      <a:lnTo>
                        <a:pt x="540" y="45"/>
                      </a:lnTo>
                      <a:lnTo>
                        <a:pt x="524" y="37"/>
                      </a:lnTo>
                      <a:lnTo>
                        <a:pt x="508" y="29"/>
                      </a:lnTo>
                      <a:lnTo>
                        <a:pt x="492" y="23"/>
                      </a:lnTo>
                      <a:lnTo>
                        <a:pt x="474" y="17"/>
                      </a:lnTo>
                      <a:lnTo>
                        <a:pt x="457" y="12"/>
                      </a:lnTo>
                      <a:lnTo>
                        <a:pt x="440" y="8"/>
                      </a:lnTo>
                      <a:lnTo>
                        <a:pt x="421" y="5"/>
                      </a:lnTo>
                      <a:lnTo>
                        <a:pt x="403" y="2"/>
                      </a:lnTo>
                      <a:lnTo>
                        <a:pt x="385" y="1"/>
                      </a:lnTo>
                      <a:lnTo>
                        <a:pt x="366" y="0"/>
                      </a:lnTo>
                      <a:close/>
                    </a:path>
                  </a:pathLst>
                </a:custGeom>
                <a:solidFill>
                  <a:srgbClr val="C64F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4" name="Freeform 258"/>
                <p:cNvSpPr>
                  <a:spLocks/>
                </p:cNvSpPr>
                <p:nvPr/>
              </p:nvSpPr>
              <p:spPr bwMode="auto">
                <a:xfrm>
                  <a:off x="4791075" y="3538538"/>
                  <a:ext cx="165100" cy="166688"/>
                </a:xfrm>
                <a:custGeom>
                  <a:avLst/>
                  <a:gdLst>
                    <a:gd name="T0" fmla="*/ 347 w 731"/>
                    <a:gd name="T1" fmla="*/ 1 h 731"/>
                    <a:gd name="T2" fmla="*/ 292 w 731"/>
                    <a:gd name="T3" fmla="*/ 8 h 731"/>
                    <a:gd name="T4" fmla="*/ 239 w 731"/>
                    <a:gd name="T5" fmla="*/ 23 h 731"/>
                    <a:gd name="T6" fmla="*/ 191 w 731"/>
                    <a:gd name="T7" fmla="*/ 45 h 731"/>
                    <a:gd name="T8" fmla="*/ 147 w 731"/>
                    <a:gd name="T9" fmla="*/ 73 h 731"/>
                    <a:gd name="T10" fmla="*/ 107 w 731"/>
                    <a:gd name="T11" fmla="*/ 107 h 731"/>
                    <a:gd name="T12" fmla="*/ 73 w 731"/>
                    <a:gd name="T13" fmla="*/ 147 h 731"/>
                    <a:gd name="T14" fmla="*/ 44 w 731"/>
                    <a:gd name="T15" fmla="*/ 191 h 731"/>
                    <a:gd name="T16" fmla="*/ 22 w 731"/>
                    <a:gd name="T17" fmla="*/ 241 h 731"/>
                    <a:gd name="T18" fmla="*/ 8 w 731"/>
                    <a:gd name="T19" fmla="*/ 293 h 731"/>
                    <a:gd name="T20" fmla="*/ 1 w 731"/>
                    <a:gd name="T21" fmla="*/ 347 h 731"/>
                    <a:gd name="T22" fmla="*/ 1 w 731"/>
                    <a:gd name="T23" fmla="*/ 385 h 731"/>
                    <a:gd name="T24" fmla="*/ 8 w 731"/>
                    <a:gd name="T25" fmla="*/ 440 h 731"/>
                    <a:gd name="T26" fmla="*/ 22 w 731"/>
                    <a:gd name="T27" fmla="*/ 492 h 731"/>
                    <a:gd name="T28" fmla="*/ 44 w 731"/>
                    <a:gd name="T29" fmla="*/ 540 h 731"/>
                    <a:gd name="T30" fmla="*/ 73 w 731"/>
                    <a:gd name="T31" fmla="*/ 585 h 731"/>
                    <a:gd name="T32" fmla="*/ 107 w 731"/>
                    <a:gd name="T33" fmla="*/ 624 h 731"/>
                    <a:gd name="T34" fmla="*/ 147 w 731"/>
                    <a:gd name="T35" fmla="*/ 659 h 731"/>
                    <a:gd name="T36" fmla="*/ 191 w 731"/>
                    <a:gd name="T37" fmla="*/ 687 h 731"/>
                    <a:gd name="T38" fmla="*/ 239 w 731"/>
                    <a:gd name="T39" fmla="*/ 709 h 731"/>
                    <a:gd name="T40" fmla="*/ 292 w 731"/>
                    <a:gd name="T41" fmla="*/ 724 h 731"/>
                    <a:gd name="T42" fmla="*/ 347 w 731"/>
                    <a:gd name="T43" fmla="*/ 731 h 731"/>
                    <a:gd name="T44" fmla="*/ 385 w 731"/>
                    <a:gd name="T45" fmla="*/ 731 h 731"/>
                    <a:gd name="T46" fmla="*/ 440 w 731"/>
                    <a:gd name="T47" fmla="*/ 724 h 731"/>
                    <a:gd name="T48" fmla="*/ 492 w 731"/>
                    <a:gd name="T49" fmla="*/ 709 h 731"/>
                    <a:gd name="T50" fmla="*/ 540 w 731"/>
                    <a:gd name="T51" fmla="*/ 687 h 731"/>
                    <a:gd name="T52" fmla="*/ 584 w 731"/>
                    <a:gd name="T53" fmla="*/ 659 h 731"/>
                    <a:gd name="T54" fmla="*/ 624 w 731"/>
                    <a:gd name="T55" fmla="*/ 624 h 731"/>
                    <a:gd name="T56" fmla="*/ 659 w 731"/>
                    <a:gd name="T57" fmla="*/ 585 h 731"/>
                    <a:gd name="T58" fmla="*/ 687 w 731"/>
                    <a:gd name="T59" fmla="*/ 540 h 731"/>
                    <a:gd name="T60" fmla="*/ 709 w 731"/>
                    <a:gd name="T61" fmla="*/ 492 h 731"/>
                    <a:gd name="T62" fmla="*/ 724 w 731"/>
                    <a:gd name="T63" fmla="*/ 440 h 731"/>
                    <a:gd name="T64" fmla="*/ 731 w 731"/>
                    <a:gd name="T65" fmla="*/ 385 h 731"/>
                    <a:gd name="T66" fmla="*/ 731 w 731"/>
                    <a:gd name="T67" fmla="*/ 347 h 731"/>
                    <a:gd name="T68" fmla="*/ 724 w 731"/>
                    <a:gd name="T69" fmla="*/ 293 h 731"/>
                    <a:gd name="T70" fmla="*/ 709 w 731"/>
                    <a:gd name="T71" fmla="*/ 241 h 731"/>
                    <a:gd name="T72" fmla="*/ 687 w 731"/>
                    <a:gd name="T73" fmla="*/ 191 h 731"/>
                    <a:gd name="T74" fmla="*/ 659 w 731"/>
                    <a:gd name="T75" fmla="*/ 147 h 731"/>
                    <a:gd name="T76" fmla="*/ 624 w 731"/>
                    <a:gd name="T77" fmla="*/ 107 h 731"/>
                    <a:gd name="T78" fmla="*/ 584 w 731"/>
                    <a:gd name="T79" fmla="*/ 73 h 731"/>
                    <a:gd name="T80" fmla="*/ 540 w 731"/>
                    <a:gd name="T81" fmla="*/ 45 h 731"/>
                    <a:gd name="T82" fmla="*/ 492 w 731"/>
                    <a:gd name="T83" fmla="*/ 23 h 731"/>
                    <a:gd name="T84" fmla="*/ 440 w 731"/>
                    <a:gd name="T85" fmla="*/ 8 h 731"/>
                    <a:gd name="T86" fmla="*/ 385 w 731"/>
                    <a:gd name="T87" fmla="*/ 1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1" h="731">
                      <a:moveTo>
                        <a:pt x="366" y="0"/>
                      </a:moveTo>
                      <a:lnTo>
                        <a:pt x="366" y="0"/>
                      </a:lnTo>
                      <a:lnTo>
                        <a:pt x="347" y="1"/>
                      </a:lnTo>
                      <a:lnTo>
                        <a:pt x="328" y="2"/>
                      </a:lnTo>
                      <a:lnTo>
                        <a:pt x="310" y="5"/>
                      </a:lnTo>
                      <a:lnTo>
                        <a:pt x="292" y="8"/>
                      </a:lnTo>
                      <a:lnTo>
                        <a:pt x="274" y="12"/>
                      </a:lnTo>
                      <a:lnTo>
                        <a:pt x="257" y="17"/>
                      </a:lnTo>
                      <a:lnTo>
                        <a:pt x="239" y="23"/>
                      </a:lnTo>
                      <a:lnTo>
                        <a:pt x="223" y="29"/>
                      </a:lnTo>
                      <a:lnTo>
                        <a:pt x="207" y="37"/>
                      </a:lnTo>
                      <a:lnTo>
                        <a:pt x="191" y="45"/>
                      </a:lnTo>
                      <a:lnTo>
                        <a:pt x="176" y="53"/>
                      </a:lnTo>
                      <a:lnTo>
                        <a:pt x="161" y="63"/>
                      </a:lnTo>
                      <a:lnTo>
                        <a:pt x="147" y="73"/>
                      </a:lnTo>
                      <a:lnTo>
                        <a:pt x="134" y="84"/>
                      </a:lnTo>
                      <a:lnTo>
                        <a:pt x="120" y="96"/>
                      </a:lnTo>
                      <a:lnTo>
                        <a:pt x="107" y="107"/>
                      </a:lnTo>
                      <a:lnTo>
                        <a:pt x="96" y="120"/>
                      </a:lnTo>
                      <a:lnTo>
                        <a:pt x="84" y="134"/>
                      </a:lnTo>
                      <a:lnTo>
                        <a:pt x="73" y="147"/>
                      </a:lnTo>
                      <a:lnTo>
                        <a:pt x="62" y="161"/>
                      </a:lnTo>
                      <a:lnTo>
                        <a:pt x="53" y="176"/>
                      </a:lnTo>
                      <a:lnTo>
                        <a:pt x="44" y="191"/>
                      </a:lnTo>
                      <a:lnTo>
                        <a:pt x="36" y="207"/>
                      </a:lnTo>
                      <a:lnTo>
                        <a:pt x="29" y="223"/>
                      </a:lnTo>
                      <a:lnTo>
                        <a:pt x="22" y="241"/>
                      </a:lnTo>
                      <a:lnTo>
                        <a:pt x="16" y="257"/>
                      </a:lnTo>
                      <a:lnTo>
                        <a:pt x="12" y="274"/>
                      </a:lnTo>
                      <a:lnTo>
                        <a:pt x="8" y="293"/>
                      </a:lnTo>
                      <a:lnTo>
                        <a:pt x="5" y="310"/>
                      </a:lnTo>
                      <a:lnTo>
                        <a:pt x="2" y="328"/>
                      </a:lnTo>
                      <a:lnTo>
                        <a:pt x="1" y="347"/>
                      </a:lnTo>
                      <a:lnTo>
                        <a:pt x="0" y="366"/>
                      </a:lnTo>
                      <a:lnTo>
                        <a:pt x="0" y="366"/>
                      </a:lnTo>
                      <a:lnTo>
                        <a:pt x="1" y="385"/>
                      </a:lnTo>
                      <a:lnTo>
                        <a:pt x="2" y="403"/>
                      </a:lnTo>
                      <a:lnTo>
                        <a:pt x="5" y="421"/>
                      </a:lnTo>
                      <a:lnTo>
                        <a:pt x="8" y="440"/>
                      </a:lnTo>
                      <a:lnTo>
                        <a:pt x="12" y="457"/>
                      </a:lnTo>
                      <a:lnTo>
                        <a:pt x="16" y="474"/>
                      </a:lnTo>
                      <a:lnTo>
                        <a:pt x="22" y="492"/>
                      </a:lnTo>
                      <a:lnTo>
                        <a:pt x="29" y="508"/>
                      </a:lnTo>
                      <a:lnTo>
                        <a:pt x="36" y="524"/>
                      </a:lnTo>
                      <a:lnTo>
                        <a:pt x="44" y="540"/>
                      </a:lnTo>
                      <a:lnTo>
                        <a:pt x="53" y="555"/>
                      </a:lnTo>
                      <a:lnTo>
                        <a:pt x="62" y="570"/>
                      </a:lnTo>
                      <a:lnTo>
                        <a:pt x="73" y="585"/>
                      </a:lnTo>
                      <a:lnTo>
                        <a:pt x="84" y="599"/>
                      </a:lnTo>
                      <a:lnTo>
                        <a:pt x="96" y="611"/>
                      </a:lnTo>
                      <a:lnTo>
                        <a:pt x="107" y="624"/>
                      </a:lnTo>
                      <a:lnTo>
                        <a:pt x="120" y="637"/>
                      </a:lnTo>
                      <a:lnTo>
                        <a:pt x="134" y="648"/>
                      </a:lnTo>
                      <a:lnTo>
                        <a:pt x="147" y="659"/>
                      </a:lnTo>
                      <a:lnTo>
                        <a:pt x="161" y="669"/>
                      </a:lnTo>
                      <a:lnTo>
                        <a:pt x="176" y="678"/>
                      </a:lnTo>
                      <a:lnTo>
                        <a:pt x="191" y="687"/>
                      </a:lnTo>
                      <a:lnTo>
                        <a:pt x="207" y="695"/>
                      </a:lnTo>
                      <a:lnTo>
                        <a:pt x="223" y="702"/>
                      </a:lnTo>
                      <a:lnTo>
                        <a:pt x="239" y="709"/>
                      </a:lnTo>
                      <a:lnTo>
                        <a:pt x="257" y="715"/>
                      </a:lnTo>
                      <a:lnTo>
                        <a:pt x="274" y="720"/>
                      </a:lnTo>
                      <a:lnTo>
                        <a:pt x="292" y="724"/>
                      </a:lnTo>
                      <a:lnTo>
                        <a:pt x="310" y="727"/>
                      </a:lnTo>
                      <a:lnTo>
                        <a:pt x="328" y="729"/>
                      </a:lnTo>
                      <a:lnTo>
                        <a:pt x="347" y="731"/>
                      </a:lnTo>
                      <a:lnTo>
                        <a:pt x="366" y="731"/>
                      </a:lnTo>
                      <a:lnTo>
                        <a:pt x="366" y="731"/>
                      </a:lnTo>
                      <a:lnTo>
                        <a:pt x="385" y="731"/>
                      </a:lnTo>
                      <a:lnTo>
                        <a:pt x="403" y="729"/>
                      </a:lnTo>
                      <a:lnTo>
                        <a:pt x="421" y="727"/>
                      </a:lnTo>
                      <a:lnTo>
                        <a:pt x="440" y="724"/>
                      </a:lnTo>
                      <a:lnTo>
                        <a:pt x="457" y="720"/>
                      </a:lnTo>
                      <a:lnTo>
                        <a:pt x="474" y="715"/>
                      </a:lnTo>
                      <a:lnTo>
                        <a:pt x="492" y="709"/>
                      </a:lnTo>
                      <a:lnTo>
                        <a:pt x="508" y="702"/>
                      </a:lnTo>
                      <a:lnTo>
                        <a:pt x="524" y="695"/>
                      </a:lnTo>
                      <a:lnTo>
                        <a:pt x="540" y="687"/>
                      </a:lnTo>
                      <a:lnTo>
                        <a:pt x="555" y="678"/>
                      </a:lnTo>
                      <a:lnTo>
                        <a:pt x="570" y="669"/>
                      </a:lnTo>
                      <a:lnTo>
                        <a:pt x="584" y="659"/>
                      </a:lnTo>
                      <a:lnTo>
                        <a:pt x="598" y="648"/>
                      </a:lnTo>
                      <a:lnTo>
                        <a:pt x="611" y="637"/>
                      </a:lnTo>
                      <a:lnTo>
                        <a:pt x="624" y="624"/>
                      </a:lnTo>
                      <a:lnTo>
                        <a:pt x="637" y="611"/>
                      </a:lnTo>
                      <a:lnTo>
                        <a:pt x="647" y="599"/>
                      </a:lnTo>
                      <a:lnTo>
                        <a:pt x="659" y="585"/>
                      </a:lnTo>
                      <a:lnTo>
                        <a:pt x="669" y="570"/>
                      </a:lnTo>
                      <a:lnTo>
                        <a:pt x="678" y="555"/>
                      </a:lnTo>
                      <a:lnTo>
                        <a:pt x="687" y="540"/>
                      </a:lnTo>
                      <a:lnTo>
                        <a:pt x="695" y="524"/>
                      </a:lnTo>
                      <a:lnTo>
                        <a:pt x="702" y="508"/>
                      </a:lnTo>
                      <a:lnTo>
                        <a:pt x="709" y="492"/>
                      </a:lnTo>
                      <a:lnTo>
                        <a:pt x="715" y="474"/>
                      </a:lnTo>
                      <a:lnTo>
                        <a:pt x="720" y="457"/>
                      </a:lnTo>
                      <a:lnTo>
                        <a:pt x="724" y="440"/>
                      </a:lnTo>
                      <a:lnTo>
                        <a:pt x="726" y="421"/>
                      </a:lnTo>
                      <a:lnTo>
                        <a:pt x="729" y="403"/>
                      </a:lnTo>
                      <a:lnTo>
                        <a:pt x="731" y="385"/>
                      </a:lnTo>
                      <a:lnTo>
                        <a:pt x="731" y="366"/>
                      </a:lnTo>
                      <a:lnTo>
                        <a:pt x="731" y="366"/>
                      </a:lnTo>
                      <a:lnTo>
                        <a:pt x="731" y="347"/>
                      </a:lnTo>
                      <a:lnTo>
                        <a:pt x="729" y="328"/>
                      </a:lnTo>
                      <a:lnTo>
                        <a:pt x="726" y="310"/>
                      </a:lnTo>
                      <a:lnTo>
                        <a:pt x="724" y="293"/>
                      </a:lnTo>
                      <a:lnTo>
                        <a:pt x="720" y="274"/>
                      </a:lnTo>
                      <a:lnTo>
                        <a:pt x="715" y="257"/>
                      </a:lnTo>
                      <a:lnTo>
                        <a:pt x="709" y="241"/>
                      </a:lnTo>
                      <a:lnTo>
                        <a:pt x="702" y="223"/>
                      </a:lnTo>
                      <a:lnTo>
                        <a:pt x="695" y="207"/>
                      </a:lnTo>
                      <a:lnTo>
                        <a:pt x="687" y="191"/>
                      </a:lnTo>
                      <a:lnTo>
                        <a:pt x="678" y="176"/>
                      </a:lnTo>
                      <a:lnTo>
                        <a:pt x="669" y="161"/>
                      </a:lnTo>
                      <a:lnTo>
                        <a:pt x="659" y="147"/>
                      </a:lnTo>
                      <a:lnTo>
                        <a:pt x="647" y="134"/>
                      </a:lnTo>
                      <a:lnTo>
                        <a:pt x="637" y="120"/>
                      </a:lnTo>
                      <a:lnTo>
                        <a:pt x="624" y="107"/>
                      </a:lnTo>
                      <a:lnTo>
                        <a:pt x="611" y="96"/>
                      </a:lnTo>
                      <a:lnTo>
                        <a:pt x="598" y="84"/>
                      </a:lnTo>
                      <a:lnTo>
                        <a:pt x="584" y="73"/>
                      </a:lnTo>
                      <a:lnTo>
                        <a:pt x="570" y="63"/>
                      </a:lnTo>
                      <a:lnTo>
                        <a:pt x="555" y="53"/>
                      </a:lnTo>
                      <a:lnTo>
                        <a:pt x="540" y="45"/>
                      </a:lnTo>
                      <a:lnTo>
                        <a:pt x="524" y="37"/>
                      </a:lnTo>
                      <a:lnTo>
                        <a:pt x="508" y="29"/>
                      </a:lnTo>
                      <a:lnTo>
                        <a:pt x="492" y="23"/>
                      </a:lnTo>
                      <a:lnTo>
                        <a:pt x="474" y="17"/>
                      </a:lnTo>
                      <a:lnTo>
                        <a:pt x="457" y="12"/>
                      </a:lnTo>
                      <a:lnTo>
                        <a:pt x="440" y="8"/>
                      </a:lnTo>
                      <a:lnTo>
                        <a:pt x="421" y="5"/>
                      </a:lnTo>
                      <a:lnTo>
                        <a:pt x="403" y="2"/>
                      </a:lnTo>
                      <a:lnTo>
                        <a:pt x="385" y="1"/>
                      </a:lnTo>
                      <a:lnTo>
                        <a:pt x="3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5" name="Freeform 259"/>
                <p:cNvSpPr>
                  <a:spLocks/>
                </p:cNvSpPr>
                <p:nvPr/>
              </p:nvSpPr>
              <p:spPr bwMode="auto">
                <a:xfrm>
                  <a:off x="4933950" y="2808288"/>
                  <a:ext cx="101600" cy="101600"/>
                </a:xfrm>
                <a:custGeom>
                  <a:avLst/>
                  <a:gdLst>
                    <a:gd name="T0" fmla="*/ 223 w 448"/>
                    <a:gd name="T1" fmla="*/ 0 h 449"/>
                    <a:gd name="T2" fmla="*/ 178 w 448"/>
                    <a:gd name="T3" fmla="*/ 5 h 449"/>
                    <a:gd name="T4" fmla="*/ 137 w 448"/>
                    <a:gd name="T5" fmla="*/ 18 h 449"/>
                    <a:gd name="T6" fmla="*/ 98 w 448"/>
                    <a:gd name="T7" fmla="*/ 38 h 449"/>
                    <a:gd name="T8" fmla="*/ 65 w 448"/>
                    <a:gd name="T9" fmla="*/ 66 h 449"/>
                    <a:gd name="T10" fmla="*/ 38 w 448"/>
                    <a:gd name="T11" fmla="*/ 99 h 449"/>
                    <a:gd name="T12" fmla="*/ 17 w 448"/>
                    <a:gd name="T13" fmla="*/ 137 h 449"/>
                    <a:gd name="T14" fmla="*/ 3 w 448"/>
                    <a:gd name="T15" fmla="*/ 180 h 449"/>
                    <a:gd name="T16" fmla="*/ 0 w 448"/>
                    <a:gd name="T17" fmla="*/ 225 h 449"/>
                    <a:gd name="T18" fmla="*/ 1 w 448"/>
                    <a:gd name="T19" fmla="*/ 248 h 449"/>
                    <a:gd name="T20" fmla="*/ 9 w 448"/>
                    <a:gd name="T21" fmla="*/ 292 h 449"/>
                    <a:gd name="T22" fmla="*/ 26 w 448"/>
                    <a:gd name="T23" fmla="*/ 332 h 449"/>
                    <a:gd name="T24" fmla="*/ 50 w 448"/>
                    <a:gd name="T25" fmla="*/ 368 h 449"/>
                    <a:gd name="T26" fmla="*/ 80 w 448"/>
                    <a:gd name="T27" fmla="*/ 398 h 449"/>
                    <a:gd name="T28" fmla="*/ 116 w 448"/>
                    <a:gd name="T29" fmla="*/ 422 h 449"/>
                    <a:gd name="T30" fmla="*/ 156 w 448"/>
                    <a:gd name="T31" fmla="*/ 439 h 449"/>
                    <a:gd name="T32" fmla="*/ 200 w 448"/>
                    <a:gd name="T33" fmla="*/ 448 h 449"/>
                    <a:gd name="T34" fmla="*/ 223 w 448"/>
                    <a:gd name="T35" fmla="*/ 449 h 449"/>
                    <a:gd name="T36" fmla="*/ 269 w 448"/>
                    <a:gd name="T37" fmla="*/ 445 h 449"/>
                    <a:gd name="T38" fmla="*/ 311 w 448"/>
                    <a:gd name="T39" fmla="*/ 431 h 449"/>
                    <a:gd name="T40" fmla="*/ 349 w 448"/>
                    <a:gd name="T41" fmla="*/ 410 h 449"/>
                    <a:gd name="T42" fmla="*/ 382 w 448"/>
                    <a:gd name="T43" fmla="*/ 384 h 449"/>
                    <a:gd name="T44" fmla="*/ 410 w 448"/>
                    <a:gd name="T45" fmla="*/ 350 h 449"/>
                    <a:gd name="T46" fmla="*/ 430 w 448"/>
                    <a:gd name="T47" fmla="*/ 312 h 449"/>
                    <a:gd name="T48" fmla="*/ 443 w 448"/>
                    <a:gd name="T49" fmla="*/ 270 h 449"/>
                    <a:gd name="T50" fmla="*/ 448 w 448"/>
                    <a:gd name="T51" fmla="*/ 225 h 449"/>
                    <a:gd name="T52" fmla="*/ 446 w 448"/>
                    <a:gd name="T53" fmla="*/ 202 h 449"/>
                    <a:gd name="T54" fmla="*/ 437 w 448"/>
                    <a:gd name="T55" fmla="*/ 158 h 449"/>
                    <a:gd name="T56" fmla="*/ 421 w 448"/>
                    <a:gd name="T57" fmla="*/ 118 h 449"/>
                    <a:gd name="T58" fmla="*/ 397 w 448"/>
                    <a:gd name="T59" fmla="*/ 82 h 449"/>
                    <a:gd name="T60" fmla="*/ 366 w 448"/>
                    <a:gd name="T61" fmla="*/ 52 h 449"/>
                    <a:gd name="T62" fmla="*/ 330 w 448"/>
                    <a:gd name="T63" fmla="*/ 28 h 449"/>
                    <a:gd name="T64" fmla="*/ 290 w 448"/>
                    <a:gd name="T65" fmla="*/ 11 h 449"/>
                    <a:gd name="T66" fmla="*/ 246 w 448"/>
                    <a:gd name="T67" fmla="*/ 2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8" h="449">
                      <a:moveTo>
                        <a:pt x="223" y="0"/>
                      </a:moveTo>
                      <a:lnTo>
                        <a:pt x="223" y="0"/>
                      </a:lnTo>
                      <a:lnTo>
                        <a:pt x="200" y="2"/>
                      </a:lnTo>
                      <a:lnTo>
                        <a:pt x="178" y="5"/>
                      </a:lnTo>
                      <a:lnTo>
                        <a:pt x="156" y="11"/>
                      </a:lnTo>
                      <a:lnTo>
                        <a:pt x="137" y="18"/>
                      </a:lnTo>
                      <a:lnTo>
                        <a:pt x="116" y="28"/>
                      </a:lnTo>
                      <a:lnTo>
                        <a:pt x="98" y="38"/>
                      </a:lnTo>
                      <a:lnTo>
                        <a:pt x="80" y="52"/>
                      </a:lnTo>
                      <a:lnTo>
                        <a:pt x="65" y="66"/>
                      </a:lnTo>
                      <a:lnTo>
                        <a:pt x="50" y="82"/>
                      </a:lnTo>
                      <a:lnTo>
                        <a:pt x="38" y="99"/>
                      </a:lnTo>
                      <a:lnTo>
                        <a:pt x="26" y="118"/>
                      </a:lnTo>
                      <a:lnTo>
                        <a:pt x="17" y="137"/>
                      </a:lnTo>
                      <a:lnTo>
                        <a:pt x="9" y="158"/>
                      </a:lnTo>
                      <a:lnTo>
                        <a:pt x="3" y="180"/>
                      </a:lnTo>
                      <a:lnTo>
                        <a:pt x="1" y="202"/>
                      </a:lnTo>
                      <a:lnTo>
                        <a:pt x="0" y="225"/>
                      </a:lnTo>
                      <a:lnTo>
                        <a:pt x="0" y="225"/>
                      </a:lnTo>
                      <a:lnTo>
                        <a:pt x="1" y="248"/>
                      </a:lnTo>
                      <a:lnTo>
                        <a:pt x="3" y="270"/>
                      </a:lnTo>
                      <a:lnTo>
                        <a:pt x="9" y="292"/>
                      </a:lnTo>
                      <a:lnTo>
                        <a:pt x="17" y="312"/>
                      </a:lnTo>
                      <a:lnTo>
                        <a:pt x="26" y="332"/>
                      </a:lnTo>
                      <a:lnTo>
                        <a:pt x="38" y="350"/>
                      </a:lnTo>
                      <a:lnTo>
                        <a:pt x="50" y="368"/>
                      </a:lnTo>
                      <a:lnTo>
                        <a:pt x="65" y="384"/>
                      </a:lnTo>
                      <a:lnTo>
                        <a:pt x="80" y="398"/>
                      </a:lnTo>
                      <a:lnTo>
                        <a:pt x="98" y="410"/>
                      </a:lnTo>
                      <a:lnTo>
                        <a:pt x="116" y="422"/>
                      </a:lnTo>
                      <a:lnTo>
                        <a:pt x="137" y="431"/>
                      </a:lnTo>
                      <a:lnTo>
                        <a:pt x="156" y="439"/>
                      </a:lnTo>
                      <a:lnTo>
                        <a:pt x="178" y="445"/>
                      </a:lnTo>
                      <a:lnTo>
                        <a:pt x="200" y="448"/>
                      </a:lnTo>
                      <a:lnTo>
                        <a:pt x="223" y="449"/>
                      </a:lnTo>
                      <a:lnTo>
                        <a:pt x="223" y="449"/>
                      </a:lnTo>
                      <a:lnTo>
                        <a:pt x="246" y="448"/>
                      </a:lnTo>
                      <a:lnTo>
                        <a:pt x="269" y="445"/>
                      </a:lnTo>
                      <a:lnTo>
                        <a:pt x="290" y="439"/>
                      </a:lnTo>
                      <a:lnTo>
                        <a:pt x="311" y="431"/>
                      </a:lnTo>
                      <a:lnTo>
                        <a:pt x="330" y="422"/>
                      </a:lnTo>
                      <a:lnTo>
                        <a:pt x="349" y="410"/>
                      </a:lnTo>
                      <a:lnTo>
                        <a:pt x="366" y="398"/>
                      </a:lnTo>
                      <a:lnTo>
                        <a:pt x="382" y="384"/>
                      </a:lnTo>
                      <a:lnTo>
                        <a:pt x="397" y="368"/>
                      </a:lnTo>
                      <a:lnTo>
                        <a:pt x="410" y="350"/>
                      </a:lnTo>
                      <a:lnTo>
                        <a:pt x="421" y="332"/>
                      </a:lnTo>
                      <a:lnTo>
                        <a:pt x="430" y="312"/>
                      </a:lnTo>
                      <a:lnTo>
                        <a:pt x="437" y="292"/>
                      </a:lnTo>
                      <a:lnTo>
                        <a:pt x="443" y="270"/>
                      </a:lnTo>
                      <a:lnTo>
                        <a:pt x="446" y="248"/>
                      </a:lnTo>
                      <a:lnTo>
                        <a:pt x="448" y="225"/>
                      </a:lnTo>
                      <a:lnTo>
                        <a:pt x="448" y="225"/>
                      </a:lnTo>
                      <a:lnTo>
                        <a:pt x="446" y="202"/>
                      </a:lnTo>
                      <a:lnTo>
                        <a:pt x="443" y="180"/>
                      </a:lnTo>
                      <a:lnTo>
                        <a:pt x="437" y="158"/>
                      </a:lnTo>
                      <a:lnTo>
                        <a:pt x="430" y="137"/>
                      </a:lnTo>
                      <a:lnTo>
                        <a:pt x="421" y="118"/>
                      </a:lnTo>
                      <a:lnTo>
                        <a:pt x="410" y="99"/>
                      </a:lnTo>
                      <a:lnTo>
                        <a:pt x="397" y="82"/>
                      </a:lnTo>
                      <a:lnTo>
                        <a:pt x="382" y="66"/>
                      </a:lnTo>
                      <a:lnTo>
                        <a:pt x="366" y="52"/>
                      </a:lnTo>
                      <a:lnTo>
                        <a:pt x="349" y="38"/>
                      </a:lnTo>
                      <a:lnTo>
                        <a:pt x="330" y="28"/>
                      </a:lnTo>
                      <a:lnTo>
                        <a:pt x="311" y="18"/>
                      </a:lnTo>
                      <a:lnTo>
                        <a:pt x="290" y="11"/>
                      </a:lnTo>
                      <a:lnTo>
                        <a:pt x="269" y="5"/>
                      </a:lnTo>
                      <a:lnTo>
                        <a:pt x="246" y="2"/>
                      </a:lnTo>
                      <a:lnTo>
                        <a:pt x="223" y="0"/>
                      </a:lnTo>
                      <a:close/>
                    </a:path>
                  </a:pathLst>
                </a:custGeom>
                <a:solidFill>
                  <a:srgbClr val="FF98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6" name="Freeform 260"/>
                <p:cNvSpPr>
                  <a:spLocks/>
                </p:cNvSpPr>
                <p:nvPr/>
              </p:nvSpPr>
              <p:spPr bwMode="auto">
                <a:xfrm>
                  <a:off x="4933950" y="2808288"/>
                  <a:ext cx="101600" cy="101600"/>
                </a:xfrm>
                <a:custGeom>
                  <a:avLst/>
                  <a:gdLst>
                    <a:gd name="T0" fmla="*/ 223 w 448"/>
                    <a:gd name="T1" fmla="*/ 0 h 449"/>
                    <a:gd name="T2" fmla="*/ 178 w 448"/>
                    <a:gd name="T3" fmla="*/ 5 h 449"/>
                    <a:gd name="T4" fmla="*/ 137 w 448"/>
                    <a:gd name="T5" fmla="*/ 18 h 449"/>
                    <a:gd name="T6" fmla="*/ 98 w 448"/>
                    <a:gd name="T7" fmla="*/ 38 h 449"/>
                    <a:gd name="T8" fmla="*/ 65 w 448"/>
                    <a:gd name="T9" fmla="*/ 66 h 449"/>
                    <a:gd name="T10" fmla="*/ 38 w 448"/>
                    <a:gd name="T11" fmla="*/ 99 h 449"/>
                    <a:gd name="T12" fmla="*/ 17 w 448"/>
                    <a:gd name="T13" fmla="*/ 137 h 449"/>
                    <a:gd name="T14" fmla="*/ 3 w 448"/>
                    <a:gd name="T15" fmla="*/ 180 h 449"/>
                    <a:gd name="T16" fmla="*/ 0 w 448"/>
                    <a:gd name="T17" fmla="*/ 225 h 449"/>
                    <a:gd name="T18" fmla="*/ 1 w 448"/>
                    <a:gd name="T19" fmla="*/ 248 h 449"/>
                    <a:gd name="T20" fmla="*/ 9 w 448"/>
                    <a:gd name="T21" fmla="*/ 292 h 449"/>
                    <a:gd name="T22" fmla="*/ 26 w 448"/>
                    <a:gd name="T23" fmla="*/ 332 h 449"/>
                    <a:gd name="T24" fmla="*/ 50 w 448"/>
                    <a:gd name="T25" fmla="*/ 368 h 449"/>
                    <a:gd name="T26" fmla="*/ 80 w 448"/>
                    <a:gd name="T27" fmla="*/ 398 h 449"/>
                    <a:gd name="T28" fmla="*/ 116 w 448"/>
                    <a:gd name="T29" fmla="*/ 422 h 449"/>
                    <a:gd name="T30" fmla="*/ 156 w 448"/>
                    <a:gd name="T31" fmla="*/ 439 h 449"/>
                    <a:gd name="T32" fmla="*/ 200 w 448"/>
                    <a:gd name="T33" fmla="*/ 448 h 449"/>
                    <a:gd name="T34" fmla="*/ 223 w 448"/>
                    <a:gd name="T35" fmla="*/ 449 h 449"/>
                    <a:gd name="T36" fmla="*/ 269 w 448"/>
                    <a:gd name="T37" fmla="*/ 445 h 449"/>
                    <a:gd name="T38" fmla="*/ 311 w 448"/>
                    <a:gd name="T39" fmla="*/ 431 h 449"/>
                    <a:gd name="T40" fmla="*/ 349 w 448"/>
                    <a:gd name="T41" fmla="*/ 410 h 449"/>
                    <a:gd name="T42" fmla="*/ 382 w 448"/>
                    <a:gd name="T43" fmla="*/ 384 h 449"/>
                    <a:gd name="T44" fmla="*/ 410 w 448"/>
                    <a:gd name="T45" fmla="*/ 350 h 449"/>
                    <a:gd name="T46" fmla="*/ 430 w 448"/>
                    <a:gd name="T47" fmla="*/ 312 h 449"/>
                    <a:gd name="T48" fmla="*/ 443 w 448"/>
                    <a:gd name="T49" fmla="*/ 270 h 449"/>
                    <a:gd name="T50" fmla="*/ 448 w 448"/>
                    <a:gd name="T51" fmla="*/ 225 h 449"/>
                    <a:gd name="T52" fmla="*/ 446 w 448"/>
                    <a:gd name="T53" fmla="*/ 202 h 449"/>
                    <a:gd name="T54" fmla="*/ 437 w 448"/>
                    <a:gd name="T55" fmla="*/ 158 h 449"/>
                    <a:gd name="T56" fmla="*/ 421 w 448"/>
                    <a:gd name="T57" fmla="*/ 118 h 449"/>
                    <a:gd name="T58" fmla="*/ 397 w 448"/>
                    <a:gd name="T59" fmla="*/ 82 h 449"/>
                    <a:gd name="T60" fmla="*/ 366 w 448"/>
                    <a:gd name="T61" fmla="*/ 52 h 449"/>
                    <a:gd name="T62" fmla="*/ 330 w 448"/>
                    <a:gd name="T63" fmla="*/ 28 h 449"/>
                    <a:gd name="T64" fmla="*/ 290 w 448"/>
                    <a:gd name="T65" fmla="*/ 11 h 449"/>
                    <a:gd name="T66" fmla="*/ 246 w 448"/>
                    <a:gd name="T67" fmla="*/ 2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8" h="449">
                      <a:moveTo>
                        <a:pt x="223" y="0"/>
                      </a:moveTo>
                      <a:lnTo>
                        <a:pt x="223" y="0"/>
                      </a:lnTo>
                      <a:lnTo>
                        <a:pt x="200" y="2"/>
                      </a:lnTo>
                      <a:lnTo>
                        <a:pt x="178" y="5"/>
                      </a:lnTo>
                      <a:lnTo>
                        <a:pt x="156" y="11"/>
                      </a:lnTo>
                      <a:lnTo>
                        <a:pt x="137" y="18"/>
                      </a:lnTo>
                      <a:lnTo>
                        <a:pt x="116" y="28"/>
                      </a:lnTo>
                      <a:lnTo>
                        <a:pt x="98" y="38"/>
                      </a:lnTo>
                      <a:lnTo>
                        <a:pt x="80" y="52"/>
                      </a:lnTo>
                      <a:lnTo>
                        <a:pt x="65" y="66"/>
                      </a:lnTo>
                      <a:lnTo>
                        <a:pt x="50" y="82"/>
                      </a:lnTo>
                      <a:lnTo>
                        <a:pt x="38" y="99"/>
                      </a:lnTo>
                      <a:lnTo>
                        <a:pt x="26" y="118"/>
                      </a:lnTo>
                      <a:lnTo>
                        <a:pt x="17" y="137"/>
                      </a:lnTo>
                      <a:lnTo>
                        <a:pt x="9" y="158"/>
                      </a:lnTo>
                      <a:lnTo>
                        <a:pt x="3" y="180"/>
                      </a:lnTo>
                      <a:lnTo>
                        <a:pt x="1" y="202"/>
                      </a:lnTo>
                      <a:lnTo>
                        <a:pt x="0" y="225"/>
                      </a:lnTo>
                      <a:lnTo>
                        <a:pt x="0" y="225"/>
                      </a:lnTo>
                      <a:lnTo>
                        <a:pt x="1" y="248"/>
                      </a:lnTo>
                      <a:lnTo>
                        <a:pt x="3" y="270"/>
                      </a:lnTo>
                      <a:lnTo>
                        <a:pt x="9" y="292"/>
                      </a:lnTo>
                      <a:lnTo>
                        <a:pt x="17" y="312"/>
                      </a:lnTo>
                      <a:lnTo>
                        <a:pt x="26" y="332"/>
                      </a:lnTo>
                      <a:lnTo>
                        <a:pt x="38" y="350"/>
                      </a:lnTo>
                      <a:lnTo>
                        <a:pt x="50" y="368"/>
                      </a:lnTo>
                      <a:lnTo>
                        <a:pt x="65" y="384"/>
                      </a:lnTo>
                      <a:lnTo>
                        <a:pt x="80" y="398"/>
                      </a:lnTo>
                      <a:lnTo>
                        <a:pt x="98" y="410"/>
                      </a:lnTo>
                      <a:lnTo>
                        <a:pt x="116" y="422"/>
                      </a:lnTo>
                      <a:lnTo>
                        <a:pt x="137" y="431"/>
                      </a:lnTo>
                      <a:lnTo>
                        <a:pt x="156" y="439"/>
                      </a:lnTo>
                      <a:lnTo>
                        <a:pt x="178" y="445"/>
                      </a:lnTo>
                      <a:lnTo>
                        <a:pt x="200" y="448"/>
                      </a:lnTo>
                      <a:lnTo>
                        <a:pt x="223" y="449"/>
                      </a:lnTo>
                      <a:lnTo>
                        <a:pt x="223" y="449"/>
                      </a:lnTo>
                      <a:lnTo>
                        <a:pt x="246" y="448"/>
                      </a:lnTo>
                      <a:lnTo>
                        <a:pt x="269" y="445"/>
                      </a:lnTo>
                      <a:lnTo>
                        <a:pt x="290" y="439"/>
                      </a:lnTo>
                      <a:lnTo>
                        <a:pt x="311" y="431"/>
                      </a:lnTo>
                      <a:lnTo>
                        <a:pt x="330" y="422"/>
                      </a:lnTo>
                      <a:lnTo>
                        <a:pt x="349" y="410"/>
                      </a:lnTo>
                      <a:lnTo>
                        <a:pt x="366" y="398"/>
                      </a:lnTo>
                      <a:lnTo>
                        <a:pt x="382" y="384"/>
                      </a:lnTo>
                      <a:lnTo>
                        <a:pt x="397" y="368"/>
                      </a:lnTo>
                      <a:lnTo>
                        <a:pt x="410" y="350"/>
                      </a:lnTo>
                      <a:lnTo>
                        <a:pt x="421" y="332"/>
                      </a:lnTo>
                      <a:lnTo>
                        <a:pt x="430" y="312"/>
                      </a:lnTo>
                      <a:lnTo>
                        <a:pt x="437" y="292"/>
                      </a:lnTo>
                      <a:lnTo>
                        <a:pt x="443" y="270"/>
                      </a:lnTo>
                      <a:lnTo>
                        <a:pt x="446" y="248"/>
                      </a:lnTo>
                      <a:lnTo>
                        <a:pt x="448" y="225"/>
                      </a:lnTo>
                      <a:lnTo>
                        <a:pt x="448" y="225"/>
                      </a:lnTo>
                      <a:lnTo>
                        <a:pt x="446" y="202"/>
                      </a:lnTo>
                      <a:lnTo>
                        <a:pt x="443" y="180"/>
                      </a:lnTo>
                      <a:lnTo>
                        <a:pt x="437" y="158"/>
                      </a:lnTo>
                      <a:lnTo>
                        <a:pt x="430" y="137"/>
                      </a:lnTo>
                      <a:lnTo>
                        <a:pt x="421" y="118"/>
                      </a:lnTo>
                      <a:lnTo>
                        <a:pt x="410" y="99"/>
                      </a:lnTo>
                      <a:lnTo>
                        <a:pt x="397" y="82"/>
                      </a:lnTo>
                      <a:lnTo>
                        <a:pt x="382" y="66"/>
                      </a:lnTo>
                      <a:lnTo>
                        <a:pt x="366" y="52"/>
                      </a:lnTo>
                      <a:lnTo>
                        <a:pt x="349" y="38"/>
                      </a:lnTo>
                      <a:lnTo>
                        <a:pt x="330" y="28"/>
                      </a:lnTo>
                      <a:lnTo>
                        <a:pt x="311" y="18"/>
                      </a:lnTo>
                      <a:lnTo>
                        <a:pt x="290" y="11"/>
                      </a:lnTo>
                      <a:lnTo>
                        <a:pt x="269" y="5"/>
                      </a:lnTo>
                      <a:lnTo>
                        <a:pt x="246" y="2"/>
                      </a:lnTo>
                      <a:lnTo>
                        <a:pt x="2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7" name="Freeform 261"/>
                <p:cNvSpPr>
                  <a:spLocks/>
                </p:cNvSpPr>
                <p:nvPr/>
              </p:nvSpPr>
              <p:spPr bwMode="auto">
                <a:xfrm>
                  <a:off x="4759325" y="2778125"/>
                  <a:ext cx="131763" cy="131763"/>
                </a:xfrm>
                <a:custGeom>
                  <a:avLst/>
                  <a:gdLst>
                    <a:gd name="T0" fmla="*/ 289 w 579"/>
                    <a:gd name="T1" fmla="*/ 0 h 579"/>
                    <a:gd name="T2" fmla="*/ 260 w 579"/>
                    <a:gd name="T3" fmla="*/ 1 h 579"/>
                    <a:gd name="T4" fmla="*/ 231 w 579"/>
                    <a:gd name="T5" fmla="*/ 6 h 579"/>
                    <a:gd name="T6" fmla="*/ 203 w 579"/>
                    <a:gd name="T7" fmla="*/ 13 h 579"/>
                    <a:gd name="T8" fmla="*/ 176 w 579"/>
                    <a:gd name="T9" fmla="*/ 22 h 579"/>
                    <a:gd name="T10" fmla="*/ 128 w 579"/>
                    <a:gd name="T11" fmla="*/ 50 h 579"/>
                    <a:gd name="T12" fmla="*/ 84 w 579"/>
                    <a:gd name="T13" fmla="*/ 84 h 579"/>
                    <a:gd name="T14" fmla="*/ 50 w 579"/>
                    <a:gd name="T15" fmla="*/ 128 h 579"/>
                    <a:gd name="T16" fmla="*/ 23 w 579"/>
                    <a:gd name="T17" fmla="*/ 176 h 579"/>
                    <a:gd name="T18" fmla="*/ 13 w 579"/>
                    <a:gd name="T19" fmla="*/ 203 h 579"/>
                    <a:gd name="T20" fmla="*/ 6 w 579"/>
                    <a:gd name="T21" fmla="*/ 231 h 579"/>
                    <a:gd name="T22" fmla="*/ 1 w 579"/>
                    <a:gd name="T23" fmla="*/ 259 h 579"/>
                    <a:gd name="T24" fmla="*/ 0 w 579"/>
                    <a:gd name="T25" fmla="*/ 289 h 579"/>
                    <a:gd name="T26" fmla="*/ 0 w 579"/>
                    <a:gd name="T27" fmla="*/ 304 h 579"/>
                    <a:gd name="T28" fmla="*/ 3 w 579"/>
                    <a:gd name="T29" fmla="*/ 333 h 579"/>
                    <a:gd name="T30" fmla="*/ 9 w 579"/>
                    <a:gd name="T31" fmla="*/ 362 h 579"/>
                    <a:gd name="T32" fmla="*/ 17 w 579"/>
                    <a:gd name="T33" fmla="*/ 389 h 579"/>
                    <a:gd name="T34" fmla="*/ 35 w 579"/>
                    <a:gd name="T35" fmla="*/ 427 h 579"/>
                    <a:gd name="T36" fmla="*/ 66 w 579"/>
                    <a:gd name="T37" fmla="*/ 473 h 579"/>
                    <a:gd name="T38" fmla="*/ 105 w 579"/>
                    <a:gd name="T39" fmla="*/ 513 h 579"/>
                    <a:gd name="T40" fmla="*/ 151 w 579"/>
                    <a:gd name="T41" fmla="*/ 544 h 579"/>
                    <a:gd name="T42" fmla="*/ 190 w 579"/>
                    <a:gd name="T43" fmla="*/ 561 h 579"/>
                    <a:gd name="T44" fmla="*/ 216 w 579"/>
                    <a:gd name="T45" fmla="*/ 570 h 579"/>
                    <a:gd name="T46" fmla="*/ 245 w 579"/>
                    <a:gd name="T47" fmla="*/ 576 h 579"/>
                    <a:gd name="T48" fmla="*/ 274 w 579"/>
                    <a:gd name="T49" fmla="*/ 578 h 579"/>
                    <a:gd name="T50" fmla="*/ 289 w 579"/>
                    <a:gd name="T51" fmla="*/ 579 h 579"/>
                    <a:gd name="T52" fmla="*/ 319 w 579"/>
                    <a:gd name="T53" fmla="*/ 577 h 579"/>
                    <a:gd name="T54" fmla="*/ 348 w 579"/>
                    <a:gd name="T55" fmla="*/ 572 h 579"/>
                    <a:gd name="T56" fmla="*/ 375 w 579"/>
                    <a:gd name="T57" fmla="*/ 566 h 579"/>
                    <a:gd name="T58" fmla="*/ 402 w 579"/>
                    <a:gd name="T59" fmla="*/ 556 h 579"/>
                    <a:gd name="T60" fmla="*/ 451 w 579"/>
                    <a:gd name="T61" fmla="*/ 530 h 579"/>
                    <a:gd name="T62" fmla="*/ 494 w 579"/>
                    <a:gd name="T63" fmla="*/ 494 h 579"/>
                    <a:gd name="T64" fmla="*/ 530 w 579"/>
                    <a:gd name="T65" fmla="*/ 452 h 579"/>
                    <a:gd name="T66" fmla="*/ 556 w 579"/>
                    <a:gd name="T67" fmla="*/ 402 h 579"/>
                    <a:gd name="T68" fmla="*/ 566 w 579"/>
                    <a:gd name="T69" fmla="*/ 376 h 579"/>
                    <a:gd name="T70" fmla="*/ 573 w 579"/>
                    <a:gd name="T71" fmla="*/ 348 h 579"/>
                    <a:gd name="T72" fmla="*/ 578 w 579"/>
                    <a:gd name="T73" fmla="*/ 319 h 579"/>
                    <a:gd name="T74" fmla="*/ 579 w 579"/>
                    <a:gd name="T75" fmla="*/ 289 h 579"/>
                    <a:gd name="T76" fmla="*/ 578 w 579"/>
                    <a:gd name="T77" fmla="*/ 274 h 579"/>
                    <a:gd name="T78" fmla="*/ 576 w 579"/>
                    <a:gd name="T79" fmla="*/ 246 h 579"/>
                    <a:gd name="T80" fmla="*/ 570 w 579"/>
                    <a:gd name="T81" fmla="*/ 217 h 579"/>
                    <a:gd name="T82" fmla="*/ 562 w 579"/>
                    <a:gd name="T83" fmla="*/ 190 h 579"/>
                    <a:gd name="T84" fmla="*/ 543 w 579"/>
                    <a:gd name="T85" fmla="*/ 151 h 579"/>
                    <a:gd name="T86" fmla="*/ 512 w 579"/>
                    <a:gd name="T87" fmla="*/ 105 h 579"/>
                    <a:gd name="T88" fmla="*/ 473 w 579"/>
                    <a:gd name="T89" fmla="*/ 66 h 579"/>
                    <a:gd name="T90" fmla="*/ 427 w 579"/>
                    <a:gd name="T91" fmla="*/ 35 h 579"/>
                    <a:gd name="T92" fmla="*/ 389 w 579"/>
                    <a:gd name="T93" fmla="*/ 18 h 579"/>
                    <a:gd name="T94" fmla="*/ 362 w 579"/>
                    <a:gd name="T95" fmla="*/ 9 h 579"/>
                    <a:gd name="T96" fmla="*/ 334 w 579"/>
                    <a:gd name="T97" fmla="*/ 4 h 579"/>
                    <a:gd name="T98" fmla="*/ 304 w 579"/>
                    <a:gd name="T99" fmla="*/ 0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79" h="579">
                      <a:moveTo>
                        <a:pt x="289" y="0"/>
                      </a:moveTo>
                      <a:lnTo>
                        <a:pt x="289" y="0"/>
                      </a:lnTo>
                      <a:lnTo>
                        <a:pt x="274" y="0"/>
                      </a:lnTo>
                      <a:lnTo>
                        <a:pt x="260" y="1"/>
                      </a:lnTo>
                      <a:lnTo>
                        <a:pt x="245" y="4"/>
                      </a:lnTo>
                      <a:lnTo>
                        <a:pt x="231" y="6"/>
                      </a:lnTo>
                      <a:lnTo>
                        <a:pt x="216" y="9"/>
                      </a:lnTo>
                      <a:lnTo>
                        <a:pt x="203" y="13"/>
                      </a:lnTo>
                      <a:lnTo>
                        <a:pt x="190" y="18"/>
                      </a:lnTo>
                      <a:lnTo>
                        <a:pt x="176" y="22"/>
                      </a:lnTo>
                      <a:lnTo>
                        <a:pt x="151" y="35"/>
                      </a:lnTo>
                      <a:lnTo>
                        <a:pt x="128" y="50"/>
                      </a:lnTo>
                      <a:lnTo>
                        <a:pt x="105" y="66"/>
                      </a:lnTo>
                      <a:lnTo>
                        <a:pt x="84" y="84"/>
                      </a:lnTo>
                      <a:lnTo>
                        <a:pt x="66" y="105"/>
                      </a:lnTo>
                      <a:lnTo>
                        <a:pt x="50" y="128"/>
                      </a:lnTo>
                      <a:lnTo>
                        <a:pt x="35" y="151"/>
                      </a:lnTo>
                      <a:lnTo>
                        <a:pt x="23" y="176"/>
                      </a:lnTo>
                      <a:lnTo>
                        <a:pt x="17" y="190"/>
                      </a:lnTo>
                      <a:lnTo>
                        <a:pt x="13" y="203"/>
                      </a:lnTo>
                      <a:lnTo>
                        <a:pt x="9" y="217"/>
                      </a:lnTo>
                      <a:lnTo>
                        <a:pt x="6" y="231"/>
                      </a:lnTo>
                      <a:lnTo>
                        <a:pt x="3" y="246"/>
                      </a:lnTo>
                      <a:lnTo>
                        <a:pt x="1" y="259"/>
                      </a:lnTo>
                      <a:lnTo>
                        <a:pt x="0" y="274"/>
                      </a:lnTo>
                      <a:lnTo>
                        <a:pt x="0" y="289"/>
                      </a:lnTo>
                      <a:lnTo>
                        <a:pt x="0" y="289"/>
                      </a:lnTo>
                      <a:lnTo>
                        <a:pt x="0" y="304"/>
                      </a:lnTo>
                      <a:lnTo>
                        <a:pt x="1" y="319"/>
                      </a:lnTo>
                      <a:lnTo>
                        <a:pt x="3" y="333"/>
                      </a:lnTo>
                      <a:lnTo>
                        <a:pt x="6" y="348"/>
                      </a:lnTo>
                      <a:lnTo>
                        <a:pt x="9" y="362"/>
                      </a:lnTo>
                      <a:lnTo>
                        <a:pt x="13" y="376"/>
                      </a:lnTo>
                      <a:lnTo>
                        <a:pt x="17" y="389"/>
                      </a:lnTo>
                      <a:lnTo>
                        <a:pt x="23" y="402"/>
                      </a:lnTo>
                      <a:lnTo>
                        <a:pt x="35" y="427"/>
                      </a:lnTo>
                      <a:lnTo>
                        <a:pt x="50" y="452"/>
                      </a:lnTo>
                      <a:lnTo>
                        <a:pt x="66" y="473"/>
                      </a:lnTo>
                      <a:lnTo>
                        <a:pt x="84" y="494"/>
                      </a:lnTo>
                      <a:lnTo>
                        <a:pt x="105" y="513"/>
                      </a:lnTo>
                      <a:lnTo>
                        <a:pt x="128" y="530"/>
                      </a:lnTo>
                      <a:lnTo>
                        <a:pt x="151" y="544"/>
                      </a:lnTo>
                      <a:lnTo>
                        <a:pt x="176" y="556"/>
                      </a:lnTo>
                      <a:lnTo>
                        <a:pt x="190" y="561"/>
                      </a:lnTo>
                      <a:lnTo>
                        <a:pt x="203" y="566"/>
                      </a:lnTo>
                      <a:lnTo>
                        <a:pt x="216" y="570"/>
                      </a:lnTo>
                      <a:lnTo>
                        <a:pt x="231" y="572"/>
                      </a:lnTo>
                      <a:lnTo>
                        <a:pt x="245" y="576"/>
                      </a:lnTo>
                      <a:lnTo>
                        <a:pt x="260" y="577"/>
                      </a:lnTo>
                      <a:lnTo>
                        <a:pt x="274" y="578"/>
                      </a:lnTo>
                      <a:lnTo>
                        <a:pt x="289" y="579"/>
                      </a:lnTo>
                      <a:lnTo>
                        <a:pt x="289" y="579"/>
                      </a:lnTo>
                      <a:lnTo>
                        <a:pt x="304" y="578"/>
                      </a:lnTo>
                      <a:lnTo>
                        <a:pt x="319" y="577"/>
                      </a:lnTo>
                      <a:lnTo>
                        <a:pt x="334" y="576"/>
                      </a:lnTo>
                      <a:lnTo>
                        <a:pt x="348" y="572"/>
                      </a:lnTo>
                      <a:lnTo>
                        <a:pt x="362" y="570"/>
                      </a:lnTo>
                      <a:lnTo>
                        <a:pt x="375" y="566"/>
                      </a:lnTo>
                      <a:lnTo>
                        <a:pt x="389" y="561"/>
                      </a:lnTo>
                      <a:lnTo>
                        <a:pt x="402" y="556"/>
                      </a:lnTo>
                      <a:lnTo>
                        <a:pt x="427" y="544"/>
                      </a:lnTo>
                      <a:lnTo>
                        <a:pt x="451" y="530"/>
                      </a:lnTo>
                      <a:lnTo>
                        <a:pt x="473" y="513"/>
                      </a:lnTo>
                      <a:lnTo>
                        <a:pt x="494" y="494"/>
                      </a:lnTo>
                      <a:lnTo>
                        <a:pt x="512" y="473"/>
                      </a:lnTo>
                      <a:lnTo>
                        <a:pt x="530" y="452"/>
                      </a:lnTo>
                      <a:lnTo>
                        <a:pt x="543" y="427"/>
                      </a:lnTo>
                      <a:lnTo>
                        <a:pt x="556" y="402"/>
                      </a:lnTo>
                      <a:lnTo>
                        <a:pt x="562" y="389"/>
                      </a:lnTo>
                      <a:lnTo>
                        <a:pt x="566" y="376"/>
                      </a:lnTo>
                      <a:lnTo>
                        <a:pt x="570" y="362"/>
                      </a:lnTo>
                      <a:lnTo>
                        <a:pt x="573" y="348"/>
                      </a:lnTo>
                      <a:lnTo>
                        <a:pt x="576" y="333"/>
                      </a:lnTo>
                      <a:lnTo>
                        <a:pt x="578" y="319"/>
                      </a:lnTo>
                      <a:lnTo>
                        <a:pt x="578" y="304"/>
                      </a:lnTo>
                      <a:lnTo>
                        <a:pt x="579" y="289"/>
                      </a:lnTo>
                      <a:lnTo>
                        <a:pt x="579" y="289"/>
                      </a:lnTo>
                      <a:lnTo>
                        <a:pt x="578" y="274"/>
                      </a:lnTo>
                      <a:lnTo>
                        <a:pt x="578" y="259"/>
                      </a:lnTo>
                      <a:lnTo>
                        <a:pt x="576" y="246"/>
                      </a:lnTo>
                      <a:lnTo>
                        <a:pt x="573" y="231"/>
                      </a:lnTo>
                      <a:lnTo>
                        <a:pt x="570" y="217"/>
                      </a:lnTo>
                      <a:lnTo>
                        <a:pt x="566" y="203"/>
                      </a:lnTo>
                      <a:lnTo>
                        <a:pt x="562" y="190"/>
                      </a:lnTo>
                      <a:lnTo>
                        <a:pt x="556" y="176"/>
                      </a:lnTo>
                      <a:lnTo>
                        <a:pt x="543" y="151"/>
                      </a:lnTo>
                      <a:lnTo>
                        <a:pt x="530" y="128"/>
                      </a:lnTo>
                      <a:lnTo>
                        <a:pt x="512" y="105"/>
                      </a:lnTo>
                      <a:lnTo>
                        <a:pt x="494" y="84"/>
                      </a:lnTo>
                      <a:lnTo>
                        <a:pt x="473" y="66"/>
                      </a:lnTo>
                      <a:lnTo>
                        <a:pt x="451" y="50"/>
                      </a:lnTo>
                      <a:lnTo>
                        <a:pt x="427" y="35"/>
                      </a:lnTo>
                      <a:lnTo>
                        <a:pt x="402" y="22"/>
                      </a:lnTo>
                      <a:lnTo>
                        <a:pt x="389" y="18"/>
                      </a:lnTo>
                      <a:lnTo>
                        <a:pt x="375" y="13"/>
                      </a:lnTo>
                      <a:lnTo>
                        <a:pt x="362" y="9"/>
                      </a:lnTo>
                      <a:lnTo>
                        <a:pt x="348" y="6"/>
                      </a:lnTo>
                      <a:lnTo>
                        <a:pt x="334" y="4"/>
                      </a:lnTo>
                      <a:lnTo>
                        <a:pt x="319" y="1"/>
                      </a:lnTo>
                      <a:lnTo>
                        <a:pt x="304" y="0"/>
                      </a:lnTo>
                      <a:lnTo>
                        <a:pt x="289" y="0"/>
                      </a:lnTo>
                      <a:close/>
                    </a:path>
                  </a:pathLst>
                </a:custGeom>
                <a:solidFill>
                  <a:srgbClr val="FF6F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8" name="Freeform 262"/>
                <p:cNvSpPr>
                  <a:spLocks/>
                </p:cNvSpPr>
                <p:nvPr/>
              </p:nvSpPr>
              <p:spPr bwMode="auto">
                <a:xfrm>
                  <a:off x="4759325" y="2778125"/>
                  <a:ext cx="131763" cy="131763"/>
                </a:xfrm>
                <a:custGeom>
                  <a:avLst/>
                  <a:gdLst>
                    <a:gd name="T0" fmla="*/ 289 w 579"/>
                    <a:gd name="T1" fmla="*/ 0 h 579"/>
                    <a:gd name="T2" fmla="*/ 260 w 579"/>
                    <a:gd name="T3" fmla="*/ 1 h 579"/>
                    <a:gd name="T4" fmla="*/ 231 w 579"/>
                    <a:gd name="T5" fmla="*/ 6 h 579"/>
                    <a:gd name="T6" fmla="*/ 203 w 579"/>
                    <a:gd name="T7" fmla="*/ 13 h 579"/>
                    <a:gd name="T8" fmla="*/ 176 w 579"/>
                    <a:gd name="T9" fmla="*/ 22 h 579"/>
                    <a:gd name="T10" fmla="*/ 128 w 579"/>
                    <a:gd name="T11" fmla="*/ 50 h 579"/>
                    <a:gd name="T12" fmla="*/ 84 w 579"/>
                    <a:gd name="T13" fmla="*/ 84 h 579"/>
                    <a:gd name="T14" fmla="*/ 50 w 579"/>
                    <a:gd name="T15" fmla="*/ 128 h 579"/>
                    <a:gd name="T16" fmla="*/ 23 w 579"/>
                    <a:gd name="T17" fmla="*/ 176 h 579"/>
                    <a:gd name="T18" fmla="*/ 13 w 579"/>
                    <a:gd name="T19" fmla="*/ 203 h 579"/>
                    <a:gd name="T20" fmla="*/ 6 w 579"/>
                    <a:gd name="T21" fmla="*/ 231 h 579"/>
                    <a:gd name="T22" fmla="*/ 1 w 579"/>
                    <a:gd name="T23" fmla="*/ 259 h 579"/>
                    <a:gd name="T24" fmla="*/ 0 w 579"/>
                    <a:gd name="T25" fmla="*/ 289 h 579"/>
                    <a:gd name="T26" fmla="*/ 0 w 579"/>
                    <a:gd name="T27" fmla="*/ 304 h 579"/>
                    <a:gd name="T28" fmla="*/ 3 w 579"/>
                    <a:gd name="T29" fmla="*/ 333 h 579"/>
                    <a:gd name="T30" fmla="*/ 9 w 579"/>
                    <a:gd name="T31" fmla="*/ 362 h 579"/>
                    <a:gd name="T32" fmla="*/ 17 w 579"/>
                    <a:gd name="T33" fmla="*/ 389 h 579"/>
                    <a:gd name="T34" fmla="*/ 35 w 579"/>
                    <a:gd name="T35" fmla="*/ 427 h 579"/>
                    <a:gd name="T36" fmla="*/ 66 w 579"/>
                    <a:gd name="T37" fmla="*/ 473 h 579"/>
                    <a:gd name="T38" fmla="*/ 105 w 579"/>
                    <a:gd name="T39" fmla="*/ 513 h 579"/>
                    <a:gd name="T40" fmla="*/ 151 w 579"/>
                    <a:gd name="T41" fmla="*/ 544 h 579"/>
                    <a:gd name="T42" fmla="*/ 190 w 579"/>
                    <a:gd name="T43" fmla="*/ 561 h 579"/>
                    <a:gd name="T44" fmla="*/ 216 w 579"/>
                    <a:gd name="T45" fmla="*/ 570 h 579"/>
                    <a:gd name="T46" fmla="*/ 245 w 579"/>
                    <a:gd name="T47" fmla="*/ 576 h 579"/>
                    <a:gd name="T48" fmla="*/ 274 w 579"/>
                    <a:gd name="T49" fmla="*/ 578 h 579"/>
                    <a:gd name="T50" fmla="*/ 289 w 579"/>
                    <a:gd name="T51" fmla="*/ 579 h 579"/>
                    <a:gd name="T52" fmla="*/ 319 w 579"/>
                    <a:gd name="T53" fmla="*/ 577 h 579"/>
                    <a:gd name="T54" fmla="*/ 348 w 579"/>
                    <a:gd name="T55" fmla="*/ 572 h 579"/>
                    <a:gd name="T56" fmla="*/ 375 w 579"/>
                    <a:gd name="T57" fmla="*/ 566 h 579"/>
                    <a:gd name="T58" fmla="*/ 402 w 579"/>
                    <a:gd name="T59" fmla="*/ 556 h 579"/>
                    <a:gd name="T60" fmla="*/ 451 w 579"/>
                    <a:gd name="T61" fmla="*/ 530 h 579"/>
                    <a:gd name="T62" fmla="*/ 494 w 579"/>
                    <a:gd name="T63" fmla="*/ 494 h 579"/>
                    <a:gd name="T64" fmla="*/ 530 w 579"/>
                    <a:gd name="T65" fmla="*/ 452 h 579"/>
                    <a:gd name="T66" fmla="*/ 556 w 579"/>
                    <a:gd name="T67" fmla="*/ 402 h 579"/>
                    <a:gd name="T68" fmla="*/ 566 w 579"/>
                    <a:gd name="T69" fmla="*/ 376 h 579"/>
                    <a:gd name="T70" fmla="*/ 573 w 579"/>
                    <a:gd name="T71" fmla="*/ 348 h 579"/>
                    <a:gd name="T72" fmla="*/ 578 w 579"/>
                    <a:gd name="T73" fmla="*/ 319 h 579"/>
                    <a:gd name="T74" fmla="*/ 579 w 579"/>
                    <a:gd name="T75" fmla="*/ 289 h 579"/>
                    <a:gd name="T76" fmla="*/ 578 w 579"/>
                    <a:gd name="T77" fmla="*/ 274 h 579"/>
                    <a:gd name="T78" fmla="*/ 576 w 579"/>
                    <a:gd name="T79" fmla="*/ 246 h 579"/>
                    <a:gd name="T80" fmla="*/ 570 w 579"/>
                    <a:gd name="T81" fmla="*/ 217 h 579"/>
                    <a:gd name="T82" fmla="*/ 562 w 579"/>
                    <a:gd name="T83" fmla="*/ 190 h 579"/>
                    <a:gd name="T84" fmla="*/ 543 w 579"/>
                    <a:gd name="T85" fmla="*/ 151 h 579"/>
                    <a:gd name="T86" fmla="*/ 512 w 579"/>
                    <a:gd name="T87" fmla="*/ 105 h 579"/>
                    <a:gd name="T88" fmla="*/ 473 w 579"/>
                    <a:gd name="T89" fmla="*/ 66 h 579"/>
                    <a:gd name="T90" fmla="*/ 427 w 579"/>
                    <a:gd name="T91" fmla="*/ 35 h 579"/>
                    <a:gd name="T92" fmla="*/ 389 w 579"/>
                    <a:gd name="T93" fmla="*/ 18 h 579"/>
                    <a:gd name="T94" fmla="*/ 362 w 579"/>
                    <a:gd name="T95" fmla="*/ 9 h 579"/>
                    <a:gd name="T96" fmla="*/ 334 w 579"/>
                    <a:gd name="T97" fmla="*/ 4 h 579"/>
                    <a:gd name="T98" fmla="*/ 304 w 579"/>
                    <a:gd name="T99" fmla="*/ 0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79" h="579">
                      <a:moveTo>
                        <a:pt x="289" y="0"/>
                      </a:moveTo>
                      <a:lnTo>
                        <a:pt x="289" y="0"/>
                      </a:lnTo>
                      <a:lnTo>
                        <a:pt x="274" y="0"/>
                      </a:lnTo>
                      <a:lnTo>
                        <a:pt x="260" y="1"/>
                      </a:lnTo>
                      <a:lnTo>
                        <a:pt x="245" y="4"/>
                      </a:lnTo>
                      <a:lnTo>
                        <a:pt x="231" y="6"/>
                      </a:lnTo>
                      <a:lnTo>
                        <a:pt x="216" y="9"/>
                      </a:lnTo>
                      <a:lnTo>
                        <a:pt x="203" y="13"/>
                      </a:lnTo>
                      <a:lnTo>
                        <a:pt x="190" y="18"/>
                      </a:lnTo>
                      <a:lnTo>
                        <a:pt x="176" y="22"/>
                      </a:lnTo>
                      <a:lnTo>
                        <a:pt x="151" y="35"/>
                      </a:lnTo>
                      <a:lnTo>
                        <a:pt x="128" y="50"/>
                      </a:lnTo>
                      <a:lnTo>
                        <a:pt x="105" y="66"/>
                      </a:lnTo>
                      <a:lnTo>
                        <a:pt x="84" y="84"/>
                      </a:lnTo>
                      <a:lnTo>
                        <a:pt x="66" y="105"/>
                      </a:lnTo>
                      <a:lnTo>
                        <a:pt x="50" y="128"/>
                      </a:lnTo>
                      <a:lnTo>
                        <a:pt x="35" y="151"/>
                      </a:lnTo>
                      <a:lnTo>
                        <a:pt x="23" y="176"/>
                      </a:lnTo>
                      <a:lnTo>
                        <a:pt x="17" y="190"/>
                      </a:lnTo>
                      <a:lnTo>
                        <a:pt x="13" y="203"/>
                      </a:lnTo>
                      <a:lnTo>
                        <a:pt x="9" y="217"/>
                      </a:lnTo>
                      <a:lnTo>
                        <a:pt x="6" y="231"/>
                      </a:lnTo>
                      <a:lnTo>
                        <a:pt x="3" y="246"/>
                      </a:lnTo>
                      <a:lnTo>
                        <a:pt x="1" y="259"/>
                      </a:lnTo>
                      <a:lnTo>
                        <a:pt x="0" y="274"/>
                      </a:lnTo>
                      <a:lnTo>
                        <a:pt x="0" y="289"/>
                      </a:lnTo>
                      <a:lnTo>
                        <a:pt x="0" y="289"/>
                      </a:lnTo>
                      <a:lnTo>
                        <a:pt x="0" y="304"/>
                      </a:lnTo>
                      <a:lnTo>
                        <a:pt x="1" y="319"/>
                      </a:lnTo>
                      <a:lnTo>
                        <a:pt x="3" y="333"/>
                      </a:lnTo>
                      <a:lnTo>
                        <a:pt x="6" y="348"/>
                      </a:lnTo>
                      <a:lnTo>
                        <a:pt x="9" y="362"/>
                      </a:lnTo>
                      <a:lnTo>
                        <a:pt x="13" y="376"/>
                      </a:lnTo>
                      <a:lnTo>
                        <a:pt x="17" y="389"/>
                      </a:lnTo>
                      <a:lnTo>
                        <a:pt x="23" y="402"/>
                      </a:lnTo>
                      <a:lnTo>
                        <a:pt x="35" y="427"/>
                      </a:lnTo>
                      <a:lnTo>
                        <a:pt x="50" y="452"/>
                      </a:lnTo>
                      <a:lnTo>
                        <a:pt x="66" y="473"/>
                      </a:lnTo>
                      <a:lnTo>
                        <a:pt x="84" y="494"/>
                      </a:lnTo>
                      <a:lnTo>
                        <a:pt x="105" y="513"/>
                      </a:lnTo>
                      <a:lnTo>
                        <a:pt x="128" y="530"/>
                      </a:lnTo>
                      <a:lnTo>
                        <a:pt x="151" y="544"/>
                      </a:lnTo>
                      <a:lnTo>
                        <a:pt x="176" y="556"/>
                      </a:lnTo>
                      <a:lnTo>
                        <a:pt x="190" y="561"/>
                      </a:lnTo>
                      <a:lnTo>
                        <a:pt x="203" y="566"/>
                      </a:lnTo>
                      <a:lnTo>
                        <a:pt x="216" y="570"/>
                      </a:lnTo>
                      <a:lnTo>
                        <a:pt x="231" y="572"/>
                      </a:lnTo>
                      <a:lnTo>
                        <a:pt x="245" y="576"/>
                      </a:lnTo>
                      <a:lnTo>
                        <a:pt x="260" y="577"/>
                      </a:lnTo>
                      <a:lnTo>
                        <a:pt x="274" y="578"/>
                      </a:lnTo>
                      <a:lnTo>
                        <a:pt x="289" y="579"/>
                      </a:lnTo>
                      <a:lnTo>
                        <a:pt x="289" y="579"/>
                      </a:lnTo>
                      <a:lnTo>
                        <a:pt x="304" y="578"/>
                      </a:lnTo>
                      <a:lnTo>
                        <a:pt x="319" y="577"/>
                      </a:lnTo>
                      <a:lnTo>
                        <a:pt x="334" y="576"/>
                      </a:lnTo>
                      <a:lnTo>
                        <a:pt x="348" y="572"/>
                      </a:lnTo>
                      <a:lnTo>
                        <a:pt x="362" y="570"/>
                      </a:lnTo>
                      <a:lnTo>
                        <a:pt x="375" y="566"/>
                      </a:lnTo>
                      <a:lnTo>
                        <a:pt x="389" y="561"/>
                      </a:lnTo>
                      <a:lnTo>
                        <a:pt x="402" y="556"/>
                      </a:lnTo>
                      <a:lnTo>
                        <a:pt x="427" y="544"/>
                      </a:lnTo>
                      <a:lnTo>
                        <a:pt x="451" y="530"/>
                      </a:lnTo>
                      <a:lnTo>
                        <a:pt x="473" y="513"/>
                      </a:lnTo>
                      <a:lnTo>
                        <a:pt x="494" y="494"/>
                      </a:lnTo>
                      <a:lnTo>
                        <a:pt x="512" y="473"/>
                      </a:lnTo>
                      <a:lnTo>
                        <a:pt x="530" y="452"/>
                      </a:lnTo>
                      <a:lnTo>
                        <a:pt x="543" y="427"/>
                      </a:lnTo>
                      <a:lnTo>
                        <a:pt x="556" y="402"/>
                      </a:lnTo>
                      <a:lnTo>
                        <a:pt x="562" y="389"/>
                      </a:lnTo>
                      <a:lnTo>
                        <a:pt x="566" y="376"/>
                      </a:lnTo>
                      <a:lnTo>
                        <a:pt x="570" y="362"/>
                      </a:lnTo>
                      <a:lnTo>
                        <a:pt x="573" y="348"/>
                      </a:lnTo>
                      <a:lnTo>
                        <a:pt x="576" y="333"/>
                      </a:lnTo>
                      <a:lnTo>
                        <a:pt x="578" y="319"/>
                      </a:lnTo>
                      <a:lnTo>
                        <a:pt x="578" y="304"/>
                      </a:lnTo>
                      <a:lnTo>
                        <a:pt x="579" y="289"/>
                      </a:lnTo>
                      <a:lnTo>
                        <a:pt x="579" y="289"/>
                      </a:lnTo>
                      <a:lnTo>
                        <a:pt x="578" y="274"/>
                      </a:lnTo>
                      <a:lnTo>
                        <a:pt x="578" y="259"/>
                      </a:lnTo>
                      <a:lnTo>
                        <a:pt x="576" y="246"/>
                      </a:lnTo>
                      <a:lnTo>
                        <a:pt x="573" y="231"/>
                      </a:lnTo>
                      <a:lnTo>
                        <a:pt x="570" y="217"/>
                      </a:lnTo>
                      <a:lnTo>
                        <a:pt x="566" y="203"/>
                      </a:lnTo>
                      <a:lnTo>
                        <a:pt x="562" y="190"/>
                      </a:lnTo>
                      <a:lnTo>
                        <a:pt x="556" y="176"/>
                      </a:lnTo>
                      <a:lnTo>
                        <a:pt x="543" y="151"/>
                      </a:lnTo>
                      <a:lnTo>
                        <a:pt x="530" y="128"/>
                      </a:lnTo>
                      <a:lnTo>
                        <a:pt x="512" y="105"/>
                      </a:lnTo>
                      <a:lnTo>
                        <a:pt x="494" y="84"/>
                      </a:lnTo>
                      <a:lnTo>
                        <a:pt x="473" y="66"/>
                      </a:lnTo>
                      <a:lnTo>
                        <a:pt x="451" y="50"/>
                      </a:lnTo>
                      <a:lnTo>
                        <a:pt x="427" y="35"/>
                      </a:lnTo>
                      <a:lnTo>
                        <a:pt x="402" y="22"/>
                      </a:lnTo>
                      <a:lnTo>
                        <a:pt x="389" y="18"/>
                      </a:lnTo>
                      <a:lnTo>
                        <a:pt x="375" y="13"/>
                      </a:lnTo>
                      <a:lnTo>
                        <a:pt x="362" y="9"/>
                      </a:lnTo>
                      <a:lnTo>
                        <a:pt x="348" y="6"/>
                      </a:lnTo>
                      <a:lnTo>
                        <a:pt x="334" y="4"/>
                      </a:lnTo>
                      <a:lnTo>
                        <a:pt x="319" y="1"/>
                      </a:lnTo>
                      <a:lnTo>
                        <a:pt x="304" y="0"/>
                      </a:lnTo>
                      <a:lnTo>
                        <a:pt x="2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9" name="Freeform 263"/>
                <p:cNvSpPr>
                  <a:spLocks/>
                </p:cNvSpPr>
                <p:nvPr/>
              </p:nvSpPr>
              <p:spPr bwMode="auto">
                <a:xfrm>
                  <a:off x="5172075" y="3430588"/>
                  <a:ext cx="125413" cy="90488"/>
                </a:xfrm>
                <a:custGeom>
                  <a:avLst/>
                  <a:gdLst>
                    <a:gd name="T0" fmla="*/ 537 w 553"/>
                    <a:gd name="T1" fmla="*/ 0 h 399"/>
                    <a:gd name="T2" fmla="*/ 475 w 553"/>
                    <a:gd name="T3" fmla="*/ 41 h 399"/>
                    <a:gd name="T4" fmla="*/ 412 w 553"/>
                    <a:gd name="T5" fmla="*/ 80 h 399"/>
                    <a:gd name="T6" fmla="*/ 346 w 553"/>
                    <a:gd name="T7" fmla="*/ 117 h 399"/>
                    <a:gd name="T8" fmla="*/ 279 w 553"/>
                    <a:gd name="T9" fmla="*/ 152 h 399"/>
                    <a:gd name="T10" fmla="*/ 212 w 553"/>
                    <a:gd name="T11" fmla="*/ 184 h 399"/>
                    <a:gd name="T12" fmla="*/ 142 w 553"/>
                    <a:gd name="T13" fmla="*/ 213 h 399"/>
                    <a:gd name="T14" fmla="*/ 71 w 553"/>
                    <a:gd name="T15" fmla="*/ 239 h 399"/>
                    <a:gd name="T16" fmla="*/ 0 w 553"/>
                    <a:gd name="T17" fmla="*/ 263 h 399"/>
                    <a:gd name="T18" fmla="*/ 10 w 553"/>
                    <a:gd name="T19" fmla="*/ 278 h 399"/>
                    <a:gd name="T20" fmla="*/ 33 w 553"/>
                    <a:gd name="T21" fmla="*/ 307 h 399"/>
                    <a:gd name="T22" fmla="*/ 61 w 553"/>
                    <a:gd name="T23" fmla="*/ 331 h 399"/>
                    <a:gd name="T24" fmla="*/ 91 w 553"/>
                    <a:gd name="T25" fmla="*/ 353 h 399"/>
                    <a:gd name="T26" fmla="*/ 123 w 553"/>
                    <a:gd name="T27" fmla="*/ 371 h 399"/>
                    <a:gd name="T28" fmla="*/ 157 w 553"/>
                    <a:gd name="T29" fmla="*/ 384 h 399"/>
                    <a:gd name="T30" fmla="*/ 193 w 553"/>
                    <a:gd name="T31" fmla="*/ 394 h 399"/>
                    <a:gd name="T32" fmla="*/ 231 w 553"/>
                    <a:gd name="T33" fmla="*/ 398 h 399"/>
                    <a:gd name="T34" fmla="*/ 251 w 553"/>
                    <a:gd name="T35" fmla="*/ 399 h 399"/>
                    <a:gd name="T36" fmla="*/ 282 w 553"/>
                    <a:gd name="T37" fmla="*/ 398 h 399"/>
                    <a:gd name="T38" fmla="*/ 312 w 553"/>
                    <a:gd name="T39" fmla="*/ 394 h 399"/>
                    <a:gd name="T40" fmla="*/ 341 w 553"/>
                    <a:gd name="T41" fmla="*/ 386 h 399"/>
                    <a:gd name="T42" fmla="*/ 369 w 553"/>
                    <a:gd name="T43" fmla="*/ 375 h 399"/>
                    <a:gd name="T44" fmla="*/ 395 w 553"/>
                    <a:gd name="T45" fmla="*/ 363 h 399"/>
                    <a:gd name="T46" fmla="*/ 420 w 553"/>
                    <a:gd name="T47" fmla="*/ 348 h 399"/>
                    <a:gd name="T48" fmla="*/ 443 w 553"/>
                    <a:gd name="T49" fmla="*/ 330 h 399"/>
                    <a:gd name="T50" fmla="*/ 465 w 553"/>
                    <a:gd name="T51" fmla="*/ 311 h 399"/>
                    <a:gd name="T52" fmla="*/ 484 w 553"/>
                    <a:gd name="T53" fmla="*/ 290 h 399"/>
                    <a:gd name="T54" fmla="*/ 502 w 553"/>
                    <a:gd name="T55" fmla="*/ 266 h 399"/>
                    <a:gd name="T56" fmla="*/ 517 w 553"/>
                    <a:gd name="T57" fmla="*/ 242 h 399"/>
                    <a:gd name="T58" fmla="*/ 529 w 553"/>
                    <a:gd name="T59" fmla="*/ 215 h 399"/>
                    <a:gd name="T60" fmla="*/ 540 w 553"/>
                    <a:gd name="T61" fmla="*/ 188 h 399"/>
                    <a:gd name="T62" fmla="*/ 547 w 553"/>
                    <a:gd name="T63" fmla="*/ 159 h 399"/>
                    <a:gd name="T64" fmla="*/ 551 w 553"/>
                    <a:gd name="T65" fmla="*/ 128 h 399"/>
                    <a:gd name="T66" fmla="*/ 553 w 553"/>
                    <a:gd name="T67" fmla="*/ 98 h 399"/>
                    <a:gd name="T68" fmla="*/ 552 w 553"/>
                    <a:gd name="T69" fmla="*/ 72 h 399"/>
                    <a:gd name="T70" fmla="*/ 544 w 553"/>
                    <a:gd name="T71" fmla="*/ 23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3" h="399">
                      <a:moveTo>
                        <a:pt x="537" y="0"/>
                      </a:moveTo>
                      <a:lnTo>
                        <a:pt x="537" y="0"/>
                      </a:lnTo>
                      <a:lnTo>
                        <a:pt x="506" y="21"/>
                      </a:lnTo>
                      <a:lnTo>
                        <a:pt x="475" y="41"/>
                      </a:lnTo>
                      <a:lnTo>
                        <a:pt x="444" y="61"/>
                      </a:lnTo>
                      <a:lnTo>
                        <a:pt x="412" y="80"/>
                      </a:lnTo>
                      <a:lnTo>
                        <a:pt x="380" y="99"/>
                      </a:lnTo>
                      <a:lnTo>
                        <a:pt x="346" y="117"/>
                      </a:lnTo>
                      <a:lnTo>
                        <a:pt x="313" y="135"/>
                      </a:lnTo>
                      <a:lnTo>
                        <a:pt x="279" y="152"/>
                      </a:lnTo>
                      <a:lnTo>
                        <a:pt x="246" y="168"/>
                      </a:lnTo>
                      <a:lnTo>
                        <a:pt x="212" y="184"/>
                      </a:lnTo>
                      <a:lnTo>
                        <a:pt x="177" y="199"/>
                      </a:lnTo>
                      <a:lnTo>
                        <a:pt x="142" y="213"/>
                      </a:lnTo>
                      <a:lnTo>
                        <a:pt x="107" y="227"/>
                      </a:lnTo>
                      <a:lnTo>
                        <a:pt x="71" y="239"/>
                      </a:lnTo>
                      <a:lnTo>
                        <a:pt x="35" y="252"/>
                      </a:lnTo>
                      <a:lnTo>
                        <a:pt x="0" y="263"/>
                      </a:lnTo>
                      <a:lnTo>
                        <a:pt x="0" y="263"/>
                      </a:lnTo>
                      <a:lnTo>
                        <a:pt x="10" y="278"/>
                      </a:lnTo>
                      <a:lnTo>
                        <a:pt x="22" y="293"/>
                      </a:lnTo>
                      <a:lnTo>
                        <a:pt x="33" y="307"/>
                      </a:lnTo>
                      <a:lnTo>
                        <a:pt x="47" y="320"/>
                      </a:lnTo>
                      <a:lnTo>
                        <a:pt x="61" y="331"/>
                      </a:lnTo>
                      <a:lnTo>
                        <a:pt x="75" y="343"/>
                      </a:lnTo>
                      <a:lnTo>
                        <a:pt x="91" y="353"/>
                      </a:lnTo>
                      <a:lnTo>
                        <a:pt x="106" y="363"/>
                      </a:lnTo>
                      <a:lnTo>
                        <a:pt x="123" y="371"/>
                      </a:lnTo>
                      <a:lnTo>
                        <a:pt x="139" y="377"/>
                      </a:lnTo>
                      <a:lnTo>
                        <a:pt x="157" y="384"/>
                      </a:lnTo>
                      <a:lnTo>
                        <a:pt x="175" y="390"/>
                      </a:lnTo>
                      <a:lnTo>
                        <a:pt x="193" y="394"/>
                      </a:lnTo>
                      <a:lnTo>
                        <a:pt x="213" y="397"/>
                      </a:lnTo>
                      <a:lnTo>
                        <a:pt x="231" y="398"/>
                      </a:lnTo>
                      <a:lnTo>
                        <a:pt x="251" y="399"/>
                      </a:lnTo>
                      <a:lnTo>
                        <a:pt x="251" y="399"/>
                      </a:lnTo>
                      <a:lnTo>
                        <a:pt x="267" y="399"/>
                      </a:lnTo>
                      <a:lnTo>
                        <a:pt x="282" y="398"/>
                      </a:lnTo>
                      <a:lnTo>
                        <a:pt x="297" y="396"/>
                      </a:lnTo>
                      <a:lnTo>
                        <a:pt x="312" y="394"/>
                      </a:lnTo>
                      <a:lnTo>
                        <a:pt x="327" y="390"/>
                      </a:lnTo>
                      <a:lnTo>
                        <a:pt x="341" y="386"/>
                      </a:lnTo>
                      <a:lnTo>
                        <a:pt x="355" y="381"/>
                      </a:lnTo>
                      <a:lnTo>
                        <a:pt x="369" y="375"/>
                      </a:lnTo>
                      <a:lnTo>
                        <a:pt x="382" y="369"/>
                      </a:lnTo>
                      <a:lnTo>
                        <a:pt x="395" y="363"/>
                      </a:lnTo>
                      <a:lnTo>
                        <a:pt x="407" y="356"/>
                      </a:lnTo>
                      <a:lnTo>
                        <a:pt x="420" y="348"/>
                      </a:lnTo>
                      <a:lnTo>
                        <a:pt x="431" y="339"/>
                      </a:lnTo>
                      <a:lnTo>
                        <a:pt x="443" y="330"/>
                      </a:lnTo>
                      <a:lnTo>
                        <a:pt x="454" y="321"/>
                      </a:lnTo>
                      <a:lnTo>
                        <a:pt x="465" y="311"/>
                      </a:lnTo>
                      <a:lnTo>
                        <a:pt x="475" y="300"/>
                      </a:lnTo>
                      <a:lnTo>
                        <a:pt x="484" y="290"/>
                      </a:lnTo>
                      <a:lnTo>
                        <a:pt x="494" y="278"/>
                      </a:lnTo>
                      <a:lnTo>
                        <a:pt x="502" y="266"/>
                      </a:lnTo>
                      <a:lnTo>
                        <a:pt x="510" y="254"/>
                      </a:lnTo>
                      <a:lnTo>
                        <a:pt x="517" y="242"/>
                      </a:lnTo>
                      <a:lnTo>
                        <a:pt x="524" y="228"/>
                      </a:lnTo>
                      <a:lnTo>
                        <a:pt x="529" y="215"/>
                      </a:lnTo>
                      <a:lnTo>
                        <a:pt x="535" y="201"/>
                      </a:lnTo>
                      <a:lnTo>
                        <a:pt x="540" y="188"/>
                      </a:lnTo>
                      <a:lnTo>
                        <a:pt x="544" y="173"/>
                      </a:lnTo>
                      <a:lnTo>
                        <a:pt x="547" y="159"/>
                      </a:lnTo>
                      <a:lnTo>
                        <a:pt x="550" y="144"/>
                      </a:lnTo>
                      <a:lnTo>
                        <a:pt x="551" y="128"/>
                      </a:lnTo>
                      <a:lnTo>
                        <a:pt x="552" y="113"/>
                      </a:lnTo>
                      <a:lnTo>
                        <a:pt x="553" y="98"/>
                      </a:lnTo>
                      <a:lnTo>
                        <a:pt x="553" y="98"/>
                      </a:lnTo>
                      <a:lnTo>
                        <a:pt x="552" y="72"/>
                      </a:lnTo>
                      <a:lnTo>
                        <a:pt x="549" y="47"/>
                      </a:lnTo>
                      <a:lnTo>
                        <a:pt x="544" y="23"/>
                      </a:lnTo>
                      <a:lnTo>
                        <a:pt x="537" y="0"/>
                      </a:lnTo>
                      <a:close/>
                    </a:path>
                  </a:pathLst>
                </a:custGeom>
                <a:solidFill>
                  <a:srgbClr val="8A1E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0" name="Freeform 264"/>
                <p:cNvSpPr>
                  <a:spLocks/>
                </p:cNvSpPr>
                <p:nvPr/>
              </p:nvSpPr>
              <p:spPr bwMode="auto">
                <a:xfrm>
                  <a:off x="5172075" y="3430588"/>
                  <a:ext cx="125413" cy="90488"/>
                </a:xfrm>
                <a:custGeom>
                  <a:avLst/>
                  <a:gdLst>
                    <a:gd name="T0" fmla="*/ 537 w 553"/>
                    <a:gd name="T1" fmla="*/ 0 h 399"/>
                    <a:gd name="T2" fmla="*/ 475 w 553"/>
                    <a:gd name="T3" fmla="*/ 41 h 399"/>
                    <a:gd name="T4" fmla="*/ 412 w 553"/>
                    <a:gd name="T5" fmla="*/ 80 h 399"/>
                    <a:gd name="T6" fmla="*/ 346 w 553"/>
                    <a:gd name="T7" fmla="*/ 117 h 399"/>
                    <a:gd name="T8" fmla="*/ 279 w 553"/>
                    <a:gd name="T9" fmla="*/ 152 h 399"/>
                    <a:gd name="T10" fmla="*/ 212 w 553"/>
                    <a:gd name="T11" fmla="*/ 184 h 399"/>
                    <a:gd name="T12" fmla="*/ 142 w 553"/>
                    <a:gd name="T13" fmla="*/ 213 h 399"/>
                    <a:gd name="T14" fmla="*/ 71 w 553"/>
                    <a:gd name="T15" fmla="*/ 239 h 399"/>
                    <a:gd name="T16" fmla="*/ 0 w 553"/>
                    <a:gd name="T17" fmla="*/ 263 h 399"/>
                    <a:gd name="T18" fmla="*/ 10 w 553"/>
                    <a:gd name="T19" fmla="*/ 278 h 399"/>
                    <a:gd name="T20" fmla="*/ 33 w 553"/>
                    <a:gd name="T21" fmla="*/ 307 h 399"/>
                    <a:gd name="T22" fmla="*/ 61 w 553"/>
                    <a:gd name="T23" fmla="*/ 331 h 399"/>
                    <a:gd name="T24" fmla="*/ 91 w 553"/>
                    <a:gd name="T25" fmla="*/ 353 h 399"/>
                    <a:gd name="T26" fmla="*/ 123 w 553"/>
                    <a:gd name="T27" fmla="*/ 371 h 399"/>
                    <a:gd name="T28" fmla="*/ 157 w 553"/>
                    <a:gd name="T29" fmla="*/ 384 h 399"/>
                    <a:gd name="T30" fmla="*/ 193 w 553"/>
                    <a:gd name="T31" fmla="*/ 394 h 399"/>
                    <a:gd name="T32" fmla="*/ 231 w 553"/>
                    <a:gd name="T33" fmla="*/ 398 h 399"/>
                    <a:gd name="T34" fmla="*/ 251 w 553"/>
                    <a:gd name="T35" fmla="*/ 399 h 399"/>
                    <a:gd name="T36" fmla="*/ 282 w 553"/>
                    <a:gd name="T37" fmla="*/ 398 h 399"/>
                    <a:gd name="T38" fmla="*/ 312 w 553"/>
                    <a:gd name="T39" fmla="*/ 394 h 399"/>
                    <a:gd name="T40" fmla="*/ 341 w 553"/>
                    <a:gd name="T41" fmla="*/ 386 h 399"/>
                    <a:gd name="T42" fmla="*/ 369 w 553"/>
                    <a:gd name="T43" fmla="*/ 375 h 399"/>
                    <a:gd name="T44" fmla="*/ 395 w 553"/>
                    <a:gd name="T45" fmla="*/ 363 h 399"/>
                    <a:gd name="T46" fmla="*/ 420 w 553"/>
                    <a:gd name="T47" fmla="*/ 348 h 399"/>
                    <a:gd name="T48" fmla="*/ 443 w 553"/>
                    <a:gd name="T49" fmla="*/ 330 h 399"/>
                    <a:gd name="T50" fmla="*/ 465 w 553"/>
                    <a:gd name="T51" fmla="*/ 311 h 399"/>
                    <a:gd name="T52" fmla="*/ 484 w 553"/>
                    <a:gd name="T53" fmla="*/ 290 h 399"/>
                    <a:gd name="T54" fmla="*/ 502 w 553"/>
                    <a:gd name="T55" fmla="*/ 266 h 399"/>
                    <a:gd name="T56" fmla="*/ 517 w 553"/>
                    <a:gd name="T57" fmla="*/ 242 h 399"/>
                    <a:gd name="T58" fmla="*/ 529 w 553"/>
                    <a:gd name="T59" fmla="*/ 215 h 399"/>
                    <a:gd name="T60" fmla="*/ 540 w 553"/>
                    <a:gd name="T61" fmla="*/ 188 h 399"/>
                    <a:gd name="T62" fmla="*/ 547 w 553"/>
                    <a:gd name="T63" fmla="*/ 159 h 399"/>
                    <a:gd name="T64" fmla="*/ 551 w 553"/>
                    <a:gd name="T65" fmla="*/ 128 h 399"/>
                    <a:gd name="T66" fmla="*/ 553 w 553"/>
                    <a:gd name="T67" fmla="*/ 98 h 399"/>
                    <a:gd name="T68" fmla="*/ 552 w 553"/>
                    <a:gd name="T69" fmla="*/ 72 h 399"/>
                    <a:gd name="T70" fmla="*/ 544 w 553"/>
                    <a:gd name="T71" fmla="*/ 23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3" h="399">
                      <a:moveTo>
                        <a:pt x="537" y="0"/>
                      </a:moveTo>
                      <a:lnTo>
                        <a:pt x="537" y="0"/>
                      </a:lnTo>
                      <a:lnTo>
                        <a:pt x="506" y="21"/>
                      </a:lnTo>
                      <a:lnTo>
                        <a:pt x="475" y="41"/>
                      </a:lnTo>
                      <a:lnTo>
                        <a:pt x="444" y="61"/>
                      </a:lnTo>
                      <a:lnTo>
                        <a:pt x="412" y="80"/>
                      </a:lnTo>
                      <a:lnTo>
                        <a:pt x="380" y="99"/>
                      </a:lnTo>
                      <a:lnTo>
                        <a:pt x="346" y="117"/>
                      </a:lnTo>
                      <a:lnTo>
                        <a:pt x="313" y="135"/>
                      </a:lnTo>
                      <a:lnTo>
                        <a:pt x="279" y="152"/>
                      </a:lnTo>
                      <a:lnTo>
                        <a:pt x="246" y="168"/>
                      </a:lnTo>
                      <a:lnTo>
                        <a:pt x="212" y="184"/>
                      </a:lnTo>
                      <a:lnTo>
                        <a:pt x="177" y="199"/>
                      </a:lnTo>
                      <a:lnTo>
                        <a:pt x="142" y="213"/>
                      </a:lnTo>
                      <a:lnTo>
                        <a:pt x="107" y="227"/>
                      </a:lnTo>
                      <a:lnTo>
                        <a:pt x="71" y="239"/>
                      </a:lnTo>
                      <a:lnTo>
                        <a:pt x="35" y="252"/>
                      </a:lnTo>
                      <a:lnTo>
                        <a:pt x="0" y="263"/>
                      </a:lnTo>
                      <a:lnTo>
                        <a:pt x="0" y="263"/>
                      </a:lnTo>
                      <a:lnTo>
                        <a:pt x="10" y="278"/>
                      </a:lnTo>
                      <a:lnTo>
                        <a:pt x="22" y="293"/>
                      </a:lnTo>
                      <a:lnTo>
                        <a:pt x="33" y="307"/>
                      </a:lnTo>
                      <a:lnTo>
                        <a:pt x="47" y="320"/>
                      </a:lnTo>
                      <a:lnTo>
                        <a:pt x="61" y="331"/>
                      </a:lnTo>
                      <a:lnTo>
                        <a:pt x="75" y="343"/>
                      </a:lnTo>
                      <a:lnTo>
                        <a:pt x="91" y="353"/>
                      </a:lnTo>
                      <a:lnTo>
                        <a:pt x="106" y="363"/>
                      </a:lnTo>
                      <a:lnTo>
                        <a:pt x="123" y="371"/>
                      </a:lnTo>
                      <a:lnTo>
                        <a:pt x="139" y="377"/>
                      </a:lnTo>
                      <a:lnTo>
                        <a:pt x="157" y="384"/>
                      </a:lnTo>
                      <a:lnTo>
                        <a:pt x="175" y="390"/>
                      </a:lnTo>
                      <a:lnTo>
                        <a:pt x="193" y="394"/>
                      </a:lnTo>
                      <a:lnTo>
                        <a:pt x="213" y="397"/>
                      </a:lnTo>
                      <a:lnTo>
                        <a:pt x="231" y="398"/>
                      </a:lnTo>
                      <a:lnTo>
                        <a:pt x="251" y="399"/>
                      </a:lnTo>
                      <a:lnTo>
                        <a:pt x="251" y="399"/>
                      </a:lnTo>
                      <a:lnTo>
                        <a:pt x="267" y="399"/>
                      </a:lnTo>
                      <a:lnTo>
                        <a:pt x="282" y="398"/>
                      </a:lnTo>
                      <a:lnTo>
                        <a:pt x="297" y="396"/>
                      </a:lnTo>
                      <a:lnTo>
                        <a:pt x="312" y="394"/>
                      </a:lnTo>
                      <a:lnTo>
                        <a:pt x="327" y="390"/>
                      </a:lnTo>
                      <a:lnTo>
                        <a:pt x="341" y="386"/>
                      </a:lnTo>
                      <a:lnTo>
                        <a:pt x="355" y="381"/>
                      </a:lnTo>
                      <a:lnTo>
                        <a:pt x="369" y="375"/>
                      </a:lnTo>
                      <a:lnTo>
                        <a:pt x="382" y="369"/>
                      </a:lnTo>
                      <a:lnTo>
                        <a:pt x="395" y="363"/>
                      </a:lnTo>
                      <a:lnTo>
                        <a:pt x="407" y="356"/>
                      </a:lnTo>
                      <a:lnTo>
                        <a:pt x="420" y="348"/>
                      </a:lnTo>
                      <a:lnTo>
                        <a:pt x="431" y="339"/>
                      </a:lnTo>
                      <a:lnTo>
                        <a:pt x="443" y="330"/>
                      </a:lnTo>
                      <a:lnTo>
                        <a:pt x="454" y="321"/>
                      </a:lnTo>
                      <a:lnTo>
                        <a:pt x="465" y="311"/>
                      </a:lnTo>
                      <a:lnTo>
                        <a:pt x="475" y="300"/>
                      </a:lnTo>
                      <a:lnTo>
                        <a:pt x="484" y="290"/>
                      </a:lnTo>
                      <a:lnTo>
                        <a:pt x="494" y="278"/>
                      </a:lnTo>
                      <a:lnTo>
                        <a:pt x="502" y="266"/>
                      </a:lnTo>
                      <a:lnTo>
                        <a:pt x="510" y="254"/>
                      </a:lnTo>
                      <a:lnTo>
                        <a:pt x="517" y="242"/>
                      </a:lnTo>
                      <a:lnTo>
                        <a:pt x="524" y="228"/>
                      </a:lnTo>
                      <a:lnTo>
                        <a:pt x="529" y="215"/>
                      </a:lnTo>
                      <a:lnTo>
                        <a:pt x="535" y="201"/>
                      </a:lnTo>
                      <a:lnTo>
                        <a:pt x="540" y="188"/>
                      </a:lnTo>
                      <a:lnTo>
                        <a:pt x="544" y="173"/>
                      </a:lnTo>
                      <a:lnTo>
                        <a:pt x="547" y="159"/>
                      </a:lnTo>
                      <a:lnTo>
                        <a:pt x="550" y="144"/>
                      </a:lnTo>
                      <a:lnTo>
                        <a:pt x="551" y="128"/>
                      </a:lnTo>
                      <a:lnTo>
                        <a:pt x="552" y="113"/>
                      </a:lnTo>
                      <a:lnTo>
                        <a:pt x="553" y="98"/>
                      </a:lnTo>
                      <a:lnTo>
                        <a:pt x="553" y="98"/>
                      </a:lnTo>
                      <a:lnTo>
                        <a:pt x="552" y="72"/>
                      </a:lnTo>
                      <a:lnTo>
                        <a:pt x="549" y="47"/>
                      </a:lnTo>
                      <a:lnTo>
                        <a:pt x="544" y="23"/>
                      </a:lnTo>
                      <a:lnTo>
                        <a:pt x="53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1" name="Freeform 265"/>
                <p:cNvSpPr>
                  <a:spLocks/>
                </p:cNvSpPr>
                <p:nvPr/>
              </p:nvSpPr>
              <p:spPr bwMode="auto">
                <a:xfrm>
                  <a:off x="5159375" y="3382963"/>
                  <a:ext cx="133350" cy="106363"/>
                </a:xfrm>
                <a:custGeom>
                  <a:avLst/>
                  <a:gdLst>
                    <a:gd name="T0" fmla="*/ 302 w 588"/>
                    <a:gd name="T1" fmla="*/ 0 h 468"/>
                    <a:gd name="T2" fmla="*/ 272 w 588"/>
                    <a:gd name="T3" fmla="*/ 2 h 468"/>
                    <a:gd name="T4" fmla="*/ 242 w 588"/>
                    <a:gd name="T5" fmla="*/ 7 h 468"/>
                    <a:gd name="T6" fmla="*/ 212 w 588"/>
                    <a:gd name="T7" fmla="*/ 14 h 468"/>
                    <a:gd name="T8" fmla="*/ 184 w 588"/>
                    <a:gd name="T9" fmla="*/ 24 h 468"/>
                    <a:gd name="T10" fmla="*/ 158 w 588"/>
                    <a:gd name="T11" fmla="*/ 37 h 468"/>
                    <a:gd name="T12" fmla="*/ 134 w 588"/>
                    <a:gd name="T13" fmla="*/ 52 h 468"/>
                    <a:gd name="T14" fmla="*/ 111 w 588"/>
                    <a:gd name="T15" fmla="*/ 69 h 468"/>
                    <a:gd name="T16" fmla="*/ 89 w 588"/>
                    <a:gd name="T17" fmla="*/ 89 h 468"/>
                    <a:gd name="T18" fmla="*/ 69 w 588"/>
                    <a:gd name="T19" fmla="*/ 110 h 468"/>
                    <a:gd name="T20" fmla="*/ 52 w 588"/>
                    <a:gd name="T21" fmla="*/ 133 h 468"/>
                    <a:gd name="T22" fmla="*/ 37 w 588"/>
                    <a:gd name="T23" fmla="*/ 159 h 468"/>
                    <a:gd name="T24" fmla="*/ 24 w 588"/>
                    <a:gd name="T25" fmla="*/ 185 h 468"/>
                    <a:gd name="T26" fmla="*/ 14 w 588"/>
                    <a:gd name="T27" fmla="*/ 213 h 468"/>
                    <a:gd name="T28" fmla="*/ 6 w 588"/>
                    <a:gd name="T29" fmla="*/ 242 h 468"/>
                    <a:gd name="T30" fmla="*/ 1 w 588"/>
                    <a:gd name="T31" fmla="*/ 272 h 468"/>
                    <a:gd name="T32" fmla="*/ 0 w 588"/>
                    <a:gd name="T33" fmla="*/ 303 h 468"/>
                    <a:gd name="T34" fmla="*/ 1 w 588"/>
                    <a:gd name="T35" fmla="*/ 326 h 468"/>
                    <a:gd name="T36" fmla="*/ 8 w 588"/>
                    <a:gd name="T37" fmla="*/ 369 h 468"/>
                    <a:gd name="T38" fmla="*/ 21 w 588"/>
                    <a:gd name="T39" fmla="*/ 411 h 468"/>
                    <a:gd name="T40" fmla="*/ 39 w 588"/>
                    <a:gd name="T41" fmla="*/ 450 h 468"/>
                    <a:gd name="T42" fmla="*/ 51 w 588"/>
                    <a:gd name="T43" fmla="*/ 468 h 468"/>
                    <a:gd name="T44" fmla="*/ 122 w 588"/>
                    <a:gd name="T45" fmla="*/ 444 h 468"/>
                    <a:gd name="T46" fmla="*/ 193 w 588"/>
                    <a:gd name="T47" fmla="*/ 418 h 468"/>
                    <a:gd name="T48" fmla="*/ 263 w 588"/>
                    <a:gd name="T49" fmla="*/ 389 h 468"/>
                    <a:gd name="T50" fmla="*/ 330 w 588"/>
                    <a:gd name="T51" fmla="*/ 357 h 468"/>
                    <a:gd name="T52" fmla="*/ 397 w 588"/>
                    <a:gd name="T53" fmla="*/ 322 h 468"/>
                    <a:gd name="T54" fmla="*/ 463 w 588"/>
                    <a:gd name="T55" fmla="*/ 285 h 468"/>
                    <a:gd name="T56" fmla="*/ 526 w 588"/>
                    <a:gd name="T57" fmla="*/ 246 h 468"/>
                    <a:gd name="T58" fmla="*/ 588 w 588"/>
                    <a:gd name="T59" fmla="*/ 205 h 468"/>
                    <a:gd name="T60" fmla="*/ 579 w 588"/>
                    <a:gd name="T61" fmla="*/ 183 h 468"/>
                    <a:gd name="T62" fmla="*/ 558 w 588"/>
                    <a:gd name="T63" fmla="*/ 142 h 468"/>
                    <a:gd name="T64" fmla="*/ 531 w 588"/>
                    <a:gd name="T65" fmla="*/ 105 h 468"/>
                    <a:gd name="T66" fmla="*/ 497 w 588"/>
                    <a:gd name="T67" fmla="*/ 72 h 468"/>
                    <a:gd name="T68" fmla="*/ 461 w 588"/>
                    <a:gd name="T69" fmla="*/ 45 h 468"/>
                    <a:gd name="T70" fmla="*/ 419 w 588"/>
                    <a:gd name="T71" fmla="*/ 24 h 468"/>
                    <a:gd name="T72" fmla="*/ 374 w 588"/>
                    <a:gd name="T73" fmla="*/ 9 h 468"/>
                    <a:gd name="T74" fmla="*/ 327 w 588"/>
                    <a:gd name="T75" fmla="*/ 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8" h="468">
                      <a:moveTo>
                        <a:pt x="302" y="0"/>
                      </a:moveTo>
                      <a:lnTo>
                        <a:pt x="302" y="0"/>
                      </a:lnTo>
                      <a:lnTo>
                        <a:pt x="287" y="1"/>
                      </a:lnTo>
                      <a:lnTo>
                        <a:pt x="272" y="2"/>
                      </a:lnTo>
                      <a:lnTo>
                        <a:pt x="256" y="3"/>
                      </a:lnTo>
                      <a:lnTo>
                        <a:pt x="242" y="7"/>
                      </a:lnTo>
                      <a:lnTo>
                        <a:pt x="227" y="10"/>
                      </a:lnTo>
                      <a:lnTo>
                        <a:pt x="212" y="14"/>
                      </a:lnTo>
                      <a:lnTo>
                        <a:pt x="198" y="18"/>
                      </a:lnTo>
                      <a:lnTo>
                        <a:pt x="184" y="24"/>
                      </a:lnTo>
                      <a:lnTo>
                        <a:pt x="172" y="30"/>
                      </a:lnTo>
                      <a:lnTo>
                        <a:pt x="158" y="37"/>
                      </a:lnTo>
                      <a:lnTo>
                        <a:pt x="145" y="44"/>
                      </a:lnTo>
                      <a:lnTo>
                        <a:pt x="134" y="52"/>
                      </a:lnTo>
                      <a:lnTo>
                        <a:pt x="121" y="60"/>
                      </a:lnTo>
                      <a:lnTo>
                        <a:pt x="111" y="69"/>
                      </a:lnTo>
                      <a:lnTo>
                        <a:pt x="99" y="78"/>
                      </a:lnTo>
                      <a:lnTo>
                        <a:pt x="89" y="89"/>
                      </a:lnTo>
                      <a:lnTo>
                        <a:pt x="78" y="99"/>
                      </a:lnTo>
                      <a:lnTo>
                        <a:pt x="69" y="110"/>
                      </a:lnTo>
                      <a:lnTo>
                        <a:pt x="60" y="122"/>
                      </a:lnTo>
                      <a:lnTo>
                        <a:pt x="52" y="133"/>
                      </a:lnTo>
                      <a:lnTo>
                        <a:pt x="44" y="146"/>
                      </a:lnTo>
                      <a:lnTo>
                        <a:pt x="37" y="159"/>
                      </a:lnTo>
                      <a:lnTo>
                        <a:pt x="30" y="171"/>
                      </a:lnTo>
                      <a:lnTo>
                        <a:pt x="24" y="185"/>
                      </a:lnTo>
                      <a:lnTo>
                        <a:pt x="19" y="198"/>
                      </a:lnTo>
                      <a:lnTo>
                        <a:pt x="14" y="213"/>
                      </a:lnTo>
                      <a:lnTo>
                        <a:pt x="9" y="227"/>
                      </a:lnTo>
                      <a:lnTo>
                        <a:pt x="6" y="242"/>
                      </a:lnTo>
                      <a:lnTo>
                        <a:pt x="4" y="257"/>
                      </a:lnTo>
                      <a:lnTo>
                        <a:pt x="1" y="272"/>
                      </a:lnTo>
                      <a:lnTo>
                        <a:pt x="0" y="287"/>
                      </a:lnTo>
                      <a:lnTo>
                        <a:pt x="0" y="303"/>
                      </a:lnTo>
                      <a:lnTo>
                        <a:pt x="0" y="303"/>
                      </a:lnTo>
                      <a:lnTo>
                        <a:pt x="1" y="326"/>
                      </a:lnTo>
                      <a:lnTo>
                        <a:pt x="4" y="348"/>
                      </a:lnTo>
                      <a:lnTo>
                        <a:pt x="8" y="369"/>
                      </a:lnTo>
                      <a:lnTo>
                        <a:pt x="14" y="391"/>
                      </a:lnTo>
                      <a:lnTo>
                        <a:pt x="21" y="411"/>
                      </a:lnTo>
                      <a:lnTo>
                        <a:pt x="29" y="432"/>
                      </a:lnTo>
                      <a:lnTo>
                        <a:pt x="39" y="450"/>
                      </a:lnTo>
                      <a:lnTo>
                        <a:pt x="51" y="468"/>
                      </a:lnTo>
                      <a:lnTo>
                        <a:pt x="51" y="468"/>
                      </a:lnTo>
                      <a:lnTo>
                        <a:pt x="86" y="457"/>
                      </a:lnTo>
                      <a:lnTo>
                        <a:pt x="122" y="444"/>
                      </a:lnTo>
                      <a:lnTo>
                        <a:pt x="158" y="432"/>
                      </a:lnTo>
                      <a:lnTo>
                        <a:pt x="193" y="418"/>
                      </a:lnTo>
                      <a:lnTo>
                        <a:pt x="228" y="404"/>
                      </a:lnTo>
                      <a:lnTo>
                        <a:pt x="263" y="389"/>
                      </a:lnTo>
                      <a:lnTo>
                        <a:pt x="297" y="373"/>
                      </a:lnTo>
                      <a:lnTo>
                        <a:pt x="330" y="357"/>
                      </a:lnTo>
                      <a:lnTo>
                        <a:pt x="364" y="340"/>
                      </a:lnTo>
                      <a:lnTo>
                        <a:pt x="397" y="322"/>
                      </a:lnTo>
                      <a:lnTo>
                        <a:pt x="431" y="304"/>
                      </a:lnTo>
                      <a:lnTo>
                        <a:pt x="463" y="285"/>
                      </a:lnTo>
                      <a:lnTo>
                        <a:pt x="495" y="266"/>
                      </a:lnTo>
                      <a:lnTo>
                        <a:pt x="526" y="246"/>
                      </a:lnTo>
                      <a:lnTo>
                        <a:pt x="557" y="226"/>
                      </a:lnTo>
                      <a:lnTo>
                        <a:pt x="588" y="205"/>
                      </a:lnTo>
                      <a:lnTo>
                        <a:pt x="588" y="205"/>
                      </a:lnTo>
                      <a:lnTo>
                        <a:pt x="579" y="183"/>
                      </a:lnTo>
                      <a:lnTo>
                        <a:pt x="570" y="162"/>
                      </a:lnTo>
                      <a:lnTo>
                        <a:pt x="558" y="142"/>
                      </a:lnTo>
                      <a:lnTo>
                        <a:pt x="545" y="123"/>
                      </a:lnTo>
                      <a:lnTo>
                        <a:pt x="531" y="105"/>
                      </a:lnTo>
                      <a:lnTo>
                        <a:pt x="515" y="87"/>
                      </a:lnTo>
                      <a:lnTo>
                        <a:pt x="497" y="72"/>
                      </a:lnTo>
                      <a:lnTo>
                        <a:pt x="480" y="57"/>
                      </a:lnTo>
                      <a:lnTo>
                        <a:pt x="461" y="45"/>
                      </a:lnTo>
                      <a:lnTo>
                        <a:pt x="440" y="33"/>
                      </a:lnTo>
                      <a:lnTo>
                        <a:pt x="419" y="24"/>
                      </a:lnTo>
                      <a:lnTo>
                        <a:pt x="397" y="16"/>
                      </a:lnTo>
                      <a:lnTo>
                        <a:pt x="374" y="9"/>
                      </a:lnTo>
                      <a:lnTo>
                        <a:pt x="351" y="5"/>
                      </a:lnTo>
                      <a:lnTo>
                        <a:pt x="327" y="1"/>
                      </a:lnTo>
                      <a:lnTo>
                        <a:pt x="302" y="0"/>
                      </a:lnTo>
                      <a:close/>
                    </a:path>
                  </a:pathLst>
                </a:custGeom>
                <a:solidFill>
                  <a:srgbClr val="B12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2" name="Freeform 266"/>
                <p:cNvSpPr>
                  <a:spLocks/>
                </p:cNvSpPr>
                <p:nvPr/>
              </p:nvSpPr>
              <p:spPr bwMode="auto">
                <a:xfrm>
                  <a:off x="5159375" y="3382963"/>
                  <a:ext cx="133350" cy="106363"/>
                </a:xfrm>
                <a:custGeom>
                  <a:avLst/>
                  <a:gdLst>
                    <a:gd name="T0" fmla="*/ 302 w 588"/>
                    <a:gd name="T1" fmla="*/ 0 h 468"/>
                    <a:gd name="T2" fmla="*/ 272 w 588"/>
                    <a:gd name="T3" fmla="*/ 2 h 468"/>
                    <a:gd name="T4" fmla="*/ 242 w 588"/>
                    <a:gd name="T5" fmla="*/ 7 h 468"/>
                    <a:gd name="T6" fmla="*/ 212 w 588"/>
                    <a:gd name="T7" fmla="*/ 14 h 468"/>
                    <a:gd name="T8" fmla="*/ 184 w 588"/>
                    <a:gd name="T9" fmla="*/ 24 h 468"/>
                    <a:gd name="T10" fmla="*/ 158 w 588"/>
                    <a:gd name="T11" fmla="*/ 37 h 468"/>
                    <a:gd name="T12" fmla="*/ 134 w 588"/>
                    <a:gd name="T13" fmla="*/ 52 h 468"/>
                    <a:gd name="T14" fmla="*/ 111 w 588"/>
                    <a:gd name="T15" fmla="*/ 69 h 468"/>
                    <a:gd name="T16" fmla="*/ 89 w 588"/>
                    <a:gd name="T17" fmla="*/ 89 h 468"/>
                    <a:gd name="T18" fmla="*/ 69 w 588"/>
                    <a:gd name="T19" fmla="*/ 110 h 468"/>
                    <a:gd name="T20" fmla="*/ 52 w 588"/>
                    <a:gd name="T21" fmla="*/ 133 h 468"/>
                    <a:gd name="T22" fmla="*/ 37 w 588"/>
                    <a:gd name="T23" fmla="*/ 159 h 468"/>
                    <a:gd name="T24" fmla="*/ 24 w 588"/>
                    <a:gd name="T25" fmla="*/ 185 h 468"/>
                    <a:gd name="T26" fmla="*/ 14 w 588"/>
                    <a:gd name="T27" fmla="*/ 213 h 468"/>
                    <a:gd name="T28" fmla="*/ 6 w 588"/>
                    <a:gd name="T29" fmla="*/ 242 h 468"/>
                    <a:gd name="T30" fmla="*/ 1 w 588"/>
                    <a:gd name="T31" fmla="*/ 272 h 468"/>
                    <a:gd name="T32" fmla="*/ 0 w 588"/>
                    <a:gd name="T33" fmla="*/ 303 h 468"/>
                    <a:gd name="T34" fmla="*/ 1 w 588"/>
                    <a:gd name="T35" fmla="*/ 326 h 468"/>
                    <a:gd name="T36" fmla="*/ 8 w 588"/>
                    <a:gd name="T37" fmla="*/ 369 h 468"/>
                    <a:gd name="T38" fmla="*/ 21 w 588"/>
                    <a:gd name="T39" fmla="*/ 411 h 468"/>
                    <a:gd name="T40" fmla="*/ 39 w 588"/>
                    <a:gd name="T41" fmla="*/ 450 h 468"/>
                    <a:gd name="T42" fmla="*/ 51 w 588"/>
                    <a:gd name="T43" fmla="*/ 468 h 468"/>
                    <a:gd name="T44" fmla="*/ 122 w 588"/>
                    <a:gd name="T45" fmla="*/ 444 h 468"/>
                    <a:gd name="T46" fmla="*/ 193 w 588"/>
                    <a:gd name="T47" fmla="*/ 418 h 468"/>
                    <a:gd name="T48" fmla="*/ 263 w 588"/>
                    <a:gd name="T49" fmla="*/ 389 h 468"/>
                    <a:gd name="T50" fmla="*/ 330 w 588"/>
                    <a:gd name="T51" fmla="*/ 357 h 468"/>
                    <a:gd name="T52" fmla="*/ 397 w 588"/>
                    <a:gd name="T53" fmla="*/ 322 h 468"/>
                    <a:gd name="T54" fmla="*/ 463 w 588"/>
                    <a:gd name="T55" fmla="*/ 285 h 468"/>
                    <a:gd name="T56" fmla="*/ 526 w 588"/>
                    <a:gd name="T57" fmla="*/ 246 h 468"/>
                    <a:gd name="T58" fmla="*/ 588 w 588"/>
                    <a:gd name="T59" fmla="*/ 205 h 468"/>
                    <a:gd name="T60" fmla="*/ 579 w 588"/>
                    <a:gd name="T61" fmla="*/ 183 h 468"/>
                    <a:gd name="T62" fmla="*/ 558 w 588"/>
                    <a:gd name="T63" fmla="*/ 142 h 468"/>
                    <a:gd name="T64" fmla="*/ 531 w 588"/>
                    <a:gd name="T65" fmla="*/ 105 h 468"/>
                    <a:gd name="T66" fmla="*/ 497 w 588"/>
                    <a:gd name="T67" fmla="*/ 72 h 468"/>
                    <a:gd name="T68" fmla="*/ 461 w 588"/>
                    <a:gd name="T69" fmla="*/ 45 h 468"/>
                    <a:gd name="T70" fmla="*/ 419 w 588"/>
                    <a:gd name="T71" fmla="*/ 24 h 468"/>
                    <a:gd name="T72" fmla="*/ 374 w 588"/>
                    <a:gd name="T73" fmla="*/ 9 h 468"/>
                    <a:gd name="T74" fmla="*/ 327 w 588"/>
                    <a:gd name="T75" fmla="*/ 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8" h="468">
                      <a:moveTo>
                        <a:pt x="302" y="0"/>
                      </a:moveTo>
                      <a:lnTo>
                        <a:pt x="302" y="0"/>
                      </a:lnTo>
                      <a:lnTo>
                        <a:pt x="287" y="1"/>
                      </a:lnTo>
                      <a:lnTo>
                        <a:pt x="272" y="2"/>
                      </a:lnTo>
                      <a:lnTo>
                        <a:pt x="256" y="3"/>
                      </a:lnTo>
                      <a:lnTo>
                        <a:pt x="242" y="7"/>
                      </a:lnTo>
                      <a:lnTo>
                        <a:pt x="227" y="10"/>
                      </a:lnTo>
                      <a:lnTo>
                        <a:pt x="212" y="14"/>
                      </a:lnTo>
                      <a:lnTo>
                        <a:pt x="198" y="18"/>
                      </a:lnTo>
                      <a:lnTo>
                        <a:pt x="184" y="24"/>
                      </a:lnTo>
                      <a:lnTo>
                        <a:pt x="172" y="30"/>
                      </a:lnTo>
                      <a:lnTo>
                        <a:pt x="158" y="37"/>
                      </a:lnTo>
                      <a:lnTo>
                        <a:pt x="145" y="44"/>
                      </a:lnTo>
                      <a:lnTo>
                        <a:pt x="134" y="52"/>
                      </a:lnTo>
                      <a:lnTo>
                        <a:pt x="121" y="60"/>
                      </a:lnTo>
                      <a:lnTo>
                        <a:pt x="111" y="69"/>
                      </a:lnTo>
                      <a:lnTo>
                        <a:pt x="99" y="78"/>
                      </a:lnTo>
                      <a:lnTo>
                        <a:pt x="89" y="89"/>
                      </a:lnTo>
                      <a:lnTo>
                        <a:pt x="78" y="99"/>
                      </a:lnTo>
                      <a:lnTo>
                        <a:pt x="69" y="110"/>
                      </a:lnTo>
                      <a:lnTo>
                        <a:pt x="60" y="122"/>
                      </a:lnTo>
                      <a:lnTo>
                        <a:pt x="52" y="133"/>
                      </a:lnTo>
                      <a:lnTo>
                        <a:pt x="44" y="146"/>
                      </a:lnTo>
                      <a:lnTo>
                        <a:pt x="37" y="159"/>
                      </a:lnTo>
                      <a:lnTo>
                        <a:pt x="30" y="171"/>
                      </a:lnTo>
                      <a:lnTo>
                        <a:pt x="24" y="185"/>
                      </a:lnTo>
                      <a:lnTo>
                        <a:pt x="19" y="198"/>
                      </a:lnTo>
                      <a:lnTo>
                        <a:pt x="14" y="213"/>
                      </a:lnTo>
                      <a:lnTo>
                        <a:pt x="9" y="227"/>
                      </a:lnTo>
                      <a:lnTo>
                        <a:pt x="6" y="242"/>
                      </a:lnTo>
                      <a:lnTo>
                        <a:pt x="4" y="257"/>
                      </a:lnTo>
                      <a:lnTo>
                        <a:pt x="1" y="272"/>
                      </a:lnTo>
                      <a:lnTo>
                        <a:pt x="0" y="287"/>
                      </a:lnTo>
                      <a:lnTo>
                        <a:pt x="0" y="303"/>
                      </a:lnTo>
                      <a:lnTo>
                        <a:pt x="0" y="303"/>
                      </a:lnTo>
                      <a:lnTo>
                        <a:pt x="1" y="326"/>
                      </a:lnTo>
                      <a:lnTo>
                        <a:pt x="4" y="348"/>
                      </a:lnTo>
                      <a:lnTo>
                        <a:pt x="8" y="369"/>
                      </a:lnTo>
                      <a:lnTo>
                        <a:pt x="14" y="391"/>
                      </a:lnTo>
                      <a:lnTo>
                        <a:pt x="21" y="411"/>
                      </a:lnTo>
                      <a:lnTo>
                        <a:pt x="29" y="432"/>
                      </a:lnTo>
                      <a:lnTo>
                        <a:pt x="39" y="450"/>
                      </a:lnTo>
                      <a:lnTo>
                        <a:pt x="51" y="468"/>
                      </a:lnTo>
                      <a:lnTo>
                        <a:pt x="51" y="468"/>
                      </a:lnTo>
                      <a:lnTo>
                        <a:pt x="86" y="457"/>
                      </a:lnTo>
                      <a:lnTo>
                        <a:pt x="122" y="444"/>
                      </a:lnTo>
                      <a:lnTo>
                        <a:pt x="158" y="432"/>
                      </a:lnTo>
                      <a:lnTo>
                        <a:pt x="193" y="418"/>
                      </a:lnTo>
                      <a:lnTo>
                        <a:pt x="228" y="404"/>
                      </a:lnTo>
                      <a:lnTo>
                        <a:pt x="263" y="389"/>
                      </a:lnTo>
                      <a:lnTo>
                        <a:pt x="297" y="373"/>
                      </a:lnTo>
                      <a:lnTo>
                        <a:pt x="330" y="357"/>
                      </a:lnTo>
                      <a:lnTo>
                        <a:pt x="364" y="340"/>
                      </a:lnTo>
                      <a:lnTo>
                        <a:pt x="397" y="322"/>
                      </a:lnTo>
                      <a:lnTo>
                        <a:pt x="431" y="304"/>
                      </a:lnTo>
                      <a:lnTo>
                        <a:pt x="463" y="285"/>
                      </a:lnTo>
                      <a:lnTo>
                        <a:pt x="495" y="266"/>
                      </a:lnTo>
                      <a:lnTo>
                        <a:pt x="526" y="246"/>
                      </a:lnTo>
                      <a:lnTo>
                        <a:pt x="557" y="226"/>
                      </a:lnTo>
                      <a:lnTo>
                        <a:pt x="588" y="205"/>
                      </a:lnTo>
                      <a:lnTo>
                        <a:pt x="588" y="205"/>
                      </a:lnTo>
                      <a:lnTo>
                        <a:pt x="579" y="183"/>
                      </a:lnTo>
                      <a:lnTo>
                        <a:pt x="570" y="162"/>
                      </a:lnTo>
                      <a:lnTo>
                        <a:pt x="558" y="142"/>
                      </a:lnTo>
                      <a:lnTo>
                        <a:pt x="545" y="123"/>
                      </a:lnTo>
                      <a:lnTo>
                        <a:pt x="531" y="105"/>
                      </a:lnTo>
                      <a:lnTo>
                        <a:pt x="515" y="87"/>
                      </a:lnTo>
                      <a:lnTo>
                        <a:pt x="497" y="72"/>
                      </a:lnTo>
                      <a:lnTo>
                        <a:pt x="480" y="57"/>
                      </a:lnTo>
                      <a:lnTo>
                        <a:pt x="461" y="45"/>
                      </a:lnTo>
                      <a:lnTo>
                        <a:pt x="440" y="33"/>
                      </a:lnTo>
                      <a:lnTo>
                        <a:pt x="419" y="24"/>
                      </a:lnTo>
                      <a:lnTo>
                        <a:pt x="397" y="16"/>
                      </a:lnTo>
                      <a:lnTo>
                        <a:pt x="374" y="9"/>
                      </a:lnTo>
                      <a:lnTo>
                        <a:pt x="351" y="5"/>
                      </a:lnTo>
                      <a:lnTo>
                        <a:pt x="327" y="1"/>
                      </a:lnTo>
                      <a:lnTo>
                        <a:pt x="30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323" name="그룹 322"/>
              <p:cNvGrpSpPr/>
              <p:nvPr userDrawn="1"/>
            </p:nvGrpSpPr>
            <p:grpSpPr>
              <a:xfrm>
                <a:off x="1571100" y="402934"/>
                <a:ext cx="290483" cy="290483"/>
                <a:chOff x="2711450" y="2881313"/>
                <a:chExt cx="1020763" cy="1020763"/>
              </a:xfrm>
            </p:grpSpPr>
            <p:sp>
              <p:nvSpPr>
                <p:cNvPr id="324" name="Freeform 267"/>
                <p:cNvSpPr>
                  <a:spLocks/>
                </p:cNvSpPr>
                <p:nvPr/>
              </p:nvSpPr>
              <p:spPr bwMode="auto">
                <a:xfrm>
                  <a:off x="2711450" y="2881313"/>
                  <a:ext cx="1020763" cy="1020763"/>
                </a:xfrm>
                <a:custGeom>
                  <a:avLst/>
                  <a:gdLst>
                    <a:gd name="T0" fmla="*/ 4397 w 4503"/>
                    <a:gd name="T1" fmla="*/ 1573 h 4504"/>
                    <a:gd name="T2" fmla="*/ 4265 w 4503"/>
                    <a:gd name="T3" fmla="*/ 1246 h 4504"/>
                    <a:gd name="T4" fmla="*/ 4084 w 4503"/>
                    <a:gd name="T5" fmla="*/ 947 h 4504"/>
                    <a:gd name="T6" fmla="*/ 3909 w 4503"/>
                    <a:gd name="T7" fmla="*/ 731 h 4504"/>
                    <a:gd name="T8" fmla="*/ 3836 w 4503"/>
                    <a:gd name="T9" fmla="*/ 657 h 4504"/>
                    <a:gd name="T10" fmla="*/ 3789 w 4503"/>
                    <a:gd name="T11" fmla="*/ 610 h 4504"/>
                    <a:gd name="T12" fmla="*/ 3566 w 4503"/>
                    <a:gd name="T13" fmla="*/ 426 h 4504"/>
                    <a:gd name="T14" fmla="*/ 3399 w 4503"/>
                    <a:gd name="T15" fmla="*/ 316 h 4504"/>
                    <a:gd name="T16" fmla="*/ 3268 w 4503"/>
                    <a:gd name="T17" fmla="*/ 245 h 4504"/>
                    <a:gd name="T18" fmla="*/ 3105 w 4503"/>
                    <a:gd name="T19" fmla="*/ 170 h 4504"/>
                    <a:gd name="T20" fmla="*/ 2826 w 4503"/>
                    <a:gd name="T21" fmla="*/ 77 h 4504"/>
                    <a:gd name="T22" fmla="*/ 2685 w 4503"/>
                    <a:gd name="T23" fmla="*/ 44 h 4504"/>
                    <a:gd name="T24" fmla="*/ 2502 w 4503"/>
                    <a:gd name="T25" fmla="*/ 16 h 4504"/>
                    <a:gd name="T26" fmla="*/ 2252 w 4503"/>
                    <a:gd name="T27" fmla="*/ 0 h 4504"/>
                    <a:gd name="T28" fmla="*/ 2022 w 4503"/>
                    <a:gd name="T29" fmla="*/ 12 h 4504"/>
                    <a:gd name="T30" fmla="*/ 1743 w 4503"/>
                    <a:gd name="T31" fmla="*/ 58 h 4504"/>
                    <a:gd name="T32" fmla="*/ 1477 w 4503"/>
                    <a:gd name="T33" fmla="*/ 137 h 4504"/>
                    <a:gd name="T34" fmla="*/ 1226 w 4503"/>
                    <a:gd name="T35" fmla="*/ 246 h 4504"/>
                    <a:gd name="T36" fmla="*/ 993 w 4503"/>
                    <a:gd name="T37" fmla="*/ 384 h 4504"/>
                    <a:gd name="T38" fmla="*/ 779 w 4503"/>
                    <a:gd name="T39" fmla="*/ 549 h 4504"/>
                    <a:gd name="T40" fmla="*/ 585 w 4503"/>
                    <a:gd name="T41" fmla="*/ 738 h 4504"/>
                    <a:gd name="T42" fmla="*/ 416 w 4503"/>
                    <a:gd name="T43" fmla="*/ 948 h 4504"/>
                    <a:gd name="T44" fmla="*/ 272 w 4503"/>
                    <a:gd name="T45" fmla="*/ 1179 h 4504"/>
                    <a:gd name="T46" fmla="*/ 157 w 4503"/>
                    <a:gd name="T47" fmla="*/ 1426 h 4504"/>
                    <a:gd name="T48" fmla="*/ 72 w 4503"/>
                    <a:gd name="T49" fmla="*/ 1689 h 4504"/>
                    <a:gd name="T50" fmla="*/ 19 w 4503"/>
                    <a:gd name="T51" fmla="*/ 1965 h 4504"/>
                    <a:gd name="T52" fmla="*/ 0 w 4503"/>
                    <a:gd name="T53" fmla="*/ 2252 h 4504"/>
                    <a:gd name="T54" fmla="*/ 12 w 4503"/>
                    <a:gd name="T55" fmla="*/ 2481 h 4504"/>
                    <a:gd name="T56" fmla="*/ 58 w 4503"/>
                    <a:gd name="T57" fmla="*/ 2758 h 4504"/>
                    <a:gd name="T58" fmla="*/ 136 w 4503"/>
                    <a:gd name="T59" fmla="*/ 3023 h 4504"/>
                    <a:gd name="T60" fmla="*/ 246 w 4503"/>
                    <a:gd name="T61" fmla="*/ 3273 h 4504"/>
                    <a:gd name="T62" fmla="*/ 383 w 4503"/>
                    <a:gd name="T63" fmla="*/ 3505 h 4504"/>
                    <a:gd name="T64" fmla="*/ 546 w 4503"/>
                    <a:gd name="T65" fmla="*/ 3720 h 4504"/>
                    <a:gd name="T66" fmla="*/ 693 w 4503"/>
                    <a:gd name="T67" fmla="*/ 3876 h 4504"/>
                    <a:gd name="T68" fmla="*/ 901 w 4503"/>
                    <a:gd name="T69" fmla="*/ 4052 h 4504"/>
                    <a:gd name="T70" fmla="*/ 1127 w 4503"/>
                    <a:gd name="T71" fmla="*/ 4202 h 4504"/>
                    <a:gd name="T72" fmla="*/ 1373 w 4503"/>
                    <a:gd name="T73" fmla="*/ 4325 h 4504"/>
                    <a:gd name="T74" fmla="*/ 1633 w 4503"/>
                    <a:gd name="T75" fmla="*/ 4417 h 4504"/>
                    <a:gd name="T76" fmla="*/ 1908 w 4503"/>
                    <a:gd name="T77" fmla="*/ 4477 h 4504"/>
                    <a:gd name="T78" fmla="*/ 2194 w 4503"/>
                    <a:gd name="T79" fmla="*/ 4502 h 4504"/>
                    <a:gd name="T80" fmla="*/ 2425 w 4503"/>
                    <a:gd name="T81" fmla="*/ 4497 h 4504"/>
                    <a:gd name="T82" fmla="*/ 2706 w 4503"/>
                    <a:gd name="T83" fmla="*/ 4458 h 4504"/>
                    <a:gd name="T84" fmla="*/ 2974 w 4503"/>
                    <a:gd name="T85" fmla="*/ 4385 h 4504"/>
                    <a:gd name="T86" fmla="*/ 3228 w 4503"/>
                    <a:gd name="T87" fmla="*/ 4281 h 4504"/>
                    <a:gd name="T88" fmla="*/ 3466 w 4503"/>
                    <a:gd name="T89" fmla="*/ 4149 h 4504"/>
                    <a:gd name="T90" fmla="*/ 3684 w 4503"/>
                    <a:gd name="T91" fmla="*/ 3989 h 4504"/>
                    <a:gd name="T92" fmla="*/ 3881 w 4503"/>
                    <a:gd name="T93" fmla="*/ 3805 h 4504"/>
                    <a:gd name="T94" fmla="*/ 4056 w 4503"/>
                    <a:gd name="T95" fmla="*/ 3599 h 4504"/>
                    <a:gd name="T96" fmla="*/ 4205 w 4503"/>
                    <a:gd name="T97" fmla="*/ 3373 h 4504"/>
                    <a:gd name="T98" fmla="*/ 4327 w 4503"/>
                    <a:gd name="T99" fmla="*/ 3128 h 4504"/>
                    <a:gd name="T100" fmla="*/ 4418 w 4503"/>
                    <a:gd name="T101" fmla="*/ 2868 h 4504"/>
                    <a:gd name="T102" fmla="*/ 4478 w 4503"/>
                    <a:gd name="T103" fmla="*/ 2595 h 4504"/>
                    <a:gd name="T104" fmla="*/ 4503 w 4503"/>
                    <a:gd name="T105" fmla="*/ 2310 h 4504"/>
                    <a:gd name="T106" fmla="*/ 4494 w 4503"/>
                    <a:gd name="T107" fmla="*/ 2044 h 4504"/>
                    <a:gd name="T108" fmla="*/ 4435 w 4503"/>
                    <a:gd name="T109" fmla="*/ 1712 h 4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03" h="4504">
                      <a:moveTo>
                        <a:pt x="4435" y="1712"/>
                      </a:moveTo>
                      <a:lnTo>
                        <a:pt x="4435" y="1712"/>
                      </a:lnTo>
                      <a:lnTo>
                        <a:pt x="4435" y="1712"/>
                      </a:lnTo>
                      <a:lnTo>
                        <a:pt x="4417" y="1641"/>
                      </a:lnTo>
                      <a:lnTo>
                        <a:pt x="4397" y="1573"/>
                      </a:lnTo>
                      <a:lnTo>
                        <a:pt x="4374" y="1506"/>
                      </a:lnTo>
                      <a:lnTo>
                        <a:pt x="4350" y="1440"/>
                      </a:lnTo>
                      <a:lnTo>
                        <a:pt x="4323" y="1374"/>
                      </a:lnTo>
                      <a:lnTo>
                        <a:pt x="4295" y="1310"/>
                      </a:lnTo>
                      <a:lnTo>
                        <a:pt x="4265" y="1246"/>
                      </a:lnTo>
                      <a:lnTo>
                        <a:pt x="4231" y="1184"/>
                      </a:lnTo>
                      <a:lnTo>
                        <a:pt x="4198" y="1123"/>
                      </a:lnTo>
                      <a:lnTo>
                        <a:pt x="4161" y="1063"/>
                      </a:lnTo>
                      <a:lnTo>
                        <a:pt x="4124" y="1005"/>
                      </a:lnTo>
                      <a:lnTo>
                        <a:pt x="4084" y="947"/>
                      </a:lnTo>
                      <a:lnTo>
                        <a:pt x="4042" y="891"/>
                      </a:lnTo>
                      <a:lnTo>
                        <a:pt x="4000" y="837"/>
                      </a:lnTo>
                      <a:lnTo>
                        <a:pt x="3955" y="782"/>
                      </a:lnTo>
                      <a:lnTo>
                        <a:pt x="3909" y="731"/>
                      </a:lnTo>
                      <a:lnTo>
                        <a:pt x="3909" y="731"/>
                      </a:lnTo>
                      <a:lnTo>
                        <a:pt x="3901" y="721"/>
                      </a:lnTo>
                      <a:lnTo>
                        <a:pt x="3901" y="721"/>
                      </a:lnTo>
                      <a:lnTo>
                        <a:pt x="3869" y="689"/>
                      </a:lnTo>
                      <a:lnTo>
                        <a:pt x="3836" y="657"/>
                      </a:lnTo>
                      <a:lnTo>
                        <a:pt x="3836" y="657"/>
                      </a:lnTo>
                      <a:lnTo>
                        <a:pt x="3814" y="634"/>
                      </a:lnTo>
                      <a:lnTo>
                        <a:pt x="3793" y="612"/>
                      </a:lnTo>
                      <a:lnTo>
                        <a:pt x="3793" y="612"/>
                      </a:lnTo>
                      <a:lnTo>
                        <a:pt x="3789" y="610"/>
                      </a:lnTo>
                      <a:lnTo>
                        <a:pt x="3789" y="610"/>
                      </a:lnTo>
                      <a:lnTo>
                        <a:pt x="3747" y="571"/>
                      </a:lnTo>
                      <a:lnTo>
                        <a:pt x="3703" y="533"/>
                      </a:lnTo>
                      <a:lnTo>
                        <a:pt x="3658" y="496"/>
                      </a:lnTo>
                      <a:lnTo>
                        <a:pt x="3612" y="460"/>
                      </a:lnTo>
                      <a:lnTo>
                        <a:pt x="3566" y="426"/>
                      </a:lnTo>
                      <a:lnTo>
                        <a:pt x="3519" y="392"/>
                      </a:lnTo>
                      <a:lnTo>
                        <a:pt x="3470" y="361"/>
                      </a:lnTo>
                      <a:lnTo>
                        <a:pt x="3421" y="330"/>
                      </a:lnTo>
                      <a:lnTo>
                        <a:pt x="3421" y="330"/>
                      </a:lnTo>
                      <a:lnTo>
                        <a:pt x="3399" y="316"/>
                      </a:lnTo>
                      <a:lnTo>
                        <a:pt x="3399" y="316"/>
                      </a:lnTo>
                      <a:lnTo>
                        <a:pt x="3334" y="279"/>
                      </a:lnTo>
                      <a:lnTo>
                        <a:pt x="3301" y="262"/>
                      </a:lnTo>
                      <a:lnTo>
                        <a:pt x="3268" y="245"/>
                      </a:lnTo>
                      <a:lnTo>
                        <a:pt x="3268" y="245"/>
                      </a:lnTo>
                      <a:lnTo>
                        <a:pt x="3264" y="243"/>
                      </a:lnTo>
                      <a:lnTo>
                        <a:pt x="3264" y="243"/>
                      </a:lnTo>
                      <a:lnTo>
                        <a:pt x="3212" y="217"/>
                      </a:lnTo>
                      <a:lnTo>
                        <a:pt x="3159" y="193"/>
                      </a:lnTo>
                      <a:lnTo>
                        <a:pt x="3105" y="170"/>
                      </a:lnTo>
                      <a:lnTo>
                        <a:pt x="3051" y="148"/>
                      </a:lnTo>
                      <a:lnTo>
                        <a:pt x="2996" y="129"/>
                      </a:lnTo>
                      <a:lnTo>
                        <a:pt x="2940" y="110"/>
                      </a:lnTo>
                      <a:lnTo>
                        <a:pt x="2883" y="93"/>
                      </a:lnTo>
                      <a:lnTo>
                        <a:pt x="2826" y="77"/>
                      </a:lnTo>
                      <a:lnTo>
                        <a:pt x="2826" y="77"/>
                      </a:lnTo>
                      <a:lnTo>
                        <a:pt x="2796" y="69"/>
                      </a:lnTo>
                      <a:lnTo>
                        <a:pt x="2796" y="69"/>
                      </a:lnTo>
                      <a:lnTo>
                        <a:pt x="2722" y="51"/>
                      </a:lnTo>
                      <a:lnTo>
                        <a:pt x="2685" y="44"/>
                      </a:lnTo>
                      <a:lnTo>
                        <a:pt x="2648" y="36"/>
                      </a:lnTo>
                      <a:lnTo>
                        <a:pt x="2648" y="36"/>
                      </a:lnTo>
                      <a:lnTo>
                        <a:pt x="2600" y="28"/>
                      </a:lnTo>
                      <a:lnTo>
                        <a:pt x="2550" y="21"/>
                      </a:lnTo>
                      <a:lnTo>
                        <a:pt x="2502" y="16"/>
                      </a:lnTo>
                      <a:lnTo>
                        <a:pt x="2453" y="10"/>
                      </a:lnTo>
                      <a:lnTo>
                        <a:pt x="2403" y="5"/>
                      </a:lnTo>
                      <a:lnTo>
                        <a:pt x="2352" y="3"/>
                      </a:lnTo>
                      <a:lnTo>
                        <a:pt x="2303" y="1"/>
                      </a:lnTo>
                      <a:lnTo>
                        <a:pt x="2252" y="0"/>
                      </a:lnTo>
                      <a:lnTo>
                        <a:pt x="2252" y="0"/>
                      </a:lnTo>
                      <a:lnTo>
                        <a:pt x="2194" y="1"/>
                      </a:lnTo>
                      <a:lnTo>
                        <a:pt x="2136" y="3"/>
                      </a:lnTo>
                      <a:lnTo>
                        <a:pt x="2078" y="7"/>
                      </a:lnTo>
                      <a:lnTo>
                        <a:pt x="2022" y="12"/>
                      </a:lnTo>
                      <a:lnTo>
                        <a:pt x="1966" y="18"/>
                      </a:lnTo>
                      <a:lnTo>
                        <a:pt x="1909" y="26"/>
                      </a:lnTo>
                      <a:lnTo>
                        <a:pt x="1854" y="35"/>
                      </a:lnTo>
                      <a:lnTo>
                        <a:pt x="1799" y="46"/>
                      </a:lnTo>
                      <a:lnTo>
                        <a:pt x="1743" y="58"/>
                      </a:lnTo>
                      <a:lnTo>
                        <a:pt x="1689" y="71"/>
                      </a:lnTo>
                      <a:lnTo>
                        <a:pt x="1635" y="86"/>
                      </a:lnTo>
                      <a:lnTo>
                        <a:pt x="1582" y="101"/>
                      </a:lnTo>
                      <a:lnTo>
                        <a:pt x="1530" y="118"/>
                      </a:lnTo>
                      <a:lnTo>
                        <a:pt x="1477" y="137"/>
                      </a:lnTo>
                      <a:lnTo>
                        <a:pt x="1427" y="156"/>
                      </a:lnTo>
                      <a:lnTo>
                        <a:pt x="1376" y="177"/>
                      </a:lnTo>
                      <a:lnTo>
                        <a:pt x="1325" y="199"/>
                      </a:lnTo>
                      <a:lnTo>
                        <a:pt x="1276" y="222"/>
                      </a:lnTo>
                      <a:lnTo>
                        <a:pt x="1226" y="246"/>
                      </a:lnTo>
                      <a:lnTo>
                        <a:pt x="1179" y="271"/>
                      </a:lnTo>
                      <a:lnTo>
                        <a:pt x="1131" y="299"/>
                      </a:lnTo>
                      <a:lnTo>
                        <a:pt x="1085" y="327"/>
                      </a:lnTo>
                      <a:lnTo>
                        <a:pt x="1039" y="355"/>
                      </a:lnTo>
                      <a:lnTo>
                        <a:pt x="993" y="384"/>
                      </a:lnTo>
                      <a:lnTo>
                        <a:pt x="949" y="415"/>
                      </a:lnTo>
                      <a:lnTo>
                        <a:pt x="905" y="447"/>
                      </a:lnTo>
                      <a:lnTo>
                        <a:pt x="861" y="481"/>
                      </a:lnTo>
                      <a:lnTo>
                        <a:pt x="820" y="514"/>
                      </a:lnTo>
                      <a:lnTo>
                        <a:pt x="779" y="549"/>
                      </a:lnTo>
                      <a:lnTo>
                        <a:pt x="738" y="584"/>
                      </a:lnTo>
                      <a:lnTo>
                        <a:pt x="699" y="621"/>
                      </a:lnTo>
                      <a:lnTo>
                        <a:pt x="660" y="659"/>
                      </a:lnTo>
                      <a:lnTo>
                        <a:pt x="622" y="698"/>
                      </a:lnTo>
                      <a:lnTo>
                        <a:pt x="585" y="738"/>
                      </a:lnTo>
                      <a:lnTo>
                        <a:pt x="549" y="778"/>
                      </a:lnTo>
                      <a:lnTo>
                        <a:pt x="515" y="819"/>
                      </a:lnTo>
                      <a:lnTo>
                        <a:pt x="480" y="862"/>
                      </a:lnTo>
                      <a:lnTo>
                        <a:pt x="448" y="905"/>
                      </a:lnTo>
                      <a:lnTo>
                        <a:pt x="416" y="948"/>
                      </a:lnTo>
                      <a:lnTo>
                        <a:pt x="385" y="993"/>
                      </a:lnTo>
                      <a:lnTo>
                        <a:pt x="355" y="1038"/>
                      </a:lnTo>
                      <a:lnTo>
                        <a:pt x="326" y="1084"/>
                      </a:lnTo>
                      <a:lnTo>
                        <a:pt x="299" y="1131"/>
                      </a:lnTo>
                      <a:lnTo>
                        <a:pt x="272" y="1179"/>
                      </a:lnTo>
                      <a:lnTo>
                        <a:pt x="247" y="1227"/>
                      </a:lnTo>
                      <a:lnTo>
                        <a:pt x="223" y="1275"/>
                      </a:lnTo>
                      <a:lnTo>
                        <a:pt x="200" y="1325"/>
                      </a:lnTo>
                      <a:lnTo>
                        <a:pt x="178" y="1375"/>
                      </a:lnTo>
                      <a:lnTo>
                        <a:pt x="157" y="1426"/>
                      </a:lnTo>
                      <a:lnTo>
                        <a:pt x="137" y="1478"/>
                      </a:lnTo>
                      <a:lnTo>
                        <a:pt x="119" y="1530"/>
                      </a:lnTo>
                      <a:lnTo>
                        <a:pt x="102" y="1583"/>
                      </a:lnTo>
                      <a:lnTo>
                        <a:pt x="86" y="1636"/>
                      </a:lnTo>
                      <a:lnTo>
                        <a:pt x="72" y="1689"/>
                      </a:lnTo>
                      <a:lnTo>
                        <a:pt x="58" y="1743"/>
                      </a:lnTo>
                      <a:lnTo>
                        <a:pt x="46" y="1798"/>
                      </a:lnTo>
                      <a:lnTo>
                        <a:pt x="36" y="1853"/>
                      </a:lnTo>
                      <a:lnTo>
                        <a:pt x="27" y="1908"/>
                      </a:lnTo>
                      <a:lnTo>
                        <a:pt x="19" y="1965"/>
                      </a:lnTo>
                      <a:lnTo>
                        <a:pt x="12" y="2021"/>
                      </a:lnTo>
                      <a:lnTo>
                        <a:pt x="7" y="2079"/>
                      </a:lnTo>
                      <a:lnTo>
                        <a:pt x="4" y="2135"/>
                      </a:lnTo>
                      <a:lnTo>
                        <a:pt x="1" y="2194"/>
                      </a:lnTo>
                      <a:lnTo>
                        <a:pt x="0" y="2252"/>
                      </a:lnTo>
                      <a:lnTo>
                        <a:pt x="0" y="2252"/>
                      </a:lnTo>
                      <a:lnTo>
                        <a:pt x="1" y="2309"/>
                      </a:lnTo>
                      <a:lnTo>
                        <a:pt x="4" y="2367"/>
                      </a:lnTo>
                      <a:lnTo>
                        <a:pt x="7" y="2424"/>
                      </a:lnTo>
                      <a:lnTo>
                        <a:pt x="12" y="2481"/>
                      </a:lnTo>
                      <a:lnTo>
                        <a:pt x="19" y="2537"/>
                      </a:lnTo>
                      <a:lnTo>
                        <a:pt x="26" y="2594"/>
                      </a:lnTo>
                      <a:lnTo>
                        <a:pt x="35" y="2649"/>
                      </a:lnTo>
                      <a:lnTo>
                        <a:pt x="46" y="2704"/>
                      </a:lnTo>
                      <a:lnTo>
                        <a:pt x="58" y="2758"/>
                      </a:lnTo>
                      <a:lnTo>
                        <a:pt x="71" y="2812"/>
                      </a:lnTo>
                      <a:lnTo>
                        <a:pt x="86" y="2865"/>
                      </a:lnTo>
                      <a:lnTo>
                        <a:pt x="100" y="2918"/>
                      </a:lnTo>
                      <a:lnTo>
                        <a:pt x="118" y="2971"/>
                      </a:lnTo>
                      <a:lnTo>
                        <a:pt x="136" y="3023"/>
                      </a:lnTo>
                      <a:lnTo>
                        <a:pt x="156" y="3074"/>
                      </a:lnTo>
                      <a:lnTo>
                        <a:pt x="176" y="3124"/>
                      </a:lnTo>
                      <a:lnTo>
                        <a:pt x="198" y="3175"/>
                      </a:lnTo>
                      <a:lnTo>
                        <a:pt x="221" y="3224"/>
                      </a:lnTo>
                      <a:lnTo>
                        <a:pt x="246" y="3273"/>
                      </a:lnTo>
                      <a:lnTo>
                        <a:pt x="270" y="3321"/>
                      </a:lnTo>
                      <a:lnTo>
                        <a:pt x="296" y="3368"/>
                      </a:lnTo>
                      <a:lnTo>
                        <a:pt x="324" y="3414"/>
                      </a:lnTo>
                      <a:lnTo>
                        <a:pt x="353" y="3460"/>
                      </a:lnTo>
                      <a:lnTo>
                        <a:pt x="383" y="3505"/>
                      </a:lnTo>
                      <a:lnTo>
                        <a:pt x="412" y="3550"/>
                      </a:lnTo>
                      <a:lnTo>
                        <a:pt x="445" y="3594"/>
                      </a:lnTo>
                      <a:lnTo>
                        <a:pt x="477" y="3637"/>
                      </a:lnTo>
                      <a:lnTo>
                        <a:pt x="510" y="3679"/>
                      </a:lnTo>
                      <a:lnTo>
                        <a:pt x="546" y="3720"/>
                      </a:lnTo>
                      <a:lnTo>
                        <a:pt x="581" y="3760"/>
                      </a:lnTo>
                      <a:lnTo>
                        <a:pt x="617" y="3800"/>
                      </a:lnTo>
                      <a:lnTo>
                        <a:pt x="655" y="3838"/>
                      </a:lnTo>
                      <a:lnTo>
                        <a:pt x="655" y="3838"/>
                      </a:lnTo>
                      <a:lnTo>
                        <a:pt x="693" y="3876"/>
                      </a:lnTo>
                      <a:lnTo>
                        <a:pt x="734" y="3913"/>
                      </a:lnTo>
                      <a:lnTo>
                        <a:pt x="774" y="3950"/>
                      </a:lnTo>
                      <a:lnTo>
                        <a:pt x="815" y="3984"/>
                      </a:lnTo>
                      <a:lnTo>
                        <a:pt x="857" y="4019"/>
                      </a:lnTo>
                      <a:lnTo>
                        <a:pt x="901" y="4052"/>
                      </a:lnTo>
                      <a:lnTo>
                        <a:pt x="944" y="4085"/>
                      </a:lnTo>
                      <a:lnTo>
                        <a:pt x="989" y="4116"/>
                      </a:lnTo>
                      <a:lnTo>
                        <a:pt x="1034" y="4146"/>
                      </a:lnTo>
                      <a:lnTo>
                        <a:pt x="1080" y="4174"/>
                      </a:lnTo>
                      <a:lnTo>
                        <a:pt x="1127" y="4202"/>
                      </a:lnTo>
                      <a:lnTo>
                        <a:pt x="1175" y="4230"/>
                      </a:lnTo>
                      <a:lnTo>
                        <a:pt x="1223" y="4255"/>
                      </a:lnTo>
                      <a:lnTo>
                        <a:pt x="1272" y="4279"/>
                      </a:lnTo>
                      <a:lnTo>
                        <a:pt x="1322" y="4302"/>
                      </a:lnTo>
                      <a:lnTo>
                        <a:pt x="1373" y="4325"/>
                      </a:lnTo>
                      <a:lnTo>
                        <a:pt x="1423" y="4346"/>
                      </a:lnTo>
                      <a:lnTo>
                        <a:pt x="1475" y="4365"/>
                      </a:lnTo>
                      <a:lnTo>
                        <a:pt x="1527" y="4384"/>
                      </a:lnTo>
                      <a:lnTo>
                        <a:pt x="1580" y="4401"/>
                      </a:lnTo>
                      <a:lnTo>
                        <a:pt x="1633" y="4417"/>
                      </a:lnTo>
                      <a:lnTo>
                        <a:pt x="1687" y="4432"/>
                      </a:lnTo>
                      <a:lnTo>
                        <a:pt x="1741" y="4445"/>
                      </a:lnTo>
                      <a:lnTo>
                        <a:pt x="1796" y="4458"/>
                      </a:lnTo>
                      <a:lnTo>
                        <a:pt x="1852" y="4468"/>
                      </a:lnTo>
                      <a:lnTo>
                        <a:pt x="1908" y="4477"/>
                      </a:lnTo>
                      <a:lnTo>
                        <a:pt x="1964" y="4485"/>
                      </a:lnTo>
                      <a:lnTo>
                        <a:pt x="2021" y="4492"/>
                      </a:lnTo>
                      <a:lnTo>
                        <a:pt x="2078" y="4497"/>
                      </a:lnTo>
                      <a:lnTo>
                        <a:pt x="2136" y="4500"/>
                      </a:lnTo>
                      <a:lnTo>
                        <a:pt x="2194" y="4502"/>
                      </a:lnTo>
                      <a:lnTo>
                        <a:pt x="2252" y="4504"/>
                      </a:lnTo>
                      <a:lnTo>
                        <a:pt x="2252" y="4504"/>
                      </a:lnTo>
                      <a:lnTo>
                        <a:pt x="2310" y="4502"/>
                      </a:lnTo>
                      <a:lnTo>
                        <a:pt x="2367" y="4500"/>
                      </a:lnTo>
                      <a:lnTo>
                        <a:pt x="2425" y="4497"/>
                      </a:lnTo>
                      <a:lnTo>
                        <a:pt x="2482" y="4492"/>
                      </a:lnTo>
                      <a:lnTo>
                        <a:pt x="2539" y="4485"/>
                      </a:lnTo>
                      <a:lnTo>
                        <a:pt x="2595" y="4477"/>
                      </a:lnTo>
                      <a:lnTo>
                        <a:pt x="2651" y="4468"/>
                      </a:lnTo>
                      <a:lnTo>
                        <a:pt x="2706" y="4458"/>
                      </a:lnTo>
                      <a:lnTo>
                        <a:pt x="2760" y="4446"/>
                      </a:lnTo>
                      <a:lnTo>
                        <a:pt x="2815" y="4432"/>
                      </a:lnTo>
                      <a:lnTo>
                        <a:pt x="2868" y="4418"/>
                      </a:lnTo>
                      <a:lnTo>
                        <a:pt x="2921" y="4402"/>
                      </a:lnTo>
                      <a:lnTo>
                        <a:pt x="2974" y="4385"/>
                      </a:lnTo>
                      <a:lnTo>
                        <a:pt x="3026" y="4367"/>
                      </a:lnTo>
                      <a:lnTo>
                        <a:pt x="3078" y="4347"/>
                      </a:lnTo>
                      <a:lnTo>
                        <a:pt x="3128" y="4326"/>
                      </a:lnTo>
                      <a:lnTo>
                        <a:pt x="3179" y="4304"/>
                      </a:lnTo>
                      <a:lnTo>
                        <a:pt x="3228" y="4281"/>
                      </a:lnTo>
                      <a:lnTo>
                        <a:pt x="3277" y="4257"/>
                      </a:lnTo>
                      <a:lnTo>
                        <a:pt x="3325" y="4232"/>
                      </a:lnTo>
                      <a:lnTo>
                        <a:pt x="3372" y="4205"/>
                      </a:lnTo>
                      <a:lnTo>
                        <a:pt x="3420" y="4178"/>
                      </a:lnTo>
                      <a:lnTo>
                        <a:pt x="3466" y="4149"/>
                      </a:lnTo>
                      <a:lnTo>
                        <a:pt x="3511" y="4119"/>
                      </a:lnTo>
                      <a:lnTo>
                        <a:pt x="3555" y="4088"/>
                      </a:lnTo>
                      <a:lnTo>
                        <a:pt x="3599" y="4056"/>
                      </a:lnTo>
                      <a:lnTo>
                        <a:pt x="3642" y="4023"/>
                      </a:lnTo>
                      <a:lnTo>
                        <a:pt x="3684" y="3989"/>
                      </a:lnTo>
                      <a:lnTo>
                        <a:pt x="3726" y="3954"/>
                      </a:lnTo>
                      <a:lnTo>
                        <a:pt x="3766" y="3919"/>
                      </a:lnTo>
                      <a:lnTo>
                        <a:pt x="3805" y="3882"/>
                      </a:lnTo>
                      <a:lnTo>
                        <a:pt x="3844" y="3844"/>
                      </a:lnTo>
                      <a:lnTo>
                        <a:pt x="3881" y="3805"/>
                      </a:lnTo>
                      <a:lnTo>
                        <a:pt x="3918" y="3766"/>
                      </a:lnTo>
                      <a:lnTo>
                        <a:pt x="3955" y="3725"/>
                      </a:lnTo>
                      <a:lnTo>
                        <a:pt x="3989" y="3684"/>
                      </a:lnTo>
                      <a:lnTo>
                        <a:pt x="4023" y="3641"/>
                      </a:lnTo>
                      <a:lnTo>
                        <a:pt x="4056" y="3599"/>
                      </a:lnTo>
                      <a:lnTo>
                        <a:pt x="4088" y="3555"/>
                      </a:lnTo>
                      <a:lnTo>
                        <a:pt x="4118" y="3511"/>
                      </a:lnTo>
                      <a:lnTo>
                        <a:pt x="4148" y="3465"/>
                      </a:lnTo>
                      <a:lnTo>
                        <a:pt x="4177" y="3419"/>
                      </a:lnTo>
                      <a:lnTo>
                        <a:pt x="4205" y="3373"/>
                      </a:lnTo>
                      <a:lnTo>
                        <a:pt x="4231" y="3325"/>
                      </a:lnTo>
                      <a:lnTo>
                        <a:pt x="4257" y="3276"/>
                      </a:lnTo>
                      <a:lnTo>
                        <a:pt x="4282" y="3228"/>
                      </a:lnTo>
                      <a:lnTo>
                        <a:pt x="4305" y="3178"/>
                      </a:lnTo>
                      <a:lnTo>
                        <a:pt x="4327" y="3128"/>
                      </a:lnTo>
                      <a:lnTo>
                        <a:pt x="4348" y="3077"/>
                      </a:lnTo>
                      <a:lnTo>
                        <a:pt x="4367" y="3026"/>
                      </a:lnTo>
                      <a:lnTo>
                        <a:pt x="4386" y="2973"/>
                      </a:lnTo>
                      <a:lnTo>
                        <a:pt x="4403" y="2922"/>
                      </a:lnTo>
                      <a:lnTo>
                        <a:pt x="4418" y="2868"/>
                      </a:lnTo>
                      <a:lnTo>
                        <a:pt x="4433" y="2815"/>
                      </a:lnTo>
                      <a:lnTo>
                        <a:pt x="4445" y="2760"/>
                      </a:lnTo>
                      <a:lnTo>
                        <a:pt x="4458" y="2705"/>
                      </a:lnTo>
                      <a:lnTo>
                        <a:pt x="4468" y="2650"/>
                      </a:lnTo>
                      <a:lnTo>
                        <a:pt x="4478" y="2595"/>
                      </a:lnTo>
                      <a:lnTo>
                        <a:pt x="4486" y="2538"/>
                      </a:lnTo>
                      <a:lnTo>
                        <a:pt x="4491" y="2482"/>
                      </a:lnTo>
                      <a:lnTo>
                        <a:pt x="4497" y="2425"/>
                      </a:lnTo>
                      <a:lnTo>
                        <a:pt x="4501" y="2368"/>
                      </a:lnTo>
                      <a:lnTo>
                        <a:pt x="4503" y="2310"/>
                      </a:lnTo>
                      <a:lnTo>
                        <a:pt x="4503" y="2252"/>
                      </a:lnTo>
                      <a:lnTo>
                        <a:pt x="4503" y="2252"/>
                      </a:lnTo>
                      <a:lnTo>
                        <a:pt x="4502" y="2183"/>
                      </a:lnTo>
                      <a:lnTo>
                        <a:pt x="4498" y="2113"/>
                      </a:lnTo>
                      <a:lnTo>
                        <a:pt x="4494" y="2044"/>
                      </a:lnTo>
                      <a:lnTo>
                        <a:pt x="4486" y="1976"/>
                      </a:lnTo>
                      <a:lnTo>
                        <a:pt x="4475" y="1910"/>
                      </a:lnTo>
                      <a:lnTo>
                        <a:pt x="4464" y="1843"/>
                      </a:lnTo>
                      <a:lnTo>
                        <a:pt x="4451" y="1777"/>
                      </a:lnTo>
                      <a:lnTo>
                        <a:pt x="4435" y="1712"/>
                      </a:lnTo>
                      <a:close/>
                    </a:path>
                  </a:pathLst>
                </a:custGeom>
                <a:solidFill>
                  <a:srgbClr val="7B65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5" name="Freeform 268"/>
                <p:cNvSpPr>
                  <a:spLocks/>
                </p:cNvSpPr>
                <p:nvPr/>
              </p:nvSpPr>
              <p:spPr bwMode="auto">
                <a:xfrm>
                  <a:off x="2711450" y="2881313"/>
                  <a:ext cx="1020763" cy="1020763"/>
                </a:xfrm>
                <a:custGeom>
                  <a:avLst/>
                  <a:gdLst>
                    <a:gd name="T0" fmla="*/ 4397 w 4503"/>
                    <a:gd name="T1" fmla="*/ 1573 h 4504"/>
                    <a:gd name="T2" fmla="*/ 4265 w 4503"/>
                    <a:gd name="T3" fmla="*/ 1246 h 4504"/>
                    <a:gd name="T4" fmla="*/ 4084 w 4503"/>
                    <a:gd name="T5" fmla="*/ 947 h 4504"/>
                    <a:gd name="T6" fmla="*/ 3909 w 4503"/>
                    <a:gd name="T7" fmla="*/ 731 h 4504"/>
                    <a:gd name="T8" fmla="*/ 3836 w 4503"/>
                    <a:gd name="T9" fmla="*/ 657 h 4504"/>
                    <a:gd name="T10" fmla="*/ 3789 w 4503"/>
                    <a:gd name="T11" fmla="*/ 610 h 4504"/>
                    <a:gd name="T12" fmla="*/ 3566 w 4503"/>
                    <a:gd name="T13" fmla="*/ 426 h 4504"/>
                    <a:gd name="T14" fmla="*/ 3399 w 4503"/>
                    <a:gd name="T15" fmla="*/ 316 h 4504"/>
                    <a:gd name="T16" fmla="*/ 3268 w 4503"/>
                    <a:gd name="T17" fmla="*/ 245 h 4504"/>
                    <a:gd name="T18" fmla="*/ 3105 w 4503"/>
                    <a:gd name="T19" fmla="*/ 170 h 4504"/>
                    <a:gd name="T20" fmla="*/ 2826 w 4503"/>
                    <a:gd name="T21" fmla="*/ 77 h 4504"/>
                    <a:gd name="T22" fmla="*/ 2685 w 4503"/>
                    <a:gd name="T23" fmla="*/ 44 h 4504"/>
                    <a:gd name="T24" fmla="*/ 2502 w 4503"/>
                    <a:gd name="T25" fmla="*/ 16 h 4504"/>
                    <a:gd name="T26" fmla="*/ 2252 w 4503"/>
                    <a:gd name="T27" fmla="*/ 0 h 4504"/>
                    <a:gd name="T28" fmla="*/ 2022 w 4503"/>
                    <a:gd name="T29" fmla="*/ 12 h 4504"/>
                    <a:gd name="T30" fmla="*/ 1743 w 4503"/>
                    <a:gd name="T31" fmla="*/ 58 h 4504"/>
                    <a:gd name="T32" fmla="*/ 1477 w 4503"/>
                    <a:gd name="T33" fmla="*/ 137 h 4504"/>
                    <a:gd name="T34" fmla="*/ 1226 w 4503"/>
                    <a:gd name="T35" fmla="*/ 246 h 4504"/>
                    <a:gd name="T36" fmla="*/ 993 w 4503"/>
                    <a:gd name="T37" fmla="*/ 384 h 4504"/>
                    <a:gd name="T38" fmla="*/ 779 w 4503"/>
                    <a:gd name="T39" fmla="*/ 549 h 4504"/>
                    <a:gd name="T40" fmla="*/ 585 w 4503"/>
                    <a:gd name="T41" fmla="*/ 738 h 4504"/>
                    <a:gd name="T42" fmla="*/ 416 w 4503"/>
                    <a:gd name="T43" fmla="*/ 948 h 4504"/>
                    <a:gd name="T44" fmla="*/ 272 w 4503"/>
                    <a:gd name="T45" fmla="*/ 1179 h 4504"/>
                    <a:gd name="T46" fmla="*/ 157 w 4503"/>
                    <a:gd name="T47" fmla="*/ 1426 h 4504"/>
                    <a:gd name="T48" fmla="*/ 72 w 4503"/>
                    <a:gd name="T49" fmla="*/ 1689 h 4504"/>
                    <a:gd name="T50" fmla="*/ 19 w 4503"/>
                    <a:gd name="T51" fmla="*/ 1965 h 4504"/>
                    <a:gd name="T52" fmla="*/ 0 w 4503"/>
                    <a:gd name="T53" fmla="*/ 2252 h 4504"/>
                    <a:gd name="T54" fmla="*/ 12 w 4503"/>
                    <a:gd name="T55" fmla="*/ 2481 h 4504"/>
                    <a:gd name="T56" fmla="*/ 58 w 4503"/>
                    <a:gd name="T57" fmla="*/ 2758 h 4504"/>
                    <a:gd name="T58" fmla="*/ 136 w 4503"/>
                    <a:gd name="T59" fmla="*/ 3023 h 4504"/>
                    <a:gd name="T60" fmla="*/ 246 w 4503"/>
                    <a:gd name="T61" fmla="*/ 3273 h 4504"/>
                    <a:gd name="T62" fmla="*/ 383 w 4503"/>
                    <a:gd name="T63" fmla="*/ 3505 h 4504"/>
                    <a:gd name="T64" fmla="*/ 546 w 4503"/>
                    <a:gd name="T65" fmla="*/ 3720 h 4504"/>
                    <a:gd name="T66" fmla="*/ 693 w 4503"/>
                    <a:gd name="T67" fmla="*/ 3876 h 4504"/>
                    <a:gd name="T68" fmla="*/ 901 w 4503"/>
                    <a:gd name="T69" fmla="*/ 4052 h 4504"/>
                    <a:gd name="T70" fmla="*/ 1127 w 4503"/>
                    <a:gd name="T71" fmla="*/ 4202 h 4504"/>
                    <a:gd name="T72" fmla="*/ 1373 w 4503"/>
                    <a:gd name="T73" fmla="*/ 4325 h 4504"/>
                    <a:gd name="T74" fmla="*/ 1633 w 4503"/>
                    <a:gd name="T75" fmla="*/ 4417 h 4504"/>
                    <a:gd name="T76" fmla="*/ 1908 w 4503"/>
                    <a:gd name="T77" fmla="*/ 4477 h 4504"/>
                    <a:gd name="T78" fmla="*/ 2194 w 4503"/>
                    <a:gd name="T79" fmla="*/ 4502 h 4504"/>
                    <a:gd name="T80" fmla="*/ 2425 w 4503"/>
                    <a:gd name="T81" fmla="*/ 4497 h 4504"/>
                    <a:gd name="T82" fmla="*/ 2706 w 4503"/>
                    <a:gd name="T83" fmla="*/ 4458 h 4504"/>
                    <a:gd name="T84" fmla="*/ 2974 w 4503"/>
                    <a:gd name="T85" fmla="*/ 4385 h 4504"/>
                    <a:gd name="T86" fmla="*/ 3228 w 4503"/>
                    <a:gd name="T87" fmla="*/ 4281 h 4504"/>
                    <a:gd name="T88" fmla="*/ 3466 w 4503"/>
                    <a:gd name="T89" fmla="*/ 4149 h 4504"/>
                    <a:gd name="T90" fmla="*/ 3684 w 4503"/>
                    <a:gd name="T91" fmla="*/ 3989 h 4504"/>
                    <a:gd name="T92" fmla="*/ 3881 w 4503"/>
                    <a:gd name="T93" fmla="*/ 3805 h 4504"/>
                    <a:gd name="T94" fmla="*/ 4056 w 4503"/>
                    <a:gd name="T95" fmla="*/ 3599 h 4504"/>
                    <a:gd name="T96" fmla="*/ 4205 w 4503"/>
                    <a:gd name="T97" fmla="*/ 3373 h 4504"/>
                    <a:gd name="T98" fmla="*/ 4327 w 4503"/>
                    <a:gd name="T99" fmla="*/ 3128 h 4504"/>
                    <a:gd name="T100" fmla="*/ 4418 w 4503"/>
                    <a:gd name="T101" fmla="*/ 2868 h 4504"/>
                    <a:gd name="T102" fmla="*/ 4478 w 4503"/>
                    <a:gd name="T103" fmla="*/ 2595 h 4504"/>
                    <a:gd name="T104" fmla="*/ 4503 w 4503"/>
                    <a:gd name="T105" fmla="*/ 2310 h 4504"/>
                    <a:gd name="T106" fmla="*/ 4494 w 4503"/>
                    <a:gd name="T107" fmla="*/ 2044 h 4504"/>
                    <a:gd name="T108" fmla="*/ 4435 w 4503"/>
                    <a:gd name="T109" fmla="*/ 1712 h 4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03" h="4504">
                      <a:moveTo>
                        <a:pt x="4435" y="1712"/>
                      </a:moveTo>
                      <a:lnTo>
                        <a:pt x="4435" y="1712"/>
                      </a:lnTo>
                      <a:lnTo>
                        <a:pt x="4435" y="1712"/>
                      </a:lnTo>
                      <a:lnTo>
                        <a:pt x="4417" y="1641"/>
                      </a:lnTo>
                      <a:lnTo>
                        <a:pt x="4397" y="1573"/>
                      </a:lnTo>
                      <a:lnTo>
                        <a:pt x="4374" y="1506"/>
                      </a:lnTo>
                      <a:lnTo>
                        <a:pt x="4350" y="1440"/>
                      </a:lnTo>
                      <a:lnTo>
                        <a:pt x="4323" y="1374"/>
                      </a:lnTo>
                      <a:lnTo>
                        <a:pt x="4295" y="1310"/>
                      </a:lnTo>
                      <a:lnTo>
                        <a:pt x="4265" y="1246"/>
                      </a:lnTo>
                      <a:lnTo>
                        <a:pt x="4231" y="1184"/>
                      </a:lnTo>
                      <a:lnTo>
                        <a:pt x="4198" y="1123"/>
                      </a:lnTo>
                      <a:lnTo>
                        <a:pt x="4161" y="1063"/>
                      </a:lnTo>
                      <a:lnTo>
                        <a:pt x="4124" y="1005"/>
                      </a:lnTo>
                      <a:lnTo>
                        <a:pt x="4084" y="947"/>
                      </a:lnTo>
                      <a:lnTo>
                        <a:pt x="4042" y="891"/>
                      </a:lnTo>
                      <a:lnTo>
                        <a:pt x="4000" y="837"/>
                      </a:lnTo>
                      <a:lnTo>
                        <a:pt x="3955" y="782"/>
                      </a:lnTo>
                      <a:lnTo>
                        <a:pt x="3909" y="731"/>
                      </a:lnTo>
                      <a:lnTo>
                        <a:pt x="3909" y="731"/>
                      </a:lnTo>
                      <a:lnTo>
                        <a:pt x="3901" y="721"/>
                      </a:lnTo>
                      <a:lnTo>
                        <a:pt x="3901" y="721"/>
                      </a:lnTo>
                      <a:lnTo>
                        <a:pt x="3869" y="689"/>
                      </a:lnTo>
                      <a:lnTo>
                        <a:pt x="3836" y="657"/>
                      </a:lnTo>
                      <a:lnTo>
                        <a:pt x="3836" y="657"/>
                      </a:lnTo>
                      <a:lnTo>
                        <a:pt x="3814" y="634"/>
                      </a:lnTo>
                      <a:lnTo>
                        <a:pt x="3793" y="612"/>
                      </a:lnTo>
                      <a:lnTo>
                        <a:pt x="3793" y="612"/>
                      </a:lnTo>
                      <a:lnTo>
                        <a:pt x="3789" y="610"/>
                      </a:lnTo>
                      <a:lnTo>
                        <a:pt x="3789" y="610"/>
                      </a:lnTo>
                      <a:lnTo>
                        <a:pt x="3747" y="571"/>
                      </a:lnTo>
                      <a:lnTo>
                        <a:pt x="3703" y="533"/>
                      </a:lnTo>
                      <a:lnTo>
                        <a:pt x="3658" y="496"/>
                      </a:lnTo>
                      <a:lnTo>
                        <a:pt x="3612" y="460"/>
                      </a:lnTo>
                      <a:lnTo>
                        <a:pt x="3566" y="426"/>
                      </a:lnTo>
                      <a:lnTo>
                        <a:pt x="3519" y="392"/>
                      </a:lnTo>
                      <a:lnTo>
                        <a:pt x="3470" y="361"/>
                      </a:lnTo>
                      <a:lnTo>
                        <a:pt x="3421" y="330"/>
                      </a:lnTo>
                      <a:lnTo>
                        <a:pt x="3421" y="330"/>
                      </a:lnTo>
                      <a:lnTo>
                        <a:pt x="3399" y="316"/>
                      </a:lnTo>
                      <a:lnTo>
                        <a:pt x="3399" y="316"/>
                      </a:lnTo>
                      <a:lnTo>
                        <a:pt x="3334" y="279"/>
                      </a:lnTo>
                      <a:lnTo>
                        <a:pt x="3301" y="262"/>
                      </a:lnTo>
                      <a:lnTo>
                        <a:pt x="3268" y="245"/>
                      </a:lnTo>
                      <a:lnTo>
                        <a:pt x="3268" y="245"/>
                      </a:lnTo>
                      <a:lnTo>
                        <a:pt x="3264" y="243"/>
                      </a:lnTo>
                      <a:lnTo>
                        <a:pt x="3264" y="243"/>
                      </a:lnTo>
                      <a:lnTo>
                        <a:pt x="3212" y="217"/>
                      </a:lnTo>
                      <a:lnTo>
                        <a:pt x="3159" y="193"/>
                      </a:lnTo>
                      <a:lnTo>
                        <a:pt x="3105" y="170"/>
                      </a:lnTo>
                      <a:lnTo>
                        <a:pt x="3051" y="148"/>
                      </a:lnTo>
                      <a:lnTo>
                        <a:pt x="2996" y="129"/>
                      </a:lnTo>
                      <a:lnTo>
                        <a:pt x="2940" y="110"/>
                      </a:lnTo>
                      <a:lnTo>
                        <a:pt x="2883" y="93"/>
                      </a:lnTo>
                      <a:lnTo>
                        <a:pt x="2826" y="77"/>
                      </a:lnTo>
                      <a:lnTo>
                        <a:pt x="2826" y="77"/>
                      </a:lnTo>
                      <a:lnTo>
                        <a:pt x="2796" y="69"/>
                      </a:lnTo>
                      <a:lnTo>
                        <a:pt x="2796" y="69"/>
                      </a:lnTo>
                      <a:lnTo>
                        <a:pt x="2722" y="51"/>
                      </a:lnTo>
                      <a:lnTo>
                        <a:pt x="2685" y="44"/>
                      </a:lnTo>
                      <a:lnTo>
                        <a:pt x="2648" y="36"/>
                      </a:lnTo>
                      <a:lnTo>
                        <a:pt x="2648" y="36"/>
                      </a:lnTo>
                      <a:lnTo>
                        <a:pt x="2600" y="28"/>
                      </a:lnTo>
                      <a:lnTo>
                        <a:pt x="2550" y="21"/>
                      </a:lnTo>
                      <a:lnTo>
                        <a:pt x="2502" y="16"/>
                      </a:lnTo>
                      <a:lnTo>
                        <a:pt x="2453" y="10"/>
                      </a:lnTo>
                      <a:lnTo>
                        <a:pt x="2403" y="5"/>
                      </a:lnTo>
                      <a:lnTo>
                        <a:pt x="2352" y="3"/>
                      </a:lnTo>
                      <a:lnTo>
                        <a:pt x="2303" y="1"/>
                      </a:lnTo>
                      <a:lnTo>
                        <a:pt x="2252" y="0"/>
                      </a:lnTo>
                      <a:lnTo>
                        <a:pt x="2252" y="0"/>
                      </a:lnTo>
                      <a:lnTo>
                        <a:pt x="2194" y="1"/>
                      </a:lnTo>
                      <a:lnTo>
                        <a:pt x="2136" y="3"/>
                      </a:lnTo>
                      <a:lnTo>
                        <a:pt x="2078" y="7"/>
                      </a:lnTo>
                      <a:lnTo>
                        <a:pt x="2022" y="12"/>
                      </a:lnTo>
                      <a:lnTo>
                        <a:pt x="1966" y="18"/>
                      </a:lnTo>
                      <a:lnTo>
                        <a:pt x="1909" y="26"/>
                      </a:lnTo>
                      <a:lnTo>
                        <a:pt x="1854" y="35"/>
                      </a:lnTo>
                      <a:lnTo>
                        <a:pt x="1799" y="46"/>
                      </a:lnTo>
                      <a:lnTo>
                        <a:pt x="1743" y="58"/>
                      </a:lnTo>
                      <a:lnTo>
                        <a:pt x="1689" y="71"/>
                      </a:lnTo>
                      <a:lnTo>
                        <a:pt x="1635" y="86"/>
                      </a:lnTo>
                      <a:lnTo>
                        <a:pt x="1582" y="101"/>
                      </a:lnTo>
                      <a:lnTo>
                        <a:pt x="1530" y="118"/>
                      </a:lnTo>
                      <a:lnTo>
                        <a:pt x="1477" y="137"/>
                      </a:lnTo>
                      <a:lnTo>
                        <a:pt x="1427" y="156"/>
                      </a:lnTo>
                      <a:lnTo>
                        <a:pt x="1376" y="177"/>
                      </a:lnTo>
                      <a:lnTo>
                        <a:pt x="1325" y="199"/>
                      </a:lnTo>
                      <a:lnTo>
                        <a:pt x="1276" y="222"/>
                      </a:lnTo>
                      <a:lnTo>
                        <a:pt x="1226" y="246"/>
                      </a:lnTo>
                      <a:lnTo>
                        <a:pt x="1179" y="271"/>
                      </a:lnTo>
                      <a:lnTo>
                        <a:pt x="1131" y="299"/>
                      </a:lnTo>
                      <a:lnTo>
                        <a:pt x="1085" y="327"/>
                      </a:lnTo>
                      <a:lnTo>
                        <a:pt x="1039" y="355"/>
                      </a:lnTo>
                      <a:lnTo>
                        <a:pt x="993" y="384"/>
                      </a:lnTo>
                      <a:lnTo>
                        <a:pt x="949" y="415"/>
                      </a:lnTo>
                      <a:lnTo>
                        <a:pt x="905" y="447"/>
                      </a:lnTo>
                      <a:lnTo>
                        <a:pt x="861" y="481"/>
                      </a:lnTo>
                      <a:lnTo>
                        <a:pt x="820" y="514"/>
                      </a:lnTo>
                      <a:lnTo>
                        <a:pt x="779" y="549"/>
                      </a:lnTo>
                      <a:lnTo>
                        <a:pt x="738" y="584"/>
                      </a:lnTo>
                      <a:lnTo>
                        <a:pt x="699" y="621"/>
                      </a:lnTo>
                      <a:lnTo>
                        <a:pt x="660" y="659"/>
                      </a:lnTo>
                      <a:lnTo>
                        <a:pt x="622" y="698"/>
                      </a:lnTo>
                      <a:lnTo>
                        <a:pt x="585" y="738"/>
                      </a:lnTo>
                      <a:lnTo>
                        <a:pt x="549" y="778"/>
                      </a:lnTo>
                      <a:lnTo>
                        <a:pt x="515" y="819"/>
                      </a:lnTo>
                      <a:lnTo>
                        <a:pt x="480" y="862"/>
                      </a:lnTo>
                      <a:lnTo>
                        <a:pt x="448" y="905"/>
                      </a:lnTo>
                      <a:lnTo>
                        <a:pt x="416" y="948"/>
                      </a:lnTo>
                      <a:lnTo>
                        <a:pt x="385" y="993"/>
                      </a:lnTo>
                      <a:lnTo>
                        <a:pt x="355" y="1038"/>
                      </a:lnTo>
                      <a:lnTo>
                        <a:pt x="326" y="1084"/>
                      </a:lnTo>
                      <a:lnTo>
                        <a:pt x="299" y="1131"/>
                      </a:lnTo>
                      <a:lnTo>
                        <a:pt x="272" y="1179"/>
                      </a:lnTo>
                      <a:lnTo>
                        <a:pt x="247" y="1227"/>
                      </a:lnTo>
                      <a:lnTo>
                        <a:pt x="223" y="1275"/>
                      </a:lnTo>
                      <a:lnTo>
                        <a:pt x="200" y="1325"/>
                      </a:lnTo>
                      <a:lnTo>
                        <a:pt x="178" y="1375"/>
                      </a:lnTo>
                      <a:lnTo>
                        <a:pt x="157" y="1426"/>
                      </a:lnTo>
                      <a:lnTo>
                        <a:pt x="137" y="1478"/>
                      </a:lnTo>
                      <a:lnTo>
                        <a:pt x="119" y="1530"/>
                      </a:lnTo>
                      <a:lnTo>
                        <a:pt x="102" y="1583"/>
                      </a:lnTo>
                      <a:lnTo>
                        <a:pt x="86" y="1636"/>
                      </a:lnTo>
                      <a:lnTo>
                        <a:pt x="72" y="1689"/>
                      </a:lnTo>
                      <a:lnTo>
                        <a:pt x="58" y="1743"/>
                      </a:lnTo>
                      <a:lnTo>
                        <a:pt x="46" y="1798"/>
                      </a:lnTo>
                      <a:lnTo>
                        <a:pt x="36" y="1853"/>
                      </a:lnTo>
                      <a:lnTo>
                        <a:pt x="27" y="1908"/>
                      </a:lnTo>
                      <a:lnTo>
                        <a:pt x="19" y="1965"/>
                      </a:lnTo>
                      <a:lnTo>
                        <a:pt x="12" y="2021"/>
                      </a:lnTo>
                      <a:lnTo>
                        <a:pt x="7" y="2079"/>
                      </a:lnTo>
                      <a:lnTo>
                        <a:pt x="4" y="2135"/>
                      </a:lnTo>
                      <a:lnTo>
                        <a:pt x="1" y="2194"/>
                      </a:lnTo>
                      <a:lnTo>
                        <a:pt x="0" y="2252"/>
                      </a:lnTo>
                      <a:lnTo>
                        <a:pt x="0" y="2252"/>
                      </a:lnTo>
                      <a:lnTo>
                        <a:pt x="1" y="2309"/>
                      </a:lnTo>
                      <a:lnTo>
                        <a:pt x="4" y="2367"/>
                      </a:lnTo>
                      <a:lnTo>
                        <a:pt x="7" y="2424"/>
                      </a:lnTo>
                      <a:lnTo>
                        <a:pt x="12" y="2481"/>
                      </a:lnTo>
                      <a:lnTo>
                        <a:pt x="19" y="2537"/>
                      </a:lnTo>
                      <a:lnTo>
                        <a:pt x="26" y="2594"/>
                      </a:lnTo>
                      <a:lnTo>
                        <a:pt x="35" y="2649"/>
                      </a:lnTo>
                      <a:lnTo>
                        <a:pt x="46" y="2704"/>
                      </a:lnTo>
                      <a:lnTo>
                        <a:pt x="58" y="2758"/>
                      </a:lnTo>
                      <a:lnTo>
                        <a:pt x="71" y="2812"/>
                      </a:lnTo>
                      <a:lnTo>
                        <a:pt x="86" y="2865"/>
                      </a:lnTo>
                      <a:lnTo>
                        <a:pt x="100" y="2918"/>
                      </a:lnTo>
                      <a:lnTo>
                        <a:pt x="118" y="2971"/>
                      </a:lnTo>
                      <a:lnTo>
                        <a:pt x="136" y="3023"/>
                      </a:lnTo>
                      <a:lnTo>
                        <a:pt x="156" y="3074"/>
                      </a:lnTo>
                      <a:lnTo>
                        <a:pt x="176" y="3124"/>
                      </a:lnTo>
                      <a:lnTo>
                        <a:pt x="198" y="3175"/>
                      </a:lnTo>
                      <a:lnTo>
                        <a:pt x="221" y="3224"/>
                      </a:lnTo>
                      <a:lnTo>
                        <a:pt x="246" y="3273"/>
                      </a:lnTo>
                      <a:lnTo>
                        <a:pt x="270" y="3321"/>
                      </a:lnTo>
                      <a:lnTo>
                        <a:pt x="296" y="3368"/>
                      </a:lnTo>
                      <a:lnTo>
                        <a:pt x="324" y="3414"/>
                      </a:lnTo>
                      <a:lnTo>
                        <a:pt x="353" y="3460"/>
                      </a:lnTo>
                      <a:lnTo>
                        <a:pt x="383" y="3505"/>
                      </a:lnTo>
                      <a:lnTo>
                        <a:pt x="412" y="3550"/>
                      </a:lnTo>
                      <a:lnTo>
                        <a:pt x="445" y="3594"/>
                      </a:lnTo>
                      <a:lnTo>
                        <a:pt x="477" y="3637"/>
                      </a:lnTo>
                      <a:lnTo>
                        <a:pt x="510" y="3679"/>
                      </a:lnTo>
                      <a:lnTo>
                        <a:pt x="546" y="3720"/>
                      </a:lnTo>
                      <a:lnTo>
                        <a:pt x="581" y="3760"/>
                      </a:lnTo>
                      <a:lnTo>
                        <a:pt x="617" y="3800"/>
                      </a:lnTo>
                      <a:lnTo>
                        <a:pt x="655" y="3838"/>
                      </a:lnTo>
                      <a:lnTo>
                        <a:pt x="655" y="3838"/>
                      </a:lnTo>
                      <a:lnTo>
                        <a:pt x="693" y="3876"/>
                      </a:lnTo>
                      <a:lnTo>
                        <a:pt x="734" y="3913"/>
                      </a:lnTo>
                      <a:lnTo>
                        <a:pt x="774" y="3950"/>
                      </a:lnTo>
                      <a:lnTo>
                        <a:pt x="815" y="3984"/>
                      </a:lnTo>
                      <a:lnTo>
                        <a:pt x="857" y="4019"/>
                      </a:lnTo>
                      <a:lnTo>
                        <a:pt x="901" y="4052"/>
                      </a:lnTo>
                      <a:lnTo>
                        <a:pt x="944" y="4085"/>
                      </a:lnTo>
                      <a:lnTo>
                        <a:pt x="989" y="4116"/>
                      </a:lnTo>
                      <a:lnTo>
                        <a:pt x="1034" y="4146"/>
                      </a:lnTo>
                      <a:lnTo>
                        <a:pt x="1080" y="4174"/>
                      </a:lnTo>
                      <a:lnTo>
                        <a:pt x="1127" y="4202"/>
                      </a:lnTo>
                      <a:lnTo>
                        <a:pt x="1175" y="4230"/>
                      </a:lnTo>
                      <a:lnTo>
                        <a:pt x="1223" y="4255"/>
                      </a:lnTo>
                      <a:lnTo>
                        <a:pt x="1272" y="4279"/>
                      </a:lnTo>
                      <a:lnTo>
                        <a:pt x="1322" y="4302"/>
                      </a:lnTo>
                      <a:lnTo>
                        <a:pt x="1373" y="4325"/>
                      </a:lnTo>
                      <a:lnTo>
                        <a:pt x="1423" y="4346"/>
                      </a:lnTo>
                      <a:lnTo>
                        <a:pt x="1475" y="4365"/>
                      </a:lnTo>
                      <a:lnTo>
                        <a:pt x="1527" y="4384"/>
                      </a:lnTo>
                      <a:lnTo>
                        <a:pt x="1580" y="4401"/>
                      </a:lnTo>
                      <a:lnTo>
                        <a:pt x="1633" y="4417"/>
                      </a:lnTo>
                      <a:lnTo>
                        <a:pt x="1687" y="4432"/>
                      </a:lnTo>
                      <a:lnTo>
                        <a:pt x="1741" y="4445"/>
                      </a:lnTo>
                      <a:lnTo>
                        <a:pt x="1796" y="4458"/>
                      </a:lnTo>
                      <a:lnTo>
                        <a:pt x="1852" y="4468"/>
                      </a:lnTo>
                      <a:lnTo>
                        <a:pt x="1908" y="4477"/>
                      </a:lnTo>
                      <a:lnTo>
                        <a:pt x="1964" y="4485"/>
                      </a:lnTo>
                      <a:lnTo>
                        <a:pt x="2021" y="4492"/>
                      </a:lnTo>
                      <a:lnTo>
                        <a:pt x="2078" y="4497"/>
                      </a:lnTo>
                      <a:lnTo>
                        <a:pt x="2136" y="4500"/>
                      </a:lnTo>
                      <a:lnTo>
                        <a:pt x="2194" y="4502"/>
                      </a:lnTo>
                      <a:lnTo>
                        <a:pt x="2252" y="4504"/>
                      </a:lnTo>
                      <a:lnTo>
                        <a:pt x="2252" y="4504"/>
                      </a:lnTo>
                      <a:lnTo>
                        <a:pt x="2310" y="4502"/>
                      </a:lnTo>
                      <a:lnTo>
                        <a:pt x="2367" y="4500"/>
                      </a:lnTo>
                      <a:lnTo>
                        <a:pt x="2425" y="4497"/>
                      </a:lnTo>
                      <a:lnTo>
                        <a:pt x="2482" y="4492"/>
                      </a:lnTo>
                      <a:lnTo>
                        <a:pt x="2539" y="4485"/>
                      </a:lnTo>
                      <a:lnTo>
                        <a:pt x="2595" y="4477"/>
                      </a:lnTo>
                      <a:lnTo>
                        <a:pt x="2651" y="4468"/>
                      </a:lnTo>
                      <a:lnTo>
                        <a:pt x="2706" y="4458"/>
                      </a:lnTo>
                      <a:lnTo>
                        <a:pt x="2760" y="4446"/>
                      </a:lnTo>
                      <a:lnTo>
                        <a:pt x="2815" y="4432"/>
                      </a:lnTo>
                      <a:lnTo>
                        <a:pt x="2868" y="4418"/>
                      </a:lnTo>
                      <a:lnTo>
                        <a:pt x="2921" y="4402"/>
                      </a:lnTo>
                      <a:lnTo>
                        <a:pt x="2974" y="4385"/>
                      </a:lnTo>
                      <a:lnTo>
                        <a:pt x="3026" y="4367"/>
                      </a:lnTo>
                      <a:lnTo>
                        <a:pt x="3078" y="4347"/>
                      </a:lnTo>
                      <a:lnTo>
                        <a:pt x="3128" y="4326"/>
                      </a:lnTo>
                      <a:lnTo>
                        <a:pt x="3179" y="4304"/>
                      </a:lnTo>
                      <a:lnTo>
                        <a:pt x="3228" y="4281"/>
                      </a:lnTo>
                      <a:lnTo>
                        <a:pt x="3277" y="4257"/>
                      </a:lnTo>
                      <a:lnTo>
                        <a:pt x="3325" y="4232"/>
                      </a:lnTo>
                      <a:lnTo>
                        <a:pt x="3372" y="4205"/>
                      </a:lnTo>
                      <a:lnTo>
                        <a:pt x="3420" y="4178"/>
                      </a:lnTo>
                      <a:lnTo>
                        <a:pt x="3466" y="4149"/>
                      </a:lnTo>
                      <a:lnTo>
                        <a:pt x="3511" y="4119"/>
                      </a:lnTo>
                      <a:lnTo>
                        <a:pt x="3555" y="4088"/>
                      </a:lnTo>
                      <a:lnTo>
                        <a:pt x="3599" y="4056"/>
                      </a:lnTo>
                      <a:lnTo>
                        <a:pt x="3642" y="4023"/>
                      </a:lnTo>
                      <a:lnTo>
                        <a:pt x="3684" y="3989"/>
                      </a:lnTo>
                      <a:lnTo>
                        <a:pt x="3726" y="3954"/>
                      </a:lnTo>
                      <a:lnTo>
                        <a:pt x="3766" y="3919"/>
                      </a:lnTo>
                      <a:lnTo>
                        <a:pt x="3805" y="3882"/>
                      </a:lnTo>
                      <a:lnTo>
                        <a:pt x="3844" y="3844"/>
                      </a:lnTo>
                      <a:lnTo>
                        <a:pt x="3881" y="3805"/>
                      </a:lnTo>
                      <a:lnTo>
                        <a:pt x="3918" y="3766"/>
                      </a:lnTo>
                      <a:lnTo>
                        <a:pt x="3955" y="3725"/>
                      </a:lnTo>
                      <a:lnTo>
                        <a:pt x="3989" y="3684"/>
                      </a:lnTo>
                      <a:lnTo>
                        <a:pt x="4023" y="3641"/>
                      </a:lnTo>
                      <a:lnTo>
                        <a:pt x="4056" y="3599"/>
                      </a:lnTo>
                      <a:lnTo>
                        <a:pt x="4088" y="3555"/>
                      </a:lnTo>
                      <a:lnTo>
                        <a:pt x="4118" y="3511"/>
                      </a:lnTo>
                      <a:lnTo>
                        <a:pt x="4148" y="3465"/>
                      </a:lnTo>
                      <a:lnTo>
                        <a:pt x="4177" y="3419"/>
                      </a:lnTo>
                      <a:lnTo>
                        <a:pt x="4205" y="3373"/>
                      </a:lnTo>
                      <a:lnTo>
                        <a:pt x="4231" y="3325"/>
                      </a:lnTo>
                      <a:lnTo>
                        <a:pt x="4257" y="3276"/>
                      </a:lnTo>
                      <a:lnTo>
                        <a:pt x="4282" y="3228"/>
                      </a:lnTo>
                      <a:lnTo>
                        <a:pt x="4305" y="3178"/>
                      </a:lnTo>
                      <a:lnTo>
                        <a:pt x="4327" y="3128"/>
                      </a:lnTo>
                      <a:lnTo>
                        <a:pt x="4348" y="3077"/>
                      </a:lnTo>
                      <a:lnTo>
                        <a:pt x="4367" y="3026"/>
                      </a:lnTo>
                      <a:lnTo>
                        <a:pt x="4386" y="2973"/>
                      </a:lnTo>
                      <a:lnTo>
                        <a:pt x="4403" y="2922"/>
                      </a:lnTo>
                      <a:lnTo>
                        <a:pt x="4418" y="2868"/>
                      </a:lnTo>
                      <a:lnTo>
                        <a:pt x="4433" y="2815"/>
                      </a:lnTo>
                      <a:lnTo>
                        <a:pt x="4445" y="2760"/>
                      </a:lnTo>
                      <a:lnTo>
                        <a:pt x="4458" y="2705"/>
                      </a:lnTo>
                      <a:lnTo>
                        <a:pt x="4468" y="2650"/>
                      </a:lnTo>
                      <a:lnTo>
                        <a:pt x="4478" y="2595"/>
                      </a:lnTo>
                      <a:lnTo>
                        <a:pt x="4486" y="2538"/>
                      </a:lnTo>
                      <a:lnTo>
                        <a:pt x="4491" y="2482"/>
                      </a:lnTo>
                      <a:lnTo>
                        <a:pt x="4497" y="2425"/>
                      </a:lnTo>
                      <a:lnTo>
                        <a:pt x="4501" y="2368"/>
                      </a:lnTo>
                      <a:lnTo>
                        <a:pt x="4503" y="2310"/>
                      </a:lnTo>
                      <a:lnTo>
                        <a:pt x="4503" y="2252"/>
                      </a:lnTo>
                      <a:lnTo>
                        <a:pt x="4503" y="2252"/>
                      </a:lnTo>
                      <a:lnTo>
                        <a:pt x="4502" y="2183"/>
                      </a:lnTo>
                      <a:lnTo>
                        <a:pt x="4498" y="2113"/>
                      </a:lnTo>
                      <a:lnTo>
                        <a:pt x="4494" y="2044"/>
                      </a:lnTo>
                      <a:lnTo>
                        <a:pt x="4486" y="1976"/>
                      </a:lnTo>
                      <a:lnTo>
                        <a:pt x="4475" y="1910"/>
                      </a:lnTo>
                      <a:lnTo>
                        <a:pt x="4464" y="1843"/>
                      </a:lnTo>
                      <a:lnTo>
                        <a:pt x="4451" y="1777"/>
                      </a:lnTo>
                      <a:lnTo>
                        <a:pt x="4435" y="17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6" name="Freeform 269"/>
                <p:cNvSpPr>
                  <a:spLocks/>
                </p:cNvSpPr>
                <p:nvPr/>
              </p:nvSpPr>
              <p:spPr bwMode="auto">
                <a:xfrm>
                  <a:off x="2711450" y="2881313"/>
                  <a:ext cx="600075" cy="869950"/>
                </a:xfrm>
                <a:custGeom>
                  <a:avLst/>
                  <a:gdLst>
                    <a:gd name="T0" fmla="*/ 1118 w 2648"/>
                    <a:gd name="T1" fmla="*/ 1609 h 3838"/>
                    <a:gd name="T2" fmla="*/ 1134 w 2648"/>
                    <a:gd name="T3" fmla="*/ 1449 h 3838"/>
                    <a:gd name="T4" fmla="*/ 1164 w 2648"/>
                    <a:gd name="T5" fmla="*/ 1295 h 3838"/>
                    <a:gd name="T6" fmla="*/ 1208 w 2648"/>
                    <a:gd name="T7" fmla="*/ 1145 h 3838"/>
                    <a:gd name="T8" fmla="*/ 1266 w 2648"/>
                    <a:gd name="T9" fmla="*/ 1002 h 3838"/>
                    <a:gd name="T10" fmla="*/ 1336 w 2648"/>
                    <a:gd name="T11" fmla="*/ 867 h 3838"/>
                    <a:gd name="T12" fmla="*/ 1418 w 2648"/>
                    <a:gd name="T13" fmla="*/ 738 h 3838"/>
                    <a:gd name="T14" fmla="*/ 1511 w 2648"/>
                    <a:gd name="T15" fmla="*/ 618 h 3838"/>
                    <a:gd name="T16" fmla="*/ 1614 w 2648"/>
                    <a:gd name="T17" fmla="*/ 506 h 3838"/>
                    <a:gd name="T18" fmla="*/ 1727 w 2648"/>
                    <a:gd name="T19" fmla="*/ 406 h 3838"/>
                    <a:gd name="T20" fmla="*/ 1849 w 2648"/>
                    <a:gd name="T21" fmla="*/ 315 h 3838"/>
                    <a:gd name="T22" fmla="*/ 1979 w 2648"/>
                    <a:gd name="T23" fmla="*/ 236 h 3838"/>
                    <a:gd name="T24" fmla="*/ 2118 w 2648"/>
                    <a:gd name="T25" fmla="*/ 168 h 3838"/>
                    <a:gd name="T26" fmla="*/ 2261 w 2648"/>
                    <a:gd name="T27" fmla="*/ 114 h 3838"/>
                    <a:gd name="T28" fmla="*/ 2412 w 2648"/>
                    <a:gd name="T29" fmla="*/ 72 h 3838"/>
                    <a:gd name="T30" fmla="*/ 2568 w 2648"/>
                    <a:gd name="T31" fmla="*/ 44 h 3838"/>
                    <a:gd name="T32" fmla="*/ 2600 w 2648"/>
                    <a:gd name="T33" fmla="*/ 28 h 3838"/>
                    <a:gd name="T34" fmla="*/ 2403 w 2648"/>
                    <a:gd name="T35" fmla="*/ 5 h 3838"/>
                    <a:gd name="T36" fmla="*/ 2252 w 2648"/>
                    <a:gd name="T37" fmla="*/ 0 h 3838"/>
                    <a:gd name="T38" fmla="*/ 2022 w 2648"/>
                    <a:gd name="T39" fmla="*/ 12 h 3838"/>
                    <a:gd name="T40" fmla="*/ 1799 w 2648"/>
                    <a:gd name="T41" fmla="*/ 46 h 3838"/>
                    <a:gd name="T42" fmla="*/ 1582 w 2648"/>
                    <a:gd name="T43" fmla="*/ 101 h 3838"/>
                    <a:gd name="T44" fmla="*/ 1376 w 2648"/>
                    <a:gd name="T45" fmla="*/ 177 h 3838"/>
                    <a:gd name="T46" fmla="*/ 1179 w 2648"/>
                    <a:gd name="T47" fmla="*/ 271 h 3838"/>
                    <a:gd name="T48" fmla="*/ 993 w 2648"/>
                    <a:gd name="T49" fmla="*/ 384 h 3838"/>
                    <a:gd name="T50" fmla="*/ 820 w 2648"/>
                    <a:gd name="T51" fmla="*/ 514 h 3838"/>
                    <a:gd name="T52" fmla="*/ 660 w 2648"/>
                    <a:gd name="T53" fmla="*/ 659 h 3838"/>
                    <a:gd name="T54" fmla="*/ 515 w 2648"/>
                    <a:gd name="T55" fmla="*/ 819 h 3838"/>
                    <a:gd name="T56" fmla="*/ 385 w 2648"/>
                    <a:gd name="T57" fmla="*/ 993 h 3838"/>
                    <a:gd name="T58" fmla="*/ 272 w 2648"/>
                    <a:gd name="T59" fmla="*/ 1179 h 3838"/>
                    <a:gd name="T60" fmla="*/ 178 w 2648"/>
                    <a:gd name="T61" fmla="*/ 1375 h 3838"/>
                    <a:gd name="T62" fmla="*/ 102 w 2648"/>
                    <a:gd name="T63" fmla="*/ 1583 h 3838"/>
                    <a:gd name="T64" fmla="*/ 46 w 2648"/>
                    <a:gd name="T65" fmla="*/ 1798 h 3838"/>
                    <a:gd name="T66" fmla="*/ 12 w 2648"/>
                    <a:gd name="T67" fmla="*/ 2021 h 3838"/>
                    <a:gd name="T68" fmla="*/ 0 w 2648"/>
                    <a:gd name="T69" fmla="*/ 2252 h 3838"/>
                    <a:gd name="T70" fmla="*/ 7 w 2648"/>
                    <a:gd name="T71" fmla="*/ 2424 h 3838"/>
                    <a:gd name="T72" fmla="*/ 35 w 2648"/>
                    <a:gd name="T73" fmla="*/ 2649 h 3838"/>
                    <a:gd name="T74" fmla="*/ 86 w 2648"/>
                    <a:gd name="T75" fmla="*/ 2865 h 3838"/>
                    <a:gd name="T76" fmla="*/ 156 w 2648"/>
                    <a:gd name="T77" fmla="*/ 3074 h 3838"/>
                    <a:gd name="T78" fmla="*/ 246 w 2648"/>
                    <a:gd name="T79" fmla="*/ 3273 h 3838"/>
                    <a:gd name="T80" fmla="*/ 353 w 2648"/>
                    <a:gd name="T81" fmla="*/ 3460 h 3838"/>
                    <a:gd name="T82" fmla="*/ 477 w 2648"/>
                    <a:gd name="T83" fmla="*/ 3637 h 3838"/>
                    <a:gd name="T84" fmla="*/ 617 w 2648"/>
                    <a:gd name="T85" fmla="*/ 3800 h 3838"/>
                    <a:gd name="T86" fmla="*/ 1588 w 2648"/>
                    <a:gd name="T87" fmla="*/ 2848 h 3838"/>
                    <a:gd name="T88" fmla="*/ 1481 w 2648"/>
                    <a:gd name="T89" fmla="*/ 2727 h 3838"/>
                    <a:gd name="T90" fmla="*/ 1386 w 2648"/>
                    <a:gd name="T91" fmla="*/ 2596 h 3838"/>
                    <a:gd name="T92" fmla="*/ 1304 w 2648"/>
                    <a:gd name="T93" fmla="*/ 2455 h 3838"/>
                    <a:gd name="T94" fmla="*/ 1236 w 2648"/>
                    <a:gd name="T95" fmla="*/ 2307 h 3838"/>
                    <a:gd name="T96" fmla="*/ 1182 w 2648"/>
                    <a:gd name="T97" fmla="*/ 2151 h 3838"/>
                    <a:gd name="T98" fmla="*/ 1144 w 2648"/>
                    <a:gd name="T99" fmla="*/ 1988 h 3838"/>
                    <a:gd name="T100" fmla="*/ 1122 w 2648"/>
                    <a:gd name="T101" fmla="*/ 1820 h 3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48" h="3838">
                      <a:moveTo>
                        <a:pt x="1117" y="1691"/>
                      </a:moveTo>
                      <a:lnTo>
                        <a:pt x="1117" y="1691"/>
                      </a:lnTo>
                      <a:lnTo>
                        <a:pt x="1117" y="1649"/>
                      </a:lnTo>
                      <a:lnTo>
                        <a:pt x="1118" y="1609"/>
                      </a:lnTo>
                      <a:lnTo>
                        <a:pt x="1121" y="1569"/>
                      </a:lnTo>
                      <a:lnTo>
                        <a:pt x="1124" y="1529"/>
                      </a:lnTo>
                      <a:lnTo>
                        <a:pt x="1129" y="1489"/>
                      </a:lnTo>
                      <a:lnTo>
                        <a:pt x="1134" y="1449"/>
                      </a:lnTo>
                      <a:lnTo>
                        <a:pt x="1140" y="1410"/>
                      </a:lnTo>
                      <a:lnTo>
                        <a:pt x="1147" y="1372"/>
                      </a:lnTo>
                      <a:lnTo>
                        <a:pt x="1155" y="1333"/>
                      </a:lnTo>
                      <a:lnTo>
                        <a:pt x="1164" y="1295"/>
                      </a:lnTo>
                      <a:lnTo>
                        <a:pt x="1173" y="1257"/>
                      </a:lnTo>
                      <a:lnTo>
                        <a:pt x="1185" y="1219"/>
                      </a:lnTo>
                      <a:lnTo>
                        <a:pt x="1197" y="1182"/>
                      </a:lnTo>
                      <a:lnTo>
                        <a:pt x="1208" y="1145"/>
                      </a:lnTo>
                      <a:lnTo>
                        <a:pt x="1222" y="1109"/>
                      </a:lnTo>
                      <a:lnTo>
                        <a:pt x="1236" y="1073"/>
                      </a:lnTo>
                      <a:lnTo>
                        <a:pt x="1251" y="1037"/>
                      </a:lnTo>
                      <a:lnTo>
                        <a:pt x="1266" y="1002"/>
                      </a:lnTo>
                      <a:lnTo>
                        <a:pt x="1282" y="968"/>
                      </a:lnTo>
                      <a:lnTo>
                        <a:pt x="1299" y="933"/>
                      </a:lnTo>
                      <a:lnTo>
                        <a:pt x="1317" y="900"/>
                      </a:lnTo>
                      <a:lnTo>
                        <a:pt x="1336" y="867"/>
                      </a:lnTo>
                      <a:lnTo>
                        <a:pt x="1355" y="833"/>
                      </a:lnTo>
                      <a:lnTo>
                        <a:pt x="1375" y="801"/>
                      </a:lnTo>
                      <a:lnTo>
                        <a:pt x="1396" y="769"/>
                      </a:lnTo>
                      <a:lnTo>
                        <a:pt x="1418" y="738"/>
                      </a:lnTo>
                      <a:lnTo>
                        <a:pt x="1439" y="707"/>
                      </a:lnTo>
                      <a:lnTo>
                        <a:pt x="1462" y="677"/>
                      </a:lnTo>
                      <a:lnTo>
                        <a:pt x="1487" y="647"/>
                      </a:lnTo>
                      <a:lnTo>
                        <a:pt x="1511" y="618"/>
                      </a:lnTo>
                      <a:lnTo>
                        <a:pt x="1536" y="589"/>
                      </a:lnTo>
                      <a:lnTo>
                        <a:pt x="1561" y="561"/>
                      </a:lnTo>
                      <a:lnTo>
                        <a:pt x="1587" y="534"/>
                      </a:lnTo>
                      <a:lnTo>
                        <a:pt x="1614" y="506"/>
                      </a:lnTo>
                      <a:lnTo>
                        <a:pt x="1641" y="481"/>
                      </a:lnTo>
                      <a:lnTo>
                        <a:pt x="1670" y="454"/>
                      </a:lnTo>
                      <a:lnTo>
                        <a:pt x="1698" y="430"/>
                      </a:lnTo>
                      <a:lnTo>
                        <a:pt x="1727" y="406"/>
                      </a:lnTo>
                      <a:lnTo>
                        <a:pt x="1757" y="382"/>
                      </a:lnTo>
                      <a:lnTo>
                        <a:pt x="1787" y="359"/>
                      </a:lnTo>
                      <a:lnTo>
                        <a:pt x="1818" y="337"/>
                      </a:lnTo>
                      <a:lnTo>
                        <a:pt x="1849" y="315"/>
                      </a:lnTo>
                      <a:lnTo>
                        <a:pt x="1882" y="294"/>
                      </a:lnTo>
                      <a:lnTo>
                        <a:pt x="1914" y="274"/>
                      </a:lnTo>
                      <a:lnTo>
                        <a:pt x="1946" y="254"/>
                      </a:lnTo>
                      <a:lnTo>
                        <a:pt x="1979" y="236"/>
                      </a:lnTo>
                      <a:lnTo>
                        <a:pt x="2013" y="217"/>
                      </a:lnTo>
                      <a:lnTo>
                        <a:pt x="2047" y="200"/>
                      </a:lnTo>
                      <a:lnTo>
                        <a:pt x="2082" y="184"/>
                      </a:lnTo>
                      <a:lnTo>
                        <a:pt x="2118" y="168"/>
                      </a:lnTo>
                      <a:lnTo>
                        <a:pt x="2153" y="153"/>
                      </a:lnTo>
                      <a:lnTo>
                        <a:pt x="2189" y="139"/>
                      </a:lnTo>
                      <a:lnTo>
                        <a:pt x="2225" y="126"/>
                      </a:lnTo>
                      <a:lnTo>
                        <a:pt x="2261" y="114"/>
                      </a:lnTo>
                      <a:lnTo>
                        <a:pt x="2298" y="102"/>
                      </a:lnTo>
                      <a:lnTo>
                        <a:pt x="2336" y="91"/>
                      </a:lnTo>
                      <a:lnTo>
                        <a:pt x="2374" y="81"/>
                      </a:lnTo>
                      <a:lnTo>
                        <a:pt x="2412" y="72"/>
                      </a:lnTo>
                      <a:lnTo>
                        <a:pt x="2450" y="64"/>
                      </a:lnTo>
                      <a:lnTo>
                        <a:pt x="2489" y="57"/>
                      </a:lnTo>
                      <a:lnTo>
                        <a:pt x="2529" y="50"/>
                      </a:lnTo>
                      <a:lnTo>
                        <a:pt x="2568" y="44"/>
                      </a:lnTo>
                      <a:lnTo>
                        <a:pt x="2608" y="41"/>
                      </a:lnTo>
                      <a:lnTo>
                        <a:pt x="2648" y="36"/>
                      </a:lnTo>
                      <a:lnTo>
                        <a:pt x="2648" y="36"/>
                      </a:lnTo>
                      <a:lnTo>
                        <a:pt x="2600" y="28"/>
                      </a:lnTo>
                      <a:lnTo>
                        <a:pt x="2550" y="21"/>
                      </a:lnTo>
                      <a:lnTo>
                        <a:pt x="2502" y="16"/>
                      </a:lnTo>
                      <a:lnTo>
                        <a:pt x="2453" y="10"/>
                      </a:lnTo>
                      <a:lnTo>
                        <a:pt x="2403" y="5"/>
                      </a:lnTo>
                      <a:lnTo>
                        <a:pt x="2352" y="3"/>
                      </a:lnTo>
                      <a:lnTo>
                        <a:pt x="2303" y="1"/>
                      </a:lnTo>
                      <a:lnTo>
                        <a:pt x="2252" y="0"/>
                      </a:lnTo>
                      <a:lnTo>
                        <a:pt x="2252" y="0"/>
                      </a:lnTo>
                      <a:lnTo>
                        <a:pt x="2194" y="1"/>
                      </a:lnTo>
                      <a:lnTo>
                        <a:pt x="2136" y="3"/>
                      </a:lnTo>
                      <a:lnTo>
                        <a:pt x="2078" y="7"/>
                      </a:lnTo>
                      <a:lnTo>
                        <a:pt x="2022" y="12"/>
                      </a:lnTo>
                      <a:lnTo>
                        <a:pt x="1966" y="18"/>
                      </a:lnTo>
                      <a:lnTo>
                        <a:pt x="1909" y="26"/>
                      </a:lnTo>
                      <a:lnTo>
                        <a:pt x="1854" y="35"/>
                      </a:lnTo>
                      <a:lnTo>
                        <a:pt x="1799" y="46"/>
                      </a:lnTo>
                      <a:lnTo>
                        <a:pt x="1743" y="58"/>
                      </a:lnTo>
                      <a:lnTo>
                        <a:pt x="1689" y="71"/>
                      </a:lnTo>
                      <a:lnTo>
                        <a:pt x="1635" y="86"/>
                      </a:lnTo>
                      <a:lnTo>
                        <a:pt x="1582" y="101"/>
                      </a:lnTo>
                      <a:lnTo>
                        <a:pt x="1530" y="118"/>
                      </a:lnTo>
                      <a:lnTo>
                        <a:pt x="1477" y="137"/>
                      </a:lnTo>
                      <a:lnTo>
                        <a:pt x="1427" y="156"/>
                      </a:lnTo>
                      <a:lnTo>
                        <a:pt x="1376" y="177"/>
                      </a:lnTo>
                      <a:lnTo>
                        <a:pt x="1325" y="199"/>
                      </a:lnTo>
                      <a:lnTo>
                        <a:pt x="1276" y="222"/>
                      </a:lnTo>
                      <a:lnTo>
                        <a:pt x="1226" y="246"/>
                      </a:lnTo>
                      <a:lnTo>
                        <a:pt x="1179" y="271"/>
                      </a:lnTo>
                      <a:lnTo>
                        <a:pt x="1131" y="299"/>
                      </a:lnTo>
                      <a:lnTo>
                        <a:pt x="1085" y="327"/>
                      </a:lnTo>
                      <a:lnTo>
                        <a:pt x="1039" y="355"/>
                      </a:lnTo>
                      <a:lnTo>
                        <a:pt x="993" y="384"/>
                      </a:lnTo>
                      <a:lnTo>
                        <a:pt x="949" y="415"/>
                      </a:lnTo>
                      <a:lnTo>
                        <a:pt x="905" y="447"/>
                      </a:lnTo>
                      <a:lnTo>
                        <a:pt x="861" y="481"/>
                      </a:lnTo>
                      <a:lnTo>
                        <a:pt x="820" y="514"/>
                      </a:lnTo>
                      <a:lnTo>
                        <a:pt x="779" y="549"/>
                      </a:lnTo>
                      <a:lnTo>
                        <a:pt x="738" y="584"/>
                      </a:lnTo>
                      <a:lnTo>
                        <a:pt x="699" y="621"/>
                      </a:lnTo>
                      <a:lnTo>
                        <a:pt x="660" y="659"/>
                      </a:lnTo>
                      <a:lnTo>
                        <a:pt x="622" y="698"/>
                      </a:lnTo>
                      <a:lnTo>
                        <a:pt x="585" y="738"/>
                      </a:lnTo>
                      <a:lnTo>
                        <a:pt x="549" y="778"/>
                      </a:lnTo>
                      <a:lnTo>
                        <a:pt x="515" y="819"/>
                      </a:lnTo>
                      <a:lnTo>
                        <a:pt x="480" y="862"/>
                      </a:lnTo>
                      <a:lnTo>
                        <a:pt x="448" y="905"/>
                      </a:lnTo>
                      <a:lnTo>
                        <a:pt x="416" y="948"/>
                      </a:lnTo>
                      <a:lnTo>
                        <a:pt x="385" y="993"/>
                      </a:lnTo>
                      <a:lnTo>
                        <a:pt x="355" y="1038"/>
                      </a:lnTo>
                      <a:lnTo>
                        <a:pt x="326" y="1084"/>
                      </a:lnTo>
                      <a:lnTo>
                        <a:pt x="299" y="1131"/>
                      </a:lnTo>
                      <a:lnTo>
                        <a:pt x="272" y="1179"/>
                      </a:lnTo>
                      <a:lnTo>
                        <a:pt x="247" y="1227"/>
                      </a:lnTo>
                      <a:lnTo>
                        <a:pt x="223" y="1275"/>
                      </a:lnTo>
                      <a:lnTo>
                        <a:pt x="200" y="1325"/>
                      </a:lnTo>
                      <a:lnTo>
                        <a:pt x="178" y="1375"/>
                      </a:lnTo>
                      <a:lnTo>
                        <a:pt x="157" y="1426"/>
                      </a:lnTo>
                      <a:lnTo>
                        <a:pt x="137" y="1478"/>
                      </a:lnTo>
                      <a:lnTo>
                        <a:pt x="119" y="1530"/>
                      </a:lnTo>
                      <a:lnTo>
                        <a:pt x="102" y="1583"/>
                      </a:lnTo>
                      <a:lnTo>
                        <a:pt x="86" y="1636"/>
                      </a:lnTo>
                      <a:lnTo>
                        <a:pt x="72" y="1689"/>
                      </a:lnTo>
                      <a:lnTo>
                        <a:pt x="58" y="1743"/>
                      </a:lnTo>
                      <a:lnTo>
                        <a:pt x="46" y="1798"/>
                      </a:lnTo>
                      <a:lnTo>
                        <a:pt x="36" y="1853"/>
                      </a:lnTo>
                      <a:lnTo>
                        <a:pt x="27" y="1908"/>
                      </a:lnTo>
                      <a:lnTo>
                        <a:pt x="19" y="1965"/>
                      </a:lnTo>
                      <a:lnTo>
                        <a:pt x="12" y="2021"/>
                      </a:lnTo>
                      <a:lnTo>
                        <a:pt x="7" y="2079"/>
                      </a:lnTo>
                      <a:lnTo>
                        <a:pt x="4" y="2135"/>
                      </a:lnTo>
                      <a:lnTo>
                        <a:pt x="1" y="2194"/>
                      </a:lnTo>
                      <a:lnTo>
                        <a:pt x="0" y="2252"/>
                      </a:lnTo>
                      <a:lnTo>
                        <a:pt x="0" y="2252"/>
                      </a:lnTo>
                      <a:lnTo>
                        <a:pt x="1" y="2309"/>
                      </a:lnTo>
                      <a:lnTo>
                        <a:pt x="4" y="2367"/>
                      </a:lnTo>
                      <a:lnTo>
                        <a:pt x="7" y="2424"/>
                      </a:lnTo>
                      <a:lnTo>
                        <a:pt x="12" y="2481"/>
                      </a:lnTo>
                      <a:lnTo>
                        <a:pt x="19" y="2537"/>
                      </a:lnTo>
                      <a:lnTo>
                        <a:pt x="26" y="2594"/>
                      </a:lnTo>
                      <a:lnTo>
                        <a:pt x="35" y="2649"/>
                      </a:lnTo>
                      <a:lnTo>
                        <a:pt x="46" y="2704"/>
                      </a:lnTo>
                      <a:lnTo>
                        <a:pt x="58" y="2758"/>
                      </a:lnTo>
                      <a:lnTo>
                        <a:pt x="71" y="2812"/>
                      </a:lnTo>
                      <a:lnTo>
                        <a:pt x="86" y="2865"/>
                      </a:lnTo>
                      <a:lnTo>
                        <a:pt x="100" y="2918"/>
                      </a:lnTo>
                      <a:lnTo>
                        <a:pt x="118" y="2971"/>
                      </a:lnTo>
                      <a:lnTo>
                        <a:pt x="136" y="3023"/>
                      </a:lnTo>
                      <a:lnTo>
                        <a:pt x="156" y="3074"/>
                      </a:lnTo>
                      <a:lnTo>
                        <a:pt x="176" y="3124"/>
                      </a:lnTo>
                      <a:lnTo>
                        <a:pt x="198" y="3175"/>
                      </a:lnTo>
                      <a:lnTo>
                        <a:pt x="221" y="3224"/>
                      </a:lnTo>
                      <a:lnTo>
                        <a:pt x="246" y="3273"/>
                      </a:lnTo>
                      <a:lnTo>
                        <a:pt x="270" y="3321"/>
                      </a:lnTo>
                      <a:lnTo>
                        <a:pt x="296" y="3368"/>
                      </a:lnTo>
                      <a:lnTo>
                        <a:pt x="324" y="3414"/>
                      </a:lnTo>
                      <a:lnTo>
                        <a:pt x="353" y="3460"/>
                      </a:lnTo>
                      <a:lnTo>
                        <a:pt x="383" y="3505"/>
                      </a:lnTo>
                      <a:lnTo>
                        <a:pt x="412" y="3550"/>
                      </a:lnTo>
                      <a:lnTo>
                        <a:pt x="445" y="3594"/>
                      </a:lnTo>
                      <a:lnTo>
                        <a:pt x="477" y="3637"/>
                      </a:lnTo>
                      <a:lnTo>
                        <a:pt x="510" y="3679"/>
                      </a:lnTo>
                      <a:lnTo>
                        <a:pt x="546" y="3720"/>
                      </a:lnTo>
                      <a:lnTo>
                        <a:pt x="581" y="3760"/>
                      </a:lnTo>
                      <a:lnTo>
                        <a:pt x="617" y="3800"/>
                      </a:lnTo>
                      <a:lnTo>
                        <a:pt x="655" y="3838"/>
                      </a:lnTo>
                      <a:lnTo>
                        <a:pt x="1617" y="2877"/>
                      </a:lnTo>
                      <a:lnTo>
                        <a:pt x="1617" y="2877"/>
                      </a:lnTo>
                      <a:lnTo>
                        <a:pt x="1588" y="2848"/>
                      </a:lnTo>
                      <a:lnTo>
                        <a:pt x="1560" y="2819"/>
                      </a:lnTo>
                      <a:lnTo>
                        <a:pt x="1533" y="2789"/>
                      </a:lnTo>
                      <a:lnTo>
                        <a:pt x="1506" y="2758"/>
                      </a:lnTo>
                      <a:lnTo>
                        <a:pt x="1481" y="2727"/>
                      </a:lnTo>
                      <a:lnTo>
                        <a:pt x="1456" y="2695"/>
                      </a:lnTo>
                      <a:lnTo>
                        <a:pt x="1431" y="2663"/>
                      </a:lnTo>
                      <a:lnTo>
                        <a:pt x="1408" y="2629"/>
                      </a:lnTo>
                      <a:lnTo>
                        <a:pt x="1386" y="2596"/>
                      </a:lnTo>
                      <a:lnTo>
                        <a:pt x="1365" y="2561"/>
                      </a:lnTo>
                      <a:lnTo>
                        <a:pt x="1343" y="2527"/>
                      </a:lnTo>
                      <a:lnTo>
                        <a:pt x="1323" y="2492"/>
                      </a:lnTo>
                      <a:lnTo>
                        <a:pt x="1304" y="2455"/>
                      </a:lnTo>
                      <a:lnTo>
                        <a:pt x="1285" y="2420"/>
                      </a:lnTo>
                      <a:lnTo>
                        <a:pt x="1268" y="2383"/>
                      </a:lnTo>
                      <a:lnTo>
                        <a:pt x="1251" y="2345"/>
                      </a:lnTo>
                      <a:lnTo>
                        <a:pt x="1236" y="2307"/>
                      </a:lnTo>
                      <a:lnTo>
                        <a:pt x="1221" y="2269"/>
                      </a:lnTo>
                      <a:lnTo>
                        <a:pt x="1207" y="2230"/>
                      </a:lnTo>
                      <a:lnTo>
                        <a:pt x="1193" y="2191"/>
                      </a:lnTo>
                      <a:lnTo>
                        <a:pt x="1182" y="2151"/>
                      </a:lnTo>
                      <a:lnTo>
                        <a:pt x="1170" y="2111"/>
                      </a:lnTo>
                      <a:lnTo>
                        <a:pt x="1161" y="2071"/>
                      </a:lnTo>
                      <a:lnTo>
                        <a:pt x="1152" y="2029"/>
                      </a:lnTo>
                      <a:lnTo>
                        <a:pt x="1144" y="1988"/>
                      </a:lnTo>
                      <a:lnTo>
                        <a:pt x="1137" y="1946"/>
                      </a:lnTo>
                      <a:lnTo>
                        <a:pt x="1131" y="1905"/>
                      </a:lnTo>
                      <a:lnTo>
                        <a:pt x="1125" y="1862"/>
                      </a:lnTo>
                      <a:lnTo>
                        <a:pt x="1122" y="1820"/>
                      </a:lnTo>
                      <a:lnTo>
                        <a:pt x="1119" y="1777"/>
                      </a:lnTo>
                      <a:lnTo>
                        <a:pt x="1117" y="1733"/>
                      </a:lnTo>
                      <a:lnTo>
                        <a:pt x="1117" y="1691"/>
                      </a:lnTo>
                      <a:close/>
                    </a:path>
                  </a:pathLst>
                </a:custGeom>
                <a:solidFill>
                  <a:srgbClr val="7B65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7" name="Freeform 270"/>
                <p:cNvSpPr>
                  <a:spLocks/>
                </p:cNvSpPr>
                <p:nvPr/>
              </p:nvSpPr>
              <p:spPr bwMode="auto">
                <a:xfrm>
                  <a:off x="2711450" y="2881313"/>
                  <a:ext cx="600075" cy="869950"/>
                </a:xfrm>
                <a:custGeom>
                  <a:avLst/>
                  <a:gdLst>
                    <a:gd name="T0" fmla="*/ 1118 w 2648"/>
                    <a:gd name="T1" fmla="*/ 1609 h 3838"/>
                    <a:gd name="T2" fmla="*/ 1134 w 2648"/>
                    <a:gd name="T3" fmla="*/ 1449 h 3838"/>
                    <a:gd name="T4" fmla="*/ 1164 w 2648"/>
                    <a:gd name="T5" fmla="*/ 1295 h 3838"/>
                    <a:gd name="T6" fmla="*/ 1208 w 2648"/>
                    <a:gd name="T7" fmla="*/ 1145 h 3838"/>
                    <a:gd name="T8" fmla="*/ 1266 w 2648"/>
                    <a:gd name="T9" fmla="*/ 1002 h 3838"/>
                    <a:gd name="T10" fmla="*/ 1336 w 2648"/>
                    <a:gd name="T11" fmla="*/ 867 h 3838"/>
                    <a:gd name="T12" fmla="*/ 1418 w 2648"/>
                    <a:gd name="T13" fmla="*/ 738 h 3838"/>
                    <a:gd name="T14" fmla="*/ 1511 w 2648"/>
                    <a:gd name="T15" fmla="*/ 618 h 3838"/>
                    <a:gd name="T16" fmla="*/ 1614 w 2648"/>
                    <a:gd name="T17" fmla="*/ 506 h 3838"/>
                    <a:gd name="T18" fmla="*/ 1727 w 2648"/>
                    <a:gd name="T19" fmla="*/ 406 h 3838"/>
                    <a:gd name="T20" fmla="*/ 1849 w 2648"/>
                    <a:gd name="T21" fmla="*/ 315 h 3838"/>
                    <a:gd name="T22" fmla="*/ 1979 w 2648"/>
                    <a:gd name="T23" fmla="*/ 236 h 3838"/>
                    <a:gd name="T24" fmla="*/ 2118 w 2648"/>
                    <a:gd name="T25" fmla="*/ 168 h 3838"/>
                    <a:gd name="T26" fmla="*/ 2261 w 2648"/>
                    <a:gd name="T27" fmla="*/ 114 h 3838"/>
                    <a:gd name="T28" fmla="*/ 2412 w 2648"/>
                    <a:gd name="T29" fmla="*/ 72 h 3838"/>
                    <a:gd name="T30" fmla="*/ 2568 w 2648"/>
                    <a:gd name="T31" fmla="*/ 44 h 3838"/>
                    <a:gd name="T32" fmla="*/ 2600 w 2648"/>
                    <a:gd name="T33" fmla="*/ 28 h 3838"/>
                    <a:gd name="T34" fmla="*/ 2403 w 2648"/>
                    <a:gd name="T35" fmla="*/ 5 h 3838"/>
                    <a:gd name="T36" fmla="*/ 2252 w 2648"/>
                    <a:gd name="T37" fmla="*/ 0 h 3838"/>
                    <a:gd name="T38" fmla="*/ 2022 w 2648"/>
                    <a:gd name="T39" fmla="*/ 12 h 3838"/>
                    <a:gd name="T40" fmla="*/ 1799 w 2648"/>
                    <a:gd name="T41" fmla="*/ 46 h 3838"/>
                    <a:gd name="T42" fmla="*/ 1582 w 2648"/>
                    <a:gd name="T43" fmla="*/ 101 h 3838"/>
                    <a:gd name="T44" fmla="*/ 1376 w 2648"/>
                    <a:gd name="T45" fmla="*/ 177 h 3838"/>
                    <a:gd name="T46" fmla="*/ 1179 w 2648"/>
                    <a:gd name="T47" fmla="*/ 271 h 3838"/>
                    <a:gd name="T48" fmla="*/ 993 w 2648"/>
                    <a:gd name="T49" fmla="*/ 384 h 3838"/>
                    <a:gd name="T50" fmla="*/ 820 w 2648"/>
                    <a:gd name="T51" fmla="*/ 514 h 3838"/>
                    <a:gd name="T52" fmla="*/ 660 w 2648"/>
                    <a:gd name="T53" fmla="*/ 659 h 3838"/>
                    <a:gd name="T54" fmla="*/ 515 w 2648"/>
                    <a:gd name="T55" fmla="*/ 819 h 3838"/>
                    <a:gd name="T56" fmla="*/ 385 w 2648"/>
                    <a:gd name="T57" fmla="*/ 993 h 3838"/>
                    <a:gd name="T58" fmla="*/ 272 w 2648"/>
                    <a:gd name="T59" fmla="*/ 1179 h 3838"/>
                    <a:gd name="T60" fmla="*/ 178 w 2648"/>
                    <a:gd name="T61" fmla="*/ 1375 h 3838"/>
                    <a:gd name="T62" fmla="*/ 102 w 2648"/>
                    <a:gd name="T63" fmla="*/ 1583 h 3838"/>
                    <a:gd name="T64" fmla="*/ 46 w 2648"/>
                    <a:gd name="T65" fmla="*/ 1798 h 3838"/>
                    <a:gd name="T66" fmla="*/ 12 w 2648"/>
                    <a:gd name="T67" fmla="*/ 2021 h 3838"/>
                    <a:gd name="T68" fmla="*/ 0 w 2648"/>
                    <a:gd name="T69" fmla="*/ 2252 h 3838"/>
                    <a:gd name="T70" fmla="*/ 7 w 2648"/>
                    <a:gd name="T71" fmla="*/ 2424 h 3838"/>
                    <a:gd name="T72" fmla="*/ 35 w 2648"/>
                    <a:gd name="T73" fmla="*/ 2649 h 3838"/>
                    <a:gd name="T74" fmla="*/ 86 w 2648"/>
                    <a:gd name="T75" fmla="*/ 2865 h 3838"/>
                    <a:gd name="T76" fmla="*/ 156 w 2648"/>
                    <a:gd name="T77" fmla="*/ 3074 h 3838"/>
                    <a:gd name="T78" fmla="*/ 246 w 2648"/>
                    <a:gd name="T79" fmla="*/ 3273 h 3838"/>
                    <a:gd name="T80" fmla="*/ 353 w 2648"/>
                    <a:gd name="T81" fmla="*/ 3460 h 3838"/>
                    <a:gd name="T82" fmla="*/ 477 w 2648"/>
                    <a:gd name="T83" fmla="*/ 3637 h 3838"/>
                    <a:gd name="T84" fmla="*/ 617 w 2648"/>
                    <a:gd name="T85" fmla="*/ 3800 h 3838"/>
                    <a:gd name="T86" fmla="*/ 1588 w 2648"/>
                    <a:gd name="T87" fmla="*/ 2848 h 3838"/>
                    <a:gd name="T88" fmla="*/ 1481 w 2648"/>
                    <a:gd name="T89" fmla="*/ 2727 h 3838"/>
                    <a:gd name="T90" fmla="*/ 1386 w 2648"/>
                    <a:gd name="T91" fmla="*/ 2596 h 3838"/>
                    <a:gd name="T92" fmla="*/ 1304 w 2648"/>
                    <a:gd name="T93" fmla="*/ 2455 h 3838"/>
                    <a:gd name="T94" fmla="*/ 1236 w 2648"/>
                    <a:gd name="T95" fmla="*/ 2307 h 3838"/>
                    <a:gd name="T96" fmla="*/ 1182 w 2648"/>
                    <a:gd name="T97" fmla="*/ 2151 h 3838"/>
                    <a:gd name="T98" fmla="*/ 1144 w 2648"/>
                    <a:gd name="T99" fmla="*/ 1988 h 3838"/>
                    <a:gd name="T100" fmla="*/ 1122 w 2648"/>
                    <a:gd name="T101" fmla="*/ 1820 h 3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48" h="3838">
                      <a:moveTo>
                        <a:pt x="1117" y="1691"/>
                      </a:moveTo>
                      <a:lnTo>
                        <a:pt x="1117" y="1691"/>
                      </a:lnTo>
                      <a:lnTo>
                        <a:pt x="1117" y="1649"/>
                      </a:lnTo>
                      <a:lnTo>
                        <a:pt x="1118" y="1609"/>
                      </a:lnTo>
                      <a:lnTo>
                        <a:pt x="1121" y="1569"/>
                      </a:lnTo>
                      <a:lnTo>
                        <a:pt x="1124" y="1529"/>
                      </a:lnTo>
                      <a:lnTo>
                        <a:pt x="1129" y="1489"/>
                      </a:lnTo>
                      <a:lnTo>
                        <a:pt x="1134" y="1449"/>
                      </a:lnTo>
                      <a:lnTo>
                        <a:pt x="1140" y="1410"/>
                      </a:lnTo>
                      <a:lnTo>
                        <a:pt x="1147" y="1372"/>
                      </a:lnTo>
                      <a:lnTo>
                        <a:pt x="1155" y="1333"/>
                      </a:lnTo>
                      <a:lnTo>
                        <a:pt x="1164" y="1295"/>
                      </a:lnTo>
                      <a:lnTo>
                        <a:pt x="1173" y="1257"/>
                      </a:lnTo>
                      <a:lnTo>
                        <a:pt x="1185" y="1219"/>
                      </a:lnTo>
                      <a:lnTo>
                        <a:pt x="1197" y="1182"/>
                      </a:lnTo>
                      <a:lnTo>
                        <a:pt x="1208" y="1145"/>
                      </a:lnTo>
                      <a:lnTo>
                        <a:pt x="1222" y="1109"/>
                      </a:lnTo>
                      <a:lnTo>
                        <a:pt x="1236" y="1073"/>
                      </a:lnTo>
                      <a:lnTo>
                        <a:pt x="1251" y="1037"/>
                      </a:lnTo>
                      <a:lnTo>
                        <a:pt x="1266" y="1002"/>
                      </a:lnTo>
                      <a:lnTo>
                        <a:pt x="1282" y="968"/>
                      </a:lnTo>
                      <a:lnTo>
                        <a:pt x="1299" y="933"/>
                      </a:lnTo>
                      <a:lnTo>
                        <a:pt x="1317" y="900"/>
                      </a:lnTo>
                      <a:lnTo>
                        <a:pt x="1336" y="867"/>
                      </a:lnTo>
                      <a:lnTo>
                        <a:pt x="1355" y="833"/>
                      </a:lnTo>
                      <a:lnTo>
                        <a:pt x="1375" y="801"/>
                      </a:lnTo>
                      <a:lnTo>
                        <a:pt x="1396" y="769"/>
                      </a:lnTo>
                      <a:lnTo>
                        <a:pt x="1418" y="738"/>
                      </a:lnTo>
                      <a:lnTo>
                        <a:pt x="1439" y="707"/>
                      </a:lnTo>
                      <a:lnTo>
                        <a:pt x="1462" y="677"/>
                      </a:lnTo>
                      <a:lnTo>
                        <a:pt x="1487" y="647"/>
                      </a:lnTo>
                      <a:lnTo>
                        <a:pt x="1511" y="618"/>
                      </a:lnTo>
                      <a:lnTo>
                        <a:pt x="1536" y="589"/>
                      </a:lnTo>
                      <a:lnTo>
                        <a:pt x="1561" y="561"/>
                      </a:lnTo>
                      <a:lnTo>
                        <a:pt x="1587" y="534"/>
                      </a:lnTo>
                      <a:lnTo>
                        <a:pt x="1614" y="506"/>
                      </a:lnTo>
                      <a:lnTo>
                        <a:pt x="1641" y="481"/>
                      </a:lnTo>
                      <a:lnTo>
                        <a:pt x="1670" y="454"/>
                      </a:lnTo>
                      <a:lnTo>
                        <a:pt x="1698" y="430"/>
                      </a:lnTo>
                      <a:lnTo>
                        <a:pt x="1727" y="406"/>
                      </a:lnTo>
                      <a:lnTo>
                        <a:pt x="1757" y="382"/>
                      </a:lnTo>
                      <a:lnTo>
                        <a:pt x="1787" y="359"/>
                      </a:lnTo>
                      <a:lnTo>
                        <a:pt x="1818" y="337"/>
                      </a:lnTo>
                      <a:lnTo>
                        <a:pt x="1849" y="315"/>
                      </a:lnTo>
                      <a:lnTo>
                        <a:pt x="1882" y="294"/>
                      </a:lnTo>
                      <a:lnTo>
                        <a:pt x="1914" y="274"/>
                      </a:lnTo>
                      <a:lnTo>
                        <a:pt x="1946" y="254"/>
                      </a:lnTo>
                      <a:lnTo>
                        <a:pt x="1979" y="236"/>
                      </a:lnTo>
                      <a:lnTo>
                        <a:pt x="2013" y="217"/>
                      </a:lnTo>
                      <a:lnTo>
                        <a:pt x="2047" y="200"/>
                      </a:lnTo>
                      <a:lnTo>
                        <a:pt x="2082" y="184"/>
                      </a:lnTo>
                      <a:lnTo>
                        <a:pt x="2118" y="168"/>
                      </a:lnTo>
                      <a:lnTo>
                        <a:pt x="2153" y="153"/>
                      </a:lnTo>
                      <a:lnTo>
                        <a:pt x="2189" y="139"/>
                      </a:lnTo>
                      <a:lnTo>
                        <a:pt x="2225" y="126"/>
                      </a:lnTo>
                      <a:lnTo>
                        <a:pt x="2261" y="114"/>
                      </a:lnTo>
                      <a:lnTo>
                        <a:pt x="2298" y="102"/>
                      </a:lnTo>
                      <a:lnTo>
                        <a:pt x="2336" y="91"/>
                      </a:lnTo>
                      <a:lnTo>
                        <a:pt x="2374" y="81"/>
                      </a:lnTo>
                      <a:lnTo>
                        <a:pt x="2412" y="72"/>
                      </a:lnTo>
                      <a:lnTo>
                        <a:pt x="2450" y="64"/>
                      </a:lnTo>
                      <a:lnTo>
                        <a:pt x="2489" y="57"/>
                      </a:lnTo>
                      <a:lnTo>
                        <a:pt x="2529" y="50"/>
                      </a:lnTo>
                      <a:lnTo>
                        <a:pt x="2568" y="44"/>
                      </a:lnTo>
                      <a:lnTo>
                        <a:pt x="2608" y="41"/>
                      </a:lnTo>
                      <a:lnTo>
                        <a:pt x="2648" y="36"/>
                      </a:lnTo>
                      <a:lnTo>
                        <a:pt x="2648" y="36"/>
                      </a:lnTo>
                      <a:lnTo>
                        <a:pt x="2600" y="28"/>
                      </a:lnTo>
                      <a:lnTo>
                        <a:pt x="2550" y="21"/>
                      </a:lnTo>
                      <a:lnTo>
                        <a:pt x="2502" y="16"/>
                      </a:lnTo>
                      <a:lnTo>
                        <a:pt x="2453" y="10"/>
                      </a:lnTo>
                      <a:lnTo>
                        <a:pt x="2403" y="5"/>
                      </a:lnTo>
                      <a:lnTo>
                        <a:pt x="2352" y="3"/>
                      </a:lnTo>
                      <a:lnTo>
                        <a:pt x="2303" y="1"/>
                      </a:lnTo>
                      <a:lnTo>
                        <a:pt x="2252" y="0"/>
                      </a:lnTo>
                      <a:lnTo>
                        <a:pt x="2252" y="0"/>
                      </a:lnTo>
                      <a:lnTo>
                        <a:pt x="2194" y="1"/>
                      </a:lnTo>
                      <a:lnTo>
                        <a:pt x="2136" y="3"/>
                      </a:lnTo>
                      <a:lnTo>
                        <a:pt x="2078" y="7"/>
                      </a:lnTo>
                      <a:lnTo>
                        <a:pt x="2022" y="12"/>
                      </a:lnTo>
                      <a:lnTo>
                        <a:pt x="1966" y="18"/>
                      </a:lnTo>
                      <a:lnTo>
                        <a:pt x="1909" y="26"/>
                      </a:lnTo>
                      <a:lnTo>
                        <a:pt x="1854" y="35"/>
                      </a:lnTo>
                      <a:lnTo>
                        <a:pt x="1799" y="46"/>
                      </a:lnTo>
                      <a:lnTo>
                        <a:pt x="1743" y="58"/>
                      </a:lnTo>
                      <a:lnTo>
                        <a:pt x="1689" y="71"/>
                      </a:lnTo>
                      <a:lnTo>
                        <a:pt x="1635" y="86"/>
                      </a:lnTo>
                      <a:lnTo>
                        <a:pt x="1582" y="101"/>
                      </a:lnTo>
                      <a:lnTo>
                        <a:pt x="1530" y="118"/>
                      </a:lnTo>
                      <a:lnTo>
                        <a:pt x="1477" y="137"/>
                      </a:lnTo>
                      <a:lnTo>
                        <a:pt x="1427" y="156"/>
                      </a:lnTo>
                      <a:lnTo>
                        <a:pt x="1376" y="177"/>
                      </a:lnTo>
                      <a:lnTo>
                        <a:pt x="1325" y="199"/>
                      </a:lnTo>
                      <a:lnTo>
                        <a:pt x="1276" y="222"/>
                      </a:lnTo>
                      <a:lnTo>
                        <a:pt x="1226" y="246"/>
                      </a:lnTo>
                      <a:lnTo>
                        <a:pt x="1179" y="271"/>
                      </a:lnTo>
                      <a:lnTo>
                        <a:pt x="1131" y="299"/>
                      </a:lnTo>
                      <a:lnTo>
                        <a:pt x="1085" y="327"/>
                      </a:lnTo>
                      <a:lnTo>
                        <a:pt x="1039" y="355"/>
                      </a:lnTo>
                      <a:lnTo>
                        <a:pt x="993" y="384"/>
                      </a:lnTo>
                      <a:lnTo>
                        <a:pt x="949" y="415"/>
                      </a:lnTo>
                      <a:lnTo>
                        <a:pt x="905" y="447"/>
                      </a:lnTo>
                      <a:lnTo>
                        <a:pt x="861" y="481"/>
                      </a:lnTo>
                      <a:lnTo>
                        <a:pt x="820" y="514"/>
                      </a:lnTo>
                      <a:lnTo>
                        <a:pt x="779" y="549"/>
                      </a:lnTo>
                      <a:lnTo>
                        <a:pt x="738" y="584"/>
                      </a:lnTo>
                      <a:lnTo>
                        <a:pt x="699" y="621"/>
                      </a:lnTo>
                      <a:lnTo>
                        <a:pt x="660" y="659"/>
                      </a:lnTo>
                      <a:lnTo>
                        <a:pt x="622" y="698"/>
                      </a:lnTo>
                      <a:lnTo>
                        <a:pt x="585" y="738"/>
                      </a:lnTo>
                      <a:lnTo>
                        <a:pt x="549" y="778"/>
                      </a:lnTo>
                      <a:lnTo>
                        <a:pt x="515" y="819"/>
                      </a:lnTo>
                      <a:lnTo>
                        <a:pt x="480" y="862"/>
                      </a:lnTo>
                      <a:lnTo>
                        <a:pt x="448" y="905"/>
                      </a:lnTo>
                      <a:lnTo>
                        <a:pt x="416" y="948"/>
                      </a:lnTo>
                      <a:lnTo>
                        <a:pt x="385" y="993"/>
                      </a:lnTo>
                      <a:lnTo>
                        <a:pt x="355" y="1038"/>
                      </a:lnTo>
                      <a:lnTo>
                        <a:pt x="326" y="1084"/>
                      </a:lnTo>
                      <a:lnTo>
                        <a:pt x="299" y="1131"/>
                      </a:lnTo>
                      <a:lnTo>
                        <a:pt x="272" y="1179"/>
                      </a:lnTo>
                      <a:lnTo>
                        <a:pt x="247" y="1227"/>
                      </a:lnTo>
                      <a:lnTo>
                        <a:pt x="223" y="1275"/>
                      </a:lnTo>
                      <a:lnTo>
                        <a:pt x="200" y="1325"/>
                      </a:lnTo>
                      <a:lnTo>
                        <a:pt x="178" y="1375"/>
                      </a:lnTo>
                      <a:lnTo>
                        <a:pt x="157" y="1426"/>
                      </a:lnTo>
                      <a:lnTo>
                        <a:pt x="137" y="1478"/>
                      </a:lnTo>
                      <a:lnTo>
                        <a:pt x="119" y="1530"/>
                      </a:lnTo>
                      <a:lnTo>
                        <a:pt x="102" y="1583"/>
                      </a:lnTo>
                      <a:lnTo>
                        <a:pt x="86" y="1636"/>
                      </a:lnTo>
                      <a:lnTo>
                        <a:pt x="72" y="1689"/>
                      </a:lnTo>
                      <a:lnTo>
                        <a:pt x="58" y="1743"/>
                      </a:lnTo>
                      <a:lnTo>
                        <a:pt x="46" y="1798"/>
                      </a:lnTo>
                      <a:lnTo>
                        <a:pt x="36" y="1853"/>
                      </a:lnTo>
                      <a:lnTo>
                        <a:pt x="27" y="1908"/>
                      </a:lnTo>
                      <a:lnTo>
                        <a:pt x="19" y="1965"/>
                      </a:lnTo>
                      <a:lnTo>
                        <a:pt x="12" y="2021"/>
                      </a:lnTo>
                      <a:lnTo>
                        <a:pt x="7" y="2079"/>
                      </a:lnTo>
                      <a:lnTo>
                        <a:pt x="4" y="2135"/>
                      </a:lnTo>
                      <a:lnTo>
                        <a:pt x="1" y="2194"/>
                      </a:lnTo>
                      <a:lnTo>
                        <a:pt x="0" y="2252"/>
                      </a:lnTo>
                      <a:lnTo>
                        <a:pt x="0" y="2252"/>
                      </a:lnTo>
                      <a:lnTo>
                        <a:pt x="1" y="2309"/>
                      </a:lnTo>
                      <a:lnTo>
                        <a:pt x="4" y="2367"/>
                      </a:lnTo>
                      <a:lnTo>
                        <a:pt x="7" y="2424"/>
                      </a:lnTo>
                      <a:lnTo>
                        <a:pt x="12" y="2481"/>
                      </a:lnTo>
                      <a:lnTo>
                        <a:pt x="19" y="2537"/>
                      </a:lnTo>
                      <a:lnTo>
                        <a:pt x="26" y="2594"/>
                      </a:lnTo>
                      <a:lnTo>
                        <a:pt x="35" y="2649"/>
                      </a:lnTo>
                      <a:lnTo>
                        <a:pt x="46" y="2704"/>
                      </a:lnTo>
                      <a:lnTo>
                        <a:pt x="58" y="2758"/>
                      </a:lnTo>
                      <a:lnTo>
                        <a:pt x="71" y="2812"/>
                      </a:lnTo>
                      <a:lnTo>
                        <a:pt x="86" y="2865"/>
                      </a:lnTo>
                      <a:lnTo>
                        <a:pt x="100" y="2918"/>
                      </a:lnTo>
                      <a:lnTo>
                        <a:pt x="118" y="2971"/>
                      </a:lnTo>
                      <a:lnTo>
                        <a:pt x="136" y="3023"/>
                      </a:lnTo>
                      <a:lnTo>
                        <a:pt x="156" y="3074"/>
                      </a:lnTo>
                      <a:lnTo>
                        <a:pt x="176" y="3124"/>
                      </a:lnTo>
                      <a:lnTo>
                        <a:pt x="198" y="3175"/>
                      </a:lnTo>
                      <a:lnTo>
                        <a:pt x="221" y="3224"/>
                      </a:lnTo>
                      <a:lnTo>
                        <a:pt x="246" y="3273"/>
                      </a:lnTo>
                      <a:lnTo>
                        <a:pt x="270" y="3321"/>
                      </a:lnTo>
                      <a:lnTo>
                        <a:pt x="296" y="3368"/>
                      </a:lnTo>
                      <a:lnTo>
                        <a:pt x="324" y="3414"/>
                      </a:lnTo>
                      <a:lnTo>
                        <a:pt x="353" y="3460"/>
                      </a:lnTo>
                      <a:lnTo>
                        <a:pt x="383" y="3505"/>
                      </a:lnTo>
                      <a:lnTo>
                        <a:pt x="412" y="3550"/>
                      </a:lnTo>
                      <a:lnTo>
                        <a:pt x="445" y="3594"/>
                      </a:lnTo>
                      <a:lnTo>
                        <a:pt x="477" y="3637"/>
                      </a:lnTo>
                      <a:lnTo>
                        <a:pt x="510" y="3679"/>
                      </a:lnTo>
                      <a:lnTo>
                        <a:pt x="546" y="3720"/>
                      </a:lnTo>
                      <a:lnTo>
                        <a:pt x="581" y="3760"/>
                      </a:lnTo>
                      <a:lnTo>
                        <a:pt x="617" y="3800"/>
                      </a:lnTo>
                      <a:lnTo>
                        <a:pt x="655" y="3838"/>
                      </a:lnTo>
                      <a:lnTo>
                        <a:pt x="1617" y="2877"/>
                      </a:lnTo>
                      <a:lnTo>
                        <a:pt x="1617" y="2877"/>
                      </a:lnTo>
                      <a:lnTo>
                        <a:pt x="1588" y="2848"/>
                      </a:lnTo>
                      <a:lnTo>
                        <a:pt x="1560" y="2819"/>
                      </a:lnTo>
                      <a:lnTo>
                        <a:pt x="1533" y="2789"/>
                      </a:lnTo>
                      <a:lnTo>
                        <a:pt x="1506" y="2758"/>
                      </a:lnTo>
                      <a:lnTo>
                        <a:pt x="1481" y="2727"/>
                      </a:lnTo>
                      <a:lnTo>
                        <a:pt x="1456" y="2695"/>
                      </a:lnTo>
                      <a:lnTo>
                        <a:pt x="1431" y="2663"/>
                      </a:lnTo>
                      <a:lnTo>
                        <a:pt x="1408" y="2629"/>
                      </a:lnTo>
                      <a:lnTo>
                        <a:pt x="1386" y="2596"/>
                      </a:lnTo>
                      <a:lnTo>
                        <a:pt x="1365" y="2561"/>
                      </a:lnTo>
                      <a:lnTo>
                        <a:pt x="1343" y="2527"/>
                      </a:lnTo>
                      <a:lnTo>
                        <a:pt x="1323" y="2492"/>
                      </a:lnTo>
                      <a:lnTo>
                        <a:pt x="1304" y="2455"/>
                      </a:lnTo>
                      <a:lnTo>
                        <a:pt x="1285" y="2420"/>
                      </a:lnTo>
                      <a:lnTo>
                        <a:pt x="1268" y="2383"/>
                      </a:lnTo>
                      <a:lnTo>
                        <a:pt x="1251" y="2345"/>
                      </a:lnTo>
                      <a:lnTo>
                        <a:pt x="1236" y="2307"/>
                      </a:lnTo>
                      <a:lnTo>
                        <a:pt x="1221" y="2269"/>
                      </a:lnTo>
                      <a:lnTo>
                        <a:pt x="1207" y="2230"/>
                      </a:lnTo>
                      <a:lnTo>
                        <a:pt x="1193" y="2191"/>
                      </a:lnTo>
                      <a:lnTo>
                        <a:pt x="1182" y="2151"/>
                      </a:lnTo>
                      <a:lnTo>
                        <a:pt x="1170" y="2111"/>
                      </a:lnTo>
                      <a:lnTo>
                        <a:pt x="1161" y="2071"/>
                      </a:lnTo>
                      <a:lnTo>
                        <a:pt x="1152" y="2029"/>
                      </a:lnTo>
                      <a:lnTo>
                        <a:pt x="1144" y="1988"/>
                      </a:lnTo>
                      <a:lnTo>
                        <a:pt x="1137" y="1946"/>
                      </a:lnTo>
                      <a:lnTo>
                        <a:pt x="1131" y="1905"/>
                      </a:lnTo>
                      <a:lnTo>
                        <a:pt x="1125" y="1862"/>
                      </a:lnTo>
                      <a:lnTo>
                        <a:pt x="1122" y="1820"/>
                      </a:lnTo>
                      <a:lnTo>
                        <a:pt x="1119" y="1777"/>
                      </a:lnTo>
                      <a:lnTo>
                        <a:pt x="1117" y="1733"/>
                      </a:lnTo>
                      <a:lnTo>
                        <a:pt x="1117" y="169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8" name="Freeform 271"/>
                <p:cNvSpPr>
                  <a:spLocks/>
                </p:cNvSpPr>
                <p:nvPr/>
              </p:nvSpPr>
              <p:spPr bwMode="auto">
                <a:xfrm>
                  <a:off x="2963863" y="2889250"/>
                  <a:ext cx="617538" cy="644525"/>
                </a:xfrm>
                <a:custGeom>
                  <a:avLst/>
                  <a:gdLst>
                    <a:gd name="T0" fmla="*/ 0 w 2719"/>
                    <a:gd name="T1" fmla="*/ 1697 h 2841"/>
                    <a:gd name="T2" fmla="*/ 8 w 2719"/>
                    <a:gd name="T3" fmla="*/ 1826 h 2841"/>
                    <a:gd name="T4" fmla="*/ 27 w 2719"/>
                    <a:gd name="T5" fmla="*/ 1952 h 2841"/>
                    <a:gd name="T6" fmla="*/ 53 w 2719"/>
                    <a:gd name="T7" fmla="*/ 2075 h 2841"/>
                    <a:gd name="T8" fmla="*/ 90 w 2719"/>
                    <a:gd name="T9" fmla="*/ 2194 h 2841"/>
                    <a:gd name="T10" fmla="*/ 134 w 2719"/>
                    <a:gd name="T11" fmla="*/ 2309 h 2841"/>
                    <a:gd name="T12" fmla="*/ 187 w 2719"/>
                    <a:gd name="T13" fmla="*/ 2419 h 2841"/>
                    <a:gd name="T14" fmla="*/ 248 w 2719"/>
                    <a:gd name="T15" fmla="*/ 2525 h 2841"/>
                    <a:gd name="T16" fmla="*/ 314 w 2719"/>
                    <a:gd name="T17" fmla="*/ 2627 h 2841"/>
                    <a:gd name="T18" fmla="*/ 389 w 2719"/>
                    <a:gd name="T19" fmla="*/ 2722 h 2841"/>
                    <a:gd name="T20" fmla="*/ 471 w 2719"/>
                    <a:gd name="T21" fmla="*/ 2812 h 2841"/>
                    <a:gd name="T22" fmla="*/ 2719 w 2719"/>
                    <a:gd name="T23" fmla="*/ 621 h 2841"/>
                    <a:gd name="T24" fmla="*/ 2676 w 2719"/>
                    <a:gd name="T25" fmla="*/ 576 h 2841"/>
                    <a:gd name="T26" fmla="*/ 2630 w 2719"/>
                    <a:gd name="T27" fmla="*/ 535 h 2841"/>
                    <a:gd name="T28" fmla="*/ 2495 w 2719"/>
                    <a:gd name="T29" fmla="*/ 424 h 2841"/>
                    <a:gd name="T30" fmla="*/ 2353 w 2719"/>
                    <a:gd name="T31" fmla="*/ 325 h 2841"/>
                    <a:gd name="T32" fmla="*/ 2282 w 2719"/>
                    <a:gd name="T33" fmla="*/ 280 h 2841"/>
                    <a:gd name="T34" fmla="*/ 2184 w 2719"/>
                    <a:gd name="T35" fmla="*/ 226 h 2841"/>
                    <a:gd name="T36" fmla="*/ 2147 w 2719"/>
                    <a:gd name="T37" fmla="*/ 207 h 2841"/>
                    <a:gd name="T38" fmla="*/ 2042 w 2719"/>
                    <a:gd name="T39" fmla="*/ 157 h 2841"/>
                    <a:gd name="T40" fmla="*/ 1879 w 2719"/>
                    <a:gd name="T41" fmla="*/ 93 h 2841"/>
                    <a:gd name="T42" fmla="*/ 1709 w 2719"/>
                    <a:gd name="T43" fmla="*/ 41 h 2841"/>
                    <a:gd name="T44" fmla="*/ 1679 w 2719"/>
                    <a:gd name="T45" fmla="*/ 33 h 2841"/>
                    <a:gd name="T46" fmla="*/ 1531 w 2719"/>
                    <a:gd name="T47" fmla="*/ 0 h 2841"/>
                    <a:gd name="T48" fmla="*/ 1451 w 2719"/>
                    <a:gd name="T49" fmla="*/ 8 h 2841"/>
                    <a:gd name="T50" fmla="*/ 1333 w 2719"/>
                    <a:gd name="T51" fmla="*/ 28 h 2841"/>
                    <a:gd name="T52" fmla="*/ 1219 w 2719"/>
                    <a:gd name="T53" fmla="*/ 55 h 2841"/>
                    <a:gd name="T54" fmla="*/ 1108 w 2719"/>
                    <a:gd name="T55" fmla="*/ 90 h 2841"/>
                    <a:gd name="T56" fmla="*/ 1001 w 2719"/>
                    <a:gd name="T57" fmla="*/ 132 h 2841"/>
                    <a:gd name="T58" fmla="*/ 896 w 2719"/>
                    <a:gd name="T59" fmla="*/ 181 h 2841"/>
                    <a:gd name="T60" fmla="*/ 797 w 2719"/>
                    <a:gd name="T61" fmla="*/ 238 h 2841"/>
                    <a:gd name="T62" fmla="*/ 701 w 2719"/>
                    <a:gd name="T63" fmla="*/ 301 h 2841"/>
                    <a:gd name="T64" fmla="*/ 610 w 2719"/>
                    <a:gd name="T65" fmla="*/ 370 h 2841"/>
                    <a:gd name="T66" fmla="*/ 524 w 2719"/>
                    <a:gd name="T67" fmla="*/ 445 h 2841"/>
                    <a:gd name="T68" fmla="*/ 444 w 2719"/>
                    <a:gd name="T69" fmla="*/ 525 h 2841"/>
                    <a:gd name="T70" fmla="*/ 370 w 2719"/>
                    <a:gd name="T71" fmla="*/ 611 h 2841"/>
                    <a:gd name="T72" fmla="*/ 301 w 2719"/>
                    <a:gd name="T73" fmla="*/ 702 h 2841"/>
                    <a:gd name="T74" fmla="*/ 238 w 2719"/>
                    <a:gd name="T75" fmla="*/ 797 h 2841"/>
                    <a:gd name="T76" fmla="*/ 182 w 2719"/>
                    <a:gd name="T77" fmla="*/ 897 h 2841"/>
                    <a:gd name="T78" fmla="*/ 134 w 2719"/>
                    <a:gd name="T79" fmla="*/ 1001 h 2841"/>
                    <a:gd name="T80" fmla="*/ 91 w 2719"/>
                    <a:gd name="T81" fmla="*/ 1109 h 2841"/>
                    <a:gd name="T82" fmla="*/ 56 w 2719"/>
                    <a:gd name="T83" fmla="*/ 1221 h 2841"/>
                    <a:gd name="T84" fmla="*/ 30 w 2719"/>
                    <a:gd name="T85" fmla="*/ 1336 h 2841"/>
                    <a:gd name="T86" fmla="*/ 12 w 2719"/>
                    <a:gd name="T87" fmla="*/ 1453 h 2841"/>
                    <a:gd name="T88" fmla="*/ 1 w 2719"/>
                    <a:gd name="T89" fmla="*/ 1573 h 2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19" h="2841">
                      <a:moveTo>
                        <a:pt x="0" y="1655"/>
                      </a:moveTo>
                      <a:lnTo>
                        <a:pt x="0" y="1655"/>
                      </a:lnTo>
                      <a:lnTo>
                        <a:pt x="0" y="1697"/>
                      </a:lnTo>
                      <a:lnTo>
                        <a:pt x="2" y="1741"/>
                      </a:lnTo>
                      <a:lnTo>
                        <a:pt x="5" y="1784"/>
                      </a:lnTo>
                      <a:lnTo>
                        <a:pt x="8" y="1826"/>
                      </a:lnTo>
                      <a:lnTo>
                        <a:pt x="14" y="1869"/>
                      </a:lnTo>
                      <a:lnTo>
                        <a:pt x="20" y="1910"/>
                      </a:lnTo>
                      <a:lnTo>
                        <a:pt x="27" y="1952"/>
                      </a:lnTo>
                      <a:lnTo>
                        <a:pt x="35" y="1993"/>
                      </a:lnTo>
                      <a:lnTo>
                        <a:pt x="44" y="2035"/>
                      </a:lnTo>
                      <a:lnTo>
                        <a:pt x="53" y="2075"/>
                      </a:lnTo>
                      <a:lnTo>
                        <a:pt x="65" y="2115"/>
                      </a:lnTo>
                      <a:lnTo>
                        <a:pt x="76" y="2155"/>
                      </a:lnTo>
                      <a:lnTo>
                        <a:pt x="90" y="2194"/>
                      </a:lnTo>
                      <a:lnTo>
                        <a:pt x="104" y="2233"/>
                      </a:lnTo>
                      <a:lnTo>
                        <a:pt x="119" y="2271"/>
                      </a:lnTo>
                      <a:lnTo>
                        <a:pt x="134" y="2309"/>
                      </a:lnTo>
                      <a:lnTo>
                        <a:pt x="151" y="2347"/>
                      </a:lnTo>
                      <a:lnTo>
                        <a:pt x="168" y="2384"/>
                      </a:lnTo>
                      <a:lnTo>
                        <a:pt x="187" y="2419"/>
                      </a:lnTo>
                      <a:lnTo>
                        <a:pt x="206" y="2456"/>
                      </a:lnTo>
                      <a:lnTo>
                        <a:pt x="226" y="2491"/>
                      </a:lnTo>
                      <a:lnTo>
                        <a:pt x="248" y="2525"/>
                      </a:lnTo>
                      <a:lnTo>
                        <a:pt x="269" y="2560"/>
                      </a:lnTo>
                      <a:lnTo>
                        <a:pt x="291" y="2593"/>
                      </a:lnTo>
                      <a:lnTo>
                        <a:pt x="314" y="2627"/>
                      </a:lnTo>
                      <a:lnTo>
                        <a:pt x="339" y="2659"/>
                      </a:lnTo>
                      <a:lnTo>
                        <a:pt x="364" y="2691"/>
                      </a:lnTo>
                      <a:lnTo>
                        <a:pt x="389" y="2722"/>
                      </a:lnTo>
                      <a:lnTo>
                        <a:pt x="416" y="2753"/>
                      </a:lnTo>
                      <a:lnTo>
                        <a:pt x="443" y="2783"/>
                      </a:lnTo>
                      <a:lnTo>
                        <a:pt x="471" y="2812"/>
                      </a:lnTo>
                      <a:lnTo>
                        <a:pt x="500" y="2841"/>
                      </a:lnTo>
                      <a:lnTo>
                        <a:pt x="2719" y="621"/>
                      </a:lnTo>
                      <a:lnTo>
                        <a:pt x="2719" y="621"/>
                      </a:lnTo>
                      <a:lnTo>
                        <a:pt x="2697" y="598"/>
                      </a:lnTo>
                      <a:lnTo>
                        <a:pt x="2676" y="576"/>
                      </a:lnTo>
                      <a:lnTo>
                        <a:pt x="2676" y="576"/>
                      </a:lnTo>
                      <a:lnTo>
                        <a:pt x="2672" y="574"/>
                      </a:lnTo>
                      <a:lnTo>
                        <a:pt x="2672" y="574"/>
                      </a:lnTo>
                      <a:lnTo>
                        <a:pt x="2630" y="535"/>
                      </a:lnTo>
                      <a:lnTo>
                        <a:pt x="2586" y="497"/>
                      </a:lnTo>
                      <a:lnTo>
                        <a:pt x="2541" y="460"/>
                      </a:lnTo>
                      <a:lnTo>
                        <a:pt x="2495" y="424"/>
                      </a:lnTo>
                      <a:lnTo>
                        <a:pt x="2449" y="390"/>
                      </a:lnTo>
                      <a:lnTo>
                        <a:pt x="2402" y="356"/>
                      </a:lnTo>
                      <a:lnTo>
                        <a:pt x="2353" y="325"/>
                      </a:lnTo>
                      <a:lnTo>
                        <a:pt x="2304" y="294"/>
                      </a:lnTo>
                      <a:lnTo>
                        <a:pt x="2304" y="294"/>
                      </a:lnTo>
                      <a:lnTo>
                        <a:pt x="2282" y="280"/>
                      </a:lnTo>
                      <a:lnTo>
                        <a:pt x="2282" y="280"/>
                      </a:lnTo>
                      <a:lnTo>
                        <a:pt x="2217" y="243"/>
                      </a:lnTo>
                      <a:lnTo>
                        <a:pt x="2184" y="226"/>
                      </a:lnTo>
                      <a:lnTo>
                        <a:pt x="2151" y="209"/>
                      </a:lnTo>
                      <a:lnTo>
                        <a:pt x="2151" y="209"/>
                      </a:lnTo>
                      <a:lnTo>
                        <a:pt x="2147" y="207"/>
                      </a:lnTo>
                      <a:lnTo>
                        <a:pt x="2147" y="207"/>
                      </a:lnTo>
                      <a:lnTo>
                        <a:pt x="2095" y="181"/>
                      </a:lnTo>
                      <a:lnTo>
                        <a:pt x="2042" y="157"/>
                      </a:lnTo>
                      <a:lnTo>
                        <a:pt x="1988" y="134"/>
                      </a:lnTo>
                      <a:lnTo>
                        <a:pt x="1934" y="112"/>
                      </a:lnTo>
                      <a:lnTo>
                        <a:pt x="1879" y="93"/>
                      </a:lnTo>
                      <a:lnTo>
                        <a:pt x="1823" y="74"/>
                      </a:lnTo>
                      <a:lnTo>
                        <a:pt x="1766" y="57"/>
                      </a:lnTo>
                      <a:lnTo>
                        <a:pt x="1709" y="41"/>
                      </a:lnTo>
                      <a:lnTo>
                        <a:pt x="1709" y="41"/>
                      </a:lnTo>
                      <a:lnTo>
                        <a:pt x="1679" y="33"/>
                      </a:lnTo>
                      <a:lnTo>
                        <a:pt x="1679" y="33"/>
                      </a:lnTo>
                      <a:lnTo>
                        <a:pt x="1605" y="15"/>
                      </a:lnTo>
                      <a:lnTo>
                        <a:pt x="1568" y="8"/>
                      </a:lnTo>
                      <a:lnTo>
                        <a:pt x="1531" y="0"/>
                      </a:lnTo>
                      <a:lnTo>
                        <a:pt x="1531" y="0"/>
                      </a:lnTo>
                      <a:lnTo>
                        <a:pt x="1491" y="5"/>
                      </a:lnTo>
                      <a:lnTo>
                        <a:pt x="1451" y="8"/>
                      </a:lnTo>
                      <a:lnTo>
                        <a:pt x="1412" y="14"/>
                      </a:lnTo>
                      <a:lnTo>
                        <a:pt x="1372" y="21"/>
                      </a:lnTo>
                      <a:lnTo>
                        <a:pt x="1333" y="28"/>
                      </a:lnTo>
                      <a:lnTo>
                        <a:pt x="1295" y="36"/>
                      </a:lnTo>
                      <a:lnTo>
                        <a:pt x="1257" y="45"/>
                      </a:lnTo>
                      <a:lnTo>
                        <a:pt x="1219" y="55"/>
                      </a:lnTo>
                      <a:lnTo>
                        <a:pt x="1181" y="66"/>
                      </a:lnTo>
                      <a:lnTo>
                        <a:pt x="1144" y="78"/>
                      </a:lnTo>
                      <a:lnTo>
                        <a:pt x="1108" y="90"/>
                      </a:lnTo>
                      <a:lnTo>
                        <a:pt x="1072" y="103"/>
                      </a:lnTo>
                      <a:lnTo>
                        <a:pt x="1036" y="117"/>
                      </a:lnTo>
                      <a:lnTo>
                        <a:pt x="1001" y="132"/>
                      </a:lnTo>
                      <a:lnTo>
                        <a:pt x="965" y="148"/>
                      </a:lnTo>
                      <a:lnTo>
                        <a:pt x="930" y="164"/>
                      </a:lnTo>
                      <a:lnTo>
                        <a:pt x="896" y="181"/>
                      </a:lnTo>
                      <a:lnTo>
                        <a:pt x="862" y="200"/>
                      </a:lnTo>
                      <a:lnTo>
                        <a:pt x="829" y="218"/>
                      </a:lnTo>
                      <a:lnTo>
                        <a:pt x="797" y="238"/>
                      </a:lnTo>
                      <a:lnTo>
                        <a:pt x="765" y="258"/>
                      </a:lnTo>
                      <a:lnTo>
                        <a:pt x="732" y="279"/>
                      </a:lnTo>
                      <a:lnTo>
                        <a:pt x="701" y="301"/>
                      </a:lnTo>
                      <a:lnTo>
                        <a:pt x="670" y="323"/>
                      </a:lnTo>
                      <a:lnTo>
                        <a:pt x="640" y="346"/>
                      </a:lnTo>
                      <a:lnTo>
                        <a:pt x="610" y="370"/>
                      </a:lnTo>
                      <a:lnTo>
                        <a:pt x="581" y="394"/>
                      </a:lnTo>
                      <a:lnTo>
                        <a:pt x="553" y="418"/>
                      </a:lnTo>
                      <a:lnTo>
                        <a:pt x="524" y="445"/>
                      </a:lnTo>
                      <a:lnTo>
                        <a:pt x="497" y="470"/>
                      </a:lnTo>
                      <a:lnTo>
                        <a:pt x="470" y="498"/>
                      </a:lnTo>
                      <a:lnTo>
                        <a:pt x="444" y="525"/>
                      </a:lnTo>
                      <a:lnTo>
                        <a:pt x="419" y="553"/>
                      </a:lnTo>
                      <a:lnTo>
                        <a:pt x="394" y="582"/>
                      </a:lnTo>
                      <a:lnTo>
                        <a:pt x="370" y="611"/>
                      </a:lnTo>
                      <a:lnTo>
                        <a:pt x="345" y="641"/>
                      </a:lnTo>
                      <a:lnTo>
                        <a:pt x="322" y="671"/>
                      </a:lnTo>
                      <a:lnTo>
                        <a:pt x="301" y="702"/>
                      </a:lnTo>
                      <a:lnTo>
                        <a:pt x="279" y="733"/>
                      </a:lnTo>
                      <a:lnTo>
                        <a:pt x="258" y="765"/>
                      </a:lnTo>
                      <a:lnTo>
                        <a:pt x="238" y="797"/>
                      </a:lnTo>
                      <a:lnTo>
                        <a:pt x="219" y="831"/>
                      </a:lnTo>
                      <a:lnTo>
                        <a:pt x="200" y="864"/>
                      </a:lnTo>
                      <a:lnTo>
                        <a:pt x="182" y="897"/>
                      </a:lnTo>
                      <a:lnTo>
                        <a:pt x="165" y="932"/>
                      </a:lnTo>
                      <a:lnTo>
                        <a:pt x="149" y="966"/>
                      </a:lnTo>
                      <a:lnTo>
                        <a:pt x="134" y="1001"/>
                      </a:lnTo>
                      <a:lnTo>
                        <a:pt x="119" y="1037"/>
                      </a:lnTo>
                      <a:lnTo>
                        <a:pt x="105" y="1073"/>
                      </a:lnTo>
                      <a:lnTo>
                        <a:pt x="91" y="1109"/>
                      </a:lnTo>
                      <a:lnTo>
                        <a:pt x="80" y="1146"/>
                      </a:lnTo>
                      <a:lnTo>
                        <a:pt x="68" y="1183"/>
                      </a:lnTo>
                      <a:lnTo>
                        <a:pt x="56" y="1221"/>
                      </a:lnTo>
                      <a:lnTo>
                        <a:pt x="47" y="1259"/>
                      </a:lnTo>
                      <a:lnTo>
                        <a:pt x="38" y="1297"/>
                      </a:lnTo>
                      <a:lnTo>
                        <a:pt x="30" y="1336"/>
                      </a:lnTo>
                      <a:lnTo>
                        <a:pt x="23" y="1374"/>
                      </a:lnTo>
                      <a:lnTo>
                        <a:pt x="17" y="1413"/>
                      </a:lnTo>
                      <a:lnTo>
                        <a:pt x="12" y="1453"/>
                      </a:lnTo>
                      <a:lnTo>
                        <a:pt x="7" y="1493"/>
                      </a:lnTo>
                      <a:lnTo>
                        <a:pt x="4" y="1533"/>
                      </a:lnTo>
                      <a:lnTo>
                        <a:pt x="1" y="1573"/>
                      </a:lnTo>
                      <a:lnTo>
                        <a:pt x="0" y="1613"/>
                      </a:lnTo>
                      <a:lnTo>
                        <a:pt x="0" y="1655"/>
                      </a:lnTo>
                      <a:close/>
                    </a:path>
                  </a:pathLst>
                </a:custGeom>
                <a:solidFill>
                  <a:srgbClr val="B8A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9" name="Freeform 272"/>
                <p:cNvSpPr>
                  <a:spLocks/>
                </p:cNvSpPr>
                <p:nvPr/>
              </p:nvSpPr>
              <p:spPr bwMode="auto">
                <a:xfrm>
                  <a:off x="2963863" y="2889250"/>
                  <a:ext cx="617538" cy="644525"/>
                </a:xfrm>
                <a:custGeom>
                  <a:avLst/>
                  <a:gdLst>
                    <a:gd name="T0" fmla="*/ 0 w 2719"/>
                    <a:gd name="T1" fmla="*/ 1697 h 2841"/>
                    <a:gd name="T2" fmla="*/ 8 w 2719"/>
                    <a:gd name="T3" fmla="*/ 1826 h 2841"/>
                    <a:gd name="T4" fmla="*/ 27 w 2719"/>
                    <a:gd name="T5" fmla="*/ 1952 h 2841"/>
                    <a:gd name="T6" fmla="*/ 53 w 2719"/>
                    <a:gd name="T7" fmla="*/ 2075 h 2841"/>
                    <a:gd name="T8" fmla="*/ 90 w 2719"/>
                    <a:gd name="T9" fmla="*/ 2194 h 2841"/>
                    <a:gd name="T10" fmla="*/ 134 w 2719"/>
                    <a:gd name="T11" fmla="*/ 2309 h 2841"/>
                    <a:gd name="T12" fmla="*/ 187 w 2719"/>
                    <a:gd name="T13" fmla="*/ 2419 h 2841"/>
                    <a:gd name="T14" fmla="*/ 248 w 2719"/>
                    <a:gd name="T15" fmla="*/ 2525 h 2841"/>
                    <a:gd name="T16" fmla="*/ 314 w 2719"/>
                    <a:gd name="T17" fmla="*/ 2627 h 2841"/>
                    <a:gd name="T18" fmla="*/ 389 w 2719"/>
                    <a:gd name="T19" fmla="*/ 2722 h 2841"/>
                    <a:gd name="T20" fmla="*/ 471 w 2719"/>
                    <a:gd name="T21" fmla="*/ 2812 h 2841"/>
                    <a:gd name="T22" fmla="*/ 2719 w 2719"/>
                    <a:gd name="T23" fmla="*/ 621 h 2841"/>
                    <a:gd name="T24" fmla="*/ 2676 w 2719"/>
                    <a:gd name="T25" fmla="*/ 576 h 2841"/>
                    <a:gd name="T26" fmla="*/ 2630 w 2719"/>
                    <a:gd name="T27" fmla="*/ 535 h 2841"/>
                    <a:gd name="T28" fmla="*/ 2495 w 2719"/>
                    <a:gd name="T29" fmla="*/ 424 h 2841"/>
                    <a:gd name="T30" fmla="*/ 2353 w 2719"/>
                    <a:gd name="T31" fmla="*/ 325 h 2841"/>
                    <a:gd name="T32" fmla="*/ 2282 w 2719"/>
                    <a:gd name="T33" fmla="*/ 280 h 2841"/>
                    <a:gd name="T34" fmla="*/ 2184 w 2719"/>
                    <a:gd name="T35" fmla="*/ 226 h 2841"/>
                    <a:gd name="T36" fmla="*/ 2147 w 2719"/>
                    <a:gd name="T37" fmla="*/ 207 h 2841"/>
                    <a:gd name="T38" fmla="*/ 2042 w 2719"/>
                    <a:gd name="T39" fmla="*/ 157 h 2841"/>
                    <a:gd name="T40" fmla="*/ 1879 w 2719"/>
                    <a:gd name="T41" fmla="*/ 93 h 2841"/>
                    <a:gd name="T42" fmla="*/ 1709 w 2719"/>
                    <a:gd name="T43" fmla="*/ 41 h 2841"/>
                    <a:gd name="T44" fmla="*/ 1679 w 2719"/>
                    <a:gd name="T45" fmla="*/ 33 h 2841"/>
                    <a:gd name="T46" fmla="*/ 1531 w 2719"/>
                    <a:gd name="T47" fmla="*/ 0 h 2841"/>
                    <a:gd name="T48" fmla="*/ 1451 w 2719"/>
                    <a:gd name="T49" fmla="*/ 8 h 2841"/>
                    <a:gd name="T50" fmla="*/ 1333 w 2719"/>
                    <a:gd name="T51" fmla="*/ 28 h 2841"/>
                    <a:gd name="T52" fmla="*/ 1219 w 2719"/>
                    <a:gd name="T53" fmla="*/ 55 h 2841"/>
                    <a:gd name="T54" fmla="*/ 1108 w 2719"/>
                    <a:gd name="T55" fmla="*/ 90 h 2841"/>
                    <a:gd name="T56" fmla="*/ 1001 w 2719"/>
                    <a:gd name="T57" fmla="*/ 132 h 2841"/>
                    <a:gd name="T58" fmla="*/ 896 w 2719"/>
                    <a:gd name="T59" fmla="*/ 181 h 2841"/>
                    <a:gd name="T60" fmla="*/ 797 w 2719"/>
                    <a:gd name="T61" fmla="*/ 238 h 2841"/>
                    <a:gd name="T62" fmla="*/ 701 w 2719"/>
                    <a:gd name="T63" fmla="*/ 301 h 2841"/>
                    <a:gd name="T64" fmla="*/ 610 w 2719"/>
                    <a:gd name="T65" fmla="*/ 370 h 2841"/>
                    <a:gd name="T66" fmla="*/ 524 w 2719"/>
                    <a:gd name="T67" fmla="*/ 445 h 2841"/>
                    <a:gd name="T68" fmla="*/ 444 w 2719"/>
                    <a:gd name="T69" fmla="*/ 525 h 2841"/>
                    <a:gd name="T70" fmla="*/ 370 w 2719"/>
                    <a:gd name="T71" fmla="*/ 611 h 2841"/>
                    <a:gd name="T72" fmla="*/ 301 w 2719"/>
                    <a:gd name="T73" fmla="*/ 702 h 2841"/>
                    <a:gd name="T74" fmla="*/ 238 w 2719"/>
                    <a:gd name="T75" fmla="*/ 797 h 2841"/>
                    <a:gd name="T76" fmla="*/ 182 w 2719"/>
                    <a:gd name="T77" fmla="*/ 897 h 2841"/>
                    <a:gd name="T78" fmla="*/ 134 w 2719"/>
                    <a:gd name="T79" fmla="*/ 1001 h 2841"/>
                    <a:gd name="T80" fmla="*/ 91 w 2719"/>
                    <a:gd name="T81" fmla="*/ 1109 h 2841"/>
                    <a:gd name="T82" fmla="*/ 56 w 2719"/>
                    <a:gd name="T83" fmla="*/ 1221 h 2841"/>
                    <a:gd name="T84" fmla="*/ 30 w 2719"/>
                    <a:gd name="T85" fmla="*/ 1336 h 2841"/>
                    <a:gd name="T86" fmla="*/ 12 w 2719"/>
                    <a:gd name="T87" fmla="*/ 1453 h 2841"/>
                    <a:gd name="T88" fmla="*/ 1 w 2719"/>
                    <a:gd name="T89" fmla="*/ 1573 h 2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19" h="2841">
                      <a:moveTo>
                        <a:pt x="0" y="1655"/>
                      </a:moveTo>
                      <a:lnTo>
                        <a:pt x="0" y="1655"/>
                      </a:lnTo>
                      <a:lnTo>
                        <a:pt x="0" y="1697"/>
                      </a:lnTo>
                      <a:lnTo>
                        <a:pt x="2" y="1741"/>
                      </a:lnTo>
                      <a:lnTo>
                        <a:pt x="5" y="1784"/>
                      </a:lnTo>
                      <a:lnTo>
                        <a:pt x="8" y="1826"/>
                      </a:lnTo>
                      <a:lnTo>
                        <a:pt x="14" y="1869"/>
                      </a:lnTo>
                      <a:lnTo>
                        <a:pt x="20" y="1910"/>
                      </a:lnTo>
                      <a:lnTo>
                        <a:pt x="27" y="1952"/>
                      </a:lnTo>
                      <a:lnTo>
                        <a:pt x="35" y="1993"/>
                      </a:lnTo>
                      <a:lnTo>
                        <a:pt x="44" y="2035"/>
                      </a:lnTo>
                      <a:lnTo>
                        <a:pt x="53" y="2075"/>
                      </a:lnTo>
                      <a:lnTo>
                        <a:pt x="65" y="2115"/>
                      </a:lnTo>
                      <a:lnTo>
                        <a:pt x="76" y="2155"/>
                      </a:lnTo>
                      <a:lnTo>
                        <a:pt x="90" y="2194"/>
                      </a:lnTo>
                      <a:lnTo>
                        <a:pt x="104" y="2233"/>
                      </a:lnTo>
                      <a:lnTo>
                        <a:pt x="119" y="2271"/>
                      </a:lnTo>
                      <a:lnTo>
                        <a:pt x="134" y="2309"/>
                      </a:lnTo>
                      <a:lnTo>
                        <a:pt x="151" y="2347"/>
                      </a:lnTo>
                      <a:lnTo>
                        <a:pt x="168" y="2384"/>
                      </a:lnTo>
                      <a:lnTo>
                        <a:pt x="187" y="2419"/>
                      </a:lnTo>
                      <a:lnTo>
                        <a:pt x="206" y="2456"/>
                      </a:lnTo>
                      <a:lnTo>
                        <a:pt x="226" y="2491"/>
                      </a:lnTo>
                      <a:lnTo>
                        <a:pt x="248" y="2525"/>
                      </a:lnTo>
                      <a:lnTo>
                        <a:pt x="269" y="2560"/>
                      </a:lnTo>
                      <a:lnTo>
                        <a:pt x="291" y="2593"/>
                      </a:lnTo>
                      <a:lnTo>
                        <a:pt x="314" y="2627"/>
                      </a:lnTo>
                      <a:lnTo>
                        <a:pt x="339" y="2659"/>
                      </a:lnTo>
                      <a:lnTo>
                        <a:pt x="364" y="2691"/>
                      </a:lnTo>
                      <a:lnTo>
                        <a:pt x="389" y="2722"/>
                      </a:lnTo>
                      <a:lnTo>
                        <a:pt x="416" y="2753"/>
                      </a:lnTo>
                      <a:lnTo>
                        <a:pt x="443" y="2783"/>
                      </a:lnTo>
                      <a:lnTo>
                        <a:pt x="471" y="2812"/>
                      </a:lnTo>
                      <a:lnTo>
                        <a:pt x="500" y="2841"/>
                      </a:lnTo>
                      <a:lnTo>
                        <a:pt x="2719" y="621"/>
                      </a:lnTo>
                      <a:lnTo>
                        <a:pt x="2719" y="621"/>
                      </a:lnTo>
                      <a:lnTo>
                        <a:pt x="2697" y="598"/>
                      </a:lnTo>
                      <a:lnTo>
                        <a:pt x="2676" y="576"/>
                      </a:lnTo>
                      <a:lnTo>
                        <a:pt x="2676" y="576"/>
                      </a:lnTo>
                      <a:lnTo>
                        <a:pt x="2672" y="574"/>
                      </a:lnTo>
                      <a:lnTo>
                        <a:pt x="2672" y="574"/>
                      </a:lnTo>
                      <a:lnTo>
                        <a:pt x="2630" y="535"/>
                      </a:lnTo>
                      <a:lnTo>
                        <a:pt x="2586" y="497"/>
                      </a:lnTo>
                      <a:lnTo>
                        <a:pt x="2541" y="460"/>
                      </a:lnTo>
                      <a:lnTo>
                        <a:pt x="2495" y="424"/>
                      </a:lnTo>
                      <a:lnTo>
                        <a:pt x="2449" y="390"/>
                      </a:lnTo>
                      <a:lnTo>
                        <a:pt x="2402" y="356"/>
                      </a:lnTo>
                      <a:lnTo>
                        <a:pt x="2353" y="325"/>
                      </a:lnTo>
                      <a:lnTo>
                        <a:pt x="2304" y="294"/>
                      </a:lnTo>
                      <a:lnTo>
                        <a:pt x="2304" y="294"/>
                      </a:lnTo>
                      <a:lnTo>
                        <a:pt x="2282" y="280"/>
                      </a:lnTo>
                      <a:lnTo>
                        <a:pt x="2282" y="280"/>
                      </a:lnTo>
                      <a:lnTo>
                        <a:pt x="2217" y="243"/>
                      </a:lnTo>
                      <a:lnTo>
                        <a:pt x="2184" y="226"/>
                      </a:lnTo>
                      <a:lnTo>
                        <a:pt x="2151" y="209"/>
                      </a:lnTo>
                      <a:lnTo>
                        <a:pt x="2151" y="209"/>
                      </a:lnTo>
                      <a:lnTo>
                        <a:pt x="2147" y="207"/>
                      </a:lnTo>
                      <a:lnTo>
                        <a:pt x="2147" y="207"/>
                      </a:lnTo>
                      <a:lnTo>
                        <a:pt x="2095" y="181"/>
                      </a:lnTo>
                      <a:lnTo>
                        <a:pt x="2042" y="157"/>
                      </a:lnTo>
                      <a:lnTo>
                        <a:pt x="1988" y="134"/>
                      </a:lnTo>
                      <a:lnTo>
                        <a:pt x="1934" y="112"/>
                      </a:lnTo>
                      <a:lnTo>
                        <a:pt x="1879" y="93"/>
                      </a:lnTo>
                      <a:lnTo>
                        <a:pt x="1823" y="74"/>
                      </a:lnTo>
                      <a:lnTo>
                        <a:pt x="1766" y="57"/>
                      </a:lnTo>
                      <a:lnTo>
                        <a:pt x="1709" y="41"/>
                      </a:lnTo>
                      <a:lnTo>
                        <a:pt x="1709" y="41"/>
                      </a:lnTo>
                      <a:lnTo>
                        <a:pt x="1679" y="33"/>
                      </a:lnTo>
                      <a:lnTo>
                        <a:pt x="1679" y="33"/>
                      </a:lnTo>
                      <a:lnTo>
                        <a:pt x="1605" y="15"/>
                      </a:lnTo>
                      <a:lnTo>
                        <a:pt x="1568" y="8"/>
                      </a:lnTo>
                      <a:lnTo>
                        <a:pt x="1531" y="0"/>
                      </a:lnTo>
                      <a:lnTo>
                        <a:pt x="1531" y="0"/>
                      </a:lnTo>
                      <a:lnTo>
                        <a:pt x="1491" y="5"/>
                      </a:lnTo>
                      <a:lnTo>
                        <a:pt x="1451" y="8"/>
                      </a:lnTo>
                      <a:lnTo>
                        <a:pt x="1412" y="14"/>
                      </a:lnTo>
                      <a:lnTo>
                        <a:pt x="1372" y="21"/>
                      </a:lnTo>
                      <a:lnTo>
                        <a:pt x="1333" y="28"/>
                      </a:lnTo>
                      <a:lnTo>
                        <a:pt x="1295" y="36"/>
                      </a:lnTo>
                      <a:lnTo>
                        <a:pt x="1257" y="45"/>
                      </a:lnTo>
                      <a:lnTo>
                        <a:pt x="1219" y="55"/>
                      </a:lnTo>
                      <a:lnTo>
                        <a:pt x="1181" y="66"/>
                      </a:lnTo>
                      <a:lnTo>
                        <a:pt x="1144" y="78"/>
                      </a:lnTo>
                      <a:lnTo>
                        <a:pt x="1108" y="90"/>
                      </a:lnTo>
                      <a:lnTo>
                        <a:pt x="1072" y="103"/>
                      </a:lnTo>
                      <a:lnTo>
                        <a:pt x="1036" y="117"/>
                      </a:lnTo>
                      <a:lnTo>
                        <a:pt x="1001" y="132"/>
                      </a:lnTo>
                      <a:lnTo>
                        <a:pt x="965" y="148"/>
                      </a:lnTo>
                      <a:lnTo>
                        <a:pt x="930" y="164"/>
                      </a:lnTo>
                      <a:lnTo>
                        <a:pt x="896" y="181"/>
                      </a:lnTo>
                      <a:lnTo>
                        <a:pt x="862" y="200"/>
                      </a:lnTo>
                      <a:lnTo>
                        <a:pt x="829" y="218"/>
                      </a:lnTo>
                      <a:lnTo>
                        <a:pt x="797" y="238"/>
                      </a:lnTo>
                      <a:lnTo>
                        <a:pt x="765" y="258"/>
                      </a:lnTo>
                      <a:lnTo>
                        <a:pt x="732" y="279"/>
                      </a:lnTo>
                      <a:lnTo>
                        <a:pt x="701" y="301"/>
                      </a:lnTo>
                      <a:lnTo>
                        <a:pt x="670" y="323"/>
                      </a:lnTo>
                      <a:lnTo>
                        <a:pt x="640" y="346"/>
                      </a:lnTo>
                      <a:lnTo>
                        <a:pt x="610" y="370"/>
                      </a:lnTo>
                      <a:lnTo>
                        <a:pt x="581" y="394"/>
                      </a:lnTo>
                      <a:lnTo>
                        <a:pt x="553" y="418"/>
                      </a:lnTo>
                      <a:lnTo>
                        <a:pt x="524" y="445"/>
                      </a:lnTo>
                      <a:lnTo>
                        <a:pt x="497" y="470"/>
                      </a:lnTo>
                      <a:lnTo>
                        <a:pt x="470" y="498"/>
                      </a:lnTo>
                      <a:lnTo>
                        <a:pt x="444" y="525"/>
                      </a:lnTo>
                      <a:lnTo>
                        <a:pt x="419" y="553"/>
                      </a:lnTo>
                      <a:lnTo>
                        <a:pt x="394" y="582"/>
                      </a:lnTo>
                      <a:lnTo>
                        <a:pt x="370" y="611"/>
                      </a:lnTo>
                      <a:lnTo>
                        <a:pt x="345" y="641"/>
                      </a:lnTo>
                      <a:lnTo>
                        <a:pt x="322" y="671"/>
                      </a:lnTo>
                      <a:lnTo>
                        <a:pt x="301" y="702"/>
                      </a:lnTo>
                      <a:lnTo>
                        <a:pt x="279" y="733"/>
                      </a:lnTo>
                      <a:lnTo>
                        <a:pt x="258" y="765"/>
                      </a:lnTo>
                      <a:lnTo>
                        <a:pt x="238" y="797"/>
                      </a:lnTo>
                      <a:lnTo>
                        <a:pt x="219" y="831"/>
                      </a:lnTo>
                      <a:lnTo>
                        <a:pt x="200" y="864"/>
                      </a:lnTo>
                      <a:lnTo>
                        <a:pt x="182" y="897"/>
                      </a:lnTo>
                      <a:lnTo>
                        <a:pt x="165" y="932"/>
                      </a:lnTo>
                      <a:lnTo>
                        <a:pt x="149" y="966"/>
                      </a:lnTo>
                      <a:lnTo>
                        <a:pt x="134" y="1001"/>
                      </a:lnTo>
                      <a:lnTo>
                        <a:pt x="119" y="1037"/>
                      </a:lnTo>
                      <a:lnTo>
                        <a:pt x="105" y="1073"/>
                      </a:lnTo>
                      <a:lnTo>
                        <a:pt x="91" y="1109"/>
                      </a:lnTo>
                      <a:lnTo>
                        <a:pt x="80" y="1146"/>
                      </a:lnTo>
                      <a:lnTo>
                        <a:pt x="68" y="1183"/>
                      </a:lnTo>
                      <a:lnTo>
                        <a:pt x="56" y="1221"/>
                      </a:lnTo>
                      <a:lnTo>
                        <a:pt x="47" y="1259"/>
                      </a:lnTo>
                      <a:lnTo>
                        <a:pt x="38" y="1297"/>
                      </a:lnTo>
                      <a:lnTo>
                        <a:pt x="30" y="1336"/>
                      </a:lnTo>
                      <a:lnTo>
                        <a:pt x="23" y="1374"/>
                      </a:lnTo>
                      <a:lnTo>
                        <a:pt x="17" y="1413"/>
                      </a:lnTo>
                      <a:lnTo>
                        <a:pt x="12" y="1453"/>
                      </a:lnTo>
                      <a:lnTo>
                        <a:pt x="7" y="1493"/>
                      </a:lnTo>
                      <a:lnTo>
                        <a:pt x="4" y="1533"/>
                      </a:lnTo>
                      <a:lnTo>
                        <a:pt x="1" y="1573"/>
                      </a:lnTo>
                      <a:lnTo>
                        <a:pt x="0" y="1613"/>
                      </a:lnTo>
                      <a:lnTo>
                        <a:pt x="0" y="165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0" name="Freeform 273"/>
                <p:cNvSpPr>
                  <a:spLocks/>
                </p:cNvSpPr>
                <p:nvPr/>
              </p:nvSpPr>
              <p:spPr bwMode="auto">
                <a:xfrm>
                  <a:off x="2859088" y="3268663"/>
                  <a:ext cx="873125" cy="633413"/>
                </a:xfrm>
                <a:custGeom>
                  <a:avLst/>
                  <a:gdLst>
                    <a:gd name="T0" fmla="*/ 1712 w 3848"/>
                    <a:gd name="T1" fmla="*/ 2788 h 2792"/>
                    <a:gd name="T2" fmla="*/ 1940 w 3848"/>
                    <a:gd name="T3" fmla="*/ 2765 h 2792"/>
                    <a:gd name="T4" fmla="*/ 2160 w 3848"/>
                    <a:gd name="T5" fmla="*/ 2720 h 2792"/>
                    <a:gd name="T6" fmla="*/ 2371 w 3848"/>
                    <a:gd name="T7" fmla="*/ 2655 h 2792"/>
                    <a:gd name="T8" fmla="*/ 2573 w 3848"/>
                    <a:gd name="T9" fmla="*/ 2569 h 2792"/>
                    <a:gd name="T10" fmla="*/ 2765 w 3848"/>
                    <a:gd name="T11" fmla="*/ 2466 h 2792"/>
                    <a:gd name="T12" fmla="*/ 2944 w 3848"/>
                    <a:gd name="T13" fmla="*/ 2344 h 2792"/>
                    <a:gd name="T14" fmla="*/ 3111 w 3848"/>
                    <a:gd name="T15" fmla="*/ 2207 h 2792"/>
                    <a:gd name="T16" fmla="*/ 3263 w 3848"/>
                    <a:gd name="T17" fmla="*/ 2054 h 2792"/>
                    <a:gd name="T18" fmla="*/ 3401 w 3848"/>
                    <a:gd name="T19" fmla="*/ 1887 h 2792"/>
                    <a:gd name="T20" fmla="*/ 3522 w 3848"/>
                    <a:gd name="T21" fmla="*/ 1707 h 2792"/>
                    <a:gd name="T22" fmla="*/ 3627 w 3848"/>
                    <a:gd name="T23" fmla="*/ 1516 h 2792"/>
                    <a:gd name="T24" fmla="*/ 3712 w 3848"/>
                    <a:gd name="T25" fmla="*/ 1314 h 2792"/>
                    <a:gd name="T26" fmla="*/ 3778 w 3848"/>
                    <a:gd name="T27" fmla="*/ 1103 h 2792"/>
                    <a:gd name="T28" fmla="*/ 3823 w 3848"/>
                    <a:gd name="T29" fmla="*/ 883 h 2792"/>
                    <a:gd name="T30" fmla="*/ 3846 w 3848"/>
                    <a:gd name="T31" fmla="*/ 656 h 2792"/>
                    <a:gd name="T32" fmla="*/ 3847 w 3848"/>
                    <a:gd name="T33" fmla="*/ 471 h 2792"/>
                    <a:gd name="T34" fmla="*/ 3820 w 3848"/>
                    <a:gd name="T35" fmla="*/ 198 h 2792"/>
                    <a:gd name="T36" fmla="*/ 3780 w 3848"/>
                    <a:gd name="T37" fmla="*/ 0 h 2792"/>
                    <a:gd name="T38" fmla="*/ 3770 w 3848"/>
                    <a:gd name="T39" fmla="*/ 168 h 2792"/>
                    <a:gd name="T40" fmla="*/ 3743 w 3848"/>
                    <a:gd name="T41" fmla="*/ 330 h 2792"/>
                    <a:gd name="T42" fmla="*/ 3701 w 3848"/>
                    <a:gd name="T43" fmla="*/ 488 h 2792"/>
                    <a:gd name="T44" fmla="*/ 3644 w 3848"/>
                    <a:gd name="T45" fmla="*/ 639 h 2792"/>
                    <a:gd name="T46" fmla="*/ 3574 w 3848"/>
                    <a:gd name="T47" fmla="*/ 781 h 2792"/>
                    <a:gd name="T48" fmla="*/ 3491 w 3848"/>
                    <a:gd name="T49" fmla="*/ 916 h 2792"/>
                    <a:gd name="T50" fmla="*/ 3394 w 3848"/>
                    <a:gd name="T51" fmla="*/ 1043 h 2792"/>
                    <a:gd name="T52" fmla="*/ 3288 w 3848"/>
                    <a:gd name="T53" fmla="*/ 1159 h 2792"/>
                    <a:gd name="T54" fmla="*/ 3171 w 3848"/>
                    <a:gd name="T55" fmla="*/ 1265 h 2792"/>
                    <a:gd name="T56" fmla="*/ 3043 w 3848"/>
                    <a:gd name="T57" fmla="*/ 1359 h 2792"/>
                    <a:gd name="T58" fmla="*/ 2907 w 3848"/>
                    <a:gd name="T59" fmla="*/ 1441 h 2792"/>
                    <a:gd name="T60" fmla="*/ 2763 w 3848"/>
                    <a:gd name="T61" fmla="*/ 1510 h 2792"/>
                    <a:gd name="T62" fmla="*/ 2611 w 3848"/>
                    <a:gd name="T63" fmla="*/ 1565 h 2792"/>
                    <a:gd name="T64" fmla="*/ 2454 w 3848"/>
                    <a:gd name="T65" fmla="*/ 1606 h 2792"/>
                    <a:gd name="T66" fmla="*/ 2290 w 3848"/>
                    <a:gd name="T67" fmla="*/ 1630 h 2792"/>
                    <a:gd name="T68" fmla="*/ 2121 w 3848"/>
                    <a:gd name="T69" fmla="*/ 1638 h 2792"/>
                    <a:gd name="T70" fmla="*/ 1996 w 3848"/>
                    <a:gd name="T71" fmla="*/ 1633 h 2792"/>
                    <a:gd name="T72" fmla="*/ 1832 w 3848"/>
                    <a:gd name="T73" fmla="*/ 1614 h 2792"/>
                    <a:gd name="T74" fmla="*/ 1673 w 3848"/>
                    <a:gd name="T75" fmla="*/ 1577 h 2792"/>
                    <a:gd name="T76" fmla="*/ 1521 w 3848"/>
                    <a:gd name="T77" fmla="*/ 1526 h 2792"/>
                    <a:gd name="T78" fmla="*/ 1376 w 3848"/>
                    <a:gd name="T79" fmla="*/ 1462 h 2792"/>
                    <a:gd name="T80" fmla="*/ 1239 w 3848"/>
                    <a:gd name="T81" fmla="*/ 1384 h 2792"/>
                    <a:gd name="T82" fmla="*/ 1110 w 3848"/>
                    <a:gd name="T83" fmla="*/ 1294 h 2792"/>
                    <a:gd name="T84" fmla="*/ 990 w 3848"/>
                    <a:gd name="T85" fmla="*/ 1192 h 2792"/>
                    <a:gd name="T86" fmla="*/ 38 w 3848"/>
                    <a:gd name="T87" fmla="*/ 2164 h 2792"/>
                    <a:gd name="T88" fmla="*/ 202 w 3848"/>
                    <a:gd name="T89" fmla="*/ 2307 h 2792"/>
                    <a:gd name="T90" fmla="*/ 379 w 3848"/>
                    <a:gd name="T91" fmla="*/ 2434 h 2792"/>
                    <a:gd name="T92" fmla="*/ 568 w 3848"/>
                    <a:gd name="T93" fmla="*/ 2543 h 2792"/>
                    <a:gd name="T94" fmla="*/ 768 w 3848"/>
                    <a:gd name="T95" fmla="*/ 2634 h 2792"/>
                    <a:gd name="T96" fmla="*/ 978 w 3848"/>
                    <a:gd name="T97" fmla="*/ 2705 h 2792"/>
                    <a:gd name="T98" fmla="*/ 1197 w 3848"/>
                    <a:gd name="T99" fmla="*/ 2756 h 2792"/>
                    <a:gd name="T100" fmla="*/ 1423 w 3848"/>
                    <a:gd name="T101" fmla="*/ 2785 h 2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48" h="2792">
                      <a:moveTo>
                        <a:pt x="1597" y="2792"/>
                      </a:moveTo>
                      <a:lnTo>
                        <a:pt x="1597" y="2792"/>
                      </a:lnTo>
                      <a:lnTo>
                        <a:pt x="1655" y="2790"/>
                      </a:lnTo>
                      <a:lnTo>
                        <a:pt x="1712" y="2788"/>
                      </a:lnTo>
                      <a:lnTo>
                        <a:pt x="1770" y="2785"/>
                      </a:lnTo>
                      <a:lnTo>
                        <a:pt x="1827" y="2780"/>
                      </a:lnTo>
                      <a:lnTo>
                        <a:pt x="1884" y="2773"/>
                      </a:lnTo>
                      <a:lnTo>
                        <a:pt x="1940" y="2765"/>
                      </a:lnTo>
                      <a:lnTo>
                        <a:pt x="1996" y="2756"/>
                      </a:lnTo>
                      <a:lnTo>
                        <a:pt x="2051" y="2746"/>
                      </a:lnTo>
                      <a:lnTo>
                        <a:pt x="2105" y="2734"/>
                      </a:lnTo>
                      <a:lnTo>
                        <a:pt x="2160" y="2720"/>
                      </a:lnTo>
                      <a:lnTo>
                        <a:pt x="2213" y="2706"/>
                      </a:lnTo>
                      <a:lnTo>
                        <a:pt x="2266" y="2690"/>
                      </a:lnTo>
                      <a:lnTo>
                        <a:pt x="2319" y="2673"/>
                      </a:lnTo>
                      <a:lnTo>
                        <a:pt x="2371" y="2655"/>
                      </a:lnTo>
                      <a:lnTo>
                        <a:pt x="2423" y="2635"/>
                      </a:lnTo>
                      <a:lnTo>
                        <a:pt x="2473" y="2614"/>
                      </a:lnTo>
                      <a:lnTo>
                        <a:pt x="2524" y="2592"/>
                      </a:lnTo>
                      <a:lnTo>
                        <a:pt x="2573" y="2569"/>
                      </a:lnTo>
                      <a:lnTo>
                        <a:pt x="2622" y="2545"/>
                      </a:lnTo>
                      <a:lnTo>
                        <a:pt x="2670" y="2520"/>
                      </a:lnTo>
                      <a:lnTo>
                        <a:pt x="2717" y="2493"/>
                      </a:lnTo>
                      <a:lnTo>
                        <a:pt x="2765" y="2466"/>
                      </a:lnTo>
                      <a:lnTo>
                        <a:pt x="2811" y="2437"/>
                      </a:lnTo>
                      <a:lnTo>
                        <a:pt x="2856" y="2407"/>
                      </a:lnTo>
                      <a:lnTo>
                        <a:pt x="2900" y="2376"/>
                      </a:lnTo>
                      <a:lnTo>
                        <a:pt x="2944" y="2344"/>
                      </a:lnTo>
                      <a:lnTo>
                        <a:pt x="2987" y="2311"/>
                      </a:lnTo>
                      <a:lnTo>
                        <a:pt x="3029" y="2277"/>
                      </a:lnTo>
                      <a:lnTo>
                        <a:pt x="3071" y="2242"/>
                      </a:lnTo>
                      <a:lnTo>
                        <a:pt x="3111" y="2207"/>
                      </a:lnTo>
                      <a:lnTo>
                        <a:pt x="3150" y="2170"/>
                      </a:lnTo>
                      <a:lnTo>
                        <a:pt x="3189" y="2132"/>
                      </a:lnTo>
                      <a:lnTo>
                        <a:pt x="3226" y="2093"/>
                      </a:lnTo>
                      <a:lnTo>
                        <a:pt x="3263" y="2054"/>
                      </a:lnTo>
                      <a:lnTo>
                        <a:pt x="3300" y="2013"/>
                      </a:lnTo>
                      <a:lnTo>
                        <a:pt x="3334" y="1972"/>
                      </a:lnTo>
                      <a:lnTo>
                        <a:pt x="3368" y="1929"/>
                      </a:lnTo>
                      <a:lnTo>
                        <a:pt x="3401" y="1887"/>
                      </a:lnTo>
                      <a:lnTo>
                        <a:pt x="3433" y="1843"/>
                      </a:lnTo>
                      <a:lnTo>
                        <a:pt x="3463" y="1799"/>
                      </a:lnTo>
                      <a:lnTo>
                        <a:pt x="3493" y="1753"/>
                      </a:lnTo>
                      <a:lnTo>
                        <a:pt x="3522" y="1707"/>
                      </a:lnTo>
                      <a:lnTo>
                        <a:pt x="3550" y="1661"/>
                      </a:lnTo>
                      <a:lnTo>
                        <a:pt x="3576" y="1613"/>
                      </a:lnTo>
                      <a:lnTo>
                        <a:pt x="3602" y="1564"/>
                      </a:lnTo>
                      <a:lnTo>
                        <a:pt x="3627" y="1516"/>
                      </a:lnTo>
                      <a:lnTo>
                        <a:pt x="3650" y="1466"/>
                      </a:lnTo>
                      <a:lnTo>
                        <a:pt x="3672" y="1416"/>
                      </a:lnTo>
                      <a:lnTo>
                        <a:pt x="3693" y="1365"/>
                      </a:lnTo>
                      <a:lnTo>
                        <a:pt x="3712" y="1314"/>
                      </a:lnTo>
                      <a:lnTo>
                        <a:pt x="3731" y="1261"/>
                      </a:lnTo>
                      <a:lnTo>
                        <a:pt x="3748" y="1210"/>
                      </a:lnTo>
                      <a:lnTo>
                        <a:pt x="3763" y="1156"/>
                      </a:lnTo>
                      <a:lnTo>
                        <a:pt x="3778" y="1103"/>
                      </a:lnTo>
                      <a:lnTo>
                        <a:pt x="3790" y="1048"/>
                      </a:lnTo>
                      <a:lnTo>
                        <a:pt x="3803" y="993"/>
                      </a:lnTo>
                      <a:lnTo>
                        <a:pt x="3813" y="938"/>
                      </a:lnTo>
                      <a:lnTo>
                        <a:pt x="3823" y="883"/>
                      </a:lnTo>
                      <a:lnTo>
                        <a:pt x="3831" y="826"/>
                      </a:lnTo>
                      <a:lnTo>
                        <a:pt x="3836" y="770"/>
                      </a:lnTo>
                      <a:lnTo>
                        <a:pt x="3842" y="713"/>
                      </a:lnTo>
                      <a:lnTo>
                        <a:pt x="3846" y="656"/>
                      </a:lnTo>
                      <a:lnTo>
                        <a:pt x="3848" y="598"/>
                      </a:lnTo>
                      <a:lnTo>
                        <a:pt x="3848" y="540"/>
                      </a:lnTo>
                      <a:lnTo>
                        <a:pt x="3848" y="540"/>
                      </a:lnTo>
                      <a:lnTo>
                        <a:pt x="3847" y="471"/>
                      </a:lnTo>
                      <a:lnTo>
                        <a:pt x="3843" y="401"/>
                      </a:lnTo>
                      <a:lnTo>
                        <a:pt x="3839" y="332"/>
                      </a:lnTo>
                      <a:lnTo>
                        <a:pt x="3831" y="264"/>
                      </a:lnTo>
                      <a:lnTo>
                        <a:pt x="3820" y="198"/>
                      </a:lnTo>
                      <a:lnTo>
                        <a:pt x="3809" y="131"/>
                      </a:lnTo>
                      <a:lnTo>
                        <a:pt x="3796" y="65"/>
                      </a:lnTo>
                      <a:lnTo>
                        <a:pt x="3780" y="0"/>
                      </a:lnTo>
                      <a:lnTo>
                        <a:pt x="3780" y="0"/>
                      </a:lnTo>
                      <a:lnTo>
                        <a:pt x="3780" y="42"/>
                      </a:lnTo>
                      <a:lnTo>
                        <a:pt x="3778" y="84"/>
                      </a:lnTo>
                      <a:lnTo>
                        <a:pt x="3774" y="126"/>
                      </a:lnTo>
                      <a:lnTo>
                        <a:pt x="3770" y="168"/>
                      </a:lnTo>
                      <a:lnTo>
                        <a:pt x="3765" y="208"/>
                      </a:lnTo>
                      <a:lnTo>
                        <a:pt x="3758" y="249"/>
                      </a:lnTo>
                      <a:lnTo>
                        <a:pt x="3751" y="290"/>
                      </a:lnTo>
                      <a:lnTo>
                        <a:pt x="3743" y="330"/>
                      </a:lnTo>
                      <a:lnTo>
                        <a:pt x="3734" y="370"/>
                      </a:lnTo>
                      <a:lnTo>
                        <a:pt x="3724" y="409"/>
                      </a:lnTo>
                      <a:lnTo>
                        <a:pt x="3713" y="449"/>
                      </a:lnTo>
                      <a:lnTo>
                        <a:pt x="3701" y="488"/>
                      </a:lnTo>
                      <a:lnTo>
                        <a:pt x="3688" y="526"/>
                      </a:lnTo>
                      <a:lnTo>
                        <a:pt x="3674" y="564"/>
                      </a:lnTo>
                      <a:lnTo>
                        <a:pt x="3660" y="601"/>
                      </a:lnTo>
                      <a:lnTo>
                        <a:pt x="3644" y="639"/>
                      </a:lnTo>
                      <a:lnTo>
                        <a:pt x="3628" y="674"/>
                      </a:lnTo>
                      <a:lnTo>
                        <a:pt x="3611" y="711"/>
                      </a:lnTo>
                      <a:lnTo>
                        <a:pt x="3592" y="747"/>
                      </a:lnTo>
                      <a:lnTo>
                        <a:pt x="3574" y="781"/>
                      </a:lnTo>
                      <a:lnTo>
                        <a:pt x="3554" y="816"/>
                      </a:lnTo>
                      <a:lnTo>
                        <a:pt x="3534" y="850"/>
                      </a:lnTo>
                      <a:lnTo>
                        <a:pt x="3513" y="884"/>
                      </a:lnTo>
                      <a:lnTo>
                        <a:pt x="3491" y="916"/>
                      </a:lnTo>
                      <a:lnTo>
                        <a:pt x="3468" y="949"/>
                      </a:lnTo>
                      <a:lnTo>
                        <a:pt x="3444" y="981"/>
                      </a:lnTo>
                      <a:lnTo>
                        <a:pt x="3420" y="1012"/>
                      </a:lnTo>
                      <a:lnTo>
                        <a:pt x="3394" y="1043"/>
                      </a:lnTo>
                      <a:lnTo>
                        <a:pt x="3369" y="1073"/>
                      </a:lnTo>
                      <a:lnTo>
                        <a:pt x="3343" y="1103"/>
                      </a:lnTo>
                      <a:lnTo>
                        <a:pt x="3316" y="1131"/>
                      </a:lnTo>
                      <a:lnTo>
                        <a:pt x="3288" y="1159"/>
                      </a:lnTo>
                      <a:lnTo>
                        <a:pt x="3260" y="1187"/>
                      </a:lnTo>
                      <a:lnTo>
                        <a:pt x="3231" y="1213"/>
                      </a:lnTo>
                      <a:lnTo>
                        <a:pt x="3201" y="1240"/>
                      </a:lnTo>
                      <a:lnTo>
                        <a:pt x="3171" y="1265"/>
                      </a:lnTo>
                      <a:lnTo>
                        <a:pt x="3140" y="1289"/>
                      </a:lnTo>
                      <a:lnTo>
                        <a:pt x="3108" y="1313"/>
                      </a:lnTo>
                      <a:lnTo>
                        <a:pt x="3075" y="1336"/>
                      </a:lnTo>
                      <a:lnTo>
                        <a:pt x="3043" y="1359"/>
                      </a:lnTo>
                      <a:lnTo>
                        <a:pt x="3010" y="1381"/>
                      </a:lnTo>
                      <a:lnTo>
                        <a:pt x="2976" y="1402"/>
                      </a:lnTo>
                      <a:lnTo>
                        <a:pt x="2942" y="1422"/>
                      </a:lnTo>
                      <a:lnTo>
                        <a:pt x="2907" y="1441"/>
                      </a:lnTo>
                      <a:lnTo>
                        <a:pt x="2872" y="1460"/>
                      </a:lnTo>
                      <a:lnTo>
                        <a:pt x="2836" y="1477"/>
                      </a:lnTo>
                      <a:lnTo>
                        <a:pt x="2800" y="1494"/>
                      </a:lnTo>
                      <a:lnTo>
                        <a:pt x="2763" y="1510"/>
                      </a:lnTo>
                      <a:lnTo>
                        <a:pt x="2725" y="1525"/>
                      </a:lnTo>
                      <a:lnTo>
                        <a:pt x="2689" y="1539"/>
                      </a:lnTo>
                      <a:lnTo>
                        <a:pt x="2651" y="1553"/>
                      </a:lnTo>
                      <a:lnTo>
                        <a:pt x="2611" y="1565"/>
                      </a:lnTo>
                      <a:lnTo>
                        <a:pt x="2572" y="1577"/>
                      </a:lnTo>
                      <a:lnTo>
                        <a:pt x="2533" y="1587"/>
                      </a:lnTo>
                      <a:lnTo>
                        <a:pt x="2494" y="1597"/>
                      </a:lnTo>
                      <a:lnTo>
                        <a:pt x="2454" y="1606"/>
                      </a:lnTo>
                      <a:lnTo>
                        <a:pt x="2413" y="1613"/>
                      </a:lnTo>
                      <a:lnTo>
                        <a:pt x="2372" y="1620"/>
                      </a:lnTo>
                      <a:lnTo>
                        <a:pt x="2332" y="1625"/>
                      </a:lnTo>
                      <a:lnTo>
                        <a:pt x="2290" y="1630"/>
                      </a:lnTo>
                      <a:lnTo>
                        <a:pt x="2249" y="1633"/>
                      </a:lnTo>
                      <a:lnTo>
                        <a:pt x="2206" y="1637"/>
                      </a:lnTo>
                      <a:lnTo>
                        <a:pt x="2164" y="1638"/>
                      </a:lnTo>
                      <a:lnTo>
                        <a:pt x="2121" y="1638"/>
                      </a:lnTo>
                      <a:lnTo>
                        <a:pt x="2121" y="1638"/>
                      </a:lnTo>
                      <a:lnTo>
                        <a:pt x="2080" y="1638"/>
                      </a:lnTo>
                      <a:lnTo>
                        <a:pt x="2037" y="1637"/>
                      </a:lnTo>
                      <a:lnTo>
                        <a:pt x="1996" y="1633"/>
                      </a:lnTo>
                      <a:lnTo>
                        <a:pt x="1954" y="1630"/>
                      </a:lnTo>
                      <a:lnTo>
                        <a:pt x="1914" y="1625"/>
                      </a:lnTo>
                      <a:lnTo>
                        <a:pt x="1872" y="1620"/>
                      </a:lnTo>
                      <a:lnTo>
                        <a:pt x="1832" y="1614"/>
                      </a:lnTo>
                      <a:lnTo>
                        <a:pt x="1792" y="1606"/>
                      </a:lnTo>
                      <a:lnTo>
                        <a:pt x="1753" y="1598"/>
                      </a:lnTo>
                      <a:lnTo>
                        <a:pt x="1712" y="1587"/>
                      </a:lnTo>
                      <a:lnTo>
                        <a:pt x="1673" y="1577"/>
                      </a:lnTo>
                      <a:lnTo>
                        <a:pt x="1635" y="1565"/>
                      </a:lnTo>
                      <a:lnTo>
                        <a:pt x="1597" y="1554"/>
                      </a:lnTo>
                      <a:lnTo>
                        <a:pt x="1559" y="1540"/>
                      </a:lnTo>
                      <a:lnTo>
                        <a:pt x="1521" y="1526"/>
                      </a:lnTo>
                      <a:lnTo>
                        <a:pt x="1484" y="1511"/>
                      </a:lnTo>
                      <a:lnTo>
                        <a:pt x="1448" y="1495"/>
                      </a:lnTo>
                      <a:lnTo>
                        <a:pt x="1412" y="1479"/>
                      </a:lnTo>
                      <a:lnTo>
                        <a:pt x="1376" y="1462"/>
                      </a:lnTo>
                      <a:lnTo>
                        <a:pt x="1342" y="1443"/>
                      </a:lnTo>
                      <a:lnTo>
                        <a:pt x="1306" y="1424"/>
                      </a:lnTo>
                      <a:lnTo>
                        <a:pt x="1273" y="1404"/>
                      </a:lnTo>
                      <a:lnTo>
                        <a:pt x="1239" y="1384"/>
                      </a:lnTo>
                      <a:lnTo>
                        <a:pt x="1206" y="1363"/>
                      </a:lnTo>
                      <a:lnTo>
                        <a:pt x="1174" y="1340"/>
                      </a:lnTo>
                      <a:lnTo>
                        <a:pt x="1141" y="1317"/>
                      </a:lnTo>
                      <a:lnTo>
                        <a:pt x="1110" y="1294"/>
                      </a:lnTo>
                      <a:lnTo>
                        <a:pt x="1079" y="1270"/>
                      </a:lnTo>
                      <a:lnTo>
                        <a:pt x="1049" y="1244"/>
                      </a:lnTo>
                      <a:lnTo>
                        <a:pt x="1019" y="1219"/>
                      </a:lnTo>
                      <a:lnTo>
                        <a:pt x="990" y="1192"/>
                      </a:lnTo>
                      <a:lnTo>
                        <a:pt x="962" y="1165"/>
                      </a:lnTo>
                      <a:lnTo>
                        <a:pt x="0" y="2126"/>
                      </a:lnTo>
                      <a:lnTo>
                        <a:pt x="0" y="2126"/>
                      </a:lnTo>
                      <a:lnTo>
                        <a:pt x="38" y="2164"/>
                      </a:lnTo>
                      <a:lnTo>
                        <a:pt x="79" y="2201"/>
                      </a:lnTo>
                      <a:lnTo>
                        <a:pt x="119" y="2238"/>
                      </a:lnTo>
                      <a:lnTo>
                        <a:pt x="160" y="2272"/>
                      </a:lnTo>
                      <a:lnTo>
                        <a:pt x="202" y="2307"/>
                      </a:lnTo>
                      <a:lnTo>
                        <a:pt x="246" y="2340"/>
                      </a:lnTo>
                      <a:lnTo>
                        <a:pt x="289" y="2373"/>
                      </a:lnTo>
                      <a:lnTo>
                        <a:pt x="334" y="2404"/>
                      </a:lnTo>
                      <a:lnTo>
                        <a:pt x="379" y="2434"/>
                      </a:lnTo>
                      <a:lnTo>
                        <a:pt x="425" y="2462"/>
                      </a:lnTo>
                      <a:lnTo>
                        <a:pt x="472" y="2490"/>
                      </a:lnTo>
                      <a:lnTo>
                        <a:pt x="520" y="2518"/>
                      </a:lnTo>
                      <a:lnTo>
                        <a:pt x="568" y="2543"/>
                      </a:lnTo>
                      <a:lnTo>
                        <a:pt x="617" y="2567"/>
                      </a:lnTo>
                      <a:lnTo>
                        <a:pt x="667" y="2590"/>
                      </a:lnTo>
                      <a:lnTo>
                        <a:pt x="718" y="2613"/>
                      </a:lnTo>
                      <a:lnTo>
                        <a:pt x="768" y="2634"/>
                      </a:lnTo>
                      <a:lnTo>
                        <a:pt x="820" y="2653"/>
                      </a:lnTo>
                      <a:lnTo>
                        <a:pt x="872" y="2672"/>
                      </a:lnTo>
                      <a:lnTo>
                        <a:pt x="925" y="2689"/>
                      </a:lnTo>
                      <a:lnTo>
                        <a:pt x="978" y="2705"/>
                      </a:lnTo>
                      <a:lnTo>
                        <a:pt x="1032" y="2720"/>
                      </a:lnTo>
                      <a:lnTo>
                        <a:pt x="1086" y="2733"/>
                      </a:lnTo>
                      <a:lnTo>
                        <a:pt x="1141" y="2746"/>
                      </a:lnTo>
                      <a:lnTo>
                        <a:pt x="1197" y="2756"/>
                      </a:lnTo>
                      <a:lnTo>
                        <a:pt x="1253" y="2765"/>
                      </a:lnTo>
                      <a:lnTo>
                        <a:pt x="1309" y="2773"/>
                      </a:lnTo>
                      <a:lnTo>
                        <a:pt x="1366" y="2780"/>
                      </a:lnTo>
                      <a:lnTo>
                        <a:pt x="1423" y="2785"/>
                      </a:lnTo>
                      <a:lnTo>
                        <a:pt x="1481" y="2788"/>
                      </a:lnTo>
                      <a:lnTo>
                        <a:pt x="1539" y="2790"/>
                      </a:lnTo>
                      <a:lnTo>
                        <a:pt x="1597" y="2792"/>
                      </a:lnTo>
                      <a:close/>
                    </a:path>
                  </a:pathLst>
                </a:custGeom>
                <a:solidFill>
                  <a:srgbClr val="594A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1" name="Freeform 274"/>
                <p:cNvSpPr>
                  <a:spLocks/>
                </p:cNvSpPr>
                <p:nvPr/>
              </p:nvSpPr>
              <p:spPr bwMode="auto">
                <a:xfrm>
                  <a:off x="2859088" y="3268663"/>
                  <a:ext cx="873125" cy="633413"/>
                </a:xfrm>
                <a:custGeom>
                  <a:avLst/>
                  <a:gdLst>
                    <a:gd name="T0" fmla="*/ 1712 w 3848"/>
                    <a:gd name="T1" fmla="*/ 2788 h 2792"/>
                    <a:gd name="T2" fmla="*/ 1940 w 3848"/>
                    <a:gd name="T3" fmla="*/ 2765 h 2792"/>
                    <a:gd name="T4" fmla="*/ 2160 w 3848"/>
                    <a:gd name="T5" fmla="*/ 2720 h 2792"/>
                    <a:gd name="T6" fmla="*/ 2371 w 3848"/>
                    <a:gd name="T7" fmla="*/ 2655 h 2792"/>
                    <a:gd name="T8" fmla="*/ 2573 w 3848"/>
                    <a:gd name="T9" fmla="*/ 2569 h 2792"/>
                    <a:gd name="T10" fmla="*/ 2765 w 3848"/>
                    <a:gd name="T11" fmla="*/ 2466 h 2792"/>
                    <a:gd name="T12" fmla="*/ 2944 w 3848"/>
                    <a:gd name="T13" fmla="*/ 2344 h 2792"/>
                    <a:gd name="T14" fmla="*/ 3111 w 3848"/>
                    <a:gd name="T15" fmla="*/ 2207 h 2792"/>
                    <a:gd name="T16" fmla="*/ 3263 w 3848"/>
                    <a:gd name="T17" fmla="*/ 2054 h 2792"/>
                    <a:gd name="T18" fmla="*/ 3401 w 3848"/>
                    <a:gd name="T19" fmla="*/ 1887 h 2792"/>
                    <a:gd name="T20" fmla="*/ 3522 w 3848"/>
                    <a:gd name="T21" fmla="*/ 1707 h 2792"/>
                    <a:gd name="T22" fmla="*/ 3627 w 3848"/>
                    <a:gd name="T23" fmla="*/ 1516 h 2792"/>
                    <a:gd name="T24" fmla="*/ 3712 w 3848"/>
                    <a:gd name="T25" fmla="*/ 1314 h 2792"/>
                    <a:gd name="T26" fmla="*/ 3778 w 3848"/>
                    <a:gd name="T27" fmla="*/ 1103 h 2792"/>
                    <a:gd name="T28" fmla="*/ 3823 w 3848"/>
                    <a:gd name="T29" fmla="*/ 883 h 2792"/>
                    <a:gd name="T30" fmla="*/ 3846 w 3848"/>
                    <a:gd name="T31" fmla="*/ 656 h 2792"/>
                    <a:gd name="T32" fmla="*/ 3847 w 3848"/>
                    <a:gd name="T33" fmla="*/ 471 h 2792"/>
                    <a:gd name="T34" fmla="*/ 3820 w 3848"/>
                    <a:gd name="T35" fmla="*/ 198 h 2792"/>
                    <a:gd name="T36" fmla="*/ 3780 w 3848"/>
                    <a:gd name="T37" fmla="*/ 0 h 2792"/>
                    <a:gd name="T38" fmla="*/ 3770 w 3848"/>
                    <a:gd name="T39" fmla="*/ 168 h 2792"/>
                    <a:gd name="T40" fmla="*/ 3743 w 3848"/>
                    <a:gd name="T41" fmla="*/ 330 h 2792"/>
                    <a:gd name="T42" fmla="*/ 3701 w 3848"/>
                    <a:gd name="T43" fmla="*/ 488 h 2792"/>
                    <a:gd name="T44" fmla="*/ 3644 w 3848"/>
                    <a:gd name="T45" fmla="*/ 639 h 2792"/>
                    <a:gd name="T46" fmla="*/ 3574 w 3848"/>
                    <a:gd name="T47" fmla="*/ 781 h 2792"/>
                    <a:gd name="T48" fmla="*/ 3491 w 3848"/>
                    <a:gd name="T49" fmla="*/ 916 h 2792"/>
                    <a:gd name="T50" fmla="*/ 3394 w 3848"/>
                    <a:gd name="T51" fmla="*/ 1043 h 2792"/>
                    <a:gd name="T52" fmla="*/ 3288 w 3848"/>
                    <a:gd name="T53" fmla="*/ 1159 h 2792"/>
                    <a:gd name="T54" fmla="*/ 3171 w 3848"/>
                    <a:gd name="T55" fmla="*/ 1265 h 2792"/>
                    <a:gd name="T56" fmla="*/ 3043 w 3848"/>
                    <a:gd name="T57" fmla="*/ 1359 h 2792"/>
                    <a:gd name="T58" fmla="*/ 2907 w 3848"/>
                    <a:gd name="T59" fmla="*/ 1441 h 2792"/>
                    <a:gd name="T60" fmla="*/ 2763 w 3848"/>
                    <a:gd name="T61" fmla="*/ 1510 h 2792"/>
                    <a:gd name="T62" fmla="*/ 2611 w 3848"/>
                    <a:gd name="T63" fmla="*/ 1565 h 2792"/>
                    <a:gd name="T64" fmla="*/ 2454 w 3848"/>
                    <a:gd name="T65" fmla="*/ 1606 h 2792"/>
                    <a:gd name="T66" fmla="*/ 2290 w 3848"/>
                    <a:gd name="T67" fmla="*/ 1630 h 2792"/>
                    <a:gd name="T68" fmla="*/ 2121 w 3848"/>
                    <a:gd name="T69" fmla="*/ 1638 h 2792"/>
                    <a:gd name="T70" fmla="*/ 1996 w 3848"/>
                    <a:gd name="T71" fmla="*/ 1633 h 2792"/>
                    <a:gd name="T72" fmla="*/ 1832 w 3848"/>
                    <a:gd name="T73" fmla="*/ 1614 h 2792"/>
                    <a:gd name="T74" fmla="*/ 1673 w 3848"/>
                    <a:gd name="T75" fmla="*/ 1577 h 2792"/>
                    <a:gd name="T76" fmla="*/ 1521 w 3848"/>
                    <a:gd name="T77" fmla="*/ 1526 h 2792"/>
                    <a:gd name="T78" fmla="*/ 1376 w 3848"/>
                    <a:gd name="T79" fmla="*/ 1462 h 2792"/>
                    <a:gd name="T80" fmla="*/ 1239 w 3848"/>
                    <a:gd name="T81" fmla="*/ 1384 h 2792"/>
                    <a:gd name="T82" fmla="*/ 1110 w 3848"/>
                    <a:gd name="T83" fmla="*/ 1294 h 2792"/>
                    <a:gd name="T84" fmla="*/ 990 w 3848"/>
                    <a:gd name="T85" fmla="*/ 1192 h 2792"/>
                    <a:gd name="T86" fmla="*/ 38 w 3848"/>
                    <a:gd name="T87" fmla="*/ 2164 h 2792"/>
                    <a:gd name="T88" fmla="*/ 202 w 3848"/>
                    <a:gd name="T89" fmla="*/ 2307 h 2792"/>
                    <a:gd name="T90" fmla="*/ 379 w 3848"/>
                    <a:gd name="T91" fmla="*/ 2434 h 2792"/>
                    <a:gd name="T92" fmla="*/ 568 w 3848"/>
                    <a:gd name="T93" fmla="*/ 2543 h 2792"/>
                    <a:gd name="T94" fmla="*/ 768 w 3848"/>
                    <a:gd name="T95" fmla="*/ 2634 h 2792"/>
                    <a:gd name="T96" fmla="*/ 978 w 3848"/>
                    <a:gd name="T97" fmla="*/ 2705 h 2792"/>
                    <a:gd name="T98" fmla="*/ 1197 w 3848"/>
                    <a:gd name="T99" fmla="*/ 2756 h 2792"/>
                    <a:gd name="T100" fmla="*/ 1423 w 3848"/>
                    <a:gd name="T101" fmla="*/ 2785 h 2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48" h="2792">
                      <a:moveTo>
                        <a:pt x="1597" y="2792"/>
                      </a:moveTo>
                      <a:lnTo>
                        <a:pt x="1597" y="2792"/>
                      </a:lnTo>
                      <a:lnTo>
                        <a:pt x="1655" y="2790"/>
                      </a:lnTo>
                      <a:lnTo>
                        <a:pt x="1712" y="2788"/>
                      </a:lnTo>
                      <a:lnTo>
                        <a:pt x="1770" y="2785"/>
                      </a:lnTo>
                      <a:lnTo>
                        <a:pt x="1827" y="2780"/>
                      </a:lnTo>
                      <a:lnTo>
                        <a:pt x="1884" y="2773"/>
                      </a:lnTo>
                      <a:lnTo>
                        <a:pt x="1940" y="2765"/>
                      </a:lnTo>
                      <a:lnTo>
                        <a:pt x="1996" y="2756"/>
                      </a:lnTo>
                      <a:lnTo>
                        <a:pt x="2051" y="2746"/>
                      </a:lnTo>
                      <a:lnTo>
                        <a:pt x="2105" y="2734"/>
                      </a:lnTo>
                      <a:lnTo>
                        <a:pt x="2160" y="2720"/>
                      </a:lnTo>
                      <a:lnTo>
                        <a:pt x="2213" y="2706"/>
                      </a:lnTo>
                      <a:lnTo>
                        <a:pt x="2266" y="2690"/>
                      </a:lnTo>
                      <a:lnTo>
                        <a:pt x="2319" y="2673"/>
                      </a:lnTo>
                      <a:lnTo>
                        <a:pt x="2371" y="2655"/>
                      </a:lnTo>
                      <a:lnTo>
                        <a:pt x="2423" y="2635"/>
                      </a:lnTo>
                      <a:lnTo>
                        <a:pt x="2473" y="2614"/>
                      </a:lnTo>
                      <a:lnTo>
                        <a:pt x="2524" y="2592"/>
                      </a:lnTo>
                      <a:lnTo>
                        <a:pt x="2573" y="2569"/>
                      </a:lnTo>
                      <a:lnTo>
                        <a:pt x="2622" y="2545"/>
                      </a:lnTo>
                      <a:lnTo>
                        <a:pt x="2670" y="2520"/>
                      </a:lnTo>
                      <a:lnTo>
                        <a:pt x="2717" y="2493"/>
                      </a:lnTo>
                      <a:lnTo>
                        <a:pt x="2765" y="2466"/>
                      </a:lnTo>
                      <a:lnTo>
                        <a:pt x="2811" y="2437"/>
                      </a:lnTo>
                      <a:lnTo>
                        <a:pt x="2856" y="2407"/>
                      </a:lnTo>
                      <a:lnTo>
                        <a:pt x="2900" y="2376"/>
                      </a:lnTo>
                      <a:lnTo>
                        <a:pt x="2944" y="2344"/>
                      </a:lnTo>
                      <a:lnTo>
                        <a:pt x="2987" y="2311"/>
                      </a:lnTo>
                      <a:lnTo>
                        <a:pt x="3029" y="2277"/>
                      </a:lnTo>
                      <a:lnTo>
                        <a:pt x="3071" y="2242"/>
                      </a:lnTo>
                      <a:lnTo>
                        <a:pt x="3111" y="2207"/>
                      </a:lnTo>
                      <a:lnTo>
                        <a:pt x="3150" y="2170"/>
                      </a:lnTo>
                      <a:lnTo>
                        <a:pt x="3189" y="2132"/>
                      </a:lnTo>
                      <a:lnTo>
                        <a:pt x="3226" y="2093"/>
                      </a:lnTo>
                      <a:lnTo>
                        <a:pt x="3263" y="2054"/>
                      </a:lnTo>
                      <a:lnTo>
                        <a:pt x="3300" y="2013"/>
                      </a:lnTo>
                      <a:lnTo>
                        <a:pt x="3334" y="1972"/>
                      </a:lnTo>
                      <a:lnTo>
                        <a:pt x="3368" y="1929"/>
                      </a:lnTo>
                      <a:lnTo>
                        <a:pt x="3401" y="1887"/>
                      </a:lnTo>
                      <a:lnTo>
                        <a:pt x="3433" y="1843"/>
                      </a:lnTo>
                      <a:lnTo>
                        <a:pt x="3463" y="1799"/>
                      </a:lnTo>
                      <a:lnTo>
                        <a:pt x="3493" y="1753"/>
                      </a:lnTo>
                      <a:lnTo>
                        <a:pt x="3522" y="1707"/>
                      </a:lnTo>
                      <a:lnTo>
                        <a:pt x="3550" y="1661"/>
                      </a:lnTo>
                      <a:lnTo>
                        <a:pt x="3576" y="1613"/>
                      </a:lnTo>
                      <a:lnTo>
                        <a:pt x="3602" y="1564"/>
                      </a:lnTo>
                      <a:lnTo>
                        <a:pt x="3627" y="1516"/>
                      </a:lnTo>
                      <a:lnTo>
                        <a:pt x="3650" y="1466"/>
                      </a:lnTo>
                      <a:lnTo>
                        <a:pt x="3672" y="1416"/>
                      </a:lnTo>
                      <a:lnTo>
                        <a:pt x="3693" y="1365"/>
                      </a:lnTo>
                      <a:lnTo>
                        <a:pt x="3712" y="1314"/>
                      </a:lnTo>
                      <a:lnTo>
                        <a:pt x="3731" y="1261"/>
                      </a:lnTo>
                      <a:lnTo>
                        <a:pt x="3748" y="1210"/>
                      </a:lnTo>
                      <a:lnTo>
                        <a:pt x="3763" y="1156"/>
                      </a:lnTo>
                      <a:lnTo>
                        <a:pt x="3778" y="1103"/>
                      </a:lnTo>
                      <a:lnTo>
                        <a:pt x="3790" y="1048"/>
                      </a:lnTo>
                      <a:lnTo>
                        <a:pt x="3803" y="993"/>
                      </a:lnTo>
                      <a:lnTo>
                        <a:pt x="3813" y="938"/>
                      </a:lnTo>
                      <a:lnTo>
                        <a:pt x="3823" y="883"/>
                      </a:lnTo>
                      <a:lnTo>
                        <a:pt x="3831" y="826"/>
                      </a:lnTo>
                      <a:lnTo>
                        <a:pt x="3836" y="770"/>
                      </a:lnTo>
                      <a:lnTo>
                        <a:pt x="3842" y="713"/>
                      </a:lnTo>
                      <a:lnTo>
                        <a:pt x="3846" y="656"/>
                      </a:lnTo>
                      <a:lnTo>
                        <a:pt x="3848" y="598"/>
                      </a:lnTo>
                      <a:lnTo>
                        <a:pt x="3848" y="540"/>
                      </a:lnTo>
                      <a:lnTo>
                        <a:pt x="3848" y="540"/>
                      </a:lnTo>
                      <a:lnTo>
                        <a:pt x="3847" y="471"/>
                      </a:lnTo>
                      <a:lnTo>
                        <a:pt x="3843" y="401"/>
                      </a:lnTo>
                      <a:lnTo>
                        <a:pt x="3839" y="332"/>
                      </a:lnTo>
                      <a:lnTo>
                        <a:pt x="3831" y="264"/>
                      </a:lnTo>
                      <a:lnTo>
                        <a:pt x="3820" y="198"/>
                      </a:lnTo>
                      <a:lnTo>
                        <a:pt x="3809" y="131"/>
                      </a:lnTo>
                      <a:lnTo>
                        <a:pt x="3796" y="65"/>
                      </a:lnTo>
                      <a:lnTo>
                        <a:pt x="3780" y="0"/>
                      </a:lnTo>
                      <a:lnTo>
                        <a:pt x="3780" y="0"/>
                      </a:lnTo>
                      <a:lnTo>
                        <a:pt x="3780" y="42"/>
                      </a:lnTo>
                      <a:lnTo>
                        <a:pt x="3778" y="84"/>
                      </a:lnTo>
                      <a:lnTo>
                        <a:pt x="3774" y="126"/>
                      </a:lnTo>
                      <a:lnTo>
                        <a:pt x="3770" y="168"/>
                      </a:lnTo>
                      <a:lnTo>
                        <a:pt x="3765" y="208"/>
                      </a:lnTo>
                      <a:lnTo>
                        <a:pt x="3758" y="249"/>
                      </a:lnTo>
                      <a:lnTo>
                        <a:pt x="3751" y="290"/>
                      </a:lnTo>
                      <a:lnTo>
                        <a:pt x="3743" y="330"/>
                      </a:lnTo>
                      <a:lnTo>
                        <a:pt x="3734" y="370"/>
                      </a:lnTo>
                      <a:lnTo>
                        <a:pt x="3724" y="409"/>
                      </a:lnTo>
                      <a:lnTo>
                        <a:pt x="3713" y="449"/>
                      </a:lnTo>
                      <a:lnTo>
                        <a:pt x="3701" y="488"/>
                      </a:lnTo>
                      <a:lnTo>
                        <a:pt x="3688" y="526"/>
                      </a:lnTo>
                      <a:lnTo>
                        <a:pt x="3674" y="564"/>
                      </a:lnTo>
                      <a:lnTo>
                        <a:pt x="3660" y="601"/>
                      </a:lnTo>
                      <a:lnTo>
                        <a:pt x="3644" y="639"/>
                      </a:lnTo>
                      <a:lnTo>
                        <a:pt x="3628" y="674"/>
                      </a:lnTo>
                      <a:lnTo>
                        <a:pt x="3611" y="711"/>
                      </a:lnTo>
                      <a:lnTo>
                        <a:pt x="3592" y="747"/>
                      </a:lnTo>
                      <a:lnTo>
                        <a:pt x="3574" y="781"/>
                      </a:lnTo>
                      <a:lnTo>
                        <a:pt x="3554" y="816"/>
                      </a:lnTo>
                      <a:lnTo>
                        <a:pt x="3534" y="850"/>
                      </a:lnTo>
                      <a:lnTo>
                        <a:pt x="3513" y="884"/>
                      </a:lnTo>
                      <a:lnTo>
                        <a:pt x="3491" y="916"/>
                      </a:lnTo>
                      <a:lnTo>
                        <a:pt x="3468" y="949"/>
                      </a:lnTo>
                      <a:lnTo>
                        <a:pt x="3444" y="981"/>
                      </a:lnTo>
                      <a:lnTo>
                        <a:pt x="3420" y="1012"/>
                      </a:lnTo>
                      <a:lnTo>
                        <a:pt x="3394" y="1043"/>
                      </a:lnTo>
                      <a:lnTo>
                        <a:pt x="3369" y="1073"/>
                      </a:lnTo>
                      <a:lnTo>
                        <a:pt x="3343" y="1103"/>
                      </a:lnTo>
                      <a:lnTo>
                        <a:pt x="3316" y="1131"/>
                      </a:lnTo>
                      <a:lnTo>
                        <a:pt x="3288" y="1159"/>
                      </a:lnTo>
                      <a:lnTo>
                        <a:pt x="3260" y="1187"/>
                      </a:lnTo>
                      <a:lnTo>
                        <a:pt x="3231" y="1213"/>
                      </a:lnTo>
                      <a:lnTo>
                        <a:pt x="3201" y="1240"/>
                      </a:lnTo>
                      <a:lnTo>
                        <a:pt x="3171" y="1265"/>
                      </a:lnTo>
                      <a:lnTo>
                        <a:pt x="3140" y="1289"/>
                      </a:lnTo>
                      <a:lnTo>
                        <a:pt x="3108" y="1313"/>
                      </a:lnTo>
                      <a:lnTo>
                        <a:pt x="3075" y="1336"/>
                      </a:lnTo>
                      <a:lnTo>
                        <a:pt x="3043" y="1359"/>
                      </a:lnTo>
                      <a:lnTo>
                        <a:pt x="3010" y="1381"/>
                      </a:lnTo>
                      <a:lnTo>
                        <a:pt x="2976" y="1402"/>
                      </a:lnTo>
                      <a:lnTo>
                        <a:pt x="2942" y="1422"/>
                      </a:lnTo>
                      <a:lnTo>
                        <a:pt x="2907" y="1441"/>
                      </a:lnTo>
                      <a:lnTo>
                        <a:pt x="2872" y="1460"/>
                      </a:lnTo>
                      <a:lnTo>
                        <a:pt x="2836" y="1477"/>
                      </a:lnTo>
                      <a:lnTo>
                        <a:pt x="2800" y="1494"/>
                      </a:lnTo>
                      <a:lnTo>
                        <a:pt x="2763" y="1510"/>
                      </a:lnTo>
                      <a:lnTo>
                        <a:pt x="2725" y="1525"/>
                      </a:lnTo>
                      <a:lnTo>
                        <a:pt x="2689" y="1539"/>
                      </a:lnTo>
                      <a:lnTo>
                        <a:pt x="2651" y="1553"/>
                      </a:lnTo>
                      <a:lnTo>
                        <a:pt x="2611" y="1565"/>
                      </a:lnTo>
                      <a:lnTo>
                        <a:pt x="2572" y="1577"/>
                      </a:lnTo>
                      <a:lnTo>
                        <a:pt x="2533" y="1587"/>
                      </a:lnTo>
                      <a:lnTo>
                        <a:pt x="2494" y="1597"/>
                      </a:lnTo>
                      <a:lnTo>
                        <a:pt x="2454" y="1606"/>
                      </a:lnTo>
                      <a:lnTo>
                        <a:pt x="2413" y="1613"/>
                      </a:lnTo>
                      <a:lnTo>
                        <a:pt x="2372" y="1620"/>
                      </a:lnTo>
                      <a:lnTo>
                        <a:pt x="2332" y="1625"/>
                      </a:lnTo>
                      <a:lnTo>
                        <a:pt x="2290" y="1630"/>
                      </a:lnTo>
                      <a:lnTo>
                        <a:pt x="2249" y="1633"/>
                      </a:lnTo>
                      <a:lnTo>
                        <a:pt x="2206" y="1637"/>
                      </a:lnTo>
                      <a:lnTo>
                        <a:pt x="2164" y="1638"/>
                      </a:lnTo>
                      <a:lnTo>
                        <a:pt x="2121" y="1638"/>
                      </a:lnTo>
                      <a:lnTo>
                        <a:pt x="2121" y="1638"/>
                      </a:lnTo>
                      <a:lnTo>
                        <a:pt x="2080" y="1638"/>
                      </a:lnTo>
                      <a:lnTo>
                        <a:pt x="2037" y="1637"/>
                      </a:lnTo>
                      <a:lnTo>
                        <a:pt x="1996" y="1633"/>
                      </a:lnTo>
                      <a:lnTo>
                        <a:pt x="1954" y="1630"/>
                      </a:lnTo>
                      <a:lnTo>
                        <a:pt x="1914" y="1625"/>
                      </a:lnTo>
                      <a:lnTo>
                        <a:pt x="1872" y="1620"/>
                      </a:lnTo>
                      <a:lnTo>
                        <a:pt x="1832" y="1614"/>
                      </a:lnTo>
                      <a:lnTo>
                        <a:pt x="1792" y="1606"/>
                      </a:lnTo>
                      <a:lnTo>
                        <a:pt x="1753" y="1598"/>
                      </a:lnTo>
                      <a:lnTo>
                        <a:pt x="1712" y="1587"/>
                      </a:lnTo>
                      <a:lnTo>
                        <a:pt x="1673" y="1577"/>
                      </a:lnTo>
                      <a:lnTo>
                        <a:pt x="1635" y="1565"/>
                      </a:lnTo>
                      <a:lnTo>
                        <a:pt x="1597" y="1554"/>
                      </a:lnTo>
                      <a:lnTo>
                        <a:pt x="1559" y="1540"/>
                      </a:lnTo>
                      <a:lnTo>
                        <a:pt x="1521" y="1526"/>
                      </a:lnTo>
                      <a:lnTo>
                        <a:pt x="1484" y="1511"/>
                      </a:lnTo>
                      <a:lnTo>
                        <a:pt x="1448" y="1495"/>
                      </a:lnTo>
                      <a:lnTo>
                        <a:pt x="1412" y="1479"/>
                      </a:lnTo>
                      <a:lnTo>
                        <a:pt x="1376" y="1462"/>
                      </a:lnTo>
                      <a:lnTo>
                        <a:pt x="1342" y="1443"/>
                      </a:lnTo>
                      <a:lnTo>
                        <a:pt x="1306" y="1424"/>
                      </a:lnTo>
                      <a:lnTo>
                        <a:pt x="1273" y="1404"/>
                      </a:lnTo>
                      <a:lnTo>
                        <a:pt x="1239" y="1384"/>
                      </a:lnTo>
                      <a:lnTo>
                        <a:pt x="1206" y="1363"/>
                      </a:lnTo>
                      <a:lnTo>
                        <a:pt x="1174" y="1340"/>
                      </a:lnTo>
                      <a:lnTo>
                        <a:pt x="1141" y="1317"/>
                      </a:lnTo>
                      <a:lnTo>
                        <a:pt x="1110" y="1294"/>
                      </a:lnTo>
                      <a:lnTo>
                        <a:pt x="1079" y="1270"/>
                      </a:lnTo>
                      <a:lnTo>
                        <a:pt x="1049" y="1244"/>
                      </a:lnTo>
                      <a:lnTo>
                        <a:pt x="1019" y="1219"/>
                      </a:lnTo>
                      <a:lnTo>
                        <a:pt x="990" y="1192"/>
                      </a:lnTo>
                      <a:lnTo>
                        <a:pt x="962" y="1165"/>
                      </a:lnTo>
                      <a:lnTo>
                        <a:pt x="0" y="2126"/>
                      </a:lnTo>
                      <a:lnTo>
                        <a:pt x="0" y="2126"/>
                      </a:lnTo>
                      <a:lnTo>
                        <a:pt x="38" y="2164"/>
                      </a:lnTo>
                      <a:lnTo>
                        <a:pt x="79" y="2201"/>
                      </a:lnTo>
                      <a:lnTo>
                        <a:pt x="119" y="2238"/>
                      </a:lnTo>
                      <a:lnTo>
                        <a:pt x="160" y="2272"/>
                      </a:lnTo>
                      <a:lnTo>
                        <a:pt x="202" y="2307"/>
                      </a:lnTo>
                      <a:lnTo>
                        <a:pt x="246" y="2340"/>
                      </a:lnTo>
                      <a:lnTo>
                        <a:pt x="289" y="2373"/>
                      </a:lnTo>
                      <a:lnTo>
                        <a:pt x="334" y="2404"/>
                      </a:lnTo>
                      <a:lnTo>
                        <a:pt x="379" y="2434"/>
                      </a:lnTo>
                      <a:lnTo>
                        <a:pt x="425" y="2462"/>
                      </a:lnTo>
                      <a:lnTo>
                        <a:pt x="472" y="2490"/>
                      </a:lnTo>
                      <a:lnTo>
                        <a:pt x="520" y="2518"/>
                      </a:lnTo>
                      <a:lnTo>
                        <a:pt x="568" y="2543"/>
                      </a:lnTo>
                      <a:lnTo>
                        <a:pt x="617" y="2567"/>
                      </a:lnTo>
                      <a:lnTo>
                        <a:pt x="667" y="2590"/>
                      </a:lnTo>
                      <a:lnTo>
                        <a:pt x="718" y="2613"/>
                      </a:lnTo>
                      <a:lnTo>
                        <a:pt x="768" y="2634"/>
                      </a:lnTo>
                      <a:lnTo>
                        <a:pt x="820" y="2653"/>
                      </a:lnTo>
                      <a:lnTo>
                        <a:pt x="872" y="2672"/>
                      </a:lnTo>
                      <a:lnTo>
                        <a:pt x="925" y="2689"/>
                      </a:lnTo>
                      <a:lnTo>
                        <a:pt x="978" y="2705"/>
                      </a:lnTo>
                      <a:lnTo>
                        <a:pt x="1032" y="2720"/>
                      </a:lnTo>
                      <a:lnTo>
                        <a:pt x="1086" y="2733"/>
                      </a:lnTo>
                      <a:lnTo>
                        <a:pt x="1141" y="2746"/>
                      </a:lnTo>
                      <a:lnTo>
                        <a:pt x="1197" y="2756"/>
                      </a:lnTo>
                      <a:lnTo>
                        <a:pt x="1253" y="2765"/>
                      </a:lnTo>
                      <a:lnTo>
                        <a:pt x="1309" y="2773"/>
                      </a:lnTo>
                      <a:lnTo>
                        <a:pt x="1366" y="2780"/>
                      </a:lnTo>
                      <a:lnTo>
                        <a:pt x="1423" y="2785"/>
                      </a:lnTo>
                      <a:lnTo>
                        <a:pt x="1481" y="2788"/>
                      </a:lnTo>
                      <a:lnTo>
                        <a:pt x="1539" y="2790"/>
                      </a:lnTo>
                      <a:lnTo>
                        <a:pt x="1597" y="279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2" name="Freeform 275"/>
                <p:cNvSpPr>
                  <a:spLocks/>
                </p:cNvSpPr>
                <p:nvPr/>
              </p:nvSpPr>
              <p:spPr bwMode="auto">
                <a:xfrm>
                  <a:off x="3078163" y="3030538"/>
                  <a:ext cx="638175" cy="609600"/>
                </a:xfrm>
                <a:custGeom>
                  <a:avLst/>
                  <a:gdLst>
                    <a:gd name="T0" fmla="*/ 0 w 2818"/>
                    <a:gd name="T1" fmla="*/ 2220 h 2693"/>
                    <a:gd name="T2" fmla="*/ 57 w 2818"/>
                    <a:gd name="T3" fmla="*/ 2274 h 2693"/>
                    <a:gd name="T4" fmla="*/ 117 w 2818"/>
                    <a:gd name="T5" fmla="*/ 2325 h 2693"/>
                    <a:gd name="T6" fmla="*/ 179 w 2818"/>
                    <a:gd name="T7" fmla="*/ 2372 h 2693"/>
                    <a:gd name="T8" fmla="*/ 244 w 2818"/>
                    <a:gd name="T9" fmla="*/ 2418 h 2693"/>
                    <a:gd name="T10" fmla="*/ 311 w 2818"/>
                    <a:gd name="T11" fmla="*/ 2459 h 2693"/>
                    <a:gd name="T12" fmla="*/ 380 w 2818"/>
                    <a:gd name="T13" fmla="*/ 2498 h 2693"/>
                    <a:gd name="T14" fmla="*/ 450 w 2818"/>
                    <a:gd name="T15" fmla="*/ 2534 h 2693"/>
                    <a:gd name="T16" fmla="*/ 522 w 2818"/>
                    <a:gd name="T17" fmla="*/ 2566 h 2693"/>
                    <a:gd name="T18" fmla="*/ 597 w 2818"/>
                    <a:gd name="T19" fmla="*/ 2595 h 2693"/>
                    <a:gd name="T20" fmla="*/ 673 w 2818"/>
                    <a:gd name="T21" fmla="*/ 2620 h 2693"/>
                    <a:gd name="T22" fmla="*/ 750 w 2818"/>
                    <a:gd name="T23" fmla="*/ 2642 h 2693"/>
                    <a:gd name="T24" fmla="*/ 830 w 2818"/>
                    <a:gd name="T25" fmla="*/ 2661 h 2693"/>
                    <a:gd name="T26" fmla="*/ 910 w 2818"/>
                    <a:gd name="T27" fmla="*/ 2675 h 2693"/>
                    <a:gd name="T28" fmla="*/ 992 w 2818"/>
                    <a:gd name="T29" fmla="*/ 2685 h 2693"/>
                    <a:gd name="T30" fmla="*/ 1075 w 2818"/>
                    <a:gd name="T31" fmla="*/ 2692 h 2693"/>
                    <a:gd name="T32" fmla="*/ 1159 w 2818"/>
                    <a:gd name="T33" fmla="*/ 2693 h 2693"/>
                    <a:gd name="T34" fmla="*/ 1202 w 2818"/>
                    <a:gd name="T35" fmla="*/ 2693 h 2693"/>
                    <a:gd name="T36" fmla="*/ 1287 w 2818"/>
                    <a:gd name="T37" fmla="*/ 2688 h 2693"/>
                    <a:gd name="T38" fmla="*/ 1370 w 2818"/>
                    <a:gd name="T39" fmla="*/ 2680 h 2693"/>
                    <a:gd name="T40" fmla="*/ 1451 w 2818"/>
                    <a:gd name="T41" fmla="*/ 2668 h 2693"/>
                    <a:gd name="T42" fmla="*/ 1532 w 2818"/>
                    <a:gd name="T43" fmla="*/ 2652 h 2693"/>
                    <a:gd name="T44" fmla="*/ 1610 w 2818"/>
                    <a:gd name="T45" fmla="*/ 2632 h 2693"/>
                    <a:gd name="T46" fmla="*/ 1689 w 2818"/>
                    <a:gd name="T47" fmla="*/ 2608 h 2693"/>
                    <a:gd name="T48" fmla="*/ 1763 w 2818"/>
                    <a:gd name="T49" fmla="*/ 2580 h 2693"/>
                    <a:gd name="T50" fmla="*/ 1838 w 2818"/>
                    <a:gd name="T51" fmla="*/ 2549 h 2693"/>
                    <a:gd name="T52" fmla="*/ 1910 w 2818"/>
                    <a:gd name="T53" fmla="*/ 2515 h 2693"/>
                    <a:gd name="T54" fmla="*/ 1980 w 2818"/>
                    <a:gd name="T55" fmla="*/ 2477 h 2693"/>
                    <a:gd name="T56" fmla="*/ 2048 w 2818"/>
                    <a:gd name="T57" fmla="*/ 2436 h 2693"/>
                    <a:gd name="T58" fmla="*/ 2113 w 2818"/>
                    <a:gd name="T59" fmla="*/ 2391 h 2693"/>
                    <a:gd name="T60" fmla="*/ 2178 w 2818"/>
                    <a:gd name="T61" fmla="*/ 2344 h 2693"/>
                    <a:gd name="T62" fmla="*/ 2239 w 2818"/>
                    <a:gd name="T63" fmla="*/ 2295 h 2693"/>
                    <a:gd name="T64" fmla="*/ 2298 w 2818"/>
                    <a:gd name="T65" fmla="*/ 2242 h 2693"/>
                    <a:gd name="T66" fmla="*/ 2354 w 2818"/>
                    <a:gd name="T67" fmla="*/ 2186 h 2693"/>
                    <a:gd name="T68" fmla="*/ 2407 w 2818"/>
                    <a:gd name="T69" fmla="*/ 2128 h 2693"/>
                    <a:gd name="T70" fmla="*/ 2458 w 2818"/>
                    <a:gd name="T71" fmla="*/ 2067 h 2693"/>
                    <a:gd name="T72" fmla="*/ 2506 w 2818"/>
                    <a:gd name="T73" fmla="*/ 2004 h 2693"/>
                    <a:gd name="T74" fmla="*/ 2551 w 2818"/>
                    <a:gd name="T75" fmla="*/ 1939 h 2693"/>
                    <a:gd name="T76" fmla="*/ 2592 w 2818"/>
                    <a:gd name="T77" fmla="*/ 1871 h 2693"/>
                    <a:gd name="T78" fmla="*/ 2630 w 2818"/>
                    <a:gd name="T79" fmla="*/ 1802 h 2693"/>
                    <a:gd name="T80" fmla="*/ 2666 w 2818"/>
                    <a:gd name="T81" fmla="*/ 1729 h 2693"/>
                    <a:gd name="T82" fmla="*/ 2698 w 2818"/>
                    <a:gd name="T83" fmla="*/ 1656 h 2693"/>
                    <a:gd name="T84" fmla="*/ 2726 w 2818"/>
                    <a:gd name="T85" fmla="*/ 1581 h 2693"/>
                    <a:gd name="T86" fmla="*/ 2751 w 2818"/>
                    <a:gd name="T87" fmla="*/ 1504 h 2693"/>
                    <a:gd name="T88" fmla="*/ 2772 w 2818"/>
                    <a:gd name="T89" fmla="*/ 1425 h 2693"/>
                    <a:gd name="T90" fmla="*/ 2789 w 2818"/>
                    <a:gd name="T91" fmla="*/ 1345 h 2693"/>
                    <a:gd name="T92" fmla="*/ 2803 w 2818"/>
                    <a:gd name="T93" fmla="*/ 1263 h 2693"/>
                    <a:gd name="T94" fmla="*/ 2812 w 2818"/>
                    <a:gd name="T95" fmla="*/ 1181 h 2693"/>
                    <a:gd name="T96" fmla="*/ 2818 w 2818"/>
                    <a:gd name="T97" fmla="*/ 1097 h 2693"/>
                    <a:gd name="T98" fmla="*/ 2818 w 2818"/>
                    <a:gd name="T99" fmla="*/ 1055 h 2693"/>
                    <a:gd name="T100" fmla="*/ 2800 w 2818"/>
                    <a:gd name="T101" fmla="*/ 984 h 2693"/>
                    <a:gd name="T102" fmla="*/ 2757 w 2818"/>
                    <a:gd name="T103" fmla="*/ 849 h 2693"/>
                    <a:gd name="T104" fmla="*/ 2706 w 2818"/>
                    <a:gd name="T105" fmla="*/ 717 h 2693"/>
                    <a:gd name="T106" fmla="*/ 2648 w 2818"/>
                    <a:gd name="T107" fmla="*/ 589 h 2693"/>
                    <a:gd name="T108" fmla="*/ 2581 w 2818"/>
                    <a:gd name="T109" fmla="*/ 466 h 2693"/>
                    <a:gd name="T110" fmla="*/ 2507 w 2818"/>
                    <a:gd name="T111" fmla="*/ 348 h 2693"/>
                    <a:gd name="T112" fmla="*/ 2425 w 2818"/>
                    <a:gd name="T113" fmla="*/ 234 h 2693"/>
                    <a:gd name="T114" fmla="*/ 2338 w 2818"/>
                    <a:gd name="T115" fmla="*/ 125 h 2693"/>
                    <a:gd name="T116" fmla="*/ 2292 w 2818"/>
                    <a:gd name="T117" fmla="*/ 74 h 2693"/>
                    <a:gd name="T118" fmla="*/ 2284 w 2818"/>
                    <a:gd name="T119" fmla="*/ 64 h 2693"/>
                    <a:gd name="T120" fmla="*/ 2219 w 2818"/>
                    <a:gd name="T121" fmla="*/ 0 h 2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18" h="2693">
                      <a:moveTo>
                        <a:pt x="0" y="2220"/>
                      </a:moveTo>
                      <a:lnTo>
                        <a:pt x="0" y="2220"/>
                      </a:lnTo>
                      <a:lnTo>
                        <a:pt x="28" y="2247"/>
                      </a:lnTo>
                      <a:lnTo>
                        <a:pt x="57" y="2274"/>
                      </a:lnTo>
                      <a:lnTo>
                        <a:pt x="87" y="2299"/>
                      </a:lnTo>
                      <a:lnTo>
                        <a:pt x="117" y="2325"/>
                      </a:lnTo>
                      <a:lnTo>
                        <a:pt x="148" y="2349"/>
                      </a:lnTo>
                      <a:lnTo>
                        <a:pt x="179" y="2372"/>
                      </a:lnTo>
                      <a:lnTo>
                        <a:pt x="212" y="2395"/>
                      </a:lnTo>
                      <a:lnTo>
                        <a:pt x="244" y="2418"/>
                      </a:lnTo>
                      <a:lnTo>
                        <a:pt x="277" y="2439"/>
                      </a:lnTo>
                      <a:lnTo>
                        <a:pt x="311" y="2459"/>
                      </a:lnTo>
                      <a:lnTo>
                        <a:pt x="344" y="2479"/>
                      </a:lnTo>
                      <a:lnTo>
                        <a:pt x="380" y="2498"/>
                      </a:lnTo>
                      <a:lnTo>
                        <a:pt x="414" y="2517"/>
                      </a:lnTo>
                      <a:lnTo>
                        <a:pt x="450" y="2534"/>
                      </a:lnTo>
                      <a:lnTo>
                        <a:pt x="486" y="2550"/>
                      </a:lnTo>
                      <a:lnTo>
                        <a:pt x="522" y="2566"/>
                      </a:lnTo>
                      <a:lnTo>
                        <a:pt x="559" y="2581"/>
                      </a:lnTo>
                      <a:lnTo>
                        <a:pt x="597" y="2595"/>
                      </a:lnTo>
                      <a:lnTo>
                        <a:pt x="635" y="2609"/>
                      </a:lnTo>
                      <a:lnTo>
                        <a:pt x="673" y="2620"/>
                      </a:lnTo>
                      <a:lnTo>
                        <a:pt x="711" y="2632"/>
                      </a:lnTo>
                      <a:lnTo>
                        <a:pt x="750" y="2642"/>
                      </a:lnTo>
                      <a:lnTo>
                        <a:pt x="791" y="2653"/>
                      </a:lnTo>
                      <a:lnTo>
                        <a:pt x="830" y="2661"/>
                      </a:lnTo>
                      <a:lnTo>
                        <a:pt x="870" y="2669"/>
                      </a:lnTo>
                      <a:lnTo>
                        <a:pt x="910" y="2675"/>
                      </a:lnTo>
                      <a:lnTo>
                        <a:pt x="952" y="2680"/>
                      </a:lnTo>
                      <a:lnTo>
                        <a:pt x="992" y="2685"/>
                      </a:lnTo>
                      <a:lnTo>
                        <a:pt x="1034" y="2688"/>
                      </a:lnTo>
                      <a:lnTo>
                        <a:pt x="1075" y="2692"/>
                      </a:lnTo>
                      <a:lnTo>
                        <a:pt x="1118" y="2693"/>
                      </a:lnTo>
                      <a:lnTo>
                        <a:pt x="1159" y="2693"/>
                      </a:lnTo>
                      <a:lnTo>
                        <a:pt x="1159" y="2693"/>
                      </a:lnTo>
                      <a:lnTo>
                        <a:pt x="1202" y="2693"/>
                      </a:lnTo>
                      <a:lnTo>
                        <a:pt x="1244" y="2692"/>
                      </a:lnTo>
                      <a:lnTo>
                        <a:pt x="1287" y="2688"/>
                      </a:lnTo>
                      <a:lnTo>
                        <a:pt x="1328" y="2685"/>
                      </a:lnTo>
                      <a:lnTo>
                        <a:pt x="1370" y="2680"/>
                      </a:lnTo>
                      <a:lnTo>
                        <a:pt x="1410" y="2675"/>
                      </a:lnTo>
                      <a:lnTo>
                        <a:pt x="1451" y="2668"/>
                      </a:lnTo>
                      <a:lnTo>
                        <a:pt x="1492" y="2661"/>
                      </a:lnTo>
                      <a:lnTo>
                        <a:pt x="1532" y="2652"/>
                      </a:lnTo>
                      <a:lnTo>
                        <a:pt x="1571" y="2642"/>
                      </a:lnTo>
                      <a:lnTo>
                        <a:pt x="1610" y="2632"/>
                      </a:lnTo>
                      <a:lnTo>
                        <a:pt x="1649" y="2620"/>
                      </a:lnTo>
                      <a:lnTo>
                        <a:pt x="1689" y="2608"/>
                      </a:lnTo>
                      <a:lnTo>
                        <a:pt x="1727" y="2594"/>
                      </a:lnTo>
                      <a:lnTo>
                        <a:pt x="1763" y="2580"/>
                      </a:lnTo>
                      <a:lnTo>
                        <a:pt x="1801" y="2565"/>
                      </a:lnTo>
                      <a:lnTo>
                        <a:pt x="1838" y="2549"/>
                      </a:lnTo>
                      <a:lnTo>
                        <a:pt x="1874" y="2532"/>
                      </a:lnTo>
                      <a:lnTo>
                        <a:pt x="1910" y="2515"/>
                      </a:lnTo>
                      <a:lnTo>
                        <a:pt x="1945" y="2496"/>
                      </a:lnTo>
                      <a:lnTo>
                        <a:pt x="1980" y="2477"/>
                      </a:lnTo>
                      <a:lnTo>
                        <a:pt x="2014" y="2457"/>
                      </a:lnTo>
                      <a:lnTo>
                        <a:pt x="2048" y="2436"/>
                      </a:lnTo>
                      <a:lnTo>
                        <a:pt x="2081" y="2414"/>
                      </a:lnTo>
                      <a:lnTo>
                        <a:pt x="2113" y="2391"/>
                      </a:lnTo>
                      <a:lnTo>
                        <a:pt x="2146" y="2368"/>
                      </a:lnTo>
                      <a:lnTo>
                        <a:pt x="2178" y="2344"/>
                      </a:lnTo>
                      <a:lnTo>
                        <a:pt x="2209" y="2320"/>
                      </a:lnTo>
                      <a:lnTo>
                        <a:pt x="2239" y="2295"/>
                      </a:lnTo>
                      <a:lnTo>
                        <a:pt x="2269" y="2268"/>
                      </a:lnTo>
                      <a:lnTo>
                        <a:pt x="2298" y="2242"/>
                      </a:lnTo>
                      <a:lnTo>
                        <a:pt x="2326" y="2214"/>
                      </a:lnTo>
                      <a:lnTo>
                        <a:pt x="2354" y="2186"/>
                      </a:lnTo>
                      <a:lnTo>
                        <a:pt x="2381" y="2158"/>
                      </a:lnTo>
                      <a:lnTo>
                        <a:pt x="2407" y="2128"/>
                      </a:lnTo>
                      <a:lnTo>
                        <a:pt x="2432" y="2098"/>
                      </a:lnTo>
                      <a:lnTo>
                        <a:pt x="2458" y="2067"/>
                      </a:lnTo>
                      <a:lnTo>
                        <a:pt x="2482" y="2036"/>
                      </a:lnTo>
                      <a:lnTo>
                        <a:pt x="2506" y="2004"/>
                      </a:lnTo>
                      <a:lnTo>
                        <a:pt x="2529" y="1971"/>
                      </a:lnTo>
                      <a:lnTo>
                        <a:pt x="2551" y="1939"/>
                      </a:lnTo>
                      <a:lnTo>
                        <a:pt x="2572" y="1905"/>
                      </a:lnTo>
                      <a:lnTo>
                        <a:pt x="2592" y="1871"/>
                      </a:lnTo>
                      <a:lnTo>
                        <a:pt x="2612" y="1836"/>
                      </a:lnTo>
                      <a:lnTo>
                        <a:pt x="2630" y="1802"/>
                      </a:lnTo>
                      <a:lnTo>
                        <a:pt x="2649" y="1766"/>
                      </a:lnTo>
                      <a:lnTo>
                        <a:pt x="2666" y="1729"/>
                      </a:lnTo>
                      <a:lnTo>
                        <a:pt x="2682" y="1694"/>
                      </a:lnTo>
                      <a:lnTo>
                        <a:pt x="2698" y="1656"/>
                      </a:lnTo>
                      <a:lnTo>
                        <a:pt x="2712" y="1619"/>
                      </a:lnTo>
                      <a:lnTo>
                        <a:pt x="2726" y="1581"/>
                      </a:lnTo>
                      <a:lnTo>
                        <a:pt x="2739" y="1543"/>
                      </a:lnTo>
                      <a:lnTo>
                        <a:pt x="2751" y="1504"/>
                      </a:lnTo>
                      <a:lnTo>
                        <a:pt x="2762" y="1464"/>
                      </a:lnTo>
                      <a:lnTo>
                        <a:pt x="2772" y="1425"/>
                      </a:lnTo>
                      <a:lnTo>
                        <a:pt x="2781" y="1385"/>
                      </a:lnTo>
                      <a:lnTo>
                        <a:pt x="2789" y="1345"/>
                      </a:lnTo>
                      <a:lnTo>
                        <a:pt x="2796" y="1304"/>
                      </a:lnTo>
                      <a:lnTo>
                        <a:pt x="2803" y="1263"/>
                      </a:lnTo>
                      <a:lnTo>
                        <a:pt x="2808" y="1223"/>
                      </a:lnTo>
                      <a:lnTo>
                        <a:pt x="2812" y="1181"/>
                      </a:lnTo>
                      <a:lnTo>
                        <a:pt x="2816" y="1139"/>
                      </a:lnTo>
                      <a:lnTo>
                        <a:pt x="2818" y="1097"/>
                      </a:lnTo>
                      <a:lnTo>
                        <a:pt x="2818" y="1055"/>
                      </a:lnTo>
                      <a:lnTo>
                        <a:pt x="2818" y="1055"/>
                      </a:lnTo>
                      <a:lnTo>
                        <a:pt x="2818" y="1055"/>
                      </a:lnTo>
                      <a:lnTo>
                        <a:pt x="2800" y="984"/>
                      </a:lnTo>
                      <a:lnTo>
                        <a:pt x="2780" y="916"/>
                      </a:lnTo>
                      <a:lnTo>
                        <a:pt x="2757" y="849"/>
                      </a:lnTo>
                      <a:lnTo>
                        <a:pt x="2733" y="783"/>
                      </a:lnTo>
                      <a:lnTo>
                        <a:pt x="2706" y="717"/>
                      </a:lnTo>
                      <a:lnTo>
                        <a:pt x="2678" y="653"/>
                      </a:lnTo>
                      <a:lnTo>
                        <a:pt x="2648" y="589"/>
                      </a:lnTo>
                      <a:lnTo>
                        <a:pt x="2614" y="527"/>
                      </a:lnTo>
                      <a:lnTo>
                        <a:pt x="2581" y="466"/>
                      </a:lnTo>
                      <a:lnTo>
                        <a:pt x="2544" y="406"/>
                      </a:lnTo>
                      <a:lnTo>
                        <a:pt x="2507" y="348"/>
                      </a:lnTo>
                      <a:lnTo>
                        <a:pt x="2467" y="290"/>
                      </a:lnTo>
                      <a:lnTo>
                        <a:pt x="2425" y="234"/>
                      </a:lnTo>
                      <a:lnTo>
                        <a:pt x="2383" y="180"/>
                      </a:lnTo>
                      <a:lnTo>
                        <a:pt x="2338" y="125"/>
                      </a:lnTo>
                      <a:lnTo>
                        <a:pt x="2292" y="74"/>
                      </a:lnTo>
                      <a:lnTo>
                        <a:pt x="2292" y="74"/>
                      </a:lnTo>
                      <a:lnTo>
                        <a:pt x="2284" y="64"/>
                      </a:lnTo>
                      <a:lnTo>
                        <a:pt x="2284" y="64"/>
                      </a:lnTo>
                      <a:lnTo>
                        <a:pt x="2252" y="32"/>
                      </a:lnTo>
                      <a:lnTo>
                        <a:pt x="2219" y="0"/>
                      </a:lnTo>
                      <a:lnTo>
                        <a:pt x="0" y="2220"/>
                      </a:lnTo>
                      <a:close/>
                    </a:path>
                  </a:pathLst>
                </a:custGeom>
                <a:solidFill>
                  <a:srgbClr val="7B65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3" name="Freeform 276"/>
                <p:cNvSpPr>
                  <a:spLocks/>
                </p:cNvSpPr>
                <p:nvPr/>
              </p:nvSpPr>
              <p:spPr bwMode="auto">
                <a:xfrm>
                  <a:off x="3078163" y="3030538"/>
                  <a:ext cx="638175" cy="609600"/>
                </a:xfrm>
                <a:custGeom>
                  <a:avLst/>
                  <a:gdLst>
                    <a:gd name="T0" fmla="*/ 0 w 2818"/>
                    <a:gd name="T1" fmla="*/ 2220 h 2693"/>
                    <a:gd name="T2" fmla="*/ 57 w 2818"/>
                    <a:gd name="T3" fmla="*/ 2274 h 2693"/>
                    <a:gd name="T4" fmla="*/ 117 w 2818"/>
                    <a:gd name="T5" fmla="*/ 2325 h 2693"/>
                    <a:gd name="T6" fmla="*/ 179 w 2818"/>
                    <a:gd name="T7" fmla="*/ 2372 h 2693"/>
                    <a:gd name="T8" fmla="*/ 244 w 2818"/>
                    <a:gd name="T9" fmla="*/ 2418 h 2693"/>
                    <a:gd name="T10" fmla="*/ 311 w 2818"/>
                    <a:gd name="T11" fmla="*/ 2459 h 2693"/>
                    <a:gd name="T12" fmla="*/ 380 w 2818"/>
                    <a:gd name="T13" fmla="*/ 2498 h 2693"/>
                    <a:gd name="T14" fmla="*/ 450 w 2818"/>
                    <a:gd name="T15" fmla="*/ 2534 h 2693"/>
                    <a:gd name="T16" fmla="*/ 522 w 2818"/>
                    <a:gd name="T17" fmla="*/ 2566 h 2693"/>
                    <a:gd name="T18" fmla="*/ 597 w 2818"/>
                    <a:gd name="T19" fmla="*/ 2595 h 2693"/>
                    <a:gd name="T20" fmla="*/ 673 w 2818"/>
                    <a:gd name="T21" fmla="*/ 2620 h 2693"/>
                    <a:gd name="T22" fmla="*/ 750 w 2818"/>
                    <a:gd name="T23" fmla="*/ 2642 h 2693"/>
                    <a:gd name="T24" fmla="*/ 830 w 2818"/>
                    <a:gd name="T25" fmla="*/ 2661 h 2693"/>
                    <a:gd name="T26" fmla="*/ 910 w 2818"/>
                    <a:gd name="T27" fmla="*/ 2675 h 2693"/>
                    <a:gd name="T28" fmla="*/ 992 w 2818"/>
                    <a:gd name="T29" fmla="*/ 2685 h 2693"/>
                    <a:gd name="T30" fmla="*/ 1075 w 2818"/>
                    <a:gd name="T31" fmla="*/ 2692 h 2693"/>
                    <a:gd name="T32" fmla="*/ 1159 w 2818"/>
                    <a:gd name="T33" fmla="*/ 2693 h 2693"/>
                    <a:gd name="T34" fmla="*/ 1202 w 2818"/>
                    <a:gd name="T35" fmla="*/ 2693 h 2693"/>
                    <a:gd name="T36" fmla="*/ 1287 w 2818"/>
                    <a:gd name="T37" fmla="*/ 2688 h 2693"/>
                    <a:gd name="T38" fmla="*/ 1370 w 2818"/>
                    <a:gd name="T39" fmla="*/ 2680 h 2693"/>
                    <a:gd name="T40" fmla="*/ 1451 w 2818"/>
                    <a:gd name="T41" fmla="*/ 2668 h 2693"/>
                    <a:gd name="T42" fmla="*/ 1532 w 2818"/>
                    <a:gd name="T43" fmla="*/ 2652 h 2693"/>
                    <a:gd name="T44" fmla="*/ 1610 w 2818"/>
                    <a:gd name="T45" fmla="*/ 2632 h 2693"/>
                    <a:gd name="T46" fmla="*/ 1689 w 2818"/>
                    <a:gd name="T47" fmla="*/ 2608 h 2693"/>
                    <a:gd name="T48" fmla="*/ 1763 w 2818"/>
                    <a:gd name="T49" fmla="*/ 2580 h 2693"/>
                    <a:gd name="T50" fmla="*/ 1838 w 2818"/>
                    <a:gd name="T51" fmla="*/ 2549 h 2693"/>
                    <a:gd name="T52" fmla="*/ 1910 w 2818"/>
                    <a:gd name="T53" fmla="*/ 2515 h 2693"/>
                    <a:gd name="T54" fmla="*/ 1980 w 2818"/>
                    <a:gd name="T55" fmla="*/ 2477 h 2693"/>
                    <a:gd name="T56" fmla="*/ 2048 w 2818"/>
                    <a:gd name="T57" fmla="*/ 2436 h 2693"/>
                    <a:gd name="T58" fmla="*/ 2113 w 2818"/>
                    <a:gd name="T59" fmla="*/ 2391 h 2693"/>
                    <a:gd name="T60" fmla="*/ 2178 w 2818"/>
                    <a:gd name="T61" fmla="*/ 2344 h 2693"/>
                    <a:gd name="T62" fmla="*/ 2239 w 2818"/>
                    <a:gd name="T63" fmla="*/ 2295 h 2693"/>
                    <a:gd name="T64" fmla="*/ 2298 w 2818"/>
                    <a:gd name="T65" fmla="*/ 2242 h 2693"/>
                    <a:gd name="T66" fmla="*/ 2354 w 2818"/>
                    <a:gd name="T67" fmla="*/ 2186 h 2693"/>
                    <a:gd name="T68" fmla="*/ 2407 w 2818"/>
                    <a:gd name="T69" fmla="*/ 2128 h 2693"/>
                    <a:gd name="T70" fmla="*/ 2458 w 2818"/>
                    <a:gd name="T71" fmla="*/ 2067 h 2693"/>
                    <a:gd name="T72" fmla="*/ 2506 w 2818"/>
                    <a:gd name="T73" fmla="*/ 2004 h 2693"/>
                    <a:gd name="T74" fmla="*/ 2551 w 2818"/>
                    <a:gd name="T75" fmla="*/ 1939 h 2693"/>
                    <a:gd name="T76" fmla="*/ 2592 w 2818"/>
                    <a:gd name="T77" fmla="*/ 1871 h 2693"/>
                    <a:gd name="T78" fmla="*/ 2630 w 2818"/>
                    <a:gd name="T79" fmla="*/ 1802 h 2693"/>
                    <a:gd name="T80" fmla="*/ 2666 w 2818"/>
                    <a:gd name="T81" fmla="*/ 1729 h 2693"/>
                    <a:gd name="T82" fmla="*/ 2698 w 2818"/>
                    <a:gd name="T83" fmla="*/ 1656 h 2693"/>
                    <a:gd name="T84" fmla="*/ 2726 w 2818"/>
                    <a:gd name="T85" fmla="*/ 1581 h 2693"/>
                    <a:gd name="T86" fmla="*/ 2751 w 2818"/>
                    <a:gd name="T87" fmla="*/ 1504 h 2693"/>
                    <a:gd name="T88" fmla="*/ 2772 w 2818"/>
                    <a:gd name="T89" fmla="*/ 1425 h 2693"/>
                    <a:gd name="T90" fmla="*/ 2789 w 2818"/>
                    <a:gd name="T91" fmla="*/ 1345 h 2693"/>
                    <a:gd name="T92" fmla="*/ 2803 w 2818"/>
                    <a:gd name="T93" fmla="*/ 1263 h 2693"/>
                    <a:gd name="T94" fmla="*/ 2812 w 2818"/>
                    <a:gd name="T95" fmla="*/ 1181 h 2693"/>
                    <a:gd name="T96" fmla="*/ 2818 w 2818"/>
                    <a:gd name="T97" fmla="*/ 1097 h 2693"/>
                    <a:gd name="T98" fmla="*/ 2818 w 2818"/>
                    <a:gd name="T99" fmla="*/ 1055 h 2693"/>
                    <a:gd name="T100" fmla="*/ 2800 w 2818"/>
                    <a:gd name="T101" fmla="*/ 984 h 2693"/>
                    <a:gd name="T102" fmla="*/ 2757 w 2818"/>
                    <a:gd name="T103" fmla="*/ 849 h 2693"/>
                    <a:gd name="T104" fmla="*/ 2706 w 2818"/>
                    <a:gd name="T105" fmla="*/ 717 h 2693"/>
                    <a:gd name="T106" fmla="*/ 2648 w 2818"/>
                    <a:gd name="T107" fmla="*/ 589 h 2693"/>
                    <a:gd name="T108" fmla="*/ 2581 w 2818"/>
                    <a:gd name="T109" fmla="*/ 466 h 2693"/>
                    <a:gd name="T110" fmla="*/ 2507 w 2818"/>
                    <a:gd name="T111" fmla="*/ 348 h 2693"/>
                    <a:gd name="T112" fmla="*/ 2425 w 2818"/>
                    <a:gd name="T113" fmla="*/ 234 h 2693"/>
                    <a:gd name="T114" fmla="*/ 2338 w 2818"/>
                    <a:gd name="T115" fmla="*/ 125 h 2693"/>
                    <a:gd name="T116" fmla="*/ 2292 w 2818"/>
                    <a:gd name="T117" fmla="*/ 74 h 2693"/>
                    <a:gd name="T118" fmla="*/ 2284 w 2818"/>
                    <a:gd name="T119" fmla="*/ 64 h 2693"/>
                    <a:gd name="T120" fmla="*/ 2219 w 2818"/>
                    <a:gd name="T121" fmla="*/ 0 h 2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18" h="2693">
                      <a:moveTo>
                        <a:pt x="0" y="2220"/>
                      </a:moveTo>
                      <a:lnTo>
                        <a:pt x="0" y="2220"/>
                      </a:lnTo>
                      <a:lnTo>
                        <a:pt x="28" y="2247"/>
                      </a:lnTo>
                      <a:lnTo>
                        <a:pt x="57" y="2274"/>
                      </a:lnTo>
                      <a:lnTo>
                        <a:pt x="87" y="2299"/>
                      </a:lnTo>
                      <a:lnTo>
                        <a:pt x="117" y="2325"/>
                      </a:lnTo>
                      <a:lnTo>
                        <a:pt x="148" y="2349"/>
                      </a:lnTo>
                      <a:lnTo>
                        <a:pt x="179" y="2372"/>
                      </a:lnTo>
                      <a:lnTo>
                        <a:pt x="212" y="2395"/>
                      </a:lnTo>
                      <a:lnTo>
                        <a:pt x="244" y="2418"/>
                      </a:lnTo>
                      <a:lnTo>
                        <a:pt x="277" y="2439"/>
                      </a:lnTo>
                      <a:lnTo>
                        <a:pt x="311" y="2459"/>
                      </a:lnTo>
                      <a:lnTo>
                        <a:pt x="344" y="2479"/>
                      </a:lnTo>
                      <a:lnTo>
                        <a:pt x="380" y="2498"/>
                      </a:lnTo>
                      <a:lnTo>
                        <a:pt x="414" y="2517"/>
                      </a:lnTo>
                      <a:lnTo>
                        <a:pt x="450" y="2534"/>
                      </a:lnTo>
                      <a:lnTo>
                        <a:pt x="486" y="2550"/>
                      </a:lnTo>
                      <a:lnTo>
                        <a:pt x="522" y="2566"/>
                      </a:lnTo>
                      <a:lnTo>
                        <a:pt x="559" y="2581"/>
                      </a:lnTo>
                      <a:lnTo>
                        <a:pt x="597" y="2595"/>
                      </a:lnTo>
                      <a:lnTo>
                        <a:pt x="635" y="2609"/>
                      </a:lnTo>
                      <a:lnTo>
                        <a:pt x="673" y="2620"/>
                      </a:lnTo>
                      <a:lnTo>
                        <a:pt x="711" y="2632"/>
                      </a:lnTo>
                      <a:lnTo>
                        <a:pt x="750" y="2642"/>
                      </a:lnTo>
                      <a:lnTo>
                        <a:pt x="791" y="2653"/>
                      </a:lnTo>
                      <a:lnTo>
                        <a:pt x="830" y="2661"/>
                      </a:lnTo>
                      <a:lnTo>
                        <a:pt x="870" y="2669"/>
                      </a:lnTo>
                      <a:lnTo>
                        <a:pt x="910" y="2675"/>
                      </a:lnTo>
                      <a:lnTo>
                        <a:pt x="952" y="2680"/>
                      </a:lnTo>
                      <a:lnTo>
                        <a:pt x="992" y="2685"/>
                      </a:lnTo>
                      <a:lnTo>
                        <a:pt x="1034" y="2688"/>
                      </a:lnTo>
                      <a:lnTo>
                        <a:pt x="1075" y="2692"/>
                      </a:lnTo>
                      <a:lnTo>
                        <a:pt x="1118" y="2693"/>
                      </a:lnTo>
                      <a:lnTo>
                        <a:pt x="1159" y="2693"/>
                      </a:lnTo>
                      <a:lnTo>
                        <a:pt x="1159" y="2693"/>
                      </a:lnTo>
                      <a:lnTo>
                        <a:pt x="1202" y="2693"/>
                      </a:lnTo>
                      <a:lnTo>
                        <a:pt x="1244" y="2692"/>
                      </a:lnTo>
                      <a:lnTo>
                        <a:pt x="1287" y="2688"/>
                      </a:lnTo>
                      <a:lnTo>
                        <a:pt x="1328" y="2685"/>
                      </a:lnTo>
                      <a:lnTo>
                        <a:pt x="1370" y="2680"/>
                      </a:lnTo>
                      <a:lnTo>
                        <a:pt x="1410" y="2675"/>
                      </a:lnTo>
                      <a:lnTo>
                        <a:pt x="1451" y="2668"/>
                      </a:lnTo>
                      <a:lnTo>
                        <a:pt x="1492" y="2661"/>
                      </a:lnTo>
                      <a:lnTo>
                        <a:pt x="1532" y="2652"/>
                      </a:lnTo>
                      <a:lnTo>
                        <a:pt x="1571" y="2642"/>
                      </a:lnTo>
                      <a:lnTo>
                        <a:pt x="1610" y="2632"/>
                      </a:lnTo>
                      <a:lnTo>
                        <a:pt x="1649" y="2620"/>
                      </a:lnTo>
                      <a:lnTo>
                        <a:pt x="1689" y="2608"/>
                      </a:lnTo>
                      <a:lnTo>
                        <a:pt x="1727" y="2594"/>
                      </a:lnTo>
                      <a:lnTo>
                        <a:pt x="1763" y="2580"/>
                      </a:lnTo>
                      <a:lnTo>
                        <a:pt x="1801" y="2565"/>
                      </a:lnTo>
                      <a:lnTo>
                        <a:pt x="1838" y="2549"/>
                      </a:lnTo>
                      <a:lnTo>
                        <a:pt x="1874" y="2532"/>
                      </a:lnTo>
                      <a:lnTo>
                        <a:pt x="1910" y="2515"/>
                      </a:lnTo>
                      <a:lnTo>
                        <a:pt x="1945" y="2496"/>
                      </a:lnTo>
                      <a:lnTo>
                        <a:pt x="1980" y="2477"/>
                      </a:lnTo>
                      <a:lnTo>
                        <a:pt x="2014" y="2457"/>
                      </a:lnTo>
                      <a:lnTo>
                        <a:pt x="2048" y="2436"/>
                      </a:lnTo>
                      <a:lnTo>
                        <a:pt x="2081" y="2414"/>
                      </a:lnTo>
                      <a:lnTo>
                        <a:pt x="2113" y="2391"/>
                      </a:lnTo>
                      <a:lnTo>
                        <a:pt x="2146" y="2368"/>
                      </a:lnTo>
                      <a:lnTo>
                        <a:pt x="2178" y="2344"/>
                      </a:lnTo>
                      <a:lnTo>
                        <a:pt x="2209" y="2320"/>
                      </a:lnTo>
                      <a:lnTo>
                        <a:pt x="2239" y="2295"/>
                      </a:lnTo>
                      <a:lnTo>
                        <a:pt x="2269" y="2268"/>
                      </a:lnTo>
                      <a:lnTo>
                        <a:pt x="2298" y="2242"/>
                      </a:lnTo>
                      <a:lnTo>
                        <a:pt x="2326" y="2214"/>
                      </a:lnTo>
                      <a:lnTo>
                        <a:pt x="2354" y="2186"/>
                      </a:lnTo>
                      <a:lnTo>
                        <a:pt x="2381" y="2158"/>
                      </a:lnTo>
                      <a:lnTo>
                        <a:pt x="2407" y="2128"/>
                      </a:lnTo>
                      <a:lnTo>
                        <a:pt x="2432" y="2098"/>
                      </a:lnTo>
                      <a:lnTo>
                        <a:pt x="2458" y="2067"/>
                      </a:lnTo>
                      <a:lnTo>
                        <a:pt x="2482" y="2036"/>
                      </a:lnTo>
                      <a:lnTo>
                        <a:pt x="2506" y="2004"/>
                      </a:lnTo>
                      <a:lnTo>
                        <a:pt x="2529" y="1971"/>
                      </a:lnTo>
                      <a:lnTo>
                        <a:pt x="2551" y="1939"/>
                      </a:lnTo>
                      <a:lnTo>
                        <a:pt x="2572" y="1905"/>
                      </a:lnTo>
                      <a:lnTo>
                        <a:pt x="2592" y="1871"/>
                      </a:lnTo>
                      <a:lnTo>
                        <a:pt x="2612" y="1836"/>
                      </a:lnTo>
                      <a:lnTo>
                        <a:pt x="2630" y="1802"/>
                      </a:lnTo>
                      <a:lnTo>
                        <a:pt x="2649" y="1766"/>
                      </a:lnTo>
                      <a:lnTo>
                        <a:pt x="2666" y="1729"/>
                      </a:lnTo>
                      <a:lnTo>
                        <a:pt x="2682" y="1694"/>
                      </a:lnTo>
                      <a:lnTo>
                        <a:pt x="2698" y="1656"/>
                      </a:lnTo>
                      <a:lnTo>
                        <a:pt x="2712" y="1619"/>
                      </a:lnTo>
                      <a:lnTo>
                        <a:pt x="2726" y="1581"/>
                      </a:lnTo>
                      <a:lnTo>
                        <a:pt x="2739" y="1543"/>
                      </a:lnTo>
                      <a:lnTo>
                        <a:pt x="2751" y="1504"/>
                      </a:lnTo>
                      <a:lnTo>
                        <a:pt x="2762" y="1464"/>
                      </a:lnTo>
                      <a:lnTo>
                        <a:pt x="2772" y="1425"/>
                      </a:lnTo>
                      <a:lnTo>
                        <a:pt x="2781" y="1385"/>
                      </a:lnTo>
                      <a:lnTo>
                        <a:pt x="2789" y="1345"/>
                      </a:lnTo>
                      <a:lnTo>
                        <a:pt x="2796" y="1304"/>
                      </a:lnTo>
                      <a:lnTo>
                        <a:pt x="2803" y="1263"/>
                      </a:lnTo>
                      <a:lnTo>
                        <a:pt x="2808" y="1223"/>
                      </a:lnTo>
                      <a:lnTo>
                        <a:pt x="2812" y="1181"/>
                      </a:lnTo>
                      <a:lnTo>
                        <a:pt x="2816" y="1139"/>
                      </a:lnTo>
                      <a:lnTo>
                        <a:pt x="2818" y="1097"/>
                      </a:lnTo>
                      <a:lnTo>
                        <a:pt x="2818" y="1055"/>
                      </a:lnTo>
                      <a:lnTo>
                        <a:pt x="2818" y="1055"/>
                      </a:lnTo>
                      <a:lnTo>
                        <a:pt x="2818" y="1055"/>
                      </a:lnTo>
                      <a:lnTo>
                        <a:pt x="2800" y="984"/>
                      </a:lnTo>
                      <a:lnTo>
                        <a:pt x="2780" y="916"/>
                      </a:lnTo>
                      <a:lnTo>
                        <a:pt x="2757" y="849"/>
                      </a:lnTo>
                      <a:lnTo>
                        <a:pt x="2733" y="783"/>
                      </a:lnTo>
                      <a:lnTo>
                        <a:pt x="2706" y="717"/>
                      </a:lnTo>
                      <a:lnTo>
                        <a:pt x="2678" y="653"/>
                      </a:lnTo>
                      <a:lnTo>
                        <a:pt x="2648" y="589"/>
                      </a:lnTo>
                      <a:lnTo>
                        <a:pt x="2614" y="527"/>
                      </a:lnTo>
                      <a:lnTo>
                        <a:pt x="2581" y="466"/>
                      </a:lnTo>
                      <a:lnTo>
                        <a:pt x="2544" y="406"/>
                      </a:lnTo>
                      <a:lnTo>
                        <a:pt x="2507" y="348"/>
                      </a:lnTo>
                      <a:lnTo>
                        <a:pt x="2467" y="290"/>
                      </a:lnTo>
                      <a:lnTo>
                        <a:pt x="2425" y="234"/>
                      </a:lnTo>
                      <a:lnTo>
                        <a:pt x="2383" y="180"/>
                      </a:lnTo>
                      <a:lnTo>
                        <a:pt x="2338" y="125"/>
                      </a:lnTo>
                      <a:lnTo>
                        <a:pt x="2292" y="74"/>
                      </a:lnTo>
                      <a:lnTo>
                        <a:pt x="2292" y="74"/>
                      </a:lnTo>
                      <a:lnTo>
                        <a:pt x="2284" y="64"/>
                      </a:lnTo>
                      <a:lnTo>
                        <a:pt x="2284" y="64"/>
                      </a:lnTo>
                      <a:lnTo>
                        <a:pt x="2252" y="32"/>
                      </a:lnTo>
                      <a:lnTo>
                        <a:pt x="2219" y="0"/>
                      </a:lnTo>
                      <a:lnTo>
                        <a:pt x="0" y="22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4" name="Freeform 277"/>
                <p:cNvSpPr>
                  <a:spLocks/>
                </p:cNvSpPr>
                <p:nvPr/>
              </p:nvSpPr>
              <p:spPr bwMode="auto">
                <a:xfrm>
                  <a:off x="2836863" y="3192463"/>
                  <a:ext cx="131763" cy="153988"/>
                </a:xfrm>
                <a:custGeom>
                  <a:avLst/>
                  <a:gdLst>
                    <a:gd name="T0" fmla="*/ 341 w 582"/>
                    <a:gd name="T1" fmla="*/ 0 h 681"/>
                    <a:gd name="T2" fmla="*/ 307 w 582"/>
                    <a:gd name="T3" fmla="*/ 2 h 681"/>
                    <a:gd name="T4" fmla="*/ 272 w 582"/>
                    <a:gd name="T5" fmla="*/ 7 h 681"/>
                    <a:gd name="T6" fmla="*/ 240 w 582"/>
                    <a:gd name="T7" fmla="*/ 15 h 681"/>
                    <a:gd name="T8" fmla="*/ 209 w 582"/>
                    <a:gd name="T9" fmla="*/ 26 h 681"/>
                    <a:gd name="T10" fmla="*/ 179 w 582"/>
                    <a:gd name="T11" fmla="*/ 41 h 681"/>
                    <a:gd name="T12" fmla="*/ 151 w 582"/>
                    <a:gd name="T13" fmla="*/ 59 h 681"/>
                    <a:gd name="T14" fmla="*/ 125 w 582"/>
                    <a:gd name="T15" fmla="*/ 78 h 681"/>
                    <a:gd name="T16" fmla="*/ 101 w 582"/>
                    <a:gd name="T17" fmla="*/ 100 h 681"/>
                    <a:gd name="T18" fmla="*/ 79 w 582"/>
                    <a:gd name="T19" fmla="*/ 124 h 681"/>
                    <a:gd name="T20" fmla="*/ 59 w 582"/>
                    <a:gd name="T21" fmla="*/ 149 h 681"/>
                    <a:gd name="T22" fmla="*/ 42 w 582"/>
                    <a:gd name="T23" fmla="*/ 178 h 681"/>
                    <a:gd name="T24" fmla="*/ 27 w 582"/>
                    <a:gd name="T25" fmla="*/ 208 h 681"/>
                    <a:gd name="T26" fmla="*/ 15 w 582"/>
                    <a:gd name="T27" fmla="*/ 239 h 681"/>
                    <a:gd name="T28" fmla="*/ 7 w 582"/>
                    <a:gd name="T29" fmla="*/ 272 h 681"/>
                    <a:gd name="T30" fmla="*/ 3 w 582"/>
                    <a:gd name="T31" fmla="*/ 306 h 681"/>
                    <a:gd name="T32" fmla="*/ 0 w 582"/>
                    <a:gd name="T33" fmla="*/ 341 h 681"/>
                    <a:gd name="T34" fmla="*/ 0 w 582"/>
                    <a:gd name="T35" fmla="*/ 358 h 681"/>
                    <a:gd name="T36" fmla="*/ 4 w 582"/>
                    <a:gd name="T37" fmla="*/ 392 h 681"/>
                    <a:gd name="T38" fmla="*/ 11 w 582"/>
                    <a:gd name="T39" fmla="*/ 426 h 681"/>
                    <a:gd name="T40" fmla="*/ 21 w 582"/>
                    <a:gd name="T41" fmla="*/ 457 h 681"/>
                    <a:gd name="T42" fmla="*/ 34 w 582"/>
                    <a:gd name="T43" fmla="*/ 488 h 681"/>
                    <a:gd name="T44" fmla="*/ 50 w 582"/>
                    <a:gd name="T45" fmla="*/ 517 h 681"/>
                    <a:gd name="T46" fmla="*/ 68 w 582"/>
                    <a:gd name="T47" fmla="*/ 544 h 681"/>
                    <a:gd name="T48" fmla="*/ 89 w 582"/>
                    <a:gd name="T49" fmla="*/ 570 h 681"/>
                    <a:gd name="T50" fmla="*/ 112 w 582"/>
                    <a:gd name="T51" fmla="*/ 593 h 681"/>
                    <a:gd name="T52" fmla="*/ 137 w 582"/>
                    <a:gd name="T53" fmla="*/ 613 h 681"/>
                    <a:gd name="T54" fmla="*/ 165 w 582"/>
                    <a:gd name="T55" fmla="*/ 632 h 681"/>
                    <a:gd name="T56" fmla="*/ 194 w 582"/>
                    <a:gd name="T57" fmla="*/ 647 h 681"/>
                    <a:gd name="T58" fmla="*/ 224 w 582"/>
                    <a:gd name="T59" fmla="*/ 661 h 681"/>
                    <a:gd name="T60" fmla="*/ 256 w 582"/>
                    <a:gd name="T61" fmla="*/ 670 h 681"/>
                    <a:gd name="T62" fmla="*/ 289 w 582"/>
                    <a:gd name="T63" fmla="*/ 677 h 681"/>
                    <a:gd name="T64" fmla="*/ 324 w 582"/>
                    <a:gd name="T65" fmla="*/ 680 h 681"/>
                    <a:gd name="T66" fmla="*/ 341 w 582"/>
                    <a:gd name="T67" fmla="*/ 681 h 681"/>
                    <a:gd name="T68" fmla="*/ 376 w 582"/>
                    <a:gd name="T69" fmla="*/ 679 h 681"/>
                    <a:gd name="T70" fmla="*/ 409 w 582"/>
                    <a:gd name="T71" fmla="*/ 675 h 681"/>
                    <a:gd name="T72" fmla="*/ 442 w 582"/>
                    <a:gd name="T73" fmla="*/ 665 h 681"/>
                    <a:gd name="T74" fmla="*/ 474 w 582"/>
                    <a:gd name="T75" fmla="*/ 654 h 681"/>
                    <a:gd name="T76" fmla="*/ 504 w 582"/>
                    <a:gd name="T77" fmla="*/ 640 h 681"/>
                    <a:gd name="T78" fmla="*/ 531 w 582"/>
                    <a:gd name="T79" fmla="*/ 623 h 681"/>
                    <a:gd name="T80" fmla="*/ 558 w 582"/>
                    <a:gd name="T81" fmla="*/ 603 h 681"/>
                    <a:gd name="T82" fmla="*/ 582 w 582"/>
                    <a:gd name="T83" fmla="*/ 581 h 681"/>
                    <a:gd name="T84" fmla="*/ 573 w 582"/>
                    <a:gd name="T85" fmla="*/ 517 h 681"/>
                    <a:gd name="T86" fmla="*/ 562 w 582"/>
                    <a:gd name="T87" fmla="*/ 387 h 681"/>
                    <a:gd name="T88" fmla="*/ 561 w 582"/>
                    <a:gd name="T89" fmla="*/ 320 h 681"/>
                    <a:gd name="T90" fmla="*/ 561 w 582"/>
                    <a:gd name="T91" fmla="*/ 320 h 681"/>
                    <a:gd name="T92" fmla="*/ 565 w 582"/>
                    <a:gd name="T93" fmla="*/ 206 h 681"/>
                    <a:gd name="T94" fmla="*/ 576 w 582"/>
                    <a:gd name="T95" fmla="*/ 94 h 681"/>
                    <a:gd name="T96" fmla="*/ 565 w 582"/>
                    <a:gd name="T97" fmla="*/ 83 h 681"/>
                    <a:gd name="T98" fmla="*/ 539 w 582"/>
                    <a:gd name="T99" fmla="*/ 63 h 681"/>
                    <a:gd name="T100" fmla="*/ 513 w 582"/>
                    <a:gd name="T101" fmla="*/ 46 h 681"/>
                    <a:gd name="T102" fmla="*/ 484 w 582"/>
                    <a:gd name="T103" fmla="*/ 31 h 681"/>
                    <a:gd name="T104" fmla="*/ 455 w 582"/>
                    <a:gd name="T105" fmla="*/ 19 h 681"/>
                    <a:gd name="T106" fmla="*/ 424 w 582"/>
                    <a:gd name="T107" fmla="*/ 10 h 681"/>
                    <a:gd name="T108" fmla="*/ 392 w 582"/>
                    <a:gd name="T109" fmla="*/ 3 h 681"/>
                    <a:gd name="T110" fmla="*/ 358 w 582"/>
                    <a:gd name="T111" fmla="*/ 0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2" h="681">
                      <a:moveTo>
                        <a:pt x="341" y="0"/>
                      </a:moveTo>
                      <a:lnTo>
                        <a:pt x="341" y="0"/>
                      </a:lnTo>
                      <a:lnTo>
                        <a:pt x="324" y="0"/>
                      </a:lnTo>
                      <a:lnTo>
                        <a:pt x="307" y="2"/>
                      </a:lnTo>
                      <a:lnTo>
                        <a:pt x="289" y="3"/>
                      </a:lnTo>
                      <a:lnTo>
                        <a:pt x="272" y="7"/>
                      </a:lnTo>
                      <a:lnTo>
                        <a:pt x="256" y="10"/>
                      </a:lnTo>
                      <a:lnTo>
                        <a:pt x="240" y="15"/>
                      </a:lnTo>
                      <a:lnTo>
                        <a:pt x="224" y="21"/>
                      </a:lnTo>
                      <a:lnTo>
                        <a:pt x="209" y="26"/>
                      </a:lnTo>
                      <a:lnTo>
                        <a:pt x="194" y="33"/>
                      </a:lnTo>
                      <a:lnTo>
                        <a:pt x="179" y="41"/>
                      </a:lnTo>
                      <a:lnTo>
                        <a:pt x="165" y="49"/>
                      </a:lnTo>
                      <a:lnTo>
                        <a:pt x="151" y="59"/>
                      </a:lnTo>
                      <a:lnTo>
                        <a:pt x="137" y="68"/>
                      </a:lnTo>
                      <a:lnTo>
                        <a:pt x="125" y="78"/>
                      </a:lnTo>
                      <a:lnTo>
                        <a:pt x="112" y="88"/>
                      </a:lnTo>
                      <a:lnTo>
                        <a:pt x="101" y="100"/>
                      </a:lnTo>
                      <a:lnTo>
                        <a:pt x="89" y="112"/>
                      </a:lnTo>
                      <a:lnTo>
                        <a:pt x="79" y="124"/>
                      </a:lnTo>
                      <a:lnTo>
                        <a:pt x="68" y="137"/>
                      </a:lnTo>
                      <a:lnTo>
                        <a:pt x="59" y="149"/>
                      </a:lnTo>
                      <a:lnTo>
                        <a:pt x="50" y="163"/>
                      </a:lnTo>
                      <a:lnTo>
                        <a:pt x="42" y="178"/>
                      </a:lnTo>
                      <a:lnTo>
                        <a:pt x="34" y="193"/>
                      </a:lnTo>
                      <a:lnTo>
                        <a:pt x="27" y="208"/>
                      </a:lnTo>
                      <a:lnTo>
                        <a:pt x="21" y="223"/>
                      </a:lnTo>
                      <a:lnTo>
                        <a:pt x="15" y="239"/>
                      </a:lnTo>
                      <a:lnTo>
                        <a:pt x="11" y="255"/>
                      </a:lnTo>
                      <a:lnTo>
                        <a:pt x="7" y="272"/>
                      </a:lnTo>
                      <a:lnTo>
                        <a:pt x="4" y="289"/>
                      </a:lnTo>
                      <a:lnTo>
                        <a:pt x="3" y="306"/>
                      </a:lnTo>
                      <a:lnTo>
                        <a:pt x="0" y="323"/>
                      </a:lnTo>
                      <a:lnTo>
                        <a:pt x="0" y="341"/>
                      </a:lnTo>
                      <a:lnTo>
                        <a:pt x="0" y="341"/>
                      </a:lnTo>
                      <a:lnTo>
                        <a:pt x="0" y="358"/>
                      </a:lnTo>
                      <a:lnTo>
                        <a:pt x="3" y="375"/>
                      </a:lnTo>
                      <a:lnTo>
                        <a:pt x="4" y="392"/>
                      </a:lnTo>
                      <a:lnTo>
                        <a:pt x="7" y="409"/>
                      </a:lnTo>
                      <a:lnTo>
                        <a:pt x="11" y="426"/>
                      </a:lnTo>
                      <a:lnTo>
                        <a:pt x="15" y="442"/>
                      </a:lnTo>
                      <a:lnTo>
                        <a:pt x="21" y="457"/>
                      </a:lnTo>
                      <a:lnTo>
                        <a:pt x="27" y="473"/>
                      </a:lnTo>
                      <a:lnTo>
                        <a:pt x="34" y="488"/>
                      </a:lnTo>
                      <a:lnTo>
                        <a:pt x="42" y="503"/>
                      </a:lnTo>
                      <a:lnTo>
                        <a:pt x="50" y="517"/>
                      </a:lnTo>
                      <a:lnTo>
                        <a:pt x="59" y="531"/>
                      </a:lnTo>
                      <a:lnTo>
                        <a:pt x="68" y="544"/>
                      </a:lnTo>
                      <a:lnTo>
                        <a:pt x="79" y="557"/>
                      </a:lnTo>
                      <a:lnTo>
                        <a:pt x="89" y="570"/>
                      </a:lnTo>
                      <a:lnTo>
                        <a:pt x="101" y="581"/>
                      </a:lnTo>
                      <a:lnTo>
                        <a:pt x="112" y="593"/>
                      </a:lnTo>
                      <a:lnTo>
                        <a:pt x="125" y="603"/>
                      </a:lnTo>
                      <a:lnTo>
                        <a:pt x="137" y="613"/>
                      </a:lnTo>
                      <a:lnTo>
                        <a:pt x="151" y="623"/>
                      </a:lnTo>
                      <a:lnTo>
                        <a:pt x="165" y="632"/>
                      </a:lnTo>
                      <a:lnTo>
                        <a:pt x="179" y="640"/>
                      </a:lnTo>
                      <a:lnTo>
                        <a:pt x="194" y="647"/>
                      </a:lnTo>
                      <a:lnTo>
                        <a:pt x="209" y="654"/>
                      </a:lnTo>
                      <a:lnTo>
                        <a:pt x="224" y="661"/>
                      </a:lnTo>
                      <a:lnTo>
                        <a:pt x="240" y="665"/>
                      </a:lnTo>
                      <a:lnTo>
                        <a:pt x="256" y="670"/>
                      </a:lnTo>
                      <a:lnTo>
                        <a:pt x="272" y="675"/>
                      </a:lnTo>
                      <a:lnTo>
                        <a:pt x="289" y="677"/>
                      </a:lnTo>
                      <a:lnTo>
                        <a:pt x="307" y="679"/>
                      </a:lnTo>
                      <a:lnTo>
                        <a:pt x="324" y="680"/>
                      </a:lnTo>
                      <a:lnTo>
                        <a:pt x="341" y="681"/>
                      </a:lnTo>
                      <a:lnTo>
                        <a:pt x="341" y="681"/>
                      </a:lnTo>
                      <a:lnTo>
                        <a:pt x="358" y="680"/>
                      </a:lnTo>
                      <a:lnTo>
                        <a:pt x="376" y="679"/>
                      </a:lnTo>
                      <a:lnTo>
                        <a:pt x="393" y="677"/>
                      </a:lnTo>
                      <a:lnTo>
                        <a:pt x="409" y="675"/>
                      </a:lnTo>
                      <a:lnTo>
                        <a:pt x="426" y="670"/>
                      </a:lnTo>
                      <a:lnTo>
                        <a:pt x="442" y="665"/>
                      </a:lnTo>
                      <a:lnTo>
                        <a:pt x="457" y="661"/>
                      </a:lnTo>
                      <a:lnTo>
                        <a:pt x="474" y="654"/>
                      </a:lnTo>
                      <a:lnTo>
                        <a:pt x="489" y="648"/>
                      </a:lnTo>
                      <a:lnTo>
                        <a:pt x="504" y="640"/>
                      </a:lnTo>
                      <a:lnTo>
                        <a:pt x="517" y="632"/>
                      </a:lnTo>
                      <a:lnTo>
                        <a:pt x="531" y="623"/>
                      </a:lnTo>
                      <a:lnTo>
                        <a:pt x="544" y="613"/>
                      </a:lnTo>
                      <a:lnTo>
                        <a:pt x="558" y="603"/>
                      </a:lnTo>
                      <a:lnTo>
                        <a:pt x="569" y="593"/>
                      </a:lnTo>
                      <a:lnTo>
                        <a:pt x="582" y="581"/>
                      </a:lnTo>
                      <a:lnTo>
                        <a:pt x="582" y="581"/>
                      </a:lnTo>
                      <a:lnTo>
                        <a:pt x="573" y="517"/>
                      </a:lnTo>
                      <a:lnTo>
                        <a:pt x="566" y="452"/>
                      </a:lnTo>
                      <a:lnTo>
                        <a:pt x="562" y="387"/>
                      </a:lnTo>
                      <a:lnTo>
                        <a:pt x="561" y="320"/>
                      </a:lnTo>
                      <a:lnTo>
                        <a:pt x="561" y="320"/>
                      </a:lnTo>
                      <a:lnTo>
                        <a:pt x="561" y="320"/>
                      </a:lnTo>
                      <a:lnTo>
                        <a:pt x="561" y="320"/>
                      </a:lnTo>
                      <a:lnTo>
                        <a:pt x="561" y="262"/>
                      </a:lnTo>
                      <a:lnTo>
                        <a:pt x="565" y="206"/>
                      </a:lnTo>
                      <a:lnTo>
                        <a:pt x="569" y="149"/>
                      </a:lnTo>
                      <a:lnTo>
                        <a:pt x="576" y="94"/>
                      </a:lnTo>
                      <a:lnTo>
                        <a:pt x="576" y="94"/>
                      </a:lnTo>
                      <a:lnTo>
                        <a:pt x="565" y="83"/>
                      </a:lnTo>
                      <a:lnTo>
                        <a:pt x="552" y="74"/>
                      </a:lnTo>
                      <a:lnTo>
                        <a:pt x="539" y="63"/>
                      </a:lnTo>
                      <a:lnTo>
                        <a:pt x="527" y="55"/>
                      </a:lnTo>
                      <a:lnTo>
                        <a:pt x="513" y="46"/>
                      </a:lnTo>
                      <a:lnTo>
                        <a:pt x="499" y="39"/>
                      </a:lnTo>
                      <a:lnTo>
                        <a:pt x="484" y="31"/>
                      </a:lnTo>
                      <a:lnTo>
                        <a:pt x="470" y="25"/>
                      </a:lnTo>
                      <a:lnTo>
                        <a:pt x="455" y="19"/>
                      </a:lnTo>
                      <a:lnTo>
                        <a:pt x="439" y="15"/>
                      </a:lnTo>
                      <a:lnTo>
                        <a:pt x="424" y="10"/>
                      </a:lnTo>
                      <a:lnTo>
                        <a:pt x="408" y="7"/>
                      </a:lnTo>
                      <a:lnTo>
                        <a:pt x="392" y="3"/>
                      </a:lnTo>
                      <a:lnTo>
                        <a:pt x="375" y="1"/>
                      </a:lnTo>
                      <a:lnTo>
                        <a:pt x="358" y="0"/>
                      </a:lnTo>
                      <a:lnTo>
                        <a:pt x="341" y="0"/>
                      </a:lnTo>
                      <a:close/>
                    </a:path>
                  </a:pathLst>
                </a:custGeom>
                <a:solidFill>
                  <a:srgbClr val="6653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5" name="Freeform 278"/>
                <p:cNvSpPr>
                  <a:spLocks/>
                </p:cNvSpPr>
                <p:nvPr/>
              </p:nvSpPr>
              <p:spPr bwMode="auto">
                <a:xfrm>
                  <a:off x="2836863" y="3192463"/>
                  <a:ext cx="131763" cy="153988"/>
                </a:xfrm>
                <a:custGeom>
                  <a:avLst/>
                  <a:gdLst>
                    <a:gd name="T0" fmla="*/ 341 w 582"/>
                    <a:gd name="T1" fmla="*/ 0 h 681"/>
                    <a:gd name="T2" fmla="*/ 307 w 582"/>
                    <a:gd name="T3" fmla="*/ 2 h 681"/>
                    <a:gd name="T4" fmla="*/ 272 w 582"/>
                    <a:gd name="T5" fmla="*/ 7 h 681"/>
                    <a:gd name="T6" fmla="*/ 240 w 582"/>
                    <a:gd name="T7" fmla="*/ 15 h 681"/>
                    <a:gd name="T8" fmla="*/ 209 w 582"/>
                    <a:gd name="T9" fmla="*/ 26 h 681"/>
                    <a:gd name="T10" fmla="*/ 179 w 582"/>
                    <a:gd name="T11" fmla="*/ 41 h 681"/>
                    <a:gd name="T12" fmla="*/ 151 w 582"/>
                    <a:gd name="T13" fmla="*/ 59 h 681"/>
                    <a:gd name="T14" fmla="*/ 125 w 582"/>
                    <a:gd name="T15" fmla="*/ 78 h 681"/>
                    <a:gd name="T16" fmla="*/ 101 w 582"/>
                    <a:gd name="T17" fmla="*/ 100 h 681"/>
                    <a:gd name="T18" fmla="*/ 79 w 582"/>
                    <a:gd name="T19" fmla="*/ 124 h 681"/>
                    <a:gd name="T20" fmla="*/ 59 w 582"/>
                    <a:gd name="T21" fmla="*/ 149 h 681"/>
                    <a:gd name="T22" fmla="*/ 42 w 582"/>
                    <a:gd name="T23" fmla="*/ 178 h 681"/>
                    <a:gd name="T24" fmla="*/ 27 w 582"/>
                    <a:gd name="T25" fmla="*/ 208 h 681"/>
                    <a:gd name="T26" fmla="*/ 15 w 582"/>
                    <a:gd name="T27" fmla="*/ 239 h 681"/>
                    <a:gd name="T28" fmla="*/ 7 w 582"/>
                    <a:gd name="T29" fmla="*/ 272 h 681"/>
                    <a:gd name="T30" fmla="*/ 3 w 582"/>
                    <a:gd name="T31" fmla="*/ 306 h 681"/>
                    <a:gd name="T32" fmla="*/ 0 w 582"/>
                    <a:gd name="T33" fmla="*/ 341 h 681"/>
                    <a:gd name="T34" fmla="*/ 0 w 582"/>
                    <a:gd name="T35" fmla="*/ 358 h 681"/>
                    <a:gd name="T36" fmla="*/ 4 w 582"/>
                    <a:gd name="T37" fmla="*/ 392 h 681"/>
                    <a:gd name="T38" fmla="*/ 11 w 582"/>
                    <a:gd name="T39" fmla="*/ 426 h 681"/>
                    <a:gd name="T40" fmla="*/ 21 w 582"/>
                    <a:gd name="T41" fmla="*/ 457 h 681"/>
                    <a:gd name="T42" fmla="*/ 34 w 582"/>
                    <a:gd name="T43" fmla="*/ 488 h 681"/>
                    <a:gd name="T44" fmla="*/ 50 w 582"/>
                    <a:gd name="T45" fmla="*/ 517 h 681"/>
                    <a:gd name="T46" fmla="*/ 68 w 582"/>
                    <a:gd name="T47" fmla="*/ 544 h 681"/>
                    <a:gd name="T48" fmla="*/ 89 w 582"/>
                    <a:gd name="T49" fmla="*/ 570 h 681"/>
                    <a:gd name="T50" fmla="*/ 112 w 582"/>
                    <a:gd name="T51" fmla="*/ 593 h 681"/>
                    <a:gd name="T52" fmla="*/ 137 w 582"/>
                    <a:gd name="T53" fmla="*/ 613 h 681"/>
                    <a:gd name="T54" fmla="*/ 165 w 582"/>
                    <a:gd name="T55" fmla="*/ 632 h 681"/>
                    <a:gd name="T56" fmla="*/ 194 w 582"/>
                    <a:gd name="T57" fmla="*/ 647 h 681"/>
                    <a:gd name="T58" fmla="*/ 224 w 582"/>
                    <a:gd name="T59" fmla="*/ 661 h 681"/>
                    <a:gd name="T60" fmla="*/ 256 w 582"/>
                    <a:gd name="T61" fmla="*/ 670 h 681"/>
                    <a:gd name="T62" fmla="*/ 289 w 582"/>
                    <a:gd name="T63" fmla="*/ 677 h 681"/>
                    <a:gd name="T64" fmla="*/ 324 w 582"/>
                    <a:gd name="T65" fmla="*/ 680 h 681"/>
                    <a:gd name="T66" fmla="*/ 341 w 582"/>
                    <a:gd name="T67" fmla="*/ 681 h 681"/>
                    <a:gd name="T68" fmla="*/ 376 w 582"/>
                    <a:gd name="T69" fmla="*/ 679 h 681"/>
                    <a:gd name="T70" fmla="*/ 409 w 582"/>
                    <a:gd name="T71" fmla="*/ 675 h 681"/>
                    <a:gd name="T72" fmla="*/ 442 w 582"/>
                    <a:gd name="T73" fmla="*/ 665 h 681"/>
                    <a:gd name="T74" fmla="*/ 474 w 582"/>
                    <a:gd name="T75" fmla="*/ 654 h 681"/>
                    <a:gd name="T76" fmla="*/ 504 w 582"/>
                    <a:gd name="T77" fmla="*/ 640 h 681"/>
                    <a:gd name="T78" fmla="*/ 531 w 582"/>
                    <a:gd name="T79" fmla="*/ 623 h 681"/>
                    <a:gd name="T80" fmla="*/ 558 w 582"/>
                    <a:gd name="T81" fmla="*/ 603 h 681"/>
                    <a:gd name="T82" fmla="*/ 582 w 582"/>
                    <a:gd name="T83" fmla="*/ 581 h 681"/>
                    <a:gd name="T84" fmla="*/ 573 w 582"/>
                    <a:gd name="T85" fmla="*/ 517 h 681"/>
                    <a:gd name="T86" fmla="*/ 562 w 582"/>
                    <a:gd name="T87" fmla="*/ 387 h 681"/>
                    <a:gd name="T88" fmla="*/ 561 w 582"/>
                    <a:gd name="T89" fmla="*/ 320 h 681"/>
                    <a:gd name="T90" fmla="*/ 561 w 582"/>
                    <a:gd name="T91" fmla="*/ 320 h 681"/>
                    <a:gd name="T92" fmla="*/ 565 w 582"/>
                    <a:gd name="T93" fmla="*/ 206 h 681"/>
                    <a:gd name="T94" fmla="*/ 576 w 582"/>
                    <a:gd name="T95" fmla="*/ 94 h 681"/>
                    <a:gd name="T96" fmla="*/ 565 w 582"/>
                    <a:gd name="T97" fmla="*/ 83 h 681"/>
                    <a:gd name="T98" fmla="*/ 539 w 582"/>
                    <a:gd name="T99" fmla="*/ 63 h 681"/>
                    <a:gd name="T100" fmla="*/ 513 w 582"/>
                    <a:gd name="T101" fmla="*/ 46 h 681"/>
                    <a:gd name="T102" fmla="*/ 484 w 582"/>
                    <a:gd name="T103" fmla="*/ 31 h 681"/>
                    <a:gd name="T104" fmla="*/ 455 w 582"/>
                    <a:gd name="T105" fmla="*/ 19 h 681"/>
                    <a:gd name="T106" fmla="*/ 424 w 582"/>
                    <a:gd name="T107" fmla="*/ 10 h 681"/>
                    <a:gd name="T108" fmla="*/ 392 w 582"/>
                    <a:gd name="T109" fmla="*/ 3 h 681"/>
                    <a:gd name="T110" fmla="*/ 358 w 582"/>
                    <a:gd name="T111" fmla="*/ 0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2" h="681">
                      <a:moveTo>
                        <a:pt x="341" y="0"/>
                      </a:moveTo>
                      <a:lnTo>
                        <a:pt x="341" y="0"/>
                      </a:lnTo>
                      <a:lnTo>
                        <a:pt x="324" y="0"/>
                      </a:lnTo>
                      <a:lnTo>
                        <a:pt x="307" y="2"/>
                      </a:lnTo>
                      <a:lnTo>
                        <a:pt x="289" y="3"/>
                      </a:lnTo>
                      <a:lnTo>
                        <a:pt x="272" y="7"/>
                      </a:lnTo>
                      <a:lnTo>
                        <a:pt x="256" y="10"/>
                      </a:lnTo>
                      <a:lnTo>
                        <a:pt x="240" y="15"/>
                      </a:lnTo>
                      <a:lnTo>
                        <a:pt x="224" y="21"/>
                      </a:lnTo>
                      <a:lnTo>
                        <a:pt x="209" y="26"/>
                      </a:lnTo>
                      <a:lnTo>
                        <a:pt x="194" y="33"/>
                      </a:lnTo>
                      <a:lnTo>
                        <a:pt x="179" y="41"/>
                      </a:lnTo>
                      <a:lnTo>
                        <a:pt x="165" y="49"/>
                      </a:lnTo>
                      <a:lnTo>
                        <a:pt x="151" y="59"/>
                      </a:lnTo>
                      <a:lnTo>
                        <a:pt x="137" y="68"/>
                      </a:lnTo>
                      <a:lnTo>
                        <a:pt x="125" y="78"/>
                      </a:lnTo>
                      <a:lnTo>
                        <a:pt x="112" y="88"/>
                      </a:lnTo>
                      <a:lnTo>
                        <a:pt x="101" y="100"/>
                      </a:lnTo>
                      <a:lnTo>
                        <a:pt x="89" y="112"/>
                      </a:lnTo>
                      <a:lnTo>
                        <a:pt x="79" y="124"/>
                      </a:lnTo>
                      <a:lnTo>
                        <a:pt x="68" y="137"/>
                      </a:lnTo>
                      <a:lnTo>
                        <a:pt x="59" y="149"/>
                      </a:lnTo>
                      <a:lnTo>
                        <a:pt x="50" y="163"/>
                      </a:lnTo>
                      <a:lnTo>
                        <a:pt x="42" y="178"/>
                      </a:lnTo>
                      <a:lnTo>
                        <a:pt x="34" y="193"/>
                      </a:lnTo>
                      <a:lnTo>
                        <a:pt x="27" y="208"/>
                      </a:lnTo>
                      <a:lnTo>
                        <a:pt x="21" y="223"/>
                      </a:lnTo>
                      <a:lnTo>
                        <a:pt x="15" y="239"/>
                      </a:lnTo>
                      <a:lnTo>
                        <a:pt x="11" y="255"/>
                      </a:lnTo>
                      <a:lnTo>
                        <a:pt x="7" y="272"/>
                      </a:lnTo>
                      <a:lnTo>
                        <a:pt x="4" y="289"/>
                      </a:lnTo>
                      <a:lnTo>
                        <a:pt x="3" y="306"/>
                      </a:lnTo>
                      <a:lnTo>
                        <a:pt x="0" y="323"/>
                      </a:lnTo>
                      <a:lnTo>
                        <a:pt x="0" y="341"/>
                      </a:lnTo>
                      <a:lnTo>
                        <a:pt x="0" y="341"/>
                      </a:lnTo>
                      <a:lnTo>
                        <a:pt x="0" y="358"/>
                      </a:lnTo>
                      <a:lnTo>
                        <a:pt x="3" y="375"/>
                      </a:lnTo>
                      <a:lnTo>
                        <a:pt x="4" y="392"/>
                      </a:lnTo>
                      <a:lnTo>
                        <a:pt x="7" y="409"/>
                      </a:lnTo>
                      <a:lnTo>
                        <a:pt x="11" y="426"/>
                      </a:lnTo>
                      <a:lnTo>
                        <a:pt x="15" y="442"/>
                      </a:lnTo>
                      <a:lnTo>
                        <a:pt x="21" y="457"/>
                      </a:lnTo>
                      <a:lnTo>
                        <a:pt x="27" y="473"/>
                      </a:lnTo>
                      <a:lnTo>
                        <a:pt x="34" y="488"/>
                      </a:lnTo>
                      <a:lnTo>
                        <a:pt x="42" y="503"/>
                      </a:lnTo>
                      <a:lnTo>
                        <a:pt x="50" y="517"/>
                      </a:lnTo>
                      <a:lnTo>
                        <a:pt x="59" y="531"/>
                      </a:lnTo>
                      <a:lnTo>
                        <a:pt x="68" y="544"/>
                      </a:lnTo>
                      <a:lnTo>
                        <a:pt x="79" y="557"/>
                      </a:lnTo>
                      <a:lnTo>
                        <a:pt x="89" y="570"/>
                      </a:lnTo>
                      <a:lnTo>
                        <a:pt x="101" y="581"/>
                      </a:lnTo>
                      <a:lnTo>
                        <a:pt x="112" y="593"/>
                      </a:lnTo>
                      <a:lnTo>
                        <a:pt x="125" y="603"/>
                      </a:lnTo>
                      <a:lnTo>
                        <a:pt x="137" y="613"/>
                      </a:lnTo>
                      <a:lnTo>
                        <a:pt x="151" y="623"/>
                      </a:lnTo>
                      <a:lnTo>
                        <a:pt x="165" y="632"/>
                      </a:lnTo>
                      <a:lnTo>
                        <a:pt x="179" y="640"/>
                      </a:lnTo>
                      <a:lnTo>
                        <a:pt x="194" y="647"/>
                      </a:lnTo>
                      <a:lnTo>
                        <a:pt x="209" y="654"/>
                      </a:lnTo>
                      <a:lnTo>
                        <a:pt x="224" y="661"/>
                      </a:lnTo>
                      <a:lnTo>
                        <a:pt x="240" y="665"/>
                      </a:lnTo>
                      <a:lnTo>
                        <a:pt x="256" y="670"/>
                      </a:lnTo>
                      <a:lnTo>
                        <a:pt x="272" y="675"/>
                      </a:lnTo>
                      <a:lnTo>
                        <a:pt x="289" y="677"/>
                      </a:lnTo>
                      <a:lnTo>
                        <a:pt x="307" y="679"/>
                      </a:lnTo>
                      <a:lnTo>
                        <a:pt x="324" y="680"/>
                      </a:lnTo>
                      <a:lnTo>
                        <a:pt x="341" y="681"/>
                      </a:lnTo>
                      <a:lnTo>
                        <a:pt x="341" y="681"/>
                      </a:lnTo>
                      <a:lnTo>
                        <a:pt x="358" y="680"/>
                      </a:lnTo>
                      <a:lnTo>
                        <a:pt x="376" y="679"/>
                      </a:lnTo>
                      <a:lnTo>
                        <a:pt x="393" y="677"/>
                      </a:lnTo>
                      <a:lnTo>
                        <a:pt x="409" y="675"/>
                      </a:lnTo>
                      <a:lnTo>
                        <a:pt x="426" y="670"/>
                      </a:lnTo>
                      <a:lnTo>
                        <a:pt x="442" y="665"/>
                      </a:lnTo>
                      <a:lnTo>
                        <a:pt x="457" y="661"/>
                      </a:lnTo>
                      <a:lnTo>
                        <a:pt x="474" y="654"/>
                      </a:lnTo>
                      <a:lnTo>
                        <a:pt x="489" y="648"/>
                      </a:lnTo>
                      <a:lnTo>
                        <a:pt x="504" y="640"/>
                      </a:lnTo>
                      <a:lnTo>
                        <a:pt x="517" y="632"/>
                      </a:lnTo>
                      <a:lnTo>
                        <a:pt x="531" y="623"/>
                      </a:lnTo>
                      <a:lnTo>
                        <a:pt x="544" y="613"/>
                      </a:lnTo>
                      <a:lnTo>
                        <a:pt x="558" y="603"/>
                      </a:lnTo>
                      <a:lnTo>
                        <a:pt x="569" y="593"/>
                      </a:lnTo>
                      <a:lnTo>
                        <a:pt x="582" y="581"/>
                      </a:lnTo>
                      <a:lnTo>
                        <a:pt x="582" y="581"/>
                      </a:lnTo>
                      <a:lnTo>
                        <a:pt x="573" y="517"/>
                      </a:lnTo>
                      <a:lnTo>
                        <a:pt x="566" y="452"/>
                      </a:lnTo>
                      <a:lnTo>
                        <a:pt x="562" y="387"/>
                      </a:lnTo>
                      <a:lnTo>
                        <a:pt x="561" y="320"/>
                      </a:lnTo>
                      <a:lnTo>
                        <a:pt x="561" y="320"/>
                      </a:lnTo>
                      <a:lnTo>
                        <a:pt x="561" y="320"/>
                      </a:lnTo>
                      <a:lnTo>
                        <a:pt x="561" y="320"/>
                      </a:lnTo>
                      <a:lnTo>
                        <a:pt x="561" y="262"/>
                      </a:lnTo>
                      <a:lnTo>
                        <a:pt x="565" y="206"/>
                      </a:lnTo>
                      <a:lnTo>
                        <a:pt x="569" y="149"/>
                      </a:lnTo>
                      <a:lnTo>
                        <a:pt x="576" y="94"/>
                      </a:lnTo>
                      <a:lnTo>
                        <a:pt x="576" y="94"/>
                      </a:lnTo>
                      <a:lnTo>
                        <a:pt x="565" y="83"/>
                      </a:lnTo>
                      <a:lnTo>
                        <a:pt x="552" y="74"/>
                      </a:lnTo>
                      <a:lnTo>
                        <a:pt x="539" y="63"/>
                      </a:lnTo>
                      <a:lnTo>
                        <a:pt x="527" y="55"/>
                      </a:lnTo>
                      <a:lnTo>
                        <a:pt x="513" y="46"/>
                      </a:lnTo>
                      <a:lnTo>
                        <a:pt x="499" y="39"/>
                      </a:lnTo>
                      <a:lnTo>
                        <a:pt x="484" y="31"/>
                      </a:lnTo>
                      <a:lnTo>
                        <a:pt x="470" y="25"/>
                      </a:lnTo>
                      <a:lnTo>
                        <a:pt x="455" y="19"/>
                      </a:lnTo>
                      <a:lnTo>
                        <a:pt x="439" y="15"/>
                      </a:lnTo>
                      <a:lnTo>
                        <a:pt x="424" y="10"/>
                      </a:lnTo>
                      <a:lnTo>
                        <a:pt x="408" y="7"/>
                      </a:lnTo>
                      <a:lnTo>
                        <a:pt x="392" y="3"/>
                      </a:lnTo>
                      <a:lnTo>
                        <a:pt x="375" y="1"/>
                      </a:lnTo>
                      <a:lnTo>
                        <a:pt x="358" y="0"/>
                      </a:lnTo>
                      <a:lnTo>
                        <a:pt x="34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6" name="Freeform 279"/>
                <p:cNvSpPr>
                  <a:spLocks/>
                </p:cNvSpPr>
                <p:nvPr/>
              </p:nvSpPr>
              <p:spPr bwMode="auto">
                <a:xfrm>
                  <a:off x="2963863" y="3213100"/>
                  <a:ext cx="28575" cy="111125"/>
                </a:xfrm>
                <a:custGeom>
                  <a:avLst/>
                  <a:gdLst>
                    <a:gd name="T0" fmla="*/ 15 w 121"/>
                    <a:gd name="T1" fmla="*/ 0 h 487"/>
                    <a:gd name="T2" fmla="*/ 15 w 121"/>
                    <a:gd name="T3" fmla="*/ 0 h 487"/>
                    <a:gd name="T4" fmla="*/ 8 w 121"/>
                    <a:gd name="T5" fmla="*/ 55 h 487"/>
                    <a:gd name="T6" fmla="*/ 4 w 121"/>
                    <a:gd name="T7" fmla="*/ 112 h 487"/>
                    <a:gd name="T8" fmla="*/ 0 w 121"/>
                    <a:gd name="T9" fmla="*/ 168 h 487"/>
                    <a:gd name="T10" fmla="*/ 0 w 121"/>
                    <a:gd name="T11" fmla="*/ 226 h 487"/>
                    <a:gd name="T12" fmla="*/ 0 w 121"/>
                    <a:gd name="T13" fmla="*/ 226 h 487"/>
                    <a:gd name="T14" fmla="*/ 0 w 121"/>
                    <a:gd name="T15" fmla="*/ 226 h 487"/>
                    <a:gd name="T16" fmla="*/ 1 w 121"/>
                    <a:gd name="T17" fmla="*/ 293 h 487"/>
                    <a:gd name="T18" fmla="*/ 5 w 121"/>
                    <a:gd name="T19" fmla="*/ 358 h 487"/>
                    <a:gd name="T20" fmla="*/ 12 w 121"/>
                    <a:gd name="T21" fmla="*/ 423 h 487"/>
                    <a:gd name="T22" fmla="*/ 21 w 121"/>
                    <a:gd name="T23" fmla="*/ 487 h 487"/>
                    <a:gd name="T24" fmla="*/ 21 w 121"/>
                    <a:gd name="T25" fmla="*/ 487 h 487"/>
                    <a:gd name="T26" fmla="*/ 31 w 121"/>
                    <a:gd name="T27" fmla="*/ 476 h 487"/>
                    <a:gd name="T28" fmla="*/ 43 w 121"/>
                    <a:gd name="T29" fmla="*/ 463 h 487"/>
                    <a:gd name="T30" fmla="*/ 53 w 121"/>
                    <a:gd name="T31" fmla="*/ 450 h 487"/>
                    <a:gd name="T32" fmla="*/ 62 w 121"/>
                    <a:gd name="T33" fmla="*/ 438 h 487"/>
                    <a:gd name="T34" fmla="*/ 71 w 121"/>
                    <a:gd name="T35" fmla="*/ 423 h 487"/>
                    <a:gd name="T36" fmla="*/ 80 w 121"/>
                    <a:gd name="T37" fmla="*/ 409 h 487"/>
                    <a:gd name="T38" fmla="*/ 86 w 121"/>
                    <a:gd name="T39" fmla="*/ 394 h 487"/>
                    <a:gd name="T40" fmla="*/ 93 w 121"/>
                    <a:gd name="T41" fmla="*/ 379 h 487"/>
                    <a:gd name="T42" fmla="*/ 100 w 121"/>
                    <a:gd name="T43" fmla="*/ 364 h 487"/>
                    <a:gd name="T44" fmla="*/ 105 w 121"/>
                    <a:gd name="T45" fmla="*/ 348 h 487"/>
                    <a:gd name="T46" fmla="*/ 109 w 121"/>
                    <a:gd name="T47" fmla="*/ 332 h 487"/>
                    <a:gd name="T48" fmla="*/ 114 w 121"/>
                    <a:gd name="T49" fmla="*/ 316 h 487"/>
                    <a:gd name="T50" fmla="*/ 116 w 121"/>
                    <a:gd name="T51" fmla="*/ 298 h 487"/>
                    <a:gd name="T52" fmla="*/ 119 w 121"/>
                    <a:gd name="T53" fmla="*/ 281 h 487"/>
                    <a:gd name="T54" fmla="*/ 120 w 121"/>
                    <a:gd name="T55" fmla="*/ 264 h 487"/>
                    <a:gd name="T56" fmla="*/ 121 w 121"/>
                    <a:gd name="T57" fmla="*/ 247 h 487"/>
                    <a:gd name="T58" fmla="*/ 121 w 121"/>
                    <a:gd name="T59" fmla="*/ 247 h 487"/>
                    <a:gd name="T60" fmla="*/ 120 w 121"/>
                    <a:gd name="T61" fmla="*/ 228 h 487"/>
                    <a:gd name="T62" fmla="*/ 119 w 121"/>
                    <a:gd name="T63" fmla="*/ 211 h 487"/>
                    <a:gd name="T64" fmla="*/ 116 w 121"/>
                    <a:gd name="T65" fmla="*/ 193 h 487"/>
                    <a:gd name="T66" fmla="*/ 113 w 121"/>
                    <a:gd name="T67" fmla="*/ 175 h 487"/>
                    <a:gd name="T68" fmla="*/ 109 w 121"/>
                    <a:gd name="T69" fmla="*/ 159 h 487"/>
                    <a:gd name="T70" fmla="*/ 105 w 121"/>
                    <a:gd name="T71" fmla="*/ 142 h 487"/>
                    <a:gd name="T72" fmla="*/ 99 w 121"/>
                    <a:gd name="T73" fmla="*/ 126 h 487"/>
                    <a:gd name="T74" fmla="*/ 92 w 121"/>
                    <a:gd name="T75" fmla="*/ 110 h 487"/>
                    <a:gd name="T76" fmla="*/ 85 w 121"/>
                    <a:gd name="T77" fmla="*/ 95 h 487"/>
                    <a:gd name="T78" fmla="*/ 77 w 121"/>
                    <a:gd name="T79" fmla="*/ 80 h 487"/>
                    <a:gd name="T80" fmla="*/ 68 w 121"/>
                    <a:gd name="T81" fmla="*/ 65 h 487"/>
                    <a:gd name="T82" fmla="*/ 59 w 121"/>
                    <a:gd name="T83" fmla="*/ 51 h 487"/>
                    <a:gd name="T84" fmla="*/ 48 w 121"/>
                    <a:gd name="T85" fmla="*/ 37 h 487"/>
                    <a:gd name="T86" fmla="*/ 38 w 121"/>
                    <a:gd name="T87" fmla="*/ 24 h 487"/>
                    <a:gd name="T88" fmla="*/ 27 w 121"/>
                    <a:gd name="T89" fmla="*/ 12 h 487"/>
                    <a:gd name="T90" fmla="*/ 15 w 121"/>
                    <a:gd name="T91" fmla="*/ 0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1" h="487">
                      <a:moveTo>
                        <a:pt x="15" y="0"/>
                      </a:moveTo>
                      <a:lnTo>
                        <a:pt x="15" y="0"/>
                      </a:lnTo>
                      <a:lnTo>
                        <a:pt x="8" y="55"/>
                      </a:lnTo>
                      <a:lnTo>
                        <a:pt x="4" y="112"/>
                      </a:lnTo>
                      <a:lnTo>
                        <a:pt x="0" y="168"/>
                      </a:lnTo>
                      <a:lnTo>
                        <a:pt x="0" y="226"/>
                      </a:lnTo>
                      <a:lnTo>
                        <a:pt x="0" y="226"/>
                      </a:lnTo>
                      <a:lnTo>
                        <a:pt x="0" y="226"/>
                      </a:lnTo>
                      <a:lnTo>
                        <a:pt x="1" y="293"/>
                      </a:lnTo>
                      <a:lnTo>
                        <a:pt x="5" y="358"/>
                      </a:lnTo>
                      <a:lnTo>
                        <a:pt x="12" y="423"/>
                      </a:lnTo>
                      <a:lnTo>
                        <a:pt x="21" y="487"/>
                      </a:lnTo>
                      <a:lnTo>
                        <a:pt x="21" y="487"/>
                      </a:lnTo>
                      <a:lnTo>
                        <a:pt x="31" y="476"/>
                      </a:lnTo>
                      <a:lnTo>
                        <a:pt x="43" y="463"/>
                      </a:lnTo>
                      <a:lnTo>
                        <a:pt x="53" y="450"/>
                      </a:lnTo>
                      <a:lnTo>
                        <a:pt x="62" y="438"/>
                      </a:lnTo>
                      <a:lnTo>
                        <a:pt x="71" y="423"/>
                      </a:lnTo>
                      <a:lnTo>
                        <a:pt x="80" y="409"/>
                      </a:lnTo>
                      <a:lnTo>
                        <a:pt x="86" y="394"/>
                      </a:lnTo>
                      <a:lnTo>
                        <a:pt x="93" y="379"/>
                      </a:lnTo>
                      <a:lnTo>
                        <a:pt x="100" y="364"/>
                      </a:lnTo>
                      <a:lnTo>
                        <a:pt x="105" y="348"/>
                      </a:lnTo>
                      <a:lnTo>
                        <a:pt x="109" y="332"/>
                      </a:lnTo>
                      <a:lnTo>
                        <a:pt x="114" y="316"/>
                      </a:lnTo>
                      <a:lnTo>
                        <a:pt x="116" y="298"/>
                      </a:lnTo>
                      <a:lnTo>
                        <a:pt x="119" y="281"/>
                      </a:lnTo>
                      <a:lnTo>
                        <a:pt x="120" y="264"/>
                      </a:lnTo>
                      <a:lnTo>
                        <a:pt x="121" y="247"/>
                      </a:lnTo>
                      <a:lnTo>
                        <a:pt x="121" y="247"/>
                      </a:lnTo>
                      <a:lnTo>
                        <a:pt x="120" y="228"/>
                      </a:lnTo>
                      <a:lnTo>
                        <a:pt x="119" y="211"/>
                      </a:lnTo>
                      <a:lnTo>
                        <a:pt x="116" y="193"/>
                      </a:lnTo>
                      <a:lnTo>
                        <a:pt x="113" y="175"/>
                      </a:lnTo>
                      <a:lnTo>
                        <a:pt x="109" y="159"/>
                      </a:lnTo>
                      <a:lnTo>
                        <a:pt x="105" y="142"/>
                      </a:lnTo>
                      <a:lnTo>
                        <a:pt x="99" y="126"/>
                      </a:lnTo>
                      <a:lnTo>
                        <a:pt x="92" y="110"/>
                      </a:lnTo>
                      <a:lnTo>
                        <a:pt x="85" y="95"/>
                      </a:lnTo>
                      <a:lnTo>
                        <a:pt x="77" y="80"/>
                      </a:lnTo>
                      <a:lnTo>
                        <a:pt x="68" y="65"/>
                      </a:lnTo>
                      <a:lnTo>
                        <a:pt x="59" y="51"/>
                      </a:lnTo>
                      <a:lnTo>
                        <a:pt x="48" y="37"/>
                      </a:lnTo>
                      <a:lnTo>
                        <a:pt x="38" y="24"/>
                      </a:lnTo>
                      <a:lnTo>
                        <a:pt x="27" y="12"/>
                      </a:lnTo>
                      <a:lnTo>
                        <a:pt x="15" y="0"/>
                      </a:lnTo>
                      <a:close/>
                    </a:path>
                  </a:pathLst>
                </a:custGeom>
                <a:solidFill>
                  <a:srgbClr val="9784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7" name="Freeform 280"/>
                <p:cNvSpPr>
                  <a:spLocks/>
                </p:cNvSpPr>
                <p:nvPr/>
              </p:nvSpPr>
              <p:spPr bwMode="auto">
                <a:xfrm>
                  <a:off x="2963863" y="3213100"/>
                  <a:ext cx="28575" cy="111125"/>
                </a:xfrm>
                <a:custGeom>
                  <a:avLst/>
                  <a:gdLst>
                    <a:gd name="T0" fmla="*/ 15 w 121"/>
                    <a:gd name="T1" fmla="*/ 0 h 487"/>
                    <a:gd name="T2" fmla="*/ 15 w 121"/>
                    <a:gd name="T3" fmla="*/ 0 h 487"/>
                    <a:gd name="T4" fmla="*/ 8 w 121"/>
                    <a:gd name="T5" fmla="*/ 55 h 487"/>
                    <a:gd name="T6" fmla="*/ 4 w 121"/>
                    <a:gd name="T7" fmla="*/ 112 h 487"/>
                    <a:gd name="T8" fmla="*/ 0 w 121"/>
                    <a:gd name="T9" fmla="*/ 168 h 487"/>
                    <a:gd name="T10" fmla="*/ 0 w 121"/>
                    <a:gd name="T11" fmla="*/ 226 h 487"/>
                    <a:gd name="T12" fmla="*/ 0 w 121"/>
                    <a:gd name="T13" fmla="*/ 226 h 487"/>
                    <a:gd name="T14" fmla="*/ 0 w 121"/>
                    <a:gd name="T15" fmla="*/ 226 h 487"/>
                    <a:gd name="T16" fmla="*/ 1 w 121"/>
                    <a:gd name="T17" fmla="*/ 293 h 487"/>
                    <a:gd name="T18" fmla="*/ 5 w 121"/>
                    <a:gd name="T19" fmla="*/ 358 h 487"/>
                    <a:gd name="T20" fmla="*/ 12 w 121"/>
                    <a:gd name="T21" fmla="*/ 423 h 487"/>
                    <a:gd name="T22" fmla="*/ 21 w 121"/>
                    <a:gd name="T23" fmla="*/ 487 h 487"/>
                    <a:gd name="T24" fmla="*/ 21 w 121"/>
                    <a:gd name="T25" fmla="*/ 487 h 487"/>
                    <a:gd name="T26" fmla="*/ 31 w 121"/>
                    <a:gd name="T27" fmla="*/ 476 h 487"/>
                    <a:gd name="T28" fmla="*/ 43 w 121"/>
                    <a:gd name="T29" fmla="*/ 463 h 487"/>
                    <a:gd name="T30" fmla="*/ 53 w 121"/>
                    <a:gd name="T31" fmla="*/ 450 h 487"/>
                    <a:gd name="T32" fmla="*/ 62 w 121"/>
                    <a:gd name="T33" fmla="*/ 438 h 487"/>
                    <a:gd name="T34" fmla="*/ 71 w 121"/>
                    <a:gd name="T35" fmla="*/ 423 h 487"/>
                    <a:gd name="T36" fmla="*/ 80 w 121"/>
                    <a:gd name="T37" fmla="*/ 409 h 487"/>
                    <a:gd name="T38" fmla="*/ 86 w 121"/>
                    <a:gd name="T39" fmla="*/ 394 h 487"/>
                    <a:gd name="T40" fmla="*/ 93 w 121"/>
                    <a:gd name="T41" fmla="*/ 379 h 487"/>
                    <a:gd name="T42" fmla="*/ 100 w 121"/>
                    <a:gd name="T43" fmla="*/ 364 h 487"/>
                    <a:gd name="T44" fmla="*/ 105 w 121"/>
                    <a:gd name="T45" fmla="*/ 348 h 487"/>
                    <a:gd name="T46" fmla="*/ 109 w 121"/>
                    <a:gd name="T47" fmla="*/ 332 h 487"/>
                    <a:gd name="T48" fmla="*/ 114 w 121"/>
                    <a:gd name="T49" fmla="*/ 316 h 487"/>
                    <a:gd name="T50" fmla="*/ 116 w 121"/>
                    <a:gd name="T51" fmla="*/ 298 h 487"/>
                    <a:gd name="T52" fmla="*/ 119 w 121"/>
                    <a:gd name="T53" fmla="*/ 281 h 487"/>
                    <a:gd name="T54" fmla="*/ 120 w 121"/>
                    <a:gd name="T55" fmla="*/ 264 h 487"/>
                    <a:gd name="T56" fmla="*/ 121 w 121"/>
                    <a:gd name="T57" fmla="*/ 247 h 487"/>
                    <a:gd name="T58" fmla="*/ 121 w 121"/>
                    <a:gd name="T59" fmla="*/ 247 h 487"/>
                    <a:gd name="T60" fmla="*/ 120 w 121"/>
                    <a:gd name="T61" fmla="*/ 228 h 487"/>
                    <a:gd name="T62" fmla="*/ 119 w 121"/>
                    <a:gd name="T63" fmla="*/ 211 h 487"/>
                    <a:gd name="T64" fmla="*/ 116 w 121"/>
                    <a:gd name="T65" fmla="*/ 193 h 487"/>
                    <a:gd name="T66" fmla="*/ 113 w 121"/>
                    <a:gd name="T67" fmla="*/ 175 h 487"/>
                    <a:gd name="T68" fmla="*/ 109 w 121"/>
                    <a:gd name="T69" fmla="*/ 159 h 487"/>
                    <a:gd name="T70" fmla="*/ 105 w 121"/>
                    <a:gd name="T71" fmla="*/ 142 h 487"/>
                    <a:gd name="T72" fmla="*/ 99 w 121"/>
                    <a:gd name="T73" fmla="*/ 126 h 487"/>
                    <a:gd name="T74" fmla="*/ 92 w 121"/>
                    <a:gd name="T75" fmla="*/ 110 h 487"/>
                    <a:gd name="T76" fmla="*/ 85 w 121"/>
                    <a:gd name="T77" fmla="*/ 95 h 487"/>
                    <a:gd name="T78" fmla="*/ 77 w 121"/>
                    <a:gd name="T79" fmla="*/ 80 h 487"/>
                    <a:gd name="T80" fmla="*/ 68 w 121"/>
                    <a:gd name="T81" fmla="*/ 65 h 487"/>
                    <a:gd name="T82" fmla="*/ 59 w 121"/>
                    <a:gd name="T83" fmla="*/ 51 h 487"/>
                    <a:gd name="T84" fmla="*/ 48 w 121"/>
                    <a:gd name="T85" fmla="*/ 37 h 487"/>
                    <a:gd name="T86" fmla="*/ 38 w 121"/>
                    <a:gd name="T87" fmla="*/ 24 h 487"/>
                    <a:gd name="T88" fmla="*/ 27 w 121"/>
                    <a:gd name="T89" fmla="*/ 12 h 487"/>
                    <a:gd name="T90" fmla="*/ 15 w 121"/>
                    <a:gd name="T91" fmla="*/ 0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1" h="487">
                      <a:moveTo>
                        <a:pt x="15" y="0"/>
                      </a:moveTo>
                      <a:lnTo>
                        <a:pt x="15" y="0"/>
                      </a:lnTo>
                      <a:lnTo>
                        <a:pt x="8" y="55"/>
                      </a:lnTo>
                      <a:lnTo>
                        <a:pt x="4" y="112"/>
                      </a:lnTo>
                      <a:lnTo>
                        <a:pt x="0" y="168"/>
                      </a:lnTo>
                      <a:lnTo>
                        <a:pt x="0" y="226"/>
                      </a:lnTo>
                      <a:lnTo>
                        <a:pt x="0" y="226"/>
                      </a:lnTo>
                      <a:lnTo>
                        <a:pt x="0" y="226"/>
                      </a:lnTo>
                      <a:lnTo>
                        <a:pt x="1" y="293"/>
                      </a:lnTo>
                      <a:lnTo>
                        <a:pt x="5" y="358"/>
                      </a:lnTo>
                      <a:lnTo>
                        <a:pt x="12" y="423"/>
                      </a:lnTo>
                      <a:lnTo>
                        <a:pt x="21" y="487"/>
                      </a:lnTo>
                      <a:lnTo>
                        <a:pt x="21" y="487"/>
                      </a:lnTo>
                      <a:lnTo>
                        <a:pt x="31" y="476"/>
                      </a:lnTo>
                      <a:lnTo>
                        <a:pt x="43" y="463"/>
                      </a:lnTo>
                      <a:lnTo>
                        <a:pt x="53" y="450"/>
                      </a:lnTo>
                      <a:lnTo>
                        <a:pt x="62" y="438"/>
                      </a:lnTo>
                      <a:lnTo>
                        <a:pt x="71" y="423"/>
                      </a:lnTo>
                      <a:lnTo>
                        <a:pt x="80" y="409"/>
                      </a:lnTo>
                      <a:lnTo>
                        <a:pt x="86" y="394"/>
                      </a:lnTo>
                      <a:lnTo>
                        <a:pt x="93" y="379"/>
                      </a:lnTo>
                      <a:lnTo>
                        <a:pt x="100" y="364"/>
                      </a:lnTo>
                      <a:lnTo>
                        <a:pt x="105" y="348"/>
                      </a:lnTo>
                      <a:lnTo>
                        <a:pt x="109" y="332"/>
                      </a:lnTo>
                      <a:lnTo>
                        <a:pt x="114" y="316"/>
                      </a:lnTo>
                      <a:lnTo>
                        <a:pt x="116" y="298"/>
                      </a:lnTo>
                      <a:lnTo>
                        <a:pt x="119" y="281"/>
                      </a:lnTo>
                      <a:lnTo>
                        <a:pt x="120" y="264"/>
                      </a:lnTo>
                      <a:lnTo>
                        <a:pt x="121" y="247"/>
                      </a:lnTo>
                      <a:lnTo>
                        <a:pt x="121" y="247"/>
                      </a:lnTo>
                      <a:lnTo>
                        <a:pt x="120" y="228"/>
                      </a:lnTo>
                      <a:lnTo>
                        <a:pt x="119" y="211"/>
                      </a:lnTo>
                      <a:lnTo>
                        <a:pt x="116" y="193"/>
                      </a:lnTo>
                      <a:lnTo>
                        <a:pt x="113" y="175"/>
                      </a:lnTo>
                      <a:lnTo>
                        <a:pt x="109" y="159"/>
                      </a:lnTo>
                      <a:lnTo>
                        <a:pt x="105" y="142"/>
                      </a:lnTo>
                      <a:lnTo>
                        <a:pt x="99" y="126"/>
                      </a:lnTo>
                      <a:lnTo>
                        <a:pt x="92" y="110"/>
                      </a:lnTo>
                      <a:lnTo>
                        <a:pt x="85" y="95"/>
                      </a:lnTo>
                      <a:lnTo>
                        <a:pt x="77" y="80"/>
                      </a:lnTo>
                      <a:lnTo>
                        <a:pt x="68" y="65"/>
                      </a:lnTo>
                      <a:lnTo>
                        <a:pt x="59" y="51"/>
                      </a:lnTo>
                      <a:lnTo>
                        <a:pt x="48" y="37"/>
                      </a:lnTo>
                      <a:lnTo>
                        <a:pt x="38" y="24"/>
                      </a:lnTo>
                      <a:lnTo>
                        <a:pt x="27" y="12"/>
                      </a:lnTo>
                      <a:lnTo>
                        <a:pt x="1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8" name="Freeform 281"/>
                <p:cNvSpPr>
                  <a:spLocks/>
                </p:cNvSpPr>
                <p:nvPr/>
              </p:nvSpPr>
              <p:spPr bwMode="auto">
                <a:xfrm>
                  <a:off x="3373438" y="3238500"/>
                  <a:ext cx="153988" cy="155575"/>
                </a:xfrm>
                <a:custGeom>
                  <a:avLst/>
                  <a:gdLst>
                    <a:gd name="T0" fmla="*/ 322 w 680"/>
                    <a:gd name="T1" fmla="*/ 0 h 681"/>
                    <a:gd name="T2" fmla="*/ 272 w 680"/>
                    <a:gd name="T3" fmla="*/ 7 h 681"/>
                    <a:gd name="T4" fmla="*/ 223 w 680"/>
                    <a:gd name="T5" fmla="*/ 21 h 681"/>
                    <a:gd name="T6" fmla="*/ 178 w 680"/>
                    <a:gd name="T7" fmla="*/ 41 h 681"/>
                    <a:gd name="T8" fmla="*/ 137 w 680"/>
                    <a:gd name="T9" fmla="*/ 67 h 681"/>
                    <a:gd name="T10" fmla="*/ 99 w 680"/>
                    <a:gd name="T11" fmla="*/ 99 h 681"/>
                    <a:gd name="T12" fmla="*/ 68 w 680"/>
                    <a:gd name="T13" fmla="*/ 136 h 681"/>
                    <a:gd name="T14" fmla="*/ 41 w 680"/>
                    <a:gd name="T15" fmla="*/ 178 h 681"/>
                    <a:gd name="T16" fmla="*/ 21 w 680"/>
                    <a:gd name="T17" fmla="*/ 224 h 681"/>
                    <a:gd name="T18" fmla="*/ 7 w 680"/>
                    <a:gd name="T19" fmla="*/ 272 h 681"/>
                    <a:gd name="T20" fmla="*/ 0 w 680"/>
                    <a:gd name="T21" fmla="*/ 323 h 681"/>
                    <a:gd name="T22" fmla="*/ 0 w 680"/>
                    <a:gd name="T23" fmla="*/ 358 h 681"/>
                    <a:gd name="T24" fmla="*/ 7 w 680"/>
                    <a:gd name="T25" fmla="*/ 409 h 681"/>
                    <a:gd name="T26" fmla="*/ 21 w 680"/>
                    <a:gd name="T27" fmla="*/ 457 h 681"/>
                    <a:gd name="T28" fmla="*/ 41 w 680"/>
                    <a:gd name="T29" fmla="*/ 502 h 681"/>
                    <a:gd name="T30" fmla="*/ 68 w 680"/>
                    <a:gd name="T31" fmla="*/ 544 h 681"/>
                    <a:gd name="T32" fmla="*/ 99 w 680"/>
                    <a:gd name="T33" fmla="*/ 582 h 681"/>
                    <a:gd name="T34" fmla="*/ 137 w 680"/>
                    <a:gd name="T35" fmla="*/ 613 h 681"/>
                    <a:gd name="T36" fmla="*/ 178 w 680"/>
                    <a:gd name="T37" fmla="*/ 639 h 681"/>
                    <a:gd name="T38" fmla="*/ 223 w 680"/>
                    <a:gd name="T39" fmla="*/ 660 h 681"/>
                    <a:gd name="T40" fmla="*/ 272 w 680"/>
                    <a:gd name="T41" fmla="*/ 674 h 681"/>
                    <a:gd name="T42" fmla="*/ 322 w 680"/>
                    <a:gd name="T43" fmla="*/ 681 h 681"/>
                    <a:gd name="T44" fmla="*/ 358 w 680"/>
                    <a:gd name="T45" fmla="*/ 681 h 681"/>
                    <a:gd name="T46" fmla="*/ 409 w 680"/>
                    <a:gd name="T47" fmla="*/ 674 h 681"/>
                    <a:gd name="T48" fmla="*/ 457 w 680"/>
                    <a:gd name="T49" fmla="*/ 660 h 681"/>
                    <a:gd name="T50" fmla="*/ 503 w 680"/>
                    <a:gd name="T51" fmla="*/ 639 h 681"/>
                    <a:gd name="T52" fmla="*/ 545 w 680"/>
                    <a:gd name="T53" fmla="*/ 613 h 681"/>
                    <a:gd name="T54" fmla="*/ 581 w 680"/>
                    <a:gd name="T55" fmla="*/ 582 h 681"/>
                    <a:gd name="T56" fmla="*/ 614 w 680"/>
                    <a:gd name="T57" fmla="*/ 544 h 681"/>
                    <a:gd name="T58" fmla="*/ 640 w 680"/>
                    <a:gd name="T59" fmla="*/ 502 h 681"/>
                    <a:gd name="T60" fmla="*/ 660 w 680"/>
                    <a:gd name="T61" fmla="*/ 457 h 681"/>
                    <a:gd name="T62" fmla="*/ 673 w 680"/>
                    <a:gd name="T63" fmla="*/ 409 h 681"/>
                    <a:gd name="T64" fmla="*/ 680 w 680"/>
                    <a:gd name="T65" fmla="*/ 358 h 681"/>
                    <a:gd name="T66" fmla="*/ 680 w 680"/>
                    <a:gd name="T67" fmla="*/ 323 h 681"/>
                    <a:gd name="T68" fmla="*/ 673 w 680"/>
                    <a:gd name="T69" fmla="*/ 272 h 681"/>
                    <a:gd name="T70" fmla="*/ 660 w 680"/>
                    <a:gd name="T71" fmla="*/ 224 h 681"/>
                    <a:gd name="T72" fmla="*/ 640 w 680"/>
                    <a:gd name="T73" fmla="*/ 178 h 681"/>
                    <a:gd name="T74" fmla="*/ 614 w 680"/>
                    <a:gd name="T75" fmla="*/ 136 h 681"/>
                    <a:gd name="T76" fmla="*/ 581 w 680"/>
                    <a:gd name="T77" fmla="*/ 99 h 681"/>
                    <a:gd name="T78" fmla="*/ 545 w 680"/>
                    <a:gd name="T79" fmla="*/ 67 h 681"/>
                    <a:gd name="T80" fmla="*/ 503 w 680"/>
                    <a:gd name="T81" fmla="*/ 41 h 681"/>
                    <a:gd name="T82" fmla="*/ 457 w 680"/>
                    <a:gd name="T83" fmla="*/ 21 h 681"/>
                    <a:gd name="T84" fmla="*/ 409 w 680"/>
                    <a:gd name="T85" fmla="*/ 7 h 681"/>
                    <a:gd name="T86" fmla="*/ 358 w 680"/>
                    <a:gd name="T87" fmla="*/ 0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80" h="681">
                      <a:moveTo>
                        <a:pt x="341" y="0"/>
                      </a:moveTo>
                      <a:lnTo>
                        <a:pt x="341" y="0"/>
                      </a:lnTo>
                      <a:lnTo>
                        <a:pt x="322" y="0"/>
                      </a:lnTo>
                      <a:lnTo>
                        <a:pt x="305" y="1"/>
                      </a:lnTo>
                      <a:lnTo>
                        <a:pt x="289" y="4"/>
                      </a:lnTo>
                      <a:lnTo>
                        <a:pt x="272" y="7"/>
                      </a:lnTo>
                      <a:lnTo>
                        <a:pt x="256" y="11"/>
                      </a:lnTo>
                      <a:lnTo>
                        <a:pt x="239" y="15"/>
                      </a:lnTo>
                      <a:lnTo>
                        <a:pt x="223" y="21"/>
                      </a:lnTo>
                      <a:lnTo>
                        <a:pt x="208" y="27"/>
                      </a:lnTo>
                      <a:lnTo>
                        <a:pt x="192" y="34"/>
                      </a:lnTo>
                      <a:lnTo>
                        <a:pt x="178" y="41"/>
                      </a:lnTo>
                      <a:lnTo>
                        <a:pt x="163" y="49"/>
                      </a:lnTo>
                      <a:lnTo>
                        <a:pt x="150" y="58"/>
                      </a:lnTo>
                      <a:lnTo>
                        <a:pt x="137" y="67"/>
                      </a:lnTo>
                      <a:lnTo>
                        <a:pt x="123" y="77"/>
                      </a:lnTo>
                      <a:lnTo>
                        <a:pt x="112" y="88"/>
                      </a:lnTo>
                      <a:lnTo>
                        <a:pt x="99" y="99"/>
                      </a:lnTo>
                      <a:lnTo>
                        <a:pt x="89" y="111"/>
                      </a:lnTo>
                      <a:lnTo>
                        <a:pt x="77" y="123"/>
                      </a:lnTo>
                      <a:lnTo>
                        <a:pt x="68" y="136"/>
                      </a:lnTo>
                      <a:lnTo>
                        <a:pt x="58" y="150"/>
                      </a:lnTo>
                      <a:lnTo>
                        <a:pt x="49" y="164"/>
                      </a:lnTo>
                      <a:lnTo>
                        <a:pt x="41" y="178"/>
                      </a:lnTo>
                      <a:lnTo>
                        <a:pt x="33" y="192"/>
                      </a:lnTo>
                      <a:lnTo>
                        <a:pt x="26" y="207"/>
                      </a:lnTo>
                      <a:lnTo>
                        <a:pt x="21" y="224"/>
                      </a:lnTo>
                      <a:lnTo>
                        <a:pt x="15" y="239"/>
                      </a:lnTo>
                      <a:lnTo>
                        <a:pt x="10" y="255"/>
                      </a:lnTo>
                      <a:lnTo>
                        <a:pt x="7" y="272"/>
                      </a:lnTo>
                      <a:lnTo>
                        <a:pt x="3" y="288"/>
                      </a:lnTo>
                      <a:lnTo>
                        <a:pt x="1" y="305"/>
                      </a:lnTo>
                      <a:lnTo>
                        <a:pt x="0" y="323"/>
                      </a:lnTo>
                      <a:lnTo>
                        <a:pt x="0" y="340"/>
                      </a:lnTo>
                      <a:lnTo>
                        <a:pt x="0" y="340"/>
                      </a:lnTo>
                      <a:lnTo>
                        <a:pt x="0" y="358"/>
                      </a:lnTo>
                      <a:lnTo>
                        <a:pt x="1" y="376"/>
                      </a:lnTo>
                      <a:lnTo>
                        <a:pt x="3" y="392"/>
                      </a:lnTo>
                      <a:lnTo>
                        <a:pt x="7" y="409"/>
                      </a:lnTo>
                      <a:lnTo>
                        <a:pt x="10" y="425"/>
                      </a:lnTo>
                      <a:lnTo>
                        <a:pt x="15" y="441"/>
                      </a:lnTo>
                      <a:lnTo>
                        <a:pt x="21" y="457"/>
                      </a:lnTo>
                      <a:lnTo>
                        <a:pt x="26" y="473"/>
                      </a:lnTo>
                      <a:lnTo>
                        <a:pt x="33" y="488"/>
                      </a:lnTo>
                      <a:lnTo>
                        <a:pt x="41" y="502"/>
                      </a:lnTo>
                      <a:lnTo>
                        <a:pt x="49" y="517"/>
                      </a:lnTo>
                      <a:lnTo>
                        <a:pt x="58" y="531"/>
                      </a:lnTo>
                      <a:lnTo>
                        <a:pt x="68" y="544"/>
                      </a:lnTo>
                      <a:lnTo>
                        <a:pt x="77" y="557"/>
                      </a:lnTo>
                      <a:lnTo>
                        <a:pt x="89" y="569"/>
                      </a:lnTo>
                      <a:lnTo>
                        <a:pt x="99" y="582"/>
                      </a:lnTo>
                      <a:lnTo>
                        <a:pt x="112" y="592"/>
                      </a:lnTo>
                      <a:lnTo>
                        <a:pt x="123" y="604"/>
                      </a:lnTo>
                      <a:lnTo>
                        <a:pt x="137" y="613"/>
                      </a:lnTo>
                      <a:lnTo>
                        <a:pt x="150" y="623"/>
                      </a:lnTo>
                      <a:lnTo>
                        <a:pt x="163" y="631"/>
                      </a:lnTo>
                      <a:lnTo>
                        <a:pt x="178" y="639"/>
                      </a:lnTo>
                      <a:lnTo>
                        <a:pt x="192" y="647"/>
                      </a:lnTo>
                      <a:lnTo>
                        <a:pt x="208" y="654"/>
                      </a:lnTo>
                      <a:lnTo>
                        <a:pt x="223" y="660"/>
                      </a:lnTo>
                      <a:lnTo>
                        <a:pt x="239" y="666"/>
                      </a:lnTo>
                      <a:lnTo>
                        <a:pt x="256" y="670"/>
                      </a:lnTo>
                      <a:lnTo>
                        <a:pt x="272" y="674"/>
                      </a:lnTo>
                      <a:lnTo>
                        <a:pt x="289" y="677"/>
                      </a:lnTo>
                      <a:lnTo>
                        <a:pt x="305" y="680"/>
                      </a:lnTo>
                      <a:lnTo>
                        <a:pt x="322" y="681"/>
                      </a:lnTo>
                      <a:lnTo>
                        <a:pt x="341" y="681"/>
                      </a:lnTo>
                      <a:lnTo>
                        <a:pt x="341" y="681"/>
                      </a:lnTo>
                      <a:lnTo>
                        <a:pt x="358" y="681"/>
                      </a:lnTo>
                      <a:lnTo>
                        <a:pt x="375" y="680"/>
                      </a:lnTo>
                      <a:lnTo>
                        <a:pt x="393" y="677"/>
                      </a:lnTo>
                      <a:lnTo>
                        <a:pt x="409" y="674"/>
                      </a:lnTo>
                      <a:lnTo>
                        <a:pt x="426" y="670"/>
                      </a:lnTo>
                      <a:lnTo>
                        <a:pt x="442" y="666"/>
                      </a:lnTo>
                      <a:lnTo>
                        <a:pt x="457" y="660"/>
                      </a:lnTo>
                      <a:lnTo>
                        <a:pt x="473" y="654"/>
                      </a:lnTo>
                      <a:lnTo>
                        <a:pt x="488" y="647"/>
                      </a:lnTo>
                      <a:lnTo>
                        <a:pt x="503" y="639"/>
                      </a:lnTo>
                      <a:lnTo>
                        <a:pt x="517" y="631"/>
                      </a:lnTo>
                      <a:lnTo>
                        <a:pt x="531" y="623"/>
                      </a:lnTo>
                      <a:lnTo>
                        <a:pt x="545" y="613"/>
                      </a:lnTo>
                      <a:lnTo>
                        <a:pt x="557" y="604"/>
                      </a:lnTo>
                      <a:lnTo>
                        <a:pt x="569" y="592"/>
                      </a:lnTo>
                      <a:lnTo>
                        <a:pt x="581" y="582"/>
                      </a:lnTo>
                      <a:lnTo>
                        <a:pt x="593" y="569"/>
                      </a:lnTo>
                      <a:lnTo>
                        <a:pt x="603" y="557"/>
                      </a:lnTo>
                      <a:lnTo>
                        <a:pt x="614" y="544"/>
                      </a:lnTo>
                      <a:lnTo>
                        <a:pt x="623" y="531"/>
                      </a:lnTo>
                      <a:lnTo>
                        <a:pt x="632" y="517"/>
                      </a:lnTo>
                      <a:lnTo>
                        <a:pt x="640" y="502"/>
                      </a:lnTo>
                      <a:lnTo>
                        <a:pt x="647" y="488"/>
                      </a:lnTo>
                      <a:lnTo>
                        <a:pt x="654" y="473"/>
                      </a:lnTo>
                      <a:lnTo>
                        <a:pt x="660" y="457"/>
                      </a:lnTo>
                      <a:lnTo>
                        <a:pt x="665" y="441"/>
                      </a:lnTo>
                      <a:lnTo>
                        <a:pt x="670" y="425"/>
                      </a:lnTo>
                      <a:lnTo>
                        <a:pt x="673" y="409"/>
                      </a:lnTo>
                      <a:lnTo>
                        <a:pt x="677" y="392"/>
                      </a:lnTo>
                      <a:lnTo>
                        <a:pt x="679" y="376"/>
                      </a:lnTo>
                      <a:lnTo>
                        <a:pt x="680" y="358"/>
                      </a:lnTo>
                      <a:lnTo>
                        <a:pt x="680" y="340"/>
                      </a:lnTo>
                      <a:lnTo>
                        <a:pt x="680" y="340"/>
                      </a:lnTo>
                      <a:lnTo>
                        <a:pt x="680" y="323"/>
                      </a:lnTo>
                      <a:lnTo>
                        <a:pt x="679" y="305"/>
                      </a:lnTo>
                      <a:lnTo>
                        <a:pt x="677" y="288"/>
                      </a:lnTo>
                      <a:lnTo>
                        <a:pt x="673" y="272"/>
                      </a:lnTo>
                      <a:lnTo>
                        <a:pt x="670" y="255"/>
                      </a:lnTo>
                      <a:lnTo>
                        <a:pt x="665" y="239"/>
                      </a:lnTo>
                      <a:lnTo>
                        <a:pt x="660" y="224"/>
                      </a:lnTo>
                      <a:lnTo>
                        <a:pt x="654" y="207"/>
                      </a:lnTo>
                      <a:lnTo>
                        <a:pt x="647" y="192"/>
                      </a:lnTo>
                      <a:lnTo>
                        <a:pt x="640" y="178"/>
                      </a:lnTo>
                      <a:lnTo>
                        <a:pt x="632" y="164"/>
                      </a:lnTo>
                      <a:lnTo>
                        <a:pt x="623" y="150"/>
                      </a:lnTo>
                      <a:lnTo>
                        <a:pt x="614" y="136"/>
                      </a:lnTo>
                      <a:lnTo>
                        <a:pt x="603" y="123"/>
                      </a:lnTo>
                      <a:lnTo>
                        <a:pt x="593" y="111"/>
                      </a:lnTo>
                      <a:lnTo>
                        <a:pt x="581" y="99"/>
                      </a:lnTo>
                      <a:lnTo>
                        <a:pt x="569" y="88"/>
                      </a:lnTo>
                      <a:lnTo>
                        <a:pt x="557" y="77"/>
                      </a:lnTo>
                      <a:lnTo>
                        <a:pt x="545" y="67"/>
                      </a:lnTo>
                      <a:lnTo>
                        <a:pt x="531" y="58"/>
                      </a:lnTo>
                      <a:lnTo>
                        <a:pt x="517" y="49"/>
                      </a:lnTo>
                      <a:lnTo>
                        <a:pt x="503" y="41"/>
                      </a:lnTo>
                      <a:lnTo>
                        <a:pt x="488" y="34"/>
                      </a:lnTo>
                      <a:lnTo>
                        <a:pt x="473" y="27"/>
                      </a:lnTo>
                      <a:lnTo>
                        <a:pt x="457" y="21"/>
                      </a:lnTo>
                      <a:lnTo>
                        <a:pt x="442" y="15"/>
                      </a:lnTo>
                      <a:lnTo>
                        <a:pt x="426" y="11"/>
                      </a:lnTo>
                      <a:lnTo>
                        <a:pt x="409" y="7"/>
                      </a:lnTo>
                      <a:lnTo>
                        <a:pt x="393" y="4"/>
                      </a:lnTo>
                      <a:lnTo>
                        <a:pt x="375" y="1"/>
                      </a:lnTo>
                      <a:lnTo>
                        <a:pt x="358" y="0"/>
                      </a:lnTo>
                      <a:lnTo>
                        <a:pt x="341" y="0"/>
                      </a:lnTo>
                      <a:close/>
                    </a:path>
                  </a:pathLst>
                </a:custGeom>
                <a:solidFill>
                  <a:srgbClr val="6653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9" name="Freeform 282"/>
                <p:cNvSpPr>
                  <a:spLocks/>
                </p:cNvSpPr>
                <p:nvPr/>
              </p:nvSpPr>
              <p:spPr bwMode="auto">
                <a:xfrm>
                  <a:off x="3373438" y="3238500"/>
                  <a:ext cx="153988" cy="155575"/>
                </a:xfrm>
                <a:custGeom>
                  <a:avLst/>
                  <a:gdLst>
                    <a:gd name="T0" fmla="*/ 322 w 680"/>
                    <a:gd name="T1" fmla="*/ 0 h 681"/>
                    <a:gd name="T2" fmla="*/ 272 w 680"/>
                    <a:gd name="T3" fmla="*/ 7 h 681"/>
                    <a:gd name="T4" fmla="*/ 223 w 680"/>
                    <a:gd name="T5" fmla="*/ 21 h 681"/>
                    <a:gd name="T6" fmla="*/ 178 w 680"/>
                    <a:gd name="T7" fmla="*/ 41 h 681"/>
                    <a:gd name="T8" fmla="*/ 137 w 680"/>
                    <a:gd name="T9" fmla="*/ 67 h 681"/>
                    <a:gd name="T10" fmla="*/ 99 w 680"/>
                    <a:gd name="T11" fmla="*/ 99 h 681"/>
                    <a:gd name="T12" fmla="*/ 68 w 680"/>
                    <a:gd name="T13" fmla="*/ 136 h 681"/>
                    <a:gd name="T14" fmla="*/ 41 w 680"/>
                    <a:gd name="T15" fmla="*/ 178 h 681"/>
                    <a:gd name="T16" fmla="*/ 21 w 680"/>
                    <a:gd name="T17" fmla="*/ 224 h 681"/>
                    <a:gd name="T18" fmla="*/ 7 w 680"/>
                    <a:gd name="T19" fmla="*/ 272 h 681"/>
                    <a:gd name="T20" fmla="*/ 0 w 680"/>
                    <a:gd name="T21" fmla="*/ 323 h 681"/>
                    <a:gd name="T22" fmla="*/ 0 w 680"/>
                    <a:gd name="T23" fmla="*/ 358 h 681"/>
                    <a:gd name="T24" fmla="*/ 7 w 680"/>
                    <a:gd name="T25" fmla="*/ 409 h 681"/>
                    <a:gd name="T26" fmla="*/ 21 w 680"/>
                    <a:gd name="T27" fmla="*/ 457 h 681"/>
                    <a:gd name="T28" fmla="*/ 41 w 680"/>
                    <a:gd name="T29" fmla="*/ 502 h 681"/>
                    <a:gd name="T30" fmla="*/ 68 w 680"/>
                    <a:gd name="T31" fmla="*/ 544 h 681"/>
                    <a:gd name="T32" fmla="*/ 99 w 680"/>
                    <a:gd name="T33" fmla="*/ 582 h 681"/>
                    <a:gd name="T34" fmla="*/ 137 w 680"/>
                    <a:gd name="T35" fmla="*/ 613 h 681"/>
                    <a:gd name="T36" fmla="*/ 178 w 680"/>
                    <a:gd name="T37" fmla="*/ 639 h 681"/>
                    <a:gd name="T38" fmla="*/ 223 w 680"/>
                    <a:gd name="T39" fmla="*/ 660 h 681"/>
                    <a:gd name="T40" fmla="*/ 272 w 680"/>
                    <a:gd name="T41" fmla="*/ 674 h 681"/>
                    <a:gd name="T42" fmla="*/ 322 w 680"/>
                    <a:gd name="T43" fmla="*/ 681 h 681"/>
                    <a:gd name="T44" fmla="*/ 358 w 680"/>
                    <a:gd name="T45" fmla="*/ 681 h 681"/>
                    <a:gd name="T46" fmla="*/ 409 w 680"/>
                    <a:gd name="T47" fmla="*/ 674 h 681"/>
                    <a:gd name="T48" fmla="*/ 457 w 680"/>
                    <a:gd name="T49" fmla="*/ 660 h 681"/>
                    <a:gd name="T50" fmla="*/ 503 w 680"/>
                    <a:gd name="T51" fmla="*/ 639 h 681"/>
                    <a:gd name="T52" fmla="*/ 545 w 680"/>
                    <a:gd name="T53" fmla="*/ 613 h 681"/>
                    <a:gd name="T54" fmla="*/ 581 w 680"/>
                    <a:gd name="T55" fmla="*/ 582 h 681"/>
                    <a:gd name="T56" fmla="*/ 614 w 680"/>
                    <a:gd name="T57" fmla="*/ 544 h 681"/>
                    <a:gd name="T58" fmla="*/ 640 w 680"/>
                    <a:gd name="T59" fmla="*/ 502 h 681"/>
                    <a:gd name="T60" fmla="*/ 660 w 680"/>
                    <a:gd name="T61" fmla="*/ 457 h 681"/>
                    <a:gd name="T62" fmla="*/ 673 w 680"/>
                    <a:gd name="T63" fmla="*/ 409 h 681"/>
                    <a:gd name="T64" fmla="*/ 680 w 680"/>
                    <a:gd name="T65" fmla="*/ 358 h 681"/>
                    <a:gd name="T66" fmla="*/ 680 w 680"/>
                    <a:gd name="T67" fmla="*/ 323 h 681"/>
                    <a:gd name="T68" fmla="*/ 673 w 680"/>
                    <a:gd name="T69" fmla="*/ 272 h 681"/>
                    <a:gd name="T70" fmla="*/ 660 w 680"/>
                    <a:gd name="T71" fmla="*/ 224 h 681"/>
                    <a:gd name="T72" fmla="*/ 640 w 680"/>
                    <a:gd name="T73" fmla="*/ 178 h 681"/>
                    <a:gd name="T74" fmla="*/ 614 w 680"/>
                    <a:gd name="T75" fmla="*/ 136 h 681"/>
                    <a:gd name="T76" fmla="*/ 581 w 680"/>
                    <a:gd name="T77" fmla="*/ 99 h 681"/>
                    <a:gd name="T78" fmla="*/ 545 w 680"/>
                    <a:gd name="T79" fmla="*/ 67 h 681"/>
                    <a:gd name="T80" fmla="*/ 503 w 680"/>
                    <a:gd name="T81" fmla="*/ 41 h 681"/>
                    <a:gd name="T82" fmla="*/ 457 w 680"/>
                    <a:gd name="T83" fmla="*/ 21 h 681"/>
                    <a:gd name="T84" fmla="*/ 409 w 680"/>
                    <a:gd name="T85" fmla="*/ 7 h 681"/>
                    <a:gd name="T86" fmla="*/ 358 w 680"/>
                    <a:gd name="T87" fmla="*/ 0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80" h="681">
                      <a:moveTo>
                        <a:pt x="341" y="0"/>
                      </a:moveTo>
                      <a:lnTo>
                        <a:pt x="341" y="0"/>
                      </a:lnTo>
                      <a:lnTo>
                        <a:pt x="322" y="0"/>
                      </a:lnTo>
                      <a:lnTo>
                        <a:pt x="305" y="1"/>
                      </a:lnTo>
                      <a:lnTo>
                        <a:pt x="289" y="4"/>
                      </a:lnTo>
                      <a:lnTo>
                        <a:pt x="272" y="7"/>
                      </a:lnTo>
                      <a:lnTo>
                        <a:pt x="256" y="11"/>
                      </a:lnTo>
                      <a:lnTo>
                        <a:pt x="239" y="15"/>
                      </a:lnTo>
                      <a:lnTo>
                        <a:pt x="223" y="21"/>
                      </a:lnTo>
                      <a:lnTo>
                        <a:pt x="208" y="27"/>
                      </a:lnTo>
                      <a:lnTo>
                        <a:pt x="192" y="34"/>
                      </a:lnTo>
                      <a:lnTo>
                        <a:pt x="178" y="41"/>
                      </a:lnTo>
                      <a:lnTo>
                        <a:pt x="163" y="49"/>
                      </a:lnTo>
                      <a:lnTo>
                        <a:pt x="150" y="58"/>
                      </a:lnTo>
                      <a:lnTo>
                        <a:pt x="137" y="67"/>
                      </a:lnTo>
                      <a:lnTo>
                        <a:pt x="123" y="77"/>
                      </a:lnTo>
                      <a:lnTo>
                        <a:pt x="112" y="88"/>
                      </a:lnTo>
                      <a:lnTo>
                        <a:pt x="99" y="99"/>
                      </a:lnTo>
                      <a:lnTo>
                        <a:pt x="89" y="111"/>
                      </a:lnTo>
                      <a:lnTo>
                        <a:pt x="77" y="123"/>
                      </a:lnTo>
                      <a:lnTo>
                        <a:pt x="68" y="136"/>
                      </a:lnTo>
                      <a:lnTo>
                        <a:pt x="58" y="150"/>
                      </a:lnTo>
                      <a:lnTo>
                        <a:pt x="49" y="164"/>
                      </a:lnTo>
                      <a:lnTo>
                        <a:pt x="41" y="178"/>
                      </a:lnTo>
                      <a:lnTo>
                        <a:pt x="33" y="192"/>
                      </a:lnTo>
                      <a:lnTo>
                        <a:pt x="26" y="207"/>
                      </a:lnTo>
                      <a:lnTo>
                        <a:pt x="21" y="224"/>
                      </a:lnTo>
                      <a:lnTo>
                        <a:pt x="15" y="239"/>
                      </a:lnTo>
                      <a:lnTo>
                        <a:pt x="10" y="255"/>
                      </a:lnTo>
                      <a:lnTo>
                        <a:pt x="7" y="272"/>
                      </a:lnTo>
                      <a:lnTo>
                        <a:pt x="3" y="288"/>
                      </a:lnTo>
                      <a:lnTo>
                        <a:pt x="1" y="305"/>
                      </a:lnTo>
                      <a:lnTo>
                        <a:pt x="0" y="323"/>
                      </a:lnTo>
                      <a:lnTo>
                        <a:pt x="0" y="340"/>
                      </a:lnTo>
                      <a:lnTo>
                        <a:pt x="0" y="340"/>
                      </a:lnTo>
                      <a:lnTo>
                        <a:pt x="0" y="358"/>
                      </a:lnTo>
                      <a:lnTo>
                        <a:pt x="1" y="376"/>
                      </a:lnTo>
                      <a:lnTo>
                        <a:pt x="3" y="392"/>
                      </a:lnTo>
                      <a:lnTo>
                        <a:pt x="7" y="409"/>
                      </a:lnTo>
                      <a:lnTo>
                        <a:pt x="10" y="425"/>
                      </a:lnTo>
                      <a:lnTo>
                        <a:pt x="15" y="441"/>
                      </a:lnTo>
                      <a:lnTo>
                        <a:pt x="21" y="457"/>
                      </a:lnTo>
                      <a:lnTo>
                        <a:pt x="26" y="473"/>
                      </a:lnTo>
                      <a:lnTo>
                        <a:pt x="33" y="488"/>
                      </a:lnTo>
                      <a:lnTo>
                        <a:pt x="41" y="502"/>
                      </a:lnTo>
                      <a:lnTo>
                        <a:pt x="49" y="517"/>
                      </a:lnTo>
                      <a:lnTo>
                        <a:pt x="58" y="531"/>
                      </a:lnTo>
                      <a:lnTo>
                        <a:pt x="68" y="544"/>
                      </a:lnTo>
                      <a:lnTo>
                        <a:pt x="77" y="557"/>
                      </a:lnTo>
                      <a:lnTo>
                        <a:pt x="89" y="569"/>
                      </a:lnTo>
                      <a:lnTo>
                        <a:pt x="99" y="582"/>
                      </a:lnTo>
                      <a:lnTo>
                        <a:pt x="112" y="592"/>
                      </a:lnTo>
                      <a:lnTo>
                        <a:pt x="123" y="604"/>
                      </a:lnTo>
                      <a:lnTo>
                        <a:pt x="137" y="613"/>
                      </a:lnTo>
                      <a:lnTo>
                        <a:pt x="150" y="623"/>
                      </a:lnTo>
                      <a:lnTo>
                        <a:pt x="163" y="631"/>
                      </a:lnTo>
                      <a:lnTo>
                        <a:pt x="178" y="639"/>
                      </a:lnTo>
                      <a:lnTo>
                        <a:pt x="192" y="647"/>
                      </a:lnTo>
                      <a:lnTo>
                        <a:pt x="208" y="654"/>
                      </a:lnTo>
                      <a:lnTo>
                        <a:pt x="223" y="660"/>
                      </a:lnTo>
                      <a:lnTo>
                        <a:pt x="239" y="666"/>
                      </a:lnTo>
                      <a:lnTo>
                        <a:pt x="256" y="670"/>
                      </a:lnTo>
                      <a:lnTo>
                        <a:pt x="272" y="674"/>
                      </a:lnTo>
                      <a:lnTo>
                        <a:pt x="289" y="677"/>
                      </a:lnTo>
                      <a:lnTo>
                        <a:pt x="305" y="680"/>
                      </a:lnTo>
                      <a:lnTo>
                        <a:pt x="322" y="681"/>
                      </a:lnTo>
                      <a:lnTo>
                        <a:pt x="341" y="681"/>
                      </a:lnTo>
                      <a:lnTo>
                        <a:pt x="341" y="681"/>
                      </a:lnTo>
                      <a:lnTo>
                        <a:pt x="358" y="681"/>
                      </a:lnTo>
                      <a:lnTo>
                        <a:pt x="375" y="680"/>
                      </a:lnTo>
                      <a:lnTo>
                        <a:pt x="393" y="677"/>
                      </a:lnTo>
                      <a:lnTo>
                        <a:pt x="409" y="674"/>
                      </a:lnTo>
                      <a:lnTo>
                        <a:pt x="426" y="670"/>
                      </a:lnTo>
                      <a:lnTo>
                        <a:pt x="442" y="666"/>
                      </a:lnTo>
                      <a:lnTo>
                        <a:pt x="457" y="660"/>
                      </a:lnTo>
                      <a:lnTo>
                        <a:pt x="473" y="654"/>
                      </a:lnTo>
                      <a:lnTo>
                        <a:pt x="488" y="647"/>
                      </a:lnTo>
                      <a:lnTo>
                        <a:pt x="503" y="639"/>
                      </a:lnTo>
                      <a:lnTo>
                        <a:pt x="517" y="631"/>
                      </a:lnTo>
                      <a:lnTo>
                        <a:pt x="531" y="623"/>
                      </a:lnTo>
                      <a:lnTo>
                        <a:pt x="545" y="613"/>
                      </a:lnTo>
                      <a:lnTo>
                        <a:pt x="557" y="604"/>
                      </a:lnTo>
                      <a:lnTo>
                        <a:pt x="569" y="592"/>
                      </a:lnTo>
                      <a:lnTo>
                        <a:pt x="581" y="582"/>
                      </a:lnTo>
                      <a:lnTo>
                        <a:pt x="593" y="569"/>
                      </a:lnTo>
                      <a:lnTo>
                        <a:pt x="603" y="557"/>
                      </a:lnTo>
                      <a:lnTo>
                        <a:pt x="614" y="544"/>
                      </a:lnTo>
                      <a:lnTo>
                        <a:pt x="623" y="531"/>
                      </a:lnTo>
                      <a:lnTo>
                        <a:pt x="632" y="517"/>
                      </a:lnTo>
                      <a:lnTo>
                        <a:pt x="640" y="502"/>
                      </a:lnTo>
                      <a:lnTo>
                        <a:pt x="647" y="488"/>
                      </a:lnTo>
                      <a:lnTo>
                        <a:pt x="654" y="473"/>
                      </a:lnTo>
                      <a:lnTo>
                        <a:pt x="660" y="457"/>
                      </a:lnTo>
                      <a:lnTo>
                        <a:pt x="665" y="441"/>
                      </a:lnTo>
                      <a:lnTo>
                        <a:pt x="670" y="425"/>
                      </a:lnTo>
                      <a:lnTo>
                        <a:pt x="673" y="409"/>
                      </a:lnTo>
                      <a:lnTo>
                        <a:pt x="677" y="392"/>
                      </a:lnTo>
                      <a:lnTo>
                        <a:pt x="679" y="376"/>
                      </a:lnTo>
                      <a:lnTo>
                        <a:pt x="680" y="358"/>
                      </a:lnTo>
                      <a:lnTo>
                        <a:pt x="680" y="340"/>
                      </a:lnTo>
                      <a:lnTo>
                        <a:pt x="680" y="340"/>
                      </a:lnTo>
                      <a:lnTo>
                        <a:pt x="680" y="323"/>
                      </a:lnTo>
                      <a:lnTo>
                        <a:pt x="679" y="305"/>
                      </a:lnTo>
                      <a:lnTo>
                        <a:pt x="677" y="288"/>
                      </a:lnTo>
                      <a:lnTo>
                        <a:pt x="673" y="272"/>
                      </a:lnTo>
                      <a:lnTo>
                        <a:pt x="670" y="255"/>
                      </a:lnTo>
                      <a:lnTo>
                        <a:pt x="665" y="239"/>
                      </a:lnTo>
                      <a:lnTo>
                        <a:pt x="660" y="224"/>
                      </a:lnTo>
                      <a:lnTo>
                        <a:pt x="654" y="207"/>
                      </a:lnTo>
                      <a:lnTo>
                        <a:pt x="647" y="192"/>
                      </a:lnTo>
                      <a:lnTo>
                        <a:pt x="640" y="178"/>
                      </a:lnTo>
                      <a:lnTo>
                        <a:pt x="632" y="164"/>
                      </a:lnTo>
                      <a:lnTo>
                        <a:pt x="623" y="150"/>
                      </a:lnTo>
                      <a:lnTo>
                        <a:pt x="614" y="136"/>
                      </a:lnTo>
                      <a:lnTo>
                        <a:pt x="603" y="123"/>
                      </a:lnTo>
                      <a:lnTo>
                        <a:pt x="593" y="111"/>
                      </a:lnTo>
                      <a:lnTo>
                        <a:pt x="581" y="99"/>
                      </a:lnTo>
                      <a:lnTo>
                        <a:pt x="569" y="88"/>
                      </a:lnTo>
                      <a:lnTo>
                        <a:pt x="557" y="77"/>
                      </a:lnTo>
                      <a:lnTo>
                        <a:pt x="545" y="67"/>
                      </a:lnTo>
                      <a:lnTo>
                        <a:pt x="531" y="58"/>
                      </a:lnTo>
                      <a:lnTo>
                        <a:pt x="517" y="49"/>
                      </a:lnTo>
                      <a:lnTo>
                        <a:pt x="503" y="41"/>
                      </a:lnTo>
                      <a:lnTo>
                        <a:pt x="488" y="34"/>
                      </a:lnTo>
                      <a:lnTo>
                        <a:pt x="473" y="27"/>
                      </a:lnTo>
                      <a:lnTo>
                        <a:pt x="457" y="21"/>
                      </a:lnTo>
                      <a:lnTo>
                        <a:pt x="442" y="15"/>
                      </a:lnTo>
                      <a:lnTo>
                        <a:pt x="426" y="11"/>
                      </a:lnTo>
                      <a:lnTo>
                        <a:pt x="409" y="7"/>
                      </a:lnTo>
                      <a:lnTo>
                        <a:pt x="393" y="4"/>
                      </a:lnTo>
                      <a:lnTo>
                        <a:pt x="375" y="1"/>
                      </a:lnTo>
                      <a:lnTo>
                        <a:pt x="358" y="0"/>
                      </a:lnTo>
                      <a:lnTo>
                        <a:pt x="34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0" name="Freeform 283"/>
                <p:cNvSpPr>
                  <a:spLocks/>
                </p:cNvSpPr>
                <p:nvPr/>
              </p:nvSpPr>
              <p:spPr bwMode="auto">
                <a:xfrm>
                  <a:off x="3482975" y="3121025"/>
                  <a:ext cx="101600" cy="100013"/>
                </a:xfrm>
                <a:custGeom>
                  <a:avLst/>
                  <a:gdLst>
                    <a:gd name="T0" fmla="*/ 224 w 447"/>
                    <a:gd name="T1" fmla="*/ 0 h 446"/>
                    <a:gd name="T2" fmla="*/ 179 w 447"/>
                    <a:gd name="T3" fmla="*/ 4 h 446"/>
                    <a:gd name="T4" fmla="*/ 137 w 447"/>
                    <a:gd name="T5" fmla="*/ 17 h 446"/>
                    <a:gd name="T6" fmla="*/ 99 w 447"/>
                    <a:gd name="T7" fmla="*/ 38 h 446"/>
                    <a:gd name="T8" fmla="*/ 66 w 447"/>
                    <a:gd name="T9" fmla="*/ 65 h 446"/>
                    <a:gd name="T10" fmla="*/ 38 w 447"/>
                    <a:gd name="T11" fmla="*/ 99 h 446"/>
                    <a:gd name="T12" fmla="*/ 18 w 447"/>
                    <a:gd name="T13" fmla="*/ 137 h 446"/>
                    <a:gd name="T14" fmla="*/ 5 w 447"/>
                    <a:gd name="T15" fmla="*/ 178 h 446"/>
                    <a:gd name="T16" fmla="*/ 0 w 447"/>
                    <a:gd name="T17" fmla="*/ 223 h 446"/>
                    <a:gd name="T18" fmla="*/ 1 w 447"/>
                    <a:gd name="T19" fmla="*/ 246 h 446"/>
                    <a:gd name="T20" fmla="*/ 11 w 447"/>
                    <a:gd name="T21" fmla="*/ 290 h 446"/>
                    <a:gd name="T22" fmla="*/ 28 w 447"/>
                    <a:gd name="T23" fmla="*/ 329 h 446"/>
                    <a:gd name="T24" fmla="*/ 51 w 447"/>
                    <a:gd name="T25" fmla="*/ 364 h 446"/>
                    <a:gd name="T26" fmla="*/ 82 w 447"/>
                    <a:gd name="T27" fmla="*/ 396 h 446"/>
                    <a:gd name="T28" fmla="*/ 118 w 447"/>
                    <a:gd name="T29" fmla="*/ 419 h 446"/>
                    <a:gd name="T30" fmla="*/ 157 w 447"/>
                    <a:gd name="T31" fmla="*/ 436 h 446"/>
                    <a:gd name="T32" fmla="*/ 201 w 447"/>
                    <a:gd name="T33" fmla="*/ 445 h 446"/>
                    <a:gd name="T34" fmla="*/ 224 w 447"/>
                    <a:gd name="T35" fmla="*/ 446 h 446"/>
                    <a:gd name="T36" fmla="*/ 269 w 447"/>
                    <a:gd name="T37" fmla="*/ 442 h 446"/>
                    <a:gd name="T38" fmla="*/ 310 w 447"/>
                    <a:gd name="T39" fmla="*/ 429 h 446"/>
                    <a:gd name="T40" fmla="*/ 348 w 447"/>
                    <a:gd name="T41" fmla="*/ 408 h 446"/>
                    <a:gd name="T42" fmla="*/ 381 w 447"/>
                    <a:gd name="T43" fmla="*/ 381 h 446"/>
                    <a:gd name="T44" fmla="*/ 409 w 447"/>
                    <a:gd name="T45" fmla="*/ 347 h 446"/>
                    <a:gd name="T46" fmla="*/ 430 w 447"/>
                    <a:gd name="T47" fmla="*/ 309 h 446"/>
                    <a:gd name="T48" fmla="*/ 442 w 447"/>
                    <a:gd name="T49" fmla="*/ 268 h 446"/>
                    <a:gd name="T50" fmla="*/ 447 w 447"/>
                    <a:gd name="T51" fmla="*/ 223 h 446"/>
                    <a:gd name="T52" fmla="*/ 446 w 447"/>
                    <a:gd name="T53" fmla="*/ 200 h 446"/>
                    <a:gd name="T54" fmla="*/ 437 w 447"/>
                    <a:gd name="T55" fmla="*/ 156 h 446"/>
                    <a:gd name="T56" fmla="*/ 419 w 447"/>
                    <a:gd name="T57" fmla="*/ 117 h 446"/>
                    <a:gd name="T58" fmla="*/ 396 w 447"/>
                    <a:gd name="T59" fmla="*/ 81 h 446"/>
                    <a:gd name="T60" fmla="*/ 365 w 447"/>
                    <a:gd name="T61" fmla="*/ 50 h 446"/>
                    <a:gd name="T62" fmla="*/ 330 w 447"/>
                    <a:gd name="T63" fmla="*/ 27 h 446"/>
                    <a:gd name="T64" fmla="*/ 290 w 447"/>
                    <a:gd name="T65" fmla="*/ 10 h 446"/>
                    <a:gd name="T66" fmla="*/ 247 w 447"/>
                    <a:gd name="T67" fmla="*/ 1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7" h="446">
                      <a:moveTo>
                        <a:pt x="224" y="0"/>
                      </a:moveTo>
                      <a:lnTo>
                        <a:pt x="224" y="0"/>
                      </a:lnTo>
                      <a:lnTo>
                        <a:pt x="201" y="1"/>
                      </a:lnTo>
                      <a:lnTo>
                        <a:pt x="179" y="4"/>
                      </a:lnTo>
                      <a:lnTo>
                        <a:pt x="157" y="10"/>
                      </a:lnTo>
                      <a:lnTo>
                        <a:pt x="137" y="17"/>
                      </a:lnTo>
                      <a:lnTo>
                        <a:pt x="118" y="27"/>
                      </a:lnTo>
                      <a:lnTo>
                        <a:pt x="99" y="38"/>
                      </a:lnTo>
                      <a:lnTo>
                        <a:pt x="82" y="50"/>
                      </a:lnTo>
                      <a:lnTo>
                        <a:pt x="66" y="65"/>
                      </a:lnTo>
                      <a:lnTo>
                        <a:pt x="51" y="81"/>
                      </a:lnTo>
                      <a:lnTo>
                        <a:pt x="38" y="99"/>
                      </a:lnTo>
                      <a:lnTo>
                        <a:pt x="28" y="117"/>
                      </a:lnTo>
                      <a:lnTo>
                        <a:pt x="18" y="137"/>
                      </a:lnTo>
                      <a:lnTo>
                        <a:pt x="11" y="156"/>
                      </a:lnTo>
                      <a:lnTo>
                        <a:pt x="5" y="178"/>
                      </a:lnTo>
                      <a:lnTo>
                        <a:pt x="1" y="200"/>
                      </a:lnTo>
                      <a:lnTo>
                        <a:pt x="0" y="223"/>
                      </a:lnTo>
                      <a:lnTo>
                        <a:pt x="0" y="223"/>
                      </a:lnTo>
                      <a:lnTo>
                        <a:pt x="1" y="246"/>
                      </a:lnTo>
                      <a:lnTo>
                        <a:pt x="5" y="268"/>
                      </a:lnTo>
                      <a:lnTo>
                        <a:pt x="11" y="290"/>
                      </a:lnTo>
                      <a:lnTo>
                        <a:pt x="18" y="309"/>
                      </a:lnTo>
                      <a:lnTo>
                        <a:pt x="28" y="329"/>
                      </a:lnTo>
                      <a:lnTo>
                        <a:pt x="38" y="347"/>
                      </a:lnTo>
                      <a:lnTo>
                        <a:pt x="51" y="364"/>
                      </a:lnTo>
                      <a:lnTo>
                        <a:pt x="66" y="381"/>
                      </a:lnTo>
                      <a:lnTo>
                        <a:pt x="82" y="396"/>
                      </a:lnTo>
                      <a:lnTo>
                        <a:pt x="99" y="408"/>
                      </a:lnTo>
                      <a:lnTo>
                        <a:pt x="118" y="419"/>
                      </a:lnTo>
                      <a:lnTo>
                        <a:pt x="137" y="429"/>
                      </a:lnTo>
                      <a:lnTo>
                        <a:pt x="157" y="436"/>
                      </a:lnTo>
                      <a:lnTo>
                        <a:pt x="179" y="442"/>
                      </a:lnTo>
                      <a:lnTo>
                        <a:pt x="201" y="445"/>
                      </a:lnTo>
                      <a:lnTo>
                        <a:pt x="224" y="446"/>
                      </a:lnTo>
                      <a:lnTo>
                        <a:pt x="224" y="446"/>
                      </a:lnTo>
                      <a:lnTo>
                        <a:pt x="247" y="445"/>
                      </a:lnTo>
                      <a:lnTo>
                        <a:pt x="269" y="442"/>
                      </a:lnTo>
                      <a:lnTo>
                        <a:pt x="290" y="436"/>
                      </a:lnTo>
                      <a:lnTo>
                        <a:pt x="310" y="429"/>
                      </a:lnTo>
                      <a:lnTo>
                        <a:pt x="330" y="419"/>
                      </a:lnTo>
                      <a:lnTo>
                        <a:pt x="348" y="408"/>
                      </a:lnTo>
                      <a:lnTo>
                        <a:pt x="365" y="396"/>
                      </a:lnTo>
                      <a:lnTo>
                        <a:pt x="381" y="381"/>
                      </a:lnTo>
                      <a:lnTo>
                        <a:pt x="396" y="364"/>
                      </a:lnTo>
                      <a:lnTo>
                        <a:pt x="409" y="347"/>
                      </a:lnTo>
                      <a:lnTo>
                        <a:pt x="419" y="329"/>
                      </a:lnTo>
                      <a:lnTo>
                        <a:pt x="430" y="309"/>
                      </a:lnTo>
                      <a:lnTo>
                        <a:pt x="437" y="290"/>
                      </a:lnTo>
                      <a:lnTo>
                        <a:pt x="442" y="268"/>
                      </a:lnTo>
                      <a:lnTo>
                        <a:pt x="446" y="246"/>
                      </a:lnTo>
                      <a:lnTo>
                        <a:pt x="447" y="223"/>
                      </a:lnTo>
                      <a:lnTo>
                        <a:pt x="447" y="223"/>
                      </a:lnTo>
                      <a:lnTo>
                        <a:pt x="446" y="200"/>
                      </a:lnTo>
                      <a:lnTo>
                        <a:pt x="442" y="178"/>
                      </a:lnTo>
                      <a:lnTo>
                        <a:pt x="437" y="156"/>
                      </a:lnTo>
                      <a:lnTo>
                        <a:pt x="430" y="137"/>
                      </a:lnTo>
                      <a:lnTo>
                        <a:pt x="419" y="117"/>
                      </a:lnTo>
                      <a:lnTo>
                        <a:pt x="409" y="99"/>
                      </a:lnTo>
                      <a:lnTo>
                        <a:pt x="396" y="81"/>
                      </a:lnTo>
                      <a:lnTo>
                        <a:pt x="381" y="65"/>
                      </a:lnTo>
                      <a:lnTo>
                        <a:pt x="365" y="50"/>
                      </a:lnTo>
                      <a:lnTo>
                        <a:pt x="348" y="38"/>
                      </a:lnTo>
                      <a:lnTo>
                        <a:pt x="330" y="27"/>
                      </a:lnTo>
                      <a:lnTo>
                        <a:pt x="310" y="17"/>
                      </a:lnTo>
                      <a:lnTo>
                        <a:pt x="290" y="10"/>
                      </a:lnTo>
                      <a:lnTo>
                        <a:pt x="269" y="4"/>
                      </a:lnTo>
                      <a:lnTo>
                        <a:pt x="247" y="1"/>
                      </a:lnTo>
                      <a:lnTo>
                        <a:pt x="224" y="0"/>
                      </a:lnTo>
                      <a:close/>
                    </a:path>
                  </a:pathLst>
                </a:custGeom>
                <a:solidFill>
                  <a:srgbClr val="5C4A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1" name="Freeform 284"/>
                <p:cNvSpPr>
                  <a:spLocks/>
                </p:cNvSpPr>
                <p:nvPr/>
              </p:nvSpPr>
              <p:spPr bwMode="auto">
                <a:xfrm>
                  <a:off x="3482975" y="3121025"/>
                  <a:ext cx="101600" cy="100013"/>
                </a:xfrm>
                <a:custGeom>
                  <a:avLst/>
                  <a:gdLst>
                    <a:gd name="T0" fmla="*/ 224 w 447"/>
                    <a:gd name="T1" fmla="*/ 0 h 446"/>
                    <a:gd name="T2" fmla="*/ 179 w 447"/>
                    <a:gd name="T3" fmla="*/ 4 h 446"/>
                    <a:gd name="T4" fmla="*/ 137 w 447"/>
                    <a:gd name="T5" fmla="*/ 17 h 446"/>
                    <a:gd name="T6" fmla="*/ 99 w 447"/>
                    <a:gd name="T7" fmla="*/ 38 h 446"/>
                    <a:gd name="T8" fmla="*/ 66 w 447"/>
                    <a:gd name="T9" fmla="*/ 65 h 446"/>
                    <a:gd name="T10" fmla="*/ 38 w 447"/>
                    <a:gd name="T11" fmla="*/ 99 h 446"/>
                    <a:gd name="T12" fmla="*/ 18 w 447"/>
                    <a:gd name="T13" fmla="*/ 137 h 446"/>
                    <a:gd name="T14" fmla="*/ 5 w 447"/>
                    <a:gd name="T15" fmla="*/ 178 h 446"/>
                    <a:gd name="T16" fmla="*/ 0 w 447"/>
                    <a:gd name="T17" fmla="*/ 223 h 446"/>
                    <a:gd name="T18" fmla="*/ 1 w 447"/>
                    <a:gd name="T19" fmla="*/ 246 h 446"/>
                    <a:gd name="T20" fmla="*/ 11 w 447"/>
                    <a:gd name="T21" fmla="*/ 290 h 446"/>
                    <a:gd name="T22" fmla="*/ 28 w 447"/>
                    <a:gd name="T23" fmla="*/ 329 h 446"/>
                    <a:gd name="T24" fmla="*/ 51 w 447"/>
                    <a:gd name="T25" fmla="*/ 364 h 446"/>
                    <a:gd name="T26" fmla="*/ 82 w 447"/>
                    <a:gd name="T27" fmla="*/ 396 h 446"/>
                    <a:gd name="T28" fmla="*/ 118 w 447"/>
                    <a:gd name="T29" fmla="*/ 419 h 446"/>
                    <a:gd name="T30" fmla="*/ 157 w 447"/>
                    <a:gd name="T31" fmla="*/ 436 h 446"/>
                    <a:gd name="T32" fmla="*/ 201 w 447"/>
                    <a:gd name="T33" fmla="*/ 445 h 446"/>
                    <a:gd name="T34" fmla="*/ 224 w 447"/>
                    <a:gd name="T35" fmla="*/ 446 h 446"/>
                    <a:gd name="T36" fmla="*/ 269 w 447"/>
                    <a:gd name="T37" fmla="*/ 442 h 446"/>
                    <a:gd name="T38" fmla="*/ 310 w 447"/>
                    <a:gd name="T39" fmla="*/ 429 h 446"/>
                    <a:gd name="T40" fmla="*/ 348 w 447"/>
                    <a:gd name="T41" fmla="*/ 408 h 446"/>
                    <a:gd name="T42" fmla="*/ 381 w 447"/>
                    <a:gd name="T43" fmla="*/ 381 h 446"/>
                    <a:gd name="T44" fmla="*/ 409 w 447"/>
                    <a:gd name="T45" fmla="*/ 347 h 446"/>
                    <a:gd name="T46" fmla="*/ 430 w 447"/>
                    <a:gd name="T47" fmla="*/ 309 h 446"/>
                    <a:gd name="T48" fmla="*/ 442 w 447"/>
                    <a:gd name="T49" fmla="*/ 268 h 446"/>
                    <a:gd name="T50" fmla="*/ 447 w 447"/>
                    <a:gd name="T51" fmla="*/ 223 h 446"/>
                    <a:gd name="T52" fmla="*/ 446 w 447"/>
                    <a:gd name="T53" fmla="*/ 200 h 446"/>
                    <a:gd name="T54" fmla="*/ 437 w 447"/>
                    <a:gd name="T55" fmla="*/ 156 h 446"/>
                    <a:gd name="T56" fmla="*/ 419 w 447"/>
                    <a:gd name="T57" fmla="*/ 117 h 446"/>
                    <a:gd name="T58" fmla="*/ 396 w 447"/>
                    <a:gd name="T59" fmla="*/ 81 h 446"/>
                    <a:gd name="T60" fmla="*/ 365 w 447"/>
                    <a:gd name="T61" fmla="*/ 50 h 446"/>
                    <a:gd name="T62" fmla="*/ 330 w 447"/>
                    <a:gd name="T63" fmla="*/ 27 h 446"/>
                    <a:gd name="T64" fmla="*/ 290 w 447"/>
                    <a:gd name="T65" fmla="*/ 10 h 446"/>
                    <a:gd name="T66" fmla="*/ 247 w 447"/>
                    <a:gd name="T67" fmla="*/ 1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7" h="446">
                      <a:moveTo>
                        <a:pt x="224" y="0"/>
                      </a:moveTo>
                      <a:lnTo>
                        <a:pt x="224" y="0"/>
                      </a:lnTo>
                      <a:lnTo>
                        <a:pt x="201" y="1"/>
                      </a:lnTo>
                      <a:lnTo>
                        <a:pt x="179" y="4"/>
                      </a:lnTo>
                      <a:lnTo>
                        <a:pt x="157" y="10"/>
                      </a:lnTo>
                      <a:lnTo>
                        <a:pt x="137" y="17"/>
                      </a:lnTo>
                      <a:lnTo>
                        <a:pt x="118" y="27"/>
                      </a:lnTo>
                      <a:lnTo>
                        <a:pt x="99" y="38"/>
                      </a:lnTo>
                      <a:lnTo>
                        <a:pt x="82" y="50"/>
                      </a:lnTo>
                      <a:lnTo>
                        <a:pt x="66" y="65"/>
                      </a:lnTo>
                      <a:lnTo>
                        <a:pt x="51" y="81"/>
                      </a:lnTo>
                      <a:lnTo>
                        <a:pt x="38" y="99"/>
                      </a:lnTo>
                      <a:lnTo>
                        <a:pt x="28" y="117"/>
                      </a:lnTo>
                      <a:lnTo>
                        <a:pt x="18" y="137"/>
                      </a:lnTo>
                      <a:lnTo>
                        <a:pt x="11" y="156"/>
                      </a:lnTo>
                      <a:lnTo>
                        <a:pt x="5" y="178"/>
                      </a:lnTo>
                      <a:lnTo>
                        <a:pt x="1" y="200"/>
                      </a:lnTo>
                      <a:lnTo>
                        <a:pt x="0" y="223"/>
                      </a:lnTo>
                      <a:lnTo>
                        <a:pt x="0" y="223"/>
                      </a:lnTo>
                      <a:lnTo>
                        <a:pt x="1" y="246"/>
                      </a:lnTo>
                      <a:lnTo>
                        <a:pt x="5" y="268"/>
                      </a:lnTo>
                      <a:lnTo>
                        <a:pt x="11" y="290"/>
                      </a:lnTo>
                      <a:lnTo>
                        <a:pt x="18" y="309"/>
                      </a:lnTo>
                      <a:lnTo>
                        <a:pt x="28" y="329"/>
                      </a:lnTo>
                      <a:lnTo>
                        <a:pt x="38" y="347"/>
                      </a:lnTo>
                      <a:lnTo>
                        <a:pt x="51" y="364"/>
                      </a:lnTo>
                      <a:lnTo>
                        <a:pt x="66" y="381"/>
                      </a:lnTo>
                      <a:lnTo>
                        <a:pt x="82" y="396"/>
                      </a:lnTo>
                      <a:lnTo>
                        <a:pt x="99" y="408"/>
                      </a:lnTo>
                      <a:lnTo>
                        <a:pt x="118" y="419"/>
                      </a:lnTo>
                      <a:lnTo>
                        <a:pt x="137" y="429"/>
                      </a:lnTo>
                      <a:lnTo>
                        <a:pt x="157" y="436"/>
                      </a:lnTo>
                      <a:lnTo>
                        <a:pt x="179" y="442"/>
                      </a:lnTo>
                      <a:lnTo>
                        <a:pt x="201" y="445"/>
                      </a:lnTo>
                      <a:lnTo>
                        <a:pt x="224" y="446"/>
                      </a:lnTo>
                      <a:lnTo>
                        <a:pt x="224" y="446"/>
                      </a:lnTo>
                      <a:lnTo>
                        <a:pt x="247" y="445"/>
                      </a:lnTo>
                      <a:lnTo>
                        <a:pt x="269" y="442"/>
                      </a:lnTo>
                      <a:lnTo>
                        <a:pt x="290" y="436"/>
                      </a:lnTo>
                      <a:lnTo>
                        <a:pt x="310" y="429"/>
                      </a:lnTo>
                      <a:lnTo>
                        <a:pt x="330" y="419"/>
                      </a:lnTo>
                      <a:lnTo>
                        <a:pt x="348" y="408"/>
                      </a:lnTo>
                      <a:lnTo>
                        <a:pt x="365" y="396"/>
                      </a:lnTo>
                      <a:lnTo>
                        <a:pt x="381" y="381"/>
                      </a:lnTo>
                      <a:lnTo>
                        <a:pt x="396" y="364"/>
                      </a:lnTo>
                      <a:lnTo>
                        <a:pt x="409" y="347"/>
                      </a:lnTo>
                      <a:lnTo>
                        <a:pt x="419" y="329"/>
                      </a:lnTo>
                      <a:lnTo>
                        <a:pt x="430" y="309"/>
                      </a:lnTo>
                      <a:lnTo>
                        <a:pt x="437" y="290"/>
                      </a:lnTo>
                      <a:lnTo>
                        <a:pt x="442" y="268"/>
                      </a:lnTo>
                      <a:lnTo>
                        <a:pt x="446" y="246"/>
                      </a:lnTo>
                      <a:lnTo>
                        <a:pt x="447" y="223"/>
                      </a:lnTo>
                      <a:lnTo>
                        <a:pt x="447" y="223"/>
                      </a:lnTo>
                      <a:lnTo>
                        <a:pt x="446" y="200"/>
                      </a:lnTo>
                      <a:lnTo>
                        <a:pt x="442" y="178"/>
                      </a:lnTo>
                      <a:lnTo>
                        <a:pt x="437" y="156"/>
                      </a:lnTo>
                      <a:lnTo>
                        <a:pt x="430" y="137"/>
                      </a:lnTo>
                      <a:lnTo>
                        <a:pt x="419" y="117"/>
                      </a:lnTo>
                      <a:lnTo>
                        <a:pt x="409" y="99"/>
                      </a:lnTo>
                      <a:lnTo>
                        <a:pt x="396" y="81"/>
                      </a:lnTo>
                      <a:lnTo>
                        <a:pt x="381" y="65"/>
                      </a:lnTo>
                      <a:lnTo>
                        <a:pt x="365" y="50"/>
                      </a:lnTo>
                      <a:lnTo>
                        <a:pt x="348" y="38"/>
                      </a:lnTo>
                      <a:lnTo>
                        <a:pt x="330" y="27"/>
                      </a:lnTo>
                      <a:lnTo>
                        <a:pt x="310" y="17"/>
                      </a:lnTo>
                      <a:lnTo>
                        <a:pt x="290" y="10"/>
                      </a:lnTo>
                      <a:lnTo>
                        <a:pt x="269" y="4"/>
                      </a:lnTo>
                      <a:lnTo>
                        <a:pt x="247" y="1"/>
                      </a:lnTo>
                      <a:lnTo>
                        <a:pt x="2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2" name="Freeform 285"/>
                <p:cNvSpPr>
                  <a:spLocks/>
                </p:cNvSpPr>
                <p:nvPr/>
              </p:nvSpPr>
              <p:spPr bwMode="auto">
                <a:xfrm>
                  <a:off x="3108325" y="3141663"/>
                  <a:ext cx="101600" cy="100013"/>
                </a:xfrm>
                <a:custGeom>
                  <a:avLst/>
                  <a:gdLst>
                    <a:gd name="T0" fmla="*/ 223 w 447"/>
                    <a:gd name="T1" fmla="*/ 0 h 447"/>
                    <a:gd name="T2" fmla="*/ 178 w 447"/>
                    <a:gd name="T3" fmla="*/ 5 h 447"/>
                    <a:gd name="T4" fmla="*/ 137 w 447"/>
                    <a:gd name="T5" fmla="*/ 18 h 447"/>
                    <a:gd name="T6" fmla="*/ 99 w 447"/>
                    <a:gd name="T7" fmla="*/ 38 h 447"/>
                    <a:gd name="T8" fmla="*/ 65 w 447"/>
                    <a:gd name="T9" fmla="*/ 66 h 447"/>
                    <a:gd name="T10" fmla="*/ 39 w 447"/>
                    <a:gd name="T11" fmla="*/ 99 h 447"/>
                    <a:gd name="T12" fmla="*/ 18 w 447"/>
                    <a:gd name="T13" fmla="*/ 137 h 447"/>
                    <a:gd name="T14" fmla="*/ 4 w 447"/>
                    <a:gd name="T15" fmla="*/ 179 h 447"/>
                    <a:gd name="T16" fmla="*/ 0 w 447"/>
                    <a:gd name="T17" fmla="*/ 224 h 447"/>
                    <a:gd name="T18" fmla="*/ 1 w 447"/>
                    <a:gd name="T19" fmla="*/ 247 h 447"/>
                    <a:gd name="T20" fmla="*/ 10 w 447"/>
                    <a:gd name="T21" fmla="*/ 291 h 447"/>
                    <a:gd name="T22" fmla="*/ 27 w 447"/>
                    <a:gd name="T23" fmla="*/ 330 h 447"/>
                    <a:gd name="T24" fmla="*/ 52 w 447"/>
                    <a:gd name="T25" fmla="*/ 365 h 447"/>
                    <a:gd name="T26" fmla="*/ 82 w 447"/>
                    <a:gd name="T27" fmla="*/ 397 h 447"/>
                    <a:gd name="T28" fmla="*/ 117 w 447"/>
                    <a:gd name="T29" fmla="*/ 420 h 447"/>
                    <a:gd name="T30" fmla="*/ 158 w 447"/>
                    <a:gd name="T31" fmla="*/ 437 h 447"/>
                    <a:gd name="T32" fmla="*/ 200 w 447"/>
                    <a:gd name="T33" fmla="*/ 446 h 447"/>
                    <a:gd name="T34" fmla="*/ 223 w 447"/>
                    <a:gd name="T35" fmla="*/ 447 h 447"/>
                    <a:gd name="T36" fmla="*/ 268 w 447"/>
                    <a:gd name="T37" fmla="*/ 443 h 447"/>
                    <a:gd name="T38" fmla="*/ 311 w 447"/>
                    <a:gd name="T39" fmla="*/ 430 h 447"/>
                    <a:gd name="T40" fmla="*/ 349 w 447"/>
                    <a:gd name="T41" fmla="*/ 409 h 447"/>
                    <a:gd name="T42" fmla="*/ 381 w 447"/>
                    <a:gd name="T43" fmla="*/ 382 h 447"/>
                    <a:gd name="T44" fmla="*/ 409 w 447"/>
                    <a:gd name="T45" fmla="*/ 348 h 447"/>
                    <a:gd name="T46" fmla="*/ 429 w 447"/>
                    <a:gd name="T47" fmla="*/ 310 h 447"/>
                    <a:gd name="T48" fmla="*/ 442 w 447"/>
                    <a:gd name="T49" fmla="*/ 269 h 447"/>
                    <a:gd name="T50" fmla="*/ 447 w 447"/>
                    <a:gd name="T51" fmla="*/ 224 h 447"/>
                    <a:gd name="T52" fmla="*/ 445 w 447"/>
                    <a:gd name="T53" fmla="*/ 201 h 447"/>
                    <a:gd name="T54" fmla="*/ 436 w 447"/>
                    <a:gd name="T55" fmla="*/ 157 h 447"/>
                    <a:gd name="T56" fmla="*/ 420 w 447"/>
                    <a:gd name="T57" fmla="*/ 118 h 447"/>
                    <a:gd name="T58" fmla="*/ 396 w 447"/>
                    <a:gd name="T59" fmla="*/ 82 h 447"/>
                    <a:gd name="T60" fmla="*/ 366 w 447"/>
                    <a:gd name="T61" fmla="*/ 51 h 447"/>
                    <a:gd name="T62" fmla="*/ 330 w 447"/>
                    <a:gd name="T63" fmla="*/ 28 h 447"/>
                    <a:gd name="T64" fmla="*/ 290 w 447"/>
                    <a:gd name="T65" fmla="*/ 11 h 447"/>
                    <a:gd name="T66" fmla="*/ 246 w 447"/>
                    <a:gd name="T67" fmla="*/ 2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7" h="447">
                      <a:moveTo>
                        <a:pt x="223" y="0"/>
                      </a:moveTo>
                      <a:lnTo>
                        <a:pt x="223" y="0"/>
                      </a:lnTo>
                      <a:lnTo>
                        <a:pt x="200" y="2"/>
                      </a:lnTo>
                      <a:lnTo>
                        <a:pt x="178" y="5"/>
                      </a:lnTo>
                      <a:lnTo>
                        <a:pt x="158" y="11"/>
                      </a:lnTo>
                      <a:lnTo>
                        <a:pt x="137" y="18"/>
                      </a:lnTo>
                      <a:lnTo>
                        <a:pt x="117" y="28"/>
                      </a:lnTo>
                      <a:lnTo>
                        <a:pt x="99" y="38"/>
                      </a:lnTo>
                      <a:lnTo>
                        <a:pt x="82" y="51"/>
                      </a:lnTo>
                      <a:lnTo>
                        <a:pt x="65" y="66"/>
                      </a:lnTo>
                      <a:lnTo>
                        <a:pt x="52" y="82"/>
                      </a:lnTo>
                      <a:lnTo>
                        <a:pt x="39" y="99"/>
                      </a:lnTo>
                      <a:lnTo>
                        <a:pt x="27" y="118"/>
                      </a:lnTo>
                      <a:lnTo>
                        <a:pt x="18" y="137"/>
                      </a:lnTo>
                      <a:lnTo>
                        <a:pt x="10" y="157"/>
                      </a:lnTo>
                      <a:lnTo>
                        <a:pt x="4" y="179"/>
                      </a:lnTo>
                      <a:lnTo>
                        <a:pt x="1" y="201"/>
                      </a:lnTo>
                      <a:lnTo>
                        <a:pt x="0" y="224"/>
                      </a:lnTo>
                      <a:lnTo>
                        <a:pt x="0" y="224"/>
                      </a:lnTo>
                      <a:lnTo>
                        <a:pt x="1" y="247"/>
                      </a:lnTo>
                      <a:lnTo>
                        <a:pt x="4" y="269"/>
                      </a:lnTo>
                      <a:lnTo>
                        <a:pt x="10" y="291"/>
                      </a:lnTo>
                      <a:lnTo>
                        <a:pt x="18" y="310"/>
                      </a:lnTo>
                      <a:lnTo>
                        <a:pt x="27" y="330"/>
                      </a:lnTo>
                      <a:lnTo>
                        <a:pt x="39" y="348"/>
                      </a:lnTo>
                      <a:lnTo>
                        <a:pt x="52" y="365"/>
                      </a:lnTo>
                      <a:lnTo>
                        <a:pt x="65" y="382"/>
                      </a:lnTo>
                      <a:lnTo>
                        <a:pt x="82" y="397"/>
                      </a:lnTo>
                      <a:lnTo>
                        <a:pt x="99" y="409"/>
                      </a:lnTo>
                      <a:lnTo>
                        <a:pt x="117" y="420"/>
                      </a:lnTo>
                      <a:lnTo>
                        <a:pt x="137" y="430"/>
                      </a:lnTo>
                      <a:lnTo>
                        <a:pt x="158" y="437"/>
                      </a:lnTo>
                      <a:lnTo>
                        <a:pt x="178" y="443"/>
                      </a:lnTo>
                      <a:lnTo>
                        <a:pt x="200" y="446"/>
                      </a:lnTo>
                      <a:lnTo>
                        <a:pt x="223" y="447"/>
                      </a:lnTo>
                      <a:lnTo>
                        <a:pt x="223" y="447"/>
                      </a:lnTo>
                      <a:lnTo>
                        <a:pt x="246" y="446"/>
                      </a:lnTo>
                      <a:lnTo>
                        <a:pt x="268" y="443"/>
                      </a:lnTo>
                      <a:lnTo>
                        <a:pt x="290" y="437"/>
                      </a:lnTo>
                      <a:lnTo>
                        <a:pt x="311" y="430"/>
                      </a:lnTo>
                      <a:lnTo>
                        <a:pt x="330" y="420"/>
                      </a:lnTo>
                      <a:lnTo>
                        <a:pt x="349" y="409"/>
                      </a:lnTo>
                      <a:lnTo>
                        <a:pt x="366" y="397"/>
                      </a:lnTo>
                      <a:lnTo>
                        <a:pt x="381" y="382"/>
                      </a:lnTo>
                      <a:lnTo>
                        <a:pt x="396" y="365"/>
                      </a:lnTo>
                      <a:lnTo>
                        <a:pt x="409" y="348"/>
                      </a:lnTo>
                      <a:lnTo>
                        <a:pt x="420" y="330"/>
                      </a:lnTo>
                      <a:lnTo>
                        <a:pt x="429" y="310"/>
                      </a:lnTo>
                      <a:lnTo>
                        <a:pt x="436" y="291"/>
                      </a:lnTo>
                      <a:lnTo>
                        <a:pt x="442" y="269"/>
                      </a:lnTo>
                      <a:lnTo>
                        <a:pt x="445" y="247"/>
                      </a:lnTo>
                      <a:lnTo>
                        <a:pt x="447" y="224"/>
                      </a:lnTo>
                      <a:lnTo>
                        <a:pt x="447" y="224"/>
                      </a:lnTo>
                      <a:lnTo>
                        <a:pt x="445" y="201"/>
                      </a:lnTo>
                      <a:lnTo>
                        <a:pt x="442" y="179"/>
                      </a:lnTo>
                      <a:lnTo>
                        <a:pt x="436" y="157"/>
                      </a:lnTo>
                      <a:lnTo>
                        <a:pt x="429" y="137"/>
                      </a:lnTo>
                      <a:lnTo>
                        <a:pt x="420" y="118"/>
                      </a:lnTo>
                      <a:lnTo>
                        <a:pt x="409" y="99"/>
                      </a:lnTo>
                      <a:lnTo>
                        <a:pt x="396" y="82"/>
                      </a:lnTo>
                      <a:lnTo>
                        <a:pt x="381" y="66"/>
                      </a:lnTo>
                      <a:lnTo>
                        <a:pt x="366" y="51"/>
                      </a:lnTo>
                      <a:lnTo>
                        <a:pt x="349" y="38"/>
                      </a:lnTo>
                      <a:lnTo>
                        <a:pt x="330" y="28"/>
                      </a:lnTo>
                      <a:lnTo>
                        <a:pt x="311" y="18"/>
                      </a:lnTo>
                      <a:lnTo>
                        <a:pt x="290" y="11"/>
                      </a:lnTo>
                      <a:lnTo>
                        <a:pt x="268" y="5"/>
                      </a:lnTo>
                      <a:lnTo>
                        <a:pt x="246" y="2"/>
                      </a:lnTo>
                      <a:lnTo>
                        <a:pt x="223" y="0"/>
                      </a:lnTo>
                      <a:close/>
                    </a:path>
                  </a:pathLst>
                </a:custGeom>
                <a:solidFill>
                  <a:srgbClr val="CDBF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3" name="Freeform 286"/>
                <p:cNvSpPr>
                  <a:spLocks/>
                </p:cNvSpPr>
                <p:nvPr/>
              </p:nvSpPr>
              <p:spPr bwMode="auto">
                <a:xfrm>
                  <a:off x="3108325" y="3141663"/>
                  <a:ext cx="101600" cy="100013"/>
                </a:xfrm>
                <a:custGeom>
                  <a:avLst/>
                  <a:gdLst>
                    <a:gd name="T0" fmla="*/ 223 w 447"/>
                    <a:gd name="T1" fmla="*/ 0 h 447"/>
                    <a:gd name="T2" fmla="*/ 178 w 447"/>
                    <a:gd name="T3" fmla="*/ 5 h 447"/>
                    <a:gd name="T4" fmla="*/ 137 w 447"/>
                    <a:gd name="T5" fmla="*/ 18 h 447"/>
                    <a:gd name="T6" fmla="*/ 99 w 447"/>
                    <a:gd name="T7" fmla="*/ 38 h 447"/>
                    <a:gd name="T8" fmla="*/ 65 w 447"/>
                    <a:gd name="T9" fmla="*/ 66 h 447"/>
                    <a:gd name="T10" fmla="*/ 39 w 447"/>
                    <a:gd name="T11" fmla="*/ 99 h 447"/>
                    <a:gd name="T12" fmla="*/ 18 w 447"/>
                    <a:gd name="T13" fmla="*/ 137 h 447"/>
                    <a:gd name="T14" fmla="*/ 4 w 447"/>
                    <a:gd name="T15" fmla="*/ 179 h 447"/>
                    <a:gd name="T16" fmla="*/ 0 w 447"/>
                    <a:gd name="T17" fmla="*/ 224 h 447"/>
                    <a:gd name="T18" fmla="*/ 1 w 447"/>
                    <a:gd name="T19" fmla="*/ 247 h 447"/>
                    <a:gd name="T20" fmla="*/ 10 w 447"/>
                    <a:gd name="T21" fmla="*/ 291 h 447"/>
                    <a:gd name="T22" fmla="*/ 27 w 447"/>
                    <a:gd name="T23" fmla="*/ 330 h 447"/>
                    <a:gd name="T24" fmla="*/ 52 w 447"/>
                    <a:gd name="T25" fmla="*/ 365 h 447"/>
                    <a:gd name="T26" fmla="*/ 82 w 447"/>
                    <a:gd name="T27" fmla="*/ 397 h 447"/>
                    <a:gd name="T28" fmla="*/ 117 w 447"/>
                    <a:gd name="T29" fmla="*/ 420 h 447"/>
                    <a:gd name="T30" fmla="*/ 158 w 447"/>
                    <a:gd name="T31" fmla="*/ 437 h 447"/>
                    <a:gd name="T32" fmla="*/ 200 w 447"/>
                    <a:gd name="T33" fmla="*/ 446 h 447"/>
                    <a:gd name="T34" fmla="*/ 223 w 447"/>
                    <a:gd name="T35" fmla="*/ 447 h 447"/>
                    <a:gd name="T36" fmla="*/ 268 w 447"/>
                    <a:gd name="T37" fmla="*/ 443 h 447"/>
                    <a:gd name="T38" fmla="*/ 311 w 447"/>
                    <a:gd name="T39" fmla="*/ 430 h 447"/>
                    <a:gd name="T40" fmla="*/ 349 w 447"/>
                    <a:gd name="T41" fmla="*/ 409 h 447"/>
                    <a:gd name="T42" fmla="*/ 381 w 447"/>
                    <a:gd name="T43" fmla="*/ 382 h 447"/>
                    <a:gd name="T44" fmla="*/ 409 w 447"/>
                    <a:gd name="T45" fmla="*/ 348 h 447"/>
                    <a:gd name="T46" fmla="*/ 429 w 447"/>
                    <a:gd name="T47" fmla="*/ 310 h 447"/>
                    <a:gd name="T48" fmla="*/ 442 w 447"/>
                    <a:gd name="T49" fmla="*/ 269 h 447"/>
                    <a:gd name="T50" fmla="*/ 447 w 447"/>
                    <a:gd name="T51" fmla="*/ 224 h 447"/>
                    <a:gd name="T52" fmla="*/ 445 w 447"/>
                    <a:gd name="T53" fmla="*/ 201 h 447"/>
                    <a:gd name="T54" fmla="*/ 436 w 447"/>
                    <a:gd name="T55" fmla="*/ 157 h 447"/>
                    <a:gd name="T56" fmla="*/ 420 w 447"/>
                    <a:gd name="T57" fmla="*/ 118 h 447"/>
                    <a:gd name="T58" fmla="*/ 396 w 447"/>
                    <a:gd name="T59" fmla="*/ 82 h 447"/>
                    <a:gd name="T60" fmla="*/ 366 w 447"/>
                    <a:gd name="T61" fmla="*/ 51 h 447"/>
                    <a:gd name="T62" fmla="*/ 330 w 447"/>
                    <a:gd name="T63" fmla="*/ 28 h 447"/>
                    <a:gd name="T64" fmla="*/ 290 w 447"/>
                    <a:gd name="T65" fmla="*/ 11 h 447"/>
                    <a:gd name="T66" fmla="*/ 246 w 447"/>
                    <a:gd name="T67" fmla="*/ 2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7" h="447">
                      <a:moveTo>
                        <a:pt x="223" y="0"/>
                      </a:moveTo>
                      <a:lnTo>
                        <a:pt x="223" y="0"/>
                      </a:lnTo>
                      <a:lnTo>
                        <a:pt x="200" y="2"/>
                      </a:lnTo>
                      <a:lnTo>
                        <a:pt x="178" y="5"/>
                      </a:lnTo>
                      <a:lnTo>
                        <a:pt x="158" y="11"/>
                      </a:lnTo>
                      <a:lnTo>
                        <a:pt x="137" y="18"/>
                      </a:lnTo>
                      <a:lnTo>
                        <a:pt x="117" y="28"/>
                      </a:lnTo>
                      <a:lnTo>
                        <a:pt x="99" y="38"/>
                      </a:lnTo>
                      <a:lnTo>
                        <a:pt x="82" y="51"/>
                      </a:lnTo>
                      <a:lnTo>
                        <a:pt x="65" y="66"/>
                      </a:lnTo>
                      <a:lnTo>
                        <a:pt x="52" y="82"/>
                      </a:lnTo>
                      <a:lnTo>
                        <a:pt x="39" y="99"/>
                      </a:lnTo>
                      <a:lnTo>
                        <a:pt x="27" y="118"/>
                      </a:lnTo>
                      <a:lnTo>
                        <a:pt x="18" y="137"/>
                      </a:lnTo>
                      <a:lnTo>
                        <a:pt x="10" y="157"/>
                      </a:lnTo>
                      <a:lnTo>
                        <a:pt x="4" y="179"/>
                      </a:lnTo>
                      <a:lnTo>
                        <a:pt x="1" y="201"/>
                      </a:lnTo>
                      <a:lnTo>
                        <a:pt x="0" y="224"/>
                      </a:lnTo>
                      <a:lnTo>
                        <a:pt x="0" y="224"/>
                      </a:lnTo>
                      <a:lnTo>
                        <a:pt x="1" y="247"/>
                      </a:lnTo>
                      <a:lnTo>
                        <a:pt x="4" y="269"/>
                      </a:lnTo>
                      <a:lnTo>
                        <a:pt x="10" y="291"/>
                      </a:lnTo>
                      <a:lnTo>
                        <a:pt x="18" y="310"/>
                      </a:lnTo>
                      <a:lnTo>
                        <a:pt x="27" y="330"/>
                      </a:lnTo>
                      <a:lnTo>
                        <a:pt x="39" y="348"/>
                      </a:lnTo>
                      <a:lnTo>
                        <a:pt x="52" y="365"/>
                      </a:lnTo>
                      <a:lnTo>
                        <a:pt x="65" y="382"/>
                      </a:lnTo>
                      <a:lnTo>
                        <a:pt x="82" y="397"/>
                      </a:lnTo>
                      <a:lnTo>
                        <a:pt x="99" y="409"/>
                      </a:lnTo>
                      <a:lnTo>
                        <a:pt x="117" y="420"/>
                      </a:lnTo>
                      <a:lnTo>
                        <a:pt x="137" y="430"/>
                      </a:lnTo>
                      <a:lnTo>
                        <a:pt x="158" y="437"/>
                      </a:lnTo>
                      <a:lnTo>
                        <a:pt x="178" y="443"/>
                      </a:lnTo>
                      <a:lnTo>
                        <a:pt x="200" y="446"/>
                      </a:lnTo>
                      <a:lnTo>
                        <a:pt x="223" y="447"/>
                      </a:lnTo>
                      <a:lnTo>
                        <a:pt x="223" y="447"/>
                      </a:lnTo>
                      <a:lnTo>
                        <a:pt x="246" y="446"/>
                      </a:lnTo>
                      <a:lnTo>
                        <a:pt x="268" y="443"/>
                      </a:lnTo>
                      <a:lnTo>
                        <a:pt x="290" y="437"/>
                      </a:lnTo>
                      <a:lnTo>
                        <a:pt x="311" y="430"/>
                      </a:lnTo>
                      <a:lnTo>
                        <a:pt x="330" y="420"/>
                      </a:lnTo>
                      <a:lnTo>
                        <a:pt x="349" y="409"/>
                      </a:lnTo>
                      <a:lnTo>
                        <a:pt x="366" y="397"/>
                      </a:lnTo>
                      <a:lnTo>
                        <a:pt x="381" y="382"/>
                      </a:lnTo>
                      <a:lnTo>
                        <a:pt x="396" y="365"/>
                      </a:lnTo>
                      <a:lnTo>
                        <a:pt x="409" y="348"/>
                      </a:lnTo>
                      <a:lnTo>
                        <a:pt x="420" y="330"/>
                      </a:lnTo>
                      <a:lnTo>
                        <a:pt x="429" y="310"/>
                      </a:lnTo>
                      <a:lnTo>
                        <a:pt x="436" y="291"/>
                      </a:lnTo>
                      <a:lnTo>
                        <a:pt x="442" y="269"/>
                      </a:lnTo>
                      <a:lnTo>
                        <a:pt x="445" y="247"/>
                      </a:lnTo>
                      <a:lnTo>
                        <a:pt x="447" y="224"/>
                      </a:lnTo>
                      <a:lnTo>
                        <a:pt x="447" y="224"/>
                      </a:lnTo>
                      <a:lnTo>
                        <a:pt x="445" y="201"/>
                      </a:lnTo>
                      <a:lnTo>
                        <a:pt x="442" y="179"/>
                      </a:lnTo>
                      <a:lnTo>
                        <a:pt x="436" y="157"/>
                      </a:lnTo>
                      <a:lnTo>
                        <a:pt x="429" y="137"/>
                      </a:lnTo>
                      <a:lnTo>
                        <a:pt x="420" y="118"/>
                      </a:lnTo>
                      <a:lnTo>
                        <a:pt x="409" y="99"/>
                      </a:lnTo>
                      <a:lnTo>
                        <a:pt x="396" y="82"/>
                      </a:lnTo>
                      <a:lnTo>
                        <a:pt x="381" y="66"/>
                      </a:lnTo>
                      <a:lnTo>
                        <a:pt x="366" y="51"/>
                      </a:lnTo>
                      <a:lnTo>
                        <a:pt x="349" y="38"/>
                      </a:lnTo>
                      <a:lnTo>
                        <a:pt x="330" y="28"/>
                      </a:lnTo>
                      <a:lnTo>
                        <a:pt x="311" y="18"/>
                      </a:lnTo>
                      <a:lnTo>
                        <a:pt x="290" y="11"/>
                      </a:lnTo>
                      <a:lnTo>
                        <a:pt x="268" y="5"/>
                      </a:lnTo>
                      <a:lnTo>
                        <a:pt x="246" y="2"/>
                      </a:lnTo>
                      <a:lnTo>
                        <a:pt x="2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4" name="Freeform 287"/>
                <p:cNvSpPr>
                  <a:spLocks/>
                </p:cNvSpPr>
                <p:nvPr/>
              </p:nvSpPr>
              <p:spPr bwMode="auto">
                <a:xfrm>
                  <a:off x="3222625" y="2982913"/>
                  <a:ext cx="147638" cy="147638"/>
                </a:xfrm>
                <a:custGeom>
                  <a:avLst/>
                  <a:gdLst>
                    <a:gd name="T0" fmla="*/ 311 w 655"/>
                    <a:gd name="T1" fmla="*/ 0 h 655"/>
                    <a:gd name="T2" fmla="*/ 262 w 655"/>
                    <a:gd name="T3" fmla="*/ 7 h 655"/>
                    <a:gd name="T4" fmla="*/ 216 w 655"/>
                    <a:gd name="T5" fmla="*/ 19 h 655"/>
                    <a:gd name="T6" fmla="*/ 172 w 655"/>
                    <a:gd name="T7" fmla="*/ 39 h 655"/>
                    <a:gd name="T8" fmla="*/ 132 w 655"/>
                    <a:gd name="T9" fmla="*/ 64 h 655"/>
                    <a:gd name="T10" fmla="*/ 96 w 655"/>
                    <a:gd name="T11" fmla="*/ 95 h 655"/>
                    <a:gd name="T12" fmla="*/ 66 w 655"/>
                    <a:gd name="T13" fmla="*/ 131 h 655"/>
                    <a:gd name="T14" fmla="*/ 40 w 655"/>
                    <a:gd name="T15" fmla="*/ 171 h 655"/>
                    <a:gd name="T16" fmla="*/ 20 w 655"/>
                    <a:gd name="T17" fmla="*/ 215 h 655"/>
                    <a:gd name="T18" fmla="*/ 7 w 655"/>
                    <a:gd name="T19" fmla="*/ 261 h 655"/>
                    <a:gd name="T20" fmla="*/ 0 w 655"/>
                    <a:gd name="T21" fmla="*/ 310 h 655"/>
                    <a:gd name="T22" fmla="*/ 0 w 655"/>
                    <a:gd name="T23" fmla="*/ 344 h 655"/>
                    <a:gd name="T24" fmla="*/ 7 w 655"/>
                    <a:gd name="T25" fmla="*/ 393 h 655"/>
                    <a:gd name="T26" fmla="*/ 20 w 655"/>
                    <a:gd name="T27" fmla="*/ 439 h 655"/>
                    <a:gd name="T28" fmla="*/ 40 w 655"/>
                    <a:gd name="T29" fmla="*/ 483 h 655"/>
                    <a:gd name="T30" fmla="*/ 66 w 655"/>
                    <a:gd name="T31" fmla="*/ 522 h 655"/>
                    <a:gd name="T32" fmla="*/ 96 w 655"/>
                    <a:gd name="T33" fmla="*/ 558 h 655"/>
                    <a:gd name="T34" fmla="*/ 132 w 655"/>
                    <a:gd name="T35" fmla="*/ 589 h 655"/>
                    <a:gd name="T36" fmla="*/ 172 w 655"/>
                    <a:gd name="T37" fmla="*/ 614 h 655"/>
                    <a:gd name="T38" fmla="*/ 216 w 655"/>
                    <a:gd name="T39" fmla="*/ 634 h 655"/>
                    <a:gd name="T40" fmla="*/ 262 w 655"/>
                    <a:gd name="T41" fmla="*/ 648 h 655"/>
                    <a:gd name="T42" fmla="*/ 311 w 655"/>
                    <a:gd name="T43" fmla="*/ 654 h 655"/>
                    <a:gd name="T44" fmla="*/ 345 w 655"/>
                    <a:gd name="T45" fmla="*/ 654 h 655"/>
                    <a:gd name="T46" fmla="*/ 394 w 655"/>
                    <a:gd name="T47" fmla="*/ 648 h 655"/>
                    <a:gd name="T48" fmla="*/ 440 w 655"/>
                    <a:gd name="T49" fmla="*/ 634 h 655"/>
                    <a:gd name="T50" fmla="*/ 484 w 655"/>
                    <a:gd name="T51" fmla="*/ 614 h 655"/>
                    <a:gd name="T52" fmla="*/ 523 w 655"/>
                    <a:gd name="T53" fmla="*/ 589 h 655"/>
                    <a:gd name="T54" fmla="*/ 559 w 655"/>
                    <a:gd name="T55" fmla="*/ 558 h 655"/>
                    <a:gd name="T56" fmla="*/ 590 w 655"/>
                    <a:gd name="T57" fmla="*/ 522 h 655"/>
                    <a:gd name="T58" fmla="*/ 615 w 655"/>
                    <a:gd name="T59" fmla="*/ 483 h 655"/>
                    <a:gd name="T60" fmla="*/ 635 w 655"/>
                    <a:gd name="T61" fmla="*/ 439 h 655"/>
                    <a:gd name="T62" fmla="*/ 649 w 655"/>
                    <a:gd name="T63" fmla="*/ 393 h 655"/>
                    <a:gd name="T64" fmla="*/ 654 w 655"/>
                    <a:gd name="T65" fmla="*/ 344 h 655"/>
                    <a:gd name="T66" fmla="*/ 654 w 655"/>
                    <a:gd name="T67" fmla="*/ 310 h 655"/>
                    <a:gd name="T68" fmla="*/ 649 w 655"/>
                    <a:gd name="T69" fmla="*/ 261 h 655"/>
                    <a:gd name="T70" fmla="*/ 635 w 655"/>
                    <a:gd name="T71" fmla="*/ 215 h 655"/>
                    <a:gd name="T72" fmla="*/ 615 w 655"/>
                    <a:gd name="T73" fmla="*/ 171 h 655"/>
                    <a:gd name="T74" fmla="*/ 590 w 655"/>
                    <a:gd name="T75" fmla="*/ 131 h 655"/>
                    <a:gd name="T76" fmla="*/ 559 w 655"/>
                    <a:gd name="T77" fmla="*/ 95 h 655"/>
                    <a:gd name="T78" fmla="*/ 523 w 655"/>
                    <a:gd name="T79" fmla="*/ 64 h 655"/>
                    <a:gd name="T80" fmla="*/ 484 w 655"/>
                    <a:gd name="T81" fmla="*/ 39 h 655"/>
                    <a:gd name="T82" fmla="*/ 440 w 655"/>
                    <a:gd name="T83" fmla="*/ 19 h 655"/>
                    <a:gd name="T84" fmla="*/ 394 w 655"/>
                    <a:gd name="T85" fmla="*/ 7 h 655"/>
                    <a:gd name="T86" fmla="*/ 345 w 655"/>
                    <a:gd name="T87" fmla="*/ 0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5" h="655">
                      <a:moveTo>
                        <a:pt x="327" y="0"/>
                      </a:moveTo>
                      <a:lnTo>
                        <a:pt x="327" y="0"/>
                      </a:lnTo>
                      <a:lnTo>
                        <a:pt x="311" y="0"/>
                      </a:lnTo>
                      <a:lnTo>
                        <a:pt x="294" y="1"/>
                      </a:lnTo>
                      <a:lnTo>
                        <a:pt x="278" y="3"/>
                      </a:lnTo>
                      <a:lnTo>
                        <a:pt x="262" y="7"/>
                      </a:lnTo>
                      <a:lnTo>
                        <a:pt x="246" y="10"/>
                      </a:lnTo>
                      <a:lnTo>
                        <a:pt x="231" y="15"/>
                      </a:lnTo>
                      <a:lnTo>
                        <a:pt x="216" y="19"/>
                      </a:lnTo>
                      <a:lnTo>
                        <a:pt x="201" y="25"/>
                      </a:lnTo>
                      <a:lnTo>
                        <a:pt x="186" y="32"/>
                      </a:lnTo>
                      <a:lnTo>
                        <a:pt x="172" y="39"/>
                      </a:lnTo>
                      <a:lnTo>
                        <a:pt x="158" y="47"/>
                      </a:lnTo>
                      <a:lnTo>
                        <a:pt x="144" y="56"/>
                      </a:lnTo>
                      <a:lnTo>
                        <a:pt x="132" y="64"/>
                      </a:lnTo>
                      <a:lnTo>
                        <a:pt x="120" y="74"/>
                      </a:lnTo>
                      <a:lnTo>
                        <a:pt x="107" y="85"/>
                      </a:lnTo>
                      <a:lnTo>
                        <a:pt x="96" y="95"/>
                      </a:lnTo>
                      <a:lnTo>
                        <a:pt x="86" y="107"/>
                      </a:lnTo>
                      <a:lnTo>
                        <a:pt x="75" y="118"/>
                      </a:lnTo>
                      <a:lnTo>
                        <a:pt x="66" y="131"/>
                      </a:lnTo>
                      <a:lnTo>
                        <a:pt x="57" y="144"/>
                      </a:lnTo>
                      <a:lnTo>
                        <a:pt x="48" y="157"/>
                      </a:lnTo>
                      <a:lnTo>
                        <a:pt x="40" y="171"/>
                      </a:lnTo>
                      <a:lnTo>
                        <a:pt x="33" y="185"/>
                      </a:lnTo>
                      <a:lnTo>
                        <a:pt x="26" y="200"/>
                      </a:lnTo>
                      <a:lnTo>
                        <a:pt x="20" y="215"/>
                      </a:lnTo>
                      <a:lnTo>
                        <a:pt x="15" y="230"/>
                      </a:lnTo>
                      <a:lnTo>
                        <a:pt x="11" y="245"/>
                      </a:lnTo>
                      <a:lnTo>
                        <a:pt x="7" y="261"/>
                      </a:lnTo>
                      <a:lnTo>
                        <a:pt x="4" y="277"/>
                      </a:lnTo>
                      <a:lnTo>
                        <a:pt x="2" y="293"/>
                      </a:lnTo>
                      <a:lnTo>
                        <a:pt x="0" y="310"/>
                      </a:lnTo>
                      <a:lnTo>
                        <a:pt x="0" y="327"/>
                      </a:lnTo>
                      <a:lnTo>
                        <a:pt x="0" y="327"/>
                      </a:lnTo>
                      <a:lnTo>
                        <a:pt x="0" y="344"/>
                      </a:lnTo>
                      <a:lnTo>
                        <a:pt x="2" y="360"/>
                      </a:lnTo>
                      <a:lnTo>
                        <a:pt x="4" y="377"/>
                      </a:lnTo>
                      <a:lnTo>
                        <a:pt x="7" y="393"/>
                      </a:lnTo>
                      <a:lnTo>
                        <a:pt x="11" y="408"/>
                      </a:lnTo>
                      <a:lnTo>
                        <a:pt x="15" y="424"/>
                      </a:lnTo>
                      <a:lnTo>
                        <a:pt x="20" y="439"/>
                      </a:lnTo>
                      <a:lnTo>
                        <a:pt x="26" y="454"/>
                      </a:lnTo>
                      <a:lnTo>
                        <a:pt x="33" y="469"/>
                      </a:lnTo>
                      <a:lnTo>
                        <a:pt x="40" y="483"/>
                      </a:lnTo>
                      <a:lnTo>
                        <a:pt x="48" y="497"/>
                      </a:lnTo>
                      <a:lnTo>
                        <a:pt x="57" y="510"/>
                      </a:lnTo>
                      <a:lnTo>
                        <a:pt x="66" y="522"/>
                      </a:lnTo>
                      <a:lnTo>
                        <a:pt x="75" y="535"/>
                      </a:lnTo>
                      <a:lnTo>
                        <a:pt x="86" y="546"/>
                      </a:lnTo>
                      <a:lnTo>
                        <a:pt x="96" y="558"/>
                      </a:lnTo>
                      <a:lnTo>
                        <a:pt x="107" y="570"/>
                      </a:lnTo>
                      <a:lnTo>
                        <a:pt x="120" y="580"/>
                      </a:lnTo>
                      <a:lnTo>
                        <a:pt x="132" y="589"/>
                      </a:lnTo>
                      <a:lnTo>
                        <a:pt x="144" y="598"/>
                      </a:lnTo>
                      <a:lnTo>
                        <a:pt x="158" y="606"/>
                      </a:lnTo>
                      <a:lnTo>
                        <a:pt x="172" y="614"/>
                      </a:lnTo>
                      <a:lnTo>
                        <a:pt x="186" y="622"/>
                      </a:lnTo>
                      <a:lnTo>
                        <a:pt x="201" y="628"/>
                      </a:lnTo>
                      <a:lnTo>
                        <a:pt x="216" y="634"/>
                      </a:lnTo>
                      <a:lnTo>
                        <a:pt x="231" y="640"/>
                      </a:lnTo>
                      <a:lnTo>
                        <a:pt x="246" y="644"/>
                      </a:lnTo>
                      <a:lnTo>
                        <a:pt x="262" y="648"/>
                      </a:lnTo>
                      <a:lnTo>
                        <a:pt x="278" y="650"/>
                      </a:lnTo>
                      <a:lnTo>
                        <a:pt x="294" y="652"/>
                      </a:lnTo>
                      <a:lnTo>
                        <a:pt x="311" y="654"/>
                      </a:lnTo>
                      <a:lnTo>
                        <a:pt x="327" y="655"/>
                      </a:lnTo>
                      <a:lnTo>
                        <a:pt x="327" y="655"/>
                      </a:lnTo>
                      <a:lnTo>
                        <a:pt x="345" y="654"/>
                      </a:lnTo>
                      <a:lnTo>
                        <a:pt x="361" y="652"/>
                      </a:lnTo>
                      <a:lnTo>
                        <a:pt x="378" y="650"/>
                      </a:lnTo>
                      <a:lnTo>
                        <a:pt x="394" y="648"/>
                      </a:lnTo>
                      <a:lnTo>
                        <a:pt x="409" y="644"/>
                      </a:lnTo>
                      <a:lnTo>
                        <a:pt x="425" y="640"/>
                      </a:lnTo>
                      <a:lnTo>
                        <a:pt x="440" y="634"/>
                      </a:lnTo>
                      <a:lnTo>
                        <a:pt x="455" y="628"/>
                      </a:lnTo>
                      <a:lnTo>
                        <a:pt x="470" y="622"/>
                      </a:lnTo>
                      <a:lnTo>
                        <a:pt x="484" y="614"/>
                      </a:lnTo>
                      <a:lnTo>
                        <a:pt x="498" y="606"/>
                      </a:lnTo>
                      <a:lnTo>
                        <a:pt x="510" y="598"/>
                      </a:lnTo>
                      <a:lnTo>
                        <a:pt x="523" y="589"/>
                      </a:lnTo>
                      <a:lnTo>
                        <a:pt x="536" y="580"/>
                      </a:lnTo>
                      <a:lnTo>
                        <a:pt x="548" y="570"/>
                      </a:lnTo>
                      <a:lnTo>
                        <a:pt x="559" y="558"/>
                      </a:lnTo>
                      <a:lnTo>
                        <a:pt x="570" y="546"/>
                      </a:lnTo>
                      <a:lnTo>
                        <a:pt x="581" y="535"/>
                      </a:lnTo>
                      <a:lnTo>
                        <a:pt x="590" y="522"/>
                      </a:lnTo>
                      <a:lnTo>
                        <a:pt x="599" y="510"/>
                      </a:lnTo>
                      <a:lnTo>
                        <a:pt x="608" y="497"/>
                      </a:lnTo>
                      <a:lnTo>
                        <a:pt x="615" y="483"/>
                      </a:lnTo>
                      <a:lnTo>
                        <a:pt x="623" y="469"/>
                      </a:lnTo>
                      <a:lnTo>
                        <a:pt x="629" y="454"/>
                      </a:lnTo>
                      <a:lnTo>
                        <a:pt x="635" y="439"/>
                      </a:lnTo>
                      <a:lnTo>
                        <a:pt x="640" y="424"/>
                      </a:lnTo>
                      <a:lnTo>
                        <a:pt x="645" y="408"/>
                      </a:lnTo>
                      <a:lnTo>
                        <a:pt x="649" y="393"/>
                      </a:lnTo>
                      <a:lnTo>
                        <a:pt x="651" y="377"/>
                      </a:lnTo>
                      <a:lnTo>
                        <a:pt x="653" y="360"/>
                      </a:lnTo>
                      <a:lnTo>
                        <a:pt x="654" y="344"/>
                      </a:lnTo>
                      <a:lnTo>
                        <a:pt x="655" y="327"/>
                      </a:lnTo>
                      <a:lnTo>
                        <a:pt x="655" y="327"/>
                      </a:lnTo>
                      <a:lnTo>
                        <a:pt x="654" y="310"/>
                      </a:lnTo>
                      <a:lnTo>
                        <a:pt x="653" y="293"/>
                      </a:lnTo>
                      <a:lnTo>
                        <a:pt x="651" y="277"/>
                      </a:lnTo>
                      <a:lnTo>
                        <a:pt x="649" y="261"/>
                      </a:lnTo>
                      <a:lnTo>
                        <a:pt x="645" y="245"/>
                      </a:lnTo>
                      <a:lnTo>
                        <a:pt x="640" y="230"/>
                      </a:lnTo>
                      <a:lnTo>
                        <a:pt x="635" y="215"/>
                      </a:lnTo>
                      <a:lnTo>
                        <a:pt x="629" y="200"/>
                      </a:lnTo>
                      <a:lnTo>
                        <a:pt x="623" y="185"/>
                      </a:lnTo>
                      <a:lnTo>
                        <a:pt x="615" y="171"/>
                      </a:lnTo>
                      <a:lnTo>
                        <a:pt x="608" y="157"/>
                      </a:lnTo>
                      <a:lnTo>
                        <a:pt x="599" y="144"/>
                      </a:lnTo>
                      <a:lnTo>
                        <a:pt x="590" y="131"/>
                      </a:lnTo>
                      <a:lnTo>
                        <a:pt x="581" y="118"/>
                      </a:lnTo>
                      <a:lnTo>
                        <a:pt x="570" y="107"/>
                      </a:lnTo>
                      <a:lnTo>
                        <a:pt x="559" y="95"/>
                      </a:lnTo>
                      <a:lnTo>
                        <a:pt x="548" y="85"/>
                      </a:lnTo>
                      <a:lnTo>
                        <a:pt x="536" y="74"/>
                      </a:lnTo>
                      <a:lnTo>
                        <a:pt x="523" y="64"/>
                      </a:lnTo>
                      <a:lnTo>
                        <a:pt x="510" y="56"/>
                      </a:lnTo>
                      <a:lnTo>
                        <a:pt x="498" y="47"/>
                      </a:lnTo>
                      <a:lnTo>
                        <a:pt x="484" y="39"/>
                      </a:lnTo>
                      <a:lnTo>
                        <a:pt x="470" y="32"/>
                      </a:lnTo>
                      <a:lnTo>
                        <a:pt x="455" y="25"/>
                      </a:lnTo>
                      <a:lnTo>
                        <a:pt x="440" y="19"/>
                      </a:lnTo>
                      <a:lnTo>
                        <a:pt x="425" y="15"/>
                      </a:lnTo>
                      <a:lnTo>
                        <a:pt x="409" y="10"/>
                      </a:lnTo>
                      <a:lnTo>
                        <a:pt x="394" y="7"/>
                      </a:lnTo>
                      <a:lnTo>
                        <a:pt x="378" y="3"/>
                      </a:lnTo>
                      <a:lnTo>
                        <a:pt x="361" y="1"/>
                      </a:lnTo>
                      <a:lnTo>
                        <a:pt x="345" y="0"/>
                      </a:lnTo>
                      <a:lnTo>
                        <a:pt x="327" y="0"/>
                      </a:lnTo>
                      <a:close/>
                    </a:path>
                  </a:pathLst>
                </a:custGeom>
                <a:solidFill>
                  <a:srgbClr val="E3DA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5" name="Freeform 288"/>
                <p:cNvSpPr>
                  <a:spLocks/>
                </p:cNvSpPr>
                <p:nvPr/>
              </p:nvSpPr>
              <p:spPr bwMode="auto">
                <a:xfrm>
                  <a:off x="3222625" y="2982913"/>
                  <a:ext cx="147638" cy="147638"/>
                </a:xfrm>
                <a:custGeom>
                  <a:avLst/>
                  <a:gdLst>
                    <a:gd name="T0" fmla="*/ 311 w 655"/>
                    <a:gd name="T1" fmla="*/ 0 h 655"/>
                    <a:gd name="T2" fmla="*/ 262 w 655"/>
                    <a:gd name="T3" fmla="*/ 7 h 655"/>
                    <a:gd name="T4" fmla="*/ 216 w 655"/>
                    <a:gd name="T5" fmla="*/ 19 h 655"/>
                    <a:gd name="T6" fmla="*/ 172 w 655"/>
                    <a:gd name="T7" fmla="*/ 39 h 655"/>
                    <a:gd name="T8" fmla="*/ 132 w 655"/>
                    <a:gd name="T9" fmla="*/ 64 h 655"/>
                    <a:gd name="T10" fmla="*/ 96 w 655"/>
                    <a:gd name="T11" fmla="*/ 95 h 655"/>
                    <a:gd name="T12" fmla="*/ 66 w 655"/>
                    <a:gd name="T13" fmla="*/ 131 h 655"/>
                    <a:gd name="T14" fmla="*/ 40 w 655"/>
                    <a:gd name="T15" fmla="*/ 171 h 655"/>
                    <a:gd name="T16" fmla="*/ 20 w 655"/>
                    <a:gd name="T17" fmla="*/ 215 h 655"/>
                    <a:gd name="T18" fmla="*/ 7 w 655"/>
                    <a:gd name="T19" fmla="*/ 261 h 655"/>
                    <a:gd name="T20" fmla="*/ 0 w 655"/>
                    <a:gd name="T21" fmla="*/ 310 h 655"/>
                    <a:gd name="T22" fmla="*/ 0 w 655"/>
                    <a:gd name="T23" fmla="*/ 344 h 655"/>
                    <a:gd name="T24" fmla="*/ 7 w 655"/>
                    <a:gd name="T25" fmla="*/ 393 h 655"/>
                    <a:gd name="T26" fmla="*/ 20 w 655"/>
                    <a:gd name="T27" fmla="*/ 439 h 655"/>
                    <a:gd name="T28" fmla="*/ 40 w 655"/>
                    <a:gd name="T29" fmla="*/ 483 h 655"/>
                    <a:gd name="T30" fmla="*/ 66 w 655"/>
                    <a:gd name="T31" fmla="*/ 522 h 655"/>
                    <a:gd name="T32" fmla="*/ 96 w 655"/>
                    <a:gd name="T33" fmla="*/ 558 h 655"/>
                    <a:gd name="T34" fmla="*/ 132 w 655"/>
                    <a:gd name="T35" fmla="*/ 589 h 655"/>
                    <a:gd name="T36" fmla="*/ 172 w 655"/>
                    <a:gd name="T37" fmla="*/ 614 h 655"/>
                    <a:gd name="T38" fmla="*/ 216 w 655"/>
                    <a:gd name="T39" fmla="*/ 634 h 655"/>
                    <a:gd name="T40" fmla="*/ 262 w 655"/>
                    <a:gd name="T41" fmla="*/ 648 h 655"/>
                    <a:gd name="T42" fmla="*/ 311 w 655"/>
                    <a:gd name="T43" fmla="*/ 654 h 655"/>
                    <a:gd name="T44" fmla="*/ 345 w 655"/>
                    <a:gd name="T45" fmla="*/ 654 h 655"/>
                    <a:gd name="T46" fmla="*/ 394 w 655"/>
                    <a:gd name="T47" fmla="*/ 648 h 655"/>
                    <a:gd name="T48" fmla="*/ 440 w 655"/>
                    <a:gd name="T49" fmla="*/ 634 h 655"/>
                    <a:gd name="T50" fmla="*/ 484 w 655"/>
                    <a:gd name="T51" fmla="*/ 614 h 655"/>
                    <a:gd name="T52" fmla="*/ 523 w 655"/>
                    <a:gd name="T53" fmla="*/ 589 h 655"/>
                    <a:gd name="T54" fmla="*/ 559 w 655"/>
                    <a:gd name="T55" fmla="*/ 558 h 655"/>
                    <a:gd name="T56" fmla="*/ 590 w 655"/>
                    <a:gd name="T57" fmla="*/ 522 h 655"/>
                    <a:gd name="T58" fmla="*/ 615 w 655"/>
                    <a:gd name="T59" fmla="*/ 483 h 655"/>
                    <a:gd name="T60" fmla="*/ 635 w 655"/>
                    <a:gd name="T61" fmla="*/ 439 h 655"/>
                    <a:gd name="T62" fmla="*/ 649 w 655"/>
                    <a:gd name="T63" fmla="*/ 393 h 655"/>
                    <a:gd name="T64" fmla="*/ 654 w 655"/>
                    <a:gd name="T65" fmla="*/ 344 h 655"/>
                    <a:gd name="T66" fmla="*/ 654 w 655"/>
                    <a:gd name="T67" fmla="*/ 310 h 655"/>
                    <a:gd name="T68" fmla="*/ 649 w 655"/>
                    <a:gd name="T69" fmla="*/ 261 h 655"/>
                    <a:gd name="T70" fmla="*/ 635 w 655"/>
                    <a:gd name="T71" fmla="*/ 215 h 655"/>
                    <a:gd name="T72" fmla="*/ 615 w 655"/>
                    <a:gd name="T73" fmla="*/ 171 h 655"/>
                    <a:gd name="T74" fmla="*/ 590 w 655"/>
                    <a:gd name="T75" fmla="*/ 131 h 655"/>
                    <a:gd name="T76" fmla="*/ 559 w 655"/>
                    <a:gd name="T77" fmla="*/ 95 h 655"/>
                    <a:gd name="T78" fmla="*/ 523 w 655"/>
                    <a:gd name="T79" fmla="*/ 64 h 655"/>
                    <a:gd name="T80" fmla="*/ 484 w 655"/>
                    <a:gd name="T81" fmla="*/ 39 h 655"/>
                    <a:gd name="T82" fmla="*/ 440 w 655"/>
                    <a:gd name="T83" fmla="*/ 19 h 655"/>
                    <a:gd name="T84" fmla="*/ 394 w 655"/>
                    <a:gd name="T85" fmla="*/ 7 h 655"/>
                    <a:gd name="T86" fmla="*/ 345 w 655"/>
                    <a:gd name="T87" fmla="*/ 0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5" h="655">
                      <a:moveTo>
                        <a:pt x="327" y="0"/>
                      </a:moveTo>
                      <a:lnTo>
                        <a:pt x="327" y="0"/>
                      </a:lnTo>
                      <a:lnTo>
                        <a:pt x="311" y="0"/>
                      </a:lnTo>
                      <a:lnTo>
                        <a:pt x="294" y="1"/>
                      </a:lnTo>
                      <a:lnTo>
                        <a:pt x="278" y="3"/>
                      </a:lnTo>
                      <a:lnTo>
                        <a:pt x="262" y="7"/>
                      </a:lnTo>
                      <a:lnTo>
                        <a:pt x="246" y="10"/>
                      </a:lnTo>
                      <a:lnTo>
                        <a:pt x="231" y="15"/>
                      </a:lnTo>
                      <a:lnTo>
                        <a:pt x="216" y="19"/>
                      </a:lnTo>
                      <a:lnTo>
                        <a:pt x="201" y="25"/>
                      </a:lnTo>
                      <a:lnTo>
                        <a:pt x="186" y="32"/>
                      </a:lnTo>
                      <a:lnTo>
                        <a:pt x="172" y="39"/>
                      </a:lnTo>
                      <a:lnTo>
                        <a:pt x="158" y="47"/>
                      </a:lnTo>
                      <a:lnTo>
                        <a:pt x="144" y="56"/>
                      </a:lnTo>
                      <a:lnTo>
                        <a:pt x="132" y="64"/>
                      </a:lnTo>
                      <a:lnTo>
                        <a:pt x="120" y="74"/>
                      </a:lnTo>
                      <a:lnTo>
                        <a:pt x="107" y="85"/>
                      </a:lnTo>
                      <a:lnTo>
                        <a:pt x="96" y="95"/>
                      </a:lnTo>
                      <a:lnTo>
                        <a:pt x="86" y="107"/>
                      </a:lnTo>
                      <a:lnTo>
                        <a:pt x="75" y="118"/>
                      </a:lnTo>
                      <a:lnTo>
                        <a:pt x="66" y="131"/>
                      </a:lnTo>
                      <a:lnTo>
                        <a:pt x="57" y="144"/>
                      </a:lnTo>
                      <a:lnTo>
                        <a:pt x="48" y="157"/>
                      </a:lnTo>
                      <a:lnTo>
                        <a:pt x="40" y="171"/>
                      </a:lnTo>
                      <a:lnTo>
                        <a:pt x="33" y="185"/>
                      </a:lnTo>
                      <a:lnTo>
                        <a:pt x="26" y="200"/>
                      </a:lnTo>
                      <a:lnTo>
                        <a:pt x="20" y="215"/>
                      </a:lnTo>
                      <a:lnTo>
                        <a:pt x="15" y="230"/>
                      </a:lnTo>
                      <a:lnTo>
                        <a:pt x="11" y="245"/>
                      </a:lnTo>
                      <a:lnTo>
                        <a:pt x="7" y="261"/>
                      </a:lnTo>
                      <a:lnTo>
                        <a:pt x="4" y="277"/>
                      </a:lnTo>
                      <a:lnTo>
                        <a:pt x="2" y="293"/>
                      </a:lnTo>
                      <a:lnTo>
                        <a:pt x="0" y="310"/>
                      </a:lnTo>
                      <a:lnTo>
                        <a:pt x="0" y="327"/>
                      </a:lnTo>
                      <a:lnTo>
                        <a:pt x="0" y="327"/>
                      </a:lnTo>
                      <a:lnTo>
                        <a:pt x="0" y="344"/>
                      </a:lnTo>
                      <a:lnTo>
                        <a:pt x="2" y="360"/>
                      </a:lnTo>
                      <a:lnTo>
                        <a:pt x="4" y="377"/>
                      </a:lnTo>
                      <a:lnTo>
                        <a:pt x="7" y="393"/>
                      </a:lnTo>
                      <a:lnTo>
                        <a:pt x="11" y="408"/>
                      </a:lnTo>
                      <a:lnTo>
                        <a:pt x="15" y="424"/>
                      </a:lnTo>
                      <a:lnTo>
                        <a:pt x="20" y="439"/>
                      </a:lnTo>
                      <a:lnTo>
                        <a:pt x="26" y="454"/>
                      </a:lnTo>
                      <a:lnTo>
                        <a:pt x="33" y="469"/>
                      </a:lnTo>
                      <a:lnTo>
                        <a:pt x="40" y="483"/>
                      </a:lnTo>
                      <a:lnTo>
                        <a:pt x="48" y="497"/>
                      </a:lnTo>
                      <a:lnTo>
                        <a:pt x="57" y="510"/>
                      </a:lnTo>
                      <a:lnTo>
                        <a:pt x="66" y="522"/>
                      </a:lnTo>
                      <a:lnTo>
                        <a:pt x="75" y="535"/>
                      </a:lnTo>
                      <a:lnTo>
                        <a:pt x="86" y="546"/>
                      </a:lnTo>
                      <a:lnTo>
                        <a:pt x="96" y="558"/>
                      </a:lnTo>
                      <a:lnTo>
                        <a:pt x="107" y="570"/>
                      </a:lnTo>
                      <a:lnTo>
                        <a:pt x="120" y="580"/>
                      </a:lnTo>
                      <a:lnTo>
                        <a:pt x="132" y="589"/>
                      </a:lnTo>
                      <a:lnTo>
                        <a:pt x="144" y="598"/>
                      </a:lnTo>
                      <a:lnTo>
                        <a:pt x="158" y="606"/>
                      </a:lnTo>
                      <a:lnTo>
                        <a:pt x="172" y="614"/>
                      </a:lnTo>
                      <a:lnTo>
                        <a:pt x="186" y="622"/>
                      </a:lnTo>
                      <a:lnTo>
                        <a:pt x="201" y="628"/>
                      </a:lnTo>
                      <a:lnTo>
                        <a:pt x="216" y="634"/>
                      </a:lnTo>
                      <a:lnTo>
                        <a:pt x="231" y="640"/>
                      </a:lnTo>
                      <a:lnTo>
                        <a:pt x="246" y="644"/>
                      </a:lnTo>
                      <a:lnTo>
                        <a:pt x="262" y="648"/>
                      </a:lnTo>
                      <a:lnTo>
                        <a:pt x="278" y="650"/>
                      </a:lnTo>
                      <a:lnTo>
                        <a:pt x="294" y="652"/>
                      </a:lnTo>
                      <a:lnTo>
                        <a:pt x="311" y="654"/>
                      </a:lnTo>
                      <a:lnTo>
                        <a:pt x="327" y="655"/>
                      </a:lnTo>
                      <a:lnTo>
                        <a:pt x="327" y="655"/>
                      </a:lnTo>
                      <a:lnTo>
                        <a:pt x="345" y="654"/>
                      </a:lnTo>
                      <a:lnTo>
                        <a:pt x="361" y="652"/>
                      </a:lnTo>
                      <a:lnTo>
                        <a:pt x="378" y="650"/>
                      </a:lnTo>
                      <a:lnTo>
                        <a:pt x="394" y="648"/>
                      </a:lnTo>
                      <a:lnTo>
                        <a:pt x="409" y="644"/>
                      </a:lnTo>
                      <a:lnTo>
                        <a:pt x="425" y="640"/>
                      </a:lnTo>
                      <a:lnTo>
                        <a:pt x="440" y="634"/>
                      </a:lnTo>
                      <a:lnTo>
                        <a:pt x="455" y="628"/>
                      </a:lnTo>
                      <a:lnTo>
                        <a:pt x="470" y="622"/>
                      </a:lnTo>
                      <a:lnTo>
                        <a:pt x="484" y="614"/>
                      </a:lnTo>
                      <a:lnTo>
                        <a:pt x="498" y="606"/>
                      </a:lnTo>
                      <a:lnTo>
                        <a:pt x="510" y="598"/>
                      </a:lnTo>
                      <a:lnTo>
                        <a:pt x="523" y="589"/>
                      </a:lnTo>
                      <a:lnTo>
                        <a:pt x="536" y="580"/>
                      </a:lnTo>
                      <a:lnTo>
                        <a:pt x="548" y="570"/>
                      </a:lnTo>
                      <a:lnTo>
                        <a:pt x="559" y="558"/>
                      </a:lnTo>
                      <a:lnTo>
                        <a:pt x="570" y="546"/>
                      </a:lnTo>
                      <a:lnTo>
                        <a:pt x="581" y="535"/>
                      </a:lnTo>
                      <a:lnTo>
                        <a:pt x="590" y="522"/>
                      </a:lnTo>
                      <a:lnTo>
                        <a:pt x="599" y="510"/>
                      </a:lnTo>
                      <a:lnTo>
                        <a:pt x="608" y="497"/>
                      </a:lnTo>
                      <a:lnTo>
                        <a:pt x="615" y="483"/>
                      </a:lnTo>
                      <a:lnTo>
                        <a:pt x="623" y="469"/>
                      </a:lnTo>
                      <a:lnTo>
                        <a:pt x="629" y="454"/>
                      </a:lnTo>
                      <a:lnTo>
                        <a:pt x="635" y="439"/>
                      </a:lnTo>
                      <a:lnTo>
                        <a:pt x="640" y="424"/>
                      </a:lnTo>
                      <a:lnTo>
                        <a:pt x="645" y="408"/>
                      </a:lnTo>
                      <a:lnTo>
                        <a:pt x="649" y="393"/>
                      </a:lnTo>
                      <a:lnTo>
                        <a:pt x="651" y="377"/>
                      </a:lnTo>
                      <a:lnTo>
                        <a:pt x="653" y="360"/>
                      </a:lnTo>
                      <a:lnTo>
                        <a:pt x="654" y="344"/>
                      </a:lnTo>
                      <a:lnTo>
                        <a:pt x="655" y="327"/>
                      </a:lnTo>
                      <a:lnTo>
                        <a:pt x="655" y="327"/>
                      </a:lnTo>
                      <a:lnTo>
                        <a:pt x="654" y="310"/>
                      </a:lnTo>
                      <a:lnTo>
                        <a:pt x="653" y="293"/>
                      </a:lnTo>
                      <a:lnTo>
                        <a:pt x="651" y="277"/>
                      </a:lnTo>
                      <a:lnTo>
                        <a:pt x="649" y="261"/>
                      </a:lnTo>
                      <a:lnTo>
                        <a:pt x="645" y="245"/>
                      </a:lnTo>
                      <a:lnTo>
                        <a:pt x="640" y="230"/>
                      </a:lnTo>
                      <a:lnTo>
                        <a:pt x="635" y="215"/>
                      </a:lnTo>
                      <a:lnTo>
                        <a:pt x="629" y="200"/>
                      </a:lnTo>
                      <a:lnTo>
                        <a:pt x="623" y="185"/>
                      </a:lnTo>
                      <a:lnTo>
                        <a:pt x="615" y="171"/>
                      </a:lnTo>
                      <a:lnTo>
                        <a:pt x="608" y="157"/>
                      </a:lnTo>
                      <a:lnTo>
                        <a:pt x="599" y="144"/>
                      </a:lnTo>
                      <a:lnTo>
                        <a:pt x="590" y="131"/>
                      </a:lnTo>
                      <a:lnTo>
                        <a:pt x="581" y="118"/>
                      </a:lnTo>
                      <a:lnTo>
                        <a:pt x="570" y="107"/>
                      </a:lnTo>
                      <a:lnTo>
                        <a:pt x="559" y="95"/>
                      </a:lnTo>
                      <a:lnTo>
                        <a:pt x="548" y="85"/>
                      </a:lnTo>
                      <a:lnTo>
                        <a:pt x="536" y="74"/>
                      </a:lnTo>
                      <a:lnTo>
                        <a:pt x="523" y="64"/>
                      </a:lnTo>
                      <a:lnTo>
                        <a:pt x="510" y="56"/>
                      </a:lnTo>
                      <a:lnTo>
                        <a:pt x="498" y="47"/>
                      </a:lnTo>
                      <a:lnTo>
                        <a:pt x="484" y="39"/>
                      </a:lnTo>
                      <a:lnTo>
                        <a:pt x="470" y="32"/>
                      </a:lnTo>
                      <a:lnTo>
                        <a:pt x="455" y="25"/>
                      </a:lnTo>
                      <a:lnTo>
                        <a:pt x="440" y="19"/>
                      </a:lnTo>
                      <a:lnTo>
                        <a:pt x="425" y="15"/>
                      </a:lnTo>
                      <a:lnTo>
                        <a:pt x="409" y="10"/>
                      </a:lnTo>
                      <a:lnTo>
                        <a:pt x="394" y="7"/>
                      </a:lnTo>
                      <a:lnTo>
                        <a:pt x="378" y="3"/>
                      </a:lnTo>
                      <a:lnTo>
                        <a:pt x="361" y="1"/>
                      </a:lnTo>
                      <a:lnTo>
                        <a:pt x="345" y="0"/>
                      </a:lnTo>
                      <a:lnTo>
                        <a:pt x="3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6" name="Freeform 289"/>
                <p:cNvSpPr>
                  <a:spLocks/>
                </p:cNvSpPr>
                <p:nvPr/>
              </p:nvSpPr>
              <p:spPr bwMode="auto">
                <a:xfrm>
                  <a:off x="3325813" y="3621088"/>
                  <a:ext cx="142875" cy="103188"/>
                </a:xfrm>
                <a:custGeom>
                  <a:avLst/>
                  <a:gdLst>
                    <a:gd name="T0" fmla="*/ 589 w 624"/>
                    <a:gd name="T1" fmla="*/ 0 h 456"/>
                    <a:gd name="T2" fmla="*/ 463 w 624"/>
                    <a:gd name="T3" fmla="*/ 37 h 456"/>
                    <a:gd name="T4" fmla="*/ 333 w 624"/>
                    <a:gd name="T5" fmla="*/ 63 h 456"/>
                    <a:gd name="T6" fmla="*/ 199 w 624"/>
                    <a:gd name="T7" fmla="*/ 80 h 456"/>
                    <a:gd name="T8" fmla="*/ 131 w 624"/>
                    <a:gd name="T9" fmla="*/ 84 h 456"/>
                    <a:gd name="T10" fmla="*/ 62 w 624"/>
                    <a:gd name="T11" fmla="*/ 85 h 456"/>
                    <a:gd name="T12" fmla="*/ 6 w 624"/>
                    <a:gd name="T13" fmla="*/ 85 h 456"/>
                    <a:gd name="T14" fmla="*/ 3 w 624"/>
                    <a:gd name="T15" fmla="*/ 99 h 456"/>
                    <a:gd name="T16" fmla="*/ 0 w 624"/>
                    <a:gd name="T17" fmla="*/ 129 h 456"/>
                    <a:gd name="T18" fmla="*/ 0 w 624"/>
                    <a:gd name="T19" fmla="*/ 144 h 456"/>
                    <a:gd name="T20" fmla="*/ 2 w 624"/>
                    <a:gd name="T21" fmla="*/ 176 h 456"/>
                    <a:gd name="T22" fmla="*/ 7 w 624"/>
                    <a:gd name="T23" fmla="*/ 207 h 456"/>
                    <a:gd name="T24" fmla="*/ 14 w 624"/>
                    <a:gd name="T25" fmla="*/ 237 h 456"/>
                    <a:gd name="T26" fmla="*/ 24 w 624"/>
                    <a:gd name="T27" fmla="*/ 265 h 456"/>
                    <a:gd name="T28" fmla="*/ 38 w 624"/>
                    <a:gd name="T29" fmla="*/ 292 h 456"/>
                    <a:gd name="T30" fmla="*/ 53 w 624"/>
                    <a:gd name="T31" fmla="*/ 318 h 456"/>
                    <a:gd name="T32" fmla="*/ 71 w 624"/>
                    <a:gd name="T33" fmla="*/ 342 h 456"/>
                    <a:gd name="T34" fmla="*/ 92 w 624"/>
                    <a:gd name="T35" fmla="*/ 365 h 456"/>
                    <a:gd name="T36" fmla="*/ 114 w 624"/>
                    <a:gd name="T37" fmla="*/ 384 h 456"/>
                    <a:gd name="T38" fmla="*/ 138 w 624"/>
                    <a:gd name="T39" fmla="*/ 403 h 456"/>
                    <a:gd name="T40" fmla="*/ 163 w 624"/>
                    <a:gd name="T41" fmla="*/ 418 h 456"/>
                    <a:gd name="T42" fmla="*/ 191 w 624"/>
                    <a:gd name="T43" fmla="*/ 432 h 456"/>
                    <a:gd name="T44" fmla="*/ 220 w 624"/>
                    <a:gd name="T45" fmla="*/ 442 h 456"/>
                    <a:gd name="T46" fmla="*/ 250 w 624"/>
                    <a:gd name="T47" fmla="*/ 450 h 456"/>
                    <a:gd name="T48" fmla="*/ 280 w 624"/>
                    <a:gd name="T49" fmla="*/ 455 h 456"/>
                    <a:gd name="T50" fmla="*/ 312 w 624"/>
                    <a:gd name="T51" fmla="*/ 456 h 456"/>
                    <a:gd name="T52" fmla="*/ 328 w 624"/>
                    <a:gd name="T53" fmla="*/ 456 h 456"/>
                    <a:gd name="T54" fmla="*/ 359 w 624"/>
                    <a:gd name="T55" fmla="*/ 452 h 456"/>
                    <a:gd name="T56" fmla="*/ 390 w 624"/>
                    <a:gd name="T57" fmla="*/ 445 h 456"/>
                    <a:gd name="T58" fmla="*/ 419 w 624"/>
                    <a:gd name="T59" fmla="*/ 437 h 456"/>
                    <a:gd name="T60" fmla="*/ 448 w 624"/>
                    <a:gd name="T61" fmla="*/ 425 h 456"/>
                    <a:gd name="T62" fmla="*/ 474 w 624"/>
                    <a:gd name="T63" fmla="*/ 411 h 456"/>
                    <a:gd name="T64" fmla="*/ 498 w 624"/>
                    <a:gd name="T65" fmla="*/ 394 h 456"/>
                    <a:gd name="T66" fmla="*/ 521 w 624"/>
                    <a:gd name="T67" fmla="*/ 375 h 456"/>
                    <a:gd name="T68" fmla="*/ 543 w 624"/>
                    <a:gd name="T69" fmla="*/ 353 h 456"/>
                    <a:gd name="T70" fmla="*/ 562 w 624"/>
                    <a:gd name="T71" fmla="*/ 330 h 456"/>
                    <a:gd name="T72" fmla="*/ 579 w 624"/>
                    <a:gd name="T73" fmla="*/ 305 h 456"/>
                    <a:gd name="T74" fmla="*/ 593 w 624"/>
                    <a:gd name="T75" fmla="*/ 278 h 456"/>
                    <a:gd name="T76" fmla="*/ 605 w 624"/>
                    <a:gd name="T77" fmla="*/ 251 h 456"/>
                    <a:gd name="T78" fmla="*/ 615 w 624"/>
                    <a:gd name="T79" fmla="*/ 222 h 456"/>
                    <a:gd name="T80" fmla="*/ 620 w 624"/>
                    <a:gd name="T81" fmla="*/ 191 h 456"/>
                    <a:gd name="T82" fmla="*/ 624 w 624"/>
                    <a:gd name="T83" fmla="*/ 160 h 456"/>
                    <a:gd name="T84" fmla="*/ 624 w 624"/>
                    <a:gd name="T85" fmla="*/ 144 h 456"/>
                    <a:gd name="T86" fmla="*/ 622 w 624"/>
                    <a:gd name="T87" fmla="*/ 106 h 456"/>
                    <a:gd name="T88" fmla="*/ 615 w 624"/>
                    <a:gd name="T89" fmla="*/ 69 h 456"/>
                    <a:gd name="T90" fmla="*/ 604 w 624"/>
                    <a:gd name="T91" fmla="*/ 33 h 456"/>
                    <a:gd name="T92" fmla="*/ 589 w 624"/>
                    <a:gd name="T93" fmla="*/ 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4" h="456">
                      <a:moveTo>
                        <a:pt x="589" y="0"/>
                      </a:moveTo>
                      <a:lnTo>
                        <a:pt x="589" y="0"/>
                      </a:lnTo>
                      <a:lnTo>
                        <a:pt x="527" y="19"/>
                      </a:lnTo>
                      <a:lnTo>
                        <a:pt x="463" y="37"/>
                      </a:lnTo>
                      <a:lnTo>
                        <a:pt x="398" y="52"/>
                      </a:lnTo>
                      <a:lnTo>
                        <a:pt x="333" y="63"/>
                      </a:lnTo>
                      <a:lnTo>
                        <a:pt x="267" y="73"/>
                      </a:lnTo>
                      <a:lnTo>
                        <a:pt x="199" y="80"/>
                      </a:lnTo>
                      <a:lnTo>
                        <a:pt x="166" y="83"/>
                      </a:lnTo>
                      <a:lnTo>
                        <a:pt x="131" y="84"/>
                      </a:lnTo>
                      <a:lnTo>
                        <a:pt x="97" y="85"/>
                      </a:lnTo>
                      <a:lnTo>
                        <a:pt x="62" y="85"/>
                      </a:lnTo>
                      <a:lnTo>
                        <a:pt x="62" y="85"/>
                      </a:lnTo>
                      <a:lnTo>
                        <a:pt x="6" y="85"/>
                      </a:lnTo>
                      <a:lnTo>
                        <a:pt x="6" y="85"/>
                      </a:lnTo>
                      <a:lnTo>
                        <a:pt x="3" y="99"/>
                      </a:lnTo>
                      <a:lnTo>
                        <a:pt x="1" y="114"/>
                      </a:lnTo>
                      <a:lnTo>
                        <a:pt x="0" y="129"/>
                      </a:lnTo>
                      <a:lnTo>
                        <a:pt x="0" y="144"/>
                      </a:lnTo>
                      <a:lnTo>
                        <a:pt x="0" y="144"/>
                      </a:lnTo>
                      <a:lnTo>
                        <a:pt x="1" y="160"/>
                      </a:lnTo>
                      <a:lnTo>
                        <a:pt x="2" y="176"/>
                      </a:lnTo>
                      <a:lnTo>
                        <a:pt x="3" y="191"/>
                      </a:lnTo>
                      <a:lnTo>
                        <a:pt x="7" y="207"/>
                      </a:lnTo>
                      <a:lnTo>
                        <a:pt x="10" y="222"/>
                      </a:lnTo>
                      <a:lnTo>
                        <a:pt x="14" y="237"/>
                      </a:lnTo>
                      <a:lnTo>
                        <a:pt x="19" y="251"/>
                      </a:lnTo>
                      <a:lnTo>
                        <a:pt x="24" y="265"/>
                      </a:lnTo>
                      <a:lnTo>
                        <a:pt x="31" y="278"/>
                      </a:lnTo>
                      <a:lnTo>
                        <a:pt x="38" y="292"/>
                      </a:lnTo>
                      <a:lnTo>
                        <a:pt x="45" y="305"/>
                      </a:lnTo>
                      <a:lnTo>
                        <a:pt x="53" y="318"/>
                      </a:lnTo>
                      <a:lnTo>
                        <a:pt x="62" y="330"/>
                      </a:lnTo>
                      <a:lnTo>
                        <a:pt x="71" y="342"/>
                      </a:lnTo>
                      <a:lnTo>
                        <a:pt x="82" y="353"/>
                      </a:lnTo>
                      <a:lnTo>
                        <a:pt x="92" y="365"/>
                      </a:lnTo>
                      <a:lnTo>
                        <a:pt x="102" y="375"/>
                      </a:lnTo>
                      <a:lnTo>
                        <a:pt x="114" y="384"/>
                      </a:lnTo>
                      <a:lnTo>
                        <a:pt x="125" y="394"/>
                      </a:lnTo>
                      <a:lnTo>
                        <a:pt x="138" y="403"/>
                      </a:lnTo>
                      <a:lnTo>
                        <a:pt x="151" y="411"/>
                      </a:lnTo>
                      <a:lnTo>
                        <a:pt x="163" y="418"/>
                      </a:lnTo>
                      <a:lnTo>
                        <a:pt x="177" y="425"/>
                      </a:lnTo>
                      <a:lnTo>
                        <a:pt x="191" y="432"/>
                      </a:lnTo>
                      <a:lnTo>
                        <a:pt x="205" y="437"/>
                      </a:lnTo>
                      <a:lnTo>
                        <a:pt x="220" y="442"/>
                      </a:lnTo>
                      <a:lnTo>
                        <a:pt x="234" y="445"/>
                      </a:lnTo>
                      <a:lnTo>
                        <a:pt x="250" y="450"/>
                      </a:lnTo>
                      <a:lnTo>
                        <a:pt x="265" y="452"/>
                      </a:lnTo>
                      <a:lnTo>
                        <a:pt x="280" y="455"/>
                      </a:lnTo>
                      <a:lnTo>
                        <a:pt x="296" y="456"/>
                      </a:lnTo>
                      <a:lnTo>
                        <a:pt x="312" y="456"/>
                      </a:lnTo>
                      <a:lnTo>
                        <a:pt x="312" y="456"/>
                      </a:lnTo>
                      <a:lnTo>
                        <a:pt x="328" y="456"/>
                      </a:lnTo>
                      <a:lnTo>
                        <a:pt x="344" y="455"/>
                      </a:lnTo>
                      <a:lnTo>
                        <a:pt x="359" y="452"/>
                      </a:lnTo>
                      <a:lnTo>
                        <a:pt x="375" y="450"/>
                      </a:lnTo>
                      <a:lnTo>
                        <a:pt x="390" y="445"/>
                      </a:lnTo>
                      <a:lnTo>
                        <a:pt x="405" y="442"/>
                      </a:lnTo>
                      <a:lnTo>
                        <a:pt x="419" y="437"/>
                      </a:lnTo>
                      <a:lnTo>
                        <a:pt x="434" y="432"/>
                      </a:lnTo>
                      <a:lnTo>
                        <a:pt x="448" y="425"/>
                      </a:lnTo>
                      <a:lnTo>
                        <a:pt x="460" y="418"/>
                      </a:lnTo>
                      <a:lnTo>
                        <a:pt x="474" y="411"/>
                      </a:lnTo>
                      <a:lnTo>
                        <a:pt x="487" y="403"/>
                      </a:lnTo>
                      <a:lnTo>
                        <a:pt x="498" y="394"/>
                      </a:lnTo>
                      <a:lnTo>
                        <a:pt x="511" y="384"/>
                      </a:lnTo>
                      <a:lnTo>
                        <a:pt x="521" y="375"/>
                      </a:lnTo>
                      <a:lnTo>
                        <a:pt x="533" y="365"/>
                      </a:lnTo>
                      <a:lnTo>
                        <a:pt x="543" y="353"/>
                      </a:lnTo>
                      <a:lnTo>
                        <a:pt x="552" y="342"/>
                      </a:lnTo>
                      <a:lnTo>
                        <a:pt x="562" y="330"/>
                      </a:lnTo>
                      <a:lnTo>
                        <a:pt x="571" y="318"/>
                      </a:lnTo>
                      <a:lnTo>
                        <a:pt x="579" y="305"/>
                      </a:lnTo>
                      <a:lnTo>
                        <a:pt x="586" y="292"/>
                      </a:lnTo>
                      <a:lnTo>
                        <a:pt x="593" y="278"/>
                      </a:lnTo>
                      <a:lnTo>
                        <a:pt x="600" y="265"/>
                      </a:lnTo>
                      <a:lnTo>
                        <a:pt x="605" y="251"/>
                      </a:lnTo>
                      <a:lnTo>
                        <a:pt x="610" y="237"/>
                      </a:lnTo>
                      <a:lnTo>
                        <a:pt x="615" y="222"/>
                      </a:lnTo>
                      <a:lnTo>
                        <a:pt x="618" y="207"/>
                      </a:lnTo>
                      <a:lnTo>
                        <a:pt x="620" y="191"/>
                      </a:lnTo>
                      <a:lnTo>
                        <a:pt x="623" y="176"/>
                      </a:lnTo>
                      <a:lnTo>
                        <a:pt x="624" y="160"/>
                      </a:lnTo>
                      <a:lnTo>
                        <a:pt x="624" y="144"/>
                      </a:lnTo>
                      <a:lnTo>
                        <a:pt x="624" y="144"/>
                      </a:lnTo>
                      <a:lnTo>
                        <a:pt x="624" y="124"/>
                      </a:lnTo>
                      <a:lnTo>
                        <a:pt x="622" y="106"/>
                      </a:lnTo>
                      <a:lnTo>
                        <a:pt x="619" y="87"/>
                      </a:lnTo>
                      <a:lnTo>
                        <a:pt x="615" y="69"/>
                      </a:lnTo>
                      <a:lnTo>
                        <a:pt x="610" y="50"/>
                      </a:lnTo>
                      <a:lnTo>
                        <a:pt x="604" y="33"/>
                      </a:lnTo>
                      <a:lnTo>
                        <a:pt x="597" y="17"/>
                      </a:lnTo>
                      <a:lnTo>
                        <a:pt x="589" y="0"/>
                      </a:lnTo>
                      <a:close/>
                    </a:path>
                  </a:pathLst>
                </a:custGeom>
                <a:solidFill>
                  <a:srgbClr val="443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7" name="Freeform 290"/>
                <p:cNvSpPr>
                  <a:spLocks/>
                </p:cNvSpPr>
                <p:nvPr/>
              </p:nvSpPr>
              <p:spPr bwMode="auto">
                <a:xfrm>
                  <a:off x="3325813" y="3621088"/>
                  <a:ext cx="142875" cy="103188"/>
                </a:xfrm>
                <a:custGeom>
                  <a:avLst/>
                  <a:gdLst>
                    <a:gd name="T0" fmla="*/ 589 w 624"/>
                    <a:gd name="T1" fmla="*/ 0 h 456"/>
                    <a:gd name="T2" fmla="*/ 463 w 624"/>
                    <a:gd name="T3" fmla="*/ 37 h 456"/>
                    <a:gd name="T4" fmla="*/ 333 w 624"/>
                    <a:gd name="T5" fmla="*/ 63 h 456"/>
                    <a:gd name="T6" fmla="*/ 199 w 624"/>
                    <a:gd name="T7" fmla="*/ 80 h 456"/>
                    <a:gd name="T8" fmla="*/ 131 w 624"/>
                    <a:gd name="T9" fmla="*/ 84 h 456"/>
                    <a:gd name="T10" fmla="*/ 62 w 624"/>
                    <a:gd name="T11" fmla="*/ 85 h 456"/>
                    <a:gd name="T12" fmla="*/ 6 w 624"/>
                    <a:gd name="T13" fmla="*/ 85 h 456"/>
                    <a:gd name="T14" fmla="*/ 3 w 624"/>
                    <a:gd name="T15" fmla="*/ 99 h 456"/>
                    <a:gd name="T16" fmla="*/ 0 w 624"/>
                    <a:gd name="T17" fmla="*/ 129 h 456"/>
                    <a:gd name="T18" fmla="*/ 0 w 624"/>
                    <a:gd name="T19" fmla="*/ 144 h 456"/>
                    <a:gd name="T20" fmla="*/ 2 w 624"/>
                    <a:gd name="T21" fmla="*/ 176 h 456"/>
                    <a:gd name="T22" fmla="*/ 7 w 624"/>
                    <a:gd name="T23" fmla="*/ 207 h 456"/>
                    <a:gd name="T24" fmla="*/ 14 w 624"/>
                    <a:gd name="T25" fmla="*/ 237 h 456"/>
                    <a:gd name="T26" fmla="*/ 24 w 624"/>
                    <a:gd name="T27" fmla="*/ 265 h 456"/>
                    <a:gd name="T28" fmla="*/ 38 w 624"/>
                    <a:gd name="T29" fmla="*/ 292 h 456"/>
                    <a:gd name="T30" fmla="*/ 53 w 624"/>
                    <a:gd name="T31" fmla="*/ 318 h 456"/>
                    <a:gd name="T32" fmla="*/ 71 w 624"/>
                    <a:gd name="T33" fmla="*/ 342 h 456"/>
                    <a:gd name="T34" fmla="*/ 92 w 624"/>
                    <a:gd name="T35" fmla="*/ 365 h 456"/>
                    <a:gd name="T36" fmla="*/ 114 w 624"/>
                    <a:gd name="T37" fmla="*/ 384 h 456"/>
                    <a:gd name="T38" fmla="*/ 138 w 624"/>
                    <a:gd name="T39" fmla="*/ 403 h 456"/>
                    <a:gd name="T40" fmla="*/ 163 w 624"/>
                    <a:gd name="T41" fmla="*/ 418 h 456"/>
                    <a:gd name="T42" fmla="*/ 191 w 624"/>
                    <a:gd name="T43" fmla="*/ 432 h 456"/>
                    <a:gd name="T44" fmla="*/ 220 w 624"/>
                    <a:gd name="T45" fmla="*/ 442 h 456"/>
                    <a:gd name="T46" fmla="*/ 250 w 624"/>
                    <a:gd name="T47" fmla="*/ 450 h 456"/>
                    <a:gd name="T48" fmla="*/ 280 w 624"/>
                    <a:gd name="T49" fmla="*/ 455 h 456"/>
                    <a:gd name="T50" fmla="*/ 312 w 624"/>
                    <a:gd name="T51" fmla="*/ 456 h 456"/>
                    <a:gd name="T52" fmla="*/ 328 w 624"/>
                    <a:gd name="T53" fmla="*/ 456 h 456"/>
                    <a:gd name="T54" fmla="*/ 359 w 624"/>
                    <a:gd name="T55" fmla="*/ 452 h 456"/>
                    <a:gd name="T56" fmla="*/ 390 w 624"/>
                    <a:gd name="T57" fmla="*/ 445 h 456"/>
                    <a:gd name="T58" fmla="*/ 419 w 624"/>
                    <a:gd name="T59" fmla="*/ 437 h 456"/>
                    <a:gd name="T60" fmla="*/ 448 w 624"/>
                    <a:gd name="T61" fmla="*/ 425 h 456"/>
                    <a:gd name="T62" fmla="*/ 474 w 624"/>
                    <a:gd name="T63" fmla="*/ 411 h 456"/>
                    <a:gd name="T64" fmla="*/ 498 w 624"/>
                    <a:gd name="T65" fmla="*/ 394 h 456"/>
                    <a:gd name="T66" fmla="*/ 521 w 624"/>
                    <a:gd name="T67" fmla="*/ 375 h 456"/>
                    <a:gd name="T68" fmla="*/ 543 w 624"/>
                    <a:gd name="T69" fmla="*/ 353 h 456"/>
                    <a:gd name="T70" fmla="*/ 562 w 624"/>
                    <a:gd name="T71" fmla="*/ 330 h 456"/>
                    <a:gd name="T72" fmla="*/ 579 w 624"/>
                    <a:gd name="T73" fmla="*/ 305 h 456"/>
                    <a:gd name="T74" fmla="*/ 593 w 624"/>
                    <a:gd name="T75" fmla="*/ 278 h 456"/>
                    <a:gd name="T76" fmla="*/ 605 w 624"/>
                    <a:gd name="T77" fmla="*/ 251 h 456"/>
                    <a:gd name="T78" fmla="*/ 615 w 624"/>
                    <a:gd name="T79" fmla="*/ 222 h 456"/>
                    <a:gd name="T80" fmla="*/ 620 w 624"/>
                    <a:gd name="T81" fmla="*/ 191 h 456"/>
                    <a:gd name="T82" fmla="*/ 624 w 624"/>
                    <a:gd name="T83" fmla="*/ 160 h 456"/>
                    <a:gd name="T84" fmla="*/ 624 w 624"/>
                    <a:gd name="T85" fmla="*/ 144 h 456"/>
                    <a:gd name="T86" fmla="*/ 622 w 624"/>
                    <a:gd name="T87" fmla="*/ 106 h 456"/>
                    <a:gd name="T88" fmla="*/ 615 w 624"/>
                    <a:gd name="T89" fmla="*/ 69 h 456"/>
                    <a:gd name="T90" fmla="*/ 604 w 624"/>
                    <a:gd name="T91" fmla="*/ 33 h 456"/>
                    <a:gd name="T92" fmla="*/ 589 w 624"/>
                    <a:gd name="T93" fmla="*/ 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4" h="456">
                      <a:moveTo>
                        <a:pt x="589" y="0"/>
                      </a:moveTo>
                      <a:lnTo>
                        <a:pt x="589" y="0"/>
                      </a:lnTo>
                      <a:lnTo>
                        <a:pt x="527" y="19"/>
                      </a:lnTo>
                      <a:lnTo>
                        <a:pt x="463" y="37"/>
                      </a:lnTo>
                      <a:lnTo>
                        <a:pt x="398" y="52"/>
                      </a:lnTo>
                      <a:lnTo>
                        <a:pt x="333" y="63"/>
                      </a:lnTo>
                      <a:lnTo>
                        <a:pt x="267" y="73"/>
                      </a:lnTo>
                      <a:lnTo>
                        <a:pt x="199" y="80"/>
                      </a:lnTo>
                      <a:lnTo>
                        <a:pt x="166" y="83"/>
                      </a:lnTo>
                      <a:lnTo>
                        <a:pt x="131" y="84"/>
                      </a:lnTo>
                      <a:lnTo>
                        <a:pt x="97" y="85"/>
                      </a:lnTo>
                      <a:lnTo>
                        <a:pt x="62" y="85"/>
                      </a:lnTo>
                      <a:lnTo>
                        <a:pt x="62" y="85"/>
                      </a:lnTo>
                      <a:lnTo>
                        <a:pt x="6" y="85"/>
                      </a:lnTo>
                      <a:lnTo>
                        <a:pt x="6" y="85"/>
                      </a:lnTo>
                      <a:lnTo>
                        <a:pt x="3" y="99"/>
                      </a:lnTo>
                      <a:lnTo>
                        <a:pt x="1" y="114"/>
                      </a:lnTo>
                      <a:lnTo>
                        <a:pt x="0" y="129"/>
                      </a:lnTo>
                      <a:lnTo>
                        <a:pt x="0" y="144"/>
                      </a:lnTo>
                      <a:lnTo>
                        <a:pt x="0" y="144"/>
                      </a:lnTo>
                      <a:lnTo>
                        <a:pt x="1" y="160"/>
                      </a:lnTo>
                      <a:lnTo>
                        <a:pt x="2" y="176"/>
                      </a:lnTo>
                      <a:lnTo>
                        <a:pt x="3" y="191"/>
                      </a:lnTo>
                      <a:lnTo>
                        <a:pt x="7" y="207"/>
                      </a:lnTo>
                      <a:lnTo>
                        <a:pt x="10" y="222"/>
                      </a:lnTo>
                      <a:lnTo>
                        <a:pt x="14" y="237"/>
                      </a:lnTo>
                      <a:lnTo>
                        <a:pt x="19" y="251"/>
                      </a:lnTo>
                      <a:lnTo>
                        <a:pt x="24" y="265"/>
                      </a:lnTo>
                      <a:lnTo>
                        <a:pt x="31" y="278"/>
                      </a:lnTo>
                      <a:lnTo>
                        <a:pt x="38" y="292"/>
                      </a:lnTo>
                      <a:lnTo>
                        <a:pt x="45" y="305"/>
                      </a:lnTo>
                      <a:lnTo>
                        <a:pt x="53" y="318"/>
                      </a:lnTo>
                      <a:lnTo>
                        <a:pt x="62" y="330"/>
                      </a:lnTo>
                      <a:lnTo>
                        <a:pt x="71" y="342"/>
                      </a:lnTo>
                      <a:lnTo>
                        <a:pt x="82" y="353"/>
                      </a:lnTo>
                      <a:lnTo>
                        <a:pt x="92" y="365"/>
                      </a:lnTo>
                      <a:lnTo>
                        <a:pt x="102" y="375"/>
                      </a:lnTo>
                      <a:lnTo>
                        <a:pt x="114" y="384"/>
                      </a:lnTo>
                      <a:lnTo>
                        <a:pt x="125" y="394"/>
                      </a:lnTo>
                      <a:lnTo>
                        <a:pt x="138" y="403"/>
                      </a:lnTo>
                      <a:lnTo>
                        <a:pt x="151" y="411"/>
                      </a:lnTo>
                      <a:lnTo>
                        <a:pt x="163" y="418"/>
                      </a:lnTo>
                      <a:lnTo>
                        <a:pt x="177" y="425"/>
                      </a:lnTo>
                      <a:lnTo>
                        <a:pt x="191" y="432"/>
                      </a:lnTo>
                      <a:lnTo>
                        <a:pt x="205" y="437"/>
                      </a:lnTo>
                      <a:lnTo>
                        <a:pt x="220" y="442"/>
                      </a:lnTo>
                      <a:lnTo>
                        <a:pt x="234" y="445"/>
                      </a:lnTo>
                      <a:lnTo>
                        <a:pt x="250" y="450"/>
                      </a:lnTo>
                      <a:lnTo>
                        <a:pt x="265" y="452"/>
                      </a:lnTo>
                      <a:lnTo>
                        <a:pt x="280" y="455"/>
                      </a:lnTo>
                      <a:lnTo>
                        <a:pt x="296" y="456"/>
                      </a:lnTo>
                      <a:lnTo>
                        <a:pt x="312" y="456"/>
                      </a:lnTo>
                      <a:lnTo>
                        <a:pt x="312" y="456"/>
                      </a:lnTo>
                      <a:lnTo>
                        <a:pt x="328" y="456"/>
                      </a:lnTo>
                      <a:lnTo>
                        <a:pt x="344" y="455"/>
                      </a:lnTo>
                      <a:lnTo>
                        <a:pt x="359" y="452"/>
                      </a:lnTo>
                      <a:lnTo>
                        <a:pt x="375" y="450"/>
                      </a:lnTo>
                      <a:lnTo>
                        <a:pt x="390" y="445"/>
                      </a:lnTo>
                      <a:lnTo>
                        <a:pt x="405" y="442"/>
                      </a:lnTo>
                      <a:lnTo>
                        <a:pt x="419" y="437"/>
                      </a:lnTo>
                      <a:lnTo>
                        <a:pt x="434" y="432"/>
                      </a:lnTo>
                      <a:lnTo>
                        <a:pt x="448" y="425"/>
                      </a:lnTo>
                      <a:lnTo>
                        <a:pt x="460" y="418"/>
                      </a:lnTo>
                      <a:lnTo>
                        <a:pt x="474" y="411"/>
                      </a:lnTo>
                      <a:lnTo>
                        <a:pt x="487" y="403"/>
                      </a:lnTo>
                      <a:lnTo>
                        <a:pt x="498" y="394"/>
                      </a:lnTo>
                      <a:lnTo>
                        <a:pt x="511" y="384"/>
                      </a:lnTo>
                      <a:lnTo>
                        <a:pt x="521" y="375"/>
                      </a:lnTo>
                      <a:lnTo>
                        <a:pt x="533" y="365"/>
                      </a:lnTo>
                      <a:lnTo>
                        <a:pt x="543" y="353"/>
                      </a:lnTo>
                      <a:lnTo>
                        <a:pt x="552" y="342"/>
                      </a:lnTo>
                      <a:lnTo>
                        <a:pt x="562" y="330"/>
                      </a:lnTo>
                      <a:lnTo>
                        <a:pt x="571" y="318"/>
                      </a:lnTo>
                      <a:lnTo>
                        <a:pt x="579" y="305"/>
                      </a:lnTo>
                      <a:lnTo>
                        <a:pt x="586" y="292"/>
                      </a:lnTo>
                      <a:lnTo>
                        <a:pt x="593" y="278"/>
                      </a:lnTo>
                      <a:lnTo>
                        <a:pt x="600" y="265"/>
                      </a:lnTo>
                      <a:lnTo>
                        <a:pt x="605" y="251"/>
                      </a:lnTo>
                      <a:lnTo>
                        <a:pt x="610" y="237"/>
                      </a:lnTo>
                      <a:lnTo>
                        <a:pt x="615" y="222"/>
                      </a:lnTo>
                      <a:lnTo>
                        <a:pt x="618" y="207"/>
                      </a:lnTo>
                      <a:lnTo>
                        <a:pt x="620" y="191"/>
                      </a:lnTo>
                      <a:lnTo>
                        <a:pt x="623" y="176"/>
                      </a:lnTo>
                      <a:lnTo>
                        <a:pt x="624" y="160"/>
                      </a:lnTo>
                      <a:lnTo>
                        <a:pt x="624" y="144"/>
                      </a:lnTo>
                      <a:lnTo>
                        <a:pt x="624" y="144"/>
                      </a:lnTo>
                      <a:lnTo>
                        <a:pt x="624" y="124"/>
                      </a:lnTo>
                      <a:lnTo>
                        <a:pt x="622" y="106"/>
                      </a:lnTo>
                      <a:lnTo>
                        <a:pt x="619" y="87"/>
                      </a:lnTo>
                      <a:lnTo>
                        <a:pt x="615" y="69"/>
                      </a:lnTo>
                      <a:lnTo>
                        <a:pt x="610" y="50"/>
                      </a:lnTo>
                      <a:lnTo>
                        <a:pt x="604" y="33"/>
                      </a:lnTo>
                      <a:lnTo>
                        <a:pt x="597" y="17"/>
                      </a:lnTo>
                      <a:lnTo>
                        <a:pt x="5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8" name="Freeform 291"/>
                <p:cNvSpPr>
                  <a:spLocks/>
                </p:cNvSpPr>
                <p:nvPr/>
              </p:nvSpPr>
              <p:spPr bwMode="auto">
                <a:xfrm>
                  <a:off x="3327400" y="3582988"/>
                  <a:ext cx="133350" cy="57150"/>
                </a:xfrm>
                <a:custGeom>
                  <a:avLst/>
                  <a:gdLst>
                    <a:gd name="T0" fmla="*/ 306 w 583"/>
                    <a:gd name="T1" fmla="*/ 0 h 253"/>
                    <a:gd name="T2" fmla="*/ 306 w 583"/>
                    <a:gd name="T3" fmla="*/ 0 h 253"/>
                    <a:gd name="T4" fmla="*/ 278 w 583"/>
                    <a:gd name="T5" fmla="*/ 1 h 253"/>
                    <a:gd name="T6" fmla="*/ 251 w 583"/>
                    <a:gd name="T7" fmla="*/ 4 h 253"/>
                    <a:gd name="T8" fmla="*/ 224 w 583"/>
                    <a:gd name="T9" fmla="*/ 11 h 253"/>
                    <a:gd name="T10" fmla="*/ 198 w 583"/>
                    <a:gd name="T11" fmla="*/ 19 h 253"/>
                    <a:gd name="T12" fmla="*/ 173 w 583"/>
                    <a:gd name="T13" fmla="*/ 30 h 253"/>
                    <a:gd name="T14" fmla="*/ 149 w 583"/>
                    <a:gd name="T15" fmla="*/ 41 h 253"/>
                    <a:gd name="T16" fmla="*/ 127 w 583"/>
                    <a:gd name="T17" fmla="*/ 56 h 253"/>
                    <a:gd name="T18" fmla="*/ 107 w 583"/>
                    <a:gd name="T19" fmla="*/ 72 h 253"/>
                    <a:gd name="T20" fmla="*/ 87 w 583"/>
                    <a:gd name="T21" fmla="*/ 89 h 253"/>
                    <a:gd name="T22" fmla="*/ 69 w 583"/>
                    <a:gd name="T23" fmla="*/ 109 h 253"/>
                    <a:gd name="T24" fmla="*/ 53 w 583"/>
                    <a:gd name="T25" fmla="*/ 130 h 253"/>
                    <a:gd name="T26" fmla="*/ 38 w 583"/>
                    <a:gd name="T27" fmla="*/ 153 h 253"/>
                    <a:gd name="T28" fmla="*/ 25 w 583"/>
                    <a:gd name="T29" fmla="*/ 176 h 253"/>
                    <a:gd name="T30" fmla="*/ 15 w 583"/>
                    <a:gd name="T31" fmla="*/ 200 h 253"/>
                    <a:gd name="T32" fmla="*/ 7 w 583"/>
                    <a:gd name="T33" fmla="*/ 226 h 253"/>
                    <a:gd name="T34" fmla="*/ 0 w 583"/>
                    <a:gd name="T35" fmla="*/ 253 h 253"/>
                    <a:gd name="T36" fmla="*/ 0 w 583"/>
                    <a:gd name="T37" fmla="*/ 253 h 253"/>
                    <a:gd name="T38" fmla="*/ 56 w 583"/>
                    <a:gd name="T39" fmla="*/ 253 h 253"/>
                    <a:gd name="T40" fmla="*/ 56 w 583"/>
                    <a:gd name="T41" fmla="*/ 253 h 253"/>
                    <a:gd name="T42" fmla="*/ 91 w 583"/>
                    <a:gd name="T43" fmla="*/ 253 h 253"/>
                    <a:gd name="T44" fmla="*/ 125 w 583"/>
                    <a:gd name="T45" fmla="*/ 252 h 253"/>
                    <a:gd name="T46" fmla="*/ 160 w 583"/>
                    <a:gd name="T47" fmla="*/ 251 h 253"/>
                    <a:gd name="T48" fmla="*/ 193 w 583"/>
                    <a:gd name="T49" fmla="*/ 248 h 253"/>
                    <a:gd name="T50" fmla="*/ 261 w 583"/>
                    <a:gd name="T51" fmla="*/ 241 h 253"/>
                    <a:gd name="T52" fmla="*/ 327 w 583"/>
                    <a:gd name="T53" fmla="*/ 231 h 253"/>
                    <a:gd name="T54" fmla="*/ 392 w 583"/>
                    <a:gd name="T55" fmla="*/ 220 h 253"/>
                    <a:gd name="T56" fmla="*/ 457 w 583"/>
                    <a:gd name="T57" fmla="*/ 205 h 253"/>
                    <a:gd name="T58" fmla="*/ 521 w 583"/>
                    <a:gd name="T59" fmla="*/ 187 h 253"/>
                    <a:gd name="T60" fmla="*/ 583 w 583"/>
                    <a:gd name="T61" fmla="*/ 168 h 253"/>
                    <a:gd name="T62" fmla="*/ 583 w 583"/>
                    <a:gd name="T63" fmla="*/ 168 h 253"/>
                    <a:gd name="T64" fmla="*/ 573 w 583"/>
                    <a:gd name="T65" fmla="*/ 149 h 253"/>
                    <a:gd name="T66" fmla="*/ 561 w 583"/>
                    <a:gd name="T67" fmla="*/ 132 h 253"/>
                    <a:gd name="T68" fmla="*/ 549 w 583"/>
                    <a:gd name="T69" fmla="*/ 116 h 253"/>
                    <a:gd name="T70" fmla="*/ 535 w 583"/>
                    <a:gd name="T71" fmla="*/ 100 h 253"/>
                    <a:gd name="T72" fmla="*/ 520 w 583"/>
                    <a:gd name="T73" fmla="*/ 85 h 253"/>
                    <a:gd name="T74" fmla="*/ 505 w 583"/>
                    <a:gd name="T75" fmla="*/ 71 h 253"/>
                    <a:gd name="T76" fmla="*/ 488 w 583"/>
                    <a:gd name="T77" fmla="*/ 58 h 253"/>
                    <a:gd name="T78" fmla="*/ 471 w 583"/>
                    <a:gd name="T79" fmla="*/ 47 h 253"/>
                    <a:gd name="T80" fmla="*/ 452 w 583"/>
                    <a:gd name="T81" fmla="*/ 35 h 253"/>
                    <a:gd name="T82" fmla="*/ 433 w 583"/>
                    <a:gd name="T83" fmla="*/ 26 h 253"/>
                    <a:gd name="T84" fmla="*/ 413 w 583"/>
                    <a:gd name="T85" fmla="*/ 18 h 253"/>
                    <a:gd name="T86" fmla="*/ 393 w 583"/>
                    <a:gd name="T87" fmla="*/ 12 h 253"/>
                    <a:gd name="T88" fmla="*/ 371 w 583"/>
                    <a:gd name="T89" fmla="*/ 7 h 253"/>
                    <a:gd name="T90" fmla="*/ 351 w 583"/>
                    <a:gd name="T91" fmla="*/ 3 h 253"/>
                    <a:gd name="T92" fmla="*/ 329 w 583"/>
                    <a:gd name="T93" fmla="*/ 1 h 253"/>
                    <a:gd name="T94" fmla="*/ 306 w 583"/>
                    <a:gd name="T95"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83" h="253">
                      <a:moveTo>
                        <a:pt x="306" y="0"/>
                      </a:moveTo>
                      <a:lnTo>
                        <a:pt x="306" y="0"/>
                      </a:lnTo>
                      <a:lnTo>
                        <a:pt x="278" y="1"/>
                      </a:lnTo>
                      <a:lnTo>
                        <a:pt x="251" y="4"/>
                      </a:lnTo>
                      <a:lnTo>
                        <a:pt x="224" y="11"/>
                      </a:lnTo>
                      <a:lnTo>
                        <a:pt x="198" y="19"/>
                      </a:lnTo>
                      <a:lnTo>
                        <a:pt x="173" y="30"/>
                      </a:lnTo>
                      <a:lnTo>
                        <a:pt x="149" y="41"/>
                      </a:lnTo>
                      <a:lnTo>
                        <a:pt x="127" y="56"/>
                      </a:lnTo>
                      <a:lnTo>
                        <a:pt x="107" y="72"/>
                      </a:lnTo>
                      <a:lnTo>
                        <a:pt x="87" y="89"/>
                      </a:lnTo>
                      <a:lnTo>
                        <a:pt x="69" y="109"/>
                      </a:lnTo>
                      <a:lnTo>
                        <a:pt x="53" y="130"/>
                      </a:lnTo>
                      <a:lnTo>
                        <a:pt x="38" y="153"/>
                      </a:lnTo>
                      <a:lnTo>
                        <a:pt x="25" y="176"/>
                      </a:lnTo>
                      <a:lnTo>
                        <a:pt x="15" y="200"/>
                      </a:lnTo>
                      <a:lnTo>
                        <a:pt x="7" y="226"/>
                      </a:lnTo>
                      <a:lnTo>
                        <a:pt x="0" y="253"/>
                      </a:lnTo>
                      <a:lnTo>
                        <a:pt x="0" y="253"/>
                      </a:lnTo>
                      <a:lnTo>
                        <a:pt x="56" y="253"/>
                      </a:lnTo>
                      <a:lnTo>
                        <a:pt x="56" y="253"/>
                      </a:lnTo>
                      <a:lnTo>
                        <a:pt x="91" y="253"/>
                      </a:lnTo>
                      <a:lnTo>
                        <a:pt x="125" y="252"/>
                      </a:lnTo>
                      <a:lnTo>
                        <a:pt x="160" y="251"/>
                      </a:lnTo>
                      <a:lnTo>
                        <a:pt x="193" y="248"/>
                      </a:lnTo>
                      <a:lnTo>
                        <a:pt x="261" y="241"/>
                      </a:lnTo>
                      <a:lnTo>
                        <a:pt x="327" y="231"/>
                      </a:lnTo>
                      <a:lnTo>
                        <a:pt x="392" y="220"/>
                      </a:lnTo>
                      <a:lnTo>
                        <a:pt x="457" y="205"/>
                      </a:lnTo>
                      <a:lnTo>
                        <a:pt x="521" y="187"/>
                      </a:lnTo>
                      <a:lnTo>
                        <a:pt x="583" y="168"/>
                      </a:lnTo>
                      <a:lnTo>
                        <a:pt x="583" y="168"/>
                      </a:lnTo>
                      <a:lnTo>
                        <a:pt x="573" y="149"/>
                      </a:lnTo>
                      <a:lnTo>
                        <a:pt x="561" y="132"/>
                      </a:lnTo>
                      <a:lnTo>
                        <a:pt x="549" y="116"/>
                      </a:lnTo>
                      <a:lnTo>
                        <a:pt x="535" y="100"/>
                      </a:lnTo>
                      <a:lnTo>
                        <a:pt x="520" y="85"/>
                      </a:lnTo>
                      <a:lnTo>
                        <a:pt x="505" y="71"/>
                      </a:lnTo>
                      <a:lnTo>
                        <a:pt x="488" y="58"/>
                      </a:lnTo>
                      <a:lnTo>
                        <a:pt x="471" y="47"/>
                      </a:lnTo>
                      <a:lnTo>
                        <a:pt x="452" y="35"/>
                      </a:lnTo>
                      <a:lnTo>
                        <a:pt x="433" y="26"/>
                      </a:lnTo>
                      <a:lnTo>
                        <a:pt x="413" y="18"/>
                      </a:lnTo>
                      <a:lnTo>
                        <a:pt x="393" y="12"/>
                      </a:lnTo>
                      <a:lnTo>
                        <a:pt x="371" y="7"/>
                      </a:lnTo>
                      <a:lnTo>
                        <a:pt x="351" y="3"/>
                      </a:lnTo>
                      <a:lnTo>
                        <a:pt x="329" y="1"/>
                      </a:lnTo>
                      <a:lnTo>
                        <a:pt x="306" y="0"/>
                      </a:lnTo>
                      <a:close/>
                    </a:path>
                  </a:pathLst>
                </a:custGeom>
                <a:solidFill>
                  <a:srgbClr val="5C4A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9" name="Freeform 292"/>
                <p:cNvSpPr>
                  <a:spLocks/>
                </p:cNvSpPr>
                <p:nvPr/>
              </p:nvSpPr>
              <p:spPr bwMode="auto">
                <a:xfrm>
                  <a:off x="3327400" y="3582988"/>
                  <a:ext cx="133350" cy="57150"/>
                </a:xfrm>
                <a:custGeom>
                  <a:avLst/>
                  <a:gdLst>
                    <a:gd name="T0" fmla="*/ 306 w 583"/>
                    <a:gd name="T1" fmla="*/ 0 h 253"/>
                    <a:gd name="T2" fmla="*/ 306 w 583"/>
                    <a:gd name="T3" fmla="*/ 0 h 253"/>
                    <a:gd name="T4" fmla="*/ 278 w 583"/>
                    <a:gd name="T5" fmla="*/ 1 h 253"/>
                    <a:gd name="T6" fmla="*/ 251 w 583"/>
                    <a:gd name="T7" fmla="*/ 4 h 253"/>
                    <a:gd name="T8" fmla="*/ 224 w 583"/>
                    <a:gd name="T9" fmla="*/ 11 h 253"/>
                    <a:gd name="T10" fmla="*/ 198 w 583"/>
                    <a:gd name="T11" fmla="*/ 19 h 253"/>
                    <a:gd name="T12" fmla="*/ 173 w 583"/>
                    <a:gd name="T13" fmla="*/ 30 h 253"/>
                    <a:gd name="T14" fmla="*/ 149 w 583"/>
                    <a:gd name="T15" fmla="*/ 41 h 253"/>
                    <a:gd name="T16" fmla="*/ 127 w 583"/>
                    <a:gd name="T17" fmla="*/ 56 h 253"/>
                    <a:gd name="T18" fmla="*/ 107 w 583"/>
                    <a:gd name="T19" fmla="*/ 72 h 253"/>
                    <a:gd name="T20" fmla="*/ 87 w 583"/>
                    <a:gd name="T21" fmla="*/ 89 h 253"/>
                    <a:gd name="T22" fmla="*/ 69 w 583"/>
                    <a:gd name="T23" fmla="*/ 109 h 253"/>
                    <a:gd name="T24" fmla="*/ 53 w 583"/>
                    <a:gd name="T25" fmla="*/ 130 h 253"/>
                    <a:gd name="T26" fmla="*/ 38 w 583"/>
                    <a:gd name="T27" fmla="*/ 153 h 253"/>
                    <a:gd name="T28" fmla="*/ 25 w 583"/>
                    <a:gd name="T29" fmla="*/ 176 h 253"/>
                    <a:gd name="T30" fmla="*/ 15 w 583"/>
                    <a:gd name="T31" fmla="*/ 200 h 253"/>
                    <a:gd name="T32" fmla="*/ 7 w 583"/>
                    <a:gd name="T33" fmla="*/ 226 h 253"/>
                    <a:gd name="T34" fmla="*/ 0 w 583"/>
                    <a:gd name="T35" fmla="*/ 253 h 253"/>
                    <a:gd name="T36" fmla="*/ 0 w 583"/>
                    <a:gd name="T37" fmla="*/ 253 h 253"/>
                    <a:gd name="T38" fmla="*/ 56 w 583"/>
                    <a:gd name="T39" fmla="*/ 253 h 253"/>
                    <a:gd name="T40" fmla="*/ 56 w 583"/>
                    <a:gd name="T41" fmla="*/ 253 h 253"/>
                    <a:gd name="T42" fmla="*/ 91 w 583"/>
                    <a:gd name="T43" fmla="*/ 253 h 253"/>
                    <a:gd name="T44" fmla="*/ 125 w 583"/>
                    <a:gd name="T45" fmla="*/ 252 h 253"/>
                    <a:gd name="T46" fmla="*/ 160 w 583"/>
                    <a:gd name="T47" fmla="*/ 251 h 253"/>
                    <a:gd name="T48" fmla="*/ 193 w 583"/>
                    <a:gd name="T49" fmla="*/ 248 h 253"/>
                    <a:gd name="T50" fmla="*/ 261 w 583"/>
                    <a:gd name="T51" fmla="*/ 241 h 253"/>
                    <a:gd name="T52" fmla="*/ 327 w 583"/>
                    <a:gd name="T53" fmla="*/ 231 h 253"/>
                    <a:gd name="T54" fmla="*/ 392 w 583"/>
                    <a:gd name="T55" fmla="*/ 220 h 253"/>
                    <a:gd name="T56" fmla="*/ 457 w 583"/>
                    <a:gd name="T57" fmla="*/ 205 h 253"/>
                    <a:gd name="T58" fmla="*/ 521 w 583"/>
                    <a:gd name="T59" fmla="*/ 187 h 253"/>
                    <a:gd name="T60" fmla="*/ 583 w 583"/>
                    <a:gd name="T61" fmla="*/ 168 h 253"/>
                    <a:gd name="T62" fmla="*/ 583 w 583"/>
                    <a:gd name="T63" fmla="*/ 168 h 253"/>
                    <a:gd name="T64" fmla="*/ 573 w 583"/>
                    <a:gd name="T65" fmla="*/ 149 h 253"/>
                    <a:gd name="T66" fmla="*/ 561 w 583"/>
                    <a:gd name="T67" fmla="*/ 132 h 253"/>
                    <a:gd name="T68" fmla="*/ 549 w 583"/>
                    <a:gd name="T69" fmla="*/ 116 h 253"/>
                    <a:gd name="T70" fmla="*/ 535 w 583"/>
                    <a:gd name="T71" fmla="*/ 100 h 253"/>
                    <a:gd name="T72" fmla="*/ 520 w 583"/>
                    <a:gd name="T73" fmla="*/ 85 h 253"/>
                    <a:gd name="T74" fmla="*/ 505 w 583"/>
                    <a:gd name="T75" fmla="*/ 71 h 253"/>
                    <a:gd name="T76" fmla="*/ 488 w 583"/>
                    <a:gd name="T77" fmla="*/ 58 h 253"/>
                    <a:gd name="T78" fmla="*/ 471 w 583"/>
                    <a:gd name="T79" fmla="*/ 47 h 253"/>
                    <a:gd name="T80" fmla="*/ 452 w 583"/>
                    <a:gd name="T81" fmla="*/ 35 h 253"/>
                    <a:gd name="T82" fmla="*/ 433 w 583"/>
                    <a:gd name="T83" fmla="*/ 26 h 253"/>
                    <a:gd name="T84" fmla="*/ 413 w 583"/>
                    <a:gd name="T85" fmla="*/ 18 h 253"/>
                    <a:gd name="T86" fmla="*/ 393 w 583"/>
                    <a:gd name="T87" fmla="*/ 12 h 253"/>
                    <a:gd name="T88" fmla="*/ 371 w 583"/>
                    <a:gd name="T89" fmla="*/ 7 h 253"/>
                    <a:gd name="T90" fmla="*/ 351 w 583"/>
                    <a:gd name="T91" fmla="*/ 3 h 253"/>
                    <a:gd name="T92" fmla="*/ 329 w 583"/>
                    <a:gd name="T93" fmla="*/ 1 h 253"/>
                    <a:gd name="T94" fmla="*/ 306 w 583"/>
                    <a:gd name="T95"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83" h="253">
                      <a:moveTo>
                        <a:pt x="306" y="0"/>
                      </a:moveTo>
                      <a:lnTo>
                        <a:pt x="306" y="0"/>
                      </a:lnTo>
                      <a:lnTo>
                        <a:pt x="278" y="1"/>
                      </a:lnTo>
                      <a:lnTo>
                        <a:pt x="251" y="4"/>
                      </a:lnTo>
                      <a:lnTo>
                        <a:pt x="224" y="11"/>
                      </a:lnTo>
                      <a:lnTo>
                        <a:pt x="198" y="19"/>
                      </a:lnTo>
                      <a:lnTo>
                        <a:pt x="173" y="30"/>
                      </a:lnTo>
                      <a:lnTo>
                        <a:pt x="149" y="41"/>
                      </a:lnTo>
                      <a:lnTo>
                        <a:pt x="127" y="56"/>
                      </a:lnTo>
                      <a:lnTo>
                        <a:pt x="107" y="72"/>
                      </a:lnTo>
                      <a:lnTo>
                        <a:pt x="87" y="89"/>
                      </a:lnTo>
                      <a:lnTo>
                        <a:pt x="69" y="109"/>
                      </a:lnTo>
                      <a:lnTo>
                        <a:pt x="53" y="130"/>
                      </a:lnTo>
                      <a:lnTo>
                        <a:pt x="38" y="153"/>
                      </a:lnTo>
                      <a:lnTo>
                        <a:pt x="25" y="176"/>
                      </a:lnTo>
                      <a:lnTo>
                        <a:pt x="15" y="200"/>
                      </a:lnTo>
                      <a:lnTo>
                        <a:pt x="7" y="226"/>
                      </a:lnTo>
                      <a:lnTo>
                        <a:pt x="0" y="253"/>
                      </a:lnTo>
                      <a:lnTo>
                        <a:pt x="0" y="253"/>
                      </a:lnTo>
                      <a:lnTo>
                        <a:pt x="56" y="253"/>
                      </a:lnTo>
                      <a:lnTo>
                        <a:pt x="56" y="253"/>
                      </a:lnTo>
                      <a:lnTo>
                        <a:pt x="91" y="253"/>
                      </a:lnTo>
                      <a:lnTo>
                        <a:pt x="125" y="252"/>
                      </a:lnTo>
                      <a:lnTo>
                        <a:pt x="160" y="251"/>
                      </a:lnTo>
                      <a:lnTo>
                        <a:pt x="193" y="248"/>
                      </a:lnTo>
                      <a:lnTo>
                        <a:pt x="261" y="241"/>
                      </a:lnTo>
                      <a:lnTo>
                        <a:pt x="327" y="231"/>
                      </a:lnTo>
                      <a:lnTo>
                        <a:pt x="392" y="220"/>
                      </a:lnTo>
                      <a:lnTo>
                        <a:pt x="457" y="205"/>
                      </a:lnTo>
                      <a:lnTo>
                        <a:pt x="521" y="187"/>
                      </a:lnTo>
                      <a:lnTo>
                        <a:pt x="583" y="168"/>
                      </a:lnTo>
                      <a:lnTo>
                        <a:pt x="583" y="168"/>
                      </a:lnTo>
                      <a:lnTo>
                        <a:pt x="573" y="149"/>
                      </a:lnTo>
                      <a:lnTo>
                        <a:pt x="561" y="132"/>
                      </a:lnTo>
                      <a:lnTo>
                        <a:pt x="549" y="116"/>
                      </a:lnTo>
                      <a:lnTo>
                        <a:pt x="535" y="100"/>
                      </a:lnTo>
                      <a:lnTo>
                        <a:pt x="520" y="85"/>
                      </a:lnTo>
                      <a:lnTo>
                        <a:pt x="505" y="71"/>
                      </a:lnTo>
                      <a:lnTo>
                        <a:pt x="488" y="58"/>
                      </a:lnTo>
                      <a:lnTo>
                        <a:pt x="471" y="47"/>
                      </a:lnTo>
                      <a:lnTo>
                        <a:pt x="452" y="35"/>
                      </a:lnTo>
                      <a:lnTo>
                        <a:pt x="433" y="26"/>
                      </a:lnTo>
                      <a:lnTo>
                        <a:pt x="413" y="18"/>
                      </a:lnTo>
                      <a:lnTo>
                        <a:pt x="393" y="12"/>
                      </a:lnTo>
                      <a:lnTo>
                        <a:pt x="371" y="7"/>
                      </a:lnTo>
                      <a:lnTo>
                        <a:pt x="351" y="3"/>
                      </a:lnTo>
                      <a:lnTo>
                        <a:pt x="329" y="1"/>
                      </a:lnTo>
                      <a:lnTo>
                        <a:pt x="3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0" name="Freeform 293"/>
                <p:cNvSpPr>
                  <a:spLocks/>
                </p:cNvSpPr>
                <p:nvPr/>
              </p:nvSpPr>
              <p:spPr bwMode="auto">
                <a:xfrm>
                  <a:off x="2859088" y="3529013"/>
                  <a:ext cx="192088" cy="190500"/>
                </a:xfrm>
                <a:custGeom>
                  <a:avLst/>
                  <a:gdLst>
                    <a:gd name="T0" fmla="*/ 495 w 843"/>
                    <a:gd name="T1" fmla="*/ 0 h 843"/>
                    <a:gd name="T2" fmla="*/ 445 w 843"/>
                    <a:gd name="T3" fmla="*/ 2 h 843"/>
                    <a:gd name="T4" fmla="*/ 396 w 843"/>
                    <a:gd name="T5" fmla="*/ 10 h 843"/>
                    <a:gd name="T6" fmla="*/ 348 w 843"/>
                    <a:gd name="T7" fmla="*/ 22 h 843"/>
                    <a:gd name="T8" fmla="*/ 303 w 843"/>
                    <a:gd name="T9" fmla="*/ 39 h 843"/>
                    <a:gd name="T10" fmla="*/ 259 w 843"/>
                    <a:gd name="T11" fmla="*/ 60 h 843"/>
                    <a:gd name="T12" fmla="*/ 219 w 843"/>
                    <a:gd name="T13" fmla="*/ 84 h 843"/>
                    <a:gd name="T14" fmla="*/ 180 w 843"/>
                    <a:gd name="T15" fmla="*/ 113 h 843"/>
                    <a:gd name="T16" fmla="*/ 145 w 843"/>
                    <a:gd name="T17" fmla="*/ 145 h 843"/>
                    <a:gd name="T18" fmla="*/ 113 w 843"/>
                    <a:gd name="T19" fmla="*/ 181 h 843"/>
                    <a:gd name="T20" fmla="*/ 84 w 843"/>
                    <a:gd name="T21" fmla="*/ 219 h 843"/>
                    <a:gd name="T22" fmla="*/ 60 w 843"/>
                    <a:gd name="T23" fmla="*/ 259 h 843"/>
                    <a:gd name="T24" fmla="*/ 40 w 843"/>
                    <a:gd name="T25" fmla="*/ 303 h 843"/>
                    <a:gd name="T26" fmla="*/ 22 w 843"/>
                    <a:gd name="T27" fmla="*/ 348 h 843"/>
                    <a:gd name="T28" fmla="*/ 10 w 843"/>
                    <a:gd name="T29" fmla="*/ 396 h 843"/>
                    <a:gd name="T30" fmla="*/ 3 w 843"/>
                    <a:gd name="T31" fmla="*/ 444 h 843"/>
                    <a:gd name="T32" fmla="*/ 0 w 843"/>
                    <a:gd name="T33" fmla="*/ 495 h 843"/>
                    <a:gd name="T34" fmla="*/ 0 w 843"/>
                    <a:gd name="T35" fmla="*/ 520 h 843"/>
                    <a:gd name="T36" fmla="*/ 6 w 843"/>
                    <a:gd name="T37" fmla="*/ 570 h 843"/>
                    <a:gd name="T38" fmla="*/ 15 w 843"/>
                    <a:gd name="T39" fmla="*/ 618 h 843"/>
                    <a:gd name="T40" fmla="*/ 29 w 843"/>
                    <a:gd name="T41" fmla="*/ 664 h 843"/>
                    <a:gd name="T42" fmla="*/ 48 w 843"/>
                    <a:gd name="T43" fmla="*/ 708 h 843"/>
                    <a:gd name="T44" fmla="*/ 69 w 843"/>
                    <a:gd name="T45" fmla="*/ 749 h 843"/>
                    <a:gd name="T46" fmla="*/ 96 w 843"/>
                    <a:gd name="T47" fmla="*/ 789 h 843"/>
                    <a:gd name="T48" fmla="*/ 126 w 843"/>
                    <a:gd name="T49" fmla="*/ 825 h 843"/>
                    <a:gd name="T50" fmla="*/ 843 w 843"/>
                    <a:gd name="T51" fmla="*/ 140 h 843"/>
                    <a:gd name="T52" fmla="*/ 826 w 843"/>
                    <a:gd name="T53" fmla="*/ 125 h 843"/>
                    <a:gd name="T54" fmla="*/ 789 w 843"/>
                    <a:gd name="T55" fmla="*/ 95 h 843"/>
                    <a:gd name="T56" fmla="*/ 750 w 843"/>
                    <a:gd name="T57" fmla="*/ 69 h 843"/>
                    <a:gd name="T58" fmla="*/ 708 w 843"/>
                    <a:gd name="T59" fmla="*/ 47 h 843"/>
                    <a:gd name="T60" fmla="*/ 664 w 843"/>
                    <a:gd name="T61" fmla="*/ 29 h 843"/>
                    <a:gd name="T62" fmla="*/ 619 w 843"/>
                    <a:gd name="T63" fmla="*/ 15 h 843"/>
                    <a:gd name="T64" fmla="*/ 570 w 843"/>
                    <a:gd name="T65" fmla="*/ 6 h 843"/>
                    <a:gd name="T66" fmla="*/ 521 w 843"/>
                    <a:gd name="T67" fmla="*/ 0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43" h="843">
                      <a:moveTo>
                        <a:pt x="495" y="0"/>
                      </a:moveTo>
                      <a:lnTo>
                        <a:pt x="495" y="0"/>
                      </a:lnTo>
                      <a:lnTo>
                        <a:pt x="470" y="0"/>
                      </a:lnTo>
                      <a:lnTo>
                        <a:pt x="445" y="2"/>
                      </a:lnTo>
                      <a:lnTo>
                        <a:pt x="421" y="6"/>
                      </a:lnTo>
                      <a:lnTo>
                        <a:pt x="396" y="10"/>
                      </a:lnTo>
                      <a:lnTo>
                        <a:pt x="372" y="15"/>
                      </a:lnTo>
                      <a:lnTo>
                        <a:pt x="348" y="22"/>
                      </a:lnTo>
                      <a:lnTo>
                        <a:pt x="325" y="30"/>
                      </a:lnTo>
                      <a:lnTo>
                        <a:pt x="303" y="39"/>
                      </a:lnTo>
                      <a:lnTo>
                        <a:pt x="281" y="48"/>
                      </a:lnTo>
                      <a:lnTo>
                        <a:pt x="259" y="60"/>
                      </a:lnTo>
                      <a:lnTo>
                        <a:pt x="239" y="71"/>
                      </a:lnTo>
                      <a:lnTo>
                        <a:pt x="219" y="84"/>
                      </a:lnTo>
                      <a:lnTo>
                        <a:pt x="200" y="98"/>
                      </a:lnTo>
                      <a:lnTo>
                        <a:pt x="180" y="113"/>
                      </a:lnTo>
                      <a:lnTo>
                        <a:pt x="163" y="129"/>
                      </a:lnTo>
                      <a:lnTo>
                        <a:pt x="145" y="145"/>
                      </a:lnTo>
                      <a:lnTo>
                        <a:pt x="129" y="162"/>
                      </a:lnTo>
                      <a:lnTo>
                        <a:pt x="113" y="181"/>
                      </a:lnTo>
                      <a:lnTo>
                        <a:pt x="98" y="199"/>
                      </a:lnTo>
                      <a:lnTo>
                        <a:pt x="84" y="219"/>
                      </a:lnTo>
                      <a:lnTo>
                        <a:pt x="72" y="238"/>
                      </a:lnTo>
                      <a:lnTo>
                        <a:pt x="60" y="259"/>
                      </a:lnTo>
                      <a:lnTo>
                        <a:pt x="49" y="281"/>
                      </a:lnTo>
                      <a:lnTo>
                        <a:pt x="40" y="303"/>
                      </a:lnTo>
                      <a:lnTo>
                        <a:pt x="30" y="325"/>
                      </a:lnTo>
                      <a:lnTo>
                        <a:pt x="22" y="348"/>
                      </a:lnTo>
                      <a:lnTo>
                        <a:pt x="15" y="372"/>
                      </a:lnTo>
                      <a:lnTo>
                        <a:pt x="10" y="396"/>
                      </a:lnTo>
                      <a:lnTo>
                        <a:pt x="6" y="420"/>
                      </a:lnTo>
                      <a:lnTo>
                        <a:pt x="3" y="444"/>
                      </a:lnTo>
                      <a:lnTo>
                        <a:pt x="0" y="470"/>
                      </a:lnTo>
                      <a:lnTo>
                        <a:pt x="0" y="495"/>
                      </a:lnTo>
                      <a:lnTo>
                        <a:pt x="0" y="495"/>
                      </a:lnTo>
                      <a:lnTo>
                        <a:pt x="0" y="520"/>
                      </a:lnTo>
                      <a:lnTo>
                        <a:pt x="3" y="546"/>
                      </a:lnTo>
                      <a:lnTo>
                        <a:pt x="6" y="570"/>
                      </a:lnTo>
                      <a:lnTo>
                        <a:pt x="10" y="594"/>
                      </a:lnTo>
                      <a:lnTo>
                        <a:pt x="15" y="618"/>
                      </a:lnTo>
                      <a:lnTo>
                        <a:pt x="22" y="641"/>
                      </a:lnTo>
                      <a:lnTo>
                        <a:pt x="29" y="664"/>
                      </a:lnTo>
                      <a:lnTo>
                        <a:pt x="38" y="686"/>
                      </a:lnTo>
                      <a:lnTo>
                        <a:pt x="48" y="708"/>
                      </a:lnTo>
                      <a:lnTo>
                        <a:pt x="58" y="729"/>
                      </a:lnTo>
                      <a:lnTo>
                        <a:pt x="69" y="749"/>
                      </a:lnTo>
                      <a:lnTo>
                        <a:pt x="82" y="769"/>
                      </a:lnTo>
                      <a:lnTo>
                        <a:pt x="96" y="789"/>
                      </a:lnTo>
                      <a:lnTo>
                        <a:pt x="110" y="807"/>
                      </a:lnTo>
                      <a:lnTo>
                        <a:pt x="126" y="825"/>
                      </a:lnTo>
                      <a:lnTo>
                        <a:pt x="141" y="843"/>
                      </a:lnTo>
                      <a:lnTo>
                        <a:pt x="843" y="140"/>
                      </a:lnTo>
                      <a:lnTo>
                        <a:pt x="843" y="140"/>
                      </a:lnTo>
                      <a:lnTo>
                        <a:pt x="826" y="125"/>
                      </a:lnTo>
                      <a:lnTo>
                        <a:pt x="807" y="109"/>
                      </a:lnTo>
                      <a:lnTo>
                        <a:pt x="789" y="95"/>
                      </a:lnTo>
                      <a:lnTo>
                        <a:pt x="769" y="82"/>
                      </a:lnTo>
                      <a:lnTo>
                        <a:pt x="750" y="69"/>
                      </a:lnTo>
                      <a:lnTo>
                        <a:pt x="729" y="57"/>
                      </a:lnTo>
                      <a:lnTo>
                        <a:pt x="708" y="47"/>
                      </a:lnTo>
                      <a:lnTo>
                        <a:pt x="687" y="38"/>
                      </a:lnTo>
                      <a:lnTo>
                        <a:pt x="664" y="29"/>
                      </a:lnTo>
                      <a:lnTo>
                        <a:pt x="642" y="22"/>
                      </a:lnTo>
                      <a:lnTo>
                        <a:pt x="619" y="15"/>
                      </a:lnTo>
                      <a:lnTo>
                        <a:pt x="594" y="9"/>
                      </a:lnTo>
                      <a:lnTo>
                        <a:pt x="570" y="6"/>
                      </a:lnTo>
                      <a:lnTo>
                        <a:pt x="546" y="2"/>
                      </a:lnTo>
                      <a:lnTo>
                        <a:pt x="521" y="0"/>
                      </a:lnTo>
                      <a:lnTo>
                        <a:pt x="495" y="0"/>
                      </a:lnTo>
                      <a:close/>
                    </a:path>
                  </a:pathLst>
                </a:custGeom>
                <a:solidFill>
                  <a:srgbClr val="5C4A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1" name="Freeform 294"/>
                <p:cNvSpPr>
                  <a:spLocks/>
                </p:cNvSpPr>
                <p:nvPr/>
              </p:nvSpPr>
              <p:spPr bwMode="auto">
                <a:xfrm>
                  <a:off x="2859088" y="3529013"/>
                  <a:ext cx="192088" cy="190500"/>
                </a:xfrm>
                <a:custGeom>
                  <a:avLst/>
                  <a:gdLst>
                    <a:gd name="T0" fmla="*/ 495 w 843"/>
                    <a:gd name="T1" fmla="*/ 0 h 843"/>
                    <a:gd name="T2" fmla="*/ 445 w 843"/>
                    <a:gd name="T3" fmla="*/ 2 h 843"/>
                    <a:gd name="T4" fmla="*/ 396 w 843"/>
                    <a:gd name="T5" fmla="*/ 10 h 843"/>
                    <a:gd name="T6" fmla="*/ 348 w 843"/>
                    <a:gd name="T7" fmla="*/ 22 h 843"/>
                    <a:gd name="T8" fmla="*/ 303 w 843"/>
                    <a:gd name="T9" fmla="*/ 39 h 843"/>
                    <a:gd name="T10" fmla="*/ 259 w 843"/>
                    <a:gd name="T11" fmla="*/ 60 h 843"/>
                    <a:gd name="T12" fmla="*/ 219 w 843"/>
                    <a:gd name="T13" fmla="*/ 84 h 843"/>
                    <a:gd name="T14" fmla="*/ 180 w 843"/>
                    <a:gd name="T15" fmla="*/ 113 h 843"/>
                    <a:gd name="T16" fmla="*/ 145 w 843"/>
                    <a:gd name="T17" fmla="*/ 145 h 843"/>
                    <a:gd name="T18" fmla="*/ 113 w 843"/>
                    <a:gd name="T19" fmla="*/ 181 h 843"/>
                    <a:gd name="T20" fmla="*/ 84 w 843"/>
                    <a:gd name="T21" fmla="*/ 219 h 843"/>
                    <a:gd name="T22" fmla="*/ 60 w 843"/>
                    <a:gd name="T23" fmla="*/ 259 h 843"/>
                    <a:gd name="T24" fmla="*/ 40 w 843"/>
                    <a:gd name="T25" fmla="*/ 303 h 843"/>
                    <a:gd name="T26" fmla="*/ 22 w 843"/>
                    <a:gd name="T27" fmla="*/ 348 h 843"/>
                    <a:gd name="T28" fmla="*/ 10 w 843"/>
                    <a:gd name="T29" fmla="*/ 396 h 843"/>
                    <a:gd name="T30" fmla="*/ 3 w 843"/>
                    <a:gd name="T31" fmla="*/ 444 h 843"/>
                    <a:gd name="T32" fmla="*/ 0 w 843"/>
                    <a:gd name="T33" fmla="*/ 495 h 843"/>
                    <a:gd name="T34" fmla="*/ 0 w 843"/>
                    <a:gd name="T35" fmla="*/ 520 h 843"/>
                    <a:gd name="T36" fmla="*/ 6 w 843"/>
                    <a:gd name="T37" fmla="*/ 570 h 843"/>
                    <a:gd name="T38" fmla="*/ 15 w 843"/>
                    <a:gd name="T39" fmla="*/ 618 h 843"/>
                    <a:gd name="T40" fmla="*/ 29 w 843"/>
                    <a:gd name="T41" fmla="*/ 664 h 843"/>
                    <a:gd name="T42" fmla="*/ 48 w 843"/>
                    <a:gd name="T43" fmla="*/ 708 h 843"/>
                    <a:gd name="T44" fmla="*/ 69 w 843"/>
                    <a:gd name="T45" fmla="*/ 749 h 843"/>
                    <a:gd name="T46" fmla="*/ 96 w 843"/>
                    <a:gd name="T47" fmla="*/ 789 h 843"/>
                    <a:gd name="T48" fmla="*/ 126 w 843"/>
                    <a:gd name="T49" fmla="*/ 825 h 843"/>
                    <a:gd name="T50" fmla="*/ 843 w 843"/>
                    <a:gd name="T51" fmla="*/ 140 h 843"/>
                    <a:gd name="T52" fmla="*/ 826 w 843"/>
                    <a:gd name="T53" fmla="*/ 125 h 843"/>
                    <a:gd name="T54" fmla="*/ 789 w 843"/>
                    <a:gd name="T55" fmla="*/ 95 h 843"/>
                    <a:gd name="T56" fmla="*/ 750 w 843"/>
                    <a:gd name="T57" fmla="*/ 69 h 843"/>
                    <a:gd name="T58" fmla="*/ 708 w 843"/>
                    <a:gd name="T59" fmla="*/ 47 h 843"/>
                    <a:gd name="T60" fmla="*/ 664 w 843"/>
                    <a:gd name="T61" fmla="*/ 29 h 843"/>
                    <a:gd name="T62" fmla="*/ 619 w 843"/>
                    <a:gd name="T63" fmla="*/ 15 h 843"/>
                    <a:gd name="T64" fmla="*/ 570 w 843"/>
                    <a:gd name="T65" fmla="*/ 6 h 843"/>
                    <a:gd name="T66" fmla="*/ 521 w 843"/>
                    <a:gd name="T67" fmla="*/ 0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43" h="843">
                      <a:moveTo>
                        <a:pt x="495" y="0"/>
                      </a:moveTo>
                      <a:lnTo>
                        <a:pt x="495" y="0"/>
                      </a:lnTo>
                      <a:lnTo>
                        <a:pt x="470" y="0"/>
                      </a:lnTo>
                      <a:lnTo>
                        <a:pt x="445" y="2"/>
                      </a:lnTo>
                      <a:lnTo>
                        <a:pt x="421" y="6"/>
                      </a:lnTo>
                      <a:lnTo>
                        <a:pt x="396" y="10"/>
                      </a:lnTo>
                      <a:lnTo>
                        <a:pt x="372" y="15"/>
                      </a:lnTo>
                      <a:lnTo>
                        <a:pt x="348" y="22"/>
                      </a:lnTo>
                      <a:lnTo>
                        <a:pt x="325" y="30"/>
                      </a:lnTo>
                      <a:lnTo>
                        <a:pt x="303" y="39"/>
                      </a:lnTo>
                      <a:lnTo>
                        <a:pt x="281" y="48"/>
                      </a:lnTo>
                      <a:lnTo>
                        <a:pt x="259" y="60"/>
                      </a:lnTo>
                      <a:lnTo>
                        <a:pt x="239" y="71"/>
                      </a:lnTo>
                      <a:lnTo>
                        <a:pt x="219" y="84"/>
                      </a:lnTo>
                      <a:lnTo>
                        <a:pt x="200" y="98"/>
                      </a:lnTo>
                      <a:lnTo>
                        <a:pt x="180" y="113"/>
                      </a:lnTo>
                      <a:lnTo>
                        <a:pt x="163" y="129"/>
                      </a:lnTo>
                      <a:lnTo>
                        <a:pt x="145" y="145"/>
                      </a:lnTo>
                      <a:lnTo>
                        <a:pt x="129" y="162"/>
                      </a:lnTo>
                      <a:lnTo>
                        <a:pt x="113" y="181"/>
                      </a:lnTo>
                      <a:lnTo>
                        <a:pt x="98" y="199"/>
                      </a:lnTo>
                      <a:lnTo>
                        <a:pt x="84" y="219"/>
                      </a:lnTo>
                      <a:lnTo>
                        <a:pt x="72" y="238"/>
                      </a:lnTo>
                      <a:lnTo>
                        <a:pt x="60" y="259"/>
                      </a:lnTo>
                      <a:lnTo>
                        <a:pt x="49" y="281"/>
                      </a:lnTo>
                      <a:lnTo>
                        <a:pt x="40" y="303"/>
                      </a:lnTo>
                      <a:lnTo>
                        <a:pt x="30" y="325"/>
                      </a:lnTo>
                      <a:lnTo>
                        <a:pt x="22" y="348"/>
                      </a:lnTo>
                      <a:lnTo>
                        <a:pt x="15" y="372"/>
                      </a:lnTo>
                      <a:lnTo>
                        <a:pt x="10" y="396"/>
                      </a:lnTo>
                      <a:lnTo>
                        <a:pt x="6" y="420"/>
                      </a:lnTo>
                      <a:lnTo>
                        <a:pt x="3" y="444"/>
                      </a:lnTo>
                      <a:lnTo>
                        <a:pt x="0" y="470"/>
                      </a:lnTo>
                      <a:lnTo>
                        <a:pt x="0" y="495"/>
                      </a:lnTo>
                      <a:lnTo>
                        <a:pt x="0" y="495"/>
                      </a:lnTo>
                      <a:lnTo>
                        <a:pt x="0" y="520"/>
                      </a:lnTo>
                      <a:lnTo>
                        <a:pt x="3" y="546"/>
                      </a:lnTo>
                      <a:lnTo>
                        <a:pt x="6" y="570"/>
                      </a:lnTo>
                      <a:lnTo>
                        <a:pt x="10" y="594"/>
                      </a:lnTo>
                      <a:lnTo>
                        <a:pt x="15" y="618"/>
                      </a:lnTo>
                      <a:lnTo>
                        <a:pt x="22" y="641"/>
                      </a:lnTo>
                      <a:lnTo>
                        <a:pt x="29" y="664"/>
                      </a:lnTo>
                      <a:lnTo>
                        <a:pt x="38" y="686"/>
                      </a:lnTo>
                      <a:lnTo>
                        <a:pt x="48" y="708"/>
                      </a:lnTo>
                      <a:lnTo>
                        <a:pt x="58" y="729"/>
                      </a:lnTo>
                      <a:lnTo>
                        <a:pt x="69" y="749"/>
                      </a:lnTo>
                      <a:lnTo>
                        <a:pt x="82" y="769"/>
                      </a:lnTo>
                      <a:lnTo>
                        <a:pt x="96" y="789"/>
                      </a:lnTo>
                      <a:lnTo>
                        <a:pt x="110" y="807"/>
                      </a:lnTo>
                      <a:lnTo>
                        <a:pt x="126" y="825"/>
                      </a:lnTo>
                      <a:lnTo>
                        <a:pt x="141" y="843"/>
                      </a:lnTo>
                      <a:lnTo>
                        <a:pt x="843" y="140"/>
                      </a:lnTo>
                      <a:lnTo>
                        <a:pt x="843" y="140"/>
                      </a:lnTo>
                      <a:lnTo>
                        <a:pt x="826" y="125"/>
                      </a:lnTo>
                      <a:lnTo>
                        <a:pt x="807" y="109"/>
                      </a:lnTo>
                      <a:lnTo>
                        <a:pt x="789" y="95"/>
                      </a:lnTo>
                      <a:lnTo>
                        <a:pt x="769" y="82"/>
                      </a:lnTo>
                      <a:lnTo>
                        <a:pt x="750" y="69"/>
                      </a:lnTo>
                      <a:lnTo>
                        <a:pt x="729" y="57"/>
                      </a:lnTo>
                      <a:lnTo>
                        <a:pt x="708" y="47"/>
                      </a:lnTo>
                      <a:lnTo>
                        <a:pt x="687" y="38"/>
                      </a:lnTo>
                      <a:lnTo>
                        <a:pt x="664" y="29"/>
                      </a:lnTo>
                      <a:lnTo>
                        <a:pt x="642" y="22"/>
                      </a:lnTo>
                      <a:lnTo>
                        <a:pt x="619" y="15"/>
                      </a:lnTo>
                      <a:lnTo>
                        <a:pt x="594" y="9"/>
                      </a:lnTo>
                      <a:lnTo>
                        <a:pt x="570" y="6"/>
                      </a:lnTo>
                      <a:lnTo>
                        <a:pt x="546" y="2"/>
                      </a:lnTo>
                      <a:lnTo>
                        <a:pt x="521" y="0"/>
                      </a:lnTo>
                      <a:lnTo>
                        <a:pt x="49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2" name="Freeform 295"/>
                <p:cNvSpPr>
                  <a:spLocks/>
                </p:cNvSpPr>
                <p:nvPr/>
              </p:nvSpPr>
              <p:spPr bwMode="auto">
                <a:xfrm>
                  <a:off x="2890838" y="3560763"/>
                  <a:ext cx="193675" cy="192088"/>
                </a:xfrm>
                <a:custGeom>
                  <a:avLst/>
                  <a:gdLst>
                    <a:gd name="T0" fmla="*/ 0 w 851"/>
                    <a:gd name="T1" fmla="*/ 703 h 851"/>
                    <a:gd name="T2" fmla="*/ 17 w 851"/>
                    <a:gd name="T3" fmla="*/ 719 h 851"/>
                    <a:gd name="T4" fmla="*/ 55 w 851"/>
                    <a:gd name="T5" fmla="*/ 750 h 851"/>
                    <a:gd name="T6" fmla="*/ 94 w 851"/>
                    <a:gd name="T7" fmla="*/ 777 h 851"/>
                    <a:gd name="T8" fmla="*/ 137 w 851"/>
                    <a:gd name="T9" fmla="*/ 801 h 851"/>
                    <a:gd name="T10" fmla="*/ 182 w 851"/>
                    <a:gd name="T11" fmla="*/ 820 h 851"/>
                    <a:gd name="T12" fmla="*/ 229 w 851"/>
                    <a:gd name="T13" fmla="*/ 835 h 851"/>
                    <a:gd name="T14" fmla="*/ 278 w 851"/>
                    <a:gd name="T15" fmla="*/ 845 h 851"/>
                    <a:gd name="T16" fmla="*/ 329 w 851"/>
                    <a:gd name="T17" fmla="*/ 851 h 851"/>
                    <a:gd name="T18" fmla="*/ 354 w 851"/>
                    <a:gd name="T19" fmla="*/ 851 h 851"/>
                    <a:gd name="T20" fmla="*/ 405 w 851"/>
                    <a:gd name="T21" fmla="*/ 849 h 851"/>
                    <a:gd name="T22" fmla="*/ 455 w 851"/>
                    <a:gd name="T23" fmla="*/ 841 h 851"/>
                    <a:gd name="T24" fmla="*/ 503 w 851"/>
                    <a:gd name="T25" fmla="*/ 829 h 851"/>
                    <a:gd name="T26" fmla="*/ 548 w 851"/>
                    <a:gd name="T27" fmla="*/ 812 h 851"/>
                    <a:gd name="T28" fmla="*/ 592 w 851"/>
                    <a:gd name="T29" fmla="*/ 791 h 851"/>
                    <a:gd name="T30" fmla="*/ 632 w 851"/>
                    <a:gd name="T31" fmla="*/ 767 h 851"/>
                    <a:gd name="T32" fmla="*/ 670 w 851"/>
                    <a:gd name="T33" fmla="*/ 738 h 851"/>
                    <a:gd name="T34" fmla="*/ 706 w 851"/>
                    <a:gd name="T35" fmla="*/ 706 h 851"/>
                    <a:gd name="T36" fmla="*/ 738 w 851"/>
                    <a:gd name="T37" fmla="*/ 670 h 851"/>
                    <a:gd name="T38" fmla="*/ 767 w 851"/>
                    <a:gd name="T39" fmla="*/ 632 h 851"/>
                    <a:gd name="T40" fmla="*/ 791 w 851"/>
                    <a:gd name="T41" fmla="*/ 592 h 851"/>
                    <a:gd name="T42" fmla="*/ 812 w 851"/>
                    <a:gd name="T43" fmla="*/ 548 h 851"/>
                    <a:gd name="T44" fmla="*/ 829 w 851"/>
                    <a:gd name="T45" fmla="*/ 503 h 851"/>
                    <a:gd name="T46" fmla="*/ 840 w 851"/>
                    <a:gd name="T47" fmla="*/ 455 h 851"/>
                    <a:gd name="T48" fmla="*/ 848 w 851"/>
                    <a:gd name="T49" fmla="*/ 407 h 851"/>
                    <a:gd name="T50" fmla="*/ 851 w 851"/>
                    <a:gd name="T51" fmla="*/ 355 h 851"/>
                    <a:gd name="T52" fmla="*/ 851 w 851"/>
                    <a:gd name="T53" fmla="*/ 330 h 851"/>
                    <a:gd name="T54" fmla="*/ 845 w 851"/>
                    <a:gd name="T55" fmla="*/ 279 h 851"/>
                    <a:gd name="T56" fmla="*/ 835 w 851"/>
                    <a:gd name="T57" fmla="*/ 229 h 851"/>
                    <a:gd name="T58" fmla="*/ 820 w 851"/>
                    <a:gd name="T59" fmla="*/ 182 h 851"/>
                    <a:gd name="T60" fmla="*/ 800 w 851"/>
                    <a:gd name="T61" fmla="*/ 137 h 851"/>
                    <a:gd name="T62" fmla="*/ 777 w 851"/>
                    <a:gd name="T63" fmla="*/ 95 h 851"/>
                    <a:gd name="T64" fmla="*/ 749 w 851"/>
                    <a:gd name="T65" fmla="*/ 56 h 851"/>
                    <a:gd name="T66" fmla="*/ 718 w 851"/>
                    <a:gd name="T67" fmla="*/ 18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51" h="851">
                      <a:moveTo>
                        <a:pt x="702" y="0"/>
                      </a:moveTo>
                      <a:lnTo>
                        <a:pt x="0" y="703"/>
                      </a:lnTo>
                      <a:lnTo>
                        <a:pt x="0" y="703"/>
                      </a:lnTo>
                      <a:lnTo>
                        <a:pt x="17" y="719"/>
                      </a:lnTo>
                      <a:lnTo>
                        <a:pt x="36" y="735"/>
                      </a:lnTo>
                      <a:lnTo>
                        <a:pt x="55" y="750"/>
                      </a:lnTo>
                      <a:lnTo>
                        <a:pt x="75" y="765"/>
                      </a:lnTo>
                      <a:lnTo>
                        <a:pt x="94" y="777"/>
                      </a:lnTo>
                      <a:lnTo>
                        <a:pt x="115" y="790"/>
                      </a:lnTo>
                      <a:lnTo>
                        <a:pt x="137" y="801"/>
                      </a:lnTo>
                      <a:lnTo>
                        <a:pt x="159" y="811"/>
                      </a:lnTo>
                      <a:lnTo>
                        <a:pt x="182" y="820"/>
                      </a:lnTo>
                      <a:lnTo>
                        <a:pt x="206" y="828"/>
                      </a:lnTo>
                      <a:lnTo>
                        <a:pt x="229" y="835"/>
                      </a:lnTo>
                      <a:lnTo>
                        <a:pt x="253" y="841"/>
                      </a:lnTo>
                      <a:lnTo>
                        <a:pt x="278" y="845"/>
                      </a:lnTo>
                      <a:lnTo>
                        <a:pt x="304" y="849"/>
                      </a:lnTo>
                      <a:lnTo>
                        <a:pt x="329" y="851"/>
                      </a:lnTo>
                      <a:lnTo>
                        <a:pt x="354" y="851"/>
                      </a:lnTo>
                      <a:lnTo>
                        <a:pt x="354" y="851"/>
                      </a:lnTo>
                      <a:lnTo>
                        <a:pt x="381" y="851"/>
                      </a:lnTo>
                      <a:lnTo>
                        <a:pt x="405" y="849"/>
                      </a:lnTo>
                      <a:lnTo>
                        <a:pt x="430" y="845"/>
                      </a:lnTo>
                      <a:lnTo>
                        <a:pt x="455" y="841"/>
                      </a:lnTo>
                      <a:lnTo>
                        <a:pt x="479" y="836"/>
                      </a:lnTo>
                      <a:lnTo>
                        <a:pt x="503" y="829"/>
                      </a:lnTo>
                      <a:lnTo>
                        <a:pt x="526" y="821"/>
                      </a:lnTo>
                      <a:lnTo>
                        <a:pt x="548" y="812"/>
                      </a:lnTo>
                      <a:lnTo>
                        <a:pt x="570" y="803"/>
                      </a:lnTo>
                      <a:lnTo>
                        <a:pt x="592" y="791"/>
                      </a:lnTo>
                      <a:lnTo>
                        <a:pt x="612" y="780"/>
                      </a:lnTo>
                      <a:lnTo>
                        <a:pt x="632" y="767"/>
                      </a:lnTo>
                      <a:lnTo>
                        <a:pt x="651" y="753"/>
                      </a:lnTo>
                      <a:lnTo>
                        <a:pt x="670" y="738"/>
                      </a:lnTo>
                      <a:lnTo>
                        <a:pt x="688" y="722"/>
                      </a:lnTo>
                      <a:lnTo>
                        <a:pt x="706" y="706"/>
                      </a:lnTo>
                      <a:lnTo>
                        <a:pt x="722" y="689"/>
                      </a:lnTo>
                      <a:lnTo>
                        <a:pt x="738" y="670"/>
                      </a:lnTo>
                      <a:lnTo>
                        <a:pt x="753" y="652"/>
                      </a:lnTo>
                      <a:lnTo>
                        <a:pt x="767" y="632"/>
                      </a:lnTo>
                      <a:lnTo>
                        <a:pt x="779" y="613"/>
                      </a:lnTo>
                      <a:lnTo>
                        <a:pt x="791" y="592"/>
                      </a:lnTo>
                      <a:lnTo>
                        <a:pt x="802" y="570"/>
                      </a:lnTo>
                      <a:lnTo>
                        <a:pt x="812" y="548"/>
                      </a:lnTo>
                      <a:lnTo>
                        <a:pt x="821" y="527"/>
                      </a:lnTo>
                      <a:lnTo>
                        <a:pt x="829" y="503"/>
                      </a:lnTo>
                      <a:lnTo>
                        <a:pt x="836" y="479"/>
                      </a:lnTo>
                      <a:lnTo>
                        <a:pt x="840" y="455"/>
                      </a:lnTo>
                      <a:lnTo>
                        <a:pt x="845" y="431"/>
                      </a:lnTo>
                      <a:lnTo>
                        <a:pt x="848" y="407"/>
                      </a:lnTo>
                      <a:lnTo>
                        <a:pt x="851" y="381"/>
                      </a:lnTo>
                      <a:lnTo>
                        <a:pt x="851" y="355"/>
                      </a:lnTo>
                      <a:lnTo>
                        <a:pt x="851" y="355"/>
                      </a:lnTo>
                      <a:lnTo>
                        <a:pt x="851" y="330"/>
                      </a:lnTo>
                      <a:lnTo>
                        <a:pt x="848" y="304"/>
                      </a:lnTo>
                      <a:lnTo>
                        <a:pt x="845" y="279"/>
                      </a:lnTo>
                      <a:lnTo>
                        <a:pt x="840" y="254"/>
                      </a:lnTo>
                      <a:lnTo>
                        <a:pt x="835" y="229"/>
                      </a:lnTo>
                      <a:lnTo>
                        <a:pt x="828" y="206"/>
                      </a:lnTo>
                      <a:lnTo>
                        <a:pt x="820" y="182"/>
                      </a:lnTo>
                      <a:lnTo>
                        <a:pt x="810" y="160"/>
                      </a:lnTo>
                      <a:lnTo>
                        <a:pt x="800" y="137"/>
                      </a:lnTo>
                      <a:lnTo>
                        <a:pt x="790" y="115"/>
                      </a:lnTo>
                      <a:lnTo>
                        <a:pt x="777" y="95"/>
                      </a:lnTo>
                      <a:lnTo>
                        <a:pt x="764" y="75"/>
                      </a:lnTo>
                      <a:lnTo>
                        <a:pt x="749" y="56"/>
                      </a:lnTo>
                      <a:lnTo>
                        <a:pt x="734" y="36"/>
                      </a:lnTo>
                      <a:lnTo>
                        <a:pt x="718" y="18"/>
                      </a:lnTo>
                      <a:lnTo>
                        <a:pt x="702" y="0"/>
                      </a:lnTo>
                      <a:close/>
                    </a:path>
                  </a:pathLst>
                </a:custGeom>
                <a:solidFill>
                  <a:srgbClr val="443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3" name="Freeform 296"/>
                <p:cNvSpPr>
                  <a:spLocks/>
                </p:cNvSpPr>
                <p:nvPr/>
              </p:nvSpPr>
              <p:spPr bwMode="auto">
                <a:xfrm>
                  <a:off x="2890838" y="3560763"/>
                  <a:ext cx="193675" cy="192088"/>
                </a:xfrm>
                <a:custGeom>
                  <a:avLst/>
                  <a:gdLst>
                    <a:gd name="T0" fmla="*/ 0 w 851"/>
                    <a:gd name="T1" fmla="*/ 703 h 851"/>
                    <a:gd name="T2" fmla="*/ 17 w 851"/>
                    <a:gd name="T3" fmla="*/ 719 h 851"/>
                    <a:gd name="T4" fmla="*/ 55 w 851"/>
                    <a:gd name="T5" fmla="*/ 750 h 851"/>
                    <a:gd name="T6" fmla="*/ 94 w 851"/>
                    <a:gd name="T7" fmla="*/ 777 h 851"/>
                    <a:gd name="T8" fmla="*/ 137 w 851"/>
                    <a:gd name="T9" fmla="*/ 801 h 851"/>
                    <a:gd name="T10" fmla="*/ 182 w 851"/>
                    <a:gd name="T11" fmla="*/ 820 h 851"/>
                    <a:gd name="T12" fmla="*/ 229 w 851"/>
                    <a:gd name="T13" fmla="*/ 835 h 851"/>
                    <a:gd name="T14" fmla="*/ 278 w 851"/>
                    <a:gd name="T15" fmla="*/ 845 h 851"/>
                    <a:gd name="T16" fmla="*/ 329 w 851"/>
                    <a:gd name="T17" fmla="*/ 851 h 851"/>
                    <a:gd name="T18" fmla="*/ 354 w 851"/>
                    <a:gd name="T19" fmla="*/ 851 h 851"/>
                    <a:gd name="T20" fmla="*/ 405 w 851"/>
                    <a:gd name="T21" fmla="*/ 849 h 851"/>
                    <a:gd name="T22" fmla="*/ 455 w 851"/>
                    <a:gd name="T23" fmla="*/ 841 h 851"/>
                    <a:gd name="T24" fmla="*/ 503 w 851"/>
                    <a:gd name="T25" fmla="*/ 829 h 851"/>
                    <a:gd name="T26" fmla="*/ 548 w 851"/>
                    <a:gd name="T27" fmla="*/ 812 h 851"/>
                    <a:gd name="T28" fmla="*/ 592 w 851"/>
                    <a:gd name="T29" fmla="*/ 791 h 851"/>
                    <a:gd name="T30" fmla="*/ 632 w 851"/>
                    <a:gd name="T31" fmla="*/ 767 h 851"/>
                    <a:gd name="T32" fmla="*/ 670 w 851"/>
                    <a:gd name="T33" fmla="*/ 738 h 851"/>
                    <a:gd name="T34" fmla="*/ 706 w 851"/>
                    <a:gd name="T35" fmla="*/ 706 h 851"/>
                    <a:gd name="T36" fmla="*/ 738 w 851"/>
                    <a:gd name="T37" fmla="*/ 670 h 851"/>
                    <a:gd name="T38" fmla="*/ 767 w 851"/>
                    <a:gd name="T39" fmla="*/ 632 h 851"/>
                    <a:gd name="T40" fmla="*/ 791 w 851"/>
                    <a:gd name="T41" fmla="*/ 592 h 851"/>
                    <a:gd name="T42" fmla="*/ 812 w 851"/>
                    <a:gd name="T43" fmla="*/ 548 h 851"/>
                    <a:gd name="T44" fmla="*/ 829 w 851"/>
                    <a:gd name="T45" fmla="*/ 503 h 851"/>
                    <a:gd name="T46" fmla="*/ 840 w 851"/>
                    <a:gd name="T47" fmla="*/ 455 h 851"/>
                    <a:gd name="T48" fmla="*/ 848 w 851"/>
                    <a:gd name="T49" fmla="*/ 407 h 851"/>
                    <a:gd name="T50" fmla="*/ 851 w 851"/>
                    <a:gd name="T51" fmla="*/ 355 h 851"/>
                    <a:gd name="T52" fmla="*/ 851 w 851"/>
                    <a:gd name="T53" fmla="*/ 330 h 851"/>
                    <a:gd name="T54" fmla="*/ 845 w 851"/>
                    <a:gd name="T55" fmla="*/ 279 h 851"/>
                    <a:gd name="T56" fmla="*/ 835 w 851"/>
                    <a:gd name="T57" fmla="*/ 229 h 851"/>
                    <a:gd name="T58" fmla="*/ 820 w 851"/>
                    <a:gd name="T59" fmla="*/ 182 h 851"/>
                    <a:gd name="T60" fmla="*/ 800 w 851"/>
                    <a:gd name="T61" fmla="*/ 137 h 851"/>
                    <a:gd name="T62" fmla="*/ 777 w 851"/>
                    <a:gd name="T63" fmla="*/ 95 h 851"/>
                    <a:gd name="T64" fmla="*/ 749 w 851"/>
                    <a:gd name="T65" fmla="*/ 56 h 851"/>
                    <a:gd name="T66" fmla="*/ 718 w 851"/>
                    <a:gd name="T67" fmla="*/ 18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51" h="851">
                      <a:moveTo>
                        <a:pt x="702" y="0"/>
                      </a:moveTo>
                      <a:lnTo>
                        <a:pt x="0" y="703"/>
                      </a:lnTo>
                      <a:lnTo>
                        <a:pt x="0" y="703"/>
                      </a:lnTo>
                      <a:lnTo>
                        <a:pt x="17" y="719"/>
                      </a:lnTo>
                      <a:lnTo>
                        <a:pt x="36" y="735"/>
                      </a:lnTo>
                      <a:lnTo>
                        <a:pt x="55" y="750"/>
                      </a:lnTo>
                      <a:lnTo>
                        <a:pt x="75" y="765"/>
                      </a:lnTo>
                      <a:lnTo>
                        <a:pt x="94" y="777"/>
                      </a:lnTo>
                      <a:lnTo>
                        <a:pt x="115" y="790"/>
                      </a:lnTo>
                      <a:lnTo>
                        <a:pt x="137" y="801"/>
                      </a:lnTo>
                      <a:lnTo>
                        <a:pt x="159" y="811"/>
                      </a:lnTo>
                      <a:lnTo>
                        <a:pt x="182" y="820"/>
                      </a:lnTo>
                      <a:lnTo>
                        <a:pt x="206" y="828"/>
                      </a:lnTo>
                      <a:lnTo>
                        <a:pt x="229" y="835"/>
                      </a:lnTo>
                      <a:lnTo>
                        <a:pt x="253" y="841"/>
                      </a:lnTo>
                      <a:lnTo>
                        <a:pt x="278" y="845"/>
                      </a:lnTo>
                      <a:lnTo>
                        <a:pt x="304" y="849"/>
                      </a:lnTo>
                      <a:lnTo>
                        <a:pt x="329" y="851"/>
                      </a:lnTo>
                      <a:lnTo>
                        <a:pt x="354" y="851"/>
                      </a:lnTo>
                      <a:lnTo>
                        <a:pt x="354" y="851"/>
                      </a:lnTo>
                      <a:lnTo>
                        <a:pt x="381" y="851"/>
                      </a:lnTo>
                      <a:lnTo>
                        <a:pt x="405" y="849"/>
                      </a:lnTo>
                      <a:lnTo>
                        <a:pt x="430" y="845"/>
                      </a:lnTo>
                      <a:lnTo>
                        <a:pt x="455" y="841"/>
                      </a:lnTo>
                      <a:lnTo>
                        <a:pt x="479" y="836"/>
                      </a:lnTo>
                      <a:lnTo>
                        <a:pt x="503" y="829"/>
                      </a:lnTo>
                      <a:lnTo>
                        <a:pt x="526" y="821"/>
                      </a:lnTo>
                      <a:lnTo>
                        <a:pt x="548" y="812"/>
                      </a:lnTo>
                      <a:lnTo>
                        <a:pt x="570" y="803"/>
                      </a:lnTo>
                      <a:lnTo>
                        <a:pt x="592" y="791"/>
                      </a:lnTo>
                      <a:lnTo>
                        <a:pt x="612" y="780"/>
                      </a:lnTo>
                      <a:lnTo>
                        <a:pt x="632" y="767"/>
                      </a:lnTo>
                      <a:lnTo>
                        <a:pt x="651" y="753"/>
                      </a:lnTo>
                      <a:lnTo>
                        <a:pt x="670" y="738"/>
                      </a:lnTo>
                      <a:lnTo>
                        <a:pt x="688" y="722"/>
                      </a:lnTo>
                      <a:lnTo>
                        <a:pt x="706" y="706"/>
                      </a:lnTo>
                      <a:lnTo>
                        <a:pt x="722" y="689"/>
                      </a:lnTo>
                      <a:lnTo>
                        <a:pt x="738" y="670"/>
                      </a:lnTo>
                      <a:lnTo>
                        <a:pt x="753" y="652"/>
                      </a:lnTo>
                      <a:lnTo>
                        <a:pt x="767" y="632"/>
                      </a:lnTo>
                      <a:lnTo>
                        <a:pt x="779" y="613"/>
                      </a:lnTo>
                      <a:lnTo>
                        <a:pt x="791" y="592"/>
                      </a:lnTo>
                      <a:lnTo>
                        <a:pt x="802" y="570"/>
                      </a:lnTo>
                      <a:lnTo>
                        <a:pt x="812" y="548"/>
                      </a:lnTo>
                      <a:lnTo>
                        <a:pt x="821" y="527"/>
                      </a:lnTo>
                      <a:lnTo>
                        <a:pt x="829" y="503"/>
                      </a:lnTo>
                      <a:lnTo>
                        <a:pt x="836" y="479"/>
                      </a:lnTo>
                      <a:lnTo>
                        <a:pt x="840" y="455"/>
                      </a:lnTo>
                      <a:lnTo>
                        <a:pt x="845" y="431"/>
                      </a:lnTo>
                      <a:lnTo>
                        <a:pt x="848" y="407"/>
                      </a:lnTo>
                      <a:lnTo>
                        <a:pt x="851" y="381"/>
                      </a:lnTo>
                      <a:lnTo>
                        <a:pt x="851" y="355"/>
                      </a:lnTo>
                      <a:lnTo>
                        <a:pt x="851" y="355"/>
                      </a:lnTo>
                      <a:lnTo>
                        <a:pt x="851" y="330"/>
                      </a:lnTo>
                      <a:lnTo>
                        <a:pt x="848" y="304"/>
                      </a:lnTo>
                      <a:lnTo>
                        <a:pt x="845" y="279"/>
                      </a:lnTo>
                      <a:lnTo>
                        <a:pt x="840" y="254"/>
                      </a:lnTo>
                      <a:lnTo>
                        <a:pt x="835" y="229"/>
                      </a:lnTo>
                      <a:lnTo>
                        <a:pt x="828" y="206"/>
                      </a:lnTo>
                      <a:lnTo>
                        <a:pt x="820" y="182"/>
                      </a:lnTo>
                      <a:lnTo>
                        <a:pt x="810" y="160"/>
                      </a:lnTo>
                      <a:lnTo>
                        <a:pt x="800" y="137"/>
                      </a:lnTo>
                      <a:lnTo>
                        <a:pt x="790" y="115"/>
                      </a:lnTo>
                      <a:lnTo>
                        <a:pt x="777" y="95"/>
                      </a:lnTo>
                      <a:lnTo>
                        <a:pt x="764" y="75"/>
                      </a:lnTo>
                      <a:lnTo>
                        <a:pt x="749" y="56"/>
                      </a:lnTo>
                      <a:lnTo>
                        <a:pt x="734" y="36"/>
                      </a:lnTo>
                      <a:lnTo>
                        <a:pt x="718" y="18"/>
                      </a:lnTo>
                      <a:lnTo>
                        <a:pt x="70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354" name="그룹 353"/>
              <p:cNvGrpSpPr/>
              <p:nvPr userDrawn="1"/>
            </p:nvGrpSpPr>
            <p:grpSpPr>
              <a:xfrm rot="21126920">
                <a:off x="1135175" y="992232"/>
                <a:ext cx="795014" cy="395358"/>
                <a:chOff x="4405313" y="1474788"/>
                <a:chExt cx="2055813" cy="1022350"/>
              </a:xfrm>
            </p:grpSpPr>
            <p:sp>
              <p:nvSpPr>
                <p:cNvPr id="355" name="Freeform 297"/>
                <p:cNvSpPr>
                  <a:spLocks/>
                </p:cNvSpPr>
                <p:nvPr/>
              </p:nvSpPr>
              <p:spPr bwMode="auto">
                <a:xfrm>
                  <a:off x="4922838" y="1474788"/>
                  <a:ext cx="1020763" cy="1022350"/>
                </a:xfrm>
                <a:custGeom>
                  <a:avLst/>
                  <a:gdLst>
                    <a:gd name="T0" fmla="*/ 4394 w 4501"/>
                    <a:gd name="T1" fmla="*/ 1573 h 4502"/>
                    <a:gd name="T2" fmla="*/ 4262 w 4501"/>
                    <a:gd name="T3" fmla="*/ 1246 h 4502"/>
                    <a:gd name="T4" fmla="*/ 4082 w 4501"/>
                    <a:gd name="T5" fmla="*/ 947 h 4502"/>
                    <a:gd name="T6" fmla="*/ 3907 w 4501"/>
                    <a:gd name="T7" fmla="*/ 730 h 4502"/>
                    <a:gd name="T8" fmla="*/ 3835 w 4501"/>
                    <a:gd name="T9" fmla="*/ 656 h 4502"/>
                    <a:gd name="T10" fmla="*/ 3788 w 4501"/>
                    <a:gd name="T11" fmla="*/ 609 h 4502"/>
                    <a:gd name="T12" fmla="*/ 3564 w 4501"/>
                    <a:gd name="T13" fmla="*/ 425 h 4502"/>
                    <a:gd name="T14" fmla="*/ 3397 w 4501"/>
                    <a:gd name="T15" fmla="*/ 317 h 4502"/>
                    <a:gd name="T16" fmla="*/ 3266 w 4501"/>
                    <a:gd name="T17" fmla="*/ 244 h 4502"/>
                    <a:gd name="T18" fmla="*/ 3104 w 4501"/>
                    <a:gd name="T19" fmla="*/ 169 h 4502"/>
                    <a:gd name="T20" fmla="*/ 2824 w 4501"/>
                    <a:gd name="T21" fmla="*/ 76 h 4502"/>
                    <a:gd name="T22" fmla="*/ 2683 w 4501"/>
                    <a:gd name="T23" fmla="*/ 44 h 4502"/>
                    <a:gd name="T24" fmla="*/ 2500 w 4501"/>
                    <a:gd name="T25" fmla="*/ 15 h 4502"/>
                    <a:gd name="T26" fmla="*/ 2251 w 4501"/>
                    <a:gd name="T27" fmla="*/ 0 h 4502"/>
                    <a:gd name="T28" fmla="*/ 2020 w 4501"/>
                    <a:gd name="T29" fmla="*/ 12 h 4502"/>
                    <a:gd name="T30" fmla="*/ 1742 w 4501"/>
                    <a:gd name="T31" fmla="*/ 58 h 4502"/>
                    <a:gd name="T32" fmla="*/ 1477 w 4501"/>
                    <a:gd name="T33" fmla="*/ 136 h 4502"/>
                    <a:gd name="T34" fmla="*/ 1226 w 4501"/>
                    <a:gd name="T35" fmla="*/ 247 h 4502"/>
                    <a:gd name="T36" fmla="*/ 992 w 4501"/>
                    <a:gd name="T37" fmla="*/ 385 h 4502"/>
                    <a:gd name="T38" fmla="*/ 778 w 4501"/>
                    <a:gd name="T39" fmla="*/ 548 h 4502"/>
                    <a:gd name="T40" fmla="*/ 585 w 4501"/>
                    <a:gd name="T41" fmla="*/ 737 h 4502"/>
                    <a:gd name="T42" fmla="*/ 415 w 4501"/>
                    <a:gd name="T43" fmla="*/ 948 h 4502"/>
                    <a:gd name="T44" fmla="*/ 272 w 4501"/>
                    <a:gd name="T45" fmla="*/ 1178 h 4502"/>
                    <a:gd name="T46" fmla="*/ 156 w 4501"/>
                    <a:gd name="T47" fmla="*/ 1425 h 4502"/>
                    <a:gd name="T48" fmla="*/ 70 w 4501"/>
                    <a:gd name="T49" fmla="*/ 1688 h 4502"/>
                    <a:gd name="T50" fmla="*/ 18 w 4501"/>
                    <a:gd name="T51" fmla="*/ 1964 h 4502"/>
                    <a:gd name="T52" fmla="*/ 0 w 4501"/>
                    <a:gd name="T53" fmla="*/ 2251 h 4502"/>
                    <a:gd name="T54" fmla="*/ 11 w 4501"/>
                    <a:gd name="T55" fmla="*/ 2480 h 4502"/>
                    <a:gd name="T56" fmla="*/ 57 w 4501"/>
                    <a:gd name="T57" fmla="*/ 2756 h 4502"/>
                    <a:gd name="T58" fmla="*/ 136 w 4501"/>
                    <a:gd name="T59" fmla="*/ 3021 h 4502"/>
                    <a:gd name="T60" fmla="*/ 244 w 4501"/>
                    <a:gd name="T61" fmla="*/ 3271 h 4502"/>
                    <a:gd name="T62" fmla="*/ 381 w 4501"/>
                    <a:gd name="T63" fmla="*/ 3505 h 4502"/>
                    <a:gd name="T64" fmla="*/ 544 w 4501"/>
                    <a:gd name="T65" fmla="*/ 3719 h 4502"/>
                    <a:gd name="T66" fmla="*/ 693 w 4501"/>
                    <a:gd name="T67" fmla="*/ 3874 h 4502"/>
                    <a:gd name="T68" fmla="*/ 899 w 4501"/>
                    <a:gd name="T69" fmla="*/ 4051 h 4502"/>
                    <a:gd name="T70" fmla="*/ 1126 w 4501"/>
                    <a:gd name="T71" fmla="*/ 4201 h 4502"/>
                    <a:gd name="T72" fmla="*/ 1371 w 4501"/>
                    <a:gd name="T73" fmla="*/ 4323 h 4502"/>
                    <a:gd name="T74" fmla="*/ 1632 w 4501"/>
                    <a:gd name="T75" fmla="*/ 4415 h 4502"/>
                    <a:gd name="T76" fmla="*/ 1906 w 4501"/>
                    <a:gd name="T77" fmla="*/ 4475 h 4502"/>
                    <a:gd name="T78" fmla="*/ 2192 w 4501"/>
                    <a:gd name="T79" fmla="*/ 4501 h 4502"/>
                    <a:gd name="T80" fmla="*/ 2423 w 4501"/>
                    <a:gd name="T81" fmla="*/ 4495 h 4502"/>
                    <a:gd name="T82" fmla="*/ 2704 w 4501"/>
                    <a:gd name="T83" fmla="*/ 4456 h 4502"/>
                    <a:gd name="T84" fmla="*/ 2972 w 4501"/>
                    <a:gd name="T85" fmla="*/ 4383 h 4502"/>
                    <a:gd name="T86" fmla="*/ 3227 w 4501"/>
                    <a:gd name="T87" fmla="*/ 4280 h 4502"/>
                    <a:gd name="T88" fmla="*/ 3464 w 4501"/>
                    <a:gd name="T89" fmla="*/ 4147 h 4502"/>
                    <a:gd name="T90" fmla="*/ 3683 w 4501"/>
                    <a:gd name="T91" fmla="*/ 3987 h 4502"/>
                    <a:gd name="T92" fmla="*/ 3880 w 4501"/>
                    <a:gd name="T93" fmla="*/ 3804 h 4502"/>
                    <a:gd name="T94" fmla="*/ 4055 w 4501"/>
                    <a:gd name="T95" fmla="*/ 3597 h 4502"/>
                    <a:gd name="T96" fmla="*/ 4203 w 4501"/>
                    <a:gd name="T97" fmla="*/ 3371 h 4502"/>
                    <a:gd name="T98" fmla="*/ 4324 w 4501"/>
                    <a:gd name="T99" fmla="*/ 3127 h 4502"/>
                    <a:gd name="T100" fmla="*/ 4416 w 4501"/>
                    <a:gd name="T101" fmla="*/ 2867 h 4502"/>
                    <a:gd name="T102" fmla="*/ 4476 w 4501"/>
                    <a:gd name="T103" fmla="*/ 2593 h 4502"/>
                    <a:gd name="T104" fmla="*/ 4500 w 4501"/>
                    <a:gd name="T105" fmla="*/ 2309 h 4502"/>
                    <a:gd name="T106" fmla="*/ 4491 w 4501"/>
                    <a:gd name="T107" fmla="*/ 2044 h 4502"/>
                    <a:gd name="T108" fmla="*/ 4433 w 4501"/>
                    <a:gd name="T109" fmla="*/ 1711 h 4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01" h="4502">
                      <a:moveTo>
                        <a:pt x="4433" y="1711"/>
                      </a:moveTo>
                      <a:lnTo>
                        <a:pt x="4433" y="1710"/>
                      </a:lnTo>
                      <a:lnTo>
                        <a:pt x="4433" y="1710"/>
                      </a:lnTo>
                      <a:lnTo>
                        <a:pt x="4415" y="1641"/>
                      </a:lnTo>
                      <a:lnTo>
                        <a:pt x="4394" y="1573"/>
                      </a:lnTo>
                      <a:lnTo>
                        <a:pt x="4372" y="1505"/>
                      </a:lnTo>
                      <a:lnTo>
                        <a:pt x="4347" y="1439"/>
                      </a:lnTo>
                      <a:lnTo>
                        <a:pt x="4321" y="1374"/>
                      </a:lnTo>
                      <a:lnTo>
                        <a:pt x="4293" y="1309"/>
                      </a:lnTo>
                      <a:lnTo>
                        <a:pt x="4262" y="1246"/>
                      </a:lnTo>
                      <a:lnTo>
                        <a:pt x="4230" y="1184"/>
                      </a:lnTo>
                      <a:lnTo>
                        <a:pt x="4195" y="1123"/>
                      </a:lnTo>
                      <a:lnTo>
                        <a:pt x="4159" y="1063"/>
                      </a:lnTo>
                      <a:lnTo>
                        <a:pt x="4121" y="1004"/>
                      </a:lnTo>
                      <a:lnTo>
                        <a:pt x="4082" y="947"/>
                      </a:lnTo>
                      <a:lnTo>
                        <a:pt x="4041" y="890"/>
                      </a:lnTo>
                      <a:lnTo>
                        <a:pt x="3998" y="836"/>
                      </a:lnTo>
                      <a:lnTo>
                        <a:pt x="3953" y="782"/>
                      </a:lnTo>
                      <a:lnTo>
                        <a:pt x="3907" y="730"/>
                      </a:lnTo>
                      <a:lnTo>
                        <a:pt x="3907" y="730"/>
                      </a:lnTo>
                      <a:lnTo>
                        <a:pt x="3898" y="721"/>
                      </a:lnTo>
                      <a:lnTo>
                        <a:pt x="3898" y="721"/>
                      </a:lnTo>
                      <a:lnTo>
                        <a:pt x="3867" y="689"/>
                      </a:lnTo>
                      <a:lnTo>
                        <a:pt x="3835" y="656"/>
                      </a:lnTo>
                      <a:lnTo>
                        <a:pt x="3835" y="656"/>
                      </a:lnTo>
                      <a:lnTo>
                        <a:pt x="3813" y="635"/>
                      </a:lnTo>
                      <a:lnTo>
                        <a:pt x="3790" y="612"/>
                      </a:lnTo>
                      <a:lnTo>
                        <a:pt x="3790" y="612"/>
                      </a:lnTo>
                      <a:lnTo>
                        <a:pt x="3788" y="609"/>
                      </a:lnTo>
                      <a:lnTo>
                        <a:pt x="3788" y="609"/>
                      </a:lnTo>
                      <a:lnTo>
                        <a:pt x="3744" y="570"/>
                      </a:lnTo>
                      <a:lnTo>
                        <a:pt x="3701" y="532"/>
                      </a:lnTo>
                      <a:lnTo>
                        <a:pt x="3656" y="495"/>
                      </a:lnTo>
                      <a:lnTo>
                        <a:pt x="3610" y="460"/>
                      </a:lnTo>
                      <a:lnTo>
                        <a:pt x="3564" y="425"/>
                      </a:lnTo>
                      <a:lnTo>
                        <a:pt x="3516" y="393"/>
                      </a:lnTo>
                      <a:lnTo>
                        <a:pt x="3467" y="361"/>
                      </a:lnTo>
                      <a:lnTo>
                        <a:pt x="3419" y="329"/>
                      </a:lnTo>
                      <a:lnTo>
                        <a:pt x="3419" y="329"/>
                      </a:lnTo>
                      <a:lnTo>
                        <a:pt x="3397" y="317"/>
                      </a:lnTo>
                      <a:lnTo>
                        <a:pt x="3397" y="317"/>
                      </a:lnTo>
                      <a:lnTo>
                        <a:pt x="3333" y="279"/>
                      </a:lnTo>
                      <a:lnTo>
                        <a:pt x="3299" y="262"/>
                      </a:lnTo>
                      <a:lnTo>
                        <a:pt x="3266" y="244"/>
                      </a:lnTo>
                      <a:lnTo>
                        <a:pt x="3266" y="244"/>
                      </a:lnTo>
                      <a:lnTo>
                        <a:pt x="3263" y="242"/>
                      </a:lnTo>
                      <a:lnTo>
                        <a:pt x="3263" y="242"/>
                      </a:lnTo>
                      <a:lnTo>
                        <a:pt x="3211" y="217"/>
                      </a:lnTo>
                      <a:lnTo>
                        <a:pt x="3158" y="192"/>
                      </a:lnTo>
                      <a:lnTo>
                        <a:pt x="3104" y="169"/>
                      </a:lnTo>
                      <a:lnTo>
                        <a:pt x="3050" y="149"/>
                      </a:lnTo>
                      <a:lnTo>
                        <a:pt x="2994" y="128"/>
                      </a:lnTo>
                      <a:lnTo>
                        <a:pt x="2938" y="110"/>
                      </a:lnTo>
                      <a:lnTo>
                        <a:pt x="2882" y="92"/>
                      </a:lnTo>
                      <a:lnTo>
                        <a:pt x="2824" y="76"/>
                      </a:lnTo>
                      <a:lnTo>
                        <a:pt x="2824" y="76"/>
                      </a:lnTo>
                      <a:lnTo>
                        <a:pt x="2794" y="68"/>
                      </a:lnTo>
                      <a:lnTo>
                        <a:pt x="2794" y="68"/>
                      </a:lnTo>
                      <a:lnTo>
                        <a:pt x="2720" y="52"/>
                      </a:lnTo>
                      <a:lnTo>
                        <a:pt x="2683" y="44"/>
                      </a:lnTo>
                      <a:lnTo>
                        <a:pt x="2647" y="37"/>
                      </a:lnTo>
                      <a:lnTo>
                        <a:pt x="2647" y="37"/>
                      </a:lnTo>
                      <a:lnTo>
                        <a:pt x="2598" y="29"/>
                      </a:lnTo>
                      <a:lnTo>
                        <a:pt x="2549" y="21"/>
                      </a:lnTo>
                      <a:lnTo>
                        <a:pt x="2500" y="15"/>
                      </a:lnTo>
                      <a:lnTo>
                        <a:pt x="2451" y="9"/>
                      </a:lnTo>
                      <a:lnTo>
                        <a:pt x="2401" y="6"/>
                      </a:lnTo>
                      <a:lnTo>
                        <a:pt x="2352" y="2"/>
                      </a:lnTo>
                      <a:lnTo>
                        <a:pt x="2301" y="0"/>
                      </a:lnTo>
                      <a:lnTo>
                        <a:pt x="2251" y="0"/>
                      </a:lnTo>
                      <a:lnTo>
                        <a:pt x="2251" y="0"/>
                      </a:lnTo>
                      <a:lnTo>
                        <a:pt x="2193" y="0"/>
                      </a:lnTo>
                      <a:lnTo>
                        <a:pt x="2134" y="2"/>
                      </a:lnTo>
                      <a:lnTo>
                        <a:pt x="2078" y="6"/>
                      </a:lnTo>
                      <a:lnTo>
                        <a:pt x="2020" y="12"/>
                      </a:lnTo>
                      <a:lnTo>
                        <a:pt x="1964" y="17"/>
                      </a:lnTo>
                      <a:lnTo>
                        <a:pt x="1908" y="25"/>
                      </a:lnTo>
                      <a:lnTo>
                        <a:pt x="1852" y="35"/>
                      </a:lnTo>
                      <a:lnTo>
                        <a:pt x="1797" y="45"/>
                      </a:lnTo>
                      <a:lnTo>
                        <a:pt x="1742" y="58"/>
                      </a:lnTo>
                      <a:lnTo>
                        <a:pt x="1688" y="70"/>
                      </a:lnTo>
                      <a:lnTo>
                        <a:pt x="1635" y="85"/>
                      </a:lnTo>
                      <a:lnTo>
                        <a:pt x="1582" y="101"/>
                      </a:lnTo>
                      <a:lnTo>
                        <a:pt x="1529" y="118"/>
                      </a:lnTo>
                      <a:lnTo>
                        <a:pt x="1477" y="136"/>
                      </a:lnTo>
                      <a:lnTo>
                        <a:pt x="1425" y="156"/>
                      </a:lnTo>
                      <a:lnTo>
                        <a:pt x="1374" y="176"/>
                      </a:lnTo>
                      <a:lnTo>
                        <a:pt x="1324" y="198"/>
                      </a:lnTo>
                      <a:lnTo>
                        <a:pt x="1274" y="221"/>
                      </a:lnTo>
                      <a:lnTo>
                        <a:pt x="1226" y="247"/>
                      </a:lnTo>
                      <a:lnTo>
                        <a:pt x="1178" y="272"/>
                      </a:lnTo>
                      <a:lnTo>
                        <a:pt x="1130" y="298"/>
                      </a:lnTo>
                      <a:lnTo>
                        <a:pt x="1083" y="326"/>
                      </a:lnTo>
                      <a:lnTo>
                        <a:pt x="1037" y="355"/>
                      </a:lnTo>
                      <a:lnTo>
                        <a:pt x="992" y="385"/>
                      </a:lnTo>
                      <a:lnTo>
                        <a:pt x="947" y="415"/>
                      </a:lnTo>
                      <a:lnTo>
                        <a:pt x="904" y="447"/>
                      </a:lnTo>
                      <a:lnTo>
                        <a:pt x="861" y="480"/>
                      </a:lnTo>
                      <a:lnTo>
                        <a:pt x="818" y="514"/>
                      </a:lnTo>
                      <a:lnTo>
                        <a:pt x="778" y="548"/>
                      </a:lnTo>
                      <a:lnTo>
                        <a:pt x="737" y="585"/>
                      </a:lnTo>
                      <a:lnTo>
                        <a:pt x="698" y="622"/>
                      </a:lnTo>
                      <a:lnTo>
                        <a:pt x="660" y="659"/>
                      </a:lnTo>
                      <a:lnTo>
                        <a:pt x="622" y="698"/>
                      </a:lnTo>
                      <a:lnTo>
                        <a:pt x="585" y="737"/>
                      </a:lnTo>
                      <a:lnTo>
                        <a:pt x="549" y="777"/>
                      </a:lnTo>
                      <a:lnTo>
                        <a:pt x="513" y="819"/>
                      </a:lnTo>
                      <a:lnTo>
                        <a:pt x="480" y="861"/>
                      </a:lnTo>
                      <a:lnTo>
                        <a:pt x="447" y="904"/>
                      </a:lnTo>
                      <a:lnTo>
                        <a:pt x="415" y="948"/>
                      </a:lnTo>
                      <a:lnTo>
                        <a:pt x="384" y="993"/>
                      </a:lnTo>
                      <a:lnTo>
                        <a:pt x="354" y="1037"/>
                      </a:lnTo>
                      <a:lnTo>
                        <a:pt x="326" y="1084"/>
                      </a:lnTo>
                      <a:lnTo>
                        <a:pt x="298" y="1131"/>
                      </a:lnTo>
                      <a:lnTo>
                        <a:pt x="272" y="1178"/>
                      </a:lnTo>
                      <a:lnTo>
                        <a:pt x="246" y="1226"/>
                      </a:lnTo>
                      <a:lnTo>
                        <a:pt x="222" y="1275"/>
                      </a:lnTo>
                      <a:lnTo>
                        <a:pt x="199" y="1324"/>
                      </a:lnTo>
                      <a:lnTo>
                        <a:pt x="177" y="1375"/>
                      </a:lnTo>
                      <a:lnTo>
                        <a:pt x="156" y="1425"/>
                      </a:lnTo>
                      <a:lnTo>
                        <a:pt x="137" y="1476"/>
                      </a:lnTo>
                      <a:lnTo>
                        <a:pt x="118" y="1529"/>
                      </a:lnTo>
                      <a:lnTo>
                        <a:pt x="101" y="1581"/>
                      </a:lnTo>
                      <a:lnTo>
                        <a:pt x="85" y="1634"/>
                      </a:lnTo>
                      <a:lnTo>
                        <a:pt x="70" y="1688"/>
                      </a:lnTo>
                      <a:lnTo>
                        <a:pt x="57" y="1742"/>
                      </a:lnTo>
                      <a:lnTo>
                        <a:pt x="46" y="1797"/>
                      </a:lnTo>
                      <a:lnTo>
                        <a:pt x="34" y="1853"/>
                      </a:lnTo>
                      <a:lnTo>
                        <a:pt x="25" y="1908"/>
                      </a:lnTo>
                      <a:lnTo>
                        <a:pt x="18" y="1964"/>
                      </a:lnTo>
                      <a:lnTo>
                        <a:pt x="11" y="2021"/>
                      </a:lnTo>
                      <a:lnTo>
                        <a:pt x="7" y="2077"/>
                      </a:lnTo>
                      <a:lnTo>
                        <a:pt x="2" y="2135"/>
                      </a:lnTo>
                      <a:lnTo>
                        <a:pt x="1" y="2192"/>
                      </a:lnTo>
                      <a:lnTo>
                        <a:pt x="0" y="2251"/>
                      </a:lnTo>
                      <a:lnTo>
                        <a:pt x="0" y="2251"/>
                      </a:lnTo>
                      <a:lnTo>
                        <a:pt x="1" y="2309"/>
                      </a:lnTo>
                      <a:lnTo>
                        <a:pt x="2" y="2366"/>
                      </a:lnTo>
                      <a:lnTo>
                        <a:pt x="7" y="2423"/>
                      </a:lnTo>
                      <a:lnTo>
                        <a:pt x="11" y="2480"/>
                      </a:lnTo>
                      <a:lnTo>
                        <a:pt x="17" y="2537"/>
                      </a:lnTo>
                      <a:lnTo>
                        <a:pt x="25" y="2592"/>
                      </a:lnTo>
                      <a:lnTo>
                        <a:pt x="34" y="2647"/>
                      </a:lnTo>
                      <a:lnTo>
                        <a:pt x="45" y="2702"/>
                      </a:lnTo>
                      <a:lnTo>
                        <a:pt x="57" y="2756"/>
                      </a:lnTo>
                      <a:lnTo>
                        <a:pt x="70" y="2811"/>
                      </a:lnTo>
                      <a:lnTo>
                        <a:pt x="85" y="2865"/>
                      </a:lnTo>
                      <a:lnTo>
                        <a:pt x="100" y="2918"/>
                      </a:lnTo>
                      <a:lnTo>
                        <a:pt x="117" y="2969"/>
                      </a:lnTo>
                      <a:lnTo>
                        <a:pt x="136" y="3021"/>
                      </a:lnTo>
                      <a:lnTo>
                        <a:pt x="155" y="3073"/>
                      </a:lnTo>
                      <a:lnTo>
                        <a:pt x="175" y="3124"/>
                      </a:lnTo>
                      <a:lnTo>
                        <a:pt x="197" y="3173"/>
                      </a:lnTo>
                      <a:lnTo>
                        <a:pt x="220" y="3223"/>
                      </a:lnTo>
                      <a:lnTo>
                        <a:pt x="244" y="3271"/>
                      </a:lnTo>
                      <a:lnTo>
                        <a:pt x="269" y="3319"/>
                      </a:lnTo>
                      <a:lnTo>
                        <a:pt x="296" y="3367"/>
                      </a:lnTo>
                      <a:lnTo>
                        <a:pt x="323" y="3414"/>
                      </a:lnTo>
                      <a:lnTo>
                        <a:pt x="352" y="3459"/>
                      </a:lnTo>
                      <a:lnTo>
                        <a:pt x="381" y="3505"/>
                      </a:lnTo>
                      <a:lnTo>
                        <a:pt x="412" y="3549"/>
                      </a:lnTo>
                      <a:lnTo>
                        <a:pt x="443" y="3592"/>
                      </a:lnTo>
                      <a:lnTo>
                        <a:pt x="477" y="3635"/>
                      </a:lnTo>
                      <a:lnTo>
                        <a:pt x="510" y="3677"/>
                      </a:lnTo>
                      <a:lnTo>
                        <a:pt x="544" y="3719"/>
                      </a:lnTo>
                      <a:lnTo>
                        <a:pt x="580" y="3759"/>
                      </a:lnTo>
                      <a:lnTo>
                        <a:pt x="617" y="3798"/>
                      </a:lnTo>
                      <a:lnTo>
                        <a:pt x="654" y="3836"/>
                      </a:lnTo>
                      <a:lnTo>
                        <a:pt x="654" y="3836"/>
                      </a:lnTo>
                      <a:lnTo>
                        <a:pt x="693" y="3874"/>
                      </a:lnTo>
                      <a:lnTo>
                        <a:pt x="732" y="3912"/>
                      </a:lnTo>
                      <a:lnTo>
                        <a:pt x="772" y="3948"/>
                      </a:lnTo>
                      <a:lnTo>
                        <a:pt x="814" y="3984"/>
                      </a:lnTo>
                      <a:lnTo>
                        <a:pt x="856" y="4017"/>
                      </a:lnTo>
                      <a:lnTo>
                        <a:pt x="899" y="4051"/>
                      </a:lnTo>
                      <a:lnTo>
                        <a:pt x="943" y="4083"/>
                      </a:lnTo>
                      <a:lnTo>
                        <a:pt x="988" y="4114"/>
                      </a:lnTo>
                      <a:lnTo>
                        <a:pt x="1034" y="4144"/>
                      </a:lnTo>
                      <a:lnTo>
                        <a:pt x="1080" y="4173"/>
                      </a:lnTo>
                      <a:lnTo>
                        <a:pt x="1126" y="4201"/>
                      </a:lnTo>
                      <a:lnTo>
                        <a:pt x="1174" y="4228"/>
                      </a:lnTo>
                      <a:lnTo>
                        <a:pt x="1223" y="4253"/>
                      </a:lnTo>
                      <a:lnTo>
                        <a:pt x="1271" y="4277"/>
                      </a:lnTo>
                      <a:lnTo>
                        <a:pt x="1320" y="4302"/>
                      </a:lnTo>
                      <a:lnTo>
                        <a:pt x="1371" y="4323"/>
                      </a:lnTo>
                      <a:lnTo>
                        <a:pt x="1422" y="4344"/>
                      </a:lnTo>
                      <a:lnTo>
                        <a:pt x="1474" y="4364"/>
                      </a:lnTo>
                      <a:lnTo>
                        <a:pt x="1526" y="4382"/>
                      </a:lnTo>
                      <a:lnTo>
                        <a:pt x="1578" y="4399"/>
                      </a:lnTo>
                      <a:lnTo>
                        <a:pt x="1632" y="4415"/>
                      </a:lnTo>
                      <a:lnTo>
                        <a:pt x="1685" y="4430"/>
                      </a:lnTo>
                      <a:lnTo>
                        <a:pt x="1741" y="4443"/>
                      </a:lnTo>
                      <a:lnTo>
                        <a:pt x="1795" y="4456"/>
                      </a:lnTo>
                      <a:lnTo>
                        <a:pt x="1851" y="4466"/>
                      </a:lnTo>
                      <a:lnTo>
                        <a:pt x="1906" y="4475"/>
                      </a:lnTo>
                      <a:lnTo>
                        <a:pt x="1963" y="4483"/>
                      </a:lnTo>
                      <a:lnTo>
                        <a:pt x="2019" y="4490"/>
                      </a:lnTo>
                      <a:lnTo>
                        <a:pt x="2077" y="4495"/>
                      </a:lnTo>
                      <a:lnTo>
                        <a:pt x="2134" y="4498"/>
                      </a:lnTo>
                      <a:lnTo>
                        <a:pt x="2192" y="4501"/>
                      </a:lnTo>
                      <a:lnTo>
                        <a:pt x="2251" y="4502"/>
                      </a:lnTo>
                      <a:lnTo>
                        <a:pt x="2251" y="4502"/>
                      </a:lnTo>
                      <a:lnTo>
                        <a:pt x="2308" y="4501"/>
                      </a:lnTo>
                      <a:lnTo>
                        <a:pt x="2367" y="4498"/>
                      </a:lnTo>
                      <a:lnTo>
                        <a:pt x="2423" y="4495"/>
                      </a:lnTo>
                      <a:lnTo>
                        <a:pt x="2481" y="4490"/>
                      </a:lnTo>
                      <a:lnTo>
                        <a:pt x="2537" y="4483"/>
                      </a:lnTo>
                      <a:lnTo>
                        <a:pt x="2594" y="4475"/>
                      </a:lnTo>
                      <a:lnTo>
                        <a:pt x="2649" y="4466"/>
                      </a:lnTo>
                      <a:lnTo>
                        <a:pt x="2704" y="4456"/>
                      </a:lnTo>
                      <a:lnTo>
                        <a:pt x="2758" y="4444"/>
                      </a:lnTo>
                      <a:lnTo>
                        <a:pt x="2814" y="4430"/>
                      </a:lnTo>
                      <a:lnTo>
                        <a:pt x="2867" y="4417"/>
                      </a:lnTo>
                      <a:lnTo>
                        <a:pt x="2919" y="4401"/>
                      </a:lnTo>
                      <a:lnTo>
                        <a:pt x="2972" y="4383"/>
                      </a:lnTo>
                      <a:lnTo>
                        <a:pt x="3024" y="4365"/>
                      </a:lnTo>
                      <a:lnTo>
                        <a:pt x="3076" y="4345"/>
                      </a:lnTo>
                      <a:lnTo>
                        <a:pt x="3127" y="4325"/>
                      </a:lnTo>
                      <a:lnTo>
                        <a:pt x="3177" y="4303"/>
                      </a:lnTo>
                      <a:lnTo>
                        <a:pt x="3227" y="4280"/>
                      </a:lnTo>
                      <a:lnTo>
                        <a:pt x="3275" y="4255"/>
                      </a:lnTo>
                      <a:lnTo>
                        <a:pt x="3324" y="4230"/>
                      </a:lnTo>
                      <a:lnTo>
                        <a:pt x="3371" y="4204"/>
                      </a:lnTo>
                      <a:lnTo>
                        <a:pt x="3418" y="4176"/>
                      </a:lnTo>
                      <a:lnTo>
                        <a:pt x="3464" y="4147"/>
                      </a:lnTo>
                      <a:lnTo>
                        <a:pt x="3509" y="4117"/>
                      </a:lnTo>
                      <a:lnTo>
                        <a:pt x="3554" y="4086"/>
                      </a:lnTo>
                      <a:lnTo>
                        <a:pt x="3598" y="4054"/>
                      </a:lnTo>
                      <a:lnTo>
                        <a:pt x="3640" y="4022"/>
                      </a:lnTo>
                      <a:lnTo>
                        <a:pt x="3683" y="3987"/>
                      </a:lnTo>
                      <a:lnTo>
                        <a:pt x="3723" y="3953"/>
                      </a:lnTo>
                      <a:lnTo>
                        <a:pt x="3763" y="3917"/>
                      </a:lnTo>
                      <a:lnTo>
                        <a:pt x="3804" y="3880"/>
                      </a:lnTo>
                      <a:lnTo>
                        <a:pt x="3842" y="3842"/>
                      </a:lnTo>
                      <a:lnTo>
                        <a:pt x="3880" y="3804"/>
                      </a:lnTo>
                      <a:lnTo>
                        <a:pt x="3916" y="3764"/>
                      </a:lnTo>
                      <a:lnTo>
                        <a:pt x="3952" y="3724"/>
                      </a:lnTo>
                      <a:lnTo>
                        <a:pt x="3988" y="3682"/>
                      </a:lnTo>
                      <a:lnTo>
                        <a:pt x="4021" y="3641"/>
                      </a:lnTo>
                      <a:lnTo>
                        <a:pt x="4055" y="3597"/>
                      </a:lnTo>
                      <a:lnTo>
                        <a:pt x="4086" y="3553"/>
                      </a:lnTo>
                      <a:lnTo>
                        <a:pt x="4117" y="3509"/>
                      </a:lnTo>
                      <a:lnTo>
                        <a:pt x="4147" y="3463"/>
                      </a:lnTo>
                      <a:lnTo>
                        <a:pt x="4176" y="3417"/>
                      </a:lnTo>
                      <a:lnTo>
                        <a:pt x="4203" y="3371"/>
                      </a:lnTo>
                      <a:lnTo>
                        <a:pt x="4230" y="3324"/>
                      </a:lnTo>
                      <a:lnTo>
                        <a:pt x="4255" y="3276"/>
                      </a:lnTo>
                      <a:lnTo>
                        <a:pt x="4279" y="3226"/>
                      </a:lnTo>
                      <a:lnTo>
                        <a:pt x="4302" y="3177"/>
                      </a:lnTo>
                      <a:lnTo>
                        <a:pt x="4324" y="3127"/>
                      </a:lnTo>
                      <a:lnTo>
                        <a:pt x="4345" y="3076"/>
                      </a:lnTo>
                      <a:lnTo>
                        <a:pt x="4364" y="3025"/>
                      </a:lnTo>
                      <a:lnTo>
                        <a:pt x="4383" y="2973"/>
                      </a:lnTo>
                      <a:lnTo>
                        <a:pt x="4400" y="2920"/>
                      </a:lnTo>
                      <a:lnTo>
                        <a:pt x="4416" y="2867"/>
                      </a:lnTo>
                      <a:lnTo>
                        <a:pt x="4430" y="2813"/>
                      </a:lnTo>
                      <a:lnTo>
                        <a:pt x="4444" y="2759"/>
                      </a:lnTo>
                      <a:lnTo>
                        <a:pt x="4455" y="2705"/>
                      </a:lnTo>
                      <a:lnTo>
                        <a:pt x="4466" y="2649"/>
                      </a:lnTo>
                      <a:lnTo>
                        <a:pt x="4476" y="2593"/>
                      </a:lnTo>
                      <a:lnTo>
                        <a:pt x="4483" y="2538"/>
                      </a:lnTo>
                      <a:lnTo>
                        <a:pt x="4490" y="2481"/>
                      </a:lnTo>
                      <a:lnTo>
                        <a:pt x="4494" y="2424"/>
                      </a:lnTo>
                      <a:lnTo>
                        <a:pt x="4498" y="2366"/>
                      </a:lnTo>
                      <a:lnTo>
                        <a:pt x="4500" y="2309"/>
                      </a:lnTo>
                      <a:lnTo>
                        <a:pt x="4501" y="2251"/>
                      </a:lnTo>
                      <a:lnTo>
                        <a:pt x="4501" y="2251"/>
                      </a:lnTo>
                      <a:lnTo>
                        <a:pt x="4500" y="2181"/>
                      </a:lnTo>
                      <a:lnTo>
                        <a:pt x="4497" y="2112"/>
                      </a:lnTo>
                      <a:lnTo>
                        <a:pt x="4491" y="2044"/>
                      </a:lnTo>
                      <a:lnTo>
                        <a:pt x="4483" y="1976"/>
                      </a:lnTo>
                      <a:lnTo>
                        <a:pt x="4474" y="1908"/>
                      </a:lnTo>
                      <a:lnTo>
                        <a:pt x="4462" y="1842"/>
                      </a:lnTo>
                      <a:lnTo>
                        <a:pt x="4448" y="1775"/>
                      </a:lnTo>
                      <a:lnTo>
                        <a:pt x="4433" y="1711"/>
                      </a:lnTo>
                      <a:lnTo>
                        <a:pt x="4433" y="1711"/>
                      </a:lnTo>
                      <a:close/>
                    </a:path>
                  </a:pathLst>
                </a:custGeom>
                <a:solidFill>
                  <a:srgbClr val="7F89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6" name="Freeform 298"/>
                <p:cNvSpPr>
                  <a:spLocks/>
                </p:cNvSpPr>
                <p:nvPr/>
              </p:nvSpPr>
              <p:spPr bwMode="auto">
                <a:xfrm>
                  <a:off x="4922838" y="1474788"/>
                  <a:ext cx="600075" cy="869950"/>
                </a:xfrm>
                <a:custGeom>
                  <a:avLst/>
                  <a:gdLst>
                    <a:gd name="T0" fmla="*/ 1118 w 2647"/>
                    <a:gd name="T1" fmla="*/ 1609 h 3836"/>
                    <a:gd name="T2" fmla="*/ 1133 w 2647"/>
                    <a:gd name="T3" fmla="*/ 1449 h 3836"/>
                    <a:gd name="T4" fmla="*/ 1164 w 2647"/>
                    <a:gd name="T5" fmla="*/ 1294 h 3836"/>
                    <a:gd name="T6" fmla="*/ 1208 w 2647"/>
                    <a:gd name="T7" fmla="*/ 1145 h 3836"/>
                    <a:gd name="T8" fmla="*/ 1266 w 2647"/>
                    <a:gd name="T9" fmla="*/ 1002 h 3836"/>
                    <a:gd name="T10" fmla="*/ 1336 w 2647"/>
                    <a:gd name="T11" fmla="*/ 866 h 3836"/>
                    <a:gd name="T12" fmla="*/ 1418 w 2647"/>
                    <a:gd name="T13" fmla="*/ 737 h 3836"/>
                    <a:gd name="T14" fmla="*/ 1510 w 2647"/>
                    <a:gd name="T15" fmla="*/ 617 h 3836"/>
                    <a:gd name="T16" fmla="*/ 1613 w 2647"/>
                    <a:gd name="T17" fmla="*/ 507 h 3836"/>
                    <a:gd name="T18" fmla="*/ 1726 w 2647"/>
                    <a:gd name="T19" fmla="*/ 405 h 3836"/>
                    <a:gd name="T20" fmla="*/ 1848 w 2647"/>
                    <a:gd name="T21" fmla="*/ 314 h 3836"/>
                    <a:gd name="T22" fmla="*/ 1978 w 2647"/>
                    <a:gd name="T23" fmla="*/ 235 h 3836"/>
                    <a:gd name="T24" fmla="*/ 2116 w 2647"/>
                    <a:gd name="T25" fmla="*/ 168 h 3836"/>
                    <a:gd name="T26" fmla="*/ 2262 w 2647"/>
                    <a:gd name="T27" fmla="*/ 113 h 3836"/>
                    <a:gd name="T28" fmla="*/ 2411 w 2647"/>
                    <a:gd name="T29" fmla="*/ 72 h 3836"/>
                    <a:gd name="T30" fmla="*/ 2568 w 2647"/>
                    <a:gd name="T31" fmla="*/ 45 h 3836"/>
                    <a:gd name="T32" fmla="*/ 2599 w 2647"/>
                    <a:gd name="T33" fmla="*/ 29 h 3836"/>
                    <a:gd name="T34" fmla="*/ 2402 w 2647"/>
                    <a:gd name="T35" fmla="*/ 6 h 3836"/>
                    <a:gd name="T36" fmla="*/ 2251 w 2647"/>
                    <a:gd name="T37" fmla="*/ 0 h 3836"/>
                    <a:gd name="T38" fmla="*/ 2021 w 2647"/>
                    <a:gd name="T39" fmla="*/ 12 h 3836"/>
                    <a:gd name="T40" fmla="*/ 1798 w 2647"/>
                    <a:gd name="T41" fmla="*/ 45 h 3836"/>
                    <a:gd name="T42" fmla="*/ 1582 w 2647"/>
                    <a:gd name="T43" fmla="*/ 101 h 3836"/>
                    <a:gd name="T44" fmla="*/ 1375 w 2647"/>
                    <a:gd name="T45" fmla="*/ 176 h 3836"/>
                    <a:gd name="T46" fmla="*/ 1178 w 2647"/>
                    <a:gd name="T47" fmla="*/ 272 h 3836"/>
                    <a:gd name="T48" fmla="*/ 993 w 2647"/>
                    <a:gd name="T49" fmla="*/ 385 h 3836"/>
                    <a:gd name="T50" fmla="*/ 820 w 2647"/>
                    <a:gd name="T51" fmla="*/ 514 h 3836"/>
                    <a:gd name="T52" fmla="*/ 660 w 2647"/>
                    <a:gd name="T53" fmla="*/ 659 h 3836"/>
                    <a:gd name="T54" fmla="*/ 515 w 2647"/>
                    <a:gd name="T55" fmla="*/ 819 h 3836"/>
                    <a:gd name="T56" fmla="*/ 385 w 2647"/>
                    <a:gd name="T57" fmla="*/ 993 h 3836"/>
                    <a:gd name="T58" fmla="*/ 272 w 2647"/>
                    <a:gd name="T59" fmla="*/ 1178 h 3836"/>
                    <a:gd name="T60" fmla="*/ 178 w 2647"/>
                    <a:gd name="T61" fmla="*/ 1375 h 3836"/>
                    <a:gd name="T62" fmla="*/ 102 w 2647"/>
                    <a:gd name="T63" fmla="*/ 1581 h 3836"/>
                    <a:gd name="T64" fmla="*/ 46 w 2647"/>
                    <a:gd name="T65" fmla="*/ 1797 h 3836"/>
                    <a:gd name="T66" fmla="*/ 12 w 2647"/>
                    <a:gd name="T67" fmla="*/ 2021 h 3836"/>
                    <a:gd name="T68" fmla="*/ 0 w 2647"/>
                    <a:gd name="T69" fmla="*/ 2251 h 3836"/>
                    <a:gd name="T70" fmla="*/ 7 w 2647"/>
                    <a:gd name="T71" fmla="*/ 2423 h 3836"/>
                    <a:gd name="T72" fmla="*/ 35 w 2647"/>
                    <a:gd name="T73" fmla="*/ 2647 h 3836"/>
                    <a:gd name="T74" fmla="*/ 86 w 2647"/>
                    <a:gd name="T75" fmla="*/ 2865 h 3836"/>
                    <a:gd name="T76" fmla="*/ 156 w 2647"/>
                    <a:gd name="T77" fmla="*/ 3073 h 3836"/>
                    <a:gd name="T78" fmla="*/ 244 w 2647"/>
                    <a:gd name="T79" fmla="*/ 3271 h 3836"/>
                    <a:gd name="T80" fmla="*/ 353 w 2647"/>
                    <a:gd name="T81" fmla="*/ 3459 h 3836"/>
                    <a:gd name="T82" fmla="*/ 477 w 2647"/>
                    <a:gd name="T83" fmla="*/ 3635 h 3836"/>
                    <a:gd name="T84" fmla="*/ 618 w 2647"/>
                    <a:gd name="T85" fmla="*/ 3798 h 3836"/>
                    <a:gd name="T86" fmla="*/ 1588 w 2647"/>
                    <a:gd name="T87" fmla="*/ 2847 h 3836"/>
                    <a:gd name="T88" fmla="*/ 1481 w 2647"/>
                    <a:gd name="T89" fmla="*/ 2726 h 3836"/>
                    <a:gd name="T90" fmla="*/ 1385 w 2647"/>
                    <a:gd name="T91" fmla="*/ 2595 h 3836"/>
                    <a:gd name="T92" fmla="*/ 1304 w 2647"/>
                    <a:gd name="T93" fmla="*/ 2455 h 3836"/>
                    <a:gd name="T94" fmla="*/ 1235 w 2647"/>
                    <a:gd name="T95" fmla="*/ 2306 h 3836"/>
                    <a:gd name="T96" fmla="*/ 1182 w 2647"/>
                    <a:gd name="T97" fmla="*/ 2150 h 3836"/>
                    <a:gd name="T98" fmla="*/ 1144 w 2647"/>
                    <a:gd name="T99" fmla="*/ 1987 h 3836"/>
                    <a:gd name="T100" fmla="*/ 1122 w 2647"/>
                    <a:gd name="T101" fmla="*/ 1819 h 3836"/>
                    <a:gd name="T102" fmla="*/ 1116 w 2647"/>
                    <a:gd name="T103" fmla="*/ 1689 h 3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47" h="3836">
                      <a:moveTo>
                        <a:pt x="1116" y="1689"/>
                      </a:moveTo>
                      <a:lnTo>
                        <a:pt x="1116" y="1689"/>
                      </a:lnTo>
                      <a:lnTo>
                        <a:pt x="1117" y="1649"/>
                      </a:lnTo>
                      <a:lnTo>
                        <a:pt x="1118" y="1609"/>
                      </a:lnTo>
                      <a:lnTo>
                        <a:pt x="1121" y="1568"/>
                      </a:lnTo>
                      <a:lnTo>
                        <a:pt x="1124" y="1528"/>
                      </a:lnTo>
                      <a:lnTo>
                        <a:pt x="1129" y="1488"/>
                      </a:lnTo>
                      <a:lnTo>
                        <a:pt x="1133" y="1449"/>
                      </a:lnTo>
                      <a:lnTo>
                        <a:pt x="1140" y="1409"/>
                      </a:lnTo>
                      <a:lnTo>
                        <a:pt x="1147" y="1370"/>
                      </a:lnTo>
                      <a:lnTo>
                        <a:pt x="1155" y="1332"/>
                      </a:lnTo>
                      <a:lnTo>
                        <a:pt x="1164" y="1294"/>
                      </a:lnTo>
                      <a:lnTo>
                        <a:pt x="1174" y="1256"/>
                      </a:lnTo>
                      <a:lnTo>
                        <a:pt x="1184" y="1218"/>
                      </a:lnTo>
                      <a:lnTo>
                        <a:pt x="1195" y="1181"/>
                      </a:lnTo>
                      <a:lnTo>
                        <a:pt x="1208" y="1145"/>
                      </a:lnTo>
                      <a:lnTo>
                        <a:pt x="1221" y="1109"/>
                      </a:lnTo>
                      <a:lnTo>
                        <a:pt x="1236" y="1072"/>
                      </a:lnTo>
                      <a:lnTo>
                        <a:pt x="1250" y="1036"/>
                      </a:lnTo>
                      <a:lnTo>
                        <a:pt x="1266" y="1002"/>
                      </a:lnTo>
                      <a:lnTo>
                        <a:pt x="1282" y="967"/>
                      </a:lnTo>
                      <a:lnTo>
                        <a:pt x="1299" y="933"/>
                      </a:lnTo>
                      <a:lnTo>
                        <a:pt x="1316" y="899"/>
                      </a:lnTo>
                      <a:lnTo>
                        <a:pt x="1336" y="866"/>
                      </a:lnTo>
                      <a:lnTo>
                        <a:pt x="1355" y="833"/>
                      </a:lnTo>
                      <a:lnTo>
                        <a:pt x="1375" y="800"/>
                      </a:lnTo>
                      <a:lnTo>
                        <a:pt x="1396" y="768"/>
                      </a:lnTo>
                      <a:lnTo>
                        <a:pt x="1418" y="737"/>
                      </a:lnTo>
                      <a:lnTo>
                        <a:pt x="1440" y="706"/>
                      </a:lnTo>
                      <a:lnTo>
                        <a:pt x="1463" y="676"/>
                      </a:lnTo>
                      <a:lnTo>
                        <a:pt x="1486" y="646"/>
                      </a:lnTo>
                      <a:lnTo>
                        <a:pt x="1510" y="617"/>
                      </a:lnTo>
                      <a:lnTo>
                        <a:pt x="1535" y="588"/>
                      </a:lnTo>
                      <a:lnTo>
                        <a:pt x="1560" y="561"/>
                      </a:lnTo>
                      <a:lnTo>
                        <a:pt x="1587" y="533"/>
                      </a:lnTo>
                      <a:lnTo>
                        <a:pt x="1613" y="507"/>
                      </a:lnTo>
                      <a:lnTo>
                        <a:pt x="1641" y="480"/>
                      </a:lnTo>
                      <a:lnTo>
                        <a:pt x="1669" y="455"/>
                      </a:lnTo>
                      <a:lnTo>
                        <a:pt x="1697" y="430"/>
                      </a:lnTo>
                      <a:lnTo>
                        <a:pt x="1726" y="405"/>
                      </a:lnTo>
                      <a:lnTo>
                        <a:pt x="1756" y="381"/>
                      </a:lnTo>
                      <a:lnTo>
                        <a:pt x="1786" y="358"/>
                      </a:lnTo>
                      <a:lnTo>
                        <a:pt x="1817" y="336"/>
                      </a:lnTo>
                      <a:lnTo>
                        <a:pt x="1848" y="314"/>
                      </a:lnTo>
                      <a:lnTo>
                        <a:pt x="1880" y="294"/>
                      </a:lnTo>
                      <a:lnTo>
                        <a:pt x="1913" y="273"/>
                      </a:lnTo>
                      <a:lnTo>
                        <a:pt x="1946" y="253"/>
                      </a:lnTo>
                      <a:lnTo>
                        <a:pt x="1978" y="235"/>
                      </a:lnTo>
                      <a:lnTo>
                        <a:pt x="2013" y="218"/>
                      </a:lnTo>
                      <a:lnTo>
                        <a:pt x="2046" y="200"/>
                      </a:lnTo>
                      <a:lnTo>
                        <a:pt x="2082" y="183"/>
                      </a:lnTo>
                      <a:lnTo>
                        <a:pt x="2116" y="168"/>
                      </a:lnTo>
                      <a:lnTo>
                        <a:pt x="2152" y="153"/>
                      </a:lnTo>
                      <a:lnTo>
                        <a:pt x="2188" y="138"/>
                      </a:lnTo>
                      <a:lnTo>
                        <a:pt x="2225" y="126"/>
                      </a:lnTo>
                      <a:lnTo>
                        <a:pt x="2262" y="113"/>
                      </a:lnTo>
                      <a:lnTo>
                        <a:pt x="2298" y="101"/>
                      </a:lnTo>
                      <a:lnTo>
                        <a:pt x="2335" y="91"/>
                      </a:lnTo>
                      <a:lnTo>
                        <a:pt x="2373" y="81"/>
                      </a:lnTo>
                      <a:lnTo>
                        <a:pt x="2411" y="72"/>
                      </a:lnTo>
                      <a:lnTo>
                        <a:pt x="2450" y="63"/>
                      </a:lnTo>
                      <a:lnTo>
                        <a:pt x="2488" y="57"/>
                      </a:lnTo>
                      <a:lnTo>
                        <a:pt x="2527" y="50"/>
                      </a:lnTo>
                      <a:lnTo>
                        <a:pt x="2568" y="45"/>
                      </a:lnTo>
                      <a:lnTo>
                        <a:pt x="2607" y="40"/>
                      </a:lnTo>
                      <a:lnTo>
                        <a:pt x="2647" y="37"/>
                      </a:lnTo>
                      <a:lnTo>
                        <a:pt x="2647" y="37"/>
                      </a:lnTo>
                      <a:lnTo>
                        <a:pt x="2599" y="29"/>
                      </a:lnTo>
                      <a:lnTo>
                        <a:pt x="2550" y="21"/>
                      </a:lnTo>
                      <a:lnTo>
                        <a:pt x="2501" y="15"/>
                      </a:lnTo>
                      <a:lnTo>
                        <a:pt x="2451" y="9"/>
                      </a:lnTo>
                      <a:lnTo>
                        <a:pt x="2402" y="6"/>
                      </a:lnTo>
                      <a:lnTo>
                        <a:pt x="2352" y="2"/>
                      </a:lnTo>
                      <a:lnTo>
                        <a:pt x="2302" y="0"/>
                      </a:lnTo>
                      <a:lnTo>
                        <a:pt x="2251" y="0"/>
                      </a:lnTo>
                      <a:lnTo>
                        <a:pt x="2251" y="0"/>
                      </a:lnTo>
                      <a:lnTo>
                        <a:pt x="2194" y="0"/>
                      </a:lnTo>
                      <a:lnTo>
                        <a:pt x="2136" y="2"/>
                      </a:lnTo>
                      <a:lnTo>
                        <a:pt x="2078" y="6"/>
                      </a:lnTo>
                      <a:lnTo>
                        <a:pt x="2021" y="12"/>
                      </a:lnTo>
                      <a:lnTo>
                        <a:pt x="1964" y="17"/>
                      </a:lnTo>
                      <a:lnTo>
                        <a:pt x="1908" y="25"/>
                      </a:lnTo>
                      <a:lnTo>
                        <a:pt x="1853" y="35"/>
                      </a:lnTo>
                      <a:lnTo>
                        <a:pt x="1798" y="45"/>
                      </a:lnTo>
                      <a:lnTo>
                        <a:pt x="1743" y="58"/>
                      </a:lnTo>
                      <a:lnTo>
                        <a:pt x="1689" y="70"/>
                      </a:lnTo>
                      <a:lnTo>
                        <a:pt x="1635" y="85"/>
                      </a:lnTo>
                      <a:lnTo>
                        <a:pt x="1582" y="101"/>
                      </a:lnTo>
                      <a:lnTo>
                        <a:pt x="1529" y="118"/>
                      </a:lnTo>
                      <a:lnTo>
                        <a:pt x="1478" y="136"/>
                      </a:lnTo>
                      <a:lnTo>
                        <a:pt x="1426" y="156"/>
                      </a:lnTo>
                      <a:lnTo>
                        <a:pt x="1375" y="176"/>
                      </a:lnTo>
                      <a:lnTo>
                        <a:pt x="1326" y="198"/>
                      </a:lnTo>
                      <a:lnTo>
                        <a:pt x="1276" y="221"/>
                      </a:lnTo>
                      <a:lnTo>
                        <a:pt x="1227" y="247"/>
                      </a:lnTo>
                      <a:lnTo>
                        <a:pt x="1178" y="272"/>
                      </a:lnTo>
                      <a:lnTo>
                        <a:pt x="1131" y="298"/>
                      </a:lnTo>
                      <a:lnTo>
                        <a:pt x="1084" y="326"/>
                      </a:lnTo>
                      <a:lnTo>
                        <a:pt x="1038" y="355"/>
                      </a:lnTo>
                      <a:lnTo>
                        <a:pt x="993" y="385"/>
                      </a:lnTo>
                      <a:lnTo>
                        <a:pt x="948" y="415"/>
                      </a:lnTo>
                      <a:lnTo>
                        <a:pt x="904" y="447"/>
                      </a:lnTo>
                      <a:lnTo>
                        <a:pt x="862" y="480"/>
                      </a:lnTo>
                      <a:lnTo>
                        <a:pt x="820" y="514"/>
                      </a:lnTo>
                      <a:lnTo>
                        <a:pt x="779" y="548"/>
                      </a:lnTo>
                      <a:lnTo>
                        <a:pt x="738" y="585"/>
                      </a:lnTo>
                      <a:lnTo>
                        <a:pt x="698" y="622"/>
                      </a:lnTo>
                      <a:lnTo>
                        <a:pt x="660" y="659"/>
                      </a:lnTo>
                      <a:lnTo>
                        <a:pt x="622" y="698"/>
                      </a:lnTo>
                      <a:lnTo>
                        <a:pt x="585" y="737"/>
                      </a:lnTo>
                      <a:lnTo>
                        <a:pt x="550" y="777"/>
                      </a:lnTo>
                      <a:lnTo>
                        <a:pt x="515" y="819"/>
                      </a:lnTo>
                      <a:lnTo>
                        <a:pt x="481" y="861"/>
                      </a:lnTo>
                      <a:lnTo>
                        <a:pt x="448" y="904"/>
                      </a:lnTo>
                      <a:lnTo>
                        <a:pt x="416" y="948"/>
                      </a:lnTo>
                      <a:lnTo>
                        <a:pt x="385" y="993"/>
                      </a:lnTo>
                      <a:lnTo>
                        <a:pt x="355" y="1037"/>
                      </a:lnTo>
                      <a:lnTo>
                        <a:pt x="326" y="1084"/>
                      </a:lnTo>
                      <a:lnTo>
                        <a:pt x="299" y="1131"/>
                      </a:lnTo>
                      <a:lnTo>
                        <a:pt x="272" y="1178"/>
                      </a:lnTo>
                      <a:lnTo>
                        <a:pt x="247" y="1226"/>
                      </a:lnTo>
                      <a:lnTo>
                        <a:pt x="223" y="1275"/>
                      </a:lnTo>
                      <a:lnTo>
                        <a:pt x="200" y="1324"/>
                      </a:lnTo>
                      <a:lnTo>
                        <a:pt x="178" y="1375"/>
                      </a:lnTo>
                      <a:lnTo>
                        <a:pt x="157" y="1425"/>
                      </a:lnTo>
                      <a:lnTo>
                        <a:pt x="137" y="1476"/>
                      </a:lnTo>
                      <a:lnTo>
                        <a:pt x="119" y="1529"/>
                      </a:lnTo>
                      <a:lnTo>
                        <a:pt x="102" y="1581"/>
                      </a:lnTo>
                      <a:lnTo>
                        <a:pt x="86" y="1634"/>
                      </a:lnTo>
                      <a:lnTo>
                        <a:pt x="72" y="1688"/>
                      </a:lnTo>
                      <a:lnTo>
                        <a:pt x="58" y="1742"/>
                      </a:lnTo>
                      <a:lnTo>
                        <a:pt x="46" y="1797"/>
                      </a:lnTo>
                      <a:lnTo>
                        <a:pt x="36" y="1853"/>
                      </a:lnTo>
                      <a:lnTo>
                        <a:pt x="27" y="1908"/>
                      </a:lnTo>
                      <a:lnTo>
                        <a:pt x="19" y="1964"/>
                      </a:lnTo>
                      <a:lnTo>
                        <a:pt x="12" y="2021"/>
                      </a:lnTo>
                      <a:lnTo>
                        <a:pt x="7" y="2077"/>
                      </a:lnTo>
                      <a:lnTo>
                        <a:pt x="4" y="2135"/>
                      </a:lnTo>
                      <a:lnTo>
                        <a:pt x="2" y="2192"/>
                      </a:lnTo>
                      <a:lnTo>
                        <a:pt x="0" y="2251"/>
                      </a:lnTo>
                      <a:lnTo>
                        <a:pt x="0" y="2251"/>
                      </a:lnTo>
                      <a:lnTo>
                        <a:pt x="2" y="2309"/>
                      </a:lnTo>
                      <a:lnTo>
                        <a:pt x="4" y="2366"/>
                      </a:lnTo>
                      <a:lnTo>
                        <a:pt x="7" y="2423"/>
                      </a:lnTo>
                      <a:lnTo>
                        <a:pt x="12" y="2480"/>
                      </a:lnTo>
                      <a:lnTo>
                        <a:pt x="19" y="2537"/>
                      </a:lnTo>
                      <a:lnTo>
                        <a:pt x="26" y="2592"/>
                      </a:lnTo>
                      <a:lnTo>
                        <a:pt x="35" y="2647"/>
                      </a:lnTo>
                      <a:lnTo>
                        <a:pt x="46" y="2702"/>
                      </a:lnTo>
                      <a:lnTo>
                        <a:pt x="58" y="2756"/>
                      </a:lnTo>
                      <a:lnTo>
                        <a:pt x="71" y="2811"/>
                      </a:lnTo>
                      <a:lnTo>
                        <a:pt x="86" y="2865"/>
                      </a:lnTo>
                      <a:lnTo>
                        <a:pt x="101" y="2918"/>
                      </a:lnTo>
                      <a:lnTo>
                        <a:pt x="118" y="2969"/>
                      </a:lnTo>
                      <a:lnTo>
                        <a:pt x="136" y="3021"/>
                      </a:lnTo>
                      <a:lnTo>
                        <a:pt x="156" y="3073"/>
                      </a:lnTo>
                      <a:lnTo>
                        <a:pt x="177" y="3124"/>
                      </a:lnTo>
                      <a:lnTo>
                        <a:pt x="198" y="3173"/>
                      </a:lnTo>
                      <a:lnTo>
                        <a:pt x="221" y="3223"/>
                      </a:lnTo>
                      <a:lnTo>
                        <a:pt x="244" y="3271"/>
                      </a:lnTo>
                      <a:lnTo>
                        <a:pt x="270" y="3319"/>
                      </a:lnTo>
                      <a:lnTo>
                        <a:pt x="296" y="3367"/>
                      </a:lnTo>
                      <a:lnTo>
                        <a:pt x="324" y="3414"/>
                      </a:lnTo>
                      <a:lnTo>
                        <a:pt x="353" y="3459"/>
                      </a:lnTo>
                      <a:lnTo>
                        <a:pt x="383" y="3505"/>
                      </a:lnTo>
                      <a:lnTo>
                        <a:pt x="413" y="3549"/>
                      </a:lnTo>
                      <a:lnTo>
                        <a:pt x="445" y="3592"/>
                      </a:lnTo>
                      <a:lnTo>
                        <a:pt x="477" y="3635"/>
                      </a:lnTo>
                      <a:lnTo>
                        <a:pt x="510" y="3677"/>
                      </a:lnTo>
                      <a:lnTo>
                        <a:pt x="545" y="3719"/>
                      </a:lnTo>
                      <a:lnTo>
                        <a:pt x="581" y="3759"/>
                      </a:lnTo>
                      <a:lnTo>
                        <a:pt x="618" y="3798"/>
                      </a:lnTo>
                      <a:lnTo>
                        <a:pt x="655" y="3836"/>
                      </a:lnTo>
                      <a:lnTo>
                        <a:pt x="1617" y="2876"/>
                      </a:lnTo>
                      <a:lnTo>
                        <a:pt x="1617" y="2876"/>
                      </a:lnTo>
                      <a:lnTo>
                        <a:pt x="1588" y="2847"/>
                      </a:lnTo>
                      <a:lnTo>
                        <a:pt x="1560" y="2817"/>
                      </a:lnTo>
                      <a:lnTo>
                        <a:pt x="1533" y="2788"/>
                      </a:lnTo>
                      <a:lnTo>
                        <a:pt x="1506" y="2758"/>
                      </a:lnTo>
                      <a:lnTo>
                        <a:pt x="1481" y="2726"/>
                      </a:lnTo>
                      <a:lnTo>
                        <a:pt x="1456" y="2694"/>
                      </a:lnTo>
                      <a:lnTo>
                        <a:pt x="1431" y="2662"/>
                      </a:lnTo>
                      <a:lnTo>
                        <a:pt x="1408" y="2629"/>
                      </a:lnTo>
                      <a:lnTo>
                        <a:pt x="1385" y="2595"/>
                      </a:lnTo>
                      <a:lnTo>
                        <a:pt x="1364" y="2561"/>
                      </a:lnTo>
                      <a:lnTo>
                        <a:pt x="1343" y="2526"/>
                      </a:lnTo>
                      <a:lnTo>
                        <a:pt x="1323" y="2490"/>
                      </a:lnTo>
                      <a:lnTo>
                        <a:pt x="1304" y="2455"/>
                      </a:lnTo>
                      <a:lnTo>
                        <a:pt x="1285" y="2418"/>
                      </a:lnTo>
                      <a:lnTo>
                        <a:pt x="1268" y="2381"/>
                      </a:lnTo>
                      <a:lnTo>
                        <a:pt x="1251" y="2344"/>
                      </a:lnTo>
                      <a:lnTo>
                        <a:pt x="1235" y="2306"/>
                      </a:lnTo>
                      <a:lnTo>
                        <a:pt x="1221" y="2268"/>
                      </a:lnTo>
                      <a:lnTo>
                        <a:pt x="1206" y="2229"/>
                      </a:lnTo>
                      <a:lnTo>
                        <a:pt x="1193" y="2190"/>
                      </a:lnTo>
                      <a:lnTo>
                        <a:pt x="1182" y="2150"/>
                      </a:lnTo>
                      <a:lnTo>
                        <a:pt x="1170" y="2111"/>
                      </a:lnTo>
                      <a:lnTo>
                        <a:pt x="1160" y="2069"/>
                      </a:lnTo>
                      <a:lnTo>
                        <a:pt x="1152" y="2029"/>
                      </a:lnTo>
                      <a:lnTo>
                        <a:pt x="1144" y="1987"/>
                      </a:lnTo>
                      <a:lnTo>
                        <a:pt x="1136" y="1946"/>
                      </a:lnTo>
                      <a:lnTo>
                        <a:pt x="1130" y="1904"/>
                      </a:lnTo>
                      <a:lnTo>
                        <a:pt x="1125" y="1862"/>
                      </a:lnTo>
                      <a:lnTo>
                        <a:pt x="1122" y="1819"/>
                      </a:lnTo>
                      <a:lnTo>
                        <a:pt x="1118" y="1777"/>
                      </a:lnTo>
                      <a:lnTo>
                        <a:pt x="1117" y="1733"/>
                      </a:lnTo>
                      <a:lnTo>
                        <a:pt x="1116" y="1689"/>
                      </a:lnTo>
                      <a:lnTo>
                        <a:pt x="1116" y="1689"/>
                      </a:lnTo>
                      <a:close/>
                    </a:path>
                  </a:pathLst>
                </a:custGeom>
                <a:solidFill>
                  <a:srgbClr val="B3C1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7" name="Freeform 299"/>
                <p:cNvSpPr>
                  <a:spLocks/>
                </p:cNvSpPr>
                <p:nvPr/>
              </p:nvSpPr>
              <p:spPr bwMode="auto">
                <a:xfrm>
                  <a:off x="5175250" y="1484313"/>
                  <a:ext cx="615950" cy="642938"/>
                </a:xfrm>
                <a:custGeom>
                  <a:avLst/>
                  <a:gdLst>
                    <a:gd name="T0" fmla="*/ 1 w 2719"/>
                    <a:gd name="T1" fmla="*/ 1696 h 2839"/>
                    <a:gd name="T2" fmla="*/ 9 w 2719"/>
                    <a:gd name="T3" fmla="*/ 1825 h 2839"/>
                    <a:gd name="T4" fmla="*/ 28 w 2719"/>
                    <a:gd name="T5" fmla="*/ 1950 h 2839"/>
                    <a:gd name="T6" fmla="*/ 54 w 2719"/>
                    <a:gd name="T7" fmla="*/ 2074 h 2839"/>
                    <a:gd name="T8" fmla="*/ 90 w 2719"/>
                    <a:gd name="T9" fmla="*/ 2192 h 2839"/>
                    <a:gd name="T10" fmla="*/ 135 w 2719"/>
                    <a:gd name="T11" fmla="*/ 2307 h 2839"/>
                    <a:gd name="T12" fmla="*/ 188 w 2719"/>
                    <a:gd name="T13" fmla="*/ 2418 h 2839"/>
                    <a:gd name="T14" fmla="*/ 248 w 2719"/>
                    <a:gd name="T15" fmla="*/ 2524 h 2839"/>
                    <a:gd name="T16" fmla="*/ 315 w 2719"/>
                    <a:gd name="T17" fmla="*/ 2625 h 2839"/>
                    <a:gd name="T18" fmla="*/ 390 w 2719"/>
                    <a:gd name="T19" fmla="*/ 2721 h 2839"/>
                    <a:gd name="T20" fmla="*/ 472 w 2719"/>
                    <a:gd name="T21" fmla="*/ 2810 h 2839"/>
                    <a:gd name="T22" fmla="*/ 2719 w 2719"/>
                    <a:gd name="T23" fmla="*/ 619 h 2839"/>
                    <a:gd name="T24" fmla="*/ 2674 w 2719"/>
                    <a:gd name="T25" fmla="*/ 575 h 2839"/>
                    <a:gd name="T26" fmla="*/ 2630 w 2719"/>
                    <a:gd name="T27" fmla="*/ 533 h 2839"/>
                    <a:gd name="T28" fmla="*/ 2495 w 2719"/>
                    <a:gd name="T29" fmla="*/ 423 h 2839"/>
                    <a:gd name="T30" fmla="*/ 2353 w 2719"/>
                    <a:gd name="T31" fmla="*/ 324 h 2839"/>
                    <a:gd name="T32" fmla="*/ 2282 w 2719"/>
                    <a:gd name="T33" fmla="*/ 280 h 2839"/>
                    <a:gd name="T34" fmla="*/ 2184 w 2719"/>
                    <a:gd name="T35" fmla="*/ 225 h 2839"/>
                    <a:gd name="T36" fmla="*/ 2148 w 2719"/>
                    <a:gd name="T37" fmla="*/ 205 h 2839"/>
                    <a:gd name="T38" fmla="*/ 2042 w 2719"/>
                    <a:gd name="T39" fmla="*/ 155 h 2839"/>
                    <a:gd name="T40" fmla="*/ 1879 w 2719"/>
                    <a:gd name="T41" fmla="*/ 91 h 2839"/>
                    <a:gd name="T42" fmla="*/ 1710 w 2719"/>
                    <a:gd name="T43" fmla="*/ 39 h 2839"/>
                    <a:gd name="T44" fmla="*/ 1679 w 2719"/>
                    <a:gd name="T45" fmla="*/ 31 h 2839"/>
                    <a:gd name="T46" fmla="*/ 1531 w 2719"/>
                    <a:gd name="T47" fmla="*/ 0 h 2839"/>
                    <a:gd name="T48" fmla="*/ 1452 w 2719"/>
                    <a:gd name="T49" fmla="*/ 8 h 2839"/>
                    <a:gd name="T50" fmla="*/ 1334 w 2719"/>
                    <a:gd name="T51" fmla="*/ 26 h 2839"/>
                    <a:gd name="T52" fmla="*/ 1219 w 2719"/>
                    <a:gd name="T53" fmla="*/ 54 h 2839"/>
                    <a:gd name="T54" fmla="*/ 1109 w 2719"/>
                    <a:gd name="T55" fmla="*/ 89 h 2839"/>
                    <a:gd name="T56" fmla="*/ 1000 w 2719"/>
                    <a:gd name="T57" fmla="*/ 131 h 2839"/>
                    <a:gd name="T58" fmla="*/ 897 w 2719"/>
                    <a:gd name="T59" fmla="*/ 181 h 2839"/>
                    <a:gd name="T60" fmla="*/ 797 w 2719"/>
                    <a:gd name="T61" fmla="*/ 236 h 2839"/>
                    <a:gd name="T62" fmla="*/ 701 w 2719"/>
                    <a:gd name="T63" fmla="*/ 299 h 2839"/>
                    <a:gd name="T64" fmla="*/ 610 w 2719"/>
                    <a:gd name="T65" fmla="*/ 368 h 2839"/>
                    <a:gd name="T66" fmla="*/ 525 w 2719"/>
                    <a:gd name="T67" fmla="*/ 443 h 2839"/>
                    <a:gd name="T68" fmla="*/ 444 w 2719"/>
                    <a:gd name="T69" fmla="*/ 524 h 2839"/>
                    <a:gd name="T70" fmla="*/ 370 w 2719"/>
                    <a:gd name="T71" fmla="*/ 609 h 2839"/>
                    <a:gd name="T72" fmla="*/ 302 w 2719"/>
                    <a:gd name="T73" fmla="*/ 700 h 2839"/>
                    <a:gd name="T74" fmla="*/ 239 w 2719"/>
                    <a:gd name="T75" fmla="*/ 796 h 2839"/>
                    <a:gd name="T76" fmla="*/ 183 w 2719"/>
                    <a:gd name="T77" fmla="*/ 896 h 2839"/>
                    <a:gd name="T78" fmla="*/ 134 w 2719"/>
                    <a:gd name="T79" fmla="*/ 999 h 2839"/>
                    <a:gd name="T80" fmla="*/ 92 w 2719"/>
                    <a:gd name="T81" fmla="*/ 1108 h 2839"/>
                    <a:gd name="T82" fmla="*/ 58 w 2719"/>
                    <a:gd name="T83" fmla="*/ 1219 h 2839"/>
                    <a:gd name="T84" fmla="*/ 31 w 2719"/>
                    <a:gd name="T85" fmla="*/ 1333 h 2839"/>
                    <a:gd name="T86" fmla="*/ 13 w 2719"/>
                    <a:gd name="T87" fmla="*/ 1451 h 2839"/>
                    <a:gd name="T88" fmla="*/ 2 w 2719"/>
                    <a:gd name="T89" fmla="*/ 1572 h 2839"/>
                    <a:gd name="T90" fmla="*/ 0 w 2719"/>
                    <a:gd name="T91" fmla="*/ 1652 h 2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19" h="2839">
                      <a:moveTo>
                        <a:pt x="0" y="1652"/>
                      </a:moveTo>
                      <a:lnTo>
                        <a:pt x="0" y="1652"/>
                      </a:lnTo>
                      <a:lnTo>
                        <a:pt x="1" y="1696"/>
                      </a:lnTo>
                      <a:lnTo>
                        <a:pt x="2" y="1740"/>
                      </a:lnTo>
                      <a:lnTo>
                        <a:pt x="6" y="1782"/>
                      </a:lnTo>
                      <a:lnTo>
                        <a:pt x="9" y="1825"/>
                      </a:lnTo>
                      <a:lnTo>
                        <a:pt x="14" y="1867"/>
                      </a:lnTo>
                      <a:lnTo>
                        <a:pt x="20" y="1909"/>
                      </a:lnTo>
                      <a:lnTo>
                        <a:pt x="28" y="1950"/>
                      </a:lnTo>
                      <a:lnTo>
                        <a:pt x="36" y="1992"/>
                      </a:lnTo>
                      <a:lnTo>
                        <a:pt x="44" y="2032"/>
                      </a:lnTo>
                      <a:lnTo>
                        <a:pt x="54" y="2074"/>
                      </a:lnTo>
                      <a:lnTo>
                        <a:pt x="66" y="2113"/>
                      </a:lnTo>
                      <a:lnTo>
                        <a:pt x="77" y="2153"/>
                      </a:lnTo>
                      <a:lnTo>
                        <a:pt x="90" y="2192"/>
                      </a:lnTo>
                      <a:lnTo>
                        <a:pt x="105" y="2231"/>
                      </a:lnTo>
                      <a:lnTo>
                        <a:pt x="119" y="2269"/>
                      </a:lnTo>
                      <a:lnTo>
                        <a:pt x="135" y="2307"/>
                      </a:lnTo>
                      <a:lnTo>
                        <a:pt x="152" y="2344"/>
                      </a:lnTo>
                      <a:lnTo>
                        <a:pt x="169" y="2381"/>
                      </a:lnTo>
                      <a:lnTo>
                        <a:pt x="188" y="2418"/>
                      </a:lnTo>
                      <a:lnTo>
                        <a:pt x="207" y="2453"/>
                      </a:lnTo>
                      <a:lnTo>
                        <a:pt x="227" y="2489"/>
                      </a:lnTo>
                      <a:lnTo>
                        <a:pt x="248" y="2524"/>
                      </a:lnTo>
                      <a:lnTo>
                        <a:pt x="269" y="2558"/>
                      </a:lnTo>
                      <a:lnTo>
                        <a:pt x="292" y="2592"/>
                      </a:lnTo>
                      <a:lnTo>
                        <a:pt x="315" y="2625"/>
                      </a:lnTo>
                      <a:lnTo>
                        <a:pt x="340" y="2657"/>
                      </a:lnTo>
                      <a:lnTo>
                        <a:pt x="365" y="2689"/>
                      </a:lnTo>
                      <a:lnTo>
                        <a:pt x="390" y="2721"/>
                      </a:lnTo>
                      <a:lnTo>
                        <a:pt x="417" y="2751"/>
                      </a:lnTo>
                      <a:lnTo>
                        <a:pt x="444" y="2780"/>
                      </a:lnTo>
                      <a:lnTo>
                        <a:pt x="472" y="2810"/>
                      </a:lnTo>
                      <a:lnTo>
                        <a:pt x="501" y="2839"/>
                      </a:lnTo>
                      <a:lnTo>
                        <a:pt x="2719" y="619"/>
                      </a:lnTo>
                      <a:lnTo>
                        <a:pt x="2719" y="619"/>
                      </a:lnTo>
                      <a:lnTo>
                        <a:pt x="2697" y="598"/>
                      </a:lnTo>
                      <a:lnTo>
                        <a:pt x="2674" y="575"/>
                      </a:lnTo>
                      <a:lnTo>
                        <a:pt x="2674" y="575"/>
                      </a:lnTo>
                      <a:lnTo>
                        <a:pt x="2672" y="572"/>
                      </a:lnTo>
                      <a:lnTo>
                        <a:pt x="2672" y="572"/>
                      </a:lnTo>
                      <a:lnTo>
                        <a:pt x="2630" y="533"/>
                      </a:lnTo>
                      <a:lnTo>
                        <a:pt x="2586" y="495"/>
                      </a:lnTo>
                      <a:lnTo>
                        <a:pt x="2541" y="458"/>
                      </a:lnTo>
                      <a:lnTo>
                        <a:pt x="2495" y="423"/>
                      </a:lnTo>
                      <a:lnTo>
                        <a:pt x="2449" y="388"/>
                      </a:lnTo>
                      <a:lnTo>
                        <a:pt x="2402" y="356"/>
                      </a:lnTo>
                      <a:lnTo>
                        <a:pt x="2353" y="324"/>
                      </a:lnTo>
                      <a:lnTo>
                        <a:pt x="2304" y="292"/>
                      </a:lnTo>
                      <a:lnTo>
                        <a:pt x="2304" y="292"/>
                      </a:lnTo>
                      <a:lnTo>
                        <a:pt x="2282" y="280"/>
                      </a:lnTo>
                      <a:lnTo>
                        <a:pt x="2282" y="280"/>
                      </a:lnTo>
                      <a:lnTo>
                        <a:pt x="2217" y="242"/>
                      </a:lnTo>
                      <a:lnTo>
                        <a:pt x="2184" y="225"/>
                      </a:lnTo>
                      <a:lnTo>
                        <a:pt x="2152" y="207"/>
                      </a:lnTo>
                      <a:lnTo>
                        <a:pt x="2152" y="207"/>
                      </a:lnTo>
                      <a:lnTo>
                        <a:pt x="2148" y="205"/>
                      </a:lnTo>
                      <a:lnTo>
                        <a:pt x="2148" y="205"/>
                      </a:lnTo>
                      <a:lnTo>
                        <a:pt x="2095" y="180"/>
                      </a:lnTo>
                      <a:lnTo>
                        <a:pt x="2042" y="155"/>
                      </a:lnTo>
                      <a:lnTo>
                        <a:pt x="1988" y="132"/>
                      </a:lnTo>
                      <a:lnTo>
                        <a:pt x="1934" y="112"/>
                      </a:lnTo>
                      <a:lnTo>
                        <a:pt x="1879" y="91"/>
                      </a:lnTo>
                      <a:lnTo>
                        <a:pt x="1822" y="73"/>
                      </a:lnTo>
                      <a:lnTo>
                        <a:pt x="1766" y="55"/>
                      </a:lnTo>
                      <a:lnTo>
                        <a:pt x="1710" y="39"/>
                      </a:lnTo>
                      <a:lnTo>
                        <a:pt x="1710" y="39"/>
                      </a:lnTo>
                      <a:lnTo>
                        <a:pt x="1679" y="31"/>
                      </a:lnTo>
                      <a:lnTo>
                        <a:pt x="1679" y="31"/>
                      </a:lnTo>
                      <a:lnTo>
                        <a:pt x="1606" y="15"/>
                      </a:lnTo>
                      <a:lnTo>
                        <a:pt x="1568" y="7"/>
                      </a:lnTo>
                      <a:lnTo>
                        <a:pt x="1531" y="0"/>
                      </a:lnTo>
                      <a:lnTo>
                        <a:pt x="1531" y="0"/>
                      </a:lnTo>
                      <a:lnTo>
                        <a:pt x="1491" y="3"/>
                      </a:lnTo>
                      <a:lnTo>
                        <a:pt x="1452" y="8"/>
                      </a:lnTo>
                      <a:lnTo>
                        <a:pt x="1411" y="13"/>
                      </a:lnTo>
                      <a:lnTo>
                        <a:pt x="1372" y="20"/>
                      </a:lnTo>
                      <a:lnTo>
                        <a:pt x="1334" y="26"/>
                      </a:lnTo>
                      <a:lnTo>
                        <a:pt x="1295" y="35"/>
                      </a:lnTo>
                      <a:lnTo>
                        <a:pt x="1257" y="44"/>
                      </a:lnTo>
                      <a:lnTo>
                        <a:pt x="1219" y="54"/>
                      </a:lnTo>
                      <a:lnTo>
                        <a:pt x="1182" y="64"/>
                      </a:lnTo>
                      <a:lnTo>
                        <a:pt x="1146" y="76"/>
                      </a:lnTo>
                      <a:lnTo>
                        <a:pt x="1109" y="89"/>
                      </a:lnTo>
                      <a:lnTo>
                        <a:pt x="1072" y="101"/>
                      </a:lnTo>
                      <a:lnTo>
                        <a:pt x="1036" y="116"/>
                      </a:lnTo>
                      <a:lnTo>
                        <a:pt x="1000" y="131"/>
                      </a:lnTo>
                      <a:lnTo>
                        <a:pt x="966" y="146"/>
                      </a:lnTo>
                      <a:lnTo>
                        <a:pt x="930" y="163"/>
                      </a:lnTo>
                      <a:lnTo>
                        <a:pt x="897" y="181"/>
                      </a:lnTo>
                      <a:lnTo>
                        <a:pt x="862" y="198"/>
                      </a:lnTo>
                      <a:lnTo>
                        <a:pt x="830" y="216"/>
                      </a:lnTo>
                      <a:lnTo>
                        <a:pt x="797" y="236"/>
                      </a:lnTo>
                      <a:lnTo>
                        <a:pt x="764" y="257"/>
                      </a:lnTo>
                      <a:lnTo>
                        <a:pt x="732" y="277"/>
                      </a:lnTo>
                      <a:lnTo>
                        <a:pt x="701" y="299"/>
                      </a:lnTo>
                      <a:lnTo>
                        <a:pt x="670" y="321"/>
                      </a:lnTo>
                      <a:lnTo>
                        <a:pt x="640" y="344"/>
                      </a:lnTo>
                      <a:lnTo>
                        <a:pt x="610" y="368"/>
                      </a:lnTo>
                      <a:lnTo>
                        <a:pt x="581" y="393"/>
                      </a:lnTo>
                      <a:lnTo>
                        <a:pt x="553" y="418"/>
                      </a:lnTo>
                      <a:lnTo>
                        <a:pt x="525" y="443"/>
                      </a:lnTo>
                      <a:lnTo>
                        <a:pt x="497" y="470"/>
                      </a:lnTo>
                      <a:lnTo>
                        <a:pt x="471" y="496"/>
                      </a:lnTo>
                      <a:lnTo>
                        <a:pt x="444" y="524"/>
                      </a:lnTo>
                      <a:lnTo>
                        <a:pt x="419" y="551"/>
                      </a:lnTo>
                      <a:lnTo>
                        <a:pt x="394" y="580"/>
                      </a:lnTo>
                      <a:lnTo>
                        <a:pt x="370" y="609"/>
                      </a:lnTo>
                      <a:lnTo>
                        <a:pt x="347" y="639"/>
                      </a:lnTo>
                      <a:lnTo>
                        <a:pt x="324" y="669"/>
                      </a:lnTo>
                      <a:lnTo>
                        <a:pt x="302" y="700"/>
                      </a:lnTo>
                      <a:lnTo>
                        <a:pt x="280" y="731"/>
                      </a:lnTo>
                      <a:lnTo>
                        <a:pt x="259" y="763"/>
                      </a:lnTo>
                      <a:lnTo>
                        <a:pt x="239" y="796"/>
                      </a:lnTo>
                      <a:lnTo>
                        <a:pt x="220" y="829"/>
                      </a:lnTo>
                      <a:lnTo>
                        <a:pt x="200" y="862"/>
                      </a:lnTo>
                      <a:lnTo>
                        <a:pt x="183" y="896"/>
                      </a:lnTo>
                      <a:lnTo>
                        <a:pt x="166" y="930"/>
                      </a:lnTo>
                      <a:lnTo>
                        <a:pt x="150" y="965"/>
                      </a:lnTo>
                      <a:lnTo>
                        <a:pt x="134" y="999"/>
                      </a:lnTo>
                      <a:lnTo>
                        <a:pt x="120" y="1035"/>
                      </a:lnTo>
                      <a:lnTo>
                        <a:pt x="105" y="1072"/>
                      </a:lnTo>
                      <a:lnTo>
                        <a:pt x="92" y="1108"/>
                      </a:lnTo>
                      <a:lnTo>
                        <a:pt x="79" y="1144"/>
                      </a:lnTo>
                      <a:lnTo>
                        <a:pt x="68" y="1181"/>
                      </a:lnTo>
                      <a:lnTo>
                        <a:pt x="58" y="1219"/>
                      </a:lnTo>
                      <a:lnTo>
                        <a:pt x="48" y="1257"/>
                      </a:lnTo>
                      <a:lnTo>
                        <a:pt x="39" y="1295"/>
                      </a:lnTo>
                      <a:lnTo>
                        <a:pt x="31" y="1333"/>
                      </a:lnTo>
                      <a:lnTo>
                        <a:pt x="24" y="1372"/>
                      </a:lnTo>
                      <a:lnTo>
                        <a:pt x="17" y="1412"/>
                      </a:lnTo>
                      <a:lnTo>
                        <a:pt x="13" y="1451"/>
                      </a:lnTo>
                      <a:lnTo>
                        <a:pt x="8" y="1491"/>
                      </a:lnTo>
                      <a:lnTo>
                        <a:pt x="5" y="1531"/>
                      </a:lnTo>
                      <a:lnTo>
                        <a:pt x="2" y="1572"/>
                      </a:lnTo>
                      <a:lnTo>
                        <a:pt x="1" y="1612"/>
                      </a:lnTo>
                      <a:lnTo>
                        <a:pt x="0" y="1652"/>
                      </a:lnTo>
                      <a:lnTo>
                        <a:pt x="0" y="1652"/>
                      </a:lnTo>
                      <a:close/>
                    </a:path>
                  </a:pathLst>
                </a:custGeom>
                <a:solidFill>
                  <a:srgbClr val="D2E0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8" name="Freeform 300"/>
                <p:cNvSpPr>
                  <a:spLocks/>
                </p:cNvSpPr>
                <p:nvPr/>
              </p:nvSpPr>
              <p:spPr bwMode="auto">
                <a:xfrm>
                  <a:off x="5070475" y="1863725"/>
                  <a:ext cx="873125" cy="633413"/>
                </a:xfrm>
                <a:custGeom>
                  <a:avLst/>
                  <a:gdLst>
                    <a:gd name="T0" fmla="*/ 1712 w 3847"/>
                    <a:gd name="T1" fmla="*/ 2787 h 2791"/>
                    <a:gd name="T2" fmla="*/ 1939 w 3847"/>
                    <a:gd name="T3" fmla="*/ 2764 h 2791"/>
                    <a:gd name="T4" fmla="*/ 2159 w 3847"/>
                    <a:gd name="T5" fmla="*/ 2719 h 2791"/>
                    <a:gd name="T6" fmla="*/ 2370 w 3847"/>
                    <a:gd name="T7" fmla="*/ 2654 h 2791"/>
                    <a:gd name="T8" fmla="*/ 2572 w 3847"/>
                    <a:gd name="T9" fmla="*/ 2569 h 2791"/>
                    <a:gd name="T10" fmla="*/ 2764 w 3847"/>
                    <a:gd name="T11" fmla="*/ 2465 h 2791"/>
                    <a:gd name="T12" fmla="*/ 2943 w 3847"/>
                    <a:gd name="T13" fmla="*/ 2343 h 2791"/>
                    <a:gd name="T14" fmla="*/ 3110 w 3847"/>
                    <a:gd name="T15" fmla="*/ 2206 h 2791"/>
                    <a:gd name="T16" fmla="*/ 3262 w 3847"/>
                    <a:gd name="T17" fmla="*/ 2053 h 2791"/>
                    <a:gd name="T18" fmla="*/ 3400 w 3847"/>
                    <a:gd name="T19" fmla="*/ 1886 h 2791"/>
                    <a:gd name="T20" fmla="*/ 3521 w 3847"/>
                    <a:gd name="T21" fmla="*/ 1706 h 2791"/>
                    <a:gd name="T22" fmla="*/ 3625 w 3847"/>
                    <a:gd name="T23" fmla="*/ 1515 h 2791"/>
                    <a:gd name="T24" fmla="*/ 3711 w 3847"/>
                    <a:gd name="T25" fmla="*/ 1314 h 2791"/>
                    <a:gd name="T26" fmla="*/ 3777 w 3847"/>
                    <a:gd name="T27" fmla="*/ 1102 h 2791"/>
                    <a:gd name="T28" fmla="*/ 3822 w 3847"/>
                    <a:gd name="T29" fmla="*/ 882 h 2791"/>
                    <a:gd name="T30" fmla="*/ 3845 w 3847"/>
                    <a:gd name="T31" fmla="*/ 655 h 2791"/>
                    <a:gd name="T32" fmla="*/ 3846 w 3847"/>
                    <a:gd name="T33" fmla="*/ 470 h 2791"/>
                    <a:gd name="T34" fmla="*/ 3819 w 3847"/>
                    <a:gd name="T35" fmla="*/ 197 h 2791"/>
                    <a:gd name="T36" fmla="*/ 3779 w 3847"/>
                    <a:gd name="T37" fmla="*/ 0 h 2791"/>
                    <a:gd name="T38" fmla="*/ 3769 w 3847"/>
                    <a:gd name="T39" fmla="*/ 167 h 2791"/>
                    <a:gd name="T40" fmla="*/ 3742 w 3847"/>
                    <a:gd name="T41" fmla="*/ 330 h 2791"/>
                    <a:gd name="T42" fmla="*/ 3700 w 3847"/>
                    <a:gd name="T43" fmla="*/ 487 h 2791"/>
                    <a:gd name="T44" fmla="*/ 3643 w 3847"/>
                    <a:gd name="T45" fmla="*/ 638 h 2791"/>
                    <a:gd name="T46" fmla="*/ 3573 w 3847"/>
                    <a:gd name="T47" fmla="*/ 782 h 2791"/>
                    <a:gd name="T48" fmla="*/ 3489 w 3847"/>
                    <a:gd name="T49" fmla="*/ 916 h 2791"/>
                    <a:gd name="T50" fmla="*/ 3393 w 3847"/>
                    <a:gd name="T51" fmla="*/ 1043 h 2791"/>
                    <a:gd name="T52" fmla="*/ 3287 w 3847"/>
                    <a:gd name="T53" fmla="*/ 1159 h 2791"/>
                    <a:gd name="T54" fmla="*/ 3170 w 3847"/>
                    <a:gd name="T55" fmla="*/ 1264 h 2791"/>
                    <a:gd name="T56" fmla="*/ 3042 w 3847"/>
                    <a:gd name="T57" fmla="*/ 1359 h 2791"/>
                    <a:gd name="T58" fmla="*/ 2906 w 3847"/>
                    <a:gd name="T59" fmla="*/ 1440 h 2791"/>
                    <a:gd name="T60" fmla="*/ 2762 w 3847"/>
                    <a:gd name="T61" fmla="*/ 1509 h 2791"/>
                    <a:gd name="T62" fmla="*/ 2610 w 3847"/>
                    <a:gd name="T63" fmla="*/ 1565 h 2791"/>
                    <a:gd name="T64" fmla="*/ 2453 w 3847"/>
                    <a:gd name="T65" fmla="*/ 1605 h 2791"/>
                    <a:gd name="T66" fmla="*/ 2289 w 3847"/>
                    <a:gd name="T67" fmla="*/ 1630 h 2791"/>
                    <a:gd name="T68" fmla="*/ 2121 w 3847"/>
                    <a:gd name="T69" fmla="*/ 1638 h 2791"/>
                    <a:gd name="T70" fmla="*/ 1994 w 3847"/>
                    <a:gd name="T71" fmla="*/ 1634 h 2791"/>
                    <a:gd name="T72" fmla="*/ 1831 w 3847"/>
                    <a:gd name="T73" fmla="*/ 1613 h 2791"/>
                    <a:gd name="T74" fmla="*/ 1673 w 3847"/>
                    <a:gd name="T75" fmla="*/ 1577 h 2791"/>
                    <a:gd name="T76" fmla="*/ 1521 w 3847"/>
                    <a:gd name="T77" fmla="*/ 1526 h 2791"/>
                    <a:gd name="T78" fmla="*/ 1375 w 3847"/>
                    <a:gd name="T79" fmla="*/ 1461 h 2791"/>
                    <a:gd name="T80" fmla="*/ 1238 w 3847"/>
                    <a:gd name="T81" fmla="*/ 1384 h 2791"/>
                    <a:gd name="T82" fmla="*/ 1109 w 3847"/>
                    <a:gd name="T83" fmla="*/ 1293 h 2791"/>
                    <a:gd name="T84" fmla="*/ 989 w 3847"/>
                    <a:gd name="T85" fmla="*/ 1192 h 2791"/>
                    <a:gd name="T86" fmla="*/ 38 w 3847"/>
                    <a:gd name="T87" fmla="*/ 2163 h 2791"/>
                    <a:gd name="T88" fmla="*/ 202 w 3847"/>
                    <a:gd name="T89" fmla="*/ 2306 h 2791"/>
                    <a:gd name="T90" fmla="*/ 379 w 3847"/>
                    <a:gd name="T91" fmla="*/ 2433 h 2791"/>
                    <a:gd name="T92" fmla="*/ 568 w 3847"/>
                    <a:gd name="T93" fmla="*/ 2542 h 2791"/>
                    <a:gd name="T94" fmla="*/ 768 w 3847"/>
                    <a:gd name="T95" fmla="*/ 2633 h 2791"/>
                    <a:gd name="T96" fmla="*/ 978 w 3847"/>
                    <a:gd name="T97" fmla="*/ 2704 h 2791"/>
                    <a:gd name="T98" fmla="*/ 1197 w 3847"/>
                    <a:gd name="T99" fmla="*/ 2755 h 2791"/>
                    <a:gd name="T100" fmla="*/ 1422 w 3847"/>
                    <a:gd name="T101" fmla="*/ 2784 h 2791"/>
                    <a:gd name="T102" fmla="*/ 1596 w 3847"/>
                    <a:gd name="T103" fmla="*/ 2791 h 2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47" h="2791">
                      <a:moveTo>
                        <a:pt x="1596" y="2791"/>
                      </a:moveTo>
                      <a:lnTo>
                        <a:pt x="1596" y="2791"/>
                      </a:lnTo>
                      <a:lnTo>
                        <a:pt x="1655" y="2790"/>
                      </a:lnTo>
                      <a:lnTo>
                        <a:pt x="1712" y="2787"/>
                      </a:lnTo>
                      <a:lnTo>
                        <a:pt x="1770" y="2784"/>
                      </a:lnTo>
                      <a:lnTo>
                        <a:pt x="1826" y="2779"/>
                      </a:lnTo>
                      <a:lnTo>
                        <a:pt x="1883" y="2772"/>
                      </a:lnTo>
                      <a:lnTo>
                        <a:pt x="1939" y="2764"/>
                      </a:lnTo>
                      <a:lnTo>
                        <a:pt x="1994" y="2755"/>
                      </a:lnTo>
                      <a:lnTo>
                        <a:pt x="2050" y="2745"/>
                      </a:lnTo>
                      <a:lnTo>
                        <a:pt x="2105" y="2733"/>
                      </a:lnTo>
                      <a:lnTo>
                        <a:pt x="2159" y="2719"/>
                      </a:lnTo>
                      <a:lnTo>
                        <a:pt x="2212" y="2706"/>
                      </a:lnTo>
                      <a:lnTo>
                        <a:pt x="2266" y="2690"/>
                      </a:lnTo>
                      <a:lnTo>
                        <a:pt x="2318" y="2672"/>
                      </a:lnTo>
                      <a:lnTo>
                        <a:pt x="2370" y="2654"/>
                      </a:lnTo>
                      <a:lnTo>
                        <a:pt x="2422" y="2634"/>
                      </a:lnTo>
                      <a:lnTo>
                        <a:pt x="2472" y="2614"/>
                      </a:lnTo>
                      <a:lnTo>
                        <a:pt x="2523" y="2592"/>
                      </a:lnTo>
                      <a:lnTo>
                        <a:pt x="2572" y="2569"/>
                      </a:lnTo>
                      <a:lnTo>
                        <a:pt x="2621" y="2544"/>
                      </a:lnTo>
                      <a:lnTo>
                        <a:pt x="2669" y="2519"/>
                      </a:lnTo>
                      <a:lnTo>
                        <a:pt x="2716" y="2493"/>
                      </a:lnTo>
                      <a:lnTo>
                        <a:pt x="2764" y="2465"/>
                      </a:lnTo>
                      <a:lnTo>
                        <a:pt x="2810" y="2436"/>
                      </a:lnTo>
                      <a:lnTo>
                        <a:pt x="2854" y="2406"/>
                      </a:lnTo>
                      <a:lnTo>
                        <a:pt x="2899" y="2375"/>
                      </a:lnTo>
                      <a:lnTo>
                        <a:pt x="2943" y="2343"/>
                      </a:lnTo>
                      <a:lnTo>
                        <a:pt x="2986" y="2311"/>
                      </a:lnTo>
                      <a:lnTo>
                        <a:pt x="3028" y="2276"/>
                      </a:lnTo>
                      <a:lnTo>
                        <a:pt x="3070" y="2242"/>
                      </a:lnTo>
                      <a:lnTo>
                        <a:pt x="3110" y="2206"/>
                      </a:lnTo>
                      <a:lnTo>
                        <a:pt x="3149" y="2169"/>
                      </a:lnTo>
                      <a:lnTo>
                        <a:pt x="3188" y="2131"/>
                      </a:lnTo>
                      <a:lnTo>
                        <a:pt x="3225" y="2093"/>
                      </a:lnTo>
                      <a:lnTo>
                        <a:pt x="3262" y="2053"/>
                      </a:lnTo>
                      <a:lnTo>
                        <a:pt x="3298" y="2013"/>
                      </a:lnTo>
                      <a:lnTo>
                        <a:pt x="3333" y="1971"/>
                      </a:lnTo>
                      <a:lnTo>
                        <a:pt x="3367" y="1930"/>
                      </a:lnTo>
                      <a:lnTo>
                        <a:pt x="3400" y="1886"/>
                      </a:lnTo>
                      <a:lnTo>
                        <a:pt x="3432" y="1842"/>
                      </a:lnTo>
                      <a:lnTo>
                        <a:pt x="3462" y="1798"/>
                      </a:lnTo>
                      <a:lnTo>
                        <a:pt x="3492" y="1752"/>
                      </a:lnTo>
                      <a:lnTo>
                        <a:pt x="3521" y="1706"/>
                      </a:lnTo>
                      <a:lnTo>
                        <a:pt x="3549" y="1660"/>
                      </a:lnTo>
                      <a:lnTo>
                        <a:pt x="3575" y="1613"/>
                      </a:lnTo>
                      <a:lnTo>
                        <a:pt x="3601" y="1565"/>
                      </a:lnTo>
                      <a:lnTo>
                        <a:pt x="3625" y="1515"/>
                      </a:lnTo>
                      <a:lnTo>
                        <a:pt x="3649" y="1466"/>
                      </a:lnTo>
                      <a:lnTo>
                        <a:pt x="3671" y="1416"/>
                      </a:lnTo>
                      <a:lnTo>
                        <a:pt x="3691" y="1365"/>
                      </a:lnTo>
                      <a:lnTo>
                        <a:pt x="3711" y="1314"/>
                      </a:lnTo>
                      <a:lnTo>
                        <a:pt x="3729" y="1262"/>
                      </a:lnTo>
                      <a:lnTo>
                        <a:pt x="3746" y="1209"/>
                      </a:lnTo>
                      <a:lnTo>
                        <a:pt x="3762" y="1156"/>
                      </a:lnTo>
                      <a:lnTo>
                        <a:pt x="3777" y="1102"/>
                      </a:lnTo>
                      <a:lnTo>
                        <a:pt x="3789" y="1048"/>
                      </a:lnTo>
                      <a:lnTo>
                        <a:pt x="3802" y="994"/>
                      </a:lnTo>
                      <a:lnTo>
                        <a:pt x="3812" y="938"/>
                      </a:lnTo>
                      <a:lnTo>
                        <a:pt x="3822" y="882"/>
                      </a:lnTo>
                      <a:lnTo>
                        <a:pt x="3830" y="827"/>
                      </a:lnTo>
                      <a:lnTo>
                        <a:pt x="3835" y="770"/>
                      </a:lnTo>
                      <a:lnTo>
                        <a:pt x="3841" y="713"/>
                      </a:lnTo>
                      <a:lnTo>
                        <a:pt x="3845" y="655"/>
                      </a:lnTo>
                      <a:lnTo>
                        <a:pt x="3847" y="598"/>
                      </a:lnTo>
                      <a:lnTo>
                        <a:pt x="3847" y="540"/>
                      </a:lnTo>
                      <a:lnTo>
                        <a:pt x="3847" y="540"/>
                      </a:lnTo>
                      <a:lnTo>
                        <a:pt x="3846" y="470"/>
                      </a:lnTo>
                      <a:lnTo>
                        <a:pt x="3842" y="401"/>
                      </a:lnTo>
                      <a:lnTo>
                        <a:pt x="3837" y="333"/>
                      </a:lnTo>
                      <a:lnTo>
                        <a:pt x="3830" y="265"/>
                      </a:lnTo>
                      <a:lnTo>
                        <a:pt x="3819" y="197"/>
                      </a:lnTo>
                      <a:lnTo>
                        <a:pt x="3808" y="131"/>
                      </a:lnTo>
                      <a:lnTo>
                        <a:pt x="3794" y="64"/>
                      </a:lnTo>
                      <a:lnTo>
                        <a:pt x="3779" y="0"/>
                      </a:lnTo>
                      <a:lnTo>
                        <a:pt x="3779" y="0"/>
                      </a:lnTo>
                      <a:lnTo>
                        <a:pt x="3778" y="41"/>
                      </a:lnTo>
                      <a:lnTo>
                        <a:pt x="3776" y="84"/>
                      </a:lnTo>
                      <a:lnTo>
                        <a:pt x="3773" y="126"/>
                      </a:lnTo>
                      <a:lnTo>
                        <a:pt x="3769" y="167"/>
                      </a:lnTo>
                      <a:lnTo>
                        <a:pt x="3764" y="208"/>
                      </a:lnTo>
                      <a:lnTo>
                        <a:pt x="3757" y="250"/>
                      </a:lnTo>
                      <a:lnTo>
                        <a:pt x="3750" y="290"/>
                      </a:lnTo>
                      <a:lnTo>
                        <a:pt x="3742" y="330"/>
                      </a:lnTo>
                      <a:lnTo>
                        <a:pt x="3733" y="370"/>
                      </a:lnTo>
                      <a:lnTo>
                        <a:pt x="3723" y="410"/>
                      </a:lnTo>
                      <a:lnTo>
                        <a:pt x="3712" y="449"/>
                      </a:lnTo>
                      <a:lnTo>
                        <a:pt x="3700" y="487"/>
                      </a:lnTo>
                      <a:lnTo>
                        <a:pt x="3687" y="526"/>
                      </a:lnTo>
                      <a:lnTo>
                        <a:pt x="3673" y="564"/>
                      </a:lnTo>
                      <a:lnTo>
                        <a:pt x="3659" y="601"/>
                      </a:lnTo>
                      <a:lnTo>
                        <a:pt x="3643" y="638"/>
                      </a:lnTo>
                      <a:lnTo>
                        <a:pt x="3627" y="675"/>
                      </a:lnTo>
                      <a:lnTo>
                        <a:pt x="3610" y="710"/>
                      </a:lnTo>
                      <a:lnTo>
                        <a:pt x="3591" y="746"/>
                      </a:lnTo>
                      <a:lnTo>
                        <a:pt x="3573" y="782"/>
                      </a:lnTo>
                      <a:lnTo>
                        <a:pt x="3553" y="816"/>
                      </a:lnTo>
                      <a:lnTo>
                        <a:pt x="3533" y="850"/>
                      </a:lnTo>
                      <a:lnTo>
                        <a:pt x="3512" y="883"/>
                      </a:lnTo>
                      <a:lnTo>
                        <a:pt x="3489" y="916"/>
                      </a:lnTo>
                      <a:lnTo>
                        <a:pt x="3467" y="949"/>
                      </a:lnTo>
                      <a:lnTo>
                        <a:pt x="3443" y="981"/>
                      </a:lnTo>
                      <a:lnTo>
                        <a:pt x="3419" y="1012"/>
                      </a:lnTo>
                      <a:lnTo>
                        <a:pt x="3393" y="1043"/>
                      </a:lnTo>
                      <a:lnTo>
                        <a:pt x="3368" y="1073"/>
                      </a:lnTo>
                      <a:lnTo>
                        <a:pt x="3341" y="1102"/>
                      </a:lnTo>
                      <a:lnTo>
                        <a:pt x="3315" y="1131"/>
                      </a:lnTo>
                      <a:lnTo>
                        <a:pt x="3287" y="1159"/>
                      </a:lnTo>
                      <a:lnTo>
                        <a:pt x="3259" y="1186"/>
                      </a:lnTo>
                      <a:lnTo>
                        <a:pt x="3230" y="1214"/>
                      </a:lnTo>
                      <a:lnTo>
                        <a:pt x="3200" y="1239"/>
                      </a:lnTo>
                      <a:lnTo>
                        <a:pt x="3170" y="1264"/>
                      </a:lnTo>
                      <a:lnTo>
                        <a:pt x="3139" y="1290"/>
                      </a:lnTo>
                      <a:lnTo>
                        <a:pt x="3107" y="1314"/>
                      </a:lnTo>
                      <a:lnTo>
                        <a:pt x="3074" y="1337"/>
                      </a:lnTo>
                      <a:lnTo>
                        <a:pt x="3042" y="1359"/>
                      </a:lnTo>
                      <a:lnTo>
                        <a:pt x="3009" y="1380"/>
                      </a:lnTo>
                      <a:lnTo>
                        <a:pt x="2975" y="1401"/>
                      </a:lnTo>
                      <a:lnTo>
                        <a:pt x="2941" y="1422"/>
                      </a:lnTo>
                      <a:lnTo>
                        <a:pt x="2906" y="1440"/>
                      </a:lnTo>
                      <a:lnTo>
                        <a:pt x="2871" y="1459"/>
                      </a:lnTo>
                      <a:lnTo>
                        <a:pt x="2835" y="1477"/>
                      </a:lnTo>
                      <a:lnTo>
                        <a:pt x="2799" y="1493"/>
                      </a:lnTo>
                      <a:lnTo>
                        <a:pt x="2762" y="1509"/>
                      </a:lnTo>
                      <a:lnTo>
                        <a:pt x="2724" y="1524"/>
                      </a:lnTo>
                      <a:lnTo>
                        <a:pt x="2688" y="1539"/>
                      </a:lnTo>
                      <a:lnTo>
                        <a:pt x="2650" y="1552"/>
                      </a:lnTo>
                      <a:lnTo>
                        <a:pt x="2610" y="1565"/>
                      </a:lnTo>
                      <a:lnTo>
                        <a:pt x="2571" y="1576"/>
                      </a:lnTo>
                      <a:lnTo>
                        <a:pt x="2532" y="1587"/>
                      </a:lnTo>
                      <a:lnTo>
                        <a:pt x="2493" y="1596"/>
                      </a:lnTo>
                      <a:lnTo>
                        <a:pt x="2453" y="1605"/>
                      </a:lnTo>
                      <a:lnTo>
                        <a:pt x="2412" y="1613"/>
                      </a:lnTo>
                      <a:lnTo>
                        <a:pt x="2372" y="1619"/>
                      </a:lnTo>
                      <a:lnTo>
                        <a:pt x="2331" y="1625"/>
                      </a:lnTo>
                      <a:lnTo>
                        <a:pt x="2289" y="1630"/>
                      </a:lnTo>
                      <a:lnTo>
                        <a:pt x="2248" y="1634"/>
                      </a:lnTo>
                      <a:lnTo>
                        <a:pt x="2205" y="1636"/>
                      </a:lnTo>
                      <a:lnTo>
                        <a:pt x="2164" y="1637"/>
                      </a:lnTo>
                      <a:lnTo>
                        <a:pt x="2121" y="1638"/>
                      </a:lnTo>
                      <a:lnTo>
                        <a:pt x="2121" y="1638"/>
                      </a:lnTo>
                      <a:lnTo>
                        <a:pt x="2079" y="1637"/>
                      </a:lnTo>
                      <a:lnTo>
                        <a:pt x="2037" y="1636"/>
                      </a:lnTo>
                      <a:lnTo>
                        <a:pt x="1994" y="1634"/>
                      </a:lnTo>
                      <a:lnTo>
                        <a:pt x="1954" y="1630"/>
                      </a:lnTo>
                      <a:lnTo>
                        <a:pt x="1913" y="1626"/>
                      </a:lnTo>
                      <a:lnTo>
                        <a:pt x="1871" y="1620"/>
                      </a:lnTo>
                      <a:lnTo>
                        <a:pt x="1831" y="1613"/>
                      </a:lnTo>
                      <a:lnTo>
                        <a:pt x="1791" y="1605"/>
                      </a:lnTo>
                      <a:lnTo>
                        <a:pt x="1752" y="1597"/>
                      </a:lnTo>
                      <a:lnTo>
                        <a:pt x="1712" y="1588"/>
                      </a:lnTo>
                      <a:lnTo>
                        <a:pt x="1673" y="1577"/>
                      </a:lnTo>
                      <a:lnTo>
                        <a:pt x="1634" y="1566"/>
                      </a:lnTo>
                      <a:lnTo>
                        <a:pt x="1596" y="1553"/>
                      </a:lnTo>
                      <a:lnTo>
                        <a:pt x="1558" y="1541"/>
                      </a:lnTo>
                      <a:lnTo>
                        <a:pt x="1521" y="1526"/>
                      </a:lnTo>
                      <a:lnTo>
                        <a:pt x="1483" y="1511"/>
                      </a:lnTo>
                      <a:lnTo>
                        <a:pt x="1448" y="1496"/>
                      </a:lnTo>
                      <a:lnTo>
                        <a:pt x="1411" y="1478"/>
                      </a:lnTo>
                      <a:lnTo>
                        <a:pt x="1375" y="1461"/>
                      </a:lnTo>
                      <a:lnTo>
                        <a:pt x="1341" y="1443"/>
                      </a:lnTo>
                      <a:lnTo>
                        <a:pt x="1306" y="1424"/>
                      </a:lnTo>
                      <a:lnTo>
                        <a:pt x="1271" y="1405"/>
                      </a:lnTo>
                      <a:lnTo>
                        <a:pt x="1238" y="1384"/>
                      </a:lnTo>
                      <a:lnTo>
                        <a:pt x="1205" y="1362"/>
                      </a:lnTo>
                      <a:lnTo>
                        <a:pt x="1172" y="1340"/>
                      </a:lnTo>
                      <a:lnTo>
                        <a:pt x="1140" y="1317"/>
                      </a:lnTo>
                      <a:lnTo>
                        <a:pt x="1109" y="1293"/>
                      </a:lnTo>
                      <a:lnTo>
                        <a:pt x="1078" y="1269"/>
                      </a:lnTo>
                      <a:lnTo>
                        <a:pt x="1048" y="1243"/>
                      </a:lnTo>
                      <a:lnTo>
                        <a:pt x="1018" y="1218"/>
                      </a:lnTo>
                      <a:lnTo>
                        <a:pt x="989" y="1192"/>
                      </a:lnTo>
                      <a:lnTo>
                        <a:pt x="962" y="1165"/>
                      </a:lnTo>
                      <a:lnTo>
                        <a:pt x="0" y="2125"/>
                      </a:lnTo>
                      <a:lnTo>
                        <a:pt x="0" y="2125"/>
                      </a:lnTo>
                      <a:lnTo>
                        <a:pt x="38" y="2163"/>
                      </a:lnTo>
                      <a:lnTo>
                        <a:pt x="79" y="2201"/>
                      </a:lnTo>
                      <a:lnTo>
                        <a:pt x="119" y="2237"/>
                      </a:lnTo>
                      <a:lnTo>
                        <a:pt x="161" y="2273"/>
                      </a:lnTo>
                      <a:lnTo>
                        <a:pt x="202" y="2306"/>
                      </a:lnTo>
                      <a:lnTo>
                        <a:pt x="246" y="2340"/>
                      </a:lnTo>
                      <a:lnTo>
                        <a:pt x="289" y="2372"/>
                      </a:lnTo>
                      <a:lnTo>
                        <a:pt x="333" y="2403"/>
                      </a:lnTo>
                      <a:lnTo>
                        <a:pt x="379" y="2433"/>
                      </a:lnTo>
                      <a:lnTo>
                        <a:pt x="425" y="2462"/>
                      </a:lnTo>
                      <a:lnTo>
                        <a:pt x="473" y="2490"/>
                      </a:lnTo>
                      <a:lnTo>
                        <a:pt x="520" y="2517"/>
                      </a:lnTo>
                      <a:lnTo>
                        <a:pt x="568" y="2542"/>
                      </a:lnTo>
                      <a:lnTo>
                        <a:pt x="618" y="2566"/>
                      </a:lnTo>
                      <a:lnTo>
                        <a:pt x="667" y="2591"/>
                      </a:lnTo>
                      <a:lnTo>
                        <a:pt x="717" y="2612"/>
                      </a:lnTo>
                      <a:lnTo>
                        <a:pt x="768" y="2633"/>
                      </a:lnTo>
                      <a:lnTo>
                        <a:pt x="819" y="2653"/>
                      </a:lnTo>
                      <a:lnTo>
                        <a:pt x="872" y="2671"/>
                      </a:lnTo>
                      <a:lnTo>
                        <a:pt x="925" y="2688"/>
                      </a:lnTo>
                      <a:lnTo>
                        <a:pt x="978" y="2704"/>
                      </a:lnTo>
                      <a:lnTo>
                        <a:pt x="1032" y="2719"/>
                      </a:lnTo>
                      <a:lnTo>
                        <a:pt x="1086" y="2732"/>
                      </a:lnTo>
                      <a:lnTo>
                        <a:pt x="1141" y="2745"/>
                      </a:lnTo>
                      <a:lnTo>
                        <a:pt x="1197" y="2755"/>
                      </a:lnTo>
                      <a:lnTo>
                        <a:pt x="1252" y="2764"/>
                      </a:lnTo>
                      <a:lnTo>
                        <a:pt x="1308" y="2772"/>
                      </a:lnTo>
                      <a:lnTo>
                        <a:pt x="1365" y="2779"/>
                      </a:lnTo>
                      <a:lnTo>
                        <a:pt x="1422" y="2784"/>
                      </a:lnTo>
                      <a:lnTo>
                        <a:pt x="1480" y="2787"/>
                      </a:lnTo>
                      <a:lnTo>
                        <a:pt x="1539" y="2790"/>
                      </a:lnTo>
                      <a:lnTo>
                        <a:pt x="1596" y="2791"/>
                      </a:lnTo>
                      <a:lnTo>
                        <a:pt x="1596" y="2791"/>
                      </a:lnTo>
                      <a:close/>
                    </a:path>
                  </a:pathLst>
                </a:custGeom>
                <a:solidFill>
                  <a:srgbClr val="7F89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9" name="Freeform 301"/>
                <p:cNvSpPr>
                  <a:spLocks/>
                </p:cNvSpPr>
                <p:nvPr/>
              </p:nvSpPr>
              <p:spPr bwMode="auto">
                <a:xfrm>
                  <a:off x="5289550" y="1624013"/>
                  <a:ext cx="638175" cy="611188"/>
                </a:xfrm>
                <a:custGeom>
                  <a:avLst/>
                  <a:gdLst>
                    <a:gd name="T0" fmla="*/ 0 w 2817"/>
                    <a:gd name="T1" fmla="*/ 2220 h 2693"/>
                    <a:gd name="T2" fmla="*/ 56 w 2817"/>
                    <a:gd name="T3" fmla="*/ 2273 h 2693"/>
                    <a:gd name="T4" fmla="*/ 116 w 2817"/>
                    <a:gd name="T5" fmla="*/ 2324 h 2693"/>
                    <a:gd name="T6" fmla="*/ 178 w 2817"/>
                    <a:gd name="T7" fmla="*/ 2372 h 2693"/>
                    <a:gd name="T8" fmla="*/ 243 w 2817"/>
                    <a:gd name="T9" fmla="*/ 2417 h 2693"/>
                    <a:gd name="T10" fmla="*/ 309 w 2817"/>
                    <a:gd name="T11" fmla="*/ 2460 h 2693"/>
                    <a:gd name="T12" fmla="*/ 379 w 2817"/>
                    <a:gd name="T13" fmla="*/ 2498 h 2693"/>
                    <a:gd name="T14" fmla="*/ 449 w 2817"/>
                    <a:gd name="T15" fmla="*/ 2533 h 2693"/>
                    <a:gd name="T16" fmla="*/ 521 w 2817"/>
                    <a:gd name="T17" fmla="*/ 2566 h 2693"/>
                    <a:gd name="T18" fmla="*/ 596 w 2817"/>
                    <a:gd name="T19" fmla="*/ 2596 h 2693"/>
                    <a:gd name="T20" fmla="*/ 672 w 2817"/>
                    <a:gd name="T21" fmla="*/ 2621 h 2693"/>
                    <a:gd name="T22" fmla="*/ 750 w 2817"/>
                    <a:gd name="T23" fmla="*/ 2643 h 2693"/>
                    <a:gd name="T24" fmla="*/ 829 w 2817"/>
                    <a:gd name="T25" fmla="*/ 2660 h 2693"/>
                    <a:gd name="T26" fmla="*/ 909 w 2817"/>
                    <a:gd name="T27" fmla="*/ 2675 h 2693"/>
                    <a:gd name="T28" fmla="*/ 992 w 2817"/>
                    <a:gd name="T29" fmla="*/ 2685 h 2693"/>
                    <a:gd name="T30" fmla="*/ 1075 w 2817"/>
                    <a:gd name="T31" fmla="*/ 2691 h 2693"/>
                    <a:gd name="T32" fmla="*/ 1159 w 2817"/>
                    <a:gd name="T33" fmla="*/ 2693 h 2693"/>
                    <a:gd name="T34" fmla="*/ 1202 w 2817"/>
                    <a:gd name="T35" fmla="*/ 2692 h 2693"/>
                    <a:gd name="T36" fmla="*/ 1286 w 2817"/>
                    <a:gd name="T37" fmla="*/ 2689 h 2693"/>
                    <a:gd name="T38" fmla="*/ 1369 w 2817"/>
                    <a:gd name="T39" fmla="*/ 2680 h 2693"/>
                    <a:gd name="T40" fmla="*/ 1450 w 2817"/>
                    <a:gd name="T41" fmla="*/ 2668 h 2693"/>
                    <a:gd name="T42" fmla="*/ 1531 w 2817"/>
                    <a:gd name="T43" fmla="*/ 2651 h 2693"/>
                    <a:gd name="T44" fmla="*/ 1609 w 2817"/>
                    <a:gd name="T45" fmla="*/ 2631 h 2693"/>
                    <a:gd name="T46" fmla="*/ 1688 w 2817"/>
                    <a:gd name="T47" fmla="*/ 2607 h 2693"/>
                    <a:gd name="T48" fmla="*/ 1762 w 2817"/>
                    <a:gd name="T49" fmla="*/ 2579 h 2693"/>
                    <a:gd name="T50" fmla="*/ 1837 w 2817"/>
                    <a:gd name="T51" fmla="*/ 2548 h 2693"/>
                    <a:gd name="T52" fmla="*/ 1909 w 2817"/>
                    <a:gd name="T53" fmla="*/ 2514 h 2693"/>
                    <a:gd name="T54" fmla="*/ 1979 w 2817"/>
                    <a:gd name="T55" fmla="*/ 2477 h 2693"/>
                    <a:gd name="T56" fmla="*/ 2047 w 2817"/>
                    <a:gd name="T57" fmla="*/ 2435 h 2693"/>
                    <a:gd name="T58" fmla="*/ 2112 w 2817"/>
                    <a:gd name="T59" fmla="*/ 2392 h 2693"/>
                    <a:gd name="T60" fmla="*/ 2177 w 2817"/>
                    <a:gd name="T61" fmla="*/ 2345 h 2693"/>
                    <a:gd name="T62" fmla="*/ 2238 w 2817"/>
                    <a:gd name="T63" fmla="*/ 2294 h 2693"/>
                    <a:gd name="T64" fmla="*/ 2297 w 2817"/>
                    <a:gd name="T65" fmla="*/ 2241 h 2693"/>
                    <a:gd name="T66" fmla="*/ 2353 w 2817"/>
                    <a:gd name="T67" fmla="*/ 2186 h 2693"/>
                    <a:gd name="T68" fmla="*/ 2406 w 2817"/>
                    <a:gd name="T69" fmla="*/ 2128 h 2693"/>
                    <a:gd name="T70" fmla="*/ 2457 w 2817"/>
                    <a:gd name="T71" fmla="*/ 2067 h 2693"/>
                    <a:gd name="T72" fmla="*/ 2505 w 2817"/>
                    <a:gd name="T73" fmla="*/ 2004 h 2693"/>
                    <a:gd name="T74" fmla="*/ 2550 w 2817"/>
                    <a:gd name="T75" fmla="*/ 1938 h 2693"/>
                    <a:gd name="T76" fmla="*/ 2591 w 2817"/>
                    <a:gd name="T77" fmla="*/ 1871 h 2693"/>
                    <a:gd name="T78" fmla="*/ 2629 w 2817"/>
                    <a:gd name="T79" fmla="*/ 1801 h 2693"/>
                    <a:gd name="T80" fmla="*/ 2665 w 2817"/>
                    <a:gd name="T81" fmla="*/ 1730 h 2693"/>
                    <a:gd name="T82" fmla="*/ 2697 w 2817"/>
                    <a:gd name="T83" fmla="*/ 1656 h 2693"/>
                    <a:gd name="T84" fmla="*/ 2725 w 2817"/>
                    <a:gd name="T85" fmla="*/ 1581 h 2693"/>
                    <a:gd name="T86" fmla="*/ 2750 w 2817"/>
                    <a:gd name="T87" fmla="*/ 1504 h 2693"/>
                    <a:gd name="T88" fmla="*/ 2771 w 2817"/>
                    <a:gd name="T89" fmla="*/ 1425 h 2693"/>
                    <a:gd name="T90" fmla="*/ 2788 w 2817"/>
                    <a:gd name="T91" fmla="*/ 1345 h 2693"/>
                    <a:gd name="T92" fmla="*/ 2802 w 2817"/>
                    <a:gd name="T93" fmla="*/ 1263 h 2693"/>
                    <a:gd name="T94" fmla="*/ 2811 w 2817"/>
                    <a:gd name="T95" fmla="*/ 1181 h 2693"/>
                    <a:gd name="T96" fmla="*/ 2816 w 2817"/>
                    <a:gd name="T97" fmla="*/ 1096 h 2693"/>
                    <a:gd name="T98" fmla="*/ 2817 w 2817"/>
                    <a:gd name="T99" fmla="*/ 1054 h 2693"/>
                    <a:gd name="T100" fmla="*/ 2799 w 2817"/>
                    <a:gd name="T101" fmla="*/ 985 h 2693"/>
                    <a:gd name="T102" fmla="*/ 2756 w 2817"/>
                    <a:gd name="T103" fmla="*/ 849 h 2693"/>
                    <a:gd name="T104" fmla="*/ 2705 w 2817"/>
                    <a:gd name="T105" fmla="*/ 718 h 2693"/>
                    <a:gd name="T106" fmla="*/ 2645 w 2817"/>
                    <a:gd name="T107" fmla="*/ 590 h 2693"/>
                    <a:gd name="T108" fmla="*/ 2580 w 2817"/>
                    <a:gd name="T109" fmla="*/ 467 h 2693"/>
                    <a:gd name="T110" fmla="*/ 2505 w 2817"/>
                    <a:gd name="T111" fmla="*/ 348 h 2693"/>
                    <a:gd name="T112" fmla="*/ 2424 w 2817"/>
                    <a:gd name="T113" fmla="*/ 234 h 2693"/>
                    <a:gd name="T114" fmla="*/ 2337 w 2817"/>
                    <a:gd name="T115" fmla="*/ 126 h 2693"/>
                    <a:gd name="T116" fmla="*/ 2291 w 2817"/>
                    <a:gd name="T117" fmla="*/ 74 h 2693"/>
                    <a:gd name="T118" fmla="*/ 2283 w 2817"/>
                    <a:gd name="T119" fmla="*/ 65 h 2693"/>
                    <a:gd name="T120" fmla="*/ 2218 w 2817"/>
                    <a:gd name="T121" fmla="*/ 0 h 2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17" h="2693">
                      <a:moveTo>
                        <a:pt x="0" y="2220"/>
                      </a:moveTo>
                      <a:lnTo>
                        <a:pt x="0" y="2220"/>
                      </a:lnTo>
                      <a:lnTo>
                        <a:pt x="27" y="2247"/>
                      </a:lnTo>
                      <a:lnTo>
                        <a:pt x="56" y="2273"/>
                      </a:lnTo>
                      <a:lnTo>
                        <a:pt x="86" y="2298"/>
                      </a:lnTo>
                      <a:lnTo>
                        <a:pt x="116" y="2324"/>
                      </a:lnTo>
                      <a:lnTo>
                        <a:pt x="147" y="2348"/>
                      </a:lnTo>
                      <a:lnTo>
                        <a:pt x="178" y="2372"/>
                      </a:lnTo>
                      <a:lnTo>
                        <a:pt x="210" y="2395"/>
                      </a:lnTo>
                      <a:lnTo>
                        <a:pt x="243" y="2417"/>
                      </a:lnTo>
                      <a:lnTo>
                        <a:pt x="276" y="2439"/>
                      </a:lnTo>
                      <a:lnTo>
                        <a:pt x="309" y="2460"/>
                      </a:lnTo>
                      <a:lnTo>
                        <a:pt x="344" y="2479"/>
                      </a:lnTo>
                      <a:lnTo>
                        <a:pt x="379" y="2498"/>
                      </a:lnTo>
                      <a:lnTo>
                        <a:pt x="413" y="2516"/>
                      </a:lnTo>
                      <a:lnTo>
                        <a:pt x="449" y="2533"/>
                      </a:lnTo>
                      <a:lnTo>
                        <a:pt x="486" y="2551"/>
                      </a:lnTo>
                      <a:lnTo>
                        <a:pt x="521" y="2566"/>
                      </a:lnTo>
                      <a:lnTo>
                        <a:pt x="559" y="2581"/>
                      </a:lnTo>
                      <a:lnTo>
                        <a:pt x="596" y="2596"/>
                      </a:lnTo>
                      <a:lnTo>
                        <a:pt x="634" y="2608"/>
                      </a:lnTo>
                      <a:lnTo>
                        <a:pt x="672" y="2621"/>
                      </a:lnTo>
                      <a:lnTo>
                        <a:pt x="711" y="2632"/>
                      </a:lnTo>
                      <a:lnTo>
                        <a:pt x="750" y="2643"/>
                      </a:lnTo>
                      <a:lnTo>
                        <a:pt x="790" y="2652"/>
                      </a:lnTo>
                      <a:lnTo>
                        <a:pt x="829" y="2660"/>
                      </a:lnTo>
                      <a:lnTo>
                        <a:pt x="869" y="2668"/>
                      </a:lnTo>
                      <a:lnTo>
                        <a:pt x="909" y="2675"/>
                      </a:lnTo>
                      <a:lnTo>
                        <a:pt x="951" y="2681"/>
                      </a:lnTo>
                      <a:lnTo>
                        <a:pt x="992" y="2685"/>
                      </a:lnTo>
                      <a:lnTo>
                        <a:pt x="1032" y="2689"/>
                      </a:lnTo>
                      <a:lnTo>
                        <a:pt x="1075" y="2691"/>
                      </a:lnTo>
                      <a:lnTo>
                        <a:pt x="1117" y="2692"/>
                      </a:lnTo>
                      <a:lnTo>
                        <a:pt x="1159" y="2693"/>
                      </a:lnTo>
                      <a:lnTo>
                        <a:pt x="1159" y="2693"/>
                      </a:lnTo>
                      <a:lnTo>
                        <a:pt x="1202" y="2692"/>
                      </a:lnTo>
                      <a:lnTo>
                        <a:pt x="1243" y="2691"/>
                      </a:lnTo>
                      <a:lnTo>
                        <a:pt x="1286" y="2689"/>
                      </a:lnTo>
                      <a:lnTo>
                        <a:pt x="1327" y="2685"/>
                      </a:lnTo>
                      <a:lnTo>
                        <a:pt x="1369" y="2680"/>
                      </a:lnTo>
                      <a:lnTo>
                        <a:pt x="1410" y="2674"/>
                      </a:lnTo>
                      <a:lnTo>
                        <a:pt x="1450" y="2668"/>
                      </a:lnTo>
                      <a:lnTo>
                        <a:pt x="1491" y="2660"/>
                      </a:lnTo>
                      <a:lnTo>
                        <a:pt x="1531" y="2651"/>
                      </a:lnTo>
                      <a:lnTo>
                        <a:pt x="1570" y="2642"/>
                      </a:lnTo>
                      <a:lnTo>
                        <a:pt x="1609" y="2631"/>
                      </a:lnTo>
                      <a:lnTo>
                        <a:pt x="1648" y="2620"/>
                      </a:lnTo>
                      <a:lnTo>
                        <a:pt x="1688" y="2607"/>
                      </a:lnTo>
                      <a:lnTo>
                        <a:pt x="1726" y="2594"/>
                      </a:lnTo>
                      <a:lnTo>
                        <a:pt x="1762" y="2579"/>
                      </a:lnTo>
                      <a:lnTo>
                        <a:pt x="1800" y="2564"/>
                      </a:lnTo>
                      <a:lnTo>
                        <a:pt x="1837" y="2548"/>
                      </a:lnTo>
                      <a:lnTo>
                        <a:pt x="1873" y="2532"/>
                      </a:lnTo>
                      <a:lnTo>
                        <a:pt x="1909" y="2514"/>
                      </a:lnTo>
                      <a:lnTo>
                        <a:pt x="1944" y="2495"/>
                      </a:lnTo>
                      <a:lnTo>
                        <a:pt x="1979" y="2477"/>
                      </a:lnTo>
                      <a:lnTo>
                        <a:pt x="2013" y="2456"/>
                      </a:lnTo>
                      <a:lnTo>
                        <a:pt x="2047" y="2435"/>
                      </a:lnTo>
                      <a:lnTo>
                        <a:pt x="2080" y="2414"/>
                      </a:lnTo>
                      <a:lnTo>
                        <a:pt x="2112" y="2392"/>
                      </a:lnTo>
                      <a:lnTo>
                        <a:pt x="2145" y="2369"/>
                      </a:lnTo>
                      <a:lnTo>
                        <a:pt x="2177" y="2345"/>
                      </a:lnTo>
                      <a:lnTo>
                        <a:pt x="2208" y="2319"/>
                      </a:lnTo>
                      <a:lnTo>
                        <a:pt x="2238" y="2294"/>
                      </a:lnTo>
                      <a:lnTo>
                        <a:pt x="2268" y="2269"/>
                      </a:lnTo>
                      <a:lnTo>
                        <a:pt x="2297" y="2241"/>
                      </a:lnTo>
                      <a:lnTo>
                        <a:pt x="2325" y="2214"/>
                      </a:lnTo>
                      <a:lnTo>
                        <a:pt x="2353" y="2186"/>
                      </a:lnTo>
                      <a:lnTo>
                        <a:pt x="2379" y="2157"/>
                      </a:lnTo>
                      <a:lnTo>
                        <a:pt x="2406" y="2128"/>
                      </a:lnTo>
                      <a:lnTo>
                        <a:pt x="2431" y="2098"/>
                      </a:lnTo>
                      <a:lnTo>
                        <a:pt x="2457" y="2067"/>
                      </a:lnTo>
                      <a:lnTo>
                        <a:pt x="2481" y="2036"/>
                      </a:lnTo>
                      <a:lnTo>
                        <a:pt x="2505" y="2004"/>
                      </a:lnTo>
                      <a:lnTo>
                        <a:pt x="2527" y="1971"/>
                      </a:lnTo>
                      <a:lnTo>
                        <a:pt x="2550" y="1938"/>
                      </a:lnTo>
                      <a:lnTo>
                        <a:pt x="2571" y="1905"/>
                      </a:lnTo>
                      <a:lnTo>
                        <a:pt x="2591" y="1871"/>
                      </a:lnTo>
                      <a:lnTo>
                        <a:pt x="2611" y="1837"/>
                      </a:lnTo>
                      <a:lnTo>
                        <a:pt x="2629" y="1801"/>
                      </a:lnTo>
                      <a:lnTo>
                        <a:pt x="2648" y="1765"/>
                      </a:lnTo>
                      <a:lnTo>
                        <a:pt x="2665" y="1730"/>
                      </a:lnTo>
                      <a:lnTo>
                        <a:pt x="2681" y="1693"/>
                      </a:lnTo>
                      <a:lnTo>
                        <a:pt x="2697" y="1656"/>
                      </a:lnTo>
                      <a:lnTo>
                        <a:pt x="2711" y="1619"/>
                      </a:lnTo>
                      <a:lnTo>
                        <a:pt x="2725" y="1581"/>
                      </a:lnTo>
                      <a:lnTo>
                        <a:pt x="2738" y="1542"/>
                      </a:lnTo>
                      <a:lnTo>
                        <a:pt x="2750" y="1504"/>
                      </a:lnTo>
                      <a:lnTo>
                        <a:pt x="2761" y="1465"/>
                      </a:lnTo>
                      <a:lnTo>
                        <a:pt x="2771" y="1425"/>
                      </a:lnTo>
                      <a:lnTo>
                        <a:pt x="2780" y="1385"/>
                      </a:lnTo>
                      <a:lnTo>
                        <a:pt x="2788" y="1345"/>
                      </a:lnTo>
                      <a:lnTo>
                        <a:pt x="2795" y="1305"/>
                      </a:lnTo>
                      <a:lnTo>
                        <a:pt x="2802" y="1263"/>
                      </a:lnTo>
                      <a:lnTo>
                        <a:pt x="2807" y="1222"/>
                      </a:lnTo>
                      <a:lnTo>
                        <a:pt x="2811" y="1181"/>
                      </a:lnTo>
                      <a:lnTo>
                        <a:pt x="2814" y="1139"/>
                      </a:lnTo>
                      <a:lnTo>
                        <a:pt x="2816" y="1096"/>
                      </a:lnTo>
                      <a:lnTo>
                        <a:pt x="2817" y="1055"/>
                      </a:lnTo>
                      <a:lnTo>
                        <a:pt x="2817" y="1054"/>
                      </a:lnTo>
                      <a:lnTo>
                        <a:pt x="2817" y="1054"/>
                      </a:lnTo>
                      <a:lnTo>
                        <a:pt x="2799" y="985"/>
                      </a:lnTo>
                      <a:lnTo>
                        <a:pt x="2779" y="917"/>
                      </a:lnTo>
                      <a:lnTo>
                        <a:pt x="2756" y="849"/>
                      </a:lnTo>
                      <a:lnTo>
                        <a:pt x="2732" y="783"/>
                      </a:lnTo>
                      <a:lnTo>
                        <a:pt x="2705" y="718"/>
                      </a:lnTo>
                      <a:lnTo>
                        <a:pt x="2677" y="653"/>
                      </a:lnTo>
                      <a:lnTo>
                        <a:pt x="2645" y="590"/>
                      </a:lnTo>
                      <a:lnTo>
                        <a:pt x="2613" y="528"/>
                      </a:lnTo>
                      <a:lnTo>
                        <a:pt x="2580" y="467"/>
                      </a:lnTo>
                      <a:lnTo>
                        <a:pt x="2543" y="407"/>
                      </a:lnTo>
                      <a:lnTo>
                        <a:pt x="2505" y="348"/>
                      </a:lnTo>
                      <a:lnTo>
                        <a:pt x="2466" y="291"/>
                      </a:lnTo>
                      <a:lnTo>
                        <a:pt x="2424" y="234"/>
                      </a:lnTo>
                      <a:lnTo>
                        <a:pt x="2382" y="180"/>
                      </a:lnTo>
                      <a:lnTo>
                        <a:pt x="2337" y="126"/>
                      </a:lnTo>
                      <a:lnTo>
                        <a:pt x="2291" y="74"/>
                      </a:lnTo>
                      <a:lnTo>
                        <a:pt x="2291" y="74"/>
                      </a:lnTo>
                      <a:lnTo>
                        <a:pt x="2283" y="65"/>
                      </a:lnTo>
                      <a:lnTo>
                        <a:pt x="2283" y="65"/>
                      </a:lnTo>
                      <a:lnTo>
                        <a:pt x="2251" y="33"/>
                      </a:lnTo>
                      <a:lnTo>
                        <a:pt x="2218" y="0"/>
                      </a:lnTo>
                      <a:lnTo>
                        <a:pt x="0" y="2220"/>
                      </a:lnTo>
                      <a:close/>
                    </a:path>
                  </a:pathLst>
                </a:custGeom>
                <a:solidFill>
                  <a:srgbClr val="B3C1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0" name="Freeform 302"/>
                <p:cNvSpPr>
                  <a:spLocks/>
                </p:cNvSpPr>
                <p:nvPr/>
              </p:nvSpPr>
              <p:spPr bwMode="auto">
                <a:xfrm>
                  <a:off x="5259388" y="1885950"/>
                  <a:ext cx="349250" cy="87313"/>
                </a:xfrm>
                <a:custGeom>
                  <a:avLst/>
                  <a:gdLst>
                    <a:gd name="T0" fmla="*/ 1538 w 1538"/>
                    <a:gd name="T1" fmla="*/ 193 h 388"/>
                    <a:gd name="T2" fmla="*/ 1534 w 1538"/>
                    <a:gd name="T3" fmla="*/ 232 h 388"/>
                    <a:gd name="T4" fmla="*/ 1523 w 1538"/>
                    <a:gd name="T5" fmla="*/ 269 h 388"/>
                    <a:gd name="T6" fmla="*/ 1504 w 1538"/>
                    <a:gd name="T7" fmla="*/ 303 h 388"/>
                    <a:gd name="T8" fmla="*/ 1481 w 1538"/>
                    <a:gd name="T9" fmla="*/ 331 h 388"/>
                    <a:gd name="T10" fmla="*/ 1452 w 1538"/>
                    <a:gd name="T11" fmla="*/ 354 h 388"/>
                    <a:gd name="T12" fmla="*/ 1419 w 1538"/>
                    <a:gd name="T13" fmla="*/ 373 h 388"/>
                    <a:gd name="T14" fmla="*/ 1382 w 1538"/>
                    <a:gd name="T15" fmla="*/ 384 h 388"/>
                    <a:gd name="T16" fmla="*/ 1343 w 1538"/>
                    <a:gd name="T17" fmla="*/ 388 h 388"/>
                    <a:gd name="T18" fmla="*/ 193 w 1538"/>
                    <a:gd name="T19" fmla="*/ 388 h 388"/>
                    <a:gd name="T20" fmla="*/ 154 w 1538"/>
                    <a:gd name="T21" fmla="*/ 384 h 388"/>
                    <a:gd name="T22" fmla="*/ 118 w 1538"/>
                    <a:gd name="T23" fmla="*/ 373 h 388"/>
                    <a:gd name="T24" fmla="*/ 85 w 1538"/>
                    <a:gd name="T25" fmla="*/ 354 h 388"/>
                    <a:gd name="T26" fmla="*/ 56 w 1538"/>
                    <a:gd name="T27" fmla="*/ 331 h 388"/>
                    <a:gd name="T28" fmla="*/ 33 w 1538"/>
                    <a:gd name="T29" fmla="*/ 303 h 388"/>
                    <a:gd name="T30" fmla="*/ 15 w 1538"/>
                    <a:gd name="T31" fmla="*/ 269 h 388"/>
                    <a:gd name="T32" fmla="*/ 3 w 1538"/>
                    <a:gd name="T33" fmla="*/ 232 h 388"/>
                    <a:gd name="T34" fmla="*/ 0 w 1538"/>
                    <a:gd name="T35" fmla="*/ 193 h 388"/>
                    <a:gd name="T36" fmla="*/ 1 w 1538"/>
                    <a:gd name="T37" fmla="*/ 174 h 388"/>
                    <a:gd name="T38" fmla="*/ 8 w 1538"/>
                    <a:gd name="T39" fmla="*/ 136 h 388"/>
                    <a:gd name="T40" fmla="*/ 23 w 1538"/>
                    <a:gd name="T41" fmla="*/ 101 h 388"/>
                    <a:gd name="T42" fmla="*/ 43 w 1538"/>
                    <a:gd name="T43" fmla="*/ 70 h 388"/>
                    <a:gd name="T44" fmla="*/ 70 w 1538"/>
                    <a:gd name="T45" fmla="*/ 44 h 388"/>
                    <a:gd name="T46" fmla="*/ 101 w 1538"/>
                    <a:gd name="T47" fmla="*/ 23 h 388"/>
                    <a:gd name="T48" fmla="*/ 135 w 1538"/>
                    <a:gd name="T49" fmla="*/ 8 h 388"/>
                    <a:gd name="T50" fmla="*/ 173 w 1538"/>
                    <a:gd name="T51" fmla="*/ 1 h 388"/>
                    <a:gd name="T52" fmla="*/ 1343 w 1538"/>
                    <a:gd name="T53" fmla="*/ 0 h 388"/>
                    <a:gd name="T54" fmla="*/ 1364 w 1538"/>
                    <a:gd name="T55" fmla="*/ 1 h 388"/>
                    <a:gd name="T56" fmla="*/ 1402 w 1538"/>
                    <a:gd name="T57" fmla="*/ 8 h 388"/>
                    <a:gd name="T58" fmla="*/ 1436 w 1538"/>
                    <a:gd name="T59" fmla="*/ 23 h 388"/>
                    <a:gd name="T60" fmla="*/ 1467 w 1538"/>
                    <a:gd name="T61" fmla="*/ 44 h 388"/>
                    <a:gd name="T62" fmla="*/ 1494 w 1538"/>
                    <a:gd name="T63" fmla="*/ 70 h 388"/>
                    <a:gd name="T64" fmla="*/ 1515 w 1538"/>
                    <a:gd name="T65" fmla="*/ 101 h 388"/>
                    <a:gd name="T66" fmla="*/ 1528 w 1538"/>
                    <a:gd name="T67" fmla="*/ 136 h 388"/>
                    <a:gd name="T68" fmla="*/ 1537 w 1538"/>
                    <a:gd name="T69" fmla="*/ 174 h 388"/>
                    <a:gd name="T70" fmla="*/ 1538 w 1538"/>
                    <a:gd name="T71" fmla="*/ 19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38" h="388">
                      <a:moveTo>
                        <a:pt x="1538" y="193"/>
                      </a:moveTo>
                      <a:lnTo>
                        <a:pt x="1538" y="193"/>
                      </a:lnTo>
                      <a:lnTo>
                        <a:pt x="1537" y="214"/>
                      </a:lnTo>
                      <a:lnTo>
                        <a:pt x="1534" y="232"/>
                      </a:lnTo>
                      <a:lnTo>
                        <a:pt x="1528" y="252"/>
                      </a:lnTo>
                      <a:lnTo>
                        <a:pt x="1523" y="269"/>
                      </a:lnTo>
                      <a:lnTo>
                        <a:pt x="1515" y="287"/>
                      </a:lnTo>
                      <a:lnTo>
                        <a:pt x="1504" y="303"/>
                      </a:lnTo>
                      <a:lnTo>
                        <a:pt x="1494" y="318"/>
                      </a:lnTo>
                      <a:lnTo>
                        <a:pt x="1481" y="331"/>
                      </a:lnTo>
                      <a:lnTo>
                        <a:pt x="1467" y="343"/>
                      </a:lnTo>
                      <a:lnTo>
                        <a:pt x="1452" y="354"/>
                      </a:lnTo>
                      <a:lnTo>
                        <a:pt x="1436" y="365"/>
                      </a:lnTo>
                      <a:lnTo>
                        <a:pt x="1419" y="373"/>
                      </a:lnTo>
                      <a:lnTo>
                        <a:pt x="1402" y="379"/>
                      </a:lnTo>
                      <a:lnTo>
                        <a:pt x="1382" y="384"/>
                      </a:lnTo>
                      <a:lnTo>
                        <a:pt x="1364" y="387"/>
                      </a:lnTo>
                      <a:lnTo>
                        <a:pt x="1343" y="388"/>
                      </a:lnTo>
                      <a:lnTo>
                        <a:pt x="193" y="388"/>
                      </a:lnTo>
                      <a:lnTo>
                        <a:pt x="193" y="388"/>
                      </a:lnTo>
                      <a:lnTo>
                        <a:pt x="173" y="387"/>
                      </a:lnTo>
                      <a:lnTo>
                        <a:pt x="154" y="384"/>
                      </a:lnTo>
                      <a:lnTo>
                        <a:pt x="135" y="379"/>
                      </a:lnTo>
                      <a:lnTo>
                        <a:pt x="118" y="373"/>
                      </a:lnTo>
                      <a:lnTo>
                        <a:pt x="101" y="365"/>
                      </a:lnTo>
                      <a:lnTo>
                        <a:pt x="85" y="354"/>
                      </a:lnTo>
                      <a:lnTo>
                        <a:pt x="70" y="343"/>
                      </a:lnTo>
                      <a:lnTo>
                        <a:pt x="56" y="331"/>
                      </a:lnTo>
                      <a:lnTo>
                        <a:pt x="43" y="318"/>
                      </a:lnTo>
                      <a:lnTo>
                        <a:pt x="33" y="303"/>
                      </a:lnTo>
                      <a:lnTo>
                        <a:pt x="23" y="287"/>
                      </a:lnTo>
                      <a:lnTo>
                        <a:pt x="15" y="269"/>
                      </a:lnTo>
                      <a:lnTo>
                        <a:pt x="8" y="252"/>
                      </a:lnTo>
                      <a:lnTo>
                        <a:pt x="3" y="232"/>
                      </a:lnTo>
                      <a:lnTo>
                        <a:pt x="1" y="214"/>
                      </a:lnTo>
                      <a:lnTo>
                        <a:pt x="0" y="193"/>
                      </a:lnTo>
                      <a:lnTo>
                        <a:pt x="0" y="193"/>
                      </a:lnTo>
                      <a:lnTo>
                        <a:pt x="1" y="174"/>
                      </a:lnTo>
                      <a:lnTo>
                        <a:pt x="3" y="154"/>
                      </a:lnTo>
                      <a:lnTo>
                        <a:pt x="8" y="136"/>
                      </a:lnTo>
                      <a:lnTo>
                        <a:pt x="15" y="118"/>
                      </a:lnTo>
                      <a:lnTo>
                        <a:pt x="23" y="101"/>
                      </a:lnTo>
                      <a:lnTo>
                        <a:pt x="33" y="85"/>
                      </a:lnTo>
                      <a:lnTo>
                        <a:pt x="43" y="70"/>
                      </a:lnTo>
                      <a:lnTo>
                        <a:pt x="56" y="56"/>
                      </a:lnTo>
                      <a:lnTo>
                        <a:pt x="70" y="44"/>
                      </a:lnTo>
                      <a:lnTo>
                        <a:pt x="85" y="33"/>
                      </a:lnTo>
                      <a:lnTo>
                        <a:pt x="101" y="23"/>
                      </a:lnTo>
                      <a:lnTo>
                        <a:pt x="118" y="15"/>
                      </a:lnTo>
                      <a:lnTo>
                        <a:pt x="135" y="8"/>
                      </a:lnTo>
                      <a:lnTo>
                        <a:pt x="154" y="3"/>
                      </a:lnTo>
                      <a:lnTo>
                        <a:pt x="173" y="1"/>
                      </a:lnTo>
                      <a:lnTo>
                        <a:pt x="193" y="0"/>
                      </a:lnTo>
                      <a:lnTo>
                        <a:pt x="1343" y="0"/>
                      </a:lnTo>
                      <a:lnTo>
                        <a:pt x="1343" y="0"/>
                      </a:lnTo>
                      <a:lnTo>
                        <a:pt x="1364" y="1"/>
                      </a:lnTo>
                      <a:lnTo>
                        <a:pt x="1382" y="3"/>
                      </a:lnTo>
                      <a:lnTo>
                        <a:pt x="1402" y="8"/>
                      </a:lnTo>
                      <a:lnTo>
                        <a:pt x="1419" y="15"/>
                      </a:lnTo>
                      <a:lnTo>
                        <a:pt x="1436" y="23"/>
                      </a:lnTo>
                      <a:lnTo>
                        <a:pt x="1452" y="33"/>
                      </a:lnTo>
                      <a:lnTo>
                        <a:pt x="1467" y="44"/>
                      </a:lnTo>
                      <a:lnTo>
                        <a:pt x="1481" y="56"/>
                      </a:lnTo>
                      <a:lnTo>
                        <a:pt x="1494" y="70"/>
                      </a:lnTo>
                      <a:lnTo>
                        <a:pt x="1504" y="85"/>
                      </a:lnTo>
                      <a:lnTo>
                        <a:pt x="1515" y="101"/>
                      </a:lnTo>
                      <a:lnTo>
                        <a:pt x="1523" y="118"/>
                      </a:lnTo>
                      <a:lnTo>
                        <a:pt x="1528" y="136"/>
                      </a:lnTo>
                      <a:lnTo>
                        <a:pt x="1534" y="154"/>
                      </a:lnTo>
                      <a:lnTo>
                        <a:pt x="1537" y="174"/>
                      </a:lnTo>
                      <a:lnTo>
                        <a:pt x="1538" y="193"/>
                      </a:lnTo>
                      <a:lnTo>
                        <a:pt x="1538" y="193"/>
                      </a:lnTo>
                      <a:close/>
                    </a:path>
                  </a:pathLst>
                </a:custGeom>
                <a:solidFill>
                  <a:srgbClr val="B3C1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1" name="Freeform 303"/>
                <p:cNvSpPr>
                  <a:spLocks/>
                </p:cNvSpPr>
                <p:nvPr/>
              </p:nvSpPr>
              <p:spPr bwMode="auto">
                <a:xfrm>
                  <a:off x="5483225" y="1766888"/>
                  <a:ext cx="303213" cy="77788"/>
                </a:xfrm>
                <a:custGeom>
                  <a:avLst/>
                  <a:gdLst>
                    <a:gd name="T0" fmla="*/ 1332 w 1332"/>
                    <a:gd name="T1" fmla="*/ 169 h 337"/>
                    <a:gd name="T2" fmla="*/ 1328 w 1332"/>
                    <a:gd name="T3" fmla="*/ 202 h 337"/>
                    <a:gd name="T4" fmla="*/ 1318 w 1332"/>
                    <a:gd name="T5" fmla="*/ 233 h 337"/>
                    <a:gd name="T6" fmla="*/ 1303 w 1332"/>
                    <a:gd name="T7" fmla="*/ 262 h 337"/>
                    <a:gd name="T8" fmla="*/ 1282 w 1332"/>
                    <a:gd name="T9" fmla="*/ 287 h 337"/>
                    <a:gd name="T10" fmla="*/ 1258 w 1332"/>
                    <a:gd name="T11" fmla="*/ 308 h 337"/>
                    <a:gd name="T12" fmla="*/ 1229 w 1332"/>
                    <a:gd name="T13" fmla="*/ 323 h 337"/>
                    <a:gd name="T14" fmla="*/ 1197 w 1332"/>
                    <a:gd name="T15" fmla="*/ 333 h 337"/>
                    <a:gd name="T16" fmla="*/ 1164 w 1332"/>
                    <a:gd name="T17" fmla="*/ 337 h 337"/>
                    <a:gd name="T18" fmla="*/ 168 w 1332"/>
                    <a:gd name="T19" fmla="*/ 337 h 337"/>
                    <a:gd name="T20" fmla="*/ 134 w 1332"/>
                    <a:gd name="T21" fmla="*/ 333 h 337"/>
                    <a:gd name="T22" fmla="*/ 102 w 1332"/>
                    <a:gd name="T23" fmla="*/ 323 h 337"/>
                    <a:gd name="T24" fmla="*/ 73 w 1332"/>
                    <a:gd name="T25" fmla="*/ 308 h 337"/>
                    <a:gd name="T26" fmla="*/ 49 w 1332"/>
                    <a:gd name="T27" fmla="*/ 287 h 337"/>
                    <a:gd name="T28" fmla="*/ 28 w 1332"/>
                    <a:gd name="T29" fmla="*/ 262 h 337"/>
                    <a:gd name="T30" fmla="*/ 13 w 1332"/>
                    <a:gd name="T31" fmla="*/ 233 h 337"/>
                    <a:gd name="T32" fmla="*/ 3 w 1332"/>
                    <a:gd name="T33" fmla="*/ 202 h 337"/>
                    <a:gd name="T34" fmla="*/ 0 w 1332"/>
                    <a:gd name="T35" fmla="*/ 169 h 337"/>
                    <a:gd name="T36" fmla="*/ 1 w 1332"/>
                    <a:gd name="T37" fmla="*/ 151 h 337"/>
                    <a:gd name="T38" fmla="*/ 8 w 1332"/>
                    <a:gd name="T39" fmla="*/ 118 h 337"/>
                    <a:gd name="T40" fmla="*/ 20 w 1332"/>
                    <a:gd name="T41" fmla="*/ 88 h 337"/>
                    <a:gd name="T42" fmla="*/ 38 w 1332"/>
                    <a:gd name="T43" fmla="*/ 62 h 337"/>
                    <a:gd name="T44" fmla="*/ 61 w 1332"/>
                    <a:gd name="T45" fmla="*/ 38 h 337"/>
                    <a:gd name="T46" fmla="*/ 88 w 1332"/>
                    <a:gd name="T47" fmla="*/ 20 h 337"/>
                    <a:gd name="T48" fmla="*/ 118 w 1332"/>
                    <a:gd name="T49" fmla="*/ 7 h 337"/>
                    <a:gd name="T50" fmla="*/ 150 w 1332"/>
                    <a:gd name="T51" fmla="*/ 2 h 337"/>
                    <a:gd name="T52" fmla="*/ 1164 w 1332"/>
                    <a:gd name="T53" fmla="*/ 0 h 337"/>
                    <a:gd name="T54" fmla="*/ 1181 w 1332"/>
                    <a:gd name="T55" fmla="*/ 2 h 337"/>
                    <a:gd name="T56" fmla="*/ 1213 w 1332"/>
                    <a:gd name="T57" fmla="*/ 7 h 337"/>
                    <a:gd name="T58" fmla="*/ 1244 w 1332"/>
                    <a:gd name="T59" fmla="*/ 20 h 337"/>
                    <a:gd name="T60" fmla="*/ 1271 w 1332"/>
                    <a:gd name="T61" fmla="*/ 38 h 337"/>
                    <a:gd name="T62" fmla="*/ 1294 w 1332"/>
                    <a:gd name="T63" fmla="*/ 62 h 337"/>
                    <a:gd name="T64" fmla="*/ 1311 w 1332"/>
                    <a:gd name="T65" fmla="*/ 88 h 337"/>
                    <a:gd name="T66" fmla="*/ 1324 w 1332"/>
                    <a:gd name="T67" fmla="*/ 118 h 337"/>
                    <a:gd name="T68" fmla="*/ 1331 w 1332"/>
                    <a:gd name="T69" fmla="*/ 151 h 337"/>
                    <a:gd name="T70" fmla="*/ 1332 w 1332"/>
                    <a:gd name="T71" fmla="*/ 169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32" h="337">
                      <a:moveTo>
                        <a:pt x="1332" y="169"/>
                      </a:moveTo>
                      <a:lnTo>
                        <a:pt x="1332" y="169"/>
                      </a:lnTo>
                      <a:lnTo>
                        <a:pt x="1331" y="186"/>
                      </a:lnTo>
                      <a:lnTo>
                        <a:pt x="1328" y="202"/>
                      </a:lnTo>
                      <a:lnTo>
                        <a:pt x="1324" y="218"/>
                      </a:lnTo>
                      <a:lnTo>
                        <a:pt x="1318" y="233"/>
                      </a:lnTo>
                      <a:lnTo>
                        <a:pt x="1311" y="248"/>
                      </a:lnTo>
                      <a:lnTo>
                        <a:pt x="1303" y="262"/>
                      </a:lnTo>
                      <a:lnTo>
                        <a:pt x="1294" y="275"/>
                      </a:lnTo>
                      <a:lnTo>
                        <a:pt x="1282" y="287"/>
                      </a:lnTo>
                      <a:lnTo>
                        <a:pt x="1271" y="298"/>
                      </a:lnTo>
                      <a:lnTo>
                        <a:pt x="1258" y="308"/>
                      </a:lnTo>
                      <a:lnTo>
                        <a:pt x="1244" y="316"/>
                      </a:lnTo>
                      <a:lnTo>
                        <a:pt x="1229" y="323"/>
                      </a:lnTo>
                      <a:lnTo>
                        <a:pt x="1213" y="329"/>
                      </a:lnTo>
                      <a:lnTo>
                        <a:pt x="1197" y="333"/>
                      </a:lnTo>
                      <a:lnTo>
                        <a:pt x="1181" y="336"/>
                      </a:lnTo>
                      <a:lnTo>
                        <a:pt x="1164" y="337"/>
                      </a:lnTo>
                      <a:lnTo>
                        <a:pt x="168" y="337"/>
                      </a:lnTo>
                      <a:lnTo>
                        <a:pt x="168" y="337"/>
                      </a:lnTo>
                      <a:lnTo>
                        <a:pt x="150" y="336"/>
                      </a:lnTo>
                      <a:lnTo>
                        <a:pt x="134" y="333"/>
                      </a:lnTo>
                      <a:lnTo>
                        <a:pt x="118" y="329"/>
                      </a:lnTo>
                      <a:lnTo>
                        <a:pt x="102" y="323"/>
                      </a:lnTo>
                      <a:lnTo>
                        <a:pt x="88" y="316"/>
                      </a:lnTo>
                      <a:lnTo>
                        <a:pt x="73" y="308"/>
                      </a:lnTo>
                      <a:lnTo>
                        <a:pt x="61" y="298"/>
                      </a:lnTo>
                      <a:lnTo>
                        <a:pt x="49" y="287"/>
                      </a:lnTo>
                      <a:lnTo>
                        <a:pt x="38" y="275"/>
                      </a:lnTo>
                      <a:lnTo>
                        <a:pt x="28" y="262"/>
                      </a:lnTo>
                      <a:lnTo>
                        <a:pt x="20" y="248"/>
                      </a:lnTo>
                      <a:lnTo>
                        <a:pt x="13" y="233"/>
                      </a:lnTo>
                      <a:lnTo>
                        <a:pt x="8" y="218"/>
                      </a:lnTo>
                      <a:lnTo>
                        <a:pt x="3" y="202"/>
                      </a:lnTo>
                      <a:lnTo>
                        <a:pt x="1" y="186"/>
                      </a:lnTo>
                      <a:lnTo>
                        <a:pt x="0" y="169"/>
                      </a:lnTo>
                      <a:lnTo>
                        <a:pt x="0" y="169"/>
                      </a:lnTo>
                      <a:lnTo>
                        <a:pt x="1" y="151"/>
                      </a:lnTo>
                      <a:lnTo>
                        <a:pt x="3" y="134"/>
                      </a:lnTo>
                      <a:lnTo>
                        <a:pt x="8" y="118"/>
                      </a:lnTo>
                      <a:lnTo>
                        <a:pt x="13" y="103"/>
                      </a:lnTo>
                      <a:lnTo>
                        <a:pt x="20" y="88"/>
                      </a:lnTo>
                      <a:lnTo>
                        <a:pt x="28" y="74"/>
                      </a:lnTo>
                      <a:lnTo>
                        <a:pt x="38" y="62"/>
                      </a:lnTo>
                      <a:lnTo>
                        <a:pt x="49" y="49"/>
                      </a:lnTo>
                      <a:lnTo>
                        <a:pt x="61" y="38"/>
                      </a:lnTo>
                      <a:lnTo>
                        <a:pt x="73" y="29"/>
                      </a:lnTo>
                      <a:lnTo>
                        <a:pt x="88" y="20"/>
                      </a:lnTo>
                      <a:lnTo>
                        <a:pt x="102" y="13"/>
                      </a:lnTo>
                      <a:lnTo>
                        <a:pt x="118" y="7"/>
                      </a:lnTo>
                      <a:lnTo>
                        <a:pt x="134" y="4"/>
                      </a:lnTo>
                      <a:lnTo>
                        <a:pt x="150" y="2"/>
                      </a:lnTo>
                      <a:lnTo>
                        <a:pt x="168" y="0"/>
                      </a:lnTo>
                      <a:lnTo>
                        <a:pt x="1164" y="0"/>
                      </a:lnTo>
                      <a:lnTo>
                        <a:pt x="1164" y="0"/>
                      </a:lnTo>
                      <a:lnTo>
                        <a:pt x="1181" y="2"/>
                      </a:lnTo>
                      <a:lnTo>
                        <a:pt x="1197" y="4"/>
                      </a:lnTo>
                      <a:lnTo>
                        <a:pt x="1213" y="7"/>
                      </a:lnTo>
                      <a:lnTo>
                        <a:pt x="1229" y="13"/>
                      </a:lnTo>
                      <a:lnTo>
                        <a:pt x="1244" y="20"/>
                      </a:lnTo>
                      <a:lnTo>
                        <a:pt x="1258" y="29"/>
                      </a:lnTo>
                      <a:lnTo>
                        <a:pt x="1271" y="38"/>
                      </a:lnTo>
                      <a:lnTo>
                        <a:pt x="1282" y="49"/>
                      </a:lnTo>
                      <a:lnTo>
                        <a:pt x="1294" y="62"/>
                      </a:lnTo>
                      <a:lnTo>
                        <a:pt x="1303" y="74"/>
                      </a:lnTo>
                      <a:lnTo>
                        <a:pt x="1311" y="88"/>
                      </a:lnTo>
                      <a:lnTo>
                        <a:pt x="1318" y="103"/>
                      </a:lnTo>
                      <a:lnTo>
                        <a:pt x="1324" y="118"/>
                      </a:lnTo>
                      <a:lnTo>
                        <a:pt x="1328" y="134"/>
                      </a:lnTo>
                      <a:lnTo>
                        <a:pt x="1331" y="151"/>
                      </a:lnTo>
                      <a:lnTo>
                        <a:pt x="1332" y="169"/>
                      </a:lnTo>
                      <a:lnTo>
                        <a:pt x="1332" y="169"/>
                      </a:lnTo>
                      <a:close/>
                    </a:path>
                  </a:pathLst>
                </a:custGeom>
                <a:solidFill>
                  <a:srgbClr val="D2E0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2" name="Freeform 304"/>
                <p:cNvSpPr>
                  <a:spLocks/>
                </p:cNvSpPr>
                <p:nvPr/>
              </p:nvSpPr>
              <p:spPr bwMode="auto">
                <a:xfrm>
                  <a:off x="5048250" y="1743075"/>
                  <a:ext cx="349250" cy="87313"/>
                </a:xfrm>
                <a:custGeom>
                  <a:avLst/>
                  <a:gdLst>
                    <a:gd name="T0" fmla="*/ 1539 w 1539"/>
                    <a:gd name="T1" fmla="*/ 195 h 388"/>
                    <a:gd name="T2" fmla="*/ 1535 w 1539"/>
                    <a:gd name="T3" fmla="*/ 234 h 388"/>
                    <a:gd name="T4" fmla="*/ 1523 w 1539"/>
                    <a:gd name="T5" fmla="*/ 270 h 388"/>
                    <a:gd name="T6" fmla="*/ 1506 w 1539"/>
                    <a:gd name="T7" fmla="*/ 303 h 388"/>
                    <a:gd name="T8" fmla="*/ 1482 w 1539"/>
                    <a:gd name="T9" fmla="*/ 332 h 388"/>
                    <a:gd name="T10" fmla="*/ 1453 w 1539"/>
                    <a:gd name="T11" fmla="*/ 356 h 388"/>
                    <a:gd name="T12" fmla="*/ 1421 w 1539"/>
                    <a:gd name="T13" fmla="*/ 373 h 388"/>
                    <a:gd name="T14" fmla="*/ 1384 w 1539"/>
                    <a:gd name="T15" fmla="*/ 385 h 388"/>
                    <a:gd name="T16" fmla="*/ 1345 w 1539"/>
                    <a:gd name="T17" fmla="*/ 388 h 388"/>
                    <a:gd name="T18" fmla="*/ 195 w 1539"/>
                    <a:gd name="T19" fmla="*/ 388 h 388"/>
                    <a:gd name="T20" fmla="*/ 156 w 1539"/>
                    <a:gd name="T21" fmla="*/ 385 h 388"/>
                    <a:gd name="T22" fmla="*/ 119 w 1539"/>
                    <a:gd name="T23" fmla="*/ 373 h 388"/>
                    <a:gd name="T24" fmla="*/ 87 w 1539"/>
                    <a:gd name="T25" fmla="*/ 356 h 388"/>
                    <a:gd name="T26" fmla="*/ 58 w 1539"/>
                    <a:gd name="T27" fmla="*/ 332 h 388"/>
                    <a:gd name="T28" fmla="*/ 34 w 1539"/>
                    <a:gd name="T29" fmla="*/ 303 h 388"/>
                    <a:gd name="T30" fmla="*/ 16 w 1539"/>
                    <a:gd name="T31" fmla="*/ 270 h 388"/>
                    <a:gd name="T32" fmla="*/ 5 w 1539"/>
                    <a:gd name="T33" fmla="*/ 234 h 388"/>
                    <a:gd name="T34" fmla="*/ 0 w 1539"/>
                    <a:gd name="T35" fmla="*/ 195 h 388"/>
                    <a:gd name="T36" fmla="*/ 1 w 1539"/>
                    <a:gd name="T37" fmla="*/ 175 h 388"/>
                    <a:gd name="T38" fmla="*/ 9 w 1539"/>
                    <a:gd name="T39" fmla="*/ 137 h 388"/>
                    <a:gd name="T40" fmla="*/ 24 w 1539"/>
                    <a:gd name="T41" fmla="*/ 101 h 388"/>
                    <a:gd name="T42" fmla="*/ 45 w 1539"/>
                    <a:gd name="T43" fmla="*/ 71 h 388"/>
                    <a:gd name="T44" fmla="*/ 72 w 1539"/>
                    <a:gd name="T45" fmla="*/ 45 h 388"/>
                    <a:gd name="T46" fmla="*/ 103 w 1539"/>
                    <a:gd name="T47" fmla="*/ 24 h 388"/>
                    <a:gd name="T48" fmla="*/ 137 w 1539"/>
                    <a:gd name="T49" fmla="*/ 9 h 388"/>
                    <a:gd name="T50" fmla="*/ 175 w 1539"/>
                    <a:gd name="T51" fmla="*/ 1 h 388"/>
                    <a:gd name="T52" fmla="*/ 1345 w 1539"/>
                    <a:gd name="T53" fmla="*/ 0 h 388"/>
                    <a:gd name="T54" fmla="*/ 1364 w 1539"/>
                    <a:gd name="T55" fmla="*/ 1 h 388"/>
                    <a:gd name="T56" fmla="*/ 1402 w 1539"/>
                    <a:gd name="T57" fmla="*/ 9 h 388"/>
                    <a:gd name="T58" fmla="*/ 1437 w 1539"/>
                    <a:gd name="T59" fmla="*/ 24 h 388"/>
                    <a:gd name="T60" fmla="*/ 1468 w 1539"/>
                    <a:gd name="T61" fmla="*/ 45 h 388"/>
                    <a:gd name="T62" fmla="*/ 1495 w 1539"/>
                    <a:gd name="T63" fmla="*/ 71 h 388"/>
                    <a:gd name="T64" fmla="*/ 1515 w 1539"/>
                    <a:gd name="T65" fmla="*/ 101 h 388"/>
                    <a:gd name="T66" fmla="*/ 1530 w 1539"/>
                    <a:gd name="T67" fmla="*/ 137 h 388"/>
                    <a:gd name="T68" fmla="*/ 1538 w 1539"/>
                    <a:gd name="T69" fmla="*/ 175 h 388"/>
                    <a:gd name="T70" fmla="*/ 1539 w 1539"/>
                    <a:gd name="T71"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39" h="388">
                      <a:moveTo>
                        <a:pt x="1539" y="195"/>
                      </a:moveTo>
                      <a:lnTo>
                        <a:pt x="1539" y="195"/>
                      </a:lnTo>
                      <a:lnTo>
                        <a:pt x="1538" y="214"/>
                      </a:lnTo>
                      <a:lnTo>
                        <a:pt x="1535" y="234"/>
                      </a:lnTo>
                      <a:lnTo>
                        <a:pt x="1530" y="252"/>
                      </a:lnTo>
                      <a:lnTo>
                        <a:pt x="1523" y="270"/>
                      </a:lnTo>
                      <a:lnTo>
                        <a:pt x="1515" y="287"/>
                      </a:lnTo>
                      <a:lnTo>
                        <a:pt x="1506" y="303"/>
                      </a:lnTo>
                      <a:lnTo>
                        <a:pt x="1495" y="318"/>
                      </a:lnTo>
                      <a:lnTo>
                        <a:pt x="1482" y="332"/>
                      </a:lnTo>
                      <a:lnTo>
                        <a:pt x="1468" y="344"/>
                      </a:lnTo>
                      <a:lnTo>
                        <a:pt x="1453" y="356"/>
                      </a:lnTo>
                      <a:lnTo>
                        <a:pt x="1437" y="365"/>
                      </a:lnTo>
                      <a:lnTo>
                        <a:pt x="1421" y="373"/>
                      </a:lnTo>
                      <a:lnTo>
                        <a:pt x="1402" y="380"/>
                      </a:lnTo>
                      <a:lnTo>
                        <a:pt x="1384" y="385"/>
                      </a:lnTo>
                      <a:lnTo>
                        <a:pt x="1364" y="388"/>
                      </a:lnTo>
                      <a:lnTo>
                        <a:pt x="1345" y="388"/>
                      </a:lnTo>
                      <a:lnTo>
                        <a:pt x="195" y="388"/>
                      </a:lnTo>
                      <a:lnTo>
                        <a:pt x="195" y="388"/>
                      </a:lnTo>
                      <a:lnTo>
                        <a:pt x="175" y="388"/>
                      </a:lnTo>
                      <a:lnTo>
                        <a:pt x="156" y="385"/>
                      </a:lnTo>
                      <a:lnTo>
                        <a:pt x="137" y="380"/>
                      </a:lnTo>
                      <a:lnTo>
                        <a:pt x="119" y="373"/>
                      </a:lnTo>
                      <a:lnTo>
                        <a:pt x="103" y="365"/>
                      </a:lnTo>
                      <a:lnTo>
                        <a:pt x="87" y="356"/>
                      </a:lnTo>
                      <a:lnTo>
                        <a:pt x="72" y="344"/>
                      </a:lnTo>
                      <a:lnTo>
                        <a:pt x="58" y="332"/>
                      </a:lnTo>
                      <a:lnTo>
                        <a:pt x="45" y="318"/>
                      </a:lnTo>
                      <a:lnTo>
                        <a:pt x="34" y="303"/>
                      </a:lnTo>
                      <a:lnTo>
                        <a:pt x="24" y="287"/>
                      </a:lnTo>
                      <a:lnTo>
                        <a:pt x="16" y="270"/>
                      </a:lnTo>
                      <a:lnTo>
                        <a:pt x="9" y="252"/>
                      </a:lnTo>
                      <a:lnTo>
                        <a:pt x="5" y="234"/>
                      </a:lnTo>
                      <a:lnTo>
                        <a:pt x="1" y="214"/>
                      </a:lnTo>
                      <a:lnTo>
                        <a:pt x="0" y="195"/>
                      </a:lnTo>
                      <a:lnTo>
                        <a:pt x="0" y="195"/>
                      </a:lnTo>
                      <a:lnTo>
                        <a:pt x="1" y="175"/>
                      </a:lnTo>
                      <a:lnTo>
                        <a:pt x="5" y="156"/>
                      </a:lnTo>
                      <a:lnTo>
                        <a:pt x="9" y="137"/>
                      </a:lnTo>
                      <a:lnTo>
                        <a:pt x="16" y="119"/>
                      </a:lnTo>
                      <a:lnTo>
                        <a:pt x="24" y="101"/>
                      </a:lnTo>
                      <a:lnTo>
                        <a:pt x="34" y="86"/>
                      </a:lnTo>
                      <a:lnTo>
                        <a:pt x="45" y="71"/>
                      </a:lnTo>
                      <a:lnTo>
                        <a:pt x="58" y="58"/>
                      </a:lnTo>
                      <a:lnTo>
                        <a:pt x="72" y="45"/>
                      </a:lnTo>
                      <a:lnTo>
                        <a:pt x="87" y="33"/>
                      </a:lnTo>
                      <a:lnTo>
                        <a:pt x="103" y="24"/>
                      </a:lnTo>
                      <a:lnTo>
                        <a:pt x="119" y="16"/>
                      </a:lnTo>
                      <a:lnTo>
                        <a:pt x="137" y="9"/>
                      </a:lnTo>
                      <a:lnTo>
                        <a:pt x="156" y="5"/>
                      </a:lnTo>
                      <a:lnTo>
                        <a:pt x="175" y="1"/>
                      </a:lnTo>
                      <a:lnTo>
                        <a:pt x="195" y="0"/>
                      </a:lnTo>
                      <a:lnTo>
                        <a:pt x="1345" y="0"/>
                      </a:lnTo>
                      <a:lnTo>
                        <a:pt x="1345" y="0"/>
                      </a:lnTo>
                      <a:lnTo>
                        <a:pt x="1364" y="1"/>
                      </a:lnTo>
                      <a:lnTo>
                        <a:pt x="1384" y="5"/>
                      </a:lnTo>
                      <a:lnTo>
                        <a:pt x="1402" y="9"/>
                      </a:lnTo>
                      <a:lnTo>
                        <a:pt x="1421" y="16"/>
                      </a:lnTo>
                      <a:lnTo>
                        <a:pt x="1437" y="24"/>
                      </a:lnTo>
                      <a:lnTo>
                        <a:pt x="1453" y="33"/>
                      </a:lnTo>
                      <a:lnTo>
                        <a:pt x="1468" y="45"/>
                      </a:lnTo>
                      <a:lnTo>
                        <a:pt x="1482" y="58"/>
                      </a:lnTo>
                      <a:lnTo>
                        <a:pt x="1495" y="71"/>
                      </a:lnTo>
                      <a:lnTo>
                        <a:pt x="1506" y="86"/>
                      </a:lnTo>
                      <a:lnTo>
                        <a:pt x="1515" y="101"/>
                      </a:lnTo>
                      <a:lnTo>
                        <a:pt x="1523" y="119"/>
                      </a:lnTo>
                      <a:lnTo>
                        <a:pt x="1530" y="137"/>
                      </a:lnTo>
                      <a:lnTo>
                        <a:pt x="1535" y="156"/>
                      </a:lnTo>
                      <a:lnTo>
                        <a:pt x="1538" y="175"/>
                      </a:lnTo>
                      <a:lnTo>
                        <a:pt x="1539" y="195"/>
                      </a:lnTo>
                      <a:lnTo>
                        <a:pt x="1539" y="195"/>
                      </a:lnTo>
                      <a:close/>
                    </a:path>
                  </a:pathLst>
                </a:custGeom>
                <a:solidFill>
                  <a:srgbClr val="7F89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3" name="Freeform 305"/>
                <p:cNvSpPr>
                  <a:spLocks/>
                </p:cNvSpPr>
                <p:nvPr/>
              </p:nvSpPr>
              <p:spPr bwMode="auto">
                <a:xfrm>
                  <a:off x="4405313" y="1892300"/>
                  <a:ext cx="2055813" cy="241300"/>
                </a:xfrm>
                <a:custGeom>
                  <a:avLst/>
                  <a:gdLst>
                    <a:gd name="T0" fmla="*/ 6765 w 9063"/>
                    <a:gd name="T1" fmla="*/ 153 h 1066"/>
                    <a:gd name="T2" fmla="*/ 7203 w 9063"/>
                    <a:gd name="T3" fmla="*/ 233 h 1066"/>
                    <a:gd name="T4" fmla="*/ 7474 w 9063"/>
                    <a:gd name="T5" fmla="*/ 317 h 1066"/>
                    <a:gd name="T6" fmla="*/ 7569 w 9063"/>
                    <a:gd name="T7" fmla="*/ 368 h 1066"/>
                    <a:gd name="T8" fmla="*/ 7619 w 9063"/>
                    <a:gd name="T9" fmla="*/ 420 h 1066"/>
                    <a:gd name="T10" fmla="*/ 7627 w 9063"/>
                    <a:gd name="T11" fmla="*/ 464 h 1066"/>
                    <a:gd name="T12" fmla="*/ 7593 w 9063"/>
                    <a:gd name="T13" fmla="*/ 519 h 1066"/>
                    <a:gd name="T14" fmla="*/ 7511 w 9063"/>
                    <a:gd name="T15" fmla="*/ 572 h 1066"/>
                    <a:gd name="T16" fmla="*/ 7323 w 9063"/>
                    <a:gd name="T17" fmla="*/ 641 h 1066"/>
                    <a:gd name="T18" fmla="*/ 6922 w 9063"/>
                    <a:gd name="T19" fmla="*/ 728 h 1066"/>
                    <a:gd name="T20" fmla="*/ 6384 w 9063"/>
                    <a:gd name="T21" fmla="*/ 800 h 1066"/>
                    <a:gd name="T22" fmla="*/ 5737 w 9063"/>
                    <a:gd name="T23" fmla="*/ 852 h 1066"/>
                    <a:gd name="T24" fmla="*/ 5004 w 9063"/>
                    <a:gd name="T25" fmla="*/ 880 h 1066"/>
                    <a:gd name="T26" fmla="*/ 4373 w 9063"/>
                    <a:gd name="T27" fmla="*/ 885 h 1066"/>
                    <a:gd name="T28" fmla="*/ 3611 w 9063"/>
                    <a:gd name="T29" fmla="*/ 866 h 1066"/>
                    <a:gd name="T30" fmla="*/ 2926 w 9063"/>
                    <a:gd name="T31" fmla="*/ 823 h 1066"/>
                    <a:gd name="T32" fmla="*/ 2342 w 9063"/>
                    <a:gd name="T33" fmla="*/ 759 h 1066"/>
                    <a:gd name="T34" fmla="*/ 1884 w 9063"/>
                    <a:gd name="T35" fmla="*/ 678 h 1066"/>
                    <a:gd name="T36" fmla="*/ 1597 w 9063"/>
                    <a:gd name="T37" fmla="*/ 591 h 1066"/>
                    <a:gd name="T38" fmla="*/ 1498 w 9063"/>
                    <a:gd name="T39" fmla="*/ 539 h 1066"/>
                    <a:gd name="T40" fmla="*/ 1444 w 9063"/>
                    <a:gd name="T41" fmla="*/ 487 h 1066"/>
                    <a:gd name="T42" fmla="*/ 1436 w 9063"/>
                    <a:gd name="T43" fmla="*/ 442 h 1066"/>
                    <a:gd name="T44" fmla="*/ 1469 w 9063"/>
                    <a:gd name="T45" fmla="*/ 389 h 1066"/>
                    <a:gd name="T46" fmla="*/ 1546 w 9063"/>
                    <a:gd name="T47" fmla="*/ 337 h 1066"/>
                    <a:gd name="T48" fmla="*/ 1725 w 9063"/>
                    <a:gd name="T49" fmla="*/ 270 h 1066"/>
                    <a:gd name="T50" fmla="*/ 2107 w 9063"/>
                    <a:gd name="T51" fmla="*/ 184 h 1066"/>
                    <a:gd name="T52" fmla="*/ 2309 w 9063"/>
                    <a:gd name="T53" fmla="*/ 76 h 1066"/>
                    <a:gd name="T54" fmla="*/ 1944 w 9063"/>
                    <a:gd name="T55" fmla="*/ 29 h 1066"/>
                    <a:gd name="T56" fmla="*/ 1375 w 9063"/>
                    <a:gd name="T57" fmla="*/ 88 h 1066"/>
                    <a:gd name="T58" fmla="*/ 888 w 9063"/>
                    <a:gd name="T59" fmla="*/ 158 h 1066"/>
                    <a:gd name="T60" fmla="*/ 496 w 9063"/>
                    <a:gd name="T61" fmla="*/ 237 h 1066"/>
                    <a:gd name="T62" fmla="*/ 211 w 9063"/>
                    <a:gd name="T63" fmla="*/ 324 h 1066"/>
                    <a:gd name="T64" fmla="*/ 67 w 9063"/>
                    <a:gd name="T65" fmla="*/ 399 h 1066"/>
                    <a:gd name="T66" fmla="*/ 17 w 9063"/>
                    <a:gd name="T67" fmla="*/ 447 h 1066"/>
                    <a:gd name="T68" fmla="*/ 0 w 9063"/>
                    <a:gd name="T69" fmla="*/ 497 h 1066"/>
                    <a:gd name="T70" fmla="*/ 6 w 9063"/>
                    <a:gd name="T71" fmla="*/ 526 h 1066"/>
                    <a:gd name="T72" fmla="*/ 70 w 9063"/>
                    <a:gd name="T73" fmla="*/ 597 h 1066"/>
                    <a:gd name="T74" fmla="*/ 204 w 9063"/>
                    <a:gd name="T75" fmla="*/ 666 h 1066"/>
                    <a:gd name="T76" fmla="*/ 401 w 9063"/>
                    <a:gd name="T77" fmla="*/ 731 h 1066"/>
                    <a:gd name="T78" fmla="*/ 774 w 9063"/>
                    <a:gd name="T79" fmla="*/ 815 h 1066"/>
                    <a:gd name="T80" fmla="*/ 1484 w 9063"/>
                    <a:gd name="T81" fmla="*/ 918 h 1066"/>
                    <a:gd name="T82" fmla="*/ 2372 w 9063"/>
                    <a:gd name="T83" fmla="*/ 998 h 1066"/>
                    <a:gd name="T84" fmla="*/ 3399 w 9063"/>
                    <a:gd name="T85" fmla="*/ 1048 h 1066"/>
                    <a:gd name="T86" fmla="*/ 4532 w 9063"/>
                    <a:gd name="T87" fmla="*/ 1066 h 1066"/>
                    <a:gd name="T88" fmla="*/ 5445 w 9063"/>
                    <a:gd name="T89" fmla="*/ 1054 h 1066"/>
                    <a:gd name="T90" fmla="*/ 6496 w 9063"/>
                    <a:gd name="T91" fmla="*/ 1009 h 1066"/>
                    <a:gd name="T92" fmla="*/ 7414 w 9063"/>
                    <a:gd name="T93" fmla="*/ 936 h 1066"/>
                    <a:gd name="T94" fmla="*/ 8163 w 9063"/>
                    <a:gd name="T95" fmla="*/ 838 h 1066"/>
                    <a:gd name="T96" fmla="*/ 8616 w 9063"/>
                    <a:gd name="T97" fmla="*/ 743 h 1066"/>
                    <a:gd name="T98" fmla="*/ 8825 w 9063"/>
                    <a:gd name="T99" fmla="*/ 679 h 1066"/>
                    <a:gd name="T100" fmla="*/ 8971 w 9063"/>
                    <a:gd name="T101" fmla="*/ 611 h 1066"/>
                    <a:gd name="T102" fmla="*/ 9050 w 9063"/>
                    <a:gd name="T103" fmla="*/ 541 h 1066"/>
                    <a:gd name="T104" fmla="*/ 9063 w 9063"/>
                    <a:gd name="T105" fmla="*/ 497 h 1066"/>
                    <a:gd name="T106" fmla="*/ 9053 w 9063"/>
                    <a:gd name="T107" fmla="*/ 457 h 1066"/>
                    <a:gd name="T108" fmla="*/ 9009 w 9063"/>
                    <a:gd name="T109" fmla="*/ 408 h 1066"/>
                    <a:gd name="T110" fmla="*/ 8895 w 9063"/>
                    <a:gd name="T111" fmla="*/ 343 h 1066"/>
                    <a:gd name="T112" fmla="*/ 8632 w 9063"/>
                    <a:gd name="T113" fmla="*/ 254 h 1066"/>
                    <a:gd name="T114" fmla="*/ 8261 w 9063"/>
                    <a:gd name="T115" fmla="*/ 173 h 1066"/>
                    <a:gd name="T116" fmla="*/ 7793 w 9063"/>
                    <a:gd name="T117" fmla="*/ 102 h 1066"/>
                    <a:gd name="T118" fmla="*/ 7238 w 9063"/>
                    <a:gd name="T119" fmla="*/ 40 h 1066"/>
                    <a:gd name="T120" fmla="*/ 6741 w 9063"/>
                    <a:gd name="T121" fmla="*/ 0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63" h="1066">
                      <a:moveTo>
                        <a:pt x="6741" y="0"/>
                      </a:moveTo>
                      <a:lnTo>
                        <a:pt x="6741" y="0"/>
                      </a:lnTo>
                      <a:lnTo>
                        <a:pt x="6755" y="76"/>
                      </a:lnTo>
                      <a:lnTo>
                        <a:pt x="6765" y="153"/>
                      </a:lnTo>
                      <a:lnTo>
                        <a:pt x="6765" y="153"/>
                      </a:lnTo>
                      <a:lnTo>
                        <a:pt x="6863" y="168"/>
                      </a:lnTo>
                      <a:lnTo>
                        <a:pt x="6956" y="184"/>
                      </a:lnTo>
                      <a:lnTo>
                        <a:pt x="7044" y="200"/>
                      </a:lnTo>
                      <a:lnTo>
                        <a:pt x="7125" y="216"/>
                      </a:lnTo>
                      <a:lnTo>
                        <a:pt x="7203" y="233"/>
                      </a:lnTo>
                      <a:lnTo>
                        <a:pt x="7273" y="252"/>
                      </a:lnTo>
                      <a:lnTo>
                        <a:pt x="7338" y="270"/>
                      </a:lnTo>
                      <a:lnTo>
                        <a:pt x="7397" y="289"/>
                      </a:lnTo>
                      <a:lnTo>
                        <a:pt x="7450" y="308"/>
                      </a:lnTo>
                      <a:lnTo>
                        <a:pt x="7474" y="317"/>
                      </a:lnTo>
                      <a:lnTo>
                        <a:pt x="7496" y="328"/>
                      </a:lnTo>
                      <a:lnTo>
                        <a:pt x="7517" y="337"/>
                      </a:lnTo>
                      <a:lnTo>
                        <a:pt x="7535" y="347"/>
                      </a:lnTo>
                      <a:lnTo>
                        <a:pt x="7553" y="358"/>
                      </a:lnTo>
                      <a:lnTo>
                        <a:pt x="7569" y="368"/>
                      </a:lnTo>
                      <a:lnTo>
                        <a:pt x="7582" y="378"/>
                      </a:lnTo>
                      <a:lnTo>
                        <a:pt x="7594" y="389"/>
                      </a:lnTo>
                      <a:lnTo>
                        <a:pt x="7604" y="399"/>
                      </a:lnTo>
                      <a:lnTo>
                        <a:pt x="7614" y="409"/>
                      </a:lnTo>
                      <a:lnTo>
                        <a:pt x="7619" y="420"/>
                      </a:lnTo>
                      <a:lnTo>
                        <a:pt x="7624" y="431"/>
                      </a:lnTo>
                      <a:lnTo>
                        <a:pt x="7627" y="442"/>
                      </a:lnTo>
                      <a:lnTo>
                        <a:pt x="7629" y="453"/>
                      </a:lnTo>
                      <a:lnTo>
                        <a:pt x="7629" y="453"/>
                      </a:lnTo>
                      <a:lnTo>
                        <a:pt x="7627" y="464"/>
                      </a:lnTo>
                      <a:lnTo>
                        <a:pt x="7624" y="475"/>
                      </a:lnTo>
                      <a:lnTo>
                        <a:pt x="7619" y="487"/>
                      </a:lnTo>
                      <a:lnTo>
                        <a:pt x="7612" y="497"/>
                      </a:lnTo>
                      <a:lnTo>
                        <a:pt x="7603" y="508"/>
                      </a:lnTo>
                      <a:lnTo>
                        <a:pt x="7593" y="519"/>
                      </a:lnTo>
                      <a:lnTo>
                        <a:pt x="7580" y="529"/>
                      </a:lnTo>
                      <a:lnTo>
                        <a:pt x="7565" y="539"/>
                      </a:lnTo>
                      <a:lnTo>
                        <a:pt x="7549" y="551"/>
                      </a:lnTo>
                      <a:lnTo>
                        <a:pt x="7531" y="561"/>
                      </a:lnTo>
                      <a:lnTo>
                        <a:pt x="7511" y="572"/>
                      </a:lnTo>
                      <a:lnTo>
                        <a:pt x="7489" y="581"/>
                      </a:lnTo>
                      <a:lnTo>
                        <a:pt x="7465" y="591"/>
                      </a:lnTo>
                      <a:lnTo>
                        <a:pt x="7441" y="602"/>
                      </a:lnTo>
                      <a:lnTo>
                        <a:pt x="7384" y="621"/>
                      </a:lnTo>
                      <a:lnTo>
                        <a:pt x="7323" y="641"/>
                      </a:lnTo>
                      <a:lnTo>
                        <a:pt x="7254" y="659"/>
                      </a:lnTo>
                      <a:lnTo>
                        <a:pt x="7180" y="678"/>
                      </a:lnTo>
                      <a:lnTo>
                        <a:pt x="7099" y="695"/>
                      </a:lnTo>
                      <a:lnTo>
                        <a:pt x="7013" y="712"/>
                      </a:lnTo>
                      <a:lnTo>
                        <a:pt x="6922" y="728"/>
                      </a:lnTo>
                      <a:lnTo>
                        <a:pt x="6824" y="743"/>
                      </a:lnTo>
                      <a:lnTo>
                        <a:pt x="6721" y="759"/>
                      </a:lnTo>
                      <a:lnTo>
                        <a:pt x="6614" y="773"/>
                      </a:lnTo>
                      <a:lnTo>
                        <a:pt x="6501" y="787"/>
                      </a:lnTo>
                      <a:lnTo>
                        <a:pt x="6384" y="800"/>
                      </a:lnTo>
                      <a:lnTo>
                        <a:pt x="6263" y="811"/>
                      </a:lnTo>
                      <a:lnTo>
                        <a:pt x="6138" y="823"/>
                      </a:lnTo>
                      <a:lnTo>
                        <a:pt x="6008" y="833"/>
                      </a:lnTo>
                      <a:lnTo>
                        <a:pt x="5874" y="843"/>
                      </a:lnTo>
                      <a:lnTo>
                        <a:pt x="5737" y="852"/>
                      </a:lnTo>
                      <a:lnTo>
                        <a:pt x="5597" y="860"/>
                      </a:lnTo>
                      <a:lnTo>
                        <a:pt x="5453" y="866"/>
                      </a:lnTo>
                      <a:lnTo>
                        <a:pt x="5305" y="872"/>
                      </a:lnTo>
                      <a:lnTo>
                        <a:pt x="5156" y="877"/>
                      </a:lnTo>
                      <a:lnTo>
                        <a:pt x="5004" y="880"/>
                      </a:lnTo>
                      <a:lnTo>
                        <a:pt x="4848" y="884"/>
                      </a:lnTo>
                      <a:lnTo>
                        <a:pt x="4690" y="885"/>
                      </a:lnTo>
                      <a:lnTo>
                        <a:pt x="4532" y="886"/>
                      </a:lnTo>
                      <a:lnTo>
                        <a:pt x="4532" y="886"/>
                      </a:lnTo>
                      <a:lnTo>
                        <a:pt x="4373" y="885"/>
                      </a:lnTo>
                      <a:lnTo>
                        <a:pt x="4215" y="884"/>
                      </a:lnTo>
                      <a:lnTo>
                        <a:pt x="4060" y="880"/>
                      </a:lnTo>
                      <a:lnTo>
                        <a:pt x="3908" y="877"/>
                      </a:lnTo>
                      <a:lnTo>
                        <a:pt x="3758" y="872"/>
                      </a:lnTo>
                      <a:lnTo>
                        <a:pt x="3611" y="866"/>
                      </a:lnTo>
                      <a:lnTo>
                        <a:pt x="3467" y="860"/>
                      </a:lnTo>
                      <a:lnTo>
                        <a:pt x="3326" y="852"/>
                      </a:lnTo>
                      <a:lnTo>
                        <a:pt x="3189" y="843"/>
                      </a:lnTo>
                      <a:lnTo>
                        <a:pt x="3056" y="833"/>
                      </a:lnTo>
                      <a:lnTo>
                        <a:pt x="2926" y="823"/>
                      </a:lnTo>
                      <a:lnTo>
                        <a:pt x="2800" y="811"/>
                      </a:lnTo>
                      <a:lnTo>
                        <a:pt x="2679" y="800"/>
                      </a:lnTo>
                      <a:lnTo>
                        <a:pt x="2562" y="787"/>
                      </a:lnTo>
                      <a:lnTo>
                        <a:pt x="2449" y="773"/>
                      </a:lnTo>
                      <a:lnTo>
                        <a:pt x="2342" y="759"/>
                      </a:lnTo>
                      <a:lnTo>
                        <a:pt x="2239" y="743"/>
                      </a:lnTo>
                      <a:lnTo>
                        <a:pt x="2142" y="728"/>
                      </a:lnTo>
                      <a:lnTo>
                        <a:pt x="2049" y="712"/>
                      </a:lnTo>
                      <a:lnTo>
                        <a:pt x="1963" y="695"/>
                      </a:lnTo>
                      <a:lnTo>
                        <a:pt x="1884" y="678"/>
                      </a:lnTo>
                      <a:lnTo>
                        <a:pt x="1809" y="659"/>
                      </a:lnTo>
                      <a:lnTo>
                        <a:pt x="1740" y="641"/>
                      </a:lnTo>
                      <a:lnTo>
                        <a:pt x="1678" y="621"/>
                      </a:lnTo>
                      <a:lnTo>
                        <a:pt x="1622" y="602"/>
                      </a:lnTo>
                      <a:lnTo>
                        <a:pt x="1597" y="591"/>
                      </a:lnTo>
                      <a:lnTo>
                        <a:pt x="1574" y="581"/>
                      </a:lnTo>
                      <a:lnTo>
                        <a:pt x="1552" y="572"/>
                      </a:lnTo>
                      <a:lnTo>
                        <a:pt x="1533" y="561"/>
                      </a:lnTo>
                      <a:lnTo>
                        <a:pt x="1514" y="551"/>
                      </a:lnTo>
                      <a:lnTo>
                        <a:pt x="1498" y="539"/>
                      </a:lnTo>
                      <a:lnTo>
                        <a:pt x="1483" y="529"/>
                      </a:lnTo>
                      <a:lnTo>
                        <a:pt x="1470" y="519"/>
                      </a:lnTo>
                      <a:lnTo>
                        <a:pt x="1460" y="508"/>
                      </a:lnTo>
                      <a:lnTo>
                        <a:pt x="1451" y="497"/>
                      </a:lnTo>
                      <a:lnTo>
                        <a:pt x="1444" y="487"/>
                      </a:lnTo>
                      <a:lnTo>
                        <a:pt x="1439" y="475"/>
                      </a:lnTo>
                      <a:lnTo>
                        <a:pt x="1436" y="464"/>
                      </a:lnTo>
                      <a:lnTo>
                        <a:pt x="1435" y="453"/>
                      </a:lnTo>
                      <a:lnTo>
                        <a:pt x="1435" y="453"/>
                      </a:lnTo>
                      <a:lnTo>
                        <a:pt x="1436" y="442"/>
                      </a:lnTo>
                      <a:lnTo>
                        <a:pt x="1438" y="431"/>
                      </a:lnTo>
                      <a:lnTo>
                        <a:pt x="1444" y="420"/>
                      </a:lnTo>
                      <a:lnTo>
                        <a:pt x="1450" y="409"/>
                      </a:lnTo>
                      <a:lnTo>
                        <a:pt x="1459" y="399"/>
                      </a:lnTo>
                      <a:lnTo>
                        <a:pt x="1469" y="389"/>
                      </a:lnTo>
                      <a:lnTo>
                        <a:pt x="1481" y="378"/>
                      </a:lnTo>
                      <a:lnTo>
                        <a:pt x="1495" y="368"/>
                      </a:lnTo>
                      <a:lnTo>
                        <a:pt x="1510" y="358"/>
                      </a:lnTo>
                      <a:lnTo>
                        <a:pt x="1527" y="347"/>
                      </a:lnTo>
                      <a:lnTo>
                        <a:pt x="1546" y="337"/>
                      </a:lnTo>
                      <a:lnTo>
                        <a:pt x="1567" y="328"/>
                      </a:lnTo>
                      <a:lnTo>
                        <a:pt x="1589" y="317"/>
                      </a:lnTo>
                      <a:lnTo>
                        <a:pt x="1613" y="308"/>
                      </a:lnTo>
                      <a:lnTo>
                        <a:pt x="1666" y="289"/>
                      </a:lnTo>
                      <a:lnTo>
                        <a:pt x="1725" y="270"/>
                      </a:lnTo>
                      <a:lnTo>
                        <a:pt x="1790" y="252"/>
                      </a:lnTo>
                      <a:lnTo>
                        <a:pt x="1861" y="233"/>
                      </a:lnTo>
                      <a:lnTo>
                        <a:pt x="1938" y="216"/>
                      </a:lnTo>
                      <a:lnTo>
                        <a:pt x="2020" y="200"/>
                      </a:lnTo>
                      <a:lnTo>
                        <a:pt x="2107" y="184"/>
                      </a:lnTo>
                      <a:lnTo>
                        <a:pt x="2200" y="168"/>
                      </a:lnTo>
                      <a:lnTo>
                        <a:pt x="2297" y="153"/>
                      </a:lnTo>
                      <a:lnTo>
                        <a:pt x="2297" y="153"/>
                      </a:lnTo>
                      <a:lnTo>
                        <a:pt x="2303" y="115"/>
                      </a:lnTo>
                      <a:lnTo>
                        <a:pt x="2309" y="76"/>
                      </a:lnTo>
                      <a:lnTo>
                        <a:pt x="2321" y="0"/>
                      </a:lnTo>
                      <a:lnTo>
                        <a:pt x="2321" y="0"/>
                      </a:lnTo>
                      <a:lnTo>
                        <a:pt x="2192" y="9"/>
                      </a:lnTo>
                      <a:lnTo>
                        <a:pt x="2067" y="19"/>
                      </a:lnTo>
                      <a:lnTo>
                        <a:pt x="1944" y="29"/>
                      </a:lnTo>
                      <a:lnTo>
                        <a:pt x="1824" y="40"/>
                      </a:lnTo>
                      <a:lnTo>
                        <a:pt x="1706" y="51"/>
                      </a:lnTo>
                      <a:lnTo>
                        <a:pt x="1592" y="63"/>
                      </a:lnTo>
                      <a:lnTo>
                        <a:pt x="1482" y="76"/>
                      </a:lnTo>
                      <a:lnTo>
                        <a:pt x="1375" y="88"/>
                      </a:lnTo>
                      <a:lnTo>
                        <a:pt x="1270" y="102"/>
                      </a:lnTo>
                      <a:lnTo>
                        <a:pt x="1169" y="115"/>
                      </a:lnTo>
                      <a:lnTo>
                        <a:pt x="1072" y="128"/>
                      </a:lnTo>
                      <a:lnTo>
                        <a:pt x="979" y="143"/>
                      </a:lnTo>
                      <a:lnTo>
                        <a:pt x="888" y="158"/>
                      </a:lnTo>
                      <a:lnTo>
                        <a:pt x="802" y="173"/>
                      </a:lnTo>
                      <a:lnTo>
                        <a:pt x="720" y="188"/>
                      </a:lnTo>
                      <a:lnTo>
                        <a:pt x="641" y="204"/>
                      </a:lnTo>
                      <a:lnTo>
                        <a:pt x="567" y="221"/>
                      </a:lnTo>
                      <a:lnTo>
                        <a:pt x="496" y="237"/>
                      </a:lnTo>
                      <a:lnTo>
                        <a:pt x="431" y="254"/>
                      </a:lnTo>
                      <a:lnTo>
                        <a:pt x="370" y="271"/>
                      </a:lnTo>
                      <a:lnTo>
                        <a:pt x="312" y="289"/>
                      </a:lnTo>
                      <a:lnTo>
                        <a:pt x="259" y="306"/>
                      </a:lnTo>
                      <a:lnTo>
                        <a:pt x="211" y="324"/>
                      </a:lnTo>
                      <a:lnTo>
                        <a:pt x="168" y="343"/>
                      </a:lnTo>
                      <a:lnTo>
                        <a:pt x="129" y="361"/>
                      </a:lnTo>
                      <a:lnTo>
                        <a:pt x="96" y="379"/>
                      </a:lnTo>
                      <a:lnTo>
                        <a:pt x="81" y="389"/>
                      </a:lnTo>
                      <a:lnTo>
                        <a:pt x="67" y="399"/>
                      </a:lnTo>
                      <a:lnTo>
                        <a:pt x="54" y="408"/>
                      </a:lnTo>
                      <a:lnTo>
                        <a:pt x="43" y="417"/>
                      </a:lnTo>
                      <a:lnTo>
                        <a:pt x="34" y="428"/>
                      </a:lnTo>
                      <a:lnTo>
                        <a:pt x="24" y="437"/>
                      </a:lnTo>
                      <a:lnTo>
                        <a:pt x="17" y="447"/>
                      </a:lnTo>
                      <a:lnTo>
                        <a:pt x="11" y="457"/>
                      </a:lnTo>
                      <a:lnTo>
                        <a:pt x="6" y="467"/>
                      </a:lnTo>
                      <a:lnTo>
                        <a:pt x="3" y="476"/>
                      </a:lnTo>
                      <a:lnTo>
                        <a:pt x="0" y="487"/>
                      </a:lnTo>
                      <a:lnTo>
                        <a:pt x="0" y="497"/>
                      </a:lnTo>
                      <a:lnTo>
                        <a:pt x="0" y="497"/>
                      </a:lnTo>
                      <a:lnTo>
                        <a:pt x="0" y="504"/>
                      </a:lnTo>
                      <a:lnTo>
                        <a:pt x="1" y="512"/>
                      </a:lnTo>
                      <a:lnTo>
                        <a:pt x="4" y="519"/>
                      </a:lnTo>
                      <a:lnTo>
                        <a:pt x="6" y="526"/>
                      </a:lnTo>
                      <a:lnTo>
                        <a:pt x="13" y="541"/>
                      </a:lnTo>
                      <a:lnTo>
                        <a:pt x="23" y="554"/>
                      </a:lnTo>
                      <a:lnTo>
                        <a:pt x="36" y="569"/>
                      </a:lnTo>
                      <a:lnTo>
                        <a:pt x="52" y="583"/>
                      </a:lnTo>
                      <a:lnTo>
                        <a:pt x="70" y="597"/>
                      </a:lnTo>
                      <a:lnTo>
                        <a:pt x="92" y="611"/>
                      </a:lnTo>
                      <a:lnTo>
                        <a:pt x="116" y="625"/>
                      </a:lnTo>
                      <a:lnTo>
                        <a:pt x="143" y="639"/>
                      </a:lnTo>
                      <a:lnTo>
                        <a:pt x="172" y="652"/>
                      </a:lnTo>
                      <a:lnTo>
                        <a:pt x="204" y="666"/>
                      </a:lnTo>
                      <a:lnTo>
                        <a:pt x="239" y="679"/>
                      </a:lnTo>
                      <a:lnTo>
                        <a:pt x="275" y="693"/>
                      </a:lnTo>
                      <a:lnTo>
                        <a:pt x="315" y="705"/>
                      </a:lnTo>
                      <a:lnTo>
                        <a:pt x="356" y="718"/>
                      </a:lnTo>
                      <a:lnTo>
                        <a:pt x="401" y="731"/>
                      </a:lnTo>
                      <a:lnTo>
                        <a:pt x="447" y="743"/>
                      </a:lnTo>
                      <a:lnTo>
                        <a:pt x="495" y="756"/>
                      </a:lnTo>
                      <a:lnTo>
                        <a:pt x="547" y="767"/>
                      </a:lnTo>
                      <a:lnTo>
                        <a:pt x="656" y="792"/>
                      </a:lnTo>
                      <a:lnTo>
                        <a:pt x="774" y="815"/>
                      </a:lnTo>
                      <a:lnTo>
                        <a:pt x="901" y="838"/>
                      </a:lnTo>
                      <a:lnTo>
                        <a:pt x="1035" y="858"/>
                      </a:lnTo>
                      <a:lnTo>
                        <a:pt x="1177" y="879"/>
                      </a:lnTo>
                      <a:lnTo>
                        <a:pt x="1328" y="899"/>
                      </a:lnTo>
                      <a:lnTo>
                        <a:pt x="1484" y="918"/>
                      </a:lnTo>
                      <a:lnTo>
                        <a:pt x="1649" y="936"/>
                      </a:lnTo>
                      <a:lnTo>
                        <a:pt x="1820" y="953"/>
                      </a:lnTo>
                      <a:lnTo>
                        <a:pt x="1998" y="969"/>
                      </a:lnTo>
                      <a:lnTo>
                        <a:pt x="2182" y="984"/>
                      </a:lnTo>
                      <a:lnTo>
                        <a:pt x="2372" y="998"/>
                      </a:lnTo>
                      <a:lnTo>
                        <a:pt x="2568" y="1009"/>
                      </a:lnTo>
                      <a:lnTo>
                        <a:pt x="2768" y="1021"/>
                      </a:lnTo>
                      <a:lnTo>
                        <a:pt x="2974" y="1031"/>
                      </a:lnTo>
                      <a:lnTo>
                        <a:pt x="3185" y="1040"/>
                      </a:lnTo>
                      <a:lnTo>
                        <a:pt x="3399" y="1048"/>
                      </a:lnTo>
                      <a:lnTo>
                        <a:pt x="3619" y="1054"/>
                      </a:lnTo>
                      <a:lnTo>
                        <a:pt x="3842" y="1060"/>
                      </a:lnTo>
                      <a:lnTo>
                        <a:pt x="4069" y="1063"/>
                      </a:lnTo>
                      <a:lnTo>
                        <a:pt x="4298" y="1066"/>
                      </a:lnTo>
                      <a:lnTo>
                        <a:pt x="4532" y="1066"/>
                      </a:lnTo>
                      <a:lnTo>
                        <a:pt x="4532" y="1066"/>
                      </a:lnTo>
                      <a:lnTo>
                        <a:pt x="4765" y="1066"/>
                      </a:lnTo>
                      <a:lnTo>
                        <a:pt x="4994" y="1063"/>
                      </a:lnTo>
                      <a:lnTo>
                        <a:pt x="5221" y="1060"/>
                      </a:lnTo>
                      <a:lnTo>
                        <a:pt x="5445" y="1054"/>
                      </a:lnTo>
                      <a:lnTo>
                        <a:pt x="5664" y="1048"/>
                      </a:lnTo>
                      <a:lnTo>
                        <a:pt x="5879" y="1040"/>
                      </a:lnTo>
                      <a:lnTo>
                        <a:pt x="6089" y="1031"/>
                      </a:lnTo>
                      <a:lnTo>
                        <a:pt x="6295" y="1021"/>
                      </a:lnTo>
                      <a:lnTo>
                        <a:pt x="6496" y="1009"/>
                      </a:lnTo>
                      <a:lnTo>
                        <a:pt x="6691" y="998"/>
                      </a:lnTo>
                      <a:lnTo>
                        <a:pt x="6881" y="984"/>
                      </a:lnTo>
                      <a:lnTo>
                        <a:pt x="7066" y="969"/>
                      </a:lnTo>
                      <a:lnTo>
                        <a:pt x="7243" y="953"/>
                      </a:lnTo>
                      <a:lnTo>
                        <a:pt x="7414" y="936"/>
                      </a:lnTo>
                      <a:lnTo>
                        <a:pt x="7578" y="918"/>
                      </a:lnTo>
                      <a:lnTo>
                        <a:pt x="7736" y="899"/>
                      </a:lnTo>
                      <a:lnTo>
                        <a:pt x="7886" y="879"/>
                      </a:lnTo>
                      <a:lnTo>
                        <a:pt x="8028" y="858"/>
                      </a:lnTo>
                      <a:lnTo>
                        <a:pt x="8163" y="838"/>
                      </a:lnTo>
                      <a:lnTo>
                        <a:pt x="8289" y="815"/>
                      </a:lnTo>
                      <a:lnTo>
                        <a:pt x="8407" y="792"/>
                      </a:lnTo>
                      <a:lnTo>
                        <a:pt x="8516" y="767"/>
                      </a:lnTo>
                      <a:lnTo>
                        <a:pt x="8567" y="756"/>
                      </a:lnTo>
                      <a:lnTo>
                        <a:pt x="8616" y="743"/>
                      </a:lnTo>
                      <a:lnTo>
                        <a:pt x="8662" y="731"/>
                      </a:lnTo>
                      <a:lnTo>
                        <a:pt x="8707" y="718"/>
                      </a:lnTo>
                      <a:lnTo>
                        <a:pt x="8749" y="705"/>
                      </a:lnTo>
                      <a:lnTo>
                        <a:pt x="8788" y="693"/>
                      </a:lnTo>
                      <a:lnTo>
                        <a:pt x="8825" y="679"/>
                      </a:lnTo>
                      <a:lnTo>
                        <a:pt x="8859" y="666"/>
                      </a:lnTo>
                      <a:lnTo>
                        <a:pt x="8891" y="652"/>
                      </a:lnTo>
                      <a:lnTo>
                        <a:pt x="8920" y="639"/>
                      </a:lnTo>
                      <a:lnTo>
                        <a:pt x="8947" y="625"/>
                      </a:lnTo>
                      <a:lnTo>
                        <a:pt x="8971" y="611"/>
                      </a:lnTo>
                      <a:lnTo>
                        <a:pt x="8993" y="597"/>
                      </a:lnTo>
                      <a:lnTo>
                        <a:pt x="9011" y="583"/>
                      </a:lnTo>
                      <a:lnTo>
                        <a:pt x="9026" y="569"/>
                      </a:lnTo>
                      <a:lnTo>
                        <a:pt x="9040" y="554"/>
                      </a:lnTo>
                      <a:lnTo>
                        <a:pt x="9050" y="541"/>
                      </a:lnTo>
                      <a:lnTo>
                        <a:pt x="9057" y="526"/>
                      </a:lnTo>
                      <a:lnTo>
                        <a:pt x="9060" y="519"/>
                      </a:lnTo>
                      <a:lnTo>
                        <a:pt x="9062" y="512"/>
                      </a:lnTo>
                      <a:lnTo>
                        <a:pt x="9063" y="504"/>
                      </a:lnTo>
                      <a:lnTo>
                        <a:pt x="9063" y="497"/>
                      </a:lnTo>
                      <a:lnTo>
                        <a:pt x="9063" y="497"/>
                      </a:lnTo>
                      <a:lnTo>
                        <a:pt x="9062" y="487"/>
                      </a:lnTo>
                      <a:lnTo>
                        <a:pt x="9061" y="476"/>
                      </a:lnTo>
                      <a:lnTo>
                        <a:pt x="9057" y="467"/>
                      </a:lnTo>
                      <a:lnTo>
                        <a:pt x="9053" y="457"/>
                      </a:lnTo>
                      <a:lnTo>
                        <a:pt x="9046" y="447"/>
                      </a:lnTo>
                      <a:lnTo>
                        <a:pt x="9039" y="437"/>
                      </a:lnTo>
                      <a:lnTo>
                        <a:pt x="9030" y="428"/>
                      </a:lnTo>
                      <a:lnTo>
                        <a:pt x="9020" y="417"/>
                      </a:lnTo>
                      <a:lnTo>
                        <a:pt x="9009" y="408"/>
                      </a:lnTo>
                      <a:lnTo>
                        <a:pt x="8996" y="399"/>
                      </a:lnTo>
                      <a:lnTo>
                        <a:pt x="8982" y="389"/>
                      </a:lnTo>
                      <a:lnTo>
                        <a:pt x="8967" y="379"/>
                      </a:lnTo>
                      <a:lnTo>
                        <a:pt x="8934" y="361"/>
                      </a:lnTo>
                      <a:lnTo>
                        <a:pt x="8895" y="343"/>
                      </a:lnTo>
                      <a:lnTo>
                        <a:pt x="8851" y="324"/>
                      </a:lnTo>
                      <a:lnTo>
                        <a:pt x="8804" y="306"/>
                      </a:lnTo>
                      <a:lnTo>
                        <a:pt x="8751" y="289"/>
                      </a:lnTo>
                      <a:lnTo>
                        <a:pt x="8693" y="271"/>
                      </a:lnTo>
                      <a:lnTo>
                        <a:pt x="8632" y="254"/>
                      </a:lnTo>
                      <a:lnTo>
                        <a:pt x="8566" y="237"/>
                      </a:lnTo>
                      <a:lnTo>
                        <a:pt x="8495" y="221"/>
                      </a:lnTo>
                      <a:lnTo>
                        <a:pt x="8422" y="204"/>
                      </a:lnTo>
                      <a:lnTo>
                        <a:pt x="8343" y="188"/>
                      </a:lnTo>
                      <a:lnTo>
                        <a:pt x="8261" y="173"/>
                      </a:lnTo>
                      <a:lnTo>
                        <a:pt x="8174" y="158"/>
                      </a:lnTo>
                      <a:lnTo>
                        <a:pt x="8084" y="143"/>
                      </a:lnTo>
                      <a:lnTo>
                        <a:pt x="7991" y="128"/>
                      </a:lnTo>
                      <a:lnTo>
                        <a:pt x="7893" y="115"/>
                      </a:lnTo>
                      <a:lnTo>
                        <a:pt x="7793" y="102"/>
                      </a:lnTo>
                      <a:lnTo>
                        <a:pt x="7688" y="88"/>
                      </a:lnTo>
                      <a:lnTo>
                        <a:pt x="7580" y="76"/>
                      </a:lnTo>
                      <a:lnTo>
                        <a:pt x="7470" y="63"/>
                      </a:lnTo>
                      <a:lnTo>
                        <a:pt x="7356" y="51"/>
                      </a:lnTo>
                      <a:lnTo>
                        <a:pt x="7238" y="40"/>
                      </a:lnTo>
                      <a:lnTo>
                        <a:pt x="7119" y="29"/>
                      </a:lnTo>
                      <a:lnTo>
                        <a:pt x="6995" y="19"/>
                      </a:lnTo>
                      <a:lnTo>
                        <a:pt x="6870" y="9"/>
                      </a:lnTo>
                      <a:lnTo>
                        <a:pt x="6741" y="0"/>
                      </a:lnTo>
                      <a:lnTo>
                        <a:pt x="6741" y="0"/>
                      </a:lnTo>
                      <a:close/>
                    </a:path>
                  </a:pathLst>
                </a:custGeom>
                <a:solidFill>
                  <a:srgbClr val="FFAF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364" name="그룹 363"/>
              <p:cNvGrpSpPr/>
              <p:nvPr userDrawn="1"/>
            </p:nvGrpSpPr>
            <p:grpSpPr>
              <a:xfrm rot="1800000">
                <a:off x="4566696" y="3275545"/>
                <a:ext cx="120104" cy="225165"/>
                <a:chOff x="3190875" y="1249363"/>
                <a:chExt cx="785813" cy="1473200"/>
              </a:xfrm>
            </p:grpSpPr>
            <p:sp>
              <p:nvSpPr>
                <p:cNvPr id="365" name="Freeform 306"/>
                <p:cNvSpPr>
                  <a:spLocks/>
                </p:cNvSpPr>
                <p:nvPr/>
              </p:nvSpPr>
              <p:spPr bwMode="auto">
                <a:xfrm>
                  <a:off x="3190875" y="1592263"/>
                  <a:ext cx="785813" cy="787400"/>
                </a:xfrm>
                <a:custGeom>
                  <a:avLst/>
                  <a:gdLst>
                    <a:gd name="T0" fmla="*/ 3387 w 3470"/>
                    <a:gd name="T1" fmla="*/ 1212 h 3470"/>
                    <a:gd name="T2" fmla="*/ 3286 w 3470"/>
                    <a:gd name="T3" fmla="*/ 960 h 3470"/>
                    <a:gd name="T4" fmla="*/ 3146 w 3470"/>
                    <a:gd name="T5" fmla="*/ 729 h 3470"/>
                    <a:gd name="T6" fmla="*/ 3012 w 3470"/>
                    <a:gd name="T7" fmla="*/ 563 h 3470"/>
                    <a:gd name="T8" fmla="*/ 2955 w 3470"/>
                    <a:gd name="T9" fmla="*/ 505 h 3470"/>
                    <a:gd name="T10" fmla="*/ 2920 w 3470"/>
                    <a:gd name="T11" fmla="*/ 470 h 3470"/>
                    <a:gd name="T12" fmla="*/ 2747 w 3470"/>
                    <a:gd name="T13" fmla="*/ 328 h 3470"/>
                    <a:gd name="T14" fmla="*/ 2619 w 3470"/>
                    <a:gd name="T15" fmla="*/ 244 h 3470"/>
                    <a:gd name="T16" fmla="*/ 2516 w 3470"/>
                    <a:gd name="T17" fmla="*/ 186 h 3470"/>
                    <a:gd name="T18" fmla="*/ 2351 w 3470"/>
                    <a:gd name="T19" fmla="*/ 114 h 3470"/>
                    <a:gd name="T20" fmla="*/ 2177 w 3470"/>
                    <a:gd name="T21" fmla="*/ 59 h 3470"/>
                    <a:gd name="T22" fmla="*/ 2040 w 3470"/>
                    <a:gd name="T23" fmla="*/ 28 h 3470"/>
                    <a:gd name="T24" fmla="*/ 1851 w 3470"/>
                    <a:gd name="T25" fmla="*/ 3 h 3470"/>
                    <a:gd name="T26" fmla="*/ 1690 w 3470"/>
                    <a:gd name="T27" fmla="*/ 0 h 3470"/>
                    <a:gd name="T28" fmla="*/ 1470 w 3470"/>
                    <a:gd name="T29" fmla="*/ 20 h 3470"/>
                    <a:gd name="T30" fmla="*/ 1260 w 3470"/>
                    <a:gd name="T31" fmla="*/ 66 h 3470"/>
                    <a:gd name="T32" fmla="*/ 1059 w 3470"/>
                    <a:gd name="T33" fmla="*/ 136 h 3470"/>
                    <a:gd name="T34" fmla="*/ 872 w 3470"/>
                    <a:gd name="T35" fmla="*/ 229 h 3470"/>
                    <a:gd name="T36" fmla="*/ 697 w 3470"/>
                    <a:gd name="T37" fmla="*/ 344 h 3470"/>
                    <a:gd name="T38" fmla="*/ 538 w 3470"/>
                    <a:gd name="T39" fmla="*/ 479 h 3470"/>
                    <a:gd name="T40" fmla="*/ 396 w 3470"/>
                    <a:gd name="T41" fmla="*/ 631 h 3470"/>
                    <a:gd name="T42" fmla="*/ 273 w 3470"/>
                    <a:gd name="T43" fmla="*/ 799 h 3470"/>
                    <a:gd name="T44" fmla="*/ 170 w 3470"/>
                    <a:gd name="T45" fmla="*/ 982 h 3470"/>
                    <a:gd name="T46" fmla="*/ 91 w 3470"/>
                    <a:gd name="T47" fmla="*/ 1178 h 3470"/>
                    <a:gd name="T48" fmla="*/ 35 w 3470"/>
                    <a:gd name="T49" fmla="*/ 1385 h 3470"/>
                    <a:gd name="T50" fmla="*/ 5 w 3470"/>
                    <a:gd name="T51" fmla="*/ 1601 h 3470"/>
                    <a:gd name="T52" fmla="*/ 0 w 3470"/>
                    <a:gd name="T53" fmla="*/ 1779 h 3470"/>
                    <a:gd name="T54" fmla="*/ 20 w 3470"/>
                    <a:gd name="T55" fmla="*/ 1997 h 3470"/>
                    <a:gd name="T56" fmla="*/ 65 w 3470"/>
                    <a:gd name="T57" fmla="*/ 2208 h 3470"/>
                    <a:gd name="T58" fmla="*/ 135 w 3470"/>
                    <a:gd name="T59" fmla="*/ 2407 h 3470"/>
                    <a:gd name="T60" fmla="*/ 228 w 3470"/>
                    <a:gd name="T61" fmla="*/ 2595 h 3470"/>
                    <a:gd name="T62" fmla="*/ 342 w 3470"/>
                    <a:gd name="T63" fmla="*/ 2769 h 3470"/>
                    <a:gd name="T64" fmla="*/ 476 w 3470"/>
                    <a:gd name="T65" fmla="*/ 2928 h 3470"/>
                    <a:gd name="T66" fmla="*/ 595 w 3470"/>
                    <a:gd name="T67" fmla="*/ 3043 h 3470"/>
                    <a:gd name="T68" fmla="*/ 761 w 3470"/>
                    <a:gd name="T69" fmla="*/ 3171 h 3470"/>
                    <a:gd name="T70" fmla="*/ 942 w 3470"/>
                    <a:gd name="T71" fmla="*/ 3278 h 3470"/>
                    <a:gd name="T72" fmla="*/ 1136 w 3470"/>
                    <a:gd name="T73" fmla="*/ 3364 h 3470"/>
                    <a:gd name="T74" fmla="*/ 1341 w 3470"/>
                    <a:gd name="T75" fmla="*/ 3425 h 3470"/>
                    <a:gd name="T76" fmla="*/ 1557 w 3470"/>
                    <a:gd name="T77" fmla="*/ 3461 h 3470"/>
                    <a:gd name="T78" fmla="*/ 1735 w 3470"/>
                    <a:gd name="T79" fmla="*/ 3470 h 3470"/>
                    <a:gd name="T80" fmla="*/ 1956 w 3470"/>
                    <a:gd name="T81" fmla="*/ 3456 h 3470"/>
                    <a:gd name="T82" fmla="*/ 2168 w 3470"/>
                    <a:gd name="T83" fmla="*/ 3415 h 3470"/>
                    <a:gd name="T84" fmla="*/ 2371 w 3470"/>
                    <a:gd name="T85" fmla="*/ 3349 h 3470"/>
                    <a:gd name="T86" fmla="*/ 2562 w 3470"/>
                    <a:gd name="T87" fmla="*/ 3261 h 3470"/>
                    <a:gd name="T88" fmla="*/ 2739 w 3470"/>
                    <a:gd name="T89" fmla="*/ 3150 h 3470"/>
                    <a:gd name="T90" fmla="*/ 2901 w 3470"/>
                    <a:gd name="T91" fmla="*/ 3019 h 3470"/>
                    <a:gd name="T92" fmla="*/ 3046 w 3470"/>
                    <a:gd name="T93" fmla="*/ 2870 h 3470"/>
                    <a:gd name="T94" fmla="*/ 3173 w 3470"/>
                    <a:gd name="T95" fmla="*/ 2704 h 3470"/>
                    <a:gd name="T96" fmla="*/ 3280 w 3470"/>
                    <a:gd name="T97" fmla="*/ 2525 h 3470"/>
                    <a:gd name="T98" fmla="*/ 3364 w 3470"/>
                    <a:gd name="T99" fmla="*/ 2331 h 3470"/>
                    <a:gd name="T100" fmla="*/ 3425 w 3470"/>
                    <a:gd name="T101" fmla="*/ 2126 h 3470"/>
                    <a:gd name="T102" fmla="*/ 3461 w 3470"/>
                    <a:gd name="T103" fmla="*/ 1912 h 3470"/>
                    <a:gd name="T104" fmla="*/ 3470 w 3470"/>
                    <a:gd name="T105" fmla="*/ 1735 h 3470"/>
                    <a:gd name="T106" fmla="*/ 3448 w 3470"/>
                    <a:gd name="T107" fmla="*/ 1471 h 3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70" h="3470">
                      <a:moveTo>
                        <a:pt x="3417" y="1318"/>
                      </a:moveTo>
                      <a:lnTo>
                        <a:pt x="3417" y="1318"/>
                      </a:lnTo>
                      <a:lnTo>
                        <a:pt x="3417" y="1318"/>
                      </a:lnTo>
                      <a:lnTo>
                        <a:pt x="3403" y="1265"/>
                      </a:lnTo>
                      <a:lnTo>
                        <a:pt x="3387" y="1212"/>
                      </a:lnTo>
                      <a:lnTo>
                        <a:pt x="3370" y="1160"/>
                      </a:lnTo>
                      <a:lnTo>
                        <a:pt x="3351" y="1109"/>
                      </a:lnTo>
                      <a:lnTo>
                        <a:pt x="3331" y="1058"/>
                      </a:lnTo>
                      <a:lnTo>
                        <a:pt x="3309" y="1009"/>
                      </a:lnTo>
                      <a:lnTo>
                        <a:pt x="3286" y="960"/>
                      </a:lnTo>
                      <a:lnTo>
                        <a:pt x="3260" y="912"/>
                      </a:lnTo>
                      <a:lnTo>
                        <a:pt x="3234" y="865"/>
                      </a:lnTo>
                      <a:lnTo>
                        <a:pt x="3206" y="819"/>
                      </a:lnTo>
                      <a:lnTo>
                        <a:pt x="3178" y="774"/>
                      </a:lnTo>
                      <a:lnTo>
                        <a:pt x="3146" y="729"/>
                      </a:lnTo>
                      <a:lnTo>
                        <a:pt x="3114" y="686"/>
                      </a:lnTo>
                      <a:lnTo>
                        <a:pt x="3082" y="644"/>
                      </a:lnTo>
                      <a:lnTo>
                        <a:pt x="3047" y="603"/>
                      </a:lnTo>
                      <a:lnTo>
                        <a:pt x="3012" y="563"/>
                      </a:lnTo>
                      <a:lnTo>
                        <a:pt x="3012" y="563"/>
                      </a:lnTo>
                      <a:lnTo>
                        <a:pt x="3005" y="556"/>
                      </a:lnTo>
                      <a:lnTo>
                        <a:pt x="3005" y="556"/>
                      </a:lnTo>
                      <a:lnTo>
                        <a:pt x="2981" y="531"/>
                      </a:lnTo>
                      <a:lnTo>
                        <a:pt x="2955" y="505"/>
                      </a:lnTo>
                      <a:lnTo>
                        <a:pt x="2955" y="505"/>
                      </a:lnTo>
                      <a:lnTo>
                        <a:pt x="2939" y="488"/>
                      </a:lnTo>
                      <a:lnTo>
                        <a:pt x="2922" y="471"/>
                      </a:lnTo>
                      <a:lnTo>
                        <a:pt x="2922" y="471"/>
                      </a:lnTo>
                      <a:lnTo>
                        <a:pt x="2920" y="470"/>
                      </a:lnTo>
                      <a:lnTo>
                        <a:pt x="2920" y="470"/>
                      </a:lnTo>
                      <a:lnTo>
                        <a:pt x="2886" y="439"/>
                      </a:lnTo>
                      <a:lnTo>
                        <a:pt x="2853" y="410"/>
                      </a:lnTo>
                      <a:lnTo>
                        <a:pt x="2818" y="382"/>
                      </a:lnTo>
                      <a:lnTo>
                        <a:pt x="2783" y="355"/>
                      </a:lnTo>
                      <a:lnTo>
                        <a:pt x="2747" y="328"/>
                      </a:lnTo>
                      <a:lnTo>
                        <a:pt x="2710" y="302"/>
                      </a:lnTo>
                      <a:lnTo>
                        <a:pt x="2673" y="277"/>
                      </a:lnTo>
                      <a:lnTo>
                        <a:pt x="2635" y="253"/>
                      </a:lnTo>
                      <a:lnTo>
                        <a:pt x="2635" y="253"/>
                      </a:lnTo>
                      <a:lnTo>
                        <a:pt x="2619" y="244"/>
                      </a:lnTo>
                      <a:lnTo>
                        <a:pt x="2619" y="244"/>
                      </a:lnTo>
                      <a:lnTo>
                        <a:pt x="2569" y="215"/>
                      </a:lnTo>
                      <a:lnTo>
                        <a:pt x="2518" y="188"/>
                      </a:lnTo>
                      <a:lnTo>
                        <a:pt x="2518" y="188"/>
                      </a:lnTo>
                      <a:lnTo>
                        <a:pt x="2516" y="186"/>
                      </a:lnTo>
                      <a:lnTo>
                        <a:pt x="2516" y="186"/>
                      </a:lnTo>
                      <a:lnTo>
                        <a:pt x="2475" y="167"/>
                      </a:lnTo>
                      <a:lnTo>
                        <a:pt x="2434" y="148"/>
                      </a:lnTo>
                      <a:lnTo>
                        <a:pt x="2392" y="130"/>
                      </a:lnTo>
                      <a:lnTo>
                        <a:pt x="2351" y="114"/>
                      </a:lnTo>
                      <a:lnTo>
                        <a:pt x="2308" y="99"/>
                      </a:lnTo>
                      <a:lnTo>
                        <a:pt x="2265" y="84"/>
                      </a:lnTo>
                      <a:lnTo>
                        <a:pt x="2221" y="71"/>
                      </a:lnTo>
                      <a:lnTo>
                        <a:pt x="2177" y="59"/>
                      </a:lnTo>
                      <a:lnTo>
                        <a:pt x="2177" y="59"/>
                      </a:lnTo>
                      <a:lnTo>
                        <a:pt x="2154" y="53"/>
                      </a:lnTo>
                      <a:lnTo>
                        <a:pt x="2154" y="53"/>
                      </a:lnTo>
                      <a:lnTo>
                        <a:pt x="2098" y="39"/>
                      </a:lnTo>
                      <a:lnTo>
                        <a:pt x="2040" y="28"/>
                      </a:lnTo>
                      <a:lnTo>
                        <a:pt x="2040" y="28"/>
                      </a:lnTo>
                      <a:lnTo>
                        <a:pt x="2002" y="22"/>
                      </a:lnTo>
                      <a:lnTo>
                        <a:pt x="1965" y="16"/>
                      </a:lnTo>
                      <a:lnTo>
                        <a:pt x="1927" y="11"/>
                      </a:lnTo>
                      <a:lnTo>
                        <a:pt x="1889" y="7"/>
                      </a:lnTo>
                      <a:lnTo>
                        <a:pt x="1851" y="3"/>
                      </a:lnTo>
                      <a:lnTo>
                        <a:pt x="1812" y="1"/>
                      </a:lnTo>
                      <a:lnTo>
                        <a:pt x="1774" y="0"/>
                      </a:lnTo>
                      <a:lnTo>
                        <a:pt x="1735" y="0"/>
                      </a:lnTo>
                      <a:lnTo>
                        <a:pt x="1735" y="0"/>
                      </a:lnTo>
                      <a:lnTo>
                        <a:pt x="1690" y="0"/>
                      </a:lnTo>
                      <a:lnTo>
                        <a:pt x="1645" y="2"/>
                      </a:lnTo>
                      <a:lnTo>
                        <a:pt x="1601" y="5"/>
                      </a:lnTo>
                      <a:lnTo>
                        <a:pt x="1558" y="8"/>
                      </a:lnTo>
                      <a:lnTo>
                        <a:pt x="1514" y="14"/>
                      </a:lnTo>
                      <a:lnTo>
                        <a:pt x="1470" y="20"/>
                      </a:lnTo>
                      <a:lnTo>
                        <a:pt x="1428" y="26"/>
                      </a:lnTo>
                      <a:lnTo>
                        <a:pt x="1385" y="34"/>
                      </a:lnTo>
                      <a:lnTo>
                        <a:pt x="1342" y="44"/>
                      </a:lnTo>
                      <a:lnTo>
                        <a:pt x="1301" y="54"/>
                      </a:lnTo>
                      <a:lnTo>
                        <a:pt x="1260" y="66"/>
                      </a:lnTo>
                      <a:lnTo>
                        <a:pt x="1219" y="77"/>
                      </a:lnTo>
                      <a:lnTo>
                        <a:pt x="1178" y="91"/>
                      </a:lnTo>
                      <a:lnTo>
                        <a:pt x="1139" y="105"/>
                      </a:lnTo>
                      <a:lnTo>
                        <a:pt x="1098" y="120"/>
                      </a:lnTo>
                      <a:lnTo>
                        <a:pt x="1059" y="136"/>
                      </a:lnTo>
                      <a:lnTo>
                        <a:pt x="1021" y="153"/>
                      </a:lnTo>
                      <a:lnTo>
                        <a:pt x="982" y="170"/>
                      </a:lnTo>
                      <a:lnTo>
                        <a:pt x="945" y="190"/>
                      </a:lnTo>
                      <a:lnTo>
                        <a:pt x="907" y="209"/>
                      </a:lnTo>
                      <a:lnTo>
                        <a:pt x="872" y="229"/>
                      </a:lnTo>
                      <a:lnTo>
                        <a:pt x="835" y="251"/>
                      </a:lnTo>
                      <a:lnTo>
                        <a:pt x="800" y="273"/>
                      </a:lnTo>
                      <a:lnTo>
                        <a:pt x="765" y="296"/>
                      </a:lnTo>
                      <a:lnTo>
                        <a:pt x="730" y="320"/>
                      </a:lnTo>
                      <a:lnTo>
                        <a:pt x="697" y="344"/>
                      </a:lnTo>
                      <a:lnTo>
                        <a:pt x="663" y="370"/>
                      </a:lnTo>
                      <a:lnTo>
                        <a:pt x="631" y="396"/>
                      </a:lnTo>
                      <a:lnTo>
                        <a:pt x="600" y="422"/>
                      </a:lnTo>
                      <a:lnTo>
                        <a:pt x="568" y="450"/>
                      </a:lnTo>
                      <a:lnTo>
                        <a:pt x="538" y="479"/>
                      </a:lnTo>
                      <a:lnTo>
                        <a:pt x="508" y="508"/>
                      </a:lnTo>
                      <a:lnTo>
                        <a:pt x="479" y="538"/>
                      </a:lnTo>
                      <a:lnTo>
                        <a:pt x="450" y="568"/>
                      </a:lnTo>
                      <a:lnTo>
                        <a:pt x="423" y="599"/>
                      </a:lnTo>
                      <a:lnTo>
                        <a:pt x="396" y="631"/>
                      </a:lnTo>
                      <a:lnTo>
                        <a:pt x="370" y="663"/>
                      </a:lnTo>
                      <a:lnTo>
                        <a:pt x="344" y="696"/>
                      </a:lnTo>
                      <a:lnTo>
                        <a:pt x="320" y="730"/>
                      </a:lnTo>
                      <a:lnTo>
                        <a:pt x="296" y="764"/>
                      </a:lnTo>
                      <a:lnTo>
                        <a:pt x="273" y="799"/>
                      </a:lnTo>
                      <a:lnTo>
                        <a:pt x="251" y="835"/>
                      </a:lnTo>
                      <a:lnTo>
                        <a:pt x="229" y="872"/>
                      </a:lnTo>
                      <a:lnTo>
                        <a:pt x="210" y="907"/>
                      </a:lnTo>
                      <a:lnTo>
                        <a:pt x="190" y="945"/>
                      </a:lnTo>
                      <a:lnTo>
                        <a:pt x="170" y="982"/>
                      </a:lnTo>
                      <a:lnTo>
                        <a:pt x="153" y="1020"/>
                      </a:lnTo>
                      <a:lnTo>
                        <a:pt x="136" y="1059"/>
                      </a:lnTo>
                      <a:lnTo>
                        <a:pt x="120" y="1098"/>
                      </a:lnTo>
                      <a:lnTo>
                        <a:pt x="105" y="1139"/>
                      </a:lnTo>
                      <a:lnTo>
                        <a:pt x="91" y="1178"/>
                      </a:lnTo>
                      <a:lnTo>
                        <a:pt x="77" y="1219"/>
                      </a:lnTo>
                      <a:lnTo>
                        <a:pt x="66" y="1259"/>
                      </a:lnTo>
                      <a:lnTo>
                        <a:pt x="54" y="1301"/>
                      </a:lnTo>
                      <a:lnTo>
                        <a:pt x="44" y="1342"/>
                      </a:lnTo>
                      <a:lnTo>
                        <a:pt x="35" y="1385"/>
                      </a:lnTo>
                      <a:lnTo>
                        <a:pt x="27" y="1428"/>
                      </a:lnTo>
                      <a:lnTo>
                        <a:pt x="20" y="1470"/>
                      </a:lnTo>
                      <a:lnTo>
                        <a:pt x="14" y="1514"/>
                      </a:lnTo>
                      <a:lnTo>
                        <a:pt x="9" y="1558"/>
                      </a:lnTo>
                      <a:lnTo>
                        <a:pt x="5" y="1601"/>
                      </a:lnTo>
                      <a:lnTo>
                        <a:pt x="2" y="1645"/>
                      </a:lnTo>
                      <a:lnTo>
                        <a:pt x="0" y="1690"/>
                      </a:lnTo>
                      <a:lnTo>
                        <a:pt x="0" y="1735"/>
                      </a:lnTo>
                      <a:lnTo>
                        <a:pt x="0" y="1735"/>
                      </a:lnTo>
                      <a:lnTo>
                        <a:pt x="0" y="1779"/>
                      </a:lnTo>
                      <a:lnTo>
                        <a:pt x="2" y="1824"/>
                      </a:lnTo>
                      <a:lnTo>
                        <a:pt x="5" y="1867"/>
                      </a:lnTo>
                      <a:lnTo>
                        <a:pt x="8" y="1911"/>
                      </a:lnTo>
                      <a:lnTo>
                        <a:pt x="14" y="1955"/>
                      </a:lnTo>
                      <a:lnTo>
                        <a:pt x="20" y="1997"/>
                      </a:lnTo>
                      <a:lnTo>
                        <a:pt x="27" y="2040"/>
                      </a:lnTo>
                      <a:lnTo>
                        <a:pt x="35" y="2083"/>
                      </a:lnTo>
                      <a:lnTo>
                        <a:pt x="44" y="2125"/>
                      </a:lnTo>
                      <a:lnTo>
                        <a:pt x="54" y="2167"/>
                      </a:lnTo>
                      <a:lnTo>
                        <a:pt x="65" y="2208"/>
                      </a:lnTo>
                      <a:lnTo>
                        <a:pt x="77" y="2248"/>
                      </a:lnTo>
                      <a:lnTo>
                        <a:pt x="90" y="2289"/>
                      </a:lnTo>
                      <a:lnTo>
                        <a:pt x="105" y="2329"/>
                      </a:lnTo>
                      <a:lnTo>
                        <a:pt x="120" y="2368"/>
                      </a:lnTo>
                      <a:lnTo>
                        <a:pt x="135" y="2407"/>
                      </a:lnTo>
                      <a:lnTo>
                        <a:pt x="152" y="2445"/>
                      </a:lnTo>
                      <a:lnTo>
                        <a:pt x="169" y="2485"/>
                      </a:lnTo>
                      <a:lnTo>
                        <a:pt x="188" y="2521"/>
                      </a:lnTo>
                      <a:lnTo>
                        <a:pt x="207" y="2558"/>
                      </a:lnTo>
                      <a:lnTo>
                        <a:pt x="228" y="2595"/>
                      </a:lnTo>
                      <a:lnTo>
                        <a:pt x="249" y="2631"/>
                      </a:lnTo>
                      <a:lnTo>
                        <a:pt x="271" y="2666"/>
                      </a:lnTo>
                      <a:lnTo>
                        <a:pt x="294" y="2701"/>
                      </a:lnTo>
                      <a:lnTo>
                        <a:pt x="318" y="2736"/>
                      </a:lnTo>
                      <a:lnTo>
                        <a:pt x="342" y="2769"/>
                      </a:lnTo>
                      <a:lnTo>
                        <a:pt x="367" y="2802"/>
                      </a:lnTo>
                      <a:lnTo>
                        <a:pt x="393" y="2835"/>
                      </a:lnTo>
                      <a:lnTo>
                        <a:pt x="420" y="2866"/>
                      </a:lnTo>
                      <a:lnTo>
                        <a:pt x="447" y="2898"/>
                      </a:lnTo>
                      <a:lnTo>
                        <a:pt x="476" y="2928"/>
                      </a:lnTo>
                      <a:lnTo>
                        <a:pt x="504" y="2958"/>
                      </a:lnTo>
                      <a:lnTo>
                        <a:pt x="504" y="2958"/>
                      </a:lnTo>
                      <a:lnTo>
                        <a:pt x="534" y="2986"/>
                      </a:lnTo>
                      <a:lnTo>
                        <a:pt x="564" y="3015"/>
                      </a:lnTo>
                      <a:lnTo>
                        <a:pt x="595" y="3043"/>
                      </a:lnTo>
                      <a:lnTo>
                        <a:pt x="628" y="3071"/>
                      </a:lnTo>
                      <a:lnTo>
                        <a:pt x="660" y="3097"/>
                      </a:lnTo>
                      <a:lnTo>
                        <a:pt x="693" y="3122"/>
                      </a:lnTo>
                      <a:lnTo>
                        <a:pt x="727" y="3147"/>
                      </a:lnTo>
                      <a:lnTo>
                        <a:pt x="761" y="3171"/>
                      </a:lnTo>
                      <a:lnTo>
                        <a:pt x="797" y="3194"/>
                      </a:lnTo>
                      <a:lnTo>
                        <a:pt x="832" y="3217"/>
                      </a:lnTo>
                      <a:lnTo>
                        <a:pt x="868" y="3237"/>
                      </a:lnTo>
                      <a:lnTo>
                        <a:pt x="905" y="3258"/>
                      </a:lnTo>
                      <a:lnTo>
                        <a:pt x="942" y="3278"/>
                      </a:lnTo>
                      <a:lnTo>
                        <a:pt x="980" y="3297"/>
                      </a:lnTo>
                      <a:lnTo>
                        <a:pt x="1018" y="3315"/>
                      </a:lnTo>
                      <a:lnTo>
                        <a:pt x="1057" y="3332"/>
                      </a:lnTo>
                      <a:lnTo>
                        <a:pt x="1096" y="3348"/>
                      </a:lnTo>
                      <a:lnTo>
                        <a:pt x="1136" y="3364"/>
                      </a:lnTo>
                      <a:lnTo>
                        <a:pt x="1177" y="3378"/>
                      </a:lnTo>
                      <a:lnTo>
                        <a:pt x="1217" y="3391"/>
                      </a:lnTo>
                      <a:lnTo>
                        <a:pt x="1258" y="3403"/>
                      </a:lnTo>
                      <a:lnTo>
                        <a:pt x="1300" y="3415"/>
                      </a:lnTo>
                      <a:lnTo>
                        <a:pt x="1341" y="3425"/>
                      </a:lnTo>
                      <a:lnTo>
                        <a:pt x="1384" y="3434"/>
                      </a:lnTo>
                      <a:lnTo>
                        <a:pt x="1426" y="3442"/>
                      </a:lnTo>
                      <a:lnTo>
                        <a:pt x="1469" y="3449"/>
                      </a:lnTo>
                      <a:lnTo>
                        <a:pt x="1513" y="3456"/>
                      </a:lnTo>
                      <a:lnTo>
                        <a:pt x="1557" y="3461"/>
                      </a:lnTo>
                      <a:lnTo>
                        <a:pt x="1600" y="3464"/>
                      </a:lnTo>
                      <a:lnTo>
                        <a:pt x="1645" y="3468"/>
                      </a:lnTo>
                      <a:lnTo>
                        <a:pt x="1690" y="3469"/>
                      </a:lnTo>
                      <a:lnTo>
                        <a:pt x="1735" y="3470"/>
                      </a:lnTo>
                      <a:lnTo>
                        <a:pt x="1735" y="3470"/>
                      </a:lnTo>
                      <a:lnTo>
                        <a:pt x="1780" y="3469"/>
                      </a:lnTo>
                      <a:lnTo>
                        <a:pt x="1824" y="3468"/>
                      </a:lnTo>
                      <a:lnTo>
                        <a:pt x="1869" y="3464"/>
                      </a:lnTo>
                      <a:lnTo>
                        <a:pt x="1912" y="3461"/>
                      </a:lnTo>
                      <a:lnTo>
                        <a:pt x="1956" y="3456"/>
                      </a:lnTo>
                      <a:lnTo>
                        <a:pt x="1999" y="3449"/>
                      </a:lnTo>
                      <a:lnTo>
                        <a:pt x="2042" y="3442"/>
                      </a:lnTo>
                      <a:lnTo>
                        <a:pt x="2085" y="3434"/>
                      </a:lnTo>
                      <a:lnTo>
                        <a:pt x="2126" y="3425"/>
                      </a:lnTo>
                      <a:lnTo>
                        <a:pt x="2168" y="3415"/>
                      </a:lnTo>
                      <a:lnTo>
                        <a:pt x="2209" y="3404"/>
                      </a:lnTo>
                      <a:lnTo>
                        <a:pt x="2251" y="3392"/>
                      </a:lnTo>
                      <a:lnTo>
                        <a:pt x="2291" y="3379"/>
                      </a:lnTo>
                      <a:lnTo>
                        <a:pt x="2331" y="3364"/>
                      </a:lnTo>
                      <a:lnTo>
                        <a:pt x="2371" y="3349"/>
                      </a:lnTo>
                      <a:lnTo>
                        <a:pt x="2410" y="3333"/>
                      </a:lnTo>
                      <a:lnTo>
                        <a:pt x="2449" y="3317"/>
                      </a:lnTo>
                      <a:lnTo>
                        <a:pt x="2487" y="3298"/>
                      </a:lnTo>
                      <a:lnTo>
                        <a:pt x="2525" y="3280"/>
                      </a:lnTo>
                      <a:lnTo>
                        <a:pt x="2562" y="3261"/>
                      </a:lnTo>
                      <a:lnTo>
                        <a:pt x="2598" y="3240"/>
                      </a:lnTo>
                      <a:lnTo>
                        <a:pt x="2634" y="3219"/>
                      </a:lnTo>
                      <a:lnTo>
                        <a:pt x="2670" y="3196"/>
                      </a:lnTo>
                      <a:lnTo>
                        <a:pt x="2704" y="3173"/>
                      </a:lnTo>
                      <a:lnTo>
                        <a:pt x="2739" y="3150"/>
                      </a:lnTo>
                      <a:lnTo>
                        <a:pt x="2772" y="3125"/>
                      </a:lnTo>
                      <a:lnTo>
                        <a:pt x="2806" y="3099"/>
                      </a:lnTo>
                      <a:lnTo>
                        <a:pt x="2838" y="3074"/>
                      </a:lnTo>
                      <a:lnTo>
                        <a:pt x="2870" y="3046"/>
                      </a:lnTo>
                      <a:lnTo>
                        <a:pt x="2901" y="3019"/>
                      </a:lnTo>
                      <a:lnTo>
                        <a:pt x="2932" y="2991"/>
                      </a:lnTo>
                      <a:lnTo>
                        <a:pt x="2961" y="2961"/>
                      </a:lnTo>
                      <a:lnTo>
                        <a:pt x="2991" y="2932"/>
                      </a:lnTo>
                      <a:lnTo>
                        <a:pt x="3019" y="2901"/>
                      </a:lnTo>
                      <a:lnTo>
                        <a:pt x="3046" y="2870"/>
                      </a:lnTo>
                      <a:lnTo>
                        <a:pt x="3074" y="2838"/>
                      </a:lnTo>
                      <a:lnTo>
                        <a:pt x="3099" y="2806"/>
                      </a:lnTo>
                      <a:lnTo>
                        <a:pt x="3125" y="2772"/>
                      </a:lnTo>
                      <a:lnTo>
                        <a:pt x="3150" y="2739"/>
                      </a:lnTo>
                      <a:lnTo>
                        <a:pt x="3173" y="2704"/>
                      </a:lnTo>
                      <a:lnTo>
                        <a:pt x="3196" y="2670"/>
                      </a:lnTo>
                      <a:lnTo>
                        <a:pt x="3219" y="2634"/>
                      </a:lnTo>
                      <a:lnTo>
                        <a:pt x="3240" y="2598"/>
                      </a:lnTo>
                      <a:lnTo>
                        <a:pt x="3260" y="2562"/>
                      </a:lnTo>
                      <a:lnTo>
                        <a:pt x="3280" y="2525"/>
                      </a:lnTo>
                      <a:lnTo>
                        <a:pt x="3298" y="2487"/>
                      </a:lnTo>
                      <a:lnTo>
                        <a:pt x="3317" y="2449"/>
                      </a:lnTo>
                      <a:lnTo>
                        <a:pt x="3333" y="2410"/>
                      </a:lnTo>
                      <a:lnTo>
                        <a:pt x="3349" y="2371"/>
                      </a:lnTo>
                      <a:lnTo>
                        <a:pt x="3364" y="2331"/>
                      </a:lnTo>
                      <a:lnTo>
                        <a:pt x="3379" y="2291"/>
                      </a:lnTo>
                      <a:lnTo>
                        <a:pt x="3392" y="2251"/>
                      </a:lnTo>
                      <a:lnTo>
                        <a:pt x="3404" y="2209"/>
                      </a:lnTo>
                      <a:lnTo>
                        <a:pt x="3415" y="2168"/>
                      </a:lnTo>
                      <a:lnTo>
                        <a:pt x="3425" y="2126"/>
                      </a:lnTo>
                      <a:lnTo>
                        <a:pt x="3434" y="2084"/>
                      </a:lnTo>
                      <a:lnTo>
                        <a:pt x="3442" y="2041"/>
                      </a:lnTo>
                      <a:lnTo>
                        <a:pt x="3449" y="1999"/>
                      </a:lnTo>
                      <a:lnTo>
                        <a:pt x="3456" y="1956"/>
                      </a:lnTo>
                      <a:lnTo>
                        <a:pt x="3461" y="1912"/>
                      </a:lnTo>
                      <a:lnTo>
                        <a:pt x="3464" y="1869"/>
                      </a:lnTo>
                      <a:lnTo>
                        <a:pt x="3468" y="1824"/>
                      </a:lnTo>
                      <a:lnTo>
                        <a:pt x="3469" y="1780"/>
                      </a:lnTo>
                      <a:lnTo>
                        <a:pt x="3470" y="1735"/>
                      </a:lnTo>
                      <a:lnTo>
                        <a:pt x="3470" y="1735"/>
                      </a:lnTo>
                      <a:lnTo>
                        <a:pt x="3469" y="1681"/>
                      </a:lnTo>
                      <a:lnTo>
                        <a:pt x="3467" y="1628"/>
                      </a:lnTo>
                      <a:lnTo>
                        <a:pt x="3462" y="1575"/>
                      </a:lnTo>
                      <a:lnTo>
                        <a:pt x="3456" y="1523"/>
                      </a:lnTo>
                      <a:lnTo>
                        <a:pt x="3448" y="1471"/>
                      </a:lnTo>
                      <a:lnTo>
                        <a:pt x="3440" y="1420"/>
                      </a:lnTo>
                      <a:lnTo>
                        <a:pt x="3430" y="1369"/>
                      </a:lnTo>
                      <a:lnTo>
                        <a:pt x="3417" y="1318"/>
                      </a:lnTo>
                      <a:lnTo>
                        <a:pt x="3417" y="1318"/>
                      </a:lnTo>
                      <a:close/>
                    </a:path>
                  </a:pathLst>
                </a:custGeom>
                <a:solidFill>
                  <a:srgbClr val="299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6" name="Freeform 307"/>
                <p:cNvSpPr>
                  <a:spLocks/>
                </p:cNvSpPr>
                <p:nvPr/>
              </p:nvSpPr>
              <p:spPr bwMode="auto">
                <a:xfrm>
                  <a:off x="3190875" y="1589088"/>
                  <a:ext cx="461963" cy="669925"/>
                </a:xfrm>
                <a:custGeom>
                  <a:avLst/>
                  <a:gdLst>
                    <a:gd name="T0" fmla="*/ 861 w 2040"/>
                    <a:gd name="T1" fmla="*/ 1240 h 2958"/>
                    <a:gd name="T2" fmla="*/ 874 w 2040"/>
                    <a:gd name="T3" fmla="*/ 1117 h 2958"/>
                    <a:gd name="T4" fmla="*/ 897 w 2040"/>
                    <a:gd name="T5" fmla="*/ 997 h 2958"/>
                    <a:gd name="T6" fmla="*/ 930 w 2040"/>
                    <a:gd name="T7" fmla="*/ 883 h 2958"/>
                    <a:gd name="T8" fmla="*/ 975 w 2040"/>
                    <a:gd name="T9" fmla="*/ 772 h 2958"/>
                    <a:gd name="T10" fmla="*/ 1091 w 2040"/>
                    <a:gd name="T11" fmla="*/ 569 h 2958"/>
                    <a:gd name="T12" fmla="*/ 1243 w 2040"/>
                    <a:gd name="T13" fmla="*/ 390 h 2958"/>
                    <a:gd name="T14" fmla="*/ 1424 w 2040"/>
                    <a:gd name="T15" fmla="*/ 243 h 2958"/>
                    <a:gd name="T16" fmla="*/ 1631 w 2040"/>
                    <a:gd name="T17" fmla="*/ 129 h 2958"/>
                    <a:gd name="T18" fmla="*/ 1742 w 2040"/>
                    <a:gd name="T19" fmla="*/ 87 h 2958"/>
                    <a:gd name="T20" fmla="*/ 1858 w 2040"/>
                    <a:gd name="T21" fmla="*/ 55 h 2958"/>
                    <a:gd name="T22" fmla="*/ 1978 w 2040"/>
                    <a:gd name="T23" fmla="*/ 34 h 2958"/>
                    <a:gd name="T24" fmla="*/ 2002 w 2040"/>
                    <a:gd name="T25" fmla="*/ 22 h 2958"/>
                    <a:gd name="T26" fmla="*/ 1851 w 2040"/>
                    <a:gd name="T27" fmla="*/ 4 h 2958"/>
                    <a:gd name="T28" fmla="*/ 1735 w 2040"/>
                    <a:gd name="T29" fmla="*/ 0 h 2958"/>
                    <a:gd name="T30" fmla="*/ 1558 w 2040"/>
                    <a:gd name="T31" fmla="*/ 9 h 2958"/>
                    <a:gd name="T32" fmla="*/ 1385 w 2040"/>
                    <a:gd name="T33" fmla="*/ 36 h 2958"/>
                    <a:gd name="T34" fmla="*/ 1219 w 2040"/>
                    <a:gd name="T35" fmla="*/ 78 h 2958"/>
                    <a:gd name="T36" fmla="*/ 1059 w 2040"/>
                    <a:gd name="T37" fmla="*/ 136 h 2958"/>
                    <a:gd name="T38" fmla="*/ 907 w 2040"/>
                    <a:gd name="T39" fmla="*/ 209 h 2958"/>
                    <a:gd name="T40" fmla="*/ 765 w 2040"/>
                    <a:gd name="T41" fmla="*/ 296 h 2958"/>
                    <a:gd name="T42" fmla="*/ 631 w 2040"/>
                    <a:gd name="T43" fmla="*/ 396 h 2958"/>
                    <a:gd name="T44" fmla="*/ 508 w 2040"/>
                    <a:gd name="T45" fmla="*/ 508 h 2958"/>
                    <a:gd name="T46" fmla="*/ 396 w 2040"/>
                    <a:gd name="T47" fmla="*/ 631 h 2958"/>
                    <a:gd name="T48" fmla="*/ 296 w 2040"/>
                    <a:gd name="T49" fmla="*/ 764 h 2958"/>
                    <a:gd name="T50" fmla="*/ 210 w 2040"/>
                    <a:gd name="T51" fmla="*/ 908 h 2958"/>
                    <a:gd name="T52" fmla="*/ 136 w 2040"/>
                    <a:gd name="T53" fmla="*/ 1059 h 2958"/>
                    <a:gd name="T54" fmla="*/ 77 w 2040"/>
                    <a:gd name="T55" fmla="*/ 1219 h 2958"/>
                    <a:gd name="T56" fmla="*/ 35 w 2040"/>
                    <a:gd name="T57" fmla="*/ 1385 h 2958"/>
                    <a:gd name="T58" fmla="*/ 9 w 2040"/>
                    <a:gd name="T59" fmla="*/ 1558 h 2958"/>
                    <a:gd name="T60" fmla="*/ 0 w 2040"/>
                    <a:gd name="T61" fmla="*/ 1735 h 2958"/>
                    <a:gd name="T62" fmla="*/ 5 w 2040"/>
                    <a:gd name="T63" fmla="*/ 1868 h 2958"/>
                    <a:gd name="T64" fmla="*/ 27 w 2040"/>
                    <a:gd name="T65" fmla="*/ 2041 h 2958"/>
                    <a:gd name="T66" fmla="*/ 65 w 2040"/>
                    <a:gd name="T67" fmla="*/ 2208 h 2958"/>
                    <a:gd name="T68" fmla="*/ 120 w 2040"/>
                    <a:gd name="T69" fmla="*/ 2368 h 2958"/>
                    <a:gd name="T70" fmla="*/ 188 w 2040"/>
                    <a:gd name="T71" fmla="*/ 2521 h 2958"/>
                    <a:gd name="T72" fmla="*/ 271 w 2040"/>
                    <a:gd name="T73" fmla="*/ 2666 h 2958"/>
                    <a:gd name="T74" fmla="*/ 367 w 2040"/>
                    <a:gd name="T75" fmla="*/ 2802 h 2958"/>
                    <a:gd name="T76" fmla="*/ 476 w 2040"/>
                    <a:gd name="T77" fmla="*/ 2928 h 2958"/>
                    <a:gd name="T78" fmla="*/ 1223 w 2040"/>
                    <a:gd name="T79" fmla="*/ 2194 h 2958"/>
                    <a:gd name="T80" fmla="*/ 1141 w 2040"/>
                    <a:gd name="T81" fmla="*/ 2101 h 2958"/>
                    <a:gd name="T82" fmla="*/ 1067 w 2040"/>
                    <a:gd name="T83" fmla="*/ 2001 h 2958"/>
                    <a:gd name="T84" fmla="*/ 1004 w 2040"/>
                    <a:gd name="T85" fmla="*/ 1893 h 2958"/>
                    <a:gd name="T86" fmla="*/ 951 w 2040"/>
                    <a:gd name="T87" fmla="*/ 1777 h 2958"/>
                    <a:gd name="T88" fmla="*/ 910 w 2040"/>
                    <a:gd name="T89" fmla="*/ 1658 h 2958"/>
                    <a:gd name="T90" fmla="*/ 881 w 2040"/>
                    <a:gd name="T91" fmla="*/ 1532 h 2958"/>
                    <a:gd name="T92" fmla="*/ 864 w 2040"/>
                    <a:gd name="T93" fmla="*/ 1402 h 2958"/>
                    <a:gd name="T94" fmla="*/ 860 w 2040"/>
                    <a:gd name="T95" fmla="*/ 1302 h 2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40" h="2958">
                      <a:moveTo>
                        <a:pt x="860" y="1302"/>
                      </a:moveTo>
                      <a:lnTo>
                        <a:pt x="860" y="1302"/>
                      </a:lnTo>
                      <a:lnTo>
                        <a:pt x="860" y="1271"/>
                      </a:lnTo>
                      <a:lnTo>
                        <a:pt x="861" y="1240"/>
                      </a:lnTo>
                      <a:lnTo>
                        <a:pt x="864" y="1209"/>
                      </a:lnTo>
                      <a:lnTo>
                        <a:pt x="866" y="1178"/>
                      </a:lnTo>
                      <a:lnTo>
                        <a:pt x="869" y="1148"/>
                      </a:lnTo>
                      <a:lnTo>
                        <a:pt x="874" y="1117"/>
                      </a:lnTo>
                      <a:lnTo>
                        <a:pt x="878" y="1087"/>
                      </a:lnTo>
                      <a:lnTo>
                        <a:pt x="883" y="1057"/>
                      </a:lnTo>
                      <a:lnTo>
                        <a:pt x="890" y="1027"/>
                      </a:lnTo>
                      <a:lnTo>
                        <a:pt x="897" y="997"/>
                      </a:lnTo>
                      <a:lnTo>
                        <a:pt x="904" y="968"/>
                      </a:lnTo>
                      <a:lnTo>
                        <a:pt x="912" y="939"/>
                      </a:lnTo>
                      <a:lnTo>
                        <a:pt x="921" y="911"/>
                      </a:lnTo>
                      <a:lnTo>
                        <a:pt x="930" y="883"/>
                      </a:lnTo>
                      <a:lnTo>
                        <a:pt x="941" y="854"/>
                      </a:lnTo>
                      <a:lnTo>
                        <a:pt x="951" y="826"/>
                      </a:lnTo>
                      <a:lnTo>
                        <a:pt x="963" y="799"/>
                      </a:lnTo>
                      <a:lnTo>
                        <a:pt x="975" y="772"/>
                      </a:lnTo>
                      <a:lnTo>
                        <a:pt x="1001" y="719"/>
                      </a:lnTo>
                      <a:lnTo>
                        <a:pt x="1029" y="668"/>
                      </a:lnTo>
                      <a:lnTo>
                        <a:pt x="1059" y="617"/>
                      </a:lnTo>
                      <a:lnTo>
                        <a:pt x="1091" y="569"/>
                      </a:lnTo>
                      <a:lnTo>
                        <a:pt x="1127" y="521"/>
                      </a:lnTo>
                      <a:lnTo>
                        <a:pt x="1164" y="475"/>
                      </a:lnTo>
                      <a:lnTo>
                        <a:pt x="1202" y="432"/>
                      </a:lnTo>
                      <a:lnTo>
                        <a:pt x="1243" y="390"/>
                      </a:lnTo>
                      <a:lnTo>
                        <a:pt x="1286" y="350"/>
                      </a:lnTo>
                      <a:lnTo>
                        <a:pt x="1330" y="312"/>
                      </a:lnTo>
                      <a:lnTo>
                        <a:pt x="1377" y="276"/>
                      </a:lnTo>
                      <a:lnTo>
                        <a:pt x="1424" y="243"/>
                      </a:lnTo>
                      <a:lnTo>
                        <a:pt x="1474" y="211"/>
                      </a:lnTo>
                      <a:lnTo>
                        <a:pt x="1524" y="182"/>
                      </a:lnTo>
                      <a:lnTo>
                        <a:pt x="1577" y="154"/>
                      </a:lnTo>
                      <a:lnTo>
                        <a:pt x="1631" y="129"/>
                      </a:lnTo>
                      <a:lnTo>
                        <a:pt x="1658" y="118"/>
                      </a:lnTo>
                      <a:lnTo>
                        <a:pt x="1686" y="107"/>
                      </a:lnTo>
                      <a:lnTo>
                        <a:pt x="1714" y="97"/>
                      </a:lnTo>
                      <a:lnTo>
                        <a:pt x="1742" y="87"/>
                      </a:lnTo>
                      <a:lnTo>
                        <a:pt x="1771" y="78"/>
                      </a:lnTo>
                      <a:lnTo>
                        <a:pt x="1799" y="70"/>
                      </a:lnTo>
                      <a:lnTo>
                        <a:pt x="1829" y="62"/>
                      </a:lnTo>
                      <a:lnTo>
                        <a:pt x="1858" y="55"/>
                      </a:lnTo>
                      <a:lnTo>
                        <a:pt x="1888" y="49"/>
                      </a:lnTo>
                      <a:lnTo>
                        <a:pt x="1918" y="44"/>
                      </a:lnTo>
                      <a:lnTo>
                        <a:pt x="1948" y="39"/>
                      </a:lnTo>
                      <a:lnTo>
                        <a:pt x="1978" y="34"/>
                      </a:lnTo>
                      <a:lnTo>
                        <a:pt x="2009" y="31"/>
                      </a:lnTo>
                      <a:lnTo>
                        <a:pt x="2040" y="29"/>
                      </a:lnTo>
                      <a:lnTo>
                        <a:pt x="2040" y="29"/>
                      </a:lnTo>
                      <a:lnTo>
                        <a:pt x="2002" y="22"/>
                      </a:lnTo>
                      <a:lnTo>
                        <a:pt x="1965" y="16"/>
                      </a:lnTo>
                      <a:lnTo>
                        <a:pt x="1927" y="11"/>
                      </a:lnTo>
                      <a:lnTo>
                        <a:pt x="1889" y="8"/>
                      </a:lnTo>
                      <a:lnTo>
                        <a:pt x="1851" y="4"/>
                      </a:lnTo>
                      <a:lnTo>
                        <a:pt x="1812" y="2"/>
                      </a:lnTo>
                      <a:lnTo>
                        <a:pt x="1774" y="0"/>
                      </a:lnTo>
                      <a:lnTo>
                        <a:pt x="1735" y="0"/>
                      </a:lnTo>
                      <a:lnTo>
                        <a:pt x="1735" y="0"/>
                      </a:lnTo>
                      <a:lnTo>
                        <a:pt x="1690" y="0"/>
                      </a:lnTo>
                      <a:lnTo>
                        <a:pt x="1645" y="2"/>
                      </a:lnTo>
                      <a:lnTo>
                        <a:pt x="1601" y="4"/>
                      </a:lnTo>
                      <a:lnTo>
                        <a:pt x="1558" y="9"/>
                      </a:lnTo>
                      <a:lnTo>
                        <a:pt x="1514" y="14"/>
                      </a:lnTo>
                      <a:lnTo>
                        <a:pt x="1470" y="19"/>
                      </a:lnTo>
                      <a:lnTo>
                        <a:pt x="1428" y="27"/>
                      </a:lnTo>
                      <a:lnTo>
                        <a:pt x="1385" y="36"/>
                      </a:lnTo>
                      <a:lnTo>
                        <a:pt x="1342" y="45"/>
                      </a:lnTo>
                      <a:lnTo>
                        <a:pt x="1301" y="54"/>
                      </a:lnTo>
                      <a:lnTo>
                        <a:pt x="1260" y="65"/>
                      </a:lnTo>
                      <a:lnTo>
                        <a:pt x="1219" y="78"/>
                      </a:lnTo>
                      <a:lnTo>
                        <a:pt x="1178" y="91"/>
                      </a:lnTo>
                      <a:lnTo>
                        <a:pt x="1139" y="105"/>
                      </a:lnTo>
                      <a:lnTo>
                        <a:pt x="1098" y="121"/>
                      </a:lnTo>
                      <a:lnTo>
                        <a:pt x="1059" y="136"/>
                      </a:lnTo>
                      <a:lnTo>
                        <a:pt x="1021" y="153"/>
                      </a:lnTo>
                      <a:lnTo>
                        <a:pt x="982" y="171"/>
                      </a:lnTo>
                      <a:lnTo>
                        <a:pt x="945" y="190"/>
                      </a:lnTo>
                      <a:lnTo>
                        <a:pt x="907" y="209"/>
                      </a:lnTo>
                      <a:lnTo>
                        <a:pt x="872" y="230"/>
                      </a:lnTo>
                      <a:lnTo>
                        <a:pt x="835" y="251"/>
                      </a:lnTo>
                      <a:lnTo>
                        <a:pt x="800" y="273"/>
                      </a:lnTo>
                      <a:lnTo>
                        <a:pt x="765" y="296"/>
                      </a:lnTo>
                      <a:lnTo>
                        <a:pt x="730" y="320"/>
                      </a:lnTo>
                      <a:lnTo>
                        <a:pt x="697" y="344"/>
                      </a:lnTo>
                      <a:lnTo>
                        <a:pt x="663" y="369"/>
                      </a:lnTo>
                      <a:lnTo>
                        <a:pt x="631" y="396"/>
                      </a:lnTo>
                      <a:lnTo>
                        <a:pt x="600" y="422"/>
                      </a:lnTo>
                      <a:lnTo>
                        <a:pt x="568" y="451"/>
                      </a:lnTo>
                      <a:lnTo>
                        <a:pt x="538" y="479"/>
                      </a:lnTo>
                      <a:lnTo>
                        <a:pt x="508" y="508"/>
                      </a:lnTo>
                      <a:lnTo>
                        <a:pt x="479" y="537"/>
                      </a:lnTo>
                      <a:lnTo>
                        <a:pt x="450" y="569"/>
                      </a:lnTo>
                      <a:lnTo>
                        <a:pt x="423" y="600"/>
                      </a:lnTo>
                      <a:lnTo>
                        <a:pt x="396" y="631"/>
                      </a:lnTo>
                      <a:lnTo>
                        <a:pt x="370" y="664"/>
                      </a:lnTo>
                      <a:lnTo>
                        <a:pt x="344" y="696"/>
                      </a:lnTo>
                      <a:lnTo>
                        <a:pt x="320" y="731"/>
                      </a:lnTo>
                      <a:lnTo>
                        <a:pt x="296" y="764"/>
                      </a:lnTo>
                      <a:lnTo>
                        <a:pt x="273" y="800"/>
                      </a:lnTo>
                      <a:lnTo>
                        <a:pt x="251" y="836"/>
                      </a:lnTo>
                      <a:lnTo>
                        <a:pt x="229" y="871"/>
                      </a:lnTo>
                      <a:lnTo>
                        <a:pt x="210" y="908"/>
                      </a:lnTo>
                      <a:lnTo>
                        <a:pt x="190" y="945"/>
                      </a:lnTo>
                      <a:lnTo>
                        <a:pt x="170" y="983"/>
                      </a:lnTo>
                      <a:lnTo>
                        <a:pt x="153" y="1021"/>
                      </a:lnTo>
                      <a:lnTo>
                        <a:pt x="136" y="1059"/>
                      </a:lnTo>
                      <a:lnTo>
                        <a:pt x="120" y="1098"/>
                      </a:lnTo>
                      <a:lnTo>
                        <a:pt x="105" y="1138"/>
                      </a:lnTo>
                      <a:lnTo>
                        <a:pt x="91" y="1179"/>
                      </a:lnTo>
                      <a:lnTo>
                        <a:pt x="77" y="1219"/>
                      </a:lnTo>
                      <a:lnTo>
                        <a:pt x="66" y="1259"/>
                      </a:lnTo>
                      <a:lnTo>
                        <a:pt x="54" y="1301"/>
                      </a:lnTo>
                      <a:lnTo>
                        <a:pt x="44" y="1343"/>
                      </a:lnTo>
                      <a:lnTo>
                        <a:pt x="35" y="1385"/>
                      </a:lnTo>
                      <a:lnTo>
                        <a:pt x="27" y="1427"/>
                      </a:lnTo>
                      <a:lnTo>
                        <a:pt x="20" y="1471"/>
                      </a:lnTo>
                      <a:lnTo>
                        <a:pt x="14" y="1514"/>
                      </a:lnTo>
                      <a:lnTo>
                        <a:pt x="9" y="1558"/>
                      </a:lnTo>
                      <a:lnTo>
                        <a:pt x="5" y="1601"/>
                      </a:lnTo>
                      <a:lnTo>
                        <a:pt x="2" y="1645"/>
                      </a:lnTo>
                      <a:lnTo>
                        <a:pt x="0" y="1690"/>
                      </a:lnTo>
                      <a:lnTo>
                        <a:pt x="0" y="1735"/>
                      </a:lnTo>
                      <a:lnTo>
                        <a:pt x="0" y="1735"/>
                      </a:lnTo>
                      <a:lnTo>
                        <a:pt x="0" y="1780"/>
                      </a:lnTo>
                      <a:lnTo>
                        <a:pt x="2" y="1824"/>
                      </a:lnTo>
                      <a:lnTo>
                        <a:pt x="5" y="1868"/>
                      </a:lnTo>
                      <a:lnTo>
                        <a:pt x="8" y="1911"/>
                      </a:lnTo>
                      <a:lnTo>
                        <a:pt x="14" y="1955"/>
                      </a:lnTo>
                      <a:lnTo>
                        <a:pt x="20" y="1999"/>
                      </a:lnTo>
                      <a:lnTo>
                        <a:pt x="27" y="2041"/>
                      </a:lnTo>
                      <a:lnTo>
                        <a:pt x="35" y="2084"/>
                      </a:lnTo>
                      <a:lnTo>
                        <a:pt x="44" y="2125"/>
                      </a:lnTo>
                      <a:lnTo>
                        <a:pt x="54" y="2167"/>
                      </a:lnTo>
                      <a:lnTo>
                        <a:pt x="65" y="2208"/>
                      </a:lnTo>
                      <a:lnTo>
                        <a:pt x="77" y="2248"/>
                      </a:lnTo>
                      <a:lnTo>
                        <a:pt x="90" y="2289"/>
                      </a:lnTo>
                      <a:lnTo>
                        <a:pt x="105" y="2329"/>
                      </a:lnTo>
                      <a:lnTo>
                        <a:pt x="120" y="2368"/>
                      </a:lnTo>
                      <a:lnTo>
                        <a:pt x="135" y="2407"/>
                      </a:lnTo>
                      <a:lnTo>
                        <a:pt x="152" y="2446"/>
                      </a:lnTo>
                      <a:lnTo>
                        <a:pt x="169" y="2484"/>
                      </a:lnTo>
                      <a:lnTo>
                        <a:pt x="188" y="2521"/>
                      </a:lnTo>
                      <a:lnTo>
                        <a:pt x="207" y="2559"/>
                      </a:lnTo>
                      <a:lnTo>
                        <a:pt x="228" y="2595"/>
                      </a:lnTo>
                      <a:lnTo>
                        <a:pt x="249" y="2632"/>
                      </a:lnTo>
                      <a:lnTo>
                        <a:pt x="271" y="2666"/>
                      </a:lnTo>
                      <a:lnTo>
                        <a:pt x="294" y="2702"/>
                      </a:lnTo>
                      <a:lnTo>
                        <a:pt x="318" y="2735"/>
                      </a:lnTo>
                      <a:lnTo>
                        <a:pt x="342" y="2769"/>
                      </a:lnTo>
                      <a:lnTo>
                        <a:pt x="367" y="2802"/>
                      </a:lnTo>
                      <a:lnTo>
                        <a:pt x="393" y="2834"/>
                      </a:lnTo>
                      <a:lnTo>
                        <a:pt x="420" y="2867"/>
                      </a:lnTo>
                      <a:lnTo>
                        <a:pt x="447" y="2898"/>
                      </a:lnTo>
                      <a:lnTo>
                        <a:pt x="476" y="2928"/>
                      </a:lnTo>
                      <a:lnTo>
                        <a:pt x="504" y="2958"/>
                      </a:lnTo>
                      <a:lnTo>
                        <a:pt x="1246" y="2216"/>
                      </a:lnTo>
                      <a:lnTo>
                        <a:pt x="1246" y="2216"/>
                      </a:lnTo>
                      <a:lnTo>
                        <a:pt x="1223" y="2194"/>
                      </a:lnTo>
                      <a:lnTo>
                        <a:pt x="1202" y="2172"/>
                      </a:lnTo>
                      <a:lnTo>
                        <a:pt x="1181" y="2149"/>
                      </a:lnTo>
                      <a:lnTo>
                        <a:pt x="1161" y="2125"/>
                      </a:lnTo>
                      <a:lnTo>
                        <a:pt x="1141" y="2101"/>
                      </a:lnTo>
                      <a:lnTo>
                        <a:pt x="1121" y="2077"/>
                      </a:lnTo>
                      <a:lnTo>
                        <a:pt x="1103" y="2051"/>
                      </a:lnTo>
                      <a:lnTo>
                        <a:pt x="1085" y="2026"/>
                      </a:lnTo>
                      <a:lnTo>
                        <a:pt x="1067" y="2001"/>
                      </a:lnTo>
                      <a:lnTo>
                        <a:pt x="1050" y="1974"/>
                      </a:lnTo>
                      <a:lnTo>
                        <a:pt x="1034" y="1947"/>
                      </a:lnTo>
                      <a:lnTo>
                        <a:pt x="1019" y="1920"/>
                      </a:lnTo>
                      <a:lnTo>
                        <a:pt x="1004" y="1893"/>
                      </a:lnTo>
                      <a:lnTo>
                        <a:pt x="990" y="1864"/>
                      </a:lnTo>
                      <a:lnTo>
                        <a:pt x="976" y="1836"/>
                      </a:lnTo>
                      <a:lnTo>
                        <a:pt x="964" y="1807"/>
                      </a:lnTo>
                      <a:lnTo>
                        <a:pt x="951" y="1777"/>
                      </a:lnTo>
                      <a:lnTo>
                        <a:pt x="939" y="1749"/>
                      </a:lnTo>
                      <a:lnTo>
                        <a:pt x="929" y="1719"/>
                      </a:lnTo>
                      <a:lnTo>
                        <a:pt x="919" y="1688"/>
                      </a:lnTo>
                      <a:lnTo>
                        <a:pt x="910" y="1658"/>
                      </a:lnTo>
                      <a:lnTo>
                        <a:pt x="902" y="1627"/>
                      </a:lnTo>
                      <a:lnTo>
                        <a:pt x="893" y="1596"/>
                      </a:lnTo>
                      <a:lnTo>
                        <a:pt x="887" y="1563"/>
                      </a:lnTo>
                      <a:lnTo>
                        <a:pt x="881" y="1532"/>
                      </a:lnTo>
                      <a:lnTo>
                        <a:pt x="875" y="1500"/>
                      </a:lnTo>
                      <a:lnTo>
                        <a:pt x="870" y="1468"/>
                      </a:lnTo>
                      <a:lnTo>
                        <a:pt x="867" y="1436"/>
                      </a:lnTo>
                      <a:lnTo>
                        <a:pt x="864" y="1402"/>
                      </a:lnTo>
                      <a:lnTo>
                        <a:pt x="861" y="1369"/>
                      </a:lnTo>
                      <a:lnTo>
                        <a:pt x="860" y="1337"/>
                      </a:lnTo>
                      <a:lnTo>
                        <a:pt x="860" y="1302"/>
                      </a:lnTo>
                      <a:lnTo>
                        <a:pt x="860" y="1302"/>
                      </a:lnTo>
                      <a:close/>
                    </a:path>
                  </a:pathLst>
                </a:custGeom>
                <a:solidFill>
                  <a:srgbClr val="299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7" name="Freeform 308"/>
                <p:cNvSpPr>
                  <a:spLocks/>
                </p:cNvSpPr>
                <p:nvPr/>
              </p:nvSpPr>
              <p:spPr bwMode="auto">
                <a:xfrm>
                  <a:off x="3386138" y="1595438"/>
                  <a:ext cx="474663" cy="495300"/>
                </a:xfrm>
                <a:custGeom>
                  <a:avLst/>
                  <a:gdLst>
                    <a:gd name="T0" fmla="*/ 0 w 2095"/>
                    <a:gd name="T1" fmla="*/ 1273 h 2187"/>
                    <a:gd name="T2" fmla="*/ 1 w 2095"/>
                    <a:gd name="T3" fmla="*/ 1340 h 2187"/>
                    <a:gd name="T4" fmla="*/ 7 w 2095"/>
                    <a:gd name="T5" fmla="*/ 1407 h 2187"/>
                    <a:gd name="T6" fmla="*/ 15 w 2095"/>
                    <a:gd name="T7" fmla="*/ 1471 h 2187"/>
                    <a:gd name="T8" fmla="*/ 27 w 2095"/>
                    <a:gd name="T9" fmla="*/ 1534 h 2187"/>
                    <a:gd name="T10" fmla="*/ 42 w 2095"/>
                    <a:gd name="T11" fmla="*/ 1598 h 2187"/>
                    <a:gd name="T12" fmla="*/ 59 w 2095"/>
                    <a:gd name="T13" fmla="*/ 1659 h 2187"/>
                    <a:gd name="T14" fmla="*/ 79 w 2095"/>
                    <a:gd name="T15" fmla="*/ 1720 h 2187"/>
                    <a:gd name="T16" fmla="*/ 104 w 2095"/>
                    <a:gd name="T17" fmla="*/ 1778 h 2187"/>
                    <a:gd name="T18" fmla="*/ 130 w 2095"/>
                    <a:gd name="T19" fmla="*/ 1835 h 2187"/>
                    <a:gd name="T20" fmla="*/ 159 w 2095"/>
                    <a:gd name="T21" fmla="*/ 1891 h 2187"/>
                    <a:gd name="T22" fmla="*/ 190 w 2095"/>
                    <a:gd name="T23" fmla="*/ 1945 h 2187"/>
                    <a:gd name="T24" fmla="*/ 225 w 2095"/>
                    <a:gd name="T25" fmla="*/ 1997 h 2187"/>
                    <a:gd name="T26" fmla="*/ 261 w 2095"/>
                    <a:gd name="T27" fmla="*/ 2048 h 2187"/>
                    <a:gd name="T28" fmla="*/ 301 w 2095"/>
                    <a:gd name="T29" fmla="*/ 2096 h 2187"/>
                    <a:gd name="T30" fmla="*/ 342 w 2095"/>
                    <a:gd name="T31" fmla="*/ 2143 h 2187"/>
                    <a:gd name="T32" fmla="*/ 386 w 2095"/>
                    <a:gd name="T33" fmla="*/ 2187 h 2187"/>
                    <a:gd name="T34" fmla="*/ 2095 w 2095"/>
                    <a:gd name="T35" fmla="*/ 477 h 2187"/>
                    <a:gd name="T36" fmla="*/ 2062 w 2095"/>
                    <a:gd name="T37" fmla="*/ 443 h 2187"/>
                    <a:gd name="T38" fmla="*/ 2060 w 2095"/>
                    <a:gd name="T39" fmla="*/ 441 h 2187"/>
                    <a:gd name="T40" fmla="*/ 2026 w 2095"/>
                    <a:gd name="T41" fmla="*/ 411 h 2187"/>
                    <a:gd name="T42" fmla="*/ 1958 w 2095"/>
                    <a:gd name="T43" fmla="*/ 353 h 2187"/>
                    <a:gd name="T44" fmla="*/ 1887 w 2095"/>
                    <a:gd name="T45" fmla="*/ 299 h 2187"/>
                    <a:gd name="T46" fmla="*/ 1813 w 2095"/>
                    <a:gd name="T47" fmla="*/ 248 h 2187"/>
                    <a:gd name="T48" fmla="*/ 1775 w 2095"/>
                    <a:gd name="T49" fmla="*/ 225 h 2187"/>
                    <a:gd name="T50" fmla="*/ 1759 w 2095"/>
                    <a:gd name="T51" fmla="*/ 215 h 2187"/>
                    <a:gd name="T52" fmla="*/ 1658 w 2095"/>
                    <a:gd name="T53" fmla="*/ 160 h 2187"/>
                    <a:gd name="T54" fmla="*/ 1656 w 2095"/>
                    <a:gd name="T55" fmla="*/ 157 h 2187"/>
                    <a:gd name="T56" fmla="*/ 1615 w 2095"/>
                    <a:gd name="T57" fmla="*/ 138 h 2187"/>
                    <a:gd name="T58" fmla="*/ 1532 w 2095"/>
                    <a:gd name="T59" fmla="*/ 102 h 2187"/>
                    <a:gd name="T60" fmla="*/ 1448 w 2095"/>
                    <a:gd name="T61" fmla="*/ 70 h 2187"/>
                    <a:gd name="T62" fmla="*/ 1361 w 2095"/>
                    <a:gd name="T63" fmla="*/ 42 h 2187"/>
                    <a:gd name="T64" fmla="*/ 1317 w 2095"/>
                    <a:gd name="T65" fmla="*/ 30 h 2187"/>
                    <a:gd name="T66" fmla="*/ 1294 w 2095"/>
                    <a:gd name="T67" fmla="*/ 24 h 2187"/>
                    <a:gd name="T68" fmla="*/ 1180 w 2095"/>
                    <a:gd name="T69" fmla="*/ 0 h 2187"/>
                    <a:gd name="T70" fmla="*/ 1149 w 2095"/>
                    <a:gd name="T71" fmla="*/ 2 h 2187"/>
                    <a:gd name="T72" fmla="*/ 1088 w 2095"/>
                    <a:gd name="T73" fmla="*/ 10 h 2187"/>
                    <a:gd name="T74" fmla="*/ 1028 w 2095"/>
                    <a:gd name="T75" fmla="*/ 20 h 2187"/>
                    <a:gd name="T76" fmla="*/ 969 w 2095"/>
                    <a:gd name="T77" fmla="*/ 33 h 2187"/>
                    <a:gd name="T78" fmla="*/ 911 w 2095"/>
                    <a:gd name="T79" fmla="*/ 49 h 2187"/>
                    <a:gd name="T80" fmla="*/ 854 w 2095"/>
                    <a:gd name="T81" fmla="*/ 68 h 2187"/>
                    <a:gd name="T82" fmla="*/ 798 w 2095"/>
                    <a:gd name="T83" fmla="*/ 89 h 2187"/>
                    <a:gd name="T84" fmla="*/ 717 w 2095"/>
                    <a:gd name="T85" fmla="*/ 125 h 2187"/>
                    <a:gd name="T86" fmla="*/ 614 w 2095"/>
                    <a:gd name="T87" fmla="*/ 182 h 2187"/>
                    <a:gd name="T88" fmla="*/ 517 w 2095"/>
                    <a:gd name="T89" fmla="*/ 247 h 2187"/>
                    <a:gd name="T90" fmla="*/ 426 w 2095"/>
                    <a:gd name="T91" fmla="*/ 321 h 2187"/>
                    <a:gd name="T92" fmla="*/ 342 w 2095"/>
                    <a:gd name="T93" fmla="*/ 403 h 2187"/>
                    <a:gd name="T94" fmla="*/ 267 w 2095"/>
                    <a:gd name="T95" fmla="*/ 492 h 2187"/>
                    <a:gd name="T96" fmla="*/ 199 w 2095"/>
                    <a:gd name="T97" fmla="*/ 588 h 2187"/>
                    <a:gd name="T98" fmla="*/ 141 w 2095"/>
                    <a:gd name="T99" fmla="*/ 690 h 2187"/>
                    <a:gd name="T100" fmla="*/ 103 w 2095"/>
                    <a:gd name="T101" fmla="*/ 770 h 2187"/>
                    <a:gd name="T102" fmla="*/ 81 w 2095"/>
                    <a:gd name="T103" fmla="*/ 825 h 2187"/>
                    <a:gd name="T104" fmla="*/ 61 w 2095"/>
                    <a:gd name="T105" fmla="*/ 882 h 2187"/>
                    <a:gd name="T106" fmla="*/ 44 w 2095"/>
                    <a:gd name="T107" fmla="*/ 939 h 2187"/>
                    <a:gd name="T108" fmla="*/ 30 w 2095"/>
                    <a:gd name="T109" fmla="*/ 998 h 2187"/>
                    <a:gd name="T110" fmla="*/ 18 w 2095"/>
                    <a:gd name="T111" fmla="*/ 1058 h 2187"/>
                    <a:gd name="T112" fmla="*/ 9 w 2095"/>
                    <a:gd name="T113" fmla="*/ 1119 h 2187"/>
                    <a:gd name="T114" fmla="*/ 4 w 2095"/>
                    <a:gd name="T115" fmla="*/ 1180 h 2187"/>
                    <a:gd name="T116" fmla="*/ 0 w 2095"/>
                    <a:gd name="T117" fmla="*/ 1242 h 2187"/>
                    <a:gd name="T118" fmla="*/ 0 w 2095"/>
                    <a:gd name="T119" fmla="*/ 1273 h 2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5" h="2187">
                      <a:moveTo>
                        <a:pt x="0" y="1273"/>
                      </a:moveTo>
                      <a:lnTo>
                        <a:pt x="0" y="1273"/>
                      </a:lnTo>
                      <a:lnTo>
                        <a:pt x="0" y="1308"/>
                      </a:lnTo>
                      <a:lnTo>
                        <a:pt x="1" y="1340"/>
                      </a:lnTo>
                      <a:lnTo>
                        <a:pt x="4" y="1373"/>
                      </a:lnTo>
                      <a:lnTo>
                        <a:pt x="7" y="1407"/>
                      </a:lnTo>
                      <a:lnTo>
                        <a:pt x="10" y="1439"/>
                      </a:lnTo>
                      <a:lnTo>
                        <a:pt x="15" y="1471"/>
                      </a:lnTo>
                      <a:lnTo>
                        <a:pt x="21" y="1503"/>
                      </a:lnTo>
                      <a:lnTo>
                        <a:pt x="27" y="1534"/>
                      </a:lnTo>
                      <a:lnTo>
                        <a:pt x="33" y="1567"/>
                      </a:lnTo>
                      <a:lnTo>
                        <a:pt x="42" y="1598"/>
                      </a:lnTo>
                      <a:lnTo>
                        <a:pt x="50" y="1629"/>
                      </a:lnTo>
                      <a:lnTo>
                        <a:pt x="59" y="1659"/>
                      </a:lnTo>
                      <a:lnTo>
                        <a:pt x="69" y="1690"/>
                      </a:lnTo>
                      <a:lnTo>
                        <a:pt x="79" y="1720"/>
                      </a:lnTo>
                      <a:lnTo>
                        <a:pt x="91" y="1748"/>
                      </a:lnTo>
                      <a:lnTo>
                        <a:pt x="104" y="1778"/>
                      </a:lnTo>
                      <a:lnTo>
                        <a:pt x="116" y="1807"/>
                      </a:lnTo>
                      <a:lnTo>
                        <a:pt x="130" y="1835"/>
                      </a:lnTo>
                      <a:lnTo>
                        <a:pt x="144" y="1864"/>
                      </a:lnTo>
                      <a:lnTo>
                        <a:pt x="159" y="1891"/>
                      </a:lnTo>
                      <a:lnTo>
                        <a:pt x="174" y="1918"/>
                      </a:lnTo>
                      <a:lnTo>
                        <a:pt x="190" y="1945"/>
                      </a:lnTo>
                      <a:lnTo>
                        <a:pt x="207" y="1972"/>
                      </a:lnTo>
                      <a:lnTo>
                        <a:pt x="225" y="1997"/>
                      </a:lnTo>
                      <a:lnTo>
                        <a:pt x="243" y="2022"/>
                      </a:lnTo>
                      <a:lnTo>
                        <a:pt x="261" y="2048"/>
                      </a:lnTo>
                      <a:lnTo>
                        <a:pt x="281" y="2072"/>
                      </a:lnTo>
                      <a:lnTo>
                        <a:pt x="301" y="2096"/>
                      </a:lnTo>
                      <a:lnTo>
                        <a:pt x="321" y="2120"/>
                      </a:lnTo>
                      <a:lnTo>
                        <a:pt x="342" y="2143"/>
                      </a:lnTo>
                      <a:lnTo>
                        <a:pt x="363" y="2165"/>
                      </a:lnTo>
                      <a:lnTo>
                        <a:pt x="386" y="2187"/>
                      </a:lnTo>
                      <a:lnTo>
                        <a:pt x="2095" y="477"/>
                      </a:lnTo>
                      <a:lnTo>
                        <a:pt x="2095" y="477"/>
                      </a:lnTo>
                      <a:lnTo>
                        <a:pt x="2079" y="460"/>
                      </a:lnTo>
                      <a:lnTo>
                        <a:pt x="2062" y="443"/>
                      </a:lnTo>
                      <a:lnTo>
                        <a:pt x="2062" y="443"/>
                      </a:lnTo>
                      <a:lnTo>
                        <a:pt x="2060" y="441"/>
                      </a:lnTo>
                      <a:lnTo>
                        <a:pt x="2060" y="441"/>
                      </a:lnTo>
                      <a:lnTo>
                        <a:pt x="2026" y="411"/>
                      </a:lnTo>
                      <a:lnTo>
                        <a:pt x="1993" y="381"/>
                      </a:lnTo>
                      <a:lnTo>
                        <a:pt x="1958" y="353"/>
                      </a:lnTo>
                      <a:lnTo>
                        <a:pt x="1923" y="325"/>
                      </a:lnTo>
                      <a:lnTo>
                        <a:pt x="1887" y="299"/>
                      </a:lnTo>
                      <a:lnTo>
                        <a:pt x="1850" y="274"/>
                      </a:lnTo>
                      <a:lnTo>
                        <a:pt x="1813" y="248"/>
                      </a:lnTo>
                      <a:lnTo>
                        <a:pt x="1775" y="225"/>
                      </a:lnTo>
                      <a:lnTo>
                        <a:pt x="1775" y="225"/>
                      </a:lnTo>
                      <a:lnTo>
                        <a:pt x="1759" y="215"/>
                      </a:lnTo>
                      <a:lnTo>
                        <a:pt x="1759" y="215"/>
                      </a:lnTo>
                      <a:lnTo>
                        <a:pt x="1709" y="186"/>
                      </a:lnTo>
                      <a:lnTo>
                        <a:pt x="1658" y="160"/>
                      </a:lnTo>
                      <a:lnTo>
                        <a:pt x="1658" y="160"/>
                      </a:lnTo>
                      <a:lnTo>
                        <a:pt x="1656" y="157"/>
                      </a:lnTo>
                      <a:lnTo>
                        <a:pt x="1656" y="157"/>
                      </a:lnTo>
                      <a:lnTo>
                        <a:pt x="1615" y="138"/>
                      </a:lnTo>
                      <a:lnTo>
                        <a:pt x="1574" y="119"/>
                      </a:lnTo>
                      <a:lnTo>
                        <a:pt x="1532" y="102"/>
                      </a:lnTo>
                      <a:lnTo>
                        <a:pt x="1491" y="85"/>
                      </a:lnTo>
                      <a:lnTo>
                        <a:pt x="1448" y="70"/>
                      </a:lnTo>
                      <a:lnTo>
                        <a:pt x="1405" y="55"/>
                      </a:lnTo>
                      <a:lnTo>
                        <a:pt x="1361" y="42"/>
                      </a:lnTo>
                      <a:lnTo>
                        <a:pt x="1317" y="30"/>
                      </a:lnTo>
                      <a:lnTo>
                        <a:pt x="1317" y="30"/>
                      </a:lnTo>
                      <a:lnTo>
                        <a:pt x="1294" y="24"/>
                      </a:lnTo>
                      <a:lnTo>
                        <a:pt x="1294" y="24"/>
                      </a:lnTo>
                      <a:lnTo>
                        <a:pt x="1238" y="11"/>
                      </a:lnTo>
                      <a:lnTo>
                        <a:pt x="1180" y="0"/>
                      </a:lnTo>
                      <a:lnTo>
                        <a:pt x="1180" y="0"/>
                      </a:lnTo>
                      <a:lnTo>
                        <a:pt x="1149" y="2"/>
                      </a:lnTo>
                      <a:lnTo>
                        <a:pt x="1118" y="5"/>
                      </a:lnTo>
                      <a:lnTo>
                        <a:pt x="1088" y="10"/>
                      </a:lnTo>
                      <a:lnTo>
                        <a:pt x="1058" y="15"/>
                      </a:lnTo>
                      <a:lnTo>
                        <a:pt x="1028" y="20"/>
                      </a:lnTo>
                      <a:lnTo>
                        <a:pt x="998" y="26"/>
                      </a:lnTo>
                      <a:lnTo>
                        <a:pt x="969" y="33"/>
                      </a:lnTo>
                      <a:lnTo>
                        <a:pt x="939" y="41"/>
                      </a:lnTo>
                      <a:lnTo>
                        <a:pt x="911" y="49"/>
                      </a:lnTo>
                      <a:lnTo>
                        <a:pt x="882" y="58"/>
                      </a:lnTo>
                      <a:lnTo>
                        <a:pt x="854" y="68"/>
                      </a:lnTo>
                      <a:lnTo>
                        <a:pt x="826" y="78"/>
                      </a:lnTo>
                      <a:lnTo>
                        <a:pt x="798" y="89"/>
                      </a:lnTo>
                      <a:lnTo>
                        <a:pt x="771" y="100"/>
                      </a:lnTo>
                      <a:lnTo>
                        <a:pt x="717" y="125"/>
                      </a:lnTo>
                      <a:lnTo>
                        <a:pt x="664" y="153"/>
                      </a:lnTo>
                      <a:lnTo>
                        <a:pt x="614" y="182"/>
                      </a:lnTo>
                      <a:lnTo>
                        <a:pt x="564" y="214"/>
                      </a:lnTo>
                      <a:lnTo>
                        <a:pt x="517" y="247"/>
                      </a:lnTo>
                      <a:lnTo>
                        <a:pt x="470" y="283"/>
                      </a:lnTo>
                      <a:lnTo>
                        <a:pt x="426" y="321"/>
                      </a:lnTo>
                      <a:lnTo>
                        <a:pt x="383" y="361"/>
                      </a:lnTo>
                      <a:lnTo>
                        <a:pt x="342" y="403"/>
                      </a:lnTo>
                      <a:lnTo>
                        <a:pt x="304" y="446"/>
                      </a:lnTo>
                      <a:lnTo>
                        <a:pt x="267" y="492"/>
                      </a:lnTo>
                      <a:lnTo>
                        <a:pt x="231" y="540"/>
                      </a:lnTo>
                      <a:lnTo>
                        <a:pt x="199" y="588"/>
                      </a:lnTo>
                      <a:lnTo>
                        <a:pt x="169" y="639"/>
                      </a:lnTo>
                      <a:lnTo>
                        <a:pt x="141" y="690"/>
                      </a:lnTo>
                      <a:lnTo>
                        <a:pt x="115" y="743"/>
                      </a:lnTo>
                      <a:lnTo>
                        <a:pt x="103" y="770"/>
                      </a:lnTo>
                      <a:lnTo>
                        <a:pt x="91" y="797"/>
                      </a:lnTo>
                      <a:lnTo>
                        <a:pt x="81" y="825"/>
                      </a:lnTo>
                      <a:lnTo>
                        <a:pt x="70" y="854"/>
                      </a:lnTo>
                      <a:lnTo>
                        <a:pt x="61" y="882"/>
                      </a:lnTo>
                      <a:lnTo>
                        <a:pt x="52" y="910"/>
                      </a:lnTo>
                      <a:lnTo>
                        <a:pt x="44" y="939"/>
                      </a:lnTo>
                      <a:lnTo>
                        <a:pt x="37" y="968"/>
                      </a:lnTo>
                      <a:lnTo>
                        <a:pt x="30" y="998"/>
                      </a:lnTo>
                      <a:lnTo>
                        <a:pt x="23" y="1028"/>
                      </a:lnTo>
                      <a:lnTo>
                        <a:pt x="18" y="1058"/>
                      </a:lnTo>
                      <a:lnTo>
                        <a:pt x="14" y="1088"/>
                      </a:lnTo>
                      <a:lnTo>
                        <a:pt x="9" y="1119"/>
                      </a:lnTo>
                      <a:lnTo>
                        <a:pt x="6" y="1149"/>
                      </a:lnTo>
                      <a:lnTo>
                        <a:pt x="4" y="1180"/>
                      </a:lnTo>
                      <a:lnTo>
                        <a:pt x="1" y="1211"/>
                      </a:lnTo>
                      <a:lnTo>
                        <a:pt x="0" y="1242"/>
                      </a:lnTo>
                      <a:lnTo>
                        <a:pt x="0" y="1273"/>
                      </a:lnTo>
                      <a:lnTo>
                        <a:pt x="0" y="1273"/>
                      </a:lnTo>
                      <a:close/>
                    </a:path>
                  </a:pathLst>
                </a:custGeom>
                <a:solidFill>
                  <a:srgbClr val="43CE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8" name="Freeform 309"/>
                <p:cNvSpPr>
                  <a:spLocks/>
                </p:cNvSpPr>
                <p:nvPr/>
              </p:nvSpPr>
              <p:spPr bwMode="auto">
                <a:xfrm>
                  <a:off x="3305175" y="1887538"/>
                  <a:ext cx="671513" cy="488950"/>
                </a:xfrm>
                <a:custGeom>
                  <a:avLst/>
                  <a:gdLst>
                    <a:gd name="T0" fmla="*/ 1320 w 2966"/>
                    <a:gd name="T1" fmla="*/ 2150 h 2152"/>
                    <a:gd name="T2" fmla="*/ 1495 w 2966"/>
                    <a:gd name="T3" fmla="*/ 2132 h 2152"/>
                    <a:gd name="T4" fmla="*/ 1664 w 2966"/>
                    <a:gd name="T5" fmla="*/ 2098 h 2152"/>
                    <a:gd name="T6" fmla="*/ 1827 w 2966"/>
                    <a:gd name="T7" fmla="*/ 2047 h 2152"/>
                    <a:gd name="T8" fmla="*/ 1983 w 2966"/>
                    <a:gd name="T9" fmla="*/ 1982 h 2152"/>
                    <a:gd name="T10" fmla="*/ 2130 w 2966"/>
                    <a:gd name="T11" fmla="*/ 1901 h 2152"/>
                    <a:gd name="T12" fmla="*/ 2268 w 2966"/>
                    <a:gd name="T13" fmla="*/ 1808 h 2152"/>
                    <a:gd name="T14" fmla="*/ 2397 w 2966"/>
                    <a:gd name="T15" fmla="*/ 1702 h 2152"/>
                    <a:gd name="T16" fmla="*/ 2515 w 2966"/>
                    <a:gd name="T17" fmla="*/ 1583 h 2152"/>
                    <a:gd name="T18" fmla="*/ 2621 w 2966"/>
                    <a:gd name="T19" fmla="*/ 1455 h 2152"/>
                    <a:gd name="T20" fmla="*/ 2715 w 2966"/>
                    <a:gd name="T21" fmla="*/ 1317 h 2152"/>
                    <a:gd name="T22" fmla="*/ 2794 w 2966"/>
                    <a:gd name="T23" fmla="*/ 1169 h 2152"/>
                    <a:gd name="T24" fmla="*/ 2860 w 2966"/>
                    <a:gd name="T25" fmla="*/ 1013 h 2152"/>
                    <a:gd name="T26" fmla="*/ 2911 w 2966"/>
                    <a:gd name="T27" fmla="*/ 851 h 2152"/>
                    <a:gd name="T28" fmla="*/ 2945 w 2966"/>
                    <a:gd name="T29" fmla="*/ 682 h 2152"/>
                    <a:gd name="T30" fmla="*/ 2964 w 2966"/>
                    <a:gd name="T31" fmla="*/ 507 h 2152"/>
                    <a:gd name="T32" fmla="*/ 2965 w 2966"/>
                    <a:gd name="T33" fmla="*/ 363 h 2152"/>
                    <a:gd name="T34" fmla="*/ 2944 w 2966"/>
                    <a:gd name="T35" fmla="*/ 153 h 2152"/>
                    <a:gd name="T36" fmla="*/ 2913 w 2966"/>
                    <a:gd name="T37" fmla="*/ 0 h 2152"/>
                    <a:gd name="T38" fmla="*/ 2905 w 2966"/>
                    <a:gd name="T39" fmla="*/ 130 h 2152"/>
                    <a:gd name="T40" fmla="*/ 2884 w 2966"/>
                    <a:gd name="T41" fmla="*/ 256 h 2152"/>
                    <a:gd name="T42" fmla="*/ 2852 w 2966"/>
                    <a:gd name="T43" fmla="*/ 377 h 2152"/>
                    <a:gd name="T44" fmla="*/ 2808 w 2966"/>
                    <a:gd name="T45" fmla="*/ 493 h 2152"/>
                    <a:gd name="T46" fmla="*/ 2754 w 2966"/>
                    <a:gd name="T47" fmla="*/ 603 h 2152"/>
                    <a:gd name="T48" fmla="*/ 2690 w 2966"/>
                    <a:gd name="T49" fmla="*/ 707 h 2152"/>
                    <a:gd name="T50" fmla="*/ 2616 w 2966"/>
                    <a:gd name="T51" fmla="*/ 805 h 2152"/>
                    <a:gd name="T52" fmla="*/ 2534 w 2966"/>
                    <a:gd name="T53" fmla="*/ 895 h 2152"/>
                    <a:gd name="T54" fmla="*/ 2443 w 2966"/>
                    <a:gd name="T55" fmla="*/ 975 h 2152"/>
                    <a:gd name="T56" fmla="*/ 2345 w 2966"/>
                    <a:gd name="T57" fmla="*/ 1048 h 2152"/>
                    <a:gd name="T58" fmla="*/ 2241 w 2966"/>
                    <a:gd name="T59" fmla="*/ 1111 h 2152"/>
                    <a:gd name="T60" fmla="*/ 2129 w 2966"/>
                    <a:gd name="T61" fmla="*/ 1164 h 2152"/>
                    <a:gd name="T62" fmla="*/ 2013 w 2966"/>
                    <a:gd name="T63" fmla="*/ 1207 h 2152"/>
                    <a:gd name="T64" fmla="*/ 1891 w 2966"/>
                    <a:gd name="T65" fmla="*/ 1238 h 2152"/>
                    <a:gd name="T66" fmla="*/ 1765 w 2966"/>
                    <a:gd name="T67" fmla="*/ 1257 h 2152"/>
                    <a:gd name="T68" fmla="*/ 1635 w 2966"/>
                    <a:gd name="T69" fmla="*/ 1263 h 2152"/>
                    <a:gd name="T70" fmla="*/ 1538 w 2966"/>
                    <a:gd name="T71" fmla="*/ 1260 h 2152"/>
                    <a:gd name="T72" fmla="*/ 1412 w 2966"/>
                    <a:gd name="T73" fmla="*/ 1245 h 2152"/>
                    <a:gd name="T74" fmla="*/ 1290 w 2966"/>
                    <a:gd name="T75" fmla="*/ 1216 h 2152"/>
                    <a:gd name="T76" fmla="*/ 1172 w 2966"/>
                    <a:gd name="T77" fmla="*/ 1177 h 2152"/>
                    <a:gd name="T78" fmla="*/ 1061 w 2966"/>
                    <a:gd name="T79" fmla="*/ 1127 h 2152"/>
                    <a:gd name="T80" fmla="*/ 955 w 2966"/>
                    <a:gd name="T81" fmla="*/ 1067 h 2152"/>
                    <a:gd name="T82" fmla="*/ 856 w 2966"/>
                    <a:gd name="T83" fmla="*/ 998 h 2152"/>
                    <a:gd name="T84" fmla="*/ 764 w 2966"/>
                    <a:gd name="T85" fmla="*/ 920 h 2152"/>
                    <a:gd name="T86" fmla="*/ 30 w 2966"/>
                    <a:gd name="T87" fmla="*/ 1670 h 2152"/>
                    <a:gd name="T88" fmla="*/ 156 w 2966"/>
                    <a:gd name="T89" fmla="*/ 1779 h 2152"/>
                    <a:gd name="T90" fmla="*/ 293 w 2966"/>
                    <a:gd name="T91" fmla="*/ 1877 h 2152"/>
                    <a:gd name="T92" fmla="*/ 438 w 2966"/>
                    <a:gd name="T93" fmla="*/ 1961 h 2152"/>
                    <a:gd name="T94" fmla="*/ 592 w 2966"/>
                    <a:gd name="T95" fmla="*/ 2031 h 2152"/>
                    <a:gd name="T96" fmla="*/ 754 w 2966"/>
                    <a:gd name="T97" fmla="*/ 2085 h 2152"/>
                    <a:gd name="T98" fmla="*/ 922 w 2966"/>
                    <a:gd name="T99" fmla="*/ 2124 h 2152"/>
                    <a:gd name="T100" fmla="*/ 1096 w 2966"/>
                    <a:gd name="T101" fmla="*/ 2147 h 2152"/>
                    <a:gd name="T102" fmla="*/ 1231 w 2966"/>
                    <a:gd name="T103" fmla="*/ 2152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66" h="2152">
                      <a:moveTo>
                        <a:pt x="1231" y="2152"/>
                      </a:moveTo>
                      <a:lnTo>
                        <a:pt x="1231" y="2152"/>
                      </a:lnTo>
                      <a:lnTo>
                        <a:pt x="1276" y="2152"/>
                      </a:lnTo>
                      <a:lnTo>
                        <a:pt x="1320" y="2150"/>
                      </a:lnTo>
                      <a:lnTo>
                        <a:pt x="1365" y="2147"/>
                      </a:lnTo>
                      <a:lnTo>
                        <a:pt x="1408" y="2143"/>
                      </a:lnTo>
                      <a:lnTo>
                        <a:pt x="1452" y="2138"/>
                      </a:lnTo>
                      <a:lnTo>
                        <a:pt x="1495" y="2132"/>
                      </a:lnTo>
                      <a:lnTo>
                        <a:pt x="1538" y="2125"/>
                      </a:lnTo>
                      <a:lnTo>
                        <a:pt x="1581" y="2117"/>
                      </a:lnTo>
                      <a:lnTo>
                        <a:pt x="1622" y="2108"/>
                      </a:lnTo>
                      <a:lnTo>
                        <a:pt x="1664" y="2098"/>
                      </a:lnTo>
                      <a:lnTo>
                        <a:pt x="1705" y="2086"/>
                      </a:lnTo>
                      <a:lnTo>
                        <a:pt x="1747" y="2074"/>
                      </a:lnTo>
                      <a:lnTo>
                        <a:pt x="1787" y="2061"/>
                      </a:lnTo>
                      <a:lnTo>
                        <a:pt x="1827" y="2047"/>
                      </a:lnTo>
                      <a:lnTo>
                        <a:pt x="1867" y="2032"/>
                      </a:lnTo>
                      <a:lnTo>
                        <a:pt x="1906" y="2016"/>
                      </a:lnTo>
                      <a:lnTo>
                        <a:pt x="1945" y="1999"/>
                      </a:lnTo>
                      <a:lnTo>
                        <a:pt x="1983" y="1982"/>
                      </a:lnTo>
                      <a:lnTo>
                        <a:pt x="2021" y="1962"/>
                      </a:lnTo>
                      <a:lnTo>
                        <a:pt x="2058" y="1942"/>
                      </a:lnTo>
                      <a:lnTo>
                        <a:pt x="2094" y="1922"/>
                      </a:lnTo>
                      <a:lnTo>
                        <a:pt x="2130" y="1901"/>
                      </a:lnTo>
                      <a:lnTo>
                        <a:pt x="2166" y="1879"/>
                      </a:lnTo>
                      <a:lnTo>
                        <a:pt x="2200" y="1856"/>
                      </a:lnTo>
                      <a:lnTo>
                        <a:pt x="2235" y="1832"/>
                      </a:lnTo>
                      <a:lnTo>
                        <a:pt x="2268" y="1808"/>
                      </a:lnTo>
                      <a:lnTo>
                        <a:pt x="2302" y="1782"/>
                      </a:lnTo>
                      <a:lnTo>
                        <a:pt x="2334" y="1756"/>
                      </a:lnTo>
                      <a:lnTo>
                        <a:pt x="2366" y="1729"/>
                      </a:lnTo>
                      <a:lnTo>
                        <a:pt x="2397" y="1702"/>
                      </a:lnTo>
                      <a:lnTo>
                        <a:pt x="2428" y="1673"/>
                      </a:lnTo>
                      <a:lnTo>
                        <a:pt x="2457" y="1644"/>
                      </a:lnTo>
                      <a:lnTo>
                        <a:pt x="2487" y="1614"/>
                      </a:lnTo>
                      <a:lnTo>
                        <a:pt x="2515" y="1583"/>
                      </a:lnTo>
                      <a:lnTo>
                        <a:pt x="2542" y="1552"/>
                      </a:lnTo>
                      <a:lnTo>
                        <a:pt x="2570" y="1521"/>
                      </a:lnTo>
                      <a:lnTo>
                        <a:pt x="2595" y="1489"/>
                      </a:lnTo>
                      <a:lnTo>
                        <a:pt x="2621" y="1455"/>
                      </a:lnTo>
                      <a:lnTo>
                        <a:pt x="2646" y="1421"/>
                      </a:lnTo>
                      <a:lnTo>
                        <a:pt x="2669" y="1387"/>
                      </a:lnTo>
                      <a:lnTo>
                        <a:pt x="2692" y="1352"/>
                      </a:lnTo>
                      <a:lnTo>
                        <a:pt x="2715" y="1317"/>
                      </a:lnTo>
                      <a:lnTo>
                        <a:pt x="2736" y="1280"/>
                      </a:lnTo>
                      <a:lnTo>
                        <a:pt x="2756" y="1244"/>
                      </a:lnTo>
                      <a:lnTo>
                        <a:pt x="2776" y="1207"/>
                      </a:lnTo>
                      <a:lnTo>
                        <a:pt x="2794" y="1169"/>
                      </a:lnTo>
                      <a:lnTo>
                        <a:pt x="2813" y="1131"/>
                      </a:lnTo>
                      <a:lnTo>
                        <a:pt x="2829" y="1093"/>
                      </a:lnTo>
                      <a:lnTo>
                        <a:pt x="2845" y="1054"/>
                      </a:lnTo>
                      <a:lnTo>
                        <a:pt x="2860" y="1013"/>
                      </a:lnTo>
                      <a:lnTo>
                        <a:pt x="2875" y="973"/>
                      </a:lnTo>
                      <a:lnTo>
                        <a:pt x="2888" y="933"/>
                      </a:lnTo>
                      <a:lnTo>
                        <a:pt x="2900" y="892"/>
                      </a:lnTo>
                      <a:lnTo>
                        <a:pt x="2911" y="851"/>
                      </a:lnTo>
                      <a:lnTo>
                        <a:pt x="2921" y="808"/>
                      </a:lnTo>
                      <a:lnTo>
                        <a:pt x="2930" y="767"/>
                      </a:lnTo>
                      <a:lnTo>
                        <a:pt x="2938" y="724"/>
                      </a:lnTo>
                      <a:lnTo>
                        <a:pt x="2945" y="682"/>
                      </a:lnTo>
                      <a:lnTo>
                        <a:pt x="2952" y="638"/>
                      </a:lnTo>
                      <a:lnTo>
                        <a:pt x="2957" y="594"/>
                      </a:lnTo>
                      <a:lnTo>
                        <a:pt x="2960" y="550"/>
                      </a:lnTo>
                      <a:lnTo>
                        <a:pt x="2964" y="507"/>
                      </a:lnTo>
                      <a:lnTo>
                        <a:pt x="2965" y="462"/>
                      </a:lnTo>
                      <a:lnTo>
                        <a:pt x="2966" y="417"/>
                      </a:lnTo>
                      <a:lnTo>
                        <a:pt x="2966" y="417"/>
                      </a:lnTo>
                      <a:lnTo>
                        <a:pt x="2965" y="363"/>
                      </a:lnTo>
                      <a:lnTo>
                        <a:pt x="2963" y="310"/>
                      </a:lnTo>
                      <a:lnTo>
                        <a:pt x="2958" y="257"/>
                      </a:lnTo>
                      <a:lnTo>
                        <a:pt x="2952" y="205"/>
                      </a:lnTo>
                      <a:lnTo>
                        <a:pt x="2944" y="153"/>
                      </a:lnTo>
                      <a:lnTo>
                        <a:pt x="2936" y="101"/>
                      </a:lnTo>
                      <a:lnTo>
                        <a:pt x="2926" y="51"/>
                      </a:lnTo>
                      <a:lnTo>
                        <a:pt x="2913" y="0"/>
                      </a:lnTo>
                      <a:lnTo>
                        <a:pt x="2913" y="0"/>
                      </a:lnTo>
                      <a:lnTo>
                        <a:pt x="2913" y="33"/>
                      </a:lnTo>
                      <a:lnTo>
                        <a:pt x="2911" y="66"/>
                      </a:lnTo>
                      <a:lnTo>
                        <a:pt x="2908" y="98"/>
                      </a:lnTo>
                      <a:lnTo>
                        <a:pt x="2905" y="130"/>
                      </a:lnTo>
                      <a:lnTo>
                        <a:pt x="2902" y="161"/>
                      </a:lnTo>
                      <a:lnTo>
                        <a:pt x="2897" y="194"/>
                      </a:lnTo>
                      <a:lnTo>
                        <a:pt x="2891" y="225"/>
                      </a:lnTo>
                      <a:lnTo>
                        <a:pt x="2884" y="256"/>
                      </a:lnTo>
                      <a:lnTo>
                        <a:pt x="2877" y="287"/>
                      </a:lnTo>
                      <a:lnTo>
                        <a:pt x="2870" y="317"/>
                      </a:lnTo>
                      <a:lnTo>
                        <a:pt x="2861" y="347"/>
                      </a:lnTo>
                      <a:lnTo>
                        <a:pt x="2852" y="377"/>
                      </a:lnTo>
                      <a:lnTo>
                        <a:pt x="2843" y="407"/>
                      </a:lnTo>
                      <a:lnTo>
                        <a:pt x="2831" y="435"/>
                      </a:lnTo>
                      <a:lnTo>
                        <a:pt x="2821" y="464"/>
                      </a:lnTo>
                      <a:lnTo>
                        <a:pt x="2808" y="493"/>
                      </a:lnTo>
                      <a:lnTo>
                        <a:pt x="2796" y="520"/>
                      </a:lnTo>
                      <a:lnTo>
                        <a:pt x="2783" y="549"/>
                      </a:lnTo>
                      <a:lnTo>
                        <a:pt x="2769" y="576"/>
                      </a:lnTo>
                      <a:lnTo>
                        <a:pt x="2754" y="603"/>
                      </a:lnTo>
                      <a:lnTo>
                        <a:pt x="2739" y="630"/>
                      </a:lnTo>
                      <a:lnTo>
                        <a:pt x="2723" y="656"/>
                      </a:lnTo>
                      <a:lnTo>
                        <a:pt x="2707" y="682"/>
                      </a:lnTo>
                      <a:lnTo>
                        <a:pt x="2690" y="707"/>
                      </a:lnTo>
                      <a:lnTo>
                        <a:pt x="2672" y="732"/>
                      </a:lnTo>
                      <a:lnTo>
                        <a:pt x="2654" y="757"/>
                      </a:lnTo>
                      <a:lnTo>
                        <a:pt x="2636" y="781"/>
                      </a:lnTo>
                      <a:lnTo>
                        <a:pt x="2616" y="805"/>
                      </a:lnTo>
                      <a:lnTo>
                        <a:pt x="2596" y="828"/>
                      </a:lnTo>
                      <a:lnTo>
                        <a:pt x="2576" y="851"/>
                      </a:lnTo>
                      <a:lnTo>
                        <a:pt x="2555" y="873"/>
                      </a:lnTo>
                      <a:lnTo>
                        <a:pt x="2534" y="895"/>
                      </a:lnTo>
                      <a:lnTo>
                        <a:pt x="2512" y="915"/>
                      </a:lnTo>
                      <a:lnTo>
                        <a:pt x="2489" y="936"/>
                      </a:lnTo>
                      <a:lnTo>
                        <a:pt x="2466" y="956"/>
                      </a:lnTo>
                      <a:lnTo>
                        <a:pt x="2443" y="975"/>
                      </a:lnTo>
                      <a:lnTo>
                        <a:pt x="2419" y="995"/>
                      </a:lnTo>
                      <a:lnTo>
                        <a:pt x="2395" y="1013"/>
                      </a:lnTo>
                      <a:lnTo>
                        <a:pt x="2371" y="1031"/>
                      </a:lnTo>
                      <a:lnTo>
                        <a:pt x="2345" y="1048"/>
                      </a:lnTo>
                      <a:lnTo>
                        <a:pt x="2320" y="1065"/>
                      </a:lnTo>
                      <a:lnTo>
                        <a:pt x="2294" y="1081"/>
                      </a:lnTo>
                      <a:lnTo>
                        <a:pt x="2267" y="1096"/>
                      </a:lnTo>
                      <a:lnTo>
                        <a:pt x="2241" y="1111"/>
                      </a:lnTo>
                      <a:lnTo>
                        <a:pt x="2213" y="1126"/>
                      </a:lnTo>
                      <a:lnTo>
                        <a:pt x="2185" y="1140"/>
                      </a:lnTo>
                      <a:lnTo>
                        <a:pt x="2158" y="1153"/>
                      </a:lnTo>
                      <a:lnTo>
                        <a:pt x="2129" y="1164"/>
                      </a:lnTo>
                      <a:lnTo>
                        <a:pt x="2100" y="1177"/>
                      </a:lnTo>
                      <a:lnTo>
                        <a:pt x="2071" y="1187"/>
                      </a:lnTo>
                      <a:lnTo>
                        <a:pt x="2043" y="1197"/>
                      </a:lnTo>
                      <a:lnTo>
                        <a:pt x="2013" y="1207"/>
                      </a:lnTo>
                      <a:lnTo>
                        <a:pt x="1983" y="1216"/>
                      </a:lnTo>
                      <a:lnTo>
                        <a:pt x="1953" y="1224"/>
                      </a:lnTo>
                      <a:lnTo>
                        <a:pt x="1922" y="1231"/>
                      </a:lnTo>
                      <a:lnTo>
                        <a:pt x="1891" y="1238"/>
                      </a:lnTo>
                      <a:lnTo>
                        <a:pt x="1860" y="1244"/>
                      </a:lnTo>
                      <a:lnTo>
                        <a:pt x="1829" y="1249"/>
                      </a:lnTo>
                      <a:lnTo>
                        <a:pt x="1796" y="1254"/>
                      </a:lnTo>
                      <a:lnTo>
                        <a:pt x="1765" y="1257"/>
                      </a:lnTo>
                      <a:lnTo>
                        <a:pt x="1733" y="1260"/>
                      </a:lnTo>
                      <a:lnTo>
                        <a:pt x="1701" y="1262"/>
                      </a:lnTo>
                      <a:lnTo>
                        <a:pt x="1667" y="1263"/>
                      </a:lnTo>
                      <a:lnTo>
                        <a:pt x="1635" y="1263"/>
                      </a:lnTo>
                      <a:lnTo>
                        <a:pt x="1635" y="1263"/>
                      </a:lnTo>
                      <a:lnTo>
                        <a:pt x="1603" y="1263"/>
                      </a:lnTo>
                      <a:lnTo>
                        <a:pt x="1571" y="1262"/>
                      </a:lnTo>
                      <a:lnTo>
                        <a:pt x="1538" y="1260"/>
                      </a:lnTo>
                      <a:lnTo>
                        <a:pt x="1506" y="1257"/>
                      </a:lnTo>
                      <a:lnTo>
                        <a:pt x="1474" y="1254"/>
                      </a:lnTo>
                      <a:lnTo>
                        <a:pt x="1443" y="1249"/>
                      </a:lnTo>
                      <a:lnTo>
                        <a:pt x="1412" y="1245"/>
                      </a:lnTo>
                      <a:lnTo>
                        <a:pt x="1381" y="1239"/>
                      </a:lnTo>
                      <a:lnTo>
                        <a:pt x="1351" y="1232"/>
                      </a:lnTo>
                      <a:lnTo>
                        <a:pt x="1320" y="1224"/>
                      </a:lnTo>
                      <a:lnTo>
                        <a:pt x="1290" y="1216"/>
                      </a:lnTo>
                      <a:lnTo>
                        <a:pt x="1260" y="1208"/>
                      </a:lnTo>
                      <a:lnTo>
                        <a:pt x="1231" y="1199"/>
                      </a:lnTo>
                      <a:lnTo>
                        <a:pt x="1201" y="1188"/>
                      </a:lnTo>
                      <a:lnTo>
                        <a:pt x="1172" y="1177"/>
                      </a:lnTo>
                      <a:lnTo>
                        <a:pt x="1144" y="1165"/>
                      </a:lnTo>
                      <a:lnTo>
                        <a:pt x="1116" y="1154"/>
                      </a:lnTo>
                      <a:lnTo>
                        <a:pt x="1088" y="1141"/>
                      </a:lnTo>
                      <a:lnTo>
                        <a:pt x="1061" y="1127"/>
                      </a:lnTo>
                      <a:lnTo>
                        <a:pt x="1033" y="1113"/>
                      </a:lnTo>
                      <a:lnTo>
                        <a:pt x="1007" y="1098"/>
                      </a:lnTo>
                      <a:lnTo>
                        <a:pt x="980" y="1083"/>
                      </a:lnTo>
                      <a:lnTo>
                        <a:pt x="955" y="1067"/>
                      </a:lnTo>
                      <a:lnTo>
                        <a:pt x="929" y="1051"/>
                      </a:lnTo>
                      <a:lnTo>
                        <a:pt x="904" y="1034"/>
                      </a:lnTo>
                      <a:lnTo>
                        <a:pt x="880" y="1016"/>
                      </a:lnTo>
                      <a:lnTo>
                        <a:pt x="856" y="998"/>
                      </a:lnTo>
                      <a:lnTo>
                        <a:pt x="832" y="979"/>
                      </a:lnTo>
                      <a:lnTo>
                        <a:pt x="809" y="960"/>
                      </a:lnTo>
                      <a:lnTo>
                        <a:pt x="785" y="940"/>
                      </a:lnTo>
                      <a:lnTo>
                        <a:pt x="764" y="920"/>
                      </a:lnTo>
                      <a:lnTo>
                        <a:pt x="742" y="898"/>
                      </a:lnTo>
                      <a:lnTo>
                        <a:pt x="0" y="1640"/>
                      </a:lnTo>
                      <a:lnTo>
                        <a:pt x="0" y="1640"/>
                      </a:lnTo>
                      <a:lnTo>
                        <a:pt x="30" y="1670"/>
                      </a:lnTo>
                      <a:lnTo>
                        <a:pt x="60" y="1697"/>
                      </a:lnTo>
                      <a:lnTo>
                        <a:pt x="91" y="1726"/>
                      </a:lnTo>
                      <a:lnTo>
                        <a:pt x="124" y="1752"/>
                      </a:lnTo>
                      <a:lnTo>
                        <a:pt x="156" y="1779"/>
                      </a:lnTo>
                      <a:lnTo>
                        <a:pt x="189" y="1804"/>
                      </a:lnTo>
                      <a:lnTo>
                        <a:pt x="223" y="1830"/>
                      </a:lnTo>
                      <a:lnTo>
                        <a:pt x="257" y="1854"/>
                      </a:lnTo>
                      <a:lnTo>
                        <a:pt x="293" y="1877"/>
                      </a:lnTo>
                      <a:lnTo>
                        <a:pt x="328" y="1899"/>
                      </a:lnTo>
                      <a:lnTo>
                        <a:pt x="364" y="1921"/>
                      </a:lnTo>
                      <a:lnTo>
                        <a:pt x="401" y="1941"/>
                      </a:lnTo>
                      <a:lnTo>
                        <a:pt x="438" y="1961"/>
                      </a:lnTo>
                      <a:lnTo>
                        <a:pt x="476" y="1979"/>
                      </a:lnTo>
                      <a:lnTo>
                        <a:pt x="514" y="1998"/>
                      </a:lnTo>
                      <a:lnTo>
                        <a:pt x="553" y="2015"/>
                      </a:lnTo>
                      <a:lnTo>
                        <a:pt x="592" y="2031"/>
                      </a:lnTo>
                      <a:lnTo>
                        <a:pt x="632" y="2046"/>
                      </a:lnTo>
                      <a:lnTo>
                        <a:pt x="673" y="2060"/>
                      </a:lnTo>
                      <a:lnTo>
                        <a:pt x="713" y="2074"/>
                      </a:lnTo>
                      <a:lnTo>
                        <a:pt x="754" y="2085"/>
                      </a:lnTo>
                      <a:lnTo>
                        <a:pt x="796" y="2097"/>
                      </a:lnTo>
                      <a:lnTo>
                        <a:pt x="837" y="2107"/>
                      </a:lnTo>
                      <a:lnTo>
                        <a:pt x="880" y="2116"/>
                      </a:lnTo>
                      <a:lnTo>
                        <a:pt x="922" y="2124"/>
                      </a:lnTo>
                      <a:lnTo>
                        <a:pt x="965" y="2132"/>
                      </a:lnTo>
                      <a:lnTo>
                        <a:pt x="1009" y="2138"/>
                      </a:lnTo>
                      <a:lnTo>
                        <a:pt x="1053" y="2143"/>
                      </a:lnTo>
                      <a:lnTo>
                        <a:pt x="1096" y="2147"/>
                      </a:lnTo>
                      <a:lnTo>
                        <a:pt x="1141" y="2150"/>
                      </a:lnTo>
                      <a:lnTo>
                        <a:pt x="1186" y="2152"/>
                      </a:lnTo>
                      <a:lnTo>
                        <a:pt x="1231" y="2152"/>
                      </a:lnTo>
                      <a:lnTo>
                        <a:pt x="1231" y="2152"/>
                      </a:lnTo>
                      <a:close/>
                    </a:path>
                  </a:pathLst>
                </a:custGeom>
                <a:solidFill>
                  <a:srgbClr val="1A81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9" name="Freeform 310"/>
                <p:cNvSpPr>
                  <a:spLocks/>
                </p:cNvSpPr>
                <p:nvPr/>
              </p:nvSpPr>
              <p:spPr bwMode="auto">
                <a:xfrm>
                  <a:off x="3473450" y="1703388"/>
                  <a:ext cx="492125" cy="471488"/>
                </a:xfrm>
                <a:custGeom>
                  <a:avLst/>
                  <a:gdLst>
                    <a:gd name="T0" fmla="*/ 0 w 2171"/>
                    <a:gd name="T1" fmla="*/ 1710 h 2075"/>
                    <a:gd name="T2" fmla="*/ 43 w 2171"/>
                    <a:gd name="T3" fmla="*/ 1752 h 2075"/>
                    <a:gd name="T4" fmla="*/ 90 w 2171"/>
                    <a:gd name="T5" fmla="*/ 1791 h 2075"/>
                    <a:gd name="T6" fmla="*/ 138 w 2171"/>
                    <a:gd name="T7" fmla="*/ 1828 h 2075"/>
                    <a:gd name="T8" fmla="*/ 187 w 2171"/>
                    <a:gd name="T9" fmla="*/ 1863 h 2075"/>
                    <a:gd name="T10" fmla="*/ 238 w 2171"/>
                    <a:gd name="T11" fmla="*/ 1895 h 2075"/>
                    <a:gd name="T12" fmla="*/ 291 w 2171"/>
                    <a:gd name="T13" fmla="*/ 1925 h 2075"/>
                    <a:gd name="T14" fmla="*/ 346 w 2171"/>
                    <a:gd name="T15" fmla="*/ 1953 h 2075"/>
                    <a:gd name="T16" fmla="*/ 402 w 2171"/>
                    <a:gd name="T17" fmla="*/ 1977 h 2075"/>
                    <a:gd name="T18" fmla="*/ 459 w 2171"/>
                    <a:gd name="T19" fmla="*/ 2000 h 2075"/>
                    <a:gd name="T20" fmla="*/ 518 w 2171"/>
                    <a:gd name="T21" fmla="*/ 2020 h 2075"/>
                    <a:gd name="T22" fmla="*/ 578 w 2171"/>
                    <a:gd name="T23" fmla="*/ 2036 h 2075"/>
                    <a:gd name="T24" fmla="*/ 639 w 2171"/>
                    <a:gd name="T25" fmla="*/ 2051 h 2075"/>
                    <a:gd name="T26" fmla="*/ 701 w 2171"/>
                    <a:gd name="T27" fmla="*/ 2061 h 2075"/>
                    <a:gd name="T28" fmla="*/ 764 w 2171"/>
                    <a:gd name="T29" fmla="*/ 2069 h 2075"/>
                    <a:gd name="T30" fmla="*/ 829 w 2171"/>
                    <a:gd name="T31" fmla="*/ 2074 h 2075"/>
                    <a:gd name="T32" fmla="*/ 893 w 2171"/>
                    <a:gd name="T33" fmla="*/ 2075 h 2075"/>
                    <a:gd name="T34" fmla="*/ 925 w 2171"/>
                    <a:gd name="T35" fmla="*/ 2075 h 2075"/>
                    <a:gd name="T36" fmla="*/ 991 w 2171"/>
                    <a:gd name="T37" fmla="*/ 2072 h 2075"/>
                    <a:gd name="T38" fmla="*/ 1054 w 2171"/>
                    <a:gd name="T39" fmla="*/ 2066 h 2075"/>
                    <a:gd name="T40" fmla="*/ 1118 w 2171"/>
                    <a:gd name="T41" fmla="*/ 2056 h 2075"/>
                    <a:gd name="T42" fmla="*/ 1180 w 2171"/>
                    <a:gd name="T43" fmla="*/ 2043 h 2075"/>
                    <a:gd name="T44" fmla="*/ 1241 w 2171"/>
                    <a:gd name="T45" fmla="*/ 2028 h 2075"/>
                    <a:gd name="T46" fmla="*/ 1301 w 2171"/>
                    <a:gd name="T47" fmla="*/ 2009 h 2075"/>
                    <a:gd name="T48" fmla="*/ 1358 w 2171"/>
                    <a:gd name="T49" fmla="*/ 1989 h 2075"/>
                    <a:gd name="T50" fmla="*/ 1416 w 2171"/>
                    <a:gd name="T51" fmla="*/ 1965 h 2075"/>
                    <a:gd name="T52" fmla="*/ 1471 w 2171"/>
                    <a:gd name="T53" fmla="*/ 1938 h 2075"/>
                    <a:gd name="T54" fmla="*/ 1525 w 2171"/>
                    <a:gd name="T55" fmla="*/ 1908 h 2075"/>
                    <a:gd name="T56" fmla="*/ 1578 w 2171"/>
                    <a:gd name="T57" fmla="*/ 1877 h 2075"/>
                    <a:gd name="T58" fmla="*/ 1629 w 2171"/>
                    <a:gd name="T59" fmla="*/ 1843 h 2075"/>
                    <a:gd name="T60" fmla="*/ 1677 w 2171"/>
                    <a:gd name="T61" fmla="*/ 1807 h 2075"/>
                    <a:gd name="T62" fmla="*/ 1724 w 2171"/>
                    <a:gd name="T63" fmla="*/ 1768 h 2075"/>
                    <a:gd name="T64" fmla="*/ 1770 w 2171"/>
                    <a:gd name="T65" fmla="*/ 1727 h 2075"/>
                    <a:gd name="T66" fmla="*/ 1813 w 2171"/>
                    <a:gd name="T67" fmla="*/ 1685 h 2075"/>
                    <a:gd name="T68" fmla="*/ 1854 w 2171"/>
                    <a:gd name="T69" fmla="*/ 1640 h 2075"/>
                    <a:gd name="T70" fmla="*/ 1894 w 2171"/>
                    <a:gd name="T71" fmla="*/ 1593 h 2075"/>
                    <a:gd name="T72" fmla="*/ 1930 w 2171"/>
                    <a:gd name="T73" fmla="*/ 1544 h 2075"/>
                    <a:gd name="T74" fmla="*/ 1965 w 2171"/>
                    <a:gd name="T75" fmla="*/ 1494 h 2075"/>
                    <a:gd name="T76" fmla="*/ 1997 w 2171"/>
                    <a:gd name="T77" fmla="*/ 1442 h 2075"/>
                    <a:gd name="T78" fmla="*/ 2027 w 2171"/>
                    <a:gd name="T79" fmla="*/ 1388 h 2075"/>
                    <a:gd name="T80" fmla="*/ 2054 w 2171"/>
                    <a:gd name="T81" fmla="*/ 1332 h 2075"/>
                    <a:gd name="T82" fmla="*/ 2079 w 2171"/>
                    <a:gd name="T83" fmla="*/ 1276 h 2075"/>
                    <a:gd name="T84" fmla="*/ 2101 w 2171"/>
                    <a:gd name="T85" fmla="*/ 1219 h 2075"/>
                    <a:gd name="T86" fmla="*/ 2119 w 2171"/>
                    <a:gd name="T87" fmla="*/ 1159 h 2075"/>
                    <a:gd name="T88" fmla="*/ 2135 w 2171"/>
                    <a:gd name="T89" fmla="*/ 1099 h 2075"/>
                    <a:gd name="T90" fmla="*/ 2149 w 2171"/>
                    <a:gd name="T91" fmla="*/ 1037 h 2075"/>
                    <a:gd name="T92" fmla="*/ 2160 w 2171"/>
                    <a:gd name="T93" fmla="*/ 973 h 2075"/>
                    <a:gd name="T94" fmla="*/ 2166 w 2171"/>
                    <a:gd name="T95" fmla="*/ 910 h 2075"/>
                    <a:gd name="T96" fmla="*/ 2171 w 2171"/>
                    <a:gd name="T97" fmla="*/ 845 h 2075"/>
                    <a:gd name="T98" fmla="*/ 2171 w 2171"/>
                    <a:gd name="T99" fmla="*/ 812 h 2075"/>
                    <a:gd name="T100" fmla="*/ 2157 w 2171"/>
                    <a:gd name="T101" fmla="*/ 759 h 2075"/>
                    <a:gd name="T102" fmla="*/ 2124 w 2171"/>
                    <a:gd name="T103" fmla="*/ 654 h 2075"/>
                    <a:gd name="T104" fmla="*/ 2085 w 2171"/>
                    <a:gd name="T105" fmla="*/ 553 h 2075"/>
                    <a:gd name="T106" fmla="*/ 2040 w 2171"/>
                    <a:gd name="T107" fmla="*/ 454 h 2075"/>
                    <a:gd name="T108" fmla="*/ 1988 w 2171"/>
                    <a:gd name="T109" fmla="*/ 360 h 2075"/>
                    <a:gd name="T110" fmla="*/ 1932 w 2171"/>
                    <a:gd name="T111" fmla="*/ 268 h 2075"/>
                    <a:gd name="T112" fmla="*/ 1868 w 2171"/>
                    <a:gd name="T113" fmla="*/ 180 h 2075"/>
                    <a:gd name="T114" fmla="*/ 1801 w 2171"/>
                    <a:gd name="T115" fmla="*/ 97 h 2075"/>
                    <a:gd name="T116" fmla="*/ 1766 w 2171"/>
                    <a:gd name="T117" fmla="*/ 57 h 2075"/>
                    <a:gd name="T118" fmla="*/ 1759 w 2171"/>
                    <a:gd name="T119" fmla="*/ 50 h 2075"/>
                    <a:gd name="T120" fmla="*/ 1709 w 2171"/>
                    <a:gd name="T121" fmla="*/ 0 h 2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71" h="2075">
                      <a:moveTo>
                        <a:pt x="0" y="1710"/>
                      </a:moveTo>
                      <a:lnTo>
                        <a:pt x="0" y="1710"/>
                      </a:lnTo>
                      <a:lnTo>
                        <a:pt x="22" y="1732"/>
                      </a:lnTo>
                      <a:lnTo>
                        <a:pt x="43" y="1752"/>
                      </a:lnTo>
                      <a:lnTo>
                        <a:pt x="67" y="1772"/>
                      </a:lnTo>
                      <a:lnTo>
                        <a:pt x="90" y="1791"/>
                      </a:lnTo>
                      <a:lnTo>
                        <a:pt x="114" y="1810"/>
                      </a:lnTo>
                      <a:lnTo>
                        <a:pt x="138" y="1828"/>
                      </a:lnTo>
                      <a:lnTo>
                        <a:pt x="162" y="1846"/>
                      </a:lnTo>
                      <a:lnTo>
                        <a:pt x="187" y="1863"/>
                      </a:lnTo>
                      <a:lnTo>
                        <a:pt x="213" y="1879"/>
                      </a:lnTo>
                      <a:lnTo>
                        <a:pt x="238" y="1895"/>
                      </a:lnTo>
                      <a:lnTo>
                        <a:pt x="265" y="1910"/>
                      </a:lnTo>
                      <a:lnTo>
                        <a:pt x="291" y="1925"/>
                      </a:lnTo>
                      <a:lnTo>
                        <a:pt x="319" y="1939"/>
                      </a:lnTo>
                      <a:lnTo>
                        <a:pt x="346" y="1953"/>
                      </a:lnTo>
                      <a:lnTo>
                        <a:pt x="374" y="1966"/>
                      </a:lnTo>
                      <a:lnTo>
                        <a:pt x="402" y="1977"/>
                      </a:lnTo>
                      <a:lnTo>
                        <a:pt x="430" y="1989"/>
                      </a:lnTo>
                      <a:lnTo>
                        <a:pt x="459" y="2000"/>
                      </a:lnTo>
                      <a:lnTo>
                        <a:pt x="489" y="2011"/>
                      </a:lnTo>
                      <a:lnTo>
                        <a:pt x="518" y="2020"/>
                      </a:lnTo>
                      <a:lnTo>
                        <a:pt x="548" y="2028"/>
                      </a:lnTo>
                      <a:lnTo>
                        <a:pt x="578" y="2036"/>
                      </a:lnTo>
                      <a:lnTo>
                        <a:pt x="609" y="2044"/>
                      </a:lnTo>
                      <a:lnTo>
                        <a:pt x="639" y="2051"/>
                      </a:lnTo>
                      <a:lnTo>
                        <a:pt x="670" y="2057"/>
                      </a:lnTo>
                      <a:lnTo>
                        <a:pt x="701" y="2061"/>
                      </a:lnTo>
                      <a:lnTo>
                        <a:pt x="732" y="2066"/>
                      </a:lnTo>
                      <a:lnTo>
                        <a:pt x="764" y="2069"/>
                      </a:lnTo>
                      <a:lnTo>
                        <a:pt x="796" y="2072"/>
                      </a:lnTo>
                      <a:lnTo>
                        <a:pt x="829" y="2074"/>
                      </a:lnTo>
                      <a:lnTo>
                        <a:pt x="861" y="2075"/>
                      </a:lnTo>
                      <a:lnTo>
                        <a:pt x="893" y="2075"/>
                      </a:lnTo>
                      <a:lnTo>
                        <a:pt x="893" y="2075"/>
                      </a:lnTo>
                      <a:lnTo>
                        <a:pt x="925" y="2075"/>
                      </a:lnTo>
                      <a:lnTo>
                        <a:pt x="959" y="2074"/>
                      </a:lnTo>
                      <a:lnTo>
                        <a:pt x="991" y="2072"/>
                      </a:lnTo>
                      <a:lnTo>
                        <a:pt x="1023" y="2069"/>
                      </a:lnTo>
                      <a:lnTo>
                        <a:pt x="1054" y="2066"/>
                      </a:lnTo>
                      <a:lnTo>
                        <a:pt x="1087" y="2061"/>
                      </a:lnTo>
                      <a:lnTo>
                        <a:pt x="1118" y="2056"/>
                      </a:lnTo>
                      <a:lnTo>
                        <a:pt x="1149" y="2050"/>
                      </a:lnTo>
                      <a:lnTo>
                        <a:pt x="1180" y="2043"/>
                      </a:lnTo>
                      <a:lnTo>
                        <a:pt x="1211" y="2036"/>
                      </a:lnTo>
                      <a:lnTo>
                        <a:pt x="1241" y="2028"/>
                      </a:lnTo>
                      <a:lnTo>
                        <a:pt x="1271" y="2019"/>
                      </a:lnTo>
                      <a:lnTo>
                        <a:pt x="1301" y="2009"/>
                      </a:lnTo>
                      <a:lnTo>
                        <a:pt x="1329" y="1999"/>
                      </a:lnTo>
                      <a:lnTo>
                        <a:pt x="1358" y="1989"/>
                      </a:lnTo>
                      <a:lnTo>
                        <a:pt x="1387" y="1976"/>
                      </a:lnTo>
                      <a:lnTo>
                        <a:pt x="1416" y="1965"/>
                      </a:lnTo>
                      <a:lnTo>
                        <a:pt x="1443" y="1952"/>
                      </a:lnTo>
                      <a:lnTo>
                        <a:pt x="1471" y="1938"/>
                      </a:lnTo>
                      <a:lnTo>
                        <a:pt x="1499" y="1923"/>
                      </a:lnTo>
                      <a:lnTo>
                        <a:pt x="1525" y="1908"/>
                      </a:lnTo>
                      <a:lnTo>
                        <a:pt x="1552" y="1893"/>
                      </a:lnTo>
                      <a:lnTo>
                        <a:pt x="1578" y="1877"/>
                      </a:lnTo>
                      <a:lnTo>
                        <a:pt x="1603" y="1860"/>
                      </a:lnTo>
                      <a:lnTo>
                        <a:pt x="1629" y="1843"/>
                      </a:lnTo>
                      <a:lnTo>
                        <a:pt x="1653" y="1825"/>
                      </a:lnTo>
                      <a:lnTo>
                        <a:pt x="1677" y="1807"/>
                      </a:lnTo>
                      <a:lnTo>
                        <a:pt x="1701" y="1787"/>
                      </a:lnTo>
                      <a:lnTo>
                        <a:pt x="1724" y="1768"/>
                      </a:lnTo>
                      <a:lnTo>
                        <a:pt x="1747" y="1748"/>
                      </a:lnTo>
                      <a:lnTo>
                        <a:pt x="1770" y="1727"/>
                      </a:lnTo>
                      <a:lnTo>
                        <a:pt x="1792" y="1707"/>
                      </a:lnTo>
                      <a:lnTo>
                        <a:pt x="1813" y="1685"/>
                      </a:lnTo>
                      <a:lnTo>
                        <a:pt x="1834" y="1663"/>
                      </a:lnTo>
                      <a:lnTo>
                        <a:pt x="1854" y="1640"/>
                      </a:lnTo>
                      <a:lnTo>
                        <a:pt x="1874" y="1617"/>
                      </a:lnTo>
                      <a:lnTo>
                        <a:pt x="1894" y="1593"/>
                      </a:lnTo>
                      <a:lnTo>
                        <a:pt x="1912" y="1569"/>
                      </a:lnTo>
                      <a:lnTo>
                        <a:pt x="1930" y="1544"/>
                      </a:lnTo>
                      <a:lnTo>
                        <a:pt x="1948" y="1519"/>
                      </a:lnTo>
                      <a:lnTo>
                        <a:pt x="1965" y="1494"/>
                      </a:lnTo>
                      <a:lnTo>
                        <a:pt x="1981" y="1468"/>
                      </a:lnTo>
                      <a:lnTo>
                        <a:pt x="1997" y="1442"/>
                      </a:lnTo>
                      <a:lnTo>
                        <a:pt x="2012" y="1415"/>
                      </a:lnTo>
                      <a:lnTo>
                        <a:pt x="2027" y="1388"/>
                      </a:lnTo>
                      <a:lnTo>
                        <a:pt x="2041" y="1361"/>
                      </a:lnTo>
                      <a:lnTo>
                        <a:pt x="2054" y="1332"/>
                      </a:lnTo>
                      <a:lnTo>
                        <a:pt x="2066" y="1305"/>
                      </a:lnTo>
                      <a:lnTo>
                        <a:pt x="2079" y="1276"/>
                      </a:lnTo>
                      <a:lnTo>
                        <a:pt x="2089" y="1247"/>
                      </a:lnTo>
                      <a:lnTo>
                        <a:pt x="2101" y="1219"/>
                      </a:lnTo>
                      <a:lnTo>
                        <a:pt x="2110" y="1189"/>
                      </a:lnTo>
                      <a:lnTo>
                        <a:pt x="2119" y="1159"/>
                      </a:lnTo>
                      <a:lnTo>
                        <a:pt x="2128" y="1129"/>
                      </a:lnTo>
                      <a:lnTo>
                        <a:pt x="2135" y="1099"/>
                      </a:lnTo>
                      <a:lnTo>
                        <a:pt x="2142" y="1068"/>
                      </a:lnTo>
                      <a:lnTo>
                        <a:pt x="2149" y="1037"/>
                      </a:lnTo>
                      <a:lnTo>
                        <a:pt x="2155" y="1006"/>
                      </a:lnTo>
                      <a:lnTo>
                        <a:pt x="2160" y="973"/>
                      </a:lnTo>
                      <a:lnTo>
                        <a:pt x="2163" y="942"/>
                      </a:lnTo>
                      <a:lnTo>
                        <a:pt x="2166" y="910"/>
                      </a:lnTo>
                      <a:lnTo>
                        <a:pt x="2169" y="878"/>
                      </a:lnTo>
                      <a:lnTo>
                        <a:pt x="2171" y="845"/>
                      </a:lnTo>
                      <a:lnTo>
                        <a:pt x="2171" y="812"/>
                      </a:lnTo>
                      <a:lnTo>
                        <a:pt x="2171" y="812"/>
                      </a:lnTo>
                      <a:lnTo>
                        <a:pt x="2171" y="812"/>
                      </a:lnTo>
                      <a:lnTo>
                        <a:pt x="2157" y="759"/>
                      </a:lnTo>
                      <a:lnTo>
                        <a:pt x="2141" y="706"/>
                      </a:lnTo>
                      <a:lnTo>
                        <a:pt x="2124" y="654"/>
                      </a:lnTo>
                      <a:lnTo>
                        <a:pt x="2105" y="603"/>
                      </a:lnTo>
                      <a:lnTo>
                        <a:pt x="2085" y="553"/>
                      </a:lnTo>
                      <a:lnTo>
                        <a:pt x="2063" y="502"/>
                      </a:lnTo>
                      <a:lnTo>
                        <a:pt x="2040" y="454"/>
                      </a:lnTo>
                      <a:lnTo>
                        <a:pt x="2014" y="406"/>
                      </a:lnTo>
                      <a:lnTo>
                        <a:pt x="1988" y="360"/>
                      </a:lnTo>
                      <a:lnTo>
                        <a:pt x="1960" y="312"/>
                      </a:lnTo>
                      <a:lnTo>
                        <a:pt x="1932" y="268"/>
                      </a:lnTo>
                      <a:lnTo>
                        <a:pt x="1900" y="224"/>
                      </a:lnTo>
                      <a:lnTo>
                        <a:pt x="1868" y="180"/>
                      </a:lnTo>
                      <a:lnTo>
                        <a:pt x="1836" y="139"/>
                      </a:lnTo>
                      <a:lnTo>
                        <a:pt x="1801" y="97"/>
                      </a:lnTo>
                      <a:lnTo>
                        <a:pt x="1766" y="57"/>
                      </a:lnTo>
                      <a:lnTo>
                        <a:pt x="1766" y="57"/>
                      </a:lnTo>
                      <a:lnTo>
                        <a:pt x="1759" y="50"/>
                      </a:lnTo>
                      <a:lnTo>
                        <a:pt x="1759" y="50"/>
                      </a:lnTo>
                      <a:lnTo>
                        <a:pt x="1735" y="25"/>
                      </a:lnTo>
                      <a:lnTo>
                        <a:pt x="1709" y="0"/>
                      </a:lnTo>
                      <a:lnTo>
                        <a:pt x="0" y="1710"/>
                      </a:lnTo>
                      <a:close/>
                    </a:path>
                  </a:pathLst>
                </a:custGeom>
                <a:solidFill>
                  <a:srgbClr val="299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0" name="Freeform 311"/>
                <p:cNvSpPr>
                  <a:spLocks/>
                </p:cNvSpPr>
                <p:nvPr/>
              </p:nvSpPr>
              <p:spPr bwMode="auto">
                <a:xfrm>
                  <a:off x="3309938" y="1249363"/>
                  <a:ext cx="566738" cy="1473200"/>
                </a:xfrm>
                <a:custGeom>
                  <a:avLst/>
                  <a:gdLst>
                    <a:gd name="T0" fmla="*/ 2406 w 2497"/>
                    <a:gd name="T1" fmla="*/ 0 h 6502"/>
                    <a:gd name="T2" fmla="*/ 2361 w 2497"/>
                    <a:gd name="T3" fmla="*/ 12 h 6502"/>
                    <a:gd name="T4" fmla="*/ 2251 w 2497"/>
                    <a:gd name="T5" fmla="*/ 108 h 6502"/>
                    <a:gd name="T6" fmla="*/ 2116 w 2497"/>
                    <a:gd name="T7" fmla="*/ 289 h 6502"/>
                    <a:gd name="T8" fmla="*/ 1959 w 2497"/>
                    <a:gd name="T9" fmla="*/ 545 h 6502"/>
                    <a:gd name="T10" fmla="*/ 1709 w 2497"/>
                    <a:gd name="T11" fmla="*/ 1021 h 6502"/>
                    <a:gd name="T12" fmla="*/ 1514 w 2497"/>
                    <a:gd name="T13" fmla="*/ 1529 h 6502"/>
                    <a:gd name="T14" fmla="*/ 1628 w 2497"/>
                    <a:gd name="T15" fmla="*/ 1481 h 6502"/>
                    <a:gd name="T16" fmla="*/ 1792 w 2497"/>
                    <a:gd name="T17" fmla="*/ 1215 h 6502"/>
                    <a:gd name="T18" fmla="*/ 1926 w 2497"/>
                    <a:gd name="T19" fmla="*/ 1058 h 6502"/>
                    <a:gd name="T20" fmla="*/ 1980 w 2497"/>
                    <a:gd name="T21" fmla="*/ 1022 h 6502"/>
                    <a:gd name="T22" fmla="*/ 2024 w 2497"/>
                    <a:gd name="T23" fmla="*/ 1020 h 6502"/>
                    <a:gd name="T24" fmla="*/ 2052 w 2497"/>
                    <a:gd name="T25" fmla="*/ 1043 h 6502"/>
                    <a:gd name="T26" fmla="*/ 2074 w 2497"/>
                    <a:gd name="T27" fmla="*/ 1101 h 6502"/>
                    <a:gd name="T28" fmla="*/ 2078 w 2497"/>
                    <a:gd name="T29" fmla="*/ 1288 h 6502"/>
                    <a:gd name="T30" fmla="*/ 2037 w 2497"/>
                    <a:gd name="T31" fmla="*/ 1598 h 6502"/>
                    <a:gd name="T32" fmla="*/ 1948 w 2497"/>
                    <a:gd name="T33" fmla="*/ 2002 h 6502"/>
                    <a:gd name="T34" fmla="*/ 1817 w 2497"/>
                    <a:gd name="T35" fmla="*/ 2480 h 6502"/>
                    <a:gd name="T36" fmla="*/ 1648 w 2497"/>
                    <a:gd name="T37" fmla="*/ 3013 h 6502"/>
                    <a:gd name="T38" fmla="*/ 1486 w 2497"/>
                    <a:gd name="T39" fmla="*/ 3466 h 6502"/>
                    <a:gd name="T40" fmla="*/ 1275 w 2497"/>
                    <a:gd name="T41" fmla="*/ 4007 h 6502"/>
                    <a:gd name="T42" fmla="*/ 1065 w 2497"/>
                    <a:gd name="T43" fmla="*/ 4486 h 6502"/>
                    <a:gd name="T44" fmla="*/ 867 w 2497"/>
                    <a:gd name="T45" fmla="*/ 4888 h 6502"/>
                    <a:gd name="T46" fmla="*/ 689 w 2497"/>
                    <a:gd name="T47" fmla="*/ 5196 h 6502"/>
                    <a:gd name="T48" fmla="*/ 540 w 2497"/>
                    <a:gd name="T49" fmla="*/ 5392 h 6502"/>
                    <a:gd name="T50" fmla="*/ 468 w 2497"/>
                    <a:gd name="T51" fmla="*/ 5450 h 6502"/>
                    <a:gd name="T52" fmla="*/ 419 w 2497"/>
                    <a:gd name="T53" fmla="*/ 5462 h 6502"/>
                    <a:gd name="T54" fmla="*/ 390 w 2497"/>
                    <a:gd name="T55" fmla="*/ 5444 h 6502"/>
                    <a:gd name="T56" fmla="*/ 366 w 2497"/>
                    <a:gd name="T57" fmla="*/ 5395 h 6502"/>
                    <a:gd name="T58" fmla="*/ 354 w 2497"/>
                    <a:gd name="T59" fmla="*/ 5255 h 6502"/>
                    <a:gd name="T60" fmla="*/ 381 w 2497"/>
                    <a:gd name="T61" fmla="*/ 4985 h 6502"/>
                    <a:gd name="T62" fmla="*/ 365 w 2497"/>
                    <a:gd name="T63" fmla="*/ 4750 h 6502"/>
                    <a:gd name="T64" fmla="*/ 214 w 2497"/>
                    <a:gd name="T65" fmla="*/ 5084 h 6502"/>
                    <a:gd name="T66" fmla="*/ 69 w 2497"/>
                    <a:gd name="T67" fmla="*/ 5713 h 6502"/>
                    <a:gd name="T68" fmla="*/ 19 w 2497"/>
                    <a:gd name="T69" fmla="*/ 6025 h 6502"/>
                    <a:gd name="T70" fmla="*/ 0 w 2497"/>
                    <a:gd name="T71" fmla="*/ 6265 h 6502"/>
                    <a:gd name="T72" fmla="*/ 16 w 2497"/>
                    <a:gd name="T73" fmla="*/ 6426 h 6502"/>
                    <a:gd name="T74" fmla="*/ 44 w 2497"/>
                    <a:gd name="T75" fmla="*/ 6480 h 6502"/>
                    <a:gd name="T76" fmla="*/ 69 w 2497"/>
                    <a:gd name="T77" fmla="*/ 6499 h 6502"/>
                    <a:gd name="T78" fmla="*/ 131 w 2497"/>
                    <a:gd name="T79" fmla="*/ 6491 h 6502"/>
                    <a:gd name="T80" fmla="*/ 209 w 2497"/>
                    <a:gd name="T81" fmla="*/ 6433 h 6502"/>
                    <a:gd name="T82" fmla="*/ 321 w 2497"/>
                    <a:gd name="T83" fmla="*/ 6301 h 6502"/>
                    <a:gd name="T84" fmla="*/ 548 w 2497"/>
                    <a:gd name="T85" fmla="*/ 5942 h 6502"/>
                    <a:gd name="T86" fmla="*/ 814 w 2497"/>
                    <a:gd name="T87" fmla="*/ 5432 h 6502"/>
                    <a:gd name="T88" fmla="*/ 1105 w 2497"/>
                    <a:gd name="T89" fmla="*/ 4793 h 6502"/>
                    <a:gd name="T90" fmla="*/ 1412 w 2497"/>
                    <a:gd name="T91" fmla="*/ 4050 h 6502"/>
                    <a:gd name="T92" fmla="*/ 1657 w 2497"/>
                    <a:gd name="T93" fmla="*/ 3398 h 6502"/>
                    <a:gd name="T94" fmla="*/ 1939 w 2497"/>
                    <a:gd name="T95" fmla="*/ 2582 h 6502"/>
                    <a:gd name="T96" fmla="*/ 2170 w 2497"/>
                    <a:gd name="T97" fmla="*/ 1833 h 6502"/>
                    <a:gd name="T98" fmla="*/ 2344 w 2497"/>
                    <a:gd name="T99" fmla="*/ 1176 h 6502"/>
                    <a:gd name="T100" fmla="*/ 2456 w 2497"/>
                    <a:gd name="T101" fmla="*/ 640 h 6502"/>
                    <a:gd name="T102" fmla="*/ 2497 w 2497"/>
                    <a:gd name="T103" fmla="*/ 251 h 6502"/>
                    <a:gd name="T104" fmla="*/ 2490 w 2497"/>
                    <a:gd name="T105" fmla="*/ 119 h 6502"/>
                    <a:gd name="T106" fmla="*/ 2464 w 2497"/>
                    <a:gd name="T107" fmla="*/ 34 h 6502"/>
                    <a:gd name="T108" fmla="*/ 2428 w 2497"/>
                    <a:gd name="T109" fmla="*/ 3 h 6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97" h="6502">
                      <a:moveTo>
                        <a:pt x="2428" y="3"/>
                      </a:moveTo>
                      <a:lnTo>
                        <a:pt x="2428" y="3"/>
                      </a:lnTo>
                      <a:lnTo>
                        <a:pt x="2421" y="1"/>
                      </a:lnTo>
                      <a:lnTo>
                        <a:pt x="2413" y="0"/>
                      </a:lnTo>
                      <a:lnTo>
                        <a:pt x="2406" y="0"/>
                      </a:lnTo>
                      <a:lnTo>
                        <a:pt x="2397" y="0"/>
                      </a:lnTo>
                      <a:lnTo>
                        <a:pt x="2389" y="2"/>
                      </a:lnTo>
                      <a:lnTo>
                        <a:pt x="2380" y="4"/>
                      </a:lnTo>
                      <a:lnTo>
                        <a:pt x="2371" y="8"/>
                      </a:lnTo>
                      <a:lnTo>
                        <a:pt x="2361" y="12"/>
                      </a:lnTo>
                      <a:lnTo>
                        <a:pt x="2342" y="25"/>
                      </a:lnTo>
                      <a:lnTo>
                        <a:pt x="2321" y="40"/>
                      </a:lnTo>
                      <a:lnTo>
                        <a:pt x="2299" y="60"/>
                      </a:lnTo>
                      <a:lnTo>
                        <a:pt x="2275" y="83"/>
                      </a:lnTo>
                      <a:lnTo>
                        <a:pt x="2251" y="108"/>
                      </a:lnTo>
                      <a:lnTo>
                        <a:pt x="2227" y="138"/>
                      </a:lnTo>
                      <a:lnTo>
                        <a:pt x="2200" y="170"/>
                      </a:lnTo>
                      <a:lnTo>
                        <a:pt x="2173" y="207"/>
                      </a:lnTo>
                      <a:lnTo>
                        <a:pt x="2145" y="246"/>
                      </a:lnTo>
                      <a:lnTo>
                        <a:pt x="2116" y="289"/>
                      </a:lnTo>
                      <a:lnTo>
                        <a:pt x="2086" y="334"/>
                      </a:lnTo>
                      <a:lnTo>
                        <a:pt x="2055" y="382"/>
                      </a:lnTo>
                      <a:lnTo>
                        <a:pt x="2024" y="434"/>
                      </a:lnTo>
                      <a:lnTo>
                        <a:pt x="1991" y="488"/>
                      </a:lnTo>
                      <a:lnTo>
                        <a:pt x="1959" y="545"/>
                      </a:lnTo>
                      <a:lnTo>
                        <a:pt x="1924" y="605"/>
                      </a:lnTo>
                      <a:lnTo>
                        <a:pt x="1891" y="669"/>
                      </a:lnTo>
                      <a:lnTo>
                        <a:pt x="1855" y="734"/>
                      </a:lnTo>
                      <a:lnTo>
                        <a:pt x="1784" y="872"/>
                      </a:lnTo>
                      <a:lnTo>
                        <a:pt x="1709" y="1021"/>
                      </a:lnTo>
                      <a:lnTo>
                        <a:pt x="1633" y="1180"/>
                      </a:lnTo>
                      <a:lnTo>
                        <a:pt x="1554" y="1347"/>
                      </a:lnTo>
                      <a:lnTo>
                        <a:pt x="1475" y="1522"/>
                      </a:lnTo>
                      <a:lnTo>
                        <a:pt x="1475" y="1522"/>
                      </a:lnTo>
                      <a:lnTo>
                        <a:pt x="1514" y="1529"/>
                      </a:lnTo>
                      <a:lnTo>
                        <a:pt x="1514" y="1529"/>
                      </a:lnTo>
                      <a:lnTo>
                        <a:pt x="1553" y="1537"/>
                      </a:lnTo>
                      <a:lnTo>
                        <a:pt x="1592" y="1545"/>
                      </a:lnTo>
                      <a:lnTo>
                        <a:pt x="1592" y="1545"/>
                      </a:lnTo>
                      <a:lnTo>
                        <a:pt x="1628" y="1481"/>
                      </a:lnTo>
                      <a:lnTo>
                        <a:pt x="1663" y="1420"/>
                      </a:lnTo>
                      <a:lnTo>
                        <a:pt x="1696" y="1363"/>
                      </a:lnTo>
                      <a:lnTo>
                        <a:pt x="1729" y="1310"/>
                      </a:lnTo>
                      <a:lnTo>
                        <a:pt x="1760" y="1260"/>
                      </a:lnTo>
                      <a:lnTo>
                        <a:pt x="1792" y="1215"/>
                      </a:lnTo>
                      <a:lnTo>
                        <a:pt x="1820" y="1175"/>
                      </a:lnTo>
                      <a:lnTo>
                        <a:pt x="1849" y="1138"/>
                      </a:lnTo>
                      <a:lnTo>
                        <a:pt x="1876" y="1107"/>
                      </a:lnTo>
                      <a:lnTo>
                        <a:pt x="1902" y="1080"/>
                      </a:lnTo>
                      <a:lnTo>
                        <a:pt x="1926" y="1058"/>
                      </a:lnTo>
                      <a:lnTo>
                        <a:pt x="1938" y="1047"/>
                      </a:lnTo>
                      <a:lnTo>
                        <a:pt x="1948" y="1039"/>
                      </a:lnTo>
                      <a:lnTo>
                        <a:pt x="1960" y="1032"/>
                      </a:lnTo>
                      <a:lnTo>
                        <a:pt x="1970" y="1027"/>
                      </a:lnTo>
                      <a:lnTo>
                        <a:pt x="1980" y="1022"/>
                      </a:lnTo>
                      <a:lnTo>
                        <a:pt x="1990" y="1020"/>
                      </a:lnTo>
                      <a:lnTo>
                        <a:pt x="1999" y="1017"/>
                      </a:lnTo>
                      <a:lnTo>
                        <a:pt x="2008" y="1016"/>
                      </a:lnTo>
                      <a:lnTo>
                        <a:pt x="2016" y="1017"/>
                      </a:lnTo>
                      <a:lnTo>
                        <a:pt x="2024" y="1020"/>
                      </a:lnTo>
                      <a:lnTo>
                        <a:pt x="2024" y="1020"/>
                      </a:lnTo>
                      <a:lnTo>
                        <a:pt x="2031" y="1023"/>
                      </a:lnTo>
                      <a:lnTo>
                        <a:pt x="2039" y="1029"/>
                      </a:lnTo>
                      <a:lnTo>
                        <a:pt x="2045" y="1035"/>
                      </a:lnTo>
                      <a:lnTo>
                        <a:pt x="2052" y="1043"/>
                      </a:lnTo>
                      <a:lnTo>
                        <a:pt x="2056" y="1052"/>
                      </a:lnTo>
                      <a:lnTo>
                        <a:pt x="2062" y="1062"/>
                      </a:lnTo>
                      <a:lnTo>
                        <a:pt x="2066" y="1074"/>
                      </a:lnTo>
                      <a:lnTo>
                        <a:pt x="2070" y="1088"/>
                      </a:lnTo>
                      <a:lnTo>
                        <a:pt x="2074" y="1101"/>
                      </a:lnTo>
                      <a:lnTo>
                        <a:pt x="2076" y="1118"/>
                      </a:lnTo>
                      <a:lnTo>
                        <a:pt x="2079" y="1153"/>
                      </a:lnTo>
                      <a:lnTo>
                        <a:pt x="2082" y="1194"/>
                      </a:lnTo>
                      <a:lnTo>
                        <a:pt x="2082" y="1238"/>
                      </a:lnTo>
                      <a:lnTo>
                        <a:pt x="2078" y="1288"/>
                      </a:lnTo>
                      <a:lnTo>
                        <a:pt x="2075" y="1341"/>
                      </a:lnTo>
                      <a:lnTo>
                        <a:pt x="2068" y="1400"/>
                      </a:lnTo>
                      <a:lnTo>
                        <a:pt x="2060" y="1462"/>
                      </a:lnTo>
                      <a:lnTo>
                        <a:pt x="2049" y="1529"/>
                      </a:lnTo>
                      <a:lnTo>
                        <a:pt x="2037" y="1598"/>
                      </a:lnTo>
                      <a:lnTo>
                        <a:pt x="2023" y="1673"/>
                      </a:lnTo>
                      <a:lnTo>
                        <a:pt x="2007" y="1750"/>
                      </a:lnTo>
                      <a:lnTo>
                        <a:pt x="1990" y="1830"/>
                      </a:lnTo>
                      <a:lnTo>
                        <a:pt x="1970" y="1914"/>
                      </a:lnTo>
                      <a:lnTo>
                        <a:pt x="1948" y="2002"/>
                      </a:lnTo>
                      <a:lnTo>
                        <a:pt x="1925" y="2092"/>
                      </a:lnTo>
                      <a:lnTo>
                        <a:pt x="1901" y="2185"/>
                      </a:lnTo>
                      <a:lnTo>
                        <a:pt x="1874" y="2280"/>
                      </a:lnTo>
                      <a:lnTo>
                        <a:pt x="1847" y="2378"/>
                      </a:lnTo>
                      <a:lnTo>
                        <a:pt x="1817" y="2480"/>
                      </a:lnTo>
                      <a:lnTo>
                        <a:pt x="1786" y="2582"/>
                      </a:lnTo>
                      <a:lnTo>
                        <a:pt x="1754" y="2687"/>
                      </a:lnTo>
                      <a:lnTo>
                        <a:pt x="1720" y="2794"/>
                      </a:lnTo>
                      <a:lnTo>
                        <a:pt x="1684" y="2902"/>
                      </a:lnTo>
                      <a:lnTo>
                        <a:pt x="1648" y="3013"/>
                      </a:lnTo>
                      <a:lnTo>
                        <a:pt x="1609" y="3124"/>
                      </a:lnTo>
                      <a:lnTo>
                        <a:pt x="1569" y="3237"/>
                      </a:lnTo>
                      <a:lnTo>
                        <a:pt x="1528" y="3352"/>
                      </a:lnTo>
                      <a:lnTo>
                        <a:pt x="1528" y="3352"/>
                      </a:lnTo>
                      <a:lnTo>
                        <a:pt x="1486" y="3466"/>
                      </a:lnTo>
                      <a:lnTo>
                        <a:pt x="1444" y="3578"/>
                      </a:lnTo>
                      <a:lnTo>
                        <a:pt x="1401" y="3689"/>
                      </a:lnTo>
                      <a:lnTo>
                        <a:pt x="1359" y="3797"/>
                      </a:lnTo>
                      <a:lnTo>
                        <a:pt x="1317" y="3903"/>
                      </a:lnTo>
                      <a:lnTo>
                        <a:pt x="1275" y="4007"/>
                      </a:lnTo>
                      <a:lnTo>
                        <a:pt x="1232" y="4109"/>
                      </a:lnTo>
                      <a:lnTo>
                        <a:pt x="1189" y="4207"/>
                      </a:lnTo>
                      <a:lnTo>
                        <a:pt x="1148" y="4303"/>
                      </a:lnTo>
                      <a:lnTo>
                        <a:pt x="1107" y="4397"/>
                      </a:lnTo>
                      <a:lnTo>
                        <a:pt x="1065" y="4486"/>
                      </a:lnTo>
                      <a:lnTo>
                        <a:pt x="1024" y="4574"/>
                      </a:lnTo>
                      <a:lnTo>
                        <a:pt x="983" y="4658"/>
                      </a:lnTo>
                      <a:lnTo>
                        <a:pt x="944" y="4739"/>
                      </a:lnTo>
                      <a:lnTo>
                        <a:pt x="905" y="4816"/>
                      </a:lnTo>
                      <a:lnTo>
                        <a:pt x="867" y="4888"/>
                      </a:lnTo>
                      <a:lnTo>
                        <a:pt x="829" y="4958"/>
                      </a:lnTo>
                      <a:lnTo>
                        <a:pt x="793" y="5024"/>
                      </a:lnTo>
                      <a:lnTo>
                        <a:pt x="758" y="5085"/>
                      </a:lnTo>
                      <a:lnTo>
                        <a:pt x="723" y="5143"/>
                      </a:lnTo>
                      <a:lnTo>
                        <a:pt x="689" y="5196"/>
                      </a:lnTo>
                      <a:lnTo>
                        <a:pt x="656" y="5245"/>
                      </a:lnTo>
                      <a:lnTo>
                        <a:pt x="625" y="5289"/>
                      </a:lnTo>
                      <a:lnTo>
                        <a:pt x="595" y="5328"/>
                      </a:lnTo>
                      <a:lnTo>
                        <a:pt x="567" y="5363"/>
                      </a:lnTo>
                      <a:lnTo>
                        <a:pt x="540" y="5392"/>
                      </a:lnTo>
                      <a:lnTo>
                        <a:pt x="515" y="5417"/>
                      </a:lnTo>
                      <a:lnTo>
                        <a:pt x="502" y="5427"/>
                      </a:lnTo>
                      <a:lnTo>
                        <a:pt x="491" y="5436"/>
                      </a:lnTo>
                      <a:lnTo>
                        <a:pt x="479" y="5444"/>
                      </a:lnTo>
                      <a:lnTo>
                        <a:pt x="468" y="5450"/>
                      </a:lnTo>
                      <a:lnTo>
                        <a:pt x="457" y="5456"/>
                      </a:lnTo>
                      <a:lnTo>
                        <a:pt x="447" y="5459"/>
                      </a:lnTo>
                      <a:lnTo>
                        <a:pt x="438" y="5462"/>
                      </a:lnTo>
                      <a:lnTo>
                        <a:pt x="428" y="5462"/>
                      </a:lnTo>
                      <a:lnTo>
                        <a:pt x="419" y="5462"/>
                      </a:lnTo>
                      <a:lnTo>
                        <a:pt x="411" y="5459"/>
                      </a:lnTo>
                      <a:lnTo>
                        <a:pt x="411" y="5459"/>
                      </a:lnTo>
                      <a:lnTo>
                        <a:pt x="404" y="5456"/>
                      </a:lnTo>
                      <a:lnTo>
                        <a:pt x="397" y="5450"/>
                      </a:lnTo>
                      <a:lnTo>
                        <a:pt x="390" y="5444"/>
                      </a:lnTo>
                      <a:lnTo>
                        <a:pt x="385" y="5437"/>
                      </a:lnTo>
                      <a:lnTo>
                        <a:pt x="379" y="5428"/>
                      </a:lnTo>
                      <a:lnTo>
                        <a:pt x="374" y="5419"/>
                      </a:lnTo>
                      <a:lnTo>
                        <a:pt x="370" y="5407"/>
                      </a:lnTo>
                      <a:lnTo>
                        <a:pt x="366" y="5395"/>
                      </a:lnTo>
                      <a:lnTo>
                        <a:pt x="363" y="5382"/>
                      </a:lnTo>
                      <a:lnTo>
                        <a:pt x="361" y="5367"/>
                      </a:lnTo>
                      <a:lnTo>
                        <a:pt x="356" y="5334"/>
                      </a:lnTo>
                      <a:lnTo>
                        <a:pt x="354" y="5297"/>
                      </a:lnTo>
                      <a:lnTo>
                        <a:pt x="354" y="5255"/>
                      </a:lnTo>
                      <a:lnTo>
                        <a:pt x="356" y="5208"/>
                      </a:lnTo>
                      <a:lnTo>
                        <a:pt x="359" y="5159"/>
                      </a:lnTo>
                      <a:lnTo>
                        <a:pt x="364" y="5105"/>
                      </a:lnTo>
                      <a:lnTo>
                        <a:pt x="372" y="5046"/>
                      </a:lnTo>
                      <a:lnTo>
                        <a:pt x="381" y="4985"/>
                      </a:lnTo>
                      <a:lnTo>
                        <a:pt x="392" y="4919"/>
                      </a:lnTo>
                      <a:lnTo>
                        <a:pt x="404" y="4850"/>
                      </a:lnTo>
                      <a:lnTo>
                        <a:pt x="418" y="4778"/>
                      </a:lnTo>
                      <a:lnTo>
                        <a:pt x="418" y="4778"/>
                      </a:lnTo>
                      <a:lnTo>
                        <a:pt x="365" y="4750"/>
                      </a:lnTo>
                      <a:lnTo>
                        <a:pt x="339" y="4735"/>
                      </a:lnTo>
                      <a:lnTo>
                        <a:pt x="313" y="4720"/>
                      </a:lnTo>
                      <a:lnTo>
                        <a:pt x="313" y="4720"/>
                      </a:lnTo>
                      <a:lnTo>
                        <a:pt x="262" y="4905"/>
                      </a:lnTo>
                      <a:lnTo>
                        <a:pt x="214" y="5084"/>
                      </a:lnTo>
                      <a:lnTo>
                        <a:pt x="171" y="5254"/>
                      </a:lnTo>
                      <a:lnTo>
                        <a:pt x="133" y="5417"/>
                      </a:lnTo>
                      <a:lnTo>
                        <a:pt x="99" y="5569"/>
                      </a:lnTo>
                      <a:lnTo>
                        <a:pt x="83" y="5642"/>
                      </a:lnTo>
                      <a:lnTo>
                        <a:pt x="69" y="5713"/>
                      </a:lnTo>
                      <a:lnTo>
                        <a:pt x="57" y="5779"/>
                      </a:lnTo>
                      <a:lnTo>
                        <a:pt x="45" y="5845"/>
                      </a:lnTo>
                      <a:lnTo>
                        <a:pt x="36" y="5907"/>
                      </a:lnTo>
                      <a:lnTo>
                        <a:pt x="27" y="5967"/>
                      </a:lnTo>
                      <a:lnTo>
                        <a:pt x="19" y="6025"/>
                      </a:lnTo>
                      <a:lnTo>
                        <a:pt x="13" y="6079"/>
                      </a:lnTo>
                      <a:lnTo>
                        <a:pt x="7" y="6129"/>
                      </a:lnTo>
                      <a:lnTo>
                        <a:pt x="4" y="6178"/>
                      </a:lnTo>
                      <a:lnTo>
                        <a:pt x="1" y="6223"/>
                      </a:lnTo>
                      <a:lnTo>
                        <a:pt x="0" y="6265"/>
                      </a:lnTo>
                      <a:lnTo>
                        <a:pt x="1" y="6304"/>
                      </a:lnTo>
                      <a:lnTo>
                        <a:pt x="2" y="6339"/>
                      </a:lnTo>
                      <a:lnTo>
                        <a:pt x="6" y="6371"/>
                      </a:lnTo>
                      <a:lnTo>
                        <a:pt x="11" y="6401"/>
                      </a:lnTo>
                      <a:lnTo>
                        <a:pt x="16" y="6426"/>
                      </a:lnTo>
                      <a:lnTo>
                        <a:pt x="24" y="6448"/>
                      </a:lnTo>
                      <a:lnTo>
                        <a:pt x="29" y="6457"/>
                      </a:lnTo>
                      <a:lnTo>
                        <a:pt x="34" y="6466"/>
                      </a:lnTo>
                      <a:lnTo>
                        <a:pt x="38" y="6474"/>
                      </a:lnTo>
                      <a:lnTo>
                        <a:pt x="44" y="6480"/>
                      </a:lnTo>
                      <a:lnTo>
                        <a:pt x="50" y="6486"/>
                      </a:lnTo>
                      <a:lnTo>
                        <a:pt x="55" y="6492"/>
                      </a:lnTo>
                      <a:lnTo>
                        <a:pt x="62" y="6495"/>
                      </a:lnTo>
                      <a:lnTo>
                        <a:pt x="69" y="6499"/>
                      </a:lnTo>
                      <a:lnTo>
                        <a:pt x="69" y="6499"/>
                      </a:lnTo>
                      <a:lnTo>
                        <a:pt x="81" y="6501"/>
                      </a:lnTo>
                      <a:lnTo>
                        <a:pt x="92" y="6502"/>
                      </a:lnTo>
                      <a:lnTo>
                        <a:pt x="104" y="6500"/>
                      </a:lnTo>
                      <a:lnTo>
                        <a:pt x="118" y="6497"/>
                      </a:lnTo>
                      <a:lnTo>
                        <a:pt x="131" y="6491"/>
                      </a:lnTo>
                      <a:lnTo>
                        <a:pt x="145" y="6484"/>
                      </a:lnTo>
                      <a:lnTo>
                        <a:pt x="160" y="6474"/>
                      </a:lnTo>
                      <a:lnTo>
                        <a:pt x="175" y="6462"/>
                      </a:lnTo>
                      <a:lnTo>
                        <a:pt x="191" y="6449"/>
                      </a:lnTo>
                      <a:lnTo>
                        <a:pt x="209" y="6433"/>
                      </a:lnTo>
                      <a:lnTo>
                        <a:pt x="226" y="6416"/>
                      </a:lnTo>
                      <a:lnTo>
                        <a:pt x="244" y="6396"/>
                      </a:lnTo>
                      <a:lnTo>
                        <a:pt x="263" y="6376"/>
                      </a:lnTo>
                      <a:lnTo>
                        <a:pt x="281" y="6353"/>
                      </a:lnTo>
                      <a:lnTo>
                        <a:pt x="321" y="6301"/>
                      </a:lnTo>
                      <a:lnTo>
                        <a:pt x="363" y="6242"/>
                      </a:lnTo>
                      <a:lnTo>
                        <a:pt x="407" y="6178"/>
                      </a:lnTo>
                      <a:lnTo>
                        <a:pt x="451" y="6105"/>
                      </a:lnTo>
                      <a:lnTo>
                        <a:pt x="499" y="6027"/>
                      </a:lnTo>
                      <a:lnTo>
                        <a:pt x="548" y="5942"/>
                      </a:lnTo>
                      <a:lnTo>
                        <a:pt x="599" y="5851"/>
                      </a:lnTo>
                      <a:lnTo>
                        <a:pt x="651" y="5754"/>
                      </a:lnTo>
                      <a:lnTo>
                        <a:pt x="704" y="5653"/>
                      </a:lnTo>
                      <a:lnTo>
                        <a:pt x="758" y="5544"/>
                      </a:lnTo>
                      <a:lnTo>
                        <a:pt x="814" y="5432"/>
                      </a:lnTo>
                      <a:lnTo>
                        <a:pt x="871" y="5313"/>
                      </a:lnTo>
                      <a:lnTo>
                        <a:pt x="928" y="5190"/>
                      </a:lnTo>
                      <a:lnTo>
                        <a:pt x="987" y="5062"/>
                      </a:lnTo>
                      <a:lnTo>
                        <a:pt x="1046" y="4930"/>
                      </a:lnTo>
                      <a:lnTo>
                        <a:pt x="1105" y="4793"/>
                      </a:lnTo>
                      <a:lnTo>
                        <a:pt x="1166" y="4651"/>
                      </a:lnTo>
                      <a:lnTo>
                        <a:pt x="1226" y="4507"/>
                      </a:lnTo>
                      <a:lnTo>
                        <a:pt x="1288" y="4359"/>
                      </a:lnTo>
                      <a:lnTo>
                        <a:pt x="1349" y="4205"/>
                      </a:lnTo>
                      <a:lnTo>
                        <a:pt x="1412" y="4050"/>
                      </a:lnTo>
                      <a:lnTo>
                        <a:pt x="1473" y="3892"/>
                      </a:lnTo>
                      <a:lnTo>
                        <a:pt x="1535" y="3730"/>
                      </a:lnTo>
                      <a:lnTo>
                        <a:pt x="1596" y="3565"/>
                      </a:lnTo>
                      <a:lnTo>
                        <a:pt x="1657" y="3398"/>
                      </a:lnTo>
                      <a:lnTo>
                        <a:pt x="1657" y="3398"/>
                      </a:lnTo>
                      <a:lnTo>
                        <a:pt x="1717" y="3231"/>
                      </a:lnTo>
                      <a:lnTo>
                        <a:pt x="1775" y="3066"/>
                      </a:lnTo>
                      <a:lnTo>
                        <a:pt x="1832" y="2902"/>
                      </a:lnTo>
                      <a:lnTo>
                        <a:pt x="1887" y="2741"/>
                      </a:lnTo>
                      <a:lnTo>
                        <a:pt x="1939" y="2582"/>
                      </a:lnTo>
                      <a:lnTo>
                        <a:pt x="1990" y="2427"/>
                      </a:lnTo>
                      <a:lnTo>
                        <a:pt x="2038" y="2274"/>
                      </a:lnTo>
                      <a:lnTo>
                        <a:pt x="2084" y="2123"/>
                      </a:lnTo>
                      <a:lnTo>
                        <a:pt x="2128" y="1976"/>
                      </a:lnTo>
                      <a:lnTo>
                        <a:pt x="2170" y="1833"/>
                      </a:lnTo>
                      <a:lnTo>
                        <a:pt x="2209" y="1693"/>
                      </a:lnTo>
                      <a:lnTo>
                        <a:pt x="2247" y="1557"/>
                      </a:lnTo>
                      <a:lnTo>
                        <a:pt x="2282" y="1426"/>
                      </a:lnTo>
                      <a:lnTo>
                        <a:pt x="2314" y="1299"/>
                      </a:lnTo>
                      <a:lnTo>
                        <a:pt x="2344" y="1176"/>
                      </a:lnTo>
                      <a:lnTo>
                        <a:pt x="2372" y="1059"/>
                      </a:lnTo>
                      <a:lnTo>
                        <a:pt x="2397" y="946"/>
                      </a:lnTo>
                      <a:lnTo>
                        <a:pt x="2419" y="839"/>
                      </a:lnTo>
                      <a:lnTo>
                        <a:pt x="2439" y="736"/>
                      </a:lnTo>
                      <a:lnTo>
                        <a:pt x="2456" y="640"/>
                      </a:lnTo>
                      <a:lnTo>
                        <a:pt x="2470" y="550"/>
                      </a:lnTo>
                      <a:lnTo>
                        <a:pt x="2481" y="466"/>
                      </a:lnTo>
                      <a:lnTo>
                        <a:pt x="2489" y="388"/>
                      </a:lnTo>
                      <a:lnTo>
                        <a:pt x="2495" y="315"/>
                      </a:lnTo>
                      <a:lnTo>
                        <a:pt x="2497" y="251"/>
                      </a:lnTo>
                      <a:lnTo>
                        <a:pt x="2497" y="221"/>
                      </a:lnTo>
                      <a:lnTo>
                        <a:pt x="2497" y="193"/>
                      </a:lnTo>
                      <a:lnTo>
                        <a:pt x="2496" y="167"/>
                      </a:lnTo>
                      <a:lnTo>
                        <a:pt x="2494" y="142"/>
                      </a:lnTo>
                      <a:lnTo>
                        <a:pt x="2490" y="119"/>
                      </a:lnTo>
                      <a:lnTo>
                        <a:pt x="2487" y="99"/>
                      </a:lnTo>
                      <a:lnTo>
                        <a:pt x="2482" y="80"/>
                      </a:lnTo>
                      <a:lnTo>
                        <a:pt x="2478" y="63"/>
                      </a:lnTo>
                      <a:lnTo>
                        <a:pt x="2471" y="48"/>
                      </a:lnTo>
                      <a:lnTo>
                        <a:pt x="2464" y="34"/>
                      </a:lnTo>
                      <a:lnTo>
                        <a:pt x="2457" y="24"/>
                      </a:lnTo>
                      <a:lnTo>
                        <a:pt x="2448" y="15"/>
                      </a:lnTo>
                      <a:lnTo>
                        <a:pt x="2439" y="8"/>
                      </a:lnTo>
                      <a:lnTo>
                        <a:pt x="2428" y="3"/>
                      </a:lnTo>
                      <a:lnTo>
                        <a:pt x="2428"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371" name="그룹 370"/>
              <p:cNvGrpSpPr/>
              <p:nvPr userDrawn="1"/>
            </p:nvGrpSpPr>
            <p:grpSpPr>
              <a:xfrm>
                <a:off x="3640969" y="2368853"/>
                <a:ext cx="345338" cy="345338"/>
                <a:chOff x="2844800" y="4078288"/>
                <a:chExt cx="1049338" cy="1049338"/>
              </a:xfrm>
            </p:grpSpPr>
            <p:sp>
              <p:nvSpPr>
                <p:cNvPr id="372" name="Freeform 312"/>
                <p:cNvSpPr>
                  <a:spLocks/>
                </p:cNvSpPr>
                <p:nvPr/>
              </p:nvSpPr>
              <p:spPr bwMode="auto">
                <a:xfrm>
                  <a:off x="2844800" y="4078288"/>
                  <a:ext cx="1049338" cy="1049338"/>
                </a:xfrm>
                <a:custGeom>
                  <a:avLst/>
                  <a:gdLst>
                    <a:gd name="T0" fmla="*/ 4513 w 4623"/>
                    <a:gd name="T1" fmla="*/ 1615 h 4624"/>
                    <a:gd name="T2" fmla="*/ 4377 w 4623"/>
                    <a:gd name="T3" fmla="*/ 1279 h 4624"/>
                    <a:gd name="T4" fmla="*/ 4192 w 4623"/>
                    <a:gd name="T5" fmla="*/ 972 h 4624"/>
                    <a:gd name="T6" fmla="*/ 4012 w 4623"/>
                    <a:gd name="T7" fmla="*/ 751 h 4624"/>
                    <a:gd name="T8" fmla="*/ 3939 w 4623"/>
                    <a:gd name="T9" fmla="*/ 675 h 4624"/>
                    <a:gd name="T10" fmla="*/ 3889 w 4623"/>
                    <a:gd name="T11" fmla="*/ 625 h 4624"/>
                    <a:gd name="T12" fmla="*/ 3660 w 4623"/>
                    <a:gd name="T13" fmla="*/ 438 h 4624"/>
                    <a:gd name="T14" fmla="*/ 3490 w 4623"/>
                    <a:gd name="T15" fmla="*/ 325 h 4624"/>
                    <a:gd name="T16" fmla="*/ 3355 w 4623"/>
                    <a:gd name="T17" fmla="*/ 251 h 4624"/>
                    <a:gd name="T18" fmla="*/ 3188 w 4623"/>
                    <a:gd name="T19" fmla="*/ 175 h 4624"/>
                    <a:gd name="T20" fmla="*/ 2900 w 4623"/>
                    <a:gd name="T21" fmla="*/ 78 h 4624"/>
                    <a:gd name="T22" fmla="*/ 2756 w 4623"/>
                    <a:gd name="T23" fmla="*/ 45 h 4624"/>
                    <a:gd name="T24" fmla="*/ 2568 w 4623"/>
                    <a:gd name="T25" fmla="*/ 15 h 4624"/>
                    <a:gd name="T26" fmla="*/ 2312 w 4623"/>
                    <a:gd name="T27" fmla="*/ 0 h 4624"/>
                    <a:gd name="T28" fmla="*/ 2075 w 4623"/>
                    <a:gd name="T29" fmla="*/ 12 h 4624"/>
                    <a:gd name="T30" fmla="*/ 1789 w 4623"/>
                    <a:gd name="T31" fmla="*/ 59 h 4624"/>
                    <a:gd name="T32" fmla="*/ 1516 w 4623"/>
                    <a:gd name="T33" fmla="*/ 140 h 4624"/>
                    <a:gd name="T34" fmla="*/ 1260 w 4623"/>
                    <a:gd name="T35" fmla="*/ 253 h 4624"/>
                    <a:gd name="T36" fmla="*/ 1019 w 4623"/>
                    <a:gd name="T37" fmla="*/ 395 h 4624"/>
                    <a:gd name="T38" fmla="*/ 799 w 4623"/>
                    <a:gd name="T39" fmla="*/ 564 h 4624"/>
                    <a:gd name="T40" fmla="*/ 600 w 4623"/>
                    <a:gd name="T41" fmla="*/ 758 h 4624"/>
                    <a:gd name="T42" fmla="*/ 426 w 4623"/>
                    <a:gd name="T43" fmla="*/ 973 h 4624"/>
                    <a:gd name="T44" fmla="*/ 279 w 4623"/>
                    <a:gd name="T45" fmla="*/ 1210 h 4624"/>
                    <a:gd name="T46" fmla="*/ 160 w 4623"/>
                    <a:gd name="T47" fmla="*/ 1465 h 4624"/>
                    <a:gd name="T48" fmla="*/ 73 w 4623"/>
                    <a:gd name="T49" fmla="*/ 1734 h 4624"/>
                    <a:gd name="T50" fmla="*/ 19 w 4623"/>
                    <a:gd name="T51" fmla="*/ 2017 h 4624"/>
                    <a:gd name="T52" fmla="*/ 0 w 4623"/>
                    <a:gd name="T53" fmla="*/ 2312 h 4624"/>
                    <a:gd name="T54" fmla="*/ 12 w 4623"/>
                    <a:gd name="T55" fmla="*/ 2547 h 4624"/>
                    <a:gd name="T56" fmla="*/ 59 w 4623"/>
                    <a:gd name="T57" fmla="*/ 2831 h 4624"/>
                    <a:gd name="T58" fmla="*/ 140 w 4623"/>
                    <a:gd name="T59" fmla="*/ 3103 h 4624"/>
                    <a:gd name="T60" fmla="*/ 251 w 4623"/>
                    <a:gd name="T61" fmla="*/ 3360 h 4624"/>
                    <a:gd name="T62" fmla="*/ 392 w 4623"/>
                    <a:gd name="T63" fmla="*/ 3599 h 4624"/>
                    <a:gd name="T64" fmla="*/ 560 w 4623"/>
                    <a:gd name="T65" fmla="*/ 3819 h 4624"/>
                    <a:gd name="T66" fmla="*/ 712 w 4623"/>
                    <a:gd name="T67" fmla="*/ 3980 h 4624"/>
                    <a:gd name="T68" fmla="*/ 924 w 4623"/>
                    <a:gd name="T69" fmla="*/ 4160 h 4624"/>
                    <a:gd name="T70" fmla="*/ 1157 w 4623"/>
                    <a:gd name="T71" fmla="*/ 4314 h 4624"/>
                    <a:gd name="T72" fmla="*/ 1408 w 4623"/>
                    <a:gd name="T73" fmla="*/ 4441 h 4624"/>
                    <a:gd name="T74" fmla="*/ 1676 w 4623"/>
                    <a:gd name="T75" fmla="*/ 4535 h 4624"/>
                    <a:gd name="T76" fmla="*/ 1959 w 4623"/>
                    <a:gd name="T77" fmla="*/ 4596 h 4624"/>
                    <a:gd name="T78" fmla="*/ 2252 w 4623"/>
                    <a:gd name="T79" fmla="*/ 4623 h 4624"/>
                    <a:gd name="T80" fmla="*/ 2489 w 4623"/>
                    <a:gd name="T81" fmla="*/ 4617 h 4624"/>
                    <a:gd name="T82" fmla="*/ 2777 w 4623"/>
                    <a:gd name="T83" fmla="*/ 4577 h 4624"/>
                    <a:gd name="T84" fmla="*/ 3053 w 4623"/>
                    <a:gd name="T85" fmla="*/ 4502 h 4624"/>
                    <a:gd name="T86" fmla="*/ 3314 w 4623"/>
                    <a:gd name="T87" fmla="*/ 4396 h 4624"/>
                    <a:gd name="T88" fmla="*/ 3558 w 4623"/>
                    <a:gd name="T89" fmla="*/ 4259 h 4624"/>
                    <a:gd name="T90" fmla="*/ 3782 w 4623"/>
                    <a:gd name="T91" fmla="*/ 4095 h 4624"/>
                    <a:gd name="T92" fmla="*/ 3985 w 4623"/>
                    <a:gd name="T93" fmla="*/ 3906 h 4624"/>
                    <a:gd name="T94" fmla="*/ 4164 w 4623"/>
                    <a:gd name="T95" fmla="*/ 3695 h 4624"/>
                    <a:gd name="T96" fmla="*/ 4316 w 4623"/>
                    <a:gd name="T97" fmla="*/ 3462 h 4624"/>
                    <a:gd name="T98" fmla="*/ 4442 w 4623"/>
                    <a:gd name="T99" fmla="*/ 3211 h 4624"/>
                    <a:gd name="T100" fmla="*/ 4535 w 4623"/>
                    <a:gd name="T101" fmla="*/ 2944 h 4624"/>
                    <a:gd name="T102" fmla="*/ 4596 w 4623"/>
                    <a:gd name="T103" fmla="*/ 2664 h 4624"/>
                    <a:gd name="T104" fmla="*/ 4623 w 4623"/>
                    <a:gd name="T105" fmla="*/ 2372 h 4624"/>
                    <a:gd name="T106" fmla="*/ 4612 w 4623"/>
                    <a:gd name="T107" fmla="*/ 2099 h 4624"/>
                    <a:gd name="T108" fmla="*/ 4554 w 4623"/>
                    <a:gd name="T109" fmla="*/ 1757 h 4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23" h="4624">
                      <a:moveTo>
                        <a:pt x="4554" y="1757"/>
                      </a:moveTo>
                      <a:lnTo>
                        <a:pt x="4554" y="1757"/>
                      </a:lnTo>
                      <a:lnTo>
                        <a:pt x="4554" y="1757"/>
                      </a:lnTo>
                      <a:lnTo>
                        <a:pt x="4534" y="1686"/>
                      </a:lnTo>
                      <a:lnTo>
                        <a:pt x="4513" y="1615"/>
                      </a:lnTo>
                      <a:lnTo>
                        <a:pt x="4490" y="1546"/>
                      </a:lnTo>
                      <a:lnTo>
                        <a:pt x="4465" y="1478"/>
                      </a:lnTo>
                      <a:lnTo>
                        <a:pt x="4438" y="1410"/>
                      </a:lnTo>
                      <a:lnTo>
                        <a:pt x="4408" y="1345"/>
                      </a:lnTo>
                      <a:lnTo>
                        <a:pt x="4377" y="1279"/>
                      </a:lnTo>
                      <a:lnTo>
                        <a:pt x="4344" y="1216"/>
                      </a:lnTo>
                      <a:lnTo>
                        <a:pt x="4309" y="1153"/>
                      </a:lnTo>
                      <a:lnTo>
                        <a:pt x="4271" y="1091"/>
                      </a:lnTo>
                      <a:lnTo>
                        <a:pt x="4233" y="1032"/>
                      </a:lnTo>
                      <a:lnTo>
                        <a:pt x="4192" y="972"/>
                      </a:lnTo>
                      <a:lnTo>
                        <a:pt x="4151" y="914"/>
                      </a:lnTo>
                      <a:lnTo>
                        <a:pt x="4106" y="859"/>
                      </a:lnTo>
                      <a:lnTo>
                        <a:pt x="4061" y="804"/>
                      </a:lnTo>
                      <a:lnTo>
                        <a:pt x="4012" y="751"/>
                      </a:lnTo>
                      <a:lnTo>
                        <a:pt x="4012" y="751"/>
                      </a:lnTo>
                      <a:lnTo>
                        <a:pt x="4004" y="740"/>
                      </a:lnTo>
                      <a:lnTo>
                        <a:pt x="4004" y="740"/>
                      </a:lnTo>
                      <a:lnTo>
                        <a:pt x="3971" y="707"/>
                      </a:lnTo>
                      <a:lnTo>
                        <a:pt x="3939" y="675"/>
                      </a:lnTo>
                      <a:lnTo>
                        <a:pt x="3939" y="675"/>
                      </a:lnTo>
                      <a:lnTo>
                        <a:pt x="3916" y="652"/>
                      </a:lnTo>
                      <a:lnTo>
                        <a:pt x="3893" y="629"/>
                      </a:lnTo>
                      <a:lnTo>
                        <a:pt x="3893" y="629"/>
                      </a:lnTo>
                      <a:lnTo>
                        <a:pt x="3889" y="625"/>
                      </a:lnTo>
                      <a:lnTo>
                        <a:pt x="3889" y="625"/>
                      </a:lnTo>
                      <a:lnTo>
                        <a:pt x="3845" y="586"/>
                      </a:lnTo>
                      <a:lnTo>
                        <a:pt x="3801" y="547"/>
                      </a:lnTo>
                      <a:lnTo>
                        <a:pt x="3755" y="509"/>
                      </a:lnTo>
                      <a:lnTo>
                        <a:pt x="3708" y="472"/>
                      </a:lnTo>
                      <a:lnTo>
                        <a:pt x="3660" y="438"/>
                      </a:lnTo>
                      <a:lnTo>
                        <a:pt x="3612" y="403"/>
                      </a:lnTo>
                      <a:lnTo>
                        <a:pt x="3562" y="370"/>
                      </a:lnTo>
                      <a:lnTo>
                        <a:pt x="3512" y="339"/>
                      </a:lnTo>
                      <a:lnTo>
                        <a:pt x="3512" y="339"/>
                      </a:lnTo>
                      <a:lnTo>
                        <a:pt x="3490" y="325"/>
                      </a:lnTo>
                      <a:lnTo>
                        <a:pt x="3490" y="325"/>
                      </a:lnTo>
                      <a:lnTo>
                        <a:pt x="3423" y="287"/>
                      </a:lnTo>
                      <a:lnTo>
                        <a:pt x="3388" y="268"/>
                      </a:lnTo>
                      <a:lnTo>
                        <a:pt x="3355" y="251"/>
                      </a:lnTo>
                      <a:lnTo>
                        <a:pt x="3355" y="251"/>
                      </a:lnTo>
                      <a:lnTo>
                        <a:pt x="3352" y="249"/>
                      </a:lnTo>
                      <a:lnTo>
                        <a:pt x="3352" y="249"/>
                      </a:lnTo>
                      <a:lnTo>
                        <a:pt x="3297" y="222"/>
                      </a:lnTo>
                      <a:lnTo>
                        <a:pt x="3243" y="198"/>
                      </a:lnTo>
                      <a:lnTo>
                        <a:pt x="3188" y="175"/>
                      </a:lnTo>
                      <a:lnTo>
                        <a:pt x="3132" y="152"/>
                      </a:lnTo>
                      <a:lnTo>
                        <a:pt x="3075" y="132"/>
                      </a:lnTo>
                      <a:lnTo>
                        <a:pt x="3018" y="113"/>
                      </a:lnTo>
                      <a:lnTo>
                        <a:pt x="2959" y="94"/>
                      </a:lnTo>
                      <a:lnTo>
                        <a:pt x="2900" y="78"/>
                      </a:lnTo>
                      <a:lnTo>
                        <a:pt x="2900" y="78"/>
                      </a:lnTo>
                      <a:lnTo>
                        <a:pt x="2869" y="70"/>
                      </a:lnTo>
                      <a:lnTo>
                        <a:pt x="2869" y="70"/>
                      </a:lnTo>
                      <a:lnTo>
                        <a:pt x="2794" y="53"/>
                      </a:lnTo>
                      <a:lnTo>
                        <a:pt x="2756" y="45"/>
                      </a:lnTo>
                      <a:lnTo>
                        <a:pt x="2718" y="38"/>
                      </a:lnTo>
                      <a:lnTo>
                        <a:pt x="2718" y="38"/>
                      </a:lnTo>
                      <a:lnTo>
                        <a:pt x="2669" y="30"/>
                      </a:lnTo>
                      <a:lnTo>
                        <a:pt x="2618" y="22"/>
                      </a:lnTo>
                      <a:lnTo>
                        <a:pt x="2568" y="15"/>
                      </a:lnTo>
                      <a:lnTo>
                        <a:pt x="2517" y="10"/>
                      </a:lnTo>
                      <a:lnTo>
                        <a:pt x="2466" y="6"/>
                      </a:lnTo>
                      <a:lnTo>
                        <a:pt x="2416" y="2"/>
                      </a:lnTo>
                      <a:lnTo>
                        <a:pt x="2364" y="1"/>
                      </a:lnTo>
                      <a:lnTo>
                        <a:pt x="2312" y="0"/>
                      </a:lnTo>
                      <a:lnTo>
                        <a:pt x="2312" y="0"/>
                      </a:lnTo>
                      <a:lnTo>
                        <a:pt x="2252" y="1"/>
                      </a:lnTo>
                      <a:lnTo>
                        <a:pt x="2192" y="3"/>
                      </a:lnTo>
                      <a:lnTo>
                        <a:pt x="2134" y="7"/>
                      </a:lnTo>
                      <a:lnTo>
                        <a:pt x="2075" y="12"/>
                      </a:lnTo>
                      <a:lnTo>
                        <a:pt x="2017" y="18"/>
                      </a:lnTo>
                      <a:lnTo>
                        <a:pt x="1960" y="27"/>
                      </a:lnTo>
                      <a:lnTo>
                        <a:pt x="1902" y="36"/>
                      </a:lnTo>
                      <a:lnTo>
                        <a:pt x="1846" y="47"/>
                      </a:lnTo>
                      <a:lnTo>
                        <a:pt x="1789" y="59"/>
                      </a:lnTo>
                      <a:lnTo>
                        <a:pt x="1734" y="73"/>
                      </a:lnTo>
                      <a:lnTo>
                        <a:pt x="1679" y="88"/>
                      </a:lnTo>
                      <a:lnTo>
                        <a:pt x="1625" y="104"/>
                      </a:lnTo>
                      <a:lnTo>
                        <a:pt x="1571" y="121"/>
                      </a:lnTo>
                      <a:lnTo>
                        <a:pt x="1516" y="140"/>
                      </a:lnTo>
                      <a:lnTo>
                        <a:pt x="1464" y="160"/>
                      </a:lnTo>
                      <a:lnTo>
                        <a:pt x="1412" y="182"/>
                      </a:lnTo>
                      <a:lnTo>
                        <a:pt x="1360" y="204"/>
                      </a:lnTo>
                      <a:lnTo>
                        <a:pt x="1309" y="228"/>
                      </a:lnTo>
                      <a:lnTo>
                        <a:pt x="1260" y="253"/>
                      </a:lnTo>
                      <a:lnTo>
                        <a:pt x="1210" y="279"/>
                      </a:lnTo>
                      <a:lnTo>
                        <a:pt x="1161" y="306"/>
                      </a:lnTo>
                      <a:lnTo>
                        <a:pt x="1112" y="335"/>
                      </a:lnTo>
                      <a:lnTo>
                        <a:pt x="1065" y="364"/>
                      </a:lnTo>
                      <a:lnTo>
                        <a:pt x="1019" y="395"/>
                      </a:lnTo>
                      <a:lnTo>
                        <a:pt x="973" y="426"/>
                      </a:lnTo>
                      <a:lnTo>
                        <a:pt x="928" y="459"/>
                      </a:lnTo>
                      <a:lnTo>
                        <a:pt x="884" y="493"/>
                      </a:lnTo>
                      <a:lnTo>
                        <a:pt x="841" y="527"/>
                      </a:lnTo>
                      <a:lnTo>
                        <a:pt x="799" y="564"/>
                      </a:lnTo>
                      <a:lnTo>
                        <a:pt x="758" y="601"/>
                      </a:lnTo>
                      <a:lnTo>
                        <a:pt x="716" y="638"/>
                      </a:lnTo>
                      <a:lnTo>
                        <a:pt x="677" y="677"/>
                      </a:lnTo>
                      <a:lnTo>
                        <a:pt x="638" y="717"/>
                      </a:lnTo>
                      <a:lnTo>
                        <a:pt x="600" y="758"/>
                      </a:lnTo>
                      <a:lnTo>
                        <a:pt x="563" y="799"/>
                      </a:lnTo>
                      <a:lnTo>
                        <a:pt x="528" y="842"/>
                      </a:lnTo>
                      <a:lnTo>
                        <a:pt x="493" y="884"/>
                      </a:lnTo>
                      <a:lnTo>
                        <a:pt x="460" y="928"/>
                      </a:lnTo>
                      <a:lnTo>
                        <a:pt x="426" y="973"/>
                      </a:lnTo>
                      <a:lnTo>
                        <a:pt x="395" y="1019"/>
                      </a:lnTo>
                      <a:lnTo>
                        <a:pt x="364" y="1066"/>
                      </a:lnTo>
                      <a:lnTo>
                        <a:pt x="334" y="1113"/>
                      </a:lnTo>
                      <a:lnTo>
                        <a:pt x="306" y="1161"/>
                      </a:lnTo>
                      <a:lnTo>
                        <a:pt x="279" y="1210"/>
                      </a:lnTo>
                      <a:lnTo>
                        <a:pt x="252" y="1260"/>
                      </a:lnTo>
                      <a:lnTo>
                        <a:pt x="228" y="1309"/>
                      </a:lnTo>
                      <a:lnTo>
                        <a:pt x="204" y="1360"/>
                      </a:lnTo>
                      <a:lnTo>
                        <a:pt x="182" y="1412"/>
                      </a:lnTo>
                      <a:lnTo>
                        <a:pt x="160" y="1465"/>
                      </a:lnTo>
                      <a:lnTo>
                        <a:pt x="141" y="1516"/>
                      </a:lnTo>
                      <a:lnTo>
                        <a:pt x="121" y="1570"/>
                      </a:lnTo>
                      <a:lnTo>
                        <a:pt x="104" y="1625"/>
                      </a:lnTo>
                      <a:lnTo>
                        <a:pt x="88" y="1679"/>
                      </a:lnTo>
                      <a:lnTo>
                        <a:pt x="73" y="1734"/>
                      </a:lnTo>
                      <a:lnTo>
                        <a:pt x="59" y="1789"/>
                      </a:lnTo>
                      <a:lnTo>
                        <a:pt x="47" y="1846"/>
                      </a:lnTo>
                      <a:lnTo>
                        <a:pt x="36" y="1902"/>
                      </a:lnTo>
                      <a:lnTo>
                        <a:pt x="27" y="1960"/>
                      </a:lnTo>
                      <a:lnTo>
                        <a:pt x="19" y="2017"/>
                      </a:lnTo>
                      <a:lnTo>
                        <a:pt x="12" y="2076"/>
                      </a:lnTo>
                      <a:lnTo>
                        <a:pt x="7" y="2133"/>
                      </a:lnTo>
                      <a:lnTo>
                        <a:pt x="3" y="2192"/>
                      </a:lnTo>
                      <a:lnTo>
                        <a:pt x="0" y="2252"/>
                      </a:lnTo>
                      <a:lnTo>
                        <a:pt x="0" y="2312"/>
                      </a:lnTo>
                      <a:lnTo>
                        <a:pt x="0" y="2312"/>
                      </a:lnTo>
                      <a:lnTo>
                        <a:pt x="0" y="2371"/>
                      </a:lnTo>
                      <a:lnTo>
                        <a:pt x="3" y="2430"/>
                      </a:lnTo>
                      <a:lnTo>
                        <a:pt x="7" y="2489"/>
                      </a:lnTo>
                      <a:lnTo>
                        <a:pt x="12" y="2547"/>
                      </a:lnTo>
                      <a:lnTo>
                        <a:pt x="19" y="2604"/>
                      </a:lnTo>
                      <a:lnTo>
                        <a:pt x="27" y="2662"/>
                      </a:lnTo>
                      <a:lnTo>
                        <a:pt x="36" y="2719"/>
                      </a:lnTo>
                      <a:lnTo>
                        <a:pt x="46" y="2776"/>
                      </a:lnTo>
                      <a:lnTo>
                        <a:pt x="59" y="2831"/>
                      </a:lnTo>
                      <a:lnTo>
                        <a:pt x="72" y="2888"/>
                      </a:lnTo>
                      <a:lnTo>
                        <a:pt x="87" y="2942"/>
                      </a:lnTo>
                      <a:lnTo>
                        <a:pt x="103" y="2996"/>
                      </a:lnTo>
                      <a:lnTo>
                        <a:pt x="120" y="3050"/>
                      </a:lnTo>
                      <a:lnTo>
                        <a:pt x="140" y="3103"/>
                      </a:lnTo>
                      <a:lnTo>
                        <a:pt x="159" y="3156"/>
                      </a:lnTo>
                      <a:lnTo>
                        <a:pt x="180" y="3208"/>
                      </a:lnTo>
                      <a:lnTo>
                        <a:pt x="203" y="3259"/>
                      </a:lnTo>
                      <a:lnTo>
                        <a:pt x="226" y="3310"/>
                      </a:lnTo>
                      <a:lnTo>
                        <a:pt x="251" y="3360"/>
                      </a:lnTo>
                      <a:lnTo>
                        <a:pt x="277" y="3409"/>
                      </a:lnTo>
                      <a:lnTo>
                        <a:pt x="304" y="3457"/>
                      </a:lnTo>
                      <a:lnTo>
                        <a:pt x="332" y="3506"/>
                      </a:lnTo>
                      <a:lnTo>
                        <a:pt x="362" y="3553"/>
                      </a:lnTo>
                      <a:lnTo>
                        <a:pt x="392" y="3599"/>
                      </a:lnTo>
                      <a:lnTo>
                        <a:pt x="423" y="3645"/>
                      </a:lnTo>
                      <a:lnTo>
                        <a:pt x="456" y="3690"/>
                      </a:lnTo>
                      <a:lnTo>
                        <a:pt x="490" y="3734"/>
                      </a:lnTo>
                      <a:lnTo>
                        <a:pt x="524" y="3776"/>
                      </a:lnTo>
                      <a:lnTo>
                        <a:pt x="560" y="3819"/>
                      </a:lnTo>
                      <a:lnTo>
                        <a:pt x="597" y="3860"/>
                      </a:lnTo>
                      <a:lnTo>
                        <a:pt x="633" y="3901"/>
                      </a:lnTo>
                      <a:lnTo>
                        <a:pt x="671" y="3941"/>
                      </a:lnTo>
                      <a:lnTo>
                        <a:pt x="671" y="3941"/>
                      </a:lnTo>
                      <a:lnTo>
                        <a:pt x="712" y="3980"/>
                      </a:lnTo>
                      <a:lnTo>
                        <a:pt x="752" y="4018"/>
                      </a:lnTo>
                      <a:lnTo>
                        <a:pt x="793" y="4055"/>
                      </a:lnTo>
                      <a:lnTo>
                        <a:pt x="836" y="4091"/>
                      </a:lnTo>
                      <a:lnTo>
                        <a:pt x="880" y="4126"/>
                      </a:lnTo>
                      <a:lnTo>
                        <a:pt x="924" y="4160"/>
                      </a:lnTo>
                      <a:lnTo>
                        <a:pt x="968" y="4193"/>
                      </a:lnTo>
                      <a:lnTo>
                        <a:pt x="1015" y="4225"/>
                      </a:lnTo>
                      <a:lnTo>
                        <a:pt x="1062" y="4256"/>
                      </a:lnTo>
                      <a:lnTo>
                        <a:pt x="1109" y="4286"/>
                      </a:lnTo>
                      <a:lnTo>
                        <a:pt x="1157" y="4314"/>
                      </a:lnTo>
                      <a:lnTo>
                        <a:pt x="1206" y="4342"/>
                      </a:lnTo>
                      <a:lnTo>
                        <a:pt x="1255" y="4368"/>
                      </a:lnTo>
                      <a:lnTo>
                        <a:pt x="1306" y="4394"/>
                      </a:lnTo>
                      <a:lnTo>
                        <a:pt x="1356" y="4418"/>
                      </a:lnTo>
                      <a:lnTo>
                        <a:pt x="1408" y="4441"/>
                      </a:lnTo>
                      <a:lnTo>
                        <a:pt x="1461" y="4461"/>
                      </a:lnTo>
                      <a:lnTo>
                        <a:pt x="1514" y="4482"/>
                      </a:lnTo>
                      <a:lnTo>
                        <a:pt x="1567" y="4501"/>
                      </a:lnTo>
                      <a:lnTo>
                        <a:pt x="1621" y="4519"/>
                      </a:lnTo>
                      <a:lnTo>
                        <a:pt x="1676" y="4535"/>
                      </a:lnTo>
                      <a:lnTo>
                        <a:pt x="1732" y="4550"/>
                      </a:lnTo>
                      <a:lnTo>
                        <a:pt x="1787" y="4564"/>
                      </a:lnTo>
                      <a:lnTo>
                        <a:pt x="1843" y="4577"/>
                      </a:lnTo>
                      <a:lnTo>
                        <a:pt x="1901" y="4587"/>
                      </a:lnTo>
                      <a:lnTo>
                        <a:pt x="1959" y="4596"/>
                      </a:lnTo>
                      <a:lnTo>
                        <a:pt x="2016" y="4604"/>
                      </a:lnTo>
                      <a:lnTo>
                        <a:pt x="2074" y="4611"/>
                      </a:lnTo>
                      <a:lnTo>
                        <a:pt x="2134" y="4617"/>
                      </a:lnTo>
                      <a:lnTo>
                        <a:pt x="2192" y="4620"/>
                      </a:lnTo>
                      <a:lnTo>
                        <a:pt x="2252" y="4623"/>
                      </a:lnTo>
                      <a:lnTo>
                        <a:pt x="2312" y="4624"/>
                      </a:lnTo>
                      <a:lnTo>
                        <a:pt x="2312" y="4624"/>
                      </a:lnTo>
                      <a:lnTo>
                        <a:pt x="2371" y="4623"/>
                      </a:lnTo>
                      <a:lnTo>
                        <a:pt x="2431" y="4620"/>
                      </a:lnTo>
                      <a:lnTo>
                        <a:pt x="2489" y="4617"/>
                      </a:lnTo>
                      <a:lnTo>
                        <a:pt x="2548" y="4611"/>
                      </a:lnTo>
                      <a:lnTo>
                        <a:pt x="2606" y="4605"/>
                      </a:lnTo>
                      <a:lnTo>
                        <a:pt x="2663" y="4597"/>
                      </a:lnTo>
                      <a:lnTo>
                        <a:pt x="2721" y="4587"/>
                      </a:lnTo>
                      <a:lnTo>
                        <a:pt x="2777" y="4577"/>
                      </a:lnTo>
                      <a:lnTo>
                        <a:pt x="2834" y="4564"/>
                      </a:lnTo>
                      <a:lnTo>
                        <a:pt x="2889" y="4550"/>
                      </a:lnTo>
                      <a:lnTo>
                        <a:pt x="2944" y="4536"/>
                      </a:lnTo>
                      <a:lnTo>
                        <a:pt x="2999" y="4519"/>
                      </a:lnTo>
                      <a:lnTo>
                        <a:pt x="3053" y="4502"/>
                      </a:lnTo>
                      <a:lnTo>
                        <a:pt x="3106" y="4483"/>
                      </a:lnTo>
                      <a:lnTo>
                        <a:pt x="3159" y="4463"/>
                      </a:lnTo>
                      <a:lnTo>
                        <a:pt x="3211" y="4442"/>
                      </a:lnTo>
                      <a:lnTo>
                        <a:pt x="3263" y="4419"/>
                      </a:lnTo>
                      <a:lnTo>
                        <a:pt x="3314" y="4396"/>
                      </a:lnTo>
                      <a:lnTo>
                        <a:pt x="3364" y="4370"/>
                      </a:lnTo>
                      <a:lnTo>
                        <a:pt x="3414" y="4344"/>
                      </a:lnTo>
                      <a:lnTo>
                        <a:pt x="3462" y="4318"/>
                      </a:lnTo>
                      <a:lnTo>
                        <a:pt x="3510" y="4289"/>
                      </a:lnTo>
                      <a:lnTo>
                        <a:pt x="3558" y="4259"/>
                      </a:lnTo>
                      <a:lnTo>
                        <a:pt x="3604" y="4229"/>
                      </a:lnTo>
                      <a:lnTo>
                        <a:pt x="3650" y="4197"/>
                      </a:lnTo>
                      <a:lnTo>
                        <a:pt x="3695" y="4164"/>
                      </a:lnTo>
                      <a:lnTo>
                        <a:pt x="3738" y="4130"/>
                      </a:lnTo>
                      <a:lnTo>
                        <a:pt x="3782" y="4095"/>
                      </a:lnTo>
                      <a:lnTo>
                        <a:pt x="3825" y="4060"/>
                      </a:lnTo>
                      <a:lnTo>
                        <a:pt x="3866" y="4023"/>
                      </a:lnTo>
                      <a:lnTo>
                        <a:pt x="3906" y="3985"/>
                      </a:lnTo>
                      <a:lnTo>
                        <a:pt x="3946" y="3947"/>
                      </a:lnTo>
                      <a:lnTo>
                        <a:pt x="3985" y="3906"/>
                      </a:lnTo>
                      <a:lnTo>
                        <a:pt x="4023" y="3866"/>
                      </a:lnTo>
                      <a:lnTo>
                        <a:pt x="4060" y="3825"/>
                      </a:lnTo>
                      <a:lnTo>
                        <a:pt x="4095" y="3782"/>
                      </a:lnTo>
                      <a:lnTo>
                        <a:pt x="4130" y="3738"/>
                      </a:lnTo>
                      <a:lnTo>
                        <a:pt x="4164" y="3695"/>
                      </a:lnTo>
                      <a:lnTo>
                        <a:pt x="4197" y="3650"/>
                      </a:lnTo>
                      <a:lnTo>
                        <a:pt x="4229" y="3604"/>
                      </a:lnTo>
                      <a:lnTo>
                        <a:pt x="4259" y="3558"/>
                      </a:lnTo>
                      <a:lnTo>
                        <a:pt x="4289" y="3510"/>
                      </a:lnTo>
                      <a:lnTo>
                        <a:pt x="4316" y="3462"/>
                      </a:lnTo>
                      <a:lnTo>
                        <a:pt x="4344" y="3414"/>
                      </a:lnTo>
                      <a:lnTo>
                        <a:pt x="4370" y="3364"/>
                      </a:lnTo>
                      <a:lnTo>
                        <a:pt x="4395" y="3314"/>
                      </a:lnTo>
                      <a:lnTo>
                        <a:pt x="4419" y="3263"/>
                      </a:lnTo>
                      <a:lnTo>
                        <a:pt x="4442" y="3211"/>
                      </a:lnTo>
                      <a:lnTo>
                        <a:pt x="4463" y="3159"/>
                      </a:lnTo>
                      <a:lnTo>
                        <a:pt x="4483" y="3106"/>
                      </a:lnTo>
                      <a:lnTo>
                        <a:pt x="4502" y="3053"/>
                      </a:lnTo>
                      <a:lnTo>
                        <a:pt x="4519" y="2999"/>
                      </a:lnTo>
                      <a:lnTo>
                        <a:pt x="4535" y="2944"/>
                      </a:lnTo>
                      <a:lnTo>
                        <a:pt x="4550" y="2890"/>
                      </a:lnTo>
                      <a:lnTo>
                        <a:pt x="4564" y="2833"/>
                      </a:lnTo>
                      <a:lnTo>
                        <a:pt x="4577" y="2777"/>
                      </a:lnTo>
                      <a:lnTo>
                        <a:pt x="4587" y="2721"/>
                      </a:lnTo>
                      <a:lnTo>
                        <a:pt x="4596" y="2664"/>
                      </a:lnTo>
                      <a:lnTo>
                        <a:pt x="4604" y="2607"/>
                      </a:lnTo>
                      <a:lnTo>
                        <a:pt x="4611" y="2548"/>
                      </a:lnTo>
                      <a:lnTo>
                        <a:pt x="4617" y="2489"/>
                      </a:lnTo>
                      <a:lnTo>
                        <a:pt x="4620" y="2430"/>
                      </a:lnTo>
                      <a:lnTo>
                        <a:pt x="4623" y="2372"/>
                      </a:lnTo>
                      <a:lnTo>
                        <a:pt x="4623" y="2312"/>
                      </a:lnTo>
                      <a:lnTo>
                        <a:pt x="4623" y="2312"/>
                      </a:lnTo>
                      <a:lnTo>
                        <a:pt x="4621" y="2241"/>
                      </a:lnTo>
                      <a:lnTo>
                        <a:pt x="4618" y="2169"/>
                      </a:lnTo>
                      <a:lnTo>
                        <a:pt x="4612" y="2099"/>
                      </a:lnTo>
                      <a:lnTo>
                        <a:pt x="4604" y="2029"/>
                      </a:lnTo>
                      <a:lnTo>
                        <a:pt x="4595" y="1961"/>
                      </a:lnTo>
                      <a:lnTo>
                        <a:pt x="4582" y="1892"/>
                      </a:lnTo>
                      <a:lnTo>
                        <a:pt x="4568" y="1824"/>
                      </a:lnTo>
                      <a:lnTo>
                        <a:pt x="4554" y="1757"/>
                      </a:lnTo>
                      <a:lnTo>
                        <a:pt x="4554" y="1757"/>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3" name="Freeform 313"/>
                <p:cNvSpPr>
                  <a:spLocks/>
                </p:cNvSpPr>
                <p:nvPr/>
              </p:nvSpPr>
              <p:spPr bwMode="auto">
                <a:xfrm>
                  <a:off x="2844800" y="4078288"/>
                  <a:ext cx="617538" cy="893763"/>
                </a:xfrm>
                <a:custGeom>
                  <a:avLst/>
                  <a:gdLst>
                    <a:gd name="T0" fmla="*/ 1148 w 2718"/>
                    <a:gd name="T1" fmla="*/ 1652 h 3941"/>
                    <a:gd name="T2" fmla="*/ 1164 w 2718"/>
                    <a:gd name="T3" fmla="*/ 1488 h 3941"/>
                    <a:gd name="T4" fmla="*/ 1195 w 2718"/>
                    <a:gd name="T5" fmla="*/ 1329 h 3941"/>
                    <a:gd name="T6" fmla="*/ 1240 w 2718"/>
                    <a:gd name="T7" fmla="*/ 1176 h 3941"/>
                    <a:gd name="T8" fmla="*/ 1299 w 2718"/>
                    <a:gd name="T9" fmla="*/ 1029 h 3941"/>
                    <a:gd name="T10" fmla="*/ 1371 w 2718"/>
                    <a:gd name="T11" fmla="*/ 889 h 3941"/>
                    <a:gd name="T12" fmla="*/ 1455 w 2718"/>
                    <a:gd name="T13" fmla="*/ 758 h 3941"/>
                    <a:gd name="T14" fmla="*/ 1551 w 2718"/>
                    <a:gd name="T15" fmla="*/ 634 h 3941"/>
                    <a:gd name="T16" fmla="*/ 1657 w 2718"/>
                    <a:gd name="T17" fmla="*/ 520 h 3941"/>
                    <a:gd name="T18" fmla="*/ 1773 w 2718"/>
                    <a:gd name="T19" fmla="*/ 417 h 3941"/>
                    <a:gd name="T20" fmla="*/ 1898 w 2718"/>
                    <a:gd name="T21" fmla="*/ 324 h 3941"/>
                    <a:gd name="T22" fmla="*/ 2032 w 2718"/>
                    <a:gd name="T23" fmla="*/ 242 h 3941"/>
                    <a:gd name="T24" fmla="*/ 2173 w 2718"/>
                    <a:gd name="T25" fmla="*/ 173 h 3941"/>
                    <a:gd name="T26" fmla="*/ 2321 w 2718"/>
                    <a:gd name="T27" fmla="*/ 116 h 3941"/>
                    <a:gd name="T28" fmla="*/ 2477 w 2718"/>
                    <a:gd name="T29" fmla="*/ 74 h 3941"/>
                    <a:gd name="T30" fmla="*/ 2637 w 2718"/>
                    <a:gd name="T31" fmla="*/ 46 h 3941"/>
                    <a:gd name="T32" fmla="*/ 2669 w 2718"/>
                    <a:gd name="T33" fmla="*/ 30 h 3941"/>
                    <a:gd name="T34" fmla="*/ 2466 w 2718"/>
                    <a:gd name="T35" fmla="*/ 6 h 3941"/>
                    <a:gd name="T36" fmla="*/ 2312 w 2718"/>
                    <a:gd name="T37" fmla="*/ 0 h 3941"/>
                    <a:gd name="T38" fmla="*/ 2075 w 2718"/>
                    <a:gd name="T39" fmla="*/ 12 h 3941"/>
                    <a:gd name="T40" fmla="*/ 1846 w 2718"/>
                    <a:gd name="T41" fmla="*/ 47 h 3941"/>
                    <a:gd name="T42" fmla="*/ 1625 w 2718"/>
                    <a:gd name="T43" fmla="*/ 104 h 3941"/>
                    <a:gd name="T44" fmla="*/ 1412 w 2718"/>
                    <a:gd name="T45" fmla="*/ 182 h 3941"/>
                    <a:gd name="T46" fmla="*/ 1210 w 2718"/>
                    <a:gd name="T47" fmla="*/ 279 h 3941"/>
                    <a:gd name="T48" fmla="*/ 1019 w 2718"/>
                    <a:gd name="T49" fmla="*/ 395 h 3941"/>
                    <a:gd name="T50" fmla="*/ 841 w 2718"/>
                    <a:gd name="T51" fmla="*/ 527 h 3941"/>
                    <a:gd name="T52" fmla="*/ 677 w 2718"/>
                    <a:gd name="T53" fmla="*/ 677 h 3941"/>
                    <a:gd name="T54" fmla="*/ 528 w 2718"/>
                    <a:gd name="T55" fmla="*/ 842 h 3941"/>
                    <a:gd name="T56" fmla="*/ 395 w 2718"/>
                    <a:gd name="T57" fmla="*/ 1019 h 3941"/>
                    <a:gd name="T58" fmla="*/ 279 w 2718"/>
                    <a:gd name="T59" fmla="*/ 1210 h 3941"/>
                    <a:gd name="T60" fmla="*/ 182 w 2718"/>
                    <a:gd name="T61" fmla="*/ 1412 h 3941"/>
                    <a:gd name="T62" fmla="*/ 104 w 2718"/>
                    <a:gd name="T63" fmla="*/ 1625 h 3941"/>
                    <a:gd name="T64" fmla="*/ 47 w 2718"/>
                    <a:gd name="T65" fmla="*/ 1846 h 3941"/>
                    <a:gd name="T66" fmla="*/ 12 w 2718"/>
                    <a:gd name="T67" fmla="*/ 2076 h 3941"/>
                    <a:gd name="T68" fmla="*/ 0 w 2718"/>
                    <a:gd name="T69" fmla="*/ 2312 h 3941"/>
                    <a:gd name="T70" fmla="*/ 7 w 2718"/>
                    <a:gd name="T71" fmla="*/ 2489 h 3941"/>
                    <a:gd name="T72" fmla="*/ 36 w 2718"/>
                    <a:gd name="T73" fmla="*/ 2719 h 3941"/>
                    <a:gd name="T74" fmla="*/ 87 w 2718"/>
                    <a:gd name="T75" fmla="*/ 2942 h 3941"/>
                    <a:gd name="T76" fmla="*/ 159 w 2718"/>
                    <a:gd name="T77" fmla="*/ 3156 h 3941"/>
                    <a:gd name="T78" fmla="*/ 251 w 2718"/>
                    <a:gd name="T79" fmla="*/ 3360 h 3941"/>
                    <a:gd name="T80" fmla="*/ 362 w 2718"/>
                    <a:gd name="T81" fmla="*/ 3553 h 3941"/>
                    <a:gd name="T82" fmla="*/ 490 w 2718"/>
                    <a:gd name="T83" fmla="*/ 3734 h 3941"/>
                    <a:gd name="T84" fmla="*/ 633 w 2718"/>
                    <a:gd name="T85" fmla="*/ 3901 h 3941"/>
                    <a:gd name="T86" fmla="*/ 1630 w 2718"/>
                    <a:gd name="T87" fmla="*/ 2924 h 3941"/>
                    <a:gd name="T88" fmla="*/ 1520 w 2718"/>
                    <a:gd name="T89" fmla="*/ 2800 h 3941"/>
                    <a:gd name="T90" fmla="*/ 1422 w 2718"/>
                    <a:gd name="T91" fmla="*/ 2665 h 3941"/>
                    <a:gd name="T92" fmla="*/ 1338 w 2718"/>
                    <a:gd name="T93" fmla="*/ 2521 h 3941"/>
                    <a:gd name="T94" fmla="*/ 1268 w 2718"/>
                    <a:gd name="T95" fmla="*/ 2368 h 3941"/>
                    <a:gd name="T96" fmla="*/ 1213 w 2718"/>
                    <a:gd name="T97" fmla="*/ 2208 h 3941"/>
                    <a:gd name="T98" fmla="*/ 1173 w 2718"/>
                    <a:gd name="T99" fmla="*/ 2041 h 3941"/>
                    <a:gd name="T100" fmla="*/ 1152 w 2718"/>
                    <a:gd name="T101" fmla="*/ 1869 h 3941"/>
                    <a:gd name="T102" fmla="*/ 1146 w 2718"/>
                    <a:gd name="T103" fmla="*/ 1735 h 3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718" h="3941">
                      <a:moveTo>
                        <a:pt x="1146" y="1735"/>
                      </a:moveTo>
                      <a:lnTo>
                        <a:pt x="1146" y="1735"/>
                      </a:lnTo>
                      <a:lnTo>
                        <a:pt x="1147" y="1694"/>
                      </a:lnTo>
                      <a:lnTo>
                        <a:pt x="1148" y="1652"/>
                      </a:lnTo>
                      <a:lnTo>
                        <a:pt x="1150" y="1611"/>
                      </a:lnTo>
                      <a:lnTo>
                        <a:pt x="1154" y="1569"/>
                      </a:lnTo>
                      <a:lnTo>
                        <a:pt x="1158" y="1529"/>
                      </a:lnTo>
                      <a:lnTo>
                        <a:pt x="1164" y="1488"/>
                      </a:lnTo>
                      <a:lnTo>
                        <a:pt x="1170" y="1448"/>
                      </a:lnTo>
                      <a:lnTo>
                        <a:pt x="1178" y="1408"/>
                      </a:lnTo>
                      <a:lnTo>
                        <a:pt x="1186" y="1368"/>
                      </a:lnTo>
                      <a:lnTo>
                        <a:pt x="1195" y="1329"/>
                      </a:lnTo>
                      <a:lnTo>
                        <a:pt x="1204" y="1291"/>
                      </a:lnTo>
                      <a:lnTo>
                        <a:pt x="1216" y="1252"/>
                      </a:lnTo>
                      <a:lnTo>
                        <a:pt x="1227" y="1214"/>
                      </a:lnTo>
                      <a:lnTo>
                        <a:pt x="1240" y="1176"/>
                      </a:lnTo>
                      <a:lnTo>
                        <a:pt x="1254" y="1139"/>
                      </a:lnTo>
                      <a:lnTo>
                        <a:pt x="1268" y="1102"/>
                      </a:lnTo>
                      <a:lnTo>
                        <a:pt x="1283" y="1065"/>
                      </a:lnTo>
                      <a:lnTo>
                        <a:pt x="1299" y="1029"/>
                      </a:lnTo>
                      <a:lnTo>
                        <a:pt x="1316" y="994"/>
                      </a:lnTo>
                      <a:lnTo>
                        <a:pt x="1333" y="958"/>
                      </a:lnTo>
                      <a:lnTo>
                        <a:pt x="1352" y="923"/>
                      </a:lnTo>
                      <a:lnTo>
                        <a:pt x="1371" y="889"/>
                      </a:lnTo>
                      <a:lnTo>
                        <a:pt x="1391" y="855"/>
                      </a:lnTo>
                      <a:lnTo>
                        <a:pt x="1412" y="822"/>
                      </a:lnTo>
                      <a:lnTo>
                        <a:pt x="1432" y="790"/>
                      </a:lnTo>
                      <a:lnTo>
                        <a:pt x="1455" y="758"/>
                      </a:lnTo>
                      <a:lnTo>
                        <a:pt x="1477" y="725"/>
                      </a:lnTo>
                      <a:lnTo>
                        <a:pt x="1501" y="694"/>
                      </a:lnTo>
                      <a:lnTo>
                        <a:pt x="1526" y="664"/>
                      </a:lnTo>
                      <a:lnTo>
                        <a:pt x="1551" y="634"/>
                      </a:lnTo>
                      <a:lnTo>
                        <a:pt x="1576" y="604"/>
                      </a:lnTo>
                      <a:lnTo>
                        <a:pt x="1603" y="576"/>
                      </a:lnTo>
                      <a:lnTo>
                        <a:pt x="1629" y="548"/>
                      </a:lnTo>
                      <a:lnTo>
                        <a:pt x="1657" y="520"/>
                      </a:lnTo>
                      <a:lnTo>
                        <a:pt x="1685" y="493"/>
                      </a:lnTo>
                      <a:lnTo>
                        <a:pt x="1713" y="466"/>
                      </a:lnTo>
                      <a:lnTo>
                        <a:pt x="1743" y="441"/>
                      </a:lnTo>
                      <a:lnTo>
                        <a:pt x="1773" y="417"/>
                      </a:lnTo>
                      <a:lnTo>
                        <a:pt x="1803" y="391"/>
                      </a:lnTo>
                      <a:lnTo>
                        <a:pt x="1834" y="368"/>
                      </a:lnTo>
                      <a:lnTo>
                        <a:pt x="1865" y="345"/>
                      </a:lnTo>
                      <a:lnTo>
                        <a:pt x="1898" y="324"/>
                      </a:lnTo>
                      <a:lnTo>
                        <a:pt x="1931" y="302"/>
                      </a:lnTo>
                      <a:lnTo>
                        <a:pt x="1964" y="281"/>
                      </a:lnTo>
                      <a:lnTo>
                        <a:pt x="1998" y="261"/>
                      </a:lnTo>
                      <a:lnTo>
                        <a:pt x="2032" y="242"/>
                      </a:lnTo>
                      <a:lnTo>
                        <a:pt x="2067" y="223"/>
                      </a:lnTo>
                      <a:lnTo>
                        <a:pt x="2101" y="206"/>
                      </a:lnTo>
                      <a:lnTo>
                        <a:pt x="2137" y="189"/>
                      </a:lnTo>
                      <a:lnTo>
                        <a:pt x="2173" y="173"/>
                      </a:lnTo>
                      <a:lnTo>
                        <a:pt x="2210" y="158"/>
                      </a:lnTo>
                      <a:lnTo>
                        <a:pt x="2246" y="143"/>
                      </a:lnTo>
                      <a:lnTo>
                        <a:pt x="2284" y="129"/>
                      </a:lnTo>
                      <a:lnTo>
                        <a:pt x="2321" y="116"/>
                      </a:lnTo>
                      <a:lnTo>
                        <a:pt x="2359" y="105"/>
                      </a:lnTo>
                      <a:lnTo>
                        <a:pt x="2398" y="93"/>
                      </a:lnTo>
                      <a:lnTo>
                        <a:pt x="2437" y="83"/>
                      </a:lnTo>
                      <a:lnTo>
                        <a:pt x="2477" y="74"/>
                      </a:lnTo>
                      <a:lnTo>
                        <a:pt x="2516" y="66"/>
                      </a:lnTo>
                      <a:lnTo>
                        <a:pt x="2556" y="59"/>
                      </a:lnTo>
                      <a:lnTo>
                        <a:pt x="2595" y="52"/>
                      </a:lnTo>
                      <a:lnTo>
                        <a:pt x="2637" y="46"/>
                      </a:lnTo>
                      <a:lnTo>
                        <a:pt x="2677" y="41"/>
                      </a:lnTo>
                      <a:lnTo>
                        <a:pt x="2718" y="38"/>
                      </a:lnTo>
                      <a:lnTo>
                        <a:pt x="2718" y="38"/>
                      </a:lnTo>
                      <a:lnTo>
                        <a:pt x="2669" y="30"/>
                      </a:lnTo>
                      <a:lnTo>
                        <a:pt x="2618" y="22"/>
                      </a:lnTo>
                      <a:lnTo>
                        <a:pt x="2568" y="15"/>
                      </a:lnTo>
                      <a:lnTo>
                        <a:pt x="2517" y="10"/>
                      </a:lnTo>
                      <a:lnTo>
                        <a:pt x="2466" y="6"/>
                      </a:lnTo>
                      <a:lnTo>
                        <a:pt x="2416" y="2"/>
                      </a:lnTo>
                      <a:lnTo>
                        <a:pt x="2364" y="1"/>
                      </a:lnTo>
                      <a:lnTo>
                        <a:pt x="2312" y="0"/>
                      </a:lnTo>
                      <a:lnTo>
                        <a:pt x="2312" y="0"/>
                      </a:lnTo>
                      <a:lnTo>
                        <a:pt x="2252" y="1"/>
                      </a:lnTo>
                      <a:lnTo>
                        <a:pt x="2192" y="3"/>
                      </a:lnTo>
                      <a:lnTo>
                        <a:pt x="2134" y="7"/>
                      </a:lnTo>
                      <a:lnTo>
                        <a:pt x="2075" y="12"/>
                      </a:lnTo>
                      <a:lnTo>
                        <a:pt x="2017" y="18"/>
                      </a:lnTo>
                      <a:lnTo>
                        <a:pt x="1960" y="27"/>
                      </a:lnTo>
                      <a:lnTo>
                        <a:pt x="1902" y="36"/>
                      </a:lnTo>
                      <a:lnTo>
                        <a:pt x="1846" y="47"/>
                      </a:lnTo>
                      <a:lnTo>
                        <a:pt x="1789" y="59"/>
                      </a:lnTo>
                      <a:lnTo>
                        <a:pt x="1734" y="73"/>
                      </a:lnTo>
                      <a:lnTo>
                        <a:pt x="1679" y="88"/>
                      </a:lnTo>
                      <a:lnTo>
                        <a:pt x="1625" y="104"/>
                      </a:lnTo>
                      <a:lnTo>
                        <a:pt x="1571" y="121"/>
                      </a:lnTo>
                      <a:lnTo>
                        <a:pt x="1516" y="140"/>
                      </a:lnTo>
                      <a:lnTo>
                        <a:pt x="1464" y="160"/>
                      </a:lnTo>
                      <a:lnTo>
                        <a:pt x="1412" y="182"/>
                      </a:lnTo>
                      <a:lnTo>
                        <a:pt x="1360" y="204"/>
                      </a:lnTo>
                      <a:lnTo>
                        <a:pt x="1309" y="228"/>
                      </a:lnTo>
                      <a:lnTo>
                        <a:pt x="1260" y="253"/>
                      </a:lnTo>
                      <a:lnTo>
                        <a:pt x="1210" y="279"/>
                      </a:lnTo>
                      <a:lnTo>
                        <a:pt x="1161" y="306"/>
                      </a:lnTo>
                      <a:lnTo>
                        <a:pt x="1112" y="335"/>
                      </a:lnTo>
                      <a:lnTo>
                        <a:pt x="1065" y="364"/>
                      </a:lnTo>
                      <a:lnTo>
                        <a:pt x="1019" y="395"/>
                      </a:lnTo>
                      <a:lnTo>
                        <a:pt x="973" y="426"/>
                      </a:lnTo>
                      <a:lnTo>
                        <a:pt x="928" y="459"/>
                      </a:lnTo>
                      <a:lnTo>
                        <a:pt x="884" y="493"/>
                      </a:lnTo>
                      <a:lnTo>
                        <a:pt x="841" y="527"/>
                      </a:lnTo>
                      <a:lnTo>
                        <a:pt x="799" y="564"/>
                      </a:lnTo>
                      <a:lnTo>
                        <a:pt x="758" y="601"/>
                      </a:lnTo>
                      <a:lnTo>
                        <a:pt x="716" y="638"/>
                      </a:lnTo>
                      <a:lnTo>
                        <a:pt x="677" y="677"/>
                      </a:lnTo>
                      <a:lnTo>
                        <a:pt x="638" y="717"/>
                      </a:lnTo>
                      <a:lnTo>
                        <a:pt x="600" y="758"/>
                      </a:lnTo>
                      <a:lnTo>
                        <a:pt x="563" y="799"/>
                      </a:lnTo>
                      <a:lnTo>
                        <a:pt x="528" y="842"/>
                      </a:lnTo>
                      <a:lnTo>
                        <a:pt x="493" y="884"/>
                      </a:lnTo>
                      <a:lnTo>
                        <a:pt x="460" y="928"/>
                      </a:lnTo>
                      <a:lnTo>
                        <a:pt x="426" y="973"/>
                      </a:lnTo>
                      <a:lnTo>
                        <a:pt x="395" y="1019"/>
                      </a:lnTo>
                      <a:lnTo>
                        <a:pt x="364" y="1066"/>
                      </a:lnTo>
                      <a:lnTo>
                        <a:pt x="334" y="1113"/>
                      </a:lnTo>
                      <a:lnTo>
                        <a:pt x="306" y="1161"/>
                      </a:lnTo>
                      <a:lnTo>
                        <a:pt x="279" y="1210"/>
                      </a:lnTo>
                      <a:lnTo>
                        <a:pt x="252" y="1260"/>
                      </a:lnTo>
                      <a:lnTo>
                        <a:pt x="228" y="1309"/>
                      </a:lnTo>
                      <a:lnTo>
                        <a:pt x="204" y="1360"/>
                      </a:lnTo>
                      <a:lnTo>
                        <a:pt x="182" y="1412"/>
                      </a:lnTo>
                      <a:lnTo>
                        <a:pt x="160" y="1465"/>
                      </a:lnTo>
                      <a:lnTo>
                        <a:pt x="141" y="1516"/>
                      </a:lnTo>
                      <a:lnTo>
                        <a:pt x="121" y="1570"/>
                      </a:lnTo>
                      <a:lnTo>
                        <a:pt x="104" y="1625"/>
                      </a:lnTo>
                      <a:lnTo>
                        <a:pt x="88" y="1679"/>
                      </a:lnTo>
                      <a:lnTo>
                        <a:pt x="73" y="1734"/>
                      </a:lnTo>
                      <a:lnTo>
                        <a:pt x="59" y="1789"/>
                      </a:lnTo>
                      <a:lnTo>
                        <a:pt x="47" y="1846"/>
                      </a:lnTo>
                      <a:lnTo>
                        <a:pt x="36" y="1902"/>
                      </a:lnTo>
                      <a:lnTo>
                        <a:pt x="27" y="1960"/>
                      </a:lnTo>
                      <a:lnTo>
                        <a:pt x="19" y="2017"/>
                      </a:lnTo>
                      <a:lnTo>
                        <a:pt x="12" y="2076"/>
                      </a:lnTo>
                      <a:lnTo>
                        <a:pt x="7" y="2133"/>
                      </a:lnTo>
                      <a:lnTo>
                        <a:pt x="3" y="2192"/>
                      </a:lnTo>
                      <a:lnTo>
                        <a:pt x="0" y="2252"/>
                      </a:lnTo>
                      <a:lnTo>
                        <a:pt x="0" y="2312"/>
                      </a:lnTo>
                      <a:lnTo>
                        <a:pt x="0" y="2312"/>
                      </a:lnTo>
                      <a:lnTo>
                        <a:pt x="0" y="2371"/>
                      </a:lnTo>
                      <a:lnTo>
                        <a:pt x="3" y="2430"/>
                      </a:lnTo>
                      <a:lnTo>
                        <a:pt x="7" y="2489"/>
                      </a:lnTo>
                      <a:lnTo>
                        <a:pt x="12" y="2547"/>
                      </a:lnTo>
                      <a:lnTo>
                        <a:pt x="19" y="2604"/>
                      </a:lnTo>
                      <a:lnTo>
                        <a:pt x="27" y="2662"/>
                      </a:lnTo>
                      <a:lnTo>
                        <a:pt x="36" y="2719"/>
                      </a:lnTo>
                      <a:lnTo>
                        <a:pt x="46" y="2776"/>
                      </a:lnTo>
                      <a:lnTo>
                        <a:pt x="59" y="2831"/>
                      </a:lnTo>
                      <a:lnTo>
                        <a:pt x="72" y="2888"/>
                      </a:lnTo>
                      <a:lnTo>
                        <a:pt x="87" y="2942"/>
                      </a:lnTo>
                      <a:lnTo>
                        <a:pt x="103" y="2996"/>
                      </a:lnTo>
                      <a:lnTo>
                        <a:pt x="120" y="3050"/>
                      </a:lnTo>
                      <a:lnTo>
                        <a:pt x="140" y="3103"/>
                      </a:lnTo>
                      <a:lnTo>
                        <a:pt x="159" y="3156"/>
                      </a:lnTo>
                      <a:lnTo>
                        <a:pt x="180" y="3208"/>
                      </a:lnTo>
                      <a:lnTo>
                        <a:pt x="203" y="3259"/>
                      </a:lnTo>
                      <a:lnTo>
                        <a:pt x="226" y="3310"/>
                      </a:lnTo>
                      <a:lnTo>
                        <a:pt x="251" y="3360"/>
                      </a:lnTo>
                      <a:lnTo>
                        <a:pt x="277" y="3409"/>
                      </a:lnTo>
                      <a:lnTo>
                        <a:pt x="304" y="3457"/>
                      </a:lnTo>
                      <a:lnTo>
                        <a:pt x="332" y="3506"/>
                      </a:lnTo>
                      <a:lnTo>
                        <a:pt x="362" y="3553"/>
                      </a:lnTo>
                      <a:lnTo>
                        <a:pt x="392" y="3599"/>
                      </a:lnTo>
                      <a:lnTo>
                        <a:pt x="423" y="3645"/>
                      </a:lnTo>
                      <a:lnTo>
                        <a:pt x="456" y="3690"/>
                      </a:lnTo>
                      <a:lnTo>
                        <a:pt x="490" y="3734"/>
                      </a:lnTo>
                      <a:lnTo>
                        <a:pt x="524" y="3776"/>
                      </a:lnTo>
                      <a:lnTo>
                        <a:pt x="560" y="3819"/>
                      </a:lnTo>
                      <a:lnTo>
                        <a:pt x="597" y="3860"/>
                      </a:lnTo>
                      <a:lnTo>
                        <a:pt x="633" y="3901"/>
                      </a:lnTo>
                      <a:lnTo>
                        <a:pt x="671" y="3941"/>
                      </a:lnTo>
                      <a:lnTo>
                        <a:pt x="1659" y="2953"/>
                      </a:lnTo>
                      <a:lnTo>
                        <a:pt x="1659" y="2953"/>
                      </a:lnTo>
                      <a:lnTo>
                        <a:pt x="1630" y="2924"/>
                      </a:lnTo>
                      <a:lnTo>
                        <a:pt x="1602" y="2894"/>
                      </a:lnTo>
                      <a:lnTo>
                        <a:pt x="1574" y="2863"/>
                      </a:lnTo>
                      <a:lnTo>
                        <a:pt x="1546" y="2832"/>
                      </a:lnTo>
                      <a:lnTo>
                        <a:pt x="1520" y="2800"/>
                      </a:lnTo>
                      <a:lnTo>
                        <a:pt x="1495" y="2767"/>
                      </a:lnTo>
                      <a:lnTo>
                        <a:pt x="1469" y="2733"/>
                      </a:lnTo>
                      <a:lnTo>
                        <a:pt x="1445" y="2700"/>
                      </a:lnTo>
                      <a:lnTo>
                        <a:pt x="1422" y="2665"/>
                      </a:lnTo>
                      <a:lnTo>
                        <a:pt x="1400" y="2630"/>
                      </a:lnTo>
                      <a:lnTo>
                        <a:pt x="1378" y="2594"/>
                      </a:lnTo>
                      <a:lnTo>
                        <a:pt x="1358" y="2558"/>
                      </a:lnTo>
                      <a:lnTo>
                        <a:pt x="1338" y="2521"/>
                      </a:lnTo>
                      <a:lnTo>
                        <a:pt x="1320" y="2483"/>
                      </a:lnTo>
                      <a:lnTo>
                        <a:pt x="1301" y="2445"/>
                      </a:lnTo>
                      <a:lnTo>
                        <a:pt x="1284" y="2407"/>
                      </a:lnTo>
                      <a:lnTo>
                        <a:pt x="1268" y="2368"/>
                      </a:lnTo>
                      <a:lnTo>
                        <a:pt x="1253" y="2329"/>
                      </a:lnTo>
                      <a:lnTo>
                        <a:pt x="1238" y="2290"/>
                      </a:lnTo>
                      <a:lnTo>
                        <a:pt x="1225" y="2250"/>
                      </a:lnTo>
                      <a:lnTo>
                        <a:pt x="1213" y="2208"/>
                      </a:lnTo>
                      <a:lnTo>
                        <a:pt x="1201" y="2167"/>
                      </a:lnTo>
                      <a:lnTo>
                        <a:pt x="1191" y="2125"/>
                      </a:lnTo>
                      <a:lnTo>
                        <a:pt x="1181" y="2084"/>
                      </a:lnTo>
                      <a:lnTo>
                        <a:pt x="1173" y="2041"/>
                      </a:lnTo>
                      <a:lnTo>
                        <a:pt x="1166" y="1999"/>
                      </a:lnTo>
                      <a:lnTo>
                        <a:pt x="1160" y="1956"/>
                      </a:lnTo>
                      <a:lnTo>
                        <a:pt x="1155" y="1912"/>
                      </a:lnTo>
                      <a:lnTo>
                        <a:pt x="1152" y="1869"/>
                      </a:lnTo>
                      <a:lnTo>
                        <a:pt x="1148" y="1825"/>
                      </a:lnTo>
                      <a:lnTo>
                        <a:pt x="1147" y="1780"/>
                      </a:lnTo>
                      <a:lnTo>
                        <a:pt x="1146" y="1735"/>
                      </a:lnTo>
                      <a:lnTo>
                        <a:pt x="1146" y="1735"/>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4" name="Freeform 314"/>
                <p:cNvSpPr>
                  <a:spLocks/>
                </p:cNvSpPr>
                <p:nvPr/>
              </p:nvSpPr>
              <p:spPr bwMode="auto">
                <a:xfrm>
                  <a:off x="3105150" y="4087813"/>
                  <a:ext cx="633413" cy="660400"/>
                </a:xfrm>
                <a:custGeom>
                  <a:avLst/>
                  <a:gdLst>
                    <a:gd name="T0" fmla="*/ 1 w 2793"/>
                    <a:gd name="T1" fmla="*/ 1742 h 2915"/>
                    <a:gd name="T2" fmla="*/ 9 w 2793"/>
                    <a:gd name="T3" fmla="*/ 1874 h 2915"/>
                    <a:gd name="T4" fmla="*/ 27 w 2793"/>
                    <a:gd name="T5" fmla="*/ 2003 h 2915"/>
                    <a:gd name="T6" fmla="*/ 55 w 2793"/>
                    <a:gd name="T7" fmla="*/ 2129 h 2915"/>
                    <a:gd name="T8" fmla="*/ 92 w 2793"/>
                    <a:gd name="T9" fmla="*/ 2252 h 2915"/>
                    <a:gd name="T10" fmla="*/ 138 w 2793"/>
                    <a:gd name="T11" fmla="*/ 2369 h 2915"/>
                    <a:gd name="T12" fmla="*/ 192 w 2793"/>
                    <a:gd name="T13" fmla="*/ 2483 h 2915"/>
                    <a:gd name="T14" fmla="*/ 254 w 2793"/>
                    <a:gd name="T15" fmla="*/ 2592 h 2915"/>
                    <a:gd name="T16" fmla="*/ 323 w 2793"/>
                    <a:gd name="T17" fmla="*/ 2695 h 2915"/>
                    <a:gd name="T18" fmla="*/ 400 w 2793"/>
                    <a:gd name="T19" fmla="*/ 2794 h 2915"/>
                    <a:gd name="T20" fmla="*/ 484 w 2793"/>
                    <a:gd name="T21" fmla="*/ 2886 h 2915"/>
                    <a:gd name="T22" fmla="*/ 2793 w 2793"/>
                    <a:gd name="T23" fmla="*/ 637 h 2915"/>
                    <a:gd name="T24" fmla="*/ 2747 w 2793"/>
                    <a:gd name="T25" fmla="*/ 591 h 2915"/>
                    <a:gd name="T26" fmla="*/ 2699 w 2793"/>
                    <a:gd name="T27" fmla="*/ 548 h 2915"/>
                    <a:gd name="T28" fmla="*/ 2562 w 2793"/>
                    <a:gd name="T29" fmla="*/ 434 h 2915"/>
                    <a:gd name="T30" fmla="*/ 2416 w 2793"/>
                    <a:gd name="T31" fmla="*/ 332 h 2915"/>
                    <a:gd name="T32" fmla="*/ 2344 w 2793"/>
                    <a:gd name="T33" fmla="*/ 287 h 2915"/>
                    <a:gd name="T34" fmla="*/ 2242 w 2793"/>
                    <a:gd name="T35" fmla="*/ 230 h 2915"/>
                    <a:gd name="T36" fmla="*/ 2206 w 2793"/>
                    <a:gd name="T37" fmla="*/ 211 h 2915"/>
                    <a:gd name="T38" fmla="*/ 2097 w 2793"/>
                    <a:gd name="T39" fmla="*/ 160 h 2915"/>
                    <a:gd name="T40" fmla="*/ 1929 w 2793"/>
                    <a:gd name="T41" fmla="*/ 94 h 2915"/>
                    <a:gd name="T42" fmla="*/ 1754 w 2793"/>
                    <a:gd name="T43" fmla="*/ 40 h 2915"/>
                    <a:gd name="T44" fmla="*/ 1723 w 2793"/>
                    <a:gd name="T45" fmla="*/ 32 h 2915"/>
                    <a:gd name="T46" fmla="*/ 1572 w 2793"/>
                    <a:gd name="T47" fmla="*/ 0 h 2915"/>
                    <a:gd name="T48" fmla="*/ 1491 w 2793"/>
                    <a:gd name="T49" fmla="*/ 8 h 2915"/>
                    <a:gd name="T50" fmla="*/ 1370 w 2793"/>
                    <a:gd name="T51" fmla="*/ 28 h 2915"/>
                    <a:gd name="T52" fmla="*/ 1252 w 2793"/>
                    <a:gd name="T53" fmla="*/ 55 h 2915"/>
                    <a:gd name="T54" fmla="*/ 1138 w 2793"/>
                    <a:gd name="T55" fmla="*/ 91 h 2915"/>
                    <a:gd name="T56" fmla="*/ 1027 w 2793"/>
                    <a:gd name="T57" fmla="*/ 135 h 2915"/>
                    <a:gd name="T58" fmla="*/ 921 w 2793"/>
                    <a:gd name="T59" fmla="*/ 185 h 2915"/>
                    <a:gd name="T60" fmla="*/ 818 w 2793"/>
                    <a:gd name="T61" fmla="*/ 243 h 2915"/>
                    <a:gd name="T62" fmla="*/ 719 w 2793"/>
                    <a:gd name="T63" fmla="*/ 307 h 2915"/>
                    <a:gd name="T64" fmla="*/ 627 w 2793"/>
                    <a:gd name="T65" fmla="*/ 379 h 2915"/>
                    <a:gd name="T66" fmla="*/ 539 w 2793"/>
                    <a:gd name="T67" fmla="*/ 455 h 2915"/>
                    <a:gd name="T68" fmla="*/ 457 w 2793"/>
                    <a:gd name="T69" fmla="*/ 538 h 2915"/>
                    <a:gd name="T70" fmla="*/ 380 w 2793"/>
                    <a:gd name="T71" fmla="*/ 626 h 2915"/>
                    <a:gd name="T72" fmla="*/ 309 w 2793"/>
                    <a:gd name="T73" fmla="*/ 720 h 2915"/>
                    <a:gd name="T74" fmla="*/ 245 w 2793"/>
                    <a:gd name="T75" fmla="*/ 817 h 2915"/>
                    <a:gd name="T76" fmla="*/ 187 w 2793"/>
                    <a:gd name="T77" fmla="*/ 920 h 2915"/>
                    <a:gd name="T78" fmla="*/ 137 w 2793"/>
                    <a:gd name="T79" fmla="*/ 1027 h 2915"/>
                    <a:gd name="T80" fmla="*/ 94 w 2793"/>
                    <a:gd name="T81" fmla="*/ 1138 h 2915"/>
                    <a:gd name="T82" fmla="*/ 58 w 2793"/>
                    <a:gd name="T83" fmla="*/ 1253 h 2915"/>
                    <a:gd name="T84" fmla="*/ 32 w 2793"/>
                    <a:gd name="T85" fmla="*/ 1370 h 2915"/>
                    <a:gd name="T86" fmla="*/ 12 w 2793"/>
                    <a:gd name="T87" fmla="*/ 1491 h 2915"/>
                    <a:gd name="T88" fmla="*/ 2 w 2793"/>
                    <a:gd name="T89" fmla="*/ 1614 h 2915"/>
                    <a:gd name="T90" fmla="*/ 0 w 2793"/>
                    <a:gd name="T91" fmla="*/ 1697 h 2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93" h="2915">
                      <a:moveTo>
                        <a:pt x="0" y="1697"/>
                      </a:moveTo>
                      <a:lnTo>
                        <a:pt x="0" y="1697"/>
                      </a:lnTo>
                      <a:lnTo>
                        <a:pt x="1" y="1742"/>
                      </a:lnTo>
                      <a:lnTo>
                        <a:pt x="2" y="1787"/>
                      </a:lnTo>
                      <a:lnTo>
                        <a:pt x="6" y="1831"/>
                      </a:lnTo>
                      <a:lnTo>
                        <a:pt x="9" y="1874"/>
                      </a:lnTo>
                      <a:lnTo>
                        <a:pt x="14" y="1918"/>
                      </a:lnTo>
                      <a:lnTo>
                        <a:pt x="20" y="1961"/>
                      </a:lnTo>
                      <a:lnTo>
                        <a:pt x="27" y="2003"/>
                      </a:lnTo>
                      <a:lnTo>
                        <a:pt x="35" y="2046"/>
                      </a:lnTo>
                      <a:lnTo>
                        <a:pt x="45" y="2087"/>
                      </a:lnTo>
                      <a:lnTo>
                        <a:pt x="55" y="2129"/>
                      </a:lnTo>
                      <a:lnTo>
                        <a:pt x="67" y="2170"/>
                      </a:lnTo>
                      <a:lnTo>
                        <a:pt x="79" y="2212"/>
                      </a:lnTo>
                      <a:lnTo>
                        <a:pt x="92" y="2252"/>
                      </a:lnTo>
                      <a:lnTo>
                        <a:pt x="107" y="2291"/>
                      </a:lnTo>
                      <a:lnTo>
                        <a:pt x="122" y="2330"/>
                      </a:lnTo>
                      <a:lnTo>
                        <a:pt x="138" y="2369"/>
                      </a:lnTo>
                      <a:lnTo>
                        <a:pt x="155" y="2407"/>
                      </a:lnTo>
                      <a:lnTo>
                        <a:pt x="174" y="2445"/>
                      </a:lnTo>
                      <a:lnTo>
                        <a:pt x="192" y="2483"/>
                      </a:lnTo>
                      <a:lnTo>
                        <a:pt x="212" y="2520"/>
                      </a:lnTo>
                      <a:lnTo>
                        <a:pt x="232" y="2556"/>
                      </a:lnTo>
                      <a:lnTo>
                        <a:pt x="254" y="2592"/>
                      </a:lnTo>
                      <a:lnTo>
                        <a:pt x="276" y="2627"/>
                      </a:lnTo>
                      <a:lnTo>
                        <a:pt x="299" y="2662"/>
                      </a:lnTo>
                      <a:lnTo>
                        <a:pt x="323" y="2695"/>
                      </a:lnTo>
                      <a:lnTo>
                        <a:pt x="349" y="2729"/>
                      </a:lnTo>
                      <a:lnTo>
                        <a:pt x="374" y="2762"/>
                      </a:lnTo>
                      <a:lnTo>
                        <a:pt x="400" y="2794"/>
                      </a:lnTo>
                      <a:lnTo>
                        <a:pt x="428" y="2825"/>
                      </a:lnTo>
                      <a:lnTo>
                        <a:pt x="456" y="2856"/>
                      </a:lnTo>
                      <a:lnTo>
                        <a:pt x="484" y="2886"/>
                      </a:lnTo>
                      <a:lnTo>
                        <a:pt x="513" y="2915"/>
                      </a:lnTo>
                      <a:lnTo>
                        <a:pt x="2793" y="637"/>
                      </a:lnTo>
                      <a:lnTo>
                        <a:pt x="2793" y="637"/>
                      </a:lnTo>
                      <a:lnTo>
                        <a:pt x="2770" y="614"/>
                      </a:lnTo>
                      <a:lnTo>
                        <a:pt x="2747" y="591"/>
                      </a:lnTo>
                      <a:lnTo>
                        <a:pt x="2747" y="591"/>
                      </a:lnTo>
                      <a:lnTo>
                        <a:pt x="2743" y="587"/>
                      </a:lnTo>
                      <a:lnTo>
                        <a:pt x="2743" y="587"/>
                      </a:lnTo>
                      <a:lnTo>
                        <a:pt x="2699" y="548"/>
                      </a:lnTo>
                      <a:lnTo>
                        <a:pt x="2655" y="509"/>
                      </a:lnTo>
                      <a:lnTo>
                        <a:pt x="2609" y="471"/>
                      </a:lnTo>
                      <a:lnTo>
                        <a:pt x="2562" y="434"/>
                      </a:lnTo>
                      <a:lnTo>
                        <a:pt x="2514" y="400"/>
                      </a:lnTo>
                      <a:lnTo>
                        <a:pt x="2466" y="365"/>
                      </a:lnTo>
                      <a:lnTo>
                        <a:pt x="2416" y="332"/>
                      </a:lnTo>
                      <a:lnTo>
                        <a:pt x="2366" y="301"/>
                      </a:lnTo>
                      <a:lnTo>
                        <a:pt x="2366" y="301"/>
                      </a:lnTo>
                      <a:lnTo>
                        <a:pt x="2344" y="287"/>
                      </a:lnTo>
                      <a:lnTo>
                        <a:pt x="2344" y="287"/>
                      </a:lnTo>
                      <a:lnTo>
                        <a:pt x="2277" y="249"/>
                      </a:lnTo>
                      <a:lnTo>
                        <a:pt x="2242" y="230"/>
                      </a:lnTo>
                      <a:lnTo>
                        <a:pt x="2209" y="213"/>
                      </a:lnTo>
                      <a:lnTo>
                        <a:pt x="2209" y="213"/>
                      </a:lnTo>
                      <a:lnTo>
                        <a:pt x="2206" y="211"/>
                      </a:lnTo>
                      <a:lnTo>
                        <a:pt x="2206" y="211"/>
                      </a:lnTo>
                      <a:lnTo>
                        <a:pt x="2151" y="184"/>
                      </a:lnTo>
                      <a:lnTo>
                        <a:pt x="2097" y="160"/>
                      </a:lnTo>
                      <a:lnTo>
                        <a:pt x="2042" y="137"/>
                      </a:lnTo>
                      <a:lnTo>
                        <a:pt x="1986" y="114"/>
                      </a:lnTo>
                      <a:lnTo>
                        <a:pt x="1929" y="94"/>
                      </a:lnTo>
                      <a:lnTo>
                        <a:pt x="1872" y="75"/>
                      </a:lnTo>
                      <a:lnTo>
                        <a:pt x="1813" y="56"/>
                      </a:lnTo>
                      <a:lnTo>
                        <a:pt x="1754" y="40"/>
                      </a:lnTo>
                      <a:lnTo>
                        <a:pt x="1754" y="40"/>
                      </a:lnTo>
                      <a:lnTo>
                        <a:pt x="1723" y="32"/>
                      </a:lnTo>
                      <a:lnTo>
                        <a:pt x="1723" y="32"/>
                      </a:lnTo>
                      <a:lnTo>
                        <a:pt x="1648" y="15"/>
                      </a:lnTo>
                      <a:lnTo>
                        <a:pt x="1610" y="7"/>
                      </a:lnTo>
                      <a:lnTo>
                        <a:pt x="1572" y="0"/>
                      </a:lnTo>
                      <a:lnTo>
                        <a:pt x="1572" y="0"/>
                      </a:lnTo>
                      <a:lnTo>
                        <a:pt x="1531" y="3"/>
                      </a:lnTo>
                      <a:lnTo>
                        <a:pt x="1491" y="8"/>
                      </a:lnTo>
                      <a:lnTo>
                        <a:pt x="1449" y="14"/>
                      </a:lnTo>
                      <a:lnTo>
                        <a:pt x="1410" y="21"/>
                      </a:lnTo>
                      <a:lnTo>
                        <a:pt x="1370" y="28"/>
                      </a:lnTo>
                      <a:lnTo>
                        <a:pt x="1331" y="36"/>
                      </a:lnTo>
                      <a:lnTo>
                        <a:pt x="1291" y="45"/>
                      </a:lnTo>
                      <a:lnTo>
                        <a:pt x="1252" y="55"/>
                      </a:lnTo>
                      <a:lnTo>
                        <a:pt x="1213" y="67"/>
                      </a:lnTo>
                      <a:lnTo>
                        <a:pt x="1175" y="78"/>
                      </a:lnTo>
                      <a:lnTo>
                        <a:pt x="1138" y="91"/>
                      </a:lnTo>
                      <a:lnTo>
                        <a:pt x="1100" y="105"/>
                      </a:lnTo>
                      <a:lnTo>
                        <a:pt x="1064" y="120"/>
                      </a:lnTo>
                      <a:lnTo>
                        <a:pt x="1027" y="135"/>
                      </a:lnTo>
                      <a:lnTo>
                        <a:pt x="991" y="151"/>
                      </a:lnTo>
                      <a:lnTo>
                        <a:pt x="955" y="168"/>
                      </a:lnTo>
                      <a:lnTo>
                        <a:pt x="921" y="185"/>
                      </a:lnTo>
                      <a:lnTo>
                        <a:pt x="886" y="204"/>
                      </a:lnTo>
                      <a:lnTo>
                        <a:pt x="852" y="223"/>
                      </a:lnTo>
                      <a:lnTo>
                        <a:pt x="818" y="243"/>
                      </a:lnTo>
                      <a:lnTo>
                        <a:pt x="785" y="264"/>
                      </a:lnTo>
                      <a:lnTo>
                        <a:pt x="752" y="286"/>
                      </a:lnTo>
                      <a:lnTo>
                        <a:pt x="719" y="307"/>
                      </a:lnTo>
                      <a:lnTo>
                        <a:pt x="688" y="330"/>
                      </a:lnTo>
                      <a:lnTo>
                        <a:pt x="657" y="353"/>
                      </a:lnTo>
                      <a:lnTo>
                        <a:pt x="627" y="379"/>
                      </a:lnTo>
                      <a:lnTo>
                        <a:pt x="597" y="403"/>
                      </a:lnTo>
                      <a:lnTo>
                        <a:pt x="567" y="428"/>
                      </a:lnTo>
                      <a:lnTo>
                        <a:pt x="539" y="455"/>
                      </a:lnTo>
                      <a:lnTo>
                        <a:pt x="511" y="482"/>
                      </a:lnTo>
                      <a:lnTo>
                        <a:pt x="483" y="510"/>
                      </a:lnTo>
                      <a:lnTo>
                        <a:pt x="457" y="538"/>
                      </a:lnTo>
                      <a:lnTo>
                        <a:pt x="430" y="566"/>
                      </a:lnTo>
                      <a:lnTo>
                        <a:pt x="405" y="596"/>
                      </a:lnTo>
                      <a:lnTo>
                        <a:pt x="380" y="626"/>
                      </a:lnTo>
                      <a:lnTo>
                        <a:pt x="355" y="656"/>
                      </a:lnTo>
                      <a:lnTo>
                        <a:pt x="331" y="687"/>
                      </a:lnTo>
                      <a:lnTo>
                        <a:pt x="309" y="720"/>
                      </a:lnTo>
                      <a:lnTo>
                        <a:pt x="286" y="752"/>
                      </a:lnTo>
                      <a:lnTo>
                        <a:pt x="266" y="784"/>
                      </a:lnTo>
                      <a:lnTo>
                        <a:pt x="245" y="817"/>
                      </a:lnTo>
                      <a:lnTo>
                        <a:pt x="225" y="851"/>
                      </a:lnTo>
                      <a:lnTo>
                        <a:pt x="206" y="885"/>
                      </a:lnTo>
                      <a:lnTo>
                        <a:pt x="187" y="920"/>
                      </a:lnTo>
                      <a:lnTo>
                        <a:pt x="170" y="956"/>
                      </a:lnTo>
                      <a:lnTo>
                        <a:pt x="153" y="991"/>
                      </a:lnTo>
                      <a:lnTo>
                        <a:pt x="137" y="1027"/>
                      </a:lnTo>
                      <a:lnTo>
                        <a:pt x="122" y="1064"/>
                      </a:lnTo>
                      <a:lnTo>
                        <a:pt x="108" y="1101"/>
                      </a:lnTo>
                      <a:lnTo>
                        <a:pt x="94" y="1138"/>
                      </a:lnTo>
                      <a:lnTo>
                        <a:pt x="81" y="1176"/>
                      </a:lnTo>
                      <a:lnTo>
                        <a:pt x="70" y="1214"/>
                      </a:lnTo>
                      <a:lnTo>
                        <a:pt x="58" y="1253"/>
                      </a:lnTo>
                      <a:lnTo>
                        <a:pt x="49" y="1291"/>
                      </a:lnTo>
                      <a:lnTo>
                        <a:pt x="40" y="1330"/>
                      </a:lnTo>
                      <a:lnTo>
                        <a:pt x="32" y="1370"/>
                      </a:lnTo>
                      <a:lnTo>
                        <a:pt x="24" y="1410"/>
                      </a:lnTo>
                      <a:lnTo>
                        <a:pt x="18" y="1450"/>
                      </a:lnTo>
                      <a:lnTo>
                        <a:pt x="12" y="1491"/>
                      </a:lnTo>
                      <a:lnTo>
                        <a:pt x="8" y="1531"/>
                      </a:lnTo>
                      <a:lnTo>
                        <a:pt x="4" y="1573"/>
                      </a:lnTo>
                      <a:lnTo>
                        <a:pt x="2" y="1614"/>
                      </a:lnTo>
                      <a:lnTo>
                        <a:pt x="1" y="1656"/>
                      </a:lnTo>
                      <a:lnTo>
                        <a:pt x="0" y="1697"/>
                      </a:lnTo>
                      <a:lnTo>
                        <a:pt x="0" y="1697"/>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5" name="Freeform 315"/>
                <p:cNvSpPr>
                  <a:spLocks/>
                </p:cNvSpPr>
                <p:nvPr/>
              </p:nvSpPr>
              <p:spPr bwMode="auto">
                <a:xfrm>
                  <a:off x="2997200" y="4476750"/>
                  <a:ext cx="896938" cy="650875"/>
                </a:xfrm>
                <a:custGeom>
                  <a:avLst/>
                  <a:gdLst>
                    <a:gd name="T0" fmla="*/ 1760 w 3952"/>
                    <a:gd name="T1" fmla="*/ 2863 h 2867"/>
                    <a:gd name="T2" fmla="*/ 1992 w 3952"/>
                    <a:gd name="T3" fmla="*/ 2840 h 2867"/>
                    <a:gd name="T4" fmla="*/ 2218 w 3952"/>
                    <a:gd name="T5" fmla="*/ 2793 h 2867"/>
                    <a:gd name="T6" fmla="*/ 2435 w 3952"/>
                    <a:gd name="T7" fmla="*/ 2726 h 2867"/>
                    <a:gd name="T8" fmla="*/ 2643 w 3952"/>
                    <a:gd name="T9" fmla="*/ 2639 h 2867"/>
                    <a:gd name="T10" fmla="*/ 2839 w 3952"/>
                    <a:gd name="T11" fmla="*/ 2532 h 2867"/>
                    <a:gd name="T12" fmla="*/ 3024 w 3952"/>
                    <a:gd name="T13" fmla="*/ 2407 h 2867"/>
                    <a:gd name="T14" fmla="*/ 3195 w 3952"/>
                    <a:gd name="T15" fmla="*/ 2266 h 2867"/>
                    <a:gd name="T16" fmla="*/ 3352 w 3952"/>
                    <a:gd name="T17" fmla="*/ 2109 h 2867"/>
                    <a:gd name="T18" fmla="*/ 3493 w 3952"/>
                    <a:gd name="T19" fmla="*/ 1938 h 2867"/>
                    <a:gd name="T20" fmla="*/ 3618 w 3952"/>
                    <a:gd name="T21" fmla="*/ 1753 h 2867"/>
                    <a:gd name="T22" fmla="*/ 3724 w 3952"/>
                    <a:gd name="T23" fmla="*/ 1557 h 2867"/>
                    <a:gd name="T24" fmla="*/ 3812 w 3952"/>
                    <a:gd name="T25" fmla="*/ 1349 h 2867"/>
                    <a:gd name="T26" fmla="*/ 3879 w 3952"/>
                    <a:gd name="T27" fmla="*/ 1133 h 2867"/>
                    <a:gd name="T28" fmla="*/ 3925 w 3952"/>
                    <a:gd name="T29" fmla="*/ 907 h 2867"/>
                    <a:gd name="T30" fmla="*/ 3949 w 3952"/>
                    <a:gd name="T31" fmla="*/ 673 h 2867"/>
                    <a:gd name="T32" fmla="*/ 3950 w 3952"/>
                    <a:gd name="T33" fmla="*/ 484 h 2867"/>
                    <a:gd name="T34" fmla="*/ 3924 w 3952"/>
                    <a:gd name="T35" fmla="*/ 204 h 2867"/>
                    <a:gd name="T36" fmla="*/ 3883 w 3952"/>
                    <a:gd name="T37" fmla="*/ 0 h 2867"/>
                    <a:gd name="T38" fmla="*/ 3872 w 3952"/>
                    <a:gd name="T39" fmla="*/ 173 h 2867"/>
                    <a:gd name="T40" fmla="*/ 3845 w 3952"/>
                    <a:gd name="T41" fmla="*/ 340 h 2867"/>
                    <a:gd name="T42" fmla="*/ 3801 w 3952"/>
                    <a:gd name="T43" fmla="*/ 501 h 2867"/>
                    <a:gd name="T44" fmla="*/ 3743 w 3952"/>
                    <a:gd name="T45" fmla="*/ 656 h 2867"/>
                    <a:gd name="T46" fmla="*/ 3671 w 3952"/>
                    <a:gd name="T47" fmla="*/ 802 h 2867"/>
                    <a:gd name="T48" fmla="*/ 3584 w 3952"/>
                    <a:gd name="T49" fmla="*/ 942 h 2867"/>
                    <a:gd name="T50" fmla="*/ 3486 w 3952"/>
                    <a:gd name="T51" fmla="*/ 1071 h 2867"/>
                    <a:gd name="T52" fmla="*/ 3377 w 3952"/>
                    <a:gd name="T53" fmla="*/ 1190 h 2867"/>
                    <a:gd name="T54" fmla="*/ 3256 w 3952"/>
                    <a:gd name="T55" fmla="*/ 1299 h 2867"/>
                    <a:gd name="T56" fmla="*/ 3125 w 3952"/>
                    <a:gd name="T57" fmla="*/ 1395 h 2867"/>
                    <a:gd name="T58" fmla="*/ 2986 w 3952"/>
                    <a:gd name="T59" fmla="*/ 1481 h 2867"/>
                    <a:gd name="T60" fmla="*/ 2837 w 3952"/>
                    <a:gd name="T61" fmla="*/ 1551 h 2867"/>
                    <a:gd name="T62" fmla="*/ 2682 w 3952"/>
                    <a:gd name="T63" fmla="*/ 1607 h 2867"/>
                    <a:gd name="T64" fmla="*/ 2521 w 3952"/>
                    <a:gd name="T65" fmla="*/ 1649 h 2867"/>
                    <a:gd name="T66" fmla="*/ 2352 w 3952"/>
                    <a:gd name="T67" fmla="*/ 1674 h 2867"/>
                    <a:gd name="T68" fmla="*/ 2179 w 3952"/>
                    <a:gd name="T69" fmla="*/ 1683 h 2867"/>
                    <a:gd name="T70" fmla="*/ 2050 w 3952"/>
                    <a:gd name="T71" fmla="*/ 1677 h 2867"/>
                    <a:gd name="T72" fmla="*/ 1882 w 3952"/>
                    <a:gd name="T73" fmla="*/ 1657 h 2867"/>
                    <a:gd name="T74" fmla="*/ 1719 w 3952"/>
                    <a:gd name="T75" fmla="*/ 1620 h 2867"/>
                    <a:gd name="T76" fmla="*/ 1563 w 3952"/>
                    <a:gd name="T77" fmla="*/ 1568 h 2867"/>
                    <a:gd name="T78" fmla="*/ 1414 w 3952"/>
                    <a:gd name="T79" fmla="*/ 1501 h 2867"/>
                    <a:gd name="T80" fmla="*/ 1273 w 3952"/>
                    <a:gd name="T81" fmla="*/ 1421 h 2867"/>
                    <a:gd name="T82" fmla="*/ 1140 w 3952"/>
                    <a:gd name="T83" fmla="*/ 1329 h 2867"/>
                    <a:gd name="T84" fmla="*/ 1017 w 3952"/>
                    <a:gd name="T85" fmla="*/ 1224 h 2867"/>
                    <a:gd name="T86" fmla="*/ 41 w 3952"/>
                    <a:gd name="T87" fmla="*/ 2223 h 2867"/>
                    <a:gd name="T88" fmla="*/ 209 w 3952"/>
                    <a:gd name="T89" fmla="*/ 2369 h 2867"/>
                    <a:gd name="T90" fmla="*/ 391 w 3952"/>
                    <a:gd name="T91" fmla="*/ 2499 h 2867"/>
                    <a:gd name="T92" fmla="*/ 584 w 3952"/>
                    <a:gd name="T93" fmla="*/ 2611 h 2867"/>
                    <a:gd name="T94" fmla="*/ 790 w 3952"/>
                    <a:gd name="T95" fmla="*/ 2704 h 2867"/>
                    <a:gd name="T96" fmla="*/ 1005 w 3952"/>
                    <a:gd name="T97" fmla="*/ 2778 h 2867"/>
                    <a:gd name="T98" fmla="*/ 1230 w 3952"/>
                    <a:gd name="T99" fmla="*/ 2830 h 2867"/>
                    <a:gd name="T100" fmla="*/ 1463 w 3952"/>
                    <a:gd name="T101" fmla="*/ 2860 h 2867"/>
                    <a:gd name="T102" fmla="*/ 1641 w 3952"/>
                    <a:gd name="T103" fmla="*/ 2867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952" h="2867">
                      <a:moveTo>
                        <a:pt x="1641" y="2867"/>
                      </a:moveTo>
                      <a:lnTo>
                        <a:pt x="1641" y="2867"/>
                      </a:lnTo>
                      <a:lnTo>
                        <a:pt x="1700" y="2866"/>
                      </a:lnTo>
                      <a:lnTo>
                        <a:pt x="1760" y="2863"/>
                      </a:lnTo>
                      <a:lnTo>
                        <a:pt x="1818" y="2860"/>
                      </a:lnTo>
                      <a:lnTo>
                        <a:pt x="1877" y="2854"/>
                      </a:lnTo>
                      <a:lnTo>
                        <a:pt x="1935" y="2848"/>
                      </a:lnTo>
                      <a:lnTo>
                        <a:pt x="1992" y="2840"/>
                      </a:lnTo>
                      <a:lnTo>
                        <a:pt x="2050" y="2830"/>
                      </a:lnTo>
                      <a:lnTo>
                        <a:pt x="2106" y="2820"/>
                      </a:lnTo>
                      <a:lnTo>
                        <a:pt x="2163" y="2807"/>
                      </a:lnTo>
                      <a:lnTo>
                        <a:pt x="2218" y="2793"/>
                      </a:lnTo>
                      <a:lnTo>
                        <a:pt x="2273" y="2779"/>
                      </a:lnTo>
                      <a:lnTo>
                        <a:pt x="2328" y="2762"/>
                      </a:lnTo>
                      <a:lnTo>
                        <a:pt x="2382" y="2745"/>
                      </a:lnTo>
                      <a:lnTo>
                        <a:pt x="2435" y="2726"/>
                      </a:lnTo>
                      <a:lnTo>
                        <a:pt x="2488" y="2706"/>
                      </a:lnTo>
                      <a:lnTo>
                        <a:pt x="2540" y="2685"/>
                      </a:lnTo>
                      <a:lnTo>
                        <a:pt x="2592" y="2662"/>
                      </a:lnTo>
                      <a:lnTo>
                        <a:pt x="2643" y="2639"/>
                      </a:lnTo>
                      <a:lnTo>
                        <a:pt x="2693" y="2613"/>
                      </a:lnTo>
                      <a:lnTo>
                        <a:pt x="2743" y="2587"/>
                      </a:lnTo>
                      <a:lnTo>
                        <a:pt x="2791" y="2561"/>
                      </a:lnTo>
                      <a:lnTo>
                        <a:pt x="2839" y="2532"/>
                      </a:lnTo>
                      <a:lnTo>
                        <a:pt x="2887" y="2502"/>
                      </a:lnTo>
                      <a:lnTo>
                        <a:pt x="2933" y="2472"/>
                      </a:lnTo>
                      <a:lnTo>
                        <a:pt x="2979" y="2440"/>
                      </a:lnTo>
                      <a:lnTo>
                        <a:pt x="3024" y="2407"/>
                      </a:lnTo>
                      <a:lnTo>
                        <a:pt x="3067" y="2373"/>
                      </a:lnTo>
                      <a:lnTo>
                        <a:pt x="3111" y="2338"/>
                      </a:lnTo>
                      <a:lnTo>
                        <a:pt x="3154" y="2303"/>
                      </a:lnTo>
                      <a:lnTo>
                        <a:pt x="3195" y="2266"/>
                      </a:lnTo>
                      <a:lnTo>
                        <a:pt x="3235" y="2228"/>
                      </a:lnTo>
                      <a:lnTo>
                        <a:pt x="3275" y="2190"/>
                      </a:lnTo>
                      <a:lnTo>
                        <a:pt x="3314" y="2149"/>
                      </a:lnTo>
                      <a:lnTo>
                        <a:pt x="3352" y="2109"/>
                      </a:lnTo>
                      <a:lnTo>
                        <a:pt x="3389" y="2068"/>
                      </a:lnTo>
                      <a:lnTo>
                        <a:pt x="3424" y="2025"/>
                      </a:lnTo>
                      <a:lnTo>
                        <a:pt x="3459" y="1981"/>
                      </a:lnTo>
                      <a:lnTo>
                        <a:pt x="3493" y="1938"/>
                      </a:lnTo>
                      <a:lnTo>
                        <a:pt x="3526" y="1893"/>
                      </a:lnTo>
                      <a:lnTo>
                        <a:pt x="3558" y="1847"/>
                      </a:lnTo>
                      <a:lnTo>
                        <a:pt x="3588" y="1801"/>
                      </a:lnTo>
                      <a:lnTo>
                        <a:pt x="3618" y="1753"/>
                      </a:lnTo>
                      <a:lnTo>
                        <a:pt x="3645" y="1705"/>
                      </a:lnTo>
                      <a:lnTo>
                        <a:pt x="3673" y="1657"/>
                      </a:lnTo>
                      <a:lnTo>
                        <a:pt x="3699" y="1607"/>
                      </a:lnTo>
                      <a:lnTo>
                        <a:pt x="3724" y="1557"/>
                      </a:lnTo>
                      <a:lnTo>
                        <a:pt x="3748" y="1506"/>
                      </a:lnTo>
                      <a:lnTo>
                        <a:pt x="3771" y="1454"/>
                      </a:lnTo>
                      <a:lnTo>
                        <a:pt x="3792" y="1402"/>
                      </a:lnTo>
                      <a:lnTo>
                        <a:pt x="3812" y="1349"/>
                      </a:lnTo>
                      <a:lnTo>
                        <a:pt x="3831" y="1296"/>
                      </a:lnTo>
                      <a:lnTo>
                        <a:pt x="3848" y="1242"/>
                      </a:lnTo>
                      <a:lnTo>
                        <a:pt x="3864" y="1187"/>
                      </a:lnTo>
                      <a:lnTo>
                        <a:pt x="3879" y="1133"/>
                      </a:lnTo>
                      <a:lnTo>
                        <a:pt x="3893" y="1076"/>
                      </a:lnTo>
                      <a:lnTo>
                        <a:pt x="3906" y="1020"/>
                      </a:lnTo>
                      <a:lnTo>
                        <a:pt x="3916" y="964"/>
                      </a:lnTo>
                      <a:lnTo>
                        <a:pt x="3925" y="907"/>
                      </a:lnTo>
                      <a:lnTo>
                        <a:pt x="3933" y="850"/>
                      </a:lnTo>
                      <a:lnTo>
                        <a:pt x="3940" y="791"/>
                      </a:lnTo>
                      <a:lnTo>
                        <a:pt x="3946" y="732"/>
                      </a:lnTo>
                      <a:lnTo>
                        <a:pt x="3949" y="673"/>
                      </a:lnTo>
                      <a:lnTo>
                        <a:pt x="3952" y="615"/>
                      </a:lnTo>
                      <a:lnTo>
                        <a:pt x="3952" y="555"/>
                      </a:lnTo>
                      <a:lnTo>
                        <a:pt x="3952" y="555"/>
                      </a:lnTo>
                      <a:lnTo>
                        <a:pt x="3950" y="484"/>
                      </a:lnTo>
                      <a:lnTo>
                        <a:pt x="3947" y="412"/>
                      </a:lnTo>
                      <a:lnTo>
                        <a:pt x="3941" y="342"/>
                      </a:lnTo>
                      <a:lnTo>
                        <a:pt x="3933" y="272"/>
                      </a:lnTo>
                      <a:lnTo>
                        <a:pt x="3924" y="204"/>
                      </a:lnTo>
                      <a:lnTo>
                        <a:pt x="3911" y="135"/>
                      </a:lnTo>
                      <a:lnTo>
                        <a:pt x="3897" y="67"/>
                      </a:lnTo>
                      <a:lnTo>
                        <a:pt x="3883" y="0"/>
                      </a:lnTo>
                      <a:lnTo>
                        <a:pt x="3883" y="0"/>
                      </a:lnTo>
                      <a:lnTo>
                        <a:pt x="3881" y="44"/>
                      </a:lnTo>
                      <a:lnTo>
                        <a:pt x="3879" y="86"/>
                      </a:lnTo>
                      <a:lnTo>
                        <a:pt x="3876" y="130"/>
                      </a:lnTo>
                      <a:lnTo>
                        <a:pt x="3872" y="173"/>
                      </a:lnTo>
                      <a:lnTo>
                        <a:pt x="3866" y="214"/>
                      </a:lnTo>
                      <a:lnTo>
                        <a:pt x="3859" y="257"/>
                      </a:lnTo>
                      <a:lnTo>
                        <a:pt x="3853" y="298"/>
                      </a:lnTo>
                      <a:lnTo>
                        <a:pt x="3845" y="340"/>
                      </a:lnTo>
                      <a:lnTo>
                        <a:pt x="3835" y="381"/>
                      </a:lnTo>
                      <a:lnTo>
                        <a:pt x="3825" y="421"/>
                      </a:lnTo>
                      <a:lnTo>
                        <a:pt x="3813" y="462"/>
                      </a:lnTo>
                      <a:lnTo>
                        <a:pt x="3801" y="501"/>
                      </a:lnTo>
                      <a:lnTo>
                        <a:pt x="3788" y="540"/>
                      </a:lnTo>
                      <a:lnTo>
                        <a:pt x="3773" y="579"/>
                      </a:lnTo>
                      <a:lnTo>
                        <a:pt x="3758" y="618"/>
                      </a:lnTo>
                      <a:lnTo>
                        <a:pt x="3743" y="656"/>
                      </a:lnTo>
                      <a:lnTo>
                        <a:pt x="3726" y="693"/>
                      </a:lnTo>
                      <a:lnTo>
                        <a:pt x="3709" y="730"/>
                      </a:lnTo>
                      <a:lnTo>
                        <a:pt x="3690" y="767"/>
                      </a:lnTo>
                      <a:lnTo>
                        <a:pt x="3671" y="802"/>
                      </a:lnTo>
                      <a:lnTo>
                        <a:pt x="3650" y="838"/>
                      </a:lnTo>
                      <a:lnTo>
                        <a:pt x="3629" y="874"/>
                      </a:lnTo>
                      <a:lnTo>
                        <a:pt x="3607" y="908"/>
                      </a:lnTo>
                      <a:lnTo>
                        <a:pt x="3584" y="942"/>
                      </a:lnTo>
                      <a:lnTo>
                        <a:pt x="3561" y="975"/>
                      </a:lnTo>
                      <a:lnTo>
                        <a:pt x="3537" y="1007"/>
                      </a:lnTo>
                      <a:lnTo>
                        <a:pt x="3512" y="1040"/>
                      </a:lnTo>
                      <a:lnTo>
                        <a:pt x="3486" y="1071"/>
                      </a:lnTo>
                      <a:lnTo>
                        <a:pt x="3460" y="1102"/>
                      </a:lnTo>
                      <a:lnTo>
                        <a:pt x="3434" y="1132"/>
                      </a:lnTo>
                      <a:lnTo>
                        <a:pt x="3405" y="1162"/>
                      </a:lnTo>
                      <a:lnTo>
                        <a:pt x="3377" y="1190"/>
                      </a:lnTo>
                      <a:lnTo>
                        <a:pt x="3347" y="1219"/>
                      </a:lnTo>
                      <a:lnTo>
                        <a:pt x="3317" y="1247"/>
                      </a:lnTo>
                      <a:lnTo>
                        <a:pt x="3287" y="1273"/>
                      </a:lnTo>
                      <a:lnTo>
                        <a:pt x="3256" y="1299"/>
                      </a:lnTo>
                      <a:lnTo>
                        <a:pt x="3224" y="1324"/>
                      </a:lnTo>
                      <a:lnTo>
                        <a:pt x="3192" y="1349"/>
                      </a:lnTo>
                      <a:lnTo>
                        <a:pt x="3160" y="1372"/>
                      </a:lnTo>
                      <a:lnTo>
                        <a:pt x="3125" y="1395"/>
                      </a:lnTo>
                      <a:lnTo>
                        <a:pt x="3092" y="1418"/>
                      </a:lnTo>
                      <a:lnTo>
                        <a:pt x="3057" y="1439"/>
                      </a:lnTo>
                      <a:lnTo>
                        <a:pt x="3021" y="1460"/>
                      </a:lnTo>
                      <a:lnTo>
                        <a:pt x="2986" y="1481"/>
                      </a:lnTo>
                      <a:lnTo>
                        <a:pt x="2950" y="1499"/>
                      </a:lnTo>
                      <a:lnTo>
                        <a:pt x="2913" y="1517"/>
                      </a:lnTo>
                      <a:lnTo>
                        <a:pt x="2875" y="1535"/>
                      </a:lnTo>
                      <a:lnTo>
                        <a:pt x="2837" y="1551"/>
                      </a:lnTo>
                      <a:lnTo>
                        <a:pt x="2799" y="1566"/>
                      </a:lnTo>
                      <a:lnTo>
                        <a:pt x="2761" y="1581"/>
                      </a:lnTo>
                      <a:lnTo>
                        <a:pt x="2722" y="1595"/>
                      </a:lnTo>
                      <a:lnTo>
                        <a:pt x="2682" y="1607"/>
                      </a:lnTo>
                      <a:lnTo>
                        <a:pt x="2643" y="1619"/>
                      </a:lnTo>
                      <a:lnTo>
                        <a:pt x="2602" y="1630"/>
                      </a:lnTo>
                      <a:lnTo>
                        <a:pt x="2561" y="1639"/>
                      </a:lnTo>
                      <a:lnTo>
                        <a:pt x="2521" y="1649"/>
                      </a:lnTo>
                      <a:lnTo>
                        <a:pt x="2479" y="1657"/>
                      </a:lnTo>
                      <a:lnTo>
                        <a:pt x="2437" y="1664"/>
                      </a:lnTo>
                      <a:lnTo>
                        <a:pt x="2395" y="1669"/>
                      </a:lnTo>
                      <a:lnTo>
                        <a:pt x="2352" y="1674"/>
                      </a:lnTo>
                      <a:lnTo>
                        <a:pt x="2310" y="1677"/>
                      </a:lnTo>
                      <a:lnTo>
                        <a:pt x="2266" y="1681"/>
                      </a:lnTo>
                      <a:lnTo>
                        <a:pt x="2222" y="1682"/>
                      </a:lnTo>
                      <a:lnTo>
                        <a:pt x="2179" y="1683"/>
                      </a:lnTo>
                      <a:lnTo>
                        <a:pt x="2179" y="1683"/>
                      </a:lnTo>
                      <a:lnTo>
                        <a:pt x="2136" y="1682"/>
                      </a:lnTo>
                      <a:lnTo>
                        <a:pt x="2092" y="1681"/>
                      </a:lnTo>
                      <a:lnTo>
                        <a:pt x="2050" y="1677"/>
                      </a:lnTo>
                      <a:lnTo>
                        <a:pt x="2007" y="1674"/>
                      </a:lnTo>
                      <a:lnTo>
                        <a:pt x="1966" y="1669"/>
                      </a:lnTo>
                      <a:lnTo>
                        <a:pt x="1923" y="1664"/>
                      </a:lnTo>
                      <a:lnTo>
                        <a:pt x="1882" y="1657"/>
                      </a:lnTo>
                      <a:lnTo>
                        <a:pt x="1840" y="1649"/>
                      </a:lnTo>
                      <a:lnTo>
                        <a:pt x="1800" y="1641"/>
                      </a:lnTo>
                      <a:lnTo>
                        <a:pt x="1760" y="1630"/>
                      </a:lnTo>
                      <a:lnTo>
                        <a:pt x="1719" y="1620"/>
                      </a:lnTo>
                      <a:lnTo>
                        <a:pt x="1680" y="1608"/>
                      </a:lnTo>
                      <a:lnTo>
                        <a:pt x="1640" y="1596"/>
                      </a:lnTo>
                      <a:lnTo>
                        <a:pt x="1602" y="1582"/>
                      </a:lnTo>
                      <a:lnTo>
                        <a:pt x="1563" y="1568"/>
                      </a:lnTo>
                      <a:lnTo>
                        <a:pt x="1525" y="1552"/>
                      </a:lnTo>
                      <a:lnTo>
                        <a:pt x="1488" y="1536"/>
                      </a:lnTo>
                      <a:lnTo>
                        <a:pt x="1450" y="1519"/>
                      </a:lnTo>
                      <a:lnTo>
                        <a:pt x="1414" y="1501"/>
                      </a:lnTo>
                      <a:lnTo>
                        <a:pt x="1377" y="1483"/>
                      </a:lnTo>
                      <a:lnTo>
                        <a:pt x="1343" y="1463"/>
                      </a:lnTo>
                      <a:lnTo>
                        <a:pt x="1307" y="1443"/>
                      </a:lnTo>
                      <a:lnTo>
                        <a:pt x="1273" y="1421"/>
                      </a:lnTo>
                      <a:lnTo>
                        <a:pt x="1239" y="1399"/>
                      </a:lnTo>
                      <a:lnTo>
                        <a:pt x="1206" y="1377"/>
                      </a:lnTo>
                      <a:lnTo>
                        <a:pt x="1172" y="1353"/>
                      </a:lnTo>
                      <a:lnTo>
                        <a:pt x="1140" y="1329"/>
                      </a:lnTo>
                      <a:lnTo>
                        <a:pt x="1109" y="1303"/>
                      </a:lnTo>
                      <a:lnTo>
                        <a:pt x="1078" y="1278"/>
                      </a:lnTo>
                      <a:lnTo>
                        <a:pt x="1047" y="1251"/>
                      </a:lnTo>
                      <a:lnTo>
                        <a:pt x="1017" y="1224"/>
                      </a:lnTo>
                      <a:lnTo>
                        <a:pt x="988" y="1196"/>
                      </a:lnTo>
                      <a:lnTo>
                        <a:pt x="0" y="2184"/>
                      </a:lnTo>
                      <a:lnTo>
                        <a:pt x="0" y="2184"/>
                      </a:lnTo>
                      <a:lnTo>
                        <a:pt x="41" y="2223"/>
                      </a:lnTo>
                      <a:lnTo>
                        <a:pt x="81" y="2261"/>
                      </a:lnTo>
                      <a:lnTo>
                        <a:pt x="122" y="2298"/>
                      </a:lnTo>
                      <a:lnTo>
                        <a:pt x="165" y="2334"/>
                      </a:lnTo>
                      <a:lnTo>
                        <a:pt x="209" y="2369"/>
                      </a:lnTo>
                      <a:lnTo>
                        <a:pt x="253" y="2403"/>
                      </a:lnTo>
                      <a:lnTo>
                        <a:pt x="297" y="2436"/>
                      </a:lnTo>
                      <a:lnTo>
                        <a:pt x="344" y="2468"/>
                      </a:lnTo>
                      <a:lnTo>
                        <a:pt x="391" y="2499"/>
                      </a:lnTo>
                      <a:lnTo>
                        <a:pt x="438" y="2529"/>
                      </a:lnTo>
                      <a:lnTo>
                        <a:pt x="486" y="2557"/>
                      </a:lnTo>
                      <a:lnTo>
                        <a:pt x="535" y="2585"/>
                      </a:lnTo>
                      <a:lnTo>
                        <a:pt x="584" y="2611"/>
                      </a:lnTo>
                      <a:lnTo>
                        <a:pt x="635" y="2637"/>
                      </a:lnTo>
                      <a:lnTo>
                        <a:pt x="685" y="2661"/>
                      </a:lnTo>
                      <a:lnTo>
                        <a:pt x="737" y="2684"/>
                      </a:lnTo>
                      <a:lnTo>
                        <a:pt x="790" y="2704"/>
                      </a:lnTo>
                      <a:lnTo>
                        <a:pt x="843" y="2725"/>
                      </a:lnTo>
                      <a:lnTo>
                        <a:pt x="896" y="2744"/>
                      </a:lnTo>
                      <a:lnTo>
                        <a:pt x="950" y="2762"/>
                      </a:lnTo>
                      <a:lnTo>
                        <a:pt x="1005" y="2778"/>
                      </a:lnTo>
                      <a:lnTo>
                        <a:pt x="1061" y="2793"/>
                      </a:lnTo>
                      <a:lnTo>
                        <a:pt x="1116" y="2807"/>
                      </a:lnTo>
                      <a:lnTo>
                        <a:pt x="1172" y="2820"/>
                      </a:lnTo>
                      <a:lnTo>
                        <a:pt x="1230" y="2830"/>
                      </a:lnTo>
                      <a:lnTo>
                        <a:pt x="1288" y="2839"/>
                      </a:lnTo>
                      <a:lnTo>
                        <a:pt x="1345" y="2847"/>
                      </a:lnTo>
                      <a:lnTo>
                        <a:pt x="1403" y="2854"/>
                      </a:lnTo>
                      <a:lnTo>
                        <a:pt x="1463" y="2860"/>
                      </a:lnTo>
                      <a:lnTo>
                        <a:pt x="1521" y="2863"/>
                      </a:lnTo>
                      <a:lnTo>
                        <a:pt x="1581" y="2866"/>
                      </a:lnTo>
                      <a:lnTo>
                        <a:pt x="1641" y="2867"/>
                      </a:lnTo>
                      <a:lnTo>
                        <a:pt x="1641" y="2867"/>
                      </a:lnTo>
                      <a:close/>
                    </a:path>
                  </a:pathLst>
                </a:custGeom>
                <a:solidFill>
                  <a:srgbClr val="2556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6" name="Freeform 316"/>
                <p:cNvSpPr>
                  <a:spLocks/>
                </p:cNvSpPr>
                <p:nvPr/>
              </p:nvSpPr>
              <p:spPr bwMode="auto">
                <a:xfrm>
                  <a:off x="3221038" y="4232275"/>
                  <a:ext cx="657225" cy="627063"/>
                </a:xfrm>
                <a:custGeom>
                  <a:avLst/>
                  <a:gdLst>
                    <a:gd name="T0" fmla="*/ 0 w 2895"/>
                    <a:gd name="T1" fmla="*/ 2278 h 2765"/>
                    <a:gd name="T2" fmla="*/ 59 w 2895"/>
                    <a:gd name="T3" fmla="*/ 2333 h 2765"/>
                    <a:gd name="T4" fmla="*/ 121 w 2895"/>
                    <a:gd name="T5" fmla="*/ 2385 h 2765"/>
                    <a:gd name="T6" fmla="*/ 184 w 2895"/>
                    <a:gd name="T7" fmla="*/ 2435 h 2765"/>
                    <a:gd name="T8" fmla="*/ 251 w 2895"/>
                    <a:gd name="T9" fmla="*/ 2481 h 2765"/>
                    <a:gd name="T10" fmla="*/ 319 w 2895"/>
                    <a:gd name="T11" fmla="*/ 2525 h 2765"/>
                    <a:gd name="T12" fmla="*/ 389 w 2895"/>
                    <a:gd name="T13" fmla="*/ 2565 h 2765"/>
                    <a:gd name="T14" fmla="*/ 462 w 2895"/>
                    <a:gd name="T15" fmla="*/ 2601 h 2765"/>
                    <a:gd name="T16" fmla="*/ 537 w 2895"/>
                    <a:gd name="T17" fmla="*/ 2634 h 2765"/>
                    <a:gd name="T18" fmla="*/ 614 w 2895"/>
                    <a:gd name="T19" fmla="*/ 2664 h 2765"/>
                    <a:gd name="T20" fmla="*/ 692 w 2895"/>
                    <a:gd name="T21" fmla="*/ 2690 h 2765"/>
                    <a:gd name="T22" fmla="*/ 772 w 2895"/>
                    <a:gd name="T23" fmla="*/ 2712 h 2765"/>
                    <a:gd name="T24" fmla="*/ 852 w 2895"/>
                    <a:gd name="T25" fmla="*/ 2731 h 2765"/>
                    <a:gd name="T26" fmla="*/ 935 w 2895"/>
                    <a:gd name="T27" fmla="*/ 2746 h 2765"/>
                    <a:gd name="T28" fmla="*/ 1019 w 2895"/>
                    <a:gd name="T29" fmla="*/ 2756 h 2765"/>
                    <a:gd name="T30" fmla="*/ 1104 w 2895"/>
                    <a:gd name="T31" fmla="*/ 2763 h 2765"/>
                    <a:gd name="T32" fmla="*/ 1191 w 2895"/>
                    <a:gd name="T33" fmla="*/ 2765 h 2765"/>
                    <a:gd name="T34" fmla="*/ 1234 w 2895"/>
                    <a:gd name="T35" fmla="*/ 2764 h 2765"/>
                    <a:gd name="T36" fmla="*/ 1322 w 2895"/>
                    <a:gd name="T37" fmla="*/ 2759 h 2765"/>
                    <a:gd name="T38" fmla="*/ 1407 w 2895"/>
                    <a:gd name="T39" fmla="*/ 2751 h 2765"/>
                    <a:gd name="T40" fmla="*/ 1491 w 2895"/>
                    <a:gd name="T41" fmla="*/ 2739 h 2765"/>
                    <a:gd name="T42" fmla="*/ 1573 w 2895"/>
                    <a:gd name="T43" fmla="*/ 2721 h 2765"/>
                    <a:gd name="T44" fmla="*/ 1655 w 2895"/>
                    <a:gd name="T45" fmla="*/ 2701 h 2765"/>
                    <a:gd name="T46" fmla="*/ 1734 w 2895"/>
                    <a:gd name="T47" fmla="*/ 2677 h 2765"/>
                    <a:gd name="T48" fmla="*/ 1811 w 2895"/>
                    <a:gd name="T49" fmla="*/ 2648 h 2765"/>
                    <a:gd name="T50" fmla="*/ 1887 w 2895"/>
                    <a:gd name="T51" fmla="*/ 2617 h 2765"/>
                    <a:gd name="T52" fmla="*/ 1962 w 2895"/>
                    <a:gd name="T53" fmla="*/ 2581 h 2765"/>
                    <a:gd name="T54" fmla="*/ 2033 w 2895"/>
                    <a:gd name="T55" fmla="*/ 2542 h 2765"/>
                    <a:gd name="T56" fmla="*/ 2104 w 2895"/>
                    <a:gd name="T57" fmla="*/ 2500 h 2765"/>
                    <a:gd name="T58" fmla="*/ 2172 w 2895"/>
                    <a:gd name="T59" fmla="*/ 2454 h 2765"/>
                    <a:gd name="T60" fmla="*/ 2236 w 2895"/>
                    <a:gd name="T61" fmla="*/ 2406 h 2765"/>
                    <a:gd name="T62" fmla="*/ 2299 w 2895"/>
                    <a:gd name="T63" fmla="*/ 2355 h 2765"/>
                    <a:gd name="T64" fmla="*/ 2359 w 2895"/>
                    <a:gd name="T65" fmla="*/ 2301 h 2765"/>
                    <a:gd name="T66" fmla="*/ 2417 w 2895"/>
                    <a:gd name="T67" fmla="*/ 2244 h 2765"/>
                    <a:gd name="T68" fmla="*/ 2472 w 2895"/>
                    <a:gd name="T69" fmla="*/ 2184 h 2765"/>
                    <a:gd name="T70" fmla="*/ 2524 w 2895"/>
                    <a:gd name="T71" fmla="*/ 2122 h 2765"/>
                    <a:gd name="T72" fmla="*/ 2573 w 2895"/>
                    <a:gd name="T73" fmla="*/ 2057 h 2765"/>
                    <a:gd name="T74" fmla="*/ 2619 w 2895"/>
                    <a:gd name="T75" fmla="*/ 1990 h 2765"/>
                    <a:gd name="T76" fmla="*/ 2662 w 2895"/>
                    <a:gd name="T77" fmla="*/ 1920 h 2765"/>
                    <a:gd name="T78" fmla="*/ 2702 w 2895"/>
                    <a:gd name="T79" fmla="*/ 1849 h 2765"/>
                    <a:gd name="T80" fmla="*/ 2738 w 2895"/>
                    <a:gd name="T81" fmla="*/ 1775 h 2765"/>
                    <a:gd name="T82" fmla="*/ 2770 w 2895"/>
                    <a:gd name="T83" fmla="*/ 1700 h 2765"/>
                    <a:gd name="T84" fmla="*/ 2800 w 2895"/>
                    <a:gd name="T85" fmla="*/ 1622 h 2765"/>
                    <a:gd name="T86" fmla="*/ 2825 w 2895"/>
                    <a:gd name="T87" fmla="*/ 1544 h 2765"/>
                    <a:gd name="T88" fmla="*/ 2847 w 2895"/>
                    <a:gd name="T89" fmla="*/ 1463 h 2765"/>
                    <a:gd name="T90" fmla="*/ 2865 w 2895"/>
                    <a:gd name="T91" fmla="*/ 1380 h 2765"/>
                    <a:gd name="T92" fmla="*/ 2878 w 2895"/>
                    <a:gd name="T93" fmla="*/ 1296 h 2765"/>
                    <a:gd name="T94" fmla="*/ 2888 w 2895"/>
                    <a:gd name="T95" fmla="*/ 1212 h 2765"/>
                    <a:gd name="T96" fmla="*/ 2893 w 2895"/>
                    <a:gd name="T97" fmla="*/ 1126 h 2765"/>
                    <a:gd name="T98" fmla="*/ 2895 w 2895"/>
                    <a:gd name="T99" fmla="*/ 1082 h 2765"/>
                    <a:gd name="T100" fmla="*/ 2875 w 2895"/>
                    <a:gd name="T101" fmla="*/ 1011 h 2765"/>
                    <a:gd name="T102" fmla="*/ 2831 w 2895"/>
                    <a:gd name="T103" fmla="*/ 871 h 2765"/>
                    <a:gd name="T104" fmla="*/ 2779 w 2895"/>
                    <a:gd name="T105" fmla="*/ 735 h 2765"/>
                    <a:gd name="T106" fmla="*/ 2718 w 2895"/>
                    <a:gd name="T107" fmla="*/ 604 h 2765"/>
                    <a:gd name="T108" fmla="*/ 2650 w 2895"/>
                    <a:gd name="T109" fmla="*/ 478 h 2765"/>
                    <a:gd name="T110" fmla="*/ 2574 w 2895"/>
                    <a:gd name="T111" fmla="*/ 357 h 2765"/>
                    <a:gd name="T112" fmla="*/ 2492 w 2895"/>
                    <a:gd name="T113" fmla="*/ 239 h 2765"/>
                    <a:gd name="T114" fmla="*/ 2402 w 2895"/>
                    <a:gd name="T115" fmla="*/ 129 h 2765"/>
                    <a:gd name="T116" fmla="*/ 2353 w 2895"/>
                    <a:gd name="T117" fmla="*/ 76 h 2765"/>
                    <a:gd name="T118" fmla="*/ 2345 w 2895"/>
                    <a:gd name="T119" fmla="*/ 65 h 2765"/>
                    <a:gd name="T120" fmla="*/ 2280 w 2895"/>
                    <a:gd name="T121" fmla="*/ 0 h 2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95" h="2765">
                      <a:moveTo>
                        <a:pt x="0" y="2278"/>
                      </a:moveTo>
                      <a:lnTo>
                        <a:pt x="0" y="2278"/>
                      </a:lnTo>
                      <a:lnTo>
                        <a:pt x="29" y="2306"/>
                      </a:lnTo>
                      <a:lnTo>
                        <a:pt x="59" y="2333"/>
                      </a:lnTo>
                      <a:lnTo>
                        <a:pt x="90" y="2360"/>
                      </a:lnTo>
                      <a:lnTo>
                        <a:pt x="121" y="2385"/>
                      </a:lnTo>
                      <a:lnTo>
                        <a:pt x="152" y="2411"/>
                      </a:lnTo>
                      <a:lnTo>
                        <a:pt x="184" y="2435"/>
                      </a:lnTo>
                      <a:lnTo>
                        <a:pt x="218" y="2459"/>
                      </a:lnTo>
                      <a:lnTo>
                        <a:pt x="251" y="2481"/>
                      </a:lnTo>
                      <a:lnTo>
                        <a:pt x="285" y="2503"/>
                      </a:lnTo>
                      <a:lnTo>
                        <a:pt x="319" y="2525"/>
                      </a:lnTo>
                      <a:lnTo>
                        <a:pt x="355" y="2545"/>
                      </a:lnTo>
                      <a:lnTo>
                        <a:pt x="389" y="2565"/>
                      </a:lnTo>
                      <a:lnTo>
                        <a:pt x="426" y="2583"/>
                      </a:lnTo>
                      <a:lnTo>
                        <a:pt x="462" y="2601"/>
                      </a:lnTo>
                      <a:lnTo>
                        <a:pt x="500" y="2618"/>
                      </a:lnTo>
                      <a:lnTo>
                        <a:pt x="537" y="2634"/>
                      </a:lnTo>
                      <a:lnTo>
                        <a:pt x="575" y="2650"/>
                      </a:lnTo>
                      <a:lnTo>
                        <a:pt x="614" y="2664"/>
                      </a:lnTo>
                      <a:lnTo>
                        <a:pt x="652" y="2678"/>
                      </a:lnTo>
                      <a:lnTo>
                        <a:pt x="692" y="2690"/>
                      </a:lnTo>
                      <a:lnTo>
                        <a:pt x="731" y="2702"/>
                      </a:lnTo>
                      <a:lnTo>
                        <a:pt x="772" y="2712"/>
                      </a:lnTo>
                      <a:lnTo>
                        <a:pt x="812" y="2723"/>
                      </a:lnTo>
                      <a:lnTo>
                        <a:pt x="852" y="2731"/>
                      </a:lnTo>
                      <a:lnTo>
                        <a:pt x="894" y="2739"/>
                      </a:lnTo>
                      <a:lnTo>
                        <a:pt x="935" y="2746"/>
                      </a:lnTo>
                      <a:lnTo>
                        <a:pt x="978" y="2751"/>
                      </a:lnTo>
                      <a:lnTo>
                        <a:pt x="1019" y="2756"/>
                      </a:lnTo>
                      <a:lnTo>
                        <a:pt x="1062" y="2759"/>
                      </a:lnTo>
                      <a:lnTo>
                        <a:pt x="1104" y="2763"/>
                      </a:lnTo>
                      <a:lnTo>
                        <a:pt x="1148" y="2764"/>
                      </a:lnTo>
                      <a:lnTo>
                        <a:pt x="1191" y="2765"/>
                      </a:lnTo>
                      <a:lnTo>
                        <a:pt x="1191" y="2765"/>
                      </a:lnTo>
                      <a:lnTo>
                        <a:pt x="1234" y="2764"/>
                      </a:lnTo>
                      <a:lnTo>
                        <a:pt x="1278" y="2763"/>
                      </a:lnTo>
                      <a:lnTo>
                        <a:pt x="1322" y="2759"/>
                      </a:lnTo>
                      <a:lnTo>
                        <a:pt x="1364" y="2756"/>
                      </a:lnTo>
                      <a:lnTo>
                        <a:pt x="1407" y="2751"/>
                      </a:lnTo>
                      <a:lnTo>
                        <a:pt x="1449" y="2746"/>
                      </a:lnTo>
                      <a:lnTo>
                        <a:pt x="1491" y="2739"/>
                      </a:lnTo>
                      <a:lnTo>
                        <a:pt x="1533" y="2731"/>
                      </a:lnTo>
                      <a:lnTo>
                        <a:pt x="1573" y="2721"/>
                      </a:lnTo>
                      <a:lnTo>
                        <a:pt x="1614" y="2712"/>
                      </a:lnTo>
                      <a:lnTo>
                        <a:pt x="1655" y="2701"/>
                      </a:lnTo>
                      <a:lnTo>
                        <a:pt x="1694" y="2689"/>
                      </a:lnTo>
                      <a:lnTo>
                        <a:pt x="1734" y="2677"/>
                      </a:lnTo>
                      <a:lnTo>
                        <a:pt x="1773" y="2663"/>
                      </a:lnTo>
                      <a:lnTo>
                        <a:pt x="1811" y="2648"/>
                      </a:lnTo>
                      <a:lnTo>
                        <a:pt x="1849" y="2633"/>
                      </a:lnTo>
                      <a:lnTo>
                        <a:pt x="1887" y="2617"/>
                      </a:lnTo>
                      <a:lnTo>
                        <a:pt x="1925" y="2599"/>
                      </a:lnTo>
                      <a:lnTo>
                        <a:pt x="1962" y="2581"/>
                      </a:lnTo>
                      <a:lnTo>
                        <a:pt x="1998" y="2563"/>
                      </a:lnTo>
                      <a:lnTo>
                        <a:pt x="2033" y="2542"/>
                      </a:lnTo>
                      <a:lnTo>
                        <a:pt x="2069" y="2521"/>
                      </a:lnTo>
                      <a:lnTo>
                        <a:pt x="2104" y="2500"/>
                      </a:lnTo>
                      <a:lnTo>
                        <a:pt x="2137" y="2477"/>
                      </a:lnTo>
                      <a:lnTo>
                        <a:pt x="2172" y="2454"/>
                      </a:lnTo>
                      <a:lnTo>
                        <a:pt x="2204" y="2431"/>
                      </a:lnTo>
                      <a:lnTo>
                        <a:pt x="2236" y="2406"/>
                      </a:lnTo>
                      <a:lnTo>
                        <a:pt x="2268" y="2381"/>
                      </a:lnTo>
                      <a:lnTo>
                        <a:pt x="2299" y="2355"/>
                      </a:lnTo>
                      <a:lnTo>
                        <a:pt x="2329" y="2329"/>
                      </a:lnTo>
                      <a:lnTo>
                        <a:pt x="2359" y="2301"/>
                      </a:lnTo>
                      <a:lnTo>
                        <a:pt x="2389" y="2272"/>
                      </a:lnTo>
                      <a:lnTo>
                        <a:pt x="2417" y="2244"/>
                      </a:lnTo>
                      <a:lnTo>
                        <a:pt x="2446" y="2214"/>
                      </a:lnTo>
                      <a:lnTo>
                        <a:pt x="2472" y="2184"/>
                      </a:lnTo>
                      <a:lnTo>
                        <a:pt x="2498" y="2153"/>
                      </a:lnTo>
                      <a:lnTo>
                        <a:pt x="2524" y="2122"/>
                      </a:lnTo>
                      <a:lnTo>
                        <a:pt x="2549" y="2089"/>
                      </a:lnTo>
                      <a:lnTo>
                        <a:pt x="2573" y="2057"/>
                      </a:lnTo>
                      <a:lnTo>
                        <a:pt x="2596" y="2024"/>
                      </a:lnTo>
                      <a:lnTo>
                        <a:pt x="2619" y="1990"/>
                      </a:lnTo>
                      <a:lnTo>
                        <a:pt x="2641" y="1956"/>
                      </a:lnTo>
                      <a:lnTo>
                        <a:pt x="2662" y="1920"/>
                      </a:lnTo>
                      <a:lnTo>
                        <a:pt x="2683" y="1884"/>
                      </a:lnTo>
                      <a:lnTo>
                        <a:pt x="2702" y="1849"/>
                      </a:lnTo>
                      <a:lnTo>
                        <a:pt x="2721" y="1812"/>
                      </a:lnTo>
                      <a:lnTo>
                        <a:pt x="2738" y="1775"/>
                      </a:lnTo>
                      <a:lnTo>
                        <a:pt x="2755" y="1738"/>
                      </a:lnTo>
                      <a:lnTo>
                        <a:pt x="2770" y="1700"/>
                      </a:lnTo>
                      <a:lnTo>
                        <a:pt x="2785" y="1661"/>
                      </a:lnTo>
                      <a:lnTo>
                        <a:pt x="2800" y="1622"/>
                      </a:lnTo>
                      <a:lnTo>
                        <a:pt x="2813" y="1583"/>
                      </a:lnTo>
                      <a:lnTo>
                        <a:pt x="2825" y="1544"/>
                      </a:lnTo>
                      <a:lnTo>
                        <a:pt x="2837" y="1503"/>
                      </a:lnTo>
                      <a:lnTo>
                        <a:pt x="2847" y="1463"/>
                      </a:lnTo>
                      <a:lnTo>
                        <a:pt x="2857" y="1422"/>
                      </a:lnTo>
                      <a:lnTo>
                        <a:pt x="2865" y="1380"/>
                      </a:lnTo>
                      <a:lnTo>
                        <a:pt x="2871" y="1339"/>
                      </a:lnTo>
                      <a:lnTo>
                        <a:pt x="2878" y="1296"/>
                      </a:lnTo>
                      <a:lnTo>
                        <a:pt x="2884" y="1255"/>
                      </a:lnTo>
                      <a:lnTo>
                        <a:pt x="2888" y="1212"/>
                      </a:lnTo>
                      <a:lnTo>
                        <a:pt x="2891" y="1168"/>
                      </a:lnTo>
                      <a:lnTo>
                        <a:pt x="2893" y="1126"/>
                      </a:lnTo>
                      <a:lnTo>
                        <a:pt x="2895" y="1082"/>
                      </a:lnTo>
                      <a:lnTo>
                        <a:pt x="2895" y="1082"/>
                      </a:lnTo>
                      <a:lnTo>
                        <a:pt x="2895" y="1082"/>
                      </a:lnTo>
                      <a:lnTo>
                        <a:pt x="2875" y="1011"/>
                      </a:lnTo>
                      <a:lnTo>
                        <a:pt x="2854" y="940"/>
                      </a:lnTo>
                      <a:lnTo>
                        <a:pt x="2831" y="871"/>
                      </a:lnTo>
                      <a:lnTo>
                        <a:pt x="2806" y="803"/>
                      </a:lnTo>
                      <a:lnTo>
                        <a:pt x="2779" y="735"/>
                      </a:lnTo>
                      <a:lnTo>
                        <a:pt x="2749" y="670"/>
                      </a:lnTo>
                      <a:lnTo>
                        <a:pt x="2718" y="604"/>
                      </a:lnTo>
                      <a:lnTo>
                        <a:pt x="2685" y="541"/>
                      </a:lnTo>
                      <a:lnTo>
                        <a:pt x="2650" y="478"/>
                      </a:lnTo>
                      <a:lnTo>
                        <a:pt x="2612" y="416"/>
                      </a:lnTo>
                      <a:lnTo>
                        <a:pt x="2574" y="357"/>
                      </a:lnTo>
                      <a:lnTo>
                        <a:pt x="2533" y="297"/>
                      </a:lnTo>
                      <a:lnTo>
                        <a:pt x="2492" y="239"/>
                      </a:lnTo>
                      <a:lnTo>
                        <a:pt x="2447" y="184"/>
                      </a:lnTo>
                      <a:lnTo>
                        <a:pt x="2402" y="129"/>
                      </a:lnTo>
                      <a:lnTo>
                        <a:pt x="2353" y="76"/>
                      </a:lnTo>
                      <a:lnTo>
                        <a:pt x="2353" y="76"/>
                      </a:lnTo>
                      <a:lnTo>
                        <a:pt x="2345" y="65"/>
                      </a:lnTo>
                      <a:lnTo>
                        <a:pt x="2345" y="65"/>
                      </a:lnTo>
                      <a:lnTo>
                        <a:pt x="2312" y="32"/>
                      </a:lnTo>
                      <a:lnTo>
                        <a:pt x="2280" y="0"/>
                      </a:lnTo>
                      <a:lnTo>
                        <a:pt x="0" y="2278"/>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7" name="Freeform 317"/>
                <p:cNvSpPr>
                  <a:spLocks/>
                </p:cNvSpPr>
                <p:nvPr/>
              </p:nvSpPr>
              <p:spPr bwMode="auto">
                <a:xfrm>
                  <a:off x="2913063" y="4497388"/>
                  <a:ext cx="384175" cy="96838"/>
                </a:xfrm>
                <a:custGeom>
                  <a:avLst/>
                  <a:gdLst>
                    <a:gd name="T0" fmla="*/ 1691 w 1691"/>
                    <a:gd name="T1" fmla="*/ 214 h 427"/>
                    <a:gd name="T2" fmla="*/ 1686 w 1691"/>
                    <a:gd name="T3" fmla="*/ 257 h 427"/>
                    <a:gd name="T4" fmla="*/ 1674 w 1691"/>
                    <a:gd name="T5" fmla="*/ 297 h 427"/>
                    <a:gd name="T6" fmla="*/ 1654 w 1691"/>
                    <a:gd name="T7" fmla="*/ 333 h 427"/>
                    <a:gd name="T8" fmla="*/ 1628 w 1691"/>
                    <a:gd name="T9" fmla="*/ 365 h 427"/>
                    <a:gd name="T10" fmla="*/ 1597 w 1691"/>
                    <a:gd name="T11" fmla="*/ 391 h 427"/>
                    <a:gd name="T12" fmla="*/ 1561 w 1691"/>
                    <a:gd name="T13" fmla="*/ 411 h 427"/>
                    <a:gd name="T14" fmla="*/ 1521 w 1691"/>
                    <a:gd name="T15" fmla="*/ 423 h 427"/>
                    <a:gd name="T16" fmla="*/ 1477 w 1691"/>
                    <a:gd name="T17" fmla="*/ 427 h 427"/>
                    <a:gd name="T18" fmla="*/ 213 w 1691"/>
                    <a:gd name="T19" fmla="*/ 427 h 427"/>
                    <a:gd name="T20" fmla="*/ 170 w 1691"/>
                    <a:gd name="T21" fmla="*/ 423 h 427"/>
                    <a:gd name="T22" fmla="*/ 130 w 1691"/>
                    <a:gd name="T23" fmla="*/ 411 h 427"/>
                    <a:gd name="T24" fmla="*/ 93 w 1691"/>
                    <a:gd name="T25" fmla="*/ 391 h 427"/>
                    <a:gd name="T26" fmla="*/ 62 w 1691"/>
                    <a:gd name="T27" fmla="*/ 365 h 427"/>
                    <a:gd name="T28" fmla="*/ 35 w 1691"/>
                    <a:gd name="T29" fmla="*/ 333 h 427"/>
                    <a:gd name="T30" fmla="*/ 16 w 1691"/>
                    <a:gd name="T31" fmla="*/ 297 h 427"/>
                    <a:gd name="T32" fmla="*/ 3 w 1691"/>
                    <a:gd name="T33" fmla="*/ 257 h 427"/>
                    <a:gd name="T34" fmla="*/ 0 w 1691"/>
                    <a:gd name="T35" fmla="*/ 214 h 427"/>
                    <a:gd name="T36" fmla="*/ 0 w 1691"/>
                    <a:gd name="T37" fmla="*/ 193 h 427"/>
                    <a:gd name="T38" fmla="*/ 9 w 1691"/>
                    <a:gd name="T39" fmla="*/ 151 h 427"/>
                    <a:gd name="T40" fmla="*/ 25 w 1691"/>
                    <a:gd name="T41" fmla="*/ 112 h 427"/>
                    <a:gd name="T42" fmla="*/ 48 w 1691"/>
                    <a:gd name="T43" fmla="*/ 79 h 427"/>
                    <a:gd name="T44" fmla="*/ 77 w 1691"/>
                    <a:gd name="T45" fmla="*/ 50 h 427"/>
                    <a:gd name="T46" fmla="*/ 111 w 1691"/>
                    <a:gd name="T47" fmla="*/ 27 h 427"/>
                    <a:gd name="T48" fmla="*/ 149 w 1691"/>
                    <a:gd name="T49" fmla="*/ 11 h 427"/>
                    <a:gd name="T50" fmla="*/ 191 w 1691"/>
                    <a:gd name="T51" fmla="*/ 1 h 427"/>
                    <a:gd name="T52" fmla="*/ 1477 w 1691"/>
                    <a:gd name="T53" fmla="*/ 0 h 427"/>
                    <a:gd name="T54" fmla="*/ 1499 w 1691"/>
                    <a:gd name="T55" fmla="*/ 1 h 427"/>
                    <a:gd name="T56" fmla="*/ 1541 w 1691"/>
                    <a:gd name="T57" fmla="*/ 11 h 427"/>
                    <a:gd name="T58" fmla="*/ 1579 w 1691"/>
                    <a:gd name="T59" fmla="*/ 27 h 427"/>
                    <a:gd name="T60" fmla="*/ 1613 w 1691"/>
                    <a:gd name="T61" fmla="*/ 50 h 427"/>
                    <a:gd name="T62" fmla="*/ 1641 w 1691"/>
                    <a:gd name="T63" fmla="*/ 79 h 427"/>
                    <a:gd name="T64" fmla="*/ 1664 w 1691"/>
                    <a:gd name="T65" fmla="*/ 112 h 427"/>
                    <a:gd name="T66" fmla="*/ 1681 w 1691"/>
                    <a:gd name="T67" fmla="*/ 151 h 427"/>
                    <a:gd name="T68" fmla="*/ 1690 w 1691"/>
                    <a:gd name="T69" fmla="*/ 193 h 427"/>
                    <a:gd name="T70" fmla="*/ 1691 w 1691"/>
                    <a:gd name="T71" fmla="*/ 214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91" h="427">
                      <a:moveTo>
                        <a:pt x="1691" y="214"/>
                      </a:moveTo>
                      <a:lnTo>
                        <a:pt x="1691" y="214"/>
                      </a:lnTo>
                      <a:lnTo>
                        <a:pt x="1690" y="236"/>
                      </a:lnTo>
                      <a:lnTo>
                        <a:pt x="1686" y="257"/>
                      </a:lnTo>
                      <a:lnTo>
                        <a:pt x="1681" y="278"/>
                      </a:lnTo>
                      <a:lnTo>
                        <a:pt x="1674" y="297"/>
                      </a:lnTo>
                      <a:lnTo>
                        <a:pt x="1664" y="316"/>
                      </a:lnTo>
                      <a:lnTo>
                        <a:pt x="1654" y="333"/>
                      </a:lnTo>
                      <a:lnTo>
                        <a:pt x="1641" y="350"/>
                      </a:lnTo>
                      <a:lnTo>
                        <a:pt x="1628" y="365"/>
                      </a:lnTo>
                      <a:lnTo>
                        <a:pt x="1613" y="379"/>
                      </a:lnTo>
                      <a:lnTo>
                        <a:pt x="1597" y="391"/>
                      </a:lnTo>
                      <a:lnTo>
                        <a:pt x="1579" y="402"/>
                      </a:lnTo>
                      <a:lnTo>
                        <a:pt x="1561" y="411"/>
                      </a:lnTo>
                      <a:lnTo>
                        <a:pt x="1541" y="418"/>
                      </a:lnTo>
                      <a:lnTo>
                        <a:pt x="1521" y="423"/>
                      </a:lnTo>
                      <a:lnTo>
                        <a:pt x="1499" y="426"/>
                      </a:lnTo>
                      <a:lnTo>
                        <a:pt x="1477" y="427"/>
                      </a:lnTo>
                      <a:lnTo>
                        <a:pt x="213" y="427"/>
                      </a:lnTo>
                      <a:lnTo>
                        <a:pt x="213" y="427"/>
                      </a:lnTo>
                      <a:lnTo>
                        <a:pt x="191" y="426"/>
                      </a:lnTo>
                      <a:lnTo>
                        <a:pt x="170" y="423"/>
                      </a:lnTo>
                      <a:lnTo>
                        <a:pt x="149" y="418"/>
                      </a:lnTo>
                      <a:lnTo>
                        <a:pt x="130" y="411"/>
                      </a:lnTo>
                      <a:lnTo>
                        <a:pt x="111" y="402"/>
                      </a:lnTo>
                      <a:lnTo>
                        <a:pt x="93" y="391"/>
                      </a:lnTo>
                      <a:lnTo>
                        <a:pt x="77" y="379"/>
                      </a:lnTo>
                      <a:lnTo>
                        <a:pt x="62" y="365"/>
                      </a:lnTo>
                      <a:lnTo>
                        <a:pt x="48" y="350"/>
                      </a:lnTo>
                      <a:lnTo>
                        <a:pt x="35" y="333"/>
                      </a:lnTo>
                      <a:lnTo>
                        <a:pt x="25" y="316"/>
                      </a:lnTo>
                      <a:lnTo>
                        <a:pt x="16" y="297"/>
                      </a:lnTo>
                      <a:lnTo>
                        <a:pt x="9" y="278"/>
                      </a:lnTo>
                      <a:lnTo>
                        <a:pt x="3" y="257"/>
                      </a:lnTo>
                      <a:lnTo>
                        <a:pt x="0" y="236"/>
                      </a:lnTo>
                      <a:lnTo>
                        <a:pt x="0" y="214"/>
                      </a:lnTo>
                      <a:lnTo>
                        <a:pt x="0" y="214"/>
                      </a:lnTo>
                      <a:lnTo>
                        <a:pt x="0" y="193"/>
                      </a:lnTo>
                      <a:lnTo>
                        <a:pt x="3" y="171"/>
                      </a:lnTo>
                      <a:lnTo>
                        <a:pt x="9" y="151"/>
                      </a:lnTo>
                      <a:lnTo>
                        <a:pt x="16" y="132"/>
                      </a:lnTo>
                      <a:lnTo>
                        <a:pt x="25" y="112"/>
                      </a:lnTo>
                      <a:lnTo>
                        <a:pt x="35" y="95"/>
                      </a:lnTo>
                      <a:lnTo>
                        <a:pt x="48" y="79"/>
                      </a:lnTo>
                      <a:lnTo>
                        <a:pt x="62" y="64"/>
                      </a:lnTo>
                      <a:lnTo>
                        <a:pt x="77" y="50"/>
                      </a:lnTo>
                      <a:lnTo>
                        <a:pt x="93" y="37"/>
                      </a:lnTo>
                      <a:lnTo>
                        <a:pt x="111" y="27"/>
                      </a:lnTo>
                      <a:lnTo>
                        <a:pt x="130" y="18"/>
                      </a:lnTo>
                      <a:lnTo>
                        <a:pt x="149" y="11"/>
                      </a:lnTo>
                      <a:lnTo>
                        <a:pt x="170" y="5"/>
                      </a:lnTo>
                      <a:lnTo>
                        <a:pt x="191" y="1"/>
                      </a:lnTo>
                      <a:lnTo>
                        <a:pt x="213" y="0"/>
                      </a:lnTo>
                      <a:lnTo>
                        <a:pt x="1477" y="0"/>
                      </a:lnTo>
                      <a:lnTo>
                        <a:pt x="1477" y="0"/>
                      </a:lnTo>
                      <a:lnTo>
                        <a:pt x="1499" y="1"/>
                      </a:lnTo>
                      <a:lnTo>
                        <a:pt x="1521" y="5"/>
                      </a:lnTo>
                      <a:lnTo>
                        <a:pt x="1541" y="11"/>
                      </a:lnTo>
                      <a:lnTo>
                        <a:pt x="1561" y="18"/>
                      </a:lnTo>
                      <a:lnTo>
                        <a:pt x="1579" y="27"/>
                      </a:lnTo>
                      <a:lnTo>
                        <a:pt x="1597" y="37"/>
                      </a:lnTo>
                      <a:lnTo>
                        <a:pt x="1613" y="50"/>
                      </a:lnTo>
                      <a:lnTo>
                        <a:pt x="1628" y="64"/>
                      </a:lnTo>
                      <a:lnTo>
                        <a:pt x="1641" y="79"/>
                      </a:lnTo>
                      <a:lnTo>
                        <a:pt x="1654" y="95"/>
                      </a:lnTo>
                      <a:lnTo>
                        <a:pt x="1664" y="112"/>
                      </a:lnTo>
                      <a:lnTo>
                        <a:pt x="1674" y="132"/>
                      </a:lnTo>
                      <a:lnTo>
                        <a:pt x="1681" y="151"/>
                      </a:lnTo>
                      <a:lnTo>
                        <a:pt x="1686" y="171"/>
                      </a:lnTo>
                      <a:lnTo>
                        <a:pt x="1690" y="193"/>
                      </a:lnTo>
                      <a:lnTo>
                        <a:pt x="1691" y="214"/>
                      </a:lnTo>
                      <a:lnTo>
                        <a:pt x="1691" y="214"/>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8" name="Freeform 318"/>
                <p:cNvSpPr>
                  <a:spLocks/>
                </p:cNvSpPr>
                <p:nvPr/>
              </p:nvSpPr>
              <p:spPr bwMode="auto">
                <a:xfrm>
                  <a:off x="3062288" y="4306888"/>
                  <a:ext cx="384175" cy="96838"/>
                </a:xfrm>
                <a:custGeom>
                  <a:avLst/>
                  <a:gdLst>
                    <a:gd name="T0" fmla="*/ 1691 w 1691"/>
                    <a:gd name="T1" fmla="*/ 213 h 428"/>
                    <a:gd name="T2" fmla="*/ 1688 w 1691"/>
                    <a:gd name="T3" fmla="*/ 257 h 428"/>
                    <a:gd name="T4" fmla="*/ 1675 w 1691"/>
                    <a:gd name="T5" fmla="*/ 297 h 428"/>
                    <a:gd name="T6" fmla="*/ 1655 w 1691"/>
                    <a:gd name="T7" fmla="*/ 333 h 428"/>
                    <a:gd name="T8" fmla="*/ 1629 w 1691"/>
                    <a:gd name="T9" fmla="*/ 364 h 428"/>
                    <a:gd name="T10" fmla="*/ 1598 w 1691"/>
                    <a:gd name="T11" fmla="*/ 391 h 428"/>
                    <a:gd name="T12" fmla="*/ 1561 w 1691"/>
                    <a:gd name="T13" fmla="*/ 410 h 428"/>
                    <a:gd name="T14" fmla="*/ 1521 w 1691"/>
                    <a:gd name="T15" fmla="*/ 423 h 428"/>
                    <a:gd name="T16" fmla="*/ 1478 w 1691"/>
                    <a:gd name="T17" fmla="*/ 428 h 428"/>
                    <a:gd name="T18" fmla="*/ 214 w 1691"/>
                    <a:gd name="T19" fmla="*/ 428 h 428"/>
                    <a:gd name="T20" fmla="*/ 170 w 1691"/>
                    <a:gd name="T21" fmla="*/ 423 h 428"/>
                    <a:gd name="T22" fmla="*/ 131 w 1691"/>
                    <a:gd name="T23" fmla="*/ 410 h 428"/>
                    <a:gd name="T24" fmla="*/ 94 w 1691"/>
                    <a:gd name="T25" fmla="*/ 391 h 428"/>
                    <a:gd name="T26" fmla="*/ 63 w 1691"/>
                    <a:gd name="T27" fmla="*/ 364 h 428"/>
                    <a:gd name="T28" fmla="*/ 37 w 1691"/>
                    <a:gd name="T29" fmla="*/ 333 h 428"/>
                    <a:gd name="T30" fmla="*/ 17 w 1691"/>
                    <a:gd name="T31" fmla="*/ 297 h 428"/>
                    <a:gd name="T32" fmla="*/ 4 w 1691"/>
                    <a:gd name="T33" fmla="*/ 257 h 428"/>
                    <a:gd name="T34" fmla="*/ 0 w 1691"/>
                    <a:gd name="T35" fmla="*/ 213 h 428"/>
                    <a:gd name="T36" fmla="*/ 1 w 1691"/>
                    <a:gd name="T37" fmla="*/ 192 h 428"/>
                    <a:gd name="T38" fmla="*/ 10 w 1691"/>
                    <a:gd name="T39" fmla="*/ 150 h 428"/>
                    <a:gd name="T40" fmla="*/ 26 w 1691"/>
                    <a:gd name="T41" fmla="*/ 112 h 428"/>
                    <a:gd name="T42" fmla="*/ 49 w 1691"/>
                    <a:gd name="T43" fmla="*/ 78 h 428"/>
                    <a:gd name="T44" fmla="*/ 78 w 1691"/>
                    <a:gd name="T45" fmla="*/ 49 h 428"/>
                    <a:gd name="T46" fmla="*/ 111 w 1691"/>
                    <a:gd name="T47" fmla="*/ 26 h 428"/>
                    <a:gd name="T48" fmla="*/ 151 w 1691"/>
                    <a:gd name="T49" fmla="*/ 10 h 428"/>
                    <a:gd name="T50" fmla="*/ 192 w 1691"/>
                    <a:gd name="T51" fmla="*/ 2 h 428"/>
                    <a:gd name="T52" fmla="*/ 1478 w 1691"/>
                    <a:gd name="T53" fmla="*/ 0 h 428"/>
                    <a:gd name="T54" fmla="*/ 1500 w 1691"/>
                    <a:gd name="T55" fmla="*/ 2 h 428"/>
                    <a:gd name="T56" fmla="*/ 1541 w 1691"/>
                    <a:gd name="T57" fmla="*/ 10 h 428"/>
                    <a:gd name="T58" fmla="*/ 1579 w 1691"/>
                    <a:gd name="T59" fmla="*/ 26 h 428"/>
                    <a:gd name="T60" fmla="*/ 1614 w 1691"/>
                    <a:gd name="T61" fmla="*/ 49 h 428"/>
                    <a:gd name="T62" fmla="*/ 1643 w 1691"/>
                    <a:gd name="T63" fmla="*/ 78 h 428"/>
                    <a:gd name="T64" fmla="*/ 1666 w 1691"/>
                    <a:gd name="T65" fmla="*/ 112 h 428"/>
                    <a:gd name="T66" fmla="*/ 1682 w 1691"/>
                    <a:gd name="T67" fmla="*/ 150 h 428"/>
                    <a:gd name="T68" fmla="*/ 1691 w 1691"/>
                    <a:gd name="T69" fmla="*/ 192 h 428"/>
                    <a:gd name="T70" fmla="*/ 1691 w 1691"/>
                    <a:gd name="T71" fmla="*/ 213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91" h="428">
                      <a:moveTo>
                        <a:pt x="1691" y="213"/>
                      </a:moveTo>
                      <a:lnTo>
                        <a:pt x="1691" y="213"/>
                      </a:lnTo>
                      <a:lnTo>
                        <a:pt x="1691" y="235"/>
                      </a:lnTo>
                      <a:lnTo>
                        <a:pt x="1688" y="257"/>
                      </a:lnTo>
                      <a:lnTo>
                        <a:pt x="1682" y="278"/>
                      </a:lnTo>
                      <a:lnTo>
                        <a:pt x="1675" y="297"/>
                      </a:lnTo>
                      <a:lnTo>
                        <a:pt x="1666" y="316"/>
                      </a:lnTo>
                      <a:lnTo>
                        <a:pt x="1655" y="333"/>
                      </a:lnTo>
                      <a:lnTo>
                        <a:pt x="1643" y="349"/>
                      </a:lnTo>
                      <a:lnTo>
                        <a:pt x="1629" y="364"/>
                      </a:lnTo>
                      <a:lnTo>
                        <a:pt x="1614" y="378"/>
                      </a:lnTo>
                      <a:lnTo>
                        <a:pt x="1598" y="391"/>
                      </a:lnTo>
                      <a:lnTo>
                        <a:pt x="1579" y="401"/>
                      </a:lnTo>
                      <a:lnTo>
                        <a:pt x="1561" y="410"/>
                      </a:lnTo>
                      <a:lnTo>
                        <a:pt x="1541" y="417"/>
                      </a:lnTo>
                      <a:lnTo>
                        <a:pt x="1521" y="423"/>
                      </a:lnTo>
                      <a:lnTo>
                        <a:pt x="1500" y="426"/>
                      </a:lnTo>
                      <a:lnTo>
                        <a:pt x="1478" y="428"/>
                      </a:lnTo>
                      <a:lnTo>
                        <a:pt x="214" y="428"/>
                      </a:lnTo>
                      <a:lnTo>
                        <a:pt x="214" y="428"/>
                      </a:lnTo>
                      <a:lnTo>
                        <a:pt x="192" y="426"/>
                      </a:lnTo>
                      <a:lnTo>
                        <a:pt x="170" y="423"/>
                      </a:lnTo>
                      <a:lnTo>
                        <a:pt x="151" y="417"/>
                      </a:lnTo>
                      <a:lnTo>
                        <a:pt x="131" y="410"/>
                      </a:lnTo>
                      <a:lnTo>
                        <a:pt x="111" y="401"/>
                      </a:lnTo>
                      <a:lnTo>
                        <a:pt x="94" y="391"/>
                      </a:lnTo>
                      <a:lnTo>
                        <a:pt x="78" y="378"/>
                      </a:lnTo>
                      <a:lnTo>
                        <a:pt x="63" y="364"/>
                      </a:lnTo>
                      <a:lnTo>
                        <a:pt x="49" y="349"/>
                      </a:lnTo>
                      <a:lnTo>
                        <a:pt x="37" y="333"/>
                      </a:lnTo>
                      <a:lnTo>
                        <a:pt x="26" y="316"/>
                      </a:lnTo>
                      <a:lnTo>
                        <a:pt x="17" y="297"/>
                      </a:lnTo>
                      <a:lnTo>
                        <a:pt x="10" y="278"/>
                      </a:lnTo>
                      <a:lnTo>
                        <a:pt x="4" y="257"/>
                      </a:lnTo>
                      <a:lnTo>
                        <a:pt x="1" y="235"/>
                      </a:lnTo>
                      <a:lnTo>
                        <a:pt x="0" y="213"/>
                      </a:lnTo>
                      <a:lnTo>
                        <a:pt x="0" y="213"/>
                      </a:lnTo>
                      <a:lnTo>
                        <a:pt x="1" y="192"/>
                      </a:lnTo>
                      <a:lnTo>
                        <a:pt x="4" y="171"/>
                      </a:lnTo>
                      <a:lnTo>
                        <a:pt x="10" y="150"/>
                      </a:lnTo>
                      <a:lnTo>
                        <a:pt x="17" y="131"/>
                      </a:lnTo>
                      <a:lnTo>
                        <a:pt x="26" y="112"/>
                      </a:lnTo>
                      <a:lnTo>
                        <a:pt x="37" y="95"/>
                      </a:lnTo>
                      <a:lnTo>
                        <a:pt x="49" y="78"/>
                      </a:lnTo>
                      <a:lnTo>
                        <a:pt x="63" y="63"/>
                      </a:lnTo>
                      <a:lnTo>
                        <a:pt x="78" y="49"/>
                      </a:lnTo>
                      <a:lnTo>
                        <a:pt x="94" y="37"/>
                      </a:lnTo>
                      <a:lnTo>
                        <a:pt x="111" y="26"/>
                      </a:lnTo>
                      <a:lnTo>
                        <a:pt x="131" y="18"/>
                      </a:lnTo>
                      <a:lnTo>
                        <a:pt x="151" y="10"/>
                      </a:lnTo>
                      <a:lnTo>
                        <a:pt x="170" y="5"/>
                      </a:lnTo>
                      <a:lnTo>
                        <a:pt x="192" y="2"/>
                      </a:lnTo>
                      <a:lnTo>
                        <a:pt x="214" y="0"/>
                      </a:lnTo>
                      <a:lnTo>
                        <a:pt x="1478" y="0"/>
                      </a:lnTo>
                      <a:lnTo>
                        <a:pt x="1478" y="0"/>
                      </a:lnTo>
                      <a:lnTo>
                        <a:pt x="1500" y="2"/>
                      </a:lnTo>
                      <a:lnTo>
                        <a:pt x="1521" y="5"/>
                      </a:lnTo>
                      <a:lnTo>
                        <a:pt x="1541" y="10"/>
                      </a:lnTo>
                      <a:lnTo>
                        <a:pt x="1561" y="18"/>
                      </a:lnTo>
                      <a:lnTo>
                        <a:pt x="1579" y="26"/>
                      </a:lnTo>
                      <a:lnTo>
                        <a:pt x="1598" y="37"/>
                      </a:lnTo>
                      <a:lnTo>
                        <a:pt x="1614" y="49"/>
                      </a:lnTo>
                      <a:lnTo>
                        <a:pt x="1629" y="63"/>
                      </a:lnTo>
                      <a:lnTo>
                        <a:pt x="1643" y="78"/>
                      </a:lnTo>
                      <a:lnTo>
                        <a:pt x="1655" y="95"/>
                      </a:lnTo>
                      <a:lnTo>
                        <a:pt x="1666" y="112"/>
                      </a:lnTo>
                      <a:lnTo>
                        <a:pt x="1675" y="131"/>
                      </a:lnTo>
                      <a:lnTo>
                        <a:pt x="1682" y="150"/>
                      </a:lnTo>
                      <a:lnTo>
                        <a:pt x="1688" y="171"/>
                      </a:lnTo>
                      <a:lnTo>
                        <a:pt x="1691" y="192"/>
                      </a:lnTo>
                      <a:lnTo>
                        <a:pt x="1691" y="213"/>
                      </a:lnTo>
                      <a:lnTo>
                        <a:pt x="1691" y="213"/>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9" name="Freeform 319"/>
                <p:cNvSpPr>
                  <a:spLocks/>
                </p:cNvSpPr>
                <p:nvPr/>
              </p:nvSpPr>
              <p:spPr bwMode="auto">
                <a:xfrm>
                  <a:off x="3195638" y="4583113"/>
                  <a:ext cx="384175" cy="96838"/>
                </a:xfrm>
                <a:custGeom>
                  <a:avLst/>
                  <a:gdLst>
                    <a:gd name="T0" fmla="*/ 1691 w 1691"/>
                    <a:gd name="T1" fmla="*/ 213 h 427"/>
                    <a:gd name="T2" fmla="*/ 1688 w 1691"/>
                    <a:gd name="T3" fmla="*/ 256 h 427"/>
                    <a:gd name="T4" fmla="*/ 1675 w 1691"/>
                    <a:gd name="T5" fmla="*/ 295 h 427"/>
                    <a:gd name="T6" fmla="*/ 1656 w 1691"/>
                    <a:gd name="T7" fmla="*/ 332 h 427"/>
                    <a:gd name="T8" fmla="*/ 1629 w 1691"/>
                    <a:gd name="T9" fmla="*/ 363 h 427"/>
                    <a:gd name="T10" fmla="*/ 1598 w 1691"/>
                    <a:gd name="T11" fmla="*/ 390 h 427"/>
                    <a:gd name="T12" fmla="*/ 1561 w 1691"/>
                    <a:gd name="T13" fmla="*/ 409 h 427"/>
                    <a:gd name="T14" fmla="*/ 1522 w 1691"/>
                    <a:gd name="T15" fmla="*/ 422 h 427"/>
                    <a:gd name="T16" fmla="*/ 1478 w 1691"/>
                    <a:gd name="T17" fmla="*/ 427 h 427"/>
                    <a:gd name="T18" fmla="*/ 214 w 1691"/>
                    <a:gd name="T19" fmla="*/ 427 h 427"/>
                    <a:gd name="T20" fmla="*/ 171 w 1691"/>
                    <a:gd name="T21" fmla="*/ 422 h 427"/>
                    <a:gd name="T22" fmla="*/ 131 w 1691"/>
                    <a:gd name="T23" fmla="*/ 409 h 427"/>
                    <a:gd name="T24" fmla="*/ 95 w 1691"/>
                    <a:gd name="T25" fmla="*/ 390 h 427"/>
                    <a:gd name="T26" fmla="*/ 64 w 1691"/>
                    <a:gd name="T27" fmla="*/ 363 h 427"/>
                    <a:gd name="T28" fmla="*/ 37 w 1691"/>
                    <a:gd name="T29" fmla="*/ 332 h 427"/>
                    <a:gd name="T30" fmla="*/ 18 w 1691"/>
                    <a:gd name="T31" fmla="*/ 295 h 427"/>
                    <a:gd name="T32" fmla="*/ 5 w 1691"/>
                    <a:gd name="T33" fmla="*/ 256 h 427"/>
                    <a:gd name="T34" fmla="*/ 0 w 1691"/>
                    <a:gd name="T35" fmla="*/ 213 h 427"/>
                    <a:gd name="T36" fmla="*/ 1 w 1691"/>
                    <a:gd name="T37" fmla="*/ 191 h 427"/>
                    <a:gd name="T38" fmla="*/ 11 w 1691"/>
                    <a:gd name="T39" fmla="*/ 149 h 427"/>
                    <a:gd name="T40" fmla="*/ 27 w 1691"/>
                    <a:gd name="T41" fmla="*/ 111 h 427"/>
                    <a:gd name="T42" fmla="*/ 50 w 1691"/>
                    <a:gd name="T43" fmla="*/ 77 h 427"/>
                    <a:gd name="T44" fmla="*/ 79 w 1691"/>
                    <a:gd name="T45" fmla="*/ 48 h 427"/>
                    <a:gd name="T46" fmla="*/ 112 w 1691"/>
                    <a:gd name="T47" fmla="*/ 25 h 427"/>
                    <a:gd name="T48" fmla="*/ 151 w 1691"/>
                    <a:gd name="T49" fmla="*/ 9 h 427"/>
                    <a:gd name="T50" fmla="*/ 193 w 1691"/>
                    <a:gd name="T51" fmla="*/ 1 h 427"/>
                    <a:gd name="T52" fmla="*/ 1478 w 1691"/>
                    <a:gd name="T53" fmla="*/ 0 h 427"/>
                    <a:gd name="T54" fmla="*/ 1500 w 1691"/>
                    <a:gd name="T55" fmla="*/ 1 h 427"/>
                    <a:gd name="T56" fmla="*/ 1542 w 1691"/>
                    <a:gd name="T57" fmla="*/ 9 h 427"/>
                    <a:gd name="T58" fmla="*/ 1581 w 1691"/>
                    <a:gd name="T59" fmla="*/ 25 h 427"/>
                    <a:gd name="T60" fmla="*/ 1614 w 1691"/>
                    <a:gd name="T61" fmla="*/ 48 h 427"/>
                    <a:gd name="T62" fmla="*/ 1643 w 1691"/>
                    <a:gd name="T63" fmla="*/ 77 h 427"/>
                    <a:gd name="T64" fmla="*/ 1666 w 1691"/>
                    <a:gd name="T65" fmla="*/ 111 h 427"/>
                    <a:gd name="T66" fmla="*/ 1682 w 1691"/>
                    <a:gd name="T67" fmla="*/ 149 h 427"/>
                    <a:gd name="T68" fmla="*/ 1691 w 1691"/>
                    <a:gd name="T69" fmla="*/ 191 h 427"/>
                    <a:gd name="T70" fmla="*/ 1691 w 1691"/>
                    <a:gd name="T71" fmla="*/ 213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91" h="427">
                      <a:moveTo>
                        <a:pt x="1691" y="213"/>
                      </a:moveTo>
                      <a:lnTo>
                        <a:pt x="1691" y="213"/>
                      </a:lnTo>
                      <a:lnTo>
                        <a:pt x="1691" y="234"/>
                      </a:lnTo>
                      <a:lnTo>
                        <a:pt x="1688" y="256"/>
                      </a:lnTo>
                      <a:lnTo>
                        <a:pt x="1682" y="276"/>
                      </a:lnTo>
                      <a:lnTo>
                        <a:pt x="1675" y="295"/>
                      </a:lnTo>
                      <a:lnTo>
                        <a:pt x="1666" y="315"/>
                      </a:lnTo>
                      <a:lnTo>
                        <a:pt x="1656" y="332"/>
                      </a:lnTo>
                      <a:lnTo>
                        <a:pt x="1643" y="348"/>
                      </a:lnTo>
                      <a:lnTo>
                        <a:pt x="1629" y="363"/>
                      </a:lnTo>
                      <a:lnTo>
                        <a:pt x="1614" y="377"/>
                      </a:lnTo>
                      <a:lnTo>
                        <a:pt x="1598" y="390"/>
                      </a:lnTo>
                      <a:lnTo>
                        <a:pt x="1581" y="400"/>
                      </a:lnTo>
                      <a:lnTo>
                        <a:pt x="1561" y="409"/>
                      </a:lnTo>
                      <a:lnTo>
                        <a:pt x="1542" y="416"/>
                      </a:lnTo>
                      <a:lnTo>
                        <a:pt x="1522" y="422"/>
                      </a:lnTo>
                      <a:lnTo>
                        <a:pt x="1500" y="426"/>
                      </a:lnTo>
                      <a:lnTo>
                        <a:pt x="1478" y="427"/>
                      </a:lnTo>
                      <a:lnTo>
                        <a:pt x="214" y="427"/>
                      </a:lnTo>
                      <a:lnTo>
                        <a:pt x="214" y="427"/>
                      </a:lnTo>
                      <a:lnTo>
                        <a:pt x="193" y="426"/>
                      </a:lnTo>
                      <a:lnTo>
                        <a:pt x="171" y="422"/>
                      </a:lnTo>
                      <a:lnTo>
                        <a:pt x="151" y="416"/>
                      </a:lnTo>
                      <a:lnTo>
                        <a:pt x="131" y="409"/>
                      </a:lnTo>
                      <a:lnTo>
                        <a:pt x="112" y="400"/>
                      </a:lnTo>
                      <a:lnTo>
                        <a:pt x="95" y="390"/>
                      </a:lnTo>
                      <a:lnTo>
                        <a:pt x="79" y="377"/>
                      </a:lnTo>
                      <a:lnTo>
                        <a:pt x="64" y="363"/>
                      </a:lnTo>
                      <a:lnTo>
                        <a:pt x="50" y="348"/>
                      </a:lnTo>
                      <a:lnTo>
                        <a:pt x="37" y="332"/>
                      </a:lnTo>
                      <a:lnTo>
                        <a:pt x="27" y="315"/>
                      </a:lnTo>
                      <a:lnTo>
                        <a:pt x="18" y="295"/>
                      </a:lnTo>
                      <a:lnTo>
                        <a:pt x="11" y="276"/>
                      </a:lnTo>
                      <a:lnTo>
                        <a:pt x="5" y="256"/>
                      </a:lnTo>
                      <a:lnTo>
                        <a:pt x="1" y="234"/>
                      </a:lnTo>
                      <a:lnTo>
                        <a:pt x="0" y="213"/>
                      </a:lnTo>
                      <a:lnTo>
                        <a:pt x="0" y="213"/>
                      </a:lnTo>
                      <a:lnTo>
                        <a:pt x="1" y="191"/>
                      </a:lnTo>
                      <a:lnTo>
                        <a:pt x="5" y="170"/>
                      </a:lnTo>
                      <a:lnTo>
                        <a:pt x="11" y="149"/>
                      </a:lnTo>
                      <a:lnTo>
                        <a:pt x="18" y="130"/>
                      </a:lnTo>
                      <a:lnTo>
                        <a:pt x="27" y="111"/>
                      </a:lnTo>
                      <a:lnTo>
                        <a:pt x="37" y="94"/>
                      </a:lnTo>
                      <a:lnTo>
                        <a:pt x="50" y="77"/>
                      </a:lnTo>
                      <a:lnTo>
                        <a:pt x="64" y="62"/>
                      </a:lnTo>
                      <a:lnTo>
                        <a:pt x="79" y="48"/>
                      </a:lnTo>
                      <a:lnTo>
                        <a:pt x="95" y="36"/>
                      </a:lnTo>
                      <a:lnTo>
                        <a:pt x="112" y="25"/>
                      </a:lnTo>
                      <a:lnTo>
                        <a:pt x="131" y="16"/>
                      </a:lnTo>
                      <a:lnTo>
                        <a:pt x="151" y="9"/>
                      </a:lnTo>
                      <a:lnTo>
                        <a:pt x="171" y="4"/>
                      </a:lnTo>
                      <a:lnTo>
                        <a:pt x="193" y="1"/>
                      </a:lnTo>
                      <a:lnTo>
                        <a:pt x="214" y="0"/>
                      </a:lnTo>
                      <a:lnTo>
                        <a:pt x="1478" y="0"/>
                      </a:lnTo>
                      <a:lnTo>
                        <a:pt x="1478" y="0"/>
                      </a:lnTo>
                      <a:lnTo>
                        <a:pt x="1500" y="1"/>
                      </a:lnTo>
                      <a:lnTo>
                        <a:pt x="1522" y="4"/>
                      </a:lnTo>
                      <a:lnTo>
                        <a:pt x="1542" y="9"/>
                      </a:lnTo>
                      <a:lnTo>
                        <a:pt x="1561" y="16"/>
                      </a:lnTo>
                      <a:lnTo>
                        <a:pt x="1581" y="25"/>
                      </a:lnTo>
                      <a:lnTo>
                        <a:pt x="1598" y="36"/>
                      </a:lnTo>
                      <a:lnTo>
                        <a:pt x="1614" y="48"/>
                      </a:lnTo>
                      <a:lnTo>
                        <a:pt x="1629" y="62"/>
                      </a:lnTo>
                      <a:lnTo>
                        <a:pt x="1643" y="77"/>
                      </a:lnTo>
                      <a:lnTo>
                        <a:pt x="1656" y="94"/>
                      </a:lnTo>
                      <a:lnTo>
                        <a:pt x="1666" y="111"/>
                      </a:lnTo>
                      <a:lnTo>
                        <a:pt x="1675" y="130"/>
                      </a:lnTo>
                      <a:lnTo>
                        <a:pt x="1682" y="149"/>
                      </a:lnTo>
                      <a:lnTo>
                        <a:pt x="1688" y="170"/>
                      </a:lnTo>
                      <a:lnTo>
                        <a:pt x="1691" y="191"/>
                      </a:lnTo>
                      <a:lnTo>
                        <a:pt x="1691" y="213"/>
                      </a:lnTo>
                      <a:lnTo>
                        <a:pt x="1691" y="213"/>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0" name="Freeform 320"/>
                <p:cNvSpPr>
                  <a:spLocks/>
                </p:cNvSpPr>
                <p:nvPr/>
              </p:nvSpPr>
              <p:spPr bwMode="auto">
                <a:xfrm>
                  <a:off x="3132138" y="4899025"/>
                  <a:ext cx="290513" cy="73025"/>
                </a:xfrm>
                <a:custGeom>
                  <a:avLst/>
                  <a:gdLst>
                    <a:gd name="T0" fmla="*/ 1280 w 1280"/>
                    <a:gd name="T1" fmla="*/ 162 h 323"/>
                    <a:gd name="T2" fmla="*/ 1277 w 1280"/>
                    <a:gd name="T3" fmla="*/ 194 h 323"/>
                    <a:gd name="T4" fmla="*/ 1268 w 1280"/>
                    <a:gd name="T5" fmla="*/ 224 h 323"/>
                    <a:gd name="T6" fmla="*/ 1253 w 1280"/>
                    <a:gd name="T7" fmla="*/ 252 h 323"/>
                    <a:gd name="T8" fmla="*/ 1233 w 1280"/>
                    <a:gd name="T9" fmla="*/ 276 h 323"/>
                    <a:gd name="T10" fmla="*/ 1209 w 1280"/>
                    <a:gd name="T11" fmla="*/ 295 h 323"/>
                    <a:gd name="T12" fmla="*/ 1181 w 1280"/>
                    <a:gd name="T13" fmla="*/ 310 h 323"/>
                    <a:gd name="T14" fmla="*/ 1151 w 1280"/>
                    <a:gd name="T15" fmla="*/ 320 h 323"/>
                    <a:gd name="T16" fmla="*/ 1119 w 1280"/>
                    <a:gd name="T17" fmla="*/ 323 h 323"/>
                    <a:gd name="T18" fmla="*/ 162 w 1280"/>
                    <a:gd name="T19" fmla="*/ 323 h 323"/>
                    <a:gd name="T20" fmla="*/ 129 w 1280"/>
                    <a:gd name="T21" fmla="*/ 320 h 323"/>
                    <a:gd name="T22" fmla="*/ 99 w 1280"/>
                    <a:gd name="T23" fmla="*/ 310 h 323"/>
                    <a:gd name="T24" fmla="*/ 71 w 1280"/>
                    <a:gd name="T25" fmla="*/ 295 h 323"/>
                    <a:gd name="T26" fmla="*/ 47 w 1280"/>
                    <a:gd name="T27" fmla="*/ 276 h 323"/>
                    <a:gd name="T28" fmla="*/ 28 w 1280"/>
                    <a:gd name="T29" fmla="*/ 252 h 323"/>
                    <a:gd name="T30" fmla="*/ 13 w 1280"/>
                    <a:gd name="T31" fmla="*/ 224 h 323"/>
                    <a:gd name="T32" fmla="*/ 3 w 1280"/>
                    <a:gd name="T33" fmla="*/ 194 h 323"/>
                    <a:gd name="T34" fmla="*/ 0 w 1280"/>
                    <a:gd name="T35" fmla="*/ 162 h 323"/>
                    <a:gd name="T36" fmla="*/ 1 w 1280"/>
                    <a:gd name="T37" fmla="*/ 145 h 323"/>
                    <a:gd name="T38" fmla="*/ 8 w 1280"/>
                    <a:gd name="T39" fmla="*/ 113 h 323"/>
                    <a:gd name="T40" fmla="*/ 20 w 1280"/>
                    <a:gd name="T41" fmla="*/ 85 h 323"/>
                    <a:gd name="T42" fmla="*/ 37 w 1280"/>
                    <a:gd name="T43" fmla="*/ 58 h 323"/>
                    <a:gd name="T44" fmla="*/ 59 w 1280"/>
                    <a:gd name="T45" fmla="*/ 36 h 323"/>
                    <a:gd name="T46" fmla="*/ 85 w 1280"/>
                    <a:gd name="T47" fmla="*/ 19 h 323"/>
                    <a:gd name="T48" fmla="*/ 114 w 1280"/>
                    <a:gd name="T49" fmla="*/ 8 h 323"/>
                    <a:gd name="T50" fmla="*/ 145 w 1280"/>
                    <a:gd name="T51" fmla="*/ 1 h 323"/>
                    <a:gd name="T52" fmla="*/ 1119 w 1280"/>
                    <a:gd name="T53" fmla="*/ 0 h 323"/>
                    <a:gd name="T54" fmla="*/ 1135 w 1280"/>
                    <a:gd name="T55" fmla="*/ 1 h 323"/>
                    <a:gd name="T56" fmla="*/ 1166 w 1280"/>
                    <a:gd name="T57" fmla="*/ 8 h 323"/>
                    <a:gd name="T58" fmla="*/ 1195 w 1280"/>
                    <a:gd name="T59" fmla="*/ 19 h 323"/>
                    <a:gd name="T60" fmla="*/ 1222 w 1280"/>
                    <a:gd name="T61" fmla="*/ 36 h 323"/>
                    <a:gd name="T62" fmla="*/ 1243 w 1280"/>
                    <a:gd name="T63" fmla="*/ 58 h 323"/>
                    <a:gd name="T64" fmla="*/ 1261 w 1280"/>
                    <a:gd name="T65" fmla="*/ 85 h 323"/>
                    <a:gd name="T66" fmla="*/ 1273 w 1280"/>
                    <a:gd name="T67" fmla="*/ 113 h 323"/>
                    <a:gd name="T68" fmla="*/ 1279 w 1280"/>
                    <a:gd name="T69" fmla="*/ 145 h 323"/>
                    <a:gd name="T70" fmla="*/ 1280 w 1280"/>
                    <a:gd name="T71" fmla="*/ 162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80" h="323">
                      <a:moveTo>
                        <a:pt x="1280" y="162"/>
                      </a:moveTo>
                      <a:lnTo>
                        <a:pt x="1280" y="162"/>
                      </a:lnTo>
                      <a:lnTo>
                        <a:pt x="1279" y="178"/>
                      </a:lnTo>
                      <a:lnTo>
                        <a:pt x="1277" y="194"/>
                      </a:lnTo>
                      <a:lnTo>
                        <a:pt x="1273" y="209"/>
                      </a:lnTo>
                      <a:lnTo>
                        <a:pt x="1268" y="224"/>
                      </a:lnTo>
                      <a:lnTo>
                        <a:pt x="1261" y="238"/>
                      </a:lnTo>
                      <a:lnTo>
                        <a:pt x="1253" y="252"/>
                      </a:lnTo>
                      <a:lnTo>
                        <a:pt x="1243" y="264"/>
                      </a:lnTo>
                      <a:lnTo>
                        <a:pt x="1233" y="276"/>
                      </a:lnTo>
                      <a:lnTo>
                        <a:pt x="1222" y="286"/>
                      </a:lnTo>
                      <a:lnTo>
                        <a:pt x="1209" y="295"/>
                      </a:lnTo>
                      <a:lnTo>
                        <a:pt x="1195" y="303"/>
                      </a:lnTo>
                      <a:lnTo>
                        <a:pt x="1181" y="310"/>
                      </a:lnTo>
                      <a:lnTo>
                        <a:pt x="1166" y="316"/>
                      </a:lnTo>
                      <a:lnTo>
                        <a:pt x="1151" y="320"/>
                      </a:lnTo>
                      <a:lnTo>
                        <a:pt x="1135" y="322"/>
                      </a:lnTo>
                      <a:lnTo>
                        <a:pt x="1119" y="323"/>
                      </a:lnTo>
                      <a:lnTo>
                        <a:pt x="162" y="323"/>
                      </a:lnTo>
                      <a:lnTo>
                        <a:pt x="162" y="323"/>
                      </a:lnTo>
                      <a:lnTo>
                        <a:pt x="145" y="322"/>
                      </a:lnTo>
                      <a:lnTo>
                        <a:pt x="129" y="320"/>
                      </a:lnTo>
                      <a:lnTo>
                        <a:pt x="114" y="316"/>
                      </a:lnTo>
                      <a:lnTo>
                        <a:pt x="99" y="310"/>
                      </a:lnTo>
                      <a:lnTo>
                        <a:pt x="85" y="303"/>
                      </a:lnTo>
                      <a:lnTo>
                        <a:pt x="71" y="295"/>
                      </a:lnTo>
                      <a:lnTo>
                        <a:pt x="59" y="286"/>
                      </a:lnTo>
                      <a:lnTo>
                        <a:pt x="47" y="276"/>
                      </a:lnTo>
                      <a:lnTo>
                        <a:pt x="37" y="264"/>
                      </a:lnTo>
                      <a:lnTo>
                        <a:pt x="28" y="252"/>
                      </a:lnTo>
                      <a:lnTo>
                        <a:pt x="20" y="238"/>
                      </a:lnTo>
                      <a:lnTo>
                        <a:pt x="13" y="224"/>
                      </a:lnTo>
                      <a:lnTo>
                        <a:pt x="8" y="209"/>
                      </a:lnTo>
                      <a:lnTo>
                        <a:pt x="3" y="194"/>
                      </a:lnTo>
                      <a:lnTo>
                        <a:pt x="1" y="178"/>
                      </a:lnTo>
                      <a:lnTo>
                        <a:pt x="0" y="162"/>
                      </a:lnTo>
                      <a:lnTo>
                        <a:pt x="0" y="162"/>
                      </a:lnTo>
                      <a:lnTo>
                        <a:pt x="1" y="145"/>
                      </a:lnTo>
                      <a:lnTo>
                        <a:pt x="3" y="128"/>
                      </a:lnTo>
                      <a:lnTo>
                        <a:pt x="8" y="113"/>
                      </a:lnTo>
                      <a:lnTo>
                        <a:pt x="13" y="99"/>
                      </a:lnTo>
                      <a:lnTo>
                        <a:pt x="20" y="85"/>
                      </a:lnTo>
                      <a:lnTo>
                        <a:pt x="28" y="71"/>
                      </a:lnTo>
                      <a:lnTo>
                        <a:pt x="37" y="58"/>
                      </a:lnTo>
                      <a:lnTo>
                        <a:pt x="47" y="47"/>
                      </a:lnTo>
                      <a:lnTo>
                        <a:pt x="59" y="36"/>
                      </a:lnTo>
                      <a:lnTo>
                        <a:pt x="71" y="27"/>
                      </a:lnTo>
                      <a:lnTo>
                        <a:pt x="85" y="19"/>
                      </a:lnTo>
                      <a:lnTo>
                        <a:pt x="99" y="12"/>
                      </a:lnTo>
                      <a:lnTo>
                        <a:pt x="114" y="8"/>
                      </a:lnTo>
                      <a:lnTo>
                        <a:pt x="129" y="3"/>
                      </a:lnTo>
                      <a:lnTo>
                        <a:pt x="145" y="1"/>
                      </a:lnTo>
                      <a:lnTo>
                        <a:pt x="162" y="0"/>
                      </a:lnTo>
                      <a:lnTo>
                        <a:pt x="1119" y="0"/>
                      </a:lnTo>
                      <a:lnTo>
                        <a:pt x="1119" y="0"/>
                      </a:lnTo>
                      <a:lnTo>
                        <a:pt x="1135" y="1"/>
                      </a:lnTo>
                      <a:lnTo>
                        <a:pt x="1151" y="3"/>
                      </a:lnTo>
                      <a:lnTo>
                        <a:pt x="1166" y="8"/>
                      </a:lnTo>
                      <a:lnTo>
                        <a:pt x="1181" y="12"/>
                      </a:lnTo>
                      <a:lnTo>
                        <a:pt x="1195" y="19"/>
                      </a:lnTo>
                      <a:lnTo>
                        <a:pt x="1209" y="27"/>
                      </a:lnTo>
                      <a:lnTo>
                        <a:pt x="1222" y="36"/>
                      </a:lnTo>
                      <a:lnTo>
                        <a:pt x="1233" y="47"/>
                      </a:lnTo>
                      <a:lnTo>
                        <a:pt x="1243" y="58"/>
                      </a:lnTo>
                      <a:lnTo>
                        <a:pt x="1253" y="71"/>
                      </a:lnTo>
                      <a:lnTo>
                        <a:pt x="1261" y="85"/>
                      </a:lnTo>
                      <a:lnTo>
                        <a:pt x="1268" y="99"/>
                      </a:lnTo>
                      <a:lnTo>
                        <a:pt x="1273" y="113"/>
                      </a:lnTo>
                      <a:lnTo>
                        <a:pt x="1277" y="128"/>
                      </a:lnTo>
                      <a:lnTo>
                        <a:pt x="1279" y="145"/>
                      </a:lnTo>
                      <a:lnTo>
                        <a:pt x="1280" y="162"/>
                      </a:lnTo>
                      <a:lnTo>
                        <a:pt x="1280" y="162"/>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1" name="Freeform 321"/>
                <p:cNvSpPr>
                  <a:spLocks/>
                </p:cNvSpPr>
                <p:nvPr/>
              </p:nvSpPr>
              <p:spPr bwMode="auto">
                <a:xfrm>
                  <a:off x="3616325" y="4583113"/>
                  <a:ext cx="96838" cy="96838"/>
                </a:xfrm>
                <a:custGeom>
                  <a:avLst/>
                  <a:gdLst>
                    <a:gd name="T0" fmla="*/ 426 w 426"/>
                    <a:gd name="T1" fmla="*/ 213 h 427"/>
                    <a:gd name="T2" fmla="*/ 421 w 426"/>
                    <a:gd name="T3" fmla="*/ 256 h 427"/>
                    <a:gd name="T4" fmla="*/ 410 w 426"/>
                    <a:gd name="T5" fmla="*/ 295 h 427"/>
                    <a:gd name="T6" fmla="*/ 390 w 426"/>
                    <a:gd name="T7" fmla="*/ 332 h 427"/>
                    <a:gd name="T8" fmla="*/ 364 w 426"/>
                    <a:gd name="T9" fmla="*/ 363 h 427"/>
                    <a:gd name="T10" fmla="*/ 333 w 426"/>
                    <a:gd name="T11" fmla="*/ 390 h 427"/>
                    <a:gd name="T12" fmla="*/ 296 w 426"/>
                    <a:gd name="T13" fmla="*/ 409 h 427"/>
                    <a:gd name="T14" fmla="*/ 256 w 426"/>
                    <a:gd name="T15" fmla="*/ 422 h 427"/>
                    <a:gd name="T16" fmla="*/ 213 w 426"/>
                    <a:gd name="T17" fmla="*/ 427 h 427"/>
                    <a:gd name="T18" fmla="*/ 191 w 426"/>
                    <a:gd name="T19" fmla="*/ 426 h 427"/>
                    <a:gd name="T20" fmla="*/ 150 w 426"/>
                    <a:gd name="T21" fmla="*/ 416 h 427"/>
                    <a:gd name="T22" fmla="*/ 112 w 426"/>
                    <a:gd name="T23" fmla="*/ 400 h 427"/>
                    <a:gd name="T24" fmla="*/ 77 w 426"/>
                    <a:gd name="T25" fmla="*/ 377 h 427"/>
                    <a:gd name="T26" fmla="*/ 48 w 426"/>
                    <a:gd name="T27" fmla="*/ 348 h 427"/>
                    <a:gd name="T28" fmla="*/ 25 w 426"/>
                    <a:gd name="T29" fmla="*/ 315 h 427"/>
                    <a:gd name="T30" fmla="*/ 9 w 426"/>
                    <a:gd name="T31" fmla="*/ 276 h 427"/>
                    <a:gd name="T32" fmla="*/ 0 w 426"/>
                    <a:gd name="T33" fmla="*/ 234 h 427"/>
                    <a:gd name="T34" fmla="*/ 0 w 426"/>
                    <a:gd name="T35" fmla="*/ 213 h 427"/>
                    <a:gd name="T36" fmla="*/ 4 w 426"/>
                    <a:gd name="T37" fmla="*/ 170 h 427"/>
                    <a:gd name="T38" fmla="*/ 16 w 426"/>
                    <a:gd name="T39" fmla="*/ 130 h 427"/>
                    <a:gd name="T40" fmla="*/ 36 w 426"/>
                    <a:gd name="T41" fmla="*/ 94 h 427"/>
                    <a:gd name="T42" fmla="*/ 62 w 426"/>
                    <a:gd name="T43" fmla="*/ 62 h 427"/>
                    <a:gd name="T44" fmla="*/ 93 w 426"/>
                    <a:gd name="T45" fmla="*/ 36 h 427"/>
                    <a:gd name="T46" fmla="*/ 130 w 426"/>
                    <a:gd name="T47" fmla="*/ 16 h 427"/>
                    <a:gd name="T48" fmla="*/ 170 w 426"/>
                    <a:gd name="T49" fmla="*/ 4 h 427"/>
                    <a:gd name="T50" fmla="*/ 213 w 426"/>
                    <a:gd name="T51" fmla="*/ 0 h 427"/>
                    <a:gd name="T52" fmla="*/ 235 w 426"/>
                    <a:gd name="T53" fmla="*/ 1 h 427"/>
                    <a:gd name="T54" fmla="*/ 276 w 426"/>
                    <a:gd name="T55" fmla="*/ 9 h 427"/>
                    <a:gd name="T56" fmla="*/ 314 w 426"/>
                    <a:gd name="T57" fmla="*/ 25 h 427"/>
                    <a:gd name="T58" fmla="*/ 349 w 426"/>
                    <a:gd name="T59" fmla="*/ 48 h 427"/>
                    <a:gd name="T60" fmla="*/ 378 w 426"/>
                    <a:gd name="T61" fmla="*/ 77 h 427"/>
                    <a:gd name="T62" fmla="*/ 401 w 426"/>
                    <a:gd name="T63" fmla="*/ 111 h 427"/>
                    <a:gd name="T64" fmla="*/ 417 w 426"/>
                    <a:gd name="T65" fmla="*/ 149 h 427"/>
                    <a:gd name="T66" fmla="*/ 425 w 426"/>
                    <a:gd name="T67" fmla="*/ 191 h 427"/>
                    <a:gd name="T68" fmla="*/ 426 w 426"/>
                    <a:gd name="T69" fmla="*/ 213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6" h="427">
                      <a:moveTo>
                        <a:pt x="426" y="213"/>
                      </a:moveTo>
                      <a:lnTo>
                        <a:pt x="426" y="213"/>
                      </a:lnTo>
                      <a:lnTo>
                        <a:pt x="425" y="234"/>
                      </a:lnTo>
                      <a:lnTo>
                        <a:pt x="421" y="256"/>
                      </a:lnTo>
                      <a:lnTo>
                        <a:pt x="417" y="276"/>
                      </a:lnTo>
                      <a:lnTo>
                        <a:pt x="410" y="295"/>
                      </a:lnTo>
                      <a:lnTo>
                        <a:pt x="401" y="315"/>
                      </a:lnTo>
                      <a:lnTo>
                        <a:pt x="390" y="332"/>
                      </a:lnTo>
                      <a:lnTo>
                        <a:pt x="378" y="348"/>
                      </a:lnTo>
                      <a:lnTo>
                        <a:pt x="364" y="363"/>
                      </a:lnTo>
                      <a:lnTo>
                        <a:pt x="349" y="377"/>
                      </a:lnTo>
                      <a:lnTo>
                        <a:pt x="333" y="390"/>
                      </a:lnTo>
                      <a:lnTo>
                        <a:pt x="314" y="400"/>
                      </a:lnTo>
                      <a:lnTo>
                        <a:pt x="296" y="409"/>
                      </a:lnTo>
                      <a:lnTo>
                        <a:pt x="276" y="416"/>
                      </a:lnTo>
                      <a:lnTo>
                        <a:pt x="256" y="422"/>
                      </a:lnTo>
                      <a:lnTo>
                        <a:pt x="235" y="426"/>
                      </a:lnTo>
                      <a:lnTo>
                        <a:pt x="213" y="427"/>
                      </a:lnTo>
                      <a:lnTo>
                        <a:pt x="213" y="427"/>
                      </a:lnTo>
                      <a:lnTo>
                        <a:pt x="191" y="426"/>
                      </a:lnTo>
                      <a:lnTo>
                        <a:pt x="170" y="422"/>
                      </a:lnTo>
                      <a:lnTo>
                        <a:pt x="150" y="416"/>
                      </a:lnTo>
                      <a:lnTo>
                        <a:pt x="130" y="409"/>
                      </a:lnTo>
                      <a:lnTo>
                        <a:pt x="112" y="400"/>
                      </a:lnTo>
                      <a:lnTo>
                        <a:pt x="93" y="390"/>
                      </a:lnTo>
                      <a:lnTo>
                        <a:pt x="77" y="377"/>
                      </a:lnTo>
                      <a:lnTo>
                        <a:pt x="62" y="363"/>
                      </a:lnTo>
                      <a:lnTo>
                        <a:pt x="48" y="348"/>
                      </a:lnTo>
                      <a:lnTo>
                        <a:pt x="36" y="332"/>
                      </a:lnTo>
                      <a:lnTo>
                        <a:pt x="25" y="315"/>
                      </a:lnTo>
                      <a:lnTo>
                        <a:pt x="16" y="295"/>
                      </a:lnTo>
                      <a:lnTo>
                        <a:pt x="9" y="276"/>
                      </a:lnTo>
                      <a:lnTo>
                        <a:pt x="4" y="256"/>
                      </a:lnTo>
                      <a:lnTo>
                        <a:pt x="0" y="234"/>
                      </a:lnTo>
                      <a:lnTo>
                        <a:pt x="0" y="213"/>
                      </a:lnTo>
                      <a:lnTo>
                        <a:pt x="0" y="213"/>
                      </a:lnTo>
                      <a:lnTo>
                        <a:pt x="0" y="191"/>
                      </a:lnTo>
                      <a:lnTo>
                        <a:pt x="4" y="170"/>
                      </a:lnTo>
                      <a:lnTo>
                        <a:pt x="9" y="149"/>
                      </a:lnTo>
                      <a:lnTo>
                        <a:pt x="16" y="130"/>
                      </a:lnTo>
                      <a:lnTo>
                        <a:pt x="25" y="111"/>
                      </a:lnTo>
                      <a:lnTo>
                        <a:pt x="36" y="94"/>
                      </a:lnTo>
                      <a:lnTo>
                        <a:pt x="48" y="77"/>
                      </a:lnTo>
                      <a:lnTo>
                        <a:pt x="62" y="62"/>
                      </a:lnTo>
                      <a:lnTo>
                        <a:pt x="77" y="48"/>
                      </a:lnTo>
                      <a:lnTo>
                        <a:pt x="93" y="36"/>
                      </a:lnTo>
                      <a:lnTo>
                        <a:pt x="112" y="25"/>
                      </a:lnTo>
                      <a:lnTo>
                        <a:pt x="130" y="16"/>
                      </a:lnTo>
                      <a:lnTo>
                        <a:pt x="150" y="9"/>
                      </a:lnTo>
                      <a:lnTo>
                        <a:pt x="170" y="4"/>
                      </a:lnTo>
                      <a:lnTo>
                        <a:pt x="191" y="1"/>
                      </a:lnTo>
                      <a:lnTo>
                        <a:pt x="213" y="0"/>
                      </a:lnTo>
                      <a:lnTo>
                        <a:pt x="213" y="0"/>
                      </a:lnTo>
                      <a:lnTo>
                        <a:pt x="235" y="1"/>
                      </a:lnTo>
                      <a:lnTo>
                        <a:pt x="256" y="4"/>
                      </a:lnTo>
                      <a:lnTo>
                        <a:pt x="276" y="9"/>
                      </a:lnTo>
                      <a:lnTo>
                        <a:pt x="296" y="16"/>
                      </a:lnTo>
                      <a:lnTo>
                        <a:pt x="314" y="25"/>
                      </a:lnTo>
                      <a:lnTo>
                        <a:pt x="333" y="36"/>
                      </a:lnTo>
                      <a:lnTo>
                        <a:pt x="349" y="48"/>
                      </a:lnTo>
                      <a:lnTo>
                        <a:pt x="364" y="62"/>
                      </a:lnTo>
                      <a:lnTo>
                        <a:pt x="378" y="77"/>
                      </a:lnTo>
                      <a:lnTo>
                        <a:pt x="390" y="94"/>
                      </a:lnTo>
                      <a:lnTo>
                        <a:pt x="401" y="111"/>
                      </a:lnTo>
                      <a:lnTo>
                        <a:pt x="410" y="130"/>
                      </a:lnTo>
                      <a:lnTo>
                        <a:pt x="417" y="149"/>
                      </a:lnTo>
                      <a:lnTo>
                        <a:pt x="421" y="170"/>
                      </a:lnTo>
                      <a:lnTo>
                        <a:pt x="425" y="191"/>
                      </a:lnTo>
                      <a:lnTo>
                        <a:pt x="426" y="213"/>
                      </a:lnTo>
                      <a:lnTo>
                        <a:pt x="426" y="213"/>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382" name="그룹 381"/>
              <p:cNvGrpSpPr/>
              <p:nvPr userDrawn="1"/>
            </p:nvGrpSpPr>
            <p:grpSpPr>
              <a:xfrm>
                <a:off x="3335877" y="1471042"/>
                <a:ext cx="256674" cy="256674"/>
                <a:chOff x="2682875" y="301625"/>
                <a:chExt cx="1027113" cy="1027113"/>
              </a:xfrm>
            </p:grpSpPr>
            <p:sp>
              <p:nvSpPr>
                <p:cNvPr id="383" name="Freeform 322"/>
                <p:cNvSpPr>
                  <a:spLocks/>
                </p:cNvSpPr>
                <p:nvPr/>
              </p:nvSpPr>
              <p:spPr bwMode="auto">
                <a:xfrm>
                  <a:off x="2682875" y="301625"/>
                  <a:ext cx="1027113" cy="1027113"/>
                </a:xfrm>
                <a:custGeom>
                  <a:avLst/>
                  <a:gdLst>
                    <a:gd name="T0" fmla="*/ 4521 w 4526"/>
                    <a:gd name="T1" fmla="*/ 2129 h 4526"/>
                    <a:gd name="T2" fmla="*/ 4519 w 4526"/>
                    <a:gd name="T3" fmla="*/ 2097 h 4526"/>
                    <a:gd name="T4" fmla="*/ 4516 w 4526"/>
                    <a:gd name="T5" fmla="*/ 2057 h 4526"/>
                    <a:gd name="T6" fmla="*/ 4511 w 4526"/>
                    <a:gd name="T7" fmla="*/ 2002 h 4526"/>
                    <a:gd name="T8" fmla="*/ 4504 w 4526"/>
                    <a:gd name="T9" fmla="*/ 1948 h 4526"/>
                    <a:gd name="T10" fmla="*/ 4496 w 4526"/>
                    <a:gd name="T11" fmla="*/ 1895 h 4526"/>
                    <a:gd name="T12" fmla="*/ 4489 w 4526"/>
                    <a:gd name="T13" fmla="*/ 1856 h 4526"/>
                    <a:gd name="T14" fmla="*/ 4478 w 4526"/>
                    <a:gd name="T15" fmla="*/ 1802 h 4526"/>
                    <a:gd name="T16" fmla="*/ 4469 w 4526"/>
                    <a:gd name="T17" fmla="*/ 1762 h 4526"/>
                    <a:gd name="T18" fmla="*/ 4454 w 4526"/>
                    <a:gd name="T19" fmla="*/ 1701 h 4526"/>
                    <a:gd name="T20" fmla="*/ 4444 w 4526"/>
                    <a:gd name="T21" fmla="*/ 1659 h 4526"/>
                    <a:gd name="T22" fmla="*/ 4429 w 4526"/>
                    <a:gd name="T23" fmla="*/ 1609 h 4526"/>
                    <a:gd name="T24" fmla="*/ 4417 w 4526"/>
                    <a:gd name="T25" fmla="*/ 1572 h 4526"/>
                    <a:gd name="T26" fmla="*/ 4401 w 4526"/>
                    <a:gd name="T27" fmla="*/ 1522 h 4526"/>
                    <a:gd name="T28" fmla="*/ 4387 w 4526"/>
                    <a:gd name="T29" fmla="*/ 1482 h 4526"/>
                    <a:gd name="T30" fmla="*/ 4353 w 4526"/>
                    <a:gd name="T31" fmla="*/ 1394 h 4526"/>
                    <a:gd name="T32" fmla="*/ 4339 w 4526"/>
                    <a:gd name="T33" fmla="*/ 1363 h 4526"/>
                    <a:gd name="T34" fmla="*/ 4318 w 4526"/>
                    <a:gd name="T35" fmla="*/ 1316 h 4526"/>
                    <a:gd name="T36" fmla="*/ 4300 w 4526"/>
                    <a:gd name="T37" fmla="*/ 1277 h 4526"/>
                    <a:gd name="T38" fmla="*/ 4259 w 4526"/>
                    <a:gd name="T39" fmla="*/ 1196 h 4526"/>
                    <a:gd name="T40" fmla="*/ 4216 w 4526"/>
                    <a:gd name="T41" fmla="*/ 1120 h 4526"/>
                    <a:gd name="T42" fmla="*/ 4192 w 4526"/>
                    <a:gd name="T43" fmla="*/ 1081 h 4526"/>
                    <a:gd name="T44" fmla="*/ 4165 w 4526"/>
                    <a:gd name="T45" fmla="*/ 1038 h 4526"/>
                    <a:gd name="T46" fmla="*/ 3959 w 4526"/>
                    <a:gd name="T47" fmla="*/ 766 h 4526"/>
                    <a:gd name="T48" fmla="*/ 3610 w 4526"/>
                    <a:gd name="T49" fmla="*/ 446 h 4526"/>
                    <a:gd name="T50" fmla="*/ 3199 w 4526"/>
                    <a:gd name="T51" fmla="*/ 203 h 4526"/>
                    <a:gd name="T52" fmla="*/ 2739 w 4526"/>
                    <a:gd name="T53" fmla="*/ 51 h 4526"/>
                    <a:gd name="T54" fmla="*/ 2314 w 4526"/>
                    <a:gd name="T55" fmla="*/ 1 h 4526"/>
                    <a:gd name="T56" fmla="*/ 2197 w 4526"/>
                    <a:gd name="T57" fmla="*/ 1 h 4526"/>
                    <a:gd name="T58" fmla="*/ 1786 w 4526"/>
                    <a:gd name="T59" fmla="*/ 51 h 4526"/>
                    <a:gd name="T60" fmla="*/ 1308 w 4526"/>
                    <a:gd name="T61" fmla="*/ 211 h 4526"/>
                    <a:gd name="T62" fmla="*/ 942 w 4526"/>
                    <a:gd name="T63" fmla="*/ 426 h 4526"/>
                    <a:gd name="T64" fmla="*/ 821 w 4526"/>
                    <a:gd name="T65" fmla="*/ 519 h 4526"/>
                    <a:gd name="T66" fmla="*/ 501 w 4526"/>
                    <a:gd name="T67" fmla="*/ 842 h 4526"/>
                    <a:gd name="T68" fmla="*/ 252 w 4526"/>
                    <a:gd name="T69" fmla="*/ 1225 h 4526"/>
                    <a:gd name="T70" fmla="*/ 83 w 4526"/>
                    <a:gd name="T71" fmla="*/ 1656 h 4526"/>
                    <a:gd name="T72" fmla="*/ 3 w 4526"/>
                    <a:gd name="T73" fmla="*/ 2124 h 4526"/>
                    <a:gd name="T74" fmla="*/ 2 w 4526"/>
                    <a:gd name="T75" fmla="*/ 2369 h 4526"/>
                    <a:gd name="T76" fmla="*/ 47 w 4526"/>
                    <a:gd name="T77" fmla="*/ 2724 h 4526"/>
                    <a:gd name="T78" fmla="*/ 144 w 4526"/>
                    <a:gd name="T79" fmla="*/ 3060 h 4526"/>
                    <a:gd name="T80" fmla="*/ 290 w 4526"/>
                    <a:gd name="T81" fmla="*/ 3374 h 4526"/>
                    <a:gd name="T82" fmla="*/ 481 w 4526"/>
                    <a:gd name="T83" fmla="*/ 3658 h 4526"/>
                    <a:gd name="T84" fmla="*/ 711 w 4526"/>
                    <a:gd name="T85" fmla="*/ 3910 h 4526"/>
                    <a:gd name="T86" fmla="*/ 976 w 4526"/>
                    <a:gd name="T87" fmla="*/ 4125 h 4526"/>
                    <a:gd name="T88" fmla="*/ 1272 w 4526"/>
                    <a:gd name="T89" fmla="*/ 4299 h 4526"/>
                    <a:gd name="T90" fmla="*/ 1596 w 4526"/>
                    <a:gd name="T91" fmla="*/ 4426 h 4526"/>
                    <a:gd name="T92" fmla="*/ 1890 w 4526"/>
                    <a:gd name="T93" fmla="*/ 4496 h 4526"/>
                    <a:gd name="T94" fmla="*/ 2215 w 4526"/>
                    <a:gd name="T95" fmla="*/ 4526 h 4526"/>
                    <a:gd name="T96" fmla="*/ 2491 w 4526"/>
                    <a:gd name="T97" fmla="*/ 4515 h 4526"/>
                    <a:gd name="T98" fmla="*/ 2874 w 4526"/>
                    <a:gd name="T99" fmla="*/ 4443 h 4526"/>
                    <a:gd name="T100" fmla="*/ 3230 w 4526"/>
                    <a:gd name="T101" fmla="*/ 4310 h 4526"/>
                    <a:gd name="T102" fmla="*/ 3556 w 4526"/>
                    <a:gd name="T103" fmla="*/ 4121 h 4526"/>
                    <a:gd name="T104" fmla="*/ 3844 w 4526"/>
                    <a:gd name="T105" fmla="*/ 3881 h 4526"/>
                    <a:gd name="T106" fmla="*/ 4089 w 4526"/>
                    <a:gd name="T107" fmla="*/ 3599 h 4526"/>
                    <a:gd name="T108" fmla="*/ 4285 w 4526"/>
                    <a:gd name="T109" fmla="*/ 3279 h 4526"/>
                    <a:gd name="T110" fmla="*/ 4427 w 4526"/>
                    <a:gd name="T111" fmla="*/ 2926 h 4526"/>
                    <a:gd name="T112" fmla="*/ 4508 w 4526"/>
                    <a:gd name="T113" fmla="*/ 2547 h 4526"/>
                    <a:gd name="T114" fmla="*/ 4524 w 4526"/>
                    <a:gd name="T115" fmla="*/ 2205 h 4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26" h="4526">
                      <a:moveTo>
                        <a:pt x="4522" y="2147"/>
                      </a:moveTo>
                      <a:lnTo>
                        <a:pt x="4522" y="2146"/>
                      </a:lnTo>
                      <a:lnTo>
                        <a:pt x="4522" y="2146"/>
                      </a:lnTo>
                      <a:lnTo>
                        <a:pt x="4522" y="2134"/>
                      </a:lnTo>
                      <a:lnTo>
                        <a:pt x="4522" y="2134"/>
                      </a:lnTo>
                      <a:lnTo>
                        <a:pt x="4521" y="2129"/>
                      </a:lnTo>
                      <a:lnTo>
                        <a:pt x="4521" y="2129"/>
                      </a:lnTo>
                      <a:lnTo>
                        <a:pt x="4521" y="2120"/>
                      </a:lnTo>
                      <a:lnTo>
                        <a:pt x="4521" y="2120"/>
                      </a:lnTo>
                      <a:lnTo>
                        <a:pt x="4520" y="2113"/>
                      </a:lnTo>
                      <a:lnTo>
                        <a:pt x="4520" y="2113"/>
                      </a:lnTo>
                      <a:lnTo>
                        <a:pt x="4520" y="2111"/>
                      </a:lnTo>
                      <a:lnTo>
                        <a:pt x="4520" y="2111"/>
                      </a:lnTo>
                      <a:lnTo>
                        <a:pt x="4519" y="2097"/>
                      </a:lnTo>
                      <a:lnTo>
                        <a:pt x="4519" y="2097"/>
                      </a:lnTo>
                      <a:lnTo>
                        <a:pt x="4519" y="2084"/>
                      </a:lnTo>
                      <a:lnTo>
                        <a:pt x="4519" y="2084"/>
                      </a:lnTo>
                      <a:lnTo>
                        <a:pt x="4518" y="2069"/>
                      </a:lnTo>
                      <a:lnTo>
                        <a:pt x="4518" y="2069"/>
                      </a:lnTo>
                      <a:lnTo>
                        <a:pt x="4516" y="2057"/>
                      </a:lnTo>
                      <a:lnTo>
                        <a:pt x="4516" y="2057"/>
                      </a:lnTo>
                      <a:lnTo>
                        <a:pt x="4514" y="2040"/>
                      </a:lnTo>
                      <a:lnTo>
                        <a:pt x="4514" y="2040"/>
                      </a:lnTo>
                      <a:lnTo>
                        <a:pt x="4513" y="2030"/>
                      </a:lnTo>
                      <a:lnTo>
                        <a:pt x="4513" y="2030"/>
                      </a:lnTo>
                      <a:lnTo>
                        <a:pt x="4512" y="2012"/>
                      </a:lnTo>
                      <a:lnTo>
                        <a:pt x="4512" y="2012"/>
                      </a:lnTo>
                      <a:lnTo>
                        <a:pt x="4511" y="2002"/>
                      </a:lnTo>
                      <a:lnTo>
                        <a:pt x="4511" y="2002"/>
                      </a:lnTo>
                      <a:lnTo>
                        <a:pt x="4507" y="1976"/>
                      </a:lnTo>
                      <a:lnTo>
                        <a:pt x="4507" y="1976"/>
                      </a:lnTo>
                      <a:lnTo>
                        <a:pt x="4506" y="1969"/>
                      </a:lnTo>
                      <a:lnTo>
                        <a:pt x="4506" y="1969"/>
                      </a:lnTo>
                      <a:lnTo>
                        <a:pt x="4504" y="1948"/>
                      </a:lnTo>
                      <a:lnTo>
                        <a:pt x="4504" y="1948"/>
                      </a:lnTo>
                      <a:lnTo>
                        <a:pt x="4503" y="1938"/>
                      </a:lnTo>
                      <a:lnTo>
                        <a:pt x="4503" y="1938"/>
                      </a:lnTo>
                      <a:lnTo>
                        <a:pt x="4500" y="1922"/>
                      </a:lnTo>
                      <a:lnTo>
                        <a:pt x="4500" y="1922"/>
                      </a:lnTo>
                      <a:lnTo>
                        <a:pt x="4498" y="1910"/>
                      </a:lnTo>
                      <a:lnTo>
                        <a:pt x="4498" y="1910"/>
                      </a:lnTo>
                      <a:lnTo>
                        <a:pt x="4496" y="1895"/>
                      </a:lnTo>
                      <a:lnTo>
                        <a:pt x="4496" y="1895"/>
                      </a:lnTo>
                      <a:lnTo>
                        <a:pt x="4493" y="1883"/>
                      </a:lnTo>
                      <a:lnTo>
                        <a:pt x="4493" y="1883"/>
                      </a:lnTo>
                      <a:lnTo>
                        <a:pt x="4491" y="1868"/>
                      </a:lnTo>
                      <a:lnTo>
                        <a:pt x="4491" y="1868"/>
                      </a:lnTo>
                      <a:lnTo>
                        <a:pt x="4489" y="1856"/>
                      </a:lnTo>
                      <a:lnTo>
                        <a:pt x="4489" y="1856"/>
                      </a:lnTo>
                      <a:lnTo>
                        <a:pt x="4486" y="1841"/>
                      </a:lnTo>
                      <a:lnTo>
                        <a:pt x="4486" y="1841"/>
                      </a:lnTo>
                      <a:lnTo>
                        <a:pt x="4484" y="1829"/>
                      </a:lnTo>
                      <a:lnTo>
                        <a:pt x="4484" y="1829"/>
                      </a:lnTo>
                      <a:lnTo>
                        <a:pt x="4481" y="1815"/>
                      </a:lnTo>
                      <a:lnTo>
                        <a:pt x="4481" y="1815"/>
                      </a:lnTo>
                      <a:lnTo>
                        <a:pt x="4478" y="1802"/>
                      </a:lnTo>
                      <a:lnTo>
                        <a:pt x="4478" y="1802"/>
                      </a:lnTo>
                      <a:lnTo>
                        <a:pt x="4475" y="1788"/>
                      </a:lnTo>
                      <a:lnTo>
                        <a:pt x="4475" y="1788"/>
                      </a:lnTo>
                      <a:lnTo>
                        <a:pt x="4473" y="1776"/>
                      </a:lnTo>
                      <a:lnTo>
                        <a:pt x="4473" y="1776"/>
                      </a:lnTo>
                      <a:lnTo>
                        <a:pt x="4469" y="1762"/>
                      </a:lnTo>
                      <a:lnTo>
                        <a:pt x="4469" y="1762"/>
                      </a:lnTo>
                      <a:lnTo>
                        <a:pt x="4467" y="1750"/>
                      </a:lnTo>
                      <a:lnTo>
                        <a:pt x="4467" y="1750"/>
                      </a:lnTo>
                      <a:lnTo>
                        <a:pt x="4463" y="1735"/>
                      </a:lnTo>
                      <a:lnTo>
                        <a:pt x="4463" y="1735"/>
                      </a:lnTo>
                      <a:lnTo>
                        <a:pt x="4461" y="1724"/>
                      </a:lnTo>
                      <a:lnTo>
                        <a:pt x="4461" y="1724"/>
                      </a:lnTo>
                      <a:lnTo>
                        <a:pt x="4454" y="1701"/>
                      </a:lnTo>
                      <a:lnTo>
                        <a:pt x="4454" y="1701"/>
                      </a:lnTo>
                      <a:lnTo>
                        <a:pt x="4451" y="1686"/>
                      </a:lnTo>
                      <a:lnTo>
                        <a:pt x="4451" y="1686"/>
                      </a:lnTo>
                      <a:lnTo>
                        <a:pt x="4447" y="1673"/>
                      </a:lnTo>
                      <a:lnTo>
                        <a:pt x="4447" y="1673"/>
                      </a:lnTo>
                      <a:lnTo>
                        <a:pt x="4444" y="1659"/>
                      </a:lnTo>
                      <a:lnTo>
                        <a:pt x="4444" y="1659"/>
                      </a:lnTo>
                      <a:lnTo>
                        <a:pt x="4440" y="1648"/>
                      </a:lnTo>
                      <a:lnTo>
                        <a:pt x="4440" y="1648"/>
                      </a:lnTo>
                      <a:lnTo>
                        <a:pt x="4437" y="1634"/>
                      </a:lnTo>
                      <a:lnTo>
                        <a:pt x="4437" y="1634"/>
                      </a:lnTo>
                      <a:lnTo>
                        <a:pt x="4434" y="1622"/>
                      </a:lnTo>
                      <a:lnTo>
                        <a:pt x="4434" y="1622"/>
                      </a:lnTo>
                      <a:lnTo>
                        <a:pt x="4429" y="1609"/>
                      </a:lnTo>
                      <a:lnTo>
                        <a:pt x="4429" y="1609"/>
                      </a:lnTo>
                      <a:lnTo>
                        <a:pt x="4425" y="1597"/>
                      </a:lnTo>
                      <a:lnTo>
                        <a:pt x="4425" y="1597"/>
                      </a:lnTo>
                      <a:lnTo>
                        <a:pt x="4421" y="1583"/>
                      </a:lnTo>
                      <a:lnTo>
                        <a:pt x="4421" y="1583"/>
                      </a:lnTo>
                      <a:lnTo>
                        <a:pt x="4417" y="1572"/>
                      </a:lnTo>
                      <a:lnTo>
                        <a:pt x="4417" y="1572"/>
                      </a:lnTo>
                      <a:lnTo>
                        <a:pt x="4413" y="1558"/>
                      </a:lnTo>
                      <a:lnTo>
                        <a:pt x="4413" y="1558"/>
                      </a:lnTo>
                      <a:lnTo>
                        <a:pt x="4409" y="1546"/>
                      </a:lnTo>
                      <a:lnTo>
                        <a:pt x="4409" y="1546"/>
                      </a:lnTo>
                      <a:lnTo>
                        <a:pt x="4405" y="1533"/>
                      </a:lnTo>
                      <a:lnTo>
                        <a:pt x="4405" y="1533"/>
                      </a:lnTo>
                      <a:lnTo>
                        <a:pt x="4401" y="1522"/>
                      </a:lnTo>
                      <a:lnTo>
                        <a:pt x="4401" y="1522"/>
                      </a:lnTo>
                      <a:lnTo>
                        <a:pt x="4396" y="1507"/>
                      </a:lnTo>
                      <a:lnTo>
                        <a:pt x="4396" y="1507"/>
                      </a:lnTo>
                      <a:lnTo>
                        <a:pt x="4392" y="1498"/>
                      </a:lnTo>
                      <a:lnTo>
                        <a:pt x="4392" y="1498"/>
                      </a:lnTo>
                      <a:lnTo>
                        <a:pt x="4387" y="1482"/>
                      </a:lnTo>
                      <a:lnTo>
                        <a:pt x="4387" y="1482"/>
                      </a:lnTo>
                      <a:lnTo>
                        <a:pt x="4384" y="1475"/>
                      </a:lnTo>
                      <a:lnTo>
                        <a:pt x="4384" y="1475"/>
                      </a:lnTo>
                      <a:lnTo>
                        <a:pt x="4362" y="1418"/>
                      </a:lnTo>
                      <a:lnTo>
                        <a:pt x="4362" y="1418"/>
                      </a:lnTo>
                      <a:lnTo>
                        <a:pt x="4360" y="1411"/>
                      </a:lnTo>
                      <a:lnTo>
                        <a:pt x="4360" y="1411"/>
                      </a:lnTo>
                      <a:lnTo>
                        <a:pt x="4353" y="1394"/>
                      </a:lnTo>
                      <a:lnTo>
                        <a:pt x="4353" y="1394"/>
                      </a:lnTo>
                      <a:lnTo>
                        <a:pt x="4349" y="1386"/>
                      </a:lnTo>
                      <a:lnTo>
                        <a:pt x="4349" y="1386"/>
                      </a:lnTo>
                      <a:lnTo>
                        <a:pt x="4343" y="1371"/>
                      </a:lnTo>
                      <a:lnTo>
                        <a:pt x="4343" y="1371"/>
                      </a:lnTo>
                      <a:lnTo>
                        <a:pt x="4339" y="1363"/>
                      </a:lnTo>
                      <a:lnTo>
                        <a:pt x="4339" y="1363"/>
                      </a:lnTo>
                      <a:lnTo>
                        <a:pt x="4332" y="1347"/>
                      </a:lnTo>
                      <a:lnTo>
                        <a:pt x="4332" y="1347"/>
                      </a:lnTo>
                      <a:lnTo>
                        <a:pt x="4329" y="1339"/>
                      </a:lnTo>
                      <a:lnTo>
                        <a:pt x="4329" y="1339"/>
                      </a:lnTo>
                      <a:lnTo>
                        <a:pt x="4322" y="1324"/>
                      </a:lnTo>
                      <a:lnTo>
                        <a:pt x="4322" y="1324"/>
                      </a:lnTo>
                      <a:lnTo>
                        <a:pt x="4318" y="1316"/>
                      </a:lnTo>
                      <a:lnTo>
                        <a:pt x="4318" y="1316"/>
                      </a:lnTo>
                      <a:lnTo>
                        <a:pt x="4310" y="1300"/>
                      </a:lnTo>
                      <a:lnTo>
                        <a:pt x="4310" y="1300"/>
                      </a:lnTo>
                      <a:lnTo>
                        <a:pt x="4307" y="1293"/>
                      </a:lnTo>
                      <a:lnTo>
                        <a:pt x="4307" y="1293"/>
                      </a:lnTo>
                      <a:lnTo>
                        <a:pt x="4300" y="1277"/>
                      </a:lnTo>
                      <a:lnTo>
                        <a:pt x="4300" y="1277"/>
                      </a:lnTo>
                      <a:lnTo>
                        <a:pt x="4297" y="1270"/>
                      </a:lnTo>
                      <a:lnTo>
                        <a:pt x="4297" y="1270"/>
                      </a:lnTo>
                      <a:lnTo>
                        <a:pt x="4288" y="1253"/>
                      </a:lnTo>
                      <a:lnTo>
                        <a:pt x="4288" y="1253"/>
                      </a:lnTo>
                      <a:lnTo>
                        <a:pt x="4286" y="1249"/>
                      </a:lnTo>
                      <a:lnTo>
                        <a:pt x="4286" y="1249"/>
                      </a:lnTo>
                      <a:lnTo>
                        <a:pt x="4259" y="1196"/>
                      </a:lnTo>
                      <a:lnTo>
                        <a:pt x="4230" y="1145"/>
                      </a:lnTo>
                      <a:lnTo>
                        <a:pt x="4230" y="1145"/>
                      </a:lnTo>
                      <a:lnTo>
                        <a:pt x="4229" y="1142"/>
                      </a:lnTo>
                      <a:lnTo>
                        <a:pt x="4229" y="1142"/>
                      </a:lnTo>
                      <a:lnTo>
                        <a:pt x="4218" y="1124"/>
                      </a:lnTo>
                      <a:lnTo>
                        <a:pt x="4218" y="1124"/>
                      </a:lnTo>
                      <a:lnTo>
                        <a:pt x="4216" y="1120"/>
                      </a:lnTo>
                      <a:lnTo>
                        <a:pt x="4216" y="1120"/>
                      </a:lnTo>
                      <a:lnTo>
                        <a:pt x="4206" y="1102"/>
                      </a:lnTo>
                      <a:lnTo>
                        <a:pt x="4206" y="1102"/>
                      </a:lnTo>
                      <a:lnTo>
                        <a:pt x="4203" y="1099"/>
                      </a:lnTo>
                      <a:lnTo>
                        <a:pt x="4203" y="1099"/>
                      </a:lnTo>
                      <a:lnTo>
                        <a:pt x="4192" y="1081"/>
                      </a:lnTo>
                      <a:lnTo>
                        <a:pt x="4192" y="1081"/>
                      </a:lnTo>
                      <a:lnTo>
                        <a:pt x="4189" y="1077"/>
                      </a:lnTo>
                      <a:lnTo>
                        <a:pt x="4189" y="1077"/>
                      </a:lnTo>
                      <a:lnTo>
                        <a:pt x="4179" y="1059"/>
                      </a:lnTo>
                      <a:lnTo>
                        <a:pt x="4179" y="1059"/>
                      </a:lnTo>
                      <a:lnTo>
                        <a:pt x="4177" y="1056"/>
                      </a:lnTo>
                      <a:lnTo>
                        <a:pt x="4177" y="1056"/>
                      </a:lnTo>
                      <a:lnTo>
                        <a:pt x="4165" y="1038"/>
                      </a:lnTo>
                      <a:lnTo>
                        <a:pt x="4164" y="1036"/>
                      </a:lnTo>
                      <a:lnTo>
                        <a:pt x="4164" y="1036"/>
                      </a:lnTo>
                      <a:lnTo>
                        <a:pt x="4127" y="980"/>
                      </a:lnTo>
                      <a:lnTo>
                        <a:pt x="4087" y="925"/>
                      </a:lnTo>
                      <a:lnTo>
                        <a:pt x="4047" y="871"/>
                      </a:lnTo>
                      <a:lnTo>
                        <a:pt x="4004" y="818"/>
                      </a:lnTo>
                      <a:lnTo>
                        <a:pt x="3959" y="766"/>
                      </a:lnTo>
                      <a:lnTo>
                        <a:pt x="3914" y="716"/>
                      </a:lnTo>
                      <a:lnTo>
                        <a:pt x="3867" y="667"/>
                      </a:lnTo>
                      <a:lnTo>
                        <a:pt x="3819" y="620"/>
                      </a:lnTo>
                      <a:lnTo>
                        <a:pt x="3768" y="574"/>
                      </a:lnTo>
                      <a:lnTo>
                        <a:pt x="3717" y="530"/>
                      </a:lnTo>
                      <a:lnTo>
                        <a:pt x="3664" y="487"/>
                      </a:lnTo>
                      <a:lnTo>
                        <a:pt x="3610" y="446"/>
                      </a:lnTo>
                      <a:lnTo>
                        <a:pt x="3555" y="406"/>
                      </a:lnTo>
                      <a:lnTo>
                        <a:pt x="3499" y="368"/>
                      </a:lnTo>
                      <a:lnTo>
                        <a:pt x="3441" y="332"/>
                      </a:lnTo>
                      <a:lnTo>
                        <a:pt x="3382" y="296"/>
                      </a:lnTo>
                      <a:lnTo>
                        <a:pt x="3323" y="264"/>
                      </a:lnTo>
                      <a:lnTo>
                        <a:pt x="3262" y="233"/>
                      </a:lnTo>
                      <a:lnTo>
                        <a:pt x="3199" y="203"/>
                      </a:lnTo>
                      <a:lnTo>
                        <a:pt x="3137" y="175"/>
                      </a:lnTo>
                      <a:lnTo>
                        <a:pt x="3073" y="150"/>
                      </a:lnTo>
                      <a:lnTo>
                        <a:pt x="3008" y="126"/>
                      </a:lnTo>
                      <a:lnTo>
                        <a:pt x="2943" y="104"/>
                      </a:lnTo>
                      <a:lnTo>
                        <a:pt x="2876" y="84"/>
                      </a:lnTo>
                      <a:lnTo>
                        <a:pt x="2808" y="67"/>
                      </a:lnTo>
                      <a:lnTo>
                        <a:pt x="2739" y="51"/>
                      </a:lnTo>
                      <a:lnTo>
                        <a:pt x="2670" y="37"/>
                      </a:lnTo>
                      <a:lnTo>
                        <a:pt x="2601" y="26"/>
                      </a:lnTo>
                      <a:lnTo>
                        <a:pt x="2529" y="16"/>
                      </a:lnTo>
                      <a:lnTo>
                        <a:pt x="2458" y="8"/>
                      </a:lnTo>
                      <a:lnTo>
                        <a:pt x="2387" y="4"/>
                      </a:lnTo>
                      <a:lnTo>
                        <a:pt x="2314" y="1"/>
                      </a:lnTo>
                      <a:lnTo>
                        <a:pt x="2314" y="1"/>
                      </a:lnTo>
                      <a:lnTo>
                        <a:pt x="2311" y="1"/>
                      </a:lnTo>
                      <a:lnTo>
                        <a:pt x="2311" y="1"/>
                      </a:lnTo>
                      <a:lnTo>
                        <a:pt x="2289" y="0"/>
                      </a:lnTo>
                      <a:lnTo>
                        <a:pt x="2289" y="0"/>
                      </a:lnTo>
                      <a:lnTo>
                        <a:pt x="2262" y="0"/>
                      </a:lnTo>
                      <a:lnTo>
                        <a:pt x="2262" y="0"/>
                      </a:lnTo>
                      <a:lnTo>
                        <a:pt x="2197" y="1"/>
                      </a:lnTo>
                      <a:lnTo>
                        <a:pt x="2132" y="4"/>
                      </a:lnTo>
                      <a:lnTo>
                        <a:pt x="2067" y="8"/>
                      </a:lnTo>
                      <a:lnTo>
                        <a:pt x="2003" y="15"/>
                      </a:lnTo>
                      <a:lnTo>
                        <a:pt x="2003" y="15"/>
                      </a:lnTo>
                      <a:lnTo>
                        <a:pt x="1930" y="24"/>
                      </a:lnTo>
                      <a:lnTo>
                        <a:pt x="1857" y="37"/>
                      </a:lnTo>
                      <a:lnTo>
                        <a:pt x="1786" y="51"/>
                      </a:lnTo>
                      <a:lnTo>
                        <a:pt x="1714" y="67"/>
                      </a:lnTo>
                      <a:lnTo>
                        <a:pt x="1644" y="85"/>
                      </a:lnTo>
                      <a:lnTo>
                        <a:pt x="1575" y="107"/>
                      </a:lnTo>
                      <a:lnTo>
                        <a:pt x="1507" y="129"/>
                      </a:lnTo>
                      <a:lnTo>
                        <a:pt x="1439" y="155"/>
                      </a:lnTo>
                      <a:lnTo>
                        <a:pt x="1373" y="182"/>
                      </a:lnTo>
                      <a:lnTo>
                        <a:pt x="1308" y="211"/>
                      </a:lnTo>
                      <a:lnTo>
                        <a:pt x="1245" y="242"/>
                      </a:lnTo>
                      <a:lnTo>
                        <a:pt x="1181" y="275"/>
                      </a:lnTo>
                      <a:lnTo>
                        <a:pt x="1119" y="310"/>
                      </a:lnTo>
                      <a:lnTo>
                        <a:pt x="1059" y="347"/>
                      </a:lnTo>
                      <a:lnTo>
                        <a:pt x="999" y="385"/>
                      </a:lnTo>
                      <a:lnTo>
                        <a:pt x="942" y="426"/>
                      </a:lnTo>
                      <a:lnTo>
                        <a:pt x="942" y="426"/>
                      </a:lnTo>
                      <a:lnTo>
                        <a:pt x="938" y="427"/>
                      </a:lnTo>
                      <a:lnTo>
                        <a:pt x="938" y="427"/>
                      </a:lnTo>
                      <a:lnTo>
                        <a:pt x="924" y="439"/>
                      </a:lnTo>
                      <a:lnTo>
                        <a:pt x="923" y="439"/>
                      </a:lnTo>
                      <a:lnTo>
                        <a:pt x="923" y="439"/>
                      </a:lnTo>
                      <a:lnTo>
                        <a:pt x="872" y="478"/>
                      </a:lnTo>
                      <a:lnTo>
                        <a:pt x="821" y="519"/>
                      </a:lnTo>
                      <a:lnTo>
                        <a:pt x="771" y="561"/>
                      </a:lnTo>
                      <a:lnTo>
                        <a:pt x="723" y="605"/>
                      </a:lnTo>
                      <a:lnTo>
                        <a:pt x="676" y="650"/>
                      </a:lnTo>
                      <a:lnTo>
                        <a:pt x="631" y="696"/>
                      </a:lnTo>
                      <a:lnTo>
                        <a:pt x="586" y="744"/>
                      </a:lnTo>
                      <a:lnTo>
                        <a:pt x="543" y="792"/>
                      </a:lnTo>
                      <a:lnTo>
                        <a:pt x="501" y="842"/>
                      </a:lnTo>
                      <a:lnTo>
                        <a:pt x="462" y="894"/>
                      </a:lnTo>
                      <a:lnTo>
                        <a:pt x="423" y="947"/>
                      </a:lnTo>
                      <a:lnTo>
                        <a:pt x="386" y="1000"/>
                      </a:lnTo>
                      <a:lnTo>
                        <a:pt x="350" y="1055"/>
                      </a:lnTo>
                      <a:lnTo>
                        <a:pt x="315" y="1110"/>
                      </a:lnTo>
                      <a:lnTo>
                        <a:pt x="283" y="1167"/>
                      </a:lnTo>
                      <a:lnTo>
                        <a:pt x="252" y="1225"/>
                      </a:lnTo>
                      <a:lnTo>
                        <a:pt x="222" y="1284"/>
                      </a:lnTo>
                      <a:lnTo>
                        <a:pt x="195" y="1344"/>
                      </a:lnTo>
                      <a:lnTo>
                        <a:pt x="168" y="1404"/>
                      </a:lnTo>
                      <a:lnTo>
                        <a:pt x="144" y="1466"/>
                      </a:lnTo>
                      <a:lnTo>
                        <a:pt x="122" y="1528"/>
                      </a:lnTo>
                      <a:lnTo>
                        <a:pt x="101" y="1591"/>
                      </a:lnTo>
                      <a:lnTo>
                        <a:pt x="83" y="1656"/>
                      </a:lnTo>
                      <a:lnTo>
                        <a:pt x="66" y="1720"/>
                      </a:lnTo>
                      <a:lnTo>
                        <a:pt x="51" y="1786"/>
                      </a:lnTo>
                      <a:lnTo>
                        <a:pt x="37" y="1852"/>
                      </a:lnTo>
                      <a:lnTo>
                        <a:pt x="25" y="1920"/>
                      </a:lnTo>
                      <a:lnTo>
                        <a:pt x="16" y="1986"/>
                      </a:lnTo>
                      <a:lnTo>
                        <a:pt x="9" y="2055"/>
                      </a:lnTo>
                      <a:lnTo>
                        <a:pt x="3" y="2124"/>
                      </a:lnTo>
                      <a:lnTo>
                        <a:pt x="1" y="2194"/>
                      </a:lnTo>
                      <a:lnTo>
                        <a:pt x="0" y="2264"/>
                      </a:lnTo>
                      <a:lnTo>
                        <a:pt x="0" y="2264"/>
                      </a:lnTo>
                      <a:lnTo>
                        <a:pt x="0" y="2264"/>
                      </a:lnTo>
                      <a:lnTo>
                        <a:pt x="0" y="2264"/>
                      </a:lnTo>
                      <a:lnTo>
                        <a:pt x="0" y="2316"/>
                      </a:lnTo>
                      <a:lnTo>
                        <a:pt x="2" y="2369"/>
                      </a:lnTo>
                      <a:lnTo>
                        <a:pt x="5" y="2420"/>
                      </a:lnTo>
                      <a:lnTo>
                        <a:pt x="9" y="2471"/>
                      </a:lnTo>
                      <a:lnTo>
                        <a:pt x="15" y="2523"/>
                      </a:lnTo>
                      <a:lnTo>
                        <a:pt x="21" y="2573"/>
                      </a:lnTo>
                      <a:lnTo>
                        <a:pt x="29" y="2624"/>
                      </a:lnTo>
                      <a:lnTo>
                        <a:pt x="37" y="2675"/>
                      </a:lnTo>
                      <a:lnTo>
                        <a:pt x="47" y="2724"/>
                      </a:lnTo>
                      <a:lnTo>
                        <a:pt x="58" y="2774"/>
                      </a:lnTo>
                      <a:lnTo>
                        <a:pt x="69" y="2822"/>
                      </a:lnTo>
                      <a:lnTo>
                        <a:pt x="83" y="2870"/>
                      </a:lnTo>
                      <a:lnTo>
                        <a:pt x="97" y="2919"/>
                      </a:lnTo>
                      <a:lnTo>
                        <a:pt x="112" y="2967"/>
                      </a:lnTo>
                      <a:lnTo>
                        <a:pt x="128" y="3014"/>
                      </a:lnTo>
                      <a:lnTo>
                        <a:pt x="144" y="3060"/>
                      </a:lnTo>
                      <a:lnTo>
                        <a:pt x="162" y="3107"/>
                      </a:lnTo>
                      <a:lnTo>
                        <a:pt x="181" y="3153"/>
                      </a:lnTo>
                      <a:lnTo>
                        <a:pt x="201" y="3199"/>
                      </a:lnTo>
                      <a:lnTo>
                        <a:pt x="222" y="3242"/>
                      </a:lnTo>
                      <a:lnTo>
                        <a:pt x="244" y="3287"/>
                      </a:lnTo>
                      <a:lnTo>
                        <a:pt x="267" y="3331"/>
                      </a:lnTo>
                      <a:lnTo>
                        <a:pt x="290" y="3374"/>
                      </a:lnTo>
                      <a:lnTo>
                        <a:pt x="315" y="3416"/>
                      </a:lnTo>
                      <a:lnTo>
                        <a:pt x="341" y="3458"/>
                      </a:lnTo>
                      <a:lnTo>
                        <a:pt x="367" y="3499"/>
                      </a:lnTo>
                      <a:lnTo>
                        <a:pt x="394" y="3541"/>
                      </a:lnTo>
                      <a:lnTo>
                        <a:pt x="423" y="3580"/>
                      </a:lnTo>
                      <a:lnTo>
                        <a:pt x="451" y="3620"/>
                      </a:lnTo>
                      <a:lnTo>
                        <a:pt x="481" y="3658"/>
                      </a:lnTo>
                      <a:lnTo>
                        <a:pt x="511" y="3696"/>
                      </a:lnTo>
                      <a:lnTo>
                        <a:pt x="542" y="3734"/>
                      </a:lnTo>
                      <a:lnTo>
                        <a:pt x="574" y="3771"/>
                      </a:lnTo>
                      <a:lnTo>
                        <a:pt x="608" y="3807"/>
                      </a:lnTo>
                      <a:lnTo>
                        <a:pt x="641" y="3842"/>
                      </a:lnTo>
                      <a:lnTo>
                        <a:pt x="676" y="3877"/>
                      </a:lnTo>
                      <a:lnTo>
                        <a:pt x="711" y="3910"/>
                      </a:lnTo>
                      <a:lnTo>
                        <a:pt x="747" y="3944"/>
                      </a:lnTo>
                      <a:lnTo>
                        <a:pt x="783" y="3976"/>
                      </a:lnTo>
                      <a:lnTo>
                        <a:pt x="821" y="4007"/>
                      </a:lnTo>
                      <a:lnTo>
                        <a:pt x="859" y="4038"/>
                      </a:lnTo>
                      <a:lnTo>
                        <a:pt x="897" y="4068"/>
                      </a:lnTo>
                      <a:lnTo>
                        <a:pt x="936" y="4097"/>
                      </a:lnTo>
                      <a:lnTo>
                        <a:pt x="976" y="4125"/>
                      </a:lnTo>
                      <a:lnTo>
                        <a:pt x="1017" y="4153"/>
                      </a:lnTo>
                      <a:lnTo>
                        <a:pt x="1058" y="4180"/>
                      </a:lnTo>
                      <a:lnTo>
                        <a:pt x="1099" y="4205"/>
                      </a:lnTo>
                      <a:lnTo>
                        <a:pt x="1142" y="4230"/>
                      </a:lnTo>
                      <a:lnTo>
                        <a:pt x="1185" y="4253"/>
                      </a:lnTo>
                      <a:lnTo>
                        <a:pt x="1228" y="4276"/>
                      </a:lnTo>
                      <a:lnTo>
                        <a:pt x="1272" y="4299"/>
                      </a:lnTo>
                      <a:lnTo>
                        <a:pt x="1317" y="4320"/>
                      </a:lnTo>
                      <a:lnTo>
                        <a:pt x="1362" y="4340"/>
                      </a:lnTo>
                      <a:lnTo>
                        <a:pt x="1408" y="4359"/>
                      </a:lnTo>
                      <a:lnTo>
                        <a:pt x="1454" y="4378"/>
                      </a:lnTo>
                      <a:lnTo>
                        <a:pt x="1501" y="4395"/>
                      </a:lnTo>
                      <a:lnTo>
                        <a:pt x="1548" y="4411"/>
                      </a:lnTo>
                      <a:lnTo>
                        <a:pt x="1596" y="4426"/>
                      </a:lnTo>
                      <a:lnTo>
                        <a:pt x="1644" y="4441"/>
                      </a:lnTo>
                      <a:lnTo>
                        <a:pt x="1692" y="4454"/>
                      </a:lnTo>
                      <a:lnTo>
                        <a:pt x="1741" y="4466"/>
                      </a:lnTo>
                      <a:lnTo>
                        <a:pt x="1790" y="4477"/>
                      </a:lnTo>
                      <a:lnTo>
                        <a:pt x="1840" y="4487"/>
                      </a:lnTo>
                      <a:lnTo>
                        <a:pt x="1890" y="4496"/>
                      </a:lnTo>
                      <a:lnTo>
                        <a:pt x="1890" y="4496"/>
                      </a:lnTo>
                      <a:lnTo>
                        <a:pt x="1935" y="4503"/>
                      </a:lnTo>
                      <a:lnTo>
                        <a:pt x="1981" y="4509"/>
                      </a:lnTo>
                      <a:lnTo>
                        <a:pt x="2027" y="4515"/>
                      </a:lnTo>
                      <a:lnTo>
                        <a:pt x="2075" y="4518"/>
                      </a:lnTo>
                      <a:lnTo>
                        <a:pt x="2121" y="4522"/>
                      </a:lnTo>
                      <a:lnTo>
                        <a:pt x="2168" y="4524"/>
                      </a:lnTo>
                      <a:lnTo>
                        <a:pt x="2215" y="4526"/>
                      </a:lnTo>
                      <a:lnTo>
                        <a:pt x="2262" y="4526"/>
                      </a:lnTo>
                      <a:lnTo>
                        <a:pt x="2262" y="4526"/>
                      </a:lnTo>
                      <a:lnTo>
                        <a:pt x="2321" y="4525"/>
                      </a:lnTo>
                      <a:lnTo>
                        <a:pt x="2321" y="4525"/>
                      </a:lnTo>
                      <a:lnTo>
                        <a:pt x="2379" y="4524"/>
                      </a:lnTo>
                      <a:lnTo>
                        <a:pt x="2435" y="4519"/>
                      </a:lnTo>
                      <a:lnTo>
                        <a:pt x="2491" y="4515"/>
                      </a:lnTo>
                      <a:lnTo>
                        <a:pt x="2548" y="4509"/>
                      </a:lnTo>
                      <a:lnTo>
                        <a:pt x="2603" y="4501"/>
                      </a:lnTo>
                      <a:lnTo>
                        <a:pt x="2658" y="4492"/>
                      </a:lnTo>
                      <a:lnTo>
                        <a:pt x="2712" y="4481"/>
                      </a:lnTo>
                      <a:lnTo>
                        <a:pt x="2766" y="4470"/>
                      </a:lnTo>
                      <a:lnTo>
                        <a:pt x="2821" y="4457"/>
                      </a:lnTo>
                      <a:lnTo>
                        <a:pt x="2874" y="4443"/>
                      </a:lnTo>
                      <a:lnTo>
                        <a:pt x="2927" y="4427"/>
                      </a:lnTo>
                      <a:lnTo>
                        <a:pt x="2978" y="4411"/>
                      </a:lnTo>
                      <a:lnTo>
                        <a:pt x="3030" y="4393"/>
                      </a:lnTo>
                      <a:lnTo>
                        <a:pt x="3081" y="4374"/>
                      </a:lnTo>
                      <a:lnTo>
                        <a:pt x="3131" y="4353"/>
                      </a:lnTo>
                      <a:lnTo>
                        <a:pt x="3181" y="4332"/>
                      </a:lnTo>
                      <a:lnTo>
                        <a:pt x="3230" y="4310"/>
                      </a:lnTo>
                      <a:lnTo>
                        <a:pt x="3279" y="4285"/>
                      </a:lnTo>
                      <a:lnTo>
                        <a:pt x="3327" y="4261"/>
                      </a:lnTo>
                      <a:lnTo>
                        <a:pt x="3374" y="4235"/>
                      </a:lnTo>
                      <a:lnTo>
                        <a:pt x="3420" y="4208"/>
                      </a:lnTo>
                      <a:lnTo>
                        <a:pt x="3466" y="4180"/>
                      </a:lnTo>
                      <a:lnTo>
                        <a:pt x="3511" y="4151"/>
                      </a:lnTo>
                      <a:lnTo>
                        <a:pt x="3556" y="4121"/>
                      </a:lnTo>
                      <a:lnTo>
                        <a:pt x="3599" y="4090"/>
                      </a:lnTo>
                      <a:lnTo>
                        <a:pt x="3643" y="4058"/>
                      </a:lnTo>
                      <a:lnTo>
                        <a:pt x="3684" y="4024"/>
                      </a:lnTo>
                      <a:lnTo>
                        <a:pt x="3726" y="3990"/>
                      </a:lnTo>
                      <a:lnTo>
                        <a:pt x="3766" y="3955"/>
                      </a:lnTo>
                      <a:lnTo>
                        <a:pt x="3805" y="3919"/>
                      </a:lnTo>
                      <a:lnTo>
                        <a:pt x="3844" y="3881"/>
                      </a:lnTo>
                      <a:lnTo>
                        <a:pt x="3882" y="3845"/>
                      </a:lnTo>
                      <a:lnTo>
                        <a:pt x="3919" y="3805"/>
                      </a:lnTo>
                      <a:lnTo>
                        <a:pt x="3955" y="3766"/>
                      </a:lnTo>
                      <a:lnTo>
                        <a:pt x="3989" y="3726"/>
                      </a:lnTo>
                      <a:lnTo>
                        <a:pt x="4024" y="3684"/>
                      </a:lnTo>
                      <a:lnTo>
                        <a:pt x="4057" y="3642"/>
                      </a:lnTo>
                      <a:lnTo>
                        <a:pt x="4089" y="3599"/>
                      </a:lnTo>
                      <a:lnTo>
                        <a:pt x="4120" y="3556"/>
                      </a:lnTo>
                      <a:lnTo>
                        <a:pt x="4150" y="3512"/>
                      </a:lnTo>
                      <a:lnTo>
                        <a:pt x="4179" y="3467"/>
                      </a:lnTo>
                      <a:lnTo>
                        <a:pt x="4208" y="3421"/>
                      </a:lnTo>
                      <a:lnTo>
                        <a:pt x="4234" y="3374"/>
                      </a:lnTo>
                      <a:lnTo>
                        <a:pt x="4261" y="3326"/>
                      </a:lnTo>
                      <a:lnTo>
                        <a:pt x="4285" y="3279"/>
                      </a:lnTo>
                      <a:lnTo>
                        <a:pt x="4309" y="3231"/>
                      </a:lnTo>
                      <a:lnTo>
                        <a:pt x="4331" y="3181"/>
                      </a:lnTo>
                      <a:lnTo>
                        <a:pt x="4353" y="3132"/>
                      </a:lnTo>
                      <a:lnTo>
                        <a:pt x="4374" y="3081"/>
                      </a:lnTo>
                      <a:lnTo>
                        <a:pt x="4392" y="3029"/>
                      </a:lnTo>
                      <a:lnTo>
                        <a:pt x="4411" y="2979"/>
                      </a:lnTo>
                      <a:lnTo>
                        <a:pt x="4427" y="2926"/>
                      </a:lnTo>
                      <a:lnTo>
                        <a:pt x="4443" y="2874"/>
                      </a:lnTo>
                      <a:lnTo>
                        <a:pt x="4457" y="2820"/>
                      </a:lnTo>
                      <a:lnTo>
                        <a:pt x="4469" y="2767"/>
                      </a:lnTo>
                      <a:lnTo>
                        <a:pt x="4481" y="2713"/>
                      </a:lnTo>
                      <a:lnTo>
                        <a:pt x="4491" y="2658"/>
                      </a:lnTo>
                      <a:lnTo>
                        <a:pt x="4500" y="2602"/>
                      </a:lnTo>
                      <a:lnTo>
                        <a:pt x="4508" y="2547"/>
                      </a:lnTo>
                      <a:lnTo>
                        <a:pt x="4514" y="2491"/>
                      </a:lnTo>
                      <a:lnTo>
                        <a:pt x="4519" y="2434"/>
                      </a:lnTo>
                      <a:lnTo>
                        <a:pt x="4522" y="2378"/>
                      </a:lnTo>
                      <a:lnTo>
                        <a:pt x="4524" y="2321"/>
                      </a:lnTo>
                      <a:lnTo>
                        <a:pt x="4526" y="2264"/>
                      </a:lnTo>
                      <a:lnTo>
                        <a:pt x="4526" y="2264"/>
                      </a:lnTo>
                      <a:lnTo>
                        <a:pt x="4524" y="2205"/>
                      </a:lnTo>
                      <a:lnTo>
                        <a:pt x="4522" y="2147"/>
                      </a:lnTo>
                      <a:lnTo>
                        <a:pt x="4522" y="2147"/>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4" name="Freeform 323"/>
                <p:cNvSpPr>
                  <a:spLocks/>
                </p:cNvSpPr>
                <p:nvPr/>
              </p:nvSpPr>
              <p:spPr bwMode="auto">
                <a:xfrm>
                  <a:off x="2682875" y="301625"/>
                  <a:ext cx="1027113" cy="1027113"/>
                </a:xfrm>
                <a:custGeom>
                  <a:avLst/>
                  <a:gdLst>
                    <a:gd name="T0" fmla="*/ 4519 w 4526"/>
                    <a:gd name="T1" fmla="*/ 2438 h 4526"/>
                    <a:gd name="T2" fmla="*/ 4480 w 4526"/>
                    <a:gd name="T3" fmla="*/ 2720 h 4526"/>
                    <a:gd name="T4" fmla="*/ 4407 w 4526"/>
                    <a:gd name="T5" fmla="*/ 2989 h 4526"/>
                    <a:gd name="T6" fmla="*/ 4302 w 4526"/>
                    <a:gd name="T7" fmla="*/ 3245 h 4526"/>
                    <a:gd name="T8" fmla="*/ 4169 w 4526"/>
                    <a:gd name="T9" fmla="*/ 3483 h 4526"/>
                    <a:gd name="T10" fmla="*/ 4009 w 4526"/>
                    <a:gd name="T11" fmla="*/ 3703 h 4526"/>
                    <a:gd name="T12" fmla="*/ 3823 w 4526"/>
                    <a:gd name="T13" fmla="*/ 3901 h 4526"/>
                    <a:gd name="T14" fmla="*/ 3616 w 4526"/>
                    <a:gd name="T15" fmla="*/ 4077 h 4526"/>
                    <a:gd name="T16" fmla="*/ 3389 w 4526"/>
                    <a:gd name="T17" fmla="*/ 4227 h 4526"/>
                    <a:gd name="T18" fmla="*/ 3143 w 4526"/>
                    <a:gd name="T19" fmla="*/ 4349 h 4526"/>
                    <a:gd name="T20" fmla="*/ 2882 w 4526"/>
                    <a:gd name="T21" fmla="*/ 4441 h 4526"/>
                    <a:gd name="T22" fmla="*/ 2608 w 4526"/>
                    <a:gd name="T23" fmla="*/ 4500 h 4526"/>
                    <a:gd name="T24" fmla="*/ 2321 w 4526"/>
                    <a:gd name="T25" fmla="*/ 4525 h 4526"/>
                    <a:gd name="T26" fmla="*/ 2088 w 4526"/>
                    <a:gd name="T27" fmla="*/ 4519 h 4526"/>
                    <a:gd name="T28" fmla="*/ 1806 w 4526"/>
                    <a:gd name="T29" fmla="*/ 4480 h 4526"/>
                    <a:gd name="T30" fmla="*/ 1537 w 4526"/>
                    <a:gd name="T31" fmla="*/ 4408 h 4526"/>
                    <a:gd name="T32" fmla="*/ 1281 w 4526"/>
                    <a:gd name="T33" fmla="*/ 4303 h 4526"/>
                    <a:gd name="T34" fmla="*/ 1043 w 4526"/>
                    <a:gd name="T35" fmla="*/ 4169 h 4526"/>
                    <a:gd name="T36" fmla="*/ 823 w 4526"/>
                    <a:gd name="T37" fmla="*/ 4009 h 4526"/>
                    <a:gd name="T38" fmla="*/ 625 w 4526"/>
                    <a:gd name="T39" fmla="*/ 3825 h 4526"/>
                    <a:gd name="T40" fmla="*/ 449 w 4526"/>
                    <a:gd name="T41" fmla="*/ 3618 h 4526"/>
                    <a:gd name="T42" fmla="*/ 299 w 4526"/>
                    <a:gd name="T43" fmla="*/ 3390 h 4526"/>
                    <a:gd name="T44" fmla="*/ 177 w 4526"/>
                    <a:gd name="T45" fmla="*/ 3145 h 4526"/>
                    <a:gd name="T46" fmla="*/ 85 w 4526"/>
                    <a:gd name="T47" fmla="*/ 2883 h 4526"/>
                    <a:gd name="T48" fmla="*/ 25 w 4526"/>
                    <a:gd name="T49" fmla="*/ 2608 h 4526"/>
                    <a:gd name="T50" fmla="*/ 0 w 4526"/>
                    <a:gd name="T51" fmla="*/ 2321 h 4526"/>
                    <a:gd name="T52" fmla="*/ 7 w 4526"/>
                    <a:gd name="T53" fmla="*/ 2089 h 4526"/>
                    <a:gd name="T54" fmla="*/ 46 w 4526"/>
                    <a:gd name="T55" fmla="*/ 1807 h 4526"/>
                    <a:gd name="T56" fmla="*/ 119 w 4526"/>
                    <a:gd name="T57" fmla="*/ 1537 h 4526"/>
                    <a:gd name="T58" fmla="*/ 223 w 4526"/>
                    <a:gd name="T59" fmla="*/ 1282 h 4526"/>
                    <a:gd name="T60" fmla="*/ 356 w 4526"/>
                    <a:gd name="T61" fmla="*/ 1043 h 4526"/>
                    <a:gd name="T62" fmla="*/ 517 w 4526"/>
                    <a:gd name="T63" fmla="*/ 823 h 4526"/>
                    <a:gd name="T64" fmla="*/ 701 w 4526"/>
                    <a:gd name="T65" fmla="*/ 625 h 4526"/>
                    <a:gd name="T66" fmla="*/ 908 w 4526"/>
                    <a:gd name="T67" fmla="*/ 450 h 4526"/>
                    <a:gd name="T68" fmla="*/ 1136 w 4526"/>
                    <a:gd name="T69" fmla="*/ 300 h 4526"/>
                    <a:gd name="T70" fmla="*/ 1382 w 4526"/>
                    <a:gd name="T71" fmla="*/ 179 h 4526"/>
                    <a:gd name="T72" fmla="*/ 1643 w 4526"/>
                    <a:gd name="T73" fmla="*/ 87 h 4526"/>
                    <a:gd name="T74" fmla="*/ 1918 w 4526"/>
                    <a:gd name="T75" fmla="*/ 27 h 4526"/>
                    <a:gd name="T76" fmla="*/ 2205 w 4526"/>
                    <a:gd name="T77" fmla="*/ 1 h 4526"/>
                    <a:gd name="T78" fmla="*/ 2437 w 4526"/>
                    <a:gd name="T79" fmla="*/ 7 h 4526"/>
                    <a:gd name="T80" fmla="*/ 2718 w 4526"/>
                    <a:gd name="T81" fmla="*/ 46 h 4526"/>
                    <a:gd name="T82" fmla="*/ 2989 w 4526"/>
                    <a:gd name="T83" fmla="*/ 119 h 4526"/>
                    <a:gd name="T84" fmla="*/ 3243 w 4526"/>
                    <a:gd name="T85" fmla="*/ 224 h 4526"/>
                    <a:gd name="T86" fmla="*/ 3483 w 4526"/>
                    <a:gd name="T87" fmla="*/ 357 h 4526"/>
                    <a:gd name="T88" fmla="*/ 3702 w 4526"/>
                    <a:gd name="T89" fmla="*/ 517 h 4526"/>
                    <a:gd name="T90" fmla="*/ 3900 w 4526"/>
                    <a:gd name="T91" fmla="*/ 703 h 4526"/>
                    <a:gd name="T92" fmla="*/ 4075 w 4526"/>
                    <a:gd name="T93" fmla="*/ 910 h 4526"/>
                    <a:gd name="T94" fmla="*/ 4225 w 4526"/>
                    <a:gd name="T95" fmla="*/ 1137 h 4526"/>
                    <a:gd name="T96" fmla="*/ 4347 w 4526"/>
                    <a:gd name="T97" fmla="*/ 1383 h 4526"/>
                    <a:gd name="T98" fmla="*/ 4439 w 4526"/>
                    <a:gd name="T99" fmla="*/ 1644 h 4526"/>
                    <a:gd name="T100" fmla="*/ 4499 w 4526"/>
                    <a:gd name="T101" fmla="*/ 1918 h 4526"/>
                    <a:gd name="T102" fmla="*/ 4524 w 4526"/>
                    <a:gd name="T103" fmla="*/ 2205 h 4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526" h="4526">
                      <a:moveTo>
                        <a:pt x="4526" y="2264"/>
                      </a:moveTo>
                      <a:lnTo>
                        <a:pt x="4526" y="2264"/>
                      </a:lnTo>
                      <a:lnTo>
                        <a:pt x="4524" y="2321"/>
                      </a:lnTo>
                      <a:lnTo>
                        <a:pt x="4522" y="2380"/>
                      </a:lnTo>
                      <a:lnTo>
                        <a:pt x="4519" y="2438"/>
                      </a:lnTo>
                      <a:lnTo>
                        <a:pt x="4514" y="2495"/>
                      </a:lnTo>
                      <a:lnTo>
                        <a:pt x="4507" y="2552"/>
                      </a:lnTo>
                      <a:lnTo>
                        <a:pt x="4499" y="2608"/>
                      </a:lnTo>
                      <a:lnTo>
                        <a:pt x="4490" y="2664"/>
                      </a:lnTo>
                      <a:lnTo>
                        <a:pt x="4480" y="2720"/>
                      </a:lnTo>
                      <a:lnTo>
                        <a:pt x="4467" y="2774"/>
                      </a:lnTo>
                      <a:lnTo>
                        <a:pt x="4454" y="2829"/>
                      </a:lnTo>
                      <a:lnTo>
                        <a:pt x="4439" y="2883"/>
                      </a:lnTo>
                      <a:lnTo>
                        <a:pt x="4423" y="2936"/>
                      </a:lnTo>
                      <a:lnTo>
                        <a:pt x="4407" y="2989"/>
                      </a:lnTo>
                      <a:lnTo>
                        <a:pt x="4389" y="3041"/>
                      </a:lnTo>
                      <a:lnTo>
                        <a:pt x="4368" y="3093"/>
                      </a:lnTo>
                      <a:lnTo>
                        <a:pt x="4347" y="3145"/>
                      </a:lnTo>
                      <a:lnTo>
                        <a:pt x="4325" y="3194"/>
                      </a:lnTo>
                      <a:lnTo>
                        <a:pt x="4302" y="3245"/>
                      </a:lnTo>
                      <a:lnTo>
                        <a:pt x="4278" y="3293"/>
                      </a:lnTo>
                      <a:lnTo>
                        <a:pt x="4253" y="3341"/>
                      </a:lnTo>
                      <a:lnTo>
                        <a:pt x="4225" y="3390"/>
                      </a:lnTo>
                      <a:lnTo>
                        <a:pt x="4198" y="3437"/>
                      </a:lnTo>
                      <a:lnTo>
                        <a:pt x="4169" y="3483"/>
                      </a:lnTo>
                      <a:lnTo>
                        <a:pt x="4139" y="3529"/>
                      </a:lnTo>
                      <a:lnTo>
                        <a:pt x="4108" y="3573"/>
                      </a:lnTo>
                      <a:lnTo>
                        <a:pt x="4075" y="3618"/>
                      </a:lnTo>
                      <a:lnTo>
                        <a:pt x="4043" y="3660"/>
                      </a:lnTo>
                      <a:lnTo>
                        <a:pt x="4009" y="3703"/>
                      </a:lnTo>
                      <a:lnTo>
                        <a:pt x="3974" y="3744"/>
                      </a:lnTo>
                      <a:lnTo>
                        <a:pt x="3937" y="3785"/>
                      </a:lnTo>
                      <a:lnTo>
                        <a:pt x="3900" y="3825"/>
                      </a:lnTo>
                      <a:lnTo>
                        <a:pt x="3863" y="3863"/>
                      </a:lnTo>
                      <a:lnTo>
                        <a:pt x="3823" y="3901"/>
                      </a:lnTo>
                      <a:lnTo>
                        <a:pt x="3784" y="3938"/>
                      </a:lnTo>
                      <a:lnTo>
                        <a:pt x="3744" y="3975"/>
                      </a:lnTo>
                      <a:lnTo>
                        <a:pt x="3702" y="4009"/>
                      </a:lnTo>
                      <a:lnTo>
                        <a:pt x="3660" y="4044"/>
                      </a:lnTo>
                      <a:lnTo>
                        <a:pt x="3616" y="4077"/>
                      </a:lnTo>
                      <a:lnTo>
                        <a:pt x="3572" y="4108"/>
                      </a:lnTo>
                      <a:lnTo>
                        <a:pt x="3527" y="4139"/>
                      </a:lnTo>
                      <a:lnTo>
                        <a:pt x="3483" y="4169"/>
                      </a:lnTo>
                      <a:lnTo>
                        <a:pt x="3435" y="4199"/>
                      </a:lnTo>
                      <a:lnTo>
                        <a:pt x="3389" y="4227"/>
                      </a:lnTo>
                      <a:lnTo>
                        <a:pt x="3341" y="4253"/>
                      </a:lnTo>
                      <a:lnTo>
                        <a:pt x="3293" y="4279"/>
                      </a:lnTo>
                      <a:lnTo>
                        <a:pt x="3243" y="4303"/>
                      </a:lnTo>
                      <a:lnTo>
                        <a:pt x="3194" y="4326"/>
                      </a:lnTo>
                      <a:lnTo>
                        <a:pt x="3143" y="4349"/>
                      </a:lnTo>
                      <a:lnTo>
                        <a:pt x="3092" y="4370"/>
                      </a:lnTo>
                      <a:lnTo>
                        <a:pt x="3040" y="4389"/>
                      </a:lnTo>
                      <a:lnTo>
                        <a:pt x="2989" y="4408"/>
                      </a:lnTo>
                      <a:lnTo>
                        <a:pt x="2936" y="4425"/>
                      </a:lnTo>
                      <a:lnTo>
                        <a:pt x="2882" y="4441"/>
                      </a:lnTo>
                      <a:lnTo>
                        <a:pt x="2829" y="4455"/>
                      </a:lnTo>
                      <a:lnTo>
                        <a:pt x="2773" y="4469"/>
                      </a:lnTo>
                      <a:lnTo>
                        <a:pt x="2718" y="4480"/>
                      </a:lnTo>
                      <a:lnTo>
                        <a:pt x="2663" y="4490"/>
                      </a:lnTo>
                      <a:lnTo>
                        <a:pt x="2608" y="4500"/>
                      </a:lnTo>
                      <a:lnTo>
                        <a:pt x="2551" y="4508"/>
                      </a:lnTo>
                      <a:lnTo>
                        <a:pt x="2494" y="4515"/>
                      </a:lnTo>
                      <a:lnTo>
                        <a:pt x="2437" y="4519"/>
                      </a:lnTo>
                      <a:lnTo>
                        <a:pt x="2379" y="4524"/>
                      </a:lnTo>
                      <a:lnTo>
                        <a:pt x="2321" y="4525"/>
                      </a:lnTo>
                      <a:lnTo>
                        <a:pt x="2262" y="4526"/>
                      </a:lnTo>
                      <a:lnTo>
                        <a:pt x="2262" y="4526"/>
                      </a:lnTo>
                      <a:lnTo>
                        <a:pt x="2205" y="4525"/>
                      </a:lnTo>
                      <a:lnTo>
                        <a:pt x="2146" y="4524"/>
                      </a:lnTo>
                      <a:lnTo>
                        <a:pt x="2088" y="4519"/>
                      </a:lnTo>
                      <a:lnTo>
                        <a:pt x="2031" y="4515"/>
                      </a:lnTo>
                      <a:lnTo>
                        <a:pt x="1974" y="4508"/>
                      </a:lnTo>
                      <a:lnTo>
                        <a:pt x="1918" y="4500"/>
                      </a:lnTo>
                      <a:lnTo>
                        <a:pt x="1862" y="4490"/>
                      </a:lnTo>
                      <a:lnTo>
                        <a:pt x="1806" y="4480"/>
                      </a:lnTo>
                      <a:lnTo>
                        <a:pt x="1751" y="4469"/>
                      </a:lnTo>
                      <a:lnTo>
                        <a:pt x="1697" y="4455"/>
                      </a:lnTo>
                      <a:lnTo>
                        <a:pt x="1643" y="4441"/>
                      </a:lnTo>
                      <a:lnTo>
                        <a:pt x="1590" y="4425"/>
                      </a:lnTo>
                      <a:lnTo>
                        <a:pt x="1537" y="4408"/>
                      </a:lnTo>
                      <a:lnTo>
                        <a:pt x="1485" y="4389"/>
                      </a:lnTo>
                      <a:lnTo>
                        <a:pt x="1433" y="4370"/>
                      </a:lnTo>
                      <a:lnTo>
                        <a:pt x="1382" y="4349"/>
                      </a:lnTo>
                      <a:lnTo>
                        <a:pt x="1331" y="4326"/>
                      </a:lnTo>
                      <a:lnTo>
                        <a:pt x="1281" y="4303"/>
                      </a:lnTo>
                      <a:lnTo>
                        <a:pt x="1233" y="4279"/>
                      </a:lnTo>
                      <a:lnTo>
                        <a:pt x="1184" y="4253"/>
                      </a:lnTo>
                      <a:lnTo>
                        <a:pt x="1136" y="4227"/>
                      </a:lnTo>
                      <a:lnTo>
                        <a:pt x="1089" y="4199"/>
                      </a:lnTo>
                      <a:lnTo>
                        <a:pt x="1043" y="4169"/>
                      </a:lnTo>
                      <a:lnTo>
                        <a:pt x="997" y="4139"/>
                      </a:lnTo>
                      <a:lnTo>
                        <a:pt x="953" y="4108"/>
                      </a:lnTo>
                      <a:lnTo>
                        <a:pt x="908" y="4077"/>
                      </a:lnTo>
                      <a:lnTo>
                        <a:pt x="866" y="4044"/>
                      </a:lnTo>
                      <a:lnTo>
                        <a:pt x="823" y="4009"/>
                      </a:lnTo>
                      <a:lnTo>
                        <a:pt x="782" y="3975"/>
                      </a:lnTo>
                      <a:lnTo>
                        <a:pt x="741" y="3938"/>
                      </a:lnTo>
                      <a:lnTo>
                        <a:pt x="701" y="3901"/>
                      </a:lnTo>
                      <a:lnTo>
                        <a:pt x="663" y="3863"/>
                      </a:lnTo>
                      <a:lnTo>
                        <a:pt x="625" y="3825"/>
                      </a:lnTo>
                      <a:lnTo>
                        <a:pt x="587" y="3785"/>
                      </a:lnTo>
                      <a:lnTo>
                        <a:pt x="551" y="3744"/>
                      </a:lnTo>
                      <a:lnTo>
                        <a:pt x="517" y="3703"/>
                      </a:lnTo>
                      <a:lnTo>
                        <a:pt x="482" y="3660"/>
                      </a:lnTo>
                      <a:lnTo>
                        <a:pt x="449" y="3618"/>
                      </a:lnTo>
                      <a:lnTo>
                        <a:pt x="417" y="3573"/>
                      </a:lnTo>
                      <a:lnTo>
                        <a:pt x="386" y="3529"/>
                      </a:lnTo>
                      <a:lnTo>
                        <a:pt x="356" y="3483"/>
                      </a:lnTo>
                      <a:lnTo>
                        <a:pt x="327" y="3437"/>
                      </a:lnTo>
                      <a:lnTo>
                        <a:pt x="299" y="3390"/>
                      </a:lnTo>
                      <a:lnTo>
                        <a:pt x="273" y="3341"/>
                      </a:lnTo>
                      <a:lnTo>
                        <a:pt x="248" y="3293"/>
                      </a:lnTo>
                      <a:lnTo>
                        <a:pt x="223" y="3245"/>
                      </a:lnTo>
                      <a:lnTo>
                        <a:pt x="199" y="3194"/>
                      </a:lnTo>
                      <a:lnTo>
                        <a:pt x="177" y="3145"/>
                      </a:lnTo>
                      <a:lnTo>
                        <a:pt x="157" y="3093"/>
                      </a:lnTo>
                      <a:lnTo>
                        <a:pt x="137" y="3041"/>
                      </a:lnTo>
                      <a:lnTo>
                        <a:pt x="119" y="2989"/>
                      </a:lnTo>
                      <a:lnTo>
                        <a:pt x="101" y="2936"/>
                      </a:lnTo>
                      <a:lnTo>
                        <a:pt x="85" y="2883"/>
                      </a:lnTo>
                      <a:lnTo>
                        <a:pt x="71" y="2829"/>
                      </a:lnTo>
                      <a:lnTo>
                        <a:pt x="58" y="2774"/>
                      </a:lnTo>
                      <a:lnTo>
                        <a:pt x="46" y="2720"/>
                      </a:lnTo>
                      <a:lnTo>
                        <a:pt x="36" y="2664"/>
                      </a:lnTo>
                      <a:lnTo>
                        <a:pt x="25" y="2608"/>
                      </a:lnTo>
                      <a:lnTo>
                        <a:pt x="18" y="2552"/>
                      </a:lnTo>
                      <a:lnTo>
                        <a:pt x="12" y="2495"/>
                      </a:lnTo>
                      <a:lnTo>
                        <a:pt x="7" y="2438"/>
                      </a:lnTo>
                      <a:lnTo>
                        <a:pt x="2" y="2380"/>
                      </a:lnTo>
                      <a:lnTo>
                        <a:pt x="0" y="2321"/>
                      </a:lnTo>
                      <a:lnTo>
                        <a:pt x="0" y="2264"/>
                      </a:lnTo>
                      <a:lnTo>
                        <a:pt x="0" y="2264"/>
                      </a:lnTo>
                      <a:lnTo>
                        <a:pt x="0" y="2205"/>
                      </a:lnTo>
                      <a:lnTo>
                        <a:pt x="2" y="2146"/>
                      </a:lnTo>
                      <a:lnTo>
                        <a:pt x="7" y="2089"/>
                      </a:lnTo>
                      <a:lnTo>
                        <a:pt x="12" y="2032"/>
                      </a:lnTo>
                      <a:lnTo>
                        <a:pt x="18" y="1975"/>
                      </a:lnTo>
                      <a:lnTo>
                        <a:pt x="25" y="1918"/>
                      </a:lnTo>
                      <a:lnTo>
                        <a:pt x="36" y="1863"/>
                      </a:lnTo>
                      <a:lnTo>
                        <a:pt x="46" y="1807"/>
                      </a:lnTo>
                      <a:lnTo>
                        <a:pt x="58" y="1753"/>
                      </a:lnTo>
                      <a:lnTo>
                        <a:pt x="71" y="1697"/>
                      </a:lnTo>
                      <a:lnTo>
                        <a:pt x="85" y="1644"/>
                      </a:lnTo>
                      <a:lnTo>
                        <a:pt x="101" y="1590"/>
                      </a:lnTo>
                      <a:lnTo>
                        <a:pt x="119" y="1537"/>
                      </a:lnTo>
                      <a:lnTo>
                        <a:pt x="137" y="1485"/>
                      </a:lnTo>
                      <a:lnTo>
                        <a:pt x="157" y="1434"/>
                      </a:lnTo>
                      <a:lnTo>
                        <a:pt x="177" y="1383"/>
                      </a:lnTo>
                      <a:lnTo>
                        <a:pt x="199" y="1332"/>
                      </a:lnTo>
                      <a:lnTo>
                        <a:pt x="223" y="1282"/>
                      </a:lnTo>
                      <a:lnTo>
                        <a:pt x="248" y="1233"/>
                      </a:lnTo>
                      <a:lnTo>
                        <a:pt x="273" y="1185"/>
                      </a:lnTo>
                      <a:lnTo>
                        <a:pt x="299" y="1137"/>
                      </a:lnTo>
                      <a:lnTo>
                        <a:pt x="327" y="1089"/>
                      </a:lnTo>
                      <a:lnTo>
                        <a:pt x="356" y="1043"/>
                      </a:lnTo>
                      <a:lnTo>
                        <a:pt x="386" y="998"/>
                      </a:lnTo>
                      <a:lnTo>
                        <a:pt x="417" y="954"/>
                      </a:lnTo>
                      <a:lnTo>
                        <a:pt x="449" y="910"/>
                      </a:lnTo>
                      <a:lnTo>
                        <a:pt x="482" y="866"/>
                      </a:lnTo>
                      <a:lnTo>
                        <a:pt x="517" y="823"/>
                      </a:lnTo>
                      <a:lnTo>
                        <a:pt x="551" y="782"/>
                      </a:lnTo>
                      <a:lnTo>
                        <a:pt x="587" y="742"/>
                      </a:lnTo>
                      <a:lnTo>
                        <a:pt x="625" y="703"/>
                      </a:lnTo>
                      <a:lnTo>
                        <a:pt x="663" y="663"/>
                      </a:lnTo>
                      <a:lnTo>
                        <a:pt x="701" y="625"/>
                      </a:lnTo>
                      <a:lnTo>
                        <a:pt x="741" y="589"/>
                      </a:lnTo>
                      <a:lnTo>
                        <a:pt x="782" y="552"/>
                      </a:lnTo>
                      <a:lnTo>
                        <a:pt x="823" y="517"/>
                      </a:lnTo>
                      <a:lnTo>
                        <a:pt x="866" y="483"/>
                      </a:lnTo>
                      <a:lnTo>
                        <a:pt x="908" y="450"/>
                      </a:lnTo>
                      <a:lnTo>
                        <a:pt x="953" y="418"/>
                      </a:lnTo>
                      <a:lnTo>
                        <a:pt x="997" y="387"/>
                      </a:lnTo>
                      <a:lnTo>
                        <a:pt x="1043" y="357"/>
                      </a:lnTo>
                      <a:lnTo>
                        <a:pt x="1089" y="328"/>
                      </a:lnTo>
                      <a:lnTo>
                        <a:pt x="1136" y="300"/>
                      </a:lnTo>
                      <a:lnTo>
                        <a:pt x="1184" y="273"/>
                      </a:lnTo>
                      <a:lnTo>
                        <a:pt x="1233" y="248"/>
                      </a:lnTo>
                      <a:lnTo>
                        <a:pt x="1281" y="224"/>
                      </a:lnTo>
                      <a:lnTo>
                        <a:pt x="1331" y="201"/>
                      </a:lnTo>
                      <a:lnTo>
                        <a:pt x="1382" y="179"/>
                      </a:lnTo>
                      <a:lnTo>
                        <a:pt x="1433" y="157"/>
                      </a:lnTo>
                      <a:lnTo>
                        <a:pt x="1485" y="137"/>
                      </a:lnTo>
                      <a:lnTo>
                        <a:pt x="1537" y="119"/>
                      </a:lnTo>
                      <a:lnTo>
                        <a:pt x="1590" y="102"/>
                      </a:lnTo>
                      <a:lnTo>
                        <a:pt x="1643" y="87"/>
                      </a:lnTo>
                      <a:lnTo>
                        <a:pt x="1697" y="72"/>
                      </a:lnTo>
                      <a:lnTo>
                        <a:pt x="1751" y="58"/>
                      </a:lnTo>
                      <a:lnTo>
                        <a:pt x="1806" y="46"/>
                      </a:lnTo>
                      <a:lnTo>
                        <a:pt x="1862" y="36"/>
                      </a:lnTo>
                      <a:lnTo>
                        <a:pt x="1918" y="27"/>
                      </a:lnTo>
                      <a:lnTo>
                        <a:pt x="1974" y="19"/>
                      </a:lnTo>
                      <a:lnTo>
                        <a:pt x="2031" y="12"/>
                      </a:lnTo>
                      <a:lnTo>
                        <a:pt x="2088" y="7"/>
                      </a:lnTo>
                      <a:lnTo>
                        <a:pt x="2146" y="4"/>
                      </a:lnTo>
                      <a:lnTo>
                        <a:pt x="2205" y="1"/>
                      </a:lnTo>
                      <a:lnTo>
                        <a:pt x="2262" y="0"/>
                      </a:lnTo>
                      <a:lnTo>
                        <a:pt x="2262" y="0"/>
                      </a:lnTo>
                      <a:lnTo>
                        <a:pt x="2321" y="1"/>
                      </a:lnTo>
                      <a:lnTo>
                        <a:pt x="2379" y="4"/>
                      </a:lnTo>
                      <a:lnTo>
                        <a:pt x="2437" y="7"/>
                      </a:lnTo>
                      <a:lnTo>
                        <a:pt x="2494" y="12"/>
                      </a:lnTo>
                      <a:lnTo>
                        <a:pt x="2551" y="19"/>
                      </a:lnTo>
                      <a:lnTo>
                        <a:pt x="2608" y="27"/>
                      </a:lnTo>
                      <a:lnTo>
                        <a:pt x="2663" y="36"/>
                      </a:lnTo>
                      <a:lnTo>
                        <a:pt x="2718" y="46"/>
                      </a:lnTo>
                      <a:lnTo>
                        <a:pt x="2773" y="58"/>
                      </a:lnTo>
                      <a:lnTo>
                        <a:pt x="2829" y="72"/>
                      </a:lnTo>
                      <a:lnTo>
                        <a:pt x="2882" y="87"/>
                      </a:lnTo>
                      <a:lnTo>
                        <a:pt x="2936" y="102"/>
                      </a:lnTo>
                      <a:lnTo>
                        <a:pt x="2989" y="119"/>
                      </a:lnTo>
                      <a:lnTo>
                        <a:pt x="3040" y="137"/>
                      </a:lnTo>
                      <a:lnTo>
                        <a:pt x="3092" y="157"/>
                      </a:lnTo>
                      <a:lnTo>
                        <a:pt x="3143" y="179"/>
                      </a:lnTo>
                      <a:lnTo>
                        <a:pt x="3194" y="201"/>
                      </a:lnTo>
                      <a:lnTo>
                        <a:pt x="3243" y="224"/>
                      </a:lnTo>
                      <a:lnTo>
                        <a:pt x="3293" y="248"/>
                      </a:lnTo>
                      <a:lnTo>
                        <a:pt x="3341" y="273"/>
                      </a:lnTo>
                      <a:lnTo>
                        <a:pt x="3389" y="300"/>
                      </a:lnTo>
                      <a:lnTo>
                        <a:pt x="3435" y="328"/>
                      </a:lnTo>
                      <a:lnTo>
                        <a:pt x="3483" y="357"/>
                      </a:lnTo>
                      <a:lnTo>
                        <a:pt x="3527" y="387"/>
                      </a:lnTo>
                      <a:lnTo>
                        <a:pt x="3572" y="418"/>
                      </a:lnTo>
                      <a:lnTo>
                        <a:pt x="3616" y="450"/>
                      </a:lnTo>
                      <a:lnTo>
                        <a:pt x="3660" y="483"/>
                      </a:lnTo>
                      <a:lnTo>
                        <a:pt x="3702" y="517"/>
                      </a:lnTo>
                      <a:lnTo>
                        <a:pt x="3744" y="552"/>
                      </a:lnTo>
                      <a:lnTo>
                        <a:pt x="3784" y="589"/>
                      </a:lnTo>
                      <a:lnTo>
                        <a:pt x="3823" y="625"/>
                      </a:lnTo>
                      <a:lnTo>
                        <a:pt x="3863" y="663"/>
                      </a:lnTo>
                      <a:lnTo>
                        <a:pt x="3900" y="703"/>
                      </a:lnTo>
                      <a:lnTo>
                        <a:pt x="3937" y="742"/>
                      </a:lnTo>
                      <a:lnTo>
                        <a:pt x="3974" y="782"/>
                      </a:lnTo>
                      <a:lnTo>
                        <a:pt x="4009" y="823"/>
                      </a:lnTo>
                      <a:lnTo>
                        <a:pt x="4043" y="866"/>
                      </a:lnTo>
                      <a:lnTo>
                        <a:pt x="4075" y="910"/>
                      </a:lnTo>
                      <a:lnTo>
                        <a:pt x="4108" y="954"/>
                      </a:lnTo>
                      <a:lnTo>
                        <a:pt x="4139" y="998"/>
                      </a:lnTo>
                      <a:lnTo>
                        <a:pt x="4169" y="1043"/>
                      </a:lnTo>
                      <a:lnTo>
                        <a:pt x="4198" y="1089"/>
                      </a:lnTo>
                      <a:lnTo>
                        <a:pt x="4225" y="1137"/>
                      </a:lnTo>
                      <a:lnTo>
                        <a:pt x="4253" y="1185"/>
                      </a:lnTo>
                      <a:lnTo>
                        <a:pt x="4278" y="1233"/>
                      </a:lnTo>
                      <a:lnTo>
                        <a:pt x="4302" y="1282"/>
                      </a:lnTo>
                      <a:lnTo>
                        <a:pt x="4325" y="1332"/>
                      </a:lnTo>
                      <a:lnTo>
                        <a:pt x="4347" y="1383"/>
                      </a:lnTo>
                      <a:lnTo>
                        <a:pt x="4368" y="1434"/>
                      </a:lnTo>
                      <a:lnTo>
                        <a:pt x="4389" y="1485"/>
                      </a:lnTo>
                      <a:lnTo>
                        <a:pt x="4407" y="1537"/>
                      </a:lnTo>
                      <a:lnTo>
                        <a:pt x="4423" y="1590"/>
                      </a:lnTo>
                      <a:lnTo>
                        <a:pt x="4439" y="1644"/>
                      </a:lnTo>
                      <a:lnTo>
                        <a:pt x="4454" y="1697"/>
                      </a:lnTo>
                      <a:lnTo>
                        <a:pt x="4467" y="1753"/>
                      </a:lnTo>
                      <a:lnTo>
                        <a:pt x="4480" y="1807"/>
                      </a:lnTo>
                      <a:lnTo>
                        <a:pt x="4490" y="1863"/>
                      </a:lnTo>
                      <a:lnTo>
                        <a:pt x="4499" y="1918"/>
                      </a:lnTo>
                      <a:lnTo>
                        <a:pt x="4507" y="1975"/>
                      </a:lnTo>
                      <a:lnTo>
                        <a:pt x="4514" y="2032"/>
                      </a:lnTo>
                      <a:lnTo>
                        <a:pt x="4519" y="2089"/>
                      </a:lnTo>
                      <a:lnTo>
                        <a:pt x="4522" y="2146"/>
                      </a:lnTo>
                      <a:lnTo>
                        <a:pt x="4524" y="2205"/>
                      </a:lnTo>
                      <a:lnTo>
                        <a:pt x="4526" y="2264"/>
                      </a:lnTo>
                      <a:lnTo>
                        <a:pt x="4526" y="2264"/>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5" name="Freeform 324"/>
                <p:cNvSpPr>
                  <a:spLocks/>
                </p:cNvSpPr>
                <p:nvPr/>
              </p:nvSpPr>
              <p:spPr bwMode="auto">
                <a:xfrm>
                  <a:off x="2682875" y="301625"/>
                  <a:ext cx="1027113" cy="1027113"/>
                </a:xfrm>
                <a:custGeom>
                  <a:avLst/>
                  <a:gdLst>
                    <a:gd name="T0" fmla="*/ 4442 w 4526"/>
                    <a:gd name="T1" fmla="*/ 1930 h 4526"/>
                    <a:gd name="T2" fmla="*/ 4377 w 4526"/>
                    <a:gd name="T3" fmla="*/ 2211 h 4526"/>
                    <a:gd name="T4" fmla="*/ 4269 w 4526"/>
                    <a:gd name="T5" fmla="*/ 2471 h 4526"/>
                    <a:gd name="T6" fmla="*/ 4119 w 4526"/>
                    <a:gd name="T7" fmla="*/ 2707 h 4526"/>
                    <a:gd name="T8" fmla="*/ 3934 w 4526"/>
                    <a:gd name="T9" fmla="*/ 2913 h 4526"/>
                    <a:gd name="T10" fmla="*/ 3716 w 4526"/>
                    <a:gd name="T11" fmla="*/ 3087 h 4526"/>
                    <a:gd name="T12" fmla="*/ 3471 w 4526"/>
                    <a:gd name="T13" fmla="*/ 3223 h 4526"/>
                    <a:gd name="T14" fmla="*/ 3204 w 4526"/>
                    <a:gd name="T15" fmla="*/ 3316 h 4526"/>
                    <a:gd name="T16" fmla="*/ 2917 w 4526"/>
                    <a:gd name="T17" fmla="*/ 3363 h 4526"/>
                    <a:gd name="T18" fmla="*/ 2662 w 4526"/>
                    <a:gd name="T19" fmla="*/ 3363 h 4526"/>
                    <a:gd name="T20" fmla="*/ 2373 w 4526"/>
                    <a:gd name="T21" fmla="*/ 3315 h 4526"/>
                    <a:gd name="T22" fmla="*/ 2103 w 4526"/>
                    <a:gd name="T23" fmla="*/ 3221 h 4526"/>
                    <a:gd name="T24" fmla="*/ 1857 w 4526"/>
                    <a:gd name="T25" fmla="*/ 3082 h 4526"/>
                    <a:gd name="T26" fmla="*/ 1639 w 4526"/>
                    <a:gd name="T27" fmla="*/ 2907 h 4526"/>
                    <a:gd name="T28" fmla="*/ 1453 w 4526"/>
                    <a:gd name="T29" fmla="*/ 2698 h 4526"/>
                    <a:gd name="T30" fmla="*/ 1304 w 4526"/>
                    <a:gd name="T31" fmla="*/ 2458 h 4526"/>
                    <a:gd name="T32" fmla="*/ 1196 w 4526"/>
                    <a:gd name="T33" fmla="*/ 2196 h 4526"/>
                    <a:gd name="T34" fmla="*/ 1135 w 4526"/>
                    <a:gd name="T35" fmla="*/ 1911 h 4526"/>
                    <a:gd name="T36" fmla="*/ 1122 w 4526"/>
                    <a:gd name="T37" fmla="*/ 1658 h 4526"/>
                    <a:gd name="T38" fmla="*/ 1152 w 4526"/>
                    <a:gd name="T39" fmla="*/ 1378 h 4526"/>
                    <a:gd name="T40" fmla="*/ 1227 w 4526"/>
                    <a:gd name="T41" fmla="*/ 1115 h 4526"/>
                    <a:gd name="T42" fmla="*/ 1342 w 4526"/>
                    <a:gd name="T43" fmla="*/ 871 h 4526"/>
                    <a:gd name="T44" fmla="*/ 1493 w 4526"/>
                    <a:gd name="T45" fmla="*/ 651 h 4526"/>
                    <a:gd name="T46" fmla="*/ 1677 w 4526"/>
                    <a:gd name="T47" fmla="*/ 457 h 4526"/>
                    <a:gd name="T48" fmla="*/ 1889 w 4526"/>
                    <a:gd name="T49" fmla="*/ 296 h 4526"/>
                    <a:gd name="T50" fmla="*/ 2128 w 4526"/>
                    <a:gd name="T51" fmla="*/ 169 h 4526"/>
                    <a:gd name="T52" fmla="*/ 2385 w 4526"/>
                    <a:gd name="T53" fmla="*/ 82 h 4526"/>
                    <a:gd name="T54" fmla="*/ 2661 w 4526"/>
                    <a:gd name="T55" fmla="*/ 37 h 4526"/>
                    <a:gd name="T56" fmla="*/ 2414 w 4526"/>
                    <a:gd name="T57" fmla="*/ 6 h 4526"/>
                    <a:gd name="T58" fmla="*/ 2088 w 4526"/>
                    <a:gd name="T59" fmla="*/ 7 h 4526"/>
                    <a:gd name="T60" fmla="*/ 1697 w 4526"/>
                    <a:gd name="T61" fmla="*/ 72 h 4526"/>
                    <a:gd name="T62" fmla="*/ 1331 w 4526"/>
                    <a:gd name="T63" fmla="*/ 201 h 4526"/>
                    <a:gd name="T64" fmla="*/ 997 w 4526"/>
                    <a:gd name="T65" fmla="*/ 387 h 4526"/>
                    <a:gd name="T66" fmla="*/ 701 w 4526"/>
                    <a:gd name="T67" fmla="*/ 625 h 4526"/>
                    <a:gd name="T68" fmla="*/ 449 w 4526"/>
                    <a:gd name="T69" fmla="*/ 910 h 4526"/>
                    <a:gd name="T70" fmla="*/ 248 w 4526"/>
                    <a:gd name="T71" fmla="*/ 1233 h 4526"/>
                    <a:gd name="T72" fmla="*/ 101 w 4526"/>
                    <a:gd name="T73" fmla="*/ 1590 h 4526"/>
                    <a:gd name="T74" fmla="*/ 18 w 4526"/>
                    <a:gd name="T75" fmla="*/ 1975 h 4526"/>
                    <a:gd name="T76" fmla="*/ 0 w 4526"/>
                    <a:gd name="T77" fmla="*/ 2321 h 4526"/>
                    <a:gd name="T78" fmla="*/ 46 w 4526"/>
                    <a:gd name="T79" fmla="*/ 2720 h 4526"/>
                    <a:gd name="T80" fmla="*/ 157 w 4526"/>
                    <a:gd name="T81" fmla="*/ 3093 h 4526"/>
                    <a:gd name="T82" fmla="*/ 327 w 4526"/>
                    <a:gd name="T83" fmla="*/ 3437 h 4526"/>
                    <a:gd name="T84" fmla="*/ 551 w 4526"/>
                    <a:gd name="T85" fmla="*/ 3744 h 4526"/>
                    <a:gd name="T86" fmla="*/ 823 w 4526"/>
                    <a:gd name="T87" fmla="*/ 4009 h 4526"/>
                    <a:gd name="T88" fmla="*/ 1136 w 4526"/>
                    <a:gd name="T89" fmla="*/ 4227 h 4526"/>
                    <a:gd name="T90" fmla="*/ 1485 w 4526"/>
                    <a:gd name="T91" fmla="*/ 4389 h 4526"/>
                    <a:gd name="T92" fmla="*/ 1862 w 4526"/>
                    <a:gd name="T93" fmla="*/ 4490 h 4526"/>
                    <a:gd name="T94" fmla="*/ 2262 w 4526"/>
                    <a:gd name="T95" fmla="*/ 4526 h 4526"/>
                    <a:gd name="T96" fmla="*/ 2608 w 4526"/>
                    <a:gd name="T97" fmla="*/ 4500 h 4526"/>
                    <a:gd name="T98" fmla="*/ 2989 w 4526"/>
                    <a:gd name="T99" fmla="*/ 4408 h 4526"/>
                    <a:gd name="T100" fmla="*/ 3341 w 4526"/>
                    <a:gd name="T101" fmla="*/ 4253 h 4526"/>
                    <a:gd name="T102" fmla="*/ 3660 w 4526"/>
                    <a:gd name="T103" fmla="*/ 4044 h 4526"/>
                    <a:gd name="T104" fmla="*/ 3937 w 4526"/>
                    <a:gd name="T105" fmla="*/ 3785 h 4526"/>
                    <a:gd name="T106" fmla="*/ 4169 w 4526"/>
                    <a:gd name="T107" fmla="*/ 3483 h 4526"/>
                    <a:gd name="T108" fmla="*/ 4347 w 4526"/>
                    <a:gd name="T109" fmla="*/ 3145 h 4526"/>
                    <a:gd name="T110" fmla="*/ 4467 w 4526"/>
                    <a:gd name="T111" fmla="*/ 2774 h 4526"/>
                    <a:gd name="T112" fmla="*/ 4522 w 4526"/>
                    <a:gd name="T113" fmla="*/ 2380 h 4526"/>
                    <a:gd name="T114" fmla="*/ 4508 w 4526"/>
                    <a:gd name="T115" fmla="*/ 1983 h 4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26" h="4526">
                      <a:moveTo>
                        <a:pt x="4457" y="1720"/>
                      </a:moveTo>
                      <a:lnTo>
                        <a:pt x="4457" y="1720"/>
                      </a:lnTo>
                      <a:lnTo>
                        <a:pt x="4457" y="1763"/>
                      </a:lnTo>
                      <a:lnTo>
                        <a:pt x="4454" y="1806"/>
                      </a:lnTo>
                      <a:lnTo>
                        <a:pt x="4451" y="1847"/>
                      </a:lnTo>
                      <a:lnTo>
                        <a:pt x="4446" y="1888"/>
                      </a:lnTo>
                      <a:lnTo>
                        <a:pt x="4442" y="1930"/>
                      </a:lnTo>
                      <a:lnTo>
                        <a:pt x="4435" y="1971"/>
                      </a:lnTo>
                      <a:lnTo>
                        <a:pt x="4428" y="2013"/>
                      </a:lnTo>
                      <a:lnTo>
                        <a:pt x="4420" y="2053"/>
                      </a:lnTo>
                      <a:lnTo>
                        <a:pt x="4411" y="2093"/>
                      </a:lnTo>
                      <a:lnTo>
                        <a:pt x="4400" y="2132"/>
                      </a:lnTo>
                      <a:lnTo>
                        <a:pt x="4390" y="2172"/>
                      </a:lnTo>
                      <a:lnTo>
                        <a:pt x="4377" y="2211"/>
                      </a:lnTo>
                      <a:lnTo>
                        <a:pt x="4364" y="2249"/>
                      </a:lnTo>
                      <a:lnTo>
                        <a:pt x="4351" y="2288"/>
                      </a:lnTo>
                      <a:lnTo>
                        <a:pt x="4336" y="2325"/>
                      </a:lnTo>
                      <a:lnTo>
                        <a:pt x="4321" y="2363"/>
                      </a:lnTo>
                      <a:lnTo>
                        <a:pt x="4303" y="2398"/>
                      </a:lnTo>
                      <a:lnTo>
                        <a:pt x="4286" y="2435"/>
                      </a:lnTo>
                      <a:lnTo>
                        <a:pt x="4269" y="2471"/>
                      </a:lnTo>
                      <a:lnTo>
                        <a:pt x="4249" y="2507"/>
                      </a:lnTo>
                      <a:lnTo>
                        <a:pt x="4230" y="2541"/>
                      </a:lnTo>
                      <a:lnTo>
                        <a:pt x="4209" y="2576"/>
                      </a:lnTo>
                      <a:lnTo>
                        <a:pt x="4188" y="2609"/>
                      </a:lnTo>
                      <a:lnTo>
                        <a:pt x="4165" y="2643"/>
                      </a:lnTo>
                      <a:lnTo>
                        <a:pt x="4142" y="2675"/>
                      </a:lnTo>
                      <a:lnTo>
                        <a:pt x="4119" y="2707"/>
                      </a:lnTo>
                      <a:lnTo>
                        <a:pt x="4095" y="2738"/>
                      </a:lnTo>
                      <a:lnTo>
                        <a:pt x="4070" y="2769"/>
                      </a:lnTo>
                      <a:lnTo>
                        <a:pt x="4043" y="2799"/>
                      </a:lnTo>
                      <a:lnTo>
                        <a:pt x="4017" y="2829"/>
                      </a:lnTo>
                      <a:lnTo>
                        <a:pt x="3990" y="2858"/>
                      </a:lnTo>
                      <a:lnTo>
                        <a:pt x="3962" y="2885"/>
                      </a:lnTo>
                      <a:lnTo>
                        <a:pt x="3934" y="2913"/>
                      </a:lnTo>
                      <a:lnTo>
                        <a:pt x="3904" y="2941"/>
                      </a:lnTo>
                      <a:lnTo>
                        <a:pt x="3874" y="2966"/>
                      </a:lnTo>
                      <a:lnTo>
                        <a:pt x="3844" y="2993"/>
                      </a:lnTo>
                      <a:lnTo>
                        <a:pt x="3813" y="3017"/>
                      </a:lnTo>
                      <a:lnTo>
                        <a:pt x="3781" y="3041"/>
                      </a:lnTo>
                      <a:lnTo>
                        <a:pt x="3749" y="3064"/>
                      </a:lnTo>
                      <a:lnTo>
                        <a:pt x="3716" y="3087"/>
                      </a:lnTo>
                      <a:lnTo>
                        <a:pt x="3683" y="3109"/>
                      </a:lnTo>
                      <a:lnTo>
                        <a:pt x="3648" y="3130"/>
                      </a:lnTo>
                      <a:lnTo>
                        <a:pt x="3614" y="3150"/>
                      </a:lnTo>
                      <a:lnTo>
                        <a:pt x="3579" y="3169"/>
                      </a:lnTo>
                      <a:lnTo>
                        <a:pt x="3544" y="3188"/>
                      </a:lnTo>
                      <a:lnTo>
                        <a:pt x="3508" y="3206"/>
                      </a:lnTo>
                      <a:lnTo>
                        <a:pt x="3471" y="3223"/>
                      </a:lnTo>
                      <a:lnTo>
                        <a:pt x="3434" y="3239"/>
                      </a:lnTo>
                      <a:lnTo>
                        <a:pt x="3397" y="3254"/>
                      </a:lnTo>
                      <a:lnTo>
                        <a:pt x="3359" y="3268"/>
                      </a:lnTo>
                      <a:lnTo>
                        <a:pt x="3321" y="3282"/>
                      </a:lnTo>
                      <a:lnTo>
                        <a:pt x="3282" y="3294"/>
                      </a:lnTo>
                      <a:lnTo>
                        <a:pt x="3243" y="3306"/>
                      </a:lnTo>
                      <a:lnTo>
                        <a:pt x="3204" y="3316"/>
                      </a:lnTo>
                      <a:lnTo>
                        <a:pt x="3164" y="3325"/>
                      </a:lnTo>
                      <a:lnTo>
                        <a:pt x="3123" y="3334"/>
                      </a:lnTo>
                      <a:lnTo>
                        <a:pt x="3083" y="3341"/>
                      </a:lnTo>
                      <a:lnTo>
                        <a:pt x="3042" y="3348"/>
                      </a:lnTo>
                      <a:lnTo>
                        <a:pt x="3000" y="3354"/>
                      </a:lnTo>
                      <a:lnTo>
                        <a:pt x="2959" y="3359"/>
                      </a:lnTo>
                      <a:lnTo>
                        <a:pt x="2917" y="3363"/>
                      </a:lnTo>
                      <a:lnTo>
                        <a:pt x="2875" y="3366"/>
                      </a:lnTo>
                      <a:lnTo>
                        <a:pt x="2832" y="3367"/>
                      </a:lnTo>
                      <a:lnTo>
                        <a:pt x="2790" y="3368"/>
                      </a:lnTo>
                      <a:lnTo>
                        <a:pt x="2790" y="3368"/>
                      </a:lnTo>
                      <a:lnTo>
                        <a:pt x="2747" y="3367"/>
                      </a:lnTo>
                      <a:lnTo>
                        <a:pt x="2704" y="3366"/>
                      </a:lnTo>
                      <a:lnTo>
                        <a:pt x="2662" y="3363"/>
                      </a:lnTo>
                      <a:lnTo>
                        <a:pt x="2619" y="3359"/>
                      </a:lnTo>
                      <a:lnTo>
                        <a:pt x="2578" y="3354"/>
                      </a:lnTo>
                      <a:lnTo>
                        <a:pt x="2536" y="3348"/>
                      </a:lnTo>
                      <a:lnTo>
                        <a:pt x="2495" y="3341"/>
                      </a:lnTo>
                      <a:lnTo>
                        <a:pt x="2453" y="3333"/>
                      </a:lnTo>
                      <a:lnTo>
                        <a:pt x="2413" y="3325"/>
                      </a:lnTo>
                      <a:lnTo>
                        <a:pt x="2373" y="3315"/>
                      </a:lnTo>
                      <a:lnTo>
                        <a:pt x="2334" y="3305"/>
                      </a:lnTo>
                      <a:lnTo>
                        <a:pt x="2293" y="3293"/>
                      </a:lnTo>
                      <a:lnTo>
                        <a:pt x="2255" y="3280"/>
                      </a:lnTo>
                      <a:lnTo>
                        <a:pt x="2216" y="3267"/>
                      </a:lnTo>
                      <a:lnTo>
                        <a:pt x="2178" y="3252"/>
                      </a:lnTo>
                      <a:lnTo>
                        <a:pt x="2140" y="3237"/>
                      </a:lnTo>
                      <a:lnTo>
                        <a:pt x="2103" y="3221"/>
                      </a:lnTo>
                      <a:lnTo>
                        <a:pt x="2067" y="3203"/>
                      </a:lnTo>
                      <a:lnTo>
                        <a:pt x="2031" y="3185"/>
                      </a:lnTo>
                      <a:lnTo>
                        <a:pt x="1995" y="3166"/>
                      </a:lnTo>
                      <a:lnTo>
                        <a:pt x="1959" y="3147"/>
                      </a:lnTo>
                      <a:lnTo>
                        <a:pt x="1925" y="3126"/>
                      </a:lnTo>
                      <a:lnTo>
                        <a:pt x="1890" y="3104"/>
                      </a:lnTo>
                      <a:lnTo>
                        <a:pt x="1857" y="3082"/>
                      </a:lnTo>
                      <a:lnTo>
                        <a:pt x="1824" y="3059"/>
                      </a:lnTo>
                      <a:lnTo>
                        <a:pt x="1791" y="3036"/>
                      </a:lnTo>
                      <a:lnTo>
                        <a:pt x="1760" y="3012"/>
                      </a:lnTo>
                      <a:lnTo>
                        <a:pt x="1729" y="2987"/>
                      </a:lnTo>
                      <a:lnTo>
                        <a:pt x="1698" y="2960"/>
                      </a:lnTo>
                      <a:lnTo>
                        <a:pt x="1668" y="2934"/>
                      </a:lnTo>
                      <a:lnTo>
                        <a:pt x="1639" y="2907"/>
                      </a:lnTo>
                      <a:lnTo>
                        <a:pt x="1611" y="2879"/>
                      </a:lnTo>
                      <a:lnTo>
                        <a:pt x="1582" y="2850"/>
                      </a:lnTo>
                      <a:lnTo>
                        <a:pt x="1555" y="2821"/>
                      </a:lnTo>
                      <a:lnTo>
                        <a:pt x="1529" y="2791"/>
                      </a:lnTo>
                      <a:lnTo>
                        <a:pt x="1502" y="2760"/>
                      </a:lnTo>
                      <a:lnTo>
                        <a:pt x="1477" y="2729"/>
                      </a:lnTo>
                      <a:lnTo>
                        <a:pt x="1453" y="2698"/>
                      </a:lnTo>
                      <a:lnTo>
                        <a:pt x="1430" y="2666"/>
                      </a:lnTo>
                      <a:lnTo>
                        <a:pt x="1407" y="2632"/>
                      </a:lnTo>
                      <a:lnTo>
                        <a:pt x="1385" y="2599"/>
                      </a:lnTo>
                      <a:lnTo>
                        <a:pt x="1363" y="2564"/>
                      </a:lnTo>
                      <a:lnTo>
                        <a:pt x="1342" y="2530"/>
                      </a:lnTo>
                      <a:lnTo>
                        <a:pt x="1323" y="2494"/>
                      </a:lnTo>
                      <a:lnTo>
                        <a:pt x="1304" y="2458"/>
                      </a:lnTo>
                      <a:lnTo>
                        <a:pt x="1286" y="2423"/>
                      </a:lnTo>
                      <a:lnTo>
                        <a:pt x="1269" y="2386"/>
                      </a:lnTo>
                      <a:lnTo>
                        <a:pt x="1253" y="2349"/>
                      </a:lnTo>
                      <a:lnTo>
                        <a:pt x="1238" y="2311"/>
                      </a:lnTo>
                      <a:lnTo>
                        <a:pt x="1223" y="2273"/>
                      </a:lnTo>
                      <a:lnTo>
                        <a:pt x="1209" y="2234"/>
                      </a:lnTo>
                      <a:lnTo>
                        <a:pt x="1196" y="2196"/>
                      </a:lnTo>
                      <a:lnTo>
                        <a:pt x="1185" y="2156"/>
                      </a:lnTo>
                      <a:lnTo>
                        <a:pt x="1174" y="2116"/>
                      </a:lnTo>
                      <a:lnTo>
                        <a:pt x="1164" y="2076"/>
                      </a:lnTo>
                      <a:lnTo>
                        <a:pt x="1156" y="2036"/>
                      </a:lnTo>
                      <a:lnTo>
                        <a:pt x="1148" y="1994"/>
                      </a:lnTo>
                      <a:lnTo>
                        <a:pt x="1141" y="1953"/>
                      </a:lnTo>
                      <a:lnTo>
                        <a:pt x="1135" y="1911"/>
                      </a:lnTo>
                      <a:lnTo>
                        <a:pt x="1131" y="1870"/>
                      </a:lnTo>
                      <a:lnTo>
                        <a:pt x="1126" y="1827"/>
                      </a:lnTo>
                      <a:lnTo>
                        <a:pt x="1124" y="1785"/>
                      </a:lnTo>
                      <a:lnTo>
                        <a:pt x="1122" y="1742"/>
                      </a:lnTo>
                      <a:lnTo>
                        <a:pt x="1121" y="1700"/>
                      </a:lnTo>
                      <a:lnTo>
                        <a:pt x="1121" y="1700"/>
                      </a:lnTo>
                      <a:lnTo>
                        <a:pt x="1122" y="1658"/>
                      </a:lnTo>
                      <a:lnTo>
                        <a:pt x="1124" y="1618"/>
                      </a:lnTo>
                      <a:lnTo>
                        <a:pt x="1126" y="1576"/>
                      </a:lnTo>
                      <a:lnTo>
                        <a:pt x="1129" y="1536"/>
                      </a:lnTo>
                      <a:lnTo>
                        <a:pt x="1134" y="1497"/>
                      </a:lnTo>
                      <a:lnTo>
                        <a:pt x="1139" y="1457"/>
                      </a:lnTo>
                      <a:lnTo>
                        <a:pt x="1146" y="1418"/>
                      </a:lnTo>
                      <a:lnTo>
                        <a:pt x="1152" y="1378"/>
                      </a:lnTo>
                      <a:lnTo>
                        <a:pt x="1160" y="1339"/>
                      </a:lnTo>
                      <a:lnTo>
                        <a:pt x="1170" y="1301"/>
                      </a:lnTo>
                      <a:lnTo>
                        <a:pt x="1179" y="1263"/>
                      </a:lnTo>
                      <a:lnTo>
                        <a:pt x="1190" y="1225"/>
                      </a:lnTo>
                      <a:lnTo>
                        <a:pt x="1202" y="1188"/>
                      </a:lnTo>
                      <a:lnTo>
                        <a:pt x="1213" y="1152"/>
                      </a:lnTo>
                      <a:lnTo>
                        <a:pt x="1227" y="1115"/>
                      </a:lnTo>
                      <a:lnTo>
                        <a:pt x="1241" y="1079"/>
                      </a:lnTo>
                      <a:lnTo>
                        <a:pt x="1256" y="1043"/>
                      </a:lnTo>
                      <a:lnTo>
                        <a:pt x="1271" y="1008"/>
                      </a:lnTo>
                      <a:lnTo>
                        <a:pt x="1288" y="973"/>
                      </a:lnTo>
                      <a:lnTo>
                        <a:pt x="1306" y="939"/>
                      </a:lnTo>
                      <a:lnTo>
                        <a:pt x="1323" y="904"/>
                      </a:lnTo>
                      <a:lnTo>
                        <a:pt x="1342" y="871"/>
                      </a:lnTo>
                      <a:lnTo>
                        <a:pt x="1361" y="837"/>
                      </a:lnTo>
                      <a:lnTo>
                        <a:pt x="1382" y="805"/>
                      </a:lnTo>
                      <a:lnTo>
                        <a:pt x="1402" y="773"/>
                      </a:lnTo>
                      <a:lnTo>
                        <a:pt x="1424" y="742"/>
                      </a:lnTo>
                      <a:lnTo>
                        <a:pt x="1446" y="711"/>
                      </a:lnTo>
                      <a:lnTo>
                        <a:pt x="1469" y="681"/>
                      </a:lnTo>
                      <a:lnTo>
                        <a:pt x="1493" y="651"/>
                      </a:lnTo>
                      <a:lnTo>
                        <a:pt x="1517" y="621"/>
                      </a:lnTo>
                      <a:lnTo>
                        <a:pt x="1543" y="592"/>
                      </a:lnTo>
                      <a:lnTo>
                        <a:pt x="1568" y="564"/>
                      </a:lnTo>
                      <a:lnTo>
                        <a:pt x="1595" y="537"/>
                      </a:lnTo>
                      <a:lnTo>
                        <a:pt x="1621" y="509"/>
                      </a:lnTo>
                      <a:lnTo>
                        <a:pt x="1649" y="483"/>
                      </a:lnTo>
                      <a:lnTo>
                        <a:pt x="1677" y="457"/>
                      </a:lnTo>
                      <a:lnTo>
                        <a:pt x="1706" y="432"/>
                      </a:lnTo>
                      <a:lnTo>
                        <a:pt x="1735" y="408"/>
                      </a:lnTo>
                      <a:lnTo>
                        <a:pt x="1765" y="384"/>
                      </a:lnTo>
                      <a:lnTo>
                        <a:pt x="1795" y="361"/>
                      </a:lnTo>
                      <a:lnTo>
                        <a:pt x="1826" y="339"/>
                      </a:lnTo>
                      <a:lnTo>
                        <a:pt x="1858" y="317"/>
                      </a:lnTo>
                      <a:lnTo>
                        <a:pt x="1889" y="296"/>
                      </a:lnTo>
                      <a:lnTo>
                        <a:pt x="1923" y="275"/>
                      </a:lnTo>
                      <a:lnTo>
                        <a:pt x="1955" y="256"/>
                      </a:lnTo>
                      <a:lnTo>
                        <a:pt x="1988" y="237"/>
                      </a:lnTo>
                      <a:lnTo>
                        <a:pt x="2023" y="219"/>
                      </a:lnTo>
                      <a:lnTo>
                        <a:pt x="2057" y="202"/>
                      </a:lnTo>
                      <a:lnTo>
                        <a:pt x="2092" y="186"/>
                      </a:lnTo>
                      <a:lnTo>
                        <a:pt x="2128" y="169"/>
                      </a:lnTo>
                      <a:lnTo>
                        <a:pt x="2163" y="155"/>
                      </a:lnTo>
                      <a:lnTo>
                        <a:pt x="2199" y="141"/>
                      </a:lnTo>
                      <a:lnTo>
                        <a:pt x="2236" y="127"/>
                      </a:lnTo>
                      <a:lnTo>
                        <a:pt x="2273" y="114"/>
                      </a:lnTo>
                      <a:lnTo>
                        <a:pt x="2309" y="103"/>
                      </a:lnTo>
                      <a:lnTo>
                        <a:pt x="2347" y="92"/>
                      </a:lnTo>
                      <a:lnTo>
                        <a:pt x="2385" y="82"/>
                      </a:lnTo>
                      <a:lnTo>
                        <a:pt x="2423" y="73"/>
                      </a:lnTo>
                      <a:lnTo>
                        <a:pt x="2463" y="65"/>
                      </a:lnTo>
                      <a:lnTo>
                        <a:pt x="2502" y="58"/>
                      </a:lnTo>
                      <a:lnTo>
                        <a:pt x="2541" y="51"/>
                      </a:lnTo>
                      <a:lnTo>
                        <a:pt x="2580" y="45"/>
                      </a:lnTo>
                      <a:lnTo>
                        <a:pt x="2620" y="41"/>
                      </a:lnTo>
                      <a:lnTo>
                        <a:pt x="2661" y="37"/>
                      </a:lnTo>
                      <a:lnTo>
                        <a:pt x="2662" y="36"/>
                      </a:lnTo>
                      <a:lnTo>
                        <a:pt x="2662" y="36"/>
                      </a:lnTo>
                      <a:lnTo>
                        <a:pt x="2613" y="28"/>
                      </a:lnTo>
                      <a:lnTo>
                        <a:pt x="2564" y="21"/>
                      </a:lnTo>
                      <a:lnTo>
                        <a:pt x="2514" y="15"/>
                      </a:lnTo>
                      <a:lnTo>
                        <a:pt x="2465" y="9"/>
                      </a:lnTo>
                      <a:lnTo>
                        <a:pt x="2414" y="6"/>
                      </a:lnTo>
                      <a:lnTo>
                        <a:pt x="2365" y="3"/>
                      </a:lnTo>
                      <a:lnTo>
                        <a:pt x="2314" y="1"/>
                      </a:lnTo>
                      <a:lnTo>
                        <a:pt x="2262" y="0"/>
                      </a:lnTo>
                      <a:lnTo>
                        <a:pt x="2262" y="0"/>
                      </a:lnTo>
                      <a:lnTo>
                        <a:pt x="2205" y="1"/>
                      </a:lnTo>
                      <a:lnTo>
                        <a:pt x="2146" y="4"/>
                      </a:lnTo>
                      <a:lnTo>
                        <a:pt x="2088" y="7"/>
                      </a:lnTo>
                      <a:lnTo>
                        <a:pt x="2031" y="12"/>
                      </a:lnTo>
                      <a:lnTo>
                        <a:pt x="1974" y="19"/>
                      </a:lnTo>
                      <a:lnTo>
                        <a:pt x="1918" y="27"/>
                      </a:lnTo>
                      <a:lnTo>
                        <a:pt x="1862" y="36"/>
                      </a:lnTo>
                      <a:lnTo>
                        <a:pt x="1806" y="46"/>
                      </a:lnTo>
                      <a:lnTo>
                        <a:pt x="1751" y="58"/>
                      </a:lnTo>
                      <a:lnTo>
                        <a:pt x="1697" y="72"/>
                      </a:lnTo>
                      <a:lnTo>
                        <a:pt x="1643" y="87"/>
                      </a:lnTo>
                      <a:lnTo>
                        <a:pt x="1590" y="102"/>
                      </a:lnTo>
                      <a:lnTo>
                        <a:pt x="1537" y="119"/>
                      </a:lnTo>
                      <a:lnTo>
                        <a:pt x="1485" y="137"/>
                      </a:lnTo>
                      <a:lnTo>
                        <a:pt x="1433" y="157"/>
                      </a:lnTo>
                      <a:lnTo>
                        <a:pt x="1382" y="179"/>
                      </a:lnTo>
                      <a:lnTo>
                        <a:pt x="1331" y="201"/>
                      </a:lnTo>
                      <a:lnTo>
                        <a:pt x="1281" y="224"/>
                      </a:lnTo>
                      <a:lnTo>
                        <a:pt x="1233" y="248"/>
                      </a:lnTo>
                      <a:lnTo>
                        <a:pt x="1184" y="273"/>
                      </a:lnTo>
                      <a:lnTo>
                        <a:pt x="1136" y="300"/>
                      </a:lnTo>
                      <a:lnTo>
                        <a:pt x="1089" y="328"/>
                      </a:lnTo>
                      <a:lnTo>
                        <a:pt x="1043" y="357"/>
                      </a:lnTo>
                      <a:lnTo>
                        <a:pt x="997" y="387"/>
                      </a:lnTo>
                      <a:lnTo>
                        <a:pt x="953" y="418"/>
                      </a:lnTo>
                      <a:lnTo>
                        <a:pt x="908" y="450"/>
                      </a:lnTo>
                      <a:lnTo>
                        <a:pt x="866" y="483"/>
                      </a:lnTo>
                      <a:lnTo>
                        <a:pt x="823" y="517"/>
                      </a:lnTo>
                      <a:lnTo>
                        <a:pt x="782" y="552"/>
                      </a:lnTo>
                      <a:lnTo>
                        <a:pt x="741" y="589"/>
                      </a:lnTo>
                      <a:lnTo>
                        <a:pt x="701" y="625"/>
                      </a:lnTo>
                      <a:lnTo>
                        <a:pt x="663" y="663"/>
                      </a:lnTo>
                      <a:lnTo>
                        <a:pt x="625" y="701"/>
                      </a:lnTo>
                      <a:lnTo>
                        <a:pt x="587" y="742"/>
                      </a:lnTo>
                      <a:lnTo>
                        <a:pt x="551" y="782"/>
                      </a:lnTo>
                      <a:lnTo>
                        <a:pt x="517" y="823"/>
                      </a:lnTo>
                      <a:lnTo>
                        <a:pt x="482" y="866"/>
                      </a:lnTo>
                      <a:lnTo>
                        <a:pt x="449" y="910"/>
                      </a:lnTo>
                      <a:lnTo>
                        <a:pt x="417" y="954"/>
                      </a:lnTo>
                      <a:lnTo>
                        <a:pt x="386" y="998"/>
                      </a:lnTo>
                      <a:lnTo>
                        <a:pt x="356" y="1043"/>
                      </a:lnTo>
                      <a:lnTo>
                        <a:pt x="327" y="1089"/>
                      </a:lnTo>
                      <a:lnTo>
                        <a:pt x="299" y="1137"/>
                      </a:lnTo>
                      <a:lnTo>
                        <a:pt x="273" y="1185"/>
                      </a:lnTo>
                      <a:lnTo>
                        <a:pt x="248" y="1233"/>
                      </a:lnTo>
                      <a:lnTo>
                        <a:pt x="223" y="1282"/>
                      </a:lnTo>
                      <a:lnTo>
                        <a:pt x="199" y="1332"/>
                      </a:lnTo>
                      <a:lnTo>
                        <a:pt x="177" y="1383"/>
                      </a:lnTo>
                      <a:lnTo>
                        <a:pt x="157" y="1434"/>
                      </a:lnTo>
                      <a:lnTo>
                        <a:pt x="137" y="1485"/>
                      </a:lnTo>
                      <a:lnTo>
                        <a:pt x="119" y="1537"/>
                      </a:lnTo>
                      <a:lnTo>
                        <a:pt x="101" y="1590"/>
                      </a:lnTo>
                      <a:lnTo>
                        <a:pt x="85" y="1643"/>
                      </a:lnTo>
                      <a:lnTo>
                        <a:pt x="71" y="1697"/>
                      </a:lnTo>
                      <a:lnTo>
                        <a:pt x="58" y="1753"/>
                      </a:lnTo>
                      <a:lnTo>
                        <a:pt x="46" y="1807"/>
                      </a:lnTo>
                      <a:lnTo>
                        <a:pt x="36" y="1863"/>
                      </a:lnTo>
                      <a:lnTo>
                        <a:pt x="25" y="1918"/>
                      </a:lnTo>
                      <a:lnTo>
                        <a:pt x="18" y="1975"/>
                      </a:lnTo>
                      <a:lnTo>
                        <a:pt x="12" y="2032"/>
                      </a:lnTo>
                      <a:lnTo>
                        <a:pt x="7" y="2089"/>
                      </a:lnTo>
                      <a:lnTo>
                        <a:pt x="2" y="2146"/>
                      </a:lnTo>
                      <a:lnTo>
                        <a:pt x="0" y="2205"/>
                      </a:lnTo>
                      <a:lnTo>
                        <a:pt x="0" y="2264"/>
                      </a:lnTo>
                      <a:lnTo>
                        <a:pt x="0" y="2264"/>
                      </a:lnTo>
                      <a:lnTo>
                        <a:pt x="0" y="2321"/>
                      </a:lnTo>
                      <a:lnTo>
                        <a:pt x="2" y="2380"/>
                      </a:lnTo>
                      <a:lnTo>
                        <a:pt x="7" y="2438"/>
                      </a:lnTo>
                      <a:lnTo>
                        <a:pt x="12" y="2495"/>
                      </a:lnTo>
                      <a:lnTo>
                        <a:pt x="18" y="2552"/>
                      </a:lnTo>
                      <a:lnTo>
                        <a:pt x="25" y="2608"/>
                      </a:lnTo>
                      <a:lnTo>
                        <a:pt x="36" y="2663"/>
                      </a:lnTo>
                      <a:lnTo>
                        <a:pt x="46" y="2720"/>
                      </a:lnTo>
                      <a:lnTo>
                        <a:pt x="58" y="2774"/>
                      </a:lnTo>
                      <a:lnTo>
                        <a:pt x="71" y="2829"/>
                      </a:lnTo>
                      <a:lnTo>
                        <a:pt x="85" y="2883"/>
                      </a:lnTo>
                      <a:lnTo>
                        <a:pt x="101" y="2936"/>
                      </a:lnTo>
                      <a:lnTo>
                        <a:pt x="119" y="2989"/>
                      </a:lnTo>
                      <a:lnTo>
                        <a:pt x="137" y="3041"/>
                      </a:lnTo>
                      <a:lnTo>
                        <a:pt x="157" y="3093"/>
                      </a:lnTo>
                      <a:lnTo>
                        <a:pt x="177" y="3145"/>
                      </a:lnTo>
                      <a:lnTo>
                        <a:pt x="199" y="3194"/>
                      </a:lnTo>
                      <a:lnTo>
                        <a:pt x="223" y="3245"/>
                      </a:lnTo>
                      <a:lnTo>
                        <a:pt x="248" y="3293"/>
                      </a:lnTo>
                      <a:lnTo>
                        <a:pt x="273" y="3341"/>
                      </a:lnTo>
                      <a:lnTo>
                        <a:pt x="299" y="3390"/>
                      </a:lnTo>
                      <a:lnTo>
                        <a:pt x="327" y="3437"/>
                      </a:lnTo>
                      <a:lnTo>
                        <a:pt x="356" y="3483"/>
                      </a:lnTo>
                      <a:lnTo>
                        <a:pt x="386" y="3529"/>
                      </a:lnTo>
                      <a:lnTo>
                        <a:pt x="417" y="3573"/>
                      </a:lnTo>
                      <a:lnTo>
                        <a:pt x="449" y="3618"/>
                      </a:lnTo>
                      <a:lnTo>
                        <a:pt x="482" y="3660"/>
                      </a:lnTo>
                      <a:lnTo>
                        <a:pt x="517" y="3703"/>
                      </a:lnTo>
                      <a:lnTo>
                        <a:pt x="551" y="3744"/>
                      </a:lnTo>
                      <a:lnTo>
                        <a:pt x="587" y="3785"/>
                      </a:lnTo>
                      <a:lnTo>
                        <a:pt x="625" y="3825"/>
                      </a:lnTo>
                      <a:lnTo>
                        <a:pt x="663" y="3863"/>
                      </a:lnTo>
                      <a:lnTo>
                        <a:pt x="701" y="3901"/>
                      </a:lnTo>
                      <a:lnTo>
                        <a:pt x="741" y="3938"/>
                      </a:lnTo>
                      <a:lnTo>
                        <a:pt x="782" y="3975"/>
                      </a:lnTo>
                      <a:lnTo>
                        <a:pt x="823" y="4009"/>
                      </a:lnTo>
                      <a:lnTo>
                        <a:pt x="866" y="4044"/>
                      </a:lnTo>
                      <a:lnTo>
                        <a:pt x="908" y="4077"/>
                      </a:lnTo>
                      <a:lnTo>
                        <a:pt x="953" y="4108"/>
                      </a:lnTo>
                      <a:lnTo>
                        <a:pt x="997" y="4139"/>
                      </a:lnTo>
                      <a:lnTo>
                        <a:pt x="1043" y="4169"/>
                      </a:lnTo>
                      <a:lnTo>
                        <a:pt x="1089" y="4199"/>
                      </a:lnTo>
                      <a:lnTo>
                        <a:pt x="1136" y="4227"/>
                      </a:lnTo>
                      <a:lnTo>
                        <a:pt x="1184" y="4253"/>
                      </a:lnTo>
                      <a:lnTo>
                        <a:pt x="1233" y="4279"/>
                      </a:lnTo>
                      <a:lnTo>
                        <a:pt x="1281" y="4303"/>
                      </a:lnTo>
                      <a:lnTo>
                        <a:pt x="1331" y="4326"/>
                      </a:lnTo>
                      <a:lnTo>
                        <a:pt x="1382" y="4349"/>
                      </a:lnTo>
                      <a:lnTo>
                        <a:pt x="1433" y="4370"/>
                      </a:lnTo>
                      <a:lnTo>
                        <a:pt x="1485" y="4389"/>
                      </a:lnTo>
                      <a:lnTo>
                        <a:pt x="1537" y="4408"/>
                      </a:lnTo>
                      <a:lnTo>
                        <a:pt x="1590" y="4425"/>
                      </a:lnTo>
                      <a:lnTo>
                        <a:pt x="1643" y="4441"/>
                      </a:lnTo>
                      <a:lnTo>
                        <a:pt x="1697" y="4455"/>
                      </a:lnTo>
                      <a:lnTo>
                        <a:pt x="1751" y="4469"/>
                      </a:lnTo>
                      <a:lnTo>
                        <a:pt x="1806" y="4480"/>
                      </a:lnTo>
                      <a:lnTo>
                        <a:pt x="1862" y="4490"/>
                      </a:lnTo>
                      <a:lnTo>
                        <a:pt x="1918" y="4500"/>
                      </a:lnTo>
                      <a:lnTo>
                        <a:pt x="1974" y="4508"/>
                      </a:lnTo>
                      <a:lnTo>
                        <a:pt x="2031" y="4515"/>
                      </a:lnTo>
                      <a:lnTo>
                        <a:pt x="2088" y="4519"/>
                      </a:lnTo>
                      <a:lnTo>
                        <a:pt x="2146" y="4524"/>
                      </a:lnTo>
                      <a:lnTo>
                        <a:pt x="2205" y="4525"/>
                      </a:lnTo>
                      <a:lnTo>
                        <a:pt x="2262" y="4526"/>
                      </a:lnTo>
                      <a:lnTo>
                        <a:pt x="2262" y="4526"/>
                      </a:lnTo>
                      <a:lnTo>
                        <a:pt x="2321" y="4525"/>
                      </a:lnTo>
                      <a:lnTo>
                        <a:pt x="2379" y="4524"/>
                      </a:lnTo>
                      <a:lnTo>
                        <a:pt x="2437" y="4519"/>
                      </a:lnTo>
                      <a:lnTo>
                        <a:pt x="2494" y="4515"/>
                      </a:lnTo>
                      <a:lnTo>
                        <a:pt x="2551" y="4508"/>
                      </a:lnTo>
                      <a:lnTo>
                        <a:pt x="2608" y="4500"/>
                      </a:lnTo>
                      <a:lnTo>
                        <a:pt x="2663" y="4490"/>
                      </a:lnTo>
                      <a:lnTo>
                        <a:pt x="2718" y="4480"/>
                      </a:lnTo>
                      <a:lnTo>
                        <a:pt x="2773" y="4469"/>
                      </a:lnTo>
                      <a:lnTo>
                        <a:pt x="2829" y="4455"/>
                      </a:lnTo>
                      <a:lnTo>
                        <a:pt x="2882" y="4441"/>
                      </a:lnTo>
                      <a:lnTo>
                        <a:pt x="2936" y="4425"/>
                      </a:lnTo>
                      <a:lnTo>
                        <a:pt x="2989" y="4408"/>
                      </a:lnTo>
                      <a:lnTo>
                        <a:pt x="3040" y="4389"/>
                      </a:lnTo>
                      <a:lnTo>
                        <a:pt x="3092" y="4370"/>
                      </a:lnTo>
                      <a:lnTo>
                        <a:pt x="3143" y="4349"/>
                      </a:lnTo>
                      <a:lnTo>
                        <a:pt x="3194" y="4326"/>
                      </a:lnTo>
                      <a:lnTo>
                        <a:pt x="3243" y="4303"/>
                      </a:lnTo>
                      <a:lnTo>
                        <a:pt x="3293" y="4279"/>
                      </a:lnTo>
                      <a:lnTo>
                        <a:pt x="3341" y="4253"/>
                      </a:lnTo>
                      <a:lnTo>
                        <a:pt x="3389" y="4227"/>
                      </a:lnTo>
                      <a:lnTo>
                        <a:pt x="3437" y="4199"/>
                      </a:lnTo>
                      <a:lnTo>
                        <a:pt x="3483" y="4169"/>
                      </a:lnTo>
                      <a:lnTo>
                        <a:pt x="3527" y="4139"/>
                      </a:lnTo>
                      <a:lnTo>
                        <a:pt x="3572" y="4108"/>
                      </a:lnTo>
                      <a:lnTo>
                        <a:pt x="3616" y="4077"/>
                      </a:lnTo>
                      <a:lnTo>
                        <a:pt x="3660" y="4044"/>
                      </a:lnTo>
                      <a:lnTo>
                        <a:pt x="3702" y="4009"/>
                      </a:lnTo>
                      <a:lnTo>
                        <a:pt x="3744" y="3975"/>
                      </a:lnTo>
                      <a:lnTo>
                        <a:pt x="3784" y="3938"/>
                      </a:lnTo>
                      <a:lnTo>
                        <a:pt x="3823" y="3901"/>
                      </a:lnTo>
                      <a:lnTo>
                        <a:pt x="3863" y="3863"/>
                      </a:lnTo>
                      <a:lnTo>
                        <a:pt x="3900" y="3825"/>
                      </a:lnTo>
                      <a:lnTo>
                        <a:pt x="3937" y="3785"/>
                      </a:lnTo>
                      <a:lnTo>
                        <a:pt x="3974" y="3744"/>
                      </a:lnTo>
                      <a:lnTo>
                        <a:pt x="4009" y="3703"/>
                      </a:lnTo>
                      <a:lnTo>
                        <a:pt x="4043" y="3660"/>
                      </a:lnTo>
                      <a:lnTo>
                        <a:pt x="4075" y="3618"/>
                      </a:lnTo>
                      <a:lnTo>
                        <a:pt x="4108" y="3573"/>
                      </a:lnTo>
                      <a:lnTo>
                        <a:pt x="4139" y="3529"/>
                      </a:lnTo>
                      <a:lnTo>
                        <a:pt x="4169" y="3483"/>
                      </a:lnTo>
                      <a:lnTo>
                        <a:pt x="4198" y="3437"/>
                      </a:lnTo>
                      <a:lnTo>
                        <a:pt x="4225" y="3390"/>
                      </a:lnTo>
                      <a:lnTo>
                        <a:pt x="4253" y="3341"/>
                      </a:lnTo>
                      <a:lnTo>
                        <a:pt x="4278" y="3293"/>
                      </a:lnTo>
                      <a:lnTo>
                        <a:pt x="4302" y="3245"/>
                      </a:lnTo>
                      <a:lnTo>
                        <a:pt x="4325" y="3194"/>
                      </a:lnTo>
                      <a:lnTo>
                        <a:pt x="4347" y="3145"/>
                      </a:lnTo>
                      <a:lnTo>
                        <a:pt x="4368" y="3093"/>
                      </a:lnTo>
                      <a:lnTo>
                        <a:pt x="4389" y="3041"/>
                      </a:lnTo>
                      <a:lnTo>
                        <a:pt x="4407" y="2989"/>
                      </a:lnTo>
                      <a:lnTo>
                        <a:pt x="4423" y="2936"/>
                      </a:lnTo>
                      <a:lnTo>
                        <a:pt x="4439" y="2883"/>
                      </a:lnTo>
                      <a:lnTo>
                        <a:pt x="4454" y="2829"/>
                      </a:lnTo>
                      <a:lnTo>
                        <a:pt x="4467" y="2774"/>
                      </a:lnTo>
                      <a:lnTo>
                        <a:pt x="4480" y="2720"/>
                      </a:lnTo>
                      <a:lnTo>
                        <a:pt x="4490" y="2663"/>
                      </a:lnTo>
                      <a:lnTo>
                        <a:pt x="4499" y="2608"/>
                      </a:lnTo>
                      <a:lnTo>
                        <a:pt x="4507" y="2552"/>
                      </a:lnTo>
                      <a:lnTo>
                        <a:pt x="4514" y="2495"/>
                      </a:lnTo>
                      <a:lnTo>
                        <a:pt x="4519" y="2438"/>
                      </a:lnTo>
                      <a:lnTo>
                        <a:pt x="4522" y="2380"/>
                      </a:lnTo>
                      <a:lnTo>
                        <a:pt x="4524" y="2321"/>
                      </a:lnTo>
                      <a:lnTo>
                        <a:pt x="4526" y="2264"/>
                      </a:lnTo>
                      <a:lnTo>
                        <a:pt x="4526" y="2264"/>
                      </a:lnTo>
                      <a:lnTo>
                        <a:pt x="4524" y="2192"/>
                      </a:lnTo>
                      <a:lnTo>
                        <a:pt x="4521" y="2122"/>
                      </a:lnTo>
                      <a:lnTo>
                        <a:pt x="4515" y="2052"/>
                      </a:lnTo>
                      <a:lnTo>
                        <a:pt x="4508" y="1983"/>
                      </a:lnTo>
                      <a:lnTo>
                        <a:pt x="4498" y="1915"/>
                      </a:lnTo>
                      <a:lnTo>
                        <a:pt x="4486" y="1847"/>
                      </a:lnTo>
                      <a:lnTo>
                        <a:pt x="4474" y="1780"/>
                      </a:lnTo>
                      <a:lnTo>
                        <a:pt x="4458" y="1713"/>
                      </a:lnTo>
                      <a:lnTo>
                        <a:pt x="4457" y="172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6" name="Freeform 325"/>
                <p:cNvSpPr>
                  <a:spLocks/>
                </p:cNvSpPr>
                <p:nvPr/>
              </p:nvSpPr>
              <p:spPr bwMode="auto">
                <a:xfrm>
                  <a:off x="2682875" y="301625"/>
                  <a:ext cx="1027113" cy="1027113"/>
                </a:xfrm>
                <a:custGeom>
                  <a:avLst/>
                  <a:gdLst>
                    <a:gd name="T0" fmla="*/ 4442 w 4526"/>
                    <a:gd name="T1" fmla="*/ 1930 h 4526"/>
                    <a:gd name="T2" fmla="*/ 4377 w 4526"/>
                    <a:gd name="T3" fmla="*/ 2211 h 4526"/>
                    <a:gd name="T4" fmla="*/ 4269 w 4526"/>
                    <a:gd name="T5" fmla="*/ 2471 h 4526"/>
                    <a:gd name="T6" fmla="*/ 4119 w 4526"/>
                    <a:gd name="T7" fmla="*/ 2707 h 4526"/>
                    <a:gd name="T8" fmla="*/ 3934 w 4526"/>
                    <a:gd name="T9" fmla="*/ 2913 h 4526"/>
                    <a:gd name="T10" fmla="*/ 3716 w 4526"/>
                    <a:gd name="T11" fmla="*/ 3087 h 4526"/>
                    <a:gd name="T12" fmla="*/ 3471 w 4526"/>
                    <a:gd name="T13" fmla="*/ 3223 h 4526"/>
                    <a:gd name="T14" fmla="*/ 3204 w 4526"/>
                    <a:gd name="T15" fmla="*/ 3316 h 4526"/>
                    <a:gd name="T16" fmla="*/ 2917 w 4526"/>
                    <a:gd name="T17" fmla="*/ 3363 h 4526"/>
                    <a:gd name="T18" fmla="*/ 2662 w 4526"/>
                    <a:gd name="T19" fmla="*/ 3363 h 4526"/>
                    <a:gd name="T20" fmla="*/ 2373 w 4526"/>
                    <a:gd name="T21" fmla="*/ 3315 h 4526"/>
                    <a:gd name="T22" fmla="*/ 2103 w 4526"/>
                    <a:gd name="T23" fmla="*/ 3221 h 4526"/>
                    <a:gd name="T24" fmla="*/ 1857 w 4526"/>
                    <a:gd name="T25" fmla="*/ 3082 h 4526"/>
                    <a:gd name="T26" fmla="*/ 1639 w 4526"/>
                    <a:gd name="T27" fmla="*/ 2907 h 4526"/>
                    <a:gd name="T28" fmla="*/ 1453 w 4526"/>
                    <a:gd name="T29" fmla="*/ 2698 h 4526"/>
                    <a:gd name="T30" fmla="*/ 1304 w 4526"/>
                    <a:gd name="T31" fmla="*/ 2458 h 4526"/>
                    <a:gd name="T32" fmla="*/ 1196 w 4526"/>
                    <a:gd name="T33" fmla="*/ 2196 h 4526"/>
                    <a:gd name="T34" fmla="*/ 1135 w 4526"/>
                    <a:gd name="T35" fmla="*/ 1911 h 4526"/>
                    <a:gd name="T36" fmla="*/ 1122 w 4526"/>
                    <a:gd name="T37" fmla="*/ 1658 h 4526"/>
                    <a:gd name="T38" fmla="*/ 1152 w 4526"/>
                    <a:gd name="T39" fmla="*/ 1378 h 4526"/>
                    <a:gd name="T40" fmla="*/ 1227 w 4526"/>
                    <a:gd name="T41" fmla="*/ 1115 h 4526"/>
                    <a:gd name="T42" fmla="*/ 1342 w 4526"/>
                    <a:gd name="T43" fmla="*/ 871 h 4526"/>
                    <a:gd name="T44" fmla="*/ 1493 w 4526"/>
                    <a:gd name="T45" fmla="*/ 651 h 4526"/>
                    <a:gd name="T46" fmla="*/ 1677 w 4526"/>
                    <a:gd name="T47" fmla="*/ 457 h 4526"/>
                    <a:gd name="T48" fmla="*/ 1889 w 4526"/>
                    <a:gd name="T49" fmla="*/ 296 h 4526"/>
                    <a:gd name="T50" fmla="*/ 2128 w 4526"/>
                    <a:gd name="T51" fmla="*/ 169 h 4526"/>
                    <a:gd name="T52" fmla="*/ 2385 w 4526"/>
                    <a:gd name="T53" fmla="*/ 82 h 4526"/>
                    <a:gd name="T54" fmla="*/ 2661 w 4526"/>
                    <a:gd name="T55" fmla="*/ 37 h 4526"/>
                    <a:gd name="T56" fmla="*/ 2414 w 4526"/>
                    <a:gd name="T57" fmla="*/ 6 h 4526"/>
                    <a:gd name="T58" fmla="*/ 2088 w 4526"/>
                    <a:gd name="T59" fmla="*/ 7 h 4526"/>
                    <a:gd name="T60" fmla="*/ 1697 w 4526"/>
                    <a:gd name="T61" fmla="*/ 72 h 4526"/>
                    <a:gd name="T62" fmla="*/ 1331 w 4526"/>
                    <a:gd name="T63" fmla="*/ 201 h 4526"/>
                    <a:gd name="T64" fmla="*/ 997 w 4526"/>
                    <a:gd name="T65" fmla="*/ 387 h 4526"/>
                    <a:gd name="T66" fmla="*/ 701 w 4526"/>
                    <a:gd name="T67" fmla="*/ 625 h 4526"/>
                    <a:gd name="T68" fmla="*/ 449 w 4526"/>
                    <a:gd name="T69" fmla="*/ 910 h 4526"/>
                    <a:gd name="T70" fmla="*/ 248 w 4526"/>
                    <a:gd name="T71" fmla="*/ 1233 h 4526"/>
                    <a:gd name="T72" fmla="*/ 101 w 4526"/>
                    <a:gd name="T73" fmla="*/ 1590 h 4526"/>
                    <a:gd name="T74" fmla="*/ 18 w 4526"/>
                    <a:gd name="T75" fmla="*/ 1975 h 4526"/>
                    <a:gd name="T76" fmla="*/ 0 w 4526"/>
                    <a:gd name="T77" fmla="*/ 2321 h 4526"/>
                    <a:gd name="T78" fmla="*/ 46 w 4526"/>
                    <a:gd name="T79" fmla="*/ 2720 h 4526"/>
                    <a:gd name="T80" fmla="*/ 157 w 4526"/>
                    <a:gd name="T81" fmla="*/ 3093 h 4526"/>
                    <a:gd name="T82" fmla="*/ 327 w 4526"/>
                    <a:gd name="T83" fmla="*/ 3437 h 4526"/>
                    <a:gd name="T84" fmla="*/ 551 w 4526"/>
                    <a:gd name="T85" fmla="*/ 3744 h 4526"/>
                    <a:gd name="T86" fmla="*/ 823 w 4526"/>
                    <a:gd name="T87" fmla="*/ 4009 h 4526"/>
                    <a:gd name="T88" fmla="*/ 1136 w 4526"/>
                    <a:gd name="T89" fmla="*/ 4227 h 4526"/>
                    <a:gd name="T90" fmla="*/ 1485 w 4526"/>
                    <a:gd name="T91" fmla="*/ 4389 h 4526"/>
                    <a:gd name="T92" fmla="*/ 1862 w 4526"/>
                    <a:gd name="T93" fmla="*/ 4490 h 4526"/>
                    <a:gd name="T94" fmla="*/ 2262 w 4526"/>
                    <a:gd name="T95" fmla="*/ 4526 h 4526"/>
                    <a:gd name="T96" fmla="*/ 2608 w 4526"/>
                    <a:gd name="T97" fmla="*/ 4500 h 4526"/>
                    <a:gd name="T98" fmla="*/ 2989 w 4526"/>
                    <a:gd name="T99" fmla="*/ 4408 h 4526"/>
                    <a:gd name="T100" fmla="*/ 3341 w 4526"/>
                    <a:gd name="T101" fmla="*/ 4253 h 4526"/>
                    <a:gd name="T102" fmla="*/ 3660 w 4526"/>
                    <a:gd name="T103" fmla="*/ 4044 h 4526"/>
                    <a:gd name="T104" fmla="*/ 3937 w 4526"/>
                    <a:gd name="T105" fmla="*/ 3785 h 4526"/>
                    <a:gd name="T106" fmla="*/ 4169 w 4526"/>
                    <a:gd name="T107" fmla="*/ 3483 h 4526"/>
                    <a:gd name="T108" fmla="*/ 4347 w 4526"/>
                    <a:gd name="T109" fmla="*/ 3145 h 4526"/>
                    <a:gd name="T110" fmla="*/ 4467 w 4526"/>
                    <a:gd name="T111" fmla="*/ 2774 h 4526"/>
                    <a:gd name="T112" fmla="*/ 4522 w 4526"/>
                    <a:gd name="T113" fmla="*/ 2380 h 4526"/>
                    <a:gd name="T114" fmla="*/ 4508 w 4526"/>
                    <a:gd name="T115" fmla="*/ 1983 h 4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26" h="4526">
                      <a:moveTo>
                        <a:pt x="4457" y="1720"/>
                      </a:moveTo>
                      <a:lnTo>
                        <a:pt x="4457" y="1720"/>
                      </a:lnTo>
                      <a:lnTo>
                        <a:pt x="4457" y="1763"/>
                      </a:lnTo>
                      <a:lnTo>
                        <a:pt x="4454" y="1806"/>
                      </a:lnTo>
                      <a:lnTo>
                        <a:pt x="4451" y="1847"/>
                      </a:lnTo>
                      <a:lnTo>
                        <a:pt x="4446" y="1888"/>
                      </a:lnTo>
                      <a:lnTo>
                        <a:pt x="4442" y="1930"/>
                      </a:lnTo>
                      <a:lnTo>
                        <a:pt x="4435" y="1971"/>
                      </a:lnTo>
                      <a:lnTo>
                        <a:pt x="4428" y="2013"/>
                      </a:lnTo>
                      <a:lnTo>
                        <a:pt x="4420" y="2053"/>
                      </a:lnTo>
                      <a:lnTo>
                        <a:pt x="4411" y="2093"/>
                      </a:lnTo>
                      <a:lnTo>
                        <a:pt x="4400" y="2132"/>
                      </a:lnTo>
                      <a:lnTo>
                        <a:pt x="4390" y="2172"/>
                      </a:lnTo>
                      <a:lnTo>
                        <a:pt x="4377" y="2211"/>
                      </a:lnTo>
                      <a:lnTo>
                        <a:pt x="4364" y="2249"/>
                      </a:lnTo>
                      <a:lnTo>
                        <a:pt x="4351" y="2288"/>
                      </a:lnTo>
                      <a:lnTo>
                        <a:pt x="4336" y="2325"/>
                      </a:lnTo>
                      <a:lnTo>
                        <a:pt x="4321" y="2363"/>
                      </a:lnTo>
                      <a:lnTo>
                        <a:pt x="4303" y="2398"/>
                      </a:lnTo>
                      <a:lnTo>
                        <a:pt x="4286" y="2435"/>
                      </a:lnTo>
                      <a:lnTo>
                        <a:pt x="4269" y="2471"/>
                      </a:lnTo>
                      <a:lnTo>
                        <a:pt x="4249" y="2507"/>
                      </a:lnTo>
                      <a:lnTo>
                        <a:pt x="4230" y="2541"/>
                      </a:lnTo>
                      <a:lnTo>
                        <a:pt x="4209" y="2576"/>
                      </a:lnTo>
                      <a:lnTo>
                        <a:pt x="4188" y="2609"/>
                      </a:lnTo>
                      <a:lnTo>
                        <a:pt x="4165" y="2643"/>
                      </a:lnTo>
                      <a:lnTo>
                        <a:pt x="4142" y="2675"/>
                      </a:lnTo>
                      <a:lnTo>
                        <a:pt x="4119" y="2707"/>
                      </a:lnTo>
                      <a:lnTo>
                        <a:pt x="4095" y="2738"/>
                      </a:lnTo>
                      <a:lnTo>
                        <a:pt x="4070" y="2769"/>
                      </a:lnTo>
                      <a:lnTo>
                        <a:pt x="4043" y="2799"/>
                      </a:lnTo>
                      <a:lnTo>
                        <a:pt x="4017" y="2829"/>
                      </a:lnTo>
                      <a:lnTo>
                        <a:pt x="3990" y="2858"/>
                      </a:lnTo>
                      <a:lnTo>
                        <a:pt x="3962" y="2885"/>
                      </a:lnTo>
                      <a:lnTo>
                        <a:pt x="3934" y="2913"/>
                      </a:lnTo>
                      <a:lnTo>
                        <a:pt x="3904" y="2941"/>
                      </a:lnTo>
                      <a:lnTo>
                        <a:pt x="3874" y="2966"/>
                      </a:lnTo>
                      <a:lnTo>
                        <a:pt x="3844" y="2993"/>
                      </a:lnTo>
                      <a:lnTo>
                        <a:pt x="3813" y="3017"/>
                      </a:lnTo>
                      <a:lnTo>
                        <a:pt x="3781" y="3041"/>
                      </a:lnTo>
                      <a:lnTo>
                        <a:pt x="3749" y="3064"/>
                      </a:lnTo>
                      <a:lnTo>
                        <a:pt x="3716" y="3087"/>
                      </a:lnTo>
                      <a:lnTo>
                        <a:pt x="3683" y="3109"/>
                      </a:lnTo>
                      <a:lnTo>
                        <a:pt x="3648" y="3130"/>
                      </a:lnTo>
                      <a:lnTo>
                        <a:pt x="3614" y="3150"/>
                      </a:lnTo>
                      <a:lnTo>
                        <a:pt x="3579" y="3169"/>
                      </a:lnTo>
                      <a:lnTo>
                        <a:pt x="3544" y="3188"/>
                      </a:lnTo>
                      <a:lnTo>
                        <a:pt x="3508" y="3206"/>
                      </a:lnTo>
                      <a:lnTo>
                        <a:pt x="3471" y="3223"/>
                      </a:lnTo>
                      <a:lnTo>
                        <a:pt x="3434" y="3239"/>
                      </a:lnTo>
                      <a:lnTo>
                        <a:pt x="3397" y="3254"/>
                      </a:lnTo>
                      <a:lnTo>
                        <a:pt x="3359" y="3268"/>
                      </a:lnTo>
                      <a:lnTo>
                        <a:pt x="3321" y="3282"/>
                      </a:lnTo>
                      <a:lnTo>
                        <a:pt x="3282" y="3294"/>
                      </a:lnTo>
                      <a:lnTo>
                        <a:pt x="3243" y="3306"/>
                      </a:lnTo>
                      <a:lnTo>
                        <a:pt x="3204" y="3316"/>
                      </a:lnTo>
                      <a:lnTo>
                        <a:pt x="3164" y="3325"/>
                      </a:lnTo>
                      <a:lnTo>
                        <a:pt x="3123" y="3334"/>
                      </a:lnTo>
                      <a:lnTo>
                        <a:pt x="3083" y="3341"/>
                      </a:lnTo>
                      <a:lnTo>
                        <a:pt x="3042" y="3348"/>
                      </a:lnTo>
                      <a:lnTo>
                        <a:pt x="3000" y="3354"/>
                      </a:lnTo>
                      <a:lnTo>
                        <a:pt x="2959" y="3359"/>
                      </a:lnTo>
                      <a:lnTo>
                        <a:pt x="2917" y="3363"/>
                      </a:lnTo>
                      <a:lnTo>
                        <a:pt x="2875" y="3366"/>
                      </a:lnTo>
                      <a:lnTo>
                        <a:pt x="2832" y="3367"/>
                      </a:lnTo>
                      <a:lnTo>
                        <a:pt x="2790" y="3368"/>
                      </a:lnTo>
                      <a:lnTo>
                        <a:pt x="2790" y="3368"/>
                      </a:lnTo>
                      <a:lnTo>
                        <a:pt x="2747" y="3367"/>
                      </a:lnTo>
                      <a:lnTo>
                        <a:pt x="2704" y="3366"/>
                      </a:lnTo>
                      <a:lnTo>
                        <a:pt x="2662" y="3363"/>
                      </a:lnTo>
                      <a:lnTo>
                        <a:pt x="2619" y="3359"/>
                      </a:lnTo>
                      <a:lnTo>
                        <a:pt x="2578" y="3354"/>
                      </a:lnTo>
                      <a:lnTo>
                        <a:pt x="2536" y="3348"/>
                      </a:lnTo>
                      <a:lnTo>
                        <a:pt x="2495" y="3341"/>
                      </a:lnTo>
                      <a:lnTo>
                        <a:pt x="2453" y="3333"/>
                      </a:lnTo>
                      <a:lnTo>
                        <a:pt x="2413" y="3325"/>
                      </a:lnTo>
                      <a:lnTo>
                        <a:pt x="2373" y="3315"/>
                      </a:lnTo>
                      <a:lnTo>
                        <a:pt x="2334" y="3305"/>
                      </a:lnTo>
                      <a:lnTo>
                        <a:pt x="2293" y="3293"/>
                      </a:lnTo>
                      <a:lnTo>
                        <a:pt x="2255" y="3280"/>
                      </a:lnTo>
                      <a:lnTo>
                        <a:pt x="2216" y="3267"/>
                      </a:lnTo>
                      <a:lnTo>
                        <a:pt x="2178" y="3252"/>
                      </a:lnTo>
                      <a:lnTo>
                        <a:pt x="2140" y="3237"/>
                      </a:lnTo>
                      <a:lnTo>
                        <a:pt x="2103" y="3221"/>
                      </a:lnTo>
                      <a:lnTo>
                        <a:pt x="2067" y="3203"/>
                      </a:lnTo>
                      <a:lnTo>
                        <a:pt x="2031" y="3185"/>
                      </a:lnTo>
                      <a:lnTo>
                        <a:pt x="1995" y="3166"/>
                      </a:lnTo>
                      <a:lnTo>
                        <a:pt x="1959" y="3147"/>
                      </a:lnTo>
                      <a:lnTo>
                        <a:pt x="1925" y="3126"/>
                      </a:lnTo>
                      <a:lnTo>
                        <a:pt x="1890" y="3104"/>
                      </a:lnTo>
                      <a:lnTo>
                        <a:pt x="1857" y="3082"/>
                      </a:lnTo>
                      <a:lnTo>
                        <a:pt x="1824" y="3059"/>
                      </a:lnTo>
                      <a:lnTo>
                        <a:pt x="1791" y="3036"/>
                      </a:lnTo>
                      <a:lnTo>
                        <a:pt x="1760" y="3012"/>
                      </a:lnTo>
                      <a:lnTo>
                        <a:pt x="1729" y="2987"/>
                      </a:lnTo>
                      <a:lnTo>
                        <a:pt x="1698" y="2960"/>
                      </a:lnTo>
                      <a:lnTo>
                        <a:pt x="1668" y="2934"/>
                      </a:lnTo>
                      <a:lnTo>
                        <a:pt x="1639" y="2907"/>
                      </a:lnTo>
                      <a:lnTo>
                        <a:pt x="1611" y="2879"/>
                      </a:lnTo>
                      <a:lnTo>
                        <a:pt x="1582" y="2850"/>
                      </a:lnTo>
                      <a:lnTo>
                        <a:pt x="1555" y="2821"/>
                      </a:lnTo>
                      <a:lnTo>
                        <a:pt x="1529" y="2791"/>
                      </a:lnTo>
                      <a:lnTo>
                        <a:pt x="1502" y="2760"/>
                      </a:lnTo>
                      <a:lnTo>
                        <a:pt x="1477" y="2729"/>
                      </a:lnTo>
                      <a:lnTo>
                        <a:pt x="1453" y="2698"/>
                      </a:lnTo>
                      <a:lnTo>
                        <a:pt x="1430" y="2666"/>
                      </a:lnTo>
                      <a:lnTo>
                        <a:pt x="1407" y="2632"/>
                      </a:lnTo>
                      <a:lnTo>
                        <a:pt x="1385" y="2599"/>
                      </a:lnTo>
                      <a:lnTo>
                        <a:pt x="1363" y="2564"/>
                      </a:lnTo>
                      <a:lnTo>
                        <a:pt x="1342" y="2530"/>
                      </a:lnTo>
                      <a:lnTo>
                        <a:pt x="1323" y="2494"/>
                      </a:lnTo>
                      <a:lnTo>
                        <a:pt x="1304" y="2458"/>
                      </a:lnTo>
                      <a:lnTo>
                        <a:pt x="1286" y="2423"/>
                      </a:lnTo>
                      <a:lnTo>
                        <a:pt x="1269" y="2386"/>
                      </a:lnTo>
                      <a:lnTo>
                        <a:pt x="1253" y="2349"/>
                      </a:lnTo>
                      <a:lnTo>
                        <a:pt x="1238" y="2311"/>
                      </a:lnTo>
                      <a:lnTo>
                        <a:pt x="1223" y="2273"/>
                      </a:lnTo>
                      <a:lnTo>
                        <a:pt x="1209" y="2234"/>
                      </a:lnTo>
                      <a:lnTo>
                        <a:pt x="1196" y="2196"/>
                      </a:lnTo>
                      <a:lnTo>
                        <a:pt x="1185" y="2156"/>
                      </a:lnTo>
                      <a:lnTo>
                        <a:pt x="1174" y="2116"/>
                      </a:lnTo>
                      <a:lnTo>
                        <a:pt x="1164" y="2076"/>
                      </a:lnTo>
                      <a:lnTo>
                        <a:pt x="1156" y="2036"/>
                      </a:lnTo>
                      <a:lnTo>
                        <a:pt x="1148" y="1994"/>
                      </a:lnTo>
                      <a:lnTo>
                        <a:pt x="1141" y="1953"/>
                      </a:lnTo>
                      <a:lnTo>
                        <a:pt x="1135" y="1911"/>
                      </a:lnTo>
                      <a:lnTo>
                        <a:pt x="1131" y="1870"/>
                      </a:lnTo>
                      <a:lnTo>
                        <a:pt x="1126" y="1827"/>
                      </a:lnTo>
                      <a:lnTo>
                        <a:pt x="1124" y="1785"/>
                      </a:lnTo>
                      <a:lnTo>
                        <a:pt x="1122" y="1742"/>
                      </a:lnTo>
                      <a:lnTo>
                        <a:pt x="1121" y="1700"/>
                      </a:lnTo>
                      <a:lnTo>
                        <a:pt x="1121" y="1700"/>
                      </a:lnTo>
                      <a:lnTo>
                        <a:pt x="1122" y="1658"/>
                      </a:lnTo>
                      <a:lnTo>
                        <a:pt x="1124" y="1618"/>
                      </a:lnTo>
                      <a:lnTo>
                        <a:pt x="1126" y="1576"/>
                      </a:lnTo>
                      <a:lnTo>
                        <a:pt x="1129" y="1536"/>
                      </a:lnTo>
                      <a:lnTo>
                        <a:pt x="1134" y="1497"/>
                      </a:lnTo>
                      <a:lnTo>
                        <a:pt x="1139" y="1457"/>
                      </a:lnTo>
                      <a:lnTo>
                        <a:pt x="1146" y="1418"/>
                      </a:lnTo>
                      <a:lnTo>
                        <a:pt x="1152" y="1378"/>
                      </a:lnTo>
                      <a:lnTo>
                        <a:pt x="1160" y="1339"/>
                      </a:lnTo>
                      <a:lnTo>
                        <a:pt x="1170" y="1301"/>
                      </a:lnTo>
                      <a:lnTo>
                        <a:pt x="1179" y="1263"/>
                      </a:lnTo>
                      <a:lnTo>
                        <a:pt x="1190" y="1225"/>
                      </a:lnTo>
                      <a:lnTo>
                        <a:pt x="1202" y="1188"/>
                      </a:lnTo>
                      <a:lnTo>
                        <a:pt x="1213" y="1152"/>
                      </a:lnTo>
                      <a:lnTo>
                        <a:pt x="1227" y="1115"/>
                      </a:lnTo>
                      <a:lnTo>
                        <a:pt x="1241" y="1079"/>
                      </a:lnTo>
                      <a:lnTo>
                        <a:pt x="1256" y="1043"/>
                      </a:lnTo>
                      <a:lnTo>
                        <a:pt x="1271" y="1008"/>
                      </a:lnTo>
                      <a:lnTo>
                        <a:pt x="1288" y="973"/>
                      </a:lnTo>
                      <a:lnTo>
                        <a:pt x="1306" y="939"/>
                      </a:lnTo>
                      <a:lnTo>
                        <a:pt x="1323" y="904"/>
                      </a:lnTo>
                      <a:lnTo>
                        <a:pt x="1342" y="871"/>
                      </a:lnTo>
                      <a:lnTo>
                        <a:pt x="1361" y="837"/>
                      </a:lnTo>
                      <a:lnTo>
                        <a:pt x="1382" y="805"/>
                      </a:lnTo>
                      <a:lnTo>
                        <a:pt x="1402" y="773"/>
                      </a:lnTo>
                      <a:lnTo>
                        <a:pt x="1424" y="742"/>
                      </a:lnTo>
                      <a:lnTo>
                        <a:pt x="1446" y="711"/>
                      </a:lnTo>
                      <a:lnTo>
                        <a:pt x="1469" y="681"/>
                      </a:lnTo>
                      <a:lnTo>
                        <a:pt x="1493" y="651"/>
                      </a:lnTo>
                      <a:lnTo>
                        <a:pt x="1517" y="621"/>
                      </a:lnTo>
                      <a:lnTo>
                        <a:pt x="1543" y="592"/>
                      </a:lnTo>
                      <a:lnTo>
                        <a:pt x="1568" y="564"/>
                      </a:lnTo>
                      <a:lnTo>
                        <a:pt x="1595" y="537"/>
                      </a:lnTo>
                      <a:lnTo>
                        <a:pt x="1621" y="509"/>
                      </a:lnTo>
                      <a:lnTo>
                        <a:pt x="1649" y="483"/>
                      </a:lnTo>
                      <a:lnTo>
                        <a:pt x="1677" y="457"/>
                      </a:lnTo>
                      <a:lnTo>
                        <a:pt x="1706" y="432"/>
                      </a:lnTo>
                      <a:lnTo>
                        <a:pt x="1735" y="408"/>
                      </a:lnTo>
                      <a:lnTo>
                        <a:pt x="1765" y="384"/>
                      </a:lnTo>
                      <a:lnTo>
                        <a:pt x="1795" y="361"/>
                      </a:lnTo>
                      <a:lnTo>
                        <a:pt x="1826" y="339"/>
                      </a:lnTo>
                      <a:lnTo>
                        <a:pt x="1858" y="317"/>
                      </a:lnTo>
                      <a:lnTo>
                        <a:pt x="1889" y="296"/>
                      </a:lnTo>
                      <a:lnTo>
                        <a:pt x="1923" y="275"/>
                      </a:lnTo>
                      <a:lnTo>
                        <a:pt x="1955" y="256"/>
                      </a:lnTo>
                      <a:lnTo>
                        <a:pt x="1988" y="237"/>
                      </a:lnTo>
                      <a:lnTo>
                        <a:pt x="2023" y="219"/>
                      </a:lnTo>
                      <a:lnTo>
                        <a:pt x="2057" y="202"/>
                      </a:lnTo>
                      <a:lnTo>
                        <a:pt x="2092" y="186"/>
                      </a:lnTo>
                      <a:lnTo>
                        <a:pt x="2128" y="169"/>
                      </a:lnTo>
                      <a:lnTo>
                        <a:pt x="2163" y="155"/>
                      </a:lnTo>
                      <a:lnTo>
                        <a:pt x="2199" y="141"/>
                      </a:lnTo>
                      <a:lnTo>
                        <a:pt x="2236" y="127"/>
                      </a:lnTo>
                      <a:lnTo>
                        <a:pt x="2273" y="114"/>
                      </a:lnTo>
                      <a:lnTo>
                        <a:pt x="2309" y="103"/>
                      </a:lnTo>
                      <a:lnTo>
                        <a:pt x="2347" y="92"/>
                      </a:lnTo>
                      <a:lnTo>
                        <a:pt x="2385" y="82"/>
                      </a:lnTo>
                      <a:lnTo>
                        <a:pt x="2423" y="73"/>
                      </a:lnTo>
                      <a:lnTo>
                        <a:pt x="2463" y="65"/>
                      </a:lnTo>
                      <a:lnTo>
                        <a:pt x="2502" y="58"/>
                      </a:lnTo>
                      <a:lnTo>
                        <a:pt x="2541" y="51"/>
                      </a:lnTo>
                      <a:lnTo>
                        <a:pt x="2580" y="45"/>
                      </a:lnTo>
                      <a:lnTo>
                        <a:pt x="2620" y="41"/>
                      </a:lnTo>
                      <a:lnTo>
                        <a:pt x="2661" y="37"/>
                      </a:lnTo>
                      <a:lnTo>
                        <a:pt x="2662" y="36"/>
                      </a:lnTo>
                      <a:lnTo>
                        <a:pt x="2662" y="36"/>
                      </a:lnTo>
                      <a:lnTo>
                        <a:pt x="2613" y="28"/>
                      </a:lnTo>
                      <a:lnTo>
                        <a:pt x="2564" y="21"/>
                      </a:lnTo>
                      <a:lnTo>
                        <a:pt x="2514" y="15"/>
                      </a:lnTo>
                      <a:lnTo>
                        <a:pt x="2465" y="9"/>
                      </a:lnTo>
                      <a:lnTo>
                        <a:pt x="2414" y="6"/>
                      </a:lnTo>
                      <a:lnTo>
                        <a:pt x="2365" y="3"/>
                      </a:lnTo>
                      <a:lnTo>
                        <a:pt x="2314" y="1"/>
                      </a:lnTo>
                      <a:lnTo>
                        <a:pt x="2262" y="0"/>
                      </a:lnTo>
                      <a:lnTo>
                        <a:pt x="2262" y="0"/>
                      </a:lnTo>
                      <a:lnTo>
                        <a:pt x="2205" y="1"/>
                      </a:lnTo>
                      <a:lnTo>
                        <a:pt x="2146" y="4"/>
                      </a:lnTo>
                      <a:lnTo>
                        <a:pt x="2088" y="7"/>
                      </a:lnTo>
                      <a:lnTo>
                        <a:pt x="2031" y="12"/>
                      </a:lnTo>
                      <a:lnTo>
                        <a:pt x="1974" y="19"/>
                      </a:lnTo>
                      <a:lnTo>
                        <a:pt x="1918" y="27"/>
                      </a:lnTo>
                      <a:lnTo>
                        <a:pt x="1862" y="36"/>
                      </a:lnTo>
                      <a:lnTo>
                        <a:pt x="1806" y="46"/>
                      </a:lnTo>
                      <a:lnTo>
                        <a:pt x="1751" y="58"/>
                      </a:lnTo>
                      <a:lnTo>
                        <a:pt x="1697" y="72"/>
                      </a:lnTo>
                      <a:lnTo>
                        <a:pt x="1643" y="87"/>
                      </a:lnTo>
                      <a:lnTo>
                        <a:pt x="1590" y="102"/>
                      </a:lnTo>
                      <a:lnTo>
                        <a:pt x="1537" y="119"/>
                      </a:lnTo>
                      <a:lnTo>
                        <a:pt x="1485" y="137"/>
                      </a:lnTo>
                      <a:lnTo>
                        <a:pt x="1433" y="157"/>
                      </a:lnTo>
                      <a:lnTo>
                        <a:pt x="1382" y="179"/>
                      </a:lnTo>
                      <a:lnTo>
                        <a:pt x="1331" y="201"/>
                      </a:lnTo>
                      <a:lnTo>
                        <a:pt x="1281" y="224"/>
                      </a:lnTo>
                      <a:lnTo>
                        <a:pt x="1233" y="248"/>
                      </a:lnTo>
                      <a:lnTo>
                        <a:pt x="1184" y="273"/>
                      </a:lnTo>
                      <a:lnTo>
                        <a:pt x="1136" y="300"/>
                      </a:lnTo>
                      <a:lnTo>
                        <a:pt x="1089" y="328"/>
                      </a:lnTo>
                      <a:lnTo>
                        <a:pt x="1043" y="357"/>
                      </a:lnTo>
                      <a:lnTo>
                        <a:pt x="997" y="387"/>
                      </a:lnTo>
                      <a:lnTo>
                        <a:pt x="953" y="418"/>
                      </a:lnTo>
                      <a:lnTo>
                        <a:pt x="908" y="450"/>
                      </a:lnTo>
                      <a:lnTo>
                        <a:pt x="866" y="483"/>
                      </a:lnTo>
                      <a:lnTo>
                        <a:pt x="823" y="517"/>
                      </a:lnTo>
                      <a:lnTo>
                        <a:pt x="782" y="552"/>
                      </a:lnTo>
                      <a:lnTo>
                        <a:pt x="741" y="589"/>
                      </a:lnTo>
                      <a:lnTo>
                        <a:pt x="701" y="625"/>
                      </a:lnTo>
                      <a:lnTo>
                        <a:pt x="663" y="663"/>
                      </a:lnTo>
                      <a:lnTo>
                        <a:pt x="625" y="701"/>
                      </a:lnTo>
                      <a:lnTo>
                        <a:pt x="587" y="742"/>
                      </a:lnTo>
                      <a:lnTo>
                        <a:pt x="551" y="782"/>
                      </a:lnTo>
                      <a:lnTo>
                        <a:pt x="517" y="823"/>
                      </a:lnTo>
                      <a:lnTo>
                        <a:pt x="482" y="866"/>
                      </a:lnTo>
                      <a:lnTo>
                        <a:pt x="449" y="910"/>
                      </a:lnTo>
                      <a:lnTo>
                        <a:pt x="417" y="954"/>
                      </a:lnTo>
                      <a:lnTo>
                        <a:pt x="386" y="998"/>
                      </a:lnTo>
                      <a:lnTo>
                        <a:pt x="356" y="1043"/>
                      </a:lnTo>
                      <a:lnTo>
                        <a:pt x="327" y="1089"/>
                      </a:lnTo>
                      <a:lnTo>
                        <a:pt x="299" y="1137"/>
                      </a:lnTo>
                      <a:lnTo>
                        <a:pt x="273" y="1185"/>
                      </a:lnTo>
                      <a:lnTo>
                        <a:pt x="248" y="1233"/>
                      </a:lnTo>
                      <a:lnTo>
                        <a:pt x="223" y="1282"/>
                      </a:lnTo>
                      <a:lnTo>
                        <a:pt x="199" y="1332"/>
                      </a:lnTo>
                      <a:lnTo>
                        <a:pt x="177" y="1383"/>
                      </a:lnTo>
                      <a:lnTo>
                        <a:pt x="157" y="1434"/>
                      </a:lnTo>
                      <a:lnTo>
                        <a:pt x="137" y="1485"/>
                      </a:lnTo>
                      <a:lnTo>
                        <a:pt x="119" y="1537"/>
                      </a:lnTo>
                      <a:lnTo>
                        <a:pt x="101" y="1590"/>
                      </a:lnTo>
                      <a:lnTo>
                        <a:pt x="85" y="1643"/>
                      </a:lnTo>
                      <a:lnTo>
                        <a:pt x="71" y="1697"/>
                      </a:lnTo>
                      <a:lnTo>
                        <a:pt x="58" y="1753"/>
                      </a:lnTo>
                      <a:lnTo>
                        <a:pt x="46" y="1807"/>
                      </a:lnTo>
                      <a:lnTo>
                        <a:pt x="36" y="1863"/>
                      </a:lnTo>
                      <a:lnTo>
                        <a:pt x="25" y="1918"/>
                      </a:lnTo>
                      <a:lnTo>
                        <a:pt x="18" y="1975"/>
                      </a:lnTo>
                      <a:lnTo>
                        <a:pt x="12" y="2032"/>
                      </a:lnTo>
                      <a:lnTo>
                        <a:pt x="7" y="2089"/>
                      </a:lnTo>
                      <a:lnTo>
                        <a:pt x="2" y="2146"/>
                      </a:lnTo>
                      <a:lnTo>
                        <a:pt x="0" y="2205"/>
                      </a:lnTo>
                      <a:lnTo>
                        <a:pt x="0" y="2264"/>
                      </a:lnTo>
                      <a:lnTo>
                        <a:pt x="0" y="2264"/>
                      </a:lnTo>
                      <a:lnTo>
                        <a:pt x="0" y="2321"/>
                      </a:lnTo>
                      <a:lnTo>
                        <a:pt x="2" y="2380"/>
                      </a:lnTo>
                      <a:lnTo>
                        <a:pt x="7" y="2438"/>
                      </a:lnTo>
                      <a:lnTo>
                        <a:pt x="12" y="2495"/>
                      </a:lnTo>
                      <a:lnTo>
                        <a:pt x="18" y="2552"/>
                      </a:lnTo>
                      <a:lnTo>
                        <a:pt x="25" y="2608"/>
                      </a:lnTo>
                      <a:lnTo>
                        <a:pt x="36" y="2663"/>
                      </a:lnTo>
                      <a:lnTo>
                        <a:pt x="46" y="2720"/>
                      </a:lnTo>
                      <a:lnTo>
                        <a:pt x="58" y="2774"/>
                      </a:lnTo>
                      <a:lnTo>
                        <a:pt x="71" y="2829"/>
                      </a:lnTo>
                      <a:lnTo>
                        <a:pt x="85" y="2883"/>
                      </a:lnTo>
                      <a:lnTo>
                        <a:pt x="101" y="2936"/>
                      </a:lnTo>
                      <a:lnTo>
                        <a:pt x="119" y="2989"/>
                      </a:lnTo>
                      <a:lnTo>
                        <a:pt x="137" y="3041"/>
                      </a:lnTo>
                      <a:lnTo>
                        <a:pt x="157" y="3093"/>
                      </a:lnTo>
                      <a:lnTo>
                        <a:pt x="177" y="3145"/>
                      </a:lnTo>
                      <a:lnTo>
                        <a:pt x="199" y="3194"/>
                      </a:lnTo>
                      <a:lnTo>
                        <a:pt x="223" y="3245"/>
                      </a:lnTo>
                      <a:lnTo>
                        <a:pt x="248" y="3293"/>
                      </a:lnTo>
                      <a:lnTo>
                        <a:pt x="273" y="3341"/>
                      </a:lnTo>
                      <a:lnTo>
                        <a:pt x="299" y="3390"/>
                      </a:lnTo>
                      <a:lnTo>
                        <a:pt x="327" y="3437"/>
                      </a:lnTo>
                      <a:lnTo>
                        <a:pt x="356" y="3483"/>
                      </a:lnTo>
                      <a:lnTo>
                        <a:pt x="386" y="3529"/>
                      </a:lnTo>
                      <a:lnTo>
                        <a:pt x="417" y="3573"/>
                      </a:lnTo>
                      <a:lnTo>
                        <a:pt x="449" y="3618"/>
                      </a:lnTo>
                      <a:lnTo>
                        <a:pt x="482" y="3660"/>
                      </a:lnTo>
                      <a:lnTo>
                        <a:pt x="517" y="3703"/>
                      </a:lnTo>
                      <a:lnTo>
                        <a:pt x="551" y="3744"/>
                      </a:lnTo>
                      <a:lnTo>
                        <a:pt x="587" y="3785"/>
                      </a:lnTo>
                      <a:lnTo>
                        <a:pt x="625" y="3825"/>
                      </a:lnTo>
                      <a:lnTo>
                        <a:pt x="663" y="3863"/>
                      </a:lnTo>
                      <a:lnTo>
                        <a:pt x="701" y="3901"/>
                      </a:lnTo>
                      <a:lnTo>
                        <a:pt x="741" y="3938"/>
                      </a:lnTo>
                      <a:lnTo>
                        <a:pt x="782" y="3975"/>
                      </a:lnTo>
                      <a:lnTo>
                        <a:pt x="823" y="4009"/>
                      </a:lnTo>
                      <a:lnTo>
                        <a:pt x="866" y="4044"/>
                      </a:lnTo>
                      <a:lnTo>
                        <a:pt x="908" y="4077"/>
                      </a:lnTo>
                      <a:lnTo>
                        <a:pt x="953" y="4108"/>
                      </a:lnTo>
                      <a:lnTo>
                        <a:pt x="997" y="4139"/>
                      </a:lnTo>
                      <a:lnTo>
                        <a:pt x="1043" y="4169"/>
                      </a:lnTo>
                      <a:lnTo>
                        <a:pt x="1089" y="4199"/>
                      </a:lnTo>
                      <a:lnTo>
                        <a:pt x="1136" y="4227"/>
                      </a:lnTo>
                      <a:lnTo>
                        <a:pt x="1184" y="4253"/>
                      </a:lnTo>
                      <a:lnTo>
                        <a:pt x="1233" y="4279"/>
                      </a:lnTo>
                      <a:lnTo>
                        <a:pt x="1281" y="4303"/>
                      </a:lnTo>
                      <a:lnTo>
                        <a:pt x="1331" y="4326"/>
                      </a:lnTo>
                      <a:lnTo>
                        <a:pt x="1382" y="4349"/>
                      </a:lnTo>
                      <a:lnTo>
                        <a:pt x="1433" y="4370"/>
                      </a:lnTo>
                      <a:lnTo>
                        <a:pt x="1485" y="4389"/>
                      </a:lnTo>
                      <a:lnTo>
                        <a:pt x="1537" y="4408"/>
                      </a:lnTo>
                      <a:lnTo>
                        <a:pt x="1590" y="4425"/>
                      </a:lnTo>
                      <a:lnTo>
                        <a:pt x="1643" y="4441"/>
                      </a:lnTo>
                      <a:lnTo>
                        <a:pt x="1697" y="4455"/>
                      </a:lnTo>
                      <a:lnTo>
                        <a:pt x="1751" y="4469"/>
                      </a:lnTo>
                      <a:lnTo>
                        <a:pt x="1806" y="4480"/>
                      </a:lnTo>
                      <a:lnTo>
                        <a:pt x="1862" y="4490"/>
                      </a:lnTo>
                      <a:lnTo>
                        <a:pt x="1918" y="4500"/>
                      </a:lnTo>
                      <a:lnTo>
                        <a:pt x="1974" y="4508"/>
                      </a:lnTo>
                      <a:lnTo>
                        <a:pt x="2031" y="4515"/>
                      </a:lnTo>
                      <a:lnTo>
                        <a:pt x="2088" y="4519"/>
                      </a:lnTo>
                      <a:lnTo>
                        <a:pt x="2146" y="4524"/>
                      </a:lnTo>
                      <a:lnTo>
                        <a:pt x="2205" y="4525"/>
                      </a:lnTo>
                      <a:lnTo>
                        <a:pt x="2262" y="4526"/>
                      </a:lnTo>
                      <a:lnTo>
                        <a:pt x="2262" y="4526"/>
                      </a:lnTo>
                      <a:lnTo>
                        <a:pt x="2321" y="4525"/>
                      </a:lnTo>
                      <a:lnTo>
                        <a:pt x="2379" y="4524"/>
                      </a:lnTo>
                      <a:lnTo>
                        <a:pt x="2437" y="4519"/>
                      </a:lnTo>
                      <a:lnTo>
                        <a:pt x="2494" y="4515"/>
                      </a:lnTo>
                      <a:lnTo>
                        <a:pt x="2551" y="4508"/>
                      </a:lnTo>
                      <a:lnTo>
                        <a:pt x="2608" y="4500"/>
                      </a:lnTo>
                      <a:lnTo>
                        <a:pt x="2663" y="4490"/>
                      </a:lnTo>
                      <a:lnTo>
                        <a:pt x="2718" y="4480"/>
                      </a:lnTo>
                      <a:lnTo>
                        <a:pt x="2773" y="4469"/>
                      </a:lnTo>
                      <a:lnTo>
                        <a:pt x="2829" y="4455"/>
                      </a:lnTo>
                      <a:lnTo>
                        <a:pt x="2882" y="4441"/>
                      </a:lnTo>
                      <a:lnTo>
                        <a:pt x="2936" y="4425"/>
                      </a:lnTo>
                      <a:lnTo>
                        <a:pt x="2989" y="4408"/>
                      </a:lnTo>
                      <a:lnTo>
                        <a:pt x="3040" y="4389"/>
                      </a:lnTo>
                      <a:lnTo>
                        <a:pt x="3092" y="4370"/>
                      </a:lnTo>
                      <a:lnTo>
                        <a:pt x="3143" y="4349"/>
                      </a:lnTo>
                      <a:lnTo>
                        <a:pt x="3194" y="4326"/>
                      </a:lnTo>
                      <a:lnTo>
                        <a:pt x="3243" y="4303"/>
                      </a:lnTo>
                      <a:lnTo>
                        <a:pt x="3293" y="4279"/>
                      </a:lnTo>
                      <a:lnTo>
                        <a:pt x="3341" y="4253"/>
                      </a:lnTo>
                      <a:lnTo>
                        <a:pt x="3389" y="4227"/>
                      </a:lnTo>
                      <a:lnTo>
                        <a:pt x="3437" y="4199"/>
                      </a:lnTo>
                      <a:lnTo>
                        <a:pt x="3483" y="4169"/>
                      </a:lnTo>
                      <a:lnTo>
                        <a:pt x="3527" y="4139"/>
                      </a:lnTo>
                      <a:lnTo>
                        <a:pt x="3572" y="4108"/>
                      </a:lnTo>
                      <a:lnTo>
                        <a:pt x="3616" y="4077"/>
                      </a:lnTo>
                      <a:lnTo>
                        <a:pt x="3660" y="4044"/>
                      </a:lnTo>
                      <a:lnTo>
                        <a:pt x="3702" y="4009"/>
                      </a:lnTo>
                      <a:lnTo>
                        <a:pt x="3744" y="3975"/>
                      </a:lnTo>
                      <a:lnTo>
                        <a:pt x="3784" y="3938"/>
                      </a:lnTo>
                      <a:lnTo>
                        <a:pt x="3823" y="3901"/>
                      </a:lnTo>
                      <a:lnTo>
                        <a:pt x="3863" y="3863"/>
                      </a:lnTo>
                      <a:lnTo>
                        <a:pt x="3900" y="3825"/>
                      </a:lnTo>
                      <a:lnTo>
                        <a:pt x="3937" y="3785"/>
                      </a:lnTo>
                      <a:lnTo>
                        <a:pt x="3974" y="3744"/>
                      </a:lnTo>
                      <a:lnTo>
                        <a:pt x="4009" y="3703"/>
                      </a:lnTo>
                      <a:lnTo>
                        <a:pt x="4043" y="3660"/>
                      </a:lnTo>
                      <a:lnTo>
                        <a:pt x="4075" y="3618"/>
                      </a:lnTo>
                      <a:lnTo>
                        <a:pt x="4108" y="3573"/>
                      </a:lnTo>
                      <a:lnTo>
                        <a:pt x="4139" y="3529"/>
                      </a:lnTo>
                      <a:lnTo>
                        <a:pt x="4169" y="3483"/>
                      </a:lnTo>
                      <a:lnTo>
                        <a:pt x="4198" y="3437"/>
                      </a:lnTo>
                      <a:lnTo>
                        <a:pt x="4225" y="3390"/>
                      </a:lnTo>
                      <a:lnTo>
                        <a:pt x="4253" y="3341"/>
                      </a:lnTo>
                      <a:lnTo>
                        <a:pt x="4278" y="3293"/>
                      </a:lnTo>
                      <a:lnTo>
                        <a:pt x="4302" y="3245"/>
                      </a:lnTo>
                      <a:lnTo>
                        <a:pt x="4325" y="3194"/>
                      </a:lnTo>
                      <a:lnTo>
                        <a:pt x="4347" y="3145"/>
                      </a:lnTo>
                      <a:lnTo>
                        <a:pt x="4368" y="3093"/>
                      </a:lnTo>
                      <a:lnTo>
                        <a:pt x="4389" y="3041"/>
                      </a:lnTo>
                      <a:lnTo>
                        <a:pt x="4407" y="2989"/>
                      </a:lnTo>
                      <a:lnTo>
                        <a:pt x="4423" y="2936"/>
                      </a:lnTo>
                      <a:lnTo>
                        <a:pt x="4439" y="2883"/>
                      </a:lnTo>
                      <a:lnTo>
                        <a:pt x="4454" y="2829"/>
                      </a:lnTo>
                      <a:lnTo>
                        <a:pt x="4467" y="2774"/>
                      </a:lnTo>
                      <a:lnTo>
                        <a:pt x="4480" y="2720"/>
                      </a:lnTo>
                      <a:lnTo>
                        <a:pt x="4490" y="2663"/>
                      </a:lnTo>
                      <a:lnTo>
                        <a:pt x="4499" y="2608"/>
                      </a:lnTo>
                      <a:lnTo>
                        <a:pt x="4507" y="2552"/>
                      </a:lnTo>
                      <a:lnTo>
                        <a:pt x="4514" y="2495"/>
                      </a:lnTo>
                      <a:lnTo>
                        <a:pt x="4519" y="2438"/>
                      </a:lnTo>
                      <a:lnTo>
                        <a:pt x="4522" y="2380"/>
                      </a:lnTo>
                      <a:lnTo>
                        <a:pt x="4524" y="2321"/>
                      </a:lnTo>
                      <a:lnTo>
                        <a:pt x="4526" y="2264"/>
                      </a:lnTo>
                      <a:lnTo>
                        <a:pt x="4526" y="2264"/>
                      </a:lnTo>
                      <a:lnTo>
                        <a:pt x="4524" y="2192"/>
                      </a:lnTo>
                      <a:lnTo>
                        <a:pt x="4521" y="2122"/>
                      </a:lnTo>
                      <a:lnTo>
                        <a:pt x="4515" y="2052"/>
                      </a:lnTo>
                      <a:lnTo>
                        <a:pt x="4508" y="1983"/>
                      </a:lnTo>
                      <a:lnTo>
                        <a:pt x="4498" y="1915"/>
                      </a:lnTo>
                      <a:lnTo>
                        <a:pt x="4486" y="1847"/>
                      </a:lnTo>
                      <a:lnTo>
                        <a:pt x="4474" y="1780"/>
                      </a:lnTo>
                      <a:lnTo>
                        <a:pt x="4458" y="1713"/>
                      </a:lnTo>
                      <a:lnTo>
                        <a:pt x="4457" y="172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7" name="Freeform 326"/>
                <p:cNvSpPr>
                  <a:spLocks/>
                </p:cNvSpPr>
                <p:nvPr/>
              </p:nvSpPr>
              <p:spPr bwMode="auto">
                <a:xfrm>
                  <a:off x="3603625" y="846138"/>
                  <a:ext cx="15875" cy="6350"/>
                </a:xfrm>
                <a:custGeom>
                  <a:avLst/>
                  <a:gdLst>
                    <a:gd name="T0" fmla="*/ 68 w 68"/>
                    <a:gd name="T1" fmla="*/ 16 h 31"/>
                    <a:gd name="T2" fmla="*/ 68 w 68"/>
                    <a:gd name="T3" fmla="*/ 16 h 31"/>
                    <a:gd name="T4" fmla="*/ 65 w 68"/>
                    <a:gd name="T5" fmla="*/ 12 h 31"/>
                    <a:gd name="T6" fmla="*/ 63 w 68"/>
                    <a:gd name="T7" fmla="*/ 7 h 31"/>
                    <a:gd name="T8" fmla="*/ 58 w 68"/>
                    <a:gd name="T9" fmla="*/ 5 h 31"/>
                    <a:gd name="T10" fmla="*/ 54 w 68"/>
                    <a:gd name="T11" fmla="*/ 3 h 31"/>
                    <a:gd name="T12" fmla="*/ 46 w 68"/>
                    <a:gd name="T13" fmla="*/ 0 h 31"/>
                    <a:gd name="T14" fmla="*/ 38 w 68"/>
                    <a:gd name="T15" fmla="*/ 0 h 31"/>
                    <a:gd name="T16" fmla="*/ 29 w 68"/>
                    <a:gd name="T17" fmla="*/ 3 h 31"/>
                    <a:gd name="T18" fmla="*/ 19 w 68"/>
                    <a:gd name="T19" fmla="*/ 4 h 31"/>
                    <a:gd name="T20" fmla="*/ 10 w 68"/>
                    <a:gd name="T21" fmla="*/ 6 h 31"/>
                    <a:gd name="T22" fmla="*/ 0 w 68"/>
                    <a:gd name="T23" fmla="*/ 7 h 31"/>
                    <a:gd name="T24" fmla="*/ 0 w 68"/>
                    <a:gd name="T25" fmla="*/ 7 h 31"/>
                    <a:gd name="T26" fmla="*/ 8 w 68"/>
                    <a:gd name="T27" fmla="*/ 20 h 31"/>
                    <a:gd name="T28" fmla="*/ 12 w 68"/>
                    <a:gd name="T29" fmla="*/ 24 h 31"/>
                    <a:gd name="T30" fmla="*/ 15 w 68"/>
                    <a:gd name="T31" fmla="*/ 28 h 31"/>
                    <a:gd name="T32" fmla="*/ 19 w 68"/>
                    <a:gd name="T33" fmla="*/ 30 h 31"/>
                    <a:gd name="T34" fmla="*/ 23 w 68"/>
                    <a:gd name="T35" fmla="*/ 31 h 31"/>
                    <a:gd name="T36" fmla="*/ 27 w 68"/>
                    <a:gd name="T37" fmla="*/ 31 h 31"/>
                    <a:gd name="T38" fmla="*/ 30 w 68"/>
                    <a:gd name="T39" fmla="*/ 31 h 31"/>
                    <a:gd name="T40" fmla="*/ 38 w 68"/>
                    <a:gd name="T41" fmla="*/ 29 h 31"/>
                    <a:gd name="T42" fmla="*/ 46 w 68"/>
                    <a:gd name="T43" fmla="*/ 24 h 31"/>
                    <a:gd name="T44" fmla="*/ 57 w 68"/>
                    <a:gd name="T45" fmla="*/ 20 h 31"/>
                    <a:gd name="T46" fmla="*/ 68 w 68"/>
                    <a:gd name="T47" fmla="*/ 16 h 31"/>
                    <a:gd name="T48" fmla="*/ 68 w 68"/>
                    <a:gd name="T49"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31">
                      <a:moveTo>
                        <a:pt x="68" y="16"/>
                      </a:moveTo>
                      <a:lnTo>
                        <a:pt x="68" y="16"/>
                      </a:lnTo>
                      <a:lnTo>
                        <a:pt x="65" y="12"/>
                      </a:lnTo>
                      <a:lnTo>
                        <a:pt x="63" y="7"/>
                      </a:lnTo>
                      <a:lnTo>
                        <a:pt x="58" y="5"/>
                      </a:lnTo>
                      <a:lnTo>
                        <a:pt x="54" y="3"/>
                      </a:lnTo>
                      <a:lnTo>
                        <a:pt x="46" y="0"/>
                      </a:lnTo>
                      <a:lnTo>
                        <a:pt x="38" y="0"/>
                      </a:lnTo>
                      <a:lnTo>
                        <a:pt x="29" y="3"/>
                      </a:lnTo>
                      <a:lnTo>
                        <a:pt x="19" y="4"/>
                      </a:lnTo>
                      <a:lnTo>
                        <a:pt x="10" y="6"/>
                      </a:lnTo>
                      <a:lnTo>
                        <a:pt x="0" y="7"/>
                      </a:lnTo>
                      <a:lnTo>
                        <a:pt x="0" y="7"/>
                      </a:lnTo>
                      <a:lnTo>
                        <a:pt x="8" y="20"/>
                      </a:lnTo>
                      <a:lnTo>
                        <a:pt x="12" y="24"/>
                      </a:lnTo>
                      <a:lnTo>
                        <a:pt x="15" y="28"/>
                      </a:lnTo>
                      <a:lnTo>
                        <a:pt x="19" y="30"/>
                      </a:lnTo>
                      <a:lnTo>
                        <a:pt x="23" y="31"/>
                      </a:lnTo>
                      <a:lnTo>
                        <a:pt x="27" y="31"/>
                      </a:lnTo>
                      <a:lnTo>
                        <a:pt x="30" y="31"/>
                      </a:lnTo>
                      <a:lnTo>
                        <a:pt x="38" y="29"/>
                      </a:lnTo>
                      <a:lnTo>
                        <a:pt x="46" y="24"/>
                      </a:lnTo>
                      <a:lnTo>
                        <a:pt x="57" y="20"/>
                      </a:lnTo>
                      <a:lnTo>
                        <a:pt x="68" y="16"/>
                      </a:lnTo>
                      <a:lnTo>
                        <a:pt x="68"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8" name="Line 327"/>
                <p:cNvSpPr>
                  <a:spLocks noChangeShapeType="1"/>
                </p:cNvSpPr>
                <p:nvPr/>
              </p:nvSpPr>
              <p:spPr bwMode="auto">
                <a:xfrm>
                  <a:off x="3375025" y="9144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9" name="Line 328"/>
                <p:cNvSpPr>
                  <a:spLocks noChangeShapeType="1"/>
                </p:cNvSpPr>
                <p:nvPr/>
              </p:nvSpPr>
              <p:spPr bwMode="auto">
                <a:xfrm>
                  <a:off x="3375025" y="9144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0" name="Line 329"/>
                <p:cNvSpPr>
                  <a:spLocks noChangeShapeType="1"/>
                </p:cNvSpPr>
                <p:nvPr/>
              </p:nvSpPr>
              <p:spPr bwMode="auto">
                <a:xfrm>
                  <a:off x="3379788" y="90805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1" name="Line 330"/>
                <p:cNvSpPr>
                  <a:spLocks noChangeShapeType="1"/>
                </p:cNvSpPr>
                <p:nvPr/>
              </p:nvSpPr>
              <p:spPr bwMode="auto">
                <a:xfrm>
                  <a:off x="3379788" y="90805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2" name="Freeform 331"/>
                <p:cNvSpPr>
                  <a:spLocks/>
                </p:cNvSpPr>
                <p:nvPr/>
              </p:nvSpPr>
              <p:spPr bwMode="auto">
                <a:xfrm>
                  <a:off x="3106738" y="365125"/>
                  <a:ext cx="211138" cy="204788"/>
                </a:xfrm>
                <a:custGeom>
                  <a:avLst/>
                  <a:gdLst>
                    <a:gd name="T0" fmla="*/ 725 w 932"/>
                    <a:gd name="T1" fmla="*/ 590 h 905"/>
                    <a:gd name="T2" fmla="*/ 756 w 932"/>
                    <a:gd name="T3" fmla="*/ 561 h 905"/>
                    <a:gd name="T4" fmla="*/ 731 w 932"/>
                    <a:gd name="T5" fmla="*/ 511 h 905"/>
                    <a:gd name="T6" fmla="*/ 674 w 932"/>
                    <a:gd name="T7" fmla="*/ 456 h 905"/>
                    <a:gd name="T8" fmla="*/ 684 w 932"/>
                    <a:gd name="T9" fmla="*/ 438 h 905"/>
                    <a:gd name="T10" fmla="*/ 755 w 932"/>
                    <a:gd name="T11" fmla="*/ 457 h 905"/>
                    <a:gd name="T12" fmla="*/ 791 w 932"/>
                    <a:gd name="T13" fmla="*/ 430 h 905"/>
                    <a:gd name="T14" fmla="*/ 832 w 932"/>
                    <a:gd name="T15" fmla="*/ 323 h 905"/>
                    <a:gd name="T16" fmla="*/ 828 w 932"/>
                    <a:gd name="T17" fmla="*/ 286 h 905"/>
                    <a:gd name="T18" fmla="*/ 795 w 932"/>
                    <a:gd name="T19" fmla="*/ 267 h 905"/>
                    <a:gd name="T20" fmla="*/ 818 w 932"/>
                    <a:gd name="T21" fmla="*/ 228 h 905"/>
                    <a:gd name="T22" fmla="*/ 932 w 932"/>
                    <a:gd name="T23" fmla="*/ 140 h 905"/>
                    <a:gd name="T24" fmla="*/ 862 w 932"/>
                    <a:gd name="T25" fmla="*/ 106 h 905"/>
                    <a:gd name="T26" fmla="*/ 786 w 932"/>
                    <a:gd name="T27" fmla="*/ 130 h 905"/>
                    <a:gd name="T28" fmla="*/ 756 w 932"/>
                    <a:gd name="T29" fmla="*/ 94 h 905"/>
                    <a:gd name="T30" fmla="*/ 725 w 932"/>
                    <a:gd name="T31" fmla="*/ 122 h 905"/>
                    <a:gd name="T32" fmla="*/ 695 w 932"/>
                    <a:gd name="T33" fmla="*/ 103 h 905"/>
                    <a:gd name="T34" fmla="*/ 642 w 932"/>
                    <a:gd name="T35" fmla="*/ 96 h 905"/>
                    <a:gd name="T36" fmla="*/ 722 w 932"/>
                    <a:gd name="T37" fmla="*/ 80 h 905"/>
                    <a:gd name="T38" fmla="*/ 738 w 932"/>
                    <a:gd name="T39" fmla="*/ 38 h 905"/>
                    <a:gd name="T40" fmla="*/ 597 w 932"/>
                    <a:gd name="T41" fmla="*/ 6 h 905"/>
                    <a:gd name="T42" fmla="*/ 540 w 932"/>
                    <a:gd name="T43" fmla="*/ 22 h 905"/>
                    <a:gd name="T44" fmla="*/ 502 w 932"/>
                    <a:gd name="T45" fmla="*/ 24 h 905"/>
                    <a:gd name="T46" fmla="*/ 499 w 932"/>
                    <a:gd name="T47" fmla="*/ 0 h 905"/>
                    <a:gd name="T48" fmla="*/ 441 w 932"/>
                    <a:gd name="T49" fmla="*/ 23 h 905"/>
                    <a:gd name="T50" fmla="*/ 466 w 932"/>
                    <a:gd name="T51" fmla="*/ 62 h 905"/>
                    <a:gd name="T52" fmla="*/ 423 w 932"/>
                    <a:gd name="T53" fmla="*/ 56 h 905"/>
                    <a:gd name="T54" fmla="*/ 360 w 932"/>
                    <a:gd name="T55" fmla="*/ 28 h 905"/>
                    <a:gd name="T56" fmla="*/ 343 w 932"/>
                    <a:gd name="T57" fmla="*/ 64 h 905"/>
                    <a:gd name="T58" fmla="*/ 315 w 932"/>
                    <a:gd name="T59" fmla="*/ 53 h 905"/>
                    <a:gd name="T60" fmla="*/ 296 w 932"/>
                    <a:gd name="T61" fmla="*/ 28 h 905"/>
                    <a:gd name="T62" fmla="*/ 192 w 932"/>
                    <a:gd name="T63" fmla="*/ 30 h 905"/>
                    <a:gd name="T64" fmla="*/ 138 w 932"/>
                    <a:gd name="T65" fmla="*/ 58 h 905"/>
                    <a:gd name="T66" fmla="*/ 103 w 932"/>
                    <a:gd name="T67" fmla="*/ 82 h 905"/>
                    <a:gd name="T68" fmla="*/ 94 w 932"/>
                    <a:gd name="T69" fmla="*/ 117 h 905"/>
                    <a:gd name="T70" fmla="*/ 35 w 932"/>
                    <a:gd name="T71" fmla="*/ 111 h 905"/>
                    <a:gd name="T72" fmla="*/ 12 w 932"/>
                    <a:gd name="T73" fmla="*/ 140 h 905"/>
                    <a:gd name="T74" fmla="*/ 40 w 932"/>
                    <a:gd name="T75" fmla="*/ 167 h 905"/>
                    <a:gd name="T76" fmla="*/ 79 w 932"/>
                    <a:gd name="T77" fmla="*/ 183 h 905"/>
                    <a:gd name="T78" fmla="*/ 21 w 932"/>
                    <a:gd name="T79" fmla="*/ 182 h 905"/>
                    <a:gd name="T80" fmla="*/ 2 w 932"/>
                    <a:gd name="T81" fmla="*/ 198 h 905"/>
                    <a:gd name="T82" fmla="*/ 42 w 932"/>
                    <a:gd name="T83" fmla="*/ 272 h 905"/>
                    <a:gd name="T84" fmla="*/ 97 w 932"/>
                    <a:gd name="T85" fmla="*/ 265 h 905"/>
                    <a:gd name="T86" fmla="*/ 175 w 932"/>
                    <a:gd name="T87" fmla="*/ 326 h 905"/>
                    <a:gd name="T88" fmla="*/ 190 w 932"/>
                    <a:gd name="T89" fmla="*/ 427 h 905"/>
                    <a:gd name="T90" fmla="*/ 221 w 932"/>
                    <a:gd name="T91" fmla="*/ 462 h 905"/>
                    <a:gd name="T92" fmla="*/ 238 w 932"/>
                    <a:gd name="T93" fmla="*/ 490 h 905"/>
                    <a:gd name="T94" fmla="*/ 219 w 932"/>
                    <a:gd name="T95" fmla="*/ 525 h 905"/>
                    <a:gd name="T96" fmla="*/ 191 w 932"/>
                    <a:gd name="T97" fmla="*/ 610 h 905"/>
                    <a:gd name="T98" fmla="*/ 176 w 932"/>
                    <a:gd name="T99" fmla="*/ 692 h 905"/>
                    <a:gd name="T100" fmla="*/ 176 w 932"/>
                    <a:gd name="T101" fmla="*/ 750 h 905"/>
                    <a:gd name="T102" fmla="*/ 191 w 932"/>
                    <a:gd name="T103" fmla="*/ 811 h 905"/>
                    <a:gd name="T104" fmla="*/ 232 w 932"/>
                    <a:gd name="T105" fmla="*/ 857 h 905"/>
                    <a:gd name="T106" fmla="*/ 265 w 932"/>
                    <a:gd name="T107" fmla="*/ 853 h 905"/>
                    <a:gd name="T108" fmla="*/ 300 w 932"/>
                    <a:gd name="T109" fmla="*/ 905 h 905"/>
                    <a:gd name="T110" fmla="*/ 327 w 932"/>
                    <a:gd name="T111" fmla="*/ 882 h 905"/>
                    <a:gd name="T112" fmla="*/ 354 w 932"/>
                    <a:gd name="T113" fmla="*/ 799 h 905"/>
                    <a:gd name="T114" fmla="*/ 428 w 932"/>
                    <a:gd name="T115" fmla="*/ 738 h 905"/>
                    <a:gd name="T116" fmla="*/ 554 w 932"/>
                    <a:gd name="T117" fmla="*/ 643 h 905"/>
                    <a:gd name="T118" fmla="*/ 611 w 932"/>
                    <a:gd name="T119" fmla="*/ 648 h 905"/>
                    <a:gd name="T120" fmla="*/ 680 w 932"/>
                    <a:gd name="T121" fmla="*/ 610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32" h="905">
                      <a:moveTo>
                        <a:pt x="680" y="610"/>
                      </a:moveTo>
                      <a:lnTo>
                        <a:pt x="680" y="610"/>
                      </a:lnTo>
                      <a:lnTo>
                        <a:pt x="687" y="605"/>
                      </a:lnTo>
                      <a:lnTo>
                        <a:pt x="696" y="600"/>
                      </a:lnTo>
                      <a:lnTo>
                        <a:pt x="706" y="597"/>
                      </a:lnTo>
                      <a:lnTo>
                        <a:pt x="716" y="593"/>
                      </a:lnTo>
                      <a:lnTo>
                        <a:pt x="725" y="590"/>
                      </a:lnTo>
                      <a:lnTo>
                        <a:pt x="734" y="586"/>
                      </a:lnTo>
                      <a:lnTo>
                        <a:pt x="742" y="582"/>
                      </a:lnTo>
                      <a:lnTo>
                        <a:pt x="749" y="576"/>
                      </a:lnTo>
                      <a:lnTo>
                        <a:pt x="749" y="576"/>
                      </a:lnTo>
                      <a:lnTo>
                        <a:pt x="753" y="571"/>
                      </a:lnTo>
                      <a:lnTo>
                        <a:pt x="755" y="566"/>
                      </a:lnTo>
                      <a:lnTo>
                        <a:pt x="756" y="561"/>
                      </a:lnTo>
                      <a:lnTo>
                        <a:pt x="757" y="556"/>
                      </a:lnTo>
                      <a:lnTo>
                        <a:pt x="757" y="547"/>
                      </a:lnTo>
                      <a:lnTo>
                        <a:pt x="755" y="539"/>
                      </a:lnTo>
                      <a:lnTo>
                        <a:pt x="750" y="531"/>
                      </a:lnTo>
                      <a:lnTo>
                        <a:pt x="745" y="524"/>
                      </a:lnTo>
                      <a:lnTo>
                        <a:pt x="731" y="511"/>
                      </a:lnTo>
                      <a:lnTo>
                        <a:pt x="731" y="511"/>
                      </a:lnTo>
                      <a:lnTo>
                        <a:pt x="721" y="503"/>
                      </a:lnTo>
                      <a:lnTo>
                        <a:pt x="712" y="498"/>
                      </a:lnTo>
                      <a:lnTo>
                        <a:pt x="697" y="488"/>
                      </a:lnTo>
                      <a:lnTo>
                        <a:pt x="691" y="484"/>
                      </a:lnTo>
                      <a:lnTo>
                        <a:pt x="685" y="477"/>
                      </a:lnTo>
                      <a:lnTo>
                        <a:pt x="679" y="469"/>
                      </a:lnTo>
                      <a:lnTo>
                        <a:pt x="674" y="456"/>
                      </a:lnTo>
                      <a:lnTo>
                        <a:pt x="674" y="456"/>
                      </a:lnTo>
                      <a:lnTo>
                        <a:pt x="673" y="452"/>
                      </a:lnTo>
                      <a:lnTo>
                        <a:pt x="673" y="447"/>
                      </a:lnTo>
                      <a:lnTo>
                        <a:pt x="674" y="444"/>
                      </a:lnTo>
                      <a:lnTo>
                        <a:pt x="677" y="441"/>
                      </a:lnTo>
                      <a:lnTo>
                        <a:pt x="680" y="439"/>
                      </a:lnTo>
                      <a:lnTo>
                        <a:pt x="684" y="438"/>
                      </a:lnTo>
                      <a:lnTo>
                        <a:pt x="694" y="437"/>
                      </a:lnTo>
                      <a:lnTo>
                        <a:pt x="706" y="438"/>
                      </a:lnTo>
                      <a:lnTo>
                        <a:pt x="716" y="440"/>
                      </a:lnTo>
                      <a:lnTo>
                        <a:pt x="725" y="442"/>
                      </a:lnTo>
                      <a:lnTo>
                        <a:pt x="731" y="445"/>
                      </a:lnTo>
                      <a:lnTo>
                        <a:pt x="731" y="445"/>
                      </a:lnTo>
                      <a:lnTo>
                        <a:pt x="755" y="457"/>
                      </a:lnTo>
                      <a:lnTo>
                        <a:pt x="762" y="460"/>
                      </a:lnTo>
                      <a:lnTo>
                        <a:pt x="769" y="460"/>
                      </a:lnTo>
                      <a:lnTo>
                        <a:pt x="775" y="458"/>
                      </a:lnTo>
                      <a:lnTo>
                        <a:pt x="782" y="453"/>
                      </a:lnTo>
                      <a:lnTo>
                        <a:pt x="800" y="434"/>
                      </a:lnTo>
                      <a:lnTo>
                        <a:pt x="800" y="434"/>
                      </a:lnTo>
                      <a:lnTo>
                        <a:pt x="791" y="430"/>
                      </a:lnTo>
                      <a:lnTo>
                        <a:pt x="783" y="424"/>
                      </a:lnTo>
                      <a:lnTo>
                        <a:pt x="773" y="418"/>
                      </a:lnTo>
                      <a:lnTo>
                        <a:pt x="764" y="415"/>
                      </a:lnTo>
                      <a:lnTo>
                        <a:pt x="764" y="415"/>
                      </a:lnTo>
                      <a:lnTo>
                        <a:pt x="829" y="327"/>
                      </a:lnTo>
                      <a:lnTo>
                        <a:pt x="829" y="327"/>
                      </a:lnTo>
                      <a:lnTo>
                        <a:pt x="832" y="323"/>
                      </a:lnTo>
                      <a:lnTo>
                        <a:pt x="833" y="318"/>
                      </a:lnTo>
                      <a:lnTo>
                        <a:pt x="834" y="312"/>
                      </a:lnTo>
                      <a:lnTo>
                        <a:pt x="834" y="307"/>
                      </a:lnTo>
                      <a:lnTo>
                        <a:pt x="834" y="302"/>
                      </a:lnTo>
                      <a:lnTo>
                        <a:pt x="833" y="296"/>
                      </a:lnTo>
                      <a:lnTo>
                        <a:pt x="831" y="290"/>
                      </a:lnTo>
                      <a:lnTo>
                        <a:pt x="828" y="286"/>
                      </a:lnTo>
                      <a:lnTo>
                        <a:pt x="825" y="281"/>
                      </a:lnTo>
                      <a:lnTo>
                        <a:pt x="821" y="278"/>
                      </a:lnTo>
                      <a:lnTo>
                        <a:pt x="816" y="274"/>
                      </a:lnTo>
                      <a:lnTo>
                        <a:pt x="811" y="271"/>
                      </a:lnTo>
                      <a:lnTo>
                        <a:pt x="807" y="269"/>
                      </a:lnTo>
                      <a:lnTo>
                        <a:pt x="801" y="267"/>
                      </a:lnTo>
                      <a:lnTo>
                        <a:pt x="795" y="267"/>
                      </a:lnTo>
                      <a:lnTo>
                        <a:pt x="790" y="269"/>
                      </a:lnTo>
                      <a:lnTo>
                        <a:pt x="790" y="269"/>
                      </a:lnTo>
                      <a:lnTo>
                        <a:pt x="792" y="262"/>
                      </a:lnTo>
                      <a:lnTo>
                        <a:pt x="795" y="254"/>
                      </a:lnTo>
                      <a:lnTo>
                        <a:pt x="801" y="245"/>
                      </a:lnTo>
                      <a:lnTo>
                        <a:pt x="809" y="236"/>
                      </a:lnTo>
                      <a:lnTo>
                        <a:pt x="818" y="228"/>
                      </a:lnTo>
                      <a:lnTo>
                        <a:pt x="829" y="219"/>
                      </a:lnTo>
                      <a:lnTo>
                        <a:pt x="852" y="199"/>
                      </a:lnTo>
                      <a:lnTo>
                        <a:pt x="876" y="182"/>
                      </a:lnTo>
                      <a:lnTo>
                        <a:pt x="899" y="165"/>
                      </a:lnTo>
                      <a:lnTo>
                        <a:pt x="919" y="151"/>
                      </a:lnTo>
                      <a:lnTo>
                        <a:pt x="932" y="140"/>
                      </a:lnTo>
                      <a:lnTo>
                        <a:pt x="932" y="140"/>
                      </a:lnTo>
                      <a:lnTo>
                        <a:pt x="924" y="130"/>
                      </a:lnTo>
                      <a:lnTo>
                        <a:pt x="914" y="123"/>
                      </a:lnTo>
                      <a:lnTo>
                        <a:pt x="905" y="118"/>
                      </a:lnTo>
                      <a:lnTo>
                        <a:pt x="894" y="113"/>
                      </a:lnTo>
                      <a:lnTo>
                        <a:pt x="883" y="110"/>
                      </a:lnTo>
                      <a:lnTo>
                        <a:pt x="872" y="107"/>
                      </a:lnTo>
                      <a:lnTo>
                        <a:pt x="862" y="106"/>
                      </a:lnTo>
                      <a:lnTo>
                        <a:pt x="851" y="106"/>
                      </a:lnTo>
                      <a:lnTo>
                        <a:pt x="839" y="107"/>
                      </a:lnTo>
                      <a:lnTo>
                        <a:pt x="829" y="110"/>
                      </a:lnTo>
                      <a:lnTo>
                        <a:pt x="817" y="113"/>
                      </a:lnTo>
                      <a:lnTo>
                        <a:pt x="807" y="118"/>
                      </a:lnTo>
                      <a:lnTo>
                        <a:pt x="796" y="123"/>
                      </a:lnTo>
                      <a:lnTo>
                        <a:pt x="786" y="130"/>
                      </a:lnTo>
                      <a:lnTo>
                        <a:pt x="777" y="138"/>
                      </a:lnTo>
                      <a:lnTo>
                        <a:pt x="768" y="146"/>
                      </a:lnTo>
                      <a:lnTo>
                        <a:pt x="768" y="146"/>
                      </a:lnTo>
                      <a:lnTo>
                        <a:pt x="787" y="102"/>
                      </a:lnTo>
                      <a:lnTo>
                        <a:pt x="787" y="102"/>
                      </a:lnTo>
                      <a:lnTo>
                        <a:pt x="765" y="96"/>
                      </a:lnTo>
                      <a:lnTo>
                        <a:pt x="756" y="94"/>
                      </a:lnTo>
                      <a:lnTo>
                        <a:pt x="749" y="94"/>
                      </a:lnTo>
                      <a:lnTo>
                        <a:pt x="746" y="95"/>
                      </a:lnTo>
                      <a:lnTo>
                        <a:pt x="742" y="96"/>
                      </a:lnTo>
                      <a:lnTo>
                        <a:pt x="739" y="98"/>
                      </a:lnTo>
                      <a:lnTo>
                        <a:pt x="737" y="102"/>
                      </a:lnTo>
                      <a:lnTo>
                        <a:pt x="731" y="110"/>
                      </a:lnTo>
                      <a:lnTo>
                        <a:pt x="725" y="122"/>
                      </a:lnTo>
                      <a:lnTo>
                        <a:pt x="725" y="122"/>
                      </a:lnTo>
                      <a:lnTo>
                        <a:pt x="722" y="117"/>
                      </a:lnTo>
                      <a:lnTo>
                        <a:pt x="717" y="112"/>
                      </a:lnTo>
                      <a:lnTo>
                        <a:pt x="711" y="108"/>
                      </a:lnTo>
                      <a:lnTo>
                        <a:pt x="707" y="106"/>
                      </a:lnTo>
                      <a:lnTo>
                        <a:pt x="701" y="104"/>
                      </a:lnTo>
                      <a:lnTo>
                        <a:pt x="695" y="103"/>
                      </a:lnTo>
                      <a:lnTo>
                        <a:pt x="684" y="103"/>
                      </a:lnTo>
                      <a:lnTo>
                        <a:pt x="671" y="104"/>
                      </a:lnTo>
                      <a:lnTo>
                        <a:pt x="658" y="105"/>
                      </a:lnTo>
                      <a:lnTo>
                        <a:pt x="633" y="110"/>
                      </a:lnTo>
                      <a:lnTo>
                        <a:pt x="633" y="110"/>
                      </a:lnTo>
                      <a:lnTo>
                        <a:pt x="636" y="102"/>
                      </a:lnTo>
                      <a:lnTo>
                        <a:pt x="642" y="96"/>
                      </a:lnTo>
                      <a:lnTo>
                        <a:pt x="648" y="91"/>
                      </a:lnTo>
                      <a:lnTo>
                        <a:pt x="656" y="87"/>
                      </a:lnTo>
                      <a:lnTo>
                        <a:pt x="665" y="84"/>
                      </a:lnTo>
                      <a:lnTo>
                        <a:pt x="676" y="82"/>
                      </a:lnTo>
                      <a:lnTo>
                        <a:pt x="687" y="81"/>
                      </a:lnTo>
                      <a:lnTo>
                        <a:pt x="697" y="80"/>
                      </a:lnTo>
                      <a:lnTo>
                        <a:pt x="722" y="80"/>
                      </a:lnTo>
                      <a:lnTo>
                        <a:pt x="744" y="81"/>
                      </a:lnTo>
                      <a:lnTo>
                        <a:pt x="764" y="82"/>
                      </a:lnTo>
                      <a:lnTo>
                        <a:pt x="780" y="83"/>
                      </a:lnTo>
                      <a:lnTo>
                        <a:pt x="780" y="83"/>
                      </a:lnTo>
                      <a:lnTo>
                        <a:pt x="765" y="64"/>
                      </a:lnTo>
                      <a:lnTo>
                        <a:pt x="752" y="49"/>
                      </a:lnTo>
                      <a:lnTo>
                        <a:pt x="738" y="38"/>
                      </a:lnTo>
                      <a:lnTo>
                        <a:pt x="724" y="31"/>
                      </a:lnTo>
                      <a:lnTo>
                        <a:pt x="710" y="26"/>
                      </a:lnTo>
                      <a:lnTo>
                        <a:pt x="693" y="21"/>
                      </a:lnTo>
                      <a:lnTo>
                        <a:pt x="647" y="13"/>
                      </a:lnTo>
                      <a:lnTo>
                        <a:pt x="647" y="13"/>
                      </a:lnTo>
                      <a:lnTo>
                        <a:pt x="617" y="7"/>
                      </a:lnTo>
                      <a:lnTo>
                        <a:pt x="597" y="6"/>
                      </a:lnTo>
                      <a:lnTo>
                        <a:pt x="578" y="5"/>
                      </a:lnTo>
                      <a:lnTo>
                        <a:pt x="569" y="6"/>
                      </a:lnTo>
                      <a:lnTo>
                        <a:pt x="560" y="7"/>
                      </a:lnTo>
                      <a:lnTo>
                        <a:pt x="552" y="9"/>
                      </a:lnTo>
                      <a:lnTo>
                        <a:pt x="547" y="13"/>
                      </a:lnTo>
                      <a:lnTo>
                        <a:pt x="542" y="18"/>
                      </a:lnTo>
                      <a:lnTo>
                        <a:pt x="540" y="22"/>
                      </a:lnTo>
                      <a:lnTo>
                        <a:pt x="540" y="29"/>
                      </a:lnTo>
                      <a:lnTo>
                        <a:pt x="542" y="38"/>
                      </a:lnTo>
                      <a:lnTo>
                        <a:pt x="542" y="38"/>
                      </a:lnTo>
                      <a:lnTo>
                        <a:pt x="524" y="34"/>
                      </a:lnTo>
                      <a:lnTo>
                        <a:pt x="516" y="31"/>
                      </a:lnTo>
                      <a:lnTo>
                        <a:pt x="508" y="28"/>
                      </a:lnTo>
                      <a:lnTo>
                        <a:pt x="502" y="24"/>
                      </a:lnTo>
                      <a:lnTo>
                        <a:pt x="499" y="21"/>
                      </a:lnTo>
                      <a:lnTo>
                        <a:pt x="498" y="19"/>
                      </a:lnTo>
                      <a:lnTo>
                        <a:pt x="497" y="15"/>
                      </a:lnTo>
                      <a:lnTo>
                        <a:pt x="497" y="11"/>
                      </a:lnTo>
                      <a:lnTo>
                        <a:pt x="497" y="6"/>
                      </a:lnTo>
                      <a:lnTo>
                        <a:pt x="499" y="0"/>
                      </a:lnTo>
                      <a:lnTo>
                        <a:pt x="499" y="0"/>
                      </a:lnTo>
                      <a:lnTo>
                        <a:pt x="478" y="4"/>
                      </a:lnTo>
                      <a:lnTo>
                        <a:pt x="467" y="6"/>
                      </a:lnTo>
                      <a:lnTo>
                        <a:pt x="458" y="9"/>
                      </a:lnTo>
                      <a:lnTo>
                        <a:pt x="450" y="13"/>
                      </a:lnTo>
                      <a:lnTo>
                        <a:pt x="447" y="16"/>
                      </a:lnTo>
                      <a:lnTo>
                        <a:pt x="444" y="20"/>
                      </a:lnTo>
                      <a:lnTo>
                        <a:pt x="441" y="23"/>
                      </a:lnTo>
                      <a:lnTo>
                        <a:pt x="438" y="29"/>
                      </a:lnTo>
                      <a:lnTo>
                        <a:pt x="437" y="34"/>
                      </a:lnTo>
                      <a:lnTo>
                        <a:pt x="436" y="41"/>
                      </a:lnTo>
                      <a:lnTo>
                        <a:pt x="436" y="41"/>
                      </a:lnTo>
                      <a:lnTo>
                        <a:pt x="474" y="54"/>
                      </a:lnTo>
                      <a:lnTo>
                        <a:pt x="474" y="54"/>
                      </a:lnTo>
                      <a:lnTo>
                        <a:pt x="466" y="62"/>
                      </a:lnTo>
                      <a:lnTo>
                        <a:pt x="459" y="68"/>
                      </a:lnTo>
                      <a:lnTo>
                        <a:pt x="453" y="72"/>
                      </a:lnTo>
                      <a:lnTo>
                        <a:pt x="448" y="73"/>
                      </a:lnTo>
                      <a:lnTo>
                        <a:pt x="442" y="72"/>
                      </a:lnTo>
                      <a:lnTo>
                        <a:pt x="436" y="68"/>
                      </a:lnTo>
                      <a:lnTo>
                        <a:pt x="430" y="62"/>
                      </a:lnTo>
                      <a:lnTo>
                        <a:pt x="423" y="56"/>
                      </a:lnTo>
                      <a:lnTo>
                        <a:pt x="423" y="56"/>
                      </a:lnTo>
                      <a:lnTo>
                        <a:pt x="417" y="49"/>
                      </a:lnTo>
                      <a:lnTo>
                        <a:pt x="410" y="44"/>
                      </a:lnTo>
                      <a:lnTo>
                        <a:pt x="403" y="41"/>
                      </a:lnTo>
                      <a:lnTo>
                        <a:pt x="395" y="37"/>
                      </a:lnTo>
                      <a:lnTo>
                        <a:pt x="379" y="32"/>
                      </a:lnTo>
                      <a:lnTo>
                        <a:pt x="360" y="28"/>
                      </a:lnTo>
                      <a:lnTo>
                        <a:pt x="360" y="28"/>
                      </a:lnTo>
                      <a:lnTo>
                        <a:pt x="360" y="44"/>
                      </a:lnTo>
                      <a:lnTo>
                        <a:pt x="359" y="50"/>
                      </a:lnTo>
                      <a:lnTo>
                        <a:pt x="357" y="56"/>
                      </a:lnTo>
                      <a:lnTo>
                        <a:pt x="353" y="59"/>
                      </a:lnTo>
                      <a:lnTo>
                        <a:pt x="349" y="61"/>
                      </a:lnTo>
                      <a:lnTo>
                        <a:pt x="343" y="64"/>
                      </a:lnTo>
                      <a:lnTo>
                        <a:pt x="336" y="64"/>
                      </a:lnTo>
                      <a:lnTo>
                        <a:pt x="336" y="64"/>
                      </a:lnTo>
                      <a:lnTo>
                        <a:pt x="330" y="64"/>
                      </a:lnTo>
                      <a:lnTo>
                        <a:pt x="326" y="62"/>
                      </a:lnTo>
                      <a:lnTo>
                        <a:pt x="322" y="60"/>
                      </a:lnTo>
                      <a:lnTo>
                        <a:pt x="320" y="58"/>
                      </a:lnTo>
                      <a:lnTo>
                        <a:pt x="315" y="53"/>
                      </a:lnTo>
                      <a:lnTo>
                        <a:pt x="312" y="46"/>
                      </a:lnTo>
                      <a:lnTo>
                        <a:pt x="310" y="41"/>
                      </a:lnTo>
                      <a:lnTo>
                        <a:pt x="307" y="35"/>
                      </a:lnTo>
                      <a:lnTo>
                        <a:pt x="303" y="30"/>
                      </a:lnTo>
                      <a:lnTo>
                        <a:pt x="300" y="28"/>
                      </a:lnTo>
                      <a:lnTo>
                        <a:pt x="296" y="28"/>
                      </a:lnTo>
                      <a:lnTo>
                        <a:pt x="296" y="28"/>
                      </a:lnTo>
                      <a:lnTo>
                        <a:pt x="263" y="22"/>
                      </a:lnTo>
                      <a:lnTo>
                        <a:pt x="244" y="20"/>
                      </a:lnTo>
                      <a:lnTo>
                        <a:pt x="224" y="20"/>
                      </a:lnTo>
                      <a:lnTo>
                        <a:pt x="215" y="21"/>
                      </a:lnTo>
                      <a:lnTo>
                        <a:pt x="206" y="23"/>
                      </a:lnTo>
                      <a:lnTo>
                        <a:pt x="199" y="26"/>
                      </a:lnTo>
                      <a:lnTo>
                        <a:pt x="192" y="30"/>
                      </a:lnTo>
                      <a:lnTo>
                        <a:pt x="186" y="35"/>
                      </a:lnTo>
                      <a:lnTo>
                        <a:pt x="183" y="42"/>
                      </a:lnTo>
                      <a:lnTo>
                        <a:pt x="181" y="51"/>
                      </a:lnTo>
                      <a:lnTo>
                        <a:pt x="181" y="61"/>
                      </a:lnTo>
                      <a:lnTo>
                        <a:pt x="181" y="61"/>
                      </a:lnTo>
                      <a:lnTo>
                        <a:pt x="152" y="58"/>
                      </a:lnTo>
                      <a:lnTo>
                        <a:pt x="138" y="58"/>
                      </a:lnTo>
                      <a:lnTo>
                        <a:pt x="126" y="59"/>
                      </a:lnTo>
                      <a:lnTo>
                        <a:pt x="121" y="60"/>
                      </a:lnTo>
                      <a:lnTo>
                        <a:pt x="116" y="64"/>
                      </a:lnTo>
                      <a:lnTo>
                        <a:pt x="111" y="66"/>
                      </a:lnTo>
                      <a:lnTo>
                        <a:pt x="108" y="70"/>
                      </a:lnTo>
                      <a:lnTo>
                        <a:pt x="106" y="76"/>
                      </a:lnTo>
                      <a:lnTo>
                        <a:pt x="103" y="82"/>
                      </a:lnTo>
                      <a:lnTo>
                        <a:pt x="102" y="89"/>
                      </a:lnTo>
                      <a:lnTo>
                        <a:pt x="102" y="98"/>
                      </a:lnTo>
                      <a:lnTo>
                        <a:pt x="102" y="98"/>
                      </a:lnTo>
                      <a:lnTo>
                        <a:pt x="102" y="104"/>
                      </a:lnTo>
                      <a:lnTo>
                        <a:pt x="100" y="110"/>
                      </a:lnTo>
                      <a:lnTo>
                        <a:pt x="98" y="113"/>
                      </a:lnTo>
                      <a:lnTo>
                        <a:pt x="94" y="117"/>
                      </a:lnTo>
                      <a:lnTo>
                        <a:pt x="90" y="119"/>
                      </a:lnTo>
                      <a:lnTo>
                        <a:pt x="84" y="121"/>
                      </a:lnTo>
                      <a:lnTo>
                        <a:pt x="78" y="122"/>
                      </a:lnTo>
                      <a:lnTo>
                        <a:pt x="72" y="122"/>
                      </a:lnTo>
                      <a:lnTo>
                        <a:pt x="59" y="121"/>
                      </a:lnTo>
                      <a:lnTo>
                        <a:pt x="46" y="117"/>
                      </a:lnTo>
                      <a:lnTo>
                        <a:pt x="35" y="111"/>
                      </a:lnTo>
                      <a:lnTo>
                        <a:pt x="31" y="108"/>
                      </a:lnTo>
                      <a:lnTo>
                        <a:pt x="26" y="104"/>
                      </a:lnTo>
                      <a:lnTo>
                        <a:pt x="26" y="104"/>
                      </a:lnTo>
                      <a:lnTo>
                        <a:pt x="21" y="114"/>
                      </a:lnTo>
                      <a:lnTo>
                        <a:pt x="17" y="123"/>
                      </a:lnTo>
                      <a:lnTo>
                        <a:pt x="14" y="133"/>
                      </a:lnTo>
                      <a:lnTo>
                        <a:pt x="12" y="140"/>
                      </a:lnTo>
                      <a:lnTo>
                        <a:pt x="14" y="145"/>
                      </a:lnTo>
                      <a:lnTo>
                        <a:pt x="15" y="151"/>
                      </a:lnTo>
                      <a:lnTo>
                        <a:pt x="18" y="156"/>
                      </a:lnTo>
                      <a:lnTo>
                        <a:pt x="22" y="160"/>
                      </a:lnTo>
                      <a:lnTo>
                        <a:pt x="27" y="163"/>
                      </a:lnTo>
                      <a:lnTo>
                        <a:pt x="33" y="165"/>
                      </a:lnTo>
                      <a:lnTo>
                        <a:pt x="40" y="167"/>
                      </a:lnTo>
                      <a:lnTo>
                        <a:pt x="48" y="168"/>
                      </a:lnTo>
                      <a:lnTo>
                        <a:pt x="65" y="168"/>
                      </a:lnTo>
                      <a:lnTo>
                        <a:pt x="86" y="167"/>
                      </a:lnTo>
                      <a:lnTo>
                        <a:pt x="86" y="167"/>
                      </a:lnTo>
                      <a:lnTo>
                        <a:pt x="85" y="174"/>
                      </a:lnTo>
                      <a:lnTo>
                        <a:pt x="83" y="180"/>
                      </a:lnTo>
                      <a:lnTo>
                        <a:pt x="79" y="183"/>
                      </a:lnTo>
                      <a:lnTo>
                        <a:pt x="75" y="186"/>
                      </a:lnTo>
                      <a:lnTo>
                        <a:pt x="70" y="186"/>
                      </a:lnTo>
                      <a:lnTo>
                        <a:pt x="63" y="186"/>
                      </a:lnTo>
                      <a:lnTo>
                        <a:pt x="49" y="184"/>
                      </a:lnTo>
                      <a:lnTo>
                        <a:pt x="34" y="182"/>
                      </a:lnTo>
                      <a:lnTo>
                        <a:pt x="27" y="182"/>
                      </a:lnTo>
                      <a:lnTo>
                        <a:pt x="21" y="182"/>
                      </a:lnTo>
                      <a:lnTo>
                        <a:pt x="14" y="183"/>
                      </a:lnTo>
                      <a:lnTo>
                        <a:pt x="9" y="187"/>
                      </a:lnTo>
                      <a:lnTo>
                        <a:pt x="4" y="191"/>
                      </a:lnTo>
                      <a:lnTo>
                        <a:pt x="0" y="197"/>
                      </a:lnTo>
                      <a:lnTo>
                        <a:pt x="0" y="197"/>
                      </a:lnTo>
                      <a:lnTo>
                        <a:pt x="1" y="197"/>
                      </a:lnTo>
                      <a:lnTo>
                        <a:pt x="2" y="198"/>
                      </a:lnTo>
                      <a:lnTo>
                        <a:pt x="4" y="204"/>
                      </a:lnTo>
                      <a:lnTo>
                        <a:pt x="11" y="221"/>
                      </a:lnTo>
                      <a:lnTo>
                        <a:pt x="23" y="250"/>
                      </a:lnTo>
                      <a:lnTo>
                        <a:pt x="23" y="250"/>
                      </a:lnTo>
                      <a:lnTo>
                        <a:pt x="31" y="262"/>
                      </a:lnTo>
                      <a:lnTo>
                        <a:pt x="38" y="269"/>
                      </a:lnTo>
                      <a:lnTo>
                        <a:pt x="42" y="272"/>
                      </a:lnTo>
                      <a:lnTo>
                        <a:pt x="47" y="273"/>
                      </a:lnTo>
                      <a:lnTo>
                        <a:pt x="53" y="272"/>
                      </a:lnTo>
                      <a:lnTo>
                        <a:pt x="59" y="271"/>
                      </a:lnTo>
                      <a:lnTo>
                        <a:pt x="68" y="269"/>
                      </a:lnTo>
                      <a:lnTo>
                        <a:pt x="80" y="266"/>
                      </a:lnTo>
                      <a:lnTo>
                        <a:pt x="80" y="266"/>
                      </a:lnTo>
                      <a:lnTo>
                        <a:pt x="97" y="265"/>
                      </a:lnTo>
                      <a:lnTo>
                        <a:pt x="111" y="266"/>
                      </a:lnTo>
                      <a:lnTo>
                        <a:pt x="125" y="271"/>
                      </a:lnTo>
                      <a:lnTo>
                        <a:pt x="138" y="277"/>
                      </a:lnTo>
                      <a:lnTo>
                        <a:pt x="149" y="286"/>
                      </a:lnTo>
                      <a:lnTo>
                        <a:pt x="160" y="297"/>
                      </a:lnTo>
                      <a:lnTo>
                        <a:pt x="168" y="310"/>
                      </a:lnTo>
                      <a:lnTo>
                        <a:pt x="175" y="326"/>
                      </a:lnTo>
                      <a:lnTo>
                        <a:pt x="175" y="326"/>
                      </a:lnTo>
                      <a:lnTo>
                        <a:pt x="183" y="349"/>
                      </a:lnTo>
                      <a:lnTo>
                        <a:pt x="190" y="368"/>
                      </a:lnTo>
                      <a:lnTo>
                        <a:pt x="193" y="384"/>
                      </a:lnTo>
                      <a:lnTo>
                        <a:pt x="196" y="399"/>
                      </a:lnTo>
                      <a:lnTo>
                        <a:pt x="194" y="412"/>
                      </a:lnTo>
                      <a:lnTo>
                        <a:pt x="190" y="427"/>
                      </a:lnTo>
                      <a:lnTo>
                        <a:pt x="183" y="446"/>
                      </a:lnTo>
                      <a:lnTo>
                        <a:pt x="173" y="468"/>
                      </a:lnTo>
                      <a:lnTo>
                        <a:pt x="173" y="468"/>
                      </a:lnTo>
                      <a:lnTo>
                        <a:pt x="193" y="464"/>
                      </a:lnTo>
                      <a:lnTo>
                        <a:pt x="205" y="462"/>
                      </a:lnTo>
                      <a:lnTo>
                        <a:pt x="216" y="462"/>
                      </a:lnTo>
                      <a:lnTo>
                        <a:pt x="221" y="462"/>
                      </a:lnTo>
                      <a:lnTo>
                        <a:pt x="225" y="464"/>
                      </a:lnTo>
                      <a:lnTo>
                        <a:pt x="230" y="465"/>
                      </a:lnTo>
                      <a:lnTo>
                        <a:pt x="232" y="469"/>
                      </a:lnTo>
                      <a:lnTo>
                        <a:pt x="236" y="472"/>
                      </a:lnTo>
                      <a:lnTo>
                        <a:pt x="237" y="477"/>
                      </a:lnTo>
                      <a:lnTo>
                        <a:pt x="238" y="483"/>
                      </a:lnTo>
                      <a:lnTo>
                        <a:pt x="238" y="490"/>
                      </a:lnTo>
                      <a:lnTo>
                        <a:pt x="238" y="490"/>
                      </a:lnTo>
                      <a:lnTo>
                        <a:pt x="184" y="492"/>
                      </a:lnTo>
                      <a:lnTo>
                        <a:pt x="184" y="492"/>
                      </a:lnTo>
                      <a:lnTo>
                        <a:pt x="198" y="506"/>
                      </a:lnTo>
                      <a:lnTo>
                        <a:pt x="204" y="513"/>
                      </a:lnTo>
                      <a:lnTo>
                        <a:pt x="210" y="520"/>
                      </a:lnTo>
                      <a:lnTo>
                        <a:pt x="219" y="525"/>
                      </a:lnTo>
                      <a:lnTo>
                        <a:pt x="225" y="529"/>
                      </a:lnTo>
                      <a:lnTo>
                        <a:pt x="235" y="532"/>
                      </a:lnTo>
                      <a:lnTo>
                        <a:pt x="245" y="532"/>
                      </a:lnTo>
                      <a:lnTo>
                        <a:pt x="245" y="532"/>
                      </a:lnTo>
                      <a:lnTo>
                        <a:pt x="210" y="578"/>
                      </a:lnTo>
                      <a:lnTo>
                        <a:pt x="197" y="599"/>
                      </a:lnTo>
                      <a:lnTo>
                        <a:pt x="191" y="610"/>
                      </a:lnTo>
                      <a:lnTo>
                        <a:pt x="185" y="621"/>
                      </a:lnTo>
                      <a:lnTo>
                        <a:pt x="181" y="631"/>
                      </a:lnTo>
                      <a:lnTo>
                        <a:pt x="178" y="643"/>
                      </a:lnTo>
                      <a:lnTo>
                        <a:pt x="176" y="654"/>
                      </a:lnTo>
                      <a:lnTo>
                        <a:pt x="175" y="667"/>
                      </a:lnTo>
                      <a:lnTo>
                        <a:pt x="175" y="680"/>
                      </a:lnTo>
                      <a:lnTo>
                        <a:pt x="176" y="692"/>
                      </a:lnTo>
                      <a:lnTo>
                        <a:pt x="178" y="707"/>
                      </a:lnTo>
                      <a:lnTo>
                        <a:pt x="183" y="722"/>
                      </a:lnTo>
                      <a:lnTo>
                        <a:pt x="183" y="722"/>
                      </a:lnTo>
                      <a:lnTo>
                        <a:pt x="184" y="727"/>
                      </a:lnTo>
                      <a:lnTo>
                        <a:pt x="183" y="731"/>
                      </a:lnTo>
                      <a:lnTo>
                        <a:pt x="179" y="741"/>
                      </a:lnTo>
                      <a:lnTo>
                        <a:pt x="176" y="750"/>
                      </a:lnTo>
                      <a:lnTo>
                        <a:pt x="175" y="754"/>
                      </a:lnTo>
                      <a:lnTo>
                        <a:pt x="176" y="759"/>
                      </a:lnTo>
                      <a:lnTo>
                        <a:pt x="176" y="759"/>
                      </a:lnTo>
                      <a:lnTo>
                        <a:pt x="179" y="774"/>
                      </a:lnTo>
                      <a:lnTo>
                        <a:pt x="183" y="789"/>
                      </a:lnTo>
                      <a:lnTo>
                        <a:pt x="187" y="804"/>
                      </a:lnTo>
                      <a:lnTo>
                        <a:pt x="191" y="811"/>
                      </a:lnTo>
                      <a:lnTo>
                        <a:pt x="194" y="817"/>
                      </a:lnTo>
                      <a:lnTo>
                        <a:pt x="194" y="817"/>
                      </a:lnTo>
                      <a:lnTo>
                        <a:pt x="200" y="827"/>
                      </a:lnTo>
                      <a:lnTo>
                        <a:pt x="207" y="836"/>
                      </a:lnTo>
                      <a:lnTo>
                        <a:pt x="215" y="845"/>
                      </a:lnTo>
                      <a:lnTo>
                        <a:pt x="223" y="852"/>
                      </a:lnTo>
                      <a:lnTo>
                        <a:pt x="232" y="857"/>
                      </a:lnTo>
                      <a:lnTo>
                        <a:pt x="237" y="858"/>
                      </a:lnTo>
                      <a:lnTo>
                        <a:pt x="243" y="859"/>
                      </a:lnTo>
                      <a:lnTo>
                        <a:pt x="247" y="859"/>
                      </a:lnTo>
                      <a:lnTo>
                        <a:pt x="253" y="858"/>
                      </a:lnTo>
                      <a:lnTo>
                        <a:pt x="259" y="856"/>
                      </a:lnTo>
                      <a:lnTo>
                        <a:pt x="265" y="853"/>
                      </a:lnTo>
                      <a:lnTo>
                        <a:pt x="265" y="853"/>
                      </a:lnTo>
                      <a:lnTo>
                        <a:pt x="263" y="867"/>
                      </a:lnTo>
                      <a:lnTo>
                        <a:pt x="265" y="878"/>
                      </a:lnTo>
                      <a:lnTo>
                        <a:pt x="268" y="887"/>
                      </a:lnTo>
                      <a:lnTo>
                        <a:pt x="274" y="895"/>
                      </a:lnTo>
                      <a:lnTo>
                        <a:pt x="281" y="899"/>
                      </a:lnTo>
                      <a:lnTo>
                        <a:pt x="290" y="904"/>
                      </a:lnTo>
                      <a:lnTo>
                        <a:pt x="300" y="905"/>
                      </a:lnTo>
                      <a:lnTo>
                        <a:pt x="313" y="905"/>
                      </a:lnTo>
                      <a:lnTo>
                        <a:pt x="313" y="905"/>
                      </a:lnTo>
                      <a:lnTo>
                        <a:pt x="315" y="904"/>
                      </a:lnTo>
                      <a:lnTo>
                        <a:pt x="319" y="902"/>
                      </a:lnTo>
                      <a:lnTo>
                        <a:pt x="321" y="898"/>
                      </a:lnTo>
                      <a:lnTo>
                        <a:pt x="323" y="894"/>
                      </a:lnTo>
                      <a:lnTo>
                        <a:pt x="327" y="882"/>
                      </a:lnTo>
                      <a:lnTo>
                        <a:pt x="330" y="870"/>
                      </a:lnTo>
                      <a:lnTo>
                        <a:pt x="335" y="842"/>
                      </a:lnTo>
                      <a:lnTo>
                        <a:pt x="337" y="832"/>
                      </a:lnTo>
                      <a:lnTo>
                        <a:pt x="341" y="823"/>
                      </a:lnTo>
                      <a:lnTo>
                        <a:pt x="341" y="823"/>
                      </a:lnTo>
                      <a:lnTo>
                        <a:pt x="347" y="811"/>
                      </a:lnTo>
                      <a:lnTo>
                        <a:pt x="354" y="799"/>
                      </a:lnTo>
                      <a:lnTo>
                        <a:pt x="362" y="789"/>
                      </a:lnTo>
                      <a:lnTo>
                        <a:pt x="371" y="780"/>
                      </a:lnTo>
                      <a:lnTo>
                        <a:pt x="379" y="772"/>
                      </a:lnTo>
                      <a:lnTo>
                        <a:pt x="388" y="764"/>
                      </a:lnTo>
                      <a:lnTo>
                        <a:pt x="397" y="757"/>
                      </a:lnTo>
                      <a:lnTo>
                        <a:pt x="407" y="750"/>
                      </a:lnTo>
                      <a:lnTo>
                        <a:pt x="428" y="738"/>
                      </a:lnTo>
                      <a:lnTo>
                        <a:pt x="450" y="728"/>
                      </a:lnTo>
                      <a:lnTo>
                        <a:pt x="498" y="708"/>
                      </a:lnTo>
                      <a:lnTo>
                        <a:pt x="498" y="708"/>
                      </a:lnTo>
                      <a:lnTo>
                        <a:pt x="549" y="646"/>
                      </a:lnTo>
                      <a:lnTo>
                        <a:pt x="549" y="646"/>
                      </a:lnTo>
                      <a:lnTo>
                        <a:pt x="551" y="644"/>
                      </a:lnTo>
                      <a:lnTo>
                        <a:pt x="554" y="643"/>
                      </a:lnTo>
                      <a:lnTo>
                        <a:pt x="559" y="642"/>
                      </a:lnTo>
                      <a:lnTo>
                        <a:pt x="567" y="642"/>
                      </a:lnTo>
                      <a:lnTo>
                        <a:pt x="577" y="643"/>
                      </a:lnTo>
                      <a:lnTo>
                        <a:pt x="595" y="647"/>
                      </a:lnTo>
                      <a:lnTo>
                        <a:pt x="603" y="648"/>
                      </a:lnTo>
                      <a:lnTo>
                        <a:pt x="611" y="648"/>
                      </a:lnTo>
                      <a:lnTo>
                        <a:pt x="611" y="648"/>
                      </a:lnTo>
                      <a:lnTo>
                        <a:pt x="624" y="648"/>
                      </a:lnTo>
                      <a:lnTo>
                        <a:pt x="634" y="646"/>
                      </a:lnTo>
                      <a:lnTo>
                        <a:pt x="642" y="644"/>
                      </a:lnTo>
                      <a:lnTo>
                        <a:pt x="650" y="639"/>
                      </a:lnTo>
                      <a:lnTo>
                        <a:pt x="656" y="635"/>
                      </a:lnTo>
                      <a:lnTo>
                        <a:pt x="663" y="628"/>
                      </a:lnTo>
                      <a:lnTo>
                        <a:pt x="680" y="610"/>
                      </a:lnTo>
                      <a:lnTo>
                        <a:pt x="680" y="6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3" name="Freeform 332"/>
                <p:cNvSpPr>
                  <a:spLocks/>
                </p:cNvSpPr>
                <p:nvPr/>
              </p:nvSpPr>
              <p:spPr bwMode="auto">
                <a:xfrm>
                  <a:off x="3267075" y="468313"/>
                  <a:ext cx="12700" cy="11113"/>
                </a:xfrm>
                <a:custGeom>
                  <a:avLst/>
                  <a:gdLst>
                    <a:gd name="T0" fmla="*/ 9 w 59"/>
                    <a:gd name="T1" fmla="*/ 29 h 52"/>
                    <a:gd name="T2" fmla="*/ 9 w 59"/>
                    <a:gd name="T3" fmla="*/ 29 h 52"/>
                    <a:gd name="T4" fmla="*/ 57 w 59"/>
                    <a:gd name="T5" fmla="*/ 52 h 52"/>
                    <a:gd name="T6" fmla="*/ 57 w 59"/>
                    <a:gd name="T7" fmla="*/ 52 h 52"/>
                    <a:gd name="T8" fmla="*/ 59 w 59"/>
                    <a:gd name="T9" fmla="*/ 30 h 52"/>
                    <a:gd name="T10" fmla="*/ 59 w 59"/>
                    <a:gd name="T11" fmla="*/ 22 h 52"/>
                    <a:gd name="T12" fmla="*/ 58 w 59"/>
                    <a:gd name="T13" fmla="*/ 16 h 52"/>
                    <a:gd name="T14" fmla="*/ 55 w 59"/>
                    <a:gd name="T15" fmla="*/ 12 h 52"/>
                    <a:gd name="T16" fmla="*/ 51 w 59"/>
                    <a:gd name="T17" fmla="*/ 8 h 52"/>
                    <a:gd name="T18" fmla="*/ 43 w 59"/>
                    <a:gd name="T19" fmla="*/ 5 h 52"/>
                    <a:gd name="T20" fmla="*/ 31 w 59"/>
                    <a:gd name="T21" fmla="*/ 1 h 52"/>
                    <a:gd name="T22" fmla="*/ 31 w 59"/>
                    <a:gd name="T23" fmla="*/ 1 h 52"/>
                    <a:gd name="T24" fmla="*/ 23 w 59"/>
                    <a:gd name="T25" fmla="*/ 0 h 52"/>
                    <a:gd name="T26" fmla="*/ 16 w 59"/>
                    <a:gd name="T27" fmla="*/ 0 h 52"/>
                    <a:gd name="T28" fmla="*/ 9 w 59"/>
                    <a:gd name="T29" fmla="*/ 2 h 52"/>
                    <a:gd name="T30" fmla="*/ 5 w 59"/>
                    <a:gd name="T31" fmla="*/ 5 h 52"/>
                    <a:gd name="T32" fmla="*/ 1 w 59"/>
                    <a:gd name="T33" fmla="*/ 9 h 52"/>
                    <a:gd name="T34" fmla="*/ 0 w 59"/>
                    <a:gd name="T35" fmla="*/ 13 h 52"/>
                    <a:gd name="T36" fmla="*/ 0 w 59"/>
                    <a:gd name="T37" fmla="*/ 15 h 52"/>
                    <a:gd name="T38" fmla="*/ 1 w 59"/>
                    <a:gd name="T39" fmla="*/ 19 h 52"/>
                    <a:gd name="T40" fmla="*/ 4 w 59"/>
                    <a:gd name="T41" fmla="*/ 21 h 52"/>
                    <a:gd name="T42" fmla="*/ 9 w 59"/>
                    <a:gd name="T43" fmla="*/ 29 h 52"/>
                    <a:gd name="T44" fmla="*/ 9 w 59"/>
                    <a:gd name="T45" fmla="*/ 2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 h="52">
                      <a:moveTo>
                        <a:pt x="9" y="29"/>
                      </a:moveTo>
                      <a:lnTo>
                        <a:pt x="9" y="29"/>
                      </a:lnTo>
                      <a:lnTo>
                        <a:pt x="57" y="52"/>
                      </a:lnTo>
                      <a:lnTo>
                        <a:pt x="57" y="52"/>
                      </a:lnTo>
                      <a:lnTo>
                        <a:pt x="59" y="30"/>
                      </a:lnTo>
                      <a:lnTo>
                        <a:pt x="59" y="22"/>
                      </a:lnTo>
                      <a:lnTo>
                        <a:pt x="58" y="16"/>
                      </a:lnTo>
                      <a:lnTo>
                        <a:pt x="55" y="12"/>
                      </a:lnTo>
                      <a:lnTo>
                        <a:pt x="51" y="8"/>
                      </a:lnTo>
                      <a:lnTo>
                        <a:pt x="43" y="5"/>
                      </a:lnTo>
                      <a:lnTo>
                        <a:pt x="31" y="1"/>
                      </a:lnTo>
                      <a:lnTo>
                        <a:pt x="31" y="1"/>
                      </a:lnTo>
                      <a:lnTo>
                        <a:pt x="23" y="0"/>
                      </a:lnTo>
                      <a:lnTo>
                        <a:pt x="16" y="0"/>
                      </a:lnTo>
                      <a:lnTo>
                        <a:pt x="9" y="2"/>
                      </a:lnTo>
                      <a:lnTo>
                        <a:pt x="5" y="5"/>
                      </a:lnTo>
                      <a:lnTo>
                        <a:pt x="1" y="9"/>
                      </a:lnTo>
                      <a:lnTo>
                        <a:pt x="0" y="13"/>
                      </a:lnTo>
                      <a:lnTo>
                        <a:pt x="0" y="15"/>
                      </a:lnTo>
                      <a:lnTo>
                        <a:pt x="1" y="19"/>
                      </a:lnTo>
                      <a:lnTo>
                        <a:pt x="4" y="21"/>
                      </a:lnTo>
                      <a:lnTo>
                        <a:pt x="9" y="29"/>
                      </a:lnTo>
                      <a:lnTo>
                        <a:pt x="9"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4" name="Freeform 333"/>
                <p:cNvSpPr>
                  <a:spLocks/>
                </p:cNvSpPr>
                <p:nvPr/>
              </p:nvSpPr>
              <p:spPr bwMode="auto">
                <a:xfrm>
                  <a:off x="3625850" y="1023938"/>
                  <a:ext cx="9525" cy="11113"/>
                </a:xfrm>
                <a:custGeom>
                  <a:avLst/>
                  <a:gdLst>
                    <a:gd name="T0" fmla="*/ 16 w 42"/>
                    <a:gd name="T1" fmla="*/ 0 h 51"/>
                    <a:gd name="T2" fmla="*/ 16 w 42"/>
                    <a:gd name="T3" fmla="*/ 0 h 51"/>
                    <a:gd name="T4" fmla="*/ 8 w 42"/>
                    <a:gd name="T5" fmla="*/ 10 h 51"/>
                    <a:gd name="T6" fmla="*/ 4 w 42"/>
                    <a:gd name="T7" fmla="*/ 16 h 51"/>
                    <a:gd name="T8" fmla="*/ 0 w 42"/>
                    <a:gd name="T9" fmla="*/ 22 h 51"/>
                    <a:gd name="T10" fmla="*/ 0 w 42"/>
                    <a:gd name="T11" fmla="*/ 22 h 51"/>
                    <a:gd name="T12" fmla="*/ 0 w 42"/>
                    <a:gd name="T13" fmla="*/ 29 h 51"/>
                    <a:gd name="T14" fmla="*/ 1 w 42"/>
                    <a:gd name="T15" fmla="*/ 36 h 51"/>
                    <a:gd name="T16" fmla="*/ 4 w 42"/>
                    <a:gd name="T17" fmla="*/ 51 h 51"/>
                    <a:gd name="T18" fmla="*/ 4 w 42"/>
                    <a:gd name="T19" fmla="*/ 51 h 51"/>
                    <a:gd name="T20" fmla="*/ 42 w 42"/>
                    <a:gd name="T21" fmla="*/ 20 h 51"/>
                    <a:gd name="T22" fmla="*/ 42 w 42"/>
                    <a:gd name="T23" fmla="*/ 20 h 51"/>
                    <a:gd name="T24" fmla="*/ 37 w 42"/>
                    <a:gd name="T25" fmla="*/ 14 h 51"/>
                    <a:gd name="T26" fmla="*/ 30 w 42"/>
                    <a:gd name="T27" fmla="*/ 8 h 51"/>
                    <a:gd name="T28" fmla="*/ 23 w 42"/>
                    <a:gd name="T29" fmla="*/ 4 h 51"/>
                    <a:gd name="T30" fmla="*/ 16 w 42"/>
                    <a:gd name="T31" fmla="*/ 0 h 51"/>
                    <a:gd name="T32" fmla="*/ 16 w 42"/>
                    <a:gd name="T33"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1">
                      <a:moveTo>
                        <a:pt x="16" y="0"/>
                      </a:moveTo>
                      <a:lnTo>
                        <a:pt x="16" y="0"/>
                      </a:lnTo>
                      <a:lnTo>
                        <a:pt x="8" y="10"/>
                      </a:lnTo>
                      <a:lnTo>
                        <a:pt x="4" y="16"/>
                      </a:lnTo>
                      <a:lnTo>
                        <a:pt x="0" y="22"/>
                      </a:lnTo>
                      <a:lnTo>
                        <a:pt x="0" y="22"/>
                      </a:lnTo>
                      <a:lnTo>
                        <a:pt x="0" y="29"/>
                      </a:lnTo>
                      <a:lnTo>
                        <a:pt x="1" y="36"/>
                      </a:lnTo>
                      <a:lnTo>
                        <a:pt x="4" y="51"/>
                      </a:lnTo>
                      <a:lnTo>
                        <a:pt x="4" y="51"/>
                      </a:lnTo>
                      <a:lnTo>
                        <a:pt x="42" y="20"/>
                      </a:lnTo>
                      <a:lnTo>
                        <a:pt x="42" y="20"/>
                      </a:lnTo>
                      <a:lnTo>
                        <a:pt x="37" y="14"/>
                      </a:lnTo>
                      <a:lnTo>
                        <a:pt x="30" y="8"/>
                      </a:lnTo>
                      <a:lnTo>
                        <a:pt x="23" y="4"/>
                      </a:lnTo>
                      <a:lnTo>
                        <a:pt x="16" y="0"/>
                      </a:lnTo>
                      <a:lnTo>
                        <a:pt x="1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5" name="Freeform 334"/>
                <p:cNvSpPr>
                  <a:spLocks/>
                </p:cNvSpPr>
                <p:nvPr/>
              </p:nvSpPr>
              <p:spPr bwMode="auto">
                <a:xfrm>
                  <a:off x="3613150" y="1030288"/>
                  <a:ext cx="11113" cy="6350"/>
                </a:xfrm>
                <a:custGeom>
                  <a:avLst/>
                  <a:gdLst>
                    <a:gd name="T0" fmla="*/ 3 w 45"/>
                    <a:gd name="T1" fmla="*/ 2 h 30"/>
                    <a:gd name="T2" fmla="*/ 3 w 45"/>
                    <a:gd name="T3" fmla="*/ 2 h 30"/>
                    <a:gd name="T4" fmla="*/ 0 w 45"/>
                    <a:gd name="T5" fmla="*/ 9 h 30"/>
                    <a:gd name="T6" fmla="*/ 0 w 45"/>
                    <a:gd name="T7" fmla="*/ 14 h 30"/>
                    <a:gd name="T8" fmla="*/ 0 w 45"/>
                    <a:gd name="T9" fmla="*/ 18 h 30"/>
                    <a:gd name="T10" fmla="*/ 2 w 45"/>
                    <a:gd name="T11" fmla="*/ 22 h 30"/>
                    <a:gd name="T12" fmla="*/ 3 w 45"/>
                    <a:gd name="T13" fmla="*/ 25 h 30"/>
                    <a:gd name="T14" fmla="*/ 5 w 45"/>
                    <a:gd name="T15" fmla="*/ 27 h 30"/>
                    <a:gd name="T16" fmla="*/ 8 w 45"/>
                    <a:gd name="T17" fmla="*/ 28 h 30"/>
                    <a:gd name="T18" fmla="*/ 12 w 45"/>
                    <a:gd name="T19" fmla="*/ 30 h 30"/>
                    <a:gd name="T20" fmla="*/ 20 w 45"/>
                    <a:gd name="T21" fmla="*/ 30 h 30"/>
                    <a:gd name="T22" fmla="*/ 29 w 45"/>
                    <a:gd name="T23" fmla="*/ 27 h 30"/>
                    <a:gd name="T24" fmla="*/ 37 w 45"/>
                    <a:gd name="T25" fmla="*/ 24 h 30"/>
                    <a:gd name="T26" fmla="*/ 45 w 45"/>
                    <a:gd name="T27" fmla="*/ 18 h 30"/>
                    <a:gd name="T28" fmla="*/ 45 w 45"/>
                    <a:gd name="T29" fmla="*/ 18 h 30"/>
                    <a:gd name="T30" fmla="*/ 42 w 45"/>
                    <a:gd name="T31" fmla="*/ 14 h 30"/>
                    <a:gd name="T32" fmla="*/ 37 w 45"/>
                    <a:gd name="T33" fmla="*/ 9 h 30"/>
                    <a:gd name="T34" fmla="*/ 33 w 45"/>
                    <a:gd name="T35" fmla="*/ 4 h 30"/>
                    <a:gd name="T36" fmla="*/ 27 w 45"/>
                    <a:gd name="T37" fmla="*/ 2 h 30"/>
                    <a:gd name="T38" fmla="*/ 21 w 45"/>
                    <a:gd name="T39" fmla="*/ 1 h 30"/>
                    <a:gd name="T40" fmla="*/ 15 w 45"/>
                    <a:gd name="T41" fmla="*/ 0 h 30"/>
                    <a:gd name="T42" fmla="*/ 10 w 45"/>
                    <a:gd name="T43" fmla="*/ 1 h 30"/>
                    <a:gd name="T44" fmla="*/ 3 w 45"/>
                    <a:gd name="T45" fmla="*/ 2 h 30"/>
                    <a:gd name="T46" fmla="*/ 3 w 45"/>
                    <a:gd name="T47"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 h="30">
                      <a:moveTo>
                        <a:pt x="3" y="2"/>
                      </a:moveTo>
                      <a:lnTo>
                        <a:pt x="3" y="2"/>
                      </a:lnTo>
                      <a:lnTo>
                        <a:pt x="0" y="9"/>
                      </a:lnTo>
                      <a:lnTo>
                        <a:pt x="0" y="14"/>
                      </a:lnTo>
                      <a:lnTo>
                        <a:pt x="0" y="18"/>
                      </a:lnTo>
                      <a:lnTo>
                        <a:pt x="2" y="22"/>
                      </a:lnTo>
                      <a:lnTo>
                        <a:pt x="3" y="25"/>
                      </a:lnTo>
                      <a:lnTo>
                        <a:pt x="5" y="27"/>
                      </a:lnTo>
                      <a:lnTo>
                        <a:pt x="8" y="28"/>
                      </a:lnTo>
                      <a:lnTo>
                        <a:pt x="12" y="30"/>
                      </a:lnTo>
                      <a:lnTo>
                        <a:pt x="20" y="30"/>
                      </a:lnTo>
                      <a:lnTo>
                        <a:pt x="29" y="27"/>
                      </a:lnTo>
                      <a:lnTo>
                        <a:pt x="37" y="24"/>
                      </a:lnTo>
                      <a:lnTo>
                        <a:pt x="45" y="18"/>
                      </a:lnTo>
                      <a:lnTo>
                        <a:pt x="45" y="18"/>
                      </a:lnTo>
                      <a:lnTo>
                        <a:pt x="42" y="14"/>
                      </a:lnTo>
                      <a:lnTo>
                        <a:pt x="37" y="9"/>
                      </a:lnTo>
                      <a:lnTo>
                        <a:pt x="33" y="4"/>
                      </a:lnTo>
                      <a:lnTo>
                        <a:pt x="27" y="2"/>
                      </a:lnTo>
                      <a:lnTo>
                        <a:pt x="21" y="1"/>
                      </a:lnTo>
                      <a:lnTo>
                        <a:pt x="15" y="0"/>
                      </a:lnTo>
                      <a:lnTo>
                        <a:pt x="10" y="1"/>
                      </a:lnTo>
                      <a:lnTo>
                        <a:pt x="3" y="2"/>
                      </a:lnTo>
                      <a:lnTo>
                        <a:pt x="3"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6" name="Freeform 335"/>
                <p:cNvSpPr>
                  <a:spLocks/>
                </p:cNvSpPr>
                <p:nvPr/>
              </p:nvSpPr>
              <p:spPr bwMode="auto">
                <a:xfrm>
                  <a:off x="3557588" y="976313"/>
                  <a:ext cx="42863" cy="77788"/>
                </a:xfrm>
                <a:custGeom>
                  <a:avLst/>
                  <a:gdLst>
                    <a:gd name="T0" fmla="*/ 107 w 189"/>
                    <a:gd name="T1" fmla="*/ 89 h 340"/>
                    <a:gd name="T2" fmla="*/ 100 w 189"/>
                    <a:gd name="T3" fmla="*/ 95 h 340"/>
                    <a:gd name="T4" fmla="*/ 90 w 189"/>
                    <a:gd name="T5" fmla="*/ 97 h 340"/>
                    <a:gd name="T6" fmla="*/ 64 w 189"/>
                    <a:gd name="T7" fmla="*/ 99 h 340"/>
                    <a:gd name="T8" fmla="*/ 45 w 189"/>
                    <a:gd name="T9" fmla="*/ 104 h 340"/>
                    <a:gd name="T10" fmla="*/ 36 w 189"/>
                    <a:gd name="T11" fmla="*/ 109 h 340"/>
                    <a:gd name="T12" fmla="*/ 31 w 189"/>
                    <a:gd name="T13" fmla="*/ 122 h 340"/>
                    <a:gd name="T14" fmla="*/ 30 w 189"/>
                    <a:gd name="T15" fmla="*/ 130 h 340"/>
                    <a:gd name="T16" fmla="*/ 34 w 189"/>
                    <a:gd name="T17" fmla="*/ 198 h 340"/>
                    <a:gd name="T18" fmla="*/ 30 w 189"/>
                    <a:gd name="T19" fmla="*/ 210 h 340"/>
                    <a:gd name="T20" fmla="*/ 21 w 189"/>
                    <a:gd name="T21" fmla="*/ 219 h 340"/>
                    <a:gd name="T22" fmla="*/ 6 w 189"/>
                    <a:gd name="T23" fmla="*/ 234 h 340"/>
                    <a:gd name="T24" fmla="*/ 3 w 189"/>
                    <a:gd name="T25" fmla="*/ 238 h 340"/>
                    <a:gd name="T26" fmla="*/ 0 w 189"/>
                    <a:gd name="T27" fmla="*/ 263 h 340"/>
                    <a:gd name="T28" fmla="*/ 5 w 189"/>
                    <a:gd name="T29" fmla="*/ 294 h 340"/>
                    <a:gd name="T30" fmla="*/ 17 w 189"/>
                    <a:gd name="T31" fmla="*/ 321 h 340"/>
                    <a:gd name="T32" fmla="*/ 26 w 189"/>
                    <a:gd name="T33" fmla="*/ 332 h 340"/>
                    <a:gd name="T34" fmla="*/ 36 w 189"/>
                    <a:gd name="T35" fmla="*/ 337 h 340"/>
                    <a:gd name="T36" fmla="*/ 44 w 189"/>
                    <a:gd name="T37" fmla="*/ 340 h 340"/>
                    <a:gd name="T38" fmla="*/ 59 w 189"/>
                    <a:gd name="T39" fmla="*/ 340 h 340"/>
                    <a:gd name="T40" fmla="*/ 72 w 189"/>
                    <a:gd name="T41" fmla="*/ 336 h 340"/>
                    <a:gd name="T42" fmla="*/ 82 w 189"/>
                    <a:gd name="T43" fmla="*/ 329 h 340"/>
                    <a:gd name="T44" fmla="*/ 91 w 189"/>
                    <a:gd name="T45" fmla="*/ 319 h 340"/>
                    <a:gd name="T46" fmla="*/ 97 w 189"/>
                    <a:gd name="T47" fmla="*/ 308 h 340"/>
                    <a:gd name="T48" fmla="*/ 100 w 189"/>
                    <a:gd name="T49" fmla="*/ 295 h 340"/>
                    <a:gd name="T50" fmla="*/ 100 w 189"/>
                    <a:gd name="T51" fmla="*/ 282 h 340"/>
                    <a:gd name="T52" fmla="*/ 100 w 189"/>
                    <a:gd name="T53" fmla="*/ 276 h 340"/>
                    <a:gd name="T54" fmla="*/ 100 w 189"/>
                    <a:gd name="T55" fmla="*/ 265 h 340"/>
                    <a:gd name="T56" fmla="*/ 105 w 189"/>
                    <a:gd name="T57" fmla="*/ 251 h 340"/>
                    <a:gd name="T58" fmla="*/ 122 w 189"/>
                    <a:gd name="T59" fmla="*/ 221 h 340"/>
                    <a:gd name="T60" fmla="*/ 157 w 189"/>
                    <a:gd name="T61" fmla="*/ 169 h 340"/>
                    <a:gd name="T62" fmla="*/ 164 w 189"/>
                    <a:gd name="T63" fmla="*/ 160 h 340"/>
                    <a:gd name="T64" fmla="*/ 169 w 189"/>
                    <a:gd name="T65" fmla="*/ 149 h 340"/>
                    <a:gd name="T66" fmla="*/ 167 w 189"/>
                    <a:gd name="T67" fmla="*/ 141 h 340"/>
                    <a:gd name="T68" fmla="*/ 164 w 189"/>
                    <a:gd name="T69" fmla="*/ 137 h 340"/>
                    <a:gd name="T70" fmla="*/ 158 w 189"/>
                    <a:gd name="T71" fmla="*/ 128 h 340"/>
                    <a:gd name="T72" fmla="*/ 157 w 189"/>
                    <a:gd name="T73" fmla="*/ 122 h 340"/>
                    <a:gd name="T74" fmla="*/ 160 w 189"/>
                    <a:gd name="T75" fmla="*/ 118 h 340"/>
                    <a:gd name="T76" fmla="*/ 171 w 189"/>
                    <a:gd name="T77" fmla="*/ 113 h 340"/>
                    <a:gd name="T78" fmla="*/ 183 w 189"/>
                    <a:gd name="T79" fmla="*/ 111 h 340"/>
                    <a:gd name="T80" fmla="*/ 186 w 189"/>
                    <a:gd name="T81" fmla="*/ 105 h 340"/>
                    <a:gd name="T82" fmla="*/ 189 w 189"/>
                    <a:gd name="T83" fmla="*/ 92 h 340"/>
                    <a:gd name="T84" fmla="*/ 188 w 189"/>
                    <a:gd name="T85" fmla="*/ 70 h 340"/>
                    <a:gd name="T86" fmla="*/ 181 w 189"/>
                    <a:gd name="T87" fmla="*/ 40 h 340"/>
                    <a:gd name="T88" fmla="*/ 166 w 189"/>
                    <a:gd name="T89" fmla="*/ 0 h 340"/>
                    <a:gd name="T90" fmla="*/ 160 w 189"/>
                    <a:gd name="T91" fmla="*/ 1 h 340"/>
                    <a:gd name="T92" fmla="*/ 151 w 189"/>
                    <a:gd name="T93" fmla="*/ 7 h 340"/>
                    <a:gd name="T94" fmla="*/ 138 w 189"/>
                    <a:gd name="T95" fmla="*/ 23 h 340"/>
                    <a:gd name="T96" fmla="*/ 118 w 189"/>
                    <a:gd name="T97" fmla="*/ 65 h 340"/>
                    <a:gd name="T98" fmla="*/ 107 w 189"/>
                    <a:gd name="T99" fmla="*/ 89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9" h="340">
                      <a:moveTo>
                        <a:pt x="107" y="89"/>
                      </a:moveTo>
                      <a:lnTo>
                        <a:pt x="107" y="89"/>
                      </a:lnTo>
                      <a:lnTo>
                        <a:pt x="104" y="92"/>
                      </a:lnTo>
                      <a:lnTo>
                        <a:pt x="100" y="95"/>
                      </a:lnTo>
                      <a:lnTo>
                        <a:pt x="96" y="96"/>
                      </a:lnTo>
                      <a:lnTo>
                        <a:pt x="90" y="97"/>
                      </a:lnTo>
                      <a:lnTo>
                        <a:pt x="77" y="98"/>
                      </a:lnTo>
                      <a:lnTo>
                        <a:pt x="64" y="99"/>
                      </a:lnTo>
                      <a:lnTo>
                        <a:pt x="51" y="101"/>
                      </a:lnTo>
                      <a:lnTo>
                        <a:pt x="45" y="104"/>
                      </a:lnTo>
                      <a:lnTo>
                        <a:pt x="39" y="106"/>
                      </a:lnTo>
                      <a:lnTo>
                        <a:pt x="36" y="109"/>
                      </a:lnTo>
                      <a:lnTo>
                        <a:pt x="32" y="115"/>
                      </a:lnTo>
                      <a:lnTo>
                        <a:pt x="31" y="122"/>
                      </a:lnTo>
                      <a:lnTo>
                        <a:pt x="30" y="130"/>
                      </a:lnTo>
                      <a:lnTo>
                        <a:pt x="30" y="130"/>
                      </a:lnTo>
                      <a:lnTo>
                        <a:pt x="34" y="198"/>
                      </a:lnTo>
                      <a:lnTo>
                        <a:pt x="34" y="198"/>
                      </a:lnTo>
                      <a:lnTo>
                        <a:pt x="32" y="204"/>
                      </a:lnTo>
                      <a:lnTo>
                        <a:pt x="30" y="210"/>
                      </a:lnTo>
                      <a:lnTo>
                        <a:pt x="26" y="214"/>
                      </a:lnTo>
                      <a:lnTo>
                        <a:pt x="21" y="219"/>
                      </a:lnTo>
                      <a:lnTo>
                        <a:pt x="9" y="228"/>
                      </a:lnTo>
                      <a:lnTo>
                        <a:pt x="6" y="234"/>
                      </a:lnTo>
                      <a:lnTo>
                        <a:pt x="3" y="238"/>
                      </a:lnTo>
                      <a:lnTo>
                        <a:pt x="3" y="238"/>
                      </a:lnTo>
                      <a:lnTo>
                        <a:pt x="0" y="249"/>
                      </a:lnTo>
                      <a:lnTo>
                        <a:pt x="0" y="263"/>
                      </a:lnTo>
                      <a:lnTo>
                        <a:pt x="1" y="278"/>
                      </a:lnTo>
                      <a:lnTo>
                        <a:pt x="5" y="294"/>
                      </a:lnTo>
                      <a:lnTo>
                        <a:pt x="11" y="308"/>
                      </a:lnTo>
                      <a:lnTo>
                        <a:pt x="17" y="321"/>
                      </a:lnTo>
                      <a:lnTo>
                        <a:pt x="21" y="327"/>
                      </a:lnTo>
                      <a:lnTo>
                        <a:pt x="26" y="332"/>
                      </a:lnTo>
                      <a:lnTo>
                        <a:pt x="30" y="335"/>
                      </a:lnTo>
                      <a:lnTo>
                        <a:pt x="36" y="337"/>
                      </a:lnTo>
                      <a:lnTo>
                        <a:pt x="36" y="337"/>
                      </a:lnTo>
                      <a:lnTo>
                        <a:pt x="44" y="340"/>
                      </a:lnTo>
                      <a:lnTo>
                        <a:pt x="52" y="340"/>
                      </a:lnTo>
                      <a:lnTo>
                        <a:pt x="59" y="340"/>
                      </a:lnTo>
                      <a:lnTo>
                        <a:pt x="65" y="339"/>
                      </a:lnTo>
                      <a:lnTo>
                        <a:pt x="72" y="336"/>
                      </a:lnTo>
                      <a:lnTo>
                        <a:pt x="77" y="333"/>
                      </a:lnTo>
                      <a:lnTo>
                        <a:pt x="82" y="329"/>
                      </a:lnTo>
                      <a:lnTo>
                        <a:pt x="87" y="325"/>
                      </a:lnTo>
                      <a:lnTo>
                        <a:pt x="91" y="319"/>
                      </a:lnTo>
                      <a:lnTo>
                        <a:pt x="95" y="313"/>
                      </a:lnTo>
                      <a:lnTo>
                        <a:pt x="97" y="308"/>
                      </a:lnTo>
                      <a:lnTo>
                        <a:pt x="99" y="302"/>
                      </a:lnTo>
                      <a:lnTo>
                        <a:pt x="100" y="295"/>
                      </a:lnTo>
                      <a:lnTo>
                        <a:pt x="102" y="289"/>
                      </a:lnTo>
                      <a:lnTo>
                        <a:pt x="100" y="282"/>
                      </a:lnTo>
                      <a:lnTo>
                        <a:pt x="100" y="276"/>
                      </a:lnTo>
                      <a:lnTo>
                        <a:pt x="100" y="276"/>
                      </a:lnTo>
                      <a:lnTo>
                        <a:pt x="99" y="271"/>
                      </a:lnTo>
                      <a:lnTo>
                        <a:pt x="100" y="265"/>
                      </a:lnTo>
                      <a:lnTo>
                        <a:pt x="103" y="258"/>
                      </a:lnTo>
                      <a:lnTo>
                        <a:pt x="105" y="251"/>
                      </a:lnTo>
                      <a:lnTo>
                        <a:pt x="112" y="236"/>
                      </a:lnTo>
                      <a:lnTo>
                        <a:pt x="122" y="221"/>
                      </a:lnTo>
                      <a:lnTo>
                        <a:pt x="142" y="192"/>
                      </a:lnTo>
                      <a:lnTo>
                        <a:pt x="157" y="169"/>
                      </a:lnTo>
                      <a:lnTo>
                        <a:pt x="157" y="169"/>
                      </a:lnTo>
                      <a:lnTo>
                        <a:pt x="164" y="160"/>
                      </a:lnTo>
                      <a:lnTo>
                        <a:pt x="168" y="152"/>
                      </a:lnTo>
                      <a:lnTo>
                        <a:pt x="169" y="149"/>
                      </a:lnTo>
                      <a:lnTo>
                        <a:pt x="169" y="145"/>
                      </a:lnTo>
                      <a:lnTo>
                        <a:pt x="167" y="141"/>
                      </a:lnTo>
                      <a:lnTo>
                        <a:pt x="164" y="137"/>
                      </a:lnTo>
                      <a:lnTo>
                        <a:pt x="164" y="137"/>
                      </a:lnTo>
                      <a:lnTo>
                        <a:pt x="160" y="133"/>
                      </a:lnTo>
                      <a:lnTo>
                        <a:pt x="158" y="128"/>
                      </a:lnTo>
                      <a:lnTo>
                        <a:pt x="157" y="124"/>
                      </a:lnTo>
                      <a:lnTo>
                        <a:pt x="157" y="122"/>
                      </a:lnTo>
                      <a:lnTo>
                        <a:pt x="158" y="120"/>
                      </a:lnTo>
                      <a:lnTo>
                        <a:pt x="160" y="118"/>
                      </a:lnTo>
                      <a:lnTo>
                        <a:pt x="165" y="114"/>
                      </a:lnTo>
                      <a:lnTo>
                        <a:pt x="171" y="113"/>
                      </a:lnTo>
                      <a:lnTo>
                        <a:pt x="176" y="112"/>
                      </a:lnTo>
                      <a:lnTo>
                        <a:pt x="183" y="111"/>
                      </a:lnTo>
                      <a:lnTo>
                        <a:pt x="183" y="111"/>
                      </a:lnTo>
                      <a:lnTo>
                        <a:pt x="186" y="105"/>
                      </a:lnTo>
                      <a:lnTo>
                        <a:pt x="188" y="99"/>
                      </a:lnTo>
                      <a:lnTo>
                        <a:pt x="189" y="92"/>
                      </a:lnTo>
                      <a:lnTo>
                        <a:pt x="189" y="85"/>
                      </a:lnTo>
                      <a:lnTo>
                        <a:pt x="188" y="70"/>
                      </a:lnTo>
                      <a:lnTo>
                        <a:pt x="184" y="55"/>
                      </a:lnTo>
                      <a:lnTo>
                        <a:pt x="181" y="40"/>
                      </a:lnTo>
                      <a:lnTo>
                        <a:pt x="175" y="25"/>
                      </a:lnTo>
                      <a:lnTo>
                        <a:pt x="166" y="0"/>
                      </a:lnTo>
                      <a:lnTo>
                        <a:pt x="166" y="0"/>
                      </a:lnTo>
                      <a:lnTo>
                        <a:pt x="160" y="1"/>
                      </a:lnTo>
                      <a:lnTo>
                        <a:pt x="156" y="4"/>
                      </a:lnTo>
                      <a:lnTo>
                        <a:pt x="151" y="7"/>
                      </a:lnTo>
                      <a:lnTo>
                        <a:pt x="146" y="12"/>
                      </a:lnTo>
                      <a:lnTo>
                        <a:pt x="138" y="23"/>
                      </a:lnTo>
                      <a:lnTo>
                        <a:pt x="131" y="37"/>
                      </a:lnTo>
                      <a:lnTo>
                        <a:pt x="118" y="65"/>
                      </a:lnTo>
                      <a:lnTo>
                        <a:pt x="112" y="78"/>
                      </a:lnTo>
                      <a:lnTo>
                        <a:pt x="107" y="89"/>
                      </a:lnTo>
                      <a:lnTo>
                        <a:pt x="107" y="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7" name="Freeform 336"/>
                <p:cNvSpPr>
                  <a:spLocks/>
                </p:cNvSpPr>
                <p:nvPr/>
              </p:nvSpPr>
              <p:spPr bwMode="auto">
                <a:xfrm>
                  <a:off x="3565525" y="974725"/>
                  <a:ext cx="12700" cy="9525"/>
                </a:xfrm>
                <a:custGeom>
                  <a:avLst/>
                  <a:gdLst>
                    <a:gd name="T0" fmla="*/ 0 w 58"/>
                    <a:gd name="T1" fmla="*/ 1 h 45"/>
                    <a:gd name="T2" fmla="*/ 0 w 58"/>
                    <a:gd name="T3" fmla="*/ 1 h 45"/>
                    <a:gd name="T4" fmla="*/ 1 w 58"/>
                    <a:gd name="T5" fmla="*/ 7 h 45"/>
                    <a:gd name="T6" fmla="*/ 4 w 58"/>
                    <a:gd name="T7" fmla="*/ 11 h 45"/>
                    <a:gd name="T8" fmla="*/ 11 w 58"/>
                    <a:gd name="T9" fmla="*/ 23 h 45"/>
                    <a:gd name="T10" fmla="*/ 20 w 58"/>
                    <a:gd name="T11" fmla="*/ 32 h 45"/>
                    <a:gd name="T12" fmla="*/ 30 w 58"/>
                    <a:gd name="T13" fmla="*/ 40 h 45"/>
                    <a:gd name="T14" fmla="*/ 36 w 58"/>
                    <a:gd name="T15" fmla="*/ 43 h 45"/>
                    <a:gd name="T16" fmla="*/ 41 w 58"/>
                    <a:gd name="T17" fmla="*/ 45 h 45"/>
                    <a:gd name="T18" fmla="*/ 45 w 58"/>
                    <a:gd name="T19" fmla="*/ 45 h 45"/>
                    <a:gd name="T20" fmla="*/ 50 w 58"/>
                    <a:gd name="T21" fmla="*/ 43 h 45"/>
                    <a:gd name="T22" fmla="*/ 53 w 58"/>
                    <a:gd name="T23" fmla="*/ 40 h 45"/>
                    <a:gd name="T24" fmla="*/ 56 w 58"/>
                    <a:gd name="T25" fmla="*/ 35 h 45"/>
                    <a:gd name="T26" fmla="*/ 57 w 58"/>
                    <a:gd name="T27" fmla="*/ 28 h 45"/>
                    <a:gd name="T28" fmla="*/ 58 w 58"/>
                    <a:gd name="T29" fmla="*/ 19 h 45"/>
                    <a:gd name="T30" fmla="*/ 58 w 58"/>
                    <a:gd name="T31" fmla="*/ 19 h 45"/>
                    <a:gd name="T32" fmla="*/ 51 w 58"/>
                    <a:gd name="T33" fmla="*/ 20 h 45"/>
                    <a:gd name="T34" fmla="*/ 44 w 58"/>
                    <a:gd name="T35" fmla="*/ 20 h 45"/>
                    <a:gd name="T36" fmla="*/ 38 w 58"/>
                    <a:gd name="T37" fmla="*/ 21 h 45"/>
                    <a:gd name="T38" fmla="*/ 31 w 58"/>
                    <a:gd name="T39" fmla="*/ 23 h 45"/>
                    <a:gd name="T40" fmla="*/ 31 w 58"/>
                    <a:gd name="T41" fmla="*/ 23 h 45"/>
                    <a:gd name="T42" fmla="*/ 34 w 58"/>
                    <a:gd name="T43" fmla="*/ 17 h 45"/>
                    <a:gd name="T44" fmla="*/ 36 w 58"/>
                    <a:gd name="T45" fmla="*/ 11 h 45"/>
                    <a:gd name="T46" fmla="*/ 37 w 58"/>
                    <a:gd name="T47" fmla="*/ 5 h 45"/>
                    <a:gd name="T48" fmla="*/ 41 w 58"/>
                    <a:gd name="T49" fmla="*/ 0 h 45"/>
                    <a:gd name="T50" fmla="*/ 41 w 58"/>
                    <a:gd name="T51" fmla="*/ 0 h 45"/>
                    <a:gd name="T52" fmla="*/ 0 w 58"/>
                    <a:gd name="T53" fmla="*/ 1 h 45"/>
                    <a:gd name="T54" fmla="*/ 0 w 58"/>
                    <a:gd name="T55"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8" h="45">
                      <a:moveTo>
                        <a:pt x="0" y="1"/>
                      </a:moveTo>
                      <a:lnTo>
                        <a:pt x="0" y="1"/>
                      </a:lnTo>
                      <a:lnTo>
                        <a:pt x="1" y="7"/>
                      </a:lnTo>
                      <a:lnTo>
                        <a:pt x="4" y="11"/>
                      </a:lnTo>
                      <a:lnTo>
                        <a:pt x="11" y="23"/>
                      </a:lnTo>
                      <a:lnTo>
                        <a:pt x="20" y="32"/>
                      </a:lnTo>
                      <a:lnTo>
                        <a:pt x="30" y="40"/>
                      </a:lnTo>
                      <a:lnTo>
                        <a:pt x="36" y="43"/>
                      </a:lnTo>
                      <a:lnTo>
                        <a:pt x="41" y="45"/>
                      </a:lnTo>
                      <a:lnTo>
                        <a:pt x="45" y="45"/>
                      </a:lnTo>
                      <a:lnTo>
                        <a:pt x="50" y="43"/>
                      </a:lnTo>
                      <a:lnTo>
                        <a:pt x="53" y="40"/>
                      </a:lnTo>
                      <a:lnTo>
                        <a:pt x="56" y="35"/>
                      </a:lnTo>
                      <a:lnTo>
                        <a:pt x="57" y="28"/>
                      </a:lnTo>
                      <a:lnTo>
                        <a:pt x="58" y="19"/>
                      </a:lnTo>
                      <a:lnTo>
                        <a:pt x="58" y="19"/>
                      </a:lnTo>
                      <a:lnTo>
                        <a:pt x="51" y="20"/>
                      </a:lnTo>
                      <a:lnTo>
                        <a:pt x="44" y="20"/>
                      </a:lnTo>
                      <a:lnTo>
                        <a:pt x="38" y="21"/>
                      </a:lnTo>
                      <a:lnTo>
                        <a:pt x="31" y="23"/>
                      </a:lnTo>
                      <a:lnTo>
                        <a:pt x="31" y="23"/>
                      </a:lnTo>
                      <a:lnTo>
                        <a:pt x="34" y="17"/>
                      </a:lnTo>
                      <a:lnTo>
                        <a:pt x="36" y="11"/>
                      </a:lnTo>
                      <a:lnTo>
                        <a:pt x="37" y="5"/>
                      </a:lnTo>
                      <a:lnTo>
                        <a:pt x="41" y="0"/>
                      </a:lnTo>
                      <a:lnTo>
                        <a:pt x="41" y="0"/>
                      </a:lnTo>
                      <a:lnTo>
                        <a:pt x="0" y="1"/>
                      </a:lnTo>
                      <a:lnTo>
                        <a:pt x="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8" name="Freeform 337"/>
                <p:cNvSpPr>
                  <a:spLocks/>
                </p:cNvSpPr>
                <p:nvPr/>
              </p:nvSpPr>
              <p:spPr bwMode="auto">
                <a:xfrm>
                  <a:off x="3608388" y="950913"/>
                  <a:ext cx="7938" cy="7938"/>
                </a:xfrm>
                <a:custGeom>
                  <a:avLst/>
                  <a:gdLst>
                    <a:gd name="T0" fmla="*/ 36 w 36"/>
                    <a:gd name="T1" fmla="*/ 15 h 31"/>
                    <a:gd name="T2" fmla="*/ 36 w 36"/>
                    <a:gd name="T3" fmla="*/ 15 h 31"/>
                    <a:gd name="T4" fmla="*/ 22 w 36"/>
                    <a:gd name="T5" fmla="*/ 7 h 31"/>
                    <a:gd name="T6" fmla="*/ 14 w 36"/>
                    <a:gd name="T7" fmla="*/ 3 h 31"/>
                    <a:gd name="T8" fmla="*/ 7 w 36"/>
                    <a:gd name="T9" fmla="*/ 0 h 31"/>
                    <a:gd name="T10" fmla="*/ 7 w 36"/>
                    <a:gd name="T11" fmla="*/ 0 h 31"/>
                    <a:gd name="T12" fmla="*/ 4 w 36"/>
                    <a:gd name="T13" fmla="*/ 4 h 31"/>
                    <a:gd name="T14" fmla="*/ 2 w 36"/>
                    <a:gd name="T15" fmla="*/ 8 h 31"/>
                    <a:gd name="T16" fmla="*/ 0 w 36"/>
                    <a:gd name="T17" fmla="*/ 13 h 31"/>
                    <a:gd name="T18" fmla="*/ 0 w 36"/>
                    <a:gd name="T19" fmla="*/ 16 h 31"/>
                    <a:gd name="T20" fmla="*/ 2 w 36"/>
                    <a:gd name="T21" fmla="*/ 20 h 31"/>
                    <a:gd name="T22" fmla="*/ 3 w 36"/>
                    <a:gd name="T23" fmla="*/ 23 h 31"/>
                    <a:gd name="T24" fmla="*/ 5 w 36"/>
                    <a:gd name="T25" fmla="*/ 27 h 31"/>
                    <a:gd name="T26" fmla="*/ 8 w 36"/>
                    <a:gd name="T27" fmla="*/ 29 h 31"/>
                    <a:gd name="T28" fmla="*/ 11 w 36"/>
                    <a:gd name="T29" fmla="*/ 30 h 31"/>
                    <a:gd name="T30" fmla="*/ 14 w 36"/>
                    <a:gd name="T31" fmla="*/ 31 h 31"/>
                    <a:gd name="T32" fmla="*/ 18 w 36"/>
                    <a:gd name="T33" fmla="*/ 31 h 31"/>
                    <a:gd name="T34" fmla="*/ 22 w 36"/>
                    <a:gd name="T35" fmla="*/ 30 h 31"/>
                    <a:gd name="T36" fmla="*/ 26 w 36"/>
                    <a:gd name="T37" fmla="*/ 28 h 31"/>
                    <a:gd name="T38" fmla="*/ 29 w 36"/>
                    <a:gd name="T39" fmla="*/ 26 h 31"/>
                    <a:gd name="T40" fmla="*/ 33 w 36"/>
                    <a:gd name="T41" fmla="*/ 21 h 31"/>
                    <a:gd name="T42" fmla="*/ 36 w 36"/>
                    <a:gd name="T43" fmla="*/ 15 h 31"/>
                    <a:gd name="T44" fmla="*/ 36 w 36"/>
                    <a:gd name="T45"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31">
                      <a:moveTo>
                        <a:pt x="36" y="15"/>
                      </a:moveTo>
                      <a:lnTo>
                        <a:pt x="36" y="15"/>
                      </a:lnTo>
                      <a:lnTo>
                        <a:pt x="22" y="7"/>
                      </a:lnTo>
                      <a:lnTo>
                        <a:pt x="14" y="3"/>
                      </a:lnTo>
                      <a:lnTo>
                        <a:pt x="7" y="0"/>
                      </a:lnTo>
                      <a:lnTo>
                        <a:pt x="7" y="0"/>
                      </a:lnTo>
                      <a:lnTo>
                        <a:pt x="4" y="4"/>
                      </a:lnTo>
                      <a:lnTo>
                        <a:pt x="2" y="8"/>
                      </a:lnTo>
                      <a:lnTo>
                        <a:pt x="0" y="13"/>
                      </a:lnTo>
                      <a:lnTo>
                        <a:pt x="0" y="16"/>
                      </a:lnTo>
                      <a:lnTo>
                        <a:pt x="2" y="20"/>
                      </a:lnTo>
                      <a:lnTo>
                        <a:pt x="3" y="23"/>
                      </a:lnTo>
                      <a:lnTo>
                        <a:pt x="5" y="27"/>
                      </a:lnTo>
                      <a:lnTo>
                        <a:pt x="8" y="29"/>
                      </a:lnTo>
                      <a:lnTo>
                        <a:pt x="11" y="30"/>
                      </a:lnTo>
                      <a:lnTo>
                        <a:pt x="14" y="31"/>
                      </a:lnTo>
                      <a:lnTo>
                        <a:pt x="18" y="31"/>
                      </a:lnTo>
                      <a:lnTo>
                        <a:pt x="22" y="30"/>
                      </a:lnTo>
                      <a:lnTo>
                        <a:pt x="26" y="28"/>
                      </a:lnTo>
                      <a:lnTo>
                        <a:pt x="29" y="26"/>
                      </a:lnTo>
                      <a:lnTo>
                        <a:pt x="33" y="21"/>
                      </a:lnTo>
                      <a:lnTo>
                        <a:pt x="36" y="15"/>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9" name="Freeform 338"/>
                <p:cNvSpPr>
                  <a:spLocks/>
                </p:cNvSpPr>
                <p:nvPr/>
              </p:nvSpPr>
              <p:spPr bwMode="auto">
                <a:xfrm>
                  <a:off x="3621088" y="935038"/>
                  <a:ext cx="9525" cy="9525"/>
                </a:xfrm>
                <a:custGeom>
                  <a:avLst/>
                  <a:gdLst>
                    <a:gd name="T0" fmla="*/ 40 w 40"/>
                    <a:gd name="T1" fmla="*/ 41 h 44"/>
                    <a:gd name="T2" fmla="*/ 40 w 40"/>
                    <a:gd name="T3" fmla="*/ 41 h 44"/>
                    <a:gd name="T4" fmla="*/ 24 w 40"/>
                    <a:gd name="T5" fmla="*/ 0 h 44"/>
                    <a:gd name="T6" fmla="*/ 24 w 40"/>
                    <a:gd name="T7" fmla="*/ 0 h 44"/>
                    <a:gd name="T8" fmla="*/ 11 w 40"/>
                    <a:gd name="T9" fmla="*/ 8 h 44"/>
                    <a:gd name="T10" fmla="*/ 4 w 40"/>
                    <a:gd name="T11" fmla="*/ 12 h 44"/>
                    <a:gd name="T12" fmla="*/ 0 w 40"/>
                    <a:gd name="T13" fmla="*/ 17 h 44"/>
                    <a:gd name="T14" fmla="*/ 0 w 40"/>
                    <a:gd name="T15" fmla="*/ 17 h 44"/>
                    <a:gd name="T16" fmla="*/ 2 w 40"/>
                    <a:gd name="T17" fmla="*/ 24 h 44"/>
                    <a:gd name="T18" fmla="*/ 5 w 40"/>
                    <a:gd name="T19" fmla="*/ 31 h 44"/>
                    <a:gd name="T20" fmla="*/ 10 w 40"/>
                    <a:gd name="T21" fmla="*/ 35 h 44"/>
                    <a:gd name="T22" fmla="*/ 14 w 40"/>
                    <a:gd name="T23" fmla="*/ 39 h 44"/>
                    <a:gd name="T24" fmla="*/ 20 w 40"/>
                    <a:gd name="T25" fmla="*/ 41 h 44"/>
                    <a:gd name="T26" fmla="*/ 26 w 40"/>
                    <a:gd name="T27" fmla="*/ 44 h 44"/>
                    <a:gd name="T28" fmla="*/ 33 w 40"/>
                    <a:gd name="T29" fmla="*/ 44 h 44"/>
                    <a:gd name="T30" fmla="*/ 40 w 40"/>
                    <a:gd name="T31" fmla="*/ 41 h 44"/>
                    <a:gd name="T32" fmla="*/ 40 w 40"/>
                    <a:gd name="T33"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44">
                      <a:moveTo>
                        <a:pt x="40" y="41"/>
                      </a:moveTo>
                      <a:lnTo>
                        <a:pt x="40" y="41"/>
                      </a:lnTo>
                      <a:lnTo>
                        <a:pt x="24" y="0"/>
                      </a:lnTo>
                      <a:lnTo>
                        <a:pt x="24" y="0"/>
                      </a:lnTo>
                      <a:lnTo>
                        <a:pt x="11" y="8"/>
                      </a:lnTo>
                      <a:lnTo>
                        <a:pt x="4" y="12"/>
                      </a:lnTo>
                      <a:lnTo>
                        <a:pt x="0" y="17"/>
                      </a:lnTo>
                      <a:lnTo>
                        <a:pt x="0" y="17"/>
                      </a:lnTo>
                      <a:lnTo>
                        <a:pt x="2" y="24"/>
                      </a:lnTo>
                      <a:lnTo>
                        <a:pt x="5" y="31"/>
                      </a:lnTo>
                      <a:lnTo>
                        <a:pt x="10" y="35"/>
                      </a:lnTo>
                      <a:lnTo>
                        <a:pt x="14" y="39"/>
                      </a:lnTo>
                      <a:lnTo>
                        <a:pt x="20" y="41"/>
                      </a:lnTo>
                      <a:lnTo>
                        <a:pt x="26" y="44"/>
                      </a:lnTo>
                      <a:lnTo>
                        <a:pt x="33" y="44"/>
                      </a:lnTo>
                      <a:lnTo>
                        <a:pt x="40" y="41"/>
                      </a:lnTo>
                      <a:lnTo>
                        <a:pt x="4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0" name="Freeform 339"/>
                <p:cNvSpPr>
                  <a:spLocks/>
                </p:cNvSpPr>
                <p:nvPr/>
              </p:nvSpPr>
              <p:spPr bwMode="auto">
                <a:xfrm>
                  <a:off x="3624263" y="944563"/>
                  <a:ext cx="7938" cy="7938"/>
                </a:xfrm>
                <a:custGeom>
                  <a:avLst/>
                  <a:gdLst>
                    <a:gd name="T0" fmla="*/ 29 w 33"/>
                    <a:gd name="T1" fmla="*/ 34 h 34"/>
                    <a:gd name="T2" fmla="*/ 29 w 33"/>
                    <a:gd name="T3" fmla="*/ 34 h 34"/>
                    <a:gd name="T4" fmla="*/ 32 w 33"/>
                    <a:gd name="T5" fmla="*/ 24 h 34"/>
                    <a:gd name="T6" fmla="*/ 33 w 33"/>
                    <a:gd name="T7" fmla="*/ 16 h 34"/>
                    <a:gd name="T8" fmla="*/ 32 w 33"/>
                    <a:gd name="T9" fmla="*/ 10 h 34"/>
                    <a:gd name="T10" fmla="*/ 29 w 33"/>
                    <a:gd name="T11" fmla="*/ 6 h 34"/>
                    <a:gd name="T12" fmla="*/ 27 w 33"/>
                    <a:gd name="T13" fmla="*/ 2 h 34"/>
                    <a:gd name="T14" fmla="*/ 23 w 33"/>
                    <a:gd name="T15" fmla="*/ 0 h 34"/>
                    <a:gd name="T16" fmla="*/ 19 w 33"/>
                    <a:gd name="T17" fmla="*/ 0 h 34"/>
                    <a:gd name="T18" fmla="*/ 14 w 33"/>
                    <a:gd name="T19" fmla="*/ 0 h 34"/>
                    <a:gd name="T20" fmla="*/ 11 w 33"/>
                    <a:gd name="T21" fmla="*/ 2 h 34"/>
                    <a:gd name="T22" fmla="*/ 7 w 33"/>
                    <a:gd name="T23" fmla="*/ 4 h 34"/>
                    <a:gd name="T24" fmla="*/ 4 w 33"/>
                    <a:gd name="T25" fmla="*/ 8 h 34"/>
                    <a:gd name="T26" fmla="*/ 2 w 33"/>
                    <a:gd name="T27" fmla="*/ 11 h 34"/>
                    <a:gd name="T28" fmla="*/ 0 w 33"/>
                    <a:gd name="T29" fmla="*/ 16 h 34"/>
                    <a:gd name="T30" fmla="*/ 2 w 33"/>
                    <a:gd name="T31" fmla="*/ 21 h 34"/>
                    <a:gd name="T32" fmla="*/ 3 w 33"/>
                    <a:gd name="T33" fmla="*/ 25 h 34"/>
                    <a:gd name="T34" fmla="*/ 7 w 33"/>
                    <a:gd name="T35" fmla="*/ 30 h 34"/>
                    <a:gd name="T36" fmla="*/ 7 w 33"/>
                    <a:gd name="T37" fmla="*/ 30 h 34"/>
                    <a:gd name="T38" fmla="*/ 29 w 33"/>
                    <a:gd name="T39" fmla="*/ 34 h 34"/>
                    <a:gd name="T40" fmla="*/ 29 w 33"/>
                    <a:gd name="T4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 h="34">
                      <a:moveTo>
                        <a:pt x="29" y="34"/>
                      </a:moveTo>
                      <a:lnTo>
                        <a:pt x="29" y="34"/>
                      </a:lnTo>
                      <a:lnTo>
                        <a:pt x="32" y="24"/>
                      </a:lnTo>
                      <a:lnTo>
                        <a:pt x="33" y="16"/>
                      </a:lnTo>
                      <a:lnTo>
                        <a:pt x="32" y="10"/>
                      </a:lnTo>
                      <a:lnTo>
                        <a:pt x="29" y="6"/>
                      </a:lnTo>
                      <a:lnTo>
                        <a:pt x="27" y="2"/>
                      </a:lnTo>
                      <a:lnTo>
                        <a:pt x="23" y="0"/>
                      </a:lnTo>
                      <a:lnTo>
                        <a:pt x="19" y="0"/>
                      </a:lnTo>
                      <a:lnTo>
                        <a:pt x="14" y="0"/>
                      </a:lnTo>
                      <a:lnTo>
                        <a:pt x="11" y="2"/>
                      </a:lnTo>
                      <a:lnTo>
                        <a:pt x="7" y="4"/>
                      </a:lnTo>
                      <a:lnTo>
                        <a:pt x="4" y="8"/>
                      </a:lnTo>
                      <a:lnTo>
                        <a:pt x="2" y="11"/>
                      </a:lnTo>
                      <a:lnTo>
                        <a:pt x="0" y="16"/>
                      </a:lnTo>
                      <a:lnTo>
                        <a:pt x="2" y="21"/>
                      </a:lnTo>
                      <a:lnTo>
                        <a:pt x="3" y="25"/>
                      </a:lnTo>
                      <a:lnTo>
                        <a:pt x="7" y="30"/>
                      </a:lnTo>
                      <a:lnTo>
                        <a:pt x="7" y="30"/>
                      </a:lnTo>
                      <a:lnTo>
                        <a:pt x="29" y="34"/>
                      </a:lnTo>
                      <a:lnTo>
                        <a:pt x="29"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1" name="Freeform 340"/>
                <p:cNvSpPr>
                  <a:spLocks/>
                </p:cNvSpPr>
                <p:nvPr/>
              </p:nvSpPr>
              <p:spPr bwMode="auto">
                <a:xfrm>
                  <a:off x="3198813" y="701675"/>
                  <a:ext cx="7938" cy="6350"/>
                </a:xfrm>
                <a:custGeom>
                  <a:avLst/>
                  <a:gdLst>
                    <a:gd name="T0" fmla="*/ 0 w 35"/>
                    <a:gd name="T1" fmla="*/ 15 h 34"/>
                    <a:gd name="T2" fmla="*/ 0 w 35"/>
                    <a:gd name="T3" fmla="*/ 15 h 34"/>
                    <a:gd name="T4" fmla="*/ 7 w 35"/>
                    <a:gd name="T5" fmla="*/ 21 h 34"/>
                    <a:gd name="T6" fmla="*/ 16 w 35"/>
                    <a:gd name="T7" fmla="*/ 26 h 34"/>
                    <a:gd name="T8" fmla="*/ 32 w 35"/>
                    <a:gd name="T9" fmla="*/ 34 h 34"/>
                    <a:gd name="T10" fmla="*/ 32 w 35"/>
                    <a:gd name="T11" fmla="*/ 34 h 34"/>
                    <a:gd name="T12" fmla="*/ 34 w 35"/>
                    <a:gd name="T13" fmla="*/ 28 h 34"/>
                    <a:gd name="T14" fmla="*/ 35 w 35"/>
                    <a:gd name="T15" fmla="*/ 23 h 34"/>
                    <a:gd name="T16" fmla="*/ 35 w 35"/>
                    <a:gd name="T17" fmla="*/ 18 h 34"/>
                    <a:gd name="T18" fmla="*/ 35 w 35"/>
                    <a:gd name="T19" fmla="*/ 14 h 34"/>
                    <a:gd name="T20" fmla="*/ 34 w 35"/>
                    <a:gd name="T21" fmla="*/ 10 h 34"/>
                    <a:gd name="T22" fmla="*/ 32 w 35"/>
                    <a:gd name="T23" fmla="*/ 6 h 34"/>
                    <a:gd name="T24" fmla="*/ 30 w 35"/>
                    <a:gd name="T25" fmla="*/ 4 h 34"/>
                    <a:gd name="T26" fmla="*/ 27 w 35"/>
                    <a:gd name="T27" fmla="*/ 1 h 34"/>
                    <a:gd name="T28" fmla="*/ 24 w 35"/>
                    <a:gd name="T29" fmla="*/ 0 h 34"/>
                    <a:gd name="T30" fmla="*/ 20 w 35"/>
                    <a:gd name="T31" fmla="*/ 0 h 34"/>
                    <a:gd name="T32" fmla="*/ 17 w 35"/>
                    <a:gd name="T33" fmla="*/ 0 h 34"/>
                    <a:gd name="T34" fmla="*/ 13 w 35"/>
                    <a:gd name="T35" fmla="*/ 1 h 34"/>
                    <a:gd name="T36" fmla="*/ 10 w 35"/>
                    <a:gd name="T37" fmla="*/ 3 h 34"/>
                    <a:gd name="T38" fmla="*/ 7 w 35"/>
                    <a:gd name="T39" fmla="*/ 6 h 34"/>
                    <a:gd name="T40" fmla="*/ 3 w 35"/>
                    <a:gd name="T41" fmla="*/ 11 h 34"/>
                    <a:gd name="T42" fmla="*/ 0 w 35"/>
                    <a:gd name="T43" fmla="*/ 15 h 34"/>
                    <a:gd name="T44" fmla="*/ 0 w 35"/>
                    <a:gd name="T45"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34">
                      <a:moveTo>
                        <a:pt x="0" y="15"/>
                      </a:moveTo>
                      <a:lnTo>
                        <a:pt x="0" y="15"/>
                      </a:lnTo>
                      <a:lnTo>
                        <a:pt x="7" y="21"/>
                      </a:lnTo>
                      <a:lnTo>
                        <a:pt x="16" y="26"/>
                      </a:lnTo>
                      <a:lnTo>
                        <a:pt x="32" y="34"/>
                      </a:lnTo>
                      <a:lnTo>
                        <a:pt x="32" y="34"/>
                      </a:lnTo>
                      <a:lnTo>
                        <a:pt x="34" y="28"/>
                      </a:lnTo>
                      <a:lnTo>
                        <a:pt x="35" y="23"/>
                      </a:lnTo>
                      <a:lnTo>
                        <a:pt x="35" y="18"/>
                      </a:lnTo>
                      <a:lnTo>
                        <a:pt x="35" y="14"/>
                      </a:lnTo>
                      <a:lnTo>
                        <a:pt x="34" y="10"/>
                      </a:lnTo>
                      <a:lnTo>
                        <a:pt x="32" y="6"/>
                      </a:lnTo>
                      <a:lnTo>
                        <a:pt x="30" y="4"/>
                      </a:lnTo>
                      <a:lnTo>
                        <a:pt x="27" y="1"/>
                      </a:lnTo>
                      <a:lnTo>
                        <a:pt x="24" y="0"/>
                      </a:lnTo>
                      <a:lnTo>
                        <a:pt x="20" y="0"/>
                      </a:lnTo>
                      <a:lnTo>
                        <a:pt x="17" y="0"/>
                      </a:lnTo>
                      <a:lnTo>
                        <a:pt x="13" y="1"/>
                      </a:lnTo>
                      <a:lnTo>
                        <a:pt x="10" y="3"/>
                      </a:lnTo>
                      <a:lnTo>
                        <a:pt x="7" y="6"/>
                      </a:lnTo>
                      <a:lnTo>
                        <a:pt x="3" y="11"/>
                      </a:lnTo>
                      <a:lnTo>
                        <a:pt x="0" y="15"/>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2" name="Freeform 341"/>
                <p:cNvSpPr>
                  <a:spLocks/>
                </p:cNvSpPr>
                <p:nvPr/>
              </p:nvSpPr>
              <p:spPr bwMode="auto">
                <a:xfrm>
                  <a:off x="3211513" y="700088"/>
                  <a:ext cx="9525" cy="14288"/>
                </a:xfrm>
                <a:custGeom>
                  <a:avLst/>
                  <a:gdLst>
                    <a:gd name="T0" fmla="*/ 0 w 48"/>
                    <a:gd name="T1" fmla="*/ 12 h 69"/>
                    <a:gd name="T2" fmla="*/ 0 w 48"/>
                    <a:gd name="T3" fmla="*/ 12 h 69"/>
                    <a:gd name="T4" fmla="*/ 8 w 48"/>
                    <a:gd name="T5" fmla="*/ 18 h 69"/>
                    <a:gd name="T6" fmla="*/ 14 w 48"/>
                    <a:gd name="T7" fmla="*/ 21 h 69"/>
                    <a:gd name="T8" fmla="*/ 19 w 48"/>
                    <a:gd name="T9" fmla="*/ 25 h 69"/>
                    <a:gd name="T10" fmla="*/ 27 w 48"/>
                    <a:gd name="T11" fmla="*/ 25 h 69"/>
                    <a:gd name="T12" fmla="*/ 27 w 48"/>
                    <a:gd name="T13" fmla="*/ 25 h 69"/>
                    <a:gd name="T14" fmla="*/ 24 w 48"/>
                    <a:gd name="T15" fmla="*/ 30 h 69"/>
                    <a:gd name="T16" fmla="*/ 22 w 48"/>
                    <a:gd name="T17" fmla="*/ 36 h 69"/>
                    <a:gd name="T18" fmla="*/ 19 w 48"/>
                    <a:gd name="T19" fmla="*/ 43 h 69"/>
                    <a:gd name="T20" fmla="*/ 19 w 48"/>
                    <a:gd name="T21" fmla="*/ 49 h 69"/>
                    <a:gd name="T22" fmla="*/ 21 w 48"/>
                    <a:gd name="T23" fmla="*/ 55 h 69"/>
                    <a:gd name="T24" fmla="*/ 23 w 48"/>
                    <a:gd name="T25" fmla="*/ 59 h 69"/>
                    <a:gd name="T26" fmla="*/ 26 w 48"/>
                    <a:gd name="T27" fmla="*/ 65 h 69"/>
                    <a:gd name="T28" fmla="*/ 31 w 48"/>
                    <a:gd name="T29" fmla="*/ 69 h 69"/>
                    <a:gd name="T30" fmla="*/ 31 w 48"/>
                    <a:gd name="T31" fmla="*/ 69 h 69"/>
                    <a:gd name="T32" fmla="*/ 39 w 48"/>
                    <a:gd name="T33" fmla="*/ 65 h 69"/>
                    <a:gd name="T34" fmla="*/ 45 w 48"/>
                    <a:gd name="T35" fmla="*/ 60 h 69"/>
                    <a:gd name="T36" fmla="*/ 47 w 48"/>
                    <a:gd name="T37" fmla="*/ 55 h 69"/>
                    <a:gd name="T38" fmla="*/ 47 w 48"/>
                    <a:gd name="T39" fmla="*/ 49 h 69"/>
                    <a:gd name="T40" fmla="*/ 45 w 48"/>
                    <a:gd name="T41" fmla="*/ 43 h 69"/>
                    <a:gd name="T42" fmla="*/ 41 w 48"/>
                    <a:gd name="T43" fmla="*/ 36 h 69"/>
                    <a:gd name="T44" fmla="*/ 36 w 48"/>
                    <a:gd name="T45" fmla="*/ 30 h 69"/>
                    <a:gd name="T46" fmla="*/ 30 w 48"/>
                    <a:gd name="T47" fmla="*/ 23 h 69"/>
                    <a:gd name="T48" fmla="*/ 30 w 48"/>
                    <a:gd name="T49" fmla="*/ 23 h 69"/>
                    <a:gd name="T50" fmla="*/ 48 w 48"/>
                    <a:gd name="T51" fmla="*/ 20 h 69"/>
                    <a:gd name="T52" fmla="*/ 48 w 48"/>
                    <a:gd name="T53" fmla="*/ 20 h 69"/>
                    <a:gd name="T54" fmla="*/ 42 w 48"/>
                    <a:gd name="T55" fmla="*/ 13 h 69"/>
                    <a:gd name="T56" fmla="*/ 37 w 48"/>
                    <a:gd name="T57" fmla="*/ 7 h 69"/>
                    <a:gd name="T58" fmla="*/ 31 w 48"/>
                    <a:gd name="T59" fmla="*/ 3 h 69"/>
                    <a:gd name="T60" fmla="*/ 25 w 48"/>
                    <a:gd name="T61" fmla="*/ 0 h 69"/>
                    <a:gd name="T62" fmla="*/ 18 w 48"/>
                    <a:gd name="T63" fmla="*/ 0 h 69"/>
                    <a:gd name="T64" fmla="*/ 13 w 48"/>
                    <a:gd name="T65" fmla="*/ 2 h 69"/>
                    <a:gd name="T66" fmla="*/ 6 w 48"/>
                    <a:gd name="T67" fmla="*/ 6 h 69"/>
                    <a:gd name="T68" fmla="*/ 0 w 48"/>
                    <a:gd name="T69" fmla="*/ 12 h 69"/>
                    <a:gd name="T70" fmla="*/ 0 w 48"/>
                    <a:gd name="T71" fmla="*/ 1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69">
                      <a:moveTo>
                        <a:pt x="0" y="12"/>
                      </a:moveTo>
                      <a:lnTo>
                        <a:pt x="0" y="12"/>
                      </a:lnTo>
                      <a:lnTo>
                        <a:pt x="8" y="18"/>
                      </a:lnTo>
                      <a:lnTo>
                        <a:pt x="14" y="21"/>
                      </a:lnTo>
                      <a:lnTo>
                        <a:pt x="19" y="25"/>
                      </a:lnTo>
                      <a:lnTo>
                        <a:pt x="27" y="25"/>
                      </a:lnTo>
                      <a:lnTo>
                        <a:pt x="27" y="25"/>
                      </a:lnTo>
                      <a:lnTo>
                        <a:pt x="24" y="30"/>
                      </a:lnTo>
                      <a:lnTo>
                        <a:pt x="22" y="36"/>
                      </a:lnTo>
                      <a:lnTo>
                        <a:pt x="19" y="43"/>
                      </a:lnTo>
                      <a:lnTo>
                        <a:pt x="19" y="49"/>
                      </a:lnTo>
                      <a:lnTo>
                        <a:pt x="21" y="55"/>
                      </a:lnTo>
                      <a:lnTo>
                        <a:pt x="23" y="59"/>
                      </a:lnTo>
                      <a:lnTo>
                        <a:pt x="26" y="65"/>
                      </a:lnTo>
                      <a:lnTo>
                        <a:pt x="31" y="69"/>
                      </a:lnTo>
                      <a:lnTo>
                        <a:pt x="31" y="69"/>
                      </a:lnTo>
                      <a:lnTo>
                        <a:pt x="39" y="65"/>
                      </a:lnTo>
                      <a:lnTo>
                        <a:pt x="45" y="60"/>
                      </a:lnTo>
                      <a:lnTo>
                        <a:pt x="47" y="55"/>
                      </a:lnTo>
                      <a:lnTo>
                        <a:pt x="47" y="49"/>
                      </a:lnTo>
                      <a:lnTo>
                        <a:pt x="45" y="43"/>
                      </a:lnTo>
                      <a:lnTo>
                        <a:pt x="41" y="36"/>
                      </a:lnTo>
                      <a:lnTo>
                        <a:pt x="36" y="30"/>
                      </a:lnTo>
                      <a:lnTo>
                        <a:pt x="30" y="23"/>
                      </a:lnTo>
                      <a:lnTo>
                        <a:pt x="30" y="23"/>
                      </a:lnTo>
                      <a:lnTo>
                        <a:pt x="48" y="20"/>
                      </a:lnTo>
                      <a:lnTo>
                        <a:pt x="48" y="20"/>
                      </a:lnTo>
                      <a:lnTo>
                        <a:pt x="42" y="13"/>
                      </a:lnTo>
                      <a:lnTo>
                        <a:pt x="37" y="7"/>
                      </a:lnTo>
                      <a:lnTo>
                        <a:pt x="31" y="3"/>
                      </a:lnTo>
                      <a:lnTo>
                        <a:pt x="25" y="0"/>
                      </a:lnTo>
                      <a:lnTo>
                        <a:pt x="18" y="0"/>
                      </a:lnTo>
                      <a:lnTo>
                        <a:pt x="13" y="2"/>
                      </a:lnTo>
                      <a:lnTo>
                        <a:pt x="6" y="6"/>
                      </a:lnTo>
                      <a:lnTo>
                        <a:pt x="0" y="12"/>
                      </a:ln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3" name="Freeform 342"/>
                <p:cNvSpPr>
                  <a:spLocks/>
                </p:cNvSpPr>
                <p:nvPr/>
              </p:nvSpPr>
              <p:spPr bwMode="auto">
                <a:xfrm>
                  <a:off x="3227388" y="714375"/>
                  <a:ext cx="9525" cy="4763"/>
                </a:xfrm>
                <a:custGeom>
                  <a:avLst/>
                  <a:gdLst>
                    <a:gd name="T0" fmla="*/ 43 w 43"/>
                    <a:gd name="T1" fmla="*/ 10 h 26"/>
                    <a:gd name="T2" fmla="*/ 43 w 43"/>
                    <a:gd name="T3" fmla="*/ 10 h 26"/>
                    <a:gd name="T4" fmla="*/ 36 w 43"/>
                    <a:gd name="T5" fmla="*/ 5 h 26"/>
                    <a:gd name="T6" fmla="*/ 29 w 43"/>
                    <a:gd name="T7" fmla="*/ 3 h 26"/>
                    <a:gd name="T8" fmla="*/ 22 w 43"/>
                    <a:gd name="T9" fmla="*/ 1 h 26"/>
                    <a:gd name="T10" fmla="*/ 16 w 43"/>
                    <a:gd name="T11" fmla="*/ 0 h 26"/>
                    <a:gd name="T12" fmla="*/ 12 w 43"/>
                    <a:gd name="T13" fmla="*/ 1 h 26"/>
                    <a:gd name="T14" fmla="*/ 7 w 43"/>
                    <a:gd name="T15" fmla="*/ 4 h 26"/>
                    <a:gd name="T16" fmla="*/ 4 w 43"/>
                    <a:gd name="T17" fmla="*/ 10 h 26"/>
                    <a:gd name="T18" fmla="*/ 0 w 43"/>
                    <a:gd name="T19" fmla="*/ 17 h 26"/>
                    <a:gd name="T20" fmla="*/ 0 w 43"/>
                    <a:gd name="T21" fmla="*/ 17 h 26"/>
                    <a:gd name="T22" fmla="*/ 6 w 43"/>
                    <a:gd name="T23" fmla="*/ 23 h 26"/>
                    <a:gd name="T24" fmla="*/ 10 w 43"/>
                    <a:gd name="T25" fmla="*/ 25 h 26"/>
                    <a:gd name="T26" fmla="*/ 16 w 43"/>
                    <a:gd name="T27" fmla="*/ 26 h 26"/>
                    <a:gd name="T28" fmla="*/ 21 w 43"/>
                    <a:gd name="T29" fmla="*/ 25 h 26"/>
                    <a:gd name="T30" fmla="*/ 27 w 43"/>
                    <a:gd name="T31" fmla="*/ 24 h 26"/>
                    <a:gd name="T32" fmla="*/ 32 w 43"/>
                    <a:gd name="T33" fmla="*/ 20 h 26"/>
                    <a:gd name="T34" fmla="*/ 43 w 43"/>
                    <a:gd name="T35" fmla="*/ 10 h 26"/>
                    <a:gd name="T36" fmla="*/ 43 w 43"/>
                    <a:gd name="T37"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 h="26">
                      <a:moveTo>
                        <a:pt x="43" y="10"/>
                      </a:moveTo>
                      <a:lnTo>
                        <a:pt x="43" y="10"/>
                      </a:lnTo>
                      <a:lnTo>
                        <a:pt x="36" y="5"/>
                      </a:lnTo>
                      <a:lnTo>
                        <a:pt x="29" y="3"/>
                      </a:lnTo>
                      <a:lnTo>
                        <a:pt x="22" y="1"/>
                      </a:lnTo>
                      <a:lnTo>
                        <a:pt x="16" y="0"/>
                      </a:lnTo>
                      <a:lnTo>
                        <a:pt x="12" y="1"/>
                      </a:lnTo>
                      <a:lnTo>
                        <a:pt x="7" y="4"/>
                      </a:lnTo>
                      <a:lnTo>
                        <a:pt x="4" y="10"/>
                      </a:lnTo>
                      <a:lnTo>
                        <a:pt x="0" y="17"/>
                      </a:lnTo>
                      <a:lnTo>
                        <a:pt x="0" y="17"/>
                      </a:lnTo>
                      <a:lnTo>
                        <a:pt x="6" y="23"/>
                      </a:lnTo>
                      <a:lnTo>
                        <a:pt x="10" y="25"/>
                      </a:lnTo>
                      <a:lnTo>
                        <a:pt x="16" y="26"/>
                      </a:lnTo>
                      <a:lnTo>
                        <a:pt x="21" y="25"/>
                      </a:lnTo>
                      <a:lnTo>
                        <a:pt x="27" y="24"/>
                      </a:lnTo>
                      <a:lnTo>
                        <a:pt x="32" y="20"/>
                      </a:lnTo>
                      <a:lnTo>
                        <a:pt x="43" y="10"/>
                      </a:lnTo>
                      <a:lnTo>
                        <a:pt x="43"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4" name="Freeform 343"/>
                <p:cNvSpPr>
                  <a:spLocks/>
                </p:cNvSpPr>
                <p:nvPr/>
              </p:nvSpPr>
              <p:spPr bwMode="auto">
                <a:xfrm>
                  <a:off x="3262313" y="735013"/>
                  <a:ext cx="7938" cy="6350"/>
                </a:xfrm>
                <a:custGeom>
                  <a:avLst/>
                  <a:gdLst>
                    <a:gd name="T0" fmla="*/ 0 w 37"/>
                    <a:gd name="T1" fmla="*/ 19 h 34"/>
                    <a:gd name="T2" fmla="*/ 0 w 37"/>
                    <a:gd name="T3" fmla="*/ 19 h 34"/>
                    <a:gd name="T4" fmla="*/ 3 w 37"/>
                    <a:gd name="T5" fmla="*/ 25 h 34"/>
                    <a:gd name="T6" fmla="*/ 8 w 37"/>
                    <a:gd name="T7" fmla="*/ 29 h 34"/>
                    <a:gd name="T8" fmla="*/ 11 w 37"/>
                    <a:gd name="T9" fmla="*/ 33 h 34"/>
                    <a:gd name="T10" fmla="*/ 16 w 37"/>
                    <a:gd name="T11" fmla="*/ 34 h 34"/>
                    <a:gd name="T12" fmla="*/ 22 w 37"/>
                    <a:gd name="T13" fmla="*/ 34 h 34"/>
                    <a:gd name="T14" fmla="*/ 26 w 37"/>
                    <a:gd name="T15" fmla="*/ 33 h 34"/>
                    <a:gd name="T16" fmla="*/ 32 w 37"/>
                    <a:gd name="T17" fmla="*/ 29 h 34"/>
                    <a:gd name="T18" fmla="*/ 37 w 37"/>
                    <a:gd name="T19" fmla="*/ 25 h 34"/>
                    <a:gd name="T20" fmla="*/ 37 w 37"/>
                    <a:gd name="T21" fmla="*/ 25 h 34"/>
                    <a:gd name="T22" fmla="*/ 33 w 37"/>
                    <a:gd name="T23" fmla="*/ 19 h 34"/>
                    <a:gd name="T24" fmla="*/ 27 w 37"/>
                    <a:gd name="T25" fmla="*/ 11 h 34"/>
                    <a:gd name="T26" fmla="*/ 22 w 37"/>
                    <a:gd name="T27" fmla="*/ 5 h 34"/>
                    <a:gd name="T28" fmla="*/ 16 w 37"/>
                    <a:gd name="T29" fmla="*/ 0 h 34"/>
                    <a:gd name="T30" fmla="*/ 16 w 37"/>
                    <a:gd name="T31" fmla="*/ 0 h 34"/>
                    <a:gd name="T32" fmla="*/ 8 w 37"/>
                    <a:gd name="T33" fmla="*/ 9 h 34"/>
                    <a:gd name="T34" fmla="*/ 3 w 37"/>
                    <a:gd name="T35" fmla="*/ 15 h 34"/>
                    <a:gd name="T36" fmla="*/ 0 w 37"/>
                    <a:gd name="T37" fmla="*/ 19 h 34"/>
                    <a:gd name="T38" fmla="*/ 0 w 37"/>
                    <a:gd name="T39" fmla="*/ 1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 h="34">
                      <a:moveTo>
                        <a:pt x="0" y="19"/>
                      </a:moveTo>
                      <a:lnTo>
                        <a:pt x="0" y="19"/>
                      </a:lnTo>
                      <a:lnTo>
                        <a:pt x="3" y="25"/>
                      </a:lnTo>
                      <a:lnTo>
                        <a:pt x="8" y="29"/>
                      </a:lnTo>
                      <a:lnTo>
                        <a:pt x="11" y="33"/>
                      </a:lnTo>
                      <a:lnTo>
                        <a:pt x="16" y="34"/>
                      </a:lnTo>
                      <a:lnTo>
                        <a:pt x="22" y="34"/>
                      </a:lnTo>
                      <a:lnTo>
                        <a:pt x="26" y="33"/>
                      </a:lnTo>
                      <a:lnTo>
                        <a:pt x="32" y="29"/>
                      </a:lnTo>
                      <a:lnTo>
                        <a:pt x="37" y="25"/>
                      </a:lnTo>
                      <a:lnTo>
                        <a:pt x="37" y="25"/>
                      </a:lnTo>
                      <a:lnTo>
                        <a:pt x="33" y="19"/>
                      </a:lnTo>
                      <a:lnTo>
                        <a:pt x="27" y="11"/>
                      </a:lnTo>
                      <a:lnTo>
                        <a:pt x="22" y="5"/>
                      </a:lnTo>
                      <a:lnTo>
                        <a:pt x="16" y="0"/>
                      </a:lnTo>
                      <a:lnTo>
                        <a:pt x="16" y="0"/>
                      </a:lnTo>
                      <a:lnTo>
                        <a:pt x="8" y="9"/>
                      </a:lnTo>
                      <a:lnTo>
                        <a:pt x="3" y="15"/>
                      </a:lnTo>
                      <a:lnTo>
                        <a:pt x="0" y="19"/>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5" name="Freeform 344"/>
                <p:cNvSpPr>
                  <a:spLocks/>
                </p:cNvSpPr>
                <p:nvPr/>
              </p:nvSpPr>
              <p:spPr bwMode="auto">
                <a:xfrm>
                  <a:off x="3273425" y="763588"/>
                  <a:ext cx="7938" cy="9525"/>
                </a:xfrm>
                <a:custGeom>
                  <a:avLst/>
                  <a:gdLst>
                    <a:gd name="T0" fmla="*/ 17 w 36"/>
                    <a:gd name="T1" fmla="*/ 38 h 38"/>
                    <a:gd name="T2" fmla="*/ 17 w 36"/>
                    <a:gd name="T3" fmla="*/ 38 h 38"/>
                    <a:gd name="T4" fmla="*/ 36 w 36"/>
                    <a:gd name="T5" fmla="*/ 0 h 38"/>
                    <a:gd name="T6" fmla="*/ 36 w 36"/>
                    <a:gd name="T7" fmla="*/ 0 h 38"/>
                    <a:gd name="T8" fmla="*/ 0 w 36"/>
                    <a:gd name="T9" fmla="*/ 20 h 38"/>
                    <a:gd name="T10" fmla="*/ 0 w 36"/>
                    <a:gd name="T11" fmla="*/ 20 h 38"/>
                    <a:gd name="T12" fmla="*/ 9 w 36"/>
                    <a:gd name="T13" fmla="*/ 30 h 38"/>
                    <a:gd name="T14" fmla="*/ 12 w 36"/>
                    <a:gd name="T15" fmla="*/ 34 h 38"/>
                    <a:gd name="T16" fmla="*/ 17 w 36"/>
                    <a:gd name="T17" fmla="*/ 38 h 38"/>
                    <a:gd name="T18" fmla="*/ 17 w 36"/>
                    <a:gd name="T1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8">
                      <a:moveTo>
                        <a:pt x="17" y="38"/>
                      </a:moveTo>
                      <a:lnTo>
                        <a:pt x="17" y="38"/>
                      </a:lnTo>
                      <a:lnTo>
                        <a:pt x="36" y="0"/>
                      </a:lnTo>
                      <a:lnTo>
                        <a:pt x="36" y="0"/>
                      </a:lnTo>
                      <a:lnTo>
                        <a:pt x="0" y="20"/>
                      </a:lnTo>
                      <a:lnTo>
                        <a:pt x="0" y="20"/>
                      </a:lnTo>
                      <a:lnTo>
                        <a:pt x="9" y="30"/>
                      </a:lnTo>
                      <a:lnTo>
                        <a:pt x="12" y="34"/>
                      </a:lnTo>
                      <a:lnTo>
                        <a:pt x="17" y="38"/>
                      </a:lnTo>
                      <a:lnTo>
                        <a:pt x="17" y="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6" name="Freeform 345"/>
                <p:cNvSpPr>
                  <a:spLocks/>
                </p:cNvSpPr>
                <p:nvPr/>
              </p:nvSpPr>
              <p:spPr bwMode="auto">
                <a:xfrm>
                  <a:off x="3254375" y="763588"/>
                  <a:ext cx="15875" cy="9525"/>
                </a:xfrm>
                <a:custGeom>
                  <a:avLst/>
                  <a:gdLst>
                    <a:gd name="T0" fmla="*/ 34 w 71"/>
                    <a:gd name="T1" fmla="*/ 19 h 41"/>
                    <a:gd name="T2" fmla="*/ 34 w 71"/>
                    <a:gd name="T3" fmla="*/ 19 h 41"/>
                    <a:gd name="T4" fmla="*/ 36 w 71"/>
                    <a:gd name="T5" fmla="*/ 25 h 41"/>
                    <a:gd name="T6" fmla="*/ 40 w 71"/>
                    <a:gd name="T7" fmla="*/ 30 h 41"/>
                    <a:gd name="T8" fmla="*/ 43 w 71"/>
                    <a:gd name="T9" fmla="*/ 35 h 41"/>
                    <a:gd name="T10" fmla="*/ 48 w 71"/>
                    <a:gd name="T11" fmla="*/ 37 h 41"/>
                    <a:gd name="T12" fmla="*/ 52 w 71"/>
                    <a:gd name="T13" fmla="*/ 39 h 41"/>
                    <a:gd name="T14" fmla="*/ 58 w 71"/>
                    <a:gd name="T15" fmla="*/ 41 h 41"/>
                    <a:gd name="T16" fmla="*/ 64 w 71"/>
                    <a:gd name="T17" fmla="*/ 41 h 41"/>
                    <a:gd name="T18" fmla="*/ 71 w 71"/>
                    <a:gd name="T19" fmla="*/ 39 h 41"/>
                    <a:gd name="T20" fmla="*/ 71 w 71"/>
                    <a:gd name="T21" fmla="*/ 39 h 41"/>
                    <a:gd name="T22" fmla="*/ 70 w 71"/>
                    <a:gd name="T23" fmla="*/ 30 h 41"/>
                    <a:gd name="T24" fmla="*/ 68 w 71"/>
                    <a:gd name="T25" fmla="*/ 23 h 41"/>
                    <a:gd name="T26" fmla="*/ 65 w 71"/>
                    <a:gd name="T27" fmla="*/ 18 h 41"/>
                    <a:gd name="T28" fmla="*/ 61 w 71"/>
                    <a:gd name="T29" fmla="*/ 14 h 41"/>
                    <a:gd name="T30" fmla="*/ 56 w 71"/>
                    <a:gd name="T31" fmla="*/ 12 h 41"/>
                    <a:gd name="T32" fmla="*/ 49 w 71"/>
                    <a:gd name="T33" fmla="*/ 13 h 41"/>
                    <a:gd name="T34" fmla="*/ 42 w 71"/>
                    <a:gd name="T35" fmla="*/ 14 h 41"/>
                    <a:gd name="T36" fmla="*/ 34 w 71"/>
                    <a:gd name="T37" fmla="*/ 19 h 41"/>
                    <a:gd name="T38" fmla="*/ 34 w 71"/>
                    <a:gd name="T39" fmla="*/ 19 h 41"/>
                    <a:gd name="T40" fmla="*/ 38 w 71"/>
                    <a:gd name="T41" fmla="*/ 7 h 41"/>
                    <a:gd name="T42" fmla="*/ 38 w 71"/>
                    <a:gd name="T43" fmla="*/ 7 h 41"/>
                    <a:gd name="T44" fmla="*/ 33 w 71"/>
                    <a:gd name="T45" fmla="*/ 4 h 41"/>
                    <a:gd name="T46" fmla="*/ 28 w 71"/>
                    <a:gd name="T47" fmla="*/ 1 h 41"/>
                    <a:gd name="T48" fmla="*/ 22 w 71"/>
                    <a:gd name="T49" fmla="*/ 0 h 41"/>
                    <a:gd name="T50" fmla="*/ 17 w 71"/>
                    <a:gd name="T51" fmla="*/ 1 h 41"/>
                    <a:gd name="T52" fmla="*/ 12 w 71"/>
                    <a:gd name="T53" fmla="*/ 4 h 41"/>
                    <a:gd name="T54" fmla="*/ 7 w 71"/>
                    <a:gd name="T55" fmla="*/ 7 h 41"/>
                    <a:gd name="T56" fmla="*/ 4 w 71"/>
                    <a:gd name="T57" fmla="*/ 11 h 41"/>
                    <a:gd name="T58" fmla="*/ 0 w 71"/>
                    <a:gd name="T59" fmla="*/ 16 h 41"/>
                    <a:gd name="T60" fmla="*/ 0 w 71"/>
                    <a:gd name="T61" fmla="*/ 16 h 41"/>
                    <a:gd name="T62" fmla="*/ 5 w 71"/>
                    <a:gd name="T63" fmla="*/ 22 h 41"/>
                    <a:gd name="T64" fmla="*/ 12 w 71"/>
                    <a:gd name="T65" fmla="*/ 29 h 41"/>
                    <a:gd name="T66" fmla="*/ 19 w 71"/>
                    <a:gd name="T67" fmla="*/ 34 h 41"/>
                    <a:gd name="T68" fmla="*/ 25 w 71"/>
                    <a:gd name="T69" fmla="*/ 38 h 41"/>
                    <a:gd name="T70" fmla="*/ 25 w 71"/>
                    <a:gd name="T71" fmla="*/ 38 h 41"/>
                    <a:gd name="T72" fmla="*/ 34 w 71"/>
                    <a:gd name="T73" fmla="*/ 19 h 41"/>
                    <a:gd name="T74" fmla="*/ 34 w 71"/>
                    <a:gd name="T75" fmla="*/ 1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1" h="41">
                      <a:moveTo>
                        <a:pt x="34" y="19"/>
                      </a:moveTo>
                      <a:lnTo>
                        <a:pt x="34" y="19"/>
                      </a:lnTo>
                      <a:lnTo>
                        <a:pt x="36" y="25"/>
                      </a:lnTo>
                      <a:lnTo>
                        <a:pt x="40" y="30"/>
                      </a:lnTo>
                      <a:lnTo>
                        <a:pt x="43" y="35"/>
                      </a:lnTo>
                      <a:lnTo>
                        <a:pt x="48" y="37"/>
                      </a:lnTo>
                      <a:lnTo>
                        <a:pt x="52" y="39"/>
                      </a:lnTo>
                      <a:lnTo>
                        <a:pt x="58" y="41"/>
                      </a:lnTo>
                      <a:lnTo>
                        <a:pt x="64" y="41"/>
                      </a:lnTo>
                      <a:lnTo>
                        <a:pt x="71" y="39"/>
                      </a:lnTo>
                      <a:lnTo>
                        <a:pt x="71" y="39"/>
                      </a:lnTo>
                      <a:lnTo>
                        <a:pt x="70" y="30"/>
                      </a:lnTo>
                      <a:lnTo>
                        <a:pt x="68" y="23"/>
                      </a:lnTo>
                      <a:lnTo>
                        <a:pt x="65" y="18"/>
                      </a:lnTo>
                      <a:lnTo>
                        <a:pt x="61" y="14"/>
                      </a:lnTo>
                      <a:lnTo>
                        <a:pt x="56" y="12"/>
                      </a:lnTo>
                      <a:lnTo>
                        <a:pt x="49" y="13"/>
                      </a:lnTo>
                      <a:lnTo>
                        <a:pt x="42" y="14"/>
                      </a:lnTo>
                      <a:lnTo>
                        <a:pt x="34" y="19"/>
                      </a:lnTo>
                      <a:lnTo>
                        <a:pt x="34" y="19"/>
                      </a:lnTo>
                      <a:lnTo>
                        <a:pt x="38" y="7"/>
                      </a:lnTo>
                      <a:lnTo>
                        <a:pt x="38" y="7"/>
                      </a:lnTo>
                      <a:lnTo>
                        <a:pt x="33" y="4"/>
                      </a:lnTo>
                      <a:lnTo>
                        <a:pt x="28" y="1"/>
                      </a:lnTo>
                      <a:lnTo>
                        <a:pt x="22" y="0"/>
                      </a:lnTo>
                      <a:lnTo>
                        <a:pt x="17" y="1"/>
                      </a:lnTo>
                      <a:lnTo>
                        <a:pt x="12" y="4"/>
                      </a:lnTo>
                      <a:lnTo>
                        <a:pt x="7" y="7"/>
                      </a:lnTo>
                      <a:lnTo>
                        <a:pt x="4" y="11"/>
                      </a:lnTo>
                      <a:lnTo>
                        <a:pt x="0" y="16"/>
                      </a:lnTo>
                      <a:lnTo>
                        <a:pt x="0" y="16"/>
                      </a:lnTo>
                      <a:lnTo>
                        <a:pt x="5" y="22"/>
                      </a:lnTo>
                      <a:lnTo>
                        <a:pt x="12" y="29"/>
                      </a:lnTo>
                      <a:lnTo>
                        <a:pt x="19" y="34"/>
                      </a:lnTo>
                      <a:lnTo>
                        <a:pt x="25" y="38"/>
                      </a:lnTo>
                      <a:lnTo>
                        <a:pt x="25" y="38"/>
                      </a:lnTo>
                      <a:lnTo>
                        <a:pt x="34" y="19"/>
                      </a:lnTo>
                      <a:lnTo>
                        <a:pt x="34"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7" name="Freeform 346"/>
                <p:cNvSpPr>
                  <a:spLocks/>
                </p:cNvSpPr>
                <p:nvPr/>
              </p:nvSpPr>
              <p:spPr bwMode="auto">
                <a:xfrm>
                  <a:off x="3224213" y="831850"/>
                  <a:ext cx="9525" cy="4763"/>
                </a:xfrm>
                <a:custGeom>
                  <a:avLst/>
                  <a:gdLst>
                    <a:gd name="T0" fmla="*/ 42 w 42"/>
                    <a:gd name="T1" fmla="*/ 17 h 25"/>
                    <a:gd name="T2" fmla="*/ 42 w 42"/>
                    <a:gd name="T3" fmla="*/ 17 h 25"/>
                    <a:gd name="T4" fmla="*/ 38 w 42"/>
                    <a:gd name="T5" fmla="*/ 9 h 25"/>
                    <a:gd name="T6" fmla="*/ 34 w 42"/>
                    <a:gd name="T7" fmla="*/ 4 h 25"/>
                    <a:gd name="T8" fmla="*/ 29 w 42"/>
                    <a:gd name="T9" fmla="*/ 1 h 25"/>
                    <a:gd name="T10" fmla="*/ 23 w 42"/>
                    <a:gd name="T11" fmla="*/ 0 h 25"/>
                    <a:gd name="T12" fmla="*/ 19 w 42"/>
                    <a:gd name="T13" fmla="*/ 0 h 25"/>
                    <a:gd name="T14" fmla="*/ 13 w 42"/>
                    <a:gd name="T15" fmla="*/ 2 h 25"/>
                    <a:gd name="T16" fmla="*/ 7 w 42"/>
                    <a:gd name="T17" fmla="*/ 7 h 25"/>
                    <a:gd name="T18" fmla="*/ 0 w 42"/>
                    <a:gd name="T19" fmla="*/ 12 h 25"/>
                    <a:gd name="T20" fmla="*/ 0 w 42"/>
                    <a:gd name="T21" fmla="*/ 12 h 25"/>
                    <a:gd name="T22" fmla="*/ 5 w 42"/>
                    <a:gd name="T23" fmla="*/ 17 h 25"/>
                    <a:gd name="T24" fmla="*/ 9 w 42"/>
                    <a:gd name="T25" fmla="*/ 22 h 25"/>
                    <a:gd name="T26" fmla="*/ 15 w 42"/>
                    <a:gd name="T27" fmla="*/ 24 h 25"/>
                    <a:gd name="T28" fmla="*/ 20 w 42"/>
                    <a:gd name="T29" fmla="*/ 25 h 25"/>
                    <a:gd name="T30" fmla="*/ 26 w 42"/>
                    <a:gd name="T31" fmla="*/ 25 h 25"/>
                    <a:gd name="T32" fmla="*/ 31 w 42"/>
                    <a:gd name="T33" fmla="*/ 24 h 25"/>
                    <a:gd name="T34" fmla="*/ 37 w 42"/>
                    <a:gd name="T35" fmla="*/ 21 h 25"/>
                    <a:gd name="T36" fmla="*/ 42 w 42"/>
                    <a:gd name="T37" fmla="*/ 17 h 25"/>
                    <a:gd name="T38" fmla="*/ 42 w 42"/>
                    <a:gd name="T39"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 h="25">
                      <a:moveTo>
                        <a:pt x="42" y="17"/>
                      </a:moveTo>
                      <a:lnTo>
                        <a:pt x="42" y="17"/>
                      </a:lnTo>
                      <a:lnTo>
                        <a:pt x="38" y="9"/>
                      </a:lnTo>
                      <a:lnTo>
                        <a:pt x="34" y="4"/>
                      </a:lnTo>
                      <a:lnTo>
                        <a:pt x="29" y="1"/>
                      </a:lnTo>
                      <a:lnTo>
                        <a:pt x="23" y="0"/>
                      </a:lnTo>
                      <a:lnTo>
                        <a:pt x="19" y="0"/>
                      </a:lnTo>
                      <a:lnTo>
                        <a:pt x="13" y="2"/>
                      </a:lnTo>
                      <a:lnTo>
                        <a:pt x="7" y="7"/>
                      </a:lnTo>
                      <a:lnTo>
                        <a:pt x="0" y="12"/>
                      </a:lnTo>
                      <a:lnTo>
                        <a:pt x="0" y="12"/>
                      </a:lnTo>
                      <a:lnTo>
                        <a:pt x="5" y="17"/>
                      </a:lnTo>
                      <a:lnTo>
                        <a:pt x="9" y="22"/>
                      </a:lnTo>
                      <a:lnTo>
                        <a:pt x="15" y="24"/>
                      </a:lnTo>
                      <a:lnTo>
                        <a:pt x="20" y="25"/>
                      </a:lnTo>
                      <a:lnTo>
                        <a:pt x="26" y="25"/>
                      </a:lnTo>
                      <a:lnTo>
                        <a:pt x="31" y="24"/>
                      </a:lnTo>
                      <a:lnTo>
                        <a:pt x="37" y="21"/>
                      </a:lnTo>
                      <a:lnTo>
                        <a:pt x="42" y="17"/>
                      </a:lnTo>
                      <a:lnTo>
                        <a:pt x="42"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8" name="Freeform 347"/>
                <p:cNvSpPr>
                  <a:spLocks/>
                </p:cNvSpPr>
                <p:nvPr/>
              </p:nvSpPr>
              <p:spPr bwMode="auto">
                <a:xfrm>
                  <a:off x="3233738" y="835025"/>
                  <a:ext cx="9525" cy="7938"/>
                </a:xfrm>
                <a:custGeom>
                  <a:avLst/>
                  <a:gdLst>
                    <a:gd name="T0" fmla="*/ 0 w 39"/>
                    <a:gd name="T1" fmla="*/ 12 h 31"/>
                    <a:gd name="T2" fmla="*/ 0 w 39"/>
                    <a:gd name="T3" fmla="*/ 12 h 31"/>
                    <a:gd name="T4" fmla="*/ 2 w 39"/>
                    <a:gd name="T5" fmla="*/ 20 h 31"/>
                    <a:gd name="T6" fmla="*/ 6 w 39"/>
                    <a:gd name="T7" fmla="*/ 25 h 31"/>
                    <a:gd name="T8" fmla="*/ 11 w 39"/>
                    <a:gd name="T9" fmla="*/ 29 h 31"/>
                    <a:gd name="T10" fmla="*/ 15 w 39"/>
                    <a:gd name="T11" fmla="*/ 31 h 31"/>
                    <a:gd name="T12" fmla="*/ 21 w 39"/>
                    <a:gd name="T13" fmla="*/ 30 h 31"/>
                    <a:gd name="T14" fmla="*/ 27 w 39"/>
                    <a:gd name="T15" fmla="*/ 29 h 31"/>
                    <a:gd name="T16" fmla="*/ 34 w 39"/>
                    <a:gd name="T17" fmla="*/ 25 h 31"/>
                    <a:gd name="T18" fmla="*/ 39 w 39"/>
                    <a:gd name="T19" fmla="*/ 20 h 31"/>
                    <a:gd name="T20" fmla="*/ 39 w 39"/>
                    <a:gd name="T21" fmla="*/ 20 h 31"/>
                    <a:gd name="T22" fmla="*/ 36 w 39"/>
                    <a:gd name="T23" fmla="*/ 13 h 31"/>
                    <a:gd name="T24" fmla="*/ 31 w 39"/>
                    <a:gd name="T25" fmla="*/ 7 h 31"/>
                    <a:gd name="T26" fmla="*/ 27 w 39"/>
                    <a:gd name="T27" fmla="*/ 4 h 31"/>
                    <a:gd name="T28" fmla="*/ 21 w 39"/>
                    <a:gd name="T29" fmla="*/ 1 h 31"/>
                    <a:gd name="T30" fmla="*/ 16 w 39"/>
                    <a:gd name="T31" fmla="*/ 0 h 31"/>
                    <a:gd name="T32" fmla="*/ 11 w 39"/>
                    <a:gd name="T33" fmla="*/ 2 h 31"/>
                    <a:gd name="T34" fmla="*/ 6 w 39"/>
                    <a:gd name="T35" fmla="*/ 6 h 31"/>
                    <a:gd name="T36" fmla="*/ 0 w 39"/>
                    <a:gd name="T37" fmla="*/ 12 h 31"/>
                    <a:gd name="T38" fmla="*/ 0 w 39"/>
                    <a:gd name="T39" fmla="*/ 1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 h="31">
                      <a:moveTo>
                        <a:pt x="0" y="12"/>
                      </a:moveTo>
                      <a:lnTo>
                        <a:pt x="0" y="12"/>
                      </a:lnTo>
                      <a:lnTo>
                        <a:pt x="2" y="20"/>
                      </a:lnTo>
                      <a:lnTo>
                        <a:pt x="6" y="25"/>
                      </a:lnTo>
                      <a:lnTo>
                        <a:pt x="11" y="29"/>
                      </a:lnTo>
                      <a:lnTo>
                        <a:pt x="15" y="31"/>
                      </a:lnTo>
                      <a:lnTo>
                        <a:pt x="21" y="30"/>
                      </a:lnTo>
                      <a:lnTo>
                        <a:pt x="27" y="29"/>
                      </a:lnTo>
                      <a:lnTo>
                        <a:pt x="34" y="25"/>
                      </a:lnTo>
                      <a:lnTo>
                        <a:pt x="39" y="20"/>
                      </a:lnTo>
                      <a:lnTo>
                        <a:pt x="39" y="20"/>
                      </a:lnTo>
                      <a:lnTo>
                        <a:pt x="36" y="13"/>
                      </a:lnTo>
                      <a:lnTo>
                        <a:pt x="31" y="7"/>
                      </a:lnTo>
                      <a:lnTo>
                        <a:pt x="27" y="4"/>
                      </a:lnTo>
                      <a:lnTo>
                        <a:pt x="21" y="1"/>
                      </a:lnTo>
                      <a:lnTo>
                        <a:pt x="16" y="0"/>
                      </a:lnTo>
                      <a:lnTo>
                        <a:pt x="11" y="2"/>
                      </a:lnTo>
                      <a:lnTo>
                        <a:pt x="6" y="6"/>
                      </a:lnTo>
                      <a:lnTo>
                        <a:pt x="0" y="12"/>
                      </a:ln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9" name="Freeform 348"/>
                <p:cNvSpPr>
                  <a:spLocks/>
                </p:cNvSpPr>
                <p:nvPr/>
              </p:nvSpPr>
              <p:spPr bwMode="auto">
                <a:xfrm>
                  <a:off x="3227388" y="839788"/>
                  <a:ext cx="9525" cy="7938"/>
                </a:xfrm>
                <a:custGeom>
                  <a:avLst/>
                  <a:gdLst>
                    <a:gd name="T0" fmla="*/ 0 w 39"/>
                    <a:gd name="T1" fmla="*/ 14 h 37"/>
                    <a:gd name="T2" fmla="*/ 0 w 39"/>
                    <a:gd name="T3" fmla="*/ 14 h 37"/>
                    <a:gd name="T4" fmla="*/ 3 w 39"/>
                    <a:gd name="T5" fmla="*/ 21 h 37"/>
                    <a:gd name="T6" fmla="*/ 7 w 39"/>
                    <a:gd name="T7" fmla="*/ 27 h 37"/>
                    <a:gd name="T8" fmla="*/ 11 w 39"/>
                    <a:gd name="T9" fmla="*/ 32 h 37"/>
                    <a:gd name="T10" fmla="*/ 16 w 39"/>
                    <a:gd name="T11" fmla="*/ 36 h 37"/>
                    <a:gd name="T12" fmla="*/ 22 w 39"/>
                    <a:gd name="T13" fmla="*/ 37 h 37"/>
                    <a:gd name="T14" fmla="*/ 26 w 39"/>
                    <a:gd name="T15" fmla="*/ 37 h 37"/>
                    <a:gd name="T16" fmla="*/ 33 w 39"/>
                    <a:gd name="T17" fmla="*/ 34 h 37"/>
                    <a:gd name="T18" fmla="*/ 39 w 39"/>
                    <a:gd name="T19" fmla="*/ 30 h 37"/>
                    <a:gd name="T20" fmla="*/ 39 w 39"/>
                    <a:gd name="T21" fmla="*/ 30 h 37"/>
                    <a:gd name="T22" fmla="*/ 37 w 39"/>
                    <a:gd name="T23" fmla="*/ 23 h 37"/>
                    <a:gd name="T24" fmla="*/ 32 w 39"/>
                    <a:gd name="T25" fmla="*/ 14 h 37"/>
                    <a:gd name="T26" fmla="*/ 27 w 39"/>
                    <a:gd name="T27" fmla="*/ 7 h 37"/>
                    <a:gd name="T28" fmla="*/ 23 w 39"/>
                    <a:gd name="T29" fmla="*/ 0 h 37"/>
                    <a:gd name="T30" fmla="*/ 23 w 39"/>
                    <a:gd name="T31" fmla="*/ 0 h 37"/>
                    <a:gd name="T32" fmla="*/ 10 w 39"/>
                    <a:gd name="T33" fmla="*/ 7 h 37"/>
                    <a:gd name="T34" fmla="*/ 4 w 39"/>
                    <a:gd name="T35" fmla="*/ 9 h 37"/>
                    <a:gd name="T36" fmla="*/ 0 w 39"/>
                    <a:gd name="T37" fmla="*/ 14 h 37"/>
                    <a:gd name="T38" fmla="*/ 0 w 39"/>
                    <a:gd name="T39" fmla="*/ 1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 h="37">
                      <a:moveTo>
                        <a:pt x="0" y="14"/>
                      </a:moveTo>
                      <a:lnTo>
                        <a:pt x="0" y="14"/>
                      </a:lnTo>
                      <a:lnTo>
                        <a:pt x="3" y="21"/>
                      </a:lnTo>
                      <a:lnTo>
                        <a:pt x="7" y="27"/>
                      </a:lnTo>
                      <a:lnTo>
                        <a:pt x="11" y="32"/>
                      </a:lnTo>
                      <a:lnTo>
                        <a:pt x="16" y="36"/>
                      </a:lnTo>
                      <a:lnTo>
                        <a:pt x="22" y="37"/>
                      </a:lnTo>
                      <a:lnTo>
                        <a:pt x="26" y="37"/>
                      </a:lnTo>
                      <a:lnTo>
                        <a:pt x="33" y="34"/>
                      </a:lnTo>
                      <a:lnTo>
                        <a:pt x="39" y="30"/>
                      </a:lnTo>
                      <a:lnTo>
                        <a:pt x="39" y="30"/>
                      </a:lnTo>
                      <a:lnTo>
                        <a:pt x="37" y="23"/>
                      </a:lnTo>
                      <a:lnTo>
                        <a:pt x="32" y="14"/>
                      </a:lnTo>
                      <a:lnTo>
                        <a:pt x="27" y="7"/>
                      </a:lnTo>
                      <a:lnTo>
                        <a:pt x="23" y="0"/>
                      </a:lnTo>
                      <a:lnTo>
                        <a:pt x="23" y="0"/>
                      </a:lnTo>
                      <a:lnTo>
                        <a:pt x="10" y="7"/>
                      </a:lnTo>
                      <a:lnTo>
                        <a:pt x="4" y="9"/>
                      </a:lnTo>
                      <a:lnTo>
                        <a:pt x="0" y="14"/>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0" name="Freeform 349"/>
                <p:cNvSpPr>
                  <a:spLocks/>
                </p:cNvSpPr>
                <p:nvPr/>
              </p:nvSpPr>
              <p:spPr bwMode="auto">
                <a:xfrm>
                  <a:off x="3249613" y="522288"/>
                  <a:ext cx="42863" cy="28575"/>
                </a:xfrm>
                <a:custGeom>
                  <a:avLst/>
                  <a:gdLst>
                    <a:gd name="T0" fmla="*/ 40 w 192"/>
                    <a:gd name="T1" fmla="*/ 104 h 123"/>
                    <a:gd name="T2" fmla="*/ 61 w 192"/>
                    <a:gd name="T3" fmla="*/ 108 h 123"/>
                    <a:gd name="T4" fmla="*/ 91 w 192"/>
                    <a:gd name="T5" fmla="*/ 119 h 123"/>
                    <a:gd name="T6" fmla="*/ 111 w 192"/>
                    <a:gd name="T7" fmla="*/ 123 h 123"/>
                    <a:gd name="T8" fmla="*/ 121 w 192"/>
                    <a:gd name="T9" fmla="*/ 123 h 123"/>
                    <a:gd name="T10" fmla="*/ 143 w 192"/>
                    <a:gd name="T11" fmla="*/ 114 h 123"/>
                    <a:gd name="T12" fmla="*/ 166 w 192"/>
                    <a:gd name="T13" fmla="*/ 97 h 123"/>
                    <a:gd name="T14" fmla="*/ 184 w 192"/>
                    <a:gd name="T15" fmla="*/ 76 h 123"/>
                    <a:gd name="T16" fmla="*/ 191 w 192"/>
                    <a:gd name="T17" fmla="*/ 59 h 123"/>
                    <a:gd name="T18" fmla="*/ 192 w 192"/>
                    <a:gd name="T19" fmla="*/ 54 h 123"/>
                    <a:gd name="T20" fmla="*/ 191 w 192"/>
                    <a:gd name="T21" fmla="*/ 38 h 123"/>
                    <a:gd name="T22" fmla="*/ 188 w 192"/>
                    <a:gd name="T23" fmla="*/ 29 h 123"/>
                    <a:gd name="T24" fmla="*/ 181 w 192"/>
                    <a:gd name="T25" fmla="*/ 21 h 123"/>
                    <a:gd name="T26" fmla="*/ 168 w 192"/>
                    <a:gd name="T27" fmla="*/ 10 h 123"/>
                    <a:gd name="T28" fmla="*/ 154 w 192"/>
                    <a:gd name="T29" fmla="*/ 2 h 123"/>
                    <a:gd name="T30" fmla="*/ 151 w 192"/>
                    <a:gd name="T31" fmla="*/ 3 h 123"/>
                    <a:gd name="T32" fmla="*/ 147 w 192"/>
                    <a:gd name="T33" fmla="*/ 10 h 123"/>
                    <a:gd name="T34" fmla="*/ 141 w 192"/>
                    <a:gd name="T35" fmla="*/ 17 h 123"/>
                    <a:gd name="T36" fmla="*/ 135 w 192"/>
                    <a:gd name="T37" fmla="*/ 18 h 123"/>
                    <a:gd name="T38" fmla="*/ 130 w 192"/>
                    <a:gd name="T39" fmla="*/ 17 h 123"/>
                    <a:gd name="T40" fmla="*/ 122 w 192"/>
                    <a:gd name="T41" fmla="*/ 10 h 123"/>
                    <a:gd name="T42" fmla="*/ 116 w 192"/>
                    <a:gd name="T43" fmla="*/ 7 h 123"/>
                    <a:gd name="T44" fmla="*/ 107 w 192"/>
                    <a:gd name="T45" fmla="*/ 5 h 123"/>
                    <a:gd name="T46" fmla="*/ 100 w 192"/>
                    <a:gd name="T47" fmla="*/ 7 h 123"/>
                    <a:gd name="T48" fmla="*/ 89 w 192"/>
                    <a:gd name="T49" fmla="*/ 13 h 123"/>
                    <a:gd name="T50" fmla="*/ 74 w 192"/>
                    <a:gd name="T51" fmla="*/ 25 h 123"/>
                    <a:gd name="T52" fmla="*/ 65 w 192"/>
                    <a:gd name="T53" fmla="*/ 36 h 123"/>
                    <a:gd name="T54" fmla="*/ 71 w 192"/>
                    <a:gd name="T55" fmla="*/ 15 h 123"/>
                    <a:gd name="T56" fmla="*/ 71 w 192"/>
                    <a:gd name="T57" fmla="*/ 7 h 123"/>
                    <a:gd name="T58" fmla="*/ 68 w 192"/>
                    <a:gd name="T59" fmla="*/ 2 h 123"/>
                    <a:gd name="T60" fmla="*/ 62 w 192"/>
                    <a:gd name="T61" fmla="*/ 0 h 123"/>
                    <a:gd name="T62" fmla="*/ 50 w 192"/>
                    <a:gd name="T63" fmla="*/ 1 h 123"/>
                    <a:gd name="T64" fmla="*/ 30 w 192"/>
                    <a:gd name="T65" fmla="*/ 9 h 123"/>
                    <a:gd name="T66" fmla="*/ 12 w 192"/>
                    <a:gd name="T67" fmla="*/ 21 h 123"/>
                    <a:gd name="T68" fmla="*/ 1 w 192"/>
                    <a:gd name="T69" fmla="*/ 33 h 123"/>
                    <a:gd name="T70" fmla="*/ 0 w 192"/>
                    <a:gd name="T71" fmla="*/ 39 h 123"/>
                    <a:gd name="T72" fmla="*/ 4 w 192"/>
                    <a:gd name="T73" fmla="*/ 43 h 123"/>
                    <a:gd name="T74" fmla="*/ 10 w 192"/>
                    <a:gd name="T75" fmla="*/ 46 h 123"/>
                    <a:gd name="T76" fmla="*/ 23 w 192"/>
                    <a:gd name="T77" fmla="*/ 46 h 123"/>
                    <a:gd name="T78" fmla="*/ 16 w 192"/>
                    <a:gd name="T79" fmla="*/ 58 h 123"/>
                    <a:gd name="T80" fmla="*/ 16 w 192"/>
                    <a:gd name="T81" fmla="*/ 66 h 123"/>
                    <a:gd name="T82" fmla="*/ 20 w 192"/>
                    <a:gd name="T83" fmla="*/ 71 h 123"/>
                    <a:gd name="T84" fmla="*/ 32 w 192"/>
                    <a:gd name="T85" fmla="*/ 78 h 123"/>
                    <a:gd name="T86" fmla="*/ 38 w 192"/>
                    <a:gd name="T87" fmla="*/ 84 h 123"/>
                    <a:gd name="T88" fmla="*/ 42 w 192"/>
                    <a:gd name="T89" fmla="*/ 92 h 123"/>
                    <a:gd name="T90" fmla="*/ 40 w 192"/>
                    <a:gd name="T91" fmla="*/ 10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2" h="123">
                      <a:moveTo>
                        <a:pt x="40" y="104"/>
                      </a:moveTo>
                      <a:lnTo>
                        <a:pt x="40" y="104"/>
                      </a:lnTo>
                      <a:lnTo>
                        <a:pt x="51" y="106"/>
                      </a:lnTo>
                      <a:lnTo>
                        <a:pt x="61" y="108"/>
                      </a:lnTo>
                      <a:lnTo>
                        <a:pt x="81" y="115"/>
                      </a:lnTo>
                      <a:lnTo>
                        <a:pt x="91" y="119"/>
                      </a:lnTo>
                      <a:lnTo>
                        <a:pt x="100" y="122"/>
                      </a:lnTo>
                      <a:lnTo>
                        <a:pt x="111" y="123"/>
                      </a:lnTo>
                      <a:lnTo>
                        <a:pt x="121" y="123"/>
                      </a:lnTo>
                      <a:lnTo>
                        <a:pt x="121" y="123"/>
                      </a:lnTo>
                      <a:lnTo>
                        <a:pt x="131" y="120"/>
                      </a:lnTo>
                      <a:lnTo>
                        <a:pt x="143" y="114"/>
                      </a:lnTo>
                      <a:lnTo>
                        <a:pt x="156" y="107"/>
                      </a:lnTo>
                      <a:lnTo>
                        <a:pt x="166" y="97"/>
                      </a:lnTo>
                      <a:lnTo>
                        <a:pt x="176" y="86"/>
                      </a:lnTo>
                      <a:lnTo>
                        <a:pt x="184" y="76"/>
                      </a:lnTo>
                      <a:lnTo>
                        <a:pt x="190" y="64"/>
                      </a:lnTo>
                      <a:lnTo>
                        <a:pt x="191" y="59"/>
                      </a:lnTo>
                      <a:lnTo>
                        <a:pt x="192" y="54"/>
                      </a:lnTo>
                      <a:lnTo>
                        <a:pt x="192" y="54"/>
                      </a:lnTo>
                      <a:lnTo>
                        <a:pt x="192" y="45"/>
                      </a:lnTo>
                      <a:lnTo>
                        <a:pt x="191" y="38"/>
                      </a:lnTo>
                      <a:lnTo>
                        <a:pt x="190" y="33"/>
                      </a:lnTo>
                      <a:lnTo>
                        <a:pt x="188" y="29"/>
                      </a:lnTo>
                      <a:lnTo>
                        <a:pt x="184" y="24"/>
                      </a:lnTo>
                      <a:lnTo>
                        <a:pt x="181" y="21"/>
                      </a:lnTo>
                      <a:lnTo>
                        <a:pt x="168" y="10"/>
                      </a:lnTo>
                      <a:lnTo>
                        <a:pt x="168" y="10"/>
                      </a:lnTo>
                      <a:lnTo>
                        <a:pt x="159" y="5"/>
                      </a:lnTo>
                      <a:lnTo>
                        <a:pt x="154" y="2"/>
                      </a:lnTo>
                      <a:lnTo>
                        <a:pt x="152" y="2"/>
                      </a:lnTo>
                      <a:lnTo>
                        <a:pt x="151" y="3"/>
                      </a:lnTo>
                      <a:lnTo>
                        <a:pt x="149" y="6"/>
                      </a:lnTo>
                      <a:lnTo>
                        <a:pt x="147" y="10"/>
                      </a:lnTo>
                      <a:lnTo>
                        <a:pt x="145" y="14"/>
                      </a:lnTo>
                      <a:lnTo>
                        <a:pt x="141" y="17"/>
                      </a:lnTo>
                      <a:lnTo>
                        <a:pt x="138" y="18"/>
                      </a:lnTo>
                      <a:lnTo>
                        <a:pt x="135" y="18"/>
                      </a:lnTo>
                      <a:lnTo>
                        <a:pt x="135" y="18"/>
                      </a:lnTo>
                      <a:lnTo>
                        <a:pt x="130" y="17"/>
                      </a:lnTo>
                      <a:lnTo>
                        <a:pt x="127" y="15"/>
                      </a:lnTo>
                      <a:lnTo>
                        <a:pt x="122" y="10"/>
                      </a:lnTo>
                      <a:lnTo>
                        <a:pt x="119" y="8"/>
                      </a:lnTo>
                      <a:lnTo>
                        <a:pt x="116" y="7"/>
                      </a:lnTo>
                      <a:lnTo>
                        <a:pt x="112" y="5"/>
                      </a:lnTo>
                      <a:lnTo>
                        <a:pt x="107" y="5"/>
                      </a:lnTo>
                      <a:lnTo>
                        <a:pt x="107" y="5"/>
                      </a:lnTo>
                      <a:lnTo>
                        <a:pt x="100" y="7"/>
                      </a:lnTo>
                      <a:lnTo>
                        <a:pt x="95" y="9"/>
                      </a:lnTo>
                      <a:lnTo>
                        <a:pt x="89" y="13"/>
                      </a:lnTo>
                      <a:lnTo>
                        <a:pt x="84" y="16"/>
                      </a:lnTo>
                      <a:lnTo>
                        <a:pt x="74" y="25"/>
                      </a:lnTo>
                      <a:lnTo>
                        <a:pt x="65" y="36"/>
                      </a:lnTo>
                      <a:lnTo>
                        <a:pt x="65" y="36"/>
                      </a:lnTo>
                      <a:lnTo>
                        <a:pt x="70" y="21"/>
                      </a:lnTo>
                      <a:lnTo>
                        <a:pt x="71" y="15"/>
                      </a:lnTo>
                      <a:lnTo>
                        <a:pt x="73" y="10"/>
                      </a:lnTo>
                      <a:lnTo>
                        <a:pt x="71" y="7"/>
                      </a:lnTo>
                      <a:lnTo>
                        <a:pt x="70" y="3"/>
                      </a:lnTo>
                      <a:lnTo>
                        <a:pt x="68" y="2"/>
                      </a:lnTo>
                      <a:lnTo>
                        <a:pt x="66" y="0"/>
                      </a:lnTo>
                      <a:lnTo>
                        <a:pt x="62" y="0"/>
                      </a:lnTo>
                      <a:lnTo>
                        <a:pt x="58" y="0"/>
                      </a:lnTo>
                      <a:lnTo>
                        <a:pt x="50" y="1"/>
                      </a:lnTo>
                      <a:lnTo>
                        <a:pt x="39" y="5"/>
                      </a:lnTo>
                      <a:lnTo>
                        <a:pt x="30" y="9"/>
                      </a:lnTo>
                      <a:lnTo>
                        <a:pt x="21" y="15"/>
                      </a:lnTo>
                      <a:lnTo>
                        <a:pt x="12" y="21"/>
                      </a:lnTo>
                      <a:lnTo>
                        <a:pt x="6" y="28"/>
                      </a:lnTo>
                      <a:lnTo>
                        <a:pt x="1" y="33"/>
                      </a:lnTo>
                      <a:lnTo>
                        <a:pt x="0" y="37"/>
                      </a:lnTo>
                      <a:lnTo>
                        <a:pt x="0" y="39"/>
                      </a:lnTo>
                      <a:lnTo>
                        <a:pt x="1" y="41"/>
                      </a:lnTo>
                      <a:lnTo>
                        <a:pt x="4" y="43"/>
                      </a:lnTo>
                      <a:lnTo>
                        <a:pt x="7" y="45"/>
                      </a:lnTo>
                      <a:lnTo>
                        <a:pt x="10" y="46"/>
                      </a:lnTo>
                      <a:lnTo>
                        <a:pt x="23" y="46"/>
                      </a:lnTo>
                      <a:lnTo>
                        <a:pt x="23" y="46"/>
                      </a:lnTo>
                      <a:lnTo>
                        <a:pt x="20" y="53"/>
                      </a:lnTo>
                      <a:lnTo>
                        <a:pt x="16" y="58"/>
                      </a:lnTo>
                      <a:lnTo>
                        <a:pt x="16" y="62"/>
                      </a:lnTo>
                      <a:lnTo>
                        <a:pt x="16" y="66"/>
                      </a:lnTo>
                      <a:lnTo>
                        <a:pt x="17" y="68"/>
                      </a:lnTo>
                      <a:lnTo>
                        <a:pt x="20" y="71"/>
                      </a:lnTo>
                      <a:lnTo>
                        <a:pt x="25" y="75"/>
                      </a:lnTo>
                      <a:lnTo>
                        <a:pt x="32" y="78"/>
                      </a:lnTo>
                      <a:lnTo>
                        <a:pt x="36" y="81"/>
                      </a:lnTo>
                      <a:lnTo>
                        <a:pt x="38" y="84"/>
                      </a:lnTo>
                      <a:lnTo>
                        <a:pt x="40" y="87"/>
                      </a:lnTo>
                      <a:lnTo>
                        <a:pt x="42" y="92"/>
                      </a:lnTo>
                      <a:lnTo>
                        <a:pt x="42" y="98"/>
                      </a:lnTo>
                      <a:lnTo>
                        <a:pt x="40" y="104"/>
                      </a:lnTo>
                      <a:lnTo>
                        <a:pt x="4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1" name="Freeform 350"/>
                <p:cNvSpPr>
                  <a:spLocks/>
                </p:cNvSpPr>
                <p:nvPr/>
              </p:nvSpPr>
              <p:spPr bwMode="auto">
                <a:xfrm>
                  <a:off x="3384550" y="398463"/>
                  <a:ext cx="52388" cy="41275"/>
                </a:xfrm>
                <a:custGeom>
                  <a:avLst/>
                  <a:gdLst>
                    <a:gd name="T0" fmla="*/ 45 w 231"/>
                    <a:gd name="T1" fmla="*/ 122 h 183"/>
                    <a:gd name="T2" fmla="*/ 53 w 231"/>
                    <a:gd name="T3" fmla="*/ 107 h 183"/>
                    <a:gd name="T4" fmla="*/ 62 w 231"/>
                    <a:gd name="T5" fmla="*/ 93 h 183"/>
                    <a:gd name="T6" fmla="*/ 69 w 231"/>
                    <a:gd name="T7" fmla="*/ 99 h 183"/>
                    <a:gd name="T8" fmla="*/ 58 w 231"/>
                    <a:gd name="T9" fmla="*/ 121 h 183"/>
                    <a:gd name="T10" fmla="*/ 55 w 231"/>
                    <a:gd name="T11" fmla="*/ 141 h 183"/>
                    <a:gd name="T12" fmla="*/ 60 w 231"/>
                    <a:gd name="T13" fmla="*/ 162 h 183"/>
                    <a:gd name="T14" fmla="*/ 72 w 231"/>
                    <a:gd name="T15" fmla="*/ 183 h 183"/>
                    <a:gd name="T16" fmla="*/ 96 w 231"/>
                    <a:gd name="T17" fmla="*/ 143 h 183"/>
                    <a:gd name="T18" fmla="*/ 124 w 231"/>
                    <a:gd name="T19" fmla="*/ 105 h 183"/>
                    <a:gd name="T20" fmla="*/ 134 w 231"/>
                    <a:gd name="T21" fmla="*/ 93 h 183"/>
                    <a:gd name="T22" fmla="*/ 140 w 231"/>
                    <a:gd name="T23" fmla="*/ 86 h 183"/>
                    <a:gd name="T24" fmla="*/ 139 w 231"/>
                    <a:gd name="T25" fmla="*/ 79 h 183"/>
                    <a:gd name="T26" fmla="*/ 130 w 231"/>
                    <a:gd name="T27" fmla="*/ 69 h 183"/>
                    <a:gd name="T28" fmla="*/ 115 w 231"/>
                    <a:gd name="T29" fmla="*/ 57 h 183"/>
                    <a:gd name="T30" fmla="*/ 122 w 231"/>
                    <a:gd name="T31" fmla="*/ 57 h 183"/>
                    <a:gd name="T32" fmla="*/ 131 w 231"/>
                    <a:gd name="T33" fmla="*/ 55 h 183"/>
                    <a:gd name="T34" fmla="*/ 146 w 231"/>
                    <a:gd name="T35" fmla="*/ 71 h 183"/>
                    <a:gd name="T36" fmla="*/ 156 w 231"/>
                    <a:gd name="T37" fmla="*/ 77 h 183"/>
                    <a:gd name="T38" fmla="*/ 167 w 231"/>
                    <a:gd name="T39" fmla="*/ 80 h 183"/>
                    <a:gd name="T40" fmla="*/ 183 w 231"/>
                    <a:gd name="T41" fmla="*/ 78 h 183"/>
                    <a:gd name="T42" fmla="*/ 205 w 231"/>
                    <a:gd name="T43" fmla="*/ 68 h 183"/>
                    <a:gd name="T44" fmla="*/ 216 w 231"/>
                    <a:gd name="T45" fmla="*/ 58 h 183"/>
                    <a:gd name="T46" fmla="*/ 228 w 231"/>
                    <a:gd name="T47" fmla="*/ 46 h 183"/>
                    <a:gd name="T48" fmla="*/ 231 w 231"/>
                    <a:gd name="T49" fmla="*/ 33 h 183"/>
                    <a:gd name="T50" fmla="*/ 230 w 231"/>
                    <a:gd name="T51" fmla="*/ 22 h 183"/>
                    <a:gd name="T52" fmla="*/ 223 w 231"/>
                    <a:gd name="T53" fmla="*/ 12 h 183"/>
                    <a:gd name="T54" fmla="*/ 214 w 231"/>
                    <a:gd name="T55" fmla="*/ 7 h 183"/>
                    <a:gd name="T56" fmla="*/ 204 w 231"/>
                    <a:gd name="T57" fmla="*/ 4 h 183"/>
                    <a:gd name="T58" fmla="*/ 193 w 231"/>
                    <a:gd name="T59" fmla="*/ 7 h 183"/>
                    <a:gd name="T60" fmla="*/ 184 w 231"/>
                    <a:gd name="T61" fmla="*/ 15 h 183"/>
                    <a:gd name="T62" fmla="*/ 178 w 231"/>
                    <a:gd name="T63" fmla="*/ 8 h 183"/>
                    <a:gd name="T64" fmla="*/ 168 w 231"/>
                    <a:gd name="T65" fmla="*/ 3 h 183"/>
                    <a:gd name="T66" fmla="*/ 157 w 231"/>
                    <a:gd name="T67" fmla="*/ 6 h 183"/>
                    <a:gd name="T68" fmla="*/ 151 w 231"/>
                    <a:gd name="T69" fmla="*/ 17 h 183"/>
                    <a:gd name="T70" fmla="*/ 148 w 231"/>
                    <a:gd name="T71" fmla="*/ 25 h 183"/>
                    <a:gd name="T72" fmla="*/ 138 w 231"/>
                    <a:gd name="T73" fmla="*/ 9 h 183"/>
                    <a:gd name="T74" fmla="*/ 126 w 231"/>
                    <a:gd name="T75" fmla="*/ 1 h 183"/>
                    <a:gd name="T76" fmla="*/ 117 w 231"/>
                    <a:gd name="T77" fmla="*/ 0 h 183"/>
                    <a:gd name="T78" fmla="*/ 108 w 231"/>
                    <a:gd name="T79" fmla="*/ 4 h 183"/>
                    <a:gd name="T80" fmla="*/ 102 w 231"/>
                    <a:gd name="T81" fmla="*/ 14 h 183"/>
                    <a:gd name="T82" fmla="*/ 98 w 231"/>
                    <a:gd name="T83" fmla="*/ 24 h 183"/>
                    <a:gd name="T84" fmla="*/ 96 w 231"/>
                    <a:gd name="T85" fmla="*/ 35 h 183"/>
                    <a:gd name="T86" fmla="*/ 98 w 231"/>
                    <a:gd name="T87" fmla="*/ 46 h 183"/>
                    <a:gd name="T88" fmla="*/ 90 w 231"/>
                    <a:gd name="T89" fmla="*/ 41 h 183"/>
                    <a:gd name="T90" fmla="*/ 84 w 231"/>
                    <a:gd name="T91" fmla="*/ 42 h 183"/>
                    <a:gd name="T92" fmla="*/ 42 w 231"/>
                    <a:gd name="T93" fmla="*/ 53 h 183"/>
                    <a:gd name="T94" fmla="*/ 4 w 231"/>
                    <a:gd name="T95" fmla="*/ 62 h 183"/>
                    <a:gd name="T96" fmla="*/ 2 w 231"/>
                    <a:gd name="T97" fmla="*/ 62 h 183"/>
                    <a:gd name="T98" fmla="*/ 0 w 231"/>
                    <a:gd name="T99" fmla="*/ 73 h 183"/>
                    <a:gd name="T100" fmla="*/ 1 w 231"/>
                    <a:gd name="T101" fmla="*/ 96 h 183"/>
                    <a:gd name="T102" fmla="*/ 8 w 231"/>
                    <a:gd name="T103" fmla="*/ 111 h 183"/>
                    <a:gd name="T104" fmla="*/ 15 w 231"/>
                    <a:gd name="T105" fmla="*/ 118 h 183"/>
                    <a:gd name="T106" fmla="*/ 25 w 231"/>
                    <a:gd name="T107" fmla="*/ 123 h 183"/>
                    <a:gd name="T108" fmla="*/ 38 w 231"/>
                    <a:gd name="T109" fmla="*/ 123 h 183"/>
                    <a:gd name="T110" fmla="*/ 45 w 231"/>
                    <a:gd name="T111" fmla="*/ 12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1" h="183">
                      <a:moveTo>
                        <a:pt x="45" y="122"/>
                      </a:moveTo>
                      <a:lnTo>
                        <a:pt x="45" y="122"/>
                      </a:lnTo>
                      <a:lnTo>
                        <a:pt x="48" y="115"/>
                      </a:lnTo>
                      <a:lnTo>
                        <a:pt x="53" y="107"/>
                      </a:lnTo>
                      <a:lnTo>
                        <a:pt x="62" y="93"/>
                      </a:lnTo>
                      <a:lnTo>
                        <a:pt x="62" y="93"/>
                      </a:lnTo>
                      <a:lnTo>
                        <a:pt x="69" y="99"/>
                      </a:lnTo>
                      <a:lnTo>
                        <a:pt x="69" y="99"/>
                      </a:lnTo>
                      <a:lnTo>
                        <a:pt x="63" y="109"/>
                      </a:lnTo>
                      <a:lnTo>
                        <a:pt x="58" y="121"/>
                      </a:lnTo>
                      <a:lnTo>
                        <a:pt x="56" y="131"/>
                      </a:lnTo>
                      <a:lnTo>
                        <a:pt x="55" y="141"/>
                      </a:lnTo>
                      <a:lnTo>
                        <a:pt x="56" y="152"/>
                      </a:lnTo>
                      <a:lnTo>
                        <a:pt x="60" y="162"/>
                      </a:lnTo>
                      <a:lnTo>
                        <a:pt x="64" y="172"/>
                      </a:lnTo>
                      <a:lnTo>
                        <a:pt x="72" y="183"/>
                      </a:lnTo>
                      <a:lnTo>
                        <a:pt x="72" y="183"/>
                      </a:lnTo>
                      <a:lnTo>
                        <a:pt x="96" y="143"/>
                      </a:lnTo>
                      <a:lnTo>
                        <a:pt x="109" y="123"/>
                      </a:lnTo>
                      <a:lnTo>
                        <a:pt x="124" y="105"/>
                      </a:lnTo>
                      <a:lnTo>
                        <a:pt x="124" y="105"/>
                      </a:lnTo>
                      <a:lnTo>
                        <a:pt x="134" y="93"/>
                      </a:lnTo>
                      <a:lnTo>
                        <a:pt x="138" y="90"/>
                      </a:lnTo>
                      <a:lnTo>
                        <a:pt x="140" y="86"/>
                      </a:lnTo>
                      <a:lnTo>
                        <a:pt x="140" y="83"/>
                      </a:lnTo>
                      <a:lnTo>
                        <a:pt x="139" y="79"/>
                      </a:lnTo>
                      <a:lnTo>
                        <a:pt x="136" y="75"/>
                      </a:lnTo>
                      <a:lnTo>
                        <a:pt x="130" y="69"/>
                      </a:lnTo>
                      <a:lnTo>
                        <a:pt x="130" y="69"/>
                      </a:lnTo>
                      <a:lnTo>
                        <a:pt x="115" y="57"/>
                      </a:lnTo>
                      <a:lnTo>
                        <a:pt x="115" y="57"/>
                      </a:lnTo>
                      <a:lnTo>
                        <a:pt x="122" y="57"/>
                      </a:lnTo>
                      <a:lnTo>
                        <a:pt x="131" y="55"/>
                      </a:lnTo>
                      <a:lnTo>
                        <a:pt x="131" y="55"/>
                      </a:lnTo>
                      <a:lnTo>
                        <a:pt x="140" y="67"/>
                      </a:lnTo>
                      <a:lnTo>
                        <a:pt x="146" y="71"/>
                      </a:lnTo>
                      <a:lnTo>
                        <a:pt x="151" y="75"/>
                      </a:lnTo>
                      <a:lnTo>
                        <a:pt x="156" y="77"/>
                      </a:lnTo>
                      <a:lnTo>
                        <a:pt x="161" y="79"/>
                      </a:lnTo>
                      <a:lnTo>
                        <a:pt x="167" y="80"/>
                      </a:lnTo>
                      <a:lnTo>
                        <a:pt x="171" y="80"/>
                      </a:lnTo>
                      <a:lnTo>
                        <a:pt x="183" y="78"/>
                      </a:lnTo>
                      <a:lnTo>
                        <a:pt x="193" y="73"/>
                      </a:lnTo>
                      <a:lnTo>
                        <a:pt x="205" y="68"/>
                      </a:lnTo>
                      <a:lnTo>
                        <a:pt x="216" y="58"/>
                      </a:lnTo>
                      <a:lnTo>
                        <a:pt x="216" y="58"/>
                      </a:lnTo>
                      <a:lnTo>
                        <a:pt x="223" y="52"/>
                      </a:lnTo>
                      <a:lnTo>
                        <a:pt x="228" y="46"/>
                      </a:lnTo>
                      <a:lnTo>
                        <a:pt x="230" y="39"/>
                      </a:lnTo>
                      <a:lnTo>
                        <a:pt x="231" y="33"/>
                      </a:lnTo>
                      <a:lnTo>
                        <a:pt x="231" y="27"/>
                      </a:lnTo>
                      <a:lnTo>
                        <a:pt x="230" y="22"/>
                      </a:lnTo>
                      <a:lnTo>
                        <a:pt x="227" y="17"/>
                      </a:lnTo>
                      <a:lnTo>
                        <a:pt x="223" y="12"/>
                      </a:lnTo>
                      <a:lnTo>
                        <a:pt x="219" y="9"/>
                      </a:lnTo>
                      <a:lnTo>
                        <a:pt x="214" y="7"/>
                      </a:lnTo>
                      <a:lnTo>
                        <a:pt x="209" y="4"/>
                      </a:lnTo>
                      <a:lnTo>
                        <a:pt x="204" y="4"/>
                      </a:lnTo>
                      <a:lnTo>
                        <a:pt x="198" y="4"/>
                      </a:lnTo>
                      <a:lnTo>
                        <a:pt x="193" y="7"/>
                      </a:lnTo>
                      <a:lnTo>
                        <a:pt x="187" y="10"/>
                      </a:lnTo>
                      <a:lnTo>
                        <a:pt x="184" y="15"/>
                      </a:lnTo>
                      <a:lnTo>
                        <a:pt x="184" y="15"/>
                      </a:lnTo>
                      <a:lnTo>
                        <a:pt x="178" y="8"/>
                      </a:lnTo>
                      <a:lnTo>
                        <a:pt x="172" y="4"/>
                      </a:lnTo>
                      <a:lnTo>
                        <a:pt x="168" y="3"/>
                      </a:lnTo>
                      <a:lnTo>
                        <a:pt x="162" y="3"/>
                      </a:lnTo>
                      <a:lnTo>
                        <a:pt x="157" y="6"/>
                      </a:lnTo>
                      <a:lnTo>
                        <a:pt x="154" y="10"/>
                      </a:lnTo>
                      <a:lnTo>
                        <a:pt x="151" y="17"/>
                      </a:lnTo>
                      <a:lnTo>
                        <a:pt x="148" y="25"/>
                      </a:lnTo>
                      <a:lnTo>
                        <a:pt x="148" y="25"/>
                      </a:lnTo>
                      <a:lnTo>
                        <a:pt x="143" y="16"/>
                      </a:lnTo>
                      <a:lnTo>
                        <a:pt x="138" y="9"/>
                      </a:lnTo>
                      <a:lnTo>
                        <a:pt x="132" y="4"/>
                      </a:lnTo>
                      <a:lnTo>
                        <a:pt x="126" y="1"/>
                      </a:lnTo>
                      <a:lnTo>
                        <a:pt x="122" y="0"/>
                      </a:lnTo>
                      <a:lnTo>
                        <a:pt x="117" y="0"/>
                      </a:lnTo>
                      <a:lnTo>
                        <a:pt x="113" y="2"/>
                      </a:lnTo>
                      <a:lnTo>
                        <a:pt x="108" y="4"/>
                      </a:lnTo>
                      <a:lnTo>
                        <a:pt x="105" y="9"/>
                      </a:lnTo>
                      <a:lnTo>
                        <a:pt x="102" y="14"/>
                      </a:lnTo>
                      <a:lnTo>
                        <a:pt x="99" y="18"/>
                      </a:lnTo>
                      <a:lnTo>
                        <a:pt x="98" y="24"/>
                      </a:lnTo>
                      <a:lnTo>
                        <a:pt x="96" y="30"/>
                      </a:lnTo>
                      <a:lnTo>
                        <a:pt x="96" y="35"/>
                      </a:lnTo>
                      <a:lnTo>
                        <a:pt x="96" y="41"/>
                      </a:lnTo>
                      <a:lnTo>
                        <a:pt x="98" y="46"/>
                      </a:lnTo>
                      <a:lnTo>
                        <a:pt x="98" y="46"/>
                      </a:lnTo>
                      <a:lnTo>
                        <a:pt x="90" y="41"/>
                      </a:lnTo>
                      <a:lnTo>
                        <a:pt x="90" y="41"/>
                      </a:lnTo>
                      <a:lnTo>
                        <a:pt x="84" y="42"/>
                      </a:lnTo>
                      <a:lnTo>
                        <a:pt x="72" y="45"/>
                      </a:lnTo>
                      <a:lnTo>
                        <a:pt x="42" y="53"/>
                      </a:lnTo>
                      <a:lnTo>
                        <a:pt x="14" y="60"/>
                      </a:lnTo>
                      <a:lnTo>
                        <a:pt x="4" y="62"/>
                      </a:lnTo>
                      <a:lnTo>
                        <a:pt x="2" y="62"/>
                      </a:lnTo>
                      <a:lnTo>
                        <a:pt x="2" y="62"/>
                      </a:lnTo>
                      <a:lnTo>
                        <a:pt x="2" y="62"/>
                      </a:lnTo>
                      <a:lnTo>
                        <a:pt x="0" y="73"/>
                      </a:lnTo>
                      <a:lnTo>
                        <a:pt x="0" y="85"/>
                      </a:lnTo>
                      <a:lnTo>
                        <a:pt x="1" y="96"/>
                      </a:lnTo>
                      <a:lnTo>
                        <a:pt x="4" y="107"/>
                      </a:lnTo>
                      <a:lnTo>
                        <a:pt x="8" y="111"/>
                      </a:lnTo>
                      <a:lnTo>
                        <a:pt x="11" y="115"/>
                      </a:lnTo>
                      <a:lnTo>
                        <a:pt x="15" y="118"/>
                      </a:lnTo>
                      <a:lnTo>
                        <a:pt x="19" y="121"/>
                      </a:lnTo>
                      <a:lnTo>
                        <a:pt x="25" y="123"/>
                      </a:lnTo>
                      <a:lnTo>
                        <a:pt x="31" y="124"/>
                      </a:lnTo>
                      <a:lnTo>
                        <a:pt x="38" y="123"/>
                      </a:lnTo>
                      <a:lnTo>
                        <a:pt x="45" y="122"/>
                      </a:lnTo>
                      <a:lnTo>
                        <a:pt x="45" y="1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2" name="Freeform 351"/>
                <p:cNvSpPr>
                  <a:spLocks/>
                </p:cNvSpPr>
                <p:nvPr/>
              </p:nvSpPr>
              <p:spPr bwMode="auto">
                <a:xfrm>
                  <a:off x="3414713" y="420688"/>
                  <a:ext cx="14288" cy="12700"/>
                </a:xfrm>
                <a:custGeom>
                  <a:avLst/>
                  <a:gdLst>
                    <a:gd name="T0" fmla="*/ 16 w 63"/>
                    <a:gd name="T1" fmla="*/ 15 h 53"/>
                    <a:gd name="T2" fmla="*/ 16 w 63"/>
                    <a:gd name="T3" fmla="*/ 15 h 53"/>
                    <a:gd name="T4" fmla="*/ 9 w 63"/>
                    <a:gd name="T5" fmla="*/ 18 h 53"/>
                    <a:gd name="T6" fmla="*/ 5 w 63"/>
                    <a:gd name="T7" fmla="*/ 22 h 53"/>
                    <a:gd name="T8" fmla="*/ 1 w 63"/>
                    <a:gd name="T9" fmla="*/ 26 h 53"/>
                    <a:gd name="T10" fmla="*/ 0 w 63"/>
                    <a:gd name="T11" fmla="*/ 31 h 53"/>
                    <a:gd name="T12" fmla="*/ 0 w 63"/>
                    <a:gd name="T13" fmla="*/ 34 h 53"/>
                    <a:gd name="T14" fmla="*/ 2 w 63"/>
                    <a:gd name="T15" fmla="*/ 39 h 53"/>
                    <a:gd name="T16" fmla="*/ 5 w 63"/>
                    <a:gd name="T17" fmla="*/ 42 h 53"/>
                    <a:gd name="T18" fmla="*/ 8 w 63"/>
                    <a:gd name="T19" fmla="*/ 46 h 53"/>
                    <a:gd name="T20" fmla="*/ 13 w 63"/>
                    <a:gd name="T21" fmla="*/ 48 h 53"/>
                    <a:gd name="T22" fmla="*/ 19 w 63"/>
                    <a:gd name="T23" fmla="*/ 50 h 53"/>
                    <a:gd name="T24" fmla="*/ 24 w 63"/>
                    <a:gd name="T25" fmla="*/ 52 h 53"/>
                    <a:gd name="T26" fmla="*/ 30 w 63"/>
                    <a:gd name="T27" fmla="*/ 53 h 53"/>
                    <a:gd name="T28" fmla="*/ 36 w 63"/>
                    <a:gd name="T29" fmla="*/ 52 h 53"/>
                    <a:gd name="T30" fmla="*/ 43 w 63"/>
                    <a:gd name="T31" fmla="*/ 49 h 53"/>
                    <a:gd name="T32" fmla="*/ 49 w 63"/>
                    <a:gd name="T33" fmla="*/ 47 h 53"/>
                    <a:gd name="T34" fmla="*/ 53 w 63"/>
                    <a:gd name="T35" fmla="*/ 42 h 53"/>
                    <a:gd name="T36" fmla="*/ 53 w 63"/>
                    <a:gd name="T37" fmla="*/ 42 h 53"/>
                    <a:gd name="T38" fmla="*/ 58 w 63"/>
                    <a:gd name="T39" fmla="*/ 37 h 53"/>
                    <a:gd name="T40" fmla="*/ 61 w 63"/>
                    <a:gd name="T41" fmla="*/ 31 h 53"/>
                    <a:gd name="T42" fmla="*/ 62 w 63"/>
                    <a:gd name="T43" fmla="*/ 25 h 53"/>
                    <a:gd name="T44" fmla="*/ 63 w 63"/>
                    <a:gd name="T45" fmla="*/ 19 h 53"/>
                    <a:gd name="T46" fmla="*/ 62 w 63"/>
                    <a:gd name="T47" fmla="*/ 15 h 53"/>
                    <a:gd name="T48" fmla="*/ 60 w 63"/>
                    <a:gd name="T49" fmla="*/ 10 h 53"/>
                    <a:gd name="T50" fmla="*/ 58 w 63"/>
                    <a:gd name="T51" fmla="*/ 7 h 53"/>
                    <a:gd name="T52" fmla="*/ 54 w 63"/>
                    <a:gd name="T53" fmla="*/ 3 h 53"/>
                    <a:gd name="T54" fmla="*/ 50 w 63"/>
                    <a:gd name="T55" fmla="*/ 1 h 53"/>
                    <a:gd name="T56" fmla="*/ 45 w 63"/>
                    <a:gd name="T57" fmla="*/ 0 h 53"/>
                    <a:gd name="T58" fmla="*/ 40 w 63"/>
                    <a:gd name="T59" fmla="*/ 0 h 53"/>
                    <a:gd name="T60" fmla="*/ 36 w 63"/>
                    <a:gd name="T61" fmla="*/ 0 h 53"/>
                    <a:gd name="T62" fmla="*/ 30 w 63"/>
                    <a:gd name="T63" fmla="*/ 1 h 53"/>
                    <a:gd name="T64" fmla="*/ 25 w 63"/>
                    <a:gd name="T65" fmla="*/ 4 h 53"/>
                    <a:gd name="T66" fmla="*/ 21 w 63"/>
                    <a:gd name="T67" fmla="*/ 9 h 53"/>
                    <a:gd name="T68" fmla="*/ 16 w 63"/>
                    <a:gd name="T69" fmla="*/ 15 h 53"/>
                    <a:gd name="T70" fmla="*/ 16 w 63"/>
                    <a:gd name="T71" fmla="*/ 1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 h="53">
                      <a:moveTo>
                        <a:pt x="16" y="15"/>
                      </a:moveTo>
                      <a:lnTo>
                        <a:pt x="16" y="15"/>
                      </a:lnTo>
                      <a:lnTo>
                        <a:pt x="9" y="18"/>
                      </a:lnTo>
                      <a:lnTo>
                        <a:pt x="5" y="22"/>
                      </a:lnTo>
                      <a:lnTo>
                        <a:pt x="1" y="26"/>
                      </a:lnTo>
                      <a:lnTo>
                        <a:pt x="0" y="31"/>
                      </a:lnTo>
                      <a:lnTo>
                        <a:pt x="0" y="34"/>
                      </a:lnTo>
                      <a:lnTo>
                        <a:pt x="2" y="39"/>
                      </a:lnTo>
                      <a:lnTo>
                        <a:pt x="5" y="42"/>
                      </a:lnTo>
                      <a:lnTo>
                        <a:pt x="8" y="46"/>
                      </a:lnTo>
                      <a:lnTo>
                        <a:pt x="13" y="48"/>
                      </a:lnTo>
                      <a:lnTo>
                        <a:pt x="19" y="50"/>
                      </a:lnTo>
                      <a:lnTo>
                        <a:pt x="24" y="52"/>
                      </a:lnTo>
                      <a:lnTo>
                        <a:pt x="30" y="53"/>
                      </a:lnTo>
                      <a:lnTo>
                        <a:pt x="36" y="52"/>
                      </a:lnTo>
                      <a:lnTo>
                        <a:pt x="43" y="49"/>
                      </a:lnTo>
                      <a:lnTo>
                        <a:pt x="49" y="47"/>
                      </a:lnTo>
                      <a:lnTo>
                        <a:pt x="53" y="42"/>
                      </a:lnTo>
                      <a:lnTo>
                        <a:pt x="53" y="42"/>
                      </a:lnTo>
                      <a:lnTo>
                        <a:pt x="58" y="37"/>
                      </a:lnTo>
                      <a:lnTo>
                        <a:pt x="61" y="31"/>
                      </a:lnTo>
                      <a:lnTo>
                        <a:pt x="62" y="25"/>
                      </a:lnTo>
                      <a:lnTo>
                        <a:pt x="63" y="19"/>
                      </a:lnTo>
                      <a:lnTo>
                        <a:pt x="62" y="15"/>
                      </a:lnTo>
                      <a:lnTo>
                        <a:pt x="60" y="10"/>
                      </a:lnTo>
                      <a:lnTo>
                        <a:pt x="58" y="7"/>
                      </a:lnTo>
                      <a:lnTo>
                        <a:pt x="54" y="3"/>
                      </a:lnTo>
                      <a:lnTo>
                        <a:pt x="50" y="1"/>
                      </a:lnTo>
                      <a:lnTo>
                        <a:pt x="45" y="0"/>
                      </a:lnTo>
                      <a:lnTo>
                        <a:pt x="40" y="0"/>
                      </a:lnTo>
                      <a:lnTo>
                        <a:pt x="36" y="0"/>
                      </a:lnTo>
                      <a:lnTo>
                        <a:pt x="30" y="1"/>
                      </a:lnTo>
                      <a:lnTo>
                        <a:pt x="25" y="4"/>
                      </a:lnTo>
                      <a:lnTo>
                        <a:pt x="21" y="9"/>
                      </a:lnTo>
                      <a:lnTo>
                        <a:pt x="16" y="15"/>
                      </a:ln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3" name="Freeform 352"/>
                <p:cNvSpPr>
                  <a:spLocks/>
                </p:cNvSpPr>
                <p:nvPr/>
              </p:nvSpPr>
              <p:spPr bwMode="auto">
                <a:xfrm>
                  <a:off x="3533775" y="452438"/>
                  <a:ext cx="23813" cy="25400"/>
                </a:xfrm>
                <a:custGeom>
                  <a:avLst/>
                  <a:gdLst>
                    <a:gd name="T0" fmla="*/ 50 w 108"/>
                    <a:gd name="T1" fmla="*/ 91 h 113"/>
                    <a:gd name="T2" fmla="*/ 50 w 108"/>
                    <a:gd name="T3" fmla="*/ 91 h 113"/>
                    <a:gd name="T4" fmla="*/ 54 w 108"/>
                    <a:gd name="T5" fmla="*/ 91 h 113"/>
                    <a:gd name="T6" fmla="*/ 56 w 108"/>
                    <a:gd name="T7" fmla="*/ 92 h 113"/>
                    <a:gd name="T8" fmla="*/ 62 w 108"/>
                    <a:gd name="T9" fmla="*/ 97 h 113"/>
                    <a:gd name="T10" fmla="*/ 76 w 108"/>
                    <a:gd name="T11" fmla="*/ 107 h 113"/>
                    <a:gd name="T12" fmla="*/ 83 w 108"/>
                    <a:gd name="T13" fmla="*/ 112 h 113"/>
                    <a:gd name="T14" fmla="*/ 86 w 108"/>
                    <a:gd name="T15" fmla="*/ 113 h 113"/>
                    <a:gd name="T16" fmla="*/ 90 w 108"/>
                    <a:gd name="T17" fmla="*/ 113 h 113"/>
                    <a:gd name="T18" fmla="*/ 93 w 108"/>
                    <a:gd name="T19" fmla="*/ 113 h 113"/>
                    <a:gd name="T20" fmla="*/ 97 w 108"/>
                    <a:gd name="T21" fmla="*/ 111 h 113"/>
                    <a:gd name="T22" fmla="*/ 99 w 108"/>
                    <a:gd name="T23" fmla="*/ 107 h 113"/>
                    <a:gd name="T24" fmla="*/ 102 w 108"/>
                    <a:gd name="T25" fmla="*/ 103 h 113"/>
                    <a:gd name="T26" fmla="*/ 102 w 108"/>
                    <a:gd name="T27" fmla="*/ 103 h 113"/>
                    <a:gd name="T28" fmla="*/ 107 w 108"/>
                    <a:gd name="T29" fmla="*/ 91 h 113"/>
                    <a:gd name="T30" fmla="*/ 108 w 108"/>
                    <a:gd name="T31" fmla="*/ 88 h 113"/>
                    <a:gd name="T32" fmla="*/ 108 w 108"/>
                    <a:gd name="T33" fmla="*/ 83 h 113"/>
                    <a:gd name="T34" fmla="*/ 107 w 108"/>
                    <a:gd name="T35" fmla="*/ 80 h 113"/>
                    <a:gd name="T36" fmla="*/ 106 w 108"/>
                    <a:gd name="T37" fmla="*/ 77 h 113"/>
                    <a:gd name="T38" fmla="*/ 101 w 108"/>
                    <a:gd name="T39" fmla="*/ 73 h 113"/>
                    <a:gd name="T40" fmla="*/ 95 w 108"/>
                    <a:gd name="T41" fmla="*/ 68 h 113"/>
                    <a:gd name="T42" fmla="*/ 88 w 108"/>
                    <a:gd name="T43" fmla="*/ 62 h 113"/>
                    <a:gd name="T44" fmla="*/ 83 w 108"/>
                    <a:gd name="T45" fmla="*/ 54 h 113"/>
                    <a:gd name="T46" fmla="*/ 80 w 108"/>
                    <a:gd name="T47" fmla="*/ 50 h 113"/>
                    <a:gd name="T48" fmla="*/ 78 w 108"/>
                    <a:gd name="T49" fmla="*/ 45 h 113"/>
                    <a:gd name="T50" fmla="*/ 78 w 108"/>
                    <a:gd name="T51" fmla="*/ 45 h 113"/>
                    <a:gd name="T52" fmla="*/ 75 w 108"/>
                    <a:gd name="T53" fmla="*/ 30 h 113"/>
                    <a:gd name="T54" fmla="*/ 70 w 108"/>
                    <a:gd name="T55" fmla="*/ 20 h 113"/>
                    <a:gd name="T56" fmla="*/ 67 w 108"/>
                    <a:gd name="T57" fmla="*/ 13 h 113"/>
                    <a:gd name="T58" fmla="*/ 62 w 108"/>
                    <a:gd name="T59" fmla="*/ 8 h 113"/>
                    <a:gd name="T60" fmla="*/ 55 w 108"/>
                    <a:gd name="T61" fmla="*/ 5 h 113"/>
                    <a:gd name="T62" fmla="*/ 47 w 108"/>
                    <a:gd name="T63" fmla="*/ 2 h 113"/>
                    <a:gd name="T64" fmla="*/ 21 w 108"/>
                    <a:gd name="T65" fmla="*/ 0 h 113"/>
                    <a:gd name="T66" fmla="*/ 21 w 108"/>
                    <a:gd name="T67" fmla="*/ 0 h 113"/>
                    <a:gd name="T68" fmla="*/ 23 w 108"/>
                    <a:gd name="T69" fmla="*/ 8 h 113"/>
                    <a:gd name="T70" fmla="*/ 24 w 108"/>
                    <a:gd name="T71" fmla="*/ 16 h 113"/>
                    <a:gd name="T72" fmla="*/ 24 w 108"/>
                    <a:gd name="T73" fmla="*/ 23 h 113"/>
                    <a:gd name="T74" fmla="*/ 23 w 108"/>
                    <a:gd name="T75" fmla="*/ 30 h 113"/>
                    <a:gd name="T76" fmla="*/ 21 w 108"/>
                    <a:gd name="T77" fmla="*/ 36 h 113"/>
                    <a:gd name="T78" fmla="*/ 16 w 108"/>
                    <a:gd name="T79" fmla="*/ 40 h 113"/>
                    <a:gd name="T80" fmla="*/ 9 w 108"/>
                    <a:gd name="T81" fmla="*/ 43 h 113"/>
                    <a:gd name="T82" fmla="*/ 1 w 108"/>
                    <a:gd name="T83" fmla="*/ 44 h 113"/>
                    <a:gd name="T84" fmla="*/ 1 w 108"/>
                    <a:gd name="T85" fmla="*/ 44 h 113"/>
                    <a:gd name="T86" fmla="*/ 0 w 108"/>
                    <a:gd name="T87" fmla="*/ 51 h 113"/>
                    <a:gd name="T88" fmla="*/ 0 w 108"/>
                    <a:gd name="T89" fmla="*/ 58 h 113"/>
                    <a:gd name="T90" fmla="*/ 0 w 108"/>
                    <a:gd name="T91" fmla="*/ 62 h 113"/>
                    <a:gd name="T92" fmla="*/ 1 w 108"/>
                    <a:gd name="T93" fmla="*/ 68 h 113"/>
                    <a:gd name="T94" fmla="*/ 3 w 108"/>
                    <a:gd name="T95" fmla="*/ 71 h 113"/>
                    <a:gd name="T96" fmla="*/ 6 w 108"/>
                    <a:gd name="T97" fmla="*/ 76 h 113"/>
                    <a:gd name="T98" fmla="*/ 12 w 108"/>
                    <a:gd name="T99" fmla="*/ 82 h 113"/>
                    <a:gd name="T100" fmla="*/ 21 w 108"/>
                    <a:gd name="T101" fmla="*/ 86 h 113"/>
                    <a:gd name="T102" fmla="*/ 30 w 108"/>
                    <a:gd name="T103" fmla="*/ 89 h 113"/>
                    <a:gd name="T104" fmla="*/ 40 w 108"/>
                    <a:gd name="T105" fmla="*/ 90 h 113"/>
                    <a:gd name="T106" fmla="*/ 50 w 108"/>
                    <a:gd name="T107" fmla="*/ 91 h 113"/>
                    <a:gd name="T108" fmla="*/ 50 w 108"/>
                    <a:gd name="T109" fmla="*/ 9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 h="113">
                      <a:moveTo>
                        <a:pt x="50" y="91"/>
                      </a:moveTo>
                      <a:lnTo>
                        <a:pt x="50" y="91"/>
                      </a:lnTo>
                      <a:lnTo>
                        <a:pt x="54" y="91"/>
                      </a:lnTo>
                      <a:lnTo>
                        <a:pt x="56" y="92"/>
                      </a:lnTo>
                      <a:lnTo>
                        <a:pt x="62" y="97"/>
                      </a:lnTo>
                      <a:lnTo>
                        <a:pt x="76" y="107"/>
                      </a:lnTo>
                      <a:lnTo>
                        <a:pt x="83" y="112"/>
                      </a:lnTo>
                      <a:lnTo>
                        <a:pt x="86" y="113"/>
                      </a:lnTo>
                      <a:lnTo>
                        <a:pt x="90" y="113"/>
                      </a:lnTo>
                      <a:lnTo>
                        <a:pt x="93" y="113"/>
                      </a:lnTo>
                      <a:lnTo>
                        <a:pt x="97" y="111"/>
                      </a:lnTo>
                      <a:lnTo>
                        <a:pt x="99" y="107"/>
                      </a:lnTo>
                      <a:lnTo>
                        <a:pt x="102" y="103"/>
                      </a:lnTo>
                      <a:lnTo>
                        <a:pt x="102" y="103"/>
                      </a:lnTo>
                      <a:lnTo>
                        <a:pt x="107" y="91"/>
                      </a:lnTo>
                      <a:lnTo>
                        <a:pt x="108" y="88"/>
                      </a:lnTo>
                      <a:lnTo>
                        <a:pt x="108" y="83"/>
                      </a:lnTo>
                      <a:lnTo>
                        <a:pt x="107" y="80"/>
                      </a:lnTo>
                      <a:lnTo>
                        <a:pt x="106" y="77"/>
                      </a:lnTo>
                      <a:lnTo>
                        <a:pt x="101" y="73"/>
                      </a:lnTo>
                      <a:lnTo>
                        <a:pt x="95" y="68"/>
                      </a:lnTo>
                      <a:lnTo>
                        <a:pt x="88" y="62"/>
                      </a:lnTo>
                      <a:lnTo>
                        <a:pt x="83" y="54"/>
                      </a:lnTo>
                      <a:lnTo>
                        <a:pt x="80" y="50"/>
                      </a:lnTo>
                      <a:lnTo>
                        <a:pt x="78" y="45"/>
                      </a:lnTo>
                      <a:lnTo>
                        <a:pt x="78" y="45"/>
                      </a:lnTo>
                      <a:lnTo>
                        <a:pt x="75" y="30"/>
                      </a:lnTo>
                      <a:lnTo>
                        <a:pt x="70" y="20"/>
                      </a:lnTo>
                      <a:lnTo>
                        <a:pt x="67" y="13"/>
                      </a:lnTo>
                      <a:lnTo>
                        <a:pt x="62" y="8"/>
                      </a:lnTo>
                      <a:lnTo>
                        <a:pt x="55" y="5"/>
                      </a:lnTo>
                      <a:lnTo>
                        <a:pt x="47" y="2"/>
                      </a:lnTo>
                      <a:lnTo>
                        <a:pt x="21" y="0"/>
                      </a:lnTo>
                      <a:lnTo>
                        <a:pt x="21" y="0"/>
                      </a:lnTo>
                      <a:lnTo>
                        <a:pt x="23" y="8"/>
                      </a:lnTo>
                      <a:lnTo>
                        <a:pt x="24" y="16"/>
                      </a:lnTo>
                      <a:lnTo>
                        <a:pt x="24" y="23"/>
                      </a:lnTo>
                      <a:lnTo>
                        <a:pt x="23" y="30"/>
                      </a:lnTo>
                      <a:lnTo>
                        <a:pt x="21" y="36"/>
                      </a:lnTo>
                      <a:lnTo>
                        <a:pt x="16" y="40"/>
                      </a:lnTo>
                      <a:lnTo>
                        <a:pt x="9" y="43"/>
                      </a:lnTo>
                      <a:lnTo>
                        <a:pt x="1" y="44"/>
                      </a:lnTo>
                      <a:lnTo>
                        <a:pt x="1" y="44"/>
                      </a:lnTo>
                      <a:lnTo>
                        <a:pt x="0" y="51"/>
                      </a:lnTo>
                      <a:lnTo>
                        <a:pt x="0" y="58"/>
                      </a:lnTo>
                      <a:lnTo>
                        <a:pt x="0" y="62"/>
                      </a:lnTo>
                      <a:lnTo>
                        <a:pt x="1" y="68"/>
                      </a:lnTo>
                      <a:lnTo>
                        <a:pt x="3" y="71"/>
                      </a:lnTo>
                      <a:lnTo>
                        <a:pt x="6" y="76"/>
                      </a:lnTo>
                      <a:lnTo>
                        <a:pt x="12" y="82"/>
                      </a:lnTo>
                      <a:lnTo>
                        <a:pt x="21" y="86"/>
                      </a:lnTo>
                      <a:lnTo>
                        <a:pt x="30" y="89"/>
                      </a:lnTo>
                      <a:lnTo>
                        <a:pt x="40" y="90"/>
                      </a:lnTo>
                      <a:lnTo>
                        <a:pt x="50" y="91"/>
                      </a:lnTo>
                      <a:lnTo>
                        <a:pt x="50" y="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4" name="Freeform 353"/>
                <p:cNvSpPr>
                  <a:spLocks/>
                </p:cNvSpPr>
                <p:nvPr/>
              </p:nvSpPr>
              <p:spPr bwMode="auto">
                <a:xfrm>
                  <a:off x="3494088" y="723900"/>
                  <a:ext cx="15875" cy="9525"/>
                </a:xfrm>
                <a:custGeom>
                  <a:avLst/>
                  <a:gdLst>
                    <a:gd name="T0" fmla="*/ 33 w 69"/>
                    <a:gd name="T1" fmla="*/ 44 h 44"/>
                    <a:gd name="T2" fmla="*/ 33 w 69"/>
                    <a:gd name="T3" fmla="*/ 44 h 44"/>
                    <a:gd name="T4" fmla="*/ 69 w 69"/>
                    <a:gd name="T5" fmla="*/ 10 h 44"/>
                    <a:gd name="T6" fmla="*/ 69 w 69"/>
                    <a:gd name="T7" fmla="*/ 10 h 44"/>
                    <a:gd name="T8" fmla="*/ 66 w 69"/>
                    <a:gd name="T9" fmla="*/ 6 h 44"/>
                    <a:gd name="T10" fmla="*/ 62 w 69"/>
                    <a:gd name="T11" fmla="*/ 4 h 44"/>
                    <a:gd name="T12" fmla="*/ 59 w 69"/>
                    <a:gd name="T13" fmla="*/ 3 h 44"/>
                    <a:gd name="T14" fmla="*/ 55 w 69"/>
                    <a:gd name="T15" fmla="*/ 2 h 44"/>
                    <a:gd name="T16" fmla="*/ 48 w 69"/>
                    <a:gd name="T17" fmla="*/ 0 h 44"/>
                    <a:gd name="T18" fmla="*/ 41 w 69"/>
                    <a:gd name="T19" fmla="*/ 3 h 44"/>
                    <a:gd name="T20" fmla="*/ 25 w 69"/>
                    <a:gd name="T21" fmla="*/ 7 h 44"/>
                    <a:gd name="T22" fmla="*/ 17 w 69"/>
                    <a:gd name="T23" fmla="*/ 11 h 44"/>
                    <a:gd name="T24" fmla="*/ 9 w 69"/>
                    <a:gd name="T25" fmla="*/ 12 h 44"/>
                    <a:gd name="T26" fmla="*/ 9 w 69"/>
                    <a:gd name="T27" fmla="*/ 12 h 44"/>
                    <a:gd name="T28" fmla="*/ 6 w 69"/>
                    <a:gd name="T29" fmla="*/ 12 h 44"/>
                    <a:gd name="T30" fmla="*/ 2 w 69"/>
                    <a:gd name="T31" fmla="*/ 14 h 44"/>
                    <a:gd name="T32" fmla="*/ 1 w 69"/>
                    <a:gd name="T33" fmla="*/ 15 h 44"/>
                    <a:gd name="T34" fmla="*/ 0 w 69"/>
                    <a:gd name="T35" fmla="*/ 18 h 44"/>
                    <a:gd name="T36" fmla="*/ 0 w 69"/>
                    <a:gd name="T37" fmla="*/ 21 h 44"/>
                    <a:gd name="T38" fmla="*/ 0 w 69"/>
                    <a:gd name="T39" fmla="*/ 24 h 44"/>
                    <a:gd name="T40" fmla="*/ 3 w 69"/>
                    <a:gd name="T41" fmla="*/ 30 h 44"/>
                    <a:gd name="T42" fmla="*/ 9 w 69"/>
                    <a:gd name="T43" fmla="*/ 36 h 44"/>
                    <a:gd name="T44" fmla="*/ 16 w 69"/>
                    <a:gd name="T45" fmla="*/ 41 h 44"/>
                    <a:gd name="T46" fmla="*/ 24 w 69"/>
                    <a:gd name="T47" fmla="*/ 44 h 44"/>
                    <a:gd name="T48" fmla="*/ 29 w 69"/>
                    <a:gd name="T49" fmla="*/ 44 h 44"/>
                    <a:gd name="T50" fmla="*/ 33 w 69"/>
                    <a:gd name="T51" fmla="*/ 44 h 44"/>
                    <a:gd name="T52" fmla="*/ 33 w 69"/>
                    <a:gd name="T5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44">
                      <a:moveTo>
                        <a:pt x="33" y="44"/>
                      </a:moveTo>
                      <a:lnTo>
                        <a:pt x="33" y="44"/>
                      </a:lnTo>
                      <a:lnTo>
                        <a:pt x="69" y="10"/>
                      </a:lnTo>
                      <a:lnTo>
                        <a:pt x="69" y="10"/>
                      </a:lnTo>
                      <a:lnTo>
                        <a:pt x="66" y="6"/>
                      </a:lnTo>
                      <a:lnTo>
                        <a:pt x="62" y="4"/>
                      </a:lnTo>
                      <a:lnTo>
                        <a:pt x="59" y="3"/>
                      </a:lnTo>
                      <a:lnTo>
                        <a:pt x="55" y="2"/>
                      </a:lnTo>
                      <a:lnTo>
                        <a:pt x="48" y="0"/>
                      </a:lnTo>
                      <a:lnTo>
                        <a:pt x="41" y="3"/>
                      </a:lnTo>
                      <a:lnTo>
                        <a:pt x="25" y="7"/>
                      </a:lnTo>
                      <a:lnTo>
                        <a:pt x="17" y="11"/>
                      </a:lnTo>
                      <a:lnTo>
                        <a:pt x="9" y="12"/>
                      </a:lnTo>
                      <a:lnTo>
                        <a:pt x="9" y="12"/>
                      </a:lnTo>
                      <a:lnTo>
                        <a:pt x="6" y="12"/>
                      </a:lnTo>
                      <a:lnTo>
                        <a:pt x="2" y="14"/>
                      </a:lnTo>
                      <a:lnTo>
                        <a:pt x="1" y="15"/>
                      </a:lnTo>
                      <a:lnTo>
                        <a:pt x="0" y="18"/>
                      </a:lnTo>
                      <a:lnTo>
                        <a:pt x="0" y="21"/>
                      </a:lnTo>
                      <a:lnTo>
                        <a:pt x="0" y="24"/>
                      </a:lnTo>
                      <a:lnTo>
                        <a:pt x="3" y="30"/>
                      </a:lnTo>
                      <a:lnTo>
                        <a:pt x="9" y="36"/>
                      </a:lnTo>
                      <a:lnTo>
                        <a:pt x="16" y="41"/>
                      </a:lnTo>
                      <a:lnTo>
                        <a:pt x="24" y="44"/>
                      </a:lnTo>
                      <a:lnTo>
                        <a:pt x="29" y="44"/>
                      </a:lnTo>
                      <a:lnTo>
                        <a:pt x="33" y="44"/>
                      </a:lnTo>
                      <a:lnTo>
                        <a:pt x="33"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5" name="Freeform 354"/>
                <p:cNvSpPr>
                  <a:spLocks/>
                </p:cNvSpPr>
                <p:nvPr/>
              </p:nvSpPr>
              <p:spPr bwMode="auto">
                <a:xfrm>
                  <a:off x="3295650" y="576263"/>
                  <a:ext cx="58738" cy="65088"/>
                </a:xfrm>
                <a:custGeom>
                  <a:avLst/>
                  <a:gdLst>
                    <a:gd name="T0" fmla="*/ 116 w 258"/>
                    <a:gd name="T1" fmla="*/ 101 h 285"/>
                    <a:gd name="T2" fmla="*/ 114 w 258"/>
                    <a:gd name="T3" fmla="*/ 121 h 285"/>
                    <a:gd name="T4" fmla="*/ 98 w 258"/>
                    <a:gd name="T5" fmla="*/ 111 h 285"/>
                    <a:gd name="T6" fmla="*/ 74 w 258"/>
                    <a:gd name="T7" fmla="*/ 116 h 285"/>
                    <a:gd name="T8" fmla="*/ 70 w 258"/>
                    <a:gd name="T9" fmla="*/ 116 h 285"/>
                    <a:gd name="T10" fmla="*/ 50 w 258"/>
                    <a:gd name="T11" fmla="*/ 134 h 285"/>
                    <a:gd name="T12" fmla="*/ 26 w 258"/>
                    <a:gd name="T13" fmla="*/ 148 h 285"/>
                    <a:gd name="T14" fmla="*/ 28 w 258"/>
                    <a:gd name="T15" fmla="*/ 166 h 285"/>
                    <a:gd name="T16" fmla="*/ 28 w 258"/>
                    <a:gd name="T17" fmla="*/ 187 h 285"/>
                    <a:gd name="T18" fmla="*/ 5 w 258"/>
                    <a:gd name="T19" fmla="*/ 198 h 285"/>
                    <a:gd name="T20" fmla="*/ 0 w 258"/>
                    <a:gd name="T21" fmla="*/ 203 h 285"/>
                    <a:gd name="T22" fmla="*/ 9 w 258"/>
                    <a:gd name="T23" fmla="*/ 225 h 285"/>
                    <a:gd name="T24" fmla="*/ 29 w 258"/>
                    <a:gd name="T25" fmla="*/ 233 h 285"/>
                    <a:gd name="T26" fmla="*/ 45 w 258"/>
                    <a:gd name="T27" fmla="*/ 231 h 285"/>
                    <a:gd name="T28" fmla="*/ 86 w 258"/>
                    <a:gd name="T29" fmla="*/ 218 h 285"/>
                    <a:gd name="T30" fmla="*/ 105 w 258"/>
                    <a:gd name="T31" fmla="*/ 204 h 285"/>
                    <a:gd name="T32" fmla="*/ 111 w 258"/>
                    <a:gd name="T33" fmla="*/ 192 h 285"/>
                    <a:gd name="T34" fmla="*/ 114 w 258"/>
                    <a:gd name="T35" fmla="*/ 162 h 285"/>
                    <a:gd name="T36" fmla="*/ 121 w 258"/>
                    <a:gd name="T37" fmla="*/ 140 h 285"/>
                    <a:gd name="T38" fmla="*/ 132 w 258"/>
                    <a:gd name="T39" fmla="*/ 134 h 285"/>
                    <a:gd name="T40" fmla="*/ 144 w 258"/>
                    <a:gd name="T41" fmla="*/ 136 h 285"/>
                    <a:gd name="T42" fmla="*/ 154 w 258"/>
                    <a:gd name="T43" fmla="*/ 149 h 285"/>
                    <a:gd name="T44" fmla="*/ 154 w 258"/>
                    <a:gd name="T45" fmla="*/ 171 h 285"/>
                    <a:gd name="T46" fmla="*/ 149 w 258"/>
                    <a:gd name="T47" fmla="*/ 173 h 285"/>
                    <a:gd name="T48" fmla="*/ 135 w 258"/>
                    <a:gd name="T49" fmla="*/ 181 h 285"/>
                    <a:gd name="T50" fmla="*/ 116 w 258"/>
                    <a:gd name="T51" fmla="*/ 217 h 285"/>
                    <a:gd name="T52" fmla="*/ 105 w 258"/>
                    <a:gd name="T53" fmla="*/ 235 h 285"/>
                    <a:gd name="T54" fmla="*/ 132 w 258"/>
                    <a:gd name="T55" fmla="*/ 239 h 285"/>
                    <a:gd name="T56" fmla="*/ 83 w 258"/>
                    <a:gd name="T57" fmla="*/ 272 h 285"/>
                    <a:gd name="T58" fmla="*/ 95 w 258"/>
                    <a:gd name="T59" fmla="*/ 280 h 285"/>
                    <a:gd name="T60" fmla="*/ 112 w 258"/>
                    <a:gd name="T61" fmla="*/ 285 h 285"/>
                    <a:gd name="T62" fmla="*/ 139 w 258"/>
                    <a:gd name="T63" fmla="*/ 278 h 285"/>
                    <a:gd name="T64" fmla="*/ 173 w 258"/>
                    <a:gd name="T65" fmla="*/ 262 h 285"/>
                    <a:gd name="T66" fmla="*/ 195 w 258"/>
                    <a:gd name="T67" fmla="*/ 257 h 285"/>
                    <a:gd name="T68" fmla="*/ 230 w 258"/>
                    <a:gd name="T69" fmla="*/ 258 h 285"/>
                    <a:gd name="T70" fmla="*/ 243 w 258"/>
                    <a:gd name="T71" fmla="*/ 249 h 285"/>
                    <a:gd name="T72" fmla="*/ 251 w 258"/>
                    <a:gd name="T73" fmla="*/ 236 h 285"/>
                    <a:gd name="T74" fmla="*/ 247 w 258"/>
                    <a:gd name="T75" fmla="*/ 225 h 285"/>
                    <a:gd name="T76" fmla="*/ 258 w 258"/>
                    <a:gd name="T77" fmla="*/ 212 h 285"/>
                    <a:gd name="T78" fmla="*/ 254 w 258"/>
                    <a:gd name="T79" fmla="*/ 198 h 285"/>
                    <a:gd name="T80" fmla="*/ 232 w 258"/>
                    <a:gd name="T81" fmla="*/ 179 h 285"/>
                    <a:gd name="T82" fmla="*/ 219 w 258"/>
                    <a:gd name="T83" fmla="*/ 165 h 285"/>
                    <a:gd name="T84" fmla="*/ 193 w 258"/>
                    <a:gd name="T85" fmla="*/ 109 h 285"/>
                    <a:gd name="T86" fmla="*/ 189 w 258"/>
                    <a:gd name="T87" fmla="*/ 96 h 285"/>
                    <a:gd name="T88" fmla="*/ 190 w 258"/>
                    <a:gd name="T89" fmla="*/ 73 h 285"/>
                    <a:gd name="T90" fmla="*/ 190 w 258"/>
                    <a:gd name="T91" fmla="*/ 65 h 285"/>
                    <a:gd name="T92" fmla="*/ 190 w 258"/>
                    <a:gd name="T93" fmla="*/ 49 h 285"/>
                    <a:gd name="T94" fmla="*/ 187 w 258"/>
                    <a:gd name="T95" fmla="*/ 43 h 285"/>
                    <a:gd name="T96" fmla="*/ 167 w 258"/>
                    <a:gd name="T97" fmla="*/ 43 h 285"/>
                    <a:gd name="T98" fmla="*/ 155 w 258"/>
                    <a:gd name="T99" fmla="*/ 40 h 285"/>
                    <a:gd name="T100" fmla="*/ 155 w 258"/>
                    <a:gd name="T101" fmla="*/ 36 h 285"/>
                    <a:gd name="T102" fmla="*/ 167 w 258"/>
                    <a:gd name="T103" fmla="*/ 14 h 285"/>
                    <a:gd name="T104" fmla="*/ 165 w 258"/>
                    <a:gd name="T105" fmla="*/ 6 h 285"/>
                    <a:gd name="T106" fmla="*/ 154 w 258"/>
                    <a:gd name="T107" fmla="*/ 2 h 285"/>
                    <a:gd name="T108" fmla="*/ 140 w 258"/>
                    <a:gd name="T109" fmla="*/ 3 h 285"/>
                    <a:gd name="T110" fmla="*/ 125 w 258"/>
                    <a:gd name="T111" fmla="*/ 17 h 285"/>
                    <a:gd name="T112" fmla="*/ 106 w 258"/>
                    <a:gd name="T113" fmla="*/ 56 h 285"/>
                    <a:gd name="T114" fmla="*/ 96 w 258"/>
                    <a:gd name="T115" fmla="*/ 95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8" h="285">
                      <a:moveTo>
                        <a:pt x="116" y="94"/>
                      </a:moveTo>
                      <a:lnTo>
                        <a:pt x="116" y="94"/>
                      </a:lnTo>
                      <a:lnTo>
                        <a:pt x="116" y="101"/>
                      </a:lnTo>
                      <a:lnTo>
                        <a:pt x="116" y="108"/>
                      </a:lnTo>
                      <a:lnTo>
                        <a:pt x="114" y="121"/>
                      </a:lnTo>
                      <a:lnTo>
                        <a:pt x="114" y="121"/>
                      </a:lnTo>
                      <a:lnTo>
                        <a:pt x="109" y="116"/>
                      </a:lnTo>
                      <a:lnTo>
                        <a:pt x="103" y="112"/>
                      </a:lnTo>
                      <a:lnTo>
                        <a:pt x="98" y="111"/>
                      </a:lnTo>
                      <a:lnTo>
                        <a:pt x="93" y="112"/>
                      </a:lnTo>
                      <a:lnTo>
                        <a:pt x="80" y="114"/>
                      </a:lnTo>
                      <a:lnTo>
                        <a:pt x="74" y="116"/>
                      </a:lnTo>
                      <a:lnTo>
                        <a:pt x="68" y="114"/>
                      </a:lnTo>
                      <a:lnTo>
                        <a:pt x="68" y="114"/>
                      </a:lnTo>
                      <a:lnTo>
                        <a:pt x="70" y="116"/>
                      </a:lnTo>
                      <a:lnTo>
                        <a:pt x="68" y="117"/>
                      </a:lnTo>
                      <a:lnTo>
                        <a:pt x="65" y="121"/>
                      </a:lnTo>
                      <a:lnTo>
                        <a:pt x="50" y="134"/>
                      </a:lnTo>
                      <a:lnTo>
                        <a:pt x="33" y="146"/>
                      </a:lnTo>
                      <a:lnTo>
                        <a:pt x="27" y="148"/>
                      </a:lnTo>
                      <a:lnTo>
                        <a:pt x="26" y="148"/>
                      </a:lnTo>
                      <a:lnTo>
                        <a:pt x="25" y="147"/>
                      </a:lnTo>
                      <a:lnTo>
                        <a:pt x="25" y="147"/>
                      </a:lnTo>
                      <a:lnTo>
                        <a:pt x="28" y="166"/>
                      </a:lnTo>
                      <a:lnTo>
                        <a:pt x="30" y="185"/>
                      </a:lnTo>
                      <a:lnTo>
                        <a:pt x="30" y="185"/>
                      </a:lnTo>
                      <a:lnTo>
                        <a:pt x="28" y="187"/>
                      </a:lnTo>
                      <a:lnTo>
                        <a:pt x="25" y="189"/>
                      </a:lnTo>
                      <a:lnTo>
                        <a:pt x="14" y="194"/>
                      </a:lnTo>
                      <a:lnTo>
                        <a:pt x="5" y="198"/>
                      </a:lnTo>
                      <a:lnTo>
                        <a:pt x="2" y="201"/>
                      </a:lnTo>
                      <a:lnTo>
                        <a:pt x="0" y="203"/>
                      </a:lnTo>
                      <a:lnTo>
                        <a:pt x="0" y="203"/>
                      </a:lnTo>
                      <a:lnTo>
                        <a:pt x="2" y="212"/>
                      </a:lnTo>
                      <a:lnTo>
                        <a:pt x="4" y="219"/>
                      </a:lnTo>
                      <a:lnTo>
                        <a:pt x="9" y="225"/>
                      </a:lnTo>
                      <a:lnTo>
                        <a:pt x="14" y="230"/>
                      </a:lnTo>
                      <a:lnTo>
                        <a:pt x="21" y="232"/>
                      </a:lnTo>
                      <a:lnTo>
                        <a:pt x="29" y="233"/>
                      </a:lnTo>
                      <a:lnTo>
                        <a:pt x="37" y="233"/>
                      </a:lnTo>
                      <a:lnTo>
                        <a:pt x="45" y="231"/>
                      </a:lnTo>
                      <a:lnTo>
                        <a:pt x="45" y="231"/>
                      </a:lnTo>
                      <a:lnTo>
                        <a:pt x="65" y="225"/>
                      </a:lnTo>
                      <a:lnTo>
                        <a:pt x="75" y="221"/>
                      </a:lnTo>
                      <a:lnTo>
                        <a:pt x="86" y="218"/>
                      </a:lnTo>
                      <a:lnTo>
                        <a:pt x="95" y="213"/>
                      </a:lnTo>
                      <a:lnTo>
                        <a:pt x="103" y="208"/>
                      </a:lnTo>
                      <a:lnTo>
                        <a:pt x="105" y="204"/>
                      </a:lnTo>
                      <a:lnTo>
                        <a:pt x="108" y="201"/>
                      </a:lnTo>
                      <a:lnTo>
                        <a:pt x="110" y="196"/>
                      </a:lnTo>
                      <a:lnTo>
                        <a:pt x="111" y="192"/>
                      </a:lnTo>
                      <a:lnTo>
                        <a:pt x="111" y="192"/>
                      </a:lnTo>
                      <a:lnTo>
                        <a:pt x="112" y="179"/>
                      </a:lnTo>
                      <a:lnTo>
                        <a:pt x="114" y="162"/>
                      </a:lnTo>
                      <a:lnTo>
                        <a:pt x="116" y="154"/>
                      </a:lnTo>
                      <a:lnTo>
                        <a:pt x="118" y="146"/>
                      </a:lnTo>
                      <a:lnTo>
                        <a:pt x="121" y="140"/>
                      </a:lnTo>
                      <a:lnTo>
                        <a:pt x="126" y="136"/>
                      </a:lnTo>
                      <a:lnTo>
                        <a:pt x="126" y="136"/>
                      </a:lnTo>
                      <a:lnTo>
                        <a:pt x="132" y="134"/>
                      </a:lnTo>
                      <a:lnTo>
                        <a:pt x="136" y="134"/>
                      </a:lnTo>
                      <a:lnTo>
                        <a:pt x="141" y="134"/>
                      </a:lnTo>
                      <a:lnTo>
                        <a:pt x="144" y="136"/>
                      </a:lnTo>
                      <a:lnTo>
                        <a:pt x="148" y="139"/>
                      </a:lnTo>
                      <a:lnTo>
                        <a:pt x="150" y="141"/>
                      </a:lnTo>
                      <a:lnTo>
                        <a:pt x="154" y="149"/>
                      </a:lnTo>
                      <a:lnTo>
                        <a:pt x="156" y="157"/>
                      </a:lnTo>
                      <a:lnTo>
                        <a:pt x="155" y="165"/>
                      </a:lnTo>
                      <a:lnTo>
                        <a:pt x="154" y="171"/>
                      </a:lnTo>
                      <a:lnTo>
                        <a:pt x="151" y="173"/>
                      </a:lnTo>
                      <a:lnTo>
                        <a:pt x="149" y="173"/>
                      </a:lnTo>
                      <a:lnTo>
                        <a:pt x="149" y="173"/>
                      </a:lnTo>
                      <a:lnTo>
                        <a:pt x="146" y="174"/>
                      </a:lnTo>
                      <a:lnTo>
                        <a:pt x="141" y="177"/>
                      </a:lnTo>
                      <a:lnTo>
                        <a:pt x="135" y="181"/>
                      </a:lnTo>
                      <a:lnTo>
                        <a:pt x="129" y="188"/>
                      </a:lnTo>
                      <a:lnTo>
                        <a:pt x="125" y="197"/>
                      </a:lnTo>
                      <a:lnTo>
                        <a:pt x="116" y="217"/>
                      </a:lnTo>
                      <a:lnTo>
                        <a:pt x="111" y="227"/>
                      </a:lnTo>
                      <a:lnTo>
                        <a:pt x="105" y="235"/>
                      </a:lnTo>
                      <a:lnTo>
                        <a:pt x="105" y="235"/>
                      </a:lnTo>
                      <a:lnTo>
                        <a:pt x="114" y="236"/>
                      </a:lnTo>
                      <a:lnTo>
                        <a:pt x="123" y="238"/>
                      </a:lnTo>
                      <a:lnTo>
                        <a:pt x="132" y="239"/>
                      </a:lnTo>
                      <a:lnTo>
                        <a:pt x="141" y="239"/>
                      </a:lnTo>
                      <a:lnTo>
                        <a:pt x="141" y="239"/>
                      </a:lnTo>
                      <a:lnTo>
                        <a:pt x="83" y="272"/>
                      </a:lnTo>
                      <a:lnTo>
                        <a:pt x="83" y="272"/>
                      </a:lnTo>
                      <a:lnTo>
                        <a:pt x="89" y="277"/>
                      </a:lnTo>
                      <a:lnTo>
                        <a:pt x="95" y="280"/>
                      </a:lnTo>
                      <a:lnTo>
                        <a:pt x="101" y="283"/>
                      </a:lnTo>
                      <a:lnTo>
                        <a:pt x="106" y="284"/>
                      </a:lnTo>
                      <a:lnTo>
                        <a:pt x="112" y="285"/>
                      </a:lnTo>
                      <a:lnTo>
                        <a:pt x="117" y="285"/>
                      </a:lnTo>
                      <a:lnTo>
                        <a:pt x="128" y="283"/>
                      </a:lnTo>
                      <a:lnTo>
                        <a:pt x="139" y="278"/>
                      </a:lnTo>
                      <a:lnTo>
                        <a:pt x="150" y="273"/>
                      </a:lnTo>
                      <a:lnTo>
                        <a:pt x="173" y="262"/>
                      </a:lnTo>
                      <a:lnTo>
                        <a:pt x="173" y="262"/>
                      </a:lnTo>
                      <a:lnTo>
                        <a:pt x="179" y="259"/>
                      </a:lnTo>
                      <a:lnTo>
                        <a:pt x="184" y="258"/>
                      </a:lnTo>
                      <a:lnTo>
                        <a:pt x="195" y="257"/>
                      </a:lnTo>
                      <a:lnTo>
                        <a:pt x="216" y="259"/>
                      </a:lnTo>
                      <a:lnTo>
                        <a:pt x="225" y="259"/>
                      </a:lnTo>
                      <a:lnTo>
                        <a:pt x="230" y="258"/>
                      </a:lnTo>
                      <a:lnTo>
                        <a:pt x="234" y="256"/>
                      </a:lnTo>
                      <a:lnTo>
                        <a:pt x="239" y="253"/>
                      </a:lnTo>
                      <a:lnTo>
                        <a:pt x="243" y="249"/>
                      </a:lnTo>
                      <a:lnTo>
                        <a:pt x="247" y="243"/>
                      </a:lnTo>
                      <a:lnTo>
                        <a:pt x="251" y="236"/>
                      </a:lnTo>
                      <a:lnTo>
                        <a:pt x="251" y="236"/>
                      </a:lnTo>
                      <a:lnTo>
                        <a:pt x="239" y="230"/>
                      </a:lnTo>
                      <a:lnTo>
                        <a:pt x="239" y="230"/>
                      </a:lnTo>
                      <a:lnTo>
                        <a:pt x="247" y="225"/>
                      </a:lnTo>
                      <a:lnTo>
                        <a:pt x="253" y="220"/>
                      </a:lnTo>
                      <a:lnTo>
                        <a:pt x="257" y="217"/>
                      </a:lnTo>
                      <a:lnTo>
                        <a:pt x="258" y="212"/>
                      </a:lnTo>
                      <a:lnTo>
                        <a:pt x="258" y="208"/>
                      </a:lnTo>
                      <a:lnTo>
                        <a:pt x="257" y="203"/>
                      </a:lnTo>
                      <a:lnTo>
                        <a:pt x="254" y="198"/>
                      </a:lnTo>
                      <a:lnTo>
                        <a:pt x="250" y="195"/>
                      </a:lnTo>
                      <a:lnTo>
                        <a:pt x="242" y="186"/>
                      </a:lnTo>
                      <a:lnTo>
                        <a:pt x="232" y="179"/>
                      </a:lnTo>
                      <a:lnTo>
                        <a:pt x="224" y="172"/>
                      </a:lnTo>
                      <a:lnTo>
                        <a:pt x="222" y="169"/>
                      </a:lnTo>
                      <a:lnTo>
                        <a:pt x="219" y="165"/>
                      </a:lnTo>
                      <a:lnTo>
                        <a:pt x="219" y="165"/>
                      </a:lnTo>
                      <a:lnTo>
                        <a:pt x="207" y="137"/>
                      </a:lnTo>
                      <a:lnTo>
                        <a:pt x="193" y="109"/>
                      </a:lnTo>
                      <a:lnTo>
                        <a:pt x="193" y="109"/>
                      </a:lnTo>
                      <a:lnTo>
                        <a:pt x="190" y="103"/>
                      </a:lnTo>
                      <a:lnTo>
                        <a:pt x="189" y="96"/>
                      </a:lnTo>
                      <a:lnTo>
                        <a:pt x="189" y="90"/>
                      </a:lnTo>
                      <a:lnTo>
                        <a:pt x="189" y="84"/>
                      </a:lnTo>
                      <a:lnTo>
                        <a:pt x="190" y="73"/>
                      </a:lnTo>
                      <a:lnTo>
                        <a:pt x="190" y="68"/>
                      </a:lnTo>
                      <a:lnTo>
                        <a:pt x="190" y="65"/>
                      </a:lnTo>
                      <a:lnTo>
                        <a:pt x="190" y="65"/>
                      </a:lnTo>
                      <a:lnTo>
                        <a:pt x="189" y="60"/>
                      </a:lnTo>
                      <a:lnTo>
                        <a:pt x="189" y="56"/>
                      </a:lnTo>
                      <a:lnTo>
                        <a:pt x="190" y="49"/>
                      </a:lnTo>
                      <a:lnTo>
                        <a:pt x="190" y="46"/>
                      </a:lnTo>
                      <a:lnTo>
                        <a:pt x="189" y="44"/>
                      </a:lnTo>
                      <a:lnTo>
                        <a:pt x="187" y="43"/>
                      </a:lnTo>
                      <a:lnTo>
                        <a:pt x="181" y="43"/>
                      </a:lnTo>
                      <a:lnTo>
                        <a:pt x="181" y="43"/>
                      </a:lnTo>
                      <a:lnTo>
                        <a:pt x="167" y="43"/>
                      </a:lnTo>
                      <a:lnTo>
                        <a:pt x="161" y="43"/>
                      </a:lnTo>
                      <a:lnTo>
                        <a:pt x="157" y="42"/>
                      </a:lnTo>
                      <a:lnTo>
                        <a:pt x="155" y="40"/>
                      </a:lnTo>
                      <a:lnTo>
                        <a:pt x="155" y="40"/>
                      </a:lnTo>
                      <a:lnTo>
                        <a:pt x="155" y="38"/>
                      </a:lnTo>
                      <a:lnTo>
                        <a:pt x="155" y="36"/>
                      </a:lnTo>
                      <a:lnTo>
                        <a:pt x="158" y="32"/>
                      </a:lnTo>
                      <a:lnTo>
                        <a:pt x="165" y="20"/>
                      </a:lnTo>
                      <a:lnTo>
                        <a:pt x="167" y="14"/>
                      </a:lnTo>
                      <a:lnTo>
                        <a:pt x="167" y="11"/>
                      </a:lnTo>
                      <a:lnTo>
                        <a:pt x="167" y="8"/>
                      </a:lnTo>
                      <a:lnTo>
                        <a:pt x="165" y="6"/>
                      </a:lnTo>
                      <a:lnTo>
                        <a:pt x="163" y="4"/>
                      </a:lnTo>
                      <a:lnTo>
                        <a:pt x="158" y="3"/>
                      </a:lnTo>
                      <a:lnTo>
                        <a:pt x="154" y="2"/>
                      </a:lnTo>
                      <a:lnTo>
                        <a:pt x="154" y="2"/>
                      </a:lnTo>
                      <a:lnTo>
                        <a:pt x="147" y="0"/>
                      </a:lnTo>
                      <a:lnTo>
                        <a:pt x="140" y="3"/>
                      </a:lnTo>
                      <a:lnTo>
                        <a:pt x="134" y="6"/>
                      </a:lnTo>
                      <a:lnTo>
                        <a:pt x="129" y="11"/>
                      </a:lnTo>
                      <a:lnTo>
                        <a:pt x="125" y="17"/>
                      </a:lnTo>
                      <a:lnTo>
                        <a:pt x="120" y="23"/>
                      </a:lnTo>
                      <a:lnTo>
                        <a:pt x="113" y="38"/>
                      </a:lnTo>
                      <a:lnTo>
                        <a:pt x="106" y="56"/>
                      </a:lnTo>
                      <a:lnTo>
                        <a:pt x="102" y="72"/>
                      </a:lnTo>
                      <a:lnTo>
                        <a:pt x="96" y="95"/>
                      </a:lnTo>
                      <a:lnTo>
                        <a:pt x="96" y="95"/>
                      </a:lnTo>
                      <a:lnTo>
                        <a:pt x="116" y="94"/>
                      </a:lnTo>
                      <a:lnTo>
                        <a:pt x="116" y="9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6" name="Freeform 355"/>
                <p:cNvSpPr>
                  <a:spLocks/>
                </p:cNvSpPr>
                <p:nvPr/>
              </p:nvSpPr>
              <p:spPr bwMode="auto">
                <a:xfrm>
                  <a:off x="3435350" y="576263"/>
                  <a:ext cx="7938" cy="6350"/>
                </a:xfrm>
                <a:custGeom>
                  <a:avLst/>
                  <a:gdLst>
                    <a:gd name="T0" fmla="*/ 38 w 38"/>
                    <a:gd name="T1" fmla="*/ 13 h 26"/>
                    <a:gd name="T2" fmla="*/ 38 w 38"/>
                    <a:gd name="T3" fmla="*/ 13 h 26"/>
                    <a:gd name="T4" fmla="*/ 34 w 38"/>
                    <a:gd name="T5" fmla="*/ 8 h 26"/>
                    <a:gd name="T6" fmla="*/ 30 w 38"/>
                    <a:gd name="T7" fmla="*/ 5 h 26"/>
                    <a:gd name="T8" fmla="*/ 24 w 38"/>
                    <a:gd name="T9" fmla="*/ 3 h 26"/>
                    <a:gd name="T10" fmla="*/ 18 w 38"/>
                    <a:gd name="T11" fmla="*/ 0 h 26"/>
                    <a:gd name="T12" fmla="*/ 12 w 38"/>
                    <a:gd name="T13" fmla="*/ 0 h 26"/>
                    <a:gd name="T14" fmla="*/ 8 w 38"/>
                    <a:gd name="T15" fmla="*/ 3 h 26"/>
                    <a:gd name="T16" fmla="*/ 3 w 38"/>
                    <a:gd name="T17" fmla="*/ 6 h 26"/>
                    <a:gd name="T18" fmla="*/ 1 w 38"/>
                    <a:gd name="T19" fmla="*/ 13 h 26"/>
                    <a:gd name="T20" fmla="*/ 1 w 38"/>
                    <a:gd name="T21" fmla="*/ 13 h 26"/>
                    <a:gd name="T22" fmla="*/ 0 w 38"/>
                    <a:gd name="T23" fmla="*/ 17 h 26"/>
                    <a:gd name="T24" fmla="*/ 0 w 38"/>
                    <a:gd name="T25" fmla="*/ 20 h 26"/>
                    <a:gd name="T26" fmla="*/ 1 w 38"/>
                    <a:gd name="T27" fmla="*/ 22 h 26"/>
                    <a:gd name="T28" fmla="*/ 3 w 38"/>
                    <a:gd name="T29" fmla="*/ 23 h 26"/>
                    <a:gd name="T30" fmla="*/ 8 w 38"/>
                    <a:gd name="T31" fmla="*/ 26 h 26"/>
                    <a:gd name="T32" fmla="*/ 15 w 38"/>
                    <a:gd name="T33" fmla="*/ 26 h 26"/>
                    <a:gd name="T34" fmla="*/ 22 w 38"/>
                    <a:gd name="T35" fmla="*/ 25 h 26"/>
                    <a:gd name="T36" fmla="*/ 28 w 38"/>
                    <a:gd name="T37" fmla="*/ 21 h 26"/>
                    <a:gd name="T38" fmla="*/ 34 w 38"/>
                    <a:gd name="T39" fmla="*/ 18 h 26"/>
                    <a:gd name="T40" fmla="*/ 38 w 38"/>
                    <a:gd name="T41" fmla="*/ 13 h 26"/>
                    <a:gd name="T42" fmla="*/ 38 w 38"/>
                    <a:gd name="T43"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 h="26">
                      <a:moveTo>
                        <a:pt x="38" y="13"/>
                      </a:moveTo>
                      <a:lnTo>
                        <a:pt x="38" y="13"/>
                      </a:lnTo>
                      <a:lnTo>
                        <a:pt x="34" y="8"/>
                      </a:lnTo>
                      <a:lnTo>
                        <a:pt x="30" y="5"/>
                      </a:lnTo>
                      <a:lnTo>
                        <a:pt x="24" y="3"/>
                      </a:lnTo>
                      <a:lnTo>
                        <a:pt x="18" y="0"/>
                      </a:lnTo>
                      <a:lnTo>
                        <a:pt x="12" y="0"/>
                      </a:lnTo>
                      <a:lnTo>
                        <a:pt x="8" y="3"/>
                      </a:lnTo>
                      <a:lnTo>
                        <a:pt x="3" y="6"/>
                      </a:lnTo>
                      <a:lnTo>
                        <a:pt x="1" y="13"/>
                      </a:lnTo>
                      <a:lnTo>
                        <a:pt x="1" y="13"/>
                      </a:lnTo>
                      <a:lnTo>
                        <a:pt x="0" y="17"/>
                      </a:lnTo>
                      <a:lnTo>
                        <a:pt x="0" y="20"/>
                      </a:lnTo>
                      <a:lnTo>
                        <a:pt x="1" y="22"/>
                      </a:lnTo>
                      <a:lnTo>
                        <a:pt x="3" y="23"/>
                      </a:lnTo>
                      <a:lnTo>
                        <a:pt x="8" y="26"/>
                      </a:lnTo>
                      <a:lnTo>
                        <a:pt x="15" y="26"/>
                      </a:lnTo>
                      <a:lnTo>
                        <a:pt x="22" y="25"/>
                      </a:lnTo>
                      <a:lnTo>
                        <a:pt x="28" y="21"/>
                      </a:lnTo>
                      <a:lnTo>
                        <a:pt x="34" y="18"/>
                      </a:lnTo>
                      <a:lnTo>
                        <a:pt x="38" y="13"/>
                      </a:lnTo>
                      <a:lnTo>
                        <a:pt x="38"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7" name="Line 356"/>
                <p:cNvSpPr>
                  <a:spLocks noChangeShapeType="1"/>
                </p:cNvSpPr>
                <p:nvPr/>
              </p:nvSpPr>
              <p:spPr bwMode="auto">
                <a:xfrm>
                  <a:off x="3365500" y="70326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8" name="Line 357"/>
                <p:cNvSpPr>
                  <a:spLocks noChangeShapeType="1"/>
                </p:cNvSpPr>
                <p:nvPr/>
              </p:nvSpPr>
              <p:spPr bwMode="auto">
                <a:xfrm>
                  <a:off x="3365500" y="70326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9" name="Freeform 358"/>
                <p:cNvSpPr>
                  <a:spLocks/>
                </p:cNvSpPr>
                <p:nvPr/>
              </p:nvSpPr>
              <p:spPr bwMode="auto">
                <a:xfrm>
                  <a:off x="3382963" y="693738"/>
                  <a:ext cx="11113" cy="14288"/>
                </a:xfrm>
                <a:custGeom>
                  <a:avLst/>
                  <a:gdLst>
                    <a:gd name="T0" fmla="*/ 1 w 45"/>
                    <a:gd name="T1" fmla="*/ 65 h 68"/>
                    <a:gd name="T2" fmla="*/ 1 w 45"/>
                    <a:gd name="T3" fmla="*/ 65 h 68"/>
                    <a:gd name="T4" fmla="*/ 7 w 45"/>
                    <a:gd name="T5" fmla="*/ 68 h 68"/>
                    <a:gd name="T6" fmla="*/ 13 w 45"/>
                    <a:gd name="T7" fmla="*/ 68 h 68"/>
                    <a:gd name="T8" fmla="*/ 17 w 45"/>
                    <a:gd name="T9" fmla="*/ 68 h 68"/>
                    <a:gd name="T10" fmla="*/ 23 w 45"/>
                    <a:gd name="T11" fmla="*/ 65 h 68"/>
                    <a:gd name="T12" fmla="*/ 28 w 45"/>
                    <a:gd name="T13" fmla="*/ 63 h 68"/>
                    <a:gd name="T14" fmla="*/ 31 w 45"/>
                    <a:gd name="T15" fmla="*/ 59 h 68"/>
                    <a:gd name="T16" fmla="*/ 36 w 45"/>
                    <a:gd name="T17" fmla="*/ 55 h 68"/>
                    <a:gd name="T18" fmla="*/ 39 w 45"/>
                    <a:gd name="T19" fmla="*/ 50 h 68"/>
                    <a:gd name="T20" fmla="*/ 41 w 45"/>
                    <a:gd name="T21" fmla="*/ 45 h 68"/>
                    <a:gd name="T22" fmla="*/ 44 w 45"/>
                    <a:gd name="T23" fmla="*/ 40 h 68"/>
                    <a:gd name="T24" fmla="*/ 45 w 45"/>
                    <a:gd name="T25" fmla="*/ 34 h 68"/>
                    <a:gd name="T26" fmla="*/ 45 w 45"/>
                    <a:gd name="T27" fmla="*/ 28 h 68"/>
                    <a:gd name="T28" fmla="*/ 45 w 45"/>
                    <a:gd name="T29" fmla="*/ 23 h 68"/>
                    <a:gd name="T30" fmla="*/ 44 w 45"/>
                    <a:gd name="T31" fmla="*/ 18 h 68"/>
                    <a:gd name="T32" fmla="*/ 41 w 45"/>
                    <a:gd name="T33" fmla="*/ 13 h 68"/>
                    <a:gd name="T34" fmla="*/ 38 w 45"/>
                    <a:gd name="T35" fmla="*/ 10 h 68"/>
                    <a:gd name="T36" fmla="*/ 38 w 45"/>
                    <a:gd name="T37" fmla="*/ 10 h 68"/>
                    <a:gd name="T38" fmla="*/ 31 w 45"/>
                    <a:gd name="T39" fmla="*/ 4 h 68"/>
                    <a:gd name="T40" fmla="*/ 25 w 45"/>
                    <a:gd name="T41" fmla="*/ 1 h 68"/>
                    <a:gd name="T42" fmla="*/ 20 w 45"/>
                    <a:gd name="T43" fmla="*/ 0 h 68"/>
                    <a:gd name="T44" fmla="*/ 16 w 45"/>
                    <a:gd name="T45" fmla="*/ 1 h 68"/>
                    <a:gd name="T46" fmla="*/ 12 w 45"/>
                    <a:gd name="T47" fmla="*/ 3 h 68"/>
                    <a:gd name="T48" fmla="*/ 9 w 45"/>
                    <a:gd name="T49" fmla="*/ 8 h 68"/>
                    <a:gd name="T50" fmla="*/ 7 w 45"/>
                    <a:gd name="T51" fmla="*/ 12 h 68"/>
                    <a:gd name="T52" fmla="*/ 5 w 45"/>
                    <a:gd name="T53" fmla="*/ 18 h 68"/>
                    <a:gd name="T54" fmla="*/ 2 w 45"/>
                    <a:gd name="T55" fmla="*/ 32 h 68"/>
                    <a:gd name="T56" fmla="*/ 1 w 45"/>
                    <a:gd name="T57" fmla="*/ 46 h 68"/>
                    <a:gd name="T58" fmla="*/ 0 w 45"/>
                    <a:gd name="T59" fmla="*/ 57 h 68"/>
                    <a:gd name="T60" fmla="*/ 1 w 45"/>
                    <a:gd name="T61" fmla="*/ 65 h 68"/>
                    <a:gd name="T62" fmla="*/ 1 w 45"/>
                    <a:gd name="T63" fmla="*/ 6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68">
                      <a:moveTo>
                        <a:pt x="1" y="65"/>
                      </a:moveTo>
                      <a:lnTo>
                        <a:pt x="1" y="65"/>
                      </a:lnTo>
                      <a:lnTo>
                        <a:pt x="7" y="68"/>
                      </a:lnTo>
                      <a:lnTo>
                        <a:pt x="13" y="68"/>
                      </a:lnTo>
                      <a:lnTo>
                        <a:pt x="17" y="68"/>
                      </a:lnTo>
                      <a:lnTo>
                        <a:pt x="23" y="65"/>
                      </a:lnTo>
                      <a:lnTo>
                        <a:pt x="28" y="63"/>
                      </a:lnTo>
                      <a:lnTo>
                        <a:pt x="31" y="59"/>
                      </a:lnTo>
                      <a:lnTo>
                        <a:pt x="36" y="55"/>
                      </a:lnTo>
                      <a:lnTo>
                        <a:pt x="39" y="50"/>
                      </a:lnTo>
                      <a:lnTo>
                        <a:pt x="41" y="45"/>
                      </a:lnTo>
                      <a:lnTo>
                        <a:pt x="44" y="40"/>
                      </a:lnTo>
                      <a:lnTo>
                        <a:pt x="45" y="34"/>
                      </a:lnTo>
                      <a:lnTo>
                        <a:pt x="45" y="28"/>
                      </a:lnTo>
                      <a:lnTo>
                        <a:pt x="45" y="23"/>
                      </a:lnTo>
                      <a:lnTo>
                        <a:pt x="44" y="18"/>
                      </a:lnTo>
                      <a:lnTo>
                        <a:pt x="41" y="13"/>
                      </a:lnTo>
                      <a:lnTo>
                        <a:pt x="38" y="10"/>
                      </a:lnTo>
                      <a:lnTo>
                        <a:pt x="38" y="10"/>
                      </a:lnTo>
                      <a:lnTo>
                        <a:pt x="31" y="4"/>
                      </a:lnTo>
                      <a:lnTo>
                        <a:pt x="25" y="1"/>
                      </a:lnTo>
                      <a:lnTo>
                        <a:pt x="20" y="0"/>
                      </a:lnTo>
                      <a:lnTo>
                        <a:pt x="16" y="1"/>
                      </a:lnTo>
                      <a:lnTo>
                        <a:pt x="12" y="3"/>
                      </a:lnTo>
                      <a:lnTo>
                        <a:pt x="9" y="8"/>
                      </a:lnTo>
                      <a:lnTo>
                        <a:pt x="7" y="12"/>
                      </a:lnTo>
                      <a:lnTo>
                        <a:pt x="5" y="18"/>
                      </a:lnTo>
                      <a:lnTo>
                        <a:pt x="2" y="32"/>
                      </a:lnTo>
                      <a:lnTo>
                        <a:pt x="1" y="46"/>
                      </a:lnTo>
                      <a:lnTo>
                        <a:pt x="0" y="57"/>
                      </a:lnTo>
                      <a:lnTo>
                        <a:pt x="1" y="65"/>
                      </a:lnTo>
                      <a:lnTo>
                        <a:pt x="1"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20" name="Freeform 359"/>
                <p:cNvSpPr>
                  <a:spLocks/>
                </p:cNvSpPr>
                <p:nvPr/>
              </p:nvSpPr>
              <p:spPr bwMode="auto">
                <a:xfrm>
                  <a:off x="3386138" y="681038"/>
                  <a:ext cx="4763" cy="11113"/>
                </a:xfrm>
                <a:custGeom>
                  <a:avLst/>
                  <a:gdLst>
                    <a:gd name="T0" fmla="*/ 27 w 27"/>
                    <a:gd name="T1" fmla="*/ 26 h 49"/>
                    <a:gd name="T2" fmla="*/ 27 w 27"/>
                    <a:gd name="T3" fmla="*/ 26 h 49"/>
                    <a:gd name="T4" fmla="*/ 27 w 27"/>
                    <a:gd name="T5" fmla="*/ 20 h 49"/>
                    <a:gd name="T6" fmla="*/ 24 w 27"/>
                    <a:gd name="T7" fmla="*/ 13 h 49"/>
                    <a:gd name="T8" fmla="*/ 21 w 27"/>
                    <a:gd name="T9" fmla="*/ 0 h 49"/>
                    <a:gd name="T10" fmla="*/ 21 w 27"/>
                    <a:gd name="T11" fmla="*/ 0 h 49"/>
                    <a:gd name="T12" fmla="*/ 13 w 27"/>
                    <a:gd name="T13" fmla="*/ 7 h 49"/>
                    <a:gd name="T14" fmla="*/ 6 w 27"/>
                    <a:gd name="T15" fmla="*/ 13 h 49"/>
                    <a:gd name="T16" fmla="*/ 2 w 27"/>
                    <a:gd name="T17" fmla="*/ 20 h 49"/>
                    <a:gd name="T18" fmla="*/ 0 w 27"/>
                    <a:gd name="T19" fmla="*/ 25 h 49"/>
                    <a:gd name="T20" fmla="*/ 0 w 27"/>
                    <a:gd name="T21" fmla="*/ 31 h 49"/>
                    <a:gd name="T22" fmla="*/ 0 w 27"/>
                    <a:gd name="T23" fmla="*/ 37 h 49"/>
                    <a:gd name="T24" fmla="*/ 2 w 27"/>
                    <a:gd name="T25" fmla="*/ 41 h 49"/>
                    <a:gd name="T26" fmla="*/ 6 w 27"/>
                    <a:gd name="T27" fmla="*/ 45 h 49"/>
                    <a:gd name="T28" fmla="*/ 9 w 27"/>
                    <a:gd name="T29" fmla="*/ 47 h 49"/>
                    <a:gd name="T30" fmla="*/ 13 w 27"/>
                    <a:gd name="T31" fmla="*/ 49 h 49"/>
                    <a:gd name="T32" fmla="*/ 16 w 27"/>
                    <a:gd name="T33" fmla="*/ 49 h 49"/>
                    <a:gd name="T34" fmla="*/ 21 w 27"/>
                    <a:gd name="T35" fmla="*/ 48 h 49"/>
                    <a:gd name="T36" fmla="*/ 23 w 27"/>
                    <a:gd name="T37" fmla="*/ 45 h 49"/>
                    <a:gd name="T38" fmla="*/ 25 w 27"/>
                    <a:gd name="T39" fmla="*/ 40 h 49"/>
                    <a:gd name="T40" fmla="*/ 27 w 27"/>
                    <a:gd name="T41" fmla="*/ 35 h 49"/>
                    <a:gd name="T42" fmla="*/ 27 w 27"/>
                    <a:gd name="T43" fmla="*/ 26 h 49"/>
                    <a:gd name="T44" fmla="*/ 27 w 27"/>
                    <a:gd name="T45" fmla="*/ 2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49">
                      <a:moveTo>
                        <a:pt x="27" y="26"/>
                      </a:moveTo>
                      <a:lnTo>
                        <a:pt x="27" y="26"/>
                      </a:lnTo>
                      <a:lnTo>
                        <a:pt x="27" y="20"/>
                      </a:lnTo>
                      <a:lnTo>
                        <a:pt x="24" y="13"/>
                      </a:lnTo>
                      <a:lnTo>
                        <a:pt x="21" y="0"/>
                      </a:lnTo>
                      <a:lnTo>
                        <a:pt x="21" y="0"/>
                      </a:lnTo>
                      <a:lnTo>
                        <a:pt x="13" y="7"/>
                      </a:lnTo>
                      <a:lnTo>
                        <a:pt x="6" y="13"/>
                      </a:lnTo>
                      <a:lnTo>
                        <a:pt x="2" y="20"/>
                      </a:lnTo>
                      <a:lnTo>
                        <a:pt x="0" y="25"/>
                      </a:lnTo>
                      <a:lnTo>
                        <a:pt x="0" y="31"/>
                      </a:lnTo>
                      <a:lnTo>
                        <a:pt x="0" y="37"/>
                      </a:lnTo>
                      <a:lnTo>
                        <a:pt x="2" y="41"/>
                      </a:lnTo>
                      <a:lnTo>
                        <a:pt x="6" y="45"/>
                      </a:lnTo>
                      <a:lnTo>
                        <a:pt x="9" y="47"/>
                      </a:lnTo>
                      <a:lnTo>
                        <a:pt x="13" y="49"/>
                      </a:lnTo>
                      <a:lnTo>
                        <a:pt x="16" y="49"/>
                      </a:lnTo>
                      <a:lnTo>
                        <a:pt x="21" y="48"/>
                      </a:lnTo>
                      <a:lnTo>
                        <a:pt x="23" y="45"/>
                      </a:lnTo>
                      <a:lnTo>
                        <a:pt x="25" y="40"/>
                      </a:lnTo>
                      <a:lnTo>
                        <a:pt x="27" y="35"/>
                      </a:lnTo>
                      <a:lnTo>
                        <a:pt x="27" y="26"/>
                      </a:lnTo>
                      <a:lnTo>
                        <a:pt x="27"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21" name="Line 360"/>
                <p:cNvSpPr>
                  <a:spLocks noChangeShapeType="1"/>
                </p:cNvSpPr>
                <p:nvPr/>
              </p:nvSpPr>
              <p:spPr bwMode="auto">
                <a:xfrm>
                  <a:off x="3398838" y="60642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22" name="Line 361"/>
                <p:cNvSpPr>
                  <a:spLocks noChangeShapeType="1"/>
                </p:cNvSpPr>
                <p:nvPr/>
              </p:nvSpPr>
              <p:spPr bwMode="auto">
                <a:xfrm>
                  <a:off x="3398838" y="60642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23" name="Freeform 362"/>
                <p:cNvSpPr>
                  <a:spLocks/>
                </p:cNvSpPr>
                <p:nvPr/>
              </p:nvSpPr>
              <p:spPr bwMode="auto">
                <a:xfrm>
                  <a:off x="3421063" y="581025"/>
                  <a:ext cx="7938" cy="11113"/>
                </a:xfrm>
                <a:custGeom>
                  <a:avLst/>
                  <a:gdLst>
                    <a:gd name="T0" fmla="*/ 23 w 31"/>
                    <a:gd name="T1" fmla="*/ 0 h 50"/>
                    <a:gd name="T2" fmla="*/ 23 w 31"/>
                    <a:gd name="T3" fmla="*/ 0 h 50"/>
                    <a:gd name="T4" fmla="*/ 15 w 31"/>
                    <a:gd name="T5" fmla="*/ 4 h 50"/>
                    <a:gd name="T6" fmla="*/ 8 w 31"/>
                    <a:gd name="T7" fmla="*/ 9 h 50"/>
                    <a:gd name="T8" fmla="*/ 3 w 31"/>
                    <a:gd name="T9" fmla="*/ 15 h 50"/>
                    <a:gd name="T10" fmla="*/ 1 w 31"/>
                    <a:gd name="T11" fmla="*/ 22 h 50"/>
                    <a:gd name="T12" fmla="*/ 0 w 31"/>
                    <a:gd name="T13" fmla="*/ 27 h 50"/>
                    <a:gd name="T14" fmla="*/ 2 w 31"/>
                    <a:gd name="T15" fmla="*/ 35 h 50"/>
                    <a:gd name="T16" fmla="*/ 6 w 31"/>
                    <a:gd name="T17" fmla="*/ 42 h 50"/>
                    <a:gd name="T18" fmla="*/ 10 w 31"/>
                    <a:gd name="T19" fmla="*/ 50 h 50"/>
                    <a:gd name="T20" fmla="*/ 10 w 31"/>
                    <a:gd name="T21" fmla="*/ 50 h 50"/>
                    <a:gd name="T22" fmla="*/ 18 w 31"/>
                    <a:gd name="T23" fmla="*/ 46 h 50"/>
                    <a:gd name="T24" fmla="*/ 24 w 31"/>
                    <a:gd name="T25" fmla="*/ 40 h 50"/>
                    <a:gd name="T26" fmla="*/ 29 w 31"/>
                    <a:gd name="T27" fmla="*/ 34 h 50"/>
                    <a:gd name="T28" fmla="*/ 31 w 31"/>
                    <a:gd name="T29" fmla="*/ 28 h 50"/>
                    <a:gd name="T30" fmla="*/ 31 w 31"/>
                    <a:gd name="T31" fmla="*/ 22 h 50"/>
                    <a:gd name="T32" fmla="*/ 31 w 31"/>
                    <a:gd name="T33" fmla="*/ 15 h 50"/>
                    <a:gd name="T34" fmla="*/ 28 w 31"/>
                    <a:gd name="T35" fmla="*/ 8 h 50"/>
                    <a:gd name="T36" fmla="*/ 23 w 31"/>
                    <a:gd name="T37" fmla="*/ 0 h 50"/>
                    <a:gd name="T38" fmla="*/ 23 w 31"/>
                    <a:gd name="T3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 h="50">
                      <a:moveTo>
                        <a:pt x="23" y="0"/>
                      </a:moveTo>
                      <a:lnTo>
                        <a:pt x="23" y="0"/>
                      </a:lnTo>
                      <a:lnTo>
                        <a:pt x="15" y="4"/>
                      </a:lnTo>
                      <a:lnTo>
                        <a:pt x="8" y="9"/>
                      </a:lnTo>
                      <a:lnTo>
                        <a:pt x="3" y="15"/>
                      </a:lnTo>
                      <a:lnTo>
                        <a:pt x="1" y="22"/>
                      </a:lnTo>
                      <a:lnTo>
                        <a:pt x="0" y="27"/>
                      </a:lnTo>
                      <a:lnTo>
                        <a:pt x="2" y="35"/>
                      </a:lnTo>
                      <a:lnTo>
                        <a:pt x="6" y="42"/>
                      </a:lnTo>
                      <a:lnTo>
                        <a:pt x="10" y="50"/>
                      </a:lnTo>
                      <a:lnTo>
                        <a:pt x="10" y="50"/>
                      </a:lnTo>
                      <a:lnTo>
                        <a:pt x="18" y="46"/>
                      </a:lnTo>
                      <a:lnTo>
                        <a:pt x="24" y="40"/>
                      </a:lnTo>
                      <a:lnTo>
                        <a:pt x="29" y="34"/>
                      </a:lnTo>
                      <a:lnTo>
                        <a:pt x="31" y="28"/>
                      </a:lnTo>
                      <a:lnTo>
                        <a:pt x="31" y="22"/>
                      </a:lnTo>
                      <a:lnTo>
                        <a:pt x="31" y="15"/>
                      </a:lnTo>
                      <a:lnTo>
                        <a:pt x="28" y="8"/>
                      </a:lnTo>
                      <a:lnTo>
                        <a:pt x="23" y="0"/>
                      </a:lnTo>
                      <a:lnTo>
                        <a:pt x="2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24" name="Freeform 363"/>
                <p:cNvSpPr>
                  <a:spLocks/>
                </p:cNvSpPr>
                <p:nvPr/>
              </p:nvSpPr>
              <p:spPr bwMode="auto">
                <a:xfrm>
                  <a:off x="3402013" y="709613"/>
                  <a:ext cx="14288" cy="12700"/>
                </a:xfrm>
                <a:custGeom>
                  <a:avLst/>
                  <a:gdLst>
                    <a:gd name="T0" fmla="*/ 46 w 63"/>
                    <a:gd name="T1" fmla="*/ 0 h 53"/>
                    <a:gd name="T2" fmla="*/ 46 w 63"/>
                    <a:gd name="T3" fmla="*/ 0 h 53"/>
                    <a:gd name="T4" fmla="*/ 30 w 63"/>
                    <a:gd name="T5" fmla="*/ 3 h 53"/>
                    <a:gd name="T6" fmla="*/ 21 w 63"/>
                    <a:gd name="T7" fmla="*/ 3 h 53"/>
                    <a:gd name="T8" fmla="*/ 13 w 63"/>
                    <a:gd name="T9" fmla="*/ 4 h 53"/>
                    <a:gd name="T10" fmla="*/ 6 w 63"/>
                    <a:gd name="T11" fmla="*/ 7 h 53"/>
                    <a:gd name="T12" fmla="*/ 3 w 63"/>
                    <a:gd name="T13" fmla="*/ 8 h 53"/>
                    <a:gd name="T14" fmla="*/ 1 w 63"/>
                    <a:gd name="T15" fmla="*/ 11 h 53"/>
                    <a:gd name="T16" fmla="*/ 0 w 63"/>
                    <a:gd name="T17" fmla="*/ 14 h 53"/>
                    <a:gd name="T18" fmla="*/ 0 w 63"/>
                    <a:gd name="T19" fmla="*/ 18 h 53"/>
                    <a:gd name="T20" fmla="*/ 1 w 63"/>
                    <a:gd name="T21" fmla="*/ 22 h 53"/>
                    <a:gd name="T22" fmla="*/ 2 w 63"/>
                    <a:gd name="T23" fmla="*/ 27 h 53"/>
                    <a:gd name="T24" fmla="*/ 2 w 63"/>
                    <a:gd name="T25" fmla="*/ 27 h 53"/>
                    <a:gd name="T26" fmla="*/ 6 w 63"/>
                    <a:gd name="T27" fmla="*/ 30 h 53"/>
                    <a:gd name="T28" fmla="*/ 13 w 63"/>
                    <a:gd name="T29" fmla="*/ 35 h 53"/>
                    <a:gd name="T30" fmla="*/ 21 w 63"/>
                    <a:gd name="T31" fmla="*/ 39 h 53"/>
                    <a:gd name="T32" fmla="*/ 30 w 63"/>
                    <a:gd name="T33" fmla="*/ 43 h 53"/>
                    <a:gd name="T34" fmla="*/ 48 w 63"/>
                    <a:gd name="T35" fmla="*/ 50 h 53"/>
                    <a:gd name="T36" fmla="*/ 62 w 63"/>
                    <a:gd name="T37" fmla="*/ 53 h 53"/>
                    <a:gd name="T38" fmla="*/ 62 w 63"/>
                    <a:gd name="T39" fmla="*/ 53 h 53"/>
                    <a:gd name="T40" fmla="*/ 63 w 63"/>
                    <a:gd name="T41" fmla="*/ 37 h 53"/>
                    <a:gd name="T42" fmla="*/ 63 w 63"/>
                    <a:gd name="T43" fmla="*/ 29 h 53"/>
                    <a:gd name="T44" fmla="*/ 63 w 63"/>
                    <a:gd name="T45" fmla="*/ 22 h 53"/>
                    <a:gd name="T46" fmla="*/ 62 w 63"/>
                    <a:gd name="T47" fmla="*/ 15 h 53"/>
                    <a:gd name="T48" fmla="*/ 59 w 63"/>
                    <a:gd name="T49" fmla="*/ 10 h 53"/>
                    <a:gd name="T50" fmla="*/ 54 w 63"/>
                    <a:gd name="T51" fmla="*/ 5 h 53"/>
                    <a:gd name="T52" fmla="*/ 46 w 63"/>
                    <a:gd name="T53" fmla="*/ 0 h 53"/>
                    <a:gd name="T54" fmla="*/ 46 w 63"/>
                    <a:gd name="T55"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3" h="53">
                      <a:moveTo>
                        <a:pt x="46" y="0"/>
                      </a:moveTo>
                      <a:lnTo>
                        <a:pt x="46" y="0"/>
                      </a:lnTo>
                      <a:lnTo>
                        <a:pt x="30" y="3"/>
                      </a:lnTo>
                      <a:lnTo>
                        <a:pt x="21" y="3"/>
                      </a:lnTo>
                      <a:lnTo>
                        <a:pt x="13" y="4"/>
                      </a:lnTo>
                      <a:lnTo>
                        <a:pt x="6" y="7"/>
                      </a:lnTo>
                      <a:lnTo>
                        <a:pt x="3" y="8"/>
                      </a:lnTo>
                      <a:lnTo>
                        <a:pt x="1" y="11"/>
                      </a:lnTo>
                      <a:lnTo>
                        <a:pt x="0" y="14"/>
                      </a:lnTo>
                      <a:lnTo>
                        <a:pt x="0" y="18"/>
                      </a:lnTo>
                      <a:lnTo>
                        <a:pt x="1" y="22"/>
                      </a:lnTo>
                      <a:lnTo>
                        <a:pt x="2" y="27"/>
                      </a:lnTo>
                      <a:lnTo>
                        <a:pt x="2" y="27"/>
                      </a:lnTo>
                      <a:lnTo>
                        <a:pt x="6" y="30"/>
                      </a:lnTo>
                      <a:lnTo>
                        <a:pt x="13" y="35"/>
                      </a:lnTo>
                      <a:lnTo>
                        <a:pt x="21" y="39"/>
                      </a:lnTo>
                      <a:lnTo>
                        <a:pt x="30" y="43"/>
                      </a:lnTo>
                      <a:lnTo>
                        <a:pt x="48" y="50"/>
                      </a:lnTo>
                      <a:lnTo>
                        <a:pt x="62" y="53"/>
                      </a:lnTo>
                      <a:lnTo>
                        <a:pt x="62" y="53"/>
                      </a:lnTo>
                      <a:lnTo>
                        <a:pt x="63" y="37"/>
                      </a:lnTo>
                      <a:lnTo>
                        <a:pt x="63" y="29"/>
                      </a:lnTo>
                      <a:lnTo>
                        <a:pt x="63" y="22"/>
                      </a:lnTo>
                      <a:lnTo>
                        <a:pt x="62" y="15"/>
                      </a:lnTo>
                      <a:lnTo>
                        <a:pt x="59" y="10"/>
                      </a:lnTo>
                      <a:lnTo>
                        <a:pt x="54" y="5"/>
                      </a:lnTo>
                      <a:lnTo>
                        <a:pt x="46" y="0"/>
                      </a:lnTo>
                      <a:lnTo>
                        <a:pt x="4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25" name="Freeform 364"/>
                <p:cNvSpPr>
                  <a:spLocks/>
                </p:cNvSpPr>
                <p:nvPr/>
              </p:nvSpPr>
              <p:spPr bwMode="auto">
                <a:xfrm>
                  <a:off x="3411538" y="723900"/>
                  <a:ext cx="6350" cy="7938"/>
                </a:xfrm>
                <a:custGeom>
                  <a:avLst/>
                  <a:gdLst>
                    <a:gd name="T0" fmla="*/ 1 w 27"/>
                    <a:gd name="T1" fmla="*/ 28 h 32"/>
                    <a:gd name="T2" fmla="*/ 1 w 27"/>
                    <a:gd name="T3" fmla="*/ 28 h 32"/>
                    <a:gd name="T4" fmla="*/ 9 w 27"/>
                    <a:gd name="T5" fmla="*/ 31 h 32"/>
                    <a:gd name="T6" fmla="*/ 15 w 27"/>
                    <a:gd name="T7" fmla="*/ 32 h 32"/>
                    <a:gd name="T8" fmla="*/ 21 w 27"/>
                    <a:gd name="T9" fmla="*/ 32 h 32"/>
                    <a:gd name="T10" fmla="*/ 24 w 27"/>
                    <a:gd name="T11" fmla="*/ 30 h 32"/>
                    <a:gd name="T12" fmla="*/ 26 w 27"/>
                    <a:gd name="T13" fmla="*/ 26 h 32"/>
                    <a:gd name="T14" fmla="*/ 27 w 27"/>
                    <a:gd name="T15" fmla="*/ 22 h 32"/>
                    <a:gd name="T16" fmla="*/ 27 w 27"/>
                    <a:gd name="T17" fmla="*/ 15 h 32"/>
                    <a:gd name="T18" fmla="*/ 24 w 27"/>
                    <a:gd name="T19" fmla="*/ 7 h 32"/>
                    <a:gd name="T20" fmla="*/ 24 w 27"/>
                    <a:gd name="T21" fmla="*/ 7 h 32"/>
                    <a:gd name="T22" fmla="*/ 23 w 27"/>
                    <a:gd name="T23" fmla="*/ 4 h 32"/>
                    <a:gd name="T24" fmla="*/ 22 w 27"/>
                    <a:gd name="T25" fmla="*/ 2 h 32"/>
                    <a:gd name="T26" fmla="*/ 20 w 27"/>
                    <a:gd name="T27" fmla="*/ 1 h 32"/>
                    <a:gd name="T28" fmla="*/ 19 w 27"/>
                    <a:gd name="T29" fmla="*/ 0 h 32"/>
                    <a:gd name="T30" fmla="*/ 14 w 27"/>
                    <a:gd name="T31" fmla="*/ 1 h 32"/>
                    <a:gd name="T32" fmla="*/ 8 w 27"/>
                    <a:gd name="T33" fmla="*/ 3 h 32"/>
                    <a:gd name="T34" fmla="*/ 5 w 27"/>
                    <a:gd name="T35" fmla="*/ 8 h 32"/>
                    <a:gd name="T36" fmla="*/ 1 w 27"/>
                    <a:gd name="T37" fmla="*/ 13 h 32"/>
                    <a:gd name="T38" fmla="*/ 0 w 27"/>
                    <a:gd name="T39" fmla="*/ 20 h 32"/>
                    <a:gd name="T40" fmla="*/ 1 w 27"/>
                    <a:gd name="T41" fmla="*/ 28 h 32"/>
                    <a:gd name="T42" fmla="*/ 1 w 27"/>
                    <a:gd name="T43"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 h="32">
                      <a:moveTo>
                        <a:pt x="1" y="28"/>
                      </a:moveTo>
                      <a:lnTo>
                        <a:pt x="1" y="28"/>
                      </a:lnTo>
                      <a:lnTo>
                        <a:pt x="9" y="31"/>
                      </a:lnTo>
                      <a:lnTo>
                        <a:pt x="15" y="32"/>
                      </a:lnTo>
                      <a:lnTo>
                        <a:pt x="21" y="32"/>
                      </a:lnTo>
                      <a:lnTo>
                        <a:pt x="24" y="30"/>
                      </a:lnTo>
                      <a:lnTo>
                        <a:pt x="26" y="26"/>
                      </a:lnTo>
                      <a:lnTo>
                        <a:pt x="27" y="22"/>
                      </a:lnTo>
                      <a:lnTo>
                        <a:pt x="27" y="15"/>
                      </a:lnTo>
                      <a:lnTo>
                        <a:pt x="24" y="7"/>
                      </a:lnTo>
                      <a:lnTo>
                        <a:pt x="24" y="7"/>
                      </a:lnTo>
                      <a:lnTo>
                        <a:pt x="23" y="4"/>
                      </a:lnTo>
                      <a:lnTo>
                        <a:pt x="22" y="2"/>
                      </a:lnTo>
                      <a:lnTo>
                        <a:pt x="20" y="1"/>
                      </a:lnTo>
                      <a:lnTo>
                        <a:pt x="19" y="0"/>
                      </a:lnTo>
                      <a:lnTo>
                        <a:pt x="14" y="1"/>
                      </a:lnTo>
                      <a:lnTo>
                        <a:pt x="8" y="3"/>
                      </a:lnTo>
                      <a:lnTo>
                        <a:pt x="5" y="8"/>
                      </a:lnTo>
                      <a:lnTo>
                        <a:pt x="1" y="13"/>
                      </a:lnTo>
                      <a:lnTo>
                        <a:pt x="0" y="20"/>
                      </a:lnTo>
                      <a:lnTo>
                        <a:pt x="1" y="28"/>
                      </a:lnTo>
                      <a:lnTo>
                        <a:pt x="1"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26" name="Freeform 365"/>
                <p:cNvSpPr>
                  <a:spLocks/>
                </p:cNvSpPr>
                <p:nvPr/>
              </p:nvSpPr>
              <p:spPr bwMode="auto">
                <a:xfrm>
                  <a:off x="3455988" y="725488"/>
                  <a:ext cx="15875" cy="6350"/>
                </a:xfrm>
                <a:custGeom>
                  <a:avLst/>
                  <a:gdLst>
                    <a:gd name="T0" fmla="*/ 60 w 67"/>
                    <a:gd name="T1" fmla="*/ 28 h 28"/>
                    <a:gd name="T2" fmla="*/ 60 w 67"/>
                    <a:gd name="T3" fmla="*/ 28 h 28"/>
                    <a:gd name="T4" fmla="*/ 64 w 67"/>
                    <a:gd name="T5" fmla="*/ 21 h 28"/>
                    <a:gd name="T6" fmla="*/ 67 w 67"/>
                    <a:gd name="T7" fmla="*/ 17 h 28"/>
                    <a:gd name="T8" fmla="*/ 67 w 67"/>
                    <a:gd name="T9" fmla="*/ 12 h 28"/>
                    <a:gd name="T10" fmla="*/ 64 w 67"/>
                    <a:gd name="T11" fmla="*/ 8 h 28"/>
                    <a:gd name="T12" fmla="*/ 61 w 67"/>
                    <a:gd name="T13" fmla="*/ 5 h 28"/>
                    <a:gd name="T14" fmla="*/ 56 w 67"/>
                    <a:gd name="T15" fmla="*/ 3 h 28"/>
                    <a:gd name="T16" fmla="*/ 51 w 67"/>
                    <a:gd name="T17" fmla="*/ 2 h 28"/>
                    <a:gd name="T18" fmla="*/ 45 w 67"/>
                    <a:gd name="T19" fmla="*/ 0 h 28"/>
                    <a:gd name="T20" fmla="*/ 30 w 67"/>
                    <a:gd name="T21" fmla="*/ 0 h 28"/>
                    <a:gd name="T22" fmla="*/ 17 w 67"/>
                    <a:gd name="T23" fmla="*/ 3 h 28"/>
                    <a:gd name="T24" fmla="*/ 10 w 67"/>
                    <a:gd name="T25" fmla="*/ 4 h 28"/>
                    <a:gd name="T26" fmla="*/ 6 w 67"/>
                    <a:gd name="T27" fmla="*/ 6 h 28"/>
                    <a:gd name="T28" fmla="*/ 2 w 67"/>
                    <a:gd name="T29" fmla="*/ 10 h 28"/>
                    <a:gd name="T30" fmla="*/ 0 w 67"/>
                    <a:gd name="T31" fmla="*/ 13 h 28"/>
                    <a:gd name="T32" fmla="*/ 0 w 67"/>
                    <a:gd name="T33" fmla="*/ 13 h 28"/>
                    <a:gd name="T34" fmla="*/ 6 w 67"/>
                    <a:gd name="T35" fmla="*/ 19 h 28"/>
                    <a:gd name="T36" fmla="*/ 13 w 67"/>
                    <a:gd name="T37" fmla="*/ 23 h 28"/>
                    <a:gd name="T38" fmla="*/ 19 w 67"/>
                    <a:gd name="T39" fmla="*/ 27 h 28"/>
                    <a:gd name="T40" fmla="*/ 26 w 67"/>
                    <a:gd name="T41" fmla="*/ 28 h 28"/>
                    <a:gd name="T42" fmla="*/ 34 w 67"/>
                    <a:gd name="T43" fmla="*/ 28 h 28"/>
                    <a:gd name="T44" fmla="*/ 43 w 67"/>
                    <a:gd name="T45" fmla="*/ 28 h 28"/>
                    <a:gd name="T46" fmla="*/ 60 w 67"/>
                    <a:gd name="T47" fmla="*/ 28 h 28"/>
                    <a:gd name="T48" fmla="*/ 60 w 67"/>
                    <a:gd name="T4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7" h="28">
                      <a:moveTo>
                        <a:pt x="60" y="28"/>
                      </a:moveTo>
                      <a:lnTo>
                        <a:pt x="60" y="28"/>
                      </a:lnTo>
                      <a:lnTo>
                        <a:pt x="64" y="21"/>
                      </a:lnTo>
                      <a:lnTo>
                        <a:pt x="67" y="17"/>
                      </a:lnTo>
                      <a:lnTo>
                        <a:pt x="67" y="12"/>
                      </a:lnTo>
                      <a:lnTo>
                        <a:pt x="64" y="8"/>
                      </a:lnTo>
                      <a:lnTo>
                        <a:pt x="61" y="5"/>
                      </a:lnTo>
                      <a:lnTo>
                        <a:pt x="56" y="3"/>
                      </a:lnTo>
                      <a:lnTo>
                        <a:pt x="51" y="2"/>
                      </a:lnTo>
                      <a:lnTo>
                        <a:pt x="45" y="0"/>
                      </a:lnTo>
                      <a:lnTo>
                        <a:pt x="30" y="0"/>
                      </a:lnTo>
                      <a:lnTo>
                        <a:pt x="17" y="3"/>
                      </a:lnTo>
                      <a:lnTo>
                        <a:pt x="10" y="4"/>
                      </a:lnTo>
                      <a:lnTo>
                        <a:pt x="6" y="6"/>
                      </a:lnTo>
                      <a:lnTo>
                        <a:pt x="2" y="10"/>
                      </a:lnTo>
                      <a:lnTo>
                        <a:pt x="0" y="13"/>
                      </a:lnTo>
                      <a:lnTo>
                        <a:pt x="0" y="13"/>
                      </a:lnTo>
                      <a:lnTo>
                        <a:pt x="6" y="19"/>
                      </a:lnTo>
                      <a:lnTo>
                        <a:pt x="13" y="23"/>
                      </a:lnTo>
                      <a:lnTo>
                        <a:pt x="19" y="27"/>
                      </a:lnTo>
                      <a:lnTo>
                        <a:pt x="26" y="28"/>
                      </a:lnTo>
                      <a:lnTo>
                        <a:pt x="34" y="28"/>
                      </a:lnTo>
                      <a:lnTo>
                        <a:pt x="43" y="28"/>
                      </a:lnTo>
                      <a:lnTo>
                        <a:pt x="60" y="28"/>
                      </a:lnTo>
                      <a:lnTo>
                        <a:pt x="60"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27" name="Freeform 366"/>
                <p:cNvSpPr>
                  <a:spLocks/>
                </p:cNvSpPr>
                <p:nvPr/>
              </p:nvSpPr>
              <p:spPr bwMode="auto">
                <a:xfrm>
                  <a:off x="3367088" y="619125"/>
                  <a:ext cx="0" cy="1588"/>
                </a:xfrm>
                <a:custGeom>
                  <a:avLst/>
                  <a:gdLst>
                    <a:gd name="T0" fmla="*/ 0 w 1"/>
                    <a:gd name="T1" fmla="*/ 0 h 3"/>
                    <a:gd name="T2" fmla="*/ 0 w 1"/>
                    <a:gd name="T3" fmla="*/ 0 h 3"/>
                    <a:gd name="T4" fmla="*/ 1 w 1"/>
                    <a:gd name="T5" fmla="*/ 3 h 3"/>
                    <a:gd name="T6" fmla="*/ 1 w 1"/>
                    <a:gd name="T7" fmla="*/ 2 h 3"/>
                    <a:gd name="T8" fmla="*/ 1 w 1"/>
                    <a:gd name="T9" fmla="*/ 2 h 3"/>
                    <a:gd name="T10" fmla="*/ 0 w 1"/>
                    <a:gd name="T11" fmla="*/ 0 h 3"/>
                    <a:gd name="T12" fmla="*/ 0 w 1"/>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1" h="3">
                      <a:moveTo>
                        <a:pt x="0" y="0"/>
                      </a:moveTo>
                      <a:lnTo>
                        <a:pt x="0" y="0"/>
                      </a:lnTo>
                      <a:lnTo>
                        <a:pt x="1" y="3"/>
                      </a:lnTo>
                      <a:lnTo>
                        <a:pt x="1" y="2"/>
                      </a:lnTo>
                      <a:lnTo>
                        <a:pt x="1" y="2"/>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28" name="Freeform 367"/>
                <p:cNvSpPr>
                  <a:spLocks noEditPoints="1"/>
                </p:cNvSpPr>
                <p:nvPr/>
              </p:nvSpPr>
              <p:spPr bwMode="auto">
                <a:xfrm>
                  <a:off x="3257550" y="477838"/>
                  <a:ext cx="452438" cy="628650"/>
                </a:xfrm>
                <a:custGeom>
                  <a:avLst/>
                  <a:gdLst>
                    <a:gd name="T0" fmla="*/ 1204 w 1992"/>
                    <a:gd name="T1" fmla="*/ 85 h 2769"/>
                    <a:gd name="T2" fmla="*/ 1103 w 1992"/>
                    <a:gd name="T3" fmla="*/ 101 h 2769"/>
                    <a:gd name="T4" fmla="*/ 1034 w 1992"/>
                    <a:gd name="T5" fmla="*/ 251 h 2769"/>
                    <a:gd name="T6" fmla="*/ 1003 w 1992"/>
                    <a:gd name="T7" fmla="*/ 179 h 2769"/>
                    <a:gd name="T8" fmla="*/ 908 w 1992"/>
                    <a:gd name="T9" fmla="*/ 70 h 2769"/>
                    <a:gd name="T10" fmla="*/ 783 w 1992"/>
                    <a:gd name="T11" fmla="*/ 37 h 2769"/>
                    <a:gd name="T12" fmla="*/ 593 w 1992"/>
                    <a:gd name="T13" fmla="*/ 223 h 2769"/>
                    <a:gd name="T14" fmla="*/ 488 w 1992"/>
                    <a:gd name="T15" fmla="*/ 321 h 2769"/>
                    <a:gd name="T16" fmla="*/ 596 w 1992"/>
                    <a:gd name="T17" fmla="*/ 465 h 2769"/>
                    <a:gd name="T18" fmla="*/ 705 w 1992"/>
                    <a:gd name="T19" fmla="*/ 474 h 2769"/>
                    <a:gd name="T20" fmla="*/ 755 w 1992"/>
                    <a:gd name="T21" fmla="*/ 273 h 2769"/>
                    <a:gd name="T22" fmla="*/ 762 w 1992"/>
                    <a:gd name="T23" fmla="*/ 354 h 2769"/>
                    <a:gd name="T24" fmla="*/ 848 w 1992"/>
                    <a:gd name="T25" fmla="*/ 405 h 2769"/>
                    <a:gd name="T26" fmla="*/ 777 w 1992"/>
                    <a:gd name="T27" fmla="*/ 482 h 2769"/>
                    <a:gd name="T28" fmla="*/ 667 w 1992"/>
                    <a:gd name="T29" fmla="*/ 594 h 2769"/>
                    <a:gd name="T30" fmla="*/ 584 w 1992"/>
                    <a:gd name="T31" fmla="*/ 470 h 2769"/>
                    <a:gd name="T32" fmla="*/ 488 w 1992"/>
                    <a:gd name="T33" fmla="*/ 638 h 2769"/>
                    <a:gd name="T34" fmla="*/ 297 w 1992"/>
                    <a:gd name="T35" fmla="*/ 739 h 2769"/>
                    <a:gd name="T36" fmla="*/ 214 w 1992"/>
                    <a:gd name="T37" fmla="*/ 885 h 2769"/>
                    <a:gd name="T38" fmla="*/ 342 w 1992"/>
                    <a:gd name="T39" fmla="*/ 1078 h 2769"/>
                    <a:gd name="T40" fmla="*/ 486 w 1992"/>
                    <a:gd name="T41" fmla="*/ 896 h 2769"/>
                    <a:gd name="T42" fmla="*/ 686 w 1992"/>
                    <a:gd name="T43" fmla="*/ 968 h 2769"/>
                    <a:gd name="T44" fmla="*/ 660 w 1992"/>
                    <a:gd name="T45" fmla="*/ 885 h 2769"/>
                    <a:gd name="T46" fmla="*/ 747 w 1992"/>
                    <a:gd name="T47" fmla="*/ 918 h 2769"/>
                    <a:gd name="T48" fmla="*/ 836 w 1992"/>
                    <a:gd name="T49" fmla="*/ 1029 h 2769"/>
                    <a:gd name="T50" fmla="*/ 854 w 1992"/>
                    <a:gd name="T51" fmla="*/ 973 h 2769"/>
                    <a:gd name="T52" fmla="*/ 906 w 1992"/>
                    <a:gd name="T53" fmla="*/ 981 h 2769"/>
                    <a:gd name="T54" fmla="*/ 1022 w 1992"/>
                    <a:gd name="T55" fmla="*/ 1067 h 2769"/>
                    <a:gd name="T56" fmla="*/ 1031 w 1992"/>
                    <a:gd name="T57" fmla="*/ 1179 h 2769"/>
                    <a:gd name="T58" fmla="*/ 800 w 1992"/>
                    <a:gd name="T59" fmla="*/ 1187 h 2769"/>
                    <a:gd name="T60" fmla="*/ 619 w 1992"/>
                    <a:gd name="T61" fmla="*/ 1063 h 2769"/>
                    <a:gd name="T62" fmla="*/ 352 w 1992"/>
                    <a:gd name="T63" fmla="*/ 1102 h 2769"/>
                    <a:gd name="T64" fmla="*/ 151 w 1992"/>
                    <a:gd name="T65" fmla="*/ 1261 h 2769"/>
                    <a:gd name="T66" fmla="*/ 17 w 1992"/>
                    <a:gd name="T67" fmla="*/ 1580 h 2769"/>
                    <a:gd name="T68" fmla="*/ 304 w 1992"/>
                    <a:gd name="T69" fmla="*/ 1821 h 2769"/>
                    <a:gd name="T70" fmla="*/ 585 w 1992"/>
                    <a:gd name="T71" fmla="*/ 1835 h 2769"/>
                    <a:gd name="T72" fmla="*/ 593 w 1992"/>
                    <a:gd name="T73" fmla="*/ 1919 h 2769"/>
                    <a:gd name="T74" fmla="*/ 648 w 1992"/>
                    <a:gd name="T75" fmla="*/ 2259 h 2769"/>
                    <a:gd name="T76" fmla="*/ 761 w 1992"/>
                    <a:gd name="T77" fmla="*/ 2667 h 2769"/>
                    <a:gd name="T78" fmla="*/ 836 w 1992"/>
                    <a:gd name="T79" fmla="*/ 2752 h 2769"/>
                    <a:gd name="T80" fmla="*/ 1106 w 1992"/>
                    <a:gd name="T81" fmla="*/ 2540 h 2769"/>
                    <a:gd name="T82" fmla="*/ 1300 w 1992"/>
                    <a:gd name="T83" fmla="*/ 2290 h 2769"/>
                    <a:gd name="T84" fmla="*/ 1407 w 1992"/>
                    <a:gd name="T85" fmla="*/ 1879 h 2769"/>
                    <a:gd name="T86" fmla="*/ 1345 w 1992"/>
                    <a:gd name="T87" fmla="*/ 1666 h 2769"/>
                    <a:gd name="T88" fmla="*/ 1597 w 1992"/>
                    <a:gd name="T89" fmla="*/ 1544 h 2769"/>
                    <a:gd name="T90" fmla="*/ 1582 w 1992"/>
                    <a:gd name="T91" fmla="*/ 1310 h 2769"/>
                    <a:gd name="T92" fmla="*/ 1472 w 1992"/>
                    <a:gd name="T93" fmla="*/ 1343 h 2769"/>
                    <a:gd name="T94" fmla="*/ 1462 w 1992"/>
                    <a:gd name="T95" fmla="*/ 1262 h 2769"/>
                    <a:gd name="T96" fmla="*/ 1716 w 1992"/>
                    <a:gd name="T97" fmla="*/ 1330 h 2769"/>
                    <a:gd name="T98" fmla="*/ 1914 w 1992"/>
                    <a:gd name="T99" fmla="*/ 1431 h 2769"/>
                    <a:gd name="T100" fmla="*/ 1943 w 1992"/>
                    <a:gd name="T101" fmla="*/ 1024 h 2769"/>
                    <a:gd name="T102" fmla="*/ 1117 w 1992"/>
                    <a:gd name="T103" fmla="*/ 803 h 2769"/>
                    <a:gd name="T104" fmla="*/ 1031 w 1992"/>
                    <a:gd name="T105" fmla="*/ 930 h 2769"/>
                    <a:gd name="T106" fmla="*/ 1015 w 1992"/>
                    <a:gd name="T107" fmla="*/ 798 h 2769"/>
                    <a:gd name="T108" fmla="*/ 1112 w 1992"/>
                    <a:gd name="T109" fmla="*/ 847 h 2769"/>
                    <a:gd name="T110" fmla="*/ 1256 w 1992"/>
                    <a:gd name="T111" fmla="*/ 1565 h 2769"/>
                    <a:gd name="T112" fmla="*/ 1080 w 1992"/>
                    <a:gd name="T113" fmla="*/ 1242 h 2769"/>
                    <a:gd name="T114" fmla="*/ 1236 w 1992"/>
                    <a:gd name="T115" fmla="*/ 1461 h 2769"/>
                    <a:gd name="T116" fmla="*/ 1472 w 1992"/>
                    <a:gd name="T117" fmla="*/ 1033 h 2769"/>
                    <a:gd name="T118" fmla="*/ 1369 w 1992"/>
                    <a:gd name="T119" fmla="*/ 903 h 2769"/>
                    <a:gd name="T120" fmla="*/ 1410 w 1992"/>
                    <a:gd name="T121" fmla="*/ 758 h 2769"/>
                    <a:gd name="T122" fmla="*/ 1479 w 1992"/>
                    <a:gd name="T123" fmla="*/ 897 h 2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92" h="2769">
                      <a:moveTo>
                        <a:pt x="1438" y="6"/>
                      </a:moveTo>
                      <a:lnTo>
                        <a:pt x="1438" y="6"/>
                      </a:lnTo>
                      <a:lnTo>
                        <a:pt x="1401" y="0"/>
                      </a:lnTo>
                      <a:lnTo>
                        <a:pt x="1401" y="0"/>
                      </a:lnTo>
                      <a:lnTo>
                        <a:pt x="1394" y="0"/>
                      </a:lnTo>
                      <a:lnTo>
                        <a:pt x="1392" y="1"/>
                      </a:lnTo>
                      <a:lnTo>
                        <a:pt x="1390" y="2"/>
                      </a:lnTo>
                      <a:lnTo>
                        <a:pt x="1387" y="6"/>
                      </a:lnTo>
                      <a:lnTo>
                        <a:pt x="1386" y="10"/>
                      </a:lnTo>
                      <a:lnTo>
                        <a:pt x="1385" y="22"/>
                      </a:lnTo>
                      <a:lnTo>
                        <a:pt x="1383" y="28"/>
                      </a:lnTo>
                      <a:lnTo>
                        <a:pt x="1378" y="32"/>
                      </a:lnTo>
                      <a:lnTo>
                        <a:pt x="1378" y="32"/>
                      </a:lnTo>
                      <a:lnTo>
                        <a:pt x="1371" y="36"/>
                      </a:lnTo>
                      <a:lnTo>
                        <a:pt x="1363" y="40"/>
                      </a:lnTo>
                      <a:lnTo>
                        <a:pt x="1346" y="46"/>
                      </a:lnTo>
                      <a:lnTo>
                        <a:pt x="1329" y="51"/>
                      </a:lnTo>
                      <a:lnTo>
                        <a:pt x="1311" y="56"/>
                      </a:lnTo>
                      <a:lnTo>
                        <a:pt x="1311" y="56"/>
                      </a:lnTo>
                      <a:lnTo>
                        <a:pt x="1308" y="56"/>
                      </a:lnTo>
                      <a:lnTo>
                        <a:pt x="1305" y="54"/>
                      </a:lnTo>
                      <a:lnTo>
                        <a:pt x="1303" y="51"/>
                      </a:lnTo>
                      <a:lnTo>
                        <a:pt x="1301" y="47"/>
                      </a:lnTo>
                      <a:lnTo>
                        <a:pt x="1297" y="39"/>
                      </a:lnTo>
                      <a:lnTo>
                        <a:pt x="1296" y="38"/>
                      </a:lnTo>
                      <a:lnTo>
                        <a:pt x="1294" y="38"/>
                      </a:lnTo>
                      <a:lnTo>
                        <a:pt x="1294" y="38"/>
                      </a:lnTo>
                      <a:lnTo>
                        <a:pt x="1228" y="74"/>
                      </a:lnTo>
                      <a:lnTo>
                        <a:pt x="1228" y="74"/>
                      </a:lnTo>
                      <a:lnTo>
                        <a:pt x="1218" y="80"/>
                      </a:lnTo>
                      <a:lnTo>
                        <a:pt x="1204" y="85"/>
                      </a:lnTo>
                      <a:lnTo>
                        <a:pt x="1198" y="89"/>
                      </a:lnTo>
                      <a:lnTo>
                        <a:pt x="1193" y="93"/>
                      </a:lnTo>
                      <a:lnTo>
                        <a:pt x="1189" y="98"/>
                      </a:lnTo>
                      <a:lnTo>
                        <a:pt x="1188" y="103"/>
                      </a:lnTo>
                      <a:lnTo>
                        <a:pt x="1188" y="103"/>
                      </a:lnTo>
                      <a:lnTo>
                        <a:pt x="1187" y="118"/>
                      </a:lnTo>
                      <a:lnTo>
                        <a:pt x="1186" y="124"/>
                      </a:lnTo>
                      <a:lnTo>
                        <a:pt x="1185" y="129"/>
                      </a:lnTo>
                      <a:lnTo>
                        <a:pt x="1181" y="134"/>
                      </a:lnTo>
                      <a:lnTo>
                        <a:pt x="1177" y="136"/>
                      </a:lnTo>
                      <a:lnTo>
                        <a:pt x="1170" y="137"/>
                      </a:lnTo>
                      <a:lnTo>
                        <a:pt x="1160" y="137"/>
                      </a:lnTo>
                      <a:lnTo>
                        <a:pt x="1160" y="137"/>
                      </a:lnTo>
                      <a:lnTo>
                        <a:pt x="1165" y="127"/>
                      </a:lnTo>
                      <a:lnTo>
                        <a:pt x="1168" y="118"/>
                      </a:lnTo>
                      <a:lnTo>
                        <a:pt x="1170" y="108"/>
                      </a:lnTo>
                      <a:lnTo>
                        <a:pt x="1168" y="101"/>
                      </a:lnTo>
                      <a:lnTo>
                        <a:pt x="1167" y="94"/>
                      </a:lnTo>
                      <a:lnTo>
                        <a:pt x="1164" y="88"/>
                      </a:lnTo>
                      <a:lnTo>
                        <a:pt x="1159" y="83"/>
                      </a:lnTo>
                      <a:lnTo>
                        <a:pt x="1155" y="78"/>
                      </a:lnTo>
                      <a:lnTo>
                        <a:pt x="1148" y="75"/>
                      </a:lnTo>
                      <a:lnTo>
                        <a:pt x="1141" y="73"/>
                      </a:lnTo>
                      <a:lnTo>
                        <a:pt x="1133" y="71"/>
                      </a:lnTo>
                      <a:lnTo>
                        <a:pt x="1125" y="71"/>
                      </a:lnTo>
                      <a:lnTo>
                        <a:pt x="1117" y="71"/>
                      </a:lnTo>
                      <a:lnTo>
                        <a:pt x="1109" y="74"/>
                      </a:lnTo>
                      <a:lnTo>
                        <a:pt x="1099" y="77"/>
                      </a:lnTo>
                      <a:lnTo>
                        <a:pt x="1091" y="81"/>
                      </a:lnTo>
                      <a:lnTo>
                        <a:pt x="1091" y="81"/>
                      </a:lnTo>
                      <a:lnTo>
                        <a:pt x="1103" y="101"/>
                      </a:lnTo>
                      <a:lnTo>
                        <a:pt x="1116" y="123"/>
                      </a:lnTo>
                      <a:lnTo>
                        <a:pt x="1121" y="135"/>
                      </a:lnTo>
                      <a:lnTo>
                        <a:pt x="1127" y="146"/>
                      </a:lnTo>
                      <a:lnTo>
                        <a:pt x="1129" y="158"/>
                      </a:lnTo>
                      <a:lnTo>
                        <a:pt x="1130" y="168"/>
                      </a:lnTo>
                      <a:lnTo>
                        <a:pt x="1130" y="168"/>
                      </a:lnTo>
                      <a:lnTo>
                        <a:pt x="1127" y="166"/>
                      </a:lnTo>
                      <a:lnTo>
                        <a:pt x="1122" y="165"/>
                      </a:lnTo>
                      <a:lnTo>
                        <a:pt x="1116" y="164"/>
                      </a:lnTo>
                      <a:lnTo>
                        <a:pt x="1107" y="161"/>
                      </a:lnTo>
                      <a:lnTo>
                        <a:pt x="1104" y="159"/>
                      </a:lnTo>
                      <a:lnTo>
                        <a:pt x="1101" y="156"/>
                      </a:lnTo>
                      <a:lnTo>
                        <a:pt x="1101" y="156"/>
                      </a:lnTo>
                      <a:lnTo>
                        <a:pt x="1086" y="169"/>
                      </a:lnTo>
                      <a:lnTo>
                        <a:pt x="1079" y="176"/>
                      </a:lnTo>
                      <a:lnTo>
                        <a:pt x="1072" y="184"/>
                      </a:lnTo>
                      <a:lnTo>
                        <a:pt x="1068" y="191"/>
                      </a:lnTo>
                      <a:lnTo>
                        <a:pt x="1067" y="196"/>
                      </a:lnTo>
                      <a:lnTo>
                        <a:pt x="1067" y="199"/>
                      </a:lnTo>
                      <a:lnTo>
                        <a:pt x="1068" y="204"/>
                      </a:lnTo>
                      <a:lnTo>
                        <a:pt x="1069" y="208"/>
                      </a:lnTo>
                      <a:lnTo>
                        <a:pt x="1073" y="212"/>
                      </a:lnTo>
                      <a:lnTo>
                        <a:pt x="1078" y="217"/>
                      </a:lnTo>
                      <a:lnTo>
                        <a:pt x="1078" y="217"/>
                      </a:lnTo>
                      <a:lnTo>
                        <a:pt x="1008" y="215"/>
                      </a:lnTo>
                      <a:lnTo>
                        <a:pt x="1008" y="215"/>
                      </a:lnTo>
                      <a:lnTo>
                        <a:pt x="1017" y="223"/>
                      </a:lnTo>
                      <a:lnTo>
                        <a:pt x="1026" y="235"/>
                      </a:lnTo>
                      <a:lnTo>
                        <a:pt x="1030" y="241"/>
                      </a:lnTo>
                      <a:lnTo>
                        <a:pt x="1033" y="246"/>
                      </a:lnTo>
                      <a:lnTo>
                        <a:pt x="1034" y="251"/>
                      </a:lnTo>
                      <a:lnTo>
                        <a:pt x="1034" y="255"/>
                      </a:lnTo>
                      <a:lnTo>
                        <a:pt x="1033" y="257"/>
                      </a:lnTo>
                      <a:lnTo>
                        <a:pt x="1033" y="257"/>
                      </a:lnTo>
                      <a:lnTo>
                        <a:pt x="1030" y="258"/>
                      </a:lnTo>
                      <a:lnTo>
                        <a:pt x="1028" y="259"/>
                      </a:lnTo>
                      <a:lnTo>
                        <a:pt x="1021" y="260"/>
                      </a:lnTo>
                      <a:lnTo>
                        <a:pt x="1013" y="259"/>
                      </a:lnTo>
                      <a:lnTo>
                        <a:pt x="1005" y="256"/>
                      </a:lnTo>
                      <a:lnTo>
                        <a:pt x="997" y="252"/>
                      </a:lnTo>
                      <a:lnTo>
                        <a:pt x="989" y="248"/>
                      </a:lnTo>
                      <a:lnTo>
                        <a:pt x="983" y="243"/>
                      </a:lnTo>
                      <a:lnTo>
                        <a:pt x="980" y="241"/>
                      </a:lnTo>
                      <a:lnTo>
                        <a:pt x="980" y="241"/>
                      </a:lnTo>
                      <a:lnTo>
                        <a:pt x="977" y="235"/>
                      </a:lnTo>
                      <a:lnTo>
                        <a:pt x="976" y="228"/>
                      </a:lnTo>
                      <a:lnTo>
                        <a:pt x="976" y="212"/>
                      </a:lnTo>
                      <a:lnTo>
                        <a:pt x="976" y="204"/>
                      </a:lnTo>
                      <a:lnTo>
                        <a:pt x="975" y="197"/>
                      </a:lnTo>
                      <a:lnTo>
                        <a:pt x="973" y="191"/>
                      </a:lnTo>
                      <a:lnTo>
                        <a:pt x="970" y="189"/>
                      </a:lnTo>
                      <a:lnTo>
                        <a:pt x="968" y="188"/>
                      </a:lnTo>
                      <a:lnTo>
                        <a:pt x="968" y="188"/>
                      </a:lnTo>
                      <a:lnTo>
                        <a:pt x="955" y="183"/>
                      </a:lnTo>
                      <a:lnTo>
                        <a:pt x="944" y="180"/>
                      </a:lnTo>
                      <a:lnTo>
                        <a:pt x="939" y="177"/>
                      </a:lnTo>
                      <a:lnTo>
                        <a:pt x="936" y="174"/>
                      </a:lnTo>
                      <a:lnTo>
                        <a:pt x="932" y="169"/>
                      </a:lnTo>
                      <a:lnTo>
                        <a:pt x="930" y="164"/>
                      </a:lnTo>
                      <a:lnTo>
                        <a:pt x="930" y="164"/>
                      </a:lnTo>
                      <a:lnTo>
                        <a:pt x="973" y="173"/>
                      </a:lnTo>
                      <a:lnTo>
                        <a:pt x="1003" y="179"/>
                      </a:lnTo>
                      <a:lnTo>
                        <a:pt x="1018" y="180"/>
                      </a:lnTo>
                      <a:lnTo>
                        <a:pt x="1033" y="181"/>
                      </a:lnTo>
                      <a:lnTo>
                        <a:pt x="1046" y="181"/>
                      </a:lnTo>
                      <a:lnTo>
                        <a:pt x="1059" y="180"/>
                      </a:lnTo>
                      <a:lnTo>
                        <a:pt x="1069" y="176"/>
                      </a:lnTo>
                      <a:lnTo>
                        <a:pt x="1074" y="175"/>
                      </a:lnTo>
                      <a:lnTo>
                        <a:pt x="1078" y="172"/>
                      </a:lnTo>
                      <a:lnTo>
                        <a:pt x="1081" y="169"/>
                      </a:lnTo>
                      <a:lnTo>
                        <a:pt x="1083" y="166"/>
                      </a:lnTo>
                      <a:lnTo>
                        <a:pt x="1084" y="161"/>
                      </a:lnTo>
                      <a:lnTo>
                        <a:pt x="1084" y="157"/>
                      </a:lnTo>
                      <a:lnTo>
                        <a:pt x="1084" y="152"/>
                      </a:lnTo>
                      <a:lnTo>
                        <a:pt x="1083" y="145"/>
                      </a:lnTo>
                      <a:lnTo>
                        <a:pt x="1081" y="139"/>
                      </a:lnTo>
                      <a:lnTo>
                        <a:pt x="1076" y="131"/>
                      </a:lnTo>
                      <a:lnTo>
                        <a:pt x="1076" y="131"/>
                      </a:lnTo>
                      <a:lnTo>
                        <a:pt x="1071" y="122"/>
                      </a:lnTo>
                      <a:lnTo>
                        <a:pt x="1064" y="114"/>
                      </a:lnTo>
                      <a:lnTo>
                        <a:pt x="1055" y="107"/>
                      </a:lnTo>
                      <a:lnTo>
                        <a:pt x="1044" y="100"/>
                      </a:lnTo>
                      <a:lnTo>
                        <a:pt x="1034" y="93"/>
                      </a:lnTo>
                      <a:lnTo>
                        <a:pt x="1022" y="88"/>
                      </a:lnTo>
                      <a:lnTo>
                        <a:pt x="1010" y="83"/>
                      </a:lnTo>
                      <a:lnTo>
                        <a:pt x="997" y="78"/>
                      </a:lnTo>
                      <a:lnTo>
                        <a:pt x="983" y="75"/>
                      </a:lnTo>
                      <a:lnTo>
                        <a:pt x="969" y="73"/>
                      </a:lnTo>
                      <a:lnTo>
                        <a:pt x="957" y="70"/>
                      </a:lnTo>
                      <a:lnTo>
                        <a:pt x="944" y="69"/>
                      </a:lnTo>
                      <a:lnTo>
                        <a:pt x="931" y="69"/>
                      </a:lnTo>
                      <a:lnTo>
                        <a:pt x="919" y="69"/>
                      </a:lnTo>
                      <a:lnTo>
                        <a:pt x="908" y="70"/>
                      </a:lnTo>
                      <a:lnTo>
                        <a:pt x="898" y="73"/>
                      </a:lnTo>
                      <a:lnTo>
                        <a:pt x="898" y="73"/>
                      </a:lnTo>
                      <a:lnTo>
                        <a:pt x="894" y="67"/>
                      </a:lnTo>
                      <a:lnTo>
                        <a:pt x="891" y="59"/>
                      </a:lnTo>
                      <a:lnTo>
                        <a:pt x="889" y="51"/>
                      </a:lnTo>
                      <a:lnTo>
                        <a:pt x="888" y="45"/>
                      </a:lnTo>
                      <a:lnTo>
                        <a:pt x="888" y="45"/>
                      </a:lnTo>
                      <a:lnTo>
                        <a:pt x="892" y="43"/>
                      </a:lnTo>
                      <a:lnTo>
                        <a:pt x="896" y="39"/>
                      </a:lnTo>
                      <a:lnTo>
                        <a:pt x="897" y="37"/>
                      </a:lnTo>
                      <a:lnTo>
                        <a:pt x="898" y="35"/>
                      </a:lnTo>
                      <a:lnTo>
                        <a:pt x="897" y="32"/>
                      </a:lnTo>
                      <a:lnTo>
                        <a:pt x="896" y="30"/>
                      </a:lnTo>
                      <a:lnTo>
                        <a:pt x="890" y="25"/>
                      </a:lnTo>
                      <a:lnTo>
                        <a:pt x="883" y="22"/>
                      </a:lnTo>
                      <a:lnTo>
                        <a:pt x="874" y="20"/>
                      </a:lnTo>
                      <a:lnTo>
                        <a:pt x="863" y="17"/>
                      </a:lnTo>
                      <a:lnTo>
                        <a:pt x="855" y="16"/>
                      </a:lnTo>
                      <a:lnTo>
                        <a:pt x="855" y="16"/>
                      </a:lnTo>
                      <a:lnTo>
                        <a:pt x="833" y="15"/>
                      </a:lnTo>
                      <a:lnTo>
                        <a:pt x="822" y="16"/>
                      </a:lnTo>
                      <a:lnTo>
                        <a:pt x="812" y="17"/>
                      </a:lnTo>
                      <a:lnTo>
                        <a:pt x="802" y="21"/>
                      </a:lnTo>
                      <a:lnTo>
                        <a:pt x="799" y="23"/>
                      </a:lnTo>
                      <a:lnTo>
                        <a:pt x="795" y="27"/>
                      </a:lnTo>
                      <a:lnTo>
                        <a:pt x="792" y="30"/>
                      </a:lnTo>
                      <a:lnTo>
                        <a:pt x="791" y="35"/>
                      </a:lnTo>
                      <a:lnTo>
                        <a:pt x="789" y="39"/>
                      </a:lnTo>
                      <a:lnTo>
                        <a:pt x="789" y="45"/>
                      </a:lnTo>
                      <a:lnTo>
                        <a:pt x="789" y="45"/>
                      </a:lnTo>
                      <a:lnTo>
                        <a:pt x="783" y="37"/>
                      </a:lnTo>
                      <a:lnTo>
                        <a:pt x="779" y="33"/>
                      </a:lnTo>
                      <a:lnTo>
                        <a:pt x="775" y="31"/>
                      </a:lnTo>
                      <a:lnTo>
                        <a:pt x="771" y="30"/>
                      </a:lnTo>
                      <a:lnTo>
                        <a:pt x="767" y="29"/>
                      </a:lnTo>
                      <a:lnTo>
                        <a:pt x="756" y="29"/>
                      </a:lnTo>
                      <a:lnTo>
                        <a:pt x="756" y="29"/>
                      </a:lnTo>
                      <a:lnTo>
                        <a:pt x="748" y="30"/>
                      </a:lnTo>
                      <a:lnTo>
                        <a:pt x="743" y="31"/>
                      </a:lnTo>
                      <a:lnTo>
                        <a:pt x="739" y="35"/>
                      </a:lnTo>
                      <a:lnTo>
                        <a:pt x="737" y="38"/>
                      </a:lnTo>
                      <a:lnTo>
                        <a:pt x="733" y="48"/>
                      </a:lnTo>
                      <a:lnTo>
                        <a:pt x="730" y="61"/>
                      </a:lnTo>
                      <a:lnTo>
                        <a:pt x="730" y="61"/>
                      </a:lnTo>
                      <a:lnTo>
                        <a:pt x="722" y="45"/>
                      </a:lnTo>
                      <a:lnTo>
                        <a:pt x="722" y="45"/>
                      </a:lnTo>
                      <a:lnTo>
                        <a:pt x="655" y="99"/>
                      </a:lnTo>
                      <a:lnTo>
                        <a:pt x="655" y="99"/>
                      </a:lnTo>
                      <a:lnTo>
                        <a:pt x="665" y="111"/>
                      </a:lnTo>
                      <a:lnTo>
                        <a:pt x="665" y="111"/>
                      </a:lnTo>
                      <a:lnTo>
                        <a:pt x="660" y="113"/>
                      </a:lnTo>
                      <a:lnTo>
                        <a:pt x="654" y="116"/>
                      </a:lnTo>
                      <a:lnTo>
                        <a:pt x="648" y="121"/>
                      </a:lnTo>
                      <a:lnTo>
                        <a:pt x="643" y="127"/>
                      </a:lnTo>
                      <a:lnTo>
                        <a:pt x="633" y="141"/>
                      </a:lnTo>
                      <a:lnTo>
                        <a:pt x="625" y="156"/>
                      </a:lnTo>
                      <a:lnTo>
                        <a:pt x="617" y="173"/>
                      </a:lnTo>
                      <a:lnTo>
                        <a:pt x="610" y="189"/>
                      </a:lnTo>
                      <a:lnTo>
                        <a:pt x="600" y="217"/>
                      </a:lnTo>
                      <a:lnTo>
                        <a:pt x="600" y="217"/>
                      </a:lnTo>
                      <a:lnTo>
                        <a:pt x="597" y="220"/>
                      </a:lnTo>
                      <a:lnTo>
                        <a:pt x="593" y="223"/>
                      </a:lnTo>
                      <a:lnTo>
                        <a:pt x="584" y="230"/>
                      </a:lnTo>
                      <a:lnTo>
                        <a:pt x="580" y="235"/>
                      </a:lnTo>
                      <a:lnTo>
                        <a:pt x="580" y="236"/>
                      </a:lnTo>
                      <a:lnTo>
                        <a:pt x="580" y="238"/>
                      </a:lnTo>
                      <a:lnTo>
                        <a:pt x="581" y="241"/>
                      </a:lnTo>
                      <a:lnTo>
                        <a:pt x="584" y="243"/>
                      </a:lnTo>
                      <a:lnTo>
                        <a:pt x="591" y="248"/>
                      </a:lnTo>
                      <a:lnTo>
                        <a:pt x="591" y="248"/>
                      </a:lnTo>
                      <a:lnTo>
                        <a:pt x="596" y="251"/>
                      </a:lnTo>
                      <a:lnTo>
                        <a:pt x="597" y="253"/>
                      </a:lnTo>
                      <a:lnTo>
                        <a:pt x="597" y="255"/>
                      </a:lnTo>
                      <a:lnTo>
                        <a:pt x="597" y="257"/>
                      </a:lnTo>
                      <a:lnTo>
                        <a:pt x="595" y="258"/>
                      </a:lnTo>
                      <a:lnTo>
                        <a:pt x="591" y="259"/>
                      </a:lnTo>
                      <a:lnTo>
                        <a:pt x="584" y="259"/>
                      </a:lnTo>
                      <a:lnTo>
                        <a:pt x="577" y="258"/>
                      </a:lnTo>
                      <a:lnTo>
                        <a:pt x="570" y="253"/>
                      </a:lnTo>
                      <a:lnTo>
                        <a:pt x="566" y="251"/>
                      </a:lnTo>
                      <a:lnTo>
                        <a:pt x="564" y="248"/>
                      </a:lnTo>
                      <a:lnTo>
                        <a:pt x="564" y="248"/>
                      </a:lnTo>
                      <a:lnTo>
                        <a:pt x="541" y="280"/>
                      </a:lnTo>
                      <a:lnTo>
                        <a:pt x="530" y="295"/>
                      </a:lnTo>
                      <a:lnTo>
                        <a:pt x="518" y="307"/>
                      </a:lnTo>
                      <a:lnTo>
                        <a:pt x="518" y="307"/>
                      </a:lnTo>
                      <a:lnTo>
                        <a:pt x="512" y="312"/>
                      </a:lnTo>
                      <a:lnTo>
                        <a:pt x="508" y="313"/>
                      </a:lnTo>
                      <a:lnTo>
                        <a:pt x="503" y="314"/>
                      </a:lnTo>
                      <a:lnTo>
                        <a:pt x="500" y="314"/>
                      </a:lnTo>
                      <a:lnTo>
                        <a:pt x="495" y="316"/>
                      </a:lnTo>
                      <a:lnTo>
                        <a:pt x="492" y="317"/>
                      </a:lnTo>
                      <a:lnTo>
                        <a:pt x="488" y="321"/>
                      </a:lnTo>
                      <a:lnTo>
                        <a:pt x="486" y="329"/>
                      </a:lnTo>
                      <a:lnTo>
                        <a:pt x="486" y="329"/>
                      </a:lnTo>
                      <a:lnTo>
                        <a:pt x="482" y="341"/>
                      </a:lnTo>
                      <a:lnTo>
                        <a:pt x="479" y="350"/>
                      </a:lnTo>
                      <a:lnTo>
                        <a:pt x="478" y="360"/>
                      </a:lnTo>
                      <a:lnTo>
                        <a:pt x="478" y="372"/>
                      </a:lnTo>
                      <a:lnTo>
                        <a:pt x="478" y="372"/>
                      </a:lnTo>
                      <a:lnTo>
                        <a:pt x="480" y="395"/>
                      </a:lnTo>
                      <a:lnTo>
                        <a:pt x="483" y="421"/>
                      </a:lnTo>
                      <a:lnTo>
                        <a:pt x="486" y="434"/>
                      </a:lnTo>
                      <a:lnTo>
                        <a:pt x="490" y="446"/>
                      </a:lnTo>
                      <a:lnTo>
                        <a:pt x="495" y="456"/>
                      </a:lnTo>
                      <a:lnTo>
                        <a:pt x="503" y="465"/>
                      </a:lnTo>
                      <a:lnTo>
                        <a:pt x="503" y="465"/>
                      </a:lnTo>
                      <a:lnTo>
                        <a:pt x="508" y="470"/>
                      </a:lnTo>
                      <a:lnTo>
                        <a:pt x="513" y="473"/>
                      </a:lnTo>
                      <a:lnTo>
                        <a:pt x="519" y="474"/>
                      </a:lnTo>
                      <a:lnTo>
                        <a:pt x="526" y="474"/>
                      </a:lnTo>
                      <a:lnTo>
                        <a:pt x="532" y="473"/>
                      </a:lnTo>
                      <a:lnTo>
                        <a:pt x="538" y="471"/>
                      </a:lnTo>
                      <a:lnTo>
                        <a:pt x="543" y="468"/>
                      </a:lnTo>
                      <a:lnTo>
                        <a:pt x="550" y="463"/>
                      </a:lnTo>
                      <a:lnTo>
                        <a:pt x="561" y="454"/>
                      </a:lnTo>
                      <a:lnTo>
                        <a:pt x="571" y="442"/>
                      </a:lnTo>
                      <a:lnTo>
                        <a:pt x="579" y="432"/>
                      </a:lnTo>
                      <a:lnTo>
                        <a:pt x="586" y="421"/>
                      </a:lnTo>
                      <a:lnTo>
                        <a:pt x="586" y="421"/>
                      </a:lnTo>
                      <a:lnTo>
                        <a:pt x="587" y="435"/>
                      </a:lnTo>
                      <a:lnTo>
                        <a:pt x="589" y="447"/>
                      </a:lnTo>
                      <a:lnTo>
                        <a:pt x="593" y="456"/>
                      </a:lnTo>
                      <a:lnTo>
                        <a:pt x="596" y="465"/>
                      </a:lnTo>
                      <a:lnTo>
                        <a:pt x="602" y="473"/>
                      </a:lnTo>
                      <a:lnTo>
                        <a:pt x="608" y="482"/>
                      </a:lnTo>
                      <a:lnTo>
                        <a:pt x="624" y="504"/>
                      </a:lnTo>
                      <a:lnTo>
                        <a:pt x="624" y="504"/>
                      </a:lnTo>
                      <a:lnTo>
                        <a:pt x="625" y="509"/>
                      </a:lnTo>
                      <a:lnTo>
                        <a:pt x="627" y="516"/>
                      </a:lnTo>
                      <a:lnTo>
                        <a:pt x="629" y="531"/>
                      </a:lnTo>
                      <a:lnTo>
                        <a:pt x="631" y="546"/>
                      </a:lnTo>
                      <a:lnTo>
                        <a:pt x="632" y="552"/>
                      </a:lnTo>
                      <a:lnTo>
                        <a:pt x="635" y="554"/>
                      </a:lnTo>
                      <a:lnTo>
                        <a:pt x="635" y="554"/>
                      </a:lnTo>
                      <a:lnTo>
                        <a:pt x="640" y="557"/>
                      </a:lnTo>
                      <a:lnTo>
                        <a:pt x="643" y="558"/>
                      </a:lnTo>
                      <a:lnTo>
                        <a:pt x="647" y="558"/>
                      </a:lnTo>
                      <a:lnTo>
                        <a:pt x="650" y="557"/>
                      </a:lnTo>
                      <a:lnTo>
                        <a:pt x="653" y="556"/>
                      </a:lnTo>
                      <a:lnTo>
                        <a:pt x="656" y="554"/>
                      </a:lnTo>
                      <a:lnTo>
                        <a:pt x="660" y="549"/>
                      </a:lnTo>
                      <a:lnTo>
                        <a:pt x="668" y="535"/>
                      </a:lnTo>
                      <a:lnTo>
                        <a:pt x="671" y="531"/>
                      </a:lnTo>
                      <a:lnTo>
                        <a:pt x="673" y="529"/>
                      </a:lnTo>
                      <a:lnTo>
                        <a:pt x="677" y="527"/>
                      </a:lnTo>
                      <a:lnTo>
                        <a:pt x="677" y="527"/>
                      </a:lnTo>
                      <a:lnTo>
                        <a:pt x="694" y="520"/>
                      </a:lnTo>
                      <a:lnTo>
                        <a:pt x="699" y="518"/>
                      </a:lnTo>
                      <a:lnTo>
                        <a:pt x="702" y="515"/>
                      </a:lnTo>
                      <a:lnTo>
                        <a:pt x="705" y="510"/>
                      </a:lnTo>
                      <a:lnTo>
                        <a:pt x="705" y="504"/>
                      </a:lnTo>
                      <a:lnTo>
                        <a:pt x="705" y="486"/>
                      </a:lnTo>
                      <a:lnTo>
                        <a:pt x="705" y="486"/>
                      </a:lnTo>
                      <a:lnTo>
                        <a:pt x="705" y="474"/>
                      </a:lnTo>
                      <a:lnTo>
                        <a:pt x="706" y="465"/>
                      </a:lnTo>
                      <a:lnTo>
                        <a:pt x="707" y="459"/>
                      </a:lnTo>
                      <a:lnTo>
                        <a:pt x="709" y="455"/>
                      </a:lnTo>
                      <a:lnTo>
                        <a:pt x="717" y="444"/>
                      </a:lnTo>
                      <a:lnTo>
                        <a:pt x="722" y="439"/>
                      </a:lnTo>
                      <a:lnTo>
                        <a:pt x="729" y="430"/>
                      </a:lnTo>
                      <a:lnTo>
                        <a:pt x="729" y="430"/>
                      </a:lnTo>
                      <a:lnTo>
                        <a:pt x="733" y="420"/>
                      </a:lnTo>
                      <a:lnTo>
                        <a:pt x="737" y="411"/>
                      </a:lnTo>
                      <a:lnTo>
                        <a:pt x="738" y="404"/>
                      </a:lnTo>
                      <a:lnTo>
                        <a:pt x="737" y="397"/>
                      </a:lnTo>
                      <a:lnTo>
                        <a:pt x="734" y="392"/>
                      </a:lnTo>
                      <a:lnTo>
                        <a:pt x="731" y="386"/>
                      </a:lnTo>
                      <a:lnTo>
                        <a:pt x="722" y="375"/>
                      </a:lnTo>
                      <a:lnTo>
                        <a:pt x="713" y="365"/>
                      </a:lnTo>
                      <a:lnTo>
                        <a:pt x="709" y="359"/>
                      </a:lnTo>
                      <a:lnTo>
                        <a:pt x="707" y="352"/>
                      </a:lnTo>
                      <a:lnTo>
                        <a:pt x="706" y="345"/>
                      </a:lnTo>
                      <a:lnTo>
                        <a:pt x="706" y="337"/>
                      </a:lnTo>
                      <a:lnTo>
                        <a:pt x="708" y="328"/>
                      </a:lnTo>
                      <a:lnTo>
                        <a:pt x="714" y="318"/>
                      </a:lnTo>
                      <a:lnTo>
                        <a:pt x="714" y="318"/>
                      </a:lnTo>
                      <a:lnTo>
                        <a:pt x="718" y="312"/>
                      </a:lnTo>
                      <a:lnTo>
                        <a:pt x="722" y="307"/>
                      </a:lnTo>
                      <a:lnTo>
                        <a:pt x="731" y="302"/>
                      </a:lnTo>
                      <a:lnTo>
                        <a:pt x="739" y="296"/>
                      </a:lnTo>
                      <a:lnTo>
                        <a:pt x="744" y="291"/>
                      </a:lnTo>
                      <a:lnTo>
                        <a:pt x="748" y="286"/>
                      </a:lnTo>
                      <a:lnTo>
                        <a:pt x="748" y="286"/>
                      </a:lnTo>
                      <a:lnTo>
                        <a:pt x="752" y="281"/>
                      </a:lnTo>
                      <a:lnTo>
                        <a:pt x="755" y="273"/>
                      </a:lnTo>
                      <a:lnTo>
                        <a:pt x="761" y="256"/>
                      </a:lnTo>
                      <a:lnTo>
                        <a:pt x="767" y="238"/>
                      </a:lnTo>
                      <a:lnTo>
                        <a:pt x="770" y="233"/>
                      </a:lnTo>
                      <a:lnTo>
                        <a:pt x="771" y="230"/>
                      </a:lnTo>
                      <a:lnTo>
                        <a:pt x="771" y="230"/>
                      </a:lnTo>
                      <a:lnTo>
                        <a:pt x="781" y="225"/>
                      </a:lnTo>
                      <a:lnTo>
                        <a:pt x="787" y="220"/>
                      </a:lnTo>
                      <a:lnTo>
                        <a:pt x="795" y="217"/>
                      </a:lnTo>
                      <a:lnTo>
                        <a:pt x="801" y="215"/>
                      </a:lnTo>
                      <a:lnTo>
                        <a:pt x="807" y="214"/>
                      </a:lnTo>
                      <a:lnTo>
                        <a:pt x="812" y="214"/>
                      </a:lnTo>
                      <a:lnTo>
                        <a:pt x="815" y="215"/>
                      </a:lnTo>
                      <a:lnTo>
                        <a:pt x="818" y="217"/>
                      </a:lnTo>
                      <a:lnTo>
                        <a:pt x="820" y="220"/>
                      </a:lnTo>
                      <a:lnTo>
                        <a:pt x="821" y="223"/>
                      </a:lnTo>
                      <a:lnTo>
                        <a:pt x="821" y="228"/>
                      </a:lnTo>
                      <a:lnTo>
                        <a:pt x="820" y="233"/>
                      </a:lnTo>
                      <a:lnTo>
                        <a:pt x="816" y="238"/>
                      </a:lnTo>
                      <a:lnTo>
                        <a:pt x="813" y="245"/>
                      </a:lnTo>
                      <a:lnTo>
                        <a:pt x="807" y="252"/>
                      </a:lnTo>
                      <a:lnTo>
                        <a:pt x="801" y="260"/>
                      </a:lnTo>
                      <a:lnTo>
                        <a:pt x="801" y="260"/>
                      </a:lnTo>
                      <a:lnTo>
                        <a:pt x="792" y="271"/>
                      </a:lnTo>
                      <a:lnTo>
                        <a:pt x="782" y="283"/>
                      </a:lnTo>
                      <a:lnTo>
                        <a:pt x="772" y="298"/>
                      </a:lnTo>
                      <a:lnTo>
                        <a:pt x="764" y="314"/>
                      </a:lnTo>
                      <a:lnTo>
                        <a:pt x="762" y="322"/>
                      </a:lnTo>
                      <a:lnTo>
                        <a:pt x="760" y="331"/>
                      </a:lnTo>
                      <a:lnTo>
                        <a:pt x="760" y="339"/>
                      </a:lnTo>
                      <a:lnTo>
                        <a:pt x="760" y="347"/>
                      </a:lnTo>
                      <a:lnTo>
                        <a:pt x="762" y="354"/>
                      </a:lnTo>
                      <a:lnTo>
                        <a:pt x="766" y="360"/>
                      </a:lnTo>
                      <a:lnTo>
                        <a:pt x="770" y="367"/>
                      </a:lnTo>
                      <a:lnTo>
                        <a:pt x="777" y="374"/>
                      </a:lnTo>
                      <a:lnTo>
                        <a:pt x="777" y="374"/>
                      </a:lnTo>
                      <a:lnTo>
                        <a:pt x="795" y="388"/>
                      </a:lnTo>
                      <a:lnTo>
                        <a:pt x="802" y="393"/>
                      </a:lnTo>
                      <a:lnTo>
                        <a:pt x="809" y="396"/>
                      </a:lnTo>
                      <a:lnTo>
                        <a:pt x="815" y="398"/>
                      </a:lnTo>
                      <a:lnTo>
                        <a:pt x="823" y="397"/>
                      </a:lnTo>
                      <a:lnTo>
                        <a:pt x="831" y="395"/>
                      </a:lnTo>
                      <a:lnTo>
                        <a:pt x="843" y="390"/>
                      </a:lnTo>
                      <a:lnTo>
                        <a:pt x="843" y="390"/>
                      </a:lnTo>
                      <a:lnTo>
                        <a:pt x="859" y="382"/>
                      </a:lnTo>
                      <a:lnTo>
                        <a:pt x="874" y="378"/>
                      </a:lnTo>
                      <a:lnTo>
                        <a:pt x="890" y="374"/>
                      </a:lnTo>
                      <a:lnTo>
                        <a:pt x="907" y="372"/>
                      </a:lnTo>
                      <a:lnTo>
                        <a:pt x="907" y="372"/>
                      </a:lnTo>
                      <a:lnTo>
                        <a:pt x="908" y="382"/>
                      </a:lnTo>
                      <a:lnTo>
                        <a:pt x="909" y="387"/>
                      </a:lnTo>
                      <a:lnTo>
                        <a:pt x="913" y="392"/>
                      </a:lnTo>
                      <a:lnTo>
                        <a:pt x="922" y="400"/>
                      </a:lnTo>
                      <a:lnTo>
                        <a:pt x="922" y="400"/>
                      </a:lnTo>
                      <a:lnTo>
                        <a:pt x="918" y="402"/>
                      </a:lnTo>
                      <a:lnTo>
                        <a:pt x="913" y="403"/>
                      </a:lnTo>
                      <a:lnTo>
                        <a:pt x="903" y="405"/>
                      </a:lnTo>
                      <a:lnTo>
                        <a:pt x="893" y="405"/>
                      </a:lnTo>
                      <a:lnTo>
                        <a:pt x="883" y="404"/>
                      </a:lnTo>
                      <a:lnTo>
                        <a:pt x="873" y="403"/>
                      </a:lnTo>
                      <a:lnTo>
                        <a:pt x="862" y="403"/>
                      </a:lnTo>
                      <a:lnTo>
                        <a:pt x="853" y="404"/>
                      </a:lnTo>
                      <a:lnTo>
                        <a:pt x="848" y="405"/>
                      </a:lnTo>
                      <a:lnTo>
                        <a:pt x="845" y="408"/>
                      </a:lnTo>
                      <a:lnTo>
                        <a:pt x="845" y="408"/>
                      </a:lnTo>
                      <a:lnTo>
                        <a:pt x="836" y="413"/>
                      </a:lnTo>
                      <a:lnTo>
                        <a:pt x="829" y="419"/>
                      </a:lnTo>
                      <a:lnTo>
                        <a:pt x="824" y="424"/>
                      </a:lnTo>
                      <a:lnTo>
                        <a:pt x="822" y="428"/>
                      </a:lnTo>
                      <a:lnTo>
                        <a:pt x="821" y="433"/>
                      </a:lnTo>
                      <a:lnTo>
                        <a:pt x="821" y="436"/>
                      </a:lnTo>
                      <a:lnTo>
                        <a:pt x="823" y="441"/>
                      </a:lnTo>
                      <a:lnTo>
                        <a:pt x="825" y="444"/>
                      </a:lnTo>
                      <a:lnTo>
                        <a:pt x="831" y="454"/>
                      </a:lnTo>
                      <a:lnTo>
                        <a:pt x="837" y="464"/>
                      </a:lnTo>
                      <a:lnTo>
                        <a:pt x="839" y="470"/>
                      </a:lnTo>
                      <a:lnTo>
                        <a:pt x="840" y="477"/>
                      </a:lnTo>
                      <a:lnTo>
                        <a:pt x="840" y="485"/>
                      </a:lnTo>
                      <a:lnTo>
                        <a:pt x="839" y="493"/>
                      </a:lnTo>
                      <a:lnTo>
                        <a:pt x="839" y="493"/>
                      </a:lnTo>
                      <a:lnTo>
                        <a:pt x="825" y="493"/>
                      </a:lnTo>
                      <a:lnTo>
                        <a:pt x="825" y="493"/>
                      </a:lnTo>
                      <a:lnTo>
                        <a:pt x="824" y="487"/>
                      </a:lnTo>
                      <a:lnTo>
                        <a:pt x="823" y="481"/>
                      </a:lnTo>
                      <a:lnTo>
                        <a:pt x="821" y="478"/>
                      </a:lnTo>
                      <a:lnTo>
                        <a:pt x="818" y="474"/>
                      </a:lnTo>
                      <a:lnTo>
                        <a:pt x="814" y="472"/>
                      </a:lnTo>
                      <a:lnTo>
                        <a:pt x="810" y="471"/>
                      </a:lnTo>
                      <a:lnTo>
                        <a:pt x="806" y="470"/>
                      </a:lnTo>
                      <a:lnTo>
                        <a:pt x="801" y="471"/>
                      </a:lnTo>
                      <a:lnTo>
                        <a:pt x="795" y="471"/>
                      </a:lnTo>
                      <a:lnTo>
                        <a:pt x="791" y="473"/>
                      </a:lnTo>
                      <a:lnTo>
                        <a:pt x="782" y="479"/>
                      </a:lnTo>
                      <a:lnTo>
                        <a:pt x="777" y="482"/>
                      </a:lnTo>
                      <a:lnTo>
                        <a:pt x="774" y="487"/>
                      </a:lnTo>
                      <a:lnTo>
                        <a:pt x="770" y="492"/>
                      </a:lnTo>
                      <a:lnTo>
                        <a:pt x="768" y="497"/>
                      </a:lnTo>
                      <a:lnTo>
                        <a:pt x="768" y="497"/>
                      </a:lnTo>
                      <a:lnTo>
                        <a:pt x="767" y="501"/>
                      </a:lnTo>
                      <a:lnTo>
                        <a:pt x="767" y="506"/>
                      </a:lnTo>
                      <a:lnTo>
                        <a:pt x="769" y="516"/>
                      </a:lnTo>
                      <a:lnTo>
                        <a:pt x="772" y="529"/>
                      </a:lnTo>
                      <a:lnTo>
                        <a:pt x="775" y="540"/>
                      </a:lnTo>
                      <a:lnTo>
                        <a:pt x="776" y="546"/>
                      </a:lnTo>
                      <a:lnTo>
                        <a:pt x="776" y="552"/>
                      </a:lnTo>
                      <a:lnTo>
                        <a:pt x="775" y="556"/>
                      </a:lnTo>
                      <a:lnTo>
                        <a:pt x="772" y="561"/>
                      </a:lnTo>
                      <a:lnTo>
                        <a:pt x="769" y="564"/>
                      </a:lnTo>
                      <a:lnTo>
                        <a:pt x="764" y="568"/>
                      </a:lnTo>
                      <a:lnTo>
                        <a:pt x="759" y="569"/>
                      </a:lnTo>
                      <a:lnTo>
                        <a:pt x="751" y="570"/>
                      </a:lnTo>
                      <a:lnTo>
                        <a:pt x="751" y="570"/>
                      </a:lnTo>
                      <a:lnTo>
                        <a:pt x="759" y="553"/>
                      </a:lnTo>
                      <a:lnTo>
                        <a:pt x="759" y="553"/>
                      </a:lnTo>
                      <a:lnTo>
                        <a:pt x="747" y="554"/>
                      </a:lnTo>
                      <a:lnTo>
                        <a:pt x="737" y="556"/>
                      </a:lnTo>
                      <a:lnTo>
                        <a:pt x="715" y="562"/>
                      </a:lnTo>
                      <a:lnTo>
                        <a:pt x="715" y="562"/>
                      </a:lnTo>
                      <a:lnTo>
                        <a:pt x="709" y="564"/>
                      </a:lnTo>
                      <a:lnTo>
                        <a:pt x="703" y="569"/>
                      </a:lnTo>
                      <a:lnTo>
                        <a:pt x="690" y="579"/>
                      </a:lnTo>
                      <a:lnTo>
                        <a:pt x="677" y="588"/>
                      </a:lnTo>
                      <a:lnTo>
                        <a:pt x="671" y="592"/>
                      </a:lnTo>
                      <a:lnTo>
                        <a:pt x="667" y="594"/>
                      </a:lnTo>
                      <a:lnTo>
                        <a:pt x="667" y="594"/>
                      </a:lnTo>
                      <a:lnTo>
                        <a:pt x="662" y="593"/>
                      </a:lnTo>
                      <a:lnTo>
                        <a:pt x="657" y="590"/>
                      </a:lnTo>
                      <a:lnTo>
                        <a:pt x="647" y="582"/>
                      </a:lnTo>
                      <a:lnTo>
                        <a:pt x="642" y="578"/>
                      </a:lnTo>
                      <a:lnTo>
                        <a:pt x="637" y="575"/>
                      </a:lnTo>
                      <a:lnTo>
                        <a:pt x="630" y="573"/>
                      </a:lnTo>
                      <a:lnTo>
                        <a:pt x="626" y="575"/>
                      </a:lnTo>
                      <a:lnTo>
                        <a:pt x="623" y="576"/>
                      </a:lnTo>
                      <a:lnTo>
                        <a:pt x="623" y="576"/>
                      </a:lnTo>
                      <a:lnTo>
                        <a:pt x="611" y="579"/>
                      </a:lnTo>
                      <a:lnTo>
                        <a:pt x="607" y="582"/>
                      </a:lnTo>
                      <a:lnTo>
                        <a:pt x="602" y="582"/>
                      </a:lnTo>
                      <a:lnTo>
                        <a:pt x="597" y="580"/>
                      </a:lnTo>
                      <a:lnTo>
                        <a:pt x="593" y="578"/>
                      </a:lnTo>
                      <a:lnTo>
                        <a:pt x="588" y="575"/>
                      </a:lnTo>
                      <a:lnTo>
                        <a:pt x="584" y="569"/>
                      </a:lnTo>
                      <a:lnTo>
                        <a:pt x="584" y="569"/>
                      </a:lnTo>
                      <a:lnTo>
                        <a:pt x="581" y="564"/>
                      </a:lnTo>
                      <a:lnTo>
                        <a:pt x="580" y="558"/>
                      </a:lnTo>
                      <a:lnTo>
                        <a:pt x="581" y="553"/>
                      </a:lnTo>
                      <a:lnTo>
                        <a:pt x="582" y="547"/>
                      </a:lnTo>
                      <a:lnTo>
                        <a:pt x="587" y="532"/>
                      </a:lnTo>
                      <a:lnTo>
                        <a:pt x="593" y="517"/>
                      </a:lnTo>
                      <a:lnTo>
                        <a:pt x="597" y="503"/>
                      </a:lnTo>
                      <a:lnTo>
                        <a:pt x="599" y="496"/>
                      </a:lnTo>
                      <a:lnTo>
                        <a:pt x="599" y="489"/>
                      </a:lnTo>
                      <a:lnTo>
                        <a:pt x="597" y="484"/>
                      </a:lnTo>
                      <a:lnTo>
                        <a:pt x="594" y="478"/>
                      </a:lnTo>
                      <a:lnTo>
                        <a:pt x="591" y="473"/>
                      </a:lnTo>
                      <a:lnTo>
                        <a:pt x="584" y="470"/>
                      </a:lnTo>
                      <a:lnTo>
                        <a:pt x="584" y="470"/>
                      </a:lnTo>
                      <a:lnTo>
                        <a:pt x="577" y="468"/>
                      </a:lnTo>
                      <a:lnTo>
                        <a:pt x="571" y="468"/>
                      </a:lnTo>
                      <a:lnTo>
                        <a:pt x="565" y="469"/>
                      </a:lnTo>
                      <a:lnTo>
                        <a:pt x="561" y="472"/>
                      </a:lnTo>
                      <a:lnTo>
                        <a:pt x="556" y="476"/>
                      </a:lnTo>
                      <a:lnTo>
                        <a:pt x="551" y="481"/>
                      </a:lnTo>
                      <a:lnTo>
                        <a:pt x="548" y="487"/>
                      </a:lnTo>
                      <a:lnTo>
                        <a:pt x="546" y="494"/>
                      </a:lnTo>
                      <a:lnTo>
                        <a:pt x="541" y="509"/>
                      </a:lnTo>
                      <a:lnTo>
                        <a:pt x="539" y="524"/>
                      </a:lnTo>
                      <a:lnTo>
                        <a:pt x="538" y="538"/>
                      </a:lnTo>
                      <a:lnTo>
                        <a:pt x="539" y="544"/>
                      </a:lnTo>
                      <a:lnTo>
                        <a:pt x="540" y="548"/>
                      </a:lnTo>
                      <a:lnTo>
                        <a:pt x="540" y="548"/>
                      </a:lnTo>
                      <a:lnTo>
                        <a:pt x="546" y="562"/>
                      </a:lnTo>
                      <a:lnTo>
                        <a:pt x="548" y="572"/>
                      </a:lnTo>
                      <a:lnTo>
                        <a:pt x="549" y="579"/>
                      </a:lnTo>
                      <a:lnTo>
                        <a:pt x="547" y="585"/>
                      </a:lnTo>
                      <a:lnTo>
                        <a:pt x="543" y="588"/>
                      </a:lnTo>
                      <a:lnTo>
                        <a:pt x="536" y="592"/>
                      </a:lnTo>
                      <a:lnTo>
                        <a:pt x="518" y="600"/>
                      </a:lnTo>
                      <a:lnTo>
                        <a:pt x="518" y="600"/>
                      </a:lnTo>
                      <a:lnTo>
                        <a:pt x="505" y="607"/>
                      </a:lnTo>
                      <a:lnTo>
                        <a:pt x="495" y="614"/>
                      </a:lnTo>
                      <a:lnTo>
                        <a:pt x="488" y="619"/>
                      </a:lnTo>
                      <a:lnTo>
                        <a:pt x="481" y="625"/>
                      </a:lnTo>
                      <a:lnTo>
                        <a:pt x="481" y="625"/>
                      </a:lnTo>
                      <a:lnTo>
                        <a:pt x="487" y="631"/>
                      </a:lnTo>
                      <a:lnTo>
                        <a:pt x="488" y="633"/>
                      </a:lnTo>
                      <a:lnTo>
                        <a:pt x="488" y="638"/>
                      </a:lnTo>
                      <a:lnTo>
                        <a:pt x="488" y="638"/>
                      </a:lnTo>
                      <a:lnTo>
                        <a:pt x="481" y="626"/>
                      </a:lnTo>
                      <a:lnTo>
                        <a:pt x="481" y="626"/>
                      </a:lnTo>
                      <a:lnTo>
                        <a:pt x="475" y="634"/>
                      </a:lnTo>
                      <a:lnTo>
                        <a:pt x="469" y="643"/>
                      </a:lnTo>
                      <a:lnTo>
                        <a:pt x="462" y="653"/>
                      </a:lnTo>
                      <a:lnTo>
                        <a:pt x="450" y="666"/>
                      </a:lnTo>
                      <a:lnTo>
                        <a:pt x="450" y="666"/>
                      </a:lnTo>
                      <a:lnTo>
                        <a:pt x="440" y="678"/>
                      </a:lnTo>
                      <a:lnTo>
                        <a:pt x="421" y="698"/>
                      </a:lnTo>
                      <a:lnTo>
                        <a:pt x="412" y="707"/>
                      </a:lnTo>
                      <a:lnTo>
                        <a:pt x="402" y="715"/>
                      </a:lnTo>
                      <a:lnTo>
                        <a:pt x="394" y="721"/>
                      </a:lnTo>
                      <a:lnTo>
                        <a:pt x="390" y="722"/>
                      </a:lnTo>
                      <a:lnTo>
                        <a:pt x="388" y="723"/>
                      </a:lnTo>
                      <a:lnTo>
                        <a:pt x="388" y="723"/>
                      </a:lnTo>
                      <a:lnTo>
                        <a:pt x="382" y="722"/>
                      </a:lnTo>
                      <a:lnTo>
                        <a:pt x="378" y="721"/>
                      </a:lnTo>
                      <a:lnTo>
                        <a:pt x="368" y="715"/>
                      </a:lnTo>
                      <a:lnTo>
                        <a:pt x="364" y="714"/>
                      </a:lnTo>
                      <a:lnTo>
                        <a:pt x="360" y="715"/>
                      </a:lnTo>
                      <a:lnTo>
                        <a:pt x="356" y="720"/>
                      </a:lnTo>
                      <a:lnTo>
                        <a:pt x="352" y="727"/>
                      </a:lnTo>
                      <a:lnTo>
                        <a:pt x="352" y="727"/>
                      </a:lnTo>
                      <a:lnTo>
                        <a:pt x="351" y="730"/>
                      </a:lnTo>
                      <a:lnTo>
                        <a:pt x="350" y="733"/>
                      </a:lnTo>
                      <a:lnTo>
                        <a:pt x="344" y="737"/>
                      </a:lnTo>
                      <a:lnTo>
                        <a:pt x="337" y="739"/>
                      </a:lnTo>
                      <a:lnTo>
                        <a:pt x="329" y="740"/>
                      </a:lnTo>
                      <a:lnTo>
                        <a:pt x="312" y="739"/>
                      </a:lnTo>
                      <a:lnTo>
                        <a:pt x="297" y="739"/>
                      </a:lnTo>
                      <a:lnTo>
                        <a:pt x="297" y="739"/>
                      </a:lnTo>
                      <a:lnTo>
                        <a:pt x="297" y="747"/>
                      </a:lnTo>
                      <a:lnTo>
                        <a:pt x="300" y="755"/>
                      </a:lnTo>
                      <a:lnTo>
                        <a:pt x="305" y="762"/>
                      </a:lnTo>
                      <a:lnTo>
                        <a:pt x="312" y="769"/>
                      </a:lnTo>
                      <a:lnTo>
                        <a:pt x="319" y="775"/>
                      </a:lnTo>
                      <a:lnTo>
                        <a:pt x="327" y="781"/>
                      </a:lnTo>
                      <a:lnTo>
                        <a:pt x="345" y="791"/>
                      </a:lnTo>
                      <a:lnTo>
                        <a:pt x="353" y="797"/>
                      </a:lnTo>
                      <a:lnTo>
                        <a:pt x="361" y="803"/>
                      </a:lnTo>
                      <a:lnTo>
                        <a:pt x="368" y="808"/>
                      </a:lnTo>
                      <a:lnTo>
                        <a:pt x="373" y="816"/>
                      </a:lnTo>
                      <a:lnTo>
                        <a:pt x="376" y="823"/>
                      </a:lnTo>
                      <a:lnTo>
                        <a:pt x="376" y="832"/>
                      </a:lnTo>
                      <a:lnTo>
                        <a:pt x="375" y="842"/>
                      </a:lnTo>
                      <a:lnTo>
                        <a:pt x="369" y="853"/>
                      </a:lnTo>
                      <a:lnTo>
                        <a:pt x="369" y="853"/>
                      </a:lnTo>
                      <a:lnTo>
                        <a:pt x="361" y="866"/>
                      </a:lnTo>
                      <a:lnTo>
                        <a:pt x="355" y="875"/>
                      </a:lnTo>
                      <a:lnTo>
                        <a:pt x="348" y="881"/>
                      </a:lnTo>
                      <a:lnTo>
                        <a:pt x="341" y="884"/>
                      </a:lnTo>
                      <a:lnTo>
                        <a:pt x="332" y="885"/>
                      </a:lnTo>
                      <a:lnTo>
                        <a:pt x="322" y="885"/>
                      </a:lnTo>
                      <a:lnTo>
                        <a:pt x="294" y="885"/>
                      </a:lnTo>
                      <a:lnTo>
                        <a:pt x="294" y="885"/>
                      </a:lnTo>
                      <a:lnTo>
                        <a:pt x="275" y="883"/>
                      </a:lnTo>
                      <a:lnTo>
                        <a:pt x="250" y="880"/>
                      </a:lnTo>
                      <a:lnTo>
                        <a:pt x="238" y="879"/>
                      </a:lnTo>
                      <a:lnTo>
                        <a:pt x="228" y="880"/>
                      </a:lnTo>
                      <a:lnTo>
                        <a:pt x="219" y="882"/>
                      </a:lnTo>
                      <a:lnTo>
                        <a:pt x="216" y="883"/>
                      </a:lnTo>
                      <a:lnTo>
                        <a:pt x="214" y="885"/>
                      </a:lnTo>
                      <a:lnTo>
                        <a:pt x="214" y="885"/>
                      </a:lnTo>
                      <a:lnTo>
                        <a:pt x="211" y="895"/>
                      </a:lnTo>
                      <a:lnTo>
                        <a:pt x="208" y="903"/>
                      </a:lnTo>
                      <a:lnTo>
                        <a:pt x="208" y="911"/>
                      </a:lnTo>
                      <a:lnTo>
                        <a:pt x="208" y="919"/>
                      </a:lnTo>
                      <a:lnTo>
                        <a:pt x="208" y="934"/>
                      </a:lnTo>
                      <a:lnTo>
                        <a:pt x="208" y="952"/>
                      </a:lnTo>
                      <a:lnTo>
                        <a:pt x="208" y="952"/>
                      </a:lnTo>
                      <a:lnTo>
                        <a:pt x="207" y="959"/>
                      </a:lnTo>
                      <a:lnTo>
                        <a:pt x="205" y="969"/>
                      </a:lnTo>
                      <a:lnTo>
                        <a:pt x="199" y="991"/>
                      </a:lnTo>
                      <a:lnTo>
                        <a:pt x="193" y="1013"/>
                      </a:lnTo>
                      <a:lnTo>
                        <a:pt x="191" y="1020"/>
                      </a:lnTo>
                      <a:lnTo>
                        <a:pt x="191" y="1025"/>
                      </a:lnTo>
                      <a:lnTo>
                        <a:pt x="191" y="1025"/>
                      </a:lnTo>
                      <a:lnTo>
                        <a:pt x="195" y="1042"/>
                      </a:lnTo>
                      <a:lnTo>
                        <a:pt x="197" y="1055"/>
                      </a:lnTo>
                      <a:lnTo>
                        <a:pt x="199" y="1059"/>
                      </a:lnTo>
                      <a:lnTo>
                        <a:pt x="201" y="1065"/>
                      </a:lnTo>
                      <a:lnTo>
                        <a:pt x="205" y="1070"/>
                      </a:lnTo>
                      <a:lnTo>
                        <a:pt x="211" y="1074"/>
                      </a:lnTo>
                      <a:lnTo>
                        <a:pt x="211" y="1074"/>
                      </a:lnTo>
                      <a:lnTo>
                        <a:pt x="223" y="1077"/>
                      </a:lnTo>
                      <a:lnTo>
                        <a:pt x="249" y="1080"/>
                      </a:lnTo>
                      <a:lnTo>
                        <a:pt x="291" y="1085"/>
                      </a:lnTo>
                      <a:lnTo>
                        <a:pt x="291" y="1085"/>
                      </a:lnTo>
                      <a:lnTo>
                        <a:pt x="303" y="1086"/>
                      </a:lnTo>
                      <a:lnTo>
                        <a:pt x="313" y="1085"/>
                      </a:lnTo>
                      <a:lnTo>
                        <a:pt x="323" y="1083"/>
                      </a:lnTo>
                      <a:lnTo>
                        <a:pt x="333" y="1081"/>
                      </a:lnTo>
                      <a:lnTo>
                        <a:pt x="342" y="1078"/>
                      </a:lnTo>
                      <a:lnTo>
                        <a:pt x="351" y="1074"/>
                      </a:lnTo>
                      <a:lnTo>
                        <a:pt x="359" y="1070"/>
                      </a:lnTo>
                      <a:lnTo>
                        <a:pt x="366" y="1064"/>
                      </a:lnTo>
                      <a:lnTo>
                        <a:pt x="373" y="1058"/>
                      </a:lnTo>
                      <a:lnTo>
                        <a:pt x="380" y="1051"/>
                      </a:lnTo>
                      <a:lnTo>
                        <a:pt x="384" y="1043"/>
                      </a:lnTo>
                      <a:lnTo>
                        <a:pt x="389" y="1035"/>
                      </a:lnTo>
                      <a:lnTo>
                        <a:pt x="393" y="1026"/>
                      </a:lnTo>
                      <a:lnTo>
                        <a:pt x="396" y="1017"/>
                      </a:lnTo>
                      <a:lnTo>
                        <a:pt x="397" y="1006"/>
                      </a:lnTo>
                      <a:lnTo>
                        <a:pt x="398" y="996"/>
                      </a:lnTo>
                      <a:lnTo>
                        <a:pt x="398" y="996"/>
                      </a:lnTo>
                      <a:lnTo>
                        <a:pt x="398" y="991"/>
                      </a:lnTo>
                      <a:lnTo>
                        <a:pt x="401" y="988"/>
                      </a:lnTo>
                      <a:lnTo>
                        <a:pt x="405" y="981"/>
                      </a:lnTo>
                      <a:lnTo>
                        <a:pt x="412" y="974"/>
                      </a:lnTo>
                      <a:lnTo>
                        <a:pt x="421" y="967"/>
                      </a:lnTo>
                      <a:lnTo>
                        <a:pt x="439" y="953"/>
                      </a:lnTo>
                      <a:lnTo>
                        <a:pt x="447" y="948"/>
                      </a:lnTo>
                      <a:lnTo>
                        <a:pt x="452" y="941"/>
                      </a:lnTo>
                      <a:lnTo>
                        <a:pt x="452" y="941"/>
                      </a:lnTo>
                      <a:lnTo>
                        <a:pt x="455" y="935"/>
                      </a:lnTo>
                      <a:lnTo>
                        <a:pt x="458" y="926"/>
                      </a:lnTo>
                      <a:lnTo>
                        <a:pt x="460" y="915"/>
                      </a:lnTo>
                      <a:lnTo>
                        <a:pt x="465" y="906"/>
                      </a:lnTo>
                      <a:lnTo>
                        <a:pt x="467" y="902"/>
                      </a:lnTo>
                      <a:lnTo>
                        <a:pt x="470" y="898"/>
                      </a:lnTo>
                      <a:lnTo>
                        <a:pt x="473" y="896"/>
                      </a:lnTo>
                      <a:lnTo>
                        <a:pt x="477" y="895"/>
                      </a:lnTo>
                      <a:lnTo>
                        <a:pt x="481" y="895"/>
                      </a:lnTo>
                      <a:lnTo>
                        <a:pt x="486" y="896"/>
                      </a:lnTo>
                      <a:lnTo>
                        <a:pt x="490" y="898"/>
                      </a:lnTo>
                      <a:lnTo>
                        <a:pt x="497" y="904"/>
                      </a:lnTo>
                      <a:lnTo>
                        <a:pt x="497" y="904"/>
                      </a:lnTo>
                      <a:lnTo>
                        <a:pt x="502" y="907"/>
                      </a:lnTo>
                      <a:lnTo>
                        <a:pt x="506" y="910"/>
                      </a:lnTo>
                      <a:lnTo>
                        <a:pt x="511" y="911"/>
                      </a:lnTo>
                      <a:lnTo>
                        <a:pt x="515" y="911"/>
                      </a:lnTo>
                      <a:lnTo>
                        <a:pt x="519" y="910"/>
                      </a:lnTo>
                      <a:lnTo>
                        <a:pt x="523" y="908"/>
                      </a:lnTo>
                      <a:lnTo>
                        <a:pt x="530" y="903"/>
                      </a:lnTo>
                      <a:lnTo>
                        <a:pt x="542" y="890"/>
                      </a:lnTo>
                      <a:lnTo>
                        <a:pt x="548" y="885"/>
                      </a:lnTo>
                      <a:lnTo>
                        <a:pt x="550" y="883"/>
                      </a:lnTo>
                      <a:lnTo>
                        <a:pt x="554" y="882"/>
                      </a:lnTo>
                      <a:lnTo>
                        <a:pt x="554" y="882"/>
                      </a:lnTo>
                      <a:lnTo>
                        <a:pt x="565" y="882"/>
                      </a:lnTo>
                      <a:lnTo>
                        <a:pt x="576" y="883"/>
                      </a:lnTo>
                      <a:lnTo>
                        <a:pt x="584" y="887"/>
                      </a:lnTo>
                      <a:lnTo>
                        <a:pt x="591" y="892"/>
                      </a:lnTo>
                      <a:lnTo>
                        <a:pt x="597" y="899"/>
                      </a:lnTo>
                      <a:lnTo>
                        <a:pt x="604" y="907"/>
                      </a:lnTo>
                      <a:lnTo>
                        <a:pt x="618" y="925"/>
                      </a:lnTo>
                      <a:lnTo>
                        <a:pt x="618" y="925"/>
                      </a:lnTo>
                      <a:lnTo>
                        <a:pt x="627" y="935"/>
                      </a:lnTo>
                      <a:lnTo>
                        <a:pt x="635" y="942"/>
                      </a:lnTo>
                      <a:lnTo>
                        <a:pt x="643" y="946"/>
                      </a:lnTo>
                      <a:lnTo>
                        <a:pt x="650" y="950"/>
                      </a:lnTo>
                      <a:lnTo>
                        <a:pt x="667" y="957"/>
                      </a:lnTo>
                      <a:lnTo>
                        <a:pt x="676" y="961"/>
                      </a:lnTo>
                      <a:lnTo>
                        <a:pt x="686" y="968"/>
                      </a:lnTo>
                      <a:lnTo>
                        <a:pt x="686" y="968"/>
                      </a:lnTo>
                      <a:lnTo>
                        <a:pt x="695" y="976"/>
                      </a:lnTo>
                      <a:lnTo>
                        <a:pt x="702" y="984"/>
                      </a:lnTo>
                      <a:lnTo>
                        <a:pt x="707" y="994"/>
                      </a:lnTo>
                      <a:lnTo>
                        <a:pt x="709" y="1003"/>
                      </a:lnTo>
                      <a:lnTo>
                        <a:pt x="711" y="1013"/>
                      </a:lnTo>
                      <a:lnTo>
                        <a:pt x="713" y="1024"/>
                      </a:lnTo>
                      <a:lnTo>
                        <a:pt x="714" y="1047"/>
                      </a:lnTo>
                      <a:lnTo>
                        <a:pt x="714" y="1047"/>
                      </a:lnTo>
                      <a:lnTo>
                        <a:pt x="723" y="1042"/>
                      </a:lnTo>
                      <a:lnTo>
                        <a:pt x="730" y="1037"/>
                      </a:lnTo>
                      <a:lnTo>
                        <a:pt x="737" y="1031"/>
                      </a:lnTo>
                      <a:lnTo>
                        <a:pt x="741" y="1022"/>
                      </a:lnTo>
                      <a:lnTo>
                        <a:pt x="745" y="1014"/>
                      </a:lnTo>
                      <a:lnTo>
                        <a:pt x="746" y="1005"/>
                      </a:lnTo>
                      <a:lnTo>
                        <a:pt x="747" y="996"/>
                      </a:lnTo>
                      <a:lnTo>
                        <a:pt x="746" y="987"/>
                      </a:lnTo>
                      <a:lnTo>
                        <a:pt x="746" y="987"/>
                      </a:lnTo>
                      <a:lnTo>
                        <a:pt x="755" y="986"/>
                      </a:lnTo>
                      <a:lnTo>
                        <a:pt x="762" y="984"/>
                      </a:lnTo>
                      <a:lnTo>
                        <a:pt x="764" y="981"/>
                      </a:lnTo>
                      <a:lnTo>
                        <a:pt x="766" y="978"/>
                      </a:lnTo>
                      <a:lnTo>
                        <a:pt x="763" y="974"/>
                      </a:lnTo>
                      <a:lnTo>
                        <a:pt x="760" y="969"/>
                      </a:lnTo>
                      <a:lnTo>
                        <a:pt x="747" y="958"/>
                      </a:lnTo>
                      <a:lnTo>
                        <a:pt x="731" y="946"/>
                      </a:lnTo>
                      <a:lnTo>
                        <a:pt x="715" y="936"/>
                      </a:lnTo>
                      <a:lnTo>
                        <a:pt x="700" y="926"/>
                      </a:lnTo>
                      <a:lnTo>
                        <a:pt x="692" y="919"/>
                      </a:lnTo>
                      <a:lnTo>
                        <a:pt x="692" y="919"/>
                      </a:lnTo>
                      <a:lnTo>
                        <a:pt x="672" y="899"/>
                      </a:lnTo>
                      <a:lnTo>
                        <a:pt x="660" y="885"/>
                      </a:lnTo>
                      <a:lnTo>
                        <a:pt x="649" y="870"/>
                      </a:lnTo>
                      <a:lnTo>
                        <a:pt x="645" y="864"/>
                      </a:lnTo>
                      <a:lnTo>
                        <a:pt x="641" y="857"/>
                      </a:lnTo>
                      <a:lnTo>
                        <a:pt x="639" y="850"/>
                      </a:lnTo>
                      <a:lnTo>
                        <a:pt x="639" y="844"/>
                      </a:lnTo>
                      <a:lnTo>
                        <a:pt x="640" y="839"/>
                      </a:lnTo>
                      <a:lnTo>
                        <a:pt x="645" y="836"/>
                      </a:lnTo>
                      <a:lnTo>
                        <a:pt x="650" y="834"/>
                      </a:lnTo>
                      <a:lnTo>
                        <a:pt x="660" y="834"/>
                      </a:lnTo>
                      <a:lnTo>
                        <a:pt x="660" y="834"/>
                      </a:lnTo>
                      <a:lnTo>
                        <a:pt x="657" y="841"/>
                      </a:lnTo>
                      <a:lnTo>
                        <a:pt x="656" y="846"/>
                      </a:lnTo>
                      <a:lnTo>
                        <a:pt x="655" y="851"/>
                      </a:lnTo>
                      <a:lnTo>
                        <a:pt x="656" y="854"/>
                      </a:lnTo>
                      <a:lnTo>
                        <a:pt x="657" y="857"/>
                      </a:lnTo>
                      <a:lnTo>
                        <a:pt x="660" y="859"/>
                      </a:lnTo>
                      <a:lnTo>
                        <a:pt x="665" y="861"/>
                      </a:lnTo>
                      <a:lnTo>
                        <a:pt x="672" y="861"/>
                      </a:lnTo>
                      <a:lnTo>
                        <a:pt x="679" y="862"/>
                      </a:lnTo>
                      <a:lnTo>
                        <a:pt x="683" y="864"/>
                      </a:lnTo>
                      <a:lnTo>
                        <a:pt x="685" y="866"/>
                      </a:lnTo>
                      <a:lnTo>
                        <a:pt x="687" y="868"/>
                      </a:lnTo>
                      <a:lnTo>
                        <a:pt x="690" y="870"/>
                      </a:lnTo>
                      <a:lnTo>
                        <a:pt x="690" y="870"/>
                      </a:lnTo>
                      <a:lnTo>
                        <a:pt x="693" y="881"/>
                      </a:lnTo>
                      <a:lnTo>
                        <a:pt x="700" y="890"/>
                      </a:lnTo>
                      <a:lnTo>
                        <a:pt x="709" y="899"/>
                      </a:lnTo>
                      <a:lnTo>
                        <a:pt x="719" y="907"/>
                      </a:lnTo>
                      <a:lnTo>
                        <a:pt x="731" y="913"/>
                      </a:lnTo>
                      <a:lnTo>
                        <a:pt x="741" y="917"/>
                      </a:lnTo>
                      <a:lnTo>
                        <a:pt x="747" y="918"/>
                      </a:lnTo>
                      <a:lnTo>
                        <a:pt x="753" y="918"/>
                      </a:lnTo>
                      <a:lnTo>
                        <a:pt x="757" y="917"/>
                      </a:lnTo>
                      <a:lnTo>
                        <a:pt x="762" y="915"/>
                      </a:lnTo>
                      <a:lnTo>
                        <a:pt x="762" y="915"/>
                      </a:lnTo>
                      <a:lnTo>
                        <a:pt x="770" y="921"/>
                      </a:lnTo>
                      <a:lnTo>
                        <a:pt x="777" y="928"/>
                      </a:lnTo>
                      <a:lnTo>
                        <a:pt x="781" y="933"/>
                      </a:lnTo>
                      <a:lnTo>
                        <a:pt x="782" y="937"/>
                      </a:lnTo>
                      <a:lnTo>
                        <a:pt x="784" y="942"/>
                      </a:lnTo>
                      <a:lnTo>
                        <a:pt x="784" y="949"/>
                      </a:lnTo>
                      <a:lnTo>
                        <a:pt x="784" y="949"/>
                      </a:lnTo>
                      <a:lnTo>
                        <a:pt x="784" y="961"/>
                      </a:lnTo>
                      <a:lnTo>
                        <a:pt x="785" y="968"/>
                      </a:lnTo>
                      <a:lnTo>
                        <a:pt x="786" y="974"/>
                      </a:lnTo>
                      <a:lnTo>
                        <a:pt x="789" y="980"/>
                      </a:lnTo>
                      <a:lnTo>
                        <a:pt x="792" y="984"/>
                      </a:lnTo>
                      <a:lnTo>
                        <a:pt x="797" y="988"/>
                      </a:lnTo>
                      <a:lnTo>
                        <a:pt x="802" y="990"/>
                      </a:lnTo>
                      <a:lnTo>
                        <a:pt x="802" y="990"/>
                      </a:lnTo>
                      <a:lnTo>
                        <a:pt x="802" y="995"/>
                      </a:lnTo>
                      <a:lnTo>
                        <a:pt x="804" y="998"/>
                      </a:lnTo>
                      <a:lnTo>
                        <a:pt x="805" y="1002"/>
                      </a:lnTo>
                      <a:lnTo>
                        <a:pt x="806" y="1005"/>
                      </a:lnTo>
                      <a:lnTo>
                        <a:pt x="812" y="1011"/>
                      </a:lnTo>
                      <a:lnTo>
                        <a:pt x="818" y="1016"/>
                      </a:lnTo>
                      <a:lnTo>
                        <a:pt x="827" y="1019"/>
                      </a:lnTo>
                      <a:lnTo>
                        <a:pt x="835" y="1022"/>
                      </a:lnTo>
                      <a:lnTo>
                        <a:pt x="852" y="1028"/>
                      </a:lnTo>
                      <a:lnTo>
                        <a:pt x="852" y="1028"/>
                      </a:lnTo>
                      <a:lnTo>
                        <a:pt x="843" y="1028"/>
                      </a:lnTo>
                      <a:lnTo>
                        <a:pt x="836" y="1029"/>
                      </a:lnTo>
                      <a:lnTo>
                        <a:pt x="831" y="1032"/>
                      </a:lnTo>
                      <a:lnTo>
                        <a:pt x="828" y="1035"/>
                      </a:lnTo>
                      <a:lnTo>
                        <a:pt x="825" y="1039"/>
                      </a:lnTo>
                      <a:lnTo>
                        <a:pt x="825" y="1043"/>
                      </a:lnTo>
                      <a:lnTo>
                        <a:pt x="827" y="1048"/>
                      </a:lnTo>
                      <a:lnTo>
                        <a:pt x="829" y="1054"/>
                      </a:lnTo>
                      <a:lnTo>
                        <a:pt x="832" y="1058"/>
                      </a:lnTo>
                      <a:lnTo>
                        <a:pt x="836" y="1064"/>
                      </a:lnTo>
                      <a:lnTo>
                        <a:pt x="842" y="1069"/>
                      </a:lnTo>
                      <a:lnTo>
                        <a:pt x="847" y="1072"/>
                      </a:lnTo>
                      <a:lnTo>
                        <a:pt x="853" y="1075"/>
                      </a:lnTo>
                      <a:lnTo>
                        <a:pt x="860" y="1079"/>
                      </a:lnTo>
                      <a:lnTo>
                        <a:pt x="867" y="1081"/>
                      </a:lnTo>
                      <a:lnTo>
                        <a:pt x="874" y="1081"/>
                      </a:lnTo>
                      <a:lnTo>
                        <a:pt x="874" y="1081"/>
                      </a:lnTo>
                      <a:lnTo>
                        <a:pt x="873" y="1077"/>
                      </a:lnTo>
                      <a:lnTo>
                        <a:pt x="873" y="1071"/>
                      </a:lnTo>
                      <a:lnTo>
                        <a:pt x="875" y="1062"/>
                      </a:lnTo>
                      <a:lnTo>
                        <a:pt x="878" y="1054"/>
                      </a:lnTo>
                      <a:lnTo>
                        <a:pt x="882" y="1047"/>
                      </a:lnTo>
                      <a:lnTo>
                        <a:pt x="885" y="1040"/>
                      </a:lnTo>
                      <a:lnTo>
                        <a:pt x="886" y="1033"/>
                      </a:lnTo>
                      <a:lnTo>
                        <a:pt x="886" y="1029"/>
                      </a:lnTo>
                      <a:lnTo>
                        <a:pt x="885" y="1026"/>
                      </a:lnTo>
                      <a:lnTo>
                        <a:pt x="883" y="1022"/>
                      </a:lnTo>
                      <a:lnTo>
                        <a:pt x="881" y="1018"/>
                      </a:lnTo>
                      <a:lnTo>
                        <a:pt x="881" y="1018"/>
                      </a:lnTo>
                      <a:lnTo>
                        <a:pt x="871" y="1006"/>
                      </a:lnTo>
                      <a:lnTo>
                        <a:pt x="860" y="987"/>
                      </a:lnTo>
                      <a:lnTo>
                        <a:pt x="855" y="979"/>
                      </a:lnTo>
                      <a:lnTo>
                        <a:pt x="854" y="973"/>
                      </a:lnTo>
                      <a:lnTo>
                        <a:pt x="854" y="972"/>
                      </a:lnTo>
                      <a:lnTo>
                        <a:pt x="856" y="973"/>
                      </a:lnTo>
                      <a:lnTo>
                        <a:pt x="865" y="979"/>
                      </a:lnTo>
                      <a:lnTo>
                        <a:pt x="865" y="979"/>
                      </a:lnTo>
                      <a:lnTo>
                        <a:pt x="867" y="980"/>
                      </a:lnTo>
                      <a:lnTo>
                        <a:pt x="869" y="980"/>
                      </a:lnTo>
                      <a:lnTo>
                        <a:pt x="875" y="980"/>
                      </a:lnTo>
                      <a:lnTo>
                        <a:pt x="882" y="978"/>
                      </a:lnTo>
                      <a:lnTo>
                        <a:pt x="890" y="974"/>
                      </a:lnTo>
                      <a:lnTo>
                        <a:pt x="906" y="966"/>
                      </a:lnTo>
                      <a:lnTo>
                        <a:pt x="914" y="964"/>
                      </a:lnTo>
                      <a:lnTo>
                        <a:pt x="923" y="963"/>
                      </a:lnTo>
                      <a:lnTo>
                        <a:pt x="923" y="963"/>
                      </a:lnTo>
                      <a:lnTo>
                        <a:pt x="934" y="963"/>
                      </a:lnTo>
                      <a:lnTo>
                        <a:pt x="946" y="959"/>
                      </a:lnTo>
                      <a:lnTo>
                        <a:pt x="958" y="956"/>
                      </a:lnTo>
                      <a:lnTo>
                        <a:pt x="968" y="950"/>
                      </a:lnTo>
                      <a:lnTo>
                        <a:pt x="968" y="950"/>
                      </a:lnTo>
                      <a:lnTo>
                        <a:pt x="967" y="956"/>
                      </a:lnTo>
                      <a:lnTo>
                        <a:pt x="965" y="960"/>
                      </a:lnTo>
                      <a:lnTo>
                        <a:pt x="962" y="963"/>
                      </a:lnTo>
                      <a:lnTo>
                        <a:pt x="959" y="965"/>
                      </a:lnTo>
                      <a:lnTo>
                        <a:pt x="954" y="966"/>
                      </a:lnTo>
                      <a:lnTo>
                        <a:pt x="950" y="967"/>
                      </a:lnTo>
                      <a:lnTo>
                        <a:pt x="941" y="968"/>
                      </a:lnTo>
                      <a:lnTo>
                        <a:pt x="930" y="968"/>
                      </a:lnTo>
                      <a:lnTo>
                        <a:pt x="924" y="969"/>
                      </a:lnTo>
                      <a:lnTo>
                        <a:pt x="920" y="971"/>
                      </a:lnTo>
                      <a:lnTo>
                        <a:pt x="915" y="973"/>
                      </a:lnTo>
                      <a:lnTo>
                        <a:pt x="911" y="976"/>
                      </a:lnTo>
                      <a:lnTo>
                        <a:pt x="906" y="981"/>
                      </a:lnTo>
                      <a:lnTo>
                        <a:pt x="903" y="988"/>
                      </a:lnTo>
                      <a:lnTo>
                        <a:pt x="903" y="988"/>
                      </a:lnTo>
                      <a:lnTo>
                        <a:pt x="904" y="998"/>
                      </a:lnTo>
                      <a:lnTo>
                        <a:pt x="907" y="1018"/>
                      </a:lnTo>
                      <a:lnTo>
                        <a:pt x="912" y="1037"/>
                      </a:lnTo>
                      <a:lnTo>
                        <a:pt x="915" y="1048"/>
                      </a:lnTo>
                      <a:lnTo>
                        <a:pt x="915" y="1048"/>
                      </a:lnTo>
                      <a:lnTo>
                        <a:pt x="927" y="1044"/>
                      </a:lnTo>
                      <a:lnTo>
                        <a:pt x="930" y="1043"/>
                      </a:lnTo>
                      <a:lnTo>
                        <a:pt x="934" y="1044"/>
                      </a:lnTo>
                      <a:lnTo>
                        <a:pt x="935" y="1045"/>
                      </a:lnTo>
                      <a:lnTo>
                        <a:pt x="936" y="1047"/>
                      </a:lnTo>
                      <a:lnTo>
                        <a:pt x="937" y="1052"/>
                      </a:lnTo>
                      <a:lnTo>
                        <a:pt x="936" y="1060"/>
                      </a:lnTo>
                      <a:lnTo>
                        <a:pt x="936" y="1067"/>
                      </a:lnTo>
                      <a:lnTo>
                        <a:pt x="937" y="1072"/>
                      </a:lnTo>
                      <a:lnTo>
                        <a:pt x="938" y="1075"/>
                      </a:lnTo>
                      <a:lnTo>
                        <a:pt x="941" y="1079"/>
                      </a:lnTo>
                      <a:lnTo>
                        <a:pt x="943" y="1082"/>
                      </a:lnTo>
                      <a:lnTo>
                        <a:pt x="943" y="1082"/>
                      </a:lnTo>
                      <a:lnTo>
                        <a:pt x="947" y="1085"/>
                      </a:lnTo>
                      <a:lnTo>
                        <a:pt x="952" y="1087"/>
                      </a:lnTo>
                      <a:lnTo>
                        <a:pt x="964" y="1090"/>
                      </a:lnTo>
                      <a:lnTo>
                        <a:pt x="977" y="1092"/>
                      </a:lnTo>
                      <a:lnTo>
                        <a:pt x="991" y="1089"/>
                      </a:lnTo>
                      <a:lnTo>
                        <a:pt x="1003" y="1086"/>
                      </a:lnTo>
                      <a:lnTo>
                        <a:pt x="1008" y="1083"/>
                      </a:lnTo>
                      <a:lnTo>
                        <a:pt x="1013" y="1080"/>
                      </a:lnTo>
                      <a:lnTo>
                        <a:pt x="1018" y="1077"/>
                      </a:lnTo>
                      <a:lnTo>
                        <a:pt x="1020" y="1073"/>
                      </a:lnTo>
                      <a:lnTo>
                        <a:pt x="1022" y="1067"/>
                      </a:lnTo>
                      <a:lnTo>
                        <a:pt x="1022" y="1063"/>
                      </a:lnTo>
                      <a:lnTo>
                        <a:pt x="1022" y="1063"/>
                      </a:lnTo>
                      <a:lnTo>
                        <a:pt x="1049" y="1073"/>
                      </a:lnTo>
                      <a:lnTo>
                        <a:pt x="1060" y="1077"/>
                      </a:lnTo>
                      <a:lnTo>
                        <a:pt x="1072" y="1079"/>
                      </a:lnTo>
                      <a:lnTo>
                        <a:pt x="1083" y="1080"/>
                      </a:lnTo>
                      <a:lnTo>
                        <a:pt x="1095" y="1078"/>
                      </a:lnTo>
                      <a:lnTo>
                        <a:pt x="1106" y="1073"/>
                      </a:lnTo>
                      <a:lnTo>
                        <a:pt x="1120" y="1065"/>
                      </a:lnTo>
                      <a:lnTo>
                        <a:pt x="1120" y="1065"/>
                      </a:lnTo>
                      <a:lnTo>
                        <a:pt x="1118" y="1079"/>
                      </a:lnTo>
                      <a:lnTo>
                        <a:pt x="1116" y="1097"/>
                      </a:lnTo>
                      <a:lnTo>
                        <a:pt x="1113" y="1117"/>
                      </a:lnTo>
                      <a:lnTo>
                        <a:pt x="1110" y="1138"/>
                      </a:lnTo>
                      <a:lnTo>
                        <a:pt x="1107" y="1148"/>
                      </a:lnTo>
                      <a:lnTo>
                        <a:pt x="1105" y="1157"/>
                      </a:lnTo>
                      <a:lnTo>
                        <a:pt x="1102" y="1166"/>
                      </a:lnTo>
                      <a:lnTo>
                        <a:pt x="1097" y="1173"/>
                      </a:lnTo>
                      <a:lnTo>
                        <a:pt x="1092" y="1180"/>
                      </a:lnTo>
                      <a:lnTo>
                        <a:pt x="1087" y="1185"/>
                      </a:lnTo>
                      <a:lnTo>
                        <a:pt x="1080" y="1187"/>
                      </a:lnTo>
                      <a:lnTo>
                        <a:pt x="1072" y="1188"/>
                      </a:lnTo>
                      <a:lnTo>
                        <a:pt x="1072" y="1188"/>
                      </a:lnTo>
                      <a:lnTo>
                        <a:pt x="1067" y="1188"/>
                      </a:lnTo>
                      <a:lnTo>
                        <a:pt x="1063" y="1187"/>
                      </a:lnTo>
                      <a:lnTo>
                        <a:pt x="1055" y="1184"/>
                      </a:lnTo>
                      <a:lnTo>
                        <a:pt x="1046" y="1179"/>
                      </a:lnTo>
                      <a:lnTo>
                        <a:pt x="1042" y="1178"/>
                      </a:lnTo>
                      <a:lnTo>
                        <a:pt x="1037" y="1178"/>
                      </a:lnTo>
                      <a:lnTo>
                        <a:pt x="1037" y="1178"/>
                      </a:lnTo>
                      <a:lnTo>
                        <a:pt x="1031" y="1179"/>
                      </a:lnTo>
                      <a:lnTo>
                        <a:pt x="1026" y="1180"/>
                      </a:lnTo>
                      <a:lnTo>
                        <a:pt x="1014" y="1187"/>
                      </a:lnTo>
                      <a:lnTo>
                        <a:pt x="1004" y="1193"/>
                      </a:lnTo>
                      <a:lnTo>
                        <a:pt x="997" y="1196"/>
                      </a:lnTo>
                      <a:lnTo>
                        <a:pt x="990" y="1197"/>
                      </a:lnTo>
                      <a:lnTo>
                        <a:pt x="990" y="1197"/>
                      </a:lnTo>
                      <a:lnTo>
                        <a:pt x="981" y="1196"/>
                      </a:lnTo>
                      <a:lnTo>
                        <a:pt x="968" y="1195"/>
                      </a:lnTo>
                      <a:lnTo>
                        <a:pt x="939" y="1192"/>
                      </a:lnTo>
                      <a:lnTo>
                        <a:pt x="909" y="1185"/>
                      </a:lnTo>
                      <a:lnTo>
                        <a:pt x="888" y="1179"/>
                      </a:lnTo>
                      <a:lnTo>
                        <a:pt x="888" y="1179"/>
                      </a:lnTo>
                      <a:lnTo>
                        <a:pt x="882" y="1176"/>
                      </a:lnTo>
                      <a:lnTo>
                        <a:pt x="877" y="1172"/>
                      </a:lnTo>
                      <a:lnTo>
                        <a:pt x="875" y="1169"/>
                      </a:lnTo>
                      <a:lnTo>
                        <a:pt x="873" y="1165"/>
                      </a:lnTo>
                      <a:lnTo>
                        <a:pt x="871" y="1162"/>
                      </a:lnTo>
                      <a:lnTo>
                        <a:pt x="868" y="1158"/>
                      </a:lnTo>
                      <a:lnTo>
                        <a:pt x="862" y="1157"/>
                      </a:lnTo>
                      <a:lnTo>
                        <a:pt x="854" y="1156"/>
                      </a:lnTo>
                      <a:lnTo>
                        <a:pt x="854" y="1156"/>
                      </a:lnTo>
                      <a:lnTo>
                        <a:pt x="837" y="1156"/>
                      </a:lnTo>
                      <a:lnTo>
                        <a:pt x="830" y="1157"/>
                      </a:lnTo>
                      <a:lnTo>
                        <a:pt x="824" y="1158"/>
                      </a:lnTo>
                      <a:lnTo>
                        <a:pt x="820" y="1161"/>
                      </a:lnTo>
                      <a:lnTo>
                        <a:pt x="814" y="1164"/>
                      </a:lnTo>
                      <a:lnTo>
                        <a:pt x="801" y="1174"/>
                      </a:lnTo>
                      <a:lnTo>
                        <a:pt x="801" y="1174"/>
                      </a:lnTo>
                      <a:lnTo>
                        <a:pt x="800" y="1176"/>
                      </a:lnTo>
                      <a:lnTo>
                        <a:pt x="799" y="1179"/>
                      </a:lnTo>
                      <a:lnTo>
                        <a:pt x="800" y="1187"/>
                      </a:lnTo>
                      <a:lnTo>
                        <a:pt x="802" y="1197"/>
                      </a:lnTo>
                      <a:lnTo>
                        <a:pt x="805" y="1209"/>
                      </a:lnTo>
                      <a:lnTo>
                        <a:pt x="805" y="1218"/>
                      </a:lnTo>
                      <a:lnTo>
                        <a:pt x="804" y="1222"/>
                      </a:lnTo>
                      <a:lnTo>
                        <a:pt x="802" y="1224"/>
                      </a:lnTo>
                      <a:lnTo>
                        <a:pt x="799" y="1226"/>
                      </a:lnTo>
                      <a:lnTo>
                        <a:pt x="794" y="1226"/>
                      </a:lnTo>
                      <a:lnTo>
                        <a:pt x="789" y="1225"/>
                      </a:lnTo>
                      <a:lnTo>
                        <a:pt x="782" y="1222"/>
                      </a:lnTo>
                      <a:lnTo>
                        <a:pt x="782" y="1222"/>
                      </a:lnTo>
                      <a:lnTo>
                        <a:pt x="768" y="1215"/>
                      </a:lnTo>
                      <a:lnTo>
                        <a:pt x="755" y="1207"/>
                      </a:lnTo>
                      <a:lnTo>
                        <a:pt x="732" y="1191"/>
                      </a:lnTo>
                      <a:lnTo>
                        <a:pt x="722" y="1182"/>
                      </a:lnTo>
                      <a:lnTo>
                        <a:pt x="710" y="1174"/>
                      </a:lnTo>
                      <a:lnTo>
                        <a:pt x="698" y="1169"/>
                      </a:lnTo>
                      <a:lnTo>
                        <a:pt x="685" y="1164"/>
                      </a:lnTo>
                      <a:lnTo>
                        <a:pt x="685" y="1164"/>
                      </a:lnTo>
                      <a:lnTo>
                        <a:pt x="661" y="1157"/>
                      </a:lnTo>
                      <a:lnTo>
                        <a:pt x="637" y="1150"/>
                      </a:lnTo>
                      <a:lnTo>
                        <a:pt x="637" y="1150"/>
                      </a:lnTo>
                      <a:lnTo>
                        <a:pt x="622" y="1145"/>
                      </a:lnTo>
                      <a:lnTo>
                        <a:pt x="619" y="1142"/>
                      </a:lnTo>
                      <a:lnTo>
                        <a:pt x="618" y="1140"/>
                      </a:lnTo>
                      <a:lnTo>
                        <a:pt x="618" y="1136"/>
                      </a:lnTo>
                      <a:lnTo>
                        <a:pt x="619" y="1132"/>
                      </a:lnTo>
                      <a:lnTo>
                        <a:pt x="620" y="1126"/>
                      </a:lnTo>
                      <a:lnTo>
                        <a:pt x="622" y="1119"/>
                      </a:lnTo>
                      <a:lnTo>
                        <a:pt x="622" y="1119"/>
                      </a:lnTo>
                      <a:lnTo>
                        <a:pt x="620" y="1083"/>
                      </a:lnTo>
                      <a:lnTo>
                        <a:pt x="619" y="1063"/>
                      </a:lnTo>
                      <a:lnTo>
                        <a:pt x="618" y="1056"/>
                      </a:lnTo>
                      <a:lnTo>
                        <a:pt x="617" y="1052"/>
                      </a:lnTo>
                      <a:lnTo>
                        <a:pt x="617" y="1052"/>
                      </a:lnTo>
                      <a:lnTo>
                        <a:pt x="610" y="1049"/>
                      </a:lnTo>
                      <a:lnTo>
                        <a:pt x="604" y="1047"/>
                      </a:lnTo>
                      <a:lnTo>
                        <a:pt x="600" y="1047"/>
                      </a:lnTo>
                      <a:lnTo>
                        <a:pt x="595" y="1047"/>
                      </a:lnTo>
                      <a:lnTo>
                        <a:pt x="585" y="1050"/>
                      </a:lnTo>
                      <a:lnTo>
                        <a:pt x="571" y="1057"/>
                      </a:lnTo>
                      <a:lnTo>
                        <a:pt x="571" y="1057"/>
                      </a:lnTo>
                      <a:lnTo>
                        <a:pt x="563" y="1059"/>
                      </a:lnTo>
                      <a:lnTo>
                        <a:pt x="556" y="1060"/>
                      </a:lnTo>
                      <a:lnTo>
                        <a:pt x="550" y="1059"/>
                      </a:lnTo>
                      <a:lnTo>
                        <a:pt x="546" y="1058"/>
                      </a:lnTo>
                      <a:lnTo>
                        <a:pt x="534" y="1055"/>
                      </a:lnTo>
                      <a:lnTo>
                        <a:pt x="527" y="1052"/>
                      </a:lnTo>
                      <a:lnTo>
                        <a:pt x="519" y="1052"/>
                      </a:lnTo>
                      <a:lnTo>
                        <a:pt x="519" y="1052"/>
                      </a:lnTo>
                      <a:lnTo>
                        <a:pt x="504" y="1052"/>
                      </a:lnTo>
                      <a:lnTo>
                        <a:pt x="488" y="1055"/>
                      </a:lnTo>
                      <a:lnTo>
                        <a:pt x="472" y="1057"/>
                      </a:lnTo>
                      <a:lnTo>
                        <a:pt x="456" y="1060"/>
                      </a:lnTo>
                      <a:lnTo>
                        <a:pt x="424" y="1069"/>
                      </a:lnTo>
                      <a:lnTo>
                        <a:pt x="393" y="1075"/>
                      </a:lnTo>
                      <a:lnTo>
                        <a:pt x="393" y="1075"/>
                      </a:lnTo>
                      <a:lnTo>
                        <a:pt x="387" y="1078"/>
                      </a:lnTo>
                      <a:lnTo>
                        <a:pt x="381" y="1080"/>
                      </a:lnTo>
                      <a:lnTo>
                        <a:pt x="372" y="1088"/>
                      </a:lnTo>
                      <a:lnTo>
                        <a:pt x="363" y="1096"/>
                      </a:lnTo>
                      <a:lnTo>
                        <a:pt x="358" y="1100"/>
                      </a:lnTo>
                      <a:lnTo>
                        <a:pt x="352" y="1102"/>
                      </a:lnTo>
                      <a:lnTo>
                        <a:pt x="352" y="1102"/>
                      </a:lnTo>
                      <a:lnTo>
                        <a:pt x="344" y="1104"/>
                      </a:lnTo>
                      <a:lnTo>
                        <a:pt x="336" y="1104"/>
                      </a:lnTo>
                      <a:lnTo>
                        <a:pt x="318" y="1104"/>
                      </a:lnTo>
                      <a:lnTo>
                        <a:pt x="298" y="1103"/>
                      </a:lnTo>
                      <a:lnTo>
                        <a:pt x="282" y="1102"/>
                      </a:lnTo>
                      <a:lnTo>
                        <a:pt x="282" y="1102"/>
                      </a:lnTo>
                      <a:lnTo>
                        <a:pt x="275" y="1102"/>
                      </a:lnTo>
                      <a:lnTo>
                        <a:pt x="269" y="1103"/>
                      </a:lnTo>
                      <a:lnTo>
                        <a:pt x="264" y="1105"/>
                      </a:lnTo>
                      <a:lnTo>
                        <a:pt x="259" y="1109"/>
                      </a:lnTo>
                      <a:lnTo>
                        <a:pt x="250" y="1116"/>
                      </a:lnTo>
                      <a:lnTo>
                        <a:pt x="242" y="1124"/>
                      </a:lnTo>
                      <a:lnTo>
                        <a:pt x="234" y="1133"/>
                      </a:lnTo>
                      <a:lnTo>
                        <a:pt x="224" y="1143"/>
                      </a:lnTo>
                      <a:lnTo>
                        <a:pt x="214" y="1151"/>
                      </a:lnTo>
                      <a:lnTo>
                        <a:pt x="208" y="1156"/>
                      </a:lnTo>
                      <a:lnTo>
                        <a:pt x="201" y="1159"/>
                      </a:lnTo>
                      <a:lnTo>
                        <a:pt x="201" y="1159"/>
                      </a:lnTo>
                      <a:lnTo>
                        <a:pt x="197" y="1163"/>
                      </a:lnTo>
                      <a:lnTo>
                        <a:pt x="192" y="1166"/>
                      </a:lnTo>
                      <a:lnTo>
                        <a:pt x="189" y="1172"/>
                      </a:lnTo>
                      <a:lnTo>
                        <a:pt x="185" y="1178"/>
                      </a:lnTo>
                      <a:lnTo>
                        <a:pt x="181" y="1193"/>
                      </a:lnTo>
                      <a:lnTo>
                        <a:pt x="177" y="1208"/>
                      </a:lnTo>
                      <a:lnTo>
                        <a:pt x="174" y="1224"/>
                      </a:lnTo>
                      <a:lnTo>
                        <a:pt x="168" y="1239"/>
                      </a:lnTo>
                      <a:lnTo>
                        <a:pt x="165" y="1245"/>
                      </a:lnTo>
                      <a:lnTo>
                        <a:pt x="161" y="1250"/>
                      </a:lnTo>
                      <a:lnTo>
                        <a:pt x="157" y="1256"/>
                      </a:lnTo>
                      <a:lnTo>
                        <a:pt x="151" y="1261"/>
                      </a:lnTo>
                      <a:lnTo>
                        <a:pt x="151" y="1261"/>
                      </a:lnTo>
                      <a:lnTo>
                        <a:pt x="124" y="1277"/>
                      </a:lnTo>
                      <a:lnTo>
                        <a:pt x="114" y="1285"/>
                      </a:lnTo>
                      <a:lnTo>
                        <a:pt x="105" y="1293"/>
                      </a:lnTo>
                      <a:lnTo>
                        <a:pt x="97" y="1301"/>
                      </a:lnTo>
                      <a:lnTo>
                        <a:pt x="89" y="1310"/>
                      </a:lnTo>
                      <a:lnTo>
                        <a:pt x="81" y="1323"/>
                      </a:lnTo>
                      <a:lnTo>
                        <a:pt x="71" y="1337"/>
                      </a:lnTo>
                      <a:lnTo>
                        <a:pt x="71" y="1337"/>
                      </a:lnTo>
                      <a:lnTo>
                        <a:pt x="55" y="1364"/>
                      </a:lnTo>
                      <a:lnTo>
                        <a:pt x="39" y="1395"/>
                      </a:lnTo>
                      <a:lnTo>
                        <a:pt x="30" y="1410"/>
                      </a:lnTo>
                      <a:lnTo>
                        <a:pt x="21" y="1425"/>
                      </a:lnTo>
                      <a:lnTo>
                        <a:pt x="10" y="1438"/>
                      </a:lnTo>
                      <a:lnTo>
                        <a:pt x="0" y="1448"/>
                      </a:lnTo>
                      <a:lnTo>
                        <a:pt x="0" y="1448"/>
                      </a:lnTo>
                      <a:lnTo>
                        <a:pt x="2" y="1451"/>
                      </a:lnTo>
                      <a:lnTo>
                        <a:pt x="0" y="1453"/>
                      </a:lnTo>
                      <a:lnTo>
                        <a:pt x="0" y="1453"/>
                      </a:lnTo>
                      <a:lnTo>
                        <a:pt x="7" y="1458"/>
                      </a:lnTo>
                      <a:lnTo>
                        <a:pt x="13" y="1463"/>
                      </a:lnTo>
                      <a:lnTo>
                        <a:pt x="17" y="1469"/>
                      </a:lnTo>
                      <a:lnTo>
                        <a:pt x="20" y="1477"/>
                      </a:lnTo>
                      <a:lnTo>
                        <a:pt x="22" y="1484"/>
                      </a:lnTo>
                      <a:lnTo>
                        <a:pt x="24" y="1493"/>
                      </a:lnTo>
                      <a:lnTo>
                        <a:pt x="24" y="1511"/>
                      </a:lnTo>
                      <a:lnTo>
                        <a:pt x="23" y="1529"/>
                      </a:lnTo>
                      <a:lnTo>
                        <a:pt x="21" y="1547"/>
                      </a:lnTo>
                      <a:lnTo>
                        <a:pt x="18" y="1565"/>
                      </a:lnTo>
                      <a:lnTo>
                        <a:pt x="17" y="1580"/>
                      </a:lnTo>
                      <a:lnTo>
                        <a:pt x="17" y="1580"/>
                      </a:lnTo>
                      <a:lnTo>
                        <a:pt x="15" y="1596"/>
                      </a:lnTo>
                      <a:lnTo>
                        <a:pt x="15" y="1607"/>
                      </a:lnTo>
                      <a:lnTo>
                        <a:pt x="16" y="1618"/>
                      </a:lnTo>
                      <a:lnTo>
                        <a:pt x="20" y="1633"/>
                      </a:lnTo>
                      <a:lnTo>
                        <a:pt x="20" y="1633"/>
                      </a:lnTo>
                      <a:lnTo>
                        <a:pt x="26" y="1652"/>
                      </a:lnTo>
                      <a:lnTo>
                        <a:pt x="31" y="1666"/>
                      </a:lnTo>
                      <a:lnTo>
                        <a:pt x="36" y="1676"/>
                      </a:lnTo>
                      <a:lnTo>
                        <a:pt x="36" y="1676"/>
                      </a:lnTo>
                      <a:lnTo>
                        <a:pt x="48" y="1701"/>
                      </a:lnTo>
                      <a:lnTo>
                        <a:pt x="63" y="1724"/>
                      </a:lnTo>
                      <a:lnTo>
                        <a:pt x="81" y="1744"/>
                      </a:lnTo>
                      <a:lnTo>
                        <a:pt x="100" y="1765"/>
                      </a:lnTo>
                      <a:lnTo>
                        <a:pt x="100" y="1765"/>
                      </a:lnTo>
                      <a:lnTo>
                        <a:pt x="114" y="1777"/>
                      </a:lnTo>
                      <a:lnTo>
                        <a:pt x="129" y="1788"/>
                      </a:lnTo>
                      <a:lnTo>
                        <a:pt x="161" y="1810"/>
                      </a:lnTo>
                      <a:lnTo>
                        <a:pt x="177" y="1820"/>
                      </a:lnTo>
                      <a:lnTo>
                        <a:pt x="192" y="1832"/>
                      </a:lnTo>
                      <a:lnTo>
                        <a:pt x="206" y="1843"/>
                      </a:lnTo>
                      <a:lnTo>
                        <a:pt x="219" y="1856"/>
                      </a:lnTo>
                      <a:lnTo>
                        <a:pt x="219" y="1856"/>
                      </a:lnTo>
                      <a:lnTo>
                        <a:pt x="237" y="1843"/>
                      </a:lnTo>
                      <a:lnTo>
                        <a:pt x="247" y="1836"/>
                      </a:lnTo>
                      <a:lnTo>
                        <a:pt x="258" y="1830"/>
                      </a:lnTo>
                      <a:lnTo>
                        <a:pt x="268" y="1825"/>
                      </a:lnTo>
                      <a:lnTo>
                        <a:pt x="280" y="1821"/>
                      </a:lnTo>
                      <a:lnTo>
                        <a:pt x="291" y="1820"/>
                      </a:lnTo>
                      <a:lnTo>
                        <a:pt x="298" y="1820"/>
                      </a:lnTo>
                      <a:lnTo>
                        <a:pt x="304" y="1821"/>
                      </a:lnTo>
                      <a:lnTo>
                        <a:pt x="304" y="1821"/>
                      </a:lnTo>
                      <a:lnTo>
                        <a:pt x="334" y="1827"/>
                      </a:lnTo>
                      <a:lnTo>
                        <a:pt x="344" y="1828"/>
                      </a:lnTo>
                      <a:lnTo>
                        <a:pt x="353" y="1828"/>
                      </a:lnTo>
                      <a:lnTo>
                        <a:pt x="363" y="1827"/>
                      </a:lnTo>
                      <a:lnTo>
                        <a:pt x="372" y="1824"/>
                      </a:lnTo>
                      <a:lnTo>
                        <a:pt x="399" y="1812"/>
                      </a:lnTo>
                      <a:lnTo>
                        <a:pt x="399" y="1812"/>
                      </a:lnTo>
                      <a:lnTo>
                        <a:pt x="418" y="1803"/>
                      </a:lnTo>
                      <a:lnTo>
                        <a:pt x="431" y="1798"/>
                      </a:lnTo>
                      <a:lnTo>
                        <a:pt x="443" y="1794"/>
                      </a:lnTo>
                      <a:lnTo>
                        <a:pt x="456" y="1792"/>
                      </a:lnTo>
                      <a:lnTo>
                        <a:pt x="467" y="1790"/>
                      </a:lnTo>
                      <a:lnTo>
                        <a:pt x="473" y="1792"/>
                      </a:lnTo>
                      <a:lnTo>
                        <a:pt x="479" y="1793"/>
                      </a:lnTo>
                      <a:lnTo>
                        <a:pt x="482" y="1796"/>
                      </a:lnTo>
                      <a:lnTo>
                        <a:pt x="487" y="1800"/>
                      </a:lnTo>
                      <a:lnTo>
                        <a:pt x="487" y="1800"/>
                      </a:lnTo>
                      <a:lnTo>
                        <a:pt x="500" y="1813"/>
                      </a:lnTo>
                      <a:lnTo>
                        <a:pt x="511" y="1826"/>
                      </a:lnTo>
                      <a:lnTo>
                        <a:pt x="517" y="1831"/>
                      </a:lnTo>
                      <a:lnTo>
                        <a:pt x="524" y="1835"/>
                      </a:lnTo>
                      <a:lnTo>
                        <a:pt x="532" y="1839"/>
                      </a:lnTo>
                      <a:lnTo>
                        <a:pt x="541" y="1841"/>
                      </a:lnTo>
                      <a:lnTo>
                        <a:pt x="541" y="1841"/>
                      </a:lnTo>
                      <a:lnTo>
                        <a:pt x="548" y="1842"/>
                      </a:lnTo>
                      <a:lnTo>
                        <a:pt x="555" y="1840"/>
                      </a:lnTo>
                      <a:lnTo>
                        <a:pt x="566" y="1834"/>
                      </a:lnTo>
                      <a:lnTo>
                        <a:pt x="572" y="1833"/>
                      </a:lnTo>
                      <a:lnTo>
                        <a:pt x="578" y="1833"/>
                      </a:lnTo>
                      <a:lnTo>
                        <a:pt x="581" y="1834"/>
                      </a:lnTo>
                      <a:lnTo>
                        <a:pt x="585" y="1835"/>
                      </a:lnTo>
                      <a:lnTo>
                        <a:pt x="588" y="1839"/>
                      </a:lnTo>
                      <a:lnTo>
                        <a:pt x="592" y="1842"/>
                      </a:lnTo>
                      <a:lnTo>
                        <a:pt x="592" y="1842"/>
                      </a:lnTo>
                      <a:lnTo>
                        <a:pt x="579" y="1842"/>
                      </a:lnTo>
                      <a:lnTo>
                        <a:pt x="571" y="1845"/>
                      </a:lnTo>
                      <a:lnTo>
                        <a:pt x="565" y="1847"/>
                      </a:lnTo>
                      <a:lnTo>
                        <a:pt x="564" y="1848"/>
                      </a:lnTo>
                      <a:lnTo>
                        <a:pt x="564" y="1850"/>
                      </a:lnTo>
                      <a:lnTo>
                        <a:pt x="564" y="1855"/>
                      </a:lnTo>
                      <a:lnTo>
                        <a:pt x="568" y="1859"/>
                      </a:lnTo>
                      <a:lnTo>
                        <a:pt x="571" y="1864"/>
                      </a:lnTo>
                      <a:lnTo>
                        <a:pt x="577" y="1868"/>
                      </a:lnTo>
                      <a:lnTo>
                        <a:pt x="582" y="1871"/>
                      </a:lnTo>
                      <a:lnTo>
                        <a:pt x="588" y="1873"/>
                      </a:lnTo>
                      <a:lnTo>
                        <a:pt x="593" y="1873"/>
                      </a:lnTo>
                      <a:lnTo>
                        <a:pt x="597" y="1872"/>
                      </a:lnTo>
                      <a:lnTo>
                        <a:pt x="599" y="1871"/>
                      </a:lnTo>
                      <a:lnTo>
                        <a:pt x="600" y="1869"/>
                      </a:lnTo>
                      <a:lnTo>
                        <a:pt x="600" y="1864"/>
                      </a:lnTo>
                      <a:lnTo>
                        <a:pt x="597" y="1855"/>
                      </a:lnTo>
                      <a:lnTo>
                        <a:pt x="593" y="1843"/>
                      </a:lnTo>
                      <a:lnTo>
                        <a:pt x="593" y="1843"/>
                      </a:lnTo>
                      <a:lnTo>
                        <a:pt x="595" y="1847"/>
                      </a:lnTo>
                      <a:lnTo>
                        <a:pt x="599" y="1851"/>
                      </a:lnTo>
                      <a:lnTo>
                        <a:pt x="602" y="1859"/>
                      </a:lnTo>
                      <a:lnTo>
                        <a:pt x="603" y="1870"/>
                      </a:lnTo>
                      <a:lnTo>
                        <a:pt x="603" y="1880"/>
                      </a:lnTo>
                      <a:lnTo>
                        <a:pt x="602" y="1891"/>
                      </a:lnTo>
                      <a:lnTo>
                        <a:pt x="600" y="1901"/>
                      </a:lnTo>
                      <a:lnTo>
                        <a:pt x="596" y="1911"/>
                      </a:lnTo>
                      <a:lnTo>
                        <a:pt x="593" y="1919"/>
                      </a:lnTo>
                      <a:lnTo>
                        <a:pt x="593" y="1919"/>
                      </a:lnTo>
                      <a:lnTo>
                        <a:pt x="585" y="1933"/>
                      </a:lnTo>
                      <a:lnTo>
                        <a:pt x="577" y="1947"/>
                      </a:lnTo>
                      <a:lnTo>
                        <a:pt x="574" y="1953"/>
                      </a:lnTo>
                      <a:lnTo>
                        <a:pt x="573" y="1960"/>
                      </a:lnTo>
                      <a:lnTo>
                        <a:pt x="574" y="1967"/>
                      </a:lnTo>
                      <a:lnTo>
                        <a:pt x="579" y="1972"/>
                      </a:lnTo>
                      <a:lnTo>
                        <a:pt x="579" y="1972"/>
                      </a:lnTo>
                      <a:lnTo>
                        <a:pt x="609" y="2003"/>
                      </a:lnTo>
                      <a:lnTo>
                        <a:pt x="624" y="2020"/>
                      </a:lnTo>
                      <a:lnTo>
                        <a:pt x="637" y="2037"/>
                      </a:lnTo>
                      <a:lnTo>
                        <a:pt x="637" y="2037"/>
                      </a:lnTo>
                      <a:lnTo>
                        <a:pt x="647" y="2051"/>
                      </a:lnTo>
                      <a:lnTo>
                        <a:pt x="656" y="2068"/>
                      </a:lnTo>
                      <a:lnTo>
                        <a:pt x="664" y="2087"/>
                      </a:lnTo>
                      <a:lnTo>
                        <a:pt x="672" y="2107"/>
                      </a:lnTo>
                      <a:lnTo>
                        <a:pt x="679" y="2128"/>
                      </a:lnTo>
                      <a:lnTo>
                        <a:pt x="684" y="2148"/>
                      </a:lnTo>
                      <a:lnTo>
                        <a:pt x="687" y="2169"/>
                      </a:lnTo>
                      <a:lnTo>
                        <a:pt x="687" y="2189"/>
                      </a:lnTo>
                      <a:lnTo>
                        <a:pt x="687" y="2189"/>
                      </a:lnTo>
                      <a:lnTo>
                        <a:pt x="687" y="2198"/>
                      </a:lnTo>
                      <a:lnTo>
                        <a:pt x="685" y="2205"/>
                      </a:lnTo>
                      <a:lnTo>
                        <a:pt x="683" y="2212"/>
                      </a:lnTo>
                      <a:lnTo>
                        <a:pt x="680" y="2218"/>
                      </a:lnTo>
                      <a:lnTo>
                        <a:pt x="671" y="2228"/>
                      </a:lnTo>
                      <a:lnTo>
                        <a:pt x="658" y="2241"/>
                      </a:lnTo>
                      <a:lnTo>
                        <a:pt x="658" y="2241"/>
                      </a:lnTo>
                      <a:lnTo>
                        <a:pt x="654" y="2246"/>
                      </a:lnTo>
                      <a:lnTo>
                        <a:pt x="650" y="2252"/>
                      </a:lnTo>
                      <a:lnTo>
                        <a:pt x="648" y="2259"/>
                      </a:lnTo>
                      <a:lnTo>
                        <a:pt x="647" y="2265"/>
                      </a:lnTo>
                      <a:lnTo>
                        <a:pt x="646" y="2279"/>
                      </a:lnTo>
                      <a:lnTo>
                        <a:pt x="645" y="2294"/>
                      </a:lnTo>
                      <a:lnTo>
                        <a:pt x="645" y="2294"/>
                      </a:lnTo>
                      <a:lnTo>
                        <a:pt x="643" y="2310"/>
                      </a:lnTo>
                      <a:lnTo>
                        <a:pt x="643" y="2325"/>
                      </a:lnTo>
                      <a:lnTo>
                        <a:pt x="643" y="2340"/>
                      </a:lnTo>
                      <a:lnTo>
                        <a:pt x="646" y="2352"/>
                      </a:lnTo>
                      <a:lnTo>
                        <a:pt x="649" y="2366"/>
                      </a:lnTo>
                      <a:lnTo>
                        <a:pt x="654" y="2379"/>
                      </a:lnTo>
                      <a:lnTo>
                        <a:pt x="661" y="2393"/>
                      </a:lnTo>
                      <a:lnTo>
                        <a:pt x="669" y="2406"/>
                      </a:lnTo>
                      <a:lnTo>
                        <a:pt x="669" y="2406"/>
                      </a:lnTo>
                      <a:lnTo>
                        <a:pt x="675" y="2414"/>
                      </a:lnTo>
                      <a:lnTo>
                        <a:pt x="678" y="2421"/>
                      </a:lnTo>
                      <a:lnTo>
                        <a:pt x="680" y="2428"/>
                      </a:lnTo>
                      <a:lnTo>
                        <a:pt x="683" y="2435"/>
                      </a:lnTo>
                      <a:lnTo>
                        <a:pt x="684" y="2447"/>
                      </a:lnTo>
                      <a:lnTo>
                        <a:pt x="684" y="2458"/>
                      </a:lnTo>
                      <a:lnTo>
                        <a:pt x="684" y="2470"/>
                      </a:lnTo>
                      <a:lnTo>
                        <a:pt x="684" y="2481"/>
                      </a:lnTo>
                      <a:lnTo>
                        <a:pt x="685" y="2495"/>
                      </a:lnTo>
                      <a:lnTo>
                        <a:pt x="690" y="2509"/>
                      </a:lnTo>
                      <a:lnTo>
                        <a:pt x="690" y="2509"/>
                      </a:lnTo>
                      <a:lnTo>
                        <a:pt x="716" y="2576"/>
                      </a:lnTo>
                      <a:lnTo>
                        <a:pt x="729" y="2609"/>
                      </a:lnTo>
                      <a:lnTo>
                        <a:pt x="741" y="2642"/>
                      </a:lnTo>
                      <a:lnTo>
                        <a:pt x="741" y="2642"/>
                      </a:lnTo>
                      <a:lnTo>
                        <a:pt x="744" y="2648"/>
                      </a:lnTo>
                      <a:lnTo>
                        <a:pt x="749" y="2654"/>
                      </a:lnTo>
                      <a:lnTo>
                        <a:pt x="761" y="2667"/>
                      </a:lnTo>
                      <a:lnTo>
                        <a:pt x="772" y="2678"/>
                      </a:lnTo>
                      <a:lnTo>
                        <a:pt x="776" y="2683"/>
                      </a:lnTo>
                      <a:lnTo>
                        <a:pt x="778" y="2687"/>
                      </a:lnTo>
                      <a:lnTo>
                        <a:pt x="778" y="2687"/>
                      </a:lnTo>
                      <a:lnTo>
                        <a:pt x="778" y="2692"/>
                      </a:lnTo>
                      <a:lnTo>
                        <a:pt x="778" y="2694"/>
                      </a:lnTo>
                      <a:lnTo>
                        <a:pt x="775" y="2699"/>
                      </a:lnTo>
                      <a:lnTo>
                        <a:pt x="770" y="2703"/>
                      </a:lnTo>
                      <a:lnTo>
                        <a:pt x="767" y="2707"/>
                      </a:lnTo>
                      <a:lnTo>
                        <a:pt x="762" y="2710"/>
                      </a:lnTo>
                      <a:lnTo>
                        <a:pt x="759" y="2715"/>
                      </a:lnTo>
                      <a:lnTo>
                        <a:pt x="759" y="2718"/>
                      </a:lnTo>
                      <a:lnTo>
                        <a:pt x="759" y="2722"/>
                      </a:lnTo>
                      <a:lnTo>
                        <a:pt x="760" y="2725"/>
                      </a:lnTo>
                      <a:lnTo>
                        <a:pt x="761" y="2730"/>
                      </a:lnTo>
                      <a:lnTo>
                        <a:pt x="761" y="2730"/>
                      </a:lnTo>
                      <a:lnTo>
                        <a:pt x="768" y="2745"/>
                      </a:lnTo>
                      <a:lnTo>
                        <a:pt x="771" y="2751"/>
                      </a:lnTo>
                      <a:lnTo>
                        <a:pt x="775" y="2754"/>
                      </a:lnTo>
                      <a:lnTo>
                        <a:pt x="779" y="2758"/>
                      </a:lnTo>
                      <a:lnTo>
                        <a:pt x="784" y="2761"/>
                      </a:lnTo>
                      <a:lnTo>
                        <a:pt x="800" y="2767"/>
                      </a:lnTo>
                      <a:lnTo>
                        <a:pt x="800" y="2767"/>
                      </a:lnTo>
                      <a:lnTo>
                        <a:pt x="805" y="2768"/>
                      </a:lnTo>
                      <a:lnTo>
                        <a:pt x="809" y="2769"/>
                      </a:lnTo>
                      <a:lnTo>
                        <a:pt x="813" y="2769"/>
                      </a:lnTo>
                      <a:lnTo>
                        <a:pt x="816" y="2768"/>
                      </a:lnTo>
                      <a:lnTo>
                        <a:pt x="821" y="2766"/>
                      </a:lnTo>
                      <a:lnTo>
                        <a:pt x="825" y="2761"/>
                      </a:lnTo>
                      <a:lnTo>
                        <a:pt x="830" y="2756"/>
                      </a:lnTo>
                      <a:lnTo>
                        <a:pt x="836" y="2752"/>
                      </a:lnTo>
                      <a:lnTo>
                        <a:pt x="842" y="2748"/>
                      </a:lnTo>
                      <a:lnTo>
                        <a:pt x="845" y="2747"/>
                      </a:lnTo>
                      <a:lnTo>
                        <a:pt x="848" y="2747"/>
                      </a:lnTo>
                      <a:lnTo>
                        <a:pt x="848" y="2747"/>
                      </a:lnTo>
                      <a:lnTo>
                        <a:pt x="882" y="2746"/>
                      </a:lnTo>
                      <a:lnTo>
                        <a:pt x="911" y="2743"/>
                      </a:lnTo>
                      <a:lnTo>
                        <a:pt x="938" y="2739"/>
                      </a:lnTo>
                      <a:lnTo>
                        <a:pt x="968" y="2733"/>
                      </a:lnTo>
                      <a:lnTo>
                        <a:pt x="968" y="2733"/>
                      </a:lnTo>
                      <a:lnTo>
                        <a:pt x="975" y="2732"/>
                      </a:lnTo>
                      <a:lnTo>
                        <a:pt x="982" y="2729"/>
                      </a:lnTo>
                      <a:lnTo>
                        <a:pt x="989" y="2724"/>
                      </a:lnTo>
                      <a:lnTo>
                        <a:pt x="996" y="2718"/>
                      </a:lnTo>
                      <a:lnTo>
                        <a:pt x="1011" y="2705"/>
                      </a:lnTo>
                      <a:lnTo>
                        <a:pt x="1026" y="2690"/>
                      </a:lnTo>
                      <a:lnTo>
                        <a:pt x="1053" y="2656"/>
                      </a:lnTo>
                      <a:lnTo>
                        <a:pt x="1066" y="2642"/>
                      </a:lnTo>
                      <a:lnTo>
                        <a:pt x="1076" y="2631"/>
                      </a:lnTo>
                      <a:lnTo>
                        <a:pt x="1076" y="2631"/>
                      </a:lnTo>
                      <a:lnTo>
                        <a:pt x="1092" y="2616"/>
                      </a:lnTo>
                      <a:lnTo>
                        <a:pt x="1097" y="2611"/>
                      </a:lnTo>
                      <a:lnTo>
                        <a:pt x="1101" y="2608"/>
                      </a:lnTo>
                      <a:lnTo>
                        <a:pt x="1103" y="2603"/>
                      </a:lnTo>
                      <a:lnTo>
                        <a:pt x="1103" y="2597"/>
                      </a:lnTo>
                      <a:lnTo>
                        <a:pt x="1103" y="2597"/>
                      </a:lnTo>
                      <a:lnTo>
                        <a:pt x="1101" y="2571"/>
                      </a:lnTo>
                      <a:lnTo>
                        <a:pt x="1101" y="2556"/>
                      </a:lnTo>
                      <a:lnTo>
                        <a:pt x="1101" y="2549"/>
                      </a:lnTo>
                      <a:lnTo>
                        <a:pt x="1102" y="2546"/>
                      </a:lnTo>
                      <a:lnTo>
                        <a:pt x="1102" y="2546"/>
                      </a:lnTo>
                      <a:lnTo>
                        <a:pt x="1106" y="2540"/>
                      </a:lnTo>
                      <a:lnTo>
                        <a:pt x="1113" y="2536"/>
                      </a:lnTo>
                      <a:lnTo>
                        <a:pt x="1120" y="2533"/>
                      </a:lnTo>
                      <a:lnTo>
                        <a:pt x="1128" y="2530"/>
                      </a:lnTo>
                      <a:lnTo>
                        <a:pt x="1143" y="2524"/>
                      </a:lnTo>
                      <a:lnTo>
                        <a:pt x="1149" y="2519"/>
                      </a:lnTo>
                      <a:lnTo>
                        <a:pt x="1155" y="2515"/>
                      </a:lnTo>
                      <a:lnTo>
                        <a:pt x="1155" y="2515"/>
                      </a:lnTo>
                      <a:lnTo>
                        <a:pt x="1157" y="2509"/>
                      </a:lnTo>
                      <a:lnTo>
                        <a:pt x="1159" y="2501"/>
                      </a:lnTo>
                      <a:lnTo>
                        <a:pt x="1163" y="2485"/>
                      </a:lnTo>
                      <a:lnTo>
                        <a:pt x="1163" y="2467"/>
                      </a:lnTo>
                      <a:lnTo>
                        <a:pt x="1163" y="2452"/>
                      </a:lnTo>
                      <a:lnTo>
                        <a:pt x="1163" y="2452"/>
                      </a:lnTo>
                      <a:lnTo>
                        <a:pt x="1164" y="2431"/>
                      </a:lnTo>
                      <a:lnTo>
                        <a:pt x="1166" y="2412"/>
                      </a:lnTo>
                      <a:lnTo>
                        <a:pt x="1168" y="2405"/>
                      </a:lnTo>
                      <a:lnTo>
                        <a:pt x="1171" y="2398"/>
                      </a:lnTo>
                      <a:lnTo>
                        <a:pt x="1173" y="2393"/>
                      </a:lnTo>
                      <a:lnTo>
                        <a:pt x="1177" y="2387"/>
                      </a:lnTo>
                      <a:lnTo>
                        <a:pt x="1186" y="2376"/>
                      </a:lnTo>
                      <a:lnTo>
                        <a:pt x="1197" y="2366"/>
                      </a:lnTo>
                      <a:lnTo>
                        <a:pt x="1229" y="2340"/>
                      </a:lnTo>
                      <a:lnTo>
                        <a:pt x="1229" y="2340"/>
                      </a:lnTo>
                      <a:lnTo>
                        <a:pt x="1239" y="2334"/>
                      </a:lnTo>
                      <a:lnTo>
                        <a:pt x="1250" y="2327"/>
                      </a:lnTo>
                      <a:lnTo>
                        <a:pt x="1263" y="2320"/>
                      </a:lnTo>
                      <a:lnTo>
                        <a:pt x="1276" y="2313"/>
                      </a:lnTo>
                      <a:lnTo>
                        <a:pt x="1287" y="2305"/>
                      </a:lnTo>
                      <a:lnTo>
                        <a:pt x="1292" y="2300"/>
                      </a:lnTo>
                      <a:lnTo>
                        <a:pt x="1296" y="2295"/>
                      </a:lnTo>
                      <a:lnTo>
                        <a:pt x="1300" y="2290"/>
                      </a:lnTo>
                      <a:lnTo>
                        <a:pt x="1302" y="2284"/>
                      </a:lnTo>
                      <a:lnTo>
                        <a:pt x="1303" y="2277"/>
                      </a:lnTo>
                      <a:lnTo>
                        <a:pt x="1303" y="2270"/>
                      </a:lnTo>
                      <a:lnTo>
                        <a:pt x="1303" y="2270"/>
                      </a:lnTo>
                      <a:lnTo>
                        <a:pt x="1302" y="2247"/>
                      </a:lnTo>
                      <a:lnTo>
                        <a:pt x="1302" y="2221"/>
                      </a:lnTo>
                      <a:lnTo>
                        <a:pt x="1301" y="2208"/>
                      </a:lnTo>
                      <a:lnTo>
                        <a:pt x="1300" y="2197"/>
                      </a:lnTo>
                      <a:lnTo>
                        <a:pt x="1297" y="2185"/>
                      </a:lnTo>
                      <a:lnTo>
                        <a:pt x="1293" y="2176"/>
                      </a:lnTo>
                      <a:lnTo>
                        <a:pt x="1293" y="2176"/>
                      </a:lnTo>
                      <a:lnTo>
                        <a:pt x="1279" y="2148"/>
                      </a:lnTo>
                      <a:lnTo>
                        <a:pt x="1272" y="2133"/>
                      </a:lnTo>
                      <a:lnTo>
                        <a:pt x="1265" y="2119"/>
                      </a:lnTo>
                      <a:lnTo>
                        <a:pt x="1262" y="2104"/>
                      </a:lnTo>
                      <a:lnTo>
                        <a:pt x="1259" y="2089"/>
                      </a:lnTo>
                      <a:lnTo>
                        <a:pt x="1259" y="2081"/>
                      </a:lnTo>
                      <a:lnTo>
                        <a:pt x="1261" y="2072"/>
                      </a:lnTo>
                      <a:lnTo>
                        <a:pt x="1262" y="2064"/>
                      </a:lnTo>
                      <a:lnTo>
                        <a:pt x="1264" y="2056"/>
                      </a:lnTo>
                      <a:lnTo>
                        <a:pt x="1264" y="2056"/>
                      </a:lnTo>
                      <a:lnTo>
                        <a:pt x="1270" y="2044"/>
                      </a:lnTo>
                      <a:lnTo>
                        <a:pt x="1276" y="2031"/>
                      </a:lnTo>
                      <a:lnTo>
                        <a:pt x="1282" y="2020"/>
                      </a:lnTo>
                      <a:lnTo>
                        <a:pt x="1289" y="2007"/>
                      </a:lnTo>
                      <a:lnTo>
                        <a:pt x="1307" y="1985"/>
                      </a:lnTo>
                      <a:lnTo>
                        <a:pt x="1325" y="1963"/>
                      </a:lnTo>
                      <a:lnTo>
                        <a:pt x="1346" y="1941"/>
                      </a:lnTo>
                      <a:lnTo>
                        <a:pt x="1366" y="1920"/>
                      </a:lnTo>
                      <a:lnTo>
                        <a:pt x="1387" y="1900"/>
                      </a:lnTo>
                      <a:lnTo>
                        <a:pt x="1407" y="1879"/>
                      </a:lnTo>
                      <a:lnTo>
                        <a:pt x="1407" y="1879"/>
                      </a:lnTo>
                      <a:lnTo>
                        <a:pt x="1452" y="1831"/>
                      </a:lnTo>
                      <a:lnTo>
                        <a:pt x="1471" y="1808"/>
                      </a:lnTo>
                      <a:lnTo>
                        <a:pt x="1489" y="1783"/>
                      </a:lnTo>
                      <a:lnTo>
                        <a:pt x="1497" y="1771"/>
                      </a:lnTo>
                      <a:lnTo>
                        <a:pt x="1503" y="1757"/>
                      </a:lnTo>
                      <a:lnTo>
                        <a:pt x="1510" y="1744"/>
                      </a:lnTo>
                      <a:lnTo>
                        <a:pt x="1516" y="1729"/>
                      </a:lnTo>
                      <a:lnTo>
                        <a:pt x="1521" y="1714"/>
                      </a:lnTo>
                      <a:lnTo>
                        <a:pt x="1524" y="1698"/>
                      </a:lnTo>
                      <a:lnTo>
                        <a:pt x="1527" y="1682"/>
                      </a:lnTo>
                      <a:lnTo>
                        <a:pt x="1528" y="1665"/>
                      </a:lnTo>
                      <a:lnTo>
                        <a:pt x="1528" y="1665"/>
                      </a:lnTo>
                      <a:lnTo>
                        <a:pt x="1528" y="1661"/>
                      </a:lnTo>
                      <a:lnTo>
                        <a:pt x="1525" y="1659"/>
                      </a:lnTo>
                      <a:lnTo>
                        <a:pt x="1523" y="1658"/>
                      </a:lnTo>
                      <a:lnTo>
                        <a:pt x="1520" y="1657"/>
                      </a:lnTo>
                      <a:lnTo>
                        <a:pt x="1509" y="1658"/>
                      </a:lnTo>
                      <a:lnTo>
                        <a:pt x="1495" y="1660"/>
                      </a:lnTo>
                      <a:lnTo>
                        <a:pt x="1463" y="1670"/>
                      </a:lnTo>
                      <a:lnTo>
                        <a:pt x="1426" y="1680"/>
                      </a:lnTo>
                      <a:lnTo>
                        <a:pt x="1408" y="1684"/>
                      </a:lnTo>
                      <a:lnTo>
                        <a:pt x="1391" y="1687"/>
                      </a:lnTo>
                      <a:lnTo>
                        <a:pt x="1376" y="1688"/>
                      </a:lnTo>
                      <a:lnTo>
                        <a:pt x="1369" y="1687"/>
                      </a:lnTo>
                      <a:lnTo>
                        <a:pt x="1363" y="1686"/>
                      </a:lnTo>
                      <a:lnTo>
                        <a:pt x="1357" y="1683"/>
                      </a:lnTo>
                      <a:lnTo>
                        <a:pt x="1353" y="1681"/>
                      </a:lnTo>
                      <a:lnTo>
                        <a:pt x="1349" y="1676"/>
                      </a:lnTo>
                      <a:lnTo>
                        <a:pt x="1347" y="1672"/>
                      </a:lnTo>
                      <a:lnTo>
                        <a:pt x="1345" y="1666"/>
                      </a:lnTo>
                      <a:lnTo>
                        <a:pt x="1345" y="1659"/>
                      </a:lnTo>
                      <a:lnTo>
                        <a:pt x="1346" y="1651"/>
                      </a:lnTo>
                      <a:lnTo>
                        <a:pt x="1348" y="1641"/>
                      </a:lnTo>
                      <a:lnTo>
                        <a:pt x="1348" y="1641"/>
                      </a:lnTo>
                      <a:lnTo>
                        <a:pt x="1353" y="1644"/>
                      </a:lnTo>
                      <a:lnTo>
                        <a:pt x="1360" y="1645"/>
                      </a:lnTo>
                      <a:lnTo>
                        <a:pt x="1368" y="1645"/>
                      </a:lnTo>
                      <a:lnTo>
                        <a:pt x="1376" y="1644"/>
                      </a:lnTo>
                      <a:lnTo>
                        <a:pt x="1385" y="1642"/>
                      </a:lnTo>
                      <a:lnTo>
                        <a:pt x="1394" y="1638"/>
                      </a:lnTo>
                      <a:lnTo>
                        <a:pt x="1415" y="1630"/>
                      </a:lnTo>
                      <a:lnTo>
                        <a:pt x="1436" y="1621"/>
                      </a:lnTo>
                      <a:lnTo>
                        <a:pt x="1455" y="1612"/>
                      </a:lnTo>
                      <a:lnTo>
                        <a:pt x="1472" y="1603"/>
                      </a:lnTo>
                      <a:lnTo>
                        <a:pt x="1485" y="1597"/>
                      </a:lnTo>
                      <a:lnTo>
                        <a:pt x="1485" y="1597"/>
                      </a:lnTo>
                      <a:lnTo>
                        <a:pt x="1553" y="1569"/>
                      </a:lnTo>
                      <a:lnTo>
                        <a:pt x="1553" y="1569"/>
                      </a:lnTo>
                      <a:lnTo>
                        <a:pt x="1554" y="1568"/>
                      </a:lnTo>
                      <a:lnTo>
                        <a:pt x="1555" y="1565"/>
                      </a:lnTo>
                      <a:lnTo>
                        <a:pt x="1555" y="1558"/>
                      </a:lnTo>
                      <a:lnTo>
                        <a:pt x="1554" y="1550"/>
                      </a:lnTo>
                      <a:lnTo>
                        <a:pt x="1555" y="1547"/>
                      </a:lnTo>
                      <a:lnTo>
                        <a:pt x="1556" y="1546"/>
                      </a:lnTo>
                      <a:lnTo>
                        <a:pt x="1556" y="1546"/>
                      </a:lnTo>
                      <a:lnTo>
                        <a:pt x="1560" y="1544"/>
                      </a:lnTo>
                      <a:lnTo>
                        <a:pt x="1566" y="1544"/>
                      </a:lnTo>
                      <a:lnTo>
                        <a:pt x="1576" y="1545"/>
                      </a:lnTo>
                      <a:lnTo>
                        <a:pt x="1588" y="1546"/>
                      </a:lnTo>
                      <a:lnTo>
                        <a:pt x="1592" y="1546"/>
                      </a:lnTo>
                      <a:lnTo>
                        <a:pt x="1597" y="1544"/>
                      </a:lnTo>
                      <a:lnTo>
                        <a:pt x="1597" y="1544"/>
                      </a:lnTo>
                      <a:lnTo>
                        <a:pt x="1601" y="1542"/>
                      </a:lnTo>
                      <a:lnTo>
                        <a:pt x="1607" y="1536"/>
                      </a:lnTo>
                      <a:lnTo>
                        <a:pt x="1620" y="1522"/>
                      </a:lnTo>
                      <a:lnTo>
                        <a:pt x="1634" y="1503"/>
                      </a:lnTo>
                      <a:lnTo>
                        <a:pt x="1649" y="1482"/>
                      </a:lnTo>
                      <a:lnTo>
                        <a:pt x="1661" y="1459"/>
                      </a:lnTo>
                      <a:lnTo>
                        <a:pt x="1673" y="1438"/>
                      </a:lnTo>
                      <a:lnTo>
                        <a:pt x="1681" y="1421"/>
                      </a:lnTo>
                      <a:lnTo>
                        <a:pt x="1683" y="1414"/>
                      </a:lnTo>
                      <a:lnTo>
                        <a:pt x="1683" y="1408"/>
                      </a:lnTo>
                      <a:lnTo>
                        <a:pt x="1683" y="1408"/>
                      </a:lnTo>
                      <a:lnTo>
                        <a:pt x="1682" y="1400"/>
                      </a:lnTo>
                      <a:lnTo>
                        <a:pt x="1678" y="1392"/>
                      </a:lnTo>
                      <a:lnTo>
                        <a:pt x="1674" y="1386"/>
                      </a:lnTo>
                      <a:lnTo>
                        <a:pt x="1667" y="1381"/>
                      </a:lnTo>
                      <a:lnTo>
                        <a:pt x="1660" y="1376"/>
                      </a:lnTo>
                      <a:lnTo>
                        <a:pt x="1651" y="1371"/>
                      </a:lnTo>
                      <a:lnTo>
                        <a:pt x="1634" y="1362"/>
                      </a:lnTo>
                      <a:lnTo>
                        <a:pt x="1626" y="1359"/>
                      </a:lnTo>
                      <a:lnTo>
                        <a:pt x="1617" y="1353"/>
                      </a:lnTo>
                      <a:lnTo>
                        <a:pt x="1612" y="1348"/>
                      </a:lnTo>
                      <a:lnTo>
                        <a:pt x="1606" y="1341"/>
                      </a:lnTo>
                      <a:lnTo>
                        <a:pt x="1603" y="1334"/>
                      </a:lnTo>
                      <a:lnTo>
                        <a:pt x="1601" y="1325"/>
                      </a:lnTo>
                      <a:lnTo>
                        <a:pt x="1604" y="1316"/>
                      </a:lnTo>
                      <a:lnTo>
                        <a:pt x="1607" y="1303"/>
                      </a:lnTo>
                      <a:lnTo>
                        <a:pt x="1607" y="1303"/>
                      </a:lnTo>
                      <a:lnTo>
                        <a:pt x="1593" y="1307"/>
                      </a:lnTo>
                      <a:lnTo>
                        <a:pt x="1588" y="1308"/>
                      </a:lnTo>
                      <a:lnTo>
                        <a:pt x="1582" y="1310"/>
                      </a:lnTo>
                      <a:lnTo>
                        <a:pt x="1576" y="1314"/>
                      </a:lnTo>
                      <a:lnTo>
                        <a:pt x="1571" y="1317"/>
                      </a:lnTo>
                      <a:lnTo>
                        <a:pt x="1568" y="1322"/>
                      </a:lnTo>
                      <a:lnTo>
                        <a:pt x="1563" y="1328"/>
                      </a:lnTo>
                      <a:lnTo>
                        <a:pt x="1563" y="1328"/>
                      </a:lnTo>
                      <a:lnTo>
                        <a:pt x="1556" y="1337"/>
                      </a:lnTo>
                      <a:lnTo>
                        <a:pt x="1551" y="1344"/>
                      </a:lnTo>
                      <a:lnTo>
                        <a:pt x="1546" y="1348"/>
                      </a:lnTo>
                      <a:lnTo>
                        <a:pt x="1540" y="1352"/>
                      </a:lnTo>
                      <a:lnTo>
                        <a:pt x="1535" y="1354"/>
                      </a:lnTo>
                      <a:lnTo>
                        <a:pt x="1527" y="1355"/>
                      </a:lnTo>
                      <a:lnTo>
                        <a:pt x="1506" y="1355"/>
                      </a:lnTo>
                      <a:lnTo>
                        <a:pt x="1506" y="1355"/>
                      </a:lnTo>
                      <a:lnTo>
                        <a:pt x="1508" y="1343"/>
                      </a:lnTo>
                      <a:lnTo>
                        <a:pt x="1509" y="1330"/>
                      </a:lnTo>
                      <a:lnTo>
                        <a:pt x="1510" y="1323"/>
                      </a:lnTo>
                      <a:lnTo>
                        <a:pt x="1509" y="1317"/>
                      </a:lnTo>
                      <a:lnTo>
                        <a:pt x="1507" y="1311"/>
                      </a:lnTo>
                      <a:lnTo>
                        <a:pt x="1502" y="1308"/>
                      </a:lnTo>
                      <a:lnTo>
                        <a:pt x="1502" y="1308"/>
                      </a:lnTo>
                      <a:lnTo>
                        <a:pt x="1499" y="1306"/>
                      </a:lnTo>
                      <a:lnTo>
                        <a:pt x="1495" y="1303"/>
                      </a:lnTo>
                      <a:lnTo>
                        <a:pt x="1492" y="1303"/>
                      </a:lnTo>
                      <a:lnTo>
                        <a:pt x="1489" y="1305"/>
                      </a:lnTo>
                      <a:lnTo>
                        <a:pt x="1485" y="1306"/>
                      </a:lnTo>
                      <a:lnTo>
                        <a:pt x="1483" y="1307"/>
                      </a:lnTo>
                      <a:lnTo>
                        <a:pt x="1478" y="1313"/>
                      </a:lnTo>
                      <a:lnTo>
                        <a:pt x="1475" y="1320"/>
                      </a:lnTo>
                      <a:lnTo>
                        <a:pt x="1472" y="1328"/>
                      </a:lnTo>
                      <a:lnTo>
                        <a:pt x="1472" y="1336"/>
                      </a:lnTo>
                      <a:lnTo>
                        <a:pt x="1472" y="1343"/>
                      </a:lnTo>
                      <a:lnTo>
                        <a:pt x="1472" y="1343"/>
                      </a:lnTo>
                      <a:lnTo>
                        <a:pt x="1457" y="1324"/>
                      </a:lnTo>
                      <a:lnTo>
                        <a:pt x="1442" y="1306"/>
                      </a:lnTo>
                      <a:lnTo>
                        <a:pt x="1434" y="1295"/>
                      </a:lnTo>
                      <a:lnTo>
                        <a:pt x="1428" y="1285"/>
                      </a:lnTo>
                      <a:lnTo>
                        <a:pt x="1422" y="1276"/>
                      </a:lnTo>
                      <a:lnTo>
                        <a:pt x="1417" y="1265"/>
                      </a:lnTo>
                      <a:lnTo>
                        <a:pt x="1417" y="1265"/>
                      </a:lnTo>
                      <a:lnTo>
                        <a:pt x="1415" y="1258"/>
                      </a:lnTo>
                      <a:lnTo>
                        <a:pt x="1414" y="1249"/>
                      </a:lnTo>
                      <a:lnTo>
                        <a:pt x="1413" y="1240"/>
                      </a:lnTo>
                      <a:lnTo>
                        <a:pt x="1414" y="1231"/>
                      </a:lnTo>
                      <a:lnTo>
                        <a:pt x="1415" y="1226"/>
                      </a:lnTo>
                      <a:lnTo>
                        <a:pt x="1417" y="1223"/>
                      </a:lnTo>
                      <a:lnTo>
                        <a:pt x="1419" y="1219"/>
                      </a:lnTo>
                      <a:lnTo>
                        <a:pt x="1422" y="1217"/>
                      </a:lnTo>
                      <a:lnTo>
                        <a:pt x="1426" y="1216"/>
                      </a:lnTo>
                      <a:lnTo>
                        <a:pt x="1430" y="1216"/>
                      </a:lnTo>
                      <a:lnTo>
                        <a:pt x="1436" y="1217"/>
                      </a:lnTo>
                      <a:lnTo>
                        <a:pt x="1442" y="1219"/>
                      </a:lnTo>
                      <a:lnTo>
                        <a:pt x="1442" y="1219"/>
                      </a:lnTo>
                      <a:lnTo>
                        <a:pt x="1448" y="1223"/>
                      </a:lnTo>
                      <a:lnTo>
                        <a:pt x="1452" y="1226"/>
                      </a:lnTo>
                      <a:lnTo>
                        <a:pt x="1455" y="1230"/>
                      </a:lnTo>
                      <a:lnTo>
                        <a:pt x="1456" y="1233"/>
                      </a:lnTo>
                      <a:lnTo>
                        <a:pt x="1457" y="1237"/>
                      </a:lnTo>
                      <a:lnTo>
                        <a:pt x="1459" y="1241"/>
                      </a:lnTo>
                      <a:lnTo>
                        <a:pt x="1459" y="1253"/>
                      </a:lnTo>
                      <a:lnTo>
                        <a:pt x="1459" y="1253"/>
                      </a:lnTo>
                      <a:lnTo>
                        <a:pt x="1460" y="1257"/>
                      </a:lnTo>
                      <a:lnTo>
                        <a:pt x="1462" y="1262"/>
                      </a:lnTo>
                      <a:lnTo>
                        <a:pt x="1467" y="1265"/>
                      </a:lnTo>
                      <a:lnTo>
                        <a:pt x="1471" y="1269"/>
                      </a:lnTo>
                      <a:lnTo>
                        <a:pt x="1483" y="1275"/>
                      </a:lnTo>
                      <a:lnTo>
                        <a:pt x="1492" y="1280"/>
                      </a:lnTo>
                      <a:lnTo>
                        <a:pt x="1492" y="1280"/>
                      </a:lnTo>
                      <a:lnTo>
                        <a:pt x="1515" y="1294"/>
                      </a:lnTo>
                      <a:lnTo>
                        <a:pt x="1527" y="1300"/>
                      </a:lnTo>
                      <a:lnTo>
                        <a:pt x="1538" y="1306"/>
                      </a:lnTo>
                      <a:lnTo>
                        <a:pt x="1550" y="1308"/>
                      </a:lnTo>
                      <a:lnTo>
                        <a:pt x="1555" y="1308"/>
                      </a:lnTo>
                      <a:lnTo>
                        <a:pt x="1561" y="1308"/>
                      </a:lnTo>
                      <a:lnTo>
                        <a:pt x="1567" y="1307"/>
                      </a:lnTo>
                      <a:lnTo>
                        <a:pt x="1573" y="1305"/>
                      </a:lnTo>
                      <a:lnTo>
                        <a:pt x="1578" y="1301"/>
                      </a:lnTo>
                      <a:lnTo>
                        <a:pt x="1584" y="1296"/>
                      </a:lnTo>
                      <a:lnTo>
                        <a:pt x="1584" y="1296"/>
                      </a:lnTo>
                      <a:lnTo>
                        <a:pt x="1588" y="1293"/>
                      </a:lnTo>
                      <a:lnTo>
                        <a:pt x="1591" y="1292"/>
                      </a:lnTo>
                      <a:lnTo>
                        <a:pt x="1594" y="1292"/>
                      </a:lnTo>
                      <a:lnTo>
                        <a:pt x="1598" y="1292"/>
                      </a:lnTo>
                      <a:lnTo>
                        <a:pt x="1604" y="1296"/>
                      </a:lnTo>
                      <a:lnTo>
                        <a:pt x="1611" y="1301"/>
                      </a:lnTo>
                      <a:lnTo>
                        <a:pt x="1617" y="1308"/>
                      </a:lnTo>
                      <a:lnTo>
                        <a:pt x="1624" y="1315"/>
                      </a:lnTo>
                      <a:lnTo>
                        <a:pt x="1632" y="1320"/>
                      </a:lnTo>
                      <a:lnTo>
                        <a:pt x="1636" y="1322"/>
                      </a:lnTo>
                      <a:lnTo>
                        <a:pt x="1640" y="1323"/>
                      </a:lnTo>
                      <a:lnTo>
                        <a:pt x="1640" y="1323"/>
                      </a:lnTo>
                      <a:lnTo>
                        <a:pt x="1667" y="1326"/>
                      </a:lnTo>
                      <a:lnTo>
                        <a:pt x="1692" y="1329"/>
                      </a:lnTo>
                      <a:lnTo>
                        <a:pt x="1716" y="1330"/>
                      </a:lnTo>
                      <a:lnTo>
                        <a:pt x="1742" y="1330"/>
                      </a:lnTo>
                      <a:lnTo>
                        <a:pt x="1742" y="1330"/>
                      </a:lnTo>
                      <a:lnTo>
                        <a:pt x="1749" y="1329"/>
                      </a:lnTo>
                      <a:lnTo>
                        <a:pt x="1758" y="1326"/>
                      </a:lnTo>
                      <a:lnTo>
                        <a:pt x="1777" y="1323"/>
                      </a:lnTo>
                      <a:lnTo>
                        <a:pt x="1787" y="1321"/>
                      </a:lnTo>
                      <a:lnTo>
                        <a:pt x="1796" y="1321"/>
                      </a:lnTo>
                      <a:lnTo>
                        <a:pt x="1804" y="1323"/>
                      </a:lnTo>
                      <a:lnTo>
                        <a:pt x="1809" y="1324"/>
                      </a:lnTo>
                      <a:lnTo>
                        <a:pt x="1811" y="1326"/>
                      </a:lnTo>
                      <a:lnTo>
                        <a:pt x="1811" y="1326"/>
                      </a:lnTo>
                      <a:lnTo>
                        <a:pt x="1832" y="1346"/>
                      </a:lnTo>
                      <a:lnTo>
                        <a:pt x="1842" y="1355"/>
                      </a:lnTo>
                      <a:lnTo>
                        <a:pt x="1851" y="1362"/>
                      </a:lnTo>
                      <a:lnTo>
                        <a:pt x="1862" y="1368"/>
                      </a:lnTo>
                      <a:lnTo>
                        <a:pt x="1867" y="1370"/>
                      </a:lnTo>
                      <a:lnTo>
                        <a:pt x="1873" y="1371"/>
                      </a:lnTo>
                      <a:lnTo>
                        <a:pt x="1879" y="1372"/>
                      </a:lnTo>
                      <a:lnTo>
                        <a:pt x="1886" y="1372"/>
                      </a:lnTo>
                      <a:lnTo>
                        <a:pt x="1891" y="1371"/>
                      </a:lnTo>
                      <a:lnTo>
                        <a:pt x="1900" y="1369"/>
                      </a:lnTo>
                      <a:lnTo>
                        <a:pt x="1900" y="1369"/>
                      </a:lnTo>
                      <a:lnTo>
                        <a:pt x="1889" y="1379"/>
                      </a:lnTo>
                      <a:lnTo>
                        <a:pt x="1882" y="1384"/>
                      </a:lnTo>
                      <a:lnTo>
                        <a:pt x="1873" y="1389"/>
                      </a:lnTo>
                      <a:lnTo>
                        <a:pt x="1873" y="1389"/>
                      </a:lnTo>
                      <a:lnTo>
                        <a:pt x="1882" y="1402"/>
                      </a:lnTo>
                      <a:lnTo>
                        <a:pt x="1891" y="1415"/>
                      </a:lnTo>
                      <a:lnTo>
                        <a:pt x="1903" y="1424"/>
                      </a:lnTo>
                      <a:lnTo>
                        <a:pt x="1909" y="1429"/>
                      </a:lnTo>
                      <a:lnTo>
                        <a:pt x="1914" y="1431"/>
                      </a:lnTo>
                      <a:lnTo>
                        <a:pt x="1920" y="1432"/>
                      </a:lnTo>
                      <a:lnTo>
                        <a:pt x="1926" y="1433"/>
                      </a:lnTo>
                      <a:lnTo>
                        <a:pt x="1932" y="1432"/>
                      </a:lnTo>
                      <a:lnTo>
                        <a:pt x="1936" y="1430"/>
                      </a:lnTo>
                      <a:lnTo>
                        <a:pt x="1942" y="1425"/>
                      </a:lnTo>
                      <a:lnTo>
                        <a:pt x="1947" y="1420"/>
                      </a:lnTo>
                      <a:lnTo>
                        <a:pt x="1951" y="1412"/>
                      </a:lnTo>
                      <a:lnTo>
                        <a:pt x="1956" y="1402"/>
                      </a:lnTo>
                      <a:lnTo>
                        <a:pt x="1956" y="1402"/>
                      </a:lnTo>
                      <a:lnTo>
                        <a:pt x="1958" y="1397"/>
                      </a:lnTo>
                      <a:lnTo>
                        <a:pt x="1959" y="1395"/>
                      </a:lnTo>
                      <a:lnTo>
                        <a:pt x="1961" y="1395"/>
                      </a:lnTo>
                      <a:lnTo>
                        <a:pt x="1962" y="1398"/>
                      </a:lnTo>
                      <a:lnTo>
                        <a:pt x="1963" y="1408"/>
                      </a:lnTo>
                      <a:lnTo>
                        <a:pt x="1963" y="1423"/>
                      </a:lnTo>
                      <a:lnTo>
                        <a:pt x="1962" y="1457"/>
                      </a:lnTo>
                      <a:lnTo>
                        <a:pt x="1962" y="1474"/>
                      </a:lnTo>
                      <a:lnTo>
                        <a:pt x="1962" y="1474"/>
                      </a:lnTo>
                      <a:lnTo>
                        <a:pt x="1990" y="1535"/>
                      </a:lnTo>
                      <a:lnTo>
                        <a:pt x="1990" y="1535"/>
                      </a:lnTo>
                      <a:lnTo>
                        <a:pt x="1992" y="1489"/>
                      </a:lnTo>
                      <a:lnTo>
                        <a:pt x="1992" y="1489"/>
                      </a:lnTo>
                      <a:lnTo>
                        <a:pt x="1990" y="1436"/>
                      </a:lnTo>
                      <a:lnTo>
                        <a:pt x="1989" y="1383"/>
                      </a:lnTo>
                      <a:lnTo>
                        <a:pt x="1986" y="1330"/>
                      </a:lnTo>
                      <a:lnTo>
                        <a:pt x="1981" y="1278"/>
                      </a:lnTo>
                      <a:lnTo>
                        <a:pt x="1977" y="1226"/>
                      </a:lnTo>
                      <a:lnTo>
                        <a:pt x="1970" y="1174"/>
                      </a:lnTo>
                      <a:lnTo>
                        <a:pt x="1962" y="1124"/>
                      </a:lnTo>
                      <a:lnTo>
                        <a:pt x="1954" y="1073"/>
                      </a:lnTo>
                      <a:lnTo>
                        <a:pt x="1943" y="1024"/>
                      </a:lnTo>
                      <a:lnTo>
                        <a:pt x="1933" y="973"/>
                      </a:lnTo>
                      <a:lnTo>
                        <a:pt x="1920" y="923"/>
                      </a:lnTo>
                      <a:lnTo>
                        <a:pt x="1908" y="875"/>
                      </a:lnTo>
                      <a:lnTo>
                        <a:pt x="1893" y="827"/>
                      </a:lnTo>
                      <a:lnTo>
                        <a:pt x="1878" y="778"/>
                      </a:lnTo>
                      <a:lnTo>
                        <a:pt x="1862" y="730"/>
                      </a:lnTo>
                      <a:lnTo>
                        <a:pt x="1844" y="683"/>
                      </a:lnTo>
                      <a:lnTo>
                        <a:pt x="1826" y="637"/>
                      </a:lnTo>
                      <a:lnTo>
                        <a:pt x="1806" y="591"/>
                      </a:lnTo>
                      <a:lnTo>
                        <a:pt x="1786" y="545"/>
                      </a:lnTo>
                      <a:lnTo>
                        <a:pt x="1765" y="500"/>
                      </a:lnTo>
                      <a:lnTo>
                        <a:pt x="1743" y="455"/>
                      </a:lnTo>
                      <a:lnTo>
                        <a:pt x="1719" y="411"/>
                      </a:lnTo>
                      <a:lnTo>
                        <a:pt x="1695" y="369"/>
                      </a:lnTo>
                      <a:lnTo>
                        <a:pt x="1670" y="325"/>
                      </a:lnTo>
                      <a:lnTo>
                        <a:pt x="1644" y="283"/>
                      </a:lnTo>
                      <a:lnTo>
                        <a:pt x="1617" y="242"/>
                      </a:lnTo>
                      <a:lnTo>
                        <a:pt x="1590" y="200"/>
                      </a:lnTo>
                      <a:lnTo>
                        <a:pt x="1561" y="160"/>
                      </a:lnTo>
                      <a:lnTo>
                        <a:pt x="1531" y="121"/>
                      </a:lnTo>
                      <a:lnTo>
                        <a:pt x="1501" y="82"/>
                      </a:lnTo>
                      <a:lnTo>
                        <a:pt x="1470" y="44"/>
                      </a:lnTo>
                      <a:lnTo>
                        <a:pt x="1438" y="6"/>
                      </a:lnTo>
                      <a:lnTo>
                        <a:pt x="1438" y="6"/>
                      </a:lnTo>
                      <a:close/>
                      <a:moveTo>
                        <a:pt x="1139" y="768"/>
                      </a:moveTo>
                      <a:lnTo>
                        <a:pt x="1139" y="768"/>
                      </a:lnTo>
                      <a:lnTo>
                        <a:pt x="1137" y="774"/>
                      </a:lnTo>
                      <a:lnTo>
                        <a:pt x="1135" y="780"/>
                      </a:lnTo>
                      <a:lnTo>
                        <a:pt x="1132" y="785"/>
                      </a:lnTo>
                      <a:lnTo>
                        <a:pt x="1127" y="791"/>
                      </a:lnTo>
                      <a:lnTo>
                        <a:pt x="1117" y="803"/>
                      </a:lnTo>
                      <a:lnTo>
                        <a:pt x="1113" y="809"/>
                      </a:lnTo>
                      <a:lnTo>
                        <a:pt x="1110" y="816"/>
                      </a:lnTo>
                      <a:lnTo>
                        <a:pt x="1110" y="816"/>
                      </a:lnTo>
                      <a:lnTo>
                        <a:pt x="1110" y="813"/>
                      </a:lnTo>
                      <a:lnTo>
                        <a:pt x="1107" y="809"/>
                      </a:lnTo>
                      <a:lnTo>
                        <a:pt x="1106" y="807"/>
                      </a:lnTo>
                      <a:lnTo>
                        <a:pt x="1104" y="806"/>
                      </a:lnTo>
                      <a:lnTo>
                        <a:pt x="1098" y="804"/>
                      </a:lnTo>
                      <a:lnTo>
                        <a:pt x="1091" y="803"/>
                      </a:lnTo>
                      <a:lnTo>
                        <a:pt x="1086" y="803"/>
                      </a:lnTo>
                      <a:lnTo>
                        <a:pt x="1079" y="801"/>
                      </a:lnTo>
                      <a:lnTo>
                        <a:pt x="1074" y="798"/>
                      </a:lnTo>
                      <a:lnTo>
                        <a:pt x="1072" y="796"/>
                      </a:lnTo>
                      <a:lnTo>
                        <a:pt x="1071" y="793"/>
                      </a:lnTo>
                      <a:lnTo>
                        <a:pt x="1071" y="793"/>
                      </a:lnTo>
                      <a:lnTo>
                        <a:pt x="1081" y="794"/>
                      </a:lnTo>
                      <a:lnTo>
                        <a:pt x="1090" y="794"/>
                      </a:lnTo>
                      <a:lnTo>
                        <a:pt x="1099" y="792"/>
                      </a:lnTo>
                      <a:lnTo>
                        <a:pt x="1107" y="790"/>
                      </a:lnTo>
                      <a:lnTo>
                        <a:pt x="1116" y="786"/>
                      </a:lnTo>
                      <a:lnTo>
                        <a:pt x="1124" y="782"/>
                      </a:lnTo>
                      <a:lnTo>
                        <a:pt x="1130" y="775"/>
                      </a:lnTo>
                      <a:lnTo>
                        <a:pt x="1139" y="768"/>
                      </a:lnTo>
                      <a:lnTo>
                        <a:pt x="1139" y="768"/>
                      </a:lnTo>
                      <a:close/>
                      <a:moveTo>
                        <a:pt x="1097" y="913"/>
                      </a:moveTo>
                      <a:lnTo>
                        <a:pt x="1097" y="913"/>
                      </a:lnTo>
                      <a:lnTo>
                        <a:pt x="1086" y="914"/>
                      </a:lnTo>
                      <a:lnTo>
                        <a:pt x="1075" y="915"/>
                      </a:lnTo>
                      <a:lnTo>
                        <a:pt x="1064" y="919"/>
                      </a:lnTo>
                      <a:lnTo>
                        <a:pt x="1052" y="922"/>
                      </a:lnTo>
                      <a:lnTo>
                        <a:pt x="1031" y="930"/>
                      </a:lnTo>
                      <a:lnTo>
                        <a:pt x="1011" y="937"/>
                      </a:lnTo>
                      <a:lnTo>
                        <a:pt x="1002" y="940"/>
                      </a:lnTo>
                      <a:lnTo>
                        <a:pt x="992" y="941"/>
                      </a:lnTo>
                      <a:lnTo>
                        <a:pt x="984" y="940"/>
                      </a:lnTo>
                      <a:lnTo>
                        <a:pt x="977" y="936"/>
                      </a:lnTo>
                      <a:lnTo>
                        <a:pt x="970" y="932"/>
                      </a:lnTo>
                      <a:lnTo>
                        <a:pt x="964" y="923"/>
                      </a:lnTo>
                      <a:lnTo>
                        <a:pt x="959" y="912"/>
                      </a:lnTo>
                      <a:lnTo>
                        <a:pt x="955" y="897"/>
                      </a:lnTo>
                      <a:lnTo>
                        <a:pt x="955" y="897"/>
                      </a:lnTo>
                      <a:lnTo>
                        <a:pt x="954" y="892"/>
                      </a:lnTo>
                      <a:lnTo>
                        <a:pt x="955" y="888"/>
                      </a:lnTo>
                      <a:lnTo>
                        <a:pt x="957" y="884"/>
                      </a:lnTo>
                      <a:lnTo>
                        <a:pt x="959" y="880"/>
                      </a:lnTo>
                      <a:lnTo>
                        <a:pt x="965" y="873"/>
                      </a:lnTo>
                      <a:lnTo>
                        <a:pt x="972" y="866"/>
                      </a:lnTo>
                      <a:lnTo>
                        <a:pt x="979" y="859"/>
                      </a:lnTo>
                      <a:lnTo>
                        <a:pt x="984" y="852"/>
                      </a:lnTo>
                      <a:lnTo>
                        <a:pt x="987" y="849"/>
                      </a:lnTo>
                      <a:lnTo>
                        <a:pt x="988" y="844"/>
                      </a:lnTo>
                      <a:lnTo>
                        <a:pt x="988" y="841"/>
                      </a:lnTo>
                      <a:lnTo>
                        <a:pt x="987" y="836"/>
                      </a:lnTo>
                      <a:lnTo>
                        <a:pt x="987" y="836"/>
                      </a:lnTo>
                      <a:lnTo>
                        <a:pt x="985" y="831"/>
                      </a:lnTo>
                      <a:lnTo>
                        <a:pt x="985" y="827"/>
                      </a:lnTo>
                      <a:lnTo>
                        <a:pt x="987" y="823"/>
                      </a:lnTo>
                      <a:lnTo>
                        <a:pt x="989" y="819"/>
                      </a:lnTo>
                      <a:lnTo>
                        <a:pt x="993" y="811"/>
                      </a:lnTo>
                      <a:lnTo>
                        <a:pt x="1002" y="804"/>
                      </a:lnTo>
                      <a:lnTo>
                        <a:pt x="1010" y="799"/>
                      </a:lnTo>
                      <a:lnTo>
                        <a:pt x="1015" y="798"/>
                      </a:lnTo>
                      <a:lnTo>
                        <a:pt x="1020" y="797"/>
                      </a:lnTo>
                      <a:lnTo>
                        <a:pt x="1025" y="797"/>
                      </a:lnTo>
                      <a:lnTo>
                        <a:pt x="1029" y="798"/>
                      </a:lnTo>
                      <a:lnTo>
                        <a:pt x="1034" y="800"/>
                      </a:lnTo>
                      <a:lnTo>
                        <a:pt x="1038" y="804"/>
                      </a:lnTo>
                      <a:lnTo>
                        <a:pt x="1038" y="804"/>
                      </a:lnTo>
                      <a:lnTo>
                        <a:pt x="1033" y="809"/>
                      </a:lnTo>
                      <a:lnTo>
                        <a:pt x="1029" y="816"/>
                      </a:lnTo>
                      <a:lnTo>
                        <a:pt x="1028" y="824"/>
                      </a:lnTo>
                      <a:lnTo>
                        <a:pt x="1029" y="832"/>
                      </a:lnTo>
                      <a:lnTo>
                        <a:pt x="1031" y="841"/>
                      </a:lnTo>
                      <a:lnTo>
                        <a:pt x="1035" y="847"/>
                      </a:lnTo>
                      <a:lnTo>
                        <a:pt x="1041" y="854"/>
                      </a:lnTo>
                      <a:lnTo>
                        <a:pt x="1048" y="858"/>
                      </a:lnTo>
                      <a:lnTo>
                        <a:pt x="1048" y="858"/>
                      </a:lnTo>
                      <a:lnTo>
                        <a:pt x="1053" y="860"/>
                      </a:lnTo>
                      <a:lnTo>
                        <a:pt x="1058" y="860"/>
                      </a:lnTo>
                      <a:lnTo>
                        <a:pt x="1063" y="860"/>
                      </a:lnTo>
                      <a:lnTo>
                        <a:pt x="1066" y="859"/>
                      </a:lnTo>
                      <a:lnTo>
                        <a:pt x="1069" y="858"/>
                      </a:lnTo>
                      <a:lnTo>
                        <a:pt x="1073" y="856"/>
                      </a:lnTo>
                      <a:lnTo>
                        <a:pt x="1079" y="850"/>
                      </a:lnTo>
                      <a:lnTo>
                        <a:pt x="1083" y="844"/>
                      </a:lnTo>
                      <a:lnTo>
                        <a:pt x="1089" y="838"/>
                      </a:lnTo>
                      <a:lnTo>
                        <a:pt x="1092" y="836"/>
                      </a:lnTo>
                      <a:lnTo>
                        <a:pt x="1096" y="835"/>
                      </a:lnTo>
                      <a:lnTo>
                        <a:pt x="1101" y="832"/>
                      </a:lnTo>
                      <a:lnTo>
                        <a:pt x="1106" y="832"/>
                      </a:lnTo>
                      <a:lnTo>
                        <a:pt x="1106" y="832"/>
                      </a:lnTo>
                      <a:lnTo>
                        <a:pt x="1109" y="841"/>
                      </a:lnTo>
                      <a:lnTo>
                        <a:pt x="1112" y="847"/>
                      </a:lnTo>
                      <a:lnTo>
                        <a:pt x="1117" y="854"/>
                      </a:lnTo>
                      <a:lnTo>
                        <a:pt x="1121" y="859"/>
                      </a:lnTo>
                      <a:lnTo>
                        <a:pt x="1127" y="864"/>
                      </a:lnTo>
                      <a:lnTo>
                        <a:pt x="1134" y="868"/>
                      </a:lnTo>
                      <a:lnTo>
                        <a:pt x="1148" y="875"/>
                      </a:lnTo>
                      <a:lnTo>
                        <a:pt x="1162" y="882"/>
                      </a:lnTo>
                      <a:lnTo>
                        <a:pt x="1177" y="889"/>
                      </a:lnTo>
                      <a:lnTo>
                        <a:pt x="1183" y="892"/>
                      </a:lnTo>
                      <a:lnTo>
                        <a:pt x="1189" y="898"/>
                      </a:lnTo>
                      <a:lnTo>
                        <a:pt x="1196" y="903"/>
                      </a:lnTo>
                      <a:lnTo>
                        <a:pt x="1201" y="910"/>
                      </a:lnTo>
                      <a:lnTo>
                        <a:pt x="1201" y="910"/>
                      </a:lnTo>
                      <a:lnTo>
                        <a:pt x="1206" y="918"/>
                      </a:lnTo>
                      <a:lnTo>
                        <a:pt x="1209" y="923"/>
                      </a:lnTo>
                      <a:lnTo>
                        <a:pt x="1208" y="927"/>
                      </a:lnTo>
                      <a:lnTo>
                        <a:pt x="1208" y="928"/>
                      </a:lnTo>
                      <a:lnTo>
                        <a:pt x="1203" y="932"/>
                      </a:lnTo>
                      <a:lnTo>
                        <a:pt x="1197" y="934"/>
                      </a:lnTo>
                      <a:lnTo>
                        <a:pt x="1190" y="935"/>
                      </a:lnTo>
                      <a:lnTo>
                        <a:pt x="1181" y="935"/>
                      </a:lnTo>
                      <a:lnTo>
                        <a:pt x="1171" y="934"/>
                      </a:lnTo>
                      <a:lnTo>
                        <a:pt x="1149" y="930"/>
                      </a:lnTo>
                      <a:lnTo>
                        <a:pt x="1127" y="925"/>
                      </a:lnTo>
                      <a:lnTo>
                        <a:pt x="1109" y="919"/>
                      </a:lnTo>
                      <a:lnTo>
                        <a:pt x="1097" y="913"/>
                      </a:lnTo>
                      <a:lnTo>
                        <a:pt x="1097" y="913"/>
                      </a:lnTo>
                      <a:close/>
                      <a:moveTo>
                        <a:pt x="1326" y="1618"/>
                      </a:moveTo>
                      <a:lnTo>
                        <a:pt x="1326" y="1618"/>
                      </a:lnTo>
                      <a:lnTo>
                        <a:pt x="1261" y="1569"/>
                      </a:lnTo>
                      <a:lnTo>
                        <a:pt x="1261" y="1569"/>
                      </a:lnTo>
                      <a:lnTo>
                        <a:pt x="1256" y="1565"/>
                      </a:lnTo>
                      <a:lnTo>
                        <a:pt x="1253" y="1558"/>
                      </a:lnTo>
                      <a:lnTo>
                        <a:pt x="1244" y="1541"/>
                      </a:lnTo>
                      <a:lnTo>
                        <a:pt x="1238" y="1521"/>
                      </a:lnTo>
                      <a:lnTo>
                        <a:pt x="1231" y="1507"/>
                      </a:lnTo>
                      <a:lnTo>
                        <a:pt x="1231" y="1507"/>
                      </a:lnTo>
                      <a:lnTo>
                        <a:pt x="1217" y="1482"/>
                      </a:lnTo>
                      <a:lnTo>
                        <a:pt x="1196" y="1445"/>
                      </a:lnTo>
                      <a:lnTo>
                        <a:pt x="1185" y="1428"/>
                      </a:lnTo>
                      <a:lnTo>
                        <a:pt x="1174" y="1414"/>
                      </a:lnTo>
                      <a:lnTo>
                        <a:pt x="1170" y="1408"/>
                      </a:lnTo>
                      <a:lnTo>
                        <a:pt x="1165" y="1405"/>
                      </a:lnTo>
                      <a:lnTo>
                        <a:pt x="1162" y="1402"/>
                      </a:lnTo>
                      <a:lnTo>
                        <a:pt x="1158" y="1404"/>
                      </a:lnTo>
                      <a:lnTo>
                        <a:pt x="1158" y="1404"/>
                      </a:lnTo>
                      <a:lnTo>
                        <a:pt x="1157" y="1391"/>
                      </a:lnTo>
                      <a:lnTo>
                        <a:pt x="1154" y="1378"/>
                      </a:lnTo>
                      <a:lnTo>
                        <a:pt x="1149" y="1367"/>
                      </a:lnTo>
                      <a:lnTo>
                        <a:pt x="1143" y="1356"/>
                      </a:lnTo>
                      <a:lnTo>
                        <a:pt x="1137" y="1346"/>
                      </a:lnTo>
                      <a:lnTo>
                        <a:pt x="1129" y="1336"/>
                      </a:lnTo>
                      <a:lnTo>
                        <a:pt x="1114" y="1316"/>
                      </a:lnTo>
                      <a:lnTo>
                        <a:pt x="1098" y="1298"/>
                      </a:lnTo>
                      <a:lnTo>
                        <a:pt x="1092" y="1287"/>
                      </a:lnTo>
                      <a:lnTo>
                        <a:pt x="1086" y="1278"/>
                      </a:lnTo>
                      <a:lnTo>
                        <a:pt x="1081" y="1267"/>
                      </a:lnTo>
                      <a:lnTo>
                        <a:pt x="1078" y="1256"/>
                      </a:lnTo>
                      <a:lnTo>
                        <a:pt x="1075" y="1245"/>
                      </a:lnTo>
                      <a:lnTo>
                        <a:pt x="1075" y="1232"/>
                      </a:lnTo>
                      <a:lnTo>
                        <a:pt x="1075" y="1232"/>
                      </a:lnTo>
                      <a:lnTo>
                        <a:pt x="1078" y="1237"/>
                      </a:lnTo>
                      <a:lnTo>
                        <a:pt x="1080" y="1242"/>
                      </a:lnTo>
                      <a:lnTo>
                        <a:pt x="1084" y="1256"/>
                      </a:lnTo>
                      <a:lnTo>
                        <a:pt x="1088" y="1270"/>
                      </a:lnTo>
                      <a:lnTo>
                        <a:pt x="1090" y="1276"/>
                      </a:lnTo>
                      <a:lnTo>
                        <a:pt x="1094" y="1282"/>
                      </a:lnTo>
                      <a:lnTo>
                        <a:pt x="1094" y="1282"/>
                      </a:lnTo>
                      <a:lnTo>
                        <a:pt x="1099" y="1285"/>
                      </a:lnTo>
                      <a:lnTo>
                        <a:pt x="1104" y="1287"/>
                      </a:lnTo>
                      <a:lnTo>
                        <a:pt x="1109" y="1287"/>
                      </a:lnTo>
                      <a:lnTo>
                        <a:pt x="1113" y="1286"/>
                      </a:lnTo>
                      <a:lnTo>
                        <a:pt x="1117" y="1286"/>
                      </a:lnTo>
                      <a:lnTo>
                        <a:pt x="1120" y="1285"/>
                      </a:lnTo>
                      <a:lnTo>
                        <a:pt x="1124" y="1286"/>
                      </a:lnTo>
                      <a:lnTo>
                        <a:pt x="1127" y="1290"/>
                      </a:lnTo>
                      <a:lnTo>
                        <a:pt x="1127" y="1290"/>
                      </a:lnTo>
                      <a:lnTo>
                        <a:pt x="1140" y="1303"/>
                      </a:lnTo>
                      <a:lnTo>
                        <a:pt x="1154" y="1317"/>
                      </a:lnTo>
                      <a:lnTo>
                        <a:pt x="1182" y="1348"/>
                      </a:lnTo>
                      <a:lnTo>
                        <a:pt x="1196" y="1363"/>
                      </a:lnTo>
                      <a:lnTo>
                        <a:pt x="1210" y="1379"/>
                      </a:lnTo>
                      <a:lnTo>
                        <a:pt x="1220" y="1395"/>
                      </a:lnTo>
                      <a:lnTo>
                        <a:pt x="1225" y="1404"/>
                      </a:lnTo>
                      <a:lnTo>
                        <a:pt x="1228" y="1412"/>
                      </a:lnTo>
                      <a:lnTo>
                        <a:pt x="1228" y="1412"/>
                      </a:lnTo>
                      <a:lnTo>
                        <a:pt x="1231" y="1417"/>
                      </a:lnTo>
                      <a:lnTo>
                        <a:pt x="1231" y="1424"/>
                      </a:lnTo>
                      <a:lnTo>
                        <a:pt x="1231" y="1436"/>
                      </a:lnTo>
                      <a:lnTo>
                        <a:pt x="1231" y="1442"/>
                      </a:lnTo>
                      <a:lnTo>
                        <a:pt x="1232" y="1448"/>
                      </a:lnTo>
                      <a:lnTo>
                        <a:pt x="1234" y="1454"/>
                      </a:lnTo>
                      <a:lnTo>
                        <a:pt x="1236" y="1461"/>
                      </a:lnTo>
                      <a:lnTo>
                        <a:pt x="1236" y="1461"/>
                      </a:lnTo>
                      <a:lnTo>
                        <a:pt x="1241" y="1466"/>
                      </a:lnTo>
                      <a:lnTo>
                        <a:pt x="1246" y="1469"/>
                      </a:lnTo>
                      <a:lnTo>
                        <a:pt x="1256" y="1475"/>
                      </a:lnTo>
                      <a:lnTo>
                        <a:pt x="1267" y="1482"/>
                      </a:lnTo>
                      <a:lnTo>
                        <a:pt x="1272" y="1485"/>
                      </a:lnTo>
                      <a:lnTo>
                        <a:pt x="1277" y="1491"/>
                      </a:lnTo>
                      <a:lnTo>
                        <a:pt x="1277" y="1491"/>
                      </a:lnTo>
                      <a:lnTo>
                        <a:pt x="1295" y="1520"/>
                      </a:lnTo>
                      <a:lnTo>
                        <a:pt x="1304" y="1535"/>
                      </a:lnTo>
                      <a:lnTo>
                        <a:pt x="1312" y="1551"/>
                      </a:lnTo>
                      <a:lnTo>
                        <a:pt x="1319" y="1567"/>
                      </a:lnTo>
                      <a:lnTo>
                        <a:pt x="1324" y="1583"/>
                      </a:lnTo>
                      <a:lnTo>
                        <a:pt x="1326" y="1591"/>
                      </a:lnTo>
                      <a:lnTo>
                        <a:pt x="1326" y="1600"/>
                      </a:lnTo>
                      <a:lnTo>
                        <a:pt x="1326" y="1608"/>
                      </a:lnTo>
                      <a:lnTo>
                        <a:pt x="1326" y="1618"/>
                      </a:lnTo>
                      <a:lnTo>
                        <a:pt x="1326" y="1618"/>
                      </a:lnTo>
                      <a:close/>
                      <a:moveTo>
                        <a:pt x="1451" y="964"/>
                      </a:moveTo>
                      <a:lnTo>
                        <a:pt x="1451" y="964"/>
                      </a:lnTo>
                      <a:lnTo>
                        <a:pt x="1453" y="967"/>
                      </a:lnTo>
                      <a:lnTo>
                        <a:pt x="1456" y="971"/>
                      </a:lnTo>
                      <a:lnTo>
                        <a:pt x="1467" y="975"/>
                      </a:lnTo>
                      <a:lnTo>
                        <a:pt x="1477" y="980"/>
                      </a:lnTo>
                      <a:lnTo>
                        <a:pt x="1480" y="983"/>
                      </a:lnTo>
                      <a:lnTo>
                        <a:pt x="1483" y="986"/>
                      </a:lnTo>
                      <a:lnTo>
                        <a:pt x="1483" y="986"/>
                      </a:lnTo>
                      <a:lnTo>
                        <a:pt x="1480" y="993"/>
                      </a:lnTo>
                      <a:lnTo>
                        <a:pt x="1477" y="1010"/>
                      </a:lnTo>
                      <a:lnTo>
                        <a:pt x="1474" y="1026"/>
                      </a:lnTo>
                      <a:lnTo>
                        <a:pt x="1472" y="1033"/>
                      </a:lnTo>
                      <a:lnTo>
                        <a:pt x="1472" y="1033"/>
                      </a:lnTo>
                      <a:lnTo>
                        <a:pt x="1468" y="1036"/>
                      </a:lnTo>
                      <a:lnTo>
                        <a:pt x="1463" y="1039"/>
                      </a:lnTo>
                      <a:lnTo>
                        <a:pt x="1457" y="1039"/>
                      </a:lnTo>
                      <a:lnTo>
                        <a:pt x="1453" y="1039"/>
                      </a:lnTo>
                      <a:lnTo>
                        <a:pt x="1442" y="1036"/>
                      </a:lnTo>
                      <a:lnTo>
                        <a:pt x="1431" y="1032"/>
                      </a:lnTo>
                      <a:lnTo>
                        <a:pt x="1421" y="1026"/>
                      </a:lnTo>
                      <a:lnTo>
                        <a:pt x="1410" y="1019"/>
                      </a:lnTo>
                      <a:lnTo>
                        <a:pt x="1395" y="1007"/>
                      </a:lnTo>
                      <a:lnTo>
                        <a:pt x="1395" y="1007"/>
                      </a:lnTo>
                      <a:lnTo>
                        <a:pt x="1391" y="1004"/>
                      </a:lnTo>
                      <a:lnTo>
                        <a:pt x="1388" y="1001"/>
                      </a:lnTo>
                      <a:lnTo>
                        <a:pt x="1386" y="996"/>
                      </a:lnTo>
                      <a:lnTo>
                        <a:pt x="1385" y="993"/>
                      </a:lnTo>
                      <a:lnTo>
                        <a:pt x="1384" y="983"/>
                      </a:lnTo>
                      <a:lnTo>
                        <a:pt x="1385" y="974"/>
                      </a:lnTo>
                      <a:lnTo>
                        <a:pt x="1387" y="971"/>
                      </a:lnTo>
                      <a:lnTo>
                        <a:pt x="1390" y="967"/>
                      </a:lnTo>
                      <a:lnTo>
                        <a:pt x="1393" y="965"/>
                      </a:lnTo>
                      <a:lnTo>
                        <a:pt x="1396" y="963"/>
                      </a:lnTo>
                      <a:lnTo>
                        <a:pt x="1400" y="961"/>
                      </a:lnTo>
                      <a:lnTo>
                        <a:pt x="1406" y="961"/>
                      </a:lnTo>
                      <a:lnTo>
                        <a:pt x="1410" y="963"/>
                      </a:lnTo>
                      <a:lnTo>
                        <a:pt x="1416" y="965"/>
                      </a:lnTo>
                      <a:lnTo>
                        <a:pt x="1416" y="965"/>
                      </a:lnTo>
                      <a:lnTo>
                        <a:pt x="1415" y="955"/>
                      </a:lnTo>
                      <a:lnTo>
                        <a:pt x="1411" y="945"/>
                      </a:lnTo>
                      <a:lnTo>
                        <a:pt x="1406" y="937"/>
                      </a:lnTo>
                      <a:lnTo>
                        <a:pt x="1400" y="929"/>
                      </a:lnTo>
                      <a:lnTo>
                        <a:pt x="1384" y="915"/>
                      </a:lnTo>
                      <a:lnTo>
                        <a:pt x="1369" y="903"/>
                      </a:lnTo>
                      <a:lnTo>
                        <a:pt x="1369" y="903"/>
                      </a:lnTo>
                      <a:lnTo>
                        <a:pt x="1357" y="891"/>
                      </a:lnTo>
                      <a:lnTo>
                        <a:pt x="1349" y="882"/>
                      </a:lnTo>
                      <a:lnTo>
                        <a:pt x="1346" y="877"/>
                      </a:lnTo>
                      <a:lnTo>
                        <a:pt x="1343" y="872"/>
                      </a:lnTo>
                      <a:lnTo>
                        <a:pt x="1342" y="865"/>
                      </a:lnTo>
                      <a:lnTo>
                        <a:pt x="1342" y="857"/>
                      </a:lnTo>
                      <a:lnTo>
                        <a:pt x="1342" y="857"/>
                      </a:lnTo>
                      <a:lnTo>
                        <a:pt x="1341" y="850"/>
                      </a:lnTo>
                      <a:lnTo>
                        <a:pt x="1339" y="844"/>
                      </a:lnTo>
                      <a:lnTo>
                        <a:pt x="1335" y="839"/>
                      </a:lnTo>
                      <a:lnTo>
                        <a:pt x="1332" y="837"/>
                      </a:lnTo>
                      <a:lnTo>
                        <a:pt x="1325" y="831"/>
                      </a:lnTo>
                      <a:lnTo>
                        <a:pt x="1323" y="829"/>
                      </a:lnTo>
                      <a:lnTo>
                        <a:pt x="1323" y="824"/>
                      </a:lnTo>
                      <a:lnTo>
                        <a:pt x="1323" y="824"/>
                      </a:lnTo>
                      <a:lnTo>
                        <a:pt x="1324" y="816"/>
                      </a:lnTo>
                      <a:lnTo>
                        <a:pt x="1327" y="808"/>
                      </a:lnTo>
                      <a:lnTo>
                        <a:pt x="1331" y="799"/>
                      </a:lnTo>
                      <a:lnTo>
                        <a:pt x="1335" y="791"/>
                      </a:lnTo>
                      <a:lnTo>
                        <a:pt x="1340" y="784"/>
                      </a:lnTo>
                      <a:lnTo>
                        <a:pt x="1347" y="777"/>
                      </a:lnTo>
                      <a:lnTo>
                        <a:pt x="1354" y="773"/>
                      </a:lnTo>
                      <a:lnTo>
                        <a:pt x="1361" y="768"/>
                      </a:lnTo>
                      <a:lnTo>
                        <a:pt x="1361" y="768"/>
                      </a:lnTo>
                      <a:lnTo>
                        <a:pt x="1377" y="761"/>
                      </a:lnTo>
                      <a:lnTo>
                        <a:pt x="1390" y="757"/>
                      </a:lnTo>
                      <a:lnTo>
                        <a:pt x="1400" y="755"/>
                      </a:lnTo>
                      <a:lnTo>
                        <a:pt x="1403" y="755"/>
                      </a:lnTo>
                      <a:lnTo>
                        <a:pt x="1408" y="757"/>
                      </a:lnTo>
                      <a:lnTo>
                        <a:pt x="1410" y="758"/>
                      </a:lnTo>
                      <a:lnTo>
                        <a:pt x="1414" y="761"/>
                      </a:lnTo>
                      <a:lnTo>
                        <a:pt x="1415" y="765"/>
                      </a:lnTo>
                      <a:lnTo>
                        <a:pt x="1417" y="769"/>
                      </a:lnTo>
                      <a:lnTo>
                        <a:pt x="1419" y="781"/>
                      </a:lnTo>
                      <a:lnTo>
                        <a:pt x="1421" y="798"/>
                      </a:lnTo>
                      <a:lnTo>
                        <a:pt x="1421" y="798"/>
                      </a:lnTo>
                      <a:lnTo>
                        <a:pt x="1407" y="798"/>
                      </a:lnTo>
                      <a:lnTo>
                        <a:pt x="1401" y="798"/>
                      </a:lnTo>
                      <a:lnTo>
                        <a:pt x="1396" y="799"/>
                      </a:lnTo>
                      <a:lnTo>
                        <a:pt x="1393" y="801"/>
                      </a:lnTo>
                      <a:lnTo>
                        <a:pt x="1390" y="804"/>
                      </a:lnTo>
                      <a:lnTo>
                        <a:pt x="1388" y="806"/>
                      </a:lnTo>
                      <a:lnTo>
                        <a:pt x="1387" y="809"/>
                      </a:lnTo>
                      <a:lnTo>
                        <a:pt x="1386" y="816"/>
                      </a:lnTo>
                      <a:lnTo>
                        <a:pt x="1388" y="826"/>
                      </a:lnTo>
                      <a:lnTo>
                        <a:pt x="1393" y="835"/>
                      </a:lnTo>
                      <a:lnTo>
                        <a:pt x="1398" y="845"/>
                      </a:lnTo>
                      <a:lnTo>
                        <a:pt x="1411" y="866"/>
                      </a:lnTo>
                      <a:lnTo>
                        <a:pt x="1425" y="885"/>
                      </a:lnTo>
                      <a:lnTo>
                        <a:pt x="1436" y="900"/>
                      </a:lnTo>
                      <a:lnTo>
                        <a:pt x="1439" y="906"/>
                      </a:lnTo>
                      <a:lnTo>
                        <a:pt x="1440" y="910"/>
                      </a:lnTo>
                      <a:lnTo>
                        <a:pt x="1440" y="910"/>
                      </a:lnTo>
                      <a:lnTo>
                        <a:pt x="1447" y="906"/>
                      </a:lnTo>
                      <a:lnTo>
                        <a:pt x="1454" y="902"/>
                      </a:lnTo>
                      <a:lnTo>
                        <a:pt x="1460" y="898"/>
                      </a:lnTo>
                      <a:lnTo>
                        <a:pt x="1467" y="896"/>
                      </a:lnTo>
                      <a:lnTo>
                        <a:pt x="1472" y="895"/>
                      </a:lnTo>
                      <a:lnTo>
                        <a:pt x="1475" y="895"/>
                      </a:lnTo>
                      <a:lnTo>
                        <a:pt x="1477" y="895"/>
                      </a:lnTo>
                      <a:lnTo>
                        <a:pt x="1479" y="897"/>
                      </a:lnTo>
                      <a:lnTo>
                        <a:pt x="1482" y="899"/>
                      </a:lnTo>
                      <a:lnTo>
                        <a:pt x="1486" y="906"/>
                      </a:lnTo>
                      <a:lnTo>
                        <a:pt x="1486" y="906"/>
                      </a:lnTo>
                      <a:lnTo>
                        <a:pt x="1486" y="913"/>
                      </a:lnTo>
                      <a:lnTo>
                        <a:pt x="1485" y="919"/>
                      </a:lnTo>
                      <a:lnTo>
                        <a:pt x="1482" y="922"/>
                      </a:lnTo>
                      <a:lnTo>
                        <a:pt x="1479" y="926"/>
                      </a:lnTo>
                      <a:lnTo>
                        <a:pt x="1476" y="927"/>
                      </a:lnTo>
                      <a:lnTo>
                        <a:pt x="1471" y="928"/>
                      </a:lnTo>
                      <a:lnTo>
                        <a:pt x="1463" y="930"/>
                      </a:lnTo>
                      <a:lnTo>
                        <a:pt x="1455" y="933"/>
                      </a:lnTo>
                      <a:lnTo>
                        <a:pt x="1452" y="935"/>
                      </a:lnTo>
                      <a:lnTo>
                        <a:pt x="1449" y="937"/>
                      </a:lnTo>
                      <a:lnTo>
                        <a:pt x="1448" y="942"/>
                      </a:lnTo>
                      <a:lnTo>
                        <a:pt x="1447" y="948"/>
                      </a:lnTo>
                      <a:lnTo>
                        <a:pt x="1448" y="955"/>
                      </a:lnTo>
                      <a:lnTo>
                        <a:pt x="1451" y="964"/>
                      </a:lnTo>
                      <a:lnTo>
                        <a:pt x="1451" y="9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29" name="Freeform 368"/>
                <p:cNvSpPr>
                  <a:spLocks/>
                </p:cNvSpPr>
                <p:nvPr/>
              </p:nvSpPr>
              <p:spPr bwMode="auto">
                <a:xfrm>
                  <a:off x="3143250" y="481013"/>
                  <a:ext cx="11113" cy="11113"/>
                </a:xfrm>
                <a:custGeom>
                  <a:avLst/>
                  <a:gdLst>
                    <a:gd name="T0" fmla="*/ 40 w 47"/>
                    <a:gd name="T1" fmla="*/ 51 h 51"/>
                    <a:gd name="T2" fmla="*/ 40 w 47"/>
                    <a:gd name="T3" fmla="*/ 51 h 51"/>
                    <a:gd name="T4" fmla="*/ 45 w 47"/>
                    <a:gd name="T5" fmla="*/ 41 h 51"/>
                    <a:gd name="T6" fmla="*/ 47 w 47"/>
                    <a:gd name="T7" fmla="*/ 30 h 51"/>
                    <a:gd name="T8" fmla="*/ 46 w 47"/>
                    <a:gd name="T9" fmla="*/ 20 h 51"/>
                    <a:gd name="T10" fmla="*/ 43 w 47"/>
                    <a:gd name="T11" fmla="*/ 12 h 51"/>
                    <a:gd name="T12" fmla="*/ 41 w 47"/>
                    <a:gd name="T13" fmla="*/ 9 h 51"/>
                    <a:gd name="T14" fmla="*/ 39 w 47"/>
                    <a:gd name="T15" fmla="*/ 5 h 51"/>
                    <a:gd name="T16" fmla="*/ 35 w 47"/>
                    <a:gd name="T17" fmla="*/ 3 h 51"/>
                    <a:gd name="T18" fmla="*/ 32 w 47"/>
                    <a:gd name="T19" fmla="*/ 0 h 51"/>
                    <a:gd name="T20" fmla="*/ 27 w 47"/>
                    <a:gd name="T21" fmla="*/ 0 h 51"/>
                    <a:gd name="T22" fmla="*/ 23 w 47"/>
                    <a:gd name="T23" fmla="*/ 0 h 51"/>
                    <a:gd name="T24" fmla="*/ 18 w 47"/>
                    <a:gd name="T25" fmla="*/ 2 h 51"/>
                    <a:gd name="T26" fmla="*/ 12 w 47"/>
                    <a:gd name="T27" fmla="*/ 3 h 51"/>
                    <a:gd name="T28" fmla="*/ 12 w 47"/>
                    <a:gd name="T29" fmla="*/ 3 h 51"/>
                    <a:gd name="T30" fmla="*/ 7 w 47"/>
                    <a:gd name="T31" fmla="*/ 6 h 51"/>
                    <a:gd name="T32" fmla="*/ 3 w 47"/>
                    <a:gd name="T33" fmla="*/ 9 h 51"/>
                    <a:gd name="T34" fmla="*/ 1 w 47"/>
                    <a:gd name="T35" fmla="*/ 13 h 51"/>
                    <a:gd name="T36" fmla="*/ 0 w 47"/>
                    <a:gd name="T37" fmla="*/ 17 h 51"/>
                    <a:gd name="T38" fmla="*/ 0 w 47"/>
                    <a:gd name="T39" fmla="*/ 21 h 51"/>
                    <a:gd name="T40" fmla="*/ 1 w 47"/>
                    <a:gd name="T41" fmla="*/ 26 h 51"/>
                    <a:gd name="T42" fmla="*/ 3 w 47"/>
                    <a:gd name="T43" fmla="*/ 29 h 51"/>
                    <a:gd name="T44" fmla="*/ 5 w 47"/>
                    <a:gd name="T45" fmla="*/ 34 h 51"/>
                    <a:gd name="T46" fmla="*/ 12 w 47"/>
                    <a:gd name="T47" fmla="*/ 42 h 51"/>
                    <a:gd name="T48" fmla="*/ 20 w 47"/>
                    <a:gd name="T49" fmla="*/ 48 h 51"/>
                    <a:gd name="T50" fmla="*/ 25 w 47"/>
                    <a:gd name="T51" fmla="*/ 50 h 51"/>
                    <a:gd name="T52" fmla="*/ 30 w 47"/>
                    <a:gd name="T53" fmla="*/ 51 h 51"/>
                    <a:gd name="T54" fmla="*/ 35 w 47"/>
                    <a:gd name="T55" fmla="*/ 51 h 51"/>
                    <a:gd name="T56" fmla="*/ 40 w 47"/>
                    <a:gd name="T57" fmla="*/ 51 h 51"/>
                    <a:gd name="T58" fmla="*/ 40 w 47"/>
                    <a:gd name="T5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7" h="51">
                      <a:moveTo>
                        <a:pt x="40" y="51"/>
                      </a:moveTo>
                      <a:lnTo>
                        <a:pt x="40" y="51"/>
                      </a:lnTo>
                      <a:lnTo>
                        <a:pt x="45" y="41"/>
                      </a:lnTo>
                      <a:lnTo>
                        <a:pt x="47" y="30"/>
                      </a:lnTo>
                      <a:lnTo>
                        <a:pt x="46" y="20"/>
                      </a:lnTo>
                      <a:lnTo>
                        <a:pt x="43" y="12"/>
                      </a:lnTo>
                      <a:lnTo>
                        <a:pt x="41" y="9"/>
                      </a:lnTo>
                      <a:lnTo>
                        <a:pt x="39" y="5"/>
                      </a:lnTo>
                      <a:lnTo>
                        <a:pt x="35" y="3"/>
                      </a:lnTo>
                      <a:lnTo>
                        <a:pt x="32" y="0"/>
                      </a:lnTo>
                      <a:lnTo>
                        <a:pt x="27" y="0"/>
                      </a:lnTo>
                      <a:lnTo>
                        <a:pt x="23" y="0"/>
                      </a:lnTo>
                      <a:lnTo>
                        <a:pt x="18" y="2"/>
                      </a:lnTo>
                      <a:lnTo>
                        <a:pt x="12" y="3"/>
                      </a:lnTo>
                      <a:lnTo>
                        <a:pt x="12" y="3"/>
                      </a:lnTo>
                      <a:lnTo>
                        <a:pt x="7" y="6"/>
                      </a:lnTo>
                      <a:lnTo>
                        <a:pt x="3" y="9"/>
                      </a:lnTo>
                      <a:lnTo>
                        <a:pt x="1" y="13"/>
                      </a:lnTo>
                      <a:lnTo>
                        <a:pt x="0" y="17"/>
                      </a:lnTo>
                      <a:lnTo>
                        <a:pt x="0" y="21"/>
                      </a:lnTo>
                      <a:lnTo>
                        <a:pt x="1" y="26"/>
                      </a:lnTo>
                      <a:lnTo>
                        <a:pt x="3" y="29"/>
                      </a:lnTo>
                      <a:lnTo>
                        <a:pt x="5" y="34"/>
                      </a:lnTo>
                      <a:lnTo>
                        <a:pt x="12" y="42"/>
                      </a:lnTo>
                      <a:lnTo>
                        <a:pt x="20" y="48"/>
                      </a:lnTo>
                      <a:lnTo>
                        <a:pt x="25" y="50"/>
                      </a:lnTo>
                      <a:lnTo>
                        <a:pt x="30" y="51"/>
                      </a:lnTo>
                      <a:lnTo>
                        <a:pt x="35" y="51"/>
                      </a:lnTo>
                      <a:lnTo>
                        <a:pt x="40" y="51"/>
                      </a:lnTo>
                      <a:lnTo>
                        <a:pt x="40" y="51"/>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30" name="Freeform 369"/>
                <p:cNvSpPr>
                  <a:spLocks/>
                </p:cNvSpPr>
                <p:nvPr/>
              </p:nvSpPr>
              <p:spPr bwMode="auto">
                <a:xfrm>
                  <a:off x="3028950" y="817563"/>
                  <a:ext cx="11113" cy="12700"/>
                </a:xfrm>
                <a:custGeom>
                  <a:avLst/>
                  <a:gdLst>
                    <a:gd name="T0" fmla="*/ 37 w 55"/>
                    <a:gd name="T1" fmla="*/ 53 h 53"/>
                    <a:gd name="T2" fmla="*/ 37 w 55"/>
                    <a:gd name="T3" fmla="*/ 53 h 53"/>
                    <a:gd name="T4" fmla="*/ 46 w 55"/>
                    <a:gd name="T5" fmla="*/ 45 h 53"/>
                    <a:gd name="T6" fmla="*/ 52 w 55"/>
                    <a:gd name="T7" fmla="*/ 42 h 53"/>
                    <a:gd name="T8" fmla="*/ 55 w 55"/>
                    <a:gd name="T9" fmla="*/ 37 h 53"/>
                    <a:gd name="T10" fmla="*/ 55 w 55"/>
                    <a:gd name="T11" fmla="*/ 37 h 53"/>
                    <a:gd name="T12" fmla="*/ 51 w 55"/>
                    <a:gd name="T13" fmla="*/ 29 h 53"/>
                    <a:gd name="T14" fmla="*/ 46 w 55"/>
                    <a:gd name="T15" fmla="*/ 22 h 53"/>
                    <a:gd name="T16" fmla="*/ 36 w 55"/>
                    <a:gd name="T17" fmla="*/ 8 h 53"/>
                    <a:gd name="T18" fmla="*/ 36 w 55"/>
                    <a:gd name="T19" fmla="*/ 8 h 53"/>
                    <a:gd name="T20" fmla="*/ 31 w 55"/>
                    <a:gd name="T21" fmla="*/ 14 h 53"/>
                    <a:gd name="T22" fmla="*/ 31 w 55"/>
                    <a:gd name="T23" fmla="*/ 14 h 53"/>
                    <a:gd name="T24" fmla="*/ 25 w 55"/>
                    <a:gd name="T25" fmla="*/ 7 h 53"/>
                    <a:gd name="T26" fmla="*/ 19 w 55"/>
                    <a:gd name="T27" fmla="*/ 0 h 53"/>
                    <a:gd name="T28" fmla="*/ 19 w 55"/>
                    <a:gd name="T29" fmla="*/ 0 h 53"/>
                    <a:gd name="T30" fmla="*/ 12 w 55"/>
                    <a:gd name="T31" fmla="*/ 2 h 53"/>
                    <a:gd name="T32" fmla="*/ 6 w 55"/>
                    <a:gd name="T33" fmla="*/ 5 h 53"/>
                    <a:gd name="T34" fmla="*/ 2 w 55"/>
                    <a:gd name="T35" fmla="*/ 7 h 53"/>
                    <a:gd name="T36" fmla="*/ 0 w 55"/>
                    <a:gd name="T37" fmla="*/ 10 h 53"/>
                    <a:gd name="T38" fmla="*/ 0 w 55"/>
                    <a:gd name="T39" fmla="*/ 15 h 53"/>
                    <a:gd name="T40" fmla="*/ 1 w 55"/>
                    <a:gd name="T41" fmla="*/ 20 h 53"/>
                    <a:gd name="T42" fmla="*/ 4 w 55"/>
                    <a:gd name="T43" fmla="*/ 24 h 53"/>
                    <a:gd name="T44" fmla="*/ 7 w 55"/>
                    <a:gd name="T45" fmla="*/ 30 h 53"/>
                    <a:gd name="T46" fmla="*/ 7 w 55"/>
                    <a:gd name="T47" fmla="*/ 30 h 53"/>
                    <a:gd name="T48" fmla="*/ 13 w 55"/>
                    <a:gd name="T49" fmla="*/ 28 h 53"/>
                    <a:gd name="T50" fmla="*/ 19 w 55"/>
                    <a:gd name="T51" fmla="*/ 24 h 53"/>
                    <a:gd name="T52" fmla="*/ 30 w 55"/>
                    <a:gd name="T53" fmla="*/ 16 h 53"/>
                    <a:gd name="T54" fmla="*/ 30 w 55"/>
                    <a:gd name="T55" fmla="*/ 16 h 53"/>
                    <a:gd name="T56" fmla="*/ 28 w 55"/>
                    <a:gd name="T57" fmla="*/ 21 h 53"/>
                    <a:gd name="T58" fmla="*/ 25 w 55"/>
                    <a:gd name="T59" fmla="*/ 27 h 53"/>
                    <a:gd name="T60" fmla="*/ 25 w 55"/>
                    <a:gd name="T61" fmla="*/ 31 h 53"/>
                    <a:gd name="T62" fmla="*/ 25 w 55"/>
                    <a:gd name="T63" fmla="*/ 36 h 53"/>
                    <a:gd name="T64" fmla="*/ 27 w 55"/>
                    <a:gd name="T65" fmla="*/ 40 h 53"/>
                    <a:gd name="T66" fmla="*/ 29 w 55"/>
                    <a:gd name="T67" fmla="*/ 44 h 53"/>
                    <a:gd name="T68" fmla="*/ 32 w 55"/>
                    <a:gd name="T69" fmla="*/ 48 h 53"/>
                    <a:gd name="T70" fmla="*/ 37 w 55"/>
                    <a:gd name="T71" fmla="*/ 53 h 53"/>
                    <a:gd name="T72" fmla="*/ 37 w 55"/>
                    <a:gd name="T7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3">
                      <a:moveTo>
                        <a:pt x="37" y="53"/>
                      </a:moveTo>
                      <a:lnTo>
                        <a:pt x="37" y="53"/>
                      </a:lnTo>
                      <a:lnTo>
                        <a:pt x="46" y="45"/>
                      </a:lnTo>
                      <a:lnTo>
                        <a:pt x="52" y="42"/>
                      </a:lnTo>
                      <a:lnTo>
                        <a:pt x="55" y="37"/>
                      </a:lnTo>
                      <a:lnTo>
                        <a:pt x="55" y="37"/>
                      </a:lnTo>
                      <a:lnTo>
                        <a:pt x="51" y="29"/>
                      </a:lnTo>
                      <a:lnTo>
                        <a:pt x="46" y="22"/>
                      </a:lnTo>
                      <a:lnTo>
                        <a:pt x="36" y="8"/>
                      </a:lnTo>
                      <a:lnTo>
                        <a:pt x="36" y="8"/>
                      </a:lnTo>
                      <a:lnTo>
                        <a:pt x="31" y="14"/>
                      </a:lnTo>
                      <a:lnTo>
                        <a:pt x="31" y="14"/>
                      </a:lnTo>
                      <a:lnTo>
                        <a:pt x="25" y="7"/>
                      </a:lnTo>
                      <a:lnTo>
                        <a:pt x="19" y="0"/>
                      </a:lnTo>
                      <a:lnTo>
                        <a:pt x="19" y="0"/>
                      </a:lnTo>
                      <a:lnTo>
                        <a:pt x="12" y="2"/>
                      </a:lnTo>
                      <a:lnTo>
                        <a:pt x="6" y="5"/>
                      </a:lnTo>
                      <a:lnTo>
                        <a:pt x="2" y="7"/>
                      </a:lnTo>
                      <a:lnTo>
                        <a:pt x="0" y="10"/>
                      </a:lnTo>
                      <a:lnTo>
                        <a:pt x="0" y="15"/>
                      </a:lnTo>
                      <a:lnTo>
                        <a:pt x="1" y="20"/>
                      </a:lnTo>
                      <a:lnTo>
                        <a:pt x="4" y="24"/>
                      </a:lnTo>
                      <a:lnTo>
                        <a:pt x="7" y="30"/>
                      </a:lnTo>
                      <a:lnTo>
                        <a:pt x="7" y="30"/>
                      </a:lnTo>
                      <a:lnTo>
                        <a:pt x="13" y="28"/>
                      </a:lnTo>
                      <a:lnTo>
                        <a:pt x="19" y="24"/>
                      </a:lnTo>
                      <a:lnTo>
                        <a:pt x="30" y="16"/>
                      </a:lnTo>
                      <a:lnTo>
                        <a:pt x="30" y="16"/>
                      </a:lnTo>
                      <a:lnTo>
                        <a:pt x="28" y="21"/>
                      </a:lnTo>
                      <a:lnTo>
                        <a:pt x="25" y="27"/>
                      </a:lnTo>
                      <a:lnTo>
                        <a:pt x="25" y="31"/>
                      </a:lnTo>
                      <a:lnTo>
                        <a:pt x="25" y="36"/>
                      </a:lnTo>
                      <a:lnTo>
                        <a:pt x="27" y="40"/>
                      </a:lnTo>
                      <a:lnTo>
                        <a:pt x="29" y="44"/>
                      </a:lnTo>
                      <a:lnTo>
                        <a:pt x="32" y="48"/>
                      </a:lnTo>
                      <a:lnTo>
                        <a:pt x="37" y="53"/>
                      </a:lnTo>
                      <a:lnTo>
                        <a:pt x="37" y="53"/>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31" name="Freeform 370"/>
                <p:cNvSpPr>
                  <a:spLocks/>
                </p:cNvSpPr>
                <p:nvPr/>
              </p:nvSpPr>
              <p:spPr bwMode="auto">
                <a:xfrm>
                  <a:off x="3035300" y="830263"/>
                  <a:ext cx="11113" cy="25400"/>
                </a:xfrm>
                <a:custGeom>
                  <a:avLst/>
                  <a:gdLst>
                    <a:gd name="T0" fmla="*/ 27 w 49"/>
                    <a:gd name="T1" fmla="*/ 33 h 115"/>
                    <a:gd name="T2" fmla="*/ 27 w 49"/>
                    <a:gd name="T3" fmla="*/ 33 h 115"/>
                    <a:gd name="T4" fmla="*/ 43 w 49"/>
                    <a:gd name="T5" fmla="*/ 29 h 115"/>
                    <a:gd name="T6" fmla="*/ 43 w 49"/>
                    <a:gd name="T7" fmla="*/ 29 h 115"/>
                    <a:gd name="T8" fmla="*/ 41 w 49"/>
                    <a:gd name="T9" fmla="*/ 22 h 115"/>
                    <a:gd name="T10" fmla="*/ 36 w 49"/>
                    <a:gd name="T11" fmla="*/ 14 h 115"/>
                    <a:gd name="T12" fmla="*/ 32 w 49"/>
                    <a:gd name="T13" fmla="*/ 6 h 115"/>
                    <a:gd name="T14" fmla="*/ 27 w 49"/>
                    <a:gd name="T15" fmla="*/ 0 h 115"/>
                    <a:gd name="T16" fmla="*/ 27 w 49"/>
                    <a:gd name="T17" fmla="*/ 0 h 115"/>
                    <a:gd name="T18" fmla="*/ 24 w 49"/>
                    <a:gd name="T19" fmla="*/ 2 h 115"/>
                    <a:gd name="T20" fmla="*/ 21 w 49"/>
                    <a:gd name="T21" fmla="*/ 4 h 115"/>
                    <a:gd name="T22" fmla="*/ 18 w 49"/>
                    <a:gd name="T23" fmla="*/ 12 h 115"/>
                    <a:gd name="T24" fmla="*/ 16 w 49"/>
                    <a:gd name="T25" fmla="*/ 22 h 115"/>
                    <a:gd name="T26" fmla="*/ 16 w 49"/>
                    <a:gd name="T27" fmla="*/ 31 h 115"/>
                    <a:gd name="T28" fmla="*/ 16 w 49"/>
                    <a:gd name="T29" fmla="*/ 41 h 115"/>
                    <a:gd name="T30" fmla="*/ 18 w 49"/>
                    <a:gd name="T31" fmla="*/ 50 h 115"/>
                    <a:gd name="T32" fmla="*/ 20 w 49"/>
                    <a:gd name="T33" fmla="*/ 58 h 115"/>
                    <a:gd name="T34" fmla="*/ 24 w 49"/>
                    <a:gd name="T35" fmla="*/ 64 h 115"/>
                    <a:gd name="T36" fmla="*/ 24 w 49"/>
                    <a:gd name="T37" fmla="*/ 64 h 115"/>
                    <a:gd name="T38" fmla="*/ 14 w 49"/>
                    <a:gd name="T39" fmla="*/ 71 h 115"/>
                    <a:gd name="T40" fmla="*/ 12 w 49"/>
                    <a:gd name="T41" fmla="*/ 73 h 115"/>
                    <a:gd name="T42" fmla="*/ 12 w 49"/>
                    <a:gd name="T43" fmla="*/ 76 h 115"/>
                    <a:gd name="T44" fmla="*/ 12 w 49"/>
                    <a:gd name="T45" fmla="*/ 79 h 115"/>
                    <a:gd name="T46" fmla="*/ 14 w 49"/>
                    <a:gd name="T47" fmla="*/ 83 h 115"/>
                    <a:gd name="T48" fmla="*/ 19 w 49"/>
                    <a:gd name="T49" fmla="*/ 93 h 115"/>
                    <a:gd name="T50" fmla="*/ 19 w 49"/>
                    <a:gd name="T51" fmla="*/ 93 h 115"/>
                    <a:gd name="T52" fmla="*/ 10 w 49"/>
                    <a:gd name="T53" fmla="*/ 93 h 115"/>
                    <a:gd name="T54" fmla="*/ 4 w 49"/>
                    <a:gd name="T55" fmla="*/ 94 h 115"/>
                    <a:gd name="T56" fmla="*/ 1 w 49"/>
                    <a:gd name="T57" fmla="*/ 96 h 115"/>
                    <a:gd name="T58" fmla="*/ 0 w 49"/>
                    <a:gd name="T59" fmla="*/ 99 h 115"/>
                    <a:gd name="T60" fmla="*/ 0 w 49"/>
                    <a:gd name="T61" fmla="*/ 102 h 115"/>
                    <a:gd name="T62" fmla="*/ 2 w 49"/>
                    <a:gd name="T63" fmla="*/ 105 h 115"/>
                    <a:gd name="T64" fmla="*/ 5 w 49"/>
                    <a:gd name="T65" fmla="*/ 108 h 115"/>
                    <a:gd name="T66" fmla="*/ 9 w 49"/>
                    <a:gd name="T67" fmla="*/ 110 h 115"/>
                    <a:gd name="T68" fmla="*/ 13 w 49"/>
                    <a:gd name="T69" fmla="*/ 113 h 115"/>
                    <a:gd name="T70" fmla="*/ 18 w 49"/>
                    <a:gd name="T71" fmla="*/ 114 h 115"/>
                    <a:gd name="T72" fmla="*/ 21 w 49"/>
                    <a:gd name="T73" fmla="*/ 115 h 115"/>
                    <a:gd name="T74" fmla="*/ 25 w 49"/>
                    <a:gd name="T75" fmla="*/ 114 h 115"/>
                    <a:gd name="T76" fmla="*/ 27 w 49"/>
                    <a:gd name="T77" fmla="*/ 113 h 115"/>
                    <a:gd name="T78" fmla="*/ 28 w 49"/>
                    <a:gd name="T79" fmla="*/ 109 h 115"/>
                    <a:gd name="T80" fmla="*/ 27 w 49"/>
                    <a:gd name="T81" fmla="*/ 103 h 115"/>
                    <a:gd name="T82" fmla="*/ 25 w 49"/>
                    <a:gd name="T83" fmla="*/ 96 h 115"/>
                    <a:gd name="T84" fmla="*/ 25 w 49"/>
                    <a:gd name="T85" fmla="*/ 96 h 115"/>
                    <a:gd name="T86" fmla="*/ 29 w 49"/>
                    <a:gd name="T87" fmla="*/ 94 h 115"/>
                    <a:gd name="T88" fmla="*/ 34 w 49"/>
                    <a:gd name="T89" fmla="*/ 91 h 115"/>
                    <a:gd name="T90" fmla="*/ 40 w 49"/>
                    <a:gd name="T91" fmla="*/ 87 h 115"/>
                    <a:gd name="T92" fmla="*/ 44 w 49"/>
                    <a:gd name="T93" fmla="*/ 85 h 115"/>
                    <a:gd name="T94" fmla="*/ 44 w 49"/>
                    <a:gd name="T95" fmla="*/ 85 h 115"/>
                    <a:gd name="T96" fmla="*/ 41 w 49"/>
                    <a:gd name="T97" fmla="*/ 80 h 115"/>
                    <a:gd name="T98" fmla="*/ 38 w 49"/>
                    <a:gd name="T99" fmla="*/ 76 h 115"/>
                    <a:gd name="T100" fmla="*/ 34 w 49"/>
                    <a:gd name="T101" fmla="*/ 71 h 115"/>
                    <a:gd name="T102" fmla="*/ 31 w 49"/>
                    <a:gd name="T103" fmla="*/ 67 h 115"/>
                    <a:gd name="T104" fmla="*/ 31 w 49"/>
                    <a:gd name="T105" fmla="*/ 67 h 115"/>
                    <a:gd name="T106" fmla="*/ 49 w 49"/>
                    <a:gd name="T107" fmla="*/ 56 h 115"/>
                    <a:gd name="T108" fmla="*/ 49 w 49"/>
                    <a:gd name="T109" fmla="*/ 56 h 115"/>
                    <a:gd name="T110" fmla="*/ 39 w 49"/>
                    <a:gd name="T111" fmla="*/ 44 h 115"/>
                    <a:gd name="T112" fmla="*/ 33 w 49"/>
                    <a:gd name="T113" fmla="*/ 38 h 115"/>
                    <a:gd name="T114" fmla="*/ 27 w 49"/>
                    <a:gd name="T115" fmla="*/ 33 h 115"/>
                    <a:gd name="T116" fmla="*/ 27 w 49"/>
                    <a:gd name="T117" fmla="*/ 3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 h="115">
                      <a:moveTo>
                        <a:pt x="27" y="33"/>
                      </a:moveTo>
                      <a:lnTo>
                        <a:pt x="27" y="33"/>
                      </a:lnTo>
                      <a:lnTo>
                        <a:pt x="43" y="29"/>
                      </a:lnTo>
                      <a:lnTo>
                        <a:pt x="43" y="29"/>
                      </a:lnTo>
                      <a:lnTo>
                        <a:pt x="41" y="22"/>
                      </a:lnTo>
                      <a:lnTo>
                        <a:pt x="36" y="14"/>
                      </a:lnTo>
                      <a:lnTo>
                        <a:pt x="32" y="6"/>
                      </a:lnTo>
                      <a:lnTo>
                        <a:pt x="27" y="0"/>
                      </a:lnTo>
                      <a:lnTo>
                        <a:pt x="27" y="0"/>
                      </a:lnTo>
                      <a:lnTo>
                        <a:pt x="24" y="2"/>
                      </a:lnTo>
                      <a:lnTo>
                        <a:pt x="21" y="4"/>
                      </a:lnTo>
                      <a:lnTo>
                        <a:pt x="18" y="12"/>
                      </a:lnTo>
                      <a:lnTo>
                        <a:pt x="16" y="22"/>
                      </a:lnTo>
                      <a:lnTo>
                        <a:pt x="16" y="31"/>
                      </a:lnTo>
                      <a:lnTo>
                        <a:pt x="16" y="41"/>
                      </a:lnTo>
                      <a:lnTo>
                        <a:pt x="18" y="50"/>
                      </a:lnTo>
                      <a:lnTo>
                        <a:pt x="20" y="58"/>
                      </a:lnTo>
                      <a:lnTo>
                        <a:pt x="24" y="64"/>
                      </a:lnTo>
                      <a:lnTo>
                        <a:pt x="24" y="64"/>
                      </a:lnTo>
                      <a:lnTo>
                        <a:pt x="14" y="71"/>
                      </a:lnTo>
                      <a:lnTo>
                        <a:pt x="12" y="73"/>
                      </a:lnTo>
                      <a:lnTo>
                        <a:pt x="12" y="76"/>
                      </a:lnTo>
                      <a:lnTo>
                        <a:pt x="12" y="79"/>
                      </a:lnTo>
                      <a:lnTo>
                        <a:pt x="14" y="83"/>
                      </a:lnTo>
                      <a:lnTo>
                        <a:pt x="19" y="93"/>
                      </a:lnTo>
                      <a:lnTo>
                        <a:pt x="19" y="93"/>
                      </a:lnTo>
                      <a:lnTo>
                        <a:pt x="10" y="93"/>
                      </a:lnTo>
                      <a:lnTo>
                        <a:pt x="4" y="94"/>
                      </a:lnTo>
                      <a:lnTo>
                        <a:pt x="1" y="96"/>
                      </a:lnTo>
                      <a:lnTo>
                        <a:pt x="0" y="99"/>
                      </a:lnTo>
                      <a:lnTo>
                        <a:pt x="0" y="102"/>
                      </a:lnTo>
                      <a:lnTo>
                        <a:pt x="2" y="105"/>
                      </a:lnTo>
                      <a:lnTo>
                        <a:pt x="5" y="108"/>
                      </a:lnTo>
                      <a:lnTo>
                        <a:pt x="9" y="110"/>
                      </a:lnTo>
                      <a:lnTo>
                        <a:pt x="13" y="113"/>
                      </a:lnTo>
                      <a:lnTo>
                        <a:pt x="18" y="114"/>
                      </a:lnTo>
                      <a:lnTo>
                        <a:pt x="21" y="115"/>
                      </a:lnTo>
                      <a:lnTo>
                        <a:pt x="25" y="114"/>
                      </a:lnTo>
                      <a:lnTo>
                        <a:pt x="27" y="113"/>
                      </a:lnTo>
                      <a:lnTo>
                        <a:pt x="28" y="109"/>
                      </a:lnTo>
                      <a:lnTo>
                        <a:pt x="27" y="103"/>
                      </a:lnTo>
                      <a:lnTo>
                        <a:pt x="25" y="96"/>
                      </a:lnTo>
                      <a:lnTo>
                        <a:pt x="25" y="96"/>
                      </a:lnTo>
                      <a:lnTo>
                        <a:pt x="29" y="94"/>
                      </a:lnTo>
                      <a:lnTo>
                        <a:pt x="34" y="91"/>
                      </a:lnTo>
                      <a:lnTo>
                        <a:pt x="40" y="87"/>
                      </a:lnTo>
                      <a:lnTo>
                        <a:pt x="44" y="85"/>
                      </a:lnTo>
                      <a:lnTo>
                        <a:pt x="44" y="85"/>
                      </a:lnTo>
                      <a:lnTo>
                        <a:pt x="41" y="80"/>
                      </a:lnTo>
                      <a:lnTo>
                        <a:pt x="38" y="76"/>
                      </a:lnTo>
                      <a:lnTo>
                        <a:pt x="34" y="71"/>
                      </a:lnTo>
                      <a:lnTo>
                        <a:pt x="31" y="67"/>
                      </a:lnTo>
                      <a:lnTo>
                        <a:pt x="31" y="67"/>
                      </a:lnTo>
                      <a:lnTo>
                        <a:pt x="49" y="56"/>
                      </a:lnTo>
                      <a:lnTo>
                        <a:pt x="49" y="56"/>
                      </a:lnTo>
                      <a:lnTo>
                        <a:pt x="39" y="44"/>
                      </a:lnTo>
                      <a:lnTo>
                        <a:pt x="33" y="38"/>
                      </a:lnTo>
                      <a:lnTo>
                        <a:pt x="27" y="33"/>
                      </a:lnTo>
                      <a:lnTo>
                        <a:pt x="27" y="33"/>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32" name="Freeform 371"/>
                <p:cNvSpPr>
                  <a:spLocks/>
                </p:cNvSpPr>
                <p:nvPr/>
              </p:nvSpPr>
              <p:spPr bwMode="auto">
                <a:xfrm>
                  <a:off x="3036888" y="855663"/>
                  <a:ext cx="7938" cy="12700"/>
                </a:xfrm>
                <a:custGeom>
                  <a:avLst/>
                  <a:gdLst>
                    <a:gd name="T0" fmla="*/ 12 w 35"/>
                    <a:gd name="T1" fmla="*/ 8 h 50"/>
                    <a:gd name="T2" fmla="*/ 12 w 35"/>
                    <a:gd name="T3" fmla="*/ 8 h 50"/>
                    <a:gd name="T4" fmla="*/ 5 w 35"/>
                    <a:gd name="T5" fmla="*/ 13 h 50"/>
                    <a:gd name="T6" fmla="*/ 1 w 35"/>
                    <a:gd name="T7" fmla="*/ 18 h 50"/>
                    <a:gd name="T8" fmla="*/ 0 w 35"/>
                    <a:gd name="T9" fmla="*/ 22 h 50"/>
                    <a:gd name="T10" fmla="*/ 1 w 35"/>
                    <a:gd name="T11" fmla="*/ 28 h 50"/>
                    <a:gd name="T12" fmla="*/ 5 w 35"/>
                    <a:gd name="T13" fmla="*/ 34 h 50"/>
                    <a:gd name="T14" fmla="*/ 9 w 35"/>
                    <a:gd name="T15" fmla="*/ 39 h 50"/>
                    <a:gd name="T16" fmla="*/ 15 w 35"/>
                    <a:gd name="T17" fmla="*/ 45 h 50"/>
                    <a:gd name="T18" fmla="*/ 23 w 35"/>
                    <a:gd name="T19" fmla="*/ 50 h 50"/>
                    <a:gd name="T20" fmla="*/ 23 w 35"/>
                    <a:gd name="T21" fmla="*/ 50 h 50"/>
                    <a:gd name="T22" fmla="*/ 28 w 35"/>
                    <a:gd name="T23" fmla="*/ 42 h 50"/>
                    <a:gd name="T24" fmla="*/ 33 w 35"/>
                    <a:gd name="T25" fmla="*/ 31 h 50"/>
                    <a:gd name="T26" fmla="*/ 35 w 35"/>
                    <a:gd name="T27" fmla="*/ 21 h 50"/>
                    <a:gd name="T28" fmla="*/ 35 w 35"/>
                    <a:gd name="T29" fmla="*/ 12 h 50"/>
                    <a:gd name="T30" fmla="*/ 35 w 35"/>
                    <a:gd name="T31" fmla="*/ 7 h 50"/>
                    <a:gd name="T32" fmla="*/ 34 w 35"/>
                    <a:gd name="T33" fmla="*/ 5 h 50"/>
                    <a:gd name="T34" fmla="*/ 31 w 35"/>
                    <a:gd name="T35" fmla="*/ 2 h 50"/>
                    <a:gd name="T36" fmla="*/ 29 w 35"/>
                    <a:gd name="T37" fmla="*/ 0 h 50"/>
                    <a:gd name="T38" fmla="*/ 26 w 35"/>
                    <a:gd name="T39" fmla="*/ 0 h 50"/>
                    <a:gd name="T40" fmla="*/ 22 w 35"/>
                    <a:gd name="T41" fmla="*/ 2 h 50"/>
                    <a:gd name="T42" fmla="*/ 18 w 35"/>
                    <a:gd name="T43" fmla="*/ 4 h 50"/>
                    <a:gd name="T44" fmla="*/ 12 w 35"/>
                    <a:gd name="T45" fmla="*/ 8 h 50"/>
                    <a:gd name="T46" fmla="*/ 12 w 35"/>
                    <a:gd name="T4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50">
                      <a:moveTo>
                        <a:pt x="12" y="8"/>
                      </a:moveTo>
                      <a:lnTo>
                        <a:pt x="12" y="8"/>
                      </a:lnTo>
                      <a:lnTo>
                        <a:pt x="5" y="13"/>
                      </a:lnTo>
                      <a:lnTo>
                        <a:pt x="1" y="18"/>
                      </a:lnTo>
                      <a:lnTo>
                        <a:pt x="0" y="22"/>
                      </a:lnTo>
                      <a:lnTo>
                        <a:pt x="1" y="28"/>
                      </a:lnTo>
                      <a:lnTo>
                        <a:pt x="5" y="34"/>
                      </a:lnTo>
                      <a:lnTo>
                        <a:pt x="9" y="39"/>
                      </a:lnTo>
                      <a:lnTo>
                        <a:pt x="15" y="45"/>
                      </a:lnTo>
                      <a:lnTo>
                        <a:pt x="23" y="50"/>
                      </a:lnTo>
                      <a:lnTo>
                        <a:pt x="23" y="50"/>
                      </a:lnTo>
                      <a:lnTo>
                        <a:pt x="28" y="42"/>
                      </a:lnTo>
                      <a:lnTo>
                        <a:pt x="33" y="31"/>
                      </a:lnTo>
                      <a:lnTo>
                        <a:pt x="35" y="21"/>
                      </a:lnTo>
                      <a:lnTo>
                        <a:pt x="35" y="12"/>
                      </a:lnTo>
                      <a:lnTo>
                        <a:pt x="35" y="7"/>
                      </a:lnTo>
                      <a:lnTo>
                        <a:pt x="34" y="5"/>
                      </a:lnTo>
                      <a:lnTo>
                        <a:pt x="31" y="2"/>
                      </a:lnTo>
                      <a:lnTo>
                        <a:pt x="29" y="0"/>
                      </a:lnTo>
                      <a:lnTo>
                        <a:pt x="26" y="0"/>
                      </a:lnTo>
                      <a:lnTo>
                        <a:pt x="22" y="2"/>
                      </a:lnTo>
                      <a:lnTo>
                        <a:pt x="18" y="4"/>
                      </a:lnTo>
                      <a:lnTo>
                        <a:pt x="12" y="8"/>
                      </a:lnTo>
                      <a:lnTo>
                        <a:pt x="12" y="8"/>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33" name="Freeform 372"/>
                <p:cNvSpPr>
                  <a:spLocks/>
                </p:cNvSpPr>
                <p:nvPr/>
              </p:nvSpPr>
              <p:spPr bwMode="auto">
                <a:xfrm>
                  <a:off x="3011488" y="812800"/>
                  <a:ext cx="12700" cy="7938"/>
                </a:xfrm>
                <a:custGeom>
                  <a:avLst/>
                  <a:gdLst>
                    <a:gd name="T0" fmla="*/ 0 w 53"/>
                    <a:gd name="T1" fmla="*/ 13 h 35"/>
                    <a:gd name="T2" fmla="*/ 0 w 53"/>
                    <a:gd name="T3" fmla="*/ 13 h 35"/>
                    <a:gd name="T4" fmla="*/ 13 w 53"/>
                    <a:gd name="T5" fmla="*/ 29 h 35"/>
                    <a:gd name="T6" fmla="*/ 13 w 53"/>
                    <a:gd name="T7" fmla="*/ 29 h 35"/>
                    <a:gd name="T8" fmla="*/ 23 w 53"/>
                    <a:gd name="T9" fmla="*/ 31 h 35"/>
                    <a:gd name="T10" fmla="*/ 32 w 53"/>
                    <a:gd name="T11" fmla="*/ 32 h 35"/>
                    <a:gd name="T12" fmla="*/ 50 w 53"/>
                    <a:gd name="T13" fmla="*/ 35 h 35"/>
                    <a:gd name="T14" fmla="*/ 50 w 53"/>
                    <a:gd name="T15" fmla="*/ 35 h 35"/>
                    <a:gd name="T16" fmla="*/ 51 w 53"/>
                    <a:gd name="T17" fmla="*/ 28 h 35"/>
                    <a:gd name="T18" fmla="*/ 53 w 53"/>
                    <a:gd name="T19" fmla="*/ 22 h 35"/>
                    <a:gd name="T20" fmla="*/ 51 w 53"/>
                    <a:gd name="T21" fmla="*/ 18 h 35"/>
                    <a:gd name="T22" fmla="*/ 50 w 53"/>
                    <a:gd name="T23" fmla="*/ 13 h 35"/>
                    <a:gd name="T24" fmla="*/ 48 w 53"/>
                    <a:gd name="T25" fmla="*/ 8 h 35"/>
                    <a:gd name="T26" fmla="*/ 46 w 53"/>
                    <a:gd name="T27" fmla="*/ 6 h 35"/>
                    <a:gd name="T28" fmla="*/ 42 w 53"/>
                    <a:gd name="T29" fmla="*/ 4 h 35"/>
                    <a:gd name="T30" fmla="*/ 38 w 53"/>
                    <a:gd name="T31" fmla="*/ 1 h 35"/>
                    <a:gd name="T32" fmla="*/ 33 w 53"/>
                    <a:gd name="T33" fmla="*/ 0 h 35"/>
                    <a:gd name="T34" fmla="*/ 28 w 53"/>
                    <a:gd name="T35" fmla="*/ 0 h 35"/>
                    <a:gd name="T36" fmla="*/ 24 w 53"/>
                    <a:gd name="T37" fmla="*/ 0 h 35"/>
                    <a:gd name="T38" fmla="*/ 19 w 53"/>
                    <a:gd name="T39" fmla="*/ 1 h 35"/>
                    <a:gd name="T40" fmla="*/ 13 w 53"/>
                    <a:gd name="T41" fmla="*/ 4 h 35"/>
                    <a:gd name="T42" fmla="*/ 9 w 53"/>
                    <a:gd name="T43" fmla="*/ 6 h 35"/>
                    <a:gd name="T44" fmla="*/ 4 w 53"/>
                    <a:gd name="T45" fmla="*/ 9 h 35"/>
                    <a:gd name="T46" fmla="*/ 0 w 53"/>
                    <a:gd name="T47" fmla="*/ 13 h 35"/>
                    <a:gd name="T48" fmla="*/ 0 w 53"/>
                    <a:gd name="T49"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35">
                      <a:moveTo>
                        <a:pt x="0" y="13"/>
                      </a:moveTo>
                      <a:lnTo>
                        <a:pt x="0" y="13"/>
                      </a:lnTo>
                      <a:lnTo>
                        <a:pt x="13" y="29"/>
                      </a:lnTo>
                      <a:lnTo>
                        <a:pt x="13" y="29"/>
                      </a:lnTo>
                      <a:lnTo>
                        <a:pt x="23" y="31"/>
                      </a:lnTo>
                      <a:lnTo>
                        <a:pt x="32" y="32"/>
                      </a:lnTo>
                      <a:lnTo>
                        <a:pt x="50" y="35"/>
                      </a:lnTo>
                      <a:lnTo>
                        <a:pt x="50" y="35"/>
                      </a:lnTo>
                      <a:lnTo>
                        <a:pt x="51" y="28"/>
                      </a:lnTo>
                      <a:lnTo>
                        <a:pt x="53" y="22"/>
                      </a:lnTo>
                      <a:lnTo>
                        <a:pt x="51" y="18"/>
                      </a:lnTo>
                      <a:lnTo>
                        <a:pt x="50" y="13"/>
                      </a:lnTo>
                      <a:lnTo>
                        <a:pt x="48" y="8"/>
                      </a:lnTo>
                      <a:lnTo>
                        <a:pt x="46" y="6"/>
                      </a:lnTo>
                      <a:lnTo>
                        <a:pt x="42" y="4"/>
                      </a:lnTo>
                      <a:lnTo>
                        <a:pt x="38" y="1"/>
                      </a:lnTo>
                      <a:lnTo>
                        <a:pt x="33" y="0"/>
                      </a:lnTo>
                      <a:lnTo>
                        <a:pt x="28" y="0"/>
                      </a:lnTo>
                      <a:lnTo>
                        <a:pt x="24" y="0"/>
                      </a:lnTo>
                      <a:lnTo>
                        <a:pt x="19" y="1"/>
                      </a:lnTo>
                      <a:lnTo>
                        <a:pt x="13" y="4"/>
                      </a:lnTo>
                      <a:lnTo>
                        <a:pt x="9" y="6"/>
                      </a:lnTo>
                      <a:lnTo>
                        <a:pt x="4" y="9"/>
                      </a:lnTo>
                      <a:lnTo>
                        <a:pt x="0" y="13"/>
                      </a:lnTo>
                      <a:lnTo>
                        <a:pt x="0" y="13"/>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34" name="Freeform 373"/>
                <p:cNvSpPr>
                  <a:spLocks/>
                </p:cNvSpPr>
                <p:nvPr/>
              </p:nvSpPr>
              <p:spPr bwMode="auto">
                <a:xfrm>
                  <a:off x="2978150" y="804863"/>
                  <a:ext cx="30163" cy="17463"/>
                </a:xfrm>
                <a:custGeom>
                  <a:avLst/>
                  <a:gdLst>
                    <a:gd name="T0" fmla="*/ 69 w 135"/>
                    <a:gd name="T1" fmla="*/ 80 h 80"/>
                    <a:gd name="T2" fmla="*/ 69 w 135"/>
                    <a:gd name="T3" fmla="*/ 80 h 80"/>
                    <a:gd name="T4" fmla="*/ 75 w 135"/>
                    <a:gd name="T5" fmla="*/ 72 h 80"/>
                    <a:gd name="T6" fmla="*/ 82 w 135"/>
                    <a:gd name="T7" fmla="*/ 66 h 80"/>
                    <a:gd name="T8" fmla="*/ 90 w 135"/>
                    <a:gd name="T9" fmla="*/ 63 h 80"/>
                    <a:gd name="T10" fmla="*/ 98 w 135"/>
                    <a:gd name="T11" fmla="*/ 59 h 80"/>
                    <a:gd name="T12" fmla="*/ 106 w 135"/>
                    <a:gd name="T13" fmla="*/ 59 h 80"/>
                    <a:gd name="T14" fmla="*/ 115 w 135"/>
                    <a:gd name="T15" fmla="*/ 59 h 80"/>
                    <a:gd name="T16" fmla="*/ 125 w 135"/>
                    <a:gd name="T17" fmla="*/ 60 h 80"/>
                    <a:gd name="T18" fmla="*/ 133 w 135"/>
                    <a:gd name="T19" fmla="*/ 64 h 80"/>
                    <a:gd name="T20" fmla="*/ 133 w 135"/>
                    <a:gd name="T21" fmla="*/ 64 h 80"/>
                    <a:gd name="T22" fmla="*/ 135 w 135"/>
                    <a:gd name="T23" fmla="*/ 59 h 80"/>
                    <a:gd name="T24" fmla="*/ 135 w 135"/>
                    <a:gd name="T25" fmla="*/ 56 h 80"/>
                    <a:gd name="T26" fmla="*/ 135 w 135"/>
                    <a:gd name="T27" fmla="*/ 48 h 80"/>
                    <a:gd name="T28" fmla="*/ 131 w 135"/>
                    <a:gd name="T29" fmla="*/ 41 h 80"/>
                    <a:gd name="T30" fmla="*/ 127 w 135"/>
                    <a:gd name="T31" fmla="*/ 33 h 80"/>
                    <a:gd name="T32" fmla="*/ 120 w 135"/>
                    <a:gd name="T33" fmla="*/ 26 h 80"/>
                    <a:gd name="T34" fmla="*/ 111 w 135"/>
                    <a:gd name="T35" fmla="*/ 19 h 80"/>
                    <a:gd name="T36" fmla="*/ 102 w 135"/>
                    <a:gd name="T37" fmla="*/ 13 h 80"/>
                    <a:gd name="T38" fmla="*/ 91 w 135"/>
                    <a:gd name="T39" fmla="*/ 8 h 80"/>
                    <a:gd name="T40" fmla="*/ 80 w 135"/>
                    <a:gd name="T41" fmla="*/ 5 h 80"/>
                    <a:gd name="T42" fmla="*/ 68 w 135"/>
                    <a:gd name="T43" fmla="*/ 2 h 80"/>
                    <a:gd name="T44" fmla="*/ 57 w 135"/>
                    <a:gd name="T45" fmla="*/ 0 h 80"/>
                    <a:gd name="T46" fmla="*/ 46 w 135"/>
                    <a:gd name="T47" fmla="*/ 0 h 80"/>
                    <a:gd name="T48" fmla="*/ 36 w 135"/>
                    <a:gd name="T49" fmla="*/ 3 h 80"/>
                    <a:gd name="T50" fmla="*/ 27 w 135"/>
                    <a:gd name="T51" fmla="*/ 6 h 80"/>
                    <a:gd name="T52" fmla="*/ 19 w 135"/>
                    <a:gd name="T53" fmla="*/ 11 h 80"/>
                    <a:gd name="T54" fmla="*/ 15 w 135"/>
                    <a:gd name="T55" fmla="*/ 14 h 80"/>
                    <a:gd name="T56" fmla="*/ 13 w 135"/>
                    <a:gd name="T57" fmla="*/ 19 h 80"/>
                    <a:gd name="T58" fmla="*/ 13 w 135"/>
                    <a:gd name="T59" fmla="*/ 19 h 80"/>
                    <a:gd name="T60" fmla="*/ 18 w 135"/>
                    <a:gd name="T61" fmla="*/ 21 h 80"/>
                    <a:gd name="T62" fmla="*/ 21 w 135"/>
                    <a:gd name="T63" fmla="*/ 23 h 80"/>
                    <a:gd name="T64" fmla="*/ 26 w 135"/>
                    <a:gd name="T65" fmla="*/ 28 h 80"/>
                    <a:gd name="T66" fmla="*/ 30 w 135"/>
                    <a:gd name="T67" fmla="*/ 34 h 80"/>
                    <a:gd name="T68" fmla="*/ 34 w 135"/>
                    <a:gd name="T69" fmla="*/ 37 h 80"/>
                    <a:gd name="T70" fmla="*/ 34 w 135"/>
                    <a:gd name="T71" fmla="*/ 37 h 80"/>
                    <a:gd name="T72" fmla="*/ 29 w 135"/>
                    <a:gd name="T73" fmla="*/ 36 h 80"/>
                    <a:gd name="T74" fmla="*/ 26 w 135"/>
                    <a:gd name="T75" fmla="*/ 37 h 80"/>
                    <a:gd name="T76" fmla="*/ 16 w 135"/>
                    <a:gd name="T77" fmla="*/ 38 h 80"/>
                    <a:gd name="T78" fmla="*/ 8 w 135"/>
                    <a:gd name="T79" fmla="*/ 40 h 80"/>
                    <a:gd name="T80" fmla="*/ 4 w 135"/>
                    <a:gd name="T81" fmla="*/ 41 h 80"/>
                    <a:gd name="T82" fmla="*/ 0 w 135"/>
                    <a:gd name="T83" fmla="*/ 40 h 80"/>
                    <a:gd name="T84" fmla="*/ 0 w 135"/>
                    <a:gd name="T85" fmla="*/ 40 h 80"/>
                    <a:gd name="T86" fmla="*/ 1 w 135"/>
                    <a:gd name="T87" fmla="*/ 52 h 80"/>
                    <a:gd name="T88" fmla="*/ 3 w 135"/>
                    <a:gd name="T89" fmla="*/ 58 h 80"/>
                    <a:gd name="T90" fmla="*/ 5 w 135"/>
                    <a:gd name="T91" fmla="*/ 64 h 80"/>
                    <a:gd name="T92" fmla="*/ 5 w 135"/>
                    <a:gd name="T93" fmla="*/ 64 h 80"/>
                    <a:gd name="T94" fmla="*/ 8 w 135"/>
                    <a:gd name="T95" fmla="*/ 65 h 80"/>
                    <a:gd name="T96" fmla="*/ 12 w 135"/>
                    <a:gd name="T97" fmla="*/ 66 h 80"/>
                    <a:gd name="T98" fmla="*/ 21 w 135"/>
                    <a:gd name="T99" fmla="*/ 66 h 80"/>
                    <a:gd name="T100" fmla="*/ 39 w 135"/>
                    <a:gd name="T101" fmla="*/ 63 h 80"/>
                    <a:gd name="T102" fmla="*/ 49 w 135"/>
                    <a:gd name="T103" fmla="*/ 63 h 80"/>
                    <a:gd name="T104" fmla="*/ 53 w 135"/>
                    <a:gd name="T105" fmla="*/ 64 h 80"/>
                    <a:gd name="T106" fmla="*/ 58 w 135"/>
                    <a:gd name="T107" fmla="*/ 65 h 80"/>
                    <a:gd name="T108" fmla="*/ 61 w 135"/>
                    <a:gd name="T109" fmla="*/ 67 h 80"/>
                    <a:gd name="T110" fmla="*/ 65 w 135"/>
                    <a:gd name="T111" fmla="*/ 69 h 80"/>
                    <a:gd name="T112" fmla="*/ 67 w 135"/>
                    <a:gd name="T113" fmla="*/ 74 h 80"/>
                    <a:gd name="T114" fmla="*/ 69 w 135"/>
                    <a:gd name="T115" fmla="*/ 80 h 80"/>
                    <a:gd name="T116" fmla="*/ 69 w 135"/>
                    <a:gd name="T1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5" h="80">
                      <a:moveTo>
                        <a:pt x="69" y="80"/>
                      </a:moveTo>
                      <a:lnTo>
                        <a:pt x="69" y="80"/>
                      </a:lnTo>
                      <a:lnTo>
                        <a:pt x="75" y="72"/>
                      </a:lnTo>
                      <a:lnTo>
                        <a:pt x="82" y="66"/>
                      </a:lnTo>
                      <a:lnTo>
                        <a:pt x="90" y="63"/>
                      </a:lnTo>
                      <a:lnTo>
                        <a:pt x="98" y="59"/>
                      </a:lnTo>
                      <a:lnTo>
                        <a:pt x="106" y="59"/>
                      </a:lnTo>
                      <a:lnTo>
                        <a:pt x="115" y="59"/>
                      </a:lnTo>
                      <a:lnTo>
                        <a:pt x="125" y="60"/>
                      </a:lnTo>
                      <a:lnTo>
                        <a:pt x="133" y="64"/>
                      </a:lnTo>
                      <a:lnTo>
                        <a:pt x="133" y="64"/>
                      </a:lnTo>
                      <a:lnTo>
                        <a:pt x="135" y="59"/>
                      </a:lnTo>
                      <a:lnTo>
                        <a:pt x="135" y="56"/>
                      </a:lnTo>
                      <a:lnTo>
                        <a:pt x="135" y="48"/>
                      </a:lnTo>
                      <a:lnTo>
                        <a:pt x="131" y="41"/>
                      </a:lnTo>
                      <a:lnTo>
                        <a:pt x="127" y="33"/>
                      </a:lnTo>
                      <a:lnTo>
                        <a:pt x="120" y="26"/>
                      </a:lnTo>
                      <a:lnTo>
                        <a:pt x="111" y="19"/>
                      </a:lnTo>
                      <a:lnTo>
                        <a:pt x="102" y="13"/>
                      </a:lnTo>
                      <a:lnTo>
                        <a:pt x="91" y="8"/>
                      </a:lnTo>
                      <a:lnTo>
                        <a:pt x="80" y="5"/>
                      </a:lnTo>
                      <a:lnTo>
                        <a:pt x="68" y="2"/>
                      </a:lnTo>
                      <a:lnTo>
                        <a:pt x="57" y="0"/>
                      </a:lnTo>
                      <a:lnTo>
                        <a:pt x="46" y="0"/>
                      </a:lnTo>
                      <a:lnTo>
                        <a:pt x="36" y="3"/>
                      </a:lnTo>
                      <a:lnTo>
                        <a:pt x="27" y="6"/>
                      </a:lnTo>
                      <a:lnTo>
                        <a:pt x="19" y="11"/>
                      </a:lnTo>
                      <a:lnTo>
                        <a:pt x="15" y="14"/>
                      </a:lnTo>
                      <a:lnTo>
                        <a:pt x="13" y="19"/>
                      </a:lnTo>
                      <a:lnTo>
                        <a:pt x="13" y="19"/>
                      </a:lnTo>
                      <a:lnTo>
                        <a:pt x="18" y="21"/>
                      </a:lnTo>
                      <a:lnTo>
                        <a:pt x="21" y="23"/>
                      </a:lnTo>
                      <a:lnTo>
                        <a:pt x="26" y="28"/>
                      </a:lnTo>
                      <a:lnTo>
                        <a:pt x="30" y="34"/>
                      </a:lnTo>
                      <a:lnTo>
                        <a:pt x="34" y="37"/>
                      </a:lnTo>
                      <a:lnTo>
                        <a:pt x="34" y="37"/>
                      </a:lnTo>
                      <a:lnTo>
                        <a:pt x="29" y="36"/>
                      </a:lnTo>
                      <a:lnTo>
                        <a:pt x="26" y="37"/>
                      </a:lnTo>
                      <a:lnTo>
                        <a:pt x="16" y="38"/>
                      </a:lnTo>
                      <a:lnTo>
                        <a:pt x="8" y="40"/>
                      </a:lnTo>
                      <a:lnTo>
                        <a:pt x="4" y="41"/>
                      </a:lnTo>
                      <a:lnTo>
                        <a:pt x="0" y="40"/>
                      </a:lnTo>
                      <a:lnTo>
                        <a:pt x="0" y="40"/>
                      </a:lnTo>
                      <a:lnTo>
                        <a:pt x="1" y="52"/>
                      </a:lnTo>
                      <a:lnTo>
                        <a:pt x="3" y="58"/>
                      </a:lnTo>
                      <a:lnTo>
                        <a:pt x="5" y="64"/>
                      </a:lnTo>
                      <a:lnTo>
                        <a:pt x="5" y="64"/>
                      </a:lnTo>
                      <a:lnTo>
                        <a:pt x="8" y="65"/>
                      </a:lnTo>
                      <a:lnTo>
                        <a:pt x="12" y="66"/>
                      </a:lnTo>
                      <a:lnTo>
                        <a:pt x="21" y="66"/>
                      </a:lnTo>
                      <a:lnTo>
                        <a:pt x="39" y="63"/>
                      </a:lnTo>
                      <a:lnTo>
                        <a:pt x="49" y="63"/>
                      </a:lnTo>
                      <a:lnTo>
                        <a:pt x="53" y="64"/>
                      </a:lnTo>
                      <a:lnTo>
                        <a:pt x="58" y="65"/>
                      </a:lnTo>
                      <a:lnTo>
                        <a:pt x="61" y="67"/>
                      </a:lnTo>
                      <a:lnTo>
                        <a:pt x="65" y="69"/>
                      </a:lnTo>
                      <a:lnTo>
                        <a:pt x="67" y="74"/>
                      </a:lnTo>
                      <a:lnTo>
                        <a:pt x="69" y="80"/>
                      </a:lnTo>
                      <a:lnTo>
                        <a:pt x="69" y="80"/>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35" name="Freeform 374"/>
                <p:cNvSpPr>
                  <a:spLocks/>
                </p:cNvSpPr>
                <p:nvPr/>
              </p:nvSpPr>
              <p:spPr bwMode="auto">
                <a:xfrm>
                  <a:off x="3076575" y="1217613"/>
                  <a:ext cx="14288" cy="9525"/>
                </a:xfrm>
                <a:custGeom>
                  <a:avLst/>
                  <a:gdLst>
                    <a:gd name="T0" fmla="*/ 28 w 61"/>
                    <a:gd name="T1" fmla="*/ 0 h 43"/>
                    <a:gd name="T2" fmla="*/ 28 w 61"/>
                    <a:gd name="T3" fmla="*/ 0 h 43"/>
                    <a:gd name="T4" fmla="*/ 21 w 61"/>
                    <a:gd name="T5" fmla="*/ 4 h 43"/>
                    <a:gd name="T6" fmla="*/ 14 w 61"/>
                    <a:gd name="T7" fmla="*/ 9 h 43"/>
                    <a:gd name="T8" fmla="*/ 0 w 61"/>
                    <a:gd name="T9" fmla="*/ 19 h 43"/>
                    <a:gd name="T10" fmla="*/ 0 w 61"/>
                    <a:gd name="T11" fmla="*/ 19 h 43"/>
                    <a:gd name="T12" fmla="*/ 5 w 61"/>
                    <a:gd name="T13" fmla="*/ 25 h 43"/>
                    <a:gd name="T14" fmla="*/ 10 w 61"/>
                    <a:gd name="T15" fmla="*/ 32 h 43"/>
                    <a:gd name="T16" fmla="*/ 17 w 61"/>
                    <a:gd name="T17" fmla="*/ 38 h 43"/>
                    <a:gd name="T18" fmla="*/ 23 w 61"/>
                    <a:gd name="T19" fmla="*/ 43 h 43"/>
                    <a:gd name="T20" fmla="*/ 23 w 61"/>
                    <a:gd name="T21" fmla="*/ 43 h 43"/>
                    <a:gd name="T22" fmla="*/ 61 w 61"/>
                    <a:gd name="T23" fmla="*/ 4 h 43"/>
                    <a:gd name="T24" fmla="*/ 61 w 61"/>
                    <a:gd name="T25" fmla="*/ 4 h 43"/>
                    <a:gd name="T26" fmla="*/ 44 w 61"/>
                    <a:gd name="T27" fmla="*/ 2 h 43"/>
                    <a:gd name="T28" fmla="*/ 36 w 61"/>
                    <a:gd name="T29" fmla="*/ 0 h 43"/>
                    <a:gd name="T30" fmla="*/ 28 w 61"/>
                    <a:gd name="T31" fmla="*/ 0 h 43"/>
                    <a:gd name="T32" fmla="*/ 28 w 61"/>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1" h="43">
                      <a:moveTo>
                        <a:pt x="28" y="0"/>
                      </a:moveTo>
                      <a:lnTo>
                        <a:pt x="28" y="0"/>
                      </a:lnTo>
                      <a:lnTo>
                        <a:pt x="21" y="4"/>
                      </a:lnTo>
                      <a:lnTo>
                        <a:pt x="14" y="9"/>
                      </a:lnTo>
                      <a:lnTo>
                        <a:pt x="0" y="19"/>
                      </a:lnTo>
                      <a:lnTo>
                        <a:pt x="0" y="19"/>
                      </a:lnTo>
                      <a:lnTo>
                        <a:pt x="5" y="25"/>
                      </a:lnTo>
                      <a:lnTo>
                        <a:pt x="10" y="32"/>
                      </a:lnTo>
                      <a:lnTo>
                        <a:pt x="17" y="38"/>
                      </a:lnTo>
                      <a:lnTo>
                        <a:pt x="23" y="43"/>
                      </a:lnTo>
                      <a:lnTo>
                        <a:pt x="23" y="43"/>
                      </a:lnTo>
                      <a:lnTo>
                        <a:pt x="61" y="4"/>
                      </a:lnTo>
                      <a:lnTo>
                        <a:pt x="61" y="4"/>
                      </a:lnTo>
                      <a:lnTo>
                        <a:pt x="44" y="2"/>
                      </a:lnTo>
                      <a:lnTo>
                        <a:pt x="36" y="0"/>
                      </a:lnTo>
                      <a:lnTo>
                        <a:pt x="28" y="0"/>
                      </a:lnTo>
                      <a:lnTo>
                        <a:pt x="28" y="0"/>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36" name="Freeform 375"/>
                <p:cNvSpPr>
                  <a:spLocks/>
                </p:cNvSpPr>
                <p:nvPr/>
              </p:nvSpPr>
              <p:spPr bwMode="auto">
                <a:xfrm>
                  <a:off x="3086100" y="1214438"/>
                  <a:ext cx="12700" cy="14288"/>
                </a:xfrm>
                <a:custGeom>
                  <a:avLst/>
                  <a:gdLst>
                    <a:gd name="T0" fmla="*/ 20 w 61"/>
                    <a:gd name="T1" fmla="*/ 28 h 61"/>
                    <a:gd name="T2" fmla="*/ 20 w 61"/>
                    <a:gd name="T3" fmla="*/ 28 h 61"/>
                    <a:gd name="T4" fmla="*/ 14 w 61"/>
                    <a:gd name="T5" fmla="*/ 30 h 61"/>
                    <a:gd name="T6" fmla="*/ 9 w 61"/>
                    <a:gd name="T7" fmla="*/ 33 h 61"/>
                    <a:gd name="T8" fmla="*/ 6 w 61"/>
                    <a:gd name="T9" fmla="*/ 37 h 61"/>
                    <a:gd name="T10" fmla="*/ 4 w 61"/>
                    <a:gd name="T11" fmla="*/ 41 h 61"/>
                    <a:gd name="T12" fmla="*/ 1 w 61"/>
                    <a:gd name="T13" fmla="*/ 45 h 61"/>
                    <a:gd name="T14" fmla="*/ 0 w 61"/>
                    <a:gd name="T15" fmla="*/ 51 h 61"/>
                    <a:gd name="T16" fmla="*/ 0 w 61"/>
                    <a:gd name="T17" fmla="*/ 55 h 61"/>
                    <a:gd name="T18" fmla="*/ 1 w 61"/>
                    <a:gd name="T19" fmla="*/ 61 h 61"/>
                    <a:gd name="T20" fmla="*/ 1 w 61"/>
                    <a:gd name="T21" fmla="*/ 61 h 61"/>
                    <a:gd name="T22" fmla="*/ 20 w 61"/>
                    <a:gd name="T23" fmla="*/ 54 h 61"/>
                    <a:gd name="T24" fmla="*/ 36 w 61"/>
                    <a:gd name="T25" fmla="*/ 47 h 61"/>
                    <a:gd name="T26" fmla="*/ 43 w 61"/>
                    <a:gd name="T27" fmla="*/ 43 h 61"/>
                    <a:gd name="T28" fmla="*/ 50 w 61"/>
                    <a:gd name="T29" fmla="*/ 37 h 61"/>
                    <a:gd name="T30" fmla="*/ 56 w 61"/>
                    <a:gd name="T31" fmla="*/ 31 h 61"/>
                    <a:gd name="T32" fmla="*/ 61 w 61"/>
                    <a:gd name="T33" fmla="*/ 22 h 61"/>
                    <a:gd name="T34" fmla="*/ 61 w 61"/>
                    <a:gd name="T35" fmla="*/ 22 h 61"/>
                    <a:gd name="T36" fmla="*/ 54 w 61"/>
                    <a:gd name="T37" fmla="*/ 16 h 61"/>
                    <a:gd name="T38" fmla="*/ 45 w 61"/>
                    <a:gd name="T39" fmla="*/ 9 h 61"/>
                    <a:gd name="T40" fmla="*/ 36 w 61"/>
                    <a:gd name="T41" fmla="*/ 5 h 61"/>
                    <a:gd name="T42" fmla="*/ 28 w 61"/>
                    <a:gd name="T43" fmla="*/ 0 h 61"/>
                    <a:gd name="T44" fmla="*/ 28 w 61"/>
                    <a:gd name="T45" fmla="*/ 0 h 61"/>
                    <a:gd name="T46" fmla="*/ 23 w 61"/>
                    <a:gd name="T47" fmla="*/ 14 h 61"/>
                    <a:gd name="T48" fmla="*/ 21 w 61"/>
                    <a:gd name="T49" fmla="*/ 21 h 61"/>
                    <a:gd name="T50" fmla="*/ 20 w 61"/>
                    <a:gd name="T51" fmla="*/ 28 h 61"/>
                    <a:gd name="T52" fmla="*/ 20 w 61"/>
                    <a:gd name="T53" fmla="*/ 2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61">
                      <a:moveTo>
                        <a:pt x="20" y="28"/>
                      </a:moveTo>
                      <a:lnTo>
                        <a:pt x="20" y="28"/>
                      </a:lnTo>
                      <a:lnTo>
                        <a:pt x="14" y="30"/>
                      </a:lnTo>
                      <a:lnTo>
                        <a:pt x="9" y="33"/>
                      </a:lnTo>
                      <a:lnTo>
                        <a:pt x="6" y="37"/>
                      </a:lnTo>
                      <a:lnTo>
                        <a:pt x="4" y="41"/>
                      </a:lnTo>
                      <a:lnTo>
                        <a:pt x="1" y="45"/>
                      </a:lnTo>
                      <a:lnTo>
                        <a:pt x="0" y="51"/>
                      </a:lnTo>
                      <a:lnTo>
                        <a:pt x="0" y="55"/>
                      </a:lnTo>
                      <a:lnTo>
                        <a:pt x="1" y="61"/>
                      </a:lnTo>
                      <a:lnTo>
                        <a:pt x="1" y="61"/>
                      </a:lnTo>
                      <a:lnTo>
                        <a:pt x="20" y="54"/>
                      </a:lnTo>
                      <a:lnTo>
                        <a:pt x="36" y="47"/>
                      </a:lnTo>
                      <a:lnTo>
                        <a:pt x="43" y="43"/>
                      </a:lnTo>
                      <a:lnTo>
                        <a:pt x="50" y="37"/>
                      </a:lnTo>
                      <a:lnTo>
                        <a:pt x="56" y="31"/>
                      </a:lnTo>
                      <a:lnTo>
                        <a:pt x="61" y="22"/>
                      </a:lnTo>
                      <a:lnTo>
                        <a:pt x="61" y="22"/>
                      </a:lnTo>
                      <a:lnTo>
                        <a:pt x="54" y="16"/>
                      </a:lnTo>
                      <a:lnTo>
                        <a:pt x="45" y="9"/>
                      </a:lnTo>
                      <a:lnTo>
                        <a:pt x="36" y="5"/>
                      </a:lnTo>
                      <a:lnTo>
                        <a:pt x="28" y="0"/>
                      </a:lnTo>
                      <a:lnTo>
                        <a:pt x="28" y="0"/>
                      </a:lnTo>
                      <a:lnTo>
                        <a:pt x="23" y="14"/>
                      </a:lnTo>
                      <a:lnTo>
                        <a:pt x="21" y="21"/>
                      </a:lnTo>
                      <a:lnTo>
                        <a:pt x="20" y="28"/>
                      </a:lnTo>
                      <a:lnTo>
                        <a:pt x="20" y="28"/>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37" name="Freeform 376"/>
                <p:cNvSpPr>
                  <a:spLocks/>
                </p:cNvSpPr>
                <p:nvPr/>
              </p:nvSpPr>
              <p:spPr bwMode="auto">
                <a:xfrm>
                  <a:off x="2930525" y="784225"/>
                  <a:ext cx="52388" cy="25400"/>
                </a:xfrm>
                <a:custGeom>
                  <a:avLst/>
                  <a:gdLst>
                    <a:gd name="T0" fmla="*/ 229 w 229"/>
                    <a:gd name="T1" fmla="*/ 78 h 109"/>
                    <a:gd name="T2" fmla="*/ 229 w 229"/>
                    <a:gd name="T3" fmla="*/ 78 h 109"/>
                    <a:gd name="T4" fmla="*/ 196 w 229"/>
                    <a:gd name="T5" fmla="*/ 61 h 109"/>
                    <a:gd name="T6" fmla="*/ 164 w 229"/>
                    <a:gd name="T7" fmla="*/ 44 h 109"/>
                    <a:gd name="T8" fmla="*/ 102 w 229"/>
                    <a:gd name="T9" fmla="*/ 6 h 109"/>
                    <a:gd name="T10" fmla="*/ 102 w 229"/>
                    <a:gd name="T11" fmla="*/ 6 h 109"/>
                    <a:gd name="T12" fmla="*/ 96 w 229"/>
                    <a:gd name="T13" fmla="*/ 3 h 109"/>
                    <a:gd name="T14" fmla="*/ 89 w 229"/>
                    <a:gd name="T15" fmla="*/ 1 h 109"/>
                    <a:gd name="T16" fmla="*/ 81 w 229"/>
                    <a:gd name="T17" fmla="*/ 1 h 109"/>
                    <a:gd name="T18" fmla="*/ 74 w 229"/>
                    <a:gd name="T19" fmla="*/ 0 h 109"/>
                    <a:gd name="T20" fmla="*/ 59 w 229"/>
                    <a:gd name="T21" fmla="*/ 2 h 109"/>
                    <a:gd name="T22" fmla="*/ 46 w 229"/>
                    <a:gd name="T23" fmla="*/ 6 h 109"/>
                    <a:gd name="T24" fmla="*/ 46 w 229"/>
                    <a:gd name="T25" fmla="*/ 6 h 109"/>
                    <a:gd name="T26" fmla="*/ 34 w 229"/>
                    <a:gd name="T27" fmla="*/ 11 h 109"/>
                    <a:gd name="T28" fmla="*/ 13 w 229"/>
                    <a:gd name="T29" fmla="*/ 23 h 109"/>
                    <a:gd name="T30" fmla="*/ 5 w 229"/>
                    <a:gd name="T31" fmla="*/ 29 h 109"/>
                    <a:gd name="T32" fmla="*/ 0 w 229"/>
                    <a:gd name="T33" fmla="*/ 34 h 109"/>
                    <a:gd name="T34" fmla="*/ 0 w 229"/>
                    <a:gd name="T35" fmla="*/ 37 h 109"/>
                    <a:gd name="T36" fmla="*/ 1 w 229"/>
                    <a:gd name="T37" fmla="*/ 38 h 109"/>
                    <a:gd name="T38" fmla="*/ 3 w 229"/>
                    <a:gd name="T39" fmla="*/ 39 h 109"/>
                    <a:gd name="T40" fmla="*/ 8 w 229"/>
                    <a:gd name="T41" fmla="*/ 40 h 109"/>
                    <a:gd name="T42" fmla="*/ 8 w 229"/>
                    <a:gd name="T43" fmla="*/ 40 h 109"/>
                    <a:gd name="T44" fmla="*/ 25 w 229"/>
                    <a:gd name="T45" fmla="*/ 39 h 109"/>
                    <a:gd name="T46" fmla="*/ 41 w 229"/>
                    <a:gd name="T47" fmla="*/ 38 h 109"/>
                    <a:gd name="T48" fmla="*/ 56 w 229"/>
                    <a:gd name="T49" fmla="*/ 38 h 109"/>
                    <a:gd name="T50" fmla="*/ 71 w 229"/>
                    <a:gd name="T51" fmla="*/ 37 h 109"/>
                    <a:gd name="T52" fmla="*/ 86 w 229"/>
                    <a:gd name="T53" fmla="*/ 39 h 109"/>
                    <a:gd name="T54" fmla="*/ 93 w 229"/>
                    <a:gd name="T55" fmla="*/ 40 h 109"/>
                    <a:gd name="T56" fmla="*/ 100 w 229"/>
                    <a:gd name="T57" fmla="*/ 42 h 109"/>
                    <a:gd name="T58" fmla="*/ 107 w 229"/>
                    <a:gd name="T59" fmla="*/ 46 h 109"/>
                    <a:gd name="T60" fmla="*/ 114 w 229"/>
                    <a:gd name="T61" fmla="*/ 49 h 109"/>
                    <a:gd name="T62" fmla="*/ 122 w 229"/>
                    <a:gd name="T63" fmla="*/ 55 h 109"/>
                    <a:gd name="T64" fmla="*/ 128 w 229"/>
                    <a:gd name="T65" fmla="*/ 61 h 109"/>
                    <a:gd name="T66" fmla="*/ 128 w 229"/>
                    <a:gd name="T67" fmla="*/ 61 h 109"/>
                    <a:gd name="T68" fmla="*/ 133 w 229"/>
                    <a:gd name="T69" fmla="*/ 66 h 109"/>
                    <a:gd name="T70" fmla="*/ 135 w 229"/>
                    <a:gd name="T71" fmla="*/ 72 h 109"/>
                    <a:gd name="T72" fmla="*/ 139 w 229"/>
                    <a:gd name="T73" fmla="*/ 86 h 109"/>
                    <a:gd name="T74" fmla="*/ 141 w 229"/>
                    <a:gd name="T75" fmla="*/ 99 h 109"/>
                    <a:gd name="T76" fmla="*/ 143 w 229"/>
                    <a:gd name="T77" fmla="*/ 102 h 109"/>
                    <a:gd name="T78" fmla="*/ 146 w 229"/>
                    <a:gd name="T79" fmla="*/ 105 h 109"/>
                    <a:gd name="T80" fmla="*/ 146 w 229"/>
                    <a:gd name="T81" fmla="*/ 105 h 109"/>
                    <a:gd name="T82" fmla="*/ 163 w 229"/>
                    <a:gd name="T83" fmla="*/ 109 h 109"/>
                    <a:gd name="T84" fmla="*/ 171 w 229"/>
                    <a:gd name="T85" fmla="*/ 109 h 109"/>
                    <a:gd name="T86" fmla="*/ 178 w 229"/>
                    <a:gd name="T87" fmla="*/ 109 h 109"/>
                    <a:gd name="T88" fmla="*/ 185 w 229"/>
                    <a:gd name="T89" fmla="*/ 108 h 109"/>
                    <a:gd name="T90" fmla="*/ 193 w 229"/>
                    <a:gd name="T91" fmla="*/ 106 h 109"/>
                    <a:gd name="T92" fmla="*/ 200 w 229"/>
                    <a:gd name="T93" fmla="*/ 102 h 109"/>
                    <a:gd name="T94" fmla="*/ 209 w 229"/>
                    <a:gd name="T95" fmla="*/ 98 h 109"/>
                    <a:gd name="T96" fmla="*/ 209 w 229"/>
                    <a:gd name="T97" fmla="*/ 98 h 109"/>
                    <a:gd name="T98" fmla="*/ 214 w 229"/>
                    <a:gd name="T99" fmla="*/ 93 h 109"/>
                    <a:gd name="T100" fmla="*/ 219 w 229"/>
                    <a:gd name="T101" fmla="*/ 89 h 109"/>
                    <a:gd name="T102" fmla="*/ 229 w 229"/>
                    <a:gd name="T103" fmla="*/ 78 h 109"/>
                    <a:gd name="T104" fmla="*/ 229 w 229"/>
                    <a:gd name="T105" fmla="*/ 7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9" h="109">
                      <a:moveTo>
                        <a:pt x="229" y="78"/>
                      </a:moveTo>
                      <a:lnTo>
                        <a:pt x="229" y="78"/>
                      </a:lnTo>
                      <a:lnTo>
                        <a:pt x="196" y="61"/>
                      </a:lnTo>
                      <a:lnTo>
                        <a:pt x="164" y="44"/>
                      </a:lnTo>
                      <a:lnTo>
                        <a:pt x="102" y="6"/>
                      </a:lnTo>
                      <a:lnTo>
                        <a:pt x="102" y="6"/>
                      </a:lnTo>
                      <a:lnTo>
                        <a:pt x="96" y="3"/>
                      </a:lnTo>
                      <a:lnTo>
                        <a:pt x="89" y="1"/>
                      </a:lnTo>
                      <a:lnTo>
                        <a:pt x="81" y="1"/>
                      </a:lnTo>
                      <a:lnTo>
                        <a:pt x="74" y="0"/>
                      </a:lnTo>
                      <a:lnTo>
                        <a:pt x="59" y="2"/>
                      </a:lnTo>
                      <a:lnTo>
                        <a:pt x="46" y="6"/>
                      </a:lnTo>
                      <a:lnTo>
                        <a:pt x="46" y="6"/>
                      </a:lnTo>
                      <a:lnTo>
                        <a:pt x="34" y="11"/>
                      </a:lnTo>
                      <a:lnTo>
                        <a:pt x="13" y="23"/>
                      </a:lnTo>
                      <a:lnTo>
                        <a:pt x="5" y="29"/>
                      </a:lnTo>
                      <a:lnTo>
                        <a:pt x="0" y="34"/>
                      </a:lnTo>
                      <a:lnTo>
                        <a:pt x="0" y="37"/>
                      </a:lnTo>
                      <a:lnTo>
                        <a:pt x="1" y="38"/>
                      </a:lnTo>
                      <a:lnTo>
                        <a:pt x="3" y="39"/>
                      </a:lnTo>
                      <a:lnTo>
                        <a:pt x="8" y="40"/>
                      </a:lnTo>
                      <a:lnTo>
                        <a:pt x="8" y="40"/>
                      </a:lnTo>
                      <a:lnTo>
                        <a:pt x="25" y="39"/>
                      </a:lnTo>
                      <a:lnTo>
                        <a:pt x="41" y="38"/>
                      </a:lnTo>
                      <a:lnTo>
                        <a:pt x="56" y="38"/>
                      </a:lnTo>
                      <a:lnTo>
                        <a:pt x="71" y="37"/>
                      </a:lnTo>
                      <a:lnTo>
                        <a:pt x="86" y="39"/>
                      </a:lnTo>
                      <a:lnTo>
                        <a:pt x="93" y="40"/>
                      </a:lnTo>
                      <a:lnTo>
                        <a:pt x="100" y="42"/>
                      </a:lnTo>
                      <a:lnTo>
                        <a:pt x="107" y="46"/>
                      </a:lnTo>
                      <a:lnTo>
                        <a:pt x="114" y="49"/>
                      </a:lnTo>
                      <a:lnTo>
                        <a:pt x="122" y="55"/>
                      </a:lnTo>
                      <a:lnTo>
                        <a:pt x="128" y="61"/>
                      </a:lnTo>
                      <a:lnTo>
                        <a:pt x="128" y="61"/>
                      </a:lnTo>
                      <a:lnTo>
                        <a:pt x="133" y="66"/>
                      </a:lnTo>
                      <a:lnTo>
                        <a:pt x="135" y="72"/>
                      </a:lnTo>
                      <a:lnTo>
                        <a:pt x="139" y="86"/>
                      </a:lnTo>
                      <a:lnTo>
                        <a:pt x="141" y="99"/>
                      </a:lnTo>
                      <a:lnTo>
                        <a:pt x="143" y="102"/>
                      </a:lnTo>
                      <a:lnTo>
                        <a:pt x="146" y="105"/>
                      </a:lnTo>
                      <a:lnTo>
                        <a:pt x="146" y="105"/>
                      </a:lnTo>
                      <a:lnTo>
                        <a:pt x="163" y="109"/>
                      </a:lnTo>
                      <a:lnTo>
                        <a:pt x="171" y="109"/>
                      </a:lnTo>
                      <a:lnTo>
                        <a:pt x="178" y="109"/>
                      </a:lnTo>
                      <a:lnTo>
                        <a:pt x="185" y="108"/>
                      </a:lnTo>
                      <a:lnTo>
                        <a:pt x="193" y="106"/>
                      </a:lnTo>
                      <a:lnTo>
                        <a:pt x="200" y="102"/>
                      </a:lnTo>
                      <a:lnTo>
                        <a:pt x="209" y="98"/>
                      </a:lnTo>
                      <a:lnTo>
                        <a:pt x="209" y="98"/>
                      </a:lnTo>
                      <a:lnTo>
                        <a:pt x="214" y="93"/>
                      </a:lnTo>
                      <a:lnTo>
                        <a:pt x="219" y="89"/>
                      </a:lnTo>
                      <a:lnTo>
                        <a:pt x="229" y="78"/>
                      </a:lnTo>
                      <a:lnTo>
                        <a:pt x="229" y="78"/>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38" name="Freeform 377"/>
                <p:cNvSpPr>
                  <a:spLocks/>
                </p:cNvSpPr>
                <p:nvPr/>
              </p:nvSpPr>
              <p:spPr bwMode="auto">
                <a:xfrm>
                  <a:off x="2962275" y="774700"/>
                  <a:ext cx="11113" cy="17463"/>
                </a:xfrm>
                <a:custGeom>
                  <a:avLst/>
                  <a:gdLst>
                    <a:gd name="T0" fmla="*/ 1 w 47"/>
                    <a:gd name="T1" fmla="*/ 28 h 76"/>
                    <a:gd name="T2" fmla="*/ 1 w 47"/>
                    <a:gd name="T3" fmla="*/ 28 h 76"/>
                    <a:gd name="T4" fmla="*/ 12 w 47"/>
                    <a:gd name="T5" fmla="*/ 39 h 76"/>
                    <a:gd name="T6" fmla="*/ 20 w 47"/>
                    <a:gd name="T7" fmla="*/ 50 h 76"/>
                    <a:gd name="T8" fmla="*/ 28 w 47"/>
                    <a:gd name="T9" fmla="*/ 62 h 76"/>
                    <a:gd name="T10" fmla="*/ 36 w 47"/>
                    <a:gd name="T11" fmla="*/ 76 h 76"/>
                    <a:gd name="T12" fmla="*/ 36 w 47"/>
                    <a:gd name="T13" fmla="*/ 76 h 76"/>
                    <a:gd name="T14" fmla="*/ 40 w 47"/>
                    <a:gd name="T15" fmla="*/ 71 h 76"/>
                    <a:gd name="T16" fmla="*/ 44 w 47"/>
                    <a:gd name="T17" fmla="*/ 65 h 76"/>
                    <a:gd name="T18" fmla="*/ 46 w 47"/>
                    <a:gd name="T19" fmla="*/ 61 h 76"/>
                    <a:gd name="T20" fmla="*/ 47 w 47"/>
                    <a:gd name="T21" fmla="*/ 55 h 76"/>
                    <a:gd name="T22" fmla="*/ 47 w 47"/>
                    <a:gd name="T23" fmla="*/ 49 h 76"/>
                    <a:gd name="T24" fmla="*/ 46 w 47"/>
                    <a:gd name="T25" fmla="*/ 43 h 76"/>
                    <a:gd name="T26" fmla="*/ 44 w 47"/>
                    <a:gd name="T27" fmla="*/ 38 h 76"/>
                    <a:gd name="T28" fmla="*/ 40 w 47"/>
                    <a:gd name="T29" fmla="*/ 32 h 76"/>
                    <a:gd name="T30" fmla="*/ 40 w 47"/>
                    <a:gd name="T31" fmla="*/ 32 h 76"/>
                    <a:gd name="T32" fmla="*/ 23 w 47"/>
                    <a:gd name="T33" fmla="*/ 41 h 76"/>
                    <a:gd name="T34" fmla="*/ 23 w 47"/>
                    <a:gd name="T35" fmla="*/ 41 h 76"/>
                    <a:gd name="T36" fmla="*/ 29 w 47"/>
                    <a:gd name="T37" fmla="*/ 34 h 76"/>
                    <a:gd name="T38" fmla="*/ 31 w 47"/>
                    <a:gd name="T39" fmla="*/ 27 h 76"/>
                    <a:gd name="T40" fmla="*/ 30 w 47"/>
                    <a:gd name="T41" fmla="*/ 22 h 76"/>
                    <a:gd name="T42" fmla="*/ 28 w 47"/>
                    <a:gd name="T43" fmla="*/ 15 h 76"/>
                    <a:gd name="T44" fmla="*/ 23 w 47"/>
                    <a:gd name="T45" fmla="*/ 10 h 76"/>
                    <a:gd name="T46" fmla="*/ 17 w 47"/>
                    <a:gd name="T47" fmla="*/ 5 h 76"/>
                    <a:gd name="T48" fmla="*/ 10 w 47"/>
                    <a:gd name="T49" fmla="*/ 2 h 76"/>
                    <a:gd name="T50" fmla="*/ 2 w 47"/>
                    <a:gd name="T51" fmla="*/ 0 h 76"/>
                    <a:gd name="T52" fmla="*/ 2 w 47"/>
                    <a:gd name="T53" fmla="*/ 0 h 76"/>
                    <a:gd name="T54" fmla="*/ 1 w 47"/>
                    <a:gd name="T55" fmla="*/ 15 h 76"/>
                    <a:gd name="T56" fmla="*/ 0 w 47"/>
                    <a:gd name="T57" fmla="*/ 22 h 76"/>
                    <a:gd name="T58" fmla="*/ 1 w 47"/>
                    <a:gd name="T59" fmla="*/ 28 h 76"/>
                    <a:gd name="T60" fmla="*/ 1 w 47"/>
                    <a:gd name="T61" fmla="*/ 2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7" h="76">
                      <a:moveTo>
                        <a:pt x="1" y="28"/>
                      </a:moveTo>
                      <a:lnTo>
                        <a:pt x="1" y="28"/>
                      </a:lnTo>
                      <a:lnTo>
                        <a:pt x="12" y="39"/>
                      </a:lnTo>
                      <a:lnTo>
                        <a:pt x="20" y="50"/>
                      </a:lnTo>
                      <a:lnTo>
                        <a:pt x="28" y="62"/>
                      </a:lnTo>
                      <a:lnTo>
                        <a:pt x="36" y="76"/>
                      </a:lnTo>
                      <a:lnTo>
                        <a:pt x="36" y="76"/>
                      </a:lnTo>
                      <a:lnTo>
                        <a:pt x="40" y="71"/>
                      </a:lnTo>
                      <a:lnTo>
                        <a:pt x="44" y="65"/>
                      </a:lnTo>
                      <a:lnTo>
                        <a:pt x="46" y="61"/>
                      </a:lnTo>
                      <a:lnTo>
                        <a:pt x="47" y="55"/>
                      </a:lnTo>
                      <a:lnTo>
                        <a:pt x="47" y="49"/>
                      </a:lnTo>
                      <a:lnTo>
                        <a:pt x="46" y="43"/>
                      </a:lnTo>
                      <a:lnTo>
                        <a:pt x="44" y="38"/>
                      </a:lnTo>
                      <a:lnTo>
                        <a:pt x="40" y="32"/>
                      </a:lnTo>
                      <a:lnTo>
                        <a:pt x="40" y="32"/>
                      </a:lnTo>
                      <a:lnTo>
                        <a:pt x="23" y="41"/>
                      </a:lnTo>
                      <a:lnTo>
                        <a:pt x="23" y="41"/>
                      </a:lnTo>
                      <a:lnTo>
                        <a:pt x="29" y="34"/>
                      </a:lnTo>
                      <a:lnTo>
                        <a:pt x="31" y="27"/>
                      </a:lnTo>
                      <a:lnTo>
                        <a:pt x="30" y="22"/>
                      </a:lnTo>
                      <a:lnTo>
                        <a:pt x="28" y="15"/>
                      </a:lnTo>
                      <a:lnTo>
                        <a:pt x="23" y="10"/>
                      </a:lnTo>
                      <a:lnTo>
                        <a:pt x="17" y="5"/>
                      </a:lnTo>
                      <a:lnTo>
                        <a:pt x="10" y="2"/>
                      </a:lnTo>
                      <a:lnTo>
                        <a:pt x="2" y="0"/>
                      </a:lnTo>
                      <a:lnTo>
                        <a:pt x="2" y="0"/>
                      </a:lnTo>
                      <a:lnTo>
                        <a:pt x="1" y="15"/>
                      </a:lnTo>
                      <a:lnTo>
                        <a:pt x="0" y="22"/>
                      </a:lnTo>
                      <a:lnTo>
                        <a:pt x="1" y="28"/>
                      </a:lnTo>
                      <a:lnTo>
                        <a:pt x="1" y="28"/>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39" name="Freeform 378"/>
                <p:cNvSpPr>
                  <a:spLocks/>
                </p:cNvSpPr>
                <p:nvPr/>
              </p:nvSpPr>
              <p:spPr bwMode="auto">
                <a:xfrm>
                  <a:off x="2976563" y="784225"/>
                  <a:ext cx="6350" cy="9525"/>
                </a:xfrm>
                <a:custGeom>
                  <a:avLst/>
                  <a:gdLst>
                    <a:gd name="T0" fmla="*/ 0 w 31"/>
                    <a:gd name="T1" fmla="*/ 0 h 39"/>
                    <a:gd name="T2" fmla="*/ 0 w 31"/>
                    <a:gd name="T3" fmla="*/ 0 h 39"/>
                    <a:gd name="T4" fmla="*/ 2 w 31"/>
                    <a:gd name="T5" fmla="*/ 11 h 39"/>
                    <a:gd name="T6" fmla="*/ 6 w 31"/>
                    <a:gd name="T7" fmla="*/ 21 h 39"/>
                    <a:gd name="T8" fmla="*/ 11 w 31"/>
                    <a:gd name="T9" fmla="*/ 31 h 39"/>
                    <a:gd name="T10" fmla="*/ 18 w 31"/>
                    <a:gd name="T11" fmla="*/ 39 h 39"/>
                    <a:gd name="T12" fmla="*/ 18 w 31"/>
                    <a:gd name="T13" fmla="*/ 39 h 39"/>
                    <a:gd name="T14" fmla="*/ 23 w 31"/>
                    <a:gd name="T15" fmla="*/ 36 h 39"/>
                    <a:gd name="T16" fmla="*/ 26 w 31"/>
                    <a:gd name="T17" fmla="*/ 32 h 39"/>
                    <a:gd name="T18" fmla="*/ 29 w 31"/>
                    <a:gd name="T19" fmla="*/ 29 h 39"/>
                    <a:gd name="T20" fmla="*/ 30 w 31"/>
                    <a:gd name="T21" fmla="*/ 25 h 39"/>
                    <a:gd name="T22" fmla="*/ 31 w 31"/>
                    <a:gd name="T23" fmla="*/ 22 h 39"/>
                    <a:gd name="T24" fmla="*/ 31 w 31"/>
                    <a:gd name="T25" fmla="*/ 18 h 39"/>
                    <a:gd name="T26" fmla="*/ 31 w 31"/>
                    <a:gd name="T27" fmla="*/ 15 h 39"/>
                    <a:gd name="T28" fmla="*/ 30 w 31"/>
                    <a:gd name="T29" fmla="*/ 11 h 39"/>
                    <a:gd name="T30" fmla="*/ 25 w 31"/>
                    <a:gd name="T31" fmla="*/ 6 h 39"/>
                    <a:gd name="T32" fmla="*/ 18 w 31"/>
                    <a:gd name="T33" fmla="*/ 1 h 39"/>
                    <a:gd name="T34" fmla="*/ 10 w 31"/>
                    <a:gd name="T35" fmla="*/ 0 h 39"/>
                    <a:gd name="T36" fmla="*/ 6 w 31"/>
                    <a:gd name="T37" fmla="*/ 0 h 39"/>
                    <a:gd name="T38" fmla="*/ 0 w 31"/>
                    <a:gd name="T39" fmla="*/ 0 h 39"/>
                    <a:gd name="T40" fmla="*/ 0 w 31"/>
                    <a:gd name="T4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39">
                      <a:moveTo>
                        <a:pt x="0" y="0"/>
                      </a:moveTo>
                      <a:lnTo>
                        <a:pt x="0" y="0"/>
                      </a:lnTo>
                      <a:lnTo>
                        <a:pt x="2" y="11"/>
                      </a:lnTo>
                      <a:lnTo>
                        <a:pt x="6" y="21"/>
                      </a:lnTo>
                      <a:lnTo>
                        <a:pt x="11" y="31"/>
                      </a:lnTo>
                      <a:lnTo>
                        <a:pt x="18" y="39"/>
                      </a:lnTo>
                      <a:lnTo>
                        <a:pt x="18" y="39"/>
                      </a:lnTo>
                      <a:lnTo>
                        <a:pt x="23" y="36"/>
                      </a:lnTo>
                      <a:lnTo>
                        <a:pt x="26" y="32"/>
                      </a:lnTo>
                      <a:lnTo>
                        <a:pt x="29" y="29"/>
                      </a:lnTo>
                      <a:lnTo>
                        <a:pt x="30" y="25"/>
                      </a:lnTo>
                      <a:lnTo>
                        <a:pt x="31" y="22"/>
                      </a:lnTo>
                      <a:lnTo>
                        <a:pt x="31" y="18"/>
                      </a:lnTo>
                      <a:lnTo>
                        <a:pt x="31" y="15"/>
                      </a:lnTo>
                      <a:lnTo>
                        <a:pt x="30" y="11"/>
                      </a:lnTo>
                      <a:lnTo>
                        <a:pt x="25" y="6"/>
                      </a:lnTo>
                      <a:lnTo>
                        <a:pt x="18" y="1"/>
                      </a:lnTo>
                      <a:lnTo>
                        <a:pt x="10" y="0"/>
                      </a:lnTo>
                      <a:lnTo>
                        <a:pt x="6" y="0"/>
                      </a:lnTo>
                      <a:lnTo>
                        <a:pt x="0" y="0"/>
                      </a:lnTo>
                      <a:lnTo>
                        <a:pt x="0" y="0"/>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0" name="Freeform 379"/>
                <p:cNvSpPr>
                  <a:spLocks/>
                </p:cNvSpPr>
                <p:nvPr/>
              </p:nvSpPr>
              <p:spPr bwMode="auto">
                <a:xfrm>
                  <a:off x="2965450" y="763588"/>
                  <a:ext cx="15875" cy="20638"/>
                </a:xfrm>
                <a:custGeom>
                  <a:avLst/>
                  <a:gdLst>
                    <a:gd name="T0" fmla="*/ 36 w 67"/>
                    <a:gd name="T1" fmla="*/ 5 h 92"/>
                    <a:gd name="T2" fmla="*/ 36 w 67"/>
                    <a:gd name="T3" fmla="*/ 5 h 92"/>
                    <a:gd name="T4" fmla="*/ 31 w 67"/>
                    <a:gd name="T5" fmla="*/ 3 h 92"/>
                    <a:gd name="T6" fmla="*/ 25 w 67"/>
                    <a:gd name="T7" fmla="*/ 1 h 92"/>
                    <a:gd name="T8" fmla="*/ 21 w 67"/>
                    <a:gd name="T9" fmla="*/ 0 h 92"/>
                    <a:gd name="T10" fmla="*/ 16 w 67"/>
                    <a:gd name="T11" fmla="*/ 1 h 92"/>
                    <a:gd name="T12" fmla="*/ 11 w 67"/>
                    <a:gd name="T13" fmla="*/ 4 h 92"/>
                    <a:gd name="T14" fmla="*/ 8 w 67"/>
                    <a:gd name="T15" fmla="*/ 6 h 92"/>
                    <a:gd name="T16" fmla="*/ 3 w 67"/>
                    <a:gd name="T17" fmla="*/ 11 h 92"/>
                    <a:gd name="T18" fmla="*/ 0 w 67"/>
                    <a:gd name="T19" fmla="*/ 15 h 92"/>
                    <a:gd name="T20" fmla="*/ 0 w 67"/>
                    <a:gd name="T21" fmla="*/ 15 h 92"/>
                    <a:gd name="T22" fmla="*/ 7 w 67"/>
                    <a:gd name="T23" fmla="*/ 20 h 92"/>
                    <a:gd name="T24" fmla="*/ 11 w 67"/>
                    <a:gd name="T25" fmla="*/ 23 h 92"/>
                    <a:gd name="T26" fmla="*/ 19 w 67"/>
                    <a:gd name="T27" fmla="*/ 30 h 92"/>
                    <a:gd name="T28" fmla="*/ 26 w 67"/>
                    <a:gd name="T29" fmla="*/ 36 h 92"/>
                    <a:gd name="T30" fmla="*/ 32 w 67"/>
                    <a:gd name="T31" fmla="*/ 39 h 92"/>
                    <a:gd name="T32" fmla="*/ 39 w 67"/>
                    <a:gd name="T33" fmla="*/ 42 h 92"/>
                    <a:gd name="T34" fmla="*/ 39 w 67"/>
                    <a:gd name="T35" fmla="*/ 42 h 92"/>
                    <a:gd name="T36" fmla="*/ 33 w 67"/>
                    <a:gd name="T37" fmla="*/ 45 h 92"/>
                    <a:gd name="T38" fmla="*/ 29 w 67"/>
                    <a:gd name="T39" fmla="*/ 49 h 92"/>
                    <a:gd name="T40" fmla="*/ 26 w 67"/>
                    <a:gd name="T41" fmla="*/ 52 h 92"/>
                    <a:gd name="T42" fmla="*/ 25 w 67"/>
                    <a:gd name="T43" fmla="*/ 56 h 92"/>
                    <a:gd name="T44" fmla="*/ 25 w 67"/>
                    <a:gd name="T45" fmla="*/ 59 h 92"/>
                    <a:gd name="T46" fmla="*/ 26 w 67"/>
                    <a:gd name="T47" fmla="*/ 64 h 92"/>
                    <a:gd name="T48" fmla="*/ 29 w 67"/>
                    <a:gd name="T49" fmla="*/ 67 h 92"/>
                    <a:gd name="T50" fmla="*/ 31 w 67"/>
                    <a:gd name="T51" fmla="*/ 72 h 92"/>
                    <a:gd name="T52" fmla="*/ 39 w 67"/>
                    <a:gd name="T53" fmla="*/ 79 h 92"/>
                    <a:gd name="T54" fmla="*/ 47 w 67"/>
                    <a:gd name="T55" fmla="*/ 86 h 92"/>
                    <a:gd name="T56" fmla="*/ 57 w 67"/>
                    <a:gd name="T57" fmla="*/ 90 h 92"/>
                    <a:gd name="T58" fmla="*/ 67 w 67"/>
                    <a:gd name="T59" fmla="*/ 92 h 92"/>
                    <a:gd name="T60" fmla="*/ 67 w 67"/>
                    <a:gd name="T61" fmla="*/ 92 h 92"/>
                    <a:gd name="T62" fmla="*/ 67 w 67"/>
                    <a:gd name="T63" fmla="*/ 86 h 92"/>
                    <a:gd name="T64" fmla="*/ 65 w 67"/>
                    <a:gd name="T65" fmla="*/ 79 h 92"/>
                    <a:gd name="T66" fmla="*/ 63 w 67"/>
                    <a:gd name="T67" fmla="*/ 73 h 92"/>
                    <a:gd name="T68" fmla="*/ 61 w 67"/>
                    <a:gd name="T69" fmla="*/ 68 h 92"/>
                    <a:gd name="T70" fmla="*/ 54 w 67"/>
                    <a:gd name="T71" fmla="*/ 58 h 92"/>
                    <a:gd name="T72" fmla="*/ 47 w 67"/>
                    <a:gd name="T73" fmla="*/ 45 h 92"/>
                    <a:gd name="T74" fmla="*/ 47 w 67"/>
                    <a:gd name="T75" fmla="*/ 45 h 92"/>
                    <a:gd name="T76" fmla="*/ 45 w 67"/>
                    <a:gd name="T77" fmla="*/ 39 h 92"/>
                    <a:gd name="T78" fmla="*/ 46 w 67"/>
                    <a:gd name="T79" fmla="*/ 35 h 92"/>
                    <a:gd name="T80" fmla="*/ 48 w 67"/>
                    <a:gd name="T81" fmla="*/ 23 h 92"/>
                    <a:gd name="T82" fmla="*/ 49 w 67"/>
                    <a:gd name="T83" fmla="*/ 19 h 92"/>
                    <a:gd name="T84" fmla="*/ 47 w 67"/>
                    <a:gd name="T85" fmla="*/ 14 h 92"/>
                    <a:gd name="T86" fmla="*/ 44 w 67"/>
                    <a:gd name="T87" fmla="*/ 10 h 92"/>
                    <a:gd name="T88" fmla="*/ 36 w 67"/>
                    <a:gd name="T89" fmla="*/ 5 h 92"/>
                    <a:gd name="T90" fmla="*/ 36 w 67"/>
                    <a:gd name="T91" fmla="*/ 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7" h="92">
                      <a:moveTo>
                        <a:pt x="36" y="5"/>
                      </a:moveTo>
                      <a:lnTo>
                        <a:pt x="36" y="5"/>
                      </a:lnTo>
                      <a:lnTo>
                        <a:pt x="31" y="3"/>
                      </a:lnTo>
                      <a:lnTo>
                        <a:pt x="25" y="1"/>
                      </a:lnTo>
                      <a:lnTo>
                        <a:pt x="21" y="0"/>
                      </a:lnTo>
                      <a:lnTo>
                        <a:pt x="16" y="1"/>
                      </a:lnTo>
                      <a:lnTo>
                        <a:pt x="11" y="4"/>
                      </a:lnTo>
                      <a:lnTo>
                        <a:pt x="8" y="6"/>
                      </a:lnTo>
                      <a:lnTo>
                        <a:pt x="3" y="11"/>
                      </a:lnTo>
                      <a:lnTo>
                        <a:pt x="0" y="15"/>
                      </a:lnTo>
                      <a:lnTo>
                        <a:pt x="0" y="15"/>
                      </a:lnTo>
                      <a:lnTo>
                        <a:pt x="7" y="20"/>
                      </a:lnTo>
                      <a:lnTo>
                        <a:pt x="11" y="23"/>
                      </a:lnTo>
                      <a:lnTo>
                        <a:pt x="19" y="30"/>
                      </a:lnTo>
                      <a:lnTo>
                        <a:pt x="26" y="36"/>
                      </a:lnTo>
                      <a:lnTo>
                        <a:pt x="32" y="39"/>
                      </a:lnTo>
                      <a:lnTo>
                        <a:pt x="39" y="42"/>
                      </a:lnTo>
                      <a:lnTo>
                        <a:pt x="39" y="42"/>
                      </a:lnTo>
                      <a:lnTo>
                        <a:pt x="33" y="45"/>
                      </a:lnTo>
                      <a:lnTo>
                        <a:pt x="29" y="49"/>
                      </a:lnTo>
                      <a:lnTo>
                        <a:pt x="26" y="52"/>
                      </a:lnTo>
                      <a:lnTo>
                        <a:pt x="25" y="56"/>
                      </a:lnTo>
                      <a:lnTo>
                        <a:pt x="25" y="59"/>
                      </a:lnTo>
                      <a:lnTo>
                        <a:pt x="26" y="64"/>
                      </a:lnTo>
                      <a:lnTo>
                        <a:pt x="29" y="67"/>
                      </a:lnTo>
                      <a:lnTo>
                        <a:pt x="31" y="72"/>
                      </a:lnTo>
                      <a:lnTo>
                        <a:pt x="39" y="79"/>
                      </a:lnTo>
                      <a:lnTo>
                        <a:pt x="47" y="86"/>
                      </a:lnTo>
                      <a:lnTo>
                        <a:pt x="57" y="90"/>
                      </a:lnTo>
                      <a:lnTo>
                        <a:pt x="67" y="92"/>
                      </a:lnTo>
                      <a:lnTo>
                        <a:pt x="67" y="92"/>
                      </a:lnTo>
                      <a:lnTo>
                        <a:pt x="67" y="86"/>
                      </a:lnTo>
                      <a:lnTo>
                        <a:pt x="65" y="79"/>
                      </a:lnTo>
                      <a:lnTo>
                        <a:pt x="63" y="73"/>
                      </a:lnTo>
                      <a:lnTo>
                        <a:pt x="61" y="68"/>
                      </a:lnTo>
                      <a:lnTo>
                        <a:pt x="54" y="58"/>
                      </a:lnTo>
                      <a:lnTo>
                        <a:pt x="47" y="45"/>
                      </a:lnTo>
                      <a:lnTo>
                        <a:pt x="47" y="45"/>
                      </a:lnTo>
                      <a:lnTo>
                        <a:pt x="45" y="39"/>
                      </a:lnTo>
                      <a:lnTo>
                        <a:pt x="46" y="35"/>
                      </a:lnTo>
                      <a:lnTo>
                        <a:pt x="48" y="23"/>
                      </a:lnTo>
                      <a:lnTo>
                        <a:pt x="49" y="19"/>
                      </a:lnTo>
                      <a:lnTo>
                        <a:pt x="47" y="14"/>
                      </a:lnTo>
                      <a:lnTo>
                        <a:pt x="44" y="10"/>
                      </a:lnTo>
                      <a:lnTo>
                        <a:pt x="36" y="5"/>
                      </a:lnTo>
                      <a:lnTo>
                        <a:pt x="36" y="5"/>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1" name="Freeform 380"/>
                <p:cNvSpPr>
                  <a:spLocks/>
                </p:cNvSpPr>
                <p:nvPr/>
              </p:nvSpPr>
              <p:spPr bwMode="auto">
                <a:xfrm>
                  <a:off x="2957513" y="812800"/>
                  <a:ext cx="12700" cy="7938"/>
                </a:xfrm>
                <a:custGeom>
                  <a:avLst/>
                  <a:gdLst>
                    <a:gd name="T0" fmla="*/ 0 w 59"/>
                    <a:gd name="T1" fmla="*/ 22 h 35"/>
                    <a:gd name="T2" fmla="*/ 0 w 59"/>
                    <a:gd name="T3" fmla="*/ 22 h 35"/>
                    <a:gd name="T4" fmla="*/ 7 w 59"/>
                    <a:gd name="T5" fmla="*/ 27 h 35"/>
                    <a:gd name="T6" fmla="*/ 15 w 59"/>
                    <a:gd name="T7" fmla="*/ 32 h 35"/>
                    <a:gd name="T8" fmla="*/ 24 w 59"/>
                    <a:gd name="T9" fmla="*/ 34 h 35"/>
                    <a:gd name="T10" fmla="*/ 32 w 59"/>
                    <a:gd name="T11" fmla="*/ 35 h 35"/>
                    <a:gd name="T12" fmla="*/ 40 w 59"/>
                    <a:gd name="T13" fmla="*/ 34 h 35"/>
                    <a:gd name="T14" fmla="*/ 47 w 59"/>
                    <a:gd name="T15" fmla="*/ 31 h 35"/>
                    <a:gd name="T16" fmla="*/ 53 w 59"/>
                    <a:gd name="T17" fmla="*/ 24 h 35"/>
                    <a:gd name="T18" fmla="*/ 59 w 59"/>
                    <a:gd name="T19" fmla="*/ 15 h 35"/>
                    <a:gd name="T20" fmla="*/ 59 w 59"/>
                    <a:gd name="T21" fmla="*/ 15 h 35"/>
                    <a:gd name="T22" fmla="*/ 52 w 59"/>
                    <a:gd name="T23" fmla="*/ 9 h 35"/>
                    <a:gd name="T24" fmla="*/ 43 w 59"/>
                    <a:gd name="T25" fmla="*/ 4 h 35"/>
                    <a:gd name="T26" fmla="*/ 32 w 59"/>
                    <a:gd name="T27" fmla="*/ 1 h 35"/>
                    <a:gd name="T28" fmla="*/ 23 w 59"/>
                    <a:gd name="T29" fmla="*/ 0 h 35"/>
                    <a:gd name="T30" fmla="*/ 14 w 59"/>
                    <a:gd name="T31" fmla="*/ 1 h 35"/>
                    <a:gd name="T32" fmla="*/ 9 w 59"/>
                    <a:gd name="T33" fmla="*/ 2 h 35"/>
                    <a:gd name="T34" fmla="*/ 6 w 59"/>
                    <a:gd name="T35" fmla="*/ 4 h 35"/>
                    <a:gd name="T36" fmla="*/ 3 w 59"/>
                    <a:gd name="T37" fmla="*/ 8 h 35"/>
                    <a:gd name="T38" fmla="*/ 1 w 59"/>
                    <a:gd name="T39" fmla="*/ 11 h 35"/>
                    <a:gd name="T40" fmla="*/ 0 w 59"/>
                    <a:gd name="T41" fmla="*/ 16 h 35"/>
                    <a:gd name="T42" fmla="*/ 0 w 59"/>
                    <a:gd name="T43" fmla="*/ 22 h 35"/>
                    <a:gd name="T44" fmla="*/ 0 w 59"/>
                    <a:gd name="T45"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 h="35">
                      <a:moveTo>
                        <a:pt x="0" y="22"/>
                      </a:moveTo>
                      <a:lnTo>
                        <a:pt x="0" y="22"/>
                      </a:lnTo>
                      <a:lnTo>
                        <a:pt x="7" y="27"/>
                      </a:lnTo>
                      <a:lnTo>
                        <a:pt x="15" y="32"/>
                      </a:lnTo>
                      <a:lnTo>
                        <a:pt x="24" y="34"/>
                      </a:lnTo>
                      <a:lnTo>
                        <a:pt x="32" y="35"/>
                      </a:lnTo>
                      <a:lnTo>
                        <a:pt x="40" y="34"/>
                      </a:lnTo>
                      <a:lnTo>
                        <a:pt x="47" y="31"/>
                      </a:lnTo>
                      <a:lnTo>
                        <a:pt x="53" y="24"/>
                      </a:lnTo>
                      <a:lnTo>
                        <a:pt x="59" y="15"/>
                      </a:lnTo>
                      <a:lnTo>
                        <a:pt x="59" y="15"/>
                      </a:lnTo>
                      <a:lnTo>
                        <a:pt x="52" y="9"/>
                      </a:lnTo>
                      <a:lnTo>
                        <a:pt x="43" y="4"/>
                      </a:lnTo>
                      <a:lnTo>
                        <a:pt x="32" y="1"/>
                      </a:lnTo>
                      <a:lnTo>
                        <a:pt x="23" y="0"/>
                      </a:lnTo>
                      <a:lnTo>
                        <a:pt x="14" y="1"/>
                      </a:lnTo>
                      <a:lnTo>
                        <a:pt x="9" y="2"/>
                      </a:lnTo>
                      <a:lnTo>
                        <a:pt x="6" y="4"/>
                      </a:lnTo>
                      <a:lnTo>
                        <a:pt x="3" y="8"/>
                      </a:lnTo>
                      <a:lnTo>
                        <a:pt x="1" y="11"/>
                      </a:lnTo>
                      <a:lnTo>
                        <a:pt x="0" y="16"/>
                      </a:lnTo>
                      <a:lnTo>
                        <a:pt x="0" y="22"/>
                      </a:lnTo>
                      <a:lnTo>
                        <a:pt x="0" y="22"/>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2" name="Freeform 381"/>
                <p:cNvSpPr>
                  <a:spLocks/>
                </p:cNvSpPr>
                <p:nvPr/>
              </p:nvSpPr>
              <p:spPr bwMode="auto">
                <a:xfrm>
                  <a:off x="2882900" y="914400"/>
                  <a:ext cx="7938" cy="12700"/>
                </a:xfrm>
                <a:custGeom>
                  <a:avLst/>
                  <a:gdLst>
                    <a:gd name="T0" fmla="*/ 13 w 36"/>
                    <a:gd name="T1" fmla="*/ 0 h 57"/>
                    <a:gd name="T2" fmla="*/ 13 w 36"/>
                    <a:gd name="T3" fmla="*/ 0 h 57"/>
                    <a:gd name="T4" fmla="*/ 12 w 36"/>
                    <a:gd name="T5" fmla="*/ 5 h 57"/>
                    <a:gd name="T6" fmla="*/ 9 w 36"/>
                    <a:gd name="T7" fmla="*/ 14 h 57"/>
                    <a:gd name="T8" fmla="*/ 2 w 36"/>
                    <a:gd name="T9" fmla="*/ 35 h 57"/>
                    <a:gd name="T10" fmla="*/ 0 w 36"/>
                    <a:gd name="T11" fmla="*/ 45 h 57"/>
                    <a:gd name="T12" fmla="*/ 0 w 36"/>
                    <a:gd name="T13" fmla="*/ 50 h 57"/>
                    <a:gd name="T14" fmla="*/ 1 w 36"/>
                    <a:gd name="T15" fmla="*/ 53 h 57"/>
                    <a:gd name="T16" fmla="*/ 2 w 36"/>
                    <a:gd name="T17" fmla="*/ 56 h 57"/>
                    <a:gd name="T18" fmla="*/ 5 w 36"/>
                    <a:gd name="T19" fmla="*/ 57 h 57"/>
                    <a:gd name="T20" fmla="*/ 8 w 36"/>
                    <a:gd name="T21" fmla="*/ 57 h 57"/>
                    <a:gd name="T22" fmla="*/ 13 w 36"/>
                    <a:gd name="T23" fmla="*/ 56 h 57"/>
                    <a:gd name="T24" fmla="*/ 13 w 36"/>
                    <a:gd name="T25" fmla="*/ 56 h 57"/>
                    <a:gd name="T26" fmla="*/ 22 w 36"/>
                    <a:gd name="T27" fmla="*/ 51 h 57"/>
                    <a:gd name="T28" fmla="*/ 30 w 36"/>
                    <a:gd name="T29" fmla="*/ 44 h 57"/>
                    <a:gd name="T30" fmla="*/ 32 w 36"/>
                    <a:gd name="T31" fmla="*/ 41 h 57"/>
                    <a:gd name="T32" fmla="*/ 35 w 36"/>
                    <a:gd name="T33" fmla="*/ 37 h 57"/>
                    <a:gd name="T34" fmla="*/ 36 w 36"/>
                    <a:gd name="T35" fmla="*/ 32 h 57"/>
                    <a:gd name="T36" fmla="*/ 36 w 36"/>
                    <a:gd name="T37" fmla="*/ 29 h 57"/>
                    <a:gd name="T38" fmla="*/ 36 w 36"/>
                    <a:gd name="T39" fmla="*/ 26 h 57"/>
                    <a:gd name="T40" fmla="*/ 35 w 36"/>
                    <a:gd name="T41" fmla="*/ 21 h 57"/>
                    <a:gd name="T42" fmla="*/ 32 w 36"/>
                    <a:gd name="T43" fmla="*/ 18 h 57"/>
                    <a:gd name="T44" fmla="*/ 30 w 36"/>
                    <a:gd name="T45" fmla="*/ 13 h 57"/>
                    <a:gd name="T46" fmla="*/ 23 w 36"/>
                    <a:gd name="T47" fmla="*/ 6 h 57"/>
                    <a:gd name="T48" fmla="*/ 13 w 36"/>
                    <a:gd name="T49" fmla="*/ 0 h 57"/>
                    <a:gd name="T50" fmla="*/ 13 w 36"/>
                    <a:gd name="T51"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 h="57">
                      <a:moveTo>
                        <a:pt x="13" y="0"/>
                      </a:moveTo>
                      <a:lnTo>
                        <a:pt x="13" y="0"/>
                      </a:lnTo>
                      <a:lnTo>
                        <a:pt x="12" y="5"/>
                      </a:lnTo>
                      <a:lnTo>
                        <a:pt x="9" y="14"/>
                      </a:lnTo>
                      <a:lnTo>
                        <a:pt x="2" y="35"/>
                      </a:lnTo>
                      <a:lnTo>
                        <a:pt x="0" y="45"/>
                      </a:lnTo>
                      <a:lnTo>
                        <a:pt x="0" y="50"/>
                      </a:lnTo>
                      <a:lnTo>
                        <a:pt x="1" y="53"/>
                      </a:lnTo>
                      <a:lnTo>
                        <a:pt x="2" y="56"/>
                      </a:lnTo>
                      <a:lnTo>
                        <a:pt x="5" y="57"/>
                      </a:lnTo>
                      <a:lnTo>
                        <a:pt x="8" y="57"/>
                      </a:lnTo>
                      <a:lnTo>
                        <a:pt x="13" y="56"/>
                      </a:lnTo>
                      <a:lnTo>
                        <a:pt x="13" y="56"/>
                      </a:lnTo>
                      <a:lnTo>
                        <a:pt x="22" y="51"/>
                      </a:lnTo>
                      <a:lnTo>
                        <a:pt x="30" y="44"/>
                      </a:lnTo>
                      <a:lnTo>
                        <a:pt x="32" y="41"/>
                      </a:lnTo>
                      <a:lnTo>
                        <a:pt x="35" y="37"/>
                      </a:lnTo>
                      <a:lnTo>
                        <a:pt x="36" y="32"/>
                      </a:lnTo>
                      <a:lnTo>
                        <a:pt x="36" y="29"/>
                      </a:lnTo>
                      <a:lnTo>
                        <a:pt x="36" y="26"/>
                      </a:lnTo>
                      <a:lnTo>
                        <a:pt x="35" y="21"/>
                      </a:lnTo>
                      <a:lnTo>
                        <a:pt x="32" y="18"/>
                      </a:lnTo>
                      <a:lnTo>
                        <a:pt x="30" y="13"/>
                      </a:lnTo>
                      <a:lnTo>
                        <a:pt x="23" y="6"/>
                      </a:lnTo>
                      <a:lnTo>
                        <a:pt x="13" y="0"/>
                      </a:lnTo>
                      <a:lnTo>
                        <a:pt x="13" y="0"/>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3" name="Freeform 382"/>
                <p:cNvSpPr>
                  <a:spLocks/>
                </p:cNvSpPr>
                <p:nvPr/>
              </p:nvSpPr>
              <p:spPr bwMode="auto">
                <a:xfrm>
                  <a:off x="2935288" y="369888"/>
                  <a:ext cx="44450" cy="28575"/>
                </a:xfrm>
                <a:custGeom>
                  <a:avLst/>
                  <a:gdLst>
                    <a:gd name="T0" fmla="*/ 66 w 199"/>
                    <a:gd name="T1" fmla="*/ 71 h 126"/>
                    <a:gd name="T2" fmla="*/ 56 w 199"/>
                    <a:gd name="T3" fmla="*/ 81 h 126"/>
                    <a:gd name="T4" fmla="*/ 54 w 199"/>
                    <a:gd name="T5" fmla="*/ 92 h 126"/>
                    <a:gd name="T6" fmla="*/ 58 w 199"/>
                    <a:gd name="T7" fmla="*/ 104 h 126"/>
                    <a:gd name="T8" fmla="*/ 66 w 199"/>
                    <a:gd name="T9" fmla="*/ 115 h 126"/>
                    <a:gd name="T10" fmla="*/ 94 w 199"/>
                    <a:gd name="T11" fmla="*/ 103 h 126"/>
                    <a:gd name="T12" fmla="*/ 122 w 199"/>
                    <a:gd name="T13" fmla="*/ 95 h 126"/>
                    <a:gd name="T14" fmla="*/ 136 w 199"/>
                    <a:gd name="T15" fmla="*/ 96 h 126"/>
                    <a:gd name="T16" fmla="*/ 147 w 199"/>
                    <a:gd name="T17" fmla="*/ 99 h 126"/>
                    <a:gd name="T18" fmla="*/ 157 w 199"/>
                    <a:gd name="T19" fmla="*/ 110 h 126"/>
                    <a:gd name="T20" fmla="*/ 165 w 199"/>
                    <a:gd name="T21" fmla="*/ 126 h 126"/>
                    <a:gd name="T22" fmla="*/ 183 w 199"/>
                    <a:gd name="T23" fmla="*/ 109 h 126"/>
                    <a:gd name="T24" fmla="*/ 195 w 199"/>
                    <a:gd name="T25" fmla="*/ 94 h 126"/>
                    <a:gd name="T26" fmla="*/ 199 w 199"/>
                    <a:gd name="T27" fmla="*/ 76 h 126"/>
                    <a:gd name="T28" fmla="*/ 192 w 199"/>
                    <a:gd name="T29" fmla="*/ 52 h 126"/>
                    <a:gd name="T30" fmla="*/ 186 w 199"/>
                    <a:gd name="T31" fmla="*/ 54 h 126"/>
                    <a:gd name="T32" fmla="*/ 174 w 199"/>
                    <a:gd name="T33" fmla="*/ 58 h 126"/>
                    <a:gd name="T34" fmla="*/ 169 w 199"/>
                    <a:gd name="T35" fmla="*/ 61 h 126"/>
                    <a:gd name="T36" fmla="*/ 167 w 199"/>
                    <a:gd name="T37" fmla="*/ 46 h 126"/>
                    <a:gd name="T38" fmla="*/ 168 w 199"/>
                    <a:gd name="T39" fmla="*/ 33 h 126"/>
                    <a:gd name="T40" fmla="*/ 174 w 199"/>
                    <a:gd name="T41" fmla="*/ 20 h 126"/>
                    <a:gd name="T42" fmla="*/ 182 w 199"/>
                    <a:gd name="T43" fmla="*/ 8 h 126"/>
                    <a:gd name="T44" fmla="*/ 173 w 199"/>
                    <a:gd name="T45" fmla="*/ 7 h 126"/>
                    <a:gd name="T46" fmla="*/ 158 w 199"/>
                    <a:gd name="T47" fmla="*/ 9 h 126"/>
                    <a:gd name="T48" fmla="*/ 147 w 199"/>
                    <a:gd name="T49" fmla="*/ 16 h 126"/>
                    <a:gd name="T50" fmla="*/ 137 w 199"/>
                    <a:gd name="T51" fmla="*/ 31 h 126"/>
                    <a:gd name="T52" fmla="*/ 128 w 199"/>
                    <a:gd name="T53" fmla="*/ 52 h 126"/>
                    <a:gd name="T54" fmla="*/ 122 w 199"/>
                    <a:gd name="T55" fmla="*/ 58 h 126"/>
                    <a:gd name="T56" fmla="*/ 115 w 199"/>
                    <a:gd name="T57" fmla="*/ 60 h 126"/>
                    <a:gd name="T58" fmla="*/ 99 w 199"/>
                    <a:gd name="T59" fmla="*/ 37 h 126"/>
                    <a:gd name="T60" fmla="*/ 79 w 199"/>
                    <a:gd name="T61" fmla="*/ 13 h 126"/>
                    <a:gd name="T62" fmla="*/ 75 w 199"/>
                    <a:gd name="T63" fmla="*/ 8 h 126"/>
                    <a:gd name="T64" fmla="*/ 66 w 199"/>
                    <a:gd name="T65" fmla="*/ 3 h 126"/>
                    <a:gd name="T66" fmla="*/ 58 w 199"/>
                    <a:gd name="T67" fmla="*/ 0 h 126"/>
                    <a:gd name="T68" fmla="*/ 39 w 199"/>
                    <a:gd name="T69" fmla="*/ 3 h 126"/>
                    <a:gd name="T70" fmla="*/ 21 w 199"/>
                    <a:gd name="T71" fmla="*/ 12 h 126"/>
                    <a:gd name="T72" fmla="*/ 1 w 199"/>
                    <a:gd name="T73" fmla="*/ 21 h 126"/>
                    <a:gd name="T74" fmla="*/ 0 w 199"/>
                    <a:gd name="T75" fmla="*/ 34 h 126"/>
                    <a:gd name="T76" fmla="*/ 3 w 199"/>
                    <a:gd name="T77" fmla="*/ 43 h 126"/>
                    <a:gd name="T78" fmla="*/ 10 w 199"/>
                    <a:gd name="T79" fmla="*/ 50 h 126"/>
                    <a:gd name="T80" fmla="*/ 31 w 199"/>
                    <a:gd name="T81" fmla="*/ 60 h 126"/>
                    <a:gd name="T82" fmla="*/ 54 w 199"/>
                    <a:gd name="T83" fmla="*/ 67 h 126"/>
                    <a:gd name="T84" fmla="*/ 66 w 199"/>
                    <a:gd name="T85" fmla="*/ 7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9" h="126">
                      <a:moveTo>
                        <a:pt x="66" y="71"/>
                      </a:moveTo>
                      <a:lnTo>
                        <a:pt x="66" y="71"/>
                      </a:lnTo>
                      <a:lnTo>
                        <a:pt x="60" y="75"/>
                      </a:lnTo>
                      <a:lnTo>
                        <a:pt x="56" y="81"/>
                      </a:lnTo>
                      <a:lnTo>
                        <a:pt x="55" y="87"/>
                      </a:lnTo>
                      <a:lnTo>
                        <a:pt x="54" y="92"/>
                      </a:lnTo>
                      <a:lnTo>
                        <a:pt x="55" y="98"/>
                      </a:lnTo>
                      <a:lnTo>
                        <a:pt x="58" y="104"/>
                      </a:lnTo>
                      <a:lnTo>
                        <a:pt x="61" y="110"/>
                      </a:lnTo>
                      <a:lnTo>
                        <a:pt x="66" y="115"/>
                      </a:lnTo>
                      <a:lnTo>
                        <a:pt x="66" y="115"/>
                      </a:lnTo>
                      <a:lnTo>
                        <a:pt x="94" y="103"/>
                      </a:lnTo>
                      <a:lnTo>
                        <a:pt x="108" y="98"/>
                      </a:lnTo>
                      <a:lnTo>
                        <a:pt x="122" y="95"/>
                      </a:lnTo>
                      <a:lnTo>
                        <a:pt x="129" y="95"/>
                      </a:lnTo>
                      <a:lnTo>
                        <a:pt x="136" y="96"/>
                      </a:lnTo>
                      <a:lnTo>
                        <a:pt x="142" y="97"/>
                      </a:lnTo>
                      <a:lnTo>
                        <a:pt x="147" y="99"/>
                      </a:lnTo>
                      <a:lnTo>
                        <a:pt x="152" y="104"/>
                      </a:lnTo>
                      <a:lnTo>
                        <a:pt x="157" y="110"/>
                      </a:lnTo>
                      <a:lnTo>
                        <a:pt x="161" y="117"/>
                      </a:lnTo>
                      <a:lnTo>
                        <a:pt x="165" y="126"/>
                      </a:lnTo>
                      <a:lnTo>
                        <a:pt x="165" y="126"/>
                      </a:lnTo>
                      <a:lnTo>
                        <a:pt x="183" y="109"/>
                      </a:lnTo>
                      <a:lnTo>
                        <a:pt x="190" y="102"/>
                      </a:lnTo>
                      <a:lnTo>
                        <a:pt x="195" y="94"/>
                      </a:lnTo>
                      <a:lnTo>
                        <a:pt x="198" y="85"/>
                      </a:lnTo>
                      <a:lnTo>
                        <a:pt x="199" y="76"/>
                      </a:lnTo>
                      <a:lnTo>
                        <a:pt x="197" y="66"/>
                      </a:lnTo>
                      <a:lnTo>
                        <a:pt x="192" y="52"/>
                      </a:lnTo>
                      <a:lnTo>
                        <a:pt x="192" y="52"/>
                      </a:lnTo>
                      <a:lnTo>
                        <a:pt x="186" y="54"/>
                      </a:lnTo>
                      <a:lnTo>
                        <a:pt x="181" y="57"/>
                      </a:lnTo>
                      <a:lnTo>
                        <a:pt x="174" y="58"/>
                      </a:lnTo>
                      <a:lnTo>
                        <a:pt x="169" y="61"/>
                      </a:lnTo>
                      <a:lnTo>
                        <a:pt x="169" y="61"/>
                      </a:lnTo>
                      <a:lnTo>
                        <a:pt x="167" y="53"/>
                      </a:lnTo>
                      <a:lnTo>
                        <a:pt x="167" y="46"/>
                      </a:lnTo>
                      <a:lnTo>
                        <a:pt x="167" y="39"/>
                      </a:lnTo>
                      <a:lnTo>
                        <a:pt x="168" y="33"/>
                      </a:lnTo>
                      <a:lnTo>
                        <a:pt x="170" y="26"/>
                      </a:lnTo>
                      <a:lnTo>
                        <a:pt x="174" y="20"/>
                      </a:lnTo>
                      <a:lnTo>
                        <a:pt x="177" y="14"/>
                      </a:lnTo>
                      <a:lnTo>
                        <a:pt x="182" y="8"/>
                      </a:lnTo>
                      <a:lnTo>
                        <a:pt x="182" y="8"/>
                      </a:lnTo>
                      <a:lnTo>
                        <a:pt x="173" y="7"/>
                      </a:lnTo>
                      <a:lnTo>
                        <a:pt x="165" y="7"/>
                      </a:lnTo>
                      <a:lnTo>
                        <a:pt x="158" y="9"/>
                      </a:lnTo>
                      <a:lnTo>
                        <a:pt x="152" y="12"/>
                      </a:lnTo>
                      <a:lnTo>
                        <a:pt x="147" y="16"/>
                      </a:lnTo>
                      <a:lnTo>
                        <a:pt x="143" y="21"/>
                      </a:lnTo>
                      <a:lnTo>
                        <a:pt x="137" y="31"/>
                      </a:lnTo>
                      <a:lnTo>
                        <a:pt x="132" y="42"/>
                      </a:lnTo>
                      <a:lnTo>
                        <a:pt x="128" y="52"/>
                      </a:lnTo>
                      <a:lnTo>
                        <a:pt x="125" y="56"/>
                      </a:lnTo>
                      <a:lnTo>
                        <a:pt x="122" y="58"/>
                      </a:lnTo>
                      <a:lnTo>
                        <a:pt x="120" y="60"/>
                      </a:lnTo>
                      <a:lnTo>
                        <a:pt x="115" y="60"/>
                      </a:lnTo>
                      <a:lnTo>
                        <a:pt x="115" y="60"/>
                      </a:lnTo>
                      <a:lnTo>
                        <a:pt x="99" y="37"/>
                      </a:lnTo>
                      <a:lnTo>
                        <a:pt x="85" y="20"/>
                      </a:lnTo>
                      <a:lnTo>
                        <a:pt x="79" y="13"/>
                      </a:lnTo>
                      <a:lnTo>
                        <a:pt x="75" y="8"/>
                      </a:lnTo>
                      <a:lnTo>
                        <a:pt x="75" y="8"/>
                      </a:lnTo>
                      <a:lnTo>
                        <a:pt x="70" y="5"/>
                      </a:lnTo>
                      <a:lnTo>
                        <a:pt x="66" y="3"/>
                      </a:lnTo>
                      <a:lnTo>
                        <a:pt x="61" y="0"/>
                      </a:lnTo>
                      <a:lnTo>
                        <a:pt x="58" y="0"/>
                      </a:lnTo>
                      <a:lnTo>
                        <a:pt x="48" y="0"/>
                      </a:lnTo>
                      <a:lnTo>
                        <a:pt x="39" y="3"/>
                      </a:lnTo>
                      <a:lnTo>
                        <a:pt x="30" y="6"/>
                      </a:lnTo>
                      <a:lnTo>
                        <a:pt x="21" y="12"/>
                      </a:lnTo>
                      <a:lnTo>
                        <a:pt x="1" y="21"/>
                      </a:lnTo>
                      <a:lnTo>
                        <a:pt x="1" y="21"/>
                      </a:lnTo>
                      <a:lnTo>
                        <a:pt x="0" y="28"/>
                      </a:lnTo>
                      <a:lnTo>
                        <a:pt x="0" y="34"/>
                      </a:lnTo>
                      <a:lnTo>
                        <a:pt x="1" y="38"/>
                      </a:lnTo>
                      <a:lnTo>
                        <a:pt x="3" y="43"/>
                      </a:lnTo>
                      <a:lnTo>
                        <a:pt x="7" y="46"/>
                      </a:lnTo>
                      <a:lnTo>
                        <a:pt x="10" y="50"/>
                      </a:lnTo>
                      <a:lnTo>
                        <a:pt x="20" y="56"/>
                      </a:lnTo>
                      <a:lnTo>
                        <a:pt x="31" y="60"/>
                      </a:lnTo>
                      <a:lnTo>
                        <a:pt x="43" y="64"/>
                      </a:lnTo>
                      <a:lnTo>
                        <a:pt x="54" y="67"/>
                      </a:lnTo>
                      <a:lnTo>
                        <a:pt x="66" y="71"/>
                      </a:lnTo>
                      <a:lnTo>
                        <a:pt x="66" y="71"/>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4" name="Freeform 383"/>
                <p:cNvSpPr>
                  <a:spLocks/>
                </p:cNvSpPr>
                <p:nvPr/>
              </p:nvSpPr>
              <p:spPr bwMode="auto">
                <a:xfrm>
                  <a:off x="2970213" y="350838"/>
                  <a:ext cx="17463" cy="17463"/>
                </a:xfrm>
                <a:custGeom>
                  <a:avLst/>
                  <a:gdLst>
                    <a:gd name="T0" fmla="*/ 65 w 75"/>
                    <a:gd name="T1" fmla="*/ 61 h 71"/>
                    <a:gd name="T2" fmla="*/ 65 w 75"/>
                    <a:gd name="T3" fmla="*/ 61 h 71"/>
                    <a:gd name="T4" fmla="*/ 70 w 75"/>
                    <a:gd name="T5" fmla="*/ 57 h 71"/>
                    <a:gd name="T6" fmla="*/ 72 w 75"/>
                    <a:gd name="T7" fmla="*/ 54 h 71"/>
                    <a:gd name="T8" fmla="*/ 72 w 75"/>
                    <a:gd name="T9" fmla="*/ 51 h 71"/>
                    <a:gd name="T10" fmla="*/ 72 w 75"/>
                    <a:gd name="T11" fmla="*/ 49 h 71"/>
                    <a:gd name="T12" fmla="*/ 70 w 75"/>
                    <a:gd name="T13" fmla="*/ 47 h 71"/>
                    <a:gd name="T14" fmla="*/ 66 w 75"/>
                    <a:gd name="T15" fmla="*/ 45 h 71"/>
                    <a:gd name="T16" fmla="*/ 57 w 75"/>
                    <a:gd name="T17" fmla="*/ 40 h 71"/>
                    <a:gd name="T18" fmla="*/ 46 w 75"/>
                    <a:gd name="T19" fmla="*/ 37 h 71"/>
                    <a:gd name="T20" fmla="*/ 35 w 75"/>
                    <a:gd name="T21" fmla="*/ 34 h 71"/>
                    <a:gd name="T22" fmla="*/ 22 w 75"/>
                    <a:gd name="T23" fmla="*/ 32 h 71"/>
                    <a:gd name="T24" fmla="*/ 22 w 75"/>
                    <a:gd name="T25" fmla="*/ 32 h 71"/>
                    <a:gd name="T26" fmla="*/ 75 w 75"/>
                    <a:gd name="T27" fmla="*/ 28 h 71"/>
                    <a:gd name="T28" fmla="*/ 75 w 75"/>
                    <a:gd name="T29" fmla="*/ 28 h 71"/>
                    <a:gd name="T30" fmla="*/ 75 w 75"/>
                    <a:gd name="T31" fmla="*/ 19 h 71"/>
                    <a:gd name="T32" fmla="*/ 71 w 75"/>
                    <a:gd name="T33" fmla="*/ 12 h 71"/>
                    <a:gd name="T34" fmla="*/ 68 w 75"/>
                    <a:gd name="T35" fmla="*/ 7 h 71"/>
                    <a:gd name="T36" fmla="*/ 61 w 75"/>
                    <a:gd name="T37" fmla="*/ 3 h 71"/>
                    <a:gd name="T38" fmla="*/ 54 w 75"/>
                    <a:gd name="T39" fmla="*/ 1 h 71"/>
                    <a:gd name="T40" fmla="*/ 46 w 75"/>
                    <a:gd name="T41" fmla="*/ 0 h 71"/>
                    <a:gd name="T42" fmla="*/ 38 w 75"/>
                    <a:gd name="T43" fmla="*/ 1 h 71"/>
                    <a:gd name="T44" fmla="*/ 30 w 75"/>
                    <a:gd name="T45" fmla="*/ 3 h 71"/>
                    <a:gd name="T46" fmla="*/ 30 w 75"/>
                    <a:gd name="T47" fmla="*/ 3 h 71"/>
                    <a:gd name="T48" fmla="*/ 19 w 75"/>
                    <a:gd name="T49" fmla="*/ 8 h 71"/>
                    <a:gd name="T50" fmla="*/ 14 w 75"/>
                    <a:gd name="T51" fmla="*/ 12 h 71"/>
                    <a:gd name="T52" fmla="*/ 10 w 75"/>
                    <a:gd name="T53" fmla="*/ 18 h 71"/>
                    <a:gd name="T54" fmla="*/ 8 w 75"/>
                    <a:gd name="T55" fmla="*/ 24 h 71"/>
                    <a:gd name="T56" fmla="*/ 7 w 75"/>
                    <a:gd name="T57" fmla="*/ 38 h 71"/>
                    <a:gd name="T58" fmla="*/ 4 w 75"/>
                    <a:gd name="T59" fmla="*/ 47 h 71"/>
                    <a:gd name="T60" fmla="*/ 0 w 75"/>
                    <a:gd name="T61" fmla="*/ 56 h 71"/>
                    <a:gd name="T62" fmla="*/ 0 w 75"/>
                    <a:gd name="T63" fmla="*/ 56 h 71"/>
                    <a:gd name="T64" fmla="*/ 19 w 75"/>
                    <a:gd name="T65" fmla="*/ 65 h 71"/>
                    <a:gd name="T66" fmla="*/ 26 w 75"/>
                    <a:gd name="T67" fmla="*/ 69 h 71"/>
                    <a:gd name="T68" fmla="*/ 33 w 75"/>
                    <a:gd name="T69" fmla="*/ 70 h 71"/>
                    <a:gd name="T70" fmla="*/ 40 w 75"/>
                    <a:gd name="T71" fmla="*/ 71 h 71"/>
                    <a:gd name="T72" fmla="*/ 47 w 75"/>
                    <a:gd name="T73" fmla="*/ 69 h 71"/>
                    <a:gd name="T74" fmla="*/ 55 w 75"/>
                    <a:gd name="T75" fmla="*/ 66 h 71"/>
                    <a:gd name="T76" fmla="*/ 65 w 75"/>
                    <a:gd name="T77" fmla="*/ 61 h 71"/>
                    <a:gd name="T78" fmla="*/ 65 w 75"/>
                    <a:gd name="T79" fmla="*/ 6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 h="71">
                      <a:moveTo>
                        <a:pt x="65" y="61"/>
                      </a:moveTo>
                      <a:lnTo>
                        <a:pt x="65" y="61"/>
                      </a:lnTo>
                      <a:lnTo>
                        <a:pt x="70" y="57"/>
                      </a:lnTo>
                      <a:lnTo>
                        <a:pt x="72" y="54"/>
                      </a:lnTo>
                      <a:lnTo>
                        <a:pt x="72" y="51"/>
                      </a:lnTo>
                      <a:lnTo>
                        <a:pt x="72" y="49"/>
                      </a:lnTo>
                      <a:lnTo>
                        <a:pt x="70" y="47"/>
                      </a:lnTo>
                      <a:lnTo>
                        <a:pt x="66" y="45"/>
                      </a:lnTo>
                      <a:lnTo>
                        <a:pt x="57" y="40"/>
                      </a:lnTo>
                      <a:lnTo>
                        <a:pt x="46" y="37"/>
                      </a:lnTo>
                      <a:lnTo>
                        <a:pt x="35" y="34"/>
                      </a:lnTo>
                      <a:lnTo>
                        <a:pt x="22" y="32"/>
                      </a:lnTo>
                      <a:lnTo>
                        <a:pt x="22" y="32"/>
                      </a:lnTo>
                      <a:lnTo>
                        <a:pt x="75" y="28"/>
                      </a:lnTo>
                      <a:lnTo>
                        <a:pt x="75" y="28"/>
                      </a:lnTo>
                      <a:lnTo>
                        <a:pt x="75" y="19"/>
                      </a:lnTo>
                      <a:lnTo>
                        <a:pt x="71" y="12"/>
                      </a:lnTo>
                      <a:lnTo>
                        <a:pt x="68" y="7"/>
                      </a:lnTo>
                      <a:lnTo>
                        <a:pt x="61" y="3"/>
                      </a:lnTo>
                      <a:lnTo>
                        <a:pt x="54" y="1"/>
                      </a:lnTo>
                      <a:lnTo>
                        <a:pt x="46" y="0"/>
                      </a:lnTo>
                      <a:lnTo>
                        <a:pt x="38" y="1"/>
                      </a:lnTo>
                      <a:lnTo>
                        <a:pt x="30" y="3"/>
                      </a:lnTo>
                      <a:lnTo>
                        <a:pt x="30" y="3"/>
                      </a:lnTo>
                      <a:lnTo>
                        <a:pt x="19" y="8"/>
                      </a:lnTo>
                      <a:lnTo>
                        <a:pt x="14" y="12"/>
                      </a:lnTo>
                      <a:lnTo>
                        <a:pt x="10" y="18"/>
                      </a:lnTo>
                      <a:lnTo>
                        <a:pt x="8" y="24"/>
                      </a:lnTo>
                      <a:lnTo>
                        <a:pt x="7" y="38"/>
                      </a:lnTo>
                      <a:lnTo>
                        <a:pt x="4" y="47"/>
                      </a:lnTo>
                      <a:lnTo>
                        <a:pt x="0" y="56"/>
                      </a:lnTo>
                      <a:lnTo>
                        <a:pt x="0" y="56"/>
                      </a:lnTo>
                      <a:lnTo>
                        <a:pt x="19" y="65"/>
                      </a:lnTo>
                      <a:lnTo>
                        <a:pt x="26" y="69"/>
                      </a:lnTo>
                      <a:lnTo>
                        <a:pt x="33" y="70"/>
                      </a:lnTo>
                      <a:lnTo>
                        <a:pt x="40" y="71"/>
                      </a:lnTo>
                      <a:lnTo>
                        <a:pt x="47" y="69"/>
                      </a:lnTo>
                      <a:lnTo>
                        <a:pt x="55" y="66"/>
                      </a:lnTo>
                      <a:lnTo>
                        <a:pt x="65" y="61"/>
                      </a:lnTo>
                      <a:lnTo>
                        <a:pt x="65" y="61"/>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5" name="Freeform 384"/>
                <p:cNvSpPr>
                  <a:spLocks/>
                </p:cNvSpPr>
                <p:nvPr/>
              </p:nvSpPr>
              <p:spPr bwMode="auto">
                <a:xfrm>
                  <a:off x="2992438" y="354013"/>
                  <a:ext cx="20638" cy="20638"/>
                </a:xfrm>
                <a:custGeom>
                  <a:avLst/>
                  <a:gdLst>
                    <a:gd name="T0" fmla="*/ 69 w 91"/>
                    <a:gd name="T1" fmla="*/ 85 h 85"/>
                    <a:gd name="T2" fmla="*/ 69 w 91"/>
                    <a:gd name="T3" fmla="*/ 85 h 85"/>
                    <a:gd name="T4" fmla="*/ 78 w 91"/>
                    <a:gd name="T5" fmla="*/ 85 h 85"/>
                    <a:gd name="T6" fmla="*/ 84 w 91"/>
                    <a:gd name="T7" fmla="*/ 84 h 85"/>
                    <a:gd name="T8" fmla="*/ 87 w 91"/>
                    <a:gd name="T9" fmla="*/ 81 h 85"/>
                    <a:gd name="T10" fmla="*/ 89 w 91"/>
                    <a:gd name="T11" fmla="*/ 78 h 85"/>
                    <a:gd name="T12" fmla="*/ 91 w 91"/>
                    <a:gd name="T13" fmla="*/ 72 h 85"/>
                    <a:gd name="T14" fmla="*/ 89 w 91"/>
                    <a:gd name="T15" fmla="*/ 67 h 85"/>
                    <a:gd name="T16" fmla="*/ 87 w 91"/>
                    <a:gd name="T17" fmla="*/ 61 h 85"/>
                    <a:gd name="T18" fmla="*/ 84 w 91"/>
                    <a:gd name="T19" fmla="*/ 54 h 85"/>
                    <a:gd name="T20" fmla="*/ 76 w 91"/>
                    <a:gd name="T21" fmla="*/ 40 h 85"/>
                    <a:gd name="T22" fmla="*/ 66 w 91"/>
                    <a:gd name="T23" fmla="*/ 27 h 85"/>
                    <a:gd name="T24" fmla="*/ 53 w 91"/>
                    <a:gd name="T25" fmla="*/ 10 h 85"/>
                    <a:gd name="T26" fmla="*/ 53 w 91"/>
                    <a:gd name="T27" fmla="*/ 10 h 85"/>
                    <a:gd name="T28" fmla="*/ 47 w 91"/>
                    <a:gd name="T29" fmla="*/ 4 h 85"/>
                    <a:gd name="T30" fmla="*/ 41 w 91"/>
                    <a:gd name="T31" fmla="*/ 1 h 85"/>
                    <a:gd name="T32" fmla="*/ 36 w 91"/>
                    <a:gd name="T33" fmla="*/ 0 h 85"/>
                    <a:gd name="T34" fmla="*/ 31 w 91"/>
                    <a:gd name="T35" fmla="*/ 0 h 85"/>
                    <a:gd name="T36" fmla="*/ 26 w 91"/>
                    <a:gd name="T37" fmla="*/ 2 h 85"/>
                    <a:gd name="T38" fmla="*/ 21 w 91"/>
                    <a:gd name="T39" fmla="*/ 4 h 85"/>
                    <a:gd name="T40" fmla="*/ 17 w 91"/>
                    <a:gd name="T41" fmla="*/ 9 h 85"/>
                    <a:gd name="T42" fmla="*/ 13 w 91"/>
                    <a:gd name="T43" fmla="*/ 13 h 85"/>
                    <a:gd name="T44" fmla="*/ 6 w 91"/>
                    <a:gd name="T45" fmla="*/ 26 h 85"/>
                    <a:gd name="T46" fmla="*/ 2 w 91"/>
                    <a:gd name="T47" fmla="*/ 39 h 85"/>
                    <a:gd name="T48" fmla="*/ 0 w 91"/>
                    <a:gd name="T49" fmla="*/ 51 h 85"/>
                    <a:gd name="T50" fmla="*/ 0 w 91"/>
                    <a:gd name="T51" fmla="*/ 57 h 85"/>
                    <a:gd name="T52" fmla="*/ 0 w 91"/>
                    <a:gd name="T53" fmla="*/ 62 h 85"/>
                    <a:gd name="T54" fmla="*/ 0 w 91"/>
                    <a:gd name="T55" fmla="*/ 62 h 85"/>
                    <a:gd name="T56" fmla="*/ 11 w 91"/>
                    <a:gd name="T57" fmla="*/ 58 h 85"/>
                    <a:gd name="T58" fmla="*/ 21 w 91"/>
                    <a:gd name="T59" fmla="*/ 57 h 85"/>
                    <a:gd name="T60" fmla="*/ 31 w 91"/>
                    <a:gd name="T61" fmla="*/ 58 h 85"/>
                    <a:gd name="T62" fmla="*/ 38 w 91"/>
                    <a:gd name="T63" fmla="*/ 61 h 85"/>
                    <a:gd name="T64" fmla="*/ 46 w 91"/>
                    <a:gd name="T65" fmla="*/ 65 h 85"/>
                    <a:gd name="T66" fmla="*/ 53 w 91"/>
                    <a:gd name="T67" fmla="*/ 71 h 85"/>
                    <a:gd name="T68" fmla="*/ 69 w 91"/>
                    <a:gd name="T69" fmla="*/ 85 h 85"/>
                    <a:gd name="T70" fmla="*/ 69 w 91"/>
                    <a:gd name="T71"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 h="85">
                      <a:moveTo>
                        <a:pt x="69" y="85"/>
                      </a:moveTo>
                      <a:lnTo>
                        <a:pt x="69" y="85"/>
                      </a:lnTo>
                      <a:lnTo>
                        <a:pt x="78" y="85"/>
                      </a:lnTo>
                      <a:lnTo>
                        <a:pt x="84" y="84"/>
                      </a:lnTo>
                      <a:lnTo>
                        <a:pt x="87" y="81"/>
                      </a:lnTo>
                      <a:lnTo>
                        <a:pt x="89" y="78"/>
                      </a:lnTo>
                      <a:lnTo>
                        <a:pt x="91" y="72"/>
                      </a:lnTo>
                      <a:lnTo>
                        <a:pt x="89" y="67"/>
                      </a:lnTo>
                      <a:lnTo>
                        <a:pt x="87" y="61"/>
                      </a:lnTo>
                      <a:lnTo>
                        <a:pt x="84" y="54"/>
                      </a:lnTo>
                      <a:lnTo>
                        <a:pt x="76" y="40"/>
                      </a:lnTo>
                      <a:lnTo>
                        <a:pt x="66" y="27"/>
                      </a:lnTo>
                      <a:lnTo>
                        <a:pt x="53" y="10"/>
                      </a:lnTo>
                      <a:lnTo>
                        <a:pt x="53" y="10"/>
                      </a:lnTo>
                      <a:lnTo>
                        <a:pt x="47" y="4"/>
                      </a:lnTo>
                      <a:lnTo>
                        <a:pt x="41" y="1"/>
                      </a:lnTo>
                      <a:lnTo>
                        <a:pt x="36" y="0"/>
                      </a:lnTo>
                      <a:lnTo>
                        <a:pt x="31" y="0"/>
                      </a:lnTo>
                      <a:lnTo>
                        <a:pt x="26" y="2"/>
                      </a:lnTo>
                      <a:lnTo>
                        <a:pt x="21" y="4"/>
                      </a:lnTo>
                      <a:lnTo>
                        <a:pt x="17" y="9"/>
                      </a:lnTo>
                      <a:lnTo>
                        <a:pt x="13" y="13"/>
                      </a:lnTo>
                      <a:lnTo>
                        <a:pt x="6" y="26"/>
                      </a:lnTo>
                      <a:lnTo>
                        <a:pt x="2" y="39"/>
                      </a:lnTo>
                      <a:lnTo>
                        <a:pt x="0" y="51"/>
                      </a:lnTo>
                      <a:lnTo>
                        <a:pt x="0" y="57"/>
                      </a:lnTo>
                      <a:lnTo>
                        <a:pt x="0" y="62"/>
                      </a:lnTo>
                      <a:lnTo>
                        <a:pt x="0" y="62"/>
                      </a:lnTo>
                      <a:lnTo>
                        <a:pt x="11" y="58"/>
                      </a:lnTo>
                      <a:lnTo>
                        <a:pt x="21" y="57"/>
                      </a:lnTo>
                      <a:lnTo>
                        <a:pt x="31" y="58"/>
                      </a:lnTo>
                      <a:lnTo>
                        <a:pt x="38" y="61"/>
                      </a:lnTo>
                      <a:lnTo>
                        <a:pt x="46" y="65"/>
                      </a:lnTo>
                      <a:lnTo>
                        <a:pt x="53" y="71"/>
                      </a:lnTo>
                      <a:lnTo>
                        <a:pt x="69" y="85"/>
                      </a:lnTo>
                      <a:lnTo>
                        <a:pt x="69" y="85"/>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6" name="Freeform 385"/>
                <p:cNvSpPr>
                  <a:spLocks/>
                </p:cNvSpPr>
                <p:nvPr/>
              </p:nvSpPr>
              <p:spPr bwMode="auto">
                <a:xfrm>
                  <a:off x="3014663" y="363538"/>
                  <a:ext cx="14288" cy="17463"/>
                </a:xfrm>
                <a:custGeom>
                  <a:avLst/>
                  <a:gdLst>
                    <a:gd name="T0" fmla="*/ 7 w 64"/>
                    <a:gd name="T1" fmla="*/ 44 h 75"/>
                    <a:gd name="T2" fmla="*/ 7 w 64"/>
                    <a:gd name="T3" fmla="*/ 44 h 75"/>
                    <a:gd name="T4" fmla="*/ 9 w 64"/>
                    <a:gd name="T5" fmla="*/ 52 h 75"/>
                    <a:gd name="T6" fmla="*/ 11 w 64"/>
                    <a:gd name="T7" fmla="*/ 60 h 75"/>
                    <a:gd name="T8" fmla="*/ 18 w 64"/>
                    <a:gd name="T9" fmla="*/ 75 h 75"/>
                    <a:gd name="T10" fmla="*/ 18 w 64"/>
                    <a:gd name="T11" fmla="*/ 75 h 75"/>
                    <a:gd name="T12" fmla="*/ 35 w 64"/>
                    <a:gd name="T13" fmla="*/ 67 h 75"/>
                    <a:gd name="T14" fmla="*/ 44 w 64"/>
                    <a:gd name="T15" fmla="*/ 62 h 75"/>
                    <a:gd name="T16" fmla="*/ 52 w 64"/>
                    <a:gd name="T17" fmla="*/ 59 h 75"/>
                    <a:gd name="T18" fmla="*/ 57 w 64"/>
                    <a:gd name="T19" fmla="*/ 53 h 75"/>
                    <a:gd name="T20" fmla="*/ 62 w 64"/>
                    <a:gd name="T21" fmla="*/ 46 h 75"/>
                    <a:gd name="T22" fmla="*/ 63 w 64"/>
                    <a:gd name="T23" fmla="*/ 43 h 75"/>
                    <a:gd name="T24" fmla="*/ 64 w 64"/>
                    <a:gd name="T25" fmla="*/ 38 h 75"/>
                    <a:gd name="T26" fmla="*/ 64 w 64"/>
                    <a:gd name="T27" fmla="*/ 33 h 75"/>
                    <a:gd name="T28" fmla="*/ 64 w 64"/>
                    <a:gd name="T29" fmla="*/ 29 h 75"/>
                    <a:gd name="T30" fmla="*/ 64 w 64"/>
                    <a:gd name="T31" fmla="*/ 29 h 75"/>
                    <a:gd name="T32" fmla="*/ 62 w 64"/>
                    <a:gd name="T33" fmla="*/ 23 h 75"/>
                    <a:gd name="T34" fmla="*/ 61 w 64"/>
                    <a:gd name="T35" fmla="*/ 18 h 75"/>
                    <a:gd name="T36" fmla="*/ 57 w 64"/>
                    <a:gd name="T37" fmla="*/ 14 h 75"/>
                    <a:gd name="T38" fmla="*/ 55 w 64"/>
                    <a:gd name="T39" fmla="*/ 10 h 75"/>
                    <a:gd name="T40" fmla="*/ 47 w 64"/>
                    <a:gd name="T41" fmla="*/ 5 h 75"/>
                    <a:gd name="T42" fmla="*/ 38 w 64"/>
                    <a:gd name="T43" fmla="*/ 1 h 75"/>
                    <a:gd name="T44" fmla="*/ 29 w 64"/>
                    <a:gd name="T45" fmla="*/ 0 h 75"/>
                    <a:gd name="T46" fmla="*/ 19 w 64"/>
                    <a:gd name="T47" fmla="*/ 0 h 75"/>
                    <a:gd name="T48" fmla="*/ 9 w 64"/>
                    <a:gd name="T49" fmla="*/ 1 h 75"/>
                    <a:gd name="T50" fmla="*/ 0 w 64"/>
                    <a:gd name="T51" fmla="*/ 3 h 75"/>
                    <a:gd name="T52" fmla="*/ 0 w 64"/>
                    <a:gd name="T53" fmla="*/ 3 h 75"/>
                    <a:gd name="T54" fmla="*/ 6 w 64"/>
                    <a:gd name="T55" fmla="*/ 8 h 75"/>
                    <a:gd name="T56" fmla="*/ 10 w 64"/>
                    <a:gd name="T57" fmla="*/ 13 h 75"/>
                    <a:gd name="T58" fmla="*/ 14 w 64"/>
                    <a:gd name="T59" fmla="*/ 17 h 75"/>
                    <a:gd name="T60" fmla="*/ 16 w 64"/>
                    <a:gd name="T61" fmla="*/ 22 h 75"/>
                    <a:gd name="T62" fmla="*/ 16 w 64"/>
                    <a:gd name="T63" fmla="*/ 28 h 75"/>
                    <a:gd name="T64" fmla="*/ 15 w 64"/>
                    <a:gd name="T65" fmla="*/ 33 h 75"/>
                    <a:gd name="T66" fmla="*/ 11 w 64"/>
                    <a:gd name="T67" fmla="*/ 38 h 75"/>
                    <a:gd name="T68" fmla="*/ 7 w 64"/>
                    <a:gd name="T69" fmla="*/ 44 h 75"/>
                    <a:gd name="T70" fmla="*/ 7 w 64"/>
                    <a:gd name="T71" fmla="*/ 4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4" h="75">
                      <a:moveTo>
                        <a:pt x="7" y="44"/>
                      </a:moveTo>
                      <a:lnTo>
                        <a:pt x="7" y="44"/>
                      </a:lnTo>
                      <a:lnTo>
                        <a:pt x="9" y="52"/>
                      </a:lnTo>
                      <a:lnTo>
                        <a:pt x="11" y="60"/>
                      </a:lnTo>
                      <a:lnTo>
                        <a:pt x="18" y="75"/>
                      </a:lnTo>
                      <a:lnTo>
                        <a:pt x="18" y="75"/>
                      </a:lnTo>
                      <a:lnTo>
                        <a:pt x="35" y="67"/>
                      </a:lnTo>
                      <a:lnTo>
                        <a:pt x="44" y="62"/>
                      </a:lnTo>
                      <a:lnTo>
                        <a:pt x="52" y="59"/>
                      </a:lnTo>
                      <a:lnTo>
                        <a:pt x="57" y="53"/>
                      </a:lnTo>
                      <a:lnTo>
                        <a:pt x="62" y="46"/>
                      </a:lnTo>
                      <a:lnTo>
                        <a:pt x="63" y="43"/>
                      </a:lnTo>
                      <a:lnTo>
                        <a:pt x="64" y="38"/>
                      </a:lnTo>
                      <a:lnTo>
                        <a:pt x="64" y="33"/>
                      </a:lnTo>
                      <a:lnTo>
                        <a:pt x="64" y="29"/>
                      </a:lnTo>
                      <a:lnTo>
                        <a:pt x="64" y="29"/>
                      </a:lnTo>
                      <a:lnTo>
                        <a:pt x="62" y="23"/>
                      </a:lnTo>
                      <a:lnTo>
                        <a:pt x="61" y="18"/>
                      </a:lnTo>
                      <a:lnTo>
                        <a:pt x="57" y="14"/>
                      </a:lnTo>
                      <a:lnTo>
                        <a:pt x="55" y="10"/>
                      </a:lnTo>
                      <a:lnTo>
                        <a:pt x="47" y="5"/>
                      </a:lnTo>
                      <a:lnTo>
                        <a:pt x="38" y="1"/>
                      </a:lnTo>
                      <a:lnTo>
                        <a:pt x="29" y="0"/>
                      </a:lnTo>
                      <a:lnTo>
                        <a:pt x="19" y="0"/>
                      </a:lnTo>
                      <a:lnTo>
                        <a:pt x="9" y="1"/>
                      </a:lnTo>
                      <a:lnTo>
                        <a:pt x="0" y="3"/>
                      </a:lnTo>
                      <a:lnTo>
                        <a:pt x="0" y="3"/>
                      </a:lnTo>
                      <a:lnTo>
                        <a:pt x="6" y="8"/>
                      </a:lnTo>
                      <a:lnTo>
                        <a:pt x="10" y="13"/>
                      </a:lnTo>
                      <a:lnTo>
                        <a:pt x="14" y="17"/>
                      </a:lnTo>
                      <a:lnTo>
                        <a:pt x="16" y="22"/>
                      </a:lnTo>
                      <a:lnTo>
                        <a:pt x="16" y="28"/>
                      </a:lnTo>
                      <a:lnTo>
                        <a:pt x="15" y="33"/>
                      </a:lnTo>
                      <a:lnTo>
                        <a:pt x="11" y="38"/>
                      </a:lnTo>
                      <a:lnTo>
                        <a:pt x="7" y="44"/>
                      </a:lnTo>
                      <a:lnTo>
                        <a:pt x="7" y="44"/>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7" name="Freeform 386"/>
                <p:cNvSpPr>
                  <a:spLocks/>
                </p:cNvSpPr>
                <p:nvPr/>
              </p:nvSpPr>
              <p:spPr bwMode="auto">
                <a:xfrm>
                  <a:off x="3027363" y="346075"/>
                  <a:ext cx="34925" cy="33338"/>
                </a:xfrm>
                <a:custGeom>
                  <a:avLst/>
                  <a:gdLst>
                    <a:gd name="T0" fmla="*/ 52 w 156"/>
                    <a:gd name="T1" fmla="*/ 83 h 152"/>
                    <a:gd name="T2" fmla="*/ 52 w 156"/>
                    <a:gd name="T3" fmla="*/ 83 h 152"/>
                    <a:gd name="T4" fmla="*/ 55 w 156"/>
                    <a:gd name="T5" fmla="*/ 87 h 152"/>
                    <a:gd name="T6" fmla="*/ 57 w 156"/>
                    <a:gd name="T7" fmla="*/ 90 h 152"/>
                    <a:gd name="T8" fmla="*/ 58 w 156"/>
                    <a:gd name="T9" fmla="*/ 92 h 152"/>
                    <a:gd name="T10" fmla="*/ 57 w 156"/>
                    <a:gd name="T11" fmla="*/ 95 h 152"/>
                    <a:gd name="T12" fmla="*/ 55 w 156"/>
                    <a:gd name="T13" fmla="*/ 96 h 152"/>
                    <a:gd name="T14" fmla="*/ 53 w 156"/>
                    <a:gd name="T15" fmla="*/ 97 h 152"/>
                    <a:gd name="T16" fmla="*/ 46 w 156"/>
                    <a:gd name="T17" fmla="*/ 99 h 152"/>
                    <a:gd name="T18" fmla="*/ 38 w 156"/>
                    <a:gd name="T19" fmla="*/ 100 h 152"/>
                    <a:gd name="T20" fmla="*/ 29 w 156"/>
                    <a:gd name="T21" fmla="*/ 100 h 152"/>
                    <a:gd name="T22" fmla="*/ 13 w 156"/>
                    <a:gd name="T23" fmla="*/ 102 h 152"/>
                    <a:gd name="T24" fmla="*/ 13 w 156"/>
                    <a:gd name="T25" fmla="*/ 102 h 152"/>
                    <a:gd name="T26" fmla="*/ 30 w 156"/>
                    <a:gd name="T27" fmla="*/ 122 h 152"/>
                    <a:gd name="T28" fmla="*/ 38 w 156"/>
                    <a:gd name="T29" fmla="*/ 130 h 152"/>
                    <a:gd name="T30" fmla="*/ 45 w 156"/>
                    <a:gd name="T31" fmla="*/ 137 h 152"/>
                    <a:gd name="T32" fmla="*/ 53 w 156"/>
                    <a:gd name="T33" fmla="*/ 143 h 152"/>
                    <a:gd name="T34" fmla="*/ 60 w 156"/>
                    <a:gd name="T35" fmla="*/ 148 h 152"/>
                    <a:gd name="T36" fmla="*/ 68 w 156"/>
                    <a:gd name="T37" fmla="*/ 150 h 152"/>
                    <a:gd name="T38" fmla="*/ 76 w 156"/>
                    <a:gd name="T39" fmla="*/ 152 h 152"/>
                    <a:gd name="T40" fmla="*/ 83 w 156"/>
                    <a:gd name="T41" fmla="*/ 152 h 152"/>
                    <a:gd name="T42" fmla="*/ 92 w 156"/>
                    <a:gd name="T43" fmla="*/ 152 h 152"/>
                    <a:gd name="T44" fmla="*/ 100 w 156"/>
                    <a:gd name="T45" fmla="*/ 151 h 152"/>
                    <a:gd name="T46" fmla="*/ 111 w 156"/>
                    <a:gd name="T47" fmla="*/ 149 h 152"/>
                    <a:gd name="T48" fmla="*/ 131 w 156"/>
                    <a:gd name="T49" fmla="*/ 141 h 152"/>
                    <a:gd name="T50" fmla="*/ 156 w 156"/>
                    <a:gd name="T51" fmla="*/ 130 h 152"/>
                    <a:gd name="T52" fmla="*/ 156 w 156"/>
                    <a:gd name="T53" fmla="*/ 130 h 152"/>
                    <a:gd name="T54" fmla="*/ 92 w 156"/>
                    <a:gd name="T55" fmla="*/ 34 h 152"/>
                    <a:gd name="T56" fmla="*/ 92 w 156"/>
                    <a:gd name="T57" fmla="*/ 34 h 152"/>
                    <a:gd name="T58" fmla="*/ 82 w 156"/>
                    <a:gd name="T59" fmla="*/ 15 h 152"/>
                    <a:gd name="T60" fmla="*/ 75 w 156"/>
                    <a:gd name="T61" fmla="*/ 5 h 152"/>
                    <a:gd name="T62" fmla="*/ 72 w 156"/>
                    <a:gd name="T63" fmla="*/ 1 h 152"/>
                    <a:gd name="T64" fmla="*/ 69 w 156"/>
                    <a:gd name="T65" fmla="*/ 0 h 152"/>
                    <a:gd name="T66" fmla="*/ 69 w 156"/>
                    <a:gd name="T67" fmla="*/ 0 h 152"/>
                    <a:gd name="T68" fmla="*/ 64 w 156"/>
                    <a:gd name="T69" fmla="*/ 0 h 152"/>
                    <a:gd name="T70" fmla="*/ 58 w 156"/>
                    <a:gd name="T71" fmla="*/ 3 h 152"/>
                    <a:gd name="T72" fmla="*/ 52 w 156"/>
                    <a:gd name="T73" fmla="*/ 6 h 152"/>
                    <a:gd name="T74" fmla="*/ 47 w 156"/>
                    <a:gd name="T75" fmla="*/ 12 h 152"/>
                    <a:gd name="T76" fmla="*/ 44 w 156"/>
                    <a:gd name="T77" fmla="*/ 17 h 152"/>
                    <a:gd name="T78" fmla="*/ 41 w 156"/>
                    <a:gd name="T79" fmla="*/ 24 h 152"/>
                    <a:gd name="T80" fmla="*/ 39 w 156"/>
                    <a:gd name="T81" fmla="*/ 30 h 152"/>
                    <a:gd name="T82" fmla="*/ 39 w 156"/>
                    <a:gd name="T83" fmla="*/ 36 h 152"/>
                    <a:gd name="T84" fmla="*/ 39 w 156"/>
                    <a:gd name="T85" fmla="*/ 36 h 152"/>
                    <a:gd name="T86" fmla="*/ 32 w 156"/>
                    <a:gd name="T87" fmla="*/ 32 h 152"/>
                    <a:gd name="T88" fmla="*/ 27 w 156"/>
                    <a:gd name="T89" fmla="*/ 30 h 152"/>
                    <a:gd name="T90" fmla="*/ 20 w 156"/>
                    <a:gd name="T91" fmla="*/ 30 h 152"/>
                    <a:gd name="T92" fmla="*/ 13 w 156"/>
                    <a:gd name="T93" fmla="*/ 31 h 152"/>
                    <a:gd name="T94" fmla="*/ 8 w 156"/>
                    <a:gd name="T95" fmla="*/ 34 h 152"/>
                    <a:gd name="T96" fmla="*/ 4 w 156"/>
                    <a:gd name="T97" fmla="*/ 38 h 152"/>
                    <a:gd name="T98" fmla="*/ 1 w 156"/>
                    <a:gd name="T99" fmla="*/ 45 h 152"/>
                    <a:gd name="T100" fmla="*/ 0 w 156"/>
                    <a:gd name="T101" fmla="*/ 53 h 152"/>
                    <a:gd name="T102" fmla="*/ 0 w 156"/>
                    <a:gd name="T103" fmla="*/ 53 h 152"/>
                    <a:gd name="T104" fmla="*/ 1 w 156"/>
                    <a:gd name="T105" fmla="*/ 66 h 152"/>
                    <a:gd name="T106" fmla="*/ 4 w 156"/>
                    <a:gd name="T107" fmla="*/ 75 h 152"/>
                    <a:gd name="T108" fmla="*/ 6 w 156"/>
                    <a:gd name="T109" fmla="*/ 77 h 152"/>
                    <a:gd name="T110" fmla="*/ 7 w 156"/>
                    <a:gd name="T111" fmla="*/ 80 h 152"/>
                    <a:gd name="T112" fmla="*/ 9 w 156"/>
                    <a:gd name="T113" fmla="*/ 82 h 152"/>
                    <a:gd name="T114" fmla="*/ 13 w 156"/>
                    <a:gd name="T115" fmla="*/ 83 h 152"/>
                    <a:gd name="T116" fmla="*/ 20 w 156"/>
                    <a:gd name="T117" fmla="*/ 84 h 152"/>
                    <a:gd name="T118" fmla="*/ 28 w 156"/>
                    <a:gd name="T119" fmla="*/ 83 h 152"/>
                    <a:gd name="T120" fmla="*/ 52 w 156"/>
                    <a:gd name="T121" fmla="*/ 83 h 152"/>
                    <a:gd name="T122" fmla="*/ 52 w 156"/>
                    <a:gd name="T123" fmla="*/ 8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6" h="152">
                      <a:moveTo>
                        <a:pt x="52" y="83"/>
                      </a:moveTo>
                      <a:lnTo>
                        <a:pt x="52" y="83"/>
                      </a:lnTo>
                      <a:lnTo>
                        <a:pt x="55" y="87"/>
                      </a:lnTo>
                      <a:lnTo>
                        <a:pt x="57" y="90"/>
                      </a:lnTo>
                      <a:lnTo>
                        <a:pt x="58" y="92"/>
                      </a:lnTo>
                      <a:lnTo>
                        <a:pt x="57" y="95"/>
                      </a:lnTo>
                      <a:lnTo>
                        <a:pt x="55" y="96"/>
                      </a:lnTo>
                      <a:lnTo>
                        <a:pt x="53" y="97"/>
                      </a:lnTo>
                      <a:lnTo>
                        <a:pt x="46" y="99"/>
                      </a:lnTo>
                      <a:lnTo>
                        <a:pt x="38" y="100"/>
                      </a:lnTo>
                      <a:lnTo>
                        <a:pt x="29" y="100"/>
                      </a:lnTo>
                      <a:lnTo>
                        <a:pt x="13" y="102"/>
                      </a:lnTo>
                      <a:lnTo>
                        <a:pt x="13" y="102"/>
                      </a:lnTo>
                      <a:lnTo>
                        <a:pt x="30" y="122"/>
                      </a:lnTo>
                      <a:lnTo>
                        <a:pt x="38" y="130"/>
                      </a:lnTo>
                      <a:lnTo>
                        <a:pt x="45" y="137"/>
                      </a:lnTo>
                      <a:lnTo>
                        <a:pt x="53" y="143"/>
                      </a:lnTo>
                      <a:lnTo>
                        <a:pt x="60" y="148"/>
                      </a:lnTo>
                      <a:lnTo>
                        <a:pt x="68" y="150"/>
                      </a:lnTo>
                      <a:lnTo>
                        <a:pt x="76" y="152"/>
                      </a:lnTo>
                      <a:lnTo>
                        <a:pt x="83" y="152"/>
                      </a:lnTo>
                      <a:lnTo>
                        <a:pt x="92" y="152"/>
                      </a:lnTo>
                      <a:lnTo>
                        <a:pt x="100" y="151"/>
                      </a:lnTo>
                      <a:lnTo>
                        <a:pt x="111" y="149"/>
                      </a:lnTo>
                      <a:lnTo>
                        <a:pt x="131" y="141"/>
                      </a:lnTo>
                      <a:lnTo>
                        <a:pt x="156" y="130"/>
                      </a:lnTo>
                      <a:lnTo>
                        <a:pt x="156" y="130"/>
                      </a:lnTo>
                      <a:lnTo>
                        <a:pt x="92" y="34"/>
                      </a:lnTo>
                      <a:lnTo>
                        <a:pt x="92" y="34"/>
                      </a:lnTo>
                      <a:lnTo>
                        <a:pt x="82" y="15"/>
                      </a:lnTo>
                      <a:lnTo>
                        <a:pt x="75" y="5"/>
                      </a:lnTo>
                      <a:lnTo>
                        <a:pt x="72" y="1"/>
                      </a:lnTo>
                      <a:lnTo>
                        <a:pt x="69" y="0"/>
                      </a:lnTo>
                      <a:lnTo>
                        <a:pt x="69" y="0"/>
                      </a:lnTo>
                      <a:lnTo>
                        <a:pt x="64" y="0"/>
                      </a:lnTo>
                      <a:lnTo>
                        <a:pt x="58" y="3"/>
                      </a:lnTo>
                      <a:lnTo>
                        <a:pt x="52" y="6"/>
                      </a:lnTo>
                      <a:lnTo>
                        <a:pt x="47" y="12"/>
                      </a:lnTo>
                      <a:lnTo>
                        <a:pt x="44" y="17"/>
                      </a:lnTo>
                      <a:lnTo>
                        <a:pt x="41" y="24"/>
                      </a:lnTo>
                      <a:lnTo>
                        <a:pt x="39" y="30"/>
                      </a:lnTo>
                      <a:lnTo>
                        <a:pt x="39" y="36"/>
                      </a:lnTo>
                      <a:lnTo>
                        <a:pt x="39" y="36"/>
                      </a:lnTo>
                      <a:lnTo>
                        <a:pt x="32" y="32"/>
                      </a:lnTo>
                      <a:lnTo>
                        <a:pt x="27" y="30"/>
                      </a:lnTo>
                      <a:lnTo>
                        <a:pt x="20" y="30"/>
                      </a:lnTo>
                      <a:lnTo>
                        <a:pt x="13" y="31"/>
                      </a:lnTo>
                      <a:lnTo>
                        <a:pt x="8" y="34"/>
                      </a:lnTo>
                      <a:lnTo>
                        <a:pt x="4" y="38"/>
                      </a:lnTo>
                      <a:lnTo>
                        <a:pt x="1" y="45"/>
                      </a:lnTo>
                      <a:lnTo>
                        <a:pt x="0" y="53"/>
                      </a:lnTo>
                      <a:lnTo>
                        <a:pt x="0" y="53"/>
                      </a:lnTo>
                      <a:lnTo>
                        <a:pt x="1" y="66"/>
                      </a:lnTo>
                      <a:lnTo>
                        <a:pt x="4" y="75"/>
                      </a:lnTo>
                      <a:lnTo>
                        <a:pt x="6" y="77"/>
                      </a:lnTo>
                      <a:lnTo>
                        <a:pt x="7" y="80"/>
                      </a:lnTo>
                      <a:lnTo>
                        <a:pt x="9" y="82"/>
                      </a:lnTo>
                      <a:lnTo>
                        <a:pt x="13" y="83"/>
                      </a:lnTo>
                      <a:lnTo>
                        <a:pt x="20" y="84"/>
                      </a:lnTo>
                      <a:lnTo>
                        <a:pt x="28" y="83"/>
                      </a:lnTo>
                      <a:lnTo>
                        <a:pt x="52" y="83"/>
                      </a:lnTo>
                      <a:lnTo>
                        <a:pt x="52" y="83"/>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8" name="Freeform 387"/>
                <p:cNvSpPr>
                  <a:spLocks/>
                </p:cNvSpPr>
                <p:nvPr/>
              </p:nvSpPr>
              <p:spPr bwMode="auto">
                <a:xfrm>
                  <a:off x="2911475" y="401638"/>
                  <a:ext cx="60325" cy="55563"/>
                </a:xfrm>
                <a:custGeom>
                  <a:avLst/>
                  <a:gdLst>
                    <a:gd name="T0" fmla="*/ 265 w 266"/>
                    <a:gd name="T1" fmla="*/ 174 h 249"/>
                    <a:gd name="T2" fmla="*/ 257 w 266"/>
                    <a:gd name="T3" fmla="*/ 162 h 249"/>
                    <a:gd name="T4" fmla="*/ 248 w 266"/>
                    <a:gd name="T5" fmla="*/ 157 h 249"/>
                    <a:gd name="T6" fmla="*/ 240 w 266"/>
                    <a:gd name="T7" fmla="*/ 150 h 249"/>
                    <a:gd name="T8" fmla="*/ 238 w 266"/>
                    <a:gd name="T9" fmla="*/ 133 h 249"/>
                    <a:gd name="T10" fmla="*/ 238 w 266"/>
                    <a:gd name="T11" fmla="*/ 116 h 249"/>
                    <a:gd name="T12" fmla="*/ 240 w 266"/>
                    <a:gd name="T13" fmla="*/ 84 h 249"/>
                    <a:gd name="T14" fmla="*/ 239 w 266"/>
                    <a:gd name="T15" fmla="*/ 64 h 249"/>
                    <a:gd name="T16" fmla="*/ 234 w 266"/>
                    <a:gd name="T17" fmla="*/ 51 h 249"/>
                    <a:gd name="T18" fmla="*/ 227 w 266"/>
                    <a:gd name="T19" fmla="*/ 38 h 249"/>
                    <a:gd name="T20" fmla="*/ 216 w 266"/>
                    <a:gd name="T21" fmla="*/ 28 h 249"/>
                    <a:gd name="T22" fmla="*/ 208 w 266"/>
                    <a:gd name="T23" fmla="*/ 22 h 249"/>
                    <a:gd name="T24" fmla="*/ 182 w 266"/>
                    <a:gd name="T25" fmla="*/ 57 h 249"/>
                    <a:gd name="T26" fmla="*/ 134 w 266"/>
                    <a:gd name="T27" fmla="*/ 15 h 249"/>
                    <a:gd name="T28" fmla="*/ 119 w 266"/>
                    <a:gd name="T29" fmla="*/ 6 h 249"/>
                    <a:gd name="T30" fmla="*/ 103 w 266"/>
                    <a:gd name="T31" fmla="*/ 2 h 249"/>
                    <a:gd name="T32" fmla="*/ 86 w 266"/>
                    <a:gd name="T33" fmla="*/ 0 h 249"/>
                    <a:gd name="T34" fmla="*/ 65 w 266"/>
                    <a:gd name="T35" fmla="*/ 5 h 249"/>
                    <a:gd name="T36" fmla="*/ 42 w 266"/>
                    <a:gd name="T37" fmla="*/ 14 h 249"/>
                    <a:gd name="T38" fmla="*/ 29 w 266"/>
                    <a:gd name="T39" fmla="*/ 22 h 249"/>
                    <a:gd name="T40" fmla="*/ 13 w 266"/>
                    <a:gd name="T41" fmla="*/ 36 h 249"/>
                    <a:gd name="T42" fmla="*/ 5 w 266"/>
                    <a:gd name="T43" fmla="*/ 53 h 249"/>
                    <a:gd name="T44" fmla="*/ 3 w 266"/>
                    <a:gd name="T45" fmla="*/ 74 h 249"/>
                    <a:gd name="T46" fmla="*/ 4 w 266"/>
                    <a:gd name="T47" fmla="*/ 87 h 249"/>
                    <a:gd name="T48" fmla="*/ 6 w 266"/>
                    <a:gd name="T49" fmla="*/ 93 h 249"/>
                    <a:gd name="T50" fmla="*/ 21 w 266"/>
                    <a:gd name="T51" fmla="*/ 102 h 249"/>
                    <a:gd name="T52" fmla="*/ 54 w 266"/>
                    <a:gd name="T53" fmla="*/ 110 h 249"/>
                    <a:gd name="T54" fmla="*/ 72 w 266"/>
                    <a:gd name="T55" fmla="*/ 114 h 249"/>
                    <a:gd name="T56" fmla="*/ 67 w 266"/>
                    <a:gd name="T57" fmla="*/ 126 h 249"/>
                    <a:gd name="T58" fmla="*/ 60 w 266"/>
                    <a:gd name="T59" fmla="*/ 137 h 249"/>
                    <a:gd name="T60" fmla="*/ 11 w 266"/>
                    <a:gd name="T61" fmla="*/ 106 h 249"/>
                    <a:gd name="T62" fmla="*/ 3 w 266"/>
                    <a:gd name="T63" fmla="*/ 125 h 249"/>
                    <a:gd name="T64" fmla="*/ 0 w 266"/>
                    <a:gd name="T65" fmla="*/ 135 h 249"/>
                    <a:gd name="T66" fmla="*/ 3 w 266"/>
                    <a:gd name="T67" fmla="*/ 142 h 249"/>
                    <a:gd name="T68" fmla="*/ 7 w 266"/>
                    <a:gd name="T69" fmla="*/ 146 h 249"/>
                    <a:gd name="T70" fmla="*/ 20 w 266"/>
                    <a:gd name="T71" fmla="*/ 152 h 249"/>
                    <a:gd name="T72" fmla="*/ 25 w 266"/>
                    <a:gd name="T73" fmla="*/ 159 h 249"/>
                    <a:gd name="T74" fmla="*/ 26 w 266"/>
                    <a:gd name="T75" fmla="*/ 172 h 249"/>
                    <a:gd name="T76" fmla="*/ 26 w 266"/>
                    <a:gd name="T77" fmla="*/ 186 h 249"/>
                    <a:gd name="T78" fmla="*/ 29 w 266"/>
                    <a:gd name="T79" fmla="*/ 200 h 249"/>
                    <a:gd name="T80" fmla="*/ 34 w 266"/>
                    <a:gd name="T81" fmla="*/ 205 h 249"/>
                    <a:gd name="T82" fmla="*/ 44 w 266"/>
                    <a:gd name="T83" fmla="*/ 211 h 249"/>
                    <a:gd name="T84" fmla="*/ 80 w 266"/>
                    <a:gd name="T85" fmla="*/ 219 h 249"/>
                    <a:gd name="T86" fmla="*/ 101 w 266"/>
                    <a:gd name="T87" fmla="*/ 219 h 249"/>
                    <a:gd name="T88" fmla="*/ 121 w 266"/>
                    <a:gd name="T89" fmla="*/ 219 h 249"/>
                    <a:gd name="T90" fmla="*/ 140 w 266"/>
                    <a:gd name="T91" fmla="*/ 215 h 249"/>
                    <a:gd name="T92" fmla="*/ 148 w 266"/>
                    <a:gd name="T93" fmla="*/ 209 h 249"/>
                    <a:gd name="T94" fmla="*/ 152 w 266"/>
                    <a:gd name="T95" fmla="*/ 201 h 249"/>
                    <a:gd name="T96" fmla="*/ 162 w 266"/>
                    <a:gd name="T97" fmla="*/ 212 h 249"/>
                    <a:gd name="T98" fmla="*/ 185 w 266"/>
                    <a:gd name="T99" fmla="*/ 241 h 249"/>
                    <a:gd name="T100" fmla="*/ 195 w 266"/>
                    <a:gd name="T101" fmla="*/ 248 h 249"/>
                    <a:gd name="T102" fmla="*/ 204 w 266"/>
                    <a:gd name="T103" fmla="*/ 249 h 249"/>
                    <a:gd name="T104" fmla="*/ 220 w 266"/>
                    <a:gd name="T105" fmla="*/ 243 h 249"/>
                    <a:gd name="T106" fmla="*/ 232 w 266"/>
                    <a:gd name="T107" fmla="*/ 231 h 249"/>
                    <a:gd name="T108" fmla="*/ 238 w 266"/>
                    <a:gd name="T109" fmla="*/ 215 h 249"/>
                    <a:gd name="T110" fmla="*/ 238 w 266"/>
                    <a:gd name="T111" fmla="*/ 205 h 249"/>
                    <a:gd name="T112" fmla="*/ 249 w 266"/>
                    <a:gd name="T113" fmla="*/ 213 h 249"/>
                    <a:gd name="T114" fmla="*/ 261 w 266"/>
                    <a:gd name="T115" fmla="*/ 221 h 249"/>
                    <a:gd name="T116" fmla="*/ 262 w 266"/>
                    <a:gd name="T117" fmla="*/ 211 h 249"/>
                    <a:gd name="T118" fmla="*/ 266 w 266"/>
                    <a:gd name="T119" fmla="*/ 185 h 249"/>
                    <a:gd name="T120" fmla="*/ 265 w 266"/>
                    <a:gd name="T121" fmla="*/ 174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6" h="249">
                      <a:moveTo>
                        <a:pt x="265" y="174"/>
                      </a:moveTo>
                      <a:lnTo>
                        <a:pt x="265" y="174"/>
                      </a:lnTo>
                      <a:lnTo>
                        <a:pt x="262" y="166"/>
                      </a:lnTo>
                      <a:lnTo>
                        <a:pt x="257" y="162"/>
                      </a:lnTo>
                      <a:lnTo>
                        <a:pt x="252" y="159"/>
                      </a:lnTo>
                      <a:lnTo>
                        <a:pt x="248" y="157"/>
                      </a:lnTo>
                      <a:lnTo>
                        <a:pt x="243" y="155"/>
                      </a:lnTo>
                      <a:lnTo>
                        <a:pt x="240" y="150"/>
                      </a:lnTo>
                      <a:lnTo>
                        <a:pt x="238" y="144"/>
                      </a:lnTo>
                      <a:lnTo>
                        <a:pt x="238" y="133"/>
                      </a:lnTo>
                      <a:lnTo>
                        <a:pt x="238" y="133"/>
                      </a:lnTo>
                      <a:lnTo>
                        <a:pt x="238" y="116"/>
                      </a:lnTo>
                      <a:lnTo>
                        <a:pt x="239" y="99"/>
                      </a:lnTo>
                      <a:lnTo>
                        <a:pt x="240" y="84"/>
                      </a:lnTo>
                      <a:lnTo>
                        <a:pt x="240" y="70"/>
                      </a:lnTo>
                      <a:lnTo>
                        <a:pt x="239" y="64"/>
                      </a:lnTo>
                      <a:lnTo>
                        <a:pt x="236" y="57"/>
                      </a:lnTo>
                      <a:lnTo>
                        <a:pt x="234" y="51"/>
                      </a:lnTo>
                      <a:lnTo>
                        <a:pt x="231" y="44"/>
                      </a:lnTo>
                      <a:lnTo>
                        <a:pt x="227" y="38"/>
                      </a:lnTo>
                      <a:lnTo>
                        <a:pt x="221" y="33"/>
                      </a:lnTo>
                      <a:lnTo>
                        <a:pt x="216" y="28"/>
                      </a:lnTo>
                      <a:lnTo>
                        <a:pt x="208" y="22"/>
                      </a:lnTo>
                      <a:lnTo>
                        <a:pt x="208" y="22"/>
                      </a:lnTo>
                      <a:lnTo>
                        <a:pt x="182" y="57"/>
                      </a:lnTo>
                      <a:lnTo>
                        <a:pt x="182" y="57"/>
                      </a:lnTo>
                      <a:lnTo>
                        <a:pt x="149" y="28"/>
                      </a:lnTo>
                      <a:lnTo>
                        <a:pt x="134" y="15"/>
                      </a:lnTo>
                      <a:lnTo>
                        <a:pt x="126" y="11"/>
                      </a:lnTo>
                      <a:lnTo>
                        <a:pt x="119" y="6"/>
                      </a:lnTo>
                      <a:lnTo>
                        <a:pt x="111" y="4"/>
                      </a:lnTo>
                      <a:lnTo>
                        <a:pt x="103" y="2"/>
                      </a:lnTo>
                      <a:lnTo>
                        <a:pt x="94" y="0"/>
                      </a:lnTo>
                      <a:lnTo>
                        <a:pt x="86" y="0"/>
                      </a:lnTo>
                      <a:lnTo>
                        <a:pt x="75" y="2"/>
                      </a:lnTo>
                      <a:lnTo>
                        <a:pt x="65" y="5"/>
                      </a:lnTo>
                      <a:lnTo>
                        <a:pt x="53" y="8"/>
                      </a:lnTo>
                      <a:lnTo>
                        <a:pt x="42" y="14"/>
                      </a:lnTo>
                      <a:lnTo>
                        <a:pt x="42" y="14"/>
                      </a:lnTo>
                      <a:lnTo>
                        <a:pt x="29" y="22"/>
                      </a:lnTo>
                      <a:lnTo>
                        <a:pt x="20" y="29"/>
                      </a:lnTo>
                      <a:lnTo>
                        <a:pt x="13" y="36"/>
                      </a:lnTo>
                      <a:lnTo>
                        <a:pt x="7" y="44"/>
                      </a:lnTo>
                      <a:lnTo>
                        <a:pt x="5" y="53"/>
                      </a:lnTo>
                      <a:lnTo>
                        <a:pt x="3" y="64"/>
                      </a:lnTo>
                      <a:lnTo>
                        <a:pt x="3" y="74"/>
                      </a:lnTo>
                      <a:lnTo>
                        <a:pt x="4" y="87"/>
                      </a:lnTo>
                      <a:lnTo>
                        <a:pt x="4" y="87"/>
                      </a:lnTo>
                      <a:lnTo>
                        <a:pt x="4" y="90"/>
                      </a:lnTo>
                      <a:lnTo>
                        <a:pt x="6" y="93"/>
                      </a:lnTo>
                      <a:lnTo>
                        <a:pt x="13" y="97"/>
                      </a:lnTo>
                      <a:lnTo>
                        <a:pt x="21" y="102"/>
                      </a:lnTo>
                      <a:lnTo>
                        <a:pt x="33" y="105"/>
                      </a:lnTo>
                      <a:lnTo>
                        <a:pt x="54" y="110"/>
                      </a:lnTo>
                      <a:lnTo>
                        <a:pt x="72" y="114"/>
                      </a:lnTo>
                      <a:lnTo>
                        <a:pt x="72" y="114"/>
                      </a:lnTo>
                      <a:lnTo>
                        <a:pt x="69" y="120"/>
                      </a:lnTo>
                      <a:lnTo>
                        <a:pt x="67" y="126"/>
                      </a:lnTo>
                      <a:lnTo>
                        <a:pt x="60" y="137"/>
                      </a:lnTo>
                      <a:lnTo>
                        <a:pt x="60" y="137"/>
                      </a:lnTo>
                      <a:lnTo>
                        <a:pt x="11" y="106"/>
                      </a:lnTo>
                      <a:lnTo>
                        <a:pt x="11" y="106"/>
                      </a:lnTo>
                      <a:lnTo>
                        <a:pt x="6" y="117"/>
                      </a:lnTo>
                      <a:lnTo>
                        <a:pt x="3" y="125"/>
                      </a:lnTo>
                      <a:lnTo>
                        <a:pt x="0" y="131"/>
                      </a:lnTo>
                      <a:lnTo>
                        <a:pt x="0" y="135"/>
                      </a:lnTo>
                      <a:lnTo>
                        <a:pt x="2" y="139"/>
                      </a:lnTo>
                      <a:lnTo>
                        <a:pt x="3" y="142"/>
                      </a:lnTo>
                      <a:lnTo>
                        <a:pt x="5" y="144"/>
                      </a:lnTo>
                      <a:lnTo>
                        <a:pt x="7" y="146"/>
                      </a:lnTo>
                      <a:lnTo>
                        <a:pt x="14" y="149"/>
                      </a:lnTo>
                      <a:lnTo>
                        <a:pt x="20" y="152"/>
                      </a:lnTo>
                      <a:lnTo>
                        <a:pt x="22" y="156"/>
                      </a:lnTo>
                      <a:lnTo>
                        <a:pt x="25" y="159"/>
                      </a:lnTo>
                      <a:lnTo>
                        <a:pt x="26" y="165"/>
                      </a:lnTo>
                      <a:lnTo>
                        <a:pt x="26" y="172"/>
                      </a:lnTo>
                      <a:lnTo>
                        <a:pt x="26" y="172"/>
                      </a:lnTo>
                      <a:lnTo>
                        <a:pt x="26" y="186"/>
                      </a:lnTo>
                      <a:lnTo>
                        <a:pt x="28" y="196"/>
                      </a:lnTo>
                      <a:lnTo>
                        <a:pt x="29" y="200"/>
                      </a:lnTo>
                      <a:lnTo>
                        <a:pt x="31" y="203"/>
                      </a:lnTo>
                      <a:lnTo>
                        <a:pt x="34" y="205"/>
                      </a:lnTo>
                      <a:lnTo>
                        <a:pt x="37" y="208"/>
                      </a:lnTo>
                      <a:lnTo>
                        <a:pt x="44" y="211"/>
                      </a:lnTo>
                      <a:lnTo>
                        <a:pt x="54" y="213"/>
                      </a:lnTo>
                      <a:lnTo>
                        <a:pt x="80" y="219"/>
                      </a:lnTo>
                      <a:lnTo>
                        <a:pt x="80" y="219"/>
                      </a:lnTo>
                      <a:lnTo>
                        <a:pt x="101" y="219"/>
                      </a:lnTo>
                      <a:lnTo>
                        <a:pt x="111" y="219"/>
                      </a:lnTo>
                      <a:lnTo>
                        <a:pt x="121" y="219"/>
                      </a:lnTo>
                      <a:lnTo>
                        <a:pt x="132" y="218"/>
                      </a:lnTo>
                      <a:lnTo>
                        <a:pt x="140" y="215"/>
                      </a:lnTo>
                      <a:lnTo>
                        <a:pt x="144" y="212"/>
                      </a:lnTo>
                      <a:lnTo>
                        <a:pt x="148" y="209"/>
                      </a:lnTo>
                      <a:lnTo>
                        <a:pt x="150" y="205"/>
                      </a:lnTo>
                      <a:lnTo>
                        <a:pt x="152" y="201"/>
                      </a:lnTo>
                      <a:lnTo>
                        <a:pt x="152" y="201"/>
                      </a:lnTo>
                      <a:lnTo>
                        <a:pt x="162" y="212"/>
                      </a:lnTo>
                      <a:lnTo>
                        <a:pt x="173" y="227"/>
                      </a:lnTo>
                      <a:lnTo>
                        <a:pt x="185" y="241"/>
                      </a:lnTo>
                      <a:lnTo>
                        <a:pt x="190" y="246"/>
                      </a:lnTo>
                      <a:lnTo>
                        <a:pt x="195" y="248"/>
                      </a:lnTo>
                      <a:lnTo>
                        <a:pt x="195" y="248"/>
                      </a:lnTo>
                      <a:lnTo>
                        <a:pt x="204" y="249"/>
                      </a:lnTo>
                      <a:lnTo>
                        <a:pt x="213" y="247"/>
                      </a:lnTo>
                      <a:lnTo>
                        <a:pt x="220" y="243"/>
                      </a:lnTo>
                      <a:lnTo>
                        <a:pt x="227" y="238"/>
                      </a:lnTo>
                      <a:lnTo>
                        <a:pt x="232" y="231"/>
                      </a:lnTo>
                      <a:lnTo>
                        <a:pt x="235" y="223"/>
                      </a:lnTo>
                      <a:lnTo>
                        <a:pt x="238" y="215"/>
                      </a:lnTo>
                      <a:lnTo>
                        <a:pt x="238" y="205"/>
                      </a:lnTo>
                      <a:lnTo>
                        <a:pt x="238" y="205"/>
                      </a:lnTo>
                      <a:lnTo>
                        <a:pt x="242" y="210"/>
                      </a:lnTo>
                      <a:lnTo>
                        <a:pt x="249" y="213"/>
                      </a:lnTo>
                      <a:lnTo>
                        <a:pt x="255" y="218"/>
                      </a:lnTo>
                      <a:lnTo>
                        <a:pt x="261" y="221"/>
                      </a:lnTo>
                      <a:lnTo>
                        <a:pt x="261" y="221"/>
                      </a:lnTo>
                      <a:lnTo>
                        <a:pt x="262" y="211"/>
                      </a:lnTo>
                      <a:lnTo>
                        <a:pt x="264" y="197"/>
                      </a:lnTo>
                      <a:lnTo>
                        <a:pt x="266" y="185"/>
                      </a:lnTo>
                      <a:lnTo>
                        <a:pt x="266" y="179"/>
                      </a:lnTo>
                      <a:lnTo>
                        <a:pt x="265" y="174"/>
                      </a:lnTo>
                      <a:lnTo>
                        <a:pt x="265" y="174"/>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9" name="Freeform 388"/>
                <p:cNvSpPr>
                  <a:spLocks/>
                </p:cNvSpPr>
                <p:nvPr/>
              </p:nvSpPr>
              <p:spPr bwMode="auto">
                <a:xfrm>
                  <a:off x="2974975" y="411163"/>
                  <a:ext cx="25400" cy="28575"/>
                </a:xfrm>
                <a:custGeom>
                  <a:avLst/>
                  <a:gdLst>
                    <a:gd name="T0" fmla="*/ 113 w 113"/>
                    <a:gd name="T1" fmla="*/ 21 h 128"/>
                    <a:gd name="T2" fmla="*/ 113 w 113"/>
                    <a:gd name="T3" fmla="*/ 21 h 128"/>
                    <a:gd name="T4" fmla="*/ 108 w 113"/>
                    <a:gd name="T5" fmla="*/ 16 h 128"/>
                    <a:gd name="T6" fmla="*/ 104 w 113"/>
                    <a:gd name="T7" fmla="*/ 13 h 128"/>
                    <a:gd name="T8" fmla="*/ 92 w 113"/>
                    <a:gd name="T9" fmla="*/ 6 h 128"/>
                    <a:gd name="T10" fmla="*/ 81 w 113"/>
                    <a:gd name="T11" fmla="*/ 1 h 128"/>
                    <a:gd name="T12" fmla="*/ 75 w 113"/>
                    <a:gd name="T13" fmla="*/ 0 h 128"/>
                    <a:gd name="T14" fmla="*/ 69 w 113"/>
                    <a:gd name="T15" fmla="*/ 0 h 128"/>
                    <a:gd name="T16" fmla="*/ 63 w 113"/>
                    <a:gd name="T17" fmla="*/ 0 h 128"/>
                    <a:gd name="T18" fmla="*/ 58 w 113"/>
                    <a:gd name="T19" fmla="*/ 1 h 128"/>
                    <a:gd name="T20" fmla="*/ 53 w 113"/>
                    <a:gd name="T21" fmla="*/ 3 h 128"/>
                    <a:gd name="T22" fmla="*/ 48 w 113"/>
                    <a:gd name="T23" fmla="*/ 7 h 128"/>
                    <a:gd name="T24" fmla="*/ 45 w 113"/>
                    <a:gd name="T25" fmla="*/ 11 h 128"/>
                    <a:gd name="T26" fmla="*/ 43 w 113"/>
                    <a:gd name="T27" fmla="*/ 16 h 128"/>
                    <a:gd name="T28" fmla="*/ 40 w 113"/>
                    <a:gd name="T29" fmla="*/ 22 h 128"/>
                    <a:gd name="T30" fmla="*/ 39 w 113"/>
                    <a:gd name="T31" fmla="*/ 30 h 128"/>
                    <a:gd name="T32" fmla="*/ 39 w 113"/>
                    <a:gd name="T33" fmla="*/ 30 h 128"/>
                    <a:gd name="T34" fmla="*/ 32 w 113"/>
                    <a:gd name="T35" fmla="*/ 25 h 128"/>
                    <a:gd name="T36" fmla="*/ 27 w 113"/>
                    <a:gd name="T37" fmla="*/ 23 h 128"/>
                    <a:gd name="T38" fmla="*/ 21 w 113"/>
                    <a:gd name="T39" fmla="*/ 22 h 128"/>
                    <a:gd name="T40" fmla="*/ 16 w 113"/>
                    <a:gd name="T41" fmla="*/ 23 h 128"/>
                    <a:gd name="T42" fmla="*/ 12 w 113"/>
                    <a:gd name="T43" fmla="*/ 25 h 128"/>
                    <a:gd name="T44" fmla="*/ 7 w 113"/>
                    <a:gd name="T45" fmla="*/ 30 h 128"/>
                    <a:gd name="T46" fmla="*/ 4 w 113"/>
                    <a:gd name="T47" fmla="*/ 36 h 128"/>
                    <a:gd name="T48" fmla="*/ 0 w 113"/>
                    <a:gd name="T49" fmla="*/ 42 h 128"/>
                    <a:gd name="T50" fmla="*/ 0 w 113"/>
                    <a:gd name="T51" fmla="*/ 42 h 128"/>
                    <a:gd name="T52" fmla="*/ 13 w 113"/>
                    <a:gd name="T53" fmla="*/ 64 h 128"/>
                    <a:gd name="T54" fmla="*/ 17 w 113"/>
                    <a:gd name="T55" fmla="*/ 74 h 128"/>
                    <a:gd name="T56" fmla="*/ 21 w 113"/>
                    <a:gd name="T57" fmla="*/ 83 h 128"/>
                    <a:gd name="T58" fmla="*/ 24 w 113"/>
                    <a:gd name="T59" fmla="*/ 92 h 128"/>
                    <a:gd name="T60" fmla="*/ 25 w 113"/>
                    <a:gd name="T61" fmla="*/ 102 h 128"/>
                    <a:gd name="T62" fmla="*/ 28 w 113"/>
                    <a:gd name="T63" fmla="*/ 128 h 128"/>
                    <a:gd name="T64" fmla="*/ 28 w 113"/>
                    <a:gd name="T65" fmla="*/ 128 h 128"/>
                    <a:gd name="T66" fmla="*/ 43 w 113"/>
                    <a:gd name="T67" fmla="*/ 120 h 128"/>
                    <a:gd name="T68" fmla="*/ 62 w 113"/>
                    <a:gd name="T69" fmla="*/ 110 h 128"/>
                    <a:gd name="T70" fmla="*/ 71 w 113"/>
                    <a:gd name="T71" fmla="*/ 106 h 128"/>
                    <a:gd name="T72" fmla="*/ 80 w 113"/>
                    <a:gd name="T73" fmla="*/ 100 h 128"/>
                    <a:gd name="T74" fmla="*/ 86 w 113"/>
                    <a:gd name="T75" fmla="*/ 94 h 128"/>
                    <a:gd name="T76" fmla="*/ 91 w 113"/>
                    <a:gd name="T77" fmla="*/ 90 h 128"/>
                    <a:gd name="T78" fmla="*/ 91 w 113"/>
                    <a:gd name="T79" fmla="*/ 90 h 128"/>
                    <a:gd name="T80" fmla="*/ 93 w 113"/>
                    <a:gd name="T81" fmla="*/ 84 h 128"/>
                    <a:gd name="T82" fmla="*/ 95 w 113"/>
                    <a:gd name="T83" fmla="*/ 79 h 128"/>
                    <a:gd name="T84" fmla="*/ 96 w 113"/>
                    <a:gd name="T85" fmla="*/ 70 h 128"/>
                    <a:gd name="T86" fmla="*/ 95 w 113"/>
                    <a:gd name="T87" fmla="*/ 61 h 128"/>
                    <a:gd name="T88" fmla="*/ 93 w 113"/>
                    <a:gd name="T89" fmla="*/ 53 h 128"/>
                    <a:gd name="T90" fmla="*/ 93 w 113"/>
                    <a:gd name="T91" fmla="*/ 45 h 128"/>
                    <a:gd name="T92" fmla="*/ 95 w 113"/>
                    <a:gd name="T93" fmla="*/ 40 h 128"/>
                    <a:gd name="T94" fmla="*/ 96 w 113"/>
                    <a:gd name="T95" fmla="*/ 37 h 128"/>
                    <a:gd name="T96" fmla="*/ 98 w 113"/>
                    <a:gd name="T97" fmla="*/ 32 h 128"/>
                    <a:gd name="T98" fmla="*/ 101 w 113"/>
                    <a:gd name="T99" fmla="*/ 29 h 128"/>
                    <a:gd name="T100" fmla="*/ 106 w 113"/>
                    <a:gd name="T101" fmla="*/ 24 h 128"/>
                    <a:gd name="T102" fmla="*/ 113 w 113"/>
                    <a:gd name="T103" fmla="*/ 21 h 128"/>
                    <a:gd name="T104" fmla="*/ 113 w 113"/>
                    <a:gd name="T105" fmla="*/ 2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3" h="128">
                      <a:moveTo>
                        <a:pt x="113" y="21"/>
                      </a:moveTo>
                      <a:lnTo>
                        <a:pt x="113" y="21"/>
                      </a:lnTo>
                      <a:lnTo>
                        <a:pt x="108" y="16"/>
                      </a:lnTo>
                      <a:lnTo>
                        <a:pt x="104" y="13"/>
                      </a:lnTo>
                      <a:lnTo>
                        <a:pt x="92" y="6"/>
                      </a:lnTo>
                      <a:lnTo>
                        <a:pt x="81" y="1"/>
                      </a:lnTo>
                      <a:lnTo>
                        <a:pt x="75" y="0"/>
                      </a:lnTo>
                      <a:lnTo>
                        <a:pt x="69" y="0"/>
                      </a:lnTo>
                      <a:lnTo>
                        <a:pt x="63" y="0"/>
                      </a:lnTo>
                      <a:lnTo>
                        <a:pt x="58" y="1"/>
                      </a:lnTo>
                      <a:lnTo>
                        <a:pt x="53" y="3"/>
                      </a:lnTo>
                      <a:lnTo>
                        <a:pt x="48" y="7"/>
                      </a:lnTo>
                      <a:lnTo>
                        <a:pt x="45" y="11"/>
                      </a:lnTo>
                      <a:lnTo>
                        <a:pt x="43" y="16"/>
                      </a:lnTo>
                      <a:lnTo>
                        <a:pt x="40" y="22"/>
                      </a:lnTo>
                      <a:lnTo>
                        <a:pt x="39" y="30"/>
                      </a:lnTo>
                      <a:lnTo>
                        <a:pt x="39" y="30"/>
                      </a:lnTo>
                      <a:lnTo>
                        <a:pt x="32" y="25"/>
                      </a:lnTo>
                      <a:lnTo>
                        <a:pt x="27" y="23"/>
                      </a:lnTo>
                      <a:lnTo>
                        <a:pt x="21" y="22"/>
                      </a:lnTo>
                      <a:lnTo>
                        <a:pt x="16" y="23"/>
                      </a:lnTo>
                      <a:lnTo>
                        <a:pt x="12" y="25"/>
                      </a:lnTo>
                      <a:lnTo>
                        <a:pt x="7" y="30"/>
                      </a:lnTo>
                      <a:lnTo>
                        <a:pt x="4" y="36"/>
                      </a:lnTo>
                      <a:lnTo>
                        <a:pt x="0" y="42"/>
                      </a:lnTo>
                      <a:lnTo>
                        <a:pt x="0" y="42"/>
                      </a:lnTo>
                      <a:lnTo>
                        <a:pt x="13" y="64"/>
                      </a:lnTo>
                      <a:lnTo>
                        <a:pt x="17" y="74"/>
                      </a:lnTo>
                      <a:lnTo>
                        <a:pt x="21" y="83"/>
                      </a:lnTo>
                      <a:lnTo>
                        <a:pt x="24" y="92"/>
                      </a:lnTo>
                      <a:lnTo>
                        <a:pt x="25" y="102"/>
                      </a:lnTo>
                      <a:lnTo>
                        <a:pt x="28" y="128"/>
                      </a:lnTo>
                      <a:lnTo>
                        <a:pt x="28" y="128"/>
                      </a:lnTo>
                      <a:lnTo>
                        <a:pt x="43" y="120"/>
                      </a:lnTo>
                      <a:lnTo>
                        <a:pt x="62" y="110"/>
                      </a:lnTo>
                      <a:lnTo>
                        <a:pt x="71" y="106"/>
                      </a:lnTo>
                      <a:lnTo>
                        <a:pt x="80" y="100"/>
                      </a:lnTo>
                      <a:lnTo>
                        <a:pt x="86" y="94"/>
                      </a:lnTo>
                      <a:lnTo>
                        <a:pt x="91" y="90"/>
                      </a:lnTo>
                      <a:lnTo>
                        <a:pt x="91" y="90"/>
                      </a:lnTo>
                      <a:lnTo>
                        <a:pt x="93" y="84"/>
                      </a:lnTo>
                      <a:lnTo>
                        <a:pt x="95" y="79"/>
                      </a:lnTo>
                      <a:lnTo>
                        <a:pt x="96" y="70"/>
                      </a:lnTo>
                      <a:lnTo>
                        <a:pt x="95" y="61"/>
                      </a:lnTo>
                      <a:lnTo>
                        <a:pt x="93" y="53"/>
                      </a:lnTo>
                      <a:lnTo>
                        <a:pt x="93" y="45"/>
                      </a:lnTo>
                      <a:lnTo>
                        <a:pt x="95" y="40"/>
                      </a:lnTo>
                      <a:lnTo>
                        <a:pt x="96" y="37"/>
                      </a:lnTo>
                      <a:lnTo>
                        <a:pt x="98" y="32"/>
                      </a:lnTo>
                      <a:lnTo>
                        <a:pt x="101" y="29"/>
                      </a:lnTo>
                      <a:lnTo>
                        <a:pt x="106" y="24"/>
                      </a:lnTo>
                      <a:lnTo>
                        <a:pt x="113" y="21"/>
                      </a:lnTo>
                      <a:lnTo>
                        <a:pt x="113" y="21"/>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0" name="Freeform 389"/>
                <p:cNvSpPr>
                  <a:spLocks/>
                </p:cNvSpPr>
                <p:nvPr/>
              </p:nvSpPr>
              <p:spPr bwMode="auto">
                <a:xfrm>
                  <a:off x="3000375" y="415925"/>
                  <a:ext cx="28575" cy="15875"/>
                </a:xfrm>
                <a:custGeom>
                  <a:avLst/>
                  <a:gdLst>
                    <a:gd name="T0" fmla="*/ 43 w 126"/>
                    <a:gd name="T1" fmla="*/ 53 h 70"/>
                    <a:gd name="T2" fmla="*/ 43 w 126"/>
                    <a:gd name="T3" fmla="*/ 53 h 70"/>
                    <a:gd name="T4" fmla="*/ 48 w 126"/>
                    <a:gd name="T5" fmla="*/ 58 h 70"/>
                    <a:gd name="T6" fmla="*/ 53 w 126"/>
                    <a:gd name="T7" fmla="*/ 62 h 70"/>
                    <a:gd name="T8" fmla="*/ 58 w 126"/>
                    <a:gd name="T9" fmla="*/ 64 h 70"/>
                    <a:gd name="T10" fmla="*/ 64 w 126"/>
                    <a:gd name="T11" fmla="*/ 65 h 70"/>
                    <a:gd name="T12" fmla="*/ 69 w 126"/>
                    <a:gd name="T13" fmla="*/ 64 h 70"/>
                    <a:gd name="T14" fmla="*/ 75 w 126"/>
                    <a:gd name="T15" fmla="*/ 62 h 70"/>
                    <a:gd name="T16" fmla="*/ 81 w 126"/>
                    <a:gd name="T17" fmla="*/ 59 h 70"/>
                    <a:gd name="T18" fmla="*/ 87 w 126"/>
                    <a:gd name="T19" fmla="*/ 55 h 70"/>
                    <a:gd name="T20" fmla="*/ 97 w 126"/>
                    <a:gd name="T21" fmla="*/ 47 h 70"/>
                    <a:gd name="T22" fmla="*/ 109 w 126"/>
                    <a:gd name="T23" fmla="*/ 37 h 70"/>
                    <a:gd name="T24" fmla="*/ 126 w 126"/>
                    <a:gd name="T25" fmla="*/ 21 h 70"/>
                    <a:gd name="T26" fmla="*/ 126 w 126"/>
                    <a:gd name="T27" fmla="*/ 21 h 70"/>
                    <a:gd name="T28" fmla="*/ 102 w 126"/>
                    <a:gd name="T29" fmla="*/ 13 h 70"/>
                    <a:gd name="T30" fmla="*/ 78 w 126"/>
                    <a:gd name="T31" fmla="*/ 6 h 70"/>
                    <a:gd name="T32" fmla="*/ 65 w 126"/>
                    <a:gd name="T33" fmla="*/ 3 h 70"/>
                    <a:gd name="T34" fmla="*/ 53 w 126"/>
                    <a:gd name="T35" fmla="*/ 0 h 70"/>
                    <a:gd name="T36" fmla="*/ 43 w 126"/>
                    <a:gd name="T37" fmla="*/ 0 h 70"/>
                    <a:gd name="T38" fmla="*/ 33 w 126"/>
                    <a:gd name="T39" fmla="*/ 0 h 70"/>
                    <a:gd name="T40" fmla="*/ 25 w 126"/>
                    <a:gd name="T41" fmla="*/ 1 h 70"/>
                    <a:gd name="T42" fmla="*/ 17 w 126"/>
                    <a:gd name="T43" fmla="*/ 5 h 70"/>
                    <a:gd name="T44" fmla="*/ 10 w 126"/>
                    <a:gd name="T45" fmla="*/ 9 h 70"/>
                    <a:gd name="T46" fmla="*/ 5 w 126"/>
                    <a:gd name="T47" fmla="*/ 16 h 70"/>
                    <a:gd name="T48" fmla="*/ 2 w 126"/>
                    <a:gd name="T49" fmla="*/ 26 h 70"/>
                    <a:gd name="T50" fmla="*/ 0 w 126"/>
                    <a:gd name="T51" fmla="*/ 37 h 70"/>
                    <a:gd name="T52" fmla="*/ 2 w 126"/>
                    <a:gd name="T53" fmla="*/ 52 h 70"/>
                    <a:gd name="T54" fmla="*/ 5 w 126"/>
                    <a:gd name="T55" fmla="*/ 68 h 70"/>
                    <a:gd name="T56" fmla="*/ 5 w 126"/>
                    <a:gd name="T57" fmla="*/ 68 h 70"/>
                    <a:gd name="T58" fmla="*/ 11 w 126"/>
                    <a:gd name="T59" fmla="*/ 70 h 70"/>
                    <a:gd name="T60" fmla="*/ 18 w 126"/>
                    <a:gd name="T61" fmla="*/ 70 h 70"/>
                    <a:gd name="T62" fmla="*/ 23 w 126"/>
                    <a:gd name="T63" fmla="*/ 70 h 70"/>
                    <a:gd name="T64" fmla="*/ 29 w 126"/>
                    <a:gd name="T65" fmla="*/ 69 h 70"/>
                    <a:gd name="T66" fmla="*/ 34 w 126"/>
                    <a:gd name="T67" fmla="*/ 67 h 70"/>
                    <a:gd name="T68" fmla="*/ 37 w 126"/>
                    <a:gd name="T69" fmla="*/ 64 h 70"/>
                    <a:gd name="T70" fmla="*/ 41 w 126"/>
                    <a:gd name="T71" fmla="*/ 59 h 70"/>
                    <a:gd name="T72" fmla="*/ 43 w 126"/>
                    <a:gd name="T73" fmla="*/ 53 h 70"/>
                    <a:gd name="T74" fmla="*/ 43 w 126"/>
                    <a:gd name="T75" fmla="*/ 5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70">
                      <a:moveTo>
                        <a:pt x="43" y="53"/>
                      </a:moveTo>
                      <a:lnTo>
                        <a:pt x="43" y="53"/>
                      </a:lnTo>
                      <a:lnTo>
                        <a:pt x="48" y="58"/>
                      </a:lnTo>
                      <a:lnTo>
                        <a:pt x="53" y="62"/>
                      </a:lnTo>
                      <a:lnTo>
                        <a:pt x="58" y="64"/>
                      </a:lnTo>
                      <a:lnTo>
                        <a:pt x="64" y="65"/>
                      </a:lnTo>
                      <a:lnTo>
                        <a:pt x="69" y="64"/>
                      </a:lnTo>
                      <a:lnTo>
                        <a:pt x="75" y="62"/>
                      </a:lnTo>
                      <a:lnTo>
                        <a:pt x="81" y="59"/>
                      </a:lnTo>
                      <a:lnTo>
                        <a:pt x="87" y="55"/>
                      </a:lnTo>
                      <a:lnTo>
                        <a:pt x="97" y="47"/>
                      </a:lnTo>
                      <a:lnTo>
                        <a:pt x="109" y="37"/>
                      </a:lnTo>
                      <a:lnTo>
                        <a:pt x="126" y="21"/>
                      </a:lnTo>
                      <a:lnTo>
                        <a:pt x="126" y="21"/>
                      </a:lnTo>
                      <a:lnTo>
                        <a:pt x="102" y="13"/>
                      </a:lnTo>
                      <a:lnTo>
                        <a:pt x="78" y="6"/>
                      </a:lnTo>
                      <a:lnTo>
                        <a:pt x="65" y="3"/>
                      </a:lnTo>
                      <a:lnTo>
                        <a:pt x="53" y="0"/>
                      </a:lnTo>
                      <a:lnTo>
                        <a:pt x="43" y="0"/>
                      </a:lnTo>
                      <a:lnTo>
                        <a:pt x="33" y="0"/>
                      </a:lnTo>
                      <a:lnTo>
                        <a:pt x="25" y="1"/>
                      </a:lnTo>
                      <a:lnTo>
                        <a:pt x="17" y="5"/>
                      </a:lnTo>
                      <a:lnTo>
                        <a:pt x="10" y="9"/>
                      </a:lnTo>
                      <a:lnTo>
                        <a:pt x="5" y="16"/>
                      </a:lnTo>
                      <a:lnTo>
                        <a:pt x="2" y="26"/>
                      </a:lnTo>
                      <a:lnTo>
                        <a:pt x="0" y="37"/>
                      </a:lnTo>
                      <a:lnTo>
                        <a:pt x="2" y="52"/>
                      </a:lnTo>
                      <a:lnTo>
                        <a:pt x="5" y="68"/>
                      </a:lnTo>
                      <a:lnTo>
                        <a:pt x="5" y="68"/>
                      </a:lnTo>
                      <a:lnTo>
                        <a:pt x="11" y="70"/>
                      </a:lnTo>
                      <a:lnTo>
                        <a:pt x="18" y="70"/>
                      </a:lnTo>
                      <a:lnTo>
                        <a:pt x="23" y="70"/>
                      </a:lnTo>
                      <a:lnTo>
                        <a:pt x="29" y="69"/>
                      </a:lnTo>
                      <a:lnTo>
                        <a:pt x="34" y="67"/>
                      </a:lnTo>
                      <a:lnTo>
                        <a:pt x="37" y="64"/>
                      </a:lnTo>
                      <a:lnTo>
                        <a:pt x="41" y="59"/>
                      </a:lnTo>
                      <a:lnTo>
                        <a:pt x="43" y="53"/>
                      </a:lnTo>
                      <a:lnTo>
                        <a:pt x="43" y="53"/>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1" name="Freeform 390"/>
                <p:cNvSpPr>
                  <a:spLocks/>
                </p:cNvSpPr>
                <p:nvPr/>
              </p:nvSpPr>
              <p:spPr bwMode="auto">
                <a:xfrm>
                  <a:off x="3005138" y="384175"/>
                  <a:ext cx="65088" cy="39688"/>
                </a:xfrm>
                <a:custGeom>
                  <a:avLst/>
                  <a:gdLst>
                    <a:gd name="T0" fmla="*/ 34 w 287"/>
                    <a:gd name="T1" fmla="*/ 23 h 178"/>
                    <a:gd name="T2" fmla="*/ 38 w 287"/>
                    <a:gd name="T3" fmla="*/ 35 h 178"/>
                    <a:gd name="T4" fmla="*/ 45 w 287"/>
                    <a:gd name="T5" fmla="*/ 44 h 178"/>
                    <a:gd name="T6" fmla="*/ 60 w 287"/>
                    <a:gd name="T7" fmla="*/ 58 h 178"/>
                    <a:gd name="T8" fmla="*/ 68 w 287"/>
                    <a:gd name="T9" fmla="*/ 68 h 178"/>
                    <a:gd name="T10" fmla="*/ 70 w 287"/>
                    <a:gd name="T11" fmla="*/ 78 h 178"/>
                    <a:gd name="T12" fmla="*/ 66 w 287"/>
                    <a:gd name="T13" fmla="*/ 88 h 178"/>
                    <a:gd name="T14" fmla="*/ 63 w 287"/>
                    <a:gd name="T15" fmla="*/ 95 h 178"/>
                    <a:gd name="T16" fmla="*/ 33 w 287"/>
                    <a:gd name="T17" fmla="*/ 81 h 178"/>
                    <a:gd name="T18" fmla="*/ 19 w 287"/>
                    <a:gd name="T19" fmla="*/ 78 h 178"/>
                    <a:gd name="T20" fmla="*/ 11 w 287"/>
                    <a:gd name="T21" fmla="*/ 80 h 178"/>
                    <a:gd name="T22" fmla="*/ 5 w 287"/>
                    <a:gd name="T23" fmla="*/ 84 h 178"/>
                    <a:gd name="T24" fmla="*/ 1 w 287"/>
                    <a:gd name="T25" fmla="*/ 95 h 178"/>
                    <a:gd name="T26" fmla="*/ 0 w 287"/>
                    <a:gd name="T27" fmla="*/ 102 h 178"/>
                    <a:gd name="T28" fmla="*/ 28 w 287"/>
                    <a:gd name="T29" fmla="*/ 114 h 178"/>
                    <a:gd name="T30" fmla="*/ 45 w 287"/>
                    <a:gd name="T31" fmla="*/ 117 h 178"/>
                    <a:gd name="T32" fmla="*/ 53 w 287"/>
                    <a:gd name="T33" fmla="*/ 113 h 178"/>
                    <a:gd name="T34" fmla="*/ 58 w 287"/>
                    <a:gd name="T35" fmla="*/ 108 h 178"/>
                    <a:gd name="T36" fmla="*/ 63 w 287"/>
                    <a:gd name="T37" fmla="*/ 96 h 178"/>
                    <a:gd name="T38" fmla="*/ 63 w 287"/>
                    <a:gd name="T39" fmla="*/ 105 h 178"/>
                    <a:gd name="T40" fmla="*/ 69 w 287"/>
                    <a:gd name="T41" fmla="*/ 120 h 178"/>
                    <a:gd name="T42" fmla="*/ 81 w 287"/>
                    <a:gd name="T43" fmla="*/ 133 h 178"/>
                    <a:gd name="T44" fmla="*/ 99 w 287"/>
                    <a:gd name="T45" fmla="*/ 142 h 178"/>
                    <a:gd name="T46" fmla="*/ 130 w 287"/>
                    <a:gd name="T47" fmla="*/ 152 h 178"/>
                    <a:gd name="T48" fmla="*/ 170 w 287"/>
                    <a:gd name="T49" fmla="*/ 162 h 178"/>
                    <a:gd name="T50" fmla="*/ 186 w 287"/>
                    <a:gd name="T51" fmla="*/ 166 h 178"/>
                    <a:gd name="T52" fmla="*/ 218 w 287"/>
                    <a:gd name="T53" fmla="*/ 177 h 178"/>
                    <a:gd name="T54" fmla="*/ 240 w 287"/>
                    <a:gd name="T55" fmla="*/ 178 h 178"/>
                    <a:gd name="T56" fmla="*/ 261 w 287"/>
                    <a:gd name="T57" fmla="*/ 170 h 178"/>
                    <a:gd name="T58" fmla="*/ 287 w 287"/>
                    <a:gd name="T59" fmla="*/ 148 h 178"/>
                    <a:gd name="T60" fmla="*/ 277 w 287"/>
                    <a:gd name="T61" fmla="*/ 137 h 178"/>
                    <a:gd name="T62" fmla="*/ 249 w 287"/>
                    <a:gd name="T63" fmla="*/ 113 h 178"/>
                    <a:gd name="T64" fmla="*/ 237 w 287"/>
                    <a:gd name="T65" fmla="*/ 108 h 178"/>
                    <a:gd name="T66" fmla="*/ 231 w 287"/>
                    <a:gd name="T67" fmla="*/ 106 h 178"/>
                    <a:gd name="T68" fmla="*/ 208 w 287"/>
                    <a:gd name="T69" fmla="*/ 111 h 178"/>
                    <a:gd name="T70" fmla="*/ 185 w 287"/>
                    <a:gd name="T71" fmla="*/ 117 h 178"/>
                    <a:gd name="T72" fmla="*/ 177 w 287"/>
                    <a:gd name="T73" fmla="*/ 117 h 178"/>
                    <a:gd name="T74" fmla="*/ 155 w 287"/>
                    <a:gd name="T75" fmla="*/ 112 h 178"/>
                    <a:gd name="T76" fmla="*/ 141 w 287"/>
                    <a:gd name="T77" fmla="*/ 108 h 178"/>
                    <a:gd name="T78" fmla="*/ 134 w 287"/>
                    <a:gd name="T79" fmla="*/ 99 h 178"/>
                    <a:gd name="T80" fmla="*/ 132 w 287"/>
                    <a:gd name="T81" fmla="*/ 90 h 178"/>
                    <a:gd name="T82" fmla="*/ 131 w 287"/>
                    <a:gd name="T83" fmla="*/ 66 h 178"/>
                    <a:gd name="T84" fmla="*/ 127 w 287"/>
                    <a:gd name="T85" fmla="*/ 52 h 178"/>
                    <a:gd name="T86" fmla="*/ 119 w 287"/>
                    <a:gd name="T87" fmla="*/ 36 h 178"/>
                    <a:gd name="T88" fmla="*/ 116 w 287"/>
                    <a:gd name="T89" fmla="*/ 32 h 178"/>
                    <a:gd name="T90" fmla="*/ 100 w 287"/>
                    <a:gd name="T91" fmla="*/ 19 h 178"/>
                    <a:gd name="T92" fmla="*/ 70 w 287"/>
                    <a:gd name="T93" fmla="*/ 4 h 178"/>
                    <a:gd name="T94" fmla="*/ 55 w 287"/>
                    <a:gd name="T95" fmla="*/ 0 h 178"/>
                    <a:gd name="T96" fmla="*/ 43 w 287"/>
                    <a:gd name="T97" fmla="*/ 3 h 178"/>
                    <a:gd name="T98" fmla="*/ 35 w 287"/>
                    <a:gd name="T99" fmla="*/ 10 h 178"/>
                    <a:gd name="T100" fmla="*/ 34 w 287"/>
                    <a:gd name="T101" fmla="*/ 2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7" h="178">
                      <a:moveTo>
                        <a:pt x="34" y="23"/>
                      </a:moveTo>
                      <a:lnTo>
                        <a:pt x="34" y="23"/>
                      </a:lnTo>
                      <a:lnTo>
                        <a:pt x="35" y="30"/>
                      </a:lnTo>
                      <a:lnTo>
                        <a:pt x="38" y="35"/>
                      </a:lnTo>
                      <a:lnTo>
                        <a:pt x="41" y="41"/>
                      </a:lnTo>
                      <a:lnTo>
                        <a:pt x="45" y="44"/>
                      </a:lnTo>
                      <a:lnTo>
                        <a:pt x="51" y="52"/>
                      </a:lnTo>
                      <a:lnTo>
                        <a:pt x="60" y="58"/>
                      </a:lnTo>
                      <a:lnTo>
                        <a:pt x="66" y="65"/>
                      </a:lnTo>
                      <a:lnTo>
                        <a:pt x="68" y="68"/>
                      </a:lnTo>
                      <a:lnTo>
                        <a:pt x="70" y="73"/>
                      </a:lnTo>
                      <a:lnTo>
                        <a:pt x="70" y="78"/>
                      </a:lnTo>
                      <a:lnTo>
                        <a:pt x="69" y="82"/>
                      </a:lnTo>
                      <a:lnTo>
                        <a:pt x="66" y="88"/>
                      </a:lnTo>
                      <a:lnTo>
                        <a:pt x="63" y="95"/>
                      </a:lnTo>
                      <a:lnTo>
                        <a:pt x="63" y="95"/>
                      </a:lnTo>
                      <a:lnTo>
                        <a:pt x="42" y="86"/>
                      </a:lnTo>
                      <a:lnTo>
                        <a:pt x="33" y="81"/>
                      </a:lnTo>
                      <a:lnTo>
                        <a:pt x="24" y="79"/>
                      </a:lnTo>
                      <a:lnTo>
                        <a:pt x="19" y="78"/>
                      </a:lnTo>
                      <a:lnTo>
                        <a:pt x="16" y="79"/>
                      </a:lnTo>
                      <a:lnTo>
                        <a:pt x="11" y="80"/>
                      </a:lnTo>
                      <a:lnTo>
                        <a:pt x="9" y="81"/>
                      </a:lnTo>
                      <a:lnTo>
                        <a:pt x="5" y="84"/>
                      </a:lnTo>
                      <a:lnTo>
                        <a:pt x="3" y="89"/>
                      </a:lnTo>
                      <a:lnTo>
                        <a:pt x="1" y="95"/>
                      </a:lnTo>
                      <a:lnTo>
                        <a:pt x="0" y="102"/>
                      </a:lnTo>
                      <a:lnTo>
                        <a:pt x="0" y="102"/>
                      </a:lnTo>
                      <a:lnTo>
                        <a:pt x="18" y="111"/>
                      </a:lnTo>
                      <a:lnTo>
                        <a:pt x="28" y="114"/>
                      </a:lnTo>
                      <a:lnTo>
                        <a:pt x="37" y="117"/>
                      </a:lnTo>
                      <a:lnTo>
                        <a:pt x="45" y="117"/>
                      </a:lnTo>
                      <a:lnTo>
                        <a:pt x="49" y="116"/>
                      </a:lnTo>
                      <a:lnTo>
                        <a:pt x="53" y="113"/>
                      </a:lnTo>
                      <a:lnTo>
                        <a:pt x="55" y="111"/>
                      </a:lnTo>
                      <a:lnTo>
                        <a:pt x="58" y="108"/>
                      </a:lnTo>
                      <a:lnTo>
                        <a:pt x="61" y="102"/>
                      </a:lnTo>
                      <a:lnTo>
                        <a:pt x="63" y="96"/>
                      </a:lnTo>
                      <a:lnTo>
                        <a:pt x="63" y="96"/>
                      </a:lnTo>
                      <a:lnTo>
                        <a:pt x="63" y="105"/>
                      </a:lnTo>
                      <a:lnTo>
                        <a:pt x="64" y="113"/>
                      </a:lnTo>
                      <a:lnTo>
                        <a:pt x="69" y="120"/>
                      </a:lnTo>
                      <a:lnTo>
                        <a:pt x="74" y="127"/>
                      </a:lnTo>
                      <a:lnTo>
                        <a:pt x="81" y="133"/>
                      </a:lnTo>
                      <a:lnTo>
                        <a:pt x="89" y="137"/>
                      </a:lnTo>
                      <a:lnTo>
                        <a:pt x="99" y="142"/>
                      </a:lnTo>
                      <a:lnTo>
                        <a:pt x="108" y="147"/>
                      </a:lnTo>
                      <a:lnTo>
                        <a:pt x="130" y="152"/>
                      </a:lnTo>
                      <a:lnTo>
                        <a:pt x="150" y="158"/>
                      </a:lnTo>
                      <a:lnTo>
                        <a:pt x="170" y="162"/>
                      </a:lnTo>
                      <a:lnTo>
                        <a:pt x="186" y="166"/>
                      </a:lnTo>
                      <a:lnTo>
                        <a:pt x="186" y="166"/>
                      </a:lnTo>
                      <a:lnTo>
                        <a:pt x="203" y="172"/>
                      </a:lnTo>
                      <a:lnTo>
                        <a:pt x="218" y="177"/>
                      </a:lnTo>
                      <a:lnTo>
                        <a:pt x="230" y="178"/>
                      </a:lnTo>
                      <a:lnTo>
                        <a:pt x="240" y="178"/>
                      </a:lnTo>
                      <a:lnTo>
                        <a:pt x="251" y="175"/>
                      </a:lnTo>
                      <a:lnTo>
                        <a:pt x="261" y="170"/>
                      </a:lnTo>
                      <a:lnTo>
                        <a:pt x="274" y="160"/>
                      </a:lnTo>
                      <a:lnTo>
                        <a:pt x="287" y="148"/>
                      </a:lnTo>
                      <a:lnTo>
                        <a:pt x="287" y="148"/>
                      </a:lnTo>
                      <a:lnTo>
                        <a:pt x="277" y="137"/>
                      </a:lnTo>
                      <a:lnTo>
                        <a:pt x="263" y="125"/>
                      </a:lnTo>
                      <a:lnTo>
                        <a:pt x="249" y="113"/>
                      </a:lnTo>
                      <a:lnTo>
                        <a:pt x="244" y="110"/>
                      </a:lnTo>
                      <a:lnTo>
                        <a:pt x="237" y="108"/>
                      </a:lnTo>
                      <a:lnTo>
                        <a:pt x="237" y="108"/>
                      </a:lnTo>
                      <a:lnTo>
                        <a:pt x="231" y="106"/>
                      </a:lnTo>
                      <a:lnTo>
                        <a:pt x="223" y="108"/>
                      </a:lnTo>
                      <a:lnTo>
                        <a:pt x="208" y="111"/>
                      </a:lnTo>
                      <a:lnTo>
                        <a:pt x="192" y="116"/>
                      </a:lnTo>
                      <a:lnTo>
                        <a:pt x="185" y="117"/>
                      </a:lnTo>
                      <a:lnTo>
                        <a:pt x="177" y="117"/>
                      </a:lnTo>
                      <a:lnTo>
                        <a:pt x="177" y="117"/>
                      </a:lnTo>
                      <a:lnTo>
                        <a:pt x="164" y="114"/>
                      </a:lnTo>
                      <a:lnTo>
                        <a:pt x="155" y="112"/>
                      </a:lnTo>
                      <a:lnTo>
                        <a:pt x="147" y="110"/>
                      </a:lnTo>
                      <a:lnTo>
                        <a:pt x="141" y="108"/>
                      </a:lnTo>
                      <a:lnTo>
                        <a:pt x="137" y="103"/>
                      </a:lnTo>
                      <a:lnTo>
                        <a:pt x="134" y="99"/>
                      </a:lnTo>
                      <a:lnTo>
                        <a:pt x="133" y="95"/>
                      </a:lnTo>
                      <a:lnTo>
                        <a:pt x="132" y="90"/>
                      </a:lnTo>
                      <a:lnTo>
                        <a:pt x="132" y="79"/>
                      </a:lnTo>
                      <a:lnTo>
                        <a:pt x="131" y="66"/>
                      </a:lnTo>
                      <a:lnTo>
                        <a:pt x="130" y="59"/>
                      </a:lnTo>
                      <a:lnTo>
                        <a:pt x="127" y="52"/>
                      </a:lnTo>
                      <a:lnTo>
                        <a:pt x="124" y="44"/>
                      </a:lnTo>
                      <a:lnTo>
                        <a:pt x="119" y="36"/>
                      </a:lnTo>
                      <a:lnTo>
                        <a:pt x="119" y="36"/>
                      </a:lnTo>
                      <a:lnTo>
                        <a:pt x="116" y="32"/>
                      </a:lnTo>
                      <a:lnTo>
                        <a:pt x="111" y="28"/>
                      </a:lnTo>
                      <a:lnTo>
                        <a:pt x="100" y="19"/>
                      </a:lnTo>
                      <a:lnTo>
                        <a:pt x="85" y="11"/>
                      </a:lnTo>
                      <a:lnTo>
                        <a:pt x="70" y="4"/>
                      </a:lnTo>
                      <a:lnTo>
                        <a:pt x="62" y="2"/>
                      </a:lnTo>
                      <a:lnTo>
                        <a:pt x="55" y="0"/>
                      </a:lnTo>
                      <a:lnTo>
                        <a:pt x="48" y="0"/>
                      </a:lnTo>
                      <a:lnTo>
                        <a:pt x="43" y="3"/>
                      </a:lnTo>
                      <a:lnTo>
                        <a:pt x="39" y="5"/>
                      </a:lnTo>
                      <a:lnTo>
                        <a:pt x="35" y="10"/>
                      </a:lnTo>
                      <a:lnTo>
                        <a:pt x="34" y="15"/>
                      </a:lnTo>
                      <a:lnTo>
                        <a:pt x="34" y="23"/>
                      </a:lnTo>
                      <a:lnTo>
                        <a:pt x="34" y="23"/>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2" name="Freeform 391"/>
                <p:cNvSpPr>
                  <a:spLocks/>
                </p:cNvSpPr>
                <p:nvPr/>
              </p:nvSpPr>
              <p:spPr bwMode="auto">
                <a:xfrm>
                  <a:off x="2986088" y="385763"/>
                  <a:ext cx="22225" cy="19050"/>
                </a:xfrm>
                <a:custGeom>
                  <a:avLst/>
                  <a:gdLst>
                    <a:gd name="T0" fmla="*/ 96 w 97"/>
                    <a:gd name="T1" fmla="*/ 23 h 82"/>
                    <a:gd name="T2" fmla="*/ 96 w 97"/>
                    <a:gd name="T3" fmla="*/ 23 h 82"/>
                    <a:gd name="T4" fmla="*/ 90 w 97"/>
                    <a:gd name="T5" fmla="*/ 15 h 82"/>
                    <a:gd name="T6" fmla="*/ 84 w 97"/>
                    <a:gd name="T7" fmla="*/ 10 h 82"/>
                    <a:gd name="T8" fmla="*/ 77 w 97"/>
                    <a:gd name="T9" fmla="*/ 6 h 82"/>
                    <a:gd name="T10" fmla="*/ 71 w 97"/>
                    <a:gd name="T11" fmla="*/ 2 h 82"/>
                    <a:gd name="T12" fmla="*/ 66 w 97"/>
                    <a:gd name="T13" fmla="*/ 0 h 82"/>
                    <a:gd name="T14" fmla="*/ 60 w 97"/>
                    <a:gd name="T15" fmla="*/ 0 h 82"/>
                    <a:gd name="T16" fmla="*/ 54 w 97"/>
                    <a:gd name="T17" fmla="*/ 0 h 82"/>
                    <a:gd name="T18" fmla="*/ 48 w 97"/>
                    <a:gd name="T19" fmla="*/ 1 h 82"/>
                    <a:gd name="T20" fmla="*/ 43 w 97"/>
                    <a:gd name="T21" fmla="*/ 3 h 82"/>
                    <a:gd name="T22" fmla="*/ 37 w 97"/>
                    <a:gd name="T23" fmla="*/ 6 h 82"/>
                    <a:gd name="T24" fmla="*/ 24 w 97"/>
                    <a:gd name="T25" fmla="*/ 14 h 82"/>
                    <a:gd name="T26" fmla="*/ 13 w 97"/>
                    <a:gd name="T27" fmla="*/ 23 h 82"/>
                    <a:gd name="T28" fmla="*/ 0 w 97"/>
                    <a:gd name="T29" fmla="*/ 35 h 82"/>
                    <a:gd name="T30" fmla="*/ 0 w 97"/>
                    <a:gd name="T31" fmla="*/ 35 h 82"/>
                    <a:gd name="T32" fmla="*/ 47 w 97"/>
                    <a:gd name="T33" fmla="*/ 37 h 82"/>
                    <a:gd name="T34" fmla="*/ 47 w 97"/>
                    <a:gd name="T35" fmla="*/ 37 h 82"/>
                    <a:gd name="T36" fmla="*/ 43 w 97"/>
                    <a:gd name="T37" fmla="*/ 51 h 82"/>
                    <a:gd name="T38" fmla="*/ 40 w 97"/>
                    <a:gd name="T39" fmla="*/ 58 h 82"/>
                    <a:gd name="T40" fmla="*/ 37 w 97"/>
                    <a:gd name="T41" fmla="*/ 63 h 82"/>
                    <a:gd name="T42" fmla="*/ 37 w 97"/>
                    <a:gd name="T43" fmla="*/ 63 h 82"/>
                    <a:gd name="T44" fmla="*/ 40 w 97"/>
                    <a:gd name="T45" fmla="*/ 72 h 82"/>
                    <a:gd name="T46" fmla="*/ 44 w 97"/>
                    <a:gd name="T47" fmla="*/ 78 h 82"/>
                    <a:gd name="T48" fmla="*/ 48 w 97"/>
                    <a:gd name="T49" fmla="*/ 82 h 82"/>
                    <a:gd name="T50" fmla="*/ 54 w 97"/>
                    <a:gd name="T51" fmla="*/ 82 h 82"/>
                    <a:gd name="T52" fmla="*/ 60 w 97"/>
                    <a:gd name="T53" fmla="*/ 81 h 82"/>
                    <a:gd name="T54" fmla="*/ 66 w 97"/>
                    <a:gd name="T55" fmla="*/ 78 h 82"/>
                    <a:gd name="T56" fmla="*/ 70 w 97"/>
                    <a:gd name="T57" fmla="*/ 74 h 82"/>
                    <a:gd name="T58" fmla="*/ 76 w 97"/>
                    <a:gd name="T59" fmla="*/ 69 h 82"/>
                    <a:gd name="T60" fmla="*/ 86 w 97"/>
                    <a:gd name="T61" fmla="*/ 56 h 82"/>
                    <a:gd name="T62" fmla="*/ 93 w 97"/>
                    <a:gd name="T63" fmla="*/ 43 h 82"/>
                    <a:gd name="T64" fmla="*/ 96 w 97"/>
                    <a:gd name="T65" fmla="*/ 36 h 82"/>
                    <a:gd name="T66" fmla="*/ 97 w 97"/>
                    <a:gd name="T67" fmla="*/ 30 h 82"/>
                    <a:gd name="T68" fmla="*/ 97 w 97"/>
                    <a:gd name="T69" fmla="*/ 26 h 82"/>
                    <a:gd name="T70" fmla="*/ 96 w 97"/>
                    <a:gd name="T71" fmla="*/ 23 h 82"/>
                    <a:gd name="T72" fmla="*/ 96 w 97"/>
                    <a:gd name="T73" fmla="*/ 2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7" h="82">
                      <a:moveTo>
                        <a:pt x="96" y="23"/>
                      </a:moveTo>
                      <a:lnTo>
                        <a:pt x="96" y="23"/>
                      </a:lnTo>
                      <a:lnTo>
                        <a:pt x="90" y="15"/>
                      </a:lnTo>
                      <a:lnTo>
                        <a:pt x="84" y="10"/>
                      </a:lnTo>
                      <a:lnTo>
                        <a:pt x="77" y="6"/>
                      </a:lnTo>
                      <a:lnTo>
                        <a:pt x="71" y="2"/>
                      </a:lnTo>
                      <a:lnTo>
                        <a:pt x="66" y="0"/>
                      </a:lnTo>
                      <a:lnTo>
                        <a:pt x="60" y="0"/>
                      </a:lnTo>
                      <a:lnTo>
                        <a:pt x="54" y="0"/>
                      </a:lnTo>
                      <a:lnTo>
                        <a:pt x="48" y="1"/>
                      </a:lnTo>
                      <a:lnTo>
                        <a:pt x="43" y="3"/>
                      </a:lnTo>
                      <a:lnTo>
                        <a:pt x="37" y="6"/>
                      </a:lnTo>
                      <a:lnTo>
                        <a:pt x="24" y="14"/>
                      </a:lnTo>
                      <a:lnTo>
                        <a:pt x="13" y="23"/>
                      </a:lnTo>
                      <a:lnTo>
                        <a:pt x="0" y="35"/>
                      </a:lnTo>
                      <a:lnTo>
                        <a:pt x="0" y="35"/>
                      </a:lnTo>
                      <a:lnTo>
                        <a:pt x="47" y="37"/>
                      </a:lnTo>
                      <a:lnTo>
                        <a:pt x="47" y="37"/>
                      </a:lnTo>
                      <a:lnTo>
                        <a:pt x="43" y="51"/>
                      </a:lnTo>
                      <a:lnTo>
                        <a:pt x="40" y="58"/>
                      </a:lnTo>
                      <a:lnTo>
                        <a:pt x="37" y="63"/>
                      </a:lnTo>
                      <a:lnTo>
                        <a:pt x="37" y="63"/>
                      </a:lnTo>
                      <a:lnTo>
                        <a:pt x="40" y="72"/>
                      </a:lnTo>
                      <a:lnTo>
                        <a:pt x="44" y="78"/>
                      </a:lnTo>
                      <a:lnTo>
                        <a:pt x="48" y="82"/>
                      </a:lnTo>
                      <a:lnTo>
                        <a:pt x="54" y="82"/>
                      </a:lnTo>
                      <a:lnTo>
                        <a:pt x="60" y="81"/>
                      </a:lnTo>
                      <a:lnTo>
                        <a:pt x="66" y="78"/>
                      </a:lnTo>
                      <a:lnTo>
                        <a:pt x="70" y="74"/>
                      </a:lnTo>
                      <a:lnTo>
                        <a:pt x="76" y="69"/>
                      </a:lnTo>
                      <a:lnTo>
                        <a:pt x="86" y="56"/>
                      </a:lnTo>
                      <a:lnTo>
                        <a:pt x="93" y="43"/>
                      </a:lnTo>
                      <a:lnTo>
                        <a:pt x="96" y="36"/>
                      </a:lnTo>
                      <a:lnTo>
                        <a:pt x="97" y="30"/>
                      </a:lnTo>
                      <a:lnTo>
                        <a:pt x="97" y="26"/>
                      </a:lnTo>
                      <a:lnTo>
                        <a:pt x="96" y="23"/>
                      </a:lnTo>
                      <a:lnTo>
                        <a:pt x="96" y="23"/>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3" name="Freeform 392"/>
                <p:cNvSpPr>
                  <a:spLocks/>
                </p:cNvSpPr>
                <p:nvPr/>
              </p:nvSpPr>
              <p:spPr bwMode="auto">
                <a:xfrm>
                  <a:off x="3055938" y="431800"/>
                  <a:ext cx="20638" cy="11113"/>
                </a:xfrm>
                <a:custGeom>
                  <a:avLst/>
                  <a:gdLst>
                    <a:gd name="T0" fmla="*/ 0 w 91"/>
                    <a:gd name="T1" fmla="*/ 19 h 53"/>
                    <a:gd name="T2" fmla="*/ 0 w 91"/>
                    <a:gd name="T3" fmla="*/ 19 h 53"/>
                    <a:gd name="T4" fmla="*/ 3 w 91"/>
                    <a:gd name="T5" fmla="*/ 25 h 53"/>
                    <a:gd name="T6" fmla="*/ 6 w 91"/>
                    <a:gd name="T7" fmla="*/ 31 h 53"/>
                    <a:gd name="T8" fmla="*/ 11 w 91"/>
                    <a:gd name="T9" fmla="*/ 36 h 53"/>
                    <a:gd name="T10" fmla="*/ 15 w 91"/>
                    <a:gd name="T11" fmla="*/ 39 h 53"/>
                    <a:gd name="T12" fmla="*/ 20 w 91"/>
                    <a:gd name="T13" fmla="*/ 43 h 53"/>
                    <a:gd name="T14" fmla="*/ 26 w 91"/>
                    <a:gd name="T15" fmla="*/ 45 h 53"/>
                    <a:gd name="T16" fmla="*/ 38 w 91"/>
                    <a:gd name="T17" fmla="*/ 49 h 53"/>
                    <a:gd name="T18" fmla="*/ 52 w 91"/>
                    <a:gd name="T19" fmla="*/ 51 h 53"/>
                    <a:gd name="T20" fmla="*/ 65 w 91"/>
                    <a:gd name="T21" fmla="*/ 51 h 53"/>
                    <a:gd name="T22" fmla="*/ 79 w 91"/>
                    <a:gd name="T23" fmla="*/ 52 h 53"/>
                    <a:gd name="T24" fmla="*/ 91 w 91"/>
                    <a:gd name="T25" fmla="*/ 53 h 53"/>
                    <a:gd name="T26" fmla="*/ 91 w 91"/>
                    <a:gd name="T27" fmla="*/ 53 h 53"/>
                    <a:gd name="T28" fmla="*/ 72 w 91"/>
                    <a:gd name="T29" fmla="*/ 31 h 53"/>
                    <a:gd name="T30" fmla="*/ 61 w 91"/>
                    <a:gd name="T31" fmla="*/ 20 h 53"/>
                    <a:gd name="T32" fmla="*/ 49 w 91"/>
                    <a:gd name="T33" fmla="*/ 8 h 53"/>
                    <a:gd name="T34" fmla="*/ 43 w 91"/>
                    <a:gd name="T35" fmla="*/ 5 h 53"/>
                    <a:gd name="T36" fmla="*/ 36 w 91"/>
                    <a:gd name="T37" fmla="*/ 1 h 53"/>
                    <a:gd name="T38" fmla="*/ 30 w 91"/>
                    <a:gd name="T39" fmla="*/ 0 h 53"/>
                    <a:gd name="T40" fmla="*/ 23 w 91"/>
                    <a:gd name="T41" fmla="*/ 0 h 53"/>
                    <a:gd name="T42" fmla="*/ 18 w 91"/>
                    <a:gd name="T43" fmla="*/ 1 h 53"/>
                    <a:gd name="T44" fmla="*/ 12 w 91"/>
                    <a:gd name="T45" fmla="*/ 5 h 53"/>
                    <a:gd name="T46" fmla="*/ 6 w 91"/>
                    <a:gd name="T47" fmla="*/ 11 h 53"/>
                    <a:gd name="T48" fmla="*/ 0 w 91"/>
                    <a:gd name="T49" fmla="*/ 19 h 53"/>
                    <a:gd name="T50" fmla="*/ 0 w 91"/>
                    <a:gd name="T51" fmla="*/ 1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53">
                      <a:moveTo>
                        <a:pt x="0" y="19"/>
                      </a:moveTo>
                      <a:lnTo>
                        <a:pt x="0" y="19"/>
                      </a:lnTo>
                      <a:lnTo>
                        <a:pt x="3" y="25"/>
                      </a:lnTo>
                      <a:lnTo>
                        <a:pt x="6" y="31"/>
                      </a:lnTo>
                      <a:lnTo>
                        <a:pt x="11" y="36"/>
                      </a:lnTo>
                      <a:lnTo>
                        <a:pt x="15" y="39"/>
                      </a:lnTo>
                      <a:lnTo>
                        <a:pt x="20" y="43"/>
                      </a:lnTo>
                      <a:lnTo>
                        <a:pt x="26" y="45"/>
                      </a:lnTo>
                      <a:lnTo>
                        <a:pt x="38" y="49"/>
                      </a:lnTo>
                      <a:lnTo>
                        <a:pt x="52" y="51"/>
                      </a:lnTo>
                      <a:lnTo>
                        <a:pt x="65" y="51"/>
                      </a:lnTo>
                      <a:lnTo>
                        <a:pt x="79" y="52"/>
                      </a:lnTo>
                      <a:lnTo>
                        <a:pt x="91" y="53"/>
                      </a:lnTo>
                      <a:lnTo>
                        <a:pt x="91" y="53"/>
                      </a:lnTo>
                      <a:lnTo>
                        <a:pt x="72" y="31"/>
                      </a:lnTo>
                      <a:lnTo>
                        <a:pt x="61" y="20"/>
                      </a:lnTo>
                      <a:lnTo>
                        <a:pt x="49" y="8"/>
                      </a:lnTo>
                      <a:lnTo>
                        <a:pt x="43" y="5"/>
                      </a:lnTo>
                      <a:lnTo>
                        <a:pt x="36" y="1"/>
                      </a:lnTo>
                      <a:lnTo>
                        <a:pt x="30" y="0"/>
                      </a:lnTo>
                      <a:lnTo>
                        <a:pt x="23" y="0"/>
                      </a:lnTo>
                      <a:lnTo>
                        <a:pt x="18" y="1"/>
                      </a:lnTo>
                      <a:lnTo>
                        <a:pt x="12" y="5"/>
                      </a:lnTo>
                      <a:lnTo>
                        <a:pt x="6" y="11"/>
                      </a:lnTo>
                      <a:lnTo>
                        <a:pt x="0" y="19"/>
                      </a:lnTo>
                      <a:lnTo>
                        <a:pt x="0" y="19"/>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4" name="Freeform 393"/>
                <p:cNvSpPr>
                  <a:spLocks/>
                </p:cNvSpPr>
                <p:nvPr/>
              </p:nvSpPr>
              <p:spPr bwMode="auto">
                <a:xfrm>
                  <a:off x="3038475" y="344488"/>
                  <a:ext cx="109538" cy="65088"/>
                </a:xfrm>
                <a:custGeom>
                  <a:avLst/>
                  <a:gdLst>
                    <a:gd name="T0" fmla="*/ 130 w 489"/>
                    <a:gd name="T1" fmla="*/ 78 h 283"/>
                    <a:gd name="T2" fmla="*/ 141 w 489"/>
                    <a:gd name="T3" fmla="*/ 95 h 283"/>
                    <a:gd name="T4" fmla="*/ 177 w 489"/>
                    <a:gd name="T5" fmla="*/ 100 h 283"/>
                    <a:gd name="T6" fmla="*/ 240 w 489"/>
                    <a:gd name="T7" fmla="*/ 87 h 283"/>
                    <a:gd name="T8" fmla="*/ 233 w 489"/>
                    <a:gd name="T9" fmla="*/ 105 h 283"/>
                    <a:gd name="T10" fmla="*/ 196 w 489"/>
                    <a:gd name="T11" fmla="*/ 129 h 283"/>
                    <a:gd name="T12" fmla="*/ 180 w 489"/>
                    <a:gd name="T13" fmla="*/ 128 h 283"/>
                    <a:gd name="T14" fmla="*/ 152 w 489"/>
                    <a:gd name="T15" fmla="*/ 109 h 283"/>
                    <a:gd name="T16" fmla="*/ 101 w 489"/>
                    <a:gd name="T17" fmla="*/ 107 h 283"/>
                    <a:gd name="T18" fmla="*/ 133 w 489"/>
                    <a:gd name="T19" fmla="*/ 159 h 283"/>
                    <a:gd name="T20" fmla="*/ 117 w 489"/>
                    <a:gd name="T21" fmla="*/ 153 h 283"/>
                    <a:gd name="T22" fmla="*/ 101 w 489"/>
                    <a:gd name="T23" fmla="*/ 145 h 283"/>
                    <a:gd name="T24" fmla="*/ 82 w 489"/>
                    <a:gd name="T25" fmla="*/ 152 h 283"/>
                    <a:gd name="T26" fmla="*/ 78 w 489"/>
                    <a:gd name="T27" fmla="*/ 166 h 283"/>
                    <a:gd name="T28" fmla="*/ 95 w 489"/>
                    <a:gd name="T29" fmla="*/ 191 h 283"/>
                    <a:gd name="T30" fmla="*/ 118 w 489"/>
                    <a:gd name="T31" fmla="*/ 199 h 283"/>
                    <a:gd name="T32" fmla="*/ 120 w 489"/>
                    <a:gd name="T33" fmla="*/ 213 h 283"/>
                    <a:gd name="T34" fmla="*/ 108 w 489"/>
                    <a:gd name="T35" fmla="*/ 216 h 283"/>
                    <a:gd name="T36" fmla="*/ 74 w 489"/>
                    <a:gd name="T37" fmla="*/ 184 h 283"/>
                    <a:gd name="T38" fmla="*/ 59 w 489"/>
                    <a:gd name="T39" fmla="*/ 180 h 283"/>
                    <a:gd name="T40" fmla="*/ 43 w 489"/>
                    <a:gd name="T41" fmla="*/ 186 h 283"/>
                    <a:gd name="T42" fmla="*/ 39 w 489"/>
                    <a:gd name="T43" fmla="*/ 198 h 283"/>
                    <a:gd name="T44" fmla="*/ 11 w 489"/>
                    <a:gd name="T45" fmla="*/ 208 h 283"/>
                    <a:gd name="T46" fmla="*/ 5 w 489"/>
                    <a:gd name="T47" fmla="*/ 223 h 283"/>
                    <a:gd name="T48" fmla="*/ 25 w 489"/>
                    <a:gd name="T49" fmla="*/ 242 h 283"/>
                    <a:gd name="T50" fmla="*/ 92 w 489"/>
                    <a:gd name="T51" fmla="*/ 258 h 283"/>
                    <a:gd name="T52" fmla="*/ 117 w 489"/>
                    <a:gd name="T53" fmla="*/ 266 h 283"/>
                    <a:gd name="T54" fmla="*/ 142 w 489"/>
                    <a:gd name="T55" fmla="*/ 282 h 283"/>
                    <a:gd name="T56" fmla="*/ 164 w 489"/>
                    <a:gd name="T57" fmla="*/ 277 h 283"/>
                    <a:gd name="T58" fmla="*/ 184 w 489"/>
                    <a:gd name="T59" fmla="*/ 257 h 283"/>
                    <a:gd name="T60" fmla="*/ 170 w 489"/>
                    <a:gd name="T61" fmla="*/ 242 h 283"/>
                    <a:gd name="T62" fmla="*/ 198 w 489"/>
                    <a:gd name="T63" fmla="*/ 236 h 283"/>
                    <a:gd name="T64" fmla="*/ 252 w 489"/>
                    <a:gd name="T65" fmla="*/ 213 h 283"/>
                    <a:gd name="T66" fmla="*/ 259 w 489"/>
                    <a:gd name="T67" fmla="*/ 206 h 283"/>
                    <a:gd name="T68" fmla="*/ 240 w 489"/>
                    <a:gd name="T69" fmla="*/ 178 h 283"/>
                    <a:gd name="T70" fmla="*/ 236 w 489"/>
                    <a:gd name="T71" fmla="*/ 167 h 283"/>
                    <a:gd name="T72" fmla="*/ 278 w 489"/>
                    <a:gd name="T73" fmla="*/ 170 h 283"/>
                    <a:gd name="T74" fmla="*/ 356 w 489"/>
                    <a:gd name="T75" fmla="*/ 156 h 283"/>
                    <a:gd name="T76" fmla="*/ 381 w 489"/>
                    <a:gd name="T77" fmla="*/ 116 h 283"/>
                    <a:gd name="T78" fmla="*/ 408 w 489"/>
                    <a:gd name="T79" fmla="*/ 112 h 283"/>
                    <a:gd name="T80" fmla="*/ 467 w 489"/>
                    <a:gd name="T81" fmla="*/ 109 h 283"/>
                    <a:gd name="T82" fmla="*/ 489 w 489"/>
                    <a:gd name="T83" fmla="*/ 89 h 283"/>
                    <a:gd name="T84" fmla="*/ 291 w 489"/>
                    <a:gd name="T85" fmla="*/ 18 h 283"/>
                    <a:gd name="T86" fmla="*/ 262 w 489"/>
                    <a:gd name="T87" fmla="*/ 23 h 283"/>
                    <a:gd name="T88" fmla="*/ 229 w 489"/>
                    <a:gd name="T89" fmla="*/ 36 h 283"/>
                    <a:gd name="T90" fmla="*/ 215 w 489"/>
                    <a:gd name="T91" fmla="*/ 31 h 283"/>
                    <a:gd name="T92" fmla="*/ 170 w 489"/>
                    <a:gd name="T93" fmla="*/ 2 h 283"/>
                    <a:gd name="T94" fmla="*/ 149 w 489"/>
                    <a:gd name="T95" fmla="*/ 2 h 283"/>
                    <a:gd name="T96" fmla="*/ 143 w 489"/>
                    <a:gd name="T97" fmla="*/ 29 h 283"/>
                    <a:gd name="T98" fmla="*/ 118 w 489"/>
                    <a:gd name="T99" fmla="*/ 8 h 283"/>
                    <a:gd name="T100" fmla="*/ 69 w 489"/>
                    <a:gd name="T101" fmla="*/ 18 h 283"/>
                    <a:gd name="T102" fmla="*/ 73 w 489"/>
                    <a:gd name="T103" fmla="*/ 34 h 283"/>
                    <a:gd name="T104" fmla="*/ 92 w 489"/>
                    <a:gd name="T105" fmla="*/ 49 h 283"/>
                    <a:gd name="T106" fmla="*/ 134 w 489"/>
                    <a:gd name="T107" fmla="*/ 5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9" h="283">
                      <a:moveTo>
                        <a:pt x="134" y="57"/>
                      </a:moveTo>
                      <a:lnTo>
                        <a:pt x="134" y="57"/>
                      </a:lnTo>
                      <a:lnTo>
                        <a:pt x="131" y="69"/>
                      </a:lnTo>
                      <a:lnTo>
                        <a:pt x="130" y="78"/>
                      </a:lnTo>
                      <a:lnTo>
                        <a:pt x="131" y="82"/>
                      </a:lnTo>
                      <a:lnTo>
                        <a:pt x="132" y="86"/>
                      </a:lnTo>
                      <a:lnTo>
                        <a:pt x="135" y="91"/>
                      </a:lnTo>
                      <a:lnTo>
                        <a:pt x="141" y="95"/>
                      </a:lnTo>
                      <a:lnTo>
                        <a:pt x="148" y="98"/>
                      </a:lnTo>
                      <a:lnTo>
                        <a:pt x="157" y="100"/>
                      </a:lnTo>
                      <a:lnTo>
                        <a:pt x="167" y="100"/>
                      </a:lnTo>
                      <a:lnTo>
                        <a:pt x="177" y="100"/>
                      </a:lnTo>
                      <a:lnTo>
                        <a:pt x="188" y="99"/>
                      </a:lnTo>
                      <a:lnTo>
                        <a:pt x="209" y="95"/>
                      </a:lnTo>
                      <a:lnTo>
                        <a:pt x="240" y="87"/>
                      </a:lnTo>
                      <a:lnTo>
                        <a:pt x="240" y="87"/>
                      </a:lnTo>
                      <a:lnTo>
                        <a:pt x="240" y="92"/>
                      </a:lnTo>
                      <a:lnTo>
                        <a:pt x="239" y="95"/>
                      </a:lnTo>
                      <a:lnTo>
                        <a:pt x="237" y="100"/>
                      </a:lnTo>
                      <a:lnTo>
                        <a:pt x="233" y="105"/>
                      </a:lnTo>
                      <a:lnTo>
                        <a:pt x="226" y="113"/>
                      </a:lnTo>
                      <a:lnTo>
                        <a:pt x="217" y="120"/>
                      </a:lnTo>
                      <a:lnTo>
                        <a:pt x="207" y="125"/>
                      </a:lnTo>
                      <a:lnTo>
                        <a:pt x="196" y="129"/>
                      </a:lnTo>
                      <a:lnTo>
                        <a:pt x="192" y="130"/>
                      </a:lnTo>
                      <a:lnTo>
                        <a:pt x="187" y="130"/>
                      </a:lnTo>
                      <a:lnTo>
                        <a:pt x="184" y="129"/>
                      </a:lnTo>
                      <a:lnTo>
                        <a:pt x="180" y="128"/>
                      </a:lnTo>
                      <a:lnTo>
                        <a:pt x="180" y="128"/>
                      </a:lnTo>
                      <a:lnTo>
                        <a:pt x="170" y="120"/>
                      </a:lnTo>
                      <a:lnTo>
                        <a:pt x="161" y="113"/>
                      </a:lnTo>
                      <a:lnTo>
                        <a:pt x="152" y="109"/>
                      </a:lnTo>
                      <a:lnTo>
                        <a:pt x="145" y="106"/>
                      </a:lnTo>
                      <a:lnTo>
                        <a:pt x="135" y="105"/>
                      </a:lnTo>
                      <a:lnTo>
                        <a:pt x="126" y="105"/>
                      </a:lnTo>
                      <a:lnTo>
                        <a:pt x="101" y="107"/>
                      </a:lnTo>
                      <a:lnTo>
                        <a:pt x="101" y="107"/>
                      </a:lnTo>
                      <a:lnTo>
                        <a:pt x="138" y="158"/>
                      </a:lnTo>
                      <a:lnTo>
                        <a:pt x="138" y="158"/>
                      </a:lnTo>
                      <a:lnTo>
                        <a:pt x="133" y="159"/>
                      </a:lnTo>
                      <a:lnTo>
                        <a:pt x="129" y="159"/>
                      </a:lnTo>
                      <a:lnTo>
                        <a:pt x="125" y="158"/>
                      </a:lnTo>
                      <a:lnTo>
                        <a:pt x="122" y="156"/>
                      </a:lnTo>
                      <a:lnTo>
                        <a:pt x="117" y="153"/>
                      </a:lnTo>
                      <a:lnTo>
                        <a:pt x="112" y="150"/>
                      </a:lnTo>
                      <a:lnTo>
                        <a:pt x="107" y="146"/>
                      </a:lnTo>
                      <a:lnTo>
                        <a:pt x="104" y="145"/>
                      </a:lnTo>
                      <a:lnTo>
                        <a:pt x="101" y="145"/>
                      </a:lnTo>
                      <a:lnTo>
                        <a:pt x="97" y="145"/>
                      </a:lnTo>
                      <a:lnTo>
                        <a:pt x="94" y="146"/>
                      </a:lnTo>
                      <a:lnTo>
                        <a:pt x="82" y="152"/>
                      </a:lnTo>
                      <a:lnTo>
                        <a:pt x="82" y="152"/>
                      </a:lnTo>
                      <a:lnTo>
                        <a:pt x="80" y="155"/>
                      </a:lnTo>
                      <a:lnTo>
                        <a:pt x="78" y="159"/>
                      </a:lnTo>
                      <a:lnTo>
                        <a:pt x="78" y="162"/>
                      </a:lnTo>
                      <a:lnTo>
                        <a:pt x="78" y="166"/>
                      </a:lnTo>
                      <a:lnTo>
                        <a:pt x="79" y="170"/>
                      </a:lnTo>
                      <a:lnTo>
                        <a:pt x="81" y="175"/>
                      </a:lnTo>
                      <a:lnTo>
                        <a:pt x="87" y="183"/>
                      </a:lnTo>
                      <a:lnTo>
                        <a:pt x="95" y="191"/>
                      </a:lnTo>
                      <a:lnTo>
                        <a:pt x="104" y="196"/>
                      </a:lnTo>
                      <a:lnTo>
                        <a:pt x="109" y="198"/>
                      </a:lnTo>
                      <a:lnTo>
                        <a:pt x="114" y="199"/>
                      </a:lnTo>
                      <a:lnTo>
                        <a:pt x="118" y="199"/>
                      </a:lnTo>
                      <a:lnTo>
                        <a:pt x="123" y="198"/>
                      </a:lnTo>
                      <a:lnTo>
                        <a:pt x="123" y="198"/>
                      </a:lnTo>
                      <a:lnTo>
                        <a:pt x="123" y="207"/>
                      </a:lnTo>
                      <a:lnTo>
                        <a:pt x="120" y="213"/>
                      </a:lnTo>
                      <a:lnTo>
                        <a:pt x="118" y="216"/>
                      </a:lnTo>
                      <a:lnTo>
                        <a:pt x="116" y="218"/>
                      </a:lnTo>
                      <a:lnTo>
                        <a:pt x="112" y="218"/>
                      </a:lnTo>
                      <a:lnTo>
                        <a:pt x="108" y="216"/>
                      </a:lnTo>
                      <a:lnTo>
                        <a:pt x="100" y="211"/>
                      </a:lnTo>
                      <a:lnTo>
                        <a:pt x="91" y="201"/>
                      </a:lnTo>
                      <a:lnTo>
                        <a:pt x="82" y="192"/>
                      </a:lnTo>
                      <a:lnTo>
                        <a:pt x="74" y="184"/>
                      </a:lnTo>
                      <a:lnTo>
                        <a:pt x="72" y="182"/>
                      </a:lnTo>
                      <a:lnTo>
                        <a:pt x="69" y="181"/>
                      </a:lnTo>
                      <a:lnTo>
                        <a:pt x="69" y="181"/>
                      </a:lnTo>
                      <a:lnTo>
                        <a:pt x="59" y="180"/>
                      </a:lnTo>
                      <a:lnTo>
                        <a:pt x="55" y="181"/>
                      </a:lnTo>
                      <a:lnTo>
                        <a:pt x="50" y="182"/>
                      </a:lnTo>
                      <a:lnTo>
                        <a:pt x="47" y="183"/>
                      </a:lnTo>
                      <a:lnTo>
                        <a:pt x="43" y="186"/>
                      </a:lnTo>
                      <a:lnTo>
                        <a:pt x="41" y="189"/>
                      </a:lnTo>
                      <a:lnTo>
                        <a:pt x="40" y="193"/>
                      </a:lnTo>
                      <a:lnTo>
                        <a:pt x="40" y="193"/>
                      </a:lnTo>
                      <a:lnTo>
                        <a:pt x="39" y="198"/>
                      </a:lnTo>
                      <a:lnTo>
                        <a:pt x="35" y="201"/>
                      </a:lnTo>
                      <a:lnTo>
                        <a:pt x="31" y="205"/>
                      </a:lnTo>
                      <a:lnTo>
                        <a:pt x="25" y="206"/>
                      </a:lnTo>
                      <a:lnTo>
                        <a:pt x="11" y="208"/>
                      </a:lnTo>
                      <a:lnTo>
                        <a:pt x="0" y="211"/>
                      </a:lnTo>
                      <a:lnTo>
                        <a:pt x="0" y="211"/>
                      </a:lnTo>
                      <a:lnTo>
                        <a:pt x="2" y="218"/>
                      </a:lnTo>
                      <a:lnTo>
                        <a:pt x="5" y="223"/>
                      </a:lnTo>
                      <a:lnTo>
                        <a:pt x="10" y="229"/>
                      </a:lnTo>
                      <a:lnTo>
                        <a:pt x="15" y="234"/>
                      </a:lnTo>
                      <a:lnTo>
                        <a:pt x="19" y="237"/>
                      </a:lnTo>
                      <a:lnTo>
                        <a:pt x="25" y="242"/>
                      </a:lnTo>
                      <a:lnTo>
                        <a:pt x="38" y="247"/>
                      </a:lnTo>
                      <a:lnTo>
                        <a:pt x="51" y="251"/>
                      </a:lnTo>
                      <a:lnTo>
                        <a:pt x="65" y="254"/>
                      </a:lnTo>
                      <a:lnTo>
                        <a:pt x="92" y="258"/>
                      </a:lnTo>
                      <a:lnTo>
                        <a:pt x="92" y="258"/>
                      </a:lnTo>
                      <a:lnTo>
                        <a:pt x="100" y="259"/>
                      </a:lnTo>
                      <a:lnTo>
                        <a:pt x="105" y="261"/>
                      </a:lnTo>
                      <a:lnTo>
                        <a:pt x="117" y="266"/>
                      </a:lnTo>
                      <a:lnTo>
                        <a:pt x="127" y="273"/>
                      </a:lnTo>
                      <a:lnTo>
                        <a:pt x="140" y="281"/>
                      </a:lnTo>
                      <a:lnTo>
                        <a:pt x="140" y="281"/>
                      </a:lnTo>
                      <a:lnTo>
                        <a:pt x="142" y="282"/>
                      </a:lnTo>
                      <a:lnTo>
                        <a:pt x="145" y="283"/>
                      </a:lnTo>
                      <a:lnTo>
                        <a:pt x="150" y="283"/>
                      </a:lnTo>
                      <a:lnTo>
                        <a:pt x="157" y="281"/>
                      </a:lnTo>
                      <a:lnTo>
                        <a:pt x="164" y="277"/>
                      </a:lnTo>
                      <a:lnTo>
                        <a:pt x="178" y="268"/>
                      </a:lnTo>
                      <a:lnTo>
                        <a:pt x="190" y="261"/>
                      </a:lnTo>
                      <a:lnTo>
                        <a:pt x="190" y="261"/>
                      </a:lnTo>
                      <a:lnTo>
                        <a:pt x="184" y="257"/>
                      </a:lnTo>
                      <a:lnTo>
                        <a:pt x="179" y="251"/>
                      </a:lnTo>
                      <a:lnTo>
                        <a:pt x="175" y="246"/>
                      </a:lnTo>
                      <a:lnTo>
                        <a:pt x="170" y="242"/>
                      </a:lnTo>
                      <a:lnTo>
                        <a:pt x="170" y="242"/>
                      </a:lnTo>
                      <a:lnTo>
                        <a:pt x="173" y="242"/>
                      </a:lnTo>
                      <a:lnTo>
                        <a:pt x="178" y="242"/>
                      </a:lnTo>
                      <a:lnTo>
                        <a:pt x="187" y="239"/>
                      </a:lnTo>
                      <a:lnTo>
                        <a:pt x="198" y="236"/>
                      </a:lnTo>
                      <a:lnTo>
                        <a:pt x="208" y="230"/>
                      </a:lnTo>
                      <a:lnTo>
                        <a:pt x="231" y="220"/>
                      </a:lnTo>
                      <a:lnTo>
                        <a:pt x="241" y="215"/>
                      </a:lnTo>
                      <a:lnTo>
                        <a:pt x="252" y="213"/>
                      </a:lnTo>
                      <a:lnTo>
                        <a:pt x="252" y="213"/>
                      </a:lnTo>
                      <a:lnTo>
                        <a:pt x="256" y="212"/>
                      </a:lnTo>
                      <a:lnTo>
                        <a:pt x="259" y="209"/>
                      </a:lnTo>
                      <a:lnTo>
                        <a:pt x="259" y="206"/>
                      </a:lnTo>
                      <a:lnTo>
                        <a:pt x="259" y="203"/>
                      </a:lnTo>
                      <a:lnTo>
                        <a:pt x="254" y="196"/>
                      </a:lnTo>
                      <a:lnTo>
                        <a:pt x="247" y="186"/>
                      </a:lnTo>
                      <a:lnTo>
                        <a:pt x="240" y="178"/>
                      </a:lnTo>
                      <a:lnTo>
                        <a:pt x="236" y="171"/>
                      </a:lnTo>
                      <a:lnTo>
                        <a:pt x="234" y="169"/>
                      </a:lnTo>
                      <a:lnTo>
                        <a:pt x="234" y="168"/>
                      </a:lnTo>
                      <a:lnTo>
                        <a:pt x="236" y="167"/>
                      </a:lnTo>
                      <a:lnTo>
                        <a:pt x="239" y="167"/>
                      </a:lnTo>
                      <a:lnTo>
                        <a:pt x="239" y="167"/>
                      </a:lnTo>
                      <a:lnTo>
                        <a:pt x="266" y="170"/>
                      </a:lnTo>
                      <a:lnTo>
                        <a:pt x="278" y="170"/>
                      </a:lnTo>
                      <a:lnTo>
                        <a:pt x="290" y="170"/>
                      </a:lnTo>
                      <a:lnTo>
                        <a:pt x="313" y="168"/>
                      </a:lnTo>
                      <a:lnTo>
                        <a:pt x="335" y="163"/>
                      </a:lnTo>
                      <a:lnTo>
                        <a:pt x="356" y="156"/>
                      </a:lnTo>
                      <a:lnTo>
                        <a:pt x="378" y="148"/>
                      </a:lnTo>
                      <a:lnTo>
                        <a:pt x="428" y="129"/>
                      </a:lnTo>
                      <a:lnTo>
                        <a:pt x="428" y="129"/>
                      </a:lnTo>
                      <a:lnTo>
                        <a:pt x="381" y="116"/>
                      </a:lnTo>
                      <a:lnTo>
                        <a:pt x="381" y="116"/>
                      </a:lnTo>
                      <a:lnTo>
                        <a:pt x="388" y="114"/>
                      </a:lnTo>
                      <a:lnTo>
                        <a:pt x="394" y="112"/>
                      </a:lnTo>
                      <a:lnTo>
                        <a:pt x="408" y="112"/>
                      </a:lnTo>
                      <a:lnTo>
                        <a:pt x="439" y="113"/>
                      </a:lnTo>
                      <a:lnTo>
                        <a:pt x="453" y="113"/>
                      </a:lnTo>
                      <a:lnTo>
                        <a:pt x="461" y="112"/>
                      </a:lnTo>
                      <a:lnTo>
                        <a:pt x="467" y="109"/>
                      </a:lnTo>
                      <a:lnTo>
                        <a:pt x="474" y="106"/>
                      </a:lnTo>
                      <a:lnTo>
                        <a:pt x="480" y="101"/>
                      </a:lnTo>
                      <a:lnTo>
                        <a:pt x="484" y="95"/>
                      </a:lnTo>
                      <a:lnTo>
                        <a:pt x="489" y="89"/>
                      </a:lnTo>
                      <a:lnTo>
                        <a:pt x="489" y="89"/>
                      </a:lnTo>
                      <a:lnTo>
                        <a:pt x="298" y="21"/>
                      </a:lnTo>
                      <a:lnTo>
                        <a:pt x="298" y="21"/>
                      </a:lnTo>
                      <a:lnTo>
                        <a:pt x="291" y="18"/>
                      </a:lnTo>
                      <a:lnTo>
                        <a:pt x="284" y="18"/>
                      </a:lnTo>
                      <a:lnTo>
                        <a:pt x="278" y="18"/>
                      </a:lnTo>
                      <a:lnTo>
                        <a:pt x="272" y="19"/>
                      </a:lnTo>
                      <a:lnTo>
                        <a:pt x="262" y="23"/>
                      </a:lnTo>
                      <a:lnTo>
                        <a:pt x="252" y="28"/>
                      </a:lnTo>
                      <a:lnTo>
                        <a:pt x="241" y="32"/>
                      </a:lnTo>
                      <a:lnTo>
                        <a:pt x="233" y="36"/>
                      </a:lnTo>
                      <a:lnTo>
                        <a:pt x="229" y="36"/>
                      </a:lnTo>
                      <a:lnTo>
                        <a:pt x="224" y="36"/>
                      </a:lnTo>
                      <a:lnTo>
                        <a:pt x="219" y="34"/>
                      </a:lnTo>
                      <a:lnTo>
                        <a:pt x="215" y="31"/>
                      </a:lnTo>
                      <a:lnTo>
                        <a:pt x="215" y="31"/>
                      </a:lnTo>
                      <a:lnTo>
                        <a:pt x="207" y="24"/>
                      </a:lnTo>
                      <a:lnTo>
                        <a:pt x="195" y="16"/>
                      </a:lnTo>
                      <a:lnTo>
                        <a:pt x="183" y="8"/>
                      </a:lnTo>
                      <a:lnTo>
                        <a:pt x="170" y="2"/>
                      </a:lnTo>
                      <a:lnTo>
                        <a:pt x="164" y="0"/>
                      </a:lnTo>
                      <a:lnTo>
                        <a:pt x="158" y="0"/>
                      </a:lnTo>
                      <a:lnTo>
                        <a:pt x="154" y="0"/>
                      </a:lnTo>
                      <a:lnTo>
                        <a:pt x="149" y="2"/>
                      </a:lnTo>
                      <a:lnTo>
                        <a:pt x="146" y="6"/>
                      </a:lnTo>
                      <a:lnTo>
                        <a:pt x="143" y="11"/>
                      </a:lnTo>
                      <a:lnTo>
                        <a:pt x="143" y="18"/>
                      </a:lnTo>
                      <a:lnTo>
                        <a:pt x="143" y="29"/>
                      </a:lnTo>
                      <a:lnTo>
                        <a:pt x="143" y="29"/>
                      </a:lnTo>
                      <a:lnTo>
                        <a:pt x="134" y="18"/>
                      </a:lnTo>
                      <a:lnTo>
                        <a:pt x="126" y="11"/>
                      </a:lnTo>
                      <a:lnTo>
                        <a:pt x="118" y="8"/>
                      </a:lnTo>
                      <a:lnTo>
                        <a:pt x="110" y="7"/>
                      </a:lnTo>
                      <a:lnTo>
                        <a:pt x="101" y="8"/>
                      </a:lnTo>
                      <a:lnTo>
                        <a:pt x="92" y="10"/>
                      </a:lnTo>
                      <a:lnTo>
                        <a:pt x="69" y="18"/>
                      </a:lnTo>
                      <a:lnTo>
                        <a:pt x="69" y="18"/>
                      </a:lnTo>
                      <a:lnTo>
                        <a:pt x="70" y="24"/>
                      </a:lnTo>
                      <a:lnTo>
                        <a:pt x="71" y="30"/>
                      </a:lnTo>
                      <a:lnTo>
                        <a:pt x="73" y="34"/>
                      </a:lnTo>
                      <a:lnTo>
                        <a:pt x="77" y="39"/>
                      </a:lnTo>
                      <a:lnTo>
                        <a:pt x="79" y="43"/>
                      </a:lnTo>
                      <a:lnTo>
                        <a:pt x="84" y="45"/>
                      </a:lnTo>
                      <a:lnTo>
                        <a:pt x="92" y="49"/>
                      </a:lnTo>
                      <a:lnTo>
                        <a:pt x="102" y="52"/>
                      </a:lnTo>
                      <a:lnTo>
                        <a:pt x="112" y="54"/>
                      </a:lnTo>
                      <a:lnTo>
                        <a:pt x="134" y="57"/>
                      </a:lnTo>
                      <a:lnTo>
                        <a:pt x="134" y="57"/>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5" name="Freeform 394"/>
                <p:cNvSpPr>
                  <a:spLocks/>
                </p:cNvSpPr>
                <p:nvPr/>
              </p:nvSpPr>
              <p:spPr bwMode="auto">
                <a:xfrm>
                  <a:off x="3003550" y="495300"/>
                  <a:ext cx="28575" cy="23813"/>
                </a:xfrm>
                <a:custGeom>
                  <a:avLst/>
                  <a:gdLst>
                    <a:gd name="T0" fmla="*/ 2 w 126"/>
                    <a:gd name="T1" fmla="*/ 48 h 105"/>
                    <a:gd name="T2" fmla="*/ 2 w 126"/>
                    <a:gd name="T3" fmla="*/ 48 h 105"/>
                    <a:gd name="T4" fmla="*/ 0 w 126"/>
                    <a:gd name="T5" fmla="*/ 105 h 105"/>
                    <a:gd name="T6" fmla="*/ 0 w 126"/>
                    <a:gd name="T7" fmla="*/ 105 h 105"/>
                    <a:gd name="T8" fmla="*/ 16 w 126"/>
                    <a:gd name="T9" fmla="*/ 94 h 105"/>
                    <a:gd name="T10" fmla="*/ 24 w 126"/>
                    <a:gd name="T11" fmla="*/ 90 h 105"/>
                    <a:gd name="T12" fmla="*/ 32 w 126"/>
                    <a:gd name="T13" fmla="*/ 86 h 105"/>
                    <a:gd name="T14" fmla="*/ 40 w 126"/>
                    <a:gd name="T15" fmla="*/ 84 h 105"/>
                    <a:gd name="T16" fmla="*/ 48 w 126"/>
                    <a:gd name="T17" fmla="*/ 82 h 105"/>
                    <a:gd name="T18" fmla="*/ 58 w 126"/>
                    <a:gd name="T19" fmla="*/ 82 h 105"/>
                    <a:gd name="T20" fmla="*/ 68 w 126"/>
                    <a:gd name="T21" fmla="*/ 83 h 105"/>
                    <a:gd name="T22" fmla="*/ 68 w 126"/>
                    <a:gd name="T23" fmla="*/ 83 h 105"/>
                    <a:gd name="T24" fmla="*/ 75 w 126"/>
                    <a:gd name="T25" fmla="*/ 84 h 105"/>
                    <a:gd name="T26" fmla="*/ 79 w 126"/>
                    <a:gd name="T27" fmla="*/ 86 h 105"/>
                    <a:gd name="T28" fmla="*/ 88 w 126"/>
                    <a:gd name="T29" fmla="*/ 91 h 105"/>
                    <a:gd name="T30" fmla="*/ 92 w 126"/>
                    <a:gd name="T31" fmla="*/ 96 h 105"/>
                    <a:gd name="T32" fmla="*/ 94 w 126"/>
                    <a:gd name="T33" fmla="*/ 100 h 105"/>
                    <a:gd name="T34" fmla="*/ 97 w 126"/>
                    <a:gd name="T35" fmla="*/ 101 h 105"/>
                    <a:gd name="T36" fmla="*/ 98 w 126"/>
                    <a:gd name="T37" fmla="*/ 101 h 105"/>
                    <a:gd name="T38" fmla="*/ 104 w 126"/>
                    <a:gd name="T39" fmla="*/ 100 h 105"/>
                    <a:gd name="T40" fmla="*/ 112 w 126"/>
                    <a:gd name="T41" fmla="*/ 94 h 105"/>
                    <a:gd name="T42" fmla="*/ 126 w 126"/>
                    <a:gd name="T43" fmla="*/ 83 h 105"/>
                    <a:gd name="T44" fmla="*/ 126 w 126"/>
                    <a:gd name="T45" fmla="*/ 83 h 105"/>
                    <a:gd name="T46" fmla="*/ 40 w 126"/>
                    <a:gd name="T47" fmla="*/ 0 h 105"/>
                    <a:gd name="T48" fmla="*/ 40 w 126"/>
                    <a:gd name="T49" fmla="*/ 0 h 105"/>
                    <a:gd name="T50" fmla="*/ 2 w 126"/>
                    <a:gd name="T51" fmla="*/ 48 h 105"/>
                    <a:gd name="T52" fmla="*/ 2 w 126"/>
                    <a:gd name="T53"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6" h="105">
                      <a:moveTo>
                        <a:pt x="2" y="48"/>
                      </a:moveTo>
                      <a:lnTo>
                        <a:pt x="2" y="48"/>
                      </a:lnTo>
                      <a:lnTo>
                        <a:pt x="0" y="105"/>
                      </a:lnTo>
                      <a:lnTo>
                        <a:pt x="0" y="105"/>
                      </a:lnTo>
                      <a:lnTo>
                        <a:pt x="16" y="94"/>
                      </a:lnTo>
                      <a:lnTo>
                        <a:pt x="24" y="90"/>
                      </a:lnTo>
                      <a:lnTo>
                        <a:pt x="32" y="86"/>
                      </a:lnTo>
                      <a:lnTo>
                        <a:pt x="40" y="84"/>
                      </a:lnTo>
                      <a:lnTo>
                        <a:pt x="48" y="82"/>
                      </a:lnTo>
                      <a:lnTo>
                        <a:pt x="58" y="82"/>
                      </a:lnTo>
                      <a:lnTo>
                        <a:pt x="68" y="83"/>
                      </a:lnTo>
                      <a:lnTo>
                        <a:pt x="68" y="83"/>
                      </a:lnTo>
                      <a:lnTo>
                        <a:pt x="75" y="84"/>
                      </a:lnTo>
                      <a:lnTo>
                        <a:pt x="79" y="86"/>
                      </a:lnTo>
                      <a:lnTo>
                        <a:pt x="88" y="91"/>
                      </a:lnTo>
                      <a:lnTo>
                        <a:pt x="92" y="96"/>
                      </a:lnTo>
                      <a:lnTo>
                        <a:pt x="94" y="100"/>
                      </a:lnTo>
                      <a:lnTo>
                        <a:pt x="97" y="101"/>
                      </a:lnTo>
                      <a:lnTo>
                        <a:pt x="98" y="101"/>
                      </a:lnTo>
                      <a:lnTo>
                        <a:pt x="104" y="100"/>
                      </a:lnTo>
                      <a:lnTo>
                        <a:pt x="112" y="94"/>
                      </a:lnTo>
                      <a:lnTo>
                        <a:pt x="126" y="83"/>
                      </a:lnTo>
                      <a:lnTo>
                        <a:pt x="126" y="83"/>
                      </a:lnTo>
                      <a:lnTo>
                        <a:pt x="40" y="0"/>
                      </a:lnTo>
                      <a:lnTo>
                        <a:pt x="40" y="0"/>
                      </a:lnTo>
                      <a:lnTo>
                        <a:pt x="2" y="48"/>
                      </a:lnTo>
                      <a:lnTo>
                        <a:pt x="2" y="48"/>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6" name="Freeform 395"/>
                <p:cNvSpPr>
                  <a:spLocks/>
                </p:cNvSpPr>
                <p:nvPr/>
              </p:nvSpPr>
              <p:spPr bwMode="auto">
                <a:xfrm>
                  <a:off x="3084513" y="617538"/>
                  <a:ext cx="30163" cy="34925"/>
                </a:xfrm>
                <a:custGeom>
                  <a:avLst/>
                  <a:gdLst>
                    <a:gd name="T0" fmla="*/ 91 w 135"/>
                    <a:gd name="T1" fmla="*/ 0 h 150"/>
                    <a:gd name="T2" fmla="*/ 91 w 135"/>
                    <a:gd name="T3" fmla="*/ 0 h 150"/>
                    <a:gd name="T4" fmla="*/ 70 w 135"/>
                    <a:gd name="T5" fmla="*/ 17 h 150"/>
                    <a:gd name="T6" fmla="*/ 40 w 135"/>
                    <a:gd name="T7" fmla="*/ 42 h 150"/>
                    <a:gd name="T8" fmla="*/ 25 w 135"/>
                    <a:gd name="T9" fmla="*/ 55 h 150"/>
                    <a:gd name="T10" fmla="*/ 12 w 135"/>
                    <a:gd name="T11" fmla="*/ 67 h 150"/>
                    <a:gd name="T12" fmla="*/ 4 w 135"/>
                    <a:gd name="T13" fmla="*/ 78 h 150"/>
                    <a:gd name="T14" fmla="*/ 1 w 135"/>
                    <a:gd name="T15" fmla="*/ 83 h 150"/>
                    <a:gd name="T16" fmla="*/ 0 w 135"/>
                    <a:gd name="T17" fmla="*/ 88 h 150"/>
                    <a:gd name="T18" fmla="*/ 0 w 135"/>
                    <a:gd name="T19" fmla="*/ 88 h 150"/>
                    <a:gd name="T20" fmla="*/ 1 w 135"/>
                    <a:gd name="T21" fmla="*/ 95 h 150"/>
                    <a:gd name="T22" fmla="*/ 3 w 135"/>
                    <a:gd name="T23" fmla="*/ 100 h 150"/>
                    <a:gd name="T24" fmla="*/ 8 w 135"/>
                    <a:gd name="T25" fmla="*/ 106 h 150"/>
                    <a:gd name="T26" fmla="*/ 12 w 135"/>
                    <a:gd name="T27" fmla="*/ 112 h 150"/>
                    <a:gd name="T28" fmla="*/ 19 w 135"/>
                    <a:gd name="T29" fmla="*/ 116 h 150"/>
                    <a:gd name="T30" fmla="*/ 27 w 135"/>
                    <a:gd name="T31" fmla="*/ 121 h 150"/>
                    <a:gd name="T32" fmla="*/ 45 w 135"/>
                    <a:gd name="T33" fmla="*/ 129 h 150"/>
                    <a:gd name="T34" fmla="*/ 63 w 135"/>
                    <a:gd name="T35" fmla="*/ 135 h 150"/>
                    <a:gd name="T36" fmla="*/ 81 w 135"/>
                    <a:gd name="T37" fmla="*/ 141 h 150"/>
                    <a:gd name="T38" fmla="*/ 98 w 135"/>
                    <a:gd name="T39" fmla="*/ 144 h 150"/>
                    <a:gd name="T40" fmla="*/ 109 w 135"/>
                    <a:gd name="T41" fmla="*/ 148 h 150"/>
                    <a:gd name="T42" fmla="*/ 109 w 135"/>
                    <a:gd name="T43" fmla="*/ 148 h 150"/>
                    <a:gd name="T44" fmla="*/ 116 w 135"/>
                    <a:gd name="T45" fmla="*/ 150 h 150"/>
                    <a:gd name="T46" fmla="*/ 121 w 135"/>
                    <a:gd name="T47" fmla="*/ 149 h 150"/>
                    <a:gd name="T48" fmla="*/ 125 w 135"/>
                    <a:gd name="T49" fmla="*/ 146 h 150"/>
                    <a:gd name="T50" fmla="*/ 129 w 135"/>
                    <a:gd name="T51" fmla="*/ 142 h 150"/>
                    <a:gd name="T52" fmla="*/ 131 w 135"/>
                    <a:gd name="T53" fmla="*/ 136 h 150"/>
                    <a:gd name="T54" fmla="*/ 133 w 135"/>
                    <a:gd name="T55" fmla="*/ 129 h 150"/>
                    <a:gd name="T56" fmla="*/ 134 w 135"/>
                    <a:gd name="T57" fmla="*/ 122 h 150"/>
                    <a:gd name="T58" fmla="*/ 135 w 135"/>
                    <a:gd name="T59" fmla="*/ 114 h 150"/>
                    <a:gd name="T60" fmla="*/ 134 w 135"/>
                    <a:gd name="T61" fmla="*/ 99 h 150"/>
                    <a:gd name="T62" fmla="*/ 132 w 135"/>
                    <a:gd name="T63" fmla="*/ 85 h 150"/>
                    <a:gd name="T64" fmla="*/ 130 w 135"/>
                    <a:gd name="T65" fmla="*/ 81 h 150"/>
                    <a:gd name="T66" fmla="*/ 127 w 135"/>
                    <a:gd name="T67" fmla="*/ 76 h 150"/>
                    <a:gd name="T68" fmla="*/ 124 w 135"/>
                    <a:gd name="T69" fmla="*/ 74 h 150"/>
                    <a:gd name="T70" fmla="*/ 122 w 135"/>
                    <a:gd name="T71" fmla="*/ 73 h 150"/>
                    <a:gd name="T72" fmla="*/ 122 w 135"/>
                    <a:gd name="T73" fmla="*/ 73 h 150"/>
                    <a:gd name="T74" fmla="*/ 109 w 135"/>
                    <a:gd name="T75" fmla="*/ 74 h 150"/>
                    <a:gd name="T76" fmla="*/ 100 w 135"/>
                    <a:gd name="T77" fmla="*/ 74 h 150"/>
                    <a:gd name="T78" fmla="*/ 93 w 135"/>
                    <a:gd name="T79" fmla="*/ 73 h 150"/>
                    <a:gd name="T80" fmla="*/ 89 w 135"/>
                    <a:gd name="T81" fmla="*/ 72 h 150"/>
                    <a:gd name="T82" fmla="*/ 87 w 135"/>
                    <a:gd name="T83" fmla="*/ 68 h 150"/>
                    <a:gd name="T84" fmla="*/ 87 w 135"/>
                    <a:gd name="T85" fmla="*/ 65 h 150"/>
                    <a:gd name="T86" fmla="*/ 88 w 135"/>
                    <a:gd name="T87" fmla="*/ 60 h 150"/>
                    <a:gd name="T88" fmla="*/ 91 w 135"/>
                    <a:gd name="T89" fmla="*/ 55 h 150"/>
                    <a:gd name="T90" fmla="*/ 96 w 135"/>
                    <a:gd name="T91" fmla="*/ 43 h 150"/>
                    <a:gd name="T92" fmla="*/ 99 w 135"/>
                    <a:gd name="T93" fmla="*/ 37 h 150"/>
                    <a:gd name="T94" fmla="*/ 100 w 135"/>
                    <a:gd name="T95" fmla="*/ 30 h 150"/>
                    <a:gd name="T96" fmla="*/ 101 w 135"/>
                    <a:gd name="T97" fmla="*/ 22 h 150"/>
                    <a:gd name="T98" fmla="*/ 100 w 135"/>
                    <a:gd name="T99" fmla="*/ 15 h 150"/>
                    <a:gd name="T100" fmla="*/ 96 w 135"/>
                    <a:gd name="T101" fmla="*/ 8 h 150"/>
                    <a:gd name="T102" fmla="*/ 91 w 135"/>
                    <a:gd name="T103" fmla="*/ 0 h 150"/>
                    <a:gd name="T104" fmla="*/ 91 w 135"/>
                    <a:gd name="T105"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5" h="150">
                      <a:moveTo>
                        <a:pt x="91" y="0"/>
                      </a:moveTo>
                      <a:lnTo>
                        <a:pt x="91" y="0"/>
                      </a:lnTo>
                      <a:lnTo>
                        <a:pt x="70" y="17"/>
                      </a:lnTo>
                      <a:lnTo>
                        <a:pt x="40" y="42"/>
                      </a:lnTo>
                      <a:lnTo>
                        <a:pt x="25" y="55"/>
                      </a:lnTo>
                      <a:lnTo>
                        <a:pt x="12" y="67"/>
                      </a:lnTo>
                      <a:lnTo>
                        <a:pt x="4" y="78"/>
                      </a:lnTo>
                      <a:lnTo>
                        <a:pt x="1" y="83"/>
                      </a:lnTo>
                      <a:lnTo>
                        <a:pt x="0" y="88"/>
                      </a:lnTo>
                      <a:lnTo>
                        <a:pt x="0" y="88"/>
                      </a:lnTo>
                      <a:lnTo>
                        <a:pt x="1" y="95"/>
                      </a:lnTo>
                      <a:lnTo>
                        <a:pt x="3" y="100"/>
                      </a:lnTo>
                      <a:lnTo>
                        <a:pt x="8" y="106"/>
                      </a:lnTo>
                      <a:lnTo>
                        <a:pt x="12" y="112"/>
                      </a:lnTo>
                      <a:lnTo>
                        <a:pt x="19" y="116"/>
                      </a:lnTo>
                      <a:lnTo>
                        <a:pt x="27" y="121"/>
                      </a:lnTo>
                      <a:lnTo>
                        <a:pt x="45" y="129"/>
                      </a:lnTo>
                      <a:lnTo>
                        <a:pt x="63" y="135"/>
                      </a:lnTo>
                      <a:lnTo>
                        <a:pt x="81" y="141"/>
                      </a:lnTo>
                      <a:lnTo>
                        <a:pt x="98" y="144"/>
                      </a:lnTo>
                      <a:lnTo>
                        <a:pt x="109" y="148"/>
                      </a:lnTo>
                      <a:lnTo>
                        <a:pt x="109" y="148"/>
                      </a:lnTo>
                      <a:lnTo>
                        <a:pt x="116" y="150"/>
                      </a:lnTo>
                      <a:lnTo>
                        <a:pt x="121" y="149"/>
                      </a:lnTo>
                      <a:lnTo>
                        <a:pt x="125" y="146"/>
                      </a:lnTo>
                      <a:lnTo>
                        <a:pt x="129" y="142"/>
                      </a:lnTo>
                      <a:lnTo>
                        <a:pt x="131" y="136"/>
                      </a:lnTo>
                      <a:lnTo>
                        <a:pt x="133" y="129"/>
                      </a:lnTo>
                      <a:lnTo>
                        <a:pt x="134" y="122"/>
                      </a:lnTo>
                      <a:lnTo>
                        <a:pt x="135" y="114"/>
                      </a:lnTo>
                      <a:lnTo>
                        <a:pt x="134" y="99"/>
                      </a:lnTo>
                      <a:lnTo>
                        <a:pt x="132" y="85"/>
                      </a:lnTo>
                      <a:lnTo>
                        <a:pt x="130" y="81"/>
                      </a:lnTo>
                      <a:lnTo>
                        <a:pt x="127" y="76"/>
                      </a:lnTo>
                      <a:lnTo>
                        <a:pt x="124" y="74"/>
                      </a:lnTo>
                      <a:lnTo>
                        <a:pt x="122" y="73"/>
                      </a:lnTo>
                      <a:lnTo>
                        <a:pt x="122" y="73"/>
                      </a:lnTo>
                      <a:lnTo>
                        <a:pt x="109" y="74"/>
                      </a:lnTo>
                      <a:lnTo>
                        <a:pt x="100" y="74"/>
                      </a:lnTo>
                      <a:lnTo>
                        <a:pt x="93" y="73"/>
                      </a:lnTo>
                      <a:lnTo>
                        <a:pt x="89" y="72"/>
                      </a:lnTo>
                      <a:lnTo>
                        <a:pt x="87" y="68"/>
                      </a:lnTo>
                      <a:lnTo>
                        <a:pt x="87" y="65"/>
                      </a:lnTo>
                      <a:lnTo>
                        <a:pt x="88" y="60"/>
                      </a:lnTo>
                      <a:lnTo>
                        <a:pt x="91" y="55"/>
                      </a:lnTo>
                      <a:lnTo>
                        <a:pt x="96" y="43"/>
                      </a:lnTo>
                      <a:lnTo>
                        <a:pt x="99" y="37"/>
                      </a:lnTo>
                      <a:lnTo>
                        <a:pt x="100" y="30"/>
                      </a:lnTo>
                      <a:lnTo>
                        <a:pt x="101" y="22"/>
                      </a:lnTo>
                      <a:lnTo>
                        <a:pt x="100" y="15"/>
                      </a:lnTo>
                      <a:lnTo>
                        <a:pt x="96" y="8"/>
                      </a:lnTo>
                      <a:lnTo>
                        <a:pt x="91" y="0"/>
                      </a:lnTo>
                      <a:lnTo>
                        <a:pt x="91" y="0"/>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7" name="Freeform 396"/>
                <p:cNvSpPr>
                  <a:spLocks/>
                </p:cNvSpPr>
                <p:nvPr/>
              </p:nvSpPr>
              <p:spPr bwMode="auto">
                <a:xfrm>
                  <a:off x="2774950" y="542925"/>
                  <a:ext cx="9525" cy="25400"/>
                </a:xfrm>
                <a:custGeom>
                  <a:avLst/>
                  <a:gdLst>
                    <a:gd name="T0" fmla="*/ 20 w 44"/>
                    <a:gd name="T1" fmla="*/ 107 h 107"/>
                    <a:gd name="T2" fmla="*/ 20 w 44"/>
                    <a:gd name="T3" fmla="*/ 107 h 107"/>
                    <a:gd name="T4" fmla="*/ 23 w 44"/>
                    <a:gd name="T5" fmla="*/ 104 h 107"/>
                    <a:gd name="T6" fmla="*/ 27 w 44"/>
                    <a:gd name="T7" fmla="*/ 100 h 107"/>
                    <a:gd name="T8" fmla="*/ 29 w 44"/>
                    <a:gd name="T9" fmla="*/ 96 h 107"/>
                    <a:gd name="T10" fmla="*/ 30 w 44"/>
                    <a:gd name="T11" fmla="*/ 91 h 107"/>
                    <a:gd name="T12" fmla="*/ 31 w 44"/>
                    <a:gd name="T13" fmla="*/ 82 h 107"/>
                    <a:gd name="T14" fmla="*/ 31 w 44"/>
                    <a:gd name="T15" fmla="*/ 70 h 107"/>
                    <a:gd name="T16" fmla="*/ 31 w 44"/>
                    <a:gd name="T17" fmla="*/ 59 h 107"/>
                    <a:gd name="T18" fmla="*/ 32 w 44"/>
                    <a:gd name="T19" fmla="*/ 47 h 107"/>
                    <a:gd name="T20" fmla="*/ 33 w 44"/>
                    <a:gd name="T21" fmla="*/ 42 h 107"/>
                    <a:gd name="T22" fmla="*/ 36 w 44"/>
                    <a:gd name="T23" fmla="*/ 36 h 107"/>
                    <a:gd name="T24" fmla="*/ 39 w 44"/>
                    <a:gd name="T25" fmla="*/ 30 h 107"/>
                    <a:gd name="T26" fmla="*/ 44 w 44"/>
                    <a:gd name="T27" fmla="*/ 24 h 107"/>
                    <a:gd name="T28" fmla="*/ 44 w 44"/>
                    <a:gd name="T29" fmla="*/ 24 h 107"/>
                    <a:gd name="T30" fmla="*/ 40 w 44"/>
                    <a:gd name="T31" fmla="*/ 15 h 107"/>
                    <a:gd name="T32" fmla="*/ 37 w 44"/>
                    <a:gd name="T33" fmla="*/ 8 h 107"/>
                    <a:gd name="T34" fmla="*/ 32 w 44"/>
                    <a:gd name="T35" fmla="*/ 4 h 107"/>
                    <a:gd name="T36" fmla="*/ 28 w 44"/>
                    <a:gd name="T37" fmla="*/ 1 h 107"/>
                    <a:gd name="T38" fmla="*/ 23 w 44"/>
                    <a:gd name="T39" fmla="*/ 0 h 107"/>
                    <a:gd name="T40" fmla="*/ 19 w 44"/>
                    <a:gd name="T41" fmla="*/ 1 h 107"/>
                    <a:gd name="T42" fmla="*/ 14 w 44"/>
                    <a:gd name="T43" fmla="*/ 4 h 107"/>
                    <a:gd name="T44" fmla="*/ 9 w 44"/>
                    <a:gd name="T45" fmla="*/ 8 h 107"/>
                    <a:gd name="T46" fmla="*/ 6 w 44"/>
                    <a:gd name="T47" fmla="*/ 13 h 107"/>
                    <a:gd name="T48" fmla="*/ 4 w 44"/>
                    <a:gd name="T49" fmla="*/ 18 h 107"/>
                    <a:gd name="T50" fmla="*/ 1 w 44"/>
                    <a:gd name="T51" fmla="*/ 24 h 107"/>
                    <a:gd name="T52" fmla="*/ 1 w 44"/>
                    <a:gd name="T53" fmla="*/ 31 h 107"/>
                    <a:gd name="T54" fmla="*/ 1 w 44"/>
                    <a:gd name="T55" fmla="*/ 37 h 107"/>
                    <a:gd name="T56" fmla="*/ 4 w 44"/>
                    <a:gd name="T57" fmla="*/ 44 h 107"/>
                    <a:gd name="T58" fmla="*/ 6 w 44"/>
                    <a:gd name="T59" fmla="*/ 50 h 107"/>
                    <a:gd name="T60" fmla="*/ 12 w 44"/>
                    <a:gd name="T61" fmla="*/ 55 h 107"/>
                    <a:gd name="T62" fmla="*/ 12 w 44"/>
                    <a:gd name="T63" fmla="*/ 55 h 107"/>
                    <a:gd name="T64" fmla="*/ 8 w 44"/>
                    <a:gd name="T65" fmla="*/ 58 h 107"/>
                    <a:gd name="T66" fmla="*/ 5 w 44"/>
                    <a:gd name="T67" fmla="*/ 60 h 107"/>
                    <a:gd name="T68" fmla="*/ 2 w 44"/>
                    <a:gd name="T69" fmla="*/ 62 h 107"/>
                    <a:gd name="T70" fmla="*/ 1 w 44"/>
                    <a:gd name="T71" fmla="*/ 66 h 107"/>
                    <a:gd name="T72" fmla="*/ 0 w 44"/>
                    <a:gd name="T73" fmla="*/ 73 h 107"/>
                    <a:gd name="T74" fmla="*/ 1 w 44"/>
                    <a:gd name="T75" fmla="*/ 80 h 107"/>
                    <a:gd name="T76" fmla="*/ 4 w 44"/>
                    <a:gd name="T77" fmla="*/ 88 h 107"/>
                    <a:gd name="T78" fmla="*/ 8 w 44"/>
                    <a:gd name="T79" fmla="*/ 96 h 107"/>
                    <a:gd name="T80" fmla="*/ 14 w 44"/>
                    <a:gd name="T81" fmla="*/ 101 h 107"/>
                    <a:gd name="T82" fmla="*/ 20 w 44"/>
                    <a:gd name="T83" fmla="*/ 107 h 107"/>
                    <a:gd name="T84" fmla="*/ 20 w 44"/>
                    <a:gd name="T85"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4" h="107">
                      <a:moveTo>
                        <a:pt x="20" y="107"/>
                      </a:moveTo>
                      <a:lnTo>
                        <a:pt x="20" y="107"/>
                      </a:lnTo>
                      <a:lnTo>
                        <a:pt x="23" y="104"/>
                      </a:lnTo>
                      <a:lnTo>
                        <a:pt x="27" y="100"/>
                      </a:lnTo>
                      <a:lnTo>
                        <a:pt x="29" y="96"/>
                      </a:lnTo>
                      <a:lnTo>
                        <a:pt x="30" y="91"/>
                      </a:lnTo>
                      <a:lnTo>
                        <a:pt x="31" y="82"/>
                      </a:lnTo>
                      <a:lnTo>
                        <a:pt x="31" y="70"/>
                      </a:lnTo>
                      <a:lnTo>
                        <a:pt x="31" y="59"/>
                      </a:lnTo>
                      <a:lnTo>
                        <a:pt x="32" y="47"/>
                      </a:lnTo>
                      <a:lnTo>
                        <a:pt x="33" y="42"/>
                      </a:lnTo>
                      <a:lnTo>
                        <a:pt x="36" y="36"/>
                      </a:lnTo>
                      <a:lnTo>
                        <a:pt x="39" y="30"/>
                      </a:lnTo>
                      <a:lnTo>
                        <a:pt x="44" y="24"/>
                      </a:lnTo>
                      <a:lnTo>
                        <a:pt x="44" y="24"/>
                      </a:lnTo>
                      <a:lnTo>
                        <a:pt x="40" y="15"/>
                      </a:lnTo>
                      <a:lnTo>
                        <a:pt x="37" y="8"/>
                      </a:lnTo>
                      <a:lnTo>
                        <a:pt x="32" y="4"/>
                      </a:lnTo>
                      <a:lnTo>
                        <a:pt x="28" y="1"/>
                      </a:lnTo>
                      <a:lnTo>
                        <a:pt x="23" y="0"/>
                      </a:lnTo>
                      <a:lnTo>
                        <a:pt x="19" y="1"/>
                      </a:lnTo>
                      <a:lnTo>
                        <a:pt x="14" y="4"/>
                      </a:lnTo>
                      <a:lnTo>
                        <a:pt x="9" y="8"/>
                      </a:lnTo>
                      <a:lnTo>
                        <a:pt x="6" y="13"/>
                      </a:lnTo>
                      <a:lnTo>
                        <a:pt x="4" y="18"/>
                      </a:lnTo>
                      <a:lnTo>
                        <a:pt x="1" y="24"/>
                      </a:lnTo>
                      <a:lnTo>
                        <a:pt x="1" y="31"/>
                      </a:lnTo>
                      <a:lnTo>
                        <a:pt x="1" y="37"/>
                      </a:lnTo>
                      <a:lnTo>
                        <a:pt x="4" y="44"/>
                      </a:lnTo>
                      <a:lnTo>
                        <a:pt x="6" y="50"/>
                      </a:lnTo>
                      <a:lnTo>
                        <a:pt x="12" y="55"/>
                      </a:lnTo>
                      <a:lnTo>
                        <a:pt x="12" y="55"/>
                      </a:lnTo>
                      <a:lnTo>
                        <a:pt x="8" y="58"/>
                      </a:lnTo>
                      <a:lnTo>
                        <a:pt x="5" y="60"/>
                      </a:lnTo>
                      <a:lnTo>
                        <a:pt x="2" y="62"/>
                      </a:lnTo>
                      <a:lnTo>
                        <a:pt x="1" y="66"/>
                      </a:lnTo>
                      <a:lnTo>
                        <a:pt x="0" y="73"/>
                      </a:lnTo>
                      <a:lnTo>
                        <a:pt x="1" y="80"/>
                      </a:lnTo>
                      <a:lnTo>
                        <a:pt x="4" y="88"/>
                      </a:lnTo>
                      <a:lnTo>
                        <a:pt x="8" y="96"/>
                      </a:lnTo>
                      <a:lnTo>
                        <a:pt x="14" y="101"/>
                      </a:lnTo>
                      <a:lnTo>
                        <a:pt x="20" y="107"/>
                      </a:lnTo>
                      <a:lnTo>
                        <a:pt x="20" y="107"/>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8" name="Freeform 397"/>
                <p:cNvSpPr>
                  <a:spLocks/>
                </p:cNvSpPr>
                <p:nvPr/>
              </p:nvSpPr>
              <p:spPr bwMode="auto">
                <a:xfrm>
                  <a:off x="3038475" y="1227138"/>
                  <a:ext cx="33338" cy="22225"/>
                </a:xfrm>
                <a:custGeom>
                  <a:avLst/>
                  <a:gdLst>
                    <a:gd name="T0" fmla="*/ 40 w 152"/>
                    <a:gd name="T1" fmla="*/ 0 h 95"/>
                    <a:gd name="T2" fmla="*/ 40 w 152"/>
                    <a:gd name="T3" fmla="*/ 0 h 95"/>
                    <a:gd name="T4" fmla="*/ 0 w 152"/>
                    <a:gd name="T5" fmla="*/ 89 h 95"/>
                    <a:gd name="T6" fmla="*/ 0 w 152"/>
                    <a:gd name="T7" fmla="*/ 89 h 95"/>
                    <a:gd name="T8" fmla="*/ 42 w 152"/>
                    <a:gd name="T9" fmla="*/ 93 h 95"/>
                    <a:gd name="T10" fmla="*/ 61 w 152"/>
                    <a:gd name="T11" fmla="*/ 95 h 95"/>
                    <a:gd name="T12" fmla="*/ 79 w 152"/>
                    <a:gd name="T13" fmla="*/ 93 h 95"/>
                    <a:gd name="T14" fmla="*/ 96 w 152"/>
                    <a:gd name="T15" fmla="*/ 91 h 95"/>
                    <a:gd name="T16" fmla="*/ 114 w 152"/>
                    <a:gd name="T17" fmla="*/ 87 h 95"/>
                    <a:gd name="T18" fmla="*/ 132 w 152"/>
                    <a:gd name="T19" fmla="*/ 79 h 95"/>
                    <a:gd name="T20" fmla="*/ 152 w 152"/>
                    <a:gd name="T21" fmla="*/ 67 h 95"/>
                    <a:gd name="T22" fmla="*/ 152 w 152"/>
                    <a:gd name="T23" fmla="*/ 67 h 95"/>
                    <a:gd name="T24" fmla="*/ 130 w 152"/>
                    <a:gd name="T25" fmla="*/ 64 h 95"/>
                    <a:gd name="T26" fmla="*/ 109 w 152"/>
                    <a:gd name="T27" fmla="*/ 59 h 95"/>
                    <a:gd name="T28" fmla="*/ 99 w 152"/>
                    <a:gd name="T29" fmla="*/ 57 h 95"/>
                    <a:gd name="T30" fmla="*/ 89 w 152"/>
                    <a:gd name="T31" fmla="*/ 52 h 95"/>
                    <a:gd name="T32" fmla="*/ 80 w 152"/>
                    <a:gd name="T33" fmla="*/ 47 h 95"/>
                    <a:gd name="T34" fmla="*/ 72 w 152"/>
                    <a:gd name="T35" fmla="*/ 41 h 95"/>
                    <a:gd name="T36" fmla="*/ 72 w 152"/>
                    <a:gd name="T37" fmla="*/ 41 h 95"/>
                    <a:gd name="T38" fmla="*/ 56 w 152"/>
                    <a:gd name="T39" fmla="*/ 20 h 95"/>
                    <a:gd name="T40" fmla="*/ 40 w 152"/>
                    <a:gd name="T41" fmla="*/ 0 h 95"/>
                    <a:gd name="T42" fmla="*/ 40 w 152"/>
                    <a:gd name="T4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2" h="95">
                      <a:moveTo>
                        <a:pt x="40" y="0"/>
                      </a:moveTo>
                      <a:lnTo>
                        <a:pt x="40" y="0"/>
                      </a:lnTo>
                      <a:lnTo>
                        <a:pt x="0" y="89"/>
                      </a:lnTo>
                      <a:lnTo>
                        <a:pt x="0" y="89"/>
                      </a:lnTo>
                      <a:lnTo>
                        <a:pt x="42" y="93"/>
                      </a:lnTo>
                      <a:lnTo>
                        <a:pt x="61" y="95"/>
                      </a:lnTo>
                      <a:lnTo>
                        <a:pt x="79" y="93"/>
                      </a:lnTo>
                      <a:lnTo>
                        <a:pt x="96" y="91"/>
                      </a:lnTo>
                      <a:lnTo>
                        <a:pt x="114" y="87"/>
                      </a:lnTo>
                      <a:lnTo>
                        <a:pt x="132" y="79"/>
                      </a:lnTo>
                      <a:lnTo>
                        <a:pt x="152" y="67"/>
                      </a:lnTo>
                      <a:lnTo>
                        <a:pt x="152" y="67"/>
                      </a:lnTo>
                      <a:lnTo>
                        <a:pt x="130" y="64"/>
                      </a:lnTo>
                      <a:lnTo>
                        <a:pt x="109" y="59"/>
                      </a:lnTo>
                      <a:lnTo>
                        <a:pt x="99" y="57"/>
                      </a:lnTo>
                      <a:lnTo>
                        <a:pt x="89" y="52"/>
                      </a:lnTo>
                      <a:lnTo>
                        <a:pt x="80" y="47"/>
                      </a:lnTo>
                      <a:lnTo>
                        <a:pt x="72" y="41"/>
                      </a:lnTo>
                      <a:lnTo>
                        <a:pt x="72" y="41"/>
                      </a:lnTo>
                      <a:lnTo>
                        <a:pt x="56" y="20"/>
                      </a:lnTo>
                      <a:lnTo>
                        <a:pt x="40" y="0"/>
                      </a:lnTo>
                      <a:lnTo>
                        <a:pt x="40" y="0"/>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9" name="Freeform 398"/>
                <p:cNvSpPr>
                  <a:spLocks/>
                </p:cNvSpPr>
                <p:nvPr/>
              </p:nvSpPr>
              <p:spPr bwMode="auto">
                <a:xfrm>
                  <a:off x="3003550" y="1158875"/>
                  <a:ext cx="6350" cy="11113"/>
                </a:xfrm>
                <a:custGeom>
                  <a:avLst/>
                  <a:gdLst>
                    <a:gd name="T0" fmla="*/ 29 w 29"/>
                    <a:gd name="T1" fmla="*/ 15 h 53"/>
                    <a:gd name="T2" fmla="*/ 29 w 29"/>
                    <a:gd name="T3" fmla="*/ 15 h 53"/>
                    <a:gd name="T4" fmla="*/ 25 w 29"/>
                    <a:gd name="T5" fmla="*/ 11 h 53"/>
                    <a:gd name="T6" fmla="*/ 21 w 29"/>
                    <a:gd name="T7" fmla="*/ 7 h 53"/>
                    <a:gd name="T8" fmla="*/ 11 w 29"/>
                    <a:gd name="T9" fmla="*/ 0 h 53"/>
                    <a:gd name="T10" fmla="*/ 11 w 29"/>
                    <a:gd name="T11" fmla="*/ 0 h 53"/>
                    <a:gd name="T12" fmla="*/ 7 w 29"/>
                    <a:gd name="T13" fmla="*/ 6 h 53"/>
                    <a:gd name="T14" fmla="*/ 3 w 29"/>
                    <a:gd name="T15" fmla="*/ 12 h 53"/>
                    <a:gd name="T16" fmla="*/ 1 w 29"/>
                    <a:gd name="T17" fmla="*/ 19 h 53"/>
                    <a:gd name="T18" fmla="*/ 0 w 29"/>
                    <a:gd name="T19" fmla="*/ 26 h 53"/>
                    <a:gd name="T20" fmla="*/ 0 w 29"/>
                    <a:gd name="T21" fmla="*/ 33 h 53"/>
                    <a:gd name="T22" fmla="*/ 0 w 29"/>
                    <a:gd name="T23" fmla="*/ 38 h 53"/>
                    <a:gd name="T24" fmla="*/ 2 w 29"/>
                    <a:gd name="T25" fmla="*/ 44 h 53"/>
                    <a:gd name="T26" fmla="*/ 5 w 29"/>
                    <a:gd name="T27" fmla="*/ 49 h 53"/>
                    <a:gd name="T28" fmla="*/ 7 w 29"/>
                    <a:gd name="T29" fmla="*/ 52 h 53"/>
                    <a:gd name="T30" fmla="*/ 10 w 29"/>
                    <a:gd name="T31" fmla="*/ 53 h 53"/>
                    <a:gd name="T32" fmla="*/ 14 w 29"/>
                    <a:gd name="T33" fmla="*/ 53 h 53"/>
                    <a:gd name="T34" fmla="*/ 17 w 29"/>
                    <a:gd name="T35" fmla="*/ 51 h 53"/>
                    <a:gd name="T36" fmla="*/ 21 w 29"/>
                    <a:gd name="T37" fmla="*/ 46 h 53"/>
                    <a:gd name="T38" fmla="*/ 23 w 29"/>
                    <a:gd name="T39" fmla="*/ 38 h 53"/>
                    <a:gd name="T40" fmla="*/ 26 w 29"/>
                    <a:gd name="T41" fmla="*/ 28 h 53"/>
                    <a:gd name="T42" fmla="*/ 29 w 29"/>
                    <a:gd name="T43" fmla="*/ 15 h 53"/>
                    <a:gd name="T44" fmla="*/ 29 w 29"/>
                    <a:gd name="T45" fmla="*/ 1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 h="53">
                      <a:moveTo>
                        <a:pt x="29" y="15"/>
                      </a:moveTo>
                      <a:lnTo>
                        <a:pt x="29" y="15"/>
                      </a:lnTo>
                      <a:lnTo>
                        <a:pt x="25" y="11"/>
                      </a:lnTo>
                      <a:lnTo>
                        <a:pt x="21" y="7"/>
                      </a:lnTo>
                      <a:lnTo>
                        <a:pt x="11" y="0"/>
                      </a:lnTo>
                      <a:lnTo>
                        <a:pt x="11" y="0"/>
                      </a:lnTo>
                      <a:lnTo>
                        <a:pt x="7" y="6"/>
                      </a:lnTo>
                      <a:lnTo>
                        <a:pt x="3" y="12"/>
                      </a:lnTo>
                      <a:lnTo>
                        <a:pt x="1" y="19"/>
                      </a:lnTo>
                      <a:lnTo>
                        <a:pt x="0" y="26"/>
                      </a:lnTo>
                      <a:lnTo>
                        <a:pt x="0" y="33"/>
                      </a:lnTo>
                      <a:lnTo>
                        <a:pt x="0" y="38"/>
                      </a:lnTo>
                      <a:lnTo>
                        <a:pt x="2" y="44"/>
                      </a:lnTo>
                      <a:lnTo>
                        <a:pt x="5" y="49"/>
                      </a:lnTo>
                      <a:lnTo>
                        <a:pt x="7" y="52"/>
                      </a:lnTo>
                      <a:lnTo>
                        <a:pt x="10" y="53"/>
                      </a:lnTo>
                      <a:lnTo>
                        <a:pt x="14" y="53"/>
                      </a:lnTo>
                      <a:lnTo>
                        <a:pt x="17" y="51"/>
                      </a:lnTo>
                      <a:lnTo>
                        <a:pt x="21" y="46"/>
                      </a:lnTo>
                      <a:lnTo>
                        <a:pt x="23" y="38"/>
                      </a:lnTo>
                      <a:lnTo>
                        <a:pt x="26" y="28"/>
                      </a:lnTo>
                      <a:lnTo>
                        <a:pt x="29" y="15"/>
                      </a:lnTo>
                      <a:lnTo>
                        <a:pt x="29" y="15"/>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0" name="Freeform 399"/>
                <p:cNvSpPr>
                  <a:spLocks noEditPoints="1"/>
                </p:cNvSpPr>
                <p:nvPr/>
              </p:nvSpPr>
              <p:spPr bwMode="auto">
                <a:xfrm>
                  <a:off x="2770188" y="415925"/>
                  <a:ext cx="404813" cy="827088"/>
                </a:xfrm>
                <a:custGeom>
                  <a:avLst/>
                  <a:gdLst>
                    <a:gd name="T0" fmla="*/ 1432 w 1782"/>
                    <a:gd name="T1" fmla="*/ 2145 h 3648"/>
                    <a:gd name="T2" fmla="*/ 1216 w 1782"/>
                    <a:gd name="T3" fmla="*/ 2016 h 3648"/>
                    <a:gd name="T4" fmla="*/ 980 w 1782"/>
                    <a:gd name="T5" fmla="*/ 1951 h 3648"/>
                    <a:gd name="T6" fmla="*/ 898 w 1782"/>
                    <a:gd name="T7" fmla="*/ 1951 h 3648"/>
                    <a:gd name="T8" fmla="*/ 699 w 1782"/>
                    <a:gd name="T9" fmla="*/ 1956 h 3648"/>
                    <a:gd name="T10" fmla="*/ 622 w 1782"/>
                    <a:gd name="T11" fmla="*/ 1772 h 3648"/>
                    <a:gd name="T12" fmla="*/ 543 w 1782"/>
                    <a:gd name="T13" fmla="*/ 1732 h 3648"/>
                    <a:gd name="T14" fmla="*/ 477 w 1782"/>
                    <a:gd name="T15" fmla="*/ 1506 h 3648"/>
                    <a:gd name="T16" fmla="*/ 671 w 1782"/>
                    <a:gd name="T17" fmla="*/ 1447 h 3648"/>
                    <a:gd name="T18" fmla="*/ 779 w 1782"/>
                    <a:gd name="T19" fmla="*/ 1576 h 3648"/>
                    <a:gd name="T20" fmla="*/ 827 w 1782"/>
                    <a:gd name="T21" fmla="*/ 1462 h 3648"/>
                    <a:gd name="T22" fmla="*/ 987 w 1782"/>
                    <a:gd name="T23" fmla="*/ 1268 h 3648"/>
                    <a:gd name="T24" fmla="*/ 1223 w 1782"/>
                    <a:gd name="T25" fmla="*/ 1075 h 3648"/>
                    <a:gd name="T26" fmla="*/ 1304 w 1782"/>
                    <a:gd name="T27" fmla="*/ 1091 h 3648"/>
                    <a:gd name="T28" fmla="*/ 1285 w 1782"/>
                    <a:gd name="T29" fmla="*/ 1013 h 3648"/>
                    <a:gd name="T30" fmla="*/ 1295 w 1782"/>
                    <a:gd name="T31" fmla="*/ 928 h 3648"/>
                    <a:gd name="T32" fmla="*/ 1502 w 1782"/>
                    <a:gd name="T33" fmla="*/ 860 h 3648"/>
                    <a:gd name="T34" fmla="*/ 1322 w 1782"/>
                    <a:gd name="T35" fmla="*/ 656 h 3648"/>
                    <a:gd name="T36" fmla="*/ 1219 w 1782"/>
                    <a:gd name="T37" fmla="*/ 502 h 3648"/>
                    <a:gd name="T38" fmla="*/ 1092 w 1782"/>
                    <a:gd name="T39" fmla="*/ 735 h 3648"/>
                    <a:gd name="T40" fmla="*/ 1008 w 1782"/>
                    <a:gd name="T41" fmla="*/ 848 h 3648"/>
                    <a:gd name="T42" fmla="*/ 858 w 1782"/>
                    <a:gd name="T43" fmla="*/ 596 h 3648"/>
                    <a:gd name="T44" fmla="*/ 945 w 1782"/>
                    <a:gd name="T45" fmla="*/ 430 h 3648"/>
                    <a:gd name="T46" fmla="*/ 1110 w 1782"/>
                    <a:gd name="T47" fmla="*/ 346 h 3648"/>
                    <a:gd name="T48" fmla="*/ 1196 w 1782"/>
                    <a:gd name="T49" fmla="*/ 205 h 3648"/>
                    <a:gd name="T50" fmla="*/ 1259 w 1782"/>
                    <a:gd name="T51" fmla="*/ 404 h 3648"/>
                    <a:gd name="T52" fmla="*/ 1253 w 1782"/>
                    <a:gd name="T53" fmla="*/ 444 h 3648"/>
                    <a:gd name="T54" fmla="*/ 1435 w 1782"/>
                    <a:gd name="T55" fmla="*/ 491 h 3648"/>
                    <a:gd name="T56" fmla="*/ 1521 w 1782"/>
                    <a:gd name="T57" fmla="*/ 381 h 3648"/>
                    <a:gd name="T58" fmla="*/ 1441 w 1782"/>
                    <a:gd name="T59" fmla="*/ 222 h 3648"/>
                    <a:gd name="T60" fmla="*/ 1285 w 1782"/>
                    <a:gd name="T61" fmla="*/ 138 h 3648"/>
                    <a:gd name="T62" fmla="*/ 1172 w 1782"/>
                    <a:gd name="T63" fmla="*/ 145 h 3648"/>
                    <a:gd name="T64" fmla="*/ 1094 w 1782"/>
                    <a:gd name="T65" fmla="*/ 115 h 3648"/>
                    <a:gd name="T66" fmla="*/ 1093 w 1782"/>
                    <a:gd name="T67" fmla="*/ 243 h 3648"/>
                    <a:gd name="T68" fmla="*/ 1030 w 1782"/>
                    <a:gd name="T69" fmla="*/ 97 h 3648"/>
                    <a:gd name="T70" fmla="*/ 961 w 1782"/>
                    <a:gd name="T71" fmla="*/ 220 h 3648"/>
                    <a:gd name="T72" fmla="*/ 904 w 1782"/>
                    <a:gd name="T73" fmla="*/ 205 h 3648"/>
                    <a:gd name="T74" fmla="*/ 728 w 1782"/>
                    <a:gd name="T75" fmla="*/ 188 h 3648"/>
                    <a:gd name="T76" fmla="*/ 619 w 1782"/>
                    <a:gd name="T77" fmla="*/ 156 h 3648"/>
                    <a:gd name="T78" fmla="*/ 470 w 1782"/>
                    <a:gd name="T79" fmla="*/ 41 h 3648"/>
                    <a:gd name="T80" fmla="*/ 58 w 1782"/>
                    <a:gd name="T81" fmla="*/ 471 h 3648"/>
                    <a:gd name="T82" fmla="*/ 88 w 1782"/>
                    <a:gd name="T83" fmla="*/ 678 h 3648"/>
                    <a:gd name="T84" fmla="*/ 127 w 1782"/>
                    <a:gd name="T85" fmla="*/ 810 h 3648"/>
                    <a:gd name="T86" fmla="*/ 82 w 1782"/>
                    <a:gd name="T87" fmla="*/ 757 h 3648"/>
                    <a:gd name="T88" fmla="*/ 6 w 1782"/>
                    <a:gd name="T89" fmla="*/ 1164 h 3648"/>
                    <a:gd name="T90" fmla="*/ 92 w 1782"/>
                    <a:gd name="T91" fmla="*/ 1448 h 3648"/>
                    <a:gd name="T92" fmla="*/ 170 w 1782"/>
                    <a:gd name="T93" fmla="*/ 1609 h 3648"/>
                    <a:gd name="T94" fmla="*/ 143 w 1782"/>
                    <a:gd name="T95" fmla="*/ 1427 h 3648"/>
                    <a:gd name="T96" fmla="*/ 313 w 1782"/>
                    <a:gd name="T97" fmla="*/ 1763 h 3648"/>
                    <a:gd name="T98" fmla="*/ 562 w 1782"/>
                    <a:gd name="T99" fmla="*/ 1888 h 3648"/>
                    <a:gd name="T100" fmla="*/ 771 w 1782"/>
                    <a:gd name="T101" fmla="*/ 2046 h 3648"/>
                    <a:gd name="T102" fmla="*/ 819 w 1782"/>
                    <a:gd name="T103" fmla="*/ 2122 h 3648"/>
                    <a:gd name="T104" fmla="*/ 737 w 1782"/>
                    <a:gd name="T105" fmla="*/ 2316 h 3648"/>
                    <a:gd name="T106" fmla="*/ 960 w 1782"/>
                    <a:gd name="T107" fmla="*/ 2640 h 3648"/>
                    <a:gd name="T108" fmla="*/ 1071 w 1782"/>
                    <a:gd name="T109" fmla="*/ 3305 h 3648"/>
                    <a:gd name="T110" fmla="*/ 1079 w 1782"/>
                    <a:gd name="T111" fmla="*/ 3467 h 3648"/>
                    <a:gd name="T112" fmla="*/ 1196 w 1782"/>
                    <a:gd name="T113" fmla="*/ 3604 h 3648"/>
                    <a:gd name="T114" fmla="*/ 1246 w 1782"/>
                    <a:gd name="T115" fmla="*/ 3419 h 3648"/>
                    <a:gd name="T116" fmla="*/ 1262 w 1782"/>
                    <a:gd name="T117" fmla="*/ 3252 h 3648"/>
                    <a:gd name="T118" fmla="*/ 1367 w 1782"/>
                    <a:gd name="T119" fmla="*/ 3104 h 3648"/>
                    <a:gd name="T120" fmla="*/ 1505 w 1782"/>
                    <a:gd name="T121" fmla="*/ 2854 h 3648"/>
                    <a:gd name="T122" fmla="*/ 1678 w 1782"/>
                    <a:gd name="T123" fmla="*/ 2723 h 3648"/>
                    <a:gd name="T124" fmla="*/ 1779 w 1782"/>
                    <a:gd name="T125" fmla="*/ 2439 h 3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82" h="3648">
                      <a:moveTo>
                        <a:pt x="1779" y="2356"/>
                      </a:moveTo>
                      <a:lnTo>
                        <a:pt x="1779" y="2356"/>
                      </a:lnTo>
                      <a:lnTo>
                        <a:pt x="1779" y="2352"/>
                      </a:lnTo>
                      <a:lnTo>
                        <a:pt x="1777" y="2347"/>
                      </a:lnTo>
                      <a:lnTo>
                        <a:pt x="1774" y="2341"/>
                      </a:lnTo>
                      <a:lnTo>
                        <a:pt x="1769" y="2337"/>
                      </a:lnTo>
                      <a:lnTo>
                        <a:pt x="1756" y="2326"/>
                      </a:lnTo>
                      <a:lnTo>
                        <a:pt x="1740" y="2317"/>
                      </a:lnTo>
                      <a:lnTo>
                        <a:pt x="1721" y="2307"/>
                      </a:lnTo>
                      <a:lnTo>
                        <a:pt x="1698" y="2298"/>
                      </a:lnTo>
                      <a:lnTo>
                        <a:pt x="1673" y="2287"/>
                      </a:lnTo>
                      <a:lnTo>
                        <a:pt x="1648" y="2279"/>
                      </a:lnTo>
                      <a:lnTo>
                        <a:pt x="1596" y="2262"/>
                      </a:lnTo>
                      <a:lnTo>
                        <a:pt x="1549" y="2248"/>
                      </a:lnTo>
                      <a:lnTo>
                        <a:pt x="1486" y="2230"/>
                      </a:lnTo>
                      <a:lnTo>
                        <a:pt x="1486" y="2230"/>
                      </a:lnTo>
                      <a:lnTo>
                        <a:pt x="1418" y="2223"/>
                      </a:lnTo>
                      <a:lnTo>
                        <a:pt x="1418" y="2223"/>
                      </a:lnTo>
                      <a:lnTo>
                        <a:pt x="1427" y="2202"/>
                      </a:lnTo>
                      <a:lnTo>
                        <a:pt x="1429" y="2194"/>
                      </a:lnTo>
                      <a:lnTo>
                        <a:pt x="1432" y="2185"/>
                      </a:lnTo>
                      <a:lnTo>
                        <a:pt x="1433" y="2177"/>
                      </a:lnTo>
                      <a:lnTo>
                        <a:pt x="1433" y="2168"/>
                      </a:lnTo>
                      <a:lnTo>
                        <a:pt x="1432" y="2145"/>
                      </a:lnTo>
                      <a:lnTo>
                        <a:pt x="1432" y="2145"/>
                      </a:lnTo>
                      <a:lnTo>
                        <a:pt x="1431" y="2133"/>
                      </a:lnTo>
                      <a:lnTo>
                        <a:pt x="1428" y="2125"/>
                      </a:lnTo>
                      <a:lnTo>
                        <a:pt x="1425" y="2120"/>
                      </a:lnTo>
                      <a:lnTo>
                        <a:pt x="1421" y="2116"/>
                      </a:lnTo>
                      <a:lnTo>
                        <a:pt x="1416" y="2113"/>
                      </a:lnTo>
                      <a:lnTo>
                        <a:pt x="1410" y="2110"/>
                      </a:lnTo>
                      <a:lnTo>
                        <a:pt x="1402" y="2107"/>
                      </a:lnTo>
                      <a:lnTo>
                        <a:pt x="1393" y="2101"/>
                      </a:lnTo>
                      <a:lnTo>
                        <a:pt x="1393" y="2101"/>
                      </a:lnTo>
                      <a:lnTo>
                        <a:pt x="1373" y="2089"/>
                      </a:lnTo>
                      <a:lnTo>
                        <a:pt x="1359" y="2081"/>
                      </a:lnTo>
                      <a:lnTo>
                        <a:pt x="1352" y="2078"/>
                      </a:lnTo>
                      <a:lnTo>
                        <a:pt x="1344" y="2077"/>
                      </a:lnTo>
                      <a:lnTo>
                        <a:pt x="1323" y="2073"/>
                      </a:lnTo>
                      <a:lnTo>
                        <a:pt x="1323" y="2073"/>
                      </a:lnTo>
                      <a:lnTo>
                        <a:pt x="1317" y="2073"/>
                      </a:lnTo>
                      <a:lnTo>
                        <a:pt x="1311" y="2074"/>
                      </a:lnTo>
                      <a:lnTo>
                        <a:pt x="1302" y="2079"/>
                      </a:lnTo>
                      <a:lnTo>
                        <a:pt x="1298" y="2080"/>
                      </a:lnTo>
                      <a:lnTo>
                        <a:pt x="1294" y="2079"/>
                      </a:lnTo>
                      <a:lnTo>
                        <a:pt x="1288" y="2077"/>
                      </a:lnTo>
                      <a:lnTo>
                        <a:pt x="1280" y="2070"/>
                      </a:lnTo>
                      <a:lnTo>
                        <a:pt x="1280" y="2070"/>
                      </a:lnTo>
                      <a:lnTo>
                        <a:pt x="1247" y="2042"/>
                      </a:lnTo>
                      <a:lnTo>
                        <a:pt x="1216" y="2016"/>
                      </a:lnTo>
                      <a:lnTo>
                        <a:pt x="1201" y="2003"/>
                      </a:lnTo>
                      <a:lnTo>
                        <a:pt x="1186" y="1989"/>
                      </a:lnTo>
                      <a:lnTo>
                        <a:pt x="1172" y="1974"/>
                      </a:lnTo>
                      <a:lnTo>
                        <a:pt x="1158" y="1958"/>
                      </a:lnTo>
                      <a:lnTo>
                        <a:pt x="1158" y="1958"/>
                      </a:lnTo>
                      <a:lnTo>
                        <a:pt x="1155" y="1956"/>
                      </a:lnTo>
                      <a:lnTo>
                        <a:pt x="1153" y="1956"/>
                      </a:lnTo>
                      <a:lnTo>
                        <a:pt x="1146" y="1955"/>
                      </a:lnTo>
                      <a:lnTo>
                        <a:pt x="1136" y="1956"/>
                      </a:lnTo>
                      <a:lnTo>
                        <a:pt x="1125" y="1958"/>
                      </a:lnTo>
                      <a:lnTo>
                        <a:pt x="1104" y="1961"/>
                      </a:lnTo>
                      <a:lnTo>
                        <a:pt x="1093" y="1963"/>
                      </a:lnTo>
                      <a:lnTo>
                        <a:pt x="1085" y="1961"/>
                      </a:lnTo>
                      <a:lnTo>
                        <a:pt x="1085" y="1961"/>
                      </a:lnTo>
                      <a:lnTo>
                        <a:pt x="1061" y="1955"/>
                      </a:lnTo>
                      <a:lnTo>
                        <a:pt x="1052" y="1950"/>
                      </a:lnTo>
                      <a:lnTo>
                        <a:pt x="1044" y="1945"/>
                      </a:lnTo>
                      <a:lnTo>
                        <a:pt x="1037" y="1941"/>
                      </a:lnTo>
                      <a:lnTo>
                        <a:pt x="1029" y="1934"/>
                      </a:lnTo>
                      <a:lnTo>
                        <a:pt x="1013" y="1915"/>
                      </a:lnTo>
                      <a:lnTo>
                        <a:pt x="1013" y="1915"/>
                      </a:lnTo>
                      <a:lnTo>
                        <a:pt x="998" y="1929"/>
                      </a:lnTo>
                      <a:lnTo>
                        <a:pt x="991" y="1936"/>
                      </a:lnTo>
                      <a:lnTo>
                        <a:pt x="985" y="1944"/>
                      </a:lnTo>
                      <a:lnTo>
                        <a:pt x="980" y="1951"/>
                      </a:lnTo>
                      <a:lnTo>
                        <a:pt x="977" y="1960"/>
                      </a:lnTo>
                      <a:lnTo>
                        <a:pt x="975" y="1970"/>
                      </a:lnTo>
                      <a:lnTo>
                        <a:pt x="975" y="1981"/>
                      </a:lnTo>
                      <a:lnTo>
                        <a:pt x="975" y="1981"/>
                      </a:lnTo>
                      <a:lnTo>
                        <a:pt x="968" y="1979"/>
                      </a:lnTo>
                      <a:lnTo>
                        <a:pt x="962" y="1976"/>
                      </a:lnTo>
                      <a:lnTo>
                        <a:pt x="957" y="1973"/>
                      </a:lnTo>
                      <a:lnTo>
                        <a:pt x="955" y="1970"/>
                      </a:lnTo>
                      <a:lnTo>
                        <a:pt x="955" y="1965"/>
                      </a:lnTo>
                      <a:lnTo>
                        <a:pt x="955" y="1959"/>
                      </a:lnTo>
                      <a:lnTo>
                        <a:pt x="956" y="1953"/>
                      </a:lnTo>
                      <a:lnTo>
                        <a:pt x="959" y="1948"/>
                      </a:lnTo>
                      <a:lnTo>
                        <a:pt x="964" y="1936"/>
                      </a:lnTo>
                      <a:lnTo>
                        <a:pt x="972" y="1925"/>
                      </a:lnTo>
                      <a:lnTo>
                        <a:pt x="986" y="1907"/>
                      </a:lnTo>
                      <a:lnTo>
                        <a:pt x="986" y="1907"/>
                      </a:lnTo>
                      <a:lnTo>
                        <a:pt x="978" y="1905"/>
                      </a:lnTo>
                      <a:lnTo>
                        <a:pt x="971" y="1905"/>
                      </a:lnTo>
                      <a:lnTo>
                        <a:pt x="963" y="1906"/>
                      </a:lnTo>
                      <a:lnTo>
                        <a:pt x="955" y="1909"/>
                      </a:lnTo>
                      <a:lnTo>
                        <a:pt x="948" y="1911"/>
                      </a:lnTo>
                      <a:lnTo>
                        <a:pt x="940" y="1915"/>
                      </a:lnTo>
                      <a:lnTo>
                        <a:pt x="925" y="1926"/>
                      </a:lnTo>
                      <a:lnTo>
                        <a:pt x="911" y="1938"/>
                      </a:lnTo>
                      <a:lnTo>
                        <a:pt x="898" y="1951"/>
                      </a:lnTo>
                      <a:lnTo>
                        <a:pt x="886" y="1964"/>
                      </a:lnTo>
                      <a:lnTo>
                        <a:pt x="874" y="1973"/>
                      </a:lnTo>
                      <a:lnTo>
                        <a:pt x="874" y="1973"/>
                      </a:lnTo>
                      <a:lnTo>
                        <a:pt x="862" y="1984"/>
                      </a:lnTo>
                      <a:lnTo>
                        <a:pt x="857" y="1988"/>
                      </a:lnTo>
                      <a:lnTo>
                        <a:pt x="853" y="1989"/>
                      </a:lnTo>
                      <a:lnTo>
                        <a:pt x="848" y="1990"/>
                      </a:lnTo>
                      <a:lnTo>
                        <a:pt x="843" y="1989"/>
                      </a:lnTo>
                      <a:lnTo>
                        <a:pt x="827" y="1984"/>
                      </a:lnTo>
                      <a:lnTo>
                        <a:pt x="827" y="1984"/>
                      </a:lnTo>
                      <a:lnTo>
                        <a:pt x="817" y="1980"/>
                      </a:lnTo>
                      <a:lnTo>
                        <a:pt x="809" y="1978"/>
                      </a:lnTo>
                      <a:lnTo>
                        <a:pt x="803" y="1976"/>
                      </a:lnTo>
                      <a:lnTo>
                        <a:pt x="799" y="1976"/>
                      </a:lnTo>
                      <a:lnTo>
                        <a:pt x="789" y="1980"/>
                      </a:lnTo>
                      <a:lnTo>
                        <a:pt x="782" y="1982"/>
                      </a:lnTo>
                      <a:lnTo>
                        <a:pt x="772" y="1984"/>
                      </a:lnTo>
                      <a:lnTo>
                        <a:pt x="772" y="1984"/>
                      </a:lnTo>
                      <a:lnTo>
                        <a:pt x="749" y="1987"/>
                      </a:lnTo>
                      <a:lnTo>
                        <a:pt x="739" y="1988"/>
                      </a:lnTo>
                      <a:lnTo>
                        <a:pt x="729" y="1987"/>
                      </a:lnTo>
                      <a:lnTo>
                        <a:pt x="721" y="1983"/>
                      </a:lnTo>
                      <a:lnTo>
                        <a:pt x="713" y="1978"/>
                      </a:lnTo>
                      <a:lnTo>
                        <a:pt x="706" y="1968"/>
                      </a:lnTo>
                      <a:lnTo>
                        <a:pt x="699" y="1956"/>
                      </a:lnTo>
                      <a:lnTo>
                        <a:pt x="699" y="1956"/>
                      </a:lnTo>
                      <a:lnTo>
                        <a:pt x="698" y="1952"/>
                      </a:lnTo>
                      <a:lnTo>
                        <a:pt x="699" y="1949"/>
                      </a:lnTo>
                      <a:lnTo>
                        <a:pt x="701" y="1936"/>
                      </a:lnTo>
                      <a:lnTo>
                        <a:pt x="709" y="1903"/>
                      </a:lnTo>
                      <a:lnTo>
                        <a:pt x="718" y="1872"/>
                      </a:lnTo>
                      <a:lnTo>
                        <a:pt x="723" y="1857"/>
                      </a:lnTo>
                      <a:lnTo>
                        <a:pt x="723" y="1857"/>
                      </a:lnTo>
                      <a:lnTo>
                        <a:pt x="712" y="1843"/>
                      </a:lnTo>
                      <a:lnTo>
                        <a:pt x="702" y="1830"/>
                      </a:lnTo>
                      <a:lnTo>
                        <a:pt x="696" y="1826"/>
                      </a:lnTo>
                      <a:lnTo>
                        <a:pt x="690" y="1821"/>
                      </a:lnTo>
                      <a:lnTo>
                        <a:pt x="682" y="1819"/>
                      </a:lnTo>
                      <a:lnTo>
                        <a:pt x="674" y="1818"/>
                      </a:lnTo>
                      <a:lnTo>
                        <a:pt x="674" y="1818"/>
                      </a:lnTo>
                      <a:lnTo>
                        <a:pt x="653" y="1820"/>
                      </a:lnTo>
                      <a:lnTo>
                        <a:pt x="643" y="1821"/>
                      </a:lnTo>
                      <a:lnTo>
                        <a:pt x="633" y="1821"/>
                      </a:lnTo>
                      <a:lnTo>
                        <a:pt x="624" y="1820"/>
                      </a:lnTo>
                      <a:lnTo>
                        <a:pt x="615" y="1818"/>
                      </a:lnTo>
                      <a:lnTo>
                        <a:pt x="607" y="1813"/>
                      </a:lnTo>
                      <a:lnTo>
                        <a:pt x="604" y="1809"/>
                      </a:lnTo>
                      <a:lnTo>
                        <a:pt x="602" y="1805"/>
                      </a:lnTo>
                      <a:lnTo>
                        <a:pt x="602" y="1805"/>
                      </a:lnTo>
                      <a:lnTo>
                        <a:pt x="622" y="1772"/>
                      </a:lnTo>
                      <a:lnTo>
                        <a:pt x="637" y="1746"/>
                      </a:lnTo>
                      <a:lnTo>
                        <a:pt x="650" y="1721"/>
                      </a:lnTo>
                      <a:lnTo>
                        <a:pt x="655" y="1708"/>
                      </a:lnTo>
                      <a:lnTo>
                        <a:pt x="659" y="1697"/>
                      </a:lnTo>
                      <a:lnTo>
                        <a:pt x="660" y="1686"/>
                      </a:lnTo>
                      <a:lnTo>
                        <a:pt x="660" y="1678"/>
                      </a:lnTo>
                      <a:lnTo>
                        <a:pt x="659" y="1674"/>
                      </a:lnTo>
                      <a:lnTo>
                        <a:pt x="658" y="1671"/>
                      </a:lnTo>
                      <a:lnTo>
                        <a:pt x="655" y="1669"/>
                      </a:lnTo>
                      <a:lnTo>
                        <a:pt x="652" y="1667"/>
                      </a:lnTo>
                      <a:lnTo>
                        <a:pt x="648" y="1666"/>
                      </a:lnTo>
                      <a:lnTo>
                        <a:pt x="643" y="1666"/>
                      </a:lnTo>
                      <a:lnTo>
                        <a:pt x="637" y="1666"/>
                      </a:lnTo>
                      <a:lnTo>
                        <a:pt x="630" y="1667"/>
                      </a:lnTo>
                      <a:lnTo>
                        <a:pt x="630" y="1667"/>
                      </a:lnTo>
                      <a:lnTo>
                        <a:pt x="596" y="1675"/>
                      </a:lnTo>
                      <a:lnTo>
                        <a:pt x="584" y="1677"/>
                      </a:lnTo>
                      <a:lnTo>
                        <a:pt x="574" y="1682"/>
                      </a:lnTo>
                      <a:lnTo>
                        <a:pt x="569" y="1685"/>
                      </a:lnTo>
                      <a:lnTo>
                        <a:pt x="566" y="1689"/>
                      </a:lnTo>
                      <a:lnTo>
                        <a:pt x="559" y="1698"/>
                      </a:lnTo>
                      <a:lnTo>
                        <a:pt x="552" y="1710"/>
                      </a:lnTo>
                      <a:lnTo>
                        <a:pt x="545" y="1729"/>
                      </a:lnTo>
                      <a:lnTo>
                        <a:pt x="545" y="1729"/>
                      </a:lnTo>
                      <a:lnTo>
                        <a:pt x="543" y="1732"/>
                      </a:lnTo>
                      <a:lnTo>
                        <a:pt x="539" y="1736"/>
                      </a:lnTo>
                      <a:lnTo>
                        <a:pt x="535" y="1738"/>
                      </a:lnTo>
                      <a:lnTo>
                        <a:pt x="528" y="1739"/>
                      </a:lnTo>
                      <a:lnTo>
                        <a:pt x="522" y="1740"/>
                      </a:lnTo>
                      <a:lnTo>
                        <a:pt x="514" y="1740"/>
                      </a:lnTo>
                      <a:lnTo>
                        <a:pt x="498" y="1739"/>
                      </a:lnTo>
                      <a:lnTo>
                        <a:pt x="483" y="1735"/>
                      </a:lnTo>
                      <a:lnTo>
                        <a:pt x="469" y="1730"/>
                      </a:lnTo>
                      <a:lnTo>
                        <a:pt x="463" y="1727"/>
                      </a:lnTo>
                      <a:lnTo>
                        <a:pt x="459" y="1723"/>
                      </a:lnTo>
                      <a:lnTo>
                        <a:pt x="455" y="1720"/>
                      </a:lnTo>
                      <a:lnTo>
                        <a:pt x="453" y="1716"/>
                      </a:lnTo>
                      <a:lnTo>
                        <a:pt x="453" y="1716"/>
                      </a:lnTo>
                      <a:lnTo>
                        <a:pt x="445" y="1687"/>
                      </a:lnTo>
                      <a:lnTo>
                        <a:pt x="443" y="1674"/>
                      </a:lnTo>
                      <a:lnTo>
                        <a:pt x="440" y="1660"/>
                      </a:lnTo>
                      <a:lnTo>
                        <a:pt x="439" y="1646"/>
                      </a:lnTo>
                      <a:lnTo>
                        <a:pt x="439" y="1633"/>
                      </a:lnTo>
                      <a:lnTo>
                        <a:pt x="439" y="1621"/>
                      </a:lnTo>
                      <a:lnTo>
                        <a:pt x="440" y="1608"/>
                      </a:lnTo>
                      <a:lnTo>
                        <a:pt x="443" y="1595"/>
                      </a:lnTo>
                      <a:lnTo>
                        <a:pt x="446" y="1584"/>
                      </a:lnTo>
                      <a:lnTo>
                        <a:pt x="453" y="1559"/>
                      </a:lnTo>
                      <a:lnTo>
                        <a:pt x="465" y="1532"/>
                      </a:lnTo>
                      <a:lnTo>
                        <a:pt x="477" y="1506"/>
                      </a:lnTo>
                      <a:lnTo>
                        <a:pt x="477" y="1506"/>
                      </a:lnTo>
                      <a:lnTo>
                        <a:pt x="483" y="1499"/>
                      </a:lnTo>
                      <a:lnTo>
                        <a:pt x="491" y="1489"/>
                      </a:lnTo>
                      <a:lnTo>
                        <a:pt x="503" y="1479"/>
                      </a:lnTo>
                      <a:lnTo>
                        <a:pt x="515" y="1469"/>
                      </a:lnTo>
                      <a:lnTo>
                        <a:pt x="529" y="1459"/>
                      </a:lnTo>
                      <a:lnTo>
                        <a:pt x="542" y="1451"/>
                      </a:lnTo>
                      <a:lnTo>
                        <a:pt x="552" y="1446"/>
                      </a:lnTo>
                      <a:lnTo>
                        <a:pt x="560" y="1443"/>
                      </a:lnTo>
                      <a:lnTo>
                        <a:pt x="560" y="1443"/>
                      </a:lnTo>
                      <a:lnTo>
                        <a:pt x="565" y="1443"/>
                      </a:lnTo>
                      <a:lnTo>
                        <a:pt x="571" y="1446"/>
                      </a:lnTo>
                      <a:lnTo>
                        <a:pt x="584" y="1453"/>
                      </a:lnTo>
                      <a:lnTo>
                        <a:pt x="598" y="1459"/>
                      </a:lnTo>
                      <a:lnTo>
                        <a:pt x="609" y="1466"/>
                      </a:lnTo>
                      <a:lnTo>
                        <a:pt x="609" y="1466"/>
                      </a:lnTo>
                      <a:lnTo>
                        <a:pt x="615" y="1469"/>
                      </a:lnTo>
                      <a:lnTo>
                        <a:pt x="622" y="1470"/>
                      </a:lnTo>
                      <a:lnTo>
                        <a:pt x="637" y="1471"/>
                      </a:lnTo>
                      <a:lnTo>
                        <a:pt x="666" y="1472"/>
                      </a:lnTo>
                      <a:lnTo>
                        <a:pt x="666" y="1472"/>
                      </a:lnTo>
                      <a:lnTo>
                        <a:pt x="665" y="1464"/>
                      </a:lnTo>
                      <a:lnTo>
                        <a:pt x="665" y="1457"/>
                      </a:lnTo>
                      <a:lnTo>
                        <a:pt x="667" y="1451"/>
                      </a:lnTo>
                      <a:lnTo>
                        <a:pt x="671" y="1447"/>
                      </a:lnTo>
                      <a:lnTo>
                        <a:pt x="675" y="1443"/>
                      </a:lnTo>
                      <a:lnTo>
                        <a:pt x="681" y="1441"/>
                      </a:lnTo>
                      <a:lnTo>
                        <a:pt x="687" y="1440"/>
                      </a:lnTo>
                      <a:lnTo>
                        <a:pt x="695" y="1440"/>
                      </a:lnTo>
                      <a:lnTo>
                        <a:pt x="710" y="1440"/>
                      </a:lnTo>
                      <a:lnTo>
                        <a:pt x="726" y="1441"/>
                      </a:lnTo>
                      <a:lnTo>
                        <a:pt x="742" y="1443"/>
                      </a:lnTo>
                      <a:lnTo>
                        <a:pt x="755" y="1445"/>
                      </a:lnTo>
                      <a:lnTo>
                        <a:pt x="755" y="1445"/>
                      </a:lnTo>
                      <a:lnTo>
                        <a:pt x="762" y="1445"/>
                      </a:lnTo>
                      <a:lnTo>
                        <a:pt x="767" y="1448"/>
                      </a:lnTo>
                      <a:lnTo>
                        <a:pt x="772" y="1451"/>
                      </a:lnTo>
                      <a:lnTo>
                        <a:pt x="775" y="1457"/>
                      </a:lnTo>
                      <a:lnTo>
                        <a:pt x="777" y="1463"/>
                      </a:lnTo>
                      <a:lnTo>
                        <a:pt x="778" y="1470"/>
                      </a:lnTo>
                      <a:lnTo>
                        <a:pt x="778" y="1477"/>
                      </a:lnTo>
                      <a:lnTo>
                        <a:pt x="777" y="1485"/>
                      </a:lnTo>
                      <a:lnTo>
                        <a:pt x="774" y="1501"/>
                      </a:lnTo>
                      <a:lnTo>
                        <a:pt x="771" y="1516"/>
                      </a:lnTo>
                      <a:lnTo>
                        <a:pt x="767" y="1529"/>
                      </a:lnTo>
                      <a:lnTo>
                        <a:pt x="766" y="1537"/>
                      </a:lnTo>
                      <a:lnTo>
                        <a:pt x="766" y="1537"/>
                      </a:lnTo>
                      <a:lnTo>
                        <a:pt x="769" y="1550"/>
                      </a:lnTo>
                      <a:lnTo>
                        <a:pt x="772" y="1564"/>
                      </a:lnTo>
                      <a:lnTo>
                        <a:pt x="779" y="1576"/>
                      </a:lnTo>
                      <a:lnTo>
                        <a:pt x="782" y="1582"/>
                      </a:lnTo>
                      <a:lnTo>
                        <a:pt x="786" y="1586"/>
                      </a:lnTo>
                      <a:lnTo>
                        <a:pt x="790" y="1590"/>
                      </a:lnTo>
                      <a:lnTo>
                        <a:pt x="795" y="1592"/>
                      </a:lnTo>
                      <a:lnTo>
                        <a:pt x="801" y="1594"/>
                      </a:lnTo>
                      <a:lnTo>
                        <a:pt x="805" y="1594"/>
                      </a:lnTo>
                      <a:lnTo>
                        <a:pt x="811" y="1592"/>
                      </a:lnTo>
                      <a:lnTo>
                        <a:pt x="816" y="1590"/>
                      </a:lnTo>
                      <a:lnTo>
                        <a:pt x="822" y="1584"/>
                      </a:lnTo>
                      <a:lnTo>
                        <a:pt x="826" y="1577"/>
                      </a:lnTo>
                      <a:lnTo>
                        <a:pt x="826" y="1577"/>
                      </a:lnTo>
                      <a:lnTo>
                        <a:pt x="836" y="1562"/>
                      </a:lnTo>
                      <a:lnTo>
                        <a:pt x="841" y="1556"/>
                      </a:lnTo>
                      <a:lnTo>
                        <a:pt x="845" y="1549"/>
                      </a:lnTo>
                      <a:lnTo>
                        <a:pt x="847" y="1544"/>
                      </a:lnTo>
                      <a:lnTo>
                        <a:pt x="847" y="1538"/>
                      </a:lnTo>
                      <a:lnTo>
                        <a:pt x="845" y="1531"/>
                      </a:lnTo>
                      <a:lnTo>
                        <a:pt x="841" y="1522"/>
                      </a:lnTo>
                      <a:lnTo>
                        <a:pt x="841" y="1522"/>
                      </a:lnTo>
                      <a:lnTo>
                        <a:pt x="835" y="1510"/>
                      </a:lnTo>
                      <a:lnTo>
                        <a:pt x="831" y="1496"/>
                      </a:lnTo>
                      <a:lnTo>
                        <a:pt x="827" y="1483"/>
                      </a:lnTo>
                      <a:lnTo>
                        <a:pt x="826" y="1471"/>
                      </a:lnTo>
                      <a:lnTo>
                        <a:pt x="826" y="1471"/>
                      </a:lnTo>
                      <a:lnTo>
                        <a:pt x="827" y="1462"/>
                      </a:lnTo>
                      <a:lnTo>
                        <a:pt x="828" y="1455"/>
                      </a:lnTo>
                      <a:lnTo>
                        <a:pt x="831" y="1447"/>
                      </a:lnTo>
                      <a:lnTo>
                        <a:pt x="833" y="1441"/>
                      </a:lnTo>
                      <a:lnTo>
                        <a:pt x="840" y="1428"/>
                      </a:lnTo>
                      <a:lnTo>
                        <a:pt x="849" y="1417"/>
                      </a:lnTo>
                      <a:lnTo>
                        <a:pt x="860" y="1407"/>
                      </a:lnTo>
                      <a:lnTo>
                        <a:pt x="871" y="1396"/>
                      </a:lnTo>
                      <a:lnTo>
                        <a:pt x="894" y="1377"/>
                      </a:lnTo>
                      <a:lnTo>
                        <a:pt x="894" y="1377"/>
                      </a:lnTo>
                      <a:lnTo>
                        <a:pt x="904" y="1370"/>
                      </a:lnTo>
                      <a:lnTo>
                        <a:pt x="918" y="1363"/>
                      </a:lnTo>
                      <a:lnTo>
                        <a:pt x="948" y="1349"/>
                      </a:lnTo>
                      <a:lnTo>
                        <a:pt x="962" y="1342"/>
                      </a:lnTo>
                      <a:lnTo>
                        <a:pt x="973" y="1335"/>
                      </a:lnTo>
                      <a:lnTo>
                        <a:pt x="978" y="1332"/>
                      </a:lnTo>
                      <a:lnTo>
                        <a:pt x="980" y="1327"/>
                      </a:lnTo>
                      <a:lnTo>
                        <a:pt x="983" y="1324"/>
                      </a:lnTo>
                      <a:lnTo>
                        <a:pt x="983" y="1319"/>
                      </a:lnTo>
                      <a:lnTo>
                        <a:pt x="983" y="1319"/>
                      </a:lnTo>
                      <a:lnTo>
                        <a:pt x="982" y="1309"/>
                      </a:lnTo>
                      <a:lnTo>
                        <a:pt x="982" y="1299"/>
                      </a:lnTo>
                      <a:lnTo>
                        <a:pt x="982" y="1290"/>
                      </a:lnTo>
                      <a:lnTo>
                        <a:pt x="983" y="1282"/>
                      </a:lnTo>
                      <a:lnTo>
                        <a:pt x="985" y="1275"/>
                      </a:lnTo>
                      <a:lnTo>
                        <a:pt x="987" y="1268"/>
                      </a:lnTo>
                      <a:lnTo>
                        <a:pt x="991" y="1263"/>
                      </a:lnTo>
                      <a:lnTo>
                        <a:pt x="994" y="1256"/>
                      </a:lnTo>
                      <a:lnTo>
                        <a:pt x="1003" y="1244"/>
                      </a:lnTo>
                      <a:lnTo>
                        <a:pt x="1015" y="1233"/>
                      </a:lnTo>
                      <a:lnTo>
                        <a:pt x="1043" y="1204"/>
                      </a:lnTo>
                      <a:lnTo>
                        <a:pt x="1043" y="1204"/>
                      </a:lnTo>
                      <a:lnTo>
                        <a:pt x="1048" y="1199"/>
                      </a:lnTo>
                      <a:lnTo>
                        <a:pt x="1053" y="1195"/>
                      </a:lnTo>
                      <a:lnTo>
                        <a:pt x="1064" y="1189"/>
                      </a:lnTo>
                      <a:lnTo>
                        <a:pt x="1077" y="1184"/>
                      </a:lnTo>
                      <a:lnTo>
                        <a:pt x="1090" y="1181"/>
                      </a:lnTo>
                      <a:lnTo>
                        <a:pt x="1104" y="1179"/>
                      </a:lnTo>
                      <a:lnTo>
                        <a:pt x="1117" y="1177"/>
                      </a:lnTo>
                      <a:lnTo>
                        <a:pt x="1146" y="1174"/>
                      </a:lnTo>
                      <a:lnTo>
                        <a:pt x="1146" y="1174"/>
                      </a:lnTo>
                      <a:lnTo>
                        <a:pt x="1138" y="1147"/>
                      </a:lnTo>
                      <a:lnTo>
                        <a:pt x="1137" y="1138"/>
                      </a:lnTo>
                      <a:lnTo>
                        <a:pt x="1137" y="1131"/>
                      </a:lnTo>
                      <a:lnTo>
                        <a:pt x="1139" y="1126"/>
                      </a:lnTo>
                      <a:lnTo>
                        <a:pt x="1145" y="1120"/>
                      </a:lnTo>
                      <a:lnTo>
                        <a:pt x="1154" y="1113"/>
                      </a:lnTo>
                      <a:lnTo>
                        <a:pt x="1167" y="1105"/>
                      </a:lnTo>
                      <a:lnTo>
                        <a:pt x="1167" y="1105"/>
                      </a:lnTo>
                      <a:lnTo>
                        <a:pt x="1204" y="1084"/>
                      </a:lnTo>
                      <a:lnTo>
                        <a:pt x="1223" y="1075"/>
                      </a:lnTo>
                      <a:lnTo>
                        <a:pt x="1234" y="1071"/>
                      </a:lnTo>
                      <a:lnTo>
                        <a:pt x="1244" y="1068"/>
                      </a:lnTo>
                      <a:lnTo>
                        <a:pt x="1244" y="1068"/>
                      </a:lnTo>
                      <a:lnTo>
                        <a:pt x="1236" y="1074"/>
                      </a:lnTo>
                      <a:lnTo>
                        <a:pt x="1229" y="1081"/>
                      </a:lnTo>
                      <a:lnTo>
                        <a:pt x="1226" y="1086"/>
                      </a:lnTo>
                      <a:lnTo>
                        <a:pt x="1223" y="1093"/>
                      </a:lnTo>
                      <a:lnTo>
                        <a:pt x="1222" y="1100"/>
                      </a:lnTo>
                      <a:lnTo>
                        <a:pt x="1223" y="1106"/>
                      </a:lnTo>
                      <a:lnTo>
                        <a:pt x="1226" y="1112"/>
                      </a:lnTo>
                      <a:lnTo>
                        <a:pt x="1229" y="1116"/>
                      </a:lnTo>
                      <a:lnTo>
                        <a:pt x="1233" y="1120"/>
                      </a:lnTo>
                      <a:lnTo>
                        <a:pt x="1238" y="1123"/>
                      </a:lnTo>
                      <a:lnTo>
                        <a:pt x="1243" y="1124"/>
                      </a:lnTo>
                      <a:lnTo>
                        <a:pt x="1250" y="1124"/>
                      </a:lnTo>
                      <a:lnTo>
                        <a:pt x="1256" y="1123"/>
                      </a:lnTo>
                      <a:lnTo>
                        <a:pt x="1261" y="1121"/>
                      </a:lnTo>
                      <a:lnTo>
                        <a:pt x="1268" y="1115"/>
                      </a:lnTo>
                      <a:lnTo>
                        <a:pt x="1274" y="1108"/>
                      </a:lnTo>
                      <a:lnTo>
                        <a:pt x="1274" y="1108"/>
                      </a:lnTo>
                      <a:lnTo>
                        <a:pt x="1280" y="1101"/>
                      </a:lnTo>
                      <a:lnTo>
                        <a:pt x="1285" y="1097"/>
                      </a:lnTo>
                      <a:lnTo>
                        <a:pt x="1291" y="1093"/>
                      </a:lnTo>
                      <a:lnTo>
                        <a:pt x="1297" y="1091"/>
                      </a:lnTo>
                      <a:lnTo>
                        <a:pt x="1304" y="1091"/>
                      </a:lnTo>
                      <a:lnTo>
                        <a:pt x="1311" y="1091"/>
                      </a:lnTo>
                      <a:lnTo>
                        <a:pt x="1328" y="1090"/>
                      </a:lnTo>
                      <a:lnTo>
                        <a:pt x="1328" y="1090"/>
                      </a:lnTo>
                      <a:lnTo>
                        <a:pt x="1332" y="1090"/>
                      </a:lnTo>
                      <a:lnTo>
                        <a:pt x="1334" y="1088"/>
                      </a:lnTo>
                      <a:lnTo>
                        <a:pt x="1340" y="1083"/>
                      </a:lnTo>
                      <a:lnTo>
                        <a:pt x="1344" y="1075"/>
                      </a:lnTo>
                      <a:lnTo>
                        <a:pt x="1350" y="1066"/>
                      </a:lnTo>
                      <a:lnTo>
                        <a:pt x="1358" y="1046"/>
                      </a:lnTo>
                      <a:lnTo>
                        <a:pt x="1365" y="1032"/>
                      </a:lnTo>
                      <a:lnTo>
                        <a:pt x="1365" y="1032"/>
                      </a:lnTo>
                      <a:lnTo>
                        <a:pt x="1358" y="1031"/>
                      </a:lnTo>
                      <a:lnTo>
                        <a:pt x="1351" y="1031"/>
                      </a:lnTo>
                      <a:lnTo>
                        <a:pt x="1344" y="1032"/>
                      </a:lnTo>
                      <a:lnTo>
                        <a:pt x="1337" y="1036"/>
                      </a:lnTo>
                      <a:lnTo>
                        <a:pt x="1325" y="1042"/>
                      </a:lnTo>
                      <a:lnTo>
                        <a:pt x="1313" y="1047"/>
                      </a:lnTo>
                      <a:lnTo>
                        <a:pt x="1307" y="1050"/>
                      </a:lnTo>
                      <a:lnTo>
                        <a:pt x="1303" y="1051"/>
                      </a:lnTo>
                      <a:lnTo>
                        <a:pt x="1298" y="1050"/>
                      </a:lnTo>
                      <a:lnTo>
                        <a:pt x="1295" y="1047"/>
                      </a:lnTo>
                      <a:lnTo>
                        <a:pt x="1291" y="1043"/>
                      </a:lnTo>
                      <a:lnTo>
                        <a:pt x="1289" y="1036"/>
                      </a:lnTo>
                      <a:lnTo>
                        <a:pt x="1287" y="1025"/>
                      </a:lnTo>
                      <a:lnTo>
                        <a:pt x="1285" y="1013"/>
                      </a:lnTo>
                      <a:lnTo>
                        <a:pt x="1285" y="1013"/>
                      </a:lnTo>
                      <a:lnTo>
                        <a:pt x="1285" y="1005"/>
                      </a:lnTo>
                      <a:lnTo>
                        <a:pt x="1288" y="997"/>
                      </a:lnTo>
                      <a:lnTo>
                        <a:pt x="1294" y="982"/>
                      </a:lnTo>
                      <a:lnTo>
                        <a:pt x="1296" y="975"/>
                      </a:lnTo>
                      <a:lnTo>
                        <a:pt x="1297" y="968"/>
                      </a:lnTo>
                      <a:lnTo>
                        <a:pt x="1296" y="961"/>
                      </a:lnTo>
                      <a:lnTo>
                        <a:pt x="1295" y="958"/>
                      </a:lnTo>
                      <a:lnTo>
                        <a:pt x="1292" y="954"/>
                      </a:lnTo>
                      <a:lnTo>
                        <a:pt x="1292" y="954"/>
                      </a:lnTo>
                      <a:lnTo>
                        <a:pt x="1289" y="951"/>
                      </a:lnTo>
                      <a:lnTo>
                        <a:pt x="1285" y="948"/>
                      </a:lnTo>
                      <a:lnTo>
                        <a:pt x="1282" y="947"/>
                      </a:lnTo>
                      <a:lnTo>
                        <a:pt x="1277" y="947"/>
                      </a:lnTo>
                      <a:lnTo>
                        <a:pt x="1267" y="947"/>
                      </a:lnTo>
                      <a:lnTo>
                        <a:pt x="1257" y="948"/>
                      </a:lnTo>
                      <a:lnTo>
                        <a:pt x="1234" y="954"/>
                      </a:lnTo>
                      <a:lnTo>
                        <a:pt x="1215" y="960"/>
                      </a:lnTo>
                      <a:lnTo>
                        <a:pt x="1215" y="960"/>
                      </a:lnTo>
                      <a:lnTo>
                        <a:pt x="1234" y="946"/>
                      </a:lnTo>
                      <a:lnTo>
                        <a:pt x="1250" y="937"/>
                      </a:lnTo>
                      <a:lnTo>
                        <a:pt x="1265" y="931"/>
                      </a:lnTo>
                      <a:lnTo>
                        <a:pt x="1273" y="929"/>
                      </a:lnTo>
                      <a:lnTo>
                        <a:pt x="1280" y="928"/>
                      </a:lnTo>
                      <a:lnTo>
                        <a:pt x="1295" y="928"/>
                      </a:lnTo>
                      <a:lnTo>
                        <a:pt x="1312" y="929"/>
                      </a:lnTo>
                      <a:lnTo>
                        <a:pt x="1330" y="932"/>
                      </a:lnTo>
                      <a:lnTo>
                        <a:pt x="1353" y="938"/>
                      </a:lnTo>
                      <a:lnTo>
                        <a:pt x="1353" y="938"/>
                      </a:lnTo>
                      <a:lnTo>
                        <a:pt x="1365" y="939"/>
                      </a:lnTo>
                      <a:lnTo>
                        <a:pt x="1373" y="940"/>
                      </a:lnTo>
                      <a:lnTo>
                        <a:pt x="1381" y="938"/>
                      </a:lnTo>
                      <a:lnTo>
                        <a:pt x="1387" y="934"/>
                      </a:lnTo>
                      <a:lnTo>
                        <a:pt x="1393" y="930"/>
                      </a:lnTo>
                      <a:lnTo>
                        <a:pt x="1398" y="924"/>
                      </a:lnTo>
                      <a:lnTo>
                        <a:pt x="1413" y="907"/>
                      </a:lnTo>
                      <a:lnTo>
                        <a:pt x="1413" y="907"/>
                      </a:lnTo>
                      <a:lnTo>
                        <a:pt x="1420" y="902"/>
                      </a:lnTo>
                      <a:lnTo>
                        <a:pt x="1429" y="898"/>
                      </a:lnTo>
                      <a:lnTo>
                        <a:pt x="1440" y="894"/>
                      </a:lnTo>
                      <a:lnTo>
                        <a:pt x="1451" y="892"/>
                      </a:lnTo>
                      <a:lnTo>
                        <a:pt x="1474" y="887"/>
                      </a:lnTo>
                      <a:lnTo>
                        <a:pt x="1494" y="884"/>
                      </a:lnTo>
                      <a:lnTo>
                        <a:pt x="1494" y="884"/>
                      </a:lnTo>
                      <a:lnTo>
                        <a:pt x="1497" y="883"/>
                      </a:lnTo>
                      <a:lnTo>
                        <a:pt x="1501" y="880"/>
                      </a:lnTo>
                      <a:lnTo>
                        <a:pt x="1503" y="878"/>
                      </a:lnTo>
                      <a:lnTo>
                        <a:pt x="1504" y="875"/>
                      </a:lnTo>
                      <a:lnTo>
                        <a:pt x="1504" y="868"/>
                      </a:lnTo>
                      <a:lnTo>
                        <a:pt x="1502" y="860"/>
                      </a:lnTo>
                      <a:lnTo>
                        <a:pt x="1498" y="849"/>
                      </a:lnTo>
                      <a:lnTo>
                        <a:pt x="1493" y="839"/>
                      </a:lnTo>
                      <a:lnTo>
                        <a:pt x="1479" y="816"/>
                      </a:lnTo>
                      <a:lnTo>
                        <a:pt x="1462" y="793"/>
                      </a:lnTo>
                      <a:lnTo>
                        <a:pt x="1446" y="773"/>
                      </a:lnTo>
                      <a:lnTo>
                        <a:pt x="1427" y="750"/>
                      </a:lnTo>
                      <a:lnTo>
                        <a:pt x="1427" y="750"/>
                      </a:lnTo>
                      <a:lnTo>
                        <a:pt x="1422" y="745"/>
                      </a:lnTo>
                      <a:lnTo>
                        <a:pt x="1420" y="738"/>
                      </a:lnTo>
                      <a:lnTo>
                        <a:pt x="1417" y="730"/>
                      </a:lnTo>
                      <a:lnTo>
                        <a:pt x="1414" y="721"/>
                      </a:lnTo>
                      <a:lnTo>
                        <a:pt x="1411" y="701"/>
                      </a:lnTo>
                      <a:lnTo>
                        <a:pt x="1409" y="680"/>
                      </a:lnTo>
                      <a:lnTo>
                        <a:pt x="1405" y="636"/>
                      </a:lnTo>
                      <a:lnTo>
                        <a:pt x="1404" y="618"/>
                      </a:lnTo>
                      <a:lnTo>
                        <a:pt x="1403" y="602"/>
                      </a:lnTo>
                      <a:lnTo>
                        <a:pt x="1403" y="602"/>
                      </a:lnTo>
                      <a:lnTo>
                        <a:pt x="1386" y="616"/>
                      </a:lnTo>
                      <a:lnTo>
                        <a:pt x="1363" y="634"/>
                      </a:lnTo>
                      <a:lnTo>
                        <a:pt x="1351" y="642"/>
                      </a:lnTo>
                      <a:lnTo>
                        <a:pt x="1341" y="649"/>
                      </a:lnTo>
                      <a:lnTo>
                        <a:pt x="1330" y="655"/>
                      </a:lnTo>
                      <a:lnTo>
                        <a:pt x="1326" y="656"/>
                      </a:lnTo>
                      <a:lnTo>
                        <a:pt x="1322" y="656"/>
                      </a:lnTo>
                      <a:lnTo>
                        <a:pt x="1322" y="656"/>
                      </a:lnTo>
                      <a:lnTo>
                        <a:pt x="1314" y="655"/>
                      </a:lnTo>
                      <a:lnTo>
                        <a:pt x="1309" y="654"/>
                      </a:lnTo>
                      <a:lnTo>
                        <a:pt x="1304" y="650"/>
                      </a:lnTo>
                      <a:lnTo>
                        <a:pt x="1302" y="647"/>
                      </a:lnTo>
                      <a:lnTo>
                        <a:pt x="1300" y="643"/>
                      </a:lnTo>
                      <a:lnTo>
                        <a:pt x="1299" y="639"/>
                      </a:lnTo>
                      <a:lnTo>
                        <a:pt x="1300" y="634"/>
                      </a:lnTo>
                      <a:lnTo>
                        <a:pt x="1302" y="628"/>
                      </a:lnTo>
                      <a:lnTo>
                        <a:pt x="1306" y="617"/>
                      </a:lnTo>
                      <a:lnTo>
                        <a:pt x="1311" y="606"/>
                      </a:lnTo>
                      <a:lnTo>
                        <a:pt x="1314" y="596"/>
                      </a:lnTo>
                      <a:lnTo>
                        <a:pt x="1314" y="591"/>
                      </a:lnTo>
                      <a:lnTo>
                        <a:pt x="1314" y="587"/>
                      </a:lnTo>
                      <a:lnTo>
                        <a:pt x="1314" y="587"/>
                      </a:lnTo>
                      <a:lnTo>
                        <a:pt x="1312" y="579"/>
                      </a:lnTo>
                      <a:lnTo>
                        <a:pt x="1307" y="570"/>
                      </a:lnTo>
                      <a:lnTo>
                        <a:pt x="1302" y="560"/>
                      </a:lnTo>
                      <a:lnTo>
                        <a:pt x="1294" y="551"/>
                      </a:lnTo>
                      <a:lnTo>
                        <a:pt x="1284" y="542"/>
                      </a:lnTo>
                      <a:lnTo>
                        <a:pt x="1275" y="533"/>
                      </a:lnTo>
                      <a:lnTo>
                        <a:pt x="1264" y="525"/>
                      </a:lnTo>
                      <a:lnTo>
                        <a:pt x="1253" y="518"/>
                      </a:lnTo>
                      <a:lnTo>
                        <a:pt x="1242" y="511"/>
                      </a:lnTo>
                      <a:lnTo>
                        <a:pt x="1230" y="506"/>
                      </a:lnTo>
                      <a:lnTo>
                        <a:pt x="1219" y="502"/>
                      </a:lnTo>
                      <a:lnTo>
                        <a:pt x="1208" y="500"/>
                      </a:lnTo>
                      <a:lnTo>
                        <a:pt x="1199" y="500"/>
                      </a:lnTo>
                      <a:lnTo>
                        <a:pt x="1191" y="502"/>
                      </a:lnTo>
                      <a:lnTo>
                        <a:pt x="1186" y="504"/>
                      </a:lnTo>
                      <a:lnTo>
                        <a:pt x="1183" y="506"/>
                      </a:lnTo>
                      <a:lnTo>
                        <a:pt x="1181" y="510"/>
                      </a:lnTo>
                      <a:lnTo>
                        <a:pt x="1178" y="513"/>
                      </a:lnTo>
                      <a:lnTo>
                        <a:pt x="1178" y="513"/>
                      </a:lnTo>
                      <a:lnTo>
                        <a:pt x="1123" y="621"/>
                      </a:lnTo>
                      <a:lnTo>
                        <a:pt x="1123" y="621"/>
                      </a:lnTo>
                      <a:lnTo>
                        <a:pt x="1120" y="629"/>
                      </a:lnTo>
                      <a:lnTo>
                        <a:pt x="1119" y="639"/>
                      </a:lnTo>
                      <a:lnTo>
                        <a:pt x="1119" y="649"/>
                      </a:lnTo>
                      <a:lnTo>
                        <a:pt x="1120" y="659"/>
                      </a:lnTo>
                      <a:lnTo>
                        <a:pt x="1120" y="669"/>
                      </a:lnTo>
                      <a:lnTo>
                        <a:pt x="1120" y="679"/>
                      </a:lnTo>
                      <a:lnTo>
                        <a:pt x="1119" y="688"/>
                      </a:lnTo>
                      <a:lnTo>
                        <a:pt x="1116" y="696"/>
                      </a:lnTo>
                      <a:lnTo>
                        <a:pt x="1116" y="696"/>
                      </a:lnTo>
                      <a:lnTo>
                        <a:pt x="1107" y="717"/>
                      </a:lnTo>
                      <a:lnTo>
                        <a:pt x="1102" y="727"/>
                      </a:lnTo>
                      <a:lnTo>
                        <a:pt x="1099" y="731"/>
                      </a:lnTo>
                      <a:lnTo>
                        <a:pt x="1097" y="734"/>
                      </a:lnTo>
                      <a:lnTo>
                        <a:pt x="1097" y="734"/>
                      </a:lnTo>
                      <a:lnTo>
                        <a:pt x="1092" y="735"/>
                      </a:lnTo>
                      <a:lnTo>
                        <a:pt x="1085" y="735"/>
                      </a:lnTo>
                      <a:lnTo>
                        <a:pt x="1070" y="734"/>
                      </a:lnTo>
                      <a:lnTo>
                        <a:pt x="1063" y="733"/>
                      </a:lnTo>
                      <a:lnTo>
                        <a:pt x="1056" y="733"/>
                      </a:lnTo>
                      <a:lnTo>
                        <a:pt x="1051" y="733"/>
                      </a:lnTo>
                      <a:lnTo>
                        <a:pt x="1046" y="735"/>
                      </a:lnTo>
                      <a:lnTo>
                        <a:pt x="1046" y="735"/>
                      </a:lnTo>
                      <a:lnTo>
                        <a:pt x="1044" y="740"/>
                      </a:lnTo>
                      <a:lnTo>
                        <a:pt x="1041" y="745"/>
                      </a:lnTo>
                      <a:lnTo>
                        <a:pt x="1040" y="749"/>
                      </a:lnTo>
                      <a:lnTo>
                        <a:pt x="1039" y="755"/>
                      </a:lnTo>
                      <a:lnTo>
                        <a:pt x="1039" y="768"/>
                      </a:lnTo>
                      <a:lnTo>
                        <a:pt x="1040" y="780"/>
                      </a:lnTo>
                      <a:lnTo>
                        <a:pt x="1040" y="794"/>
                      </a:lnTo>
                      <a:lnTo>
                        <a:pt x="1040" y="808"/>
                      </a:lnTo>
                      <a:lnTo>
                        <a:pt x="1039" y="814"/>
                      </a:lnTo>
                      <a:lnTo>
                        <a:pt x="1038" y="819"/>
                      </a:lnTo>
                      <a:lnTo>
                        <a:pt x="1036" y="825"/>
                      </a:lnTo>
                      <a:lnTo>
                        <a:pt x="1032" y="830"/>
                      </a:lnTo>
                      <a:lnTo>
                        <a:pt x="1032" y="830"/>
                      </a:lnTo>
                      <a:lnTo>
                        <a:pt x="1023" y="841"/>
                      </a:lnTo>
                      <a:lnTo>
                        <a:pt x="1016" y="847"/>
                      </a:lnTo>
                      <a:lnTo>
                        <a:pt x="1013" y="848"/>
                      </a:lnTo>
                      <a:lnTo>
                        <a:pt x="1010" y="849"/>
                      </a:lnTo>
                      <a:lnTo>
                        <a:pt x="1008" y="848"/>
                      </a:lnTo>
                      <a:lnTo>
                        <a:pt x="1007" y="846"/>
                      </a:lnTo>
                      <a:lnTo>
                        <a:pt x="1005" y="840"/>
                      </a:lnTo>
                      <a:lnTo>
                        <a:pt x="1005" y="831"/>
                      </a:lnTo>
                      <a:lnTo>
                        <a:pt x="1005" y="819"/>
                      </a:lnTo>
                      <a:lnTo>
                        <a:pt x="1006" y="807"/>
                      </a:lnTo>
                      <a:lnTo>
                        <a:pt x="1013" y="753"/>
                      </a:lnTo>
                      <a:lnTo>
                        <a:pt x="1013" y="741"/>
                      </a:lnTo>
                      <a:lnTo>
                        <a:pt x="1014" y="732"/>
                      </a:lnTo>
                      <a:lnTo>
                        <a:pt x="1013" y="725"/>
                      </a:lnTo>
                      <a:lnTo>
                        <a:pt x="1011" y="723"/>
                      </a:lnTo>
                      <a:lnTo>
                        <a:pt x="1010" y="721"/>
                      </a:lnTo>
                      <a:lnTo>
                        <a:pt x="1010" y="721"/>
                      </a:lnTo>
                      <a:lnTo>
                        <a:pt x="986" y="711"/>
                      </a:lnTo>
                      <a:lnTo>
                        <a:pt x="962" y="700"/>
                      </a:lnTo>
                      <a:lnTo>
                        <a:pt x="940" y="688"/>
                      </a:lnTo>
                      <a:lnTo>
                        <a:pt x="921" y="674"/>
                      </a:lnTo>
                      <a:lnTo>
                        <a:pt x="910" y="667"/>
                      </a:lnTo>
                      <a:lnTo>
                        <a:pt x="902" y="659"/>
                      </a:lnTo>
                      <a:lnTo>
                        <a:pt x="893" y="651"/>
                      </a:lnTo>
                      <a:lnTo>
                        <a:pt x="885" y="642"/>
                      </a:lnTo>
                      <a:lnTo>
                        <a:pt x="878" y="632"/>
                      </a:lnTo>
                      <a:lnTo>
                        <a:pt x="871" y="620"/>
                      </a:lnTo>
                      <a:lnTo>
                        <a:pt x="864" y="609"/>
                      </a:lnTo>
                      <a:lnTo>
                        <a:pt x="858" y="596"/>
                      </a:lnTo>
                      <a:lnTo>
                        <a:pt x="858" y="596"/>
                      </a:lnTo>
                      <a:lnTo>
                        <a:pt x="856" y="591"/>
                      </a:lnTo>
                      <a:lnTo>
                        <a:pt x="853" y="587"/>
                      </a:lnTo>
                      <a:lnTo>
                        <a:pt x="849" y="584"/>
                      </a:lnTo>
                      <a:lnTo>
                        <a:pt x="846" y="582"/>
                      </a:lnTo>
                      <a:lnTo>
                        <a:pt x="836" y="579"/>
                      </a:lnTo>
                      <a:lnTo>
                        <a:pt x="828" y="575"/>
                      </a:lnTo>
                      <a:lnTo>
                        <a:pt x="826" y="574"/>
                      </a:lnTo>
                      <a:lnTo>
                        <a:pt x="823" y="572"/>
                      </a:lnTo>
                      <a:lnTo>
                        <a:pt x="822" y="570"/>
                      </a:lnTo>
                      <a:lnTo>
                        <a:pt x="820" y="567"/>
                      </a:lnTo>
                      <a:lnTo>
                        <a:pt x="822" y="563"/>
                      </a:lnTo>
                      <a:lnTo>
                        <a:pt x="823" y="558"/>
                      </a:lnTo>
                      <a:lnTo>
                        <a:pt x="826" y="552"/>
                      </a:lnTo>
                      <a:lnTo>
                        <a:pt x="832" y="545"/>
                      </a:lnTo>
                      <a:lnTo>
                        <a:pt x="832" y="545"/>
                      </a:lnTo>
                      <a:lnTo>
                        <a:pt x="846" y="525"/>
                      </a:lnTo>
                      <a:lnTo>
                        <a:pt x="861" y="504"/>
                      </a:lnTo>
                      <a:lnTo>
                        <a:pt x="868" y="494"/>
                      </a:lnTo>
                      <a:lnTo>
                        <a:pt x="876" y="484"/>
                      </a:lnTo>
                      <a:lnTo>
                        <a:pt x="885" y="475"/>
                      </a:lnTo>
                      <a:lnTo>
                        <a:pt x="894" y="467"/>
                      </a:lnTo>
                      <a:lnTo>
                        <a:pt x="894" y="467"/>
                      </a:lnTo>
                      <a:lnTo>
                        <a:pt x="915" y="451"/>
                      </a:lnTo>
                      <a:lnTo>
                        <a:pt x="934" y="436"/>
                      </a:lnTo>
                      <a:lnTo>
                        <a:pt x="945" y="430"/>
                      </a:lnTo>
                      <a:lnTo>
                        <a:pt x="956" y="424"/>
                      </a:lnTo>
                      <a:lnTo>
                        <a:pt x="968" y="420"/>
                      </a:lnTo>
                      <a:lnTo>
                        <a:pt x="980" y="416"/>
                      </a:lnTo>
                      <a:lnTo>
                        <a:pt x="980" y="416"/>
                      </a:lnTo>
                      <a:lnTo>
                        <a:pt x="992" y="413"/>
                      </a:lnTo>
                      <a:lnTo>
                        <a:pt x="1003" y="408"/>
                      </a:lnTo>
                      <a:lnTo>
                        <a:pt x="1014" y="403"/>
                      </a:lnTo>
                      <a:lnTo>
                        <a:pt x="1023" y="395"/>
                      </a:lnTo>
                      <a:lnTo>
                        <a:pt x="1026" y="391"/>
                      </a:lnTo>
                      <a:lnTo>
                        <a:pt x="1029" y="386"/>
                      </a:lnTo>
                      <a:lnTo>
                        <a:pt x="1031" y="381"/>
                      </a:lnTo>
                      <a:lnTo>
                        <a:pt x="1032" y="376"/>
                      </a:lnTo>
                      <a:lnTo>
                        <a:pt x="1033" y="370"/>
                      </a:lnTo>
                      <a:lnTo>
                        <a:pt x="1032" y="365"/>
                      </a:lnTo>
                      <a:lnTo>
                        <a:pt x="1030" y="359"/>
                      </a:lnTo>
                      <a:lnTo>
                        <a:pt x="1026" y="352"/>
                      </a:lnTo>
                      <a:lnTo>
                        <a:pt x="1026" y="352"/>
                      </a:lnTo>
                      <a:lnTo>
                        <a:pt x="1043" y="347"/>
                      </a:lnTo>
                      <a:lnTo>
                        <a:pt x="1063" y="342"/>
                      </a:lnTo>
                      <a:lnTo>
                        <a:pt x="1073" y="339"/>
                      </a:lnTo>
                      <a:lnTo>
                        <a:pt x="1082" y="338"/>
                      </a:lnTo>
                      <a:lnTo>
                        <a:pt x="1091" y="338"/>
                      </a:lnTo>
                      <a:lnTo>
                        <a:pt x="1098" y="339"/>
                      </a:lnTo>
                      <a:lnTo>
                        <a:pt x="1098" y="339"/>
                      </a:lnTo>
                      <a:lnTo>
                        <a:pt x="1110" y="346"/>
                      </a:lnTo>
                      <a:lnTo>
                        <a:pt x="1121" y="350"/>
                      </a:lnTo>
                      <a:lnTo>
                        <a:pt x="1130" y="352"/>
                      </a:lnTo>
                      <a:lnTo>
                        <a:pt x="1138" y="352"/>
                      </a:lnTo>
                      <a:lnTo>
                        <a:pt x="1145" y="351"/>
                      </a:lnTo>
                      <a:lnTo>
                        <a:pt x="1154" y="347"/>
                      </a:lnTo>
                      <a:lnTo>
                        <a:pt x="1177" y="335"/>
                      </a:lnTo>
                      <a:lnTo>
                        <a:pt x="1177" y="335"/>
                      </a:lnTo>
                      <a:lnTo>
                        <a:pt x="1181" y="332"/>
                      </a:lnTo>
                      <a:lnTo>
                        <a:pt x="1183" y="329"/>
                      </a:lnTo>
                      <a:lnTo>
                        <a:pt x="1188" y="320"/>
                      </a:lnTo>
                      <a:lnTo>
                        <a:pt x="1191" y="308"/>
                      </a:lnTo>
                      <a:lnTo>
                        <a:pt x="1193" y="296"/>
                      </a:lnTo>
                      <a:lnTo>
                        <a:pt x="1198" y="269"/>
                      </a:lnTo>
                      <a:lnTo>
                        <a:pt x="1200" y="249"/>
                      </a:lnTo>
                      <a:lnTo>
                        <a:pt x="1200" y="249"/>
                      </a:lnTo>
                      <a:lnTo>
                        <a:pt x="1200" y="247"/>
                      </a:lnTo>
                      <a:lnTo>
                        <a:pt x="1199" y="244"/>
                      </a:lnTo>
                      <a:lnTo>
                        <a:pt x="1196" y="237"/>
                      </a:lnTo>
                      <a:lnTo>
                        <a:pt x="1190" y="229"/>
                      </a:lnTo>
                      <a:lnTo>
                        <a:pt x="1182" y="221"/>
                      </a:lnTo>
                      <a:lnTo>
                        <a:pt x="1165" y="206"/>
                      </a:lnTo>
                      <a:lnTo>
                        <a:pt x="1152" y="194"/>
                      </a:lnTo>
                      <a:lnTo>
                        <a:pt x="1152" y="194"/>
                      </a:lnTo>
                      <a:lnTo>
                        <a:pt x="1174" y="199"/>
                      </a:lnTo>
                      <a:lnTo>
                        <a:pt x="1196" y="205"/>
                      </a:lnTo>
                      <a:lnTo>
                        <a:pt x="1218" y="214"/>
                      </a:lnTo>
                      <a:lnTo>
                        <a:pt x="1242" y="225"/>
                      </a:lnTo>
                      <a:lnTo>
                        <a:pt x="1242" y="225"/>
                      </a:lnTo>
                      <a:lnTo>
                        <a:pt x="1249" y="229"/>
                      </a:lnTo>
                      <a:lnTo>
                        <a:pt x="1254" y="233"/>
                      </a:lnTo>
                      <a:lnTo>
                        <a:pt x="1265" y="244"/>
                      </a:lnTo>
                      <a:lnTo>
                        <a:pt x="1281" y="268"/>
                      </a:lnTo>
                      <a:lnTo>
                        <a:pt x="1290" y="277"/>
                      </a:lnTo>
                      <a:lnTo>
                        <a:pt x="1296" y="282"/>
                      </a:lnTo>
                      <a:lnTo>
                        <a:pt x="1302" y="285"/>
                      </a:lnTo>
                      <a:lnTo>
                        <a:pt x="1307" y="286"/>
                      </a:lnTo>
                      <a:lnTo>
                        <a:pt x="1314" y="287"/>
                      </a:lnTo>
                      <a:lnTo>
                        <a:pt x="1322" y="286"/>
                      </a:lnTo>
                      <a:lnTo>
                        <a:pt x="1332" y="284"/>
                      </a:lnTo>
                      <a:lnTo>
                        <a:pt x="1332" y="284"/>
                      </a:lnTo>
                      <a:lnTo>
                        <a:pt x="1326" y="304"/>
                      </a:lnTo>
                      <a:lnTo>
                        <a:pt x="1318" y="329"/>
                      </a:lnTo>
                      <a:lnTo>
                        <a:pt x="1312" y="342"/>
                      </a:lnTo>
                      <a:lnTo>
                        <a:pt x="1305" y="354"/>
                      </a:lnTo>
                      <a:lnTo>
                        <a:pt x="1298" y="367"/>
                      </a:lnTo>
                      <a:lnTo>
                        <a:pt x="1290" y="377"/>
                      </a:lnTo>
                      <a:lnTo>
                        <a:pt x="1282" y="388"/>
                      </a:lnTo>
                      <a:lnTo>
                        <a:pt x="1273" y="396"/>
                      </a:lnTo>
                      <a:lnTo>
                        <a:pt x="1264" y="401"/>
                      </a:lnTo>
                      <a:lnTo>
                        <a:pt x="1259" y="404"/>
                      </a:lnTo>
                      <a:lnTo>
                        <a:pt x="1254" y="405"/>
                      </a:lnTo>
                      <a:lnTo>
                        <a:pt x="1250" y="405"/>
                      </a:lnTo>
                      <a:lnTo>
                        <a:pt x="1244" y="405"/>
                      </a:lnTo>
                      <a:lnTo>
                        <a:pt x="1239" y="404"/>
                      </a:lnTo>
                      <a:lnTo>
                        <a:pt x="1234" y="401"/>
                      </a:lnTo>
                      <a:lnTo>
                        <a:pt x="1228" y="398"/>
                      </a:lnTo>
                      <a:lnTo>
                        <a:pt x="1223" y="395"/>
                      </a:lnTo>
                      <a:lnTo>
                        <a:pt x="1218" y="389"/>
                      </a:lnTo>
                      <a:lnTo>
                        <a:pt x="1212" y="383"/>
                      </a:lnTo>
                      <a:lnTo>
                        <a:pt x="1212" y="383"/>
                      </a:lnTo>
                      <a:lnTo>
                        <a:pt x="1205" y="392"/>
                      </a:lnTo>
                      <a:lnTo>
                        <a:pt x="1200" y="403"/>
                      </a:lnTo>
                      <a:lnTo>
                        <a:pt x="1197" y="412"/>
                      </a:lnTo>
                      <a:lnTo>
                        <a:pt x="1195" y="420"/>
                      </a:lnTo>
                      <a:lnTo>
                        <a:pt x="1195" y="428"/>
                      </a:lnTo>
                      <a:lnTo>
                        <a:pt x="1195" y="435"/>
                      </a:lnTo>
                      <a:lnTo>
                        <a:pt x="1197" y="441"/>
                      </a:lnTo>
                      <a:lnTo>
                        <a:pt x="1200" y="445"/>
                      </a:lnTo>
                      <a:lnTo>
                        <a:pt x="1205" y="449"/>
                      </a:lnTo>
                      <a:lnTo>
                        <a:pt x="1211" y="452"/>
                      </a:lnTo>
                      <a:lnTo>
                        <a:pt x="1218" y="453"/>
                      </a:lnTo>
                      <a:lnTo>
                        <a:pt x="1224" y="453"/>
                      </a:lnTo>
                      <a:lnTo>
                        <a:pt x="1234" y="452"/>
                      </a:lnTo>
                      <a:lnTo>
                        <a:pt x="1243" y="449"/>
                      </a:lnTo>
                      <a:lnTo>
                        <a:pt x="1253" y="444"/>
                      </a:lnTo>
                      <a:lnTo>
                        <a:pt x="1264" y="438"/>
                      </a:lnTo>
                      <a:lnTo>
                        <a:pt x="1264" y="438"/>
                      </a:lnTo>
                      <a:lnTo>
                        <a:pt x="1269" y="457"/>
                      </a:lnTo>
                      <a:lnTo>
                        <a:pt x="1276" y="481"/>
                      </a:lnTo>
                      <a:lnTo>
                        <a:pt x="1281" y="492"/>
                      </a:lnTo>
                      <a:lnTo>
                        <a:pt x="1285" y="503"/>
                      </a:lnTo>
                      <a:lnTo>
                        <a:pt x="1290" y="511"/>
                      </a:lnTo>
                      <a:lnTo>
                        <a:pt x="1294" y="514"/>
                      </a:lnTo>
                      <a:lnTo>
                        <a:pt x="1297" y="517"/>
                      </a:lnTo>
                      <a:lnTo>
                        <a:pt x="1297" y="517"/>
                      </a:lnTo>
                      <a:lnTo>
                        <a:pt x="1340" y="546"/>
                      </a:lnTo>
                      <a:lnTo>
                        <a:pt x="1353" y="556"/>
                      </a:lnTo>
                      <a:lnTo>
                        <a:pt x="1366" y="563"/>
                      </a:lnTo>
                      <a:lnTo>
                        <a:pt x="1375" y="567"/>
                      </a:lnTo>
                      <a:lnTo>
                        <a:pt x="1378" y="567"/>
                      </a:lnTo>
                      <a:lnTo>
                        <a:pt x="1380" y="567"/>
                      </a:lnTo>
                      <a:lnTo>
                        <a:pt x="1380" y="567"/>
                      </a:lnTo>
                      <a:lnTo>
                        <a:pt x="1393" y="552"/>
                      </a:lnTo>
                      <a:lnTo>
                        <a:pt x="1413" y="528"/>
                      </a:lnTo>
                      <a:lnTo>
                        <a:pt x="1422" y="517"/>
                      </a:lnTo>
                      <a:lnTo>
                        <a:pt x="1431" y="506"/>
                      </a:lnTo>
                      <a:lnTo>
                        <a:pt x="1434" y="497"/>
                      </a:lnTo>
                      <a:lnTo>
                        <a:pt x="1435" y="494"/>
                      </a:lnTo>
                      <a:lnTo>
                        <a:pt x="1435" y="491"/>
                      </a:lnTo>
                      <a:lnTo>
                        <a:pt x="1435" y="491"/>
                      </a:lnTo>
                      <a:lnTo>
                        <a:pt x="1427" y="481"/>
                      </a:lnTo>
                      <a:lnTo>
                        <a:pt x="1419" y="469"/>
                      </a:lnTo>
                      <a:lnTo>
                        <a:pt x="1410" y="457"/>
                      </a:lnTo>
                      <a:lnTo>
                        <a:pt x="1403" y="444"/>
                      </a:lnTo>
                      <a:lnTo>
                        <a:pt x="1399" y="438"/>
                      </a:lnTo>
                      <a:lnTo>
                        <a:pt x="1397" y="433"/>
                      </a:lnTo>
                      <a:lnTo>
                        <a:pt x="1396" y="426"/>
                      </a:lnTo>
                      <a:lnTo>
                        <a:pt x="1396" y="420"/>
                      </a:lnTo>
                      <a:lnTo>
                        <a:pt x="1397" y="414"/>
                      </a:lnTo>
                      <a:lnTo>
                        <a:pt x="1399" y="409"/>
                      </a:lnTo>
                      <a:lnTo>
                        <a:pt x="1404" y="405"/>
                      </a:lnTo>
                      <a:lnTo>
                        <a:pt x="1410" y="400"/>
                      </a:lnTo>
                      <a:lnTo>
                        <a:pt x="1410" y="400"/>
                      </a:lnTo>
                      <a:lnTo>
                        <a:pt x="1447" y="460"/>
                      </a:lnTo>
                      <a:lnTo>
                        <a:pt x="1447" y="460"/>
                      </a:lnTo>
                      <a:lnTo>
                        <a:pt x="1464" y="447"/>
                      </a:lnTo>
                      <a:lnTo>
                        <a:pt x="1487" y="430"/>
                      </a:lnTo>
                      <a:lnTo>
                        <a:pt x="1500" y="421"/>
                      </a:lnTo>
                      <a:lnTo>
                        <a:pt x="1509" y="412"/>
                      </a:lnTo>
                      <a:lnTo>
                        <a:pt x="1517" y="403"/>
                      </a:lnTo>
                      <a:lnTo>
                        <a:pt x="1519" y="399"/>
                      </a:lnTo>
                      <a:lnTo>
                        <a:pt x="1520" y="396"/>
                      </a:lnTo>
                      <a:lnTo>
                        <a:pt x="1520" y="396"/>
                      </a:lnTo>
                      <a:lnTo>
                        <a:pt x="1521" y="388"/>
                      </a:lnTo>
                      <a:lnTo>
                        <a:pt x="1521" y="381"/>
                      </a:lnTo>
                      <a:lnTo>
                        <a:pt x="1519" y="376"/>
                      </a:lnTo>
                      <a:lnTo>
                        <a:pt x="1517" y="371"/>
                      </a:lnTo>
                      <a:lnTo>
                        <a:pt x="1513" y="369"/>
                      </a:lnTo>
                      <a:lnTo>
                        <a:pt x="1510" y="367"/>
                      </a:lnTo>
                      <a:lnTo>
                        <a:pt x="1505" y="366"/>
                      </a:lnTo>
                      <a:lnTo>
                        <a:pt x="1501" y="366"/>
                      </a:lnTo>
                      <a:lnTo>
                        <a:pt x="1489" y="367"/>
                      </a:lnTo>
                      <a:lnTo>
                        <a:pt x="1478" y="369"/>
                      </a:lnTo>
                      <a:lnTo>
                        <a:pt x="1459" y="375"/>
                      </a:lnTo>
                      <a:lnTo>
                        <a:pt x="1459" y="375"/>
                      </a:lnTo>
                      <a:lnTo>
                        <a:pt x="1446" y="338"/>
                      </a:lnTo>
                      <a:lnTo>
                        <a:pt x="1441" y="323"/>
                      </a:lnTo>
                      <a:lnTo>
                        <a:pt x="1439" y="310"/>
                      </a:lnTo>
                      <a:lnTo>
                        <a:pt x="1439" y="305"/>
                      </a:lnTo>
                      <a:lnTo>
                        <a:pt x="1439" y="298"/>
                      </a:lnTo>
                      <a:lnTo>
                        <a:pt x="1440" y="291"/>
                      </a:lnTo>
                      <a:lnTo>
                        <a:pt x="1442" y="284"/>
                      </a:lnTo>
                      <a:lnTo>
                        <a:pt x="1449" y="269"/>
                      </a:lnTo>
                      <a:lnTo>
                        <a:pt x="1459" y="251"/>
                      </a:lnTo>
                      <a:lnTo>
                        <a:pt x="1459" y="251"/>
                      </a:lnTo>
                      <a:lnTo>
                        <a:pt x="1459" y="248"/>
                      </a:lnTo>
                      <a:lnTo>
                        <a:pt x="1459" y="246"/>
                      </a:lnTo>
                      <a:lnTo>
                        <a:pt x="1456" y="239"/>
                      </a:lnTo>
                      <a:lnTo>
                        <a:pt x="1449" y="231"/>
                      </a:lnTo>
                      <a:lnTo>
                        <a:pt x="1441" y="222"/>
                      </a:lnTo>
                      <a:lnTo>
                        <a:pt x="1425" y="206"/>
                      </a:lnTo>
                      <a:lnTo>
                        <a:pt x="1413" y="195"/>
                      </a:lnTo>
                      <a:lnTo>
                        <a:pt x="1413" y="195"/>
                      </a:lnTo>
                      <a:lnTo>
                        <a:pt x="1406" y="188"/>
                      </a:lnTo>
                      <a:lnTo>
                        <a:pt x="1401" y="184"/>
                      </a:lnTo>
                      <a:lnTo>
                        <a:pt x="1395" y="182"/>
                      </a:lnTo>
                      <a:lnTo>
                        <a:pt x="1390" y="182"/>
                      </a:lnTo>
                      <a:lnTo>
                        <a:pt x="1386" y="183"/>
                      </a:lnTo>
                      <a:lnTo>
                        <a:pt x="1380" y="186"/>
                      </a:lnTo>
                      <a:lnTo>
                        <a:pt x="1365" y="199"/>
                      </a:lnTo>
                      <a:lnTo>
                        <a:pt x="1365" y="199"/>
                      </a:lnTo>
                      <a:lnTo>
                        <a:pt x="1358" y="184"/>
                      </a:lnTo>
                      <a:lnTo>
                        <a:pt x="1353" y="171"/>
                      </a:lnTo>
                      <a:lnTo>
                        <a:pt x="1349" y="160"/>
                      </a:lnTo>
                      <a:lnTo>
                        <a:pt x="1344" y="150"/>
                      </a:lnTo>
                      <a:lnTo>
                        <a:pt x="1341" y="146"/>
                      </a:lnTo>
                      <a:lnTo>
                        <a:pt x="1337" y="144"/>
                      </a:lnTo>
                      <a:lnTo>
                        <a:pt x="1334" y="140"/>
                      </a:lnTo>
                      <a:lnTo>
                        <a:pt x="1329" y="138"/>
                      </a:lnTo>
                      <a:lnTo>
                        <a:pt x="1323" y="137"/>
                      </a:lnTo>
                      <a:lnTo>
                        <a:pt x="1318" y="137"/>
                      </a:lnTo>
                      <a:lnTo>
                        <a:pt x="1302" y="137"/>
                      </a:lnTo>
                      <a:lnTo>
                        <a:pt x="1302" y="137"/>
                      </a:lnTo>
                      <a:lnTo>
                        <a:pt x="1294" y="138"/>
                      </a:lnTo>
                      <a:lnTo>
                        <a:pt x="1285" y="138"/>
                      </a:lnTo>
                      <a:lnTo>
                        <a:pt x="1279" y="137"/>
                      </a:lnTo>
                      <a:lnTo>
                        <a:pt x="1274" y="134"/>
                      </a:lnTo>
                      <a:lnTo>
                        <a:pt x="1269" y="131"/>
                      </a:lnTo>
                      <a:lnTo>
                        <a:pt x="1266" y="127"/>
                      </a:lnTo>
                      <a:lnTo>
                        <a:pt x="1264" y="122"/>
                      </a:lnTo>
                      <a:lnTo>
                        <a:pt x="1261" y="117"/>
                      </a:lnTo>
                      <a:lnTo>
                        <a:pt x="1258" y="104"/>
                      </a:lnTo>
                      <a:lnTo>
                        <a:pt x="1257" y="89"/>
                      </a:lnTo>
                      <a:lnTo>
                        <a:pt x="1254" y="73"/>
                      </a:lnTo>
                      <a:lnTo>
                        <a:pt x="1251" y="56"/>
                      </a:lnTo>
                      <a:lnTo>
                        <a:pt x="1251" y="56"/>
                      </a:lnTo>
                      <a:lnTo>
                        <a:pt x="1192" y="97"/>
                      </a:lnTo>
                      <a:lnTo>
                        <a:pt x="1192" y="97"/>
                      </a:lnTo>
                      <a:lnTo>
                        <a:pt x="1190" y="100"/>
                      </a:lnTo>
                      <a:lnTo>
                        <a:pt x="1188" y="103"/>
                      </a:lnTo>
                      <a:lnTo>
                        <a:pt x="1186" y="107"/>
                      </a:lnTo>
                      <a:lnTo>
                        <a:pt x="1185" y="111"/>
                      </a:lnTo>
                      <a:lnTo>
                        <a:pt x="1185" y="119"/>
                      </a:lnTo>
                      <a:lnTo>
                        <a:pt x="1185" y="129"/>
                      </a:lnTo>
                      <a:lnTo>
                        <a:pt x="1185" y="135"/>
                      </a:lnTo>
                      <a:lnTo>
                        <a:pt x="1184" y="139"/>
                      </a:lnTo>
                      <a:lnTo>
                        <a:pt x="1183" y="141"/>
                      </a:lnTo>
                      <a:lnTo>
                        <a:pt x="1180" y="144"/>
                      </a:lnTo>
                      <a:lnTo>
                        <a:pt x="1176" y="145"/>
                      </a:lnTo>
                      <a:lnTo>
                        <a:pt x="1172" y="145"/>
                      </a:lnTo>
                      <a:lnTo>
                        <a:pt x="1166" y="144"/>
                      </a:lnTo>
                      <a:lnTo>
                        <a:pt x="1166" y="144"/>
                      </a:lnTo>
                      <a:lnTo>
                        <a:pt x="1165" y="135"/>
                      </a:lnTo>
                      <a:lnTo>
                        <a:pt x="1166" y="129"/>
                      </a:lnTo>
                      <a:lnTo>
                        <a:pt x="1168" y="115"/>
                      </a:lnTo>
                      <a:lnTo>
                        <a:pt x="1174" y="102"/>
                      </a:lnTo>
                      <a:lnTo>
                        <a:pt x="1180" y="89"/>
                      </a:lnTo>
                      <a:lnTo>
                        <a:pt x="1188" y="77"/>
                      </a:lnTo>
                      <a:lnTo>
                        <a:pt x="1197" y="65"/>
                      </a:lnTo>
                      <a:lnTo>
                        <a:pt x="1214" y="42"/>
                      </a:lnTo>
                      <a:lnTo>
                        <a:pt x="1214" y="42"/>
                      </a:lnTo>
                      <a:lnTo>
                        <a:pt x="1185" y="40"/>
                      </a:lnTo>
                      <a:lnTo>
                        <a:pt x="1170" y="40"/>
                      </a:lnTo>
                      <a:lnTo>
                        <a:pt x="1157" y="41"/>
                      </a:lnTo>
                      <a:lnTo>
                        <a:pt x="1143" y="43"/>
                      </a:lnTo>
                      <a:lnTo>
                        <a:pt x="1130" y="49"/>
                      </a:lnTo>
                      <a:lnTo>
                        <a:pt x="1124" y="53"/>
                      </a:lnTo>
                      <a:lnTo>
                        <a:pt x="1119" y="57"/>
                      </a:lnTo>
                      <a:lnTo>
                        <a:pt x="1113" y="62"/>
                      </a:lnTo>
                      <a:lnTo>
                        <a:pt x="1108" y="69"/>
                      </a:lnTo>
                      <a:lnTo>
                        <a:pt x="1108" y="69"/>
                      </a:lnTo>
                      <a:lnTo>
                        <a:pt x="1106" y="72"/>
                      </a:lnTo>
                      <a:lnTo>
                        <a:pt x="1104" y="79"/>
                      </a:lnTo>
                      <a:lnTo>
                        <a:pt x="1099" y="94"/>
                      </a:lnTo>
                      <a:lnTo>
                        <a:pt x="1094" y="115"/>
                      </a:lnTo>
                      <a:lnTo>
                        <a:pt x="1092" y="135"/>
                      </a:lnTo>
                      <a:lnTo>
                        <a:pt x="1091" y="155"/>
                      </a:lnTo>
                      <a:lnTo>
                        <a:pt x="1092" y="172"/>
                      </a:lnTo>
                      <a:lnTo>
                        <a:pt x="1093" y="179"/>
                      </a:lnTo>
                      <a:lnTo>
                        <a:pt x="1096" y="185"/>
                      </a:lnTo>
                      <a:lnTo>
                        <a:pt x="1098" y="188"/>
                      </a:lnTo>
                      <a:lnTo>
                        <a:pt x="1102" y="190"/>
                      </a:lnTo>
                      <a:lnTo>
                        <a:pt x="1102" y="190"/>
                      </a:lnTo>
                      <a:lnTo>
                        <a:pt x="1128" y="191"/>
                      </a:lnTo>
                      <a:lnTo>
                        <a:pt x="1152" y="194"/>
                      </a:lnTo>
                      <a:lnTo>
                        <a:pt x="1152" y="194"/>
                      </a:lnTo>
                      <a:lnTo>
                        <a:pt x="1145" y="206"/>
                      </a:lnTo>
                      <a:lnTo>
                        <a:pt x="1138" y="220"/>
                      </a:lnTo>
                      <a:lnTo>
                        <a:pt x="1130" y="234"/>
                      </a:lnTo>
                      <a:lnTo>
                        <a:pt x="1121" y="248"/>
                      </a:lnTo>
                      <a:lnTo>
                        <a:pt x="1112" y="261"/>
                      </a:lnTo>
                      <a:lnTo>
                        <a:pt x="1106" y="266"/>
                      </a:lnTo>
                      <a:lnTo>
                        <a:pt x="1100" y="269"/>
                      </a:lnTo>
                      <a:lnTo>
                        <a:pt x="1094" y="271"/>
                      </a:lnTo>
                      <a:lnTo>
                        <a:pt x="1089" y="272"/>
                      </a:lnTo>
                      <a:lnTo>
                        <a:pt x="1082" y="272"/>
                      </a:lnTo>
                      <a:lnTo>
                        <a:pt x="1075" y="269"/>
                      </a:lnTo>
                      <a:lnTo>
                        <a:pt x="1075" y="269"/>
                      </a:lnTo>
                      <a:lnTo>
                        <a:pt x="1083" y="258"/>
                      </a:lnTo>
                      <a:lnTo>
                        <a:pt x="1093" y="243"/>
                      </a:lnTo>
                      <a:lnTo>
                        <a:pt x="1097" y="236"/>
                      </a:lnTo>
                      <a:lnTo>
                        <a:pt x="1098" y="230"/>
                      </a:lnTo>
                      <a:lnTo>
                        <a:pt x="1098" y="226"/>
                      </a:lnTo>
                      <a:lnTo>
                        <a:pt x="1098" y="224"/>
                      </a:lnTo>
                      <a:lnTo>
                        <a:pt x="1097" y="222"/>
                      </a:lnTo>
                      <a:lnTo>
                        <a:pt x="1094" y="220"/>
                      </a:lnTo>
                      <a:lnTo>
                        <a:pt x="1094" y="220"/>
                      </a:lnTo>
                      <a:lnTo>
                        <a:pt x="1086" y="216"/>
                      </a:lnTo>
                      <a:lnTo>
                        <a:pt x="1081" y="213"/>
                      </a:lnTo>
                      <a:lnTo>
                        <a:pt x="1074" y="211"/>
                      </a:lnTo>
                      <a:lnTo>
                        <a:pt x="1068" y="211"/>
                      </a:lnTo>
                      <a:lnTo>
                        <a:pt x="1063" y="214"/>
                      </a:lnTo>
                      <a:lnTo>
                        <a:pt x="1058" y="218"/>
                      </a:lnTo>
                      <a:lnTo>
                        <a:pt x="1052" y="224"/>
                      </a:lnTo>
                      <a:lnTo>
                        <a:pt x="1046" y="232"/>
                      </a:lnTo>
                      <a:lnTo>
                        <a:pt x="1046" y="232"/>
                      </a:lnTo>
                      <a:lnTo>
                        <a:pt x="1047" y="206"/>
                      </a:lnTo>
                      <a:lnTo>
                        <a:pt x="1047" y="179"/>
                      </a:lnTo>
                      <a:lnTo>
                        <a:pt x="1047" y="152"/>
                      </a:lnTo>
                      <a:lnTo>
                        <a:pt x="1047" y="139"/>
                      </a:lnTo>
                      <a:lnTo>
                        <a:pt x="1045" y="127"/>
                      </a:lnTo>
                      <a:lnTo>
                        <a:pt x="1043" y="116"/>
                      </a:lnTo>
                      <a:lnTo>
                        <a:pt x="1038" y="108"/>
                      </a:lnTo>
                      <a:lnTo>
                        <a:pt x="1033" y="101"/>
                      </a:lnTo>
                      <a:lnTo>
                        <a:pt x="1030" y="97"/>
                      </a:lnTo>
                      <a:lnTo>
                        <a:pt x="1026" y="95"/>
                      </a:lnTo>
                      <a:lnTo>
                        <a:pt x="1022" y="94"/>
                      </a:lnTo>
                      <a:lnTo>
                        <a:pt x="1017" y="93"/>
                      </a:lnTo>
                      <a:lnTo>
                        <a:pt x="1013" y="93"/>
                      </a:lnTo>
                      <a:lnTo>
                        <a:pt x="1007" y="93"/>
                      </a:lnTo>
                      <a:lnTo>
                        <a:pt x="993" y="96"/>
                      </a:lnTo>
                      <a:lnTo>
                        <a:pt x="978" y="103"/>
                      </a:lnTo>
                      <a:lnTo>
                        <a:pt x="978" y="103"/>
                      </a:lnTo>
                      <a:lnTo>
                        <a:pt x="971" y="108"/>
                      </a:lnTo>
                      <a:lnTo>
                        <a:pt x="965" y="111"/>
                      </a:lnTo>
                      <a:lnTo>
                        <a:pt x="962" y="116"/>
                      </a:lnTo>
                      <a:lnTo>
                        <a:pt x="960" y="121"/>
                      </a:lnTo>
                      <a:lnTo>
                        <a:pt x="959" y="125"/>
                      </a:lnTo>
                      <a:lnTo>
                        <a:pt x="960" y="129"/>
                      </a:lnTo>
                      <a:lnTo>
                        <a:pt x="962" y="139"/>
                      </a:lnTo>
                      <a:lnTo>
                        <a:pt x="967" y="148"/>
                      </a:lnTo>
                      <a:lnTo>
                        <a:pt x="971" y="157"/>
                      </a:lnTo>
                      <a:lnTo>
                        <a:pt x="976" y="168"/>
                      </a:lnTo>
                      <a:lnTo>
                        <a:pt x="977" y="173"/>
                      </a:lnTo>
                      <a:lnTo>
                        <a:pt x="977" y="178"/>
                      </a:lnTo>
                      <a:lnTo>
                        <a:pt x="977" y="178"/>
                      </a:lnTo>
                      <a:lnTo>
                        <a:pt x="976" y="192"/>
                      </a:lnTo>
                      <a:lnTo>
                        <a:pt x="972" y="203"/>
                      </a:lnTo>
                      <a:lnTo>
                        <a:pt x="967" y="213"/>
                      </a:lnTo>
                      <a:lnTo>
                        <a:pt x="961" y="220"/>
                      </a:lnTo>
                      <a:lnTo>
                        <a:pt x="947" y="236"/>
                      </a:lnTo>
                      <a:lnTo>
                        <a:pt x="939" y="245"/>
                      </a:lnTo>
                      <a:lnTo>
                        <a:pt x="932" y="255"/>
                      </a:lnTo>
                      <a:lnTo>
                        <a:pt x="932" y="255"/>
                      </a:lnTo>
                      <a:lnTo>
                        <a:pt x="931" y="248"/>
                      </a:lnTo>
                      <a:lnTo>
                        <a:pt x="933" y="241"/>
                      </a:lnTo>
                      <a:lnTo>
                        <a:pt x="934" y="234"/>
                      </a:lnTo>
                      <a:lnTo>
                        <a:pt x="938" y="229"/>
                      </a:lnTo>
                      <a:lnTo>
                        <a:pt x="946" y="216"/>
                      </a:lnTo>
                      <a:lnTo>
                        <a:pt x="953" y="203"/>
                      </a:lnTo>
                      <a:lnTo>
                        <a:pt x="953" y="203"/>
                      </a:lnTo>
                      <a:lnTo>
                        <a:pt x="956" y="196"/>
                      </a:lnTo>
                      <a:lnTo>
                        <a:pt x="959" y="190"/>
                      </a:lnTo>
                      <a:lnTo>
                        <a:pt x="959" y="183"/>
                      </a:lnTo>
                      <a:lnTo>
                        <a:pt x="957" y="177"/>
                      </a:lnTo>
                      <a:lnTo>
                        <a:pt x="953" y="164"/>
                      </a:lnTo>
                      <a:lnTo>
                        <a:pt x="947" y="149"/>
                      </a:lnTo>
                      <a:lnTo>
                        <a:pt x="947" y="149"/>
                      </a:lnTo>
                      <a:lnTo>
                        <a:pt x="908" y="172"/>
                      </a:lnTo>
                      <a:lnTo>
                        <a:pt x="908" y="172"/>
                      </a:lnTo>
                      <a:lnTo>
                        <a:pt x="904" y="177"/>
                      </a:lnTo>
                      <a:lnTo>
                        <a:pt x="902" y="182"/>
                      </a:lnTo>
                      <a:lnTo>
                        <a:pt x="902" y="186"/>
                      </a:lnTo>
                      <a:lnTo>
                        <a:pt x="903" y="192"/>
                      </a:lnTo>
                      <a:lnTo>
                        <a:pt x="904" y="205"/>
                      </a:lnTo>
                      <a:lnTo>
                        <a:pt x="903" y="209"/>
                      </a:lnTo>
                      <a:lnTo>
                        <a:pt x="901" y="214"/>
                      </a:lnTo>
                      <a:lnTo>
                        <a:pt x="901" y="214"/>
                      </a:lnTo>
                      <a:lnTo>
                        <a:pt x="894" y="223"/>
                      </a:lnTo>
                      <a:lnTo>
                        <a:pt x="889" y="226"/>
                      </a:lnTo>
                      <a:lnTo>
                        <a:pt x="886" y="229"/>
                      </a:lnTo>
                      <a:lnTo>
                        <a:pt x="881" y="230"/>
                      </a:lnTo>
                      <a:lnTo>
                        <a:pt x="878" y="231"/>
                      </a:lnTo>
                      <a:lnTo>
                        <a:pt x="870" y="231"/>
                      </a:lnTo>
                      <a:lnTo>
                        <a:pt x="861" y="229"/>
                      </a:lnTo>
                      <a:lnTo>
                        <a:pt x="851" y="225"/>
                      </a:lnTo>
                      <a:lnTo>
                        <a:pt x="832" y="215"/>
                      </a:lnTo>
                      <a:lnTo>
                        <a:pt x="832" y="215"/>
                      </a:lnTo>
                      <a:lnTo>
                        <a:pt x="825" y="211"/>
                      </a:lnTo>
                      <a:lnTo>
                        <a:pt x="816" y="203"/>
                      </a:lnTo>
                      <a:lnTo>
                        <a:pt x="796" y="185"/>
                      </a:lnTo>
                      <a:lnTo>
                        <a:pt x="778" y="168"/>
                      </a:lnTo>
                      <a:lnTo>
                        <a:pt x="770" y="160"/>
                      </a:lnTo>
                      <a:lnTo>
                        <a:pt x="770" y="160"/>
                      </a:lnTo>
                      <a:lnTo>
                        <a:pt x="755" y="164"/>
                      </a:lnTo>
                      <a:lnTo>
                        <a:pt x="743" y="169"/>
                      </a:lnTo>
                      <a:lnTo>
                        <a:pt x="736" y="173"/>
                      </a:lnTo>
                      <a:lnTo>
                        <a:pt x="733" y="177"/>
                      </a:lnTo>
                      <a:lnTo>
                        <a:pt x="731" y="180"/>
                      </a:lnTo>
                      <a:lnTo>
                        <a:pt x="728" y="188"/>
                      </a:lnTo>
                      <a:lnTo>
                        <a:pt x="727" y="198"/>
                      </a:lnTo>
                      <a:lnTo>
                        <a:pt x="725" y="228"/>
                      </a:lnTo>
                      <a:lnTo>
                        <a:pt x="725" y="228"/>
                      </a:lnTo>
                      <a:lnTo>
                        <a:pt x="718" y="225"/>
                      </a:lnTo>
                      <a:lnTo>
                        <a:pt x="713" y="223"/>
                      </a:lnTo>
                      <a:lnTo>
                        <a:pt x="711" y="220"/>
                      </a:lnTo>
                      <a:lnTo>
                        <a:pt x="710" y="216"/>
                      </a:lnTo>
                      <a:lnTo>
                        <a:pt x="710" y="206"/>
                      </a:lnTo>
                      <a:lnTo>
                        <a:pt x="710" y="192"/>
                      </a:lnTo>
                      <a:lnTo>
                        <a:pt x="710" y="192"/>
                      </a:lnTo>
                      <a:lnTo>
                        <a:pt x="709" y="190"/>
                      </a:lnTo>
                      <a:lnTo>
                        <a:pt x="708" y="187"/>
                      </a:lnTo>
                      <a:lnTo>
                        <a:pt x="703" y="184"/>
                      </a:lnTo>
                      <a:lnTo>
                        <a:pt x="695" y="182"/>
                      </a:lnTo>
                      <a:lnTo>
                        <a:pt x="687" y="179"/>
                      </a:lnTo>
                      <a:lnTo>
                        <a:pt x="670" y="177"/>
                      </a:lnTo>
                      <a:lnTo>
                        <a:pt x="657" y="176"/>
                      </a:lnTo>
                      <a:lnTo>
                        <a:pt x="657" y="176"/>
                      </a:lnTo>
                      <a:lnTo>
                        <a:pt x="641" y="172"/>
                      </a:lnTo>
                      <a:lnTo>
                        <a:pt x="629" y="169"/>
                      </a:lnTo>
                      <a:lnTo>
                        <a:pt x="622" y="165"/>
                      </a:lnTo>
                      <a:lnTo>
                        <a:pt x="620" y="164"/>
                      </a:lnTo>
                      <a:lnTo>
                        <a:pt x="619" y="162"/>
                      </a:lnTo>
                      <a:lnTo>
                        <a:pt x="619" y="158"/>
                      </a:lnTo>
                      <a:lnTo>
                        <a:pt x="619" y="156"/>
                      </a:lnTo>
                      <a:lnTo>
                        <a:pt x="622" y="148"/>
                      </a:lnTo>
                      <a:lnTo>
                        <a:pt x="637" y="124"/>
                      </a:lnTo>
                      <a:lnTo>
                        <a:pt x="637" y="124"/>
                      </a:lnTo>
                      <a:lnTo>
                        <a:pt x="617" y="110"/>
                      </a:lnTo>
                      <a:lnTo>
                        <a:pt x="598" y="97"/>
                      </a:lnTo>
                      <a:lnTo>
                        <a:pt x="581" y="83"/>
                      </a:lnTo>
                      <a:lnTo>
                        <a:pt x="564" y="65"/>
                      </a:lnTo>
                      <a:lnTo>
                        <a:pt x="564" y="65"/>
                      </a:lnTo>
                      <a:lnTo>
                        <a:pt x="548" y="43"/>
                      </a:lnTo>
                      <a:lnTo>
                        <a:pt x="539" y="34"/>
                      </a:lnTo>
                      <a:lnTo>
                        <a:pt x="530" y="24"/>
                      </a:lnTo>
                      <a:lnTo>
                        <a:pt x="521" y="17"/>
                      </a:lnTo>
                      <a:lnTo>
                        <a:pt x="515" y="13"/>
                      </a:lnTo>
                      <a:lnTo>
                        <a:pt x="510" y="11"/>
                      </a:lnTo>
                      <a:lnTo>
                        <a:pt x="504" y="10"/>
                      </a:lnTo>
                      <a:lnTo>
                        <a:pt x="498" y="9"/>
                      </a:lnTo>
                      <a:lnTo>
                        <a:pt x="491" y="9"/>
                      </a:lnTo>
                      <a:lnTo>
                        <a:pt x="483" y="10"/>
                      </a:lnTo>
                      <a:lnTo>
                        <a:pt x="483" y="10"/>
                      </a:lnTo>
                      <a:lnTo>
                        <a:pt x="484" y="17"/>
                      </a:lnTo>
                      <a:lnTo>
                        <a:pt x="483" y="25"/>
                      </a:lnTo>
                      <a:lnTo>
                        <a:pt x="481" y="31"/>
                      </a:lnTo>
                      <a:lnTo>
                        <a:pt x="477" y="36"/>
                      </a:lnTo>
                      <a:lnTo>
                        <a:pt x="474" y="40"/>
                      </a:lnTo>
                      <a:lnTo>
                        <a:pt x="470" y="41"/>
                      </a:lnTo>
                      <a:lnTo>
                        <a:pt x="469" y="41"/>
                      </a:lnTo>
                      <a:lnTo>
                        <a:pt x="468" y="40"/>
                      </a:lnTo>
                      <a:lnTo>
                        <a:pt x="467" y="36"/>
                      </a:lnTo>
                      <a:lnTo>
                        <a:pt x="467" y="36"/>
                      </a:lnTo>
                      <a:lnTo>
                        <a:pt x="462" y="0"/>
                      </a:lnTo>
                      <a:lnTo>
                        <a:pt x="462" y="0"/>
                      </a:lnTo>
                      <a:lnTo>
                        <a:pt x="401" y="50"/>
                      </a:lnTo>
                      <a:lnTo>
                        <a:pt x="343" y="103"/>
                      </a:lnTo>
                      <a:lnTo>
                        <a:pt x="285" y="157"/>
                      </a:lnTo>
                      <a:lnTo>
                        <a:pt x="230" y="214"/>
                      </a:lnTo>
                      <a:lnTo>
                        <a:pt x="177" y="272"/>
                      </a:lnTo>
                      <a:lnTo>
                        <a:pt x="126" y="333"/>
                      </a:lnTo>
                      <a:lnTo>
                        <a:pt x="77" y="396"/>
                      </a:lnTo>
                      <a:lnTo>
                        <a:pt x="52" y="427"/>
                      </a:lnTo>
                      <a:lnTo>
                        <a:pt x="29" y="459"/>
                      </a:lnTo>
                      <a:lnTo>
                        <a:pt x="29" y="459"/>
                      </a:lnTo>
                      <a:lnTo>
                        <a:pt x="33" y="467"/>
                      </a:lnTo>
                      <a:lnTo>
                        <a:pt x="35" y="471"/>
                      </a:lnTo>
                      <a:lnTo>
                        <a:pt x="39" y="474"/>
                      </a:lnTo>
                      <a:lnTo>
                        <a:pt x="39" y="474"/>
                      </a:lnTo>
                      <a:lnTo>
                        <a:pt x="43" y="477"/>
                      </a:lnTo>
                      <a:lnTo>
                        <a:pt x="48" y="479"/>
                      </a:lnTo>
                      <a:lnTo>
                        <a:pt x="52" y="477"/>
                      </a:lnTo>
                      <a:lnTo>
                        <a:pt x="56" y="475"/>
                      </a:lnTo>
                      <a:lnTo>
                        <a:pt x="58" y="471"/>
                      </a:lnTo>
                      <a:lnTo>
                        <a:pt x="61" y="466"/>
                      </a:lnTo>
                      <a:lnTo>
                        <a:pt x="64" y="453"/>
                      </a:lnTo>
                      <a:lnTo>
                        <a:pt x="65" y="438"/>
                      </a:lnTo>
                      <a:lnTo>
                        <a:pt x="66" y="424"/>
                      </a:lnTo>
                      <a:lnTo>
                        <a:pt x="67" y="414"/>
                      </a:lnTo>
                      <a:lnTo>
                        <a:pt x="69" y="408"/>
                      </a:lnTo>
                      <a:lnTo>
                        <a:pt x="69" y="408"/>
                      </a:lnTo>
                      <a:lnTo>
                        <a:pt x="72" y="544"/>
                      </a:lnTo>
                      <a:lnTo>
                        <a:pt x="72" y="544"/>
                      </a:lnTo>
                      <a:lnTo>
                        <a:pt x="72" y="564"/>
                      </a:lnTo>
                      <a:lnTo>
                        <a:pt x="72" y="572"/>
                      </a:lnTo>
                      <a:lnTo>
                        <a:pt x="72" y="582"/>
                      </a:lnTo>
                      <a:lnTo>
                        <a:pt x="72" y="582"/>
                      </a:lnTo>
                      <a:lnTo>
                        <a:pt x="74" y="589"/>
                      </a:lnTo>
                      <a:lnTo>
                        <a:pt x="77" y="596"/>
                      </a:lnTo>
                      <a:lnTo>
                        <a:pt x="80" y="601"/>
                      </a:lnTo>
                      <a:lnTo>
                        <a:pt x="84" y="606"/>
                      </a:lnTo>
                      <a:lnTo>
                        <a:pt x="92" y="617"/>
                      </a:lnTo>
                      <a:lnTo>
                        <a:pt x="94" y="622"/>
                      </a:lnTo>
                      <a:lnTo>
                        <a:pt x="95" y="628"/>
                      </a:lnTo>
                      <a:lnTo>
                        <a:pt x="95" y="628"/>
                      </a:lnTo>
                      <a:lnTo>
                        <a:pt x="96" y="634"/>
                      </a:lnTo>
                      <a:lnTo>
                        <a:pt x="95" y="641"/>
                      </a:lnTo>
                      <a:lnTo>
                        <a:pt x="94" y="652"/>
                      </a:lnTo>
                      <a:lnTo>
                        <a:pt x="88" y="678"/>
                      </a:lnTo>
                      <a:lnTo>
                        <a:pt x="86" y="690"/>
                      </a:lnTo>
                      <a:lnTo>
                        <a:pt x="86" y="696"/>
                      </a:lnTo>
                      <a:lnTo>
                        <a:pt x="86" y="703"/>
                      </a:lnTo>
                      <a:lnTo>
                        <a:pt x="88" y="708"/>
                      </a:lnTo>
                      <a:lnTo>
                        <a:pt x="90" y="713"/>
                      </a:lnTo>
                      <a:lnTo>
                        <a:pt x="94" y="719"/>
                      </a:lnTo>
                      <a:lnTo>
                        <a:pt x="99" y="724"/>
                      </a:lnTo>
                      <a:lnTo>
                        <a:pt x="99" y="724"/>
                      </a:lnTo>
                      <a:lnTo>
                        <a:pt x="120" y="745"/>
                      </a:lnTo>
                      <a:lnTo>
                        <a:pt x="131" y="756"/>
                      </a:lnTo>
                      <a:lnTo>
                        <a:pt x="140" y="768"/>
                      </a:lnTo>
                      <a:lnTo>
                        <a:pt x="143" y="773"/>
                      </a:lnTo>
                      <a:lnTo>
                        <a:pt x="146" y="780"/>
                      </a:lnTo>
                      <a:lnTo>
                        <a:pt x="148" y="787"/>
                      </a:lnTo>
                      <a:lnTo>
                        <a:pt x="149" y="794"/>
                      </a:lnTo>
                      <a:lnTo>
                        <a:pt x="149" y="801"/>
                      </a:lnTo>
                      <a:lnTo>
                        <a:pt x="148" y="809"/>
                      </a:lnTo>
                      <a:lnTo>
                        <a:pt x="146" y="817"/>
                      </a:lnTo>
                      <a:lnTo>
                        <a:pt x="142" y="825"/>
                      </a:lnTo>
                      <a:lnTo>
                        <a:pt x="142" y="825"/>
                      </a:lnTo>
                      <a:lnTo>
                        <a:pt x="132" y="819"/>
                      </a:lnTo>
                      <a:lnTo>
                        <a:pt x="126" y="815"/>
                      </a:lnTo>
                      <a:lnTo>
                        <a:pt x="123" y="811"/>
                      </a:lnTo>
                      <a:lnTo>
                        <a:pt x="123" y="811"/>
                      </a:lnTo>
                      <a:lnTo>
                        <a:pt x="127" y="810"/>
                      </a:lnTo>
                      <a:lnTo>
                        <a:pt x="132" y="809"/>
                      </a:lnTo>
                      <a:lnTo>
                        <a:pt x="134" y="808"/>
                      </a:lnTo>
                      <a:lnTo>
                        <a:pt x="138" y="806"/>
                      </a:lnTo>
                      <a:lnTo>
                        <a:pt x="140" y="803"/>
                      </a:lnTo>
                      <a:lnTo>
                        <a:pt x="141" y="800"/>
                      </a:lnTo>
                      <a:lnTo>
                        <a:pt x="141" y="793"/>
                      </a:lnTo>
                      <a:lnTo>
                        <a:pt x="140" y="785"/>
                      </a:lnTo>
                      <a:lnTo>
                        <a:pt x="138" y="776"/>
                      </a:lnTo>
                      <a:lnTo>
                        <a:pt x="133" y="765"/>
                      </a:lnTo>
                      <a:lnTo>
                        <a:pt x="126" y="756"/>
                      </a:lnTo>
                      <a:lnTo>
                        <a:pt x="119" y="747"/>
                      </a:lnTo>
                      <a:lnTo>
                        <a:pt x="111" y="739"/>
                      </a:lnTo>
                      <a:lnTo>
                        <a:pt x="102" y="732"/>
                      </a:lnTo>
                      <a:lnTo>
                        <a:pt x="93" y="726"/>
                      </a:lnTo>
                      <a:lnTo>
                        <a:pt x="85" y="721"/>
                      </a:lnTo>
                      <a:lnTo>
                        <a:pt x="76" y="720"/>
                      </a:lnTo>
                      <a:lnTo>
                        <a:pt x="71" y="720"/>
                      </a:lnTo>
                      <a:lnTo>
                        <a:pt x="67" y="721"/>
                      </a:lnTo>
                      <a:lnTo>
                        <a:pt x="64" y="723"/>
                      </a:lnTo>
                      <a:lnTo>
                        <a:pt x="59" y="725"/>
                      </a:lnTo>
                      <a:lnTo>
                        <a:pt x="59" y="725"/>
                      </a:lnTo>
                      <a:lnTo>
                        <a:pt x="65" y="730"/>
                      </a:lnTo>
                      <a:lnTo>
                        <a:pt x="70" y="735"/>
                      </a:lnTo>
                      <a:lnTo>
                        <a:pt x="77" y="746"/>
                      </a:lnTo>
                      <a:lnTo>
                        <a:pt x="82" y="757"/>
                      </a:lnTo>
                      <a:lnTo>
                        <a:pt x="86" y="769"/>
                      </a:lnTo>
                      <a:lnTo>
                        <a:pt x="92" y="779"/>
                      </a:lnTo>
                      <a:lnTo>
                        <a:pt x="96" y="791"/>
                      </a:lnTo>
                      <a:lnTo>
                        <a:pt x="104" y="801"/>
                      </a:lnTo>
                      <a:lnTo>
                        <a:pt x="109" y="806"/>
                      </a:lnTo>
                      <a:lnTo>
                        <a:pt x="113" y="810"/>
                      </a:lnTo>
                      <a:lnTo>
                        <a:pt x="113" y="810"/>
                      </a:lnTo>
                      <a:lnTo>
                        <a:pt x="111" y="810"/>
                      </a:lnTo>
                      <a:lnTo>
                        <a:pt x="109" y="811"/>
                      </a:lnTo>
                      <a:lnTo>
                        <a:pt x="103" y="818"/>
                      </a:lnTo>
                      <a:lnTo>
                        <a:pt x="96" y="827"/>
                      </a:lnTo>
                      <a:lnTo>
                        <a:pt x="89" y="840"/>
                      </a:lnTo>
                      <a:lnTo>
                        <a:pt x="74" y="870"/>
                      </a:lnTo>
                      <a:lnTo>
                        <a:pt x="59" y="907"/>
                      </a:lnTo>
                      <a:lnTo>
                        <a:pt x="31" y="979"/>
                      </a:lnTo>
                      <a:lnTo>
                        <a:pt x="13" y="1024"/>
                      </a:lnTo>
                      <a:lnTo>
                        <a:pt x="13" y="1024"/>
                      </a:lnTo>
                      <a:lnTo>
                        <a:pt x="9" y="1038"/>
                      </a:lnTo>
                      <a:lnTo>
                        <a:pt x="4" y="1051"/>
                      </a:lnTo>
                      <a:lnTo>
                        <a:pt x="2" y="1065"/>
                      </a:lnTo>
                      <a:lnTo>
                        <a:pt x="0" y="1078"/>
                      </a:lnTo>
                      <a:lnTo>
                        <a:pt x="0" y="1092"/>
                      </a:lnTo>
                      <a:lnTo>
                        <a:pt x="0" y="1106"/>
                      </a:lnTo>
                      <a:lnTo>
                        <a:pt x="2" y="1135"/>
                      </a:lnTo>
                      <a:lnTo>
                        <a:pt x="6" y="1164"/>
                      </a:lnTo>
                      <a:lnTo>
                        <a:pt x="11" y="1192"/>
                      </a:lnTo>
                      <a:lnTo>
                        <a:pt x="17" y="1220"/>
                      </a:lnTo>
                      <a:lnTo>
                        <a:pt x="21" y="1249"/>
                      </a:lnTo>
                      <a:lnTo>
                        <a:pt x="21" y="1249"/>
                      </a:lnTo>
                      <a:lnTo>
                        <a:pt x="23" y="1253"/>
                      </a:lnTo>
                      <a:lnTo>
                        <a:pt x="25" y="1256"/>
                      </a:lnTo>
                      <a:lnTo>
                        <a:pt x="27" y="1259"/>
                      </a:lnTo>
                      <a:lnTo>
                        <a:pt x="32" y="1261"/>
                      </a:lnTo>
                      <a:lnTo>
                        <a:pt x="48" y="1268"/>
                      </a:lnTo>
                      <a:lnTo>
                        <a:pt x="48" y="1268"/>
                      </a:lnTo>
                      <a:lnTo>
                        <a:pt x="50" y="1271"/>
                      </a:lnTo>
                      <a:lnTo>
                        <a:pt x="52" y="1273"/>
                      </a:lnTo>
                      <a:lnTo>
                        <a:pt x="55" y="1279"/>
                      </a:lnTo>
                      <a:lnTo>
                        <a:pt x="57" y="1286"/>
                      </a:lnTo>
                      <a:lnTo>
                        <a:pt x="57" y="1294"/>
                      </a:lnTo>
                      <a:lnTo>
                        <a:pt x="58" y="1311"/>
                      </a:lnTo>
                      <a:lnTo>
                        <a:pt x="59" y="1325"/>
                      </a:lnTo>
                      <a:lnTo>
                        <a:pt x="59" y="1325"/>
                      </a:lnTo>
                      <a:lnTo>
                        <a:pt x="66" y="1351"/>
                      </a:lnTo>
                      <a:lnTo>
                        <a:pt x="74" y="1380"/>
                      </a:lnTo>
                      <a:lnTo>
                        <a:pt x="94" y="1436"/>
                      </a:lnTo>
                      <a:lnTo>
                        <a:pt x="94" y="1436"/>
                      </a:lnTo>
                      <a:lnTo>
                        <a:pt x="95" y="1442"/>
                      </a:lnTo>
                      <a:lnTo>
                        <a:pt x="94" y="1446"/>
                      </a:lnTo>
                      <a:lnTo>
                        <a:pt x="92" y="1448"/>
                      </a:lnTo>
                      <a:lnTo>
                        <a:pt x="89" y="1450"/>
                      </a:lnTo>
                      <a:lnTo>
                        <a:pt x="86" y="1451"/>
                      </a:lnTo>
                      <a:lnTo>
                        <a:pt x="84" y="1454"/>
                      </a:lnTo>
                      <a:lnTo>
                        <a:pt x="81" y="1457"/>
                      </a:lnTo>
                      <a:lnTo>
                        <a:pt x="80" y="1463"/>
                      </a:lnTo>
                      <a:lnTo>
                        <a:pt x="80" y="1463"/>
                      </a:lnTo>
                      <a:lnTo>
                        <a:pt x="82" y="1473"/>
                      </a:lnTo>
                      <a:lnTo>
                        <a:pt x="85" y="1480"/>
                      </a:lnTo>
                      <a:lnTo>
                        <a:pt x="89" y="1486"/>
                      </a:lnTo>
                      <a:lnTo>
                        <a:pt x="94" y="1489"/>
                      </a:lnTo>
                      <a:lnTo>
                        <a:pt x="99" y="1493"/>
                      </a:lnTo>
                      <a:lnTo>
                        <a:pt x="104" y="1496"/>
                      </a:lnTo>
                      <a:lnTo>
                        <a:pt x="110" y="1502"/>
                      </a:lnTo>
                      <a:lnTo>
                        <a:pt x="115" y="1510"/>
                      </a:lnTo>
                      <a:lnTo>
                        <a:pt x="115" y="1510"/>
                      </a:lnTo>
                      <a:lnTo>
                        <a:pt x="116" y="1516"/>
                      </a:lnTo>
                      <a:lnTo>
                        <a:pt x="116" y="1522"/>
                      </a:lnTo>
                      <a:lnTo>
                        <a:pt x="115" y="1535"/>
                      </a:lnTo>
                      <a:lnTo>
                        <a:pt x="113" y="1544"/>
                      </a:lnTo>
                      <a:lnTo>
                        <a:pt x="113" y="1549"/>
                      </a:lnTo>
                      <a:lnTo>
                        <a:pt x="115" y="1555"/>
                      </a:lnTo>
                      <a:lnTo>
                        <a:pt x="118" y="1560"/>
                      </a:lnTo>
                      <a:lnTo>
                        <a:pt x="118" y="1560"/>
                      </a:lnTo>
                      <a:lnTo>
                        <a:pt x="170" y="1609"/>
                      </a:lnTo>
                      <a:lnTo>
                        <a:pt x="170" y="1609"/>
                      </a:lnTo>
                      <a:lnTo>
                        <a:pt x="163" y="1567"/>
                      </a:lnTo>
                      <a:lnTo>
                        <a:pt x="157" y="1523"/>
                      </a:lnTo>
                      <a:lnTo>
                        <a:pt x="149" y="1480"/>
                      </a:lnTo>
                      <a:lnTo>
                        <a:pt x="143" y="1459"/>
                      </a:lnTo>
                      <a:lnTo>
                        <a:pt x="138" y="1439"/>
                      </a:lnTo>
                      <a:lnTo>
                        <a:pt x="138" y="1439"/>
                      </a:lnTo>
                      <a:lnTo>
                        <a:pt x="132" y="1417"/>
                      </a:lnTo>
                      <a:lnTo>
                        <a:pt x="130" y="1400"/>
                      </a:lnTo>
                      <a:lnTo>
                        <a:pt x="130" y="1380"/>
                      </a:lnTo>
                      <a:lnTo>
                        <a:pt x="131" y="1358"/>
                      </a:lnTo>
                      <a:lnTo>
                        <a:pt x="131" y="1358"/>
                      </a:lnTo>
                      <a:lnTo>
                        <a:pt x="132" y="1356"/>
                      </a:lnTo>
                      <a:lnTo>
                        <a:pt x="133" y="1354"/>
                      </a:lnTo>
                      <a:lnTo>
                        <a:pt x="135" y="1354"/>
                      </a:lnTo>
                      <a:lnTo>
                        <a:pt x="138" y="1354"/>
                      </a:lnTo>
                      <a:lnTo>
                        <a:pt x="142" y="1357"/>
                      </a:lnTo>
                      <a:lnTo>
                        <a:pt x="146" y="1362"/>
                      </a:lnTo>
                      <a:lnTo>
                        <a:pt x="146" y="1362"/>
                      </a:lnTo>
                      <a:lnTo>
                        <a:pt x="147" y="1367"/>
                      </a:lnTo>
                      <a:lnTo>
                        <a:pt x="148" y="1373"/>
                      </a:lnTo>
                      <a:lnTo>
                        <a:pt x="147" y="1385"/>
                      </a:lnTo>
                      <a:lnTo>
                        <a:pt x="142" y="1409"/>
                      </a:lnTo>
                      <a:lnTo>
                        <a:pt x="142" y="1409"/>
                      </a:lnTo>
                      <a:lnTo>
                        <a:pt x="142" y="1418"/>
                      </a:lnTo>
                      <a:lnTo>
                        <a:pt x="143" y="1427"/>
                      </a:lnTo>
                      <a:lnTo>
                        <a:pt x="147" y="1438"/>
                      </a:lnTo>
                      <a:lnTo>
                        <a:pt x="150" y="1449"/>
                      </a:lnTo>
                      <a:lnTo>
                        <a:pt x="162" y="1473"/>
                      </a:lnTo>
                      <a:lnTo>
                        <a:pt x="177" y="1499"/>
                      </a:lnTo>
                      <a:lnTo>
                        <a:pt x="192" y="1524"/>
                      </a:lnTo>
                      <a:lnTo>
                        <a:pt x="207" y="1547"/>
                      </a:lnTo>
                      <a:lnTo>
                        <a:pt x="221" y="1568"/>
                      </a:lnTo>
                      <a:lnTo>
                        <a:pt x="230" y="1585"/>
                      </a:lnTo>
                      <a:lnTo>
                        <a:pt x="230" y="1585"/>
                      </a:lnTo>
                      <a:lnTo>
                        <a:pt x="238" y="1603"/>
                      </a:lnTo>
                      <a:lnTo>
                        <a:pt x="241" y="1611"/>
                      </a:lnTo>
                      <a:lnTo>
                        <a:pt x="242" y="1620"/>
                      </a:lnTo>
                      <a:lnTo>
                        <a:pt x="245" y="1636"/>
                      </a:lnTo>
                      <a:lnTo>
                        <a:pt x="245" y="1656"/>
                      </a:lnTo>
                      <a:lnTo>
                        <a:pt x="245" y="1656"/>
                      </a:lnTo>
                      <a:lnTo>
                        <a:pt x="246" y="1670"/>
                      </a:lnTo>
                      <a:lnTo>
                        <a:pt x="248" y="1681"/>
                      </a:lnTo>
                      <a:lnTo>
                        <a:pt x="252" y="1690"/>
                      </a:lnTo>
                      <a:lnTo>
                        <a:pt x="256" y="1699"/>
                      </a:lnTo>
                      <a:lnTo>
                        <a:pt x="262" y="1707"/>
                      </a:lnTo>
                      <a:lnTo>
                        <a:pt x="270" y="1715"/>
                      </a:lnTo>
                      <a:lnTo>
                        <a:pt x="286" y="1735"/>
                      </a:lnTo>
                      <a:lnTo>
                        <a:pt x="286" y="1735"/>
                      </a:lnTo>
                      <a:lnTo>
                        <a:pt x="298" y="1747"/>
                      </a:lnTo>
                      <a:lnTo>
                        <a:pt x="313" y="1763"/>
                      </a:lnTo>
                      <a:lnTo>
                        <a:pt x="330" y="1781"/>
                      </a:lnTo>
                      <a:lnTo>
                        <a:pt x="351" y="1798"/>
                      </a:lnTo>
                      <a:lnTo>
                        <a:pt x="361" y="1806"/>
                      </a:lnTo>
                      <a:lnTo>
                        <a:pt x="371" y="1813"/>
                      </a:lnTo>
                      <a:lnTo>
                        <a:pt x="382" y="1819"/>
                      </a:lnTo>
                      <a:lnTo>
                        <a:pt x="392" y="1823"/>
                      </a:lnTo>
                      <a:lnTo>
                        <a:pt x="401" y="1827"/>
                      </a:lnTo>
                      <a:lnTo>
                        <a:pt x="411" y="1828"/>
                      </a:lnTo>
                      <a:lnTo>
                        <a:pt x="420" y="1827"/>
                      </a:lnTo>
                      <a:lnTo>
                        <a:pt x="427" y="1824"/>
                      </a:lnTo>
                      <a:lnTo>
                        <a:pt x="427" y="1824"/>
                      </a:lnTo>
                      <a:lnTo>
                        <a:pt x="440" y="1816"/>
                      </a:lnTo>
                      <a:lnTo>
                        <a:pt x="452" y="1813"/>
                      </a:lnTo>
                      <a:lnTo>
                        <a:pt x="457" y="1813"/>
                      </a:lnTo>
                      <a:lnTo>
                        <a:pt x="461" y="1813"/>
                      </a:lnTo>
                      <a:lnTo>
                        <a:pt x="465" y="1814"/>
                      </a:lnTo>
                      <a:lnTo>
                        <a:pt x="469" y="1815"/>
                      </a:lnTo>
                      <a:lnTo>
                        <a:pt x="476" y="1821"/>
                      </a:lnTo>
                      <a:lnTo>
                        <a:pt x="485" y="1828"/>
                      </a:lnTo>
                      <a:lnTo>
                        <a:pt x="495" y="1837"/>
                      </a:lnTo>
                      <a:lnTo>
                        <a:pt x="507" y="1847"/>
                      </a:lnTo>
                      <a:lnTo>
                        <a:pt x="507" y="1847"/>
                      </a:lnTo>
                      <a:lnTo>
                        <a:pt x="535" y="1868"/>
                      </a:lnTo>
                      <a:lnTo>
                        <a:pt x="549" y="1879"/>
                      </a:lnTo>
                      <a:lnTo>
                        <a:pt x="562" y="1888"/>
                      </a:lnTo>
                      <a:lnTo>
                        <a:pt x="562" y="1888"/>
                      </a:lnTo>
                      <a:lnTo>
                        <a:pt x="569" y="1891"/>
                      </a:lnTo>
                      <a:lnTo>
                        <a:pt x="577" y="1895"/>
                      </a:lnTo>
                      <a:lnTo>
                        <a:pt x="594" y="1900"/>
                      </a:lnTo>
                      <a:lnTo>
                        <a:pt x="610" y="1907"/>
                      </a:lnTo>
                      <a:lnTo>
                        <a:pt x="615" y="1912"/>
                      </a:lnTo>
                      <a:lnTo>
                        <a:pt x="621" y="1917"/>
                      </a:lnTo>
                      <a:lnTo>
                        <a:pt x="621" y="1917"/>
                      </a:lnTo>
                      <a:lnTo>
                        <a:pt x="625" y="1923"/>
                      </a:lnTo>
                      <a:lnTo>
                        <a:pt x="628" y="1930"/>
                      </a:lnTo>
                      <a:lnTo>
                        <a:pt x="629" y="1940"/>
                      </a:lnTo>
                      <a:lnTo>
                        <a:pt x="630" y="1949"/>
                      </a:lnTo>
                      <a:lnTo>
                        <a:pt x="633" y="1965"/>
                      </a:lnTo>
                      <a:lnTo>
                        <a:pt x="635" y="1972"/>
                      </a:lnTo>
                      <a:lnTo>
                        <a:pt x="638" y="1976"/>
                      </a:lnTo>
                      <a:lnTo>
                        <a:pt x="638" y="1976"/>
                      </a:lnTo>
                      <a:lnTo>
                        <a:pt x="656" y="1991"/>
                      </a:lnTo>
                      <a:lnTo>
                        <a:pt x="671" y="2004"/>
                      </a:lnTo>
                      <a:lnTo>
                        <a:pt x="685" y="2014"/>
                      </a:lnTo>
                      <a:lnTo>
                        <a:pt x="698" y="2022"/>
                      </a:lnTo>
                      <a:lnTo>
                        <a:pt x="713" y="2031"/>
                      </a:lnTo>
                      <a:lnTo>
                        <a:pt x="731" y="2036"/>
                      </a:lnTo>
                      <a:lnTo>
                        <a:pt x="749" y="2041"/>
                      </a:lnTo>
                      <a:lnTo>
                        <a:pt x="771" y="2046"/>
                      </a:lnTo>
                      <a:lnTo>
                        <a:pt x="771" y="2046"/>
                      </a:lnTo>
                      <a:lnTo>
                        <a:pt x="770" y="2039"/>
                      </a:lnTo>
                      <a:lnTo>
                        <a:pt x="771" y="2032"/>
                      </a:lnTo>
                      <a:lnTo>
                        <a:pt x="772" y="2026"/>
                      </a:lnTo>
                      <a:lnTo>
                        <a:pt x="773" y="2021"/>
                      </a:lnTo>
                      <a:lnTo>
                        <a:pt x="775" y="2017"/>
                      </a:lnTo>
                      <a:lnTo>
                        <a:pt x="779" y="2013"/>
                      </a:lnTo>
                      <a:lnTo>
                        <a:pt x="782" y="2011"/>
                      </a:lnTo>
                      <a:lnTo>
                        <a:pt x="787" y="2009"/>
                      </a:lnTo>
                      <a:lnTo>
                        <a:pt x="790" y="2008"/>
                      </a:lnTo>
                      <a:lnTo>
                        <a:pt x="795" y="2008"/>
                      </a:lnTo>
                      <a:lnTo>
                        <a:pt x="800" y="2009"/>
                      </a:lnTo>
                      <a:lnTo>
                        <a:pt x="804" y="2010"/>
                      </a:lnTo>
                      <a:lnTo>
                        <a:pt x="809" y="2013"/>
                      </a:lnTo>
                      <a:lnTo>
                        <a:pt x="813" y="2017"/>
                      </a:lnTo>
                      <a:lnTo>
                        <a:pt x="818" y="2021"/>
                      </a:lnTo>
                      <a:lnTo>
                        <a:pt x="822" y="2026"/>
                      </a:lnTo>
                      <a:lnTo>
                        <a:pt x="822" y="2026"/>
                      </a:lnTo>
                      <a:lnTo>
                        <a:pt x="826" y="2036"/>
                      </a:lnTo>
                      <a:lnTo>
                        <a:pt x="828" y="2048"/>
                      </a:lnTo>
                      <a:lnTo>
                        <a:pt x="830" y="2060"/>
                      </a:lnTo>
                      <a:lnTo>
                        <a:pt x="830" y="2073"/>
                      </a:lnTo>
                      <a:lnTo>
                        <a:pt x="827" y="2087"/>
                      </a:lnTo>
                      <a:lnTo>
                        <a:pt x="825" y="2100"/>
                      </a:lnTo>
                      <a:lnTo>
                        <a:pt x="823" y="2111"/>
                      </a:lnTo>
                      <a:lnTo>
                        <a:pt x="819" y="2122"/>
                      </a:lnTo>
                      <a:lnTo>
                        <a:pt x="819" y="2122"/>
                      </a:lnTo>
                      <a:lnTo>
                        <a:pt x="807" y="2151"/>
                      </a:lnTo>
                      <a:lnTo>
                        <a:pt x="801" y="2163"/>
                      </a:lnTo>
                      <a:lnTo>
                        <a:pt x="795" y="2174"/>
                      </a:lnTo>
                      <a:lnTo>
                        <a:pt x="788" y="2184"/>
                      </a:lnTo>
                      <a:lnTo>
                        <a:pt x="779" y="2193"/>
                      </a:lnTo>
                      <a:lnTo>
                        <a:pt x="767" y="2202"/>
                      </a:lnTo>
                      <a:lnTo>
                        <a:pt x="754" y="2211"/>
                      </a:lnTo>
                      <a:lnTo>
                        <a:pt x="754" y="2211"/>
                      </a:lnTo>
                      <a:lnTo>
                        <a:pt x="750" y="2214"/>
                      </a:lnTo>
                      <a:lnTo>
                        <a:pt x="748" y="2218"/>
                      </a:lnTo>
                      <a:lnTo>
                        <a:pt x="746" y="2222"/>
                      </a:lnTo>
                      <a:lnTo>
                        <a:pt x="743" y="2227"/>
                      </a:lnTo>
                      <a:lnTo>
                        <a:pt x="742" y="2238"/>
                      </a:lnTo>
                      <a:lnTo>
                        <a:pt x="742" y="2249"/>
                      </a:lnTo>
                      <a:lnTo>
                        <a:pt x="744" y="2261"/>
                      </a:lnTo>
                      <a:lnTo>
                        <a:pt x="748" y="2271"/>
                      </a:lnTo>
                      <a:lnTo>
                        <a:pt x="754" y="2279"/>
                      </a:lnTo>
                      <a:lnTo>
                        <a:pt x="757" y="2283"/>
                      </a:lnTo>
                      <a:lnTo>
                        <a:pt x="761" y="2285"/>
                      </a:lnTo>
                      <a:lnTo>
                        <a:pt x="761" y="2285"/>
                      </a:lnTo>
                      <a:lnTo>
                        <a:pt x="752" y="2293"/>
                      </a:lnTo>
                      <a:lnTo>
                        <a:pt x="746" y="2301"/>
                      </a:lnTo>
                      <a:lnTo>
                        <a:pt x="741" y="2308"/>
                      </a:lnTo>
                      <a:lnTo>
                        <a:pt x="737" y="2316"/>
                      </a:lnTo>
                      <a:lnTo>
                        <a:pt x="735" y="2323"/>
                      </a:lnTo>
                      <a:lnTo>
                        <a:pt x="734" y="2330"/>
                      </a:lnTo>
                      <a:lnTo>
                        <a:pt x="734" y="2337"/>
                      </a:lnTo>
                      <a:lnTo>
                        <a:pt x="735" y="2344"/>
                      </a:lnTo>
                      <a:lnTo>
                        <a:pt x="737" y="2352"/>
                      </a:lnTo>
                      <a:lnTo>
                        <a:pt x="741" y="2359"/>
                      </a:lnTo>
                      <a:lnTo>
                        <a:pt x="748" y="2375"/>
                      </a:lnTo>
                      <a:lnTo>
                        <a:pt x="769" y="2410"/>
                      </a:lnTo>
                      <a:lnTo>
                        <a:pt x="769" y="2410"/>
                      </a:lnTo>
                      <a:lnTo>
                        <a:pt x="780" y="2432"/>
                      </a:lnTo>
                      <a:lnTo>
                        <a:pt x="790" y="2457"/>
                      </a:lnTo>
                      <a:lnTo>
                        <a:pt x="803" y="2483"/>
                      </a:lnTo>
                      <a:lnTo>
                        <a:pt x="816" y="2511"/>
                      </a:lnTo>
                      <a:lnTo>
                        <a:pt x="830" y="2536"/>
                      </a:lnTo>
                      <a:lnTo>
                        <a:pt x="836" y="2549"/>
                      </a:lnTo>
                      <a:lnTo>
                        <a:pt x="845" y="2560"/>
                      </a:lnTo>
                      <a:lnTo>
                        <a:pt x="853" y="2571"/>
                      </a:lnTo>
                      <a:lnTo>
                        <a:pt x="862" y="2581"/>
                      </a:lnTo>
                      <a:lnTo>
                        <a:pt x="871" y="2589"/>
                      </a:lnTo>
                      <a:lnTo>
                        <a:pt x="880" y="2596"/>
                      </a:lnTo>
                      <a:lnTo>
                        <a:pt x="880" y="2596"/>
                      </a:lnTo>
                      <a:lnTo>
                        <a:pt x="899" y="2606"/>
                      </a:lnTo>
                      <a:lnTo>
                        <a:pt x="918" y="2618"/>
                      </a:lnTo>
                      <a:lnTo>
                        <a:pt x="939" y="2628"/>
                      </a:lnTo>
                      <a:lnTo>
                        <a:pt x="960" y="2640"/>
                      </a:lnTo>
                      <a:lnTo>
                        <a:pt x="969" y="2647"/>
                      </a:lnTo>
                      <a:lnTo>
                        <a:pt x="977" y="2653"/>
                      </a:lnTo>
                      <a:lnTo>
                        <a:pt x="985" y="2660"/>
                      </a:lnTo>
                      <a:lnTo>
                        <a:pt x="992" y="2668"/>
                      </a:lnTo>
                      <a:lnTo>
                        <a:pt x="998" y="2676"/>
                      </a:lnTo>
                      <a:lnTo>
                        <a:pt x="1002" y="2686"/>
                      </a:lnTo>
                      <a:lnTo>
                        <a:pt x="1006" y="2695"/>
                      </a:lnTo>
                      <a:lnTo>
                        <a:pt x="1007" y="2705"/>
                      </a:lnTo>
                      <a:lnTo>
                        <a:pt x="1007" y="2705"/>
                      </a:lnTo>
                      <a:lnTo>
                        <a:pt x="1018" y="2979"/>
                      </a:lnTo>
                      <a:lnTo>
                        <a:pt x="1018" y="2979"/>
                      </a:lnTo>
                      <a:lnTo>
                        <a:pt x="1030" y="3238"/>
                      </a:lnTo>
                      <a:lnTo>
                        <a:pt x="1030" y="3238"/>
                      </a:lnTo>
                      <a:lnTo>
                        <a:pt x="1031" y="3254"/>
                      </a:lnTo>
                      <a:lnTo>
                        <a:pt x="1032" y="3260"/>
                      </a:lnTo>
                      <a:lnTo>
                        <a:pt x="1035" y="3264"/>
                      </a:lnTo>
                      <a:lnTo>
                        <a:pt x="1037" y="3268"/>
                      </a:lnTo>
                      <a:lnTo>
                        <a:pt x="1041" y="3272"/>
                      </a:lnTo>
                      <a:lnTo>
                        <a:pt x="1056" y="3281"/>
                      </a:lnTo>
                      <a:lnTo>
                        <a:pt x="1056" y="3281"/>
                      </a:lnTo>
                      <a:lnTo>
                        <a:pt x="1062" y="3284"/>
                      </a:lnTo>
                      <a:lnTo>
                        <a:pt x="1066" y="3288"/>
                      </a:lnTo>
                      <a:lnTo>
                        <a:pt x="1068" y="3294"/>
                      </a:lnTo>
                      <a:lnTo>
                        <a:pt x="1070" y="3299"/>
                      </a:lnTo>
                      <a:lnTo>
                        <a:pt x="1071" y="3305"/>
                      </a:lnTo>
                      <a:lnTo>
                        <a:pt x="1073" y="3312"/>
                      </a:lnTo>
                      <a:lnTo>
                        <a:pt x="1073" y="3326"/>
                      </a:lnTo>
                      <a:lnTo>
                        <a:pt x="1071" y="3341"/>
                      </a:lnTo>
                      <a:lnTo>
                        <a:pt x="1069" y="3356"/>
                      </a:lnTo>
                      <a:lnTo>
                        <a:pt x="1068" y="3370"/>
                      </a:lnTo>
                      <a:lnTo>
                        <a:pt x="1067" y="3382"/>
                      </a:lnTo>
                      <a:lnTo>
                        <a:pt x="1067" y="3382"/>
                      </a:lnTo>
                      <a:lnTo>
                        <a:pt x="1066" y="3387"/>
                      </a:lnTo>
                      <a:lnTo>
                        <a:pt x="1063" y="3390"/>
                      </a:lnTo>
                      <a:lnTo>
                        <a:pt x="1061" y="3394"/>
                      </a:lnTo>
                      <a:lnTo>
                        <a:pt x="1058" y="3396"/>
                      </a:lnTo>
                      <a:lnTo>
                        <a:pt x="1043" y="3408"/>
                      </a:lnTo>
                      <a:lnTo>
                        <a:pt x="1040" y="3410"/>
                      </a:lnTo>
                      <a:lnTo>
                        <a:pt x="1038" y="3413"/>
                      </a:lnTo>
                      <a:lnTo>
                        <a:pt x="1037" y="3417"/>
                      </a:lnTo>
                      <a:lnTo>
                        <a:pt x="1037" y="3420"/>
                      </a:lnTo>
                      <a:lnTo>
                        <a:pt x="1038" y="3424"/>
                      </a:lnTo>
                      <a:lnTo>
                        <a:pt x="1040" y="3428"/>
                      </a:lnTo>
                      <a:lnTo>
                        <a:pt x="1046" y="3433"/>
                      </a:lnTo>
                      <a:lnTo>
                        <a:pt x="1053" y="3439"/>
                      </a:lnTo>
                      <a:lnTo>
                        <a:pt x="1053" y="3439"/>
                      </a:lnTo>
                      <a:lnTo>
                        <a:pt x="1063" y="3447"/>
                      </a:lnTo>
                      <a:lnTo>
                        <a:pt x="1071" y="3454"/>
                      </a:lnTo>
                      <a:lnTo>
                        <a:pt x="1077" y="3461"/>
                      </a:lnTo>
                      <a:lnTo>
                        <a:pt x="1079" y="3467"/>
                      </a:lnTo>
                      <a:lnTo>
                        <a:pt x="1081" y="3471"/>
                      </a:lnTo>
                      <a:lnTo>
                        <a:pt x="1081" y="3474"/>
                      </a:lnTo>
                      <a:lnTo>
                        <a:pt x="1077" y="3484"/>
                      </a:lnTo>
                      <a:lnTo>
                        <a:pt x="1071" y="3494"/>
                      </a:lnTo>
                      <a:lnTo>
                        <a:pt x="1063" y="3505"/>
                      </a:lnTo>
                      <a:lnTo>
                        <a:pt x="1063" y="3505"/>
                      </a:lnTo>
                      <a:lnTo>
                        <a:pt x="1061" y="3509"/>
                      </a:lnTo>
                      <a:lnTo>
                        <a:pt x="1060" y="3512"/>
                      </a:lnTo>
                      <a:lnTo>
                        <a:pt x="1060" y="3517"/>
                      </a:lnTo>
                      <a:lnTo>
                        <a:pt x="1060" y="3522"/>
                      </a:lnTo>
                      <a:lnTo>
                        <a:pt x="1062" y="3531"/>
                      </a:lnTo>
                      <a:lnTo>
                        <a:pt x="1068" y="3541"/>
                      </a:lnTo>
                      <a:lnTo>
                        <a:pt x="1075" y="3551"/>
                      </a:lnTo>
                      <a:lnTo>
                        <a:pt x="1084" y="3562"/>
                      </a:lnTo>
                      <a:lnTo>
                        <a:pt x="1094" y="3573"/>
                      </a:lnTo>
                      <a:lnTo>
                        <a:pt x="1106" y="3585"/>
                      </a:lnTo>
                      <a:lnTo>
                        <a:pt x="1129" y="3606"/>
                      </a:lnTo>
                      <a:lnTo>
                        <a:pt x="1153" y="3625"/>
                      </a:lnTo>
                      <a:lnTo>
                        <a:pt x="1173" y="3639"/>
                      </a:lnTo>
                      <a:lnTo>
                        <a:pt x="1186" y="3648"/>
                      </a:lnTo>
                      <a:lnTo>
                        <a:pt x="1186" y="3648"/>
                      </a:lnTo>
                      <a:lnTo>
                        <a:pt x="1186" y="3636"/>
                      </a:lnTo>
                      <a:lnTo>
                        <a:pt x="1188" y="3624"/>
                      </a:lnTo>
                      <a:lnTo>
                        <a:pt x="1191" y="3614"/>
                      </a:lnTo>
                      <a:lnTo>
                        <a:pt x="1196" y="3604"/>
                      </a:lnTo>
                      <a:lnTo>
                        <a:pt x="1203" y="3596"/>
                      </a:lnTo>
                      <a:lnTo>
                        <a:pt x="1208" y="3588"/>
                      </a:lnTo>
                      <a:lnTo>
                        <a:pt x="1223" y="3571"/>
                      </a:lnTo>
                      <a:lnTo>
                        <a:pt x="1223" y="3571"/>
                      </a:lnTo>
                      <a:lnTo>
                        <a:pt x="1216" y="3566"/>
                      </a:lnTo>
                      <a:lnTo>
                        <a:pt x="1212" y="3561"/>
                      </a:lnTo>
                      <a:lnTo>
                        <a:pt x="1208" y="3556"/>
                      </a:lnTo>
                      <a:lnTo>
                        <a:pt x="1206" y="3550"/>
                      </a:lnTo>
                      <a:lnTo>
                        <a:pt x="1205" y="3545"/>
                      </a:lnTo>
                      <a:lnTo>
                        <a:pt x="1205" y="3540"/>
                      </a:lnTo>
                      <a:lnTo>
                        <a:pt x="1205" y="3534"/>
                      </a:lnTo>
                      <a:lnTo>
                        <a:pt x="1207" y="3528"/>
                      </a:lnTo>
                      <a:lnTo>
                        <a:pt x="1212" y="3518"/>
                      </a:lnTo>
                      <a:lnTo>
                        <a:pt x="1220" y="3507"/>
                      </a:lnTo>
                      <a:lnTo>
                        <a:pt x="1227" y="3495"/>
                      </a:lnTo>
                      <a:lnTo>
                        <a:pt x="1234" y="3482"/>
                      </a:lnTo>
                      <a:lnTo>
                        <a:pt x="1234" y="3482"/>
                      </a:lnTo>
                      <a:lnTo>
                        <a:pt x="1239" y="3471"/>
                      </a:lnTo>
                      <a:lnTo>
                        <a:pt x="1245" y="3458"/>
                      </a:lnTo>
                      <a:lnTo>
                        <a:pt x="1254" y="3433"/>
                      </a:lnTo>
                      <a:lnTo>
                        <a:pt x="1254" y="3433"/>
                      </a:lnTo>
                      <a:lnTo>
                        <a:pt x="1254" y="3429"/>
                      </a:lnTo>
                      <a:lnTo>
                        <a:pt x="1254" y="3427"/>
                      </a:lnTo>
                      <a:lnTo>
                        <a:pt x="1251" y="3423"/>
                      </a:lnTo>
                      <a:lnTo>
                        <a:pt x="1246" y="3419"/>
                      </a:lnTo>
                      <a:lnTo>
                        <a:pt x="1239" y="3414"/>
                      </a:lnTo>
                      <a:lnTo>
                        <a:pt x="1226" y="3406"/>
                      </a:lnTo>
                      <a:lnTo>
                        <a:pt x="1221" y="3402"/>
                      </a:lnTo>
                      <a:lnTo>
                        <a:pt x="1219" y="3397"/>
                      </a:lnTo>
                      <a:lnTo>
                        <a:pt x="1219" y="3397"/>
                      </a:lnTo>
                      <a:lnTo>
                        <a:pt x="1216" y="3391"/>
                      </a:lnTo>
                      <a:lnTo>
                        <a:pt x="1216" y="3385"/>
                      </a:lnTo>
                      <a:lnTo>
                        <a:pt x="1218" y="3378"/>
                      </a:lnTo>
                      <a:lnTo>
                        <a:pt x="1220" y="3371"/>
                      </a:lnTo>
                      <a:lnTo>
                        <a:pt x="1224" y="3357"/>
                      </a:lnTo>
                      <a:lnTo>
                        <a:pt x="1230" y="3342"/>
                      </a:lnTo>
                      <a:lnTo>
                        <a:pt x="1237" y="3327"/>
                      </a:lnTo>
                      <a:lnTo>
                        <a:pt x="1242" y="3313"/>
                      </a:lnTo>
                      <a:lnTo>
                        <a:pt x="1243" y="3305"/>
                      </a:lnTo>
                      <a:lnTo>
                        <a:pt x="1244" y="3298"/>
                      </a:lnTo>
                      <a:lnTo>
                        <a:pt x="1244" y="3290"/>
                      </a:lnTo>
                      <a:lnTo>
                        <a:pt x="1242" y="3283"/>
                      </a:lnTo>
                      <a:lnTo>
                        <a:pt x="1242" y="3283"/>
                      </a:lnTo>
                      <a:lnTo>
                        <a:pt x="1241" y="3273"/>
                      </a:lnTo>
                      <a:lnTo>
                        <a:pt x="1241" y="3266"/>
                      </a:lnTo>
                      <a:lnTo>
                        <a:pt x="1242" y="3262"/>
                      </a:lnTo>
                      <a:lnTo>
                        <a:pt x="1244" y="3260"/>
                      </a:lnTo>
                      <a:lnTo>
                        <a:pt x="1249" y="3257"/>
                      </a:lnTo>
                      <a:lnTo>
                        <a:pt x="1254" y="3254"/>
                      </a:lnTo>
                      <a:lnTo>
                        <a:pt x="1262" y="3252"/>
                      </a:lnTo>
                      <a:lnTo>
                        <a:pt x="1282" y="3246"/>
                      </a:lnTo>
                      <a:lnTo>
                        <a:pt x="1282" y="3246"/>
                      </a:lnTo>
                      <a:lnTo>
                        <a:pt x="1283" y="3245"/>
                      </a:lnTo>
                      <a:lnTo>
                        <a:pt x="1285" y="3244"/>
                      </a:lnTo>
                      <a:lnTo>
                        <a:pt x="1287" y="3238"/>
                      </a:lnTo>
                      <a:lnTo>
                        <a:pt x="1287" y="3231"/>
                      </a:lnTo>
                      <a:lnTo>
                        <a:pt x="1285" y="3223"/>
                      </a:lnTo>
                      <a:lnTo>
                        <a:pt x="1281" y="3207"/>
                      </a:lnTo>
                      <a:lnTo>
                        <a:pt x="1279" y="3195"/>
                      </a:lnTo>
                      <a:lnTo>
                        <a:pt x="1279" y="3195"/>
                      </a:lnTo>
                      <a:lnTo>
                        <a:pt x="1292" y="3196"/>
                      </a:lnTo>
                      <a:lnTo>
                        <a:pt x="1305" y="3195"/>
                      </a:lnTo>
                      <a:lnTo>
                        <a:pt x="1317" y="3191"/>
                      </a:lnTo>
                      <a:lnTo>
                        <a:pt x="1326" y="3185"/>
                      </a:lnTo>
                      <a:lnTo>
                        <a:pt x="1334" y="3178"/>
                      </a:lnTo>
                      <a:lnTo>
                        <a:pt x="1342" y="3169"/>
                      </a:lnTo>
                      <a:lnTo>
                        <a:pt x="1349" y="3159"/>
                      </a:lnTo>
                      <a:lnTo>
                        <a:pt x="1357" y="3147"/>
                      </a:lnTo>
                      <a:lnTo>
                        <a:pt x="1357" y="3147"/>
                      </a:lnTo>
                      <a:lnTo>
                        <a:pt x="1364" y="3132"/>
                      </a:lnTo>
                      <a:lnTo>
                        <a:pt x="1368" y="3121"/>
                      </a:lnTo>
                      <a:lnTo>
                        <a:pt x="1370" y="3116"/>
                      </a:lnTo>
                      <a:lnTo>
                        <a:pt x="1370" y="3112"/>
                      </a:lnTo>
                      <a:lnTo>
                        <a:pt x="1370" y="3107"/>
                      </a:lnTo>
                      <a:lnTo>
                        <a:pt x="1367" y="3104"/>
                      </a:lnTo>
                      <a:lnTo>
                        <a:pt x="1363" y="3096"/>
                      </a:lnTo>
                      <a:lnTo>
                        <a:pt x="1356" y="3086"/>
                      </a:lnTo>
                      <a:lnTo>
                        <a:pt x="1335" y="3063"/>
                      </a:lnTo>
                      <a:lnTo>
                        <a:pt x="1335" y="3063"/>
                      </a:lnTo>
                      <a:lnTo>
                        <a:pt x="1350" y="3068"/>
                      </a:lnTo>
                      <a:lnTo>
                        <a:pt x="1365" y="3074"/>
                      </a:lnTo>
                      <a:lnTo>
                        <a:pt x="1373" y="3075"/>
                      </a:lnTo>
                      <a:lnTo>
                        <a:pt x="1380" y="3075"/>
                      </a:lnTo>
                      <a:lnTo>
                        <a:pt x="1387" y="3073"/>
                      </a:lnTo>
                      <a:lnTo>
                        <a:pt x="1393" y="3068"/>
                      </a:lnTo>
                      <a:lnTo>
                        <a:pt x="1393" y="3068"/>
                      </a:lnTo>
                      <a:lnTo>
                        <a:pt x="1409" y="3053"/>
                      </a:lnTo>
                      <a:lnTo>
                        <a:pt x="1425" y="3038"/>
                      </a:lnTo>
                      <a:lnTo>
                        <a:pt x="1441" y="3022"/>
                      </a:lnTo>
                      <a:lnTo>
                        <a:pt x="1449" y="3014"/>
                      </a:lnTo>
                      <a:lnTo>
                        <a:pt x="1455" y="3006"/>
                      </a:lnTo>
                      <a:lnTo>
                        <a:pt x="1455" y="3006"/>
                      </a:lnTo>
                      <a:lnTo>
                        <a:pt x="1466" y="2988"/>
                      </a:lnTo>
                      <a:lnTo>
                        <a:pt x="1477" y="2971"/>
                      </a:lnTo>
                      <a:lnTo>
                        <a:pt x="1485" y="2953"/>
                      </a:lnTo>
                      <a:lnTo>
                        <a:pt x="1492" y="2934"/>
                      </a:lnTo>
                      <a:lnTo>
                        <a:pt x="1497" y="2915"/>
                      </a:lnTo>
                      <a:lnTo>
                        <a:pt x="1502" y="2895"/>
                      </a:lnTo>
                      <a:lnTo>
                        <a:pt x="1504" y="2874"/>
                      </a:lnTo>
                      <a:lnTo>
                        <a:pt x="1505" y="2854"/>
                      </a:lnTo>
                      <a:lnTo>
                        <a:pt x="1505" y="2854"/>
                      </a:lnTo>
                      <a:lnTo>
                        <a:pt x="1507" y="2847"/>
                      </a:lnTo>
                      <a:lnTo>
                        <a:pt x="1509" y="2839"/>
                      </a:lnTo>
                      <a:lnTo>
                        <a:pt x="1512" y="2832"/>
                      </a:lnTo>
                      <a:lnTo>
                        <a:pt x="1517" y="2824"/>
                      </a:lnTo>
                      <a:lnTo>
                        <a:pt x="1523" y="2817"/>
                      </a:lnTo>
                      <a:lnTo>
                        <a:pt x="1528" y="2810"/>
                      </a:lnTo>
                      <a:lnTo>
                        <a:pt x="1536" y="2804"/>
                      </a:lnTo>
                      <a:lnTo>
                        <a:pt x="1543" y="2797"/>
                      </a:lnTo>
                      <a:lnTo>
                        <a:pt x="1561" y="2787"/>
                      </a:lnTo>
                      <a:lnTo>
                        <a:pt x="1578" y="2779"/>
                      </a:lnTo>
                      <a:lnTo>
                        <a:pt x="1587" y="2775"/>
                      </a:lnTo>
                      <a:lnTo>
                        <a:pt x="1596" y="2773"/>
                      </a:lnTo>
                      <a:lnTo>
                        <a:pt x="1604" y="2772"/>
                      </a:lnTo>
                      <a:lnTo>
                        <a:pt x="1612" y="2772"/>
                      </a:lnTo>
                      <a:lnTo>
                        <a:pt x="1612" y="2772"/>
                      </a:lnTo>
                      <a:lnTo>
                        <a:pt x="1623" y="2771"/>
                      </a:lnTo>
                      <a:lnTo>
                        <a:pt x="1633" y="2769"/>
                      </a:lnTo>
                      <a:lnTo>
                        <a:pt x="1642" y="2765"/>
                      </a:lnTo>
                      <a:lnTo>
                        <a:pt x="1650" y="2760"/>
                      </a:lnTo>
                      <a:lnTo>
                        <a:pt x="1657" y="2755"/>
                      </a:lnTo>
                      <a:lnTo>
                        <a:pt x="1663" y="2748"/>
                      </a:lnTo>
                      <a:lnTo>
                        <a:pt x="1669" y="2740"/>
                      </a:lnTo>
                      <a:lnTo>
                        <a:pt x="1673" y="2732"/>
                      </a:lnTo>
                      <a:lnTo>
                        <a:pt x="1678" y="2723"/>
                      </a:lnTo>
                      <a:lnTo>
                        <a:pt x="1682" y="2713"/>
                      </a:lnTo>
                      <a:lnTo>
                        <a:pt x="1686" y="2693"/>
                      </a:lnTo>
                      <a:lnTo>
                        <a:pt x="1690" y="2672"/>
                      </a:lnTo>
                      <a:lnTo>
                        <a:pt x="1692" y="2651"/>
                      </a:lnTo>
                      <a:lnTo>
                        <a:pt x="1692" y="2651"/>
                      </a:lnTo>
                      <a:lnTo>
                        <a:pt x="1695" y="2610"/>
                      </a:lnTo>
                      <a:lnTo>
                        <a:pt x="1696" y="2589"/>
                      </a:lnTo>
                      <a:lnTo>
                        <a:pt x="1696" y="2568"/>
                      </a:lnTo>
                      <a:lnTo>
                        <a:pt x="1696" y="2568"/>
                      </a:lnTo>
                      <a:lnTo>
                        <a:pt x="1694" y="2556"/>
                      </a:lnTo>
                      <a:lnTo>
                        <a:pt x="1692" y="2547"/>
                      </a:lnTo>
                      <a:lnTo>
                        <a:pt x="1687" y="2538"/>
                      </a:lnTo>
                      <a:lnTo>
                        <a:pt x="1686" y="2535"/>
                      </a:lnTo>
                      <a:lnTo>
                        <a:pt x="1688" y="2530"/>
                      </a:lnTo>
                      <a:lnTo>
                        <a:pt x="1695" y="2523"/>
                      </a:lnTo>
                      <a:lnTo>
                        <a:pt x="1706" y="2513"/>
                      </a:lnTo>
                      <a:lnTo>
                        <a:pt x="1706" y="2513"/>
                      </a:lnTo>
                      <a:lnTo>
                        <a:pt x="1723" y="2499"/>
                      </a:lnTo>
                      <a:lnTo>
                        <a:pt x="1744" y="2483"/>
                      </a:lnTo>
                      <a:lnTo>
                        <a:pt x="1754" y="2475"/>
                      </a:lnTo>
                      <a:lnTo>
                        <a:pt x="1763" y="2467"/>
                      </a:lnTo>
                      <a:lnTo>
                        <a:pt x="1771" y="2458"/>
                      </a:lnTo>
                      <a:lnTo>
                        <a:pt x="1776" y="2448"/>
                      </a:lnTo>
                      <a:lnTo>
                        <a:pt x="1776" y="2448"/>
                      </a:lnTo>
                      <a:lnTo>
                        <a:pt x="1779" y="2439"/>
                      </a:lnTo>
                      <a:lnTo>
                        <a:pt x="1781" y="2429"/>
                      </a:lnTo>
                      <a:lnTo>
                        <a:pt x="1782" y="2416"/>
                      </a:lnTo>
                      <a:lnTo>
                        <a:pt x="1782" y="2404"/>
                      </a:lnTo>
                      <a:lnTo>
                        <a:pt x="1781" y="2378"/>
                      </a:lnTo>
                      <a:lnTo>
                        <a:pt x="1779" y="2356"/>
                      </a:lnTo>
                      <a:lnTo>
                        <a:pt x="1779" y="2356"/>
                      </a:lnTo>
                      <a:close/>
                      <a:moveTo>
                        <a:pt x="1064" y="1054"/>
                      </a:moveTo>
                      <a:lnTo>
                        <a:pt x="1064" y="1054"/>
                      </a:lnTo>
                      <a:lnTo>
                        <a:pt x="1041" y="1069"/>
                      </a:lnTo>
                      <a:lnTo>
                        <a:pt x="1041" y="1069"/>
                      </a:lnTo>
                      <a:lnTo>
                        <a:pt x="1064" y="1054"/>
                      </a:lnTo>
                      <a:lnTo>
                        <a:pt x="1064" y="1054"/>
                      </a:lnTo>
                      <a:close/>
                      <a:moveTo>
                        <a:pt x="917" y="2278"/>
                      </a:moveTo>
                      <a:lnTo>
                        <a:pt x="917" y="2278"/>
                      </a:lnTo>
                      <a:lnTo>
                        <a:pt x="917" y="2279"/>
                      </a:lnTo>
                      <a:lnTo>
                        <a:pt x="917" y="2279"/>
                      </a:lnTo>
                      <a:lnTo>
                        <a:pt x="917" y="2278"/>
                      </a:lnTo>
                      <a:lnTo>
                        <a:pt x="917" y="2278"/>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1" name="Freeform 400"/>
                <p:cNvSpPr>
                  <a:spLocks/>
                </p:cNvSpPr>
                <p:nvPr/>
              </p:nvSpPr>
              <p:spPr bwMode="auto">
                <a:xfrm>
                  <a:off x="2889250" y="384175"/>
                  <a:ext cx="49213" cy="31750"/>
                </a:xfrm>
                <a:custGeom>
                  <a:avLst/>
                  <a:gdLst>
                    <a:gd name="T0" fmla="*/ 65 w 219"/>
                    <a:gd name="T1" fmla="*/ 123 h 137"/>
                    <a:gd name="T2" fmla="*/ 65 w 219"/>
                    <a:gd name="T3" fmla="*/ 123 h 137"/>
                    <a:gd name="T4" fmla="*/ 68 w 219"/>
                    <a:gd name="T5" fmla="*/ 119 h 137"/>
                    <a:gd name="T6" fmla="*/ 73 w 219"/>
                    <a:gd name="T7" fmla="*/ 114 h 137"/>
                    <a:gd name="T8" fmla="*/ 79 w 219"/>
                    <a:gd name="T9" fmla="*/ 102 h 137"/>
                    <a:gd name="T10" fmla="*/ 82 w 219"/>
                    <a:gd name="T11" fmla="*/ 95 h 137"/>
                    <a:gd name="T12" fmla="*/ 86 w 219"/>
                    <a:gd name="T13" fmla="*/ 91 h 137"/>
                    <a:gd name="T14" fmla="*/ 89 w 219"/>
                    <a:gd name="T15" fmla="*/ 86 h 137"/>
                    <a:gd name="T16" fmla="*/ 95 w 219"/>
                    <a:gd name="T17" fmla="*/ 82 h 137"/>
                    <a:gd name="T18" fmla="*/ 95 w 219"/>
                    <a:gd name="T19" fmla="*/ 82 h 137"/>
                    <a:gd name="T20" fmla="*/ 126 w 219"/>
                    <a:gd name="T21" fmla="*/ 72 h 137"/>
                    <a:gd name="T22" fmla="*/ 156 w 219"/>
                    <a:gd name="T23" fmla="*/ 64 h 137"/>
                    <a:gd name="T24" fmla="*/ 186 w 219"/>
                    <a:gd name="T25" fmla="*/ 59 h 137"/>
                    <a:gd name="T26" fmla="*/ 219 w 219"/>
                    <a:gd name="T27" fmla="*/ 56 h 137"/>
                    <a:gd name="T28" fmla="*/ 219 w 219"/>
                    <a:gd name="T29" fmla="*/ 56 h 137"/>
                    <a:gd name="T30" fmla="*/ 211 w 219"/>
                    <a:gd name="T31" fmla="*/ 47 h 137"/>
                    <a:gd name="T32" fmla="*/ 203 w 219"/>
                    <a:gd name="T33" fmla="*/ 36 h 137"/>
                    <a:gd name="T34" fmla="*/ 195 w 219"/>
                    <a:gd name="T35" fmla="*/ 26 h 137"/>
                    <a:gd name="T36" fmla="*/ 187 w 219"/>
                    <a:gd name="T37" fmla="*/ 17 h 137"/>
                    <a:gd name="T38" fmla="*/ 179 w 219"/>
                    <a:gd name="T39" fmla="*/ 10 h 137"/>
                    <a:gd name="T40" fmla="*/ 174 w 219"/>
                    <a:gd name="T41" fmla="*/ 8 h 137"/>
                    <a:gd name="T42" fmla="*/ 170 w 219"/>
                    <a:gd name="T43" fmla="*/ 5 h 137"/>
                    <a:gd name="T44" fmla="*/ 165 w 219"/>
                    <a:gd name="T45" fmla="*/ 5 h 137"/>
                    <a:gd name="T46" fmla="*/ 160 w 219"/>
                    <a:gd name="T47" fmla="*/ 7 h 137"/>
                    <a:gd name="T48" fmla="*/ 155 w 219"/>
                    <a:gd name="T49" fmla="*/ 8 h 137"/>
                    <a:gd name="T50" fmla="*/ 150 w 219"/>
                    <a:gd name="T51" fmla="*/ 11 h 137"/>
                    <a:gd name="T52" fmla="*/ 150 w 219"/>
                    <a:gd name="T53" fmla="*/ 11 h 137"/>
                    <a:gd name="T54" fmla="*/ 144 w 219"/>
                    <a:gd name="T55" fmla="*/ 15 h 137"/>
                    <a:gd name="T56" fmla="*/ 141 w 219"/>
                    <a:gd name="T57" fmla="*/ 16 h 137"/>
                    <a:gd name="T58" fmla="*/ 137 w 219"/>
                    <a:gd name="T59" fmla="*/ 15 h 137"/>
                    <a:gd name="T60" fmla="*/ 136 w 219"/>
                    <a:gd name="T61" fmla="*/ 13 h 137"/>
                    <a:gd name="T62" fmla="*/ 133 w 219"/>
                    <a:gd name="T63" fmla="*/ 7 h 137"/>
                    <a:gd name="T64" fmla="*/ 129 w 219"/>
                    <a:gd name="T65" fmla="*/ 0 h 137"/>
                    <a:gd name="T66" fmla="*/ 129 w 219"/>
                    <a:gd name="T67" fmla="*/ 0 h 137"/>
                    <a:gd name="T68" fmla="*/ 64 w 219"/>
                    <a:gd name="T69" fmla="*/ 43 h 137"/>
                    <a:gd name="T70" fmla="*/ 31 w 219"/>
                    <a:gd name="T71" fmla="*/ 66 h 137"/>
                    <a:gd name="T72" fmla="*/ 0 w 219"/>
                    <a:gd name="T73" fmla="*/ 89 h 137"/>
                    <a:gd name="T74" fmla="*/ 0 w 219"/>
                    <a:gd name="T75" fmla="*/ 89 h 137"/>
                    <a:gd name="T76" fmla="*/ 2 w 219"/>
                    <a:gd name="T77" fmla="*/ 99 h 137"/>
                    <a:gd name="T78" fmla="*/ 4 w 219"/>
                    <a:gd name="T79" fmla="*/ 109 h 137"/>
                    <a:gd name="T80" fmla="*/ 13 w 219"/>
                    <a:gd name="T81" fmla="*/ 137 h 137"/>
                    <a:gd name="T82" fmla="*/ 13 w 219"/>
                    <a:gd name="T83" fmla="*/ 137 h 137"/>
                    <a:gd name="T84" fmla="*/ 25 w 219"/>
                    <a:gd name="T85" fmla="*/ 134 h 137"/>
                    <a:gd name="T86" fmla="*/ 39 w 219"/>
                    <a:gd name="T87" fmla="*/ 132 h 137"/>
                    <a:gd name="T88" fmla="*/ 53 w 219"/>
                    <a:gd name="T89" fmla="*/ 129 h 137"/>
                    <a:gd name="T90" fmla="*/ 59 w 219"/>
                    <a:gd name="T91" fmla="*/ 126 h 137"/>
                    <a:gd name="T92" fmla="*/ 65 w 219"/>
                    <a:gd name="T93" fmla="*/ 123 h 137"/>
                    <a:gd name="T94" fmla="*/ 65 w 219"/>
                    <a:gd name="T95" fmla="*/ 123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 h="137">
                      <a:moveTo>
                        <a:pt x="65" y="123"/>
                      </a:moveTo>
                      <a:lnTo>
                        <a:pt x="65" y="123"/>
                      </a:lnTo>
                      <a:lnTo>
                        <a:pt x="68" y="119"/>
                      </a:lnTo>
                      <a:lnTo>
                        <a:pt x="73" y="114"/>
                      </a:lnTo>
                      <a:lnTo>
                        <a:pt x="79" y="102"/>
                      </a:lnTo>
                      <a:lnTo>
                        <a:pt x="82" y="95"/>
                      </a:lnTo>
                      <a:lnTo>
                        <a:pt x="86" y="91"/>
                      </a:lnTo>
                      <a:lnTo>
                        <a:pt x="89" y="86"/>
                      </a:lnTo>
                      <a:lnTo>
                        <a:pt x="95" y="82"/>
                      </a:lnTo>
                      <a:lnTo>
                        <a:pt x="95" y="82"/>
                      </a:lnTo>
                      <a:lnTo>
                        <a:pt x="126" y="72"/>
                      </a:lnTo>
                      <a:lnTo>
                        <a:pt x="156" y="64"/>
                      </a:lnTo>
                      <a:lnTo>
                        <a:pt x="186" y="59"/>
                      </a:lnTo>
                      <a:lnTo>
                        <a:pt x="219" y="56"/>
                      </a:lnTo>
                      <a:lnTo>
                        <a:pt x="219" y="56"/>
                      </a:lnTo>
                      <a:lnTo>
                        <a:pt x="211" y="47"/>
                      </a:lnTo>
                      <a:lnTo>
                        <a:pt x="203" y="36"/>
                      </a:lnTo>
                      <a:lnTo>
                        <a:pt x="195" y="26"/>
                      </a:lnTo>
                      <a:lnTo>
                        <a:pt x="187" y="17"/>
                      </a:lnTo>
                      <a:lnTo>
                        <a:pt x="179" y="10"/>
                      </a:lnTo>
                      <a:lnTo>
                        <a:pt x="174" y="8"/>
                      </a:lnTo>
                      <a:lnTo>
                        <a:pt x="170" y="5"/>
                      </a:lnTo>
                      <a:lnTo>
                        <a:pt x="165" y="5"/>
                      </a:lnTo>
                      <a:lnTo>
                        <a:pt x="160" y="7"/>
                      </a:lnTo>
                      <a:lnTo>
                        <a:pt x="155" y="8"/>
                      </a:lnTo>
                      <a:lnTo>
                        <a:pt x="150" y="11"/>
                      </a:lnTo>
                      <a:lnTo>
                        <a:pt x="150" y="11"/>
                      </a:lnTo>
                      <a:lnTo>
                        <a:pt x="144" y="15"/>
                      </a:lnTo>
                      <a:lnTo>
                        <a:pt x="141" y="16"/>
                      </a:lnTo>
                      <a:lnTo>
                        <a:pt x="137" y="15"/>
                      </a:lnTo>
                      <a:lnTo>
                        <a:pt x="136" y="13"/>
                      </a:lnTo>
                      <a:lnTo>
                        <a:pt x="133" y="7"/>
                      </a:lnTo>
                      <a:lnTo>
                        <a:pt x="129" y="0"/>
                      </a:lnTo>
                      <a:lnTo>
                        <a:pt x="129" y="0"/>
                      </a:lnTo>
                      <a:lnTo>
                        <a:pt x="64" y="43"/>
                      </a:lnTo>
                      <a:lnTo>
                        <a:pt x="31" y="66"/>
                      </a:lnTo>
                      <a:lnTo>
                        <a:pt x="0" y="89"/>
                      </a:lnTo>
                      <a:lnTo>
                        <a:pt x="0" y="89"/>
                      </a:lnTo>
                      <a:lnTo>
                        <a:pt x="2" y="99"/>
                      </a:lnTo>
                      <a:lnTo>
                        <a:pt x="4" y="109"/>
                      </a:lnTo>
                      <a:lnTo>
                        <a:pt x="13" y="137"/>
                      </a:lnTo>
                      <a:lnTo>
                        <a:pt x="13" y="137"/>
                      </a:lnTo>
                      <a:lnTo>
                        <a:pt x="25" y="134"/>
                      </a:lnTo>
                      <a:lnTo>
                        <a:pt x="39" y="132"/>
                      </a:lnTo>
                      <a:lnTo>
                        <a:pt x="53" y="129"/>
                      </a:lnTo>
                      <a:lnTo>
                        <a:pt x="59" y="126"/>
                      </a:lnTo>
                      <a:lnTo>
                        <a:pt x="65" y="123"/>
                      </a:lnTo>
                      <a:lnTo>
                        <a:pt x="65" y="123"/>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2" name="Freeform 401"/>
                <p:cNvSpPr>
                  <a:spLocks/>
                </p:cNvSpPr>
                <p:nvPr/>
              </p:nvSpPr>
              <p:spPr bwMode="auto">
                <a:xfrm>
                  <a:off x="3106738" y="368300"/>
                  <a:ext cx="88900" cy="201613"/>
                </a:xfrm>
                <a:custGeom>
                  <a:avLst/>
                  <a:gdLst>
                    <a:gd name="T0" fmla="*/ 359 w 391"/>
                    <a:gd name="T1" fmla="*/ 30 h 885"/>
                    <a:gd name="T2" fmla="*/ 343 w 391"/>
                    <a:gd name="T3" fmla="*/ 44 h 885"/>
                    <a:gd name="T4" fmla="*/ 326 w 391"/>
                    <a:gd name="T5" fmla="*/ 42 h 885"/>
                    <a:gd name="T6" fmla="*/ 312 w 391"/>
                    <a:gd name="T7" fmla="*/ 26 h 885"/>
                    <a:gd name="T8" fmla="*/ 300 w 391"/>
                    <a:gd name="T9" fmla="*/ 8 h 885"/>
                    <a:gd name="T10" fmla="*/ 244 w 391"/>
                    <a:gd name="T11" fmla="*/ 0 h 885"/>
                    <a:gd name="T12" fmla="*/ 199 w 391"/>
                    <a:gd name="T13" fmla="*/ 6 h 885"/>
                    <a:gd name="T14" fmla="*/ 181 w 391"/>
                    <a:gd name="T15" fmla="*/ 31 h 885"/>
                    <a:gd name="T16" fmla="*/ 138 w 391"/>
                    <a:gd name="T17" fmla="*/ 38 h 885"/>
                    <a:gd name="T18" fmla="*/ 111 w 391"/>
                    <a:gd name="T19" fmla="*/ 46 h 885"/>
                    <a:gd name="T20" fmla="*/ 102 w 391"/>
                    <a:gd name="T21" fmla="*/ 69 h 885"/>
                    <a:gd name="T22" fmla="*/ 100 w 391"/>
                    <a:gd name="T23" fmla="*/ 90 h 885"/>
                    <a:gd name="T24" fmla="*/ 84 w 391"/>
                    <a:gd name="T25" fmla="*/ 101 h 885"/>
                    <a:gd name="T26" fmla="*/ 46 w 391"/>
                    <a:gd name="T27" fmla="*/ 97 h 885"/>
                    <a:gd name="T28" fmla="*/ 26 w 391"/>
                    <a:gd name="T29" fmla="*/ 84 h 885"/>
                    <a:gd name="T30" fmla="*/ 12 w 391"/>
                    <a:gd name="T31" fmla="*/ 120 h 885"/>
                    <a:gd name="T32" fmla="*/ 22 w 391"/>
                    <a:gd name="T33" fmla="*/ 140 h 885"/>
                    <a:gd name="T34" fmla="*/ 48 w 391"/>
                    <a:gd name="T35" fmla="*/ 148 h 885"/>
                    <a:gd name="T36" fmla="*/ 85 w 391"/>
                    <a:gd name="T37" fmla="*/ 154 h 885"/>
                    <a:gd name="T38" fmla="*/ 70 w 391"/>
                    <a:gd name="T39" fmla="*/ 166 h 885"/>
                    <a:gd name="T40" fmla="*/ 27 w 391"/>
                    <a:gd name="T41" fmla="*/ 162 h 885"/>
                    <a:gd name="T42" fmla="*/ 4 w 391"/>
                    <a:gd name="T43" fmla="*/ 171 h 885"/>
                    <a:gd name="T44" fmla="*/ 2 w 391"/>
                    <a:gd name="T45" fmla="*/ 178 h 885"/>
                    <a:gd name="T46" fmla="*/ 23 w 391"/>
                    <a:gd name="T47" fmla="*/ 230 h 885"/>
                    <a:gd name="T48" fmla="*/ 47 w 391"/>
                    <a:gd name="T49" fmla="*/ 253 h 885"/>
                    <a:gd name="T50" fmla="*/ 80 w 391"/>
                    <a:gd name="T51" fmla="*/ 246 h 885"/>
                    <a:gd name="T52" fmla="*/ 125 w 391"/>
                    <a:gd name="T53" fmla="*/ 251 h 885"/>
                    <a:gd name="T54" fmla="*/ 168 w 391"/>
                    <a:gd name="T55" fmla="*/ 290 h 885"/>
                    <a:gd name="T56" fmla="*/ 190 w 391"/>
                    <a:gd name="T57" fmla="*/ 348 h 885"/>
                    <a:gd name="T58" fmla="*/ 190 w 391"/>
                    <a:gd name="T59" fmla="*/ 407 h 885"/>
                    <a:gd name="T60" fmla="*/ 193 w 391"/>
                    <a:gd name="T61" fmla="*/ 444 h 885"/>
                    <a:gd name="T62" fmla="*/ 225 w 391"/>
                    <a:gd name="T63" fmla="*/ 444 h 885"/>
                    <a:gd name="T64" fmla="*/ 237 w 391"/>
                    <a:gd name="T65" fmla="*/ 457 h 885"/>
                    <a:gd name="T66" fmla="*/ 184 w 391"/>
                    <a:gd name="T67" fmla="*/ 472 h 885"/>
                    <a:gd name="T68" fmla="*/ 210 w 391"/>
                    <a:gd name="T69" fmla="*/ 500 h 885"/>
                    <a:gd name="T70" fmla="*/ 245 w 391"/>
                    <a:gd name="T71" fmla="*/ 512 h 885"/>
                    <a:gd name="T72" fmla="*/ 191 w 391"/>
                    <a:gd name="T73" fmla="*/ 590 h 885"/>
                    <a:gd name="T74" fmla="*/ 176 w 391"/>
                    <a:gd name="T75" fmla="*/ 634 h 885"/>
                    <a:gd name="T76" fmla="*/ 178 w 391"/>
                    <a:gd name="T77" fmla="*/ 687 h 885"/>
                    <a:gd name="T78" fmla="*/ 183 w 391"/>
                    <a:gd name="T79" fmla="*/ 711 h 885"/>
                    <a:gd name="T80" fmla="*/ 176 w 391"/>
                    <a:gd name="T81" fmla="*/ 739 h 885"/>
                    <a:gd name="T82" fmla="*/ 187 w 391"/>
                    <a:gd name="T83" fmla="*/ 784 h 885"/>
                    <a:gd name="T84" fmla="*/ 200 w 391"/>
                    <a:gd name="T85" fmla="*/ 807 h 885"/>
                    <a:gd name="T86" fmla="*/ 232 w 391"/>
                    <a:gd name="T87" fmla="*/ 837 h 885"/>
                    <a:gd name="T88" fmla="*/ 253 w 391"/>
                    <a:gd name="T89" fmla="*/ 838 h 885"/>
                    <a:gd name="T90" fmla="*/ 263 w 391"/>
                    <a:gd name="T91" fmla="*/ 847 h 885"/>
                    <a:gd name="T92" fmla="*/ 281 w 391"/>
                    <a:gd name="T93" fmla="*/ 879 h 885"/>
                    <a:gd name="T94" fmla="*/ 313 w 391"/>
                    <a:gd name="T95" fmla="*/ 885 h 885"/>
                    <a:gd name="T96" fmla="*/ 323 w 391"/>
                    <a:gd name="T97" fmla="*/ 874 h 885"/>
                    <a:gd name="T98" fmla="*/ 337 w 391"/>
                    <a:gd name="T99" fmla="*/ 812 h 885"/>
                    <a:gd name="T100" fmla="*/ 364 w 391"/>
                    <a:gd name="T101" fmla="*/ 768 h 885"/>
                    <a:gd name="T102" fmla="*/ 391 w 391"/>
                    <a:gd name="T103" fmla="*/ 16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91" h="885">
                      <a:moveTo>
                        <a:pt x="360" y="8"/>
                      </a:moveTo>
                      <a:lnTo>
                        <a:pt x="360" y="8"/>
                      </a:lnTo>
                      <a:lnTo>
                        <a:pt x="360" y="24"/>
                      </a:lnTo>
                      <a:lnTo>
                        <a:pt x="359" y="30"/>
                      </a:lnTo>
                      <a:lnTo>
                        <a:pt x="357" y="36"/>
                      </a:lnTo>
                      <a:lnTo>
                        <a:pt x="353" y="39"/>
                      </a:lnTo>
                      <a:lnTo>
                        <a:pt x="349" y="41"/>
                      </a:lnTo>
                      <a:lnTo>
                        <a:pt x="343" y="44"/>
                      </a:lnTo>
                      <a:lnTo>
                        <a:pt x="336" y="44"/>
                      </a:lnTo>
                      <a:lnTo>
                        <a:pt x="336" y="44"/>
                      </a:lnTo>
                      <a:lnTo>
                        <a:pt x="330" y="44"/>
                      </a:lnTo>
                      <a:lnTo>
                        <a:pt x="326" y="42"/>
                      </a:lnTo>
                      <a:lnTo>
                        <a:pt x="322" y="40"/>
                      </a:lnTo>
                      <a:lnTo>
                        <a:pt x="320" y="38"/>
                      </a:lnTo>
                      <a:lnTo>
                        <a:pt x="315" y="33"/>
                      </a:lnTo>
                      <a:lnTo>
                        <a:pt x="312" y="26"/>
                      </a:lnTo>
                      <a:lnTo>
                        <a:pt x="310" y="21"/>
                      </a:lnTo>
                      <a:lnTo>
                        <a:pt x="307" y="15"/>
                      </a:lnTo>
                      <a:lnTo>
                        <a:pt x="303" y="10"/>
                      </a:lnTo>
                      <a:lnTo>
                        <a:pt x="300" y="8"/>
                      </a:lnTo>
                      <a:lnTo>
                        <a:pt x="296" y="8"/>
                      </a:lnTo>
                      <a:lnTo>
                        <a:pt x="296" y="8"/>
                      </a:lnTo>
                      <a:lnTo>
                        <a:pt x="263" y="2"/>
                      </a:lnTo>
                      <a:lnTo>
                        <a:pt x="244" y="0"/>
                      </a:lnTo>
                      <a:lnTo>
                        <a:pt x="224" y="0"/>
                      </a:lnTo>
                      <a:lnTo>
                        <a:pt x="215" y="1"/>
                      </a:lnTo>
                      <a:lnTo>
                        <a:pt x="206" y="3"/>
                      </a:lnTo>
                      <a:lnTo>
                        <a:pt x="199" y="6"/>
                      </a:lnTo>
                      <a:lnTo>
                        <a:pt x="192" y="10"/>
                      </a:lnTo>
                      <a:lnTo>
                        <a:pt x="186" y="15"/>
                      </a:lnTo>
                      <a:lnTo>
                        <a:pt x="183" y="22"/>
                      </a:lnTo>
                      <a:lnTo>
                        <a:pt x="181" y="31"/>
                      </a:lnTo>
                      <a:lnTo>
                        <a:pt x="181" y="41"/>
                      </a:lnTo>
                      <a:lnTo>
                        <a:pt x="181" y="41"/>
                      </a:lnTo>
                      <a:lnTo>
                        <a:pt x="152" y="38"/>
                      </a:lnTo>
                      <a:lnTo>
                        <a:pt x="138" y="38"/>
                      </a:lnTo>
                      <a:lnTo>
                        <a:pt x="126" y="39"/>
                      </a:lnTo>
                      <a:lnTo>
                        <a:pt x="121" y="40"/>
                      </a:lnTo>
                      <a:lnTo>
                        <a:pt x="116" y="44"/>
                      </a:lnTo>
                      <a:lnTo>
                        <a:pt x="111" y="46"/>
                      </a:lnTo>
                      <a:lnTo>
                        <a:pt x="108" y="50"/>
                      </a:lnTo>
                      <a:lnTo>
                        <a:pt x="106" y="56"/>
                      </a:lnTo>
                      <a:lnTo>
                        <a:pt x="103" y="62"/>
                      </a:lnTo>
                      <a:lnTo>
                        <a:pt x="102" y="69"/>
                      </a:lnTo>
                      <a:lnTo>
                        <a:pt x="102" y="78"/>
                      </a:lnTo>
                      <a:lnTo>
                        <a:pt x="102" y="78"/>
                      </a:lnTo>
                      <a:lnTo>
                        <a:pt x="102" y="84"/>
                      </a:lnTo>
                      <a:lnTo>
                        <a:pt x="100" y="90"/>
                      </a:lnTo>
                      <a:lnTo>
                        <a:pt x="98" y="93"/>
                      </a:lnTo>
                      <a:lnTo>
                        <a:pt x="94" y="97"/>
                      </a:lnTo>
                      <a:lnTo>
                        <a:pt x="90" y="99"/>
                      </a:lnTo>
                      <a:lnTo>
                        <a:pt x="84" y="101"/>
                      </a:lnTo>
                      <a:lnTo>
                        <a:pt x="78" y="102"/>
                      </a:lnTo>
                      <a:lnTo>
                        <a:pt x="72" y="102"/>
                      </a:lnTo>
                      <a:lnTo>
                        <a:pt x="59" y="101"/>
                      </a:lnTo>
                      <a:lnTo>
                        <a:pt x="46" y="97"/>
                      </a:lnTo>
                      <a:lnTo>
                        <a:pt x="35" y="91"/>
                      </a:lnTo>
                      <a:lnTo>
                        <a:pt x="31" y="88"/>
                      </a:lnTo>
                      <a:lnTo>
                        <a:pt x="26" y="84"/>
                      </a:lnTo>
                      <a:lnTo>
                        <a:pt x="26" y="84"/>
                      </a:lnTo>
                      <a:lnTo>
                        <a:pt x="21" y="94"/>
                      </a:lnTo>
                      <a:lnTo>
                        <a:pt x="17" y="103"/>
                      </a:lnTo>
                      <a:lnTo>
                        <a:pt x="14" y="113"/>
                      </a:lnTo>
                      <a:lnTo>
                        <a:pt x="12" y="120"/>
                      </a:lnTo>
                      <a:lnTo>
                        <a:pt x="14" y="125"/>
                      </a:lnTo>
                      <a:lnTo>
                        <a:pt x="15" y="131"/>
                      </a:lnTo>
                      <a:lnTo>
                        <a:pt x="18" y="136"/>
                      </a:lnTo>
                      <a:lnTo>
                        <a:pt x="22" y="140"/>
                      </a:lnTo>
                      <a:lnTo>
                        <a:pt x="27" y="143"/>
                      </a:lnTo>
                      <a:lnTo>
                        <a:pt x="33" y="145"/>
                      </a:lnTo>
                      <a:lnTo>
                        <a:pt x="40" y="147"/>
                      </a:lnTo>
                      <a:lnTo>
                        <a:pt x="48" y="148"/>
                      </a:lnTo>
                      <a:lnTo>
                        <a:pt x="65" y="148"/>
                      </a:lnTo>
                      <a:lnTo>
                        <a:pt x="86" y="147"/>
                      </a:lnTo>
                      <a:lnTo>
                        <a:pt x="86" y="147"/>
                      </a:lnTo>
                      <a:lnTo>
                        <a:pt x="85" y="154"/>
                      </a:lnTo>
                      <a:lnTo>
                        <a:pt x="83" y="160"/>
                      </a:lnTo>
                      <a:lnTo>
                        <a:pt x="79" y="163"/>
                      </a:lnTo>
                      <a:lnTo>
                        <a:pt x="75" y="166"/>
                      </a:lnTo>
                      <a:lnTo>
                        <a:pt x="70" y="166"/>
                      </a:lnTo>
                      <a:lnTo>
                        <a:pt x="63" y="166"/>
                      </a:lnTo>
                      <a:lnTo>
                        <a:pt x="49" y="164"/>
                      </a:lnTo>
                      <a:lnTo>
                        <a:pt x="34" y="162"/>
                      </a:lnTo>
                      <a:lnTo>
                        <a:pt x="27" y="162"/>
                      </a:lnTo>
                      <a:lnTo>
                        <a:pt x="21" y="162"/>
                      </a:lnTo>
                      <a:lnTo>
                        <a:pt x="14" y="163"/>
                      </a:lnTo>
                      <a:lnTo>
                        <a:pt x="9" y="167"/>
                      </a:lnTo>
                      <a:lnTo>
                        <a:pt x="4" y="171"/>
                      </a:lnTo>
                      <a:lnTo>
                        <a:pt x="0" y="177"/>
                      </a:lnTo>
                      <a:lnTo>
                        <a:pt x="0" y="177"/>
                      </a:lnTo>
                      <a:lnTo>
                        <a:pt x="1" y="177"/>
                      </a:lnTo>
                      <a:lnTo>
                        <a:pt x="2" y="178"/>
                      </a:lnTo>
                      <a:lnTo>
                        <a:pt x="4" y="184"/>
                      </a:lnTo>
                      <a:lnTo>
                        <a:pt x="11" y="201"/>
                      </a:lnTo>
                      <a:lnTo>
                        <a:pt x="23" y="230"/>
                      </a:lnTo>
                      <a:lnTo>
                        <a:pt x="23" y="230"/>
                      </a:lnTo>
                      <a:lnTo>
                        <a:pt x="31" y="242"/>
                      </a:lnTo>
                      <a:lnTo>
                        <a:pt x="38" y="249"/>
                      </a:lnTo>
                      <a:lnTo>
                        <a:pt x="42" y="252"/>
                      </a:lnTo>
                      <a:lnTo>
                        <a:pt x="47" y="253"/>
                      </a:lnTo>
                      <a:lnTo>
                        <a:pt x="53" y="252"/>
                      </a:lnTo>
                      <a:lnTo>
                        <a:pt x="59" y="251"/>
                      </a:lnTo>
                      <a:lnTo>
                        <a:pt x="68" y="249"/>
                      </a:lnTo>
                      <a:lnTo>
                        <a:pt x="80" y="246"/>
                      </a:lnTo>
                      <a:lnTo>
                        <a:pt x="80" y="246"/>
                      </a:lnTo>
                      <a:lnTo>
                        <a:pt x="97" y="245"/>
                      </a:lnTo>
                      <a:lnTo>
                        <a:pt x="111" y="246"/>
                      </a:lnTo>
                      <a:lnTo>
                        <a:pt x="125" y="251"/>
                      </a:lnTo>
                      <a:lnTo>
                        <a:pt x="138" y="257"/>
                      </a:lnTo>
                      <a:lnTo>
                        <a:pt x="149" y="266"/>
                      </a:lnTo>
                      <a:lnTo>
                        <a:pt x="160" y="277"/>
                      </a:lnTo>
                      <a:lnTo>
                        <a:pt x="168" y="290"/>
                      </a:lnTo>
                      <a:lnTo>
                        <a:pt x="175" y="306"/>
                      </a:lnTo>
                      <a:lnTo>
                        <a:pt x="175" y="306"/>
                      </a:lnTo>
                      <a:lnTo>
                        <a:pt x="183" y="329"/>
                      </a:lnTo>
                      <a:lnTo>
                        <a:pt x="190" y="348"/>
                      </a:lnTo>
                      <a:lnTo>
                        <a:pt x="193" y="364"/>
                      </a:lnTo>
                      <a:lnTo>
                        <a:pt x="196" y="379"/>
                      </a:lnTo>
                      <a:lnTo>
                        <a:pt x="194" y="392"/>
                      </a:lnTo>
                      <a:lnTo>
                        <a:pt x="190" y="407"/>
                      </a:lnTo>
                      <a:lnTo>
                        <a:pt x="183" y="426"/>
                      </a:lnTo>
                      <a:lnTo>
                        <a:pt x="173" y="448"/>
                      </a:lnTo>
                      <a:lnTo>
                        <a:pt x="173" y="448"/>
                      </a:lnTo>
                      <a:lnTo>
                        <a:pt x="193" y="444"/>
                      </a:lnTo>
                      <a:lnTo>
                        <a:pt x="205" y="442"/>
                      </a:lnTo>
                      <a:lnTo>
                        <a:pt x="216" y="442"/>
                      </a:lnTo>
                      <a:lnTo>
                        <a:pt x="221" y="442"/>
                      </a:lnTo>
                      <a:lnTo>
                        <a:pt x="225" y="444"/>
                      </a:lnTo>
                      <a:lnTo>
                        <a:pt x="230" y="445"/>
                      </a:lnTo>
                      <a:lnTo>
                        <a:pt x="232" y="449"/>
                      </a:lnTo>
                      <a:lnTo>
                        <a:pt x="236" y="452"/>
                      </a:lnTo>
                      <a:lnTo>
                        <a:pt x="237" y="457"/>
                      </a:lnTo>
                      <a:lnTo>
                        <a:pt x="238" y="463"/>
                      </a:lnTo>
                      <a:lnTo>
                        <a:pt x="238" y="470"/>
                      </a:lnTo>
                      <a:lnTo>
                        <a:pt x="238" y="470"/>
                      </a:lnTo>
                      <a:lnTo>
                        <a:pt x="184" y="472"/>
                      </a:lnTo>
                      <a:lnTo>
                        <a:pt x="184" y="472"/>
                      </a:lnTo>
                      <a:lnTo>
                        <a:pt x="198" y="486"/>
                      </a:lnTo>
                      <a:lnTo>
                        <a:pt x="204" y="493"/>
                      </a:lnTo>
                      <a:lnTo>
                        <a:pt x="210" y="500"/>
                      </a:lnTo>
                      <a:lnTo>
                        <a:pt x="219" y="505"/>
                      </a:lnTo>
                      <a:lnTo>
                        <a:pt x="225" y="509"/>
                      </a:lnTo>
                      <a:lnTo>
                        <a:pt x="235" y="512"/>
                      </a:lnTo>
                      <a:lnTo>
                        <a:pt x="245" y="512"/>
                      </a:lnTo>
                      <a:lnTo>
                        <a:pt x="245" y="512"/>
                      </a:lnTo>
                      <a:lnTo>
                        <a:pt x="210" y="558"/>
                      </a:lnTo>
                      <a:lnTo>
                        <a:pt x="197" y="579"/>
                      </a:lnTo>
                      <a:lnTo>
                        <a:pt x="191" y="590"/>
                      </a:lnTo>
                      <a:lnTo>
                        <a:pt x="185" y="601"/>
                      </a:lnTo>
                      <a:lnTo>
                        <a:pt x="181" y="611"/>
                      </a:lnTo>
                      <a:lnTo>
                        <a:pt x="178" y="623"/>
                      </a:lnTo>
                      <a:lnTo>
                        <a:pt x="176" y="634"/>
                      </a:lnTo>
                      <a:lnTo>
                        <a:pt x="175" y="647"/>
                      </a:lnTo>
                      <a:lnTo>
                        <a:pt x="175" y="660"/>
                      </a:lnTo>
                      <a:lnTo>
                        <a:pt x="176" y="672"/>
                      </a:lnTo>
                      <a:lnTo>
                        <a:pt x="178" y="687"/>
                      </a:lnTo>
                      <a:lnTo>
                        <a:pt x="183" y="702"/>
                      </a:lnTo>
                      <a:lnTo>
                        <a:pt x="183" y="702"/>
                      </a:lnTo>
                      <a:lnTo>
                        <a:pt x="184" y="707"/>
                      </a:lnTo>
                      <a:lnTo>
                        <a:pt x="183" y="711"/>
                      </a:lnTo>
                      <a:lnTo>
                        <a:pt x="179" y="721"/>
                      </a:lnTo>
                      <a:lnTo>
                        <a:pt x="176" y="730"/>
                      </a:lnTo>
                      <a:lnTo>
                        <a:pt x="175" y="734"/>
                      </a:lnTo>
                      <a:lnTo>
                        <a:pt x="176" y="739"/>
                      </a:lnTo>
                      <a:lnTo>
                        <a:pt x="176" y="739"/>
                      </a:lnTo>
                      <a:lnTo>
                        <a:pt x="179" y="754"/>
                      </a:lnTo>
                      <a:lnTo>
                        <a:pt x="183" y="769"/>
                      </a:lnTo>
                      <a:lnTo>
                        <a:pt x="187" y="784"/>
                      </a:lnTo>
                      <a:lnTo>
                        <a:pt x="191" y="791"/>
                      </a:lnTo>
                      <a:lnTo>
                        <a:pt x="194" y="797"/>
                      </a:lnTo>
                      <a:lnTo>
                        <a:pt x="194" y="797"/>
                      </a:lnTo>
                      <a:lnTo>
                        <a:pt x="200" y="807"/>
                      </a:lnTo>
                      <a:lnTo>
                        <a:pt x="207" y="816"/>
                      </a:lnTo>
                      <a:lnTo>
                        <a:pt x="215" y="825"/>
                      </a:lnTo>
                      <a:lnTo>
                        <a:pt x="223" y="832"/>
                      </a:lnTo>
                      <a:lnTo>
                        <a:pt x="232" y="837"/>
                      </a:lnTo>
                      <a:lnTo>
                        <a:pt x="237" y="838"/>
                      </a:lnTo>
                      <a:lnTo>
                        <a:pt x="243" y="839"/>
                      </a:lnTo>
                      <a:lnTo>
                        <a:pt x="247" y="839"/>
                      </a:lnTo>
                      <a:lnTo>
                        <a:pt x="253" y="838"/>
                      </a:lnTo>
                      <a:lnTo>
                        <a:pt x="259" y="836"/>
                      </a:lnTo>
                      <a:lnTo>
                        <a:pt x="265" y="833"/>
                      </a:lnTo>
                      <a:lnTo>
                        <a:pt x="265" y="833"/>
                      </a:lnTo>
                      <a:lnTo>
                        <a:pt x="263" y="847"/>
                      </a:lnTo>
                      <a:lnTo>
                        <a:pt x="265" y="858"/>
                      </a:lnTo>
                      <a:lnTo>
                        <a:pt x="268" y="867"/>
                      </a:lnTo>
                      <a:lnTo>
                        <a:pt x="274" y="875"/>
                      </a:lnTo>
                      <a:lnTo>
                        <a:pt x="281" y="879"/>
                      </a:lnTo>
                      <a:lnTo>
                        <a:pt x="290" y="884"/>
                      </a:lnTo>
                      <a:lnTo>
                        <a:pt x="300" y="885"/>
                      </a:lnTo>
                      <a:lnTo>
                        <a:pt x="313" y="885"/>
                      </a:lnTo>
                      <a:lnTo>
                        <a:pt x="313" y="885"/>
                      </a:lnTo>
                      <a:lnTo>
                        <a:pt x="315" y="884"/>
                      </a:lnTo>
                      <a:lnTo>
                        <a:pt x="319" y="882"/>
                      </a:lnTo>
                      <a:lnTo>
                        <a:pt x="321" y="878"/>
                      </a:lnTo>
                      <a:lnTo>
                        <a:pt x="323" y="874"/>
                      </a:lnTo>
                      <a:lnTo>
                        <a:pt x="327" y="862"/>
                      </a:lnTo>
                      <a:lnTo>
                        <a:pt x="330" y="850"/>
                      </a:lnTo>
                      <a:lnTo>
                        <a:pt x="335" y="822"/>
                      </a:lnTo>
                      <a:lnTo>
                        <a:pt x="337" y="812"/>
                      </a:lnTo>
                      <a:lnTo>
                        <a:pt x="341" y="803"/>
                      </a:lnTo>
                      <a:lnTo>
                        <a:pt x="341" y="803"/>
                      </a:lnTo>
                      <a:lnTo>
                        <a:pt x="351" y="784"/>
                      </a:lnTo>
                      <a:lnTo>
                        <a:pt x="364" y="768"/>
                      </a:lnTo>
                      <a:lnTo>
                        <a:pt x="377" y="753"/>
                      </a:lnTo>
                      <a:lnTo>
                        <a:pt x="391" y="740"/>
                      </a:lnTo>
                      <a:lnTo>
                        <a:pt x="391" y="16"/>
                      </a:lnTo>
                      <a:lnTo>
                        <a:pt x="391" y="16"/>
                      </a:lnTo>
                      <a:lnTo>
                        <a:pt x="360" y="8"/>
                      </a:lnTo>
                      <a:lnTo>
                        <a:pt x="360" y="8"/>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554" name="그룹 553"/>
              <p:cNvGrpSpPr/>
              <p:nvPr userDrawn="1"/>
            </p:nvGrpSpPr>
            <p:grpSpPr>
              <a:xfrm rot="2376450" flipH="1">
                <a:off x="2755950" y="1099313"/>
                <a:ext cx="521378" cy="221484"/>
                <a:chOff x="1950385" y="-2744512"/>
                <a:chExt cx="4405128" cy="1871326"/>
              </a:xfrm>
            </p:grpSpPr>
            <p:grpSp>
              <p:nvGrpSpPr>
                <p:cNvPr id="504" name="그룹 503"/>
                <p:cNvGrpSpPr/>
                <p:nvPr userDrawn="1"/>
              </p:nvGrpSpPr>
              <p:grpSpPr>
                <a:xfrm>
                  <a:off x="1950385" y="-2120377"/>
                  <a:ext cx="1300742" cy="618078"/>
                  <a:chOff x="853903" y="-2215743"/>
                  <a:chExt cx="2078040" cy="987429"/>
                </a:xfrm>
              </p:grpSpPr>
              <p:sp>
                <p:nvSpPr>
                  <p:cNvPr id="465" name="Freeform 5"/>
                  <p:cNvSpPr>
                    <a:spLocks/>
                  </p:cNvSpPr>
                  <p:nvPr userDrawn="1"/>
                </p:nvSpPr>
                <p:spPr bwMode="auto">
                  <a:xfrm>
                    <a:off x="853903" y="-2215743"/>
                    <a:ext cx="2078040" cy="987429"/>
                  </a:xfrm>
                  <a:custGeom>
                    <a:avLst/>
                    <a:gdLst>
                      <a:gd name="T0" fmla="*/ 2619 w 2619"/>
                      <a:gd name="T1" fmla="*/ 622 h 1244"/>
                      <a:gd name="T2" fmla="*/ 2616 w 2619"/>
                      <a:gd name="T3" fmla="*/ 686 h 1244"/>
                      <a:gd name="T4" fmla="*/ 2609 w 2619"/>
                      <a:gd name="T5" fmla="*/ 748 h 1244"/>
                      <a:gd name="T6" fmla="*/ 2597 w 2619"/>
                      <a:gd name="T7" fmla="*/ 807 h 1244"/>
                      <a:gd name="T8" fmla="*/ 2579 w 2619"/>
                      <a:gd name="T9" fmla="*/ 864 h 1244"/>
                      <a:gd name="T10" fmla="*/ 2556 w 2619"/>
                      <a:gd name="T11" fmla="*/ 919 h 1244"/>
                      <a:gd name="T12" fmla="*/ 2525 w 2619"/>
                      <a:gd name="T13" fmla="*/ 970 h 1244"/>
                      <a:gd name="T14" fmla="*/ 2486 w 2619"/>
                      <a:gd name="T15" fmla="*/ 1018 h 1244"/>
                      <a:gd name="T16" fmla="*/ 2439 w 2619"/>
                      <a:gd name="T17" fmla="*/ 1062 h 1244"/>
                      <a:gd name="T18" fmla="*/ 2385 w 2619"/>
                      <a:gd name="T19" fmla="*/ 1102 h 1244"/>
                      <a:gd name="T20" fmla="*/ 2320 w 2619"/>
                      <a:gd name="T21" fmla="*/ 1138 h 1244"/>
                      <a:gd name="T22" fmla="*/ 2247 w 2619"/>
                      <a:gd name="T23" fmla="*/ 1169 h 1244"/>
                      <a:gd name="T24" fmla="*/ 2164 w 2619"/>
                      <a:gd name="T25" fmla="*/ 1195 h 1244"/>
                      <a:gd name="T26" fmla="*/ 2070 w 2619"/>
                      <a:gd name="T27" fmla="*/ 1216 h 1244"/>
                      <a:gd name="T28" fmla="*/ 1964 w 2619"/>
                      <a:gd name="T29" fmla="*/ 1232 h 1244"/>
                      <a:gd name="T30" fmla="*/ 1848 w 2619"/>
                      <a:gd name="T31" fmla="*/ 1241 h 1244"/>
                      <a:gd name="T32" fmla="*/ 1718 w 2619"/>
                      <a:gd name="T33" fmla="*/ 1244 h 1244"/>
                      <a:gd name="T34" fmla="*/ 1684 w 2619"/>
                      <a:gd name="T35" fmla="*/ 1244 h 1244"/>
                      <a:gd name="T36" fmla="*/ 1615 w 2619"/>
                      <a:gd name="T37" fmla="*/ 1240 h 1244"/>
                      <a:gd name="T38" fmla="*/ 1545 w 2619"/>
                      <a:gd name="T39" fmla="*/ 1233 h 1244"/>
                      <a:gd name="T40" fmla="*/ 1436 w 2619"/>
                      <a:gd name="T41" fmla="*/ 1217 h 1244"/>
                      <a:gd name="T42" fmla="*/ 1291 w 2619"/>
                      <a:gd name="T43" fmla="*/ 1187 h 1244"/>
                      <a:gd name="T44" fmla="*/ 1144 w 2619"/>
                      <a:gd name="T45" fmla="*/ 1147 h 1244"/>
                      <a:gd name="T46" fmla="*/ 999 w 2619"/>
                      <a:gd name="T47" fmla="*/ 1100 h 1244"/>
                      <a:gd name="T48" fmla="*/ 857 w 2619"/>
                      <a:gd name="T49" fmla="*/ 1047 h 1244"/>
                      <a:gd name="T50" fmla="*/ 719 w 2619"/>
                      <a:gd name="T51" fmla="*/ 992 h 1244"/>
                      <a:gd name="T52" fmla="*/ 588 w 2619"/>
                      <a:gd name="T53" fmla="*/ 933 h 1244"/>
                      <a:gd name="T54" fmla="*/ 466 w 2619"/>
                      <a:gd name="T55" fmla="*/ 875 h 1244"/>
                      <a:gd name="T56" fmla="*/ 253 w 2619"/>
                      <a:gd name="T57" fmla="*/ 767 h 1244"/>
                      <a:gd name="T58" fmla="*/ 96 w 2619"/>
                      <a:gd name="T59" fmla="*/ 680 h 1244"/>
                      <a:gd name="T60" fmla="*/ 0 w 2619"/>
                      <a:gd name="T61" fmla="*/ 622 h 1244"/>
                      <a:gd name="T62" fmla="*/ 44 w 2619"/>
                      <a:gd name="T63" fmla="*/ 596 h 1244"/>
                      <a:gd name="T64" fmla="*/ 166 w 2619"/>
                      <a:gd name="T65" fmla="*/ 526 h 1244"/>
                      <a:gd name="T66" fmla="*/ 353 w 2619"/>
                      <a:gd name="T67" fmla="*/ 426 h 1244"/>
                      <a:gd name="T68" fmla="*/ 525 w 2619"/>
                      <a:gd name="T69" fmla="*/ 340 h 1244"/>
                      <a:gd name="T70" fmla="*/ 652 w 2619"/>
                      <a:gd name="T71" fmla="*/ 282 h 1244"/>
                      <a:gd name="T72" fmla="*/ 787 w 2619"/>
                      <a:gd name="T73" fmla="*/ 225 h 1244"/>
                      <a:gd name="T74" fmla="*/ 928 w 2619"/>
                      <a:gd name="T75" fmla="*/ 170 h 1244"/>
                      <a:gd name="T76" fmla="*/ 1072 w 2619"/>
                      <a:gd name="T77" fmla="*/ 120 h 1244"/>
                      <a:gd name="T78" fmla="*/ 1218 w 2619"/>
                      <a:gd name="T79" fmla="*/ 76 h 1244"/>
                      <a:gd name="T80" fmla="*/ 1364 w 2619"/>
                      <a:gd name="T81" fmla="*/ 42 h 1244"/>
                      <a:gd name="T82" fmla="*/ 1509 w 2619"/>
                      <a:gd name="T83" fmla="*/ 16 h 1244"/>
                      <a:gd name="T84" fmla="*/ 1579 w 2619"/>
                      <a:gd name="T85" fmla="*/ 8 h 1244"/>
                      <a:gd name="T86" fmla="*/ 1649 w 2619"/>
                      <a:gd name="T87" fmla="*/ 3 h 1244"/>
                      <a:gd name="T88" fmla="*/ 1718 w 2619"/>
                      <a:gd name="T89" fmla="*/ 0 h 1244"/>
                      <a:gd name="T90" fmla="*/ 1785 w 2619"/>
                      <a:gd name="T91" fmla="*/ 2 h 1244"/>
                      <a:gd name="T92" fmla="*/ 1907 w 2619"/>
                      <a:gd name="T93" fmla="*/ 8 h 1244"/>
                      <a:gd name="T94" fmla="*/ 2019 w 2619"/>
                      <a:gd name="T95" fmla="*/ 21 h 1244"/>
                      <a:gd name="T96" fmla="*/ 2118 w 2619"/>
                      <a:gd name="T97" fmla="*/ 38 h 1244"/>
                      <a:gd name="T98" fmla="*/ 2206 w 2619"/>
                      <a:gd name="T99" fmla="*/ 62 h 1244"/>
                      <a:gd name="T100" fmla="*/ 2285 w 2619"/>
                      <a:gd name="T101" fmla="*/ 91 h 1244"/>
                      <a:gd name="T102" fmla="*/ 2354 w 2619"/>
                      <a:gd name="T103" fmla="*/ 124 h 1244"/>
                      <a:gd name="T104" fmla="*/ 2413 w 2619"/>
                      <a:gd name="T105" fmla="*/ 162 h 1244"/>
                      <a:gd name="T106" fmla="*/ 2464 w 2619"/>
                      <a:gd name="T107" fmla="*/ 205 h 1244"/>
                      <a:gd name="T108" fmla="*/ 2506 w 2619"/>
                      <a:gd name="T109" fmla="*/ 250 h 1244"/>
                      <a:gd name="T110" fmla="*/ 2540 w 2619"/>
                      <a:gd name="T111" fmla="*/ 300 h 1244"/>
                      <a:gd name="T112" fmla="*/ 2569 w 2619"/>
                      <a:gd name="T113" fmla="*/ 353 h 1244"/>
                      <a:gd name="T114" fmla="*/ 2589 w 2619"/>
                      <a:gd name="T115" fmla="*/ 409 h 1244"/>
                      <a:gd name="T116" fmla="*/ 2604 w 2619"/>
                      <a:gd name="T117" fmla="*/ 467 h 1244"/>
                      <a:gd name="T118" fmla="*/ 2614 w 2619"/>
                      <a:gd name="T119" fmla="*/ 528 h 1244"/>
                      <a:gd name="T120" fmla="*/ 2619 w 2619"/>
                      <a:gd name="T121" fmla="*/ 59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19" h="1244">
                        <a:moveTo>
                          <a:pt x="2619" y="622"/>
                        </a:moveTo>
                        <a:lnTo>
                          <a:pt x="2619" y="622"/>
                        </a:lnTo>
                        <a:lnTo>
                          <a:pt x="2619" y="654"/>
                        </a:lnTo>
                        <a:lnTo>
                          <a:pt x="2616" y="686"/>
                        </a:lnTo>
                        <a:lnTo>
                          <a:pt x="2614" y="717"/>
                        </a:lnTo>
                        <a:lnTo>
                          <a:pt x="2609" y="748"/>
                        </a:lnTo>
                        <a:lnTo>
                          <a:pt x="2604" y="778"/>
                        </a:lnTo>
                        <a:lnTo>
                          <a:pt x="2597" y="807"/>
                        </a:lnTo>
                        <a:lnTo>
                          <a:pt x="2589" y="836"/>
                        </a:lnTo>
                        <a:lnTo>
                          <a:pt x="2579" y="864"/>
                        </a:lnTo>
                        <a:lnTo>
                          <a:pt x="2569" y="892"/>
                        </a:lnTo>
                        <a:lnTo>
                          <a:pt x="2556" y="919"/>
                        </a:lnTo>
                        <a:lnTo>
                          <a:pt x="2540" y="945"/>
                        </a:lnTo>
                        <a:lnTo>
                          <a:pt x="2525" y="970"/>
                        </a:lnTo>
                        <a:lnTo>
                          <a:pt x="2506" y="994"/>
                        </a:lnTo>
                        <a:lnTo>
                          <a:pt x="2486" y="1018"/>
                        </a:lnTo>
                        <a:lnTo>
                          <a:pt x="2464" y="1040"/>
                        </a:lnTo>
                        <a:lnTo>
                          <a:pt x="2439" y="1062"/>
                        </a:lnTo>
                        <a:lnTo>
                          <a:pt x="2413" y="1083"/>
                        </a:lnTo>
                        <a:lnTo>
                          <a:pt x="2385" y="1102"/>
                        </a:lnTo>
                        <a:lnTo>
                          <a:pt x="2354" y="1121"/>
                        </a:lnTo>
                        <a:lnTo>
                          <a:pt x="2320" y="1138"/>
                        </a:lnTo>
                        <a:lnTo>
                          <a:pt x="2285" y="1154"/>
                        </a:lnTo>
                        <a:lnTo>
                          <a:pt x="2247" y="1169"/>
                        </a:lnTo>
                        <a:lnTo>
                          <a:pt x="2206" y="1183"/>
                        </a:lnTo>
                        <a:lnTo>
                          <a:pt x="2164" y="1195"/>
                        </a:lnTo>
                        <a:lnTo>
                          <a:pt x="2118" y="1207"/>
                        </a:lnTo>
                        <a:lnTo>
                          <a:pt x="2070" y="1216"/>
                        </a:lnTo>
                        <a:lnTo>
                          <a:pt x="2019" y="1225"/>
                        </a:lnTo>
                        <a:lnTo>
                          <a:pt x="1964" y="1232"/>
                        </a:lnTo>
                        <a:lnTo>
                          <a:pt x="1907" y="1236"/>
                        </a:lnTo>
                        <a:lnTo>
                          <a:pt x="1848" y="1241"/>
                        </a:lnTo>
                        <a:lnTo>
                          <a:pt x="1785" y="1244"/>
                        </a:lnTo>
                        <a:lnTo>
                          <a:pt x="1718" y="1244"/>
                        </a:lnTo>
                        <a:lnTo>
                          <a:pt x="1718" y="1244"/>
                        </a:lnTo>
                        <a:lnTo>
                          <a:pt x="1684" y="1244"/>
                        </a:lnTo>
                        <a:lnTo>
                          <a:pt x="1649" y="1242"/>
                        </a:lnTo>
                        <a:lnTo>
                          <a:pt x="1615" y="1240"/>
                        </a:lnTo>
                        <a:lnTo>
                          <a:pt x="1579" y="1238"/>
                        </a:lnTo>
                        <a:lnTo>
                          <a:pt x="1545" y="1233"/>
                        </a:lnTo>
                        <a:lnTo>
                          <a:pt x="1509" y="1229"/>
                        </a:lnTo>
                        <a:lnTo>
                          <a:pt x="1436" y="1217"/>
                        </a:lnTo>
                        <a:lnTo>
                          <a:pt x="1364" y="1203"/>
                        </a:lnTo>
                        <a:lnTo>
                          <a:pt x="1291" y="1187"/>
                        </a:lnTo>
                        <a:lnTo>
                          <a:pt x="1218" y="1168"/>
                        </a:lnTo>
                        <a:lnTo>
                          <a:pt x="1144" y="1147"/>
                        </a:lnTo>
                        <a:lnTo>
                          <a:pt x="1072" y="1125"/>
                        </a:lnTo>
                        <a:lnTo>
                          <a:pt x="999" y="1100"/>
                        </a:lnTo>
                        <a:lnTo>
                          <a:pt x="928" y="1075"/>
                        </a:lnTo>
                        <a:lnTo>
                          <a:pt x="857" y="1047"/>
                        </a:lnTo>
                        <a:lnTo>
                          <a:pt x="787" y="1020"/>
                        </a:lnTo>
                        <a:lnTo>
                          <a:pt x="719" y="992"/>
                        </a:lnTo>
                        <a:lnTo>
                          <a:pt x="652" y="962"/>
                        </a:lnTo>
                        <a:lnTo>
                          <a:pt x="588" y="933"/>
                        </a:lnTo>
                        <a:lnTo>
                          <a:pt x="525" y="904"/>
                        </a:lnTo>
                        <a:lnTo>
                          <a:pt x="466" y="875"/>
                        </a:lnTo>
                        <a:lnTo>
                          <a:pt x="353" y="819"/>
                        </a:lnTo>
                        <a:lnTo>
                          <a:pt x="253" y="767"/>
                        </a:lnTo>
                        <a:lnTo>
                          <a:pt x="166" y="719"/>
                        </a:lnTo>
                        <a:lnTo>
                          <a:pt x="96" y="680"/>
                        </a:lnTo>
                        <a:lnTo>
                          <a:pt x="44" y="649"/>
                        </a:lnTo>
                        <a:lnTo>
                          <a:pt x="0" y="622"/>
                        </a:lnTo>
                        <a:lnTo>
                          <a:pt x="0" y="622"/>
                        </a:lnTo>
                        <a:lnTo>
                          <a:pt x="44" y="596"/>
                        </a:lnTo>
                        <a:lnTo>
                          <a:pt x="96" y="565"/>
                        </a:lnTo>
                        <a:lnTo>
                          <a:pt x="166" y="526"/>
                        </a:lnTo>
                        <a:lnTo>
                          <a:pt x="253" y="478"/>
                        </a:lnTo>
                        <a:lnTo>
                          <a:pt x="353" y="426"/>
                        </a:lnTo>
                        <a:lnTo>
                          <a:pt x="466" y="370"/>
                        </a:lnTo>
                        <a:lnTo>
                          <a:pt x="525" y="340"/>
                        </a:lnTo>
                        <a:lnTo>
                          <a:pt x="588" y="312"/>
                        </a:lnTo>
                        <a:lnTo>
                          <a:pt x="652" y="282"/>
                        </a:lnTo>
                        <a:lnTo>
                          <a:pt x="719" y="254"/>
                        </a:lnTo>
                        <a:lnTo>
                          <a:pt x="787" y="225"/>
                        </a:lnTo>
                        <a:lnTo>
                          <a:pt x="857" y="198"/>
                        </a:lnTo>
                        <a:lnTo>
                          <a:pt x="928" y="170"/>
                        </a:lnTo>
                        <a:lnTo>
                          <a:pt x="999" y="145"/>
                        </a:lnTo>
                        <a:lnTo>
                          <a:pt x="1072" y="120"/>
                        </a:lnTo>
                        <a:lnTo>
                          <a:pt x="1144" y="98"/>
                        </a:lnTo>
                        <a:lnTo>
                          <a:pt x="1218" y="76"/>
                        </a:lnTo>
                        <a:lnTo>
                          <a:pt x="1291" y="59"/>
                        </a:lnTo>
                        <a:lnTo>
                          <a:pt x="1364" y="42"/>
                        </a:lnTo>
                        <a:lnTo>
                          <a:pt x="1436" y="28"/>
                        </a:lnTo>
                        <a:lnTo>
                          <a:pt x="1509" y="16"/>
                        </a:lnTo>
                        <a:lnTo>
                          <a:pt x="1545" y="11"/>
                        </a:lnTo>
                        <a:lnTo>
                          <a:pt x="1579" y="8"/>
                        </a:lnTo>
                        <a:lnTo>
                          <a:pt x="1615" y="5"/>
                        </a:lnTo>
                        <a:lnTo>
                          <a:pt x="1649" y="3"/>
                        </a:lnTo>
                        <a:lnTo>
                          <a:pt x="1684" y="2"/>
                        </a:lnTo>
                        <a:lnTo>
                          <a:pt x="1718" y="0"/>
                        </a:lnTo>
                        <a:lnTo>
                          <a:pt x="1718" y="0"/>
                        </a:lnTo>
                        <a:lnTo>
                          <a:pt x="1785" y="2"/>
                        </a:lnTo>
                        <a:lnTo>
                          <a:pt x="1848" y="4"/>
                        </a:lnTo>
                        <a:lnTo>
                          <a:pt x="1907" y="8"/>
                        </a:lnTo>
                        <a:lnTo>
                          <a:pt x="1964" y="13"/>
                        </a:lnTo>
                        <a:lnTo>
                          <a:pt x="2019" y="21"/>
                        </a:lnTo>
                        <a:lnTo>
                          <a:pt x="2070" y="29"/>
                        </a:lnTo>
                        <a:lnTo>
                          <a:pt x="2118" y="38"/>
                        </a:lnTo>
                        <a:lnTo>
                          <a:pt x="2164" y="49"/>
                        </a:lnTo>
                        <a:lnTo>
                          <a:pt x="2206" y="62"/>
                        </a:lnTo>
                        <a:lnTo>
                          <a:pt x="2247" y="75"/>
                        </a:lnTo>
                        <a:lnTo>
                          <a:pt x="2285" y="91"/>
                        </a:lnTo>
                        <a:lnTo>
                          <a:pt x="2320" y="107"/>
                        </a:lnTo>
                        <a:lnTo>
                          <a:pt x="2354" y="124"/>
                        </a:lnTo>
                        <a:lnTo>
                          <a:pt x="2385" y="143"/>
                        </a:lnTo>
                        <a:lnTo>
                          <a:pt x="2413" y="162"/>
                        </a:lnTo>
                        <a:lnTo>
                          <a:pt x="2439" y="183"/>
                        </a:lnTo>
                        <a:lnTo>
                          <a:pt x="2464" y="205"/>
                        </a:lnTo>
                        <a:lnTo>
                          <a:pt x="2486" y="227"/>
                        </a:lnTo>
                        <a:lnTo>
                          <a:pt x="2506" y="250"/>
                        </a:lnTo>
                        <a:lnTo>
                          <a:pt x="2525" y="275"/>
                        </a:lnTo>
                        <a:lnTo>
                          <a:pt x="2540" y="300"/>
                        </a:lnTo>
                        <a:lnTo>
                          <a:pt x="2556" y="326"/>
                        </a:lnTo>
                        <a:lnTo>
                          <a:pt x="2569" y="353"/>
                        </a:lnTo>
                        <a:lnTo>
                          <a:pt x="2579" y="381"/>
                        </a:lnTo>
                        <a:lnTo>
                          <a:pt x="2589" y="409"/>
                        </a:lnTo>
                        <a:lnTo>
                          <a:pt x="2597" y="438"/>
                        </a:lnTo>
                        <a:lnTo>
                          <a:pt x="2604" y="467"/>
                        </a:lnTo>
                        <a:lnTo>
                          <a:pt x="2609" y="497"/>
                        </a:lnTo>
                        <a:lnTo>
                          <a:pt x="2614" y="528"/>
                        </a:lnTo>
                        <a:lnTo>
                          <a:pt x="2616" y="559"/>
                        </a:lnTo>
                        <a:lnTo>
                          <a:pt x="2619" y="590"/>
                        </a:lnTo>
                        <a:lnTo>
                          <a:pt x="2619" y="622"/>
                        </a:lnTo>
                        <a:close/>
                      </a:path>
                    </a:pathLst>
                  </a:custGeom>
                  <a:solidFill>
                    <a:srgbClr val="F477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6" name="Freeform 6"/>
                  <p:cNvSpPr>
                    <a:spLocks/>
                  </p:cNvSpPr>
                  <p:nvPr userDrawn="1"/>
                </p:nvSpPr>
                <p:spPr bwMode="auto">
                  <a:xfrm>
                    <a:off x="853903" y="-2215743"/>
                    <a:ext cx="2078040" cy="987429"/>
                  </a:xfrm>
                  <a:custGeom>
                    <a:avLst/>
                    <a:gdLst>
                      <a:gd name="T0" fmla="*/ 2619 w 2619"/>
                      <a:gd name="T1" fmla="*/ 622 h 1244"/>
                      <a:gd name="T2" fmla="*/ 2616 w 2619"/>
                      <a:gd name="T3" fmla="*/ 686 h 1244"/>
                      <a:gd name="T4" fmla="*/ 2609 w 2619"/>
                      <a:gd name="T5" fmla="*/ 748 h 1244"/>
                      <a:gd name="T6" fmla="*/ 2597 w 2619"/>
                      <a:gd name="T7" fmla="*/ 807 h 1244"/>
                      <a:gd name="T8" fmla="*/ 2579 w 2619"/>
                      <a:gd name="T9" fmla="*/ 864 h 1244"/>
                      <a:gd name="T10" fmla="*/ 2556 w 2619"/>
                      <a:gd name="T11" fmla="*/ 919 h 1244"/>
                      <a:gd name="T12" fmla="*/ 2525 w 2619"/>
                      <a:gd name="T13" fmla="*/ 970 h 1244"/>
                      <a:gd name="T14" fmla="*/ 2486 w 2619"/>
                      <a:gd name="T15" fmla="*/ 1018 h 1244"/>
                      <a:gd name="T16" fmla="*/ 2439 w 2619"/>
                      <a:gd name="T17" fmla="*/ 1062 h 1244"/>
                      <a:gd name="T18" fmla="*/ 2385 w 2619"/>
                      <a:gd name="T19" fmla="*/ 1102 h 1244"/>
                      <a:gd name="T20" fmla="*/ 2320 w 2619"/>
                      <a:gd name="T21" fmla="*/ 1138 h 1244"/>
                      <a:gd name="T22" fmla="*/ 2247 w 2619"/>
                      <a:gd name="T23" fmla="*/ 1169 h 1244"/>
                      <a:gd name="T24" fmla="*/ 2164 w 2619"/>
                      <a:gd name="T25" fmla="*/ 1195 h 1244"/>
                      <a:gd name="T26" fmla="*/ 2070 w 2619"/>
                      <a:gd name="T27" fmla="*/ 1216 h 1244"/>
                      <a:gd name="T28" fmla="*/ 1964 w 2619"/>
                      <a:gd name="T29" fmla="*/ 1232 h 1244"/>
                      <a:gd name="T30" fmla="*/ 1848 w 2619"/>
                      <a:gd name="T31" fmla="*/ 1241 h 1244"/>
                      <a:gd name="T32" fmla="*/ 1718 w 2619"/>
                      <a:gd name="T33" fmla="*/ 1244 h 1244"/>
                      <a:gd name="T34" fmla="*/ 1684 w 2619"/>
                      <a:gd name="T35" fmla="*/ 1244 h 1244"/>
                      <a:gd name="T36" fmla="*/ 1615 w 2619"/>
                      <a:gd name="T37" fmla="*/ 1240 h 1244"/>
                      <a:gd name="T38" fmla="*/ 1545 w 2619"/>
                      <a:gd name="T39" fmla="*/ 1233 h 1244"/>
                      <a:gd name="T40" fmla="*/ 1436 w 2619"/>
                      <a:gd name="T41" fmla="*/ 1217 h 1244"/>
                      <a:gd name="T42" fmla="*/ 1291 w 2619"/>
                      <a:gd name="T43" fmla="*/ 1187 h 1244"/>
                      <a:gd name="T44" fmla="*/ 1144 w 2619"/>
                      <a:gd name="T45" fmla="*/ 1147 h 1244"/>
                      <a:gd name="T46" fmla="*/ 999 w 2619"/>
                      <a:gd name="T47" fmla="*/ 1100 h 1244"/>
                      <a:gd name="T48" fmla="*/ 857 w 2619"/>
                      <a:gd name="T49" fmla="*/ 1047 h 1244"/>
                      <a:gd name="T50" fmla="*/ 719 w 2619"/>
                      <a:gd name="T51" fmla="*/ 992 h 1244"/>
                      <a:gd name="T52" fmla="*/ 588 w 2619"/>
                      <a:gd name="T53" fmla="*/ 933 h 1244"/>
                      <a:gd name="T54" fmla="*/ 466 w 2619"/>
                      <a:gd name="T55" fmla="*/ 875 h 1244"/>
                      <a:gd name="T56" fmla="*/ 253 w 2619"/>
                      <a:gd name="T57" fmla="*/ 767 h 1244"/>
                      <a:gd name="T58" fmla="*/ 96 w 2619"/>
                      <a:gd name="T59" fmla="*/ 680 h 1244"/>
                      <a:gd name="T60" fmla="*/ 0 w 2619"/>
                      <a:gd name="T61" fmla="*/ 622 h 1244"/>
                      <a:gd name="T62" fmla="*/ 44 w 2619"/>
                      <a:gd name="T63" fmla="*/ 596 h 1244"/>
                      <a:gd name="T64" fmla="*/ 166 w 2619"/>
                      <a:gd name="T65" fmla="*/ 526 h 1244"/>
                      <a:gd name="T66" fmla="*/ 353 w 2619"/>
                      <a:gd name="T67" fmla="*/ 426 h 1244"/>
                      <a:gd name="T68" fmla="*/ 525 w 2619"/>
                      <a:gd name="T69" fmla="*/ 340 h 1244"/>
                      <a:gd name="T70" fmla="*/ 652 w 2619"/>
                      <a:gd name="T71" fmla="*/ 282 h 1244"/>
                      <a:gd name="T72" fmla="*/ 787 w 2619"/>
                      <a:gd name="T73" fmla="*/ 225 h 1244"/>
                      <a:gd name="T74" fmla="*/ 928 w 2619"/>
                      <a:gd name="T75" fmla="*/ 170 h 1244"/>
                      <a:gd name="T76" fmla="*/ 1072 w 2619"/>
                      <a:gd name="T77" fmla="*/ 120 h 1244"/>
                      <a:gd name="T78" fmla="*/ 1218 w 2619"/>
                      <a:gd name="T79" fmla="*/ 76 h 1244"/>
                      <a:gd name="T80" fmla="*/ 1364 w 2619"/>
                      <a:gd name="T81" fmla="*/ 42 h 1244"/>
                      <a:gd name="T82" fmla="*/ 1509 w 2619"/>
                      <a:gd name="T83" fmla="*/ 16 h 1244"/>
                      <a:gd name="T84" fmla="*/ 1579 w 2619"/>
                      <a:gd name="T85" fmla="*/ 8 h 1244"/>
                      <a:gd name="T86" fmla="*/ 1649 w 2619"/>
                      <a:gd name="T87" fmla="*/ 3 h 1244"/>
                      <a:gd name="T88" fmla="*/ 1718 w 2619"/>
                      <a:gd name="T89" fmla="*/ 0 h 1244"/>
                      <a:gd name="T90" fmla="*/ 1785 w 2619"/>
                      <a:gd name="T91" fmla="*/ 2 h 1244"/>
                      <a:gd name="T92" fmla="*/ 1907 w 2619"/>
                      <a:gd name="T93" fmla="*/ 8 h 1244"/>
                      <a:gd name="T94" fmla="*/ 2019 w 2619"/>
                      <a:gd name="T95" fmla="*/ 21 h 1244"/>
                      <a:gd name="T96" fmla="*/ 2118 w 2619"/>
                      <a:gd name="T97" fmla="*/ 38 h 1244"/>
                      <a:gd name="T98" fmla="*/ 2206 w 2619"/>
                      <a:gd name="T99" fmla="*/ 62 h 1244"/>
                      <a:gd name="T100" fmla="*/ 2285 w 2619"/>
                      <a:gd name="T101" fmla="*/ 91 h 1244"/>
                      <a:gd name="T102" fmla="*/ 2354 w 2619"/>
                      <a:gd name="T103" fmla="*/ 124 h 1244"/>
                      <a:gd name="T104" fmla="*/ 2413 w 2619"/>
                      <a:gd name="T105" fmla="*/ 162 h 1244"/>
                      <a:gd name="T106" fmla="*/ 2464 w 2619"/>
                      <a:gd name="T107" fmla="*/ 205 h 1244"/>
                      <a:gd name="T108" fmla="*/ 2506 w 2619"/>
                      <a:gd name="T109" fmla="*/ 250 h 1244"/>
                      <a:gd name="T110" fmla="*/ 2540 w 2619"/>
                      <a:gd name="T111" fmla="*/ 300 h 1244"/>
                      <a:gd name="T112" fmla="*/ 2569 w 2619"/>
                      <a:gd name="T113" fmla="*/ 353 h 1244"/>
                      <a:gd name="T114" fmla="*/ 2589 w 2619"/>
                      <a:gd name="T115" fmla="*/ 409 h 1244"/>
                      <a:gd name="T116" fmla="*/ 2604 w 2619"/>
                      <a:gd name="T117" fmla="*/ 467 h 1244"/>
                      <a:gd name="T118" fmla="*/ 2614 w 2619"/>
                      <a:gd name="T119" fmla="*/ 528 h 1244"/>
                      <a:gd name="T120" fmla="*/ 2619 w 2619"/>
                      <a:gd name="T121" fmla="*/ 59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19" h="1244">
                        <a:moveTo>
                          <a:pt x="2619" y="622"/>
                        </a:moveTo>
                        <a:lnTo>
                          <a:pt x="2619" y="622"/>
                        </a:lnTo>
                        <a:lnTo>
                          <a:pt x="2619" y="654"/>
                        </a:lnTo>
                        <a:lnTo>
                          <a:pt x="2616" y="686"/>
                        </a:lnTo>
                        <a:lnTo>
                          <a:pt x="2614" y="717"/>
                        </a:lnTo>
                        <a:lnTo>
                          <a:pt x="2609" y="748"/>
                        </a:lnTo>
                        <a:lnTo>
                          <a:pt x="2604" y="778"/>
                        </a:lnTo>
                        <a:lnTo>
                          <a:pt x="2597" y="807"/>
                        </a:lnTo>
                        <a:lnTo>
                          <a:pt x="2589" y="836"/>
                        </a:lnTo>
                        <a:lnTo>
                          <a:pt x="2579" y="864"/>
                        </a:lnTo>
                        <a:lnTo>
                          <a:pt x="2569" y="892"/>
                        </a:lnTo>
                        <a:lnTo>
                          <a:pt x="2556" y="919"/>
                        </a:lnTo>
                        <a:lnTo>
                          <a:pt x="2540" y="945"/>
                        </a:lnTo>
                        <a:lnTo>
                          <a:pt x="2525" y="970"/>
                        </a:lnTo>
                        <a:lnTo>
                          <a:pt x="2506" y="994"/>
                        </a:lnTo>
                        <a:lnTo>
                          <a:pt x="2486" y="1018"/>
                        </a:lnTo>
                        <a:lnTo>
                          <a:pt x="2464" y="1040"/>
                        </a:lnTo>
                        <a:lnTo>
                          <a:pt x="2439" y="1062"/>
                        </a:lnTo>
                        <a:lnTo>
                          <a:pt x="2413" y="1083"/>
                        </a:lnTo>
                        <a:lnTo>
                          <a:pt x="2385" y="1102"/>
                        </a:lnTo>
                        <a:lnTo>
                          <a:pt x="2354" y="1121"/>
                        </a:lnTo>
                        <a:lnTo>
                          <a:pt x="2320" y="1138"/>
                        </a:lnTo>
                        <a:lnTo>
                          <a:pt x="2285" y="1154"/>
                        </a:lnTo>
                        <a:lnTo>
                          <a:pt x="2247" y="1169"/>
                        </a:lnTo>
                        <a:lnTo>
                          <a:pt x="2206" y="1183"/>
                        </a:lnTo>
                        <a:lnTo>
                          <a:pt x="2164" y="1195"/>
                        </a:lnTo>
                        <a:lnTo>
                          <a:pt x="2118" y="1207"/>
                        </a:lnTo>
                        <a:lnTo>
                          <a:pt x="2070" y="1216"/>
                        </a:lnTo>
                        <a:lnTo>
                          <a:pt x="2019" y="1225"/>
                        </a:lnTo>
                        <a:lnTo>
                          <a:pt x="1964" y="1232"/>
                        </a:lnTo>
                        <a:lnTo>
                          <a:pt x="1907" y="1236"/>
                        </a:lnTo>
                        <a:lnTo>
                          <a:pt x="1848" y="1241"/>
                        </a:lnTo>
                        <a:lnTo>
                          <a:pt x="1785" y="1244"/>
                        </a:lnTo>
                        <a:lnTo>
                          <a:pt x="1718" y="1244"/>
                        </a:lnTo>
                        <a:lnTo>
                          <a:pt x="1718" y="1244"/>
                        </a:lnTo>
                        <a:lnTo>
                          <a:pt x="1684" y="1244"/>
                        </a:lnTo>
                        <a:lnTo>
                          <a:pt x="1649" y="1242"/>
                        </a:lnTo>
                        <a:lnTo>
                          <a:pt x="1615" y="1240"/>
                        </a:lnTo>
                        <a:lnTo>
                          <a:pt x="1579" y="1238"/>
                        </a:lnTo>
                        <a:lnTo>
                          <a:pt x="1545" y="1233"/>
                        </a:lnTo>
                        <a:lnTo>
                          <a:pt x="1509" y="1229"/>
                        </a:lnTo>
                        <a:lnTo>
                          <a:pt x="1436" y="1217"/>
                        </a:lnTo>
                        <a:lnTo>
                          <a:pt x="1364" y="1203"/>
                        </a:lnTo>
                        <a:lnTo>
                          <a:pt x="1291" y="1187"/>
                        </a:lnTo>
                        <a:lnTo>
                          <a:pt x="1218" y="1168"/>
                        </a:lnTo>
                        <a:lnTo>
                          <a:pt x="1144" y="1147"/>
                        </a:lnTo>
                        <a:lnTo>
                          <a:pt x="1072" y="1125"/>
                        </a:lnTo>
                        <a:lnTo>
                          <a:pt x="999" y="1100"/>
                        </a:lnTo>
                        <a:lnTo>
                          <a:pt x="928" y="1075"/>
                        </a:lnTo>
                        <a:lnTo>
                          <a:pt x="857" y="1047"/>
                        </a:lnTo>
                        <a:lnTo>
                          <a:pt x="787" y="1020"/>
                        </a:lnTo>
                        <a:lnTo>
                          <a:pt x="719" y="992"/>
                        </a:lnTo>
                        <a:lnTo>
                          <a:pt x="652" y="962"/>
                        </a:lnTo>
                        <a:lnTo>
                          <a:pt x="588" y="933"/>
                        </a:lnTo>
                        <a:lnTo>
                          <a:pt x="525" y="904"/>
                        </a:lnTo>
                        <a:lnTo>
                          <a:pt x="466" y="875"/>
                        </a:lnTo>
                        <a:lnTo>
                          <a:pt x="353" y="819"/>
                        </a:lnTo>
                        <a:lnTo>
                          <a:pt x="253" y="767"/>
                        </a:lnTo>
                        <a:lnTo>
                          <a:pt x="166" y="719"/>
                        </a:lnTo>
                        <a:lnTo>
                          <a:pt x="96" y="680"/>
                        </a:lnTo>
                        <a:lnTo>
                          <a:pt x="44" y="649"/>
                        </a:lnTo>
                        <a:lnTo>
                          <a:pt x="0" y="622"/>
                        </a:lnTo>
                        <a:lnTo>
                          <a:pt x="0" y="622"/>
                        </a:lnTo>
                        <a:lnTo>
                          <a:pt x="44" y="596"/>
                        </a:lnTo>
                        <a:lnTo>
                          <a:pt x="96" y="565"/>
                        </a:lnTo>
                        <a:lnTo>
                          <a:pt x="166" y="526"/>
                        </a:lnTo>
                        <a:lnTo>
                          <a:pt x="253" y="478"/>
                        </a:lnTo>
                        <a:lnTo>
                          <a:pt x="353" y="426"/>
                        </a:lnTo>
                        <a:lnTo>
                          <a:pt x="466" y="370"/>
                        </a:lnTo>
                        <a:lnTo>
                          <a:pt x="525" y="340"/>
                        </a:lnTo>
                        <a:lnTo>
                          <a:pt x="588" y="312"/>
                        </a:lnTo>
                        <a:lnTo>
                          <a:pt x="652" y="282"/>
                        </a:lnTo>
                        <a:lnTo>
                          <a:pt x="719" y="254"/>
                        </a:lnTo>
                        <a:lnTo>
                          <a:pt x="787" y="225"/>
                        </a:lnTo>
                        <a:lnTo>
                          <a:pt x="857" y="198"/>
                        </a:lnTo>
                        <a:lnTo>
                          <a:pt x="928" y="170"/>
                        </a:lnTo>
                        <a:lnTo>
                          <a:pt x="999" y="145"/>
                        </a:lnTo>
                        <a:lnTo>
                          <a:pt x="1072" y="120"/>
                        </a:lnTo>
                        <a:lnTo>
                          <a:pt x="1144" y="98"/>
                        </a:lnTo>
                        <a:lnTo>
                          <a:pt x="1218" y="76"/>
                        </a:lnTo>
                        <a:lnTo>
                          <a:pt x="1291" y="59"/>
                        </a:lnTo>
                        <a:lnTo>
                          <a:pt x="1364" y="42"/>
                        </a:lnTo>
                        <a:lnTo>
                          <a:pt x="1436" y="28"/>
                        </a:lnTo>
                        <a:lnTo>
                          <a:pt x="1509" y="16"/>
                        </a:lnTo>
                        <a:lnTo>
                          <a:pt x="1545" y="11"/>
                        </a:lnTo>
                        <a:lnTo>
                          <a:pt x="1579" y="8"/>
                        </a:lnTo>
                        <a:lnTo>
                          <a:pt x="1615" y="5"/>
                        </a:lnTo>
                        <a:lnTo>
                          <a:pt x="1649" y="3"/>
                        </a:lnTo>
                        <a:lnTo>
                          <a:pt x="1684" y="2"/>
                        </a:lnTo>
                        <a:lnTo>
                          <a:pt x="1718" y="0"/>
                        </a:lnTo>
                        <a:lnTo>
                          <a:pt x="1718" y="0"/>
                        </a:lnTo>
                        <a:lnTo>
                          <a:pt x="1785" y="2"/>
                        </a:lnTo>
                        <a:lnTo>
                          <a:pt x="1848" y="4"/>
                        </a:lnTo>
                        <a:lnTo>
                          <a:pt x="1907" y="8"/>
                        </a:lnTo>
                        <a:lnTo>
                          <a:pt x="1964" y="13"/>
                        </a:lnTo>
                        <a:lnTo>
                          <a:pt x="2019" y="21"/>
                        </a:lnTo>
                        <a:lnTo>
                          <a:pt x="2070" y="29"/>
                        </a:lnTo>
                        <a:lnTo>
                          <a:pt x="2118" y="38"/>
                        </a:lnTo>
                        <a:lnTo>
                          <a:pt x="2164" y="49"/>
                        </a:lnTo>
                        <a:lnTo>
                          <a:pt x="2206" y="62"/>
                        </a:lnTo>
                        <a:lnTo>
                          <a:pt x="2247" y="75"/>
                        </a:lnTo>
                        <a:lnTo>
                          <a:pt x="2285" y="91"/>
                        </a:lnTo>
                        <a:lnTo>
                          <a:pt x="2320" y="107"/>
                        </a:lnTo>
                        <a:lnTo>
                          <a:pt x="2354" y="124"/>
                        </a:lnTo>
                        <a:lnTo>
                          <a:pt x="2385" y="143"/>
                        </a:lnTo>
                        <a:lnTo>
                          <a:pt x="2413" y="162"/>
                        </a:lnTo>
                        <a:lnTo>
                          <a:pt x="2439" y="183"/>
                        </a:lnTo>
                        <a:lnTo>
                          <a:pt x="2464" y="205"/>
                        </a:lnTo>
                        <a:lnTo>
                          <a:pt x="2486" y="227"/>
                        </a:lnTo>
                        <a:lnTo>
                          <a:pt x="2506" y="250"/>
                        </a:lnTo>
                        <a:lnTo>
                          <a:pt x="2525" y="275"/>
                        </a:lnTo>
                        <a:lnTo>
                          <a:pt x="2540" y="300"/>
                        </a:lnTo>
                        <a:lnTo>
                          <a:pt x="2556" y="326"/>
                        </a:lnTo>
                        <a:lnTo>
                          <a:pt x="2569" y="353"/>
                        </a:lnTo>
                        <a:lnTo>
                          <a:pt x="2579" y="381"/>
                        </a:lnTo>
                        <a:lnTo>
                          <a:pt x="2589" y="409"/>
                        </a:lnTo>
                        <a:lnTo>
                          <a:pt x="2597" y="438"/>
                        </a:lnTo>
                        <a:lnTo>
                          <a:pt x="2604" y="467"/>
                        </a:lnTo>
                        <a:lnTo>
                          <a:pt x="2609" y="497"/>
                        </a:lnTo>
                        <a:lnTo>
                          <a:pt x="2614" y="528"/>
                        </a:lnTo>
                        <a:lnTo>
                          <a:pt x="2616" y="559"/>
                        </a:lnTo>
                        <a:lnTo>
                          <a:pt x="2619" y="590"/>
                        </a:lnTo>
                        <a:lnTo>
                          <a:pt x="2619" y="6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7" name="Freeform 7"/>
                  <p:cNvSpPr>
                    <a:spLocks noEditPoints="1"/>
                  </p:cNvSpPr>
                  <p:nvPr userDrawn="1"/>
                </p:nvSpPr>
                <p:spPr bwMode="auto">
                  <a:xfrm>
                    <a:off x="2912893" y="-1876016"/>
                    <a:ext cx="19050" cy="307976"/>
                  </a:xfrm>
                  <a:custGeom>
                    <a:avLst/>
                    <a:gdLst>
                      <a:gd name="T0" fmla="*/ 24 w 24"/>
                      <a:gd name="T1" fmla="*/ 195 h 390"/>
                      <a:gd name="T2" fmla="*/ 24 w 24"/>
                      <a:gd name="T3" fmla="*/ 195 h 390"/>
                      <a:gd name="T4" fmla="*/ 24 w 24"/>
                      <a:gd name="T5" fmla="*/ 195 h 390"/>
                      <a:gd name="T6" fmla="*/ 24 w 24"/>
                      <a:gd name="T7" fmla="*/ 235 h 390"/>
                      <a:gd name="T8" fmla="*/ 21 w 24"/>
                      <a:gd name="T9" fmla="*/ 273 h 390"/>
                      <a:gd name="T10" fmla="*/ 20 w 24"/>
                      <a:gd name="T11" fmla="*/ 291 h 390"/>
                      <a:gd name="T12" fmla="*/ 18 w 24"/>
                      <a:gd name="T13" fmla="*/ 310 h 390"/>
                      <a:gd name="T14" fmla="*/ 14 w 24"/>
                      <a:gd name="T15" fmla="*/ 327 h 390"/>
                      <a:gd name="T16" fmla="*/ 11 w 24"/>
                      <a:gd name="T17" fmla="*/ 344 h 390"/>
                      <a:gd name="T18" fmla="*/ 11 w 24"/>
                      <a:gd name="T19" fmla="*/ 344 h 390"/>
                      <a:gd name="T20" fmla="*/ 6 w 24"/>
                      <a:gd name="T21" fmla="*/ 367 h 390"/>
                      <a:gd name="T22" fmla="*/ 0 w 24"/>
                      <a:gd name="T23" fmla="*/ 390 h 390"/>
                      <a:gd name="T24" fmla="*/ 0 w 24"/>
                      <a:gd name="T25" fmla="*/ 390 h 390"/>
                      <a:gd name="T26" fmla="*/ 7 w 24"/>
                      <a:gd name="T27" fmla="*/ 369 h 390"/>
                      <a:gd name="T28" fmla="*/ 13 w 24"/>
                      <a:gd name="T29" fmla="*/ 346 h 390"/>
                      <a:gd name="T30" fmla="*/ 18 w 24"/>
                      <a:gd name="T31" fmla="*/ 323 h 390"/>
                      <a:gd name="T32" fmla="*/ 20 w 24"/>
                      <a:gd name="T33" fmla="*/ 298 h 390"/>
                      <a:gd name="T34" fmla="*/ 22 w 24"/>
                      <a:gd name="T35" fmla="*/ 275 h 390"/>
                      <a:gd name="T36" fmla="*/ 24 w 24"/>
                      <a:gd name="T37" fmla="*/ 248 h 390"/>
                      <a:gd name="T38" fmla="*/ 24 w 24"/>
                      <a:gd name="T39" fmla="*/ 195 h 390"/>
                      <a:gd name="T40" fmla="*/ 0 w 24"/>
                      <a:gd name="T41" fmla="*/ 0 h 390"/>
                      <a:gd name="T42" fmla="*/ 0 w 24"/>
                      <a:gd name="T43" fmla="*/ 0 h 390"/>
                      <a:gd name="T44" fmla="*/ 6 w 24"/>
                      <a:gd name="T45" fmla="*/ 24 h 390"/>
                      <a:gd name="T46" fmla="*/ 11 w 24"/>
                      <a:gd name="T47" fmla="*/ 46 h 390"/>
                      <a:gd name="T48" fmla="*/ 11 w 24"/>
                      <a:gd name="T49" fmla="*/ 46 h 390"/>
                      <a:gd name="T50" fmla="*/ 14 w 24"/>
                      <a:gd name="T51" fmla="*/ 64 h 390"/>
                      <a:gd name="T52" fmla="*/ 18 w 24"/>
                      <a:gd name="T53" fmla="*/ 81 h 390"/>
                      <a:gd name="T54" fmla="*/ 20 w 24"/>
                      <a:gd name="T55" fmla="*/ 99 h 390"/>
                      <a:gd name="T56" fmla="*/ 21 w 24"/>
                      <a:gd name="T57" fmla="*/ 118 h 390"/>
                      <a:gd name="T58" fmla="*/ 24 w 24"/>
                      <a:gd name="T59" fmla="*/ 156 h 390"/>
                      <a:gd name="T60" fmla="*/ 24 w 24"/>
                      <a:gd name="T61" fmla="*/ 195 h 390"/>
                      <a:gd name="T62" fmla="*/ 24 w 24"/>
                      <a:gd name="T63" fmla="*/ 195 h 390"/>
                      <a:gd name="T64" fmla="*/ 24 w 24"/>
                      <a:gd name="T65" fmla="*/ 143 h 390"/>
                      <a:gd name="T66" fmla="*/ 22 w 24"/>
                      <a:gd name="T67" fmla="*/ 117 h 390"/>
                      <a:gd name="T68" fmla="*/ 20 w 24"/>
                      <a:gd name="T69" fmla="*/ 92 h 390"/>
                      <a:gd name="T70" fmla="*/ 18 w 24"/>
                      <a:gd name="T71" fmla="*/ 68 h 390"/>
                      <a:gd name="T72" fmla="*/ 13 w 24"/>
                      <a:gd name="T73" fmla="*/ 44 h 390"/>
                      <a:gd name="T74" fmla="*/ 7 w 24"/>
                      <a:gd name="T75" fmla="*/ 23 h 390"/>
                      <a:gd name="T76" fmla="*/ 0 w 24"/>
                      <a:gd name="T77" fmla="*/ 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 h="390">
                        <a:moveTo>
                          <a:pt x="24" y="195"/>
                        </a:moveTo>
                        <a:lnTo>
                          <a:pt x="24" y="195"/>
                        </a:lnTo>
                        <a:lnTo>
                          <a:pt x="24" y="195"/>
                        </a:lnTo>
                        <a:lnTo>
                          <a:pt x="24" y="235"/>
                        </a:lnTo>
                        <a:lnTo>
                          <a:pt x="21" y="273"/>
                        </a:lnTo>
                        <a:lnTo>
                          <a:pt x="20" y="291"/>
                        </a:lnTo>
                        <a:lnTo>
                          <a:pt x="18" y="310"/>
                        </a:lnTo>
                        <a:lnTo>
                          <a:pt x="14" y="327"/>
                        </a:lnTo>
                        <a:lnTo>
                          <a:pt x="11" y="344"/>
                        </a:lnTo>
                        <a:lnTo>
                          <a:pt x="11" y="344"/>
                        </a:lnTo>
                        <a:lnTo>
                          <a:pt x="6" y="367"/>
                        </a:lnTo>
                        <a:lnTo>
                          <a:pt x="0" y="390"/>
                        </a:lnTo>
                        <a:lnTo>
                          <a:pt x="0" y="390"/>
                        </a:lnTo>
                        <a:lnTo>
                          <a:pt x="7" y="369"/>
                        </a:lnTo>
                        <a:lnTo>
                          <a:pt x="13" y="346"/>
                        </a:lnTo>
                        <a:lnTo>
                          <a:pt x="18" y="323"/>
                        </a:lnTo>
                        <a:lnTo>
                          <a:pt x="20" y="298"/>
                        </a:lnTo>
                        <a:lnTo>
                          <a:pt x="22" y="275"/>
                        </a:lnTo>
                        <a:lnTo>
                          <a:pt x="24" y="248"/>
                        </a:lnTo>
                        <a:lnTo>
                          <a:pt x="24" y="195"/>
                        </a:lnTo>
                        <a:close/>
                        <a:moveTo>
                          <a:pt x="0" y="0"/>
                        </a:moveTo>
                        <a:lnTo>
                          <a:pt x="0" y="0"/>
                        </a:lnTo>
                        <a:lnTo>
                          <a:pt x="6" y="24"/>
                        </a:lnTo>
                        <a:lnTo>
                          <a:pt x="11" y="46"/>
                        </a:lnTo>
                        <a:lnTo>
                          <a:pt x="11" y="46"/>
                        </a:lnTo>
                        <a:lnTo>
                          <a:pt x="14" y="64"/>
                        </a:lnTo>
                        <a:lnTo>
                          <a:pt x="18" y="81"/>
                        </a:lnTo>
                        <a:lnTo>
                          <a:pt x="20" y="99"/>
                        </a:lnTo>
                        <a:lnTo>
                          <a:pt x="21" y="118"/>
                        </a:lnTo>
                        <a:lnTo>
                          <a:pt x="24" y="156"/>
                        </a:lnTo>
                        <a:lnTo>
                          <a:pt x="24" y="195"/>
                        </a:lnTo>
                        <a:lnTo>
                          <a:pt x="24" y="195"/>
                        </a:lnTo>
                        <a:lnTo>
                          <a:pt x="24" y="143"/>
                        </a:lnTo>
                        <a:lnTo>
                          <a:pt x="22" y="117"/>
                        </a:lnTo>
                        <a:lnTo>
                          <a:pt x="20" y="92"/>
                        </a:lnTo>
                        <a:lnTo>
                          <a:pt x="18" y="68"/>
                        </a:lnTo>
                        <a:lnTo>
                          <a:pt x="13" y="44"/>
                        </a:lnTo>
                        <a:lnTo>
                          <a:pt x="7" y="23"/>
                        </a:lnTo>
                        <a:lnTo>
                          <a:pt x="0" y="0"/>
                        </a:lnTo>
                        <a:close/>
                      </a:path>
                    </a:pathLst>
                  </a:custGeom>
                  <a:solidFill>
                    <a:srgbClr val="F9B0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8" name="Freeform 8"/>
                  <p:cNvSpPr>
                    <a:spLocks/>
                  </p:cNvSpPr>
                  <p:nvPr userDrawn="1"/>
                </p:nvSpPr>
                <p:spPr bwMode="auto">
                  <a:xfrm>
                    <a:off x="2912893" y="-1722028"/>
                    <a:ext cx="19050" cy="153988"/>
                  </a:xfrm>
                  <a:custGeom>
                    <a:avLst/>
                    <a:gdLst>
                      <a:gd name="T0" fmla="*/ 24 w 24"/>
                      <a:gd name="T1" fmla="*/ 0 h 195"/>
                      <a:gd name="T2" fmla="*/ 24 w 24"/>
                      <a:gd name="T3" fmla="*/ 0 h 195"/>
                      <a:gd name="T4" fmla="*/ 24 w 24"/>
                      <a:gd name="T5" fmla="*/ 0 h 195"/>
                      <a:gd name="T6" fmla="*/ 24 w 24"/>
                      <a:gd name="T7" fmla="*/ 40 h 195"/>
                      <a:gd name="T8" fmla="*/ 21 w 24"/>
                      <a:gd name="T9" fmla="*/ 78 h 195"/>
                      <a:gd name="T10" fmla="*/ 20 w 24"/>
                      <a:gd name="T11" fmla="*/ 96 h 195"/>
                      <a:gd name="T12" fmla="*/ 18 w 24"/>
                      <a:gd name="T13" fmla="*/ 115 h 195"/>
                      <a:gd name="T14" fmla="*/ 14 w 24"/>
                      <a:gd name="T15" fmla="*/ 132 h 195"/>
                      <a:gd name="T16" fmla="*/ 11 w 24"/>
                      <a:gd name="T17" fmla="*/ 149 h 195"/>
                      <a:gd name="T18" fmla="*/ 11 w 24"/>
                      <a:gd name="T19" fmla="*/ 149 h 195"/>
                      <a:gd name="T20" fmla="*/ 6 w 24"/>
                      <a:gd name="T21" fmla="*/ 172 h 195"/>
                      <a:gd name="T22" fmla="*/ 0 w 24"/>
                      <a:gd name="T23" fmla="*/ 195 h 195"/>
                      <a:gd name="T24" fmla="*/ 0 w 24"/>
                      <a:gd name="T25" fmla="*/ 195 h 195"/>
                      <a:gd name="T26" fmla="*/ 7 w 24"/>
                      <a:gd name="T27" fmla="*/ 174 h 195"/>
                      <a:gd name="T28" fmla="*/ 13 w 24"/>
                      <a:gd name="T29" fmla="*/ 151 h 195"/>
                      <a:gd name="T30" fmla="*/ 18 w 24"/>
                      <a:gd name="T31" fmla="*/ 128 h 195"/>
                      <a:gd name="T32" fmla="*/ 20 w 24"/>
                      <a:gd name="T33" fmla="*/ 103 h 195"/>
                      <a:gd name="T34" fmla="*/ 22 w 24"/>
                      <a:gd name="T35" fmla="*/ 80 h 195"/>
                      <a:gd name="T36" fmla="*/ 24 w 24"/>
                      <a:gd name="T37" fmla="*/ 53 h 195"/>
                      <a:gd name="T38" fmla="*/ 24 w 24"/>
                      <a:gd name="T39"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 h="195">
                        <a:moveTo>
                          <a:pt x="24" y="0"/>
                        </a:moveTo>
                        <a:lnTo>
                          <a:pt x="24" y="0"/>
                        </a:lnTo>
                        <a:lnTo>
                          <a:pt x="24" y="0"/>
                        </a:lnTo>
                        <a:lnTo>
                          <a:pt x="24" y="40"/>
                        </a:lnTo>
                        <a:lnTo>
                          <a:pt x="21" y="78"/>
                        </a:lnTo>
                        <a:lnTo>
                          <a:pt x="20" y="96"/>
                        </a:lnTo>
                        <a:lnTo>
                          <a:pt x="18" y="115"/>
                        </a:lnTo>
                        <a:lnTo>
                          <a:pt x="14" y="132"/>
                        </a:lnTo>
                        <a:lnTo>
                          <a:pt x="11" y="149"/>
                        </a:lnTo>
                        <a:lnTo>
                          <a:pt x="11" y="149"/>
                        </a:lnTo>
                        <a:lnTo>
                          <a:pt x="6" y="172"/>
                        </a:lnTo>
                        <a:lnTo>
                          <a:pt x="0" y="195"/>
                        </a:lnTo>
                        <a:lnTo>
                          <a:pt x="0" y="195"/>
                        </a:lnTo>
                        <a:lnTo>
                          <a:pt x="7" y="174"/>
                        </a:lnTo>
                        <a:lnTo>
                          <a:pt x="13" y="151"/>
                        </a:lnTo>
                        <a:lnTo>
                          <a:pt x="18" y="128"/>
                        </a:lnTo>
                        <a:lnTo>
                          <a:pt x="20" y="103"/>
                        </a:lnTo>
                        <a:lnTo>
                          <a:pt x="22" y="80"/>
                        </a:lnTo>
                        <a:lnTo>
                          <a:pt x="24" y="53"/>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9" name="Freeform 9"/>
                  <p:cNvSpPr>
                    <a:spLocks/>
                  </p:cNvSpPr>
                  <p:nvPr userDrawn="1"/>
                </p:nvSpPr>
                <p:spPr bwMode="auto">
                  <a:xfrm>
                    <a:off x="2912893" y="-1876016"/>
                    <a:ext cx="19050" cy="153988"/>
                  </a:xfrm>
                  <a:custGeom>
                    <a:avLst/>
                    <a:gdLst>
                      <a:gd name="T0" fmla="*/ 0 w 24"/>
                      <a:gd name="T1" fmla="*/ 0 h 195"/>
                      <a:gd name="T2" fmla="*/ 0 w 24"/>
                      <a:gd name="T3" fmla="*/ 0 h 195"/>
                      <a:gd name="T4" fmla="*/ 6 w 24"/>
                      <a:gd name="T5" fmla="*/ 24 h 195"/>
                      <a:gd name="T6" fmla="*/ 11 w 24"/>
                      <a:gd name="T7" fmla="*/ 46 h 195"/>
                      <a:gd name="T8" fmla="*/ 11 w 24"/>
                      <a:gd name="T9" fmla="*/ 46 h 195"/>
                      <a:gd name="T10" fmla="*/ 14 w 24"/>
                      <a:gd name="T11" fmla="*/ 64 h 195"/>
                      <a:gd name="T12" fmla="*/ 18 w 24"/>
                      <a:gd name="T13" fmla="*/ 81 h 195"/>
                      <a:gd name="T14" fmla="*/ 20 w 24"/>
                      <a:gd name="T15" fmla="*/ 99 h 195"/>
                      <a:gd name="T16" fmla="*/ 21 w 24"/>
                      <a:gd name="T17" fmla="*/ 118 h 195"/>
                      <a:gd name="T18" fmla="*/ 24 w 24"/>
                      <a:gd name="T19" fmla="*/ 156 h 195"/>
                      <a:gd name="T20" fmla="*/ 24 w 24"/>
                      <a:gd name="T21" fmla="*/ 195 h 195"/>
                      <a:gd name="T22" fmla="*/ 24 w 24"/>
                      <a:gd name="T23" fmla="*/ 195 h 195"/>
                      <a:gd name="T24" fmla="*/ 24 w 24"/>
                      <a:gd name="T25" fmla="*/ 143 h 195"/>
                      <a:gd name="T26" fmla="*/ 22 w 24"/>
                      <a:gd name="T27" fmla="*/ 117 h 195"/>
                      <a:gd name="T28" fmla="*/ 20 w 24"/>
                      <a:gd name="T29" fmla="*/ 92 h 195"/>
                      <a:gd name="T30" fmla="*/ 18 w 24"/>
                      <a:gd name="T31" fmla="*/ 68 h 195"/>
                      <a:gd name="T32" fmla="*/ 13 w 24"/>
                      <a:gd name="T33" fmla="*/ 44 h 195"/>
                      <a:gd name="T34" fmla="*/ 7 w 24"/>
                      <a:gd name="T35" fmla="*/ 23 h 195"/>
                      <a:gd name="T36" fmla="*/ 0 w 24"/>
                      <a:gd name="T37"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 h="195">
                        <a:moveTo>
                          <a:pt x="0" y="0"/>
                        </a:moveTo>
                        <a:lnTo>
                          <a:pt x="0" y="0"/>
                        </a:lnTo>
                        <a:lnTo>
                          <a:pt x="6" y="24"/>
                        </a:lnTo>
                        <a:lnTo>
                          <a:pt x="11" y="46"/>
                        </a:lnTo>
                        <a:lnTo>
                          <a:pt x="11" y="46"/>
                        </a:lnTo>
                        <a:lnTo>
                          <a:pt x="14" y="64"/>
                        </a:lnTo>
                        <a:lnTo>
                          <a:pt x="18" y="81"/>
                        </a:lnTo>
                        <a:lnTo>
                          <a:pt x="20" y="99"/>
                        </a:lnTo>
                        <a:lnTo>
                          <a:pt x="21" y="118"/>
                        </a:lnTo>
                        <a:lnTo>
                          <a:pt x="24" y="156"/>
                        </a:lnTo>
                        <a:lnTo>
                          <a:pt x="24" y="195"/>
                        </a:lnTo>
                        <a:lnTo>
                          <a:pt x="24" y="195"/>
                        </a:lnTo>
                        <a:lnTo>
                          <a:pt x="24" y="143"/>
                        </a:lnTo>
                        <a:lnTo>
                          <a:pt x="22" y="117"/>
                        </a:lnTo>
                        <a:lnTo>
                          <a:pt x="20" y="92"/>
                        </a:lnTo>
                        <a:lnTo>
                          <a:pt x="18" y="68"/>
                        </a:lnTo>
                        <a:lnTo>
                          <a:pt x="13" y="44"/>
                        </a:lnTo>
                        <a:lnTo>
                          <a:pt x="7"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0" name="Freeform 10"/>
                  <p:cNvSpPr>
                    <a:spLocks/>
                  </p:cNvSpPr>
                  <p:nvPr userDrawn="1"/>
                </p:nvSpPr>
                <p:spPr bwMode="auto">
                  <a:xfrm>
                    <a:off x="1828629" y="-2001429"/>
                    <a:ext cx="1093789" cy="558802"/>
                  </a:xfrm>
                  <a:custGeom>
                    <a:avLst/>
                    <a:gdLst>
                      <a:gd name="T0" fmla="*/ 934 w 1379"/>
                      <a:gd name="T1" fmla="*/ 1 h 704"/>
                      <a:gd name="T2" fmla="*/ 814 w 1379"/>
                      <a:gd name="T3" fmla="*/ 16 h 704"/>
                      <a:gd name="T4" fmla="*/ 689 w 1379"/>
                      <a:gd name="T5" fmla="*/ 44 h 704"/>
                      <a:gd name="T6" fmla="*/ 566 w 1379"/>
                      <a:gd name="T7" fmla="*/ 82 h 704"/>
                      <a:gd name="T8" fmla="*/ 408 w 1379"/>
                      <a:gd name="T9" fmla="*/ 144 h 704"/>
                      <a:gd name="T10" fmla="*/ 200 w 1379"/>
                      <a:gd name="T11" fmla="*/ 241 h 704"/>
                      <a:gd name="T12" fmla="*/ 25 w 1379"/>
                      <a:gd name="T13" fmla="*/ 338 h 704"/>
                      <a:gd name="T14" fmla="*/ 25 w 1379"/>
                      <a:gd name="T15" fmla="*/ 367 h 704"/>
                      <a:gd name="T16" fmla="*/ 200 w 1379"/>
                      <a:gd name="T17" fmla="*/ 464 h 704"/>
                      <a:gd name="T18" fmla="*/ 408 w 1379"/>
                      <a:gd name="T19" fmla="*/ 561 h 704"/>
                      <a:gd name="T20" fmla="*/ 566 w 1379"/>
                      <a:gd name="T21" fmla="*/ 623 h 704"/>
                      <a:gd name="T22" fmla="*/ 689 w 1379"/>
                      <a:gd name="T23" fmla="*/ 661 h 704"/>
                      <a:gd name="T24" fmla="*/ 814 w 1379"/>
                      <a:gd name="T25" fmla="*/ 690 h 704"/>
                      <a:gd name="T26" fmla="*/ 934 w 1379"/>
                      <a:gd name="T27" fmla="*/ 704 h 704"/>
                      <a:gd name="T28" fmla="*/ 1020 w 1379"/>
                      <a:gd name="T29" fmla="*/ 704 h 704"/>
                      <a:gd name="T30" fmla="*/ 1137 w 1379"/>
                      <a:gd name="T31" fmla="*/ 693 h 704"/>
                      <a:gd name="T32" fmla="*/ 1228 w 1379"/>
                      <a:gd name="T33" fmla="*/ 671 h 704"/>
                      <a:gd name="T34" fmla="*/ 1294 w 1379"/>
                      <a:gd name="T35" fmla="*/ 638 h 704"/>
                      <a:gd name="T36" fmla="*/ 1339 w 1379"/>
                      <a:gd name="T37" fmla="*/ 597 h 704"/>
                      <a:gd name="T38" fmla="*/ 1368 w 1379"/>
                      <a:gd name="T39" fmla="*/ 547 h 704"/>
                      <a:gd name="T40" fmla="*/ 1379 w 1379"/>
                      <a:gd name="T41" fmla="*/ 501 h 704"/>
                      <a:gd name="T42" fmla="*/ 1365 w 1379"/>
                      <a:gd name="T43" fmla="*/ 536 h 704"/>
                      <a:gd name="T44" fmla="*/ 1333 w 1379"/>
                      <a:gd name="T45" fmla="*/ 581 h 704"/>
                      <a:gd name="T46" fmla="*/ 1283 w 1379"/>
                      <a:gd name="T47" fmla="*/ 618 h 704"/>
                      <a:gd name="T48" fmla="*/ 1209 w 1379"/>
                      <a:gd name="T49" fmla="*/ 646 h 704"/>
                      <a:gd name="T50" fmla="*/ 1108 w 1379"/>
                      <a:gd name="T51" fmla="*/ 660 h 704"/>
                      <a:gd name="T52" fmla="*/ 1022 w 1379"/>
                      <a:gd name="T53" fmla="*/ 663 h 704"/>
                      <a:gd name="T54" fmla="*/ 918 w 1379"/>
                      <a:gd name="T55" fmla="*/ 655 h 704"/>
                      <a:gd name="T56" fmla="*/ 808 w 1379"/>
                      <a:gd name="T57" fmla="*/ 635 h 704"/>
                      <a:gd name="T58" fmla="*/ 699 w 1379"/>
                      <a:gd name="T59" fmla="*/ 604 h 704"/>
                      <a:gd name="T60" fmla="*/ 591 w 1379"/>
                      <a:gd name="T61" fmla="*/ 565 h 704"/>
                      <a:gd name="T62" fmla="*/ 395 w 1379"/>
                      <a:gd name="T63" fmla="*/ 479 h 704"/>
                      <a:gd name="T64" fmla="*/ 246 w 1379"/>
                      <a:gd name="T65" fmla="*/ 401 h 704"/>
                      <a:gd name="T66" fmla="*/ 163 w 1379"/>
                      <a:gd name="T67" fmla="*/ 352 h 704"/>
                      <a:gd name="T68" fmla="*/ 289 w 1379"/>
                      <a:gd name="T69" fmla="*/ 281 h 704"/>
                      <a:gd name="T70" fmla="*/ 457 w 1379"/>
                      <a:gd name="T71" fmla="*/ 197 h 704"/>
                      <a:gd name="T72" fmla="*/ 626 w 1379"/>
                      <a:gd name="T73" fmla="*/ 126 h 704"/>
                      <a:gd name="T74" fmla="*/ 735 w 1379"/>
                      <a:gd name="T75" fmla="*/ 91 h 704"/>
                      <a:gd name="T76" fmla="*/ 845 w 1379"/>
                      <a:gd name="T77" fmla="*/ 62 h 704"/>
                      <a:gd name="T78" fmla="*/ 952 w 1379"/>
                      <a:gd name="T79" fmla="*/ 45 h 704"/>
                      <a:gd name="T80" fmla="*/ 1022 w 1379"/>
                      <a:gd name="T81" fmla="*/ 42 h 704"/>
                      <a:gd name="T82" fmla="*/ 1144 w 1379"/>
                      <a:gd name="T83" fmla="*/ 48 h 704"/>
                      <a:gd name="T84" fmla="*/ 1237 w 1379"/>
                      <a:gd name="T85" fmla="*/ 68 h 704"/>
                      <a:gd name="T86" fmla="*/ 1303 w 1379"/>
                      <a:gd name="T87" fmla="*/ 98 h 704"/>
                      <a:gd name="T88" fmla="*/ 1346 w 1379"/>
                      <a:gd name="T89" fmla="*/ 138 h 704"/>
                      <a:gd name="T90" fmla="*/ 1373 w 1379"/>
                      <a:gd name="T91" fmla="*/ 187 h 704"/>
                      <a:gd name="T92" fmla="*/ 1374 w 1379"/>
                      <a:gd name="T93" fmla="*/ 181 h 704"/>
                      <a:gd name="T94" fmla="*/ 1360 w 1379"/>
                      <a:gd name="T95" fmla="*/ 140 h 704"/>
                      <a:gd name="T96" fmla="*/ 1326 w 1379"/>
                      <a:gd name="T97" fmla="*/ 93 h 704"/>
                      <a:gd name="T98" fmla="*/ 1274 w 1379"/>
                      <a:gd name="T99" fmla="*/ 55 h 704"/>
                      <a:gd name="T100" fmla="*/ 1202 w 1379"/>
                      <a:gd name="T101" fmla="*/ 25 h 704"/>
                      <a:gd name="T102" fmla="*/ 1102 w 1379"/>
                      <a:gd name="T103" fmla="*/ 7 h 704"/>
                      <a:gd name="T104" fmla="*/ 973 w 1379"/>
                      <a:gd name="T10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79" h="704">
                        <a:moveTo>
                          <a:pt x="973" y="0"/>
                        </a:moveTo>
                        <a:lnTo>
                          <a:pt x="973" y="0"/>
                        </a:lnTo>
                        <a:lnTo>
                          <a:pt x="934" y="1"/>
                        </a:lnTo>
                        <a:lnTo>
                          <a:pt x="895" y="5"/>
                        </a:lnTo>
                        <a:lnTo>
                          <a:pt x="855" y="10"/>
                        </a:lnTo>
                        <a:lnTo>
                          <a:pt x="814" y="16"/>
                        </a:lnTo>
                        <a:lnTo>
                          <a:pt x="773" y="24"/>
                        </a:lnTo>
                        <a:lnTo>
                          <a:pt x="731" y="33"/>
                        </a:lnTo>
                        <a:lnTo>
                          <a:pt x="689" y="44"/>
                        </a:lnTo>
                        <a:lnTo>
                          <a:pt x="648" y="56"/>
                        </a:lnTo>
                        <a:lnTo>
                          <a:pt x="607" y="68"/>
                        </a:lnTo>
                        <a:lnTo>
                          <a:pt x="566" y="82"/>
                        </a:lnTo>
                        <a:lnTo>
                          <a:pt x="525" y="96"/>
                        </a:lnTo>
                        <a:lnTo>
                          <a:pt x="485" y="112"/>
                        </a:lnTo>
                        <a:lnTo>
                          <a:pt x="408" y="144"/>
                        </a:lnTo>
                        <a:lnTo>
                          <a:pt x="333" y="176"/>
                        </a:lnTo>
                        <a:lnTo>
                          <a:pt x="264" y="209"/>
                        </a:lnTo>
                        <a:lnTo>
                          <a:pt x="200" y="241"/>
                        </a:lnTo>
                        <a:lnTo>
                          <a:pt x="144" y="271"/>
                        </a:lnTo>
                        <a:lnTo>
                          <a:pt x="95" y="297"/>
                        </a:lnTo>
                        <a:lnTo>
                          <a:pt x="25" y="338"/>
                        </a:lnTo>
                        <a:lnTo>
                          <a:pt x="0" y="352"/>
                        </a:lnTo>
                        <a:lnTo>
                          <a:pt x="0" y="352"/>
                        </a:lnTo>
                        <a:lnTo>
                          <a:pt x="25" y="367"/>
                        </a:lnTo>
                        <a:lnTo>
                          <a:pt x="95" y="408"/>
                        </a:lnTo>
                        <a:lnTo>
                          <a:pt x="144" y="434"/>
                        </a:lnTo>
                        <a:lnTo>
                          <a:pt x="200" y="464"/>
                        </a:lnTo>
                        <a:lnTo>
                          <a:pt x="264" y="496"/>
                        </a:lnTo>
                        <a:lnTo>
                          <a:pt x="333" y="528"/>
                        </a:lnTo>
                        <a:lnTo>
                          <a:pt x="408" y="561"/>
                        </a:lnTo>
                        <a:lnTo>
                          <a:pt x="485" y="593"/>
                        </a:lnTo>
                        <a:lnTo>
                          <a:pt x="525" y="609"/>
                        </a:lnTo>
                        <a:lnTo>
                          <a:pt x="566" y="623"/>
                        </a:lnTo>
                        <a:lnTo>
                          <a:pt x="607" y="636"/>
                        </a:lnTo>
                        <a:lnTo>
                          <a:pt x="648" y="649"/>
                        </a:lnTo>
                        <a:lnTo>
                          <a:pt x="689" y="661"/>
                        </a:lnTo>
                        <a:lnTo>
                          <a:pt x="731" y="672"/>
                        </a:lnTo>
                        <a:lnTo>
                          <a:pt x="773" y="681"/>
                        </a:lnTo>
                        <a:lnTo>
                          <a:pt x="814" y="690"/>
                        </a:lnTo>
                        <a:lnTo>
                          <a:pt x="855" y="695"/>
                        </a:lnTo>
                        <a:lnTo>
                          <a:pt x="895" y="700"/>
                        </a:lnTo>
                        <a:lnTo>
                          <a:pt x="934" y="704"/>
                        </a:lnTo>
                        <a:lnTo>
                          <a:pt x="973" y="704"/>
                        </a:lnTo>
                        <a:lnTo>
                          <a:pt x="973" y="704"/>
                        </a:lnTo>
                        <a:lnTo>
                          <a:pt x="1020" y="704"/>
                        </a:lnTo>
                        <a:lnTo>
                          <a:pt x="1063" y="701"/>
                        </a:lnTo>
                        <a:lnTo>
                          <a:pt x="1102" y="698"/>
                        </a:lnTo>
                        <a:lnTo>
                          <a:pt x="1137" y="693"/>
                        </a:lnTo>
                        <a:lnTo>
                          <a:pt x="1171" y="687"/>
                        </a:lnTo>
                        <a:lnTo>
                          <a:pt x="1202" y="680"/>
                        </a:lnTo>
                        <a:lnTo>
                          <a:pt x="1228" y="671"/>
                        </a:lnTo>
                        <a:lnTo>
                          <a:pt x="1253" y="661"/>
                        </a:lnTo>
                        <a:lnTo>
                          <a:pt x="1274" y="650"/>
                        </a:lnTo>
                        <a:lnTo>
                          <a:pt x="1294" y="638"/>
                        </a:lnTo>
                        <a:lnTo>
                          <a:pt x="1311" y="625"/>
                        </a:lnTo>
                        <a:lnTo>
                          <a:pt x="1326" y="612"/>
                        </a:lnTo>
                        <a:lnTo>
                          <a:pt x="1339" y="597"/>
                        </a:lnTo>
                        <a:lnTo>
                          <a:pt x="1350" y="581"/>
                        </a:lnTo>
                        <a:lnTo>
                          <a:pt x="1360" y="565"/>
                        </a:lnTo>
                        <a:lnTo>
                          <a:pt x="1368" y="547"/>
                        </a:lnTo>
                        <a:lnTo>
                          <a:pt x="1368" y="547"/>
                        </a:lnTo>
                        <a:lnTo>
                          <a:pt x="1374" y="524"/>
                        </a:lnTo>
                        <a:lnTo>
                          <a:pt x="1379" y="501"/>
                        </a:lnTo>
                        <a:lnTo>
                          <a:pt x="1379" y="501"/>
                        </a:lnTo>
                        <a:lnTo>
                          <a:pt x="1373" y="518"/>
                        </a:lnTo>
                        <a:lnTo>
                          <a:pt x="1365" y="536"/>
                        </a:lnTo>
                        <a:lnTo>
                          <a:pt x="1357" y="552"/>
                        </a:lnTo>
                        <a:lnTo>
                          <a:pt x="1346" y="567"/>
                        </a:lnTo>
                        <a:lnTo>
                          <a:pt x="1333" y="581"/>
                        </a:lnTo>
                        <a:lnTo>
                          <a:pt x="1319" y="594"/>
                        </a:lnTo>
                        <a:lnTo>
                          <a:pt x="1303" y="608"/>
                        </a:lnTo>
                        <a:lnTo>
                          <a:pt x="1283" y="618"/>
                        </a:lnTo>
                        <a:lnTo>
                          <a:pt x="1261" y="629"/>
                        </a:lnTo>
                        <a:lnTo>
                          <a:pt x="1237" y="637"/>
                        </a:lnTo>
                        <a:lnTo>
                          <a:pt x="1209" y="646"/>
                        </a:lnTo>
                        <a:lnTo>
                          <a:pt x="1179" y="652"/>
                        </a:lnTo>
                        <a:lnTo>
                          <a:pt x="1144" y="656"/>
                        </a:lnTo>
                        <a:lnTo>
                          <a:pt x="1108" y="660"/>
                        </a:lnTo>
                        <a:lnTo>
                          <a:pt x="1066" y="662"/>
                        </a:lnTo>
                        <a:lnTo>
                          <a:pt x="1022" y="663"/>
                        </a:lnTo>
                        <a:lnTo>
                          <a:pt x="1022" y="663"/>
                        </a:lnTo>
                        <a:lnTo>
                          <a:pt x="988" y="662"/>
                        </a:lnTo>
                        <a:lnTo>
                          <a:pt x="952" y="660"/>
                        </a:lnTo>
                        <a:lnTo>
                          <a:pt x="918" y="655"/>
                        </a:lnTo>
                        <a:lnTo>
                          <a:pt x="881" y="650"/>
                        </a:lnTo>
                        <a:lnTo>
                          <a:pt x="845" y="643"/>
                        </a:lnTo>
                        <a:lnTo>
                          <a:pt x="808" y="635"/>
                        </a:lnTo>
                        <a:lnTo>
                          <a:pt x="771" y="625"/>
                        </a:lnTo>
                        <a:lnTo>
                          <a:pt x="735" y="615"/>
                        </a:lnTo>
                        <a:lnTo>
                          <a:pt x="699" y="604"/>
                        </a:lnTo>
                        <a:lnTo>
                          <a:pt x="662" y="591"/>
                        </a:lnTo>
                        <a:lnTo>
                          <a:pt x="626" y="578"/>
                        </a:lnTo>
                        <a:lnTo>
                          <a:pt x="591" y="565"/>
                        </a:lnTo>
                        <a:lnTo>
                          <a:pt x="522" y="537"/>
                        </a:lnTo>
                        <a:lnTo>
                          <a:pt x="457" y="508"/>
                        </a:lnTo>
                        <a:lnTo>
                          <a:pt x="395" y="479"/>
                        </a:lnTo>
                        <a:lnTo>
                          <a:pt x="339" y="451"/>
                        </a:lnTo>
                        <a:lnTo>
                          <a:pt x="289" y="424"/>
                        </a:lnTo>
                        <a:lnTo>
                          <a:pt x="246" y="401"/>
                        </a:lnTo>
                        <a:lnTo>
                          <a:pt x="184" y="366"/>
                        </a:lnTo>
                        <a:lnTo>
                          <a:pt x="163" y="352"/>
                        </a:lnTo>
                        <a:lnTo>
                          <a:pt x="163" y="352"/>
                        </a:lnTo>
                        <a:lnTo>
                          <a:pt x="184" y="339"/>
                        </a:lnTo>
                        <a:lnTo>
                          <a:pt x="246" y="304"/>
                        </a:lnTo>
                        <a:lnTo>
                          <a:pt x="289" y="281"/>
                        </a:lnTo>
                        <a:lnTo>
                          <a:pt x="339" y="255"/>
                        </a:lnTo>
                        <a:lnTo>
                          <a:pt x="395" y="226"/>
                        </a:lnTo>
                        <a:lnTo>
                          <a:pt x="457" y="197"/>
                        </a:lnTo>
                        <a:lnTo>
                          <a:pt x="522" y="168"/>
                        </a:lnTo>
                        <a:lnTo>
                          <a:pt x="591" y="140"/>
                        </a:lnTo>
                        <a:lnTo>
                          <a:pt x="626" y="126"/>
                        </a:lnTo>
                        <a:lnTo>
                          <a:pt x="662" y="114"/>
                        </a:lnTo>
                        <a:lnTo>
                          <a:pt x="699" y="101"/>
                        </a:lnTo>
                        <a:lnTo>
                          <a:pt x="735" y="91"/>
                        </a:lnTo>
                        <a:lnTo>
                          <a:pt x="771" y="80"/>
                        </a:lnTo>
                        <a:lnTo>
                          <a:pt x="808" y="70"/>
                        </a:lnTo>
                        <a:lnTo>
                          <a:pt x="845" y="62"/>
                        </a:lnTo>
                        <a:lnTo>
                          <a:pt x="881" y="55"/>
                        </a:lnTo>
                        <a:lnTo>
                          <a:pt x="918" y="49"/>
                        </a:lnTo>
                        <a:lnTo>
                          <a:pt x="952" y="45"/>
                        </a:lnTo>
                        <a:lnTo>
                          <a:pt x="988" y="43"/>
                        </a:lnTo>
                        <a:lnTo>
                          <a:pt x="1022" y="42"/>
                        </a:lnTo>
                        <a:lnTo>
                          <a:pt x="1022" y="42"/>
                        </a:lnTo>
                        <a:lnTo>
                          <a:pt x="1066" y="43"/>
                        </a:lnTo>
                        <a:lnTo>
                          <a:pt x="1108" y="44"/>
                        </a:lnTo>
                        <a:lnTo>
                          <a:pt x="1144" y="48"/>
                        </a:lnTo>
                        <a:lnTo>
                          <a:pt x="1179" y="54"/>
                        </a:lnTo>
                        <a:lnTo>
                          <a:pt x="1209" y="60"/>
                        </a:lnTo>
                        <a:lnTo>
                          <a:pt x="1237" y="68"/>
                        </a:lnTo>
                        <a:lnTo>
                          <a:pt x="1261" y="76"/>
                        </a:lnTo>
                        <a:lnTo>
                          <a:pt x="1283" y="87"/>
                        </a:lnTo>
                        <a:lnTo>
                          <a:pt x="1303" y="98"/>
                        </a:lnTo>
                        <a:lnTo>
                          <a:pt x="1319" y="110"/>
                        </a:lnTo>
                        <a:lnTo>
                          <a:pt x="1333" y="124"/>
                        </a:lnTo>
                        <a:lnTo>
                          <a:pt x="1346" y="138"/>
                        </a:lnTo>
                        <a:lnTo>
                          <a:pt x="1357" y="154"/>
                        </a:lnTo>
                        <a:lnTo>
                          <a:pt x="1365" y="169"/>
                        </a:lnTo>
                        <a:lnTo>
                          <a:pt x="1373" y="187"/>
                        </a:lnTo>
                        <a:lnTo>
                          <a:pt x="1379" y="203"/>
                        </a:lnTo>
                        <a:lnTo>
                          <a:pt x="1379" y="203"/>
                        </a:lnTo>
                        <a:lnTo>
                          <a:pt x="1374" y="181"/>
                        </a:lnTo>
                        <a:lnTo>
                          <a:pt x="1368" y="157"/>
                        </a:lnTo>
                        <a:lnTo>
                          <a:pt x="1368" y="157"/>
                        </a:lnTo>
                        <a:lnTo>
                          <a:pt x="1360" y="140"/>
                        </a:lnTo>
                        <a:lnTo>
                          <a:pt x="1350" y="124"/>
                        </a:lnTo>
                        <a:lnTo>
                          <a:pt x="1339" y="108"/>
                        </a:lnTo>
                        <a:lnTo>
                          <a:pt x="1326" y="93"/>
                        </a:lnTo>
                        <a:lnTo>
                          <a:pt x="1311" y="80"/>
                        </a:lnTo>
                        <a:lnTo>
                          <a:pt x="1294" y="67"/>
                        </a:lnTo>
                        <a:lnTo>
                          <a:pt x="1274" y="55"/>
                        </a:lnTo>
                        <a:lnTo>
                          <a:pt x="1253" y="44"/>
                        </a:lnTo>
                        <a:lnTo>
                          <a:pt x="1228" y="33"/>
                        </a:lnTo>
                        <a:lnTo>
                          <a:pt x="1202" y="25"/>
                        </a:lnTo>
                        <a:lnTo>
                          <a:pt x="1171" y="18"/>
                        </a:lnTo>
                        <a:lnTo>
                          <a:pt x="1137" y="12"/>
                        </a:lnTo>
                        <a:lnTo>
                          <a:pt x="1102" y="7"/>
                        </a:lnTo>
                        <a:lnTo>
                          <a:pt x="1063" y="4"/>
                        </a:lnTo>
                        <a:lnTo>
                          <a:pt x="1020" y="1"/>
                        </a:lnTo>
                        <a:lnTo>
                          <a:pt x="973" y="0"/>
                        </a:lnTo>
                        <a:close/>
                      </a:path>
                    </a:pathLst>
                  </a:custGeom>
                  <a:solidFill>
                    <a:srgbClr val="F8A9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1" name="Freeform 11"/>
                  <p:cNvSpPr>
                    <a:spLocks/>
                  </p:cNvSpPr>
                  <p:nvPr userDrawn="1"/>
                </p:nvSpPr>
                <p:spPr bwMode="auto">
                  <a:xfrm>
                    <a:off x="1828629" y="-2001429"/>
                    <a:ext cx="1093789" cy="558802"/>
                  </a:xfrm>
                  <a:custGeom>
                    <a:avLst/>
                    <a:gdLst>
                      <a:gd name="T0" fmla="*/ 934 w 1379"/>
                      <a:gd name="T1" fmla="*/ 1 h 704"/>
                      <a:gd name="T2" fmla="*/ 814 w 1379"/>
                      <a:gd name="T3" fmla="*/ 16 h 704"/>
                      <a:gd name="T4" fmla="*/ 689 w 1379"/>
                      <a:gd name="T5" fmla="*/ 44 h 704"/>
                      <a:gd name="T6" fmla="*/ 566 w 1379"/>
                      <a:gd name="T7" fmla="*/ 82 h 704"/>
                      <a:gd name="T8" fmla="*/ 408 w 1379"/>
                      <a:gd name="T9" fmla="*/ 144 h 704"/>
                      <a:gd name="T10" fmla="*/ 200 w 1379"/>
                      <a:gd name="T11" fmla="*/ 241 h 704"/>
                      <a:gd name="T12" fmla="*/ 25 w 1379"/>
                      <a:gd name="T13" fmla="*/ 338 h 704"/>
                      <a:gd name="T14" fmla="*/ 25 w 1379"/>
                      <a:gd name="T15" fmla="*/ 367 h 704"/>
                      <a:gd name="T16" fmla="*/ 200 w 1379"/>
                      <a:gd name="T17" fmla="*/ 464 h 704"/>
                      <a:gd name="T18" fmla="*/ 408 w 1379"/>
                      <a:gd name="T19" fmla="*/ 561 h 704"/>
                      <a:gd name="T20" fmla="*/ 566 w 1379"/>
                      <a:gd name="T21" fmla="*/ 623 h 704"/>
                      <a:gd name="T22" fmla="*/ 689 w 1379"/>
                      <a:gd name="T23" fmla="*/ 661 h 704"/>
                      <a:gd name="T24" fmla="*/ 814 w 1379"/>
                      <a:gd name="T25" fmla="*/ 690 h 704"/>
                      <a:gd name="T26" fmla="*/ 934 w 1379"/>
                      <a:gd name="T27" fmla="*/ 704 h 704"/>
                      <a:gd name="T28" fmla="*/ 1020 w 1379"/>
                      <a:gd name="T29" fmla="*/ 704 h 704"/>
                      <a:gd name="T30" fmla="*/ 1137 w 1379"/>
                      <a:gd name="T31" fmla="*/ 693 h 704"/>
                      <a:gd name="T32" fmla="*/ 1228 w 1379"/>
                      <a:gd name="T33" fmla="*/ 671 h 704"/>
                      <a:gd name="T34" fmla="*/ 1294 w 1379"/>
                      <a:gd name="T35" fmla="*/ 638 h 704"/>
                      <a:gd name="T36" fmla="*/ 1339 w 1379"/>
                      <a:gd name="T37" fmla="*/ 597 h 704"/>
                      <a:gd name="T38" fmla="*/ 1368 w 1379"/>
                      <a:gd name="T39" fmla="*/ 547 h 704"/>
                      <a:gd name="T40" fmla="*/ 1379 w 1379"/>
                      <a:gd name="T41" fmla="*/ 501 h 704"/>
                      <a:gd name="T42" fmla="*/ 1365 w 1379"/>
                      <a:gd name="T43" fmla="*/ 536 h 704"/>
                      <a:gd name="T44" fmla="*/ 1333 w 1379"/>
                      <a:gd name="T45" fmla="*/ 581 h 704"/>
                      <a:gd name="T46" fmla="*/ 1283 w 1379"/>
                      <a:gd name="T47" fmla="*/ 618 h 704"/>
                      <a:gd name="T48" fmla="*/ 1209 w 1379"/>
                      <a:gd name="T49" fmla="*/ 646 h 704"/>
                      <a:gd name="T50" fmla="*/ 1108 w 1379"/>
                      <a:gd name="T51" fmla="*/ 660 h 704"/>
                      <a:gd name="T52" fmla="*/ 1022 w 1379"/>
                      <a:gd name="T53" fmla="*/ 663 h 704"/>
                      <a:gd name="T54" fmla="*/ 918 w 1379"/>
                      <a:gd name="T55" fmla="*/ 655 h 704"/>
                      <a:gd name="T56" fmla="*/ 808 w 1379"/>
                      <a:gd name="T57" fmla="*/ 635 h 704"/>
                      <a:gd name="T58" fmla="*/ 699 w 1379"/>
                      <a:gd name="T59" fmla="*/ 604 h 704"/>
                      <a:gd name="T60" fmla="*/ 591 w 1379"/>
                      <a:gd name="T61" fmla="*/ 565 h 704"/>
                      <a:gd name="T62" fmla="*/ 395 w 1379"/>
                      <a:gd name="T63" fmla="*/ 479 h 704"/>
                      <a:gd name="T64" fmla="*/ 246 w 1379"/>
                      <a:gd name="T65" fmla="*/ 401 h 704"/>
                      <a:gd name="T66" fmla="*/ 163 w 1379"/>
                      <a:gd name="T67" fmla="*/ 352 h 704"/>
                      <a:gd name="T68" fmla="*/ 289 w 1379"/>
                      <a:gd name="T69" fmla="*/ 281 h 704"/>
                      <a:gd name="T70" fmla="*/ 457 w 1379"/>
                      <a:gd name="T71" fmla="*/ 197 h 704"/>
                      <a:gd name="T72" fmla="*/ 626 w 1379"/>
                      <a:gd name="T73" fmla="*/ 126 h 704"/>
                      <a:gd name="T74" fmla="*/ 735 w 1379"/>
                      <a:gd name="T75" fmla="*/ 91 h 704"/>
                      <a:gd name="T76" fmla="*/ 845 w 1379"/>
                      <a:gd name="T77" fmla="*/ 62 h 704"/>
                      <a:gd name="T78" fmla="*/ 952 w 1379"/>
                      <a:gd name="T79" fmla="*/ 45 h 704"/>
                      <a:gd name="T80" fmla="*/ 1022 w 1379"/>
                      <a:gd name="T81" fmla="*/ 42 h 704"/>
                      <a:gd name="T82" fmla="*/ 1144 w 1379"/>
                      <a:gd name="T83" fmla="*/ 48 h 704"/>
                      <a:gd name="T84" fmla="*/ 1237 w 1379"/>
                      <a:gd name="T85" fmla="*/ 68 h 704"/>
                      <a:gd name="T86" fmla="*/ 1303 w 1379"/>
                      <a:gd name="T87" fmla="*/ 98 h 704"/>
                      <a:gd name="T88" fmla="*/ 1346 w 1379"/>
                      <a:gd name="T89" fmla="*/ 138 h 704"/>
                      <a:gd name="T90" fmla="*/ 1373 w 1379"/>
                      <a:gd name="T91" fmla="*/ 187 h 704"/>
                      <a:gd name="T92" fmla="*/ 1374 w 1379"/>
                      <a:gd name="T93" fmla="*/ 181 h 704"/>
                      <a:gd name="T94" fmla="*/ 1360 w 1379"/>
                      <a:gd name="T95" fmla="*/ 140 h 704"/>
                      <a:gd name="T96" fmla="*/ 1326 w 1379"/>
                      <a:gd name="T97" fmla="*/ 93 h 704"/>
                      <a:gd name="T98" fmla="*/ 1274 w 1379"/>
                      <a:gd name="T99" fmla="*/ 55 h 704"/>
                      <a:gd name="T100" fmla="*/ 1202 w 1379"/>
                      <a:gd name="T101" fmla="*/ 25 h 704"/>
                      <a:gd name="T102" fmla="*/ 1102 w 1379"/>
                      <a:gd name="T103" fmla="*/ 7 h 704"/>
                      <a:gd name="T104" fmla="*/ 973 w 1379"/>
                      <a:gd name="T10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79" h="704">
                        <a:moveTo>
                          <a:pt x="973" y="0"/>
                        </a:moveTo>
                        <a:lnTo>
                          <a:pt x="973" y="0"/>
                        </a:lnTo>
                        <a:lnTo>
                          <a:pt x="934" y="1"/>
                        </a:lnTo>
                        <a:lnTo>
                          <a:pt x="895" y="5"/>
                        </a:lnTo>
                        <a:lnTo>
                          <a:pt x="855" y="10"/>
                        </a:lnTo>
                        <a:lnTo>
                          <a:pt x="814" y="16"/>
                        </a:lnTo>
                        <a:lnTo>
                          <a:pt x="773" y="24"/>
                        </a:lnTo>
                        <a:lnTo>
                          <a:pt x="731" y="33"/>
                        </a:lnTo>
                        <a:lnTo>
                          <a:pt x="689" y="44"/>
                        </a:lnTo>
                        <a:lnTo>
                          <a:pt x="648" y="56"/>
                        </a:lnTo>
                        <a:lnTo>
                          <a:pt x="607" y="68"/>
                        </a:lnTo>
                        <a:lnTo>
                          <a:pt x="566" y="82"/>
                        </a:lnTo>
                        <a:lnTo>
                          <a:pt x="525" y="96"/>
                        </a:lnTo>
                        <a:lnTo>
                          <a:pt x="485" y="112"/>
                        </a:lnTo>
                        <a:lnTo>
                          <a:pt x="408" y="144"/>
                        </a:lnTo>
                        <a:lnTo>
                          <a:pt x="333" y="176"/>
                        </a:lnTo>
                        <a:lnTo>
                          <a:pt x="264" y="209"/>
                        </a:lnTo>
                        <a:lnTo>
                          <a:pt x="200" y="241"/>
                        </a:lnTo>
                        <a:lnTo>
                          <a:pt x="144" y="271"/>
                        </a:lnTo>
                        <a:lnTo>
                          <a:pt x="95" y="297"/>
                        </a:lnTo>
                        <a:lnTo>
                          <a:pt x="25" y="338"/>
                        </a:lnTo>
                        <a:lnTo>
                          <a:pt x="0" y="352"/>
                        </a:lnTo>
                        <a:lnTo>
                          <a:pt x="0" y="352"/>
                        </a:lnTo>
                        <a:lnTo>
                          <a:pt x="25" y="367"/>
                        </a:lnTo>
                        <a:lnTo>
                          <a:pt x="95" y="408"/>
                        </a:lnTo>
                        <a:lnTo>
                          <a:pt x="144" y="434"/>
                        </a:lnTo>
                        <a:lnTo>
                          <a:pt x="200" y="464"/>
                        </a:lnTo>
                        <a:lnTo>
                          <a:pt x="264" y="496"/>
                        </a:lnTo>
                        <a:lnTo>
                          <a:pt x="333" y="528"/>
                        </a:lnTo>
                        <a:lnTo>
                          <a:pt x="408" y="561"/>
                        </a:lnTo>
                        <a:lnTo>
                          <a:pt x="485" y="593"/>
                        </a:lnTo>
                        <a:lnTo>
                          <a:pt x="525" y="609"/>
                        </a:lnTo>
                        <a:lnTo>
                          <a:pt x="566" y="623"/>
                        </a:lnTo>
                        <a:lnTo>
                          <a:pt x="607" y="636"/>
                        </a:lnTo>
                        <a:lnTo>
                          <a:pt x="648" y="649"/>
                        </a:lnTo>
                        <a:lnTo>
                          <a:pt x="689" y="661"/>
                        </a:lnTo>
                        <a:lnTo>
                          <a:pt x="731" y="672"/>
                        </a:lnTo>
                        <a:lnTo>
                          <a:pt x="773" y="681"/>
                        </a:lnTo>
                        <a:lnTo>
                          <a:pt x="814" y="690"/>
                        </a:lnTo>
                        <a:lnTo>
                          <a:pt x="855" y="695"/>
                        </a:lnTo>
                        <a:lnTo>
                          <a:pt x="895" y="700"/>
                        </a:lnTo>
                        <a:lnTo>
                          <a:pt x="934" y="704"/>
                        </a:lnTo>
                        <a:lnTo>
                          <a:pt x="973" y="704"/>
                        </a:lnTo>
                        <a:lnTo>
                          <a:pt x="973" y="704"/>
                        </a:lnTo>
                        <a:lnTo>
                          <a:pt x="1020" y="704"/>
                        </a:lnTo>
                        <a:lnTo>
                          <a:pt x="1063" y="701"/>
                        </a:lnTo>
                        <a:lnTo>
                          <a:pt x="1102" y="698"/>
                        </a:lnTo>
                        <a:lnTo>
                          <a:pt x="1137" y="693"/>
                        </a:lnTo>
                        <a:lnTo>
                          <a:pt x="1171" y="687"/>
                        </a:lnTo>
                        <a:lnTo>
                          <a:pt x="1202" y="680"/>
                        </a:lnTo>
                        <a:lnTo>
                          <a:pt x="1228" y="671"/>
                        </a:lnTo>
                        <a:lnTo>
                          <a:pt x="1253" y="661"/>
                        </a:lnTo>
                        <a:lnTo>
                          <a:pt x="1274" y="650"/>
                        </a:lnTo>
                        <a:lnTo>
                          <a:pt x="1294" y="638"/>
                        </a:lnTo>
                        <a:lnTo>
                          <a:pt x="1311" y="625"/>
                        </a:lnTo>
                        <a:lnTo>
                          <a:pt x="1326" y="612"/>
                        </a:lnTo>
                        <a:lnTo>
                          <a:pt x="1339" y="597"/>
                        </a:lnTo>
                        <a:lnTo>
                          <a:pt x="1350" y="581"/>
                        </a:lnTo>
                        <a:lnTo>
                          <a:pt x="1360" y="565"/>
                        </a:lnTo>
                        <a:lnTo>
                          <a:pt x="1368" y="547"/>
                        </a:lnTo>
                        <a:lnTo>
                          <a:pt x="1368" y="547"/>
                        </a:lnTo>
                        <a:lnTo>
                          <a:pt x="1374" y="524"/>
                        </a:lnTo>
                        <a:lnTo>
                          <a:pt x="1379" y="501"/>
                        </a:lnTo>
                        <a:lnTo>
                          <a:pt x="1379" y="501"/>
                        </a:lnTo>
                        <a:lnTo>
                          <a:pt x="1373" y="518"/>
                        </a:lnTo>
                        <a:lnTo>
                          <a:pt x="1365" y="536"/>
                        </a:lnTo>
                        <a:lnTo>
                          <a:pt x="1357" y="552"/>
                        </a:lnTo>
                        <a:lnTo>
                          <a:pt x="1346" y="567"/>
                        </a:lnTo>
                        <a:lnTo>
                          <a:pt x="1333" y="581"/>
                        </a:lnTo>
                        <a:lnTo>
                          <a:pt x="1319" y="594"/>
                        </a:lnTo>
                        <a:lnTo>
                          <a:pt x="1303" y="608"/>
                        </a:lnTo>
                        <a:lnTo>
                          <a:pt x="1283" y="618"/>
                        </a:lnTo>
                        <a:lnTo>
                          <a:pt x="1261" y="629"/>
                        </a:lnTo>
                        <a:lnTo>
                          <a:pt x="1237" y="637"/>
                        </a:lnTo>
                        <a:lnTo>
                          <a:pt x="1209" y="646"/>
                        </a:lnTo>
                        <a:lnTo>
                          <a:pt x="1179" y="652"/>
                        </a:lnTo>
                        <a:lnTo>
                          <a:pt x="1144" y="656"/>
                        </a:lnTo>
                        <a:lnTo>
                          <a:pt x="1108" y="660"/>
                        </a:lnTo>
                        <a:lnTo>
                          <a:pt x="1066" y="662"/>
                        </a:lnTo>
                        <a:lnTo>
                          <a:pt x="1022" y="663"/>
                        </a:lnTo>
                        <a:lnTo>
                          <a:pt x="1022" y="663"/>
                        </a:lnTo>
                        <a:lnTo>
                          <a:pt x="988" y="662"/>
                        </a:lnTo>
                        <a:lnTo>
                          <a:pt x="952" y="660"/>
                        </a:lnTo>
                        <a:lnTo>
                          <a:pt x="918" y="655"/>
                        </a:lnTo>
                        <a:lnTo>
                          <a:pt x="881" y="650"/>
                        </a:lnTo>
                        <a:lnTo>
                          <a:pt x="845" y="643"/>
                        </a:lnTo>
                        <a:lnTo>
                          <a:pt x="808" y="635"/>
                        </a:lnTo>
                        <a:lnTo>
                          <a:pt x="771" y="625"/>
                        </a:lnTo>
                        <a:lnTo>
                          <a:pt x="735" y="615"/>
                        </a:lnTo>
                        <a:lnTo>
                          <a:pt x="699" y="604"/>
                        </a:lnTo>
                        <a:lnTo>
                          <a:pt x="662" y="591"/>
                        </a:lnTo>
                        <a:lnTo>
                          <a:pt x="626" y="578"/>
                        </a:lnTo>
                        <a:lnTo>
                          <a:pt x="591" y="565"/>
                        </a:lnTo>
                        <a:lnTo>
                          <a:pt x="522" y="537"/>
                        </a:lnTo>
                        <a:lnTo>
                          <a:pt x="457" y="508"/>
                        </a:lnTo>
                        <a:lnTo>
                          <a:pt x="395" y="479"/>
                        </a:lnTo>
                        <a:lnTo>
                          <a:pt x="339" y="451"/>
                        </a:lnTo>
                        <a:lnTo>
                          <a:pt x="289" y="424"/>
                        </a:lnTo>
                        <a:lnTo>
                          <a:pt x="246" y="401"/>
                        </a:lnTo>
                        <a:lnTo>
                          <a:pt x="184" y="366"/>
                        </a:lnTo>
                        <a:lnTo>
                          <a:pt x="163" y="352"/>
                        </a:lnTo>
                        <a:lnTo>
                          <a:pt x="163" y="352"/>
                        </a:lnTo>
                        <a:lnTo>
                          <a:pt x="184" y="339"/>
                        </a:lnTo>
                        <a:lnTo>
                          <a:pt x="246" y="304"/>
                        </a:lnTo>
                        <a:lnTo>
                          <a:pt x="289" y="281"/>
                        </a:lnTo>
                        <a:lnTo>
                          <a:pt x="339" y="255"/>
                        </a:lnTo>
                        <a:lnTo>
                          <a:pt x="395" y="226"/>
                        </a:lnTo>
                        <a:lnTo>
                          <a:pt x="457" y="197"/>
                        </a:lnTo>
                        <a:lnTo>
                          <a:pt x="522" y="168"/>
                        </a:lnTo>
                        <a:lnTo>
                          <a:pt x="591" y="140"/>
                        </a:lnTo>
                        <a:lnTo>
                          <a:pt x="626" y="126"/>
                        </a:lnTo>
                        <a:lnTo>
                          <a:pt x="662" y="114"/>
                        </a:lnTo>
                        <a:lnTo>
                          <a:pt x="699" y="101"/>
                        </a:lnTo>
                        <a:lnTo>
                          <a:pt x="735" y="91"/>
                        </a:lnTo>
                        <a:lnTo>
                          <a:pt x="771" y="80"/>
                        </a:lnTo>
                        <a:lnTo>
                          <a:pt x="808" y="70"/>
                        </a:lnTo>
                        <a:lnTo>
                          <a:pt x="845" y="62"/>
                        </a:lnTo>
                        <a:lnTo>
                          <a:pt x="881" y="55"/>
                        </a:lnTo>
                        <a:lnTo>
                          <a:pt x="918" y="49"/>
                        </a:lnTo>
                        <a:lnTo>
                          <a:pt x="952" y="45"/>
                        </a:lnTo>
                        <a:lnTo>
                          <a:pt x="988" y="43"/>
                        </a:lnTo>
                        <a:lnTo>
                          <a:pt x="1022" y="42"/>
                        </a:lnTo>
                        <a:lnTo>
                          <a:pt x="1022" y="42"/>
                        </a:lnTo>
                        <a:lnTo>
                          <a:pt x="1066" y="43"/>
                        </a:lnTo>
                        <a:lnTo>
                          <a:pt x="1108" y="44"/>
                        </a:lnTo>
                        <a:lnTo>
                          <a:pt x="1144" y="48"/>
                        </a:lnTo>
                        <a:lnTo>
                          <a:pt x="1179" y="54"/>
                        </a:lnTo>
                        <a:lnTo>
                          <a:pt x="1209" y="60"/>
                        </a:lnTo>
                        <a:lnTo>
                          <a:pt x="1237" y="68"/>
                        </a:lnTo>
                        <a:lnTo>
                          <a:pt x="1261" y="76"/>
                        </a:lnTo>
                        <a:lnTo>
                          <a:pt x="1283" y="87"/>
                        </a:lnTo>
                        <a:lnTo>
                          <a:pt x="1303" y="98"/>
                        </a:lnTo>
                        <a:lnTo>
                          <a:pt x="1319" y="110"/>
                        </a:lnTo>
                        <a:lnTo>
                          <a:pt x="1333" y="124"/>
                        </a:lnTo>
                        <a:lnTo>
                          <a:pt x="1346" y="138"/>
                        </a:lnTo>
                        <a:lnTo>
                          <a:pt x="1357" y="154"/>
                        </a:lnTo>
                        <a:lnTo>
                          <a:pt x="1365" y="169"/>
                        </a:lnTo>
                        <a:lnTo>
                          <a:pt x="1373" y="187"/>
                        </a:lnTo>
                        <a:lnTo>
                          <a:pt x="1379" y="203"/>
                        </a:lnTo>
                        <a:lnTo>
                          <a:pt x="1379" y="203"/>
                        </a:lnTo>
                        <a:lnTo>
                          <a:pt x="1374" y="181"/>
                        </a:lnTo>
                        <a:lnTo>
                          <a:pt x="1368" y="157"/>
                        </a:lnTo>
                        <a:lnTo>
                          <a:pt x="1368" y="157"/>
                        </a:lnTo>
                        <a:lnTo>
                          <a:pt x="1360" y="140"/>
                        </a:lnTo>
                        <a:lnTo>
                          <a:pt x="1350" y="124"/>
                        </a:lnTo>
                        <a:lnTo>
                          <a:pt x="1339" y="108"/>
                        </a:lnTo>
                        <a:lnTo>
                          <a:pt x="1326" y="93"/>
                        </a:lnTo>
                        <a:lnTo>
                          <a:pt x="1311" y="80"/>
                        </a:lnTo>
                        <a:lnTo>
                          <a:pt x="1294" y="67"/>
                        </a:lnTo>
                        <a:lnTo>
                          <a:pt x="1274" y="55"/>
                        </a:lnTo>
                        <a:lnTo>
                          <a:pt x="1253" y="44"/>
                        </a:lnTo>
                        <a:lnTo>
                          <a:pt x="1228" y="33"/>
                        </a:lnTo>
                        <a:lnTo>
                          <a:pt x="1202" y="25"/>
                        </a:lnTo>
                        <a:lnTo>
                          <a:pt x="1171" y="18"/>
                        </a:lnTo>
                        <a:lnTo>
                          <a:pt x="1137" y="12"/>
                        </a:lnTo>
                        <a:lnTo>
                          <a:pt x="1102" y="7"/>
                        </a:lnTo>
                        <a:lnTo>
                          <a:pt x="1063" y="4"/>
                        </a:lnTo>
                        <a:lnTo>
                          <a:pt x="1020" y="1"/>
                        </a:lnTo>
                        <a:lnTo>
                          <a:pt x="97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2" name="Freeform 12"/>
                  <p:cNvSpPr>
                    <a:spLocks noEditPoints="1"/>
                  </p:cNvSpPr>
                  <p:nvPr userDrawn="1"/>
                </p:nvSpPr>
                <p:spPr bwMode="auto">
                  <a:xfrm>
                    <a:off x="2922418" y="-1839503"/>
                    <a:ext cx="9525" cy="234951"/>
                  </a:xfrm>
                  <a:custGeom>
                    <a:avLst/>
                    <a:gdLst>
                      <a:gd name="T0" fmla="*/ 13 w 13"/>
                      <a:gd name="T1" fmla="*/ 149 h 298"/>
                      <a:gd name="T2" fmla="*/ 13 w 13"/>
                      <a:gd name="T3" fmla="*/ 149 h 298"/>
                      <a:gd name="T4" fmla="*/ 11 w 13"/>
                      <a:gd name="T5" fmla="*/ 187 h 298"/>
                      <a:gd name="T6" fmla="*/ 9 w 13"/>
                      <a:gd name="T7" fmla="*/ 225 h 298"/>
                      <a:gd name="T8" fmla="*/ 5 w 13"/>
                      <a:gd name="T9" fmla="*/ 262 h 298"/>
                      <a:gd name="T10" fmla="*/ 0 w 13"/>
                      <a:gd name="T11" fmla="*/ 298 h 298"/>
                      <a:gd name="T12" fmla="*/ 0 w 13"/>
                      <a:gd name="T13" fmla="*/ 298 h 298"/>
                      <a:gd name="T14" fmla="*/ 3 w 13"/>
                      <a:gd name="T15" fmla="*/ 281 h 298"/>
                      <a:gd name="T16" fmla="*/ 7 w 13"/>
                      <a:gd name="T17" fmla="*/ 264 h 298"/>
                      <a:gd name="T18" fmla="*/ 9 w 13"/>
                      <a:gd name="T19" fmla="*/ 245 h 298"/>
                      <a:gd name="T20" fmla="*/ 10 w 13"/>
                      <a:gd name="T21" fmla="*/ 227 h 298"/>
                      <a:gd name="T22" fmla="*/ 13 w 13"/>
                      <a:gd name="T23" fmla="*/ 189 h 298"/>
                      <a:gd name="T24" fmla="*/ 13 w 13"/>
                      <a:gd name="T25" fmla="*/ 149 h 298"/>
                      <a:gd name="T26" fmla="*/ 0 w 13"/>
                      <a:gd name="T27" fmla="*/ 0 h 298"/>
                      <a:gd name="T28" fmla="*/ 0 w 13"/>
                      <a:gd name="T29" fmla="*/ 0 h 298"/>
                      <a:gd name="T30" fmla="*/ 5 w 13"/>
                      <a:gd name="T31" fmla="*/ 37 h 298"/>
                      <a:gd name="T32" fmla="*/ 9 w 13"/>
                      <a:gd name="T33" fmla="*/ 74 h 298"/>
                      <a:gd name="T34" fmla="*/ 11 w 13"/>
                      <a:gd name="T35" fmla="*/ 111 h 298"/>
                      <a:gd name="T36" fmla="*/ 13 w 13"/>
                      <a:gd name="T37" fmla="*/ 149 h 298"/>
                      <a:gd name="T38" fmla="*/ 13 w 13"/>
                      <a:gd name="T39" fmla="*/ 149 h 298"/>
                      <a:gd name="T40" fmla="*/ 13 w 13"/>
                      <a:gd name="T41" fmla="*/ 149 h 298"/>
                      <a:gd name="T42" fmla="*/ 13 w 13"/>
                      <a:gd name="T43" fmla="*/ 149 h 298"/>
                      <a:gd name="T44" fmla="*/ 13 w 13"/>
                      <a:gd name="T45" fmla="*/ 110 h 298"/>
                      <a:gd name="T46" fmla="*/ 10 w 13"/>
                      <a:gd name="T47" fmla="*/ 72 h 298"/>
                      <a:gd name="T48" fmla="*/ 9 w 13"/>
                      <a:gd name="T49" fmla="*/ 53 h 298"/>
                      <a:gd name="T50" fmla="*/ 7 w 13"/>
                      <a:gd name="T51" fmla="*/ 35 h 298"/>
                      <a:gd name="T52" fmla="*/ 3 w 13"/>
                      <a:gd name="T53" fmla="*/ 18 h 298"/>
                      <a:gd name="T54" fmla="*/ 0 w 13"/>
                      <a:gd name="T55" fmla="*/ 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 h="298">
                        <a:moveTo>
                          <a:pt x="13" y="149"/>
                        </a:moveTo>
                        <a:lnTo>
                          <a:pt x="13" y="149"/>
                        </a:lnTo>
                        <a:lnTo>
                          <a:pt x="11" y="187"/>
                        </a:lnTo>
                        <a:lnTo>
                          <a:pt x="9" y="225"/>
                        </a:lnTo>
                        <a:lnTo>
                          <a:pt x="5" y="262"/>
                        </a:lnTo>
                        <a:lnTo>
                          <a:pt x="0" y="298"/>
                        </a:lnTo>
                        <a:lnTo>
                          <a:pt x="0" y="298"/>
                        </a:lnTo>
                        <a:lnTo>
                          <a:pt x="3" y="281"/>
                        </a:lnTo>
                        <a:lnTo>
                          <a:pt x="7" y="264"/>
                        </a:lnTo>
                        <a:lnTo>
                          <a:pt x="9" y="245"/>
                        </a:lnTo>
                        <a:lnTo>
                          <a:pt x="10" y="227"/>
                        </a:lnTo>
                        <a:lnTo>
                          <a:pt x="13" y="189"/>
                        </a:lnTo>
                        <a:lnTo>
                          <a:pt x="13" y="149"/>
                        </a:lnTo>
                        <a:close/>
                        <a:moveTo>
                          <a:pt x="0" y="0"/>
                        </a:moveTo>
                        <a:lnTo>
                          <a:pt x="0" y="0"/>
                        </a:lnTo>
                        <a:lnTo>
                          <a:pt x="5" y="37"/>
                        </a:lnTo>
                        <a:lnTo>
                          <a:pt x="9" y="74"/>
                        </a:lnTo>
                        <a:lnTo>
                          <a:pt x="11" y="111"/>
                        </a:lnTo>
                        <a:lnTo>
                          <a:pt x="13" y="149"/>
                        </a:lnTo>
                        <a:lnTo>
                          <a:pt x="13" y="149"/>
                        </a:lnTo>
                        <a:lnTo>
                          <a:pt x="13" y="149"/>
                        </a:lnTo>
                        <a:lnTo>
                          <a:pt x="13" y="149"/>
                        </a:lnTo>
                        <a:lnTo>
                          <a:pt x="13" y="110"/>
                        </a:lnTo>
                        <a:lnTo>
                          <a:pt x="10" y="72"/>
                        </a:lnTo>
                        <a:lnTo>
                          <a:pt x="9" y="53"/>
                        </a:lnTo>
                        <a:lnTo>
                          <a:pt x="7" y="35"/>
                        </a:lnTo>
                        <a:lnTo>
                          <a:pt x="3" y="18"/>
                        </a:lnTo>
                        <a:lnTo>
                          <a:pt x="0" y="0"/>
                        </a:lnTo>
                        <a:close/>
                      </a:path>
                    </a:pathLst>
                  </a:custGeom>
                  <a:solidFill>
                    <a:srgbClr val="FCC0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3" name="Freeform 13"/>
                  <p:cNvSpPr>
                    <a:spLocks/>
                  </p:cNvSpPr>
                  <p:nvPr userDrawn="1"/>
                </p:nvSpPr>
                <p:spPr bwMode="auto">
                  <a:xfrm>
                    <a:off x="2922418" y="-1722028"/>
                    <a:ext cx="9525" cy="117475"/>
                  </a:xfrm>
                  <a:custGeom>
                    <a:avLst/>
                    <a:gdLst>
                      <a:gd name="T0" fmla="*/ 13 w 13"/>
                      <a:gd name="T1" fmla="*/ 0 h 149"/>
                      <a:gd name="T2" fmla="*/ 13 w 13"/>
                      <a:gd name="T3" fmla="*/ 0 h 149"/>
                      <a:gd name="T4" fmla="*/ 11 w 13"/>
                      <a:gd name="T5" fmla="*/ 38 h 149"/>
                      <a:gd name="T6" fmla="*/ 9 w 13"/>
                      <a:gd name="T7" fmla="*/ 76 h 149"/>
                      <a:gd name="T8" fmla="*/ 5 w 13"/>
                      <a:gd name="T9" fmla="*/ 113 h 149"/>
                      <a:gd name="T10" fmla="*/ 0 w 13"/>
                      <a:gd name="T11" fmla="*/ 149 h 149"/>
                      <a:gd name="T12" fmla="*/ 0 w 13"/>
                      <a:gd name="T13" fmla="*/ 149 h 149"/>
                      <a:gd name="T14" fmla="*/ 3 w 13"/>
                      <a:gd name="T15" fmla="*/ 132 h 149"/>
                      <a:gd name="T16" fmla="*/ 7 w 13"/>
                      <a:gd name="T17" fmla="*/ 115 h 149"/>
                      <a:gd name="T18" fmla="*/ 9 w 13"/>
                      <a:gd name="T19" fmla="*/ 96 h 149"/>
                      <a:gd name="T20" fmla="*/ 10 w 13"/>
                      <a:gd name="T21" fmla="*/ 78 h 149"/>
                      <a:gd name="T22" fmla="*/ 13 w 13"/>
                      <a:gd name="T23" fmla="*/ 40 h 149"/>
                      <a:gd name="T24" fmla="*/ 13 w 13"/>
                      <a:gd name="T25"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149">
                        <a:moveTo>
                          <a:pt x="13" y="0"/>
                        </a:moveTo>
                        <a:lnTo>
                          <a:pt x="13" y="0"/>
                        </a:lnTo>
                        <a:lnTo>
                          <a:pt x="11" y="38"/>
                        </a:lnTo>
                        <a:lnTo>
                          <a:pt x="9" y="76"/>
                        </a:lnTo>
                        <a:lnTo>
                          <a:pt x="5" y="113"/>
                        </a:lnTo>
                        <a:lnTo>
                          <a:pt x="0" y="149"/>
                        </a:lnTo>
                        <a:lnTo>
                          <a:pt x="0" y="149"/>
                        </a:lnTo>
                        <a:lnTo>
                          <a:pt x="3" y="132"/>
                        </a:lnTo>
                        <a:lnTo>
                          <a:pt x="7" y="115"/>
                        </a:lnTo>
                        <a:lnTo>
                          <a:pt x="9" y="96"/>
                        </a:lnTo>
                        <a:lnTo>
                          <a:pt x="10" y="78"/>
                        </a:lnTo>
                        <a:lnTo>
                          <a:pt x="13" y="40"/>
                        </a:lnTo>
                        <a:lnTo>
                          <a:pt x="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4" name="Freeform 14"/>
                  <p:cNvSpPr>
                    <a:spLocks/>
                  </p:cNvSpPr>
                  <p:nvPr userDrawn="1"/>
                </p:nvSpPr>
                <p:spPr bwMode="auto">
                  <a:xfrm>
                    <a:off x="2922418" y="-1839503"/>
                    <a:ext cx="9525" cy="117475"/>
                  </a:xfrm>
                  <a:custGeom>
                    <a:avLst/>
                    <a:gdLst>
                      <a:gd name="T0" fmla="*/ 0 w 13"/>
                      <a:gd name="T1" fmla="*/ 0 h 149"/>
                      <a:gd name="T2" fmla="*/ 0 w 13"/>
                      <a:gd name="T3" fmla="*/ 0 h 149"/>
                      <a:gd name="T4" fmla="*/ 5 w 13"/>
                      <a:gd name="T5" fmla="*/ 37 h 149"/>
                      <a:gd name="T6" fmla="*/ 9 w 13"/>
                      <a:gd name="T7" fmla="*/ 74 h 149"/>
                      <a:gd name="T8" fmla="*/ 11 w 13"/>
                      <a:gd name="T9" fmla="*/ 111 h 149"/>
                      <a:gd name="T10" fmla="*/ 13 w 13"/>
                      <a:gd name="T11" fmla="*/ 149 h 149"/>
                      <a:gd name="T12" fmla="*/ 13 w 13"/>
                      <a:gd name="T13" fmla="*/ 149 h 149"/>
                      <a:gd name="T14" fmla="*/ 13 w 13"/>
                      <a:gd name="T15" fmla="*/ 149 h 149"/>
                      <a:gd name="T16" fmla="*/ 13 w 13"/>
                      <a:gd name="T17" fmla="*/ 149 h 149"/>
                      <a:gd name="T18" fmla="*/ 13 w 13"/>
                      <a:gd name="T19" fmla="*/ 110 h 149"/>
                      <a:gd name="T20" fmla="*/ 10 w 13"/>
                      <a:gd name="T21" fmla="*/ 72 h 149"/>
                      <a:gd name="T22" fmla="*/ 9 w 13"/>
                      <a:gd name="T23" fmla="*/ 53 h 149"/>
                      <a:gd name="T24" fmla="*/ 7 w 13"/>
                      <a:gd name="T25" fmla="*/ 35 h 149"/>
                      <a:gd name="T26" fmla="*/ 3 w 13"/>
                      <a:gd name="T27" fmla="*/ 18 h 149"/>
                      <a:gd name="T28" fmla="*/ 0 w 13"/>
                      <a:gd name="T2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149">
                        <a:moveTo>
                          <a:pt x="0" y="0"/>
                        </a:moveTo>
                        <a:lnTo>
                          <a:pt x="0" y="0"/>
                        </a:lnTo>
                        <a:lnTo>
                          <a:pt x="5" y="37"/>
                        </a:lnTo>
                        <a:lnTo>
                          <a:pt x="9" y="74"/>
                        </a:lnTo>
                        <a:lnTo>
                          <a:pt x="11" y="111"/>
                        </a:lnTo>
                        <a:lnTo>
                          <a:pt x="13" y="149"/>
                        </a:lnTo>
                        <a:lnTo>
                          <a:pt x="13" y="149"/>
                        </a:lnTo>
                        <a:lnTo>
                          <a:pt x="13" y="149"/>
                        </a:lnTo>
                        <a:lnTo>
                          <a:pt x="13" y="149"/>
                        </a:lnTo>
                        <a:lnTo>
                          <a:pt x="13" y="110"/>
                        </a:lnTo>
                        <a:lnTo>
                          <a:pt x="10" y="72"/>
                        </a:lnTo>
                        <a:lnTo>
                          <a:pt x="9" y="53"/>
                        </a:lnTo>
                        <a:lnTo>
                          <a:pt x="7" y="35"/>
                        </a:lnTo>
                        <a:lnTo>
                          <a:pt x="3" y="1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5" name="Freeform 15"/>
                  <p:cNvSpPr>
                    <a:spLocks/>
                  </p:cNvSpPr>
                  <p:nvPr userDrawn="1"/>
                </p:nvSpPr>
                <p:spPr bwMode="auto">
                  <a:xfrm>
                    <a:off x="1957217" y="-1968091"/>
                    <a:ext cx="974726" cy="493715"/>
                  </a:xfrm>
                  <a:custGeom>
                    <a:avLst/>
                    <a:gdLst>
                      <a:gd name="T0" fmla="*/ 859 w 1229"/>
                      <a:gd name="T1" fmla="*/ 0 h 621"/>
                      <a:gd name="T2" fmla="*/ 789 w 1229"/>
                      <a:gd name="T3" fmla="*/ 3 h 621"/>
                      <a:gd name="T4" fmla="*/ 718 w 1229"/>
                      <a:gd name="T5" fmla="*/ 13 h 621"/>
                      <a:gd name="T6" fmla="*/ 645 w 1229"/>
                      <a:gd name="T7" fmla="*/ 28 h 621"/>
                      <a:gd name="T8" fmla="*/ 572 w 1229"/>
                      <a:gd name="T9" fmla="*/ 49 h 621"/>
                      <a:gd name="T10" fmla="*/ 499 w 1229"/>
                      <a:gd name="T11" fmla="*/ 72 h 621"/>
                      <a:gd name="T12" fmla="*/ 428 w 1229"/>
                      <a:gd name="T13" fmla="*/ 98 h 621"/>
                      <a:gd name="T14" fmla="*/ 294 w 1229"/>
                      <a:gd name="T15" fmla="*/ 155 h 621"/>
                      <a:gd name="T16" fmla="*/ 176 w 1229"/>
                      <a:gd name="T17" fmla="*/ 213 h 621"/>
                      <a:gd name="T18" fmla="*/ 83 w 1229"/>
                      <a:gd name="T19" fmla="*/ 262 h 621"/>
                      <a:gd name="T20" fmla="*/ 0 w 1229"/>
                      <a:gd name="T21" fmla="*/ 310 h 621"/>
                      <a:gd name="T22" fmla="*/ 21 w 1229"/>
                      <a:gd name="T23" fmla="*/ 324 h 621"/>
                      <a:gd name="T24" fmla="*/ 126 w 1229"/>
                      <a:gd name="T25" fmla="*/ 382 h 621"/>
                      <a:gd name="T26" fmla="*/ 232 w 1229"/>
                      <a:gd name="T27" fmla="*/ 437 h 621"/>
                      <a:gd name="T28" fmla="*/ 359 w 1229"/>
                      <a:gd name="T29" fmla="*/ 495 h 621"/>
                      <a:gd name="T30" fmla="*/ 463 w 1229"/>
                      <a:gd name="T31" fmla="*/ 536 h 621"/>
                      <a:gd name="T32" fmla="*/ 536 w 1229"/>
                      <a:gd name="T33" fmla="*/ 562 h 621"/>
                      <a:gd name="T34" fmla="*/ 608 w 1229"/>
                      <a:gd name="T35" fmla="*/ 583 h 621"/>
                      <a:gd name="T36" fmla="*/ 682 w 1229"/>
                      <a:gd name="T37" fmla="*/ 601 h 621"/>
                      <a:gd name="T38" fmla="*/ 755 w 1229"/>
                      <a:gd name="T39" fmla="*/ 613 h 621"/>
                      <a:gd name="T40" fmla="*/ 825 w 1229"/>
                      <a:gd name="T41" fmla="*/ 620 h 621"/>
                      <a:gd name="T42" fmla="*/ 859 w 1229"/>
                      <a:gd name="T43" fmla="*/ 621 h 621"/>
                      <a:gd name="T44" fmla="*/ 945 w 1229"/>
                      <a:gd name="T45" fmla="*/ 618 h 621"/>
                      <a:gd name="T46" fmla="*/ 1016 w 1229"/>
                      <a:gd name="T47" fmla="*/ 610 h 621"/>
                      <a:gd name="T48" fmla="*/ 1074 w 1229"/>
                      <a:gd name="T49" fmla="*/ 595 h 621"/>
                      <a:gd name="T50" fmla="*/ 1120 w 1229"/>
                      <a:gd name="T51" fmla="*/ 576 h 621"/>
                      <a:gd name="T52" fmla="*/ 1156 w 1229"/>
                      <a:gd name="T53" fmla="*/ 552 h 621"/>
                      <a:gd name="T54" fmla="*/ 1183 w 1229"/>
                      <a:gd name="T55" fmla="*/ 525 h 621"/>
                      <a:gd name="T56" fmla="*/ 1202 w 1229"/>
                      <a:gd name="T57" fmla="*/ 494 h 621"/>
                      <a:gd name="T58" fmla="*/ 1216 w 1229"/>
                      <a:gd name="T59" fmla="*/ 459 h 621"/>
                      <a:gd name="T60" fmla="*/ 1221 w 1229"/>
                      <a:gd name="T61" fmla="*/ 423 h 621"/>
                      <a:gd name="T62" fmla="*/ 1227 w 1229"/>
                      <a:gd name="T63" fmla="*/ 348 h 621"/>
                      <a:gd name="T64" fmla="*/ 1229 w 1229"/>
                      <a:gd name="T65" fmla="*/ 310 h 621"/>
                      <a:gd name="T66" fmla="*/ 1227 w 1229"/>
                      <a:gd name="T67" fmla="*/ 272 h 621"/>
                      <a:gd name="T68" fmla="*/ 1221 w 1229"/>
                      <a:gd name="T69" fmla="*/ 198 h 621"/>
                      <a:gd name="T70" fmla="*/ 1216 w 1229"/>
                      <a:gd name="T71" fmla="*/ 161 h 621"/>
                      <a:gd name="T72" fmla="*/ 1202 w 1229"/>
                      <a:gd name="T73" fmla="*/ 127 h 621"/>
                      <a:gd name="T74" fmla="*/ 1183 w 1229"/>
                      <a:gd name="T75" fmla="*/ 96 h 621"/>
                      <a:gd name="T76" fmla="*/ 1156 w 1229"/>
                      <a:gd name="T77" fmla="*/ 68 h 621"/>
                      <a:gd name="T78" fmla="*/ 1120 w 1229"/>
                      <a:gd name="T79" fmla="*/ 45 h 621"/>
                      <a:gd name="T80" fmla="*/ 1074 w 1229"/>
                      <a:gd name="T81" fmla="*/ 26 h 621"/>
                      <a:gd name="T82" fmla="*/ 1016 w 1229"/>
                      <a:gd name="T83" fmla="*/ 12 h 621"/>
                      <a:gd name="T84" fmla="*/ 945 w 1229"/>
                      <a:gd name="T85" fmla="*/ 2 h 621"/>
                      <a:gd name="T86" fmla="*/ 859 w 1229"/>
                      <a:gd name="T87" fmla="*/ 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29" h="621">
                        <a:moveTo>
                          <a:pt x="859" y="0"/>
                        </a:moveTo>
                        <a:lnTo>
                          <a:pt x="859" y="0"/>
                        </a:lnTo>
                        <a:lnTo>
                          <a:pt x="825" y="1"/>
                        </a:lnTo>
                        <a:lnTo>
                          <a:pt x="789" y="3"/>
                        </a:lnTo>
                        <a:lnTo>
                          <a:pt x="755" y="7"/>
                        </a:lnTo>
                        <a:lnTo>
                          <a:pt x="718" y="13"/>
                        </a:lnTo>
                        <a:lnTo>
                          <a:pt x="682" y="20"/>
                        </a:lnTo>
                        <a:lnTo>
                          <a:pt x="645" y="28"/>
                        </a:lnTo>
                        <a:lnTo>
                          <a:pt x="608" y="38"/>
                        </a:lnTo>
                        <a:lnTo>
                          <a:pt x="572" y="49"/>
                        </a:lnTo>
                        <a:lnTo>
                          <a:pt x="536" y="59"/>
                        </a:lnTo>
                        <a:lnTo>
                          <a:pt x="499" y="72"/>
                        </a:lnTo>
                        <a:lnTo>
                          <a:pt x="463" y="84"/>
                        </a:lnTo>
                        <a:lnTo>
                          <a:pt x="428" y="98"/>
                        </a:lnTo>
                        <a:lnTo>
                          <a:pt x="359" y="126"/>
                        </a:lnTo>
                        <a:lnTo>
                          <a:pt x="294" y="155"/>
                        </a:lnTo>
                        <a:lnTo>
                          <a:pt x="232" y="184"/>
                        </a:lnTo>
                        <a:lnTo>
                          <a:pt x="176" y="213"/>
                        </a:lnTo>
                        <a:lnTo>
                          <a:pt x="126" y="239"/>
                        </a:lnTo>
                        <a:lnTo>
                          <a:pt x="83" y="262"/>
                        </a:lnTo>
                        <a:lnTo>
                          <a:pt x="21" y="297"/>
                        </a:lnTo>
                        <a:lnTo>
                          <a:pt x="0" y="310"/>
                        </a:lnTo>
                        <a:lnTo>
                          <a:pt x="0" y="310"/>
                        </a:lnTo>
                        <a:lnTo>
                          <a:pt x="21" y="324"/>
                        </a:lnTo>
                        <a:lnTo>
                          <a:pt x="83" y="359"/>
                        </a:lnTo>
                        <a:lnTo>
                          <a:pt x="126" y="382"/>
                        </a:lnTo>
                        <a:lnTo>
                          <a:pt x="176" y="409"/>
                        </a:lnTo>
                        <a:lnTo>
                          <a:pt x="232" y="437"/>
                        </a:lnTo>
                        <a:lnTo>
                          <a:pt x="294" y="466"/>
                        </a:lnTo>
                        <a:lnTo>
                          <a:pt x="359" y="495"/>
                        </a:lnTo>
                        <a:lnTo>
                          <a:pt x="428" y="523"/>
                        </a:lnTo>
                        <a:lnTo>
                          <a:pt x="463" y="536"/>
                        </a:lnTo>
                        <a:lnTo>
                          <a:pt x="499" y="549"/>
                        </a:lnTo>
                        <a:lnTo>
                          <a:pt x="536" y="562"/>
                        </a:lnTo>
                        <a:lnTo>
                          <a:pt x="572" y="573"/>
                        </a:lnTo>
                        <a:lnTo>
                          <a:pt x="608" y="583"/>
                        </a:lnTo>
                        <a:lnTo>
                          <a:pt x="645" y="593"/>
                        </a:lnTo>
                        <a:lnTo>
                          <a:pt x="682" y="601"/>
                        </a:lnTo>
                        <a:lnTo>
                          <a:pt x="718" y="608"/>
                        </a:lnTo>
                        <a:lnTo>
                          <a:pt x="755" y="613"/>
                        </a:lnTo>
                        <a:lnTo>
                          <a:pt x="789" y="618"/>
                        </a:lnTo>
                        <a:lnTo>
                          <a:pt x="825" y="620"/>
                        </a:lnTo>
                        <a:lnTo>
                          <a:pt x="859" y="621"/>
                        </a:lnTo>
                        <a:lnTo>
                          <a:pt x="859" y="621"/>
                        </a:lnTo>
                        <a:lnTo>
                          <a:pt x="903" y="620"/>
                        </a:lnTo>
                        <a:lnTo>
                          <a:pt x="945" y="618"/>
                        </a:lnTo>
                        <a:lnTo>
                          <a:pt x="981" y="614"/>
                        </a:lnTo>
                        <a:lnTo>
                          <a:pt x="1016" y="610"/>
                        </a:lnTo>
                        <a:lnTo>
                          <a:pt x="1046" y="604"/>
                        </a:lnTo>
                        <a:lnTo>
                          <a:pt x="1074" y="595"/>
                        </a:lnTo>
                        <a:lnTo>
                          <a:pt x="1098" y="587"/>
                        </a:lnTo>
                        <a:lnTo>
                          <a:pt x="1120" y="576"/>
                        </a:lnTo>
                        <a:lnTo>
                          <a:pt x="1140" y="566"/>
                        </a:lnTo>
                        <a:lnTo>
                          <a:pt x="1156" y="552"/>
                        </a:lnTo>
                        <a:lnTo>
                          <a:pt x="1170" y="539"/>
                        </a:lnTo>
                        <a:lnTo>
                          <a:pt x="1183" y="525"/>
                        </a:lnTo>
                        <a:lnTo>
                          <a:pt x="1194" y="510"/>
                        </a:lnTo>
                        <a:lnTo>
                          <a:pt x="1202" y="494"/>
                        </a:lnTo>
                        <a:lnTo>
                          <a:pt x="1210" y="476"/>
                        </a:lnTo>
                        <a:lnTo>
                          <a:pt x="1216" y="459"/>
                        </a:lnTo>
                        <a:lnTo>
                          <a:pt x="1216" y="459"/>
                        </a:lnTo>
                        <a:lnTo>
                          <a:pt x="1221" y="423"/>
                        </a:lnTo>
                        <a:lnTo>
                          <a:pt x="1225" y="386"/>
                        </a:lnTo>
                        <a:lnTo>
                          <a:pt x="1227" y="348"/>
                        </a:lnTo>
                        <a:lnTo>
                          <a:pt x="1229" y="310"/>
                        </a:lnTo>
                        <a:lnTo>
                          <a:pt x="1229" y="310"/>
                        </a:lnTo>
                        <a:lnTo>
                          <a:pt x="1229" y="310"/>
                        </a:lnTo>
                        <a:lnTo>
                          <a:pt x="1227" y="272"/>
                        </a:lnTo>
                        <a:lnTo>
                          <a:pt x="1225" y="235"/>
                        </a:lnTo>
                        <a:lnTo>
                          <a:pt x="1221" y="198"/>
                        </a:lnTo>
                        <a:lnTo>
                          <a:pt x="1216" y="161"/>
                        </a:lnTo>
                        <a:lnTo>
                          <a:pt x="1216" y="161"/>
                        </a:lnTo>
                        <a:lnTo>
                          <a:pt x="1210" y="145"/>
                        </a:lnTo>
                        <a:lnTo>
                          <a:pt x="1202" y="127"/>
                        </a:lnTo>
                        <a:lnTo>
                          <a:pt x="1194" y="112"/>
                        </a:lnTo>
                        <a:lnTo>
                          <a:pt x="1183" y="96"/>
                        </a:lnTo>
                        <a:lnTo>
                          <a:pt x="1170" y="82"/>
                        </a:lnTo>
                        <a:lnTo>
                          <a:pt x="1156" y="68"/>
                        </a:lnTo>
                        <a:lnTo>
                          <a:pt x="1140" y="56"/>
                        </a:lnTo>
                        <a:lnTo>
                          <a:pt x="1120" y="45"/>
                        </a:lnTo>
                        <a:lnTo>
                          <a:pt x="1098" y="34"/>
                        </a:lnTo>
                        <a:lnTo>
                          <a:pt x="1074" y="26"/>
                        </a:lnTo>
                        <a:lnTo>
                          <a:pt x="1046" y="18"/>
                        </a:lnTo>
                        <a:lnTo>
                          <a:pt x="1016" y="12"/>
                        </a:lnTo>
                        <a:lnTo>
                          <a:pt x="981" y="6"/>
                        </a:lnTo>
                        <a:lnTo>
                          <a:pt x="945" y="2"/>
                        </a:lnTo>
                        <a:lnTo>
                          <a:pt x="903" y="1"/>
                        </a:lnTo>
                        <a:lnTo>
                          <a:pt x="859" y="0"/>
                        </a:lnTo>
                        <a:close/>
                      </a:path>
                    </a:pathLst>
                  </a:custGeom>
                  <a:solidFill>
                    <a:srgbClr val="FCBF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6" name="Freeform 16"/>
                  <p:cNvSpPr>
                    <a:spLocks/>
                  </p:cNvSpPr>
                  <p:nvPr userDrawn="1"/>
                </p:nvSpPr>
                <p:spPr bwMode="auto">
                  <a:xfrm>
                    <a:off x="1957217" y="-1968091"/>
                    <a:ext cx="974726" cy="493715"/>
                  </a:xfrm>
                  <a:custGeom>
                    <a:avLst/>
                    <a:gdLst>
                      <a:gd name="T0" fmla="*/ 859 w 1229"/>
                      <a:gd name="T1" fmla="*/ 0 h 621"/>
                      <a:gd name="T2" fmla="*/ 789 w 1229"/>
                      <a:gd name="T3" fmla="*/ 3 h 621"/>
                      <a:gd name="T4" fmla="*/ 718 w 1229"/>
                      <a:gd name="T5" fmla="*/ 13 h 621"/>
                      <a:gd name="T6" fmla="*/ 645 w 1229"/>
                      <a:gd name="T7" fmla="*/ 28 h 621"/>
                      <a:gd name="T8" fmla="*/ 572 w 1229"/>
                      <a:gd name="T9" fmla="*/ 49 h 621"/>
                      <a:gd name="T10" fmla="*/ 499 w 1229"/>
                      <a:gd name="T11" fmla="*/ 72 h 621"/>
                      <a:gd name="T12" fmla="*/ 428 w 1229"/>
                      <a:gd name="T13" fmla="*/ 98 h 621"/>
                      <a:gd name="T14" fmla="*/ 294 w 1229"/>
                      <a:gd name="T15" fmla="*/ 155 h 621"/>
                      <a:gd name="T16" fmla="*/ 176 w 1229"/>
                      <a:gd name="T17" fmla="*/ 213 h 621"/>
                      <a:gd name="T18" fmla="*/ 83 w 1229"/>
                      <a:gd name="T19" fmla="*/ 262 h 621"/>
                      <a:gd name="T20" fmla="*/ 0 w 1229"/>
                      <a:gd name="T21" fmla="*/ 310 h 621"/>
                      <a:gd name="T22" fmla="*/ 21 w 1229"/>
                      <a:gd name="T23" fmla="*/ 324 h 621"/>
                      <a:gd name="T24" fmla="*/ 126 w 1229"/>
                      <a:gd name="T25" fmla="*/ 382 h 621"/>
                      <a:gd name="T26" fmla="*/ 232 w 1229"/>
                      <a:gd name="T27" fmla="*/ 437 h 621"/>
                      <a:gd name="T28" fmla="*/ 359 w 1229"/>
                      <a:gd name="T29" fmla="*/ 495 h 621"/>
                      <a:gd name="T30" fmla="*/ 463 w 1229"/>
                      <a:gd name="T31" fmla="*/ 536 h 621"/>
                      <a:gd name="T32" fmla="*/ 536 w 1229"/>
                      <a:gd name="T33" fmla="*/ 562 h 621"/>
                      <a:gd name="T34" fmla="*/ 608 w 1229"/>
                      <a:gd name="T35" fmla="*/ 583 h 621"/>
                      <a:gd name="T36" fmla="*/ 682 w 1229"/>
                      <a:gd name="T37" fmla="*/ 601 h 621"/>
                      <a:gd name="T38" fmla="*/ 755 w 1229"/>
                      <a:gd name="T39" fmla="*/ 613 h 621"/>
                      <a:gd name="T40" fmla="*/ 825 w 1229"/>
                      <a:gd name="T41" fmla="*/ 620 h 621"/>
                      <a:gd name="T42" fmla="*/ 859 w 1229"/>
                      <a:gd name="T43" fmla="*/ 621 h 621"/>
                      <a:gd name="T44" fmla="*/ 945 w 1229"/>
                      <a:gd name="T45" fmla="*/ 618 h 621"/>
                      <a:gd name="T46" fmla="*/ 1016 w 1229"/>
                      <a:gd name="T47" fmla="*/ 610 h 621"/>
                      <a:gd name="T48" fmla="*/ 1074 w 1229"/>
                      <a:gd name="T49" fmla="*/ 595 h 621"/>
                      <a:gd name="T50" fmla="*/ 1120 w 1229"/>
                      <a:gd name="T51" fmla="*/ 576 h 621"/>
                      <a:gd name="T52" fmla="*/ 1156 w 1229"/>
                      <a:gd name="T53" fmla="*/ 552 h 621"/>
                      <a:gd name="T54" fmla="*/ 1183 w 1229"/>
                      <a:gd name="T55" fmla="*/ 525 h 621"/>
                      <a:gd name="T56" fmla="*/ 1202 w 1229"/>
                      <a:gd name="T57" fmla="*/ 494 h 621"/>
                      <a:gd name="T58" fmla="*/ 1216 w 1229"/>
                      <a:gd name="T59" fmla="*/ 459 h 621"/>
                      <a:gd name="T60" fmla="*/ 1221 w 1229"/>
                      <a:gd name="T61" fmla="*/ 423 h 621"/>
                      <a:gd name="T62" fmla="*/ 1227 w 1229"/>
                      <a:gd name="T63" fmla="*/ 348 h 621"/>
                      <a:gd name="T64" fmla="*/ 1229 w 1229"/>
                      <a:gd name="T65" fmla="*/ 310 h 621"/>
                      <a:gd name="T66" fmla="*/ 1227 w 1229"/>
                      <a:gd name="T67" fmla="*/ 272 h 621"/>
                      <a:gd name="T68" fmla="*/ 1221 w 1229"/>
                      <a:gd name="T69" fmla="*/ 198 h 621"/>
                      <a:gd name="T70" fmla="*/ 1216 w 1229"/>
                      <a:gd name="T71" fmla="*/ 161 h 621"/>
                      <a:gd name="T72" fmla="*/ 1202 w 1229"/>
                      <a:gd name="T73" fmla="*/ 127 h 621"/>
                      <a:gd name="T74" fmla="*/ 1183 w 1229"/>
                      <a:gd name="T75" fmla="*/ 96 h 621"/>
                      <a:gd name="T76" fmla="*/ 1156 w 1229"/>
                      <a:gd name="T77" fmla="*/ 68 h 621"/>
                      <a:gd name="T78" fmla="*/ 1120 w 1229"/>
                      <a:gd name="T79" fmla="*/ 45 h 621"/>
                      <a:gd name="T80" fmla="*/ 1074 w 1229"/>
                      <a:gd name="T81" fmla="*/ 26 h 621"/>
                      <a:gd name="T82" fmla="*/ 1016 w 1229"/>
                      <a:gd name="T83" fmla="*/ 12 h 621"/>
                      <a:gd name="T84" fmla="*/ 945 w 1229"/>
                      <a:gd name="T85" fmla="*/ 2 h 621"/>
                      <a:gd name="T86" fmla="*/ 859 w 1229"/>
                      <a:gd name="T87" fmla="*/ 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29" h="621">
                        <a:moveTo>
                          <a:pt x="859" y="0"/>
                        </a:moveTo>
                        <a:lnTo>
                          <a:pt x="859" y="0"/>
                        </a:lnTo>
                        <a:lnTo>
                          <a:pt x="825" y="1"/>
                        </a:lnTo>
                        <a:lnTo>
                          <a:pt x="789" y="3"/>
                        </a:lnTo>
                        <a:lnTo>
                          <a:pt x="755" y="7"/>
                        </a:lnTo>
                        <a:lnTo>
                          <a:pt x="718" y="13"/>
                        </a:lnTo>
                        <a:lnTo>
                          <a:pt x="682" y="20"/>
                        </a:lnTo>
                        <a:lnTo>
                          <a:pt x="645" y="28"/>
                        </a:lnTo>
                        <a:lnTo>
                          <a:pt x="608" y="38"/>
                        </a:lnTo>
                        <a:lnTo>
                          <a:pt x="572" y="49"/>
                        </a:lnTo>
                        <a:lnTo>
                          <a:pt x="536" y="59"/>
                        </a:lnTo>
                        <a:lnTo>
                          <a:pt x="499" y="72"/>
                        </a:lnTo>
                        <a:lnTo>
                          <a:pt x="463" y="84"/>
                        </a:lnTo>
                        <a:lnTo>
                          <a:pt x="428" y="98"/>
                        </a:lnTo>
                        <a:lnTo>
                          <a:pt x="359" y="126"/>
                        </a:lnTo>
                        <a:lnTo>
                          <a:pt x="294" y="155"/>
                        </a:lnTo>
                        <a:lnTo>
                          <a:pt x="232" y="184"/>
                        </a:lnTo>
                        <a:lnTo>
                          <a:pt x="176" y="213"/>
                        </a:lnTo>
                        <a:lnTo>
                          <a:pt x="126" y="239"/>
                        </a:lnTo>
                        <a:lnTo>
                          <a:pt x="83" y="262"/>
                        </a:lnTo>
                        <a:lnTo>
                          <a:pt x="21" y="297"/>
                        </a:lnTo>
                        <a:lnTo>
                          <a:pt x="0" y="310"/>
                        </a:lnTo>
                        <a:lnTo>
                          <a:pt x="0" y="310"/>
                        </a:lnTo>
                        <a:lnTo>
                          <a:pt x="21" y="324"/>
                        </a:lnTo>
                        <a:lnTo>
                          <a:pt x="83" y="359"/>
                        </a:lnTo>
                        <a:lnTo>
                          <a:pt x="126" y="382"/>
                        </a:lnTo>
                        <a:lnTo>
                          <a:pt x="176" y="409"/>
                        </a:lnTo>
                        <a:lnTo>
                          <a:pt x="232" y="437"/>
                        </a:lnTo>
                        <a:lnTo>
                          <a:pt x="294" y="466"/>
                        </a:lnTo>
                        <a:lnTo>
                          <a:pt x="359" y="495"/>
                        </a:lnTo>
                        <a:lnTo>
                          <a:pt x="428" y="523"/>
                        </a:lnTo>
                        <a:lnTo>
                          <a:pt x="463" y="536"/>
                        </a:lnTo>
                        <a:lnTo>
                          <a:pt x="499" y="549"/>
                        </a:lnTo>
                        <a:lnTo>
                          <a:pt x="536" y="562"/>
                        </a:lnTo>
                        <a:lnTo>
                          <a:pt x="572" y="573"/>
                        </a:lnTo>
                        <a:lnTo>
                          <a:pt x="608" y="583"/>
                        </a:lnTo>
                        <a:lnTo>
                          <a:pt x="645" y="593"/>
                        </a:lnTo>
                        <a:lnTo>
                          <a:pt x="682" y="601"/>
                        </a:lnTo>
                        <a:lnTo>
                          <a:pt x="718" y="608"/>
                        </a:lnTo>
                        <a:lnTo>
                          <a:pt x="755" y="613"/>
                        </a:lnTo>
                        <a:lnTo>
                          <a:pt x="789" y="618"/>
                        </a:lnTo>
                        <a:lnTo>
                          <a:pt x="825" y="620"/>
                        </a:lnTo>
                        <a:lnTo>
                          <a:pt x="859" y="621"/>
                        </a:lnTo>
                        <a:lnTo>
                          <a:pt x="859" y="621"/>
                        </a:lnTo>
                        <a:lnTo>
                          <a:pt x="903" y="620"/>
                        </a:lnTo>
                        <a:lnTo>
                          <a:pt x="945" y="618"/>
                        </a:lnTo>
                        <a:lnTo>
                          <a:pt x="981" y="614"/>
                        </a:lnTo>
                        <a:lnTo>
                          <a:pt x="1016" y="610"/>
                        </a:lnTo>
                        <a:lnTo>
                          <a:pt x="1046" y="604"/>
                        </a:lnTo>
                        <a:lnTo>
                          <a:pt x="1074" y="595"/>
                        </a:lnTo>
                        <a:lnTo>
                          <a:pt x="1098" y="587"/>
                        </a:lnTo>
                        <a:lnTo>
                          <a:pt x="1120" y="576"/>
                        </a:lnTo>
                        <a:lnTo>
                          <a:pt x="1140" y="566"/>
                        </a:lnTo>
                        <a:lnTo>
                          <a:pt x="1156" y="552"/>
                        </a:lnTo>
                        <a:lnTo>
                          <a:pt x="1170" y="539"/>
                        </a:lnTo>
                        <a:lnTo>
                          <a:pt x="1183" y="525"/>
                        </a:lnTo>
                        <a:lnTo>
                          <a:pt x="1194" y="510"/>
                        </a:lnTo>
                        <a:lnTo>
                          <a:pt x="1202" y="494"/>
                        </a:lnTo>
                        <a:lnTo>
                          <a:pt x="1210" y="476"/>
                        </a:lnTo>
                        <a:lnTo>
                          <a:pt x="1216" y="459"/>
                        </a:lnTo>
                        <a:lnTo>
                          <a:pt x="1216" y="459"/>
                        </a:lnTo>
                        <a:lnTo>
                          <a:pt x="1221" y="423"/>
                        </a:lnTo>
                        <a:lnTo>
                          <a:pt x="1225" y="386"/>
                        </a:lnTo>
                        <a:lnTo>
                          <a:pt x="1227" y="348"/>
                        </a:lnTo>
                        <a:lnTo>
                          <a:pt x="1229" y="310"/>
                        </a:lnTo>
                        <a:lnTo>
                          <a:pt x="1229" y="310"/>
                        </a:lnTo>
                        <a:lnTo>
                          <a:pt x="1229" y="310"/>
                        </a:lnTo>
                        <a:lnTo>
                          <a:pt x="1227" y="272"/>
                        </a:lnTo>
                        <a:lnTo>
                          <a:pt x="1225" y="235"/>
                        </a:lnTo>
                        <a:lnTo>
                          <a:pt x="1221" y="198"/>
                        </a:lnTo>
                        <a:lnTo>
                          <a:pt x="1216" y="161"/>
                        </a:lnTo>
                        <a:lnTo>
                          <a:pt x="1216" y="161"/>
                        </a:lnTo>
                        <a:lnTo>
                          <a:pt x="1210" y="145"/>
                        </a:lnTo>
                        <a:lnTo>
                          <a:pt x="1202" y="127"/>
                        </a:lnTo>
                        <a:lnTo>
                          <a:pt x="1194" y="112"/>
                        </a:lnTo>
                        <a:lnTo>
                          <a:pt x="1183" y="96"/>
                        </a:lnTo>
                        <a:lnTo>
                          <a:pt x="1170" y="82"/>
                        </a:lnTo>
                        <a:lnTo>
                          <a:pt x="1156" y="68"/>
                        </a:lnTo>
                        <a:lnTo>
                          <a:pt x="1140" y="56"/>
                        </a:lnTo>
                        <a:lnTo>
                          <a:pt x="1120" y="45"/>
                        </a:lnTo>
                        <a:lnTo>
                          <a:pt x="1098" y="34"/>
                        </a:lnTo>
                        <a:lnTo>
                          <a:pt x="1074" y="26"/>
                        </a:lnTo>
                        <a:lnTo>
                          <a:pt x="1046" y="18"/>
                        </a:lnTo>
                        <a:lnTo>
                          <a:pt x="1016" y="12"/>
                        </a:lnTo>
                        <a:lnTo>
                          <a:pt x="981" y="6"/>
                        </a:lnTo>
                        <a:lnTo>
                          <a:pt x="945" y="2"/>
                        </a:lnTo>
                        <a:lnTo>
                          <a:pt x="903" y="1"/>
                        </a:lnTo>
                        <a:lnTo>
                          <a:pt x="8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505" name="그룹 504"/>
                <p:cNvGrpSpPr/>
                <p:nvPr userDrawn="1"/>
              </p:nvGrpSpPr>
              <p:grpSpPr>
                <a:xfrm>
                  <a:off x="2869471" y="-2744512"/>
                  <a:ext cx="3486042" cy="1871326"/>
                  <a:chOff x="9143999" y="1785017"/>
                  <a:chExt cx="2931167" cy="1573466"/>
                </a:xfrm>
              </p:grpSpPr>
              <p:grpSp>
                <p:nvGrpSpPr>
                  <p:cNvPr id="506" name="그룹 505"/>
                  <p:cNvGrpSpPr/>
                  <p:nvPr/>
                </p:nvGrpSpPr>
                <p:grpSpPr>
                  <a:xfrm>
                    <a:off x="9144000" y="1785017"/>
                    <a:ext cx="2931166" cy="1573466"/>
                    <a:chOff x="0" y="117474"/>
                    <a:chExt cx="9143997" cy="4908552"/>
                  </a:xfrm>
                </p:grpSpPr>
                <p:sp>
                  <p:nvSpPr>
                    <p:cNvPr id="512" name="AutoShape 300"/>
                    <p:cNvSpPr>
                      <a:spLocks noChangeAspect="1" noChangeArrowheads="1" noTextEdit="1"/>
                    </p:cNvSpPr>
                    <p:nvPr/>
                  </p:nvSpPr>
                  <p:spPr bwMode="auto">
                    <a:xfrm>
                      <a:off x="0" y="117474"/>
                      <a:ext cx="9143997" cy="4908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13" name="Freeform 302"/>
                    <p:cNvSpPr>
                      <a:spLocks noEditPoints="1"/>
                    </p:cNvSpPr>
                    <p:nvPr/>
                  </p:nvSpPr>
                  <p:spPr bwMode="auto">
                    <a:xfrm>
                      <a:off x="2109788" y="930274"/>
                      <a:ext cx="6551610" cy="3279776"/>
                    </a:xfrm>
                    <a:custGeom>
                      <a:avLst/>
                      <a:gdLst>
                        <a:gd name="T0" fmla="*/ 6751 w 8255"/>
                        <a:gd name="T1" fmla="*/ 1014 h 4134"/>
                        <a:gd name="T2" fmla="*/ 6388 w 8255"/>
                        <a:gd name="T3" fmla="*/ 814 h 4134"/>
                        <a:gd name="T4" fmla="*/ 6091 w 8255"/>
                        <a:gd name="T5" fmla="*/ 666 h 4134"/>
                        <a:gd name="T6" fmla="*/ 5623 w 8255"/>
                        <a:gd name="T7" fmla="*/ 461 h 4134"/>
                        <a:gd name="T8" fmla="*/ 5127 w 8255"/>
                        <a:gd name="T9" fmla="*/ 281 h 4134"/>
                        <a:gd name="T10" fmla="*/ 4870 w 8255"/>
                        <a:gd name="T11" fmla="*/ 204 h 4134"/>
                        <a:gd name="T12" fmla="*/ 4609 w 8255"/>
                        <a:gd name="T13" fmla="*/ 137 h 4134"/>
                        <a:gd name="T14" fmla="*/ 4345 w 8255"/>
                        <a:gd name="T15" fmla="*/ 83 h 4134"/>
                        <a:gd name="T16" fmla="*/ 4076 w 8255"/>
                        <a:gd name="T17" fmla="*/ 40 h 4134"/>
                        <a:gd name="T18" fmla="*/ 3805 w 8255"/>
                        <a:gd name="T19" fmla="*/ 14 h 4134"/>
                        <a:gd name="T20" fmla="*/ 3590 w 8255"/>
                        <a:gd name="T21" fmla="*/ 2 h 4134"/>
                        <a:gd name="T22" fmla="*/ 3307 w 8255"/>
                        <a:gd name="T23" fmla="*/ 2 h 4134"/>
                        <a:gd name="T24" fmla="*/ 2849 w 8255"/>
                        <a:gd name="T25" fmla="*/ 20 h 4134"/>
                        <a:gd name="T26" fmla="*/ 2507 w 8255"/>
                        <a:gd name="T27" fmla="*/ 52 h 4134"/>
                        <a:gd name="T28" fmla="*/ 2004 w 8255"/>
                        <a:gd name="T29" fmla="*/ 121 h 4134"/>
                        <a:gd name="T30" fmla="*/ 1496 w 8255"/>
                        <a:gd name="T31" fmla="*/ 216 h 4134"/>
                        <a:gd name="T32" fmla="*/ 968 w 8255"/>
                        <a:gd name="T33" fmla="*/ 338 h 4134"/>
                        <a:gd name="T34" fmla="*/ 0 w 8255"/>
                        <a:gd name="T35" fmla="*/ 589 h 4134"/>
                        <a:gd name="T36" fmla="*/ 0 w 8255"/>
                        <a:gd name="T37" fmla="*/ 3525 h 4134"/>
                        <a:gd name="T38" fmla="*/ 966 w 8255"/>
                        <a:gd name="T39" fmla="*/ 3786 h 4134"/>
                        <a:gd name="T40" fmla="*/ 1488 w 8255"/>
                        <a:gd name="T41" fmla="*/ 3912 h 4134"/>
                        <a:gd name="T42" fmla="*/ 1992 w 8255"/>
                        <a:gd name="T43" fmla="*/ 4011 h 4134"/>
                        <a:gd name="T44" fmla="*/ 2499 w 8255"/>
                        <a:gd name="T45" fmla="*/ 4082 h 4134"/>
                        <a:gd name="T46" fmla="*/ 2849 w 8255"/>
                        <a:gd name="T47" fmla="*/ 4114 h 4134"/>
                        <a:gd name="T48" fmla="*/ 3309 w 8255"/>
                        <a:gd name="T49" fmla="*/ 4134 h 4134"/>
                        <a:gd name="T50" fmla="*/ 3590 w 8255"/>
                        <a:gd name="T51" fmla="*/ 4132 h 4134"/>
                        <a:gd name="T52" fmla="*/ 3803 w 8255"/>
                        <a:gd name="T53" fmla="*/ 4122 h 4134"/>
                        <a:gd name="T54" fmla="*/ 4072 w 8255"/>
                        <a:gd name="T55" fmla="*/ 4094 h 4134"/>
                        <a:gd name="T56" fmla="*/ 4337 w 8255"/>
                        <a:gd name="T57" fmla="*/ 4053 h 4134"/>
                        <a:gd name="T58" fmla="*/ 4600 w 8255"/>
                        <a:gd name="T59" fmla="*/ 3999 h 4134"/>
                        <a:gd name="T60" fmla="*/ 4856 w 8255"/>
                        <a:gd name="T61" fmla="*/ 3934 h 4134"/>
                        <a:gd name="T62" fmla="*/ 5277 w 8255"/>
                        <a:gd name="T63" fmla="*/ 3804 h 4134"/>
                        <a:gd name="T64" fmla="*/ 5759 w 8255"/>
                        <a:gd name="T65" fmla="*/ 3618 h 4134"/>
                        <a:gd name="T66" fmla="*/ 6214 w 8255"/>
                        <a:gd name="T67" fmla="*/ 3409 h 4134"/>
                        <a:gd name="T68" fmla="*/ 6492 w 8255"/>
                        <a:gd name="T69" fmla="*/ 3264 h 4134"/>
                        <a:gd name="T70" fmla="*/ 6872 w 8255"/>
                        <a:gd name="T71" fmla="*/ 3051 h 4134"/>
                        <a:gd name="T72" fmla="*/ 7172 w 8255"/>
                        <a:gd name="T73" fmla="*/ 2865 h 4134"/>
                        <a:gd name="T74" fmla="*/ 7565 w 8255"/>
                        <a:gd name="T75" fmla="*/ 2600 h 4134"/>
                        <a:gd name="T76" fmla="*/ 7879 w 8255"/>
                        <a:gd name="T77" fmla="*/ 2371 h 4134"/>
                        <a:gd name="T78" fmla="*/ 8158 w 8255"/>
                        <a:gd name="T79" fmla="*/ 2150 h 4134"/>
                        <a:gd name="T80" fmla="*/ 8255 w 8255"/>
                        <a:gd name="T81" fmla="*/ 2067 h 4134"/>
                        <a:gd name="T82" fmla="*/ 8037 w 8255"/>
                        <a:gd name="T83" fmla="*/ 1887 h 4134"/>
                        <a:gd name="T84" fmla="*/ 7780 w 8255"/>
                        <a:gd name="T85" fmla="*/ 1690 h 4134"/>
                        <a:gd name="T86" fmla="*/ 7439 w 8255"/>
                        <a:gd name="T87" fmla="*/ 1447 h 4134"/>
                        <a:gd name="T88" fmla="*/ 7020 w 8255"/>
                        <a:gd name="T89" fmla="*/ 1174 h 4134"/>
                        <a:gd name="T90" fmla="*/ 3062 w 8255"/>
                        <a:gd name="T91" fmla="*/ 3845 h 4134"/>
                        <a:gd name="T92" fmla="*/ 3118 w 8255"/>
                        <a:gd name="T93" fmla="*/ 3744 h 4134"/>
                        <a:gd name="T94" fmla="*/ 3195 w 8255"/>
                        <a:gd name="T95" fmla="*/ 3576 h 4134"/>
                        <a:gd name="T96" fmla="*/ 3264 w 8255"/>
                        <a:gd name="T97" fmla="*/ 3387 h 4134"/>
                        <a:gd name="T98" fmla="*/ 3264 w 8255"/>
                        <a:gd name="T99" fmla="*/ 3387 h 4134"/>
                        <a:gd name="T100" fmla="*/ 3195 w 8255"/>
                        <a:gd name="T101" fmla="*/ 3576 h 4134"/>
                        <a:gd name="T102" fmla="*/ 3118 w 8255"/>
                        <a:gd name="T103" fmla="*/ 3744 h 4134"/>
                        <a:gd name="T104" fmla="*/ 3062 w 8255"/>
                        <a:gd name="T105" fmla="*/ 3845 h 4134"/>
                        <a:gd name="T106" fmla="*/ 3242 w 8255"/>
                        <a:gd name="T107" fmla="*/ 682 h 4134"/>
                        <a:gd name="T108" fmla="*/ 3169 w 8255"/>
                        <a:gd name="T109" fmla="*/ 498 h 4134"/>
                        <a:gd name="T110" fmla="*/ 3090 w 8255"/>
                        <a:gd name="T111" fmla="*/ 338 h 4134"/>
                        <a:gd name="T112" fmla="*/ 3090 w 8255"/>
                        <a:gd name="T113" fmla="*/ 338 h 4134"/>
                        <a:gd name="T114" fmla="*/ 3169 w 8255"/>
                        <a:gd name="T115" fmla="*/ 498 h 4134"/>
                        <a:gd name="T116" fmla="*/ 3242 w 8255"/>
                        <a:gd name="T117" fmla="*/ 682 h 4134"/>
                        <a:gd name="T118" fmla="*/ 3264 w 8255"/>
                        <a:gd name="T119" fmla="*/ 749 h 4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255" h="4134">
                          <a:moveTo>
                            <a:pt x="6866" y="1081"/>
                          </a:moveTo>
                          <a:lnTo>
                            <a:pt x="6866" y="1081"/>
                          </a:lnTo>
                          <a:lnTo>
                            <a:pt x="6751" y="1014"/>
                          </a:lnTo>
                          <a:lnTo>
                            <a:pt x="6632" y="947"/>
                          </a:lnTo>
                          <a:lnTo>
                            <a:pt x="6512" y="880"/>
                          </a:lnTo>
                          <a:lnTo>
                            <a:pt x="6388" y="814"/>
                          </a:lnTo>
                          <a:lnTo>
                            <a:pt x="6388" y="814"/>
                          </a:lnTo>
                          <a:lnTo>
                            <a:pt x="6241" y="739"/>
                          </a:lnTo>
                          <a:lnTo>
                            <a:pt x="6091" y="666"/>
                          </a:lnTo>
                          <a:lnTo>
                            <a:pt x="5939" y="595"/>
                          </a:lnTo>
                          <a:lnTo>
                            <a:pt x="5783" y="528"/>
                          </a:lnTo>
                          <a:lnTo>
                            <a:pt x="5623" y="461"/>
                          </a:lnTo>
                          <a:lnTo>
                            <a:pt x="5461" y="398"/>
                          </a:lnTo>
                          <a:lnTo>
                            <a:pt x="5295" y="336"/>
                          </a:lnTo>
                          <a:lnTo>
                            <a:pt x="5127" y="281"/>
                          </a:lnTo>
                          <a:lnTo>
                            <a:pt x="5042" y="253"/>
                          </a:lnTo>
                          <a:lnTo>
                            <a:pt x="4957" y="228"/>
                          </a:lnTo>
                          <a:lnTo>
                            <a:pt x="4870" y="204"/>
                          </a:lnTo>
                          <a:lnTo>
                            <a:pt x="4783" y="180"/>
                          </a:lnTo>
                          <a:lnTo>
                            <a:pt x="4696" y="158"/>
                          </a:lnTo>
                          <a:lnTo>
                            <a:pt x="4609" y="137"/>
                          </a:lnTo>
                          <a:lnTo>
                            <a:pt x="4523" y="117"/>
                          </a:lnTo>
                          <a:lnTo>
                            <a:pt x="4434" y="99"/>
                          </a:lnTo>
                          <a:lnTo>
                            <a:pt x="4345" y="83"/>
                          </a:lnTo>
                          <a:lnTo>
                            <a:pt x="4256" y="68"/>
                          </a:lnTo>
                          <a:lnTo>
                            <a:pt x="4167" y="54"/>
                          </a:lnTo>
                          <a:lnTo>
                            <a:pt x="4076" y="40"/>
                          </a:lnTo>
                          <a:lnTo>
                            <a:pt x="3987" y="30"/>
                          </a:lnTo>
                          <a:lnTo>
                            <a:pt x="3896" y="20"/>
                          </a:lnTo>
                          <a:lnTo>
                            <a:pt x="3805" y="14"/>
                          </a:lnTo>
                          <a:lnTo>
                            <a:pt x="3714" y="8"/>
                          </a:lnTo>
                          <a:lnTo>
                            <a:pt x="3714" y="8"/>
                          </a:lnTo>
                          <a:lnTo>
                            <a:pt x="3590" y="2"/>
                          </a:lnTo>
                          <a:lnTo>
                            <a:pt x="3468" y="0"/>
                          </a:lnTo>
                          <a:lnTo>
                            <a:pt x="3468" y="0"/>
                          </a:lnTo>
                          <a:lnTo>
                            <a:pt x="3307" y="2"/>
                          </a:lnTo>
                          <a:lnTo>
                            <a:pt x="3153" y="6"/>
                          </a:lnTo>
                          <a:lnTo>
                            <a:pt x="2999" y="12"/>
                          </a:lnTo>
                          <a:lnTo>
                            <a:pt x="2849" y="20"/>
                          </a:lnTo>
                          <a:lnTo>
                            <a:pt x="2849" y="20"/>
                          </a:lnTo>
                          <a:lnTo>
                            <a:pt x="2677" y="34"/>
                          </a:lnTo>
                          <a:lnTo>
                            <a:pt x="2507" y="52"/>
                          </a:lnTo>
                          <a:lnTo>
                            <a:pt x="2337" y="72"/>
                          </a:lnTo>
                          <a:lnTo>
                            <a:pt x="2170" y="95"/>
                          </a:lnTo>
                          <a:lnTo>
                            <a:pt x="2004" y="121"/>
                          </a:lnTo>
                          <a:lnTo>
                            <a:pt x="1836" y="149"/>
                          </a:lnTo>
                          <a:lnTo>
                            <a:pt x="1666" y="182"/>
                          </a:lnTo>
                          <a:lnTo>
                            <a:pt x="1496" y="216"/>
                          </a:lnTo>
                          <a:lnTo>
                            <a:pt x="1324" y="253"/>
                          </a:lnTo>
                          <a:lnTo>
                            <a:pt x="1148" y="295"/>
                          </a:lnTo>
                          <a:lnTo>
                            <a:pt x="968" y="338"/>
                          </a:lnTo>
                          <a:lnTo>
                            <a:pt x="787" y="384"/>
                          </a:lnTo>
                          <a:lnTo>
                            <a:pt x="405" y="482"/>
                          </a:lnTo>
                          <a:lnTo>
                            <a:pt x="0" y="589"/>
                          </a:lnTo>
                          <a:lnTo>
                            <a:pt x="0" y="3525"/>
                          </a:lnTo>
                          <a:lnTo>
                            <a:pt x="0" y="3525"/>
                          </a:lnTo>
                          <a:lnTo>
                            <a:pt x="0" y="3525"/>
                          </a:lnTo>
                          <a:lnTo>
                            <a:pt x="407" y="3638"/>
                          </a:lnTo>
                          <a:lnTo>
                            <a:pt x="785" y="3738"/>
                          </a:lnTo>
                          <a:lnTo>
                            <a:pt x="966" y="3786"/>
                          </a:lnTo>
                          <a:lnTo>
                            <a:pt x="1144" y="3831"/>
                          </a:lnTo>
                          <a:lnTo>
                            <a:pt x="1316" y="3873"/>
                          </a:lnTo>
                          <a:lnTo>
                            <a:pt x="1488" y="3912"/>
                          </a:lnTo>
                          <a:lnTo>
                            <a:pt x="1656" y="3948"/>
                          </a:lnTo>
                          <a:lnTo>
                            <a:pt x="1824" y="3981"/>
                          </a:lnTo>
                          <a:lnTo>
                            <a:pt x="1992" y="4011"/>
                          </a:lnTo>
                          <a:lnTo>
                            <a:pt x="2160" y="4039"/>
                          </a:lnTo>
                          <a:lnTo>
                            <a:pt x="2328" y="4063"/>
                          </a:lnTo>
                          <a:lnTo>
                            <a:pt x="2499" y="4082"/>
                          </a:lnTo>
                          <a:lnTo>
                            <a:pt x="2673" y="4100"/>
                          </a:lnTo>
                          <a:lnTo>
                            <a:pt x="2849" y="4114"/>
                          </a:lnTo>
                          <a:lnTo>
                            <a:pt x="2849" y="4114"/>
                          </a:lnTo>
                          <a:lnTo>
                            <a:pt x="3001" y="4122"/>
                          </a:lnTo>
                          <a:lnTo>
                            <a:pt x="3153" y="4130"/>
                          </a:lnTo>
                          <a:lnTo>
                            <a:pt x="3309" y="4134"/>
                          </a:lnTo>
                          <a:lnTo>
                            <a:pt x="3468" y="4134"/>
                          </a:lnTo>
                          <a:lnTo>
                            <a:pt x="3468" y="4134"/>
                          </a:lnTo>
                          <a:lnTo>
                            <a:pt x="3590" y="4132"/>
                          </a:lnTo>
                          <a:lnTo>
                            <a:pt x="3714" y="4128"/>
                          </a:lnTo>
                          <a:lnTo>
                            <a:pt x="3714" y="4128"/>
                          </a:lnTo>
                          <a:lnTo>
                            <a:pt x="3803" y="4122"/>
                          </a:lnTo>
                          <a:lnTo>
                            <a:pt x="3894" y="4114"/>
                          </a:lnTo>
                          <a:lnTo>
                            <a:pt x="3983" y="4104"/>
                          </a:lnTo>
                          <a:lnTo>
                            <a:pt x="4072" y="4094"/>
                          </a:lnTo>
                          <a:lnTo>
                            <a:pt x="4161" y="4082"/>
                          </a:lnTo>
                          <a:lnTo>
                            <a:pt x="4250" y="4068"/>
                          </a:lnTo>
                          <a:lnTo>
                            <a:pt x="4337" y="4053"/>
                          </a:lnTo>
                          <a:lnTo>
                            <a:pt x="4426" y="4037"/>
                          </a:lnTo>
                          <a:lnTo>
                            <a:pt x="4513" y="4019"/>
                          </a:lnTo>
                          <a:lnTo>
                            <a:pt x="4600" y="3999"/>
                          </a:lnTo>
                          <a:lnTo>
                            <a:pt x="4685" y="3980"/>
                          </a:lnTo>
                          <a:lnTo>
                            <a:pt x="4771" y="3958"/>
                          </a:lnTo>
                          <a:lnTo>
                            <a:pt x="4856" y="3934"/>
                          </a:lnTo>
                          <a:lnTo>
                            <a:pt x="4941" y="3910"/>
                          </a:lnTo>
                          <a:lnTo>
                            <a:pt x="5111" y="3859"/>
                          </a:lnTo>
                          <a:lnTo>
                            <a:pt x="5277" y="3804"/>
                          </a:lnTo>
                          <a:lnTo>
                            <a:pt x="5439" y="3744"/>
                          </a:lnTo>
                          <a:lnTo>
                            <a:pt x="5601" y="3683"/>
                          </a:lnTo>
                          <a:lnTo>
                            <a:pt x="5759" y="3618"/>
                          </a:lnTo>
                          <a:lnTo>
                            <a:pt x="5913" y="3551"/>
                          </a:lnTo>
                          <a:lnTo>
                            <a:pt x="6065" y="3480"/>
                          </a:lnTo>
                          <a:lnTo>
                            <a:pt x="6214" y="3409"/>
                          </a:lnTo>
                          <a:lnTo>
                            <a:pt x="6360" y="3335"/>
                          </a:lnTo>
                          <a:lnTo>
                            <a:pt x="6360" y="3335"/>
                          </a:lnTo>
                          <a:lnTo>
                            <a:pt x="6492" y="3264"/>
                          </a:lnTo>
                          <a:lnTo>
                            <a:pt x="6623" y="3193"/>
                          </a:lnTo>
                          <a:lnTo>
                            <a:pt x="6749" y="3122"/>
                          </a:lnTo>
                          <a:lnTo>
                            <a:pt x="6872" y="3051"/>
                          </a:lnTo>
                          <a:lnTo>
                            <a:pt x="6872" y="3051"/>
                          </a:lnTo>
                          <a:lnTo>
                            <a:pt x="7026" y="2956"/>
                          </a:lnTo>
                          <a:lnTo>
                            <a:pt x="7172" y="2865"/>
                          </a:lnTo>
                          <a:lnTo>
                            <a:pt x="7310" y="2774"/>
                          </a:lnTo>
                          <a:lnTo>
                            <a:pt x="7443" y="2685"/>
                          </a:lnTo>
                          <a:lnTo>
                            <a:pt x="7565" y="2600"/>
                          </a:lnTo>
                          <a:lnTo>
                            <a:pt x="7678" y="2519"/>
                          </a:lnTo>
                          <a:lnTo>
                            <a:pt x="7782" y="2442"/>
                          </a:lnTo>
                          <a:lnTo>
                            <a:pt x="7879" y="2371"/>
                          </a:lnTo>
                          <a:lnTo>
                            <a:pt x="7964" y="2306"/>
                          </a:lnTo>
                          <a:lnTo>
                            <a:pt x="8039" y="2247"/>
                          </a:lnTo>
                          <a:lnTo>
                            <a:pt x="8158" y="2150"/>
                          </a:lnTo>
                          <a:lnTo>
                            <a:pt x="8231" y="2089"/>
                          </a:lnTo>
                          <a:lnTo>
                            <a:pt x="8255" y="2067"/>
                          </a:lnTo>
                          <a:lnTo>
                            <a:pt x="8255" y="2067"/>
                          </a:lnTo>
                          <a:lnTo>
                            <a:pt x="8229" y="2045"/>
                          </a:lnTo>
                          <a:lnTo>
                            <a:pt x="8156" y="1984"/>
                          </a:lnTo>
                          <a:lnTo>
                            <a:pt x="8037" y="1887"/>
                          </a:lnTo>
                          <a:lnTo>
                            <a:pt x="7962" y="1828"/>
                          </a:lnTo>
                          <a:lnTo>
                            <a:pt x="7877" y="1763"/>
                          </a:lnTo>
                          <a:lnTo>
                            <a:pt x="7780" y="1690"/>
                          </a:lnTo>
                          <a:lnTo>
                            <a:pt x="7676" y="1613"/>
                          </a:lnTo>
                          <a:lnTo>
                            <a:pt x="7561" y="1532"/>
                          </a:lnTo>
                          <a:lnTo>
                            <a:pt x="7439" y="1447"/>
                          </a:lnTo>
                          <a:lnTo>
                            <a:pt x="7308" y="1358"/>
                          </a:lnTo>
                          <a:lnTo>
                            <a:pt x="7168" y="1267"/>
                          </a:lnTo>
                          <a:lnTo>
                            <a:pt x="7020" y="1174"/>
                          </a:lnTo>
                          <a:lnTo>
                            <a:pt x="6866" y="1081"/>
                          </a:lnTo>
                          <a:lnTo>
                            <a:pt x="6866" y="1081"/>
                          </a:lnTo>
                          <a:close/>
                          <a:moveTo>
                            <a:pt x="3062" y="3845"/>
                          </a:moveTo>
                          <a:lnTo>
                            <a:pt x="3062" y="3845"/>
                          </a:lnTo>
                          <a:lnTo>
                            <a:pt x="3090" y="3796"/>
                          </a:lnTo>
                          <a:lnTo>
                            <a:pt x="3118" y="3744"/>
                          </a:lnTo>
                          <a:lnTo>
                            <a:pt x="3145" y="3691"/>
                          </a:lnTo>
                          <a:lnTo>
                            <a:pt x="3169" y="3636"/>
                          </a:lnTo>
                          <a:lnTo>
                            <a:pt x="3195" y="3576"/>
                          </a:lnTo>
                          <a:lnTo>
                            <a:pt x="3219" y="3515"/>
                          </a:lnTo>
                          <a:lnTo>
                            <a:pt x="3242" y="3452"/>
                          </a:lnTo>
                          <a:lnTo>
                            <a:pt x="3264" y="3387"/>
                          </a:lnTo>
                          <a:lnTo>
                            <a:pt x="3264" y="3387"/>
                          </a:lnTo>
                          <a:lnTo>
                            <a:pt x="3264" y="3387"/>
                          </a:lnTo>
                          <a:lnTo>
                            <a:pt x="3264" y="3387"/>
                          </a:lnTo>
                          <a:lnTo>
                            <a:pt x="3242" y="3452"/>
                          </a:lnTo>
                          <a:lnTo>
                            <a:pt x="3219" y="3515"/>
                          </a:lnTo>
                          <a:lnTo>
                            <a:pt x="3195" y="3576"/>
                          </a:lnTo>
                          <a:lnTo>
                            <a:pt x="3171" y="3636"/>
                          </a:lnTo>
                          <a:lnTo>
                            <a:pt x="3145" y="3691"/>
                          </a:lnTo>
                          <a:lnTo>
                            <a:pt x="3118" y="3744"/>
                          </a:lnTo>
                          <a:lnTo>
                            <a:pt x="3092" y="3796"/>
                          </a:lnTo>
                          <a:lnTo>
                            <a:pt x="3062" y="3845"/>
                          </a:lnTo>
                          <a:lnTo>
                            <a:pt x="3062" y="3845"/>
                          </a:lnTo>
                          <a:close/>
                          <a:moveTo>
                            <a:pt x="3264" y="749"/>
                          </a:moveTo>
                          <a:lnTo>
                            <a:pt x="3264" y="749"/>
                          </a:lnTo>
                          <a:lnTo>
                            <a:pt x="3242" y="682"/>
                          </a:lnTo>
                          <a:lnTo>
                            <a:pt x="3219" y="619"/>
                          </a:lnTo>
                          <a:lnTo>
                            <a:pt x="3195" y="558"/>
                          </a:lnTo>
                          <a:lnTo>
                            <a:pt x="3169" y="498"/>
                          </a:lnTo>
                          <a:lnTo>
                            <a:pt x="3144" y="443"/>
                          </a:lnTo>
                          <a:lnTo>
                            <a:pt x="3118" y="390"/>
                          </a:lnTo>
                          <a:lnTo>
                            <a:pt x="3090" y="338"/>
                          </a:lnTo>
                          <a:lnTo>
                            <a:pt x="3062" y="289"/>
                          </a:lnTo>
                          <a:lnTo>
                            <a:pt x="3062" y="289"/>
                          </a:lnTo>
                          <a:lnTo>
                            <a:pt x="3090" y="338"/>
                          </a:lnTo>
                          <a:lnTo>
                            <a:pt x="3118" y="390"/>
                          </a:lnTo>
                          <a:lnTo>
                            <a:pt x="3144" y="443"/>
                          </a:lnTo>
                          <a:lnTo>
                            <a:pt x="3169" y="498"/>
                          </a:lnTo>
                          <a:lnTo>
                            <a:pt x="3195" y="558"/>
                          </a:lnTo>
                          <a:lnTo>
                            <a:pt x="3219" y="619"/>
                          </a:lnTo>
                          <a:lnTo>
                            <a:pt x="3242" y="682"/>
                          </a:lnTo>
                          <a:lnTo>
                            <a:pt x="3264" y="749"/>
                          </a:lnTo>
                          <a:lnTo>
                            <a:pt x="3264" y="749"/>
                          </a:lnTo>
                          <a:lnTo>
                            <a:pt x="3264" y="749"/>
                          </a:lnTo>
                          <a:lnTo>
                            <a:pt x="3264" y="749"/>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14" name="Rectangle 303"/>
                    <p:cNvSpPr>
                      <a:spLocks noChangeArrowheads="1"/>
                    </p:cNvSpPr>
                    <p:nvPr/>
                  </p:nvSpPr>
                  <p:spPr bwMode="auto">
                    <a:xfrm>
                      <a:off x="8272459" y="2557462"/>
                      <a:ext cx="779464" cy="28575"/>
                    </a:xfrm>
                    <a:prstGeom prst="rect">
                      <a:avLst/>
                    </a:prstGeom>
                    <a:solidFill>
                      <a:srgbClr val="80828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15" name="Freeform 304"/>
                    <p:cNvSpPr>
                      <a:spLocks/>
                    </p:cNvSpPr>
                    <p:nvPr/>
                  </p:nvSpPr>
                  <p:spPr bwMode="auto">
                    <a:xfrm>
                      <a:off x="8956673" y="2479676"/>
                      <a:ext cx="187324" cy="185737"/>
                    </a:xfrm>
                    <a:custGeom>
                      <a:avLst/>
                      <a:gdLst>
                        <a:gd name="T0" fmla="*/ 118 w 235"/>
                        <a:gd name="T1" fmla="*/ 236 h 236"/>
                        <a:gd name="T2" fmla="*/ 118 w 235"/>
                        <a:gd name="T3" fmla="*/ 236 h 236"/>
                        <a:gd name="T4" fmla="*/ 107 w 235"/>
                        <a:gd name="T5" fmla="*/ 234 h 236"/>
                        <a:gd name="T6" fmla="*/ 95 w 235"/>
                        <a:gd name="T7" fmla="*/ 232 h 236"/>
                        <a:gd name="T8" fmla="*/ 71 w 235"/>
                        <a:gd name="T9" fmla="*/ 226 h 236"/>
                        <a:gd name="T10" fmla="*/ 51 w 235"/>
                        <a:gd name="T11" fmla="*/ 214 h 236"/>
                        <a:gd name="T12" fmla="*/ 35 w 235"/>
                        <a:gd name="T13" fmla="*/ 200 h 236"/>
                        <a:gd name="T14" fmla="*/ 20 w 235"/>
                        <a:gd name="T15" fmla="*/ 182 h 236"/>
                        <a:gd name="T16" fmla="*/ 10 w 235"/>
                        <a:gd name="T17" fmla="*/ 162 h 236"/>
                        <a:gd name="T18" fmla="*/ 2 w 235"/>
                        <a:gd name="T19" fmla="*/ 141 h 236"/>
                        <a:gd name="T20" fmla="*/ 0 w 235"/>
                        <a:gd name="T21" fmla="*/ 129 h 236"/>
                        <a:gd name="T22" fmla="*/ 0 w 235"/>
                        <a:gd name="T23" fmla="*/ 117 h 236"/>
                        <a:gd name="T24" fmla="*/ 0 w 235"/>
                        <a:gd name="T25" fmla="*/ 117 h 236"/>
                        <a:gd name="T26" fmla="*/ 0 w 235"/>
                        <a:gd name="T27" fmla="*/ 105 h 236"/>
                        <a:gd name="T28" fmla="*/ 2 w 235"/>
                        <a:gd name="T29" fmla="*/ 93 h 236"/>
                        <a:gd name="T30" fmla="*/ 10 w 235"/>
                        <a:gd name="T31" fmla="*/ 72 h 236"/>
                        <a:gd name="T32" fmla="*/ 20 w 235"/>
                        <a:gd name="T33" fmla="*/ 52 h 236"/>
                        <a:gd name="T34" fmla="*/ 35 w 235"/>
                        <a:gd name="T35" fmla="*/ 34 h 236"/>
                        <a:gd name="T36" fmla="*/ 51 w 235"/>
                        <a:gd name="T37" fmla="*/ 20 h 236"/>
                        <a:gd name="T38" fmla="*/ 71 w 235"/>
                        <a:gd name="T39" fmla="*/ 8 h 236"/>
                        <a:gd name="T40" fmla="*/ 95 w 235"/>
                        <a:gd name="T41" fmla="*/ 2 h 236"/>
                        <a:gd name="T42" fmla="*/ 107 w 235"/>
                        <a:gd name="T43" fmla="*/ 0 h 236"/>
                        <a:gd name="T44" fmla="*/ 118 w 235"/>
                        <a:gd name="T45" fmla="*/ 0 h 236"/>
                        <a:gd name="T46" fmla="*/ 118 w 235"/>
                        <a:gd name="T47" fmla="*/ 0 h 236"/>
                        <a:gd name="T48" fmla="*/ 130 w 235"/>
                        <a:gd name="T49" fmla="*/ 0 h 236"/>
                        <a:gd name="T50" fmla="*/ 142 w 235"/>
                        <a:gd name="T51" fmla="*/ 2 h 236"/>
                        <a:gd name="T52" fmla="*/ 164 w 235"/>
                        <a:gd name="T53" fmla="*/ 8 h 236"/>
                        <a:gd name="T54" fmla="*/ 184 w 235"/>
                        <a:gd name="T55" fmla="*/ 20 h 236"/>
                        <a:gd name="T56" fmla="*/ 201 w 235"/>
                        <a:gd name="T57" fmla="*/ 34 h 236"/>
                        <a:gd name="T58" fmla="*/ 215 w 235"/>
                        <a:gd name="T59" fmla="*/ 52 h 236"/>
                        <a:gd name="T60" fmla="*/ 227 w 235"/>
                        <a:gd name="T61" fmla="*/ 72 h 236"/>
                        <a:gd name="T62" fmla="*/ 233 w 235"/>
                        <a:gd name="T63" fmla="*/ 93 h 236"/>
                        <a:gd name="T64" fmla="*/ 235 w 235"/>
                        <a:gd name="T65" fmla="*/ 105 h 236"/>
                        <a:gd name="T66" fmla="*/ 235 w 235"/>
                        <a:gd name="T67" fmla="*/ 117 h 236"/>
                        <a:gd name="T68" fmla="*/ 235 w 235"/>
                        <a:gd name="T69" fmla="*/ 117 h 236"/>
                        <a:gd name="T70" fmla="*/ 235 w 235"/>
                        <a:gd name="T71" fmla="*/ 129 h 236"/>
                        <a:gd name="T72" fmla="*/ 233 w 235"/>
                        <a:gd name="T73" fmla="*/ 141 h 236"/>
                        <a:gd name="T74" fmla="*/ 227 w 235"/>
                        <a:gd name="T75" fmla="*/ 162 h 236"/>
                        <a:gd name="T76" fmla="*/ 215 w 235"/>
                        <a:gd name="T77" fmla="*/ 182 h 236"/>
                        <a:gd name="T78" fmla="*/ 201 w 235"/>
                        <a:gd name="T79" fmla="*/ 200 h 236"/>
                        <a:gd name="T80" fmla="*/ 184 w 235"/>
                        <a:gd name="T81" fmla="*/ 214 h 236"/>
                        <a:gd name="T82" fmla="*/ 164 w 235"/>
                        <a:gd name="T83" fmla="*/ 226 h 236"/>
                        <a:gd name="T84" fmla="*/ 142 w 235"/>
                        <a:gd name="T85" fmla="*/ 232 h 236"/>
                        <a:gd name="T86" fmla="*/ 130 w 235"/>
                        <a:gd name="T87" fmla="*/ 234 h 236"/>
                        <a:gd name="T88" fmla="*/ 118 w 235"/>
                        <a:gd name="T89" fmla="*/ 236 h 236"/>
                        <a:gd name="T90" fmla="*/ 118 w 235"/>
                        <a:gd name="T91"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5" h="236">
                          <a:moveTo>
                            <a:pt x="118" y="236"/>
                          </a:moveTo>
                          <a:lnTo>
                            <a:pt x="118" y="236"/>
                          </a:lnTo>
                          <a:lnTo>
                            <a:pt x="107" y="234"/>
                          </a:lnTo>
                          <a:lnTo>
                            <a:pt x="95" y="232"/>
                          </a:lnTo>
                          <a:lnTo>
                            <a:pt x="71" y="226"/>
                          </a:lnTo>
                          <a:lnTo>
                            <a:pt x="51" y="214"/>
                          </a:lnTo>
                          <a:lnTo>
                            <a:pt x="35" y="200"/>
                          </a:lnTo>
                          <a:lnTo>
                            <a:pt x="20" y="182"/>
                          </a:lnTo>
                          <a:lnTo>
                            <a:pt x="10" y="162"/>
                          </a:lnTo>
                          <a:lnTo>
                            <a:pt x="2" y="141"/>
                          </a:lnTo>
                          <a:lnTo>
                            <a:pt x="0" y="129"/>
                          </a:lnTo>
                          <a:lnTo>
                            <a:pt x="0" y="117"/>
                          </a:lnTo>
                          <a:lnTo>
                            <a:pt x="0" y="117"/>
                          </a:lnTo>
                          <a:lnTo>
                            <a:pt x="0" y="105"/>
                          </a:lnTo>
                          <a:lnTo>
                            <a:pt x="2" y="93"/>
                          </a:lnTo>
                          <a:lnTo>
                            <a:pt x="10" y="72"/>
                          </a:lnTo>
                          <a:lnTo>
                            <a:pt x="20" y="52"/>
                          </a:lnTo>
                          <a:lnTo>
                            <a:pt x="35" y="34"/>
                          </a:lnTo>
                          <a:lnTo>
                            <a:pt x="51" y="20"/>
                          </a:lnTo>
                          <a:lnTo>
                            <a:pt x="71" y="8"/>
                          </a:lnTo>
                          <a:lnTo>
                            <a:pt x="95" y="2"/>
                          </a:lnTo>
                          <a:lnTo>
                            <a:pt x="107" y="0"/>
                          </a:lnTo>
                          <a:lnTo>
                            <a:pt x="118" y="0"/>
                          </a:lnTo>
                          <a:lnTo>
                            <a:pt x="118" y="0"/>
                          </a:lnTo>
                          <a:lnTo>
                            <a:pt x="130" y="0"/>
                          </a:lnTo>
                          <a:lnTo>
                            <a:pt x="142" y="2"/>
                          </a:lnTo>
                          <a:lnTo>
                            <a:pt x="164" y="8"/>
                          </a:lnTo>
                          <a:lnTo>
                            <a:pt x="184" y="20"/>
                          </a:lnTo>
                          <a:lnTo>
                            <a:pt x="201" y="34"/>
                          </a:lnTo>
                          <a:lnTo>
                            <a:pt x="215" y="52"/>
                          </a:lnTo>
                          <a:lnTo>
                            <a:pt x="227" y="72"/>
                          </a:lnTo>
                          <a:lnTo>
                            <a:pt x="233" y="93"/>
                          </a:lnTo>
                          <a:lnTo>
                            <a:pt x="235" y="105"/>
                          </a:lnTo>
                          <a:lnTo>
                            <a:pt x="235" y="117"/>
                          </a:lnTo>
                          <a:lnTo>
                            <a:pt x="235" y="117"/>
                          </a:lnTo>
                          <a:lnTo>
                            <a:pt x="235" y="129"/>
                          </a:lnTo>
                          <a:lnTo>
                            <a:pt x="233" y="141"/>
                          </a:lnTo>
                          <a:lnTo>
                            <a:pt x="227" y="162"/>
                          </a:lnTo>
                          <a:lnTo>
                            <a:pt x="215" y="182"/>
                          </a:lnTo>
                          <a:lnTo>
                            <a:pt x="201" y="200"/>
                          </a:lnTo>
                          <a:lnTo>
                            <a:pt x="184" y="214"/>
                          </a:lnTo>
                          <a:lnTo>
                            <a:pt x="164" y="226"/>
                          </a:lnTo>
                          <a:lnTo>
                            <a:pt x="142" y="232"/>
                          </a:lnTo>
                          <a:lnTo>
                            <a:pt x="130" y="234"/>
                          </a:lnTo>
                          <a:lnTo>
                            <a:pt x="118" y="236"/>
                          </a:lnTo>
                          <a:lnTo>
                            <a:pt x="118" y="236"/>
                          </a:ln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16" name="Freeform 305"/>
                    <p:cNvSpPr>
                      <a:spLocks/>
                    </p:cNvSpPr>
                    <p:nvPr/>
                  </p:nvSpPr>
                  <p:spPr bwMode="auto">
                    <a:xfrm>
                      <a:off x="0" y="3390902"/>
                      <a:ext cx="3254374" cy="1635124"/>
                    </a:xfrm>
                    <a:custGeom>
                      <a:avLst/>
                      <a:gdLst>
                        <a:gd name="T0" fmla="*/ 4099 w 4099"/>
                        <a:gd name="T1" fmla="*/ 769 h 2061"/>
                        <a:gd name="T2" fmla="*/ 4099 w 4099"/>
                        <a:gd name="T3" fmla="*/ 769 h 2061"/>
                        <a:gd name="T4" fmla="*/ 4074 w 4099"/>
                        <a:gd name="T5" fmla="*/ 804 h 2061"/>
                        <a:gd name="T6" fmla="*/ 4001 w 4099"/>
                        <a:gd name="T7" fmla="*/ 905 h 2061"/>
                        <a:gd name="T8" fmla="*/ 3898 w 4099"/>
                        <a:gd name="T9" fmla="*/ 1055 h 2061"/>
                        <a:gd name="T10" fmla="*/ 3839 w 4099"/>
                        <a:gd name="T11" fmla="*/ 1146 h 2061"/>
                        <a:gd name="T12" fmla="*/ 3777 w 4099"/>
                        <a:gd name="T13" fmla="*/ 1243 h 2061"/>
                        <a:gd name="T14" fmla="*/ 3716 w 4099"/>
                        <a:gd name="T15" fmla="*/ 1344 h 2061"/>
                        <a:gd name="T16" fmla="*/ 3653 w 4099"/>
                        <a:gd name="T17" fmla="*/ 1451 h 2061"/>
                        <a:gd name="T18" fmla="*/ 3594 w 4099"/>
                        <a:gd name="T19" fmla="*/ 1557 h 2061"/>
                        <a:gd name="T20" fmla="*/ 3538 w 4099"/>
                        <a:gd name="T21" fmla="*/ 1666 h 2061"/>
                        <a:gd name="T22" fmla="*/ 3515 w 4099"/>
                        <a:gd name="T23" fmla="*/ 1719 h 2061"/>
                        <a:gd name="T24" fmla="*/ 3491 w 4099"/>
                        <a:gd name="T25" fmla="*/ 1771 h 2061"/>
                        <a:gd name="T26" fmla="*/ 3469 w 4099"/>
                        <a:gd name="T27" fmla="*/ 1822 h 2061"/>
                        <a:gd name="T28" fmla="*/ 3449 w 4099"/>
                        <a:gd name="T29" fmla="*/ 1873 h 2061"/>
                        <a:gd name="T30" fmla="*/ 3432 w 4099"/>
                        <a:gd name="T31" fmla="*/ 1923 h 2061"/>
                        <a:gd name="T32" fmla="*/ 3416 w 4099"/>
                        <a:gd name="T33" fmla="*/ 1970 h 2061"/>
                        <a:gd name="T34" fmla="*/ 3404 w 4099"/>
                        <a:gd name="T35" fmla="*/ 2018 h 2061"/>
                        <a:gd name="T36" fmla="*/ 3396 w 4099"/>
                        <a:gd name="T37" fmla="*/ 2061 h 2061"/>
                        <a:gd name="T38" fmla="*/ 0 w 4099"/>
                        <a:gd name="T39" fmla="*/ 1342 h 2061"/>
                        <a:gd name="T40" fmla="*/ 0 w 4099"/>
                        <a:gd name="T41" fmla="*/ 1113 h 2061"/>
                        <a:gd name="T42" fmla="*/ 0 w 4099"/>
                        <a:gd name="T43" fmla="*/ 1113 h 2061"/>
                        <a:gd name="T44" fmla="*/ 109 w 4099"/>
                        <a:gd name="T45" fmla="*/ 1123 h 2061"/>
                        <a:gd name="T46" fmla="*/ 231 w 4099"/>
                        <a:gd name="T47" fmla="*/ 1134 h 2061"/>
                        <a:gd name="T48" fmla="*/ 393 w 4099"/>
                        <a:gd name="T49" fmla="*/ 1144 h 2061"/>
                        <a:gd name="T50" fmla="*/ 486 w 4099"/>
                        <a:gd name="T51" fmla="*/ 1150 h 2061"/>
                        <a:gd name="T52" fmla="*/ 585 w 4099"/>
                        <a:gd name="T53" fmla="*/ 1154 h 2061"/>
                        <a:gd name="T54" fmla="*/ 691 w 4099"/>
                        <a:gd name="T55" fmla="*/ 1156 h 2061"/>
                        <a:gd name="T56" fmla="*/ 802 w 4099"/>
                        <a:gd name="T57" fmla="*/ 1158 h 2061"/>
                        <a:gd name="T58" fmla="*/ 917 w 4099"/>
                        <a:gd name="T59" fmla="*/ 1158 h 2061"/>
                        <a:gd name="T60" fmla="*/ 1035 w 4099"/>
                        <a:gd name="T61" fmla="*/ 1156 h 2061"/>
                        <a:gd name="T62" fmla="*/ 1158 w 4099"/>
                        <a:gd name="T63" fmla="*/ 1150 h 2061"/>
                        <a:gd name="T64" fmla="*/ 1280 w 4099"/>
                        <a:gd name="T65" fmla="*/ 1142 h 2061"/>
                        <a:gd name="T66" fmla="*/ 1403 w 4099"/>
                        <a:gd name="T67" fmla="*/ 1132 h 2061"/>
                        <a:gd name="T68" fmla="*/ 1527 w 4099"/>
                        <a:gd name="T69" fmla="*/ 1119 h 2061"/>
                        <a:gd name="T70" fmla="*/ 1650 w 4099"/>
                        <a:gd name="T71" fmla="*/ 1103 h 2061"/>
                        <a:gd name="T72" fmla="*/ 1770 w 4099"/>
                        <a:gd name="T73" fmla="*/ 1081 h 2061"/>
                        <a:gd name="T74" fmla="*/ 1831 w 4099"/>
                        <a:gd name="T75" fmla="*/ 1069 h 2061"/>
                        <a:gd name="T76" fmla="*/ 1891 w 4099"/>
                        <a:gd name="T77" fmla="*/ 1055 h 2061"/>
                        <a:gd name="T78" fmla="*/ 1948 w 4099"/>
                        <a:gd name="T79" fmla="*/ 1042 h 2061"/>
                        <a:gd name="T80" fmla="*/ 2005 w 4099"/>
                        <a:gd name="T81" fmla="*/ 1026 h 2061"/>
                        <a:gd name="T82" fmla="*/ 2061 w 4099"/>
                        <a:gd name="T83" fmla="*/ 1010 h 2061"/>
                        <a:gd name="T84" fmla="*/ 2116 w 4099"/>
                        <a:gd name="T85" fmla="*/ 992 h 2061"/>
                        <a:gd name="T86" fmla="*/ 2169 w 4099"/>
                        <a:gd name="T87" fmla="*/ 972 h 2061"/>
                        <a:gd name="T88" fmla="*/ 2223 w 4099"/>
                        <a:gd name="T89" fmla="*/ 953 h 2061"/>
                        <a:gd name="T90" fmla="*/ 2272 w 4099"/>
                        <a:gd name="T91" fmla="*/ 931 h 2061"/>
                        <a:gd name="T92" fmla="*/ 2321 w 4099"/>
                        <a:gd name="T93" fmla="*/ 907 h 2061"/>
                        <a:gd name="T94" fmla="*/ 2369 w 4099"/>
                        <a:gd name="T95" fmla="*/ 883 h 2061"/>
                        <a:gd name="T96" fmla="*/ 2414 w 4099"/>
                        <a:gd name="T97" fmla="*/ 858 h 2061"/>
                        <a:gd name="T98" fmla="*/ 2458 w 4099"/>
                        <a:gd name="T99" fmla="*/ 830 h 2061"/>
                        <a:gd name="T100" fmla="*/ 2499 w 4099"/>
                        <a:gd name="T101" fmla="*/ 800 h 2061"/>
                        <a:gd name="T102" fmla="*/ 2539 w 4099"/>
                        <a:gd name="T103" fmla="*/ 771 h 2061"/>
                        <a:gd name="T104" fmla="*/ 2576 w 4099"/>
                        <a:gd name="T105" fmla="*/ 737 h 2061"/>
                        <a:gd name="T106" fmla="*/ 2612 w 4099"/>
                        <a:gd name="T107" fmla="*/ 704 h 2061"/>
                        <a:gd name="T108" fmla="*/ 2643 w 4099"/>
                        <a:gd name="T109" fmla="*/ 668 h 2061"/>
                        <a:gd name="T110" fmla="*/ 2673 w 4099"/>
                        <a:gd name="T111" fmla="*/ 633 h 2061"/>
                        <a:gd name="T112" fmla="*/ 2701 w 4099"/>
                        <a:gd name="T113" fmla="*/ 593 h 2061"/>
                        <a:gd name="T114" fmla="*/ 2726 w 4099"/>
                        <a:gd name="T115" fmla="*/ 552 h 2061"/>
                        <a:gd name="T116" fmla="*/ 2748 w 4099"/>
                        <a:gd name="T117" fmla="*/ 510 h 2061"/>
                        <a:gd name="T118" fmla="*/ 2766 w 4099"/>
                        <a:gd name="T119" fmla="*/ 465 h 2061"/>
                        <a:gd name="T120" fmla="*/ 2782 w 4099"/>
                        <a:gd name="T121" fmla="*/ 419 h 2061"/>
                        <a:gd name="T122" fmla="*/ 3843 w 4099"/>
                        <a:gd name="T123" fmla="*/ 0 h 2061"/>
                        <a:gd name="T124" fmla="*/ 4099 w 4099"/>
                        <a:gd name="T125" fmla="*/ 769 h 20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99" h="2061">
                          <a:moveTo>
                            <a:pt x="4099" y="769"/>
                          </a:moveTo>
                          <a:lnTo>
                            <a:pt x="4099" y="769"/>
                          </a:lnTo>
                          <a:lnTo>
                            <a:pt x="4074" y="804"/>
                          </a:lnTo>
                          <a:lnTo>
                            <a:pt x="4001" y="905"/>
                          </a:lnTo>
                          <a:lnTo>
                            <a:pt x="3898" y="1055"/>
                          </a:lnTo>
                          <a:lnTo>
                            <a:pt x="3839" y="1146"/>
                          </a:lnTo>
                          <a:lnTo>
                            <a:pt x="3777" y="1243"/>
                          </a:lnTo>
                          <a:lnTo>
                            <a:pt x="3716" y="1344"/>
                          </a:lnTo>
                          <a:lnTo>
                            <a:pt x="3653" y="1451"/>
                          </a:lnTo>
                          <a:lnTo>
                            <a:pt x="3594" y="1557"/>
                          </a:lnTo>
                          <a:lnTo>
                            <a:pt x="3538" y="1666"/>
                          </a:lnTo>
                          <a:lnTo>
                            <a:pt x="3515" y="1719"/>
                          </a:lnTo>
                          <a:lnTo>
                            <a:pt x="3491" y="1771"/>
                          </a:lnTo>
                          <a:lnTo>
                            <a:pt x="3469" y="1822"/>
                          </a:lnTo>
                          <a:lnTo>
                            <a:pt x="3449" y="1873"/>
                          </a:lnTo>
                          <a:lnTo>
                            <a:pt x="3432" y="1923"/>
                          </a:lnTo>
                          <a:lnTo>
                            <a:pt x="3416" y="1970"/>
                          </a:lnTo>
                          <a:lnTo>
                            <a:pt x="3404" y="2018"/>
                          </a:lnTo>
                          <a:lnTo>
                            <a:pt x="3396" y="2061"/>
                          </a:lnTo>
                          <a:lnTo>
                            <a:pt x="0" y="1342"/>
                          </a:lnTo>
                          <a:lnTo>
                            <a:pt x="0" y="1113"/>
                          </a:lnTo>
                          <a:lnTo>
                            <a:pt x="0" y="1113"/>
                          </a:lnTo>
                          <a:lnTo>
                            <a:pt x="109" y="1123"/>
                          </a:lnTo>
                          <a:lnTo>
                            <a:pt x="231" y="1134"/>
                          </a:lnTo>
                          <a:lnTo>
                            <a:pt x="393" y="1144"/>
                          </a:lnTo>
                          <a:lnTo>
                            <a:pt x="486" y="1150"/>
                          </a:lnTo>
                          <a:lnTo>
                            <a:pt x="585" y="1154"/>
                          </a:lnTo>
                          <a:lnTo>
                            <a:pt x="691" y="1156"/>
                          </a:lnTo>
                          <a:lnTo>
                            <a:pt x="802" y="1158"/>
                          </a:lnTo>
                          <a:lnTo>
                            <a:pt x="917" y="1158"/>
                          </a:lnTo>
                          <a:lnTo>
                            <a:pt x="1035" y="1156"/>
                          </a:lnTo>
                          <a:lnTo>
                            <a:pt x="1158" y="1150"/>
                          </a:lnTo>
                          <a:lnTo>
                            <a:pt x="1280" y="1142"/>
                          </a:lnTo>
                          <a:lnTo>
                            <a:pt x="1403" y="1132"/>
                          </a:lnTo>
                          <a:lnTo>
                            <a:pt x="1527" y="1119"/>
                          </a:lnTo>
                          <a:lnTo>
                            <a:pt x="1650" y="1103"/>
                          </a:lnTo>
                          <a:lnTo>
                            <a:pt x="1770" y="1081"/>
                          </a:lnTo>
                          <a:lnTo>
                            <a:pt x="1831" y="1069"/>
                          </a:lnTo>
                          <a:lnTo>
                            <a:pt x="1891" y="1055"/>
                          </a:lnTo>
                          <a:lnTo>
                            <a:pt x="1948" y="1042"/>
                          </a:lnTo>
                          <a:lnTo>
                            <a:pt x="2005" y="1026"/>
                          </a:lnTo>
                          <a:lnTo>
                            <a:pt x="2061" y="1010"/>
                          </a:lnTo>
                          <a:lnTo>
                            <a:pt x="2116" y="992"/>
                          </a:lnTo>
                          <a:lnTo>
                            <a:pt x="2169" y="972"/>
                          </a:lnTo>
                          <a:lnTo>
                            <a:pt x="2223" y="953"/>
                          </a:lnTo>
                          <a:lnTo>
                            <a:pt x="2272" y="931"/>
                          </a:lnTo>
                          <a:lnTo>
                            <a:pt x="2321" y="907"/>
                          </a:lnTo>
                          <a:lnTo>
                            <a:pt x="2369" y="883"/>
                          </a:lnTo>
                          <a:lnTo>
                            <a:pt x="2414" y="858"/>
                          </a:lnTo>
                          <a:lnTo>
                            <a:pt x="2458" y="830"/>
                          </a:lnTo>
                          <a:lnTo>
                            <a:pt x="2499" y="800"/>
                          </a:lnTo>
                          <a:lnTo>
                            <a:pt x="2539" y="771"/>
                          </a:lnTo>
                          <a:lnTo>
                            <a:pt x="2576" y="737"/>
                          </a:lnTo>
                          <a:lnTo>
                            <a:pt x="2612" y="704"/>
                          </a:lnTo>
                          <a:lnTo>
                            <a:pt x="2643" y="668"/>
                          </a:lnTo>
                          <a:lnTo>
                            <a:pt x="2673" y="633"/>
                          </a:lnTo>
                          <a:lnTo>
                            <a:pt x="2701" y="593"/>
                          </a:lnTo>
                          <a:lnTo>
                            <a:pt x="2726" y="552"/>
                          </a:lnTo>
                          <a:lnTo>
                            <a:pt x="2748" y="510"/>
                          </a:lnTo>
                          <a:lnTo>
                            <a:pt x="2766" y="465"/>
                          </a:lnTo>
                          <a:lnTo>
                            <a:pt x="2782" y="419"/>
                          </a:lnTo>
                          <a:lnTo>
                            <a:pt x="3843" y="0"/>
                          </a:lnTo>
                          <a:lnTo>
                            <a:pt x="4099" y="769"/>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17" name="Freeform 306"/>
                    <p:cNvSpPr>
                      <a:spLocks/>
                    </p:cNvSpPr>
                    <p:nvPr/>
                  </p:nvSpPr>
                  <p:spPr bwMode="auto">
                    <a:xfrm>
                      <a:off x="2159000" y="3390902"/>
                      <a:ext cx="1095374" cy="757237"/>
                    </a:xfrm>
                    <a:custGeom>
                      <a:avLst/>
                      <a:gdLst>
                        <a:gd name="T0" fmla="*/ 1379 w 1379"/>
                        <a:gd name="T1" fmla="*/ 769 h 955"/>
                        <a:gd name="T2" fmla="*/ 1123 w 1379"/>
                        <a:gd name="T3" fmla="*/ 0 h 955"/>
                        <a:gd name="T4" fmla="*/ 62 w 1379"/>
                        <a:gd name="T5" fmla="*/ 419 h 955"/>
                        <a:gd name="T6" fmla="*/ 62 w 1379"/>
                        <a:gd name="T7" fmla="*/ 419 h 955"/>
                        <a:gd name="T8" fmla="*/ 50 w 1379"/>
                        <a:gd name="T9" fmla="*/ 457 h 955"/>
                        <a:gd name="T10" fmla="*/ 34 w 1379"/>
                        <a:gd name="T11" fmla="*/ 492 h 955"/>
                        <a:gd name="T12" fmla="*/ 18 w 1379"/>
                        <a:gd name="T13" fmla="*/ 528 h 955"/>
                        <a:gd name="T14" fmla="*/ 0 w 1379"/>
                        <a:gd name="T15" fmla="*/ 559 h 955"/>
                        <a:gd name="T16" fmla="*/ 0 w 1379"/>
                        <a:gd name="T17" fmla="*/ 559 h 955"/>
                        <a:gd name="T18" fmla="*/ 74 w 1379"/>
                        <a:gd name="T19" fmla="*/ 591 h 955"/>
                        <a:gd name="T20" fmla="*/ 149 w 1379"/>
                        <a:gd name="T21" fmla="*/ 621 h 955"/>
                        <a:gd name="T22" fmla="*/ 226 w 1379"/>
                        <a:gd name="T23" fmla="*/ 650 h 955"/>
                        <a:gd name="T24" fmla="*/ 305 w 1379"/>
                        <a:gd name="T25" fmla="*/ 680 h 955"/>
                        <a:gd name="T26" fmla="*/ 471 w 1379"/>
                        <a:gd name="T27" fmla="*/ 735 h 955"/>
                        <a:gd name="T28" fmla="*/ 637 w 1379"/>
                        <a:gd name="T29" fmla="*/ 789 h 955"/>
                        <a:gd name="T30" fmla="*/ 801 w 1379"/>
                        <a:gd name="T31" fmla="*/ 838 h 955"/>
                        <a:gd name="T32" fmla="*/ 961 w 1379"/>
                        <a:gd name="T33" fmla="*/ 881 h 955"/>
                        <a:gd name="T34" fmla="*/ 1111 w 1379"/>
                        <a:gd name="T35" fmla="*/ 921 h 955"/>
                        <a:gd name="T36" fmla="*/ 1247 w 1379"/>
                        <a:gd name="T37" fmla="*/ 955 h 955"/>
                        <a:gd name="T38" fmla="*/ 1247 w 1379"/>
                        <a:gd name="T39" fmla="*/ 955 h 955"/>
                        <a:gd name="T40" fmla="*/ 1342 w 1379"/>
                        <a:gd name="T41" fmla="*/ 818 h 955"/>
                        <a:gd name="T42" fmla="*/ 1379 w 1379"/>
                        <a:gd name="T43" fmla="*/ 769 h 955"/>
                        <a:gd name="T44" fmla="*/ 1379 w 1379"/>
                        <a:gd name="T45" fmla="*/ 769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79" h="955">
                          <a:moveTo>
                            <a:pt x="1379" y="769"/>
                          </a:moveTo>
                          <a:lnTo>
                            <a:pt x="1123" y="0"/>
                          </a:lnTo>
                          <a:lnTo>
                            <a:pt x="62" y="419"/>
                          </a:lnTo>
                          <a:lnTo>
                            <a:pt x="62" y="419"/>
                          </a:lnTo>
                          <a:lnTo>
                            <a:pt x="50" y="457"/>
                          </a:lnTo>
                          <a:lnTo>
                            <a:pt x="34" y="492"/>
                          </a:lnTo>
                          <a:lnTo>
                            <a:pt x="18" y="528"/>
                          </a:lnTo>
                          <a:lnTo>
                            <a:pt x="0" y="559"/>
                          </a:lnTo>
                          <a:lnTo>
                            <a:pt x="0" y="559"/>
                          </a:lnTo>
                          <a:lnTo>
                            <a:pt x="74" y="591"/>
                          </a:lnTo>
                          <a:lnTo>
                            <a:pt x="149" y="621"/>
                          </a:lnTo>
                          <a:lnTo>
                            <a:pt x="226" y="650"/>
                          </a:lnTo>
                          <a:lnTo>
                            <a:pt x="305" y="680"/>
                          </a:lnTo>
                          <a:lnTo>
                            <a:pt x="471" y="735"/>
                          </a:lnTo>
                          <a:lnTo>
                            <a:pt x="637" y="789"/>
                          </a:lnTo>
                          <a:lnTo>
                            <a:pt x="801" y="838"/>
                          </a:lnTo>
                          <a:lnTo>
                            <a:pt x="961" y="881"/>
                          </a:lnTo>
                          <a:lnTo>
                            <a:pt x="1111" y="921"/>
                          </a:lnTo>
                          <a:lnTo>
                            <a:pt x="1247" y="955"/>
                          </a:lnTo>
                          <a:lnTo>
                            <a:pt x="1247" y="955"/>
                          </a:lnTo>
                          <a:lnTo>
                            <a:pt x="1342" y="818"/>
                          </a:lnTo>
                          <a:lnTo>
                            <a:pt x="1379" y="769"/>
                          </a:lnTo>
                          <a:lnTo>
                            <a:pt x="1379" y="769"/>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18" name="Freeform 307"/>
                    <p:cNvSpPr>
                      <a:spLocks/>
                    </p:cNvSpPr>
                    <p:nvPr/>
                  </p:nvSpPr>
                  <p:spPr bwMode="auto">
                    <a:xfrm>
                      <a:off x="0" y="117474"/>
                      <a:ext cx="3254374" cy="1635124"/>
                    </a:xfrm>
                    <a:custGeom>
                      <a:avLst/>
                      <a:gdLst>
                        <a:gd name="T0" fmla="*/ 4099 w 4099"/>
                        <a:gd name="T1" fmla="*/ 1294 h 2061"/>
                        <a:gd name="T2" fmla="*/ 4099 w 4099"/>
                        <a:gd name="T3" fmla="*/ 1294 h 2061"/>
                        <a:gd name="T4" fmla="*/ 4074 w 4099"/>
                        <a:gd name="T5" fmla="*/ 1257 h 2061"/>
                        <a:gd name="T6" fmla="*/ 4001 w 4099"/>
                        <a:gd name="T7" fmla="*/ 1156 h 2061"/>
                        <a:gd name="T8" fmla="*/ 3898 w 4099"/>
                        <a:gd name="T9" fmla="*/ 1006 h 2061"/>
                        <a:gd name="T10" fmla="*/ 3839 w 4099"/>
                        <a:gd name="T11" fmla="*/ 915 h 2061"/>
                        <a:gd name="T12" fmla="*/ 3777 w 4099"/>
                        <a:gd name="T13" fmla="*/ 820 h 2061"/>
                        <a:gd name="T14" fmla="*/ 3716 w 4099"/>
                        <a:gd name="T15" fmla="*/ 717 h 2061"/>
                        <a:gd name="T16" fmla="*/ 3653 w 4099"/>
                        <a:gd name="T17" fmla="*/ 610 h 2061"/>
                        <a:gd name="T18" fmla="*/ 3594 w 4099"/>
                        <a:gd name="T19" fmla="*/ 504 h 2061"/>
                        <a:gd name="T20" fmla="*/ 3538 w 4099"/>
                        <a:gd name="T21" fmla="*/ 395 h 2061"/>
                        <a:gd name="T22" fmla="*/ 3515 w 4099"/>
                        <a:gd name="T23" fmla="*/ 344 h 2061"/>
                        <a:gd name="T24" fmla="*/ 3491 w 4099"/>
                        <a:gd name="T25" fmla="*/ 290 h 2061"/>
                        <a:gd name="T26" fmla="*/ 3469 w 4099"/>
                        <a:gd name="T27" fmla="*/ 239 h 2061"/>
                        <a:gd name="T28" fmla="*/ 3449 w 4099"/>
                        <a:gd name="T29" fmla="*/ 188 h 2061"/>
                        <a:gd name="T30" fmla="*/ 3432 w 4099"/>
                        <a:gd name="T31" fmla="*/ 138 h 2061"/>
                        <a:gd name="T32" fmla="*/ 3416 w 4099"/>
                        <a:gd name="T33" fmla="*/ 91 h 2061"/>
                        <a:gd name="T34" fmla="*/ 3404 w 4099"/>
                        <a:gd name="T35" fmla="*/ 43 h 2061"/>
                        <a:gd name="T36" fmla="*/ 3396 w 4099"/>
                        <a:gd name="T37" fmla="*/ 0 h 2061"/>
                        <a:gd name="T38" fmla="*/ 0 w 4099"/>
                        <a:gd name="T39" fmla="*/ 719 h 2061"/>
                        <a:gd name="T40" fmla="*/ 0 w 4099"/>
                        <a:gd name="T41" fmla="*/ 950 h 2061"/>
                        <a:gd name="T42" fmla="*/ 0 w 4099"/>
                        <a:gd name="T43" fmla="*/ 950 h 2061"/>
                        <a:gd name="T44" fmla="*/ 109 w 4099"/>
                        <a:gd name="T45" fmla="*/ 938 h 2061"/>
                        <a:gd name="T46" fmla="*/ 231 w 4099"/>
                        <a:gd name="T47" fmla="*/ 927 h 2061"/>
                        <a:gd name="T48" fmla="*/ 393 w 4099"/>
                        <a:gd name="T49" fmla="*/ 917 h 2061"/>
                        <a:gd name="T50" fmla="*/ 486 w 4099"/>
                        <a:gd name="T51" fmla="*/ 911 h 2061"/>
                        <a:gd name="T52" fmla="*/ 585 w 4099"/>
                        <a:gd name="T53" fmla="*/ 907 h 2061"/>
                        <a:gd name="T54" fmla="*/ 691 w 4099"/>
                        <a:gd name="T55" fmla="*/ 905 h 2061"/>
                        <a:gd name="T56" fmla="*/ 802 w 4099"/>
                        <a:gd name="T57" fmla="*/ 903 h 2061"/>
                        <a:gd name="T58" fmla="*/ 917 w 4099"/>
                        <a:gd name="T59" fmla="*/ 903 h 2061"/>
                        <a:gd name="T60" fmla="*/ 1035 w 4099"/>
                        <a:gd name="T61" fmla="*/ 907 h 2061"/>
                        <a:gd name="T62" fmla="*/ 1158 w 4099"/>
                        <a:gd name="T63" fmla="*/ 911 h 2061"/>
                        <a:gd name="T64" fmla="*/ 1280 w 4099"/>
                        <a:gd name="T65" fmla="*/ 919 h 2061"/>
                        <a:gd name="T66" fmla="*/ 1403 w 4099"/>
                        <a:gd name="T67" fmla="*/ 929 h 2061"/>
                        <a:gd name="T68" fmla="*/ 1527 w 4099"/>
                        <a:gd name="T69" fmla="*/ 942 h 2061"/>
                        <a:gd name="T70" fmla="*/ 1650 w 4099"/>
                        <a:gd name="T71" fmla="*/ 960 h 2061"/>
                        <a:gd name="T72" fmla="*/ 1770 w 4099"/>
                        <a:gd name="T73" fmla="*/ 980 h 2061"/>
                        <a:gd name="T74" fmla="*/ 1831 w 4099"/>
                        <a:gd name="T75" fmla="*/ 992 h 2061"/>
                        <a:gd name="T76" fmla="*/ 1891 w 4099"/>
                        <a:gd name="T77" fmla="*/ 1006 h 2061"/>
                        <a:gd name="T78" fmla="*/ 1948 w 4099"/>
                        <a:gd name="T79" fmla="*/ 1019 h 2061"/>
                        <a:gd name="T80" fmla="*/ 2005 w 4099"/>
                        <a:gd name="T81" fmla="*/ 1035 h 2061"/>
                        <a:gd name="T82" fmla="*/ 2061 w 4099"/>
                        <a:gd name="T83" fmla="*/ 1051 h 2061"/>
                        <a:gd name="T84" fmla="*/ 2116 w 4099"/>
                        <a:gd name="T85" fmla="*/ 1069 h 2061"/>
                        <a:gd name="T86" fmla="*/ 2169 w 4099"/>
                        <a:gd name="T87" fmla="*/ 1089 h 2061"/>
                        <a:gd name="T88" fmla="*/ 2223 w 4099"/>
                        <a:gd name="T89" fmla="*/ 1108 h 2061"/>
                        <a:gd name="T90" fmla="*/ 2272 w 4099"/>
                        <a:gd name="T91" fmla="*/ 1130 h 2061"/>
                        <a:gd name="T92" fmla="*/ 2321 w 4099"/>
                        <a:gd name="T93" fmla="*/ 1154 h 2061"/>
                        <a:gd name="T94" fmla="*/ 2369 w 4099"/>
                        <a:gd name="T95" fmla="*/ 1178 h 2061"/>
                        <a:gd name="T96" fmla="*/ 2414 w 4099"/>
                        <a:gd name="T97" fmla="*/ 1203 h 2061"/>
                        <a:gd name="T98" fmla="*/ 2458 w 4099"/>
                        <a:gd name="T99" fmla="*/ 1231 h 2061"/>
                        <a:gd name="T100" fmla="*/ 2499 w 4099"/>
                        <a:gd name="T101" fmla="*/ 1261 h 2061"/>
                        <a:gd name="T102" fmla="*/ 2539 w 4099"/>
                        <a:gd name="T103" fmla="*/ 1290 h 2061"/>
                        <a:gd name="T104" fmla="*/ 2576 w 4099"/>
                        <a:gd name="T105" fmla="*/ 1324 h 2061"/>
                        <a:gd name="T106" fmla="*/ 2612 w 4099"/>
                        <a:gd name="T107" fmla="*/ 1357 h 2061"/>
                        <a:gd name="T108" fmla="*/ 2643 w 4099"/>
                        <a:gd name="T109" fmla="*/ 1393 h 2061"/>
                        <a:gd name="T110" fmla="*/ 2673 w 4099"/>
                        <a:gd name="T111" fmla="*/ 1428 h 2061"/>
                        <a:gd name="T112" fmla="*/ 2701 w 4099"/>
                        <a:gd name="T113" fmla="*/ 1468 h 2061"/>
                        <a:gd name="T114" fmla="*/ 2726 w 4099"/>
                        <a:gd name="T115" fmla="*/ 1509 h 2061"/>
                        <a:gd name="T116" fmla="*/ 2748 w 4099"/>
                        <a:gd name="T117" fmla="*/ 1551 h 2061"/>
                        <a:gd name="T118" fmla="*/ 2766 w 4099"/>
                        <a:gd name="T119" fmla="*/ 1596 h 2061"/>
                        <a:gd name="T120" fmla="*/ 2782 w 4099"/>
                        <a:gd name="T121" fmla="*/ 1642 h 2061"/>
                        <a:gd name="T122" fmla="*/ 3843 w 4099"/>
                        <a:gd name="T123" fmla="*/ 2061 h 2061"/>
                        <a:gd name="T124" fmla="*/ 4099 w 4099"/>
                        <a:gd name="T125" fmla="*/ 1294 h 20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99" h="2061">
                          <a:moveTo>
                            <a:pt x="4099" y="1294"/>
                          </a:moveTo>
                          <a:lnTo>
                            <a:pt x="4099" y="1294"/>
                          </a:lnTo>
                          <a:lnTo>
                            <a:pt x="4074" y="1257"/>
                          </a:lnTo>
                          <a:lnTo>
                            <a:pt x="4001" y="1156"/>
                          </a:lnTo>
                          <a:lnTo>
                            <a:pt x="3898" y="1006"/>
                          </a:lnTo>
                          <a:lnTo>
                            <a:pt x="3839" y="915"/>
                          </a:lnTo>
                          <a:lnTo>
                            <a:pt x="3777" y="820"/>
                          </a:lnTo>
                          <a:lnTo>
                            <a:pt x="3716" y="717"/>
                          </a:lnTo>
                          <a:lnTo>
                            <a:pt x="3653" y="610"/>
                          </a:lnTo>
                          <a:lnTo>
                            <a:pt x="3594" y="504"/>
                          </a:lnTo>
                          <a:lnTo>
                            <a:pt x="3538" y="395"/>
                          </a:lnTo>
                          <a:lnTo>
                            <a:pt x="3515" y="344"/>
                          </a:lnTo>
                          <a:lnTo>
                            <a:pt x="3491" y="290"/>
                          </a:lnTo>
                          <a:lnTo>
                            <a:pt x="3469" y="239"/>
                          </a:lnTo>
                          <a:lnTo>
                            <a:pt x="3449" y="188"/>
                          </a:lnTo>
                          <a:lnTo>
                            <a:pt x="3432" y="138"/>
                          </a:lnTo>
                          <a:lnTo>
                            <a:pt x="3416" y="91"/>
                          </a:lnTo>
                          <a:lnTo>
                            <a:pt x="3404" y="43"/>
                          </a:lnTo>
                          <a:lnTo>
                            <a:pt x="3396" y="0"/>
                          </a:lnTo>
                          <a:lnTo>
                            <a:pt x="0" y="719"/>
                          </a:lnTo>
                          <a:lnTo>
                            <a:pt x="0" y="950"/>
                          </a:lnTo>
                          <a:lnTo>
                            <a:pt x="0" y="950"/>
                          </a:lnTo>
                          <a:lnTo>
                            <a:pt x="109" y="938"/>
                          </a:lnTo>
                          <a:lnTo>
                            <a:pt x="231" y="927"/>
                          </a:lnTo>
                          <a:lnTo>
                            <a:pt x="393" y="917"/>
                          </a:lnTo>
                          <a:lnTo>
                            <a:pt x="486" y="911"/>
                          </a:lnTo>
                          <a:lnTo>
                            <a:pt x="585" y="907"/>
                          </a:lnTo>
                          <a:lnTo>
                            <a:pt x="691" y="905"/>
                          </a:lnTo>
                          <a:lnTo>
                            <a:pt x="802" y="903"/>
                          </a:lnTo>
                          <a:lnTo>
                            <a:pt x="917" y="903"/>
                          </a:lnTo>
                          <a:lnTo>
                            <a:pt x="1035" y="907"/>
                          </a:lnTo>
                          <a:lnTo>
                            <a:pt x="1158" y="911"/>
                          </a:lnTo>
                          <a:lnTo>
                            <a:pt x="1280" y="919"/>
                          </a:lnTo>
                          <a:lnTo>
                            <a:pt x="1403" y="929"/>
                          </a:lnTo>
                          <a:lnTo>
                            <a:pt x="1527" y="942"/>
                          </a:lnTo>
                          <a:lnTo>
                            <a:pt x="1650" y="960"/>
                          </a:lnTo>
                          <a:lnTo>
                            <a:pt x="1770" y="980"/>
                          </a:lnTo>
                          <a:lnTo>
                            <a:pt x="1831" y="992"/>
                          </a:lnTo>
                          <a:lnTo>
                            <a:pt x="1891" y="1006"/>
                          </a:lnTo>
                          <a:lnTo>
                            <a:pt x="1948" y="1019"/>
                          </a:lnTo>
                          <a:lnTo>
                            <a:pt x="2005" y="1035"/>
                          </a:lnTo>
                          <a:lnTo>
                            <a:pt x="2061" y="1051"/>
                          </a:lnTo>
                          <a:lnTo>
                            <a:pt x="2116" y="1069"/>
                          </a:lnTo>
                          <a:lnTo>
                            <a:pt x="2169" y="1089"/>
                          </a:lnTo>
                          <a:lnTo>
                            <a:pt x="2223" y="1108"/>
                          </a:lnTo>
                          <a:lnTo>
                            <a:pt x="2272" y="1130"/>
                          </a:lnTo>
                          <a:lnTo>
                            <a:pt x="2321" y="1154"/>
                          </a:lnTo>
                          <a:lnTo>
                            <a:pt x="2369" y="1178"/>
                          </a:lnTo>
                          <a:lnTo>
                            <a:pt x="2414" y="1203"/>
                          </a:lnTo>
                          <a:lnTo>
                            <a:pt x="2458" y="1231"/>
                          </a:lnTo>
                          <a:lnTo>
                            <a:pt x="2499" y="1261"/>
                          </a:lnTo>
                          <a:lnTo>
                            <a:pt x="2539" y="1290"/>
                          </a:lnTo>
                          <a:lnTo>
                            <a:pt x="2576" y="1324"/>
                          </a:lnTo>
                          <a:lnTo>
                            <a:pt x="2612" y="1357"/>
                          </a:lnTo>
                          <a:lnTo>
                            <a:pt x="2643" y="1393"/>
                          </a:lnTo>
                          <a:lnTo>
                            <a:pt x="2673" y="1428"/>
                          </a:lnTo>
                          <a:lnTo>
                            <a:pt x="2701" y="1468"/>
                          </a:lnTo>
                          <a:lnTo>
                            <a:pt x="2726" y="1509"/>
                          </a:lnTo>
                          <a:lnTo>
                            <a:pt x="2748" y="1551"/>
                          </a:lnTo>
                          <a:lnTo>
                            <a:pt x="2766" y="1596"/>
                          </a:lnTo>
                          <a:lnTo>
                            <a:pt x="2782" y="1642"/>
                          </a:lnTo>
                          <a:lnTo>
                            <a:pt x="3843" y="2061"/>
                          </a:lnTo>
                          <a:lnTo>
                            <a:pt x="4099" y="1294"/>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19" name="Freeform 308"/>
                    <p:cNvSpPr>
                      <a:spLocks/>
                    </p:cNvSpPr>
                    <p:nvPr/>
                  </p:nvSpPr>
                  <p:spPr bwMode="auto">
                    <a:xfrm>
                      <a:off x="2159000" y="995361"/>
                      <a:ext cx="1095374" cy="757237"/>
                    </a:xfrm>
                    <a:custGeom>
                      <a:avLst/>
                      <a:gdLst>
                        <a:gd name="T0" fmla="*/ 1379 w 1379"/>
                        <a:gd name="T1" fmla="*/ 188 h 955"/>
                        <a:gd name="T2" fmla="*/ 1123 w 1379"/>
                        <a:gd name="T3" fmla="*/ 955 h 955"/>
                        <a:gd name="T4" fmla="*/ 62 w 1379"/>
                        <a:gd name="T5" fmla="*/ 536 h 955"/>
                        <a:gd name="T6" fmla="*/ 62 w 1379"/>
                        <a:gd name="T7" fmla="*/ 536 h 955"/>
                        <a:gd name="T8" fmla="*/ 50 w 1379"/>
                        <a:gd name="T9" fmla="*/ 498 h 955"/>
                        <a:gd name="T10" fmla="*/ 34 w 1379"/>
                        <a:gd name="T11" fmla="*/ 463 h 955"/>
                        <a:gd name="T12" fmla="*/ 18 w 1379"/>
                        <a:gd name="T13" fmla="*/ 429 h 955"/>
                        <a:gd name="T14" fmla="*/ 0 w 1379"/>
                        <a:gd name="T15" fmla="*/ 396 h 955"/>
                        <a:gd name="T16" fmla="*/ 0 w 1379"/>
                        <a:gd name="T17" fmla="*/ 396 h 955"/>
                        <a:gd name="T18" fmla="*/ 74 w 1379"/>
                        <a:gd name="T19" fmla="*/ 364 h 955"/>
                        <a:gd name="T20" fmla="*/ 149 w 1379"/>
                        <a:gd name="T21" fmla="*/ 334 h 955"/>
                        <a:gd name="T22" fmla="*/ 226 w 1379"/>
                        <a:gd name="T23" fmla="*/ 305 h 955"/>
                        <a:gd name="T24" fmla="*/ 305 w 1379"/>
                        <a:gd name="T25" fmla="*/ 275 h 955"/>
                        <a:gd name="T26" fmla="*/ 471 w 1379"/>
                        <a:gd name="T27" fmla="*/ 220 h 955"/>
                        <a:gd name="T28" fmla="*/ 637 w 1379"/>
                        <a:gd name="T29" fmla="*/ 166 h 955"/>
                        <a:gd name="T30" fmla="*/ 801 w 1379"/>
                        <a:gd name="T31" fmla="*/ 119 h 955"/>
                        <a:gd name="T32" fmla="*/ 961 w 1379"/>
                        <a:gd name="T33" fmla="*/ 74 h 955"/>
                        <a:gd name="T34" fmla="*/ 1111 w 1379"/>
                        <a:gd name="T35" fmla="*/ 34 h 955"/>
                        <a:gd name="T36" fmla="*/ 1247 w 1379"/>
                        <a:gd name="T37" fmla="*/ 0 h 955"/>
                        <a:gd name="T38" fmla="*/ 1247 w 1379"/>
                        <a:gd name="T39" fmla="*/ 0 h 955"/>
                        <a:gd name="T40" fmla="*/ 1342 w 1379"/>
                        <a:gd name="T41" fmla="*/ 137 h 955"/>
                        <a:gd name="T42" fmla="*/ 1379 w 1379"/>
                        <a:gd name="T43" fmla="*/ 188 h 955"/>
                        <a:gd name="T44" fmla="*/ 1379 w 1379"/>
                        <a:gd name="T45" fmla="*/ 188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79" h="955">
                          <a:moveTo>
                            <a:pt x="1379" y="188"/>
                          </a:moveTo>
                          <a:lnTo>
                            <a:pt x="1123" y="955"/>
                          </a:lnTo>
                          <a:lnTo>
                            <a:pt x="62" y="536"/>
                          </a:lnTo>
                          <a:lnTo>
                            <a:pt x="62" y="536"/>
                          </a:lnTo>
                          <a:lnTo>
                            <a:pt x="50" y="498"/>
                          </a:lnTo>
                          <a:lnTo>
                            <a:pt x="34" y="463"/>
                          </a:lnTo>
                          <a:lnTo>
                            <a:pt x="18" y="429"/>
                          </a:lnTo>
                          <a:lnTo>
                            <a:pt x="0" y="396"/>
                          </a:lnTo>
                          <a:lnTo>
                            <a:pt x="0" y="396"/>
                          </a:lnTo>
                          <a:lnTo>
                            <a:pt x="74" y="364"/>
                          </a:lnTo>
                          <a:lnTo>
                            <a:pt x="149" y="334"/>
                          </a:lnTo>
                          <a:lnTo>
                            <a:pt x="226" y="305"/>
                          </a:lnTo>
                          <a:lnTo>
                            <a:pt x="305" y="275"/>
                          </a:lnTo>
                          <a:lnTo>
                            <a:pt x="471" y="220"/>
                          </a:lnTo>
                          <a:lnTo>
                            <a:pt x="637" y="166"/>
                          </a:lnTo>
                          <a:lnTo>
                            <a:pt x="801" y="119"/>
                          </a:lnTo>
                          <a:lnTo>
                            <a:pt x="961" y="74"/>
                          </a:lnTo>
                          <a:lnTo>
                            <a:pt x="1111" y="34"/>
                          </a:lnTo>
                          <a:lnTo>
                            <a:pt x="1247" y="0"/>
                          </a:lnTo>
                          <a:lnTo>
                            <a:pt x="1247" y="0"/>
                          </a:lnTo>
                          <a:lnTo>
                            <a:pt x="1342" y="137"/>
                          </a:lnTo>
                          <a:lnTo>
                            <a:pt x="1379" y="188"/>
                          </a:lnTo>
                          <a:lnTo>
                            <a:pt x="1379" y="188"/>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20" name="Freeform 309"/>
                    <p:cNvSpPr>
                      <a:spLocks/>
                    </p:cNvSpPr>
                    <p:nvPr/>
                  </p:nvSpPr>
                  <p:spPr bwMode="auto">
                    <a:xfrm>
                      <a:off x="4370387" y="930274"/>
                      <a:ext cx="1033463" cy="1639888"/>
                    </a:xfrm>
                    <a:custGeom>
                      <a:avLst/>
                      <a:gdLst>
                        <a:gd name="T0" fmla="*/ 593 w 1302"/>
                        <a:gd name="T1" fmla="*/ 2067 h 2067"/>
                        <a:gd name="T2" fmla="*/ 593 w 1302"/>
                        <a:gd name="T3" fmla="*/ 2067 h 2067"/>
                        <a:gd name="T4" fmla="*/ 1302 w 1302"/>
                        <a:gd name="T5" fmla="*/ 2067 h 2067"/>
                        <a:gd name="T6" fmla="*/ 1302 w 1302"/>
                        <a:gd name="T7" fmla="*/ 2067 h 2067"/>
                        <a:gd name="T8" fmla="*/ 1302 w 1302"/>
                        <a:gd name="T9" fmla="*/ 2067 h 2067"/>
                        <a:gd name="T10" fmla="*/ 1300 w 1302"/>
                        <a:gd name="T11" fmla="*/ 1921 h 2067"/>
                        <a:gd name="T12" fmla="*/ 1292 w 1302"/>
                        <a:gd name="T13" fmla="*/ 1775 h 2067"/>
                        <a:gd name="T14" fmla="*/ 1282 w 1302"/>
                        <a:gd name="T15" fmla="*/ 1632 h 2067"/>
                        <a:gd name="T16" fmla="*/ 1267 w 1302"/>
                        <a:gd name="T17" fmla="*/ 1490 h 2067"/>
                        <a:gd name="T18" fmla="*/ 1249 w 1302"/>
                        <a:gd name="T19" fmla="*/ 1352 h 2067"/>
                        <a:gd name="T20" fmla="*/ 1227 w 1302"/>
                        <a:gd name="T21" fmla="*/ 1214 h 2067"/>
                        <a:gd name="T22" fmla="*/ 1201 w 1302"/>
                        <a:gd name="T23" fmla="*/ 1079 h 2067"/>
                        <a:gd name="T24" fmla="*/ 1174 w 1302"/>
                        <a:gd name="T25" fmla="*/ 949 h 2067"/>
                        <a:gd name="T26" fmla="*/ 1142 w 1302"/>
                        <a:gd name="T27" fmla="*/ 820 h 2067"/>
                        <a:gd name="T28" fmla="*/ 1108 w 1302"/>
                        <a:gd name="T29" fmla="*/ 694 h 2067"/>
                        <a:gd name="T30" fmla="*/ 1073 w 1302"/>
                        <a:gd name="T31" fmla="*/ 571 h 2067"/>
                        <a:gd name="T32" fmla="*/ 1035 w 1302"/>
                        <a:gd name="T33" fmla="*/ 451 h 2067"/>
                        <a:gd name="T34" fmla="*/ 996 w 1302"/>
                        <a:gd name="T35" fmla="*/ 334 h 2067"/>
                        <a:gd name="T36" fmla="*/ 952 w 1302"/>
                        <a:gd name="T37" fmla="*/ 222 h 2067"/>
                        <a:gd name="T38" fmla="*/ 911 w 1302"/>
                        <a:gd name="T39" fmla="*/ 113 h 2067"/>
                        <a:gd name="T40" fmla="*/ 865 w 1302"/>
                        <a:gd name="T41" fmla="*/ 8 h 2067"/>
                        <a:gd name="T42" fmla="*/ 865 w 1302"/>
                        <a:gd name="T43" fmla="*/ 8 h 2067"/>
                        <a:gd name="T44" fmla="*/ 741 w 1302"/>
                        <a:gd name="T45" fmla="*/ 2 h 2067"/>
                        <a:gd name="T46" fmla="*/ 619 w 1302"/>
                        <a:gd name="T47" fmla="*/ 0 h 2067"/>
                        <a:gd name="T48" fmla="*/ 619 w 1302"/>
                        <a:gd name="T49" fmla="*/ 0 h 2067"/>
                        <a:gd name="T50" fmla="*/ 458 w 1302"/>
                        <a:gd name="T51" fmla="*/ 2 h 2067"/>
                        <a:gd name="T52" fmla="*/ 304 w 1302"/>
                        <a:gd name="T53" fmla="*/ 6 h 2067"/>
                        <a:gd name="T54" fmla="*/ 150 w 1302"/>
                        <a:gd name="T55" fmla="*/ 12 h 2067"/>
                        <a:gd name="T56" fmla="*/ 0 w 1302"/>
                        <a:gd name="T57" fmla="*/ 20 h 2067"/>
                        <a:gd name="T58" fmla="*/ 0 w 1302"/>
                        <a:gd name="T59" fmla="*/ 20 h 2067"/>
                        <a:gd name="T60" fmla="*/ 32 w 1302"/>
                        <a:gd name="T61" fmla="*/ 50 h 2067"/>
                        <a:gd name="T62" fmla="*/ 61 w 1302"/>
                        <a:gd name="T63" fmla="*/ 81 h 2067"/>
                        <a:gd name="T64" fmla="*/ 91 w 1302"/>
                        <a:gd name="T65" fmla="*/ 113 h 2067"/>
                        <a:gd name="T66" fmla="*/ 119 w 1302"/>
                        <a:gd name="T67" fmla="*/ 151 h 2067"/>
                        <a:gd name="T68" fmla="*/ 148 w 1302"/>
                        <a:gd name="T69" fmla="*/ 188 h 2067"/>
                        <a:gd name="T70" fmla="*/ 176 w 1302"/>
                        <a:gd name="T71" fmla="*/ 228 h 2067"/>
                        <a:gd name="T72" fmla="*/ 204 w 1302"/>
                        <a:gd name="T73" fmla="*/ 271 h 2067"/>
                        <a:gd name="T74" fmla="*/ 229 w 1302"/>
                        <a:gd name="T75" fmla="*/ 317 h 2067"/>
                        <a:gd name="T76" fmla="*/ 255 w 1302"/>
                        <a:gd name="T77" fmla="*/ 364 h 2067"/>
                        <a:gd name="T78" fmla="*/ 281 w 1302"/>
                        <a:gd name="T79" fmla="*/ 413 h 2067"/>
                        <a:gd name="T80" fmla="*/ 306 w 1302"/>
                        <a:gd name="T81" fmla="*/ 465 h 2067"/>
                        <a:gd name="T82" fmla="*/ 330 w 1302"/>
                        <a:gd name="T83" fmla="*/ 520 h 2067"/>
                        <a:gd name="T84" fmla="*/ 354 w 1302"/>
                        <a:gd name="T85" fmla="*/ 575 h 2067"/>
                        <a:gd name="T86" fmla="*/ 376 w 1302"/>
                        <a:gd name="T87" fmla="*/ 635 h 2067"/>
                        <a:gd name="T88" fmla="*/ 397 w 1302"/>
                        <a:gd name="T89" fmla="*/ 696 h 2067"/>
                        <a:gd name="T90" fmla="*/ 419 w 1302"/>
                        <a:gd name="T91" fmla="*/ 759 h 2067"/>
                        <a:gd name="T92" fmla="*/ 439 w 1302"/>
                        <a:gd name="T93" fmla="*/ 824 h 2067"/>
                        <a:gd name="T94" fmla="*/ 457 w 1302"/>
                        <a:gd name="T95" fmla="*/ 891 h 2067"/>
                        <a:gd name="T96" fmla="*/ 474 w 1302"/>
                        <a:gd name="T97" fmla="*/ 963 h 2067"/>
                        <a:gd name="T98" fmla="*/ 490 w 1302"/>
                        <a:gd name="T99" fmla="*/ 1034 h 2067"/>
                        <a:gd name="T100" fmla="*/ 506 w 1302"/>
                        <a:gd name="T101" fmla="*/ 1109 h 2067"/>
                        <a:gd name="T102" fmla="*/ 522 w 1302"/>
                        <a:gd name="T103" fmla="*/ 1186 h 2067"/>
                        <a:gd name="T104" fmla="*/ 534 w 1302"/>
                        <a:gd name="T105" fmla="*/ 1263 h 2067"/>
                        <a:gd name="T106" fmla="*/ 545 w 1302"/>
                        <a:gd name="T107" fmla="*/ 1344 h 2067"/>
                        <a:gd name="T108" fmla="*/ 557 w 1302"/>
                        <a:gd name="T109" fmla="*/ 1427 h 2067"/>
                        <a:gd name="T110" fmla="*/ 567 w 1302"/>
                        <a:gd name="T111" fmla="*/ 1512 h 2067"/>
                        <a:gd name="T112" fmla="*/ 575 w 1302"/>
                        <a:gd name="T113" fmla="*/ 1599 h 2067"/>
                        <a:gd name="T114" fmla="*/ 581 w 1302"/>
                        <a:gd name="T115" fmla="*/ 1690 h 2067"/>
                        <a:gd name="T116" fmla="*/ 587 w 1302"/>
                        <a:gd name="T117" fmla="*/ 1781 h 2067"/>
                        <a:gd name="T118" fmla="*/ 591 w 1302"/>
                        <a:gd name="T119" fmla="*/ 1873 h 2067"/>
                        <a:gd name="T120" fmla="*/ 593 w 1302"/>
                        <a:gd name="T121" fmla="*/ 1970 h 2067"/>
                        <a:gd name="T122" fmla="*/ 593 w 1302"/>
                        <a:gd name="T123" fmla="*/ 2067 h 2067"/>
                        <a:gd name="T124" fmla="*/ 593 w 1302"/>
                        <a:gd name="T125" fmla="*/ 2067 h 2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02" h="2067">
                          <a:moveTo>
                            <a:pt x="593" y="2067"/>
                          </a:moveTo>
                          <a:lnTo>
                            <a:pt x="593" y="2067"/>
                          </a:lnTo>
                          <a:lnTo>
                            <a:pt x="1302" y="2067"/>
                          </a:lnTo>
                          <a:lnTo>
                            <a:pt x="1302" y="2067"/>
                          </a:lnTo>
                          <a:lnTo>
                            <a:pt x="1302" y="2067"/>
                          </a:lnTo>
                          <a:lnTo>
                            <a:pt x="1300" y="1921"/>
                          </a:lnTo>
                          <a:lnTo>
                            <a:pt x="1292" y="1775"/>
                          </a:lnTo>
                          <a:lnTo>
                            <a:pt x="1282" y="1632"/>
                          </a:lnTo>
                          <a:lnTo>
                            <a:pt x="1267" y="1490"/>
                          </a:lnTo>
                          <a:lnTo>
                            <a:pt x="1249" y="1352"/>
                          </a:lnTo>
                          <a:lnTo>
                            <a:pt x="1227" y="1214"/>
                          </a:lnTo>
                          <a:lnTo>
                            <a:pt x="1201" y="1079"/>
                          </a:lnTo>
                          <a:lnTo>
                            <a:pt x="1174" y="949"/>
                          </a:lnTo>
                          <a:lnTo>
                            <a:pt x="1142" y="820"/>
                          </a:lnTo>
                          <a:lnTo>
                            <a:pt x="1108" y="694"/>
                          </a:lnTo>
                          <a:lnTo>
                            <a:pt x="1073" y="571"/>
                          </a:lnTo>
                          <a:lnTo>
                            <a:pt x="1035" y="451"/>
                          </a:lnTo>
                          <a:lnTo>
                            <a:pt x="996" y="334"/>
                          </a:lnTo>
                          <a:lnTo>
                            <a:pt x="952" y="222"/>
                          </a:lnTo>
                          <a:lnTo>
                            <a:pt x="911" y="113"/>
                          </a:lnTo>
                          <a:lnTo>
                            <a:pt x="865" y="8"/>
                          </a:lnTo>
                          <a:lnTo>
                            <a:pt x="865" y="8"/>
                          </a:lnTo>
                          <a:lnTo>
                            <a:pt x="741" y="2"/>
                          </a:lnTo>
                          <a:lnTo>
                            <a:pt x="619" y="0"/>
                          </a:lnTo>
                          <a:lnTo>
                            <a:pt x="619" y="0"/>
                          </a:lnTo>
                          <a:lnTo>
                            <a:pt x="458" y="2"/>
                          </a:lnTo>
                          <a:lnTo>
                            <a:pt x="304" y="6"/>
                          </a:lnTo>
                          <a:lnTo>
                            <a:pt x="150" y="12"/>
                          </a:lnTo>
                          <a:lnTo>
                            <a:pt x="0" y="20"/>
                          </a:lnTo>
                          <a:lnTo>
                            <a:pt x="0" y="20"/>
                          </a:lnTo>
                          <a:lnTo>
                            <a:pt x="32" y="50"/>
                          </a:lnTo>
                          <a:lnTo>
                            <a:pt x="61" y="81"/>
                          </a:lnTo>
                          <a:lnTo>
                            <a:pt x="91" y="113"/>
                          </a:lnTo>
                          <a:lnTo>
                            <a:pt x="119" y="151"/>
                          </a:lnTo>
                          <a:lnTo>
                            <a:pt x="148" y="188"/>
                          </a:lnTo>
                          <a:lnTo>
                            <a:pt x="176" y="228"/>
                          </a:lnTo>
                          <a:lnTo>
                            <a:pt x="204" y="271"/>
                          </a:lnTo>
                          <a:lnTo>
                            <a:pt x="229" y="317"/>
                          </a:lnTo>
                          <a:lnTo>
                            <a:pt x="255" y="364"/>
                          </a:lnTo>
                          <a:lnTo>
                            <a:pt x="281" y="413"/>
                          </a:lnTo>
                          <a:lnTo>
                            <a:pt x="306" y="465"/>
                          </a:lnTo>
                          <a:lnTo>
                            <a:pt x="330" y="520"/>
                          </a:lnTo>
                          <a:lnTo>
                            <a:pt x="354" y="575"/>
                          </a:lnTo>
                          <a:lnTo>
                            <a:pt x="376" y="635"/>
                          </a:lnTo>
                          <a:lnTo>
                            <a:pt x="397" y="696"/>
                          </a:lnTo>
                          <a:lnTo>
                            <a:pt x="419" y="759"/>
                          </a:lnTo>
                          <a:lnTo>
                            <a:pt x="439" y="824"/>
                          </a:lnTo>
                          <a:lnTo>
                            <a:pt x="457" y="891"/>
                          </a:lnTo>
                          <a:lnTo>
                            <a:pt x="474" y="963"/>
                          </a:lnTo>
                          <a:lnTo>
                            <a:pt x="490" y="1034"/>
                          </a:lnTo>
                          <a:lnTo>
                            <a:pt x="506" y="1109"/>
                          </a:lnTo>
                          <a:lnTo>
                            <a:pt x="522" y="1186"/>
                          </a:lnTo>
                          <a:lnTo>
                            <a:pt x="534" y="1263"/>
                          </a:lnTo>
                          <a:lnTo>
                            <a:pt x="545" y="1344"/>
                          </a:lnTo>
                          <a:lnTo>
                            <a:pt x="557" y="1427"/>
                          </a:lnTo>
                          <a:lnTo>
                            <a:pt x="567" y="1512"/>
                          </a:lnTo>
                          <a:lnTo>
                            <a:pt x="575" y="1599"/>
                          </a:lnTo>
                          <a:lnTo>
                            <a:pt x="581" y="1690"/>
                          </a:lnTo>
                          <a:lnTo>
                            <a:pt x="587" y="1781"/>
                          </a:lnTo>
                          <a:lnTo>
                            <a:pt x="591" y="1873"/>
                          </a:lnTo>
                          <a:lnTo>
                            <a:pt x="593" y="1970"/>
                          </a:lnTo>
                          <a:lnTo>
                            <a:pt x="593" y="2067"/>
                          </a:lnTo>
                          <a:lnTo>
                            <a:pt x="593" y="2067"/>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21" name="Freeform 310"/>
                    <p:cNvSpPr>
                      <a:spLocks/>
                    </p:cNvSpPr>
                    <p:nvPr/>
                  </p:nvSpPr>
                  <p:spPr bwMode="auto">
                    <a:xfrm>
                      <a:off x="4370387" y="2570162"/>
                      <a:ext cx="1033463" cy="1639888"/>
                    </a:xfrm>
                    <a:custGeom>
                      <a:avLst/>
                      <a:gdLst>
                        <a:gd name="T0" fmla="*/ 865 w 1302"/>
                        <a:gd name="T1" fmla="*/ 2061 h 2067"/>
                        <a:gd name="T2" fmla="*/ 865 w 1302"/>
                        <a:gd name="T3" fmla="*/ 2061 h 2067"/>
                        <a:gd name="T4" fmla="*/ 911 w 1302"/>
                        <a:gd name="T5" fmla="*/ 1954 h 2067"/>
                        <a:gd name="T6" fmla="*/ 954 w 1302"/>
                        <a:gd name="T7" fmla="*/ 1845 h 2067"/>
                        <a:gd name="T8" fmla="*/ 996 w 1302"/>
                        <a:gd name="T9" fmla="*/ 1733 h 2067"/>
                        <a:gd name="T10" fmla="*/ 1035 w 1302"/>
                        <a:gd name="T11" fmla="*/ 1616 h 2067"/>
                        <a:gd name="T12" fmla="*/ 1073 w 1302"/>
                        <a:gd name="T13" fmla="*/ 1498 h 2067"/>
                        <a:gd name="T14" fmla="*/ 1108 w 1302"/>
                        <a:gd name="T15" fmla="*/ 1375 h 2067"/>
                        <a:gd name="T16" fmla="*/ 1142 w 1302"/>
                        <a:gd name="T17" fmla="*/ 1249 h 2067"/>
                        <a:gd name="T18" fmla="*/ 1174 w 1302"/>
                        <a:gd name="T19" fmla="*/ 1120 h 2067"/>
                        <a:gd name="T20" fmla="*/ 1201 w 1302"/>
                        <a:gd name="T21" fmla="*/ 988 h 2067"/>
                        <a:gd name="T22" fmla="*/ 1227 w 1302"/>
                        <a:gd name="T23" fmla="*/ 854 h 2067"/>
                        <a:gd name="T24" fmla="*/ 1249 w 1302"/>
                        <a:gd name="T25" fmla="*/ 717 h 2067"/>
                        <a:gd name="T26" fmla="*/ 1267 w 1302"/>
                        <a:gd name="T27" fmla="*/ 577 h 2067"/>
                        <a:gd name="T28" fmla="*/ 1282 w 1302"/>
                        <a:gd name="T29" fmla="*/ 437 h 2067"/>
                        <a:gd name="T30" fmla="*/ 1292 w 1302"/>
                        <a:gd name="T31" fmla="*/ 292 h 2067"/>
                        <a:gd name="T32" fmla="*/ 1300 w 1302"/>
                        <a:gd name="T33" fmla="*/ 148 h 2067"/>
                        <a:gd name="T34" fmla="*/ 1302 w 1302"/>
                        <a:gd name="T35" fmla="*/ 0 h 2067"/>
                        <a:gd name="T36" fmla="*/ 1302 w 1302"/>
                        <a:gd name="T37" fmla="*/ 0 h 2067"/>
                        <a:gd name="T38" fmla="*/ 593 w 1302"/>
                        <a:gd name="T39" fmla="*/ 0 h 2067"/>
                        <a:gd name="T40" fmla="*/ 593 w 1302"/>
                        <a:gd name="T41" fmla="*/ 0 h 2067"/>
                        <a:gd name="T42" fmla="*/ 593 w 1302"/>
                        <a:gd name="T43" fmla="*/ 0 h 2067"/>
                        <a:gd name="T44" fmla="*/ 593 w 1302"/>
                        <a:gd name="T45" fmla="*/ 99 h 2067"/>
                        <a:gd name="T46" fmla="*/ 591 w 1302"/>
                        <a:gd name="T47" fmla="*/ 194 h 2067"/>
                        <a:gd name="T48" fmla="*/ 587 w 1302"/>
                        <a:gd name="T49" fmla="*/ 287 h 2067"/>
                        <a:gd name="T50" fmla="*/ 581 w 1302"/>
                        <a:gd name="T51" fmla="*/ 379 h 2067"/>
                        <a:gd name="T52" fmla="*/ 575 w 1302"/>
                        <a:gd name="T53" fmla="*/ 468 h 2067"/>
                        <a:gd name="T54" fmla="*/ 567 w 1302"/>
                        <a:gd name="T55" fmla="*/ 555 h 2067"/>
                        <a:gd name="T56" fmla="*/ 557 w 1302"/>
                        <a:gd name="T57" fmla="*/ 640 h 2067"/>
                        <a:gd name="T58" fmla="*/ 545 w 1302"/>
                        <a:gd name="T59" fmla="*/ 723 h 2067"/>
                        <a:gd name="T60" fmla="*/ 534 w 1302"/>
                        <a:gd name="T61" fmla="*/ 804 h 2067"/>
                        <a:gd name="T62" fmla="*/ 522 w 1302"/>
                        <a:gd name="T63" fmla="*/ 883 h 2067"/>
                        <a:gd name="T64" fmla="*/ 506 w 1302"/>
                        <a:gd name="T65" fmla="*/ 960 h 2067"/>
                        <a:gd name="T66" fmla="*/ 490 w 1302"/>
                        <a:gd name="T67" fmla="*/ 1033 h 2067"/>
                        <a:gd name="T68" fmla="*/ 474 w 1302"/>
                        <a:gd name="T69" fmla="*/ 1106 h 2067"/>
                        <a:gd name="T70" fmla="*/ 457 w 1302"/>
                        <a:gd name="T71" fmla="*/ 1176 h 2067"/>
                        <a:gd name="T72" fmla="*/ 439 w 1302"/>
                        <a:gd name="T73" fmla="*/ 1243 h 2067"/>
                        <a:gd name="T74" fmla="*/ 419 w 1302"/>
                        <a:gd name="T75" fmla="*/ 1308 h 2067"/>
                        <a:gd name="T76" fmla="*/ 397 w 1302"/>
                        <a:gd name="T77" fmla="*/ 1371 h 2067"/>
                        <a:gd name="T78" fmla="*/ 376 w 1302"/>
                        <a:gd name="T79" fmla="*/ 1432 h 2067"/>
                        <a:gd name="T80" fmla="*/ 354 w 1302"/>
                        <a:gd name="T81" fmla="*/ 1492 h 2067"/>
                        <a:gd name="T82" fmla="*/ 330 w 1302"/>
                        <a:gd name="T83" fmla="*/ 1549 h 2067"/>
                        <a:gd name="T84" fmla="*/ 306 w 1302"/>
                        <a:gd name="T85" fmla="*/ 1602 h 2067"/>
                        <a:gd name="T86" fmla="*/ 281 w 1302"/>
                        <a:gd name="T87" fmla="*/ 1656 h 2067"/>
                        <a:gd name="T88" fmla="*/ 255 w 1302"/>
                        <a:gd name="T89" fmla="*/ 1705 h 2067"/>
                        <a:gd name="T90" fmla="*/ 229 w 1302"/>
                        <a:gd name="T91" fmla="*/ 1752 h 2067"/>
                        <a:gd name="T92" fmla="*/ 204 w 1302"/>
                        <a:gd name="T93" fmla="*/ 1796 h 2067"/>
                        <a:gd name="T94" fmla="*/ 176 w 1302"/>
                        <a:gd name="T95" fmla="*/ 1839 h 2067"/>
                        <a:gd name="T96" fmla="*/ 148 w 1302"/>
                        <a:gd name="T97" fmla="*/ 1881 h 2067"/>
                        <a:gd name="T98" fmla="*/ 119 w 1302"/>
                        <a:gd name="T99" fmla="*/ 1918 h 2067"/>
                        <a:gd name="T100" fmla="*/ 91 w 1302"/>
                        <a:gd name="T101" fmla="*/ 1954 h 2067"/>
                        <a:gd name="T102" fmla="*/ 61 w 1302"/>
                        <a:gd name="T103" fmla="*/ 1988 h 2067"/>
                        <a:gd name="T104" fmla="*/ 32 w 1302"/>
                        <a:gd name="T105" fmla="*/ 2017 h 2067"/>
                        <a:gd name="T106" fmla="*/ 0 w 1302"/>
                        <a:gd name="T107" fmla="*/ 2047 h 2067"/>
                        <a:gd name="T108" fmla="*/ 0 w 1302"/>
                        <a:gd name="T109" fmla="*/ 2047 h 2067"/>
                        <a:gd name="T110" fmla="*/ 152 w 1302"/>
                        <a:gd name="T111" fmla="*/ 2055 h 2067"/>
                        <a:gd name="T112" fmla="*/ 304 w 1302"/>
                        <a:gd name="T113" fmla="*/ 2063 h 2067"/>
                        <a:gd name="T114" fmla="*/ 460 w 1302"/>
                        <a:gd name="T115" fmla="*/ 2067 h 2067"/>
                        <a:gd name="T116" fmla="*/ 619 w 1302"/>
                        <a:gd name="T117" fmla="*/ 2067 h 2067"/>
                        <a:gd name="T118" fmla="*/ 619 w 1302"/>
                        <a:gd name="T119" fmla="*/ 2067 h 2067"/>
                        <a:gd name="T120" fmla="*/ 741 w 1302"/>
                        <a:gd name="T121" fmla="*/ 2065 h 2067"/>
                        <a:gd name="T122" fmla="*/ 865 w 1302"/>
                        <a:gd name="T123" fmla="*/ 2061 h 2067"/>
                        <a:gd name="T124" fmla="*/ 865 w 1302"/>
                        <a:gd name="T125" fmla="*/ 2061 h 2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02" h="2067">
                          <a:moveTo>
                            <a:pt x="865" y="2061"/>
                          </a:moveTo>
                          <a:lnTo>
                            <a:pt x="865" y="2061"/>
                          </a:lnTo>
                          <a:lnTo>
                            <a:pt x="911" y="1954"/>
                          </a:lnTo>
                          <a:lnTo>
                            <a:pt x="954" y="1845"/>
                          </a:lnTo>
                          <a:lnTo>
                            <a:pt x="996" y="1733"/>
                          </a:lnTo>
                          <a:lnTo>
                            <a:pt x="1035" y="1616"/>
                          </a:lnTo>
                          <a:lnTo>
                            <a:pt x="1073" y="1498"/>
                          </a:lnTo>
                          <a:lnTo>
                            <a:pt x="1108" y="1375"/>
                          </a:lnTo>
                          <a:lnTo>
                            <a:pt x="1142" y="1249"/>
                          </a:lnTo>
                          <a:lnTo>
                            <a:pt x="1174" y="1120"/>
                          </a:lnTo>
                          <a:lnTo>
                            <a:pt x="1201" y="988"/>
                          </a:lnTo>
                          <a:lnTo>
                            <a:pt x="1227" y="854"/>
                          </a:lnTo>
                          <a:lnTo>
                            <a:pt x="1249" y="717"/>
                          </a:lnTo>
                          <a:lnTo>
                            <a:pt x="1267" y="577"/>
                          </a:lnTo>
                          <a:lnTo>
                            <a:pt x="1282" y="437"/>
                          </a:lnTo>
                          <a:lnTo>
                            <a:pt x="1292" y="292"/>
                          </a:lnTo>
                          <a:lnTo>
                            <a:pt x="1300" y="148"/>
                          </a:lnTo>
                          <a:lnTo>
                            <a:pt x="1302" y="0"/>
                          </a:lnTo>
                          <a:lnTo>
                            <a:pt x="1302" y="0"/>
                          </a:lnTo>
                          <a:lnTo>
                            <a:pt x="593" y="0"/>
                          </a:lnTo>
                          <a:lnTo>
                            <a:pt x="593" y="0"/>
                          </a:lnTo>
                          <a:lnTo>
                            <a:pt x="593" y="0"/>
                          </a:lnTo>
                          <a:lnTo>
                            <a:pt x="593" y="99"/>
                          </a:lnTo>
                          <a:lnTo>
                            <a:pt x="591" y="194"/>
                          </a:lnTo>
                          <a:lnTo>
                            <a:pt x="587" y="287"/>
                          </a:lnTo>
                          <a:lnTo>
                            <a:pt x="581" y="379"/>
                          </a:lnTo>
                          <a:lnTo>
                            <a:pt x="575" y="468"/>
                          </a:lnTo>
                          <a:lnTo>
                            <a:pt x="567" y="555"/>
                          </a:lnTo>
                          <a:lnTo>
                            <a:pt x="557" y="640"/>
                          </a:lnTo>
                          <a:lnTo>
                            <a:pt x="545" y="723"/>
                          </a:lnTo>
                          <a:lnTo>
                            <a:pt x="534" y="804"/>
                          </a:lnTo>
                          <a:lnTo>
                            <a:pt x="522" y="883"/>
                          </a:lnTo>
                          <a:lnTo>
                            <a:pt x="506" y="960"/>
                          </a:lnTo>
                          <a:lnTo>
                            <a:pt x="490" y="1033"/>
                          </a:lnTo>
                          <a:lnTo>
                            <a:pt x="474" y="1106"/>
                          </a:lnTo>
                          <a:lnTo>
                            <a:pt x="457" y="1176"/>
                          </a:lnTo>
                          <a:lnTo>
                            <a:pt x="439" y="1243"/>
                          </a:lnTo>
                          <a:lnTo>
                            <a:pt x="419" y="1308"/>
                          </a:lnTo>
                          <a:lnTo>
                            <a:pt x="397" y="1371"/>
                          </a:lnTo>
                          <a:lnTo>
                            <a:pt x="376" y="1432"/>
                          </a:lnTo>
                          <a:lnTo>
                            <a:pt x="354" y="1492"/>
                          </a:lnTo>
                          <a:lnTo>
                            <a:pt x="330" y="1549"/>
                          </a:lnTo>
                          <a:lnTo>
                            <a:pt x="306" y="1602"/>
                          </a:lnTo>
                          <a:lnTo>
                            <a:pt x="281" y="1656"/>
                          </a:lnTo>
                          <a:lnTo>
                            <a:pt x="255" y="1705"/>
                          </a:lnTo>
                          <a:lnTo>
                            <a:pt x="229" y="1752"/>
                          </a:lnTo>
                          <a:lnTo>
                            <a:pt x="204" y="1796"/>
                          </a:lnTo>
                          <a:lnTo>
                            <a:pt x="176" y="1839"/>
                          </a:lnTo>
                          <a:lnTo>
                            <a:pt x="148" y="1881"/>
                          </a:lnTo>
                          <a:lnTo>
                            <a:pt x="119" y="1918"/>
                          </a:lnTo>
                          <a:lnTo>
                            <a:pt x="91" y="1954"/>
                          </a:lnTo>
                          <a:lnTo>
                            <a:pt x="61" y="1988"/>
                          </a:lnTo>
                          <a:lnTo>
                            <a:pt x="32" y="2017"/>
                          </a:lnTo>
                          <a:lnTo>
                            <a:pt x="0" y="2047"/>
                          </a:lnTo>
                          <a:lnTo>
                            <a:pt x="0" y="2047"/>
                          </a:lnTo>
                          <a:lnTo>
                            <a:pt x="152" y="2055"/>
                          </a:lnTo>
                          <a:lnTo>
                            <a:pt x="304" y="2063"/>
                          </a:lnTo>
                          <a:lnTo>
                            <a:pt x="460" y="2067"/>
                          </a:lnTo>
                          <a:lnTo>
                            <a:pt x="619" y="2067"/>
                          </a:lnTo>
                          <a:lnTo>
                            <a:pt x="619" y="2067"/>
                          </a:lnTo>
                          <a:lnTo>
                            <a:pt x="741" y="2065"/>
                          </a:lnTo>
                          <a:lnTo>
                            <a:pt x="865" y="2061"/>
                          </a:lnTo>
                          <a:lnTo>
                            <a:pt x="865" y="2061"/>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22" name="Freeform 311"/>
                    <p:cNvSpPr>
                      <a:spLocks/>
                    </p:cNvSpPr>
                    <p:nvPr/>
                  </p:nvSpPr>
                  <p:spPr bwMode="auto">
                    <a:xfrm>
                      <a:off x="7156450" y="1576389"/>
                      <a:ext cx="1504949" cy="2000250"/>
                    </a:xfrm>
                    <a:custGeom>
                      <a:avLst/>
                      <a:gdLst>
                        <a:gd name="T0" fmla="*/ 0 w 1895"/>
                        <a:gd name="T1" fmla="*/ 2521 h 2521"/>
                        <a:gd name="T2" fmla="*/ 263 w 1895"/>
                        <a:gd name="T3" fmla="*/ 2379 h 2521"/>
                        <a:gd name="T4" fmla="*/ 512 w 1895"/>
                        <a:gd name="T5" fmla="*/ 2237 h 2521"/>
                        <a:gd name="T6" fmla="*/ 666 w 1895"/>
                        <a:gd name="T7" fmla="*/ 2142 h 2521"/>
                        <a:gd name="T8" fmla="*/ 950 w 1895"/>
                        <a:gd name="T9" fmla="*/ 1960 h 2521"/>
                        <a:gd name="T10" fmla="*/ 1205 w 1895"/>
                        <a:gd name="T11" fmla="*/ 1786 h 2521"/>
                        <a:gd name="T12" fmla="*/ 1422 w 1895"/>
                        <a:gd name="T13" fmla="*/ 1628 h 2521"/>
                        <a:gd name="T14" fmla="*/ 1604 w 1895"/>
                        <a:gd name="T15" fmla="*/ 1492 h 2521"/>
                        <a:gd name="T16" fmla="*/ 1798 w 1895"/>
                        <a:gd name="T17" fmla="*/ 1336 h 2521"/>
                        <a:gd name="T18" fmla="*/ 1895 w 1895"/>
                        <a:gd name="T19" fmla="*/ 1253 h 2521"/>
                        <a:gd name="T20" fmla="*/ 1869 w 1895"/>
                        <a:gd name="T21" fmla="*/ 1231 h 2521"/>
                        <a:gd name="T22" fmla="*/ 1677 w 1895"/>
                        <a:gd name="T23" fmla="*/ 1073 h 2521"/>
                        <a:gd name="T24" fmla="*/ 1517 w 1895"/>
                        <a:gd name="T25" fmla="*/ 949 h 2521"/>
                        <a:gd name="T26" fmla="*/ 1316 w 1895"/>
                        <a:gd name="T27" fmla="*/ 799 h 2521"/>
                        <a:gd name="T28" fmla="*/ 1079 w 1895"/>
                        <a:gd name="T29" fmla="*/ 633 h 2521"/>
                        <a:gd name="T30" fmla="*/ 808 w 1895"/>
                        <a:gd name="T31" fmla="*/ 453 h 2521"/>
                        <a:gd name="T32" fmla="*/ 506 w 1895"/>
                        <a:gd name="T33" fmla="*/ 267 h 2521"/>
                        <a:gd name="T34" fmla="*/ 391 w 1895"/>
                        <a:gd name="T35" fmla="*/ 200 h 2521"/>
                        <a:gd name="T36" fmla="*/ 152 w 1895"/>
                        <a:gd name="T37" fmla="*/ 66 h 2521"/>
                        <a:gd name="T38" fmla="*/ 28 w 1895"/>
                        <a:gd name="T39" fmla="*/ 0 h 2521"/>
                        <a:gd name="T40" fmla="*/ 79 w 1895"/>
                        <a:gd name="T41" fmla="*/ 236 h 2521"/>
                        <a:gd name="T42" fmla="*/ 122 w 1895"/>
                        <a:gd name="T43" fmla="*/ 496 h 2521"/>
                        <a:gd name="T44" fmla="*/ 154 w 1895"/>
                        <a:gd name="T45" fmla="*/ 781 h 2521"/>
                        <a:gd name="T46" fmla="*/ 168 w 1895"/>
                        <a:gd name="T47" fmla="*/ 1010 h 2521"/>
                        <a:gd name="T48" fmla="*/ 172 w 1895"/>
                        <a:gd name="T49" fmla="*/ 1168 h 2521"/>
                        <a:gd name="T50" fmla="*/ 170 w 1895"/>
                        <a:gd name="T51" fmla="*/ 1334 h 2521"/>
                        <a:gd name="T52" fmla="*/ 162 w 1895"/>
                        <a:gd name="T53" fmla="*/ 1502 h 2521"/>
                        <a:gd name="T54" fmla="*/ 148 w 1895"/>
                        <a:gd name="T55" fmla="*/ 1678 h 2521"/>
                        <a:gd name="T56" fmla="*/ 128 w 1895"/>
                        <a:gd name="T57" fmla="*/ 1858 h 2521"/>
                        <a:gd name="T58" fmla="*/ 101 w 1895"/>
                        <a:gd name="T59" fmla="*/ 2041 h 2521"/>
                        <a:gd name="T60" fmla="*/ 65 w 1895"/>
                        <a:gd name="T61" fmla="*/ 2231 h 2521"/>
                        <a:gd name="T62" fmla="*/ 24 w 1895"/>
                        <a:gd name="T63" fmla="*/ 2423 h 2521"/>
                        <a:gd name="T64" fmla="*/ 0 w 1895"/>
                        <a:gd name="T65" fmla="*/ 2521 h 2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95" h="2521">
                          <a:moveTo>
                            <a:pt x="0" y="2521"/>
                          </a:moveTo>
                          <a:lnTo>
                            <a:pt x="0" y="2521"/>
                          </a:lnTo>
                          <a:lnTo>
                            <a:pt x="132" y="2450"/>
                          </a:lnTo>
                          <a:lnTo>
                            <a:pt x="263" y="2379"/>
                          </a:lnTo>
                          <a:lnTo>
                            <a:pt x="389" y="2308"/>
                          </a:lnTo>
                          <a:lnTo>
                            <a:pt x="512" y="2237"/>
                          </a:lnTo>
                          <a:lnTo>
                            <a:pt x="512" y="2237"/>
                          </a:lnTo>
                          <a:lnTo>
                            <a:pt x="666" y="2142"/>
                          </a:lnTo>
                          <a:lnTo>
                            <a:pt x="812" y="2051"/>
                          </a:lnTo>
                          <a:lnTo>
                            <a:pt x="950" y="1960"/>
                          </a:lnTo>
                          <a:lnTo>
                            <a:pt x="1083" y="1871"/>
                          </a:lnTo>
                          <a:lnTo>
                            <a:pt x="1205" y="1786"/>
                          </a:lnTo>
                          <a:lnTo>
                            <a:pt x="1318" y="1705"/>
                          </a:lnTo>
                          <a:lnTo>
                            <a:pt x="1422" y="1628"/>
                          </a:lnTo>
                          <a:lnTo>
                            <a:pt x="1519" y="1557"/>
                          </a:lnTo>
                          <a:lnTo>
                            <a:pt x="1604" y="1492"/>
                          </a:lnTo>
                          <a:lnTo>
                            <a:pt x="1679" y="1433"/>
                          </a:lnTo>
                          <a:lnTo>
                            <a:pt x="1798" y="1336"/>
                          </a:lnTo>
                          <a:lnTo>
                            <a:pt x="1871" y="1275"/>
                          </a:lnTo>
                          <a:lnTo>
                            <a:pt x="1895" y="1253"/>
                          </a:lnTo>
                          <a:lnTo>
                            <a:pt x="1895" y="1253"/>
                          </a:lnTo>
                          <a:lnTo>
                            <a:pt x="1869" y="1231"/>
                          </a:lnTo>
                          <a:lnTo>
                            <a:pt x="1796" y="1170"/>
                          </a:lnTo>
                          <a:lnTo>
                            <a:pt x="1677" y="1073"/>
                          </a:lnTo>
                          <a:lnTo>
                            <a:pt x="1602" y="1014"/>
                          </a:lnTo>
                          <a:lnTo>
                            <a:pt x="1517" y="949"/>
                          </a:lnTo>
                          <a:lnTo>
                            <a:pt x="1420" y="876"/>
                          </a:lnTo>
                          <a:lnTo>
                            <a:pt x="1316" y="799"/>
                          </a:lnTo>
                          <a:lnTo>
                            <a:pt x="1201" y="718"/>
                          </a:lnTo>
                          <a:lnTo>
                            <a:pt x="1079" y="633"/>
                          </a:lnTo>
                          <a:lnTo>
                            <a:pt x="948" y="544"/>
                          </a:lnTo>
                          <a:lnTo>
                            <a:pt x="808" y="453"/>
                          </a:lnTo>
                          <a:lnTo>
                            <a:pt x="660" y="360"/>
                          </a:lnTo>
                          <a:lnTo>
                            <a:pt x="506" y="267"/>
                          </a:lnTo>
                          <a:lnTo>
                            <a:pt x="506" y="267"/>
                          </a:lnTo>
                          <a:lnTo>
                            <a:pt x="391" y="200"/>
                          </a:lnTo>
                          <a:lnTo>
                            <a:pt x="272" y="133"/>
                          </a:lnTo>
                          <a:lnTo>
                            <a:pt x="152" y="66"/>
                          </a:lnTo>
                          <a:lnTo>
                            <a:pt x="28" y="0"/>
                          </a:lnTo>
                          <a:lnTo>
                            <a:pt x="28" y="0"/>
                          </a:lnTo>
                          <a:lnTo>
                            <a:pt x="55" y="115"/>
                          </a:lnTo>
                          <a:lnTo>
                            <a:pt x="79" y="236"/>
                          </a:lnTo>
                          <a:lnTo>
                            <a:pt x="103" y="362"/>
                          </a:lnTo>
                          <a:lnTo>
                            <a:pt x="122" y="496"/>
                          </a:lnTo>
                          <a:lnTo>
                            <a:pt x="140" y="635"/>
                          </a:lnTo>
                          <a:lnTo>
                            <a:pt x="154" y="781"/>
                          </a:lnTo>
                          <a:lnTo>
                            <a:pt x="164" y="931"/>
                          </a:lnTo>
                          <a:lnTo>
                            <a:pt x="168" y="1010"/>
                          </a:lnTo>
                          <a:lnTo>
                            <a:pt x="170" y="1089"/>
                          </a:lnTo>
                          <a:lnTo>
                            <a:pt x="172" y="1168"/>
                          </a:lnTo>
                          <a:lnTo>
                            <a:pt x="170" y="1251"/>
                          </a:lnTo>
                          <a:lnTo>
                            <a:pt x="170" y="1334"/>
                          </a:lnTo>
                          <a:lnTo>
                            <a:pt x="166" y="1417"/>
                          </a:lnTo>
                          <a:lnTo>
                            <a:pt x="162" y="1502"/>
                          </a:lnTo>
                          <a:lnTo>
                            <a:pt x="156" y="1589"/>
                          </a:lnTo>
                          <a:lnTo>
                            <a:pt x="148" y="1678"/>
                          </a:lnTo>
                          <a:lnTo>
                            <a:pt x="138" y="1767"/>
                          </a:lnTo>
                          <a:lnTo>
                            <a:pt x="128" y="1858"/>
                          </a:lnTo>
                          <a:lnTo>
                            <a:pt x="114" y="1948"/>
                          </a:lnTo>
                          <a:lnTo>
                            <a:pt x="101" y="2041"/>
                          </a:lnTo>
                          <a:lnTo>
                            <a:pt x="85" y="2136"/>
                          </a:lnTo>
                          <a:lnTo>
                            <a:pt x="65" y="2231"/>
                          </a:lnTo>
                          <a:lnTo>
                            <a:pt x="45" y="2326"/>
                          </a:lnTo>
                          <a:lnTo>
                            <a:pt x="24" y="2423"/>
                          </a:lnTo>
                          <a:lnTo>
                            <a:pt x="0" y="2521"/>
                          </a:lnTo>
                          <a:lnTo>
                            <a:pt x="0" y="2521"/>
                          </a:lnTo>
                          <a:close/>
                        </a:path>
                      </a:pathLst>
                    </a:custGeom>
                    <a:solidFill>
                      <a:srgbClr val="F1A7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23" name="Freeform 312"/>
                    <p:cNvSpPr>
                      <a:spLocks/>
                    </p:cNvSpPr>
                    <p:nvPr/>
                  </p:nvSpPr>
                  <p:spPr bwMode="auto">
                    <a:xfrm>
                      <a:off x="2109789" y="936625"/>
                      <a:ext cx="5183186" cy="3268665"/>
                    </a:xfrm>
                    <a:custGeom>
                      <a:avLst/>
                      <a:gdLst>
                        <a:gd name="T0" fmla="*/ 4135 w 6532"/>
                        <a:gd name="T1" fmla="*/ 2434 h 4120"/>
                        <a:gd name="T2" fmla="*/ 4072 w 6532"/>
                        <a:gd name="T3" fmla="*/ 2934 h 4120"/>
                        <a:gd name="T4" fmla="*/ 3967 w 6532"/>
                        <a:gd name="T5" fmla="*/ 3401 h 4120"/>
                        <a:gd name="T6" fmla="*/ 3831 w 6532"/>
                        <a:gd name="T7" fmla="*/ 3827 h 4120"/>
                        <a:gd name="T8" fmla="*/ 3714 w 6532"/>
                        <a:gd name="T9" fmla="*/ 4120 h 4120"/>
                        <a:gd name="T10" fmla="*/ 4072 w 6532"/>
                        <a:gd name="T11" fmla="*/ 4086 h 4120"/>
                        <a:gd name="T12" fmla="*/ 4426 w 6532"/>
                        <a:gd name="T13" fmla="*/ 4029 h 4120"/>
                        <a:gd name="T14" fmla="*/ 4771 w 6532"/>
                        <a:gd name="T15" fmla="*/ 3950 h 4120"/>
                        <a:gd name="T16" fmla="*/ 5277 w 6532"/>
                        <a:gd name="T17" fmla="*/ 3796 h 4120"/>
                        <a:gd name="T18" fmla="*/ 5913 w 6532"/>
                        <a:gd name="T19" fmla="*/ 3543 h 4120"/>
                        <a:gd name="T20" fmla="*/ 6360 w 6532"/>
                        <a:gd name="T21" fmla="*/ 3327 h 4120"/>
                        <a:gd name="T22" fmla="*/ 6445 w 6532"/>
                        <a:gd name="T23" fmla="*/ 2942 h 4120"/>
                        <a:gd name="T24" fmla="*/ 6498 w 6532"/>
                        <a:gd name="T25" fmla="*/ 2573 h 4120"/>
                        <a:gd name="T26" fmla="*/ 6526 w 6532"/>
                        <a:gd name="T27" fmla="*/ 2223 h 4120"/>
                        <a:gd name="T28" fmla="*/ 6530 w 6532"/>
                        <a:gd name="T29" fmla="*/ 1895 h 4120"/>
                        <a:gd name="T30" fmla="*/ 6500 w 6532"/>
                        <a:gd name="T31" fmla="*/ 1441 h 4120"/>
                        <a:gd name="T32" fmla="*/ 6415 w 6532"/>
                        <a:gd name="T33" fmla="*/ 921 h 4120"/>
                        <a:gd name="T34" fmla="*/ 6091 w 6532"/>
                        <a:gd name="T35" fmla="*/ 658 h 4120"/>
                        <a:gd name="T36" fmla="*/ 5461 w 6532"/>
                        <a:gd name="T37" fmla="*/ 390 h 4120"/>
                        <a:gd name="T38" fmla="*/ 4957 w 6532"/>
                        <a:gd name="T39" fmla="*/ 220 h 4120"/>
                        <a:gd name="T40" fmla="*/ 4609 w 6532"/>
                        <a:gd name="T41" fmla="*/ 129 h 4120"/>
                        <a:gd name="T42" fmla="*/ 4256 w 6532"/>
                        <a:gd name="T43" fmla="*/ 60 h 4120"/>
                        <a:gd name="T44" fmla="*/ 3896 w 6532"/>
                        <a:gd name="T45" fmla="*/ 12 h 4120"/>
                        <a:gd name="T46" fmla="*/ 3754 w 6532"/>
                        <a:gd name="T47" fmla="*/ 93 h 4120"/>
                        <a:gd name="T48" fmla="*/ 3902 w 6532"/>
                        <a:gd name="T49" fmla="*/ 498 h 4120"/>
                        <a:gd name="T50" fmla="*/ 4025 w 6532"/>
                        <a:gd name="T51" fmla="*/ 947 h 4120"/>
                        <a:gd name="T52" fmla="*/ 4110 w 6532"/>
                        <a:gd name="T53" fmla="*/ 1431 h 4120"/>
                        <a:gd name="T54" fmla="*/ 3436 w 6532"/>
                        <a:gd name="T55" fmla="*/ 1812 h 4120"/>
                        <a:gd name="T56" fmla="*/ 3420 w 6532"/>
                        <a:gd name="T57" fmla="*/ 1563 h 4120"/>
                        <a:gd name="T58" fmla="*/ 3383 w 6532"/>
                        <a:gd name="T59" fmla="*/ 1255 h 4120"/>
                        <a:gd name="T60" fmla="*/ 3327 w 6532"/>
                        <a:gd name="T61" fmla="*/ 976 h 4120"/>
                        <a:gd name="T62" fmla="*/ 3260 w 6532"/>
                        <a:gd name="T63" fmla="*/ 727 h 4120"/>
                        <a:gd name="T64" fmla="*/ 3177 w 6532"/>
                        <a:gd name="T65" fmla="*/ 508 h 4120"/>
                        <a:gd name="T66" fmla="*/ 3086 w 6532"/>
                        <a:gd name="T67" fmla="*/ 320 h 4120"/>
                        <a:gd name="T68" fmla="*/ 2985 w 6532"/>
                        <a:gd name="T69" fmla="*/ 164 h 4120"/>
                        <a:gd name="T70" fmla="*/ 2877 w 6532"/>
                        <a:gd name="T71" fmla="*/ 40 h 4120"/>
                        <a:gd name="T72" fmla="*/ 2507 w 6532"/>
                        <a:gd name="T73" fmla="*/ 44 h 4120"/>
                        <a:gd name="T74" fmla="*/ 1836 w 6532"/>
                        <a:gd name="T75" fmla="*/ 141 h 4120"/>
                        <a:gd name="T76" fmla="*/ 1148 w 6532"/>
                        <a:gd name="T77" fmla="*/ 287 h 4120"/>
                        <a:gd name="T78" fmla="*/ 0 w 6532"/>
                        <a:gd name="T79" fmla="*/ 581 h 4120"/>
                        <a:gd name="T80" fmla="*/ 407 w 6532"/>
                        <a:gd name="T81" fmla="*/ 3630 h 4120"/>
                        <a:gd name="T82" fmla="*/ 1316 w 6532"/>
                        <a:gd name="T83" fmla="*/ 3865 h 4120"/>
                        <a:gd name="T84" fmla="*/ 1992 w 6532"/>
                        <a:gd name="T85" fmla="*/ 4003 h 4120"/>
                        <a:gd name="T86" fmla="*/ 2673 w 6532"/>
                        <a:gd name="T87" fmla="*/ 4092 h 4120"/>
                        <a:gd name="T88" fmla="*/ 2904 w 6532"/>
                        <a:gd name="T89" fmla="*/ 4051 h 4120"/>
                        <a:gd name="T90" fmla="*/ 3011 w 6532"/>
                        <a:gd name="T91" fmla="*/ 3918 h 4120"/>
                        <a:gd name="T92" fmla="*/ 3110 w 6532"/>
                        <a:gd name="T93" fmla="*/ 3754 h 4120"/>
                        <a:gd name="T94" fmla="*/ 3199 w 6532"/>
                        <a:gd name="T95" fmla="*/ 3559 h 4120"/>
                        <a:gd name="T96" fmla="*/ 3278 w 6532"/>
                        <a:gd name="T97" fmla="*/ 3331 h 4120"/>
                        <a:gd name="T98" fmla="*/ 3343 w 6532"/>
                        <a:gd name="T99" fmla="*/ 3075 h 4120"/>
                        <a:gd name="T100" fmla="*/ 3394 w 6532"/>
                        <a:gd name="T101" fmla="*/ 2790 h 4120"/>
                        <a:gd name="T102" fmla="*/ 3426 w 6532"/>
                        <a:gd name="T103" fmla="*/ 2474 h 4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532" h="4120">
                          <a:moveTo>
                            <a:pt x="3436" y="2306"/>
                          </a:moveTo>
                          <a:lnTo>
                            <a:pt x="4143" y="2306"/>
                          </a:lnTo>
                          <a:lnTo>
                            <a:pt x="4143" y="2306"/>
                          </a:lnTo>
                          <a:lnTo>
                            <a:pt x="4135" y="2434"/>
                          </a:lnTo>
                          <a:lnTo>
                            <a:pt x="4123" y="2563"/>
                          </a:lnTo>
                          <a:lnTo>
                            <a:pt x="4110" y="2687"/>
                          </a:lnTo>
                          <a:lnTo>
                            <a:pt x="4092" y="2812"/>
                          </a:lnTo>
                          <a:lnTo>
                            <a:pt x="4072" y="2934"/>
                          </a:lnTo>
                          <a:lnTo>
                            <a:pt x="4048" y="3053"/>
                          </a:lnTo>
                          <a:lnTo>
                            <a:pt x="4025" y="3171"/>
                          </a:lnTo>
                          <a:lnTo>
                            <a:pt x="3997" y="3288"/>
                          </a:lnTo>
                          <a:lnTo>
                            <a:pt x="3967" y="3401"/>
                          </a:lnTo>
                          <a:lnTo>
                            <a:pt x="3936" y="3511"/>
                          </a:lnTo>
                          <a:lnTo>
                            <a:pt x="3902" y="3620"/>
                          </a:lnTo>
                          <a:lnTo>
                            <a:pt x="3867" y="3725"/>
                          </a:lnTo>
                          <a:lnTo>
                            <a:pt x="3831" y="3827"/>
                          </a:lnTo>
                          <a:lnTo>
                            <a:pt x="3793" y="3928"/>
                          </a:lnTo>
                          <a:lnTo>
                            <a:pt x="3754" y="4025"/>
                          </a:lnTo>
                          <a:lnTo>
                            <a:pt x="3714" y="4120"/>
                          </a:lnTo>
                          <a:lnTo>
                            <a:pt x="3714" y="4120"/>
                          </a:lnTo>
                          <a:lnTo>
                            <a:pt x="3803" y="4114"/>
                          </a:lnTo>
                          <a:lnTo>
                            <a:pt x="3894" y="4106"/>
                          </a:lnTo>
                          <a:lnTo>
                            <a:pt x="3983" y="4096"/>
                          </a:lnTo>
                          <a:lnTo>
                            <a:pt x="4072" y="4086"/>
                          </a:lnTo>
                          <a:lnTo>
                            <a:pt x="4161" y="4074"/>
                          </a:lnTo>
                          <a:lnTo>
                            <a:pt x="4250" y="4060"/>
                          </a:lnTo>
                          <a:lnTo>
                            <a:pt x="4337" y="4045"/>
                          </a:lnTo>
                          <a:lnTo>
                            <a:pt x="4426" y="4029"/>
                          </a:lnTo>
                          <a:lnTo>
                            <a:pt x="4513" y="4011"/>
                          </a:lnTo>
                          <a:lnTo>
                            <a:pt x="4600" y="3991"/>
                          </a:lnTo>
                          <a:lnTo>
                            <a:pt x="4685" y="3972"/>
                          </a:lnTo>
                          <a:lnTo>
                            <a:pt x="4771" y="3950"/>
                          </a:lnTo>
                          <a:lnTo>
                            <a:pt x="4856" y="3926"/>
                          </a:lnTo>
                          <a:lnTo>
                            <a:pt x="4941" y="3902"/>
                          </a:lnTo>
                          <a:lnTo>
                            <a:pt x="5111" y="3851"/>
                          </a:lnTo>
                          <a:lnTo>
                            <a:pt x="5277" y="3796"/>
                          </a:lnTo>
                          <a:lnTo>
                            <a:pt x="5439" y="3736"/>
                          </a:lnTo>
                          <a:lnTo>
                            <a:pt x="5601" y="3675"/>
                          </a:lnTo>
                          <a:lnTo>
                            <a:pt x="5759" y="3610"/>
                          </a:lnTo>
                          <a:lnTo>
                            <a:pt x="5913" y="3543"/>
                          </a:lnTo>
                          <a:lnTo>
                            <a:pt x="6065" y="3472"/>
                          </a:lnTo>
                          <a:lnTo>
                            <a:pt x="6214" y="3401"/>
                          </a:lnTo>
                          <a:lnTo>
                            <a:pt x="6360" y="3327"/>
                          </a:lnTo>
                          <a:lnTo>
                            <a:pt x="6360" y="3327"/>
                          </a:lnTo>
                          <a:lnTo>
                            <a:pt x="6384" y="3229"/>
                          </a:lnTo>
                          <a:lnTo>
                            <a:pt x="6405" y="3132"/>
                          </a:lnTo>
                          <a:lnTo>
                            <a:pt x="6425" y="3037"/>
                          </a:lnTo>
                          <a:lnTo>
                            <a:pt x="6445" y="2942"/>
                          </a:lnTo>
                          <a:lnTo>
                            <a:pt x="6461" y="2847"/>
                          </a:lnTo>
                          <a:lnTo>
                            <a:pt x="6474" y="2754"/>
                          </a:lnTo>
                          <a:lnTo>
                            <a:pt x="6488" y="2664"/>
                          </a:lnTo>
                          <a:lnTo>
                            <a:pt x="6498" y="2573"/>
                          </a:lnTo>
                          <a:lnTo>
                            <a:pt x="6508" y="2484"/>
                          </a:lnTo>
                          <a:lnTo>
                            <a:pt x="6516" y="2395"/>
                          </a:lnTo>
                          <a:lnTo>
                            <a:pt x="6522" y="2308"/>
                          </a:lnTo>
                          <a:lnTo>
                            <a:pt x="6526" y="2223"/>
                          </a:lnTo>
                          <a:lnTo>
                            <a:pt x="6530" y="2140"/>
                          </a:lnTo>
                          <a:lnTo>
                            <a:pt x="6530" y="2057"/>
                          </a:lnTo>
                          <a:lnTo>
                            <a:pt x="6532" y="1974"/>
                          </a:lnTo>
                          <a:lnTo>
                            <a:pt x="6530" y="1895"/>
                          </a:lnTo>
                          <a:lnTo>
                            <a:pt x="6528" y="1816"/>
                          </a:lnTo>
                          <a:lnTo>
                            <a:pt x="6524" y="1737"/>
                          </a:lnTo>
                          <a:lnTo>
                            <a:pt x="6514" y="1587"/>
                          </a:lnTo>
                          <a:lnTo>
                            <a:pt x="6500" y="1441"/>
                          </a:lnTo>
                          <a:lnTo>
                            <a:pt x="6482" y="1302"/>
                          </a:lnTo>
                          <a:lnTo>
                            <a:pt x="6463" y="1168"/>
                          </a:lnTo>
                          <a:lnTo>
                            <a:pt x="6439" y="1042"/>
                          </a:lnTo>
                          <a:lnTo>
                            <a:pt x="6415" y="921"/>
                          </a:lnTo>
                          <a:lnTo>
                            <a:pt x="6388" y="806"/>
                          </a:lnTo>
                          <a:lnTo>
                            <a:pt x="6388" y="806"/>
                          </a:lnTo>
                          <a:lnTo>
                            <a:pt x="6241" y="731"/>
                          </a:lnTo>
                          <a:lnTo>
                            <a:pt x="6091" y="658"/>
                          </a:lnTo>
                          <a:lnTo>
                            <a:pt x="5939" y="587"/>
                          </a:lnTo>
                          <a:lnTo>
                            <a:pt x="5783" y="520"/>
                          </a:lnTo>
                          <a:lnTo>
                            <a:pt x="5623" y="453"/>
                          </a:lnTo>
                          <a:lnTo>
                            <a:pt x="5461" y="390"/>
                          </a:lnTo>
                          <a:lnTo>
                            <a:pt x="5295" y="328"/>
                          </a:lnTo>
                          <a:lnTo>
                            <a:pt x="5127" y="273"/>
                          </a:lnTo>
                          <a:lnTo>
                            <a:pt x="5042" y="245"/>
                          </a:lnTo>
                          <a:lnTo>
                            <a:pt x="4957" y="220"/>
                          </a:lnTo>
                          <a:lnTo>
                            <a:pt x="4870" y="196"/>
                          </a:lnTo>
                          <a:lnTo>
                            <a:pt x="4783" y="172"/>
                          </a:lnTo>
                          <a:lnTo>
                            <a:pt x="4696" y="150"/>
                          </a:lnTo>
                          <a:lnTo>
                            <a:pt x="4609" y="129"/>
                          </a:lnTo>
                          <a:lnTo>
                            <a:pt x="4523" y="109"/>
                          </a:lnTo>
                          <a:lnTo>
                            <a:pt x="4434" y="91"/>
                          </a:lnTo>
                          <a:lnTo>
                            <a:pt x="4345" y="75"/>
                          </a:lnTo>
                          <a:lnTo>
                            <a:pt x="4256" y="60"/>
                          </a:lnTo>
                          <a:lnTo>
                            <a:pt x="4167" y="46"/>
                          </a:lnTo>
                          <a:lnTo>
                            <a:pt x="4076" y="32"/>
                          </a:lnTo>
                          <a:lnTo>
                            <a:pt x="3987" y="22"/>
                          </a:lnTo>
                          <a:lnTo>
                            <a:pt x="3896" y="12"/>
                          </a:lnTo>
                          <a:lnTo>
                            <a:pt x="3805" y="6"/>
                          </a:lnTo>
                          <a:lnTo>
                            <a:pt x="3714" y="0"/>
                          </a:lnTo>
                          <a:lnTo>
                            <a:pt x="3714" y="0"/>
                          </a:lnTo>
                          <a:lnTo>
                            <a:pt x="3754" y="93"/>
                          </a:lnTo>
                          <a:lnTo>
                            <a:pt x="3793" y="190"/>
                          </a:lnTo>
                          <a:lnTo>
                            <a:pt x="3831" y="291"/>
                          </a:lnTo>
                          <a:lnTo>
                            <a:pt x="3867" y="393"/>
                          </a:lnTo>
                          <a:lnTo>
                            <a:pt x="3902" y="498"/>
                          </a:lnTo>
                          <a:lnTo>
                            <a:pt x="3936" y="607"/>
                          </a:lnTo>
                          <a:lnTo>
                            <a:pt x="3967" y="718"/>
                          </a:lnTo>
                          <a:lnTo>
                            <a:pt x="3997" y="832"/>
                          </a:lnTo>
                          <a:lnTo>
                            <a:pt x="4025" y="947"/>
                          </a:lnTo>
                          <a:lnTo>
                            <a:pt x="4048" y="1065"/>
                          </a:lnTo>
                          <a:lnTo>
                            <a:pt x="4072" y="1186"/>
                          </a:lnTo>
                          <a:lnTo>
                            <a:pt x="4092" y="1306"/>
                          </a:lnTo>
                          <a:lnTo>
                            <a:pt x="4110" y="1431"/>
                          </a:lnTo>
                          <a:lnTo>
                            <a:pt x="4123" y="1555"/>
                          </a:lnTo>
                          <a:lnTo>
                            <a:pt x="4135" y="1684"/>
                          </a:lnTo>
                          <a:lnTo>
                            <a:pt x="4143" y="1812"/>
                          </a:lnTo>
                          <a:lnTo>
                            <a:pt x="3436" y="1812"/>
                          </a:lnTo>
                          <a:lnTo>
                            <a:pt x="3436" y="1812"/>
                          </a:lnTo>
                          <a:lnTo>
                            <a:pt x="3432" y="1727"/>
                          </a:lnTo>
                          <a:lnTo>
                            <a:pt x="3426" y="1644"/>
                          </a:lnTo>
                          <a:lnTo>
                            <a:pt x="3420" y="1563"/>
                          </a:lnTo>
                          <a:lnTo>
                            <a:pt x="3412" y="1484"/>
                          </a:lnTo>
                          <a:lnTo>
                            <a:pt x="3404" y="1405"/>
                          </a:lnTo>
                          <a:lnTo>
                            <a:pt x="3394" y="1330"/>
                          </a:lnTo>
                          <a:lnTo>
                            <a:pt x="3383" y="1255"/>
                          </a:lnTo>
                          <a:lnTo>
                            <a:pt x="3371" y="1184"/>
                          </a:lnTo>
                          <a:lnTo>
                            <a:pt x="3357" y="1113"/>
                          </a:lnTo>
                          <a:lnTo>
                            <a:pt x="3343" y="1044"/>
                          </a:lnTo>
                          <a:lnTo>
                            <a:pt x="3327" y="976"/>
                          </a:lnTo>
                          <a:lnTo>
                            <a:pt x="3311" y="911"/>
                          </a:lnTo>
                          <a:lnTo>
                            <a:pt x="3296" y="848"/>
                          </a:lnTo>
                          <a:lnTo>
                            <a:pt x="3278" y="787"/>
                          </a:lnTo>
                          <a:lnTo>
                            <a:pt x="3260" y="727"/>
                          </a:lnTo>
                          <a:lnTo>
                            <a:pt x="3240" y="670"/>
                          </a:lnTo>
                          <a:lnTo>
                            <a:pt x="3221" y="615"/>
                          </a:lnTo>
                          <a:lnTo>
                            <a:pt x="3199" y="561"/>
                          </a:lnTo>
                          <a:lnTo>
                            <a:pt x="3177" y="508"/>
                          </a:lnTo>
                          <a:lnTo>
                            <a:pt x="3155" y="459"/>
                          </a:lnTo>
                          <a:lnTo>
                            <a:pt x="3134" y="411"/>
                          </a:lnTo>
                          <a:lnTo>
                            <a:pt x="3110" y="366"/>
                          </a:lnTo>
                          <a:lnTo>
                            <a:pt x="3086" y="320"/>
                          </a:lnTo>
                          <a:lnTo>
                            <a:pt x="3061" y="279"/>
                          </a:lnTo>
                          <a:lnTo>
                            <a:pt x="3037" y="239"/>
                          </a:lnTo>
                          <a:lnTo>
                            <a:pt x="3011" y="200"/>
                          </a:lnTo>
                          <a:lnTo>
                            <a:pt x="2985" y="164"/>
                          </a:lnTo>
                          <a:lnTo>
                            <a:pt x="2958" y="131"/>
                          </a:lnTo>
                          <a:lnTo>
                            <a:pt x="2932" y="97"/>
                          </a:lnTo>
                          <a:lnTo>
                            <a:pt x="2904" y="67"/>
                          </a:lnTo>
                          <a:lnTo>
                            <a:pt x="2877" y="40"/>
                          </a:lnTo>
                          <a:lnTo>
                            <a:pt x="2849" y="12"/>
                          </a:lnTo>
                          <a:lnTo>
                            <a:pt x="2849" y="12"/>
                          </a:lnTo>
                          <a:lnTo>
                            <a:pt x="2677" y="26"/>
                          </a:lnTo>
                          <a:lnTo>
                            <a:pt x="2507" y="44"/>
                          </a:lnTo>
                          <a:lnTo>
                            <a:pt x="2337" y="64"/>
                          </a:lnTo>
                          <a:lnTo>
                            <a:pt x="2170" y="87"/>
                          </a:lnTo>
                          <a:lnTo>
                            <a:pt x="2004" y="113"/>
                          </a:lnTo>
                          <a:lnTo>
                            <a:pt x="1836" y="141"/>
                          </a:lnTo>
                          <a:lnTo>
                            <a:pt x="1666" y="174"/>
                          </a:lnTo>
                          <a:lnTo>
                            <a:pt x="1496" y="208"/>
                          </a:lnTo>
                          <a:lnTo>
                            <a:pt x="1324" y="245"/>
                          </a:lnTo>
                          <a:lnTo>
                            <a:pt x="1148" y="287"/>
                          </a:lnTo>
                          <a:lnTo>
                            <a:pt x="968" y="330"/>
                          </a:lnTo>
                          <a:lnTo>
                            <a:pt x="787" y="376"/>
                          </a:lnTo>
                          <a:lnTo>
                            <a:pt x="405" y="474"/>
                          </a:lnTo>
                          <a:lnTo>
                            <a:pt x="0" y="581"/>
                          </a:lnTo>
                          <a:lnTo>
                            <a:pt x="0" y="3517"/>
                          </a:lnTo>
                          <a:lnTo>
                            <a:pt x="0" y="3517"/>
                          </a:lnTo>
                          <a:lnTo>
                            <a:pt x="0" y="3517"/>
                          </a:lnTo>
                          <a:lnTo>
                            <a:pt x="407" y="3630"/>
                          </a:lnTo>
                          <a:lnTo>
                            <a:pt x="785" y="3730"/>
                          </a:lnTo>
                          <a:lnTo>
                            <a:pt x="966" y="3778"/>
                          </a:lnTo>
                          <a:lnTo>
                            <a:pt x="1144" y="3823"/>
                          </a:lnTo>
                          <a:lnTo>
                            <a:pt x="1316" y="3865"/>
                          </a:lnTo>
                          <a:lnTo>
                            <a:pt x="1488" y="3904"/>
                          </a:lnTo>
                          <a:lnTo>
                            <a:pt x="1656" y="3940"/>
                          </a:lnTo>
                          <a:lnTo>
                            <a:pt x="1824" y="3973"/>
                          </a:lnTo>
                          <a:lnTo>
                            <a:pt x="1992" y="4003"/>
                          </a:lnTo>
                          <a:lnTo>
                            <a:pt x="2160" y="4031"/>
                          </a:lnTo>
                          <a:lnTo>
                            <a:pt x="2328" y="4055"/>
                          </a:lnTo>
                          <a:lnTo>
                            <a:pt x="2499" y="4074"/>
                          </a:lnTo>
                          <a:lnTo>
                            <a:pt x="2673" y="4092"/>
                          </a:lnTo>
                          <a:lnTo>
                            <a:pt x="2849" y="4106"/>
                          </a:lnTo>
                          <a:lnTo>
                            <a:pt x="2849" y="4106"/>
                          </a:lnTo>
                          <a:lnTo>
                            <a:pt x="2877" y="4080"/>
                          </a:lnTo>
                          <a:lnTo>
                            <a:pt x="2904" y="4051"/>
                          </a:lnTo>
                          <a:lnTo>
                            <a:pt x="2932" y="4021"/>
                          </a:lnTo>
                          <a:lnTo>
                            <a:pt x="2958" y="3989"/>
                          </a:lnTo>
                          <a:lnTo>
                            <a:pt x="2985" y="3954"/>
                          </a:lnTo>
                          <a:lnTo>
                            <a:pt x="3011" y="3918"/>
                          </a:lnTo>
                          <a:lnTo>
                            <a:pt x="3037" y="3881"/>
                          </a:lnTo>
                          <a:lnTo>
                            <a:pt x="3061" y="3839"/>
                          </a:lnTo>
                          <a:lnTo>
                            <a:pt x="3086" y="3798"/>
                          </a:lnTo>
                          <a:lnTo>
                            <a:pt x="3110" y="3754"/>
                          </a:lnTo>
                          <a:lnTo>
                            <a:pt x="3134" y="3707"/>
                          </a:lnTo>
                          <a:lnTo>
                            <a:pt x="3155" y="3659"/>
                          </a:lnTo>
                          <a:lnTo>
                            <a:pt x="3177" y="3610"/>
                          </a:lnTo>
                          <a:lnTo>
                            <a:pt x="3199" y="3559"/>
                          </a:lnTo>
                          <a:lnTo>
                            <a:pt x="3221" y="3503"/>
                          </a:lnTo>
                          <a:lnTo>
                            <a:pt x="3240" y="3448"/>
                          </a:lnTo>
                          <a:lnTo>
                            <a:pt x="3260" y="3391"/>
                          </a:lnTo>
                          <a:lnTo>
                            <a:pt x="3278" y="3331"/>
                          </a:lnTo>
                          <a:lnTo>
                            <a:pt x="3296" y="3270"/>
                          </a:lnTo>
                          <a:lnTo>
                            <a:pt x="3311" y="3207"/>
                          </a:lnTo>
                          <a:lnTo>
                            <a:pt x="3327" y="3142"/>
                          </a:lnTo>
                          <a:lnTo>
                            <a:pt x="3343" y="3075"/>
                          </a:lnTo>
                          <a:lnTo>
                            <a:pt x="3357" y="3007"/>
                          </a:lnTo>
                          <a:lnTo>
                            <a:pt x="3371" y="2936"/>
                          </a:lnTo>
                          <a:lnTo>
                            <a:pt x="3383" y="2863"/>
                          </a:lnTo>
                          <a:lnTo>
                            <a:pt x="3394" y="2790"/>
                          </a:lnTo>
                          <a:lnTo>
                            <a:pt x="3404" y="2713"/>
                          </a:lnTo>
                          <a:lnTo>
                            <a:pt x="3412" y="2636"/>
                          </a:lnTo>
                          <a:lnTo>
                            <a:pt x="3420" y="2555"/>
                          </a:lnTo>
                          <a:lnTo>
                            <a:pt x="3426" y="2474"/>
                          </a:lnTo>
                          <a:lnTo>
                            <a:pt x="3432" y="2391"/>
                          </a:lnTo>
                          <a:lnTo>
                            <a:pt x="3436" y="2306"/>
                          </a:lnTo>
                          <a:lnTo>
                            <a:pt x="3436" y="2306"/>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24" name="Freeform 313"/>
                    <p:cNvSpPr>
                      <a:spLocks/>
                    </p:cNvSpPr>
                    <p:nvPr/>
                  </p:nvSpPr>
                  <p:spPr bwMode="auto">
                    <a:xfrm>
                      <a:off x="2035174" y="1395413"/>
                      <a:ext cx="185736" cy="2332039"/>
                    </a:xfrm>
                    <a:custGeom>
                      <a:avLst/>
                      <a:gdLst>
                        <a:gd name="T0" fmla="*/ 234 w 234"/>
                        <a:gd name="T1" fmla="*/ 1470 h 2938"/>
                        <a:gd name="T2" fmla="*/ 226 w 234"/>
                        <a:gd name="T3" fmla="*/ 897 h 2938"/>
                        <a:gd name="T4" fmla="*/ 216 w 234"/>
                        <a:gd name="T5" fmla="*/ 648 h 2938"/>
                        <a:gd name="T6" fmla="*/ 202 w 234"/>
                        <a:gd name="T7" fmla="*/ 431 h 2938"/>
                        <a:gd name="T8" fmla="*/ 182 w 234"/>
                        <a:gd name="T9" fmla="*/ 251 h 2938"/>
                        <a:gd name="T10" fmla="*/ 160 w 234"/>
                        <a:gd name="T11" fmla="*/ 115 h 2938"/>
                        <a:gd name="T12" fmla="*/ 139 w 234"/>
                        <a:gd name="T13" fmla="*/ 46 h 2938"/>
                        <a:gd name="T14" fmla="*/ 125 w 234"/>
                        <a:gd name="T15" fmla="*/ 16 h 2938"/>
                        <a:gd name="T16" fmla="*/ 107 w 234"/>
                        <a:gd name="T17" fmla="*/ 2 h 2938"/>
                        <a:gd name="T18" fmla="*/ 99 w 234"/>
                        <a:gd name="T19" fmla="*/ 0 h 2938"/>
                        <a:gd name="T20" fmla="*/ 83 w 234"/>
                        <a:gd name="T21" fmla="*/ 8 h 2938"/>
                        <a:gd name="T22" fmla="*/ 68 w 234"/>
                        <a:gd name="T23" fmla="*/ 30 h 2938"/>
                        <a:gd name="T24" fmla="*/ 56 w 234"/>
                        <a:gd name="T25" fmla="*/ 65 h 2938"/>
                        <a:gd name="T26" fmla="*/ 34 w 234"/>
                        <a:gd name="T27" fmla="*/ 176 h 2938"/>
                        <a:gd name="T28" fmla="*/ 20 w 234"/>
                        <a:gd name="T29" fmla="*/ 336 h 2938"/>
                        <a:gd name="T30" fmla="*/ 10 w 234"/>
                        <a:gd name="T31" fmla="*/ 534 h 2938"/>
                        <a:gd name="T32" fmla="*/ 2 w 234"/>
                        <a:gd name="T33" fmla="*/ 897 h 2938"/>
                        <a:gd name="T34" fmla="*/ 0 w 234"/>
                        <a:gd name="T35" fmla="*/ 1470 h 2938"/>
                        <a:gd name="T36" fmla="*/ 0 w 234"/>
                        <a:gd name="T37" fmla="*/ 1765 h 2938"/>
                        <a:gd name="T38" fmla="*/ 6 w 234"/>
                        <a:gd name="T39" fmla="*/ 2290 h 2938"/>
                        <a:gd name="T40" fmla="*/ 14 w 234"/>
                        <a:gd name="T41" fmla="*/ 2507 h 2938"/>
                        <a:gd name="T42" fmla="*/ 26 w 234"/>
                        <a:gd name="T43" fmla="*/ 2687 h 2938"/>
                        <a:gd name="T44" fmla="*/ 44 w 234"/>
                        <a:gd name="T45" fmla="*/ 2824 h 2938"/>
                        <a:gd name="T46" fmla="*/ 62 w 234"/>
                        <a:gd name="T47" fmla="*/ 2893 h 2938"/>
                        <a:gd name="T48" fmla="*/ 75 w 234"/>
                        <a:gd name="T49" fmla="*/ 2922 h 2938"/>
                        <a:gd name="T50" fmla="*/ 91 w 234"/>
                        <a:gd name="T51" fmla="*/ 2936 h 2938"/>
                        <a:gd name="T52" fmla="*/ 99 w 234"/>
                        <a:gd name="T53" fmla="*/ 2938 h 2938"/>
                        <a:gd name="T54" fmla="*/ 117 w 234"/>
                        <a:gd name="T55" fmla="*/ 2932 h 2938"/>
                        <a:gd name="T56" fmla="*/ 133 w 234"/>
                        <a:gd name="T57" fmla="*/ 2908 h 2938"/>
                        <a:gd name="T58" fmla="*/ 147 w 234"/>
                        <a:gd name="T59" fmla="*/ 2873 h 2938"/>
                        <a:gd name="T60" fmla="*/ 172 w 234"/>
                        <a:gd name="T61" fmla="*/ 2762 h 2938"/>
                        <a:gd name="T62" fmla="*/ 192 w 234"/>
                        <a:gd name="T63" fmla="*/ 2604 h 2938"/>
                        <a:gd name="T64" fmla="*/ 210 w 234"/>
                        <a:gd name="T65" fmla="*/ 2405 h 2938"/>
                        <a:gd name="T66" fmla="*/ 222 w 234"/>
                        <a:gd name="T67" fmla="*/ 2170 h 2938"/>
                        <a:gd name="T68" fmla="*/ 232 w 234"/>
                        <a:gd name="T69" fmla="*/ 1765 h 2938"/>
                        <a:gd name="T70" fmla="*/ 234 w 234"/>
                        <a:gd name="T71" fmla="*/ 1470 h 2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4" h="2938">
                          <a:moveTo>
                            <a:pt x="234" y="1470"/>
                          </a:moveTo>
                          <a:lnTo>
                            <a:pt x="234" y="1470"/>
                          </a:lnTo>
                          <a:lnTo>
                            <a:pt x="232" y="1174"/>
                          </a:lnTo>
                          <a:lnTo>
                            <a:pt x="226" y="897"/>
                          </a:lnTo>
                          <a:lnTo>
                            <a:pt x="222" y="769"/>
                          </a:lnTo>
                          <a:lnTo>
                            <a:pt x="216" y="648"/>
                          </a:lnTo>
                          <a:lnTo>
                            <a:pt x="210" y="534"/>
                          </a:lnTo>
                          <a:lnTo>
                            <a:pt x="202" y="431"/>
                          </a:lnTo>
                          <a:lnTo>
                            <a:pt x="192" y="336"/>
                          </a:lnTo>
                          <a:lnTo>
                            <a:pt x="182" y="251"/>
                          </a:lnTo>
                          <a:lnTo>
                            <a:pt x="172" y="176"/>
                          </a:lnTo>
                          <a:lnTo>
                            <a:pt x="160" y="115"/>
                          </a:lnTo>
                          <a:lnTo>
                            <a:pt x="147" y="65"/>
                          </a:lnTo>
                          <a:lnTo>
                            <a:pt x="139" y="46"/>
                          </a:lnTo>
                          <a:lnTo>
                            <a:pt x="133" y="30"/>
                          </a:lnTo>
                          <a:lnTo>
                            <a:pt x="125" y="16"/>
                          </a:lnTo>
                          <a:lnTo>
                            <a:pt x="117" y="8"/>
                          </a:lnTo>
                          <a:lnTo>
                            <a:pt x="107" y="2"/>
                          </a:lnTo>
                          <a:lnTo>
                            <a:pt x="99" y="0"/>
                          </a:lnTo>
                          <a:lnTo>
                            <a:pt x="99" y="0"/>
                          </a:lnTo>
                          <a:lnTo>
                            <a:pt x="91" y="2"/>
                          </a:lnTo>
                          <a:lnTo>
                            <a:pt x="83" y="8"/>
                          </a:lnTo>
                          <a:lnTo>
                            <a:pt x="75" y="16"/>
                          </a:lnTo>
                          <a:lnTo>
                            <a:pt x="68" y="30"/>
                          </a:lnTo>
                          <a:lnTo>
                            <a:pt x="62" y="46"/>
                          </a:lnTo>
                          <a:lnTo>
                            <a:pt x="56" y="65"/>
                          </a:lnTo>
                          <a:lnTo>
                            <a:pt x="44" y="115"/>
                          </a:lnTo>
                          <a:lnTo>
                            <a:pt x="34" y="176"/>
                          </a:lnTo>
                          <a:lnTo>
                            <a:pt x="26" y="251"/>
                          </a:lnTo>
                          <a:lnTo>
                            <a:pt x="20" y="336"/>
                          </a:lnTo>
                          <a:lnTo>
                            <a:pt x="14" y="431"/>
                          </a:lnTo>
                          <a:lnTo>
                            <a:pt x="10" y="534"/>
                          </a:lnTo>
                          <a:lnTo>
                            <a:pt x="6" y="648"/>
                          </a:lnTo>
                          <a:lnTo>
                            <a:pt x="2" y="897"/>
                          </a:lnTo>
                          <a:lnTo>
                            <a:pt x="0" y="1174"/>
                          </a:lnTo>
                          <a:lnTo>
                            <a:pt x="0" y="1470"/>
                          </a:lnTo>
                          <a:lnTo>
                            <a:pt x="0" y="1470"/>
                          </a:lnTo>
                          <a:lnTo>
                            <a:pt x="0" y="1765"/>
                          </a:lnTo>
                          <a:lnTo>
                            <a:pt x="2" y="2041"/>
                          </a:lnTo>
                          <a:lnTo>
                            <a:pt x="6" y="2290"/>
                          </a:lnTo>
                          <a:lnTo>
                            <a:pt x="10" y="2405"/>
                          </a:lnTo>
                          <a:lnTo>
                            <a:pt x="14" y="2507"/>
                          </a:lnTo>
                          <a:lnTo>
                            <a:pt x="20" y="2604"/>
                          </a:lnTo>
                          <a:lnTo>
                            <a:pt x="26" y="2687"/>
                          </a:lnTo>
                          <a:lnTo>
                            <a:pt x="34" y="2762"/>
                          </a:lnTo>
                          <a:lnTo>
                            <a:pt x="44" y="2824"/>
                          </a:lnTo>
                          <a:lnTo>
                            <a:pt x="56" y="2873"/>
                          </a:lnTo>
                          <a:lnTo>
                            <a:pt x="62" y="2893"/>
                          </a:lnTo>
                          <a:lnTo>
                            <a:pt x="68" y="2908"/>
                          </a:lnTo>
                          <a:lnTo>
                            <a:pt x="75" y="2922"/>
                          </a:lnTo>
                          <a:lnTo>
                            <a:pt x="83" y="2932"/>
                          </a:lnTo>
                          <a:lnTo>
                            <a:pt x="91" y="2936"/>
                          </a:lnTo>
                          <a:lnTo>
                            <a:pt x="99" y="2938"/>
                          </a:lnTo>
                          <a:lnTo>
                            <a:pt x="99" y="2938"/>
                          </a:lnTo>
                          <a:lnTo>
                            <a:pt x="107" y="2936"/>
                          </a:lnTo>
                          <a:lnTo>
                            <a:pt x="117" y="2932"/>
                          </a:lnTo>
                          <a:lnTo>
                            <a:pt x="125" y="2922"/>
                          </a:lnTo>
                          <a:lnTo>
                            <a:pt x="133" y="2908"/>
                          </a:lnTo>
                          <a:lnTo>
                            <a:pt x="139" y="2893"/>
                          </a:lnTo>
                          <a:lnTo>
                            <a:pt x="147" y="2873"/>
                          </a:lnTo>
                          <a:lnTo>
                            <a:pt x="160" y="2824"/>
                          </a:lnTo>
                          <a:lnTo>
                            <a:pt x="172" y="2762"/>
                          </a:lnTo>
                          <a:lnTo>
                            <a:pt x="182" y="2687"/>
                          </a:lnTo>
                          <a:lnTo>
                            <a:pt x="192" y="2604"/>
                          </a:lnTo>
                          <a:lnTo>
                            <a:pt x="202" y="2507"/>
                          </a:lnTo>
                          <a:lnTo>
                            <a:pt x="210" y="2405"/>
                          </a:lnTo>
                          <a:lnTo>
                            <a:pt x="216" y="2290"/>
                          </a:lnTo>
                          <a:lnTo>
                            <a:pt x="222" y="2170"/>
                          </a:lnTo>
                          <a:lnTo>
                            <a:pt x="226" y="2041"/>
                          </a:lnTo>
                          <a:lnTo>
                            <a:pt x="232" y="1765"/>
                          </a:lnTo>
                          <a:lnTo>
                            <a:pt x="234" y="1470"/>
                          </a:lnTo>
                          <a:lnTo>
                            <a:pt x="234" y="147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25" name="Freeform 314"/>
                    <p:cNvSpPr>
                      <a:spLocks/>
                    </p:cNvSpPr>
                    <p:nvPr/>
                  </p:nvSpPr>
                  <p:spPr bwMode="auto">
                    <a:xfrm>
                      <a:off x="4083049" y="1371601"/>
                      <a:ext cx="2398711" cy="2397126"/>
                    </a:xfrm>
                    <a:custGeom>
                      <a:avLst/>
                      <a:gdLst>
                        <a:gd name="T0" fmla="*/ 2 w 3020"/>
                        <a:gd name="T1" fmla="*/ 1432 h 3018"/>
                        <a:gd name="T2" fmla="*/ 31 w 3020"/>
                        <a:gd name="T3" fmla="*/ 1205 h 3018"/>
                        <a:gd name="T4" fmla="*/ 92 w 3020"/>
                        <a:gd name="T5" fmla="*/ 991 h 3018"/>
                        <a:gd name="T6" fmla="*/ 183 w 3020"/>
                        <a:gd name="T7" fmla="*/ 790 h 3018"/>
                        <a:gd name="T8" fmla="*/ 300 w 3020"/>
                        <a:gd name="T9" fmla="*/ 606 h 3018"/>
                        <a:gd name="T10" fmla="*/ 442 w 3020"/>
                        <a:gd name="T11" fmla="*/ 442 h 3018"/>
                        <a:gd name="T12" fmla="*/ 608 w 3020"/>
                        <a:gd name="T13" fmla="*/ 300 h 3018"/>
                        <a:gd name="T14" fmla="*/ 792 w 3020"/>
                        <a:gd name="T15" fmla="*/ 181 h 3018"/>
                        <a:gd name="T16" fmla="*/ 991 w 3020"/>
                        <a:gd name="T17" fmla="*/ 92 h 3018"/>
                        <a:gd name="T18" fmla="*/ 1207 w 3020"/>
                        <a:gd name="T19" fmla="*/ 31 h 3018"/>
                        <a:gd name="T20" fmla="*/ 1432 w 3020"/>
                        <a:gd name="T21" fmla="*/ 2 h 3018"/>
                        <a:gd name="T22" fmla="*/ 1588 w 3020"/>
                        <a:gd name="T23" fmla="*/ 2 h 3018"/>
                        <a:gd name="T24" fmla="*/ 1813 w 3020"/>
                        <a:gd name="T25" fmla="*/ 31 h 3018"/>
                        <a:gd name="T26" fmla="*/ 2029 w 3020"/>
                        <a:gd name="T27" fmla="*/ 92 h 3018"/>
                        <a:gd name="T28" fmla="*/ 2228 w 3020"/>
                        <a:gd name="T29" fmla="*/ 181 h 3018"/>
                        <a:gd name="T30" fmla="*/ 2412 w 3020"/>
                        <a:gd name="T31" fmla="*/ 300 h 3018"/>
                        <a:gd name="T32" fmla="*/ 2578 w 3020"/>
                        <a:gd name="T33" fmla="*/ 442 h 3018"/>
                        <a:gd name="T34" fmla="*/ 2720 w 3020"/>
                        <a:gd name="T35" fmla="*/ 606 h 3018"/>
                        <a:gd name="T36" fmla="*/ 2837 w 3020"/>
                        <a:gd name="T37" fmla="*/ 790 h 3018"/>
                        <a:gd name="T38" fmla="*/ 2927 w 3020"/>
                        <a:gd name="T39" fmla="*/ 991 h 3018"/>
                        <a:gd name="T40" fmla="*/ 2989 w 3020"/>
                        <a:gd name="T41" fmla="*/ 1205 h 3018"/>
                        <a:gd name="T42" fmla="*/ 3018 w 3020"/>
                        <a:gd name="T43" fmla="*/ 1432 h 3018"/>
                        <a:gd name="T44" fmla="*/ 3018 w 3020"/>
                        <a:gd name="T45" fmla="*/ 1586 h 3018"/>
                        <a:gd name="T46" fmla="*/ 2989 w 3020"/>
                        <a:gd name="T47" fmla="*/ 1813 h 3018"/>
                        <a:gd name="T48" fmla="*/ 2927 w 3020"/>
                        <a:gd name="T49" fmla="*/ 2029 h 3018"/>
                        <a:gd name="T50" fmla="*/ 2837 w 3020"/>
                        <a:gd name="T51" fmla="*/ 2228 h 3018"/>
                        <a:gd name="T52" fmla="*/ 2720 w 3020"/>
                        <a:gd name="T53" fmla="*/ 2412 h 3018"/>
                        <a:gd name="T54" fmla="*/ 2578 w 3020"/>
                        <a:gd name="T55" fmla="*/ 2576 h 3018"/>
                        <a:gd name="T56" fmla="*/ 2412 w 3020"/>
                        <a:gd name="T57" fmla="*/ 2718 h 3018"/>
                        <a:gd name="T58" fmla="*/ 2228 w 3020"/>
                        <a:gd name="T59" fmla="*/ 2837 h 3018"/>
                        <a:gd name="T60" fmla="*/ 2029 w 3020"/>
                        <a:gd name="T61" fmla="*/ 2928 h 3018"/>
                        <a:gd name="T62" fmla="*/ 1813 w 3020"/>
                        <a:gd name="T63" fmla="*/ 2989 h 3018"/>
                        <a:gd name="T64" fmla="*/ 1588 w 3020"/>
                        <a:gd name="T65" fmla="*/ 3016 h 3018"/>
                        <a:gd name="T66" fmla="*/ 1432 w 3020"/>
                        <a:gd name="T67" fmla="*/ 3016 h 3018"/>
                        <a:gd name="T68" fmla="*/ 1207 w 3020"/>
                        <a:gd name="T69" fmla="*/ 2989 h 3018"/>
                        <a:gd name="T70" fmla="*/ 991 w 3020"/>
                        <a:gd name="T71" fmla="*/ 2928 h 3018"/>
                        <a:gd name="T72" fmla="*/ 792 w 3020"/>
                        <a:gd name="T73" fmla="*/ 2837 h 3018"/>
                        <a:gd name="T74" fmla="*/ 608 w 3020"/>
                        <a:gd name="T75" fmla="*/ 2718 h 3018"/>
                        <a:gd name="T76" fmla="*/ 442 w 3020"/>
                        <a:gd name="T77" fmla="*/ 2576 h 3018"/>
                        <a:gd name="T78" fmla="*/ 300 w 3020"/>
                        <a:gd name="T79" fmla="*/ 2412 h 3018"/>
                        <a:gd name="T80" fmla="*/ 183 w 3020"/>
                        <a:gd name="T81" fmla="*/ 2228 h 3018"/>
                        <a:gd name="T82" fmla="*/ 92 w 3020"/>
                        <a:gd name="T83" fmla="*/ 2029 h 3018"/>
                        <a:gd name="T84" fmla="*/ 31 w 3020"/>
                        <a:gd name="T85" fmla="*/ 1813 h 3018"/>
                        <a:gd name="T86" fmla="*/ 2 w 3020"/>
                        <a:gd name="T87" fmla="*/ 1586 h 3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20" h="3018">
                          <a:moveTo>
                            <a:pt x="0" y="1509"/>
                          </a:moveTo>
                          <a:lnTo>
                            <a:pt x="0" y="1509"/>
                          </a:lnTo>
                          <a:lnTo>
                            <a:pt x="2" y="1432"/>
                          </a:lnTo>
                          <a:lnTo>
                            <a:pt x="7" y="1355"/>
                          </a:lnTo>
                          <a:lnTo>
                            <a:pt x="17" y="1280"/>
                          </a:lnTo>
                          <a:lnTo>
                            <a:pt x="31" y="1205"/>
                          </a:lnTo>
                          <a:lnTo>
                            <a:pt x="47" y="1132"/>
                          </a:lnTo>
                          <a:lnTo>
                            <a:pt x="69" y="1061"/>
                          </a:lnTo>
                          <a:lnTo>
                            <a:pt x="92" y="991"/>
                          </a:lnTo>
                          <a:lnTo>
                            <a:pt x="120" y="922"/>
                          </a:lnTo>
                          <a:lnTo>
                            <a:pt x="150" y="855"/>
                          </a:lnTo>
                          <a:lnTo>
                            <a:pt x="183" y="790"/>
                          </a:lnTo>
                          <a:lnTo>
                            <a:pt x="219" y="727"/>
                          </a:lnTo>
                          <a:lnTo>
                            <a:pt x="258" y="665"/>
                          </a:lnTo>
                          <a:lnTo>
                            <a:pt x="300" y="606"/>
                          </a:lnTo>
                          <a:lnTo>
                            <a:pt x="345" y="549"/>
                          </a:lnTo>
                          <a:lnTo>
                            <a:pt x="393" y="495"/>
                          </a:lnTo>
                          <a:lnTo>
                            <a:pt x="442" y="442"/>
                          </a:lnTo>
                          <a:lnTo>
                            <a:pt x="495" y="393"/>
                          </a:lnTo>
                          <a:lnTo>
                            <a:pt x="551" y="345"/>
                          </a:lnTo>
                          <a:lnTo>
                            <a:pt x="608" y="300"/>
                          </a:lnTo>
                          <a:lnTo>
                            <a:pt x="667" y="258"/>
                          </a:lnTo>
                          <a:lnTo>
                            <a:pt x="729" y="219"/>
                          </a:lnTo>
                          <a:lnTo>
                            <a:pt x="792" y="181"/>
                          </a:lnTo>
                          <a:lnTo>
                            <a:pt x="857" y="150"/>
                          </a:lnTo>
                          <a:lnTo>
                            <a:pt x="922" y="118"/>
                          </a:lnTo>
                          <a:lnTo>
                            <a:pt x="991" y="92"/>
                          </a:lnTo>
                          <a:lnTo>
                            <a:pt x="1062" y="67"/>
                          </a:lnTo>
                          <a:lnTo>
                            <a:pt x="1134" y="47"/>
                          </a:lnTo>
                          <a:lnTo>
                            <a:pt x="1207" y="31"/>
                          </a:lnTo>
                          <a:lnTo>
                            <a:pt x="1280" y="17"/>
                          </a:lnTo>
                          <a:lnTo>
                            <a:pt x="1357" y="7"/>
                          </a:lnTo>
                          <a:lnTo>
                            <a:pt x="1432" y="2"/>
                          </a:lnTo>
                          <a:lnTo>
                            <a:pt x="1511" y="0"/>
                          </a:lnTo>
                          <a:lnTo>
                            <a:pt x="1511" y="0"/>
                          </a:lnTo>
                          <a:lnTo>
                            <a:pt x="1588" y="2"/>
                          </a:lnTo>
                          <a:lnTo>
                            <a:pt x="1665" y="7"/>
                          </a:lnTo>
                          <a:lnTo>
                            <a:pt x="1740" y="17"/>
                          </a:lnTo>
                          <a:lnTo>
                            <a:pt x="1813" y="31"/>
                          </a:lnTo>
                          <a:lnTo>
                            <a:pt x="1886" y="47"/>
                          </a:lnTo>
                          <a:lnTo>
                            <a:pt x="1959" y="67"/>
                          </a:lnTo>
                          <a:lnTo>
                            <a:pt x="2029" y="92"/>
                          </a:lnTo>
                          <a:lnTo>
                            <a:pt x="2098" y="118"/>
                          </a:lnTo>
                          <a:lnTo>
                            <a:pt x="2165" y="150"/>
                          </a:lnTo>
                          <a:lnTo>
                            <a:pt x="2228" y="181"/>
                          </a:lnTo>
                          <a:lnTo>
                            <a:pt x="2291" y="219"/>
                          </a:lnTo>
                          <a:lnTo>
                            <a:pt x="2353" y="258"/>
                          </a:lnTo>
                          <a:lnTo>
                            <a:pt x="2412" y="300"/>
                          </a:lnTo>
                          <a:lnTo>
                            <a:pt x="2469" y="345"/>
                          </a:lnTo>
                          <a:lnTo>
                            <a:pt x="2524" y="393"/>
                          </a:lnTo>
                          <a:lnTo>
                            <a:pt x="2578" y="442"/>
                          </a:lnTo>
                          <a:lnTo>
                            <a:pt x="2627" y="495"/>
                          </a:lnTo>
                          <a:lnTo>
                            <a:pt x="2675" y="549"/>
                          </a:lnTo>
                          <a:lnTo>
                            <a:pt x="2720" y="606"/>
                          </a:lnTo>
                          <a:lnTo>
                            <a:pt x="2762" y="665"/>
                          </a:lnTo>
                          <a:lnTo>
                            <a:pt x="2801" y="727"/>
                          </a:lnTo>
                          <a:lnTo>
                            <a:pt x="2837" y="790"/>
                          </a:lnTo>
                          <a:lnTo>
                            <a:pt x="2870" y="855"/>
                          </a:lnTo>
                          <a:lnTo>
                            <a:pt x="2902" y="922"/>
                          </a:lnTo>
                          <a:lnTo>
                            <a:pt x="2927" y="991"/>
                          </a:lnTo>
                          <a:lnTo>
                            <a:pt x="2951" y="1061"/>
                          </a:lnTo>
                          <a:lnTo>
                            <a:pt x="2973" y="1132"/>
                          </a:lnTo>
                          <a:lnTo>
                            <a:pt x="2989" y="1205"/>
                          </a:lnTo>
                          <a:lnTo>
                            <a:pt x="3003" y="1280"/>
                          </a:lnTo>
                          <a:lnTo>
                            <a:pt x="3012" y="1355"/>
                          </a:lnTo>
                          <a:lnTo>
                            <a:pt x="3018" y="1432"/>
                          </a:lnTo>
                          <a:lnTo>
                            <a:pt x="3020" y="1509"/>
                          </a:lnTo>
                          <a:lnTo>
                            <a:pt x="3020" y="1509"/>
                          </a:lnTo>
                          <a:lnTo>
                            <a:pt x="3018" y="1586"/>
                          </a:lnTo>
                          <a:lnTo>
                            <a:pt x="3012" y="1663"/>
                          </a:lnTo>
                          <a:lnTo>
                            <a:pt x="3003" y="1738"/>
                          </a:lnTo>
                          <a:lnTo>
                            <a:pt x="2989" y="1813"/>
                          </a:lnTo>
                          <a:lnTo>
                            <a:pt x="2973" y="1886"/>
                          </a:lnTo>
                          <a:lnTo>
                            <a:pt x="2951" y="1958"/>
                          </a:lnTo>
                          <a:lnTo>
                            <a:pt x="2927" y="2029"/>
                          </a:lnTo>
                          <a:lnTo>
                            <a:pt x="2902" y="2096"/>
                          </a:lnTo>
                          <a:lnTo>
                            <a:pt x="2870" y="2163"/>
                          </a:lnTo>
                          <a:lnTo>
                            <a:pt x="2837" y="2228"/>
                          </a:lnTo>
                          <a:lnTo>
                            <a:pt x="2801" y="2291"/>
                          </a:lnTo>
                          <a:lnTo>
                            <a:pt x="2762" y="2353"/>
                          </a:lnTo>
                          <a:lnTo>
                            <a:pt x="2720" y="2412"/>
                          </a:lnTo>
                          <a:lnTo>
                            <a:pt x="2675" y="2469"/>
                          </a:lnTo>
                          <a:lnTo>
                            <a:pt x="2627" y="2525"/>
                          </a:lnTo>
                          <a:lnTo>
                            <a:pt x="2578" y="2576"/>
                          </a:lnTo>
                          <a:lnTo>
                            <a:pt x="2524" y="2627"/>
                          </a:lnTo>
                          <a:lnTo>
                            <a:pt x="2469" y="2675"/>
                          </a:lnTo>
                          <a:lnTo>
                            <a:pt x="2412" y="2718"/>
                          </a:lnTo>
                          <a:lnTo>
                            <a:pt x="2353" y="2762"/>
                          </a:lnTo>
                          <a:lnTo>
                            <a:pt x="2291" y="2801"/>
                          </a:lnTo>
                          <a:lnTo>
                            <a:pt x="2228" y="2837"/>
                          </a:lnTo>
                          <a:lnTo>
                            <a:pt x="2165" y="2870"/>
                          </a:lnTo>
                          <a:lnTo>
                            <a:pt x="2098" y="2900"/>
                          </a:lnTo>
                          <a:lnTo>
                            <a:pt x="2029" y="2928"/>
                          </a:lnTo>
                          <a:lnTo>
                            <a:pt x="1959" y="2951"/>
                          </a:lnTo>
                          <a:lnTo>
                            <a:pt x="1886" y="2971"/>
                          </a:lnTo>
                          <a:lnTo>
                            <a:pt x="1813" y="2989"/>
                          </a:lnTo>
                          <a:lnTo>
                            <a:pt x="1740" y="3003"/>
                          </a:lnTo>
                          <a:lnTo>
                            <a:pt x="1665" y="3011"/>
                          </a:lnTo>
                          <a:lnTo>
                            <a:pt x="1588" y="3016"/>
                          </a:lnTo>
                          <a:lnTo>
                            <a:pt x="1511" y="3018"/>
                          </a:lnTo>
                          <a:lnTo>
                            <a:pt x="1511" y="3018"/>
                          </a:lnTo>
                          <a:lnTo>
                            <a:pt x="1432" y="3016"/>
                          </a:lnTo>
                          <a:lnTo>
                            <a:pt x="1357" y="3011"/>
                          </a:lnTo>
                          <a:lnTo>
                            <a:pt x="1280" y="3003"/>
                          </a:lnTo>
                          <a:lnTo>
                            <a:pt x="1207" y="2989"/>
                          </a:lnTo>
                          <a:lnTo>
                            <a:pt x="1134" y="2971"/>
                          </a:lnTo>
                          <a:lnTo>
                            <a:pt x="1062" y="2951"/>
                          </a:lnTo>
                          <a:lnTo>
                            <a:pt x="991" y="2928"/>
                          </a:lnTo>
                          <a:lnTo>
                            <a:pt x="922" y="2900"/>
                          </a:lnTo>
                          <a:lnTo>
                            <a:pt x="857" y="2870"/>
                          </a:lnTo>
                          <a:lnTo>
                            <a:pt x="792" y="2837"/>
                          </a:lnTo>
                          <a:lnTo>
                            <a:pt x="729" y="2801"/>
                          </a:lnTo>
                          <a:lnTo>
                            <a:pt x="667" y="2762"/>
                          </a:lnTo>
                          <a:lnTo>
                            <a:pt x="608" y="2718"/>
                          </a:lnTo>
                          <a:lnTo>
                            <a:pt x="551" y="2675"/>
                          </a:lnTo>
                          <a:lnTo>
                            <a:pt x="495" y="2627"/>
                          </a:lnTo>
                          <a:lnTo>
                            <a:pt x="442" y="2576"/>
                          </a:lnTo>
                          <a:lnTo>
                            <a:pt x="393" y="2525"/>
                          </a:lnTo>
                          <a:lnTo>
                            <a:pt x="345" y="2469"/>
                          </a:lnTo>
                          <a:lnTo>
                            <a:pt x="300" y="2412"/>
                          </a:lnTo>
                          <a:lnTo>
                            <a:pt x="258" y="2353"/>
                          </a:lnTo>
                          <a:lnTo>
                            <a:pt x="219" y="2291"/>
                          </a:lnTo>
                          <a:lnTo>
                            <a:pt x="183" y="2228"/>
                          </a:lnTo>
                          <a:lnTo>
                            <a:pt x="150" y="2163"/>
                          </a:lnTo>
                          <a:lnTo>
                            <a:pt x="120" y="2096"/>
                          </a:lnTo>
                          <a:lnTo>
                            <a:pt x="92" y="2029"/>
                          </a:lnTo>
                          <a:lnTo>
                            <a:pt x="69" y="1958"/>
                          </a:lnTo>
                          <a:lnTo>
                            <a:pt x="47" y="1886"/>
                          </a:lnTo>
                          <a:lnTo>
                            <a:pt x="31" y="1813"/>
                          </a:lnTo>
                          <a:lnTo>
                            <a:pt x="17" y="1738"/>
                          </a:lnTo>
                          <a:lnTo>
                            <a:pt x="7" y="1663"/>
                          </a:lnTo>
                          <a:lnTo>
                            <a:pt x="2" y="1586"/>
                          </a:lnTo>
                          <a:lnTo>
                            <a:pt x="0" y="1509"/>
                          </a:lnTo>
                          <a:lnTo>
                            <a:pt x="0" y="1509"/>
                          </a:lnTo>
                          <a:close/>
                        </a:path>
                      </a:pathLst>
                    </a:custGeom>
                    <a:solidFill>
                      <a:srgbClr val="B7B7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26" name="Freeform 315"/>
                    <p:cNvSpPr>
                      <a:spLocks/>
                    </p:cNvSpPr>
                    <p:nvPr/>
                  </p:nvSpPr>
                  <p:spPr bwMode="auto">
                    <a:xfrm>
                      <a:off x="4186238" y="1474787"/>
                      <a:ext cx="2190751" cy="2190750"/>
                    </a:xfrm>
                    <a:custGeom>
                      <a:avLst/>
                      <a:gdLst>
                        <a:gd name="T0" fmla="*/ 1310 w 2760"/>
                        <a:gd name="T1" fmla="*/ 2758 h 2758"/>
                        <a:gd name="T2" fmla="*/ 1102 w 2760"/>
                        <a:gd name="T3" fmla="*/ 2730 h 2758"/>
                        <a:gd name="T4" fmla="*/ 905 w 2760"/>
                        <a:gd name="T5" fmla="*/ 2675 h 2758"/>
                        <a:gd name="T6" fmla="*/ 723 w 2760"/>
                        <a:gd name="T7" fmla="*/ 2592 h 2758"/>
                        <a:gd name="T8" fmla="*/ 555 w 2760"/>
                        <a:gd name="T9" fmla="*/ 2485 h 2758"/>
                        <a:gd name="T10" fmla="*/ 405 w 2760"/>
                        <a:gd name="T11" fmla="*/ 2355 h 2758"/>
                        <a:gd name="T12" fmla="*/ 275 w 2760"/>
                        <a:gd name="T13" fmla="*/ 2205 h 2758"/>
                        <a:gd name="T14" fmla="*/ 168 w 2760"/>
                        <a:gd name="T15" fmla="*/ 2037 h 2758"/>
                        <a:gd name="T16" fmla="*/ 85 w 2760"/>
                        <a:gd name="T17" fmla="*/ 1853 h 2758"/>
                        <a:gd name="T18" fmla="*/ 28 w 2760"/>
                        <a:gd name="T19" fmla="*/ 1658 h 2758"/>
                        <a:gd name="T20" fmla="*/ 2 w 2760"/>
                        <a:gd name="T21" fmla="*/ 1450 h 2758"/>
                        <a:gd name="T22" fmla="*/ 2 w 2760"/>
                        <a:gd name="T23" fmla="*/ 1308 h 2758"/>
                        <a:gd name="T24" fmla="*/ 28 w 2760"/>
                        <a:gd name="T25" fmla="*/ 1100 h 2758"/>
                        <a:gd name="T26" fmla="*/ 85 w 2760"/>
                        <a:gd name="T27" fmla="*/ 905 h 2758"/>
                        <a:gd name="T28" fmla="*/ 168 w 2760"/>
                        <a:gd name="T29" fmla="*/ 721 h 2758"/>
                        <a:gd name="T30" fmla="*/ 275 w 2760"/>
                        <a:gd name="T31" fmla="*/ 553 h 2758"/>
                        <a:gd name="T32" fmla="*/ 405 w 2760"/>
                        <a:gd name="T33" fmla="*/ 403 h 2758"/>
                        <a:gd name="T34" fmla="*/ 555 w 2760"/>
                        <a:gd name="T35" fmla="*/ 275 h 2758"/>
                        <a:gd name="T36" fmla="*/ 723 w 2760"/>
                        <a:gd name="T37" fmla="*/ 166 h 2758"/>
                        <a:gd name="T38" fmla="*/ 905 w 2760"/>
                        <a:gd name="T39" fmla="*/ 83 h 2758"/>
                        <a:gd name="T40" fmla="*/ 1102 w 2760"/>
                        <a:gd name="T41" fmla="*/ 28 h 2758"/>
                        <a:gd name="T42" fmla="*/ 1310 w 2760"/>
                        <a:gd name="T43" fmla="*/ 2 h 2758"/>
                        <a:gd name="T44" fmla="*/ 1450 w 2760"/>
                        <a:gd name="T45" fmla="*/ 2 h 2758"/>
                        <a:gd name="T46" fmla="*/ 1658 w 2760"/>
                        <a:gd name="T47" fmla="*/ 28 h 2758"/>
                        <a:gd name="T48" fmla="*/ 1855 w 2760"/>
                        <a:gd name="T49" fmla="*/ 83 h 2758"/>
                        <a:gd name="T50" fmla="*/ 2037 w 2760"/>
                        <a:gd name="T51" fmla="*/ 166 h 2758"/>
                        <a:gd name="T52" fmla="*/ 2205 w 2760"/>
                        <a:gd name="T53" fmla="*/ 275 h 2758"/>
                        <a:gd name="T54" fmla="*/ 2355 w 2760"/>
                        <a:gd name="T55" fmla="*/ 403 h 2758"/>
                        <a:gd name="T56" fmla="*/ 2485 w 2760"/>
                        <a:gd name="T57" fmla="*/ 553 h 2758"/>
                        <a:gd name="T58" fmla="*/ 2592 w 2760"/>
                        <a:gd name="T59" fmla="*/ 721 h 2758"/>
                        <a:gd name="T60" fmla="*/ 2675 w 2760"/>
                        <a:gd name="T61" fmla="*/ 905 h 2758"/>
                        <a:gd name="T62" fmla="*/ 2732 w 2760"/>
                        <a:gd name="T63" fmla="*/ 1100 h 2758"/>
                        <a:gd name="T64" fmla="*/ 2758 w 2760"/>
                        <a:gd name="T65" fmla="*/ 1308 h 2758"/>
                        <a:gd name="T66" fmla="*/ 2758 w 2760"/>
                        <a:gd name="T67" fmla="*/ 1450 h 2758"/>
                        <a:gd name="T68" fmla="*/ 2732 w 2760"/>
                        <a:gd name="T69" fmla="*/ 1658 h 2758"/>
                        <a:gd name="T70" fmla="*/ 2675 w 2760"/>
                        <a:gd name="T71" fmla="*/ 1853 h 2758"/>
                        <a:gd name="T72" fmla="*/ 2592 w 2760"/>
                        <a:gd name="T73" fmla="*/ 2037 h 2758"/>
                        <a:gd name="T74" fmla="*/ 2485 w 2760"/>
                        <a:gd name="T75" fmla="*/ 2205 h 2758"/>
                        <a:gd name="T76" fmla="*/ 2355 w 2760"/>
                        <a:gd name="T77" fmla="*/ 2355 h 2758"/>
                        <a:gd name="T78" fmla="*/ 2205 w 2760"/>
                        <a:gd name="T79" fmla="*/ 2485 h 2758"/>
                        <a:gd name="T80" fmla="*/ 2037 w 2760"/>
                        <a:gd name="T81" fmla="*/ 2592 h 2758"/>
                        <a:gd name="T82" fmla="*/ 1855 w 2760"/>
                        <a:gd name="T83" fmla="*/ 2675 h 2758"/>
                        <a:gd name="T84" fmla="*/ 1658 w 2760"/>
                        <a:gd name="T85" fmla="*/ 2730 h 2758"/>
                        <a:gd name="T86" fmla="*/ 1450 w 2760"/>
                        <a:gd name="T87" fmla="*/ 2758 h 2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60" h="2758">
                          <a:moveTo>
                            <a:pt x="1381" y="2758"/>
                          </a:moveTo>
                          <a:lnTo>
                            <a:pt x="1381" y="2758"/>
                          </a:lnTo>
                          <a:lnTo>
                            <a:pt x="1310" y="2758"/>
                          </a:lnTo>
                          <a:lnTo>
                            <a:pt x="1239" y="2752"/>
                          </a:lnTo>
                          <a:lnTo>
                            <a:pt x="1170" y="2742"/>
                          </a:lnTo>
                          <a:lnTo>
                            <a:pt x="1102" y="2730"/>
                          </a:lnTo>
                          <a:lnTo>
                            <a:pt x="1035" y="2715"/>
                          </a:lnTo>
                          <a:lnTo>
                            <a:pt x="970" y="2697"/>
                          </a:lnTo>
                          <a:lnTo>
                            <a:pt x="905" y="2675"/>
                          </a:lnTo>
                          <a:lnTo>
                            <a:pt x="844" y="2651"/>
                          </a:lnTo>
                          <a:lnTo>
                            <a:pt x="782" y="2624"/>
                          </a:lnTo>
                          <a:lnTo>
                            <a:pt x="723" y="2592"/>
                          </a:lnTo>
                          <a:lnTo>
                            <a:pt x="664" y="2559"/>
                          </a:lnTo>
                          <a:lnTo>
                            <a:pt x="608" y="2523"/>
                          </a:lnTo>
                          <a:lnTo>
                            <a:pt x="555" y="2485"/>
                          </a:lnTo>
                          <a:lnTo>
                            <a:pt x="502" y="2444"/>
                          </a:lnTo>
                          <a:lnTo>
                            <a:pt x="452" y="2400"/>
                          </a:lnTo>
                          <a:lnTo>
                            <a:pt x="405" y="2355"/>
                          </a:lnTo>
                          <a:lnTo>
                            <a:pt x="360" y="2308"/>
                          </a:lnTo>
                          <a:lnTo>
                            <a:pt x="316" y="2256"/>
                          </a:lnTo>
                          <a:lnTo>
                            <a:pt x="275" y="2205"/>
                          </a:lnTo>
                          <a:lnTo>
                            <a:pt x="237" y="2152"/>
                          </a:lnTo>
                          <a:lnTo>
                            <a:pt x="200" y="2094"/>
                          </a:lnTo>
                          <a:lnTo>
                            <a:pt x="168" y="2037"/>
                          </a:lnTo>
                          <a:lnTo>
                            <a:pt x="136" y="1978"/>
                          </a:lnTo>
                          <a:lnTo>
                            <a:pt x="109" y="1916"/>
                          </a:lnTo>
                          <a:lnTo>
                            <a:pt x="85" y="1853"/>
                          </a:lnTo>
                          <a:lnTo>
                            <a:pt x="63" y="1790"/>
                          </a:lnTo>
                          <a:lnTo>
                            <a:pt x="43" y="1725"/>
                          </a:lnTo>
                          <a:lnTo>
                            <a:pt x="28" y="1658"/>
                          </a:lnTo>
                          <a:lnTo>
                            <a:pt x="16" y="1590"/>
                          </a:lnTo>
                          <a:lnTo>
                            <a:pt x="8" y="1521"/>
                          </a:lnTo>
                          <a:lnTo>
                            <a:pt x="2" y="1450"/>
                          </a:lnTo>
                          <a:lnTo>
                            <a:pt x="0" y="1379"/>
                          </a:lnTo>
                          <a:lnTo>
                            <a:pt x="0" y="1379"/>
                          </a:lnTo>
                          <a:lnTo>
                            <a:pt x="2" y="1308"/>
                          </a:lnTo>
                          <a:lnTo>
                            <a:pt x="8" y="1239"/>
                          </a:lnTo>
                          <a:lnTo>
                            <a:pt x="16" y="1170"/>
                          </a:lnTo>
                          <a:lnTo>
                            <a:pt x="28" y="1100"/>
                          </a:lnTo>
                          <a:lnTo>
                            <a:pt x="43" y="1035"/>
                          </a:lnTo>
                          <a:lnTo>
                            <a:pt x="63" y="970"/>
                          </a:lnTo>
                          <a:lnTo>
                            <a:pt x="85" y="905"/>
                          </a:lnTo>
                          <a:lnTo>
                            <a:pt x="109" y="842"/>
                          </a:lnTo>
                          <a:lnTo>
                            <a:pt x="136" y="780"/>
                          </a:lnTo>
                          <a:lnTo>
                            <a:pt x="168" y="721"/>
                          </a:lnTo>
                          <a:lnTo>
                            <a:pt x="200" y="664"/>
                          </a:lnTo>
                          <a:lnTo>
                            <a:pt x="237" y="608"/>
                          </a:lnTo>
                          <a:lnTo>
                            <a:pt x="275" y="553"/>
                          </a:lnTo>
                          <a:lnTo>
                            <a:pt x="316" y="502"/>
                          </a:lnTo>
                          <a:lnTo>
                            <a:pt x="360" y="452"/>
                          </a:lnTo>
                          <a:lnTo>
                            <a:pt x="405" y="403"/>
                          </a:lnTo>
                          <a:lnTo>
                            <a:pt x="452" y="358"/>
                          </a:lnTo>
                          <a:lnTo>
                            <a:pt x="502" y="314"/>
                          </a:lnTo>
                          <a:lnTo>
                            <a:pt x="555" y="275"/>
                          </a:lnTo>
                          <a:lnTo>
                            <a:pt x="608" y="235"/>
                          </a:lnTo>
                          <a:lnTo>
                            <a:pt x="664" y="200"/>
                          </a:lnTo>
                          <a:lnTo>
                            <a:pt x="723" y="166"/>
                          </a:lnTo>
                          <a:lnTo>
                            <a:pt x="782" y="136"/>
                          </a:lnTo>
                          <a:lnTo>
                            <a:pt x="844" y="109"/>
                          </a:lnTo>
                          <a:lnTo>
                            <a:pt x="905" y="83"/>
                          </a:lnTo>
                          <a:lnTo>
                            <a:pt x="970" y="61"/>
                          </a:lnTo>
                          <a:lnTo>
                            <a:pt x="1035" y="43"/>
                          </a:lnTo>
                          <a:lnTo>
                            <a:pt x="1102" y="28"/>
                          </a:lnTo>
                          <a:lnTo>
                            <a:pt x="1170" y="16"/>
                          </a:lnTo>
                          <a:lnTo>
                            <a:pt x="1239" y="8"/>
                          </a:lnTo>
                          <a:lnTo>
                            <a:pt x="1310" y="2"/>
                          </a:lnTo>
                          <a:lnTo>
                            <a:pt x="1381" y="0"/>
                          </a:lnTo>
                          <a:lnTo>
                            <a:pt x="1381" y="0"/>
                          </a:lnTo>
                          <a:lnTo>
                            <a:pt x="1450" y="2"/>
                          </a:lnTo>
                          <a:lnTo>
                            <a:pt x="1521" y="8"/>
                          </a:lnTo>
                          <a:lnTo>
                            <a:pt x="1590" y="16"/>
                          </a:lnTo>
                          <a:lnTo>
                            <a:pt x="1658" y="28"/>
                          </a:lnTo>
                          <a:lnTo>
                            <a:pt x="1725" y="43"/>
                          </a:lnTo>
                          <a:lnTo>
                            <a:pt x="1790" y="61"/>
                          </a:lnTo>
                          <a:lnTo>
                            <a:pt x="1855" y="83"/>
                          </a:lnTo>
                          <a:lnTo>
                            <a:pt x="1916" y="109"/>
                          </a:lnTo>
                          <a:lnTo>
                            <a:pt x="1978" y="136"/>
                          </a:lnTo>
                          <a:lnTo>
                            <a:pt x="2037" y="166"/>
                          </a:lnTo>
                          <a:lnTo>
                            <a:pt x="2096" y="200"/>
                          </a:lnTo>
                          <a:lnTo>
                            <a:pt x="2151" y="235"/>
                          </a:lnTo>
                          <a:lnTo>
                            <a:pt x="2205" y="275"/>
                          </a:lnTo>
                          <a:lnTo>
                            <a:pt x="2258" y="314"/>
                          </a:lnTo>
                          <a:lnTo>
                            <a:pt x="2308" y="358"/>
                          </a:lnTo>
                          <a:lnTo>
                            <a:pt x="2355" y="403"/>
                          </a:lnTo>
                          <a:lnTo>
                            <a:pt x="2400" y="452"/>
                          </a:lnTo>
                          <a:lnTo>
                            <a:pt x="2444" y="502"/>
                          </a:lnTo>
                          <a:lnTo>
                            <a:pt x="2485" y="553"/>
                          </a:lnTo>
                          <a:lnTo>
                            <a:pt x="2525" y="608"/>
                          </a:lnTo>
                          <a:lnTo>
                            <a:pt x="2560" y="664"/>
                          </a:lnTo>
                          <a:lnTo>
                            <a:pt x="2592" y="721"/>
                          </a:lnTo>
                          <a:lnTo>
                            <a:pt x="2624" y="780"/>
                          </a:lnTo>
                          <a:lnTo>
                            <a:pt x="2651" y="842"/>
                          </a:lnTo>
                          <a:lnTo>
                            <a:pt x="2675" y="905"/>
                          </a:lnTo>
                          <a:lnTo>
                            <a:pt x="2697" y="970"/>
                          </a:lnTo>
                          <a:lnTo>
                            <a:pt x="2716" y="1035"/>
                          </a:lnTo>
                          <a:lnTo>
                            <a:pt x="2732" y="1100"/>
                          </a:lnTo>
                          <a:lnTo>
                            <a:pt x="2744" y="1170"/>
                          </a:lnTo>
                          <a:lnTo>
                            <a:pt x="2752" y="1239"/>
                          </a:lnTo>
                          <a:lnTo>
                            <a:pt x="2758" y="1308"/>
                          </a:lnTo>
                          <a:lnTo>
                            <a:pt x="2760" y="1379"/>
                          </a:lnTo>
                          <a:lnTo>
                            <a:pt x="2760" y="1379"/>
                          </a:lnTo>
                          <a:lnTo>
                            <a:pt x="2758" y="1450"/>
                          </a:lnTo>
                          <a:lnTo>
                            <a:pt x="2752" y="1521"/>
                          </a:lnTo>
                          <a:lnTo>
                            <a:pt x="2744" y="1590"/>
                          </a:lnTo>
                          <a:lnTo>
                            <a:pt x="2732" y="1658"/>
                          </a:lnTo>
                          <a:lnTo>
                            <a:pt x="2716" y="1725"/>
                          </a:lnTo>
                          <a:lnTo>
                            <a:pt x="2697" y="1790"/>
                          </a:lnTo>
                          <a:lnTo>
                            <a:pt x="2675" y="1853"/>
                          </a:lnTo>
                          <a:lnTo>
                            <a:pt x="2651" y="1916"/>
                          </a:lnTo>
                          <a:lnTo>
                            <a:pt x="2624" y="1978"/>
                          </a:lnTo>
                          <a:lnTo>
                            <a:pt x="2592" y="2037"/>
                          </a:lnTo>
                          <a:lnTo>
                            <a:pt x="2560" y="2094"/>
                          </a:lnTo>
                          <a:lnTo>
                            <a:pt x="2525" y="2152"/>
                          </a:lnTo>
                          <a:lnTo>
                            <a:pt x="2485" y="2205"/>
                          </a:lnTo>
                          <a:lnTo>
                            <a:pt x="2444" y="2256"/>
                          </a:lnTo>
                          <a:lnTo>
                            <a:pt x="2400" y="2308"/>
                          </a:lnTo>
                          <a:lnTo>
                            <a:pt x="2355" y="2355"/>
                          </a:lnTo>
                          <a:lnTo>
                            <a:pt x="2308" y="2400"/>
                          </a:lnTo>
                          <a:lnTo>
                            <a:pt x="2258" y="2444"/>
                          </a:lnTo>
                          <a:lnTo>
                            <a:pt x="2205" y="2485"/>
                          </a:lnTo>
                          <a:lnTo>
                            <a:pt x="2151" y="2523"/>
                          </a:lnTo>
                          <a:lnTo>
                            <a:pt x="2096" y="2559"/>
                          </a:lnTo>
                          <a:lnTo>
                            <a:pt x="2037" y="2592"/>
                          </a:lnTo>
                          <a:lnTo>
                            <a:pt x="1978" y="2624"/>
                          </a:lnTo>
                          <a:lnTo>
                            <a:pt x="1916" y="2651"/>
                          </a:lnTo>
                          <a:lnTo>
                            <a:pt x="1855" y="2675"/>
                          </a:lnTo>
                          <a:lnTo>
                            <a:pt x="1790" y="2697"/>
                          </a:lnTo>
                          <a:lnTo>
                            <a:pt x="1725" y="2715"/>
                          </a:lnTo>
                          <a:lnTo>
                            <a:pt x="1658" y="2730"/>
                          </a:lnTo>
                          <a:lnTo>
                            <a:pt x="1590" y="2742"/>
                          </a:lnTo>
                          <a:lnTo>
                            <a:pt x="1521" y="2752"/>
                          </a:lnTo>
                          <a:lnTo>
                            <a:pt x="1450" y="2758"/>
                          </a:lnTo>
                          <a:lnTo>
                            <a:pt x="1381" y="2758"/>
                          </a:lnTo>
                          <a:lnTo>
                            <a:pt x="1381" y="2758"/>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27" name="Freeform 316"/>
                    <p:cNvSpPr>
                      <a:spLocks/>
                    </p:cNvSpPr>
                    <p:nvPr/>
                  </p:nvSpPr>
                  <p:spPr bwMode="auto">
                    <a:xfrm>
                      <a:off x="4416423" y="1704974"/>
                      <a:ext cx="1731961" cy="1730375"/>
                    </a:xfrm>
                    <a:custGeom>
                      <a:avLst/>
                      <a:gdLst>
                        <a:gd name="T0" fmla="*/ 1036 w 2184"/>
                        <a:gd name="T1" fmla="*/ 2182 h 2182"/>
                        <a:gd name="T2" fmla="*/ 872 w 2184"/>
                        <a:gd name="T3" fmla="*/ 2160 h 2182"/>
                        <a:gd name="T4" fmla="*/ 718 w 2184"/>
                        <a:gd name="T5" fmla="*/ 2116 h 2182"/>
                        <a:gd name="T6" fmla="*/ 571 w 2184"/>
                        <a:gd name="T7" fmla="*/ 2051 h 2182"/>
                        <a:gd name="T8" fmla="*/ 439 w 2184"/>
                        <a:gd name="T9" fmla="*/ 1966 h 2182"/>
                        <a:gd name="T10" fmla="*/ 320 w 2184"/>
                        <a:gd name="T11" fmla="*/ 1864 h 2182"/>
                        <a:gd name="T12" fmla="*/ 218 w 2184"/>
                        <a:gd name="T13" fmla="*/ 1745 h 2182"/>
                        <a:gd name="T14" fmla="*/ 133 w 2184"/>
                        <a:gd name="T15" fmla="*/ 1611 h 2182"/>
                        <a:gd name="T16" fmla="*/ 68 w 2184"/>
                        <a:gd name="T17" fmla="*/ 1466 h 2182"/>
                        <a:gd name="T18" fmla="*/ 24 w 2184"/>
                        <a:gd name="T19" fmla="*/ 1310 h 2182"/>
                        <a:gd name="T20" fmla="*/ 2 w 2184"/>
                        <a:gd name="T21" fmla="*/ 1148 h 2182"/>
                        <a:gd name="T22" fmla="*/ 2 w 2184"/>
                        <a:gd name="T23" fmla="*/ 1036 h 2182"/>
                        <a:gd name="T24" fmla="*/ 24 w 2184"/>
                        <a:gd name="T25" fmla="*/ 872 h 2182"/>
                        <a:gd name="T26" fmla="*/ 68 w 2184"/>
                        <a:gd name="T27" fmla="*/ 716 h 2182"/>
                        <a:gd name="T28" fmla="*/ 133 w 2184"/>
                        <a:gd name="T29" fmla="*/ 571 h 2182"/>
                        <a:gd name="T30" fmla="*/ 218 w 2184"/>
                        <a:gd name="T31" fmla="*/ 439 h 2182"/>
                        <a:gd name="T32" fmla="*/ 320 w 2184"/>
                        <a:gd name="T33" fmla="*/ 320 h 2182"/>
                        <a:gd name="T34" fmla="*/ 439 w 2184"/>
                        <a:gd name="T35" fmla="*/ 218 h 2182"/>
                        <a:gd name="T36" fmla="*/ 571 w 2184"/>
                        <a:gd name="T37" fmla="*/ 133 h 2182"/>
                        <a:gd name="T38" fmla="*/ 718 w 2184"/>
                        <a:gd name="T39" fmla="*/ 68 h 2182"/>
                        <a:gd name="T40" fmla="*/ 872 w 2184"/>
                        <a:gd name="T41" fmla="*/ 22 h 2182"/>
                        <a:gd name="T42" fmla="*/ 1036 w 2184"/>
                        <a:gd name="T43" fmla="*/ 2 h 2182"/>
                        <a:gd name="T44" fmla="*/ 1148 w 2184"/>
                        <a:gd name="T45" fmla="*/ 2 h 2182"/>
                        <a:gd name="T46" fmla="*/ 1312 w 2184"/>
                        <a:gd name="T47" fmla="*/ 22 h 2182"/>
                        <a:gd name="T48" fmla="*/ 1466 w 2184"/>
                        <a:gd name="T49" fmla="*/ 68 h 2182"/>
                        <a:gd name="T50" fmla="*/ 1613 w 2184"/>
                        <a:gd name="T51" fmla="*/ 133 h 2182"/>
                        <a:gd name="T52" fmla="*/ 1745 w 2184"/>
                        <a:gd name="T53" fmla="*/ 218 h 2182"/>
                        <a:gd name="T54" fmla="*/ 1863 w 2184"/>
                        <a:gd name="T55" fmla="*/ 320 h 2182"/>
                        <a:gd name="T56" fmla="*/ 1966 w 2184"/>
                        <a:gd name="T57" fmla="*/ 439 h 2182"/>
                        <a:gd name="T58" fmla="*/ 2051 w 2184"/>
                        <a:gd name="T59" fmla="*/ 571 h 2182"/>
                        <a:gd name="T60" fmla="*/ 2116 w 2184"/>
                        <a:gd name="T61" fmla="*/ 716 h 2182"/>
                        <a:gd name="T62" fmla="*/ 2160 w 2184"/>
                        <a:gd name="T63" fmla="*/ 872 h 2182"/>
                        <a:gd name="T64" fmla="*/ 2182 w 2184"/>
                        <a:gd name="T65" fmla="*/ 1036 h 2182"/>
                        <a:gd name="T66" fmla="*/ 2182 w 2184"/>
                        <a:gd name="T67" fmla="*/ 1148 h 2182"/>
                        <a:gd name="T68" fmla="*/ 2160 w 2184"/>
                        <a:gd name="T69" fmla="*/ 1310 h 2182"/>
                        <a:gd name="T70" fmla="*/ 2116 w 2184"/>
                        <a:gd name="T71" fmla="*/ 1466 h 2182"/>
                        <a:gd name="T72" fmla="*/ 2051 w 2184"/>
                        <a:gd name="T73" fmla="*/ 1611 h 2182"/>
                        <a:gd name="T74" fmla="*/ 1966 w 2184"/>
                        <a:gd name="T75" fmla="*/ 1745 h 2182"/>
                        <a:gd name="T76" fmla="*/ 1863 w 2184"/>
                        <a:gd name="T77" fmla="*/ 1864 h 2182"/>
                        <a:gd name="T78" fmla="*/ 1745 w 2184"/>
                        <a:gd name="T79" fmla="*/ 1966 h 2182"/>
                        <a:gd name="T80" fmla="*/ 1613 w 2184"/>
                        <a:gd name="T81" fmla="*/ 2051 h 2182"/>
                        <a:gd name="T82" fmla="*/ 1466 w 2184"/>
                        <a:gd name="T83" fmla="*/ 2116 h 2182"/>
                        <a:gd name="T84" fmla="*/ 1312 w 2184"/>
                        <a:gd name="T85" fmla="*/ 2160 h 2182"/>
                        <a:gd name="T86" fmla="*/ 1148 w 2184"/>
                        <a:gd name="T87" fmla="*/ 2182 h 2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84" h="2182">
                          <a:moveTo>
                            <a:pt x="1093" y="2182"/>
                          </a:moveTo>
                          <a:lnTo>
                            <a:pt x="1093" y="2182"/>
                          </a:lnTo>
                          <a:lnTo>
                            <a:pt x="1036" y="2182"/>
                          </a:lnTo>
                          <a:lnTo>
                            <a:pt x="980" y="2178"/>
                          </a:lnTo>
                          <a:lnTo>
                            <a:pt x="925" y="2170"/>
                          </a:lnTo>
                          <a:lnTo>
                            <a:pt x="872" y="2160"/>
                          </a:lnTo>
                          <a:lnTo>
                            <a:pt x="820" y="2148"/>
                          </a:lnTo>
                          <a:lnTo>
                            <a:pt x="767" y="2134"/>
                          </a:lnTo>
                          <a:lnTo>
                            <a:pt x="718" y="2116"/>
                          </a:lnTo>
                          <a:lnTo>
                            <a:pt x="668" y="2097"/>
                          </a:lnTo>
                          <a:lnTo>
                            <a:pt x="619" y="2075"/>
                          </a:lnTo>
                          <a:lnTo>
                            <a:pt x="571" y="2051"/>
                          </a:lnTo>
                          <a:lnTo>
                            <a:pt x="526" y="2024"/>
                          </a:lnTo>
                          <a:lnTo>
                            <a:pt x="482" y="1996"/>
                          </a:lnTo>
                          <a:lnTo>
                            <a:pt x="439" y="1966"/>
                          </a:lnTo>
                          <a:lnTo>
                            <a:pt x="398" y="1933"/>
                          </a:lnTo>
                          <a:lnTo>
                            <a:pt x="358" y="1899"/>
                          </a:lnTo>
                          <a:lnTo>
                            <a:pt x="320" y="1864"/>
                          </a:lnTo>
                          <a:lnTo>
                            <a:pt x="285" y="1824"/>
                          </a:lnTo>
                          <a:lnTo>
                            <a:pt x="249" y="1785"/>
                          </a:lnTo>
                          <a:lnTo>
                            <a:pt x="218" y="1745"/>
                          </a:lnTo>
                          <a:lnTo>
                            <a:pt x="188" y="1702"/>
                          </a:lnTo>
                          <a:lnTo>
                            <a:pt x="158" y="1656"/>
                          </a:lnTo>
                          <a:lnTo>
                            <a:pt x="133" y="1611"/>
                          </a:lnTo>
                          <a:lnTo>
                            <a:pt x="109" y="1565"/>
                          </a:lnTo>
                          <a:lnTo>
                            <a:pt x="87" y="1516"/>
                          </a:lnTo>
                          <a:lnTo>
                            <a:pt x="68" y="1466"/>
                          </a:lnTo>
                          <a:lnTo>
                            <a:pt x="50" y="1415"/>
                          </a:lnTo>
                          <a:lnTo>
                            <a:pt x="36" y="1364"/>
                          </a:lnTo>
                          <a:lnTo>
                            <a:pt x="24" y="1310"/>
                          </a:lnTo>
                          <a:lnTo>
                            <a:pt x="14" y="1257"/>
                          </a:lnTo>
                          <a:lnTo>
                            <a:pt x="6" y="1204"/>
                          </a:lnTo>
                          <a:lnTo>
                            <a:pt x="2" y="1148"/>
                          </a:lnTo>
                          <a:lnTo>
                            <a:pt x="0" y="1091"/>
                          </a:lnTo>
                          <a:lnTo>
                            <a:pt x="0" y="1091"/>
                          </a:lnTo>
                          <a:lnTo>
                            <a:pt x="2" y="1036"/>
                          </a:lnTo>
                          <a:lnTo>
                            <a:pt x="6" y="980"/>
                          </a:lnTo>
                          <a:lnTo>
                            <a:pt x="14" y="925"/>
                          </a:lnTo>
                          <a:lnTo>
                            <a:pt x="24" y="872"/>
                          </a:lnTo>
                          <a:lnTo>
                            <a:pt x="36" y="818"/>
                          </a:lnTo>
                          <a:lnTo>
                            <a:pt x="50" y="767"/>
                          </a:lnTo>
                          <a:lnTo>
                            <a:pt x="68" y="716"/>
                          </a:lnTo>
                          <a:lnTo>
                            <a:pt x="87" y="666"/>
                          </a:lnTo>
                          <a:lnTo>
                            <a:pt x="109" y="619"/>
                          </a:lnTo>
                          <a:lnTo>
                            <a:pt x="133" y="571"/>
                          </a:lnTo>
                          <a:lnTo>
                            <a:pt x="158" y="526"/>
                          </a:lnTo>
                          <a:lnTo>
                            <a:pt x="188" y="481"/>
                          </a:lnTo>
                          <a:lnTo>
                            <a:pt x="218" y="439"/>
                          </a:lnTo>
                          <a:lnTo>
                            <a:pt x="249" y="398"/>
                          </a:lnTo>
                          <a:lnTo>
                            <a:pt x="285" y="358"/>
                          </a:lnTo>
                          <a:lnTo>
                            <a:pt x="320" y="320"/>
                          </a:lnTo>
                          <a:lnTo>
                            <a:pt x="358" y="283"/>
                          </a:lnTo>
                          <a:lnTo>
                            <a:pt x="398" y="249"/>
                          </a:lnTo>
                          <a:lnTo>
                            <a:pt x="439" y="218"/>
                          </a:lnTo>
                          <a:lnTo>
                            <a:pt x="482" y="186"/>
                          </a:lnTo>
                          <a:lnTo>
                            <a:pt x="526" y="158"/>
                          </a:lnTo>
                          <a:lnTo>
                            <a:pt x="571" y="133"/>
                          </a:lnTo>
                          <a:lnTo>
                            <a:pt x="619" y="107"/>
                          </a:lnTo>
                          <a:lnTo>
                            <a:pt x="668" y="85"/>
                          </a:lnTo>
                          <a:lnTo>
                            <a:pt x="718" y="68"/>
                          </a:lnTo>
                          <a:lnTo>
                            <a:pt x="767" y="50"/>
                          </a:lnTo>
                          <a:lnTo>
                            <a:pt x="820" y="34"/>
                          </a:lnTo>
                          <a:lnTo>
                            <a:pt x="872" y="22"/>
                          </a:lnTo>
                          <a:lnTo>
                            <a:pt x="925" y="12"/>
                          </a:lnTo>
                          <a:lnTo>
                            <a:pt x="980" y="6"/>
                          </a:lnTo>
                          <a:lnTo>
                            <a:pt x="1036" y="2"/>
                          </a:lnTo>
                          <a:lnTo>
                            <a:pt x="1093" y="0"/>
                          </a:lnTo>
                          <a:lnTo>
                            <a:pt x="1093" y="0"/>
                          </a:lnTo>
                          <a:lnTo>
                            <a:pt x="1148" y="2"/>
                          </a:lnTo>
                          <a:lnTo>
                            <a:pt x="1204" y="6"/>
                          </a:lnTo>
                          <a:lnTo>
                            <a:pt x="1259" y="12"/>
                          </a:lnTo>
                          <a:lnTo>
                            <a:pt x="1312" y="22"/>
                          </a:lnTo>
                          <a:lnTo>
                            <a:pt x="1366" y="34"/>
                          </a:lnTo>
                          <a:lnTo>
                            <a:pt x="1417" y="50"/>
                          </a:lnTo>
                          <a:lnTo>
                            <a:pt x="1466" y="68"/>
                          </a:lnTo>
                          <a:lnTo>
                            <a:pt x="1516" y="85"/>
                          </a:lnTo>
                          <a:lnTo>
                            <a:pt x="1565" y="107"/>
                          </a:lnTo>
                          <a:lnTo>
                            <a:pt x="1613" y="133"/>
                          </a:lnTo>
                          <a:lnTo>
                            <a:pt x="1658" y="158"/>
                          </a:lnTo>
                          <a:lnTo>
                            <a:pt x="1701" y="186"/>
                          </a:lnTo>
                          <a:lnTo>
                            <a:pt x="1745" y="218"/>
                          </a:lnTo>
                          <a:lnTo>
                            <a:pt x="1786" y="249"/>
                          </a:lnTo>
                          <a:lnTo>
                            <a:pt x="1826" y="283"/>
                          </a:lnTo>
                          <a:lnTo>
                            <a:pt x="1863" y="320"/>
                          </a:lnTo>
                          <a:lnTo>
                            <a:pt x="1899" y="358"/>
                          </a:lnTo>
                          <a:lnTo>
                            <a:pt x="1935" y="398"/>
                          </a:lnTo>
                          <a:lnTo>
                            <a:pt x="1966" y="439"/>
                          </a:lnTo>
                          <a:lnTo>
                            <a:pt x="1996" y="481"/>
                          </a:lnTo>
                          <a:lnTo>
                            <a:pt x="2025" y="526"/>
                          </a:lnTo>
                          <a:lnTo>
                            <a:pt x="2051" y="571"/>
                          </a:lnTo>
                          <a:lnTo>
                            <a:pt x="2075" y="619"/>
                          </a:lnTo>
                          <a:lnTo>
                            <a:pt x="2097" y="666"/>
                          </a:lnTo>
                          <a:lnTo>
                            <a:pt x="2116" y="716"/>
                          </a:lnTo>
                          <a:lnTo>
                            <a:pt x="2134" y="767"/>
                          </a:lnTo>
                          <a:lnTo>
                            <a:pt x="2148" y="818"/>
                          </a:lnTo>
                          <a:lnTo>
                            <a:pt x="2160" y="872"/>
                          </a:lnTo>
                          <a:lnTo>
                            <a:pt x="2170" y="925"/>
                          </a:lnTo>
                          <a:lnTo>
                            <a:pt x="2178" y="980"/>
                          </a:lnTo>
                          <a:lnTo>
                            <a:pt x="2182" y="1036"/>
                          </a:lnTo>
                          <a:lnTo>
                            <a:pt x="2184" y="1091"/>
                          </a:lnTo>
                          <a:lnTo>
                            <a:pt x="2184" y="1091"/>
                          </a:lnTo>
                          <a:lnTo>
                            <a:pt x="2182" y="1148"/>
                          </a:lnTo>
                          <a:lnTo>
                            <a:pt x="2178" y="1204"/>
                          </a:lnTo>
                          <a:lnTo>
                            <a:pt x="2170" y="1257"/>
                          </a:lnTo>
                          <a:lnTo>
                            <a:pt x="2160" y="1310"/>
                          </a:lnTo>
                          <a:lnTo>
                            <a:pt x="2148" y="1364"/>
                          </a:lnTo>
                          <a:lnTo>
                            <a:pt x="2134" y="1415"/>
                          </a:lnTo>
                          <a:lnTo>
                            <a:pt x="2116" y="1466"/>
                          </a:lnTo>
                          <a:lnTo>
                            <a:pt x="2097" y="1516"/>
                          </a:lnTo>
                          <a:lnTo>
                            <a:pt x="2075" y="1565"/>
                          </a:lnTo>
                          <a:lnTo>
                            <a:pt x="2051" y="1611"/>
                          </a:lnTo>
                          <a:lnTo>
                            <a:pt x="2025" y="1656"/>
                          </a:lnTo>
                          <a:lnTo>
                            <a:pt x="1996" y="1702"/>
                          </a:lnTo>
                          <a:lnTo>
                            <a:pt x="1966" y="1745"/>
                          </a:lnTo>
                          <a:lnTo>
                            <a:pt x="1935" y="1785"/>
                          </a:lnTo>
                          <a:lnTo>
                            <a:pt x="1899" y="1824"/>
                          </a:lnTo>
                          <a:lnTo>
                            <a:pt x="1863" y="1864"/>
                          </a:lnTo>
                          <a:lnTo>
                            <a:pt x="1826" y="1899"/>
                          </a:lnTo>
                          <a:lnTo>
                            <a:pt x="1786" y="1933"/>
                          </a:lnTo>
                          <a:lnTo>
                            <a:pt x="1745" y="1966"/>
                          </a:lnTo>
                          <a:lnTo>
                            <a:pt x="1701" y="1996"/>
                          </a:lnTo>
                          <a:lnTo>
                            <a:pt x="1658" y="2024"/>
                          </a:lnTo>
                          <a:lnTo>
                            <a:pt x="1613" y="2051"/>
                          </a:lnTo>
                          <a:lnTo>
                            <a:pt x="1565" y="2075"/>
                          </a:lnTo>
                          <a:lnTo>
                            <a:pt x="1516" y="2097"/>
                          </a:lnTo>
                          <a:lnTo>
                            <a:pt x="1466" y="2116"/>
                          </a:lnTo>
                          <a:lnTo>
                            <a:pt x="1417" y="2134"/>
                          </a:lnTo>
                          <a:lnTo>
                            <a:pt x="1366" y="2148"/>
                          </a:lnTo>
                          <a:lnTo>
                            <a:pt x="1312" y="2160"/>
                          </a:lnTo>
                          <a:lnTo>
                            <a:pt x="1259" y="2170"/>
                          </a:lnTo>
                          <a:lnTo>
                            <a:pt x="1204" y="2178"/>
                          </a:lnTo>
                          <a:lnTo>
                            <a:pt x="1148" y="2182"/>
                          </a:lnTo>
                          <a:lnTo>
                            <a:pt x="1093" y="2182"/>
                          </a:lnTo>
                          <a:lnTo>
                            <a:pt x="1093" y="2182"/>
                          </a:lnTo>
                          <a:close/>
                        </a:path>
                      </a:pathLst>
                    </a:custGeom>
                    <a:solidFill>
                      <a:srgbClr val="6DCF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28" name="Freeform 317"/>
                    <p:cNvSpPr>
                      <a:spLocks/>
                    </p:cNvSpPr>
                    <p:nvPr/>
                  </p:nvSpPr>
                  <p:spPr bwMode="auto">
                    <a:xfrm>
                      <a:off x="6221413" y="2527299"/>
                      <a:ext cx="84138" cy="85726"/>
                    </a:xfrm>
                    <a:custGeom>
                      <a:avLst/>
                      <a:gdLst>
                        <a:gd name="T0" fmla="*/ 54 w 107"/>
                        <a:gd name="T1" fmla="*/ 106 h 106"/>
                        <a:gd name="T2" fmla="*/ 54 w 107"/>
                        <a:gd name="T3" fmla="*/ 106 h 106"/>
                        <a:gd name="T4" fmla="*/ 44 w 107"/>
                        <a:gd name="T5" fmla="*/ 104 h 106"/>
                        <a:gd name="T6" fmla="*/ 34 w 107"/>
                        <a:gd name="T7" fmla="*/ 102 h 106"/>
                        <a:gd name="T8" fmla="*/ 24 w 107"/>
                        <a:gd name="T9" fmla="*/ 96 h 106"/>
                        <a:gd name="T10" fmla="*/ 16 w 107"/>
                        <a:gd name="T11" fmla="*/ 91 h 106"/>
                        <a:gd name="T12" fmla="*/ 10 w 107"/>
                        <a:gd name="T13" fmla="*/ 83 h 106"/>
                        <a:gd name="T14" fmla="*/ 4 w 107"/>
                        <a:gd name="T15" fmla="*/ 75 h 106"/>
                        <a:gd name="T16" fmla="*/ 2 w 107"/>
                        <a:gd name="T17" fmla="*/ 65 h 106"/>
                        <a:gd name="T18" fmla="*/ 0 w 107"/>
                        <a:gd name="T19" fmla="*/ 53 h 106"/>
                        <a:gd name="T20" fmla="*/ 0 w 107"/>
                        <a:gd name="T21" fmla="*/ 53 h 106"/>
                        <a:gd name="T22" fmla="*/ 2 w 107"/>
                        <a:gd name="T23" fmla="*/ 43 h 106"/>
                        <a:gd name="T24" fmla="*/ 4 w 107"/>
                        <a:gd name="T25" fmla="*/ 33 h 106"/>
                        <a:gd name="T26" fmla="*/ 10 w 107"/>
                        <a:gd name="T27" fmla="*/ 23 h 106"/>
                        <a:gd name="T28" fmla="*/ 16 w 107"/>
                        <a:gd name="T29" fmla="*/ 15 h 106"/>
                        <a:gd name="T30" fmla="*/ 24 w 107"/>
                        <a:gd name="T31" fmla="*/ 10 h 106"/>
                        <a:gd name="T32" fmla="*/ 34 w 107"/>
                        <a:gd name="T33" fmla="*/ 6 h 106"/>
                        <a:gd name="T34" fmla="*/ 44 w 107"/>
                        <a:gd name="T35" fmla="*/ 2 h 106"/>
                        <a:gd name="T36" fmla="*/ 54 w 107"/>
                        <a:gd name="T37" fmla="*/ 0 h 106"/>
                        <a:gd name="T38" fmla="*/ 54 w 107"/>
                        <a:gd name="T39" fmla="*/ 0 h 106"/>
                        <a:gd name="T40" fmla="*/ 64 w 107"/>
                        <a:gd name="T41" fmla="*/ 2 h 106"/>
                        <a:gd name="T42" fmla="*/ 73 w 107"/>
                        <a:gd name="T43" fmla="*/ 6 h 106"/>
                        <a:gd name="T44" fmla="*/ 83 w 107"/>
                        <a:gd name="T45" fmla="*/ 10 h 106"/>
                        <a:gd name="T46" fmla="*/ 91 w 107"/>
                        <a:gd name="T47" fmla="*/ 15 h 106"/>
                        <a:gd name="T48" fmla="*/ 97 w 107"/>
                        <a:gd name="T49" fmla="*/ 23 h 106"/>
                        <a:gd name="T50" fmla="*/ 103 w 107"/>
                        <a:gd name="T51" fmla="*/ 33 h 106"/>
                        <a:gd name="T52" fmla="*/ 105 w 107"/>
                        <a:gd name="T53" fmla="*/ 43 h 106"/>
                        <a:gd name="T54" fmla="*/ 107 w 107"/>
                        <a:gd name="T55" fmla="*/ 53 h 106"/>
                        <a:gd name="T56" fmla="*/ 107 w 107"/>
                        <a:gd name="T57" fmla="*/ 53 h 106"/>
                        <a:gd name="T58" fmla="*/ 105 w 107"/>
                        <a:gd name="T59" fmla="*/ 65 h 106"/>
                        <a:gd name="T60" fmla="*/ 103 w 107"/>
                        <a:gd name="T61" fmla="*/ 75 h 106"/>
                        <a:gd name="T62" fmla="*/ 97 w 107"/>
                        <a:gd name="T63" fmla="*/ 83 h 106"/>
                        <a:gd name="T64" fmla="*/ 91 w 107"/>
                        <a:gd name="T65" fmla="*/ 91 h 106"/>
                        <a:gd name="T66" fmla="*/ 83 w 107"/>
                        <a:gd name="T67" fmla="*/ 96 h 106"/>
                        <a:gd name="T68" fmla="*/ 73 w 107"/>
                        <a:gd name="T69" fmla="*/ 102 h 106"/>
                        <a:gd name="T70" fmla="*/ 64 w 107"/>
                        <a:gd name="T71" fmla="*/ 104 h 106"/>
                        <a:gd name="T72" fmla="*/ 54 w 107"/>
                        <a:gd name="T73" fmla="*/ 106 h 106"/>
                        <a:gd name="T74" fmla="*/ 54 w 107"/>
                        <a:gd name="T75"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6">
                          <a:moveTo>
                            <a:pt x="54" y="106"/>
                          </a:moveTo>
                          <a:lnTo>
                            <a:pt x="54" y="106"/>
                          </a:lnTo>
                          <a:lnTo>
                            <a:pt x="44" y="104"/>
                          </a:lnTo>
                          <a:lnTo>
                            <a:pt x="34" y="102"/>
                          </a:lnTo>
                          <a:lnTo>
                            <a:pt x="24" y="96"/>
                          </a:lnTo>
                          <a:lnTo>
                            <a:pt x="16" y="91"/>
                          </a:lnTo>
                          <a:lnTo>
                            <a:pt x="10" y="83"/>
                          </a:lnTo>
                          <a:lnTo>
                            <a:pt x="4" y="75"/>
                          </a:lnTo>
                          <a:lnTo>
                            <a:pt x="2" y="65"/>
                          </a:lnTo>
                          <a:lnTo>
                            <a:pt x="0" y="53"/>
                          </a:lnTo>
                          <a:lnTo>
                            <a:pt x="0" y="53"/>
                          </a:lnTo>
                          <a:lnTo>
                            <a:pt x="2" y="43"/>
                          </a:lnTo>
                          <a:lnTo>
                            <a:pt x="4" y="33"/>
                          </a:lnTo>
                          <a:lnTo>
                            <a:pt x="10" y="23"/>
                          </a:lnTo>
                          <a:lnTo>
                            <a:pt x="16" y="15"/>
                          </a:lnTo>
                          <a:lnTo>
                            <a:pt x="24" y="10"/>
                          </a:lnTo>
                          <a:lnTo>
                            <a:pt x="34" y="6"/>
                          </a:lnTo>
                          <a:lnTo>
                            <a:pt x="44" y="2"/>
                          </a:lnTo>
                          <a:lnTo>
                            <a:pt x="54" y="0"/>
                          </a:lnTo>
                          <a:lnTo>
                            <a:pt x="54" y="0"/>
                          </a:lnTo>
                          <a:lnTo>
                            <a:pt x="64" y="2"/>
                          </a:lnTo>
                          <a:lnTo>
                            <a:pt x="73" y="6"/>
                          </a:lnTo>
                          <a:lnTo>
                            <a:pt x="83" y="10"/>
                          </a:lnTo>
                          <a:lnTo>
                            <a:pt x="91" y="15"/>
                          </a:lnTo>
                          <a:lnTo>
                            <a:pt x="97" y="23"/>
                          </a:lnTo>
                          <a:lnTo>
                            <a:pt x="103" y="33"/>
                          </a:lnTo>
                          <a:lnTo>
                            <a:pt x="105" y="43"/>
                          </a:lnTo>
                          <a:lnTo>
                            <a:pt x="107" y="53"/>
                          </a:lnTo>
                          <a:lnTo>
                            <a:pt x="107" y="53"/>
                          </a:lnTo>
                          <a:lnTo>
                            <a:pt x="105" y="65"/>
                          </a:lnTo>
                          <a:lnTo>
                            <a:pt x="103" y="75"/>
                          </a:lnTo>
                          <a:lnTo>
                            <a:pt x="97" y="83"/>
                          </a:lnTo>
                          <a:lnTo>
                            <a:pt x="91" y="91"/>
                          </a:lnTo>
                          <a:lnTo>
                            <a:pt x="83" y="96"/>
                          </a:lnTo>
                          <a:lnTo>
                            <a:pt x="73" y="102"/>
                          </a:lnTo>
                          <a:lnTo>
                            <a:pt x="64" y="104"/>
                          </a:lnTo>
                          <a:lnTo>
                            <a:pt x="54" y="106"/>
                          </a:lnTo>
                          <a:lnTo>
                            <a:pt x="54" y="10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29" name="Freeform 318"/>
                    <p:cNvSpPr>
                      <a:spLocks/>
                    </p:cNvSpPr>
                    <p:nvPr/>
                  </p:nvSpPr>
                  <p:spPr bwMode="auto">
                    <a:xfrm>
                      <a:off x="4259261" y="2527299"/>
                      <a:ext cx="84138" cy="85726"/>
                    </a:xfrm>
                    <a:custGeom>
                      <a:avLst/>
                      <a:gdLst>
                        <a:gd name="T0" fmla="*/ 53 w 107"/>
                        <a:gd name="T1" fmla="*/ 106 h 106"/>
                        <a:gd name="T2" fmla="*/ 53 w 107"/>
                        <a:gd name="T3" fmla="*/ 106 h 106"/>
                        <a:gd name="T4" fmla="*/ 43 w 107"/>
                        <a:gd name="T5" fmla="*/ 104 h 106"/>
                        <a:gd name="T6" fmla="*/ 33 w 107"/>
                        <a:gd name="T7" fmla="*/ 102 h 106"/>
                        <a:gd name="T8" fmla="*/ 24 w 107"/>
                        <a:gd name="T9" fmla="*/ 96 h 106"/>
                        <a:gd name="T10" fmla="*/ 16 w 107"/>
                        <a:gd name="T11" fmla="*/ 91 h 106"/>
                        <a:gd name="T12" fmla="*/ 10 w 107"/>
                        <a:gd name="T13" fmla="*/ 83 h 106"/>
                        <a:gd name="T14" fmla="*/ 4 w 107"/>
                        <a:gd name="T15" fmla="*/ 75 h 106"/>
                        <a:gd name="T16" fmla="*/ 2 w 107"/>
                        <a:gd name="T17" fmla="*/ 65 h 106"/>
                        <a:gd name="T18" fmla="*/ 0 w 107"/>
                        <a:gd name="T19" fmla="*/ 53 h 106"/>
                        <a:gd name="T20" fmla="*/ 0 w 107"/>
                        <a:gd name="T21" fmla="*/ 53 h 106"/>
                        <a:gd name="T22" fmla="*/ 2 w 107"/>
                        <a:gd name="T23" fmla="*/ 43 h 106"/>
                        <a:gd name="T24" fmla="*/ 4 w 107"/>
                        <a:gd name="T25" fmla="*/ 33 h 106"/>
                        <a:gd name="T26" fmla="*/ 10 w 107"/>
                        <a:gd name="T27" fmla="*/ 23 h 106"/>
                        <a:gd name="T28" fmla="*/ 16 w 107"/>
                        <a:gd name="T29" fmla="*/ 15 h 106"/>
                        <a:gd name="T30" fmla="*/ 24 w 107"/>
                        <a:gd name="T31" fmla="*/ 10 h 106"/>
                        <a:gd name="T32" fmla="*/ 33 w 107"/>
                        <a:gd name="T33" fmla="*/ 6 h 106"/>
                        <a:gd name="T34" fmla="*/ 43 w 107"/>
                        <a:gd name="T35" fmla="*/ 2 h 106"/>
                        <a:gd name="T36" fmla="*/ 53 w 107"/>
                        <a:gd name="T37" fmla="*/ 0 h 106"/>
                        <a:gd name="T38" fmla="*/ 53 w 107"/>
                        <a:gd name="T39" fmla="*/ 0 h 106"/>
                        <a:gd name="T40" fmla="*/ 63 w 107"/>
                        <a:gd name="T41" fmla="*/ 2 h 106"/>
                        <a:gd name="T42" fmla="*/ 73 w 107"/>
                        <a:gd name="T43" fmla="*/ 6 h 106"/>
                        <a:gd name="T44" fmla="*/ 83 w 107"/>
                        <a:gd name="T45" fmla="*/ 10 h 106"/>
                        <a:gd name="T46" fmla="*/ 91 w 107"/>
                        <a:gd name="T47" fmla="*/ 15 h 106"/>
                        <a:gd name="T48" fmla="*/ 97 w 107"/>
                        <a:gd name="T49" fmla="*/ 23 h 106"/>
                        <a:gd name="T50" fmla="*/ 103 w 107"/>
                        <a:gd name="T51" fmla="*/ 33 h 106"/>
                        <a:gd name="T52" fmla="*/ 105 w 107"/>
                        <a:gd name="T53" fmla="*/ 43 h 106"/>
                        <a:gd name="T54" fmla="*/ 107 w 107"/>
                        <a:gd name="T55" fmla="*/ 53 h 106"/>
                        <a:gd name="T56" fmla="*/ 107 w 107"/>
                        <a:gd name="T57" fmla="*/ 53 h 106"/>
                        <a:gd name="T58" fmla="*/ 105 w 107"/>
                        <a:gd name="T59" fmla="*/ 65 h 106"/>
                        <a:gd name="T60" fmla="*/ 103 w 107"/>
                        <a:gd name="T61" fmla="*/ 75 h 106"/>
                        <a:gd name="T62" fmla="*/ 97 w 107"/>
                        <a:gd name="T63" fmla="*/ 83 h 106"/>
                        <a:gd name="T64" fmla="*/ 91 w 107"/>
                        <a:gd name="T65" fmla="*/ 91 h 106"/>
                        <a:gd name="T66" fmla="*/ 83 w 107"/>
                        <a:gd name="T67" fmla="*/ 96 h 106"/>
                        <a:gd name="T68" fmla="*/ 73 w 107"/>
                        <a:gd name="T69" fmla="*/ 102 h 106"/>
                        <a:gd name="T70" fmla="*/ 63 w 107"/>
                        <a:gd name="T71" fmla="*/ 104 h 106"/>
                        <a:gd name="T72" fmla="*/ 53 w 107"/>
                        <a:gd name="T73" fmla="*/ 106 h 106"/>
                        <a:gd name="T74" fmla="*/ 53 w 107"/>
                        <a:gd name="T75"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6">
                          <a:moveTo>
                            <a:pt x="53" y="106"/>
                          </a:moveTo>
                          <a:lnTo>
                            <a:pt x="53" y="106"/>
                          </a:lnTo>
                          <a:lnTo>
                            <a:pt x="43" y="104"/>
                          </a:lnTo>
                          <a:lnTo>
                            <a:pt x="33" y="102"/>
                          </a:lnTo>
                          <a:lnTo>
                            <a:pt x="24" y="96"/>
                          </a:lnTo>
                          <a:lnTo>
                            <a:pt x="16" y="91"/>
                          </a:lnTo>
                          <a:lnTo>
                            <a:pt x="10" y="83"/>
                          </a:lnTo>
                          <a:lnTo>
                            <a:pt x="4" y="75"/>
                          </a:lnTo>
                          <a:lnTo>
                            <a:pt x="2" y="65"/>
                          </a:lnTo>
                          <a:lnTo>
                            <a:pt x="0" y="53"/>
                          </a:lnTo>
                          <a:lnTo>
                            <a:pt x="0" y="53"/>
                          </a:lnTo>
                          <a:lnTo>
                            <a:pt x="2" y="43"/>
                          </a:lnTo>
                          <a:lnTo>
                            <a:pt x="4" y="33"/>
                          </a:lnTo>
                          <a:lnTo>
                            <a:pt x="10" y="23"/>
                          </a:lnTo>
                          <a:lnTo>
                            <a:pt x="16" y="15"/>
                          </a:lnTo>
                          <a:lnTo>
                            <a:pt x="24" y="10"/>
                          </a:lnTo>
                          <a:lnTo>
                            <a:pt x="33" y="6"/>
                          </a:lnTo>
                          <a:lnTo>
                            <a:pt x="43" y="2"/>
                          </a:lnTo>
                          <a:lnTo>
                            <a:pt x="53" y="0"/>
                          </a:lnTo>
                          <a:lnTo>
                            <a:pt x="53" y="0"/>
                          </a:lnTo>
                          <a:lnTo>
                            <a:pt x="63" y="2"/>
                          </a:lnTo>
                          <a:lnTo>
                            <a:pt x="73" y="6"/>
                          </a:lnTo>
                          <a:lnTo>
                            <a:pt x="83" y="10"/>
                          </a:lnTo>
                          <a:lnTo>
                            <a:pt x="91" y="15"/>
                          </a:lnTo>
                          <a:lnTo>
                            <a:pt x="97" y="23"/>
                          </a:lnTo>
                          <a:lnTo>
                            <a:pt x="103" y="33"/>
                          </a:lnTo>
                          <a:lnTo>
                            <a:pt x="105" y="43"/>
                          </a:lnTo>
                          <a:lnTo>
                            <a:pt x="107" y="53"/>
                          </a:lnTo>
                          <a:lnTo>
                            <a:pt x="107" y="53"/>
                          </a:lnTo>
                          <a:lnTo>
                            <a:pt x="105" y="65"/>
                          </a:lnTo>
                          <a:lnTo>
                            <a:pt x="103" y="75"/>
                          </a:lnTo>
                          <a:lnTo>
                            <a:pt x="97" y="83"/>
                          </a:lnTo>
                          <a:lnTo>
                            <a:pt x="91" y="91"/>
                          </a:lnTo>
                          <a:lnTo>
                            <a:pt x="83" y="96"/>
                          </a:lnTo>
                          <a:lnTo>
                            <a:pt x="73" y="102"/>
                          </a:lnTo>
                          <a:lnTo>
                            <a:pt x="63" y="104"/>
                          </a:lnTo>
                          <a:lnTo>
                            <a:pt x="53" y="106"/>
                          </a:lnTo>
                          <a:lnTo>
                            <a:pt x="53" y="10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30" name="Freeform 319"/>
                    <p:cNvSpPr>
                      <a:spLocks/>
                    </p:cNvSpPr>
                    <p:nvPr/>
                  </p:nvSpPr>
                  <p:spPr bwMode="auto">
                    <a:xfrm>
                      <a:off x="5934075" y="3222625"/>
                      <a:ext cx="84138" cy="82550"/>
                    </a:xfrm>
                    <a:custGeom>
                      <a:avLst/>
                      <a:gdLst>
                        <a:gd name="T0" fmla="*/ 16 w 107"/>
                        <a:gd name="T1" fmla="*/ 89 h 105"/>
                        <a:gd name="T2" fmla="*/ 16 w 107"/>
                        <a:gd name="T3" fmla="*/ 89 h 105"/>
                        <a:gd name="T4" fmla="*/ 8 w 107"/>
                        <a:gd name="T5" fmla="*/ 81 h 105"/>
                        <a:gd name="T6" fmla="*/ 4 w 107"/>
                        <a:gd name="T7" fmla="*/ 73 h 105"/>
                        <a:gd name="T8" fmla="*/ 2 w 107"/>
                        <a:gd name="T9" fmla="*/ 63 h 105"/>
                        <a:gd name="T10" fmla="*/ 0 w 107"/>
                        <a:gd name="T11" fmla="*/ 51 h 105"/>
                        <a:gd name="T12" fmla="*/ 2 w 107"/>
                        <a:gd name="T13" fmla="*/ 41 h 105"/>
                        <a:gd name="T14" fmla="*/ 4 w 107"/>
                        <a:gd name="T15" fmla="*/ 32 h 105"/>
                        <a:gd name="T16" fmla="*/ 8 w 107"/>
                        <a:gd name="T17" fmla="*/ 24 h 105"/>
                        <a:gd name="T18" fmla="*/ 16 w 107"/>
                        <a:gd name="T19" fmla="*/ 16 h 105"/>
                        <a:gd name="T20" fmla="*/ 16 w 107"/>
                        <a:gd name="T21" fmla="*/ 16 h 105"/>
                        <a:gd name="T22" fmla="*/ 24 w 107"/>
                        <a:gd name="T23" fmla="*/ 8 h 105"/>
                        <a:gd name="T24" fmla="*/ 33 w 107"/>
                        <a:gd name="T25" fmla="*/ 4 h 105"/>
                        <a:gd name="T26" fmla="*/ 43 w 107"/>
                        <a:gd name="T27" fmla="*/ 0 h 105"/>
                        <a:gd name="T28" fmla="*/ 53 w 107"/>
                        <a:gd name="T29" fmla="*/ 0 h 105"/>
                        <a:gd name="T30" fmla="*/ 63 w 107"/>
                        <a:gd name="T31" fmla="*/ 0 h 105"/>
                        <a:gd name="T32" fmla="*/ 73 w 107"/>
                        <a:gd name="T33" fmla="*/ 4 h 105"/>
                        <a:gd name="T34" fmla="*/ 83 w 107"/>
                        <a:gd name="T35" fmla="*/ 8 h 105"/>
                        <a:gd name="T36" fmla="*/ 91 w 107"/>
                        <a:gd name="T37" fmla="*/ 16 h 105"/>
                        <a:gd name="T38" fmla="*/ 91 w 107"/>
                        <a:gd name="T39" fmla="*/ 16 h 105"/>
                        <a:gd name="T40" fmla="*/ 97 w 107"/>
                        <a:gd name="T41" fmla="*/ 24 h 105"/>
                        <a:gd name="T42" fmla="*/ 103 w 107"/>
                        <a:gd name="T43" fmla="*/ 32 h 105"/>
                        <a:gd name="T44" fmla="*/ 105 w 107"/>
                        <a:gd name="T45" fmla="*/ 41 h 105"/>
                        <a:gd name="T46" fmla="*/ 107 w 107"/>
                        <a:gd name="T47" fmla="*/ 51 h 105"/>
                        <a:gd name="T48" fmla="*/ 105 w 107"/>
                        <a:gd name="T49" fmla="*/ 63 h 105"/>
                        <a:gd name="T50" fmla="*/ 103 w 107"/>
                        <a:gd name="T51" fmla="*/ 73 h 105"/>
                        <a:gd name="T52" fmla="*/ 97 w 107"/>
                        <a:gd name="T53" fmla="*/ 81 h 105"/>
                        <a:gd name="T54" fmla="*/ 91 w 107"/>
                        <a:gd name="T55" fmla="*/ 89 h 105"/>
                        <a:gd name="T56" fmla="*/ 91 w 107"/>
                        <a:gd name="T57" fmla="*/ 89 h 105"/>
                        <a:gd name="T58" fmla="*/ 83 w 107"/>
                        <a:gd name="T59" fmla="*/ 97 h 105"/>
                        <a:gd name="T60" fmla="*/ 73 w 107"/>
                        <a:gd name="T61" fmla="*/ 101 h 105"/>
                        <a:gd name="T62" fmla="*/ 63 w 107"/>
                        <a:gd name="T63" fmla="*/ 105 h 105"/>
                        <a:gd name="T64" fmla="*/ 53 w 107"/>
                        <a:gd name="T65" fmla="*/ 105 h 105"/>
                        <a:gd name="T66" fmla="*/ 43 w 107"/>
                        <a:gd name="T67" fmla="*/ 105 h 105"/>
                        <a:gd name="T68" fmla="*/ 33 w 107"/>
                        <a:gd name="T69" fmla="*/ 101 h 105"/>
                        <a:gd name="T70" fmla="*/ 24 w 107"/>
                        <a:gd name="T71" fmla="*/ 97 h 105"/>
                        <a:gd name="T72" fmla="*/ 16 w 107"/>
                        <a:gd name="T73" fmla="*/ 89 h 105"/>
                        <a:gd name="T74" fmla="*/ 16 w 107"/>
                        <a:gd name="T75" fmla="*/ 8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5">
                          <a:moveTo>
                            <a:pt x="16" y="89"/>
                          </a:moveTo>
                          <a:lnTo>
                            <a:pt x="16" y="89"/>
                          </a:lnTo>
                          <a:lnTo>
                            <a:pt x="8" y="81"/>
                          </a:lnTo>
                          <a:lnTo>
                            <a:pt x="4" y="73"/>
                          </a:lnTo>
                          <a:lnTo>
                            <a:pt x="2" y="63"/>
                          </a:lnTo>
                          <a:lnTo>
                            <a:pt x="0" y="51"/>
                          </a:lnTo>
                          <a:lnTo>
                            <a:pt x="2" y="41"/>
                          </a:lnTo>
                          <a:lnTo>
                            <a:pt x="4" y="32"/>
                          </a:lnTo>
                          <a:lnTo>
                            <a:pt x="8" y="24"/>
                          </a:lnTo>
                          <a:lnTo>
                            <a:pt x="16" y="16"/>
                          </a:lnTo>
                          <a:lnTo>
                            <a:pt x="16" y="16"/>
                          </a:lnTo>
                          <a:lnTo>
                            <a:pt x="24" y="8"/>
                          </a:lnTo>
                          <a:lnTo>
                            <a:pt x="33" y="4"/>
                          </a:lnTo>
                          <a:lnTo>
                            <a:pt x="43" y="0"/>
                          </a:lnTo>
                          <a:lnTo>
                            <a:pt x="53" y="0"/>
                          </a:lnTo>
                          <a:lnTo>
                            <a:pt x="63" y="0"/>
                          </a:lnTo>
                          <a:lnTo>
                            <a:pt x="73" y="4"/>
                          </a:lnTo>
                          <a:lnTo>
                            <a:pt x="83" y="8"/>
                          </a:lnTo>
                          <a:lnTo>
                            <a:pt x="91" y="16"/>
                          </a:lnTo>
                          <a:lnTo>
                            <a:pt x="91" y="16"/>
                          </a:lnTo>
                          <a:lnTo>
                            <a:pt x="97" y="24"/>
                          </a:lnTo>
                          <a:lnTo>
                            <a:pt x="103" y="32"/>
                          </a:lnTo>
                          <a:lnTo>
                            <a:pt x="105" y="41"/>
                          </a:lnTo>
                          <a:lnTo>
                            <a:pt x="107" y="51"/>
                          </a:lnTo>
                          <a:lnTo>
                            <a:pt x="105" y="63"/>
                          </a:lnTo>
                          <a:lnTo>
                            <a:pt x="103" y="73"/>
                          </a:lnTo>
                          <a:lnTo>
                            <a:pt x="97" y="81"/>
                          </a:lnTo>
                          <a:lnTo>
                            <a:pt x="91" y="89"/>
                          </a:lnTo>
                          <a:lnTo>
                            <a:pt x="91" y="89"/>
                          </a:lnTo>
                          <a:lnTo>
                            <a:pt x="83" y="97"/>
                          </a:lnTo>
                          <a:lnTo>
                            <a:pt x="73" y="101"/>
                          </a:lnTo>
                          <a:lnTo>
                            <a:pt x="63" y="105"/>
                          </a:lnTo>
                          <a:lnTo>
                            <a:pt x="53" y="105"/>
                          </a:lnTo>
                          <a:lnTo>
                            <a:pt x="43" y="105"/>
                          </a:lnTo>
                          <a:lnTo>
                            <a:pt x="33" y="101"/>
                          </a:lnTo>
                          <a:lnTo>
                            <a:pt x="24" y="97"/>
                          </a:lnTo>
                          <a:lnTo>
                            <a:pt x="16" y="89"/>
                          </a:lnTo>
                          <a:lnTo>
                            <a:pt x="16" y="89"/>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31" name="Freeform 320"/>
                    <p:cNvSpPr>
                      <a:spLocks/>
                    </p:cNvSpPr>
                    <p:nvPr/>
                  </p:nvSpPr>
                  <p:spPr bwMode="auto">
                    <a:xfrm>
                      <a:off x="4546599" y="1835148"/>
                      <a:ext cx="84138" cy="84138"/>
                    </a:xfrm>
                    <a:custGeom>
                      <a:avLst/>
                      <a:gdLst>
                        <a:gd name="T0" fmla="*/ 16 w 107"/>
                        <a:gd name="T1" fmla="*/ 91 h 107"/>
                        <a:gd name="T2" fmla="*/ 16 w 107"/>
                        <a:gd name="T3" fmla="*/ 91 h 107"/>
                        <a:gd name="T4" fmla="*/ 10 w 107"/>
                        <a:gd name="T5" fmla="*/ 83 h 107"/>
                        <a:gd name="T6" fmla="*/ 4 w 107"/>
                        <a:gd name="T7" fmla="*/ 74 h 107"/>
                        <a:gd name="T8" fmla="*/ 2 w 107"/>
                        <a:gd name="T9" fmla="*/ 64 h 107"/>
                        <a:gd name="T10" fmla="*/ 0 w 107"/>
                        <a:gd name="T11" fmla="*/ 54 h 107"/>
                        <a:gd name="T12" fmla="*/ 2 w 107"/>
                        <a:gd name="T13" fmla="*/ 44 h 107"/>
                        <a:gd name="T14" fmla="*/ 4 w 107"/>
                        <a:gd name="T15" fmla="*/ 34 h 107"/>
                        <a:gd name="T16" fmla="*/ 10 w 107"/>
                        <a:gd name="T17" fmla="*/ 24 h 107"/>
                        <a:gd name="T18" fmla="*/ 16 w 107"/>
                        <a:gd name="T19" fmla="*/ 16 h 107"/>
                        <a:gd name="T20" fmla="*/ 16 w 107"/>
                        <a:gd name="T21" fmla="*/ 16 h 107"/>
                        <a:gd name="T22" fmla="*/ 26 w 107"/>
                        <a:gd name="T23" fmla="*/ 10 h 107"/>
                        <a:gd name="T24" fmla="*/ 34 w 107"/>
                        <a:gd name="T25" fmla="*/ 4 h 107"/>
                        <a:gd name="T26" fmla="*/ 44 w 107"/>
                        <a:gd name="T27" fmla="*/ 2 h 107"/>
                        <a:gd name="T28" fmla="*/ 54 w 107"/>
                        <a:gd name="T29" fmla="*/ 0 h 107"/>
                        <a:gd name="T30" fmla="*/ 64 w 107"/>
                        <a:gd name="T31" fmla="*/ 2 h 107"/>
                        <a:gd name="T32" fmla="*/ 74 w 107"/>
                        <a:gd name="T33" fmla="*/ 4 h 107"/>
                        <a:gd name="T34" fmla="*/ 83 w 107"/>
                        <a:gd name="T35" fmla="*/ 10 h 107"/>
                        <a:gd name="T36" fmla="*/ 91 w 107"/>
                        <a:gd name="T37" fmla="*/ 16 h 107"/>
                        <a:gd name="T38" fmla="*/ 91 w 107"/>
                        <a:gd name="T39" fmla="*/ 16 h 107"/>
                        <a:gd name="T40" fmla="*/ 99 w 107"/>
                        <a:gd name="T41" fmla="*/ 24 h 107"/>
                        <a:gd name="T42" fmla="*/ 103 w 107"/>
                        <a:gd name="T43" fmla="*/ 34 h 107"/>
                        <a:gd name="T44" fmla="*/ 107 w 107"/>
                        <a:gd name="T45" fmla="*/ 44 h 107"/>
                        <a:gd name="T46" fmla="*/ 107 w 107"/>
                        <a:gd name="T47" fmla="*/ 54 h 107"/>
                        <a:gd name="T48" fmla="*/ 107 w 107"/>
                        <a:gd name="T49" fmla="*/ 64 h 107"/>
                        <a:gd name="T50" fmla="*/ 103 w 107"/>
                        <a:gd name="T51" fmla="*/ 74 h 107"/>
                        <a:gd name="T52" fmla="*/ 99 w 107"/>
                        <a:gd name="T53" fmla="*/ 83 h 107"/>
                        <a:gd name="T54" fmla="*/ 91 w 107"/>
                        <a:gd name="T55" fmla="*/ 91 h 107"/>
                        <a:gd name="T56" fmla="*/ 91 w 107"/>
                        <a:gd name="T57" fmla="*/ 91 h 107"/>
                        <a:gd name="T58" fmla="*/ 83 w 107"/>
                        <a:gd name="T59" fmla="*/ 97 h 107"/>
                        <a:gd name="T60" fmla="*/ 74 w 107"/>
                        <a:gd name="T61" fmla="*/ 103 h 107"/>
                        <a:gd name="T62" fmla="*/ 64 w 107"/>
                        <a:gd name="T63" fmla="*/ 105 h 107"/>
                        <a:gd name="T64" fmla="*/ 54 w 107"/>
                        <a:gd name="T65" fmla="*/ 107 h 107"/>
                        <a:gd name="T66" fmla="*/ 44 w 107"/>
                        <a:gd name="T67" fmla="*/ 105 h 107"/>
                        <a:gd name="T68" fmla="*/ 34 w 107"/>
                        <a:gd name="T69" fmla="*/ 103 h 107"/>
                        <a:gd name="T70" fmla="*/ 26 w 107"/>
                        <a:gd name="T71" fmla="*/ 97 h 107"/>
                        <a:gd name="T72" fmla="*/ 16 w 107"/>
                        <a:gd name="T73" fmla="*/ 91 h 107"/>
                        <a:gd name="T74" fmla="*/ 16 w 107"/>
                        <a:gd name="T75" fmla="*/ 9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7">
                          <a:moveTo>
                            <a:pt x="16" y="91"/>
                          </a:moveTo>
                          <a:lnTo>
                            <a:pt x="16" y="91"/>
                          </a:lnTo>
                          <a:lnTo>
                            <a:pt x="10" y="83"/>
                          </a:lnTo>
                          <a:lnTo>
                            <a:pt x="4" y="74"/>
                          </a:lnTo>
                          <a:lnTo>
                            <a:pt x="2" y="64"/>
                          </a:lnTo>
                          <a:lnTo>
                            <a:pt x="0" y="54"/>
                          </a:lnTo>
                          <a:lnTo>
                            <a:pt x="2" y="44"/>
                          </a:lnTo>
                          <a:lnTo>
                            <a:pt x="4" y="34"/>
                          </a:lnTo>
                          <a:lnTo>
                            <a:pt x="10" y="24"/>
                          </a:lnTo>
                          <a:lnTo>
                            <a:pt x="16" y="16"/>
                          </a:lnTo>
                          <a:lnTo>
                            <a:pt x="16" y="16"/>
                          </a:lnTo>
                          <a:lnTo>
                            <a:pt x="26" y="10"/>
                          </a:lnTo>
                          <a:lnTo>
                            <a:pt x="34" y="4"/>
                          </a:lnTo>
                          <a:lnTo>
                            <a:pt x="44" y="2"/>
                          </a:lnTo>
                          <a:lnTo>
                            <a:pt x="54" y="0"/>
                          </a:lnTo>
                          <a:lnTo>
                            <a:pt x="64" y="2"/>
                          </a:lnTo>
                          <a:lnTo>
                            <a:pt x="74" y="4"/>
                          </a:lnTo>
                          <a:lnTo>
                            <a:pt x="83" y="10"/>
                          </a:lnTo>
                          <a:lnTo>
                            <a:pt x="91" y="16"/>
                          </a:lnTo>
                          <a:lnTo>
                            <a:pt x="91" y="16"/>
                          </a:lnTo>
                          <a:lnTo>
                            <a:pt x="99" y="24"/>
                          </a:lnTo>
                          <a:lnTo>
                            <a:pt x="103" y="34"/>
                          </a:lnTo>
                          <a:lnTo>
                            <a:pt x="107" y="44"/>
                          </a:lnTo>
                          <a:lnTo>
                            <a:pt x="107" y="54"/>
                          </a:lnTo>
                          <a:lnTo>
                            <a:pt x="107" y="64"/>
                          </a:lnTo>
                          <a:lnTo>
                            <a:pt x="103" y="74"/>
                          </a:lnTo>
                          <a:lnTo>
                            <a:pt x="99" y="83"/>
                          </a:lnTo>
                          <a:lnTo>
                            <a:pt x="91" y="91"/>
                          </a:lnTo>
                          <a:lnTo>
                            <a:pt x="91" y="91"/>
                          </a:lnTo>
                          <a:lnTo>
                            <a:pt x="83" y="97"/>
                          </a:lnTo>
                          <a:lnTo>
                            <a:pt x="74" y="103"/>
                          </a:lnTo>
                          <a:lnTo>
                            <a:pt x="64" y="105"/>
                          </a:lnTo>
                          <a:lnTo>
                            <a:pt x="54" y="107"/>
                          </a:lnTo>
                          <a:lnTo>
                            <a:pt x="44" y="105"/>
                          </a:lnTo>
                          <a:lnTo>
                            <a:pt x="34" y="103"/>
                          </a:lnTo>
                          <a:lnTo>
                            <a:pt x="26" y="97"/>
                          </a:lnTo>
                          <a:lnTo>
                            <a:pt x="16" y="91"/>
                          </a:lnTo>
                          <a:lnTo>
                            <a:pt x="16" y="91"/>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32" name="Freeform 321"/>
                    <p:cNvSpPr>
                      <a:spLocks/>
                    </p:cNvSpPr>
                    <p:nvPr/>
                  </p:nvSpPr>
                  <p:spPr bwMode="auto">
                    <a:xfrm>
                      <a:off x="5934075" y="1835148"/>
                      <a:ext cx="84138" cy="84138"/>
                    </a:xfrm>
                    <a:custGeom>
                      <a:avLst/>
                      <a:gdLst>
                        <a:gd name="T0" fmla="*/ 16 w 107"/>
                        <a:gd name="T1" fmla="*/ 16 h 107"/>
                        <a:gd name="T2" fmla="*/ 16 w 107"/>
                        <a:gd name="T3" fmla="*/ 16 h 107"/>
                        <a:gd name="T4" fmla="*/ 8 w 107"/>
                        <a:gd name="T5" fmla="*/ 24 h 107"/>
                        <a:gd name="T6" fmla="*/ 4 w 107"/>
                        <a:gd name="T7" fmla="*/ 34 h 107"/>
                        <a:gd name="T8" fmla="*/ 2 w 107"/>
                        <a:gd name="T9" fmla="*/ 44 h 107"/>
                        <a:gd name="T10" fmla="*/ 0 w 107"/>
                        <a:gd name="T11" fmla="*/ 54 h 107"/>
                        <a:gd name="T12" fmla="*/ 2 w 107"/>
                        <a:gd name="T13" fmla="*/ 64 h 107"/>
                        <a:gd name="T14" fmla="*/ 4 w 107"/>
                        <a:gd name="T15" fmla="*/ 74 h 107"/>
                        <a:gd name="T16" fmla="*/ 8 w 107"/>
                        <a:gd name="T17" fmla="*/ 83 h 107"/>
                        <a:gd name="T18" fmla="*/ 16 w 107"/>
                        <a:gd name="T19" fmla="*/ 91 h 107"/>
                        <a:gd name="T20" fmla="*/ 16 w 107"/>
                        <a:gd name="T21" fmla="*/ 91 h 107"/>
                        <a:gd name="T22" fmla="*/ 24 w 107"/>
                        <a:gd name="T23" fmla="*/ 97 h 107"/>
                        <a:gd name="T24" fmla="*/ 33 w 107"/>
                        <a:gd name="T25" fmla="*/ 103 h 107"/>
                        <a:gd name="T26" fmla="*/ 43 w 107"/>
                        <a:gd name="T27" fmla="*/ 105 h 107"/>
                        <a:gd name="T28" fmla="*/ 53 w 107"/>
                        <a:gd name="T29" fmla="*/ 107 h 107"/>
                        <a:gd name="T30" fmla="*/ 63 w 107"/>
                        <a:gd name="T31" fmla="*/ 105 h 107"/>
                        <a:gd name="T32" fmla="*/ 73 w 107"/>
                        <a:gd name="T33" fmla="*/ 103 h 107"/>
                        <a:gd name="T34" fmla="*/ 83 w 107"/>
                        <a:gd name="T35" fmla="*/ 97 h 107"/>
                        <a:gd name="T36" fmla="*/ 91 w 107"/>
                        <a:gd name="T37" fmla="*/ 91 h 107"/>
                        <a:gd name="T38" fmla="*/ 91 w 107"/>
                        <a:gd name="T39" fmla="*/ 91 h 107"/>
                        <a:gd name="T40" fmla="*/ 97 w 107"/>
                        <a:gd name="T41" fmla="*/ 83 h 107"/>
                        <a:gd name="T42" fmla="*/ 103 w 107"/>
                        <a:gd name="T43" fmla="*/ 74 h 107"/>
                        <a:gd name="T44" fmla="*/ 105 w 107"/>
                        <a:gd name="T45" fmla="*/ 64 h 107"/>
                        <a:gd name="T46" fmla="*/ 107 w 107"/>
                        <a:gd name="T47" fmla="*/ 54 h 107"/>
                        <a:gd name="T48" fmla="*/ 105 w 107"/>
                        <a:gd name="T49" fmla="*/ 44 h 107"/>
                        <a:gd name="T50" fmla="*/ 103 w 107"/>
                        <a:gd name="T51" fmla="*/ 34 h 107"/>
                        <a:gd name="T52" fmla="*/ 97 w 107"/>
                        <a:gd name="T53" fmla="*/ 24 h 107"/>
                        <a:gd name="T54" fmla="*/ 91 w 107"/>
                        <a:gd name="T55" fmla="*/ 16 h 107"/>
                        <a:gd name="T56" fmla="*/ 91 w 107"/>
                        <a:gd name="T57" fmla="*/ 16 h 107"/>
                        <a:gd name="T58" fmla="*/ 83 w 107"/>
                        <a:gd name="T59" fmla="*/ 10 h 107"/>
                        <a:gd name="T60" fmla="*/ 73 w 107"/>
                        <a:gd name="T61" fmla="*/ 4 h 107"/>
                        <a:gd name="T62" fmla="*/ 63 w 107"/>
                        <a:gd name="T63" fmla="*/ 2 h 107"/>
                        <a:gd name="T64" fmla="*/ 53 w 107"/>
                        <a:gd name="T65" fmla="*/ 0 h 107"/>
                        <a:gd name="T66" fmla="*/ 43 w 107"/>
                        <a:gd name="T67" fmla="*/ 2 h 107"/>
                        <a:gd name="T68" fmla="*/ 33 w 107"/>
                        <a:gd name="T69" fmla="*/ 4 h 107"/>
                        <a:gd name="T70" fmla="*/ 24 w 107"/>
                        <a:gd name="T71" fmla="*/ 10 h 107"/>
                        <a:gd name="T72" fmla="*/ 16 w 107"/>
                        <a:gd name="T73" fmla="*/ 16 h 107"/>
                        <a:gd name="T74" fmla="*/ 16 w 107"/>
                        <a:gd name="T75" fmla="*/ 1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7">
                          <a:moveTo>
                            <a:pt x="16" y="16"/>
                          </a:moveTo>
                          <a:lnTo>
                            <a:pt x="16" y="16"/>
                          </a:lnTo>
                          <a:lnTo>
                            <a:pt x="8" y="24"/>
                          </a:lnTo>
                          <a:lnTo>
                            <a:pt x="4" y="34"/>
                          </a:lnTo>
                          <a:lnTo>
                            <a:pt x="2" y="44"/>
                          </a:lnTo>
                          <a:lnTo>
                            <a:pt x="0" y="54"/>
                          </a:lnTo>
                          <a:lnTo>
                            <a:pt x="2" y="64"/>
                          </a:lnTo>
                          <a:lnTo>
                            <a:pt x="4" y="74"/>
                          </a:lnTo>
                          <a:lnTo>
                            <a:pt x="8" y="83"/>
                          </a:lnTo>
                          <a:lnTo>
                            <a:pt x="16" y="91"/>
                          </a:lnTo>
                          <a:lnTo>
                            <a:pt x="16" y="91"/>
                          </a:lnTo>
                          <a:lnTo>
                            <a:pt x="24" y="97"/>
                          </a:lnTo>
                          <a:lnTo>
                            <a:pt x="33" y="103"/>
                          </a:lnTo>
                          <a:lnTo>
                            <a:pt x="43" y="105"/>
                          </a:lnTo>
                          <a:lnTo>
                            <a:pt x="53" y="107"/>
                          </a:lnTo>
                          <a:lnTo>
                            <a:pt x="63" y="105"/>
                          </a:lnTo>
                          <a:lnTo>
                            <a:pt x="73" y="103"/>
                          </a:lnTo>
                          <a:lnTo>
                            <a:pt x="83" y="97"/>
                          </a:lnTo>
                          <a:lnTo>
                            <a:pt x="91" y="91"/>
                          </a:lnTo>
                          <a:lnTo>
                            <a:pt x="91" y="91"/>
                          </a:lnTo>
                          <a:lnTo>
                            <a:pt x="97" y="83"/>
                          </a:lnTo>
                          <a:lnTo>
                            <a:pt x="103" y="74"/>
                          </a:lnTo>
                          <a:lnTo>
                            <a:pt x="105" y="64"/>
                          </a:lnTo>
                          <a:lnTo>
                            <a:pt x="107" y="54"/>
                          </a:lnTo>
                          <a:lnTo>
                            <a:pt x="105" y="44"/>
                          </a:lnTo>
                          <a:lnTo>
                            <a:pt x="103" y="34"/>
                          </a:lnTo>
                          <a:lnTo>
                            <a:pt x="97" y="24"/>
                          </a:lnTo>
                          <a:lnTo>
                            <a:pt x="91" y="16"/>
                          </a:lnTo>
                          <a:lnTo>
                            <a:pt x="91" y="16"/>
                          </a:lnTo>
                          <a:lnTo>
                            <a:pt x="83" y="10"/>
                          </a:lnTo>
                          <a:lnTo>
                            <a:pt x="73" y="4"/>
                          </a:lnTo>
                          <a:lnTo>
                            <a:pt x="63" y="2"/>
                          </a:lnTo>
                          <a:lnTo>
                            <a:pt x="53" y="0"/>
                          </a:lnTo>
                          <a:lnTo>
                            <a:pt x="43" y="2"/>
                          </a:lnTo>
                          <a:lnTo>
                            <a:pt x="33" y="4"/>
                          </a:lnTo>
                          <a:lnTo>
                            <a:pt x="24" y="10"/>
                          </a:lnTo>
                          <a:lnTo>
                            <a:pt x="16" y="16"/>
                          </a:lnTo>
                          <a:lnTo>
                            <a:pt x="16" y="1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33" name="Freeform 322"/>
                    <p:cNvSpPr>
                      <a:spLocks/>
                    </p:cNvSpPr>
                    <p:nvPr/>
                  </p:nvSpPr>
                  <p:spPr bwMode="auto">
                    <a:xfrm>
                      <a:off x="4546599" y="3222625"/>
                      <a:ext cx="84138" cy="82550"/>
                    </a:xfrm>
                    <a:custGeom>
                      <a:avLst/>
                      <a:gdLst>
                        <a:gd name="T0" fmla="*/ 16 w 107"/>
                        <a:gd name="T1" fmla="*/ 16 h 105"/>
                        <a:gd name="T2" fmla="*/ 16 w 107"/>
                        <a:gd name="T3" fmla="*/ 16 h 105"/>
                        <a:gd name="T4" fmla="*/ 10 w 107"/>
                        <a:gd name="T5" fmla="*/ 24 h 105"/>
                        <a:gd name="T6" fmla="*/ 4 w 107"/>
                        <a:gd name="T7" fmla="*/ 32 h 105"/>
                        <a:gd name="T8" fmla="*/ 2 w 107"/>
                        <a:gd name="T9" fmla="*/ 41 h 105"/>
                        <a:gd name="T10" fmla="*/ 0 w 107"/>
                        <a:gd name="T11" fmla="*/ 51 h 105"/>
                        <a:gd name="T12" fmla="*/ 2 w 107"/>
                        <a:gd name="T13" fmla="*/ 63 h 105"/>
                        <a:gd name="T14" fmla="*/ 4 w 107"/>
                        <a:gd name="T15" fmla="*/ 73 h 105"/>
                        <a:gd name="T16" fmla="*/ 10 w 107"/>
                        <a:gd name="T17" fmla="*/ 81 h 105"/>
                        <a:gd name="T18" fmla="*/ 16 w 107"/>
                        <a:gd name="T19" fmla="*/ 89 h 105"/>
                        <a:gd name="T20" fmla="*/ 16 w 107"/>
                        <a:gd name="T21" fmla="*/ 89 h 105"/>
                        <a:gd name="T22" fmla="*/ 26 w 107"/>
                        <a:gd name="T23" fmla="*/ 97 h 105"/>
                        <a:gd name="T24" fmla="*/ 34 w 107"/>
                        <a:gd name="T25" fmla="*/ 101 h 105"/>
                        <a:gd name="T26" fmla="*/ 44 w 107"/>
                        <a:gd name="T27" fmla="*/ 105 h 105"/>
                        <a:gd name="T28" fmla="*/ 54 w 107"/>
                        <a:gd name="T29" fmla="*/ 105 h 105"/>
                        <a:gd name="T30" fmla="*/ 64 w 107"/>
                        <a:gd name="T31" fmla="*/ 105 h 105"/>
                        <a:gd name="T32" fmla="*/ 74 w 107"/>
                        <a:gd name="T33" fmla="*/ 101 h 105"/>
                        <a:gd name="T34" fmla="*/ 83 w 107"/>
                        <a:gd name="T35" fmla="*/ 97 h 105"/>
                        <a:gd name="T36" fmla="*/ 91 w 107"/>
                        <a:gd name="T37" fmla="*/ 89 h 105"/>
                        <a:gd name="T38" fmla="*/ 91 w 107"/>
                        <a:gd name="T39" fmla="*/ 89 h 105"/>
                        <a:gd name="T40" fmla="*/ 99 w 107"/>
                        <a:gd name="T41" fmla="*/ 81 h 105"/>
                        <a:gd name="T42" fmla="*/ 103 w 107"/>
                        <a:gd name="T43" fmla="*/ 73 h 105"/>
                        <a:gd name="T44" fmla="*/ 107 w 107"/>
                        <a:gd name="T45" fmla="*/ 63 h 105"/>
                        <a:gd name="T46" fmla="*/ 107 w 107"/>
                        <a:gd name="T47" fmla="*/ 51 h 105"/>
                        <a:gd name="T48" fmla="*/ 107 w 107"/>
                        <a:gd name="T49" fmla="*/ 41 h 105"/>
                        <a:gd name="T50" fmla="*/ 103 w 107"/>
                        <a:gd name="T51" fmla="*/ 32 h 105"/>
                        <a:gd name="T52" fmla="*/ 99 w 107"/>
                        <a:gd name="T53" fmla="*/ 24 h 105"/>
                        <a:gd name="T54" fmla="*/ 91 w 107"/>
                        <a:gd name="T55" fmla="*/ 16 h 105"/>
                        <a:gd name="T56" fmla="*/ 91 w 107"/>
                        <a:gd name="T57" fmla="*/ 16 h 105"/>
                        <a:gd name="T58" fmla="*/ 83 w 107"/>
                        <a:gd name="T59" fmla="*/ 8 h 105"/>
                        <a:gd name="T60" fmla="*/ 74 w 107"/>
                        <a:gd name="T61" fmla="*/ 4 h 105"/>
                        <a:gd name="T62" fmla="*/ 64 w 107"/>
                        <a:gd name="T63" fmla="*/ 0 h 105"/>
                        <a:gd name="T64" fmla="*/ 54 w 107"/>
                        <a:gd name="T65" fmla="*/ 0 h 105"/>
                        <a:gd name="T66" fmla="*/ 44 w 107"/>
                        <a:gd name="T67" fmla="*/ 0 h 105"/>
                        <a:gd name="T68" fmla="*/ 34 w 107"/>
                        <a:gd name="T69" fmla="*/ 4 h 105"/>
                        <a:gd name="T70" fmla="*/ 26 w 107"/>
                        <a:gd name="T71" fmla="*/ 8 h 105"/>
                        <a:gd name="T72" fmla="*/ 16 w 107"/>
                        <a:gd name="T73" fmla="*/ 16 h 105"/>
                        <a:gd name="T74" fmla="*/ 16 w 107"/>
                        <a:gd name="T75" fmla="*/ 1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5">
                          <a:moveTo>
                            <a:pt x="16" y="16"/>
                          </a:moveTo>
                          <a:lnTo>
                            <a:pt x="16" y="16"/>
                          </a:lnTo>
                          <a:lnTo>
                            <a:pt x="10" y="24"/>
                          </a:lnTo>
                          <a:lnTo>
                            <a:pt x="4" y="32"/>
                          </a:lnTo>
                          <a:lnTo>
                            <a:pt x="2" y="41"/>
                          </a:lnTo>
                          <a:lnTo>
                            <a:pt x="0" y="51"/>
                          </a:lnTo>
                          <a:lnTo>
                            <a:pt x="2" y="63"/>
                          </a:lnTo>
                          <a:lnTo>
                            <a:pt x="4" y="73"/>
                          </a:lnTo>
                          <a:lnTo>
                            <a:pt x="10" y="81"/>
                          </a:lnTo>
                          <a:lnTo>
                            <a:pt x="16" y="89"/>
                          </a:lnTo>
                          <a:lnTo>
                            <a:pt x="16" y="89"/>
                          </a:lnTo>
                          <a:lnTo>
                            <a:pt x="26" y="97"/>
                          </a:lnTo>
                          <a:lnTo>
                            <a:pt x="34" y="101"/>
                          </a:lnTo>
                          <a:lnTo>
                            <a:pt x="44" y="105"/>
                          </a:lnTo>
                          <a:lnTo>
                            <a:pt x="54" y="105"/>
                          </a:lnTo>
                          <a:lnTo>
                            <a:pt x="64" y="105"/>
                          </a:lnTo>
                          <a:lnTo>
                            <a:pt x="74" y="101"/>
                          </a:lnTo>
                          <a:lnTo>
                            <a:pt x="83" y="97"/>
                          </a:lnTo>
                          <a:lnTo>
                            <a:pt x="91" y="89"/>
                          </a:lnTo>
                          <a:lnTo>
                            <a:pt x="91" y="89"/>
                          </a:lnTo>
                          <a:lnTo>
                            <a:pt x="99" y="81"/>
                          </a:lnTo>
                          <a:lnTo>
                            <a:pt x="103" y="73"/>
                          </a:lnTo>
                          <a:lnTo>
                            <a:pt x="107" y="63"/>
                          </a:lnTo>
                          <a:lnTo>
                            <a:pt x="107" y="51"/>
                          </a:lnTo>
                          <a:lnTo>
                            <a:pt x="107" y="41"/>
                          </a:lnTo>
                          <a:lnTo>
                            <a:pt x="103" y="32"/>
                          </a:lnTo>
                          <a:lnTo>
                            <a:pt x="99" y="24"/>
                          </a:lnTo>
                          <a:lnTo>
                            <a:pt x="91" y="16"/>
                          </a:lnTo>
                          <a:lnTo>
                            <a:pt x="91" y="16"/>
                          </a:lnTo>
                          <a:lnTo>
                            <a:pt x="83" y="8"/>
                          </a:lnTo>
                          <a:lnTo>
                            <a:pt x="74" y="4"/>
                          </a:lnTo>
                          <a:lnTo>
                            <a:pt x="64" y="0"/>
                          </a:lnTo>
                          <a:lnTo>
                            <a:pt x="54" y="0"/>
                          </a:lnTo>
                          <a:lnTo>
                            <a:pt x="44" y="0"/>
                          </a:lnTo>
                          <a:lnTo>
                            <a:pt x="34" y="4"/>
                          </a:lnTo>
                          <a:lnTo>
                            <a:pt x="26" y="8"/>
                          </a:lnTo>
                          <a:lnTo>
                            <a:pt x="16" y="16"/>
                          </a:lnTo>
                          <a:lnTo>
                            <a:pt x="16" y="1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34" name="Freeform 323"/>
                    <p:cNvSpPr>
                      <a:spLocks/>
                    </p:cNvSpPr>
                    <p:nvPr/>
                  </p:nvSpPr>
                  <p:spPr bwMode="auto">
                    <a:xfrm>
                      <a:off x="5240337" y="3509964"/>
                      <a:ext cx="84138" cy="82550"/>
                    </a:xfrm>
                    <a:custGeom>
                      <a:avLst/>
                      <a:gdLst>
                        <a:gd name="T0" fmla="*/ 0 w 104"/>
                        <a:gd name="T1" fmla="*/ 54 h 105"/>
                        <a:gd name="T2" fmla="*/ 0 w 104"/>
                        <a:gd name="T3" fmla="*/ 54 h 105"/>
                        <a:gd name="T4" fmla="*/ 0 w 104"/>
                        <a:gd name="T5" fmla="*/ 42 h 105"/>
                        <a:gd name="T6" fmla="*/ 4 w 104"/>
                        <a:gd name="T7" fmla="*/ 32 h 105"/>
                        <a:gd name="T8" fmla="*/ 8 w 104"/>
                        <a:gd name="T9" fmla="*/ 24 h 105"/>
                        <a:gd name="T10" fmla="*/ 15 w 104"/>
                        <a:gd name="T11" fmla="*/ 16 h 105"/>
                        <a:gd name="T12" fmla="*/ 23 w 104"/>
                        <a:gd name="T13" fmla="*/ 8 h 105"/>
                        <a:gd name="T14" fmla="*/ 31 w 104"/>
                        <a:gd name="T15" fmla="*/ 4 h 105"/>
                        <a:gd name="T16" fmla="*/ 41 w 104"/>
                        <a:gd name="T17" fmla="*/ 0 h 105"/>
                        <a:gd name="T18" fmla="*/ 53 w 104"/>
                        <a:gd name="T19" fmla="*/ 0 h 105"/>
                        <a:gd name="T20" fmla="*/ 53 w 104"/>
                        <a:gd name="T21" fmla="*/ 0 h 105"/>
                        <a:gd name="T22" fmla="*/ 63 w 104"/>
                        <a:gd name="T23" fmla="*/ 0 h 105"/>
                        <a:gd name="T24" fmla="*/ 73 w 104"/>
                        <a:gd name="T25" fmla="*/ 4 h 105"/>
                        <a:gd name="T26" fmla="*/ 81 w 104"/>
                        <a:gd name="T27" fmla="*/ 8 h 105"/>
                        <a:gd name="T28" fmla="*/ 89 w 104"/>
                        <a:gd name="T29" fmla="*/ 16 h 105"/>
                        <a:gd name="T30" fmla="*/ 96 w 104"/>
                        <a:gd name="T31" fmla="*/ 24 h 105"/>
                        <a:gd name="T32" fmla="*/ 100 w 104"/>
                        <a:gd name="T33" fmla="*/ 32 h 105"/>
                        <a:gd name="T34" fmla="*/ 104 w 104"/>
                        <a:gd name="T35" fmla="*/ 42 h 105"/>
                        <a:gd name="T36" fmla="*/ 104 w 104"/>
                        <a:gd name="T37" fmla="*/ 54 h 105"/>
                        <a:gd name="T38" fmla="*/ 104 w 104"/>
                        <a:gd name="T39" fmla="*/ 54 h 105"/>
                        <a:gd name="T40" fmla="*/ 104 w 104"/>
                        <a:gd name="T41" fmla="*/ 64 h 105"/>
                        <a:gd name="T42" fmla="*/ 100 w 104"/>
                        <a:gd name="T43" fmla="*/ 74 h 105"/>
                        <a:gd name="T44" fmla="*/ 96 w 104"/>
                        <a:gd name="T45" fmla="*/ 83 h 105"/>
                        <a:gd name="T46" fmla="*/ 89 w 104"/>
                        <a:gd name="T47" fmla="*/ 91 h 105"/>
                        <a:gd name="T48" fmla="*/ 81 w 104"/>
                        <a:gd name="T49" fmla="*/ 97 h 105"/>
                        <a:gd name="T50" fmla="*/ 73 w 104"/>
                        <a:gd name="T51" fmla="*/ 101 h 105"/>
                        <a:gd name="T52" fmla="*/ 63 w 104"/>
                        <a:gd name="T53" fmla="*/ 105 h 105"/>
                        <a:gd name="T54" fmla="*/ 53 w 104"/>
                        <a:gd name="T55" fmla="*/ 105 h 105"/>
                        <a:gd name="T56" fmla="*/ 53 w 104"/>
                        <a:gd name="T57" fmla="*/ 105 h 105"/>
                        <a:gd name="T58" fmla="*/ 41 w 104"/>
                        <a:gd name="T59" fmla="*/ 105 h 105"/>
                        <a:gd name="T60" fmla="*/ 31 w 104"/>
                        <a:gd name="T61" fmla="*/ 101 h 105"/>
                        <a:gd name="T62" fmla="*/ 23 w 104"/>
                        <a:gd name="T63" fmla="*/ 97 h 105"/>
                        <a:gd name="T64" fmla="*/ 15 w 104"/>
                        <a:gd name="T65" fmla="*/ 91 h 105"/>
                        <a:gd name="T66" fmla="*/ 8 w 104"/>
                        <a:gd name="T67" fmla="*/ 83 h 105"/>
                        <a:gd name="T68" fmla="*/ 4 w 104"/>
                        <a:gd name="T69" fmla="*/ 74 h 105"/>
                        <a:gd name="T70" fmla="*/ 0 w 104"/>
                        <a:gd name="T71" fmla="*/ 64 h 105"/>
                        <a:gd name="T72" fmla="*/ 0 w 104"/>
                        <a:gd name="T73" fmla="*/ 54 h 105"/>
                        <a:gd name="T74" fmla="*/ 0 w 104"/>
                        <a:gd name="T75" fmla="*/ 5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4" h="105">
                          <a:moveTo>
                            <a:pt x="0" y="54"/>
                          </a:moveTo>
                          <a:lnTo>
                            <a:pt x="0" y="54"/>
                          </a:lnTo>
                          <a:lnTo>
                            <a:pt x="0" y="42"/>
                          </a:lnTo>
                          <a:lnTo>
                            <a:pt x="4" y="32"/>
                          </a:lnTo>
                          <a:lnTo>
                            <a:pt x="8" y="24"/>
                          </a:lnTo>
                          <a:lnTo>
                            <a:pt x="15" y="16"/>
                          </a:lnTo>
                          <a:lnTo>
                            <a:pt x="23" y="8"/>
                          </a:lnTo>
                          <a:lnTo>
                            <a:pt x="31" y="4"/>
                          </a:lnTo>
                          <a:lnTo>
                            <a:pt x="41" y="0"/>
                          </a:lnTo>
                          <a:lnTo>
                            <a:pt x="53" y="0"/>
                          </a:lnTo>
                          <a:lnTo>
                            <a:pt x="53" y="0"/>
                          </a:lnTo>
                          <a:lnTo>
                            <a:pt x="63" y="0"/>
                          </a:lnTo>
                          <a:lnTo>
                            <a:pt x="73" y="4"/>
                          </a:lnTo>
                          <a:lnTo>
                            <a:pt x="81" y="8"/>
                          </a:lnTo>
                          <a:lnTo>
                            <a:pt x="89" y="16"/>
                          </a:lnTo>
                          <a:lnTo>
                            <a:pt x="96" y="24"/>
                          </a:lnTo>
                          <a:lnTo>
                            <a:pt x="100" y="32"/>
                          </a:lnTo>
                          <a:lnTo>
                            <a:pt x="104" y="42"/>
                          </a:lnTo>
                          <a:lnTo>
                            <a:pt x="104" y="54"/>
                          </a:lnTo>
                          <a:lnTo>
                            <a:pt x="104" y="54"/>
                          </a:lnTo>
                          <a:lnTo>
                            <a:pt x="104" y="64"/>
                          </a:lnTo>
                          <a:lnTo>
                            <a:pt x="100" y="74"/>
                          </a:lnTo>
                          <a:lnTo>
                            <a:pt x="96" y="83"/>
                          </a:lnTo>
                          <a:lnTo>
                            <a:pt x="89" y="91"/>
                          </a:lnTo>
                          <a:lnTo>
                            <a:pt x="81" y="97"/>
                          </a:lnTo>
                          <a:lnTo>
                            <a:pt x="73" y="101"/>
                          </a:lnTo>
                          <a:lnTo>
                            <a:pt x="63" y="105"/>
                          </a:lnTo>
                          <a:lnTo>
                            <a:pt x="53" y="105"/>
                          </a:lnTo>
                          <a:lnTo>
                            <a:pt x="53" y="105"/>
                          </a:lnTo>
                          <a:lnTo>
                            <a:pt x="41" y="105"/>
                          </a:lnTo>
                          <a:lnTo>
                            <a:pt x="31" y="101"/>
                          </a:lnTo>
                          <a:lnTo>
                            <a:pt x="23" y="97"/>
                          </a:lnTo>
                          <a:lnTo>
                            <a:pt x="15" y="91"/>
                          </a:lnTo>
                          <a:lnTo>
                            <a:pt x="8" y="83"/>
                          </a:lnTo>
                          <a:lnTo>
                            <a:pt x="4" y="74"/>
                          </a:lnTo>
                          <a:lnTo>
                            <a:pt x="0" y="64"/>
                          </a:lnTo>
                          <a:lnTo>
                            <a:pt x="0" y="54"/>
                          </a:lnTo>
                          <a:lnTo>
                            <a:pt x="0" y="54"/>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35" name="Freeform 324"/>
                    <p:cNvSpPr>
                      <a:spLocks/>
                    </p:cNvSpPr>
                    <p:nvPr/>
                  </p:nvSpPr>
                  <p:spPr bwMode="auto">
                    <a:xfrm>
                      <a:off x="5240337" y="1547813"/>
                      <a:ext cx="84138" cy="82550"/>
                    </a:xfrm>
                    <a:custGeom>
                      <a:avLst/>
                      <a:gdLst>
                        <a:gd name="T0" fmla="*/ 0 w 104"/>
                        <a:gd name="T1" fmla="*/ 53 h 105"/>
                        <a:gd name="T2" fmla="*/ 0 w 104"/>
                        <a:gd name="T3" fmla="*/ 53 h 105"/>
                        <a:gd name="T4" fmla="*/ 0 w 104"/>
                        <a:gd name="T5" fmla="*/ 41 h 105"/>
                        <a:gd name="T6" fmla="*/ 4 w 104"/>
                        <a:gd name="T7" fmla="*/ 31 h 105"/>
                        <a:gd name="T8" fmla="*/ 8 w 104"/>
                        <a:gd name="T9" fmla="*/ 24 h 105"/>
                        <a:gd name="T10" fmla="*/ 15 w 104"/>
                        <a:gd name="T11" fmla="*/ 16 h 105"/>
                        <a:gd name="T12" fmla="*/ 23 w 104"/>
                        <a:gd name="T13" fmla="*/ 10 h 105"/>
                        <a:gd name="T14" fmla="*/ 31 w 104"/>
                        <a:gd name="T15" fmla="*/ 4 h 105"/>
                        <a:gd name="T16" fmla="*/ 41 w 104"/>
                        <a:gd name="T17" fmla="*/ 0 h 105"/>
                        <a:gd name="T18" fmla="*/ 53 w 104"/>
                        <a:gd name="T19" fmla="*/ 0 h 105"/>
                        <a:gd name="T20" fmla="*/ 53 w 104"/>
                        <a:gd name="T21" fmla="*/ 0 h 105"/>
                        <a:gd name="T22" fmla="*/ 63 w 104"/>
                        <a:gd name="T23" fmla="*/ 0 h 105"/>
                        <a:gd name="T24" fmla="*/ 73 w 104"/>
                        <a:gd name="T25" fmla="*/ 4 h 105"/>
                        <a:gd name="T26" fmla="*/ 81 w 104"/>
                        <a:gd name="T27" fmla="*/ 10 h 105"/>
                        <a:gd name="T28" fmla="*/ 89 w 104"/>
                        <a:gd name="T29" fmla="*/ 16 h 105"/>
                        <a:gd name="T30" fmla="*/ 96 w 104"/>
                        <a:gd name="T31" fmla="*/ 24 h 105"/>
                        <a:gd name="T32" fmla="*/ 100 w 104"/>
                        <a:gd name="T33" fmla="*/ 31 h 105"/>
                        <a:gd name="T34" fmla="*/ 104 w 104"/>
                        <a:gd name="T35" fmla="*/ 41 h 105"/>
                        <a:gd name="T36" fmla="*/ 104 w 104"/>
                        <a:gd name="T37" fmla="*/ 53 h 105"/>
                        <a:gd name="T38" fmla="*/ 104 w 104"/>
                        <a:gd name="T39" fmla="*/ 53 h 105"/>
                        <a:gd name="T40" fmla="*/ 104 w 104"/>
                        <a:gd name="T41" fmla="*/ 63 h 105"/>
                        <a:gd name="T42" fmla="*/ 100 w 104"/>
                        <a:gd name="T43" fmla="*/ 73 h 105"/>
                        <a:gd name="T44" fmla="*/ 96 w 104"/>
                        <a:gd name="T45" fmla="*/ 83 h 105"/>
                        <a:gd name="T46" fmla="*/ 89 w 104"/>
                        <a:gd name="T47" fmla="*/ 91 h 105"/>
                        <a:gd name="T48" fmla="*/ 81 w 104"/>
                        <a:gd name="T49" fmla="*/ 97 h 105"/>
                        <a:gd name="T50" fmla="*/ 73 w 104"/>
                        <a:gd name="T51" fmla="*/ 101 h 105"/>
                        <a:gd name="T52" fmla="*/ 63 w 104"/>
                        <a:gd name="T53" fmla="*/ 105 h 105"/>
                        <a:gd name="T54" fmla="*/ 53 w 104"/>
                        <a:gd name="T55" fmla="*/ 105 h 105"/>
                        <a:gd name="T56" fmla="*/ 53 w 104"/>
                        <a:gd name="T57" fmla="*/ 105 h 105"/>
                        <a:gd name="T58" fmla="*/ 41 w 104"/>
                        <a:gd name="T59" fmla="*/ 105 h 105"/>
                        <a:gd name="T60" fmla="*/ 31 w 104"/>
                        <a:gd name="T61" fmla="*/ 101 h 105"/>
                        <a:gd name="T62" fmla="*/ 23 w 104"/>
                        <a:gd name="T63" fmla="*/ 97 h 105"/>
                        <a:gd name="T64" fmla="*/ 15 w 104"/>
                        <a:gd name="T65" fmla="*/ 91 h 105"/>
                        <a:gd name="T66" fmla="*/ 8 w 104"/>
                        <a:gd name="T67" fmla="*/ 83 h 105"/>
                        <a:gd name="T68" fmla="*/ 4 w 104"/>
                        <a:gd name="T69" fmla="*/ 73 h 105"/>
                        <a:gd name="T70" fmla="*/ 0 w 104"/>
                        <a:gd name="T71" fmla="*/ 63 h 105"/>
                        <a:gd name="T72" fmla="*/ 0 w 104"/>
                        <a:gd name="T73" fmla="*/ 53 h 105"/>
                        <a:gd name="T74" fmla="*/ 0 w 104"/>
                        <a:gd name="T75" fmla="*/ 5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4" h="105">
                          <a:moveTo>
                            <a:pt x="0" y="53"/>
                          </a:moveTo>
                          <a:lnTo>
                            <a:pt x="0" y="53"/>
                          </a:lnTo>
                          <a:lnTo>
                            <a:pt x="0" y="41"/>
                          </a:lnTo>
                          <a:lnTo>
                            <a:pt x="4" y="31"/>
                          </a:lnTo>
                          <a:lnTo>
                            <a:pt x="8" y="24"/>
                          </a:lnTo>
                          <a:lnTo>
                            <a:pt x="15" y="16"/>
                          </a:lnTo>
                          <a:lnTo>
                            <a:pt x="23" y="10"/>
                          </a:lnTo>
                          <a:lnTo>
                            <a:pt x="31" y="4"/>
                          </a:lnTo>
                          <a:lnTo>
                            <a:pt x="41" y="0"/>
                          </a:lnTo>
                          <a:lnTo>
                            <a:pt x="53" y="0"/>
                          </a:lnTo>
                          <a:lnTo>
                            <a:pt x="53" y="0"/>
                          </a:lnTo>
                          <a:lnTo>
                            <a:pt x="63" y="0"/>
                          </a:lnTo>
                          <a:lnTo>
                            <a:pt x="73" y="4"/>
                          </a:lnTo>
                          <a:lnTo>
                            <a:pt x="81" y="10"/>
                          </a:lnTo>
                          <a:lnTo>
                            <a:pt x="89" y="16"/>
                          </a:lnTo>
                          <a:lnTo>
                            <a:pt x="96" y="24"/>
                          </a:lnTo>
                          <a:lnTo>
                            <a:pt x="100" y="31"/>
                          </a:lnTo>
                          <a:lnTo>
                            <a:pt x="104" y="41"/>
                          </a:lnTo>
                          <a:lnTo>
                            <a:pt x="104" y="53"/>
                          </a:lnTo>
                          <a:lnTo>
                            <a:pt x="104" y="53"/>
                          </a:lnTo>
                          <a:lnTo>
                            <a:pt x="104" y="63"/>
                          </a:lnTo>
                          <a:lnTo>
                            <a:pt x="100" y="73"/>
                          </a:lnTo>
                          <a:lnTo>
                            <a:pt x="96" y="83"/>
                          </a:lnTo>
                          <a:lnTo>
                            <a:pt x="89" y="91"/>
                          </a:lnTo>
                          <a:lnTo>
                            <a:pt x="81" y="97"/>
                          </a:lnTo>
                          <a:lnTo>
                            <a:pt x="73" y="101"/>
                          </a:lnTo>
                          <a:lnTo>
                            <a:pt x="63" y="105"/>
                          </a:lnTo>
                          <a:lnTo>
                            <a:pt x="53" y="105"/>
                          </a:lnTo>
                          <a:lnTo>
                            <a:pt x="53" y="105"/>
                          </a:lnTo>
                          <a:lnTo>
                            <a:pt x="41" y="105"/>
                          </a:lnTo>
                          <a:lnTo>
                            <a:pt x="31" y="101"/>
                          </a:lnTo>
                          <a:lnTo>
                            <a:pt x="23" y="97"/>
                          </a:lnTo>
                          <a:lnTo>
                            <a:pt x="15" y="91"/>
                          </a:lnTo>
                          <a:lnTo>
                            <a:pt x="8" y="83"/>
                          </a:lnTo>
                          <a:lnTo>
                            <a:pt x="4" y="73"/>
                          </a:lnTo>
                          <a:lnTo>
                            <a:pt x="0" y="63"/>
                          </a:lnTo>
                          <a:lnTo>
                            <a:pt x="0" y="53"/>
                          </a:lnTo>
                          <a:lnTo>
                            <a:pt x="0" y="53"/>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36" name="Freeform 325"/>
                    <p:cNvSpPr>
                      <a:spLocks/>
                    </p:cNvSpPr>
                    <p:nvPr/>
                  </p:nvSpPr>
                  <p:spPr bwMode="auto">
                    <a:xfrm>
                      <a:off x="822324" y="1751013"/>
                      <a:ext cx="334961" cy="1641477"/>
                    </a:xfrm>
                    <a:custGeom>
                      <a:avLst/>
                      <a:gdLst>
                        <a:gd name="T0" fmla="*/ 0 w 423"/>
                        <a:gd name="T1" fmla="*/ 2066 h 2066"/>
                        <a:gd name="T2" fmla="*/ 0 w 423"/>
                        <a:gd name="T3" fmla="*/ 0 h 2066"/>
                        <a:gd name="T4" fmla="*/ 423 w 423"/>
                        <a:gd name="T5" fmla="*/ 25 h 2066"/>
                        <a:gd name="T6" fmla="*/ 423 w 423"/>
                        <a:gd name="T7" fmla="*/ 2041 h 2066"/>
                        <a:gd name="T8" fmla="*/ 0 w 423"/>
                        <a:gd name="T9" fmla="*/ 2066 h 2066"/>
                      </a:gdLst>
                      <a:ahLst/>
                      <a:cxnLst>
                        <a:cxn ang="0">
                          <a:pos x="T0" y="T1"/>
                        </a:cxn>
                        <a:cxn ang="0">
                          <a:pos x="T2" y="T3"/>
                        </a:cxn>
                        <a:cxn ang="0">
                          <a:pos x="T4" y="T5"/>
                        </a:cxn>
                        <a:cxn ang="0">
                          <a:pos x="T6" y="T7"/>
                        </a:cxn>
                        <a:cxn ang="0">
                          <a:pos x="T8" y="T9"/>
                        </a:cxn>
                      </a:cxnLst>
                      <a:rect l="0" t="0" r="r" b="b"/>
                      <a:pathLst>
                        <a:path w="423" h="2066">
                          <a:moveTo>
                            <a:pt x="0" y="2066"/>
                          </a:moveTo>
                          <a:lnTo>
                            <a:pt x="0" y="0"/>
                          </a:lnTo>
                          <a:lnTo>
                            <a:pt x="423" y="25"/>
                          </a:lnTo>
                          <a:lnTo>
                            <a:pt x="423" y="2041"/>
                          </a:lnTo>
                          <a:lnTo>
                            <a:pt x="0" y="2066"/>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37" name="Freeform 326"/>
                    <p:cNvSpPr>
                      <a:spLocks/>
                    </p:cNvSpPr>
                    <p:nvPr/>
                  </p:nvSpPr>
                  <p:spPr bwMode="auto">
                    <a:xfrm>
                      <a:off x="1157288" y="1924050"/>
                      <a:ext cx="1006475" cy="1295400"/>
                    </a:xfrm>
                    <a:custGeom>
                      <a:avLst/>
                      <a:gdLst>
                        <a:gd name="T0" fmla="*/ 1140 w 1268"/>
                        <a:gd name="T1" fmla="*/ 1425 h 1632"/>
                        <a:gd name="T2" fmla="*/ 1140 w 1268"/>
                        <a:gd name="T3" fmla="*/ 1425 h 1632"/>
                        <a:gd name="T4" fmla="*/ 1146 w 1268"/>
                        <a:gd name="T5" fmla="*/ 1425 h 1632"/>
                        <a:gd name="T6" fmla="*/ 1152 w 1268"/>
                        <a:gd name="T7" fmla="*/ 1423 h 1632"/>
                        <a:gd name="T8" fmla="*/ 1160 w 1268"/>
                        <a:gd name="T9" fmla="*/ 1419 h 1632"/>
                        <a:gd name="T10" fmla="*/ 1166 w 1268"/>
                        <a:gd name="T11" fmla="*/ 1413 h 1632"/>
                        <a:gd name="T12" fmla="*/ 1178 w 1268"/>
                        <a:gd name="T13" fmla="*/ 1397 h 1632"/>
                        <a:gd name="T14" fmla="*/ 1189 w 1268"/>
                        <a:gd name="T15" fmla="*/ 1377 h 1632"/>
                        <a:gd name="T16" fmla="*/ 1201 w 1268"/>
                        <a:gd name="T17" fmla="*/ 1351 h 1632"/>
                        <a:gd name="T18" fmla="*/ 1211 w 1268"/>
                        <a:gd name="T19" fmla="*/ 1322 h 1632"/>
                        <a:gd name="T20" fmla="*/ 1221 w 1268"/>
                        <a:gd name="T21" fmla="*/ 1286 h 1632"/>
                        <a:gd name="T22" fmla="*/ 1231 w 1268"/>
                        <a:gd name="T23" fmla="*/ 1247 h 1632"/>
                        <a:gd name="T24" fmla="*/ 1239 w 1268"/>
                        <a:gd name="T25" fmla="*/ 1203 h 1632"/>
                        <a:gd name="T26" fmla="*/ 1247 w 1268"/>
                        <a:gd name="T27" fmla="*/ 1156 h 1632"/>
                        <a:gd name="T28" fmla="*/ 1253 w 1268"/>
                        <a:gd name="T29" fmla="*/ 1106 h 1632"/>
                        <a:gd name="T30" fmla="*/ 1259 w 1268"/>
                        <a:gd name="T31" fmla="*/ 1053 h 1632"/>
                        <a:gd name="T32" fmla="*/ 1262 w 1268"/>
                        <a:gd name="T33" fmla="*/ 998 h 1632"/>
                        <a:gd name="T34" fmla="*/ 1266 w 1268"/>
                        <a:gd name="T35" fmla="*/ 938 h 1632"/>
                        <a:gd name="T36" fmla="*/ 1268 w 1268"/>
                        <a:gd name="T37" fmla="*/ 879 h 1632"/>
                        <a:gd name="T38" fmla="*/ 1268 w 1268"/>
                        <a:gd name="T39" fmla="*/ 816 h 1632"/>
                        <a:gd name="T40" fmla="*/ 1268 w 1268"/>
                        <a:gd name="T41" fmla="*/ 816 h 1632"/>
                        <a:gd name="T42" fmla="*/ 1268 w 1268"/>
                        <a:gd name="T43" fmla="*/ 755 h 1632"/>
                        <a:gd name="T44" fmla="*/ 1266 w 1268"/>
                        <a:gd name="T45" fmla="*/ 694 h 1632"/>
                        <a:gd name="T46" fmla="*/ 1262 w 1268"/>
                        <a:gd name="T47" fmla="*/ 634 h 1632"/>
                        <a:gd name="T48" fmla="*/ 1259 w 1268"/>
                        <a:gd name="T49" fmla="*/ 579 h 1632"/>
                        <a:gd name="T50" fmla="*/ 1253 w 1268"/>
                        <a:gd name="T51" fmla="*/ 526 h 1632"/>
                        <a:gd name="T52" fmla="*/ 1247 w 1268"/>
                        <a:gd name="T53" fmla="*/ 476 h 1632"/>
                        <a:gd name="T54" fmla="*/ 1239 w 1268"/>
                        <a:gd name="T55" fmla="*/ 429 h 1632"/>
                        <a:gd name="T56" fmla="*/ 1231 w 1268"/>
                        <a:gd name="T57" fmla="*/ 385 h 1632"/>
                        <a:gd name="T58" fmla="*/ 1221 w 1268"/>
                        <a:gd name="T59" fmla="*/ 346 h 1632"/>
                        <a:gd name="T60" fmla="*/ 1211 w 1268"/>
                        <a:gd name="T61" fmla="*/ 312 h 1632"/>
                        <a:gd name="T62" fmla="*/ 1201 w 1268"/>
                        <a:gd name="T63" fmla="*/ 281 h 1632"/>
                        <a:gd name="T64" fmla="*/ 1189 w 1268"/>
                        <a:gd name="T65" fmla="*/ 255 h 1632"/>
                        <a:gd name="T66" fmla="*/ 1178 w 1268"/>
                        <a:gd name="T67" fmla="*/ 235 h 1632"/>
                        <a:gd name="T68" fmla="*/ 1166 w 1268"/>
                        <a:gd name="T69" fmla="*/ 219 h 1632"/>
                        <a:gd name="T70" fmla="*/ 1160 w 1268"/>
                        <a:gd name="T71" fmla="*/ 215 h 1632"/>
                        <a:gd name="T72" fmla="*/ 1152 w 1268"/>
                        <a:gd name="T73" fmla="*/ 211 h 1632"/>
                        <a:gd name="T74" fmla="*/ 1146 w 1268"/>
                        <a:gd name="T75" fmla="*/ 207 h 1632"/>
                        <a:gd name="T76" fmla="*/ 1140 w 1268"/>
                        <a:gd name="T77" fmla="*/ 207 h 1632"/>
                        <a:gd name="T78" fmla="*/ 0 w 1268"/>
                        <a:gd name="T79" fmla="*/ 0 h 1632"/>
                        <a:gd name="T80" fmla="*/ 0 w 1268"/>
                        <a:gd name="T81" fmla="*/ 1632 h 1632"/>
                        <a:gd name="T82" fmla="*/ 1140 w 1268"/>
                        <a:gd name="T83" fmla="*/ 1425 h 1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68" h="1632">
                          <a:moveTo>
                            <a:pt x="1140" y="1425"/>
                          </a:moveTo>
                          <a:lnTo>
                            <a:pt x="1140" y="1425"/>
                          </a:lnTo>
                          <a:lnTo>
                            <a:pt x="1146" y="1425"/>
                          </a:lnTo>
                          <a:lnTo>
                            <a:pt x="1152" y="1423"/>
                          </a:lnTo>
                          <a:lnTo>
                            <a:pt x="1160" y="1419"/>
                          </a:lnTo>
                          <a:lnTo>
                            <a:pt x="1166" y="1413"/>
                          </a:lnTo>
                          <a:lnTo>
                            <a:pt x="1178" y="1397"/>
                          </a:lnTo>
                          <a:lnTo>
                            <a:pt x="1189" y="1377"/>
                          </a:lnTo>
                          <a:lnTo>
                            <a:pt x="1201" y="1351"/>
                          </a:lnTo>
                          <a:lnTo>
                            <a:pt x="1211" y="1322"/>
                          </a:lnTo>
                          <a:lnTo>
                            <a:pt x="1221" y="1286"/>
                          </a:lnTo>
                          <a:lnTo>
                            <a:pt x="1231" y="1247"/>
                          </a:lnTo>
                          <a:lnTo>
                            <a:pt x="1239" y="1203"/>
                          </a:lnTo>
                          <a:lnTo>
                            <a:pt x="1247" y="1156"/>
                          </a:lnTo>
                          <a:lnTo>
                            <a:pt x="1253" y="1106"/>
                          </a:lnTo>
                          <a:lnTo>
                            <a:pt x="1259" y="1053"/>
                          </a:lnTo>
                          <a:lnTo>
                            <a:pt x="1262" y="998"/>
                          </a:lnTo>
                          <a:lnTo>
                            <a:pt x="1266" y="938"/>
                          </a:lnTo>
                          <a:lnTo>
                            <a:pt x="1268" y="879"/>
                          </a:lnTo>
                          <a:lnTo>
                            <a:pt x="1268" y="816"/>
                          </a:lnTo>
                          <a:lnTo>
                            <a:pt x="1268" y="816"/>
                          </a:lnTo>
                          <a:lnTo>
                            <a:pt x="1268" y="755"/>
                          </a:lnTo>
                          <a:lnTo>
                            <a:pt x="1266" y="694"/>
                          </a:lnTo>
                          <a:lnTo>
                            <a:pt x="1262" y="634"/>
                          </a:lnTo>
                          <a:lnTo>
                            <a:pt x="1259" y="579"/>
                          </a:lnTo>
                          <a:lnTo>
                            <a:pt x="1253" y="526"/>
                          </a:lnTo>
                          <a:lnTo>
                            <a:pt x="1247" y="476"/>
                          </a:lnTo>
                          <a:lnTo>
                            <a:pt x="1239" y="429"/>
                          </a:lnTo>
                          <a:lnTo>
                            <a:pt x="1231" y="385"/>
                          </a:lnTo>
                          <a:lnTo>
                            <a:pt x="1221" y="346"/>
                          </a:lnTo>
                          <a:lnTo>
                            <a:pt x="1211" y="312"/>
                          </a:lnTo>
                          <a:lnTo>
                            <a:pt x="1201" y="281"/>
                          </a:lnTo>
                          <a:lnTo>
                            <a:pt x="1189" y="255"/>
                          </a:lnTo>
                          <a:lnTo>
                            <a:pt x="1178" y="235"/>
                          </a:lnTo>
                          <a:lnTo>
                            <a:pt x="1166" y="219"/>
                          </a:lnTo>
                          <a:lnTo>
                            <a:pt x="1160" y="215"/>
                          </a:lnTo>
                          <a:lnTo>
                            <a:pt x="1152" y="211"/>
                          </a:lnTo>
                          <a:lnTo>
                            <a:pt x="1146" y="207"/>
                          </a:lnTo>
                          <a:lnTo>
                            <a:pt x="1140" y="207"/>
                          </a:lnTo>
                          <a:lnTo>
                            <a:pt x="0" y="0"/>
                          </a:lnTo>
                          <a:lnTo>
                            <a:pt x="0" y="1632"/>
                          </a:lnTo>
                          <a:lnTo>
                            <a:pt x="1140" y="1425"/>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38" name="Rectangle 327"/>
                    <p:cNvSpPr>
                      <a:spLocks noChangeArrowheads="1"/>
                    </p:cNvSpPr>
                    <p:nvPr/>
                  </p:nvSpPr>
                  <p:spPr bwMode="auto">
                    <a:xfrm>
                      <a:off x="0" y="2478091"/>
                      <a:ext cx="3254374" cy="184149"/>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39" name="Rectangle 328"/>
                    <p:cNvSpPr>
                      <a:spLocks noChangeArrowheads="1"/>
                    </p:cNvSpPr>
                    <p:nvPr/>
                  </p:nvSpPr>
                  <p:spPr bwMode="auto">
                    <a:xfrm>
                      <a:off x="2159000" y="2478088"/>
                      <a:ext cx="1095374" cy="184149"/>
                    </a:xfrm>
                    <a:prstGeom prst="rect">
                      <a:avLst/>
                    </a:prstGeom>
                    <a:solidFill>
                      <a:srgbClr val="80828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507" name="그룹 506"/>
                  <p:cNvGrpSpPr/>
                  <p:nvPr/>
                </p:nvGrpSpPr>
                <p:grpSpPr>
                  <a:xfrm rot="3600000">
                    <a:off x="10560226" y="2293980"/>
                    <a:ext cx="555540" cy="555540"/>
                    <a:chOff x="-5705856" y="-3474720"/>
                    <a:chExt cx="1609344" cy="1609344"/>
                  </a:xfrm>
                </p:grpSpPr>
                <p:sp>
                  <p:nvSpPr>
                    <p:cNvPr id="509" name="자유형 508"/>
                    <p:cNvSpPr/>
                    <p:nvPr/>
                  </p:nvSpPr>
                  <p:spPr>
                    <a:xfrm>
                      <a:off x="-4910328" y="-3474720"/>
                      <a:ext cx="237744" cy="1609344"/>
                    </a:xfrm>
                    <a:custGeom>
                      <a:avLst/>
                      <a:gdLst>
                        <a:gd name="connsiteX0" fmla="*/ 9144 w 237744"/>
                        <a:gd name="connsiteY0" fmla="*/ 0 h 1609344"/>
                        <a:gd name="connsiteX1" fmla="*/ 171313 w 237744"/>
                        <a:gd name="connsiteY1" fmla="*/ 16348 h 1609344"/>
                        <a:gd name="connsiteX2" fmla="*/ 237744 w 237744"/>
                        <a:gd name="connsiteY2" fmla="*/ 33429 h 1609344"/>
                        <a:gd name="connsiteX3" fmla="*/ 237744 w 237744"/>
                        <a:gd name="connsiteY3" fmla="*/ 1575915 h 1609344"/>
                        <a:gd name="connsiteX4" fmla="*/ 171313 w 237744"/>
                        <a:gd name="connsiteY4" fmla="*/ 1592996 h 1609344"/>
                        <a:gd name="connsiteX5" fmla="*/ 9144 w 237744"/>
                        <a:gd name="connsiteY5" fmla="*/ 1609344 h 1609344"/>
                        <a:gd name="connsiteX6" fmla="*/ 0 w 237744"/>
                        <a:gd name="connsiteY6" fmla="*/ 1608883 h 1609344"/>
                        <a:gd name="connsiteX7" fmla="*/ 0 w 237744"/>
                        <a:gd name="connsiteY7" fmla="*/ 462 h 1609344"/>
                        <a:gd name="connsiteX8" fmla="*/ 9144 w 237744"/>
                        <a:gd name="connsiteY8" fmla="*/ 0 h 1609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7744" h="1609344">
                          <a:moveTo>
                            <a:pt x="9144" y="0"/>
                          </a:moveTo>
                          <a:cubicBezTo>
                            <a:pt x="64695" y="0"/>
                            <a:pt x="118931" y="5629"/>
                            <a:pt x="171313" y="16348"/>
                          </a:cubicBezTo>
                          <a:lnTo>
                            <a:pt x="237744" y="33429"/>
                          </a:lnTo>
                          <a:lnTo>
                            <a:pt x="237744" y="1575915"/>
                          </a:lnTo>
                          <a:lnTo>
                            <a:pt x="171313" y="1592996"/>
                          </a:lnTo>
                          <a:cubicBezTo>
                            <a:pt x="118931" y="1603715"/>
                            <a:pt x="64695" y="1609344"/>
                            <a:pt x="9144" y="1609344"/>
                          </a:cubicBezTo>
                          <a:lnTo>
                            <a:pt x="0" y="1608883"/>
                          </a:lnTo>
                          <a:lnTo>
                            <a:pt x="0" y="462"/>
                          </a:lnTo>
                          <a:lnTo>
                            <a:pt x="9144"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10" name="자유형 509"/>
                    <p:cNvSpPr/>
                    <p:nvPr/>
                  </p:nvSpPr>
                  <p:spPr>
                    <a:xfrm>
                      <a:off x="-5705856" y="-3448343"/>
                      <a:ext cx="603504" cy="1556593"/>
                    </a:xfrm>
                    <a:custGeom>
                      <a:avLst/>
                      <a:gdLst>
                        <a:gd name="connsiteX0" fmla="*/ 603504 w 603504"/>
                        <a:gd name="connsiteY0" fmla="*/ 0 h 1556593"/>
                        <a:gd name="connsiteX1" fmla="*/ 603504 w 603504"/>
                        <a:gd name="connsiteY1" fmla="*/ 1556593 h 1556593"/>
                        <a:gd name="connsiteX2" fmla="*/ 565387 w 603504"/>
                        <a:gd name="connsiteY2" fmla="*/ 1546792 h 1556593"/>
                        <a:gd name="connsiteX3" fmla="*/ 0 w 603504"/>
                        <a:gd name="connsiteY3" fmla="*/ 778296 h 1556593"/>
                        <a:gd name="connsiteX4" fmla="*/ 565387 w 603504"/>
                        <a:gd name="connsiteY4" fmla="*/ 9800 h 1556593"/>
                        <a:gd name="connsiteX5" fmla="*/ 603504 w 603504"/>
                        <a:gd name="connsiteY5" fmla="*/ 0 h 1556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3504" h="1556593">
                          <a:moveTo>
                            <a:pt x="603504" y="0"/>
                          </a:moveTo>
                          <a:lnTo>
                            <a:pt x="603504" y="1556593"/>
                          </a:lnTo>
                          <a:lnTo>
                            <a:pt x="565387" y="1546792"/>
                          </a:lnTo>
                          <a:cubicBezTo>
                            <a:pt x="237830" y="1444911"/>
                            <a:pt x="0" y="1139378"/>
                            <a:pt x="0" y="778296"/>
                          </a:cubicBezTo>
                          <a:cubicBezTo>
                            <a:pt x="0" y="417215"/>
                            <a:pt x="237830" y="111681"/>
                            <a:pt x="565387" y="9800"/>
                          </a:cubicBezTo>
                          <a:lnTo>
                            <a:pt x="603504"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11" name="자유형 510"/>
                    <p:cNvSpPr/>
                    <p:nvPr/>
                  </p:nvSpPr>
                  <p:spPr>
                    <a:xfrm>
                      <a:off x="-4590288" y="-3412334"/>
                      <a:ext cx="493776" cy="1484572"/>
                    </a:xfrm>
                    <a:custGeom>
                      <a:avLst/>
                      <a:gdLst>
                        <a:gd name="connsiteX0" fmla="*/ 0 w 493776"/>
                        <a:gd name="connsiteY0" fmla="*/ 0 h 1484572"/>
                        <a:gd name="connsiteX1" fmla="*/ 2319 w 493776"/>
                        <a:gd name="connsiteY1" fmla="*/ 849 h 1484572"/>
                        <a:gd name="connsiteX2" fmla="*/ 493776 w 493776"/>
                        <a:gd name="connsiteY2" fmla="*/ 742286 h 1484572"/>
                        <a:gd name="connsiteX3" fmla="*/ 2319 w 493776"/>
                        <a:gd name="connsiteY3" fmla="*/ 1483723 h 1484572"/>
                        <a:gd name="connsiteX4" fmla="*/ 0 w 493776"/>
                        <a:gd name="connsiteY4" fmla="*/ 1484572 h 1484572"/>
                        <a:gd name="connsiteX5" fmla="*/ 0 w 493776"/>
                        <a:gd name="connsiteY5" fmla="*/ 0 h 1484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6" h="1484572">
                          <a:moveTo>
                            <a:pt x="0" y="0"/>
                          </a:moveTo>
                          <a:lnTo>
                            <a:pt x="2319" y="849"/>
                          </a:lnTo>
                          <a:cubicBezTo>
                            <a:pt x="291128" y="123005"/>
                            <a:pt x="493776" y="408980"/>
                            <a:pt x="493776" y="742286"/>
                          </a:cubicBezTo>
                          <a:cubicBezTo>
                            <a:pt x="493776" y="1075592"/>
                            <a:pt x="291128" y="1361567"/>
                            <a:pt x="2319" y="1483723"/>
                          </a:cubicBezTo>
                          <a:lnTo>
                            <a:pt x="0" y="1484572"/>
                          </a:lnTo>
                          <a:lnTo>
                            <a:pt x="0"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sp>
                <p:nvSpPr>
                  <p:cNvPr id="508" name="자유형 507"/>
                  <p:cNvSpPr/>
                  <p:nvPr/>
                </p:nvSpPr>
                <p:spPr>
                  <a:xfrm>
                    <a:off x="9143999" y="2571242"/>
                    <a:ext cx="2931167" cy="787241"/>
                  </a:xfrm>
                  <a:custGeom>
                    <a:avLst/>
                    <a:gdLst>
                      <a:gd name="connsiteX0" fmla="*/ 1445129 w 2931167"/>
                      <a:gd name="connsiteY0" fmla="*/ 468602 h 787241"/>
                      <a:gd name="connsiteX1" fmla="*/ 1442195 w 2931167"/>
                      <a:gd name="connsiteY1" fmla="*/ 472777 h 787241"/>
                      <a:gd name="connsiteX2" fmla="*/ 1435581 w 2931167"/>
                      <a:gd name="connsiteY2" fmla="*/ 481932 h 787241"/>
                      <a:gd name="connsiteX3" fmla="*/ 1428714 w 2931167"/>
                      <a:gd name="connsiteY3" fmla="*/ 490833 h 787241"/>
                      <a:gd name="connsiteX4" fmla="*/ 1422100 w 2931167"/>
                      <a:gd name="connsiteY4" fmla="*/ 498972 h 787241"/>
                      <a:gd name="connsiteX5" fmla="*/ 1414978 w 2931167"/>
                      <a:gd name="connsiteY5" fmla="*/ 506601 h 787241"/>
                      <a:gd name="connsiteX6" fmla="*/ 1408785 w 2931167"/>
                      <a:gd name="connsiteY6" fmla="*/ 513251 h 787241"/>
                      <a:gd name="connsiteX7" fmla="*/ 1409097 w 2931167"/>
                      <a:gd name="connsiteY7" fmla="*/ 512959 h 787241"/>
                      <a:gd name="connsiteX8" fmla="*/ 1416476 w 2931167"/>
                      <a:gd name="connsiteY8" fmla="*/ 505584 h 787241"/>
                      <a:gd name="connsiteX9" fmla="*/ 1424109 w 2931167"/>
                      <a:gd name="connsiteY9" fmla="*/ 496937 h 787241"/>
                      <a:gd name="connsiteX10" fmla="*/ 1431234 w 2931167"/>
                      <a:gd name="connsiteY10" fmla="*/ 487782 h 787241"/>
                      <a:gd name="connsiteX11" fmla="*/ 1438612 w 2931167"/>
                      <a:gd name="connsiteY11" fmla="*/ 478372 h 787241"/>
                      <a:gd name="connsiteX12" fmla="*/ 1458759 w 2931167"/>
                      <a:gd name="connsiteY12" fmla="*/ 446379 h 787241"/>
                      <a:gd name="connsiteX13" fmla="*/ 1454913 w 2931167"/>
                      <a:gd name="connsiteY13" fmla="*/ 452686 h 787241"/>
                      <a:gd name="connsiteX14" fmla="*/ 1450629 w 2931167"/>
                      <a:gd name="connsiteY14" fmla="*/ 460181 h 787241"/>
                      <a:gd name="connsiteX15" fmla="*/ 1452861 w 2931167"/>
                      <a:gd name="connsiteY15" fmla="*/ 456755 h 787241"/>
                      <a:gd name="connsiteX16" fmla="*/ 1472551 w 2931167"/>
                      <a:gd name="connsiteY16" fmla="*/ 420938 h 787241"/>
                      <a:gd name="connsiteX17" fmla="*/ 1472186 w 2931167"/>
                      <a:gd name="connsiteY17" fmla="*/ 421654 h 787241"/>
                      <a:gd name="connsiteX18" fmla="*/ 1472453 w 2931167"/>
                      <a:gd name="connsiteY18" fmla="*/ 421150 h 787241"/>
                      <a:gd name="connsiteX19" fmla="*/ 1669574 w 2931167"/>
                      <a:gd name="connsiteY19" fmla="*/ 394616 h 787241"/>
                      <a:gd name="connsiteX20" fmla="*/ 1668111 w 2931167"/>
                      <a:gd name="connsiteY20" fmla="*/ 399157 h 787241"/>
                      <a:gd name="connsiteX21" fmla="*/ 1668833 w 2931167"/>
                      <a:gd name="connsiteY21" fmla="*/ 396990 h 787241"/>
                      <a:gd name="connsiteX22" fmla="*/ 1494018 w 2931167"/>
                      <a:gd name="connsiteY22" fmla="*/ 371288 h 787241"/>
                      <a:gd name="connsiteX23" fmla="*/ 1490015 w 2931167"/>
                      <a:gd name="connsiteY23" fmla="*/ 381477 h 787241"/>
                      <a:gd name="connsiteX24" fmla="*/ 1484419 w 2931167"/>
                      <a:gd name="connsiteY24" fmla="*/ 394447 h 787241"/>
                      <a:gd name="connsiteX25" fmla="*/ 1478823 w 2931167"/>
                      <a:gd name="connsiteY25" fmla="*/ 406908 h 787241"/>
                      <a:gd name="connsiteX26" fmla="*/ 1474960 w 2931167"/>
                      <a:gd name="connsiteY26" fmla="*/ 415738 h 787241"/>
                      <a:gd name="connsiteX27" fmla="*/ 1478814 w 2931167"/>
                      <a:gd name="connsiteY27" fmla="*/ 407417 h 787241"/>
                      <a:gd name="connsiteX28" fmla="*/ 1484921 w 2931167"/>
                      <a:gd name="connsiteY28" fmla="*/ 393938 h 787241"/>
                      <a:gd name="connsiteX29" fmla="*/ 1491027 w 2931167"/>
                      <a:gd name="connsiteY29" fmla="*/ 379442 h 787241"/>
                      <a:gd name="connsiteX30" fmla="*/ 1698631 w 2931167"/>
                      <a:gd name="connsiteY30" fmla="*/ 289018 h 787241"/>
                      <a:gd name="connsiteX31" fmla="*/ 1691527 w 2931167"/>
                      <a:gd name="connsiteY31" fmla="*/ 317643 h 787241"/>
                      <a:gd name="connsiteX32" fmla="*/ 1682876 w 2931167"/>
                      <a:gd name="connsiteY32" fmla="*/ 349687 h 787241"/>
                      <a:gd name="connsiteX33" fmla="*/ 1675427 w 2931167"/>
                      <a:gd name="connsiteY33" fmla="*/ 375853 h 787241"/>
                      <a:gd name="connsiteX34" fmla="*/ 1677481 w 2931167"/>
                      <a:gd name="connsiteY34" fmla="*/ 369269 h 787241"/>
                      <a:gd name="connsiteX35" fmla="*/ 1685366 w 2931167"/>
                      <a:gd name="connsiteY35" fmla="*/ 341294 h 787241"/>
                      <a:gd name="connsiteX36" fmla="*/ 1692997 w 2931167"/>
                      <a:gd name="connsiteY36" fmla="*/ 312556 h 787241"/>
                      <a:gd name="connsiteX37" fmla="*/ 1700798 w 2931167"/>
                      <a:gd name="connsiteY37" fmla="*/ 279319 h 787241"/>
                      <a:gd name="connsiteX38" fmla="*/ 1699887 w 2931167"/>
                      <a:gd name="connsiteY38" fmla="*/ 283772 h 787241"/>
                      <a:gd name="connsiteX39" fmla="*/ 1700119 w 2931167"/>
                      <a:gd name="connsiteY39" fmla="*/ 282801 h 787241"/>
                      <a:gd name="connsiteX40" fmla="*/ 1525851 w 2931167"/>
                      <a:gd name="connsiteY40" fmla="*/ 261707 h 787241"/>
                      <a:gd name="connsiteX41" fmla="*/ 1522574 w 2931167"/>
                      <a:gd name="connsiteY41" fmla="*/ 275426 h 787241"/>
                      <a:gd name="connsiteX42" fmla="*/ 1518504 w 2931167"/>
                      <a:gd name="connsiteY42" fmla="*/ 291957 h 787241"/>
                      <a:gd name="connsiteX43" fmla="*/ 1514688 w 2931167"/>
                      <a:gd name="connsiteY43" fmla="*/ 307979 h 787241"/>
                      <a:gd name="connsiteX44" fmla="*/ 1510110 w 2931167"/>
                      <a:gd name="connsiteY44" fmla="*/ 323492 h 787241"/>
                      <a:gd name="connsiteX45" fmla="*/ 1506125 w 2931167"/>
                      <a:gd name="connsiteY45" fmla="*/ 336771 h 787241"/>
                      <a:gd name="connsiteX46" fmla="*/ 1507566 w 2931167"/>
                      <a:gd name="connsiteY46" fmla="*/ 332647 h 787241"/>
                      <a:gd name="connsiteX47" fmla="*/ 1512655 w 2931167"/>
                      <a:gd name="connsiteY47" fmla="*/ 316117 h 787241"/>
                      <a:gd name="connsiteX48" fmla="*/ 1517235 w 2931167"/>
                      <a:gd name="connsiteY48" fmla="*/ 299077 h 787241"/>
                      <a:gd name="connsiteX49" fmla="*/ 1521560 w 2931167"/>
                      <a:gd name="connsiteY49" fmla="*/ 281275 h 787241"/>
                      <a:gd name="connsiteX50" fmla="*/ 1525631 w 2931167"/>
                      <a:gd name="connsiteY50" fmla="*/ 262710 h 787241"/>
                      <a:gd name="connsiteX51" fmla="*/ 1536909 w 2931167"/>
                      <a:gd name="connsiteY51" fmla="*/ 203869 h 787241"/>
                      <a:gd name="connsiteX52" fmla="*/ 1536818 w 2931167"/>
                      <a:gd name="connsiteY52" fmla="*/ 204471 h 787241"/>
                      <a:gd name="connsiteX53" fmla="*/ 1533766 w 2931167"/>
                      <a:gd name="connsiteY53" fmla="*/ 223037 h 787241"/>
                      <a:gd name="connsiteX54" fmla="*/ 1530205 w 2931167"/>
                      <a:gd name="connsiteY54" fmla="*/ 241093 h 787241"/>
                      <a:gd name="connsiteX55" fmla="*/ 1527646 w 2931167"/>
                      <a:gd name="connsiteY55" fmla="*/ 253523 h 787241"/>
                      <a:gd name="connsiteX56" fmla="*/ 1529702 w 2931167"/>
                      <a:gd name="connsiteY56" fmla="*/ 244145 h 787241"/>
                      <a:gd name="connsiteX57" fmla="*/ 1533774 w 2931167"/>
                      <a:gd name="connsiteY57" fmla="*/ 224562 h 787241"/>
                      <a:gd name="connsiteX58" fmla="*/ 1536827 w 2931167"/>
                      <a:gd name="connsiteY58" fmla="*/ 204471 h 787241"/>
                      <a:gd name="connsiteX59" fmla="*/ 1722073 w 2931167"/>
                      <a:gd name="connsiteY59" fmla="*/ 156535 h 787241"/>
                      <a:gd name="connsiteX60" fmla="*/ 1721033 w 2931167"/>
                      <a:gd name="connsiteY60" fmla="*/ 164622 h 787241"/>
                      <a:gd name="connsiteX61" fmla="*/ 1721740 w 2931167"/>
                      <a:gd name="connsiteY61" fmla="*/ 159711 h 787241"/>
                      <a:gd name="connsiteX62" fmla="*/ 1550299 w 2931167"/>
                      <a:gd name="connsiteY62" fmla="*/ 62816 h 787241"/>
                      <a:gd name="connsiteX63" fmla="*/ 1549282 w 2931167"/>
                      <a:gd name="connsiteY63" fmla="*/ 84433 h 787241"/>
                      <a:gd name="connsiteX64" fmla="*/ 1547756 w 2931167"/>
                      <a:gd name="connsiteY64" fmla="*/ 105542 h 787241"/>
                      <a:gd name="connsiteX65" fmla="*/ 1546230 w 2931167"/>
                      <a:gd name="connsiteY65" fmla="*/ 126141 h 787241"/>
                      <a:gd name="connsiteX66" fmla="*/ 1544195 w 2931167"/>
                      <a:gd name="connsiteY66" fmla="*/ 146741 h 787241"/>
                      <a:gd name="connsiteX67" fmla="*/ 1542160 w 2931167"/>
                      <a:gd name="connsiteY67" fmla="*/ 166324 h 787241"/>
                      <a:gd name="connsiteX68" fmla="*/ 1542125 w 2931167"/>
                      <a:gd name="connsiteY68" fmla="*/ 166594 h 787241"/>
                      <a:gd name="connsiteX69" fmla="*/ 1542679 w 2931167"/>
                      <a:gd name="connsiteY69" fmla="*/ 162763 h 787241"/>
                      <a:gd name="connsiteX70" fmla="*/ 1545223 w 2931167"/>
                      <a:gd name="connsiteY70" fmla="*/ 141146 h 787241"/>
                      <a:gd name="connsiteX71" fmla="*/ 1547259 w 2931167"/>
                      <a:gd name="connsiteY71" fmla="*/ 119020 h 787241"/>
                      <a:gd name="connsiteX72" fmla="*/ 1548786 w 2931167"/>
                      <a:gd name="connsiteY72" fmla="*/ 96386 h 787241"/>
                      <a:gd name="connsiteX73" fmla="*/ 1550312 w 2931167"/>
                      <a:gd name="connsiteY73" fmla="*/ 72988 h 787241"/>
                      <a:gd name="connsiteX74" fmla="*/ 1550750 w 2931167"/>
                      <a:gd name="connsiteY74" fmla="*/ 62816 h 787241"/>
                      <a:gd name="connsiteX75" fmla="*/ 2337323 w 2931167"/>
                      <a:gd name="connsiteY75" fmla="*/ 0 h 787241"/>
                      <a:gd name="connsiteX76" fmla="*/ 2931167 w 2931167"/>
                      <a:gd name="connsiteY76" fmla="*/ 0 h 787241"/>
                      <a:gd name="connsiteX77" fmla="*/ 2931167 w 2931167"/>
                      <a:gd name="connsiteY77" fmla="*/ 510 h 787241"/>
                      <a:gd name="connsiteX78" fmla="*/ 2931167 w 2931167"/>
                      <a:gd name="connsiteY78" fmla="*/ 3538 h 787241"/>
                      <a:gd name="connsiteX79" fmla="*/ 2930656 w 2931167"/>
                      <a:gd name="connsiteY79" fmla="*/ 6565 h 787241"/>
                      <a:gd name="connsiteX80" fmla="*/ 2929123 w 2931167"/>
                      <a:gd name="connsiteY80" fmla="*/ 11863 h 787241"/>
                      <a:gd name="connsiteX81" fmla="*/ 2926057 w 2931167"/>
                      <a:gd name="connsiteY81" fmla="*/ 16909 h 787241"/>
                      <a:gd name="connsiteX82" fmla="*/ 2922479 w 2931167"/>
                      <a:gd name="connsiteY82" fmla="*/ 21450 h 787241"/>
                      <a:gd name="connsiteX83" fmla="*/ 2918135 w 2931167"/>
                      <a:gd name="connsiteY83" fmla="*/ 24982 h 787241"/>
                      <a:gd name="connsiteX84" fmla="*/ 2913025 w 2931167"/>
                      <a:gd name="connsiteY84" fmla="*/ 28009 h 787241"/>
                      <a:gd name="connsiteX85" fmla="*/ 2907403 w 2931167"/>
                      <a:gd name="connsiteY85" fmla="*/ 29523 h 787241"/>
                      <a:gd name="connsiteX86" fmla="*/ 2904337 w 2931167"/>
                      <a:gd name="connsiteY86" fmla="*/ 30027 h 787241"/>
                      <a:gd name="connsiteX87" fmla="*/ 2901271 w 2931167"/>
                      <a:gd name="connsiteY87" fmla="*/ 30532 h 787241"/>
                      <a:gd name="connsiteX88" fmla="*/ 2898460 w 2931167"/>
                      <a:gd name="connsiteY88" fmla="*/ 30027 h 787241"/>
                      <a:gd name="connsiteX89" fmla="*/ 2895394 w 2931167"/>
                      <a:gd name="connsiteY89" fmla="*/ 29523 h 787241"/>
                      <a:gd name="connsiteX90" fmla="*/ 2889261 w 2931167"/>
                      <a:gd name="connsiteY90" fmla="*/ 28009 h 787241"/>
                      <a:gd name="connsiteX91" fmla="*/ 2884151 w 2931167"/>
                      <a:gd name="connsiteY91" fmla="*/ 24982 h 787241"/>
                      <a:gd name="connsiteX92" fmla="*/ 2880062 w 2931167"/>
                      <a:gd name="connsiteY92" fmla="*/ 21450 h 787241"/>
                      <a:gd name="connsiteX93" fmla="*/ 2876229 w 2931167"/>
                      <a:gd name="connsiteY93" fmla="*/ 16909 h 787241"/>
                      <a:gd name="connsiteX94" fmla="*/ 2873674 w 2931167"/>
                      <a:gd name="connsiteY94" fmla="*/ 11863 h 787241"/>
                      <a:gd name="connsiteX95" fmla="*/ 2871630 w 2931167"/>
                      <a:gd name="connsiteY95" fmla="*/ 6565 h 787241"/>
                      <a:gd name="connsiteX96" fmla="*/ 2871381 w 2931167"/>
                      <a:gd name="connsiteY96" fmla="*/ 5088 h 787241"/>
                      <a:gd name="connsiteX97" fmla="*/ 2771049 w 2931167"/>
                      <a:gd name="connsiteY97" fmla="*/ 5088 h 787241"/>
                      <a:gd name="connsiteX98" fmla="*/ 2770356 w 2931167"/>
                      <a:gd name="connsiteY98" fmla="*/ 5723 h 787241"/>
                      <a:gd name="connsiteX99" fmla="*/ 2751772 w 2931167"/>
                      <a:gd name="connsiteY99" fmla="*/ 21238 h 787241"/>
                      <a:gd name="connsiteX100" fmla="*/ 2721478 w 2931167"/>
                      <a:gd name="connsiteY100" fmla="*/ 45909 h 787241"/>
                      <a:gd name="connsiteX101" fmla="*/ 2702384 w 2931167"/>
                      <a:gd name="connsiteY101" fmla="*/ 60915 h 787241"/>
                      <a:gd name="connsiteX102" fmla="*/ 2680746 w 2931167"/>
                      <a:gd name="connsiteY102" fmla="*/ 77447 h 787241"/>
                      <a:gd name="connsiteX103" fmla="*/ 2656052 w 2931167"/>
                      <a:gd name="connsiteY103" fmla="*/ 95505 h 787241"/>
                      <a:gd name="connsiteX104" fmla="*/ 2629576 w 2931167"/>
                      <a:gd name="connsiteY104" fmla="*/ 115089 h 787241"/>
                      <a:gd name="connsiteX105" fmla="*/ 2600809 w 2931167"/>
                      <a:gd name="connsiteY105" fmla="*/ 135691 h 787241"/>
                      <a:gd name="connsiteX106" fmla="*/ 2569750 w 2931167"/>
                      <a:gd name="connsiteY106" fmla="*/ 157310 h 787241"/>
                      <a:gd name="connsiteX107" fmla="*/ 2535892 w 2931167"/>
                      <a:gd name="connsiteY107" fmla="*/ 179946 h 787241"/>
                      <a:gd name="connsiteX108" fmla="*/ 2500760 w 2931167"/>
                      <a:gd name="connsiteY108" fmla="*/ 203091 h 787241"/>
                      <a:gd name="connsiteX109" fmla="*/ 2463592 w 2931167"/>
                      <a:gd name="connsiteY109" fmla="*/ 226236 h 787241"/>
                      <a:gd name="connsiteX110" fmla="*/ 2424388 w 2931167"/>
                      <a:gd name="connsiteY110" fmla="*/ 250398 h 787241"/>
                      <a:gd name="connsiteX111" fmla="*/ 2393075 w 2931167"/>
                      <a:gd name="connsiteY111" fmla="*/ 268457 h 787241"/>
                      <a:gd name="connsiteX112" fmla="*/ 2360998 w 2931167"/>
                      <a:gd name="connsiteY112" fmla="*/ 286515 h 787241"/>
                      <a:gd name="connsiteX113" fmla="*/ 2327649 w 2931167"/>
                      <a:gd name="connsiteY113" fmla="*/ 304573 h 787241"/>
                      <a:gd name="connsiteX114" fmla="*/ 2294045 w 2931167"/>
                      <a:gd name="connsiteY114" fmla="*/ 322631 h 787241"/>
                      <a:gd name="connsiteX115" fmla="*/ 2300155 w 2931167"/>
                      <a:gd name="connsiteY115" fmla="*/ 297706 h 787241"/>
                      <a:gd name="connsiteX116" fmla="*/ 2305501 w 2931167"/>
                      <a:gd name="connsiteY116" fmla="*/ 273035 h 787241"/>
                      <a:gd name="connsiteX117" fmla="*/ 2310592 w 2931167"/>
                      <a:gd name="connsiteY117" fmla="*/ 248872 h 787241"/>
                      <a:gd name="connsiteX118" fmla="*/ 2315684 w 2931167"/>
                      <a:gd name="connsiteY118" fmla="*/ 224710 h 787241"/>
                      <a:gd name="connsiteX119" fmla="*/ 2319757 w 2931167"/>
                      <a:gd name="connsiteY119" fmla="*/ 200548 h 787241"/>
                      <a:gd name="connsiteX120" fmla="*/ 2323067 w 2931167"/>
                      <a:gd name="connsiteY120" fmla="*/ 176894 h 787241"/>
                      <a:gd name="connsiteX121" fmla="*/ 2326631 w 2931167"/>
                      <a:gd name="connsiteY121" fmla="*/ 154003 h 787241"/>
                      <a:gd name="connsiteX122" fmla="*/ 2329176 w 2931167"/>
                      <a:gd name="connsiteY122" fmla="*/ 130858 h 787241"/>
                      <a:gd name="connsiteX123" fmla="*/ 2331722 w 2931167"/>
                      <a:gd name="connsiteY123" fmla="*/ 108222 h 787241"/>
                      <a:gd name="connsiteX124" fmla="*/ 2333759 w 2931167"/>
                      <a:gd name="connsiteY124" fmla="*/ 85586 h 787241"/>
                      <a:gd name="connsiteX125" fmla="*/ 2335286 w 2931167"/>
                      <a:gd name="connsiteY125" fmla="*/ 63458 h 787241"/>
                      <a:gd name="connsiteX126" fmla="*/ 2336305 w 2931167"/>
                      <a:gd name="connsiteY126" fmla="*/ 41839 h 787241"/>
                      <a:gd name="connsiteX127" fmla="*/ 2337323 w 2931167"/>
                      <a:gd name="connsiteY127" fmla="*/ 20729 h 787241"/>
                      <a:gd name="connsiteX128" fmla="*/ 0 w 2931167"/>
                      <a:gd name="connsiteY128" fmla="*/ 0 h 787241"/>
                      <a:gd name="connsiteX129" fmla="*/ 2337300 w 2931167"/>
                      <a:gd name="connsiteY129" fmla="*/ 0 h 787241"/>
                      <a:gd name="connsiteX130" fmla="*/ 2337300 w 2931167"/>
                      <a:gd name="connsiteY130" fmla="*/ 20599 h 787241"/>
                      <a:gd name="connsiteX131" fmla="*/ 2336283 w 2931167"/>
                      <a:gd name="connsiteY131" fmla="*/ 41708 h 787241"/>
                      <a:gd name="connsiteX132" fmla="*/ 2335265 w 2931167"/>
                      <a:gd name="connsiteY132" fmla="*/ 63325 h 787241"/>
                      <a:gd name="connsiteX133" fmla="*/ 2333739 w 2931167"/>
                      <a:gd name="connsiteY133" fmla="*/ 85451 h 787241"/>
                      <a:gd name="connsiteX134" fmla="*/ 2331704 w 2931167"/>
                      <a:gd name="connsiteY134" fmla="*/ 108085 h 787241"/>
                      <a:gd name="connsiteX135" fmla="*/ 2329161 w 2931167"/>
                      <a:gd name="connsiteY135" fmla="*/ 130719 h 787241"/>
                      <a:gd name="connsiteX136" fmla="*/ 2326617 w 2931167"/>
                      <a:gd name="connsiteY136" fmla="*/ 153862 h 787241"/>
                      <a:gd name="connsiteX137" fmla="*/ 2323056 w 2931167"/>
                      <a:gd name="connsiteY137" fmla="*/ 176751 h 787241"/>
                      <a:gd name="connsiteX138" fmla="*/ 2319749 w 2931167"/>
                      <a:gd name="connsiteY138" fmla="*/ 200402 h 787241"/>
                      <a:gd name="connsiteX139" fmla="*/ 2315679 w 2931167"/>
                      <a:gd name="connsiteY139" fmla="*/ 224562 h 787241"/>
                      <a:gd name="connsiteX140" fmla="*/ 2310592 w 2931167"/>
                      <a:gd name="connsiteY140" fmla="*/ 248723 h 787241"/>
                      <a:gd name="connsiteX141" fmla="*/ 2305505 w 2931167"/>
                      <a:gd name="connsiteY141" fmla="*/ 272883 h 787241"/>
                      <a:gd name="connsiteX142" fmla="*/ 2300163 w 2931167"/>
                      <a:gd name="connsiteY142" fmla="*/ 297552 h 787241"/>
                      <a:gd name="connsiteX143" fmla="*/ 2294058 w 2931167"/>
                      <a:gd name="connsiteY143" fmla="*/ 322475 h 787241"/>
                      <a:gd name="connsiteX144" fmla="*/ 2256921 w 2931167"/>
                      <a:gd name="connsiteY144" fmla="*/ 341294 h 787241"/>
                      <a:gd name="connsiteX145" fmla="*/ 2219021 w 2931167"/>
                      <a:gd name="connsiteY145" fmla="*/ 359351 h 787241"/>
                      <a:gd name="connsiteX146" fmla="*/ 2180358 w 2931167"/>
                      <a:gd name="connsiteY146" fmla="*/ 377408 h 787241"/>
                      <a:gd name="connsiteX147" fmla="*/ 2141186 w 2931167"/>
                      <a:gd name="connsiteY147" fmla="*/ 394447 h 787241"/>
                      <a:gd name="connsiteX148" fmla="*/ 2100996 w 2931167"/>
                      <a:gd name="connsiteY148" fmla="*/ 410978 h 787241"/>
                      <a:gd name="connsiteX149" fmla="*/ 2059790 w 2931167"/>
                      <a:gd name="connsiteY149" fmla="*/ 426491 h 787241"/>
                      <a:gd name="connsiteX150" fmla="*/ 2018583 w 2931167"/>
                      <a:gd name="connsiteY150" fmla="*/ 441750 h 787241"/>
                      <a:gd name="connsiteX151" fmla="*/ 1976358 w 2931167"/>
                      <a:gd name="connsiteY151" fmla="*/ 455737 h 787241"/>
                      <a:gd name="connsiteX152" fmla="*/ 1933116 w 2931167"/>
                      <a:gd name="connsiteY152" fmla="*/ 468708 h 787241"/>
                      <a:gd name="connsiteX153" fmla="*/ 1911496 w 2931167"/>
                      <a:gd name="connsiteY153" fmla="*/ 474811 h 787241"/>
                      <a:gd name="connsiteX154" fmla="*/ 1889875 w 2931167"/>
                      <a:gd name="connsiteY154" fmla="*/ 480915 h 787241"/>
                      <a:gd name="connsiteX155" fmla="*/ 1868000 w 2931167"/>
                      <a:gd name="connsiteY155" fmla="*/ 486510 h 787241"/>
                      <a:gd name="connsiteX156" fmla="*/ 1846378 w 2931167"/>
                      <a:gd name="connsiteY156" fmla="*/ 491342 h 787241"/>
                      <a:gd name="connsiteX157" fmla="*/ 1824249 w 2931167"/>
                      <a:gd name="connsiteY157" fmla="*/ 496428 h 787241"/>
                      <a:gd name="connsiteX158" fmla="*/ 1802119 w 2931167"/>
                      <a:gd name="connsiteY158" fmla="*/ 501006 h 787241"/>
                      <a:gd name="connsiteX159" fmla="*/ 1779481 w 2931167"/>
                      <a:gd name="connsiteY159" fmla="*/ 505075 h 787241"/>
                      <a:gd name="connsiteX160" fmla="*/ 1757351 w 2931167"/>
                      <a:gd name="connsiteY160" fmla="*/ 508890 h 787241"/>
                      <a:gd name="connsiteX161" fmla="*/ 1734713 w 2931167"/>
                      <a:gd name="connsiteY161" fmla="*/ 512450 h 787241"/>
                      <a:gd name="connsiteX162" fmla="*/ 1712075 w 2931167"/>
                      <a:gd name="connsiteY162" fmla="*/ 515502 h 787241"/>
                      <a:gd name="connsiteX163" fmla="*/ 1689436 w 2931167"/>
                      <a:gd name="connsiteY163" fmla="*/ 518045 h 787241"/>
                      <a:gd name="connsiteX164" fmla="*/ 1666798 w 2931167"/>
                      <a:gd name="connsiteY164" fmla="*/ 520589 h 787241"/>
                      <a:gd name="connsiteX165" fmla="*/ 1643651 w 2931167"/>
                      <a:gd name="connsiteY165" fmla="*/ 522623 h 787241"/>
                      <a:gd name="connsiteX166" fmla="*/ 1621048 w 2931167"/>
                      <a:gd name="connsiteY166" fmla="*/ 524147 h 787241"/>
                      <a:gd name="connsiteX167" fmla="*/ 1621047 w 2931167"/>
                      <a:gd name="connsiteY167" fmla="*/ 524149 h 787241"/>
                      <a:gd name="connsiteX168" fmla="*/ 1589496 w 2931167"/>
                      <a:gd name="connsiteY168" fmla="*/ 525166 h 787241"/>
                      <a:gd name="connsiteX169" fmla="*/ 1558454 w 2931167"/>
                      <a:gd name="connsiteY169" fmla="*/ 525675 h 787241"/>
                      <a:gd name="connsiteX170" fmla="*/ 1517998 w 2931167"/>
                      <a:gd name="connsiteY170" fmla="*/ 525675 h 787241"/>
                      <a:gd name="connsiteX171" fmla="*/ 1478305 w 2931167"/>
                      <a:gd name="connsiteY171" fmla="*/ 524658 h 787241"/>
                      <a:gd name="connsiteX172" fmla="*/ 1439630 w 2931167"/>
                      <a:gd name="connsiteY172" fmla="*/ 522623 h 787241"/>
                      <a:gd name="connsiteX173" fmla="*/ 1400955 w 2931167"/>
                      <a:gd name="connsiteY173" fmla="*/ 520589 h 787241"/>
                      <a:gd name="connsiteX174" fmla="*/ 1400958 w 2931167"/>
                      <a:gd name="connsiteY174" fmla="*/ 520586 h 787241"/>
                      <a:gd name="connsiteX175" fmla="*/ 1356220 w 2931167"/>
                      <a:gd name="connsiteY175" fmla="*/ 517028 h 787241"/>
                      <a:gd name="connsiteX176" fmla="*/ 1311961 w 2931167"/>
                      <a:gd name="connsiteY176" fmla="*/ 512450 h 787241"/>
                      <a:gd name="connsiteX177" fmla="*/ 1268464 w 2931167"/>
                      <a:gd name="connsiteY177" fmla="*/ 507618 h 787241"/>
                      <a:gd name="connsiteX178" fmla="*/ 1225731 w 2931167"/>
                      <a:gd name="connsiteY178" fmla="*/ 501515 h 787241"/>
                      <a:gd name="connsiteX179" fmla="*/ 1182998 w 2931167"/>
                      <a:gd name="connsiteY179" fmla="*/ 494394 h 787241"/>
                      <a:gd name="connsiteX180" fmla="*/ 1140265 w 2931167"/>
                      <a:gd name="connsiteY180" fmla="*/ 486764 h 787241"/>
                      <a:gd name="connsiteX181" fmla="*/ 1097532 w 2931167"/>
                      <a:gd name="connsiteY181" fmla="*/ 478372 h 787241"/>
                      <a:gd name="connsiteX182" fmla="*/ 1054799 w 2931167"/>
                      <a:gd name="connsiteY182" fmla="*/ 469216 h 787241"/>
                      <a:gd name="connsiteX183" fmla="*/ 1038334 w 2931167"/>
                      <a:gd name="connsiteY183" fmla="*/ 465484 h 787241"/>
                      <a:gd name="connsiteX184" fmla="*/ 1036847 w 2931167"/>
                      <a:gd name="connsiteY184" fmla="*/ 467564 h 787241"/>
                      <a:gd name="connsiteX185" fmla="*/ 1020004 w 2931167"/>
                      <a:gd name="connsiteY185" fmla="*/ 490851 h 787241"/>
                      <a:gd name="connsiteX186" fmla="*/ 1011990 w 2931167"/>
                      <a:gd name="connsiteY186" fmla="*/ 502387 h 787241"/>
                      <a:gd name="connsiteX187" fmla="*/ 992055 w 2931167"/>
                      <a:gd name="connsiteY187" fmla="*/ 531397 h 787241"/>
                      <a:gd name="connsiteX188" fmla="*/ 977039 w 2931167"/>
                      <a:gd name="connsiteY188" fmla="*/ 554540 h 787241"/>
                      <a:gd name="connsiteX189" fmla="*/ 961260 w 2931167"/>
                      <a:gd name="connsiteY189" fmla="*/ 579209 h 787241"/>
                      <a:gd name="connsiteX190" fmla="*/ 945735 w 2931167"/>
                      <a:gd name="connsiteY190" fmla="*/ 604895 h 787241"/>
                      <a:gd name="connsiteX191" fmla="*/ 929701 w 2931167"/>
                      <a:gd name="connsiteY191" fmla="*/ 632107 h 787241"/>
                      <a:gd name="connsiteX192" fmla="*/ 914686 w 2931167"/>
                      <a:gd name="connsiteY192" fmla="*/ 659065 h 787241"/>
                      <a:gd name="connsiteX193" fmla="*/ 900434 w 2931167"/>
                      <a:gd name="connsiteY193" fmla="*/ 686786 h 787241"/>
                      <a:gd name="connsiteX194" fmla="*/ 894580 w 2931167"/>
                      <a:gd name="connsiteY194" fmla="*/ 700264 h 787241"/>
                      <a:gd name="connsiteX195" fmla="*/ 888472 w 2931167"/>
                      <a:gd name="connsiteY195" fmla="*/ 713489 h 787241"/>
                      <a:gd name="connsiteX196" fmla="*/ 882873 w 2931167"/>
                      <a:gd name="connsiteY196" fmla="*/ 726459 h 787241"/>
                      <a:gd name="connsiteX197" fmla="*/ 877783 w 2931167"/>
                      <a:gd name="connsiteY197" fmla="*/ 739429 h 787241"/>
                      <a:gd name="connsiteX198" fmla="*/ 873456 w 2931167"/>
                      <a:gd name="connsiteY198" fmla="*/ 752145 h 787241"/>
                      <a:gd name="connsiteX199" fmla="*/ 869384 w 2931167"/>
                      <a:gd name="connsiteY199" fmla="*/ 764098 h 787241"/>
                      <a:gd name="connsiteX200" fmla="*/ 866330 w 2931167"/>
                      <a:gd name="connsiteY200" fmla="*/ 776305 h 787241"/>
                      <a:gd name="connsiteX201" fmla="*/ 864294 w 2931167"/>
                      <a:gd name="connsiteY201" fmla="*/ 787241 h 787241"/>
                      <a:gd name="connsiteX202" fmla="*/ 0 w 2931167"/>
                      <a:gd name="connsiteY202" fmla="*/ 604387 h 787241"/>
                      <a:gd name="connsiteX203" fmla="*/ 0 w 2931167"/>
                      <a:gd name="connsiteY203" fmla="*/ 546148 h 787241"/>
                      <a:gd name="connsiteX204" fmla="*/ 27741 w 2931167"/>
                      <a:gd name="connsiteY204" fmla="*/ 548691 h 787241"/>
                      <a:gd name="connsiteX205" fmla="*/ 58790 w 2931167"/>
                      <a:gd name="connsiteY205" fmla="*/ 551488 h 787241"/>
                      <a:gd name="connsiteX206" fmla="*/ 100020 w 2931167"/>
                      <a:gd name="connsiteY206" fmla="*/ 554032 h 787241"/>
                      <a:gd name="connsiteX207" fmla="*/ 123689 w 2931167"/>
                      <a:gd name="connsiteY207" fmla="*/ 555558 h 787241"/>
                      <a:gd name="connsiteX208" fmla="*/ 148885 w 2931167"/>
                      <a:gd name="connsiteY208" fmla="*/ 556575 h 787241"/>
                      <a:gd name="connsiteX209" fmla="*/ 175862 w 2931167"/>
                      <a:gd name="connsiteY209" fmla="*/ 557083 h 787241"/>
                      <a:gd name="connsiteX210" fmla="*/ 204112 w 2931167"/>
                      <a:gd name="connsiteY210" fmla="*/ 557592 h 787241"/>
                      <a:gd name="connsiteX211" fmla="*/ 233380 w 2931167"/>
                      <a:gd name="connsiteY211" fmla="*/ 557592 h 787241"/>
                      <a:gd name="connsiteX212" fmla="*/ 263411 w 2931167"/>
                      <a:gd name="connsiteY212" fmla="*/ 557083 h 787241"/>
                      <a:gd name="connsiteX213" fmla="*/ 294715 w 2931167"/>
                      <a:gd name="connsiteY213" fmla="*/ 555558 h 787241"/>
                      <a:gd name="connsiteX214" fmla="*/ 325765 w 2931167"/>
                      <a:gd name="connsiteY214" fmla="*/ 553523 h 787241"/>
                      <a:gd name="connsiteX215" fmla="*/ 357068 w 2931167"/>
                      <a:gd name="connsiteY215" fmla="*/ 550980 h 787241"/>
                      <a:gd name="connsiteX216" fmla="*/ 388627 w 2931167"/>
                      <a:gd name="connsiteY216" fmla="*/ 547674 h 787241"/>
                      <a:gd name="connsiteX217" fmla="*/ 419931 w 2931167"/>
                      <a:gd name="connsiteY217" fmla="*/ 543605 h 787241"/>
                      <a:gd name="connsiteX218" fmla="*/ 450471 w 2931167"/>
                      <a:gd name="connsiteY218" fmla="*/ 538010 h 787241"/>
                      <a:gd name="connsiteX219" fmla="*/ 465996 w 2931167"/>
                      <a:gd name="connsiteY219" fmla="*/ 534958 h 787241"/>
                      <a:gd name="connsiteX220" fmla="*/ 481266 w 2931167"/>
                      <a:gd name="connsiteY220" fmla="*/ 531397 h 787241"/>
                      <a:gd name="connsiteX221" fmla="*/ 495773 w 2931167"/>
                      <a:gd name="connsiteY221" fmla="*/ 528091 h 787241"/>
                      <a:gd name="connsiteX222" fmla="*/ 510280 w 2931167"/>
                      <a:gd name="connsiteY222" fmla="*/ 524022 h 787241"/>
                      <a:gd name="connsiteX223" fmla="*/ 524532 w 2931167"/>
                      <a:gd name="connsiteY223" fmla="*/ 519953 h 787241"/>
                      <a:gd name="connsiteX224" fmla="*/ 538530 w 2931167"/>
                      <a:gd name="connsiteY224" fmla="*/ 515375 h 787241"/>
                      <a:gd name="connsiteX225" fmla="*/ 552018 w 2931167"/>
                      <a:gd name="connsiteY225" fmla="*/ 510289 h 787241"/>
                      <a:gd name="connsiteX226" fmla="*/ 565761 w 2931167"/>
                      <a:gd name="connsiteY226" fmla="*/ 505457 h 787241"/>
                      <a:gd name="connsiteX227" fmla="*/ 578232 w 2931167"/>
                      <a:gd name="connsiteY227" fmla="*/ 499862 h 787241"/>
                      <a:gd name="connsiteX228" fmla="*/ 590703 w 2931167"/>
                      <a:gd name="connsiteY228" fmla="*/ 493758 h 787241"/>
                      <a:gd name="connsiteX229" fmla="*/ 602919 w 2931167"/>
                      <a:gd name="connsiteY229" fmla="*/ 487655 h 787241"/>
                      <a:gd name="connsiteX230" fmla="*/ 614372 w 2931167"/>
                      <a:gd name="connsiteY230" fmla="*/ 481297 h 787241"/>
                      <a:gd name="connsiteX231" fmla="*/ 625570 w 2931167"/>
                      <a:gd name="connsiteY231" fmla="*/ 474176 h 787241"/>
                      <a:gd name="connsiteX232" fmla="*/ 636004 w 2931167"/>
                      <a:gd name="connsiteY232" fmla="*/ 466546 h 787241"/>
                      <a:gd name="connsiteX233" fmla="*/ 646184 w 2931167"/>
                      <a:gd name="connsiteY233" fmla="*/ 459171 h 787241"/>
                      <a:gd name="connsiteX234" fmla="*/ 655601 w 2931167"/>
                      <a:gd name="connsiteY234" fmla="*/ 450524 h 787241"/>
                      <a:gd name="connsiteX235" fmla="*/ 664763 w 2931167"/>
                      <a:gd name="connsiteY235" fmla="*/ 442132 h 787241"/>
                      <a:gd name="connsiteX236" fmla="*/ 672653 w 2931167"/>
                      <a:gd name="connsiteY236" fmla="*/ 432976 h 787241"/>
                      <a:gd name="connsiteX237" fmla="*/ 680288 w 2931167"/>
                      <a:gd name="connsiteY237" fmla="*/ 424075 h 787241"/>
                      <a:gd name="connsiteX238" fmla="*/ 687414 w 2931167"/>
                      <a:gd name="connsiteY238" fmla="*/ 413902 h 787241"/>
                      <a:gd name="connsiteX239" fmla="*/ 692602 w 2931167"/>
                      <a:gd name="connsiteY239" fmla="*/ 405401 h 787241"/>
                      <a:gd name="connsiteX240" fmla="*/ 692081 w 2931167"/>
                      <a:gd name="connsiteY240" fmla="*/ 405176 h 787241"/>
                      <a:gd name="connsiteX241" fmla="*/ 696664 w 2931167"/>
                      <a:gd name="connsiteY241" fmla="*/ 397296 h 787241"/>
                      <a:gd name="connsiteX242" fmla="*/ 700738 w 2931167"/>
                      <a:gd name="connsiteY242" fmla="*/ 388146 h 787241"/>
                      <a:gd name="connsiteX243" fmla="*/ 704295 w 2931167"/>
                      <a:gd name="connsiteY243" fmla="*/ 380379 h 787241"/>
                      <a:gd name="connsiteX244" fmla="*/ 704871 w 2931167"/>
                      <a:gd name="connsiteY244" fmla="*/ 378725 h 787241"/>
                      <a:gd name="connsiteX245" fmla="*/ 676306 w 2931167"/>
                      <a:gd name="connsiteY245" fmla="*/ 370795 h 787241"/>
                      <a:gd name="connsiteX246" fmla="*/ 676306 w 2931167"/>
                      <a:gd name="connsiteY246" fmla="*/ 370657 h 787241"/>
                      <a:gd name="connsiteX247" fmla="*/ 675543 w 2931167"/>
                      <a:gd name="connsiteY247" fmla="*/ 370466 h 787241"/>
                      <a:gd name="connsiteX248" fmla="*/ 673508 w 2931167"/>
                      <a:gd name="connsiteY248" fmla="*/ 369448 h 787241"/>
                      <a:gd name="connsiteX249" fmla="*/ 671472 w 2931167"/>
                      <a:gd name="connsiteY249" fmla="*/ 366904 h 787241"/>
                      <a:gd name="connsiteX250" fmla="*/ 669691 w 2931167"/>
                      <a:gd name="connsiteY250" fmla="*/ 363342 h 787241"/>
                      <a:gd name="connsiteX251" fmla="*/ 668164 w 2931167"/>
                      <a:gd name="connsiteY251" fmla="*/ 359525 h 787241"/>
                      <a:gd name="connsiteX252" fmla="*/ 666638 w 2931167"/>
                      <a:gd name="connsiteY252" fmla="*/ 354436 h 787241"/>
                      <a:gd name="connsiteX253" fmla="*/ 663584 w 2931167"/>
                      <a:gd name="connsiteY253" fmla="*/ 341969 h 787241"/>
                      <a:gd name="connsiteX254" fmla="*/ 661040 w 2931167"/>
                      <a:gd name="connsiteY254" fmla="*/ 326193 h 787241"/>
                      <a:gd name="connsiteX255" fmla="*/ 659004 w 2931167"/>
                      <a:gd name="connsiteY255" fmla="*/ 307110 h 787241"/>
                      <a:gd name="connsiteX256" fmla="*/ 657478 w 2931167"/>
                      <a:gd name="connsiteY256" fmla="*/ 285992 h 787241"/>
                      <a:gd name="connsiteX257" fmla="*/ 655951 w 2931167"/>
                      <a:gd name="connsiteY257" fmla="*/ 261311 h 787241"/>
                      <a:gd name="connsiteX258" fmla="*/ 654933 w 2931167"/>
                      <a:gd name="connsiteY258" fmla="*/ 235358 h 787241"/>
                      <a:gd name="connsiteX259" fmla="*/ 653916 w 2931167"/>
                      <a:gd name="connsiteY259" fmla="*/ 206097 h 787241"/>
                      <a:gd name="connsiteX260" fmla="*/ 653126 w 2931167"/>
                      <a:gd name="connsiteY260" fmla="*/ 156900 h 787241"/>
                      <a:gd name="connsiteX261" fmla="*/ 370977 w 2931167"/>
                      <a:gd name="connsiteY261" fmla="*/ 208132 h 787241"/>
                      <a:gd name="connsiteX262" fmla="*/ 370977 w 2931167"/>
                      <a:gd name="connsiteY262" fmla="*/ 29514 h 787241"/>
                      <a:gd name="connsiteX263" fmla="*/ 370976 w 2931167"/>
                      <a:gd name="connsiteY263" fmla="*/ 29514 h 787241"/>
                      <a:gd name="connsiteX264" fmla="*/ 370976 w 2931167"/>
                      <a:gd name="connsiteY264" fmla="*/ 257234 h 787241"/>
                      <a:gd name="connsiteX265" fmla="*/ 263602 w 2931167"/>
                      <a:gd name="connsiteY265" fmla="*/ 263601 h 787241"/>
                      <a:gd name="connsiteX266" fmla="*/ 263602 w 2931167"/>
                      <a:gd name="connsiteY266" fmla="*/ 29514 h 787241"/>
                      <a:gd name="connsiteX267" fmla="*/ 0 w 2931167"/>
                      <a:gd name="connsiteY267" fmla="*/ 29514 h 787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Lst>
                    <a:rect l="l" t="t" r="r" b="b"/>
                    <a:pathLst>
                      <a:path w="2931167" h="787241">
                        <a:moveTo>
                          <a:pt x="1445129" y="468602"/>
                        </a:moveTo>
                        <a:lnTo>
                          <a:pt x="1442195" y="472777"/>
                        </a:lnTo>
                        <a:lnTo>
                          <a:pt x="1435581" y="481932"/>
                        </a:lnTo>
                        <a:lnTo>
                          <a:pt x="1428714" y="490833"/>
                        </a:lnTo>
                        <a:lnTo>
                          <a:pt x="1422100" y="498972"/>
                        </a:lnTo>
                        <a:lnTo>
                          <a:pt x="1414978" y="506601"/>
                        </a:lnTo>
                        <a:lnTo>
                          <a:pt x="1408785" y="513251"/>
                        </a:lnTo>
                        <a:lnTo>
                          <a:pt x="1409097" y="512959"/>
                        </a:lnTo>
                        <a:lnTo>
                          <a:pt x="1416476" y="505584"/>
                        </a:lnTo>
                        <a:lnTo>
                          <a:pt x="1424109" y="496937"/>
                        </a:lnTo>
                        <a:lnTo>
                          <a:pt x="1431234" y="487782"/>
                        </a:lnTo>
                        <a:lnTo>
                          <a:pt x="1438612" y="478372"/>
                        </a:lnTo>
                        <a:close/>
                        <a:moveTo>
                          <a:pt x="1458759" y="446379"/>
                        </a:moveTo>
                        <a:lnTo>
                          <a:pt x="1454913" y="452686"/>
                        </a:lnTo>
                        <a:lnTo>
                          <a:pt x="1450629" y="460181"/>
                        </a:lnTo>
                        <a:lnTo>
                          <a:pt x="1452861" y="456755"/>
                        </a:lnTo>
                        <a:close/>
                        <a:moveTo>
                          <a:pt x="1472551" y="420938"/>
                        </a:moveTo>
                        <a:lnTo>
                          <a:pt x="1472186" y="421654"/>
                        </a:lnTo>
                        <a:lnTo>
                          <a:pt x="1472453" y="421150"/>
                        </a:lnTo>
                        <a:close/>
                        <a:moveTo>
                          <a:pt x="1669574" y="394616"/>
                        </a:moveTo>
                        <a:lnTo>
                          <a:pt x="1668111" y="399157"/>
                        </a:lnTo>
                        <a:lnTo>
                          <a:pt x="1668833" y="396990"/>
                        </a:lnTo>
                        <a:close/>
                        <a:moveTo>
                          <a:pt x="1494018" y="371288"/>
                        </a:moveTo>
                        <a:lnTo>
                          <a:pt x="1490015" y="381477"/>
                        </a:lnTo>
                        <a:lnTo>
                          <a:pt x="1484419" y="394447"/>
                        </a:lnTo>
                        <a:lnTo>
                          <a:pt x="1478823" y="406908"/>
                        </a:lnTo>
                        <a:lnTo>
                          <a:pt x="1474960" y="415738"/>
                        </a:lnTo>
                        <a:lnTo>
                          <a:pt x="1478814" y="407417"/>
                        </a:lnTo>
                        <a:lnTo>
                          <a:pt x="1484921" y="393938"/>
                        </a:lnTo>
                        <a:lnTo>
                          <a:pt x="1491027" y="379442"/>
                        </a:lnTo>
                        <a:close/>
                        <a:moveTo>
                          <a:pt x="1698631" y="289018"/>
                        </a:moveTo>
                        <a:lnTo>
                          <a:pt x="1691527" y="317643"/>
                        </a:lnTo>
                        <a:lnTo>
                          <a:pt x="1682876" y="349687"/>
                        </a:lnTo>
                        <a:lnTo>
                          <a:pt x="1675427" y="375853"/>
                        </a:lnTo>
                        <a:lnTo>
                          <a:pt x="1677481" y="369269"/>
                        </a:lnTo>
                        <a:lnTo>
                          <a:pt x="1685366" y="341294"/>
                        </a:lnTo>
                        <a:lnTo>
                          <a:pt x="1692997" y="312556"/>
                        </a:lnTo>
                        <a:close/>
                        <a:moveTo>
                          <a:pt x="1700798" y="279319"/>
                        </a:moveTo>
                        <a:lnTo>
                          <a:pt x="1699887" y="283772"/>
                        </a:lnTo>
                        <a:lnTo>
                          <a:pt x="1700119" y="282801"/>
                        </a:lnTo>
                        <a:close/>
                        <a:moveTo>
                          <a:pt x="1525851" y="261707"/>
                        </a:moveTo>
                        <a:lnTo>
                          <a:pt x="1522574" y="275426"/>
                        </a:lnTo>
                        <a:lnTo>
                          <a:pt x="1518504" y="291957"/>
                        </a:lnTo>
                        <a:lnTo>
                          <a:pt x="1514688" y="307979"/>
                        </a:lnTo>
                        <a:lnTo>
                          <a:pt x="1510110" y="323492"/>
                        </a:lnTo>
                        <a:lnTo>
                          <a:pt x="1506125" y="336771"/>
                        </a:lnTo>
                        <a:lnTo>
                          <a:pt x="1507566" y="332647"/>
                        </a:lnTo>
                        <a:lnTo>
                          <a:pt x="1512655" y="316117"/>
                        </a:lnTo>
                        <a:lnTo>
                          <a:pt x="1517235" y="299077"/>
                        </a:lnTo>
                        <a:lnTo>
                          <a:pt x="1521560" y="281275"/>
                        </a:lnTo>
                        <a:lnTo>
                          <a:pt x="1525631" y="262710"/>
                        </a:lnTo>
                        <a:close/>
                        <a:moveTo>
                          <a:pt x="1536909" y="203869"/>
                        </a:moveTo>
                        <a:lnTo>
                          <a:pt x="1536818" y="204471"/>
                        </a:lnTo>
                        <a:lnTo>
                          <a:pt x="1533766" y="223037"/>
                        </a:lnTo>
                        <a:lnTo>
                          <a:pt x="1530205" y="241093"/>
                        </a:lnTo>
                        <a:lnTo>
                          <a:pt x="1527646" y="253523"/>
                        </a:lnTo>
                        <a:lnTo>
                          <a:pt x="1529702" y="244145"/>
                        </a:lnTo>
                        <a:lnTo>
                          <a:pt x="1533774" y="224562"/>
                        </a:lnTo>
                        <a:lnTo>
                          <a:pt x="1536827" y="204471"/>
                        </a:lnTo>
                        <a:close/>
                        <a:moveTo>
                          <a:pt x="1722073" y="156535"/>
                        </a:moveTo>
                        <a:lnTo>
                          <a:pt x="1721033" y="164622"/>
                        </a:lnTo>
                        <a:lnTo>
                          <a:pt x="1721740" y="159711"/>
                        </a:lnTo>
                        <a:close/>
                        <a:moveTo>
                          <a:pt x="1550299" y="62816"/>
                        </a:moveTo>
                        <a:lnTo>
                          <a:pt x="1549282" y="84433"/>
                        </a:lnTo>
                        <a:lnTo>
                          <a:pt x="1547756" y="105542"/>
                        </a:lnTo>
                        <a:lnTo>
                          <a:pt x="1546230" y="126141"/>
                        </a:lnTo>
                        <a:lnTo>
                          <a:pt x="1544195" y="146741"/>
                        </a:lnTo>
                        <a:lnTo>
                          <a:pt x="1542160" y="166324"/>
                        </a:lnTo>
                        <a:lnTo>
                          <a:pt x="1542125" y="166594"/>
                        </a:lnTo>
                        <a:lnTo>
                          <a:pt x="1542679" y="162763"/>
                        </a:lnTo>
                        <a:lnTo>
                          <a:pt x="1545223" y="141146"/>
                        </a:lnTo>
                        <a:lnTo>
                          <a:pt x="1547259" y="119020"/>
                        </a:lnTo>
                        <a:lnTo>
                          <a:pt x="1548786" y="96386"/>
                        </a:lnTo>
                        <a:lnTo>
                          <a:pt x="1550312" y="72988"/>
                        </a:lnTo>
                        <a:lnTo>
                          <a:pt x="1550750" y="62816"/>
                        </a:lnTo>
                        <a:close/>
                        <a:moveTo>
                          <a:pt x="2337323" y="0"/>
                        </a:moveTo>
                        <a:lnTo>
                          <a:pt x="2931167" y="0"/>
                        </a:lnTo>
                        <a:lnTo>
                          <a:pt x="2931167" y="510"/>
                        </a:lnTo>
                        <a:lnTo>
                          <a:pt x="2931167" y="3538"/>
                        </a:lnTo>
                        <a:lnTo>
                          <a:pt x="2930656" y="6565"/>
                        </a:lnTo>
                        <a:lnTo>
                          <a:pt x="2929123" y="11863"/>
                        </a:lnTo>
                        <a:lnTo>
                          <a:pt x="2926057" y="16909"/>
                        </a:lnTo>
                        <a:lnTo>
                          <a:pt x="2922479" y="21450"/>
                        </a:lnTo>
                        <a:lnTo>
                          <a:pt x="2918135" y="24982"/>
                        </a:lnTo>
                        <a:lnTo>
                          <a:pt x="2913025" y="28009"/>
                        </a:lnTo>
                        <a:lnTo>
                          <a:pt x="2907403" y="29523"/>
                        </a:lnTo>
                        <a:lnTo>
                          <a:pt x="2904337" y="30027"/>
                        </a:lnTo>
                        <a:lnTo>
                          <a:pt x="2901271" y="30532"/>
                        </a:lnTo>
                        <a:lnTo>
                          <a:pt x="2898460" y="30027"/>
                        </a:lnTo>
                        <a:lnTo>
                          <a:pt x="2895394" y="29523"/>
                        </a:lnTo>
                        <a:lnTo>
                          <a:pt x="2889261" y="28009"/>
                        </a:lnTo>
                        <a:lnTo>
                          <a:pt x="2884151" y="24982"/>
                        </a:lnTo>
                        <a:lnTo>
                          <a:pt x="2880062" y="21450"/>
                        </a:lnTo>
                        <a:lnTo>
                          <a:pt x="2876229" y="16909"/>
                        </a:lnTo>
                        <a:lnTo>
                          <a:pt x="2873674" y="11863"/>
                        </a:lnTo>
                        <a:lnTo>
                          <a:pt x="2871630" y="6565"/>
                        </a:lnTo>
                        <a:lnTo>
                          <a:pt x="2871381" y="5088"/>
                        </a:lnTo>
                        <a:lnTo>
                          <a:pt x="2771049" y="5088"/>
                        </a:lnTo>
                        <a:lnTo>
                          <a:pt x="2770356" y="5723"/>
                        </a:lnTo>
                        <a:lnTo>
                          <a:pt x="2751772" y="21238"/>
                        </a:lnTo>
                        <a:lnTo>
                          <a:pt x="2721478" y="45909"/>
                        </a:lnTo>
                        <a:lnTo>
                          <a:pt x="2702384" y="60915"/>
                        </a:lnTo>
                        <a:lnTo>
                          <a:pt x="2680746" y="77447"/>
                        </a:lnTo>
                        <a:lnTo>
                          <a:pt x="2656052" y="95505"/>
                        </a:lnTo>
                        <a:lnTo>
                          <a:pt x="2629576" y="115089"/>
                        </a:lnTo>
                        <a:lnTo>
                          <a:pt x="2600809" y="135691"/>
                        </a:lnTo>
                        <a:lnTo>
                          <a:pt x="2569750" y="157310"/>
                        </a:lnTo>
                        <a:lnTo>
                          <a:pt x="2535892" y="179946"/>
                        </a:lnTo>
                        <a:lnTo>
                          <a:pt x="2500760" y="203091"/>
                        </a:lnTo>
                        <a:lnTo>
                          <a:pt x="2463592" y="226236"/>
                        </a:lnTo>
                        <a:lnTo>
                          <a:pt x="2424388" y="250398"/>
                        </a:lnTo>
                        <a:lnTo>
                          <a:pt x="2393075" y="268457"/>
                        </a:lnTo>
                        <a:lnTo>
                          <a:pt x="2360998" y="286515"/>
                        </a:lnTo>
                        <a:lnTo>
                          <a:pt x="2327649" y="304573"/>
                        </a:lnTo>
                        <a:lnTo>
                          <a:pt x="2294045" y="322631"/>
                        </a:lnTo>
                        <a:lnTo>
                          <a:pt x="2300155" y="297706"/>
                        </a:lnTo>
                        <a:lnTo>
                          <a:pt x="2305501" y="273035"/>
                        </a:lnTo>
                        <a:lnTo>
                          <a:pt x="2310592" y="248872"/>
                        </a:lnTo>
                        <a:lnTo>
                          <a:pt x="2315684" y="224710"/>
                        </a:lnTo>
                        <a:lnTo>
                          <a:pt x="2319757" y="200548"/>
                        </a:lnTo>
                        <a:lnTo>
                          <a:pt x="2323067" y="176894"/>
                        </a:lnTo>
                        <a:lnTo>
                          <a:pt x="2326631" y="154003"/>
                        </a:lnTo>
                        <a:lnTo>
                          <a:pt x="2329176" y="130858"/>
                        </a:lnTo>
                        <a:lnTo>
                          <a:pt x="2331722" y="108222"/>
                        </a:lnTo>
                        <a:lnTo>
                          <a:pt x="2333759" y="85586"/>
                        </a:lnTo>
                        <a:lnTo>
                          <a:pt x="2335286" y="63458"/>
                        </a:lnTo>
                        <a:lnTo>
                          <a:pt x="2336305" y="41839"/>
                        </a:lnTo>
                        <a:lnTo>
                          <a:pt x="2337323" y="20729"/>
                        </a:lnTo>
                        <a:close/>
                        <a:moveTo>
                          <a:pt x="0" y="0"/>
                        </a:moveTo>
                        <a:lnTo>
                          <a:pt x="2337300" y="0"/>
                        </a:lnTo>
                        <a:lnTo>
                          <a:pt x="2337300" y="20599"/>
                        </a:lnTo>
                        <a:lnTo>
                          <a:pt x="2336283" y="41708"/>
                        </a:lnTo>
                        <a:lnTo>
                          <a:pt x="2335265" y="63325"/>
                        </a:lnTo>
                        <a:lnTo>
                          <a:pt x="2333739" y="85451"/>
                        </a:lnTo>
                        <a:lnTo>
                          <a:pt x="2331704" y="108085"/>
                        </a:lnTo>
                        <a:lnTo>
                          <a:pt x="2329161" y="130719"/>
                        </a:lnTo>
                        <a:lnTo>
                          <a:pt x="2326617" y="153862"/>
                        </a:lnTo>
                        <a:lnTo>
                          <a:pt x="2323056" y="176751"/>
                        </a:lnTo>
                        <a:lnTo>
                          <a:pt x="2319749" y="200402"/>
                        </a:lnTo>
                        <a:lnTo>
                          <a:pt x="2315679" y="224562"/>
                        </a:lnTo>
                        <a:lnTo>
                          <a:pt x="2310592" y="248723"/>
                        </a:lnTo>
                        <a:lnTo>
                          <a:pt x="2305505" y="272883"/>
                        </a:lnTo>
                        <a:lnTo>
                          <a:pt x="2300163" y="297552"/>
                        </a:lnTo>
                        <a:lnTo>
                          <a:pt x="2294058" y="322475"/>
                        </a:lnTo>
                        <a:lnTo>
                          <a:pt x="2256921" y="341294"/>
                        </a:lnTo>
                        <a:lnTo>
                          <a:pt x="2219021" y="359351"/>
                        </a:lnTo>
                        <a:lnTo>
                          <a:pt x="2180358" y="377408"/>
                        </a:lnTo>
                        <a:lnTo>
                          <a:pt x="2141186" y="394447"/>
                        </a:lnTo>
                        <a:lnTo>
                          <a:pt x="2100996" y="410978"/>
                        </a:lnTo>
                        <a:lnTo>
                          <a:pt x="2059790" y="426491"/>
                        </a:lnTo>
                        <a:lnTo>
                          <a:pt x="2018583" y="441750"/>
                        </a:lnTo>
                        <a:lnTo>
                          <a:pt x="1976358" y="455737"/>
                        </a:lnTo>
                        <a:lnTo>
                          <a:pt x="1933116" y="468708"/>
                        </a:lnTo>
                        <a:lnTo>
                          <a:pt x="1911496" y="474811"/>
                        </a:lnTo>
                        <a:lnTo>
                          <a:pt x="1889875" y="480915"/>
                        </a:lnTo>
                        <a:lnTo>
                          <a:pt x="1868000" y="486510"/>
                        </a:lnTo>
                        <a:lnTo>
                          <a:pt x="1846378" y="491342"/>
                        </a:lnTo>
                        <a:lnTo>
                          <a:pt x="1824249" y="496428"/>
                        </a:lnTo>
                        <a:lnTo>
                          <a:pt x="1802119" y="501006"/>
                        </a:lnTo>
                        <a:lnTo>
                          <a:pt x="1779481" y="505075"/>
                        </a:lnTo>
                        <a:lnTo>
                          <a:pt x="1757351" y="508890"/>
                        </a:lnTo>
                        <a:lnTo>
                          <a:pt x="1734713" y="512450"/>
                        </a:lnTo>
                        <a:lnTo>
                          <a:pt x="1712075" y="515502"/>
                        </a:lnTo>
                        <a:lnTo>
                          <a:pt x="1689436" y="518045"/>
                        </a:lnTo>
                        <a:lnTo>
                          <a:pt x="1666798" y="520589"/>
                        </a:lnTo>
                        <a:lnTo>
                          <a:pt x="1643651" y="522623"/>
                        </a:lnTo>
                        <a:lnTo>
                          <a:pt x="1621048" y="524147"/>
                        </a:lnTo>
                        <a:lnTo>
                          <a:pt x="1621047" y="524149"/>
                        </a:lnTo>
                        <a:lnTo>
                          <a:pt x="1589496" y="525166"/>
                        </a:lnTo>
                        <a:lnTo>
                          <a:pt x="1558454" y="525675"/>
                        </a:lnTo>
                        <a:lnTo>
                          <a:pt x="1517998" y="525675"/>
                        </a:lnTo>
                        <a:lnTo>
                          <a:pt x="1478305" y="524658"/>
                        </a:lnTo>
                        <a:lnTo>
                          <a:pt x="1439630" y="522623"/>
                        </a:lnTo>
                        <a:lnTo>
                          <a:pt x="1400955" y="520589"/>
                        </a:lnTo>
                        <a:lnTo>
                          <a:pt x="1400958" y="520586"/>
                        </a:lnTo>
                        <a:lnTo>
                          <a:pt x="1356220" y="517028"/>
                        </a:lnTo>
                        <a:lnTo>
                          <a:pt x="1311961" y="512450"/>
                        </a:lnTo>
                        <a:lnTo>
                          <a:pt x="1268464" y="507618"/>
                        </a:lnTo>
                        <a:lnTo>
                          <a:pt x="1225731" y="501515"/>
                        </a:lnTo>
                        <a:lnTo>
                          <a:pt x="1182998" y="494394"/>
                        </a:lnTo>
                        <a:lnTo>
                          <a:pt x="1140265" y="486764"/>
                        </a:lnTo>
                        <a:lnTo>
                          <a:pt x="1097532" y="478372"/>
                        </a:lnTo>
                        <a:lnTo>
                          <a:pt x="1054799" y="469216"/>
                        </a:lnTo>
                        <a:lnTo>
                          <a:pt x="1038334" y="465484"/>
                        </a:lnTo>
                        <a:lnTo>
                          <a:pt x="1036847" y="467564"/>
                        </a:lnTo>
                        <a:lnTo>
                          <a:pt x="1020004" y="490851"/>
                        </a:lnTo>
                        <a:lnTo>
                          <a:pt x="1011990" y="502387"/>
                        </a:lnTo>
                        <a:lnTo>
                          <a:pt x="992055" y="531397"/>
                        </a:lnTo>
                        <a:lnTo>
                          <a:pt x="977039" y="554540"/>
                        </a:lnTo>
                        <a:lnTo>
                          <a:pt x="961260" y="579209"/>
                        </a:lnTo>
                        <a:lnTo>
                          <a:pt x="945735" y="604895"/>
                        </a:lnTo>
                        <a:lnTo>
                          <a:pt x="929701" y="632107"/>
                        </a:lnTo>
                        <a:lnTo>
                          <a:pt x="914686" y="659065"/>
                        </a:lnTo>
                        <a:lnTo>
                          <a:pt x="900434" y="686786"/>
                        </a:lnTo>
                        <a:lnTo>
                          <a:pt x="894580" y="700264"/>
                        </a:lnTo>
                        <a:lnTo>
                          <a:pt x="888472" y="713489"/>
                        </a:lnTo>
                        <a:lnTo>
                          <a:pt x="882873" y="726459"/>
                        </a:lnTo>
                        <a:lnTo>
                          <a:pt x="877783" y="739429"/>
                        </a:lnTo>
                        <a:lnTo>
                          <a:pt x="873456" y="752145"/>
                        </a:lnTo>
                        <a:lnTo>
                          <a:pt x="869384" y="764098"/>
                        </a:lnTo>
                        <a:lnTo>
                          <a:pt x="866330" y="776305"/>
                        </a:lnTo>
                        <a:lnTo>
                          <a:pt x="864294" y="787241"/>
                        </a:lnTo>
                        <a:lnTo>
                          <a:pt x="0" y="604387"/>
                        </a:lnTo>
                        <a:lnTo>
                          <a:pt x="0" y="546148"/>
                        </a:lnTo>
                        <a:lnTo>
                          <a:pt x="27741" y="548691"/>
                        </a:lnTo>
                        <a:lnTo>
                          <a:pt x="58790" y="551488"/>
                        </a:lnTo>
                        <a:lnTo>
                          <a:pt x="100020" y="554032"/>
                        </a:lnTo>
                        <a:lnTo>
                          <a:pt x="123689" y="555558"/>
                        </a:lnTo>
                        <a:lnTo>
                          <a:pt x="148885" y="556575"/>
                        </a:lnTo>
                        <a:lnTo>
                          <a:pt x="175862" y="557083"/>
                        </a:lnTo>
                        <a:lnTo>
                          <a:pt x="204112" y="557592"/>
                        </a:lnTo>
                        <a:lnTo>
                          <a:pt x="233380" y="557592"/>
                        </a:lnTo>
                        <a:lnTo>
                          <a:pt x="263411" y="557083"/>
                        </a:lnTo>
                        <a:lnTo>
                          <a:pt x="294715" y="555558"/>
                        </a:lnTo>
                        <a:lnTo>
                          <a:pt x="325765" y="553523"/>
                        </a:lnTo>
                        <a:lnTo>
                          <a:pt x="357068" y="550980"/>
                        </a:lnTo>
                        <a:lnTo>
                          <a:pt x="388627" y="547674"/>
                        </a:lnTo>
                        <a:lnTo>
                          <a:pt x="419931" y="543605"/>
                        </a:lnTo>
                        <a:lnTo>
                          <a:pt x="450471" y="538010"/>
                        </a:lnTo>
                        <a:lnTo>
                          <a:pt x="465996" y="534958"/>
                        </a:lnTo>
                        <a:lnTo>
                          <a:pt x="481266" y="531397"/>
                        </a:lnTo>
                        <a:lnTo>
                          <a:pt x="495773" y="528091"/>
                        </a:lnTo>
                        <a:lnTo>
                          <a:pt x="510280" y="524022"/>
                        </a:lnTo>
                        <a:lnTo>
                          <a:pt x="524532" y="519953"/>
                        </a:lnTo>
                        <a:lnTo>
                          <a:pt x="538530" y="515375"/>
                        </a:lnTo>
                        <a:lnTo>
                          <a:pt x="552018" y="510289"/>
                        </a:lnTo>
                        <a:lnTo>
                          <a:pt x="565761" y="505457"/>
                        </a:lnTo>
                        <a:lnTo>
                          <a:pt x="578232" y="499862"/>
                        </a:lnTo>
                        <a:lnTo>
                          <a:pt x="590703" y="493758"/>
                        </a:lnTo>
                        <a:lnTo>
                          <a:pt x="602919" y="487655"/>
                        </a:lnTo>
                        <a:lnTo>
                          <a:pt x="614372" y="481297"/>
                        </a:lnTo>
                        <a:lnTo>
                          <a:pt x="625570" y="474176"/>
                        </a:lnTo>
                        <a:lnTo>
                          <a:pt x="636004" y="466546"/>
                        </a:lnTo>
                        <a:lnTo>
                          <a:pt x="646184" y="459171"/>
                        </a:lnTo>
                        <a:lnTo>
                          <a:pt x="655601" y="450524"/>
                        </a:lnTo>
                        <a:lnTo>
                          <a:pt x="664763" y="442132"/>
                        </a:lnTo>
                        <a:lnTo>
                          <a:pt x="672653" y="432976"/>
                        </a:lnTo>
                        <a:lnTo>
                          <a:pt x="680288" y="424075"/>
                        </a:lnTo>
                        <a:lnTo>
                          <a:pt x="687414" y="413902"/>
                        </a:lnTo>
                        <a:lnTo>
                          <a:pt x="692602" y="405401"/>
                        </a:lnTo>
                        <a:lnTo>
                          <a:pt x="692081" y="405176"/>
                        </a:lnTo>
                        <a:lnTo>
                          <a:pt x="696664" y="397296"/>
                        </a:lnTo>
                        <a:lnTo>
                          <a:pt x="700738" y="388146"/>
                        </a:lnTo>
                        <a:lnTo>
                          <a:pt x="704295" y="380379"/>
                        </a:lnTo>
                        <a:lnTo>
                          <a:pt x="704871" y="378725"/>
                        </a:lnTo>
                        <a:lnTo>
                          <a:pt x="676306" y="370795"/>
                        </a:lnTo>
                        <a:lnTo>
                          <a:pt x="676306" y="370657"/>
                        </a:lnTo>
                        <a:lnTo>
                          <a:pt x="675543" y="370466"/>
                        </a:lnTo>
                        <a:lnTo>
                          <a:pt x="673508" y="369448"/>
                        </a:lnTo>
                        <a:lnTo>
                          <a:pt x="671472" y="366904"/>
                        </a:lnTo>
                        <a:lnTo>
                          <a:pt x="669691" y="363342"/>
                        </a:lnTo>
                        <a:lnTo>
                          <a:pt x="668164" y="359525"/>
                        </a:lnTo>
                        <a:lnTo>
                          <a:pt x="666638" y="354436"/>
                        </a:lnTo>
                        <a:lnTo>
                          <a:pt x="663584" y="341969"/>
                        </a:lnTo>
                        <a:lnTo>
                          <a:pt x="661040" y="326193"/>
                        </a:lnTo>
                        <a:lnTo>
                          <a:pt x="659004" y="307110"/>
                        </a:lnTo>
                        <a:lnTo>
                          <a:pt x="657478" y="285992"/>
                        </a:lnTo>
                        <a:lnTo>
                          <a:pt x="655951" y="261311"/>
                        </a:lnTo>
                        <a:lnTo>
                          <a:pt x="654933" y="235358"/>
                        </a:lnTo>
                        <a:lnTo>
                          <a:pt x="653916" y="206097"/>
                        </a:lnTo>
                        <a:lnTo>
                          <a:pt x="653126" y="156900"/>
                        </a:lnTo>
                        <a:lnTo>
                          <a:pt x="370977" y="208132"/>
                        </a:lnTo>
                        <a:lnTo>
                          <a:pt x="370977" y="29514"/>
                        </a:lnTo>
                        <a:lnTo>
                          <a:pt x="370976" y="29514"/>
                        </a:lnTo>
                        <a:lnTo>
                          <a:pt x="370976" y="257234"/>
                        </a:lnTo>
                        <a:lnTo>
                          <a:pt x="263602" y="263601"/>
                        </a:lnTo>
                        <a:lnTo>
                          <a:pt x="263602" y="29514"/>
                        </a:lnTo>
                        <a:lnTo>
                          <a:pt x="0" y="29514"/>
                        </a:lnTo>
                        <a:close/>
                      </a:path>
                    </a:pathLst>
                  </a:custGeom>
                  <a:solidFill>
                    <a:schemeClr val="tx1">
                      <a:lumMod val="85000"/>
                      <a:lumOff val="1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grpSp>
          <p:grpSp>
            <p:nvGrpSpPr>
              <p:cNvPr id="1066" name="그룹 1065"/>
              <p:cNvGrpSpPr/>
              <p:nvPr userDrawn="1"/>
            </p:nvGrpSpPr>
            <p:grpSpPr>
              <a:xfrm rot="4173708">
                <a:off x="3656533" y="3023633"/>
                <a:ext cx="315283" cy="364248"/>
                <a:chOff x="-470753" y="1465659"/>
                <a:chExt cx="419103" cy="484192"/>
              </a:xfrm>
            </p:grpSpPr>
            <p:sp>
              <p:nvSpPr>
                <p:cNvPr id="812" name="Freeform 7"/>
                <p:cNvSpPr>
                  <a:spLocks/>
                </p:cNvSpPr>
                <p:nvPr/>
              </p:nvSpPr>
              <p:spPr bwMode="auto">
                <a:xfrm>
                  <a:off x="-404078" y="1691086"/>
                  <a:ext cx="284165" cy="258765"/>
                </a:xfrm>
                <a:custGeom>
                  <a:avLst/>
                  <a:gdLst>
                    <a:gd name="T0" fmla="*/ 289 w 895"/>
                    <a:gd name="T1" fmla="*/ 0 h 812"/>
                    <a:gd name="T2" fmla="*/ 0 w 895"/>
                    <a:gd name="T3" fmla="*/ 690 h 812"/>
                    <a:gd name="T4" fmla="*/ 0 w 895"/>
                    <a:gd name="T5" fmla="*/ 690 h 812"/>
                    <a:gd name="T6" fmla="*/ 24 w 895"/>
                    <a:gd name="T7" fmla="*/ 704 h 812"/>
                    <a:gd name="T8" fmla="*/ 50 w 895"/>
                    <a:gd name="T9" fmla="*/ 717 h 812"/>
                    <a:gd name="T10" fmla="*/ 76 w 895"/>
                    <a:gd name="T11" fmla="*/ 729 h 812"/>
                    <a:gd name="T12" fmla="*/ 102 w 895"/>
                    <a:gd name="T13" fmla="*/ 741 h 812"/>
                    <a:gd name="T14" fmla="*/ 129 w 895"/>
                    <a:gd name="T15" fmla="*/ 752 h 812"/>
                    <a:gd name="T16" fmla="*/ 156 w 895"/>
                    <a:gd name="T17" fmla="*/ 762 h 812"/>
                    <a:gd name="T18" fmla="*/ 184 w 895"/>
                    <a:gd name="T19" fmla="*/ 772 h 812"/>
                    <a:gd name="T20" fmla="*/ 212 w 895"/>
                    <a:gd name="T21" fmla="*/ 780 h 812"/>
                    <a:gd name="T22" fmla="*/ 240 w 895"/>
                    <a:gd name="T23" fmla="*/ 788 h 812"/>
                    <a:gd name="T24" fmla="*/ 268 w 895"/>
                    <a:gd name="T25" fmla="*/ 794 h 812"/>
                    <a:gd name="T26" fmla="*/ 298 w 895"/>
                    <a:gd name="T27" fmla="*/ 799 h 812"/>
                    <a:gd name="T28" fmla="*/ 327 w 895"/>
                    <a:gd name="T29" fmla="*/ 804 h 812"/>
                    <a:gd name="T30" fmla="*/ 357 w 895"/>
                    <a:gd name="T31" fmla="*/ 807 h 812"/>
                    <a:gd name="T32" fmla="*/ 387 w 895"/>
                    <a:gd name="T33" fmla="*/ 810 h 812"/>
                    <a:gd name="T34" fmla="*/ 417 w 895"/>
                    <a:gd name="T35" fmla="*/ 811 h 812"/>
                    <a:gd name="T36" fmla="*/ 447 w 895"/>
                    <a:gd name="T37" fmla="*/ 812 h 812"/>
                    <a:gd name="T38" fmla="*/ 447 w 895"/>
                    <a:gd name="T39" fmla="*/ 812 h 812"/>
                    <a:gd name="T40" fmla="*/ 478 w 895"/>
                    <a:gd name="T41" fmla="*/ 811 h 812"/>
                    <a:gd name="T42" fmla="*/ 508 w 895"/>
                    <a:gd name="T43" fmla="*/ 810 h 812"/>
                    <a:gd name="T44" fmla="*/ 539 w 895"/>
                    <a:gd name="T45" fmla="*/ 807 h 812"/>
                    <a:gd name="T46" fmla="*/ 568 w 895"/>
                    <a:gd name="T47" fmla="*/ 804 h 812"/>
                    <a:gd name="T48" fmla="*/ 597 w 895"/>
                    <a:gd name="T49" fmla="*/ 799 h 812"/>
                    <a:gd name="T50" fmla="*/ 627 w 895"/>
                    <a:gd name="T51" fmla="*/ 794 h 812"/>
                    <a:gd name="T52" fmla="*/ 655 w 895"/>
                    <a:gd name="T53" fmla="*/ 788 h 812"/>
                    <a:gd name="T54" fmla="*/ 684 w 895"/>
                    <a:gd name="T55" fmla="*/ 780 h 812"/>
                    <a:gd name="T56" fmla="*/ 712 w 895"/>
                    <a:gd name="T57" fmla="*/ 772 h 812"/>
                    <a:gd name="T58" fmla="*/ 739 w 895"/>
                    <a:gd name="T59" fmla="*/ 762 h 812"/>
                    <a:gd name="T60" fmla="*/ 766 w 895"/>
                    <a:gd name="T61" fmla="*/ 752 h 812"/>
                    <a:gd name="T62" fmla="*/ 792 w 895"/>
                    <a:gd name="T63" fmla="*/ 741 h 812"/>
                    <a:gd name="T64" fmla="*/ 819 w 895"/>
                    <a:gd name="T65" fmla="*/ 729 h 812"/>
                    <a:gd name="T66" fmla="*/ 845 w 895"/>
                    <a:gd name="T67" fmla="*/ 717 h 812"/>
                    <a:gd name="T68" fmla="*/ 870 w 895"/>
                    <a:gd name="T69" fmla="*/ 704 h 812"/>
                    <a:gd name="T70" fmla="*/ 895 w 895"/>
                    <a:gd name="T71" fmla="*/ 690 h 812"/>
                    <a:gd name="T72" fmla="*/ 606 w 895"/>
                    <a:gd name="T73" fmla="*/ 0 h 812"/>
                    <a:gd name="T74" fmla="*/ 606 w 895"/>
                    <a:gd name="T75" fmla="*/ 0 h 812"/>
                    <a:gd name="T76" fmla="*/ 568 w 895"/>
                    <a:gd name="T77" fmla="*/ 5 h 812"/>
                    <a:gd name="T78" fmla="*/ 529 w 895"/>
                    <a:gd name="T79" fmla="*/ 9 h 812"/>
                    <a:gd name="T80" fmla="*/ 489 w 895"/>
                    <a:gd name="T81" fmla="*/ 11 h 812"/>
                    <a:gd name="T82" fmla="*/ 447 w 895"/>
                    <a:gd name="T83" fmla="*/ 12 h 812"/>
                    <a:gd name="T84" fmla="*/ 447 w 895"/>
                    <a:gd name="T85" fmla="*/ 12 h 812"/>
                    <a:gd name="T86" fmla="*/ 447 w 895"/>
                    <a:gd name="T87" fmla="*/ 12 h 812"/>
                    <a:gd name="T88" fmla="*/ 447 w 895"/>
                    <a:gd name="T89" fmla="*/ 12 h 812"/>
                    <a:gd name="T90" fmla="*/ 406 w 895"/>
                    <a:gd name="T91" fmla="*/ 11 h 812"/>
                    <a:gd name="T92" fmla="*/ 366 w 895"/>
                    <a:gd name="T93" fmla="*/ 9 h 812"/>
                    <a:gd name="T94" fmla="*/ 327 w 895"/>
                    <a:gd name="T95" fmla="*/ 5 h 812"/>
                    <a:gd name="T96" fmla="*/ 289 w 895"/>
                    <a:gd name="T97" fmla="*/ 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95" h="812">
                      <a:moveTo>
                        <a:pt x="289" y="0"/>
                      </a:moveTo>
                      <a:lnTo>
                        <a:pt x="0" y="690"/>
                      </a:lnTo>
                      <a:lnTo>
                        <a:pt x="0" y="690"/>
                      </a:lnTo>
                      <a:lnTo>
                        <a:pt x="24" y="704"/>
                      </a:lnTo>
                      <a:lnTo>
                        <a:pt x="50" y="717"/>
                      </a:lnTo>
                      <a:lnTo>
                        <a:pt x="76" y="729"/>
                      </a:lnTo>
                      <a:lnTo>
                        <a:pt x="102" y="741"/>
                      </a:lnTo>
                      <a:lnTo>
                        <a:pt x="129" y="752"/>
                      </a:lnTo>
                      <a:lnTo>
                        <a:pt x="156" y="762"/>
                      </a:lnTo>
                      <a:lnTo>
                        <a:pt x="184" y="772"/>
                      </a:lnTo>
                      <a:lnTo>
                        <a:pt x="212" y="780"/>
                      </a:lnTo>
                      <a:lnTo>
                        <a:pt x="240" y="788"/>
                      </a:lnTo>
                      <a:lnTo>
                        <a:pt x="268" y="794"/>
                      </a:lnTo>
                      <a:lnTo>
                        <a:pt x="298" y="799"/>
                      </a:lnTo>
                      <a:lnTo>
                        <a:pt x="327" y="804"/>
                      </a:lnTo>
                      <a:lnTo>
                        <a:pt x="357" y="807"/>
                      </a:lnTo>
                      <a:lnTo>
                        <a:pt x="387" y="810"/>
                      </a:lnTo>
                      <a:lnTo>
                        <a:pt x="417" y="811"/>
                      </a:lnTo>
                      <a:lnTo>
                        <a:pt x="447" y="812"/>
                      </a:lnTo>
                      <a:lnTo>
                        <a:pt x="447" y="812"/>
                      </a:lnTo>
                      <a:lnTo>
                        <a:pt x="478" y="811"/>
                      </a:lnTo>
                      <a:lnTo>
                        <a:pt x="508" y="810"/>
                      </a:lnTo>
                      <a:lnTo>
                        <a:pt x="539" y="807"/>
                      </a:lnTo>
                      <a:lnTo>
                        <a:pt x="568" y="804"/>
                      </a:lnTo>
                      <a:lnTo>
                        <a:pt x="597" y="799"/>
                      </a:lnTo>
                      <a:lnTo>
                        <a:pt x="627" y="794"/>
                      </a:lnTo>
                      <a:lnTo>
                        <a:pt x="655" y="788"/>
                      </a:lnTo>
                      <a:lnTo>
                        <a:pt x="684" y="780"/>
                      </a:lnTo>
                      <a:lnTo>
                        <a:pt x="712" y="772"/>
                      </a:lnTo>
                      <a:lnTo>
                        <a:pt x="739" y="762"/>
                      </a:lnTo>
                      <a:lnTo>
                        <a:pt x="766" y="752"/>
                      </a:lnTo>
                      <a:lnTo>
                        <a:pt x="792" y="741"/>
                      </a:lnTo>
                      <a:lnTo>
                        <a:pt x="819" y="729"/>
                      </a:lnTo>
                      <a:lnTo>
                        <a:pt x="845" y="717"/>
                      </a:lnTo>
                      <a:lnTo>
                        <a:pt x="870" y="704"/>
                      </a:lnTo>
                      <a:lnTo>
                        <a:pt x="895" y="690"/>
                      </a:lnTo>
                      <a:lnTo>
                        <a:pt x="606" y="0"/>
                      </a:lnTo>
                      <a:lnTo>
                        <a:pt x="606" y="0"/>
                      </a:lnTo>
                      <a:lnTo>
                        <a:pt x="568" y="5"/>
                      </a:lnTo>
                      <a:lnTo>
                        <a:pt x="529" y="9"/>
                      </a:lnTo>
                      <a:lnTo>
                        <a:pt x="489" y="11"/>
                      </a:lnTo>
                      <a:lnTo>
                        <a:pt x="447" y="12"/>
                      </a:lnTo>
                      <a:lnTo>
                        <a:pt x="447" y="12"/>
                      </a:lnTo>
                      <a:lnTo>
                        <a:pt x="447" y="12"/>
                      </a:lnTo>
                      <a:lnTo>
                        <a:pt x="447" y="12"/>
                      </a:lnTo>
                      <a:lnTo>
                        <a:pt x="406" y="11"/>
                      </a:lnTo>
                      <a:lnTo>
                        <a:pt x="366" y="9"/>
                      </a:lnTo>
                      <a:lnTo>
                        <a:pt x="327" y="5"/>
                      </a:lnTo>
                      <a:lnTo>
                        <a:pt x="289" y="0"/>
                      </a:lnTo>
                      <a:close/>
                    </a:path>
                  </a:pathLst>
                </a:custGeom>
                <a:solidFill>
                  <a:srgbClr val="FFFF00">
                    <a:alpha val="20000"/>
                  </a:srgbClr>
                </a:solidFill>
                <a:ln>
                  <a:noFill/>
                </a:ln>
              </p:spPr>
              <p:txBody>
                <a:bodyPr vert="horz" wrap="square" lIns="91440" tIns="45720" rIns="91440" bIns="45720" numCol="1" anchor="t" anchorCtr="0" compatLnSpc="1">
                  <a:prstTxWarp prst="textNoShape">
                    <a:avLst/>
                  </a:prstTxWarp>
                </a:bodyPr>
                <a:lstStyle/>
                <a:p>
                  <a:endParaRPr lang="ko-KR" altLang="en-US" sz="2400"/>
                </a:p>
              </p:txBody>
            </p:sp>
            <p:sp>
              <p:nvSpPr>
                <p:cNvPr id="813" name="Freeform 8"/>
                <p:cNvSpPr>
                  <a:spLocks/>
                </p:cNvSpPr>
                <p:nvPr/>
              </p:nvSpPr>
              <p:spPr bwMode="auto">
                <a:xfrm>
                  <a:off x="-404078" y="1691086"/>
                  <a:ext cx="284165" cy="258765"/>
                </a:xfrm>
                <a:custGeom>
                  <a:avLst/>
                  <a:gdLst>
                    <a:gd name="T0" fmla="*/ 289 w 895"/>
                    <a:gd name="T1" fmla="*/ 0 h 812"/>
                    <a:gd name="T2" fmla="*/ 0 w 895"/>
                    <a:gd name="T3" fmla="*/ 690 h 812"/>
                    <a:gd name="T4" fmla="*/ 0 w 895"/>
                    <a:gd name="T5" fmla="*/ 690 h 812"/>
                    <a:gd name="T6" fmla="*/ 24 w 895"/>
                    <a:gd name="T7" fmla="*/ 704 h 812"/>
                    <a:gd name="T8" fmla="*/ 50 w 895"/>
                    <a:gd name="T9" fmla="*/ 717 h 812"/>
                    <a:gd name="T10" fmla="*/ 76 w 895"/>
                    <a:gd name="T11" fmla="*/ 729 h 812"/>
                    <a:gd name="T12" fmla="*/ 102 w 895"/>
                    <a:gd name="T13" fmla="*/ 741 h 812"/>
                    <a:gd name="T14" fmla="*/ 129 w 895"/>
                    <a:gd name="T15" fmla="*/ 752 h 812"/>
                    <a:gd name="T16" fmla="*/ 156 w 895"/>
                    <a:gd name="T17" fmla="*/ 762 h 812"/>
                    <a:gd name="T18" fmla="*/ 184 w 895"/>
                    <a:gd name="T19" fmla="*/ 772 h 812"/>
                    <a:gd name="T20" fmla="*/ 212 w 895"/>
                    <a:gd name="T21" fmla="*/ 780 h 812"/>
                    <a:gd name="T22" fmla="*/ 240 w 895"/>
                    <a:gd name="T23" fmla="*/ 788 h 812"/>
                    <a:gd name="T24" fmla="*/ 268 w 895"/>
                    <a:gd name="T25" fmla="*/ 794 h 812"/>
                    <a:gd name="T26" fmla="*/ 298 w 895"/>
                    <a:gd name="T27" fmla="*/ 799 h 812"/>
                    <a:gd name="T28" fmla="*/ 327 w 895"/>
                    <a:gd name="T29" fmla="*/ 804 h 812"/>
                    <a:gd name="T30" fmla="*/ 357 w 895"/>
                    <a:gd name="T31" fmla="*/ 807 h 812"/>
                    <a:gd name="T32" fmla="*/ 387 w 895"/>
                    <a:gd name="T33" fmla="*/ 810 h 812"/>
                    <a:gd name="T34" fmla="*/ 417 w 895"/>
                    <a:gd name="T35" fmla="*/ 811 h 812"/>
                    <a:gd name="T36" fmla="*/ 447 w 895"/>
                    <a:gd name="T37" fmla="*/ 812 h 812"/>
                    <a:gd name="T38" fmla="*/ 447 w 895"/>
                    <a:gd name="T39" fmla="*/ 812 h 812"/>
                    <a:gd name="T40" fmla="*/ 478 w 895"/>
                    <a:gd name="T41" fmla="*/ 811 h 812"/>
                    <a:gd name="T42" fmla="*/ 508 w 895"/>
                    <a:gd name="T43" fmla="*/ 810 h 812"/>
                    <a:gd name="T44" fmla="*/ 539 w 895"/>
                    <a:gd name="T45" fmla="*/ 807 h 812"/>
                    <a:gd name="T46" fmla="*/ 568 w 895"/>
                    <a:gd name="T47" fmla="*/ 804 h 812"/>
                    <a:gd name="T48" fmla="*/ 597 w 895"/>
                    <a:gd name="T49" fmla="*/ 799 h 812"/>
                    <a:gd name="T50" fmla="*/ 627 w 895"/>
                    <a:gd name="T51" fmla="*/ 794 h 812"/>
                    <a:gd name="T52" fmla="*/ 655 w 895"/>
                    <a:gd name="T53" fmla="*/ 788 h 812"/>
                    <a:gd name="T54" fmla="*/ 684 w 895"/>
                    <a:gd name="T55" fmla="*/ 780 h 812"/>
                    <a:gd name="T56" fmla="*/ 712 w 895"/>
                    <a:gd name="T57" fmla="*/ 772 h 812"/>
                    <a:gd name="T58" fmla="*/ 739 w 895"/>
                    <a:gd name="T59" fmla="*/ 762 h 812"/>
                    <a:gd name="T60" fmla="*/ 766 w 895"/>
                    <a:gd name="T61" fmla="*/ 752 h 812"/>
                    <a:gd name="T62" fmla="*/ 792 w 895"/>
                    <a:gd name="T63" fmla="*/ 741 h 812"/>
                    <a:gd name="T64" fmla="*/ 819 w 895"/>
                    <a:gd name="T65" fmla="*/ 729 h 812"/>
                    <a:gd name="T66" fmla="*/ 845 w 895"/>
                    <a:gd name="T67" fmla="*/ 717 h 812"/>
                    <a:gd name="T68" fmla="*/ 870 w 895"/>
                    <a:gd name="T69" fmla="*/ 704 h 812"/>
                    <a:gd name="T70" fmla="*/ 895 w 895"/>
                    <a:gd name="T71" fmla="*/ 690 h 812"/>
                    <a:gd name="T72" fmla="*/ 606 w 895"/>
                    <a:gd name="T73" fmla="*/ 0 h 812"/>
                    <a:gd name="T74" fmla="*/ 606 w 895"/>
                    <a:gd name="T75" fmla="*/ 0 h 812"/>
                    <a:gd name="T76" fmla="*/ 568 w 895"/>
                    <a:gd name="T77" fmla="*/ 5 h 812"/>
                    <a:gd name="T78" fmla="*/ 529 w 895"/>
                    <a:gd name="T79" fmla="*/ 9 h 812"/>
                    <a:gd name="T80" fmla="*/ 489 w 895"/>
                    <a:gd name="T81" fmla="*/ 11 h 812"/>
                    <a:gd name="T82" fmla="*/ 447 w 895"/>
                    <a:gd name="T83" fmla="*/ 12 h 812"/>
                    <a:gd name="T84" fmla="*/ 447 w 895"/>
                    <a:gd name="T85" fmla="*/ 12 h 812"/>
                    <a:gd name="T86" fmla="*/ 447 w 895"/>
                    <a:gd name="T87" fmla="*/ 12 h 812"/>
                    <a:gd name="T88" fmla="*/ 447 w 895"/>
                    <a:gd name="T89" fmla="*/ 12 h 812"/>
                    <a:gd name="T90" fmla="*/ 406 w 895"/>
                    <a:gd name="T91" fmla="*/ 11 h 812"/>
                    <a:gd name="T92" fmla="*/ 366 w 895"/>
                    <a:gd name="T93" fmla="*/ 9 h 812"/>
                    <a:gd name="T94" fmla="*/ 327 w 895"/>
                    <a:gd name="T95" fmla="*/ 5 h 812"/>
                    <a:gd name="T96" fmla="*/ 289 w 895"/>
                    <a:gd name="T97" fmla="*/ 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95" h="812">
                      <a:moveTo>
                        <a:pt x="289" y="0"/>
                      </a:moveTo>
                      <a:lnTo>
                        <a:pt x="0" y="690"/>
                      </a:lnTo>
                      <a:lnTo>
                        <a:pt x="0" y="690"/>
                      </a:lnTo>
                      <a:lnTo>
                        <a:pt x="24" y="704"/>
                      </a:lnTo>
                      <a:lnTo>
                        <a:pt x="50" y="717"/>
                      </a:lnTo>
                      <a:lnTo>
                        <a:pt x="76" y="729"/>
                      </a:lnTo>
                      <a:lnTo>
                        <a:pt x="102" y="741"/>
                      </a:lnTo>
                      <a:lnTo>
                        <a:pt x="129" y="752"/>
                      </a:lnTo>
                      <a:lnTo>
                        <a:pt x="156" y="762"/>
                      </a:lnTo>
                      <a:lnTo>
                        <a:pt x="184" y="772"/>
                      </a:lnTo>
                      <a:lnTo>
                        <a:pt x="212" y="780"/>
                      </a:lnTo>
                      <a:lnTo>
                        <a:pt x="240" y="788"/>
                      </a:lnTo>
                      <a:lnTo>
                        <a:pt x="268" y="794"/>
                      </a:lnTo>
                      <a:lnTo>
                        <a:pt x="298" y="799"/>
                      </a:lnTo>
                      <a:lnTo>
                        <a:pt x="327" y="804"/>
                      </a:lnTo>
                      <a:lnTo>
                        <a:pt x="357" y="807"/>
                      </a:lnTo>
                      <a:lnTo>
                        <a:pt x="387" y="810"/>
                      </a:lnTo>
                      <a:lnTo>
                        <a:pt x="417" y="811"/>
                      </a:lnTo>
                      <a:lnTo>
                        <a:pt x="447" y="812"/>
                      </a:lnTo>
                      <a:lnTo>
                        <a:pt x="447" y="812"/>
                      </a:lnTo>
                      <a:lnTo>
                        <a:pt x="478" y="811"/>
                      </a:lnTo>
                      <a:lnTo>
                        <a:pt x="508" y="810"/>
                      </a:lnTo>
                      <a:lnTo>
                        <a:pt x="539" y="807"/>
                      </a:lnTo>
                      <a:lnTo>
                        <a:pt x="568" y="804"/>
                      </a:lnTo>
                      <a:lnTo>
                        <a:pt x="597" y="799"/>
                      </a:lnTo>
                      <a:lnTo>
                        <a:pt x="627" y="794"/>
                      </a:lnTo>
                      <a:lnTo>
                        <a:pt x="655" y="788"/>
                      </a:lnTo>
                      <a:lnTo>
                        <a:pt x="684" y="780"/>
                      </a:lnTo>
                      <a:lnTo>
                        <a:pt x="712" y="772"/>
                      </a:lnTo>
                      <a:lnTo>
                        <a:pt x="739" y="762"/>
                      </a:lnTo>
                      <a:lnTo>
                        <a:pt x="766" y="752"/>
                      </a:lnTo>
                      <a:lnTo>
                        <a:pt x="792" y="741"/>
                      </a:lnTo>
                      <a:lnTo>
                        <a:pt x="819" y="729"/>
                      </a:lnTo>
                      <a:lnTo>
                        <a:pt x="845" y="717"/>
                      </a:lnTo>
                      <a:lnTo>
                        <a:pt x="870" y="704"/>
                      </a:lnTo>
                      <a:lnTo>
                        <a:pt x="895" y="690"/>
                      </a:lnTo>
                      <a:lnTo>
                        <a:pt x="606" y="0"/>
                      </a:lnTo>
                      <a:lnTo>
                        <a:pt x="606" y="0"/>
                      </a:lnTo>
                      <a:lnTo>
                        <a:pt x="568" y="5"/>
                      </a:lnTo>
                      <a:lnTo>
                        <a:pt x="529" y="9"/>
                      </a:lnTo>
                      <a:lnTo>
                        <a:pt x="489" y="11"/>
                      </a:lnTo>
                      <a:lnTo>
                        <a:pt x="447" y="12"/>
                      </a:lnTo>
                      <a:lnTo>
                        <a:pt x="447" y="12"/>
                      </a:lnTo>
                      <a:lnTo>
                        <a:pt x="447" y="12"/>
                      </a:lnTo>
                      <a:lnTo>
                        <a:pt x="447" y="12"/>
                      </a:lnTo>
                      <a:lnTo>
                        <a:pt x="406" y="11"/>
                      </a:lnTo>
                      <a:lnTo>
                        <a:pt x="366" y="9"/>
                      </a:lnTo>
                      <a:lnTo>
                        <a:pt x="327" y="5"/>
                      </a:lnTo>
                      <a:lnTo>
                        <a:pt x="2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4" name="Freeform 39"/>
                <p:cNvSpPr>
                  <a:spLocks/>
                </p:cNvSpPr>
                <p:nvPr/>
              </p:nvSpPr>
              <p:spPr bwMode="auto">
                <a:xfrm>
                  <a:off x="-427890" y="1643460"/>
                  <a:ext cx="42863" cy="30163"/>
                </a:xfrm>
                <a:custGeom>
                  <a:avLst/>
                  <a:gdLst>
                    <a:gd name="T0" fmla="*/ 8 w 136"/>
                    <a:gd name="T1" fmla="*/ 98 h 98"/>
                    <a:gd name="T2" fmla="*/ 0 w 136"/>
                    <a:gd name="T3" fmla="*/ 86 h 98"/>
                    <a:gd name="T4" fmla="*/ 127 w 136"/>
                    <a:gd name="T5" fmla="*/ 0 h 98"/>
                    <a:gd name="T6" fmla="*/ 136 w 136"/>
                    <a:gd name="T7" fmla="*/ 13 h 98"/>
                    <a:gd name="T8" fmla="*/ 8 w 136"/>
                    <a:gd name="T9" fmla="*/ 98 h 98"/>
                  </a:gdLst>
                  <a:ahLst/>
                  <a:cxnLst>
                    <a:cxn ang="0">
                      <a:pos x="T0" y="T1"/>
                    </a:cxn>
                    <a:cxn ang="0">
                      <a:pos x="T2" y="T3"/>
                    </a:cxn>
                    <a:cxn ang="0">
                      <a:pos x="T4" y="T5"/>
                    </a:cxn>
                    <a:cxn ang="0">
                      <a:pos x="T6" y="T7"/>
                    </a:cxn>
                    <a:cxn ang="0">
                      <a:pos x="T8" y="T9"/>
                    </a:cxn>
                  </a:cxnLst>
                  <a:rect l="0" t="0" r="r" b="b"/>
                  <a:pathLst>
                    <a:path w="136" h="98">
                      <a:moveTo>
                        <a:pt x="8" y="98"/>
                      </a:moveTo>
                      <a:lnTo>
                        <a:pt x="0" y="86"/>
                      </a:lnTo>
                      <a:lnTo>
                        <a:pt x="127" y="0"/>
                      </a:lnTo>
                      <a:lnTo>
                        <a:pt x="136" y="13"/>
                      </a:lnTo>
                      <a:lnTo>
                        <a:pt x="8" y="98"/>
                      </a:lnTo>
                      <a:close/>
                    </a:path>
                  </a:pathLst>
                </a:custGeom>
                <a:solidFill>
                  <a:srgbClr val="3ABA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5" name="Freeform 40"/>
                <p:cNvSpPr>
                  <a:spLocks/>
                </p:cNvSpPr>
                <p:nvPr/>
              </p:nvSpPr>
              <p:spPr bwMode="auto">
                <a:xfrm>
                  <a:off x="-439003" y="1660923"/>
                  <a:ext cx="23813" cy="23813"/>
                </a:xfrm>
                <a:custGeom>
                  <a:avLst/>
                  <a:gdLst>
                    <a:gd name="T0" fmla="*/ 73 w 73"/>
                    <a:gd name="T1" fmla="*/ 36 h 73"/>
                    <a:gd name="T2" fmla="*/ 73 w 73"/>
                    <a:gd name="T3" fmla="*/ 36 h 73"/>
                    <a:gd name="T4" fmla="*/ 72 w 73"/>
                    <a:gd name="T5" fmla="*/ 44 h 73"/>
                    <a:gd name="T6" fmla="*/ 70 w 73"/>
                    <a:gd name="T7" fmla="*/ 51 h 73"/>
                    <a:gd name="T8" fmla="*/ 67 w 73"/>
                    <a:gd name="T9" fmla="*/ 57 h 73"/>
                    <a:gd name="T10" fmla="*/ 62 w 73"/>
                    <a:gd name="T11" fmla="*/ 63 h 73"/>
                    <a:gd name="T12" fmla="*/ 58 w 73"/>
                    <a:gd name="T13" fmla="*/ 67 h 73"/>
                    <a:gd name="T14" fmla="*/ 50 w 73"/>
                    <a:gd name="T15" fmla="*/ 70 h 73"/>
                    <a:gd name="T16" fmla="*/ 44 w 73"/>
                    <a:gd name="T17" fmla="*/ 73 h 73"/>
                    <a:gd name="T18" fmla="*/ 37 w 73"/>
                    <a:gd name="T19" fmla="*/ 73 h 73"/>
                    <a:gd name="T20" fmla="*/ 37 w 73"/>
                    <a:gd name="T21" fmla="*/ 73 h 73"/>
                    <a:gd name="T22" fmla="*/ 30 w 73"/>
                    <a:gd name="T23" fmla="*/ 73 h 73"/>
                    <a:gd name="T24" fmla="*/ 22 w 73"/>
                    <a:gd name="T25" fmla="*/ 70 h 73"/>
                    <a:gd name="T26" fmla="*/ 16 w 73"/>
                    <a:gd name="T27" fmla="*/ 67 h 73"/>
                    <a:gd name="T28" fmla="*/ 10 w 73"/>
                    <a:gd name="T29" fmla="*/ 63 h 73"/>
                    <a:gd name="T30" fmla="*/ 6 w 73"/>
                    <a:gd name="T31" fmla="*/ 57 h 73"/>
                    <a:gd name="T32" fmla="*/ 3 w 73"/>
                    <a:gd name="T33" fmla="*/ 51 h 73"/>
                    <a:gd name="T34" fmla="*/ 0 w 73"/>
                    <a:gd name="T35" fmla="*/ 44 h 73"/>
                    <a:gd name="T36" fmla="*/ 0 w 73"/>
                    <a:gd name="T37" fmla="*/ 36 h 73"/>
                    <a:gd name="T38" fmla="*/ 0 w 73"/>
                    <a:gd name="T39" fmla="*/ 36 h 73"/>
                    <a:gd name="T40" fmla="*/ 0 w 73"/>
                    <a:gd name="T41" fmla="*/ 29 h 73"/>
                    <a:gd name="T42" fmla="*/ 3 w 73"/>
                    <a:gd name="T43" fmla="*/ 22 h 73"/>
                    <a:gd name="T44" fmla="*/ 6 w 73"/>
                    <a:gd name="T45" fmla="*/ 15 h 73"/>
                    <a:gd name="T46" fmla="*/ 10 w 73"/>
                    <a:gd name="T47" fmla="*/ 11 h 73"/>
                    <a:gd name="T48" fmla="*/ 16 w 73"/>
                    <a:gd name="T49" fmla="*/ 6 h 73"/>
                    <a:gd name="T50" fmla="*/ 22 w 73"/>
                    <a:gd name="T51" fmla="*/ 2 h 73"/>
                    <a:gd name="T52" fmla="*/ 30 w 73"/>
                    <a:gd name="T53" fmla="*/ 1 h 73"/>
                    <a:gd name="T54" fmla="*/ 37 w 73"/>
                    <a:gd name="T55" fmla="*/ 0 h 73"/>
                    <a:gd name="T56" fmla="*/ 37 w 73"/>
                    <a:gd name="T57" fmla="*/ 0 h 73"/>
                    <a:gd name="T58" fmla="*/ 44 w 73"/>
                    <a:gd name="T59" fmla="*/ 1 h 73"/>
                    <a:gd name="T60" fmla="*/ 50 w 73"/>
                    <a:gd name="T61" fmla="*/ 2 h 73"/>
                    <a:gd name="T62" fmla="*/ 58 w 73"/>
                    <a:gd name="T63" fmla="*/ 6 h 73"/>
                    <a:gd name="T64" fmla="*/ 62 w 73"/>
                    <a:gd name="T65" fmla="*/ 11 h 73"/>
                    <a:gd name="T66" fmla="*/ 67 w 73"/>
                    <a:gd name="T67" fmla="*/ 15 h 73"/>
                    <a:gd name="T68" fmla="*/ 70 w 73"/>
                    <a:gd name="T69" fmla="*/ 22 h 73"/>
                    <a:gd name="T70" fmla="*/ 72 w 73"/>
                    <a:gd name="T71" fmla="*/ 29 h 73"/>
                    <a:gd name="T72" fmla="*/ 73 w 73"/>
                    <a:gd name="T73" fmla="*/ 36 h 73"/>
                    <a:gd name="T74" fmla="*/ 73 w 73"/>
                    <a:gd name="T75" fmla="*/ 3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 h="73">
                      <a:moveTo>
                        <a:pt x="73" y="36"/>
                      </a:moveTo>
                      <a:lnTo>
                        <a:pt x="73" y="36"/>
                      </a:lnTo>
                      <a:lnTo>
                        <a:pt x="72" y="44"/>
                      </a:lnTo>
                      <a:lnTo>
                        <a:pt x="70" y="51"/>
                      </a:lnTo>
                      <a:lnTo>
                        <a:pt x="67" y="57"/>
                      </a:lnTo>
                      <a:lnTo>
                        <a:pt x="62" y="63"/>
                      </a:lnTo>
                      <a:lnTo>
                        <a:pt x="58" y="67"/>
                      </a:lnTo>
                      <a:lnTo>
                        <a:pt x="50" y="70"/>
                      </a:lnTo>
                      <a:lnTo>
                        <a:pt x="44" y="73"/>
                      </a:lnTo>
                      <a:lnTo>
                        <a:pt x="37" y="73"/>
                      </a:lnTo>
                      <a:lnTo>
                        <a:pt x="37" y="73"/>
                      </a:lnTo>
                      <a:lnTo>
                        <a:pt x="30" y="73"/>
                      </a:lnTo>
                      <a:lnTo>
                        <a:pt x="22" y="70"/>
                      </a:lnTo>
                      <a:lnTo>
                        <a:pt x="16" y="67"/>
                      </a:lnTo>
                      <a:lnTo>
                        <a:pt x="10" y="63"/>
                      </a:lnTo>
                      <a:lnTo>
                        <a:pt x="6" y="57"/>
                      </a:lnTo>
                      <a:lnTo>
                        <a:pt x="3" y="51"/>
                      </a:lnTo>
                      <a:lnTo>
                        <a:pt x="0" y="44"/>
                      </a:lnTo>
                      <a:lnTo>
                        <a:pt x="0" y="36"/>
                      </a:lnTo>
                      <a:lnTo>
                        <a:pt x="0" y="36"/>
                      </a:lnTo>
                      <a:lnTo>
                        <a:pt x="0" y="29"/>
                      </a:lnTo>
                      <a:lnTo>
                        <a:pt x="3" y="22"/>
                      </a:lnTo>
                      <a:lnTo>
                        <a:pt x="6" y="15"/>
                      </a:lnTo>
                      <a:lnTo>
                        <a:pt x="10" y="11"/>
                      </a:lnTo>
                      <a:lnTo>
                        <a:pt x="16" y="6"/>
                      </a:lnTo>
                      <a:lnTo>
                        <a:pt x="22" y="2"/>
                      </a:lnTo>
                      <a:lnTo>
                        <a:pt x="30" y="1"/>
                      </a:lnTo>
                      <a:lnTo>
                        <a:pt x="37" y="0"/>
                      </a:lnTo>
                      <a:lnTo>
                        <a:pt x="37" y="0"/>
                      </a:lnTo>
                      <a:lnTo>
                        <a:pt x="44" y="1"/>
                      </a:lnTo>
                      <a:lnTo>
                        <a:pt x="50" y="2"/>
                      </a:lnTo>
                      <a:lnTo>
                        <a:pt x="58" y="6"/>
                      </a:lnTo>
                      <a:lnTo>
                        <a:pt x="62" y="11"/>
                      </a:lnTo>
                      <a:lnTo>
                        <a:pt x="67" y="15"/>
                      </a:lnTo>
                      <a:lnTo>
                        <a:pt x="70" y="22"/>
                      </a:lnTo>
                      <a:lnTo>
                        <a:pt x="72" y="29"/>
                      </a:lnTo>
                      <a:lnTo>
                        <a:pt x="73" y="36"/>
                      </a:lnTo>
                      <a:lnTo>
                        <a:pt x="73" y="36"/>
                      </a:lnTo>
                      <a:close/>
                    </a:path>
                  </a:pathLst>
                </a:custGeom>
                <a:solidFill>
                  <a:srgbClr val="3ABA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6" name="Freeform 41"/>
                <p:cNvSpPr>
                  <a:spLocks/>
                </p:cNvSpPr>
                <p:nvPr/>
              </p:nvSpPr>
              <p:spPr bwMode="auto">
                <a:xfrm>
                  <a:off x="-435828" y="1665686"/>
                  <a:ext cx="12700" cy="11113"/>
                </a:xfrm>
                <a:custGeom>
                  <a:avLst/>
                  <a:gdLst>
                    <a:gd name="T0" fmla="*/ 36 w 36"/>
                    <a:gd name="T1" fmla="*/ 18 h 35"/>
                    <a:gd name="T2" fmla="*/ 36 w 36"/>
                    <a:gd name="T3" fmla="*/ 18 h 35"/>
                    <a:gd name="T4" fmla="*/ 34 w 36"/>
                    <a:gd name="T5" fmla="*/ 24 h 35"/>
                    <a:gd name="T6" fmla="*/ 31 w 36"/>
                    <a:gd name="T7" fmla="*/ 31 h 35"/>
                    <a:gd name="T8" fmla="*/ 25 w 36"/>
                    <a:gd name="T9" fmla="*/ 34 h 35"/>
                    <a:gd name="T10" fmla="*/ 17 w 36"/>
                    <a:gd name="T11" fmla="*/ 35 h 35"/>
                    <a:gd name="T12" fmla="*/ 17 w 36"/>
                    <a:gd name="T13" fmla="*/ 35 h 35"/>
                    <a:gd name="T14" fmla="*/ 11 w 36"/>
                    <a:gd name="T15" fmla="*/ 34 h 35"/>
                    <a:gd name="T16" fmla="*/ 5 w 36"/>
                    <a:gd name="T17" fmla="*/ 31 h 35"/>
                    <a:gd name="T18" fmla="*/ 2 w 36"/>
                    <a:gd name="T19" fmla="*/ 24 h 35"/>
                    <a:gd name="T20" fmla="*/ 0 w 36"/>
                    <a:gd name="T21" fmla="*/ 18 h 35"/>
                    <a:gd name="T22" fmla="*/ 0 w 36"/>
                    <a:gd name="T23" fmla="*/ 18 h 35"/>
                    <a:gd name="T24" fmla="*/ 2 w 36"/>
                    <a:gd name="T25" fmla="*/ 11 h 35"/>
                    <a:gd name="T26" fmla="*/ 5 w 36"/>
                    <a:gd name="T27" fmla="*/ 6 h 35"/>
                    <a:gd name="T28" fmla="*/ 11 w 36"/>
                    <a:gd name="T29" fmla="*/ 1 h 35"/>
                    <a:gd name="T30" fmla="*/ 17 w 36"/>
                    <a:gd name="T31" fmla="*/ 0 h 35"/>
                    <a:gd name="T32" fmla="*/ 17 w 36"/>
                    <a:gd name="T33" fmla="*/ 0 h 35"/>
                    <a:gd name="T34" fmla="*/ 25 w 36"/>
                    <a:gd name="T35" fmla="*/ 1 h 35"/>
                    <a:gd name="T36" fmla="*/ 31 w 36"/>
                    <a:gd name="T37" fmla="*/ 6 h 35"/>
                    <a:gd name="T38" fmla="*/ 34 w 36"/>
                    <a:gd name="T39" fmla="*/ 11 h 35"/>
                    <a:gd name="T40" fmla="*/ 36 w 36"/>
                    <a:gd name="T41" fmla="*/ 18 h 35"/>
                    <a:gd name="T42" fmla="*/ 36 w 36"/>
                    <a:gd name="T43"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 h="35">
                      <a:moveTo>
                        <a:pt x="36" y="18"/>
                      </a:moveTo>
                      <a:lnTo>
                        <a:pt x="36" y="18"/>
                      </a:lnTo>
                      <a:lnTo>
                        <a:pt x="34" y="24"/>
                      </a:lnTo>
                      <a:lnTo>
                        <a:pt x="31" y="31"/>
                      </a:lnTo>
                      <a:lnTo>
                        <a:pt x="25" y="34"/>
                      </a:lnTo>
                      <a:lnTo>
                        <a:pt x="17" y="35"/>
                      </a:lnTo>
                      <a:lnTo>
                        <a:pt x="17" y="35"/>
                      </a:lnTo>
                      <a:lnTo>
                        <a:pt x="11" y="34"/>
                      </a:lnTo>
                      <a:lnTo>
                        <a:pt x="5" y="31"/>
                      </a:lnTo>
                      <a:lnTo>
                        <a:pt x="2" y="24"/>
                      </a:lnTo>
                      <a:lnTo>
                        <a:pt x="0" y="18"/>
                      </a:lnTo>
                      <a:lnTo>
                        <a:pt x="0" y="18"/>
                      </a:lnTo>
                      <a:lnTo>
                        <a:pt x="2" y="11"/>
                      </a:lnTo>
                      <a:lnTo>
                        <a:pt x="5" y="6"/>
                      </a:lnTo>
                      <a:lnTo>
                        <a:pt x="11" y="1"/>
                      </a:lnTo>
                      <a:lnTo>
                        <a:pt x="17" y="0"/>
                      </a:lnTo>
                      <a:lnTo>
                        <a:pt x="17" y="0"/>
                      </a:lnTo>
                      <a:lnTo>
                        <a:pt x="25" y="1"/>
                      </a:lnTo>
                      <a:lnTo>
                        <a:pt x="31" y="6"/>
                      </a:lnTo>
                      <a:lnTo>
                        <a:pt x="34" y="11"/>
                      </a:lnTo>
                      <a:lnTo>
                        <a:pt x="36" y="18"/>
                      </a:lnTo>
                      <a:lnTo>
                        <a:pt x="36"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7" name="Rectangle 42"/>
                <p:cNvSpPr>
                  <a:spLocks noChangeArrowheads="1"/>
                </p:cNvSpPr>
                <p:nvPr/>
              </p:nvSpPr>
              <p:spPr bwMode="auto">
                <a:xfrm>
                  <a:off x="-264377" y="1486296"/>
                  <a:ext cx="4763" cy="31750"/>
                </a:xfrm>
                <a:prstGeom prst="rect">
                  <a:avLst/>
                </a:prstGeom>
                <a:solidFill>
                  <a:srgbClr val="3ABA7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8" name="Freeform 43"/>
                <p:cNvSpPr>
                  <a:spLocks/>
                </p:cNvSpPr>
                <p:nvPr/>
              </p:nvSpPr>
              <p:spPr bwMode="auto">
                <a:xfrm>
                  <a:off x="-392965" y="1540272"/>
                  <a:ext cx="131763" cy="19050"/>
                </a:xfrm>
                <a:custGeom>
                  <a:avLst/>
                  <a:gdLst>
                    <a:gd name="T0" fmla="*/ 413 w 413"/>
                    <a:gd name="T1" fmla="*/ 0 h 60"/>
                    <a:gd name="T2" fmla="*/ 60 w 413"/>
                    <a:gd name="T3" fmla="*/ 0 h 60"/>
                    <a:gd name="T4" fmla="*/ 60 w 413"/>
                    <a:gd name="T5" fmla="*/ 0 h 60"/>
                    <a:gd name="T6" fmla="*/ 48 w 413"/>
                    <a:gd name="T7" fmla="*/ 1 h 60"/>
                    <a:gd name="T8" fmla="*/ 37 w 413"/>
                    <a:gd name="T9" fmla="*/ 5 h 60"/>
                    <a:gd name="T10" fmla="*/ 26 w 413"/>
                    <a:gd name="T11" fmla="*/ 11 h 60"/>
                    <a:gd name="T12" fmla="*/ 17 w 413"/>
                    <a:gd name="T13" fmla="*/ 18 h 60"/>
                    <a:gd name="T14" fmla="*/ 10 w 413"/>
                    <a:gd name="T15" fmla="*/ 27 h 60"/>
                    <a:gd name="T16" fmla="*/ 5 w 413"/>
                    <a:gd name="T17" fmla="*/ 37 h 60"/>
                    <a:gd name="T18" fmla="*/ 1 w 413"/>
                    <a:gd name="T19" fmla="*/ 48 h 60"/>
                    <a:gd name="T20" fmla="*/ 0 w 413"/>
                    <a:gd name="T21" fmla="*/ 60 h 60"/>
                    <a:gd name="T22" fmla="*/ 413 w 413"/>
                    <a:gd name="T23" fmla="*/ 60 h 60"/>
                    <a:gd name="T24" fmla="*/ 413 w 413"/>
                    <a:gd name="T25"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3" h="60">
                      <a:moveTo>
                        <a:pt x="413" y="0"/>
                      </a:moveTo>
                      <a:lnTo>
                        <a:pt x="60" y="0"/>
                      </a:lnTo>
                      <a:lnTo>
                        <a:pt x="60" y="0"/>
                      </a:lnTo>
                      <a:lnTo>
                        <a:pt x="48" y="1"/>
                      </a:lnTo>
                      <a:lnTo>
                        <a:pt x="37" y="5"/>
                      </a:lnTo>
                      <a:lnTo>
                        <a:pt x="26" y="11"/>
                      </a:lnTo>
                      <a:lnTo>
                        <a:pt x="17" y="18"/>
                      </a:lnTo>
                      <a:lnTo>
                        <a:pt x="10" y="27"/>
                      </a:lnTo>
                      <a:lnTo>
                        <a:pt x="5" y="37"/>
                      </a:lnTo>
                      <a:lnTo>
                        <a:pt x="1" y="48"/>
                      </a:lnTo>
                      <a:lnTo>
                        <a:pt x="0" y="60"/>
                      </a:lnTo>
                      <a:lnTo>
                        <a:pt x="413" y="60"/>
                      </a:lnTo>
                      <a:lnTo>
                        <a:pt x="413"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9" name="Freeform 44"/>
                <p:cNvSpPr>
                  <a:spLocks/>
                </p:cNvSpPr>
                <p:nvPr/>
              </p:nvSpPr>
              <p:spPr bwMode="auto">
                <a:xfrm>
                  <a:off x="-392965" y="1559322"/>
                  <a:ext cx="131763" cy="19050"/>
                </a:xfrm>
                <a:custGeom>
                  <a:avLst/>
                  <a:gdLst>
                    <a:gd name="T0" fmla="*/ 413 w 413"/>
                    <a:gd name="T1" fmla="*/ 0 h 60"/>
                    <a:gd name="T2" fmla="*/ 0 w 413"/>
                    <a:gd name="T3" fmla="*/ 0 h 60"/>
                    <a:gd name="T4" fmla="*/ 0 w 413"/>
                    <a:gd name="T5" fmla="*/ 0 h 60"/>
                    <a:gd name="T6" fmla="*/ 1 w 413"/>
                    <a:gd name="T7" fmla="*/ 12 h 60"/>
                    <a:gd name="T8" fmla="*/ 5 w 413"/>
                    <a:gd name="T9" fmla="*/ 23 h 60"/>
                    <a:gd name="T10" fmla="*/ 10 w 413"/>
                    <a:gd name="T11" fmla="*/ 34 h 60"/>
                    <a:gd name="T12" fmla="*/ 17 w 413"/>
                    <a:gd name="T13" fmla="*/ 42 h 60"/>
                    <a:gd name="T14" fmla="*/ 26 w 413"/>
                    <a:gd name="T15" fmla="*/ 50 h 60"/>
                    <a:gd name="T16" fmla="*/ 37 w 413"/>
                    <a:gd name="T17" fmla="*/ 55 h 60"/>
                    <a:gd name="T18" fmla="*/ 48 w 413"/>
                    <a:gd name="T19" fmla="*/ 58 h 60"/>
                    <a:gd name="T20" fmla="*/ 60 w 413"/>
                    <a:gd name="T21" fmla="*/ 60 h 60"/>
                    <a:gd name="T22" fmla="*/ 413 w 413"/>
                    <a:gd name="T23" fmla="*/ 60 h 60"/>
                    <a:gd name="T24" fmla="*/ 413 w 413"/>
                    <a:gd name="T25"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3" h="60">
                      <a:moveTo>
                        <a:pt x="413" y="0"/>
                      </a:moveTo>
                      <a:lnTo>
                        <a:pt x="0" y="0"/>
                      </a:lnTo>
                      <a:lnTo>
                        <a:pt x="0" y="0"/>
                      </a:lnTo>
                      <a:lnTo>
                        <a:pt x="1" y="12"/>
                      </a:lnTo>
                      <a:lnTo>
                        <a:pt x="5" y="23"/>
                      </a:lnTo>
                      <a:lnTo>
                        <a:pt x="10" y="34"/>
                      </a:lnTo>
                      <a:lnTo>
                        <a:pt x="17" y="42"/>
                      </a:lnTo>
                      <a:lnTo>
                        <a:pt x="26" y="50"/>
                      </a:lnTo>
                      <a:lnTo>
                        <a:pt x="37" y="55"/>
                      </a:lnTo>
                      <a:lnTo>
                        <a:pt x="48" y="58"/>
                      </a:lnTo>
                      <a:lnTo>
                        <a:pt x="60" y="60"/>
                      </a:lnTo>
                      <a:lnTo>
                        <a:pt x="413" y="60"/>
                      </a:lnTo>
                      <a:lnTo>
                        <a:pt x="413"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50" name="Freeform 45"/>
                <p:cNvSpPr>
                  <a:spLocks/>
                </p:cNvSpPr>
                <p:nvPr/>
              </p:nvSpPr>
              <p:spPr bwMode="auto">
                <a:xfrm>
                  <a:off x="-392965" y="1559322"/>
                  <a:ext cx="131763" cy="19050"/>
                </a:xfrm>
                <a:custGeom>
                  <a:avLst/>
                  <a:gdLst>
                    <a:gd name="T0" fmla="*/ 413 w 413"/>
                    <a:gd name="T1" fmla="*/ 0 h 60"/>
                    <a:gd name="T2" fmla="*/ 0 w 413"/>
                    <a:gd name="T3" fmla="*/ 0 h 60"/>
                    <a:gd name="T4" fmla="*/ 0 w 413"/>
                    <a:gd name="T5" fmla="*/ 0 h 60"/>
                    <a:gd name="T6" fmla="*/ 1 w 413"/>
                    <a:gd name="T7" fmla="*/ 12 h 60"/>
                    <a:gd name="T8" fmla="*/ 5 w 413"/>
                    <a:gd name="T9" fmla="*/ 23 h 60"/>
                    <a:gd name="T10" fmla="*/ 10 w 413"/>
                    <a:gd name="T11" fmla="*/ 34 h 60"/>
                    <a:gd name="T12" fmla="*/ 17 w 413"/>
                    <a:gd name="T13" fmla="*/ 42 h 60"/>
                    <a:gd name="T14" fmla="*/ 26 w 413"/>
                    <a:gd name="T15" fmla="*/ 50 h 60"/>
                    <a:gd name="T16" fmla="*/ 37 w 413"/>
                    <a:gd name="T17" fmla="*/ 55 h 60"/>
                    <a:gd name="T18" fmla="*/ 48 w 413"/>
                    <a:gd name="T19" fmla="*/ 58 h 60"/>
                    <a:gd name="T20" fmla="*/ 60 w 413"/>
                    <a:gd name="T21" fmla="*/ 60 h 60"/>
                    <a:gd name="T22" fmla="*/ 413 w 413"/>
                    <a:gd name="T23" fmla="*/ 60 h 60"/>
                    <a:gd name="T24" fmla="*/ 413 w 413"/>
                    <a:gd name="T25"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3" h="60">
                      <a:moveTo>
                        <a:pt x="413" y="0"/>
                      </a:moveTo>
                      <a:lnTo>
                        <a:pt x="0" y="0"/>
                      </a:lnTo>
                      <a:lnTo>
                        <a:pt x="0" y="0"/>
                      </a:lnTo>
                      <a:lnTo>
                        <a:pt x="1" y="12"/>
                      </a:lnTo>
                      <a:lnTo>
                        <a:pt x="5" y="23"/>
                      </a:lnTo>
                      <a:lnTo>
                        <a:pt x="10" y="34"/>
                      </a:lnTo>
                      <a:lnTo>
                        <a:pt x="17" y="42"/>
                      </a:lnTo>
                      <a:lnTo>
                        <a:pt x="26" y="50"/>
                      </a:lnTo>
                      <a:lnTo>
                        <a:pt x="37" y="55"/>
                      </a:lnTo>
                      <a:lnTo>
                        <a:pt x="48" y="58"/>
                      </a:lnTo>
                      <a:lnTo>
                        <a:pt x="60" y="60"/>
                      </a:lnTo>
                      <a:lnTo>
                        <a:pt x="413" y="60"/>
                      </a:lnTo>
                      <a:lnTo>
                        <a:pt x="4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51" name="Freeform 46"/>
                <p:cNvSpPr>
                  <a:spLocks/>
                </p:cNvSpPr>
                <p:nvPr/>
              </p:nvSpPr>
              <p:spPr bwMode="auto">
                <a:xfrm>
                  <a:off x="-346927" y="1518047"/>
                  <a:ext cx="85726" cy="22225"/>
                </a:xfrm>
                <a:custGeom>
                  <a:avLst/>
                  <a:gdLst>
                    <a:gd name="T0" fmla="*/ 270 w 270"/>
                    <a:gd name="T1" fmla="*/ 0 h 69"/>
                    <a:gd name="T2" fmla="*/ 270 w 270"/>
                    <a:gd name="T3" fmla="*/ 0 h 69"/>
                    <a:gd name="T4" fmla="*/ 216 w 270"/>
                    <a:gd name="T5" fmla="*/ 2 h 69"/>
                    <a:gd name="T6" fmla="*/ 166 w 270"/>
                    <a:gd name="T7" fmla="*/ 6 h 69"/>
                    <a:gd name="T8" fmla="*/ 141 w 270"/>
                    <a:gd name="T9" fmla="*/ 8 h 69"/>
                    <a:gd name="T10" fmla="*/ 119 w 270"/>
                    <a:gd name="T11" fmla="*/ 12 h 69"/>
                    <a:gd name="T12" fmla="*/ 99 w 270"/>
                    <a:gd name="T13" fmla="*/ 15 h 69"/>
                    <a:gd name="T14" fmla="*/ 79 w 270"/>
                    <a:gd name="T15" fmla="*/ 20 h 69"/>
                    <a:gd name="T16" fmla="*/ 62 w 270"/>
                    <a:gd name="T17" fmla="*/ 25 h 69"/>
                    <a:gd name="T18" fmla="*/ 46 w 270"/>
                    <a:gd name="T19" fmla="*/ 30 h 69"/>
                    <a:gd name="T20" fmla="*/ 33 w 270"/>
                    <a:gd name="T21" fmla="*/ 36 h 69"/>
                    <a:gd name="T22" fmla="*/ 21 w 270"/>
                    <a:gd name="T23" fmla="*/ 42 h 69"/>
                    <a:gd name="T24" fmla="*/ 12 w 270"/>
                    <a:gd name="T25" fmla="*/ 48 h 69"/>
                    <a:gd name="T26" fmla="*/ 5 w 270"/>
                    <a:gd name="T27" fmla="*/ 56 h 69"/>
                    <a:gd name="T28" fmla="*/ 1 w 270"/>
                    <a:gd name="T29" fmla="*/ 62 h 69"/>
                    <a:gd name="T30" fmla="*/ 0 w 270"/>
                    <a:gd name="T31" fmla="*/ 69 h 69"/>
                    <a:gd name="T32" fmla="*/ 270 w 270"/>
                    <a:gd name="T33" fmla="*/ 69 h 69"/>
                    <a:gd name="T34" fmla="*/ 270 w 270"/>
                    <a:gd name="T3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0" h="69">
                      <a:moveTo>
                        <a:pt x="270" y="0"/>
                      </a:moveTo>
                      <a:lnTo>
                        <a:pt x="270" y="0"/>
                      </a:lnTo>
                      <a:lnTo>
                        <a:pt x="216" y="2"/>
                      </a:lnTo>
                      <a:lnTo>
                        <a:pt x="166" y="6"/>
                      </a:lnTo>
                      <a:lnTo>
                        <a:pt x="141" y="8"/>
                      </a:lnTo>
                      <a:lnTo>
                        <a:pt x="119" y="12"/>
                      </a:lnTo>
                      <a:lnTo>
                        <a:pt x="99" y="15"/>
                      </a:lnTo>
                      <a:lnTo>
                        <a:pt x="79" y="20"/>
                      </a:lnTo>
                      <a:lnTo>
                        <a:pt x="62" y="25"/>
                      </a:lnTo>
                      <a:lnTo>
                        <a:pt x="46" y="30"/>
                      </a:lnTo>
                      <a:lnTo>
                        <a:pt x="33" y="36"/>
                      </a:lnTo>
                      <a:lnTo>
                        <a:pt x="21" y="42"/>
                      </a:lnTo>
                      <a:lnTo>
                        <a:pt x="12" y="48"/>
                      </a:lnTo>
                      <a:lnTo>
                        <a:pt x="5" y="56"/>
                      </a:lnTo>
                      <a:lnTo>
                        <a:pt x="1" y="62"/>
                      </a:lnTo>
                      <a:lnTo>
                        <a:pt x="0" y="69"/>
                      </a:lnTo>
                      <a:lnTo>
                        <a:pt x="270" y="69"/>
                      </a:lnTo>
                      <a:lnTo>
                        <a:pt x="270" y="0"/>
                      </a:lnTo>
                      <a:close/>
                    </a:path>
                  </a:pathLst>
                </a:custGeom>
                <a:solidFill>
                  <a:srgbClr val="3ABA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52" name="Freeform 47"/>
                <p:cNvSpPr>
                  <a:spLocks/>
                </p:cNvSpPr>
                <p:nvPr/>
              </p:nvSpPr>
              <p:spPr bwMode="auto">
                <a:xfrm>
                  <a:off x="-413603" y="1625998"/>
                  <a:ext cx="152401" cy="69851"/>
                </a:xfrm>
                <a:custGeom>
                  <a:avLst/>
                  <a:gdLst>
                    <a:gd name="T0" fmla="*/ 0 w 476"/>
                    <a:gd name="T1" fmla="*/ 0 h 219"/>
                    <a:gd name="T2" fmla="*/ 0 w 476"/>
                    <a:gd name="T3" fmla="*/ 0 h 219"/>
                    <a:gd name="T4" fmla="*/ 1 w 476"/>
                    <a:gd name="T5" fmla="*/ 12 h 219"/>
                    <a:gd name="T6" fmla="*/ 2 w 476"/>
                    <a:gd name="T7" fmla="*/ 23 h 219"/>
                    <a:gd name="T8" fmla="*/ 6 w 476"/>
                    <a:gd name="T9" fmla="*/ 34 h 219"/>
                    <a:gd name="T10" fmla="*/ 10 w 476"/>
                    <a:gd name="T11" fmla="*/ 45 h 219"/>
                    <a:gd name="T12" fmla="*/ 16 w 476"/>
                    <a:gd name="T13" fmla="*/ 55 h 219"/>
                    <a:gd name="T14" fmla="*/ 22 w 476"/>
                    <a:gd name="T15" fmla="*/ 66 h 219"/>
                    <a:gd name="T16" fmla="*/ 29 w 476"/>
                    <a:gd name="T17" fmla="*/ 76 h 219"/>
                    <a:gd name="T18" fmla="*/ 38 w 476"/>
                    <a:gd name="T19" fmla="*/ 85 h 219"/>
                    <a:gd name="T20" fmla="*/ 47 w 476"/>
                    <a:gd name="T21" fmla="*/ 95 h 219"/>
                    <a:gd name="T22" fmla="*/ 58 w 476"/>
                    <a:gd name="T23" fmla="*/ 105 h 219"/>
                    <a:gd name="T24" fmla="*/ 69 w 476"/>
                    <a:gd name="T25" fmla="*/ 113 h 219"/>
                    <a:gd name="T26" fmla="*/ 81 w 476"/>
                    <a:gd name="T27" fmla="*/ 123 h 219"/>
                    <a:gd name="T28" fmla="*/ 110 w 476"/>
                    <a:gd name="T29" fmla="*/ 140 h 219"/>
                    <a:gd name="T30" fmla="*/ 140 w 476"/>
                    <a:gd name="T31" fmla="*/ 155 h 219"/>
                    <a:gd name="T32" fmla="*/ 174 w 476"/>
                    <a:gd name="T33" fmla="*/ 169 h 219"/>
                    <a:gd name="T34" fmla="*/ 211 w 476"/>
                    <a:gd name="T35" fmla="*/ 182 h 219"/>
                    <a:gd name="T36" fmla="*/ 250 w 476"/>
                    <a:gd name="T37" fmla="*/ 193 h 219"/>
                    <a:gd name="T38" fmla="*/ 291 w 476"/>
                    <a:gd name="T39" fmla="*/ 202 h 219"/>
                    <a:gd name="T40" fmla="*/ 335 w 476"/>
                    <a:gd name="T41" fmla="*/ 210 h 219"/>
                    <a:gd name="T42" fmla="*/ 380 w 476"/>
                    <a:gd name="T43" fmla="*/ 214 h 219"/>
                    <a:gd name="T44" fmla="*/ 428 w 476"/>
                    <a:gd name="T45" fmla="*/ 218 h 219"/>
                    <a:gd name="T46" fmla="*/ 476 w 476"/>
                    <a:gd name="T47" fmla="*/ 219 h 219"/>
                    <a:gd name="T48" fmla="*/ 476 w 476"/>
                    <a:gd name="T49" fmla="*/ 0 h 219"/>
                    <a:gd name="T50" fmla="*/ 0 w 476"/>
                    <a:gd name="T51"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6" h="219">
                      <a:moveTo>
                        <a:pt x="0" y="0"/>
                      </a:moveTo>
                      <a:lnTo>
                        <a:pt x="0" y="0"/>
                      </a:lnTo>
                      <a:lnTo>
                        <a:pt x="1" y="12"/>
                      </a:lnTo>
                      <a:lnTo>
                        <a:pt x="2" y="23"/>
                      </a:lnTo>
                      <a:lnTo>
                        <a:pt x="6" y="34"/>
                      </a:lnTo>
                      <a:lnTo>
                        <a:pt x="10" y="45"/>
                      </a:lnTo>
                      <a:lnTo>
                        <a:pt x="16" y="55"/>
                      </a:lnTo>
                      <a:lnTo>
                        <a:pt x="22" y="66"/>
                      </a:lnTo>
                      <a:lnTo>
                        <a:pt x="29" y="76"/>
                      </a:lnTo>
                      <a:lnTo>
                        <a:pt x="38" y="85"/>
                      </a:lnTo>
                      <a:lnTo>
                        <a:pt x="47" y="95"/>
                      </a:lnTo>
                      <a:lnTo>
                        <a:pt x="58" y="105"/>
                      </a:lnTo>
                      <a:lnTo>
                        <a:pt x="69" y="113"/>
                      </a:lnTo>
                      <a:lnTo>
                        <a:pt x="81" y="123"/>
                      </a:lnTo>
                      <a:lnTo>
                        <a:pt x="110" y="140"/>
                      </a:lnTo>
                      <a:lnTo>
                        <a:pt x="140" y="155"/>
                      </a:lnTo>
                      <a:lnTo>
                        <a:pt x="174" y="169"/>
                      </a:lnTo>
                      <a:lnTo>
                        <a:pt x="211" y="182"/>
                      </a:lnTo>
                      <a:lnTo>
                        <a:pt x="250" y="193"/>
                      </a:lnTo>
                      <a:lnTo>
                        <a:pt x="291" y="202"/>
                      </a:lnTo>
                      <a:lnTo>
                        <a:pt x="335" y="210"/>
                      </a:lnTo>
                      <a:lnTo>
                        <a:pt x="380" y="214"/>
                      </a:lnTo>
                      <a:lnTo>
                        <a:pt x="428" y="218"/>
                      </a:lnTo>
                      <a:lnTo>
                        <a:pt x="476" y="219"/>
                      </a:lnTo>
                      <a:lnTo>
                        <a:pt x="476" y="0"/>
                      </a:lnTo>
                      <a:lnTo>
                        <a:pt x="0"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53" name="Freeform 48"/>
                <p:cNvSpPr>
                  <a:spLocks/>
                </p:cNvSpPr>
                <p:nvPr/>
              </p:nvSpPr>
              <p:spPr bwMode="auto">
                <a:xfrm>
                  <a:off x="-413603" y="1625998"/>
                  <a:ext cx="152401" cy="69851"/>
                </a:xfrm>
                <a:custGeom>
                  <a:avLst/>
                  <a:gdLst>
                    <a:gd name="T0" fmla="*/ 0 w 476"/>
                    <a:gd name="T1" fmla="*/ 0 h 219"/>
                    <a:gd name="T2" fmla="*/ 0 w 476"/>
                    <a:gd name="T3" fmla="*/ 0 h 219"/>
                    <a:gd name="T4" fmla="*/ 1 w 476"/>
                    <a:gd name="T5" fmla="*/ 12 h 219"/>
                    <a:gd name="T6" fmla="*/ 2 w 476"/>
                    <a:gd name="T7" fmla="*/ 23 h 219"/>
                    <a:gd name="T8" fmla="*/ 6 w 476"/>
                    <a:gd name="T9" fmla="*/ 34 h 219"/>
                    <a:gd name="T10" fmla="*/ 10 w 476"/>
                    <a:gd name="T11" fmla="*/ 45 h 219"/>
                    <a:gd name="T12" fmla="*/ 16 w 476"/>
                    <a:gd name="T13" fmla="*/ 55 h 219"/>
                    <a:gd name="T14" fmla="*/ 22 w 476"/>
                    <a:gd name="T15" fmla="*/ 66 h 219"/>
                    <a:gd name="T16" fmla="*/ 29 w 476"/>
                    <a:gd name="T17" fmla="*/ 76 h 219"/>
                    <a:gd name="T18" fmla="*/ 38 w 476"/>
                    <a:gd name="T19" fmla="*/ 85 h 219"/>
                    <a:gd name="T20" fmla="*/ 47 w 476"/>
                    <a:gd name="T21" fmla="*/ 95 h 219"/>
                    <a:gd name="T22" fmla="*/ 58 w 476"/>
                    <a:gd name="T23" fmla="*/ 105 h 219"/>
                    <a:gd name="T24" fmla="*/ 69 w 476"/>
                    <a:gd name="T25" fmla="*/ 113 h 219"/>
                    <a:gd name="T26" fmla="*/ 81 w 476"/>
                    <a:gd name="T27" fmla="*/ 123 h 219"/>
                    <a:gd name="T28" fmla="*/ 110 w 476"/>
                    <a:gd name="T29" fmla="*/ 140 h 219"/>
                    <a:gd name="T30" fmla="*/ 140 w 476"/>
                    <a:gd name="T31" fmla="*/ 155 h 219"/>
                    <a:gd name="T32" fmla="*/ 174 w 476"/>
                    <a:gd name="T33" fmla="*/ 169 h 219"/>
                    <a:gd name="T34" fmla="*/ 211 w 476"/>
                    <a:gd name="T35" fmla="*/ 182 h 219"/>
                    <a:gd name="T36" fmla="*/ 250 w 476"/>
                    <a:gd name="T37" fmla="*/ 193 h 219"/>
                    <a:gd name="T38" fmla="*/ 291 w 476"/>
                    <a:gd name="T39" fmla="*/ 202 h 219"/>
                    <a:gd name="T40" fmla="*/ 335 w 476"/>
                    <a:gd name="T41" fmla="*/ 210 h 219"/>
                    <a:gd name="T42" fmla="*/ 380 w 476"/>
                    <a:gd name="T43" fmla="*/ 214 h 219"/>
                    <a:gd name="T44" fmla="*/ 428 w 476"/>
                    <a:gd name="T45" fmla="*/ 218 h 219"/>
                    <a:gd name="T46" fmla="*/ 476 w 476"/>
                    <a:gd name="T47" fmla="*/ 219 h 219"/>
                    <a:gd name="T48" fmla="*/ 476 w 476"/>
                    <a:gd name="T49" fmla="*/ 0 h 219"/>
                    <a:gd name="T50" fmla="*/ 0 w 476"/>
                    <a:gd name="T51"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6" h="219">
                      <a:moveTo>
                        <a:pt x="0" y="0"/>
                      </a:moveTo>
                      <a:lnTo>
                        <a:pt x="0" y="0"/>
                      </a:lnTo>
                      <a:lnTo>
                        <a:pt x="1" y="12"/>
                      </a:lnTo>
                      <a:lnTo>
                        <a:pt x="2" y="23"/>
                      </a:lnTo>
                      <a:lnTo>
                        <a:pt x="6" y="34"/>
                      </a:lnTo>
                      <a:lnTo>
                        <a:pt x="10" y="45"/>
                      </a:lnTo>
                      <a:lnTo>
                        <a:pt x="16" y="55"/>
                      </a:lnTo>
                      <a:lnTo>
                        <a:pt x="22" y="66"/>
                      </a:lnTo>
                      <a:lnTo>
                        <a:pt x="29" y="76"/>
                      </a:lnTo>
                      <a:lnTo>
                        <a:pt x="38" y="85"/>
                      </a:lnTo>
                      <a:lnTo>
                        <a:pt x="47" y="95"/>
                      </a:lnTo>
                      <a:lnTo>
                        <a:pt x="58" y="105"/>
                      </a:lnTo>
                      <a:lnTo>
                        <a:pt x="69" y="113"/>
                      </a:lnTo>
                      <a:lnTo>
                        <a:pt x="81" y="123"/>
                      </a:lnTo>
                      <a:lnTo>
                        <a:pt x="110" y="140"/>
                      </a:lnTo>
                      <a:lnTo>
                        <a:pt x="140" y="155"/>
                      </a:lnTo>
                      <a:lnTo>
                        <a:pt x="174" y="169"/>
                      </a:lnTo>
                      <a:lnTo>
                        <a:pt x="211" y="182"/>
                      </a:lnTo>
                      <a:lnTo>
                        <a:pt x="250" y="193"/>
                      </a:lnTo>
                      <a:lnTo>
                        <a:pt x="291" y="202"/>
                      </a:lnTo>
                      <a:lnTo>
                        <a:pt x="335" y="210"/>
                      </a:lnTo>
                      <a:lnTo>
                        <a:pt x="380" y="214"/>
                      </a:lnTo>
                      <a:lnTo>
                        <a:pt x="428" y="218"/>
                      </a:lnTo>
                      <a:lnTo>
                        <a:pt x="476" y="219"/>
                      </a:lnTo>
                      <a:lnTo>
                        <a:pt x="47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54" name="Freeform 49"/>
                <p:cNvSpPr>
                  <a:spLocks/>
                </p:cNvSpPr>
                <p:nvPr/>
              </p:nvSpPr>
              <p:spPr bwMode="auto">
                <a:xfrm>
                  <a:off x="-470753" y="1578372"/>
                  <a:ext cx="209552" cy="47625"/>
                </a:xfrm>
                <a:custGeom>
                  <a:avLst/>
                  <a:gdLst>
                    <a:gd name="T0" fmla="*/ 0 w 659"/>
                    <a:gd name="T1" fmla="*/ 152 h 152"/>
                    <a:gd name="T2" fmla="*/ 659 w 659"/>
                    <a:gd name="T3" fmla="*/ 152 h 152"/>
                    <a:gd name="T4" fmla="*/ 659 w 659"/>
                    <a:gd name="T5" fmla="*/ 0 h 152"/>
                    <a:gd name="T6" fmla="*/ 306 w 659"/>
                    <a:gd name="T7" fmla="*/ 0 h 152"/>
                    <a:gd name="T8" fmla="*/ 0 w 659"/>
                    <a:gd name="T9" fmla="*/ 152 h 152"/>
                  </a:gdLst>
                  <a:ahLst/>
                  <a:cxnLst>
                    <a:cxn ang="0">
                      <a:pos x="T0" y="T1"/>
                    </a:cxn>
                    <a:cxn ang="0">
                      <a:pos x="T2" y="T3"/>
                    </a:cxn>
                    <a:cxn ang="0">
                      <a:pos x="T4" y="T5"/>
                    </a:cxn>
                    <a:cxn ang="0">
                      <a:pos x="T6" y="T7"/>
                    </a:cxn>
                    <a:cxn ang="0">
                      <a:pos x="T8" y="T9"/>
                    </a:cxn>
                  </a:cxnLst>
                  <a:rect l="0" t="0" r="r" b="b"/>
                  <a:pathLst>
                    <a:path w="659" h="152">
                      <a:moveTo>
                        <a:pt x="0" y="152"/>
                      </a:moveTo>
                      <a:lnTo>
                        <a:pt x="659" y="152"/>
                      </a:lnTo>
                      <a:lnTo>
                        <a:pt x="659" y="0"/>
                      </a:lnTo>
                      <a:lnTo>
                        <a:pt x="306" y="0"/>
                      </a:lnTo>
                      <a:lnTo>
                        <a:pt x="0" y="152"/>
                      </a:lnTo>
                      <a:close/>
                    </a:path>
                  </a:pathLst>
                </a:custGeom>
                <a:solidFill>
                  <a:srgbClr val="3ABA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55" name="Freeform 50"/>
                <p:cNvSpPr>
                  <a:spLocks/>
                </p:cNvSpPr>
                <p:nvPr/>
              </p:nvSpPr>
              <p:spPr bwMode="auto">
                <a:xfrm>
                  <a:off x="-470753" y="1578372"/>
                  <a:ext cx="209552" cy="47625"/>
                </a:xfrm>
                <a:custGeom>
                  <a:avLst/>
                  <a:gdLst>
                    <a:gd name="T0" fmla="*/ 0 w 659"/>
                    <a:gd name="T1" fmla="*/ 152 h 152"/>
                    <a:gd name="T2" fmla="*/ 659 w 659"/>
                    <a:gd name="T3" fmla="*/ 152 h 152"/>
                    <a:gd name="T4" fmla="*/ 659 w 659"/>
                    <a:gd name="T5" fmla="*/ 0 h 152"/>
                    <a:gd name="T6" fmla="*/ 306 w 659"/>
                    <a:gd name="T7" fmla="*/ 0 h 152"/>
                    <a:gd name="T8" fmla="*/ 0 w 659"/>
                    <a:gd name="T9" fmla="*/ 152 h 152"/>
                  </a:gdLst>
                  <a:ahLst/>
                  <a:cxnLst>
                    <a:cxn ang="0">
                      <a:pos x="T0" y="T1"/>
                    </a:cxn>
                    <a:cxn ang="0">
                      <a:pos x="T2" y="T3"/>
                    </a:cxn>
                    <a:cxn ang="0">
                      <a:pos x="T4" y="T5"/>
                    </a:cxn>
                    <a:cxn ang="0">
                      <a:pos x="T6" y="T7"/>
                    </a:cxn>
                    <a:cxn ang="0">
                      <a:pos x="T8" y="T9"/>
                    </a:cxn>
                  </a:cxnLst>
                  <a:rect l="0" t="0" r="r" b="b"/>
                  <a:pathLst>
                    <a:path w="659" h="152">
                      <a:moveTo>
                        <a:pt x="0" y="152"/>
                      </a:moveTo>
                      <a:lnTo>
                        <a:pt x="659" y="152"/>
                      </a:lnTo>
                      <a:lnTo>
                        <a:pt x="659" y="0"/>
                      </a:lnTo>
                      <a:lnTo>
                        <a:pt x="306" y="0"/>
                      </a:lnTo>
                      <a:lnTo>
                        <a:pt x="0" y="15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56" name="Freeform 51"/>
                <p:cNvSpPr>
                  <a:spLocks/>
                </p:cNvSpPr>
                <p:nvPr/>
              </p:nvSpPr>
              <p:spPr bwMode="auto">
                <a:xfrm>
                  <a:off x="-273902" y="1465659"/>
                  <a:ext cx="23813" cy="23813"/>
                </a:xfrm>
                <a:custGeom>
                  <a:avLst/>
                  <a:gdLst>
                    <a:gd name="T0" fmla="*/ 73 w 73"/>
                    <a:gd name="T1" fmla="*/ 37 h 73"/>
                    <a:gd name="T2" fmla="*/ 73 w 73"/>
                    <a:gd name="T3" fmla="*/ 37 h 73"/>
                    <a:gd name="T4" fmla="*/ 73 w 73"/>
                    <a:gd name="T5" fmla="*/ 44 h 73"/>
                    <a:gd name="T6" fmla="*/ 71 w 73"/>
                    <a:gd name="T7" fmla="*/ 51 h 73"/>
                    <a:gd name="T8" fmla="*/ 67 w 73"/>
                    <a:gd name="T9" fmla="*/ 58 h 73"/>
                    <a:gd name="T10" fmla="*/ 62 w 73"/>
                    <a:gd name="T11" fmla="*/ 62 h 73"/>
                    <a:gd name="T12" fmla="*/ 57 w 73"/>
                    <a:gd name="T13" fmla="*/ 67 h 73"/>
                    <a:gd name="T14" fmla="*/ 51 w 73"/>
                    <a:gd name="T15" fmla="*/ 71 h 73"/>
                    <a:gd name="T16" fmla="*/ 44 w 73"/>
                    <a:gd name="T17" fmla="*/ 73 h 73"/>
                    <a:gd name="T18" fmla="*/ 36 w 73"/>
                    <a:gd name="T19" fmla="*/ 73 h 73"/>
                    <a:gd name="T20" fmla="*/ 36 w 73"/>
                    <a:gd name="T21" fmla="*/ 73 h 73"/>
                    <a:gd name="T22" fmla="*/ 29 w 73"/>
                    <a:gd name="T23" fmla="*/ 73 h 73"/>
                    <a:gd name="T24" fmla="*/ 22 w 73"/>
                    <a:gd name="T25" fmla="*/ 71 h 73"/>
                    <a:gd name="T26" fmla="*/ 16 w 73"/>
                    <a:gd name="T27" fmla="*/ 67 h 73"/>
                    <a:gd name="T28" fmla="*/ 11 w 73"/>
                    <a:gd name="T29" fmla="*/ 62 h 73"/>
                    <a:gd name="T30" fmla="*/ 6 w 73"/>
                    <a:gd name="T31" fmla="*/ 58 h 73"/>
                    <a:gd name="T32" fmla="*/ 2 w 73"/>
                    <a:gd name="T33" fmla="*/ 51 h 73"/>
                    <a:gd name="T34" fmla="*/ 1 w 73"/>
                    <a:gd name="T35" fmla="*/ 44 h 73"/>
                    <a:gd name="T36" fmla="*/ 0 w 73"/>
                    <a:gd name="T37" fmla="*/ 37 h 73"/>
                    <a:gd name="T38" fmla="*/ 0 w 73"/>
                    <a:gd name="T39" fmla="*/ 37 h 73"/>
                    <a:gd name="T40" fmla="*/ 1 w 73"/>
                    <a:gd name="T41" fmla="*/ 29 h 73"/>
                    <a:gd name="T42" fmla="*/ 2 w 73"/>
                    <a:gd name="T43" fmla="*/ 22 h 73"/>
                    <a:gd name="T44" fmla="*/ 6 w 73"/>
                    <a:gd name="T45" fmla="*/ 16 h 73"/>
                    <a:gd name="T46" fmla="*/ 11 w 73"/>
                    <a:gd name="T47" fmla="*/ 11 h 73"/>
                    <a:gd name="T48" fmla="*/ 16 w 73"/>
                    <a:gd name="T49" fmla="*/ 6 h 73"/>
                    <a:gd name="T50" fmla="*/ 22 w 73"/>
                    <a:gd name="T51" fmla="*/ 3 h 73"/>
                    <a:gd name="T52" fmla="*/ 29 w 73"/>
                    <a:gd name="T53" fmla="*/ 1 h 73"/>
                    <a:gd name="T54" fmla="*/ 36 w 73"/>
                    <a:gd name="T55" fmla="*/ 0 h 73"/>
                    <a:gd name="T56" fmla="*/ 36 w 73"/>
                    <a:gd name="T57" fmla="*/ 0 h 73"/>
                    <a:gd name="T58" fmla="*/ 44 w 73"/>
                    <a:gd name="T59" fmla="*/ 1 h 73"/>
                    <a:gd name="T60" fmla="*/ 51 w 73"/>
                    <a:gd name="T61" fmla="*/ 3 h 73"/>
                    <a:gd name="T62" fmla="*/ 57 w 73"/>
                    <a:gd name="T63" fmla="*/ 6 h 73"/>
                    <a:gd name="T64" fmla="*/ 62 w 73"/>
                    <a:gd name="T65" fmla="*/ 11 h 73"/>
                    <a:gd name="T66" fmla="*/ 67 w 73"/>
                    <a:gd name="T67" fmla="*/ 16 h 73"/>
                    <a:gd name="T68" fmla="*/ 71 w 73"/>
                    <a:gd name="T69" fmla="*/ 22 h 73"/>
                    <a:gd name="T70" fmla="*/ 73 w 73"/>
                    <a:gd name="T71" fmla="*/ 29 h 73"/>
                    <a:gd name="T72" fmla="*/ 73 w 73"/>
                    <a:gd name="T73" fmla="*/ 37 h 73"/>
                    <a:gd name="T74" fmla="*/ 73 w 73"/>
                    <a:gd name="T75" fmla="*/ 3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 h="73">
                      <a:moveTo>
                        <a:pt x="73" y="37"/>
                      </a:moveTo>
                      <a:lnTo>
                        <a:pt x="73" y="37"/>
                      </a:lnTo>
                      <a:lnTo>
                        <a:pt x="73" y="44"/>
                      </a:lnTo>
                      <a:lnTo>
                        <a:pt x="71" y="51"/>
                      </a:lnTo>
                      <a:lnTo>
                        <a:pt x="67" y="58"/>
                      </a:lnTo>
                      <a:lnTo>
                        <a:pt x="62" y="62"/>
                      </a:lnTo>
                      <a:lnTo>
                        <a:pt x="57" y="67"/>
                      </a:lnTo>
                      <a:lnTo>
                        <a:pt x="51" y="71"/>
                      </a:lnTo>
                      <a:lnTo>
                        <a:pt x="44" y="73"/>
                      </a:lnTo>
                      <a:lnTo>
                        <a:pt x="36" y="73"/>
                      </a:lnTo>
                      <a:lnTo>
                        <a:pt x="36" y="73"/>
                      </a:lnTo>
                      <a:lnTo>
                        <a:pt x="29" y="73"/>
                      </a:lnTo>
                      <a:lnTo>
                        <a:pt x="22" y="71"/>
                      </a:lnTo>
                      <a:lnTo>
                        <a:pt x="16" y="67"/>
                      </a:lnTo>
                      <a:lnTo>
                        <a:pt x="11" y="62"/>
                      </a:lnTo>
                      <a:lnTo>
                        <a:pt x="6" y="58"/>
                      </a:lnTo>
                      <a:lnTo>
                        <a:pt x="2" y="51"/>
                      </a:lnTo>
                      <a:lnTo>
                        <a:pt x="1" y="44"/>
                      </a:lnTo>
                      <a:lnTo>
                        <a:pt x="0" y="37"/>
                      </a:lnTo>
                      <a:lnTo>
                        <a:pt x="0" y="37"/>
                      </a:lnTo>
                      <a:lnTo>
                        <a:pt x="1" y="29"/>
                      </a:lnTo>
                      <a:lnTo>
                        <a:pt x="2" y="22"/>
                      </a:lnTo>
                      <a:lnTo>
                        <a:pt x="6" y="16"/>
                      </a:lnTo>
                      <a:lnTo>
                        <a:pt x="11" y="11"/>
                      </a:lnTo>
                      <a:lnTo>
                        <a:pt x="16" y="6"/>
                      </a:lnTo>
                      <a:lnTo>
                        <a:pt x="22" y="3"/>
                      </a:lnTo>
                      <a:lnTo>
                        <a:pt x="29" y="1"/>
                      </a:lnTo>
                      <a:lnTo>
                        <a:pt x="36" y="0"/>
                      </a:lnTo>
                      <a:lnTo>
                        <a:pt x="36" y="0"/>
                      </a:lnTo>
                      <a:lnTo>
                        <a:pt x="44" y="1"/>
                      </a:lnTo>
                      <a:lnTo>
                        <a:pt x="51" y="3"/>
                      </a:lnTo>
                      <a:lnTo>
                        <a:pt x="57" y="6"/>
                      </a:lnTo>
                      <a:lnTo>
                        <a:pt x="62" y="11"/>
                      </a:lnTo>
                      <a:lnTo>
                        <a:pt x="67" y="16"/>
                      </a:lnTo>
                      <a:lnTo>
                        <a:pt x="71" y="22"/>
                      </a:lnTo>
                      <a:lnTo>
                        <a:pt x="73" y="29"/>
                      </a:lnTo>
                      <a:lnTo>
                        <a:pt x="73" y="37"/>
                      </a:lnTo>
                      <a:lnTo>
                        <a:pt x="73" y="37"/>
                      </a:lnTo>
                      <a:close/>
                    </a:path>
                  </a:pathLst>
                </a:custGeom>
                <a:solidFill>
                  <a:srgbClr val="3ABA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57" name="Freeform 52"/>
                <p:cNvSpPr>
                  <a:spLocks/>
                </p:cNvSpPr>
                <p:nvPr/>
              </p:nvSpPr>
              <p:spPr bwMode="auto">
                <a:xfrm>
                  <a:off x="-269139" y="1470421"/>
                  <a:ext cx="11113" cy="11113"/>
                </a:xfrm>
                <a:custGeom>
                  <a:avLst/>
                  <a:gdLst>
                    <a:gd name="T0" fmla="*/ 35 w 35"/>
                    <a:gd name="T1" fmla="*/ 17 h 35"/>
                    <a:gd name="T2" fmla="*/ 35 w 35"/>
                    <a:gd name="T3" fmla="*/ 17 h 35"/>
                    <a:gd name="T4" fmla="*/ 34 w 35"/>
                    <a:gd name="T5" fmla="*/ 24 h 35"/>
                    <a:gd name="T6" fmla="*/ 30 w 35"/>
                    <a:gd name="T7" fmla="*/ 30 h 35"/>
                    <a:gd name="T8" fmla="*/ 24 w 35"/>
                    <a:gd name="T9" fmla="*/ 34 h 35"/>
                    <a:gd name="T10" fmla="*/ 18 w 35"/>
                    <a:gd name="T11" fmla="*/ 35 h 35"/>
                    <a:gd name="T12" fmla="*/ 18 w 35"/>
                    <a:gd name="T13" fmla="*/ 35 h 35"/>
                    <a:gd name="T14" fmla="*/ 11 w 35"/>
                    <a:gd name="T15" fmla="*/ 34 h 35"/>
                    <a:gd name="T16" fmla="*/ 6 w 35"/>
                    <a:gd name="T17" fmla="*/ 30 h 35"/>
                    <a:gd name="T18" fmla="*/ 2 w 35"/>
                    <a:gd name="T19" fmla="*/ 24 h 35"/>
                    <a:gd name="T20" fmla="*/ 0 w 35"/>
                    <a:gd name="T21" fmla="*/ 17 h 35"/>
                    <a:gd name="T22" fmla="*/ 0 w 35"/>
                    <a:gd name="T23" fmla="*/ 17 h 35"/>
                    <a:gd name="T24" fmla="*/ 2 w 35"/>
                    <a:gd name="T25" fmla="*/ 11 h 35"/>
                    <a:gd name="T26" fmla="*/ 6 w 35"/>
                    <a:gd name="T27" fmla="*/ 5 h 35"/>
                    <a:gd name="T28" fmla="*/ 11 w 35"/>
                    <a:gd name="T29" fmla="*/ 1 h 35"/>
                    <a:gd name="T30" fmla="*/ 18 w 35"/>
                    <a:gd name="T31" fmla="*/ 0 h 35"/>
                    <a:gd name="T32" fmla="*/ 18 w 35"/>
                    <a:gd name="T33" fmla="*/ 0 h 35"/>
                    <a:gd name="T34" fmla="*/ 24 w 35"/>
                    <a:gd name="T35" fmla="*/ 1 h 35"/>
                    <a:gd name="T36" fmla="*/ 30 w 35"/>
                    <a:gd name="T37" fmla="*/ 5 h 35"/>
                    <a:gd name="T38" fmla="*/ 34 w 35"/>
                    <a:gd name="T39" fmla="*/ 11 h 35"/>
                    <a:gd name="T40" fmla="*/ 35 w 35"/>
                    <a:gd name="T41" fmla="*/ 17 h 35"/>
                    <a:gd name="T42" fmla="*/ 35 w 35"/>
                    <a:gd name="T43"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5">
                      <a:moveTo>
                        <a:pt x="35" y="17"/>
                      </a:moveTo>
                      <a:lnTo>
                        <a:pt x="35" y="17"/>
                      </a:lnTo>
                      <a:lnTo>
                        <a:pt x="34" y="24"/>
                      </a:lnTo>
                      <a:lnTo>
                        <a:pt x="30" y="30"/>
                      </a:lnTo>
                      <a:lnTo>
                        <a:pt x="24" y="34"/>
                      </a:lnTo>
                      <a:lnTo>
                        <a:pt x="18" y="35"/>
                      </a:lnTo>
                      <a:lnTo>
                        <a:pt x="18" y="35"/>
                      </a:lnTo>
                      <a:lnTo>
                        <a:pt x="11" y="34"/>
                      </a:lnTo>
                      <a:lnTo>
                        <a:pt x="6" y="30"/>
                      </a:lnTo>
                      <a:lnTo>
                        <a:pt x="2" y="24"/>
                      </a:lnTo>
                      <a:lnTo>
                        <a:pt x="0" y="17"/>
                      </a:lnTo>
                      <a:lnTo>
                        <a:pt x="0" y="17"/>
                      </a:lnTo>
                      <a:lnTo>
                        <a:pt x="2" y="11"/>
                      </a:lnTo>
                      <a:lnTo>
                        <a:pt x="6" y="5"/>
                      </a:lnTo>
                      <a:lnTo>
                        <a:pt x="11" y="1"/>
                      </a:lnTo>
                      <a:lnTo>
                        <a:pt x="18" y="0"/>
                      </a:lnTo>
                      <a:lnTo>
                        <a:pt x="18" y="0"/>
                      </a:lnTo>
                      <a:lnTo>
                        <a:pt x="24" y="1"/>
                      </a:lnTo>
                      <a:lnTo>
                        <a:pt x="30" y="5"/>
                      </a:lnTo>
                      <a:lnTo>
                        <a:pt x="34" y="11"/>
                      </a:lnTo>
                      <a:lnTo>
                        <a:pt x="35" y="17"/>
                      </a:lnTo>
                      <a:lnTo>
                        <a:pt x="35"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58" name="Freeform 53"/>
                <p:cNvSpPr>
                  <a:spLocks/>
                </p:cNvSpPr>
                <p:nvPr/>
              </p:nvSpPr>
              <p:spPr bwMode="auto">
                <a:xfrm>
                  <a:off x="-337402" y="1591072"/>
                  <a:ext cx="20638" cy="22225"/>
                </a:xfrm>
                <a:custGeom>
                  <a:avLst/>
                  <a:gdLst>
                    <a:gd name="T0" fmla="*/ 67 w 67"/>
                    <a:gd name="T1" fmla="*/ 35 h 69"/>
                    <a:gd name="T2" fmla="*/ 67 w 67"/>
                    <a:gd name="T3" fmla="*/ 35 h 69"/>
                    <a:gd name="T4" fmla="*/ 67 w 67"/>
                    <a:gd name="T5" fmla="*/ 42 h 69"/>
                    <a:gd name="T6" fmla="*/ 65 w 67"/>
                    <a:gd name="T7" fmla="*/ 48 h 69"/>
                    <a:gd name="T8" fmla="*/ 61 w 67"/>
                    <a:gd name="T9" fmla="*/ 54 h 69"/>
                    <a:gd name="T10" fmla="*/ 58 w 67"/>
                    <a:gd name="T11" fmla="*/ 59 h 69"/>
                    <a:gd name="T12" fmla="*/ 53 w 67"/>
                    <a:gd name="T13" fmla="*/ 63 h 69"/>
                    <a:gd name="T14" fmla="*/ 47 w 67"/>
                    <a:gd name="T15" fmla="*/ 66 h 69"/>
                    <a:gd name="T16" fmla="*/ 41 w 67"/>
                    <a:gd name="T17" fmla="*/ 67 h 69"/>
                    <a:gd name="T18" fmla="*/ 33 w 67"/>
                    <a:gd name="T19" fmla="*/ 69 h 69"/>
                    <a:gd name="T20" fmla="*/ 33 w 67"/>
                    <a:gd name="T21" fmla="*/ 69 h 69"/>
                    <a:gd name="T22" fmla="*/ 27 w 67"/>
                    <a:gd name="T23" fmla="*/ 67 h 69"/>
                    <a:gd name="T24" fmla="*/ 21 w 67"/>
                    <a:gd name="T25" fmla="*/ 66 h 69"/>
                    <a:gd name="T26" fmla="*/ 15 w 67"/>
                    <a:gd name="T27" fmla="*/ 63 h 69"/>
                    <a:gd name="T28" fmla="*/ 10 w 67"/>
                    <a:gd name="T29" fmla="*/ 59 h 69"/>
                    <a:gd name="T30" fmla="*/ 6 w 67"/>
                    <a:gd name="T31" fmla="*/ 54 h 69"/>
                    <a:gd name="T32" fmla="*/ 3 w 67"/>
                    <a:gd name="T33" fmla="*/ 48 h 69"/>
                    <a:gd name="T34" fmla="*/ 0 w 67"/>
                    <a:gd name="T35" fmla="*/ 42 h 69"/>
                    <a:gd name="T36" fmla="*/ 0 w 67"/>
                    <a:gd name="T37" fmla="*/ 35 h 69"/>
                    <a:gd name="T38" fmla="*/ 0 w 67"/>
                    <a:gd name="T39" fmla="*/ 35 h 69"/>
                    <a:gd name="T40" fmla="*/ 0 w 67"/>
                    <a:gd name="T41" fmla="*/ 27 h 69"/>
                    <a:gd name="T42" fmla="*/ 3 w 67"/>
                    <a:gd name="T43" fmla="*/ 21 h 69"/>
                    <a:gd name="T44" fmla="*/ 6 w 67"/>
                    <a:gd name="T45" fmla="*/ 16 h 69"/>
                    <a:gd name="T46" fmla="*/ 10 w 67"/>
                    <a:gd name="T47" fmla="*/ 10 h 69"/>
                    <a:gd name="T48" fmla="*/ 15 w 67"/>
                    <a:gd name="T49" fmla="*/ 7 h 69"/>
                    <a:gd name="T50" fmla="*/ 21 w 67"/>
                    <a:gd name="T51" fmla="*/ 4 h 69"/>
                    <a:gd name="T52" fmla="*/ 27 w 67"/>
                    <a:gd name="T53" fmla="*/ 2 h 69"/>
                    <a:gd name="T54" fmla="*/ 33 w 67"/>
                    <a:gd name="T55" fmla="*/ 0 h 69"/>
                    <a:gd name="T56" fmla="*/ 33 w 67"/>
                    <a:gd name="T57" fmla="*/ 0 h 69"/>
                    <a:gd name="T58" fmla="*/ 41 w 67"/>
                    <a:gd name="T59" fmla="*/ 2 h 69"/>
                    <a:gd name="T60" fmla="*/ 47 w 67"/>
                    <a:gd name="T61" fmla="*/ 4 h 69"/>
                    <a:gd name="T62" fmla="*/ 53 w 67"/>
                    <a:gd name="T63" fmla="*/ 7 h 69"/>
                    <a:gd name="T64" fmla="*/ 58 w 67"/>
                    <a:gd name="T65" fmla="*/ 10 h 69"/>
                    <a:gd name="T66" fmla="*/ 61 w 67"/>
                    <a:gd name="T67" fmla="*/ 16 h 69"/>
                    <a:gd name="T68" fmla="*/ 65 w 67"/>
                    <a:gd name="T69" fmla="*/ 21 h 69"/>
                    <a:gd name="T70" fmla="*/ 67 w 67"/>
                    <a:gd name="T71" fmla="*/ 27 h 69"/>
                    <a:gd name="T72" fmla="*/ 67 w 67"/>
                    <a:gd name="T73" fmla="*/ 35 h 69"/>
                    <a:gd name="T74" fmla="*/ 67 w 67"/>
                    <a:gd name="T75" fmla="*/ 3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69">
                      <a:moveTo>
                        <a:pt x="67" y="35"/>
                      </a:moveTo>
                      <a:lnTo>
                        <a:pt x="67" y="35"/>
                      </a:lnTo>
                      <a:lnTo>
                        <a:pt x="67" y="42"/>
                      </a:lnTo>
                      <a:lnTo>
                        <a:pt x="65" y="48"/>
                      </a:lnTo>
                      <a:lnTo>
                        <a:pt x="61" y="54"/>
                      </a:lnTo>
                      <a:lnTo>
                        <a:pt x="58" y="59"/>
                      </a:lnTo>
                      <a:lnTo>
                        <a:pt x="53" y="63"/>
                      </a:lnTo>
                      <a:lnTo>
                        <a:pt x="47" y="66"/>
                      </a:lnTo>
                      <a:lnTo>
                        <a:pt x="41" y="67"/>
                      </a:lnTo>
                      <a:lnTo>
                        <a:pt x="33" y="69"/>
                      </a:lnTo>
                      <a:lnTo>
                        <a:pt x="33" y="69"/>
                      </a:lnTo>
                      <a:lnTo>
                        <a:pt x="27" y="67"/>
                      </a:lnTo>
                      <a:lnTo>
                        <a:pt x="21" y="66"/>
                      </a:lnTo>
                      <a:lnTo>
                        <a:pt x="15" y="63"/>
                      </a:lnTo>
                      <a:lnTo>
                        <a:pt x="10" y="59"/>
                      </a:lnTo>
                      <a:lnTo>
                        <a:pt x="6" y="54"/>
                      </a:lnTo>
                      <a:lnTo>
                        <a:pt x="3" y="48"/>
                      </a:lnTo>
                      <a:lnTo>
                        <a:pt x="0" y="42"/>
                      </a:lnTo>
                      <a:lnTo>
                        <a:pt x="0" y="35"/>
                      </a:lnTo>
                      <a:lnTo>
                        <a:pt x="0" y="35"/>
                      </a:lnTo>
                      <a:lnTo>
                        <a:pt x="0" y="27"/>
                      </a:lnTo>
                      <a:lnTo>
                        <a:pt x="3" y="21"/>
                      </a:lnTo>
                      <a:lnTo>
                        <a:pt x="6" y="16"/>
                      </a:lnTo>
                      <a:lnTo>
                        <a:pt x="10" y="10"/>
                      </a:lnTo>
                      <a:lnTo>
                        <a:pt x="15" y="7"/>
                      </a:lnTo>
                      <a:lnTo>
                        <a:pt x="21" y="4"/>
                      </a:lnTo>
                      <a:lnTo>
                        <a:pt x="27" y="2"/>
                      </a:lnTo>
                      <a:lnTo>
                        <a:pt x="33" y="0"/>
                      </a:lnTo>
                      <a:lnTo>
                        <a:pt x="33" y="0"/>
                      </a:lnTo>
                      <a:lnTo>
                        <a:pt x="41" y="2"/>
                      </a:lnTo>
                      <a:lnTo>
                        <a:pt x="47" y="4"/>
                      </a:lnTo>
                      <a:lnTo>
                        <a:pt x="53" y="7"/>
                      </a:lnTo>
                      <a:lnTo>
                        <a:pt x="58" y="10"/>
                      </a:lnTo>
                      <a:lnTo>
                        <a:pt x="61" y="16"/>
                      </a:lnTo>
                      <a:lnTo>
                        <a:pt x="65" y="21"/>
                      </a:lnTo>
                      <a:lnTo>
                        <a:pt x="67" y="27"/>
                      </a:lnTo>
                      <a:lnTo>
                        <a:pt x="67" y="35"/>
                      </a:lnTo>
                      <a:lnTo>
                        <a:pt x="67"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59" name="Freeform 54"/>
                <p:cNvSpPr>
                  <a:spLocks/>
                </p:cNvSpPr>
                <p:nvPr/>
              </p:nvSpPr>
              <p:spPr bwMode="auto">
                <a:xfrm>
                  <a:off x="-296127" y="1591072"/>
                  <a:ext cx="22225" cy="22225"/>
                </a:xfrm>
                <a:custGeom>
                  <a:avLst/>
                  <a:gdLst>
                    <a:gd name="T0" fmla="*/ 68 w 68"/>
                    <a:gd name="T1" fmla="*/ 35 h 69"/>
                    <a:gd name="T2" fmla="*/ 68 w 68"/>
                    <a:gd name="T3" fmla="*/ 35 h 69"/>
                    <a:gd name="T4" fmla="*/ 67 w 68"/>
                    <a:gd name="T5" fmla="*/ 42 h 69"/>
                    <a:gd name="T6" fmla="*/ 66 w 68"/>
                    <a:gd name="T7" fmla="*/ 48 h 69"/>
                    <a:gd name="T8" fmla="*/ 62 w 68"/>
                    <a:gd name="T9" fmla="*/ 54 h 69"/>
                    <a:gd name="T10" fmla="*/ 59 w 68"/>
                    <a:gd name="T11" fmla="*/ 59 h 69"/>
                    <a:gd name="T12" fmla="*/ 54 w 68"/>
                    <a:gd name="T13" fmla="*/ 63 h 69"/>
                    <a:gd name="T14" fmla="*/ 48 w 68"/>
                    <a:gd name="T15" fmla="*/ 66 h 69"/>
                    <a:gd name="T16" fmla="*/ 42 w 68"/>
                    <a:gd name="T17" fmla="*/ 67 h 69"/>
                    <a:gd name="T18" fmla="*/ 34 w 68"/>
                    <a:gd name="T19" fmla="*/ 69 h 69"/>
                    <a:gd name="T20" fmla="*/ 34 w 68"/>
                    <a:gd name="T21" fmla="*/ 69 h 69"/>
                    <a:gd name="T22" fmla="*/ 28 w 68"/>
                    <a:gd name="T23" fmla="*/ 67 h 69"/>
                    <a:gd name="T24" fmla="*/ 21 w 68"/>
                    <a:gd name="T25" fmla="*/ 66 h 69"/>
                    <a:gd name="T26" fmla="*/ 16 w 68"/>
                    <a:gd name="T27" fmla="*/ 63 h 69"/>
                    <a:gd name="T28" fmla="*/ 11 w 68"/>
                    <a:gd name="T29" fmla="*/ 59 h 69"/>
                    <a:gd name="T30" fmla="*/ 6 w 68"/>
                    <a:gd name="T31" fmla="*/ 54 h 69"/>
                    <a:gd name="T32" fmla="*/ 4 w 68"/>
                    <a:gd name="T33" fmla="*/ 48 h 69"/>
                    <a:gd name="T34" fmla="*/ 1 w 68"/>
                    <a:gd name="T35" fmla="*/ 42 h 69"/>
                    <a:gd name="T36" fmla="*/ 0 w 68"/>
                    <a:gd name="T37" fmla="*/ 35 h 69"/>
                    <a:gd name="T38" fmla="*/ 0 w 68"/>
                    <a:gd name="T39" fmla="*/ 35 h 69"/>
                    <a:gd name="T40" fmla="*/ 1 w 68"/>
                    <a:gd name="T41" fmla="*/ 27 h 69"/>
                    <a:gd name="T42" fmla="*/ 4 w 68"/>
                    <a:gd name="T43" fmla="*/ 21 h 69"/>
                    <a:gd name="T44" fmla="*/ 6 w 68"/>
                    <a:gd name="T45" fmla="*/ 16 h 69"/>
                    <a:gd name="T46" fmla="*/ 11 w 68"/>
                    <a:gd name="T47" fmla="*/ 10 h 69"/>
                    <a:gd name="T48" fmla="*/ 16 w 68"/>
                    <a:gd name="T49" fmla="*/ 7 h 69"/>
                    <a:gd name="T50" fmla="*/ 21 w 68"/>
                    <a:gd name="T51" fmla="*/ 4 h 69"/>
                    <a:gd name="T52" fmla="*/ 28 w 68"/>
                    <a:gd name="T53" fmla="*/ 2 h 69"/>
                    <a:gd name="T54" fmla="*/ 34 w 68"/>
                    <a:gd name="T55" fmla="*/ 0 h 69"/>
                    <a:gd name="T56" fmla="*/ 34 w 68"/>
                    <a:gd name="T57" fmla="*/ 0 h 69"/>
                    <a:gd name="T58" fmla="*/ 42 w 68"/>
                    <a:gd name="T59" fmla="*/ 2 h 69"/>
                    <a:gd name="T60" fmla="*/ 48 w 68"/>
                    <a:gd name="T61" fmla="*/ 4 h 69"/>
                    <a:gd name="T62" fmla="*/ 54 w 68"/>
                    <a:gd name="T63" fmla="*/ 7 h 69"/>
                    <a:gd name="T64" fmla="*/ 59 w 68"/>
                    <a:gd name="T65" fmla="*/ 10 h 69"/>
                    <a:gd name="T66" fmla="*/ 62 w 68"/>
                    <a:gd name="T67" fmla="*/ 16 h 69"/>
                    <a:gd name="T68" fmla="*/ 66 w 68"/>
                    <a:gd name="T69" fmla="*/ 21 h 69"/>
                    <a:gd name="T70" fmla="*/ 67 w 68"/>
                    <a:gd name="T71" fmla="*/ 27 h 69"/>
                    <a:gd name="T72" fmla="*/ 68 w 68"/>
                    <a:gd name="T73" fmla="*/ 35 h 69"/>
                    <a:gd name="T74" fmla="*/ 68 w 68"/>
                    <a:gd name="T75" fmla="*/ 3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8" h="69">
                      <a:moveTo>
                        <a:pt x="68" y="35"/>
                      </a:moveTo>
                      <a:lnTo>
                        <a:pt x="68" y="35"/>
                      </a:lnTo>
                      <a:lnTo>
                        <a:pt x="67" y="42"/>
                      </a:lnTo>
                      <a:lnTo>
                        <a:pt x="66" y="48"/>
                      </a:lnTo>
                      <a:lnTo>
                        <a:pt x="62" y="54"/>
                      </a:lnTo>
                      <a:lnTo>
                        <a:pt x="59" y="59"/>
                      </a:lnTo>
                      <a:lnTo>
                        <a:pt x="54" y="63"/>
                      </a:lnTo>
                      <a:lnTo>
                        <a:pt x="48" y="66"/>
                      </a:lnTo>
                      <a:lnTo>
                        <a:pt x="42" y="67"/>
                      </a:lnTo>
                      <a:lnTo>
                        <a:pt x="34" y="69"/>
                      </a:lnTo>
                      <a:lnTo>
                        <a:pt x="34" y="69"/>
                      </a:lnTo>
                      <a:lnTo>
                        <a:pt x="28" y="67"/>
                      </a:lnTo>
                      <a:lnTo>
                        <a:pt x="21" y="66"/>
                      </a:lnTo>
                      <a:lnTo>
                        <a:pt x="16" y="63"/>
                      </a:lnTo>
                      <a:lnTo>
                        <a:pt x="11" y="59"/>
                      </a:lnTo>
                      <a:lnTo>
                        <a:pt x="6" y="54"/>
                      </a:lnTo>
                      <a:lnTo>
                        <a:pt x="4" y="48"/>
                      </a:lnTo>
                      <a:lnTo>
                        <a:pt x="1" y="42"/>
                      </a:lnTo>
                      <a:lnTo>
                        <a:pt x="0" y="35"/>
                      </a:lnTo>
                      <a:lnTo>
                        <a:pt x="0" y="35"/>
                      </a:lnTo>
                      <a:lnTo>
                        <a:pt x="1" y="27"/>
                      </a:lnTo>
                      <a:lnTo>
                        <a:pt x="4" y="21"/>
                      </a:lnTo>
                      <a:lnTo>
                        <a:pt x="6" y="16"/>
                      </a:lnTo>
                      <a:lnTo>
                        <a:pt x="11" y="10"/>
                      </a:lnTo>
                      <a:lnTo>
                        <a:pt x="16" y="7"/>
                      </a:lnTo>
                      <a:lnTo>
                        <a:pt x="21" y="4"/>
                      </a:lnTo>
                      <a:lnTo>
                        <a:pt x="28" y="2"/>
                      </a:lnTo>
                      <a:lnTo>
                        <a:pt x="34" y="0"/>
                      </a:lnTo>
                      <a:lnTo>
                        <a:pt x="34" y="0"/>
                      </a:lnTo>
                      <a:lnTo>
                        <a:pt x="42" y="2"/>
                      </a:lnTo>
                      <a:lnTo>
                        <a:pt x="48" y="4"/>
                      </a:lnTo>
                      <a:lnTo>
                        <a:pt x="54" y="7"/>
                      </a:lnTo>
                      <a:lnTo>
                        <a:pt x="59" y="10"/>
                      </a:lnTo>
                      <a:lnTo>
                        <a:pt x="62" y="16"/>
                      </a:lnTo>
                      <a:lnTo>
                        <a:pt x="66" y="21"/>
                      </a:lnTo>
                      <a:lnTo>
                        <a:pt x="67" y="27"/>
                      </a:lnTo>
                      <a:lnTo>
                        <a:pt x="68" y="35"/>
                      </a:lnTo>
                      <a:lnTo>
                        <a:pt x="68"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0" name="Freeform 55"/>
                <p:cNvSpPr>
                  <a:spLocks/>
                </p:cNvSpPr>
                <p:nvPr/>
              </p:nvSpPr>
              <p:spPr bwMode="auto">
                <a:xfrm>
                  <a:off x="-312002" y="1670448"/>
                  <a:ext cx="50800" cy="25400"/>
                </a:xfrm>
                <a:custGeom>
                  <a:avLst/>
                  <a:gdLst>
                    <a:gd name="T0" fmla="*/ 0 w 158"/>
                    <a:gd name="T1" fmla="*/ 66 h 78"/>
                    <a:gd name="T2" fmla="*/ 0 w 158"/>
                    <a:gd name="T3" fmla="*/ 66 h 78"/>
                    <a:gd name="T4" fmla="*/ 38 w 158"/>
                    <a:gd name="T5" fmla="*/ 71 h 78"/>
                    <a:gd name="T6" fmla="*/ 77 w 158"/>
                    <a:gd name="T7" fmla="*/ 75 h 78"/>
                    <a:gd name="T8" fmla="*/ 117 w 158"/>
                    <a:gd name="T9" fmla="*/ 77 h 78"/>
                    <a:gd name="T10" fmla="*/ 158 w 158"/>
                    <a:gd name="T11" fmla="*/ 78 h 78"/>
                    <a:gd name="T12" fmla="*/ 158 w 158"/>
                    <a:gd name="T13" fmla="*/ 0 h 78"/>
                    <a:gd name="T14" fmla="*/ 158 w 158"/>
                    <a:gd name="T15" fmla="*/ 0 h 78"/>
                    <a:gd name="T16" fmla="*/ 134 w 158"/>
                    <a:gd name="T17" fmla="*/ 2 h 78"/>
                    <a:gd name="T18" fmla="*/ 110 w 158"/>
                    <a:gd name="T19" fmla="*/ 5 h 78"/>
                    <a:gd name="T20" fmla="*/ 87 w 158"/>
                    <a:gd name="T21" fmla="*/ 10 h 78"/>
                    <a:gd name="T22" fmla="*/ 66 w 158"/>
                    <a:gd name="T23" fmla="*/ 19 h 78"/>
                    <a:gd name="T24" fmla="*/ 46 w 158"/>
                    <a:gd name="T25" fmla="*/ 27 h 78"/>
                    <a:gd name="T26" fmla="*/ 29 w 158"/>
                    <a:gd name="T27" fmla="*/ 39 h 78"/>
                    <a:gd name="T28" fmla="*/ 13 w 158"/>
                    <a:gd name="T29" fmla="*/ 52 h 78"/>
                    <a:gd name="T30" fmla="*/ 0 w 158"/>
                    <a:gd name="T31" fmla="*/ 66 h 78"/>
                    <a:gd name="T32" fmla="*/ 0 w 158"/>
                    <a:gd name="T33" fmla="*/ 6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8" h="78">
                      <a:moveTo>
                        <a:pt x="0" y="66"/>
                      </a:moveTo>
                      <a:lnTo>
                        <a:pt x="0" y="66"/>
                      </a:lnTo>
                      <a:lnTo>
                        <a:pt x="38" y="71"/>
                      </a:lnTo>
                      <a:lnTo>
                        <a:pt x="77" y="75"/>
                      </a:lnTo>
                      <a:lnTo>
                        <a:pt x="117" y="77"/>
                      </a:lnTo>
                      <a:lnTo>
                        <a:pt x="158" y="78"/>
                      </a:lnTo>
                      <a:lnTo>
                        <a:pt x="158" y="0"/>
                      </a:lnTo>
                      <a:lnTo>
                        <a:pt x="158" y="0"/>
                      </a:lnTo>
                      <a:lnTo>
                        <a:pt x="134" y="2"/>
                      </a:lnTo>
                      <a:lnTo>
                        <a:pt x="110" y="5"/>
                      </a:lnTo>
                      <a:lnTo>
                        <a:pt x="87" y="10"/>
                      </a:lnTo>
                      <a:lnTo>
                        <a:pt x="66" y="19"/>
                      </a:lnTo>
                      <a:lnTo>
                        <a:pt x="46" y="27"/>
                      </a:lnTo>
                      <a:lnTo>
                        <a:pt x="29" y="39"/>
                      </a:lnTo>
                      <a:lnTo>
                        <a:pt x="13" y="52"/>
                      </a:lnTo>
                      <a:lnTo>
                        <a:pt x="0" y="66"/>
                      </a:lnTo>
                      <a:lnTo>
                        <a:pt x="0"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1" name="Freeform 56"/>
                <p:cNvSpPr>
                  <a:spLocks/>
                </p:cNvSpPr>
                <p:nvPr/>
              </p:nvSpPr>
              <p:spPr bwMode="auto">
                <a:xfrm>
                  <a:off x="-138963" y="1643460"/>
                  <a:ext cx="44450" cy="30163"/>
                </a:xfrm>
                <a:custGeom>
                  <a:avLst/>
                  <a:gdLst>
                    <a:gd name="T0" fmla="*/ 127 w 136"/>
                    <a:gd name="T1" fmla="*/ 98 h 98"/>
                    <a:gd name="T2" fmla="*/ 136 w 136"/>
                    <a:gd name="T3" fmla="*/ 86 h 98"/>
                    <a:gd name="T4" fmla="*/ 9 w 136"/>
                    <a:gd name="T5" fmla="*/ 0 h 98"/>
                    <a:gd name="T6" fmla="*/ 0 w 136"/>
                    <a:gd name="T7" fmla="*/ 13 h 98"/>
                    <a:gd name="T8" fmla="*/ 127 w 136"/>
                    <a:gd name="T9" fmla="*/ 98 h 98"/>
                  </a:gdLst>
                  <a:ahLst/>
                  <a:cxnLst>
                    <a:cxn ang="0">
                      <a:pos x="T0" y="T1"/>
                    </a:cxn>
                    <a:cxn ang="0">
                      <a:pos x="T2" y="T3"/>
                    </a:cxn>
                    <a:cxn ang="0">
                      <a:pos x="T4" y="T5"/>
                    </a:cxn>
                    <a:cxn ang="0">
                      <a:pos x="T6" y="T7"/>
                    </a:cxn>
                    <a:cxn ang="0">
                      <a:pos x="T8" y="T9"/>
                    </a:cxn>
                  </a:cxnLst>
                  <a:rect l="0" t="0" r="r" b="b"/>
                  <a:pathLst>
                    <a:path w="136" h="98">
                      <a:moveTo>
                        <a:pt x="127" y="98"/>
                      </a:moveTo>
                      <a:lnTo>
                        <a:pt x="136" y="86"/>
                      </a:lnTo>
                      <a:lnTo>
                        <a:pt x="9" y="0"/>
                      </a:lnTo>
                      <a:lnTo>
                        <a:pt x="0" y="13"/>
                      </a:lnTo>
                      <a:lnTo>
                        <a:pt x="127" y="98"/>
                      </a:lnTo>
                      <a:close/>
                    </a:path>
                  </a:pathLst>
                </a:custGeom>
                <a:solidFill>
                  <a:srgbClr val="009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2" name="Freeform 57"/>
                <p:cNvSpPr>
                  <a:spLocks/>
                </p:cNvSpPr>
                <p:nvPr/>
              </p:nvSpPr>
              <p:spPr bwMode="auto">
                <a:xfrm>
                  <a:off x="-261202" y="1540272"/>
                  <a:ext cx="130176" cy="19050"/>
                </a:xfrm>
                <a:custGeom>
                  <a:avLst/>
                  <a:gdLst>
                    <a:gd name="T0" fmla="*/ 0 w 414"/>
                    <a:gd name="T1" fmla="*/ 0 h 60"/>
                    <a:gd name="T2" fmla="*/ 354 w 414"/>
                    <a:gd name="T3" fmla="*/ 0 h 60"/>
                    <a:gd name="T4" fmla="*/ 354 w 414"/>
                    <a:gd name="T5" fmla="*/ 0 h 60"/>
                    <a:gd name="T6" fmla="*/ 366 w 414"/>
                    <a:gd name="T7" fmla="*/ 1 h 60"/>
                    <a:gd name="T8" fmla="*/ 377 w 414"/>
                    <a:gd name="T9" fmla="*/ 5 h 60"/>
                    <a:gd name="T10" fmla="*/ 388 w 414"/>
                    <a:gd name="T11" fmla="*/ 11 h 60"/>
                    <a:gd name="T12" fmla="*/ 397 w 414"/>
                    <a:gd name="T13" fmla="*/ 18 h 60"/>
                    <a:gd name="T14" fmla="*/ 404 w 414"/>
                    <a:gd name="T15" fmla="*/ 27 h 60"/>
                    <a:gd name="T16" fmla="*/ 409 w 414"/>
                    <a:gd name="T17" fmla="*/ 37 h 60"/>
                    <a:gd name="T18" fmla="*/ 413 w 414"/>
                    <a:gd name="T19" fmla="*/ 48 h 60"/>
                    <a:gd name="T20" fmla="*/ 414 w 414"/>
                    <a:gd name="T21" fmla="*/ 60 h 60"/>
                    <a:gd name="T22" fmla="*/ 0 w 414"/>
                    <a:gd name="T23" fmla="*/ 60 h 60"/>
                    <a:gd name="T24" fmla="*/ 0 w 414"/>
                    <a:gd name="T25"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4" h="60">
                      <a:moveTo>
                        <a:pt x="0" y="0"/>
                      </a:moveTo>
                      <a:lnTo>
                        <a:pt x="354" y="0"/>
                      </a:lnTo>
                      <a:lnTo>
                        <a:pt x="354" y="0"/>
                      </a:lnTo>
                      <a:lnTo>
                        <a:pt x="366" y="1"/>
                      </a:lnTo>
                      <a:lnTo>
                        <a:pt x="377" y="5"/>
                      </a:lnTo>
                      <a:lnTo>
                        <a:pt x="388" y="11"/>
                      </a:lnTo>
                      <a:lnTo>
                        <a:pt x="397" y="18"/>
                      </a:lnTo>
                      <a:lnTo>
                        <a:pt x="404" y="27"/>
                      </a:lnTo>
                      <a:lnTo>
                        <a:pt x="409" y="37"/>
                      </a:lnTo>
                      <a:lnTo>
                        <a:pt x="413" y="48"/>
                      </a:lnTo>
                      <a:lnTo>
                        <a:pt x="414" y="60"/>
                      </a:lnTo>
                      <a:lnTo>
                        <a:pt x="0" y="60"/>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3" name="Freeform 58"/>
                <p:cNvSpPr>
                  <a:spLocks/>
                </p:cNvSpPr>
                <p:nvPr/>
              </p:nvSpPr>
              <p:spPr bwMode="auto">
                <a:xfrm>
                  <a:off x="-261202" y="1559322"/>
                  <a:ext cx="130176" cy="19050"/>
                </a:xfrm>
                <a:custGeom>
                  <a:avLst/>
                  <a:gdLst>
                    <a:gd name="T0" fmla="*/ 0 w 414"/>
                    <a:gd name="T1" fmla="*/ 0 h 60"/>
                    <a:gd name="T2" fmla="*/ 414 w 414"/>
                    <a:gd name="T3" fmla="*/ 0 h 60"/>
                    <a:gd name="T4" fmla="*/ 414 w 414"/>
                    <a:gd name="T5" fmla="*/ 0 h 60"/>
                    <a:gd name="T6" fmla="*/ 413 w 414"/>
                    <a:gd name="T7" fmla="*/ 12 h 60"/>
                    <a:gd name="T8" fmla="*/ 409 w 414"/>
                    <a:gd name="T9" fmla="*/ 23 h 60"/>
                    <a:gd name="T10" fmla="*/ 404 w 414"/>
                    <a:gd name="T11" fmla="*/ 34 h 60"/>
                    <a:gd name="T12" fmla="*/ 397 w 414"/>
                    <a:gd name="T13" fmla="*/ 42 h 60"/>
                    <a:gd name="T14" fmla="*/ 388 w 414"/>
                    <a:gd name="T15" fmla="*/ 50 h 60"/>
                    <a:gd name="T16" fmla="*/ 377 w 414"/>
                    <a:gd name="T17" fmla="*/ 55 h 60"/>
                    <a:gd name="T18" fmla="*/ 366 w 414"/>
                    <a:gd name="T19" fmla="*/ 58 h 60"/>
                    <a:gd name="T20" fmla="*/ 354 w 414"/>
                    <a:gd name="T21" fmla="*/ 60 h 60"/>
                    <a:gd name="T22" fmla="*/ 0 w 414"/>
                    <a:gd name="T23" fmla="*/ 60 h 60"/>
                    <a:gd name="T24" fmla="*/ 0 w 414"/>
                    <a:gd name="T25"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4" h="60">
                      <a:moveTo>
                        <a:pt x="0" y="0"/>
                      </a:moveTo>
                      <a:lnTo>
                        <a:pt x="414" y="0"/>
                      </a:lnTo>
                      <a:lnTo>
                        <a:pt x="414" y="0"/>
                      </a:lnTo>
                      <a:lnTo>
                        <a:pt x="413" y="12"/>
                      </a:lnTo>
                      <a:lnTo>
                        <a:pt x="409" y="23"/>
                      </a:lnTo>
                      <a:lnTo>
                        <a:pt x="404" y="34"/>
                      </a:lnTo>
                      <a:lnTo>
                        <a:pt x="397" y="42"/>
                      </a:lnTo>
                      <a:lnTo>
                        <a:pt x="388" y="50"/>
                      </a:lnTo>
                      <a:lnTo>
                        <a:pt x="377" y="55"/>
                      </a:lnTo>
                      <a:lnTo>
                        <a:pt x="366" y="58"/>
                      </a:lnTo>
                      <a:lnTo>
                        <a:pt x="354" y="60"/>
                      </a:lnTo>
                      <a:lnTo>
                        <a:pt x="0" y="60"/>
                      </a:lnTo>
                      <a:lnTo>
                        <a:pt x="0" y="0"/>
                      </a:lnTo>
                      <a:close/>
                    </a:path>
                  </a:pathLst>
                </a:custGeom>
                <a:solidFill>
                  <a:srgbClr val="275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4" name="Freeform 59"/>
                <p:cNvSpPr>
                  <a:spLocks/>
                </p:cNvSpPr>
                <p:nvPr/>
              </p:nvSpPr>
              <p:spPr bwMode="auto">
                <a:xfrm>
                  <a:off x="-261202" y="1559322"/>
                  <a:ext cx="130176" cy="19050"/>
                </a:xfrm>
                <a:custGeom>
                  <a:avLst/>
                  <a:gdLst>
                    <a:gd name="T0" fmla="*/ 0 w 414"/>
                    <a:gd name="T1" fmla="*/ 0 h 60"/>
                    <a:gd name="T2" fmla="*/ 414 w 414"/>
                    <a:gd name="T3" fmla="*/ 0 h 60"/>
                    <a:gd name="T4" fmla="*/ 414 w 414"/>
                    <a:gd name="T5" fmla="*/ 0 h 60"/>
                    <a:gd name="T6" fmla="*/ 413 w 414"/>
                    <a:gd name="T7" fmla="*/ 12 h 60"/>
                    <a:gd name="T8" fmla="*/ 409 w 414"/>
                    <a:gd name="T9" fmla="*/ 23 h 60"/>
                    <a:gd name="T10" fmla="*/ 404 w 414"/>
                    <a:gd name="T11" fmla="*/ 34 h 60"/>
                    <a:gd name="T12" fmla="*/ 397 w 414"/>
                    <a:gd name="T13" fmla="*/ 42 h 60"/>
                    <a:gd name="T14" fmla="*/ 388 w 414"/>
                    <a:gd name="T15" fmla="*/ 50 h 60"/>
                    <a:gd name="T16" fmla="*/ 377 w 414"/>
                    <a:gd name="T17" fmla="*/ 55 h 60"/>
                    <a:gd name="T18" fmla="*/ 366 w 414"/>
                    <a:gd name="T19" fmla="*/ 58 h 60"/>
                    <a:gd name="T20" fmla="*/ 354 w 414"/>
                    <a:gd name="T21" fmla="*/ 60 h 60"/>
                    <a:gd name="T22" fmla="*/ 0 w 414"/>
                    <a:gd name="T23" fmla="*/ 60 h 60"/>
                    <a:gd name="T24" fmla="*/ 0 w 414"/>
                    <a:gd name="T25"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4" h="60">
                      <a:moveTo>
                        <a:pt x="0" y="0"/>
                      </a:moveTo>
                      <a:lnTo>
                        <a:pt x="414" y="0"/>
                      </a:lnTo>
                      <a:lnTo>
                        <a:pt x="414" y="0"/>
                      </a:lnTo>
                      <a:lnTo>
                        <a:pt x="413" y="12"/>
                      </a:lnTo>
                      <a:lnTo>
                        <a:pt x="409" y="23"/>
                      </a:lnTo>
                      <a:lnTo>
                        <a:pt x="404" y="34"/>
                      </a:lnTo>
                      <a:lnTo>
                        <a:pt x="397" y="42"/>
                      </a:lnTo>
                      <a:lnTo>
                        <a:pt x="388" y="50"/>
                      </a:lnTo>
                      <a:lnTo>
                        <a:pt x="377" y="55"/>
                      </a:lnTo>
                      <a:lnTo>
                        <a:pt x="366" y="58"/>
                      </a:lnTo>
                      <a:lnTo>
                        <a:pt x="354" y="60"/>
                      </a:lnTo>
                      <a:lnTo>
                        <a:pt x="0" y="6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5" name="Freeform 60"/>
                <p:cNvSpPr>
                  <a:spLocks/>
                </p:cNvSpPr>
                <p:nvPr/>
              </p:nvSpPr>
              <p:spPr bwMode="auto">
                <a:xfrm>
                  <a:off x="-261202" y="1518047"/>
                  <a:ext cx="85726" cy="22225"/>
                </a:xfrm>
                <a:custGeom>
                  <a:avLst/>
                  <a:gdLst>
                    <a:gd name="T0" fmla="*/ 0 w 271"/>
                    <a:gd name="T1" fmla="*/ 0 h 69"/>
                    <a:gd name="T2" fmla="*/ 0 w 271"/>
                    <a:gd name="T3" fmla="*/ 0 h 69"/>
                    <a:gd name="T4" fmla="*/ 55 w 271"/>
                    <a:gd name="T5" fmla="*/ 2 h 69"/>
                    <a:gd name="T6" fmla="*/ 107 w 271"/>
                    <a:gd name="T7" fmla="*/ 6 h 69"/>
                    <a:gd name="T8" fmla="*/ 130 w 271"/>
                    <a:gd name="T9" fmla="*/ 8 h 69"/>
                    <a:gd name="T10" fmla="*/ 152 w 271"/>
                    <a:gd name="T11" fmla="*/ 12 h 69"/>
                    <a:gd name="T12" fmla="*/ 172 w 271"/>
                    <a:gd name="T13" fmla="*/ 15 h 69"/>
                    <a:gd name="T14" fmla="*/ 192 w 271"/>
                    <a:gd name="T15" fmla="*/ 20 h 69"/>
                    <a:gd name="T16" fmla="*/ 210 w 271"/>
                    <a:gd name="T17" fmla="*/ 25 h 69"/>
                    <a:gd name="T18" fmla="*/ 225 w 271"/>
                    <a:gd name="T19" fmla="*/ 30 h 69"/>
                    <a:gd name="T20" fmla="*/ 239 w 271"/>
                    <a:gd name="T21" fmla="*/ 36 h 69"/>
                    <a:gd name="T22" fmla="*/ 250 w 271"/>
                    <a:gd name="T23" fmla="*/ 42 h 69"/>
                    <a:gd name="T24" fmla="*/ 259 w 271"/>
                    <a:gd name="T25" fmla="*/ 48 h 69"/>
                    <a:gd name="T26" fmla="*/ 266 w 271"/>
                    <a:gd name="T27" fmla="*/ 56 h 69"/>
                    <a:gd name="T28" fmla="*/ 270 w 271"/>
                    <a:gd name="T29" fmla="*/ 62 h 69"/>
                    <a:gd name="T30" fmla="*/ 271 w 271"/>
                    <a:gd name="T31" fmla="*/ 69 h 69"/>
                    <a:gd name="T32" fmla="*/ 0 w 271"/>
                    <a:gd name="T33" fmla="*/ 69 h 69"/>
                    <a:gd name="T34" fmla="*/ 0 w 271"/>
                    <a:gd name="T3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1" h="69">
                      <a:moveTo>
                        <a:pt x="0" y="0"/>
                      </a:moveTo>
                      <a:lnTo>
                        <a:pt x="0" y="0"/>
                      </a:lnTo>
                      <a:lnTo>
                        <a:pt x="55" y="2"/>
                      </a:lnTo>
                      <a:lnTo>
                        <a:pt x="107" y="6"/>
                      </a:lnTo>
                      <a:lnTo>
                        <a:pt x="130" y="8"/>
                      </a:lnTo>
                      <a:lnTo>
                        <a:pt x="152" y="12"/>
                      </a:lnTo>
                      <a:lnTo>
                        <a:pt x="172" y="15"/>
                      </a:lnTo>
                      <a:lnTo>
                        <a:pt x="192" y="20"/>
                      </a:lnTo>
                      <a:lnTo>
                        <a:pt x="210" y="25"/>
                      </a:lnTo>
                      <a:lnTo>
                        <a:pt x="225" y="30"/>
                      </a:lnTo>
                      <a:lnTo>
                        <a:pt x="239" y="36"/>
                      </a:lnTo>
                      <a:lnTo>
                        <a:pt x="250" y="42"/>
                      </a:lnTo>
                      <a:lnTo>
                        <a:pt x="259" y="48"/>
                      </a:lnTo>
                      <a:lnTo>
                        <a:pt x="266" y="56"/>
                      </a:lnTo>
                      <a:lnTo>
                        <a:pt x="270" y="62"/>
                      </a:lnTo>
                      <a:lnTo>
                        <a:pt x="271" y="69"/>
                      </a:lnTo>
                      <a:lnTo>
                        <a:pt x="0" y="69"/>
                      </a:lnTo>
                      <a:lnTo>
                        <a:pt x="0" y="0"/>
                      </a:lnTo>
                      <a:close/>
                    </a:path>
                  </a:pathLst>
                </a:custGeom>
                <a:solidFill>
                  <a:srgbClr val="009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6" name="Freeform 61"/>
                <p:cNvSpPr>
                  <a:spLocks/>
                </p:cNvSpPr>
                <p:nvPr/>
              </p:nvSpPr>
              <p:spPr bwMode="auto">
                <a:xfrm>
                  <a:off x="-261202" y="1625998"/>
                  <a:ext cx="150814" cy="69851"/>
                </a:xfrm>
                <a:custGeom>
                  <a:avLst/>
                  <a:gdLst>
                    <a:gd name="T0" fmla="*/ 477 w 477"/>
                    <a:gd name="T1" fmla="*/ 0 h 219"/>
                    <a:gd name="T2" fmla="*/ 477 w 477"/>
                    <a:gd name="T3" fmla="*/ 0 h 219"/>
                    <a:gd name="T4" fmla="*/ 476 w 477"/>
                    <a:gd name="T5" fmla="*/ 12 h 219"/>
                    <a:gd name="T6" fmla="*/ 475 w 477"/>
                    <a:gd name="T7" fmla="*/ 23 h 219"/>
                    <a:gd name="T8" fmla="*/ 471 w 477"/>
                    <a:gd name="T9" fmla="*/ 34 h 219"/>
                    <a:gd name="T10" fmla="*/ 467 w 477"/>
                    <a:gd name="T11" fmla="*/ 45 h 219"/>
                    <a:gd name="T12" fmla="*/ 463 w 477"/>
                    <a:gd name="T13" fmla="*/ 55 h 219"/>
                    <a:gd name="T14" fmla="*/ 455 w 477"/>
                    <a:gd name="T15" fmla="*/ 66 h 219"/>
                    <a:gd name="T16" fmla="*/ 448 w 477"/>
                    <a:gd name="T17" fmla="*/ 76 h 219"/>
                    <a:gd name="T18" fmla="*/ 439 w 477"/>
                    <a:gd name="T19" fmla="*/ 85 h 219"/>
                    <a:gd name="T20" fmla="*/ 430 w 477"/>
                    <a:gd name="T21" fmla="*/ 95 h 219"/>
                    <a:gd name="T22" fmla="*/ 420 w 477"/>
                    <a:gd name="T23" fmla="*/ 105 h 219"/>
                    <a:gd name="T24" fmla="*/ 408 w 477"/>
                    <a:gd name="T25" fmla="*/ 113 h 219"/>
                    <a:gd name="T26" fmla="*/ 395 w 477"/>
                    <a:gd name="T27" fmla="*/ 123 h 219"/>
                    <a:gd name="T28" fmla="*/ 369 w 477"/>
                    <a:gd name="T29" fmla="*/ 140 h 219"/>
                    <a:gd name="T30" fmla="*/ 337 w 477"/>
                    <a:gd name="T31" fmla="*/ 155 h 219"/>
                    <a:gd name="T32" fmla="*/ 304 w 477"/>
                    <a:gd name="T33" fmla="*/ 169 h 219"/>
                    <a:gd name="T34" fmla="*/ 267 w 477"/>
                    <a:gd name="T35" fmla="*/ 182 h 219"/>
                    <a:gd name="T36" fmla="*/ 227 w 477"/>
                    <a:gd name="T37" fmla="*/ 193 h 219"/>
                    <a:gd name="T38" fmla="*/ 186 w 477"/>
                    <a:gd name="T39" fmla="*/ 202 h 219"/>
                    <a:gd name="T40" fmla="*/ 142 w 477"/>
                    <a:gd name="T41" fmla="*/ 210 h 219"/>
                    <a:gd name="T42" fmla="*/ 97 w 477"/>
                    <a:gd name="T43" fmla="*/ 214 h 219"/>
                    <a:gd name="T44" fmla="*/ 49 w 477"/>
                    <a:gd name="T45" fmla="*/ 218 h 219"/>
                    <a:gd name="T46" fmla="*/ 0 w 477"/>
                    <a:gd name="T47" fmla="*/ 219 h 219"/>
                    <a:gd name="T48" fmla="*/ 0 w 477"/>
                    <a:gd name="T49" fmla="*/ 0 h 219"/>
                    <a:gd name="T50" fmla="*/ 477 w 477"/>
                    <a:gd name="T51"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7" h="219">
                      <a:moveTo>
                        <a:pt x="477" y="0"/>
                      </a:moveTo>
                      <a:lnTo>
                        <a:pt x="477" y="0"/>
                      </a:lnTo>
                      <a:lnTo>
                        <a:pt x="476" y="12"/>
                      </a:lnTo>
                      <a:lnTo>
                        <a:pt x="475" y="23"/>
                      </a:lnTo>
                      <a:lnTo>
                        <a:pt x="471" y="34"/>
                      </a:lnTo>
                      <a:lnTo>
                        <a:pt x="467" y="45"/>
                      </a:lnTo>
                      <a:lnTo>
                        <a:pt x="463" y="55"/>
                      </a:lnTo>
                      <a:lnTo>
                        <a:pt x="455" y="66"/>
                      </a:lnTo>
                      <a:lnTo>
                        <a:pt x="448" y="76"/>
                      </a:lnTo>
                      <a:lnTo>
                        <a:pt x="439" y="85"/>
                      </a:lnTo>
                      <a:lnTo>
                        <a:pt x="430" y="95"/>
                      </a:lnTo>
                      <a:lnTo>
                        <a:pt x="420" y="105"/>
                      </a:lnTo>
                      <a:lnTo>
                        <a:pt x="408" y="113"/>
                      </a:lnTo>
                      <a:lnTo>
                        <a:pt x="395" y="123"/>
                      </a:lnTo>
                      <a:lnTo>
                        <a:pt x="369" y="140"/>
                      </a:lnTo>
                      <a:lnTo>
                        <a:pt x="337" y="155"/>
                      </a:lnTo>
                      <a:lnTo>
                        <a:pt x="304" y="169"/>
                      </a:lnTo>
                      <a:lnTo>
                        <a:pt x="267" y="182"/>
                      </a:lnTo>
                      <a:lnTo>
                        <a:pt x="227" y="193"/>
                      </a:lnTo>
                      <a:lnTo>
                        <a:pt x="186" y="202"/>
                      </a:lnTo>
                      <a:lnTo>
                        <a:pt x="142" y="210"/>
                      </a:lnTo>
                      <a:lnTo>
                        <a:pt x="97" y="214"/>
                      </a:lnTo>
                      <a:lnTo>
                        <a:pt x="49" y="218"/>
                      </a:lnTo>
                      <a:lnTo>
                        <a:pt x="0" y="219"/>
                      </a:lnTo>
                      <a:lnTo>
                        <a:pt x="0" y="0"/>
                      </a:lnTo>
                      <a:lnTo>
                        <a:pt x="477"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7" name="Freeform 62"/>
                <p:cNvSpPr>
                  <a:spLocks/>
                </p:cNvSpPr>
                <p:nvPr/>
              </p:nvSpPr>
              <p:spPr bwMode="auto">
                <a:xfrm>
                  <a:off x="-261202" y="1625998"/>
                  <a:ext cx="150814" cy="69851"/>
                </a:xfrm>
                <a:custGeom>
                  <a:avLst/>
                  <a:gdLst>
                    <a:gd name="T0" fmla="*/ 477 w 477"/>
                    <a:gd name="T1" fmla="*/ 0 h 219"/>
                    <a:gd name="T2" fmla="*/ 477 w 477"/>
                    <a:gd name="T3" fmla="*/ 0 h 219"/>
                    <a:gd name="T4" fmla="*/ 476 w 477"/>
                    <a:gd name="T5" fmla="*/ 12 h 219"/>
                    <a:gd name="T6" fmla="*/ 475 w 477"/>
                    <a:gd name="T7" fmla="*/ 23 h 219"/>
                    <a:gd name="T8" fmla="*/ 471 w 477"/>
                    <a:gd name="T9" fmla="*/ 34 h 219"/>
                    <a:gd name="T10" fmla="*/ 467 w 477"/>
                    <a:gd name="T11" fmla="*/ 45 h 219"/>
                    <a:gd name="T12" fmla="*/ 463 w 477"/>
                    <a:gd name="T13" fmla="*/ 55 h 219"/>
                    <a:gd name="T14" fmla="*/ 455 w 477"/>
                    <a:gd name="T15" fmla="*/ 66 h 219"/>
                    <a:gd name="T16" fmla="*/ 448 w 477"/>
                    <a:gd name="T17" fmla="*/ 76 h 219"/>
                    <a:gd name="T18" fmla="*/ 439 w 477"/>
                    <a:gd name="T19" fmla="*/ 85 h 219"/>
                    <a:gd name="T20" fmla="*/ 430 w 477"/>
                    <a:gd name="T21" fmla="*/ 95 h 219"/>
                    <a:gd name="T22" fmla="*/ 420 w 477"/>
                    <a:gd name="T23" fmla="*/ 105 h 219"/>
                    <a:gd name="T24" fmla="*/ 408 w 477"/>
                    <a:gd name="T25" fmla="*/ 113 h 219"/>
                    <a:gd name="T26" fmla="*/ 395 w 477"/>
                    <a:gd name="T27" fmla="*/ 123 h 219"/>
                    <a:gd name="T28" fmla="*/ 369 w 477"/>
                    <a:gd name="T29" fmla="*/ 140 h 219"/>
                    <a:gd name="T30" fmla="*/ 337 w 477"/>
                    <a:gd name="T31" fmla="*/ 155 h 219"/>
                    <a:gd name="T32" fmla="*/ 304 w 477"/>
                    <a:gd name="T33" fmla="*/ 169 h 219"/>
                    <a:gd name="T34" fmla="*/ 267 w 477"/>
                    <a:gd name="T35" fmla="*/ 182 h 219"/>
                    <a:gd name="T36" fmla="*/ 227 w 477"/>
                    <a:gd name="T37" fmla="*/ 193 h 219"/>
                    <a:gd name="T38" fmla="*/ 186 w 477"/>
                    <a:gd name="T39" fmla="*/ 202 h 219"/>
                    <a:gd name="T40" fmla="*/ 142 w 477"/>
                    <a:gd name="T41" fmla="*/ 210 h 219"/>
                    <a:gd name="T42" fmla="*/ 97 w 477"/>
                    <a:gd name="T43" fmla="*/ 214 h 219"/>
                    <a:gd name="T44" fmla="*/ 49 w 477"/>
                    <a:gd name="T45" fmla="*/ 218 h 219"/>
                    <a:gd name="T46" fmla="*/ 0 w 477"/>
                    <a:gd name="T47" fmla="*/ 219 h 219"/>
                    <a:gd name="T48" fmla="*/ 0 w 477"/>
                    <a:gd name="T49" fmla="*/ 0 h 219"/>
                    <a:gd name="T50" fmla="*/ 477 w 477"/>
                    <a:gd name="T51"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7" h="219">
                      <a:moveTo>
                        <a:pt x="477" y="0"/>
                      </a:moveTo>
                      <a:lnTo>
                        <a:pt x="477" y="0"/>
                      </a:lnTo>
                      <a:lnTo>
                        <a:pt x="476" y="12"/>
                      </a:lnTo>
                      <a:lnTo>
                        <a:pt x="475" y="23"/>
                      </a:lnTo>
                      <a:lnTo>
                        <a:pt x="471" y="34"/>
                      </a:lnTo>
                      <a:lnTo>
                        <a:pt x="467" y="45"/>
                      </a:lnTo>
                      <a:lnTo>
                        <a:pt x="463" y="55"/>
                      </a:lnTo>
                      <a:lnTo>
                        <a:pt x="455" y="66"/>
                      </a:lnTo>
                      <a:lnTo>
                        <a:pt x="448" y="76"/>
                      </a:lnTo>
                      <a:lnTo>
                        <a:pt x="439" y="85"/>
                      </a:lnTo>
                      <a:lnTo>
                        <a:pt x="430" y="95"/>
                      </a:lnTo>
                      <a:lnTo>
                        <a:pt x="420" y="105"/>
                      </a:lnTo>
                      <a:lnTo>
                        <a:pt x="408" y="113"/>
                      </a:lnTo>
                      <a:lnTo>
                        <a:pt x="395" y="123"/>
                      </a:lnTo>
                      <a:lnTo>
                        <a:pt x="369" y="140"/>
                      </a:lnTo>
                      <a:lnTo>
                        <a:pt x="337" y="155"/>
                      </a:lnTo>
                      <a:lnTo>
                        <a:pt x="304" y="169"/>
                      </a:lnTo>
                      <a:lnTo>
                        <a:pt x="267" y="182"/>
                      </a:lnTo>
                      <a:lnTo>
                        <a:pt x="227" y="193"/>
                      </a:lnTo>
                      <a:lnTo>
                        <a:pt x="186" y="202"/>
                      </a:lnTo>
                      <a:lnTo>
                        <a:pt x="142" y="210"/>
                      </a:lnTo>
                      <a:lnTo>
                        <a:pt x="97" y="214"/>
                      </a:lnTo>
                      <a:lnTo>
                        <a:pt x="49" y="218"/>
                      </a:lnTo>
                      <a:lnTo>
                        <a:pt x="0" y="219"/>
                      </a:lnTo>
                      <a:lnTo>
                        <a:pt x="0" y="0"/>
                      </a:lnTo>
                      <a:lnTo>
                        <a:pt x="4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8" name="Freeform 63"/>
                <p:cNvSpPr>
                  <a:spLocks/>
                </p:cNvSpPr>
                <p:nvPr/>
              </p:nvSpPr>
              <p:spPr bwMode="auto">
                <a:xfrm>
                  <a:off x="-261202" y="1578372"/>
                  <a:ext cx="209552" cy="47625"/>
                </a:xfrm>
                <a:custGeom>
                  <a:avLst/>
                  <a:gdLst>
                    <a:gd name="T0" fmla="*/ 660 w 660"/>
                    <a:gd name="T1" fmla="*/ 152 h 152"/>
                    <a:gd name="T2" fmla="*/ 0 w 660"/>
                    <a:gd name="T3" fmla="*/ 152 h 152"/>
                    <a:gd name="T4" fmla="*/ 0 w 660"/>
                    <a:gd name="T5" fmla="*/ 0 h 152"/>
                    <a:gd name="T6" fmla="*/ 354 w 660"/>
                    <a:gd name="T7" fmla="*/ 0 h 152"/>
                    <a:gd name="T8" fmla="*/ 660 w 660"/>
                    <a:gd name="T9" fmla="*/ 152 h 152"/>
                  </a:gdLst>
                  <a:ahLst/>
                  <a:cxnLst>
                    <a:cxn ang="0">
                      <a:pos x="T0" y="T1"/>
                    </a:cxn>
                    <a:cxn ang="0">
                      <a:pos x="T2" y="T3"/>
                    </a:cxn>
                    <a:cxn ang="0">
                      <a:pos x="T4" y="T5"/>
                    </a:cxn>
                    <a:cxn ang="0">
                      <a:pos x="T6" y="T7"/>
                    </a:cxn>
                    <a:cxn ang="0">
                      <a:pos x="T8" y="T9"/>
                    </a:cxn>
                  </a:cxnLst>
                  <a:rect l="0" t="0" r="r" b="b"/>
                  <a:pathLst>
                    <a:path w="660" h="152">
                      <a:moveTo>
                        <a:pt x="660" y="152"/>
                      </a:moveTo>
                      <a:lnTo>
                        <a:pt x="0" y="152"/>
                      </a:lnTo>
                      <a:lnTo>
                        <a:pt x="0" y="0"/>
                      </a:lnTo>
                      <a:lnTo>
                        <a:pt x="354" y="0"/>
                      </a:lnTo>
                      <a:lnTo>
                        <a:pt x="660" y="152"/>
                      </a:lnTo>
                      <a:close/>
                    </a:path>
                  </a:pathLst>
                </a:custGeom>
                <a:solidFill>
                  <a:srgbClr val="009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9" name="Freeform 64"/>
                <p:cNvSpPr>
                  <a:spLocks/>
                </p:cNvSpPr>
                <p:nvPr/>
              </p:nvSpPr>
              <p:spPr bwMode="auto">
                <a:xfrm>
                  <a:off x="-261202" y="1578372"/>
                  <a:ext cx="209552" cy="47625"/>
                </a:xfrm>
                <a:custGeom>
                  <a:avLst/>
                  <a:gdLst>
                    <a:gd name="T0" fmla="*/ 660 w 660"/>
                    <a:gd name="T1" fmla="*/ 152 h 152"/>
                    <a:gd name="T2" fmla="*/ 0 w 660"/>
                    <a:gd name="T3" fmla="*/ 152 h 152"/>
                    <a:gd name="T4" fmla="*/ 0 w 660"/>
                    <a:gd name="T5" fmla="*/ 0 h 152"/>
                    <a:gd name="T6" fmla="*/ 354 w 660"/>
                    <a:gd name="T7" fmla="*/ 0 h 152"/>
                    <a:gd name="T8" fmla="*/ 660 w 660"/>
                    <a:gd name="T9" fmla="*/ 152 h 152"/>
                  </a:gdLst>
                  <a:ahLst/>
                  <a:cxnLst>
                    <a:cxn ang="0">
                      <a:pos x="T0" y="T1"/>
                    </a:cxn>
                    <a:cxn ang="0">
                      <a:pos x="T2" y="T3"/>
                    </a:cxn>
                    <a:cxn ang="0">
                      <a:pos x="T4" y="T5"/>
                    </a:cxn>
                    <a:cxn ang="0">
                      <a:pos x="T6" y="T7"/>
                    </a:cxn>
                    <a:cxn ang="0">
                      <a:pos x="T8" y="T9"/>
                    </a:cxn>
                  </a:cxnLst>
                  <a:rect l="0" t="0" r="r" b="b"/>
                  <a:pathLst>
                    <a:path w="660" h="152">
                      <a:moveTo>
                        <a:pt x="660" y="152"/>
                      </a:moveTo>
                      <a:lnTo>
                        <a:pt x="0" y="152"/>
                      </a:lnTo>
                      <a:lnTo>
                        <a:pt x="0" y="0"/>
                      </a:lnTo>
                      <a:lnTo>
                        <a:pt x="354" y="0"/>
                      </a:lnTo>
                      <a:lnTo>
                        <a:pt x="660" y="15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0" name="Freeform 65"/>
                <p:cNvSpPr>
                  <a:spLocks/>
                </p:cNvSpPr>
                <p:nvPr/>
              </p:nvSpPr>
              <p:spPr bwMode="auto">
                <a:xfrm>
                  <a:off x="-108801" y="1660923"/>
                  <a:ext cx="23813" cy="23813"/>
                </a:xfrm>
                <a:custGeom>
                  <a:avLst/>
                  <a:gdLst>
                    <a:gd name="T0" fmla="*/ 0 w 75"/>
                    <a:gd name="T1" fmla="*/ 36 h 73"/>
                    <a:gd name="T2" fmla="*/ 0 w 75"/>
                    <a:gd name="T3" fmla="*/ 36 h 73"/>
                    <a:gd name="T4" fmla="*/ 2 w 75"/>
                    <a:gd name="T5" fmla="*/ 44 h 73"/>
                    <a:gd name="T6" fmla="*/ 4 w 75"/>
                    <a:gd name="T7" fmla="*/ 51 h 73"/>
                    <a:gd name="T8" fmla="*/ 8 w 75"/>
                    <a:gd name="T9" fmla="*/ 57 h 73"/>
                    <a:gd name="T10" fmla="*/ 11 w 75"/>
                    <a:gd name="T11" fmla="*/ 63 h 73"/>
                    <a:gd name="T12" fmla="*/ 18 w 75"/>
                    <a:gd name="T13" fmla="*/ 67 h 73"/>
                    <a:gd name="T14" fmla="*/ 24 w 75"/>
                    <a:gd name="T15" fmla="*/ 70 h 73"/>
                    <a:gd name="T16" fmla="*/ 30 w 75"/>
                    <a:gd name="T17" fmla="*/ 73 h 73"/>
                    <a:gd name="T18" fmla="*/ 37 w 75"/>
                    <a:gd name="T19" fmla="*/ 73 h 73"/>
                    <a:gd name="T20" fmla="*/ 37 w 75"/>
                    <a:gd name="T21" fmla="*/ 73 h 73"/>
                    <a:gd name="T22" fmla="*/ 46 w 75"/>
                    <a:gd name="T23" fmla="*/ 73 h 73"/>
                    <a:gd name="T24" fmla="*/ 52 w 75"/>
                    <a:gd name="T25" fmla="*/ 70 h 73"/>
                    <a:gd name="T26" fmla="*/ 58 w 75"/>
                    <a:gd name="T27" fmla="*/ 67 h 73"/>
                    <a:gd name="T28" fmla="*/ 64 w 75"/>
                    <a:gd name="T29" fmla="*/ 63 h 73"/>
                    <a:gd name="T30" fmla="*/ 68 w 75"/>
                    <a:gd name="T31" fmla="*/ 57 h 73"/>
                    <a:gd name="T32" fmla="*/ 71 w 75"/>
                    <a:gd name="T33" fmla="*/ 51 h 73"/>
                    <a:gd name="T34" fmla="*/ 74 w 75"/>
                    <a:gd name="T35" fmla="*/ 44 h 73"/>
                    <a:gd name="T36" fmla="*/ 75 w 75"/>
                    <a:gd name="T37" fmla="*/ 36 h 73"/>
                    <a:gd name="T38" fmla="*/ 75 w 75"/>
                    <a:gd name="T39" fmla="*/ 36 h 73"/>
                    <a:gd name="T40" fmla="*/ 74 w 75"/>
                    <a:gd name="T41" fmla="*/ 29 h 73"/>
                    <a:gd name="T42" fmla="*/ 71 w 75"/>
                    <a:gd name="T43" fmla="*/ 22 h 73"/>
                    <a:gd name="T44" fmla="*/ 68 w 75"/>
                    <a:gd name="T45" fmla="*/ 15 h 73"/>
                    <a:gd name="T46" fmla="*/ 64 w 75"/>
                    <a:gd name="T47" fmla="*/ 11 h 73"/>
                    <a:gd name="T48" fmla="*/ 58 w 75"/>
                    <a:gd name="T49" fmla="*/ 6 h 73"/>
                    <a:gd name="T50" fmla="*/ 52 w 75"/>
                    <a:gd name="T51" fmla="*/ 2 h 73"/>
                    <a:gd name="T52" fmla="*/ 46 w 75"/>
                    <a:gd name="T53" fmla="*/ 1 h 73"/>
                    <a:gd name="T54" fmla="*/ 37 w 75"/>
                    <a:gd name="T55" fmla="*/ 0 h 73"/>
                    <a:gd name="T56" fmla="*/ 37 w 75"/>
                    <a:gd name="T57" fmla="*/ 0 h 73"/>
                    <a:gd name="T58" fmla="*/ 30 w 75"/>
                    <a:gd name="T59" fmla="*/ 1 h 73"/>
                    <a:gd name="T60" fmla="*/ 24 w 75"/>
                    <a:gd name="T61" fmla="*/ 2 h 73"/>
                    <a:gd name="T62" fmla="*/ 18 w 75"/>
                    <a:gd name="T63" fmla="*/ 6 h 73"/>
                    <a:gd name="T64" fmla="*/ 11 w 75"/>
                    <a:gd name="T65" fmla="*/ 11 h 73"/>
                    <a:gd name="T66" fmla="*/ 8 w 75"/>
                    <a:gd name="T67" fmla="*/ 15 h 73"/>
                    <a:gd name="T68" fmla="*/ 4 w 75"/>
                    <a:gd name="T69" fmla="*/ 22 h 73"/>
                    <a:gd name="T70" fmla="*/ 2 w 75"/>
                    <a:gd name="T71" fmla="*/ 29 h 73"/>
                    <a:gd name="T72" fmla="*/ 0 w 75"/>
                    <a:gd name="T73" fmla="*/ 36 h 73"/>
                    <a:gd name="T74" fmla="*/ 0 w 75"/>
                    <a:gd name="T75" fmla="*/ 3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5" h="73">
                      <a:moveTo>
                        <a:pt x="0" y="36"/>
                      </a:moveTo>
                      <a:lnTo>
                        <a:pt x="0" y="36"/>
                      </a:lnTo>
                      <a:lnTo>
                        <a:pt x="2" y="44"/>
                      </a:lnTo>
                      <a:lnTo>
                        <a:pt x="4" y="51"/>
                      </a:lnTo>
                      <a:lnTo>
                        <a:pt x="8" y="57"/>
                      </a:lnTo>
                      <a:lnTo>
                        <a:pt x="11" y="63"/>
                      </a:lnTo>
                      <a:lnTo>
                        <a:pt x="18" y="67"/>
                      </a:lnTo>
                      <a:lnTo>
                        <a:pt x="24" y="70"/>
                      </a:lnTo>
                      <a:lnTo>
                        <a:pt x="30" y="73"/>
                      </a:lnTo>
                      <a:lnTo>
                        <a:pt x="37" y="73"/>
                      </a:lnTo>
                      <a:lnTo>
                        <a:pt x="37" y="73"/>
                      </a:lnTo>
                      <a:lnTo>
                        <a:pt x="46" y="73"/>
                      </a:lnTo>
                      <a:lnTo>
                        <a:pt x="52" y="70"/>
                      </a:lnTo>
                      <a:lnTo>
                        <a:pt x="58" y="67"/>
                      </a:lnTo>
                      <a:lnTo>
                        <a:pt x="64" y="63"/>
                      </a:lnTo>
                      <a:lnTo>
                        <a:pt x="68" y="57"/>
                      </a:lnTo>
                      <a:lnTo>
                        <a:pt x="71" y="51"/>
                      </a:lnTo>
                      <a:lnTo>
                        <a:pt x="74" y="44"/>
                      </a:lnTo>
                      <a:lnTo>
                        <a:pt x="75" y="36"/>
                      </a:lnTo>
                      <a:lnTo>
                        <a:pt x="75" y="36"/>
                      </a:lnTo>
                      <a:lnTo>
                        <a:pt x="74" y="29"/>
                      </a:lnTo>
                      <a:lnTo>
                        <a:pt x="71" y="22"/>
                      </a:lnTo>
                      <a:lnTo>
                        <a:pt x="68" y="15"/>
                      </a:lnTo>
                      <a:lnTo>
                        <a:pt x="64" y="11"/>
                      </a:lnTo>
                      <a:lnTo>
                        <a:pt x="58" y="6"/>
                      </a:lnTo>
                      <a:lnTo>
                        <a:pt x="52" y="2"/>
                      </a:lnTo>
                      <a:lnTo>
                        <a:pt x="46" y="1"/>
                      </a:lnTo>
                      <a:lnTo>
                        <a:pt x="37" y="0"/>
                      </a:lnTo>
                      <a:lnTo>
                        <a:pt x="37" y="0"/>
                      </a:lnTo>
                      <a:lnTo>
                        <a:pt x="30" y="1"/>
                      </a:lnTo>
                      <a:lnTo>
                        <a:pt x="24" y="2"/>
                      </a:lnTo>
                      <a:lnTo>
                        <a:pt x="18" y="6"/>
                      </a:lnTo>
                      <a:lnTo>
                        <a:pt x="11" y="11"/>
                      </a:lnTo>
                      <a:lnTo>
                        <a:pt x="8" y="15"/>
                      </a:lnTo>
                      <a:lnTo>
                        <a:pt x="4" y="22"/>
                      </a:lnTo>
                      <a:lnTo>
                        <a:pt x="2" y="29"/>
                      </a:lnTo>
                      <a:lnTo>
                        <a:pt x="0" y="36"/>
                      </a:lnTo>
                      <a:lnTo>
                        <a:pt x="0" y="36"/>
                      </a:lnTo>
                      <a:close/>
                    </a:path>
                  </a:pathLst>
                </a:custGeom>
                <a:solidFill>
                  <a:srgbClr val="009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1" name="Freeform 66"/>
                <p:cNvSpPr>
                  <a:spLocks/>
                </p:cNvSpPr>
                <p:nvPr/>
              </p:nvSpPr>
              <p:spPr bwMode="auto">
                <a:xfrm>
                  <a:off x="-99275" y="1665686"/>
                  <a:ext cx="11113" cy="11113"/>
                </a:xfrm>
                <a:custGeom>
                  <a:avLst/>
                  <a:gdLst>
                    <a:gd name="T0" fmla="*/ 0 w 36"/>
                    <a:gd name="T1" fmla="*/ 18 h 35"/>
                    <a:gd name="T2" fmla="*/ 0 w 36"/>
                    <a:gd name="T3" fmla="*/ 18 h 35"/>
                    <a:gd name="T4" fmla="*/ 3 w 36"/>
                    <a:gd name="T5" fmla="*/ 24 h 35"/>
                    <a:gd name="T6" fmla="*/ 6 w 36"/>
                    <a:gd name="T7" fmla="*/ 31 h 35"/>
                    <a:gd name="T8" fmla="*/ 11 w 36"/>
                    <a:gd name="T9" fmla="*/ 34 h 35"/>
                    <a:gd name="T10" fmla="*/ 19 w 36"/>
                    <a:gd name="T11" fmla="*/ 35 h 35"/>
                    <a:gd name="T12" fmla="*/ 19 w 36"/>
                    <a:gd name="T13" fmla="*/ 35 h 35"/>
                    <a:gd name="T14" fmla="*/ 25 w 36"/>
                    <a:gd name="T15" fmla="*/ 34 h 35"/>
                    <a:gd name="T16" fmla="*/ 31 w 36"/>
                    <a:gd name="T17" fmla="*/ 31 h 35"/>
                    <a:gd name="T18" fmla="*/ 34 w 36"/>
                    <a:gd name="T19" fmla="*/ 24 h 35"/>
                    <a:gd name="T20" fmla="*/ 36 w 36"/>
                    <a:gd name="T21" fmla="*/ 18 h 35"/>
                    <a:gd name="T22" fmla="*/ 36 w 36"/>
                    <a:gd name="T23" fmla="*/ 18 h 35"/>
                    <a:gd name="T24" fmla="*/ 34 w 36"/>
                    <a:gd name="T25" fmla="*/ 11 h 35"/>
                    <a:gd name="T26" fmla="*/ 31 w 36"/>
                    <a:gd name="T27" fmla="*/ 6 h 35"/>
                    <a:gd name="T28" fmla="*/ 25 w 36"/>
                    <a:gd name="T29" fmla="*/ 1 h 35"/>
                    <a:gd name="T30" fmla="*/ 19 w 36"/>
                    <a:gd name="T31" fmla="*/ 0 h 35"/>
                    <a:gd name="T32" fmla="*/ 19 w 36"/>
                    <a:gd name="T33" fmla="*/ 0 h 35"/>
                    <a:gd name="T34" fmla="*/ 11 w 36"/>
                    <a:gd name="T35" fmla="*/ 1 h 35"/>
                    <a:gd name="T36" fmla="*/ 6 w 36"/>
                    <a:gd name="T37" fmla="*/ 6 h 35"/>
                    <a:gd name="T38" fmla="*/ 3 w 36"/>
                    <a:gd name="T39" fmla="*/ 11 h 35"/>
                    <a:gd name="T40" fmla="*/ 0 w 36"/>
                    <a:gd name="T41" fmla="*/ 18 h 35"/>
                    <a:gd name="T42" fmla="*/ 0 w 36"/>
                    <a:gd name="T43"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 h="35">
                      <a:moveTo>
                        <a:pt x="0" y="18"/>
                      </a:moveTo>
                      <a:lnTo>
                        <a:pt x="0" y="18"/>
                      </a:lnTo>
                      <a:lnTo>
                        <a:pt x="3" y="24"/>
                      </a:lnTo>
                      <a:lnTo>
                        <a:pt x="6" y="31"/>
                      </a:lnTo>
                      <a:lnTo>
                        <a:pt x="11" y="34"/>
                      </a:lnTo>
                      <a:lnTo>
                        <a:pt x="19" y="35"/>
                      </a:lnTo>
                      <a:lnTo>
                        <a:pt x="19" y="35"/>
                      </a:lnTo>
                      <a:lnTo>
                        <a:pt x="25" y="34"/>
                      </a:lnTo>
                      <a:lnTo>
                        <a:pt x="31" y="31"/>
                      </a:lnTo>
                      <a:lnTo>
                        <a:pt x="34" y="24"/>
                      </a:lnTo>
                      <a:lnTo>
                        <a:pt x="36" y="18"/>
                      </a:lnTo>
                      <a:lnTo>
                        <a:pt x="36" y="18"/>
                      </a:lnTo>
                      <a:lnTo>
                        <a:pt x="34" y="11"/>
                      </a:lnTo>
                      <a:lnTo>
                        <a:pt x="31" y="6"/>
                      </a:lnTo>
                      <a:lnTo>
                        <a:pt x="25" y="1"/>
                      </a:lnTo>
                      <a:lnTo>
                        <a:pt x="19" y="0"/>
                      </a:lnTo>
                      <a:lnTo>
                        <a:pt x="19" y="0"/>
                      </a:lnTo>
                      <a:lnTo>
                        <a:pt x="11" y="1"/>
                      </a:lnTo>
                      <a:lnTo>
                        <a:pt x="6" y="6"/>
                      </a:lnTo>
                      <a:lnTo>
                        <a:pt x="3" y="11"/>
                      </a:lnTo>
                      <a:lnTo>
                        <a:pt x="0" y="18"/>
                      </a:lnTo>
                      <a:lnTo>
                        <a:pt x="0"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2" name="Freeform 67"/>
                <p:cNvSpPr>
                  <a:spLocks/>
                </p:cNvSpPr>
                <p:nvPr/>
              </p:nvSpPr>
              <p:spPr bwMode="auto">
                <a:xfrm>
                  <a:off x="-164363" y="1591072"/>
                  <a:ext cx="22225" cy="22225"/>
                </a:xfrm>
                <a:custGeom>
                  <a:avLst/>
                  <a:gdLst>
                    <a:gd name="T0" fmla="*/ 0 w 67"/>
                    <a:gd name="T1" fmla="*/ 35 h 69"/>
                    <a:gd name="T2" fmla="*/ 0 w 67"/>
                    <a:gd name="T3" fmla="*/ 35 h 69"/>
                    <a:gd name="T4" fmla="*/ 0 w 67"/>
                    <a:gd name="T5" fmla="*/ 42 h 69"/>
                    <a:gd name="T6" fmla="*/ 2 w 67"/>
                    <a:gd name="T7" fmla="*/ 48 h 69"/>
                    <a:gd name="T8" fmla="*/ 5 w 67"/>
                    <a:gd name="T9" fmla="*/ 54 h 69"/>
                    <a:gd name="T10" fmla="*/ 9 w 67"/>
                    <a:gd name="T11" fmla="*/ 59 h 69"/>
                    <a:gd name="T12" fmla="*/ 14 w 67"/>
                    <a:gd name="T13" fmla="*/ 63 h 69"/>
                    <a:gd name="T14" fmla="*/ 20 w 67"/>
                    <a:gd name="T15" fmla="*/ 66 h 69"/>
                    <a:gd name="T16" fmla="*/ 27 w 67"/>
                    <a:gd name="T17" fmla="*/ 67 h 69"/>
                    <a:gd name="T18" fmla="*/ 33 w 67"/>
                    <a:gd name="T19" fmla="*/ 69 h 69"/>
                    <a:gd name="T20" fmla="*/ 33 w 67"/>
                    <a:gd name="T21" fmla="*/ 69 h 69"/>
                    <a:gd name="T22" fmla="*/ 40 w 67"/>
                    <a:gd name="T23" fmla="*/ 67 h 69"/>
                    <a:gd name="T24" fmla="*/ 46 w 67"/>
                    <a:gd name="T25" fmla="*/ 66 h 69"/>
                    <a:gd name="T26" fmla="*/ 52 w 67"/>
                    <a:gd name="T27" fmla="*/ 63 h 69"/>
                    <a:gd name="T28" fmla="*/ 57 w 67"/>
                    <a:gd name="T29" fmla="*/ 59 h 69"/>
                    <a:gd name="T30" fmla="*/ 61 w 67"/>
                    <a:gd name="T31" fmla="*/ 54 h 69"/>
                    <a:gd name="T32" fmla="*/ 64 w 67"/>
                    <a:gd name="T33" fmla="*/ 48 h 69"/>
                    <a:gd name="T34" fmla="*/ 66 w 67"/>
                    <a:gd name="T35" fmla="*/ 42 h 69"/>
                    <a:gd name="T36" fmla="*/ 67 w 67"/>
                    <a:gd name="T37" fmla="*/ 35 h 69"/>
                    <a:gd name="T38" fmla="*/ 67 w 67"/>
                    <a:gd name="T39" fmla="*/ 35 h 69"/>
                    <a:gd name="T40" fmla="*/ 66 w 67"/>
                    <a:gd name="T41" fmla="*/ 27 h 69"/>
                    <a:gd name="T42" fmla="*/ 64 w 67"/>
                    <a:gd name="T43" fmla="*/ 21 h 69"/>
                    <a:gd name="T44" fmla="*/ 61 w 67"/>
                    <a:gd name="T45" fmla="*/ 16 h 69"/>
                    <a:gd name="T46" fmla="*/ 57 w 67"/>
                    <a:gd name="T47" fmla="*/ 10 h 69"/>
                    <a:gd name="T48" fmla="*/ 52 w 67"/>
                    <a:gd name="T49" fmla="*/ 7 h 69"/>
                    <a:gd name="T50" fmla="*/ 46 w 67"/>
                    <a:gd name="T51" fmla="*/ 4 h 69"/>
                    <a:gd name="T52" fmla="*/ 40 w 67"/>
                    <a:gd name="T53" fmla="*/ 2 h 69"/>
                    <a:gd name="T54" fmla="*/ 33 w 67"/>
                    <a:gd name="T55" fmla="*/ 0 h 69"/>
                    <a:gd name="T56" fmla="*/ 33 w 67"/>
                    <a:gd name="T57" fmla="*/ 0 h 69"/>
                    <a:gd name="T58" fmla="*/ 27 w 67"/>
                    <a:gd name="T59" fmla="*/ 2 h 69"/>
                    <a:gd name="T60" fmla="*/ 20 w 67"/>
                    <a:gd name="T61" fmla="*/ 4 h 69"/>
                    <a:gd name="T62" fmla="*/ 14 w 67"/>
                    <a:gd name="T63" fmla="*/ 7 h 69"/>
                    <a:gd name="T64" fmla="*/ 9 w 67"/>
                    <a:gd name="T65" fmla="*/ 10 h 69"/>
                    <a:gd name="T66" fmla="*/ 5 w 67"/>
                    <a:gd name="T67" fmla="*/ 16 h 69"/>
                    <a:gd name="T68" fmla="*/ 2 w 67"/>
                    <a:gd name="T69" fmla="*/ 21 h 69"/>
                    <a:gd name="T70" fmla="*/ 0 w 67"/>
                    <a:gd name="T71" fmla="*/ 27 h 69"/>
                    <a:gd name="T72" fmla="*/ 0 w 67"/>
                    <a:gd name="T73" fmla="*/ 35 h 69"/>
                    <a:gd name="T74" fmla="*/ 0 w 67"/>
                    <a:gd name="T75" fmla="*/ 3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69">
                      <a:moveTo>
                        <a:pt x="0" y="35"/>
                      </a:moveTo>
                      <a:lnTo>
                        <a:pt x="0" y="35"/>
                      </a:lnTo>
                      <a:lnTo>
                        <a:pt x="0" y="42"/>
                      </a:lnTo>
                      <a:lnTo>
                        <a:pt x="2" y="48"/>
                      </a:lnTo>
                      <a:lnTo>
                        <a:pt x="5" y="54"/>
                      </a:lnTo>
                      <a:lnTo>
                        <a:pt x="9" y="59"/>
                      </a:lnTo>
                      <a:lnTo>
                        <a:pt x="14" y="63"/>
                      </a:lnTo>
                      <a:lnTo>
                        <a:pt x="20" y="66"/>
                      </a:lnTo>
                      <a:lnTo>
                        <a:pt x="27" y="67"/>
                      </a:lnTo>
                      <a:lnTo>
                        <a:pt x="33" y="69"/>
                      </a:lnTo>
                      <a:lnTo>
                        <a:pt x="33" y="69"/>
                      </a:lnTo>
                      <a:lnTo>
                        <a:pt x="40" y="67"/>
                      </a:lnTo>
                      <a:lnTo>
                        <a:pt x="46" y="66"/>
                      </a:lnTo>
                      <a:lnTo>
                        <a:pt x="52" y="63"/>
                      </a:lnTo>
                      <a:lnTo>
                        <a:pt x="57" y="59"/>
                      </a:lnTo>
                      <a:lnTo>
                        <a:pt x="61" y="54"/>
                      </a:lnTo>
                      <a:lnTo>
                        <a:pt x="64" y="48"/>
                      </a:lnTo>
                      <a:lnTo>
                        <a:pt x="66" y="42"/>
                      </a:lnTo>
                      <a:lnTo>
                        <a:pt x="67" y="35"/>
                      </a:lnTo>
                      <a:lnTo>
                        <a:pt x="67" y="35"/>
                      </a:lnTo>
                      <a:lnTo>
                        <a:pt x="66" y="27"/>
                      </a:lnTo>
                      <a:lnTo>
                        <a:pt x="64" y="21"/>
                      </a:lnTo>
                      <a:lnTo>
                        <a:pt x="61" y="16"/>
                      </a:lnTo>
                      <a:lnTo>
                        <a:pt x="57" y="10"/>
                      </a:lnTo>
                      <a:lnTo>
                        <a:pt x="52" y="7"/>
                      </a:lnTo>
                      <a:lnTo>
                        <a:pt x="46" y="4"/>
                      </a:lnTo>
                      <a:lnTo>
                        <a:pt x="40" y="2"/>
                      </a:lnTo>
                      <a:lnTo>
                        <a:pt x="33" y="0"/>
                      </a:lnTo>
                      <a:lnTo>
                        <a:pt x="33" y="0"/>
                      </a:lnTo>
                      <a:lnTo>
                        <a:pt x="27" y="2"/>
                      </a:lnTo>
                      <a:lnTo>
                        <a:pt x="20" y="4"/>
                      </a:lnTo>
                      <a:lnTo>
                        <a:pt x="14" y="7"/>
                      </a:lnTo>
                      <a:lnTo>
                        <a:pt x="9" y="10"/>
                      </a:lnTo>
                      <a:lnTo>
                        <a:pt x="5" y="16"/>
                      </a:lnTo>
                      <a:lnTo>
                        <a:pt x="2" y="21"/>
                      </a:lnTo>
                      <a:lnTo>
                        <a:pt x="0" y="27"/>
                      </a:lnTo>
                      <a:lnTo>
                        <a:pt x="0" y="35"/>
                      </a:lnTo>
                      <a:lnTo>
                        <a:pt x="0" y="35"/>
                      </a:lnTo>
                      <a:close/>
                    </a:path>
                  </a:pathLst>
                </a:custGeom>
                <a:solidFill>
                  <a:srgbClr val="D0D5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3" name="Freeform 68"/>
                <p:cNvSpPr>
                  <a:spLocks/>
                </p:cNvSpPr>
                <p:nvPr/>
              </p:nvSpPr>
              <p:spPr bwMode="auto">
                <a:xfrm>
                  <a:off x="-207226" y="1591072"/>
                  <a:ext cx="22225" cy="22225"/>
                </a:xfrm>
                <a:custGeom>
                  <a:avLst/>
                  <a:gdLst>
                    <a:gd name="T0" fmla="*/ 0 w 67"/>
                    <a:gd name="T1" fmla="*/ 35 h 69"/>
                    <a:gd name="T2" fmla="*/ 0 w 67"/>
                    <a:gd name="T3" fmla="*/ 35 h 69"/>
                    <a:gd name="T4" fmla="*/ 1 w 67"/>
                    <a:gd name="T5" fmla="*/ 42 h 69"/>
                    <a:gd name="T6" fmla="*/ 2 w 67"/>
                    <a:gd name="T7" fmla="*/ 48 h 69"/>
                    <a:gd name="T8" fmla="*/ 6 w 67"/>
                    <a:gd name="T9" fmla="*/ 54 h 69"/>
                    <a:gd name="T10" fmla="*/ 9 w 67"/>
                    <a:gd name="T11" fmla="*/ 59 h 69"/>
                    <a:gd name="T12" fmla="*/ 14 w 67"/>
                    <a:gd name="T13" fmla="*/ 63 h 69"/>
                    <a:gd name="T14" fmla="*/ 20 w 67"/>
                    <a:gd name="T15" fmla="*/ 66 h 69"/>
                    <a:gd name="T16" fmla="*/ 26 w 67"/>
                    <a:gd name="T17" fmla="*/ 67 h 69"/>
                    <a:gd name="T18" fmla="*/ 34 w 67"/>
                    <a:gd name="T19" fmla="*/ 69 h 69"/>
                    <a:gd name="T20" fmla="*/ 34 w 67"/>
                    <a:gd name="T21" fmla="*/ 69 h 69"/>
                    <a:gd name="T22" fmla="*/ 40 w 67"/>
                    <a:gd name="T23" fmla="*/ 67 h 69"/>
                    <a:gd name="T24" fmla="*/ 46 w 67"/>
                    <a:gd name="T25" fmla="*/ 66 h 69"/>
                    <a:gd name="T26" fmla="*/ 52 w 67"/>
                    <a:gd name="T27" fmla="*/ 63 h 69"/>
                    <a:gd name="T28" fmla="*/ 57 w 67"/>
                    <a:gd name="T29" fmla="*/ 59 h 69"/>
                    <a:gd name="T30" fmla="*/ 62 w 67"/>
                    <a:gd name="T31" fmla="*/ 54 h 69"/>
                    <a:gd name="T32" fmla="*/ 64 w 67"/>
                    <a:gd name="T33" fmla="*/ 48 h 69"/>
                    <a:gd name="T34" fmla="*/ 67 w 67"/>
                    <a:gd name="T35" fmla="*/ 42 h 69"/>
                    <a:gd name="T36" fmla="*/ 67 w 67"/>
                    <a:gd name="T37" fmla="*/ 35 h 69"/>
                    <a:gd name="T38" fmla="*/ 67 w 67"/>
                    <a:gd name="T39" fmla="*/ 35 h 69"/>
                    <a:gd name="T40" fmla="*/ 67 w 67"/>
                    <a:gd name="T41" fmla="*/ 27 h 69"/>
                    <a:gd name="T42" fmla="*/ 64 w 67"/>
                    <a:gd name="T43" fmla="*/ 21 h 69"/>
                    <a:gd name="T44" fmla="*/ 62 w 67"/>
                    <a:gd name="T45" fmla="*/ 16 h 69"/>
                    <a:gd name="T46" fmla="*/ 57 w 67"/>
                    <a:gd name="T47" fmla="*/ 10 h 69"/>
                    <a:gd name="T48" fmla="*/ 52 w 67"/>
                    <a:gd name="T49" fmla="*/ 7 h 69"/>
                    <a:gd name="T50" fmla="*/ 46 w 67"/>
                    <a:gd name="T51" fmla="*/ 4 h 69"/>
                    <a:gd name="T52" fmla="*/ 40 w 67"/>
                    <a:gd name="T53" fmla="*/ 2 h 69"/>
                    <a:gd name="T54" fmla="*/ 34 w 67"/>
                    <a:gd name="T55" fmla="*/ 0 h 69"/>
                    <a:gd name="T56" fmla="*/ 34 w 67"/>
                    <a:gd name="T57" fmla="*/ 0 h 69"/>
                    <a:gd name="T58" fmla="*/ 26 w 67"/>
                    <a:gd name="T59" fmla="*/ 2 h 69"/>
                    <a:gd name="T60" fmla="*/ 20 w 67"/>
                    <a:gd name="T61" fmla="*/ 4 h 69"/>
                    <a:gd name="T62" fmla="*/ 14 w 67"/>
                    <a:gd name="T63" fmla="*/ 7 h 69"/>
                    <a:gd name="T64" fmla="*/ 9 w 67"/>
                    <a:gd name="T65" fmla="*/ 10 h 69"/>
                    <a:gd name="T66" fmla="*/ 6 w 67"/>
                    <a:gd name="T67" fmla="*/ 16 h 69"/>
                    <a:gd name="T68" fmla="*/ 2 w 67"/>
                    <a:gd name="T69" fmla="*/ 21 h 69"/>
                    <a:gd name="T70" fmla="*/ 1 w 67"/>
                    <a:gd name="T71" fmla="*/ 27 h 69"/>
                    <a:gd name="T72" fmla="*/ 0 w 67"/>
                    <a:gd name="T73" fmla="*/ 35 h 69"/>
                    <a:gd name="T74" fmla="*/ 0 w 67"/>
                    <a:gd name="T75" fmla="*/ 3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69">
                      <a:moveTo>
                        <a:pt x="0" y="35"/>
                      </a:moveTo>
                      <a:lnTo>
                        <a:pt x="0" y="35"/>
                      </a:lnTo>
                      <a:lnTo>
                        <a:pt x="1" y="42"/>
                      </a:lnTo>
                      <a:lnTo>
                        <a:pt x="2" y="48"/>
                      </a:lnTo>
                      <a:lnTo>
                        <a:pt x="6" y="54"/>
                      </a:lnTo>
                      <a:lnTo>
                        <a:pt x="9" y="59"/>
                      </a:lnTo>
                      <a:lnTo>
                        <a:pt x="14" y="63"/>
                      </a:lnTo>
                      <a:lnTo>
                        <a:pt x="20" y="66"/>
                      </a:lnTo>
                      <a:lnTo>
                        <a:pt x="26" y="67"/>
                      </a:lnTo>
                      <a:lnTo>
                        <a:pt x="34" y="69"/>
                      </a:lnTo>
                      <a:lnTo>
                        <a:pt x="34" y="69"/>
                      </a:lnTo>
                      <a:lnTo>
                        <a:pt x="40" y="67"/>
                      </a:lnTo>
                      <a:lnTo>
                        <a:pt x="46" y="66"/>
                      </a:lnTo>
                      <a:lnTo>
                        <a:pt x="52" y="63"/>
                      </a:lnTo>
                      <a:lnTo>
                        <a:pt x="57" y="59"/>
                      </a:lnTo>
                      <a:lnTo>
                        <a:pt x="62" y="54"/>
                      </a:lnTo>
                      <a:lnTo>
                        <a:pt x="64" y="48"/>
                      </a:lnTo>
                      <a:lnTo>
                        <a:pt x="67" y="42"/>
                      </a:lnTo>
                      <a:lnTo>
                        <a:pt x="67" y="35"/>
                      </a:lnTo>
                      <a:lnTo>
                        <a:pt x="67" y="35"/>
                      </a:lnTo>
                      <a:lnTo>
                        <a:pt x="67" y="27"/>
                      </a:lnTo>
                      <a:lnTo>
                        <a:pt x="64" y="21"/>
                      </a:lnTo>
                      <a:lnTo>
                        <a:pt x="62" y="16"/>
                      </a:lnTo>
                      <a:lnTo>
                        <a:pt x="57" y="10"/>
                      </a:lnTo>
                      <a:lnTo>
                        <a:pt x="52" y="7"/>
                      </a:lnTo>
                      <a:lnTo>
                        <a:pt x="46" y="4"/>
                      </a:lnTo>
                      <a:lnTo>
                        <a:pt x="40" y="2"/>
                      </a:lnTo>
                      <a:lnTo>
                        <a:pt x="34" y="0"/>
                      </a:lnTo>
                      <a:lnTo>
                        <a:pt x="34" y="0"/>
                      </a:lnTo>
                      <a:lnTo>
                        <a:pt x="26" y="2"/>
                      </a:lnTo>
                      <a:lnTo>
                        <a:pt x="20" y="4"/>
                      </a:lnTo>
                      <a:lnTo>
                        <a:pt x="14" y="7"/>
                      </a:lnTo>
                      <a:lnTo>
                        <a:pt x="9" y="10"/>
                      </a:lnTo>
                      <a:lnTo>
                        <a:pt x="6" y="16"/>
                      </a:lnTo>
                      <a:lnTo>
                        <a:pt x="2" y="21"/>
                      </a:lnTo>
                      <a:lnTo>
                        <a:pt x="1" y="27"/>
                      </a:lnTo>
                      <a:lnTo>
                        <a:pt x="0" y="35"/>
                      </a:lnTo>
                      <a:lnTo>
                        <a:pt x="0" y="35"/>
                      </a:lnTo>
                      <a:close/>
                    </a:path>
                  </a:pathLst>
                </a:custGeom>
                <a:solidFill>
                  <a:srgbClr val="D0D5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4" name="Freeform 69"/>
                <p:cNvSpPr>
                  <a:spLocks/>
                </p:cNvSpPr>
                <p:nvPr/>
              </p:nvSpPr>
              <p:spPr bwMode="auto">
                <a:xfrm>
                  <a:off x="-250089" y="1591072"/>
                  <a:ext cx="22225" cy="22225"/>
                </a:xfrm>
                <a:custGeom>
                  <a:avLst/>
                  <a:gdLst>
                    <a:gd name="T0" fmla="*/ 0 w 69"/>
                    <a:gd name="T1" fmla="*/ 35 h 69"/>
                    <a:gd name="T2" fmla="*/ 0 w 69"/>
                    <a:gd name="T3" fmla="*/ 35 h 69"/>
                    <a:gd name="T4" fmla="*/ 2 w 69"/>
                    <a:gd name="T5" fmla="*/ 42 h 69"/>
                    <a:gd name="T6" fmla="*/ 4 w 69"/>
                    <a:gd name="T7" fmla="*/ 48 h 69"/>
                    <a:gd name="T8" fmla="*/ 7 w 69"/>
                    <a:gd name="T9" fmla="*/ 54 h 69"/>
                    <a:gd name="T10" fmla="*/ 11 w 69"/>
                    <a:gd name="T11" fmla="*/ 59 h 69"/>
                    <a:gd name="T12" fmla="*/ 16 w 69"/>
                    <a:gd name="T13" fmla="*/ 63 h 69"/>
                    <a:gd name="T14" fmla="*/ 21 w 69"/>
                    <a:gd name="T15" fmla="*/ 66 h 69"/>
                    <a:gd name="T16" fmla="*/ 29 w 69"/>
                    <a:gd name="T17" fmla="*/ 67 h 69"/>
                    <a:gd name="T18" fmla="*/ 35 w 69"/>
                    <a:gd name="T19" fmla="*/ 69 h 69"/>
                    <a:gd name="T20" fmla="*/ 35 w 69"/>
                    <a:gd name="T21" fmla="*/ 69 h 69"/>
                    <a:gd name="T22" fmla="*/ 42 w 69"/>
                    <a:gd name="T23" fmla="*/ 67 h 69"/>
                    <a:gd name="T24" fmla="*/ 48 w 69"/>
                    <a:gd name="T25" fmla="*/ 66 h 69"/>
                    <a:gd name="T26" fmla="*/ 54 w 69"/>
                    <a:gd name="T27" fmla="*/ 63 h 69"/>
                    <a:gd name="T28" fmla="*/ 59 w 69"/>
                    <a:gd name="T29" fmla="*/ 59 h 69"/>
                    <a:gd name="T30" fmla="*/ 63 w 69"/>
                    <a:gd name="T31" fmla="*/ 54 h 69"/>
                    <a:gd name="T32" fmla="*/ 66 w 69"/>
                    <a:gd name="T33" fmla="*/ 48 h 69"/>
                    <a:gd name="T34" fmla="*/ 68 w 69"/>
                    <a:gd name="T35" fmla="*/ 42 h 69"/>
                    <a:gd name="T36" fmla="*/ 69 w 69"/>
                    <a:gd name="T37" fmla="*/ 35 h 69"/>
                    <a:gd name="T38" fmla="*/ 69 w 69"/>
                    <a:gd name="T39" fmla="*/ 35 h 69"/>
                    <a:gd name="T40" fmla="*/ 68 w 69"/>
                    <a:gd name="T41" fmla="*/ 27 h 69"/>
                    <a:gd name="T42" fmla="*/ 66 w 69"/>
                    <a:gd name="T43" fmla="*/ 21 h 69"/>
                    <a:gd name="T44" fmla="*/ 63 w 69"/>
                    <a:gd name="T45" fmla="*/ 16 h 69"/>
                    <a:gd name="T46" fmla="*/ 59 w 69"/>
                    <a:gd name="T47" fmla="*/ 10 h 69"/>
                    <a:gd name="T48" fmla="*/ 54 w 69"/>
                    <a:gd name="T49" fmla="*/ 7 h 69"/>
                    <a:gd name="T50" fmla="*/ 48 w 69"/>
                    <a:gd name="T51" fmla="*/ 4 h 69"/>
                    <a:gd name="T52" fmla="*/ 42 w 69"/>
                    <a:gd name="T53" fmla="*/ 2 h 69"/>
                    <a:gd name="T54" fmla="*/ 35 w 69"/>
                    <a:gd name="T55" fmla="*/ 0 h 69"/>
                    <a:gd name="T56" fmla="*/ 35 w 69"/>
                    <a:gd name="T57" fmla="*/ 0 h 69"/>
                    <a:gd name="T58" fmla="*/ 29 w 69"/>
                    <a:gd name="T59" fmla="*/ 2 h 69"/>
                    <a:gd name="T60" fmla="*/ 21 w 69"/>
                    <a:gd name="T61" fmla="*/ 4 h 69"/>
                    <a:gd name="T62" fmla="*/ 16 w 69"/>
                    <a:gd name="T63" fmla="*/ 7 h 69"/>
                    <a:gd name="T64" fmla="*/ 11 w 69"/>
                    <a:gd name="T65" fmla="*/ 10 h 69"/>
                    <a:gd name="T66" fmla="*/ 7 w 69"/>
                    <a:gd name="T67" fmla="*/ 16 h 69"/>
                    <a:gd name="T68" fmla="*/ 4 w 69"/>
                    <a:gd name="T69" fmla="*/ 21 h 69"/>
                    <a:gd name="T70" fmla="*/ 2 w 69"/>
                    <a:gd name="T71" fmla="*/ 27 h 69"/>
                    <a:gd name="T72" fmla="*/ 0 w 69"/>
                    <a:gd name="T73" fmla="*/ 35 h 69"/>
                    <a:gd name="T74" fmla="*/ 0 w 69"/>
                    <a:gd name="T75" fmla="*/ 3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9" h="69">
                      <a:moveTo>
                        <a:pt x="0" y="35"/>
                      </a:moveTo>
                      <a:lnTo>
                        <a:pt x="0" y="35"/>
                      </a:lnTo>
                      <a:lnTo>
                        <a:pt x="2" y="42"/>
                      </a:lnTo>
                      <a:lnTo>
                        <a:pt x="4" y="48"/>
                      </a:lnTo>
                      <a:lnTo>
                        <a:pt x="7" y="54"/>
                      </a:lnTo>
                      <a:lnTo>
                        <a:pt x="11" y="59"/>
                      </a:lnTo>
                      <a:lnTo>
                        <a:pt x="16" y="63"/>
                      </a:lnTo>
                      <a:lnTo>
                        <a:pt x="21" y="66"/>
                      </a:lnTo>
                      <a:lnTo>
                        <a:pt x="29" y="67"/>
                      </a:lnTo>
                      <a:lnTo>
                        <a:pt x="35" y="69"/>
                      </a:lnTo>
                      <a:lnTo>
                        <a:pt x="35" y="69"/>
                      </a:lnTo>
                      <a:lnTo>
                        <a:pt x="42" y="67"/>
                      </a:lnTo>
                      <a:lnTo>
                        <a:pt x="48" y="66"/>
                      </a:lnTo>
                      <a:lnTo>
                        <a:pt x="54" y="63"/>
                      </a:lnTo>
                      <a:lnTo>
                        <a:pt x="59" y="59"/>
                      </a:lnTo>
                      <a:lnTo>
                        <a:pt x="63" y="54"/>
                      </a:lnTo>
                      <a:lnTo>
                        <a:pt x="66" y="48"/>
                      </a:lnTo>
                      <a:lnTo>
                        <a:pt x="68" y="42"/>
                      </a:lnTo>
                      <a:lnTo>
                        <a:pt x="69" y="35"/>
                      </a:lnTo>
                      <a:lnTo>
                        <a:pt x="69" y="35"/>
                      </a:lnTo>
                      <a:lnTo>
                        <a:pt x="68" y="27"/>
                      </a:lnTo>
                      <a:lnTo>
                        <a:pt x="66" y="21"/>
                      </a:lnTo>
                      <a:lnTo>
                        <a:pt x="63" y="16"/>
                      </a:lnTo>
                      <a:lnTo>
                        <a:pt x="59" y="10"/>
                      </a:lnTo>
                      <a:lnTo>
                        <a:pt x="54" y="7"/>
                      </a:lnTo>
                      <a:lnTo>
                        <a:pt x="48" y="4"/>
                      </a:lnTo>
                      <a:lnTo>
                        <a:pt x="42" y="2"/>
                      </a:lnTo>
                      <a:lnTo>
                        <a:pt x="35" y="0"/>
                      </a:lnTo>
                      <a:lnTo>
                        <a:pt x="35" y="0"/>
                      </a:lnTo>
                      <a:lnTo>
                        <a:pt x="29" y="2"/>
                      </a:lnTo>
                      <a:lnTo>
                        <a:pt x="21" y="4"/>
                      </a:lnTo>
                      <a:lnTo>
                        <a:pt x="16" y="7"/>
                      </a:lnTo>
                      <a:lnTo>
                        <a:pt x="11" y="10"/>
                      </a:lnTo>
                      <a:lnTo>
                        <a:pt x="7" y="16"/>
                      </a:lnTo>
                      <a:lnTo>
                        <a:pt x="4" y="21"/>
                      </a:lnTo>
                      <a:lnTo>
                        <a:pt x="2" y="27"/>
                      </a:lnTo>
                      <a:lnTo>
                        <a:pt x="0" y="35"/>
                      </a:lnTo>
                      <a:lnTo>
                        <a:pt x="0" y="35"/>
                      </a:lnTo>
                      <a:close/>
                    </a:path>
                  </a:pathLst>
                </a:custGeom>
                <a:solidFill>
                  <a:srgbClr val="D0D5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5" name="Freeform 70"/>
                <p:cNvSpPr>
                  <a:spLocks/>
                </p:cNvSpPr>
                <p:nvPr/>
              </p:nvSpPr>
              <p:spPr bwMode="auto">
                <a:xfrm>
                  <a:off x="-261202" y="1670448"/>
                  <a:ext cx="49213" cy="25400"/>
                </a:xfrm>
                <a:custGeom>
                  <a:avLst/>
                  <a:gdLst>
                    <a:gd name="T0" fmla="*/ 159 w 159"/>
                    <a:gd name="T1" fmla="*/ 66 h 78"/>
                    <a:gd name="T2" fmla="*/ 159 w 159"/>
                    <a:gd name="T3" fmla="*/ 66 h 78"/>
                    <a:gd name="T4" fmla="*/ 121 w 159"/>
                    <a:gd name="T5" fmla="*/ 71 h 78"/>
                    <a:gd name="T6" fmla="*/ 82 w 159"/>
                    <a:gd name="T7" fmla="*/ 75 h 78"/>
                    <a:gd name="T8" fmla="*/ 42 w 159"/>
                    <a:gd name="T9" fmla="*/ 77 h 78"/>
                    <a:gd name="T10" fmla="*/ 0 w 159"/>
                    <a:gd name="T11" fmla="*/ 78 h 78"/>
                    <a:gd name="T12" fmla="*/ 0 w 159"/>
                    <a:gd name="T13" fmla="*/ 0 h 78"/>
                    <a:gd name="T14" fmla="*/ 0 w 159"/>
                    <a:gd name="T15" fmla="*/ 0 h 78"/>
                    <a:gd name="T16" fmla="*/ 26 w 159"/>
                    <a:gd name="T17" fmla="*/ 2 h 78"/>
                    <a:gd name="T18" fmla="*/ 49 w 159"/>
                    <a:gd name="T19" fmla="*/ 5 h 78"/>
                    <a:gd name="T20" fmla="*/ 72 w 159"/>
                    <a:gd name="T21" fmla="*/ 10 h 78"/>
                    <a:gd name="T22" fmla="*/ 93 w 159"/>
                    <a:gd name="T23" fmla="*/ 19 h 78"/>
                    <a:gd name="T24" fmla="*/ 113 w 159"/>
                    <a:gd name="T25" fmla="*/ 27 h 78"/>
                    <a:gd name="T26" fmla="*/ 131 w 159"/>
                    <a:gd name="T27" fmla="*/ 39 h 78"/>
                    <a:gd name="T28" fmla="*/ 146 w 159"/>
                    <a:gd name="T29" fmla="*/ 52 h 78"/>
                    <a:gd name="T30" fmla="*/ 159 w 159"/>
                    <a:gd name="T31" fmla="*/ 66 h 78"/>
                    <a:gd name="T32" fmla="*/ 159 w 159"/>
                    <a:gd name="T33" fmla="*/ 6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9" h="78">
                      <a:moveTo>
                        <a:pt x="159" y="66"/>
                      </a:moveTo>
                      <a:lnTo>
                        <a:pt x="159" y="66"/>
                      </a:lnTo>
                      <a:lnTo>
                        <a:pt x="121" y="71"/>
                      </a:lnTo>
                      <a:lnTo>
                        <a:pt x="82" y="75"/>
                      </a:lnTo>
                      <a:lnTo>
                        <a:pt x="42" y="77"/>
                      </a:lnTo>
                      <a:lnTo>
                        <a:pt x="0" y="78"/>
                      </a:lnTo>
                      <a:lnTo>
                        <a:pt x="0" y="0"/>
                      </a:lnTo>
                      <a:lnTo>
                        <a:pt x="0" y="0"/>
                      </a:lnTo>
                      <a:lnTo>
                        <a:pt x="26" y="2"/>
                      </a:lnTo>
                      <a:lnTo>
                        <a:pt x="49" y="5"/>
                      </a:lnTo>
                      <a:lnTo>
                        <a:pt x="72" y="10"/>
                      </a:lnTo>
                      <a:lnTo>
                        <a:pt x="93" y="19"/>
                      </a:lnTo>
                      <a:lnTo>
                        <a:pt x="113" y="27"/>
                      </a:lnTo>
                      <a:lnTo>
                        <a:pt x="131" y="39"/>
                      </a:lnTo>
                      <a:lnTo>
                        <a:pt x="146" y="52"/>
                      </a:lnTo>
                      <a:lnTo>
                        <a:pt x="159" y="66"/>
                      </a:lnTo>
                      <a:lnTo>
                        <a:pt x="159" y="66"/>
                      </a:lnTo>
                      <a:close/>
                    </a:path>
                  </a:pathLst>
                </a:custGeom>
                <a:solidFill>
                  <a:srgbClr val="D0D5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6" name="Freeform 71"/>
                <p:cNvSpPr>
                  <a:spLocks/>
                </p:cNvSpPr>
                <p:nvPr/>
              </p:nvSpPr>
              <p:spPr bwMode="auto">
                <a:xfrm>
                  <a:off x="-385028" y="1578372"/>
                  <a:ext cx="11113" cy="4763"/>
                </a:xfrm>
                <a:custGeom>
                  <a:avLst/>
                  <a:gdLst>
                    <a:gd name="T0" fmla="*/ 37 w 37"/>
                    <a:gd name="T1" fmla="*/ 0 h 18"/>
                    <a:gd name="T2" fmla="*/ 0 w 37"/>
                    <a:gd name="T3" fmla="*/ 18 h 18"/>
                    <a:gd name="T4" fmla="*/ 0 w 37"/>
                    <a:gd name="T5" fmla="*/ 18 h 18"/>
                    <a:gd name="T6" fmla="*/ 37 w 37"/>
                    <a:gd name="T7" fmla="*/ 0 h 18"/>
                    <a:gd name="T8" fmla="*/ 37 w 37"/>
                    <a:gd name="T9" fmla="*/ 0 h 18"/>
                  </a:gdLst>
                  <a:ahLst/>
                  <a:cxnLst>
                    <a:cxn ang="0">
                      <a:pos x="T0" y="T1"/>
                    </a:cxn>
                    <a:cxn ang="0">
                      <a:pos x="T2" y="T3"/>
                    </a:cxn>
                    <a:cxn ang="0">
                      <a:pos x="T4" y="T5"/>
                    </a:cxn>
                    <a:cxn ang="0">
                      <a:pos x="T6" y="T7"/>
                    </a:cxn>
                    <a:cxn ang="0">
                      <a:pos x="T8" y="T9"/>
                    </a:cxn>
                  </a:cxnLst>
                  <a:rect l="0" t="0" r="r" b="b"/>
                  <a:pathLst>
                    <a:path w="37" h="18">
                      <a:moveTo>
                        <a:pt x="37" y="0"/>
                      </a:moveTo>
                      <a:lnTo>
                        <a:pt x="0" y="18"/>
                      </a:lnTo>
                      <a:lnTo>
                        <a:pt x="0" y="18"/>
                      </a:lnTo>
                      <a:lnTo>
                        <a:pt x="37" y="0"/>
                      </a:lnTo>
                      <a:lnTo>
                        <a:pt x="37" y="0"/>
                      </a:lnTo>
                      <a:close/>
                    </a:path>
                  </a:pathLst>
                </a:custGeom>
                <a:solidFill>
                  <a:srgbClr val="1304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7" name="Freeform 72"/>
                <p:cNvSpPr>
                  <a:spLocks/>
                </p:cNvSpPr>
                <p:nvPr/>
              </p:nvSpPr>
              <p:spPr bwMode="auto">
                <a:xfrm>
                  <a:off x="-385028" y="1578372"/>
                  <a:ext cx="11113" cy="4763"/>
                </a:xfrm>
                <a:custGeom>
                  <a:avLst/>
                  <a:gdLst>
                    <a:gd name="T0" fmla="*/ 37 w 37"/>
                    <a:gd name="T1" fmla="*/ 0 h 18"/>
                    <a:gd name="T2" fmla="*/ 0 w 37"/>
                    <a:gd name="T3" fmla="*/ 18 h 18"/>
                    <a:gd name="T4" fmla="*/ 0 w 37"/>
                    <a:gd name="T5" fmla="*/ 18 h 18"/>
                    <a:gd name="T6" fmla="*/ 37 w 37"/>
                    <a:gd name="T7" fmla="*/ 0 h 18"/>
                    <a:gd name="T8" fmla="*/ 37 w 37"/>
                    <a:gd name="T9" fmla="*/ 0 h 18"/>
                  </a:gdLst>
                  <a:ahLst/>
                  <a:cxnLst>
                    <a:cxn ang="0">
                      <a:pos x="T0" y="T1"/>
                    </a:cxn>
                    <a:cxn ang="0">
                      <a:pos x="T2" y="T3"/>
                    </a:cxn>
                    <a:cxn ang="0">
                      <a:pos x="T4" y="T5"/>
                    </a:cxn>
                    <a:cxn ang="0">
                      <a:pos x="T6" y="T7"/>
                    </a:cxn>
                    <a:cxn ang="0">
                      <a:pos x="T8" y="T9"/>
                    </a:cxn>
                  </a:cxnLst>
                  <a:rect l="0" t="0" r="r" b="b"/>
                  <a:pathLst>
                    <a:path w="37" h="18">
                      <a:moveTo>
                        <a:pt x="37" y="0"/>
                      </a:moveTo>
                      <a:lnTo>
                        <a:pt x="0" y="18"/>
                      </a:lnTo>
                      <a:lnTo>
                        <a:pt x="0" y="18"/>
                      </a:lnTo>
                      <a:lnTo>
                        <a:pt x="37" y="0"/>
                      </a:lnTo>
                      <a:lnTo>
                        <a:pt x="3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8" name="Freeform 73"/>
                <p:cNvSpPr>
                  <a:spLocks/>
                </p:cNvSpPr>
                <p:nvPr/>
              </p:nvSpPr>
              <p:spPr bwMode="auto">
                <a:xfrm>
                  <a:off x="-385028" y="1578372"/>
                  <a:ext cx="123826" cy="4763"/>
                </a:xfrm>
                <a:custGeom>
                  <a:avLst/>
                  <a:gdLst>
                    <a:gd name="T0" fmla="*/ 390 w 390"/>
                    <a:gd name="T1" fmla="*/ 0 h 18"/>
                    <a:gd name="T2" fmla="*/ 37 w 390"/>
                    <a:gd name="T3" fmla="*/ 0 h 18"/>
                    <a:gd name="T4" fmla="*/ 0 w 390"/>
                    <a:gd name="T5" fmla="*/ 18 h 18"/>
                    <a:gd name="T6" fmla="*/ 390 w 390"/>
                    <a:gd name="T7" fmla="*/ 18 h 18"/>
                    <a:gd name="T8" fmla="*/ 390 w 390"/>
                    <a:gd name="T9" fmla="*/ 0 h 18"/>
                  </a:gdLst>
                  <a:ahLst/>
                  <a:cxnLst>
                    <a:cxn ang="0">
                      <a:pos x="T0" y="T1"/>
                    </a:cxn>
                    <a:cxn ang="0">
                      <a:pos x="T2" y="T3"/>
                    </a:cxn>
                    <a:cxn ang="0">
                      <a:pos x="T4" y="T5"/>
                    </a:cxn>
                    <a:cxn ang="0">
                      <a:pos x="T6" y="T7"/>
                    </a:cxn>
                    <a:cxn ang="0">
                      <a:pos x="T8" y="T9"/>
                    </a:cxn>
                  </a:cxnLst>
                  <a:rect l="0" t="0" r="r" b="b"/>
                  <a:pathLst>
                    <a:path w="390" h="18">
                      <a:moveTo>
                        <a:pt x="390" y="0"/>
                      </a:moveTo>
                      <a:lnTo>
                        <a:pt x="37" y="0"/>
                      </a:lnTo>
                      <a:lnTo>
                        <a:pt x="0" y="18"/>
                      </a:lnTo>
                      <a:lnTo>
                        <a:pt x="390" y="18"/>
                      </a:lnTo>
                      <a:lnTo>
                        <a:pt x="390" y="0"/>
                      </a:lnTo>
                      <a:close/>
                    </a:path>
                  </a:pathLst>
                </a:custGeom>
                <a:solidFill>
                  <a:srgbClr val="2E95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9" name="Freeform 74"/>
                <p:cNvSpPr>
                  <a:spLocks/>
                </p:cNvSpPr>
                <p:nvPr/>
              </p:nvSpPr>
              <p:spPr bwMode="auto">
                <a:xfrm>
                  <a:off x="-385028" y="1578372"/>
                  <a:ext cx="123826" cy="4763"/>
                </a:xfrm>
                <a:custGeom>
                  <a:avLst/>
                  <a:gdLst>
                    <a:gd name="T0" fmla="*/ 390 w 390"/>
                    <a:gd name="T1" fmla="*/ 0 h 18"/>
                    <a:gd name="T2" fmla="*/ 37 w 390"/>
                    <a:gd name="T3" fmla="*/ 0 h 18"/>
                    <a:gd name="T4" fmla="*/ 0 w 390"/>
                    <a:gd name="T5" fmla="*/ 18 h 18"/>
                    <a:gd name="T6" fmla="*/ 390 w 390"/>
                    <a:gd name="T7" fmla="*/ 18 h 18"/>
                    <a:gd name="T8" fmla="*/ 390 w 390"/>
                    <a:gd name="T9" fmla="*/ 0 h 18"/>
                  </a:gdLst>
                  <a:ahLst/>
                  <a:cxnLst>
                    <a:cxn ang="0">
                      <a:pos x="T0" y="T1"/>
                    </a:cxn>
                    <a:cxn ang="0">
                      <a:pos x="T2" y="T3"/>
                    </a:cxn>
                    <a:cxn ang="0">
                      <a:pos x="T4" y="T5"/>
                    </a:cxn>
                    <a:cxn ang="0">
                      <a:pos x="T6" y="T7"/>
                    </a:cxn>
                    <a:cxn ang="0">
                      <a:pos x="T8" y="T9"/>
                    </a:cxn>
                  </a:cxnLst>
                  <a:rect l="0" t="0" r="r" b="b"/>
                  <a:pathLst>
                    <a:path w="390" h="18">
                      <a:moveTo>
                        <a:pt x="390" y="0"/>
                      </a:moveTo>
                      <a:lnTo>
                        <a:pt x="37" y="0"/>
                      </a:lnTo>
                      <a:lnTo>
                        <a:pt x="0" y="18"/>
                      </a:lnTo>
                      <a:lnTo>
                        <a:pt x="390" y="18"/>
                      </a:lnTo>
                      <a:lnTo>
                        <a:pt x="39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0" name="Rectangle 75"/>
                <p:cNvSpPr>
                  <a:spLocks noChangeArrowheads="1"/>
                </p:cNvSpPr>
                <p:nvPr/>
              </p:nvSpPr>
              <p:spPr bwMode="auto">
                <a:xfrm>
                  <a:off x="-261202" y="1578372"/>
                  <a:ext cx="1588" cy="4763"/>
                </a:xfrm>
                <a:prstGeom prst="rect">
                  <a:avLst/>
                </a:prstGeom>
                <a:solidFill>
                  <a:srgbClr val="1304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1" name="Rectangle 76"/>
                <p:cNvSpPr>
                  <a:spLocks noChangeArrowheads="1"/>
                </p:cNvSpPr>
                <p:nvPr/>
              </p:nvSpPr>
              <p:spPr bwMode="auto">
                <a:xfrm>
                  <a:off x="-261202" y="1578372"/>
                  <a:ext cx="1588"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2" name="Freeform 77"/>
                <p:cNvSpPr>
                  <a:spLocks/>
                </p:cNvSpPr>
                <p:nvPr/>
              </p:nvSpPr>
              <p:spPr bwMode="auto">
                <a:xfrm>
                  <a:off x="-261202" y="1578372"/>
                  <a:ext cx="0" cy="4763"/>
                </a:xfrm>
                <a:custGeom>
                  <a:avLst/>
                  <a:gdLst>
                    <a:gd name="T0" fmla="*/ 0 h 18"/>
                    <a:gd name="T1" fmla="*/ 0 h 18"/>
                    <a:gd name="T2" fmla="*/ 0 h 18"/>
                    <a:gd name="T3" fmla="*/ 18 h 18"/>
                    <a:gd name="T4" fmla="*/ 18 h 18"/>
                    <a:gd name="T5" fmla="*/ 0 h 18"/>
                  </a:gdLst>
                  <a:ahLst/>
                  <a:cxnLst>
                    <a:cxn ang="0">
                      <a:pos x="0" y="T0"/>
                    </a:cxn>
                    <a:cxn ang="0">
                      <a:pos x="0" y="T1"/>
                    </a:cxn>
                    <a:cxn ang="0">
                      <a:pos x="0" y="T2"/>
                    </a:cxn>
                    <a:cxn ang="0">
                      <a:pos x="0" y="T3"/>
                    </a:cxn>
                    <a:cxn ang="0">
                      <a:pos x="0" y="T4"/>
                    </a:cxn>
                    <a:cxn ang="0">
                      <a:pos x="0" y="T5"/>
                    </a:cxn>
                  </a:cxnLst>
                  <a:rect l="0" t="0" r="r" b="b"/>
                  <a:pathLst>
                    <a:path h="18">
                      <a:moveTo>
                        <a:pt x="0" y="0"/>
                      </a:moveTo>
                      <a:lnTo>
                        <a:pt x="0" y="0"/>
                      </a:lnTo>
                      <a:lnTo>
                        <a:pt x="0" y="0"/>
                      </a:lnTo>
                      <a:lnTo>
                        <a:pt x="0" y="18"/>
                      </a:lnTo>
                      <a:lnTo>
                        <a:pt x="0" y="18"/>
                      </a:lnTo>
                      <a:lnTo>
                        <a:pt x="0" y="0"/>
                      </a:lnTo>
                      <a:close/>
                    </a:path>
                  </a:pathLst>
                </a:custGeom>
                <a:solidFill>
                  <a:srgbClr val="2E95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3" name="Freeform 78"/>
                <p:cNvSpPr>
                  <a:spLocks/>
                </p:cNvSpPr>
                <p:nvPr/>
              </p:nvSpPr>
              <p:spPr bwMode="auto">
                <a:xfrm>
                  <a:off x="-261202" y="1578372"/>
                  <a:ext cx="0" cy="4763"/>
                </a:xfrm>
                <a:custGeom>
                  <a:avLst/>
                  <a:gdLst>
                    <a:gd name="T0" fmla="*/ 0 h 18"/>
                    <a:gd name="T1" fmla="*/ 0 h 18"/>
                    <a:gd name="T2" fmla="*/ 0 h 18"/>
                    <a:gd name="T3" fmla="*/ 18 h 18"/>
                    <a:gd name="T4" fmla="*/ 18 h 18"/>
                    <a:gd name="T5" fmla="*/ 0 h 18"/>
                  </a:gdLst>
                  <a:ahLst/>
                  <a:cxnLst>
                    <a:cxn ang="0">
                      <a:pos x="0" y="T0"/>
                    </a:cxn>
                    <a:cxn ang="0">
                      <a:pos x="0" y="T1"/>
                    </a:cxn>
                    <a:cxn ang="0">
                      <a:pos x="0" y="T2"/>
                    </a:cxn>
                    <a:cxn ang="0">
                      <a:pos x="0" y="T3"/>
                    </a:cxn>
                    <a:cxn ang="0">
                      <a:pos x="0" y="T4"/>
                    </a:cxn>
                    <a:cxn ang="0">
                      <a:pos x="0" y="T5"/>
                    </a:cxn>
                  </a:cxnLst>
                  <a:rect l="0" t="0" r="r" b="b"/>
                  <a:pathLst>
                    <a:path h="18">
                      <a:moveTo>
                        <a:pt x="0" y="0"/>
                      </a:moveTo>
                      <a:lnTo>
                        <a:pt x="0" y="0"/>
                      </a:lnTo>
                      <a:lnTo>
                        <a:pt x="0" y="0"/>
                      </a:lnTo>
                      <a:lnTo>
                        <a:pt x="0" y="18"/>
                      </a:lnTo>
                      <a:lnTo>
                        <a:pt x="0" y="1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4" name="Freeform 79"/>
                <p:cNvSpPr>
                  <a:spLocks/>
                </p:cNvSpPr>
                <p:nvPr/>
              </p:nvSpPr>
              <p:spPr bwMode="auto">
                <a:xfrm>
                  <a:off x="-261202" y="1578372"/>
                  <a:ext cx="122238" cy="4763"/>
                </a:xfrm>
                <a:custGeom>
                  <a:avLst/>
                  <a:gdLst>
                    <a:gd name="T0" fmla="*/ 354 w 389"/>
                    <a:gd name="T1" fmla="*/ 0 h 18"/>
                    <a:gd name="T2" fmla="*/ 0 w 389"/>
                    <a:gd name="T3" fmla="*/ 0 h 18"/>
                    <a:gd name="T4" fmla="*/ 0 w 389"/>
                    <a:gd name="T5" fmla="*/ 18 h 18"/>
                    <a:gd name="T6" fmla="*/ 389 w 389"/>
                    <a:gd name="T7" fmla="*/ 18 h 18"/>
                    <a:gd name="T8" fmla="*/ 354 w 389"/>
                    <a:gd name="T9" fmla="*/ 0 h 18"/>
                  </a:gdLst>
                  <a:ahLst/>
                  <a:cxnLst>
                    <a:cxn ang="0">
                      <a:pos x="T0" y="T1"/>
                    </a:cxn>
                    <a:cxn ang="0">
                      <a:pos x="T2" y="T3"/>
                    </a:cxn>
                    <a:cxn ang="0">
                      <a:pos x="T4" y="T5"/>
                    </a:cxn>
                    <a:cxn ang="0">
                      <a:pos x="T6" y="T7"/>
                    </a:cxn>
                    <a:cxn ang="0">
                      <a:pos x="T8" y="T9"/>
                    </a:cxn>
                  </a:cxnLst>
                  <a:rect l="0" t="0" r="r" b="b"/>
                  <a:pathLst>
                    <a:path w="389" h="18">
                      <a:moveTo>
                        <a:pt x="354" y="0"/>
                      </a:moveTo>
                      <a:lnTo>
                        <a:pt x="0" y="0"/>
                      </a:lnTo>
                      <a:lnTo>
                        <a:pt x="0" y="18"/>
                      </a:lnTo>
                      <a:lnTo>
                        <a:pt x="389" y="18"/>
                      </a:lnTo>
                      <a:lnTo>
                        <a:pt x="354" y="0"/>
                      </a:lnTo>
                      <a:close/>
                    </a:path>
                  </a:pathLst>
                </a:custGeom>
                <a:solidFill>
                  <a:srgbClr val="0078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5" name="Freeform 80"/>
                <p:cNvSpPr>
                  <a:spLocks/>
                </p:cNvSpPr>
                <p:nvPr/>
              </p:nvSpPr>
              <p:spPr bwMode="auto">
                <a:xfrm>
                  <a:off x="-261202" y="1578372"/>
                  <a:ext cx="122238" cy="4763"/>
                </a:xfrm>
                <a:custGeom>
                  <a:avLst/>
                  <a:gdLst>
                    <a:gd name="T0" fmla="*/ 354 w 389"/>
                    <a:gd name="T1" fmla="*/ 0 h 18"/>
                    <a:gd name="T2" fmla="*/ 0 w 389"/>
                    <a:gd name="T3" fmla="*/ 0 h 18"/>
                    <a:gd name="T4" fmla="*/ 0 w 389"/>
                    <a:gd name="T5" fmla="*/ 18 h 18"/>
                    <a:gd name="T6" fmla="*/ 389 w 389"/>
                    <a:gd name="T7" fmla="*/ 18 h 18"/>
                    <a:gd name="T8" fmla="*/ 354 w 389"/>
                    <a:gd name="T9" fmla="*/ 0 h 18"/>
                  </a:gdLst>
                  <a:ahLst/>
                  <a:cxnLst>
                    <a:cxn ang="0">
                      <a:pos x="T0" y="T1"/>
                    </a:cxn>
                    <a:cxn ang="0">
                      <a:pos x="T2" y="T3"/>
                    </a:cxn>
                    <a:cxn ang="0">
                      <a:pos x="T4" y="T5"/>
                    </a:cxn>
                    <a:cxn ang="0">
                      <a:pos x="T6" y="T7"/>
                    </a:cxn>
                    <a:cxn ang="0">
                      <a:pos x="T8" y="T9"/>
                    </a:cxn>
                  </a:cxnLst>
                  <a:rect l="0" t="0" r="r" b="b"/>
                  <a:pathLst>
                    <a:path w="389" h="18">
                      <a:moveTo>
                        <a:pt x="354" y="0"/>
                      </a:moveTo>
                      <a:lnTo>
                        <a:pt x="0" y="0"/>
                      </a:lnTo>
                      <a:lnTo>
                        <a:pt x="0" y="18"/>
                      </a:lnTo>
                      <a:lnTo>
                        <a:pt x="389" y="18"/>
                      </a:lnTo>
                      <a:lnTo>
                        <a:pt x="3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6" name="Freeform 81"/>
                <p:cNvSpPr>
                  <a:spLocks/>
                </p:cNvSpPr>
                <p:nvPr/>
              </p:nvSpPr>
              <p:spPr bwMode="auto">
                <a:xfrm>
                  <a:off x="-354865" y="1552972"/>
                  <a:ext cx="185739" cy="11113"/>
                </a:xfrm>
                <a:custGeom>
                  <a:avLst/>
                  <a:gdLst>
                    <a:gd name="T0" fmla="*/ 583 w 583"/>
                    <a:gd name="T1" fmla="*/ 16 h 33"/>
                    <a:gd name="T2" fmla="*/ 583 w 583"/>
                    <a:gd name="T3" fmla="*/ 16 h 33"/>
                    <a:gd name="T4" fmla="*/ 582 w 583"/>
                    <a:gd name="T5" fmla="*/ 22 h 33"/>
                    <a:gd name="T6" fmla="*/ 578 w 583"/>
                    <a:gd name="T7" fmla="*/ 28 h 33"/>
                    <a:gd name="T8" fmla="*/ 573 w 583"/>
                    <a:gd name="T9" fmla="*/ 32 h 33"/>
                    <a:gd name="T10" fmla="*/ 567 w 583"/>
                    <a:gd name="T11" fmla="*/ 33 h 33"/>
                    <a:gd name="T12" fmla="*/ 16 w 583"/>
                    <a:gd name="T13" fmla="*/ 33 h 33"/>
                    <a:gd name="T14" fmla="*/ 16 w 583"/>
                    <a:gd name="T15" fmla="*/ 33 h 33"/>
                    <a:gd name="T16" fmla="*/ 10 w 583"/>
                    <a:gd name="T17" fmla="*/ 32 h 33"/>
                    <a:gd name="T18" fmla="*/ 5 w 583"/>
                    <a:gd name="T19" fmla="*/ 28 h 33"/>
                    <a:gd name="T20" fmla="*/ 1 w 583"/>
                    <a:gd name="T21" fmla="*/ 22 h 33"/>
                    <a:gd name="T22" fmla="*/ 0 w 583"/>
                    <a:gd name="T23" fmla="*/ 16 h 33"/>
                    <a:gd name="T24" fmla="*/ 0 w 583"/>
                    <a:gd name="T25" fmla="*/ 16 h 33"/>
                    <a:gd name="T26" fmla="*/ 1 w 583"/>
                    <a:gd name="T27" fmla="*/ 10 h 33"/>
                    <a:gd name="T28" fmla="*/ 5 w 583"/>
                    <a:gd name="T29" fmla="*/ 5 h 33"/>
                    <a:gd name="T30" fmla="*/ 10 w 583"/>
                    <a:gd name="T31" fmla="*/ 1 h 33"/>
                    <a:gd name="T32" fmla="*/ 16 w 583"/>
                    <a:gd name="T33" fmla="*/ 0 h 33"/>
                    <a:gd name="T34" fmla="*/ 567 w 583"/>
                    <a:gd name="T35" fmla="*/ 0 h 33"/>
                    <a:gd name="T36" fmla="*/ 567 w 583"/>
                    <a:gd name="T37" fmla="*/ 0 h 33"/>
                    <a:gd name="T38" fmla="*/ 573 w 583"/>
                    <a:gd name="T39" fmla="*/ 1 h 33"/>
                    <a:gd name="T40" fmla="*/ 578 w 583"/>
                    <a:gd name="T41" fmla="*/ 5 h 33"/>
                    <a:gd name="T42" fmla="*/ 582 w 583"/>
                    <a:gd name="T43" fmla="*/ 10 h 33"/>
                    <a:gd name="T44" fmla="*/ 583 w 583"/>
                    <a:gd name="T45" fmla="*/ 16 h 33"/>
                    <a:gd name="T46" fmla="*/ 583 w 583"/>
                    <a:gd name="T47"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3" h="33">
                      <a:moveTo>
                        <a:pt x="583" y="16"/>
                      </a:moveTo>
                      <a:lnTo>
                        <a:pt x="583" y="16"/>
                      </a:lnTo>
                      <a:lnTo>
                        <a:pt x="582" y="22"/>
                      </a:lnTo>
                      <a:lnTo>
                        <a:pt x="578" y="28"/>
                      </a:lnTo>
                      <a:lnTo>
                        <a:pt x="573" y="32"/>
                      </a:lnTo>
                      <a:lnTo>
                        <a:pt x="567" y="33"/>
                      </a:lnTo>
                      <a:lnTo>
                        <a:pt x="16" y="33"/>
                      </a:lnTo>
                      <a:lnTo>
                        <a:pt x="16" y="33"/>
                      </a:lnTo>
                      <a:lnTo>
                        <a:pt x="10" y="32"/>
                      </a:lnTo>
                      <a:lnTo>
                        <a:pt x="5" y="28"/>
                      </a:lnTo>
                      <a:lnTo>
                        <a:pt x="1" y="22"/>
                      </a:lnTo>
                      <a:lnTo>
                        <a:pt x="0" y="16"/>
                      </a:lnTo>
                      <a:lnTo>
                        <a:pt x="0" y="16"/>
                      </a:lnTo>
                      <a:lnTo>
                        <a:pt x="1" y="10"/>
                      </a:lnTo>
                      <a:lnTo>
                        <a:pt x="5" y="5"/>
                      </a:lnTo>
                      <a:lnTo>
                        <a:pt x="10" y="1"/>
                      </a:lnTo>
                      <a:lnTo>
                        <a:pt x="16" y="0"/>
                      </a:lnTo>
                      <a:lnTo>
                        <a:pt x="567" y="0"/>
                      </a:lnTo>
                      <a:lnTo>
                        <a:pt x="567" y="0"/>
                      </a:lnTo>
                      <a:lnTo>
                        <a:pt x="573" y="1"/>
                      </a:lnTo>
                      <a:lnTo>
                        <a:pt x="578" y="5"/>
                      </a:lnTo>
                      <a:lnTo>
                        <a:pt x="582" y="10"/>
                      </a:lnTo>
                      <a:lnTo>
                        <a:pt x="583" y="16"/>
                      </a:lnTo>
                      <a:lnTo>
                        <a:pt x="583"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7" name="Freeform 82"/>
                <p:cNvSpPr>
                  <a:spLocks noEditPoints="1"/>
                </p:cNvSpPr>
                <p:nvPr/>
              </p:nvSpPr>
              <p:spPr bwMode="auto">
                <a:xfrm>
                  <a:off x="-413603" y="1625998"/>
                  <a:ext cx="0" cy="1588"/>
                </a:xfrm>
                <a:custGeom>
                  <a:avLst/>
                  <a:gdLst>
                    <a:gd name="T0" fmla="*/ 4 h 4"/>
                    <a:gd name="T1" fmla="*/ 4 h 4"/>
                    <a:gd name="T2" fmla="*/ 4 h 4"/>
                    <a:gd name="T3" fmla="*/ 4 h 4"/>
                    <a:gd name="T4" fmla="*/ 4 h 4"/>
                    <a:gd name="T5" fmla="*/ 4 h 4"/>
                    <a:gd name="T6" fmla="*/ 4 h 4"/>
                    <a:gd name="T7" fmla="*/ 4 h 4"/>
                    <a:gd name="T8" fmla="*/ 4 h 4"/>
                    <a:gd name="T9" fmla="*/ 4 h 4"/>
                    <a:gd name="T10" fmla="*/ 2 h 4"/>
                    <a:gd name="T11" fmla="*/ 2 h 4"/>
                    <a:gd name="T12" fmla="*/ 4 h 4"/>
                    <a:gd name="T13" fmla="*/ 4 h 4"/>
                    <a:gd name="T14" fmla="*/ 2 h 4"/>
                    <a:gd name="T15" fmla="*/ 2 h 4"/>
                    <a:gd name="T16" fmla="*/ 2 h 4"/>
                    <a:gd name="T17" fmla="*/ 2 h 4"/>
                    <a:gd name="T18" fmla="*/ 2 h 4"/>
                    <a:gd name="T19" fmla="*/ 2 h 4"/>
                    <a:gd name="T20" fmla="*/ 1 h 4"/>
                    <a:gd name="T21" fmla="*/ 1 h 4"/>
                    <a:gd name="T22" fmla="*/ 1 h 4"/>
                    <a:gd name="T23" fmla="*/ 1 h 4"/>
                    <a:gd name="T24" fmla="*/ 1 h 4"/>
                    <a:gd name="T25" fmla="*/ 0 h 4"/>
                    <a:gd name="T26" fmla="*/ 0 h 4"/>
                    <a:gd name="T27" fmla="*/ 1 h 4"/>
                    <a:gd name="T28" fmla="*/ 1 h 4"/>
                    <a:gd name="T29" fmla="*/ 0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Lst>
                  <a:rect l="0" t="0" r="r" b="b"/>
                  <a:pathLst>
                    <a:path h="4">
                      <a:moveTo>
                        <a:pt x="0" y="4"/>
                      </a:moveTo>
                      <a:lnTo>
                        <a:pt x="0" y="4"/>
                      </a:lnTo>
                      <a:lnTo>
                        <a:pt x="0" y="4"/>
                      </a:lnTo>
                      <a:lnTo>
                        <a:pt x="0" y="4"/>
                      </a:lnTo>
                      <a:lnTo>
                        <a:pt x="0" y="4"/>
                      </a:lnTo>
                      <a:close/>
                      <a:moveTo>
                        <a:pt x="0" y="4"/>
                      </a:moveTo>
                      <a:lnTo>
                        <a:pt x="0" y="4"/>
                      </a:lnTo>
                      <a:lnTo>
                        <a:pt x="0" y="4"/>
                      </a:lnTo>
                      <a:lnTo>
                        <a:pt x="0" y="4"/>
                      </a:lnTo>
                      <a:lnTo>
                        <a:pt x="0" y="4"/>
                      </a:lnTo>
                      <a:close/>
                      <a:moveTo>
                        <a:pt x="0" y="2"/>
                      </a:moveTo>
                      <a:lnTo>
                        <a:pt x="0" y="2"/>
                      </a:lnTo>
                      <a:lnTo>
                        <a:pt x="0" y="4"/>
                      </a:lnTo>
                      <a:lnTo>
                        <a:pt x="0" y="4"/>
                      </a:lnTo>
                      <a:lnTo>
                        <a:pt x="0" y="2"/>
                      </a:lnTo>
                      <a:close/>
                      <a:moveTo>
                        <a:pt x="0" y="2"/>
                      </a:moveTo>
                      <a:lnTo>
                        <a:pt x="0" y="2"/>
                      </a:lnTo>
                      <a:lnTo>
                        <a:pt x="0" y="2"/>
                      </a:lnTo>
                      <a:lnTo>
                        <a:pt x="0" y="2"/>
                      </a:lnTo>
                      <a:lnTo>
                        <a:pt x="0" y="2"/>
                      </a:lnTo>
                      <a:close/>
                      <a:moveTo>
                        <a:pt x="0" y="1"/>
                      </a:moveTo>
                      <a:lnTo>
                        <a:pt x="0" y="1"/>
                      </a:lnTo>
                      <a:lnTo>
                        <a:pt x="0" y="1"/>
                      </a:lnTo>
                      <a:lnTo>
                        <a:pt x="0" y="1"/>
                      </a:lnTo>
                      <a:lnTo>
                        <a:pt x="0" y="1"/>
                      </a:lnTo>
                      <a:close/>
                      <a:moveTo>
                        <a:pt x="0" y="0"/>
                      </a:moveTo>
                      <a:lnTo>
                        <a:pt x="0" y="0"/>
                      </a:lnTo>
                      <a:lnTo>
                        <a:pt x="0" y="1"/>
                      </a:lnTo>
                      <a:lnTo>
                        <a:pt x="0" y="1"/>
                      </a:lnTo>
                      <a:lnTo>
                        <a:pt x="0" y="0"/>
                      </a:lnTo>
                      <a:close/>
                    </a:path>
                  </a:pathLst>
                </a:custGeom>
                <a:solidFill>
                  <a:srgbClr val="1304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8" name="Rectangle 83"/>
                <p:cNvSpPr>
                  <a:spLocks noChangeArrowheads="1"/>
                </p:cNvSpPr>
                <p:nvPr/>
              </p:nvSpPr>
              <p:spPr bwMode="auto">
                <a:xfrm>
                  <a:off x="-413603" y="162758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9" name="Rectangle 84"/>
                <p:cNvSpPr>
                  <a:spLocks noChangeArrowheads="1"/>
                </p:cNvSpPr>
                <p:nvPr/>
              </p:nvSpPr>
              <p:spPr bwMode="auto">
                <a:xfrm>
                  <a:off x="-413603" y="162758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0" name="Rectangle 85"/>
                <p:cNvSpPr>
                  <a:spLocks noChangeArrowheads="1"/>
                </p:cNvSpPr>
                <p:nvPr/>
              </p:nvSpPr>
              <p:spPr bwMode="auto">
                <a:xfrm>
                  <a:off x="-413603" y="162599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1" name="Rectangle 86"/>
                <p:cNvSpPr>
                  <a:spLocks noChangeArrowheads="1"/>
                </p:cNvSpPr>
                <p:nvPr/>
              </p:nvSpPr>
              <p:spPr bwMode="auto">
                <a:xfrm>
                  <a:off x="-413603" y="162599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2" name="Rectangle 87"/>
                <p:cNvSpPr>
                  <a:spLocks noChangeArrowheads="1"/>
                </p:cNvSpPr>
                <p:nvPr/>
              </p:nvSpPr>
              <p:spPr bwMode="auto">
                <a:xfrm>
                  <a:off x="-413603" y="162599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3" name="Rectangle 88"/>
                <p:cNvSpPr>
                  <a:spLocks noChangeArrowheads="1"/>
                </p:cNvSpPr>
                <p:nvPr/>
              </p:nvSpPr>
              <p:spPr bwMode="auto">
                <a:xfrm>
                  <a:off x="-413603" y="162599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4" name="Freeform 89"/>
                <p:cNvSpPr>
                  <a:spLocks/>
                </p:cNvSpPr>
                <p:nvPr/>
              </p:nvSpPr>
              <p:spPr bwMode="auto">
                <a:xfrm>
                  <a:off x="-413603" y="1625998"/>
                  <a:ext cx="152401" cy="11113"/>
                </a:xfrm>
                <a:custGeom>
                  <a:avLst/>
                  <a:gdLst>
                    <a:gd name="T0" fmla="*/ 476 w 476"/>
                    <a:gd name="T1" fmla="*/ 0 h 33"/>
                    <a:gd name="T2" fmla="*/ 0 w 476"/>
                    <a:gd name="T3" fmla="*/ 0 h 33"/>
                    <a:gd name="T4" fmla="*/ 0 w 476"/>
                    <a:gd name="T5" fmla="*/ 0 h 33"/>
                    <a:gd name="T6" fmla="*/ 0 w 476"/>
                    <a:gd name="T7" fmla="*/ 0 h 33"/>
                    <a:gd name="T8" fmla="*/ 0 w 476"/>
                    <a:gd name="T9" fmla="*/ 1 h 33"/>
                    <a:gd name="T10" fmla="*/ 0 w 476"/>
                    <a:gd name="T11" fmla="*/ 1 h 33"/>
                    <a:gd name="T12" fmla="*/ 0 w 476"/>
                    <a:gd name="T13" fmla="*/ 1 h 33"/>
                    <a:gd name="T14" fmla="*/ 0 w 476"/>
                    <a:gd name="T15" fmla="*/ 1 h 33"/>
                    <a:gd name="T16" fmla="*/ 0 w 476"/>
                    <a:gd name="T17" fmla="*/ 1 h 33"/>
                    <a:gd name="T18" fmla="*/ 0 w 476"/>
                    <a:gd name="T19" fmla="*/ 1 h 33"/>
                    <a:gd name="T20" fmla="*/ 0 w 476"/>
                    <a:gd name="T21" fmla="*/ 2 h 33"/>
                    <a:gd name="T22" fmla="*/ 0 w 476"/>
                    <a:gd name="T23" fmla="*/ 2 h 33"/>
                    <a:gd name="T24" fmla="*/ 0 w 476"/>
                    <a:gd name="T25" fmla="*/ 2 h 33"/>
                    <a:gd name="T26" fmla="*/ 0 w 476"/>
                    <a:gd name="T27" fmla="*/ 2 h 33"/>
                    <a:gd name="T28" fmla="*/ 0 w 476"/>
                    <a:gd name="T29" fmla="*/ 2 h 33"/>
                    <a:gd name="T30" fmla="*/ 0 w 476"/>
                    <a:gd name="T31" fmla="*/ 2 h 33"/>
                    <a:gd name="T32" fmla="*/ 0 w 476"/>
                    <a:gd name="T33" fmla="*/ 4 h 33"/>
                    <a:gd name="T34" fmla="*/ 0 w 476"/>
                    <a:gd name="T35" fmla="*/ 4 h 33"/>
                    <a:gd name="T36" fmla="*/ 0 w 476"/>
                    <a:gd name="T37" fmla="*/ 4 h 33"/>
                    <a:gd name="T38" fmla="*/ 0 w 476"/>
                    <a:gd name="T39" fmla="*/ 4 h 33"/>
                    <a:gd name="T40" fmla="*/ 0 w 476"/>
                    <a:gd name="T41" fmla="*/ 4 h 33"/>
                    <a:gd name="T42" fmla="*/ 0 w 476"/>
                    <a:gd name="T43" fmla="*/ 4 h 33"/>
                    <a:gd name="T44" fmla="*/ 0 w 476"/>
                    <a:gd name="T45" fmla="*/ 4 h 33"/>
                    <a:gd name="T46" fmla="*/ 0 w 476"/>
                    <a:gd name="T47" fmla="*/ 4 h 33"/>
                    <a:gd name="T48" fmla="*/ 0 w 476"/>
                    <a:gd name="T49" fmla="*/ 4 h 33"/>
                    <a:gd name="T50" fmla="*/ 0 w 476"/>
                    <a:gd name="T51" fmla="*/ 4 h 33"/>
                    <a:gd name="T52" fmla="*/ 2 w 476"/>
                    <a:gd name="T53" fmla="*/ 19 h 33"/>
                    <a:gd name="T54" fmla="*/ 6 w 476"/>
                    <a:gd name="T55" fmla="*/ 33 h 33"/>
                    <a:gd name="T56" fmla="*/ 476 w 476"/>
                    <a:gd name="T57" fmla="*/ 33 h 33"/>
                    <a:gd name="T58" fmla="*/ 476 w 476"/>
                    <a:gd name="T5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76" h="33">
                      <a:moveTo>
                        <a:pt x="476" y="0"/>
                      </a:moveTo>
                      <a:lnTo>
                        <a:pt x="0" y="0"/>
                      </a:lnTo>
                      <a:lnTo>
                        <a:pt x="0" y="0"/>
                      </a:lnTo>
                      <a:lnTo>
                        <a:pt x="0" y="0"/>
                      </a:lnTo>
                      <a:lnTo>
                        <a:pt x="0" y="1"/>
                      </a:lnTo>
                      <a:lnTo>
                        <a:pt x="0" y="1"/>
                      </a:lnTo>
                      <a:lnTo>
                        <a:pt x="0" y="1"/>
                      </a:lnTo>
                      <a:lnTo>
                        <a:pt x="0" y="1"/>
                      </a:lnTo>
                      <a:lnTo>
                        <a:pt x="0" y="1"/>
                      </a:lnTo>
                      <a:lnTo>
                        <a:pt x="0" y="1"/>
                      </a:lnTo>
                      <a:lnTo>
                        <a:pt x="0" y="2"/>
                      </a:lnTo>
                      <a:lnTo>
                        <a:pt x="0" y="2"/>
                      </a:lnTo>
                      <a:lnTo>
                        <a:pt x="0" y="2"/>
                      </a:lnTo>
                      <a:lnTo>
                        <a:pt x="0" y="2"/>
                      </a:lnTo>
                      <a:lnTo>
                        <a:pt x="0" y="2"/>
                      </a:lnTo>
                      <a:lnTo>
                        <a:pt x="0" y="2"/>
                      </a:lnTo>
                      <a:lnTo>
                        <a:pt x="0" y="4"/>
                      </a:lnTo>
                      <a:lnTo>
                        <a:pt x="0" y="4"/>
                      </a:lnTo>
                      <a:lnTo>
                        <a:pt x="0" y="4"/>
                      </a:lnTo>
                      <a:lnTo>
                        <a:pt x="0" y="4"/>
                      </a:lnTo>
                      <a:lnTo>
                        <a:pt x="0" y="4"/>
                      </a:lnTo>
                      <a:lnTo>
                        <a:pt x="0" y="4"/>
                      </a:lnTo>
                      <a:lnTo>
                        <a:pt x="0" y="4"/>
                      </a:lnTo>
                      <a:lnTo>
                        <a:pt x="0" y="4"/>
                      </a:lnTo>
                      <a:lnTo>
                        <a:pt x="0" y="4"/>
                      </a:lnTo>
                      <a:lnTo>
                        <a:pt x="0" y="4"/>
                      </a:lnTo>
                      <a:lnTo>
                        <a:pt x="2" y="19"/>
                      </a:lnTo>
                      <a:lnTo>
                        <a:pt x="6" y="33"/>
                      </a:lnTo>
                      <a:lnTo>
                        <a:pt x="476" y="33"/>
                      </a:lnTo>
                      <a:lnTo>
                        <a:pt x="476" y="0"/>
                      </a:lnTo>
                      <a:close/>
                    </a:path>
                  </a:pathLst>
                </a:custGeom>
                <a:solidFill>
                  <a:srgbClr val="4685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5" name="Freeform 90"/>
                <p:cNvSpPr>
                  <a:spLocks/>
                </p:cNvSpPr>
                <p:nvPr/>
              </p:nvSpPr>
              <p:spPr bwMode="auto">
                <a:xfrm>
                  <a:off x="-413603" y="1625998"/>
                  <a:ext cx="152401" cy="11113"/>
                </a:xfrm>
                <a:custGeom>
                  <a:avLst/>
                  <a:gdLst>
                    <a:gd name="T0" fmla="*/ 476 w 476"/>
                    <a:gd name="T1" fmla="*/ 0 h 33"/>
                    <a:gd name="T2" fmla="*/ 0 w 476"/>
                    <a:gd name="T3" fmla="*/ 0 h 33"/>
                    <a:gd name="T4" fmla="*/ 0 w 476"/>
                    <a:gd name="T5" fmla="*/ 0 h 33"/>
                    <a:gd name="T6" fmla="*/ 0 w 476"/>
                    <a:gd name="T7" fmla="*/ 0 h 33"/>
                    <a:gd name="T8" fmla="*/ 0 w 476"/>
                    <a:gd name="T9" fmla="*/ 1 h 33"/>
                    <a:gd name="T10" fmla="*/ 0 w 476"/>
                    <a:gd name="T11" fmla="*/ 1 h 33"/>
                    <a:gd name="T12" fmla="*/ 0 w 476"/>
                    <a:gd name="T13" fmla="*/ 1 h 33"/>
                    <a:gd name="T14" fmla="*/ 0 w 476"/>
                    <a:gd name="T15" fmla="*/ 1 h 33"/>
                    <a:gd name="T16" fmla="*/ 0 w 476"/>
                    <a:gd name="T17" fmla="*/ 1 h 33"/>
                    <a:gd name="T18" fmla="*/ 0 w 476"/>
                    <a:gd name="T19" fmla="*/ 1 h 33"/>
                    <a:gd name="T20" fmla="*/ 0 w 476"/>
                    <a:gd name="T21" fmla="*/ 2 h 33"/>
                    <a:gd name="T22" fmla="*/ 0 w 476"/>
                    <a:gd name="T23" fmla="*/ 2 h 33"/>
                    <a:gd name="T24" fmla="*/ 0 w 476"/>
                    <a:gd name="T25" fmla="*/ 2 h 33"/>
                    <a:gd name="T26" fmla="*/ 0 w 476"/>
                    <a:gd name="T27" fmla="*/ 2 h 33"/>
                    <a:gd name="T28" fmla="*/ 0 w 476"/>
                    <a:gd name="T29" fmla="*/ 2 h 33"/>
                    <a:gd name="T30" fmla="*/ 0 w 476"/>
                    <a:gd name="T31" fmla="*/ 2 h 33"/>
                    <a:gd name="T32" fmla="*/ 0 w 476"/>
                    <a:gd name="T33" fmla="*/ 4 h 33"/>
                    <a:gd name="T34" fmla="*/ 0 w 476"/>
                    <a:gd name="T35" fmla="*/ 4 h 33"/>
                    <a:gd name="T36" fmla="*/ 0 w 476"/>
                    <a:gd name="T37" fmla="*/ 4 h 33"/>
                    <a:gd name="T38" fmla="*/ 0 w 476"/>
                    <a:gd name="T39" fmla="*/ 4 h 33"/>
                    <a:gd name="T40" fmla="*/ 0 w 476"/>
                    <a:gd name="T41" fmla="*/ 4 h 33"/>
                    <a:gd name="T42" fmla="*/ 0 w 476"/>
                    <a:gd name="T43" fmla="*/ 4 h 33"/>
                    <a:gd name="T44" fmla="*/ 0 w 476"/>
                    <a:gd name="T45" fmla="*/ 4 h 33"/>
                    <a:gd name="T46" fmla="*/ 0 w 476"/>
                    <a:gd name="T47" fmla="*/ 4 h 33"/>
                    <a:gd name="T48" fmla="*/ 0 w 476"/>
                    <a:gd name="T49" fmla="*/ 4 h 33"/>
                    <a:gd name="T50" fmla="*/ 0 w 476"/>
                    <a:gd name="T51" fmla="*/ 4 h 33"/>
                    <a:gd name="T52" fmla="*/ 2 w 476"/>
                    <a:gd name="T53" fmla="*/ 19 h 33"/>
                    <a:gd name="T54" fmla="*/ 6 w 476"/>
                    <a:gd name="T55" fmla="*/ 33 h 33"/>
                    <a:gd name="T56" fmla="*/ 476 w 476"/>
                    <a:gd name="T57" fmla="*/ 33 h 33"/>
                    <a:gd name="T58" fmla="*/ 476 w 476"/>
                    <a:gd name="T5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76" h="33">
                      <a:moveTo>
                        <a:pt x="476" y="0"/>
                      </a:moveTo>
                      <a:lnTo>
                        <a:pt x="0" y="0"/>
                      </a:lnTo>
                      <a:lnTo>
                        <a:pt x="0" y="0"/>
                      </a:lnTo>
                      <a:lnTo>
                        <a:pt x="0" y="0"/>
                      </a:lnTo>
                      <a:lnTo>
                        <a:pt x="0" y="1"/>
                      </a:lnTo>
                      <a:lnTo>
                        <a:pt x="0" y="1"/>
                      </a:lnTo>
                      <a:lnTo>
                        <a:pt x="0" y="1"/>
                      </a:lnTo>
                      <a:lnTo>
                        <a:pt x="0" y="1"/>
                      </a:lnTo>
                      <a:lnTo>
                        <a:pt x="0" y="1"/>
                      </a:lnTo>
                      <a:lnTo>
                        <a:pt x="0" y="1"/>
                      </a:lnTo>
                      <a:lnTo>
                        <a:pt x="0" y="2"/>
                      </a:lnTo>
                      <a:lnTo>
                        <a:pt x="0" y="2"/>
                      </a:lnTo>
                      <a:lnTo>
                        <a:pt x="0" y="2"/>
                      </a:lnTo>
                      <a:lnTo>
                        <a:pt x="0" y="2"/>
                      </a:lnTo>
                      <a:lnTo>
                        <a:pt x="0" y="2"/>
                      </a:lnTo>
                      <a:lnTo>
                        <a:pt x="0" y="2"/>
                      </a:lnTo>
                      <a:lnTo>
                        <a:pt x="0" y="4"/>
                      </a:lnTo>
                      <a:lnTo>
                        <a:pt x="0" y="4"/>
                      </a:lnTo>
                      <a:lnTo>
                        <a:pt x="0" y="4"/>
                      </a:lnTo>
                      <a:lnTo>
                        <a:pt x="0" y="4"/>
                      </a:lnTo>
                      <a:lnTo>
                        <a:pt x="0" y="4"/>
                      </a:lnTo>
                      <a:lnTo>
                        <a:pt x="0" y="4"/>
                      </a:lnTo>
                      <a:lnTo>
                        <a:pt x="0" y="4"/>
                      </a:lnTo>
                      <a:lnTo>
                        <a:pt x="0" y="4"/>
                      </a:lnTo>
                      <a:lnTo>
                        <a:pt x="0" y="4"/>
                      </a:lnTo>
                      <a:lnTo>
                        <a:pt x="0" y="4"/>
                      </a:lnTo>
                      <a:lnTo>
                        <a:pt x="2" y="19"/>
                      </a:lnTo>
                      <a:lnTo>
                        <a:pt x="6" y="33"/>
                      </a:lnTo>
                      <a:lnTo>
                        <a:pt x="476" y="33"/>
                      </a:lnTo>
                      <a:lnTo>
                        <a:pt x="47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6" name="Rectangle 91"/>
                <p:cNvSpPr>
                  <a:spLocks noChangeArrowheads="1"/>
                </p:cNvSpPr>
                <p:nvPr/>
              </p:nvSpPr>
              <p:spPr bwMode="auto">
                <a:xfrm>
                  <a:off x="-413603" y="1625998"/>
                  <a:ext cx="152401" cy="1588"/>
                </a:xfrm>
                <a:prstGeom prst="rect">
                  <a:avLst/>
                </a:prstGeom>
                <a:solidFill>
                  <a:srgbClr val="2E955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7" name="Freeform 92"/>
                <p:cNvSpPr>
                  <a:spLocks/>
                </p:cNvSpPr>
                <p:nvPr/>
              </p:nvSpPr>
              <p:spPr bwMode="auto">
                <a:xfrm>
                  <a:off x="-413603" y="1625998"/>
                  <a:ext cx="152401" cy="0"/>
                </a:xfrm>
                <a:custGeom>
                  <a:avLst/>
                  <a:gdLst>
                    <a:gd name="T0" fmla="*/ 476 w 476"/>
                    <a:gd name="T1" fmla="*/ 0 w 476"/>
                    <a:gd name="T2" fmla="*/ 0 w 476"/>
                    <a:gd name="T3" fmla="*/ 476 w 476"/>
                  </a:gdLst>
                  <a:ahLst/>
                  <a:cxnLst>
                    <a:cxn ang="0">
                      <a:pos x="T0" y="0"/>
                    </a:cxn>
                    <a:cxn ang="0">
                      <a:pos x="T1" y="0"/>
                    </a:cxn>
                    <a:cxn ang="0">
                      <a:pos x="T2" y="0"/>
                    </a:cxn>
                    <a:cxn ang="0">
                      <a:pos x="T3" y="0"/>
                    </a:cxn>
                  </a:cxnLst>
                  <a:rect l="0" t="0" r="r" b="b"/>
                  <a:pathLst>
                    <a:path w="476">
                      <a:moveTo>
                        <a:pt x="476" y="0"/>
                      </a:moveTo>
                      <a:lnTo>
                        <a:pt x="0" y="0"/>
                      </a:lnTo>
                      <a:lnTo>
                        <a:pt x="0" y="0"/>
                      </a:lnTo>
                      <a:lnTo>
                        <a:pt x="47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8" name="Freeform 93"/>
                <p:cNvSpPr>
                  <a:spLocks noEditPoints="1"/>
                </p:cNvSpPr>
                <p:nvPr/>
              </p:nvSpPr>
              <p:spPr bwMode="auto">
                <a:xfrm>
                  <a:off x="-110388" y="1625998"/>
                  <a:ext cx="0" cy="1588"/>
                </a:xfrm>
                <a:custGeom>
                  <a:avLst/>
                  <a:gdLst>
                    <a:gd name="T0" fmla="*/ 4 h 4"/>
                    <a:gd name="T1" fmla="*/ 4 h 4"/>
                    <a:gd name="T2" fmla="*/ 4 h 4"/>
                    <a:gd name="T3" fmla="*/ 4 h 4"/>
                    <a:gd name="T4" fmla="*/ 4 h 4"/>
                    <a:gd name="T5" fmla="*/ 2 h 4"/>
                    <a:gd name="T6" fmla="*/ 2 h 4"/>
                    <a:gd name="T7" fmla="*/ 4 h 4"/>
                    <a:gd name="T8" fmla="*/ 4 h 4"/>
                    <a:gd name="T9" fmla="*/ 2 h 4"/>
                    <a:gd name="T10" fmla="*/ 2 h 4"/>
                    <a:gd name="T11" fmla="*/ 2 h 4"/>
                    <a:gd name="T12" fmla="*/ 2 h 4"/>
                    <a:gd name="T13" fmla="*/ 2 h 4"/>
                    <a:gd name="T14" fmla="*/ 2 h 4"/>
                    <a:gd name="T15" fmla="*/ 1 h 4"/>
                    <a:gd name="T16" fmla="*/ 1 h 4"/>
                    <a:gd name="T17" fmla="*/ 1 h 4"/>
                    <a:gd name="T18" fmla="*/ 1 h 4"/>
                    <a:gd name="T19" fmla="*/ 1 h 4"/>
                    <a:gd name="T20" fmla="*/ 0 h 4"/>
                    <a:gd name="T21" fmla="*/ 0 h 4"/>
                    <a:gd name="T22" fmla="*/ 1 h 4"/>
                    <a:gd name="T23" fmla="*/ 1 h 4"/>
                    <a:gd name="T24" fmla="*/ 0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Lst>
                  <a:rect l="0" t="0" r="r" b="b"/>
                  <a:pathLst>
                    <a:path h="4">
                      <a:moveTo>
                        <a:pt x="0" y="4"/>
                      </a:moveTo>
                      <a:lnTo>
                        <a:pt x="0" y="4"/>
                      </a:lnTo>
                      <a:lnTo>
                        <a:pt x="0" y="4"/>
                      </a:lnTo>
                      <a:lnTo>
                        <a:pt x="0" y="4"/>
                      </a:lnTo>
                      <a:lnTo>
                        <a:pt x="0" y="4"/>
                      </a:lnTo>
                      <a:close/>
                      <a:moveTo>
                        <a:pt x="0" y="2"/>
                      </a:moveTo>
                      <a:lnTo>
                        <a:pt x="0" y="2"/>
                      </a:lnTo>
                      <a:lnTo>
                        <a:pt x="0" y="4"/>
                      </a:lnTo>
                      <a:lnTo>
                        <a:pt x="0" y="4"/>
                      </a:lnTo>
                      <a:lnTo>
                        <a:pt x="0" y="2"/>
                      </a:lnTo>
                      <a:close/>
                      <a:moveTo>
                        <a:pt x="0" y="2"/>
                      </a:moveTo>
                      <a:lnTo>
                        <a:pt x="0" y="2"/>
                      </a:lnTo>
                      <a:lnTo>
                        <a:pt x="0" y="2"/>
                      </a:lnTo>
                      <a:lnTo>
                        <a:pt x="0" y="2"/>
                      </a:lnTo>
                      <a:lnTo>
                        <a:pt x="0" y="2"/>
                      </a:lnTo>
                      <a:close/>
                      <a:moveTo>
                        <a:pt x="0" y="1"/>
                      </a:moveTo>
                      <a:lnTo>
                        <a:pt x="0" y="1"/>
                      </a:lnTo>
                      <a:lnTo>
                        <a:pt x="0" y="1"/>
                      </a:lnTo>
                      <a:lnTo>
                        <a:pt x="0" y="1"/>
                      </a:lnTo>
                      <a:lnTo>
                        <a:pt x="0" y="1"/>
                      </a:lnTo>
                      <a:close/>
                      <a:moveTo>
                        <a:pt x="0" y="0"/>
                      </a:moveTo>
                      <a:lnTo>
                        <a:pt x="0" y="0"/>
                      </a:lnTo>
                      <a:lnTo>
                        <a:pt x="0" y="1"/>
                      </a:lnTo>
                      <a:lnTo>
                        <a:pt x="0" y="1"/>
                      </a:lnTo>
                      <a:lnTo>
                        <a:pt x="0" y="0"/>
                      </a:lnTo>
                      <a:close/>
                    </a:path>
                  </a:pathLst>
                </a:custGeom>
                <a:solidFill>
                  <a:srgbClr val="1304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9" name="Rectangle 94"/>
                <p:cNvSpPr>
                  <a:spLocks noChangeArrowheads="1"/>
                </p:cNvSpPr>
                <p:nvPr/>
              </p:nvSpPr>
              <p:spPr bwMode="auto">
                <a:xfrm>
                  <a:off x="-110388" y="162758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00" name="Rectangle 95"/>
                <p:cNvSpPr>
                  <a:spLocks noChangeArrowheads="1"/>
                </p:cNvSpPr>
                <p:nvPr/>
              </p:nvSpPr>
              <p:spPr bwMode="auto">
                <a:xfrm>
                  <a:off x="-110388" y="162599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01" name="Rectangle 96"/>
                <p:cNvSpPr>
                  <a:spLocks noChangeArrowheads="1"/>
                </p:cNvSpPr>
                <p:nvPr/>
              </p:nvSpPr>
              <p:spPr bwMode="auto">
                <a:xfrm>
                  <a:off x="-110388" y="162599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02" name="Rectangle 97"/>
                <p:cNvSpPr>
                  <a:spLocks noChangeArrowheads="1"/>
                </p:cNvSpPr>
                <p:nvPr/>
              </p:nvSpPr>
              <p:spPr bwMode="auto">
                <a:xfrm>
                  <a:off x="-110388" y="162599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03" name="Rectangle 98"/>
                <p:cNvSpPr>
                  <a:spLocks noChangeArrowheads="1"/>
                </p:cNvSpPr>
                <p:nvPr/>
              </p:nvSpPr>
              <p:spPr bwMode="auto">
                <a:xfrm>
                  <a:off x="-110388" y="162599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04" name="Freeform 99"/>
                <p:cNvSpPr>
                  <a:spLocks/>
                </p:cNvSpPr>
                <p:nvPr/>
              </p:nvSpPr>
              <p:spPr bwMode="auto">
                <a:xfrm>
                  <a:off x="-261202" y="1625998"/>
                  <a:ext cx="150814" cy="11113"/>
                </a:xfrm>
                <a:custGeom>
                  <a:avLst/>
                  <a:gdLst>
                    <a:gd name="T0" fmla="*/ 477 w 477"/>
                    <a:gd name="T1" fmla="*/ 0 h 33"/>
                    <a:gd name="T2" fmla="*/ 0 w 477"/>
                    <a:gd name="T3" fmla="*/ 0 h 33"/>
                    <a:gd name="T4" fmla="*/ 0 w 477"/>
                    <a:gd name="T5" fmla="*/ 33 h 33"/>
                    <a:gd name="T6" fmla="*/ 471 w 477"/>
                    <a:gd name="T7" fmla="*/ 33 h 33"/>
                    <a:gd name="T8" fmla="*/ 471 w 477"/>
                    <a:gd name="T9" fmla="*/ 33 h 33"/>
                    <a:gd name="T10" fmla="*/ 475 w 477"/>
                    <a:gd name="T11" fmla="*/ 18 h 33"/>
                    <a:gd name="T12" fmla="*/ 477 w 477"/>
                    <a:gd name="T13" fmla="*/ 4 h 33"/>
                    <a:gd name="T14" fmla="*/ 477 w 477"/>
                    <a:gd name="T15" fmla="*/ 4 h 33"/>
                    <a:gd name="T16" fmla="*/ 477 w 477"/>
                    <a:gd name="T17" fmla="*/ 4 h 33"/>
                    <a:gd name="T18" fmla="*/ 477 w 477"/>
                    <a:gd name="T19" fmla="*/ 4 h 33"/>
                    <a:gd name="T20" fmla="*/ 477 w 477"/>
                    <a:gd name="T21" fmla="*/ 4 h 33"/>
                    <a:gd name="T22" fmla="*/ 477 w 477"/>
                    <a:gd name="T23" fmla="*/ 4 h 33"/>
                    <a:gd name="T24" fmla="*/ 477 w 477"/>
                    <a:gd name="T25" fmla="*/ 2 h 33"/>
                    <a:gd name="T26" fmla="*/ 477 w 477"/>
                    <a:gd name="T27" fmla="*/ 2 h 33"/>
                    <a:gd name="T28" fmla="*/ 477 w 477"/>
                    <a:gd name="T29" fmla="*/ 2 h 33"/>
                    <a:gd name="T30" fmla="*/ 477 w 477"/>
                    <a:gd name="T31" fmla="*/ 2 h 33"/>
                    <a:gd name="T32" fmla="*/ 477 w 477"/>
                    <a:gd name="T33" fmla="*/ 2 h 33"/>
                    <a:gd name="T34" fmla="*/ 477 w 477"/>
                    <a:gd name="T35" fmla="*/ 2 h 33"/>
                    <a:gd name="T36" fmla="*/ 477 w 477"/>
                    <a:gd name="T37" fmla="*/ 1 h 33"/>
                    <a:gd name="T38" fmla="*/ 477 w 477"/>
                    <a:gd name="T39" fmla="*/ 1 h 33"/>
                    <a:gd name="T40" fmla="*/ 477 w 477"/>
                    <a:gd name="T41" fmla="*/ 1 h 33"/>
                    <a:gd name="T42" fmla="*/ 477 w 477"/>
                    <a:gd name="T43" fmla="*/ 1 h 33"/>
                    <a:gd name="T44" fmla="*/ 477 w 477"/>
                    <a:gd name="T45" fmla="*/ 1 h 33"/>
                    <a:gd name="T46" fmla="*/ 477 w 477"/>
                    <a:gd name="T47" fmla="*/ 1 h 33"/>
                    <a:gd name="T48" fmla="*/ 477 w 477"/>
                    <a:gd name="T49" fmla="*/ 0 h 33"/>
                    <a:gd name="T50" fmla="*/ 477 w 477"/>
                    <a:gd name="T5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7" h="33">
                      <a:moveTo>
                        <a:pt x="477" y="0"/>
                      </a:moveTo>
                      <a:lnTo>
                        <a:pt x="0" y="0"/>
                      </a:lnTo>
                      <a:lnTo>
                        <a:pt x="0" y="33"/>
                      </a:lnTo>
                      <a:lnTo>
                        <a:pt x="471" y="33"/>
                      </a:lnTo>
                      <a:lnTo>
                        <a:pt x="471" y="33"/>
                      </a:lnTo>
                      <a:lnTo>
                        <a:pt x="475" y="18"/>
                      </a:lnTo>
                      <a:lnTo>
                        <a:pt x="477" y="4"/>
                      </a:lnTo>
                      <a:lnTo>
                        <a:pt x="477" y="4"/>
                      </a:lnTo>
                      <a:lnTo>
                        <a:pt x="477" y="4"/>
                      </a:lnTo>
                      <a:lnTo>
                        <a:pt x="477" y="4"/>
                      </a:lnTo>
                      <a:lnTo>
                        <a:pt x="477" y="4"/>
                      </a:lnTo>
                      <a:lnTo>
                        <a:pt x="477" y="4"/>
                      </a:lnTo>
                      <a:lnTo>
                        <a:pt x="477" y="2"/>
                      </a:lnTo>
                      <a:lnTo>
                        <a:pt x="477" y="2"/>
                      </a:lnTo>
                      <a:lnTo>
                        <a:pt x="477" y="2"/>
                      </a:lnTo>
                      <a:lnTo>
                        <a:pt x="477" y="2"/>
                      </a:lnTo>
                      <a:lnTo>
                        <a:pt x="477" y="2"/>
                      </a:lnTo>
                      <a:lnTo>
                        <a:pt x="477" y="2"/>
                      </a:lnTo>
                      <a:lnTo>
                        <a:pt x="477" y="1"/>
                      </a:lnTo>
                      <a:lnTo>
                        <a:pt x="477" y="1"/>
                      </a:lnTo>
                      <a:lnTo>
                        <a:pt x="477" y="1"/>
                      </a:lnTo>
                      <a:lnTo>
                        <a:pt x="477" y="1"/>
                      </a:lnTo>
                      <a:lnTo>
                        <a:pt x="477" y="1"/>
                      </a:lnTo>
                      <a:lnTo>
                        <a:pt x="477" y="1"/>
                      </a:lnTo>
                      <a:lnTo>
                        <a:pt x="477" y="0"/>
                      </a:lnTo>
                      <a:lnTo>
                        <a:pt x="477" y="0"/>
                      </a:lnTo>
                      <a:close/>
                    </a:path>
                  </a:pathLst>
                </a:custGeom>
                <a:solidFill>
                  <a:srgbClr val="2A54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05" name="Freeform 100"/>
                <p:cNvSpPr>
                  <a:spLocks/>
                </p:cNvSpPr>
                <p:nvPr/>
              </p:nvSpPr>
              <p:spPr bwMode="auto">
                <a:xfrm>
                  <a:off x="-261202" y="1625998"/>
                  <a:ext cx="150814" cy="11113"/>
                </a:xfrm>
                <a:custGeom>
                  <a:avLst/>
                  <a:gdLst>
                    <a:gd name="T0" fmla="*/ 477 w 477"/>
                    <a:gd name="T1" fmla="*/ 0 h 33"/>
                    <a:gd name="T2" fmla="*/ 0 w 477"/>
                    <a:gd name="T3" fmla="*/ 0 h 33"/>
                    <a:gd name="T4" fmla="*/ 0 w 477"/>
                    <a:gd name="T5" fmla="*/ 33 h 33"/>
                    <a:gd name="T6" fmla="*/ 471 w 477"/>
                    <a:gd name="T7" fmla="*/ 33 h 33"/>
                    <a:gd name="T8" fmla="*/ 471 w 477"/>
                    <a:gd name="T9" fmla="*/ 33 h 33"/>
                    <a:gd name="T10" fmla="*/ 475 w 477"/>
                    <a:gd name="T11" fmla="*/ 18 h 33"/>
                    <a:gd name="T12" fmla="*/ 477 w 477"/>
                    <a:gd name="T13" fmla="*/ 4 h 33"/>
                    <a:gd name="T14" fmla="*/ 477 w 477"/>
                    <a:gd name="T15" fmla="*/ 4 h 33"/>
                    <a:gd name="T16" fmla="*/ 477 w 477"/>
                    <a:gd name="T17" fmla="*/ 4 h 33"/>
                    <a:gd name="T18" fmla="*/ 477 w 477"/>
                    <a:gd name="T19" fmla="*/ 4 h 33"/>
                    <a:gd name="T20" fmla="*/ 477 w 477"/>
                    <a:gd name="T21" fmla="*/ 4 h 33"/>
                    <a:gd name="T22" fmla="*/ 477 w 477"/>
                    <a:gd name="T23" fmla="*/ 4 h 33"/>
                    <a:gd name="T24" fmla="*/ 477 w 477"/>
                    <a:gd name="T25" fmla="*/ 2 h 33"/>
                    <a:gd name="T26" fmla="*/ 477 w 477"/>
                    <a:gd name="T27" fmla="*/ 2 h 33"/>
                    <a:gd name="T28" fmla="*/ 477 w 477"/>
                    <a:gd name="T29" fmla="*/ 2 h 33"/>
                    <a:gd name="T30" fmla="*/ 477 w 477"/>
                    <a:gd name="T31" fmla="*/ 2 h 33"/>
                    <a:gd name="T32" fmla="*/ 477 w 477"/>
                    <a:gd name="T33" fmla="*/ 2 h 33"/>
                    <a:gd name="T34" fmla="*/ 477 w 477"/>
                    <a:gd name="T35" fmla="*/ 2 h 33"/>
                    <a:gd name="T36" fmla="*/ 477 w 477"/>
                    <a:gd name="T37" fmla="*/ 1 h 33"/>
                    <a:gd name="T38" fmla="*/ 477 w 477"/>
                    <a:gd name="T39" fmla="*/ 1 h 33"/>
                    <a:gd name="T40" fmla="*/ 477 w 477"/>
                    <a:gd name="T41" fmla="*/ 1 h 33"/>
                    <a:gd name="T42" fmla="*/ 477 w 477"/>
                    <a:gd name="T43" fmla="*/ 1 h 33"/>
                    <a:gd name="T44" fmla="*/ 477 w 477"/>
                    <a:gd name="T45" fmla="*/ 1 h 33"/>
                    <a:gd name="T46" fmla="*/ 477 w 477"/>
                    <a:gd name="T47" fmla="*/ 1 h 33"/>
                    <a:gd name="T48" fmla="*/ 477 w 477"/>
                    <a:gd name="T49" fmla="*/ 0 h 33"/>
                    <a:gd name="T50" fmla="*/ 477 w 477"/>
                    <a:gd name="T5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7" h="33">
                      <a:moveTo>
                        <a:pt x="477" y="0"/>
                      </a:moveTo>
                      <a:lnTo>
                        <a:pt x="0" y="0"/>
                      </a:lnTo>
                      <a:lnTo>
                        <a:pt x="0" y="33"/>
                      </a:lnTo>
                      <a:lnTo>
                        <a:pt x="471" y="33"/>
                      </a:lnTo>
                      <a:lnTo>
                        <a:pt x="471" y="33"/>
                      </a:lnTo>
                      <a:lnTo>
                        <a:pt x="475" y="18"/>
                      </a:lnTo>
                      <a:lnTo>
                        <a:pt x="477" y="4"/>
                      </a:lnTo>
                      <a:lnTo>
                        <a:pt x="477" y="4"/>
                      </a:lnTo>
                      <a:lnTo>
                        <a:pt x="477" y="4"/>
                      </a:lnTo>
                      <a:lnTo>
                        <a:pt x="477" y="4"/>
                      </a:lnTo>
                      <a:lnTo>
                        <a:pt x="477" y="4"/>
                      </a:lnTo>
                      <a:lnTo>
                        <a:pt x="477" y="4"/>
                      </a:lnTo>
                      <a:lnTo>
                        <a:pt x="477" y="2"/>
                      </a:lnTo>
                      <a:lnTo>
                        <a:pt x="477" y="2"/>
                      </a:lnTo>
                      <a:lnTo>
                        <a:pt x="477" y="2"/>
                      </a:lnTo>
                      <a:lnTo>
                        <a:pt x="477" y="2"/>
                      </a:lnTo>
                      <a:lnTo>
                        <a:pt x="477" y="2"/>
                      </a:lnTo>
                      <a:lnTo>
                        <a:pt x="477" y="2"/>
                      </a:lnTo>
                      <a:lnTo>
                        <a:pt x="477" y="1"/>
                      </a:lnTo>
                      <a:lnTo>
                        <a:pt x="477" y="1"/>
                      </a:lnTo>
                      <a:lnTo>
                        <a:pt x="477" y="1"/>
                      </a:lnTo>
                      <a:lnTo>
                        <a:pt x="477" y="1"/>
                      </a:lnTo>
                      <a:lnTo>
                        <a:pt x="477" y="1"/>
                      </a:lnTo>
                      <a:lnTo>
                        <a:pt x="477" y="1"/>
                      </a:lnTo>
                      <a:lnTo>
                        <a:pt x="477" y="0"/>
                      </a:lnTo>
                      <a:lnTo>
                        <a:pt x="4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06" name="Rectangle 101"/>
                <p:cNvSpPr>
                  <a:spLocks noChangeArrowheads="1"/>
                </p:cNvSpPr>
                <p:nvPr/>
              </p:nvSpPr>
              <p:spPr bwMode="auto">
                <a:xfrm>
                  <a:off x="-261202" y="1625998"/>
                  <a:ext cx="150814" cy="1588"/>
                </a:xfrm>
                <a:prstGeom prst="rect">
                  <a:avLst/>
                </a:prstGeom>
                <a:solidFill>
                  <a:srgbClr val="00787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07" name="Rectangle 102"/>
                <p:cNvSpPr>
                  <a:spLocks noChangeArrowheads="1"/>
                </p:cNvSpPr>
                <p:nvPr/>
              </p:nvSpPr>
              <p:spPr bwMode="auto">
                <a:xfrm>
                  <a:off x="-261202" y="1625998"/>
                  <a:ext cx="150814"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08" name="Rectangle 103"/>
                <p:cNvSpPr>
                  <a:spLocks noChangeArrowheads="1"/>
                </p:cNvSpPr>
                <p:nvPr/>
              </p:nvSpPr>
              <p:spPr bwMode="auto">
                <a:xfrm>
                  <a:off x="-261202" y="1625998"/>
                  <a:ext cx="1588" cy="11113"/>
                </a:xfrm>
                <a:prstGeom prst="rect">
                  <a:avLst/>
                </a:prstGeom>
                <a:solidFill>
                  <a:srgbClr val="2243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09" name="Rectangle 104"/>
                <p:cNvSpPr>
                  <a:spLocks noChangeArrowheads="1"/>
                </p:cNvSpPr>
                <p:nvPr/>
              </p:nvSpPr>
              <p:spPr bwMode="auto">
                <a:xfrm>
                  <a:off x="-261202" y="1625998"/>
                  <a:ext cx="1588" cy="11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10" name="Freeform 105"/>
                <p:cNvSpPr>
                  <a:spLocks/>
                </p:cNvSpPr>
                <p:nvPr/>
              </p:nvSpPr>
              <p:spPr bwMode="auto">
                <a:xfrm>
                  <a:off x="-380265" y="1591072"/>
                  <a:ext cx="20638" cy="22225"/>
                </a:xfrm>
                <a:custGeom>
                  <a:avLst/>
                  <a:gdLst>
                    <a:gd name="T0" fmla="*/ 68 w 68"/>
                    <a:gd name="T1" fmla="*/ 35 h 69"/>
                    <a:gd name="T2" fmla="*/ 68 w 68"/>
                    <a:gd name="T3" fmla="*/ 35 h 69"/>
                    <a:gd name="T4" fmla="*/ 67 w 68"/>
                    <a:gd name="T5" fmla="*/ 42 h 69"/>
                    <a:gd name="T6" fmla="*/ 65 w 68"/>
                    <a:gd name="T7" fmla="*/ 48 h 69"/>
                    <a:gd name="T8" fmla="*/ 62 w 68"/>
                    <a:gd name="T9" fmla="*/ 54 h 69"/>
                    <a:gd name="T10" fmla="*/ 57 w 68"/>
                    <a:gd name="T11" fmla="*/ 59 h 69"/>
                    <a:gd name="T12" fmla="*/ 53 w 68"/>
                    <a:gd name="T13" fmla="*/ 63 h 69"/>
                    <a:gd name="T14" fmla="*/ 48 w 68"/>
                    <a:gd name="T15" fmla="*/ 66 h 69"/>
                    <a:gd name="T16" fmla="*/ 40 w 68"/>
                    <a:gd name="T17" fmla="*/ 67 h 69"/>
                    <a:gd name="T18" fmla="*/ 34 w 68"/>
                    <a:gd name="T19" fmla="*/ 69 h 69"/>
                    <a:gd name="T20" fmla="*/ 34 w 68"/>
                    <a:gd name="T21" fmla="*/ 69 h 69"/>
                    <a:gd name="T22" fmla="*/ 27 w 68"/>
                    <a:gd name="T23" fmla="*/ 67 h 69"/>
                    <a:gd name="T24" fmla="*/ 21 w 68"/>
                    <a:gd name="T25" fmla="*/ 66 h 69"/>
                    <a:gd name="T26" fmla="*/ 15 w 68"/>
                    <a:gd name="T27" fmla="*/ 63 h 69"/>
                    <a:gd name="T28" fmla="*/ 10 w 68"/>
                    <a:gd name="T29" fmla="*/ 59 h 69"/>
                    <a:gd name="T30" fmla="*/ 6 w 68"/>
                    <a:gd name="T31" fmla="*/ 54 h 69"/>
                    <a:gd name="T32" fmla="*/ 3 w 68"/>
                    <a:gd name="T33" fmla="*/ 48 h 69"/>
                    <a:gd name="T34" fmla="*/ 1 w 68"/>
                    <a:gd name="T35" fmla="*/ 42 h 69"/>
                    <a:gd name="T36" fmla="*/ 0 w 68"/>
                    <a:gd name="T37" fmla="*/ 35 h 69"/>
                    <a:gd name="T38" fmla="*/ 0 w 68"/>
                    <a:gd name="T39" fmla="*/ 35 h 69"/>
                    <a:gd name="T40" fmla="*/ 1 w 68"/>
                    <a:gd name="T41" fmla="*/ 27 h 69"/>
                    <a:gd name="T42" fmla="*/ 3 w 68"/>
                    <a:gd name="T43" fmla="*/ 21 h 69"/>
                    <a:gd name="T44" fmla="*/ 6 w 68"/>
                    <a:gd name="T45" fmla="*/ 16 h 69"/>
                    <a:gd name="T46" fmla="*/ 10 w 68"/>
                    <a:gd name="T47" fmla="*/ 10 h 69"/>
                    <a:gd name="T48" fmla="*/ 15 w 68"/>
                    <a:gd name="T49" fmla="*/ 7 h 69"/>
                    <a:gd name="T50" fmla="*/ 21 w 68"/>
                    <a:gd name="T51" fmla="*/ 4 h 69"/>
                    <a:gd name="T52" fmla="*/ 27 w 68"/>
                    <a:gd name="T53" fmla="*/ 2 h 69"/>
                    <a:gd name="T54" fmla="*/ 34 w 68"/>
                    <a:gd name="T55" fmla="*/ 0 h 69"/>
                    <a:gd name="T56" fmla="*/ 34 w 68"/>
                    <a:gd name="T57" fmla="*/ 0 h 69"/>
                    <a:gd name="T58" fmla="*/ 40 w 68"/>
                    <a:gd name="T59" fmla="*/ 2 h 69"/>
                    <a:gd name="T60" fmla="*/ 48 w 68"/>
                    <a:gd name="T61" fmla="*/ 4 h 69"/>
                    <a:gd name="T62" fmla="*/ 53 w 68"/>
                    <a:gd name="T63" fmla="*/ 7 h 69"/>
                    <a:gd name="T64" fmla="*/ 57 w 68"/>
                    <a:gd name="T65" fmla="*/ 10 h 69"/>
                    <a:gd name="T66" fmla="*/ 62 w 68"/>
                    <a:gd name="T67" fmla="*/ 16 h 69"/>
                    <a:gd name="T68" fmla="*/ 65 w 68"/>
                    <a:gd name="T69" fmla="*/ 21 h 69"/>
                    <a:gd name="T70" fmla="*/ 67 w 68"/>
                    <a:gd name="T71" fmla="*/ 27 h 69"/>
                    <a:gd name="T72" fmla="*/ 68 w 68"/>
                    <a:gd name="T73" fmla="*/ 35 h 69"/>
                    <a:gd name="T74" fmla="*/ 68 w 68"/>
                    <a:gd name="T75" fmla="*/ 3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8" h="69">
                      <a:moveTo>
                        <a:pt x="68" y="35"/>
                      </a:moveTo>
                      <a:lnTo>
                        <a:pt x="68" y="35"/>
                      </a:lnTo>
                      <a:lnTo>
                        <a:pt x="67" y="42"/>
                      </a:lnTo>
                      <a:lnTo>
                        <a:pt x="65" y="48"/>
                      </a:lnTo>
                      <a:lnTo>
                        <a:pt x="62" y="54"/>
                      </a:lnTo>
                      <a:lnTo>
                        <a:pt x="57" y="59"/>
                      </a:lnTo>
                      <a:lnTo>
                        <a:pt x="53" y="63"/>
                      </a:lnTo>
                      <a:lnTo>
                        <a:pt x="48" y="66"/>
                      </a:lnTo>
                      <a:lnTo>
                        <a:pt x="40" y="67"/>
                      </a:lnTo>
                      <a:lnTo>
                        <a:pt x="34" y="69"/>
                      </a:lnTo>
                      <a:lnTo>
                        <a:pt x="34" y="69"/>
                      </a:lnTo>
                      <a:lnTo>
                        <a:pt x="27" y="67"/>
                      </a:lnTo>
                      <a:lnTo>
                        <a:pt x="21" y="66"/>
                      </a:lnTo>
                      <a:lnTo>
                        <a:pt x="15" y="63"/>
                      </a:lnTo>
                      <a:lnTo>
                        <a:pt x="10" y="59"/>
                      </a:lnTo>
                      <a:lnTo>
                        <a:pt x="6" y="54"/>
                      </a:lnTo>
                      <a:lnTo>
                        <a:pt x="3" y="48"/>
                      </a:lnTo>
                      <a:lnTo>
                        <a:pt x="1" y="42"/>
                      </a:lnTo>
                      <a:lnTo>
                        <a:pt x="0" y="35"/>
                      </a:lnTo>
                      <a:lnTo>
                        <a:pt x="0" y="35"/>
                      </a:lnTo>
                      <a:lnTo>
                        <a:pt x="1" y="27"/>
                      </a:lnTo>
                      <a:lnTo>
                        <a:pt x="3" y="21"/>
                      </a:lnTo>
                      <a:lnTo>
                        <a:pt x="6" y="16"/>
                      </a:lnTo>
                      <a:lnTo>
                        <a:pt x="10" y="10"/>
                      </a:lnTo>
                      <a:lnTo>
                        <a:pt x="15" y="7"/>
                      </a:lnTo>
                      <a:lnTo>
                        <a:pt x="21" y="4"/>
                      </a:lnTo>
                      <a:lnTo>
                        <a:pt x="27" y="2"/>
                      </a:lnTo>
                      <a:lnTo>
                        <a:pt x="34" y="0"/>
                      </a:lnTo>
                      <a:lnTo>
                        <a:pt x="34" y="0"/>
                      </a:lnTo>
                      <a:lnTo>
                        <a:pt x="40" y="2"/>
                      </a:lnTo>
                      <a:lnTo>
                        <a:pt x="48" y="4"/>
                      </a:lnTo>
                      <a:lnTo>
                        <a:pt x="53" y="7"/>
                      </a:lnTo>
                      <a:lnTo>
                        <a:pt x="57" y="10"/>
                      </a:lnTo>
                      <a:lnTo>
                        <a:pt x="62" y="16"/>
                      </a:lnTo>
                      <a:lnTo>
                        <a:pt x="65" y="21"/>
                      </a:lnTo>
                      <a:lnTo>
                        <a:pt x="67" y="27"/>
                      </a:lnTo>
                      <a:lnTo>
                        <a:pt x="68" y="35"/>
                      </a:lnTo>
                      <a:lnTo>
                        <a:pt x="68"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911" name="그룹 910"/>
              <p:cNvGrpSpPr/>
              <p:nvPr userDrawn="1"/>
            </p:nvGrpSpPr>
            <p:grpSpPr>
              <a:xfrm rot="2849663">
                <a:off x="4386733" y="914181"/>
                <a:ext cx="285089" cy="244209"/>
                <a:chOff x="2630525" y="2335225"/>
                <a:chExt cx="420690" cy="360366"/>
              </a:xfrm>
            </p:grpSpPr>
            <p:sp>
              <p:nvSpPr>
                <p:cNvPr id="912" name="Freeform 426"/>
                <p:cNvSpPr>
                  <a:spLocks/>
                </p:cNvSpPr>
                <p:nvPr/>
              </p:nvSpPr>
              <p:spPr bwMode="auto">
                <a:xfrm>
                  <a:off x="2813089" y="2532077"/>
                  <a:ext cx="55563" cy="7938"/>
                </a:xfrm>
                <a:custGeom>
                  <a:avLst/>
                  <a:gdLst>
                    <a:gd name="T0" fmla="*/ 22 w 177"/>
                    <a:gd name="T1" fmla="*/ 22 h 22"/>
                    <a:gd name="T2" fmla="*/ 155 w 177"/>
                    <a:gd name="T3" fmla="*/ 22 h 22"/>
                    <a:gd name="T4" fmla="*/ 155 w 177"/>
                    <a:gd name="T5" fmla="*/ 22 h 22"/>
                    <a:gd name="T6" fmla="*/ 160 w 177"/>
                    <a:gd name="T7" fmla="*/ 21 h 22"/>
                    <a:gd name="T8" fmla="*/ 163 w 177"/>
                    <a:gd name="T9" fmla="*/ 20 h 22"/>
                    <a:gd name="T10" fmla="*/ 167 w 177"/>
                    <a:gd name="T11" fmla="*/ 17 h 22"/>
                    <a:gd name="T12" fmla="*/ 171 w 177"/>
                    <a:gd name="T13" fmla="*/ 15 h 22"/>
                    <a:gd name="T14" fmla="*/ 173 w 177"/>
                    <a:gd name="T15" fmla="*/ 13 h 22"/>
                    <a:gd name="T16" fmla="*/ 175 w 177"/>
                    <a:gd name="T17" fmla="*/ 9 h 22"/>
                    <a:gd name="T18" fmla="*/ 177 w 177"/>
                    <a:gd name="T19" fmla="*/ 4 h 22"/>
                    <a:gd name="T20" fmla="*/ 177 w 177"/>
                    <a:gd name="T21" fmla="*/ 0 h 22"/>
                    <a:gd name="T22" fmla="*/ 0 w 177"/>
                    <a:gd name="T23" fmla="*/ 0 h 22"/>
                    <a:gd name="T24" fmla="*/ 0 w 177"/>
                    <a:gd name="T25" fmla="*/ 0 h 22"/>
                    <a:gd name="T26" fmla="*/ 0 w 177"/>
                    <a:gd name="T27" fmla="*/ 4 h 22"/>
                    <a:gd name="T28" fmla="*/ 1 w 177"/>
                    <a:gd name="T29" fmla="*/ 9 h 22"/>
                    <a:gd name="T30" fmla="*/ 4 w 177"/>
                    <a:gd name="T31" fmla="*/ 13 h 22"/>
                    <a:gd name="T32" fmla="*/ 6 w 177"/>
                    <a:gd name="T33" fmla="*/ 15 h 22"/>
                    <a:gd name="T34" fmla="*/ 10 w 177"/>
                    <a:gd name="T35" fmla="*/ 17 h 22"/>
                    <a:gd name="T36" fmla="*/ 13 w 177"/>
                    <a:gd name="T37" fmla="*/ 20 h 22"/>
                    <a:gd name="T38" fmla="*/ 17 w 177"/>
                    <a:gd name="T39" fmla="*/ 21 h 22"/>
                    <a:gd name="T40" fmla="*/ 22 w 177"/>
                    <a:gd name="T41" fmla="*/ 22 h 22"/>
                    <a:gd name="T42" fmla="*/ 22 w 177"/>
                    <a:gd name="T4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7" h="22">
                      <a:moveTo>
                        <a:pt x="22" y="22"/>
                      </a:moveTo>
                      <a:lnTo>
                        <a:pt x="155" y="22"/>
                      </a:lnTo>
                      <a:lnTo>
                        <a:pt x="155" y="22"/>
                      </a:lnTo>
                      <a:lnTo>
                        <a:pt x="160" y="21"/>
                      </a:lnTo>
                      <a:lnTo>
                        <a:pt x="163" y="20"/>
                      </a:lnTo>
                      <a:lnTo>
                        <a:pt x="167" y="17"/>
                      </a:lnTo>
                      <a:lnTo>
                        <a:pt x="171" y="15"/>
                      </a:lnTo>
                      <a:lnTo>
                        <a:pt x="173" y="13"/>
                      </a:lnTo>
                      <a:lnTo>
                        <a:pt x="175" y="9"/>
                      </a:lnTo>
                      <a:lnTo>
                        <a:pt x="177" y="4"/>
                      </a:lnTo>
                      <a:lnTo>
                        <a:pt x="177" y="0"/>
                      </a:lnTo>
                      <a:lnTo>
                        <a:pt x="0" y="0"/>
                      </a:lnTo>
                      <a:lnTo>
                        <a:pt x="0" y="0"/>
                      </a:lnTo>
                      <a:lnTo>
                        <a:pt x="0" y="4"/>
                      </a:lnTo>
                      <a:lnTo>
                        <a:pt x="1" y="9"/>
                      </a:lnTo>
                      <a:lnTo>
                        <a:pt x="4" y="13"/>
                      </a:lnTo>
                      <a:lnTo>
                        <a:pt x="6" y="15"/>
                      </a:lnTo>
                      <a:lnTo>
                        <a:pt x="10" y="17"/>
                      </a:lnTo>
                      <a:lnTo>
                        <a:pt x="13" y="20"/>
                      </a:lnTo>
                      <a:lnTo>
                        <a:pt x="17" y="21"/>
                      </a:lnTo>
                      <a:lnTo>
                        <a:pt x="22" y="22"/>
                      </a:lnTo>
                      <a:lnTo>
                        <a:pt x="22" y="22"/>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13" name="Freeform 427"/>
                <p:cNvSpPr>
                  <a:spLocks/>
                </p:cNvSpPr>
                <p:nvPr/>
              </p:nvSpPr>
              <p:spPr bwMode="auto">
                <a:xfrm>
                  <a:off x="2813089" y="2525727"/>
                  <a:ext cx="55563" cy="6350"/>
                </a:xfrm>
                <a:custGeom>
                  <a:avLst/>
                  <a:gdLst>
                    <a:gd name="T0" fmla="*/ 177 w 177"/>
                    <a:gd name="T1" fmla="*/ 22 h 22"/>
                    <a:gd name="T2" fmla="*/ 177 w 177"/>
                    <a:gd name="T3" fmla="*/ 22 h 22"/>
                    <a:gd name="T4" fmla="*/ 177 w 177"/>
                    <a:gd name="T5" fmla="*/ 17 h 22"/>
                    <a:gd name="T6" fmla="*/ 175 w 177"/>
                    <a:gd name="T7" fmla="*/ 14 h 22"/>
                    <a:gd name="T8" fmla="*/ 173 w 177"/>
                    <a:gd name="T9" fmla="*/ 9 h 22"/>
                    <a:gd name="T10" fmla="*/ 171 w 177"/>
                    <a:gd name="T11" fmla="*/ 7 h 22"/>
                    <a:gd name="T12" fmla="*/ 167 w 177"/>
                    <a:gd name="T13" fmla="*/ 4 h 22"/>
                    <a:gd name="T14" fmla="*/ 163 w 177"/>
                    <a:gd name="T15" fmla="*/ 2 h 22"/>
                    <a:gd name="T16" fmla="*/ 160 w 177"/>
                    <a:gd name="T17" fmla="*/ 0 h 22"/>
                    <a:gd name="T18" fmla="*/ 155 w 177"/>
                    <a:gd name="T19" fmla="*/ 0 h 22"/>
                    <a:gd name="T20" fmla="*/ 22 w 177"/>
                    <a:gd name="T21" fmla="*/ 0 h 22"/>
                    <a:gd name="T22" fmla="*/ 22 w 177"/>
                    <a:gd name="T23" fmla="*/ 0 h 22"/>
                    <a:gd name="T24" fmla="*/ 17 w 177"/>
                    <a:gd name="T25" fmla="*/ 0 h 22"/>
                    <a:gd name="T26" fmla="*/ 13 w 177"/>
                    <a:gd name="T27" fmla="*/ 2 h 22"/>
                    <a:gd name="T28" fmla="*/ 10 w 177"/>
                    <a:gd name="T29" fmla="*/ 4 h 22"/>
                    <a:gd name="T30" fmla="*/ 6 w 177"/>
                    <a:gd name="T31" fmla="*/ 7 h 22"/>
                    <a:gd name="T32" fmla="*/ 4 w 177"/>
                    <a:gd name="T33" fmla="*/ 9 h 22"/>
                    <a:gd name="T34" fmla="*/ 1 w 177"/>
                    <a:gd name="T35" fmla="*/ 14 h 22"/>
                    <a:gd name="T36" fmla="*/ 0 w 177"/>
                    <a:gd name="T37" fmla="*/ 17 h 22"/>
                    <a:gd name="T38" fmla="*/ 0 w 177"/>
                    <a:gd name="T39" fmla="*/ 22 h 22"/>
                    <a:gd name="T40" fmla="*/ 177 w 177"/>
                    <a:gd name="T4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7" h="22">
                      <a:moveTo>
                        <a:pt x="177" y="22"/>
                      </a:moveTo>
                      <a:lnTo>
                        <a:pt x="177" y="22"/>
                      </a:lnTo>
                      <a:lnTo>
                        <a:pt x="177" y="17"/>
                      </a:lnTo>
                      <a:lnTo>
                        <a:pt x="175" y="14"/>
                      </a:lnTo>
                      <a:lnTo>
                        <a:pt x="173" y="9"/>
                      </a:lnTo>
                      <a:lnTo>
                        <a:pt x="171" y="7"/>
                      </a:lnTo>
                      <a:lnTo>
                        <a:pt x="167" y="4"/>
                      </a:lnTo>
                      <a:lnTo>
                        <a:pt x="163" y="2"/>
                      </a:lnTo>
                      <a:lnTo>
                        <a:pt x="160" y="0"/>
                      </a:lnTo>
                      <a:lnTo>
                        <a:pt x="155" y="0"/>
                      </a:lnTo>
                      <a:lnTo>
                        <a:pt x="22" y="0"/>
                      </a:lnTo>
                      <a:lnTo>
                        <a:pt x="22" y="0"/>
                      </a:lnTo>
                      <a:lnTo>
                        <a:pt x="17" y="0"/>
                      </a:lnTo>
                      <a:lnTo>
                        <a:pt x="13" y="2"/>
                      </a:lnTo>
                      <a:lnTo>
                        <a:pt x="10" y="4"/>
                      </a:lnTo>
                      <a:lnTo>
                        <a:pt x="6" y="7"/>
                      </a:lnTo>
                      <a:lnTo>
                        <a:pt x="4" y="9"/>
                      </a:lnTo>
                      <a:lnTo>
                        <a:pt x="1" y="14"/>
                      </a:lnTo>
                      <a:lnTo>
                        <a:pt x="0" y="17"/>
                      </a:lnTo>
                      <a:lnTo>
                        <a:pt x="0" y="22"/>
                      </a:lnTo>
                      <a:lnTo>
                        <a:pt x="177" y="22"/>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14" name="Freeform 428"/>
                <p:cNvSpPr>
                  <a:spLocks/>
                </p:cNvSpPr>
                <p:nvPr/>
              </p:nvSpPr>
              <p:spPr bwMode="auto">
                <a:xfrm>
                  <a:off x="2822614" y="2673366"/>
                  <a:ext cx="17463" cy="22225"/>
                </a:xfrm>
                <a:custGeom>
                  <a:avLst/>
                  <a:gdLst>
                    <a:gd name="T0" fmla="*/ 56 w 56"/>
                    <a:gd name="T1" fmla="*/ 73 h 73"/>
                    <a:gd name="T2" fmla="*/ 56 w 56"/>
                    <a:gd name="T3" fmla="*/ 17 h 73"/>
                    <a:gd name="T4" fmla="*/ 56 w 56"/>
                    <a:gd name="T5" fmla="*/ 0 h 73"/>
                    <a:gd name="T6" fmla="*/ 0 w 56"/>
                    <a:gd name="T7" fmla="*/ 0 h 73"/>
                    <a:gd name="T8" fmla="*/ 0 w 56"/>
                    <a:gd name="T9" fmla="*/ 17 h 73"/>
                    <a:gd name="T10" fmla="*/ 0 w 56"/>
                    <a:gd name="T11" fmla="*/ 17 h 73"/>
                    <a:gd name="T12" fmla="*/ 1 w 56"/>
                    <a:gd name="T13" fmla="*/ 28 h 73"/>
                    <a:gd name="T14" fmla="*/ 3 w 56"/>
                    <a:gd name="T15" fmla="*/ 39 h 73"/>
                    <a:gd name="T16" fmla="*/ 9 w 56"/>
                    <a:gd name="T17" fmla="*/ 48 h 73"/>
                    <a:gd name="T18" fmla="*/ 15 w 56"/>
                    <a:gd name="T19" fmla="*/ 57 h 73"/>
                    <a:gd name="T20" fmla="*/ 24 w 56"/>
                    <a:gd name="T21" fmla="*/ 63 h 73"/>
                    <a:gd name="T22" fmla="*/ 34 w 56"/>
                    <a:gd name="T23" fmla="*/ 69 h 73"/>
                    <a:gd name="T24" fmla="*/ 45 w 56"/>
                    <a:gd name="T25" fmla="*/ 73 h 73"/>
                    <a:gd name="T26" fmla="*/ 56 w 56"/>
                    <a:gd name="T27" fmla="*/ 73 h 73"/>
                    <a:gd name="T28" fmla="*/ 56 w 56"/>
                    <a:gd name="T29"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73">
                      <a:moveTo>
                        <a:pt x="56" y="73"/>
                      </a:moveTo>
                      <a:lnTo>
                        <a:pt x="56" y="17"/>
                      </a:lnTo>
                      <a:lnTo>
                        <a:pt x="56" y="0"/>
                      </a:lnTo>
                      <a:lnTo>
                        <a:pt x="0" y="0"/>
                      </a:lnTo>
                      <a:lnTo>
                        <a:pt x="0" y="17"/>
                      </a:lnTo>
                      <a:lnTo>
                        <a:pt x="0" y="17"/>
                      </a:lnTo>
                      <a:lnTo>
                        <a:pt x="1" y="28"/>
                      </a:lnTo>
                      <a:lnTo>
                        <a:pt x="3" y="39"/>
                      </a:lnTo>
                      <a:lnTo>
                        <a:pt x="9" y="48"/>
                      </a:lnTo>
                      <a:lnTo>
                        <a:pt x="15" y="57"/>
                      </a:lnTo>
                      <a:lnTo>
                        <a:pt x="24" y="63"/>
                      </a:lnTo>
                      <a:lnTo>
                        <a:pt x="34" y="69"/>
                      </a:lnTo>
                      <a:lnTo>
                        <a:pt x="45" y="73"/>
                      </a:lnTo>
                      <a:lnTo>
                        <a:pt x="56" y="73"/>
                      </a:lnTo>
                      <a:lnTo>
                        <a:pt x="56" y="73"/>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15" name="Freeform 429"/>
                <p:cNvSpPr>
                  <a:spLocks/>
                </p:cNvSpPr>
                <p:nvPr/>
              </p:nvSpPr>
              <p:spPr bwMode="auto">
                <a:xfrm>
                  <a:off x="2840077" y="2673366"/>
                  <a:ext cx="19050" cy="22225"/>
                </a:xfrm>
                <a:custGeom>
                  <a:avLst/>
                  <a:gdLst>
                    <a:gd name="T0" fmla="*/ 57 w 57"/>
                    <a:gd name="T1" fmla="*/ 17 h 73"/>
                    <a:gd name="T2" fmla="*/ 57 w 57"/>
                    <a:gd name="T3" fmla="*/ 0 h 73"/>
                    <a:gd name="T4" fmla="*/ 0 w 57"/>
                    <a:gd name="T5" fmla="*/ 0 h 73"/>
                    <a:gd name="T6" fmla="*/ 0 w 57"/>
                    <a:gd name="T7" fmla="*/ 17 h 73"/>
                    <a:gd name="T8" fmla="*/ 0 w 57"/>
                    <a:gd name="T9" fmla="*/ 73 h 73"/>
                    <a:gd name="T10" fmla="*/ 0 w 57"/>
                    <a:gd name="T11" fmla="*/ 73 h 73"/>
                    <a:gd name="T12" fmla="*/ 12 w 57"/>
                    <a:gd name="T13" fmla="*/ 73 h 73"/>
                    <a:gd name="T14" fmla="*/ 23 w 57"/>
                    <a:gd name="T15" fmla="*/ 69 h 73"/>
                    <a:gd name="T16" fmla="*/ 33 w 57"/>
                    <a:gd name="T17" fmla="*/ 63 h 73"/>
                    <a:gd name="T18" fmla="*/ 41 w 57"/>
                    <a:gd name="T19" fmla="*/ 57 h 73"/>
                    <a:gd name="T20" fmla="*/ 47 w 57"/>
                    <a:gd name="T21" fmla="*/ 48 h 73"/>
                    <a:gd name="T22" fmla="*/ 53 w 57"/>
                    <a:gd name="T23" fmla="*/ 39 h 73"/>
                    <a:gd name="T24" fmla="*/ 56 w 57"/>
                    <a:gd name="T25" fmla="*/ 28 h 73"/>
                    <a:gd name="T26" fmla="*/ 57 w 57"/>
                    <a:gd name="T27" fmla="*/ 17 h 73"/>
                    <a:gd name="T28" fmla="*/ 57 w 57"/>
                    <a:gd name="T29" fmla="*/ 1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 h="73">
                      <a:moveTo>
                        <a:pt x="57" y="17"/>
                      </a:moveTo>
                      <a:lnTo>
                        <a:pt x="57" y="0"/>
                      </a:lnTo>
                      <a:lnTo>
                        <a:pt x="0" y="0"/>
                      </a:lnTo>
                      <a:lnTo>
                        <a:pt x="0" y="17"/>
                      </a:lnTo>
                      <a:lnTo>
                        <a:pt x="0" y="73"/>
                      </a:lnTo>
                      <a:lnTo>
                        <a:pt x="0" y="73"/>
                      </a:lnTo>
                      <a:lnTo>
                        <a:pt x="12" y="73"/>
                      </a:lnTo>
                      <a:lnTo>
                        <a:pt x="23" y="69"/>
                      </a:lnTo>
                      <a:lnTo>
                        <a:pt x="33" y="63"/>
                      </a:lnTo>
                      <a:lnTo>
                        <a:pt x="41" y="57"/>
                      </a:lnTo>
                      <a:lnTo>
                        <a:pt x="47" y="48"/>
                      </a:lnTo>
                      <a:lnTo>
                        <a:pt x="53" y="39"/>
                      </a:lnTo>
                      <a:lnTo>
                        <a:pt x="56" y="28"/>
                      </a:lnTo>
                      <a:lnTo>
                        <a:pt x="57" y="17"/>
                      </a:lnTo>
                      <a:lnTo>
                        <a:pt x="57" y="17"/>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16" name="Freeform 430"/>
                <p:cNvSpPr>
                  <a:spLocks/>
                </p:cNvSpPr>
                <p:nvPr/>
              </p:nvSpPr>
              <p:spPr bwMode="auto">
                <a:xfrm>
                  <a:off x="2840077" y="2627328"/>
                  <a:ext cx="31750" cy="46038"/>
                </a:xfrm>
                <a:custGeom>
                  <a:avLst/>
                  <a:gdLst>
                    <a:gd name="T0" fmla="*/ 56 w 96"/>
                    <a:gd name="T1" fmla="*/ 142 h 142"/>
                    <a:gd name="T2" fmla="*/ 56 w 96"/>
                    <a:gd name="T3" fmla="*/ 142 h 142"/>
                    <a:gd name="T4" fmla="*/ 64 w 96"/>
                    <a:gd name="T5" fmla="*/ 140 h 142"/>
                    <a:gd name="T6" fmla="*/ 72 w 96"/>
                    <a:gd name="T7" fmla="*/ 138 h 142"/>
                    <a:gd name="T8" fmla="*/ 78 w 96"/>
                    <a:gd name="T9" fmla="*/ 134 h 142"/>
                    <a:gd name="T10" fmla="*/ 84 w 96"/>
                    <a:gd name="T11" fmla="*/ 129 h 142"/>
                    <a:gd name="T12" fmla="*/ 89 w 96"/>
                    <a:gd name="T13" fmla="*/ 123 h 142"/>
                    <a:gd name="T14" fmla="*/ 92 w 96"/>
                    <a:gd name="T15" fmla="*/ 116 h 142"/>
                    <a:gd name="T16" fmla="*/ 95 w 96"/>
                    <a:gd name="T17" fmla="*/ 109 h 142"/>
                    <a:gd name="T18" fmla="*/ 96 w 96"/>
                    <a:gd name="T19" fmla="*/ 101 h 142"/>
                    <a:gd name="T20" fmla="*/ 96 w 96"/>
                    <a:gd name="T21" fmla="*/ 0 h 142"/>
                    <a:gd name="T22" fmla="*/ 0 w 96"/>
                    <a:gd name="T23" fmla="*/ 0 h 142"/>
                    <a:gd name="T24" fmla="*/ 0 w 96"/>
                    <a:gd name="T25" fmla="*/ 71 h 142"/>
                    <a:gd name="T26" fmla="*/ 0 w 96"/>
                    <a:gd name="T27" fmla="*/ 142 h 142"/>
                    <a:gd name="T28" fmla="*/ 56 w 96"/>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142">
                      <a:moveTo>
                        <a:pt x="56" y="142"/>
                      </a:moveTo>
                      <a:lnTo>
                        <a:pt x="56" y="142"/>
                      </a:lnTo>
                      <a:lnTo>
                        <a:pt x="64" y="140"/>
                      </a:lnTo>
                      <a:lnTo>
                        <a:pt x="72" y="138"/>
                      </a:lnTo>
                      <a:lnTo>
                        <a:pt x="78" y="134"/>
                      </a:lnTo>
                      <a:lnTo>
                        <a:pt x="84" y="129"/>
                      </a:lnTo>
                      <a:lnTo>
                        <a:pt x="89" y="123"/>
                      </a:lnTo>
                      <a:lnTo>
                        <a:pt x="92" y="116"/>
                      </a:lnTo>
                      <a:lnTo>
                        <a:pt x="95" y="109"/>
                      </a:lnTo>
                      <a:lnTo>
                        <a:pt x="96" y="101"/>
                      </a:lnTo>
                      <a:lnTo>
                        <a:pt x="96" y="0"/>
                      </a:lnTo>
                      <a:lnTo>
                        <a:pt x="0" y="0"/>
                      </a:lnTo>
                      <a:lnTo>
                        <a:pt x="0" y="71"/>
                      </a:lnTo>
                      <a:lnTo>
                        <a:pt x="0" y="142"/>
                      </a:lnTo>
                      <a:lnTo>
                        <a:pt x="56" y="142"/>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17" name="Freeform 431"/>
                <p:cNvSpPr>
                  <a:spLocks/>
                </p:cNvSpPr>
                <p:nvPr/>
              </p:nvSpPr>
              <p:spPr bwMode="auto">
                <a:xfrm>
                  <a:off x="2809914" y="2627328"/>
                  <a:ext cx="30163" cy="46038"/>
                </a:xfrm>
                <a:custGeom>
                  <a:avLst/>
                  <a:gdLst>
                    <a:gd name="T0" fmla="*/ 40 w 95"/>
                    <a:gd name="T1" fmla="*/ 142 h 142"/>
                    <a:gd name="T2" fmla="*/ 40 w 95"/>
                    <a:gd name="T3" fmla="*/ 142 h 142"/>
                    <a:gd name="T4" fmla="*/ 31 w 95"/>
                    <a:gd name="T5" fmla="*/ 140 h 142"/>
                    <a:gd name="T6" fmla="*/ 24 w 95"/>
                    <a:gd name="T7" fmla="*/ 138 h 142"/>
                    <a:gd name="T8" fmla="*/ 18 w 95"/>
                    <a:gd name="T9" fmla="*/ 134 h 142"/>
                    <a:gd name="T10" fmla="*/ 12 w 95"/>
                    <a:gd name="T11" fmla="*/ 129 h 142"/>
                    <a:gd name="T12" fmla="*/ 7 w 95"/>
                    <a:gd name="T13" fmla="*/ 123 h 142"/>
                    <a:gd name="T14" fmla="*/ 3 w 95"/>
                    <a:gd name="T15" fmla="*/ 116 h 142"/>
                    <a:gd name="T16" fmla="*/ 1 w 95"/>
                    <a:gd name="T17" fmla="*/ 109 h 142"/>
                    <a:gd name="T18" fmla="*/ 0 w 95"/>
                    <a:gd name="T19" fmla="*/ 101 h 142"/>
                    <a:gd name="T20" fmla="*/ 0 w 95"/>
                    <a:gd name="T21" fmla="*/ 0 h 142"/>
                    <a:gd name="T22" fmla="*/ 95 w 95"/>
                    <a:gd name="T23" fmla="*/ 0 h 142"/>
                    <a:gd name="T24" fmla="*/ 95 w 95"/>
                    <a:gd name="T25" fmla="*/ 71 h 142"/>
                    <a:gd name="T26" fmla="*/ 95 w 95"/>
                    <a:gd name="T27" fmla="*/ 142 h 142"/>
                    <a:gd name="T28" fmla="*/ 40 w 95"/>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40" y="142"/>
                      </a:moveTo>
                      <a:lnTo>
                        <a:pt x="40" y="142"/>
                      </a:lnTo>
                      <a:lnTo>
                        <a:pt x="31" y="140"/>
                      </a:lnTo>
                      <a:lnTo>
                        <a:pt x="24" y="138"/>
                      </a:lnTo>
                      <a:lnTo>
                        <a:pt x="18" y="134"/>
                      </a:lnTo>
                      <a:lnTo>
                        <a:pt x="12" y="129"/>
                      </a:lnTo>
                      <a:lnTo>
                        <a:pt x="7" y="123"/>
                      </a:lnTo>
                      <a:lnTo>
                        <a:pt x="3" y="116"/>
                      </a:lnTo>
                      <a:lnTo>
                        <a:pt x="1" y="109"/>
                      </a:lnTo>
                      <a:lnTo>
                        <a:pt x="0" y="101"/>
                      </a:lnTo>
                      <a:lnTo>
                        <a:pt x="0" y="0"/>
                      </a:lnTo>
                      <a:lnTo>
                        <a:pt x="95" y="0"/>
                      </a:lnTo>
                      <a:lnTo>
                        <a:pt x="95" y="71"/>
                      </a:lnTo>
                      <a:lnTo>
                        <a:pt x="95" y="142"/>
                      </a:lnTo>
                      <a:lnTo>
                        <a:pt x="40" y="1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18" name="Freeform 432"/>
                <p:cNvSpPr>
                  <a:spLocks/>
                </p:cNvSpPr>
                <p:nvPr/>
              </p:nvSpPr>
              <p:spPr bwMode="auto">
                <a:xfrm>
                  <a:off x="2800389" y="2573353"/>
                  <a:ext cx="39688" cy="60326"/>
                </a:xfrm>
                <a:custGeom>
                  <a:avLst/>
                  <a:gdLst>
                    <a:gd name="T0" fmla="*/ 53 w 127"/>
                    <a:gd name="T1" fmla="*/ 0 h 190"/>
                    <a:gd name="T2" fmla="*/ 53 w 127"/>
                    <a:gd name="T3" fmla="*/ 0 h 190"/>
                    <a:gd name="T4" fmla="*/ 43 w 127"/>
                    <a:gd name="T5" fmla="*/ 1 h 190"/>
                    <a:gd name="T6" fmla="*/ 33 w 127"/>
                    <a:gd name="T7" fmla="*/ 5 h 190"/>
                    <a:gd name="T8" fmla="*/ 23 w 127"/>
                    <a:gd name="T9" fmla="*/ 10 h 190"/>
                    <a:gd name="T10" fmla="*/ 16 w 127"/>
                    <a:gd name="T11" fmla="*/ 16 h 190"/>
                    <a:gd name="T12" fmla="*/ 8 w 127"/>
                    <a:gd name="T13" fmla="*/ 25 h 190"/>
                    <a:gd name="T14" fmla="*/ 4 w 127"/>
                    <a:gd name="T15" fmla="*/ 34 h 190"/>
                    <a:gd name="T16" fmla="*/ 1 w 127"/>
                    <a:gd name="T17" fmla="*/ 44 h 190"/>
                    <a:gd name="T18" fmla="*/ 0 w 127"/>
                    <a:gd name="T19" fmla="*/ 55 h 190"/>
                    <a:gd name="T20" fmla="*/ 0 w 127"/>
                    <a:gd name="T21" fmla="*/ 190 h 190"/>
                    <a:gd name="T22" fmla="*/ 127 w 127"/>
                    <a:gd name="T23" fmla="*/ 190 h 190"/>
                    <a:gd name="T24" fmla="*/ 127 w 127"/>
                    <a:gd name="T25" fmla="*/ 95 h 190"/>
                    <a:gd name="T26" fmla="*/ 127 w 127"/>
                    <a:gd name="T27" fmla="*/ 0 h 190"/>
                    <a:gd name="T28" fmla="*/ 53 w 127"/>
                    <a:gd name="T29"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7" h="190">
                      <a:moveTo>
                        <a:pt x="53" y="0"/>
                      </a:moveTo>
                      <a:lnTo>
                        <a:pt x="53" y="0"/>
                      </a:lnTo>
                      <a:lnTo>
                        <a:pt x="43" y="1"/>
                      </a:lnTo>
                      <a:lnTo>
                        <a:pt x="33" y="5"/>
                      </a:lnTo>
                      <a:lnTo>
                        <a:pt x="23" y="10"/>
                      </a:lnTo>
                      <a:lnTo>
                        <a:pt x="16" y="16"/>
                      </a:lnTo>
                      <a:lnTo>
                        <a:pt x="8" y="25"/>
                      </a:lnTo>
                      <a:lnTo>
                        <a:pt x="4" y="34"/>
                      </a:lnTo>
                      <a:lnTo>
                        <a:pt x="1" y="44"/>
                      </a:lnTo>
                      <a:lnTo>
                        <a:pt x="0" y="55"/>
                      </a:lnTo>
                      <a:lnTo>
                        <a:pt x="0" y="190"/>
                      </a:lnTo>
                      <a:lnTo>
                        <a:pt x="127" y="190"/>
                      </a:lnTo>
                      <a:lnTo>
                        <a:pt x="127" y="95"/>
                      </a:lnTo>
                      <a:lnTo>
                        <a:pt x="127" y="0"/>
                      </a:lnTo>
                      <a:lnTo>
                        <a:pt x="5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19" name="Freeform 433"/>
                <p:cNvSpPr>
                  <a:spLocks/>
                </p:cNvSpPr>
                <p:nvPr/>
              </p:nvSpPr>
              <p:spPr bwMode="auto">
                <a:xfrm>
                  <a:off x="2840077" y="2573353"/>
                  <a:ext cx="41275" cy="60326"/>
                </a:xfrm>
                <a:custGeom>
                  <a:avLst/>
                  <a:gdLst>
                    <a:gd name="T0" fmla="*/ 74 w 128"/>
                    <a:gd name="T1" fmla="*/ 0 h 190"/>
                    <a:gd name="T2" fmla="*/ 74 w 128"/>
                    <a:gd name="T3" fmla="*/ 0 h 190"/>
                    <a:gd name="T4" fmla="*/ 85 w 128"/>
                    <a:gd name="T5" fmla="*/ 1 h 190"/>
                    <a:gd name="T6" fmla="*/ 95 w 128"/>
                    <a:gd name="T7" fmla="*/ 5 h 190"/>
                    <a:gd name="T8" fmla="*/ 104 w 128"/>
                    <a:gd name="T9" fmla="*/ 10 h 190"/>
                    <a:gd name="T10" fmla="*/ 112 w 128"/>
                    <a:gd name="T11" fmla="*/ 16 h 190"/>
                    <a:gd name="T12" fmla="*/ 119 w 128"/>
                    <a:gd name="T13" fmla="*/ 25 h 190"/>
                    <a:gd name="T14" fmla="*/ 124 w 128"/>
                    <a:gd name="T15" fmla="*/ 34 h 190"/>
                    <a:gd name="T16" fmla="*/ 126 w 128"/>
                    <a:gd name="T17" fmla="*/ 44 h 190"/>
                    <a:gd name="T18" fmla="*/ 128 w 128"/>
                    <a:gd name="T19" fmla="*/ 55 h 190"/>
                    <a:gd name="T20" fmla="*/ 128 w 128"/>
                    <a:gd name="T21" fmla="*/ 190 h 190"/>
                    <a:gd name="T22" fmla="*/ 0 w 128"/>
                    <a:gd name="T23" fmla="*/ 190 h 190"/>
                    <a:gd name="T24" fmla="*/ 0 w 128"/>
                    <a:gd name="T25" fmla="*/ 95 h 190"/>
                    <a:gd name="T26" fmla="*/ 0 w 128"/>
                    <a:gd name="T27" fmla="*/ 0 h 190"/>
                    <a:gd name="T28" fmla="*/ 74 w 128"/>
                    <a:gd name="T29"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90">
                      <a:moveTo>
                        <a:pt x="74" y="0"/>
                      </a:moveTo>
                      <a:lnTo>
                        <a:pt x="74" y="0"/>
                      </a:lnTo>
                      <a:lnTo>
                        <a:pt x="85" y="1"/>
                      </a:lnTo>
                      <a:lnTo>
                        <a:pt x="95" y="5"/>
                      </a:lnTo>
                      <a:lnTo>
                        <a:pt x="104" y="10"/>
                      </a:lnTo>
                      <a:lnTo>
                        <a:pt x="112" y="16"/>
                      </a:lnTo>
                      <a:lnTo>
                        <a:pt x="119" y="25"/>
                      </a:lnTo>
                      <a:lnTo>
                        <a:pt x="124" y="34"/>
                      </a:lnTo>
                      <a:lnTo>
                        <a:pt x="126" y="44"/>
                      </a:lnTo>
                      <a:lnTo>
                        <a:pt x="128" y="55"/>
                      </a:lnTo>
                      <a:lnTo>
                        <a:pt x="128" y="190"/>
                      </a:lnTo>
                      <a:lnTo>
                        <a:pt x="0" y="190"/>
                      </a:lnTo>
                      <a:lnTo>
                        <a:pt x="0" y="95"/>
                      </a:lnTo>
                      <a:lnTo>
                        <a:pt x="0" y="0"/>
                      </a:lnTo>
                      <a:lnTo>
                        <a:pt x="74"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20" name="Freeform 434"/>
                <p:cNvSpPr>
                  <a:spLocks/>
                </p:cNvSpPr>
                <p:nvPr/>
              </p:nvSpPr>
              <p:spPr bwMode="auto">
                <a:xfrm>
                  <a:off x="2840077" y="2627328"/>
                  <a:ext cx="49213" cy="28575"/>
                </a:xfrm>
                <a:custGeom>
                  <a:avLst/>
                  <a:gdLst>
                    <a:gd name="T0" fmla="*/ 0 w 152"/>
                    <a:gd name="T1" fmla="*/ 0 h 90"/>
                    <a:gd name="T2" fmla="*/ 0 w 152"/>
                    <a:gd name="T3" fmla="*/ 37 h 90"/>
                    <a:gd name="T4" fmla="*/ 0 w 152"/>
                    <a:gd name="T5" fmla="*/ 37 h 90"/>
                    <a:gd name="T6" fmla="*/ 19 w 152"/>
                    <a:gd name="T7" fmla="*/ 38 h 90"/>
                    <a:gd name="T8" fmla="*/ 35 w 152"/>
                    <a:gd name="T9" fmla="*/ 40 h 90"/>
                    <a:gd name="T10" fmla="*/ 50 w 152"/>
                    <a:gd name="T11" fmla="*/ 45 h 90"/>
                    <a:gd name="T12" fmla="*/ 62 w 152"/>
                    <a:gd name="T13" fmla="*/ 50 h 90"/>
                    <a:gd name="T14" fmla="*/ 73 w 152"/>
                    <a:gd name="T15" fmla="*/ 56 h 90"/>
                    <a:gd name="T16" fmla="*/ 83 w 152"/>
                    <a:gd name="T17" fmla="*/ 64 h 90"/>
                    <a:gd name="T18" fmla="*/ 92 w 152"/>
                    <a:gd name="T19" fmla="*/ 71 h 90"/>
                    <a:gd name="T20" fmla="*/ 100 w 152"/>
                    <a:gd name="T21" fmla="*/ 78 h 90"/>
                    <a:gd name="T22" fmla="*/ 100 w 152"/>
                    <a:gd name="T23" fmla="*/ 78 h 90"/>
                    <a:gd name="T24" fmla="*/ 106 w 152"/>
                    <a:gd name="T25" fmla="*/ 83 h 90"/>
                    <a:gd name="T26" fmla="*/ 112 w 152"/>
                    <a:gd name="T27" fmla="*/ 87 h 90"/>
                    <a:gd name="T28" fmla="*/ 119 w 152"/>
                    <a:gd name="T29" fmla="*/ 89 h 90"/>
                    <a:gd name="T30" fmla="*/ 125 w 152"/>
                    <a:gd name="T31" fmla="*/ 90 h 90"/>
                    <a:gd name="T32" fmla="*/ 133 w 152"/>
                    <a:gd name="T33" fmla="*/ 89 h 90"/>
                    <a:gd name="T34" fmla="*/ 140 w 152"/>
                    <a:gd name="T35" fmla="*/ 88 h 90"/>
                    <a:gd name="T36" fmla="*/ 146 w 152"/>
                    <a:gd name="T37" fmla="*/ 84 h 90"/>
                    <a:gd name="T38" fmla="*/ 152 w 152"/>
                    <a:gd name="T39" fmla="*/ 81 h 90"/>
                    <a:gd name="T40" fmla="*/ 152 w 152"/>
                    <a:gd name="T41" fmla="*/ 81 h 90"/>
                    <a:gd name="T42" fmla="*/ 126 w 152"/>
                    <a:gd name="T43" fmla="*/ 53 h 90"/>
                    <a:gd name="T44" fmla="*/ 126 w 152"/>
                    <a:gd name="T45" fmla="*/ 53 h 90"/>
                    <a:gd name="T46" fmla="*/ 115 w 152"/>
                    <a:gd name="T47" fmla="*/ 42 h 90"/>
                    <a:gd name="T48" fmla="*/ 104 w 152"/>
                    <a:gd name="T49" fmla="*/ 32 h 90"/>
                    <a:gd name="T50" fmla="*/ 91 w 152"/>
                    <a:gd name="T51" fmla="*/ 23 h 90"/>
                    <a:gd name="T52" fmla="*/ 76 w 152"/>
                    <a:gd name="T53" fmla="*/ 15 h 90"/>
                    <a:gd name="T54" fmla="*/ 61 w 152"/>
                    <a:gd name="T55" fmla="*/ 9 h 90"/>
                    <a:gd name="T56" fmla="*/ 42 w 152"/>
                    <a:gd name="T57" fmla="*/ 4 h 90"/>
                    <a:gd name="T58" fmla="*/ 23 w 152"/>
                    <a:gd name="T59" fmla="*/ 0 h 90"/>
                    <a:gd name="T60" fmla="*/ 0 w 152"/>
                    <a:gd name="T61" fmla="*/ 0 h 90"/>
                    <a:gd name="T62" fmla="*/ 0 w 152"/>
                    <a:gd name="T6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90">
                      <a:moveTo>
                        <a:pt x="0" y="0"/>
                      </a:moveTo>
                      <a:lnTo>
                        <a:pt x="0" y="37"/>
                      </a:lnTo>
                      <a:lnTo>
                        <a:pt x="0" y="37"/>
                      </a:lnTo>
                      <a:lnTo>
                        <a:pt x="19" y="38"/>
                      </a:lnTo>
                      <a:lnTo>
                        <a:pt x="35" y="40"/>
                      </a:lnTo>
                      <a:lnTo>
                        <a:pt x="50" y="45"/>
                      </a:lnTo>
                      <a:lnTo>
                        <a:pt x="62" y="50"/>
                      </a:lnTo>
                      <a:lnTo>
                        <a:pt x="73" y="56"/>
                      </a:lnTo>
                      <a:lnTo>
                        <a:pt x="83" y="64"/>
                      </a:lnTo>
                      <a:lnTo>
                        <a:pt x="92" y="71"/>
                      </a:lnTo>
                      <a:lnTo>
                        <a:pt x="100" y="78"/>
                      </a:lnTo>
                      <a:lnTo>
                        <a:pt x="100" y="78"/>
                      </a:lnTo>
                      <a:lnTo>
                        <a:pt x="106" y="83"/>
                      </a:lnTo>
                      <a:lnTo>
                        <a:pt x="112" y="87"/>
                      </a:lnTo>
                      <a:lnTo>
                        <a:pt x="119" y="89"/>
                      </a:lnTo>
                      <a:lnTo>
                        <a:pt x="125" y="90"/>
                      </a:lnTo>
                      <a:lnTo>
                        <a:pt x="133" y="89"/>
                      </a:lnTo>
                      <a:lnTo>
                        <a:pt x="140" y="88"/>
                      </a:lnTo>
                      <a:lnTo>
                        <a:pt x="146" y="84"/>
                      </a:lnTo>
                      <a:lnTo>
                        <a:pt x="152" y="81"/>
                      </a:lnTo>
                      <a:lnTo>
                        <a:pt x="152" y="81"/>
                      </a:lnTo>
                      <a:lnTo>
                        <a:pt x="126" y="53"/>
                      </a:lnTo>
                      <a:lnTo>
                        <a:pt x="126" y="53"/>
                      </a:lnTo>
                      <a:lnTo>
                        <a:pt x="115" y="42"/>
                      </a:lnTo>
                      <a:lnTo>
                        <a:pt x="104" y="32"/>
                      </a:lnTo>
                      <a:lnTo>
                        <a:pt x="91" y="23"/>
                      </a:lnTo>
                      <a:lnTo>
                        <a:pt x="76" y="15"/>
                      </a:lnTo>
                      <a:lnTo>
                        <a:pt x="61" y="9"/>
                      </a:lnTo>
                      <a:lnTo>
                        <a:pt x="42" y="4"/>
                      </a:lnTo>
                      <a:lnTo>
                        <a:pt x="23" y="0"/>
                      </a:lnTo>
                      <a:lnTo>
                        <a:pt x="0" y="0"/>
                      </a:lnTo>
                      <a:lnTo>
                        <a:pt x="0" y="0"/>
                      </a:lnTo>
                      <a:close/>
                    </a:path>
                  </a:pathLst>
                </a:custGeom>
                <a:solidFill>
                  <a:srgbClr val="7F2D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21" name="Freeform 435"/>
                <p:cNvSpPr>
                  <a:spLocks/>
                </p:cNvSpPr>
                <p:nvPr/>
              </p:nvSpPr>
              <p:spPr bwMode="auto">
                <a:xfrm>
                  <a:off x="2840077" y="2616216"/>
                  <a:ext cx="52388" cy="38100"/>
                </a:xfrm>
                <a:custGeom>
                  <a:avLst/>
                  <a:gdLst>
                    <a:gd name="T0" fmla="*/ 0 w 164"/>
                    <a:gd name="T1" fmla="*/ 38 h 119"/>
                    <a:gd name="T2" fmla="*/ 0 w 164"/>
                    <a:gd name="T3" fmla="*/ 38 h 119"/>
                    <a:gd name="T4" fmla="*/ 23 w 164"/>
                    <a:gd name="T5" fmla="*/ 38 h 119"/>
                    <a:gd name="T6" fmla="*/ 42 w 164"/>
                    <a:gd name="T7" fmla="*/ 42 h 119"/>
                    <a:gd name="T8" fmla="*/ 61 w 164"/>
                    <a:gd name="T9" fmla="*/ 47 h 119"/>
                    <a:gd name="T10" fmla="*/ 76 w 164"/>
                    <a:gd name="T11" fmla="*/ 53 h 119"/>
                    <a:gd name="T12" fmla="*/ 91 w 164"/>
                    <a:gd name="T13" fmla="*/ 61 h 119"/>
                    <a:gd name="T14" fmla="*/ 104 w 164"/>
                    <a:gd name="T15" fmla="*/ 70 h 119"/>
                    <a:gd name="T16" fmla="*/ 115 w 164"/>
                    <a:gd name="T17" fmla="*/ 80 h 119"/>
                    <a:gd name="T18" fmla="*/ 126 w 164"/>
                    <a:gd name="T19" fmla="*/ 91 h 119"/>
                    <a:gd name="T20" fmla="*/ 126 w 164"/>
                    <a:gd name="T21" fmla="*/ 91 h 119"/>
                    <a:gd name="T22" fmla="*/ 152 w 164"/>
                    <a:gd name="T23" fmla="*/ 119 h 119"/>
                    <a:gd name="T24" fmla="*/ 153 w 164"/>
                    <a:gd name="T25" fmla="*/ 118 h 119"/>
                    <a:gd name="T26" fmla="*/ 153 w 164"/>
                    <a:gd name="T27" fmla="*/ 118 h 119"/>
                    <a:gd name="T28" fmla="*/ 158 w 164"/>
                    <a:gd name="T29" fmla="*/ 111 h 119"/>
                    <a:gd name="T30" fmla="*/ 162 w 164"/>
                    <a:gd name="T31" fmla="*/ 105 h 119"/>
                    <a:gd name="T32" fmla="*/ 164 w 164"/>
                    <a:gd name="T33" fmla="*/ 98 h 119"/>
                    <a:gd name="T34" fmla="*/ 164 w 164"/>
                    <a:gd name="T35" fmla="*/ 91 h 119"/>
                    <a:gd name="T36" fmla="*/ 164 w 164"/>
                    <a:gd name="T37" fmla="*/ 91 h 119"/>
                    <a:gd name="T38" fmla="*/ 164 w 164"/>
                    <a:gd name="T39" fmla="*/ 83 h 119"/>
                    <a:gd name="T40" fmla="*/ 162 w 164"/>
                    <a:gd name="T41" fmla="*/ 77 h 119"/>
                    <a:gd name="T42" fmla="*/ 158 w 164"/>
                    <a:gd name="T43" fmla="*/ 70 h 119"/>
                    <a:gd name="T44" fmla="*/ 154 w 164"/>
                    <a:gd name="T45" fmla="*/ 65 h 119"/>
                    <a:gd name="T46" fmla="*/ 154 w 164"/>
                    <a:gd name="T47" fmla="*/ 65 h 119"/>
                    <a:gd name="T48" fmla="*/ 144 w 164"/>
                    <a:gd name="T49" fmla="*/ 54 h 119"/>
                    <a:gd name="T50" fmla="*/ 130 w 164"/>
                    <a:gd name="T51" fmla="*/ 43 h 119"/>
                    <a:gd name="T52" fmla="*/ 115 w 164"/>
                    <a:gd name="T53" fmla="*/ 32 h 119"/>
                    <a:gd name="T54" fmla="*/ 98 w 164"/>
                    <a:gd name="T55" fmla="*/ 22 h 119"/>
                    <a:gd name="T56" fmla="*/ 78 w 164"/>
                    <a:gd name="T57" fmla="*/ 13 h 119"/>
                    <a:gd name="T58" fmla="*/ 67 w 164"/>
                    <a:gd name="T59" fmla="*/ 9 h 119"/>
                    <a:gd name="T60" fmla="*/ 56 w 164"/>
                    <a:gd name="T61" fmla="*/ 7 h 119"/>
                    <a:gd name="T62" fmla="*/ 42 w 164"/>
                    <a:gd name="T63" fmla="*/ 4 h 119"/>
                    <a:gd name="T64" fmla="*/ 29 w 164"/>
                    <a:gd name="T65" fmla="*/ 2 h 119"/>
                    <a:gd name="T66" fmla="*/ 15 w 164"/>
                    <a:gd name="T67" fmla="*/ 0 h 119"/>
                    <a:gd name="T68" fmla="*/ 0 w 164"/>
                    <a:gd name="T69" fmla="*/ 0 h 119"/>
                    <a:gd name="T70" fmla="*/ 0 w 164"/>
                    <a:gd name="T71" fmla="*/ 3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119">
                      <a:moveTo>
                        <a:pt x="0" y="38"/>
                      </a:moveTo>
                      <a:lnTo>
                        <a:pt x="0" y="38"/>
                      </a:lnTo>
                      <a:lnTo>
                        <a:pt x="23" y="38"/>
                      </a:lnTo>
                      <a:lnTo>
                        <a:pt x="42" y="42"/>
                      </a:lnTo>
                      <a:lnTo>
                        <a:pt x="61" y="47"/>
                      </a:lnTo>
                      <a:lnTo>
                        <a:pt x="76" y="53"/>
                      </a:lnTo>
                      <a:lnTo>
                        <a:pt x="91" y="61"/>
                      </a:lnTo>
                      <a:lnTo>
                        <a:pt x="104" y="70"/>
                      </a:lnTo>
                      <a:lnTo>
                        <a:pt x="115" y="80"/>
                      </a:lnTo>
                      <a:lnTo>
                        <a:pt x="126" y="91"/>
                      </a:lnTo>
                      <a:lnTo>
                        <a:pt x="126" y="91"/>
                      </a:lnTo>
                      <a:lnTo>
                        <a:pt x="152" y="119"/>
                      </a:lnTo>
                      <a:lnTo>
                        <a:pt x="153" y="118"/>
                      </a:lnTo>
                      <a:lnTo>
                        <a:pt x="153" y="118"/>
                      </a:lnTo>
                      <a:lnTo>
                        <a:pt x="158" y="111"/>
                      </a:lnTo>
                      <a:lnTo>
                        <a:pt x="162" y="105"/>
                      </a:lnTo>
                      <a:lnTo>
                        <a:pt x="164" y="98"/>
                      </a:lnTo>
                      <a:lnTo>
                        <a:pt x="164" y="91"/>
                      </a:lnTo>
                      <a:lnTo>
                        <a:pt x="164" y="91"/>
                      </a:lnTo>
                      <a:lnTo>
                        <a:pt x="164" y="83"/>
                      </a:lnTo>
                      <a:lnTo>
                        <a:pt x="162" y="77"/>
                      </a:lnTo>
                      <a:lnTo>
                        <a:pt x="158" y="70"/>
                      </a:lnTo>
                      <a:lnTo>
                        <a:pt x="154" y="65"/>
                      </a:lnTo>
                      <a:lnTo>
                        <a:pt x="154" y="65"/>
                      </a:lnTo>
                      <a:lnTo>
                        <a:pt x="144" y="54"/>
                      </a:lnTo>
                      <a:lnTo>
                        <a:pt x="130" y="43"/>
                      </a:lnTo>
                      <a:lnTo>
                        <a:pt x="115" y="32"/>
                      </a:lnTo>
                      <a:lnTo>
                        <a:pt x="98" y="22"/>
                      </a:lnTo>
                      <a:lnTo>
                        <a:pt x="78" y="13"/>
                      </a:lnTo>
                      <a:lnTo>
                        <a:pt x="67" y="9"/>
                      </a:lnTo>
                      <a:lnTo>
                        <a:pt x="56" y="7"/>
                      </a:lnTo>
                      <a:lnTo>
                        <a:pt x="42" y="4"/>
                      </a:lnTo>
                      <a:lnTo>
                        <a:pt x="29" y="2"/>
                      </a:lnTo>
                      <a:lnTo>
                        <a:pt x="15" y="0"/>
                      </a:lnTo>
                      <a:lnTo>
                        <a:pt x="0" y="0"/>
                      </a:lnTo>
                      <a:lnTo>
                        <a:pt x="0" y="38"/>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22" name="Freeform 436"/>
                <p:cNvSpPr>
                  <a:spLocks/>
                </p:cNvSpPr>
                <p:nvPr/>
              </p:nvSpPr>
              <p:spPr bwMode="auto">
                <a:xfrm>
                  <a:off x="2792451" y="2627328"/>
                  <a:ext cx="47625" cy="28575"/>
                </a:xfrm>
                <a:custGeom>
                  <a:avLst/>
                  <a:gdLst>
                    <a:gd name="T0" fmla="*/ 152 w 152"/>
                    <a:gd name="T1" fmla="*/ 0 h 90"/>
                    <a:gd name="T2" fmla="*/ 152 w 152"/>
                    <a:gd name="T3" fmla="*/ 37 h 90"/>
                    <a:gd name="T4" fmla="*/ 152 w 152"/>
                    <a:gd name="T5" fmla="*/ 37 h 90"/>
                    <a:gd name="T6" fmla="*/ 133 w 152"/>
                    <a:gd name="T7" fmla="*/ 38 h 90"/>
                    <a:gd name="T8" fmla="*/ 118 w 152"/>
                    <a:gd name="T9" fmla="*/ 40 h 90"/>
                    <a:gd name="T10" fmla="*/ 103 w 152"/>
                    <a:gd name="T11" fmla="*/ 45 h 90"/>
                    <a:gd name="T12" fmla="*/ 91 w 152"/>
                    <a:gd name="T13" fmla="*/ 50 h 90"/>
                    <a:gd name="T14" fmla="*/ 80 w 152"/>
                    <a:gd name="T15" fmla="*/ 56 h 90"/>
                    <a:gd name="T16" fmla="*/ 70 w 152"/>
                    <a:gd name="T17" fmla="*/ 64 h 90"/>
                    <a:gd name="T18" fmla="*/ 60 w 152"/>
                    <a:gd name="T19" fmla="*/ 71 h 90"/>
                    <a:gd name="T20" fmla="*/ 53 w 152"/>
                    <a:gd name="T21" fmla="*/ 78 h 90"/>
                    <a:gd name="T22" fmla="*/ 53 w 152"/>
                    <a:gd name="T23" fmla="*/ 78 h 90"/>
                    <a:gd name="T24" fmla="*/ 47 w 152"/>
                    <a:gd name="T25" fmla="*/ 83 h 90"/>
                    <a:gd name="T26" fmla="*/ 41 w 152"/>
                    <a:gd name="T27" fmla="*/ 87 h 90"/>
                    <a:gd name="T28" fmla="*/ 33 w 152"/>
                    <a:gd name="T29" fmla="*/ 89 h 90"/>
                    <a:gd name="T30" fmla="*/ 27 w 152"/>
                    <a:gd name="T31" fmla="*/ 90 h 90"/>
                    <a:gd name="T32" fmla="*/ 20 w 152"/>
                    <a:gd name="T33" fmla="*/ 89 h 90"/>
                    <a:gd name="T34" fmla="*/ 13 w 152"/>
                    <a:gd name="T35" fmla="*/ 88 h 90"/>
                    <a:gd name="T36" fmla="*/ 7 w 152"/>
                    <a:gd name="T37" fmla="*/ 84 h 90"/>
                    <a:gd name="T38" fmla="*/ 0 w 152"/>
                    <a:gd name="T39" fmla="*/ 81 h 90"/>
                    <a:gd name="T40" fmla="*/ 0 w 152"/>
                    <a:gd name="T41" fmla="*/ 81 h 90"/>
                    <a:gd name="T42" fmla="*/ 26 w 152"/>
                    <a:gd name="T43" fmla="*/ 53 h 90"/>
                    <a:gd name="T44" fmla="*/ 26 w 152"/>
                    <a:gd name="T45" fmla="*/ 53 h 90"/>
                    <a:gd name="T46" fmla="*/ 37 w 152"/>
                    <a:gd name="T47" fmla="*/ 42 h 90"/>
                    <a:gd name="T48" fmla="*/ 48 w 152"/>
                    <a:gd name="T49" fmla="*/ 32 h 90"/>
                    <a:gd name="T50" fmla="*/ 61 w 152"/>
                    <a:gd name="T51" fmla="*/ 23 h 90"/>
                    <a:gd name="T52" fmla="*/ 76 w 152"/>
                    <a:gd name="T53" fmla="*/ 15 h 90"/>
                    <a:gd name="T54" fmla="*/ 92 w 152"/>
                    <a:gd name="T55" fmla="*/ 9 h 90"/>
                    <a:gd name="T56" fmla="*/ 110 w 152"/>
                    <a:gd name="T57" fmla="*/ 4 h 90"/>
                    <a:gd name="T58" fmla="*/ 130 w 152"/>
                    <a:gd name="T59" fmla="*/ 0 h 90"/>
                    <a:gd name="T60" fmla="*/ 152 w 152"/>
                    <a:gd name="T61" fmla="*/ 0 h 90"/>
                    <a:gd name="T62" fmla="*/ 152 w 152"/>
                    <a:gd name="T6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90">
                      <a:moveTo>
                        <a:pt x="152" y="0"/>
                      </a:moveTo>
                      <a:lnTo>
                        <a:pt x="152" y="37"/>
                      </a:lnTo>
                      <a:lnTo>
                        <a:pt x="152" y="37"/>
                      </a:lnTo>
                      <a:lnTo>
                        <a:pt x="133" y="38"/>
                      </a:lnTo>
                      <a:lnTo>
                        <a:pt x="118" y="40"/>
                      </a:lnTo>
                      <a:lnTo>
                        <a:pt x="103" y="45"/>
                      </a:lnTo>
                      <a:lnTo>
                        <a:pt x="91" y="50"/>
                      </a:lnTo>
                      <a:lnTo>
                        <a:pt x="80" y="56"/>
                      </a:lnTo>
                      <a:lnTo>
                        <a:pt x="70" y="64"/>
                      </a:lnTo>
                      <a:lnTo>
                        <a:pt x="60" y="71"/>
                      </a:lnTo>
                      <a:lnTo>
                        <a:pt x="53" y="78"/>
                      </a:lnTo>
                      <a:lnTo>
                        <a:pt x="53" y="78"/>
                      </a:lnTo>
                      <a:lnTo>
                        <a:pt x="47" y="83"/>
                      </a:lnTo>
                      <a:lnTo>
                        <a:pt x="41" y="87"/>
                      </a:lnTo>
                      <a:lnTo>
                        <a:pt x="33" y="89"/>
                      </a:lnTo>
                      <a:lnTo>
                        <a:pt x="27" y="90"/>
                      </a:lnTo>
                      <a:lnTo>
                        <a:pt x="20" y="89"/>
                      </a:lnTo>
                      <a:lnTo>
                        <a:pt x="13" y="88"/>
                      </a:lnTo>
                      <a:lnTo>
                        <a:pt x="7" y="84"/>
                      </a:lnTo>
                      <a:lnTo>
                        <a:pt x="0" y="81"/>
                      </a:lnTo>
                      <a:lnTo>
                        <a:pt x="0" y="81"/>
                      </a:lnTo>
                      <a:lnTo>
                        <a:pt x="26" y="53"/>
                      </a:lnTo>
                      <a:lnTo>
                        <a:pt x="26" y="53"/>
                      </a:lnTo>
                      <a:lnTo>
                        <a:pt x="37" y="42"/>
                      </a:lnTo>
                      <a:lnTo>
                        <a:pt x="48" y="32"/>
                      </a:lnTo>
                      <a:lnTo>
                        <a:pt x="61" y="23"/>
                      </a:lnTo>
                      <a:lnTo>
                        <a:pt x="76" y="15"/>
                      </a:lnTo>
                      <a:lnTo>
                        <a:pt x="92" y="9"/>
                      </a:lnTo>
                      <a:lnTo>
                        <a:pt x="110" y="4"/>
                      </a:lnTo>
                      <a:lnTo>
                        <a:pt x="130" y="0"/>
                      </a:lnTo>
                      <a:lnTo>
                        <a:pt x="152" y="0"/>
                      </a:lnTo>
                      <a:lnTo>
                        <a:pt x="152"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23" name="Freeform 437"/>
                <p:cNvSpPr>
                  <a:spLocks/>
                </p:cNvSpPr>
                <p:nvPr/>
              </p:nvSpPr>
              <p:spPr bwMode="auto">
                <a:xfrm>
                  <a:off x="2789276" y="2616216"/>
                  <a:ext cx="50800" cy="38100"/>
                </a:xfrm>
                <a:custGeom>
                  <a:avLst/>
                  <a:gdLst>
                    <a:gd name="T0" fmla="*/ 164 w 164"/>
                    <a:gd name="T1" fmla="*/ 38 h 119"/>
                    <a:gd name="T2" fmla="*/ 164 w 164"/>
                    <a:gd name="T3" fmla="*/ 38 h 119"/>
                    <a:gd name="T4" fmla="*/ 142 w 164"/>
                    <a:gd name="T5" fmla="*/ 38 h 119"/>
                    <a:gd name="T6" fmla="*/ 122 w 164"/>
                    <a:gd name="T7" fmla="*/ 42 h 119"/>
                    <a:gd name="T8" fmla="*/ 104 w 164"/>
                    <a:gd name="T9" fmla="*/ 47 h 119"/>
                    <a:gd name="T10" fmla="*/ 88 w 164"/>
                    <a:gd name="T11" fmla="*/ 53 h 119"/>
                    <a:gd name="T12" fmla="*/ 73 w 164"/>
                    <a:gd name="T13" fmla="*/ 61 h 119"/>
                    <a:gd name="T14" fmla="*/ 60 w 164"/>
                    <a:gd name="T15" fmla="*/ 70 h 119"/>
                    <a:gd name="T16" fmla="*/ 49 w 164"/>
                    <a:gd name="T17" fmla="*/ 80 h 119"/>
                    <a:gd name="T18" fmla="*/ 38 w 164"/>
                    <a:gd name="T19" fmla="*/ 91 h 119"/>
                    <a:gd name="T20" fmla="*/ 38 w 164"/>
                    <a:gd name="T21" fmla="*/ 91 h 119"/>
                    <a:gd name="T22" fmla="*/ 12 w 164"/>
                    <a:gd name="T23" fmla="*/ 119 h 119"/>
                    <a:gd name="T24" fmla="*/ 11 w 164"/>
                    <a:gd name="T25" fmla="*/ 118 h 119"/>
                    <a:gd name="T26" fmla="*/ 11 w 164"/>
                    <a:gd name="T27" fmla="*/ 118 h 119"/>
                    <a:gd name="T28" fmla="*/ 6 w 164"/>
                    <a:gd name="T29" fmla="*/ 111 h 119"/>
                    <a:gd name="T30" fmla="*/ 3 w 164"/>
                    <a:gd name="T31" fmla="*/ 105 h 119"/>
                    <a:gd name="T32" fmla="*/ 0 w 164"/>
                    <a:gd name="T33" fmla="*/ 98 h 119"/>
                    <a:gd name="T34" fmla="*/ 0 w 164"/>
                    <a:gd name="T35" fmla="*/ 91 h 119"/>
                    <a:gd name="T36" fmla="*/ 0 w 164"/>
                    <a:gd name="T37" fmla="*/ 91 h 119"/>
                    <a:gd name="T38" fmla="*/ 0 w 164"/>
                    <a:gd name="T39" fmla="*/ 83 h 119"/>
                    <a:gd name="T40" fmla="*/ 3 w 164"/>
                    <a:gd name="T41" fmla="*/ 77 h 119"/>
                    <a:gd name="T42" fmla="*/ 6 w 164"/>
                    <a:gd name="T43" fmla="*/ 70 h 119"/>
                    <a:gd name="T44" fmla="*/ 10 w 164"/>
                    <a:gd name="T45" fmla="*/ 65 h 119"/>
                    <a:gd name="T46" fmla="*/ 10 w 164"/>
                    <a:gd name="T47" fmla="*/ 65 h 119"/>
                    <a:gd name="T48" fmla="*/ 21 w 164"/>
                    <a:gd name="T49" fmla="*/ 54 h 119"/>
                    <a:gd name="T50" fmla="*/ 34 w 164"/>
                    <a:gd name="T51" fmla="*/ 43 h 119"/>
                    <a:gd name="T52" fmla="*/ 49 w 164"/>
                    <a:gd name="T53" fmla="*/ 32 h 119"/>
                    <a:gd name="T54" fmla="*/ 66 w 164"/>
                    <a:gd name="T55" fmla="*/ 22 h 119"/>
                    <a:gd name="T56" fmla="*/ 87 w 164"/>
                    <a:gd name="T57" fmla="*/ 13 h 119"/>
                    <a:gd name="T58" fmla="*/ 98 w 164"/>
                    <a:gd name="T59" fmla="*/ 9 h 119"/>
                    <a:gd name="T60" fmla="*/ 109 w 164"/>
                    <a:gd name="T61" fmla="*/ 7 h 119"/>
                    <a:gd name="T62" fmla="*/ 122 w 164"/>
                    <a:gd name="T63" fmla="*/ 4 h 119"/>
                    <a:gd name="T64" fmla="*/ 136 w 164"/>
                    <a:gd name="T65" fmla="*/ 2 h 119"/>
                    <a:gd name="T66" fmla="*/ 149 w 164"/>
                    <a:gd name="T67" fmla="*/ 0 h 119"/>
                    <a:gd name="T68" fmla="*/ 164 w 164"/>
                    <a:gd name="T69" fmla="*/ 0 h 119"/>
                    <a:gd name="T70" fmla="*/ 164 w 164"/>
                    <a:gd name="T71" fmla="*/ 3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119">
                      <a:moveTo>
                        <a:pt x="164" y="38"/>
                      </a:moveTo>
                      <a:lnTo>
                        <a:pt x="164" y="38"/>
                      </a:lnTo>
                      <a:lnTo>
                        <a:pt x="142" y="38"/>
                      </a:lnTo>
                      <a:lnTo>
                        <a:pt x="122" y="42"/>
                      </a:lnTo>
                      <a:lnTo>
                        <a:pt x="104" y="47"/>
                      </a:lnTo>
                      <a:lnTo>
                        <a:pt x="88" y="53"/>
                      </a:lnTo>
                      <a:lnTo>
                        <a:pt x="73" y="61"/>
                      </a:lnTo>
                      <a:lnTo>
                        <a:pt x="60" y="70"/>
                      </a:lnTo>
                      <a:lnTo>
                        <a:pt x="49" y="80"/>
                      </a:lnTo>
                      <a:lnTo>
                        <a:pt x="38" y="91"/>
                      </a:lnTo>
                      <a:lnTo>
                        <a:pt x="38" y="91"/>
                      </a:lnTo>
                      <a:lnTo>
                        <a:pt x="12" y="119"/>
                      </a:lnTo>
                      <a:lnTo>
                        <a:pt x="11" y="118"/>
                      </a:lnTo>
                      <a:lnTo>
                        <a:pt x="11" y="118"/>
                      </a:lnTo>
                      <a:lnTo>
                        <a:pt x="6" y="111"/>
                      </a:lnTo>
                      <a:lnTo>
                        <a:pt x="3" y="105"/>
                      </a:lnTo>
                      <a:lnTo>
                        <a:pt x="0" y="98"/>
                      </a:lnTo>
                      <a:lnTo>
                        <a:pt x="0" y="91"/>
                      </a:lnTo>
                      <a:lnTo>
                        <a:pt x="0" y="91"/>
                      </a:lnTo>
                      <a:lnTo>
                        <a:pt x="0" y="83"/>
                      </a:lnTo>
                      <a:lnTo>
                        <a:pt x="3" y="77"/>
                      </a:lnTo>
                      <a:lnTo>
                        <a:pt x="6" y="70"/>
                      </a:lnTo>
                      <a:lnTo>
                        <a:pt x="10" y="65"/>
                      </a:lnTo>
                      <a:lnTo>
                        <a:pt x="10" y="65"/>
                      </a:lnTo>
                      <a:lnTo>
                        <a:pt x="21" y="54"/>
                      </a:lnTo>
                      <a:lnTo>
                        <a:pt x="34" y="43"/>
                      </a:lnTo>
                      <a:lnTo>
                        <a:pt x="49" y="32"/>
                      </a:lnTo>
                      <a:lnTo>
                        <a:pt x="66" y="22"/>
                      </a:lnTo>
                      <a:lnTo>
                        <a:pt x="87" y="13"/>
                      </a:lnTo>
                      <a:lnTo>
                        <a:pt x="98" y="9"/>
                      </a:lnTo>
                      <a:lnTo>
                        <a:pt x="109" y="7"/>
                      </a:lnTo>
                      <a:lnTo>
                        <a:pt x="122" y="4"/>
                      </a:lnTo>
                      <a:lnTo>
                        <a:pt x="136" y="2"/>
                      </a:lnTo>
                      <a:lnTo>
                        <a:pt x="149" y="0"/>
                      </a:lnTo>
                      <a:lnTo>
                        <a:pt x="164" y="0"/>
                      </a:lnTo>
                      <a:lnTo>
                        <a:pt x="164" y="38"/>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24" name="Rectangle 438"/>
                <p:cNvSpPr>
                  <a:spLocks noChangeArrowheads="1"/>
                </p:cNvSpPr>
                <p:nvPr/>
              </p:nvSpPr>
              <p:spPr bwMode="auto">
                <a:xfrm>
                  <a:off x="2821026" y="2540015"/>
                  <a:ext cx="19050" cy="33338"/>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25" name="Rectangle 439"/>
                <p:cNvSpPr>
                  <a:spLocks noChangeArrowheads="1"/>
                </p:cNvSpPr>
                <p:nvPr/>
              </p:nvSpPr>
              <p:spPr bwMode="auto">
                <a:xfrm>
                  <a:off x="2840077" y="2540015"/>
                  <a:ext cx="20638" cy="33338"/>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26" name="Freeform 440"/>
                <p:cNvSpPr>
                  <a:spLocks/>
                </p:cNvSpPr>
                <p:nvPr/>
              </p:nvSpPr>
              <p:spPr bwMode="auto">
                <a:xfrm>
                  <a:off x="2813089" y="2492389"/>
                  <a:ext cx="55563" cy="6350"/>
                </a:xfrm>
                <a:custGeom>
                  <a:avLst/>
                  <a:gdLst>
                    <a:gd name="T0" fmla="*/ 155 w 177"/>
                    <a:gd name="T1" fmla="*/ 0 h 22"/>
                    <a:gd name="T2" fmla="*/ 22 w 177"/>
                    <a:gd name="T3" fmla="*/ 0 h 22"/>
                    <a:gd name="T4" fmla="*/ 22 w 177"/>
                    <a:gd name="T5" fmla="*/ 0 h 22"/>
                    <a:gd name="T6" fmla="*/ 17 w 177"/>
                    <a:gd name="T7" fmla="*/ 2 h 22"/>
                    <a:gd name="T8" fmla="*/ 13 w 177"/>
                    <a:gd name="T9" fmla="*/ 3 h 22"/>
                    <a:gd name="T10" fmla="*/ 10 w 177"/>
                    <a:gd name="T11" fmla="*/ 4 h 22"/>
                    <a:gd name="T12" fmla="*/ 6 w 177"/>
                    <a:gd name="T13" fmla="*/ 6 h 22"/>
                    <a:gd name="T14" fmla="*/ 4 w 177"/>
                    <a:gd name="T15" fmla="*/ 10 h 22"/>
                    <a:gd name="T16" fmla="*/ 1 w 177"/>
                    <a:gd name="T17" fmla="*/ 14 h 22"/>
                    <a:gd name="T18" fmla="*/ 0 w 177"/>
                    <a:gd name="T19" fmla="*/ 19 h 22"/>
                    <a:gd name="T20" fmla="*/ 0 w 177"/>
                    <a:gd name="T21" fmla="*/ 22 h 22"/>
                    <a:gd name="T22" fmla="*/ 177 w 177"/>
                    <a:gd name="T23" fmla="*/ 22 h 22"/>
                    <a:gd name="T24" fmla="*/ 177 w 177"/>
                    <a:gd name="T25" fmla="*/ 22 h 22"/>
                    <a:gd name="T26" fmla="*/ 177 w 177"/>
                    <a:gd name="T27" fmla="*/ 19 h 22"/>
                    <a:gd name="T28" fmla="*/ 175 w 177"/>
                    <a:gd name="T29" fmla="*/ 14 h 22"/>
                    <a:gd name="T30" fmla="*/ 173 w 177"/>
                    <a:gd name="T31" fmla="*/ 10 h 22"/>
                    <a:gd name="T32" fmla="*/ 171 w 177"/>
                    <a:gd name="T33" fmla="*/ 6 h 22"/>
                    <a:gd name="T34" fmla="*/ 167 w 177"/>
                    <a:gd name="T35" fmla="*/ 4 h 22"/>
                    <a:gd name="T36" fmla="*/ 163 w 177"/>
                    <a:gd name="T37" fmla="*/ 3 h 22"/>
                    <a:gd name="T38" fmla="*/ 160 w 177"/>
                    <a:gd name="T39" fmla="*/ 2 h 22"/>
                    <a:gd name="T40" fmla="*/ 155 w 177"/>
                    <a:gd name="T41" fmla="*/ 0 h 22"/>
                    <a:gd name="T42" fmla="*/ 155 w 177"/>
                    <a:gd name="T4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7" h="22">
                      <a:moveTo>
                        <a:pt x="155" y="0"/>
                      </a:moveTo>
                      <a:lnTo>
                        <a:pt x="22" y="0"/>
                      </a:lnTo>
                      <a:lnTo>
                        <a:pt x="22" y="0"/>
                      </a:lnTo>
                      <a:lnTo>
                        <a:pt x="17" y="2"/>
                      </a:lnTo>
                      <a:lnTo>
                        <a:pt x="13" y="3"/>
                      </a:lnTo>
                      <a:lnTo>
                        <a:pt x="10" y="4"/>
                      </a:lnTo>
                      <a:lnTo>
                        <a:pt x="6" y="6"/>
                      </a:lnTo>
                      <a:lnTo>
                        <a:pt x="4" y="10"/>
                      </a:lnTo>
                      <a:lnTo>
                        <a:pt x="1" y="14"/>
                      </a:lnTo>
                      <a:lnTo>
                        <a:pt x="0" y="19"/>
                      </a:lnTo>
                      <a:lnTo>
                        <a:pt x="0" y="22"/>
                      </a:lnTo>
                      <a:lnTo>
                        <a:pt x="177" y="22"/>
                      </a:lnTo>
                      <a:lnTo>
                        <a:pt x="177" y="22"/>
                      </a:lnTo>
                      <a:lnTo>
                        <a:pt x="177" y="19"/>
                      </a:lnTo>
                      <a:lnTo>
                        <a:pt x="175" y="14"/>
                      </a:lnTo>
                      <a:lnTo>
                        <a:pt x="173" y="10"/>
                      </a:lnTo>
                      <a:lnTo>
                        <a:pt x="171" y="6"/>
                      </a:lnTo>
                      <a:lnTo>
                        <a:pt x="167" y="4"/>
                      </a:lnTo>
                      <a:lnTo>
                        <a:pt x="163" y="3"/>
                      </a:lnTo>
                      <a:lnTo>
                        <a:pt x="160" y="2"/>
                      </a:lnTo>
                      <a:lnTo>
                        <a:pt x="155" y="0"/>
                      </a:lnTo>
                      <a:lnTo>
                        <a:pt x="155"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27" name="Freeform 441"/>
                <p:cNvSpPr>
                  <a:spLocks/>
                </p:cNvSpPr>
                <p:nvPr/>
              </p:nvSpPr>
              <p:spPr bwMode="auto">
                <a:xfrm>
                  <a:off x="2813089" y="2498739"/>
                  <a:ext cx="55563" cy="7938"/>
                </a:xfrm>
                <a:custGeom>
                  <a:avLst/>
                  <a:gdLst>
                    <a:gd name="T0" fmla="*/ 0 w 177"/>
                    <a:gd name="T1" fmla="*/ 0 h 22"/>
                    <a:gd name="T2" fmla="*/ 0 w 177"/>
                    <a:gd name="T3" fmla="*/ 0 h 22"/>
                    <a:gd name="T4" fmla="*/ 0 w 177"/>
                    <a:gd name="T5" fmla="*/ 5 h 22"/>
                    <a:gd name="T6" fmla="*/ 1 w 177"/>
                    <a:gd name="T7" fmla="*/ 9 h 22"/>
                    <a:gd name="T8" fmla="*/ 4 w 177"/>
                    <a:gd name="T9" fmla="*/ 12 h 22"/>
                    <a:gd name="T10" fmla="*/ 6 w 177"/>
                    <a:gd name="T11" fmla="*/ 16 h 22"/>
                    <a:gd name="T12" fmla="*/ 10 w 177"/>
                    <a:gd name="T13" fmla="*/ 19 h 22"/>
                    <a:gd name="T14" fmla="*/ 13 w 177"/>
                    <a:gd name="T15" fmla="*/ 21 h 22"/>
                    <a:gd name="T16" fmla="*/ 17 w 177"/>
                    <a:gd name="T17" fmla="*/ 22 h 22"/>
                    <a:gd name="T18" fmla="*/ 22 w 177"/>
                    <a:gd name="T19" fmla="*/ 22 h 22"/>
                    <a:gd name="T20" fmla="*/ 155 w 177"/>
                    <a:gd name="T21" fmla="*/ 22 h 22"/>
                    <a:gd name="T22" fmla="*/ 155 w 177"/>
                    <a:gd name="T23" fmla="*/ 22 h 22"/>
                    <a:gd name="T24" fmla="*/ 160 w 177"/>
                    <a:gd name="T25" fmla="*/ 22 h 22"/>
                    <a:gd name="T26" fmla="*/ 163 w 177"/>
                    <a:gd name="T27" fmla="*/ 21 h 22"/>
                    <a:gd name="T28" fmla="*/ 167 w 177"/>
                    <a:gd name="T29" fmla="*/ 19 h 22"/>
                    <a:gd name="T30" fmla="*/ 171 w 177"/>
                    <a:gd name="T31" fmla="*/ 16 h 22"/>
                    <a:gd name="T32" fmla="*/ 173 w 177"/>
                    <a:gd name="T33" fmla="*/ 12 h 22"/>
                    <a:gd name="T34" fmla="*/ 175 w 177"/>
                    <a:gd name="T35" fmla="*/ 9 h 22"/>
                    <a:gd name="T36" fmla="*/ 177 w 177"/>
                    <a:gd name="T37" fmla="*/ 5 h 22"/>
                    <a:gd name="T38" fmla="*/ 177 w 177"/>
                    <a:gd name="T39" fmla="*/ 0 h 22"/>
                    <a:gd name="T40" fmla="*/ 0 w 177"/>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7" h="22">
                      <a:moveTo>
                        <a:pt x="0" y="0"/>
                      </a:moveTo>
                      <a:lnTo>
                        <a:pt x="0" y="0"/>
                      </a:lnTo>
                      <a:lnTo>
                        <a:pt x="0" y="5"/>
                      </a:lnTo>
                      <a:lnTo>
                        <a:pt x="1" y="9"/>
                      </a:lnTo>
                      <a:lnTo>
                        <a:pt x="4" y="12"/>
                      </a:lnTo>
                      <a:lnTo>
                        <a:pt x="6" y="16"/>
                      </a:lnTo>
                      <a:lnTo>
                        <a:pt x="10" y="19"/>
                      </a:lnTo>
                      <a:lnTo>
                        <a:pt x="13" y="21"/>
                      </a:lnTo>
                      <a:lnTo>
                        <a:pt x="17" y="22"/>
                      </a:lnTo>
                      <a:lnTo>
                        <a:pt x="22" y="22"/>
                      </a:lnTo>
                      <a:lnTo>
                        <a:pt x="155" y="22"/>
                      </a:lnTo>
                      <a:lnTo>
                        <a:pt x="155" y="22"/>
                      </a:lnTo>
                      <a:lnTo>
                        <a:pt x="160" y="22"/>
                      </a:lnTo>
                      <a:lnTo>
                        <a:pt x="163" y="21"/>
                      </a:lnTo>
                      <a:lnTo>
                        <a:pt x="167" y="19"/>
                      </a:lnTo>
                      <a:lnTo>
                        <a:pt x="171" y="16"/>
                      </a:lnTo>
                      <a:lnTo>
                        <a:pt x="173" y="12"/>
                      </a:lnTo>
                      <a:lnTo>
                        <a:pt x="175" y="9"/>
                      </a:lnTo>
                      <a:lnTo>
                        <a:pt x="177" y="5"/>
                      </a:lnTo>
                      <a:lnTo>
                        <a:pt x="177" y="0"/>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28" name="Freeform 442"/>
                <p:cNvSpPr>
                  <a:spLocks/>
                </p:cNvSpPr>
                <p:nvPr/>
              </p:nvSpPr>
              <p:spPr bwMode="auto">
                <a:xfrm>
                  <a:off x="2840077" y="2335225"/>
                  <a:ext cx="19050" cy="23813"/>
                </a:xfrm>
                <a:custGeom>
                  <a:avLst/>
                  <a:gdLst>
                    <a:gd name="T0" fmla="*/ 0 w 57"/>
                    <a:gd name="T1" fmla="*/ 0 h 74"/>
                    <a:gd name="T2" fmla="*/ 0 w 57"/>
                    <a:gd name="T3" fmla="*/ 57 h 74"/>
                    <a:gd name="T4" fmla="*/ 0 w 57"/>
                    <a:gd name="T5" fmla="*/ 74 h 74"/>
                    <a:gd name="T6" fmla="*/ 57 w 57"/>
                    <a:gd name="T7" fmla="*/ 74 h 74"/>
                    <a:gd name="T8" fmla="*/ 57 w 57"/>
                    <a:gd name="T9" fmla="*/ 57 h 74"/>
                    <a:gd name="T10" fmla="*/ 57 w 57"/>
                    <a:gd name="T11" fmla="*/ 57 h 74"/>
                    <a:gd name="T12" fmla="*/ 56 w 57"/>
                    <a:gd name="T13" fmla="*/ 46 h 74"/>
                    <a:gd name="T14" fmla="*/ 53 w 57"/>
                    <a:gd name="T15" fmla="*/ 35 h 74"/>
                    <a:gd name="T16" fmla="*/ 47 w 57"/>
                    <a:gd name="T17" fmla="*/ 25 h 74"/>
                    <a:gd name="T18" fmla="*/ 41 w 57"/>
                    <a:gd name="T19" fmla="*/ 17 h 74"/>
                    <a:gd name="T20" fmla="*/ 33 w 57"/>
                    <a:gd name="T21" fmla="*/ 9 h 74"/>
                    <a:gd name="T22" fmla="*/ 23 w 57"/>
                    <a:gd name="T23" fmla="*/ 5 h 74"/>
                    <a:gd name="T24" fmla="*/ 12 w 57"/>
                    <a:gd name="T25" fmla="*/ 1 h 74"/>
                    <a:gd name="T26" fmla="*/ 0 w 57"/>
                    <a:gd name="T27" fmla="*/ 0 h 74"/>
                    <a:gd name="T28" fmla="*/ 0 w 57"/>
                    <a:gd name="T29"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 h="74">
                      <a:moveTo>
                        <a:pt x="0" y="0"/>
                      </a:moveTo>
                      <a:lnTo>
                        <a:pt x="0" y="57"/>
                      </a:lnTo>
                      <a:lnTo>
                        <a:pt x="0" y="74"/>
                      </a:lnTo>
                      <a:lnTo>
                        <a:pt x="57" y="74"/>
                      </a:lnTo>
                      <a:lnTo>
                        <a:pt x="57" y="57"/>
                      </a:lnTo>
                      <a:lnTo>
                        <a:pt x="57" y="57"/>
                      </a:lnTo>
                      <a:lnTo>
                        <a:pt x="56" y="46"/>
                      </a:lnTo>
                      <a:lnTo>
                        <a:pt x="53" y="35"/>
                      </a:lnTo>
                      <a:lnTo>
                        <a:pt x="47" y="25"/>
                      </a:lnTo>
                      <a:lnTo>
                        <a:pt x="41" y="17"/>
                      </a:lnTo>
                      <a:lnTo>
                        <a:pt x="33" y="9"/>
                      </a:lnTo>
                      <a:lnTo>
                        <a:pt x="23" y="5"/>
                      </a:lnTo>
                      <a:lnTo>
                        <a:pt x="12" y="1"/>
                      </a:lnTo>
                      <a:lnTo>
                        <a:pt x="0" y="0"/>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29" name="Freeform 443"/>
                <p:cNvSpPr>
                  <a:spLocks/>
                </p:cNvSpPr>
                <p:nvPr/>
              </p:nvSpPr>
              <p:spPr bwMode="auto">
                <a:xfrm>
                  <a:off x="2822614" y="2335225"/>
                  <a:ext cx="17463" cy="23813"/>
                </a:xfrm>
                <a:custGeom>
                  <a:avLst/>
                  <a:gdLst>
                    <a:gd name="T0" fmla="*/ 0 w 56"/>
                    <a:gd name="T1" fmla="*/ 57 h 74"/>
                    <a:gd name="T2" fmla="*/ 0 w 56"/>
                    <a:gd name="T3" fmla="*/ 74 h 74"/>
                    <a:gd name="T4" fmla="*/ 56 w 56"/>
                    <a:gd name="T5" fmla="*/ 74 h 74"/>
                    <a:gd name="T6" fmla="*/ 56 w 56"/>
                    <a:gd name="T7" fmla="*/ 57 h 74"/>
                    <a:gd name="T8" fmla="*/ 56 w 56"/>
                    <a:gd name="T9" fmla="*/ 0 h 74"/>
                    <a:gd name="T10" fmla="*/ 56 w 56"/>
                    <a:gd name="T11" fmla="*/ 0 h 74"/>
                    <a:gd name="T12" fmla="*/ 45 w 56"/>
                    <a:gd name="T13" fmla="*/ 1 h 74"/>
                    <a:gd name="T14" fmla="*/ 34 w 56"/>
                    <a:gd name="T15" fmla="*/ 5 h 74"/>
                    <a:gd name="T16" fmla="*/ 24 w 56"/>
                    <a:gd name="T17" fmla="*/ 9 h 74"/>
                    <a:gd name="T18" fmla="*/ 15 w 56"/>
                    <a:gd name="T19" fmla="*/ 17 h 74"/>
                    <a:gd name="T20" fmla="*/ 9 w 56"/>
                    <a:gd name="T21" fmla="*/ 25 h 74"/>
                    <a:gd name="T22" fmla="*/ 3 w 56"/>
                    <a:gd name="T23" fmla="*/ 35 h 74"/>
                    <a:gd name="T24" fmla="*/ 1 w 56"/>
                    <a:gd name="T25" fmla="*/ 46 h 74"/>
                    <a:gd name="T26" fmla="*/ 0 w 56"/>
                    <a:gd name="T27" fmla="*/ 57 h 74"/>
                    <a:gd name="T28" fmla="*/ 0 w 56"/>
                    <a:gd name="T29" fmla="*/ 5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74">
                      <a:moveTo>
                        <a:pt x="0" y="57"/>
                      </a:moveTo>
                      <a:lnTo>
                        <a:pt x="0" y="74"/>
                      </a:lnTo>
                      <a:lnTo>
                        <a:pt x="56" y="74"/>
                      </a:lnTo>
                      <a:lnTo>
                        <a:pt x="56" y="57"/>
                      </a:lnTo>
                      <a:lnTo>
                        <a:pt x="56" y="0"/>
                      </a:lnTo>
                      <a:lnTo>
                        <a:pt x="56" y="0"/>
                      </a:lnTo>
                      <a:lnTo>
                        <a:pt x="45" y="1"/>
                      </a:lnTo>
                      <a:lnTo>
                        <a:pt x="34" y="5"/>
                      </a:lnTo>
                      <a:lnTo>
                        <a:pt x="24" y="9"/>
                      </a:lnTo>
                      <a:lnTo>
                        <a:pt x="15" y="17"/>
                      </a:lnTo>
                      <a:lnTo>
                        <a:pt x="9" y="25"/>
                      </a:lnTo>
                      <a:lnTo>
                        <a:pt x="3" y="35"/>
                      </a:lnTo>
                      <a:lnTo>
                        <a:pt x="1" y="46"/>
                      </a:lnTo>
                      <a:lnTo>
                        <a:pt x="0" y="57"/>
                      </a:lnTo>
                      <a:lnTo>
                        <a:pt x="0" y="57"/>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30" name="Freeform 444"/>
                <p:cNvSpPr>
                  <a:spLocks/>
                </p:cNvSpPr>
                <p:nvPr/>
              </p:nvSpPr>
              <p:spPr bwMode="auto">
                <a:xfrm>
                  <a:off x="2809914" y="2359038"/>
                  <a:ext cx="30163" cy="44450"/>
                </a:xfrm>
                <a:custGeom>
                  <a:avLst/>
                  <a:gdLst>
                    <a:gd name="T0" fmla="*/ 40 w 95"/>
                    <a:gd name="T1" fmla="*/ 0 h 141"/>
                    <a:gd name="T2" fmla="*/ 40 w 95"/>
                    <a:gd name="T3" fmla="*/ 0 h 141"/>
                    <a:gd name="T4" fmla="*/ 31 w 95"/>
                    <a:gd name="T5" fmla="*/ 1 h 141"/>
                    <a:gd name="T6" fmla="*/ 24 w 95"/>
                    <a:gd name="T7" fmla="*/ 4 h 141"/>
                    <a:gd name="T8" fmla="*/ 18 w 95"/>
                    <a:gd name="T9" fmla="*/ 7 h 141"/>
                    <a:gd name="T10" fmla="*/ 12 w 95"/>
                    <a:gd name="T11" fmla="*/ 12 h 141"/>
                    <a:gd name="T12" fmla="*/ 7 w 95"/>
                    <a:gd name="T13" fmla="*/ 18 h 141"/>
                    <a:gd name="T14" fmla="*/ 3 w 95"/>
                    <a:gd name="T15" fmla="*/ 24 h 141"/>
                    <a:gd name="T16" fmla="*/ 1 w 95"/>
                    <a:gd name="T17" fmla="*/ 32 h 141"/>
                    <a:gd name="T18" fmla="*/ 0 w 95"/>
                    <a:gd name="T19" fmla="*/ 40 h 141"/>
                    <a:gd name="T20" fmla="*/ 0 w 95"/>
                    <a:gd name="T21" fmla="*/ 141 h 141"/>
                    <a:gd name="T22" fmla="*/ 95 w 95"/>
                    <a:gd name="T23" fmla="*/ 141 h 141"/>
                    <a:gd name="T24" fmla="*/ 95 w 95"/>
                    <a:gd name="T25" fmla="*/ 71 h 141"/>
                    <a:gd name="T26" fmla="*/ 95 w 95"/>
                    <a:gd name="T27" fmla="*/ 0 h 141"/>
                    <a:gd name="T28" fmla="*/ 40 w 95"/>
                    <a:gd name="T2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1">
                      <a:moveTo>
                        <a:pt x="40" y="0"/>
                      </a:moveTo>
                      <a:lnTo>
                        <a:pt x="40" y="0"/>
                      </a:lnTo>
                      <a:lnTo>
                        <a:pt x="31" y="1"/>
                      </a:lnTo>
                      <a:lnTo>
                        <a:pt x="24" y="4"/>
                      </a:lnTo>
                      <a:lnTo>
                        <a:pt x="18" y="7"/>
                      </a:lnTo>
                      <a:lnTo>
                        <a:pt x="12" y="12"/>
                      </a:lnTo>
                      <a:lnTo>
                        <a:pt x="7" y="18"/>
                      </a:lnTo>
                      <a:lnTo>
                        <a:pt x="3" y="24"/>
                      </a:lnTo>
                      <a:lnTo>
                        <a:pt x="1" y="32"/>
                      </a:lnTo>
                      <a:lnTo>
                        <a:pt x="0" y="40"/>
                      </a:lnTo>
                      <a:lnTo>
                        <a:pt x="0" y="141"/>
                      </a:lnTo>
                      <a:lnTo>
                        <a:pt x="95" y="141"/>
                      </a:lnTo>
                      <a:lnTo>
                        <a:pt x="95" y="71"/>
                      </a:lnTo>
                      <a:lnTo>
                        <a:pt x="95" y="0"/>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31" name="Freeform 445"/>
                <p:cNvSpPr>
                  <a:spLocks/>
                </p:cNvSpPr>
                <p:nvPr/>
              </p:nvSpPr>
              <p:spPr bwMode="auto">
                <a:xfrm>
                  <a:off x="2840077" y="2359038"/>
                  <a:ext cx="31750" cy="44450"/>
                </a:xfrm>
                <a:custGeom>
                  <a:avLst/>
                  <a:gdLst>
                    <a:gd name="T0" fmla="*/ 56 w 96"/>
                    <a:gd name="T1" fmla="*/ 0 h 141"/>
                    <a:gd name="T2" fmla="*/ 56 w 96"/>
                    <a:gd name="T3" fmla="*/ 0 h 141"/>
                    <a:gd name="T4" fmla="*/ 64 w 96"/>
                    <a:gd name="T5" fmla="*/ 1 h 141"/>
                    <a:gd name="T6" fmla="*/ 72 w 96"/>
                    <a:gd name="T7" fmla="*/ 4 h 141"/>
                    <a:gd name="T8" fmla="*/ 78 w 96"/>
                    <a:gd name="T9" fmla="*/ 7 h 141"/>
                    <a:gd name="T10" fmla="*/ 84 w 96"/>
                    <a:gd name="T11" fmla="*/ 12 h 141"/>
                    <a:gd name="T12" fmla="*/ 89 w 96"/>
                    <a:gd name="T13" fmla="*/ 18 h 141"/>
                    <a:gd name="T14" fmla="*/ 92 w 96"/>
                    <a:gd name="T15" fmla="*/ 24 h 141"/>
                    <a:gd name="T16" fmla="*/ 95 w 96"/>
                    <a:gd name="T17" fmla="*/ 32 h 141"/>
                    <a:gd name="T18" fmla="*/ 96 w 96"/>
                    <a:gd name="T19" fmla="*/ 40 h 141"/>
                    <a:gd name="T20" fmla="*/ 96 w 96"/>
                    <a:gd name="T21" fmla="*/ 141 h 141"/>
                    <a:gd name="T22" fmla="*/ 0 w 96"/>
                    <a:gd name="T23" fmla="*/ 141 h 141"/>
                    <a:gd name="T24" fmla="*/ 0 w 96"/>
                    <a:gd name="T25" fmla="*/ 71 h 141"/>
                    <a:gd name="T26" fmla="*/ 0 w 96"/>
                    <a:gd name="T27" fmla="*/ 0 h 141"/>
                    <a:gd name="T28" fmla="*/ 56 w 96"/>
                    <a:gd name="T2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141">
                      <a:moveTo>
                        <a:pt x="56" y="0"/>
                      </a:moveTo>
                      <a:lnTo>
                        <a:pt x="56" y="0"/>
                      </a:lnTo>
                      <a:lnTo>
                        <a:pt x="64" y="1"/>
                      </a:lnTo>
                      <a:lnTo>
                        <a:pt x="72" y="4"/>
                      </a:lnTo>
                      <a:lnTo>
                        <a:pt x="78" y="7"/>
                      </a:lnTo>
                      <a:lnTo>
                        <a:pt x="84" y="12"/>
                      </a:lnTo>
                      <a:lnTo>
                        <a:pt x="89" y="18"/>
                      </a:lnTo>
                      <a:lnTo>
                        <a:pt x="92" y="24"/>
                      </a:lnTo>
                      <a:lnTo>
                        <a:pt x="95" y="32"/>
                      </a:lnTo>
                      <a:lnTo>
                        <a:pt x="96" y="40"/>
                      </a:lnTo>
                      <a:lnTo>
                        <a:pt x="96" y="141"/>
                      </a:lnTo>
                      <a:lnTo>
                        <a:pt x="0" y="141"/>
                      </a:lnTo>
                      <a:lnTo>
                        <a:pt x="0" y="71"/>
                      </a:lnTo>
                      <a:lnTo>
                        <a:pt x="0" y="0"/>
                      </a:lnTo>
                      <a:lnTo>
                        <a:pt x="56"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32" name="Freeform 446"/>
                <p:cNvSpPr>
                  <a:spLocks/>
                </p:cNvSpPr>
                <p:nvPr/>
              </p:nvSpPr>
              <p:spPr bwMode="auto">
                <a:xfrm>
                  <a:off x="2840077" y="2398726"/>
                  <a:ext cx="41275" cy="60326"/>
                </a:xfrm>
                <a:custGeom>
                  <a:avLst/>
                  <a:gdLst>
                    <a:gd name="T0" fmla="*/ 74 w 128"/>
                    <a:gd name="T1" fmla="*/ 189 h 189"/>
                    <a:gd name="T2" fmla="*/ 74 w 128"/>
                    <a:gd name="T3" fmla="*/ 189 h 189"/>
                    <a:gd name="T4" fmla="*/ 85 w 128"/>
                    <a:gd name="T5" fmla="*/ 188 h 189"/>
                    <a:gd name="T6" fmla="*/ 95 w 128"/>
                    <a:gd name="T7" fmla="*/ 186 h 189"/>
                    <a:gd name="T8" fmla="*/ 104 w 128"/>
                    <a:gd name="T9" fmla="*/ 181 h 189"/>
                    <a:gd name="T10" fmla="*/ 112 w 128"/>
                    <a:gd name="T11" fmla="*/ 173 h 189"/>
                    <a:gd name="T12" fmla="*/ 119 w 128"/>
                    <a:gd name="T13" fmla="*/ 166 h 189"/>
                    <a:gd name="T14" fmla="*/ 124 w 128"/>
                    <a:gd name="T15" fmla="*/ 156 h 189"/>
                    <a:gd name="T16" fmla="*/ 126 w 128"/>
                    <a:gd name="T17" fmla="*/ 147 h 189"/>
                    <a:gd name="T18" fmla="*/ 128 w 128"/>
                    <a:gd name="T19" fmla="*/ 136 h 189"/>
                    <a:gd name="T20" fmla="*/ 128 w 128"/>
                    <a:gd name="T21" fmla="*/ 0 h 189"/>
                    <a:gd name="T22" fmla="*/ 0 w 128"/>
                    <a:gd name="T23" fmla="*/ 0 h 189"/>
                    <a:gd name="T24" fmla="*/ 0 w 128"/>
                    <a:gd name="T25" fmla="*/ 95 h 189"/>
                    <a:gd name="T26" fmla="*/ 0 w 128"/>
                    <a:gd name="T27" fmla="*/ 189 h 189"/>
                    <a:gd name="T28" fmla="*/ 74 w 128"/>
                    <a:gd name="T29"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89">
                      <a:moveTo>
                        <a:pt x="74" y="189"/>
                      </a:moveTo>
                      <a:lnTo>
                        <a:pt x="74" y="189"/>
                      </a:lnTo>
                      <a:lnTo>
                        <a:pt x="85" y="188"/>
                      </a:lnTo>
                      <a:lnTo>
                        <a:pt x="95" y="186"/>
                      </a:lnTo>
                      <a:lnTo>
                        <a:pt x="104" y="181"/>
                      </a:lnTo>
                      <a:lnTo>
                        <a:pt x="112" y="173"/>
                      </a:lnTo>
                      <a:lnTo>
                        <a:pt x="119" y="166"/>
                      </a:lnTo>
                      <a:lnTo>
                        <a:pt x="124" y="156"/>
                      </a:lnTo>
                      <a:lnTo>
                        <a:pt x="126" y="147"/>
                      </a:lnTo>
                      <a:lnTo>
                        <a:pt x="128" y="136"/>
                      </a:lnTo>
                      <a:lnTo>
                        <a:pt x="128" y="0"/>
                      </a:lnTo>
                      <a:lnTo>
                        <a:pt x="0" y="0"/>
                      </a:lnTo>
                      <a:lnTo>
                        <a:pt x="0" y="95"/>
                      </a:lnTo>
                      <a:lnTo>
                        <a:pt x="0" y="189"/>
                      </a:lnTo>
                      <a:lnTo>
                        <a:pt x="74" y="189"/>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33" name="Freeform 447"/>
                <p:cNvSpPr>
                  <a:spLocks/>
                </p:cNvSpPr>
                <p:nvPr/>
              </p:nvSpPr>
              <p:spPr bwMode="auto">
                <a:xfrm>
                  <a:off x="2800389" y="2398726"/>
                  <a:ext cx="39688" cy="60326"/>
                </a:xfrm>
                <a:custGeom>
                  <a:avLst/>
                  <a:gdLst>
                    <a:gd name="T0" fmla="*/ 53 w 127"/>
                    <a:gd name="T1" fmla="*/ 189 h 189"/>
                    <a:gd name="T2" fmla="*/ 53 w 127"/>
                    <a:gd name="T3" fmla="*/ 189 h 189"/>
                    <a:gd name="T4" fmla="*/ 43 w 127"/>
                    <a:gd name="T5" fmla="*/ 188 h 189"/>
                    <a:gd name="T6" fmla="*/ 33 w 127"/>
                    <a:gd name="T7" fmla="*/ 186 h 189"/>
                    <a:gd name="T8" fmla="*/ 23 w 127"/>
                    <a:gd name="T9" fmla="*/ 181 h 189"/>
                    <a:gd name="T10" fmla="*/ 16 w 127"/>
                    <a:gd name="T11" fmla="*/ 173 h 189"/>
                    <a:gd name="T12" fmla="*/ 8 w 127"/>
                    <a:gd name="T13" fmla="*/ 166 h 189"/>
                    <a:gd name="T14" fmla="*/ 4 w 127"/>
                    <a:gd name="T15" fmla="*/ 156 h 189"/>
                    <a:gd name="T16" fmla="*/ 1 w 127"/>
                    <a:gd name="T17" fmla="*/ 147 h 189"/>
                    <a:gd name="T18" fmla="*/ 0 w 127"/>
                    <a:gd name="T19" fmla="*/ 136 h 189"/>
                    <a:gd name="T20" fmla="*/ 0 w 127"/>
                    <a:gd name="T21" fmla="*/ 0 h 189"/>
                    <a:gd name="T22" fmla="*/ 127 w 127"/>
                    <a:gd name="T23" fmla="*/ 0 h 189"/>
                    <a:gd name="T24" fmla="*/ 127 w 127"/>
                    <a:gd name="T25" fmla="*/ 95 h 189"/>
                    <a:gd name="T26" fmla="*/ 127 w 127"/>
                    <a:gd name="T27" fmla="*/ 189 h 189"/>
                    <a:gd name="T28" fmla="*/ 53 w 127"/>
                    <a:gd name="T29"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7" h="189">
                      <a:moveTo>
                        <a:pt x="53" y="189"/>
                      </a:moveTo>
                      <a:lnTo>
                        <a:pt x="53" y="189"/>
                      </a:lnTo>
                      <a:lnTo>
                        <a:pt x="43" y="188"/>
                      </a:lnTo>
                      <a:lnTo>
                        <a:pt x="33" y="186"/>
                      </a:lnTo>
                      <a:lnTo>
                        <a:pt x="23" y="181"/>
                      </a:lnTo>
                      <a:lnTo>
                        <a:pt x="16" y="173"/>
                      </a:lnTo>
                      <a:lnTo>
                        <a:pt x="8" y="166"/>
                      </a:lnTo>
                      <a:lnTo>
                        <a:pt x="4" y="156"/>
                      </a:lnTo>
                      <a:lnTo>
                        <a:pt x="1" y="147"/>
                      </a:lnTo>
                      <a:lnTo>
                        <a:pt x="0" y="136"/>
                      </a:lnTo>
                      <a:lnTo>
                        <a:pt x="0" y="0"/>
                      </a:lnTo>
                      <a:lnTo>
                        <a:pt x="127" y="0"/>
                      </a:lnTo>
                      <a:lnTo>
                        <a:pt x="127" y="95"/>
                      </a:lnTo>
                      <a:lnTo>
                        <a:pt x="127" y="189"/>
                      </a:lnTo>
                      <a:lnTo>
                        <a:pt x="53" y="1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34" name="Freeform 448"/>
                <p:cNvSpPr>
                  <a:spLocks/>
                </p:cNvSpPr>
                <p:nvPr/>
              </p:nvSpPr>
              <p:spPr bwMode="auto">
                <a:xfrm>
                  <a:off x="2792451" y="2374913"/>
                  <a:ext cx="47625" cy="28575"/>
                </a:xfrm>
                <a:custGeom>
                  <a:avLst/>
                  <a:gdLst>
                    <a:gd name="T0" fmla="*/ 152 w 152"/>
                    <a:gd name="T1" fmla="*/ 90 h 90"/>
                    <a:gd name="T2" fmla="*/ 152 w 152"/>
                    <a:gd name="T3" fmla="*/ 53 h 90"/>
                    <a:gd name="T4" fmla="*/ 152 w 152"/>
                    <a:gd name="T5" fmla="*/ 53 h 90"/>
                    <a:gd name="T6" fmla="*/ 133 w 152"/>
                    <a:gd name="T7" fmla="*/ 53 h 90"/>
                    <a:gd name="T8" fmla="*/ 118 w 152"/>
                    <a:gd name="T9" fmla="*/ 49 h 90"/>
                    <a:gd name="T10" fmla="*/ 103 w 152"/>
                    <a:gd name="T11" fmla="*/ 45 h 90"/>
                    <a:gd name="T12" fmla="*/ 91 w 152"/>
                    <a:gd name="T13" fmla="*/ 40 h 90"/>
                    <a:gd name="T14" fmla="*/ 80 w 152"/>
                    <a:gd name="T15" fmla="*/ 34 h 90"/>
                    <a:gd name="T16" fmla="*/ 70 w 152"/>
                    <a:gd name="T17" fmla="*/ 27 h 90"/>
                    <a:gd name="T18" fmla="*/ 60 w 152"/>
                    <a:gd name="T19" fmla="*/ 20 h 90"/>
                    <a:gd name="T20" fmla="*/ 53 w 152"/>
                    <a:gd name="T21" fmla="*/ 11 h 90"/>
                    <a:gd name="T22" fmla="*/ 53 w 152"/>
                    <a:gd name="T23" fmla="*/ 11 h 90"/>
                    <a:gd name="T24" fmla="*/ 47 w 152"/>
                    <a:gd name="T25" fmla="*/ 6 h 90"/>
                    <a:gd name="T26" fmla="*/ 41 w 152"/>
                    <a:gd name="T27" fmla="*/ 3 h 90"/>
                    <a:gd name="T28" fmla="*/ 33 w 152"/>
                    <a:gd name="T29" fmla="*/ 1 h 90"/>
                    <a:gd name="T30" fmla="*/ 27 w 152"/>
                    <a:gd name="T31" fmla="*/ 0 h 90"/>
                    <a:gd name="T32" fmla="*/ 20 w 152"/>
                    <a:gd name="T33" fmla="*/ 0 h 90"/>
                    <a:gd name="T34" fmla="*/ 13 w 152"/>
                    <a:gd name="T35" fmla="*/ 3 h 90"/>
                    <a:gd name="T36" fmla="*/ 7 w 152"/>
                    <a:gd name="T37" fmla="*/ 5 h 90"/>
                    <a:gd name="T38" fmla="*/ 0 w 152"/>
                    <a:gd name="T39" fmla="*/ 10 h 90"/>
                    <a:gd name="T40" fmla="*/ 0 w 152"/>
                    <a:gd name="T41" fmla="*/ 10 h 90"/>
                    <a:gd name="T42" fmla="*/ 26 w 152"/>
                    <a:gd name="T43" fmla="*/ 38 h 90"/>
                    <a:gd name="T44" fmla="*/ 26 w 152"/>
                    <a:gd name="T45" fmla="*/ 38 h 90"/>
                    <a:gd name="T46" fmla="*/ 37 w 152"/>
                    <a:gd name="T47" fmla="*/ 49 h 90"/>
                    <a:gd name="T48" fmla="*/ 48 w 152"/>
                    <a:gd name="T49" fmla="*/ 59 h 90"/>
                    <a:gd name="T50" fmla="*/ 61 w 152"/>
                    <a:gd name="T51" fmla="*/ 67 h 90"/>
                    <a:gd name="T52" fmla="*/ 76 w 152"/>
                    <a:gd name="T53" fmla="*/ 76 h 90"/>
                    <a:gd name="T54" fmla="*/ 92 w 152"/>
                    <a:gd name="T55" fmla="*/ 82 h 90"/>
                    <a:gd name="T56" fmla="*/ 110 w 152"/>
                    <a:gd name="T57" fmla="*/ 87 h 90"/>
                    <a:gd name="T58" fmla="*/ 130 w 152"/>
                    <a:gd name="T59" fmla="*/ 89 h 90"/>
                    <a:gd name="T60" fmla="*/ 152 w 152"/>
                    <a:gd name="T61" fmla="*/ 90 h 90"/>
                    <a:gd name="T62" fmla="*/ 152 w 152"/>
                    <a:gd name="T63"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90">
                      <a:moveTo>
                        <a:pt x="152" y="90"/>
                      </a:moveTo>
                      <a:lnTo>
                        <a:pt x="152" y="53"/>
                      </a:lnTo>
                      <a:lnTo>
                        <a:pt x="152" y="53"/>
                      </a:lnTo>
                      <a:lnTo>
                        <a:pt x="133" y="53"/>
                      </a:lnTo>
                      <a:lnTo>
                        <a:pt x="118" y="49"/>
                      </a:lnTo>
                      <a:lnTo>
                        <a:pt x="103" y="45"/>
                      </a:lnTo>
                      <a:lnTo>
                        <a:pt x="91" y="40"/>
                      </a:lnTo>
                      <a:lnTo>
                        <a:pt x="80" y="34"/>
                      </a:lnTo>
                      <a:lnTo>
                        <a:pt x="70" y="27"/>
                      </a:lnTo>
                      <a:lnTo>
                        <a:pt x="60" y="20"/>
                      </a:lnTo>
                      <a:lnTo>
                        <a:pt x="53" y="11"/>
                      </a:lnTo>
                      <a:lnTo>
                        <a:pt x="53" y="11"/>
                      </a:lnTo>
                      <a:lnTo>
                        <a:pt x="47" y="6"/>
                      </a:lnTo>
                      <a:lnTo>
                        <a:pt x="41" y="3"/>
                      </a:lnTo>
                      <a:lnTo>
                        <a:pt x="33" y="1"/>
                      </a:lnTo>
                      <a:lnTo>
                        <a:pt x="27" y="0"/>
                      </a:lnTo>
                      <a:lnTo>
                        <a:pt x="20" y="0"/>
                      </a:lnTo>
                      <a:lnTo>
                        <a:pt x="13" y="3"/>
                      </a:lnTo>
                      <a:lnTo>
                        <a:pt x="7" y="5"/>
                      </a:lnTo>
                      <a:lnTo>
                        <a:pt x="0" y="10"/>
                      </a:lnTo>
                      <a:lnTo>
                        <a:pt x="0" y="10"/>
                      </a:lnTo>
                      <a:lnTo>
                        <a:pt x="26" y="38"/>
                      </a:lnTo>
                      <a:lnTo>
                        <a:pt x="26" y="38"/>
                      </a:lnTo>
                      <a:lnTo>
                        <a:pt x="37" y="49"/>
                      </a:lnTo>
                      <a:lnTo>
                        <a:pt x="48" y="59"/>
                      </a:lnTo>
                      <a:lnTo>
                        <a:pt x="61" y="67"/>
                      </a:lnTo>
                      <a:lnTo>
                        <a:pt x="76" y="76"/>
                      </a:lnTo>
                      <a:lnTo>
                        <a:pt x="92" y="82"/>
                      </a:lnTo>
                      <a:lnTo>
                        <a:pt x="110" y="87"/>
                      </a:lnTo>
                      <a:lnTo>
                        <a:pt x="130" y="89"/>
                      </a:lnTo>
                      <a:lnTo>
                        <a:pt x="152" y="90"/>
                      </a:lnTo>
                      <a:lnTo>
                        <a:pt x="152" y="9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35" name="Freeform 449"/>
                <p:cNvSpPr>
                  <a:spLocks/>
                </p:cNvSpPr>
                <p:nvPr/>
              </p:nvSpPr>
              <p:spPr bwMode="auto">
                <a:xfrm>
                  <a:off x="2789276" y="2378088"/>
                  <a:ext cx="50800" cy="38100"/>
                </a:xfrm>
                <a:custGeom>
                  <a:avLst/>
                  <a:gdLst>
                    <a:gd name="T0" fmla="*/ 164 w 164"/>
                    <a:gd name="T1" fmla="*/ 80 h 118"/>
                    <a:gd name="T2" fmla="*/ 164 w 164"/>
                    <a:gd name="T3" fmla="*/ 80 h 118"/>
                    <a:gd name="T4" fmla="*/ 142 w 164"/>
                    <a:gd name="T5" fmla="*/ 79 h 118"/>
                    <a:gd name="T6" fmla="*/ 122 w 164"/>
                    <a:gd name="T7" fmla="*/ 77 h 118"/>
                    <a:gd name="T8" fmla="*/ 104 w 164"/>
                    <a:gd name="T9" fmla="*/ 72 h 118"/>
                    <a:gd name="T10" fmla="*/ 88 w 164"/>
                    <a:gd name="T11" fmla="*/ 66 h 118"/>
                    <a:gd name="T12" fmla="*/ 73 w 164"/>
                    <a:gd name="T13" fmla="*/ 57 h 118"/>
                    <a:gd name="T14" fmla="*/ 60 w 164"/>
                    <a:gd name="T15" fmla="*/ 49 h 118"/>
                    <a:gd name="T16" fmla="*/ 49 w 164"/>
                    <a:gd name="T17" fmla="*/ 39 h 118"/>
                    <a:gd name="T18" fmla="*/ 38 w 164"/>
                    <a:gd name="T19" fmla="*/ 28 h 118"/>
                    <a:gd name="T20" fmla="*/ 38 w 164"/>
                    <a:gd name="T21" fmla="*/ 28 h 118"/>
                    <a:gd name="T22" fmla="*/ 12 w 164"/>
                    <a:gd name="T23" fmla="*/ 0 h 118"/>
                    <a:gd name="T24" fmla="*/ 11 w 164"/>
                    <a:gd name="T25" fmla="*/ 1 h 118"/>
                    <a:gd name="T26" fmla="*/ 11 w 164"/>
                    <a:gd name="T27" fmla="*/ 1 h 118"/>
                    <a:gd name="T28" fmla="*/ 6 w 164"/>
                    <a:gd name="T29" fmla="*/ 6 h 118"/>
                    <a:gd name="T30" fmla="*/ 3 w 164"/>
                    <a:gd name="T31" fmla="*/ 13 h 118"/>
                    <a:gd name="T32" fmla="*/ 0 w 164"/>
                    <a:gd name="T33" fmla="*/ 21 h 118"/>
                    <a:gd name="T34" fmla="*/ 0 w 164"/>
                    <a:gd name="T35" fmla="*/ 28 h 118"/>
                    <a:gd name="T36" fmla="*/ 0 w 164"/>
                    <a:gd name="T37" fmla="*/ 28 h 118"/>
                    <a:gd name="T38" fmla="*/ 0 w 164"/>
                    <a:gd name="T39" fmla="*/ 35 h 118"/>
                    <a:gd name="T40" fmla="*/ 3 w 164"/>
                    <a:gd name="T41" fmla="*/ 41 h 118"/>
                    <a:gd name="T42" fmla="*/ 6 w 164"/>
                    <a:gd name="T43" fmla="*/ 47 h 118"/>
                    <a:gd name="T44" fmla="*/ 10 w 164"/>
                    <a:gd name="T45" fmla="*/ 54 h 118"/>
                    <a:gd name="T46" fmla="*/ 10 w 164"/>
                    <a:gd name="T47" fmla="*/ 54 h 118"/>
                    <a:gd name="T48" fmla="*/ 21 w 164"/>
                    <a:gd name="T49" fmla="*/ 65 h 118"/>
                    <a:gd name="T50" fmla="*/ 34 w 164"/>
                    <a:gd name="T51" fmla="*/ 76 h 118"/>
                    <a:gd name="T52" fmla="*/ 49 w 164"/>
                    <a:gd name="T53" fmla="*/ 87 h 118"/>
                    <a:gd name="T54" fmla="*/ 66 w 164"/>
                    <a:gd name="T55" fmla="*/ 96 h 118"/>
                    <a:gd name="T56" fmla="*/ 87 w 164"/>
                    <a:gd name="T57" fmla="*/ 105 h 118"/>
                    <a:gd name="T58" fmla="*/ 98 w 164"/>
                    <a:gd name="T59" fmla="*/ 108 h 118"/>
                    <a:gd name="T60" fmla="*/ 109 w 164"/>
                    <a:gd name="T61" fmla="*/ 112 h 118"/>
                    <a:gd name="T62" fmla="*/ 122 w 164"/>
                    <a:gd name="T63" fmla="*/ 115 h 118"/>
                    <a:gd name="T64" fmla="*/ 136 w 164"/>
                    <a:gd name="T65" fmla="*/ 117 h 118"/>
                    <a:gd name="T66" fmla="*/ 149 w 164"/>
                    <a:gd name="T67" fmla="*/ 118 h 118"/>
                    <a:gd name="T68" fmla="*/ 164 w 164"/>
                    <a:gd name="T69" fmla="*/ 118 h 118"/>
                    <a:gd name="T70" fmla="*/ 164 w 164"/>
                    <a:gd name="T71" fmla="*/ 8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118">
                      <a:moveTo>
                        <a:pt x="164" y="80"/>
                      </a:moveTo>
                      <a:lnTo>
                        <a:pt x="164" y="80"/>
                      </a:lnTo>
                      <a:lnTo>
                        <a:pt x="142" y="79"/>
                      </a:lnTo>
                      <a:lnTo>
                        <a:pt x="122" y="77"/>
                      </a:lnTo>
                      <a:lnTo>
                        <a:pt x="104" y="72"/>
                      </a:lnTo>
                      <a:lnTo>
                        <a:pt x="88" y="66"/>
                      </a:lnTo>
                      <a:lnTo>
                        <a:pt x="73" y="57"/>
                      </a:lnTo>
                      <a:lnTo>
                        <a:pt x="60" y="49"/>
                      </a:lnTo>
                      <a:lnTo>
                        <a:pt x="49" y="39"/>
                      </a:lnTo>
                      <a:lnTo>
                        <a:pt x="38" y="28"/>
                      </a:lnTo>
                      <a:lnTo>
                        <a:pt x="38" y="28"/>
                      </a:lnTo>
                      <a:lnTo>
                        <a:pt x="12" y="0"/>
                      </a:lnTo>
                      <a:lnTo>
                        <a:pt x="11" y="1"/>
                      </a:lnTo>
                      <a:lnTo>
                        <a:pt x="11" y="1"/>
                      </a:lnTo>
                      <a:lnTo>
                        <a:pt x="6" y="6"/>
                      </a:lnTo>
                      <a:lnTo>
                        <a:pt x="3" y="13"/>
                      </a:lnTo>
                      <a:lnTo>
                        <a:pt x="0" y="21"/>
                      </a:lnTo>
                      <a:lnTo>
                        <a:pt x="0" y="28"/>
                      </a:lnTo>
                      <a:lnTo>
                        <a:pt x="0" y="28"/>
                      </a:lnTo>
                      <a:lnTo>
                        <a:pt x="0" y="35"/>
                      </a:lnTo>
                      <a:lnTo>
                        <a:pt x="3" y="41"/>
                      </a:lnTo>
                      <a:lnTo>
                        <a:pt x="6" y="47"/>
                      </a:lnTo>
                      <a:lnTo>
                        <a:pt x="10" y="54"/>
                      </a:lnTo>
                      <a:lnTo>
                        <a:pt x="10" y="54"/>
                      </a:lnTo>
                      <a:lnTo>
                        <a:pt x="21" y="65"/>
                      </a:lnTo>
                      <a:lnTo>
                        <a:pt x="34" y="76"/>
                      </a:lnTo>
                      <a:lnTo>
                        <a:pt x="49" y="87"/>
                      </a:lnTo>
                      <a:lnTo>
                        <a:pt x="66" y="96"/>
                      </a:lnTo>
                      <a:lnTo>
                        <a:pt x="87" y="105"/>
                      </a:lnTo>
                      <a:lnTo>
                        <a:pt x="98" y="108"/>
                      </a:lnTo>
                      <a:lnTo>
                        <a:pt x="109" y="112"/>
                      </a:lnTo>
                      <a:lnTo>
                        <a:pt x="122" y="115"/>
                      </a:lnTo>
                      <a:lnTo>
                        <a:pt x="136" y="117"/>
                      </a:lnTo>
                      <a:lnTo>
                        <a:pt x="149" y="118"/>
                      </a:lnTo>
                      <a:lnTo>
                        <a:pt x="164" y="118"/>
                      </a:lnTo>
                      <a:lnTo>
                        <a:pt x="164" y="8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36" name="Freeform 450"/>
                <p:cNvSpPr>
                  <a:spLocks/>
                </p:cNvSpPr>
                <p:nvPr/>
              </p:nvSpPr>
              <p:spPr bwMode="auto">
                <a:xfrm>
                  <a:off x="2840077" y="2374913"/>
                  <a:ext cx="49213" cy="28575"/>
                </a:xfrm>
                <a:custGeom>
                  <a:avLst/>
                  <a:gdLst>
                    <a:gd name="T0" fmla="*/ 0 w 152"/>
                    <a:gd name="T1" fmla="*/ 90 h 90"/>
                    <a:gd name="T2" fmla="*/ 0 w 152"/>
                    <a:gd name="T3" fmla="*/ 53 h 90"/>
                    <a:gd name="T4" fmla="*/ 0 w 152"/>
                    <a:gd name="T5" fmla="*/ 53 h 90"/>
                    <a:gd name="T6" fmla="*/ 19 w 152"/>
                    <a:gd name="T7" fmla="*/ 53 h 90"/>
                    <a:gd name="T8" fmla="*/ 35 w 152"/>
                    <a:gd name="T9" fmla="*/ 49 h 90"/>
                    <a:gd name="T10" fmla="*/ 50 w 152"/>
                    <a:gd name="T11" fmla="*/ 45 h 90"/>
                    <a:gd name="T12" fmla="*/ 62 w 152"/>
                    <a:gd name="T13" fmla="*/ 40 h 90"/>
                    <a:gd name="T14" fmla="*/ 73 w 152"/>
                    <a:gd name="T15" fmla="*/ 34 h 90"/>
                    <a:gd name="T16" fmla="*/ 83 w 152"/>
                    <a:gd name="T17" fmla="*/ 27 h 90"/>
                    <a:gd name="T18" fmla="*/ 92 w 152"/>
                    <a:gd name="T19" fmla="*/ 20 h 90"/>
                    <a:gd name="T20" fmla="*/ 100 w 152"/>
                    <a:gd name="T21" fmla="*/ 11 h 90"/>
                    <a:gd name="T22" fmla="*/ 100 w 152"/>
                    <a:gd name="T23" fmla="*/ 11 h 90"/>
                    <a:gd name="T24" fmla="*/ 106 w 152"/>
                    <a:gd name="T25" fmla="*/ 6 h 90"/>
                    <a:gd name="T26" fmla="*/ 112 w 152"/>
                    <a:gd name="T27" fmla="*/ 3 h 90"/>
                    <a:gd name="T28" fmla="*/ 119 w 152"/>
                    <a:gd name="T29" fmla="*/ 1 h 90"/>
                    <a:gd name="T30" fmla="*/ 125 w 152"/>
                    <a:gd name="T31" fmla="*/ 0 h 90"/>
                    <a:gd name="T32" fmla="*/ 133 w 152"/>
                    <a:gd name="T33" fmla="*/ 0 h 90"/>
                    <a:gd name="T34" fmla="*/ 140 w 152"/>
                    <a:gd name="T35" fmla="*/ 3 h 90"/>
                    <a:gd name="T36" fmla="*/ 146 w 152"/>
                    <a:gd name="T37" fmla="*/ 5 h 90"/>
                    <a:gd name="T38" fmla="*/ 152 w 152"/>
                    <a:gd name="T39" fmla="*/ 10 h 90"/>
                    <a:gd name="T40" fmla="*/ 152 w 152"/>
                    <a:gd name="T41" fmla="*/ 10 h 90"/>
                    <a:gd name="T42" fmla="*/ 126 w 152"/>
                    <a:gd name="T43" fmla="*/ 38 h 90"/>
                    <a:gd name="T44" fmla="*/ 126 w 152"/>
                    <a:gd name="T45" fmla="*/ 38 h 90"/>
                    <a:gd name="T46" fmla="*/ 115 w 152"/>
                    <a:gd name="T47" fmla="*/ 49 h 90"/>
                    <a:gd name="T48" fmla="*/ 104 w 152"/>
                    <a:gd name="T49" fmla="*/ 59 h 90"/>
                    <a:gd name="T50" fmla="*/ 91 w 152"/>
                    <a:gd name="T51" fmla="*/ 67 h 90"/>
                    <a:gd name="T52" fmla="*/ 76 w 152"/>
                    <a:gd name="T53" fmla="*/ 76 h 90"/>
                    <a:gd name="T54" fmla="*/ 61 w 152"/>
                    <a:gd name="T55" fmla="*/ 82 h 90"/>
                    <a:gd name="T56" fmla="*/ 42 w 152"/>
                    <a:gd name="T57" fmla="*/ 87 h 90"/>
                    <a:gd name="T58" fmla="*/ 23 w 152"/>
                    <a:gd name="T59" fmla="*/ 89 h 90"/>
                    <a:gd name="T60" fmla="*/ 0 w 152"/>
                    <a:gd name="T61" fmla="*/ 90 h 90"/>
                    <a:gd name="T62" fmla="*/ 0 w 152"/>
                    <a:gd name="T63"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90">
                      <a:moveTo>
                        <a:pt x="0" y="90"/>
                      </a:moveTo>
                      <a:lnTo>
                        <a:pt x="0" y="53"/>
                      </a:lnTo>
                      <a:lnTo>
                        <a:pt x="0" y="53"/>
                      </a:lnTo>
                      <a:lnTo>
                        <a:pt x="19" y="53"/>
                      </a:lnTo>
                      <a:lnTo>
                        <a:pt x="35" y="49"/>
                      </a:lnTo>
                      <a:lnTo>
                        <a:pt x="50" y="45"/>
                      </a:lnTo>
                      <a:lnTo>
                        <a:pt x="62" y="40"/>
                      </a:lnTo>
                      <a:lnTo>
                        <a:pt x="73" y="34"/>
                      </a:lnTo>
                      <a:lnTo>
                        <a:pt x="83" y="27"/>
                      </a:lnTo>
                      <a:lnTo>
                        <a:pt x="92" y="20"/>
                      </a:lnTo>
                      <a:lnTo>
                        <a:pt x="100" y="11"/>
                      </a:lnTo>
                      <a:lnTo>
                        <a:pt x="100" y="11"/>
                      </a:lnTo>
                      <a:lnTo>
                        <a:pt x="106" y="6"/>
                      </a:lnTo>
                      <a:lnTo>
                        <a:pt x="112" y="3"/>
                      </a:lnTo>
                      <a:lnTo>
                        <a:pt x="119" y="1"/>
                      </a:lnTo>
                      <a:lnTo>
                        <a:pt x="125" y="0"/>
                      </a:lnTo>
                      <a:lnTo>
                        <a:pt x="133" y="0"/>
                      </a:lnTo>
                      <a:lnTo>
                        <a:pt x="140" y="3"/>
                      </a:lnTo>
                      <a:lnTo>
                        <a:pt x="146" y="5"/>
                      </a:lnTo>
                      <a:lnTo>
                        <a:pt x="152" y="10"/>
                      </a:lnTo>
                      <a:lnTo>
                        <a:pt x="152" y="10"/>
                      </a:lnTo>
                      <a:lnTo>
                        <a:pt x="126" y="38"/>
                      </a:lnTo>
                      <a:lnTo>
                        <a:pt x="126" y="38"/>
                      </a:lnTo>
                      <a:lnTo>
                        <a:pt x="115" y="49"/>
                      </a:lnTo>
                      <a:lnTo>
                        <a:pt x="104" y="59"/>
                      </a:lnTo>
                      <a:lnTo>
                        <a:pt x="91" y="67"/>
                      </a:lnTo>
                      <a:lnTo>
                        <a:pt x="76" y="76"/>
                      </a:lnTo>
                      <a:lnTo>
                        <a:pt x="61" y="82"/>
                      </a:lnTo>
                      <a:lnTo>
                        <a:pt x="42" y="87"/>
                      </a:lnTo>
                      <a:lnTo>
                        <a:pt x="23" y="89"/>
                      </a:lnTo>
                      <a:lnTo>
                        <a:pt x="0" y="90"/>
                      </a:lnTo>
                      <a:lnTo>
                        <a:pt x="0" y="9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37" name="Freeform 451"/>
                <p:cNvSpPr>
                  <a:spLocks/>
                </p:cNvSpPr>
                <p:nvPr/>
              </p:nvSpPr>
              <p:spPr bwMode="auto">
                <a:xfrm>
                  <a:off x="2840077" y="2378088"/>
                  <a:ext cx="52388" cy="38100"/>
                </a:xfrm>
                <a:custGeom>
                  <a:avLst/>
                  <a:gdLst>
                    <a:gd name="T0" fmla="*/ 0 w 164"/>
                    <a:gd name="T1" fmla="*/ 80 h 118"/>
                    <a:gd name="T2" fmla="*/ 0 w 164"/>
                    <a:gd name="T3" fmla="*/ 80 h 118"/>
                    <a:gd name="T4" fmla="*/ 23 w 164"/>
                    <a:gd name="T5" fmla="*/ 79 h 118"/>
                    <a:gd name="T6" fmla="*/ 42 w 164"/>
                    <a:gd name="T7" fmla="*/ 77 h 118"/>
                    <a:gd name="T8" fmla="*/ 61 w 164"/>
                    <a:gd name="T9" fmla="*/ 72 h 118"/>
                    <a:gd name="T10" fmla="*/ 76 w 164"/>
                    <a:gd name="T11" fmla="*/ 66 h 118"/>
                    <a:gd name="T12" fmla="*/ 91 w 164"/>
                    <a:gd name="T13" fmla="*/ 57 h 118"/>
                    <a:gd name="T14" fmla="*/ 104 w 164"/>
                    <a:gd name="T15" fmla="*/ 49 h 118"/>
                    <a:gd name="T16" fmla="*/ 115 w 164"/>
                    <a:gd name="T17" fmla="*/ 39 h 118"/>
                    <a:gd name="T18" fmla="*/ 126 w 164"/>
                    <a:gd name="T19" fmla="*/ 28 h 118"/>
                    <a:gd name="T20" fmla="*/ 126 w 164"/>
                    <a:gd name="T21" fmla="*/ 28 h 118"/>
                    <a:gd name="T22" fmla="*/ 152 w 164"/>
                    <a:gd name="T23" fmla="*/ 0 h 118"/>
                    <a:gd name="T24" fmla="*/ 153 w 164"/>
                    <a:gd name="T25" fmla="*/ 1 h 118"/>
                    <a:gd name="T26" fmla="*/ 153 w 164"/>
                    <a:gd name="T27" fmla="*/ 1 h 118"/>
                    <a:gd name="T28" fmla="*/ 158 w 164"/>
                    <a:gd name="T29" fmla="*/ 6 h 118"/>
                    <a:gd name="T30" fmla="*/ 162 w 164"/>
                    <a:gd name="T31" fmla="*/ 13 h 118"/>
                    <a:gd name="T32" fmla="*/ 164 w 164"/>
                    <a:gd name="T33" fmla="*/ 21 h 118"/>
                    <a:gd name="T34" fmla="*/ 164 w 164"/>
                    <a:gd name="T35" fmla="*/ 28 h 118"/>
                    <a:gd name="T36" fmla="*/ 164 w 164"/>
                    <a:gd name="T37" fmla="*/ 28 h 118"/>
                    <a:gd name="T38" fmla="*/ 164 w 164"/>
                    <a:gd name="T39" fmla="*/ 35 h 118"/>
                    <a:gd name="T40" fmla="*/ 162 w 164"/>
                    <a:gd name="T41" fmla="*/ 41 h 118"/>
                    <a:gd name="T42" fmla="*/ 158 w 164"/>
                    <a:gd name="T43" fmla="*/ 47 h 118"/>
                    <a:gd name="T44" fmla="*/ 154 w 164"/>
                    <a:gd name="T45" fmla="*/ 54 h 118"/>
                    <a:gd name="T46" fmla="*/ 154 w 164"/>
                    <a:gd name="T47" fmla="*/ 54 h 118"/>
                    <a:gd name="T48" fmla="*/ 144 w 164"/>
                    <a:gd name="T49" fmla="*/ 65 h 118"/>
                    <a:gd name="T50" fmla="*/ 130 w 164"/>
                    <a:gd name="T51" fmla="*/ 76 h 118"/>
                    <a:gd name="T52" fmla="*/ 115 w 164"/>
                    <a:gd name="T53" fmla="*/ 87 h 118"/>
                    <a:gd name="T54" fmla="*/ 98 w 164"/>
                    <a:gd name="T55" fmla="*/ 96 h 118"/>
                    <a:gd name="T56" fmla="*/ 78 w 164"/>
                    <a:gd name="T57" fmla="*/ 105 h 118"/>
                    <a:gd name="T58" fmla="*/ 67 w 164"/>
                    <a:gd name="T59" fmla="*/ 108 h 118"/>
                    <a:gd name="T60" fmla="*/ 56 w 164"/>
                    <a:gd name="T61" fmla="*/ 112 h 118"/>
                    <a:gd name="T62" fmla="*/ 42 w 164"/>
                    <a:gd name="T63" fmla="*/ 115 h 118"/>
                    <a:gd name="T64" fmla="*/ 29 w 164"/>
                    <a:gd name="T65" fmla="*/ 117 h 118"/>
                    <a:gd name="T66" fmla="*/ 15 w 164"/>
                    <a:gd name="T67" fmla="*/ 118 h 118"/>
                    <a:gd name="T68" fmla="*/ 0 w 164"/>
                    <a:gd name="T69" fmla="*/ 118 h 118"/>
                    <a:gd name="T70" fmla="*/ 0 w 164"/>
                    <a:gd name="T71" fmla="*/ 8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118">
                      <a:moveTo>
                        <a:pt x="0" y="80"/>
                      </a:moveTo>
                      <a:lnTo>
                        <a:pt x="0" y="80"/>
                      </a:lnTo>
                      <a:lnTo>
                        <a:pt x="23" y="79"/>
                      </a:lnTo>
                      <a:lnTo>
                        <a:pt x="42" y="77"/>
                      </a:lnTo>
                      <a:lnTo>
                        <a:pt x="61" y="72"/>
                      </a:lnTo>
                      <a:lnTo>
                        <a:pt x="76" y="66"/>
                      </a:lnTo>
                      <a:lnTo>
                        <a:pt x="91" y="57"/>
                      </a:lnTo>
                      <a:lnTo>
                        <a:pt x="104" y="49"/>
                      </a:lnTo>
                      <a:lnTo>
                        <a:pt x="115" y="39"/>
                      </a:lnTo>
                      <a:lnTo>
                        <a:pt x="126" y="28"/>
                      </a:lnTo>
                      <a:lnTo>
                        <a:pt x="126" y="28"/>
                      </a:lnTo>
                      <a:lnTo>
                        <a:pt x="152" y="0"/>
                      </a:lnTo>
                      <a:lnTo>
                        <a:pt x="153" y="1"/>
                      </a:lnTo>
                      <a:lnTo>
                        <a:pt x="153" y="1"/>
                      </a:lnTo>
                      <a:lnTo>
                        <a:pt x="158" y="6"/>
                      </a:lnTo>
                      <a:lnTo>
                        <a:pt x="162" y="13"/>
                      </a:lnTo>
                      <a:lnTo>
                        <a:pt x="164" y="21"/>
                      </a:lnTo>
                      <a:lnTo>
                        <a:pt x="164" y="28"/>
                      </a:lnTo>
                      <a:lnTo>
                        <a:pt x="164" y="28"/>
                      </a:lnTo>
                      <a:lnTo>
                        <a:pt x="164" y="35"/>
                      </a:lnTo>
                      <a:lnTo>
                        <a:pt x="162" y="41"/>
                      </a:lnTo>
                      <a:lnTo>
                        <a:pt x="158" y="47"/>
                      </a:lnTo>
                      <a:lnTo>
                        <a:pt x="154" y="54"/>
                      </a:lnTo>
                      <a:lnTo>
                        <a:pt x="154" y="54"/>
                      </a:lnTo>
                      <a:lnTo>
                        <a:pt x="144" y="65"/>
                      </a:lnTo>
                      <a:lnTo>
                        <a:pt x="130" y="76"/>
                      </a:lnTo>
                      <a:lnTo>
                        <a:pt x="115" y="87"/>
                      </a:lnTo>
                      <a:lnTo>
                        <a:pt x="98" y="96"/>
                      </a:lnTo>
                      <a:lnTo>
                        <a:pt x="78" y="105"/>
                      </a:lnTo>
                      <a:lnTo>
                        <a:pt x="67" y="108"/>
                      </a:lnTo>
                      <a:lnTo>
                        <a:pt x="56" y="112"/>
                      </a:lnTo>
                      <a:lnTo>
                        <a:pt x="42" y="115"/>
                      </a:lnTo>
                      <a:lnTo>
                        <a:pt x="29" y="117"/>
                      </a:lnTo>
                      <a:lnTo>
                        <a:pt x="15" y="118"/>
                      </a:lnTo>
                      <a:lnTo>
                        <a:pt x="0" y="118"/>
                      </a:lnTo>
                      <a:lnTo>
                        <a:pt x="0" y="80"/>
                      </a:lnTo>
                      <a:close/>
                    </a:path>
                  </a:pathLst>
                </a:custGeom>
                <a:solidFill>
                  <a:srgbClr val="7F2D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38" name="Rectangle 452"/>
                <p:cNvSpPr>
                  <a:spLocks noChangeArrowheads="1"/>
                </p:cNvSpPr>
                <p:nvPr/>
              </p:nvSpPr>
              <p:spPr bwMode="auto">
                <a:xfrm>
                  <a:off x="2840077" y="2459052"/>
                  <a:ext cx="20638" cy="33338"/>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39" name="Rectangle 453"/>
                <p:cNvSpPr>
                  <a:spLocks noChangeArrowheads="1"/>
                </p:cNvSpPr>
                <p:nvPr/>
              </p:nvSpPr>
              <p:spPr bwMode="auto">
                <a:xfrm>
                  <a:off x="2821026" y="2459052"/>
                  <a:ext cx="19050" cy="33338"/>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40" name="Rectangle 454"/>
                <p:cNvSpPr>
                  <a:spLocks noChangeArrowheads="1"/>
                </p:cNvSpPr>
                <p:nvPr/>
              </p:nvSpPr>
              <p:spPr bwMode="auto">
                <a:xfrm>
                  <a:off x="2821026" y="2506677"/>
                  <a:ext cx="19050" cy="190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41" name="Rectangle 455"/>
                <p:cNvSpPr>
                  <a:spLocks noChangeArrowheads="1"/>
                </p:cNvSpPr>
                <p:nvPr/>
              </p:nvSpPr>
              <p:spPr bwMode="auto">
                <a:xfrm>
                  <a:off x="2840077" y="2506677"/>
                  <a:ext cx="20638" cy="19050"/>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42" name="Freeform 456"/>
                <p:cNvSpPr>
                  <a:spLocks/>
                </p:cNvSpPr>
                <p:nvPr/>
              </p:nvSpPr>
              <p:spPr bwMode="auto">
                <a:xfrm>
                  <a:off x="2892464" y="2459052"/>
                  <a:ext cx="158751" cy="114301"/>
                </a:xfrm>
                <a:custGeom>
                  <a:avLst/>
                  <a:gdLst>
                    <a:gd name="T0" fmla="*/ 476 w 499"/>
                    <a:gd name="T1" fmla="*/ 0 h 361"/>
                    <a:gd name="T2" fmla="*/ 476 w 499"/>
                    <a:gd name="T3" fmla="*/ 0 h 361"/>
                    <a:gd name="T4" fmla="*/ 481 w 499"/>
                    <a:gd name="T5" fmla="*/ 2 h 361"/>
                    <a:gd name="T6" fmla="*/ 486 w 499"/>
                    <a:gd name="T7" fmla="*/ 3 h 361"/>
                    <a:gd name="T8" fmla="*/ 489 w 499"/>
                    <a:gd name="T9" fmla="*/ 5 h 361"/>
                    <a:gd name="T10" fmla="*/ 493 w 499"/>
                    <a:gd name="T11" fmla="*/ 8 h 361"/>
                    <a:gd name="T12" fmla="*/ 495 w 499"/>
                    <a:gd name="T13" fmla="*/ 11 h 361"/>
                    <a:gd name="T14" fmla="*/ 498 w 499"/>
                    <a:gd name="T15" fmla="*/ 15 h 361"/>
                    <a:gd name="T16" fmla="*/ 499 w 499"/>
                    <a:gd name="T17" fmla="*/ 20 h 361"/>
                    <a:gd name="T18" fmla="*/ 499 w 499"/>
                    <a:gd name="T19" fmla="*/ 25 h 361"/>
                    <a:gd name="T20" fmla="*/ 499 w 499"/>
                    <a:gd name="T21" fmla="*/ 338 h 361"/>
                    <a:gd name="T22" fmla="*/ 499 w 499"/>
                    <a:gd name="T23" fmla="*/ 338 h 361"/>
                    <a:gd name="T24" fmla="*/ 499 w 499"/>
                    <a:gd name="T25" fmla="*/ 343 h 361"/>
                    <a:gd name="T26" fmla="*/ 498 w 499"/>
                    <a:gd name="T27" fmla="*/ 348 h 361"/>
                    <a:gd name="T28" fmla="*/ 495 w 499"/>
                    <a:gd name="T29" fmla="*/ 351 h 361"/>
                    <a:gd name="T30" fmla="*/ 493 w 499"/>
                    <a:gd name="T31" fmla="*/ 355 h 361"/>
                    <a:gd name="T32" fmla="*/ 489 w 499"/>
                    <a:gd name="T33" fmla="*/ 357 h 361"/>
                    <a:gd name="T34" fmla="*/ 486 w 499"/>
                    <a:gd name="T35" fmla="*/ 360 h 361"/>
                    <a:gd name="T36" fmla="*/ 481 w 499"/>
                    <a:gd name="T37" fmla="*/ 361 h 361"/>
                    <a:gd name="T38" fmla="*/ 476 w 499"/>
                    <a:gd name="T39" fmla="*/ 361 h 361"/>
                    <a:gd name="T40" fmla="*/ 24 w 499"/>
                    <a:gd name="T41" fmla="*/ 361 h 361"/>
                    <a:gd name="T42" fmla="*/ 24 w 499"/>
                    <a:gd name="T43" fmla="*/ 361 h 361"/>
                    <a:gd name="T44" fmla="*/ 19 w 499"/>
                    <a:gd name="T45" fmla="*/ 361 h 361"/>
                    <a:gd name="T46" fmla="*/ 15 w 499"/>
                    <a:gd name="T47" fmla="*/ 360 h 361"/>
                    <a:gd name="T48" fmla="*/ 10 w 499"/>
                    <a:gd name="T49" fmla="*/ 357 h 361"/>
                    <a:gd name="T50" fmla="*/ 8 w 499"/>
                    <a:gd name="T51" fmla="*/ 355 h 361"/>
                    <a:gd name="T52" fmla="*/ 4 w 499"/>
                    <a:gd name="T53" fmla="*/ 351 h 361"/>
                    <a:gd name="T54" fmla="*/ 2 w 499"/>
                    <a:gd name="T55" fmla="*/ 348 h 361"/>
                    <a:gd name="T56" fmla="*/ 0 w 499"/>
                    <a:gd name="T57" fmla="*/ 343 h 361"/>
                    <a:gd name="T58" fmla="*/ 0 w 499"/>
                    <a:gd name="T59" fmla="*/ 338 h 361"/>
                    <a:gd name="T60" fmla="*/ 0 w 499"/>
                    <a:gd name="T61" fmla="*/ 25 h 361"/>
                    <a:gd name="T62" fmla="*/ 0 w 499"/>
                    <a:gd name="T63" fmla="*/ 25 h 361"/>
                    <a:gd name="T64" fmla="*/ 0 w 499"/>
                    <a:gd name="T65" fmla="*/ 20 h 361"/>
                    <a:gd name="T66" fmla="*/ 2 w 499"/>
                    <a:gd name="T67" fmla="*/ 15 h 361"/>
                    <a:gd name="T68" fmla="*/ 4 w 499"/>
                    <a:gd name="T69" fmla="*/ 11 h 361"/>
                    <a:gd name="T70" fmla="*/ 8 w 499"/>
                    <a:gd name="T71" fmla="*/ 8 h 361"/>
                    <a:gd name="T72" fmla="*/ 10 w 499"/>
                    <a:gd name="T73" fmla="*/ 5 h 361"/>
                    <a:gd name="T74" fmla="*/ 15 w 499"/>
                    <a:gd name="T75" fmla="*/ 3 h 361"/>
                    <a:gd name="T76" fmla="*/ 19 w 499"/>
                    <a:gd name="T77" fmla="*/ 2 h 361"/>
                    <a:gd name="T78" fmla="*/ 24 w 499"/>
                    <a:gd name="T79" fmla="*/ 0 h 361"/>
                    <a:gd name="T80" fmla="*/ 476 w 499"/>
                    <a:gd name="T81" fmla="*/ 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9" h="361">
                      <a:moveTo>
                        <a:pt x="476" y="0"/>
                      </a:moveTo>
                      <a:lnTo>
                        <a:pt x="476" y="0"/>
                      </a:lnTo>
                      <a:lnTo>
                        <a:pt x="481" y="2"/>
                      </a:lnTo>
                      <a:lnTo>
                        <a:pt x="486" y="3"/>
                      </a:lnTo>
                      <a:lnTo>
                        <a:pt x="489" y="5"/>
                      </a:lnTo>
                      <a:lnTo>
                        <a:pt x="493" y="8"/>
                      </a:lnTo>
                      <a:lnTo>
                        <a:pt x="495" y="11"/>
                      </a:lnTo>
                      <a:lnTo>
                        <a:pt x="498" y="15"/>
                      </a:lnTo>
                      <a:lnTo>
                        <a:pt x="499" y="20"/>
                      </a:lnTo>
                      <a:lnTo>
                        <a:pt x="499" y="25"/>
                      </a:lnTo>
                      <a:lnTo>
                        <a:pt x="499" y="338"/>
                      </a:lnTo>
                      <a:lnTo>
                        <a:pt x="499" y="338"/>
                      </a:lnTo>
                      <a:lnTo>
                        <a:pt x="499" y="343"/>
                      </a:lnTo>
                      <a:lnTo>
                        <a:pt x="498" y="348"/>
                      </a:lnTo>
                      <a:lnTo>
                        <a:pt x="495" y="351"/>
                      </a:lnTo>
                      <a:lnTo>
                        <a:pt x="493" y="355"/>
                      </a:lnTo>
                      <a:lnTo>
                        <a:pt x="489" y="357"/>
                      </a:lnTo>
                      <a:lnTo>
                        <a:pt x="486" y="360"/>
                      </a:lnTo>
                      <a:lnTo>
                        <a:pt x="481" y="361"/>
                      </a:lnTo>
                      <a:lnTo>
                        <a:pt x="476" y="361"/>
                      </a:lnTo>
                      <a:lnTo>
                        <a:pt x="24" y="361"/>
                      </a:lnTo>
                      <a:lnTo>
                        <a:pt x="24" y="361"/>
                      </a:lnTo>
                      <a:lnTo>
                        <a:pt x="19" y="361"/>
                      </a:lnTo>
                      <a:lnTo>
                        <a:pt x="15" y="360"/>
                      </a:lnTo>
                      <a:lnTo>
                        <a:pt x="10" y="357"/>
                      </a:lnTo>
                      <a:lnTo>
                        <a:pt x="8" y="355"/>
                      </a:lnTo>
                      <a:lnTo>
                        <a:pt x="4" y="351"/>
                      </a:lnTo>
                      <a:lnTo>
                        <a:pt x="2" y="348"/>
                      </a:lnTo>
                      <a:lnTo>
                        <a:pt x="0" y="343"/>
                      </a:lnTo>
                      <a:lnTo>
                        <a:pt x="0" y="338"/>
                      </a:lnTo>
                      <a:lnTo>
                        <a:pt x="0" y="25"/>
                      </a:lnTo>
                      <a:lnTo>
                        <a:pt x="0" y="25"/>
                      </a:lnTo>
                      <a:lnTo>
                        <a:pt x="0" y="20"/>
                      </a:lnTo>
                      <a:lnTo>
                        <a:pt x="2" y="15"/>
                      </a:lnTo>
                      <a:lnTo>
                        <a:pt x="4" y="11"/>
                      </a:lnTo>
                      <a:lnTo>
                        <a:pt x="8" y="8"/>
                      </a:lnTo>
                      <a:lnTo>
                        <a:pt x="10" y="5"/>
                      </a:lnTo>
                      <a:lnTo>
                        <a:pt x="15" y="3"/>
                      </a:lnTo>
                      <a:lnTo>
                        <a:pt x="19" y="2"/>
                      </a:lnTo>
                      <a:lnTo>
                        <a:pt x="24" y="0"/>
                      </a:lnTo>
                      <a:lnTo>
                        <a:pt x="4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43" name="Rectangle 457"/>
                <p:cNvSpPr>
                  <a:spLocks noChangeArrowheads="1"/>
                </p:cNvSpPr>
                <p:nvPr/>
              </p:nvSpPr>
              <p:spPr bwMode="auto">
                <a:xfrm>
                  <a:off x="2900402"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44" name="Rectangle 458"/>
                <p:cNvSpPr>
                  <a:spLocks noChangeArrowheads="1"/>
                </p:cNvSpPr>
                <p:nvPr/>
              </p:nvSpPr>
              <p:spPr bwMode="auto">
                <a:xfrm>
                  <a:off x="2900402"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45" name="Rectangle 459"/>
                <p:cNvSpPr>
                  <a:spLocks noChangeArrowheads="1"/>
                </p:cNvSpPr>
                <p:nvPr/>
              </p:nvSpPr>
              <p:spPr bwMode="auto">
                <a:xfrm>
                  <a:off x="2900402"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46" name="Rectangle 460"/>
                <p:cNvSpPr>
                  <a:spLocks noChangeArrowheads="1"/>
                </p:cNvSpPr>
                <p:nvPr/>
              </p:nvSpPr>
              <p:spPr bwMode="auto">
                <a:xfrm>
                  <a:off x="2938502"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47" name="Rectangle 461"/>
                <p:cNvSpPr>
                  <a:spLocks noChangeArrowheads="1"/>
                </p:cNvSpPr>
                <p:nvPr/>
              </p:nvSpPr>
              <p:spPr bwMode="auto">
                <a:xfrm>
                  <a:off x="2938502"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48" name="Rectangle 462"/>
                <p:cNvSpPr>
                  <a:spLocks noChangeArrowheads="1"/>
                </p:cNvSpPr>
                <p:nvPr/>
              </p:nvSpPr>
              <p:spPr bwMode="auto">
                <a:xfrm>
                  <a:off x="2938502"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49" name="Rectangle 463"/>
                <p:cNvSpPr>
                  <a:spLocks noChangeArrowheads="1"/>
                </p:cNvSpPr>
                <p:nvPr/>
              </p:nvSpPr>
              <p:spPr bwMode="auto">
                <a:xfrm>
                  <a:off x="2975015"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50" name="Rectangle 464"/>
                <p:cNvSpPr>
                  <a:spLocks noChangeArrowheads="1"/>
                </p:cNvSpPr>
                <p:nvPr/>
              </p:nvSpPr>
              <p:spPr bwMode="auto">
                <a:xfrm>
                  <a:off x="2975015"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51" name="Rectangle 465"/>
                <p:cNvSpPr>
                  <a:spLocks noChangeArrowheads="1"/>
                </p:cNvSpPr>
                <p:nvPr/>
              </p:nvSpPr>
              <p:spPr bwMode="auto">
                <a:xfrm>
                  <a:off x="2975015"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52" name="Rectangle 466"/>
                <p:cNvSpPr>
                  <a:spLocks noChangeArrowheads="1"/>
                </p:cNvSpPr>
                <p:nvPr/>
              </p:nvSpPr>
              <p:spPr bwMode="auto">
                <a:xfrm>
                  <a:off x="3013115"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53" name="Rectangle 467"/>
                <p:cNvSpPr>
                  <a:spLocks noChangeArrowheads="1"/>
                </p:cNvSpPr>
                <p:nvPr/>
              </p:nvSpPr>
              <p:spPr bwMode="auto">
                <a:xfrm>
                  <a:off x="3013115"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54" name="Rectangle 468"/>
                <p:cNvSpPr>
                  <a:spLocks noChangeArrowheads="1"/>
                </p:cNvSpPr>
                <p:nvPr/>
              </p:nvSpPr>
              <p:spPr bwMode="auto">
                <a:xfrm>
                  <a:off x="3013115"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55" name="Rectangle 469"/>
                <p:cNvSpPr>
                  <a:spLocks noChangeArrowheads="1"/>
                </p:cNvSpPr>
                <p:nvPr/>
              </p:nvSpPr>
              <p:spPr bwMode="auto">
                <a:xfrm>
                  <a:off x="2860714" y="2547952"/>
                  <a:ext cx="31750" cy="7938"/>
                </a:xfrm>
                <a:prstGeom prst="rect">
                  <a:avLst/>
                </a:prstGeom>
                <a:solidFill>
                  <a:srgbClr val="7F2D2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56" name="Rectangle 470"/>
                <p:cNvSpPr>
                  <a:spLocks noChangeArrowheads="1"/>
                </p:cNvSpPr>
                <p:nvPr/>
              </p:nvSpPr>
              <p:spPr bwMode="auto">
                <a:xfrm>
                  <a:off x="2860714" y="2474927"/>
                  <a:ext cx="31750" cy="9525"/>
                </a:xfrm>
                <a:prstGeom prst="rect">
                  <a:avLst/>
                </a:prstGeom>
                <a:solidFill>
                  <a:srgbClr val="7F2D2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57" name="Freeform 471"/>
                <p:cNvSpPr>
                  <a:spLocks/>
                </p:cNvSpPr>
                <p:nvPr/>
              </p:nvSpPr>
              <p:spPr bwMode="auto">
                <a:xfrm>
                  <a:off x="2630525" y="2459052"/>
                  <a:ext cx="157164" cy="114301"/>
                </a:xfrm>
                <a:custGeom>
                  <a:avLst/>
                  <a:gdLst>
                    <a:gd name="T0" fmla="*/ 24 w 499"/>
                    <a:gd name="T1" fmla="*/ 361 h 361"/>
                    <a:gd name="T2" fmla="*/ 24 w 499"/>
                    <a:gd name="T3" fmla="*/ 361 h 361"/>
                    <a:gd name="T4" fmla="*/ 19 w 499"/>
                    <a:gd name="T5" fmla="*/ 361 h 361"/>
                    <a:gd name="T6" fmla="*/ 14 w 499"/>
                    <a:gd name="T7" fmla="*/ 360 h 361"/>
                    <a:gd name="T8" fmla="*/ 10 w 499"/>
                    <a:gd name="T9" fmla="*/ 357 h 361"/>
                    <a:gd name="T10" fmla="*/ 7 w 499"/>
                    <a:gd name="T11" fmla="*/ 355 h 361"/>
                    <a:gd name="T12" fmla="*/ 4 w 499"/>
                    <a:gd name="T13" fmla="*/ 351 h 361"/>
                    <a:gd name="T14" fmla="*/ 2 w 499"/>
                    <a:gd name="T15" fmla="*/ 348 h 361"/>
                    <a:gd name="T16" fmla="*/ 0 w 499"/>
                    <a:gd name="T17" fmla="*/ 343 h 361"/>
                    <a:gd name="T18" fmla="*/ 0 w 499"/>
                    <a:gd name="T19" fmla="*/ 338 h 361"/>
                    <a:gd name="T20" fmla="*/ 0 w 499"/>
                    <a:gd name="T21" fmla="*/ 25 h 361"/>
                    <a:gd name="T22" fmla="*/ 0 w 499"/>
                    <a:gd name="T23" fmla="*/ 25 h 361"/>
                    <a:gd name="T24" fmla="*/ 0 w 499"/>
                    <a:gd name="T25" fmla="*/ 20 h 361"/>
                    <a:gd name="T26" fmla="*/ 2 w 499"/>
                    <a:gd name="T27" fmla="*/ 15 h 361"/>
                    <a:gd name="T28" fmla="*/ 4 w 499"/>
                    <a:gd name="T29" fmla="*/ 11 h 361"/>
                    <a:gd name="T30" fmla="*/ 7 w 499"/>
                    <a:gd name="T31" fmla="*/ 8 h 361"/>
                    <a:gd name="T32" fmla="*/ 10 w 499"/>
                    <a:gd name="T33" fmla="*/ 5 h 361"/>
                    <a:gd name="T34" fmla="*/ 14 w 499"/>
                    <a:gd name="T35" fmla="*/ 3 h 361"/>
                    <a:gd name="T36" fmla="*/ 19 w 499"/>
                    <a:gd name="T37" fmla="*/ 2 h 361"/>
                    <a:gd name="T38" fmla="*/ 24 w 499"/>
                    <a:gd name="T39" fmla="*/ 0 h 361"/>
                    <a:gd name="T40" fmla="*/ 476 w 499"/>
                    <a:gd name="T41" fmla="*/ 0 h 361"/>
                    <a:gd name="T42" fmla="*/ 476 w 499"/>
                    <a:gd name="T43" fmla="*/ 0 h 361"/>
                    <a:gd name="T44" fmla="*/ 481 w 499"/>
                    <a:gd name="T45" fmla="*/ 2 h 361"/>
                    <a:gd name="T46" fmla="*/ 484 w 499"/>
                    <a:gd name="T47" fmla="*/ 3 h 361"/>
                    <a:gd name="T48" fmla="*/ 489 w 499"/>
                    <a:gd name="T49" fmla="*/ 5 h 361"/>
                    <a:gd name="T50" fmla="*/ 492 w 499"/>
                    <a:gd name="T51" fmla="*/ 8 h 361"/>
                    <a:gd name="T52" fmla="*/ 495 w 499"/>
                    <a:gd name="T53" fmla="*/ 11 h 361"/>
                    <a:gd name="T54" fmla="*/ 498 w 499"/>
                    <a:gd name="T55" fmla="*/ 15 h 361"/>
                    <a:gd name="T56" fmla="*/ 499 w 499"/>
                    <a:gd name="T57" fmla="*/ 20 h 361"/>
                    <a:gd name="T58" fmla="*/ 499 w 499"/>
                    <a:gd name="T59" fmla="*/ 25 h 361"/>
                    <a:gd name="T60" fmla="*/ 499 w 499"/>
                    <a:gd name="T61" fmla="*/ 338 h 361"/>
                    <a:gd name="T62" fmla="*/ 499 w 499"/>
                    <a:gd name="T63" fmla="*/ 338 h 361"/>
                    <a:gd name="T64" fmla="*/ 499 w 499"/>
                    <a:gd name="T65" fmla="*/ 343 h 361"/>
                    <a:gd name="T66" fmla="*/ 498 w 499"/>
                    <a:gd name="T67" fmla="*/ 348 h 361"/>
                    <a:gd name="T68" fmla="*/ 495 w 499"/>
                    <a:gd name="T69" fmla="*/ 351 h 361"/>
                    <a:gd name="T70" fmla="*/ 492 w 499"/>
                    <a:gd name="T71" fmla="*/ 355 h 361"/>
                    <a:gd name="T72" fmla="*/ 489 w 499"/>
                    <a:gd name="T73" fmla="*/ 357 h 361"/>
                    <a:gd name="T74" fmla="*/ 484 w 499"/>
                    <a:gd name="T75" fmla="*/ 360 h 361"/>
                    <a:gd name="T76" fmla="*/ 481 w 499"/>
                    <a:gd name="T77" fmla="*/ 361 h 361"/>
                    <a:gd name="T78" fmla="*/ 476 w 499"/>
                    <a:gd name="T79" fmla="*/ 361 h 361"/>
                    <a:gd name="T80" fmla="*/ 24 w 499"/>
                    <a:gd name="T81"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9" h="361">
                      <a:moveTo>
                        <a:pt x="24" y="361"/>
                      </a:moveTo>
                      <a:lnTo>
                        <a:pt x="24" y="361"/>
                      </a:lnTo>
                      <a:lnTo>
                        <a:pt x="19" y="361"/>
                      </a:lnTo>
                      <a:lnTo>
                        <a:pt x="14" y="360"/>
                      </a:lnTo>
                      <a:lnTo>
                        <a:pt x="10" y="357"/>
                      </a:lnTo>
                      <a:lnTo>
                        <a:pt x="7" y="355"/>
                      </a:lnTo>
                      <a:lnTo>
                        <a:pt x="4" y="351"/>
                      </a:lnTo>
                      <a:lnTo>
                        <a:pt x="2" y="348"/>
                      </a:lnTo>
                      <a:lnTo>
                        <a:pt x="0" y="343"/>
                      </a:lnTo>
                      <a:lnTo>
                        <a:pt x="0" y="338"/>
                      </a:lnTo>
                      <a:lnTo>
                        <a:pt x="0" y="25"/>
                      </a:lnTo>
                      <a:lnTo>
                        <a:pt x="0" y="25"/>
                      </a:lnTo>
                      <a:lnTo>
                        <a:pt x="0" y="20"/>
                      </a:lnTo>
                      <a:lnTo>
                        <a:pt x="2" y="15"/>
                      </a:lnTo>
                      <a:lnTo>
                        <a:pt x="4" y="11"/>
                      </a:lnTo>
                      <a:lnTo>
                        <a:pt x="7" y="8"/>
                      </a:lnTo>
                      <a:lnTo>
                        <a:pt x="10" y="5"/>
                      </a:lnTo>
                      <a:lnTo>
                        <a:pt x="14" y="3"/>
                      </a:lnTo>
                      <a:lnTo>
                        <a:pt x="19" y="2"/>
                      </a:lnTo>
                      <a:lnTo>
                        <a:pt x="24" y="0"/>
                      </a:lnTo>
                      <a:lnTo>
                        <a:pt x="476" y="0"/>
                      </a:lnTo>
                      <a:lnTo>
                        <a:pt x="476" y="0"/>
                      </a:lnTo>
                      <a:lnTo>
                        <a:pt x="481" y="2"/>
                      </a:lnTo>
                      <a:lnTo>
                        <a:pt x="484" y="3"/>
                      </a:lnTo>
                      <a:lnTo>
                        <a:pt x="489" y="5"/>
                      </a:lnTo>
                      <a:lnTo>
                        <a:pt x="492" y="8"/>
                      </a:lnTo>
                      <a:lnTo>
                        <a:pt x="495" y="11"/>
                      </a:lnTo>
                      <a:lnTo>
                        <a:pt x="498" y="15"/>
                      </a:lnTo>
                      <a:lnTo>
                        <a:pt x="499" y="20"/>
                      </a:lnTo>
                      <a:lnTo>
                        <a:pt x="499" y="25"/>
                      </a:lnTo>
                      <a:lnTo>
                        <a:pt x="499" y="338"/>
                      </a:lnTo>
                      <a:lnTo>
                        <a:pt x="499" y="338"/>
                      </a:lnTo>
                      <a:lnTo>
                        <a:pt x="499" y="343"/>
                      </a:lnTo>
                      <a:lnTo>
                        <a:pt x="498" y="348"/>
                      </a:lnTo>
                      <a:lnTo>
                        <a:pt x="495" y="351"/>
                      </a:lnTo>
                      <a:lnTo>
                        <a:pt x="492" y="355"/>
                      </a:lnTo>
                      <a:lnTo>
                        <a:pt x="489" y="357"/>
                      </a:lnTo>
                      <a:lnTo>
                        <a:pt x="484" y="360"/>
                      </a:lnTo>
                      <a:lnTo>
                        <a:pt x="481" y="361"/>
                      </a:lnTo>
                      <a:lnTo>
                        <a:pt x="476" y="361"/>
                      </a:lnTo>
                      <a:lnTo>
                        <a:pt x="24" y="3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58" name="Rectangle 472"/>
                <p:cNvSpPr>
                  <a:spLocks noChangeArrowheads="1"/>
                </p:cNvSpPr>
                <p:nvPr/>
              </p:nvSpPr>
              <p:spPr bwMode="auto">
                <a:xfrm>
                  <a:off x="2749588"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59" name="Rectangle 473"/>
                <p:cNvSpPr>
                  <a:spLocks noChangeArrowheads="1"/>
                </p:cNvSpPr>
                <p:nvPr/>
              </p:nvSpPr>
              <p:spPr bwMode="auto">
                <a:xfrm>
                  <a:off x="2749588"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0" name="Rectangle 474"/>
                <p:cNvSpPr>
                  <a:spLocks noChangeArrowheads="1"/>
                </p:cNvSpPr>
                <p:nvPr/>
              </p:nvSpPr>
              <p:spPr bwMode="auto">
                <a:xfrm>
                  <a:off x="2749588"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1" name="Rectangle 475"/>
                <p:cNvSpPr>
                  <a:spLocks noChangeArrowheads="1"/>
                </p:cNvSpPr>
                <p:nvPr/>
              </p:nvSpPr>
              <p:spPr bwMode="auto">
                <a:xfrm>
                  <a:off x="2711488"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2" name="Rectangle 476"/>
                <p:cNvSpPr>
                  <a:spLocks noChangeArrowheads="1"/>
                </p:cNvSpPr>
                <p:nvPr/>
              </p:nvSpPr>
              <p:spPr bwMode="auto">
                <a:xfrm>
                  <a:off x="2711488"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3" name="Rectangle 477"/>
                <p:cNvSpPr>
                  <a:spLocks noChangeArrowheads="1"/>
                </p:cNvSpPr>
                <p:nvPr/>
              </p:nvSpPr>
              <p:spPr bwMode="auto">
                <a:xfrm>
                  <a:off x="2711488"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4" name="Rectangle 478"/>
                <p:cNvSpPr>
                  <a:spLocks noChangeArrowheads="1"/>
                </p:cNvSpPr>
                <p:nvPr/>
              </p:nvSpPr>
              <p:spPr bwMode="auto">
                <a:xfrm>
                  <a:off x="2674975" y="2465402"/>
                  <a:ext cx="30163"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5" name="Rectangle 479"/>
                <p:cNvSpPr>
                  <a:spLocks noChangeArrowheads="1"/>
                </p:cNvSpPr>
                <p:nvPr/>
              </p:nvSpPr>
              <p:spPr bwMode="auto">
                <a:xfrm>
                  <a:off x="2674975" y="2500327"/>
                  <a:ext cx="30163"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6" name="Rectangle 480"/>
                <p:cNvSpPr>
                  <a:spLocks noChangeArrowheads="1"/>
                </p:cNvSpPr>
                <p:nvPr/>
              </p:nvSpPr>
              <p:spPr bwMode="auto">
                <a:xfrm>
                  <a:off x="2674975" y="2535252"/>
                  <a:ext cx="30163"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7" name="Rectangle 481"/>
                <p:cNvSpPr>
                  <a:spLocks noChangeArrowheads="1"/>
                </p:cNvSpPr>
                <p:nvPr/>
              </p:nvSpPr>
              <p:spPr bwMode="auto">
                <a:xfrm>
                  <a:off x="2636875"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8" name="Rectangle 482"/>
                <p:cNvSpPr>
                  <a:spLocks noChangeArrowheads="1"/>
                </p:cNvSpPr>
                <p:nvPr/>
              </p:nvSpPr>
              <p:spPr bwMode="auto">
                <a:xfrm>
                  <a:off x="2636875"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9" name="Rectangle 483"/>
                <p:cNvSpPr>
                  <a:spLocks noChangeArrowheads="1"/>
                </p:cNvSpPr>
                <p:nvPr/>
              </p:nvSpPr>
              <p:spPr bwMode="auto">
                <a:xfrm>
                  <a:off x="2636875"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0" name="Rectangle 484"/>
                <p:cNvSpPr>
                  <a:spLocks noChangeArrowheads="1"/>
                </p:cNvSpPr>
                <p:nvPr/>
              </p:nvSpPr>
              <p:spPr bwMode="auto">
                <a:xfrm>
                  <a:off x="2787689" y="2474927"/>
                  <a:ext cx="33338" cy="9525"/>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1" name="Rectangle 485"/>
                <p:cNvSpPr>
                  <a:spLocks noChangeArrowheads="1"/>
                </p:cNvSpPr>
                <p:nvPr/>
              </p:nvSpPr>
              <p:spPr bwMode="auto">
                <a:xfrm>
                  <a:off x="2787689" y="2547952"/>
                  <a:ext cx="33338" cy="7938"/>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972" name="그룹 971"/>
              <p:cNvGrpSpPr/>
              <p:nvPr userDrawn="1"/>
            </p:nvGrpSpPr>
            <p:grpSpPr>
              <a:xfrm rot="3600000">
                <a:off x="372232" y="1859921"/>
                <a:ext cx="109197" cy="274876"/>
                <a:chOff x="3543344" y="2284425"/>
                <a:chExt cx="184151" cy="463554"/>
              </a:xfrm>
            </p:grpSpPr>
            <p:sp>
              <p:nvSpPr>
                <p:cNvPr id="973" name="Freeform 486"/>
                <p:cNvSpPr>
                  <a:spLocks/>
                </p:cNvSpPr>
                <p:nvPr/>
              </p:nvSpPr>
              <p:spPr bwMode="auto">
                <a:xfrm>
                  <a:off x="3603670" y="2557477"/>
                  <a:ext cx="68263" cy="190502"/>
                </a:xfrm>
                <a:custGeom>
                  <a:avLst/>
                  <a:gdLst>
                    <a:gd name="T0" fmla="*/ 2 w 219"/>
                    <a:gd name="T1" fmla="*/ 0 h 600"/>
                    <a:gd name="T2" fmla="*/ 0 w 219"/>
                    <a:gd name="T3" fmla="*/ 95 h 600"/>
                    <a:gd name="T4" fmla="*/ 30 w 219"/>
                    <a:gd name="T5" fmla="*/ 79 h 600"/>
                    <a:gd name="T6" fmla="*/ 30 w 219"/>
                    <a:gd name="T7" fmla="*/ 79 h 600"/>
                    <a:gd name="T8" fmla="*/ 38 w 219"/>
                    <a:gd name="T9" fmla="*/ 234 h 600"/>
                    <a:gd name="T10" fmla="*/ 47 w 219"/>
                    <a:gd name="T11" fmla="*/ 385 h 600"/>
                    <a:gd name="T12" fmla="*/ 47 w 219"/>
                    <a:gd name="T13" fmla="*/ 385 h 600"/>
                    <a:gd name="T14" fmla="*/ 55 w 219"/>
                    <a:gd name="T15" fmla="*/ 357 h 600"/>
                    <a:gd name="T16" fmla="*/ 71 w 219"/>
                    <a:gd name="T17" fmla="*/ 303 h 600"/>
                    <a:gd name="T18" fmla="*/ 94 w 219"/>
                    <a:gd name="T19" fmla="*/ 224 h 600"/>
                    <a:gd name="T20" fmla="*/ 94 w 219"/>
                    <a:gd name="T21" fmla="*/ 224 h 600"/>
                    <a:gd name="T22" fmla="*/ 117 w 219"/>
                    <a:gd name="T23" fmla="*/ 417 h 600"/>
                    <a:gd name="T24" fmla="*/ 134 w 219"/>
                    <a:gd name="T25" fmla="*/ 546 h 600"/>
                    <a:gd name="T26" fmla="*/ 139 w 219"/>
                    <a:gd name="T27" fmla="*/ 588 h 600"/>
                    <a:gd name="T28" fmla="*/ 142 w 219"/>
                    <a:gd name="T29" fmla="*/ 598 h 600"/>
                    <a:gd name="T30" fmla="*/ 142 w 219"/>
                    <a:gd name="T31" fmla="*/ 600 h 600"/>
                    <a:gd name="T32" fmla="*/ 142 w 219"/>
                    <a:gd name="T33" fmla="*/ 600 h 600"/>
                    <a:gd name="T34" fmla="*/ 164 w 219"/>
                    <a:gd name="T35" fmla="*/ 384 h 600"/>
                    <a:gd name="T36" fmla="*/ 183 w 219"/>
                    <a:gd name="T37" fmla="*/ 179 h 600"/>
                    <a:gd name="T38" fmla="*/ 219 w 219"/>
                    <a:gd name="T39" fmla="*/ 211 h 600"/>
                    <a:gd name="T40" fmla="*/ 203 w 219"/>
                    <a:gd name="T41" fmla="*/ 0 h 600"/>
                    <a:gd name="T42" fmla="*/ 2 w 219"/>
                    <a:gd name="T43"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9" h="600">
                      <a:moveTo>
                        <a:pt x="2" y="0"/>
                      </a:moveTo>
                      <a:lnTo>
                        <a:pt x="0" y="95"/>
                      </a:lnTo>
                      <a:lnTo>
                        <a:pt x="30" y="79"/>
                      </a:lnTo>
                      <a:lnTo>
                        <a:pt x="30" y="79"/>
                      </a:lnTo>
                      <a:lnTo>
                        <a:pt x="38" y="234"/>
                      </a:lnTo>
                      <a:lnTo>
                        <a:pt x="47" y="385"/>
                      </a:lnTo>
                      <a:lnTo>
                        <a:pt x="47" y="385"/>
                      </a:lnTo>
                      <a:lnTo>
                        <a:pt x="55" y="357"/>
                      </a:lnTo>
                      <a:lnTo>
                        <a:pt x="71" y="303"/>
                      </a:lnTo>
                      <a:lnTo>
                        <a:pt x="94" y="224"/>
                      </a:lnTo>
                      <a:lnTo>
                        <a:pt x="94" y="224"/>
                      </a:lnTo>
                      <a:lnTo>
                        <a:pt x="117" y="417"/>
                      </a:lnTo>
                      <a:lnTo>
                        <a:pt x="134" y="546"/>
                      </a:lnTo>
                      <a:lnTo>
                        <a:pt x="139" y="588"/>
                      </a:lnTo>
                      <a:lnTo>
                        <a:pt x="142" y="598"/>
                      </a:lnTo>
                      <a:lnTo>
                        <a:pt x="142" y="600"/>
                      </a:lnTo>
                      <a:lnTo>
                        <a:pt x="142" y="600"/>
                      </a:lnTo>
                      <a:lnTo>
                        <a:pt x="164" y="384"/>
                      </a:lnTo>
                      <a:lnTo>
                        <a:pt x="183" y="179"/>
                      </a:lnTo>
                      <a:lnTo>
                        <a:pt x="219" y="211"/>
                      </a:lnTo>
                      <a:lnTo>
                        <a:pt x="203" y="0"/>
                      </a:lnTo>
                      <a:lnTo>
                        <a:pt x="2" y="0"/>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4" name="Freeform 487"/>
                <p:cNvSpPr>
                  <a:spLocks/>
                </p:cNvSpPr>
                <p:nvPr/>
              </p:nvSpPr>
              <p:spPr bwMode="auto">
                <a:xfrm>
                  <a:off x="3556044" y="2466989"/>
                  <a:ext cx="52388" cy="63501"/>
                </a:xfrm>
                <a:custGeom>
                  <a:avLst/>
                  <a:gdLst>
                    <a:gd name="T0" fmla="*/ 42 w 165"/>
                    <a:gd name="T1" fmla="*/ 199 h 199"/>
                    <a:gd name="T2" fmla="*/ 165 w 165"/>
                    <a:gd name="T3" fmla="*/ 156 h 199"/>
                    <a:gd name="T4" fmla="*/ 159 w 165"/>
                    <a:gd name="T5" fmla="*/ 0 h 199"/>
                    <a:gd name="T6" fmla="*/ 0 w 165"/>
                    <a:gd name="T7" fmla="*/ 99 h 199"/>
                    <a:gd name="T8" fmla="*/ 42 w 165"/>
                    <a:gd name="T9" fmla="*/ 199 h 199"/>
                  </a:gdLst>
                  <a:ahLst/>
                  <a:cxnLst>
                    <a:cxn ang="0">
                      <a:pos x="T0" y="T1"/>
                    </a:cxn>
                    <a:cxn ang="0">
                      <a:pos x="T2" y="T3"/>
                    </a:cxn>
                    <a:cxn ang="0">
                      <a:pos x="T4" y="T5"/>
                    </a:cxn>
                    <a:cxn ang="0">
                      <a:pos x="T6" y="T7"/>
                    </a:cxn>
                    <a:cxn ang="0">
                      <a:pos x="T8" y="T9"/>
                    </a:cxn>
                  </a:cxnLst>
                  <a:rect l="0" t="0" r="r" b="b"/>
                  <a:pathLst>
                    <a:path w="165" h="199">
                      <a:moveTo>
                        <a:pt x="42" y="199"/>
                      </a:moveTo>
                      <a:lnTo>
                        <a:pt x="165" y="156"/>
                      </a:lnTo>
                      <a:lnTo>
                        <a:pt x="159" y="0"/>
                      </a:lnTo>
                      <a:lnTo>
                        <a:pt x="0" y="99"/>
                      </a:lnTo>
                      <a:lnTo>
                        <a:pt x="42" y="1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5" name="Rectangle 488"/>
                <p:cNvSpPr>
                  <a:spLocks noChangeArrowheads="1"/>
                </p:cNvSpPr>
                <p:nvPr/>
              </p:nvSpPr>
              <p:spPr bwMode="auto">
                <a:xfrm>
                  <a:off x="3633832" y="2298713"/>
                  <a:ext cx="3175" cy="36513"/>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6" name="Freeform 489"/>
                <p:cNvSpPr>
                  <a:spLocks/>
                </p:cNvSpPr>
                <p:nvPr/>
              </p:nvSpPr>
              <p:spPr bwMode="auto">
                <a:xfrm>
                  <a:off x="3597320" y="2562240"/>
                  <a:ext cx="38100" cy="6350"/>
                </a:xfrm>
                <a:custGeom>
                  <a:avLst/>
                  <a:gdLst>
                    <a:gd name="T0" fmla="*/ 0 w 120"/>
                    <a:gd name="T1" fmla="*/ 0 h 20"/>
                    <a:gd name="T2" fmla="*/ 0 w 120"/>
                    <a:gd name="T3" fmla="*/ 0 h 20"/>
                    <a:gd name="T4" fmla="*/ 0 w 120"/>
                    <a:gd name="T5" fmla="*/ 3 h 20"/>
                    <a:gd name="T6" fmla="*/ 3 w 120"/>
                    <a:gd name="T7" fmla="*/ 4 h 20"/>
                    <a:gd name="T8" fmla="*/ 9 w 120"/>
                    <a:gd name="T9" fmla="*/ 8 h 20"/>
                    <a:gd name="T10" fmla="*/ 20 w 120"/>
                    <a:gd name="T11" fmla="*/ 11 h 20"/>
                    <a:gd name="T12" fmla="*/ 34 w 120"/>
                    <a:gd name="T13" fmla="*/ 15 h 20"/>
                    <a:gd name="T14" fmla="*/ 53 w 120"/>
                    <a:gd name="T15" fmla="*/ 17 h 20"/>
                    <a:gd name="T16" fmla="*/ 73 w 120"/>
                    <a:gd name="T17" fmla="*/ 19 h 20"/>
                    <a:gd name="T18" fmla="*/ 95 w 120"/>
                    <a:gd name="T19" fmla="*/ 20 h 20"/>
                    <a:gd name="T20" fmla="*/ 120 w 120"/>
                    <a:gd name="T21" fmla="*/ 20 h 20"/>
                    <a:gd name="T22" fmla="*/ 120 w 120"/>
                    <a:gd name="T23" fmla="*/ 0 h 20"/>
                    <a:gd name="T24" fmla="*/ 0 w 120"/>
                    <a:gd name="T2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0">
                      <a:moveTo>
                        <a:pt x="0" y="0"/>
                      </a:moveTo>
                      <a:lnTo>
                        <a:pt x="0" y="0"/>
                      </a:lnTo>
                      <a:lnTo>
                        <a:pt x="0" y="3"/>
                      </a:lnTo>
                      <a:lnTo>
                        <a:pt x="3" y="4"/>
                      </a:lnTo>
                      <a:lnTo>
                        <a:pt x="9" y="8"/>
                      </a:lnTo>
                      <a:lnTo>
                        <a:pt x="20" y="11"/>
                      </a:lnTo>
                      <a:lnTo>
                        <a:pt x="34" y="15"/>
                      </a:lnTo>
                      <a:lnTo>
                        <a:pt x="53" y="17"/>
                      </a:lnTo>
                      <a:lnTo>
                        <a:pt x="73" y="19"/>
                      </a:lnTo>
                      <a:lnTo>
                        <a:pt x="95" y="20"/>
                      </a:lnTo>
                      <a:lnTo>
                        <a:pt x="120" y="20"/>
                      </a:lnTo>
                      <a:lnTo>
                        <a:pt x="120" y="0"/>
                      </a:lnTo>
                      <a:lnTo>
                        <a:pt x="0"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7" name="Freeform 490"/>
                <p:cNvSpPr>
                  <a:spLocks/>
                </p:cNvSpPr>
                <p:nvPr/>
              </p:nvSpPr>
              <p:spPr bwMode="auto">
                <a:xfrm>
                  <a:off x="3581445" y="2316175"/>
                  <a:ext cx="53975" cy="212727"/>
                </a:xfrm>
                <a:custGeom>
                  <a:avLst/>
                  <a:gdLst>
                    <a:gd name="T0" fmla="*/ 173 w 173"/>
                    <a:gd name="T1" fmla="*/ 0 h 669"/>
                    <a:gd name="T2" fmla="*/ 173 w 173"/>
                    <a:gd name="T3" fmla="*/ 669 h 669"/>
                    <a:gd name="T4" fmla="*/ 70 w 173"/>
                    <a:gd name="T5" fmla="*/ 669 h 669"/>
                    <a:gd name="T6" fmla="*/ 70 w 173"/>
                    <a:gd name="T7" fmla="*/ 669 h 669"/>
                    <a:gd name="T8" fmla="*/ 67 w 173"/>
                    <a:gd name="T9" fmla="*/ 665 h 669"/>
                    <a:gd name="T10" fmla="*/ 59 w 173"/>
                    <a:gd name="T11" fmla="*/ 651 h 669"/>
                    <a:gd name="T12" fmla="*/ 47 w 173"/>
                    <a:gd name="T13" fmla="*/ 629 h 669"/>
                    <a:gd name="T14" fmla="*/ 35 w 173"/>
                    <a:gd name="T15" fmla="*/ 599 h 669"/>
                    <a:gd name="T16" fmla="*/ 28 w 173"/>
                    <a:gd name="T17" fmla="*/ 580 h 669"/>
                    <a:gd name="T18" fmla="*/ 22 w 173"/>
                    <a:gd name="T19" fmla="*/ 560 h 669"/>
                    <a:gd name="T20" fmla="*/ 15 w 173"/>
                    <a:gd name="T21" fmla="*/ 538 h 669"/>
                    <a:gd name="T22" fmla="*/ 11 w 173"/>
                    <a:gd name="T23" fmla="*/ 513 h 669"/>
                    <a:gd name="T24" fmla="*/ 6 w 173"/>
                    <a:gd name="T25" fmla="*/ 487 h 669"/>
                    <a:gd name="T26" fmla="*/ 2 w 173"/>
                    <a:gd name="T27" fmla="*/ 458 h 669"/>
                    <a:gd name="T28" fmla="*/ 1 w 173"/>
                    <a:gd name="T29" fmla="*/ 429 h 669"/>
                    <a:gd name="T30" fmla="*/ 0 w 173"/>
                    <a:gd name="T31" fmla="*/ 398 h 669"/>
                    <a:gd name="T32" fmla="*/ 0 w 173"/>
                    <a:gd name="T33" fmla="*/ 398 h 669"/>
                    <a:gd name="T34" fmla="*/ 0 w 173"/>
                    <a:gd name="T35" fmla="*/ 382 h 669"/>
                    <a:gd name="T36" fmla="*/ 1 w 173"/>
                    <a:gd name="T37" fmla="*/ 365 h 669"/>
                    <a:gd name="T38" fmla="*/ 6 w 173"/>
                    <a:gd name="T39" fmla="*/ 330 h 669"/>
                    <a:gd name="T40" fmla="*/ 13 w 173"/>
                    <a:gd name="T41" fmla="*/ 296 h 669"/>
                    <a:gd name="T42" fmla="*/ 22 w 173"/>
                    <a:gd name="T43" fmla="*/ 262 h 669"/>
                    <a:gd name="T44" fmla="*/ 34 w 173"/>
                    <a:gd name="T45" fmla="*/ 229 h 669"/>
                    <a:gd name="T46" fmla="*/ 46 w 173"/>
                    <a:gd name="T47" fmla="*/ 196 h 669"/>
                    <a:gd name="T48" fmla="*/ 59 w 173"/>
                    <a:gd name="T49" fmla="*/ 165 h 669"/>
                    <a:gd name="T50" fmla="*/ 74 w 173"/>
                    <a:gd name="T51" fmla="*/ 134 h 669"/>
                    <a:gd name="T52" fmla="*/ 89 w 173"/>
                    <a:gd name="T53" fmla="*/ 106 h 669"/>
                    <a:gd name="T54" fmla="*/ 103 w 173"/>
                    <a:gd name="T55" fmla="*/ 81 h 669"/>
                    <a:gd name="T56" fmla="*/ 118 w 173"/>
                    <a:gd name="T57" fmla="*/ 57 h 669"/>
                    <a:gd name="T58" fmla="*/ 133 w 173"/>
                    <a:gd name="T59" fmla="*/ 38 h 669"/>
                    <a:gd name="T60" fmla="*/ 145 w 173"/>
                    <a:gd name="T61" fmla="*/ 22 h 669"/>
                    <a:gd name="T62" fmla="*/ 156 w 173"/>
                    <a:gd name="T63" fmla="*/ 11 h 669"/>
                    <a:gd name="T64" fmla="*/ 165 w 173"/>
                    <a:gd name="T65" fmla="*/ 4 h 669"/>
                    <a:gd name="T66" fmla="*/ 169 w 173"/>
                    <a:gd name="T67" fmla="*/ 1 h 669"/>
                    <a:gd name="T68" fmla="*/ 173 w 173"/>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669">
                      <a:moveTo>
                        <a:pt x="173" y="0"/>
                      </a:moveTo>
                      <a:lnTo>
                        <a:pt x="173" y="669"/>
                      </a:lnTo>
                      <a:lnTo>
                        <a:pt x="70" y="669"/>
                      </a:lnTo>
                      <a:lnTo>
                        <a:pt x="70" y="669"/>
                      </a:lnTo>
                      <a:lnTo>
                        <a:pt x="67" y="665"/>
                      </a:lnTo>
                      <a:lnTo>
                        <a:pt x="59" y="651"/>
                      </a:lnTo>
                      <a:lnTo>
                        <a:pt x="47" y="629"/>
                      </a:lnTo>
                      <a:lnTo>
                        <a:pt x="35" y="599"/>
                      </a:lnTo>
                      <a:lnTo>
                        <a:pt x="28" y="580"/>
                      </a:lnTo>
                      <a:lnTo>
                        <a:pt x="22" y="560"/>
                      </a:lnTo>
                      <a:lnTo>
                        <a:pt x="15" y="538"/>
                      </a:lnTo>
                      <a:lnTo>
                        <a:pt x="11" y="513"/>
                      </a:lnTo>
                      <a:lnTo>
                        <a:pt x="6" y="487"/>
                      </a:lnTo>
                      <a:lnTo>
                        <a:pt x="2" y="458"/>
                      </a:lnTo>
                      <a:lnTo>
                        <a:pt x="1" y="429"/>
                      </a:lnTo>
                      <a:lnTo>
                        <a:pt x="0" y="398"/>
                      </a:lnTo>
                      <a:lnTo>
                        <a:pt x="0" y="398"/>
                      </a:lnTo>
                      <a:lnTo>
                        <a:pt x="0" y="382"/>
                      </a:lnTo>
                      <a:lnTo>
                        <a:pt x="1" y="365"/>
                      </a:lnTo>
                      <a:lnTo>
                        <a:pt x="6" y="330"/>
                      </a:lnTo>
                      <a:lnTo>
                        <a:pt x="13" y="296"/>
                      </a:lnTo>
                      <a:lnTo>
                        <a:pt x="22" y="262"/>
                      </a:lnTo>
                      <a:lnTo>
                        <a:pt x="34" y="229"/>
                      </a:lnTo>
                      <a:lnTo>
                        <a:pt x="46" y="196"/>
                      </a:lnTo>
                      <a:lnTo>
                        <a:pt x="59" y="165"/>
                      </a:lnTo>
                      <a:lnTo>
                        <a:pt x="74" y="134"/>
                      </a:lnTo>
                      <a:lnTo>
                        <a:pt x="89" y="106"/>
                      </a:lnTo>
                      <a:lnTo>
                        <a:pt x="103" y="81"/>
                      </a:lnTo>
                      <a:lnTo>
                        <a:pt x="118" y="57"/>
                      </a:lnTo>
                      <a:lnTo>
                        <a:pt x="133" y="38"/>
                      </a:lnTo>
                      <a:lnTo>
                        <a:pt x="145" y="22"/>
                      </a:lnTo>
                      <a:lnTo>
                        <a:pt x="156" y="11"/>
                      </a:lnTo>
                      <a:lnTo>
                        <a:pt x="165" y="4"/>
                      </a:lnTo>
                      <a:lnTo>
                        <a:pt x="169" y="1"/>
                      </a:lnTo>
                      <a:lnTo>
                        <a:pt x="17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8" name="Freeform 491"/>
                <p:cNvSpPr>
                  <a:spLocks/>
                </p:cNvSpPr>
                <p:nvPr/>
              </p:nvSpPr>
              <p:spPr bwMode="auto">
                <a:xfrm>
                  <a:off x="3581445" y="2316175"/>
                  <a:ext cx="53975" cy="212727"/>
                </a:xfrm>
                <a:custGeom>
                  <a:avLst/>
                  <a:gdLst>
                    <a:gd name="T0" fmla="*/ 173 w 173"/>
                    <a:gd name="T1" fmla="*/ 0 h 669"/>
                    <a:gd name="T2" fmla="*/ 173 w 173"/>
                    <a:gd name="T3" fmla="*/ 669 h 669"/>
                    <a:gd name="T4" fmla="*/ 70 w 173"/>
                    <a:gd name="T5" fmla="*/ 669 h 669"/>
                    <a:gd name="T6" fmla="*/ 70 w 173"/>
                    <a:gd name="T7" fmla="*/ 669 h 669"/>
                    <a:gd name="T8" fmla="*/ 67 w 173"/>
                    <a:gd name="T9" fmla="*/ 665 h 669"/>
                    <a:gd name="T10" fmla="*/ 59 w 173"/>
                    <a:gd name="T11" fmla="*/ 651 h 669"/>
                    <a:gd name="T12" fmla="*/ 47 w 173"/>
                    <a:gd name="T13" fmla="*/ 629 h 669"/>
                    <a:gd name="T14" fmla="*/ 35 w 173"/>
                    <a:gd name="T15" fmla="*/ 599 h 669"/>
                    <a:gd name="T16" fmla="*/ 28 w 173"/>
                    <a:gd name="T17" fmla="*/ 580 h 669"/>
                    <a:gd name="T18" fmla="*/ 22 w 173"/>
                    <a:gd name="T19" fmla="*/ 560 h 669"/>
                    <a:gd name="T20" fmla="*/ 15 w 173"/>
                    <a:gd name="T21" fmla="*/ 538 h 669"/>
                    <a:gd name="T22" fmla="*/ 11 w 173"/>
                    <a:gd name="T23" fmla="*/ 513 h 669"/>
                    <a:gd name="T24" fmla="*/ 6 w 173"/>
                    <a:gd name="T25" fmla="*/ 487 h 669"/>
                    <a:gd name="T26" fmla="*/ 2 w 173"/>
                    <a:gd name="T27" fmla="*/ 458 h 669"/>
                    <a:gd name="T28" fmla="*/ 1 w 173"/>
                    <a:gd name="T29" fmla="*/ 429 h 669"/>
                    <a:gd name="T30" fmla="*/ 0 w 173"/>
                    <a:gd name="T31" fmla="*/ 398 h 669"/>
                    <a:gd name="T32" fmla="*/ 0 w 173"/>
                    <a:gd name="T33" fmla="*/ 398 h 669"/>
                    <a:gd name="T34" fmla="*/ 0 w 173"/>
                    <a:gd name="T35" fmla="*/ 382 h 669"/>
                    <a:gd name="T36" fmla="*/ 1 w 173"/>
                    <a:gd name="T37" fmla="*/ 365 h 669"/>
                    <a:gd name="T38" fmla="*/ 6 w 173"/>
                    <a:gd name="T39" fmla="*/ 330 h 669"/>
                    <a:gd name="T40" fmla="*/ 13 w 173"/>
                    <a:gd name="T41" fmla="*/ 296 h 669"/>
                    <a:gd name="T42" fmla="*/ 22 w 173"/>
                    <a:gd name="T43" fmla="*/ 262 h 669"/>
                    <a:gd name="T44" fmla="*/ 34 w 173"/>
                    <a:gd name="T45" fmla="*/ 229 h 669"/>
                    <a:gd name="T46" fmla="*/ 46 w 173"/>
                    <a:gd name="T47" fmla="*/ 196 h 669"/>
                    <a:gd name="T48" fmla="*/ 59 w 173"/>
                    <a:gd name="T49" fmla="*/ 165 h 669"/>
                    <a:gd name="T50" fmla="*/ 74 w 173"/>
                    <a:gd name="T51" fmla="*/ 134 h 669"/>
                    <a:gd name="T52" fmla="*/ 89 w 173"/>
                    <a:gd name="T53" fmla="*/ 106 h 669"/>
                    <a:gd name="T54" fmla="*/ 103 w 173"/>
                    <a:gd name="T55" fmla="*/ 81 h 669"/>
                    <a:gd name="T56" fmla="*/ 118 w 173"/>
                    <a:gd name="T57" fmla="*/ 57 h 669"/>
                    <a:gd name="T58" fmla="*/ 133 w 173"/>
                    <a:gd name="T59" fmla="*/ 38 h 669"/>
                    <a:gd name="T60" fmla="*/ 145 w 173"/>
                    <a:gd name="T61" fmla="*/ 22 h 669"/>
                    <a:gd name="T62" fmla="*/ 156 w 173"/>
                    <a:gd name="T63" fmla="*/ 11 h 669"/>
                    <a:gd name="T64" fmla="*/ 165 w 173"/>
                    <a:gd name="T65" fmla="*/ 4 h 669"/>
                    <a:gd name="T66" fmla="*/ 169 w 173"/>
                    <a:gd name="T67" fmla="*/ 1 h 669"/>
                    <a:gd name="T68" fmla="*/ 173 w 173"/>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669">
                      <a:moveTo>
                        <a:pt x="173" y="0"/>
                      </a:moveTo>
                      <a:lnTo>
                        <a:pt x="173" y="669"/>
                      </a:lnTo>
                      <a:lnTo>
                        <a:pt x="70" y="669"/>
                      </a:lnTo>
                      <a:lnTo>
                        <a:pt x="70" y="669"/>
                      </a:lnTo>
                      <a:lnTo>
                        <a:pt x="67" y="665"/>
                      </a:lnTo>
                      <a:lnTo>
                        <a:pt x="59" y="651"/>
                      </a:lnTo>
                      <a:lnTo>
                        <a:pt x="47" y="629"/>
                      </a:lnTo>
                      <a:lnTo>
                        <a:pt x="35" y="599"/>
                      </a:lnTo>
                      <a:lnTo>
                        <a:pt x="28" y="580"/>
                      </a:lnTo>
                      <a:lnTo>
                        <a:pt x="22" y="560"/>
                      </a:lnTo>
                      <a:lnTo>
                        <a:pt x="15" y="538"/>
                      </a:lnTo>
                      <a:lnTo>
                        <a:pt x="11" y="513"/>
                      </a:lnTo>
                      <a:lnTo>
                        <a:pt x="6" y="487"/>
                      </a:lnTo>
                      <a:lnTo>
                        <a:pt x="2" y="458"/>
                      </a:lnTo>
                      <a:lnTo>
                        <a:pt x="1" y="429"/>
                      </a:lnTo>
                      <a:lnTo>
                        <a:pt x="0" y="398"/>
                      </a:lnTo>
                      <a:lnTo>
                        <a:pt x="0" y="398"/>
                      </a:lnTo>
                      <a:lnTo>
                        <a:pt x="0" y="382"/>
                      </a:lnTo>
                      <a:lnTo>
                        <a:pt x="1" y="365"/>
                      </a:lnTo>
                      <a:lnTo>
                        <a:pt x="6" y="330"/>
                      </a:lnTo>
                      <a:lnTo>
                        <a:pt x="13" y="296"/>
                      </a:lnTo>
                      <a:lnTo>
                        <a:pt x="22" y="262"/>
                      </a:lnTo>
                      <a:lnTo>
                        <a:pt x="34" y="229"/>
                      </a:lnTo>
                      <a:lnTo>
                        <a:pt x="46" y="196"/>
                      </a:lnTo>
                      <a:lnTo>
                        <a:pt x="59" y="165"/>
                      </a:lnTo>
                      <a:lnTo>
                        <a:pt x="74" y="134"/>
                      </a:lnTo>
                      <a:lnTo>
                        <a:pt x="89" y="106"/>
                      </a:lnTo>
                      <a:lnTo>
                        <a:pt x="103" y="81"/>
                      </a:lnTo>
                      <a:lnTo>
                        <a:pt x="118" y="57"/>
                      </a:lnTo>
                      <a:lnTo>
                        <a:pt x="133" y="38"/>
                      </a:lnTo>
                      <a:lnTo>
                        <a:pt x="145" y="22"/>
                      </a:lnTo>
                      <a:lnTo>
                        <a:pt x="156" y="11"/>
                      </a:lnTo>
                      <a:lnTo>
                        <a:pt x="165" y="4"/>
                      </a:lnTo>
                      <a:lnTo>
                        <a:pt x="169" y="1"/>
                      </a:lnTo>
                      <a:lnTo>
                        <a:pt x="17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9" name="Freeform 492"/>
                <p:cNvSpPr>
                  <a:spLocks/>
                </p:cNvSpPr>
                <p:nvPr/>
              </p:nvSpPr>
              <p:spPr bwMode="auto">
                <a:xfrm>
                  <a:off x="3608432" y="2316175"/>
                  <a:ext cx="26988" cy="42863"/>
                </a:xfrm>
                <a:custGeom>
                  <a:avLst/>
                  <a:gdLst>
                    <a:gd name="T0" fmla="*/ 0 w 88"/>
                    <a:gd name="T1" fmla="*/ 113 h 132"/>
                    <a:gd name="T2" fmla="*/ 0 w 88"/>
                    <a:gd name="T3" fmla="*/ 113 h 132"/>
                    <a:gd name="T4" fmla="*/ 19 w 88"/>
                    <a:gd name="T5" fmla="*/ 121 h 132"/>
                    <a:gd name="T6" fmla="*/ 41 w 88"/>
                    <a:gd name="T7" fmla="*/ 127 h 132"/>
                    <a:gd name="T8" fmla="*/ 65 w 88"/>
                    <a:gd name="T9" fmla="*/ 131 h 132"/>
                    <a:gd name="T10" fmla="*/ 88 w 88"/>
                    <a:gd name="T11" fmla="*/ 132 h 132"/>
                    <a:gd name="T12" fmla="*/ 88 w 88"/>
                    <a:gd name="T13" fmla="*/ 0 h 132"/>
                    <a:gd name="T14" fmla="*/ 88 w 88"/>
                    <a:gd name="T15" fmla="*/ 0 h 132"/>
                    <a:gd name="T16" fmla="*/ 85 w 88"/>
                    <a:gd name="T17" fmla="*/ 1 h 132"/>
                    <a:gd name="T18" fmla="*/ 82 w 88"/>
                    <a:gd name="T19" fmla="*/ 3 h 132"/>
                    <a:gd name="T20" fmla="*/ 73 w 88"/>
                    <a:gd name="T21" fmla="*/ 9 h 132"/>
                    <a:gd name="T22" fmla="*/ 63 w 88"/>
                    <a:gd name="T23" fmla="*/ 18 h 132"/>
                    <a:gd name="T24" fmla="*/ 52 w 88"/>
                    <a:gd name="T25" fmla="*/ 32 h 132"/>
                    <a:gd name="T26" fmla="*/ 40 w 88"/>
                    <a:gd name="T27" fmla="*/ 49 h 132"/>
                    <a:gd name="T28" fmla="*/ 27 w 88"/>
                    <a:gd name="T29" fmla="*/ 67 h 132"/>
                    <a:gd name="T30" fmla="*/ 13 w 88"/>
                    <a:gd name="T31" fmla="*/ 89 h 132"/>
                    <a:gd name="T32" fmla="*/ 0 w 88"/>
                    <a:gd name="T33" fmla="*/ 113 h 132"/>
                    <a:gd name="T34" fmla="*/ 0 w 88"/>
                    <a:gd name="T35" fmla="*/ 11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132">
                      <a:moveTo>
                        <a:pt x="0" y="113"/>
                      </a:moveTo>
                      <a:lnTo>
                        <a:pt x="0" y="113"/>
                      </a:lnTo>
                      <a:lnTo>
                        <a:pt x="19" y="121"/>
                      </a:lnTo>
                      <a:lnTo>
                        <a:pt x="41" y="127"/>
                      </a:lnTo>
                      <a:lnTo>
                        <a:pt x="65" y="131"/>
                      </a:lnTo>
                      <a:lnTo>
                        <a:pt x="88" y="132"/>
                      </a:lnTo>
                      <a:lnTo>
                        <a:pt x="88" y="0"/>
                      </a:lnTo>
                      <a:lnTo>
                        <a:pt x="88" y="0"/>
                      </a:lnTo>
                      <a:lnTo>
                        <a:pt x="85" y="1"/>
                      </a:lnTo>
                      <a:lnTo>
                        <a:pt x="82" y="3"/>
                      </a:lnTo>
                      <a:lnTo>
                        <a:pt x="73" y="9"/>
                      </a:lnTo>
                      <a:lnTo>
                        <a:pt x="63" y="18"/>
                      </a:lnTo>
                      <a:lnTo>
                        <a:pt x="52" y="32"/>
                      </a:lnTo>
                      <a:lnTo>
                        <a:pt x="40" y="49"/>
                      </a:lnTo>
                      <a:lnTo>
                        <a:pt x="27" y="67"/>
                      </a:lnTo>
                      <a:lnTo>
                        <a:pt x="13" y="89"/>
                      </a:lnTo>
                      <a:lnTo>
                        <a:pt x="0" y="113"/>
                      </a:lnTo>
                      <a:lnTo>
                        <a:pt x="0" y="11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0" name="Freeform 493"/>
                <p:cNvSpPr>
                  <a:spLocks/>
                </p:cNvSpPr>
                <p:nvPr/>
              </p:nvSpPr>
              <p:spPr bwMode="auto">
                <a:xfrm>
                  <a:off x="3543344" y="2498739"/>
                  <a:ext cx="38100" cy="73026"/>
                </a:xfrm>
                <a:custGeom>
                  <a:avLst/>
                  <a:gdLst>
                    <a:gd name="T0" fmla="*/ 108 w 119"/>
                    <a:gd name="T1" fmla="*/ 234 h 234"/>
                    <a:gd name="T2" fmla="*/ 119 w 119"/>
                    <a:gd name="T3" fmla="*/ 189 h 234"/>
                    <a:gd name="T4" fmla="*/ 37 w 119"/>
                    <a:gd name="T5" fmla="*/ 0 h 234"/>
                    <a:gd name="T6" fmla="*/ 0 w 119"/>
                    <a:gd name="T7" fmla="*/ 23 h 234"/>
                    <a:gd name="T8" fmla="*/ 108 w 119"/>
                    <a:gd name="T9" fmla="*/ 234 h 234"/>
                  </a:gdLst>
                  <a:ahLst/>
                  <a:cxnLst>
                    <a:cxn ang="0">
                      <a:pos x="T0" y="T1"/>
                    </a:cxn>
                    <a:cxn ang="0">
                      <a:pos x="T2" y="T3"/>
                    </a:cxn>
                    <a:cxn ang="0">
                      <a:pos x="T4" y="T5"/>
                    </a:cxn>
                    <a:cxn ang="0">
                      <a:pos x="T6" y="T7"/>
                    </a:cxn>
                    <a:cxn ang="0">
                      <a:pos x="T8" y="T9"/>
                    </a:cxn>
                  </a:cxnLst>
                  <a:rect l="0" t="0" r="r" b="b"/>
                  <a:pathLst>
                    <a:path w="119" h="234">
                      <a:moveTo>
                        <a:pt x="108" y="234"/>
                      </a:moveTo>
                      <a:lnTo>
                        <a:pt x="119" y="189"/>
                      </a:lnTo>
                      <a:lnTo>
                        <a:pt x="37" y="0"/>
                      </a:lnTo>
                      <a:lnTo>
                        <a:pt x="0" y="23"/>
                      </a:lnTo>
                      <a:lnTo>
                        <a:pt x="108" y="234"/>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1" name="Freeform 494"/>
                <p:cNvSpPr>
                  <a:spLocks/>
                </p:cNvSpPr>
                <p:nvPr/>
              </p:nvSpPr>
              <p:spPr bwMode="auto">
                <a:xfrm>
                  <a:off x="3608432" y="2409839"/>
                  <a:ext cx="26988" cy="53975"/>
                </a:xfrm>
                <a:custGeom>
                  <a:avLst/>
                  <a:gdLst>
                    <a:gd name="T0" fmla="*/ 84 w 84"/>
                    <a:gd name="T1" fmla="*/ 0 h 168"/>
                    <a:gd name="T2" fmla="*/ 67 w 84"/>
                    <a:gd name="T3" fmla="*/ 1 h 168"/>
                    <a:gd name="T4" fmla="*/ 51 w 84"/>
                    <a:gd name="T5" fmla="*/ 6 h 168"/>
                    <a:gd name="T6" fmla="*/ 37 w 84"/>
                    <a:gd name="T7" fmla="*/ 15 h 168"/>
                    <a:gd name="T8" fmla="*/ 24 w 84"/>
                    <a:gd name="T9" fmla="*/ 24 h 168"/>
                    <a:gd name="T10" fmla="*/ 14 w 84"/>
                    <a:gd name="T11" fmla="*/ 36 h 168"/>
                    <a:gd name="T12" fmla="*/ 7 w 84"/>
                    <a:gd name="T13" fmla="*/ 51 h 168"/>
                    <a:gd name="T14" fmla="*/ 2 w 84"/>
                    <a:gd name="T15" fmla="*/ 67 h 168"/>
                    <a:gd name="T16" fmla="*/ 0 w 84"/>
                    <a:gd name="T17" fmla="*/ 84 h 168"/>
                    <a:gd name="T18" fmla="*/ 1 w 84"/>
                    <a:gd name="T19" fmla="*/ 93 h 168"/>
                    <a:gd name="T20" fmla="*/ 3 w 84"/>
                    <a:gd name="T21" fmla="*/ 108 h 168"/>
                    <a:gd name="T22" fmla="*/ 9 w 84"/>
                    <a:gd name="T23" fmla="*/ 124 h 168"/>
                    <a:gd name="T24" fmla="*/ 19 w 84"/>
                    <a:gd name="T25" fmla="*/ 138 h 168"/>
                    <a:gd name="T26" fmla="*/ 30 w 84"/>
                    <a:gd name="T27" fmla="*/ 149 h 168"/>
                    <a:gd name="T28" fmla="*/ 44 w 84"/>
                    <a:gd name="T29" fmla="*/ 157 h 168"/>
                    <a:gd name="T30" fmla="*/ 59 w 84"/>
                    <a:gd name="T31" fmla="*/ 163 h 168"/>
                    <a:gd name="T32" fmla="*/ 75 w 84"/>
                    <a:gd name="T33" fmla="*/ 167 h 168"/>
                    <a:gd name="T34" fmla="*/ 84 w 84"/>
                    <a:gd name="T35" fmla="*/ 158 h 168"/>
                    <a:gd name="T36" fmla="*/ 76 w 84"/>
                    <a:gd name="T37" fmla="*/ 158 h 168"/>
                    <a:gd name="T38" fmla="*/ 62 w 84"/>
                    <a:gd name="T39" fmla="*/ 156 h 168"/>
                    <a:gd name="T40" fmla="*/ 42 w 84"/>
                    <a:gd name="T41" fmla="*/ 146 h 168"/>
                    <a:gd name="T42" fmla="*/ 22 w 84"/>
                    <a:gd name="T43" fmla="*/ 125 h 168"/>
                    <a:gd name="T44" fmla="*/ 12 w 84"/>
                    <a:gd name="T45" fmla="*/ 106 h 168"/>
                    <a:gd name="T46" fmla="*/ 9 w 84"/>
                    <a:gd name="T47" fmla="*/ 91 h 168"/>
                    <a:gd name="T48" fmla="*/ 8 w 84"/>
                    <a:gd name="T49" fmla="*/ 84 h 168"/>
                    <a:gd name="T50" fmla="*/ 8 w 84"/>
                    <a:gd name="T51" fmla="*/ 84 h 168"/>
                    <a:gd name="T52" fmla="*/ 9 w 84"/>
                    <a:gd name="T53" fmla="*/ 75 h 168"/>
                    <a:gd name="T54" fmla="*/ 12 w 84"/>
                    <a:gd name="T55" fmla="*/ 61 h 168"/>
                    <a:gd name="T56" fmla="*/ 22 w 84"/>
                    <a:gd name="T57" fmla="*/ 41 h 168"/>
                    <a:gd name="T58" fmla="*/ 42 w 84"/>
                    <a:gd name="T59" fmla="*/ 22 h 168"/>
                    <a:gd name="T60" fmla="*/ 62 w 84"/>
                    <a:gd name="T61" fmla="*/ 12 h 168"/>
                    <a:gd name="T62" fmla="*/ 76 w 84"/>
                    <a:gd name="T63" fmla="*/ 8 h 168"/>
                    <a:gd name="T64" fmla="*/ 84 w 84"/>
                    <a:gd name="T6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4" h="168">
                      <a:moveTo>
                        <a:pt x="84" y="0"/>
                      </a:moveTo>
                      <a:lnTo>
                        <a:pt x="84" y="0"/>
                      </a:lnTo>
                      <a:lnTo>
                        <a:pt x="75" y="0"/>
                      </a:lnTo>
                      <a:lnTo>
                        <a:pt x="67" y="1"/>
                      </a:lnTo>
                      <a:lnTo>
                        <a:pt x="59" y="4"/>
                      </a:lnTo>
                      <a:lnTo>
                        <a:pt x="51" y="6"/>
                      </a:lnTo>
                      <a:lnTo>
                        <a:pt x="44" y="10"/>
                      </a:lnTo>
                      <a:lnTo>
                        <a:pt x="37" y="15"/>
                      </a:lnTo>
                      <a:lnTo>
                        <a:pt x="30" y="19"/>
                      </a:lnTo>
                      <a:lnTo>
                        <a:pt x="24" y="24"/>
                      </a:lnTo>
                      <a:lnTo>
                        <a:pt x="19" y="30"/>
                      </a:lnTo>
                      <a:lnTo>
                        <a:pt x="14" y="36"/>
                      </a:lnTo>
                      <a:lnTo>
                        <a:pt x="9" y="44"/>
                      </a:lnTo>
                      <a:lnTo>
                        <a:pt x="7" y="51"/>
                      </a:lnTo>
                      <a:lnTo>
                        <a:pt x="3" y="58"/>
                      </a:lnTo>
                      <a:lnTo>
                        <a:pt x="2" y="67"/>
                      </a:lnTo>
                      <a:lnTo>
                        <a:pt x="1" y="75"/>
                      </a:lnTo>
                      <a:lnTo>
                        <a:pt x="0" y="84"/>
                      </a:lnTo>
                      <a:lnTo>
                        <a:pt x="0" y="84"/>
                      </a:lnTo>
                      <a:lnTo>
                        <a:pt x="1" y="93"/>
                      </a:lnTo>
                      <a:lnTo>
                        <a:pt x="2" y="101"/>
                      </a:lnTo>
                      <a:lnTo>
                        <a:pt x="3" y="108"/>
                      </a:lnTo>
                      <a:lnTo>
                        <a:pt x="7" y="117"/>
                      </a:lnTo>
                      <a:lnTo>
                        <a:pt x="9" y="124"/>
                      </a:lnTo>
                      <a:lnTo>
                        <a:pt x="14" y="130"/>
                      </a:lnTo>
                      <a:lnTo>
                        <a:pt x="19" y="138"/>
                      </a:lnTo>
                      <a:lnTo>
                        <a:pt x="24" y="143"/>
                      </a:lnTo>
                      <a:lnTo>
                        <a:pt x="30" y="149"/>
                      </a:lnTo>
                      <a:lnTo>
                        <a:pt x="37" y="154"/>
                      </a:lnTo>
                      <a:lnTo>
                        <a:pt x="44" y="157"/>
                      </a:lnTo>
                      <a:lnTo>
                        <a:pt x="51" y="161"/>
                      </a:lnTo>
                      <a:lnTo>
                        <a:pt x="59" y="163"/>
                      </a:lnTo>
                      <a:lnTo>
                        <a:pt x="67" y="166"/>
                      </a:lnTo>
                      <a:lnTo>
                        <a:pt x="75" y="167"/>
                      </a:lnTo>
                      <a:lnTo>
                        <a:pt x="84" y="168"/>
                      </a:lnTo>
                      <a:lnTo>
                        <a:pt x="84" y="158"/>
                      </a:lnTo>
                      <a:lnTo>
                        <a:pt x="84" y="158"/>
                      </a:lnTo>
                      <a:lnTo>
                        <a:pt x="76" y="158"/>
                      </a:lnTo>
                      <a:lnTo>
                        <a:pt x="69" y="157"/>
                      </a:lnTo>
                      <a:lnTo>
                        <a:pt x="62" y="156"/>
                      </a:lnTo>
                      <a:lnTo>
                        <a:pt x="54" y="152"/>
                      </a:lnTo>
                      <a:lnTo>
                        <a:pt x="42" y="146"/>
                      </a:lnTo>
                      <a:lnTo>
                        <a:pt x="30" y="136"/>
                      </a:lnTo>
                      <a:lnTo>
                        <a:pt x="22" y="125"/>
                      </a:lnTo>
                      <a:lnTo>
                        <a:pt x="14" y="113"/>
                      </a:lnTo>
                      <a:lnTo>
                        <a:pt x="12" y="106"/>
                      </a:lnTo>
                      <a:lnTo>
                        <a:pt x="11" y="99"/>
                      </a:lnTo>
                      <a:lnTo>
                        <a:pt x="9" y="91"/>
                      </a:lnTo>
                      <a:lnTo>
                        <a:pt x="8" y="84"/>
                      </a:lnTo>
                      <a:lnTo>
                        <a:pt x="8" y="84"/>
                      </a:lnTo>
                      <a:lnTo>
                        <a:pt x="8" y="84"/>
                      </a:lnTo>
                      <a:lnTo>
                        <a:pt x="8" y="84"/>
                      </a:lnTo>
                      <a:lnTo>
                        <a:pt x="8" y="84"/>
                      </a:lnTo>
                      <a:lnTo>
                        <a:pt x="9" y="75"/>
                      </a:lnTo>
                      <a:lnTo>
                        <a:pt x="11" y="68"/>
                      </a:lnTo>
                      <a:lnTo>
                        <a:pt x="12" y="61"/>
                      </a:lnTo>
                      <a:lnTo>
                        <a:pt x="14" y="55"/>
                      </a:lnTo>
                      <a:lnTo>
                        <a:pt x="22" y="41"/>
                      </a:lnTo>
                      <a:lnTo>
                        <a:pt x="30" y="30"/>
                      </a:lnTo>
                      <a:lnTo>
                        <a:pt x="42" y="22"/>
                      </a:lnTo>
                      <a:lnTo>
                        <a:pt x="54" y="15"/>
                      </a:lnTo>
                      <a:lnTo>
                        <a:pt x="62" y="12"/>
                      </a:lnTo>
                      <a:lnTo>
                        <a:pt x="69" y="10"/>
                      </a:lnTo>
                      <a:lnTo>
                        <a:pt x="76" y="8"/>
                      </a:lnTo>
                      <a:lnTo>
                        <a:pt x="84" y="8"/>
                      </a:lnTo>
                      <a:lnTo>
                        <a:pt x="84"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2" name="Freeform 495"/>
                <p:cNvSpPr>
                  <a:spLocks/>
                </p:cNvSpPr>
                <p:nvPr/>
              </p:nvSpPr>
              <p:spPr bwMode="auto">
                <a:xfrm>
                  <a:off x="3608432" y="2409839"/>
                  <a:ext cx="26988" cy="53975"/>
                </a:xfrm>
                <a:custGeom>
                  <a:avLst/>
                  <a:gdLst>
                    <a:gd name="T0" fmla="*/ 84 w 84"/>
                    <a:gd name="T1" fmla="*/ 0 h 168"/>
                    <a:gd name="T2" fmla="*/ 67 w 84"/>
                    <a:gd name="T3" fmla="*/ 1 h 168"/>
                    <a:gd name="T4" fmla="*/ 51 w 84"/>
                    <a:gd name="T5" fmla="*/ 6 h 168"/>
                    <a:gd name="T6" fmla="*/ 37 w 84"/>
                    <a:gd name="T7" fmla="*/ 15 h 168"/>
                    <a:gd name="T8" fmla="*/ 24 w 84"/>
                    <a:gd name="T9" fmla="*/ 24 h 168"/>
                    <a:gd name="T10" fmla="*/ 14 w 84"/>
                    <a:gd name="T11" fmla="*/ 36 h 168"/>
                    <a:gd name="T12" fmla="*/ 7 w 84"/>
                    <a:gd name="T13" fmla="*/ 51 h 168"/>
                    <a:gd name="T14" fmla="*/ 2 w 84"/>
                    <a:gd name="T15" fmla="*/ 67 h 168"/>
                    <a:gd name="T16" fmla="*/ 0 w 84"/>
                    <a:gd name="T17" fmla="*/ 84 h 168"/>
                    <a:gd name="T18" fmla="*/ 1 w 84"/>
                    <a:gd name="T19" fmla="*/ 93 h 168"/>
                    <a:gd name="T20" fmla="*/ 3 w 84"/>
                    <a:gd name="T21" fmla="*/ 108 h 168"/>
                    <a:gd name="T22" fmla="*/ 9 w 84"/>
                    <a:gd name="T23" fmla="*/ 124 h 168"/>
                    <a:gd name="T24" fmla="*/ 19 w 84"/>
                    <a:gd name="T25" fmla="*/ 138 h 168"/>
                    <a:gd name="T26" fmla="*/ 30 w 84"/>
                    <a:gd name="T27" fmla="*/ 149 h 168"/>
                    <a:gd name="T28" fmla="*/ 44 w 84"/>
                    <a:gd name="T29" fmla="*/ 157 h 168"/>
                    <a:gd name="T30" fmla="*/ 59 w 84"/>
                    <a:gd name="T31" fmla="*/ 163 h 168"/>
                    <a:gd name="T32" fmla="*/ 75 w 84"/>
                    <a:gd name="T33" fmla="*/ 167 h 168"/>
                    <a:gd name="T34" fmla="*/ 84 w 84"/>
                    <a:gd name="T35" fmla="*/ 158 h 168"/>
                    <a:gd name="T36" fmla="*/ 76 w 84"/>
                    <a:gd name="T37" fmla="*/ 158 h 168"/>
                    <a:gd name="T38" fmla="*/ 62 w 84"/>
                    <a:gd name="T39" fmla="*/ 156 h 168"/>
                    <a:gd name="T40" fmla="*/ 42 w 84"/>
                    <a:gd name="T41" fmla="*/ 146 h 168"/>
                    <a:gd name="T42" fmla="*/ 22 w 84"/>
                    <a:gd name="T43" fmla="*/ 125 h 168"/>
                    <a:gd name="T44" fmla="*/ 12 w 84"/>
                    <a:gd name="T45" fmla="*/ 106 h 168"/>
                    <a:gd name="T46" fmla="*/ 9 w 84"/>
                    <a:gd name="T47" fmla="*/ 91 h 168"/>
                    <a:gd name="T48" fmla="*/ 8 w 84"/>
                    <a:gd name="T49" fmla="*/ 84 h 168"/>
                    <a:gd name="T50" fmla="*/ 8 w 84"/>
                    <a:gd name="T51" fmla="*/ 84 h 168"/>
                    <a:gd name="T52" fmla="*/ 9 w 84"/>
                    <a:gd name="T53" fmla="*/ 75 h 168"/>
                    <a:gd name="T54" fmla="*/ 12 w 84"/>
                    <a:gd name="T55" fmla="*/ 61 h 168"/>
                    <a:gd name="T56" fmla="*/ 22 w 84"/>
                    <a:gd name="T57" fmla="*/ 41 h 168"/>
                    <a:gd name="T58" fmla="*/ 42 w 84"/>
                    <a:gd name="T59" fmla="*/ 22 h 168"/>
                    <a:gd name="T60" fmla="*/ 62 w 84"/>
                    <a:gd name="T61" fmla="*/ 12 h 168"/>
                    <a:gd name="T62" fmla="*/ 76 w 84"/>
                    <a:gd name="T63" fmla="*/ 8 h 168"/>
                    <a:gd name="T64" fmla="*/ 84 w 84"/>
                    <a:gd name="T6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4" h="168">
                      <a:moveTo>
                        <a:pt x="84" y="0"/>
                      </a:moveTo>
                      <a:lnTo>
                        <a:pt x="84" y="0"/>
                      </a:lnTo>
                      <a:lnTo>
                        <a:pt x="75" y="0"/>
                      </a:lnTo>
                      <a:lnTo>
                        <a:pt x="67" y="1"/>
                      </a:lnTo>
                      <a:lnTo>
                        <a:pt x="59" y="4"/>
                      </a:lnTo>
                      <a:lnTo>
                        <a:pt x="51" y="6"/>
                      </a:lnTo>
                      <a:lnTo>
                        <a:pt x="44" y="10"/>
                      </a:lnTo>
                      <a:lnTo>
                        <a:pt x="37" y="15"/>
                      </a:lnTo>
                      <a:lnTo>
                        <a:pt x="30" y="19"/>
                      </a:lnTo>
                      <a:lnTo>
                        <a:pt x="24" y="24"/>
                      </a:lnTo>
                      <a:lnTo>
                        <a:pt x="19" y="30"/>
                      </a:lnTo>
                      <a:lnTo>
                        <a:pt x="14" y="36"/>
                      </a:lnTo>
                      <a:lnTo>
                        <a:pt x="9" y="44"/>
                      </a:lnTo>
                      <a:lnTo>
                        <a:pt x="7" y="51"/>
                      </a:lnTo>
                      <a:lnTo>
                        <a:pt x="3" y="58"/>
                      </a:lnTo>
                      <a:lnTo>
                        <a:pt x="2" y="67"/>
                      </a:lnTo>
                      <a:lnTo>
                        <a:pt x="1" y="75"/>
                      </a:lnTo>
                      <a:lnTo>
                        <a:pt x="0" y="84"/>
                      </a:lnTo>
                      <a:lnTo>
                        <a:pt x="0" y="84"/>
                      </a:lnTo>
                      <a:lnTo>
                        <a:pt x="1" y="93"/>
                      </a:lnTo>
                      <a:lnTo>
                        <a:pt x="2" y="101"/>
                      </a:lnTo>
                      <a:lnTo>
                        <a:pt x="3" y="108"/>
                      </a:lnTo>
                      <a:lnTo>
                        <a:pt x="7" y="117"/>
                      </a:lnTo>
                      <a:lnTo>
                        <a:pt x="9" y="124"/>
                      </a:lnTo>
                      <a:lnTo>
                        <a:pt x="14" y="130"/>
                      </a:lnTo>
                      <a:lnTo>
                        <a:pt x="19" y="138"/>
                      </a:lnTo>
                      <a:lnTo>
                        <a:pt x="24" y="143"/>
                      </a:lnTo>
                      <a:lnTo>
                        <a:pt x="30" y="149"/>
                      </a:lnTo>
                      <a:lnTo>
                        <a:pt x="37" y="154"/>
                      </a:lnTo>
                      <a:lnTo>
                        <a:pt x="44" y="157"/>
                      </a:lnTo>
                      <a:lnTo>
                        <a:pt x="51" y="161"/>
                      </a:lnTo>
                      <a:lnTo>
                        <a:pt x="59" y="163"/>
                      </a:lnTo>
                      <a:lnTo>
                        <a:pt x="67" y="166"/>
                      </a:lnTo>
                      <a:lnTo>
                        <a:pt x="75" y="167"/>
                      </a:lnTo>
                      <a:lnTo>
                        <a:pt x="84" y="168"/>
                      </a:lnTo>
                      <a:lnTo>
                        <a:pt x="84" y="158"/>
                      </a:lnTo>
                      <a:lnTo>
                        <a:pt x="84" y="158"/>
                      </a:lnTo>
                      <a:lnTo>
                        <a:pt x="76" y="158"/>
                      </a:lnTo>
                      <a:lnTo>
                        <a:pt x="69" y="157"/>
                      </a:lnTo>
                      <a:lnTo>
                        <a:pt x="62" y="156"/>
                      </a:lnTo>
                      <a:lnTo>
                        <a:pt x="54" y="152"/>
                      </a:lnTo>
                      <a:lnTo>
                        <a:pt x="42" y="146"/>
                      </a:lnTo>
                      <a:lnTo>
                        <a:pt x="30" y="136"/>
                      </a:lnTo>
                      <a:lnTo>
                        <a:pt x="22" y="125"/>
                      </a:lnTo>
                      <a:lnTo>
                        <a:pt x="14" y="113"/>
                      </a:lnTo>
                      <a:lnTo>
                        <a:pt x="12" y="106"/>
                      </a:lnTo>
                      <a:lnTo>
                        <a:pt x="11" y="99"/>
                      </a:lnTo>
                      <a:lnTo>
                        <a:pt x="9" y="91"/>
                      </a:lnTo>
                      <a:lnTo>
                        <a:pt x="8" y="84"/>
                      </a:lnTo>
                      <a:lnTo>
                        <a:pt x="8" y="84"/>
                      </a:lnTo>
                      <a:lnTo>
                        <a:pt x="8" y="84"/>
                      </a:lnTo>
                      <a:lnTo>
                        <a:pt x="8" y="84"/>
                      </a:lnTo>
                      <a:lnTo>
                        <a:pt x="8" y="84"/>
                      </a:lnTo>
                      <a:lnTo>
                        <a:pt x="9" y="75"/>
                      </a:lnTo>
                      <a:lnTo>
                        <a:pt x="11" y="68"/>
                      </a:lnTo>
                      <a:lnTo>
                        <a:pt x="12" y="61"/>
                      </a:lnTo>
                      <a:lnTo>
                        <a:pt x="14" y="55"/>
                      </a:lnTo>
                      <a:lnTo>
                        <a:pt x="22" y="41"/>
                      </a:lnTo>
                      <a:lnTo>
                        <a:pt x="30" y="30"/>
                      </a:lnTo>
                      <a:lnTo>
                        <a:pt x="42" y="22"/>
                      </a:lnTo>
                      <a:lnTo>
                        <a:pt x="54" y="15"/>
                      </a:lnTo>
                      <a:lnTo>
                        <a:pt x="62" y="12"/>
                      </a:lnTo>
                      <a:lnTo>
                        <a:pt x="69" y="10"/>
                      </a:lnTo>
                      <a:lnTo>
                        <a:pt x="76" y="8"/>
                      </a:lnTo>
                      <a:lnTo>
                        <a:pt x="84" y="8"/>
                      </a:lnTo>
                      <a:lnTo>
                        <a:pt x="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3" name="Freeform 496"/>
                <p:cNvSpPr>
                  <a:spLocks/>
                </p:cNvSpPr>
                <p:nvPr/>
              </p:nvSpPr>
              <p:spPr bwMode="auto">
                <a:xfrm>
                  <a:off x="3584620" y="2479689"/>
                  <a:ext cx="50800" cy="39688"/>
                </a:xfrm>
                <a:custGeom>
                  <a:avLst/>
                  <a:gdLst>
                    <a:gd name="T0" fmla="*/ 162 w 162"/>
                    <a:gd name="T1" fmla="*/ 0 h 124"/>
                    <a:gd name="T2" fmla="*/ 0 w 162"/>
                    <a:gd name="T3" fmla="*/ 0 h 124"/>
                    <a:gd name="T4" fmla="*/ 0 w 162"/>
                    <a:gd name="T5" fmla="*/ 0 h 124"/>
                    <a:gd name="T6" fmla="*/ 4 w 162"/>
                    <a:gd name="T7" fmla="*/ 19 h 124"/>
                    <a:gd name="T8" fmla="*/ 9 w 162"/>
                    <a:gd name="T9" fmla="*/ 39 h 124"/>
                    <a:gd name="T10" fmla="*/ 20 w 162"/>
                    <a:gd name="T11" fmla="*/ 73 h 124"/>
                    <a:gd name="T12" fmla="*/ 31 w 162"/>
                    <a:gd name="T13" fmla="*/ 101 h 124"/>
                    <a:gd name="T14" fmla="*/ 41 w 162"/>
                    <a:gd name="T15" fmla="*/ 124 h 124"/>
                    <a:gd name="T16" fmla="*/ 162 w 162"/>
                    <a:gd name="T17" fmla="*/ 124 h 124"/>
                    <a:gd name="T18" fmla="*/ 162 w 162"/>
                    <a:gd name="T19"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 h="124">
                      <a:moveTo>
                        <a:pt x="162" y="0"/>
                      </a:moveTo>
                      <a:lnTo>
                        <a:pt x="0" y="0"/>
                      </a:lnTo>
                      <a:lnTo>
                        <a:pt x="0" y="0"/>
                      </a:lnTo>
                      <a:lnTo>
                        <a:pt x="4" y="19"/>
                      </a:lnTo>
                      <a:lnTo>
                        <a:pt x="9" y="39"/>
                      </a:lnTo>
                      <a:lnTo>
                        <a:pt x="20" y="73"/>
                      </a:lnTo>
                      <a:lnTo>
                        <a:pt x="31" y="101"/>
                      </a:lnTo>
                      <a:lnTo>
                        <a:pt x="41" y="124"/>
                      </a:lnTo>
                      <a:lnTo>
                        <a:pt x="162" y="124"/>
                      </a:lnTo>
                      <a:lnTo>
                        <a:pt x="162"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4" name="Freeform 497"/>
                <p:cNvSpPr>
                  <a:spLocks/>
                </p:cNvSpPr>
                <p:nvPr/>
              </p:nvSpPr>
              <p:spPr bwMode="auto">
                <a:xfrm>
                  <a:off x="3611607" y="2413014"/>
                  <a:ext cx="23813" cy="23813"/>
                </a:xfrm>
                <a:custGeom>
                  <a:avLst/>
                  <a:gdLst>
                    <a:gd name="T0" fmla="*/ 76 w 76"/>
                    <a:gd name="T1" fmla="*/ 0 h 76"/>
                    <a:gd name="T2" fmla="*/ 76 w 76"/>
                    <a:gd name="T3" fmla="*/ 0 h 76"/>
                    <a:gd name="T4" fmla="*/ 68 w 76"/>
                    <a:gd name="T5" fmla="*/ 0 h 76"/>
                    <a:gd name="T6" fmla="*/ 61 w 76"/>
                    <a:gd name="T7" fmla="*/ 2 h 76"/>
                    <a:gd name="T8" fmla="*/ 54 w 76"/>
                    <a:gd name="T9" fmla="*/ 4 h 76"/>
                    <a:gd name="T10" fmla="*/ 46 w 76"/>
                    <a:gd name="T11" fmla="*/ 7 h 76"/>
                    <a:gd name="T12" fmla="*/ 34 w 76"/>
                    <a:gd name="T13" fmla="*/ 14 h 76"/>
                    <a:gd name="T14" fmla="*/ 22 w 76"/>
                    <a:gd name="T15" fmla="*/ 22 h 76"/>
                    <a:gd name="T16" fmla="*/ 14 w 76"/>
                    <a:gd name="T17" fmla="*/ 33 h 76"/>
                    <a:gd name="T18" fmla="*/ 6 w 76"/>
                    <a:gd name="T19" fmla="*/ 47 h 76"/>
                    <a:gd name="T20" fmla="*/ 4 w 76"/>
                    <a:gd name="T21" fmla="*/ 53 h 76"/>
                    <a:gd name="T22" fmla="*/ 3 w 76"/>
                    <a:gd name="T23" fmla="*/ 60 h 76"/>
                    <a:gd name="T24" fmla="*/ 1 w 76"/>
                    <a:gd name="T25" fmla="*/ 67 h 76"/>
                    <a:gd name="T26" fmla="*/ 0 w 76"/>
                    <a:gd name="T27" fmla="*/ 76 h 76"/>
                    <a:gd name="T28" fmla="*/ 76 w 76"/>
                    <a:gd name="T29" fmla="*/ 76 h 76"/>
                    <a:gd name="T30" fmla="*/ 76 w 76"/>
                    <a:gd name="T3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76">
                      <a:moveTo>
                        <a:pt x="76" y="0"/>
                      </a:moveTo>
                      <a:lnTo>
                        <a:pt x="76" y="0"/>
                      </a:lnTo>
                      <a:lnTo>
                        <a:pt x="68" y="0"/>
                      </a:lnTo>
                      <a:lnTo>
                        <a:pt x="61" y="2"/>
                      </a:lnTo>
                      <a:lnTo>
                        <a:pt x="54" y="4"/>
                      </a:lnTo>
                      <a:lnTo>
                        <a:pt x="46" y="7"/>
                      </a:lnTo>
                      <a:lnTo>
                        <a:pt x="34" y="14"/>
                      </a:lnTo>
                      <a:lnTo>
                        <a:pt x="22" y="22"/>
                      </a:lnTo>
                      <a:lnTo>
                        <a:pt x="14" y="33"/>
                      </a:lnTo>
                      <a:lnTo>
                        <a:pt x="6" y="47"/>
                      </a:lnTo>
                      <a:lnTo>
                        <a:pt x="4" y="53"/>
                      </a:lnTo>
                      <a:lnTo>
                        <a:pt x="3" y="60"/>
                      </a:lnTo>
                      <a:lnTo>
                        <a:pt x="1" y="67"/>
                      </a:lnTo>
                      <a:lnTo>
                        <a:pt x="0" y="76"/>
                      </a:lnTo>
                      <a:lnTo>
                        <a:pt x="76" y="76"/>
                      </a:lnTo>
                      <a:lnTo>
                        <a:pt x="76"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5" name="Freeform 498"/>
                <p:cNvSpPr>
                  <a:spLocks/>
                </p:cNvSpPr>
                <p:nvPr/>
              </p:nvSpPr>
              <p:spPr bwMode="auto">
                <a:xfrm>
                  <a:off x="3611607" y="2413014"/>
                  <a:ext cx="23813" cy="23813"/>
                </a:xfrm>
                <a:custGeom>
                  <a:avLst/>
                  <a:gdLst>
                    <a:gd name="T0" fmla="*/ 76 w 76"/>
                    <a:gd name="T1" fmla="*/ 0 h 76"/>
                    <a:gd name="T2" fmla="*/ 76 w 76"/>
                    <a:gd name="T3" fmla="*/ 0 h 76"/>
                    <a:gd name="T4" fmla="*/ 68 w 76"/>
                    <a:gd name="T5" fmla="*/ 0 h 76"/>
                    <a:gd name="T6" fmla="*/ 61 w 76"/>
                    <a:gd name="T7" fmla="*/ 2 h 76"/>
                    <a:gd name="T8" fmla="*/ 54 w 76"/>
                    <a:gd name="T9" fmla="*/ 4 h 76"/>
                    <a:gd name="T10" fmla="*/ 46 w 76"/>
                    <a:gd name="T11" fmla="*/ 7 h 76"/>
                    <a:gd name="T12" fmla="*/ 34 w 76"/>
                    <a:gd name="T13" fmla="*/ 14 h 76"/>
                    <a:gd name="T14" fmla="*/ 22 w 76"/>
                    <a:gd name="T15" fmla="*/ 22 h 76"/>
                    <a:gd name="T16" fmla="*/ 14 w 76"/>
                    <a:gd name="T17" fmla="*/ 33 h 76"/>
                    <a:gd name="T18" fmla="*/ 6 w 76"/>
                    <a:gd name="T19" fmla="*/ 47 h 76"/>
                    <a:gd name="T20" fmla="*/ 4 w 76"/>
                    <a:gd name="T21" fmla="*/ 53 h 76"/>
                    <a:gd name="T22" fmla="*/ 3 w 76"/>
                    <a:gd name="T23" fmla="*/ 60 h 76"/>
                    <a:gd name="T24" fmla="*/ 1 w 76"/>
                    <a:gd name="T25" fmla="*/ 67 h 76"/>
                    <a:gd name="T26" fmla="*/ 0 w 76"/>
                    <a:gd name="T27" fmla="*/ 76 h 76"/>
                    <a:gd name="T28" fmla="*/ 76 w 76"/>
                    <a:gd name="T29" fmla="*/ 76 h 76"/>
                    <a:gd name="T30" fmla="*/ 76 w 76"/>
                    <a:gd name="T3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76">
                      <a:moveTo>
                        <a:pt x="76" y="0"/>
                      </a:moveTo>
                      <a:lnTo>
                        <a:pt x="76" y="0"/>
                      </a:lnTo>
                      <a:lnTo>
                        <a:pt x="68" y="0"/>
                      </a:lnTo>
                      <a:lnTo>
                        <a:pt x="61" y="2"/>
                      </a:lnTo>
                      <a:lnTo>
                        <a:pt x="54" y="4"/>
                      </a:lnTo>
                      <a:lnTo>
                        <a:pt x="46" y="7"/>
                      </a:lnTo>
                      <a:lnTo>
                        <a:pt x="34" y="14"/>
                      </a:lnTo>
                      <a:lnTo>
                        <a:pt x="22" y="22"/>
                      </a:lnTo>
                      <a:lnTo>
                        <a:pt x="14" y="33"/>
                      </a:lnTo>
                      <a:lnTo>
                        <a:pt x="6" y="47"/>
                      </a:lnTo>
                      <a:lnTo>
                        <a:pt x="4" y="53"/>
                      </a:lnTo>
                      <a:lnTo>
                        <a:pt x="3" y="60"/>
                      </a:lnTo>
                      <a:lnTo>
                        <a:pt x="1" y="67"/>
                      </a:lnTo>
                      <a:lnTo>
                        <a:pt x="0" y="76"/>
                      </a:lnTo>
                      <a:lnTo>
                        <a:pt x="76" y="76"/>
                      </a:lnTo>
                      <a:lnTo>
                        <a:pt x="7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6" name="Freeform 499"/>
                <p:cNvSpPr>
                  <a:spLocks/>
                </p:cNvSpPr>
                <p:nvPr/>
              </p:nvSpPr>
              <p:spPr bwMode="auto">
                <a:xfrm>
                  <a:off x="3611607" y="2436826"/>
                  <a:ext cx="23813" cy="23813"/>
                </a:xfrm>
                <a:custGeom>
                  <a:avLst/>
                  <a:gdLst>
                    <a:gd name="T0" fmla="*/ 0 w 76"/>
                    <a:gd name="T1" fmla="*/ 0 h 74"/>
                    <a:gd name="T2" fmla="*/ 0 w 76"/>
                    <a:gd name="T3" fmla="*/ 0 h 74"/>
                    <a:gd name="T4" fmla="*/ 1 w 76"/>
                    <a:gd name="T5" fmla="*/ 7 h 74"/>
                    <a:gd name="T6" fmla="*/ 3 w 76"/>
                    <a:gd name="T7" fmla="*/ 15 h 74"/>
                    <a:gd name="T8" fmla="*/ 4 w 76"/>
                    <a:gd name="T9" fmla="*/ 22 h 74"/>
                    <a:gd name="T10" fmla="*/ 6 w 76"/>
                    <a:gd name="T11" fmla="*/ 29 h 74"/>
                    <a:gd name="T12" fmla="*/ 14 w 76"/>
                    <a:gd name="T13" fmla="*/ 41 h 74"/>
                    <a:gd name="T14" fmla="*/ 22 w 76"/>
                    <a:gd name="T15" fmla="*/ 52 h 74"/>
                    <a:gd name="T16" fmla="*/ 34 w 76"/>
                    <a:gd name="T17" fmla="*/ 62 h 74"/>
                    <a:gd name="T18" fmla="*/ 46 w 76"/>
                    <a:gd name="T19" fmla="*/ 68 h 74"/>
                    <a:gd name="T20" fmla="*/ 54 w 76"/>
                    <a:gd name="T21" fmla="*/ 72 h 74"/>
                    <a:gd name="T22" fmla="*/ 61 w 76"/>
                    <a:gd name="T23" fmla="*/ 73 h 74"/>
                    <a:gd name="T24" fmla="*/ 68 w 76"/>
                    <a:gd name="T25" fmla="*/ 74 h 74"/>
                    <a:gd name="T26" fmla="*/ 76 w 76"/>
                    <a:gd name="T27" fmla="*/ 74 h 74"/>
                    <a:gd name="T28" fmla="*/ 76 w 76"/>
                    <a:gd name="T29" fmla="*/ 0 h 74"/>
                    <a:gd name="T30" fmla="*/ 0 w 76"/>
                    <a:gd name="T3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74">
                      <a:moveTo>
                        <a:pt x="0" y="0"/>
                      </a:moveTo>
                      <a:lnTo>
                        <a:pt x="0" y="0"/>
                      </a:lnTo>
                      <a:lnTo>
                        <a:pt x="1" y="7"/>
                      </a:lnTo>
                      <a:lnTo>
                        <a:pt x="3" y="15"/>
                      </a:lnTo>
                      <a:lnTo>
                        <a:pt x="4" y="22"/>
                      </a:lnTo>
                      <a:lnTo>
                        <a:pt x="6" y="29"/>
                      </a:lnTo>
                      <a:lnTo>
                        <a:pt x="14" y="41"/>
                      </a:lnTo>
                      <a:lnTo>
                        <a:pt x="22" y="52"/>
                      </a:lnTo>
                      <a:lnTo>
                        <a:pt x="34" y="62"/>
                      </a:lnTo>
                      <a:lnTo>
                        <a:pt x="46" y="68"/>
                      </a:lnTo>
                      <a:lnTo>
                        <a:pt x="54" y="72"/>
                      </a:lnTo>
                      <a:lnTo>
                        <a:pt x="61" y="73"/>
                      </a:lnTo>
                      <a:lnTo>
                        <a:pt x="68" y="74"/>
                      </a:lnTo>
                      <a:lnTo>
                        <a:pt x="76" y="74"/>
                      </a:lnTo>
                      <a:lnTo>
                        <a:pt x="76" y="0"/>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7" name="Freeform 500"/>
                <p:cNvSpPr>
                  <a:spLocks/>
                </p:cNvSpPr>
                <p:nvPr/>
              </p:nvSpPr>
              <p:spPr bwMode="auto">
                <a:xfrm>
                  <a:off x="3611607" y="2436826"/>
                  <a:ext cx="23813" cy="23813"/>
                </a:xfrm>
                <a:custGeom>
                  <a:avLst/>
                  <a:gdLst>
                    <a:gd name="T0" fmla="*/ 0 w 76"/>
                    <a:gd name="T1" fmla="*/ 0 h 74"/>
                    <a:gd name="T2" fmla="*/ 0 w 76"/>
                    <a:gd name="T3" fmla="*/ 0 h 74"/>
                    <a:gd name="T4" fmla="*/ 1 w 76"/>
                    <a:gd name="T5" fmla="*/ 7 h 74"/>
                    <a:gd name="T6" fmla="*/ 3 w 76"/>
                    <a:gd name="T7" fmla="*/ 15 h 74"/>
                    <a:gd name="T8" fmla="*/ 4 w 76"/>
                    <a:gd name="T9" fmla="*/ 22 h 74"/>
                    <a:gd name="T10" fmla="*/ 6 w 76"/>
                    <a:gd name="T11" fmla="*/ 29 h 74"/>
                    <a:gd name="T12" fmla="*/ 14 w 76"/>
                    <a:gd name="T13" fmla="*/ 41 h 74"/>
                    <a:gd name="T14" fmla="*/ 22 w 76"/>
                    <a:gd name="T15" fmla="*/ 52 h 74"/>
                    <a:gd name="T16" fmla="*/ 34 w 76"/>
                    <a:gd name="T17" fmla="*/ 62 h 74"/>
                    <a:gd name="T18" fmla="*/ 46 w 76"/>
                    <a:gd name="T19" fmla="*/ 68 h 74"/>
                    <a:gd name="T20" fmla="*/ 54 w 76"/>
                    <a:gd name="T21" fmla="*/ 72 h 74"/>
                    <a:gd name="T22" fmla="*/ 61 w 76"/>
                    <a:gd name="T23" fmla="*/ 73 h 74"/>
                    <a:gd name="T24" fmla="*/ 68 w 76"/>
                    <a:gd name="T25" fmla="*/ 74 h 74"/>
                    <a:gd name="T26" fmla="*/ 76 w 76"/>
                    <a:gd name="T27" fmla="*/ 74 h 74"/>
                    <a:gd name="T28" fmla="*/ 76 w 76"/>
                    <a:gd name="T29" fmla="*/ 0 h 74"/>
                    <a:gd name="T30" fmla="*/ 0 w 76"/>
                    <a:gd name="T3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74">
                      <a:moveTo>
                        <a:pt x="0" y="0"/>
                      </a:moveTo>
                      <a:lnTo>
                        <a:pt x="0" y="0"/>
                      </a:lnTo>
                      <a:lnTo>
                        <a:pt x="1" y="7"/>
                      </a:lnTo>
                      <a:lnTo>
                        <a:pt x="3" y="15"/>
                      </a:lnTo>
                      <a:lnTo>
                        <a:pt x="4" y="22"/>
                      </a:lnTo>
                      <a:lnTo>
                        <a:pt x="6" y="29"/>
                      </a:lnTo>
                      <a:lnTo>
                        <a:pt x="14" y="41"/>
                      </a:lnTo>
                      <a:lnTo>
                        <a:pt x="22" y="52"/>
                      </a:lnTo>
                      <a:lnTo>
                        <a:pt x="34" y="62"/>
                      </a:lnTo>
                      <a:lnTo>
                        <a:pt x="46" y="68"/>
                      </a:lnTo>
                      <a:lnTo>
                        <a:pt x="54" y="72"/>
                      </a:lnTo>
                      <a:lnTo>
                        <a:pt x="61" y="73"/>
                      </a:lnTo>
                      <a:lnTo>
                        <a:pt x="68" y="74"/>
                      </a:lnTo>
                      <a:lnTo>
                        <a:pt x="76" y="74"/>
                      </a:lnTo>
                      <a:lnTo>
                        <a:pt x="7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8" name="Freeform 501"/>
                <p:cNvSpPr>
                  <a:spLocks/>
                </p:cNvSpPr>
                <p:nvPr/>
              </p:nvSpPr>
              <p:spPr bwMode="auto">
                <a:xfrm>
                  <a:off x="3617957" y="2371738"/>
                  <a:ext cx="17463" cy="34925"/>
                </a:xfrm>
                <a:custGeom>
                  <a:avLst/>
                  <a:gdLst>
                    <a:gd name="T0" fmla="*/ 54 w 54"/>
                    <a:gd name="T1" fmla="*/ 0 h 109"/>
                    <a:gd name="T2" fmla="*/ 54 w 54"/>
                    <a:gd name="T3" fmla="*/ 0 h 109"/>
                    <a:gd name="T4" fmla="*/ 43 w 54"/>
                    <a:gd name="T5" fmla="*/ 1 h 109"/>
                    <a:gd name="T6" fmla="*/ 33 w 54"/>
                    <a:gd name="T7" fmla="*/ 5 h 109"/>
                    <a:gd name="T8" fmla="*/ 23 w 54"/>
                    <a:gd name="T9" fmla="*/ 10 h 109"/>
                    <a:gd name="T10" fmla="*/ 16 w 54"/>
                    <a:gd name="T11" fmla="*/ 16 h 109"/>
                    <a:gd name="T12" fmla="*/ 9 w 54"/>
                    <a:gd name="T13" fmla="*/ 24 h 109"/>
                    <a:gd name="T14" fmla="*/ 4 w 54"/>
                    <a:gd name="T15" fmla="*/ 33 h 109"/>
                    <a:gd name="T16" fmla="*/ 1 w 54"/>
                    <a:gd name="T17" fmla="*/ 43 h 109"/>
                    <a:gd name="T18" fmla="*/ 0 w 54"/>
                    <a:gd name="T19" fmla="*/ 54 h 109"/>
                    <a:gd name="T20" fmla="*/ 0 w 54"/>
                    <a:gd name="T21" fmla="*/ 54 h 109"/>
                    <a:gd name="T22" fmla="*/ 1 w 54"/>
                    <a:gd name="T23" fmla="*/ 65 h 109"/>
                    <a:gd name="T24" fmla="*/ 4 w 54"/>
                    <a:gd name="T25" fmla="*/ 76 h 109"/>
                    <a:gd name="T26" fmla="*/ 9 w 54"/>
                    <a:gd name="T27" fmla="*/ 84 h 109"/>
                    <a:gd name="T28" fmla="*/ 16 w 54"/>
                    <a:gd name="T29" fmla="*/ 93 h 109"/>
                    <a:gd name="T30" fmla="*/ 23 w 54"/>
                    <a:gd name="T31" fmla="*/ 99 h 109"/>
                    <a:gd name="T32" fmla="*/ 33 w 54"/>
                    <a:gd name="T33" fmla="*/ 104 h 109"/>
                    <a:gd name="T34" fmla="*/ 43 w 54"/>
                    <a:gd name="T35" fmla="*/ 107 h 109"/>
                    <a:gd name="T36" fmla="*/ 54 w 54"/>
                    <a:gd name="T37" fmla="*/ 109 h 109"/>
                    <a:gd name="T38" fmla="*/ 54 w 54"/>
                    <a:gd name="T39" fmla="*/ 99 h 109"/>
                    <a:gd name="T40" fmla="*/ 54 w 54"/>
                    <a:gd name="T41" fmla="*/ 99 h 109"/>
                    <a:gd name="T42" fmla="*/ 45 w 54"/>
                    <a:gd name="T43" fmla="*/ 98 h 109"/>
                    <a:gd name="T44" fmla="*/ 37 w 54"/>
                    <a:gd name="T45" fmla="*/ 95 h 109"/>
                    <a:gd name="T46" fmla="*/ 29 w 54"/>
                    <a:gd name="T47" fmla="*/ 91 h 109"/>
                    <a:gd name="T48" fmla="*/ 22 w 54"/>
                    <a:gd name="T49" fmla="*/ 85 h 109"/>
                    <a:gd name="T50" fmla="*/ 17 w 54"/>
                    <a:gd name="T51" fmla="*/ 79 h 109"/>
                    <a:gd name="T52" fmla="*/ 12 w 54"/>
                    <a:gd name="T53" fmla="*/ 72 h 109"/>
                    <a:gd name="T54" fmla="*/ 10 w 54"/>
                    <a:gd name="T55" fmla="*/ 63 h 109"/>
                    <a:gd name="T56" fmla="*/ 10 w 54"/>
                    <a:gd name="T57" fmla="*/ 54 h 109"/>
                    <a:gd name="T58" fmla="*/ 10 w 54"/>
                    <a:gd name="T59" fmla="*/ 54 h 109"/>
                    <a:gd name="T60" fmla="*/ 10 w 54"/>
                    <a:gd name="T61" fmla="*/ 54 h 109"/>
                    <a:gd name="T62" fmla="*/ 10 w 54"/>
                    <a:gd name="T63" fmla="*/ 54 h 109"/>
                    <a:gd name="T64" fmla="*/ 10 w 54"/>
                    <a:gd name="T65" fmla="*/ 54 h 109"/>
                    <a:gd name="T66" fmla="*/ 10 w 54"/>
                    <a:gd name="T67" fmla="*/ 45 h 109"/>
                    <a:gd name="T68" fmla="*/ 12 w 54"/>
                    <a:gd name="T69" fmla="*/ 37 h 109"/>
                    <a:gd name="T70" fmla="*/ 17 w 54"/>
                    <a:gd name="T71" fmla="*/ 29 h 109"/>
                    <a:gd name="T72" fmla="*/ 22 w 54"/>
                    <a:gd name="T73" fmla="*/ 23 h 109"/>
                    <a:gd name="T74" fmla="*/ 29 w 54"/>
                    <a:gd name="T75" fmla="*/ 17 h 109"/>
                    <a:gd name="T76" fmla="*/ 37 w 54"/>
                    <a:gd name="T77" fmla="*/ 13 h 109"/>
                    <a:gd name="T78" fmla="*/ 45 w 54"/>
                    <a:gd name="T79" fmla="*/ 11 h 109"/>
                    <a:gd name="T80" fmla="*/ 54 w 54"/>
                    <a:gd name="T81" fmla="*/ 10 h 109"/>
                    <a:gd name="T82" fmla="*/ 54 w 54"/>
                    <a:gd name="T8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 h="109">
                      <a:moveTo>
                        <a:pt x="54" y="0"/>
                      </a:moveTo>
                      <a:lnTo>
                        <a:pt x="54" y="0"/>
                      </a:lnTo>
                      <a:lnTo>
                        <a:pt x="43" y="1"/>
                      </a:lnTo>
                      <a:lnTo>
                        <a:pt x="33" y="5"/>
                      </a:lnTo>
                      <a:lnTo>
                        <a:pt x="23" y="10"/>
                      </a:lnTo>
                      <a:lnTo>
                        <a:pt x="16" y="16"/>
                      </a:lnTo>
                      <a:lnTo>
                        <a:pt x="9" y="24"/>
                      </a:lnTo>
                      <a:lnTo>
                        <a:pt x="4" y="33"/>
                      </a:lnTo>
                      <a:lnTo>
                        <a:pt x="1" y="43"/>
                      </a:lnTo>
                      <a:lnTo>
                        <a:pt x="0" y="54"/>
                      </a:lnTo>
                      <a:lnTo>
                        <a:pt x="0" y="54"/>
                      </a:lnTo>
                      <a:lnTo>
                        <a:pt x="1" y="65"/>
                      </a:lnTo>
                      <a:lnTo>
                        <a:pt x="4" y="76"/>
                      </a:lnTo>
                      <a:lnTo>
                        <a:pt x="9" y="84"/>
                      </a:lnTo>
                      <a:lnTo>
                        <a:pt x="16" y="93"/>
                      </a:lnTo>
                      <a:lnTo>
                        <a:pt x="23" y="99"/>
                      </a:lnTo>
                      <a:lnTo>
                        <a:pt x="33" y="104"/>
                      </a:lnTo>
                      <a:lnTo>
                        <a:pt x="43" y="107"/>
                      </a:lnTo>
                      <a:lnTo>
                        <a:pt x="54" y="109"/>
                      </a:lnTo>
                      <a:lnTo>
                        <a:pt x="54" y="99"/>
                      </a:lnTo>
                      <a:lnTo>
                        <a:pt x="54" y="99"/>
                      </a:lnTo>
                      <a:lnTo>
                        <a:pt x="45" y="98"/>
                      </a:lnTo>
                      <a:lnTo>
                        <a:pt x="37" y="95"/>
                      </a:lnTo>
                      <a:lnTo>
                        <a:pt x="29" y="91"/>
                      </a:lnTo>
                      <a:lnTo>
                        <a:pt x="22" y="85"/>
                      </a:lnTo>
                      <a:lnTo>
                        <a:pt x="17" y="79"/>
                      </a:lnTo>
                      <a:lnTo>
                        <a:pt x="12" y="72"/>
                      </a:lnTo>
                      <a:lnTo>
                        <a:pt x="10" y="63"/>
                      </a:lnTo>
                      <a:lnTo>
                        <a:pt x="10" y="54"/>
                      </a:lnTo>
                      <a:lnTo>
                        <a:pt x="10" y="54"/>
                      </a:lnTo>
                      <a:lnTo>
                        <a:pt x="10" y="54"/>
                      </a:lnTo>
                      <a:lnTo>
                        <a:pt x="10" y="54"/>
                      </a:lnTo>
                      <a:lnTo>
                        <a:pt x="10" y="54"/>
                      </a:lnTo>
                      <a:lnTo>
                        <a:pt x="10" y="45"/>
                      </a:lnTo>
                      <a:lnTo>
                        <a:pt x="12" y="37"/>
                      </a:lnTo>
                      <a:lnTo>
                        <a:pt x="17" y="29"/>
                      </a:lnTo>
                      <a:lnTo>
                        <a:pt x="22" y="23"/>
                      </a:lnTo>
                      <a:lnTo>
                        <a:pt x="29" y="17"/>
                      </a:lnTo>
                      <a:lnTo>
                        <a:pt x="37" y="13"/>
                      </a:lnTo>
                      <a:lnTo>
                        <a:pt x="45" y="11"/>
                      </a:lnTo>
                      <a:lnTo>
                        <a:pt x="54" y="10"/>
                      </a:lnTo>
                      <a:lnTo>
                        <a:pt x="54"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9" name="Freeform 502"/>
                <p:cNvSpPr>
                  <a:spLocks/>
                </p:cNvSpPr>
                <p:nvPr/>
              </p:nvSpPr>
              <p:spPr bwMode="auto">
                <a:xfrm>
                  <a:off x="3617957" y="2371738"/>
                  <a:ext cx="17463" cy="34925"/>
                </a:xfrm>
                <a:custGeom>
                  <a:avLst/>
                  <a:gdLst>
                    <a:gd name="T0" fmla="*/ 54 w 54"/>
                    <a:gd name="T1" fmla="*/ 0 h 109"/>
                    <a:gd name="T2" fmla="*/ 54 w 54"/>
                    <a:gd name="T3" fmla="*/ 0 h 109"/>
                    <a:gd name="T4" fmla="*/ 43 w 54"/>
                    <a:gd name="T5" fmla="*/ 1 h 109"/>
                    <a:gd name="T6" fmla="*/ 33 w 54"/>
                    <a:gd name="T7" fmla="*/ 5 h 109"/>
                    <a:gd name="T8" fmla="*/ 23 w 54"/>
                    <a:gd name="T9" fmla="*/ 10 h 109"/>
                    <a:gd name="T10" fmla="*/ 16 w 54"/>
                    <a:gd name="T11" fmla="*/ 16 h 109"/>
                    <a:gd name="T12" fmla="*/ 9 w 54"/>
                    <a:gd name="T13" fmla="*/ 24 h 109"/>
                    <a:gd name="T14" fmla="*/ 4 w 54"/>
                    <a:gd name="T15" fmla="*/ 33 h 109"/>
                    <a:gd name="T16" fmla="*/ 1 w 54"/>
                    <a:gd name="T17" fmla="*/ 43 h 109"/>
                    <a:gd name="T18" fmla="*/ 0 w 54"/>
                    <a:gd name="T19" fmla="*/ 54 h 109"/>
                    <a:gd name="T20" fmla="*/ 0 w 54"/>
                    <a:gd name="T21" fmla="*/ 54 h 109"/>
                    <a:gd name="T22" fmla="*/ 1 w 54"/>
                    <a:gd name="T23" fmla="*/ 65 h 109"/>
                    <a:gd name="T24" fmla="*/ 4 w 54"/>
                    <a:gd name="T25" fmla="*/ 76 h 109"/>
                    <a:gd name="T26" fmla="*/ 9 w 54"/>
                    <a:gd name="T27" fmla="*/ 84 h 109"/>
                    <a:gd name="T28" fmla="*/ 16 w 54"/>
                    <a:gd name="T29" fmla="*/ 93 h 109"/>
                    <a:gd name="T30" fmla="*/ 23 w 54"/>
                    <a:gd name="T31" fmla="*/ 99 h 109"/>
                    <a:gd name="T32" fmla="*/ 33 w 54"/>
                    <a:gd name="T33" fmla="*/ 104 h 109"/>
                    <a:gd name="T34" fmla="*/ 43 w 54"/>
                    <a:gd name="T35" fmla="*/ 107 h 109"/>
                    <a:gd name="T36" fmla="*/ 54 w 54"/>
                    <a:gd name="T37" fmla="*/ 109 h 109"/>
                    <a:gd name="T38" fmla="*/ 54 w 54"/>
                    <a:gd name="T39" fmla="*/ 99 h 109"/>
                    <a:gd name="T40" fmla="*/ 54 w 54"/>
                    <a:gd name="T41" fmla="*/ 99 h 109"/>
                    <a:gd name="T42" fmla="*/ 45 w 54"/>
                    <a:gd name="T43" fmla="*/ 98 h 109"/>
                    <a:gd name="T44" fmla="*/ 37 w 54"/>
                    <a:gd name="T45" fmla="*/ 95 h 109"/>
                    <a:gd name="T46" fmla="*/ 29 w 54"/>
                    <a:gd name="T47" fmla="*/ 91 h 109"/>
                    <a:gd name="T48" fmla="*/ 22 w 54"/>
                    <a:gd name="T49" fmla="*/ 85 h 109"/>
                    <a:gd name="T50" fmla="*/ 17 w 54"/>
                    <a:gd name="T51" fmla="*/ 79 h 109"/>
                    <a:gd name="T52" fmla="*/ 12 w 54"/>
                    <a:gd name="T53" fmla="*/ 72 h 109"/>
                    <a:gd name="T54" fmla="*/ 10 w 54"/>
                    <a:gd name="T55" fmla="*/ 63 h 109"/>
                    <a:gd name="T56" fmla="*/ 10 w 54"/>
                    <a:gd name="T57" fmla="*/ 54 h 109"/>
                    <a:gd name="T58" fmla="*/ 10 w 54"/>
                    <a:gd name="T59" fmla="*/ 54 h 109"/>
                    <a:gd name="T60" fmla="*/ 10 w 54"/>
                    <a:gd name="T61" fmla="*/ 54 h 109"/>
                    <a:gd name="T62" fmla="*/ 10 w 54"/>
                    <a:gd name="T63" fmla="*/ 54 h 109"/>
                    <a:gd name="T64" fmla="*/ 10 w 54"/>
                    <a:gd name="T65" fmla="*/ 54 h 109"/>
                    <a:gd name="T66" fmla="*/ 10 w 54"/>
                    <a:gd name="T67" fmla="*/ 45 h 109"/>
                    <a:gd name="T68" fmla="*/ 12 w 54"/>
                    <a:gd name="T69" fmla="*/ 37 h 109"/>
                    <a:gd name="T70" fmla="*/ 17 w 54"/>
                    <a:gd name="T71" fmla="*/ 29 h 109"/>
                    <a:gd name="T72" fmla="*/ 22 w 54"/>
                    <a:gd name="T73" fmla="*/ 23 h 109"/>
                    <a:gd name="T74" fmla="*/ 29 w 54"/>
                    <a:gd name="T75" fmla="*/ 17 h 109"/>
                    <a:gd name="T76" fmla="*/ 37 w 54"/>
                    <a:gd name="T77" fmla="*/ 13 h 109"/>
                    <a:gd name="T78" fmla="*/ 45 w 54"/>
                    <a:gd name="T79" fmla="*/ 11 h 109"/>
                    <a:gd name="T80" fmla="*/ 54 w 54"/>
                    <a:gd name="T81" fmla="*/ 10 h 109"/>
                    <a:gd name="T82" fmla="*/ 54 w 54"/>
                    <a:gd name="T8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 h="109">
                      <a:moveTo>
                        <a:pt x="54" y="0"/>
                      </a:moveTo>
                      <a:lnTo>
                        <a:pt x="54" y="0"/>
                      </a:lnTo>
                      <a:lnTo>
                        <a:pt x="43" y="1"/>
                      </a:lnTo>
                      <a:lnTo>
                        <a:pt x="33" y="5"/>
                      </a:lnTo>
                      <a:lnTo>
                        <a:pt x="23" y="10"/>
                      </a:lnTo>
                      <a:lnTo>
                        <a:pt x="16" y="16"/>
                      </a:lnTo>
                      <a:lnTo>
                        <a:pt x="9" y="24"/>
                      </a:lnTo>
                      <a:lnTo>
                        <a:pt x="4" y="33"/>
                      </a:lnTo>
                      <a:lnTo>
                        <a:pt x="1" y="43"/>
                      </a:lnTo>
                      <a:lnTo>
                        <a:pt x="0" y="54"/>
                      </a:lnTo>
                      <a:lnTo>
                        <a:pt x="0" y="54"/>
                      </a:lnTo>
                      <a:lnTo>
                        <a:pt x="1" y="65"/>
                      </a:lnTo>
                      <a:lnTo>
                        <a:pt x="4" y="76"/>
                      </a:lnTo>
                      <a:lnTo>
                        <a:pt x="9" y="84"/>
                      </a:lnTo>
                      <a:lnTo>
                        <a:pt x="16" y="93"/>
                      </a:lnTo>
                      <a:lnTo>
                        <a:pt x="23" y="99"/>
                      </a:lnTo>
                      <a:lnTo>
                        <a:pt x="33" y="104"/>
                      </a:lnTo>
                      <a:lnTo>
                        <a:pt x="43" y="107"/>
                      </a:lnTo>
                      <a:lnTo>
                        <a:pt x="54" y="109"/>
                      </a:lnTo>
                      <a:lnTo>
                        <a:pt x="54" y="99"/>
                      </a:lnTo>
                      <a:lnTo>
                        <a:pt x="54" y="99"/>
                      </a:lnTo>
                      <a:lnTo>
                        <a:pt x="45" y="98"/>
                      </a:lnTo>
                      <a:lnTo>
                        <a:pt x="37" y="95"/>
                      </a:lnTo>
                      <a:lnTo>
                        <a:pt x="29" y="91"/>
                      </a:lnTo>
                      <a:lnTo>
                        <a:pt x="22" y="85"/>
                      </a:lnTo>
                      <a:lnTo>
                        <a:pt x="17" y="79"/>
                      </a:lnTo>
                      <a:lnTo>
                        <a:pt x="12" y="72"/>
                      </a:lnTo>
                      <a:lnTo>
                        <a:pt x="10" y="63"/>
                      </a:lnTo>
                      <a:lnTo>
                        <a:pt x="10" y="54"/>
                      </a:lnTo>
                      <a:lnTo>
                        <a:pt x="10" y="54"/>
                      </a:lnTo>
                      <a:lnTo>
                        <a:pt x="10" y="54"/>
                      </a:lnTo>
                      <a:lnTo>
                        <a:pt x="10" y="54"/>
                      </a:lnTo>
                      <a:lnTo>
                        <a:pt x="10" y="54"/>
                      </a:lnTo>
                      <a:lnTo>
                        <a:pt x="10" y="45"/>
                      </a:lnTo>
                      <a:lnTo>
                        <a:pt x="12" y="37"/>
                      </a:lnTo>
                      <a:lnTo>
                        <a:pt x="17" y="29"/>
                      </a:lnTo>
                      <a:lnTo>
                        <a:pt x="22" y="23"/>
                      </a:lnTo>
                      <a:lnTo>
                        <a:pt x="29" y="17"/>
                      </a:lnTo>
                      <a:lnTo>
                        <a:pt x="37" y="13"/>
                      </a:lnTo>
                      <a:lnTo>
                        <a:pt x="45" y="11"/>
                      </a:lnTo>
                      <a:lnTo>
                        <a:pt x="54" y="1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0" name="Freeform 503"/>
                <p:cNvSpPr>
                  <a:spLocks/>
                </p:cNvSpPr>
                <p:nvPr/>
              </p:nvSpPr>
              <p:spPr bwMode="auto">
                <a:xfrm>
                  <a:off x="3621132" y="2374913"/>
                  <a:ext cx="14288" cy="14288"/>
                </a:xfrm>
                <a:custGeom>
                  <a:avLst/>
                  <a:gdLst>
                    <a:gd name="T0" fmla="*/ 44 w 44"/>
                    <a:gd name="T1" fmla="*/ 0 h 44"/>
                    <a:gd name="T2" fmla="*/ 44 w 44"/>
                    <a:gd name="T3" fmla="*/ 0 h 44"/>
                    <a:gd name="T4" fmla="*/ 35 w 44"/>
                    <a:gd name="T5" fmla="*/ 1 h 44"/>
                    <a:gd name="T6" fmla="*/ 27 w 44"/>
                    <a:gd name="T7" fmla="*/ 3 h 44"/>
                    <a:gd name="T8" fmla="*/ 19 w 44"/>
                    <a:gd name="T9" fmla="*/ 7 h 44"/>
                    <a:gd name="T10" fmla="*/ 12 w 44"/>
                    <a:gd name="T11" fmla="*/ 13 h 44"/>
                    <a:gd name="T12" fmla="*/ 7 w 44"/>
                    <a:gd name="T13" fmla="*/ 19 h 44"/>
                    <a:gd name="T14" fmla="*/ 2 w 44"/>
                    <a:gd name="T15" fmla="*/ 27 h 44"/>
                    <a:gd name="T16" fmla="*/ 0 w 44"/>
                    <a:gd name="T17" fmla="*/ 35 h 44"/>
                    <a:gd name="T18" fmla="*/ 0 w 44"/>
                    <a:gd name="T19" fmla="*/ 44 h 44"/>
                    <a:gd name="T20" fmla="*/ 44 w 44"/>
                    <a:gd name="T21" fmla="*/ 44 h 44"/>
                    <a:gd name="T22" fmla="*/ 44 w 44"/>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4">
                      <a:moveTo>
                        <a:pt x="44" y="0"/>
                      </a:moveTo>
                      <a:lnTo>
                        <a:pt x="44" y="0"/>
                      </a:lnTo>
                      <a:lnTo>
                        <a:pt x="35" y="1"/>
                      </a:lnTo>
                      <a:lnTo>
                        <a:pt x="27" y="3"/>
                      </a:lnTo>
                      <a:lnTo>
                        <a:pt x="19" y="7"/>
                      </a:lnTo>
                      <a:lnTo>
                        <a:pt x="12" y="13"/>
                      </a:lnTo>
                      <a:lnTo>
                        <a:pt x="7" y="19"/>
                      </a:lnTo>
                      <a:lnTo>
                        <a:pt x="2" y="27"/>
                      </a:lnTo>
                      <a:lnTo>
                        <a:pt x="0" y="35"/>
                      </a:lnTo>
                      <a:lnTo>
                        <a:pt x="0" y="44"/>
                      </a:lnTo>
                      <a:lnTo>
                        <a:pt x="44" y="44"/>
                      </a:lnTo>
                      <a:lnTo>
                        <a:pt x="44"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1" name="Freeform 504"/>
                <p:cNvSpPr>
                  <a:spLocks/>
                </p:cNvSpPr>
                <p:nvPr/>
              </p:nvSpPr>
              <p:spPr bwMode="auto">
                <a:xfrm>
                  <a:off x="3621132" y="2374913"/>
                  <a:ext cx="14288" cy="14288"/>
                </a:xfrm>
                <a:custGeom>
                  <a:avLst/>
                  <a:gdLst>
                    <a:gd name="T0" fmla="*/ 44 w 44"/>
                    <a:gd name="T1" fmla="*/ 0 h 44"/>
                    <a:gd name="T2" fmla="*/ 44 w 44"/>
                    <a:gd name="T3" fmla="*/ 0 h 44"/>
                    <a:gd name="T4" fmla="*/ 35 w 44"/>
                    <a:gd name="T5" fmla="*/ 1 h 44"/>
                    <a:gd name="T6" fmla="*/ 27 w 44"/>
                    <a:gd name="T7" fmla="*/ 3 h 44"/>
                    <a:gd name="T8" fmla="*/ 19 w 44"/>
                    <a:gd name="T9" fmla="*/ 7 h 44"/>
                    <a:gd name="T10" fmla="*/ 12 w 44"/>
                    <a:gd name="T11" fmla="*/ 13 h 44"/>
                    <a:gd name="T12" fmla="*/ 7 w 44"/>
                    <a:gd name="T13" fmla="*/ 19 h 44"/>
                    <a:gd name="T14" fmla="*/ 2 w 44"/>
                    <a:gd name="T15" fmla="*/ 27 h 44"/>
                    <a:gd name="T16" fmla="*/ 0 w 44"/>
                    <a:gd name="T17" fmla="*/ 35 h 44"/>
                    <a:gd name="T18" fmla="*/ 0 w 44"/>
                    <a:gd name="T19" fmla="*/ 44 h 44"/>
                    <a:gd name="T20" fmla="*/ 44 w 44"/>
                    <a:gd name="T21" fmla="*/ 44 h 44"/>
                    <a:gd name="T22" fmla="*/ 44 w 44"/>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4">
                      <a:moveTo>
                        <a:pt x="44" y="0"/>
                      </a:moveTo>
                      <a:lnTo>
                        <a:pt x="44" y="0"/>
                      </a:lnTo>
                      <a:lnTo>
                        <a:pt x="35" y="1"/>
                      </a:lnTo>
                      <a:lnTo>
                        <a:pt x="27" y="3"/>
                      </a:lnTo>
                      <a:lnTo>
                        <a:pt x="19" y="7"/>
                      </a:lnTo>
                      <a:lnTo>
                        <a:pt x="12" y="13"/>
                      </a:lnTo>
                      <a:lnTo>
                        <a:pt x="7" y="19"/>
                      </a:lnTo>
                      <a:lnTo>
                        <a:pt x="2" y="27"/>
                      </a:lnTo>
                      <a:lnTo>
                        <a:pt x="0" y="35"/>
                      </a:lnTo>
                      <a:lnTo>
                        <a:pt x="0" y="44"/>
                      </a:lnTo>
                      <a:lnTo>
                        <a:pt x="44" y="44"/>
                      </a:lnTo>
                      <a:lnTo>
                        <a:pt x="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2" name="Freeform 505"/>
                <p:cNvSpPr>
                  <a:spLocks/>
                </p:cNvSpPr>
                <p:nvPr/>
              </p:nvSpPr>
              <p:spPr bwMode="auto">
                <a:xfrm>
                  <a:off x="3621132" y="2389201"/>
                  <a:ext cx="14288" cy="14288"/>
                </a:xfrm>
                <a:custGeom>
                  <a:avLst/>
                  <a:gdLst>
                    <a:gd name="T0" fmla="*/ 0 w 44"/>
                    <a:gd name="T1" fmla="*/ 0 h 45"/>
                    <a:gd name="T2" fmla="*/ 0 w 44"/>
                    <a:gd name="T3" fmla="*/ 0 h 45"/>
                    <a:gd name="T4" fmla="*/ 0 w 44"/>
                    <a:gd name="T5" fmla="*/ 9 h 45"/>
                    <a:gd name="T6" fmla="*/ 2 w 44"/>
                    <a:gd name="T7" fmla="*/ 18 h 45"/>
                    <a:gd name="T8" fmla="*/ 7 w 44"/>
                    <a:gd name="T9" fmla="*/ 25 h 45"/>
                    <a:gd name="T10" fmla="*/ 12 w 44"/>
                    <a:gd name="T11" fmla="*/ 31 h 45"/>
                    <a:gd name="T12" fmla="*/ 19 w 44"/>
                    <a:gd name="T13" fmla="*/ 37 h 45"/>
                    <a:gd name="T14" fmla="*/ 27 w 44"/>
                    <a:gd name="T15" fmla="*/ 41 h 45"/>
                    <a:gd name="T16" fmla="*/ 35 w 44"/>
                    <a:gd name="T17" fmla="*/ 44 h 45"/>
                    <a:gd name="T18" fmla="*/ 44 w 44"/>
                    <a:gd name="T19" fmla="*/ 45 h 45"/>
                    <a:gd name="T20" fmla="*/ 44 w 44"/>
                    <a:gd name="T21" fmla="*/ 0 h 45"/>
                    <a:gd name="T22" fmla="*/ 0 w 44"/>
                    <a:gd name="T2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5">
                      <a:moveTo>
                        <a:pt x="0" y="0"/>
                      </a:moveTo>
                      <a:lnTo>
                        <a:pt x="0" y="0"/>
                      </a:lnTo>
                      <a:lnTo>
                        <a:pt x="0" y="9"/>
                      </a:lnTo>
                      <a:lnTo>
                        <a:pt x="2" y="18"/>
                      </a:lnTo>
                      <a:lnTo>
                        <a:pt x="7" y="25"/>
                      </a:lnTo>
                      <a:lnTo>
                        <a:pt x="12" y="31"/>
                      </a:lnTo>
                      <a:lnTo>
                        <a:pt x="19" y="37"/>
                      </a:lnTo>
                      <a:lnTo>
                        <a:pt x="27" y="41"/>
                      </a:lnTo>
                      <a:lnTo>
                        <a:pt x="35" y="44"/>
                      </a:lnTo>
                      <a:lnTo>
                        <a:pt x="44" y="45"/>
                      </a:lnTo>
                      <a:lnTo>
                        <a:pt x="44" y="0"/>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3" name="Freeform 506"/>
                <p:cNvSpPr>
                  <a:spLocks/>
                </p:cNvSpPr>
                <p:nvPr/>
              </p:nvSpPr>
              <p:spPr bwMode="auto">
                <a:xfrm>
                  <a:off x="3621132" y="2389201"/>
                  <a:ext cx="14288" cy="14288"/>
                </a:xfrm>
                <a:custGeom>
                  <a:avLst/>
                  <a:gdLst>
                    <a:gd name="T0" fmla="*/ 0 w 44"/>
                    <a:gd name="T1" fmla="*/ 0 h 45"/>
                    <a:gd name="T2" fmla="*/ 0 w 44"/>
                    <a:gd name="T3" fmla="*/ 0 h 45"/>
                    <a:gd name="T4" fmla="*/ 0 w 44"/>
                    <a:gd name="T5" fmla="*/ 9 h 45"/>
                    <a:gd name="T6" fmla="*/ 2 w 44"/>
                    <a:gd name="T7" fmla="*/ 18 h 45"/>
                    <a:gd name="T8" fmla="*/ 7 w 44"/>
                    <a:gd name="T9" fmla="*/ 25 h 45"/>
                    <a:gd name="T10" fmla="*/ 12 w 44"/>
                    <a:gd name="T11" fmla="*/ 31 h 45"/>
                    <a:gd name="T12" fmla="*/ 19 w 44"/>
                    <a:gd name="T13" fmla="*/ 37 h 45"/>
                    <a:gd name="T14" fmla="*/ 27 w 44"/>
                    <a:gd name="T15" fmla="*/ 41 h 45"/>
                    <a:gd name="T16" fmla="*/ 35 w 44"/>
                    <a:gd name="T17" fmla="*/ 44 h 45"/>
                    <a:gd name="T18" fmla="*/ 44 w 44"/>
                    <a:gd name="T19" fmla="*/ 45 h 45"/>
                    <a:gd name="T20" fmla="*/ 44 w 44"/>
                    <a:gd name="T21" fmla="*/ 0 h 45"/>
                    <a:gd name="T22" fmla="*/ 0 w 44"/>
                    <a:gd name="T2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5">
                      <a:moveTo>
                        <a:pt x="0" y="0"/>
                      </a:moveTo>
                      <a:lnTo>
                        <a:pt x="0" y="0"/>
                      </a:lnTo>
                      <a:lnTo>
                        <a:pt x="0" y="9"/>
                      </a:lnTo>
                      <a:lnTo>
                        <a:pt x="2" y="18"/>
                      </a:lnTo>
                      <a:lnTo>
                        <a:pt x="7" y="25"/>
                      </a:lnTo>
                      <a:lnTo>
                        <a:pt x="12" y="31"/>
                      </a:lnTo>
                      <a:lnTo>
                        <a:pt x="19" y="37"/>
                      </a:lnTo>
                      <a:lnTo>
                        <a:pt x="27" y="41"/>
                      </a:lnTo>
                      <a:lnTo>
                        <a:pt x="35" y="44"/>
                      </a:lnTo>
                      <a:lnTo>
                        <a:pt x="44" y="45"/>
                      </a:lnTo>
                      <a:lnTo>
                        <a:pt x="4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4" name="Rectangle 507"/>
                <p:cNvSpPr>
                  <a:spLocks noChangeArrowheads="1"/>
                </p:cNvSpPr>
                <p:nvPr/>
              </p:nvSpPr>
              <p:spPr bwMode="auto">
                <a:xfrm>
                  <a:off x="3603670" y="2528902"/>
                  <a:ext cx="31750" cy="14288"/>
                </a:xfrm>
                <a:prstGeom prst="rect">
                  <a:avLst/>
                </a:prstGeom>
                <a:solidFill>
                  <a:srgbClr val="F8AB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5" name="Freeform 508"/>
                <p:cNvSpPr>
                  <a:spLocks/>
                </p:cNvSpPr>
                <p:nvPr/>
              </p:nvSpPr>
              <p:spPr bwMode="auto">
                <a:xfrm>
                  <a:off x="3597320" y="2543190"/>
                  <a:ext cx="38100" cy="19050"/>
                </a:xfrm>
                <a:custGeom>
                  <a:avLst/>
                  <a:gdLst>
                    <a:gd name="T0" fmla="*/ 0 w 121"/>
                    <a:gd name="T1" fmla="*/ 59 h 59"/>
                    <a:gd name="T2" fmla="*/ 121 w 121"/>
                    <a:gd name="T3" fmla="*/ 59 h 59"/>
                    <a:gd name="T4" fmla="*/ 121 w 121"/>
                    <a:gd name="T5" fmla="*/ 0 h 59"/>
                    <a:gd name="T6" fmla="*/ 18 w 121"/>
                    <a:gd name="T7" fmla="*/ 0 h 59"/>
                    <a:gd name="T8" fmla="*/ 0 w 121"/>
                    <a:gd name="T9" fmla="*/ 59 h 59"/>
                  </a:gdLst>
                  <a:ahLst/>
                  <a:cxnLst>
                    <a:cxn ang="0">
                      <a:pos x="T0" y="T1"/>
                    </a:cxn>
                    <a:cxn ang="0">
                      <a:pos x="T2" y="T3"/>
                    </a:cxn>
                    <a:cxn ang="0">
                      <a:pos x="T4" y="T5"/>
                    </a:cxn>
                    <a:cxn ang="0">
                      <a:pos x="T6" y="T7"/>
                    </a:cxn>
                    <a:cxn ang="0">
                      <a:pos x="T8" y="T9"/>
                    </a:cxn>
                  </a:cxnLst>
                  <a:rect l="0" t="0" r="r" b="b"/>
                  <a:pathLst>
                    <a:path w="121" h="59">
                      <a:moveTo>
                        <a:pt x="0" y="59"/>
                      </a:moveTo>
                      <a:lnTo>
                        <a:pt x="121" y="59"/>
                      </a:lnTo>
                      <a:lnTo>
                        <a:pt x="121" y="0"/>
                      </a:lnTo>
                      <a:lnTo>
                        <a:pt x="18" y="0"/>
                      </a:lnTo>
                      <a:lnTo>
                        <a:pt x="0"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6" name="Freeform 509"/>
                <p:cNvSpPr>
                  <a:spLocks/>
                </p:cNvSpPr>
                <p:nvPr/>
              </p:nvSpPr>
              <p:spPr bwMode="auto">
                <a:xfrm>
                  <a:off x="3598907" y="2484452"/>
                  <a:ext cx="12700" cy="12700"/>
                </a:xfrm>
                <a:custGeom>
                  <a:avLst/>
                  <a:gdLst>
                    <a:gd name="T0" fmla="*/ 38 w 38"/>
                    <a:gd name="T1" fmla="*/ 19 h 37"/>
                    <a:gd name="T2" fmla="*/ 38 w 38"/>
                    <a:gd name="T3" fmla="*/ 19 h 37"/>
                    <a:gd name="T4" fmla="*/ 37 w 38"/>
                    <a:gd name="T5" fmla="*/ 22 h 37"/>
                    <a:gd name="T6" fmla="*/ 35 w 38"/>
                    <a:gd name="T7" fmla="*/ 26 h 37"/>
                    <a:gd name="T8" fmla="*/ 32 w 38"/>
                    <a:gd name="T9" fmla="*/ 32 h 37"/>
                    <a:gd name="T10" fmla="*/ 26 w 38"/>
                    <a:gd name="T11" fmla="*/ 36 h 37"/>
                    <a:gd name="T12" fmla="*/ 22 w 38"/>
                    <a:gd name="T13" fmla="*/ 37 h 37"/>
                    <a:gd name="T14" fmla="*/ 18 w 38"/>
                    <a:gd name="T15" fmla="*/ 37 h 37"/>
                    <a:gd name="T16" fmla="*/ 18 w 38"/>
                    <a:gd name="T17" fmla="*/ 37 h 37"/>
                    <a:gd name="T18" fmla="*/ 15 w 38"/>
                    <a:gd name="T19" fmla="*/ 37 h 37"/>
                    <a:gd name="T20" fmla="*/ 11 w 38"/>
                    <a:gd name="T21" fmla="*/ 36 h 37"/>
                    <a:gd name="T22" fmla="*/ 5 w 38"/>
                    <a:gd name="T23" fmla="*/ 32 h 37"/>
                    <a:gd name="T24" fmla="*/ 1 w 38"/>
                    <a:gd name="T25" fmla="*/ 26 h 37"/>
                    <a:gd name="T26" fmla="*/ 0 w 38"/>
                    <a:gd name="T27" fmla="*/ 22 h 37"/>
                    <a:gd name="T28" fmla="*/ 0 w 38"/>
                    <a:gd name="T29" fmla="*/ 19 h 37"/>
                    <a:gd name="T30" fmla="*/ 0 w 38"/>
                    <a:gd name="T31" fmla="*/ 19 h 37"/>
                    <a:gd name="T32" fmla="*/ 0 w 38"/>
                    <a:gd name="T33" fmla="*/ 15 h 37"/>
                    <a:gd name="T34" fmla="*/ 1 w 38"/>
                    <a:gd name="T35" fmla="*/ 11 h 37"/>
                    <a:gd name="T36" fmla="*/ 5 w 38"/>
                    <a:gd name="T37" fmla="*/ 5 h 37"/>
                    <a:gd name="T38" fmla="*/ 11 w 38"/>
                    <a:gd name="T39" fmla="*/ 2 h 37"/>
                    <a:gd name="T40" fmla="*/ 15 w 38"/>
                    <a:gd name="T41" fmla="*/ 0 h 37"/>
                    <a:gd name="T42" fmla="*/ 18 w 38"/>
                    <a:gd name="T43" fmla="*/ 0 h 37"/>
                    <a:gd name="T44" fmla="*/ 18 w 38"/>
                    <a:gd name="T45" fmla="*/ 0 h 37"/>
                    <a:gd name="T46" fmla="*/ 22 w 38"/>
                    <a:gd name="T47" fmla="*/ 0 h 37"/>
                    <a:gd name="T48" fmla="*/ 26 w 38"/>
                    <a:gd name="T49" fmla="*/ 2 h 37"/>
                    <a:gd name="T50" fmla="*/ 32 w 38"/>
                    <a:gd name="T51" fmla="*/ 5 h 37"/>
                    <a:gd name="T52" fmla="*/ 35 w 38"/>
                    <a:gd name="T53" fmla="*/ 11 h 37"/>
                    <a:gd name="T54" fmla="*/ 37 w 38"/>
                    <a:gd name="T55" fmla="*/ 15 h 37"/>
                    <a:gd name="T56" fmla="*/ 38 w 38"/>
                    <a:gd name="T57" fmla="*/ 19 h 37"/>
                    <a:gd name="T58" fmla="*/ 38 w 38"/>
                    <a:gd name="T59" fmla="*/ 1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 h="37">
                      <a:moveTo>
                        <a:pt x="38" y="19"/>
                      </a:moveTo>
                      <a:lnTo>
                        <a:pt x="38" y="19"/>
                      </a:lnTo>
                      <a:lnTo>
                        <a:pt x="37" y="22"/>
                      </a:lnTo>
                      <a:lnTo>
                        <a:pt x="35" y="26"/>
                      </a:lnTo>
                      <a:lnTo>
                        <a:pt x="32" y="32"/>
                      </a:lnTo>
                      <a:lnTo>
                        <a:pt x="26" y="36"/>
                      </a:lnTo>
                      <a:lnTo>
                        <a:pt x="22" y="37"/>
                      </a:lnTo>
                      <a:lnTo>
                        <a:pt x="18" y="37"/>
                      </a:lnTo>
                      <a:lnTo>
                        <a:pt x="18" y="37"/>
                      </a:lnTo>
                      <a:lnTo>
                        <a:pt x="15" y="37"/>
                      </a:lnTo>
                      <a:lnTo>
                        <a:pt x="11" y="36"/>
                      </a:lnTo>
                      <a:lnTo>
                        <a:pt x="5" y="32"/>
                      </a:lnTo>
                      <a:lnTo>
                        <a:pt x="1" y="26"/>
                      </a:lnTo>
                      <a:lnTo>
                        <a:pt x="0" y="22"/>
                      </a:lnTo>
                      <a:lnTo>
                        <a:pt x="0" y="19"/>
                      </a:lnTo>
                      <a:lnTo>
                        <a:pt x="0" y="19"/>
                      </a:lnTo>
                      <a:lnTo>
                        <a:pt x="0" y="15"/>
                      </a:lnTo>
                      <a:lnTo>
                        <a:pt x="1" y="11"/>
                      </a:lnTo>
                      <a:lnTo>
                        <a:pt x="5" y="5"/>
                      </a:lnTo>
                      <a:lnTo>
                        <a:pt x="11" y="2"/>
                      </a:lnTo>
                      <a:lnTo>
                        <a:pt x="15" y="0"/>
                      </a:lnTo>
                      <a:lnTo>
                        <a:pt x="18" y="0"/>
                      </a:lnTo>
                      <a:lnTo>
                        <a:pt x="18" y="0"/>
                      </a:lnTo>
                      <a:lnTo>
                        <a:pt x="22" y="0"/>
                      </a:lnTo>
                      <a:lnTo>
                        <a:pt x="26" y="2"/>
                      </a:lnTo>
                      <a:lnTo>
                        <a:pt x="32" y="5"/>
                      </a:lnTo>
                      <a:lnTo>
                        <a:pt x="35" y="11"/>
                      </a:lnTo>
                      <a:lnTo>
                        <a:pt x="37" y="15"/>
                      </a:lnTo>
                      <a:lnTo>
                        <a:pt x="38" y="19"/>
                      </a:lnTo>
                      <a:lnTo>
                        <a:pt x="38"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7" name="Freeform 510"/>
                <p:cNvSpPr>
                  <a:spLocks/>
                </p:cNvSpPr>
                <p:nvPr/>
              </p:nvSpPr>
              <p:spPr bwMode="auto">
                <a:xfrm>
                  <a:off x="3610020" y="2497152"/>
                  <a:ext cx="17463" cy="17463"/>
                </a:xfrm>
                <a:custGeom>
                  <a:avLst/>
                  <a:gdLst>
                    <a:gd name="T0" fmla="*/ 55 w 55"/>
                    <a:gd name="T1" fmla="*/ 28 h 56"/>
                    <a:gd name="T2" fmla="*/ 55 w 55"/>
                    <a:gd name="T3" fmla="*/ 28 h 56"/>
                    <a:gd name="T4" fmla="*/ 55 w 55"/>
                    <a:gd name="T5" fmla="*/ 34 h 56"/>
                    <a:gd name="T6" fmla="*/ 53 w 55"/>
                    <a:gd name="T7" fmla="*/ 39 h 56"/>
                    <a:gd name="T8" fmla="*/ 51 w 55"/>
                    <a:gd name="T9" fmla="*/ 44 h 56"/>
                    <a:gd name="T10" fmla="*/ 47 w 55"/>
                    <a:gd name="T11" fmla="*/ 49 h 56"/>
                    <a:gd name="T12" fmla="*/ 43 w 55"/>
                    <a:gd name="T13" fmla="*/ 52 h 56"/>
                    <a:gd name="T14" fmla="*/ 38 w 55"/>
                    <a:gd name="T15" fmla="*/ 55 h 56"/>
                    <a:gd name="T16" fmla="*/ 33 w 55"/>
                    <a:gd name="T17" fmla="*/ 56 h 56"/>
                    <a:gd name="T18" fmla="*/ 27 w 55"/>
                    <a:gd name="T19" fmla="*/ 56 h 56"/>
                    <a:gd name="T20" fmla="*/ 27 w 55"/>
                    <a:gd name="T21" fmla="*/ 56 h 56"/>
                    <a:gd name="T22" fmla="*/ 22 w 55"/>
                    <a:gd name="T23" fmla="*/ 56 h 56"/>
                    <a:gd name="T24" fmla="*/ 17 w 55"/>
                    <a:gd name="T25" fmla="*/ 55 h 56"/>
                    <a:gd name="T26" fmla="*/ 12 w 55"/>
                    <a:gd name="T27" fmla="*/ 52 h 56"/>
                    <a:gd name="T28" fmla="*/ 7 w 55"/>
                    <a:gd name="T29" fmla="*/ 49 h 56"/>
                    <a:gd name="T30" fmla="*/ 3 w 55"/>
                    <a:gd name="T31" fmla="*/ 44 h 56"/>
                    <a:gd name="T32" fmla="*/ 1 w 55"/>
                    <a:gd name="T33" fmla="*/ 39 h 56"/>
                    <a:gd name="T34" fmla="*/ 0 w 55"/>
                    <a:gd name="T35" fmla="*/ 34 h 56"/>
                    <a:gd name="T36" fmla="*/ 0 w 55"/>
                    <a:gd name="T37" fmla="*/ 28 h 56"/>
                    <a:gd name="T38" fmla="*/ 0 w 55"/>
                    <a:gd name="T39" fmla="*/ 28 h 56"/>
                    <a:gd name="T40" fmla="*/ 0 w 55"/>
                    <a:gd name="T41" fmla="*/ 23 h 56"/>
                    <a:gd name="T42" fmla="*/ 1 w 55"/>
                    <a:gd name="T43" fmla="*/ 18 h 56"/>
                    <a:gd name="T44" fmla="*/ 3 w 55"/>
                    <a:gd name="T45" fmla="*/ 13 h 56"/>
                    <a:gd name="T46" fmla="*/ 7 w 55"/>
                    <a:gd name="T47" fmla="*/ 9 h 56"/>
                    <a:gd name="T48" fmla="*/ 12 w 55"/>
                    <a:gd name="T49" fmla="*/ 5 h 56"/>
                    <a:gd name="T50" fmla="*/ 17 w 55"/>
                    <a:gd name="T51" fmla="*/ 2 h 56"/>
                    <a:gd name="T52" fmla="*/ 22 w 55"/>
                    <a:gd name="T53" fmla="*/ 1 h 56"/>
                    <a:gd name="T54" fmla="*/ 27 w 55"/>
                    <a:gd name="T55" fmla="*/ 0 h 56"/>
                    <a:gd name="T56" fmla="*/ 27 w 55"/>
                    <a:gd name="T57" fmla="*/ 0 h 56"/>
                    <a:gd name="T58" fmla="*/ 33 w 55"/>
                    <a:gd name="T59" fmla="*/ 1 h 56"/>
                    <a:gd name="T60" fmla="*/ 38 w 55"/>
                    <a:gd name="T61" fmla="*/ 2 h 56"/>
                    <a:gd name="T62" fmla="*/ 43 w 55"/>
                    <a:gd name="T63" fmla="*/ 5 h 56"/>
                    <a:gd name="T64" fmla="*/ 47 w 55"/>
                    <a:gd name="T65" fmla="*/ 9 h 56"/>
                    <a:gd name="T66" fmla="*/ 51 w 55"/>
                    <a:gd name="T67" fmla="*/ 13 h 56"/>
                    <a:gd name="T68" fmla="*/ 53 w 55"/>
                    <a:gd name="T69" fmla="*/ 18 h 56"/>
                    <a:gd name="T70" fmla="*/ 55 w 55"/>
                    <a:gd name="T71" fmla="*/ 23 h 56"/>
                    <a:gd name="T72" fmla="*/ 55 w 55"/>
                    <a:gd name="T73" fmla="*/ 28 h 56"/>
                    <a:gd name="T74" fmla="*/ 55 w 55"/>
                    <a:gd name="T75"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6">
                      <a:moveTo>
                        <a:pt x="55" y="28"/>
                      </a:moveTo>
                      <a:lnTo>
                        <a:pt x="55" y="28"/>
                      </a:lnTo>
                      <a:lnTo>
                        <a:pt x="55" y="34"/>
                      </a:lnTo>
                      <a:lnTo>
                        <a:pt x="53" y="39"/>
                      </a:lnTo>
                      <a:lnTo>
                        <a:pt x="51" y="44"/>
                      </a:lnTo>
                      <a:lnTo>
                        <a:pt x="47" y="49"/>
                      </a:lnTo>
                      <a:lnTo>
                        <a:pt x="43" y="52"/>
                      </a:lnTo>
                      <a:lnTo>
                        <a:pt x="38" y="55"/>
                      </a:lnTo>
                      <a:lnTo>
                        <a:pt x="33" y="56"/>
                      </a:lnTo>
                      <a:lnTo>
                        <a:pt x="27" y="56"/>
                      </a:lnTo>
                      <a:lnTo>
                        <a:pt x="27" y="56"/>
                      </a:lnTo>
                      <a:lnTo>
                        <a:pt x="22" y="56"/>
                      </a:lnTo>
                      <a:lnTo>
                        <a:pt x="17" y="55"/>
                      </a:lnTo>
                      <a:lnTo>
                        <a:pt x="12" y="52"/>
                      </a:lnTo>
                      <a:lnTo>
                        <a:pt x="7" y="49"/>
                      </a:lnTo>
                      <a:lnTo>
                        <a:pt x="3" y="44"/>
                      </a:lnTo>
                      <a:lnTo>
                        <a:pt x="1" y="39"/>
                      </a:lnTo>
                      <a:lnTo>
                        <a:pt x="0" y="34"/>
                      </a:lnTo>
                      <a:lnTo>
                        <a:pt x="0" y="28"/>
                      </a:lnTo>
                      <a:lnTo>
                        <a:pt x="0" y="28"/>
                      </a:lnTo>
                      <a:lnTo>
                        <a:pt x="0" y="23"/>
                      </a:lnTo>
                      <a:lnTo>
                        <a:pt x="1" y="18"/>
                      </a:lnTo>
                      <a:lnTo>
                        <a:pt x="3" y="13"/>
                      </a:lnTo>
                      <a:lnTo>
                        <a:pt x="7" y="9"/>
                      </a:lnTo>
                      <a:lnTo>
                        <a:pt x="12" y="5"/>
                      </a:lnTo>
                      <a:lnTo>
                        <a:pt x="17" y="2"/>
                      </a:lnTo>
                      <a:lnTo>
                        <a:pt x="22" y="1"/>
                      </a:lnTo>
                      <a:lnTo>
                        <a:pt x="27" y="0"/>
                      </a:lnTo>
                      <a:lnTo>
                        <a:pt x="27" y="0"/>
                      </a:lnTo>
                      <a:lnTo>
                        <a:pt x="33" y="1"/>
                      </a:lnTo>
                      <a:lnTo>
                        <a:pt x="38" y="2"/>
                      </a:lnTo>
                      <a:lnTo>
                        <a:pt x="43" y="5"/>
                      </a:lnTo>
                      <a:lnTo>
                        <a:pt x="47" y="9"/>
                      </a:lnTo>
                      <a:lnTo>
                        <a:pt x="51" y="13"/>
                      </a:lnTo>
                      <a:lnTo>
                        <a:pt x="53" y="18"/>
                      </a:lnTo>
                      <a:lnTo>
                        <a:pt x="55" y="23"/>
                      </a:lnTo>
                      <a:lnTo>
                        <a:pt x="55" y="28"/>
                      </a:lnTo>
                      <a:lnTo>
                        <a:pt x="55"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8" name="Freeform 511"/>
                <p:cNvSpPr>
                  <a:spLocks/>
                </p:cNvSpPr>
                <p:nvPr/>
              </p:nvSpPr>
              <p:spPr bwMode="auto">
                <a:xfrm>
                  <a:off x="3663995" y="2466989"/>
                  <a:ext cx="52388" cy="63501"/>
                </a:xfrm>
                <a:custGeom>
                  <a:avLst/>
                  <a:gdLst>
                    <a:gd name="T0" fmla="*/ 123 w 164"/>
                    <a:gd name="T1" fmla="*/ 199 h 199"/>
                    <a:gd name="T2" fmla="*/ 0 w 164"/>
                    <a:gd name="T3" fmla="*/ 156 h 199"/>
                    <a:gd name="T4" fmla="*/ 6 w 164"/>
                    <a:gd name="T5" fmla="*/ 0 h 199"/>
                    <a:gd name="T6" fmla="*/ 164 w 164"/>
                    <a:gd name="T7" fmla="*/ 99 h 199"/>
                    <a:gd name="T8" fmla="*/ 123 w 164"/>
                    <a:gd name="T9" fmla="*/ 199 h 199"/>
                  </a:gdLst>
                  <a:ahLst/>
                  <a:cxnLst>
                    <a:cxn ang="0">
                      <a:pos x="T0" y="T1"/>
                    </a:cxn>
                    <a:cxn ang="0">
                      <a:pos x="T2" y="T3"/>
                    </a:cxn>
                    <a:cxn ang="0">
                      <a:pos x="T4" y="T5"/>
                    </a:cxn>
                    <a:cxn ang="0">
                      <a:pos x="T6" y="T7"/>
                    </a:cxn>
                    <a:cxn ang="0">
                      <a:pos x="T8" y="T9"/>
                    </a:cxn>
                  </a:cxnLst>
                  <a:rect l="0" t="0" r="r" b="b"/>
                  <a:pathLst>
                    <a:path w="164" h="199">
                      <a:moveTo>
                        <a:pt x="123" y="199"/>
                      </a:moveTo>
                      <a:lnTo>
                        <a:pt x="0" y="156"/>
                      </a:lnTo>
                      <a:lnTo>
                        <a:pt x="6" y="0"/>
                      </a:lnTo>
                      <a:lnTo>
                        <a:pt x="164" y="99"/>
                      </a:lnTo>
                      <a:lnTo>
                        <a:pt x="123" y="199"/>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9" name="Freeform 512"/>
                <p:cNvSpPr>
                  <a:spLocks/>
                </p:cNvSpPr>
                <p:nvPr/>
              </p:nvSpPr>
              <p:spPr bwMode="auto">
                <a:xfrm>
                  <a:off x="3635420" y="2562240"/>
                  <a:ext cx="38100" cy="6350"/>
                </a:xfrm>
                <a:custGeom>
                  <a:avLst/>
                  <a:gdLst>
                    <a:gd name="T0" fmla="*/ 119 w 119"/>
                    <a:gd name="T1" fmla="*/ 0 h 20"/>
                    <a:gd name="T2" fmla="*/ 119 w 119"/>
                    <a:gd name="T3" fmla="*/ 0 h 20"/>
                    <a:gd name="T4" fmla="*/ 119 w 119"/>
                    <a:gd name="T5" fmla="*/ 3 h 20"/>
                    <a:gd name="T6" fmla="*/ 117 w 119"/>
                    <a:gd name="T7" fmla="*/ 4 h 20"/>
                    <a:gd name="T8" fmla="*/ 111 w 119"/>
                    <a:gd name="T9" fmla="*/ 8 h 20"/>
                    <a:gd name="T10" fmla="*/ 100 w 119"/>
                    <a:gd name="T11" fmla="*/ 11 h 20"/>
                    <a:gd name="T12" fmla="*/ 85 w 119"/>
                    <a:gd name="T13" fmla="*/ 15 h 20"/>
                    <a:gd name="T14" fmla="*/ 67 w 119"/>
                    <a:gd name="T15" fmla="*/ 17 h 20"/>
                    <a:gd name="T16" fmla="*/ 46 w 119"/>
                    <a:gd name="T17" fmla="*/ 19 h 20"/>
                    <a:gd name="T18" fmla="*/ 24 w 119"/>
                    <a:gd name="T19" fmla="*/ 20 h 20"/>
                    <a:gd name="T20" fmla="*/ 0 w 119"/>
                    <a:gd name="T21" fmla="*/ 20 h 20"/>
                    <a:gd name="T22" fmla="*/ 0 w 119"/>
                    <a:gd name="T23" fmla="*/ 0 h 20"/>
                    <a:gd name="T24" fmla="*/ 119 w 119"/>
                    <a:gd name="T2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9" h="20">
                      <a:moveTo>
                        <a:pt x="119" y="0"/>
                      </a:moveTo>
                      <a:lnTo>
                        <a:pt x="119" y="0"/>
                      </a:lnTo>
                      <a:lnTo>
                        <a:pt x="119" y="3"/>
                      </a:lnTo>
                      <a:lnTo>
                        <a:pt x="117" y="4"/>
                      </a:lnTo>
                      <a:lnTo>
                        <a:pt x="111" y="8"/>
                      </a:lnTo>
                      <a:lnTo>
                        <a:pt x="100" y="11"/>
                      </a:lnTo>
                      <a:lnTo>
                        <a:pt x="85" y="15"/>
                      </a:lnTo>
                      <a:lnTo>
                        <a:pt x="67" y="17"/>
                      </a:lnTo>
                      <a:lnTo>
                        <a:pt x="46" y="19"/>
                      </a:lnTo>
                      <a:lnTo>
                        <a:pt x="24" y="20"/>
                      </a:lnTo>
                      <a:lnTo>
                        <a:pt x="0" y="20"/>
                      </a:lnTo>
                      <a:lnTo>
                        <a:pt x="0" y="0"/>
                      </a:lnTo>
                      <a:lnTo>
                        <a:pt x="119"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0" name="Freeform 513"/>
                <p:cNvSpPr>
                  <a:spLocks/>
                </p:cNvSpPr>
                <p:nvPr/>
              </p:nvSpPr>
              <p:spPr bwMode="auto">
                <a:xfrm>
                  <a:off x="3635420" y="2316175"/>
                  <a:ext cx="55563" cy="212727"/>
                </a:xfrm>
                <a:custGeom>
                  <a:avLst/>
                  <a:gdLst>
                    <a:gd name="T0" fmla="*/ 0 w 173"/>
                    <a:gd name="T1" fmla="*/ 0 h 669"/>
                    <a:gd name="T2" fmla="*/ 0 w 173"/>
                    <a:gd name="T3" fmla="*/ 669 h 669"/>
                    <a:gd name="T4" fmla="*/ 102 w 173"/>
                    <a:gd name="T5" fmla="*/ 669 h 669"/>
                    <a:gd name="T6" fmla="*/ 102 w 173"/>
                    <a:gd name="T7" fmla="*/ 669 h 669"/>
                    <a:gd name="T8" fmla="*/ 106 w 173"/>
                    <a:gd name="T9" fmla="*/ 665 h 669"/>
                    <a:gd name="T10" fmla="*/ 113 w 173"/>
                    <a:gd name="T11" fmla="*/ 651 h 669"/>
                    <a:gd name="T12" fmla="*/ 125 w 173"/>
                    <a:gd name="T13" fmla="*/ 629 h 669"/>
                    <a:gd name="T14" fmla="*/ 137 w 173"/>
                    <a:gd name="T15" fmla="*/ 599 h 669"/>
                    <a:gd name="T16" fmla="*/ 145 w 173"/>
                    <a:gd name="T17" fmla="*/ 580 h 669"/>
                    <a:gd name="T18" fmla="*/ 151 w 173"/>
                    <a:gd name="T19" fmla="*/ 560 h 669"/>
                    <a:gd name="T20" fmla="*/ 157 w 173"/>
                    <a:gd name="T21" fmla="*/ 538 h 669"/>
                    <a:gd name="T22" fmla="*/ 162 w 173"/>
                    <a:gd name="T23" fmla="*/ 513 h 669"/>
                    <a:gd name="T24" fmla="*/ 167 w 173"/>
                    <a:gd name="T25" fmla="*/ 487 h 669"/>
                    <a:gd name="T26" fmla="*/ 170 w 173"/>
                    <a:gd name="T27" fmla="*/ 458 h 669"/>
                    <a:gd name="T28" fmla="*/ 172 w 173"/>
                    <a:gd name="T29" fmla="*/ 429 h 669"/>
                    <a:gd name="T30" fmla="*/ 173 w 173"/>
                    <a:gd name="T31" fmla="*/ 398 h 669"/>
                    <a:gd name="T32" fmla="*/ 173 w 173"/>
                    <a:gd name="T33" fmla="*/ 398 h 669"/>
                    <a:gd name="T34" fmla="*/ 173 w 173"/>
                    <a:gd name="T35" fmla="*/ 382 h 669"/>
                    <a:gd name="T36" fmla="*/ 172 w 173"/>
                    <a:gd name="T37" fmla="*/ 365 h 669"/>
                    <a:gd name="T38" fmla="*/ 167 w 173"/>
                    <a:gd name="T39" fmla="*/ 330 h 669"/>
                    <a:gd name="T40" fmla="*/ 159 w 173"/>
                    <a:gd name="T41" fmla="*/ 296 h 669"/>
                    <a:gd name="T42" fmla="*/ 151 w 173"/>
                    <a:gd name="T43" fmla="*/ 262 h 669"/>
                    <a:gd name="T44" fmla="*/ 139 w 173"/>
                    <a:gd name="T45" fmla="*/ 229 h 669"/>
                    <a:gd name="T46" fmla="*/ 127 w 173"/>
                    <a:gd name="T47" fmla="*/ 196 h 669"/>
                    <a:gd name="T48" fmla="*/ 113 w 173"/>
                    <a:gd name="T49" fmla="*/ 165 h 669"/>
                    <a:gd name="T50" fmla="*/ 98 w 173"/>
                    <a:gd name="T51" fmla="*/ 134 h 669"/>
                    <a:gd name="T52" fmla="*/ 84 w 173"/>
                    <a:gd name="T53" fmla="*/ 106 h 669"/>
                    <a:gd name="T54" fmla="*/ 69 w 173"/>
                    <a:gd name="T55" fmla="*/ 81 h 669"/>
                    <a:gd name="T56" fmla="*/ 55 w 173"/>
                    <a:gd name="T57" fmla="*/ 57 h 669"/>
                    <a:gd name="T58" fmla="*/ 40 w 173"/>
                    <a:gd name="T59" fmla="*/ 38 h 669"/>
                    <a:gd name="T60" fmla="*/ 28 w 173"/>
                    <a:gd name="T61" fmla="*/ 22 h 669"/>
                    <a:gd name="T62" fmla="*/ 17 w 173"/>
                    <a:gd name="T63" fmla="*/ 11 h 669"/>
                    <a:gd name="T64" fmla="*/ 7 w 173"/>
                    <a:gd name="T65" fmla="*/ 4 h 669"/>
                    <a:gd name="T66" fmla="*/ 3 w 173"/>
                    <a:gd name="T67" fmla="*/ 1 h 669"/>
                    <a:gd name="T68" fmla="*/ 0 w 173"/>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669">
                      <a:moveTo>
                        <a:pt x="0" y="0"/>
                      </a:moveTo>
                      <a:lnTo>
                        <a:pt x="0" y="669"/>
                      </a:lnTo>
                      <a:lnTo>
                        <a:pt x="102" y="669"/>
                      </a:lnTo>
                      <a:lnTo>
                        <a:pt x="102" y="669"/>
                      </a:lnTo>
                      <a:lnTo>
                        <a:pt x="106" y="665"/>
                      </a:lnTo>
                      <a:lnTo>
                        <a:pt x="113" y="651"/>
                      </a:lnTo>
                      <a:lnTo>
                        <a:pt x="125" y="629"/>
                      </a:lnTo>
                      <a:lnTo>
                        <a:pt x="137" y="599"/>
                      </a:lnTo>
                      <a:lnTo>
                        <a:pt x="145" y="580"/>
                      </a:lnTo>
                      <a:lnTo>
                        <a:pt x="151" y="560"/>
                      </a:lnTo>
                      <a:lnTo>
                        <a:pt x="157" y="538"/>
                      </a:lnTo>
                      <a:lnTo>
                        <a:pt x="162" y="513"/>
                      </a:lnTo>
                      <a:lnTo>
                        <a:pt x="167" y="487"/>
                      </a:lnTo>
                      <a:lnTo>
                        <a:pt x="170" y="458"/>
                      </a:lnTo>
                      <a:lnTo>
                        <a:pt x="172" y="429"/>
                      </a:lnTo>
                      <a:lnTo>
                        <a:pt x="173" y="398"/>
                      </a:lnTo>
                      <a:lnTo>
                        <a:pt x="173" y="398"/>
                      </a:lnTo>
                      <a:lnTo>
                        <a:pt x="173" y="382"/>
                      </a:lnTo>
                      <a:lnTo>
                        <a:pt x="172" y="365"/>
                      </a:lnTo>
                      <a:lnTo>
                        <a:pt x="167" y="330"/>
                      </a:lnTo>
                      <a:lnTo>
                        <a:pt x="159" y="296"/>
                      </a:lnTo>
                      <a:lnTo>
                        <a:pt x="151" y="262"/>
                      </a:lnTo>
                      <a:lnTo>
                        <a:pt x="139" y="229"/>
                      </a:lnTo>
                      <a:lnTo>
                        <a:pt x="127" y="196"/>
                      </a:lnTo>
                      <a:lnTo>
                        <a:pt x="113" y="165"/>
                      </a:lnTo>
                      <a:lnTo>
                        <a:pt x="98" y="134"/>
                      </a:lnTo>
                      <a:lnTo>
                        <a:pt x="84" y="106"/>
                      </a:lnTo>
                      <a:lnTo>
                        <a:pt x="69" y="81"/>
                      </a:lnTo>
                      <a:lnTo>
                        <a:pt x="55" y="57"/>
                      </a:lnTo>
                      <a:lnTo>
                        <a:pt x="40" y="38"/>
                      </a:lnTo>
                      <a:lnTo>
                        <a:pt x="28" y="22"/>
                      </a:lnTo>
                      <a:lnTo>
                        <a:pt x="17" y="11"/>
                      </a:lnTo>
                      <a:lnTo>
                        <a:pt x="7" y="4"/>
                      </a:lnTo>
                      <a:lnTo>
                        <a:pt x="3" y="1"/>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1" name="Freeform 514"/>
                <p:cNvSpPr>
                  <a:spLocks/>
                </p:cNvSpPr>
                <p:nvPr/>
              </p:nvSpPr>
              <p:spPr bwMode="auto">
                <a:xfrm>
                  <a:off x="3635420" y="2316175"/>
                  <a:ext cx="55563" cy="212727"/>
                </a:xfrm>
                <a:custGeom>
                  <a:avLst/>
                  <a:gdLst>
                    <a:gd name="T0" fmla="*/ 0 w 173"/>
                    <a:gd name="T1" fmla="*/ 0 h 669"/>
                    <a:gd name="T2" fmla="*/ 0 w 173"/>
                    <a:gd name="T3" fmla="*/ 669 h 669"/>
                    <a:gd name="T4" fmla="*/ 102 w 173"/>
                    <a:gd name="T5" fmla="*/ 669 h 669"/>
                    <a:gd name="T6" fmla="*/ 102 w 173"/>
                    <a:gd name="T7" fmla="*/ 669 h 669"/>
                    <a:gd name="T8" fmla="*/ 106 w 173"/>
                    <a:gd name="T9" fmla="*/ 665 h 669"/>
                    <a:gd name="T10" fmla="*/ 113 w 173"/>
                    <a:gd name="T11" fmla="*/ 651 h 669"/>
                    <a:gd name="T12" fmla="*/ 125 w 173"/>
                    <a:gd name="T13" fmla="*/ 629 h 669"/>
                    <a:gd name="T14" fmla="*/ 137 w 173"/>
                    <a:gd name="T15" fmla="*/ 599 h 669"/>
                    <a:gd name="T16" fmla="*/ 145 w 173"/>
                    <a:gd name="T17" fmla="*/ 580 h 669"/>
                    <a:gd name="T18" fmla="*/ 151 w 173"/>
                    <a:gd name="T19" fmla="*/ 560 h 669"/>
                    <a:gd name="T20" fmla="*/ 157 w 173"/>
                    <a:gd name="T21" fmla="*/ 538 h 669"/>
                    <a:gd name="T22" fmla="*/ 162 w 173"/>
                    <a:gd name="T23" fmla="*/ 513 h 669"/>
                    <a:gd name="T24" fmla="*/ 167 w 173"/>
                    <a:gd name="T25" fmla="*/ 487 h 669"/>
                    <a:gd name="T26" fmla="*/ 170 w 173"/>
                    <a:gd name="T27" fmla="*/ 458 h 669"/>
                    <a:gd name="T28" fmla="*/ 172 w 173"/>
                    <a:gd name="T29" fmla="*/ 429 h 669"/>
                    <a:gd name="T30" fmla="*/ 173 w 173"/>
                    <a:gd name="T31" fmla="*/ 398 h 669"/>
                    <a:gd name="T32" fmla="*/ 173 w 173"/>
                    <a:gd name="T33" fmla="*/ 398 h 669"/>
                    <a:gd name="T34" fmla="*/ 173 w 173"/>
                    <a:gd name="T35" fmla="*/ 382 h 669"/>
                    <a:gd name="T36" fmla="*/ 172 w 173"/>
                    <a:gd name="T37" fmla="*/ 365 h 669"/>
                    <a:gd name="T38" fmla="*/ 167 w 173"/>
                    <a:gd name="T39" fmla="*/ 330 h 669"/>
                    <a:gd name="T40" fmla="*/ 159 w 173"/>
                    <a:gd name="T41" fmla="*/ 296 h 669"/>
                    <a:gd name="T42" fmla="*/ 151 w 173"/>
                    <a:gd name="T43" fmla="*/ 262 h 669"/>
                    <a:gd name="T44" fmla="*/ 139 w 173"/>
                    <a:gd name="T45" fmla="*/ 229 h 669"/>
                    <a:gd name="T46" fmla="*/ 127 w 173"/>
                    <a:gd name="T47" fmla="*/ 196 h 669"/>
                    <a:gd name="T48" fmla="*/ 113 w 173"/>
                    <a:gd name="T49" fmla="*/ 165 h 669"/>
                    <a:gd name="T50" fmla="*/ 98 w 173"/>
                    <a:gd name="T51" fmla="*/ 134 h 669"/>
                    <a:gd name="T52" fmla="*/ 84 w 173"/>
                    <a:gd name="T53" fmla="*/ 106 h 669"/>
                    <a:gd name="T54" fmla="*/ 69 w 173"/>
                    <a:gd name="T55" fmla="*/ 81 h 669"/>
                    <a:gd name="T56" fmla="*/ 55 w 173"/>
                    <a:gd name="T57" fmla="*/ 57 h 669"/>
                    <a:gd name="T58" fmla="*/ 40 w 173"/>
                    <a:gd name="T59" fmla="*/ 38 h 669"/>
                    <a:gd name="T60" fmla="*/ 28 w 173"/>
                    <a:gd name="T61" fmla="*/ 22 h 669"/>
                    <a:gd name="T62" fmla="*/ 17 w 173"/>
                    <a:gd name="T63" fmla="*/ 11 h 669"/>
                    <a:gd name="T64" fmla="*/ 7 w 173"/>
                    <a:gd name="T65" fmla="*/ 4 h 669"/>
                    <a:gd name="T66" fmla="*/ 3 w 173"/>
                    <a:gd name="T67" fmla="*/ 1 h 669"/>
                    <a:gd name="T68" fmla="*/ 0 w 173"/>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669">
                      <a:moveTo>
                        <a:pt x="0" y="0"/>
                      </a:moveTo>
                      <a:lnTo>
                        <a:pt x="0" y="669"/>
                      </a:lnTo>
                      <a:lnTo>
                        <a:pt x="102" y="669"/>
                      </a:lnTo>
                      <a:lnTo>
                        <a:pt x="102" y="669"/>
                      </a:lnTo>
                      <a:lnTo>
                        <a:pt x="106" y="665"/>
                      </a:lnTo>
                      <a:lnTo>
                        <a:pt x="113" y="651"/>
                      </a:lnTo>
                      <a:lnTo>
                        <a:pt x="125" y="629"/>
                      </a:lnTo>
                      <a:lnTo>
                        <a:pt x="137" y="599"/>
                      </a:lnTo>
                      <a:lnTo>
                        <a:pt x="145" y="580"/>
                      </a:lnTo>
                      <a:lnTo>
                        <a:pt x="151" y="560"/>
                      </a:lnTo>
                      <a:lnTo>
                        <a:pt x="157" y="538"/>
                      </a:lnTo>
                      <a:lnTo>
                        <a:pt x="162" y="513"/>
                      </a:lnTo>
                      <a:lnTo>
                        <a:pt x="167" y="487"/>
                      </a:lnTo>
                      <a:lnTo>
                        <a:pt x="170" y="458"/>
                      </a:lnTo>
                      <a:lnTo>
                        <a:pt x="172" y="429"/>
                      </a:lnTo>
                      <a:lnTo>
                        <a:pt x="173" y="398"/>
                      </a:lnTo>
                      <a:lnTo>
                        <a:pt x="173" y="398"/>
                      </a:lnTo>
                      <a:lnTo>
                        <a:pt x="173" y="382"/>
                      </a:lnTo>
                      <a:lnTo>
                        <a:pt x="172" y="365"/>
                      </a:lnTo>
                      <a:lnTo>
                        <a:pt x="167" y="330"/>
                      </a:lnTo>
                      <a:lnTo>
                        <a:pt x="159" y="296"/>
                      </a:lnTo>
                      <a:lnTo>
                        <a:pt x="151" y="262"/>
                      </a:lnTo>
                      <a:lnTo>
                        <a:pt x="139" y="229"/>
                      </a:lnTo>
                      <a:lnTo>
                        <a:pt x="127" y="196"/>
                      </a:lnTo>
                      <a:lnTo>
                        <a:pt x="113" y="165"/>
                      </a:lnTo>
                      <a:lnTo>
                        <a:pt x="98" y="134"/>
                      </a:lnTo>
                      <a:lnTo>
                        <a:pt x="84" y="106"/>
                      </a:lnTo>
                      <a:lnTo>
                        <a:pt x="69" y="81"/>
                      </a:lnTo>
                      <a:lnTo>
                        <a:pt x="55" y="57"/>
                      </a:lnTo>
                      <a:lnTo>
                        <a:pt x="40" y="38"/>
                      </a:lnTo>
                      <a:lnTo>
                        <a:pt x="28" y="22"/>
                      </a:lnTo>
                      <a:lnTo>
                        <a:pt x="17" y="11"/>
                      </a:lnTo>
                      <a:lnTo>
                        <a:pt x="7" y="4"/>
                      </a:lnTo>
                      <a:lnTo>
                        <a:pt x="3"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2" name="Freeform 515"/>
                <p:cNvSpPr>
                  <a:spLocks/>
                </p:cNvSpPr>
                <p:nvPr/>
              </p:nvSpPr>
              <p:spPr bwMode="auto">
                <a:xfrm>
                  <a:off x="3635420" y="2316175"/>
                  <a:ext cx="28575" cy="42863"/>
                </a:xfrm>
                <a:custGeom>
                  <a:avLst/>
                  <a:gdLst>
                    <a:gd name="T0" fmla="*/ 88 w 88"/>
                    <a:gd name="T1" fmla="*/ 113 h 132"/>
                    <a:gd name="T2" fmla="*/ 88 w 88"/>
                    <a:gd name="T3" fmla="*/ 113 h 132"/>
                    <a:gd name="T4" fmla="*/ 68 w 88"/>
                    <a:gd name="T5" fmla="*/ 121 h 132"/>
                    <a:gd name="T6" fmla="*/ 46 w 88"/>
                    <a:gd name="T7" fmla="*/ 127 h 132"/>
                    <a:gd name="T8" fmla="*/ 23 w 88"/>
                    <a:gd name="T9" fmla="*/ 131 h 132"/>
                    <a:gd name="T10" fmla="*/ 0 w 88"/>
                    <a:gd name="T11" fmla="*/ 132 h 132"/>
                    <a:gd name="T12" fmla="*/ 0 w 88"/>
                    <a:gd name="T13" fmla="*/ 0 h 132"/>
                    <a:gd name="T14" fmla="*/ 0 w 88"/>
                    <a:gd name="T15" fmla="*/ 0 h 132"/>
                    <a:gd name="T16" fmla="*/ 2 w 88"/>
                    <a:gd name="T17" fmla="*/ 1 h 132"/>
                    <a:gd name="T18" fmla="*/ 6 w 88"/>
                    <a:gd name="T19" fmla="*/ 3 h 132"/>
                    <a:gd name="T20" fmla="*/ 14 w 88"/>
                    <a:gd name="T21" fmla="*/ 9 h 132"/>
                    <a:gd name="T22" fmla="*/ 24 w 88"/>
                    <a:gd name="T23" fmla="*/ 18 h 132"/>
                    <a:gd name="T24" fmla="*/ 35 w 88"/>
                    <a:gd name="T25" fmla="*/ 32 h 132"/>
                    <a:gd name="T26" fmla="*/ 47 w 88"/>
                    <a:gd name="T27" fmla="*/ 49 h 132"/>
                    <a:gd name="T28" fmla="*/ 61 w 88"/>
                    <a:gd name="T29" fmla="*/ 67 h 132"/>
                    <a:gd name="T30" fmla="*/ 74 w 88"/>
                    <a:gd name="T31" fmla="*/ 89 h 132"/>
                    <a:gd name="T32" fmla="*/ 88 w 88"/>
                    <a:gd name="T33" fmla="*/ 113 h 132"/>
                    <a:gd name="T34" fmla="*/ 88 w 88"/>
                    <a:gd name="T35" fmla="*/ 11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132">
                      <a:moveTo>
                        <a:pt x="88" y="113"/>
                      </a:moveTo>
                      <a:lnTo>
                        <a:pt x="88" y="113"/>
                      </a:lnTo>
                      <a:lnTo>
                        <a:pt x="68" y="121"/>
                      </a:lnTo>
                      <a:lnTo>
                        <a:pt x="46" y="127"/>
                      </a:lnTo>
                      <a:lnTo>
                        <a:pt x="23" y="131"/>
                      </a:lnTo>
                      <a:lnTo>
                        <a:pt x="0" y="132"/>
                      </a:lnTo>
                      <a:lnTo>
                        <a:pt x="0" y="0"/>
                      </a:lnTo>
                      <a:lnTo>
                        <a:pt x="0" y="0"/>
                      </a:lnTo>
                      <a:lnTo>
                        <a:pt x="2" y="1"/>
                      </a:lnTo>
                      <a:lnTo>
                        <a:pt x="6" y="3"/>
                      </a:lnTo>
                      <a:lnTo>
                        <a:pt x="14" y="9"/>
                      </a:lnTo>
                      <a:lnTo>
                        <a:pt x="24" y="18"/>
                      </a:lnTo>
                      <a:lnTo>
                        <a:pt x="35" y="32"/>
                      </a:lnTo>
                      <a:lnTo>
                        <a:pt x="47" y="49"/>
                      </a:lnTo>
                      <a:lnTo>
                        <a:pt x="61" y="67"/>
                      </a:lnTo>
                      <a:lnTo>
                        <a:pt x="74" y="89"/>
                      </a:lnTo>
                      <a:lnTo>
                        <a:pt x="88" y="113"/>
                      </a:lnTo>
                      <a:lnTo>
                        <a:pt x="88" y="113"/>
                      </a:lnTo>
                      <a:close/>
                    </a:path>
                  </a:pathLst>
                </a:custGeom>
                <a:solidFill>
                  <a:srgbClr val="FF6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3" name="Freeform 516"/>
                <p:cNvSpPr>
                  <a:spLocks/>
                </p:cNvSpPr>
                <p:nvPr/>
              </p:nvSpPr>
              <p:spPr bwMode="auto">
                <a:xfrm>
                  <a:off x="3689395" y="2498739"/>
                  <a:ext cx="38100" cy="73026"/>
                </a:xfrm>
                <a:custGeom>
                  <a:avLst/>
                  <a:gdLst>
                    <a:gd name="T0" fmla="*/ 11 w 120"/>
                    <a:gd name="T1" fmla="*/ 234 h 234"/>
                    <a:gd name="T2" fmla="*/ 0 w 120"/>
                    <a:gd name="T3" fmla="*/ 189 h 234"/>
                    <a:gd name="T4" fmla="*/ 82 w 120"/>
                    <a:gd name="T5" fmla="*/ 0 h 234"/>
                    <a:gd name="T6" fmla="*/ 120 w 120"/>
                    <a:gd name="T7" fmla="*/ 23 h 234"/>
                    <a:gd name="T8" fmla="*/ 11 w 120"/>
                    <a:gd name="T9" fmla="*/ 234 h 234"/>
                  </a:gdLst>
                  <a:ahLst/>
                  <a:cxnLst>
                    <a:cxn ang="0">
                      <a:pos x="T0" y="T1"/>
                    </a:cxn>
                    <a:cxn ang="0">
                      <a:pos x="T2" y="T3"/>
                    </a:cxn>
                    <a:cxn ang="0">
                      <a:pos x="T4" y="T5"/>
                    </a:cxn>
                    <a:cxn ang="0">
                      <a:pos x="T6" y="T7"/>
                    </a:cxn>
                    <a:cxn ang="0">
                      <a:pos x="T8" y="T9"/>
                    </a:cxn>
                  </a:cxnLst>
                  <a:rect l="0" t="0" r="r" b="b"/>
                  <a:pathLst>
                    <a:path w="120" h="234">
                      <a:moveTo>
                        <a:pt x="11" y="234"/>
                      </a:moveTo>
                      <a:lnTo>
                        <a:pt x="0" y="189"/>
                      </a:lnTo>
                      <a:lnTo>
                        <a:pt x="82" y="0"/>
                      </a:lnTo>
                      <a:lnTo>
                        <a:pt x="120" y="23"/>
                      </a:lnTo>
                      <a:lnTo>
                        <a:pt x="11" y="234"/>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4" name="Freeform 517"/>
                <p:cNvSpPr>
                  <a:spLocks/>
                </p:cNvSpPr>
                <p:nvPr/>
              </p:nvSpPr>
              <p:spPr bwMode="auto">
                <a:xfrm>
                  <a:off x="3635420" y="2409839"/>
                  <a:ext cx="26988" cy="53975"/>
                </a:xfrm>
                <a:custGeom>
                  <a:avLst/>
                  <a:gdLst>
                    <a:gd name="T0" fmla="*/ 0 w 84"/>
                    <a:gd name="T1" fmla="*/ 0 h 168"/>
                    <a:gd name="T2" fmla="*/ 0 w 84"/>
                    <a:gd name="T3" fmla="*/ 168 h 168"/>
                    <a:gd name="T4" fmla="*/ 0 w 84"/>
                    <a:gd name="T5" fmla="*/ 168 h 168"/>
                    <a:gd name="T6" fmla="*/ 8 w 84"/>
                    <a:gd name="T7" fmla="*/ 167 h 168"/>
                    <a:gd name="T8" fmla="*/ 17 w 84"/>
                    <a:gd name="T9" fmla="*/ 166 h 168"/>
                    <a:gd name="T10" fmla="*/ 24 w 84"/>
                    <a:gd name="T11" fmla="*/ 163 h 168"/>
                    <a:gd name="T12" fmla="*/ 33 w 84"/>
                    <a:gd name="T13" fmla="*/ 161 h 168"/>
                    <a:gd name="T14" fmla="*/ 40 w 84"/>
                    <a:gd name="T15" fmla="*/ 157 h 168"/>
                    <a:gd name="T16" fmla="*/ 47 w 84"/>
                    <a:gd name="T17" fmla="*/ 154 h 168"/>
                    <a:gd name="T18" fmla="*/ 53 w 84"/>
                    <a:gd name="T19" fmla="*/ 149 h 168"/>
                    <a:gd name="T20" fmla="*/ 59 w 84"/>
                    <a:gd name="T21" fmla="*/ 143 h 168"/>
                    <a:gd name="T22" fmla="*/ 64 w 84"/>
                    <a:gd name="T23" fmla="*/ 138 h 168"/>
                    <a:gd name="T24" fmla="*/ 69 w 84"/>
                    <a:gd name="T25" fmla="*/ 130 h 168"/>
                    <a:gd name="T26" fmla="*/ 74 w 84"/>
                    <a:gd name="T27" fmla="*/ 124 h 168"/>
                    <a:gd name="T28" fmla="*/ 77 w 84"/>
                    <a:gd name="T29" fmla="*/ 117 h 168"/>
                    <a:gd name="T30" fmla="*/ 80 w 84"/>
                    <a:gd name="T31" fmla="*/ 108 h 168"/>
                    <a:gd name="T32" fmla="*/ 81 w 84"/>
                    <a:gd name="T33" fmla="*/ 101 h 168"/>
                    <a:gd name="T34" fmla="*/ 84 w 84"/>
                    <a:gd name="T35" fmla="*/ 93 h 168"/>
                    <a:gd name="T36" fmla="*/ 84 w 84"/>
                    <a:gd name="T37" fmla="*/ 84 h 168"/>
                    <a:gd name="T38" fmla="*/ 84 w 84"/>
                    <a:gd name="T39" fmla="*/ 84 h 168"/>
                    <a:gd name="T40" fmla="*/ 84 w 84"/>
                    <a:gd name="T41" fmla="*/ 75 h 168"/>
                    <a:gd name="T42" fmla="*/ 81 w 84"/>
                    <a:gd name="T43" fmla="*/ 67 h 168"/>
                    <a:gd name="T44" fmla="*/ 80 w 84"/>
                    <a:gd name="T45" fmla="*/ 58 h 168"/>
                    <a:gd name="T46" fmla="*/ 77 w 84"/>
                    <a:gd name="T47" fmla="*/ 51 h 168"/>
                    <a:gd name="T48" fmla="*/ 74 w 84"/>
                    <a:gd name="T49" fmla="*/ 44 h 168"/>
                    <a:gd name="T50" fmla="*/ 69 w 84"/>
                    <a:gd name="T51" fmla="*/ 36 h 168"/>
                    <a:gd name="T52" fmla="*/ 64 w 84"/>
                    <a:gd name="T53" fmla="*/ 30 h 168"/>
                    <a:gd name="T54" fmla="*/ 59 w 84"/>
                    <a:gd name="T55" fmla="*/ 24 h 168"/>
                    <a:gd name="T56" fmla="*/ 53 w 84"/>
                    <a:gd name="T57" fmla="*/ 19 h 168"/>
                    <a:gd name="T58" fmla="*/ 47 w 84"/>
                    <a:gd name="T59" fmla="*/ 15 h 168"/>
                    <a:gd name="T60" fmla="*/ 40 w 84"/>
                    <a:gd name="T61" fmla="*/ 10 h 168"/>
                    <a:gd name="T62" fmla="*/ 33 w 84"/>
                    <a:gd name="T63" fmla="*/ 6 h 168"/>
                    <a:gd name="T64" fmla="*/ 24 w 84"/>
                    <a:gd name="T65" fmla="*/ 4 h 168"/>
                    <a:gd name="T66" fmla="*/ 17 w 84"/>
                    <a:gd name="T67" fmla="*/ 1 h 168"/>
                    <a:gd name="T68" fmla="*/ 8 w 84"/>
                    <a:gd name="T69" fmla="*/ 0 h 168"/>
                    <a:gd name="T70" fmla="*/ 0 w 84"/>
                    <a:gd name="T7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4" h="168">
                      <a:moveTo>
                        <a:pt x="0" y="0"/>
                      </a:moveTo>
                      <a:lnTo>
                        <a:pt x="0" y="168"/>
                      </a:lnTo>
                      <a:lnTo>
                        <a:pt x="0" y="168"/>
                      </a:lnTo>
                      <a:lnTo>
                        <a:pt x="8" y="167"/>
                      </a:lnTo>
                      <a:lnTo>
                        <a:pt x="17" y="166"/>
                      </a:lnTo>
                      <a:lnTo>
                        <a:pt x="24" y="163"/>
                      </a:lnTo>
                      <a:lnTo>
                        <a:pt x="33" y="161"/>
                      </a:lnTo>
                      <a:lnTo>
                        <a:pt x="40" y="157"/>
                      </a:lnTo>
                      <a:lnTo>
                        <a:pt x="47" y="154"/>
                      </a:lnTo>
                      <a:lnTo>
                        <a:pt x="53" y="149"/>
                      </a:lnTo>
                      <a:lnTo>
                        <a:pt x="59" y="143"/>
                      </a:lnTo>
                      <a:lnTo>
                        <a:pt x="64" y="138"/>
                      </a:lnTo>
                      <a:lnTo>
                        <a:pt x="69" y="130"/>
                      </a:lnTo>
                      <a:lnTo>
                        <a:pt x="74" y="124"/>
                      </a:lnTo>
                      <a:lnTo>
                        <a:pt x="77" y="117"/>
                      </a:lnTo>
                      <a:lnTo>
                        <a:pt x="80" y="108"/>
                      </a:lnTo>
                      <a:lnTo>
                        <a:pt x="81" y="101"/>
                      </a:lnTo>
                      <a:lnTo>
                        <a:pt x="84" y="93"/>
                      </a:lnTo>
                      <a:lnTo>
                        <a:pt x="84" y="84"/>
                      </a:lnTo>
                      <a:lnTo>
                        <a:pt x="84" y="84"/>
                      </a:lnTo>
                      <a:lnTo>
                        <a:pt x="84" y="75"/>
                      </a:lnTo>
                      <a:lnTo>
                        <a:pt x="81" y="67"/>
                      </a:lnTo>
                      <a:lnTo>
                        <a:pt x="80" y="58"/>
                      </a:lnTo>
                      <a:lnTo>
                        <a:pt x="77" y="51"/>
                      </a:lnTo>
                      <a:lnTo>
                        <a:pt x="74" y="44"/>
                      </a:lnTo>
                      <a:lnTo>
                        <a:pt x="69" y="36"/>
                      </a:lnTo>
                      <a:lnTo>
                        <a:pt x="64" y="30"/>
                      </a:lnTo>
                      <a:lnTo>
                        <a:pt x="59" y="24"/>
                      </a:lnTo>
                      <a:lnTo>
                        <a:pt x="53" y="19"/>
                      </a:lnTo>
                      <a:lnTo>
                        <a:pt x="47" y="15"/>
                      </a:lnTo>
                      <a:lnTo>
                        <a:pt x="40" y="10"/>
                      </a:lnTo>
                      <a:lnTo>
                        <a:pt x="33" y="6"/>
                      </a:lnTo>
                      <a:lnTo>
                        <a:pt x="24" y="4"/>
                      </a:lnTo>
                      <a:lnTo>
                        <a:pt x="17" y="1"/>
                      </a:lnTo>
                      <a:lnTo>
                        <a:pt x="8" y="0"/>
                      </a:lnTo>
                      <a:lnTo>
                        <a:pt x="0" y="0"/>
                      </a:lnTo>
                      <a:close/>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5" name="Freeform 518"/>
                <p:cNvSpPr>
                  <a:spLocks/>
                </p:cNvSpPr>
                <p:nvPr/>
              </p:nvSpPr>
              <p:spPr bwMode="auto">
                <a:xfrm>
                  <a:off x="3635420" y="2409839"/>
                  <a:ext cx="26988" cy="53975"/>
                </a:xfrm>
                <a:custGeom>
                  <a:avLst/>
                  <a:gdLst>
                    <a:gd name="T0" fmla="*/ 0 w 84"/>
                    <a:gd name="T1" fmla="*/ 0 h 168"/>
                    <a:gd name="T2" fmla="*/ 0 w 84"/>
                    <a:gd name="T3" fmla="*/ 168 h 168"/>
                    <a:gd name="T4" fmla="*/ 0 w 84"/>
                    <a:gd name="T5" fmla="*/ 168 h 168"/>
                    <a:gd name="T6" fmla="*/ 8 w 84"/>
                    <a:gd name="T7" fmla="*/ 167 h 168"/>
                    <a:gd name="T8" fmla="*/ 17 w 84"/>
                    <a:gd name="T9" fmla="*/ 166 h 168"/>
                    <a:gd name="T10" fmla="*/ 24 w 84"/>
                    <a:gd name="T11" fmla="*/ 163 h 168"/>
                    <a:gd name="T12" fmla="*/ 33 w 84"/>
                    <a:gd name="T13" fmla="*/ 161 h 168"/>
                    <a:gd name="T14" fmla="*/ 40 w 84"/>
                    <a:gd name="T15" fmla="*/ 157 h 168"/>
                    <a:gd name="T16" fmla="*/ 47 w 84"/>
                    <a:gd name="T17" fmla="*/ 154 h 168"/>
                    <a:gd name="T18" fmla="*/ 53 w 84"/>
                    <a:gd name="T19" fmla="*/ 149 h 168"/>
                    <a:gd name="T20" fmla="*/ 59 w 84"/>
                    <a:gd name="T21" fmla="*/ 143 h 168"/>
                    <a:gd name="T22" fmla="*/ 64 w 84"/>
                    <a:gd name="T23" fmla="*/ 138 h 168"/>
                    <a:gd name="T24" fmla="*/ 69 w 84"/>
                    <a:gd name="T25" fmla="*/ 130 h 168"/>
                    <a:gd name="T26" fmla="*/ 74 w 84"/>
                    <a:gd name="T27" fmla="*/ 124 h 168"/>
                    <a:gd name="T28" fmla="*/ 77 w 84"/>
                    <a:gd name="T29" fmla="*/ 117 h 168"/>
                    <a:gd name="T30" fmla="*/ 80 w 84"/>
                    <a:gd name="T31" fmla="*/ 108 h 168"/>
                    <a:gd name="T32" fmla="*/ 81 w 84"/>
                    <a:gd name="T33" fmla="*/ 101 h 168"/>
                    <a:gd name="T34" fmla="*/ 84 w 84"/>
                    <a:gd name="T35" fmla="*/ 93 h 168"/>
                    <a:gd name="T36" fmla="*/ 84 w 84"/>
                    <a:gd name="T37" fmla="*/ 84 h 168"/>
                    <a:gd name="T38" fmla="*/ 84 w 84"/>
                    <a:gd name="T39" fmla="*/ 84 h 168"/>
                    <a:gd name="T40" fmla="*/ 84 w 84"/>
                    <a:gd name="T41" fmla="*/ 75 h 168"/>
                    <a:gd name="T42" fmla="*/ 81 w 84"/>
                    <a:gd name="T43" fmla="*/ 67 h 168"/>
                    <a:gd name="T44" fmla="*/ 80 w 84"/>
                    <a:gd name="T45" fmla="*/ 58 h 168"/>
                    <a:gd name="T46" fmla="*/ 77 w 84"/>
                    <a:gd name="T47" fmla="*/ 51 h 168"/>
                    <a:gd name="T48" fmla="*/ 74 w 84"/>
                    <a:gd name="T49" fmla="*/ 44 h 168"/>
                    <a:gd name="T50" fmla="*/ 69 w 84"/>
                    <a:gd name="T51" fmla="*/ 36 h 168"/>
                    <a:gd name="T52" fmla="*/ 64 w 84"/>
                    <a:gd name="T53" fmla="*/ 30 h 168"/>
                    <a:gd name="T54" fmla="*/ 59 w 84"/>
                    <a:gd name="T55" fmla="*/ 24 h 168"/>
                    <a:gd name="T56" fmla="*/ 53 w 84"/>
                    <a:gd name="T57" fmla="*/ 19 h 168"/>
                    <a:gd name="T58" fmla="*/ 47 w 84"/>
                    <a:gd name="T59" fmla="*/ 15 h 168"/>
                    <a:gd name="T60" fmla="*/ 40 w 84"/>
                    <a:gd name="T61" fmla="*/ 10 h 168"/>
                    <a:gd name="T62" fmla="*/ 33 w 84"/>
                    <a:gd name="T63" fmla="*/ 6 h 168"/>
                    <a:gd name="T64" fmla="*/ 24 w 84"/>
                    <a:gd name="T65" fmla="*/ 4 h 168"/>
                    <a:gd name="T66" fmla="*/ 17 w 84"/>
                    <a:gd name="T67" fmla="*/ 1 h 168"/>
                    <a:gd name="T68" fmla="*/ 8 w 84"/>
                    <a:gd name="T69" fmla="*/ 0 h 168"/>
                    <a:gd name="T70" fmla="*/ 0 w 84"/>
                    <a:gd name="T7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4" h="168">
                      <a:moveTo>
                        <a:pt x="0" y="0"/>
                      </a:moveTo>
                      <a:lnTo>
                        <a:pt x="0" y="168"/>
                      </a:lnTo>
                      <a:lnTo>
                        <a:pt x="0" y="168"/>
                      </a:lnTo>
                      <a:lnTo>
                        <a:pt x="8" y="167"/>
                      </a:lnTo>
                      <a:lnTo>
                        <a:pt x="17" y="166"/>
                      </a:lnTo>
                      <a:lnTo>
                        <a:pt x="24" y="163"/>
                      </a:lnTo>
                      <a:lnTo>
                        <a:pt x="33" y="161"/>
                      </a:lnTo>
                      <a:lnTo>
                        <a:pt x="40" y="157"/>
                      </a:lnTo>
                      <a:lnTo>
                        <a:pt x="47" y="154"/>
                      </a:lnTo>
                      <a:lnTo>
                        <a:pt x="53" y="149"/>
                      </a:lnTo>
                      <a:lnTo>
                        <a:pt x="59" y="143"/>
                      </a:lnTo>
                      <a:lnTo>
                        <a:pt x="64" y="138"/>
                      </a:lnTo>
                      <a:lnTo>
                        <a:pt x="69" y="130"/>
                      </a:lnTo>
                      <a:lnTo>
                        <a:pt x="74" y="124"/>
                      </a:lnTo>
                      <a:lnTo>
                        <a:pt x="77" y="117"/>
                      </a:lnTo>
                      <a:lnTo>
                        <a:pt x="80" y="108"/>
                      </a:lnTo>
                      <a:lnTo>
                        <a:pt x="81" y="101"/>
                      </a:lnTo>
                      <a:lnTo>
                        <a:pt x="84" y="93"/>
                      </a:lnTo>
                      <a:lnTo>
                        <a:pt x="84" y="84"/>
                      </a:lnTo>
                      <a:lnTo>
                        <a:pt x="84" y="84"/>
                      </a:lnTo>
                      <a:lnTo>
                        <a:pt x="84" y="75"/>
                      </a:lnTo>
                      <a:lnTo>
                        <a:pt x="81" y="67"/>
                      </a:lnTo>
                      <a:lnTo>
                        <a:pt x="80" y="58"/>
                      </a:lnTo>
                      <a:lnTo>
                        <a:pt x="77" y="51"/>
                      </a:lnTo>
                      <a:lnTo>
                        <a:pt x="74" y="44"/>
                      </a:lnTo>
                      <a:lnTo>
                        <a:pt x="69" y="36"/>
                      </a:lnTo>
                      <a:lnTo>
                        <a:pt x="64" y="30"/>
                      </a:lnTo>
                      <a:lnTo>
                        <a:pt x="59" y="24"/>
                      </a:lnTo>
                      <a:lnTo>
                        <a:pt x="53" y="19"/>
                      </a:lnTo>
                      <a:lnTo>
                        <a:pt x="47" y="15"/>
                      </a:lnTo>
                      <a:lnTo>
                        <a:pt x="40" y="10"/>
                      </a:lnTo>
                      <a:lnTo>
                        <a:pt x="33" y="6"/>
                      </a:lnTo>
                      <a:lnTo>
                        <a:pt x="24" y="4"/>
                      </a:lnTo>
                      <a:lnTo>
                        <a:pt x="17" y="1"/>
                      </a:lnTo>
                      <a:lnTo>
                        <a:pt x="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6" name="Freeform 519"/>
                <p:cNvSpPr>
                  <a:spLocks/>
                </p:cNvSpPr>
                <p:nvPr/>
              </p:nvSpPr>
              <p:spPr bwMode="auto">
                <a:xfrm>
                  <a:off x="3635420" y="2479689"/>
                  <a:ext cx="52388" cy="39688"/>
                </a:xfrm>
                <a:custGeom>
                  <a:avLst/>
                  <a:gdLst>
                    <a:gd name="T0" fmla="*/ 0 w 162"/>
                    <a:gd name="T1" fmla="*/ 0 h 124"/>
                    <a:gd name="T2" fmla="*/ 162 w 162"/>
                    <a:gd name="T3" fmla="*/ 0 h 124"/>
                    <a:gd name="T4" fmla="*/ 162 w 162"/>
                    <a:gd name="T5" fmla="*/ 0 h 124"/>
                    <a:gd name="T6" fmla="*/ 157 w 162"/>
                    <a:gd name="T7" fmla="*/ 19 h 124"/>
                    <a:gd name="T8" fmla="*/ 152 w 162"/>
                    <a:gd name="T9" fmla="*/ 39 h 124"/>
                    <a:gd name="T10" fmla="*/ 141 w 162"/>
                    <a:gd name="T11" fmla="*/ 73 h 124"/>
                    <a:gd name="T12" fmla="*/ 130 w 162"/>
                    <a:gd name="T13" fmla="*/ 101 h 124"/>
                    <a:gd name="T14" fmla="*/ 120 w 162"/>
                    <a:gd name="T15" fmla="*/ 124 h 124"/>
                    <a:gd name="T16" fmla="*/ 0 w 162"/>
                    <a:gd name="T17" fmla="*/ 124 h 124"/>
                    <a:gd name="T18" fmla="*/ 0 w 162"/>
                    <a:gd name="T19"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 h="124">
                      <a:moveTo>
                        <a:pt x="0" y="0"/>
                      </a:moveTo>
                      <a:lnTo>
                        <a:pt x="162" y="0"/>
                      </a:lnTo>
                      <a:lnTo>
                        <a:pt x="162" y="0"/>
                      </a:lnTo>
                      <a:lnTo>
                        <a:pt x="157" y="19"/>
                      </a:lnTo>
                      <a:lnTo>
                        <a:pt x="152" y="39"/>
                      </a:lnTo>
                      <a:lnTo>
                        <a:pt x="141" y="73"/>
                      </a:lnTo>
                      <a:lnTo>
                        <a:pt x="130" y="101"/>
                      </a:lnTo>
                      <a:lnTo>
                        <a:pt x="120" y="124"/>
                      </a:lnTo>
                      <a:lnTo>
                        <a:pt x="0" y="124"/>
                      </a:lnTo>
                      <a:lnTo>
                        <a:pt x="0"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7" name="Freeform 520"/>
                <p:cNvSpPr>
                  <a:spLocks/>
                </p:cNvSpPr>
                <p:nvPr/>
              </p:nvSpPr>
              <p:spPr bwMode="auto">
                <a:xfrm>
                  <a:off x="3635420" y="2413014"/>
                  <a:ext cx="23813" cy="23813"/>
                </a:xfrm>
                <a:custGeom>
                  <a:avLst/>
                  <a:gdLst>
                    <a:gd name="T0" fmla="*/ 0 w 75"/>
                    <a:gd name="T1" fmla="*/ 0 h 76"/>
                    <a:gd name="T2" fmla="*/ 0 w 75"/>
                    <a:gd name="T3" fmla="*/ 0 h 76"/>
                    <a:gd name="T4" fmla="*/ 7 w 75"/>
                    <a:gd name="T5" fmla="*/ 0 h 76"/>
                    <a:gd name="T6" fmla="*/ 14 w 75"/>
                    <a:gd name="T7" fmla="*/ 2 h 76"/>
                    <a:gd name="T8" fmla="*/ 22 w 75"/>
                    <a:gd name="T9" fmla="*/ 4 h 76"/>
                    <a:gd name="T10" fmla="*/ 29 w 75"/>
                    <a:gd name="T11" fmla="*/ 7 h 76"/>
                    <a:gd name="T12" fmla="*/ 41 w 75"/>
                    <a:gd name="T13" fmla="*/ 14 h 76"/>
                    <a:gd name="T14" fmla="*/ 53 w 75"/>
                    <a:gd name="T15" fmla="*/ 22 h 76"/>
                    <a:gd name="T16" fmla="*/ 62 w 75"/>
                    <a:gd name="T17" fmla="*/ 33 h 76"/>
                    <a:gd name="T18" fmla="*/ 69 w 75"/>
                    <a:gd name="T19" fmla="*/ 47 h 76"/>
                    <a:gd name="T20" fmla="*/ 72 w 75"/>
                    <a:gd name="T21" fmla="*/ 53 h 76"/>
                    <a:gd name="T22" fmla="*/ 73 w 75"/>
                    <a:gd name="T23" fmla="*/ 60 h 76"/>
                    <a:gd name="T24" fmla="*/ 74 w 75"/>
                    <a:gd name="T25" fmla="*/ 67 h 76"/>
                    <a:gd name="T26" fmla="*/ 75 w 75"/>
                    <a:gd name="T27" fmla="*/ 76 h 76"/>
                    <a:gd name="T28" fmla="*/ 0 w 75"/>
                    <a:gd name="T29" fmla="*/ 76 h 76"/>
                    <a:gd name="T30" fmla="*/ 0 w 75"/>
                    <a:gd name="T3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 h="76">
                      <a:moveTo>
                        <a:pt x="0" y="0"/>
                      </a:moveTo>
                      <a:lnTo>
                        <a:pt x="0" y="0"/>
                      </a:lnTo>
                      <a:lnTo>
                        <a:pt x="7" y="0"/>
                      </a:lnTo>
                      <a:lnTo>
                        <a:pt x="14" y="2"/>
                      </a:lnTo>
                      <a:lnTo>
                        <a:pt x="22" y="4"/>
                      </a:lnTo>
                      <a:lnTo>
                        <a:pt x="29" y="7"/>
                      </a:lnTo>
                      <a:lnTo>
                        <a:pt x="41" y="14"/>
                      </a:lnTo>
                      <a:lnTo>
                        <a:pt x="53" y="22"/>
                      </a:lnTo>
                      <a:lnTo>
                        <a:pt x="62" y="33"/>
                      </a:lnTo>
                      <a:lnTo>
                        <a:pt x="69" y="47"/>
                      </a:lnTo>
                      <a:lnTo>
                        <a:pt x="72" y="53"/>
                      </a:lnTo>
                      <a:lnTo>
                        <a:pt x="73" y="60"/>
                      </a:lnTo>
                      <a:lnTo>
                        <a:pt x="74" y="67"/>
                      </a:lnTo>
                      <a:lnTo>
                        <a:pt x="75" y="76"/>
                      </a:lnTo>
                      <a:lnTo>
                        <a:pt x="0" y="76"/>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8" name="Freeform 521"/>
                <p:cNvSpPr>
                  <a:spLocks/>
                </p:cNvSpPr>
                <p:nvPr/>
              </p:nvSpPr>
              <p:spPr bwMode="auto">
                <a:xfrm>
                  <a:off x="3635420" y="2436826"/>
                  <a:ext cx="23813" cy="23813"/>
                </a:xfrm>
                <a:custGeom>
                  <a:avLst/>
                  <a:gdLst>
                    <a:gd name="T0" fmla="*/ 75 w 75"/>
                    <a:gd name="T1" fmla="*/ 0 h 74"/>
                    <a:gd name="T2" fmla="*/ 75 w 75"/>
                    <a:gd name="T3" fmla="*/ 0 h 74"/>
                    <a:gd name="T4" fmla="*/ 74 w 75"/>
                    <a:gd name="T5" fmla="*/ 7 h 74"/>
                    <a:gd name="T6" fmla="*/ 73 w 75"/>
                    <a:gd name="T7" fmla="*/ 15 h 74"/>
                    <a:gd name="T8" fmla="*/ 72 w 75"/>
                    <a:gd name="T9" fmla="*/ 22 h 74"/>
                    <a:gd name="T10" fmla="*/ 69 w 75"/>
                    <a:gd name="T11" fmla="*/ 29 h 74"/>
                    <a:gd name="T12" fmla="*/ 62 w 75"/>
                    <a:gd name="T13" fmla="*/ 41 h 74"/>
                    <a:gd name="T14" fmla="*/ 53 w 75"/>
                    <a:gd name="T15" fmla="*/ 52 h 74"/>
                    <a:gd name="T16" fmla="*/ 41 w 75"/>
                    <a:gd name="T17" fmla="*/ 62 h 74"/>
                    <a:gd name="T18" fmla="*/ 29 w 75"/>
                    <a:gd name="T19" fmla="*/ 68 h 74"/>
                    <a:gd name="T20" fmla="*/ 22 w 75"/>
                    <a:gd name="T21" fmla="*/ 72 h 74"/>
                    <a:gd name="T22" fmla="*/ 14 w 75"/>
                    <a:gd name="T23" fmla="*/ 73 h 74"/>
                    <a:gd name="T24" fmla="*/ 7 w 75"/>
                    <a:gd name="T25" fmla="*/ 74 h 74"/>
                    <a:gd name="T26" fmla="*/ 0 w 75"/>
                    <a:gd name="T27" fmla="*/ 74 h 74"/>
                    <a:gd name="T28" fmla="*/ 0 w 75"/>
                    <a:gd name="T29" fmla="*/ 0 h 74"/>
                    <a:gd name="T30" fmla="*/ 75 w 75"/>
                    <a:gd name="T3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 h="74">
                      <a:moveTo>
                        <a:pt x="75" y="0"/>
                      </a:moveTo>
                      <a:lnTo>
                        <a:pt x="75" y="0"/>
                      </a:lnTo>
                      <a:lnTo>
                        <a:pt x="74" y="7"/>
                      </a:lnTo>
                      <a:lnTo>
                        <a:pt x="73" y="15"/>
                      </a:lnTo>
                      <a:lnTo>
                        <a:pt x="72" y="22"/>
                      </a:lnTo>
                      <a:lnTo>
                        <a:pt x="69" y="29"/>
                      </a:lnTo>
                      <a:lnTo>
                        <a:pt x="62" y="41"/>
                      </a:lnTo>
                      <a:lnTo>
                        <a:pt x="53" y="52"/>
                      </a:lnTo>
                      <a:lnTo>
                        <a:pt x="41" y="62"/>
                      </a:lnTo>
                      <a:lnTo>
                        <a:pt x="29" y="68"/>
                      </a:lnTo>
                      <a:lnTo>
                        <a:pt x="22" y="72"/>
                      </a:lnTo>
                      <a:lnTo>
                        <a:pt x="14" y="73"/>
                      </a:lnTo>
                      <a:lnTo>
                        <a:pt x="7" y="74"/>
                      </a:lnTo>
                      <a:lnTo>
                        <a:pt x="0" y="74"/>
                      </a:lnTo>
                      <a:lnTo>
                        <a:pt x="0" y="0"/>
                      </a:lnTo>
                      <a:lnTo>
                        <a:pt x="75" y="0"/>
                      </a:lnTo>
                      <a:close/>
                    </a:path>
                  </a:pathLst>
                </a:custGeom>
                <a:solidFill>
                  <a:srgbClr val="2A5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9" name="Freeform 522"/>
                <p:cNvSpPr>
                  <a:spLocks/>
                </p:cNvSpPr>
                <p:nvPr/>
              </p:nvSpPr>
              <p:spPr bwMode="auto">
                <a:xfrm>
                  <a:off x="3635420" y="2371738"/>
                  <a:ext cx="17463" cy="34925"/>
                </a:xfrm>
                <a:custGeom>
                  <a:avLst/>
                  <a:gdLst>
                    <a:gd name="T0" fmla="*/ 0 w 53"/>
                    <a:gd name="T1" fmla="*/ 0 h 109"/>
                    <a:gd name="T2" fmla="*/ 0 w 53"/>
                    <a:gd name="T3" fmla="*/ 109 h 109"/>
                    <a:gd name="T4" fmla="*/ 0 w 53"/>
                    <a:gd name="T5" fmla="*/ 109 h 109"/>
                    <a:gd name="T6" fmla="*/ 11 w 53"/>
                    <a:gd name="T7" fmla="*/ 107 h 109"/>
                    <a:gd name="T8" fmla="*/ 20 w 53"/>
                    <a:gd name="T9" fmla="*/ 104 h 109"/>
                    <a:gd name="T10" fmla="*/ 30 w 53"/>
                    <a:gd name="T11" fmla="*/ 99 h 109"/>
                    <a:gd name="T12" fmla="*/ 38 w 53"/>
                    <a:gd name="T13" fmla="*/ 93 h 109"/>
                    <a:gd name="T14" fmla="*/ 45 w 53"/>
                    <a:gd name="T15" fmla="*/ 84 h 109"/>
                    <a:gd name="T16" fmla="*/ 50 w 53"/>
                    <a:gd name="T17" fmla="*/ 76 h 109"/>
                    <a:gd name="T18" fmla="*/ 52 w 53"/>
                    <a:gd name="T19" fmla="*/ 65 h 109"/>
                    <a:gd name="T20" fmla="*/ 53 w 53"/>
                    <a:gd name="T21" fmla="*/ 54 h 109"/>
                    <a:gd name="T22" fmla="*/ 53 w 53"/>
                    <a:gd name="T23" fmla="*/ 54 h 109"/>
                    <a:gd name="T24" fmla="*/ 52 w 53"/>
                    <a:gd name="T25" fmla="*/ 43 h 109"/>
                    <a:gd name="T26" fmla="*/ 50 w 53"/>
                    <a:gd name="T27" fmla="*/ 33 h 109"/>
                    <a:gd name="T28" fmla="*/ 45 w 53"/>
                    <a:gd name="T29" fmla="*/ 24 h 109"/>
                    <a:gd name="T30" fmla="*/ 38 w 53"/>
                    <a:gd name="T31" fmla="*/ 16 h 109"/>
                    <a:gd name="T32" fmla="*/ 30 w 53"/>
                    <a:gd name="T33" fmla="*/ 10 h 109"/>
                    <a:gd name="T34" fmla="*/ 20 w 53"/>
                    <a:gd name="T35" fmla="*/ 5 h 109"/>
                    <a:gd name="T36" fmla="*/ 11 w 53"/>
                    <a:gd name="T37" fmla="*/ 1 h 109"/>
                    <a:gd name="T38" fmla="*/ 0 w 53"/>
                    <a:gd name="T3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109">
                      <a:moveTo>
                        <a:pt x="0" y="0"/>
                      </a:moveTo>
                      <a:lnTo>
                        <a:pt x="0" y="109"/>
                      </a:lnTo>
                      <a:lnTo>
                        <a:pt x="0" y="109"/>
                      </a:lnTo>
                      <a:lnTo>
                        <a:pt x="11" y="107"/>
                      </a:lnTo>
                      <a:lnTo>
                        <a:pt x="20" y="104"/>
                      </a:lnTo>
                      <a:lnTo>
                        <a:pt x="30" y="99"/>
                      </a:lnTo>
                      <a:lnTo>
                        <a:pt x="38" y="93"/>
                      </a:lnTo>
                      <a:lnTo>
                        <a:pt x="45" y="84"/>
                      </a:lnTo>
                      <a:lnTo>
                        <a:pt x="50" y="76"/>
                      </a:lnTo>
                      <a:lnTo>
                        <a:pt x="52" y="65"/>
                      </a:lnTo>
                      <a:lnTo>
                        <a:pt x="53" y="54"/>
                      </a:lnTo>
                      <a:lnTo>
                        <a:pt x="53" y="54"/>
                      </a:lnTo>
                      <a:lnTo>
                        <a:pt x="52" y="43"/>
                      </a:lnTo>
                      <a:lnTo>
                        <a:pt x="50" y="33"/>
                      </a:lnTo>
                      <a:lnTo>
                        <a:pt x="45" y="24"/>
                      </a:lnTo>
                      <a:lnTo>
                        <a:pt x="38" y="16"/>
                      </a:lnTo>
                      <a:lnTo>
                        <a:pt x="30" y="10"/>
                      </a:lnTo>
                      <a:lnTo>
                        <a:pt x="20" y="5"/>
                      </a:lnTo>
                      <a:lnTo>
                        <a:pt x="11" y="1"/>
                      </a:lnTo>
                      <a:lnTo>
                        <a:pt x="0" y="0"/>
                      </a:lnTo>
                      <a:close/>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0" name="Freeform 523"/>
                <p:cNvSpPr>
                  <a:spLocks/>
                </p:cNvSpPr>
                <p:nvPr/>
              </p:nvSpPr>
              <p:spPr bwMode="auto">
                <a:xfrm>
                  <a:off x="3635420" y="2371738"/>
                  <a:ext cx="17463" cy="34925"/>
                </a:xfrm>
                <a:custGeom>
                  <a:avLst/>
                  <a:gdLst>
                    <a:gd name="T0" fmla="*/ 0 w 53"/>
                    <a:gd name="T1" fmla="*/ 0 h 109"/>
                    <a:gd name="T2" fmla="*/ 0 w 53"/>
                    <a:gd name="T3" fmla="*/ 109 h 109"/>
                    <a:gd name="T4" fmla="*/ 0 w 53"/>
                    <a:gd name="T5" fmla="*/ 109 h 109"/>
                    <a:gd name="T6" fmla="*/ 11 w 53"/>
                    <a:gd name="T7" fmla="*/ 107 h 109"/>
                    <a:gd name="T8" fmla="*/ 20 w 53"/>
                    <a:gd name="T9" fmla="*/ 104 h 109"/>
                    <a:gd name="T10" fmla="*/ 30 w 53"/>
                    <a:gd name="T11" fmla="*/ 99 h 109"/>
                    <a:gd name="T12" fmla="*/ 38 w 53"/>
                    <a:gd name="T13" fmla="*/ 93 h 109"/>
                    <a:gd name="T14" fmla="*/ 45 w 53"/>
                    <a:gd name="T15" fmla="*/ 84 h 109"/>
                    <a:gd name="T16" fmla="*/ 50 w 53"/>
                    <a:gd name="T17" fmla="*/ 76 h 109"/>
                    <a:gd name="T18" fmla="*/ 52 w 53"/>
                    <a:gd name="T19" fmla="*/ 65 h 109"/>
                    <a:gd name="T20" fmla="*/ 53 w 53"/>
                    <a:gd name="T21" fmla="*/ 54 h 109"/>
                    <a:gd name="T22" fmla="*/ 53 w 53"/>
                    <a:gd name="T23" fmla="*/ 54 h 109"/>
                    <a:gd name="T24" fmla="*/ 52 w 53"/>
                    <a:gd name="T25" fmla="*/ 43 h 109"/>
                    <a:gd name="T26" fmla="*/ 50 w 53"/>
                    <a:gd name="T27" fmla="*/ 33 h 109"/>
                    <a:gd name="T28" fmla="*/ 45 w 53"/>
                    <a:gd name="T29" fmla="*/ 24 h 109"/>
                    <a:gd name="T30" fmla="*/ 38 w 53"/>
                    <a:gd name="T31" fmla="*/ 16 h 109"/>
                    <a:gd name="T32" fmla="*/ 30 w 53"/>
                    <a:gd name="T33" fmla="*/ 10 h 109"/>
                    <a:gd name="T34" fmla="*/ 20 w 53"/>
                    <a:gd name="T35" fmla="*/ 5 h 109"/>
                    <a:gd name="T36" fmla="*/ 11 w 53"/>
                    <a:gd name="T37" fmla="*/ 1 h 109"/>
                    <a:gd name="T38" fmla="*/ 0 w 53"/>
                    <a:gd name="T3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109">
                      <a:moveTo>
                        <a:pt x="0" y="0"/>
                      </a:moveTo>
                      <a:lnTo>
                        <a:pt x="0" y="109"/>
                      </a:lnTo>
                      <a:lnTo>
                        <a:pt x="0" y="109"/>
                      </a:lnTo>
                      <a:lnTo>
                        <a:pt x="11" y="107"/>
                      </a:lnTo>
                      <a:lnTo>
                        <a:pt x="20" y="104"/>
                      </a:lnTo>
                      <a:lnTo>
                        <a:pt x="30" y="99"/>
                      </a:lnTo>
                      <a:lnTo>
                        <a:pt x="38" y="93"/>
                      </a:lnTo>
                      <a:lnTo>
                        <a:pt x="45" y="84"/>
                      </a:lnTo>
                      <a:lnTo>
                        <a:pt x="50" y="76"/>
                      </a:lnTo>
                      <a:lnTo>
                        <a:pt x="52" y="65"/>
                      </a:lnTo>
                      <a:lnTo>
                        <a:pt x="53" y="54"/>
                      </a:lnTo>
                      <a:lnTo>
                        <a:pt x="53" y="54"/>
                      </a:lnTo>
                      <a:lnTo>
                        <a:pt x="52" y="43"/>
                      </a:lnTo>
                      <a:lnTo>
                        <a:pt x="50" y="33"/>
                      </a:lnTo>
                      <a:lnTo>
                        <a:pt x="45" y="24"/>
                      </a:lnTo>
                      <a:lnTo>
                        <a:pt x="38" y="16"/>
                      </a:lnTo>
                      <a:lnTo>
                        <a:pt x="30" y="10"/>
                      </a:lnTo>
                      <a:lnTo>
                        <a:pt x="20" y="5"/>
                      </a:lnTo>
                      <a:lnTo>
                        <a:pt x="11"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1" name="Freeform 524"/>
                <p:cNvSpPr>
                  <a:spLocks/>
                </p:cNvSpPr>
                <p:nvPr/>
              </p:nvSpPr>
              <p:spPr bwMode="auto">
                <a:xfrm>
                  <a:off x="3635420" y="2374913"/>
                  <a:ext cx="14288" cy="14288"/>
                </a:xfrm>
                <a:custGeom>
                  <a:avLst/>
                  <a:gdLst>
                    <a:gd name="T0" fmla="*/ 0 w 44"/>
                    <a:gd name="T1" fmla="*/ 0 h 44"/>
                    <a:gd name="T2" fmla="*/ 0 w 44"/>
                    <a:gd name="T3" fmla="*/ 0 h 44"/>
                    <a:gd name="T4" fmla="*/ 8 w 44"/>
                    <a:gd name="T5" fmla="*/ 1 h 44"/>
                    <a:gd name="T6" fmla="*/ 17 w 44"/>
                    <a:gd name="T7" fmla="*/ 3 h 44"/>
                    <a:gd name="T8" fmla="*/ 24 w 44"/>
                    <a:gd name="T9" fmla="*/ 7 h 44"/>
                    <a:gd name="T10" fmla="*/ 31 w 44"/>
                    <a:gd name="T11" fmla="*/ 13 h 44"/>
                    <a:gd name="T12" fmla="*/ 36 w 44"/>
                    <a:gd name="T13" fmla="*/ 19 h 44"/>
                    <a:gd name="T14" fmla="*/ 41 w 44"/>
                    <a:gd name="T15" fmla="*/ 27 h 44"/>
                    <a:gd name="T16" fmla="*/ 44 w 44"/>
                    <a:gd name="T17" fmla="*/ 35 h 44"/>
                    <a:gd name="T18" fmla="*/ 44 w 44"/>
                    <a:gd name="T19" fmla="*/ 44 h 44"/>
                    <a:gd name="T20" fmla="*/ 0 w 44"/>
                    <a:gd name="T21" fmla="*/ 44 h 44"/>
                    <a:gd name="T22" fmla="*/ 0 w 44"/>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4">
                      <a:moveTo>
                        <a:pt x="0" y="0"/>
                      </a:moveTo>
                      <a:lnTo>
                        <a:pt x="0" y="0"/>
                      </a:lnTo>
                      <a:lnTo>
                        <a:pt x="8" y="1"/>
                      </a:lnTo>
                      <a:lnTo>
                        <a:pt x="17" y="3"/>
                      </a:lnTo>
                      <a:lnTo>
                        <a:pt x="24" y="7"/>
                      </a:lnTo>
                      <a:lnTo>
                        <a:pt x="31" y="13"/>
                      </a:lnTo>
                      <a:lnTo>
                        <a:pt x="36" y="19"/>
                      </a:lnTo>
                      <a:lnTo>
                        <a:pt x="41" y="27"/>
                      </a:lnTo>
                      <a:lnTo>
                        <a:pt x="44" y="35"/>
                      </a:lnTo>
                      <a:lnTo>
                        <a:pt x="44" y="44"/>
                      </a:lnTo>
                      <a:lnTo>
                        <a:pt x="0" y="44"/>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2" name="Freeform 525"/>
                <p:cNvSpPr>
                  <a:spLocks/>
                </p:cNvSpPr>
                <p:nvPr/>
              </p:nvSpPr>
              <p:spPr bwMode="auto">
                <a:xfrm>
                  <a:off x="3635420" y="2389201"/>
                  <a:ext cx="14288" cy="14288"/>
                </a:xfrm>
                <a:custGeom>
                  <a:avLst/>
                  <a:gdLst>
                    <a:gd name="T0" fmla="*/ 44 w 44"/>
                    <a:gd name="T1" fmla="*/ 0 h 45"/>
                    <a:gd name="T2" fmla="*/ 44 w 44"/>
                    <a:gd name="T3" fmla="*/ 0 h 45"/>
                    <a:gd name="T4" fmla="*/ 44 w 44"/>
                    <a:gd name="T5" fmla="*/ 9 h 45"/>
                    <a:gd name="T6" fmla="*/ 41 w 44"/>
                    <a:gd name="T7" fmla="*/ 18 h 45"/>
                    <a:gd name="T8" fmla="*/ 36 w 44"/>
                    <a:gd name="T9" fmla="*/ 25 h 45"/>
                    <a:gd name="T10" fmla="*/ 31 w 44"/>
                    <a:gd name="T11" fmla="*/ 31 h 45"/>
                    <a:gd name="T12" fmla="*/ 24 w 44"/>
                    <a:gd name="T13" fmla="*/ 37 h 45"/>
                    <a:gd name="T14" fmla="*/ 17 w 44"/>
                    <a:gd name="T15" fmla="*/ 41 h 45"/>
                    <a:gd name="T16" fmla="*/ 8 w 44"/>
                    <a:gd name="T17" fmla="*/ 44 h 45"/>
                    <a:gd name="T18" fmla="*/ 0 w 44"/>
                    <a:gd name="T19" fmla="*/ 45 h 45"/>
                    <a:gd name="T20" fmla="*/ 0 w 44"/>
                    <a:gd name="T21" fmla="*/ 0 h 45"/>
                    <a:gd name="T22" fmla="*/ 44 w 44"/>
                    <a:gd name="T2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5">
                      <a:moveTo>
                        <a:pt x="44" y="0"/>
                      </a:moveTo>
                      <a:lnTo>
                        <a:pt x="44" y="0"/>
                      </a:lnTo>
                      <a:lnTo>
                        <a:pt x="44" y="9"/>
                      </a:lnTo>
                      <a:lnTo>
                        <a:pt x="41" y="18"/>
                      </a:lnTo>
                      <a:lnTo>
                        <a:pt x="36" y="25"/>
                      </a:lnTo>
                      <a:lnTo>
                        <a:pt x="31" y="31"/>
                      </a:lnTo>
                      <a:lnTo>
                        <a:pt x="24" y="37"/>
                      </a:lnTo>
                      <a:lnTo>
                        <a:pt x="17" y="41"/>
                      </a:lnTo>
                      <a:lnTo>
                        <a:pt x="8" y="44"/>
                      </a:lnTo>
                      <a:lnTo>
                        <a:pt x="0" y="45"/>
                      </a:lnTo>
                      <a:lnTo>
                        <a:pt x="0" y="0"/>
                      </a:lnTo>
                      <a:lnTo>
                        <a:pt x="44" y="0"/>
                      </a:lnTo>
                      <a:close/>
                    </a:path>
                  </a:pathLst>
                </a:custGeom>
                <a:solidFill>
                  <a:srgbClr val="2A5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3" name="Rectangle 526"/>
                <p:cNvSpPr>
                  <a:spLocks noChangeArrowheads="1"/>
                </p:cNvSpPr>
                <p:nvPr/>
              </p:nvSpPr>
              <p:spPr bwMode="auto">
                <a:xfrm>
                  <a:off x="3635420" y="2528902"/>
                  <a:ext cx="33338" cy="14288"/>
                </a:xfrm>
                <a:prstGeom prst="rect">
                  <a:avLst/>
                </a:prstGeom>
                <a:solidFill>
                  <a:srgbClr val="FF6A1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4" name="Freeform 527"/>
                <p:cNvSpPr>
                  <a:spLocks/>
                </p:cNvSpPr>
                <p:nvPr/>
              </p:nvSpPr>
              <p:spPr bwMode="auto">
                <a:xfrm>
                  <a:off x="3635420" y="2543190"/>
                  <a:ext cx="38100" cy="19050"/>
                </a:xfrm>
                <a:custGeom>
                  <a:avLst/>
                  <a:gdLst>
                    <a:gd name="T0" fmla="*/ 120 w 120"/>
                    <a:gd name="T1" fmla="*/ 59 h 59"/>
                    <a:gd name="T2" fmla="*/ 0 w 120"/>
                    <a:gd name="T3" fmla="*/ 59 h 59"/>
                    <a:gd name="T4" fmla="*/ 0 w 120"/>
                    <a:gd name="T5" fmla="*/ 0 h 59"/>
                    <a:gd name="T6" fmla="*/ 102 w 120"/>
                    <a:gd name="T7" fmla="*/ 0 h 59"/>
                    <a:gd name="T8" fmla="*/ 120 w 120"/>
                    <a:gd name="T9" fmla="*/ 59 h 59"/>
                  </a:gdLst>
                  <a:ahLst/>
                  <a:cxnLst>
                    <a:cxn ang="0">
                      <a:pos x="T0" y="T1"/>
                    </a:cxn>
                    <a:cxn ang="0">
                      <a:pos x="T2" y="T3"/>
                    </a:cxn>
                    <a:cxn ang="0">
                      <a:pos x="T4" y="T5"/>
                    </a:cxn>
                    <a:cxn ang="0">
                      <a:pos x="T6" y="T7"/>
                    </a:cxn>
                    <a:cxn ang="0">
                      <a:pos x="T8" y="T9"/>
                    </a:cxn>
                  </a:cxnLst>
                  <a:rect l="0" t="0" r="r" b="b"/>
                  <a:pathLst>
                    <a:path w="120" h="59">
                      <a:moveTo>
                        <a:pt x="120" y="59"/>
                      </a:moveTo>
                      <a:lnTo>
                        <a:pt x="0" y="59"/>
                      </a:lnTo>
                      <a:lnTo>
                        <a:pt x="0" y="0"/>
                      </a:lnTo>
                      <a:lnTo>
                        <a:pt x="102" y="0"/>
                      </a:lnTo>
                      <a:lnTo>
                        <a:pt x="120" y="59"/>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5" name="Freeform 528"/>
                <p:cNvSpPr>
                  <a:spLocks/>
                </p:cNvSpPr>
                <p:nvPr/>
              </p:nvSpPr>
              <p:spPr bwMode="auto">
                <a:xfrm>
                  <a:off x="3627482" y="2284425"/>
                  <a:ext cx="15875" cy="15875"/>
                </a:xfrm>
                <a:custGeom>
                  <a:avLst/>
                  <a:gdLst>
                    <a:gd name="T0" fmla="*/ 51 w 51"/>
                    <a:gd name="T1" fmla="*/ 25 h 51"/>
                    <a:gd name="T2" fmla="*/ 51 w 51"/>
                    <a:gd name="T3" fmla="*/ 25 h 51"/>
                    <a:gd name="T4" fmla="*/ 51 w 51"/>
                    <a:gd name="T5" fmla="*/ 30 h 51"/>
                    <a:gd name="T6" fmla="*/ 50 w 51"/>
                    <a:gd name="T7" fmla="*/ 35 h 51"/>
                    <a:gd name="T8" fmla="*/ 48 w 51"/>
                    <a:gd name="T9" fmla="*/ 40 h 51"/>
                    <a:gd name="T10" fmla="*/ 44 w 51"/>
                    <a:gd name="T11" fmla="*/ 44 h 51"/>
                    <a:gd name="T12" fmla="*/ 40 w 51"/>
                    <a:gd name="T13" fmla="*/ 47 h 51"/>
                    <a:gd name="T14" fmla="*/ 35 w 51"/>
                    <a:gd name="T15" fmla="*/ 50 h 51"/>
                    <a:gd name="T16" fmla="*/ 31 w 51"/>
                    <a:gd name="T17" fmla="*/ 51 h 51"/>
                    <a:gd name="T18" fmla="*/ 26 w 51"/>
                    <a:gd name="T19" fmla="*/ 51 h 51"/>
                    <a:gd name="T20" fmla="*/ 26 w 51"/>
                    <a:gd name="T21" fmla="*/ 51 h 51"/>
                    <a:gd name="T22" fmla="*/ 21 w 51"/>
                    <a:gd name="T23" fmla="*/ 51 h 51"/>
                    <a:gd name="T24" fmla="*/ 16 w 51"/>
                    <a:gd name="T25" fmla="*/ 50 h 51"/>
                    <a:gd name="T26" fmla="*/ 11 w 51"/>
                    <a:gd name="T27" fmla="*/ 47 h 51"/>
                    <a:gd name="T28" fmla="*/ 7 w 51"/>
                    <a:gd name="T29" fmla="*/ 44 h 51"/>
                    <a:gd name="T30" fmla="*/ 4 w 51"/>
                    <a:gd name="T31" fmla="*/ 40 h 51"/>
                    <a:gd name="T32" fmla="*/ 1 w 51"/>
                    <a:gd name="T33" fmla="*/ 35 h 51"/>
                    <a:gd name="T34" fmla="*/ 0 w 51"/>
                    <a:gd name="T35" fmla="*/ 30 h 51"/>
                    <a:gd name="T36" fmla="*/ 0 w 51"/>
                    <a:gd name="T37" fmla="*/ 25 h 51"/>
                    <a:gd name="T38" fmla="*/ 0 w 51"/>
                    <a:gd name="T39" fmla="*/ 25 h 51"/>
                    <a:gd name="T40" fmla="*/ 0 w 51"/>
                    <a:gd name="T41" fmla="*/ 20 h 51"/>
                    <a:gd name="T42" fmla="*/ 1 w 51"/>
                    <a:gd name="T43" fmla="*/ 16 h 51"/>
                    <a:gd name="T44" fmla="*/ 4 w 51"/>
                    <a:gd name="T45" fmla="*/ 11 h 51"/>
                    <a:gd name="T46" fmla="*/ 7 w 51"/>
                    <a:gd name="T47" fmla="*/ 7 h 51"/>
                    <a:gd name="T48" fmla="*/ 11 w 51"/>
                    <a:gd name="T49" fmla="*/ 3 h 51"/>
                    <a:gd name="T50" fmla="*/ 16 w 51"/>
                    <a:gd name="T51" fmla="*/ 1 h 51"/>
                    <a:gd name="T52" fmla="*/ 21 w 51"/>
                    <a:gd name="T53" fmla="*/ 0 h 51"/>
                    <a:gd name="T54" fmla="*/ 26 w 51"/>
                    <a:gd name="T55" fmla="*/ 0 h 51"/>
                    <a:gd name="T56" fmla="*/ 26 w 51"/>
                    <a:gd name="T57" fmla="*/ 0 h 51"/>
                    <a:gd name="T58" fmla="*/ 31 w 51"/>
                    <a:gd name="T59" fmla="*/ 0 h 51"/>
                    <a:gd name="T60" fmla="*/ 35 w 51"/>
                    <a:gd name="T61" fmla="*/ 1 h 51"/>
                    <a:gd name="T62" fmla="*/ 40 w 51"/>
                    <a:gd name="T63" fmla="*/ 3 h 51"/>
                    <a:gd name="T64" fmla="*/ 44 w 51"/>
                    <a:gd name="T65" fmla="*/ 7 h 51"/>
                    <a:gd name="T66" fmla="*/ 48 w 51"/>
                    <a:gd name="T67" fmla="*/ 11 h 51"/>
                    <a:gd name="T68" fmla="*/ 50 w 51"/>
                    <a:gd name="T69" fmla="*/ 16 h 51"/>
                    <a:gd name="T70" fmla="*/ 51 w 51"/>
                    <a:gd name="T71" fmla="*/ 20 h 51"/>
                    <a:gd name="T72" fmla="*/ 51 w 51"/>
                    <a:gd name="T73" fmla="*/ 25 h 51"/>
                    <a:gd name="T74" fmla="*/ 51 w 51"/>
                    <a:gd name="T75"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 h="51">
                      <a:moveTo>
                        <a:pt x="51" y="25"/>
                      </a:moveTo>
                      <a:lnTo>
                        <a:pt x="51" y="25"/>
                      </a:lnTo>
                      <a:lnTo>
                        <a:pt x="51" y="30"/>
                      </a:lnTo>
                      <a:lnTo>
                        <a:pt x="50" y="35"/>
                      </a:lnTo>
                      <a:lnTo>
                        <a:pt x="48" y="40"/>
                      </a:lnTo>
                      <a:lnTo>
                        <a:pt x="44" y="44"/>
                      </a:lnTo>
                      <a:lnTo>
                        <a:pt x="40" y="47"/>
                      </a:lnTo>
                      <a:lnTo>
                        <a:pt x="35" y="50"/>
                      </a:lnTo>
                      <a:lnTo>
                        <a:pt x="31" y="51"/>
                      </a:lnTo>
                      <a:lnTo>
                        <a:pt x="26" y="51"/>
                      </a:lnTo>
                      <a:lnTo>
                        <a:pt x="26" y="51"/>
                      </a:lnTo>
                      <a:lnTo>
                        <a:pt x="21" y="51"/>
                      </a:lnTo>
                      <a:lnTo>
                        <a:pt x="16" y="50"/>
                      </a:lnTo>
                      <a:lnTo>
                        <a:pt x="11" y="47"/>
                      </a:lnTo>
                      <a:lnTo>
                        <a:pt x="7" y="44"/>
                      </a:lnTo>
                      <a:lnTo>
                        <a:pt x="4" y="40"/>
                      </a:lnTo>
                      <a:lnTo>
                        <a:pt x="1" y="35"/>
                      </a:lnTo>
                      <a:lnTo>
                        <a:pt x="0" y="30"/>
                      </a:lnTo>
                      <a:lnTo>
                        <a:pt x="0" y="25"/>
                      </a:lnTo>
                      <a:lnTo>
                        <a:pt x="0" y="25"/>
                      </a:lnTo>
                      <a:lnTo>
                        <a:pt x="0" y="20"/>
                      </a:lnTo>
                      <a:lnTo>
                        <a:pt x="1" y="16"/>
                      </a:lnTo>
                      <a:lnTo>
                        <a:pt x="4" y="11"/>
                      </a:lnTo>
                      <a:lnTo>
                        <a:pt x="7" y="7"/>
                      </a:lnTo>
                      <a:lnTo>
                        <a:pt x="11" y="3"/>
                      </a:lnTo>
                      <a:lnTo>
                        <a:pt x="16" y="1"/>
                      </a:lnTo>
                      <a:lnTo>
                        <a:pt x="21" y="0"/>
                      </a:lnTo>
                      <a:lnTo>
                        <a:pt x="26" y="0"/>
                      </a:lnTo>
                      <a:lnTo>
                        <a:pt x="26" y="0"/>
                      </a:lnTo>
                      <a:lnTo>
                        <a:pt x="31" y="0"/>
                      </a:lnTo>
                      <a:lnTo>
                        <a:pt x="35" y="1"/>
                      </a:lnTo>
                      <a:lnTo>
                        <a:pt x="40" y="3"/>
                      </a:lnTo>
                      <a:lnTo>
                        <a:pt x="44" y="7"/>
                      </a:lnTo>
                      <a:lnTo>
                        <a:pt x="48" y="11"/>
                      </a:lnTo>
                      <a:lnTo>
                        <a:pt x="50" y="16"/>
                      </a:lnTo>
                      <a:lnTo>
                        <a:pt x="51" y="20"/>
                      </a:lnTo>
                      <a:lnTo>
                        <a:pt x="51" y="25"/>
                      </a:lnTo>
                      <a:lnTo>
                        <a:pt x="51" y="25"/>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6" name="Freeform 529"/>
                <p:cNvSpPr>
                  <a:spLocks/>
                </p:cNvSpPr>
                <p:nvPr/>
              </p:nvSpPr>
              <p:spPr bwMode="auto">
                <a:xfrm>
                  <a:off x="3630657" y="2287600"/>
                  <a:ext cx="6350" cy="6350"/>
                </a:xfrm>
                <a:custGeom>
                  <a:avLst/>
                  <a:gdLst>
                    <a:gd name="T0" fmla="*/ 20 w 20"/>
                    <a:gd name="T1" fmla="*/ 9 h 20"/>
                    <a:gd name="T2" fmla="*/ 20 w 20"/>
                    <a:gd name="T3" fmla="*/ 9 h 20"/>
                    <a:gd name="T4" fmla="*/ 20 w 20"/>
                    <a:gd name="T5" fmla="*/ 14 h 20"/>
                    <a:gd name="T6" fmla="*/ 17 w 20"/>
                    <a:gd name="T7" fmla="*/ 17 h 20"/>
                    <a:gd name="T8" fmla="*/ 14 w 20"/>
                    <a:gd name="T9" fmla="*/ 19 h 20"/>
                    <a:gd name="T10" fmla="*/ 10 w 20"/>
                    <a:gd name="T11" fmla="*/ 20 h 20"/>
                    <a:gd name="T12" fmla="*/ 10 w 20"/>
                    <a:gd name="T13" fmla="*/ 20 h 20"/>
                    <a:gd name="T14" fmla="*/ 6 w 20"/>
                    <a:gd name="T15" fmla="*/ 19 h 20"/>
                    <a:gd name="T16" fmla="*/ 3 w 20"/>
                    <a:gd name="T17" fmla="*/ 17 h 20"/>
                    <a:gd name="T18" fmla="*/ 0 w 20"/>
                    <a:gd name="T19" fmla="*/ 14 h 20"/>
                    <a:gd name="T20" fmla="*/ 0 w 20"/>
                    <a:gd name="T21" fmla="*/ 9 h 20"/>
                    <a:gd name="T22" fmla="*/ 0 w 20"/>
                    <a:gd name="T23" fmla="*/ 9 h 20"/>
                    <a:gd name="T24" fmla="*/ 0 w 20"/>
                    <a:gd name="T25" fmla="*/ 6 h 20"/>
                    <a:gd name="T26" fmla="*/ 3 w 20"/>
                    <a:gd name="T27" fmla="*/ 2 h 20"/>
                    <a:gd name="T28" fmla="*/ 6 w 20"/>
                    <a:gd name="T29" fmla="*/ 1 h 20"/>
                    <a:gd name="T30" fmla="*/ 10 w 20"/>
                    <a:gd name="T31" fmla="*/ 0 h 20"/>
                    <a:gd name="T32" fmla="*/ 10 w 20"/>
                    <a:gd name="T33" fmla="*/ 0 h 20"/>
                    <a:gd name="T34" fmla="*/ 14 w 20"/>
                    <a:gd name="T35" fmla="*/ 1 h 20"/>
                    <a:gd name="T36" fmla="*/ 17 w 20"/>
                    <a:gd name="T37" fmla="*/ 2 h 20"/>
                    <a:gd name="T38" fmla="*/ 20 w 20"/>
                    <a:gd name="T39" fmla="*/ 6 h 20"/>
                    <a:gd name="T40" fmla="*/ 20 w 20"/>
                    <a:gd name="T41" fmla="*/ 9 h 20"/>
                    <a:gd name="T42" fmla="*/ 20 w 20"/>
                    <a:gd name="T43" fmla="*/ 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20">
                      <a:moveTo>
                        <a:pt x="20" y="9"/>
                      </a:moveTo>
                      <a:lnTo>
                        <a:pt x="20" y="9"/>
                      </a:lnTo>
                      <a:lnTo>
                        <a:pt x="20" y="14"/>
                      </a:lnTo>
                      <a:lnTo>
                        <a:pt x="17" y="17"/>
                      </a:lnTo>
                      <a:lnTo>
                        <a:pt x="14" y="19"/>
                      </a:lnTo>
                      <a:lnTo>
                        <a:pt x="10" y="20"/>
                      </a:lnTo>
                      <a:lnTo>
                        <a:pt x="10" y="20"/>
                      </a:lnTo>
                      <a:lnTo>
                        <a:pt x="6" y="19"/>
                      </a:lnTo>
                      <a:lnTo>
                        <a:pt x="3" y="17"/>
                      </a:lnTo>
                      <a:lnTo>
                        <a:pt x="0" y="14"/>
                      </a:lnTo>
                      <a:lnTo>
                        <a:pt x="0" y="9"/>
                      </a:lnTo>
                      <a:lnTo>
                        <a:pt x="0" y="9"/>
                      </a:lnTo>
                      <a:lnTo>
                        <a:pt x="0" y="6"/>
                      </a:lnTo>
                      <a:lnTo>
                        <a:pt x="3" y="2"/>
                      </a:lnTo>
                      <a:lnTo>
                        <a:pt x="6" y="1"/>
                      </a:lnTo>
                      <a:lnTo>
                        <a:pt x="10" y="0"/>
                      </a:lnTo>
                      <a:lnTo>
                        <a:pt x="10" y="0"/>
                      </a:lnTo>
                      <a:lnTo>
                        <a:pt x="14" y="1"/>
                      </a:lnTo>
                      <a:lnTo>
                        <a:pt x="17" y="2"/>
                      </a:lnTo>
                      <a:lnTo>
                        <a:pt x="20" y="6"/>
                      </a:lnTo>
                      <a:lnTo>
                        <a:pt x="20" y="9"/>
                      </a:lnTo>
                      <a:lnTo>
                        <a:pt x="2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7" name="Freeform 530"/>
                <p:cNvSpPr>
                  <a:spLocks/>
                </p:cNvSpPr>
                <p:nvPr/>
              </p:nvSpPr>
              <p:spPr bwMode="auto">
                <a:xfrm>
                  <a:off x="3629070" y="2381263"/>
                  <a:ext cx="7938" cy="9525"/>
                </a:xfrm>
                <a:custGeom>
                  <a:avLst/>
                  <a:gdLst>
                    <a:gd name="T0" fmla="*/ 27 w 27"/>
                    <a:gd name="T1" fmla="*/ 13 h 28"/>
                    <a:gd name="T2" fmla="*/ 27 w 27"/>
                    <a:gd name="T3" fmla="*/ 13 h 28"/>
                    <a:gd name="T4" fmla="*/ 25 w 27"/>
                    <a:gd name="T5" fmla="*/ 19 h 28"/>
                    <a:gd name="T6" fmla="*/ 23 w 27"/>
                    <a:gd name="T7" fmla="*/ 23 h 28"/>
                    <a:gd name="T8" fmla="*/ 18 w 27"/>
                    <a:gd name="T9" fmla="*/ 27 h 28"/>
                    <a:gd name="T10" fmla="*/ 13 w 27"/>
                    <a:gd name="T11" fmla="*/ 28 h 28"/>
                    <a:gd name="T12" fmla="*/ 13 w 27"/>
                    <a:gd name="T13" fmla="*/ 28 h 28"/>
                    <a:gd name="T14" fmla="*/ 8 w 27"/>
                    <a:gd name="T15" fmla="*/ 27 h 28"/>
                    <a:gd name="T16" fmla="*/ 3 w 27"/>
                    <a:gd name="T17" fmla="*/ 23 h 28"/>
                    <a:gd name="T18" fmla="*/ 1 w 27"/>
                    <a:gd name="T19" fmla="*/ 19 h 28"/>
                    <a:gd name="T20" fmla="*/ 0 w 27"/>
                    <a:gd name="T21" fmla="*/ 13 h 28"/>
                    <a:gd name="T22" fmla="*/ 0 w 27"/>
                    <a:gd name="T23" fmla="*/ 13 h 28"/>
                    <a:gd name="T24" fmla="*/ 1 w 27"/>
                    <a:gd name="T25" fmla="*/ 8 h 28"/>
                    <a:gd name="T26" fmla="*/ 3 w 27"/>
                    <a:gd name="T27" fmla="*/ 3 h 28"/>
                    <a:gd name="T28" fmla="*/ 8 w 27"/>
                    <a:gd name="T29" fmla="*/ 1 h 28"/>
                    <a:gd name="T30" fmla="*/ 13 w 27"/>
                    <a:gd name="T31" fmla="*/ 0 h 28"/>
                    <a:gd name="T32" fmla="*/ 13 w 27"/>
                    <a:gd name="T33" fmla="*/ 0 h 28"/>
                    <a:gd name="T34" fmla="*/ 18 w 27"/>
                    <a:gd name="T35" fmla="*/ 1 h 28"/>
                    <a:gd name="T36" fmla="*/ 23 w 27"/>
                    <a:gd name="T37" fmla="*/ 3 h 28"/>
                    <a:gd name="T38" fmla="*/ 25 w 27"/>
                    <a:gd name="T39" fmla="*/ 8 h 28"/>
                    <a:gd name="T40" fmla="*/ 27 w 27"/>
                    <a:gd name="T41" fmla="*/ 13 h 28"/>
                    <a:gd name="T42" fmla="*/ 27 w 27"/>
                    <a:gd name="T43" fmla="*/ 1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 h="28">
                      <a:moveTo>
                        <a:pt x="27" y="13"/>
                      </a:moveTo>
                      <a:lnTo>
                        <a:pt x="27" y="13"/>
                      </a:lnTo>
                      <a:lnTo>
                        <a:pt x="25" y="19"/>
                      </a:lnTo>
                      <a:lnTo>
                        <a:pt x="23" y="23"/>
                      </a:lnTo>
                      <a:lnTo>
                        <a:pt x="18" y="27"/>
                      </a:lnTo>
                      <a:lnTo>
                        <a:pt x="13" y="28"/>
                      </a:lnTo>
                      <a:lnTo>
                        <a:pt x="13" y="28"/>
                      </a:lnTo>
                      <a:lnTo>
                        <a:pt x="8" y="27"/>
                      </a:lnTo>
                      <a:lnTo>
                        <a:pt x="3" y="23"/>
                      </a:lnTo>
                      <a:lnTo>
                        <a:pt x="1" y="19"/>
                      </a:lnTo>
                      <a:lnTo>
                        <a:pt x="0" y="13"/>
                      </a:lnTo>
                      <a:lnTo>
                        <a:pt x="0" y="13"/>
                      </a:lnTo>
                      <a:lnTo>
                        <a:pt x="1" y="8"/>
                      </a:lnTo>
                      <a:lnTo>
                        <a:pt x="3" y="3"/>
                      </a:lnTo>
                      <a:lnTo>
                        <a:pt x="8" y="1"/>
                      </a:lnTo>
                      <a:lnTo>
                        <a:pt x="13" y="0"/>
                      </a:lnTo>
                      <a:lnTo>
                        <a:pt x="13" y="0"/>
                      </a:lnTo>
                      <a:lnTo>
                        <a:pt x="18" y="1"/>
                      </a:lnTo>
                      <a:lnTo>
                        <a:pt x="23" y="3"/>
                      </a:lnTo>
                      <a:lnTo>
                        <a:pt x="25" y="8"/>
                      </a:lnTo>
                      <a:lnTo>
                        <a:pt x="27" y="13"/>
                      </a:lnTo>
                      <a:lnTo>
                        <a:pt x="27"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8" name="Freeform 531"/>
                <p:cNvSpPr>
                  <a:spLocks/>
                </p:cNvSpPr>
                <p:nvPr/>
              </p:nvSpPr>
              <p:spPr bwMode="auto">
                <a:xfrm>
                  <a:off x="3624307" y="2424126"/>
                  <a:ext cx="14288" cy="15875"/>
                </a:xfrm>
                <a:custGeom>
                  <a:avLst/>
                  <a:gdLst>
                    <a:gd name="T0" fmla="*/ 47 w 47"/>
                    <a:gd name="T1" fmla="*/ 23 h 47"/>
                    <a:gd name="T2" fmla="*/ 47 w 47"/>
                    <a:gd name="T3" fmla="*/ 23 h 47"/>
                    <a:gd name="T4" fmla="*/ 46 w 47"/>
                    <a:gd name="T5" fmla="*/ 28 h 47"/>
                    <a:gd name="T6" fmla="*/ 45 w 47"/>
                    <a:gd name="T7" fmla="*/ 33 h 47"/>
                    <a:gd name="T8" fmla="*/ 43 w 47"/>
                    <a:gd name="T9" fmla="*/ 37 h 47"/>
                    <a:gd name="T10" fmla="*/ 40 w 47"/>
                    <a:gd name="T11" fmla="*/ 40 h 47"/>
                    <a:gd name="T12" fmla="*/ 37 w 47"/>
                    <a:gd name="T13" fmla="*/ 43 h 47"/>
                    <a:gd name="T14" fmla="*/ 33 w 47"/>
                    <a:gd name="T15" fmla="*/ 45 h 47"/>
                    <a:gd name="T16" fmla="*/ 28 w 47"/>
                    <a:gd name="T17" fmla="*/ 47 h 47"/>
                    <a:gd name="T18" fmla="*/ 23 w 47"/>
                    <a:gd name="T19" fmla="*/ 47 h 47"/>
                    <a:gd name="T20" fmla="*/ 23 w 47"/>
                    <a:gd name="T21" fmla="*/ 47 h 47"/>
                    <a:gd name="T22" fmla="*/ 19 w 47"/>
                    <a:gd name="T23" fmla="*/ 47 h 47"/>
                    <a:gd name="T24" fmla="*/ 15 w 47"/>
                    <a:gd name="T25" fmla="*/ 45 h 47"/>
                    <a:gd name="T26" fmla="*/ 11 w 47"/>
                    <a:gd name="T27" fmla="*/ 43 h 47"/>
                    <a:gd name="T28" fmla="*/ 7 w 47"/>
                    <a:gd name="T29" fmla="*/ 40 h 47"/>
                    <a:gd name="T30" fmla="*/ 4 w 47"/>
                    <a:gd name="T31" fmla="*/ 37 h 47"/>
                    <a:gd name="T32" fmla="*/ 2 w 47"/>
                    <a:gd name="T33" fmla="*/ 33 h 47"/>
                    <a:gd name="T34" fmla="*/ 1 w 47"/>
                    <a:gd name="T35" fmla="*/ 28 h 47"/>
                    <a:gd name="T36" fmla="*/ 0 w 47"/>
                    <a:gd name="T37" fmla="*/ 23 h 47"/>
                    <a:gd name="T38" fmla="*/ 0 w 47"/>
                    <a:gd name="T39" fmla="*/ 23 h 47"/>
                    <a:gd name="T40" fmla="*/ 1 w 47"/>
                    <a:gd name="T41" fmla="*/ 19 h 47"/>
                    <a:gd name="T42" fmla="*/ 2 w 47"/>
                    <a:gd name="T43" fmla="*/ 15 h 47"/>
                    <a:gd name="T44" fmla="*/ 4 w 47"/>
                    <a:gd name="T45" fmla="*/ 10 h 47"/>
                    <a:gd name="T46" fmla="*/ 7 w 47"/>
                    <a:gd name="T47" fmla="*/ 8 h 47"/>
                    <a:gd name="T48" fmla="*/ 11 w 47"/>
                    <a:gd name="T49" fmla="*/ 4 h 47"/>
                    <a:gd name="T50" fmla="*/ 15 w 47"/>
                    <a:gd name="T51" fmla="*/ 1 h 47"/>
                    <a:gd name="T52" fmla="*/ 19 w 47"/>
                    <a:gd name="T53" fmla="*/ 0 h 47"/>
                    <a:gd name="T54" fmla="*/ 23 w 47"/>
                    <a:gd name="T55" fmla="*/ 0 h 47"/>
                    <a:gd name="T56" fmla="*/ 23 w 47"/>
                    <a:gd name="T57" fmla="*/ 0 h 47"/>
                    <a:gd name="T58" fmla="*/ 28 w 47"/>
                    <a:gd name="T59" fmla="*/ 0 h 47"/>
                    <a:gd name="T60" fmla="*/ 33 w 47"/>
                    <a:gd name="T61" fmla="*/ 1 h 47"/>
                    <a:gd name="T62" fmla="*/ 37 w 47"/>
                    <a:gd name="T63" fmla="*/ 4 h 47"/>
                    <a:gd name="T64" fmla="*/ 40 w 47"/>
                    <a:gd name="T65" fmla="*/ 8 h 47"/>
                    <a:gd name="T66" fmla="*/ 43 w 47"/>
                    <a:gd name="T67" fmla="*/ 10 h 47"/>
                    <a:gd name="T68" fmla="*/ 45 w 47"/>
                    <a:gd name="T69" fmla="*/ 15 h 47"/>
                    <a:gd name="T70" fmla="*/ 46 w 47"/>
                    <a:gd name="T71" fmla="*/ 19 h 47"/>
                    <a:gd name="T72" fmla="*/ 47 w 47"/>
                    <a:gd name="T73" fmla="*/ 23 h 47"/>
                    <a:gd name="T74" fmla="*/ 47 w 47"/>
                    <a:gd name="T7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 h="47">
                      <a:moveTo>
                        <a:pt x="47" y="23"/>
                      </a:moveTo>
                      <a:lnTo>
                        <a:pt x="47" y="23"/>
                      </a:lnTo>
                      <a:lnTo>
                        <a:pt x="46" y="28"/>
                      </a:lnTo>
                      <a:lnTo>
                        <a:pt x="45" y="33"/>
                      </a:lnTo>
                      <a:lnTo>
                        <a:pt x="43" y="37"/>
                      </a:lnTo>
                      <a:lnTo>
                        <a:pt x="40" y="40"/>
                      </a:lnTo>
                      <a:lnTo>
                        <a:pt x="37" y="43"/>
                      </a:lnTo>
                      <a:lnTo>
                        <a:pt x="33" y="45"/>
                      </a:lnTo>
                      <a:lnTo>
                        <a:pt x="28" y="47"/>
                      </a:lnTo>
                      <a:lnTo>
                        <a:pt x="23" y="47"/>
                      </a:lnTo>
                      <a:lnTo>
                        <a:pt x="23" y="47"/>
                      </a:lnTo>
                      <a:lnTo>
                        <a:pt x="19" y="47"/>
                      </a:lnTo>
                      <a:lnTo>
                        <a:pt x="15" y="45"/>
                      </a:lnTo>
                      <a:lnTo>
                        <a:pt x="11" y="43"/>
                      </a:lnTo>
                      <a:lnTo>
                        <a:pt x="7" y="40"/>
                      </a:lnTo>
                      <a:lnTo>
                        <a:pt x="4" y="37"/>
                      </a:lnTo>
                      <a:lnTo>
                        <a:pt x="2" y="33"/>
                      </a:lnTo>
                      <a:lnTo>
                        <a:pt x="1" y="28"/>
                      </a:lnTo>
                      <a:lnTo>
                        <a:pt x="0" y="23"/>
                      </a:lnTo>
                      <a:lnTo>
                        <a:pt x="0" y="23"/>
                      </a:lnTo>
                      <a:lnTo>
                        <a:pt x="1" y="19"/>
                      </a:lnTo>
                      <a:lnTo>
                        <a:pt x="2" y="15"/>
                      </a:lnTo>
                      <a:lnTo>
                        <a:pt x="4" y="10"/>
                      </a:lnTo>
                      <a:lnTo>
                        <a:pt x="7" y="8"/>
                      </a:lnTo>
                      <a:lnTo>
                        <a:pt x="11" y="4"/>
                      </a:lnTo>
                      <a:lnTo>
                        <a:pt x="15" y="1"/>
                      </a:lnTo>
                      <a:lnTo>
                        <a:pt x="19" y="0"/>
                      </a:lnTo>
                      <a:lnTo>
                        <a:pt x="23" y="0"/>
                      </a:lnTo>
                      <a:lnTo>
                        <a:pt x="23" y="0"/>
                      </a:lnTo>
                      <a:lnTo>
                        <a:pt x="28" y="0"/>
                      </a:lnTo>
                      <a:lnTo>
                        <a:pt x="33" y="1"/>
                      </a:lnTo>
                      <a:lnTo>
                        <a:pt x="37" y="4"/>
                      </a:lnTo>
                      <a:lnTo>
                        <a:pt x="40" y="8"/>
                      </a:lnTo>
                      <a:lnTo>
                        <a:pt x="43" y="10"/>
                      </a:lnTo>
                      <a:lnTo>
                        <a:pt x="45" y="15"/>
                      </a:lnTo>
                      <a:lnTo>
                        <a:pt x="46" y="19"/>
                      </a:lnTo>
                      <a:lnTo>
                        <a:pt x="47" y="23"/>
                      </a:lnTo>
                      <a:lnTo>
                        <a:pt x="47"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1046" name="그룹 1045"/>
              <p:cNvGrpSpPr/>
              <p:nvPr userDrawn="1"/>
            </p:nvGrpSpPr>
            <p:grpSpPr>
              <a:xfrm>
                <a:off x="3095622" y="4080148"/>
                <a:ext cx="178621" cy="155819"/>
                <a:chOff x="3459207" y="4846674"/>
                <a:chExt cx="373065" cy="325441"/>
              </a:xfrm>
            </p:grpSpPr>
            <p:sp>
              <p:nvSpPr>
                <p:cNvPr id="1047" name="Freeform 908"/>
                <p:cNvSpPr>
                  <a:spLocks/>
                </p:cNvSpPr>
                <p:nvPr/>
              </p:nvSpPr>
              <p:spPr bwMode="auto">
                <a:xfrm>
                  <a:off x="3525882" y="5059401"/>
                  <a:ext cx="49213" cy="47625"/>
                </a:xfrm>
                <a:custGeom>
                  <a:avLst/>
                  <a:gdLst>
                    <a:gd name="T0" fmla="*/ 79 w 157"/>
                    <a:gd name="T1" fmla="*/ 123 h 149"/>
                    <a:gd name="T2" fmla="*/ 126 w 157"/>
                    <a:gd name="T3" fmla="*/ 149 h 149"/>
                    <a:gd name="T4" fmla="*/ 118 w 157"/>
                    <a:gd name="T5" fmla="*/ 95 h 149"/>
                    <a:gd name="T6" fmla="*/ 157 w 157"/>
                    <a:gd name="T7" fmla="*/ 56 h 149"/>
                    <a:gd name="T8" fmla="*/ 102 w 157"/>
                    <a:gd name="T9" fmla="*/ 49 h 149"/>
                    <a:gd name="T10" fmla="*/ 79 w 157"/>
                    <a:gd name="T11" fmla="*/ 0 h 149"/>
                    <a:gd name="T12" fmla="*/ 54 w 157"/>
                    <a:gd name="T13" fmla="*/ 49 h 149"/>
                    <a:gd name="T14" fmla="*/ 0 w 157"/>
                    <a:gd name="T15" fmla="*/ 56 h 149"/>
                    <a:gd name="T16" fmla="*/ 39 w 157"/>
                    <a:gd name="T17" fmla="*/ 95 h 149"/>
                    <a:gd name="T18" fmla="*/ 30 w 157"/>
                    <a:gd name="T19" fmla="*/ 149 h 149"/>
                    <a:gd name="T20" fmla="*/ 79 w 157"/>
                    <a:gd name="T21" fmla="*/ 12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149">
                      <a:moveTo>
                        <a:pt x="79" y="123"/>
                      </a:moveTo>
                      <a:lnTo>
                        <a:pt x="126" y="149"/>
                      </a:lnTo>
                      <a:lnTo>
                        <a:pt x="118" y="95"/>
                      </a:lnTo>
                      <a:lnTo>
                        <a:pt x="157" y="56"/>
                      </a:lnTo>
                      <a:lnTo>
                        <a:pt x="102" y="49"/>
                      </a:lnTo>
                      <a:lnTo>
                        <a:pt x="79" y="0"/>
                      </a:lnTo>
                      <a:lnTo>
                        <a:pt x="54" y="49"/>
                      </a:lnTo>
                      <a:lnTo>
                        <a:pt x="0" y="56"/>
                      </a:lnTo>
                      <a:lnTo>
                        <a:pt x="39" y="95"/>
                      </a:lnTo>
                      <a:lnTo>
                        <a:pt x="30" y="149"/>
                      </a:lnTo>
                      <a:lnTo>
                        <a:pt x="79" y="12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48" name="Freeform 909"/>
                <p:cNvSpPr>
                  <a:spLocks/>
                </p:cNvSpPr>
                <p:nvPr/>
              </p:nvSpPr>
              <p:spPr bwMode="auto">
                <a:xfrm>
                  <a:off x="3698921" y="4846674"/>
                  <a:ext cx="38100" cy="36513"/>
                </a:xfrm>
                <a:custGeom>
                  <a:avLst/>
                  <a:gdLst>
                    <a:gd name="T0" fmla="*/ 61 w 121"/>
                    <a:gd name="T1" fmla="*/ 95 h 114"/>
                    <a:gd name="T2" fmla="*/ 98 w 121"/>
                    <a:gd name="T3" fmla="*/ 114 h 114"/>
                    <a:gd name="T4" fmla="*/ 91 w 121"/>
                    <a:gd name="T5" fmla="*/ 73 h 114"/>
                    <a:gd name="T6" fmla="*/ 121 w 121"/>
                    <a:gd name="T7" fmla="*/ 44 h 114"/>
                    <a:gd name="T8" fmla="*/ 80 w 121"/>
                    <a:gd name="T9" fmla="*/ 38 h 114"/>
                    <a:gd name="T10" fmla="*/ 61 w 121"/>
                    <a:gd name="T11" fmla="*/ 0 h 114"/>
                    <a:gd name="T12" fmla="*/ 42 w 121"/>
                    <a:gd name="T13" fmla="*/ 38 h 114"/>
                    <a:gd name="T14" fmla="*/ 0 w 121"/>
                    <a:gd name="T15" fmla="*/ 44 h 114"/>
                    <a:gd name="T16" fmla="*/ 31 w 121"/>
                    <a:gd name="T17" fmla="*/ 73 h 114"/>
                    <a:gd name="T18" fmla="*/ 24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1" y="73"/>
                      </a:lnTo>
                      <a:lnTo>
                        <a:pt x="121" y="44"/>
                      </a:lnTo>
                      <a:lnTo>
                        <a:pt x="80" y="38"/>
                      </a:lnTo>
                      <a:lnTo>
                        <a:pt x="61" y="0"/>
                      </a:lnTo>
                      <a:lnTo>
                        <a:pt x="42" y="38"/>
                      </a:lnTo>
                      <a:lnTo>
                        <a:pt x="0" y="44"/>
                      </a:lnTo>
                      <a:lnTo>
                        <a:pt x="31" y="73"/>
                      </a:lnTo>
                      <a:lnTo>
                        <a:pt x="24" y="114"/>
                      </a:lnTo>
                      <a:lnTo>
                        <a:pt x="61" y="95"/>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49" name="Freeform 910"/>
                <p:cNvSpPr>
                  <a:spLocks/>
                </p:cNvSpPr>
                <p:nvPr/>
              </p:nvSpPr>
              <p:spPr bwMode="auto">
                <a:xfrm>
                  <a:off x="3665583" y="5135602"/>
                  <a:ext cx="38100" cy="36513"/>
                </a:xfrm>
                <a:custGeom>
                  <a:avLst/>
                  <a:gdLst>
                    <a:gd name="T0" fmla="*/ 60 w 120"/>
                    <a:gd name="T1" fmla="*/ 95 h 114"/>
                    <a:gd name="T2" fmla="*/ 98 w 120"/>
                    <a:gd name="T3" fmla="*/ 114 h 114"/>
                    <a:gd name="T4" fmla="*/ 91 w 120"/>
                    <a:gd name="T5" fmla="*/ 73 h 114"/>
                    <a:gd name="T6" fmla="*/ 120 w 120"/>
                    <a:gd name="T7" fmla="*/ 43 h 114"/>
                    <a:gd name="T8" fmla="*/ 78 w 120"/>
                    <a:gd name="T9" fmla="*/ 37 h 114"/>
                    <a:gd name="T10" fmla="*/ 60 w 120"/>
                    <a:gd name="T11" fmla="*/ 0 h 114"/>
                    <a:gd name="T12" fmla="*/ 42 w 120"/>
                    <a:gd name="T13" fmla="*/ 37 h 114"/>
                    <a:gd name="T14" fmla="*/ 0 w 120"/>
                    <a:gd name="T15" fmla="*/ 43 h 114"/>
                    <a:gd name="T16" fmla="*/ 31 w 120"/>
                    <a:gd name="T17" fmla="*/ 73 h 114"/>
                    <a:gd name="T18" fmla="*/ 24 w 120"/>
                    <a:gd name="T19" fmla="*/ 114 h 114"/>
                    <a:gd name="T20" fmla="*/ 60 w 120"/>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 h="114">
                      <a:moveTo>
                        <a:pt x="60" y="95"/>
                      </a:moveTo>
                      <a:lnTo>
                        <a:pt x="98" y="114"/>
                      </a:lnTo>
                      <a:lnTo>
                        <a:pt x="91" y="73"/>
                      </a:lnTo>
                      <a:lnTo>
                        <a:pt x="120" y="43"/>
                      </a:lnTo>
                      <a:lnTo>
                        <a:pt x="78" y="37"/>
                      </a:lnTo>
                      <a:lnTo>
                        <a:pt x="60" y="0"/>
                      </a:lnTo>
                      <a:lnTo>
                        <a:pt x="42" y="37"/>
                      </a:lnTo>
                      <a:lnTo>
                        <a:pt x="0" y="43"/>
                      </a:lnTo>
                      <a:lnTo>
                        <a:pt x="31" y="73"/>
                      </a:lnTo>
                      <a:lnTo>
                        <a:pt x="24" y="114"/>
                      </a:lnTo>
                      <a:lnTo>
                        <a:pt x="60"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0" name="Freeform 911"/>
                <p:cNvSpPr>
                  <a:spLocks/>
                </p:cNvSpPr>
                <p:nvPr/>
              </p:nvSpPr>
              <p:spPr bwMode="auto">
                <a:xfrm>
                  <a:off x="3459207" y="4980026"/>
                  <a:ext cx="38100" cy="36513"/>
                </a:xfrm>
                <a:custGeom>
                  <a:avLst/>
                  <a:gdLst>
                    <a:gd name="T0" fmla="*/ 61 w 121"/>
                    <a:gd name="T1" fmla="*/ 95 h 114"/>
                    <a:gd name="T2" fmla="*/ 98 w 121"/>
                    <a:gd name="T3" fmla="*/ 114 h 114"/>
                    <a:gd name="T4" fmla="*/ 90 w 121"/>
                    <a:gd name="T5" fmla="*/ 73 h 114"/>
                    <a:gd name="T6" fmla="*/ 121 w 121"/>
                    <a:gd name="T7" fmla="*/ 44 h 114"/>
                    <a:gd name="T8" fmla="*/ 79 w 121"/>
                    <a:gd name="T9" fmla="*/ 38 h 114"/>
                    <a:gd name="T10" fmla="*/ 61 w 121"/>
                    <a:gd name="T11" fmla="*/ 0 h 114"/>
                    <a:gd name="T12" fmla="*/ 41 w 121"/>
                    <a:gd name="T13" fmla="*/ 38 h 114"/>
                    <a:gd name="T14" fmla="*/ 0 w 121"/>
                    <a:gd name="T15" fmla="*/ 44 h 114"/>
                    <a:gd name="T16" fmla="*/ 31 w 121"/>
                    <a:gd name="T17" fmla="*/ 73 h 114"/>
                    <a:gd name="T18" fmla="*/ 23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0" y="73"/>
                      </a:lnTo>
                      <a:lnTo>
                        <a:pt x="121" y="44"/>
                      </a:lnTo>
                      <a:lnTo>
                        <a:pt x="79" y="38"/>
                      </a:lnTo>
                      <a:lnTo>
                        <a:pt x="61" y="0"/>
                      </a:lnTo>
                      <a:lnTo>
                        <a:pt x="41" y="38"/>
                      </a:lnTo>
                      <a:lnTo>
                        <a:pt x="0" y="44"/>
                      </a:lnTo>
                      <a:lnTo>
                        <a:pt x="31" y="73"/>
                      </a:lnTo>
                      <a:lnTo>
                        <a:pt x="23" y="114"/>
                      </a:lnTo>
                      <a:lnTo>
                        <a:pt x="61"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1" name="Freeform 912"/>
                <p:cNvSpPr>
                  <a:spLocks/>
                </p:cNvSpPr>
                <p:nvPr/>
              </p:nvSpPr>
              <p:spPr bwMode="auto">
                <a:xfrm>
                  <a:off x="3575095" y="4935575"/>
                  <a:ext cx="128588" cy="127001"/>
                </a:xfrm>
                <a:custGeom>
                  <a:avLst/>
                  <a:gdLst>
                    <a:gd name="T0" fmla="*/ 272 w 401"/>
                    <a:gd name="T1" fmla="*/ 130 h 402"/>
                    <a:gd name="T2" fmla="*/ 401 w 401"/>
                    <a:gd name="T3" fmla="*/ 201 h 402"/>
                    <a:gd name="T4" fmla="*/ 272 w 401"/>
                    <a:gd name="T5" fmla="*/ 272 h 402"/>
                    <a:gd name="T6" fmla="*/ 201 w 401"/>
                    <a:gd name="T7" fmla="*/ 402 h 402"/>
                    <a:gd name="T8" fmla="*/ 129 w 401"/>
                    <a:gd name="T9" fmla="*/ 272 h 402"/>
                    <a:gd name="T10" fmla="*/ 0 w 401"/>
                    <a:gd name="T11" fmla="*/ 201 h 402"/>
                    <a:gd name="T12" fmla="*/ 129 w 401"/>
                    <a:gd name="T13" fmla="*/ 130 h 402"/>
                    <a:gd name="T14" fmla="*/ 201 w 401"/>
                    <a:gd name="T15" fmla="*/ 0 h 402"/>
                    <a:gd name="T16" fmla="*/ 272 w 401"/>
                    <a:gd name="T17" fmla="*/ 13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1" h="402">
                      <a:moveTo>
                        <a:pt x="272" y="130"/>
                      </a:moveTo>
                      <a:lnTo>
                        <a:pt x="401" y="201"/>
                      </a:lnTo>
                      <a:lnTo>
                        <a:pt x="272" y="272"/>
                      </a:lnTo>
                      <a:lnTo>
                        <a:pt x="201" y="402"/>
                      </a:lnTo>
                      <a:lnTo>
                        <a:pt x="129" y="272"/>
                      </a:lnTo>
                      <a:lnTo>
                        <a:pt x="0" y="201"/>
                      </a:lnTo>
                      <a:lnTo>
                        <a:pt x="129" y="130"/>
                      </a:lnTo>
                      <a:lnTo>
                        <a:pt x="201" y="0"/>
                      </a:lnTo>
                      <a:lnTo>
                        <a:pt x="27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2" name="Freeform 913"/>
                <p:cNvSpPr>
                  <a:spLocks/>
                </p:cNvSpPr>
                <p:nvPr/>
              </p:nvSpPr>
              <p:spPr bwMode="auto">
                <a:xfrm>
                  <a:off x="3771947" y="4975263"/>
                  <a:ext cx="60325" cy="58738"/>
                </a:xfrm>
                <a:custGeom>
                  <a:avLst/>
                  <a:gdLst>
                    <a:gd name="T0" fmla="*/ 126 w 186"/>
                    <a:gd name="T1" fmla="*/ 59 h 185"/>
                    <a:gd name="T2" fmla="*/ 186 w 186"/>
                    <a:gd name="T3" fmla="*/ 92 h 185"/>
                    <a:gd name="T4" fmla="*/ 126 w 186"/>
                    <a:gd name="T5" fmla="*/ 125 h 185"/>
                    <a:gd name="T6" fmla="*/ 93 w 186"/>
                    <a:gd name="T7" fmla="*/ 185 h 185"/>
                    <a:gd name="T8" fmla="*/ 60 w 186"/>
                    <a:gd name="T9" fmla="*/ 125 h 185"/>
                    <a:gd name="T10" fmla="*/ 0 w 186"/>
                    <a:gd name="T11" fmla="*/ 92 h 185"/>
                    <a:gd name="T12" fmla="*/ 60 w 186"/>
                    <a:gd name="T13" fmla="*/ 59 h 185"/>
                    <a:gd name="T14" fmla="*/ 93 w 186"/>
                    <a:gd name="T15" fmla="*/ 0 h 185"/>
                    <a:gd name="T16" fmla="*/ 126 w 186"/>
                    <a:gd name="T17" fmla="*/ 59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85">
                      <a:moveTo>
                        <a:pt x="126" y="59"/>
                      </a:moveTo>
                      <a:lnTo>
                        <a:pt x="186" y="92"/>
                      </a:lnTo>
                      <a:lnTo>
                        <a:pt x="126" y="125"/>
                      </a:lnTo>
                      <a:lnTo>
                        <a:pt x="93" y="185"/>
                      </a:lnTo>
                      <a:lnTo>
                        <a:pt x="60" y="125"/>
                      </a:lnTo>
                      <a:lnTo>
                        <a:pt x="0" y="92"/>
                      </a:lnTo>
                      <a:lnTo>
                        <a:pt x="60" y="59"/>
                      </a:lnTo>
                      <a:lnTo>
                        <a:pt x="93" y="0"/>
                      </a:lnTo>
                      <a:lnTo>
                        <a:pt x="126" y="59"/>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3" name="Freeform 914"/>
                <p:cNvSpPr>
                  <a:spLocks/>
                </p:cNvSpPr>
                <p:nvPr/>
              </p:nvSpPr>
              <p:spPr bwMode="auto">
                <a:xfrm>
                  <a:off x="3517945" y="4902237"/>
                  <a:ext cx="39688" cy="39688"/>
                </a:xfrm>
                <a:custGeom>
                  <a:avLst/>
                  <a:gdLst>
                    <a:gd name="T0" fmla="*/ 84 w 125"/>
                    <a:gd name="T1" fmla="*/ 40 h 124"/>
                    <a:gd name="T2" fmla="*/ 125 w 125"/>
                    <a:gd name="T3" fmla="*/ 62 h 124"/>
                    <a:gd name="T4" fmla="*/ 84 w 125"/>
                    <a:gd name="T5" fmla="*/ 84 h 124"/>
                    <a:gd name="T6" fmla="*/ 63 w 125"/>
                    <a:gd name="T7" fmla="*/ 124 h 124"/>
                    <a:gd name="T8" fmla="*/ 41 w 125"/>
                    <a:gd name="T9" fmla="*/ 84 h 124"/>
                    <a:gd name="T10" fmla="*/ 0 w 125"/>
                    <a:gd name="T11" fmla="*/ 62 h 124"/>
                    <a:gd name="T12" fmla="*/ 41 w 125"/>
                    <a:gd name="T13" fmla="*/ 40 h 124"/>
                    <a:gd name="T14" fmla="*/ 63 w 125"/>
                    <a:gd name="T15" fmla="*/ 0 h 124"/>
                    <a:gd name="T16" fmla="*/ 84 w 125"/>
                    <a:gd name="T17" fmla="*/ 4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124">
                      <a:moveTo>
                        <a:pt x="84" y="40"/>
                      </a:moveTo>
                      <a:lnTo>
                        <a:pt x="125" y="62"/>
                      </a:lnTo>
                      <a:lnTo>
                        <a:pt x="84" y="84"/>
                      </a:lnTo>
                      <a:lnTo>
                        <a:pt x="63" y="124"/>
                      </a:lnTo>
                      <a:lnTo>
                        <a:pt x="41" y="84"/>
                      </a:lnTo>
                      <a:lnTo>
                        <a:pt x="0" y="62"/>
                      </a:lnTo>
                      <a:lnTo>
                        <a:pt x="41" y="40"/>
                      </a:lnTo>
                      <a:lnTo>
                        <a:pt x="63" y="0"/>
                      </a:lnTo>
                      <a:lnTo>
                        <a:pt x="84"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4" name="Freeform 915"/>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5" name="Freeform 916"/>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6" name="Freeform 917"/>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7" name="Freeform 918"/>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8" name="Freeform 919"/>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9" name="Freeform 920"/>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60" name="Freeform 921"/>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61" name="Freeform 922"/>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62" name="Freeform 923"/>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63" name="Freeform 924"/>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64" name="Freeform 925"/>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65" name="Freeform 926"/>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1067" name="그룹 1066"/>
              <p:cNvGrpSpPr/>
              <p:nvPr userDrawn="1"/>
            </p:nvGrpSpPr>
            <p:grpSpPr>
              <a:xfrm>
                <a:off x="808301" y="667117"/>
                <a:ext cx="292608" cy="255255"/>
                <a:chOff x="3459207" y="4846674"/>
                <a:chExt cx="373065" cy="325441"/>
              </a:xfrm>
            </p:grpSpPr>
            <p:sp>
              <p:nvSpPr>
                <p:cNvPr id="1068" name="Freeform 908"/>
                <p:cNvSpPr>
                  <a:spLocks/>
                </p:cNvSpPr>
                <p:nvPr/>
              </p:nvSpPr>
              <p:spPr bwMode="auto">
                <a:xfrm>
                  <a:off x="3525882" y="5059401"/>
                  <a:ext cx="49213" cy="47625"/>
                </a:xfrm>
                <a:custGeom>
                  <a:avLst/>
                  <a:gdLst>
                    <a:gd name="T0" fmla="*/ 79 w 157"/>
                    <a:gd name="T1" fmla="*/ 123 h 149"/>
                    <a:gd name="T2" fmla="*/ 126 w 157"/>
                    <a:gd name="T3" fmla="*/ 149 h 149"/>
                    <a:gd name="T4" fmla="*/ 118 w 157"/>
                    <a:gd name="T5" fmla="*/ 95 h 149"/>
                    <a:gd name="T6" fmla="*/ 157 w 157"/>
                    <a:gd name="T7" fmla="*/ 56 h 149"/>
                    <a:gd name="T8" fmla="*/ 102 w 157"/>
                    <a:gd name="T9" fmla="*/ 49 h 149"/>
                    <a:gd name="T10" fmla="*/ 79 w 157"/>
                    <a:gd name="T11" fmla="*/ 0 h 149"/>
                    <a:gd name="T12" fmla="*/ 54 w 157"/>
                    <a:gd name="T13" fmla="*/ 49 h 149"/>
                    <a:gd name="T14" fmla="*/ 0 w 157"/>
                    <a:gd name="T15" fmla="*/ 56 h 149"/>
                    <a:gd name="T16" fmla="*/ 39 w 157"/>
                    <a:gd name="T17" fmla="*/ 95 h 149"/>
                    <a:gd name="T18" fmla="*/ 30 w 157"/>
                    <a:gd name="T19" fmla="*/ 149 h 149"/>
                    <a:gd name="T20" fmla="*/ 79 w 157"/>
                    <a:gd name="T21" fmla="*/ 12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149">
                      <a:moveTo>
                        <a:pt x="79" y="123"/>
                      </a:moveTo>
                      <a:lnTo>
                        <a:pt x="126" y="149"/>
                      </a:lnTo>
                      <a:lnTo>
                        <a:pt x="118" y="95"/>
                      </a:lnTo>
                      <a:lnTo>
                        <a:pt x="157" y="56"/>
                      </a:lnTo>
                      <a:lnTo>
                        <a:pt x="102" y="49"/>
                      </a:lnTo>
                      <a:lnTo>
                        <a:pt x="79" y="0"/>
                      </a:lnTo>
                      <a:lnTo>
                        <a:pt x="54" y="49"/>
                      </a:lnTo>
                      <a:lnTo>
                        <a:pt x="0" y="56"/>
                      </a:lnTo>
                      <a:lnTo>
                        <a:pt x="39" y="95"/>
                      </a:lnTo>
                      <a:lnTo>
                        <a:pt x="30" y="149"/>
                      </a:lnTo>
                      <a:lnTo>
                        <a:pt x="79" y="12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69" name="Freeform 909"/>
                <p:cNvSpPr>
                  <a:spLocks/>
                </p:cNvSpPr>
                <p:nvPr/>
              </p:nvSpPr>
              <p:spPr bwMode="auto">
                <a:xfrm>
                  <a:off x="3698921" y="4846674"/>
                  <a:ext cx="38100" cy="36513"/>
                </a:xfrm>
                <a:custGeom>
                  <a:avLst/>
                  <a:gdLst>
                    <a:gd name="T0" fmla="*/ 61 w 121"/>
                    <a:gd name="T1" fmla="*/ 95 h 114"/>
                    <a:gd name="T2" fmla="*/ 98 w 121"/>
                    <a:gd name="T3" fmla="*/ 114 h 114"/>
                    <a:gd name="T4" fmla="*/ 91 w 121"/>
                    <a:gd name="T5" fmla="*/ 73 h 114"/>
                    <a:gd name="T6" fmla="*/ 121 w 121"/>
                    <a:gd name="T7" fmla="*/ 44 h 114"/>
                    <a:gd name="T8" fmla="*/ 80 w 121"/>
                    <a:gd name="T9" fmla="*/ 38 h 114"/>
                    <a:gd name="T10" fmla="*/ 61 w 121"/>
                    <a:gd name="T11" fmla="*/ 0 h 114"/>
                    <a:gd name="T12" fmla="*/ 42 w 121"/>
                    <a:gd name="T13" fmla="*/ 38 h 114"/>
                    <a:gd name="T14" fmla="*/ 0 w 121"/>
                    <a:gd name="T15" fmla="*/ 44 h 114"/>
                    <a:gd name="T16" fmla="*/ 31 w 121"/>
                    <a:gd name="T17" fmla="*/ 73 h 114"/>
                    <a:gd name="T18" fmla="*/ 24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1" y="73"/>
                      </a:lnTo>
                      <a:lnTo>
                        <a:pt x="121" y="44"/>
                      </a:lnTo>
                      <a:lnTo>
                        <a:pt x="80" y="38"/>
                      </a:lnTo>
                      <a:lnTo>
                        <a:pt x="61" y="0"/>
                      </a:lnTo>
                      <a:lnTo>
                        <a:pt x="42" y="38"/>
                      </a:lnTo>
                      <a:lnTo>
                        <a:pt x="0" y="44"/>
                      </a:lnTo>
                      <a:lnTo>
                        <a:pt x="31" y="73"/>
                      </a:lnTo>
                      <a:lnTo>
                        <a:pt x="24" y="114"/>
                      </a:lnTo>
                      <a:lnTo>
                        <a:pt x="61" y="95"/>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70" name="Freeform 910"/>
                <p:cNvSpPr>
                  <a:spLocks/>
                </p:cNvSpPr>
                <p:nvPr/>
              </p:nvSpPr>
              <p:spPr bwMode="auto">
                <a:xfrm>
                  <a:off x="3665583" y="5135602"/>
                  <a:ext cx="38100" cy="36513"/>
                </a:xfrm>
                <a:custGeom>
                  <a:avLst/>
                  <a:gdLst>
                    <a:gd name="T0" fmla="*/ 60 w 120"/>
                    <a:gd name="T1" fmla="*/ 95 h 114"/>
                    <a:gd name="T2" fmla="*/ 98 w 120"/>
                    <a:gd name="T3" fmla="*/ 114 h 114"/>
                    <a:gd name="T4" fmla="*/ 91 w 120"/>
                    <a:gd name="T5" fmla="*/ 73 h 114"/>
                    <a:gd name="T6" fmla="*/ 120 w 120"/>
                    <a:gd name="T7" fmla="*/ 43 h 114"/>
                    <a:gd name="T8" fmla="*/ 78 w 120"/>
                    <a:gd name="T9" fmla="*/ 37 h 114"/>
                    <a:gd name="T10" fmla="*/ 60 w 120"/>
                    <a:gd name="T11" fmla="*/ 0 h 114"/>
                    <a:gd name="T12" fmla="*/ 42 w 120"/>
                    <a:gd name="T13" fmla="*/ 37 h 114"/>
                    <a:gd name="T14" fmla="*/ 0 w 120"/>
                    <a:gd name="T15" fmla="*/ 43 h 114"/>
                    <a:gd name="T16" fmla="*/ 31 w 120"/>
                    <a:gd name="T17" fmla="*/ 73 h 114"/>
                    <a:gd name="T18" fmla="*/ 24 w 120"/>
                    <a:gd name="T19" fmla="*/ 114 h 114"/>
                    <a:gd name="T20" fmla="*/ 60 w 120"/>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 h="114">
                      <a:moveTo>
                        <a:pt x="60" y="95"/>
                      </a:moveTo>
                      <a:lnTo>
                        <a:pt x="98" y="114"/>
                      </a:lnTo>
                      <a:lnTo>
                        <a:pt x="91" y="73"/>
                      </a:lnTo>
                      <a:lnTo>
                        <a:pt x="120" y="43"/>
                      </a:lnTo>
                      <a:lnTo>
                        <a:pt x="78" y="37"/>
                      </a:lnTo>
                      <a:lnTo>
                        <a:pt x="60" y="0"/>
                      </a:lnTo>
                      <a:lnTo>
                        <a:pt x="42" y="37"/>
                      </a:lnTo>
                      <a:lnTo>
                        <a:pt x="0" y="43"/>
                      </a:lnTo>
                      <a:lnTo>
                        <a:pt x="31" y="73"/>
                      </a:lnTo>
                      <a:lnTo>
                        <a:pt x="24" y="114"/>
                      </a:lnTo>
                      <a:lnTo>
                        <a:pt x="60"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71" name="Freeform 911"/>
                <p:cNvSpPr>
                  <a:spLocks/>
                </p:cNvSpPr>
                <p:nvPr/>
              </p:nvSpPr>
              <p:spPr bwMode="auto">
                <a:xfrm>
                  <a:off x="3459207" y="4980026"/>
                  <a:ext cx="38100" cy="36513"/>
                </a:xfrm>
                <a:custGeom>
                  <a:avLst/>
                  <a:gdLst>
                    <a:gd name="T0" fmla="*/ 61 w 121"/>
                    <a:gd name="T1" fmla="*/ 95 h 114"/>
                    <a:gd name="T2" fmla="*/ 98 w 121"/>
                    <a:gd name="T3" fmla="*/ 114 h 114"/>
                    <a:gd name="T4" fmla="*/ 90 w 121"/>
                    <a:gd name="T5" fmla="*/ 73 h 114"/>
                    <a:gd name="T6" fmla="*/ 121 w 121"/>
                    <a:gd name="T7" fmla="*/ 44 h 114"/>
                    <a:gd name="T8" fmla="*/ 79 w 121"/>
                    <a:gd name="T9" fmla="*/ 38 h 114"/>
                    <a:gd name="T10" fmla="*/ 61 w 121"/>
                    <a:gd name="T11" fmla="*/ 0 h 114"/>
                    <a:gd name="T12" fmla="*/ 41 w 121"/>
                    <a:gd name="T13" fmla="*/ 38 h 114"/>
                    <a:gd name="T14" fmla="*/ 0 w 121"/>
                    <a:gd name="T15" fmla="*/ 44 h 114"/>
                    <a:gd name="T16" fmla="*/ 31 w 121"/>
                    <a:gd name="T17" fmla="*/ 73 h 114"/>
                    <a:gd name="T18" fmla="*/ 23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0" y="73"/>
                      </a:lnTo>
                      <a:lnTo>
                        <a:pt x="121" y="44"/>
                      </a:lnTo>
                      <a:lnTo>
                        <a:pt x="79" y="38"/>
                      </a:lnTo>
                      <a:lnTo>
                        <a:pt x="61" y="0"/>
                      </a:lnTo>
                      <a:lnTo>
                        <a:pt x="41" y="38"/>
                      </a:lnTo>
                      <a:lnTo>
                        <a:pt x="0" y="44"/>
                      </a:lnTo>
                      <a:lnTo>
                        <a:pt x="31" y="73"/>
                      </a:lnTo>
                      <a:lnTo>
                        <a:pt x="23" y="114"/>
                      </a:lnTo>
                      <a:lnTo>
                        <a:pt x="61"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72" name="Freeform 912"/>
                <p:cNvSpPr>
                  <a:spLocks/>
                </p:cNvSpPr>
                <p:nvPr/>
              </p:nvSpPr>
              <p:spPr bwMode="auto">
                <a:xfrm>
                  <a:off x="3575095" y="4935575"/>
                  <a:ext cx="128588" cy="127001"/>
                </a:xfrm>
                <a:custGeom>
                  <a:avLst/>
                  <a:gdLst>
                    <a:gd name="T0" fmla="*/ 272 w 401"/>
                    <a:gd name="T1" fmla="*/ 130 h 402"/>
                    <a:gd name="T2" fmla="*/ 401 w 401"/>
                    <a:gd name="T3" fmla="*/ 201 h 402"/>
                    <a:gd name="T4" fmla="*/ 272 w 401"/>
                    <a:gd name="T5" fmla="*/ 272 h 402"/>
                    <a:gd name="T6" fmla="*/ 201 w 401"/>
                    <a:gd name="T7" fmla="*/ 402 h 402"/>
                    <a:gd name="T8" fmla="*/ 129 w 401"/>
                    <a:gd name="T9" fmla="*/ 272 h 402"/>
                    <a:gd name="T10" fmla="*/ 0 w 401"/>
                    <a:gd name="T11" fmla="*/ 201 h 402"/>
                    <a:gd name="T12" fmla="*/ 129 w 401"/>
                    <a:gd name="T13" fmla="*/ 130 h 402"/>
                    <a:gd name="T14" fmla="*/ 201 w 401"/>
                    <a:gd name="T15" fmla="*/ 0 h 402"/>
                    <a:gd name="T16" fmla="*/ 272 w 401"/>
                    <a:gd name="T17" fmla="*/ 13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1" h="402">
                      <a:moveTo>
                        <a:pt x="272" y="130"/>
                      </a:moveTo>
                      <a:lnTo>
                        <a:pt x="401" y="201"/>
                      </a:lnTo>
                      <a:lnTo>
                        <a:pt x="272" y="272"/>
                      </a:lnTo>
                      <a:lnTo>
                        <a:pt x="201" y="402"/>
                      </a:lnTo>
                      <a:lnTo>
                        <a:pt x="129" y="272"/>
                      </a:lnTo>
                      <a:lnTo>
                        <a:pt x="0" y="201"/>
                      </a:lnTo>
                      <a:lnTo>
                        <a:pt x="129" y="130"/>
                      </a:lnTo>
                      <a:lnTo>
                        <a:pt x="201" y="0"/>
                      </a:lnTo>
                      <a:lnTo>
                        <a:pt x="27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73" name="Freeform 913"/>
                <p:cNvSpPr>
                  <a:spLocks/>
                </p:cNvSpPr>
                <p:nvPr/>
              </p:nvSpPr>
              <p:spPr bwMode="auto">
                <a:xfrm>
                  <a:off x="3771947" y="4975263"/>
                  <a:ext cx="60325" cy="58738"/>
                </a:xfrm>
                <a:custGeom>
                  <a:avLst/>
                  <a:gdLst>
                    <a:gd name="T0" fmla="*/ 126 w 186"/>
                    <a:gd name="T1" fmla="*/ 59 h 185"/>
                    <a:gd name="T2" fmla="*/ 186 w 186"/>
                    <a:gd name="T3" fmla="*/ 92 h 185"/>
                    <a:gd name="T4" fmla="*/ 126 w 186"/>
                    <a:gd name="T5" fmla="*/ 125 h 185"/>
                    <a:gd name="T6" fmla="*/ 93 w 186"/>
                    <a:gd name="T7" fmla="*/ 185 h 185"/>
                    <a:gd name="T8" fmla="*/ 60 w 186"/>
                    <a:gd name="T9" fmla="*/ 125 h 185"/>
                    <a:gd name="T10" fmla="*/ 0 w 186"/>
                    <a:gd name="T11" fmla="*/ 92 h 185"/>
                    <a:gd name="T12" fmla="*/ 60 w 186"/>
                    <a:gd name="T13" fmla="*/ 59 h 185"/>
                    <a:gd name="T14" fmla="*/ 93 w 186"/>
                    <a:gd name="T15" fmla="*/ 0 h 185"/>
                    <a:gd name="T16" fmla="*/ 126 w 186"/>
                    <a:gd name="T17" fmla="*/ 59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85">
                      <a:moveTo>
                        <a:pt x="126" y="59"/>
                      </a:moveTo>
                      <a:lnTo>
                        <a:pt x="186" y="92"/>
                      </a:lnTo>
                      <a:lnTo>
                        <a:pt x="126" y="125"/>
                      </a:lnTo>
                      <a:lnTo>
                        <a:pt x="93" y="185"/>
                      </a:lnTo>
                      <a:lnTo>
                        <a:pt x="60" y="125"/>
                      </a:lnTo>
                      <a:lnTo>
                        <a:pt x="0" y="92"/>
                      </a:lnTo>
                      <a:lnTo>
                        <a:pt x="60" y="59"/>
                      </a:lnTo>
                      <a:lnTo>
                        <a:pt x="93" y="0"/>
                      </a:lnTo>
                      <a:lnTo>
                        <a:pt x="126" y="59"/>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74" name="Freeform 914"/>
                <p:cNvSpPr>
                  <a:spLocks/>
                </p:cNvSpPr>
                <p:nvPr/>
              </p:nvSpPr>
              <p:spPr bwMode="auto">
                <a:xfrm>
                  <a:off x="3517945" y="4902237"/>
                  <a:ext cx="39688" cy="39688"/>
                </a:xfrm>
                <a:custGeom>
                  <a:avLst/>
                  <a:gdLst>
                    <a:gd name="T0" fmla="*/ 84 w 125"/>
                    <a:gd name="T1" fmla="*/ 40 h 124"/>
                    <a:gd name="T2" fmla="*/ 125 w 125"/>
                    <a:gd name="T3" fmla="*/ 62 h 124"/>
                    <a:gd name="T4" fmla="*/ 84 w 125"/>
                    <a:gd name="T5" fmla="*/ 84 h 124"/>
                    <a:gd name="T6" fmla="*/ 63 w 125"/>
                    <a:gd name="T7" fmla="*/ 124 h 124"/>
                    <a:gd name="T8" fmla="*/ 41 w 125"/>
                    <a:gd name="T9" fmla="*/ 84 h 124"/>
                    <a:gd name="T10" fmla="*/ 0 w 125"/>
                    <a:gd name="T11" fmla="*/ 62 h 124"/>
                    <a:gd name="T12" fmla="*/ 41 w 125"/>
                    <a:gd name="T13" fmla="*/ 40 h 124"/>
                    <a:gd name="T14" fmla="*/ 63 w 125"/>
                    <a:gd name="T15" fmla="*/ 0 h 124"/>
                    <a:gd name="T16" fmla="*/ 84 w 125"/>
                    <a:gd name="T17" fmla="*/ 4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124">
                      <a:moveTo>
                        <a:pt x="84" y="40"/>
                      </a:moveTo>
                      <a:lnTo>
                        <a:pt x="125" y="62"/>
                      </a:lnTo>
                      <a:lnTo>
                        <a:pt x="84" y="84"/>
                      </a:lnTo>
                      <a:lnTo>
                        <a:pt x="63" y="124"/>
                      </a:lnTo>
                      <a:lnTo>
                        <a:pt x="41" y="84"/>
                      </a:lnTo>
                      <a:lnTo>
                        <a:pt x="0" y="62"/>
                      </a:lnTo>
                      <a:lnTo>
                        <a:pt x="41" y="40"/>
                      </a:lnTo>
                      <a:lnTo>
                        <a:pt x="63" y="0"/>
                      </a:lnTo>
                      <a:lnTo>
                        <a:pt x="84"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75" name="Freeform 915"/>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76" name="Freeform 916"/>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77" name="Freeform 917"/>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78" name="Freeform 918"/>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79" name="Freeform 919"/>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0" name="Freeform 920"/>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1" name="Freeform 921"/>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2" name="Freeform 922"/>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3" name="Freeform 923"/>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4" name="Freeform 924"/>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5" name="Freeform 925"/>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6" name="Freeform 926"/>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1087" name="그룹 1086"/>
              <p:cNvGrpSpPr/>
              <p:nvPr userDrawn="1"/>
            </p:nvGrpSpPr>
            <p:grpSpPr>
              <a:xfrm flipH="1">
                <a:off x="3379336" y="2012452"/>
                <a:ext cx="243979" cy="212834"/>
                <a:chOff x="3459207" y="4846674"/>
                <a:chExt cx="373065" cy="325441"/>
              </a:xfrm>
            </p:grpSpPr>
            <p:sp>
              <p:nvSpPr>
                <p:cNvPr id="1088" name="Freeform 908"/>
                <p:cNvSpPr>
                  <a:spLocks/>
                </p:cNvSpPr>
                <p:nvPr/>
              </p:nvSpPr>
              <p:spPr bwMode="auto">
                <a:xfrm>
                  <a:off x="3525882" y="5059401"/>
                  <a:ext cx="49213" cy="47625"/>
                </a:xfrm>
                <a:custGeom>
                  <a:avLst/>
                  <a:gdLst>
                    <a:gd name="T0" fmla="*/ 79 w 157"/>
                    <a:gd name="T1" fmla="*/ 123 h 149"/>
                    <a:gd name="T2" fmla="*/ 126 w 157"/>
                    <a:gd name="T3" fmla="*/ 149 h 149"/>
                    <a:gd name="T4" fmla="*/ 118 w 157"/>
                    <a:gd name="T5" fmla="*/ 95 h 149"/>
                    <a:gd name="T6" fmla="*/ 157 w 157"/>
                    <a:gd name="T7" fmla="*/ 56 h 149"/>
                    <a:gd name="T8" fmla="*/ 102 w 157"/>
                    <a:gd name="T9" fmla="*/ 49 h 149"/>
                    <a:gd name="T10" fmla="*/ 79 w 157"/>
                    <a:gd name="T11" fmla="*/ 0 h 149"/>
                    <a:gd name="T12" fmla="*/ 54 w 157"/>
                    <a:gd name="T13" fmla="*/ 49 h 149"/>
                    <a:gd name="T14" fmla="*/ 0 w 157"/>
                    <a:gd name="T15" fmla="*/ 56 h 149"/>
                    <a:gd name="T16" fmla="*/ 39 w 157"/>
                    <a:gd name="T17" fmla="*/ 95 h 149"/>
                    <a:gd name="T18" fmla="*/ 30 w 157"/>
                    <a:gd name="T19" fmla="*/ 149 h 149"/>
                    <a:gd name="T20" fmla="*/ 79 w 157"/>
                    <a:gd name="T21" fmla="*/ 12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149">
                      <a:moveTo>
                        <a:pt x="79" y="123"/>
                      </a:moveTo>
                      <a:lnTo>
                        <a:pt x="126" y="149"/>
                      </a:lnTo>
                      <a:lnTo>
                        <a:pt x="118" y="95"/>
                      </a:lnTo>
                      <a:lnTo>
                        <a:pt x="157" y="56"/>
                      </a:lnTo>
                      <a:lnTo>
                        <a:pt x="102" y="49"/>
                      </a:lnTo>
                      <a:lnTo>
                        <a:pt x="79" y="0"/>
                      </a:lnTo>
                      <a:lnTo>
                        <a:pt x="54" y="49"/>
                      </a:lnTo>
                      <a:lnTo>
                        <a:pt x="0" y="56"/>
                      </a:lnTo>
                      <a:lnTo>
                        <a:pt x="39" y="95"/>
                      </a:lnTo>
                      <a:lnTo>
                        <a:pt x="30" y="149"/>
                      </a:lnTo>
                      <a:lnTo>
                        <a:pt x="79" y="12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9" name="Freeform 909"/>
                <p:cNvSpPr>
                  <a:spLocks/>
                </p:cNvSpPr>
                <p:nvPr/>
              </p:nvSpPr>
              <p:spPr bwMode="auto">
                <a:xfrm>
                  <a:off x="3698921" y="4846674"/>
                  <a:ext cx="38100" cy="36513"/>
                </a:xfrm>
                <a:custGeom>
                  <a:avLst/>
                  <a:gdLst>
                    <a:gd name="T0" fmla="*/ 61 w 121"/>
                    <a:gd name="T1" fmla="*/ 95 h 114"/>
                    <a:gd name="T2" fmla="*/ 98 w 121"/>
                    <a:gd name="T3" fmla="*/ 114 h 114"/>
                    <a:gd name="T4" fmla="*/ 91 w 121"/>
                    <a:gd name="T5" fmla="*/ 73 h 114"/>
                    <a:gd name="T6" fmla="*/ 121 w 121"/>
                    <a:gd name="T7" fmla="*/ 44 h 114"/>
                    <a:gd name="T8" fmla="*/ 80 w 121"/>
                    <a:gd name="T9" fmla="*/ 38 h 114"/>
                    <a:gd name="T10" fmla="*/ 61 w 121"/>
                    <a:gd name="T11" fmla="*/ 0 h 114"/>
                    <a:gd name="T12" fmla="*/ 42 w 121"/>
                    <a:gd name="T13" fmla="*/ 38 h 114"/>
                    <a:gd name="T14" fmla="*/ 0 w 121"/>
                    <a:gd name="T15" fmla="*/ 44 h 114"/>
                    <a:gd name="T16" fmla="*/ 31 w 121"/>
                    <a:gd name="T17" fmla="*/ 73 h 114"/>
                    <a:gd name="T18" fmla="*/ 24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1" y="73"/>
                      </a:lnTo>
                      <a:lnTo>
                        <a:pt x="121" y="44"/>
                      </a:lnTo>
                      <a:lnTo>
                        <a:pt x="80" y="38"/>
                      </a:lnTo>
                      <a:lnTo>
                        <a:pt x="61" y="0"/>
                      </a:lnTo>
                      <a:lnTo>
                        <a:pt x="42" y="38"/>
                      </a:lnTo>
                      <a:lnTo>
                        <a:pt x="0" y="44"/>
                      </a:lnTo>
                      <a:lnTo>
                        <a:pt x="31" y="73"/>
                      </a:lnTo>
                      <a:lnTo>
                        <a:pt x="24" y="114"/>
                      </a:lnTo>
                      <a:lnTo>
                        <a:pt x="61" y="95"/>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0" name="Freeform 910"/>
                <p:cNvSpPr>
                  <a:spLocks/>
                </p:cNvSpPr>
                <p:nvPr/>
              </p:nvSpPr>
              <p:spPr bwMode="auto">
                <a:xfrm>
                  <a:off x="3665583" y="5135602"/>
                  <a:ext cx="38100" cy="36513"/>
                </a:xfrm>
                <a:custGeom>
                  <a:avLst/>
                  <a:gdLst>
                    <a:gd name="T0" fmla="*/ 60 w 120"/>
                    <a:gd name="T1" fmla="*/ 95 h 114"/>
                    <a:gd name="T2" fmla="*/ 98 w 120"/>
                    <a:gd name="T3" fmla="*/ 114 h 114"/>
                    <a:gd name="T4" fmla="*/ 91 w 120"/>
                    <a:gd name="T5" fmla="*/ 73 h 114"/>
                    <a:gd name="T6" fmla="*/ 120 w 120"/>
                    <a:gd name="T7" fmla="*/ 43 h 114"/>
                    <a:gd name="T8" fmla="*/ 78 w 120"/>
                    <a:gd name="T9" fmla="*/ 37 h 114"/>
                    <a:gd name="T10" fmla="*/ 60 w 120"/>
                    <a:gd name="T11" fmla="*/ 0 h 114"/>
                    <a:gd name="T12" fmla="*/ 42 w 120"/>
                    <a:gd name="T13" fmla="*/ 37 h 114"/>
                    <a:gd name="T14" fmla="*/ 0 w 120"/>
                    <a:gd name="T15" fmla="*/ 43 h 114"/>
                    <a:gd name="T16" fmla="*/ 31 w 120"/>
                    <a:gd name="T17" fmla="*/ 73 h 114"/>
                    <a:gd name="T18" fmla="*/ 24 w 120"/>
                    <a:gd name="T19" fmla="*/ 114 h 114"/>
                    <a:gd name="T20" fmla="*/ 60 w 120"/>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 h="114">
                      <a:moveTo>
                        <a:pt x="60" y="95"/>
                      </a:moveTo>
                      <a:lnTo>
                        <a:pt x="98" y="114"/>
                      </a:lnTo>
                      <a:lnTo>
                        <a:pt x="91" y="73"/>
                      </a:lnTo>
                      <a:lnTo>
                        <a:pt x="120" y="43"/>
                      </a:lnTo>
                      <a:lnTo>
                        <a:pt x="78" y="37"/>
                      </a:lnTo>
                      <a:lnTo>
                        <a:pt x="60" y="0"/>
                      </a:lnTo>
                      <a:lnTo>
                        <a:pt x="42" y="37"/>
                      </a:lnTo>
                      <a:lnTo>
                        <a:pt x="0" y="43"/>
                      </a:lnTo>
                      <a:lnTo>
                        <a:pt x="31" y="73"/>
                      </a:lnTo>
                      <a:lnTo>
                        <a:pt x="24" y="114"/>
                      </a:lnTo>
                      <a:lnTo>
                        <a:pt x="60"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1" name="Freeform 911"/>
                <p:cNvSpPr>
                  <a:spLocks/>
                </p:cNvSpPr>
                <p:nvPr/>
              </p:nvSpPr>
              <p:spPr bwMode="auto">
                <a:xfrm>
                  <a:off x="3459207" y="4980026"/>
                  <a:ext cx="38100" cy="36513"/>
                </a:xfrm>
                <a:custGeom>
                  <a:avLst/>
                  <a:gdLst>
                    <a:gd name="T0" fmla="*/ 61 w 121"/>
                    <a:gd name="T1" fmla="*/ 95 h 114"/>
                    <a:gd name="T2" fmla="*/ 98 w 121"/>
                    <a:gd name="T3" fmla="*/ 114 h 114"/>
                    <a:gd name="T4" fmla="*/ 90 w 121"/>
                    <a:gd name="T5" fmla="*/ 73 h 114"/>
                    <a:gd name="T6" fmla="*/ 121 w 121"/>
                    <a:gd name="T7" fmla="*/ 44 h 114"/>
                    <a:gd name="T8" fmla="*/ 79 w 121"/>
                    <a:gd name="T9" fmla="*/ 38 h 114"/>
                    <a:gd name="T10" fmla="*/ 61 w 121"/>
                    <a:gd name="T11" fmla="*/ 0 h 114"/>
                    <a:gd name="T12" fmla="*/ 41 w 121"/>
                    <a:gd name="T13" fmla="*/ 38 h 114"/>
                    <a:gd name="T14" fmla="*/ 0 w 121"/>
                    <a:gd name="T15" fmla="*/ 44 h 114"/>
                    <a:gd name="T16" fmla="*/ 31 w 121"/>
                    <a:gd name="T17" fmla="*/ 73 h 114"/>
                    <a:gd name="T18" fmla="*/ 23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0" y="73"/>
                      </a:lnTo>
                      <a:lnTo>
                        <a:pt x="121" y="44"/>
                      </a:lnTo>
                      <a:lnTo>
                        <a:pt x="79" y="38"/>
                      </a:lnTo>
                      <a:lnTo>
                        <a:pt x="61" y="0"/>
                      </a:lnTo>
                      <a:lnTo>
                        <a:pt x="41" y="38"/>
                      </a:lnTo>
                      <a:lnTo>
                        <a:pt x="0" y="44"/>
                      </a:lnTo>
                      <a:lnTo>
                        <a:pt x="31" y="73"/>
                      </a:lnTo>
                      <a:lnTo>
                        <a:pt x="23" y="114"/>
                      </a:lnTo>
                      <a:lnTo>
                        <a:pt x="61"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2" name="Freeform 912"/>
                <p:cNvSpPr>
                  <a:spLocks/>
                </p:cNvSpPr>
                <p:nvPr/>
              </p:nvSpPr>
              <p:spPr bwMode="auto">
                <a:xfrm>
                  <a:off x="3575095" y="4935575"/>
                  <a:ext cx="128588" cy="127001"/>
                </a:xfrm>
                <a:custGeom>
                  <a:avLst/>
                  <a:gdLst>
                    <a:gd name="T0" fmla="*/ 272 w 401"/>
                    <a:gd name="T1" fmla="*/ 130 h 402"/>
                    <a:gd name="T2" fmla="*/ 401 w 401"/>
                    <a:gd name="T3" fmla="*/ 201 h 402"/>
                    <a:gd name="T4" fmla="*/ 272 w 401"/>
                    <a:gd name="T5" fmla="*/ 272 h 402"/>
                    <a:gd name="T6" fmla="*/ 201 w 401"/>
                    <a:gd name="T7" fmla="*/ 402 h 402"/>
                    <a:gd name="T8" fmla="*/ 129 w 401"/>
                    <a:gd name="T9" fmla="*/ 272 h 402"/>
                    <a:gd name="T10" fmla="*/ 0 w 401"/>
                    <a:gd name="T11" fmla="*/ 201 h 402"/>
                    <a:gd name="T12" fmla="*/ 129 w 401"/>
                    <a:gd name="T13" fmla="*/ 130 h 402"/>
                    <a:gd name="T14" fmla="*/ 201 w 401"/>
                    <a:gd name="T15" fmla="*/ 0 h 402"/>
                    <a:gd name="T16" fmla="*/ 272 w 401"/>
                    <a:gd name="T17" fmla="*/ 13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1" h="402">
                      <a:moveTo>
                        <a:pt x="272" y="130"/>
                      </a:moveTo>
                      <a:lnTo>
                        <a:pt x="401" y="201"/>
                      </a:lnTo>
                      <a:lnTo>
                        <a:pt x="272" y="272"/>
                      </a:lnTo>
                      <a:lnTo>
                        <a:pt x="201" y="402"/>
                      </a:lnTo>
                      <a:lnTo>
                        <a:pt x="129" y="272"/>
                      </a:lnTo>
                      <a:lnTo>
                        <a:pt x="0" y="201"/>
                      </a:lnTo>
                      <a:lnTo>
                        <a:pt x="129" y="130"/>
                      </a:lnTo>
                      <a:lnTo>
                        <a:pt x="201" y="0"/>
                      </a:lnTo>
                      <a:lnTo>
                        <a:pt x="27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3" name="Freeform 913"/>
                <p:cNvSpPr>
                  <a:spLocks/>
                </p:cNvSpPr>
                <p:nvPr/>
              </p:nvSpPr>
              <p:spPr bwMode="auto">
                <a:xfrm>
                  <a:off x="3771947" y="4975263"/>
                  <a:ext cx="60325" cy="58738"/>
                </a:xfrm>
                <a:custGeom>
                  <a:avLst/>
                  <a:gdLst>
                    <a:gd name="T0" fmla="*/ 126 w 186"/>
                    <a:gd name="T1" fmla="*/ 59 h 185"/>
                    <a:gd name="T2" fmla="*/ 186 w 186"/>
                    <a:gd name="T3" fmla="*/ 92 h 185"/>
                    <a:gd name="T4" fmla="*/ 126 w 186"/>
                    <a:gd name="T5" fmla="*/ 125 h 185"/>
                    <a:gd name="T6" fmla="*/ 93 w 186"/>
                    <a:gd name="T7" fmla="*/ 185 h 185"/>
                    <a:gd name="T8" fmla="*/ 60 w 186"/>
                    <a:gd name="T9" fmla="*/ 125 h 185"/>
                    <a:gd name="T10" fmla="*/ 0 w 186"/>
                    <a:gd name="T11" fmla="*/ 92 h 185"/>
                    <a:gd name="T12" fmla="*/ 60 w 186"/>
                    <a:gd name="T13" fmla="*/ 59 h 185"/>
                    <a:gd name="T14" fmla="*/ 93 w 186"/>
                    <a:gd name="T15" fmla="*/ 0 h 185"/>
                    <a:gd name="T16" fmla="*/ 126 w 186"/>
                    <a:gd name="T17" fmla="*/ 59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85">
                      <a:moveTo>
                        <a:pt x="126" y="59"/>
                      </a:moveTo>
                      <a:lnTo>
                        <a:pt x="186" y="92"/>
                      </a:lnTo>
                      <a:lnTo>
                        <a:pt x="126" y="125"/>
                      </a:lnTo>
                      <a:lnTo>
                        <a:pt x="93" y="185"/>
                      </a:lnTo>
                      <a:lnTo>
                        <a:pt x="60" y="125"/>
                      </a:lnTo>
                      <a:lnTo>
                        <a:pt x="0" y="92"/>
                      </a:lnTo>
                      <a:lnTo>
                        <a:pt x="60" y="59"/>
                      </a:lnTo>
                      <a:lnTo>
                        <a:pt x="93" y="0"/>
                      </a:lnTo>
                      <a:lnTo>
                        <a:pt x="126" y="59"/>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4" name="Freeform 914"/>
                <p:cNvSpPr>
                  <a:spLocks/>
                </p:cNvSpPr>
                <p:nvPr/>
              </p:nvSpPr>
              <p:spPr bwMode="auto">
                <a:xfrm>
                  <a:off x="3517945" y="4902237"/>
                  <a:ext cx="39688" cy="39688"/>
                </a:xfrm>
                <a:custGeom>
                  <a:avLst/>
                  <a:gdLst>
                    <a:gd name="T0" fmla="*/ 84 w 125"/>
                    <a:gd name="T1" fmla="*/ 40 h 124"/>
                    <a:gd name="T2" fmla="*/ 125 w 125"/>
                    <a:gd name="T3" fmla="*/ 62 h 124"/>
                    <a:gd name="T4" fmla="*/ 84 w 125"/>
                    <a:gd name="T5" fmla="*/ 84 h 124"/>
                    <a:gd name="T6" fmla="*/ 63 w 125"/>
                    <a:gd name="T7" fmla="*/ 124 h 124"/>
                    <a:gd name="T8" fmla="*/ 41 w 125"/>
                    <a:gd name="T9" fmla="*/ 84 h 124"/>
                    <a:gd name="T10" fmla="*/ 0 w 125"/>
                    <a:gd name="T11" fmla="*/ 62 h 124"/>
                    <a:gd name="T12" fmla="*/ 41 w 125"/>
                    <a:gd name="T13" fmla="*/ 40 h 124"/>
                    <a:gd name="T14" fmla="*/ 63 w 125"/>
                    <a:gd name="T15" fmla="*/ 0 h 124"/>
                    <a:gd name="T16" fmla="*/ 84 w 125"/>
                    <a:gd name="T17" fmla="*/ 4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124">
                      <a:moveTo>
                        <a:pt x="84" y="40"/>
                      </a:moveTo>
                      <a:lnTo>
                        <a:pt x="125" y="62"/>
                      </a:lnTo>
                      <a:lnTo>
                        <a:pt x="84" y="84"/>
                      </a:lnTo>
                      <a:lnTo>
                        <a:pt x="63" y="124"/>
                      </a:lnTo>
                      <a:lnTo>
                        <a:pt x="41" y="84"/>
                      </a:lnTo>
                      <a:lnTo>
                        <a:pt x="0" y="62"/>
                      </a:lnTo>
                      <a:lnTo>
                        <a:pt x="41" y="40"/>
                      </a:lnTo>
                      <a:lnTo>
                        <a:pt x="63" y="0"/>
                      </a:lnTo>
                      <a:lnTo>
                        <a:pt x="84"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5" name="Freeform 915"/>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6" name="Freeform 916"/>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7" name="Freeform 917"/>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8" name="Freeform 918"/>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9" name="Freeform 919"/>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0" name="Freeform 920"/>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1" name="Freeform 921"/>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2" name="Freeform 922"/>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3" name="Freeform 923"/>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4" name="Freeform 924"/>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5" name="Freeform 925"/>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6" name="Freeform 926"/>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grpSp>
    </p:spTree>
    <p:extLst>
      <p:ext uri="{BB962C8B-B14F-4D97-AF65-F5344CB8AC3E}">
        <p14:creationId xmlns:p14="http://schemas.microsoft.com/office/powerpoint/2010/main" val="2046649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lide">
    <p:bg>
      <p:bgPr>
        <a:gradFill>
          <a:gsLst>
            <a:gs pos="0">
              <a:srgbClr val="0F1121"/>
            </a:gs>
            <a:gs pos="100000">
              <a:srgbClr val="152B2D"/>
            </a:gs>
          </a:gsLst>
          <a:lin ang="0" scaled="1"/>
        </a:gradFill>
        <a:effectLst/>
      </p:bgPr>
    </p:bg>
    <p:spTree>
      <p:nvGrpSpPr>
        <p:cNvPr id="1" name=""/>
        <p:cNvGrpSpPr/>
        <p:nvPr/>
      </p:nvGrpSpPr>
      <p:grpSpPr>
        <a:xfrm>
          <a:off x="0" y="0"/>
          <a:ext cx="0" cy="0"/>
          <a:chOff x="0" y="0"/>
          <a:chExt cx="0" cy="0"/>
        </a:xfrm>
      </p:grpSpPr>
      <p:sp>
        <p:nvSpPr>
          <p:cNvPr id="561" name="텍스트 개체 틀 45"/>
          <p:cNvSpPr>
            <a:spLocks noGrp="1"/>
          </p:cNvSpPr>
          <p:nvPr>
            <p:ph type="body" sz="quarter" idx="10" hasCustomPrompt="1"/>
          </p:nvPr>
        </p:nvSpPr>
        <p:spPr>
          <a:xfrm>
            <a:off x="702013" y="262792"/>
            <a:ext cx="4303480" cy="595048"/>
          </a:xfrm>
          <a:prstGeom prst="rect">
            <a:avLst/>
          </a:prstGeom>
        </p:spPr>
        <p:txBody>
          <a:bodyPr lIns="0" tIns="0" rIns="0" bIns="0"/>
          <a:lstStyle>
            <a:lvl1pPr marL="0" indent="0" algn="l">
              <a:buNone/>
              <a:defRPr sz="4267" b="1" baseline="0">
                <a:solidFill>
                  <a:srgbClr val="F59E1D"/>
                </a:solidFill>
                <a:latin typeface="Tahoma" panose="020B0604030504040204" pitchFamily="34" charset="0"/>
                <a:cs typeface="Tahoma" panose="020B0604030504040204" pitchFamily="34" charset="0"/>
              </a:defRPr>
            </a:lvl1pPr>
          </a:lstStyle>
          <a:p>
            <a:pPr lvl="0"/>
            <a:r>
              <a:rPr lang="en-US" altLang="ko-KR"/>
              <a:t>Contents title</a:t>
            </a:r>
            <a:endParaRPr lang="ko-KR" altLang="en-US"/>
          </a:p>
        </p:txBody>
      </p:sp>
      <p:sp>
        <p:nvSpPr>
          <p:cNvPr id="562" name="텍스트 개체 틀 3"/>
          <p:cNvSpPr>
            <a:spLocks noGrp="1"/>
          </p:cNvSpPr>
          <p:nvPr>
            <p:ph type="body" sz="quarter" idx="11" hasCustomPrompt="1"/>
          </p:nvPr>
        </p:nvSpPr>
        <p:spPr>
          <a:xfrm>
            <a:off x="702014" y="963944"/>
            <a:ext cx="3343449" cy="256212"/>
          </a:xfrm>
          <a:prstGeom prst="rect">
            <a:avLst/>
          </a:prstGeom>
        </p:spPr>
        <p:txBody>
          <a:bodyPr lIns="0" tIns="0" rIns="0" bIns="0"/>
          <a:lstStyle>
            <a:lvl1pPr marL="0" indent="0" algn="l">
              <a:buNone/>
              <a:defRPr sz="1600" b="0" baseline="0">
                <a:solidFill>
                  <a:schemeClr val="bg1"/>
                </a:solidFill>
                <a:latin typeface="Tahoma" panose="020B0604030504040204" pitchFamily="34" charset="0"/>
                <a:cs typeface="Tahoma" panose="020B0604030504040204" pitchFamily="34" charset="0"/>
              </a:defRPr>
            </a:lvl1pPr>
          </a:lstStyle>
          <a:p>
            <a:pPr lvl="0"/>
            <a:r>
              <a:rPr lang="en-US" altLang="ko-KR"/>
              <a:t>Design inspiration For presentation</a:t>
            </a:r>
            <a:endParaRPr lang="ko-KR" altLang="en-US"/>
          </a:p>
        </p:txBody>
      </p:sp>
      <p:sp>
        <p:nvSpPr>
          <p:cNvPr id="612" name="포인트가 4개인 별 611"/>
          <p:cNvSpPr/>
          <p:nvPr userDrawn="1"/>
        </p:nvSpPr>
        <p:spPr>
          <a:xfrm flipH="1">
            <a:off x="9451920" y="1106813"/>
            <a:ext cx="86960" cy="92757"/>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3" name="포인트가 4개인 별 612"/>
          <p:cNvSpPr/>
          <p:nvPr userDrawn="1"/>
        </p:nvSpPr>
        <p:spPr>
          <a:xfrm flipH="1">
            <a:off x="7855319" y="833451"/>
            <a:ext cx="86960" cy="92757"/>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4" name="포인트가 4개인 별 613"/>
          <p:cNvSpPr/>
          <p:nvPr userDrawn="1"/>
        </p:nvSpPr>
        <p:spPr>
          <a:xfrm flipH="1">
            <a:off x="4985545" y="394621"/>
            <a:ext cx="86960" cy="92757"/>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5" name="포인트가 4개인 별 614"/>
          <p:cNvSpPr/>
          <p:nvPr userDrawn="1"/>
        </p:nvSpPr>
        <p:spPr>
          <a:xfrm flipH="1">
            <a:off x="1375815" y="1267920"/>
            <a:ext cx="86960" cy="92757"/>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6" name="포인트가 4개인 별 615"/>
          <p:cNvSpPr/>
          <p:nvPr userDrawn="1"/>
        </p:nvSpPr>
        <p:spPr>
          <a:xfrm flipH="1">
            <a:off x="10656788" y="693742"/>
            <a:ext cx="86960" cy="92757"/>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7" name="포인트가 4개인 별 616"/>
          <p:cNvSpPr/>
          <p:nvPr userDrawn="1"/>
        </p:nvSpPr>
        <p:spPr>
          <a:xfrm rot="18840000" flipH="1">
            <a:off x="4907811" y="1127570"/>
            <a:ext cx="153600" cy="14400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8" name="포인트가 5개인 별 617"/>
          <p:cNvSpPr/>
          <p:nvPr userDrawn="1"/>
        </p:nvSpPr>
        <p:spPr>
          <a:xfrm flipH="1">
            <a:off x="9825590" y="617170"/>
            <a:ext cx="99892" cy="106551"/>
          </a:xfrm>
          <a:prstGeom prst="star5">
            <a:avLst>
              <a:gd name="adj" fmla="val 28797"/>
              <a:gd name="hf" fmla="val 105146"/>
              <a:gd name="vf" fmla="val 11055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21" name="포인트가 4개인 별 620"/>
          <p:cNvSpPr/>
          <p:nvPr userDrawn="1"/>
        </p:nvSpPr>
        <p:spPr>
          <a:xfrm flipH="1">
            <a:off x="7475028" y="421855"/>
            <a:ext cx="144000" cy="153600"/>
          </a:xfrm>
          <a:prstGeom prst="star4">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nvGrpSpPr>
          <p:cNvPr id="622" name="그룹 621"/>
          <p:cNvGrpSpPr/>
          <p:nvPr userDrawn="1"/>
        </p:nvGrpSpPr>
        <p:grpSpPr>
          <a:xfrm rot="19836734">
            <a:off x="6467435" y="555104"/>
            <a:ext cx="131592" cy="162527"/>
            <a:chOff x="4264075" y="4816511"/>
            <a:chExt cx="331791" cy="384179"/>
          </a:xfrm>
        </p:grpSpPr>
        <p:sp>
          <p:nvSpPr>
            <p:cNvPr id="623" name="Freeform 626"/>
            <p:cNvSpPr>
              <a:spLocks/>
            </p:cNvSpPr>
            <p:nvPr/>
          </p:nvSpPr>
          <p:spPr bwMode="auto">
            <a:xfrm>
              <a:off x="4556178" y="5127664"/>
              <a:ext cx="1588" cy="1588"/>
            </a:xfrm>
            <a:custGeom>
              <a:avLst/>
              <a:gdLst>
                <a:gd name="T0" fmla="*/ 2 w 2"/>
                <a:gd name="T1" fmla="*/ 3 h 3"/>
                <a:gd name="T2" fmla="*/ 2 w 2"/>
                <a:gd name="T3" fmla="*/ 3 h 3"/>
                <a:gd name="T4" fmla="*/ 0 w 2"/>
                <a:gd name="T5" fmla="*/ 0 h 3"/>
                <a:gd name="T6" fmla="*/ 0 w 2"/>
                <a:gd name="T7" fmla="*/ 0 h 3"/>
                <a:gd name="T8" fmla="*/ 2 w 2"/>
                <a:gd name="T9" fmla="*/ 3 h 3"/>
                <a:gd name="T10" fmla="*/ 2 w 2"/>
                <a:gd name="T11" fmla="*/ 3 h 3"/>
              </a:gdLst>
              <a:ahLst/>
              <a:cxnLst>
                <a:cxn ang="0">
                  <a:pos x="T0" y="T1"/>
                </a:cxn>
                <a:cxn ang="0">
                  <a:pos x="T2" y="T3"/>
                </a:cxn>
                <a:cxn ang="0">
                  <a:pos x="T4" y="T5"/>
                </a:cxn>
                <a:cxn ang="0">
                  <a:pos x="T6" y="T7"/>
                </a:cxn>
                <a:cxn ang="0">
                  <a:pos x="T8" y="T9"/>
                </a:cxn>
                <a:cxn ang="0">
                  <a:pos x="T10" y="T11"/>
                </a:cxn>
              </a:cxnLst>
              <a:rect l="0" t="0" r="r" b="b"/>
              <a:pathLst>
                <a:path w="2" h="3">
                  <a:moveTo>
                    <a:pt x="2" y="3"/>
                  </a:moveTo>
                  <a:lnTo>
                    <a:pt x="2" y="3"/>
                  </a:lnTo>
                  <a:lnTo>
                    <a:pt x="0" y="0"/>
                  </a:lnTo>
                  <a:lnTo>
                    <a:pt x="0" y="0"/>
                  </a:lnTo>
                  <a:lnTo>
                    <a:pt x="2" y="3"/>
                  </a:lnTo>
                  <a:lnTo>
                    <a:pt x="2" y="3"/>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4" name="Freeform 627"/>
            <p:cNvSpPr>
              <a:spLocks/>
            </p:cNvSpPr>
            <p:nvPr/>
          </p:nvSpPr>
          <p:spPr bwMode="auto">
            <a:xfrm>
              <a:off x="4535540" y="5116552"/>
              <a:ext cx="3175" cy="1588"/>
            </a:xfrm>
            <a:custGeom>
              <a:avLst/>
              <a:gdLst>
                <a:gd name="T0" fmla="*/ 0 w 10"/>
                <a:gd name="T1" fmla="*/ 0 h 3"/>
                <a:gd name="T2" fmla="*/ 0 w 10"/>
                <a:gd name="T3" fmla="*/ 0 h 3"/>
                <a:gd name="T4" fmla="*/ 10 w 10"/>
                <a:gd name="T5" fmla="*/ 3 h 3"/>
                <a:gd name="T6" fmla="*/ 10 w 10"/>
                <a:gd name="T7" fmla="*/ 3 h 3"/>
                <a:gd name="T8" fmla="*/ 0 w 10"/>
                <a:gd name="T9" fmla="*/ 0 h 3"/>
                <a:gd name="T10" fmla="*/ 0 w 10"/>
                <a:gd name="T11" fmla="*/ 0 h 3"/>
              </a:gdLst>
              <a:ahLst/>
              <a:cxnLst>
                <a:cxn ang="0">
                  <a:pos x="T0" y="T1"/>
                </a:cxn>
                <a:cxn ang="0">
                  <a:pos x="T2" y="T3"/>
                </a:cxn>
                <a:cxn ang="0">
                  <a:pos x="T4" y="T5"/>
                </a:cxn>
                <a:cxn ang="0">
                  <a:pos x="T6" y="T7"/>
                </a:cxn>
                <a:cxn ang="0">
                  <a:pos x="T8" y="T9"/>
                </a:cxn>
                <a:cxn ang="0">
                  <a:pos x="T10" y="T11"/>
                </a:cxn>
              </a:cxnLst>
              <a:rect l="0" t="0" r="r" b="b"/>
              <a:pathLst>
                <a:path w="10" h="3">
                  <a:moveTo>
                    <a:pt x="0" y="0"/>
                  </a:moveTo>
                  <a:lnTo>
                    <a:pt x="0" y="0"/>
                  </a:lnTo>
                  <a:lnTo>
                    <a:pt x="10" y="3"/>
                  </a:lnTo>
                  <a:lnTo>
                    <a:pt x="10" y="3"/>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5" name="Freeform 628"/>
            <p:cNvSpPr>
              <a:spLocks/>
            </p:cNvSpPr>
            <p:nvPr/>
          </p:nvSpPr>
          <p:spPr bwMode="auto">
            <a:xfrm>
              <a:off x="4546653" y="5121314"/>
              <a:ext cx="3175" cy="1588"/>
            </a:xfrm>
            <a:custGeom>
              <a:avLst/>
              <a:gdLst>
                <a:gd name="T0" fmla="*/ 0 w 9"/>
                <a:gd name="T1" fmla="*/ 0 h 5"/>
                <a:gd name="T2" fmla="*/ 0 w 9"/>
                <a:gd name="T3" fmla="*/ 0 h 5"/>
                <a:gd name="T4" fmla="*/ 9 w 9"/>
                <a:gd name="T5" fmla="*/ 5 h 5"/>
                <a:gd name="T6" fmla="*/ 9 w 9"/>
                <a:gd name="T7" fmla="*/ 5 h 5"/>
                <a:gd name="T8" fmla="*/ 0 w 9"/>
                <a:gd name="T9" fmla="*/ 0 h 5"/>
                <a:gd name="T10" fmla="*/ 0 w 9"/>
                <a:gd name="T11" fmla="*/ 0 h 5"/>
              </a:gdLst>
              <a:ahLst/>
              <a:cxnLst>
                <a:cxn ang="0">
                  <a:pos x="T0" y="T1"/>
                </a:cxn>
                <a:cxn ang="0">
                  <a:pos x="T2" y="T3"/>
                </a:cxn>
                <a:cxn ang="0">
                  <a:pos x="T4" y="T5"/>
                </a:cxn>
                <a:cxn ang="0">
                  <a:pos x="T6" y="T7"/>
                </a:cxn>
                <a:cxn ang="0">
                  <a:pos x="T8" y="T9"/>
                </a:cxn>
                <a:cxn ang="0">
                  <a:pos x="T10" y="T11"/>
                </a:cxn>
              </a:cxnLst>
              <a:rect l="0" t="0" r="r" b="b"/>
              <a:pathLst>
                <a:path w="9" h="5">
                  <a:moveTo>
                    <a:pt x="0" y="0"/>
                  </a:moveTo>
                  <a:lnTo>
                    <a:pt x="0" y="0"/>
                  </a:lnTo>
                  <a:lnTo>
                    <a:pt x="9" y="5"/>
                  </a:lnTo>
                  <a:lnTo>
                    <a:pt x="9" y="5"/>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6" name="Freeform 629"/>
            <p:cNvSpPr>
              <a:spLocks/>
            </p:cNvSpPr>
            <p:nvPr/>
          </p:nvSpPr>
          <p:spPr bwMode="auto">
            <a:xfrm>
              <a:off x="4538715" y="5118139"/>
              <a:ext cx="7938" cy="3175"/>
            </a:xfrm>
            <a:custGeom>
              <a:avLst/>
              <a:gdLst>
                <a:gd name="T0" fmla="*/ 0 w 25"/>
                <a:gd name="T1" fmla="*/ 0 h 9"/>
                <a:gd name="T2" fmla="*/ 0 w 25"/>
                <a:gd name="T3" fmla="*/ 0 h 9"/>
                <a:gd name="T4" fmla="*/ 13 w 25"/>
                <a:gd name="T5" fmla="*/ 5 h 9"/>
                <a:gd name="T6" fmla="*/ 25 w 25"/>
                <a:gd name="T7" fmla="*/ 9 h 9"/>
                <a:gd name="T8" fmla="*/ 25 w 25"/>
                <a:gd name="T9" fmla="*/ 9 h 9"/>
                <a:gd name="T10" fmla="*/ 13 w 25"/>
                <a:gd name="T11" fmla="*/ 5 h 9"/>
                <a:gd name="T12" fmla="*/ 0 w 25"/>
                <a:gd name="T13" fmla="*/ 0 h 9"/>
                <a:gd name="T14" fmla="*/ 0 w 25"/>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9">
                  <a:moveTo>
                    <a:pt x="0" y="0"/>
                  </a:moveTo>
                  <a:lnTo>
                    <a:pt x="0" y="0"/>
                  </a:lnTo>
                  <a:lnTo>
                    <a:pt x="13" y="5"/>
                  </a:lnTo>
                  <a:lnTo>
                    <a:pt x="25" y="9"/>
                  </a:lnTo>
                  <a:lnTo>
                    <a:pt x="25" y="9"/>
                  </a:lnTo>
                  <a:lnTo>
                    <a:pt x="13" y="5"/>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7" name="Freeform 630"/>
            <p:cNvSpPr>
              <a:spLocks/>
            </p:cNvSpPr>
            <p:nvPr/>
          </p:nvSpPr>
          <p:spPr bwMode="auto">
            <a:xfrm>
              <a:off x="4484740" y="5116552"/>
              <a:ext cx="50800" cy="71438"/>
            </a:xfrm>
            <a:custGeom>
              <a:avLst/>
              <a:gdLst>
                <a:gd name="T0" fmla="*/ 66 w 156"/>
                <a:gd name="T1" fmla="*/ 99 h 226"/>
                <a:gd name="T2" fmla="*/ 66 w 156"/>
                <a:gd name="T3" fmla="*/ 99 h 226"/>
                <a:gd name="T4" fmla="*/ 67 w 156"/>
                <a:gd name="T5" fmla="*/ 89 h 226"/>
                <a:gd name="T6" fmla="*/ 68 w 156"/>
                <a:gd name="T7" fmla="*/ 80 h 226"/>
                <a:gd name="T8" fmla="*/ 70 w 156"/>
                <a:gd name="T9" fmla="*/ 71 h 226"/>
                <a:gd name="T10" fmla="*/ 73 w 156"/>
                <a:gd name="T11" fmla="*/ 62 h 226"/>
                <a:gd name="T12" fmla="*/ 77 w 156"/>
                <a:gd name="T13" fmla="*/ 55 h 226"/>
                <a:gd name="T14" fmla="*/ 81 w 156"/>
                <a:gd name="T15" fmla="*/ 46 h 226"/>
                <a:gd name="T16" fmla="*/ 86 w 156"/>
                <a:gd name="T17" fmla="*/ 39 h 226"/>
                <a:gd name="T18" fmla="*/ 92 w 156"/>
                <a:gd name="T19" fmla="*/ 33 h 226"/>
                <a:gd name="T20" fmla="*/ 98 w 156"/>
                <a:gd name="T21" fmla="*/ 27 h 226"/>
                <a:gd name="T22" fmla="*/ 106 w 156"/>
                <a:gd name="T23" fmla="*/ 21 h 226"/>
                <a:gd name="T24" fmla="*/ 113 w 156"/>
                <a:gd name="T25" fmla="*/ 16 h 226"/>
                <a:gd name="T26" fmla="*/ 120 w 156"/>
                <a:gd name="T27" fmla="*/ 11 h 226"/>
                <a:gd name="T28" fmla="*/ 129 w 156"/>
                <a:gd name="T29" fmla="*/ 7 h 226"/>
                <a:gd name="T30" fmla="*/ 137 w 156"/>
                <a:gd name="T31" fmla="*/ 5 h 226"/>
                <a:gd name="T32" fmla="*/ 147 w 156"/>
                <a:gd name="T33" fmla="*/ 2 h 226"/>
                <a:gd name="T34" fmla="*/ 156 w 156"/>
                <a:gd name="T35" fmla="*/ 1 h 226"/>
                <a:gd name="T36" fmla="*/ 156 w 156"/>
                <a:gd name="T37" fmla="*/ 1 h 226"/>
                <a:gd name="T38" fmla="*/ 145 w 156"/>
                <a:gd name="T39" fmla="*/ 0 h 226"/>
                <a:gd name="T40" fmla="*/ 133 w 156"/>
                <a:gd name="T41" fmla="*/ 0 h 226"/>
                <a:gd name="T42" fmla="*/ 133 w 156"/>
                <a:gd name="T43" fmla="*/ 0 h 226"/>
                <a:gd name="T44" fmla="*/ 119 w 156"/>
                <a:gd name="T45" fmla="*/ 0 h 226"/>
                <a:gd name="T46" fmla="*/ 106 w 156"/>
                <a:gd name="T47" fmla="*/ 2 h 226"/>
                <a:gd name="T48" fmla="*/ 94 w 156"/>
                <a:gd name="T49" fmla="*/ 5 h 226"/>
                <a:gd name="T50" fmla="*/ 81 w 156"/>
                <a:gd name="T51" fmla="*/ 10 h 226"/>
                <a:gd name="T52" fmla="*/ 69 w 156"/>
                <a:gd name="T53" fmla="*/ 16 h 226"/>
                <a:gd name="T54" fmla="*/ 58 w 156"/>
                <a:gd name="T55" fmla="*/ 22 h 226"/>
                <a:gd name="T56" fmla="*/ 48 w 156"/>
                <a:gd name="T57" fmla="*/ 29 h 226"/>
                <a:gd name="T58" fmla="*/ 39 w 156"/>
                <a:gd name="T59" fmla="*/ 38 h 226"/>
                <a:gd name="T60" fmla="*/ 30 w 156"/>
                <a:gd name="T61" fmla="*/ 48 h 226"/>
                <a:gd name="T62" fmla="*/ 23 w 156"/>
                <a:gd name="T63" fmla="*/ 59 h 226"/>
                <a:gd name="T64" fmla="*/ 17 w 156"/>
                <a:gd name="T65" fmla="*/ 68 h 226"/>
                <a:gd name="T66" fmla="*/ 11 w 156"/>
                <a:gd name="T67" fmla="*/ 80 h 226"/>
                <a:gd name="T68" fmla="*/ 6 w 156"/>
                <a:gd name="T69" fmla="*/ 93 h 226"/>
                <a:gd name="T70" fmla="*/ 3 w 156"/>
                <a:gd name="T71" fmla="*/ 105 h 226"/>
                <a:gd name="T72" fmla="*/ 1 w 156"/>
                <a:gd name="T73" fmla="*/ 118 h 226"/>
                <a:gd name="T74" fmla="*/ 0 w 156"/>
                <a:gd name="T75" fmla="*/ 132 h 226"/>
                <a:gd name="T76" fmla="*/ 0 w 156"/>
                <a:gd name="T77" fmla="*/ 132 h 226"/>
                <a:gd name="T78" fmla="*/ 1 w 156"/>
                <a:gd name="T79" fmla="*/ 145 h 226"/>
                <a:gd name="T80" fmla="*/ 3 w 156"/>
                <a:gd name="T81" fmla="*/ 158 h 226"/>
                <a:gd name="T82" fmla="*/ 6 w 156"/>
                <a:gd name="T83" fmla="*/ 172 h 226"/>
                <a:gd name="T84" fmla="*/ 11 w 156"/>
                <a:gd name="T85" fmla="*/ 184 h 226"/>
                <a:gd name="T86" fmla="*/ 16 w 156"/>
                <a:gd name="T87" fmla="*/ 195 h 226"/>
                <a:gd name="T88" fmla="*/ 23 w 156"/>
                <a:gd name="T89" fmla="*/ 206 h 226"/>
                <a:gd name="T90" fmla="*/ 30 w 156"/>
                <a:gd name="T91" fmla="*/ 216 h 226"/>
                <a:gd name="T92" fmla="*/ 39 w 156"/>
                <a:gd name="T93" fmla="*/ 226 h 226"/>
                <a:gd name="T94" fmla="*/ 96 w 156"/>
                <a:gd name="T95" fmla="*/ 169 h 226"/>
                <a:gd name="T96" fmla="*/ 96 w 156"/>
                <a:gd name="T97" fmla="*/ 169 h 226"/>
                <a:gd name="T98" fmla="*/ 89 w 156"/>
                <a:gd name="T99" fmla="*/ 162 h 226"/>
                <a:gd name="T100" fmla="*/ 84 w 156"/>
                <a:gd name="T101" fmla="*/ 155 h 226"/>
                <a:gd name="T102" fmla="*/ 78 w 156"/>
                <a:gd name="T103" fmla="*/ 146 h 226"/>
                <a:gd name="T104" fmla="*/ 74 w 156"/>
                <a:gd name="T105" fmla="*/ 138 h 226"/>
                <a:gd name="T106" fmla="*/ 70 w 156"/>
                <a:gd name="T107" fmla="*/ 128 h 226"/>
                <a:gd name="T108" fmla="*/ 68 w 156"/>
                <a:gd name="T109" fmla="*/ 119 h 226"/>
                <a:gd name="T110" fmla="*/ 67 w 156"/>
                <a:gd name="T111" fmla="*/ 110 h 226"/>
                <a:gd name="T112" fmla="*/ 66 w 156"/>
                <a:gd name="T113" fmla="*/ 99 h 226"/>
                <a:gd name="T114" fmla="*/ 66 w 156"/>
                <a:gd name="T115" fmla="*/ 99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6" h="226">
                  <a:moveTo>
                    <a:pt x="66" y="99"/>
                  </a:moveTo>
                  <a:lnTo>
                    <a:pt x="66" y="99"/>
                  </a:lnTo>
                  <a:lnTo>
                    <a:pt x="67" y="89"/>
                  </a:lnTo>
                  <a:lnTo>
                    <a:pt x="68" y="80"/>
                  </a:lnTo>
                  <a:lnTo>
                    <a:pt x="70" y="71"/>
                  </a:lnTo>
                  <a:lnTo>
                    <a:pt x="73" y="62"/>
                  </a:lnTo>
                  <a:lnTo>
                    <a:pt x="77" y="55"/>
                  </a:lnTo>
                  <a:lnTo>
                    <a:pt x="81" y="46"/>
                  </a:lnTo>
                  <a:lnTo>
                    <a:pt x="86" y="39"/>
                  </a:lnTo>
                  <a:lnTo>
                    <a:pt x="92" y="33"/>
                  </a:lnTo>
                  <a:lnTo>
                    <a:pt x="98" y="27"/>
                  </a:lnTo>
                  <a:lnTo>
                    <a:pt x="106" y="21"/>
                  </a:lnTo>
                  <a:lnTo>
                    <a:pt x="113" y="16"/>
                  </a:lnTo>
                  <a:lnTo>
                    <a:pt x="120" y="11"/>
                  </a:lnTo>
                  <a:lnTo>
                    <a:pt x="129" y="7"/>
                  </a:lnTo>
                  <a:lnTo>
                    <a:pt x="137" y="5"/>
                  </a:lnTo>
                  <a:lnTo>
                    <a:pt x="147" y="2"/>
                  </a:lnTo>
                  <a:lnTo>
                    <a:pt x="156" y="1"/>
                  </a:lnTo>
                  <a:lnTo>
                    <a:pt x="156" y="1"/>
                  </a:lnTo>
                  <a:lnTo>
                    <a:pt x="145" y="0"/>
                  </a:lnTo>
                  <a:lnTo>
                    <a:pt x="133" y="0"/>
                  </a:lnTo>
                  <a:lnTo>
                    <a:pt x="133" y="0"/>
                  </a:lnTo>
                  <a:lnTo>
                    <a:pt x="119" y="0"/>
                  </a:lnTo>
                  <a:lnTo>
                    <a:pt x="106" y="2"/>
                  </a:lnTo>
                  <a:lnTo>
                    <a:pt x="94" y="5"/>
                  </a:lnTo>
                  <a:lnTo>
                    <a:pt x="81" y="10"/>
                  </a:lnTo>
                  <a:lnTo>
                    <a:pt x="69" y="16"/>
                  </a:lnTo>
                  <a:lnTo>
                    <a:pt x="58" y="22"/>
                  </a:lnTo>
                  <a:lnTo>
                    <a:pt x="48" y="29"/>
                  </a:lnTo>
                  <a:lnTo>
                    <a:pt x="39" y="38"/>
                  </a:lnTo>
                  <a:lnTo>
                    <a:pt x="30" y="48"/>
                  </a:lnTo>
                  <a:lnTo>
                    <a:pt x="23" y="59"/>
                  </a:lnTo>
                  <a:lnTo>
                    <a:pt x="17" y="68"/>
                  </a:lnTo>
                  <a:lnTo>
                    <a:pt x="11" y="80"/>
                  </a:lnTo>
                  <a:lnTo>
                    <a:pt x="6" y="93"/>
                  </a:lnTo>
                  <a:lnTo>
                    <a:pt x="3" y="105"/>
                  </a:lnTo>
                  <a:lnTo>
                    <a:pt x="1" y="118"/>
                  </a:lnTo>
                  <a:lnTo>
                    <a:pt x="0" y="132"/>
                  </a:lnTo>
                  <a:lnTo>
                    <a:pt x="0" y="132"/>
                  </a:lnTo>
                  <a:lnTo>
                    <a:pt x="1" y="145"/>
                  </a:lnTo>
                  <a:lnTo>
                    <a:pt x="3" y="158"/>
                  </a:lnTo>
                  <a:lnTo>
                    <a:pt x="6" y="172"/>
                  </a:lnTo>
                  <a:lnTo>
                    <a:pt x="11" y="184"/>
                  </a:lnTo>
                  <a:lnTo>
                    <a:pt x="16" y="195"/>
                  </a:lnTo>
                  <a:lnTo>
                    <a:pt x="23" y="206"/>
                  </a:lnTo>
                  <a:lnTo>
                    <a:pt x="30" y="216"/>
                  </a:lnTo>
                  <a:lnTo>
                    <a:pt x="39" y="226"/>
                  </a:lnTo>
                  <a:lnTo>
                    <a:pt x="96" y="169"/>
                  </a:lnTo>
                  <a:lnTo>
                    <a:pt x="96" y="169"/>
                  </a:lnTo>
                  <a:lnTo>
                    <a:pt x="89" y="162"/>
                  </a:lnTo>
                  <a:lnTo>
                    <a:pt x="84" y="155"/>
                  </a:lnTo>
                  <a:lnTo>
                    <a:pt x="78" y="146"/>
                  </a:lnTo>
                  <a:lnTo>
                    <a:pt x="74" y="138"/>
                  </a:lnTo>
                  <a:lnTo>
                    <a:pt x="70" y="128"/>
                  </a:lnTo>
                  <a:lnTo>
                    <a:pt x="68" y="119"/>
                  </a:lnTo>
                  <a:lnTo>
                    <a:pt x="67" y="110"/>
                  </a:lnTo>
                  <a:lnTo>
                    <a:pt x="66" y="99"/>
                  </a:lnTo>
                  <a:lnTo>
                    <a:pt x="66" y="99"/>
                  </a:lnTo>
                  <a:close/>
                </a:path>
              </a:pathLst>
            </a:custGeom>
            <a:solidFill>
              <a:srgbClr val="DD39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8" name="Freeform 631"/>
            <p:cNvSpPr>
              <a:spLocks/>
            </p:cNvSpPr>
            <p:nvPr/>
          </p:nvSpPr>
          <p:spPr bwMode="auto">
            <a:xfrm>
              <a:off x="4549828" y="5122902"/>
              <a:ext cx="6350" cy="4763"/>
            </a:xfrm>
            <a:custGeom>
              <a:avLst/>
              <a:gdLst>
                <a:gd name="T0" fmla="*/ 0 w 22"/>
                <a:gd name="T1" fmla="*/ 0 h 17"/>
                <a:gd name="T2" fmla="*/ 0 w 22"/>
                <a:gd name="T3" fmla="*/ 0 h 17"/>
                <a:gd name="T4" fmla="*/ 11 w 22"/>
                <a:gd name="T5" fmla="*/ 9 h 17"/>
                <a:gd name="T6" fmla="*/ 22 w 22"/>
                <a:gd name="T7" fmla="*/ 17 h 17"/>
                <a:gd name="T8" fmla="*/ 22 w 22"/>
                <a:gd name="T9" fmla="*/ 17 h 17"/>
                <a:gd name="T10" fmla="*/ 11 w 22"/>
                <a:gd name="T11" fmla="*/ 9 h 17"/>
                <a:gd name="T12" fmla="*/ 0 w 22"/>
                <a:gd name="T13" fmla="*/ 0 h 17"/>
                <a:gd name="T14" fmla="*/ 0 w 22"/>
                <a:gd name="T15" fmla="*/ 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7">
                  <a:moveTo>
                    <a:pt x="0" y="0"/>
                  </a:moveTo>
                  <a:lnTo>
                    <a:pt x="0" y="0"/>
                  </a:lnTo>
                  <a:lnTo>
                    <a:pt x="11" y="9"/>
                  </a:lnTo>
                  <a:lnTo>
                    <a:pt x="22" y="17"/>
                  </a:lnTo>
                  <a:lnTo>
                    <a:pt x="22" y="17"/>
                  </a:lnTo>
                  <a:lnTo>
                    <a:pt x="11" y="9"/>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9" name="Freeform 632"/>
            <p:cNvSpPr>
              <a:spLocks/>
            </p:cNvSpPr>
            <p:nvPr/>
          </p:nvSpPr>
          <p:spPr bwMode="auto">
            <a:xfrm>
              <a:off x="4546653" y="512131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0" name="Freeform 633"/>
            <p:cNvSpPr>
              <a:spLocks/>
            </p:cNvSpPr>
            <p:nvPr/>
          </p:nvSpPr>
          <p:spPr bwMode="auto">
            <a:xfrm>
              <a:off x="4549828" y="5122902"/>
              <a:ext cx="0" cy="0"/>
            </a:xfrm>
            <a:custGeom>
              <a:avLst/>
              <a:gdLst>
                <a:gd name="T0" fmla="*/ 0 w 1"/>
                <a:gd name="T1" fmla="*/ 1 w 1"/>
                <a:gd name="T2" fmla="*/ 0 w 1"/>
              </a:gdLst>
              <a:ahLst/>
              <a:cxnLst>
                <a:cxn ang="0">
                  <a:pos x="T0" y="0"/>
                </a:cxn>
                <a:cxn ang="0">
                  <a:pos x="T1" y="0"/>
                </a:cxn>
                <a:cxn ang="0">
                  <a:pos x="T2" y="0"/>
                </a:cxn>
              </a:cxnLst>
              <a:rect l="0" t="0" r="r" b="b"/>
              <a:pathLst>
                <a:path w="1">
                  <a:moveTo>
                    <a:pt x="0" y="0"/>
                  </a:moveTo>
                  <a:lnTo>
                    <a:pt x="1"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1" name="Freeform 634"/>
            <p:cNvSpPr>
              <a:spLocks/>
            </p:cNvSpPr>
            <p:nvPr/>
          </p:nvSpPr>
          <p:spPr bwMode="auto">
            <a:xfrm>
              <a:off x="4556178" y="512766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2" name="Line 635"/>
            <p:cNvSpPr>
              <a:spLocks noChangeShapeType="1"/>
            </p:cNvSpPr>
            <p:nvPr/>
          </p:nvSpPr>
          <p:spPr bwMode="auto">
            <a:xfrm>
              <a:off x="4535540" y="511655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3" name="Line 636"/>
            <p:cNvSpPr>
              <a:spLocks noChangeShapeType="1"/>
            </p:cNvSpPr>
            <p:nvPr/>
          </p:nvSpPr>
          <p:spPr bwMode="auto">
            <a:xfrm>
              <a:off x="4535540" y="511655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4" name="Freeform 637"/>
            <p:cNvSpPr>
              <a:spLocks/>
            </p:cNvSpPr>
            <p:nvPr/>
          </p:nvSpPr>
          <p:spPr bwMode="auto">
            <a:xfrm>
              <a:off x="4538715" y="5118139"/>
              <a:ext cx="0" cy="0"/>
            </a:xfrm>
            <a:custGeom>
              <a:avLst/>
              <a:gdLst>
                <a:gd name="T0" fmla="*/ 0 w 1"/>
                <a:gd name="T1" fmla="*/ 0 w 1"/>
                <a:gd name="T2" fmla="*/ 1 w 1"/>
                <a:gd name="T3" fmla="*/ 1 w 1"/>
                <a:gd name="T4" fmla="*/ 0 w 1"/>
                <a:gd name="T5" fmla="*/ 0 w 1"/>
              </a:gdLst>
              <a:ahLst/>
              <a:cxnLst>
                <a:cxn ang="0">
                  <a:pos x="T0" y="0"/>
                </a:cxn>
                <a:cxn ang="0">
                  <a:pos x="T1" y="0"/>
                </a:cxn>
                <a:cxn ang="0">
                  <a:pos x="T2" y="0"/>
                </a:cxn>
                <a:cxn ang="0">
                  <a:pos x="T3" y="0"/>
                </a:cxn>
                <a:cxn ang="0">
                  <a:pos x="T4" y="0"/>
                </a:cxn>
                <a:cxn ang="0">
                  <a:pos x="T5" y="0"/>
                </a:cxn>
              </a:cxnLst>
              <a:rect l="0" t="0" r="r" b="b"/>
              <a:pathLst>
                <a:path w="1">
                  <a:moveTo>
                    <a:pt x="0" y="0"/>
                  </a:moveTo>
                  <a:lnTo>
                    <a:pt x="0" y="0"/>
                  </a:lnTo>
                  <a:lnTo>
                    <a:pt x="1" y="0"/>
                  </a:lnTo>
                  <a:lnTo>
                    <a:pt x="1" y="0"/>
                  </a:ln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5" name="Freeform 638"/>
            <p:cNvSpPr>
              <a:spLocks/>
            </p:cNvSpPr>
            <p:nvPr/>
          </p:nvSpPr>
          <p:spPr bwMode="auto">
            <a:xfrm>
              <a:off x="4506965" y="5116552"/>
              <a:ext cx="50800" cy="53976"/>
            </a:xfrm>
            <a:custGeom>
              <a:avLst/>
              <a:gdLst>
                <a:gd name="T0" fmla="*/ 0 w 160"/>
                <a:gd name="T1" fmla="*/ 98 h 168"/>
                <a:gd name="T2" fmla="*/ 0 w 160"/>
                <a:gd name="T3" fmla="*/ 98 h 168"/>
                <a:gd name="T4" fmla="*/ 1 w 160"/>
                <a:gd name="T5" fmla="*/ 109 h 168"/>
                <a:gd name="T6" fmla="*/ 2 w 160"/>
                <a:gd name="T7" fmla="*/ 118 h 168"/>
                <a:gd name="T8" fmla="*/ 4 w 160"/>
                <a:gd name="T9" fmla="*/ 127 h 168"/>
                <a:gd name="T10" fmla="*/ 8 w 160"/>
                <a:gd name="T11" fmla="*/ 137 h 168"/>
                <a:gd name="T12" fmla="*/ 12 w 160"/>
                <a:gd name="T13" fmla="*/ 145 h 168"/>
                <a:gd name="T14" fmla="*/ 18 w 160"/>
                <a:gd name="T15" fmla="*/ 154 h 168"/>
                <a:gd name="T16" fmla="*/ 23 w 160"/>
                <a:gd name="T17" fmla="*/ 161 h 168"/>
                <a:gd name="T18" fmla="*/ 30 w 160"/>
                <a:gd name="T19" fmla="*/ 168 h 168"/>
                <a:gd name="T20" fmla="*/ 160 w 160"/>
                <a:gd name="T21" fmla="*/ 37 h 168"/>
                <a:gd name="T22" fmla="*/ 160 w 160"/>
                <a:gd name="T23" fmla="*/ 37 h 168"/>
                <a:gd name="T24" fmla="*/ 158 w 160"/>
                <a:gd name="T25" fmla="*/ 34 h 168"/>
                <a:gd name="T26" fmla="*/ 158 w 160"/>
                <a:gd name="T27" fmla="*/ 34 h 168"/>
                <a:gd name="T28" fmla="*/ 158 w 160"/>
                <a:gd name="T29" fmla="*/ 34 h 168"/>
                <a:gd name="T30" fmla="*/ 147 w 160"/>
                <a:gd name="T31" fmla="*/ 26 h 168"/>
                <a:gd name="T32" fmla="*/ 136 w 160"/>
                <a:gd name="T33" fmla="*/ 17 h 168"/>
                <a:gd name="T34" fmla="*/ 135 w 160"/>
                <a:gd name="T35" fmla="*/ 17 h 168"/>
                <a:gd name="T36" fmla="*/ 135 w 160"/>
                <a:gd name="T37" fmla="*/ 17 h 168"/>
                <a:gd name="T38" fmla="*/ 126 w 160"/>
                <a:gd name="T39" fmla="*/ 12 h 168"/>
                <a:gd name="T40" fmla="*/ 126 w 160"/>
                <a:gd name="T41" fmla="*/ 12 h 168"/>
                <a:gd name="T42" fmla="*/ 126 w 160"/>
                <a:gd name="T43" fmla="*/ 12 h 168"/>
                <a:gd name="T44" fmla="*/ 114 w 160"/>
                <a:gd name="T45" fmla="*/ 8 h 168"/>
                <a:gd name="T46" fmla="*/ 101 w 160"/>
                <a:gd name="T47" fmla="*/ 3 h 168"/>
                <a:gd name="T48" fmla="*/ 101 w 160"/>
                <a:gd name="T49" fmla="*/ 3 h 168"/>
                <a:gd name="T50" fmla="*/ 100 w 160"/>
                <a:gd name="T51" fmla="*/ 3 h 168"/>
                <a:gd name="T52" fmla="*/ 100 w 160"/>
                <a:gd name="T53" fmla="*/ 3 h 168"/>
                <a:gd name="T54" fmla="*/ 90 w 160"/>
                <a:gd name="T55" fmla="*/ 0 h 168"/>
                <a:gd name="T56" fmla="*/ 90 w 160"/>
                <a:gd name="T57" fmla="*/ 0 h 168"/>
                <a:gd name="T58" fmla="*/ 81 w 160"/>
                <a:gd name="T59" fmla="*/ 1 h 168"/>
                <a:gd name="T60" fmla="*/ 71 w 160"/>
                <a:gd name="T61" fmla="*/ 4 h 168"/>
                <a:gd name="T62" fmla="*/ 63 w 160"/>
                <a:gd name="T63" fmla="*/ 6 h 168"/>
                <a:gd name="T64" fmla="*/ 54 w 160"/>
                <a:gd name="T65" fmla="*/ 10 h 168"/>
                <a:gd name="T66" fmla="*/ 47 w 160"/>
                <a:gd name="T67" fmla="*/ 15 h 168"/>
                <a:gd name="T68" fmla="*/ 40 w 160"/>
                <a:gd name="T69" fmla="*/ 20 h 168"/>
                <a:gd name="T70" fmla="*/ 32 w 160"/>
                <a:gd name="T71" fmla="*/ 26 h 168"/>
                <a:gd name="T72" fmla="*/ 26 w 160"/>
                <a:gd name="T73" fmla="*/ 32 h 168"/>
                <a:gd name="T74" fmla="*/ 20 w 160"/>
                <a:gd name="T75" fmla="*/ 38 h 168"/>
                <a:gd name="T76" fmla="*/ 15 w 160"/>
                <a:gd name="T77" fmla="*/ 45 h 168"/>
                <a:gd name="T78" fmla="*/ 11 w 160"/>
                <a:gd name="T79" fmla="*/ 54 h 168"/>
                <a:gd name="T80" fmla="*/ 7 w 160"/>
                <a:gd name="T81" fmla="*/ 61 h 168"/>
                <a:gd name="T82" fmla="*/ 4 w 160"/>
                <a:gd name="T83" fmla="*/ 70 h 168"/>
                <a:gd name="T84" fmla="*/ 2 w 160"/>
                <a:gd name="T85" fmla="*/ 79 h 168"/>
                <a:gd name="T86" fmla="*/ 1 w 160"/>
                <a:gd name="T87" fmla="*/ 88 h 168"/>
                <a:gd name="T88" fmla="*/ 0 w 160"/>
                <a:gd name="T89" fmla="*/ 98 h 168"/>
                <a:gd name="T90" fmla="*/ 0 w 160"/>
                <a:gd name="T91" fmla="*/ 9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0" h="168">
                  <a:moveTo>
                    <a:pt x="0" y="98"/>
                  </a:moveTo>
                  <a:lnTo>
                    <a:pt x="0" y="98"/>
                  </a:lnTo>
                  <a:lnTo>
                    <a:pt x="1" y="109"/>
                  </a:lnTo>
                  <a:lnTo>
                    <a:pt x="2" y="118"/>
                  </a:lnTo>
                  <a:lnTo>
                    <a:pt x="4" y="127"/>
                  </a:lnTo>
                  <a:lnTo>
                    <a:pt x="8" y="137"/>
                  </a:lnTo>
                  <a:lnTo>
                    <a:pt x="12" y="145"/>
                  </a:lnTo>
                  <a:lnTo>
                    <a:pt x="18" y="154"/>
                  </a:lnTo>
                  <a:lnTo>
                    <a:pt x="23" y="161"/>
                  </a:lnTo>
                  <a:lnTo>
                    <a:pt x="30" y="168"/>
                  </a:lnTo>
                  <a:lnTo>
                    <a:pt x="160" y="37"/>
                  </a:lnTo>
                  <a:lnTo>
                    <a:pt x="160" y="37"/>
                  </a:lnTo>
                  <a:lnTo>
                    <a:pt x="158" y="34"/>
                  </a:lnTo>
                  <a:lnTo>
                    <a:pt x="158" y="34"/>
                  </a:lnTo>
                  <a:lnTo>
                    <a:pt x="158" y="34"/>
                  </a:lnTo>
                  <a:lnTo>
                    <a:pt x="147" y="26"/>
                  </a:lnTo>
                  <a:lnTo>
                    <a:pt x="136" y="17"/>
                  </a:lnTo>
                  <a:lnTo>
                    <a:pt x="135" y="17"/>
                  </a:lnTo>
                  <a:lnTo>
                    <a:pt x="135" y="17"/>
                  </a:lnTo>
                  <a:lnTo>
                    <a:pt x="126" y="12"/>
                  </a:lnTo>
                  <a:lnTo>
                    <a:pt x="126" y="12"/>
                  </a:lnTo>
                  <a:lnTo>
                    <a:pt x="126" y="12"/>
                  </a:lnTo>
                  <a:lnTo>
                    <a:pt x="114" y="8"/>
                  </a:lnTo>
                  <a:lnTo>
                    <a:pt x="101" y="3"/>
                  </a:lnTo>
                  <a:lnTo>
                    <a:pt x="101" y="3"/>
                  </a:lnTo>
                  <a:lnTo>
                    <a:pt x="100" y="3"/>
                  </a:lnTo>
                  <a:lnTo>
                    <a:pt x="100" y="3"/>
                  </a:lnTo>
                  <a:lnTo>
                    <a:pt x="90" y="0"/>
                  </a:lnTo>
                  <a:lnTo>
                    <a:pt x="90" y="0"/>
                  </a:lnTo>
                  <a:lnTo>
                    <a:pt x="81" y="1"/>
                  </a:lnTo>
                  <a:lnTo>
                    <a:pt x="71" y="4"/>
                  </a:lnTo>
                  <a:lnTo>
                    <a:pt x="63" y="6"/>
                  </a:lnTo>
                  <a:lnTo>
                    <a:pt x="54" y="10"/>
                  </a:lnTo>
                  <a:lnTo>
                    <a:pt x="47" y="15"/>
                  </a:lnTo>
                  <a:lnTo>
                    <a:pt x="40" y="20"/>
                  </a:lnTo>
                  <a:lnTo>
                    <a:pt x="32" y="26"/>
                  </a:lnTo>
                  <a:lnTo>
                    <a:pt x="26" y="32"/>
                  </a:lnTo>
                  <a:lnTo>
                    <a:pt x="20" y="38"/>
                  </a:lnTo>
                  <a:lnTo>
                    <a:pt x="15" y="45"/>
                  </a:lnTo>
                  <a:lnTo>
                    <a:pt x="11" y="54"/>
                  </a:lnTo>
                  <a:lnTo>
                    <a:pt x="7" y="61"/>
                  </a:lnTo>
                  <a:lnTo>
                    <a:pt x="4" y="70"/>
                  </a:lnTo>
                  <a:lnTo>
                    <a:pt x="2" y="79"/>
                  </a:lnTo>
                  <a:lnTo>
                    <a:pt x="1" y="88"/>
                  </a:lnTo>
                  <a:lnTo>
                    <a:pt x="0" y="98"/>
                  </a:lnTo>
                  <a:lnTo>
                    <a:pt x="0" y="98"/>
                  </a:lnTo>
                  <a:close/>
                </a:path>
              </a:pathLst>
            </a:custGeom>
            <a:solidFill>
              <a:srgbClr val="FF54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6" name="Freeform 639"/>
            <p:cNvSpPr>
              <a:spLocks/>
            </p:cNvSpPr>
            <p:nvPr/>
          </p:nvSpPr>
          <p:spPr bwMode="auto">
            <a:xfrm>
              <a:off x="4497440" y="5148302"/>
              <a:ext cx="71438" cy="52388"/>
            </a:xfrm>
            <a:custGeom>
              <a:avLst/>
              <a:gdLst>
                <a:gd name="T0" fmla="*/ 94 w 226"/>
                <a:gd name="T1" fmla="*/ 165 h 165"/>
                <a:gd name="T2" fmla="*/ 94 w 226"/>
                <a:gd name="T3" fmla="*/ 165 h 165"/>
                <a:gd name="T4" fmla="*/ 107 w 226"/>
                <a:gd name="T5" fmla="*/ 165 h 165"/>
                <a:gd name="T6" fmla="*/ 120 w 226"/>
                <a:gd name="T7" fmla="*/ 162 h 165"/>
                <a:gd name="T8" fmla="*/ 134 w 226"/>
                <a:gd name="T9" fmla="*/ 158 h 165"/>
                <a:gd name="T10" fmla="*/ 146 w 226"/>
                <a:gd name="T11" fmla="*/ 155 h 165"/>
                <a:gd name="T12" fmla="*/ 157 w 226"/>
                <a:gd name="T13" fmla="*/ 149 h 165"/>
                <a:gd name="T14" fmla="*/ 168 w 226"/>
                <a:gd name="T15" fmla="*/ 143 h 165"/>
                <a:gd name="T16" fmla="*/ 179 w 226"/>
                <a:gd name="T17" fmla="*/ 134 h 165"/>
                <a:gd name="T18" fmla="*/ 187 w 226"/>
                <a:gd name="T19" fmla="*/ 126 h 165"/>
                <a:gd name="T20" fmla="*/ 196 w 226"/>
                <a:gd name="T21" fmla="*/ 117 h 165"/>
                <a:gd name="T22" fmla="*/ 205 w 226"/>
                <a:gd name="T23" fmla="*/ 106 h 165"/>
                <a:gd name="T24" fmla="*/ 211 w 226"/>
                <a:gd name="T25" fmla="*/ 95 h 165"/>
                <a:gd name="T26" fmla="*/ 217 w 226"/>
                <a:gd name="T27" fmla="*/ 84 h 165"/>
                <a:gd name="T28" fmla="*/ 220 w 226"/>
                <a:gd name="T29" fmla="*/ 72 h 165"/>
                <a:gd name="T30" fmla="*/ 224 w 226"/>
                <a:gd name="T31" fmla="*/ 58 h 165"/>
                <a:gd name="T32" fmla="*/ 226 w 226"/>
                <a:gd name="T33" fmla="*/ 46 h 165"/>
                <a:gd name="T34" fmla="*/ 226 w 226"/>
                <a:gd name="T35" fmla="*/ 32 h 165"/>
                <a:gd name="T36" fmla="*/ 226 w 226"/>
                <a:gd name="T37" fmla="*/ 32 h 165"/>
                <a:gd name="T38" fmla="*/ 225 w 226"/>
                <a:gd name="T39" fmla="*/ 16 h 165"/>
                <a:gd name="T40" fmla="*/ 223 w 226"/>
                <a:gd name="T41" fmla="*/ 0 h 165"/>
                <a:gd name="T42" fmla="*/ 223 w 226"/>
                <a:gd name="T43" fmla="*/ 0 h 165"/>
                <a:gd name="T44" fmla="*/ 222 w 226"/>
                <a:gd name="T45" fmla="*/ 10 h 165"/>
                <a:gd name="T46" fmla="*/ 220 w 226"/>
                <a:gd name="T47" fmla="*/ 19 h 165"/>
                <a:gd name="T48" fmla="*/ 218 w 226"/>
                <a:gd name="T49" fmla="*/ 29 h 165"/>
                <a:gd name="T50" fmla="*/ 214 w 226"/>
                <a:gd name="T51" fmla="*/ 38 h 165"/>
                <a:gd name="T52" fmla="*/ 211 w 226"/>
                <a:gd name="T53" fmla="*/ 46 h 165"/>
                <a:gd name="T54" fmla="*/ 206 w 226"/>
                <a:gd name="T55" fmla="*/ 55 h 165"/>
                <a:gd name="T56" fmla="*/ 200 w 226"/>
                <a:gd name="T57" fmla="*/ 62 h 165"/>
                <a:gd name="T58" fmla="*/ 194 w 226"/>
                <a:gd name="T59" fmla="*/ 68 h 165"/>
                <a:gd name="T60" fmla="*/ 186 w 226"/>
                <a:gd name="T61" fmla="*/ 74 h 165"/>
                <a:gd name="T62" fmla="*/ 179 w 226"/>
                <a:gd name="T63" fmla="*/ 80 h 165"/>
                <a:gd name="T64" fmla="*/ 172 w 226"/>
                <a:gd name="T65" fmla="*/ 85 h 165"/>
                <a:gd name="T66" fmla="*/ 163 w 226"/>
                <a:gd name="T67" fmla="*/ 89 h 165"/>
                <a:gd name="T68" fmla="*/ 153 w 226"/>
                <a:gd name="T69" fmla="*/ 93 h 165"/>
                <a:gd name="T70" fmla="*/ 145 w 226"/>
                <a:gd name="T71" fmla="*/ 95 h 165"/>
                <a:gd name="T72" fmla="*/ 135 w 226"/>
                <a:gd name="T73" fmla="*/ 96 h 165"/>
                <a:gd name="T74" fmla="*/ 125 w 226"/>
                <a:gd name="T75" fmla="*/ 96 h 165"/>
                <a:gd name="T76" fmla="*/ 125 w 226"/>
                <a:gd name="T77" fmla="*/ 96 h 165"/>
                <a:gd name="T78" fmla="*/ 116 w 226"/>
                <a:gd name="T79" fmla="*/ 96 h 165"/>
                <a:gd name="T80" fmla="*/ 106 w 226"/>
                <a:gd name="T81" fmla="*/ 95 h 165"/>
                <a:gd name="T82" fmla="*/ 96 w 226"/>
                <a:gd name="T83" fmla="*/ 93 h 165"/>
                <a:gd name="T84" fmla="*/ 88 w 226"/>
                <a:gd name="T85" fmla="*/ 89 h 165"/>
                <a:gd name="T86" fmla="*/ 79 w 226"/>
                <a:gd name="T87" fmla="*/ 85 h 165"/>
                <a:gd name="T88" fmla="*/ 70 w 226"/>
                <a:gd name="T89" fmla="*/ 80 h 165"/>
                <a:gd name="T90" fmla="*/ 63 w 226"/>
                <a:gd name="T91" fmla="*/ 76 h 165"/>
                <a:gd name="T92" fmla="*/ 57 w 226"/>
                <a:gd name="T93" fmla="*/ 69 h 165"/>
                <a:gd name="T94" fmla="*/ 0 w 226"/>
                <a:gd name="T95" fmla="*/ 126 h 165"/>
                <a:gd name="T96" fmla="*/ 0 w 226"/>
                <a:gd name="T97" fmla="*/ 126 h 165"/>
                <a:gd name="T98" fmla="*/ 9 w 226"/>
                <a:gd name="T99" fmla="*/ 134 h 165"/>
                <a:gd name="T100" fmla="*/ 19 w 226"/>
                <a:gd name="T101" fmla="*/ 141 h 165"/>
                <a:gd name="T102" fmla="*/ 30 w 226"/>
                <a:gd name="T103" fmla="*/ 149 h 165"/>
                <a:gd name="T104" fmla="*/ 42 w 226"/>
                <a:gd name="T105" fmla="*/ 155 h 165"/>
                <a:gd name="T106" fmla="*/ 55 w 226"/>
                <a:gd name="T107" fmla="*/ 158 h 165"/>
                <a:gd name="T108" fmla="*/ 67 w 226"/>
                <a:gd name="T109" fmla="*/ 162 h 165"/>
                <a:gd name="T110" fmla="*/ 80 w 226"/>
                <a:gd name="T111" fmla="*/ 165 h 165"/>
                <a:gd name="T112" fmla="*/ 94 w 226"/>
                <a:gd name="T113" fmla="*/ 165 h 165"/>
                <a:gd name="T114" fmla="*/ 94 w 226"/>
                <a:gd name="T115"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6" h="165">
                  <a:moveTo>
                    <a:pt x="94" y="165"/>
                  </a:moveTo>
                  <a:lnTo>
                    <a:pt x="94" y="165"/>
                  </a:lnTo>
                  <a:lnTo>
                    <a:pt x="107" y="165"/>
                  </a:lnTo>
                  <a:lnTo>
                    <a:pt x="120" y="162"/>
                  </a:lnTo>
                  <a:lnTo>
                    <a:pt x="134" y="158"/>
                  </a:lnTo>
                  <a:lnTo>
                    <a:pt x="146" y="155"/>
                  </a:lnTo>
                  <a:lnTo>
                    <a:pt x="157" y="149"/>
                  </a:lnTo>
                  <a:lnTo>
                    <a:pt x="168" y="143"/>
                  </a:lnTo>
                  <a:lnTo>
                    <a:pt x="179" y="134"/>
                  </a:lnTo>
                  <a:lnTo>
                    <a:pt x="187" y="126"/>
                  </a:lnTo>
                  <a:lnTo>
                    <a:pt x="196" y="117"/>
                  </a:lnTo>
                  <a:lnTo>
                    <a:pt x="205" y="106"/>
                  </a:lnTo>
                  <a:lnTo>
                    <a:pt x="211" y="95"/>
                  </a:lnTo>
                  <a:lnTo>
                    <a:pt x="217" y="84"/>
                  </a:lnTo>
                  <a:lnTo>
                    <a:pt x="220" y="72"/>
                  </a:lnTo>
                  <a:lnTo>
                    <a:pt x="224" y="58"/>
                  </a:lnTo>
                  <a:lnTo>
                    <a:pt x="226" y="46"/>
                  </a:lnTo>
                  <a:lnTo>
                    <a:pt x="226" y="32"/>
                  </a:lnTo>
                  <a:lnTo>
                    <a:pt x="226" y="32"/>
                  </a:lnTo>
                  <a:lnTo>
                    <a:pt x="225" y="16"/>
                  </a:lnTo>
                  <a:lnTo>
                    <a:pt x="223" y="0"/>
                  </a:lnTo>
                  <a:lnTo>
                    <a:pt x="223" y="0"/>
                  </a:lnTo>
                  <a:lnTo>
                    <a:pt x="222" y="10"/>
                  </a:lnTo>
                  <a:lnTo>
                    <a:pt x="220" y="19"/>
                  </a:lnTo>
                  <a:lnTo>
                    <a:pt x="218" y="29"/>
                  </a:lnTo>
                  <a:lnTo>
                    <a:pt x="214" y="38"/>
                  </a:lnTo>
                  <a:lnTo>
                    <a:pt x="211" y="46"/>
                  </a:lnTo>
                  <a:lnTo>
                    <a:pt x="206" y="55"/>
                  </a:lnTo>
                  <a:lnTo>
                    <a:pt x="200" y="62"/>
                  </a:lnTo>
                  <a:lnTo>
                    <a:pt x="194" y="68"/>
                  </a:lnTo>
                  <a:lnTo>
                    <a:pt x="186" y="74"/>
                  </a:lnTo>
                  <a:lnTo>
                    <a:pt x="179" y="80"/>
                  </a:lnTo>
                  <a:lnTo>
                    <a:pt x="172" y="85"/>
                  </a:lnTo>
                  <a:lnTo>
                    <a:pt x="163" y="89"/>
                  </a:lnTo>
                  <a:lnTo>
                    <a:pt x="153" y="93"/>
                  </a:lnTo>
                  <a:lnTo>
                    <a:pt x="145" y="95"/>
                  </a:lnTo>
                  <a:lnTo>
                    <a:pt x="135" y="96"/>
                  </a:lnTo>
                  <a:lnTo>
                    <a:pt x="125" y="96"/>
                  </a:lnTo>
                  <a:lnTo>
                    <a:pt x="125" y="96"/>
                  </a:lnTo>
                  <a:lnTo>
                    <a:pt x="116" y="96"/>
                  </a:lnTo>
                  <a:lnTo>
                    <a:pt x="106" y="95"/>
                  </a:lnTo>
                  <a:lnTo>
                    <a:pt x="96" y="93"/>
                  </a:lnTo>
                  <a:lnTo>
                    <a:pt x="88" y="89"/>
                  </a:lnTo>
                  <a:lnTo>
                    <a:pt x="79" y="85"/>
                  </a:lnTo>
                  <a:lnTo>
                    <a:pt x="70" y="80"/>
                  </a:lnTo>
                  <a:lnTo>
                    <a:pt x="63" y="76"/>
                  </a:lnTo>
                  <a:lnTo>
                    <a:pt x="57" y="69"/>
                  </a:lnTo>
                  <a:lnTo>
                    <a:pt x="0" y="126"/>
                  </a:lnTo>
                  <a:lnTo>
                    <a:pt x="0" y="126"/>
                  </a:lnTo>
                  <a:lnTo>
                    <a:pt x="9" y="134"/>
                  </a:lnTo>
                  <a:lnTo>
                    <a:pt x="19" y="141"/>
                  </a:lnTo>
                  <a:lnTo>
                    <a:pt x="30" y="149"/>
                  </a:lnTo>
                  <a:lnTo>
                    <a:pt x="42" y="155"/>
                  </a:lnTo>
                  <a:lnTo>
                    <a:pt x="55" y="158"/>
                  </a:lnTo>
                  <a:lnTo>
                    <a:pt x="67" y="162"/>
                  </a:lnTo>
                  <a:lnTo>
                    <a:pt x="80" y="165"/>
                  </a:lnTo>
                  <a:lnTo>
                    <a:pt x="94" y="165"/>
                  </a:lnTo>
                  <a:lnTo>
                    <a:pt x="94" y="165"/>
                  </a:lnTo>
                  <a:close/>
                </a:path>
              </a:pathLst>
            </a:custGeom>
            <a:solidFill>
              <a:srgbClr val="AD26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7" name="Freeform 640"/>
            <p:cNvSpPr>
              <a:spLocks/>
            </p:cNvSpPr>
            <p:nvPr/>
          </p:nvSpPr>
          <p:spPr bwMode="auto">
            <a:xfrm>
              <a:off x="4557765" y="5130839"/>
              <a:ext cx="11113" cy="17463"/>
            </a:xfrm>
            <a:custGeom>
              <a:avLst/>
              <a:gdLst>
                <a:gd name="T0" fmla="*/ 0 w 32"/>
                <a:gd name="T1" fmla="*/ 0 h 57"/>
                <a:gd name="T2" fmla="*/ 0 w 32"/>
                <a:gd name="T3" fmla="*/ 0 h 57"/>
                <a:gd name="T4" fmla="*/ 11 w 32"/>
                <a:gd name="T5" fmla="*/ 12 h 57"/>
                <a:gd name="T6" fmla="*/ 20 w 32"/>
                <a:gd name="T7" fmla="*/ 26 h 57"/>
                <a:gd name="T8" fmla="*/ 27 w 32"/>
                <a:gd name="T9" fmla="*/ 41 h 57"/>
                <a:gd name="T10" fmla="*/ 32 w 32"/>
                <a:gd name="T11" fmla="*/ 57 h 57"/>
                <a:gd name="T12" fmla="*/ 32 w 32"/>
                <a:gd name="T13" fmla="*/ 57 h 57"/>
                <a:gd name="T14" fmla="*/ 27 w 32"/>
                <a:gd name="T15" fmla="*/ 41 h 57"/>
                <a:gd name="T16" fmla="*/ 20 w 32"/>
                <a:gd name="T17" fmla="*/ 26 h 57"/>
                <a:gd name="T18" fmla="*/ 11 w 32"/>
                <a:gd name="T19" fmla="*/ 12 h 57"/>
                <a:gd name="T20" fmla="*/ 0 w 32"/>
                <a:gd name="T21" fmla="*/ 0 h 57"/>
                <a:gd name="T22" fmla="*/ 0 w 32"/>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57">
                  <a:moveTo>
                    <a:pt x="0" y="0"/>
                  </a:moveTo>
                  <a:lnTo>
                    <a:pt x="0" y="0"/>
                  </a:lnTo>
                  <a:lnTo>
                    <a:pt x="11" y="12"/>
                  </a:lnTo>
                  <a:lnTo>
                    <a:pt x="20" y="26"/>
                  </a:lnTo>
                  <a:lnTo>
                    <a:pt x="27" y="41"/>
                  </a:lnTo>
                  <a:lnTo>
                    <a:pt x="32" y="57"/>
                  </a:lnTo>
                  <a:lnTo>
                    <a:pt x="32" y="57"/>
                  </a:lnTo>
                  <a:lnTo>
                    <a:pt x="27" y="41"/>
                  </a:lnTo>
                  <a:lnTo>
                    <a:pt x="20" y="26"/>
                  </a:lnTo>
                  <a:lnTo>
                    <a:pt x="11" y="12"/>
                  </a:ln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8" name="Freeform 641"/>
            <p:cNvSpPr>
              <a:spLocks/>
            </p:cNvSpPr>
            <p:nvPr/>
          </p:nvSpPr>
          <p:spPr bwMode="auto">
            <a:xfrm>
              <a:off x="4557765" y="5129252"/>
              <a:ext cx="0" cy="0"/>
            </a:xfrm>
            <a:custGeom>
              <a:avLst/>
              <a:gdLst>
                <a:gd name="T0" fmla="*/ 4 w 4"/>
                <a:gd name="T1" fmla="*/ 3 h 3"/>
                <a:gd name="T2" fmla="*/ 4 w 4"/>
                <a:gd name="T3" fmla="*/ 3 h 3"/>
                <a:gd name="T4" fmla="*/ 0 w 4"/>
                <a:gd name="T5" fmla="*/ 0 h 3"/>
                <a:gd name="T6" fmla="*/ 0 w 4"/>
                <a:gd name="T7" fmla="*/ 0 h 3"/>
                <a:gd name="T8" fmla="*/ 0 w 4"/>
                <a:gd name="T9" fmla="*/ 0 h 3"/>
                <a:gd name="T10" fmla="*/ 4 w 4"/>
                <a:gd name="T11" fmla="*/ 3 h 3"/>
                <a:gd name="T12" fmla="*/ 4 w 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4" y="3"/>
                  </a:moveTo>
                  <a:lnTo>
                    <a:pt x="4" y="3"/>
                  </a:lnTo>
                  <a:lnTo>
                    <a:pt x="0" y="0"/>
                  </a:lnTo>
                  <a:lnTo>
                    <a:pt x="0" y="0"/>
                  </a:lnTo>
                  <a:lnTo>
                    <a:pt x="0" y="0"/>
                  </a:lnTo>
                  <a:lnTo>
                    <a:pt x="4" y="3"/>
                  </a:lnTo>
                  <a:lnTo>
                    <a:pt x="4" y="3"/>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9" name="Freeform 642"/>
            <p:cNvSpPr>
              <a:spLocks/>
            </p:cNvSpPr>
            <p:nvPr/>
          </p:nvSpPr>
          <p:spPr bwMode="auto">
            <a:xfrm>
              <a:off x="4568878" y="514830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0" name="Freeform 643"/>
            <p:cNvSpPr>
              <a:spLocks/>
            </p:cNvSpPr>
            <p:nvPr/>
          </p:nvSpPr>
          <p:spPr bwMode="auto">
            <a:xfrm>
              <a:off x="4557765" y="5129252"/>
              <a:ext cx="0" cy="1588"/>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1" name="Freeform 644"/>
            <p:cNvSpPr>
              <a:spLocks/>
            </p:cNvSpPr>
            <p:nvPr/>
          </p:nvSpPr>
          <p:spPr bwMode="auto">
            <a:xfrm>
              <a:off x="4516490" y="5129252"/>
              <a:ext cx="52388" cy="49213"/>
            </a:xfrm>
            <a:custGeom>
              <a:avLst/>
              <a:gdLst>
                <a:gd name="T0" fmla="*/ 0 w 166"/>
                <a:gd name="T1" fmla="*/ 131 h 158"/>
                <a:gd name="T2" fmla="*/ 0 w 166"/>
                <a:gd name="T3" fmla="*/ 131 h 158"/>
                <a:gd name="T4" fmla="*/ 6 w 166"/>
                <a:gd name="T5" fmla="*/ 138 h 158"/>
                <a:gd name="T6" fmla="*/ 13 w 166"/>
                <a:gd name="T7" fmla="*/ 142 h 158"/>
                <a:gd name="T8" fmla="*/ 22 w 166"/>
                <a:gd name="T9" fmla="*/ 147 h 158"/>
                <a:gd name="T10" fmla="*/ 31 w 166"/>
                <a:gd name="T11" fmla="*/ 151 h 158"/>
                <a:gd name="T12" fmla="*/ 39 w 166"/>
                <a:gd name="T13" fmla="*/ 155 h 158"/>
                <a:gd name="T14" fmla="*/ 49 w 166"/>
                <a:gd name="T15" fmla="*/ 157 h 158"/>
                <a:gd name="T16" fmla="*/ 59 w 166"/>
                <a:gd name="T17" fmla="*/ 158 h 158"/>
                <a:gd name="T18" fmla="*/ 68 w 166"/>
                <a:gd name="T19" fmla="*/ 158 h 158"/>
                <a:gd name="T20" fmla="*/ 68 w 166"/>
                <a:gd name="T21" fmla="*/ 158 h 158"/>
                <a:gd name="T22" fmla="*/ 78 w 166"/>
                <a:gd name="T23" fmla="*/ 158 h 158"/>
                <a:gd name="T24" fmla="*/ 88 w 166"/>
                <a:gd name="T25" fmla="*/ 157 h 158"/>
                <a:gd name="T26" fmla="*/ 96 w 166"/>
                <a:gd name="T27" fmla="*/ 155 h 158"/>
                <a:gd name="T28" fmla="*/ 106 w 166"/>
                <a:gd name="T29" fmla="*/ 151 h 158"/>
                <a:gd name="T30" fmla="*/ 115 w 166"/>
                <a:gd name="T31" fmla="*/ 147 h 158"/>
                <a:gd name="T32" fmla="*/ 122 w 166"/>
                <a:gd name="T33" fmla="*/ 142 h 158"/>
                <a:gd name="T34" fmla="*/ 129 w 166"/>
                <a:gd name="T35" fmla="*/ 136 h 158"/>
                <a:gd name="T36" fmla="*/ 137 w 166"/>
                <a:gd name="T37" fmla="*/ 130 h 158"/>
                <a:gd name="T38" fmla="*/ 143 w 166"/>
                <a:gd name="T39" fmla="*/ 124 h 158"/>
                <a:gd name="T40" fmla="*/ 149 w 166"/>
                <a:gd name="T41" fmla="*/ 117 h 158"/>
                <a:gd name="T42" fmla="*/ 154 w 166"/>
                <a:gd name="T43" fmla="*/ 108 h 158"/>
                <a:gd name="T44" fmla="*/ 157 w 166"/>
                <a:gd name="T45" fmla="*/ 100 h 158"/>
                <a:gd name="T46" fmla="*/ 161 w 166"/>
                <a:gd name="T47" fmla="*/ 91 h 158"/>
                <a:gd name="T48" fmla="*/ 163 w 166"/>
                <a:gd name="T49" fmla="*/ 81 h 158"/>
                <a:gd name="T50" fmla="*/ 165 w 166"/>
                <a:gd name="T51" fmla="*/ 72 h 158"/>
                <a:gd name="T52" fmla="*/ 166 w 166"/>
                <a:gd name="T53" fmla="*/ 62 h 158"/>
                <a:gd name="T54" fmla="*/ 166 w 166"/>
                <a:gd name="T55" fmla="*/ 62 h 158"/>
                <a:gd name="T56" fmla="*/ 166 w 166"/>
                <a:gd name="T57" fmla="*/ 62 h 158"/>
                <a:gd name="T58" fmla="*/ 161 w 166"/>
                <a:gd name="T59" fmla="*/ 46 h 158"/>
                <a:gd name="T60" fmla="*/ 154 w 166"/>
                <a:gd name="T61" fmla="*/ 31 h 158"/>
                <a:gd name="T62" fmla="*/ 145 w 166"/>
                <a:gd name="T63" fmla="*/ 17 h 158"/>
                <a:gd name="T64" fmla="*/ 134 w 166"/>
                <a:gd name="T65" fmla="*/ 5 h 158"/>
                <a:gd name="T66" fmla="*/ 134 w 166"/>
                <a:gd name="T67" fmla="*/ 3 h 158"/>
                <a:gd name="T68" fmla="*/ 134 w 166"/>
                <a:gd name="T69" fmla="*/ 3 h 158"/>
                <a:gd name="T70" fmla="*/ 130 w 166"/>
                <a:gd name="T71" fmla="*/ 0 h 158"/>
                <a:gd name="T72" fmla="*/ 0 w 166"/>
                <a:gd name="T73" fmla="*/ 13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6" h="158">
                  <a:moveTo>
                    <a:pt x="0" y="131"/>
                  </a:moveTo>
                  <a:lnTo>
                    <a:pt x="0" y="131"/>
                  </a:lnTo>
                  <a:lnTo>
                    <a:pt x="6" y="138"/>
                  </a:lnTo>
                  <a:lnTo>
                    <a:pt x="13" y="142"/>
                  </a:lnTo>
                  <a:lnTo>
                    <a:pt x="22" y="147"/>
                  </a:lnTo>
                  <a:lnTo>
                    <a:pt x="31" y="151"/>
                  </a:lnTo>
                  <a:lnTo>
                    <a:pt x="39" y="155"/>
                  </a:lnTo>
                  <a:lnTo>
                    <a:pt x="49" y="157"/>
                  </a:lnTo>
                  <a:lnTo>
                    <a:pt x="59" y="158"/>
                  </a:lnTo>
                  <a:lnTo>
                    <a:pt x="68" y="158"/>
                  </a:lnTo>
                  <a:lnTo>
                    <a:pt x="68" y="158"/>
                  </a:lnTo>
                  <a:lnTo>
                    <a:pt x="78" y="158"/>
                  </a:lnTo>
                  <a:lnTo>
                    <a:pt x="88" y="157"/>
                  </a:lnTo>
                  <a:lnTo>
                    <a:pt x="96" y="155"/>
                  </a:lnTo>
                  <a:lnTo>
                    <a:pt x="106" y="151"/>
                  </a:lnTo>
                  <a:lnTo>
                    <a:pt x="115" y="147"/>
                  </a:lnTo>
                  <a:lnTo>
                    <a:pt x="122" y="142"/>
                  </a:lnTo>
                  <a:lnTo>
                    <a:pt x="129" y="136"/>
                  </a:lnTo>
                  <a:lnTo>
                    <a:pt x="137" y="130"/>
                  </a:lnTo>
                  <a:lnTo>
                    <a:pt x="143" y="124"/>
                  </a:lnTo>
                  <a:lnTo>
                    <a:pt x="149" y="117"/>
                  </a:lnTo>
                  <a:lnTo>
                    <a:pt x="154" y="108"/>
                  </a:lnTo>
                  <a:lnTo>
                    <a:pt x="157" y="100"/>
                  </a:lnTo>
                  <a:lnTo>
                    <a:pt x="161" y="91"/>
                  </a:lnTo>
                  <a:lnTo>
                    <a:pt x="163" y="81"/>
                  </a:lnTo>
                  <a:lnTo>
                    <a:pt x="165" y="72"/>
                  </a:lnTo>
                  <a:lnTo>
                    <a:pt x="166" y="62"/>
                  </a:lnTo>
                  <a:lnTo>
                    <a:pt x="166" y="62"/>
                  </a:lnTo>
                  <a:lnTo>
                    <a:pt x="166" y="62"/>
                  </a:lnTo>
                  <a:lnTo>
                    <a:pt x="161" y="46"/>
                  </a:lnTo>
                  <a:lnTo>
                    <a:pt x="154" y="31"/>
                  </a:lnTo>
                  <a:lnTo>
                    <a:pt x="145" y="17"/>
                  </a:lnTo>
                  <a:lnTo>
                    <a:pt x="134" y="5"/>
                  </a:lnTo>
                  <a:lnTo>
                    <a:pt x="134" y="3"/>
                  </a:lnTo>
                  <a:lnTo>
                    <a:pt x="134" y="3"/>
                  </a:lnTo>
                  <a:lnTo>
                    <a:pt x="130" y="0"/>
                  </a:lnTo>
                  <a:lnTo>
                    <a:pt x="0" y="131"/>
                  </a:lnTo>
                  <a:close/>
                </a:path>
              </a:pathLst>
            </a:custGeom>
            <a:solidFill>
              <a:srgbClr val="DD39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2" name="Freeform 645"/>
            <p:cNvSpPr>
              <a:spLocks/>
            </p:cNvSpPr>
            <p:nvPr/>
          </p:nvSpPr>
          <p:spPr bwMode="auto">
            <a:xfrm>
              <a:off x="4399014" y="4816511"/>
              <a:ext cx="120651" cy="303215"/>
            </a:xfrm>
            <a:custGeom>
              <a:avLst/>
              <a:gdLst>
                <a:gd name="T0" fmla="*/ 234 w 382"/>
                <a:gd name="T1" fmla="*/ 953 h 953"/>
                <a:gd name="T2" fmla="*/ 382 w 382"/>
                <a:gd name="T3" fmla="*/ 857 h 953"/>
                <a:gd name="T4" fmla="*/ 175 w 382"/>
                <a:gd name="T5" fmla="*/ 259 h 953"/>
                <a:gd name="T6" fmla="*/ 136 w 382"/>
                <a:gd name="T7" fmla="*/ 382 h 953"/>
                <a:gd name="T8" fmla="*/ 0 w 382"/>
                <a:gd name="T9" fmla="*/ 0 h 953"/>
                <a:gd name="T10" fmla="*/ 14 w 382"/>
                <a:gd name="T11" fmla="*/ 500 h 953"/>
                <a:gd name="T12" fmla="*/ 234 w 382"/>
                <a:gd name="T13" fmla="*/ 953 h 953"/>
              </a:gdLst>
              <a:ahLst/>
              <a:cxnLst>
                <a:cxn ang="0">
                  <a:pos x="T0" y="T1"/>
                </a:cxn>
                <a:cxn ang="0">
                  <a:pos x="T2" y="T3"/>
                </a:cxn>
                <a:cxn ang="0">
                  <a:pos x="T4" y="T5"/>
                </a:cxn>
                <a:cxn ang="0">
                  <a:pos x="T6" y="T7"/>
                </a:cxn>
                <a:cxn ang="0">
                  <a:pos x="T8" y="T9"/>
                </a:cxn>
                <a:cxn ang="0">
                  <a:pos x="T10" y="T11"/>
                </a:cxn>
                <a:cxn ang="0">
                  <a:pos x="T12" y="T13"/>
                </a:cxn>
              </a:cxnLst>
              <a:rect l="0" t="0" r="r" b="b"/>
              <a:pathLst>
                <a:path w="382" h="953">
                  <a:moveTo>
                    <a:pt x="234" y="953"/>
                  </a:moveTo>
                  <a:lnTo>
                    <a:pt x="382" y="857"/>
                  </a:lnTo>
                  <a:lnTo>
                    <a:pt x="175" y="259"/>
                  </a:lnTo>
                  <a:lnTo>
                    <a:pt x="136" y="382"/>
                  </a:lnTo>
                  <a:lnTo>
                    <a:pt x="0" y="0"/>
                  </a:lnTo>
                  <a:lnTo>
                    <a:pt x="14" y="500"/>
                  </a:lnTo>
                  <a:lnTo>
                    <a:pt x="234" y="95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3" name="Freeform 646"/>
            <p:cNvSpPr>
              <a:spLocks/>
            </p:cNvSpPr>
            <p:nvPr/>
          </p:nvSpPr>
          <p:spPr bwMode="auto">
            <a:xfrm>
              <a:off x="4264075" y="4840324"/>
              <a:ext cx="233364" cy="279403"/>
            </a:xfrm>
            <a:custGeom>
              <a:avLst/>
              <a:gdLst>
                <a:gd name="T0" fmla="*/ 657 w 735"/>
                <a:gd name="T1" fmla="*/ 882 h 882"/>
                <a:gd name="T2" fmla="*/ 735 w 735"/>
                <a:gd name="T3" fmla="*/ 833 h 882"/>
                <a:gd name="T4" fmla="*/ 491 w 735"/>
                <a:gd name="T5" fmla="*/ 276 h 882"/>
                <a:gd name="T6" fmla="*/ 458 w 735"/>
                <a:gd name="T7" fmla="*/ 337 h 882"/>
                <a:gd name="T8" fmla="*/ 369 w 735"/>
                <a:gd name="T9" fmla="*/ 213 h 882"/>
                <a:gd name="T10" fmla="*/ 357 w 735"/>
                <a:gd name="T11" fmla="*/ 290 h 882"/>
                <a:gd name="T12" fmla="*/ 0 w 735"/>
                <a:gd name="T13" fmla="*/ 0 h 882"/>
                <a:gd name="T14" fmla="*/ 214 w 735"/>
                <a:gd name="T15" fmla="*/ 420 h 882"/>
                <a:gd name="T16" fmla="*/ 92 w 735"/>
                <a:gd name="T17" fmla="*/ 365 h 882"/>
                <a:gd name="T18" fmla="*/ 657 w 735"/>
                <a:gd name="T19" fmla="*/ 882 h 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5" h="882">
                  <a:moveTo>
                    <a:pt x="657" y="882"/>
                  </a:moveTo>
                  <a:lnTo>
                    <a:pt x="735" y="833"/>
                  </a:lnTo>
                  <a:lnTo>
                    <a:pt x="491" y="276"/>
                  </a:lnTo>
                  <a:lnTo>
                    <a:pt x="458" y="337"/>
                  </a:lnTo>
                  <a:lnTo>
                    <a:pt x="369" y="213"/>
                  </a:lnTo>
                  <a:lnTo>
                    <a:pt x="357" y="290"/>
                  </a:lnTo>
                  <a:lnTo>
                    <a:pt x="0" y="0"/>
                  </a:lnTo>
                  <a:lnTo>
                    <a:pt x="214" y="420"/>
                  </a:lnTo>
                  <a:lnTo>
                    <a:pt x="92" y="365"/>
                  </a:lnTo>
                  <a:lnTo>
                    <a:pt x="657" y="8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4" name="Freeform 647"/>
            <p:cNvSpPr>
              <a:spLocks/>
            </p:cNvSpPr>
            <p:nvPr/>
          </p:nvSpPr>
          <p:spPr bwMode="auto">
            <a:xfrm>
              <a:off x="4553003" y="5059401"/>
              <a:ext cx="6350" cy="30163"/>
            </a:xfrm>
            <a:custGeom>
              <a:avLst/>
              <a:gdLst>
                <a:gd name="T0" fmla="*/ 23 w 23"/>
                <a:gd name="T1" fmla="*/ 82 h 94"/>
                <a:gd name="T2" fmla="*/ 23 w 23"/>
                <a:gd name="T3" fmla="*/ 82 h 94"/>
                <a:gd name="T4" fmla="*/ 22 w 23"/>
                <a:gd name="T5" fmla="*/ 87 h 94"/>
                <a:gd name="T6" fmla="*/ 19 w 23"/>
                <a:gd name="T7" fmla="*/ 91 h 94"/>
                <a:gd name="T8" fmla="*/ 16 w 23"/>
                <a:gd name="T9" fmla="*/ 93 h 94"/>
                <a:gd name="T10" fmla="*/ 12 w 23"/>
                <a:gd name="T11" fmla="*/ 94 h 94"/>
                <a:gd name="T12" fmla="*/ 12 w 23"/>
                <a:gd name="T13" fmla="*/ 94 h 94"/>
                <a:gd name="T14" fmla="*/ 7 w 23"/>
                <a:gd name="T15" fmla="*/ 93 h 94"/>
                <a:gd name="T16" fmla="*/ 4 w 23"/>
                <a:gd name="T17" fmla="*/ 91 h 94"/>
                <a:gd name="T18" fmla="*/ 1 w 23"/>
                <a:gd name="T19" fmla="*/ 87 h 94"/>
                <a:gd name="T20" fmla="*/ 0 w 23"/>
                <a:gd name="T21" fmla="*/ 82 h 94"/>
                <a:gd name="T22" fmla="*/ 0 w 23"/>
                <a:gd name="T23" fmla="*/ 11 h 94"/>
                <a:gd name="T24" fmla="*/ 0 w 23"/>
                <a:gd name="T25" fmla="*/ 11 h 94"/>
                <a:gd name="T26" fmla="*/ 1 w 23"/>
                <a:gd name="T27" fmla="*/ 8 h 94"/>
                <a:gd name="T28" fmla="*/ 4 w 23"/>
                <a:gd name="T29" fmla="*/ 4 h 94"/>
                <a:gd name="T30" fmla="*/ 7 w 23"/>
                <a:gd name="T31" fmla="*/ 2 h 94"/>
                <a:gd name="T32" fmla="*/ 12 w 23"/>
                <a:gd name="T33" fmla="*/ 0 h 94"/>
                <a:gd name="T34" fmla="*/ 12 w 23"/>
                <a:gd name="T35" fmla="*/ 0 h 94"/>
                <a:gd name="T36" fmla="*/ 16 w 23"/>
                <a:gd name="T37" fmla="*/ 2 h 94"/>
                <a:gd name="T38" fmla="*/ 19 w 23"/>
                <a:gd name="T39" fmla="*/ 4 h 94"/>
                <a:gd name="T40" fmla="*/ 22 w 23"/>
                <a:gd name="T41" fmla="*/ 8 h 94"/>
                <a:gd name="T42" fmla="*/ 23 w 23"/>
                <a:gd name="T43" fmla="*/ 11 h 94"/>
                <a:gd name="T44" fmla="*/ 23 w 23"/>
                <a:gd name="T45"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94">
                  <a:moveTo>
                    <a:pt x="23" y="82"/>
                  </a:moveTo>
                  <a:lnTo>
                    <a:pt x="23" y="82"/>
                  </a:lnTo>
                  <a:lnTo>
                    <a:pt x="22" y="87"/>
                  </a:lnTo>
                  <a:lnTo>
                    <a:pt x="19" y="91"/>
                  </a:lnTo>
                  <a:lnTo>
                    <a:pt x="16" y="93"/>
                  </a:lnTo>
                  <a:lnTo>
                    <a:pt x="12" y="94"/>
                  </a:lnTo>
                  <a:lnTo>
                    <a:pt x="12" y="94"/>
                  </a:lnTo>
                  <a:lnTo>
                    <a:pt x="7" y="93"/>
                  </a:lnTo>
                  <a:lnTo>
                    <a:pt x="4" y="91"/>
                  </a:lnTo>
                  <a:lnTo>
                    <a:pt x="1" y="87"/>
                  </a:lnTo>
                  <a:lnTo>
                    <a:pt x="0" y="82"/>
                  </a:lnTo>
                  <a:lnTo>
                    <a:pt x="0" y="11"/>
                  </a:lnTo>
                  <a:lnTo>
                    <a:pt x="0" y="11"/>
                  </a:lnTo>
                  <a:lnTo>
                    <a:pt x="1" y="8"/>
                  </a:lnTo>
                  <a:lnTo>
                    <a:pt x="4" y="4"/>
                  </a:lnTo>
                  <a:lnTo>
                    <a:pt x="7" y="2"/>
                  </a:lnTo>
                  <a:lnTo>
                    <a:pt x="12" y="0"/>
                  </a:lnTo>
                  <a:lnTo>
                    <a:pt x="12" y="0"/>
                  </a:lnTo>
                  <a:lnTo>
                    <a:pt x="16" y="2"/>
                  </a:lnTo>
                  <a:lnTo>
                    <a:pt x="19" y="4"/>
                  </a:lnTo>
                  <a:lnTo>
                    <a:pt x="22" y="8"/>
                  </a:lnTo>
                  <a:lnTo>
                    <a:pt x="23" y="11"/>
                  </a:lnTo>
                  <a:lnTo>
                    <a:pt x="23" y="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5" name="Freeform 648"/>
            <p:cNvSpPr>
              <a:spLocks/>
            </p:cNvSpPr>
            <p:nvPr/>
          </p:nvSpPr>
          <p:spPr bwMode="auto">
            <a:xfrm>
              <a:off x="4578403" y="5051464"/>
              <a:ext cx="17463" cy="44450"/>
            </a:xfrm>
            <a:custGeom>
              <a:avLst/>
              <a:gdLst>
                <a:gd name="T0" fmla="*/ 21 w 56"/>
                <a:gd name="T1" fmla="*/ 130 h 137"/>
                <a:gd name="T2" fmla="*/ 21 w 56"/>
                <a:gd name="T3" fmla="*/ 130 h 137"/>
                <a:gd name="T4" fmla="*/ 19 w 56"/>
                <a:gd name="T5" fmla="*/ 133 h 137"/>
                <a:gd name="T6" fmla="*/ 17 w 56"/>
                <a:gd name="T7" fmla="*/ 136 h 137"/>
                <a:gd name="T8" fmla="*/ 12 w 56"/>
                <a:gd name="T9" fmla="*/ 137 h 137"/>
                <a:gd name="T10" fmla="*/ 8 w 56"/>
                <a:gd name="T11" fmla="*/ 137 h 137"/>
                <a:gd name="T12" fmla="*/ 8 w 56"/>
                <a:gd name="T13" fmla="*/ 137 h 137"/>
                <a:gd name="T14" fmla="*/ 3 w 56"/>
                <a:gd name="T15" fmla="*/ 135 h 137"/>
                <a:gd name="T16" fmla="*/ 1 w 56"/>
                <a:gd name="T17" fmla="*/ 132 h 137"/>
                <a:gd name="T18" fmla="*/ 0 w 56"/>
                <a:gd name="T19" fmla="*/ 127 h 137"/>
                <a:gd name="T20" fmla="*/ 0 w 56"/>
                <a:gd name="T21" fmla="*/ 124 h 137"/>
                <a:gd name="T22" fmla="*/ 34 w 56"/>
                <a:gd name="T23" fmla="*/ 9 h 137"/>
                <a:gd name="T24" fmla="*/ 34 w 56"/>
                <a:gd name="T25" fmla="*/ 9 h 137"/>
                <a:gd name="T26" fmla="*/ 36 w 56"/>
                <a:gd name="T27" fmla="*/ 5 h 137"/>
                <a:gd name="T28" fmla="*/ 40 w 56"/>
                <a:gd name="T29" fmla="*/ 2 h 137"/>
                <a:gd name="T30" fmla="*/ 43 w 56"/>
                <a:gd name="T31" fmla="*/ 0 h 137"/>
                <a:gd name="T32" fmla="*/ 48 w 56"/>
                <a:gd name="T33" fmla="*/ 2 h 137"/>
                <a:gd name="T34" fmla="*/ 48 w 56"/>
                <a:gd name="T35" fmla="*/ 2 h 137"/>
                <a:gd name="T36" fmla="*/ 52 w 56"/>
                <a:gd name="T37" fmla="*/ 3 h 137"/>
                <a:gd name="T38" fmla="*/ 54 w 56"/>
                <a:gd name="T39" fmla="*/ 7 h 137"/>
                <a:gd name="T40" fmla="*/ 56 w 56"/>
                <a:gd name="T41" fmla="*/ 11 h 137"/>
                <a:gd name="T42" fmla="*/ 56 w 56"/>
                <a:gd name="T43" fmla="*/ 15 h 137"/>
                <a:gd name="T44" fmla="*/ 21 w 56"/>
                <a:gd name="T45" fmla="*/ 13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137">
                  <a:moveTo>
                    <a:pt x="21" y="130"/>
                  </a:moveTo>
                  <a:lnTo>
                    <a:pt x="21" y="130"/>
                  </a:lnTo>
                  <a:lnTo>
                    <a:pt x="19" y="133"/>
                  </a:lnTo>
                  <a:lnTo>
                    <a:pt x="17" y="136"/>
                  </a:lnTo>
                  <a:lnTo>
                    <a:pt x="12" y="137"/>
                  </a:lnTo>
                  <a:lnTo>
                    <a:pt x="8" y="137"/>
                  </a:lnTo>
                  <a:lnTo>
                    <a:pt x="8" y="137"/>
                  </a:lnTo>
                  <a:lnTo>
                    <a:pt x="3" y="135"/>
                  </a:lnTo>
                  <a:lnTo>
                    <a:pt x="1" y="132"/>
                  </a:lnTo>
                  <a:lnTo>
                    <a:pt x="0" y="127"/>
                  </a:lnTo>
                  <a:lnTo>
                    <a:pt x="0" y="124"/>
                  </a:lnTo>
                  <a:lnTo>
                    <a:pt x="34" y="9"/>
                  </a:lnTo>
                  <a:lnTo>
                    <a:pt x="34" y="9"/>
                  </a:lnTo>
                  <a:lnTo>
                    <a:pt x="36" y="5"/>
                  </a:lnTo>
                  <a:lnTo>
                    <a:pt x="40" y="2"/>
                  </a:lnTo>
                  <a:lnTo>
                    <a:pt x="43" y="0"/>
                  </a:lnTo>
                  <a:lnTo>
                    <a:pt x="48" y="2"/>
                  </a:lnTo>
                  <a:lnTo>
                    <a:pt x="48" y="2"/>
                  </a:lnTo>
                  <a:lnTo>
                    <a:pt x="52" y="3"/>
                  </a:lnTo>
                  <a:lnTo>
                    <a:pt x="54" y="7"/>
                  </a:lnTo>
                  <a:lnTo>
                    <a:pt x="56" y="11"/>
                  </a:lnTo>
                  <a:lnTo>
                    <a:pt x="56" y="15"/>
                  </a:lnTo>
                  <a:lnTo>
                    <a:pt x="21"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6" name="Freeform 649"/>
            <p:cNvSpPr>
              <a:spLocks/>
            </p:cNvSpPr>
            <p:nvPr/>
          </p:nvSpPr>
          <p:spPr bwMode="auto">
            <a:xfrm>
              <a:off x="4421239" y="5138777"/>
              <a:ext cx="28575" cy="14288"/>
            </a:xfrm>
            <a:custGeom>
              <a:avLst/>
              <a:gdLst>
                <a:gd name="T0" fmla="*/ 75 w 90"/>
                <a:gd name="T1" fmla="*/ 46 h 46"/>
                <a:gd name="T2" fmla="*/ 75 w 90"/>
                <a:gd name="T3" fmla="*/ 46 h 46"/>
                <a:gd name="T4" fmla="*/ 79 w 90"/>
                <a:gd name="T5" fmla="*/ 46 h 46"/>
                <a:gd name="T6" fmla="*/ 84 w 90"/>
                <a:gd name="T7" fmla="*/ 44 h 46"/>
                <a:gd name="T8" fmla="*/ 87 w 90"/>
                <a:gd name="T9" fmla="*/ 42 h 46"/>
                <a:gd name="T10" fmla="*/ 89 w 90"/>
                <a:gd name="T11" fmla="*/ 38 h 46"/>
                <a:gd name="T12" fmla="*/ 89 w 90"/>
                <a:gd name="T13" fmla="*/ 38 h 46"/>
                <a:gd name="T14" fmla="*/ 90 w 90"/>
                <a:gd name="T15" fmla="*/ 33 h 46"/>
                <a:gd name="T16" fmla="*/ 89 w 90"/>
                <a:gd name="T17" fmla="*/ 30 h 46"/>
                <a:gd name="T18" fmla="*/ 86 w 90"/>
                <a:gd name="T19" fmla="*/ 26 h 46"/>
                <a:gd name="T20" fmla="*/ 82 w 90"/>
                <a:gd name="T21" fmla="*/ 24 h 46"/>
                <a:gd name="T22" fmla="*/ 15 w 90"/>
                <a:gd name="T23" fmla="*/ 2 h 46"/>
                <a:gd name="T24" fmla="*/ 15 w 90"/>
                <a:gd name="T25" fmla="*/ 2 h 46"/>
                <a:gd name="T26" fmla="*/ 11 w 90"/>
                <a:gd name="T27" fmla="*/ 0 h 46"/>
                <a:gd name="T28" fmla="*/ 7 w 90"/>
                <a:gd name="T29" fmla="*/ 2 h 46"/>
                <a:gd name="T30" fmla="*/ 3 w 90"/>
                <a:gd name="T31" fmla="*/ 4 h 46"/>
                <a:gd name="T32" fmla="*/ 1 w 90"/>
                <a:gd name="T33" fmla="*/ 8 h 46"/>
                <a:gd name="T34" fmla="*/ 1 w 90"/>
                <a:gd name="T35" fmla="*/ 8 h 46"/>
                <a:gd name="T36" fmla="*/ 0 w 90"/>
                <a:gd name="T37" fmla="*/ 13 h 46"/>
                <a:gd name="T38" fmla="*/ 1 w 90"/>
                <a:gd name="T39" fmla="*/ 16 h 46"/>
                <a:gd name="T40" fmla="*/ 4 w 90"/>
                <a:gd name="T41" fmla="*/ 20 h 46"/>
                <a:gd name="T42" fmla="*/ 8 w 90"/>
                <a:gd name="T43" fmla="*/ 22 h 46"/>
                <a:gd name="T44" fmla="*/ 75 w 90"/>
                <a:gd name="T45"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0" h="46">
                  <a:moveTo>
                    <a:pt x="75" y="46"/>
                  </a:moveTo>
                  <a:lnTo>
                    <a:pt x="75" y="46"/>
                  </a:lnTo>
                  <a:lnTo>
                    <a:pt x="79" y="46"/>
                  </a:lnTo>
                  <a:lnTo>
                    <a:pt x="84" y="44"/>
                  </a:lnTo>
                  <a:lnTo>
                    <a:pt x="87" y="42"/>
                  </a:lnTo>
                  <a:lnTo>
                    <a:pt x="89" y="38"/>
                  </a:lnTo>
                  <a:lnTo>
                    <a:pt x="89" y="38"/>
                  </a:lnTo>
                  <a:lnTo>
                    <a:pt x="90" y="33"/>
                  </a:lnTo>
                  <a:lnTo>
                    <a:pt x="89" y="30"/>
                  </a:lnTo>
                  <a:lnTo>
                    <a:pt x="86" y="26"/>
                  </a:lnTo>
                  <a:lnTo>
                    <a:pt x="82" y="24"/>
                  </a:lnTo>
                  <a:lnTo>
                    <a:pt x="15" y="2"/>
                  </a:lnTo>
                  <a:lnTo>
                    <a:pt x="15" y="2"/>
                  </a:lnTo>
                  <a:lnTo>
                    <a:pt x="11" y="0"/>
                  </a:lnTo>
                  <a:lnTo>
                    <a:pt x="7" y="2"/>
                  </a:lnTo>
                  <a:lnTo>
                    <a:pt x="3" y="4"/>
                  </a:lnTo>
                  <a:lnTo>
                    <a:pt x="1" y="8"/>
                  </a:lnTo>
                  <a:lnTo>
                    <a:pt x="1" y="8"/>
                  </a:lnTo>
                  <a:lnTo>
                    <a:pt x="0" y="13"/>
                  </a:lnTo>
                  <a:lnTo>
                    <a:pt x="1" y="16"/>
                  </a:lnTo>
                  <a:lnTo>
                    <a:pt x="4" y="20"/>
                  </a:lnTo>
                  <a:lnTo>
                    <a:pt x="8" y="22"/>
                  </a:lnTo>
                  <a:lnTo>
                    <a:pt x="75"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7" name="Freeform 650"/>
            <p:cNvSpPr>
              <a:spLocks/>
            </p:cNvSpPr>
            <p:nvPr/>
          </p:nvSpPr>
          <p:spPr bwMode="auto">
            <a:xfrm>
              <a:off x="4403777" y="5172115"/>
              <a:ext cx="44450" cy="7938"/>
            </a:xfrm>
            <a:custGeom>
              <a:avLst/>
              <a:gdLst>
                <a:gd name="T0" fmla="*/ 130 w 142"/>
                <a:gd name="T1" fmla="*/ 27 h 27"/>
                <a:gd name="T2" fmla="*/ 130 w 142"/>
                <a:gd name="T3" fmla="*/ 27 h 27"/>
                <a:gd name="T4" fmla="*/ 135 w 142"/>
                <a:gd name="T5" fmla="*/ 25 h 27"/>
                <a:gd name="T6" fmla="*/ 138 w 142"/>
                <a:gd name="T7" fmla="*/ 24 h 27"/>
                <a:gd name="T8" fmla="*/ 141 w 142"/>
                <a:gd name="T9" fmla="*/ 21 h 27"/>
                <a:gd name="T10" fmla="*/ 142 w 142"/>
                <a:gd name="T11" fmla="*/ 16 h 27"/>
                <a:gd name="T12" fmla="*/ 142 w 142"/>
                <a:gd name="T13" fmla="*/ 16 h 27"/>
                <a:gd name="T14" fmla="*/ 141 w 142"/>
                <a:gd name="T15" fmla="*/ 11 h 27"/>
                <a:gd name="T16" fmla="*/ 138 w 142"/>
                <a:gd name="T17" fmla="*/ 7 h 27"/>
                <a:gd name="T18" fmla="*/ 135 w 142"/>
                <a:gd name="T19" fmla="*/ 5 h 27"/>
                <a:gd name="T20" fmla="*/ 131 w 142"/>
                <a:gd name="T21" fmla="*/ 4 h 27"/>
                <a:gd name="T22" fmla="*/ 11 w 142"/>
                <a:gd name="T23" fmla="*/ 0 h 27"/>
                <a:gd name="T24" fmla="*/ 11 w 142"/>
                <a:gd name="T25" fmla="*/ 0 h 27"/>
                <a:gd name="T26" fmla="*/ 8 w 142"/>
                <a:gd name="T27" fmla="*/ 0 h 27"/>
                <a:gd name="T28" fmla="*/ 4 w 142"/>
                <a:gd name="T29" fmla="*/ 2 h 27"/>
                <a:gd name="T30" fmla="*/ 0 w 142"/>
                <a:gd name="T31" fmla="*/ 6 h 27"/>
                <a:gd name="T32" fmla="*/ 0 w 142"/>
                <a:gd name="T33" fmla="*/ 11 h 27"/>
                <a:gd name="T34" fmla="*/ 0 w 142"/>
                <a:gd name="T35" fmla="*/ 11 h 27"/>
                <a:gd name="T36" fmla="*/ 0 w 142"/>
                <a:gd name="T37" fmla="*/ 15 h 27"/>
                <a:gd name="T38" fmla="*/ 3 w 142"/>
                <a:gd name="T39" fmla="*/ 18 h 27"/>
                <a:gd name="T40" fmla="*/ 7 w 142"/>
                <a:gd name="T41" fmla="*/ 22 h 27"/>
                <a:gd name="T42" fmla="*/ 10 w 142"/>
                <a:gd name="T43" fmla="*/ 22 h 27"/>
                <a:gd name="T44" fmla="*/ 130 w 142"/>
                <a:gd name="T45"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2" h="27">
                  <a:moveTo>
                    <a:pt x="130" y="27"/>
                  </a:moveTo>
                  <a:lnTo>
                    <a:pt x="130" y="27"/>
                  </a:lnTo>
                  <a:lnTo>
                    <a:pt x="135" y="25"/>
                  </a:lnTo>
                  <a:lnTo>
                    <a:pt x="138" y="24"/>
                  </a:lnTo>
                  <a:lnTo>
                    <a:pt x="141" y="21"/>
                  </a:lnTo>
                  <a:lnTo>
                    <a:pt x="142" y="16"/>
                  </a:lnTo>
                  <a:lnTo>
                    <a:pt x="142" y="16"/>
                  </a:lnTo>
                  <a:lnTo>
                    <a:pt x="141" y="11"/>
                  </a:lnTo>
                  <a:lnTo>
                    <a:pt x="138" y="7"/>
                  </a:lnTo>
                  <a:lnTo>
                    <a:pt x="135" y="5"/>
                  </a:lnTo>
                  <a:lnTo>
                    <a:pt x="131" y="4"/>
                  </a:lnTo>
                  <a:lnTo>
                    <a:pt x="11" y="0"/>
                  </a:lnTo>
                  <a:lnTo>
                    <a:pt x="11" y="0"/>
                  </a:lnTo>
                  <a:lnTo>
                    <a:pt x="8" y="0"/>
                  </a:lnTo>
                  <a:lnTo>
                    <a:pt x="4" y="2"/>
                  </a:lnTo>
                  <a:lnTo>
                    <a:pt x="0" y="6"/>
                  </a:lnTo>
                  <a:lnTo>
                    <a:pt x="0" y="11"/>
                  </a:lnTo>
                  <a:lnTo>
                    <a:pt x="0" y="11"/>
                  </a:lnTo>
                  <a:lnTo>
                    <a:pt x="0" y="15"/>
                  </a:lnTo>
                  <a:lnTo>
                    <a:pt x="3" y="18"/>
                  </a:lnTo>
                  <a:lnTo>
                    <a:pt x="7" y="22"/>
                  </a:lnTo>
                  <a:lnTo>
                    <a:pt x="10" y="22"/>
                  </a:lnTo>
                  <a:lnTo>
                    <a:pt x="130"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8" name="Freeform 651"/>
            <p:cNvSpPr>
              <a:spLocks/>
            </p:cNvSpPr>
            <p:nvPr/>
          </p:nvSpPr>
          <p:spPr bwMode="auto">
            <a:xfrm>
              <a:off x="4527602" y="5126077"/>
              <a:ext cx="25400" cy="23813"/>
            </a:xfrm>
            <a:custGeom>
              <a:avLst/>
              <a:gdLst>
                <a:gd name="T0" fmla="*/ 78 w 78"/>
                <a:gd name="T1" fmla="*/ 39 h 78"/>
                <a:gd name="T2" fmla="*/ 78 w 78"/>
                <a:gd name="T3" fmla="*/ 39 h 78"/>
                <a:gd name="T4" fmla="*/ 77 w 78"/>
                <a:gd name="T5" fmla="*/ 46 h 78"/>
                <a:gd name="T6" fmla="*/ 74 w 78"/>
                <a:gd name="T7" fmla="*/ 53 h 78"/>
                <a:gd name="T8" fmla="*/ 71 w 78"/>
                <a:gd name="T9" fmla="*/ 61 h 78"/>
                <a:gd name="T10" fmla="*/ 66 w 78"/>
                <a:gd name="T11" fmla="*/ 67 h 78"/>
                <a:gd name="T12" fmla="*/ 61 w 78"/>
                <a:gd name="T13" fmla="*/ 71 h 78"/>
                <a:gd name="T14" fmla="*/ 54 w 78"/>
                <a:gd name="T15" fmla="*/ 74 h 78"/>
                <a:gd name="T16" fmla="*/ 46 w 78"/>
                <a:gd name="T17" fmla="*/ 77 h 78"/>
                <a:gd name="T18" fmla="*/ 39 w 78"/>
                <a:gd name="T19" fmla="*/ 78 h 78"/>
                <a:gd name="T20" fmla="*/ 39 w 78"/>
                <a:gd name="T21" fmla="*/ 78 h 78"/>
                <a:gd name="T22" fmla="*/ 31 w 78"/>
                <a:gd name="T23" fmla="*/ 77 h 78"/>
                <a:gd name="T24" fmla="*/ 23 w 78"/>
                <a:gd name="T25" fmla="*/ 74 h 78"/>
                <a:gd name="T26" fmla="*/ 17 w 78"/>
                <a:gd name="T27" fmla="*/ 71 h 78"/>
                <a:gd name="T28" fmla="*/ 11 w 78"/>
                <a:gd name="T29" fmla="*/ 67 h 78"/>
                <a:gd name="T30" fmla="*/ 6 w 78"/>
                <a:gd name="T31" fmla="*/ 61 h 78"/>
                <a:gd name="T32" fmla="*/ 4 w 78"/>
                <a:gd name="T33" fmla="*/ 53 h 78"/>
                <a:gd name="T34" fmla="*/ 1 w 78"/>
                <a:gd name="T35" fmla="*/ 46 h 78"/>
                <a:gd name="T36" fmla="*/ 0 w 78"/>
                <a:gd name="T37" fmla="*/ 39 h 78"/>
                <a:gd name="T38" fmla="*/ 0 w 78"/>
                <a:gd name="T39" fmla="*/ 39 h 78"/>
                <a:gd name="T40" fmla="*/ 1 w 78"/>
                <a:gd name="T41" fmla="*/ 32 h 78"/>
                <a:gd name="T42" fmla="*/ 4 w 78"/>
                <a:gd name="T43" fmla="*/ 24 h 78"/>
                <a:gd name="T44" fmla="*/ 6 w 78"/>
                <a:gd name="T45" fmla="*/ 17 h 78"/>
                <a:gd name="T46" fmla="*/ 11 w 78"/>
                <a:gd name="T47" fmla="*/ 12 h 78"/>
                <a:gd name="T48" fmla="*/ 17 w 78"/>
                <a:gd name="T49" fmla="*/ 7 h 78"/>
                <a:gd name="T50" fmla="*/ 23 w 78"/>
                <a:gd name="T51" fmla="*/ 3 h 78"/>
                <a:gd name="T52" fmla="*/ 31 w 78"/>
                <a:gd name="T53" fmla="*/ 1 h 78"/>
                <a:gd name="T54" fmla="*/ 39 w 78"/>
                <a:gd name="T55" fmla="*/ 0 h 78"/>
                <a:gd name="T56" fmla="*/ 39 w 78"/>
                <a:gd name="T57" fmla="*/ 0 h 78"/>
                <a:gd name="T58" fmla="*/ 46 w 78"/>
                <a:gd name="T59" fmla="*/ 1 h 78"/>
                <a:gd name="T60" fmla="*/ 54 w 78"/>
                <a:gd name="T61" fmla="*/ 3 h 78"/>
                <a:gd name="T62" fmla="*/ 61 w 78"/>
                <a:gd name="T63" fmla="*/ 7 h 78"/>
                <a:gd name="T64" fmla="*/ 66 w 78"/>
                <a:gd name="T65" fmla="*/ 12 h 78"/>
                <a:gd name="T66" fmla="*/ 71 w 78"/>
                <a:gd name="T67" fmla="*/ 17 h 78"/>
                <a:gd name="T68" fmla="*/ 74 w 78"/>
                <a:gd name="T69" fmla="*/ 24 h 78"/>
                <a:gd name="T70" fmla="*/ 77 w 78"/>
                <a:gd name="T71" fmla="*/ 32 h 78"/>
                <a:gd name="T72" fmla="*/ 78 w 78"/>
                <a:gd name="T73" fmla="*/ 39 h 78"/>
                <a:gd name="T74" fmla="*/ 78 w 78"/>
                <a:gd name="T7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 h="78">
                  <a:moveTo>
                    <a:pt x="78" y="39"/>
                  </a:moveTo>
                  <a:lnTo>
                    <a:pt x="78" y="39"/>
                  </a:lnTo>
                  <a:lnTo>
                    <a:pt x="77" y="46"/>
                  </a:lnTo>
                  <a:lnTo>
                    <a:pt x="74" y="53"/>
                  </a:lnTo>
                  <a:lnTo>
                    <a:pt x="71" y="61"/>
                  </a:lnTo>
                  <a:lnTo>
                    <a:pt x="66" y="67"/>
                  </a:lnTo>
                  <a:lnTo>
                    <a:pt x="61" y="71"/>
                  </a:lnTo>
                  <a:lnTo>
                    <a:pt x="54" y="74"/>
                  </a:lnTo>
                  <a:lnTo>
                    <a:pt x="46" y="77"/>
                  </a:lnTo>
                  <a:lnTo>
                    <a:pt x="39" y="78"/>
                  </a:lnTo>
                  <a:lnTo>
                    <a:pt x="39" y="78"/>
                  </a:lnTo>
                  <a:lnTo>
                    <a:pt x="31" y="77"/>
                  </a:lnTo>
                  <a:lnTo>
                    <a:pt x="23" y="74"/>
                  </a:lnTo>
                  <a:lnTo>
                    <a:pt x="17" y="71"/>
                  </a:lnTo>
                  <a:lnTo>
                    <a:pt x="11" y="67"/>
                  </a:lnTo>
                  <a:lnTo>
                    <a:pt x="6" y="61"/>
                  </a:lnTo>
                  <a:lnTo>
                    <a:pt x="4" y="53"/>
                  </a:lnTo>
                  <a:lnTo>
                    <a:pt x="1" y="46"/>
                  </a:lnTo>
                  <a:lnTo>
                    <a:pt x="0" y="39"/>
                  </a:lnTo>
                  <a:lnTo>
                    <a:pt x="0" y="39"/>
                  </a:lnTo>
                  <a:lnTo>
                    <a:pt x="1" y="32"/>
                  </a:lnTo>
                  <a:lnTo>
                    <a:pt x="4" y="24"/>
                  </a:lnTo>
                  <a:lnTo>
                    <a:pt x="6" y="17"/>
                  </a:lnTo>
                  <a:lnTo>
                    <a:pt x="11" y="12"/>
                  </a:lnTo>
                  <a:lnTo>
                    <a:pt x="17" y="7"/>
                  </a:lnTo>
                  <a:lnTo>
                    <a:pt x="23" y="3"/>
                  </a:lnTo>
                  <a:lnTo>
                    <a:pt x="31" y="1"/>
                  </a:lnTo>
                  <a:lnTo>
                    <a:pt x="39" y="0"/>
                  </a:lnTo>
                  <a:lnTo>
                    <a:pt x="39" y="0"/>
                  </a:lnTo>
                  <a:lnTo>
                    <a:pt x="46" y="1"/>
                  </a:lnTo>
                  <a:lnTo>
                    <a:pt x="54" y="3"/>
                  </a:lnTo>
                  <a:lnTo>
                    <a:pt x="61" y="7"/>
                  </a:lnTo>
                  <a:lnTo>
                    <a:pt x="66" y="12"/>
                  </a:lnTo>
                  <a:lnTo>
                    <a:pt x="71" y="17"/>
                  </a:lnTo>
                  <a:lnTo>
                    <a:pt x="74" y="24"/>
                  </a:lnTo>
                  <a:lnTo>
                    <a:pt x="77" y="32"/>
                  </a:lnTo>
                  <a:lnTo>
                    <a:pt x="78" y="39"/>
                  </a:lnTo>
                  <a:lnTo>
                    <a:pt x="7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pic>
        <p:nvPicPr>
          <p:cNvPr id="6" name="그림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900000" flipH="1">
            <a:off x="11027998" y="688369"/>
            <a:ext cx="676889" cy="314532"/>
          </a:xfrm>
          <a:prstGeom prst="rect">
            <a:avLst/>
          </a:prstGeom>
        </p:spPr>
      </p:pic>
    </p:spTree>
    <p:extLst>
      <p:ext uri="{BB962C8B-B14F-4D97-AF65-F5344CB8AC3E}">
        <p14:creationId xmlns:p14="http://schemas.microsoft.com/office/powerpoint/2010/main" val="2600332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847">
          <p15:clr>
            <a:srgbClr val="FBAE40"/>
          </p15:clr>
        </p15:guide>
        <p15:guide id="2" pos="2880">
          <p15:clr>
            <a:srgbClr val="FBAE40"/>
          </p15:clr>
        </p15:guide>
        <p15:guide id="3" orient="horz" pos="645">
          <p15:clr>
            <a:srgbClr val="FBAE40"/>
          </p15:clr>
        </p15:guide>
        <p15:guide id="4" orient="horz" pos="713">
          <p15:clr>
            <a:srgbClr val="FBAE40"/>
          </p15:clr>
        </p15:guide>
        <p15:guide id="5" orient="horz" pos="2890">
          <p15:clr>
            <a:srgbClr val="FBAE40"/>
          </p15:clr>
        </p15:guide>
        <p15:guide id="6" pos="5602">
          <p15:clr>
            <a:srgbClr val="FBAE40"/>
          </p15:clr>
        </p15:guide>
        <p15:guide id="7" pos="158">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Slide">
    <p:bg>
      <p:bgPr>
        <a:gradFill>
          <a:gsLst>
            <a:gs pos="0">
              <a:srgbClr val="0F1121"/>
            </a:gs>
            <a:gs pos="100000">
              <a:srgbClr val="152B2D"/>
            </a:gs>
          </a:gsLst>
          <a:lin ang="0" scaled="1"/>
        </a:gradFill>
        <a:effectLst/>
      </p:bgPr>
    </p:bg>
    <p:spTree>
      <p:nvGrpSpPr>
        <p:cNvPr id="1" name=""/>
        <p:cNvGrpSpPr/>
        <p:nvPr/>
      </p:nvGrpSpPr>
      <p:grpSpPr>
        <a:xfrm>
          <a:off x="0" y="0"/>
          <a:ext cx="0" cy="0"/>
          <a:chOff x="0" y="0"/>
          <a:chExt cx="0" cy="0"/>
        </a:xfrm>
      </p:grpSpPr>
      <p:sp>
        <p:nvSpPr>
          <p:cNvPr id="561" name="텍스트 개체 틀 45"/>
          <p:cNvSpPr>
            <a:spLocks noGrp="1"/>
          </p:cNvSpPr>
          <p:nvPr>
            <p:ph type="body" sz="quarter" idx="10" hasCustomPrompt="1"/>
          </p:nvPr>
        </p:nvSpPr>
        <p:spPr>
          <a:xfrm>
            <a:off x="702013" y="262792"/>
            <a:ext cx="4303480" cy="595048"/>
          </a:xfrm>
          <a:prstGeom prst="rect">
            <a:avLst/>
          </a:prstGeom>
        </p:spPr>
        <p:txBody>
          <a:bodyPr lIns="0" tIns="0" rIns="0" bIns="0"/>
          <a:lstStyle>
            <a:lvl1pPr marL="0" indent="0" algn="l">
              <a:buNone/>
              <a:defRPr sz="4267" b="1" baseline="0">
                <a:solidFill>
                  <a:srgbClr val="F59E1D"/>
                </a:solidFill>
                <a:latin typeface="Tahoma" panose="020B0604030504040204" pitchFamily="34" charset="0"/>
                <a:cs typeface="Tahoma" panose="020B0604030504040204" pitchFamily="34" charset="0"/>
              </a:defRPr>
            </a:lvl1pPr>
          </a:lstStyle>
          <a:p>
            <a:pPr lvl="0"/>
            <a:r>
              <a:rPr lang="en-US" altLang="ko-KR"/>
              <a:t>Contents title</a:t>
            </a:r>
            <a:endParaRPr lang="ko-KR" altLang="en-US"/>
          </a:p>
        </p:txBody>
      </p:sp>
      <p:sp>
        <p:nvSpPr>
          <p:cNvPr id="562" name="텍스트 개체 틀 3"/>
          <p:cNvSpPr>
            <a:spLocks noGrp="1"/>
          </p:cNvSpPr>
          <p:nvPr>
            <p:ph type="body" sz="quarter" idx="11" hasCustomPrompt="1"/>
          </p:nvPr>
        </p:nvSpPr>
        <p:spPr>
          <a:xfrm>
            <a:off x="702014" y="963944"/>
            <a:ext cx="3343449" cy="256212"/>
          </a:xfrm>
          <a:prstGeom prst="rect">
            <a:avLst/>
          </a:prstGeom>
        </p:spPr>
        <p:txBody>
          <a:bodyPr lIns="0" tIns="0" rIns="0" bIns="0"/>
          <a:lstStyle>
            <a:lvl1pPr marL="0" indent="0" algn="l">
              <a:buNone/>
              <a:defRPr sz="1600" b="0" baseline="0">
                <a:solidFill>
                  <a:schemeClr val="bg1"/>
                </a:solidFill>
                <a:latin typeface="Tahoma" panose="020B0604030504040204" pitchFamily="34" charset="0"/>
                <a:cs typeface="Tahoma" panose="020B0604030504040204" pitchFamily="34" charset="0"/>
              </a:defRPr>
            </a:lvl1pPr>
          </a:lstStyle>
          <a:p>
            <a:pPr lvl="0"/>
            <a:r>
              <a:rPr lang="en-US" altLang="ko-KR"/>
              <a:t>Design inspiration For presentation</a:t>
            </a:r>
            <a:endParaRPr lang="ko-KR" altLang="en-US"/>
          </a:p>
        </p:txBody>
      </p:sp>
    </p:spTree>
    <p:extLst>
      <p:ext uri="{BB962C8B-B14F-4D97-AF65-F5344CB8AC3E}">
        <p14:creationId xmlns:p14="http://schemas.microsoft.com/office/powerpoint/2010/main" val="84247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869">
          <p15:clr>
            <a:srgbClr val="FBAE40"/>
          </p15:clr>
        </p15:guide>
        <p15:guide id="2" pos="2880">
          <p15:clr>
            <a:srgbClr val="FBAE40"/>
          </p15:clr>
        </p15:guide>
        <p15:guide id="3" orient="horz" pos="645">
          <p15:clr>
            <a:srgbClr val="FBAE40"/>
          </p15:clr>
        </p15:guide>
        <p15:guide id="4" orient="horz" pos="713">
          <p15:clr>
            <a:srgbClr val="FBAE40"/>
          </p15:clr>
        </p15:guide>
        <p15:guide id="5" orient="horz" pos="3026">
          <p15:clr>
            <a:srgbClr val="FBAE40"/>
          </p15:clr>
        </p15:guide>
        <p15:guide id="6" pos="5602">
          <p15:clr>
            <a:srgbClr val="FBAE40"/>
          </p15:clr>
        </p15:guide>
        <p15:guide id="7" pos="158">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p:bg>
      <p:bgPr>
        <a:gradFill>
          <a:gsLst>
            <a:gs pos="0">
              <a:srgbClr val="0F1121"/>
            </a:gs>
            <a:gs pos="100000">
              <a:srgbClr val="0C191A"/>
            </a:gs>
          </a:gsLst>
          <a:lin ang="0" scaled="1"/>
        </a:gradFill>
        <a:effectLst/>
      </p:bgPr>
    </p:bg>
    <p:spTree>
      <p:nvGrpSpPr>
        <p:cNvPr id="1" name=""/>
        <p:cNvGrpSpPr/>
        <p:nvPr/>
      </p:nvGrpSpPr>
      <p:grpSpPr>
        <a:xfrm>
          <a:off x="0" y="0"/>
          <a:ext cx="0" cy="0"/>
          <a:chOff x="0" y="0"/>
          <a:chExt cx="0" cy="0"/>
        </a:xfrm>
      </p:grpSpPr>
      <p:sp>
        <p:nvSpPr>
          <p:cNvPr id="189" name="자유형 188"/>
          <p:cNvSpPr>
            <a:spLocks/>
          </p:cNvSpPr>
          <p:nvPr userDrawn="1"/>
        </p:nvSpPr>
        <p:spPr bwMode="auto">
          <a:xfrm>
            <a:off x="-1" y="5273964"/>
            <a:ext cx="12192000" cy="2041236"/>
          </a:xfrm>
          <a:custGeom>
            <a:avLst/>
            <a:gdLst>
              <a:gd name="connsiteX0" fmla="*/ 4735640 w 9144000"/>
              <a:gd name="connsiteY0" fmla="*/ 0 h 1435244"/>
              <a:gd name="connsiteX1" fmla="*/ 4936529 w 9144000"/>
              <a:gd name="connsiteY1" fmla="*/ 3036 h 1435244"/>
              <a:gd name="connsiteX2" fmla="*/ 5129539 w 9144000"/>
              <a:gd name="connsiteY2" fmla="*/ 9107 h 1435244"/>
              <a:gd name="connsiteX3" fmla="*/ 5330428 w 9144000"/>
              <a:gd name="connsiteY3" fmla="*/ 15178 h 1435244"/>
              <a:gd name="connsiteX4" fmla="*/ 5527378 w 9144000"/>
              <a:gd name="connsiteY4" fmla="*/ 30356 h 1435244"/>
              <a:gd name="connsiteX5" fmla="*/ 5720388 w 9144000"/>
              <a:gd name="connsiteY5" fmla="*/ 48570 h 1435244"/>
              <a:gd name="connsiteX6" fmla="*/ 5909460 w 9144000"/>
              <a:gd name="connsiteY6" fmla="*/ 63748 h 1435244"/>
              <a:gd name="connsiteX7" fmla="*/ 6106410 w 9144000"/>
              <a:gd name="connsiteY7" fmla="*/ 84997 h 1435244"/>
              <a:gd name="connsiteX8" fmla="*/ 6295481 w 9144000"/>
              <a:gd name="connsiteY8" fmla="*/ 109282 h 1435244"/>
              <a:gd name="connsiteX9" fmla="*/ 6441224 w 9144000"/>
              <a:gd name="connsiteY9" fmla="*/ 133567 h 1435244"/>
              <a:gd name="connsiteX10" fmla="*/ 6586967 w 9144000"/>
              <a:gd name="connsiteY10" fmla="*/ 154816 h 1435244"/>
              <a:gd name="connsiteX11" fmla="*/ 6878452 w 9144000"/>
              <a:gd name="connsiteY11" fmla="*/ 209456 h 1435244"/>
              <a:gd name="connsiteX12" fmla="*/ 6996622 w 9144000"/>
              <a:gd name="connsiteY12" fmla="*/ 233741 h 1435244"/>
              <a:gd name="connsiteX13" fmla="*/ 7221145 w 9144000"/>
              <a:gd name="connsiteY13" fmla="*/ 282311 h 1435244"/>
              <a:gd name="connsiteX14" fmla="*/ 7445667 w 9144000"/>
              <a:gd name="connsiteY14" fmla="*/ 333916 h 1435244"/>
              <a:gd name="connsiteX15" fmla="*/ 7666251 w 9144000"/>
              <a:gd name="connsiteY15" fmla="*/ 391592 h 1435244"/>
              <a:gd name="connsiteX16" fmla="*/ 7882896 w 9144000"/>
              <a:gd name="connsiteY16" fmla="*/ 449269 h 1435244"/>
              <a:gd name="connsiteX17" fmla="*/ 8095601 w 9144000"/>
              <a:gd name="connsiteY17" fmla="*/ 516052 h 1435244"/>
              <a:gd name="connsiteX18" fmla="*/ 8308307 w 9144000"/>
              <a:gd name="connsiteY18" fmla="*/ 585871 h 1435244"/>
              <a:gd name="connsiteX19" fmla="*/ 8517074 w 9144000"/>
              <a:gd name="connsiteY19" fmla="*/ 658725 h 1435244"/>
              <a:gd name="connsiteX20" fmla="*/ 8721901 w 9144000"/>
              <a:gd name="connsiteY20" fmla="*/ 737651 h 1435244"/>
              <a:gd name="connsiteX21" fmla="*/ 8737657 w 9144000"/>
              <a:gd name="connsiteY21" fmla="*/ 743722 h 1435244"/>
              <a:gd name="connsiteX22" fmla="*/ 8867644 w 9144000"/>
              <a:gd name="connsiteY22" fmla="*/ 795327 h 1435244"/>
              <a:gd name="connsiteX23" fmla="*/ 8997631 w 9144000"/>
              <a:gd name="connsiteY23" fmla="*/ 846932 h 1435244"/>
              <a:gd name="connsiteX24" fmla="*/ 9144000 w 9144000"/>
              <a:gd name="connsiteY24" fmla="*/ 911142 h 1435244"/>
              <a:gd name="connsiteX25" fmla="*/ 9144000 w 9144000"/>
              <a:gd name="connsiteY25" fmla="*/ 1435244 h 1435244"/>
              <a:gd name="connsiteX26" fmla="*/ 0 w 9144000"/>
              <a:gd name="connsiteY26" fmla="*/ 1435244 h 1435244"/>
              <a:gd name="connsiteX27" fmla="*/ 0 w 9144000"/>
              <a:gd name="connsiteY27" fmla="*/ 1057768 h 1435244"/>
              <a:gd name="connsiteX28" fmla="*/ 138835 w 9144000"/>
              <a:gd name="connsiteY28" fmla="*/ 992641 h 1435244"/>
              <a:gd name="connsiteX29" fmla="*/ 320029 w 9144000"/>
              <a:gd name="connsiteY29" fmla="*/ 907644 h 1435244"/>
              <a:gd name="connsiteX30" fmla="*/ 509100 w 9144000"/>
              <a:gd name="connsiteY30" fmla="*/ 822648 h 1435244"/>
              <a:gd name="connsiteX31" fmla="*/ 694233 w 9144000"/>
              <a:gd name="connsiteY31" fmla="*/ 746758 h 1435244"/>
              <a:gd name="connsiteX32" fmla="*/ 891183 w 9144000"/>
              <a:gd name="connsiteY32" fmla="*/ 673903 h 1435244"/>
              <a:gd name="connsiteX33" fmla="*/ 1084193 w 9144000"/>
              <a:gd name="connsiteY33" fmla="*/ 604085 h 1435244"/>
              <a:gd name="connsiteX34" fmla="*/ 1285082 w 9144000"/>
              <a:gd name="connsiteY34" fmla="*/ 537301 h 1435244"/>
              <a:gd name="connsiteX35" fmla="*/ 1485971 w 9144000"/>
              <a:gd name="connsiteY35" fmla="*/ 473554 h 1435244"/>
              <a:gd name="connsiteX36" fmla="*/ 1682920 w 9144000"/>
              <a:gd name="connsiteY36" fmla="*/ 415877 h 1435244"/>
              <a:gd name="connsiteX37" fmla="*/ 1891687 w 9144000"/>
              <a:gd name="connsiteY37" fmla="*/ 358201 h 1435244"/>
              <a:gd name="connsiteX38" fmla="*/ 2096515 w 9144000"/>
              <a:gd name="connsiteY38" fmla="*/ 306596 h 1435244"/>
              <a:gd name="connsiteX39" fmla="*/ 2305281 w 9144000"/>
              <a:gd name="connsiteY39" fmla="*/ 261062 h 1435244"/>
              <a:gd name="connsiteX40" fmla="*/ 2517987 w 9144000"/>
              <a:gd name="connsiteY40" fmla="*/ 215528 h 1435244"/>
              <a:gd name="connsiteX41" fmla="*/ 2730693 w 9144000"/>
              <a:gd name="connsiteY41" fmla="*/ 176065 h 1435244"/>
              <a:gd name="connsiteX42" fmla="*/ 2951276 w 9144000"/>
              <a:gd name="connsiteY42" fmla="*/ 139638 h 1435244"/>
              <a:gd name="connsiteX43" fmla="*/ 3167921 w 9144000"/>
              <a:gd name="connsiteY43" fmla="*/ 106246 h 1435244"/>
              <a:gd name="connsiteX44" fmla="*/ 3384566 w 9144000"/>
              <a:gd name="connsiteY44" fmla="*/ 78926 h 1435244"/>
              <a:gd name="connsiteX45" fmla="*/ 3609088 w 9144000"/>
              <a:gd name="connsiteY45" fmla="*/ 54641 h 1435244"/>
              <a:gd name="connsiteX46" fmla="*/ 3829672 w 9144000"/>
              <a:gd name="connsiteY46" fmla="*/ 36427 h 1435244"/>
              <a:gd name="connsiteX47" fmla="*/ 4050255 w 9144000"/>
              <a:gd name="connsiteY47" fmla="*/ 21249 h 1435244"/>
              <a:gd name="connsiteX48" fmla="*/ 4278717 w 9144000"/>
              <a:gd name="connsiteY48" fmla="*/ 9107 h 1435244"/>
              <a:gd name="connsiteX49" fmla="*/ 4507178 w 9144000"/>
              <a:gd name="connsiteY49" fmla="*/ 3036 h 1435244"/>
              <a:gd name="connsiteX50" fmla="*/ 4735640 w 9144000"/>
              <a:gd name="connsiteY50" fmla="*/ 0 h 143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9144000" h="1435244">
                <a:moveTo>
                  <a:pt x="4735640" y="0"/>
                </a:moveTo>
                <a:lnTo>
                  <a:pt x="4936529" y="3036"/>
                </a:lnTo>
                <a:lnTo>
                  <a:pt x="5129539" y="9107"/>
                </a:lnTo>
                <a:lnTo>
                  <a:pt x="5330428" y="15178"/>
                </a:lnTo>
                <a:lnTo>
                  <a:pt x="5527378" y="30356"/>
                </a:lnTo>
                <a:lnTo>
                  <a:pt x="5720388" y="48570"/>
                </a:lnTo>
                <a:lnTo>
                  <a:pt x="5909460" y="63748"/>
                </a:lnTo>
                <a:lnTo>
                  <a:pt x="6106410" y="84997"/>
                </a:lnTo>
                <a:lnTo>
                  <a:pt x="6295481" y="109282"/>
                </a:lnTo>
                <a:lnTo>
                  <a:pt x="6441224" y="133567"/>
                </a:lnTo>
                <a:lnTo>
                  <a:pt x="6586967" y="154816"/>
                </a:lnTo>
                <a:lnTo>
                  <a:pt x="6878452" y="209456"/>
                </a:lnTo>
                <a:lnTo>
                  <a:pt x="6996622" y="233741"/>
                </a:lnTo>
                <a:lnTo>
                  <a:pt x="7221145" y="282311"/>
                </a:lnTo>
                <a:lnTo>
                  <a:pt x="7445667" y="333916"/>
                </a:lnTo>
                <a:lnTo>
                  <a:pt x="7666251" y="391592"/>
                </a:lnTo>
                <a:lnTo>
                  <a:pt x="7882896" y="449269"/>
                </a:lnTo>
                <a:lnTo>
                  <a:pt x="8095601" y="516052"/>
                </a:lnTo>
                <a:lnTo>
                  <a:pt x="8308307" y="585871"/>
                </a:lnTo>
                <a:lnTo>
                  <a:pt x="8517074" y="658725"/>
                </a:lnTo>
                <a:lnTo>
                  <a:pt x="8721901" y="737651"/>
                </a:lnTo>
                <a:lnTo>
                  <a:pt x="8737657" y="743722"/>
                </a:lnTo>
                <a:lnTo>
                  <a:pt x="8867644" y="795327"/>
                </a:lnTo>
                <a:lnTo>
                  <a:pt x="8997631" y="846932"/>
                </a:lnTo>
                <a:lnTo>
                  <a:pt x="9144000" y="911142"/>
                </a:lnTo>
                <a:lnTo>
                  <a:pt x="9144000" y="1435244"/>
                </a:lnTo>
                <a:lnTo>
                  <a:pt x="0" y="1435244"/>
                </a:lnTo>
                <a:lnTo>
                  <a:pt x="0" y="1057768"/>
                </a:lnTo>
                <a:lnTo>
                  <a:pt x="138835" y="992641"/>
                </a:lnTo>
                <a:lnTo>
                  <a:pt x="320029" y="907644"/>
                </a:lnTo>
                <a:lnTo>
                  <a:pt x="509100" y="822648"/>
                </a:lnTo>
                <a:lnTo>
                  <a:pt x="694233" y="746758"/>
                </a:lnTo>
                <a:lnTo>
                  <a:pt x="891183" y="673903"/>
                </a:lnTo>
                <a:lnTo>
                  <a:pt x="1084193" y="604085"/>
                </a:lnTo>
                <a:lnTo>
                  <a:pt x="1285082" y="537301"/>
                </a:lnTo>
                <a:lnTo>
                  <a:pt x="1485971" y="473554"/>
                </a:lnTo>
                <a:lnTo>
                  <a:pt x="1682920" y="415877"/>
                </a:lnTo>
                <a:lnTo>
                  <a:pt x="1891687" y="358201"/>
                </a:lnTo>
                <a:lnTo>
                  <a:pt x="2096515" y="306596"/>
                </a:lnTo>
                <a:lnTo>
                  <a:pt x="2305281" y="261062"/>
                </a:lnTo>
                <a:lnTo>
                  <a:pt x="2517987" y="215528"/>
                </a:lnTo>
                <a:lnTo>
                  <a:pt x="2730693" y="176065"/>
                </a:lnTo>
                <a:lnTo>
                  <a:pt x="2951276" y="139638"/>
                </a:lnTo>
                <a:lnTo>
                  <a:pt x="3167921" y="106246"/>
                </a:lnTo>
                <a:lnTo>
                  <a:pt x="3384566" y="78926"/>
                </a:lnTo>
                <a:lnTo>
                  <a:pt x="3609088" y="54641"/>
                </a:lnTo>
                <a:lnTo>
                  <a:pt x="3829672" y="36427"/>
                </a:lnTo>
                <a:lnTo>
                  <a:pt x="4050255" y="21249"/>
                </a:lnTo>
                <a:lnTo>
                  <a:pt x="4278717" y="9107"/>
                </a:lnTo>
                <a:lnTo>
                  <a:pt x="4507178" y="3036"/>
                </a:lnTo>
                <a:lnTo>
                  <a:pt x="4735640" y="0"/>
                </a:lnTo>
                <a:close/>
              </a:path>
            </a:pathLst>
          </a:custGeom>
          <a:solidFill>
            <a:srgbClr val="7B65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ko-KR" altLang="en-US" sz="2400"/>
          </a:p>
        </p:txBody>
      </p:sp>
      <p:sp>
        <p:nvSpPr>
          <p:cNvPr id="781" name="자유형 780"/>
          <p:cNvSpPr/>
          <p:nvPr userDrawn="1"/>
        </p:nvSpPr>
        <p:spPr>
          <a:xfrm>
            <a:off x="571201" y="6537875"/>
            <a:ext cx="3494383" cy="167310"/>
          </a:xfrm>
          <a:custGeom>
            <a:avLst/>
            <a:gdLst>
              <a:gd name="connsiteX0" fmla="*/ 735526 w 2620787"/>
              <a:gd name="connsiteY0" fmla="*/ 0 h 117640"/>
              <a:gd name="connsiteX1" fmla="*/ 1255622 w 2620787"/>
              <a:gd name="connsiteY1" fmla="*/ 17228 h 117640"/>
              <a:gd name="connsiteX2" fmla="*/ 1380818 w 2620787"/>
              <a:gd name="connsiteY2" fmla="*/ 41399 h 117640"/>
              <a:gd name="connsiteX3" fmla="*/ 2614787 w 2620787"/>
              <a:gd name="connsiteY3" fmla="*/ 41399 h 117640"/>
              <a:gd name="connsiteX4" fmla="*/ 2620787 w 2620787"/>
              <a:gd name="connsiteY4" fmla="*/ 47399 h 117640"/>
              <a:gd name="connsiteX5" fmla="*/ 2620787 w 2620787"/>
              <a:gd name="connsiteY5" fmla="*/ 71399 h 117640"/>
              <a:gd name="connsiteX6" fmla="*/ 2614787 w 2620787"/>
              <a:gd name="connsiteY6" fmla="*/ 77399 h 117640"/>
              <a:gd name="connsiteX7" fmla="*/ 1374820 w 2620787"/>
              <a:gd name="connsiteY7" fmla="*/ 77399 h 117640"/>
              <a:gd name="connsiteX8" fmla="*/ 1255622 w 2620787"/>
              <a:gd name="connsiteY8" fmla="*/ 100412 h 117640"/>
              <a:gd name="connsiteX9" fmla="*/ 735526 w 2620787"/>
              <a:gd name="connsiteY9" fmla="*/ 117640 h 117640"/>
              <a:gd name="connsiteX10" fmla="*/ 0 w 2620787"/>
              <a:gd name="connsiteY10" fmla="*/ 58820 h 117640"/>
              <a:gd name="connsiteX11" fmla="*/ 735526 w 2620787"/>
              <a:gd name="connsiteY11" fmla="*/ 0 h 117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20787" h="117640">
                <a:moveTo>
                  <a:pt x="735526" y="0"/>
                </a:moveTo>
                <a:cubicBezTo>
                  <a:pt x="938636" y="0"/>
                  <a:pt x="1122518" y="6584"/>
                  <a:pt x="1255622" y="17228"/>
                </a:cubicBezTo>
                <a:lnTo>
                  <a:pt x="1380818" y="41399"/>
                </a:lnTo>
                <a:lnTo>
                  <a:pt x="2614787" y="41399"/>
                </a:lnTo>
                <a:cubicBezTo>
                  <a:pt x="2618101" y="41399"/>
                  <a:pt x="2620787" y="44085"/>
                  <a:pt x="2620787" y="47399"/>
                </a:cubicBezTo>
                <a:lnTo>
                  <a:pt x="2620787" y="71399"/>
                </a:lnTo>
                <a:cubicBezTo>
                  <a:pt x="2620787" y="74713"/>
                  <a:pt x="2618101" y="77399"/>
                  <a:pt x="2614787" y="77399"/>
                </a:cubicBezTo>
                <a:lnTo>
                  <a:pt x="1374820" y="77399"/>
                </a:lnTo>
                <a:lnTo>
                  <a:pt x="1255622" y="100412"/>
                </a:lnTo>
                <a:cubicBezTo>
                  <a:pt x="1122518" y="111057"/>
                  <a:pt x="938636" y="117640"/>
                  <a:pt x="735526" y="117640"/>
                </a:cubicBezTo>
                <a:cubicBezTo>
                  <a:pt x="329306" y="117640"/>
                  <a:pt x="0" y="91305"/>
                  <a:pt x="0" y="58820"/>
                </a:cubicBezTo>
                <a:cubicBezTo>
                  <a:pt x="0" y="26335"/>
                  <a:pt x="329306" y="0"/>
                  <a:pt x="735526" y="0"/>
                </a:cubicBezTo>
                <a:close/>
              </a:path>
            </a:pathLst>
          </a:custGeom>
          <a:solidFill>
            <a:schemeClr val="tx1">
              <a:lumMod val="85000"/>
              <a:lumOff val="15000"/>
              <a:alpha val="37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nvGrpSpPr>
          <p:cNvPr id="98" name="그룹 97"/>
          <p:cNvGrpSpPr/>
          <p:nvPr userDrawn="1"/>
        </p:nvGrpSpPr>
        <p:grpSpPr>
          <a:xfrm>
            <a:off x="52246" y="79592"/>
            <a:ext cx="11824809" cy="6969938"/>
            <a:chOff x="39184" y="55963"/>
            <a:chExt cx="8868607" cy="4900738"/>
          </a:xfrm>
        </p:grpSpPr>
        <p:sp>
          <p:nvSpPr>
            <p:cNvPr id="58" name="포인트가 4개인 별 57"/>
            <p:cNvSpPr/>
            <p:nvPr/>
          </p:nvSpPr>
          <p:spPr>
            <a:xfrm flipH="1">
              <a:off x="7571448" y="1352982"/>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9" name="포인트가 4개인 별 58"/>
            <p:cNvSpPr/>
            <p:nvPr/>
          </p:nvSpPr>
          <p:spPr>
            <a:xfrm flipH="1">
              <a:off x="7011019" y="4668010"/>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0" name="포인트가 4개인 별 59"/>
            <p:cNvSpPr/>
            <p:nvPr/>
          </p:nvSpPr>
          <p:spPr>
            <a:xfrm flipH="1">
              <a:off x="5137081" y="2412994"/>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 name="포인트가 4개인 별 60"/>
            <p:cNvSpPr/>
            <p:nvPr/>
          </p:nvSpPr>
          <p:spPr>
            <a:xfrm flipH="1">
              <a:off x="4636237" y="4859267"/>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2" name="포인트가 4개인 별 61"/>
            <p:cNvSpPr/>
            <p:nvPr/>
          </p:nvSpPr>
          <p:spPr>
            <a:xfrm flipH="1">
              <a:off x="1921656" y="1952039"/>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7" name="포인트가 4개인 별 66"/>
            <p:cNvSpPr/>
            <p:nvPr/>
          </p:nvSpPr>
          <p:spPr>
            <a:xfrm flipH="1">
              <a:off x="6774810" y="2771934"/>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8" name="포인트가 4개인 별 67"/>
            <p:cNvSpPr/>
            <p:nvPr/>
          </p:nvSpPr>
          <p:spPr>
            <a:xfrm flipH="1">
              <a:off x="4900872" y="516917"/>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9" name="포인트가 4개인 별 68"/>
            <p:cNvSpPr/>
            <p:nvPr/>
          </p:nvSpPr>
          <p:spPr>
            <a:xfrm flipH="1">
              <a:off x="4400028" y="2963191"/>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0" name="포인트가 4개인 별 69"/>
            <p:cNvSpPr/>
            <p:nvPr/>
          </p:nvSpPr>
          <p:spPr>
            <a:xfrm flipH="1">
              <a:off x="1685446" y="55963"/>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1" name="포인트가 4개인 별 70"/>
            <p:cNvSpPr/>
            <p:nvPr/>
          </p:nvSpPr>
          <p:spPr>
            <a:xfrm flipH="1">
              <a:off x="39184" y="4154105"/>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2" name="포인트가 4개인 별 71"/>
            <p:cNvSpPr/>
            <p:nvPr/>
          </p:nvSpPr>
          <p:spPr>
            <a:xfrm flipH="1">
              <a:off x="2456037" y="4170656"/>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3" name="포인트가 4개인 별 72"/>
            <p:cNvSpPr/>
            <p:nvPr/>
          </p:nvSpPr>
          <p:spPr>
            <a:xfrm flipH="1">
              <a:off x="5328240" y="4517024"/>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4" name="포인트가 4개인 별 73"/>
            <p:cNvSpPr/>
            <p:nvPr/>
          </p:nvSpPr>
          <p:spPr>
            <a:xfrm flipH="1">
              <a:off x="8077855" y="3154448"/>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5" name="포인트가 4개인 별 74"/>
            <p:cNvSpPr/>
            <p:nvPr/>
          </p:nvSpPr>
          <p:spPr>
            <a:xfrm flipH="1">
              <a:off x="311515" y="1809356"/>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85" name="포인트가 4개인 별 84"/>
            <p:cNvSpPr/>
            <p:nvPr/>
          </p:nvSpPr>
          <p:spPr>
            <a:xfrm flipH="1">
              <a:off x="817922" y="3610822"/>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86" name="포인트가 4개인 별 85"/>
            <p:cNvSpPr/>
            <p:nvPr/>
          </p:nvSpPr>
          <p:spPr>
            <a:xfrm flipH="1">
              <a:off x="8275976" y="2266241"/>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89" name="포인트가 4개인 별 88"/>
            <p:cNvSpPr/>
            <p:nvPr/>
          </p:nvSpPr>
          <p:spPr>
            <a:xfrm flipH="1">
              <a:off x="8039766" y="370164"/>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90" name="포인트가 4개인 별 89"/>
            <p:cNvSpPr/>
            <p:nvPr/>
          </p:nvSpPr>
          <p:spPr>
            <a:xfrm flipH="1">
              <a:off x="6393504" y="4468307"/>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91" name="포인트가 4개인 별 90"/>
            <p:cNvSpPr/>
            <p:nvPr/>
          </p:nvSpPr>
          <p:spPr>
            <a:xfrm flipH="1">
              <a:off x="8810357" y="4484858"/>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92" name="포인트가 4개인 별 91"/>
            <p:cNvSpPr/>
            <p:nvPr/>
          </p:nvSpPr>
          <p:spPr>
            <a:xfrm flipH="1">
              <a:off x="6665835" y="2123557"/>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95" name="포인트가 4개인 별 94"/>
            <p:cNvSpPr/>
            <p:nvPr/>
          </p:nvSpPr>
          <p:spPr>
            <a:xfrm flipH="1">
              <a:off x="5869197" y="3542509"/>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96" name="포인트가 4개인 별 95"/>
            <p:cNvSpPr/>
            <p:nvPr/>
          </p:nvSpPr>
          <p:spPr>
            <a:xfrm flipH="1">
              <a:off x="7172242" y="3925023"/>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7" name="포인트가 4개인 별 46"/>
            <p:cNvSpPr/>
            <p:nvPr userDrawn="1"/>
          </p:nvSpPr>
          <p:spPr>
            <a:xfrm rot="18840000" flipH="1">
              <a:off x="1603727" y="1246512"/>
              <a:ext cx="161344" cy="161344"/>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9" name="포인트가 5개인 별 48"/>
            <p:cNvSpPr/>
            <p:nvPr userDrawn="1"/>
          </p:nvSpPr>
          <p:spPr>
            <a:xfrm flipH="1">
              <a:off x="7108453" y="857994"/>
              <a:ext cx="111924" cy="111924"/>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1" name="포인트가 5개인 별 50"/>
            <p:cNvSpPr/>
            <p:nvPr userDrawn="1"/>
          </p:nvSpPr>
          <p:spPr>
            <a:xfrm rot="1740000" flipH="1">
              <a:off x="954169" y="3691391"/>
              <a:ext cx="111924" cy="111924"/>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3" name="포인트가 5개인 별 52"/>
            <p:cNvSpPr/>
            <p:nvPr userDrawn="1"/>
          </p:nvSpPr>
          <p:spPr>
            <a:xfrm flipH="1">
              <a:off x="3635528" y="2245025"/>
              <a:ext cx="111924" cy="111924"/>
            </a:xfrm>
            <a:prstGeom prst="star5">
              <a:avLst>
                <a:gd name="adj" fmla="val 28797"/>
                <a:gd name="hf" fmla="val 105146"/>
                <a:gd name="vf" fmla="val 11055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6" name="포인트가 4개인 별 55"/>
            <p:cNvSpPr/>
            <p:nvPr userDrawn="1"/>
          </p:nvSpPr>
          <p:spPr>
            <a:xfrm flipH="1">
              <a:off x="3948227" y="3960734"/>
              <a:ext cx="161344" cy="161344"/>
            </a:xfrm>
            <a:prstGeom prst="star4">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7" name="포인트가 4개인 별 56"/>
            <p:cNvSpPr/>
            <p:nvPr userDrawn="1"/>
          </p:nvSpPr>
          <p:spPr>
            <a:xfrm flipH="1">
              <a:off x="4474777" y="1360583"/>
              <a:ext cx="161344" cy="161344"/>
            </a:xfrm>
            <a:prstGeom prst="star4">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sp>
        <p:nvSpPr>
          <p:cNvPr id="202" name="자유형 201"/>
          <p:cNvSpPr>
            <a:spLocks/>
          </p:cNvSpPr>
          <p:nvPr/>
        </p:nvSpPr>
        <p:spPr bwMode="auto">
          <a:xfrm>
            <a:off x="3163281" y="5446480"/>
            <a:ext cx="9028720" cy="1868720"/>
          </a:xfrm>
          <a:custGeom>
            <a:avLst/>
            <a:gdLst>
              <a:gd name="connsiteX0" fmla="*/ 3920777 w 6771540"/>
              <a:gd name="connsiteY0" fmla="*/ 0 h 1313944"/>
              <a:gd name="connsiteX1" fmla="*/ 4066799 w 6771540"/>
              <a:gd name="connsiteY1" fmla="*/ 24310 h 1313944"/>
              <a:gd name="connsiteX2" fmla="*/ 4212821 w 6771540"/>
              <a:gd name="connsiteY2" fmla="*/ 45580 h 1313944"/>
              <a:gd name="connsiteX3" fmla="*/ 4504865 w 6771540"/>
              <a:gd name="connsiteY3" fmla="*/ 100277 h 1313944"/>
              <a:gd name="connsiteX4" fmla="*/ 4623262 w 6771540"/>
              <a:gd name="connsiteY4" fmla="*/ 124586 h 1313944"/>
              <a:gd name="connsiteX5" fmla="*/ 4848215 w 6771540"/>
              <a:gd name="connsiteY5" fmla="*/ 173205 h 1313944"/>
              <a:gd name="connsiteX6" fmla="*/ 5073168 w 6771540"/>
              <a:gd name="connsiteY6" fmla="*/ 224863 h 1313944"/>
              <a:gd name="connsiteX7" fmla="*/ 5294174 w 6771540"/>
              <a:gd name="connsiteY7" fmla="*/ 282598 h 1313944"/>
              <a:gd name="connsiteX8" fmla="*/ 5511234 w 6771540"/>
              <a:gd name="connsiteY8" fmla="*/ 340333 h 1313944"/>
              <a:gd name="connsiteX9" fmla="*/ 5724347 w 6771540"/>
              <a:gd name="connsiteY9" fmla="*/ 407185 h 1313944"/>
              <a:gd name="connsiteX10" fmla="*/ 5937460 w 6771540"/>
              <a:gd name="connsiteY10" fmla="*/ 477075 h 1313944"/>
              <a:gd name="connsiteX11" fmla="*/ 6146626 w 6771540"/>
              <a:gd name="connsiteY11" fmla="*/ 550003 h 1313944"/>
              <a:gd name="connsiteX12" fmla="*/ 6351847 w 6771540"/>
              <a:gd name="connsiteY12" fmla="*/ 629009 h 1313944"/>
              <a:gd name="connsiteX13" fmla="*/ 6367633 w 6771540"/>
              <a:gd name="connsiteY13" fmla="*/ 635087 h 1313944"/>
              <a:gd name="connsiteX14" fmla="*/ 6497869 w 6771540"/>
              <a:gd name="connsiteY14" fmla="*/ 686744 h 1313944"/>
              <a:gd name="connsiteX15" fmla="*/ 6628105 w 6771540"/>
              <a:gd name="connsiteY15" fmla="*/ 738402 h 1313944"/>
              <a:gd name="connsiteX16" fmla="*/ 6771540 w 6771540"/>
              <a:gd name="connsiteY16" fmla="*/ 801268 h 1313944"/>
              <a:gd name="connsiteX17" fmla="*/ 6771540 w 6771540"/>
              <a:gd name="connsiteY17" fmla="*/ 1313944 h 1313944"/>
              <a:gd name="connsiteX18" fmla="*/ 0 w 6771540"/>
              <a:gd name="connsiteY18" fmla="*/ 1313944 h 1313944"/>
              <a:gd name="connsiteX19" fmla="*/ 61059 w 6771540"/>
              <a:gd name="connsiteY19" fmla="*/ 1270173 h 1313944"/>
              <a:gd name="connsiteX20" fmla="*/ 171562 w 6771540"/>
              <a:gd name="connsiteY20" fmla="*/ 1197244 h 1313944"/>
              <a:gd name="connsiteX21" fmla="*/ 286012 w 6771540"/>
              <a:gd name="connsiteY21" fmla="*/ 1124316 h 1313944"/>
              <a:gd name="connsiteX22" fmla="*/ 404408 w 6771540"/>
              <a:gd name="connsiteY22" fmla="*/ 1051387 h 1313944"/>
              <a:gd name="connsiteX23" fmla="*/ 522804 w 6771540"/>
              <a:gd name="connsiteY23" fmla="*/ 981497 h 1313944"/>
              <a:gd name="connsiteX24" fmla="*/ 645147 w 6771540"/>
              <a:gd name="connsiteY24" fmla="*/ 914646 h 1313944"/>
              <a:gd name="connsiteX25" fmla="*/ 767490 w 6771540"/>
              <a:gd name="connsiteY25" fmla="*/ 847795 h 1313944"/>
              <a:gd name="connsiteX26" fmla="*/ 897726 w 6771540"/>
              <a:gd name="connsiteY26" fmla="*/ 783982 h 1313944"/>
              <a:gd name="connsiteX27" fmla="*/ 1024015 w 6771540"/>
              <a:gd name="connsiteY27" fmla="*/ 723209 h 1313944"/>
              <a:gd name="connsiteX28" fmla="*/ 1150305 w 6771540"/>
              <a:gd name="connsiteY28" fmla="*/ 662435 h 1313944"/>
              <a:gd name="connsiteX29" fmla="*/ 1280540 w 6771540"/>
              <a:gd name="connsiteY29" fmla="*/ 607738 h 1313944"/>
              <a:gd name="connsiteX30" fmla="*/ 1414723 w 6771540"/>
              <a:gd name="connsiteY30" fmla="*/ 550003 h 1313944"/>
              <a:gd name="connsiteX31" fmla="*/ 1548905 w 6771540"/>
              <a:gd name="connsiteY31" fmla="*/ 498345 h 1313944"/>
              <a:gd name="connsiteX32" fmla="*/ 1687034 w 6771540"/>
              <a:gd name="connsiteY32" fmla="*/ 449726 h 1313944"/>
              <a:gd name="connsiteX33" fmla="*/ 1829110 w 6771540"/>
              <a:gd name="connsiteY33" fmla="*/ 401107 h 1313944"/>
              <a:gd name="connsiteX34" fmla="*/ 1967239 w 6771540"/>
              <a:gd name="connsiteY34" fmla="*/ 355527 h 1313944"/>
              <a:gd name="connsiteX35" fmla="*/ 2109314 w 6771540"/>
              <a:gd name="connsiteY35" fmla="*/ 312985 h 1313944"/>
              <a:gd name="connsiteX36" fmla="*/ 2251390 w 6771540"/>
              <a:gd name="connsiteY36" fmla="*/ 273482 h 1313944"/>
              <a:gd name="connsiteX37" fmla="*/ 2393465 w 6771540"/>
              <a:gd name="connsiteY37" fmla="*/ 237018 h 1313944"/>
              <a:gd name="connsiteX38" fmla="*/ 2539487 w 6771540"/>
              <a:gd name="connsiteY38" fmla="*/ 200554 h 1313944"/>
              <a:gd name="connsiteX39" fmla="*/ 2689456 w 6771540"/>
              <a:gd name="connsiteY39" fmla="*/ 167128 h 1313944"/>
              <a:gd name="connsiteX40" fmla="*/ 2839425 w 6771540"/>
              <a:gd name="connsiteY40" fmla="*/ 136741 h 1313944"/>
              <a:gd name="connsiteX41" fmla="*/ 2989393 w 6771540"/>
              <a:gd name="connsiteY41" fmla="*/ 109393 h 1313944"/>
              <a:gd name="connsiteX42" fmla="*/ 3139362 w 6771540"/>
              <a:gd name="connsiteY42" fmla="*/ 85083 h 1313944"/>
              <a:gd name="connsiteX43" fmla="*/ 3293277 w 6771540"/>
              <a:gd name="connsiteY43" fmla="*/ 63813 h 1313944"/>
              <a:gd name="connsiteX44" fmla="*/ 3451139 w 6771540"/>
              <a:gd name="connsiteY44" fmla="*/ 42542 h 1313944"/>
              <a:gd name="connsiteX45" fmla="*/ 3605054 w 6771540"/>
              <a:gd name="connsiteY45" fmla="*/ 24310 h 1313944"/>
              <a:gd name="connsiteX46" fmla="*/ 3762916 w 6771540"/>
              <a:gd name="connsiteY46" fmla="*/ 15194 h 1313944"/>
              <a:gd name="connsiteX47" fmla="*/ 3920777 w 6771540"/>
              <a:gd name="connsiteY47" fmla="*/ 0 h 1313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771540" h="1313944">
                <a:moveTo>
                  <a:pt x="3920777" y="0"/>
                </a:moveTo>
                <a:lnTo>
                  <a:pt x="4066799" y="24310"/>
                </a:lnTo>
                <a:lnTo>
                  <a:pt x="4212821" y="45580"/>
                </a:lnTo>
                <a:lnTo>
                  <a:pt x="4504865" y="100277"/>
                </a:lnTo>
                <a:lnTo>
                  <a:pt x="4623262" y="124586"/>
                </a:lnTo>
                <a:lnTo>
                  <a:pt x="4848215" y="173205"/>
                </a:lnTo>
                <a:lnTo>
                  <a:pt x="5073168" y="224863"/>
                </a:lnTo>
                <a:lnTo>
                  <a:pt x="5294174" y="282598"/>
                </a:lnTo>
                <a:lnTo>
                  <a:pt x="5511234" y="340333"/>
                </a:lnTo>
                <a:lnTo>
                  <a:pt x="5724347" y="407185"/>
                </a:lnTo>
                <a:lnTo>
                  <a:pt x="5937460" y="477075"/>
                </a:lnTo>
                <a:lnTo>
                  <a:pt x="6146626" y="550003"/>
                </a:lnTo>
                <a:lnTo>
                  <a:pt x="6351847" y="629009"/>
                </a:lnTo>
                <a:lnTo>
                  <a:pt x="6367633" y="635087"/>
                </a:lnTo>
                <a:lnTo>
                  <a:pt x="6497869" y="686744"/>
                </a:lnTo>
                <a:lnTo>
                  <a:pt x="6628105" y="738402"/>
                </a:lnTo>
                <a:lnTo>
                  <a:pt x="6771540" y="801268"/>
                </a:lnTo>
                <a:lnTo>
                  <a:pt x="6771540" y="1313944"/>
                </a:lnTo>
                <a:lnTo>
                  <a:pt x="0" y="1313944"/>
                </a:lnTo>
                <a:lnTo>
                  <a:pt x="61059" y="1270173"/>
                </a:lnTo>
                <a:lnTo>
                  <a:pt x="171562" y="1197244"/>
                </a:lnTo>
                <a:lnTo>
                  <a:pt x="286012" y="1124316"/>
                </a:lnTo>
                <a:lnTo>
                  <a:pt x="404408" y="1051387"/>
                </a:lnTo>
                <a:lnTo>
                  <a:pt x="522804" y="981497"/>
                </a:lnTo>
                <a:lnTo>
                  <a:pt x="645147" y="914646"/>
                </a:lnTo>
                <a:lnTo>
                  <a:pt x="767490" y="847795"/>
                </a:lnTo>
                <a:lnTo>
                  <a:pt x="897726" y="783982"/>
                </a:lnTo>
                <a:lnTo>
                  <a:pt x="1024015" y="723209"/>
                </a:lnTo>
                <a:lnTo>
                  <a:pt x="1150305" y="662435"/>
                </a:lnTo>
                <a:lnTo>
                  <a:pt x="1280540" y="607738"/>
                </a:lnTo>
                <a:lnTo>
                  <a:pt x="1414723" y="550003"/>
                </a:lnTo>
                <a:lnTo>
                  <a:pt x="1548905" y="498345"/>
                </a:lnTo>
                <a:lnTo>
                  <a:pt x="1687034" y="449726"/>
                </a:lnTo>
                <a:lnTo>
                  <a:pt x="1829110" y="401107"/>
                </a:lnTo>
                <a:lnTo>
                  <a:pt x="1967239" y="355527"/>
                </a:lnTo>
                <a:lnTo>
                  <a:pt x="2109314" y="312985"/>
                </a:lnTo>
                <a:lnTo>
                  <a:pt x="2251390" y="273482"/>
                </a:lnTo>
                <a:lnTo>
                  <a:pt x="2393465" y="237018"/>
                </a:lnTo>
                <a:lnTo>
                  <a:pt x="2539487" y="200554"/>
                </a:lnTo>
                <a:lnTo>
                  <a:pt x="2689456" y="167128"/>
                </a:lnTo>
                <a:lnTo>
                  <a:pt x="2839425" y="136741"/>
                </a:lnTo>
                <a:lnTo>
                  <a:pt x="2989393" y="109393"/>
                </a:lnTo>
                <a:lnTo>
                  <a:pt x="3139362" y="85083"/>
                </a:lnTo>
                <a:lnTo>
                  <a:pt x="3293277" y="63813"/>
                </a:lnTo>
                <a:lnTo>
                  <a:pt x="3451139" y="42542"/>
                </a:lnTo>
                <a:lnTo>
                  <a:pt x="3605054" y="24310"/>
                </a:lnTo>
                <a:lnTo>
                  <a:pt x="3762916" y="15194"/>
                </a:lnTo>
                <a:lnTo>
                  <a:pt x="3920777" y="0"/>
                </a:lnTo>
                <a:close/>
              </a:path>
            </a:pathLst>
          </a:custGeom>
          <a:solidFill>
            <a:srgbClr val="B8A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ko-KR" altLang="en-US" sz="2400"/>
          </a:p>
        </p:txBody>
      </p:sp>
      <p:sp>
        <p:nvSpPr>
          <p:cNvPr id="197" name="자유형 196"/>
          <p:cNvSpPr>
            <a:spLocks/>
          </p:cNvSpPr>
          <p:nvPr/>
        </p:nvSpPr>
        <p:spPr bwMode="auto">
          <a:xfrm>
            <a:off x="6523412" y="6555597"/>
            <a:ext cx="3035848" cy="759605"/>
          </a:xfrm>
          <a:custGeom>
            <a:avLst/>
            <a:gdLst>
              <a:gd name="connsiteX0" fmla="*/ 1072991 w 2276886"/>
              <a:gd name="connsiteY0" fmla="*/ 0 h 534097"/>
              <a:gd name="connsiteX1" fmla="*/ 1135658 w 2276886"/>
              <a:gd name="connsiteY1" fmla="*/ 0 h 534097"/>
              <a:gd name="connsiteX2" fmla="*/ 1206158 w 2276886"/>
              <a:gd name="connsiteY2" fmla="*/ 0 h 534097"/>
              <a:gd name="connsiteX3" fmla="*/ 1268825 w 2276886"/>
              <a:gd name="connsiteY3" fmla="*/ 3019 h 534097"/>
              <a:gd name="connsiteX4" fmla="*/ 1335409 w 2276886"/>
              <a:gd name="connsiteY4" fmla="*/ 9057 h 534097"/>
              <a:gd name="connsiteX5" fmla="*/ 1398076 w 2276886"/>
              <a:gd name="connsiteY5" fmla="*/ 21134 h 534097"/>
              <a:gd name="connsiteX6" fmla="*/ 1456826 w 2276886"/>
              <a:gd name="connsiteY6" fmla="*/ 30191 h 534097"/>
              <a:gd name="connsiteX7" fmla="*/ 1519493 w 2276886"/>
              <a:gd name="connsiteY7" fmla="*/ 45286 h 534097"/>
              <a:gd name="connsiteX8" fmla="*/ 1578244 w 2276886"/>
              <a:gd name="connsiteY8" fmla="*/ 57363 h 534097"/>
              <a:gd name="connsiteX9" fmla="*/ 1636994 w 2276886"/>
              <a:gd name="connsiteY9" fmla="*/ 75477 h 534097"/>
              <a:gd name="connsiteX10" fmla="*/ 1695745 w 2276886"/>
              <a:gd name="connsiteY10" fmla="*/ 96611 h 534097"/>
              <a:gd name="connsiteX11" fmla="*/ 1750578 w 2276886"/>
              <a:gd name="connsiteY11" fmla="*/ 117744 h 534097"/>
              <a:gd name="connsiteX12" fmla="*/ 1805412 w 2276886"/>
              <a:gd name="connsiteY12" fmla="*/ 141897 h 534097"/>
              <a:gd name="connsiteX13" fmla="*/ 1852412 w 2276886"/>
              <a:gd name="connsiteY13" fmla="*/ 169069 h 534097"/>
              <a:gd name="connsiteX14" fmla="*/ 1903329 w 2276886"/>
              <a:gd name="connsiteY14" fmla="*/ 193221 h 534097"/>
              <a:gd name="connsiteX15" fmla="*/ 1954246 w 2276886"/>
              <a:gd name="connsiteY15" fmla="*/ 223412 h 534097"/>
              <a:gd name="connsiteX16" fmla="*/ 2001246 w 2276886"/>
              <a:gd name="connsiteY16" fmla="*/ 256622 h 534097"/>
              <a:gd name="connsiteX17" fmla="*/ 2044330 w 2276886"/>
              <a:gd name="connsiteY17" fmla="*/ 286813 h 534097"/>
              <a:gd name="connsiteX18" fmla="*/ 2087413 w 2276886"/>
              <a:gd name="connsiteY18" fmla="*/ 323042 h 534097"/>
              <a:gd name="connsiteX19" fmla="*/ 2130497 w 2276886"/>
              <a:gd name="connsiteY19" fmla="*/ 356252 h 534097"/>
              <a:gd name="connsiteX20" fmla="*/ 2165747 w 2276886"/>
              <a:gd name="connsiteY20" fmla="*/ 395500 h 534097"/>
              <a:gd name="connsiteX21" fmla="*/ 2200997 w 2276886"/>
              <a:gd name="connsiteY21" fmla="*/ 434748 h 534097"/>
              <a:gd name="connsiteX22" fmla="*/ 2236248 w 2276886"/>
              <a:gd name="connsiteY22" fmla="*/ 473996 h 534097"/>
              <a:gd name="connsiteX23" fmla="*/ 2263665 w 2276886"/>
              <a:gd name="connsiteY23" fmla="*/ 516263 h 534097"/>
              <a:gd name="connsiteX24" fmla="*/ 2276886 w 2276886"/>
              <a:gd name="connsiteY24" fmla="*/ 534097 h 534097"/>
              <a:gd name="connsiteX25" fmla="*/ 0 w 2276886"/>
              <a:gd name="connsiteY25" fmla="*/ 534097 h 534097"/>
              <a:gd name="connsiteX26" fmla="*/ 11568 w 2276886"/>
              <a:gd name="connsiteY26" fmla="*/ 516263 h 534097"/>
              <a:gd name="connsiteX27" fmla="*/ 42901 w 2276886"/>
              <a:gd name="connsiteY27" fmla="*/ 473996 h 534097"/>
              <a:gd name="connsiteX28" fmla="*/ 78152 w 2276886"/>
              <a:gd name="connsiteY28" fmla="*/ 434748 h 534097"/>
              <a:gd name="connsiteX29" fmla="*/ 113402 w 2276886"/>
              <a:gd name="connsiteY29" fmla="*/ 395500 h 534097"/>
              <a:gd name="connsiteX30" fmla="*/ 148652 w 2276886"/>
              <a:gd name="connsiteY30" fmla="*/ 356252 h 534097"/>
              <a:gd name="connsiteX31" fmla="*/ 191736 w 2276886"/>
              <a:gd name="connsiteY31" fmla="*/ 323042 h 534097"/>
              <a:gd name="connsiteX32" fmla="*/ 230902 w 2276886"/>
              <a:gd name="connsiteY32" fmla="*/ 286813 h 534097"/>
              <a:gd name="connsiteX33" fmla="*/ 273986 w 2276886"/>
              <a:gd name="connsiteY33" fmla="*/ 256622 h 534097"/>
              <a:gd name="connsiteX34" fmla="*/ 324903 w 2276886"/>
              <a:gd name="connsiteY34" fmla="*/ 223412 h 534097"/>
              <a:gd name="connsiteX35" fmla="*/ 371903 w 2276886"/>
              <a:gd name="connsiteY35" fmla="*/ 193221 h 534097"/>
              <a:gd name="connsiteX36" fmla="*/ 418904 w 2276886"/>
              <a:gd name="connsiteY36" fmla="*/ 169069 h 534097"/>
              <a:gd name="connsiteX37" fmla="*/ 473737 w 2276886"/>
              <a:gd name="connsiteY37" fmla="*/ 141897 h 534097"/>
              <a:gd name="connsiteX38" fmla="*/ 528571 w 2276886"/>
              <a:gd name="connsiteY38" fmla="*/ 117744 h 534097"/>
              <a:gd name="connsiteX39" fmla="*/ 583405 w 2276886"/>
              <a:gd name="connsiteY39" fmla="*/ 96611 h 534097"/>
              <a:gd name="connsiteX40" fmla="*/ 642155 w 2276886"/>
              <a:gd name="connsiteY40" fmla="*/ 75477 h 534097"/>
              <a:gd name="connsiteX41" fmla="*/ 700905 w 2276886"/>
              <a:gd name="connsiteY41" fmla="*/ 57363 h 534097"/>
              <a:gd name="connsiteX42" fmla="*/ 759656 w 2276886"/>
              <a:gd name="connsiteY42" fmla="*/ 45286 h 534097"/>
              <a:gd name="connsiteX43" fmla="*/ 818406 w 2276886"/>
              <a:gd name="connsiteY43" fmla="*/ 30191 h 534097"/>
              <a:gd name="connsiteX44" fmla="*/ 881073 w 2276886"/>
              <a:gd name="connsiteY44" fmla="*/ 21134 h 534097"/>
              <a:gd name="connsiteX45" fmla="*/ 943740 w 2276886"/>
              <a:gd name="connsiteY45" fmla="*/ 9057 h 534097"/>
              <a:gd name="connsiteX46" fmla="*/ 1006407 w 2276886"/>
              <a:gd name="connsiteY46" fmla="*/ 3019 h 534097"/>
              <a:gd name="connsiteX47" fmla="*/ 1072991 w 2276886"/>
              <a:gd name="connsiteY47" fmla="*/ 0 h 534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76886" h="534097">
                <a:moveTo>
                  <a:pt x="1072991" y="0"/>
                </a:moveTo>
                <a:lnTo>
                  <a:pt x="1135658" y="0"/>
                </a:lnTo>
                <a:lnTo>
                  <a:pt x="1206158" y="0"/>
                </a:lnTo>
                <a:lnTo>
                  <a:pt x="1268825" y="3019"/>
                </a:lnTo>
                <a:lnTo>
                  <a:pt x="1335409" y="9057"/>
                </a:lnTo>
                <a:lnTo>
                  <a:pt x="1398076" y="21134"/>
                </a:lnTo>
                <a:lnTo>
                  <a:pt x="1456826" y="30191"/>
                </a:lnTo>
                <a:lnTo>
                  <a:pt x="1519493" y="45286"/>
                </a:lnTo>
                <a:lnTo>
                  <a:pt x="1578244" y="57363"/>
                </a:lnTo>
                <a:lnTo>
                  <a:pt x="1636994" y="75477"/>
                </a:lnTo>
                <a:lnTo>
                  <a:pt x="1695745" y="96611"/>
                </a:lnTo>
                <a:lnTo>
                  <a:pt x="1750578" y="117744"/>
                </a:lnTo>
                <a:lnTo>
                  <a:pt x="1805412" y="141897"/>
                </a:lnTo>
                <a:lnTo>
                  <a:pt x="1852412" y="169069"/>
                </a:lnTo>
                <a:lnTo>
                  <a:pt x="1903329" y="193221"/>
                </a:lnTo>
                <a:lnTo>
                  <a:pt x="1954246" y="223412"/>
                </a:lnTo>
                <a:lnTo>
                  <a:pt x="2001246" y="256622"/>
                </a:lnTo>
                <a:lnTo>
                  <a:pt x="2044330" y="286813"/>
                </a:lnTo>
                <a:lnTo>
                  <a:pt x="2087413" y="323042"/>
                </a:lnTo>
                <a:lnTo>
                  <a:pt x="2130497" y="356252"/>
                </a:lnTo>
                <a:lnTo>
                  <a:pt x="2165747" y="395500"/>
                </a:lnTo>
                <a:lnTo>
                  <a:pt x="2200997" y="434748"/>
                </a:lnTo>
                <a:lnTo>
                  <a:pt x="2236248" y="473996"/>
                </a:lnTo>
                <a:lnTo>
                  <a:pt x="2263665" y="516263"/>
                </a:lnTo>
                <a:lnTo>
                  <a:pt x="2276886" y="534097"/>
                </a:lnTo>
                <a:lnTo>
                  <a:pt x="0" y="534097"/>
                </a:lnTo>
                <a:lnTo>
                  <a:pt x="11568" y="516263"/>
                </a:lnTo>
                <a:lnTo>
                  <a:pt x="42901" y="473996"/>
                </a:lnTo>
                <a:lnTo>
                  <a:pt x="78152" y="434748"/>
                </a:lnTo>
                <a:lnTo>
                  <a:pt x="113402" y="395500"/>
                </a:lnTo>
                <a:lnTo>
                  <a:pt x="148652" y="356252"/>
                </a:lnTo>
                <a:lnTo>
                  <a:pt x="191736" y="323042"/>
                </a:lnTo>
                <a:lnTo>
                  <a:pt x="230902" y="286813"/>
                </a:lnTo>
                <a:lnTo>
                  <a:pt x="273986" y="256622"/>
                </a:lnTo>
                <a:lnTo>
                  <a:pt x="324903" y="223412"/>
                </a:lnTo>
                <a:lnTo>
                  <a:pt x="371903" y="193221"/>
                </a:lnTo>
                <a:lnTo>
                  <a:pt x="418904" y="169069"/>
                </a:lnTo>
                <a:lnTo>
                  <a:pt x="473737" y="141897"/>
                </a:lnTo>
                <a:lnTo>
                  <a:pt x="528571" y="117744"/>
                </a:lnTo>
                <a:lnTo>
                  <a:pt x="583405" y="96611"/>
                </a:lnTo>
                <a:lnTo>
                  <a:pt x="642155" y="75477"/>
                </a:lnTo>
                <a:lnTo>
                  <a:pt x="700905" y="57363"/>
                </a:lnTo>
                <a:lnTo>
                  <a:pt x="759656" y="45286"/>
                </a:lnTo>
                <a:lnTo>
                  <a:pt x="818406" y="30191"/>
                </a:lnTo>
                <a:lnTo>
                  <a:pt x="881073" y="21134"/>
                </a:lnTo>
                <a:lnTo>
                  <a:pt x="943740" y="9057"/>
                </a:lnTo>
                <a:lnTo>
                  <a:pt x="1006407" y="3019"/>
                </a:lnTo>
                <a:lnTo>
                  <a:pt x="1072991" y="0"/>
                </a:lnTo>
                <a:close/>
              </a:path>
            </a:pathLst>
          </a:custGeom>
          <a:solidFill>
            <a:srgbClr val="E3DA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ko-KR" altLang="en-US" sz="2400"/>
          </a:p>
        </p:txBody>
      </p:sp>
      <p:grpSp>
        <p:nvGrpSpPr>
          <p:cNvPr id="864" name="그룹 863"/>
          <p:cNvGrpSpPr/>
          <p:nvPr userDrawn="1"/>
        </p:nvGrpSpPr>
        <p:grpSpPr>
          <a:xfrm>
            <a:off x="4916673" y="4795471"/>
            <a:ext cx="7275329" cy="1923903"/>
            <a:chOff x="3687504" y="-1735986"/>
            <a:chExt cx="5456497" cy="1352744"/>
          </a:xfrm>
        </p:grpSpPr>
        <p:sp>
          <p:nvSpPr>
            <p:cNvPr id="217" name="Rectangle 1233"/>
            <p:cNvSpPr>
              <a:spLocks noChangeArrowheads="1"/>
            </p:cNvSpPr>
            <p:nvPr/>
          </p:nvSpPr>
          <p:spPr bwMode="auto">
            <a:xfrm>
              <a:off x="6098912" y="-1293203"/>
              <a:ext cx="45534" cy="318738"/>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05" name="Rectangle 1221"/>
            <p:cNvSpPr>
              <a:spLocks noChangeArrowheads="1"/>
            </p:cNvSpPr>
            <p:nvPr/>
          </p:nvSpPr>
          <p:spPr bwMode="auto">
            <a:xfrm>
              <a:off x="4353440" y="-1339458"/>
              <a:ext cx="20870" cy="94863"/>
            </a:xfrm>
            <a:prstGeom prst="rect">
              <a:avLst/>
            </a:prstGeom>
            <a:solidFill>
              <a:srgbClr val="2A276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06" name="Rectangle 1222"/>
            <p:cNvSpPr>
              <a:spLocks noChangeArrowheads="1"/>
            </p:cNvSpPr>
            <p:nvPr/>
          </p:nvSpPr>
          <p:spPr bwMode="auto">
            <a:xfrm>
              <a:off x="4287037" y="-1155423"/>
              <a:ext cx="153677" cy="235260"/>
            </a:xfrm>
            <a:prstGeom prst="rect">
              <a:avLst/>
            </a:prstGeom>
            <a:solidFill>
              <a:srgbClr val="3A3A7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07" name="Freeform 1223"/>
            <p:cNvSpPr>
              <a:spLocks/>
            </p:cNvSpPr>
            <p:nvPr/>
          </p:nvSpPr>
          <p:spPr bwMode="auto">
            <a:xfrm>
              <a:off x="4228222" y="-1202857"/>
              <a:ext cx="271307" cy="47432"/>
            </a:xfrm>
            <a:custGeom>
              <a:avLst/>
              <a:gdLst>
                <a:gd name="T0" fmla="*/ 122 w 718"/>
                <a:gd name="T1" fmla="*/ 0 h 123"/>
                <a:gd name="T2" fmla="*/ 596 w 718"/>
                <a:gd name="T3" fmla="*/ 0 h 123"/>
                <a:gd name="T4" fmla="*/ 596 w 718"/>
                <a:gd name="T5" fmla="*/ 0 h 123"/>
                <a:gd name="T6" fmla="*/ 608 w 718"/>
                <a:gd name="T7" fmla="*/ 1 h 123"/>
                <a:gd name="T8" fmla="*/ 621 w 718"/>
                <a:gd name="T9" fmla="*/ 3 h 123"/>
                <a:gd name="T10" fmla="*/ 633 w 718"/>
                <a:gd name="T11" fmla="*/ 6 h 123"/>
                <a:gd name="T12" fmla="*/ 644 w 718"/>
                <a:gd name="T13" fmla="*/ 10 h 123"/>
                <a:gd name="T14" fmla="*/ 655 w 718"/>
                <a:gd name="T15" fmla="*/ 15 h 123"/>
                <a:gd name="T16" fmla="*/ 665 w 718"/>
                <a:gd name="T17" fmla="*/ 21 h 123"/>
                <a:gd name="T18" fmla="*/ 674 w 718"/>
                <a:gd name="T19" fmla="*/ 28 h 123"/>
                <a:gd name="T20" fmla="*/ 683 w 718"/>
                <a:gd name="T21" fmla="*/ 37 h 123"/>
                <a:gd name="T22" fmla="*/ 690 w 718"/>
                <a:gd name="T23" fmla="*/ 45 h 123"/>
                <a:gd name="T24" fmla="*/ 697 w 718"/>
                <a:gd name="T25" fmla="*/ 55 h 123"/>
                <a:gd name="T26" fmla="*/ 704 w 718"/>
                <a:gd name="T27" fmla="*/ 65 h 123"/>
                <a:gd name="T28" fmla="*/ 708 w 718"/>
                <a:gd name="T29" fmla="*/ 76 h 123"/>
                <a:gd name="T30" fmla="*/ 713 w 718"/>
                <a:gd name="T31" fmla="*/ 87 h 123"/>
                <a:gd name="T32" fmla="*/ 716 w 718"/>
                <a:gd name="T33" fmla="*/ 98 h 123"/>
                <a:gd name="T34" fmla="*/ 718 w 718"/>
                <a:gd name="T35" fmla="*/ 110 h 123"/>
                <a:gd name="T36" fmla="*/ 718 w 718"/>
                <a:gd name="T37" fmla="*/ 123 h 123"/>
                <a:gd name="T38" fmla="*/ 0 w 718"/>
                <a:gd name="T39" fmla="*/ 123 h 123"/>
                <a:gd name="T40" fmla="*/ 0 w 718"/>
                <a:gd name="T41" fmla="*/ 123 h 123"/>
                <a:gd name="T42" fmla="*/ 0 w 718"/>
                <a:gd name="T43" fmla="*/ 110 h 123"/>
                <a:gd name="T44" fmla="*/ 3 w 718"/>
                <a:gd name="T45" fmla="*/ 98 h 123"/>
                <a:gd name="T46" fmla="*/ 5 w 718"/>
                <a:gd name="T47" fmla="*/ 87 h 123"/>
                <a:gd name="T48" fmla="*/ 10 w 718"/>
                <a:gd name="T49" fmla="*/ 76 h 123"/>
                <a:gd name="T50" fmla="*/ 15 w 718"/>
                <a:gd name="T51" fmla="*/ 65 h 123"/>
                <a:gd name="T52" fmla="*/ 21 w 718"/>
                <a:gd name="T53" fmla="*/ 55 h 123"/>
                <a:gd name="T54" fmla="*/ 28 w 718"/>
                <a:gd name="T55" fmla="*/ 45 h 123"/>
                <a:gd name="T56" fmla="*/ 35 w 718"/>
                <a:gd name="T57" fmla="*/ 37 h 123"/>
                <a:gd name="T58" fmla="*/ 44 w 718"/>
                <a:gd name="T59" fmla="*/ 28 h 123"/>
                <a:gd name="T60" fmla="*/ 54 w 718"/>
                <a:gd name="T61" fmla="*/ 21 h 123"/>
                <a:gd name="T62" fmla="*/ 63 w 718"/>
                <a:gd name="T63" fmla="*/ 15 h 123"/>
                <a:gd name="T64" fmla="*/ 74 w 718"/>
                <a:gd name="T65" fmla="*/ 10 h 123"/>
                <a:gd name="T66" fmla="*/ 85 w 718"/>
                <a:gd name="T67" fmla="*/ 6 h 123"/>
                <a:gd name="T68" fmla="*/ 98 w 718"/>
                <a:gd name="T69" fmla="*/ 3 h 123"/>
                <a:gd name="T70" fmla="*/ 110 w 718"/>
                <a:gd name="T71" fmla="*/ 1 h 123"/>
                <a:gd name="T72" fmla="*/ 122 w 718"/>
                <a:gd name="T73" fmla="*/ 0 h 123"/>
                <a:gd name="T74" fmla="*/ 122 w 718"/>
                <a:gd name="T75"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18" h="123">
                  <a:moveTo>
                    <a:pt x="122" y="0"/>
                  </a:moveTo>
                  <a:lnTo>
                    <a:pt x="596" y="0"/>
                  </a:lnTo>
                  <a:lnTo>
                    <a:pt x="596" y="0"/>
                  </a:lnTo>
                  <a:lnTo>
                    <a:pt x="608" y="1"/>
                  </a:lnTo>
                  <a:lnTo>
                    <a:pt x="621" y="3"/>
                  </a:lnTo>
                  <a:lnTo>
                    <a:pt x="633" y="6"/>
                  </a:lnTo>
                  <a:lnTo>
                    <a:pt x="644" y="10"/>
                  </a:lnTo>
                  <a:lnTo>
                    <a:pt x="655" y="15"/>
                  </a:lnTo>
                  <a:lnTo>
                    <a:pt x="665" y="21"/>
                  </a:lnTo>
                  <a:lnTo>
                    <a:pt x="674" y="28"/>
                  </a:lnTo>
                  <a:lnTo>
                    <a:pt x="683" y="37"/>
                  </a:lnTo>
                  <a:lnTo>
                    <a:pt x="690" y="45"/>
                  </a:lnTo>
                  <a:lnTo>
                    <a:pt x="697" y="55"/>
                  </a:lnTo>
                  <a:lnTo>
                    <a:pt x="704" y="65"/>
                  </a:lnTo>
                  <a:lnTo>
                    <a:pt x="708" y="76"/>
                  </a:lnTo>
                  <a:lnTo>
                    <a:pt x="713" y="87"/>
                  </a:lnTo>
                  <a:lnTo>
                    <a:pt x="716" y="98"/>
                  </a:lnTo>
                  <a:lnTo>
                    <a:pt x="718" y="110"/>
                  </a:lnTo>
                  <a:lnTo>
                    <a:pt x="718" y="123"/>
                  </a:lnTo>
                  <a:lnTo>
                    <a:pt x="0" y="123"/>
                  </a:lnTo>
                  <a:lnTo>
                    <a:pt x="0" y="123"/>
                  </a:lnTo>
                  <a:lnTo>
                    <a:pt x="0" y="110"/>
                  </a:lnTo>
                  <a:lnTo>
                    <a:pt x="3" y="98"/>
                  </a:lnTo>
                  <a:lnTo>
                    <a:pt x="5" y="87"/>
                  </a:lnTo>
                  <a:lnTo>
                    <a:pt x="10" y="76"/>
                  </a:lnTo>
                  <a:lnTo>
                    <a:pt x="15" y="65"/>
                  </a:lnTo>
                  <a:lnTo>
                    <a:pt x="21" y="55"/>
                  </a:lnTo>
                  <a:lnTo>
                    <a:pt x="28" y="45"/>
                  </a:lnTo>
                  <a:lnTo>
                    <a:pt x="35" y="37"/>
                  </a:lnTo>
                  <a:lnTo>
                    <a:pt x="44" y="28"/>
                  </a:lnTo>
                  <a:lnTo>
                    <a:pt x="54" y="21"/>
                  </a:lnTo>
                  <a:lnTo>
                    <a:pt x="63" y="15"/>
                  </a:lnTo>
                  <a:lnTo>
                    <a:pt x="74" y="10"/>
                  </a:lnTo>
                  <a:lnTo>
                    <a:pt x="85" y="6"/>
                  </a:lnTo>
                  <a:lnTo>
                    <a:pt x="98" y="3"/>
                  </a:lnTo>
                  <a:lnTo>
                    <a:pt x="110" y="1"/>
                  </a:lnTo>
                  <a:lnTo>
                    <a:pt x="122" y="0"/>
                  </a:lnTo>
                  <a:lnTo>
                    <a:pt x="122" y="0"/>
                  </a:lnTo>
                  <a:close/>
                </a:path>
              </a:pathLst>
            </a:custGeom>
            <a:solidFill>
              <a:srgbClr val="FFAF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08" name="Freeform 1224"/>
            <p:cNvSpPr>
              <a:spLocks/>
            </p:cNvSpPr>
            <p:nvPr/>
          </p:nvSpPr>
          <p:spPr bwMode="auto">
            <a:xfrm>
              <a:off x="4228222" y="-1155423"/>
              <a:ext cx="271307" cy="45534"/>
            </a:xfrm>
            <a:custGeom>
              <a:avLst/>
              <a:gdLst>
                <a:gd name="T0" fmla="*/ 718 w 718"/>
                <a:gd name="T1" fmla="*/ 0 h 122"/>
                <a:gd name="T2" fmla="*/ 718 w 718"/>
                <a:gd name="T3" fmla="*/ 0 h 122"/>
                <a:gd name="T4" fmla="*/ 718 w 718"/>
                <a:gd name="T5" fmla="*/ 13 h 122"/>
                <a:gd name="T6" fmla="*/ 716 w 718"/>
                <a:gd name="T7" fmla="*/ 25 h 122"/>
                <a:gd name="T8" fmla="*/ 713 w 718"/>
                <a:gd name="T9" fmla="*/ 37 h 122"/>
                <a:gd name="T10" fmla="*/ 708 w 718"/>
                <a:gd name="T11" fmla="*/ 48 h 122"/>
                <a:gd name="T12" fmla="*/ 704 w 718"/>
                <a:gd name="T13" fmla="*/ 59 h 122"/>
                <a:gd name="T14" fmla="*/ 697 w 718"/>
                <a:gd name="T15" fmla="*/ 69 h 122"/>
                <a:gd name="T16" fmla="*/ 690 w 718"/>
                <a:gd name="T17" fmla="*/ 78 h 122"/>
                <a:gd name="T18" fmla="*/ 683 w 718"/>
                <a:gd name="T19" fmla="*/ 87 h 122"/>
                <a:gd name="T20" fmla="*/ 674 w 718"/>
                <a:gd name="T21" fmla="*/ 94 h 122"/>
                <a:gd name="T22" fmla="*/ 665 w 718"/>
                <a:gd name="T23" fmla="*/ 102 h 122"/>
                <a:gd name="T24" fmla="*/ 655 w 718"/>
                <a:gd name="T25" fmla="*/ 108 h 122"/>
                <a:gd name="T26" fmla="*/ 644 w 718"/>
                <a:gd name="T27" fmla="*/ 112 h 122"/>
                <a:gd name="T28" fmla="*/ 633 w 718"/>
                <a:gd name="T29" fmla="*/ 117 h 122"/>
                <a:gd name="T30" fmla="*/ 621 w 718"/>
                <a:gd name="T31" fmla="*/ 120 h 122"/>
                <a:gd name="T32" fmla="*/ 608 w 718"/>
                <a:gd name="T33" fmla="*/ 122 h 122"/>
                <a:gd name="T34" fmla="*/ 596 w 718"/>
                <a:gd name="T35" fmla="*/ 122 h 122"/>
                <a:gd name="T36" fmla="*/ 122 w 718"/>
                <a:gd name="T37" fmla="*/ 122 h 122"/>
                <a:gd name="T38" fmla="*/ 122 w 718"/>
                <a:gd name="T39" fmla="*/ 122 h 122"/>
                <a:gd name="T40" fmla="*/ 110 w 718"/>
                <a:gd name="T41" fmla="*/ 122 h 122"/>
                <a:gd name="T42" fmla="*/ 98 w 718"/>
                <a:gd name="T43" fmla="*/ 120 h 122"/>
                <a:gd name="T44" fmla="*/ 85 w 718"/>
                <a:gd name="T45" fmla="*/ 117 h 122"/>
                <a:gd name="T46" fmla="*/ 74 w 718"/>
                <a:gd name="T47" fmla="*/ 112 h 122"/>
                <a:gd name="T48" fmla="*/ 63 w 718"/>
                <a:gd name="T49" fmla="*/ 108 h 122"/>
                <a:gd name="T50" fmla="*/ 54 w 718"/>
                <a:gd name="T51" fmla="*/ 102 h 122"/>
                <a:gd name="T52" fmla="*/ 44 w 718"/>
                <a:gd name="T53" fmla="*/ 94 h 122"/>
                <a:gd name="T54" fmla="*/ 35 w 718"/>
                <a:gd name="T55" fmla="*/ 87 h 122"/>
                <a:gd name="T56" fmla="*/ 28 w 718"/>
                <a:gd name="T57" fmla="*/ 78 h 122"/>
                <a:gd name="T58" fmla="*/ 21 w 718"/>
                <a:gd name="T59" fmla="*/ 69 h 122"/>
                <a:gd name="T60" fmla="*/ 15 w 718"/>
                <a:gd name="T61" fmla="*/ 59 h 122"/>
                <a:gd name="T62" fmla="*/ 10 w 718"/>
                <a:gd name="T63" fmla="*/ 48 h 122"/>
                <a:gd name="T64" fmla="*/ 5 w 718"/>
                <a:gd name="T65" fmla="*/ 37 h 122"/>
                <a:gd name="T66" fmla="*/ 3 w 718"/>
                <a:gd name="T67" fmla="*/ 25 h 122"/>
                <a:gd name="T68" fmla="*/ 0 w 718"/>
                <a:gd name="T69" fmla="*/ 13 h 122"/>
                <a:gd name="T70" fmla="*/ 0 w 718"/>
                <a:gd name="T71" fmla="*/ 0 h 122"/>
                <a:gd name="T72" fmla="*/ 718 w 718"/>
                <a:gd name="T73"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18" h="122">
                  <a:moveTo>
                    <a:pt x="718" y="0"/>
                  </a:moveTo>
                  <a:lnTo>
                    <a:pt x="718" y="0"/>
                  </a:lnTo>
                  <a:lnTo>
                    <a:pt x="718" y="13"/>
                  </a:lnTo>
                  <a:lnTo>
                    <a:pt x="716" y="25"/>
                  </a:lnTo>
                  <a:lnTo>
                    <a:pt x="713" y="37"/>
                  </a:lnTo>
                  <a:lnTo>
                    <a:pt x="708" y="48"/>
                  </a:lnTo>
                  <a:lnTo>
                    <a:pt x="704" y="59"/>
                  </a:lnTo>
                  <a:lnTo>
                    <a:pt x="697" y="69"/>
                  </a:lnTo>
                  <a:lnTo>
                    <a:pt x="690" y="78"/>
                  </a:lnTo>
                  <a:lnTo>
                    <a:pt x="683" y="87"/>
                  </a:lnTo>
                  <a:lnTo>
                    <a:pt x="674" y="94"/>
                  </a:lnTo>
                  <a:lnTo>
                    <a:pt x="665" y="102"/>
                  </a:lnTo>
                  <a:lnTo>
                    <a:pt x="655" y="108"/>
                  </a:lnTo>
                  <a:lnTo>
                    <a:pt x="644" y="112"/>
                  </a:lnTo>
                  <a:lnTo>
                    <a:pt x="633" y="117"/>
                  </a:lnTo>
                  <a:lnTo>
                    <a:pt x="621" y="120"/>
                  </a:lnTo>
                  <a:lnTo>
                    <a:pt x="608" y="122"/>
                  </a:lnTo>
                  <a:lnTo>
                    <a:pt x="596" y="122"/>
                  </a:lnTo>
                  <a:lnTo>
                    <a:pt x="122" y="122"/>
                  </a:lnTo>
                  <a:lnTo>
                    <a:pt x="122" y="122"/>
                  </a:lnTo>
                  <a:lnTo>
                    <a:pt x="110" y="122"/>
                  </a:lnTo>
                  <a:lnTo>
                    <a:pt x="98" y="120"/>
                  </a:lnTo>
                  <a:lnTo>
                    <a:pt x="85" y="117"/>
                  </a:lnTo>
                  <a:lnTo>
                    <a:pt x="74" y="112"/>
                  </a:lnTo>
                  <a:lnTo>
                    <a:pt x="63" y="108"/>
                  </a:lnTo>
                  <a:lnTo>
                    <a:pt x="54" y="102"/>
                  </a:lnTo>
                  <a:lnTo>
                    <a:pt x="44" y="94"/>
                  </a:lnTo>
                  <a:lnTo>
                    <a:pt x="35" y="87"/>
                  </a:lnTo>
                  <a:lnTo>
                    <a:pt x="28" y="78"/>
                  </a:lnTo>
                  <a:lnTo>
                    <a:pt x="21" y="69"/>
                  </a:lnTo>
                  <a:lnTo>
                    <a:pt x="15" y="59"/>
                  </a:lnTo>
                  <a:lnTo>
                    <a:pt x="10" y="48"/>
                  </a:lnTo>
                  <a:lnTo>
                    <a:pt x="5" y="37"/>
                  </a:lnTo>
                  <a:lnTo>
                    <a:pt x="3" y="25"/>
                  </a:lnTo>
                  <a:lnTo>
                    <a:pt x="0" y="13"/>
                  </a:lnTo>
                  <a:lnTo>
                    <a:pt x="0" y="0"/>
                  </a:lnTo>
                  <a:lnTo>
                    <a:pt x="718" y="0"/>
                  </a:lnTo>
                  <a:close/>
                </a:path>
              </a:pathLst>
            </a:custGeom>
            <a:solidFill>
              <a:srgbClr val="FF77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09" name="Freeform 1225"/>
            <p:cNvSpPr>
              <a:spLocks/>
            </p:cNvSpPr>
            <p:nvPr/>
          </p:nvSpPr>
          <p:spPr bwMode="auto">
            <a:xfrm>
              <a:off x="4228222" y="-1064358"/>
              <a:ext cx="271307" cy="45534"/>
            </a:xfrm>
            <a:custGeom>
              <a:avLst/>
              <a:gdLst>
                <a:gd name="T0" fmla="*/ 122 w 718"/>
                <a:gd name="T1" fmla="*/ 0 h 123"/>
                <a:gd name="T2" fmla="*/ 596 w 718"/>
                <a:gd name="T3" fmla="*/ 0 h 123"/>
                <a:gd name="T4" fmla="*/ 596 w 718"/>
                <a:gd name="T5" fmla="*/ 0 h 123"/>
                <a:gd name="T6" fmla="*/ 608 w 718"/>
                <a:gd name="T7" fmla="*/ 1 h 123"/>
                <a:gd name="T8" fmla="*/ 621 w 718"/>
                <a:gd name="T9" fmla="*/ 3 h 123"/>
                <a:gd name="T10" fmla="*/ 633 w 718"/>
                <a:gd name="T11" fmla="*/ 6 h 123"/>
                <a:gd name="T12" fmla="*/ 644 w 718"/>
                <a:gd name="T13" fmla="*/ 10 h 123"/>
                <a:gd name="T14" fmla="*/ 655 w 718"/>
                <a:gd name="T15" fmla="*/ 15 h 123"/>
                <a:gd name="T16" fmla="*/ 665 w 718"/>
                <a:gd name="T17" fmla="*/ 22 h 123"/>
                <a:gd name="T18" fmla="*/ 674 w 718"/>
                <a:gd name="T19" fmla="*/ 28 h 123"/>
                <a:gd name="T20" fmla="*/ 683 w 718"/>
                <a:gd name="T21" fmla="*/ 37 h 123"/>
                <a:gd name="T22" fmla="*/ 690 w 718"/>
                <a:gd name="T23" fmla="*/ 45 h 123"/>
                <a:gd name="T24" fmla="*/ 697 w 718"/>
                <a:gd name="T25" fmla="*/ 55 h 123"/>
                <a:gd name="T26" fmla="*/ 704 w 718"/>
                <a:gd name="T27" fmla="*/ 65 h 123"/>
                <a:gd name="T28" fmla="*/ 708 w 718"/>
                <a:gd name="T29" fmla="*/ 76 h 123"/>
                <a:gd name="T30" fmla="*/ 713 w 718"/>
                <a:gd name="T31" fmla="*/ 87 h 123"/>
                <a:gd name="T32" fmla="*/ 716 w 718"/>
                <a:gd name="T33" fmla="*/ 99 h 123"/>
                <a:gd name="T34" fmla="*/ 718 w 718"/>
                <a:gd name="T35" fmla="*/ 111 h 123"/>
                <a:gd name="T36" fmla="*/ 718 w 718"/>
                <a:gd name="T37" fmla="*/ 123 h 123"/>
                <a:gd name="T38" fmla="*/ 0 w 718"/>
                <a:gd name="T39" fmla="*/ 123 h 123"/>
                <a:gd name="T40" fmla="*/ 0 w 718"/>
                <a:gd name="T41" fmla="*/ 123 h 123"/>
                <a:gd name="T42" fmla="*/ 0 w 718"/>
                <a:gd name="T43" fmla="*/ 111 h 123"/>
                <a:gd name="T44" fmla="*/ 3 w 718"/>
                <a:gd name="T45" fmla="*/ 99 h 123"/>
                <a:gd name="T46" fmla="*/ 5 w 718"/>
                <a:gd name="T47" fmla="*/ 87 h 123"/>
                <a:gd name="T48" fmla="*/ 10 w 718"/>
                <a:gd name="T49" fmla="*/ 76 h 123"/>
                <a:gd name="T50" fmla="*/ 15 w 718"/>
                <a:gd name="T51" fmla="*/ 65 h 123"/>
                <a:gd name="T52" fmla="*/ 21 w 718"/>
                <a:gd name="T53" fmla="*/ 55 h 123"/>
                <a:gd name="T54" fmla="*/ 28 w 718"/>
                <a:gd name="T55" fmla="*/ 45 h 123"/>
                <a:gd name="T56" fmla="*/ 35 w 718"/>
                <a:gd name="T57" fmla="*/ 37 h 123"/>
                <a:gd name="T58" fmla="*/ 44 w 718"/>
                <a:gd name="T59" fmla="*/ 28 h 123"/>
                <a:gd name="T60" fmla="*/ 54 w 718"/>
                <a:gd name="T61" fmla="*/ 22 h 123"/>
                <a:gd name="T62" fmla="*/ 63 w 718"/>
                <a:gd name="T63" fmla="*/ 15 h 123"/>
                <a:gd name="T64" fmla="*/ 74 w 718"/>
                <a:gd name="T65" fmla="*/ 10 h 123"/>
                <a:gd name="T66" fmla="*/ 85 w 718"/>
                <a:gd name="T67" fmla="*/ 6 h 123"/>
                <a:gd name="T68" fmla="*/ 98 w 718"/>
                <a:gd name="T69" fmla="*/ 3 h 123"/>
                <a:gd name="T70" fmla="*/ 110 w 718"/>
                <a:gd name="T71" fmla="*/ 1 h 123"/>
                <a:gd name="T72" fmla="*/ 122 w 718"/>
                <a:gd name="T73" fmla="*/ 0 h 123"/>
                <a:gd name="T74" fmla="*/ 122 w 718"/>
                <a:gd name="T75"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18" h="123">
                  <a:moveTo>
                    <a:pt x="122" y="0"/>
                  </a:moveTo>
                  <a:lnTo>
                    <a:pt x="596" y="0"/>
                  </a:lnTo>
                  <a:lnTo>
                    <a:pt x="596" y="0"/>
                  </a:lnTo>
                  <a:lnTo>
                    <a:pt x="608" y="1"/>
                  </a:lnTo>
                  <a:lnTo>
                    <a:pt x="621" y="3"/>
                  </a:lnTo>
                  <a:lnTo>
                    <a:pt x="633" y="6"/>
                  </a:lnTo>
                  <a:lnTo>
                    <a:pt x="644" y="10"/>
                  </a:lnTo>
                  <a:lnTo>
                    <a:pt x="655" y="15"/>
                  </a:lnTo>
                  <a:lnTo>
                    <a:pt x="665" y="22"/>
                  </a:lnTo>
                  <a:lnTo>
                    <a:pt x="674" y="28"/>
                  </a:lnTo>
                  <a:lnTo>
                    <a:pt x="683" y="37"/>
                  </a:lnTo>
                  <a:lnTo>
                    <a:pt x="690" y="45"/>
                  </a:lnTo>
                  <a:lnTo>
                    <a:pt x="697" y="55"/>
                  </a:lnTo>
                  <a:lnTo>
                    <a:pt x="704" y="65"/>
                  </a:lnTo>
                  <a:lnTo>
                    <a:pt x="708" y="76"/>
                  </a:lnTo>
                  <a:lnTo>
                    <a:pt x="713" y="87"/>
                  </a:lnTo>
                  <a:lnTo>
                    <a:pt x="716" y="99"/>
                  </a:lnTo>
                  <a:lnTo>
                    <a:pt x="718" y="111"/>
                  </a:lnTo>
                  <a:lnTo>
                    <a:pt x="718" y="123"/>
                  </a:lnTo>
                  <a:lnTo>
                    <a:pt x="0" y="123"/>
                  </a:lnTo>
                  <a:lnTo>
                    <a:pt x="0" y="123"/>
                  </a:lnTo>
                  <a:lnTo>
                    <a:pt x="0" y="111"/>
                  </a:lnTo>
                  <a:lnTo>
                    <a:pt x="3" y="99"/>
                  </a:lnTo>
                  <a:lnTo>
                    <a:pt x="5" y="87"/>
                  </a:lnTo>
                  <a:lnTo>
                    <a:pt x="10" y="76"/>
                  </a:lnTo>
                  <a:lnTo>
                    <a:pt x="15" y="65"/>
                  </a:lnTo>
                  <a:lnTo>
                    <a:pt x="21" y="55"/>
                  </a:lnTo>
                  <a:lnTo>
                    <a:pt x="28" y="45"/>
                  </a:lnTo>
                  <a:lnTo>
                    <a:pt x="35" y="37"/>
                  </a:lnTo>
                  <a:lnTo>
                    <a:pt x="44" y="28"/>
                  </a:lnTo>
                  <a:lnTo>
                    <a:pt x="54" y="22"/>
                  </a:lnTo>
                  <a:lnTo>
                    <a:pt x="63" y="15"/>
                  </a:lnTo>
                  <a:lnTo>
                    <a:pt x="74" y="10"/>
                  </a:lnTo>
                  <a:lnTo>
                    <a:pt x="85" y="6"/>
                  </a:lnTo>
                  <a:lnTo>
                    <a:pt x="98" y="3"/>
                  </a:lnTo>
                  <a:lnTo>
                    <a:pt x="110" y="1"/>
                  </a:lnTo>
                  <a:lnTo>
                    <a:pt x="122" y="0"/>
                  </a:lnTo>
                  <a:lnTo>
                    <a:pt x="122" y="0"/>
                  </a:lnTo>
                  <a:close/>
                </a:path>
              </a:pathLst>
            </a:custGeom>
            <a:solidFill>
              <a:srgbClr val="FFAF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10" name="Freeform 1226"/>
            <p:cNvSpPr>
              <a:spLocks/>
            </p:cNvSpPr>
            <p:nvPr/>
          </p:nvSpPr>
          <p:spPr bwMode="auto">
            <a:xfrm>
              <a:off x="4228222" y="-1018821"/>
              <a:ext cx="271307" cy="47432"/>
            </a:xfrm>
            <a:custGeom>
              <a:avLst/>
              <a:gdLst>
                <a:gd name="T0" fmla="*/ 718 w 718"/>
                <a:gd name="T1" fmla="*/ 0 h 122"/>
                <a:gd name="T2" fmla="*/ 718 w 718"/>
                <a:gd name="T3" fmla="*/ 0 h 122"/>
                <a:gd name="T4" fmla="*/ 718 w 718"/>
                <a:gd name="T5" fmla="*/ 12 h 122"/>
                <a:gd name="T6" fmla="*/ 716 w 718"/>
                <a:gd name="T7" fmla="*/ 25 h 122"/>
                <a:gd name="T8" fmla="*/ 713 w 718"/>
                <a:gd name="T9" fmla="*/ 37 h 122"/>
                <a:gd name="T10" fmla="*/ 708 w 718"/>
                <a:gd name="T11" fmla="*/ 48 h 122"/>
                <a:gd name="T12" fmla="*/ 704 w 718"/>
                <a:gd name="T13" fmla="*/ 59 h 122"/>
                <a:gd name="T14" fmla="*/ 697 w 718"/>
                <a:gd name="T15" fmla="*/ 68 h 122"/>
                <a:gd name="T16" fmla="*/ 690 w 718"/>
                <a:gd name="T17" fmla="*/ 78 h 122"/>
                <a:gd name="T18" fmla="*/ 683 w 718"/>
                <a:gd name="T19" fmla="*/ 87 h 122"/>
                <a:gd name="T20" fmla="*/ 674 w 718"/>
                <a:gd name="T21" fmla="*/ 94 h 122"/>
                <a:gd name="T22" fmla="*/ 665 w 718"/>
                <a:gd name="T23" fmla="*/ 101 h 122"/>
                <a:gd name="T24" fmla="*/ 655 w 718"/>
                <a:gd name="T25" fmla="*/ 107 h 122"/>
                <a:gd name="T26" fmla="*/ 644 w 718"/>
                <a:gd name="T27" fmla="*/ 112 h 122"/>
                <a:gd name="T28" fmla="*/ 633 w 718"/>
                <a:gd name="T29" fmla="*/ 117 h 122"/>
                <a:gd name="T30" fmla="*/ 621 w 718"/>
                <a:gd name="T31" fmla="*/ 120 h 122"/>
                <a:gd name="T32" fmla="*/ 608 w 718"/>
                <a:gd name="T33" fmla="*/ 122 h 122"/>
                <a:gd name="T34" fmla="*/ 596 w 718"/>
                <a:gd name="T35" fmla="*/ 122 h 122"/>
                <a:gd name="T36" fmla="*/ 122 w 718"/>
                <a:gd name="T37" fmla="*/ 122 h 122"/>
                <a:gd name="T38" fmla="*/ 122 w 718"/>
                <a:gd name="T39" fmla="*/ 122 h 122"/>
                <a:gd name="T40" fmla="*/ 110 w 718"/>
                <a:gd name="T41" fmla="*/ 122 h 122"/>
                <a:gd name="T42" fmla="*/ 98 w 718"/>
                <a:gd name="T43" fmla="*/ 120 h 122"/>
                <a:gd name="T44" fmla="*/ 85 w 718"/>
                <a:gd name="T45" fmla="*/ 117 h 122"/>
                <a:gd name="T46" fmla="*/ 74 w 718"/>
                <a:gd name="T47" fmla="*/ 112 h 122"/>
                <a:gd name="T48" fmla="*/ 63 w 718"/>
                <a:gd name="T49" fmla="*/ 107 h 122"/>
                <a:gd name="T50" fmla="*/ 54 w 718"/>
                <a:gd name="T51" fmla="*/ 101 h 122"/>
                <a:gd name="T52" fmla="*/ 44 w 718"/>
                <a:gd name="T53" fmla="*/ 94 h 122"/>
                <a:gd name="T54" fmla="*/ 35 w 718"/>
                <a:gd name="T55" fmla="*/ 87 h 122"/>
                <a:gd name="T56" fmla="*/ 28 w 718"/>
                <a:gd name="T57" fmla="*/ 78 h 122"/>
                <a:gd name="T58" fmla="*/ 21 w 718"/>
                <a:gd name="T59" fmla="*/ 68 h 122"/>
                <a:gd name="T60" fmla="*/ 15 w 718"/>
                <a:gd name="T61" fmla="*/ 59 h 122"/>
                <a:gd name="T62" fmla="*/ 10 w 718"/>
                <a:gd name="T63" fmla="*/ 48 h 122"/>
                <a:gd name="T64" fmla="*/ 5 w 718"/>
                <a:gd name="T65" fmla="*/ 37 h 122"/>
                <a:gd name="T66" fmla="*/ 3 w 718"/>
                <a:gd name="T67" fmla="*/ 25 h 122"/>
                <a:gd name="T68" fmla="*/ 0 w 718"/>
                <a:gd name="T69" fmla="*/ 12 h 122"/>
                <a:gd name="T70" fmla="*/ 0 w 718"/>
                <a:gd name="T71" fmla="*/ 0 h 122"/>
                <a:gd name="T72" fmla="*/ 718 w 718"/>
                <a:gd name="T73"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18" h="122">
                  <a:moveTo>
                    <a:pt x="718" y="0"/>
                  </a:moveTo>
                  <a:lnTo>
                    <a:pt x="718" y="0"/>
                  </a:lnTo>
                  <a:lnTo>
                    <a:pt x="718" y="12"/>
                  </a:lnTo>
                  <a:lnTo>
                    <a:pt x="716" y="25"/>
                  </a:lnTo>
                  <a:lnTo>
                    <a:pt x="713" y="37"/>
                  </a:lnTo>
                  <a:lnTo>
                    <a:pt x="708" y="48"/>
                  </a:lnTo>
                  <a:lnTo>
                    <a:pt x="704" y="59"/>
                  </a:lnTo>
                  <a:lnTo>
                    <a:pt x="697" y="68"/>
                  </a:lnTo>
                  <a:lnTo>
                    <a:pt x="690" y="78"/>
                  </a:lnTo>
                  <a:lnTo>
                    <a:pt x="683" y="87"/>
                  </a:lnTo>
                  <a:lnTo>
                    <a:pt x="674" y="94"/>
                  </a:lnTo>
                  <a:lnTo>
                    <a:pt x="665" y="101"/>
                  </a:lnTo>
                  <a:lnTo>
                    <a:pt x="655" y="107"/>
                  </a:lnTo>
                  <a:lnTo>
                    <a:pt x="644" y="112"/>
                  </a:lnTo>
                  <a:lnTo>
                    <a:pt x="633" y="117"/>
                  </a:lnTo>
                  <a:lnTo>
                    <a:pt x="621" y="120"/>
                  </a:lnTo>
                  <a:lnTo>
                    <a:pt x="608" y="122"/>
                  </a:lnTo>
                  <a:lnTo>
                    <a:pt x="596" y="122"/>
                  </a:lnTo>
                  <a:lnTo>
                    <a:pt x="122" y="122"/>
                  </a:lnTo>
                  <a:lnTo>
                    <a:pt x="122" y="122"/>
                  </a:lnTo>
                  <a:lnTo>
                    <a:pt x="110" y="122"/>
                  </a:lnTo>
                  <a:lnTo>
                    <a:pt x="98" y="120"/>
                  </a:lnTo>
                  <a:lnTo>
                    <a:pt x="85" y="117"/>
                  </a:lnTo>
                  <a:lnTo>
                    <a:pt x="74" y="112"/>
                  </a:lnTo>
                  <a:lnTo>
                    <a:pt x="63" y="107"/>
                  </a:lnTo>
                  <a:lnTo>
                    <a:pt x="54" y="101"/>
                  </a:lnTo>
                  <a:lnTo>
                    <a:pt x="44" y="94"/>
                  </a:lnTo>
                  <a:lnTo>
                    <a:pt x="35" y="87"/>
                  </a:lnTo>
                  <a:lnTo>
                    <a:pt x="28" y="78"/>
                  </a:lnTo>
                  <a:lnTo>
                    <a:pt x="21" y="68"/>
                  </a:lnTo>
                  <a:lnTo>
                    <a:pt x="15" y="59"/>
                  </a:lnTo>
                  <a:lnTo>
                    <a:pt x="10" y="48"/>
                  </a:lnTo>
                  <a:lnTo>
                    <a:pt x="5" y="37"/>
                  </a:lnTo>
                  <a:lnTo>
                    <a:pt x="3" y="25"/>
                  </a:lnTo>
                  <a:lnTo>
                    <a:pt x="0" y="12"/>
                  </a:lnTo>
                  <a:lnTo>
                    <a:pt x="0" y="0"/>
                  </a:lnTo>
                  <a:lnTo>
                    <a:pt x="718" y="0"/>
                  </a:lnTo>
                  <a:close/>
                </a:path>
              </a:pathLst>
            </a:custGeom>
            <a:solidFill>
              <a:srgbClr val="FF77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11" name="Freeform 1227"/>
            <p:cNvSpPr>
              <a:spLocks/>
            </p:cNvSpPr>
            <p:nvPr/>
          </p:nvSpPr>
          <p:spPr bwMode="auto">
            <a:xfrm>
              <a:off x="4287037" y="-1278747"/>
              <a:ext cx="77787" cy="75891"/>
            </a:xfrm>
            <a:custGeom>
              <a:avLst/>
              <a:gdLst>
                <a:gd name="T0" fmla="*/ 0 w 201"/>
                <a:gd name="T1" fmla="*/ 201 h 201"/>
                <a:gd name="T2" fmla="*/ 0 w 201"/>
                <a:gd name="T3" fmla="*/ 201 h 201"/>
                <a:gd name="T4" fmla="*/ 1 w 201"/>
                <a:gd name="T5" fmla="*/ 180 h 201"/>
                <a:gd name="T6" fmla="*/ 3 w 201"/>
                <a:gd name="T7" fmla="*/ 161 h 201"/>
                <a:gd name="T8" fmla="*/ 8 w 201"/>
                <a:gd name="T9" fmla="*/ 141 h 201"/>
                <a:gd name="T10" fmla="*/ 15 w 201"/>
                <a:gd name="T11" fmla="*/ 123 h 201"/>
                <a:gd name="T12" fmla="*/ 24 w 201"/>
                <a:gd name="T13" fmla="*/ 106 h 201"/>
                <a:gd name="T14" fmla="*/ 34 w 201"/>
                <a:gd name="T15" fmla="*/ 89 h 201"/>
                <a:gd name="T16" fmla="*/ 45 w 201"/>
                <a:gd name="T17" fmla="*/ 73 h 201"/>
                <a:gd name="T18" fmla="*/ 58 w 201"/>
                <a:gd name="T19" fmla="*/ 60 h 201"/>
                <a:gd name="T20" fmla="*/ 73 w 201"/>
                <a:gd name="T21" fmla="*/ 46 h 201"/>
                <a:gd name="T22" fmla="*/ 87 w 201"/>
                <a:gd name="T23" fmla="*/ 35 h 201"/>
                <a:gd name="T24" fmla="*/ 104 w 201"/>
                <a:gd name="T25" fmla="*/ 24 h 201"/>
                <a:gd name="T26" fmla="*/ 121 w 201"/>
                <a:gd name="T27" fmla="*/ 16 h 201"/>
                <a:gd name="T28" fmla="*/ 141 w 201"/>
                <a:gd name="T29" fmla="*/ 10 h 201"/>
                <a:gd name="T30" fmla="*/ 159 w 201"/>
                <a:gd name="T31" fmla="*/ 5 h 201"/>
                <a:gd name="T32" fmla="*/ 180 w 201"/>
                <a:gd name="T33" fmla="*/ 1 h 201"/>
                <a:gd name="T34" fmla="*/ 201 w 201"/>
                <a:gd name="T35" fmla="*/ 0 h 201"/>
                <a:gd name="T36" fmla="*/ 201 w 201"/>
                <a:gd name="T37" fmla="*/ 201 h 201"/>
                <a:gd name="T38" fmla="*/ 0 w 201"/>
                <a:gd name="T39"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1" h="201">
                  <a:moveTo>
                    <a:pt x="0" y="201"/>
                  </a:moveTo>
                  <a:lnTo>
                    <a:pt x="0" y="201"/>
                  </a:lnTo>
                  <a:lnTo>
                    <a:pt x="1" y="180"/>
                  </a:lnTo>
                  <a:lnTo>
                    <a:pt x="3" y="161"/>
                  </a:lnTo>
                  <a:lnTo>
                    <a:pt x="8" y="141"/>
                  </a:lnTo>
                  <a:lnTo>
                    <a:pt x="15" y="123"/>
                  </a:lnTo>
                  <a:lnTo>
                    <a:pt x="24" y="106"/>
                  </a:lnTo>
                  <a:lnTo>
                    <a:pt x="34" y="89"/>
                  </a:lnTo>
                  <a:lnTo>
                    <a:pt x="45" y="73"/>
                  </a:lnTo>
                  <a:lnTo>
                    <a:pt x="58" y="60"/>
                  </a:lnTo>
                  <a:lnTo>
                    <a:pt x="73" y="46"/>
                  </a:lnTo>
                  <a:lnTo>
                    <a:pt x="87" y="35"/>
                  </a:lnTo>
                  <a:lnTo>
                    <a:pt x="104" y="24"/>
                  </a:lnTo>
                  <a:lnTo>
                    <a:pt x="121" y="16"/>
                  </a:lnTo>
                  <a:lnTo>
                    <a:pt x="141" y="10"/>
                  </a:lnTo>
                  <a:lnTo>
                    <a:pt x="159" y="5"/>
                  </a:lnTo>
                  <a:lnTo>
                    <a:pt x="180" y="1"/>
                  </a:lnTo>
                  <a:lnTo>
                    <a:pt x="201" y="0"/>
                  </a:lnTo>
                  <a:lnTo>
                    <a:pt x="201" y="201"/>
                  </a:lnTo>
                  <a:lnTo>
                    <a:pt x="0" y="201"/>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12" name="Freeform 1228"/>
            <p:cNvSpPr>
              <a:spLocks/>
            </p:cNvSpPr>
            <p:nvPr/>
          </p:nvSpPr>
          <p:spPr bwMode="auto">
            <a:xfrm>
              <a:off x="4364824" y="-1278747"/>
              <a:ext cx="75890" cy="75891"/>
            </a:xfrm>
            <a:custGeom>
              <a:avLst/>
              <a:gdLst>
                <a:gd name="T0" fmla="*/ 0 w 200"/>
                <a:gd name="T1" fmla="*/ 0 h 201"/>
                <a:gd name="T2" fmla="*/ 0 w 200"/>
                <a:gd name="T3" fmla="*/ 0 h 201"/>
                <a:gd name="T4" fmla="*/ 19 w 200"/>
                <a:gd name="T5" fmla="*/ 1 h 201"/>
                <a:gd name="T6" fmla="*/ 40 w 200"/>
                <a:gd name="T7" fmla="*/ 5 h 201"/>
                <a:gd name="T8" fmla="*/ 59 w 200"/>
                <a:gd name="T9" fmla="*/ 10 h 201"/>
                <a:gd name="T10" fmla="*/ 78 w 200"/>
                <a:gd name="T11" fmla="*/ 16 h 201"/>
                <a:gd name="T12" fmla="*/ 95 w 200"/>
                <a:gd name="T13" fmla="*/ 24 h 201"/>
                <a:gd name="T14" fmla="*/ 112 w 200"/>
                <a:gd name="T15" fmla="*/ 35 h 201"/>
                <a:gd name="T16" fmla="*/ 127 w 200"/>
                <a:gd name="T17" fmla="*/ 46 h 201"/>
                <a:gd name="T18" fmla="*/ 141 w 200"/>
                <a:gd name="T19" fmla="*/ 60 h 201"/>
                <a:gd name="T20" fmla="*/ 155 w 200"/>
                <a:gd name="T21" fmla="*/ 73 h 201"/>
                <a:gd name="T22" fmla="*/ 166 w 200"/>
                <a:gd name="T23" fmla="*/ 89 h 201"/>
                <a:gd name="T24" fmla="*/ 175 w 200"/>
                <a:gd name="T25" fmla="*/ 106 h 201"/>
                <a:gd name="T26" fmla="*/ 184 w 200"/>
                <a:gd name="T27" fmla="*/ 123 h 201"/>
                <a:gd name="T28" fmla="*/ 191 w 200"/>
                <a:gd name="T29" fmla="*/ 141 h 201"/>
                <a:gd name="T30" fmla="*/ 196 w 200"/>
                <a:gd name="T31" fmla="*/ 161 h 201"/>
                <a:gd name="T32" fmla="*/ 198 w 200"/>
                <a:gd name="T33" fmla="*/ 180 h 201"/>
                <a:gd name="T34" fmla="*/ 200 w 200"/>
                <a:gd name="T35" fmla="*/ 201 h 201"/>
                <a:gd name="T36" fmla="*/ 0 w 200"/>
                <a:gd name="T37" fmla="*/ 201 h 201"/>
                <a:gd name="T38" fmla="*/ 0 w 200"/>
                <a:gd name="T39"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1">
                  <a:moveTo>
                    <a:pt x="0" y="0"/>
                  </a:moveTo>
                  <a:lnTo>
                    <a:pt x="0" y="0"/>
                  </a:lnTo>
                  <a:lnTo>
                    <a:pt x="19" y="1"/>
                  </a:lnTo>
                  <a:lnTo>
                    <a:pt x="40" y="5"/>
                  </a:lnTo>
                  <a:lnTo>
                    <a:pt x="59" y="10"/>
                  </a:lnTo>
                  <a:lnTo>
                    <a:pt x="78" y="16"/>
                  </a:lnTo>
                  <a:lnTo>
                    <a:pt x="95" y="24"/>
                  </a:lnTo>
                  <a:lnTo>
                    <a:pt x="112" y="35"/>
                  </a:lnTo>
                  <a:lnTo>
                    <a:pt x="127" y="46"/>
                  </a:lnTo>
                  <a:lnTo>
                    <a:pt x="141" y="60"/>
                  </a:lnTo>
                  <a:lnTo>
                    <a:pt x="155" y="73"/>
                  </a:lnTo>
                  <a:lnTo>
                    <a:pt x="166" y="89"/>
                  </a:lnTo>
                  <a:lnTo>
                    <a:pt x="175" y="106"/>
                  </a:lnTo>
                  <a:lnTo>
                    <a:pt x="184" y="123"/>
                  </a:lnTo>
                  <a:lnTo>
                    <a:pt x="191" y="141"/>
                  </a:lnTo>
                  <a:lnTo>
                    <a:pt x="196" y="161"/>
                  </a:lnTo>
                  <a:lnTo>
                    <a:pt x="198" y="180"/>
                  </a:lnTo>
                  <a:lnTo>
                    <a:pt x="200" y="201"/>
                  </a:lnTo>
                  <a:lnTo>
                    <a:pt x="0" y="201"/>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13" name="Freeform 1229"/>
            <p:cNvSpPr>
              <a:spLocks/>
            </p:cNvSpPr>
            <p:nvPr/>
          </p:nvSpPr>
          <p:spPr bwMode="auto">
            <a:xfrm>
              <a:off x="4323085" y="-1402068"/>
              <a:ext cx="81582" cy="83480"/>
            </a:xfrm>
            <a:custGeom>
              <a:avLst/>
              <a:gdLst>
                <a:gd name="T0" fmla="*/ 110 w 218"/>
                <a:gd name="T1" fmla="*/ 219 h 219"/>
                <a:gd name="T2" fmla="*/ 132 w 218"/>
                <a:gd name="T3" fmla="*/ 217 h 219"/>
                <a:gd name="T4" fmla="*/ 151 w 218"/>
                <a:gd name="T5" fmla="*/ 211 h 219"/>
                <a:gd name="T6" fmla="*/ 171 w 218"/>
                <a:gd name="T7" fmla="*/ 200 h 219"/>
                <a:gd name="T8" fmla="*/ 187 w 218"/>
                <a:gd name="T9" fmla="*/ 186 h 219"/>
                <a:gd name="T10" fmla="*/ 200 w 218"/>
                <a:gd name="T11" fmla="*/ 170 h 219"/>
                <a:gd name="T12" fmla="*/ 210 w 218"/>
                <a:gd name="T13" fmla="*/ 152 h 219"/>
                <a:gd name="T14" fmla="*/ 216 w 218"/>
                <a:gd name="T15" fmla="*/ 131 h 219"/>
                <a:gd name="T16" fmla="*/ 218 w 218"/>
                <a:gd name="T17" fmla="*/ 110 h 219"/>
                <a:gd name="T18" fmla="*/ 218 w 218"/>
                <a:gd name="T19" fmla="*/ 99 h 219"/>
                <a:gd name="T20" fmla="*/ 213 w 218"/>
                <a:gd name="T21" fmla="*/ 77 h 219"/>
                <a:gd name="T22" fmla="*/ 205 w 218"/>
                <a:gd name="T23" fmla="*/ 57 h 219"/>
                <a:gd name="T24" fmla="*/ 194 w 218"/>
                <a:gd name="T25" fmla="*/ 40 h 219"/>
                <a:gd name="T26" fmla="*/ 179 w 218"/>
                <a:gd name="T27" fmla="*/ 25 h 219"/>
                <a:gd name="T28" fmla="*/ 161 w 218"/>
                <a:gd name="T29" fmla="*/ 13 h 219"/>
                <a:gd name="T30" fmla="*/ 141 w 218"/>
                <a:gd name="T31" fmla="*/ 6 h 219"/>
                <a:gd name="T32" fmla="*/ 121 w 218"/>
                <a:gd name="T33" fmla="*/ 1 h 219"/>
                <a:gd name="T34" fmla="*/ 110 w 218"/>
                <a:gd name="T35" fmla="*/ 0 h 219"/>
                <a:gd name="T36" fmla="*/ 87 w 218"/>
                <a:gd name="T37" fmla="*/ 2 h 219"/>
                <a:gd name="T38" fmla="*/ 67 w 218"/>
                <a:gd name="T39" fmla="*/ 10 h 219"/>
                <a:gd name="T40" fmla="*/ 48 w 218"/>
                <a:gd name="T41" fmla="*/ 19 h 219"/>
                <a:gd name="T42" fmla="*/ 32 w 218"/>
                <a:gd name="T43" fmla="*/ 33 h 219"/>
                <a:gd name="T44" fmla="*/ 18 w 218"/>
                <a:gd name="T45" fmla="*/ 49 h 219"/>
                <a:gd name="T46" fmla="*/ 9 w 218"/>
                <a:gd name="T47" fmla="*/ 67 h 219"/>
                <a:gd name="T48" fmla="*/ 2 w 218"/>
                <a:gd name="T49" fmla="*/ 88 h 219"/>
                <a:gd name="T50" fmla="*/ 0 w 218"/>
                <a:gd name="T51" fmla="*/ 110 h 219"/>
                <a:gd name="T52" fmla="*/ 0 w 218"/>
                <a:gd name="T53" fmla="*/ 120 h 219"/>
                <a:gd name="T54" fmla="*/ 5 w 218"/>
                <a:gd name="T55" fmla="*/ 142 h 219"/>
                <a:gd name="T56" fmla="*/ 13 w 218"/>
                <a:gd name="T57" fmla="*/ 162 h 219"/>
                <a:gd name="T58" fmla="*/ 24 w 218"/>
                <a:gd name="T59" fmla="*/ 179 h 219"/>
                <a:gd name="T60" fmla="*/ 40 w 218"/>
                <a:gd name="T61" fmla="*/ 194 h 219"/>
                <a:gd name="T62" fmla="*/ 57 w 218"/>
                <a:gd name="T63" fmla="*/ 206 h 219"/>
                <a:gd name="T64" fmla="*/ 77 w 218"/>
                <a:gd name="T65" fmla="*/ 214 h 219"/>
                <a:gd name="T66" fmla="*/ 98 w 218"/>
                <a:gd name="T67" fmla="*/ 218 h 219"/>
                <a:gd name="T68" fmla="*/ 110 w 218"/>
                <a:gd name="T69" fmla="*/ 219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8" h="219">
                  <a:moveTo>
                    <a:pt x="110" y="219"/>
                  </a:moveTo>
                  <a:lnTo>
                    <a:pt x="110" y="219"/>
                  </a:lnTo>
                  <a:lnTo>
                    <a:pt x="121" y="218"/>
                  </a:lnTo>
                  <a:lnTo>
                    <a:pt x="132" y="217"/>
                  </a:lnTo>
                  <a:lnTo>
                    <a:pt x="141" y="214"/>
                  </a:lnTo>
                  <a:lnTo>
                    <a:pt x="151" y="211"/>
                  </a:lnTo>
                  <a:lnTo>
                    <a:pt x="161" y="206"/>
                  </a:lnTo>
                  <a:lnTo>
                    <a:pt x="171" y="200"/>
                  </a:lnTo>
                  <a:lnTo>
                    <a:pt x="179" y="194"/>
                  </a:lnTo>
                  <a:lnTo>
                    <a:pt x="187" y="186"/>
                  </a:lnTo>
                  <a:lnTo>
                    <a:pt x="194" y="179"/>
                  </a:lnTo>
                  <a:lnTo>
                    <a:pt x="200" y="170"/>
                  </a:lnTo>
                  <a:lnTo>
                    <a:pt x="205" y="162"/>
                  </a:lnTo>
                  <a:lnTo>
                    <a:pt x="210" y="152"/>
                  </a:lnTo>
                  <a:lnTo>
                    <a:pt x="213" y="142"/>
                  </a:lnTo>
                  <a:lnTo>
                    <a:pt x="216" y="131"/>
                  </a:lnTo>
                  <a:lnTo>
                    <a:pt x="218" y="120"/>
                  </a:lnTo>
                  <a:lnTo>
                    <a:pt x="218" y="110"/>
                  </a:lnTo>
                  <a:lnTo>
                    <a:pt x="218" y="110"/>
                  </a:lnTo>
                  <a:lnTo>
                    <a:pt x="218" y="99"/>
                  </a:lnTo>
                  <a:lnTo>
                    <a:pt x="216" y="88"/>
                  </a:lnTo>
                  <a:lnTo>
                    <a:pt x="213" y="77"/>
                  </a:lnTo>
                  <a:lnTo>
                    <a:pt x="210" y="67"/>
                  </a:lnTo>
                  <a:lnTo>
                    <a:pt x="205" y="57"/>
                  </a:lnTo>
                  <a:lnTo>
                    <a:pt x="200" y="49"/>
                  </a:lnTo>
                  <a:lnTo>
                    <a:pt x="194" y="40"/>
                  </a:lnTo>
                  <a:lnTo>
                    <a:pt x="187" y="33"/>
                  </a:lnTo>
                  <a:lnTo>
                    <a:pt x="179" y="25"/>
                  </a:lnTo>
                  <a:lnTo>
                    <a:pt x="171" y="19"/>
                  </a:lnTo>
                  <a:lnTo>
                    <a:pt x="161" y="13"/>
                  </a:lnTo>
                  <a:lnTo>
                    <a:pt x="151" y="10"/>
                  </a:lnTo>
                  <a:lnTo>
                    <a:pt x="141" y="6"/>
                  </a:lnTo>
                  <a:lnTo>
                    <a:pt x="132" y="2"/>
                  </a:lnTo>
                  <a:lnTo>
                    <a:pt x="121" y="1"/>
                  </a:lnTo>
                  <a:lnTo>
                    <a:pt x="110" y="0"/>
                  </a:lnTo>
                  <a:lnTo>
                    <a:pt x="110" y="0"/>
                  </a:lnTo>
                  <a:lnTo>
                    <a:pt x="98" y="1"/>
                  </a:lnTo>
                  <a:lnTo>
                    <a:pt x="87" y="2"/>
                  </a:lnTo>
                  <a:lnTo>
                    <a:pt x="77" y="6"/>
                  </a:lnTo>
                  <a:lnTo>
                    <a:pt x="67" y="10"/>
                  </a:lnTo>
                  <a:lnTo>
                    <a:pt x="57" y="13"/>
                  </a:lnTo>
                  <a:lnTo>
                    <a:pt x="48" y="19"/>
                  </a:lnTo>
                  <a:lnTo>
                    <a:pt x="40" y="25"/>
                  </a:lnTo>
                  <a:lnTo>
                    <a:pt x="32" y="33"/>
                  </a:lnTo>
                  <a:lnTo>
                    <a:pt x="24" y="40"/>
                  </a:lnTo>
                  <a:lnTo>
                    <a:pt x="18" y="49"/>
                  </a:lnTo>
                  <a:lnTo>
                    <a:pt x="13" y="57"/>
                  </a:lnTo>
                  <a:lnTo>
                    <a:pt x="9" y="67"/>
                  </a:lnTo>
                  <a:lnTo>
                    <a:pt x="5" y="77"/>
                  </a:lnTo>
                  <a:lnTo>
                    <a:pt x="2" y="88"/>
                  </a:lnTo>
                  <a:lnTo>
                    <a:pt x="0" y="99"/>
                  </a:lnTo>
                  <a:lnTo>
                    <a:pt x="0" y="110"/>
                  </a:lnTo>
                  <a:lnTo>
                    <a:pt x="0" y="110"/>
                  </a:lnTo>
                  <a:lnTo>
                    <a:pt x="0" y="120"/>
                  </a:lnTo>
                  <a:lnTo>
                    <a:pt x="2" y="131"/>
                  </a:lnTo>
                  <a:lnTo>
                    <a:pt x="5" y="142"/>
                  </a:lnTo>
                  <a:lnTo>
                    <a:pt x="9" y="152"/>
                  </a:lnTo>
                  <a:lnTo>
                    <a:pt x="13" y="162"/>
                  </a:lnTo>
                  <a:lnTo>
                    <a:pt x="18" y="170"/>
                  </a:lnTo>
                  <a:lnTo>
                    <a:pt x="24" y="179"/>
                  </a:lnTo>
                  <a:lnTo>
                    <a:pt x="32" y="186"/>
                  </a:lnTo>
                  <a:lnTo>
                    <a:pt x="40" y="194"/>
                  </a:lnTo>
                  <a:lnTo>
                    <a:pt x="48" y="200"/>
                  </a:lnTo>
                  <a:lnTo>
                    <a:pt x="57" y="206"/>
                  </a:lnTo>
                  <a:lnTo>
                    <a:pt x="67" y="211"/>
                  </a:lnTo>
                  <a:lnTo>
                    <a:pt x="77" y="214"/>
                  </a:lnTo>
                  <a:lnTo>
                    <a:pt x="87" y="217"/>
                  </a:lnTo>
                  <a:lnTo>
                    <a:pt x="98" y="218"/>
                  </a:lnTo>
                  <a:lnTo>
                    <a:pt x="110" y="219"/>
                  </a:lnTo>
                  <a:lnTo>
                    <a:pt x="110" y="219"/>
                  </a:lnTo>
                  <a:close/>
                </a:path>
              </a:pathLst>
            </a:custGeom>
            <a:solidFill>
              <a:srgbClr val="FFAF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14" name="Freeform 1230"/>
            <p:cNvSpPr>
              <a:spLocks/>
            </p:cNvSpPr>
            <p:nvPr/>
          </p:nvSpPr>
          <p:spPr bwMode="auto">
            <a:xfrm>
              <a:off x="4338263" y="-1386891"/>
              <a:ext cx="28459" cy="28459"/>
            </a:xfrm>
            <a:custGeom>
              <a:avLst/>
              <a:gdLst>
                <a:gd name="T0" fmla="*/ 37 w 75"/>
                <a:gd name="T1" fmla="*/ 75 h 75"/>
                <a:gd name="T2" fmla="*/ 37 w 75"/>
                <a:gd name="T3" fmla="*/ 75 h 75"/>
                <a:gd name="T4" fmla="*/ 45 w 75"/>
                <a:gd name="T5" fmla="*/ 74 h 75"/>
                <a:gd name="T6" fmla="*/ 52 w 75"/>
                <a:gd name="T7" fmla="*/ 72 h 75"/>
                <a:gd name="T8" fmla="*/ 58 w 75"/>
                <a:gd name="T9" fmla="*/ 69 h 75"/>
                <a:gd name="T10" fmla="*/ 64 w 75"/>
                <a:gd name="T11" fmla="*/ 64 h 75"/>
                <a:gd name="T12" fmla="*/ 69 w 75"/>
                <a:gd name="T13" fmla="*/ 58 h 75"/>
                <a:gd name="T14" fmla="*/ 73 w 75"/>
                <a:gd name="T15" fmla="*/ 52 h 75"/>
                <a:gd name="T16" fmla="*/ 74 w 75"/>
                <a:gd name="T17" fmla="*/ 45 h 75"/>
                <a:gd name="T18" fmla="*/ 75 w 75"/>
                <a:gd name="T19" fmla="*/ 38 h 75"/>
                <a:gd name="T20" fmla="*/ 75 w 75"/>
                <a:gd name="T21" fmla="*/ 38 h 75"/>
                <a:gd name="T22" fmla="*/ 74 w 75"/>
                <a:gd name="T23" fmla="*/ 30 h 75"/>
                <a:gd name="T24" fmla="*/ 73 w 75"/>
                <a:gd name="T25" fmla="*/ 23 h 75"/>
                <a:gd name="T26" fmla="*/ 69 w 75"/>
                <a:gd name="T27" fmla="*/ 17 h 75"/>
                <a:gd name="T28" fmla="*/ 64 w 75"/>
                <a:gd name="T29" fmla="*/ 11 h 75"/>
                <a:gd name="T30" fmla="*/ 58 w 75"/>
                <a:gd name="T31" fmla="*/ 6 h 75"/>
                <a:gd name="T32" fmla="*/ 52 w 75"/>
                <a:gd name="T33" fmla="*/ 3 h 75"/>
                <a:gd name="T34" fmla="*/ 45 w 75"/>
                <a:gd name="T35" fmla="*/ 1 h 75"/>
                <a:gd name="T36" fmla="*/ 37 w 75"/>
                <a:gd name="T37" fmla="*/ 0 h 75"/>
                <a:gd name="T38" fmla="*/ 37 w 75"/>
                <a:gd name="T39" fmla="*/ 0 h 75"/>
                <a:gd name="T40" fmla="*/ 30 w 75"/>
                <a:gd name="T41" fmla="*/ 1 h 75"/>
                <a:gd name="T42" fmla="*/ 23 w 75"/>
                <a:gd name="T43" fmla="*/ 3 h 75"/>
                <a:gd name="T44" fmla="*/ 17 w 75"/>
                <a:gd name="T45" fmla="*/ 6 h 75"/>
                <a:gd name="T46" fmla="*/ 11 w 75"/>
                <a:gd name="T47" fmla="*/ 11 h 75"/>
                <a:gd name="T48" fmla="*/ 6 w 75"/>
                <a:gd name="T49" fmla="*/ 17 h 75"/>
                <a:gd name="T50" fmla="*/ 3 w 75"/>
                <a:gd name="T51" fmla="*/ 23 h 75"/>
                <a:gd name="T52" fmla="*/ 1 w 75"/>
                <a:gd name="T53" fmla="*/ 30 h 75"/>
                <a:gd name="T54" fmla="*/ 0 w 75"/>
                <a:gd name="T55" fmla="*/ 38 h 75"/>
                <a:gd name="T56" fmla="*/ 0 w 75"/>
                <a:gd name="T57" fmla="*/ 38 h 75"/>
                <a:gd name="T58" fmla="*/ 1 w 75"/>
                <a:gd name="T59" fmla="*/ 45 h 75"/>
                <a:gd name="T60" fmla="*/ 3 w 75"/>
                <a:gd name="T61" fmla="*/ 52 h 75"/>
                <a:gd name="T62" fmla="*/ 6 w 75"/>
                <a:gd name="T63" fmla="*/ 58 h 75"/>
                <a:gd name="T64" fmla="*/ 11 w 75"/>
                <a:gd name="T65" fmla="*/ 64 h 75"/>
                <a:gd name="T66" fmla="*/ 17 w 75"/>
                <a:gd name="T67" fmla="*/ 69 h 75"/>
                <a:gd name="T68" fmla="*/ 23 w 75"/>
                <a:gd name="T69" fmla="*/ 72 h 75"/>
                <a:gd name="T70" fmla="*/ 30 w 75"/>
                <a:gd name="T71" fmla="*/ 74 h 75"/>
                <a:gd name="T72" fmla="*/ 37 w 75"/>
                <a:gd name="T73" fmla="*/ 75 h 75"/>
                <a:gd name="T74" fmla="*/ 37 w 75"/>
                <a:gd name="T7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5" h="75">
                  <a:moveTo>
                    <a:pt x="37" y="75"/>
                  </a:moveTo>
                  <a:lnTo>
                    <a:pt x="37" y="75"/>
                  </a:lnTo>
                  <a:lnTo>
                    <a:pt x="45" y="74"/>
                  </a:lnTo>
                  <a:lnTo>
                    <a:pt x="52" y="72"/>
                  </a:lnTo>
                  <a:lnTo>
                    <a:pt x="58" y="69"/>
                  </a:lnTo>
                  <a:lnTo>
                    <a:pt x="64" y="64"/>
                  </a:lnTo>
                  <a:lnTo>
                    <a:pt x="69" y="58"/>
                  </a:lnTo>
                  <a:lnTo>
                    <a:pt x="73" y="52"/>
                  </a:lnTo>
                  <a:lnTo>
                    <a:pt x="74" y="45"/>
                  </a:lnTo>
                  <a:lnTo>
                    <a:pt x="75" y="38"/>
                  </a:lnTo>
                  <a:lnTo>
                    <a:pt x="75" y="38"/>
                  </a:lnTo>
                  <a:lnTo>
                    <a:pt x="74" y="30"/>
                  </a:lnTo>
                  <a:lnTo>
                    <a:pt x="73" y="23"/>
                  </a:lnTo>
                  <a:lnTo>
                    <a:pt x="69" y="17"/>
                  </a:lnTo>
                  <a:lnTo>
                    <a:pt x="64" y="11"/>
                  </a:lnTo>
                  <a:lnTo>
                    <a:pt x="58" y="6"/>
                  </a:lnTo>
                  <a:lnTo>
                    <a:pt x="52" y="3"/>
                  </a:lnTo>
                  <a:lnTo>
                    <a:pt x="45" y="1"/>
                  </a:lnTo>
                  <a:lnTo>
                    <a:pt x="37" y="0"/>
                  </a:lnTo>
                  <a:lnTo>
                    <a:pt x="37" y="0"/>
                  </a:lnTo>
                  <a:lnTo>
                    <a:pt x="30" y="1"/>
                  </a:lnTo>
                  <a:lnTo>
                    <a:pt x="23" y="3"/>
                  </a:lnTo>
                  <a:lnTo>
                    <a:pt x="17" y="6"/>
                  </a:lnTo>
                  <a:lnTo>
                    <a:pt x="11" y="11"/>
                  </a:lnTo>
                  <a:lnTo>
                    <a:pt x="6" y="17"/>
                  </a:lnTo>
                  <a:lnTo>
                    <a:pt x="3" y="23"/>
                  </a:lnTo>
                  <a:lnTo>
                    <a:pt x="1" y="30"/>
                  </a:lnTo>
                  <a:lnTo>
                    <a:pt x="0" y="38"/>
                  </a:lnTo>
                  <a:lnTo>
                    <a:pt x="0" y="38"/>
                  </a:lnTo>
                  <a:lnTo>
                    <a:pt x="1" y="45"/>
                  </a:lnTo>
                  <a:lnTo>
                    <a:pt x="3" y="52"/>
                  </a:lnTo>
                  <a:lnTo>
                    <a:pt x="6" y="58"/>
                  </a:lnTo>
                  <a:lnTo>
                    <a:pt x="11" y="64"/>
                  </a:lnTo>
                  <a:lnTo>
                    <a:pt x="17" y="69"/>
                  </a:lnTo>
                  <a:lnTo>
                    <a:pt x="23" y="72"/>
                  </a:lnTo>
                  <a:lnTo>
                    <a:pt x="30" y="74"/>
                  </a:lnTo>
                  <a:lnTo>
                    <a:pt x="37" y="75"/>
                  </a:lnTo>
                  <a:lnTo>
                    <a:pt x="37" y="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15" name="Rectangle 1231"/>
            <p:cNvSpPr>
              <a:spLocks noChangeArrowheads="1"/>
            </p:cNvSpPr>
            <p:nvPr/>
          </p:nvSpPr>
          <p:spPr bwMode="auto">
            <a:xfrm>
              <a:off x="4915028" y="-1396377"/>
              <a:ext cx="24665" cy="17075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16" name="Rectangle 1232"/>
            <p:cNvSpPr>
              <a:spLocks noChangeArrowheads="1"/>
            </p:cNvSpPr>
            <p:nvPr/>
          </p:nvSpPr>
          <p:spPr bwMode="auto">
            <a:xfrm>
              <a:off x="5761200" y="-1212343"/>
              <a:ext cx="45534" cy="318738"/>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18" name="Freeform 1235"/>
            <p:cNvSpPr>
              <a:spLocks/>
            </p:cNvSpPr>
            <p:nvPr/>
          </p:nvSpPr>
          <p:spPr bwMode="auto">
            <a:xfrm>
              <a:off x="8123279" y="-942932"/>
              <a:ext cx="880326" cy="559690"/>
            </a:xfrm>
            <a:custGeom>
              <a:avLst/>
              <a:gdLst>
                <a:gd name="T0" fmla="*/ 0 w 2319"/>
                <a:gd name="T1" fmla="*/ 1478 h 1478"/>
                <a:gd name="T2" fmla="*/ 0 w 2319"/>
                <a:gd name="T3" fmla="*/ 1478 h 1478"/>
                <a:gd name="T4" fmla="*/ 4 w 2319"/>
                <a:gd name="T5" fmla="*/ 1475 h 1478"/>
                <a:gd name="T6" fmla="*/ 10 w 2319"/>
                <a:gd name="T7" fmla="*/ 1467 h 1478"/>
                <a:gd name="T8" fmla="*/ 28 w 2319"/>
                <a:gd name="T9" fmla="*/ 1442 h 1478"/>
                <a:gd name="T10" fmla="*/ 53 w 2319"/>
                <a:gd name="T11" fmla="*/ 1403 h 1478"/>
                <a:gd name="T12" fmla="*/ 82 w 2319"/>
                <a:gd name="T13" fmla="*/ 1354 h 1478"/>
                <a:gd name="T14" fmla="*/ 154 w 2319"/>
                <a:gd name="T15" fmla="*/ 1233 h 1478"/>
                <a:gd name="T16" fmla="*/ 233 w 2319"/>
                <a:gd name="T17" fmla="*/ 1097 h 1478"/>
                <a:gd name="T18" fmla="*/ 380 w 2319"/>
                <a:gd name="T19" fmla="*/ 842 h 1478"/>
                <a:gd name="T20" fmla="*/ 444 w 2319"/>
                <a:gd name="T21" fmla="*/ 726 h 1478"/>
                <a:gd name="T22" fmla="*/ 988 w 2319"/>
                <a:gd name="T23" fmla="*/ 692 h 1478"/>
                <a:gd name="T24" fmla="*/ 1332 w 2319"/>
                <a:gd name="T25" fmla="*/ 257 h 1478"/>
                <a:gd name="T26" fmla="*/ 2133 w 2319"/>
                <a:gd name="T27" fmla="*/ 0 h 1478"/>
                <a:gd name="T28" fmla="*/ 2319 w 2319"/>
                <a:gd name="T29" fmla="*/ 999 h 1478"/>
                <a:gd name="T30" fmla="*/ 1646 w 2319"/>
                <a:gd name="T31" fmla="*/ 1253 h 1478"/>
                <a:gd name="T32" fmla="*/ 0 w 2319"/>
                <a:gd name="T33" fmla="*/ 1478 h 1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19" h="1478">
                  <a:moveTo>
                    <a:pt x="0" y="1478"/>
                  </a:moveTo>
                  <a:lnTo>
                    <a:pt x="0" y="1478"/>
                  </a:lnTo>
                  <a:lnTo>
                    <a:pt x="4" y="1475"/>
                  </a:lnTo>
                  <a:lnTo>
                    <a:pt x="10" y="1467"/>
                  </a:lnTo>
                  <a:lnTo>
                    <a:pt x="28" y="1442"/>
                  </a:lnTo>
                  <a:lnTo>
                    <a:pt x="53" y="1403"/>
                  </a:lnTo>
                  <a:lnTo>
                    <a:pt x="82" y="1354"/>
                  </a:lnTo>
                  <a:lnTo>
                    <a:pt x="154" y="1233"/>
                  </a:lnTo>
                  <a:lnTo>
                    <a:pt x="233" y="1097"/>
                  </a:lnTo>
                  <a:lnTo>
                    <a:pt x="380" y="842"/>
                  </a:lnTo>
                  <a:lnTo>
                    <a:pt x="444" y="726"/>
                  </a:lnTo>
                  <a:lnTo>
                    <a:pt x="988" y="692"/>
                  </a:lnTo>
                  <a:lnTo>
                    <a:pt x="1332" y="257"/>
                  </a:lnTo>
                  <a:lnTo>
                    <a:pt x="2133" y="0"/>
                  </a:lnTo>
                  <a:lnTo>
                    <a:pt x="2319" y="999"/>
                  </a:lnTo>
                  <a:lnTo>
                    <a:pt x="1646" y="1253"/>
                  </a:lnTo>
                  <a:lnTo>
                    <a:pt x="0" y="147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19" name="Freeform 1237"/>
            <p:cNvSpPr>
              <a:spLocks/>
            </p:cNvSpPr>
            <p:nvPr userDrawn="1"/>
          </p:nvSpPr>
          <p:spPr bwMode="auto">
            <a:xfrm>
              <a:off x="8193478" y="-1117480"/>
              <a:ext cx="950522" cy="734237"/>
            </a:xfrm>
            <a:custGeom>
              <a:avLst/>
              <a:gdLst>
                <a:gd name="T0" fmla="*/ 0 w 2504"/>
                <a:gd name="T1" fmla="*/ 1873 h 1938"/>
                <a:gd name="T2" fmla="*/ 457 w 2504"/>
                <a:gd name="T3" fmla="*/ 1531 h 1938"/>
                <a:gd name="T4" fmla="*/ 1402 w 2504"/>
                <a:gd name="T5" fmla="*/ 1400 h 1938"/>
                <a:gd name="T6" fmla="*/ 1531 w 2504"/>
                <a:gd name="T7" fmla="*/ 841 h 1938"/>
                <a:gd name="T8" fmla="*/ 1874 w 2504"/>
                <a:gd name="T9" fmla="*/ 250 h 1938"/>
                <a:gd name="T10" fmla="*/ 2504 w 2504"/>
                <a:gd name="T11" fmla="*/ 0 h 1938"/>
                <a:gd name="T12" fmla="*/ 2504 w 2504"/>
                <a:gd name="T13" fmla="*/ 1938 h 1938"/>
                <a:gd name="T14" fmla="*/ 0 w 2504"/>
                <a:gd name="T15" fmla="*/ 1873 h 19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4" h="1938">
                  <a:moveTo>
                    <a:pt x="0" y="1873"/>
                  </a:moveTo>
                  <a:lnTo>
                    <a:pt x="457" y="1531"/>
                  </a:lnTo>
                  <a:lnTo>
                    <a:pt x="1402" y="1400"/>
                  </a:lnTo>
                  <a:lnTo>
                    <a:pt x="1531" y="841"/>
                  </a:lnTo>
                  <a:lnTo>
                    <a:pt x="1874" y="250"/>
                  </a:lnTo>
                  <a:lnTo>
                    <a:pt x="2504" y="0"/>
                  </a:lnTo>
                  <a:lnTo>
                    <a:pt x="2504" y="1938"/>
                  </a:lnTo>
                  <a:lnTo>
                    <a:pt x="0" y="187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nvGrpSpPr>
            <p:cNvPr id="220" name="그룹 219"/>
            <p:cNvGrpSpPr/>
            <p:nvPr/>
          </p:nvGrpSpPr>
          <p:grpSpPr>
            <a:xfrm>
              <a:off x="8193478" y="-1117480"/>
              <a:ext cx="950523" cy="734237"/>
              <a:chOff x="5059419" y="288919"/>
              <a:chExt cx="795343" cy="614368"/>
            </a:xfrm>
          </p:grpSpPr>
          <p:sp>
            <p:nvSpPr>
              <p:cNvPr id="481" name="Freeform 1234"/>
              <p:cNvSpPr>
                <a:spLocks/>
              </p:cNvSpPr>
              <p:nvPr/>
            </p:nvSpPr>
            <p:spPr bwMode="auto">
              <a:xfrm rot="326838">
                <a:off x="5190208" y="408941"/>
                <a:ext cx="511291" cy="468317"/>
              </a:xfrm>
              <a:custGeom>
                <a:avLst/>
                <a:gdLst>
                  <a:gd name="T0" fmla="*/ 0 w 2319"/>
                  <a:gd name="T1" fmla="*/ 1478 h 1478"/>
                  <a:gd name="T2" fmla="*/ 0 w 2319"/>
                  <a:gd name="T3" fmla="*/ 1478 h 1478"/>
                  <a:gd name="T4" fmla="*/ 4 w 2319"/>
                  <a:gd name="T5" fmla="*/ 1475 h 1478"/>
                  <a:gd name="T6" fmla="*/ 10 w 2319"/>
                  <a:gd name="T7" fmla="*/ 1467 h 1478"/>
                  <a:gd name="T8" fmla="*/ 28 w 2319"/>
                  <a:gd name="T9" fmla="*/ 1442 h 1478"/>
                  <a:gd name="T10" fmla="*/ 53 w 2319"/>
                  <a:gd name="T11" fmla="*/ 1403 h 1478"/>
                  <a:gd name="T12" fmla="*/ 82 w 2319"/>
                  <a:gd name="T13" fmla="*/ 1354 h 1478"/>
                  <a:gd name="T14" fmla="*/ 154 w 2319"/>
                  <a:gd name="T15" fmla="*/ 1233 h 1478"/>
                  <a:gd name="T16" fmla="*/ 233 w 2319"/>
                  <a:gd name="T17" fmla="*/ 1097 h 1478"/>
                  <a:gd name="T18" fmla="*/ 380 w 2319"/>
                  <a:gd name="T19" fmla="*/ 842 h 1478"/>
                  <a:gd name="T20" fmla="*/ 444 w 2319"/>
                  <a:gd name="T21" fmla="*/ 726 h 1478"/>
                  <a:gd name="T22" fmla="*/ 988 w 2319"/>
                  <a:gd name="T23" fmla="*/ 692 h 1478"/>
                  <a:gd name="T24" fmla="*/ 1332 w 2319"/>
                  <a:gd name="T25" fmla="*/ 257 h 1478"/>
                  <a:gd name="T26" fmla="*/ 2133 w 2319"/>
                  <a:gd name="T27" fmla="*/ 0 h 1478"/>
                  <a:gd name="T28" fmla="*/ 2319 w 2319"/>
                  <a:gd name="T29" fmla="*/ 999 h 1478"/>
                  <a:gd name="T30" fmla="*/ 1646 w 2319"/>
                  <a:gd name="T31" fmla="*/ 1253 h 1478"/>
                  <a:gd name="T32" fmla="*/ 0 w 2319"/>
                  <a:gd name="T33" fmla="*/ 1478 h 1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19" h="1478">
                    <a:moveTo>
                      <a:pt x="0" y="1478"/>
                    </a:moveTo>
                    <a:lnTo>
                      <a:pt x="0" y="1478"/>
                    </a:lnTo>
                    <a:lnTo>
                      <a:pt x="4" y="1475"/>
                    </a:lnTo>
                    <a:lnTo>
                      <a:pt x="10" y="1467"/>
                    </a:lnTo>
                    <a:lnTo>
                      <a:pt x="28" y="1442"/>
                    </a:lnTo>
                    <a:lnTo>
                      <a:pt x="53" y="1403"/>
                    </a:lnTo>
                    <a:lnTo>
                      <a:pt x="82" y="1354"/>
                    </a:lnTo>
                    <a:lnTo>
                      <a:pt x="154" y="1233"/>
                    </a:lnTo>
                    <a:lnTo>
                      <a:pt x="233" y="1097"/>
                    </a:lnTo>
                    <a:lnTo>
                      <a:pt x="380" y="842"/>
                    </a:lnTo>
                    <a:lnTo>
                      <a:pt x="444" y="726"/>
                    </a:lnTo>
                    <a:lnTo>
                      <a:pt x="988" y="692"/>
                    </a:lnTo>
                    <a:lnTo>
                      <a:pt x="1332" y="257"/>
                    </a:lnTo>
                    <a:lnTo>
                      <a:pt x="2133" y="0"/>
                    </a:lnTo>
                    <a:lnTo>
                      <a:pt x="2319" y="999"/>
                    </a:lnTo>
                    <a:lnTo>
                      <a:pt x="1646" y="1253"/>
                    </a:lnTo>
                    <a:lnTo>
                      <a:pt x="0" y="1478"/>
                    </a:lnTo>
                    <a:close/>
                  </a:path>
                </a:pathLst>
              </a:custGeom>
              <a:solidFill>
                <a:srgbClr val="7B65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2" name="Freeform 1236"/>
              <p:cNvSpPr>
                <a:spLocks/>
              </p:cNvSpPr>
              <p:nvPr/>
            </p:nvSpPr>
            <p:spPr bwMode="auto">
              <a:xfrm>
                <a:off x="5059419" y="288919"/>
                <a:ext cx="795343" cy="614368"/>
              </a:xfrm>
              <a:custGeom>
                <a:avLst/>
                <a:gdLst>
                  <a:gd name="T0" fmla="*/ 0 w 2504"/>
                  <a:gd name="T1" fmla="*/ 1873 h 1938"/>
                  <a:gd name="T2" fmla="*/ 457 w 2504"/>
                  <a:gd name="T3" fmla="*/ 1531 h 1938"/>
                  <a:gd name="T4" fmla="*/ 1402 w 2504"/>
                  <a:gd name="T5" fmla="*/ 1400 h 1938"/>
                  <a:gd name="T6" fmla="*/ 1531 w 2504"/>
                  <a:gd name="T7" fmla="*/ 841 h 1938"/>
                  <a:gd name="T8" fmla="*/ 1874 w 2504"/>
                  <a:gd name="T9" fmla="*/ 250 h 1938"/>
                  <a:gd name="T10" fmla="*/ 2504 w 2504"/>
                  <a:gd name="T11" fmla="*/ 0 h 1938"/>
                  <a:gd name="T12" fmla="*/ 2504 w 2504"/>
                  <a:gd name="T13" fmla="*/ 1938 h 1938"/>
                  <a:gd name="T14" fmla="*/ 0 w 2504"/>
                  <a:gd name="T15" fmla="*/ 1873 h 19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4" h="1938">
                    <a:moveTo>
                      <a:pt x="0" y="1873"/>
                    </a:moveTo>
                    <a:lnTo>
                      <a:pt x="457" y="1531"/>
                    </a:lnTo>
                    <a:lnTo>
                      <a:pt x="1402" y="1400"/>
                    </a:lnTo>
                    <a:lnTo>
                      <a:pt x="1531" y="841"/>
                    </a:lnTo>
                    <a:lnTo>
                      <a:pt x="1874" y="250"/>
                    </a:lnTo>
                    <a:lnTo>
                      <a:pt x="2504" y="0"/>
                    </a:lnTo>
                    <a:lnTo>
                      <a:pt x="2504" y="1938"/>
                    </a:lnTo>
                    <a:lnTo>
                      <a:pt x="0" y="1873"/>
                    </a:lnTo>
                    <a:close/>
                  </a:path>
                </a:pathLst>
              </a:custGeom>
              <a:solidFill>
                <a:srgbClr val="B8A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3" name="Freeform 1238"/>
              <p:cNvSpPr>
                <a:spLocks/>
              </p:cNvSpPr>
              <p:nvPr/>
            </p:nvSpPr>
            <p:spPr bwMode="auto">
              <a:xfrm>
                <a:off x="5737286" y="401632"/>
                <a:ext cx="84138" cy="42863"/>
              </a:xfrm>
              <a:custGeom>
                <a:avLst/>
                <a:gdLst>
                  <a:gd name="T0" fmla="*/ 134 w 268"/>
                  <a:gd name="T1" fmla="*/ 0 h 134"/>
                  <a:gd name="T2" fmla="*/ 134 w 268"/>
                  <a:gd name="T3" fmla="*/ 0 h 134"/>
                  <a:gd name="T4" fmla="*/ 120 w 268"/>
                  <a:gd name="T5" fmla="*/ 1 h 134"/>
                  <a:gd name="T6" fmla="*/ 107 w 268"/>
                  <a:gd name="T7" fmla="*/ 2 h 134"/>
                  <a:gd name="T8" fmla="*/ 94 w 268"/>
                  <a:gd name="T9" fmla="*/ 6 h 134"/>
                  <a:gd name="T10" fmla="*/ 82 w 268"/>
                  <a:gd name="T11" fmla="*/ 11 h 134"/>
                  <a:gd name="T12" fmla="*/ 70 w 268"/>
                  <a:gd name="T13" fmla="*/ 16 h 134"/>
                  <a:gd name="T14" fmla="*/ 59 w 268"/>
                  <a:gd name="T15" fmla="*/ 23 h 134"/>
                  <a:gd name="T16" fmla="*/ 49 w 268"/>
                  <a:gd name="T17" fmla="*/ 30 h 134"/>
                  <a:gd name="T18" fmla="*/ 39 w 268"/>
                  <a:gd name="T19" fmla="*/ 39 h 134"/>
                  <a:gd name="T20" fmla="*/ 31 w 268"/>
                  <a:gd name="T21" fmla="*/ 49 h 134"/>
                  <a:gd name="T22" fmla="*/ 22 w 268"/>
                  <a:gd name="T23" fmla="*/ 60 h 134"/>
                  <a:gd name="T24" fmla="*/ 16 w 268"/>
                  <a:gd name="T25" fmla="*/ 71 h 134"/>
                  <a:gd name="T26" fmla="*/ 10 w 268"/>
                  <a:gd name="T27" fmla="*/ 82 h 134"/>
                  <a:gd name="T28" fmla="*/ 6 w 268"/>
                  <a:gd name="T29" fmla="*/ 94 h 134"/>
                  <a:gd name="T30" fmla="*/ 3 w 268"/>
                  <a:gd name="T31" fmla="*/ 107 h 134"/>
                  <a:gd name="T32" fmla="*/ 0 w 268"/>
                  <a:gd name="T33" fmla="*/ 121 h 134"/>
                  <a:gd name="T34" fmla="*/ 0 w 268"/>
                  <a:gd name="T35" fmla="*/ 134 h 134"/>
                  <a:gd name="T36" fmla="*/ 268 w 268"/>
                  <a:gd name="T37" fmla="*/ 134 h 134"/>
                  <a:gd name="T38" fmla="*/ 268 w 268"/>
                  <a:gd name="T39" fmla="*/ 134 h 134"/>
                  <a:gd name="T40" fmla="*/ 267 w 268"/>
                  <a:gd name="T41" fmla="*/ 121 h 134"/>
                  <a:gd name="T42" fmla="*/ 266 w 268"/>
                  <a:gd name="T43" fmla="*/ 107 h 134"/>
                  <a:gd name="T44" fmla="*/ 262 w 268"/>
                  <a:gd name="T45" fmla="*/ 94 h 134"/>
                  <a:gd name="T46" fmla="*/ 257 w 268"/>
                  <a:gd name="T47" fmla="*/ 82 h 134"/>
                  <a:gd name="T48" fmla="*/ 253 w 268"/>
                  <a:gd name="T49" fmla="*/ 71 h 134"/>
                  <a:gd name="T50" fmla="*/ 245 w 268"/>
                  <a:gd name="T51" fmla="*/ 60 h 134"/>
                  <a:gd name="T52" fmla="*/ 238 w 268"/>
                  <a:gd name="T53" fmla="*/ 49 h 134"/>
                  <a:gd name="T54" fmla="*/ 229 w 268"/>
                  <a:gd name="T55" fmla="*/ 39 h 134"/>
                  <a:gd name="T56" fmla="*/ 220 w 268"/>
                  <a:gd name="T57" fmla="*/ 30 h 134"/>
                  <a:gd name="T58" fmla="*/ 209 w 268"/>
                  <a:gd name="T59" fmla="*/ 23 h 134"/>
                  <a:gd name="T60" fmla="*/ 198 w 268"/>
                  <a:gd name="T61" fmla="*/ 16 h 134"/>
                  <a:gd name="T62" fmla="*/ 187 w 268"/>
                  <a:gd name="T63" fmla="*/ 11 h 134"/>
                  <a:gd name="T64" fmla="*/ 175 w 268"/>
                  <a:gd name="T65" fmla="*/ 6 h 134"/>
                  <a:gd name="T66" fmla="*/ 161 w 268"/>
                  <a:gd name="T67" fmla="*/ 2 h 134"/>
                  <a:gd name="T68" fmla="*/ 148 w 268"/>
                  <a:gd name="T69" fmla="*/ 1 h 134"/>
                  <a:gd name="T70" fmla="*/ 134 w 268"/>
                  <a:gd name="T71"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8" h="134">
                    <a:moveTo>
                      <a:pt x="134" y="0"/>
                    </a:moveTo>
                    <a:lnTo>
                      <a:pt x="134" y="0"/>
                    </a:lnTo>
                    <a:lnTo>
                      <a:pt x="120" y="1"/>
                    </a:lnTo>
                    <a:lnTo>
                      <a:pt x="107" y="2"/>
                    </a:lnTo>
                    <a:lnTo>
                      <a:pt x="94" y="6"/>
                    </a:lnTo>
                    <a:lnTo>
                      <a:pt x="82" y="11"/>
                    </a:lnTo>
                    <a:lnTo>
                      <a:pt x="70" y="16"/>
                    </a:lnTo>
                    <a:lnTo>
                      <a:pt x="59" y="23"/>
                    </a:lnTo>
                    <a:lnTo>
                      <a:pt x="49" y="30"/>
                    </a:lnTo>
                    <a:lnTo>
                      <a:pt x="39" y="39"/>
                    </a:lnTo>
                    <a:lnTo>
                      <a:pt x="31" y="49"/>
                    </a:lnTo>
                    <a:lnTo>
                      <a:pt x="22" y="60"/>
                    </a:lnTo>
                    <a:lnTo>
                      <a:pt x="16" y="71"/>
                    </a:lnTo>
                    <a:lnTo>
                      <a:pt x="10" y="82"/>
                    </a:lnTo>
                    <a:lnTo>
                      <a:pt x="6" y="94"/>
                    </a:lnTo>
                    <a:lnTo>
                      <a:pt x="3" y="107"/>
                    </a:lnTo>
                    <a:lnTo>
                      <a:pt x="0" y="121"/>
                    </a:lnTo>
                    <a:lnTo>
                      <a:pt x="0" y="134"/>
                    </a:lnTo>
                    <a:lnTo>
                      <a:pt x="268" y="134"/>
                    </a:lnTo>
                    <a:lnTo>
                      <a:pt x="268" y="134"/>
                    </a:lnTo>
                    <a:lnTo>
                      <a:pt x="267" y="121"/>
                    </a:lnTo>
                    <a:lnTo>
                      <a:pt x="266" y="107"/>
                    </a:lnTo>
                    <a:lnTo>
                      <a:pt x="262" y="94"/>
                    </a:lnTo>
                    <a:lnTo>
                      <a:pt x="257" y="82"/>
                    </a:lnTo>
                    <a:lnTo>
                      <a:pt x="253" y="71"/>
                    </a:lnTo>
                    <a:lnTo>
                      <a:pt x="245" y="60"/>
                    </a:lnTo>
                    <a:lnTo>
                      <a:pt x="238" y="49"/>
                    </a:lnTo>
                    <a:lnTo>
                      <a:pt x="229" y="39"/>
                    </a:lnTo>
                    <a:lnTo>
                      <a:pt x="220" y="30"/>
                    </a:lnTo>
                    <a:lnTo>
                      <a:pt x="209" y="23"/>
                    </a:lnTo>
                    <a:lnTo>
                      <a:pt x="198" y="16"/>
                    </a:lnTo>
                    <a:lnTo>
                      <a:pt x="187" y="11"/>
                    </a:lnTo>
                    <a:lnTo>
                      <a:pt x="175" y="6"/>
                    </a:lnTo>
                    <a:lnTo>
                      <a:pt x="161" y="2"/>
                    </a:lnTo>
                    <a:lnTo>
                      <a:pt x="148" y="1"/>
                    </a:lnTo>
                    <a:lnTo>
                      <a:pt x="134" y="0"/>
                    </a:lnTo>
                    <a:close/>
                  </a:path>
                </a:pathLst>
              </a:custGeom>
              <a:solidFill>
                <a:srgbClr val="998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4" name="Freeform 1239"/>
              <p:cNvSpPr>
                <a:spLocks/>
              </p:cNvSpPr>
              <p:nvPr/>
            </p:nvSpPr>
            <p:spPr bwMode="auto">
              <a:xfrm>
                <a:off x="5737286" y="401632"/>
                <a:ext cx="84138" cy="42863"/>
              </a:xfrm>
              <a:custGeom>
                <a:avLst/>
                <a:gdLst>
                  <a:gd name="T0" fmla="*/ 134 w 268"/>
                  <a:gd name="T1" fmla="*/ 0 h 134"/>
                  <a:gd name="T2" fmla="*/ 134 w 268"/>
                  <a:gd name="T3" fmla="*/ 0 h 134"/>
                  <a:gd name="T4" fmla="*/ 120 w 268"/>
                  <a:gd name="T5" fmla="*/ 1 h 134"/>
                  <a:gd name="T6" fmla="*/ 107 w 268"/>
                  <a:gd name="T7" fmla="*/ 2 h 134"/>
                  <a:gd name="T8" fmla="*/ 94 w 268"/>
                  <a:gd name="T9" fmla="*/ 6 h 134"/>
                  <a:gd name="T10" fmla="*/ 82 w 268"/>
                  <a:gd name="T11" fmla="*/ 11 h 134"/>
                  <a:gd name="T12" fmla="*/ 70 w 268"/>
                  <a:gd name="T13" fmla="*/ 16 h 134"/>
                  <a:gd name="T14" fmla="*/ 59 w 268"/>
                  <a:gd name="T15" fmla="*/ 23 h 134"/>
                  <a:gd name="T16" fmla="*/ 49 w 268"/>
                  <a:gd name="T17" fmla="*/ 30 h 134"/>
                  <a:gd name="T18" fmla="*/ 39 w 268"/>
                  <a:gd name="T19" fmla="*/ 39 h 134"/>
                  <a:gd name="T20" fmla="*/ 31 w 268"/>
                  <a:gd name="T21" fmla="*/ 49 h 134"/>
                  <a:gd name="T22" fmla="*/ 22 w 268"/>
                  <a:gd name="T23" fmla="*/ 60 h 134"/>
                  <a:gd name="T24" fmla="*/ 16 w 268"/>
                  <a:gd name="T25" fmla="*/ 71 h 134"/>
                  <a:gd name="T26" fmla="*/ 10 w 268"/>
                  <a:gd name="T27" fmla="*/ 82 h 134"/>
                  <a:gd name="T28" fmla="*/ 6 w 268"/>
                  <a:gd name="T29" fmla="*/ 94 h 134"/>
                  <a:gd name="T30" fmla="*/ 3 w 268"/>
                  <a:gd name="T31" fmla="*/ 107 h 134"/>
                  <a:gd name="T32" fmla="*/ 0 w 268"/>
                  <a:gd name="T33" fmla="*/ 121 h 134"/>
                  <a:gd name="T34" fmla="*/ 0 w 268"/>
                  <a:gd name="T35" fmla="*/ 134 h 134"/>
                  <a:gd name="T36" fmla="*/ 268 w 268"/>
                  <a:gd name="T37" fmla="*/ 134 h 134"/>
                  <a:gd name="T38" fmla="*/ 268 w 268"/>
                  <a:gd name="T39" fmla="*/ 134 h 134"/>
                  <a:gd name="T40" fmla="*/ 267 w 268"/>
                  <a:gd name="T41" fmla="*/ 121 h 134"/>
                  <a:gd name="T42" fmla="*/ 266 w 268"/>
                  <a:gd name="T43" fmla="*/ 107 h 134"/>
                  <a:gd name="T44" fmla="*/ 262 w 268"/>
                  <a:gd name="T45" fmla="*/ 94 h 134"/>
                  <a:gd name="T46" fmla="*/ 257 w 268"/>
                  <a:gd name="T47" fmla="*/ 82 h 134"/>
                  <a:gd name="T48" fmla="*/ 253 w 268"/>
                  <a:gd name="T49" fmla="*/ 71 h 134"/>
                  <a:gd name="T50" fmla="*/ 245 w 268"/>
                  <a:gd name="T51" fmla="*/ 60 h 134"/>
                  <a:gd name="T52" fmla="*/ 238 w 268"/>
                  <a:gd name="T53" fmla="*/ 49 h 134"/>
                  <a:gd name="T54" fmla="*/ 229 w 268"/>
                  <a:gd name="T55" fmla="*/ 39 h 134"/>
                  <a:gd name="T56" fmla="*/ 220 w 268"/>
                  <a:gd name="T57" fmla="*/ 30 h 134"/>
                  <a:gd name="T58" fmla="*/ 209 w 268"/>
                  <a:gd name="T59" fmla="*/ 23 h 134"/>
                  <a:gd name="T60" fmla="*/ 198 w 268"/>
                  <a:gd name="T61" fmla="*/ 16 h 134"/>
                  <a:gd name="T62" fmla="*/ 187 w 268"/>
                  <a:gd name="T63" fmla="*/ 11 h 134"/>
                  <a:gd name="T64" fmla="*/ 175 w 268"/>
                  <a:gd name="T65" fmla="*/ 6 h 134"/>
                  <a:gd name="T66" fmla="*/ 161 w 268"/>
                  <a:gd name="T67" fmla="*/ 2 h 134"/>
                  <a:gd name="T68" fmla="*/ 148 w 268"/>
                  <a:gd name="T69" fmla="*/ 1 h 134"/>
                  <a:gd name="T70" fmla="*/ 134 w 268"/>
                  <a:gd name="T71"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8" h="134">
                    <a:moveTo>
                      <a:pt x="134" y="0"/>
                    </a:moveTo>
                    <a:lnTo>
                      <a:pt x="134" y="0"/>
                    </a:lnTo>
                    <a:lnTo>
                      <a:pt x="120" y="1"/>
                    </a:lnTo>
                    <a:lnTo>
                      <a:pt x="107" y="2"/>
                    </a:lnTo>
                    <a:lnTo>
                      <a:pt x="94" y="6"/>
                    </a:lnTo>
                    <a:lnTo>
                      <a:pt x="82" y="11"/>
                    </a:lnTo>
                    <a:lnTo>
                      <a:pt x="70" y="16"/>
                    </a:lnTo>
                    <a:lnTo>
                      <a:pt x="59" y="23"/>
                    </a:lnTo>
                    <a:lnTo>
                      <a:pt x="49" y="30"/>
                    </a:lnTo>
                    <a:lnTo>
                      <a:pt x="39" y="39"/>
                    </a:lnTo>
                    <a:lnTo>
                      <a:pt x="31" y="49"/>
                    </a:lnTo>
                    <a:lnTo>
                      <a:pt x="22" y="60"/>
                    </a:lnTo>
                    <a:lnTo>
                      <a:pt x="16" y="71"/>
                    </a:lnTo>
                    <a:lnTo>
                      <a:pt x="10" y="82"/>
                    </a:lnTo>
                    <a:lnTo>
                      <a:pt x="6" y="94"/>
                    </a:lnTo>
                    <a:lnTo>
                      <a:pt x="3" y="107"/>
                    </a:lnTo>
                    <a:lnTo>
                      <a:pt x="0" y="121"/>
                    </a:lnTo>
                    <a:lnTo>
                      <a:pt x="0" y="134"/>
                    </a:lnTo>
                    <a:lnTo>
                      <a:pt x="268" y="134"/>
                    </a:lnTo>
                    <a:lnTo>
                      <a:pt x="268" y="134"/>
                    </a:lnTo>
                    <a:lnTo>
                      <a:pt x="267" y="121"/>
                    </a:lnTo>
                    <a:lnTo>
                      <a:pt x="266" y="107"/>
                    </a:lnTo>
                    <a:lnTo>
                      <a:pt x="262" y="94"/>
                    </a:lnTo>
                    <a:lnTo>
                      <a:pt x="257" y="82"/>
                    </a:lnTo>
                    <a:lnTo>
                      <a:pt x="253" y="71"/>
                    </a:lnTo>
                    <a:lnTo>
                      <a:pt x="245" y="60"/>
                    </a:lnTo>
                    <a:lnTo>
                      <a:pt x="238" y="49"/>
                    </a:lnTo>
                    <a:lnTo>
                      <a:pt x="229" y="39"/>
                    </a:lnTo>
                    <a:lnTo>
                      <a:pt x="220" y="30"/>
                    </a:lnTo>
                    <a:lnTo>
                      <a:pt x="209" y="23"/>
                    </a:lnTo>
                    <a:lnTo>
                      <a:pt x="198" y="16"/>
                    </a:lnTo>
                    <a:lnTo>
                      <a:pt x="187" y="11"/>
                    </a:lnTo>
                    <a:lnTo>
                      <a:pt x="175" y="6"/>
                    </a:lnTo>
                    <a:lnTo>
                      <a:pt x="161" y="2"/>
                    </a:lnTo>
                    <a:lnTo>
                      <a:pt x="148" y="1"/>
                    </a:lnTo>
                    <a:lnTo>
                      <a:pt x="13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5" name="Freeform 1240"/>
              <p:cNvSpPr>
                <a:spLocks/>
              </p:cNvSpPr>
              <p:nvPr/>
            </p:nvSpPr>
            <p:spPr bwMode="auto">
              <a:xfrm>
                <a:off x="5737286" y="739773"/>
                <a:ext cx="84138" cy="42863"/>
              </a:xfrm>
              <a:custGeom>
                <a:avLst/>
                <a:gdLst>
                  <a:gd name="T0" fmla="*/ 134 w 268"/>
                  <a:gd name="T1" fmla="*/ 0 h 134"/>
                  <a:gd name="T2" fmla="*/ 134 w 268"/>
                  <a:gd name="T3" fmla="*/ 0 h 134"/>
                  <a:gd name="T4" fmla="*/ 120 w 268"/>
                  <a:gd name="T5" fmla="*/ 1 h 134"/>
                  <a:gd name="T6" fmla="*/ 107 w 268"/>
                  <a:gd name="T7" fmla="*/ 3 h 134"/>
                  <a:gd name="T8" fmla="*/ 94 w 268"/>
                  <a:gd name="T9" fmla="*/ 6 h 134"/>
                  <a:gd name="T10" fmla="*/ 82 w 268"/>
                  <a:gd name="T11" fmla="*/ 11 h 134"/>
                  <a:gd name="T12" fmla="*/ 70 w 268"/>
                  <a:gd name="T13" fmla="*/ 17 h 134"/>
                  <a:gd name="T14" fmla="*/ 59 w 268"/>
                  <a:gd name="T15" fmla="*/ 23 h 134"/>
                  <a:gd name="T16" fmla="*/ 49 w 268"/>
                  <a:gd name="T17" fmla="*/ 30 h 134"/>
                  <a:gd name="T18" fmla="*/ 39 w 268"/>
                  <a:gd name="T19" fmla="*/ 40 h 134"/>
                  <a:gd name="T20" fmla="*/ 31 w 268"/>
                  <a:gd name="T21" fmla="*/ 48 h 134"/>
                  <a:gd name="T22" fmla="*/ 22 w 268"/>
                  <a:gd name="T23" fmla="*/ 59 h 134"/>
                  <a:gd name="T24" fmla="*/ 16 w 268"/>
                  <a:gd name="T25" fmla="*/ 70 h 134"/>
                  <a:gd name="T26" fmla="*/ 10 w 268"/>
                  <a:gd name="T27" fmla="*/ 82 h 134"/>
                  <a:gd name="T28" fmla="*/ 6 w 268"/>
                  <a:gd name="T29" fmla="*/ 95 h 134"/>
                  <a:gd name="T30" fmla="*/ 3 w 268"/>
                  <a:gd name="T31" fmla="*/ 107 h 134"/>
                  <a:gd name="T32" fmla="*/ 0 w 268"/>
                  <a:gd name="T33" fmla="*/ 120 h 134"/>
                  <a:gd name="T34" fmla="*/ 0 w 268"/>
                  <a:gd name="T35" fmla="*/ 134 h 134"/>
                  <a:gd name="T36" fmla="*/ 268 w 268"/>
                  <a:gd name="T37" fmla="*/ 134 h 134"/>
                  <a:gd name="T38" fmla="*/ 268 w 268"/>
                  <a:gd name="T39" fmla="*/ 134 h 134"/>
                  <a:gd name="T40" fmla="*/ 267 w 268"/>
                  <a:gd name="T41" fmla="*/ 120 h 134"/>
                  <a:gd name="T42" fmla="*/ 266 w 268"/>
                  <a:gd name="T43" fmla="*/ 107 h 134"/>
                  <a:gd name="T44" fmla="*/ 262 w 268"/>
                  <a:gd name="T45" fmla="*/ 95 h 134"/>
                  <a:gd name="T46" fmla="*/ 257 w 268"/>
                  <a:gd name="T47" fmla="*/ 82 h 134"/>
                  <a:gd name="T48" fmla="*/ 253 w 268"/>
                  <a:gd name="T49" fmla="*/ 70 h 134"/>
                  <a:gd name="T50" fmla="*/ 245 w 268"/>
                  <a:gd name="T51" fmla="*/ 59 h 134"/>
                  <a:gd name="T52" fmla="*/ 238 w 268"/>
                  <a:gd name="T53" fmla="*/ 48 h 134"/>
                  <a:gd name="T54" fmla="*/ 229 w 268"/>
                  <a:gd name="T55" fmla="*/ 40 h 134"/>
                  <a:gd name="T56" fmla="*/ 220 w 268"/>
                  <a:gd name="T57" fmla="*/ 30 h 134"/>
                  <a:gd name="T58" fmla="*/ 209 w 268"/>
                  <a:gd name="T59" fmla="*/ 23 h 134"/>
                  <a:gd name="T60" fmla="*/ 198 w 268"/>
                  <a:gd name="T61" fmla="*/ 17 h 134"/>
                  <a:gd name="T62" fmla="*/ 187 w 268"/>
                  <a:gd name="T63" fmla="*/ 11 h 134"/>
                  <a:gd name="T64" fmla="*/ 175 w 268"/>
                  <a:gd name="T65" fmla="*/ 6 h 134"/>
                  <a:gd name="T66" fmla="*/ 161 w 268"/>
                  <a:gd name="T67" fmla="*/ 3 h 134"/>
                  <a:gd name="T68" fmla="*/ 148 w 268"/>
                  <a:gd name="T69" fmla="*/ 1 h 134"/>
                  <a:gd name="T70" fmla="*/ 134 w 268"/>
                  <a:gd name="T71"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8" h="134">
                    <a:moveTo>
                      <a:pt x="134" y="0"/>
                    </a:moveTo>
                    <a:lnTo>
                      <a:pt x="134" y="0"/>
                    </a:lnTo>
                    <a:lnTo>
                      <a:pt x="120" y="1"/>
                    </a:lnTo>
                    <a:lnTo>
                      <a:pt x="107" y="3"/>
                    </a:lnTo>
                    <a:lnTo>
                      <a:pt x="94" y="6"/>
                    </a:lnTo>
                    <a:lnTo>
                      <a:pt x="82" y="11"/>
                    </a:lnTo>
                    <a:lnTo>
                      <a:pt x="70" y="17"/>
                    </a:lnTo>
                    <a:lnTo>
                      <a:pt x="59" y="23"/>
                    </a:lnTo>
                    <a:lnTo>
                      <a:pt x="49" y="30"/>
                    </a:lnTo>
                    <a:lnTo>
                      <a:pt x="39" y="40"/>
                    </a:lnTo>
                    <a:lnTo>
                      <a:pt x="31" y="48"/>
                    </a:lnTo>
                    <a:lnTo>
                      <a:pt x="22" y="59"/>
                    </a:lnTo>
                    <a:lnTo>
                      <a:pt x="16" y="70"/>
                    </a:lnTo>
                    <a:lnTo>
                      <a:pt x="10" y="82"/>
                    </a:lnTo>
                    <a:lnTo>
                      <a:pt x="6" y="95"/>
                    </a:lnTo>
                    <a:lnTo>
                      <a:pt x="3" y="107"/>
                    </a:lnTo>
                    <a:lnTo>
                      <a:pt x="0" y="120"/>
                    </a:lnTo>
                    <a:lnTo>
                      <a:pt x="0" y="134"/>
                    </a:lnTo>
                    <a:lnTo>
                      <a:pt x="268" y="134"/>
                    </a:lnTo>
                    <a:lnTo>
                      <a:pt x="268" y="134"/>
                    </a:lnTo>
                    <a:lnTo>
                      <a:pt x="267" y="120"/>
                    </a:lnTo>
                    <a:lnTo>
                      <a:pt x="266" y="107"/>
                    </a:lnTo>
                    <a:lnTo>
                      <a:pt x="262" y="95"/>
                    </a:lnTo>
                    <a:lnTo>
                      <a:pt x="257" y="82"/>
                    </a:lnTo>
                    <a:lnTo>
                      <a:pt x="253" y="70"/>
                    </a:lnTo>
                    <a:lnTo>
                      <a:pt x="245" y="59"/>
                    </a:lnTo>
                    <a:lnTo>
                      <a:pt x="238" y="48"/>
                    </a:lnTo>
                    <a:lnTo>
                      <a:pt x="229" y="40"/>
                    </a:lnTo>
                    <a:lnTo>
                      <a:pt x="220" y="30"/>
                    </a:lnTo>
                    <a:lnTo>
                      <a:pt x="209" y="23"/>
                    </a:lnTo>
                    <a:lnTo>
                      <a:pt x="198" y="17"/>
                    </a:lnTo>
                    <a:lnTo>
                      <a:pt x="187" y="11"/>
                    </a:lnTo>
                    <a:lnTo>
                      <a:pt x="175" y="6"/>
                    </a:lnTo>
                    <a:lnTo>
                      <a:pt x="161" y="3"/>
                    </a:lnTo>
                    <a:lnTo>
                      <a:pt x="148" y="1"/>
                    </a:lnTo>
                    <a:lnTo>
                      <a:pt x="134" y="0"/>
                    </a:lnTo>
                    <a:close/>
                  </a:path>
                </a:pathLst>
              </a:custGeom>
              <a:solidFill>
                <a:srgbClr val="998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6" name="Freeform 1241"/>
              <p:cNvSpPr>
                <a:spLocks/>
              </p:cNvSpPr>
              <p:nvPr/>
            </p:nvSpPr>
            <p:spPr bwMode="auto">
              <a:xfrm>
                <a:off x="5737286" y="739773"/>
                <a:ext cx="84138" cy="42863"/>
              </a:xfrm>
              <a:custGeom>
                <a:avLst/>
                <a:gdLst>
                  <a:gd name="T0" fmla="*/ 134 w 268"/>
                  <a:gd name="T1" fmla="*/ 0 h 134"/>
                  <a:gd name="T2" fmla="*/ 134 w 268"/>
                  <a:gd name="T3" fmla="*/ 0 h 134"/>
                  <a:gd name="T4" fmla="*/ 120 w 268"/>
                  <a:gd name="T5" fmla="*/ 1 h 134"/>
                  <a:gd name="T6" fmla="*/ 107 w 268"/>
                  <a:gd name="T7" fmla="*/ 3 h 134"/>
                  <a:gd name="T8" fmla="*/ 94 w 268"/>
                  <a:gd name="T9" fmla="*/ 6 h 134"/>
                  <a:gd name="T10" fmla="*/ 82 w 268"/>
                  <a:gd name="T11" fmla="*/ 11 h 134"/>
                  <a:gd name="T12" fmla="*/ 70 w 268"/>
                  <a:gd name="T13" fmla="*/ 17 h 134"/>
                  <a:gd name="T14" fmla="*/ 59 w 268"/>
                  <a:gd name="T15" fmla="*/ 23 h 134"/>
                  <a:gd name="T16" fmla="*/ 49 w 268"/>
                  <a:gd name="T17" fmla="*/ 30 h 134"/>
                  <a:gd name="T18" fmla="*/ 39 w 268"/>
                  <a:gd name="T19" fmla="*/ 40 h 134"/>
                  <a:gd name="T20" fmla="*/ 31 w 268"/>
                  <a:gd name="T21" fmla="*/ 48 h 134"/>
                  <a:gd name="T22" fmla="*/ 22 w 268"/>
                  <a:gd name="T23" fmla="*/ 59 h 134"/>
                  <a:gd name="T24" fmla="*/ 16 w 268"/>
                  <a:gd name="T25" fmla="*/ 70 h 134"/>
                  <a:gd name="T26" fmla="*/ 10 w 268"/>
                  <a:gd name="T27" fmla="*/ 82 h 134"/>
                  <a:gd name="T28" fmla="*/ 6 w 268"/>
                  <a:gd name="T29" fmla="*/ 95 h 134"/>
                  <a:gd name="T30" fmla="*/ 3 w 268"/>
                  <a:gd name="T31" fmla="*/ 107 h 134"/>
                  <a:gd name="T32" fmla="*/ 0 w 268"/>
                  <a:gd name="T33" fmla="*/ 120 h 134"/>
                  <a:gd name="T34" fmla="*/ 0 w 268"/>
                  <a:gd name="T35" fmla="*/ 134 h 134"/>
                  <a:gd name="T36" fmla="*/ 268 w 268"/>
                  <a:gd name="T37" fmla="*/ 134 h 134"/>
                  <a:gd name="T38" fmla="*/ 268 w 268"/>
                  <a:gd name="T39" fmla="*/ 134 h 134"/>
                  <a:gd name="T40" fmla="*/ 267 w 268"/>
                  <a:gd name="T41" fmla="*/ 120 h 134"/>
                  <a:gd name="T42" fmla="*/ 266 w 268"/>
                  <a:gd name="T43" fmla="*/ 107 h 134"/>
                  <a:gd name="T44" fmla="*/ 262 w 268"/>
                  <a:gd name="T45" fmla="*/ 95 h 134"/>
                  <a:gd name="T46" fmla="*/ 257 w 268"/>
                  <a:gd name="T47" fmla="*/ 82 h 134"/>
                  <a:gd name="T48" fmla="*/ 253 w 268"/>
                  <a:gd name="T49" fmla="*/ 70 h 134"/>
                  <a:gd name="T50" fmla="*/ 245 w 268"/>
                  <a:gd name="T51" fmla="*/ 59 h 134"/>
                  <a:gd name="T52" fmla="*/ 238 w 268"/>
                  <a:gd name="T53" fmla="*/ 48 h 134"/>
                  <a:gd name="T54" fmla="*/ 229 w 268"/>
                  <a:gd name="T55" fmla="*/ 40 h 134"/>
                  <a:gd name="T56" fmla="*/ 220 w 268"/>
                  <a:gd name="T57" fmla="*/ 30 h 134"/>
                  <a:gd name="T58" fmla="*/ 209 w 268"/>
                  <a:gd name="T59" fmla="*/ 23 h 134"/>
                  <a:gd name="T60" fmla="*/ 198 w 268"/>
                  <a:gd name="T61" fmla="*/ 17 h 134"/>
                  <a:gd name="T62" fmla="*/ 187 w 268"/>
                  <a:gd name="T63" fmla="*/ 11 h 134"/>
                  <a:gd name="T64" fmla="*/ 175 w 268"/>
                  <a:gd name="T65" fmla="*/ 6 h 134"/>
                  <a:gd name="T66" fmla="*/ 161 w 268"/>
                  <a:gd name="T67" fmla="*/ 3 h 134"/>
                  <a:gd name="T68" fmla="*/ 148 w 268"/>
                  <a:gd name="T69" fmla="*/ 1 h 134"/>
                  <a:gd name="T70" fmla="*/ 134 w 268"/>
                  <a:gd name="T71"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8" h="134">
                    <a:moveTo>
                      <a:pt x="134" y="0"/>
                    </a:moveTo>
                    <a:lnTo>
                      <a:pt x="134" y="0"/>
                    </a:lnTo>
                    <a:lnTo>
                      <a:pt x="120" y="1"/>
                    </a:lnTo>
                    <a:lnTo>
                      <a:pt x="107" y="3"/>
                    </a:lnTo>
                    <a:lnTo>
                      <a:pt x="94" y="6"/>
                    </a:lnTo>
                    <a:lnTo>
                      <a:pt x="82" y="11"/>
                    </a:lnTo>
                    <a:lnTo>
                      <a:pt x="70" y="17"/>
                    </a:lnTo>
                    <a:lnTo>
                      <a:pt x="59" y="23"/>
                    </a:lnTo>
                    <a:lnTo>
                      <a:pt x="49" y="30"/>
                    </a:lnTo>
                    <a:lnTo>
                      <a:pt x="39" y="40"/>
                    </a:lnTo>
                    <a:lnTo>
                      <a:pt x="31" y="48"/>
                    </a:lnTo>
                    <a:lnTo>
                      <a:pt x="22" y="59"/>
                    </a:lnTo>
                    <a:lnTo>
                      <a:pt x="16" y="70"/>
                    </a:lnTo>
                    <a:lnTo>
                      <a:pt x="10" y="82"/>
                    </a:lnTo>
                    <a:lnTo>
                      <a:pt x="6" y="95"/>
                    </a:lnTo>
                    <a:lnTo>
                      <a:pt x="3" y="107"/>
                    </a:lnTo>
                    <a:lnTo>
                      <a:pt x="0" y="120"/>
                    </a:lnTo>
                    <a:lnTo>
                      <a:pt x="0" y="134"/>
                    </a:lnTo>
                    <a:lnTo>
                      <a:pt x="268" y="134"/>
                    </a:lnTo>
                    <a:lnTo>
                      <a:pt x="268" y="134"/>
                    </a:lnTo>
                    <a:lnTo>
                      <a:pt x="267" y="120"/>
                    </a:lnTo>
                    <a:lnTo>
                      <a:pt x="266" y="107"/>
                    </a:lnTo>
                    <a:lnTo>
                      <a:pt x="262" y="95"/>
                    </a:lnTo>
                    <a:lnTo>
                      <a:pt x="257" y="82"/>
                    </a:lnTo>
                    <a:lnTo>
                      <a:pt x="253" y="70"/>
                    </a:lnTo>
                    <a:lnTo>
                      <a:pt x="245" y="59"/>
                    </a:lnTo>
                    <a:lnTo>
                      <a:pt x="238" y="48"/>
                    </a:lnTo>
                    <a:lnTo>
                      <a:pt x="229" y="40"/>
                    </a:lnTo>
                    <a:lnTo>
                      <a:pt x="220" y="30"/>
                    </a:lnTo>
                    <a:lnTo>
                      <a:pt x="209" y="23"/>
                    </a:lnTo>
                    <a:lnTo>
                      <a:pt x="198" y="17"/>
                    </a:lnTo>
                    <a:lnTo>
                      <a:pt x="187" y="11"/>
                    </a:lnTo>
                    <a:lnTo>
                      <a:pt x="175" y="6"/>
                    </a:lnTo>
                    <a:lnTo>
                      <a:pt x="161" y="3"/>
                    </a:lnTo>
                    <a:lnTo>
                      <a:pt x="148" y="1"/>
                    </a:lnTo>
                    <a:lnTo>
                      <a:pt x="13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7" name="Freeform 1242"/>
              <p:cNvSpPr>
                <a:spLocks/>
              </p:cNvSpPr>
              <p:nvPr/>
            </p:nvSpPr>
            <p:spPr bwMode="auto">
              <a:xfrm>
                <a:off x="5618223" y="500058"/>
                <a:ext cx="138114" cy="68263"/>
              </a:xfrm>
              <a:custGeom>
                <a:avLst/>
                <a:gdLst>
                  <a:gd name="T0" fmla="*/ 216 w 433"/>
                  <a:gd name="T1" fmla="*/ 0 h 217"/>
                  <a:gd name="T2" fmla="*/ 216 w 433"/>
                  <a:gd name="T3" fmla="*/ 0 h 217"/>
                  <a:gd name="T4" fmla="*/ 194 w 433"/>
                  <a:gd name="T5" fmla="*/ 1 h 217"/>
                  <a:gd name="T6" fmla="*/ 173 w 433"/>
                  <a:gd name="T7" fmla="*/ 3 h 217"/>
                  <a:gd name="T8" fmla="*/ 151 w 433"/>
                  <a:gd name="T9" fmla="*/ 9 h 217"/>
                  <a:gd name="T10" fmla="*/ 132 w 433"/>
                  <a:gd name="T11" fmla="*/ 17 h 217"/>
                  <a:gd name="T12" fmla="*/ 113 w 433"/>
                  <a:gd name="T13" fmla="*/ 25 h 217"/>
                  <a:gd name="T14" fmla="*/ 95 w 433"/>
                  <a:gd name="T15" fmla="*/ 36 h 217"/>
                  <a:gd name="T16" fmla="*/ 78 w 433"/>
                  <a:gd name="T17" fmla="*/ 48 h 217"/>
                  <a:gd name="T18" fmla="*/ 64 w 433"/>
                  <a:gd name="T19" fmla="*/ 63 h 217"/>
                  <a:gd name="T20" fmla="*/ 49 w 433"/>
                  <a:gd name="T21" fmla="*/ 79 h 217"/>
                  <a:gd name="T22" fmla="*/ 37 w 433"/>
                  <a:gd name="T23" fmla="*/ 95 h 217"/>
                  <a:gd name="T24" fmla="*/ 26 w 433"/>
                  <a:gd name="T25" fmla="*/ 113 h 217"/>
                  <a:gd name="T26" fmla="*/ 17 w 433"/>
                  <a:gd name="T27" fmla="*/ 131 h 217"/>
                  <a:gd name="T28" fmla="*/ 10 w 433"/>
                  <a:gd name="T29" fmla="*/ 152 h 217"/>
                  <a:gd name="T30" fmla="*/ 4 w 433"/>
                  <a:gd name="T31" fmla="*/ 173 h 217"/>
                  <a:gd name="T32" fmla="*/ 0 w 433"/>
                  <a:gd name="T33" fmla="*/ 195 h 217"/>
                  <a:gd name="T34" fmla="*/ 0 w 433"/>
                  <a:gd name="T35" fmla="*/ 217 h 217"/>
                  <a:gd name="T36" fmla="*/ 433 w 433"/>
                  <a:gd name="T37" fmla="*/ 217 h 217"/>
                  <a:gd name="T38" fmla="*/ 433 w 433"/>
                  <a:gd name="T39" fmla="*/ 217 h 217"/>
                  <a:gd name="T40" fmla="*/ 432 w 433"/>
                  <a:gd name="T41" fmla="*/ 195 h 217"/>
                  <a:gd name="T42" fmla="*/ 429 w 433"/>
                  <a:gd name="T43" fmla="*/ 173 h 217"/>
                  <a:gd name="T44" fmla="*/ 423 w 433"/>
                  <a:gd name="T45" fmla="*/ 152 h 217"/>
                  <a:gd name="T46" fmla="*/ 416 w 433"/>
                  <a:gd name="T47" fmla="*/ 131 h 217"/>
                  <a:gd name="T48" fmla="*/ 407 w 433"/>
                  <a:gd name="T49" fmla="*/ 113 h 217"/>
                  <a:gd name="T50" fmla="*/ 396 w 433"/>
                  <a:gd name="T51" fmla="*/ 95 h 217"/>
                  <a:gd name="T52" fmla="*/ 384 w 433"/>
                  <a:gd name="T53" fmla="*/ 79 h 217"/>
                  <a:gd name="T54" fmla="*/ 370 w 433"/>
                  <a:gd name="T55" fmla="*/ 63 h 217"/>
                  <a:gd name="T56" fmla="*/ 355 w 433"/>
                  <a:gd name="T57" fmla="*/ 48 h 217"/>
                  <a:gd name="T58" fmla="*/ 338 w 433"/>
                  <a:gd name="T59" fmla="*/ 36 h 217"/>
                  <a:gd name="T60" fmla="*/ 320 w 433"/>
                  <a:gd name="T61" fmla="*/ 25 h 217"/>
                  <a:gd name="T62" fmla="*/ 301 w 433"/>
                  <a:gd name="T63" fmla="*/ 17 h 217"/>
                  <a:gd name="T64" fmla="*/ 281 w 433"/>
                  <a:gd name="T65" fmla="*/ 9 h 217"/>
                  <a:gd name="T66" fmla="*/ 260 w 433"/>
                  <a:gd name="T67" fmla="*/ 3 h 217"/>
                  <a:gd name="T68" fmla="*/ 239 w 433"/>
                  <a:gd name="T69" fmla="*/ 1 h 217"/>
                  <a:gd name="T70" fmla="*/ 216 w 433"/>
                  <a:gd name="T71"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33" h="217">
                    <a:moveTo>
                      <a:pt x="216" y="0"/>
                    </a:moveTo>
                    <a:lnTo>
                      <a:pt x="216" y="0"/>
                    </a:lnTo>
                    <a:lnTo>
                      <a:pt x="194" y="1"/>
                    </a:lnTo>
                    <a:lnTo>
                      <a:pt x="173" y="3"/>
                    </a:lnTo>
                    <a:lnTo>
                      <a:pt x="151" y="9"/>
                    </a:lnTo>
                    <a:lnTo>
                      <a:pt x="132" y="17"/>
                    </a:lnTo>
                    <a:lnTo>
                      <a:pt x="113" y="25"/>
                    </a:lnTo>
                    <a:lnTo>
                      <a:pt x="95" y="36"/>
                    </a:lnTo>
                    <a:lnTo>
                      <a:pt x="78" y="48"/>
                    </a:lnTo>
                    <a:lnTo>
                      <a:pt x="64" y="63"/>
                    </a:lnTo>
                    <a:lnTo>
                      <a:pt x="49" y="79"/>
                    </a:lnTo>
                    <a:lnTo>
                      <a:pt x="37" y="95"/>
                    </a:lnTo>
                    <a:lnTo>
                      <a:pt x="26" y="113"/>
                    </a:lnTo>
                    <a:lnTo>
                      <a:pt x="17" y="131"/>
                    </a:lnTo>
                    <a:lnTo>
                      <a:pt x="10" y="152"/>
                    </a:lnTo>
                    <a:lnTo>
                      <a:pt x="4" y="173"/>
                    </a:lnTo>
                    <a:lnTo>
                      <a:pt x="0" y="195"/>
                    </a:lnTo>
                    <a:lnTo>
                      <a:pt x="0" y="217"/>
                    </a:lnTo>
                    <a:lnTo>
                      <a:pt x="433" y="217"/>
                    </a:lnTo>
                    <a:lnTo>
                      <a:pt x="433" y="217"/>
                    </a:lnTo>
                    <a:lnTo>
                      <a:pt x="432" y="195"/>
                    </a:lnTo>
                    <a:lnTo>
                      <a:pt x="429" y="173"/>
                    </a:lnTo>
                    <a:lnTo>
                      <a:pt x="423" y="152"/>
                    </a:lnTo>
                    <a:lnTo>
                      <a:pt x="416" y="131"/>
                    </a:lnTo>
                    <a:lnTo>
                      <a:pt x="407" y="113"/>
                    </a:lnTo>
                    <a:lnTo>
                      <a:pt x="396" y="95"/>
                    </a:lnTo>
                    <a:lnTo>
                      <a:pt x="384" y="79"/>
                    </a:lnTo>
                    <a:lnTo>
                      <a:pt x="370" y="63"/>
                    </a:lnTo>
                    <a:lnTo>
                      <a:pt x="355" y="48"/>
                    </a:lnTo>
                    <a:lnTo>
                      <a:pt x="338" y="36"/>
                    </a:lnTo>
                    <a:lnTo>
                      <a:pt x="320" y="25"/>
                    </a:lnTo>
                    <a:lnTo>
                      <a:pt x="301" y="17"/>
                    </a:lnTo>
                    <a:lnTo>
                      <a:pt x="281" y="9"/>
                    </a:lnTo>
                    <a:lnTo>
                      <a:pt x="260" y="3"/>
                    </a:lnTo>
                    <a:lnTo>
                      <a:pt x="239" y="1"/>
                    </a:lnTo>
                    <a:lnTo>
                      <a:pt x="216" y="0"/>
                    </a:lnTo>
                    <a:close/>
                  </a:path>
                </a:pathLst>
              </a:custGeom>
              <a:solidFill>
                <a:srgbClr val="998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8" name="Freeform 1243"/>
              <p:cNvSpPr>
                <a:spLocks/>
              </p:cNvSpPr>
              <p:nvPr/>
            </p:nvSpPr>
            <p:spPr bwMode="auto">
              <a:xfrm>
                <a:off x="5618223" y="500058"/>
                <a:ext cx="138114" cy="68263"/>
              </a:xfrm>
              <a:custGeom>
                <a:avLst/>
                <a:gdLst>
                  <a:gd name="T0" fmla="*/ 216 w 433"/>
                  <a:gd name="T1" fmla="*/ 0 h 217"/>
                  <a:gd name="T2" fmla="*/ 216 w 433"/>
                  <a:gd name="T3" fmla="*/ 0 h 217"/>
                  <a:gd name="T4" fmla="*/ 194 w 433"/>
                  <a:gd name="T5" fmla="*/ 1 h 217"/>
                  <a:gd name="T6" fmla="*/ 173 w 433"/>
                  <a:gd name="T7" fmla="*/ 3 h 217"/>
                  <a:gd name="T8" fmla="*/ 151 w 433"/>
                  <a:gd name="T9" fmla="*/ 9 h 217"/>
                  <a:gd name="T10" fmla="*/ 132 w 433"/>
                  <a:gd name="T11" fmla="*/ 17 h 217"/>
                  <a:gd name="T12" fmla="*/ 113 w 433"/>
                  <a:gd name="T13" fmla="*/ 25 h 217"/>
                  <a:gd name="T14" fmla="*/ 95 w 433"/>
                  <a:gd name="T15" fmla="*/ 36 h 217"/>
                  <a:gd name="T16" fmla="*/ 78 w 433"/>
                  <a:gd name="T17" fmla="*/ 48 h 217"/>
                  <a:gd name="T18" fmla="*/ 64 w 433"/>
                  <a:gd name="T19" fmla="*/ 63 h 217"/>
                  <a:gd name="T20" fmla="*/ 49 w 433"/>
                  <a:gd name="T21" fmla="*/ 79 h 217"/>
                  <a:gd name="T22" fmla="*/ 37 w 433"/>
                  <a:gd name="T23" fmla="*/ 95 h 217"/>
                  <a:gd name="T24" fmla="*/ 26 w 433"/>
                  <a:gd name="T25" fmla="*/ 113 h 217"/>
                  <a:gd name="T26" fmla="*/ 17 w 433"/>
                  <a:gd name="T27" fmla="*/ 131 h 217"/>
                  <a:gd name="T28" fmla="*/ 10 w 433"/>
                  <a:gd name="T29" fmla="*/ 152 h 217"/>
                  <a:gd name="T30" fmla="*/ 4 w 433"/>
                  <a:gd name="T31" fmla="*/ 173 h 217"/>
                  <a:gd name="T32" fmla="*/ 0 w 433"/>
                  <a:gd name="T33" fmla="*/ 195 h 217"/>
                  <a:gd name="T34" fmla="*/ 0 w 433"/>
                  <a:gd name="T35" fmla="*/ 217 h 217"/>
                  <a:gd name="T36" fmla="*/ 433 w 433"/>
                  <a:gd name="T37" fmla="*/ 217 h 217"/>
                  <a:gd name="T38" fmla="*/ 433 w 433"/>
                  <a:gd name="T39" fmla="*/ 217 h 217"/>
                  <a:gd name="T40" fmla="*/ 432 w 433"/>
                  <a:gd name="T41" fmla="*/ 195 h 217"/>
                  <a:gd name="T42" fmla="*/ 429 w 433"/>
                  <a:gd name="T43" fmla="*/ 173 h 217"/>
                  <a:gd name="T44" fmla="*/ 423 w 433"/>
                  <a:gd name="T45" fmla="*/ 152 h 217"/>
                  <a:gd name="T46" fmla="*/ 416 w 433"/>
                  <a:gd name="T47" fmla="*/ 131 h 217"/>
                  <a:gd name="T48" fmla="*/ 407 w 433"/>
                  <a:gd name="T49" fmla="*/ 113 h 217"/>
                  <a:gd name="T50" fmla="*/ 396 w 433"/>
                  <a:gd name="T51" fmla="*/ 95 h 217"/>
                  <a:gd name="T52" fmla="*/ 384 w 433"/>
                  <a:gd name="T53" fmla="*/ 79 h 217"/>
                  <a:gd name="T54" fmla="*/ 370 w 433"/>
                  <a:gd name="T55" fmla="*/ 63 h 217"/>
                  <a:gd name="T56" fmla="*/ 355 w 433"/>
                  <a:gd name="T57" fmla="*/ 48 h 217"/>
                  <a:gd name="T58" fmla="*/ 338 w 433"/>
                  <a:gd name="T59" fmla="*/ 36 h 217"/>
                  <a:gd name="T60" fmla="*/ 320 w 433"/>
                  <a:gd name="T61" fmla="*/ 25 h 217"/>
                  <a:gd name="T62" fmla="*/ 301 w 433"/>
                  <a:gd name="T63" fmla="*/ 17 h 217"/>
                  <a:gd name="T64" fmla="*/ 281 w 433"/>
                  <a:gd name="T65" fmla="*/ 9 h 217"/>
                  <a:gd name="T66" fmla="*/ 260 w 433"/>
                  <a:gd name="T67" fmla="*/ 3 h 217"/>
                  <a:gd name="T68" fmla="*/ 239 w 433"/>
                  <a:gd name="T69" fmla="*/ 1 h 217"/>
                  <a:gd name="T70" fmla="*/ 216 w 433"/>
                  <a:gd name="T71"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33" h="217">
                    <a:moveTo>
                      <a:pt x="216" y="0"/>
                    </a:moveTo>
                    <a:lnTo>
                      <a:pt x="216" y="0"/>
                    </a:lnTo>
                    <a:lnTo>
                      <a:pt x="194" y="1"/>
                    </a:lnTo>
                    <a:lnTo>
                      <a:pt x="173" y="3"/>
                    </a:lnTo>
                    <a:lnTo>
                      <a:pt x="151" y="9"/>
                    </a:lnTo>
                    <a:lnTo>
                      <a:pt x="132" y="17"/>
                    </a:lnTo>
                    <a:lnTo>
                      <a:pt x="113" y="25"/>
                    </a:lnTo>
                    <a:lnTo>
                      <a:pt x="95" y="36"/>
                    </a:lnTo>
                    <a:lnTo>
                      <a:pt x="78" y="48"/>
                    </a:lnTo>
                    <a:lnTo>
                      <a:pt x="64" y="63"/>
                    </a:lnTo>
                    <a:lnTo>
                      <a:pt x="49" y="79"/>
                    </a:lnTo>
                    <a:lnTo>
                      <a:pt x="37" y="95"/>
                    </a:lnTo>
                    <a:lnTo>
                      <a:pt x="26" y="113"/>
                    </a:lnTo>
                    <a:lnTo>
                      <a:pt x="17" y="131"/>
                    </a:lnTo>
                    <a:lnTo>
                      <a:pt x="10" y="152"/>
                    </a:lnTo>
                    <a:lnTo>
                      <a:pt x="4" y="173"/>
                    </a:lnTo>
                    <a:lnTo>
                      <a:pt x="0" y="195"/>
                    </a:lnTo>
                    <a:lnTo>
                      <a:pt x="0" y="217"/>
                    </a:lnTo>
                    <a:lnTo>
                      <a:pt x="433" y="217"/>
                    </a:lnTo>
                    <a:lnTo>
                      <a:pt x="433" y="217"/>
                    </a:lnTo>
                    <a:lnTo>
                      <a:pt x="432" y="195"/>
                    </a:lnTo>
                    <a:lnTo>
                      <a:pt x="429" y="173"/>
                    </a:lnTo>
                    <a:lnTo>
                      <a:pt x="423" y="152"/>
                    </a:lnTo>
                    <a:lnTo>
                      <a:pt x="416" y="131"/>
                    </a:lnTo>
                    <a:lnTo>
                      <a:pt x="407" y="113"/>
                    </a:lnTo>
                    <a:lnTo>
                      <a:pt x="396" y="95"/>
                    </a:lnTo>
                    <a:lnTo>
                      <a:pt x="384" y="79"/>
                    </a:lnTo>
                    <a:lnTo>
                      <a:pt x="370" y="63"/>
                    </a:lnTo>
                    <a:lnTo>
                      <a:pt x="355" y="48"/>
                    </a:lnTo>
                    <a:lnTo>
                      <a:pt x="338" y="36"/>
                    </a:lnTo>
                    <a:lnTo>
                      <a:pt x="320" y="25"/>
                    </a:lnTo>
                    <a:lnTo>
                      <a:pt x="301" y="17"/>
                    </a:lnTo>
                    <a:lnTo>
                      <a:pt x="281" y="9"/>
                    </a:lnTo>
                    <a:lnTo>
                      <a:pt x="260" y="3"/>
                    </a:lnTo>
                    <a:lnTo>
                      <a:pt x="239" y="1"/>
                    </a:lnTo>
                    <a:lnTo>
                      <a:pt x="2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9" name="Freeform 1244"/>
              <p:cNvSpPr>
                <a:spLocks/>
              </p:cNvSpPr>
              <p:nvPr/>
            </p:nvSpPr>
            <p:spPr bwMode="auto">
              <a:xfrm>
                <a:off x="5718236" y="647697"/>
                <a:ext cx="85726" cy="42863"/>
              </a:xfrm>
              <a:custGeom>
                <a:avLst/>
                <a:gdLst>
                  <a:gd name="T0" fmla="*/ 134 w 268"/>
                  <a:gd name="T1" fmla="*/ 0 h 135"/>
                  <a:gd name="T2" fmla="*/ 134 w 268"/>
                  <a:gd name="T3" fmla="*/ 0 h 135"/>
                  <a:gd name="T4" fmla="*/ 120 w 268"/>
                  <a:gd name="T5" fmla="*/ 2 h 135"/>
                  <a:gd name="T6" fmla="*/ 107 w 268"/>
                  <a:gd name="T7" fmla="*/ 3 h 135"/>
                  <a:gd name="T8" fmla="*/ 94 w 268"/>
                  <a:gd name="T9" fmla="*/ 6 h 135"/>
                  <a:gd name="T10" fmla="*/ 81 w 268"/>
                  <a:gd name="T11" fmla="*/ 11 h 135"/>
                  <a:gd name="T12" fmla="*/ 69 w 268"/>
                  <a:gd name="T13" fmla="*/ 16 h 135"/>
                  <a:gd name="T14" fmla="*/ 58 w 268"/>
                  <a:gd name="T15" fmla="*/ 24 h 135"/>
                  <a:gd name="T16" fmla="*/ 48 w 268"/>
                  <a:gd name="T17" fmla="*/ 31 h 135"/>
                  <a:gd name="T18" fmla="*/ 39 w 268"/>
                  <a:gd name="T19" fmla="*/ 39 h 135"/>
                  <a:gd name="T20" fmla="*/ 30 w 268"/>
                  <a:gd name="T21" fmla="*/ 49 h 135"/>
                  <a:gd name="T22" fmla="*/ 23 w 268"/>
                  <a:gd name="T23" fmla="*/ 60 h 135"/>
                  <a:gd name="T24" fmla="*/ 15 w 268"/>
                  <a:gd name="T25" fmla="*/ 71 h 135"/>
                  <a:gd name="T26" fmla="*/ 9 w 268"/>
                  <a:gd name="T27" fmla="*/ 82 h 135"/>
                  <a:gd name="T28" fmla="*/ 6 w 268"/>
                  <a:gd name="T29" fmla="*/ 94 h 135"/>
                  <a:gd name="T30" fmla="*/ 2 w 268"/>
                  <a:gd name="T31" fmla="*/ 108 h 135"/>
                  <a:gd name="T32" fmla="*/ 0 w 268"/>
                  <a:gd name="T33" fmla="*/ 121 h 135"/>
                  <a:gd name="T34" fmla="*/ 0 w 268"/>
                  <a:gd name="T35" fmla="*/ 135 h 135"/>
                  <a:gd name="T36" fmla="*/ 268 w 268"/>
                  <a:gd name="T37" fmla="*/ 135 h 135"/>
                  <a:gd name="T38" fmla="*/ 268 w 268"/>
                  <a:gd name="T39" fmla="*/ 135 h 135"/>
                  <a:gd name="T40" fmla="*/ 267 w 268"/>
                  <a:gd name="T41" fmla="*/ 121 h 135"/>
                  <a:gd name="T42" fmla="*/ 265 w 268"/>
                  <a:gd name="T43" fmla="*/ 108 h 135"/>
                  <a:gd name="T44" fmla="*/ 262 w 268"/>
                  <a:gd name="T45" fmla="*/ 94 h 135"/>
                  <a:gd name="T46" fmla="*/ 257 w 268"/>
                  <a:gd name="T47" fmla="*/ 82 h 135"/>
                  <a:gd name="T48" fmla="*/ 252 w 268"/>
                  <a:gd name="T49" fmla="*/ 71 h 135"/>
                  <a:gd name="T50" fmla="*/ 245 w 268"/>
                  <a:gd name="T51" fmla="*/ 60 h 135"/>
                  <a:gd name="T52" fmla="*/ 237 w 268"/>
                  <a:gd name="T53" fmla="*/ 49 h 135"/>
                  <a:gd name="T54" fmla="*/ 229 w 268"/>
                  <a:gd name="T55" fmla="*/ 39 h 135"/>
                  <a:gd name="T56" fmla="*/ 219 w 268"/>
                  <a:gd name="T57" fmla="*/ 31 h 135"/>
                  <a:gd name="T58" fmla="*/ 208 w 268"/>
                  <a:gd name="T59" fmla="*/ 24 h 135"/>
                  <a:gd name="T60" fmla="*/ 197 w 268"/>
                  <a:gd name="T61" fmla="*/ 16 h 135"/>
                  <a:gd name="T62" fmla="*/ 186 w 268"/>
                  <a:gd name="T63" fmla="*/ 11 h 135"/>
                  <a:gd name="T64" fmla="*/ 174 w 268"/>
                  <a:gd name="T65" fmla="*/ 6 h 135"/>
                  <a:gd name="T66" fmla="*/ 161 w 268"/>
                  <a:gd name="T67" fmla="*/ 3 h 135"/>
                  <a:gd name="T68" fmla="*/ 147 w 268"/>
                  <a:gd name="T69" fmla="*/ 2 h 135"/>
                  <a:gd name="T70" fmla="*/ 134 w 268"/>
                  <a:gd name="T71"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8" h="135">
                    <a:moveTo>
                      <a:pt x="134" y="0"/>
                    </a:moveTo>
                    <a:lnTo>
                      <a:pt x="134" y="0"/>
                    </a:lnTo>
                    <a:lnTo>
                      <a:pt x="120" y="2"/>
                    </a:lnTo>
                    <a:lnTo>
                      <a:pt x="107" y="3"/>
                    </a:lnTo>
                    <a:lnTo>
                      <a:pt x="94" y="6"/>
                    </a:lnTo>
                    <a:lnTo>
                      <a:pt x="81" y="11"/>
                    </a:lnTo>
                    <a:lnTo>
                      <a:pt x="69" y="16"/>
                    </a:lnTo>
                    <a:lnTo>
                      <a:pt x="58" y="24"/>
                    </a:lnTo>
                    <a:lnTo>
                      <a:pt x="48" y="31"/>
                    </a:lnTo>
                    <a:lnTo>
                      <a:pt x="39" y="39"/>
                    </a:lnTo>
                    <a:lnTo>
                      <a:pt x="30" y="49"/>
                    </a:lnTo>
                    <a:lnTo>
                      <a:pt x="23" y="60"/>
                    </a:lnTo>
                    <a:lnTo>
                      <a:pt x="15" y="71"/>
                    </a:lnTo>
                    <a:lnTo>
                      <a:pt x="9" y="82"/>
                    </a:lnTo>
                    <a:lnTo>
                      <a:pt x="6" y="94"/>
                    </a:lnTo>
                    <a:lnTo>
                      <a:pt x="2" y="108"/>
                    </a:lnTo>
                    <a:lnTo>
                      <a:pt x="0" y="121"/>
                    </a:lnTo>
                    <a:lnTo>
                      <a:pt x="0" y="135"/>
                    </a:lnTo>
                    <a:lnTo>
                      <a:pt x="268" y="135"/>
                    </a:lnTo>
                    <a:lnTo>
                      <a:pt x="268" y="135"/>
                    </a:lnTo>
                    <a:lnTo>
                      <a:pt x="267" y="121"/>
                    </a:lnTo>
                    <a:lnTo>
                      <a:pt x="265" y="108"/>
                    </a:lnTo>
                    <a:lnTo>
                      <a:pt x="262" y="94"/>
                    </a:lnTo>
                    <a:lnTo>
                      <a:pt x="257" y="82"/>
                    </a:lnTo>
                    <a:lnTo>
                      <a:pt x="252" y="71"/>
                    </a:lnTo>
                    <a:lnTo>
                      <a:pt x="245" y="60"/>
                    </a:lnTo>
                    <a:lnTo>
                      <a:pt x="237" y="49"/>
                    </a:lnTo>
                    <a:lnTo>
                      <a:pt x="229" y="39"/>
                    </a:lnTo>
                    <a:lnTo>
                      <a:pt x="219" y="31"/>
                    </a:lnTo>
                    <a:lnTo>
                      <a:pt x="208" y="24"/>
                    </a:lnTo>
                    <a:lnTo>
                      <a:pt x="197" y="16"/>
                    </a:lnTo>
                    <a:lnTo>
                      <a:pt x="186" y="11"/>
                    </a:lnTo>
                    <a:lnTo>
                      <a:pt x="174" y="6"/>
                    </a:lnTo>
                    <a:lnTo>
                      <a:pt x="161" y="3"/>
                    </a:lnTo>
                    <a:lnTo>
                      <a:pt x="147" y="2"/>
                    </a:lnTo>
                    <a:lnTo>
                      <a:pt x="134" y="0"/>
                    </a:lnTo>
                    <a:close/>
                  </a:path>
                </a:pathLst>
              </a:custGeom>
              <a:solidFill>
                <a:srgbClr val="998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90" name="Freeform 1245"/>
              <p:cNvSpPr>
                <a:spLocks/>
              </p:cNvSpPr>
              <p:nvPr/>
            </p:nvSpPr>
            <p:spPr bwMode="auto">
              <a:xfrm>
                <a:off x="5718236" y="647697"/>
                <a:ext cx="85726" cy="42863"/>
              </a:xfrm>
              <a:custGeom>
                <a:avLst/>
                <a:gdLst>
                  <a:gd name="T0" fmla="*/ 134 w 268"/>
                  <a:gd name="T1" fmla="*/ 0 h 135"/>
                  <a:gd name="T2" fmla="*/ 134 w 268"/>
                  <a:gd name="T3" fmla="*/ 0 h 135"/>
                  <a:gd name="T4" fmla="*/ 120 w 268"/>
                  <a:gd name="T5" fmla="*/ 2 h 135"/>
                  <a:gd name="T6" fmla="*/ 107 w 268"/>
                  <a:gd name="T7" fmla="*/ 3 h 135"/>
                  <a:gd name="T8" fmla="*/ 94 w 268"/>
                  <a:gd name="T9" fmla="*/ 6 h 135"/>
                  <a:gd name="T10" fmla="*/ 81 w 268"/>
                  <a:gd name="T11" fmla="*/ 11 h 135"/>
                  <a:gd name="T12" fmla="*/ 69 w 268"/>
                  <a:gd name="T13" fmla="*/ 16 h 135"/>
                  <a:gd name="T14" fmla="*/ 58 w 268"/>
                  <a:gd name="T15" fmla="*/ 24 h 135"/>
                  <a:gd name="T16" fmla="*/ 48 w 268"/>
                  <a:gd name="T17" fmla="*/ 31 h 135"/>
                  <a:gd name="T18" fmla="*/ 39 w 268"/>
                  <a:gd name="T19" fmla="*/ 39 h 135"/>
                  <a:gd name="T20" fmla="*/ 30 w 268"/>
                  <a:gd name="T21" fmla="*/ 49 h 135"/>
                  <a:gd name="T22" fmla="*/ 23 w 268"/>
                  <a:gd name="T23" fmla="*/ 60 h 135"/>
                  <a:gd name="T24" fmla="*/ 15 w 268"/>
                  <a:gd name="T25" fmla="*/ 71 h 135"/>
                  <a:gd name="T26" fmla="*/ 9 w 268"/>
                  <a:gd name="T27" fmla="*/ 82 h 135"/>
                  <a:gd name="T28" fmla="*/ 6 w 268"/>
                  <a:gd name="T29" fmla="*/ 94 h 135"/>
                  <a:gd name="T30" fmla="*/ 2 w 268"/>
                  <a:gd name="T31" fmla="*/ 108 h 135"/>
                  <a:gd name="T32" fmla="*/ 0 w 268"/>
                  <a:gd name="T33" fmla="*/ 121 h 135"/>
                  <a:gd name="T34" fmla="*/ 0 w 268"/>
                  <a:gd name="T35" fmla="*/ 135 h 135"/>
                  <a:gd name="T36" fmla="*/ 268 w 268"/>
                  <a:gd name="T37" fmla="*/ 135 h 135"/>
                  <a:gd name="T38" fmla="*/ 268 w 268"/>
                  <a:gd name="T39" fmla="*/ 135 h 135"/>
                  <a:gd name="T40" fmla="*/ 267 w 268"/>
                  <a:gd name="T41" fmla="*/ 121 h 135"/>
                  <a:gd name="T42" fmla="*/ 265 w 268"/>
                  <a:gd name="T43" fmla="*/ 108 h 135"/>
                  <a:gd name="T44" fmla="*/ 262 w 268"/>
                  <a:gd name="T45" fmla="*/ 94 h 135"/>
                  <a:gd name="T46" fmla="*/ 257 w 268"/>
                  <a:gd name="T47" fmla="*/ 82 h 135"/>
                  <a:gd name="T48" fmla="*/ 252 w 268"/>
                  <a:gd name="T49" fmla="*/ 71 h 135"/>
                  <a:gd name="T50" fmla="*/ 245 w 268"/>
                  <a:gd name="T51" fmla="*/ 60 h 135"/>
                  <a:gd name="T52" fmla="*/ 237 w 268"/>
                  <a:gd name="T53" fmla="*/ 49 h 135"/>
                  <a:gd name="T54" fmla="*/ 229 w 268"/>
                  <a:gd name="T55" fmla="*/ 39 h 135"/>
                  <a:gd name="T56" fmla="*/ 219 w 268"/>
                  <a:gd name="T57" fmla="*/ 31 h 135"/>
                  <a:gd name="T58" fmla="*/ 208 w 268"/>
                  <a:gd name="T59" fmla="*/ 24 h 135"/>
                  <a:gd name="T60" fmla="*/ 197 w 268"/>
                  <a:gd name="T61" fmla="*/ 16 h 135"/>
                  <a:gd name="T62" fmla="*/ 186 w 268"/>
                  <a:gd name="T63" fmla="*/ 11 h 135"/>
                  <a:gd name="T64" fmla="*/ 174 w 268"/>
                  <a:gd name="T65" fmla="*/ 6 h 135"/>
                  <a:gd name="T66" fmla="*/ 161 w 268"/>
                  <a:gd name="T67" fmla="*/ 3 h 135"/>
                  <a:gd name="T68" fmla="*/ 147 w 268"/>
                  <a:gd name="T69" fmla="*/ 2 h 135"/>
                  <a:gd name="T70" fmla="*/ 134 w 268"/>
                  <a:gd name="T71"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8" h="135">
                    <a:moveTo>
                      <a:pt x="134" y="0"/>
                    </a:moveTo>
                    <a:lnTo>
                      <a:pt x="134" y="0"/>
                    </a:lnTo>
                    <a:lnTo>
                      <a:pt x="120" y="2"/>
                    </a:lnTo>
                    <a:lnTo>
                      <a:pt x="107" y="3"/>
                    </a:lnTo>
                    <a:lnTo>
                      <a:pt x="94" y="6"/>
                    </a:lnTo>
                    <a:lnTo>
                      <a:pt x="81" y="11"/>
                    </a:lnTo>
                    <a:lnTo>
                      <a:pt x="69" y="16"/>
                    </a:lnTo>
                    <a:lnTo>
                      <a:pt x="58" y="24"/>
                    </a:lnTo>
                    <a:lnTo>
                      <a:pt x="48" y="31"/>
                    </a:lnTo>
                    <a:lnTo>
                      <a:pt x="39" y="39"/>
                    </a:lnTo>
                    <a:lnTo>
                      <a:pt x="30" y="49"/>
                    </a:lnTo>
                    <a:lnTo>
                      <a:pt x="23" y="60"/>
                    </a:lnTo>
                    <a:lnTo>
                      <a:pt x="15" y="71"/>
                    </a:lnTo>
                    <a:lnTo>
                      <a:pt x="9" y="82"/>
                    </a:lnTo>
                    <a:lnTo>
                      <a:pt x="6" y="94"/>
                    </a:lnTo>
                    <a:lnTo>
                      <a:pt x="2" y="108"/>
                    </a:lnTo>
                    <a:lnTo>
                      <a:pt x="0" y="121"/>
                    </a:lnTo>
                    <a:lnTo>
                      <a:pt x="0" y="135"/>
                    </a:lnTo>
                    <a:lnTo>
                      <a:pt x="268" y="135"/>
                    </a:lnTo>
                    <a:lnTo>
                      <a:pt x="268" y="135"/>
                    </a:lnTo>
                    <a:lnTo>
                      <a:pt x="267" y="121"/>
                    </a:lnTo>
                    <a:lnTo>
                      <a:pt x="265" y="108"/>
                    </a:lnTo>
                    <a:lnTo>
                      <a:pt x="262" y="94"/>
                    </a:lnTo>
                    <a:lnTo>
                      <a:pt x="257" y="82"/>
                    </a:lnTo>
                    <a:lnTo>
                      <a:pt x="252" y="71"/>
                    </a:lnTo>
                    <a:lnTo>
                      <a:pt x="245" y="60"/>
                    </a:lnTo>
                    <a:lnTo>
                      <a:pt x="237" y="49"/>
                    </a:lnTo>
                    <a:lnTo>
                      <a:pt x="229" y="39"/>
                    </a:lnTo>
                    <a:lnTo>
                      <a:pt x="219" y="31"/>
                    </a:lnTo>
                    <a:lnTo>
                      <a:pt x="208" y="24"/>
                    </a:lnTo>
                    <a:lnTo>
                      <a:pt x="197" y="16"/>
                    </a:lnTo>
                    <a:lnTo>
                      <a:pt x="186" y="11"/>
                    </a:lnTo>
                    <a:lnTo>
                      <a:pt x="174" y="6"/>
                    </a:lnTo>
                    <a:lnTo>
                      <a:pt x="161" y="3"/>
                    </a:lnTo>
                    <a:lnTo>
                      <a:pt x="147" y="2"/>
                    </a:lnTo>
                    <a:lnTo>
                      <a:pt x="13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91" name="Freeform 1246"/>
              <p:cNvSpPr>
                <a:spLocks/>
              </p:cNvSpPr>
              <p:nvPr/>
            </p:nvSpPr>
            <p:spPr bwMode="auto">
              <a:xfrm>
                <a:off x="5599173" y="625472"/>
                <a:ext cx="66676" cy="33338"/>
              </a:xfrm>
              <a:custGeom>
                <a:avLst/>
                <a:gdLst>
                  <a:gd name="T0" fmla="*/ 105 w 209"/>
                  <a:gd name="T1" fmla="*/ 0 h 105"/>
                  <a:gd name="T2" fmla="*/ 105 w 209"/>
                  <a:gd name="T3" fmla="*/ 0 h 105"/>
                  <a:gd name="T4" fmla="*/ 94 w 209"/>
                  <a:gd name="T5" fmla="*/ 2 h 105"/>
                  <a:gd name="T6" fmla="*/ 84 w 209"/>
                  <a:gd name="T7" fmla="*/ 3 h 105"/>
                  <a:gd name="T8" fmla="*/ 74 w 209"/>
                  <a:gd name="T9" fmla="*/ 5 h 105"/>
                  <a:gd name="T10" fmla="*/ 64 w 209"/>
                  <a:gd name="T11" fmla="*/ 9 h 105"/>
                  <a:gd name="T12" fmla="*/ 55 w 209"/>
                  <a:gd name="T13" fmla="*/ 13 h 105"/>
                  <a:gd name="T14" fmla="*/ 47 w 209"/>
                  <a:gd name="T15" fmla="*/ 19 h 105"/>
                  <a:gd name="T16" fmla="*/ 38 w 209"/>
                  <a:gd name="T17" fmla="*/ 25 h 105"/>
                  <a:gd name="T18" fmla="*/ 31 w 209"/>
                  <a:gd name="T19" fmla="*/ 31 h 105"/>
                  <a:gd name="T20" fmla="*/ 25 w 209"/>
                  <a:gd name="T21" fmla="*/ 38 h 105"/>
                  <a:gd name="T22" fmla="*/ 19 w 209"/>
                  <a:gd name="T23" fmla="*/ 47 h 105"/>
                  <a:gd name="T24" fmla="*/ 13 w 209"/>
                  <a:gd name="T25" fmla="*/ 55 h 105"/>
                  <a:gd name="T26" fmla="*/ 9 w 209"/>
                  <a:gd name="T27" fmla="*/ 64 h 105"/>
                  <a:gd name="T28" fmla="*/ 5 w 209"/>
                  <a:gd name="T29" fmla="*/ 74 h 105"/>
                  <a:gd name="T30" fmla="*/ 3 w 209"/>
                  <a:gd name="T31" fmla="*/ 85 h 105"/>
                  <a:gd name="T32" fmla="*/ 2 w 209"/>
                  <a:gd name="T33" fmla="*/ 94 h 105"/>
                  <a:gd name="T34" fmla="*/ 0 w 209"/>
                  <a:gd name="T35" fmla="*/ 105 h 105"/>
                  <a:gd name="T36" fmla="*/ 209 w 209"/>
                  <a:gd name="T37" fmla="*/ 105 h 105"/>
                  <a:gd name="T38" fmla="*/ 209 w 209"/>
                  <a:gd name="T39" fmla="*/ 105 h 105"/>
                  <a:gd name="T40" fmla="*/ 209 w 209"/>
                  <a:gd name="T41" fmla="*/ 94 h 105"/>
                  <a:gd name="T42" fmla="*/ 208 w 209"/>
                  <a:gd name="T43" fmla="*/ 85 h 105"/>
                  <a:gd name="T44" fmla="*/ 205 w 209"/>
                  <a:gd name="T45" fmla="*/ 74 h 105"/>
                  <a:gd name="T46" fmla="*/ 202 w 209"/>
                  <a:gd name="T47" fmla="*/ 64 h 105"/>
                  <a:gd name="T48" fmla="*/ 197 w 209"/>
                  <a:gd name="T49" fmla="*/ 55 h 105"/>
                  <a:gd name="T50" fmla="*/ 192 w 209"/>
                  <a:gd name="T51" fmla="*/ 47 h 105"/>
                  <a:gd name="T52" fmla="*/ 186 w 209"/>
                  <a:gd name="T53" fmla="*/ 38 h 105"/>
                  <a:gd name="T54" fmla="*/ 178 w 209"/>
                  <a:gd name="T55" fmla="*/ 31 h 105"/>
                  <a:gd name="T56" fmla="*/ 171 w 209"/>
                  <a:gd name="T57" fmla="*/ 25 h 105"/>
                  <a:gd name="T58" fmla="*/ 164 w 209"/>
                  <a:gd name="T59" fmla="*/ 19 h 105"/>
                  <a:gd name="T60" fmla="*/ 155 w 209"/>
                  <a:gd name="T61" fmla="*/ 13 h 105"/>
                  <a:gd name="T62" fmla="*/ 145 w 209"/>
                  <a:gd name="T63" fmla="*/ 9 h 105"/>
                  <a:gd name="T64" fmla="*/ 136 w 209"/>
                  <a:gd name="T65" fmla="*/ 5 h 105"/>
                  <a:gd name="T66" fmla="*/ 126 w 209"/>
                  <a:gd name="T67" fmla="*/ 3 h 105"/>
                  <a:gd name="T68" fmla="*/ 116 w 209"/>
                  <a:gd name="T69" fmla="*/ 2 h 105"/>
                  <a:gd name="T70" fmla="*/ 105 w 209"/>
                  <a:gd name="T71"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9" h="105">
                    <a:moveTo>
                      <a:pt x="105" y="0"/>
                    </a:moveTo>
                    <a:lnTo>
                      <a:pt x="105" y="0"/>
                    </a:lnTo>
                    <a:lnTo>
                      <a:pt x="94" y="2"/>
                    </a:lnTo>
                    <a:lnTo>
                      <a:pt x="84" y="3"/>
                    </a:lnTo>
                    <a:lnTo>
                      <a:pt x="74" y="5"/>
                    </a:lnTo>
                    <a:lnTo>
                      <a:pt x="64" y="9"/>
                    </a:lnTo>
                    <a:lnTo>
                      <a:pt x="55" y="13"/>
                    </a:lnTo>
                    <a:lnTo>
                      <a:pt x="47" y="19"/>
                    </a:lnTo>
                    <a:lnTo>
                      <a:pt x="38" y="25"/>
                    </a:lnTo>
                    <a:lnTo>
                      <a:pt x="31" y="31"/>
                    </a:lnTo>
                    <a:lnTo>
                      <a:pt x="25" y="38"/>
                    </a:lnTo>
                    <a:lnTo>
                      <a:pt x="19" y="47"/>
                    </a:lnTo>
                    <a:lnTo>
                      <a:pt x="13" y="55"/>
                    </a:lnTo>
                    <a:lnTo>
                      <a:pt x="9" y="64"/>
                    </a:lnTo>
                    <a:lnTo>
                      <a:pt x="5" y="74"/>
                    </a:lnTo>
                    <a:lnTo>
                      <a:pt x="3" y="85"/>
                    </a:lnTo>
                    <a:lnTo>
                      <a:pt x="2" y="94"/>
                    </a:lnTo>
                    <a:lnTo>
                      <a:pt x="0" y="105"/>
                    </a:lnTo>
                    <a:lnTo>
                      <a:pt x="209" y="105"/>
                    </a:lnTo>
                    <a:lnTo>
                      <a:pt x="209" y="105"/>
                    </a:lnTo>
                    <a:lnTo>
                      <a:pt x="209" y="94"/>
                    </a:lnTo>
                    <a:lnTo>
                      <a:pt x="208" y="85"/>
                    </a:lnTo>
                    <a:lnTo>
                      <a:pt x="205" y="74"/>
                    </a:lnTo>
                    <a:lnTo>
                      <a:pt x="202" y="64"/>
                    </a:lnTo>
                    <a:lnTo>
                      <a:pt x="197" y="55"/>
                    </a:lnTo>
                    <a:lnTo>
                      <a:pt x="192" y="47"/>
                    </a:lnTo>
                    <a:lnTo>
                      <a:pt x="186" y="38"/>
                    </a:lnTo>
                    <a:lnTo>
                      <a:pt x="178" y="31"/>
                    </a:lnTo>
                    <a:lnTo>
                      <a:pt x="171" y="25"/>
                    </a:lnTo>
                    <a:lnTo>
                      <a:pt x="164" y="19"/>
                    </a:lnTo>
                    <a:lnTo>
                      <a:pt x="155" y="13"/>
                    </a:lnTo>
                    <a:lnTo>
                      <a:pt x="145" y="9"/>
                    </a:lnTo>
                    <a:lnTo>
                      <a:pt x="136" y="5"/>
                    </a:lnTo>
                    <a:lnTo>
                      <a:pt x="126" y="3"/>
                    </a:lnTo>
                    <a:lnTo>
                      <a:pt x="116" y="2"/>
                    </a:lnTo>
                    <a:lnTo>
                      <a:pt x="105" y="0"/>
                    </a:lnTo>
                    <a:close/>
                  </a:path>
                </a:pathLst>
              </a:custGeom>
              <a:solidFill>
                <a:srgbClr val="998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92" name="Freeform 1247"/>
              <p:cNvSpPr>
                <a:spLocks/>
              </p:cNvSpPr>
              <p:nvPr/>
            </p:nvSpPr>
            <p:spPr bwMode="auto">
              <a:xfrm>
                <a:off x="5599173" y="625472"/>
                <a:ext cx="66676" cy="33338"/>
              </a:xfrm>
              <a:custGeom>
                <a:avLst/>
                <a:gdLst>
                  <a:gd name="T0" fmla="*/ 105 w 209"/>
                  <a:gd name="T1" fmla="*/ 0 h 105"/>
                  <a:gd name="T2" fmla="*/ 105 w 209"/>
                  <a:gd name="T3" fmla="*/ 0 h 105"/>
                  <a:gd name="T4" fmla="*/ 94 w 209"/>
                  <a:gd name="T5" fmla="*/ 2 h 105"/>
                  <a:gd name="T6" fmla="*/ 84 w 209"/>
                  <a:gd name="T7" fmla="*/ 3 h 105"/>
                  <a:gd name="T8" fmla="*/ 74 w 209"/>
                  <a:gd name="T9" fmla="*/ 5 h 105"/>
                  <a:gd name="T10" fmla="*/ 64 w 209"/>
                  <a:gd name="T11" fmla="*/ 9 h 105"/>
                  <a:gd name="T12" fmla="*/ 55 w 209"/>
                  <a:gd name="T13" fmla="*/ 13 h 105"/>
                  <a:gd name="T14" fmla="*/ 47 w 209"/>
                  <a:gd name="T15" fmla="*/ 19 h 105"/>
                  <a:gd name="T16" fmla="*/ 38 w 209"/>
                  <a:gd name="T17" fmla="*/ 25 h 105"/>
                  <a:gd name="T18" fmla="*/ 31 w 209"/>
                  <a:gd name="T19" fmla="*/ 31 h 105"/>
                  <a:gd name="T20" fmla="*/ 25 w 209"/>
                  <a:gd name="T21" fmla="*/ 38 h 105"/>
                  <a:gd name="T22" fmla="*/ 19 w 209"/>
                  <a:gd name="T23" fmla="*/ 47 h 105"/>
                  <a:gd name="T24" fmla="*/ 13 w 209"/>
                  <a:gd name="T25" fmla="*/ 55 h 105"/>
                  <a:gd name="T26" fmla="*/ 9 w 209"/>
                  <a:gd name="T27" fmla="*/ 64 h 105"/>
                  <a:gd name="T28" fmla="*/ 5 w 209"/>
                  <a:gd name="T29" fmla="*/ 74 h 105"/>
                  <a:gd name="T30" fmla="*/ 3 w 209"/>
                  <a:gd name="T31" fmla="*/ 85 h 105"/>
                  <a:gd name="T32" fmla="*/ 2 w 209"/>
                  <a:gd name="T33" fmla="*/ 94 h 105"/>
                  <a:gd name="T34" fmla="*/ 0 w 209"/>
                  <a:gd name="T35" fmla="*/ 105 h 105"/>
                  <a:gd name="T36" fmla="*/ 209 w 209"/>
                  <a:gd name="T37" fmla="*/ 105 h 105"/>
                  <a:gd name="T38" fmla="*/ 209 w 209"/>
                  <a:gd name="T39" fmla="*/ 105 h 105"/>
                  <a:gd name="T40" fmla="*/ 209 w 209"/>
                  <a:gd name="T41" fmla="*/ 94 h 105"/>
                  <a:gd name="T42" fmla="*/ 208 w 209"/>
                  <a:gd name="T43" fmla="*/ 85 h 105"/>
                  <a:gd name="T44" fmla="*/ 205 w 209"/>
                  <a:gd name="T45" fmla="*/ 74 h 105"/>
                  <a:gd name="T46" fmla="*/ 202 w 209"/>
                  <a:gd name="T47" fmla="*/ 64 h 105"/>
                  <a:gd name="T48" fmla="*/ 197 w 209"/>
                  <a:gd name="T49" fmla="*/ 55 h 105"/>
                  <a:gd name="T50" fmla="*/ 192 w 209"/>
                  <a:gd name="T51" fmla="*/ 47 h 105"/>
                  <a:gd name="T52" fmla="*/ 186 w 209"/>
                  <a:gd name="T53" fmla="*/ 38 h 105"/>
                  <a:gd name="T54" fmla="*/ 178 w 209"/>
                  <a:gd name="T55" fmla="*/ 31 h 105"/>
                  <a:gd name="T56" fmla="*/ 171 w 209"/>
                  <a:gd name="T57" fmla="*/ 25 h 105"/>
                  <a:gd name="T58" fmla="*/ 164 w 209"/>
                  <a:gd name="T59" fmla="*/ 19 h 105"/>
                  <a:gd name="T60" fmla="*/ 155 w 209"/>
                  <a:gd name="T61" fmla="*/ 13 h 105"/>
                  <a:gd name="T62" fmla="*/ 145 w 209"/>
                  <a:gd name="T63" fmla="*/ 9 h 105"/>
                  <a:gd name="T64" fmla="*/ 136 w 209"/>
                  <a:gd name="T65" fmla="*/ 5 h 105"/>
                  <a:gd name="T66" fmla="*/ 126 w 209"/>
                  <a:gd name="T67" fmla="*/ 3 h 105"/>
                  <a:gd name="T68" fmla="*/ 116 w 209"/>
                  <a:gd name="T69" fmla="*/ 2 h 105"/>
                  <a:gd name="T70" fmla="*/ 105 w 209"/>
                  <a:gd name="T71"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9" h="105">
                    <a:moveTo>
                      <a:pt x="105" y="0"/>
                    </a:moveTo>
                    <a:lnTo>
                      <a:pt x="105" y="0"/>
                    </a:lnTo>
                    <a:lnTo>
                      <a:pt x="94" y="2"/>
                    </a:lnTo>
                    <a:lnTo>
                      <a:pt x="84" y="3"/>
                    </a:lnTo>
                    <a:lnTo>
                      <a:pt x="74" y="5"/>
                    </a:lnTo>
                    <a:lnTo>
                      <a:pt x="64" y="9"/>
                    </a:lnTo>
                    <a:lnTo>
                      <a:pt x="55" y="13"/>
                    </a:lnTo>
                    <a:lnTo>
                      <a:pt x="47" y="19"/>
                    </a:lnTo>
                    <a:lnTo>
                      <a:pt x="38" y="25"/>
                    </a:lnTo>
                    <a:lnTo>
                      <a:pt x="31" y="31"/>
                    </a:lnTo>
                    <a:lnTo>
                      <a:pt x="25" y="38"/>
                    </a:lnTo>
                    <a:lnTo>
                      <a:pt x="19" y="47"/>
                    </a:lnTo>
                    <a:lnTo>
                      <a:pt x="13" y="55"/>
                    </a:lnTo>
                    <a:lnTo>
                      <a:pt x="9" y="64"/>
                    </a:lnTo>
                    <a:lnTo>
                      <a:pt x="5" y="74"/>
                    </a:lnTo>
                    <a:lnTo>
                      <a:pt x="3" y="85"/>
                    </a:lnTo>
                    <a:lnTo>
                      <a:pt x="2" y="94"/>
                    </a:lnTo>
                    <a:lnTo>
                      <a:pt x="0" y="105"/>
                    </a:lnTo>
                    <a:lnTo>
                      <a:pt x="209" y="105"/>
                    </a:lnTo>
                    <a:lnTo>
                      <a:pt x="209" y="105"/>
                    </a:lnTo>
                    <a:lnTo>
                      <a:pt x="209" y="94"/>
                    </a:lnTo>
                    <a:lnTo>
                      <a:pt x="208" y="85"/>
                    </a:lnTo>
                    <a:lnTo>
                      <a:pt x="205" y="74"/>
                    </a:lnTo>
                    <a:lnTo>
                      <a:pt x="202" y="64"/>
                    </a:lnTo>
                    <a:lnTo>
                      <a:pt x="197" y="55"/>
                    </a:lnTo>
                    <a:lnTo>
                      <a:pt x="192" y="47"/>
                    </a:lnTo>
                    <a:lnTo>
                      <a:pt x="186" y="38"/>
                    </a:lnTo>
                    <a:lnTo>
                      <a:pt x="178" y="31"/>
                    </a:lnTo>
                    <a:lnTo>
                      <a:pt x="171" y="25"/>
                    </a:lnTo>
                    <a:lnTo>
                      <a:pt x="164" y="19"/>
                    </a:lnTo>
                    <a:lnTo>
                      <a:pt x="155" y="13"/>
                    </a:lnTo>
                    <a:lnTo>
                      <a:pt x="145" y="9"/>
                    </a:lnTo>
                    <a:lnTo>
                      <a:pt x="136" y="5"/>
                    </a:lnTo>
                    <a:lnTo>
                      <a:pt x="126" y="3"/>
                    </a:lnTo>
                    <a:lnTo>
                      <a:pt x="116" y="2"/>
                    </a:lnTo>
                    <a:lnTo>
                      <a:pt x="10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93" name="Freeform 1248"/>
              <p:cNvSpPr>
                <a:spLocks/>
              </p:cNvSpPr>
              <p:nvPr/>
            </p:nvSpPr>
            <p:spPr bwMode="auto">
              <a:xfrm>
                <a:off x="5518209" y="742948"/>
                <a:ext cx="147639" cy="73026"/>
              </a:xfrm>
              <a:custGeom>
                <a:avLst/>
                <a:gdLst>
                  <a:gd name="T0" fmla="*/ 234 w 467"/>
                  <a:gd name="T1" fmla="*/ 0 h 233"/>
                  <a:gd name="T2" fmla="*/ 234 w 467"/>
                  <a:gd name="T3" fmla="*/ 0 h 233"/>
                  <a:gd name="T4" fmla="*/ 210 w 467"/>
                  <a:gd name="T5" fmla="*/ 1 h 233"/>
                  <a:gd name="T6" fmla="*/ 187 w 467"/>
                  <a:gd name="T7" fmla="*/ 5 h 233"/>
                  <a:gd name="T8" fmla="*/ 165 w 467"/>
                  <a:gd name="T9" fmla="*/ 11 h 233"/>
                  <a:gd name="T10" fmla="*/ 143 w 467"/>
                  <a:gd name="T11" fmla="*/ 18 h 233"/>
                  <a:gd name="T12" fmla="*/ 122 w 467"/>
                  <a:gd name="T13" fmla="*/ 28 h 233"/>
                  <a:gd name="T14" fmla="*/ 104 w 467"/>
                  <a:gd name="T15" fmla="*/ 40 h 233"/>
                  <a:gd name="T16" fmla="*/ 86 w 467"/>
                  <a:gd name="T17" fmla="*/ 54 h 233"/>
                  <a:gd name="T18" fmla="*/ 69 w 467"/>
                  <a:gd name="T19" fmla="*/ 68 h 233"/>
                  <a:gd name="T20" fmla="*/ 54 w 467"/>
                  <a:gd name="T21" fmla="*/ 85 h 233"/>
                  <a:gd name="T22" fmla="*/ 41 w 467"/>
                  <a:gd name="T23" fmla="*/ 102 h 233"/>
                  <a:gd name="T24" fmla="*/ 28 w 467"/>
                  <a:gd name="T25" fmla="*/ 122 h 233"/>
                  <a:gd name="T26" fmla="*/ 19 w 467"/>
                  <a:gd name="T27" fmla="*/ 143 h 233"/>
                  <a:gd name="T28" fmla="*/ 11 w 467"/>
                  <a:gd name="T29" fmla="*/ 163 h 233"/>
                  <a:gd name="T30" fmla="*/ 5 w 467"/>
                  <a:gd name="T31" fmla="*/ 187 h 233"/>
                  <a:gd name="T32" fmla="*/ 2 w 467"/>
                  <a:gd name="T33" fmla="*/ 210 h 233"/>
                  <a:gd name="T34" fmla="*/ 0 w 467"/>
                  <a:gd name="T35" fmla="*/ 233 h 233"/>
                  <a:gd name="T36" fmla="*/ 467 w 467"/>
                  <a:gd name="T37" fmla="*/ 233 h 233"/>
                  <a:gd name="T38" fmla="*/ 467 w 467"/>
                  <a:gd name="T39" fmla="*/ 233 h 233"/>
                  <a:gd name="T40" fmla="*/ 466 w 467"/>
                  <a:gd name="T41" fmla="*/ 210 h 233"/>
                  <a:gd name="T42" fmla="*/ 462 w 467"/>
                  <a:gd name="T43" fmla="*/ 187 h 233"/>
                  <a:gd name="T44" fmla="*/ 456 w 467"/>
                  <a:gd name="T45" fmla="*/ 163 h 233"/>
                  <a:gd name="T46" fmla="*/ 449 w 467"/>
                  <a:gd name="T47" fmla="*/ 143 h 233"/>
                  <a:gd name="T48" fmla="*/ 439 w 467"/>
                  <a:gd name="T49" fmla="*/ 122 h 233"/>
                  <a:gd name="T50" fmla="*/ 427 w 467"/>
                  <a:gd name="T51" fmla="*/ 102 h 233"/>
                  <a:gd name="T52" fmla="*/ 414 w 467"/>
                  <a:gd name="T53" fmla="*/ 85 h 233"/>
                  <a:gd name="T54" fmla="*/ 399 w 467"/>
                  <a:gd name="T55" fmla="*/ 68 h 233"/>
                  <a:gd name="T56" fmla="*/ 382 w 467"/>
                  <a:gd name="T57" fmla="*/ 54 h 233"/>
                  <a:gd name="T58" fmla="*/ 365 w 467"/>
                  <a:gd name="T59" fmla="*/ 40 h 233"/>
                  <a:gd name="T60" fmla="*/ 345 w 467"/>
                  <a:gd name="T61" fmla="*/ 28 h 233"/>
                  <a:gd name="T62" fmla="*/ 325 w 467"/>
                  <a:gd name="T63" fmla="*/ 18 h 233"/>
                  <a:gd name="T64" fmla="*/ 303 w 467"/>
                  <a:gd name="T65" fmla="*/ 11 h 233"/>
                  <a:gd name="T66" fmla="*/ 281 w 467"/>
                  <a:gd name="T67" fmla="*/ 5 h 233"/>
                  <a:gd name="T68" fmla="*/ 258 w 467"/>
                  <a:gd name="T69" fmla="*/ 1 h 233"/>
                  <a:gd name="T70" fmla="*/ 234 w 467"/>
                  <a:gd name="T71"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7" h="233">
                    <a:moveTo>
                      <a:pt x="234" y="0"/>
                    </a:moveTo>
                    <a:lnTo>
                      <a:pt x="234" y="0"/>
                    </a:lnTo>
                    <a:lnTo>
                      <a:pt x="210" y="1"/>
                    </a:lnTo>
                    <a:lnTo>
                      <a:pt x="187" y="5"/>
                    </a:lnTo>
                    <a:lnTo>
                      <a:pt x="165" y="11"/>
                    </a:lnTo>
                    <a:lnTo>
                      <a:pt x="143" y="18"/>
                    </a:lnTo>
                    <a:lnTo>
                      <a:pt x="122" y="28"/>
                    </a:lnTo>
                    <a:lnTo>
                      <a:pt x="104" y="40"/>
                    </a:lnTo>
                    <a:lnTo>
                      <a:pt x="86" y="54"/>
                    </a:lnTo>
                    <a:lnTo>
                      <a:pt x="69" y="68"/>
                    </a:lnTo>
                    <a:lnTo>
                      <a:pt x="54" y="85"/>
                    </a:lnTo>
                    <a:lnTo>
                      <a:pt x="41" y="102"/>
                    </a:lnTo>
                    <a:lnTo>
                      <a:pt x="28" y="122"/>
                    </a:lnTo>
                    <a:lnTo>
                      <a:pt x="19" y="143"/>
                    </a:lnTo>
                    <a:lnTo>
                      <a:pt x="11" y="163"/>
                    </a:lnTo>
                    <a:lnTo>
                      <a:pt x="5" y="187"/>
                    </a:lnTo>
                    <a:lnTo>
                      <a:pt x="2" y="210"/>
                    </a:lnTo>
                    <a:lnTo>
                      <a:pt x="0" y="233"/>
                    </a:lnTo>
                    <a:lnTo>
                      <a:pt x="467" y="233"/>
                    </a:lnTo>
                    <a:lnTo>
                      <a:pt x="467" y="233"/>
                    </a:lnTo>
                    <a:lnTo>
                      <a:pt x="466" y="210"/>
                    </a:lnTo>
                    <a:lnTo>
                      <a:pt x="462" y="187"/>
                    </a:lnTo>
                    <a:lnTo>
                      <a:pt x="456" y="163"/>
                    </a:lnTo>
                    <a:lnTo>
                      <a:pt x="449" y="143"/>
                    </a:lnTo>
                    <a:lnTo>
                      <a:pt x="439" y="122"/>
                    </a:lnTo>
                    <a:lnTo>
                      <a:pt x="427" y="102"/>
                    </a:lnTo>
                    <a:lnTo>
                      <a:pt x="414" y="85"/>
                    </a:lnTo>
                    <a:lnTo>
                      <a:pt x="399" y="68"/>
                    </a:lnTo>
                    <a:lnTo>
                      <a:pt x="382" y="54"/>
                    </a:lnTo>
                    <a:lnTo>
                      <a:pt x="365" y="40"/>
                    </a:lnTo>
                    <a:lnTo>
                      <a:pt x="345" y="28"/>
                    </a:lnTo>
                    <a:lnTo>
                      <a:pt x="325" y="18"/>
                    </a:lnTo>
                    <a:lnTo>
                      <a:pt x="303" y="11"/>
                    </a:lnTo>
                    <a:lnTo>
                      <a:pt x="281" y="5"/>
                    </a:lnTo>
                    <a:lnTo>
                      <a:pt x="258" y="1"/>
                    </a:lnTo>
                    <a:lnTo>
                      <a:pt x="234" y="0"/>
                    </a:lnTo>
                    <a:close/>
                  </a:path>
                </a:pathLst>
              </a:custGeom>
              <a:solidFill>
                <a:srgbClr val="998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sp>
          <p:nvSpPr>
            <p:cNvPr id="221" name="Freeform 1249"/>
            <p:cNvSpPr>
              <a:spLocks/>
            </p:cNvSpPr>
            <p:nvPr/>
          </p:nvSpPr>
          <p:spPr bwMode="auto">
            <a:xfrm>
              <a:off x="8741782" y="-574865"/>
              <a:ext cx="176445" cy="87274"/>
            </a:xfrm>
            <a:custGeom>
              <a:avLst/>
              <a:gdLst>
                <a:gd name="T0" fmla="*/ 234 w 467"/>
                <a:gd name="T1" fmla="*/ 0 h 233"/>
                <a:gd name="T2" fmla="*/ 234 w 467"/>
                <a:gd name="T3" fmla="*/ 0 h 233"/>
                <a:gd name="T4" fmla="*/ 210 w 467"/>
                <a:gd name="T5" fmla="*/ 1 h 233"/>
                <a:gd name="T6" fmla="*/ 187 w 467"/>
                <a:gd name="T7" fmla="*/ 5 h 233"/>
                <a:gd name="T8" fmla="*/ 165 w 467"/>
                <a:gd name="T9" fmla="*/ 11 h 233"/>
                <a:gd name="T10" fmla="*/ 143 w 467"/>
                <a:gd name="T11" fmla="*/ 18 h 233"/>
                <a:gd name="T12" fmla="*/ 122 w 467"/>
                <a:gd name="T13" fmla="*/ 28 h 233"/>
                <a:gd name="T14" fmla="*/ 104 w 467"/>
                <a:gd name="T15" fmla="*/ 40 h 233"/>
                <a:gd name="T16" fmla="*/ 86 w 467"/>
                <a:gd name="T17" fmla="*/ 54 h 233"/>
                <a:gd name="T18" fmla="*/ 69 w 467"/>
                <a:gd name="T19" fmla="*/ 68 h 233"/>
                <a:gd name="T20" fmla="*/ 54 w 467"/>
                <a:gd name="T21" fmla="*/ 85 h 233"/>
                <a:gd name="T22" fmla="*/ 41 w 467"/>
                <a:gd name="T23" fmla="*/ 102 h 233"/>
                <a:gd name="T24" fmla="*/ 28 w 467"/>
                <a:gd name="T25" fmla="*/ 122 h 233"/>
                <a:gd name="T26" fmla="*/ 19 w 467"/>
                <a:gd name="T27" fmla="*/ 143 h 233"/>
                <a:gd name="T28" fmla="*/ 11 w 467"/>
                <a:gd name="T29" fmla="*/ 163 h 233"/>
                <a:gd name="T30" fmla="*/ 5 w 467"/>
                <a:gd name="T31" fmla="*/ 187 h 233"/>
                <a:gd name="T32" fmla="*/ 2 w 467"/>
                <a:gd name="T33" fmla="*/ 210 h 233"/>
                <a:gd name="T34" fmla="*/ 0 w 467"/>
                <a:gd name="T35" fmla="*/ 233 h 233"/>
                <a:gd name="T36" fmla="*/ 467 w 467"/>
                <a:gd name="T37" fmla="*/ 233 h 233"/>
                <a:gd name="T38" fmla="*/ 467 w 467"/>
                <a:gd name="T39" fmla="*/ 233 h 233"/>
                <a:gd name="T40" fmla="*/ 466 w 467"/>
                <a:gd name="T41" fmla="*/ 210 h 233"/>
                <a:gd name="T42" fmla="*/ 462 w 467"/>
                <a:gd name="T43" fmla="*/ 187 h 233"/>
                <a:gd name="T44" fmla="*/ 456 w 467"/>
                <a:gd name="T45" fmla="*/ 163 h 233"/>
                <a:gd name="T46" fmla="*/ 449 w 467"/>
                <a:gd name="T47" fmla="*/ 143 h 233"/>
                <a:gd name="T48" fmla="*/ 439 w 467"/>
                <a:gd name="T49" fmla="*/ 122 h 233"/>
                <a:gd name="T50" fmla="*/ 427 w 467"/>
                <a:gd name="T51" fmla="*/ 102 h 233"/>
                <a:gd name="T52" fmla="*/ 414 w 467"/>
                <a:gd name="T53" fmla="*/ 85 h 233"/>
                <a:gd name="T54" fmla="*/ 399 w 467"/>
                <a:gd name="T55" fmla="*/ 68 h 233"/>
                <a:gd name="T56" fmla="*/ 382 w 467"/>
                <a:gd name="T57" fmla="*/ 54 h 233"/>
                <a:gd name="T58" fmla="*/ 365 w 467"/>
                <a:gd name="T59" fmla="*/ 40 h 233"/>
                <a:gd name="T60" fmla="*/ 345 w 467"/>
                <a:gd name="T61" fmla="*/ 28 h 233"/>
                <a:gd name="T62" fmla="*/ 325 w 467"/>
                <a:gd name="T63" fmla="*/ 18 h 233"/>
                <a:gd name="T64" fmla="*/ 303 w 467"/>
                <a:gd name="T65" fmla="*/ 11 h 233"/>
                <a:gd name="T66" fmla="*/ 281 w 467"/>
                <a:gd name="T67" fmla="*/ 5 h 233"/>
                <a:gd name="T68" fmla="*/ 258 w 467"/>
                <a:gd name="T69" fmla="*/ 1 h 233"/>
                <a:gd name="T70" fmla="*/ 234 w 467"/>
                <a:gd name="T71"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7" h="233">
                  <a:moveTo>
                    <a:pt x="234" y="0"/>
                  </a:moveTo>
                  <a:lnTo>
                    <a:pt x="234" y="0"/>
                  </a:lnTo>
                  <a:lnTo>
                    <a:pt x="210" y="1"/>
                  </a:lnTo>
                  <a:lnTo>
                    <a:pt x="187" y="5"/>
                  </a:lnTo>
                  <a:lnTo>
                    <a:pt x="165" y="11"/>
                  </a:lnTo>
                  <a:lnTo>
                    <a:pt x="143" y="18"/>
                  </a:lnTo>
                  <a:lnTo>
                    <a:pt x="122" y="28"/>
                  </a:lnTo>
                  <a:lnTo>
                    <a:pt x="104" y="40"/>
                  </a:lnTo>
                  <a:lnTo>
                    <a:pt x="86" y="54"/>
                  </a:lnTo>
                  <a:lnTo>
                    <a:pt x="69" y="68"/>
                  </a:lnTo>
                  <a:lnTo>
                    <a:pt x="54" y="85"/>
                  </a:lnTo>
                  <a:lnTo>
                    <a:pt x="41" y="102"/>
                  </a:lnTo>
                  <a:lnTo>
                    <a:pt x="28" y="122"/>
                  </a:lnTo>
                  <a:lnTo>
                    <a:pt x="19" y="143"/>
                  </a:lnTo>
                  <a:lnTo>
                    <a:pt x="11" y="163"/>
                  </a:lnTo>
                  <a:lnTo>
                    <a:pt x="5" y="187"/>
                  </a:lnTo>
                  <a:lnTo>
                    <a:pt x="2" y="210"/>
                  </a:lnTo>
                  <a:lnTo>
                    <a:pt x="0" y="233"/>
                  </a:lnTo>
                  <a:lnTo>
                    <a:pt x="467" y="233"/>
                  </a:lnTo>
                  <a:lnTo>
                    <a:pt x="467" y="233"/>
                  </a:lnTo>
                  <a:lnTo>
                    <a:pt x="466" y="210"/>
                  </a:lnTo>
                  <a:lnTo>
                    <a:pt x="462" y="187"/>
                  </a:lnTo>
                  <a:lnTo>
                    <a:pt x="456" y="163"/>
                  </a:lnTo>
                  <a:lnTo>
                    <a:pt x="449" y="143"/>
                  </a:lnTo>
                  <a:lnTo>
                    <a:pt x="439" y="122"/>
                  </a:lnTo>
                  <a:lnTo>
                    <a:pt x="427" y="102"/>
                  </a:lnTo>
                  <a:lnTo>
                    <a:pt x="414" y="85"/>
                  </a:lnTo>
                  <a:lnTo>
                    <a:pt x="399" y="68"/>
                  </a:lnTo>
                  <a:lnTo>
                    <a:pt x="382" y="54"/>
                  </a:lnTo>
                  <a:lnTo>
                    <a:pt x="365" y="40"/>
                  </a:lnTo>
                  <a:lnTo>
                    <a:pt x="345" y="28"/>
                  </a:lnTo>
                  <a:lnTo>
                    <a:pt x="325" y="18"/>
                  </a:lnTo>
                  <a:lnTo>
                    <a:pt x="303" y="11"/>
                  </a:lnTo>
                  <a:lnTo>
                    <a:pt x="281" y="5"/>
                  </a:lnTo>
                  <a:lnTo>
                    <a:pt x="258" y="1"/>
                  </a:lnTo>
                  <a:lnTo>
                    <a:pt x="23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22" name="Freeform 1250"/>
            <p:cNvSpPr>
              <a:spLocks/>
            </p:cNvSpPr>
            <p:nvPr/>
          </p:nvSpPr>
          <p:spPr bwMode="auto">
            <a:xfrm>
              <a:off x="8085334" y="-897398"/>
              <a:ext cx="402218" cy="400322"/>
            </a:xfrm>
            <a:custGeom>
              <a:avLst/>
              <a:gdLst>
                <a:gd name="T0" fmla="*/ 1057 w 1057"/>
                <a:gd name="T1" fmla="*/ 1057 h 1057"/>
                <a:gd name="T2" fmla="*/ 1055 w 1057"/>
                <a:gd name="T3" fmla="*/ 1003 h 1057"/>
                <a:gd name="T4" fmla="*/ 1044 w 1057"/>
                <a:gd name="T5" fmla="*/ 896 h 1057"/>
                <a:gd name="T6" fmla="*/ 1024 w 1057"/>
                <a:gd name="T7" fmla="*/ 793 h 1057"/>
                <a:gd name="T8" fmla="*/ 992 w 1057"/>
                <a:gd name="T9" fmla="*/ 694 h 1057"/>
                <a:gd name="T10" fmla="*/ 952 w 1057"/>
                <a:gd name="T11" fmla="*/ 599 h 1057"/>
                <a:gd name="T12" fmla="*/ 903 w 1057"/>
                <a:gd name="T13" fmla="*/ 509 h 1057"/>
                <a:gd name="T14" fmla="*/ 847 w 1057"/>
                <a:gd name="T15" fmla="*/ 424 h 1057"/>
                <a:gd name="T16" fmla="*/ 782 w 1057"/>
                <a:gd name="T17" fmla="*/ 346 h 1057"/>
                <a:gd name="T18" fmla="*/ 710 w 1057"/>
                <a:gd name="T19" fmla="*/ 274 h 1057"/>
                <a:gd name="T20" fmla="*/ 632 w 1057"/>
                <a:gd name="T21" fmla="*/ 210 h 1057"/>
                <a:gd name="T22" fmla="*/ 547 w 1057"/>
                <a:gd name="T23" fmla="*/ 154 h 1057"/>
                <a:gd name="T24" fmla="*/ 458 w 1057"/>
                <a:gd name="T25" fmla="*/ 104 h 1057"/>
                <a:gd name="T26" fmla="*/ 363 w 1057"/>
                <a:gd name="T27" fmla="*/ 65 h 1057"/>
                <a:gd name="T28" fmla="*/ 263 w 1057"/>
                <a:gd name="T29" fmla="*/ 33 h 1057"/>
                <a:gd name="T30" fmla="*/ 161 w 1057"/>
                <a:gd name="T31" fmla="*/ 12 h 1057"/>
                <a:gd name="T32" fmla="*/ 53 w 1057"/>
                <a:gd name="T33" fmla="*/ 1 h 1057"/>
                <a:gd name="T34" fmla="*/ 0 w 1057"/>
                <a:gd name="T35" fmla="*/ 0 h 1057"/>
                <a:gd name="T36" fmla="*/ 29 w 1057"/>
                <a:gd name="T37" fmla="*/ 1 h 1057"/>
                <a:gd name="T38" fmla="*/ 86 w 1057"/>
                <a:gd name="T39" fmla="*/ 12 h 1057"/>
                <a:gd name="T40" fmla="*/ 141 w 1057"/>
                <a:gd name="T41" fmla="*/ 33 h 1057"/>
                <a:gd name="T42" fmla="*/ 195 w 1057"/>
                <a:gd name="T43" fmla="*/ 65 h 1057"/>
                <a:gd name="T44" fmla="*/ 246 w 1057"/>
                <a:gd name="T45" fmla="*/ 105 h 1057"/>
                <a:gd name="T46" fmla="*/ 295 w 1057"/>
                <a:gd name="T47" fmla="*/ 154 h 1057"/>
                <a:gd name="T48" fmla="*/ 340 w 1057"/>
                <a:gd name="T49" fmla="*/ 210 h 1057"/>
                <a:gd name="T50" fmla="*/ 382 w 1057"/>
                <a:gd name="T51" fmla="*/ 274 h 1057"/>
                <a:gd name="T52" fmla="*/ 420 w 1057"/>
                <a:gd name="T53" fmla="*/ 346 h 1057"/>
                <a:gd name="T54" fmla="*/ 456 w 1057"/>
                <a:gd name="T55" fmla="*/ 424 h 1057"/>
                <a:gd name="T56" fmla="*/ 486 w 1057"/>
                <a:gd name="T57" fmla="*/ 510 h 1057"/>
                <a:gd name="T58" fmla="*/ 512 w 1057"/>
                <a:gd name="T59" fmla="*/ 599 h 1057"/>
                <a:gd name="T60" fmla="*/ 534 w 1057"/>
                <a:gd name="T61" fmla="*/ 694 h 1057"/>
                <a:gd name="T62" fmla="*/ 551 w 1057"/>
                <a:gd name="T63" fmla="*/ 793 h 1057"/>
                <a:gd name="T64" fmla="*/ 562 w 1057"/>
                <a:gd name="T65" fmla="*/ 896 h 1057"/>
                <a:gd name="T66" fmla="*/ 568 w 1057"/>
                <a:gd name="T67" fmla="*/ 1003 h 1057"/>
                <a:gd name="T68" fmla="*/ 568 w 1057"/>
                <a:gd name="T69" fmla="*/ 1057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57" h="1057">
                  <a:moveTo>
                    <a:pt x="568" y="1057"/>
                  </a:moveTo>
                  <a:lnTo>
                    <a:pt x="1057" y="1057"/>
                  </a:lnTo>
                  <a:lnTo>
                    <a:pt x="1057" y="1057"/>
                  </a:lnTo>
                  <a:lnTo>
                    <a:pt x="1055" y="1003"/>
                  </a:lnTo>
                  <a:lnTo>
                    <a:pt x="1051" y="950"/>
                  </a:lnTo>
                  <a:lnTo>
                    <a:pt x="1044" y="896"/>
                  </a:lnTo>
                  <a:lnTo>
                    <a:pt x="1035" y="844"/>
                  </a:lnTo>
                  <a:lnTo>
                    <a:pt x="1024" y="793"/>
                  </a:lnTo>
                  <a:lnTo>
                    <a:pt x="1009" y="743"/>
                  </a:lnTo>
                  <a:lnTo>
                    <a:pt x="992" y="694"/>
                  </a:lnTo>
                  <a:lnTo>
                    <a:pt x="974" y="646"/>
                  </a:lnTo>
                  <a:lnTo>
                    <a:pt x="952" y="599"/>
                  </a:lnTo>
                  <a:lnTo>
                    <a:pt x="929" y="554"/>
                  </a:lnTo>
                  <a:lnTo>
                    <a:pt x="903" y="509"/>
                  </a:lnTo>
                  <a:lnTo>
                    <a:pt x="876" y="466"/>
                  </a:lnTo>
                  <a:lnTo>
                    <a:pt x="847" y="424"/>
                  </a:lnTo>
                  <a:lnTo>
                    <a:pt x="815" y="385"/>
                  </a:lnTo>
                  <a:lnTo>
                    <a:pt x="782" y="346"/>
                  </a:lnTo>
                  <a:lnTo>
                    <a:pt x="747" y="310"/>
                  </a:lnTo>
                  <a:lnTo>
                    <a:pt x="710" y="274"/>
                  </a:lnTo>
                  <a:lnTo>
                    <a:pt x="671" y="242"/>
                  </a:lnTo>
                  <a:lnTo>
                    <a:pt x="632" y="210"/>
                  </a:lnTo>
                  <a:lnTo>
                    <a:pt x="591" y="181"/>
                  </a:lnTo>
                  <a:lnTo>
                    <a:pt x="547" y="154"/>
                  </a:lnTo>
                  <a:lnTo>
                    <a:pt x="503" y="128"/>
                  </a:lnTo>
                  <a:lnTo>
                    <a:pt x="458" y="104"/>
                  </a:lnTo>
                  <a:lnTo>
                    <a:pt x="410" y="83"/>
                  </a:lnTo>
                  <a:lnTo>
                    <a:pt x="363" y="65"/>
                  </a:lnTo>
                  <a:lnTo>
                    <a:pt x="314" y="48"/>
                  </a:lnTo>
                  <a:lnTo>
                    <a:pt x="263" y="33"/>
                  </a:lnTo>
                  <a:lnTo>
                    <a:pt x="212" y="22"/>
                  </a:lnTo>
                  <a:lnTo>
                    <a:pt x="161" y="12"/>
                  </a:lnTo>
                  <a:lnTo>
                    <a:pt x="107" y="5"/>
                  </a:lnTo>
                  <a:lnTo>
                    <a:pt x="53" y="1"/>
                  </a:lnTo>
                  <a:lnTo>
                    <a:pt x="0" y="0"/>
                  </a:lnTo>
                  <a:lnTo>
                    <a:pt x="0" y="0"/>
                  </a:lnTo>
                  <a:lnTo>
                    <a:pt x="0" y="0"/>
                  </a:lnTo>
                  <a:lnTo>
                    <a:pt x="29" y="1"/>
                  </a:lnTo>
                  <a:lnTo>
                    <a:pt x="57" y="6"/>
                  </a:lnTo>
                  <a:lnTo>
                    <a:pt x="86" y="12"/>
                  </a:lnTo>
                  <a:lnTo>
                    <a:pt x="114" y="22"/>
                  </a:lnTo>
                  <a:lnTo>
                    <a:pt x="141" y="33"/>
                  </a:lnTo>
                  <a:lnTo>
                    <a:pt x="168" y="48"/>
                  </a:lnTo>
                  <a:lnTo>
                    <a:pt x="195" y="65"/>
                  </a:lnTo>
                  <a:lnTo>
                    <a:pt x="220" y="83"/>
                  </a:lnTo>
                  <a:lnTo>
                    <a:pt x="246" y="105"/>
                  </a:lnTo>
                  <a:lnTo>
                    <a:pt x="270" y="128"/>
                  </a:lnTo>
                  <a:lnTo>
                    <a:pt x="295" y="154"/>
                  </a:lnTo>
                  <a:lnTo>
                    <a:pt x="318" y="181"/>
                  </a:lnTo>
                  <a:lnTo>
                    <a:pt x="340" y="210"/>
                  </a:lnTo>
                  <a:lnTo>
                    <a:pt x="362" y="242"/>
                  </a:lnTo>
                  <a:lnTo>
                    <a:pt x="382" y="274"/>
                  </a:lnTo>
                  <a:lnTo>
                    <a:pt x="402" y="310"/>
                  </a:lnTo>
                  <a:lnTo>
                    <a:pt x="420" y="346"/>
                  </a:lnTo>
                  <a:lnTo>
                    <a:pt x="439" y="385"/>
                  </a:lnTo>
                  <a:lnTo>
                    <a:pt x="456" y="424"/>
                  </a:lnTo>
                  <a:lnTo>
                    <a:pt x="471" y="466"/>
                  </a:lnTo>
                  <a:lnTo>
                    <a:pt x="486" y="510"/>
                  </a:lnTo>
                  <a:lnTo>
                    <a:pt x="499" y="554"/>
                  </a:lnTo>
                  <a:lnTo>
                    <a:pt x="512" y="599"/>
                  </a:lnTo>
                  <a:lnTo>
                    <a:pt x="524" y="646"/>
                  </a:lnTo>
                  <a:lnTo>
                    <a:pt x="534" y="694"/>
                  </a:lnTo>
                  <a:lnTo>
                    <a:pt x="542" y="743"/>
                  </a:lnTo>
                  <a:lnTo>
                    <a:pt x="551" y="793"/>
                  </a:lnTo>
                  <a:lnTo>
                    <a:pt x="557" y="844"/>
                  </a:lnTo>
                  <a:lnTo>
                    <a:pt x="562" y="896"/>
                  </a:lnTo>
                  <a:lnTo>
                    <a:pt x="565" y="950"/>
                  </a:lnTo>
                  <a:lnTo>
                    <a:pt x="568" y="1003"/>
                  </a:lnTo>
                  <a:lnTo>
                    <a:pt x="568" y="1057"/>
                  </a:lnTo>
                  <a:lnTo>
                    <a:pt x="568" y="1057"/>
                  </a:lnTo>
                  <a:close/>
                </a:path>
              </a:pathLst>
            </a:custGeom>
            <a:solidFill>
              <a:srgbClr val="AAAA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23" name="Freeform 1251"/>
            <p:cNvSpPr>
              <a:spLocks/>
            </p:cNvSpPr>
            <p:nvPr/>
          </p:nvSpPr>
          <p:spPr bwMode="auto">
            <a:xfrm>
              <a:off x="7683118" y="-897398"/>
              <a:ext cx="402218" cy="400322"/>
            </a:xfrm>
            <a:custGeom>
              <a:avLst/>
              <a:gdLst>
                <a:gd name="T0" fmla="*/ 1059 w 1059"/>
                <a:gd name="T1" fmla="*/ 0 h 1057"/>
                <a:gd name="T2" fmla="*/ 1004 w 1059"/>
                <a:gd name="T3" fmla="*/ 1 h 1057"/>
                <a:gd name="T4" fmla="*/ 898 w 1059"/>
                <a:gd name="T5" fmla="*/ 12 h 1057"/>
                <a:gd name="T6" fmla="*/ 794 w 1059"/>
                <a:gd name="T7" fmla="*/ 33 h 1057"/>
                <a:gd name="T8" fmla="*/ 694 w 1059"/>
                <a:gd name="T9" fmla="*/ 65 h 1057"/>
                <a:gd name="T10" fmla="*/ 600 w 1059"/>
                <a:gd name="T11" fmla="*/ 104 h 1057"/>
                <a:gd name="T12" fmla="*/ 510 w 1059"/>
                <a:gd name="T13" fmla="*/ 154 h 1057"/>
                <a:gd name="T14" fmla="*/ 426 w 1059"/>
                <a:gd name="T15" fmla="*/ 210 h 1057"/>
                <a:gd name="T16" fmla="*/ 348 w 1059"/>
                <a:gd name="T17" fmla="*/ 274 h 1057"/>
                <a:gd name="T18" fmla="*/ 276 w 1059"/>
                <a:gd name="T19" fmla="*/ 346 h 1057"/>
                <a:gd name="T20" fmla="*/ 211 w 1059"/>
                <a:gd name="T21" fmla="*/ 424 h 1057"/>
                <a:gd name="T22" fmla="*/ 154 w 1059"/>
                <a:gd name="T23" fmla="*/ 509 h 1057"/>
                <a:gd name="T24" fmla="*/ 105 w 1059"/>
                <a:gd name="T25" fmla="*/ 599 h 1057"/>
                <a:gd name="T26" fmla="*/ 65 w 1059"/>
                <a:gd name="T27" fmla="*/ 694 h 1057"/>
                <a:gd name="T28" fmla="*/ 35 w 1059"/>
                <a:gd name="T29" fmla="*/ 793 h 1057"/>
                <a:gd name="T30" fmla="*/ 13 w 1059"/>
                <a:gd name="T31" fmla="*/ 896 h 1057"/>
                <a:gd name="T32" fmla="*/ 3 w 1059"/>
                <a:gd name="T33" fmla="*/ 1003 h 1057"/>
                <a:gd name="T34" fmla="*/ 489 w 1059"/>
                <a:gd name="T35" fmla="*/ 1057 h 1057"/>
                <a:gd name="T36" fmla="*/ 489 w 1059"/>
                <a:gd name="T37" fmla="*/ 1003 h 1057"/>
                <a:gd name="T38" fmla="*/ 495 w 1059"/>
                <a:gd name="T39" fmla="*/ 896 h 1057"/>
                <a:gd name="T40" fmla="*/ 508 w 1059"/>
                <a:gd name="T41" fmla="*/ 793 h 1057"/>
                <a:gd name="T42" fmla="*/ 523 w 1059"/>
                <a:gd name="T43" fmla="*/ 694 h 1057"/>
                <a:gd name="T44" fmla="*/ 545 w 1059"/>
                <a:gd name="T45" fmla="*/ 599 h 1057"/>
                <a:gd name="T46" fmla="*/ 571 w 1059"/>
                <a:gd name="T47" fmla="*/ 510 h 1057"/>
                <a:gd name="T48" fmla="*/ 603 w 1059"/>
                <a:gd name="T49" fmla="*/ 424 h 1057"/>
                <a:gd name="T50" fmla="*/ 637 w 1059"/>
                <a:gd name="T51" fmla="*/ 346 h 1057"/>
                <a:gd name="T52" fmla="*/ 676 w 1059"/>
                <a:gd name="T53" fmla="*/ 274 h 1057"/>
                <a:gd name="T54" fmla="*/ 717 w 1059"/>
                <a:gd name="T55" fmla="*/ 210 h 1057"/>
                <a:gd name="T56" fmla="*/ 764 w 1059"/>
                <a:gd name="T57" fmla="*/ 154 h 1057"/>
                <a:gd name="T58" fmla="*/ 811 w 1059"/>
                <a:gd name="T59" fmla="*/ 105 h 1057"/>
                <a:gd name="T60" fmla="*/ 862 w 1059"/>
                <a:gd name="T61" fmla="*/ 65 h 1057"/>
                <a:gd name="T62" fmla="*/ 916 w 1059"/>
                <a:gd name="T63" fmla="*/ 33 h 1057"/>
                <a:gd name="T64" fmla="*/ 972 w 1059"/>
                <a:gd name="T65" fmla="*/ 12 h 1057"/>
                <a:gd name="T66" fmla="*/ 1029 w 1059"/>
                <a:gd name="T67" fmla="*/ 1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9" h="1057">
                  <a:moveTo>
                    <a:pt x="1059" y="0"/>
                  </a:moveTo>
                  <a:lnTo>
                    <a:pt x="1059" y="0"/>
                  </a:lnTo>
                  <a:lnTo>
                    <a:pt x="1059" y="0"/>
                  </a:lnTo>
                  <a:lnTo>
                    <a:pt x="1004" y="1"/>
                  </a:lnTo>
                  <a:lnTo>
                    <a:pt x="950" y="5"/>
                  </a:lnTo>
                  <a:lnTo>
                    <a:pt x="898" y="12"/>
                  </a:lnTo>
                  <a:lnTo>
                    <a:pt x="845" y="22"/>
                  </a:lnTo>
                  <a:lnTo>
                    <a:pt x="794" y="33"/>
                  </a:lnTo>
                  <a:lnTo>
                    <a:pt x="744" y="48"/>
                  </a:lnTo>
                  <a:lnTo>
                    <a:pt x="694" y="65"/>
                  </a:lnTo>
                  <a:lnTo>
                    <a:pt x="647" y="83"/>
                  </a:lnTo>
                  <a:lnTo>
                    <a:pt x="600" y="104"/>
                  </a:lnTo>
                  <a:lnTo>
                    <a:pt x="554" y="128"/>
                  </a:lnTo>
                  <a:lnTo>
                    <a:pt x="510" y="154"/>
                  </a:lnTo>
                  <a:lnTo>
                    <a:pt x="467" y="181"/>
                  </a:lnTo>
                  <a:lnTo>
                    <a:pt x="426" y="210"/>
                  </a:lnTo>
                  <a:lnTo>
                    <a:pt x="386" y="242"/>
                  </a:lnTo>
                  <a:lnTo>
                    <a:pt x="348" y="274"/>
                  </a:lnTo>
                  <a:lnTo>
                    <a:pt x="310" y="310"/>
                  </a:lnTo>
                  <a:lnTo>
                    <a:pt x="276" y="346"/>
                  </a:lnTo>
                  <a:lnTo>
                    <a:pt x="242" y="385"/>
                  </a:lnTo>
                  <a:lnTo>
                    <a:pt x="211" y="424"/>
                  </a:lnTo>
                  <a:lnTo>
                    <a:pt x="182" y="466"/>
                  </a:lnTo>
                  <a:lnTo>
                    <a:pt x="154" y="509"/>
                  </a:lnTo>
                  <a:lnTo>
                    <a:pt x="128" y="554"/>
                  </a:lnTo>
                  <a:lnTo>
                    <a:pt x="105" y="599"/>
                  </a:lnTo>
                  <a:lnTo>
                    <a:pt x="85" y="646"/>
                  </a:lnTo>
                  <a:lnTo>
                    <a:pt x="65" y="694"/>
                  </a:lnTo>
                  <a:lnTo>
                    <a:pt x="48" y="743"/>
                  </a:lnTo>
                  <a:lnTo>
                    <a:pt x="35" y="793"/>
                  </a:lnTo>
                  <a:lnTo>
                    <a:pt x="22" y="844"/>
                  </a:lnTo>
                  <a:lnTo>
                    <a:pt x="13" y="896"/>
                  </a:lnTo>
                  <a:lnTo>
                    <a:pt x="7" y="950"/>
                  </a:lnTo>
                  <a:lnTo>
                    <a:pt x="3" y="1003"/>
                  </a:lnTo>
                  <a:lnTo>
                    <a:pt x="0" y="1057"/>
                  </a:lnTo>
                  <a:lnTo>
                    <a:pt x="489" y="1057"/>
                  </a:lnTo>
                  <a:lnTo>
                    <a:pt x="489" y="1057"/>
                  </a:lnTo>
                  <a:lnTo>
                    <a:pt x="489" y="1003"/>
                  </a:lnTo>
                  <a:lnTo>
                    <a:pt x="492" y="950"/>
                  </a:lnTo>
                  <a:lnTo>
                    <a:pt x="495" y="896"/>
                  </a:lnTo>
                  <a:lnTo>
                    <a:pt x="500" y="844"/>
                  </a:lnTo>
                  <a:lnTo>
                    <a:pt x="508" y="793"/>
                  </a:lnTo>
                  <a:lnTo>
                    <a:pt x="515" y="743"/>
                  </a:lnTo>
                  <a:lnTo>
                    <a:pt x="523" y="694"/>
                  </a:lnTo>
                  <a:lnTo>
                    <a:pt x="534" y="646"/>
                  </a:lnTo>
                  <a:lnTo>
                    <a:pt x="545" y="599"/>
                  </a:lnTo>
                  <a:lnTo>
                    <a:pt x="558" y="554"/>
                  </a:lnTo>
                  <a:lnTo>
                    <a:pt x="571" y="510"/>
                  </a:lnTo>
                  <a:lnTo>
                    <a:pt x="587" y="466"/>
                  </a:lnTo>
                  <a:lnTo>
                    <a:pt x="603" y="424"/>
                  </a:lnTo>
                  <a:lnTo>
                    <a:pt x="619" y="385"/>
                  </a:lnTo>
                  <a:lnTo>
                    <a:pt x="637" y="346"/>
                  </a:lnTo>
                  <a:lnTo>
                    <a:pt x="656" y="310"/>
                  </a:lnTo>
                  <a:lnTo>
                    <a:pt x="676" y="274"/>
                  </a:lnTo>
                  <a:lnTo>
                    <a:pt x="697" y="242"/>
                  </a:lnTo>
                  <a:lnTo>
                    <a:pt x="717" y="210"/>
                  </a:lnTo>
                  <a:lnTo>
                    <a:pt x="740" y="181"/>
                  </a:lnTo>
                  <a:lnTo>
                    <a:pt x="764" y="154"/>
                  </a:lnTo>
                  <a:lnTo>
                    <a:pt x="787" y="128"/>
                  </a:lnTo>
                  <a:lnTo>
                    <a:pt x="811" y="105"/>
                  </a:lnTo>
                  <a:lnTo>
                    <a:pt x="837" y="83"/>
                  </a:lnTo>
                  <a:lnTo>
                    <a:pt x="862" y="65"/>
                  </a:lnTo>
                  <a:lnTo>
                    <a:pt x="889" y="48"/>
                  </a:lnTo>
                  <a:lnTo>
                    <a:pt x="916" y="33"/>
                  </a:lnTo>
                  <a:lnTo>
                    <a:pt x="944" y="22"/>
                  </a:lnTo>
                  <a:lnTo>
                    <a:pt x="972" y="12"/>
                  </a:lnTo>
                  <a:lnTo>
                    <a:pt x="1000" y="6"/>
                  </a:lnTo>
                  <a:lnTo>
                    <a:pt x="1029" y="1"/>
                  </a:lnTo>
                  <a:lnTo>
                    <a:pt x="105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24" name="Freeform 1252"/>
            <p:cNvSpPr>
              <a:spLocks/>
            </p:cNvSpPr>
            <p:nvPr/>
          </p:nvSpPr>
          <p:spPr bwMode="auto">
            <a:xfrm>
              <a:off x="7683118" y="-897398"/>
              <a:ext cx="402218" cy="400322"/>
            </a:xfrm>
            <a:custGeom>
              <a:avLst/>
              <a:gdLst>
                <a:gd name="T0" fmla="*/ 1059 w 1059"/>
                <a:gd name="T1" fmla="*/ 0 h 1057"/>
                <a:gd name="T2" fmla="*/ 1004 w 1059"/>
                <a:gd name="T3" fmla="*/ 1 h 1057"/>
                <a:gd name="T4" fmla="*/ 898 w 1059"/>
                <a:gd name="T5" fmla="*/ 12 h 1057"/>
                <a:gd name="T6" fmla="*/ 794 w 1059"/>
                <a:gd name="T7" fmla="*/ 33 h 1057"/>
                <a:gd name="T8" fmla="*/ 694 w 1059"/>
                <a:gd name="T9" fmla="*/ 65 h 1057"/>
                <a:gd name="T10" fmla="*/ 600 w 1059"/>
                <a:gd name="T11" fmla="*/ 104 h 1057"/>
                <a:gd name="T12" fmla="*/ 510 w 1059"/>
                <a:gd name="T13" fmla="*/ 154 h 1057"/>
                <a:gd name="T14" fmla="*/ 426 w 1059"/>
                <a:gd name="T15" fmla="*/ 210 h 1057"/>
                <a:gd name="T16" fmla="*/ 348 w 1059"/>
                <a:gd name="T17" fmla="*/ 274 h 1057"/>
                <a:gd name="T18" fmla="*/ 276 w 1059"/>
                <a:gd name="T19" fmla="*/ 346 h 1057"/>
                <a:gd name="T20" fmla="*/ 211 w 1059"/>
                <a:gd name="T21" fmla="*/ 424 h 1057"/>
                <a:gd name="T22" fmla="*/ 154 w 1059"/>
                <a:gd name="T23" fmla="*/ 509 h 1057"/>
                <a:gd name="T24" fmla="*/ 105 w 1059"/>
                <a:gd name="T25" fmla="*/ 599 h 1057"/>
                <a:gd name="T26" fmla="*/ 65 w 1059"/>
                <a:gd name="T27" fmla="*/ 694 h 1057"/>
                <a:gd name="T28" fmla="*/ 35 w 1059"/>
                <a:gd name="T29" fmla="*/ 793 h 1057"/>
                <a:gd name="T30" fmla="*/ 13 w 1059"/>
                <a:gd name="T31" fmla="*/ 896 h 1057"/>
                <a:gd name="T32" fmla="*/ 3 w 1059"/>
                <a:gd name="T33" fmla="*/ 1003 h 1057"/>
                <a:gd name="T34" fmla="*/ 489 w 1059"/>
                <a:gd name="T35" fmla="*/ 1057 h 1057"/>
                <a:gd name="T36" fmla="*/ 489 w 1059"/>
                <a:gd name="T37" fmla="*/ 1003 h 1057"/>
                <a:gd name="T38" fmla="*/ 495 w 1059"/>
                <a:gd name="T39" fmla="*/ 896 h 1057"/>
                <a:gd name="T40" fmla="*/ 508 w 1059"/>
                <a:gd name="T41" fmla="*/ 793 h 1057"/>
                <a:gd name="T42" fmla="*/ 523 w 1059"/>
                <a:gd name="T43" fmla="*/ 694 h 1057"/>
                <a:gd name="T44" fmla="*/ 545 w 1059"/>
                <a:gd name="T45" fmla="*/ 599 h 1057"/>
                <a:gd name="T46" fmla="*/ 571 w 1059"/>
                <a:gd name="T47" fmla="*/ 510 h 1057"/>
                <a:gd name="T48" fmla="*/ 603 w 1059"/>
                <a:gd name="T49" fmla="*/ 424 h 1057"/>
                <a:gd name="T50" fmla="*/ 637 w 1059"/>
                <a:gd name="T51" fmla="*/ 346 h 1057"/>
                <a:gd name="T52" fmla="*/ 676 w 1059"/>
                <a:gd name="T53" fmla="*/ 274 h 1057"/>
                <a:gd name="T54" fmla="*/ 717 w 1059"/>
                <a:gd name="T55" fmla="*/ 210 h 1057"/>
                <a:gd name="T56" fmla="*/ 764 w 1059"/>
                <a:gd name="T57" fmla="*/ 154 h 1057"/>
                <a:gd name="T58" fmla="*/ 811 w 1059"/>
                <a:gd name="T59" fmla="*/ 105 h 1057"/>
                <a:gd name="T60" fmla="*/ 862 w 1059"/>
                <a:gd name="T61" fmla="*/ 65 h 1057"/>
                <a:gd name="T62" fmla="*/ 916 w 1059"/>
                <a:gd name="T63" fmla="*/ 33 h 1057"/>
                <a:gd name="T64" fmla="*/ 972 w 1059"/>
                <a:gd name="T65" fmla="*/ 12 h 1057"/>
                <a:gd name="T66" fmla="*/ 1029 w 1059"/>
                <a:gd name="T67" fmla="*/ 1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9" h="1057">
                  <a:moveTo>
                    <a:pt x="1059" y="0"/>
                  </a:moveTo>
                  <a:lnTo>
                    <a:pt x="1059" y="0"/>
                  </a:lnTo>
                  <a:lnTo>
                    <a:pt x="1059" y="0"/>
                  </a:lnTo>
                  <a:lnTo>
                    <a:pt x="1004" y="1"/>
                  </a:lnTo>
                  <a:lnTo>
                    <a:pt x="950" y="5"/>
                  </a:lnTo>
                  <a:lnTo>
                    <a:pt x="898" y="12"/>
                  </a:lnTo>
                  <a:lnTo>
                    <a:pt x="845" y="22"/>
                  </a:lnTo>
                  <a:lnTo>
                    <a:pt x="794" y="33"/>
                  </a:lnTo>
                  <a:lnTo>
                    <a:pt x="744" y="48"/>
                  </a:lnTo>
                  <a:lnTo>
                    <a:pt x="694" y="65"/>
                  </a:lnTo>
                  <a:lnTo>
                    <a:pt x="647" y="83"/>
                  </a:lnTo>
                  <a:lnTo>
                    <a:pt x="600" y="104"/>
                  </a:lnTo>
                  <a:lnTo>
                    <a:pt x="554" y="128"/>
                  </a:lnTo>
                  <a:lnTo>
                    <a:pt x="510" y="154"/>
                  </a:lnTo>
                  <a:lnTo>
                    <a:pt x="467" y="181"/>
                  </a:lnTo>
                  <a:lnTo>
                    <a:pt x="426" y="210"/>
                  </a:lnTo>
                  <a:lnTo>
                    <a:pt x="386" y="242"/>
                  </a:lnTo>
                  <a:lnTo>
                    <a:pt x="348" y="274"/>
                  </a:lnTo>
                  <a:lnTo>
                    <a:pt x="310" y="310"/>
                  </a:lnTo>
                  <a:lnTo>
                    <a:pt x="276" y="346"/>
                  </a:lnTo>
                  <a:lnTo>
                    <a:pt x="242" y="385"/>
                  </a:lnTo>
                  <a:lnTo>
                    <a:pt x="211" y="424"/>
                  </a:lnTo>
                  <a:lnTo>
                    <a:pt x="182" y="466"/>
                  </a:lnTo>
                  <a:lnTo>
                    <a:pt x="154" y="509"/>
                  </a:lnTo>
                  <a:lnTo>
                    <a:pt x="128" y="554"/>
                  </a:lnTo>
                  <a:lnTo>
                    <a:pt x="105" y="599"/>
                  </a:lnTo>
                  <a:lnTo>
                    <a:pt x="85" y="646"/>
                  </a:lnTo>
                  <a:lnTo>
                    <a:pt x="65" y="694"/>
                  </a:lnTo>
                  <a:lnTo>
                    <a:pt x="48" y="743"/>
                  </a:lnTo>
                  <a:lnTo>
                    <a:pt x="35" y="793"/>
                  </a:lnTo>
                  <a:lnTo>
                    <a:pt x="22" y="844"/>
                  </a:lnTo>
                  <a:lnTo>
                    <a:pt x="13" y="896"/>
                  </a:lnTo>
                  <a:lnTo>
                    <a:pt x="7" y="950"/>
                  </a:lnTo>
                  <a:lnTo>
                    <a:pt x="3" y="1003"/>
                  </a:lnTo>
                  <a:lnTo>
                    <a:pt x="0" y="1057"/>
                  </a:lnTo>
                  <a:lnTo>
                    <a:pt x="489" y="1057"/>
                  </a:lnTo>
                  <a:lnTo>
                    <a:pt x="489" y="1057"/>
                  </a:lnTo>
                  <a:lnTo>
                    <a:pt x="489" y="1003"/>
                  </a:lnTo>
                  <a:lnTo>
                    <a:pt x="492" y="950"/>
                  </a:lnTo>
                  <a:lnTo>
                    <a:pt x="495" y="896"/>
                  </a:lnTo>
                  <a:lnTo>
                    <a:pt x="500" y="844"/>
                  </a:lnTo>
                  <a:lnTo>
                    <a:pt x="508" y="793"/>
                  </a:lnTo>
                  <a:lnTo>
                    <a:pt x="515" y="743"/>
                  </a:lnTo>
                  <a:lnTo>
                    <a:pt x="523" y="694"/>
                  </a:lnTo>
                  <a:lnTo>
                    <a:pt x="534" y="646"/>
                  </a:lnTo>
                  <a:lnTo>
                    <a:pt x="545" y="599"/>
                  </a:lnTo>
                  <a:lnTo>
                    <a:pt x="558" y="554"/>
                  </a:lnTo>
                  <a:lnTo>
                    <a:pt x="571" y="510"/>
                  </a:lnTo>
                  <a:lnTo>
                    <a:pt x="587" y="466"/>
                  </a:lnTo>
                  <a:lnTo>
                    <a:pt x="603" y="424"/>
                  </a:lnTo>
                  <a:lnTo>
                    <a:pt x="619" y="385"/>
                  </a:lnTo>
                  <a:lnTo>
                    <a:pt x="637" y="346"/>
                  </a:lnTo>
                  <a:lnTo>
                    <a:pt x="656" y="310"/>
                  </a:lnTo>
                  <a:lnTo>
                    <a:pt x="676" y="274"/>
                  </a:lnTo>
                  <a:lnTo>
                    <a:pt x="697" y="242"/>
                  </a:lnTo>
                  <a:lnTo>
                    <a:pt x="717" y="210"/>
                  </a:lnTo>
                  <a:lnTo>
                    <a:pt x="740" y="181"/>
                  </a:lnTo>
                  <a:lnTo>
                    <a:pt x="764" y="154"/>
                  </a:lnTo>
                  <a:lnTo>
                    <a:pt x="787" y="128"/>
                  </a:lnTo>
                  <a:lnTo>
                    <a:pt x="811" y="105"/>
                  </a:lnTo>
                  <a:lnTo>
                    <a:pt x="837" y="83"/>
                  </a:lnTo>
                  <a:lnTo>
                    <a:pt x="862" y="65"/>
                  </a:lnTo>
                  <a:lnTo>
                    <a:pt x="889" y="48"/>
                  </a:lnTo>
                  <a:lnTo>
                    <a:pt x="916" y="33"/>
                  </a:lnTo>
                  <a:lnTo>
                    <a:pt x="944" y="22"/>
                  </a:lnTo>
                  <a:lnTo>
                    <a:pt x="972" y="12"/>
                  </a:lnTo>
                  <a:lnTo>
                    <a:pt x="1000" y="6"/>
                  </a:lnTo>
                  <a:lnTo>
                    <a:pt x="1029" y="1"/>
                  </a:lnTo>
                  <a:lnTo>
                    <a:pt x="10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25" name="Freeform 1253"/>
            <p:cNvSpPr>
              <a:spLocks/>
            </p:cNvSpPr>
            <p:nvPr/>
          </p:nvSpPr>
          <p:spPr bwMode="auto">
            <a:xfrm>
              <a:off x="8085334" y="-897398"/>
              <a:ext cx="216286" cy="400322"/>
            </a:xfrm>
            <a:custGeom>
              <a:avLst/>
              <a:gdLst>
                <a:gd name="T0" fmla="*/ 568 w 568"/>
                <a:gd name="T1" fmla="*/ 1057 h 1057"/>
                <a:gd name="T2" fmla="*/ 568 w 568"/>
                <a:gd name="T3" fmla="*/ 1057 h 1057"/>
                <a:gd name="T4" fmla="*/ 568 w 568"/>
                <a:gd name="T5" fmla="*/ 1003 h 1057"/>
                <a:gd name="T6" fmla="*/ 565 w 568"/>
                <a:gd name="T7" fmla="*/ 950 h 1057"/>
                <a:gd name="T8" fmla="*/ 562 w 568"/>
                <a:gd name="T9" fmla="*/ 896 h 1057"/>
                <a:gd name="T10" fmla="*/ 557 w 568"/>
                <a:gd name="T11" fmla="*/ 844 h 1057"/>
                <a:gd name="T12" fmla="*/ 551 w 568"/>
                <a:gd name="T13" fmla="*/ 793 h 1057"/>
                <a:gd name="T14" fmla="*/ 542 w 568"/>
                <a:gd name="T15" fmla="*/ 743 h 1057"/>
                <a:gd name="T16" fmla="*/ 534 w 568"/>
                <a:gd name="T17" fmla="*/ 694 h 1057"/>
                <a:gd name="T18" fmla="*/ 524 w 568"/>
                <a:gd name="T19" fmla="*/ 646 h 1057"/>
                <a:gd name="T20" fmla="*/ 512 w 568"/>
                <a:gd name="T21" fmla="*/ 599 h 1057"/>
                <a:gd name="T22" fmla="*/ 499 w 568"/>
                <a:gd name="T23" fmla="*/ 554 h 1057"/>
                <a:gd name="T24" fmla="*/ 486 w 568"/>
                <a:gd name="T25" fmla="*/ 510 h 1057"/>
                <a:gd name="T26" fmla="*/ 471 w 568"/>
                <a:gd name="T27" fmla="*/ 466 h 1057"/>
                <a:gd name="T28" fmla="*/ 456 w 568"/>
                <a:gd name="T29" fmla="*/ 424 h 1057"/>
                <a:gd name="T30" fmla="*/ 439 w 568"/>
                <a:gd name="T31" fmla="*/ 385 h 1057"/>
                <a:gd name="T32" fmla="*/ 420 w 568"/>
                <a:gd name="T33" fmla="*/ 346 h 1057"/>
                <a:gd name="T34" fmla="*/ 402 w 568"/>
                <a:gd name="T35" fmla="*/ 310 h 1057"/>
                <a:gd name="T36" fmla="*/ 382 w 568"/>
                <a:gd name="T37" fmla="*/ 274 h 1057"/>
                <a:gd name="T38" fmla="*/ 362 w 568"/>
                <a:gd name="T39" fmla="*/ 242 h 1057"/>
                <a:gd name="T40" fmla="*/ 340 w 568"/>
                <a:gd name="T41" fmla="*/ 210 h 1057"/>
                <a:gd name="T42" fmla="*/ 318 w 568"/>
                <a:gd name="T43" fmla="*/ 181 h 1057"/>
                <a:gd name="T44" fmla="*/ 295 w 568"/>
                <a:gd name="T45" fmla="*/ 154 h 1057"/>
                <a:gd name="T46" fmla="*/ 270 w 568"/>
                <a:gd name="T47" fmla="*/ 128 h 1057"/>
                <a:gd name="T48" fmla="*/ 246 w 568"/>
                <a:gd name="T49" fmla="*/ 105 h 1057"/>
                <a:gd name="T50" fmla="*/ 220 w 568"/>
                <a:gd name="T51" fmla="*/ 83 h 1057"/>
                <a:gd name="T52" fmla="*/ 195 w 568"/>
                <a:gd name="T53" fmla="*/ 65 h 1057"/>
                <a:gd name="T54" fmla="*/ 168 w 568"/>
                <a:gd name="T55" fmla="*/ 48 h 1057"/>
                <a:gd name="T56" fmla="*/ 141 w 568"/>
                <a:gd name="T57" fmla="*/ 33 h 1057"/>
                <a:gd name="T58" fmla="*/ 114 w 568"/>
                <a:gd name="T59" fmla="*/ 22 h 1057"/>
                <a:gd name="T60" fmla="*/ 86 w 568"/>
                <a:gd name="T61" fmla="*/ 12 h 1057"/>
                <a:gd name="T62" fmla="*/ 57 w 568"/>
                <a:gd name="T63" fmla="*/ 6 h 1057"/>
                <a:gd name="T64" fmla="*/ 29 w 568"/>
                <a:gd name="T65" fmla="*/ 1 h 1057"/>
                <a:gd name="T66" fmla="*/ 0 w 568"/>
                <a:gd name="T67" fmla="*/ 0 h 1057"/>
                <a:gd name="T68" fmla="*/ 0 w 568"/>
                <a:gd name="T69" fmla="*/ 1057 h 1057"/>
                <a:gd name="T70" fmla="*/ 568 w 568"/>
                <a:gd name="T71" fmla="*/ 1057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68" h="1057">
                  <a:moveTo>
                    <a:pt x="568" y="1057"/>
                  </a:moveTo>
                  <a:lnTo>
                    <a:pt x="568" y="1057"/>
                  </a:lnTo>
                  <a:lnTo>
                    <a:pt x="568" y="1003"/>
                  </a:lnTo>
                  <a:lnTo>
                    <a:pt x="565" y="950"/>
                  </a:lnTo>
                  <a:lnTo>
                    <a:pt x="562" y="896"/>
                  </a:lnTo>
                  <a:lnTo>
                    <a:pt x="557" y="844"/>
                  </a:lnTo>
                  <a:lnTo>
                    <a:pt x="551" y="793"/>
                  </a:lnTo>
                  <a:lnTo>
                    <a:pt x="542" y="743"/>
                  </a:lnTo>
                  <a:lnTo>
                    <a:pt x="534" y="694"/>
                  </a:lnTo>
                  <a:lnTo>
                    <a:pt x="524" y="646"/>
                  </a:lnTo>
                  <a:lnTo>
                    <a:pt x="512" y="599"/>
                  </a:lnTo>
                  <a:lnTo>
                    <a:pt x="499" y="554"/>
                  </a:lnTo>
                  <a:lnTo>
                    <a:pt x="486" y="510"/>
                  </a:lnTo>
                  <a:lnTo>
                    <a:pt x="471" y="466"/>
                  </a:lnTo>
                  <a:lnTo>
                    <a:pt x="456" y="424"/>
                  </a:lnTo>
                  <a:lnTo>
                    <a:pt x="439" y="385"/>
                  </a:lnTo>
                  <a:lnTo>
                    <a:pt x="420" y="346"/>
                  </a:lnTo>
                  <a:lnTo>
                    <a:pt x="402" y="310"/>
                  </a:lnTo>
                  <a:lnTo>
                    <a:pt x="382" y="274"/>
                  </a:lnTo>
                  <a:lnTo>
                    <a:pt x="362" y="242"/>
                  </a:lnTo>
                  <a:lnTo>
                    <a:pt x="340" y="210"/>
                  </a:lnTo>
                  <a:lnTo>
                    <a:pt x="318" y="181"/>
                  </a:lnTo>
                  <a:lnTo>
                    <a:pt x="295" y="154"/>
                  </a:lnTo>
                  <a:lnTo>
                    <a:pt x="270" y="128"/>
                  </a:lnTo>
                  <a:lnTo>
                    <a:pt x="246" y="105"/>
                  </a:lnTo>
                  <a:lnTo>
                    <a:pt x="220" y="83"/>
                  </a:lnTo>
                  <a:lnTo>
                    <a:pt x="195" y="65"/>
                  </a:lnTo>
                  <a:lnTo>
                    <a:pt x="168" y="48"/>
                  </a:lnTo>
                  <a:lnTo>
                    <a:pt x="141" y="33"/>
                  </a:lnTo>
                  <a:lnTo>
                    <a:pt x="114" y="22"/>
                  </a:lnTo>
                  <a:lnTo>
                    <a:pt x="86" y="12"/>
                  </a:lnTo>
                  <a:lnTo>
                    <a:pt x="57" y="6"/>
                  </a:lnTo>
                  <a:lnTo>
                    <a:pt x="29" y="1"/>
                  </a:lnTo>
                  <a:lnTo>
                    <a:pt x="0" y="0"/>
                  </a:lnTo>
                  <a:lnTo>
                    <a:pt x="0" y="1057"/>
                  </a:lnTo>
                  <a:lnTo>
                    <a:pt x="568" y="1057"/>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26" name="Freeform 1254"/>
            <p:cNvSpPr>
              <a:spLocks/>
            </p:cNvSpPr>
            <p:nvPr/>
          </p:nvSpPr>
          <p:spPr bwMode="auto">
            <a:xfrm>
              <a:off x="7869048" y="-897398"/>
              <a:ext cx="216286" cy="400322"/>
            </a:xfrm>
            <a:custGeom>
              <a:avLst/>
              <a:gdLst>
                <a:gd name="T0" fmla="*/ 570 w 570"/>
                <a:gd name="T1" fmla="*/ 0 h 1057"/>
                <a:gd name="T2" fmla="*/ 570 w 570"/>
                <a:gd name="T3" fmla="*/ 0 h 1057"/>
                <a:gd name="T4" fmla="*/ 540 w 570"/>
                <a:gd name="T5" fmla="*/ 1 h 1057"/>
                <a:gd name="T6" fmla="*/ 511 w 570"/>
                <a:gd name="T7" fmla="*/ 6 h 1057"/>
                <a:gd name="T8" fmla="*/ 483 w 570"/>
                <a:gd name="T9" fmla="*/ 12 h 1057"/>
                <a:gd name="T10" fmla="*/ 455 w 570"/>
                <a:gd name="T11" fmla="*/ 22 h 1057"/>
                <a:gd name="T12" fmla="*/ 427 w 570"/>
                <a:gd name="T13" fmla="*/ 33 h 1057"/>
                <a:gd name="T14" fmla="*/ 400 w 570"/>
                <a:gd name="T15" fmla="*/ 48 h 1057"/>
                <a:gd name="T16" fmla="*/ 373 w 570"/>
                <a:gd name="T17" fmla="*/ 65 h 1057"/>
                <a:gd name="T18" fmla="*/ 348 w 570"/>
                <a:gd name="T19" fmla="*/ 83 h 1057"/>
                <a:gd name="T20" fmla="*/ 322 w 570"/>
                <a:gd name="T21" fmla="*/ 105 h 1057"/>
                <a:gd name="T22" fmla="*/ 298 w 570"/>
                <a:gd name="T23" fmla="*/ 128 h 1057"/>
                <a:gd name="T24" fmla="*/ 275 w 570"/>
                <a:gd name="T25" fmla="*/ 154 h 1057"/>
                <a:gd name="T26" fmla="*/ 251 w 570"/>
                <a:gd name="T27" fmla="*/ 181 h 1057"/>
                <a:gd name="T28" fmla="*/ 228 w 570"/>
                <a:gd name="T29" fmla="*/ 210 h 1057"/>
                <a:gd name="T30" fmla="*/ 208 w 570"/>
                <a:gd name="T31" fmla="*/ 242 h 1057"/>
                <a:gd name="T32" fmla="*/ 187 w 570"/>
                <a:gd name="T33" fmla="*/ 274 h 1057"/>
                <a:gd name="T34" fmla="*/ 167 w 570"/>
                <a:gd name="T35" fmla="*/ 310 h 1057"/>
                <a:gd name="T36" fmla="*/ 148 w 570"/>
                <a:gd name="T37" fmla="*/ 346 h 1057"/>
                <a:gd name="T38" fmla="*/ 130 w 570"/>
                <a:gd name="T39" fmla="*/ 385 h 1057"/>
                <a:gd name="T40" fmla="*/ 114 w 570"/>
                <a:gd name="T41" fmla="*/ 424 h 1057"/>
                <a:gd name="T42" fmla="*/ 98 w 570"/>
                <a:gd name="T43" fmla="*/ 466 h 1057"/>
                <a:gd name="T44" fmla="*/ 82 w 570"/>
                <a:gd name="T45" fmla="*/ 510 h 1057"/>
                <a:gd name="T46" fmla="*/ 69 w 570"/>
                <a:gd name="T47" fmla="*/ 554 h 1057"/>
                <a:gd name="T48" fmla="*/ 56 w 570"/>
                <a:gd name="T49" fmla="*/ 599 h 1057"/>
                <a:gd name="T50" fmla="*/ 45 w 570"/>
                <a:gd name="T51" fmla="*/ 646 h 1057"/>
                <a:gd name="T52" fmla="*/ 34 w 570"/>
                <a:gd name="T53" fmla="*/ 694 h 1057"/>
                <a:gd name="T54" fmla="*/ 26 w 570"/>
                <a:gd name="T55" fmla="*/ 743 h 1057"/>
                <a:gd name="T56" fmla="*/ 19 w 570"/>
                <a:gd name="T57" fmla="*/ 793 h 1057"/>
                <a:gd name="T58" fmla="*/ 11 w 570"/>
                <a:gd name="T59" fmla="*/ 844 h 1057"/>
                <a:gd name="T60" fmla="*/ 6 w 570"/>
                <a:gd name="T61" fmla="*/ 896 h 1057"/>
                <a:gd name="T62" fmla="*/ 3 w 570"/>
                <a:gd name="T63" fmla="*/ 950 h 1057"/>
                <a:gd name="T64" fmla="*/ 0 w 570"/>
                <a:gd name="T65" fmla="*/ 1003 h 1057"/>
                <a:gd name="T66" fmla="*/ 0 w 570"/>
                <a:gd name="T67" fmla="*/ 1057 h 1057"/>
                <a:gd name="T68" fmla="*/ 570 w 570"/>
                <a:gd name="T69" fmla="*/ 1057 h 1057"/>
                <a:gd name="T70" fmla="*/ 570 w 570"/>
                <a:gd name="T71" fmla="*/ 0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70" h="1057">
                  <a:moveTo>
                    <a:pt x="570" y="0"/>
                  </a:moveTo>
                  <a:lnTo>
                    <a:pt x="570" y="0"/>
                  </a:lnTo>
                  <a:lnTo>
                    <a:pt x="540" y="1"/>
                  </a:lnTo>
                  <a:lnTo>
                    <a:pt x="511" y="6"/>
                  </a:lnTo>
                  <a:lnTo>
                    <a:pt x="483" y="12"/>
                  </a:lnTo>
                  <a:lnTo>
                    <a:pt x="455" y="22"/>
                  </a:lnTo>
                  <a:lnTo>
                    <a:pt x="427" y="33"/>
                  </a:lnTo>
                  <a:lnTo>
                    <a:pt x="400" y="48"/>
                  </a:lnTo>
                  <a:lnTo>
                    <a:pt x="373" y="65"/>
                  </a:lnTo>
                  <a:lnTo>
                    <a:pt x="348" y="83"/>
                  </a:lnTo>
                  <a:lnTo>
                    <a:pt x="322" y="105"/>
                  </a:lnTo>
                  <a:lnTo>
                    <a:pt x="298" y="128"/>
                  </a:lnTo>
                  <a:lnTo>
                    <a:pt x="275" y="154"/>
                  </a:lnTo>
                  <a:lnTo>
                    <a:pt x="251" y="181"/>
                  </a:lnTo>
                  <a:lnTo>
                    <a:pt x="228" y="210"/>
                  </a:lnTo>
                  <a:lnTo>
                    <a:pt x="208" y="242"/>
                  </a:lnTo>
                  <a:lnTo>
                    <a:pt x="187" y="274"/>
                  </a:lnTo>
                  <a:lnTo>
                    <a:pt x="167" y="310"/>
                  </a:lnTo>
                  <a:lnTo>
                    <a:pt x="148" y="346"/>
                  </a:lnTo>
                  <a:lnTo>
                    <a:pt x="130" y="385"/>
                  </a:lnTo>
                  <a:lnTo>
                    <a:pt x="114" y="424"/>
                  </a:lnTo>
                  <a:lnTo>
                    <a:pt x="98" y="466"/>
                  </a:lnTo>
                  <a:lnTo>
                    <a:pt x="82" y="510"/>
                  </a:lnTo>
                  <a:lnTo>
                    <a:pt x="69" y="554"/>
                  </a:lnTo>
                  <a:lnTo>
                    <a:pt x="56" y="599"/>
                  </a:lnTo>
                  <a:lnTo>
                    <a:pt x="45" y="646"/>
                  </a:lnTo>
                  <a:lnTo>
                    <a:pt x="34" y="694"/>
                  </a:lnTo>
                  <a:lnTo>
                    <a:pt x="26" y="743"/>
                  </a:lnTo>
                  <a:lnTo>
                    <a:pt x="19" y="793"/>
                  </a:lnTo>
                  <a:lnTo>
                    <a:pt x="11" y="844"/>
                  </a:lnTo>
                  <a:lnTo>
                    <a:pt x="6" y="896"/>
                  </a:lnTo>
                  <a:lnTo>
                    <a:pt x="3" y="950"/>
                  </a:lnTo>
                  <a:lnTo>
                    <a:pt x="0" y="1003"/>
                  </a:lnTo>
                  <a:lnTo>
                    <a:pt x="0" y="1057"/>
                  </a:lnTo>
                  <a:lnTo>
                    <a:pt x="570" y="1057"/>
                  </a:lnTo>
                  <a:lnTo>
                    <a:pt x="570"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27" name="Freeform 1255"/>
            <p:cNvSpPr>
              <a:spLocks/>
            </p:cNvSpPr>
            <p:nvPr/>
          </p:nvSpPr>
          <p:spPr bwMode="auto">
            <a:xfrm>
              <a:off x="7592049" y="-497078"/>
              <a:ext cx="986570" cy="51226"/>
            </a:xfrm>
            <a:custGeom>
              <a:avLst/>
              <a:gdLst>
                <a:gd name="T0" fmla="*/ 2465 w 2601"/>
                <a:gd name="T1" fmla="*/ 0 h 137"/>
                <a:gd name="T2" fmla="*/ 135 w 2601"/>
                <a:gd name="T3" fmla="*/ 0 h 137"/>
                <a:gd name="T4" fmla="*/ 135 w 2601"/>
                <a:gd name="T5" fmla="*/ 0 h 137"/>
                <a:gd name="T6" fmla="*/ 122 w 2601"/>
                <a:gd name="T7" fmla="*/ 1 h 137"/>
                <a:gd name="T8" fmla="*/ 108 w 2601"/>
                <a:gd name="T9" fmla="*/ 3 h 137"/>
                <a:gd name="T10" fmla="*/ 95 w 2601"/>
                <a:gd name="T11" fmla="*/ 6 h 137"/>
                <a:gd name="T12" fmla="*/ 83 w 2601"/>
                <a:gd name="T13" fmla="*/ 11 h 137"/>
                <a:gd name="T14" fmla="*/ 71 w 2601"/>
                <a:gd name="T15" fmla="*/ 17 h 137"/>
                <a:gd name="T16" fmla="*/ 60 w 2601"/>
                <a:gd name="T17" fmla="*/ 23 h 137"/>
                <a:gd name="T18" fmla="*/ 49 w 2601"/>
                <a:gd name="T19" fmla="*/ 32 h 137"/>
                <a:gd name="T20" fmla="*/ 39 w 2601"/>
                <a:gd name="T21" fmla="*/ 40 h 137"/>
                <a:gd name="T22" fmla="*/ 30 w 2601"/>
                <a:gd name="T23" fmla="*/ 50 h 137"/>
                <a:gd name="T24" fmla="*/ 23 w 2601"/>
                <a:gd name="T25" fmla="*/ 60 h 137"/>
                <a:gd name="T26" fmla="*/ 16 w 2601"/>
                <a:gd name="T27" fmla="*/ 71 h 137"/>
                <a:gd name="T28" fmla="*/ 10 w 2601"/>
                <a:gd name="T29" fmla="*/ 83 h 137"/>
                <a:gd name="T30" fmla="*/ 6 w 2601"/>
                <a:gd name="T31" fmla="*/ 95 h 137"/>
                <a:gd name="T32" fmla="*/ 2 w 2601"/>
                <a:gd name="T33" fmla="*/ 109 h 137"/>
                <a:gd name="T34" fmla="*/ 0 w 2601"/>
                <a:gd name="T35" fmla="*/ 122 h 137"/>
                <a:gd name="T36" fmla="*/ 0 w 2601"/>
                <a:gd name="T37" fmla="*/ 137 h 137"/>
                <a:gd name="T38" fmla="*/ 2601 w 2601"/>
                <a:gd name="T39" fmla="*/ 137 h 137"/>
                <a:gd name="T40" fmla="*/ 2601 w 2601"/>
                <a:gd name="T41" fmla="*/ 137 h 137"/>
                <a:gd name="T42" fmla="*/ 2600 w 2601"/>
                <a:gd name="T43" fmla="*/ 122 h 137"/>
                <a:gd name="T44" fmla="*/ 2598 w 2601"/>
                <a:gd name="T45" fmla="*/ 109 h 137"/>
                <a:gd name="T46" fmla="*/ 2595 w 2601"/>
                <a:gd name="T47" fmla="*/ 95 h 137"/>
                <a:gd name="T48" fmla="*/ 2590 w 2601"/>
                <a:gd name="T49" fmla="*/ 83 h 137"/>
                <a:gd name="T50" fmla="*/ 2584 w 2601"/>
                <a:gd name="T51" fmla="*/ 71 h 137"/>
                <a:gd name="T52" fmla="*/ 2578 w 2601"/>
                <a:gd name="T53" fmla="*/ 60 h 137"/>
                <a:gd name="T54" fmla="*/ 2570 w 2601"/>
                <a:gd name="T55" fmla="*/ 50 h 137"/>
                <a:gd name="T56" fmla="*/ 2561 w 2601"/>
                <a:gd name="T57" fmla="*/ 40 h 137"/>
                <a:gd name="T58" fmla="*/ 2551 w 2601"/>
                <a:gd name="T59" fmla="*/ 32 h 137"/>
                <a:gd name="T60" fmla="*/ 2542 w 2601"/>
                <a:gd name="T61" fmla="*/ 23 h 137"/>
                <a:gd name="T62" fmla="*/ 2530 w 2601"/>
                <a:gd name="T63" fmla="*/ 17 h 137"/>
                <a:gd name="T64" fmla="*/ 2519 w 2601"/>
                <a:gd name="T65" fmla="*/ 11 h 137"/>
                <a:gd name="T66" fmla="*/ 2505 w 2601"/>
                <a:gd name="T67" fmla="*/ 6 h 137"/>
                <a:gd name="T68" fmla="*/ 2493 w 2601"/>
                <a:gd name="T69" fmla="*/ 3 h 137"/>
                <a:gd name="T70" fmla="*/ 2480 w 2601"/>
                <a:gd name="T71" fmla="*/ 1 h 137"/>
                <a:gd name="T72" fmla="*/ 2465 w 2601"/>
                <a:gd name="T73" fmla="*/ 0 h 137"/>
                <a:gd name="T74" fmla="*/ 2465 w 2601"/>
                <a:gd name="T75"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01" h="137">
                  <a:moveTo>
                    <a:pt x="2465" y="0"/>
                  </a:moveTo>
                  <a:lnTo>
                    <a:pt x="135" y="0"/>
                  </a:lnTo>
                  <a:lnTo>
                    <a:pt x="135" y="0"/>
                  </a:lnTo>
                  <a:lnTo>
                    <a:pt x="122" y="1"/>
                  </a:lnTo>
                  <a:lnTo>
                    <a:pt x="108" y="3"/>
                  </a:lnTo>
                  <a:lnTo>
                    <a:pt x="95" y="6"/>
                  </a:lnTo>
                  <a:lnTo>
                    <a:pt x="83" y="11"/>
                  </a:lnTo>
                  <a:lnTo>
                    <a:pt x="71" y="17"/>
                  </a:lnTo>
                  <a:lnTo>
                    <a:pt x="60" y="23"/>
                  </a:lnTo>
                  <a:lnTo>
                    <a:pt x="49" y="32"/>
                  </a:lnTo>
                  <a:lnTo>
                    <a:pt x="39" y="40"/>
                  </a:lnTo>
                  <a:lnTo>
                    <a:pt x="30" y="50"/>
                  </a:lnTo>
                  <a:lnTo>
                    <a:pt x="23" y="60"/>
                  </a:lnTo>
                  <a:lnTo>
                    <a:pt x="16" y="71"/>
                  </a:lnTo>
                  <a:lnTo>
                    <a:pt x="10" y="83"/>
                  </a:lnTo>
                  <a:lnTo>
                    <a:pt x="6" y="95"/>
                  </a:lnTo>
                  <a:lnTo>
                    <a:pt x="2" y="109"/>
                  </a:lnTo>
                  <a:lnTo>
                    <a:pt x="0" y="122"/>
                  </a:lnTo>
                  <a:lnTo>
                    <a:pt x="0" y="137"/>
                  </a:lnTo>
                  <a:lnTo>
                    <a:pt x="2601" y="137"/>
                  </a:lnTo>
                  <a:lnTo>
                    <a:pt x="2601" y="137"/>
                  </a:lnTo>
                  <a:lnTo>
                    <a:pt x="2600" y="122"/>
                  </a:lnTo>
                  <a:lnTo>
                    <a:pt x="2598" y="109"/>
                  </a:lnTo>
                  <a:lnTo>
                    <a:pt x="2595" y="95"/>
                  </a:lnTo>
                  <a:lnTo>
                    <a:pt x="2590" y="83"/>
                  </a:lnTo>
                  <a:lnTo>
                    <a:pt x="2584" y="71"/>
                  </a:lnTo>
                  <a:lnTo>
                    <a:pt x="2578" y="60"/>
                  </a:lnTo>
                  <a:lnTo>
                    <a:pt x="2570" y="50"/>
                  </a:lnTo>
                  <a:lnTo>
                    <a:pt x="2561" y="40"/>
                  </a:lnTo>
                  <a:lnTo>
                    <a:pt x="2551" y="32"/>
                  </a:lnTo>
                  <a:lnTo>
                    <a:pt x="2542" y="23"/>
                  </a:lnTo>
                  <a:lnTo>
                    <a:pt x="2530" y="17"/>
                  </a:lnTo>
                  <a:lnTo>
                    <a:pt x="2519" y="11"/>
                  </a:lnTo>
                  <a:lnTo>
                    <a:pt x="2505" y="6"/>
                  </a:lnTo>
                  <a:lnTo>
                    <a:pt x="2493" y="3"/>
                  </a:lnTo>
                  <a:lnTo>
                    <a:pt x="2480" y="1"/>
                  </a:lnTo>
                  <a:lnTo>
                    <a:pt x="2465" y="0"/>
                  </a:lnTo>
                  <a:lnTo>
                    <a:pt x="2465"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28" name="Freeform 1256"/>
            <p:cNvSpPr>
              <a:spLocks/>
            </p:cNvSpPr>
            <p:nvPr/>
          </p:nvSpPr>
          <p:spPr bwMode="auto">
            <a:xfrm>
              <a:off x="8337668" y="-648858"/>
              <a:ext cx="83480" cy="83480"/>
            </a:xfrm>
            <a:custGeom>
              <a:avLst/>
              <a:gdLst>
                <a:gd name="T0" fmla="*/ 0 w 219"/>
                <a:gd name="T1" fmla="*/ 111 h 221"/>
                <a:gd name="T2" fmla="*/ 1 w 219"/>
                <a:gd name="T3" fmla="*/ 88 h 221"/>
                <a:gd name="T4" fmla="*/ 8 w 219"/>
                <a:gd name="T5" fmla="*/ 68 h 221"/>
                <a:gd name="T6" fmla="*/ 18 w 219"/>
                <a:gd name="T7" fmla="*/ 49 h 221"/>
                <a:gd name="T8" fmla="*/ 32 w 219"/>
                <a:gd name="T9" fmla="*/ 33 h 221"/>
                <a:gd name="T10" fmla="*/ 47 w 219"/>
                <a:gd name="T11" fmla="*/ 20 h 221"/>
                <a:gd name="T12" fmla="*/ 67 w 219"/>
                <a:gd name="T13" fmla="*/ 9 h 221"/>
                <a:gd name="T14" fmla="*/ 88 w 219"/>
                <a:gd name="T15" fmla="*/ 3 h 221"/>
                <a:gd name="T16" fmla="*/ 110 w 219"/>
                <a:gd name="T17" fmla="*/ 0 h 221"/>
                <a:gd name="T18" fmla="*/ 121 w 219"/>
                <a:gd name="T19" fmla="*/ 2 h 221"/>
                <a:gd name="T20" fmla="*/ 142 w 219"/>
                <a:gd name="T21" fmla="*/ 5 h 221"/>
                <a:gd name="T22" fmla="*/ 162 w 219"/>
                <a:gd name="T23" fmla="*/ 14 h 221"/>
                <a:gd name="T24" fmla="*/ 179 w 219"/>
                <a:gd name="T25" fmla="*/ 26 h 221"/>
                <a:gd name="T26" fmla="*/ 194 w 219"/>
                <a:gd name="T27" fmla="*/ 41 h 221"/>
                <a:gd name="T28" fmla="*/ 206 w 219"/>
                <a:gd name="T29" fmla="*/ 59 h 221"/>
                <a:gd name="T30" fmla="*/ 214 w 219"/>
                <a:gd name="T31" fmla="*/ 78 h 221"/>
                <a:gd name="T32" fmla="*/ 218 w 219"/>
                <a:gd name="T33" fmla="*/ 99 h 221"/>
                <a:gd name="T34" fmla="*/ 219 w 219"/>
                <a:gd name="T35" fmla="*/ 111 h 221"/>
                <a:gd name="T36" fmla="*/ 217 w 219"/>
                <a:gd name="T37" fmla="*/ 133 h 221"/>
                <a:gd name="T38" fmla="*/ 211 w 219"/>
                <a:gd name="T39" fmla="*/ 154 h 221"/>
                <a:gd name="T40" fmla="*/ 200 w 219"/>
                <a:gd name="T41" fmla="*/ 172 h 221"/>
                <a:gd name="T42" fmla="*/ 186 w 219"/>
                <a:gd name="T43" fmla="*/ 188 h 221"/>
                <a:gd name="T44" fmla="*/ 171 w 219"/>
                <a:gd name="T45" fmla="*/ 202 h 221"/>
                <a:gd name="T46" fmla="*/ 152 w 219"/>
                <a:gd name="T47" fmla="*/ 213 h 221"/>
                <a:gd name="T48" fmla="*/ 132 w 219"/>
                <a:gd name="T49" fmla="*/ 219 h 221"/>
                <a:gd name="T50" fmla="*/ 110 w 219"/>
                <a:gd name="T51" fmla="*/ 221 h 221"/>
                <a:gd name="T52" fmla="*/ 99 w 219"/>
                <a:gd name="T53" fmla="*/ 220 h 221"/>
                <a:gd name="T54" fmla="*/ 77 w 219"/>
                <a:gd name="T55" fmla="*/ 216 h 221"/>
                <a:gd name="T56" fmla="*/ 57 w 219"/>
                <a:gd name="T57" fmla="*/ 208 h 221"/>
                <a:gd name="T58" fmla="*/ 39 w 219"/>
                <a:gd name="T59" fmla="*/ 196 h 221"/>
                <a:gd name="T60" fmla="*/ 24 w 219"/>
                <a:gd name="T61" fmla="*/ 181 h 221"/>
                <a:gd name="T62" fmla="*/ 12 w 219"/>
                <a:gd name="T63" fmla="*/ 164 h 221"/>
                <a:gd name="T64" fmla="*/ 5 w 219"/>
                <a:gd name="T65" fmla="*/ 143 h 221"/>
                <a:gd name="T66" fmla="*/ 0 w 219"/>
                <a:gd name="T67" fmla="*/ 122 h 221"/>
                <a:gd name="T68" fmla="*/ 0 w 219"/>
                <a:gd name="T69" fmla="*/ 11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9" h="221">
                  <a:moveTo>
                    <a:pt x="0" y="111"/>
                  </a:moveTo>
                  <a:lnTo>
                    <a:pt x="0" y="111"/>
                  </a:lnTo>
                  <a:lnTo>
                    <a:pt x="0" y="99"/>
                  </a:lnTo>
                  <a:lnTo>
                    <a:pt x="1" y="88"/>
                  </a:lnTo>
                  <a:lnTo>
                    <a:pt x="5" y="78"/>
                  </a:lnTo>
                  <a:lnTo>
                    <a:pt x="8" y="68"/>
                  </a:lnTo>
                  <a:lnTo>
                    <a:pt x="12" y="59"/>
                  </a:lnTo>
                  <a:lnTo>
                    <a:pt x="18" y="49"/>
                  </a:lnTo>
                  <a:lnTo>
                    <a:pt x="24" y="41"/>
                  </a:lnTo>
                  <a:lnTo>
                    <a:pt x="32" y="33"/>
                  </a:lnTo>
                  <a:lnTo>
                    <a:pt x="39" y="26"/>
                  </a:lnTo>
                  <a:lnTo>
                    <a:pt x="47" y="20"/>
                  </a:lnTo>
                  <a:lnTo>
                    <a:pt x="57" y="14"/>
                  </a:lnTo>
                  <a:lnTo>
                    <a:pt x="67" y="9"/>
                  </a:lnTo>
                  <a:lnTo>
                    <a:pt x="77" y="5"/>
                  </a:lnTo>
                  <a:lnTo>
                    <a:pt x="88" y="3"/>
                  </a:lnTo>
                  <a:lnTo>
                    <a:pt x="99" y="2"/>
                  </a:lnTo>
                  <a:lnTo>
                    <a:pt x="110" y="0"/>
                  </a:lnTo>
                  <a:lnTo>
                    <a:pt x="110" y="0"/>
                  </a:lnTo>
                  <a:lnTo>
                    <a:pt x="121" y="2"/>
                  </a:lnTo>
                  <a:lnTo>
                    <a:pt x="132" y="3"/>
                  </a:lnTo>
                  <a:lnTo>
                    <a:pt x="142" y="5"/>
                  </a:lnTo>
                  <a:lnTo>
                    <a:pt x="152" y="9"/>
                  </a:lnTo>
                  <a:lnTo>
                    <a:pt x="162" y="14"/>
                  </a:lnTo>
                  <a:lnTo>
                    <a:pt x="171" y="20"/>
                  </a:lnTo>
                  <a:lnTo>
                    <a:pt x="179" y="26"/>
                  </a:lnTo>
                  <a:lnTo>
                    <a:pt x="186" y="33"/>
                  </a:lnTo>
                  <a:lnTo>
                    <a:pt x="194" y="41"/>
                  </a:lnTo>
                  <a:lnTo>
                    <a:pt x="200" y="49"/>
                  </a:lnTo>
                  <a:lnTo>
                    <a:pt x="206" y="59"/>
                  </a:lnTo>
                  <a:lnTo>
                    <a:pt x="211" y="68"/>
                  </a:lnTo>
                  <a:lnTo>
                    <a:pt x="214" y="78"/>
                  </a:lnTo>
                  <a:lnTo>
                    <a:pt x="217" y="88"/>
                  </a:lnTo>
                  <a:lnTo>
                    <a:pt x="218" y="99"/>
                  </a:lnTo>
                  <a:lnTo>
                    <a:pt x="219" y="111"/>
                  </a:lnTo>
                  <a:lnTo>
                    <a:pt x="219" y="111"/>
                  </a:lnTo>
                  <a:lnTo>
                    <a:pt x="218" y="122"/>
                  </a:lnTo>
                  <a:lnTo>
                    <a:pt x="217" y="133"/>
                  </a:lnTo>
                  <a:lnTo>
                    <a:pt x="214" y="143"/>
                  </a:lnTo>
                  <a:lnTo>
                    <a:pt x="211" y="154"/>
                  </a:lnTo>
                  <a:lnTo>
                    <a:pt x="206" y="164"/>
                  </a:lnTo>
                  <a:lnTo>
                    <a:pt x="200" y="172"/>
                  </a:lnTo>
                  <a:lnTo>
                    <a:pt x="194" y="181"/>
                  </a:lnTo>
                  <a:lnTo>
                    <a:pt x="186" y="188"/>
                  </a:lnTo>
                  <a:lnTo>
                    <a:pt x="179" y="196"/>
                  </a:lnTo>
                  <a:lnTo>
                    <a:pt x="171" y="202"/>
                  </a:lnTo>
                  <a:lnTo>
                    <a:pt x="162" y="208"/>
                  </a:lnTo>
                  <a:lnTo>
                    <a:pt x="152" y="213"/>
                  </a:lnTo>
                  <a:lnTo>
                    <a:pt x="142" y="216"/>
                  </a:lnTo>
                  <a:lnTo>
                    <a:pt x="132" y="219"/>
                  </a:lnTo>
                  <a:lnTo>
                    <a:pt x="121" y="220"/>
                  </a:lnTo>
                  <a:lnTo>
                    <a:pt x="110" y="221"/>
                  </a:lnTo>
                  <a:lnTo>
                    <a:pt x="110" y="221"/>
                  </a:lnTo>
                  <a:lnTo>
                    <a:pt x="99" y="220"/>
                  </a:lnTo>
                  <a:lnTo>
                    <a:pt x="88" y="219"/>
                  </a:lnTo>
                  <a:lnTo>
                    <a:pt x="77" y="216"/>
                  </a:lnTo>
                  <a:lnTo>
                    <a:pt x="67" y="213"/>
                  </a:lnTo>
                  <a:lnTo>
                    <a:pt x="57" y="208"/>
                  </a:lnTo>
                  <a:lnTo>
                    <a:pt x="47" y="202"/>
                  </a:lnTo>
                  <a:lnTo>
                    <a:pt x="39" y="196"/>
                  </a:lnTo>
                  <a:lnTo>
                    <a:pt x="32" y="188"/>
                  </a:lnTo>
                  <a:lnTo>
                    <a:pt x="24" y="181"/>
                  </a:lnTo>
                  <a:lnTo>
                    <a:pt x="18" y="172"/>
                  </a:lnTo>
                  <a:lnTo>
                    <a:pt x="12" y="164"/>
                  </a:lnTo>
                  <a:lnTo>
                    <a:pt x="8" y="154"/>
                  </a:lnTo>
                  <a:lnTo>
                    <a:pt x="5" y="143"/>
                  </a:lnTo>
                  <a:lnTo>
                    <a:pt x="1" y="133"/>
                  </a:lnTo>
                  <a:lnTo>
                    <a:pt x="0" y="122"/>
                  </a:lnTo>
                  <a:lnTo>
                    <a:pt x="0" y="111"/>
                  </a:lnTo>
                  <a:lnTo>
                    <a:pt x="0" y="1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29" name="Freeform 1257"/>
            <p:cNvSpPr>
              <a:spLocks/>
            </p:cNvSpPr>
            <p:nvPr/>
          </p:nvSpPr>
          <p:spPr bwMode="auto">
            <a:xfrm>
              <a:off x="8328182" y="-720954"/>
              <a:ext cx="51226" cy="51226"/>
            </a:xfrm>
            <a:custGeom>
              <a:avLst/>
              <a:gdLst>
                <a:gd name="T0" fmla="*/ 0 w 133"/>
                <a:gd name="T1" fmla="*/ 66 h 132"/>
                <a:gd name="T2" fmla="*/ 0 w 133"/>
                <a:gd name="T3" fmla="*/ 66 h 132"/>
                <a:gd name="T4" fmla="*/ 1 w 133"/>
                <a:gd name="T5" fmla="*/ 53 h 132"/>
                <a:gd name="T6" fmla="*/ 5 w 133"/>
                <a:gd name="T7" fmla="*/ 41 h 132"/>
                <a:gd name="T8" fmla="*/ 11 w 133"/>
                <a:gd name="T9" fmla="*/ 30 h 132"/>
                <a:gd name="T10" fmla="*/ 19 w 133"/>
                <a:gd name="T11" fmla="*/ 20 h 132"/>
                <a:gd name="T12" fmla="*/ 29 w 133"/>
                <a:gd name="T13" fmla="*/ 11 h 132"/>
                <a:gd name="T14" fmla="*/ 40 w 133"/>
                <a:gd name="T15" fmla="*/ 5 h 132"/>
                <a:gd name="T16" fmla="*/ 53 w 133"/>
                <a:gd name="T17" fmla="*/ 2 h 132"/>
                <a:gd name="T18" fmla="*/ 66 w 133"/>
                <a:gd name="T19" fmla="*/ 0 h 132"/>
                <a:gd name="T20" fmla="*/ 66 w 133"/>
                <a:gd name="T21" fmla="*/ 0 h 132"/>
                <a:gd name="T22" fmla="*/ 79 w 133"/>
                <a:gd name="T23" fmla="*/ 2 h 132"/>
                <a:gd name="T24" fmla="*/ 92 w 133"/>
                <a:gd name="T25" fmla="*/ 5 h 132"/>
                <a:gd name="T26" fmla="*/ 103 w 133"/>
                <a:gd name="T27" fmla="*/ 11 h 132"/>
                <a:gd name="T28" fmla="*/ 113 w 133"/>
                <a:gd name="T29" fmla="*/ 20 h 132"/>
                <a:gd name="T30" fmla="*/ 120 w 133"/>
                <a:gd name="T31" fmla="*/ 30 h 132"/>
                <a:gd name="T32" fmla="*/ 126 w 133"/>
                <a:gd name="T33" fmla="*/ 41 h 132"/>
                <a:gd name="T34" fmla="*/ 131 w 133"/>
                <a:gd name="T35" fmla="*/ 53 h 132"/>
                <a:gd name="T36" fmla="*/ 133 w 133"/>
                <a:gd name="T37" fmla="*/ 66 h 132"/>
                <a:gd name="T38" fmla="*/ 133 w 133"/>
                <a:gd name="T39" fmla="*/ 66 h 132"/>
                <a:gd name="T40" fmla="*/ 131 w 133"/>
                <a:gd name="T41" fmla="*/ 80 h 132"/>
                <a:gd name="T42" fmla="*/ 126 w 133"/>
                <a:gd name="T43" fmla="*/ 92 h 132"/>
                <a:gd name="T44" fmla="*/ 120 w 133"/>
                <a:gd name="T45" fmla="*/ 103 h 132"/>
                <a:gd name="T46" fmla="*/ 113 w 133"/>
                <a:gd name="T47" fmla="*/ 112 h 132"/>
                <a:gd name="T48" fmla="*/ 103 w 133"/>
                <a:gd name="T49" fmla="*/ 121 h 132"/>
                <a:gd name="T50" fmla="*/ 92 w 133"/>
                <a:gd name="T51" fmla="*/ 127 h 132"/>
                <a:gd name="T52" fmla="*/ 79 w 133"/>
                <a:gd name="T53" fmla="*/ 131 h 132"/>
                <a:gd name="T54" fmla="*/ 66 w 133"/>
                <a:gd name="T55" fmla="*/ 132 h 132"/>
                <a:gd name="T56" fmla="*/ 66 w 133"/>
                <a:gd name="T57" fmla="*/ 132 h 132"/>
                <a:gd name="T58" fmla="*/ 53 w 133"/>
                <a:gd name="T59" fmla="*/ 131 h 132"/>
                <a:gd name="T60" fmla="*/ 40 w 133"/>
                <a:gd name="T61" fmla="*/ 127 h 132"/>
                <a:gd name="T62" fmla="*/ 29 w 133"/>
                <a:gd name="T63" fmla="*/ 121 h 132"/>
                <a:gd name="T64" fmla="*/ 19 w 133"/>
                <a:gd name="T65" fmla="*/ 112 h 132"/>
                <a:gd name="T66" fmla="*/ 11 w 133"/>
                <a:gd name="T67" fmla="*/ 103 h 132"/>
                <a:gd name="T68" fmla="*/ 5 w 133"/>
                <a:gd name="T69" fmla="*/ 92 h 132"/>
                <a:gd name="T70" fmla="*/ 1 w 133"/>
                <a:gd name="T71" fmla="*/ 80 h 132"/>
                <a:gd name="T72" fmla="*/ 0 w 133"/>
                <a:gd name="T73" fmla="*/ 66 h 132"/>
                <a:gd name="T74" fmla="*/ 0 w 133"/>
                <a:gd name="T75" fmla="*/ 6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3" h="132">
                  <a:moveTo>
                    <a:pt x="0" y="66"/>
                  </a:moveTo>
                  <a:lnTo>
                    <a:pt x="0" y="66"/>
                  </a:lnTo>
                  <a:lnTo>
                    <a:pt x="1" y="53"/>
                  </a:lnTo>
                  <a:lnTo>
                    <a:pt x="5" y="41"/>
                  </a:lnTo>
                  <a:lnTo>
                    <a:pt x="11" y="30"/>
                  </a:lnTo>
                  <a:lnTo>
                    <a:pt x="19" y="20"/>
                  </a:lnTo>
                  <a:lnTo>
                    <a:pt x="29" y="11"/>
                  </a:lnTo>
                  <a:lnTo>
                    <a:pt x="40" y="5"/>
                  </a:lnTo>
                  <a:lnTo>
                    <a:pt x="53" y="2"/>
                  </a:lnTo>
                  <a:lnTo>
                    <a:pt x="66" y="0"/>
                  </a:lnTo>
                  <a:lnTo>
                    <a:pt x="66" y="0"/>
                  </a:lnTo>
                  <a:lnTo>
                    <a:pt x="79" y="2"/>
                  </a:lnTo>
                  <a:lnTo>
                    <a:pt x="92" y="5"/>
                  </a:lnTo>
                  <a:lnTo>
                    <a:pt x="103" y="11"/>
                  </a:lnTo>
                  <a:lnTo>
                    <a:pt x="113" y="20"/>
                  </a:lnTo>
                  <a:lnTo>
                    <a:pt x="120" y="30"/>
                  </a:lnTo>
                  <a:lnTo>
                    <a:pt x="126" y="41"/>
                  </a:lnTo>
                  <a:lnTo>
                    <a:pt x="131" y="53"/>
                  </a:lnTo>
                  <a:lnTo>
                    <a:pt x="133" y="66"/>
                  </a:lnTo>
                  <a:lnTo>
                    <a:pt x="133" y="66"/>
                  </a:lnTo>
                  <a:lnTo>
                    <a:pt x="131" y="80"/>
                  </a:lnTo>
                  <a:lnTo>
                    <a:pt x="126" y="92"/>
                  </a:lnTo>
                  <a:lnTo>
                    <a:pt x="120" y="103"/>
                  </a:lnTo>
                  <a:lnTo>
                    <a:pt x="113" y="112"/>
                  </a:lnTo>
                  <a:lnTo>
                    <a:pt x="103" y="121"/>
                  </a:lnTo>
                  <a:lnTo>
                    <a:pt x="92" y="127"/>
                  </a:lnTo>
                  <a:lnTo>
                    <a:pt x="79" y="131"/>
                  </a:lnTo>
                  <a:lnTo>
                    <a:pt x="66" y="132"/>
                  </a:lnTo>
                  <a:lnTo>
                    <a:pt x="66" y="132"/>
                  </a:lnTo>
                  <a:lnTo>
                    <a:pt x="53" y="131"/>
                  </a:lnTo>
                  <a:lnTo>
                    <a:pt x="40" y="127"/>
                  </a:lnTo>
                  <a:lnTo>
                    <a:pt x="29" y="121"/>
                  </a:lnTo>
                  <a:lnTo>
                    <a:pt x="19" y="112"/>
                  </a:lnTo>
                  <a:lnTo>
                    <a:pt x="11" y="103"/>
                  </a:lnTo>
                  <a:lnTo>
                    <a:pt x="5" y="92"/>
                  </a:lnTo>
                  <a:lnTo>
                    <a:pt x="1" y="80"/>
                  </a:lnTo>
                  <a:lnTo>
                    <a:pt x="0" y="66"/>
                  </a:lnTo>
                  <a:lnTo>
                    <a:pt x="0"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0" name="Freeform 1258"/>
            <p:cNvSpPr>
              <a:spLocks/>
            </p:cNvSpPr>
            <p:nvPr/>
          </p:nvSpPr>
          <p:spPr bwMode="auto">
            <a:xfrm>
              <a:off x="8102410" y="-1297719"/>
              <a:ext cx="197314" cy="263719"/>
            </a:xfrm>
            <a:custGeom>
              <a:avLst/>
              <a:gdLst>
                <a:gd name="T0" fmla="*/ 490 w 519"/>
                <a:gd name="T1" fmla="*/ 693 h 693"/>
                <a:gd name="T2" fmla="*/ 519 w 519"/>
                <a:gd name="T3" fmla="*/ 681 h 693"/>
                <a:gd name="T4" fmla="*/ 255 w 519"/>
                <a:gd name="T5" fmla="*/ 0 h 693"/>
                <a:gd name="T6" fmla="*/ 0 w 519"/>
                <a:gd name="T7" fmla="*/ 0 h 693"/>
                <a:gd name="T8" fmla="*/ 0 w 519"/>
                <a:gd name="T9" fmla="*/ 33 h 693"/>
                <a:gd name="T10" fmla="*/ 233 w 519"/>
                <a:gd name="T11" fmla="*/ 33 h 693"/>
                <a:gd name="T12" fmla="*/ 490 w 519"/>
                <a:gd name="T13" fmla="*/ 693 h 693"/>
              </a:gdLst>
              <a:ahLst/>
              <a:cxnLst>
                <a:cxn ang="0">
                  <a:pos x="T0" y="T1"/>
                </a:cxn>
                <a:cxn ang="0">
                  <a:pos x="T2" y="T3"/>
                </a:cxn>
                <a:cxn ang="0">
                  <a:pos x="T4" y="T5"/>
                </a:cxn>
                <a:cxn ang="0">
                  <a:pos x="T6" y="T7"/>
                </a:cxn>
                <a:cxn ang="0">
                  <a:pos x="T8" y="T9"/>
                </a:cxn>
                <a:cxn ang="0">
                  <a:pos x="T10" y="T11"/>
                </a:cxn>
                <a:cxn ang="0">
                  <a:pos x="T12" y="T13"/>
                </a:cxn>
              </a:cxnLst>
              <a:rect l="0" t="0" r="r" b="b"/>
              <a:pathLst>
                <a:path w="519" h="693">
                  <a:moveTo>
                    <a:pt x="490" y="693"/>
                  </a:moveTo>
                  <a:lnTo>
                    <a:pt x="519" y="681"/>
                  </a:lnTo>
                  <a:lnTo>
                    <a:pt x="255" y="0"/>
                  </a:lnTo>
                  <a:lnTo>
                    <a:pt x="0" y="0"/>
                  </a:lnTo>
                  <a:lnTo>
                    <a:pt x="0" y="33"/>
                  </a:lnTo>
                  <a:lnTo>
                    <a:pt x="233" y="33"/>
                  </a:lnTo>
                  <a:lnTo>
                    <a:pt x="490" y="693"/>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1" name="Rectangle 1259"/>
            <p:cNvSpPr>
              <a:spLocks noChangeArrowheads="1"/>
            </p:cNvSpPr>
            <p:nvPr/>
          </p:nvSpPr>
          <p:spPr bwMode="auto">
            <a:xfrm>
              <a:off x="8085334" y="-1271158"/>
              <a:ext cx="9487" cy="87274"/>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2" name="Freeform 1260"/>
            <p:cNvSpPr>
              <a:spLocks/>
            </p:cNvSpPr>
            <p:nvPr/>
          </p:nvSpPr>
          <p:spPr bwMode="auto">
            <a:xfrm>
              <a:off x="8085334" y="-1056767"/>
              <a:ext cx="248540" cy="30356"/>
            </a:xfrm>
            <a:custGeom>
              <a:avLst/>
              <a:gdLst>
                <a:gd name="T0" fmla="*/ 0 w 654"/>
                <a:gd name="T1" fmla="*/ 0 h 77"/>
                <a:gd name="T2" fmla="*/ 578 w 654"/>
                <a:gd name="T3" fmla="*/ 0 h 77"/>
                <a:gd name="T4" fmla="*/ 578 w 654"/>
                <a:gd name="T5" fmla="*/ 0 h 77"/>
                <a:gd name="T6" fmla="*/ 586 w 654"/>
                <a:gd name="T7" fmla="*/ 2 h 77"/>
                <a:gd name="T8" fmla="*/ 593 w 654"/>
                <a:gd name="T9" fmla="*/ 3 h 77"/>
                <a:gd name="T10" fmla="*/ 601 w 654"/>
                <a:gd name="T11" fmla="*/ 4 h 77"/>
                <a:gd name="T12" fmla="*/ 608 w 654"/>
                <a:gd name="T13" fmla="*/ 7 h 77"/>
                <a:gd name="T14" fmla="*/ 620 w 654"/>
                <a:gd name="T15" fmla="*/ 14 h 77"/>
                <a:gd name="T16" fmla="*/ 631 w 654"/>
                <a:gd name="T17" fmla="*/ 24 h 77"/>
                <a:gd name="T18" fmla="*/ 641 w 654"/>
                <a:gd name="T19" fmla="*/ 35 h 77"/>
                <a:gd name="T20" fmla="*/ 648 w 654"/>
                <a:gd name="T21" fmla="*/ 47 h 77"/>
                <a:gd name="T22" fmla="*/ 651 w 654"/>
                <a:gd name="T23" fmla="*/ 54 h 77"/>
                <a:gd name="T24" fmla="*/ 652 w 654"/>
                <a:gd name="T25" fmla="*/ 61 h 77"/>
                <a:gd name="T26" fmla="*/ 653 w 654"/>
                <a:gd name="T27" fmla="*/ 69 h 77"/>
                <a:gd name="T28" fmla="*/ 654 w 654"/>
                <a:gd name="T29" fmla="*/ 77 h 77"/>
                <a:gd name="T30" fmla="*/ 0 w 654"/>
                <a:gd name="T31" fmla="*/ 77 h 77"/>
                <a:gd name="T32" fmla="*/ 0 w 654"/>
                <a:gd name="T33"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4" h="77">
                  <a:moveTo>
                    <a:pt x="0" y="0"/>
                  </a:moveTo>
                  <a:lnTo>
                    <a:pt x="578" y="0"/>
                  </a:lnTo>
                  <a:lnTo>
                    <a:pt x="578" y="0"/>
                  </a:lnTo>
                  <a:lnTo>
                    <a:pt x="586" y="2"/>
                  </a:lnTo>
                  <a:lnTo>
                    <a:pt x="593" y="3"/>
                  </a:lnTo>
                  <a:lnTo>
                    <a:pt x="601" y="4"/>
                  </a:lnTo>
                  <a:lnTo>
                    <a:pt x="608" y="7"/>
                  </a:lnTo>
                  <a:lnTo>
                    <a:pt x="620" y="14"/>
                  </a:lnTo>
                  <a:lnTo>
                    <a:pt x="631" y="24"/>
                  </a:lnTo>
                  <a:lnTo>
                    <a:pt x="641" y="35"/>
                  </a:lnTo>
                  <a:lnTo>
                    <a:pt x="648" y="47"/>
                  </a:lnTo>
                  <a:lnTo>
                    <a:pt x="651" y="54"/>
                  </a:lnTo>
                  <a:lnTo>
                    <a:pt x="652" y="61"/>
                  </a:lnTo>
                  <a:lnTo>
                    <a:pt x="653" y="69"/>
                  </a:lnTo>
                  <a:lnTo>
                    <a:pt x="654" y="77"/>
                  </a:lnTo>
                  <a:lnTo>
                    <a:pt x="0" y="77"/>
                  </a:lnTo>
                  <a:lnTo>
                    <a:pt x="0"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3" name="Freeform 1261"/>
            <p:cNvSpPr>
              <a:spLocks/>
            </p:cNvSpPr>
            <p:nvPr/>
          </p:nvSpPr>
          <p:spPr bwMode="auto">
            <a:xfrm>
              <a:off x="8085334" y="-1026410"/>
              <a:ext cx="248540" cy="28459"/>
            </a:xfrm>
            <a:custGeom>
              <a:avLst/>
              <a:gdLst>
                <a:gd name="T0" fmla="*/ 0 w 654"/>
                <a:gd name="T1" fmla="*/ 0 h 76"/>
                <a:gd name="T2" fmla="*/ 654 w 654"/>
                <a:gd name="T3" fmla="*/ 0 h 76"/>
                <a:gd name="T4" fmla="*/ 654 w 654"/>
                <a:gd name="T5" fmla="*/ 0 h 76"/>
                <a:gd name="T6" fmla="*/ 653 w 654"/>
                <a:gd name="T7" fmla="*/ 8 h 76"/>
                <a:gd name="T8" fmla="*/ 652 w 654"/>
                <a:gd name="T9" fmla="*/ 15 h 76"/>
                <a:gd name="T10" fmla="*/ 651 w 654"/>
                <a:gd name="T11" fmla="*/ 22 h 76"/>
                <a:gd name="T12" fmla="*/ 648 w 654"/>
                <a:gd name="T13" fmla="*/ 30 h 76"/>
                <a:gd name="T14" fmla="*/ 641 w 654"/>
                <a:gd name="T15" fmla="*/ 42 h 76"/>
                <a:gd name="T16" fmla="*/ 631 w 654"/>
                <a:gd name="T17" fmla="*/ 54 h 76"/>
                <a:gd name="T18" fmla="*/ 620 w 654"/>
                <a:gd name="T19" fmla="*/ 62 h 76"/>
                <a:gd name="T20" fmla="*/ 608 w 654"/>
                <a:gd name="T21" fmla="*/ 70 h 76"/>
                <a:gd name="T22" fmla="*/ 601 w 654"/>
                <a:gd name="T23" fmla="*/ 72 h 76"/>
                <a:gd name="T24" fmla="*/ 593 w 654"/>
                <a:gd name="T25" fmla="*/ 75 h 76"/>
                <a:gd name="T26" fmla="*/ 586 w 654"/>
                <a:gd name="T27" fmla="*/ 76 h 76"/>
                <a:gd name="T28" fmla="*/ 578 w 654"/>
                <a:gd name="T29" fmla="*/ 76 h 76"/>
                <a:gd name="T30" fmla="*/ 0 w 654"/>
                <a:gd name="T31" fmla="*/ 76 h 76"/>
                <a:gd name="T32" fmla="*/ 0 w 654"/>
                <a:gd name="T3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4" h="76">
                  <a:moveTo>
                    <a:pt x="0" y="0"/>
                  </a:moveTo>
                  <a:lnTo>
                    <a:pt x="654" y="0"/>
                  </a:lnTo>
                  <a:lnTo>
                    <a:pt x="654" y="0"/>
                  </a:lnTo>
                  <a:lnTo>
                    <a:pt x="653" y="8"/>
                  </a:lnTo>
                  <a:lnTo>
                    <a:pt x="652" y="15"/>
                  </a:lnTo>
                  <a:lnTo>
                    <a:pt x="651" y="22"/>
                  </a:lnTo>
                  <a:lnTo>
                    <a:pt x="648" y="30"/>
                  </a:lnTo>
                  <a:lnTo>
                    <a:pt x="641" y="42"/>
                  </a:lnTo>
                  <a:lnTo>
                    <a:pt x="631" y="54"/>
                  </a:lnTo>
                  <a:lnTo>
                    <a:pt x="620" y="62"/>
                  </a:lnTo>
                  <a:lnTo>
                    <a:pt x="608" y="70"/>
                  </a:lnTo>
                  <a:lnTo>
                    <a:pt x="601" y="72"/>
                  </a:lnTo>
                  <a:lnTo>
                    <a:pt x="593" y="75"/>
                  </a:lnTo>
                  <a:lnTo>
                    <a:pt x="586" y="76"/>
                  </a:lnTo>
                  <a:lnTo>
                    <a:pt x="578" y="76"/>
                  </a:lnTo>
                  <a:lnTo>
                    <a:pt x="0" y="76"/>
                  </a:lnTo>
                  <a:lnTo>
                    <a:pt x="0" y="0"/>
                  </a:lnTo>
                  <a:close/>
                </a:path>
              </a:pathLst>
            </a:custGeom>
            <a:solidFill>
              <a:srgbClr val="7F2D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4" name="Freeform 1262"/>
            <p:cNvSpPr>
              <a:spLocks/>
            </p:cNvSpPr>
            <p:nvPr/>
          </p:nvSpPr>
          <p:spPr bwMode="auto">
            <a:xfrm>
              <a:off x="8085334" y="-1326176"/>
              <a:ext cx="34150" cy="70198"/>
            </a:xfrm>
            <a:custGeom>
              <a:avLst/>
              <a:gdLst>
                <a:gd name="T0" fmla="*/ 0 w 91"/>
                <a:gd name="T1" fmla="*/ 0 h 183"/>
                <a:gd name="T2" fmla="*/ 0 w 91"/>
                <a:gd name="T3" fmla="*/ 0 h 183"/>
                <a:gd name="T4" fmla="*/ 8 w 91"/>
                <a:gd name="T5" fmla="*/ 1 h 183"/>
                <a:gd name="T6" fmla="*/ 18 w 91"/>
                <a:gd name="T7" fmla="*/ 2 h 183"/>
                <a:gd name="T8" fmla="*/ 26 w 91"/>
                <a:gd name="T9" fmla="*/ 5 h 183"/>
                <a:gd name="T10" fmla="*/ 35 w 91"/>
                <a:gd name="T11" fmla="*/ 7 h 183"/>
                <a:gd name="T12" fmla="*/ 42 w 91"/>
                <a:gd name="T13" fmla="*/ 11 h 183"/>
                <a:gd name="T14" fmla="*/ 50 w 91"/>
                <a:gd name="T15" fmla="*/ 16 h 183"/>
                <a:gd name="T16" fmla="*/ 57 w 91"/>
                <a:gd name="T17" fmla="*/ 22 h 183"/>
                <a:gd name="T18" fmla="*/ 64 w 91"/>
                <a:gd name="T19" fmla="*/ 27 h 183"/>
                <a:gd name="T20" fmla="*/ 69 w 91"/>
                <a:gd name="T21" fmla="*/ 34 h 183"/>
                <a:gd name="T22" fmla="*/ 75 w 91"/>
                <a:gd name="T23" fmla="*/ 40 h 183"/>
                <a:gd name="T24" fmla="*/ 79 w 91"/>
                <a:gd name="T25" fmla="*/ 48 h 183"/>
                <a:gd name="T26" fmla="*/ 84 w 91"/>
                <a:gd name="T27" fmla="*/ 56 h 183"/>
                <a:gd name="T28" fmla="*/ 86 w 91"/>
                <a:gd name="T29" fmla="*/ 64 h 183"/>
                <a:gd name="T30" fmla="*/ 89 w 91"/>
                <a:gd name="T31" fmla="*/ 73 h 183"/>
                <a:gd name="T32" fmla="*/ 90 w 91"/>
                <a:gd name="T33" fmla="*/ 83 h 183"/>
                <a:gd name="T34" fmla="*/ 91 w 91"/>
                <a:gd name="T35" fmla="*/ 91 h 183"/>
                <a:gd name="T36" fmla="*/ 91 w 91"/>
                <a:gd name="T37" fmla="*/ 91 h 183"/>
                <a:gd name="T38" fmla="*/ 90 w 91"/>
                <a:gd name="T39" fmla="*/ 101 h 183"/>
                <a:gd name="T40" fmla="*/ 89 w 91"/>
                <a:gd name="T41" fmla="*/ 109 h 183"/>
                <a:gd name="T42" fmla="*/ 86 w 91"/>
                <a:gd name="T43" fmla="*/ 119 h 183"/>
                <a:gd name="T44" fmla="*/ 84 w 91"/>
                <a:gd name="T45" fmla="*/ 127 h 183"/>
                <a:gd name="T46" fmla="*/ 79 w 91"/>
                <a:gd name="T47" fmla="*/ 135 h 183"/>
                <a:gd name="T48" fmla="*/ 75 w 91"/>
                <a:gd name="T49" fmla="*/ 142 h 183"/>
                <a:gd name="T50" fmla="*/ 69 w 91"/>
                <a:gd name="T51" fmla="*/ 150 h 183"/>
                <a:gd name="T52" fmla="*/ 64 w 91"/>
                <a:gd name="T53" fmla="*/ 156 h 183"/>
                <a:gd name="T54" fmla="*/ 57 w 91"/>
                <a:gd name="T55" fmla="*/ 162 h 183"/>
                <a:gd name="T56" fmla="*/ 50 w 91"/>
                <a:gd name="T57" fmla="*/ 167 h 183"/>
                <a:gd name="T58" fmla="*/ 42 w 91"/>
                <a:gd name="T59" fmla="*/ 172 h 183"/>
                <a:gd name="T60" fmla="*/ 35 w 91"/>
                <a:gd name="T61" fmla="*/ 175 h 183"/>
                <a:gd name="T62" fmla="*/ 26 w 91"/>
                <a:gd name="T63" fmla="*/ 179 h 183"/>
                <a:gd name="T64" fmla="*/ 18 w 91"/>
                <a:gd name="T65" fmla="*/ 181 h 183"/>
                <a:gd name="T66" fmla="*/ 8 w 91"/>
                <a:gd name="T67" fmla="*/ 183 h 183"/>
                <a:gd name="T68" fmla="*/ 0 w 91"/>
                <a:gd name="T69" fmla="*/ 183 h 183"/>
                <a:gd name="T70" fmla="*/ 0 w 91"/>
                <a:gd name="T71"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 h="183">
                  <a:moveTo>
                    <a:pt x="0" y="0"/>
                  </a:moveTo>
                  <a:lnTo>
                    <a:pt x="0" y="0"/>
                  </a:lnTo>
                  <a:lnTo>
                    <a:pt x="8" y="1"/>
                  </a:lnTo>
                  <a:lnTo>
                    <a:pt x="18" y="2"/>
                  </a:lnTo>
                  <a:lnTo>
                    <a:pt x="26" y="5"/>
                  </a:lnTo>
                  <a:lnTo>
                    <a:pt x="35" y="7"/>
                  </a:lnTo>
                  <a:lnTo>
                    <a:pt x="42" y="11"/>
                  </a:lnTo>
                  <a:lnTo>
                    <a:pt x="50" y="16"/>
                  </a:lnTo>
                  <a:lnTo>
                    <a:pt x="57" y="22"/>
                  </a:lnTo>
                  <a:lnTo>
                    <a:pt x="64" y="27"/>
                  </a:lnTo>
                  <a:lnTo>
                    <a:pt x="69" y="34"/>
                  </a:lnTo>
                  <a:lnTo>
                    <a:pt x="75" y="40"/>
                  </a:lnTo>
                  <a:lnTo>
                    <a:pt x="79" y="48"/>
                  </a:lnTo>
                  <a:lnTo>
                    <a:pt x="84" y="56"/>
                  </a:lnTo>
                  <a:lnTo>
                    <a:pt x="86" y="64"/>
                  </a:lnTo>
                  <a:lnTo>
                    <a:pt x="89" y="73"/>
                  </a:lnTo>
                  <a:lnTo>
                    <a:pt x="90" y="83"/>
                  </a:lnTo>
                  <a:lnTo>
                    <a:pt x="91" y="91"/>
                  </a:lnTo>
                  <a:lnTo>
                    <a:pt x="91" y="91"/>
                  </a:lnTo>
                  <a:lnTo>
                    <a:pt x="90" y="101"/>
                  </a:lnTo>
                  <a:lnTo>
                    <a:pt x="89" y="109"/>
                  </a:lnTo>
                  <a:lnTo>
                    <a:pt x="86" y="119"/>
                  </a:lnTo>
                  <a:lnTo>
                    <a:pt x="84" y="127"/>
                  </a:lnTo>
                  <a:lnTo>
                    <a:pt x="79" y="135"/>
                  </a:lnTo>
                  <a:lnTo>
                    <a:pt x="75" y="142"/>
                  </a:lnTo>
                  <a:lnTo>
                    <a:pt x="69" y="150"/>
                  </a:lnTo>
                  <a:lnTo>
                    <a:pt x="64" y="156"/>
                  </a:lnTo>
                  <a:lnTo>
                    <a:pt x="57" y="162"/>
                  </a:lnTo>
                  <a:lnTo>
                    <a:pt x="50" y="167"/>
                  </a:lnTo>
                  <a:lnTo>
                    <a:pt x="42" y="172"/>
                  </a:lnTo>
                  <a:lnTo>
                    <a:pt x="35" y="175"/>
                  </a:lnTo>
                  <a:lnTo>
                    <a:pt x="26" y="179"/>
                  </a:lnTo>
                  <a:lnTo>
                    <a:pt x="18" y="181"/>
                  </a:lnTo>
                  <a:lnTo>
                    <a:pt x="8" y="183"/>
                  </a:lnTo>
                  <a:lnTo>
                    <a:pt x="0" y="183"/>
                  </a:lnTo>
                  <a:lnTo>
                    <a:pt x="0"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5" name="Freeform 1263"/>
            <p:cNvSpPr>
              <a:spLocks/>
            </p:cNvSpPr>
            <p:nvPr/>
          </p:nvSpPr>
          <p:spPr bwMode="auto">
            <a:xfrm>
              <a:off x="8085334" y="-1212343"/>
              <a:ext cx="55021" cy="55021"/>
            </a:xfrm>
            <a:custGeom>
              <a:avLst/>
              <a:gdLst>
                <a:gd name="T0" fmla="*/ 0 w 143"/>
                <a:gd name="T1" fmla="*/ 0 h 143"/>
                <a:gd name="T2" fmla="*/ 0 w 143"/>
                <a:gd name="T3" fmla="*/ 0 h 143"/>
                <a:gd name="T4" fmla="*/ 14 w 143"/>
                <a:gd name="T5" fmla="*/ 0 h 143"/>
                <a:gd name="T6" fmla="*/ 29 w 143"/>
                <a:gd name="T7" fmla="*/ 2 h 143"/>
                <a:gd name="T8" fmla="*/ 42 w 143"/>
                <a:gd name="T9" fmla="*/ 6 h 143"/>
                <a:gd name="T10" fmla="*/ 56 w 143"/>
                <a:gd name="T11" fmla="*/ 11 h 143"/>
                <a:gd name="T12" fmla="*/ 68 w 143"/>
                <a:gd name="T13" fmla="*/ 17 h 143"/>
                <a:gd name="T14" fmla="*/ 80 w 143"/>
                <a:gd name="T15" fmla="*/ 24 h 143"/>
                <a:gd name="T16" fmla="*/ 91 w 143"/>
                <a:gd name="T17" fmla="*/ 33 h 143"/>
                <a:gd name="T18" fmla="*/ 102 w 143"/>
                <a:gd name="T19" fmla="*/ 41 h 143"/>
                <a:gd name="T20" fmla="*/ 111 w 143"/>
                <a:gd name="T21" fmla="*/ 52 h 143"/>
                <a:gd name="T22" fmla="*/ 119 w 143"/>
                <a:gd name="T23" fmla="*/ 63 h 143"/>
                <a:gd name="T24" fmla="*/ 126 w 143"/>
                <a:gd name="T25" fmla="*/ 75 h 143"/>
                <a:gd name="T26" fmla="*/ 133 w 143"/>
                <a:gd name="T27" fmla="*/ 87 h 143"/>
                <a:gd name="T28" fmla="*/ 137 w 143"/>
                <a:gd name="T29" fmla="*/ 101 h 143"/>
                <a:gd name="T30" fmla="*/ 141 w 143"/>
                <a:gd name="T31" fmla="*/ 114 h 143"/>
                <a:gd name="T32" fmla="*/ 143 w 143"/>
                <a:gd name="T33" fmla="*/ 129 h 143"/>
                <a:gd name="T34" fmla="*/ 143 w 143"/>
                <a:gd name="T35" fmla="*/ 143 h 143"/>
                <a:gd name="T36" fmla="*/ 0 w 143"/>
                <a:gd name="T37" fmla="*/ 143 h 143"/>
                <a:gd name="T38" fmla="*/ 0 w 143"/>
                <a:gd name="T39"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3" h="143">
                  <a:moveTo>
                    <a:pt x="0" y="0"/>
                  </a:moveTo>
                  <a:lnTo>
                    <a:pt x="0" y="0"/>
                  </a:lnTo>
                  <a:lnTo>
                    <a:pt x="14" y="0"/>
                  </a:lnTo>
                  <a:lnTo>
                    <a:pt x="29" y="2"/>
                  </a:lnTo>
                  <a:lnTo>
                    <a:pt x="42" y="6"/>
                  </a:lnTo>
                  <a:lnTo>
                    <a:pt x="56" y="11"/>
                  </a:lnTo>
                  <a:lnTo>
                    <a:pt x="68" y="17"/>
                  </a:lnTo>
                  <a:lnTo>
                    <a:pt x="80" y="24"/>
                  </a:lnTo>
                  <a:lnTo>
                    <a:pt x="91" y="33"/>
                  </a:lnTo>
                  <a:lnTo>
                    <a:pt x="102" y="41"/>
                  </a:lnTo>
                  <a:lnTo>
                    <a:pt x="111" y="52"/>
                  </a:lnTo>
                  <a:lnTo>
                    <a:pt x="119" y="63"/>
                  </a:lnTo>
                  <a:lnTo>
                    <a:pt x="126" y="75"/>
                  </a:lnTo>
                  <a:lnTo>
                    <a:pt x="133" y="87"/>
                  </a:lnTo>
                  <a:lnTo>
                    <a:pt x="137" y="101"/>
                  </a:lnTo>
                  <a:lnTo>
                    <a:pt x="141" y="114"/>
                  </a:lnTo>
                  <a:lnTo>
                    <a:pt x="143" y="129"/>
                  </a:lnTo>
                  <a:lnTo>
                    <a:pt x="143" y="143"/>
                  </a:lnTo>
                  <a:lnTo>
                    <a:pt x="0" y="143"/>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6" name="Freeform 1264"/>
            <p:cNvSpPr>
              <a:spLocks/>
            </p:cNvSpPr>
            <p:nvPr/>
          </p:nvSpPr>
          <p:spPr bwMode="auto">
            <a:xfrm>
              <a:off x="8085334" y="-997952"/>
              <a:ext cx="220081" cy="115732"/>
            </a:xfrm>
            <a:custGeom>
              <a:avLst/>
              <a:gdLst>
                <a:gd name="T0" fmla="*/ 289 w 578"/>
                <a:gd name="T1" fmla="*/ 303 h 303"/>
                <a:gd name="T2" fmla="*/ 0 w 578"/>
                <a:gd name="T3" fmla="*/ 303 h 303"/>
                <a:gd name="T4" fmla="*/ 0 w 578"/>
                <a:gd name="T5" fmla="*/ 0 h 303"/>
                <a:gd name="T6" fmla="*/ 578 w 578"/>
                <a:gd name="T7" fmla="*/ 0 h 303"/>
                <a:gd name="T8" fmla="*/ 289 w 578"/>
                <a:gd name="T9" fmla="*/ 303 h 303"/>
              </a:gdLst>
              <a:ahLst/>
              <a:cxnLst>
                <a:cxn ang="0">
                  <a:pos x="T0" y="T1"/>
                </a:cxn>
                <a:cxn ang="0">
                  <a:pos x="T2" y="T3"/>
                </a:cxn>
                <a:cxn ang="0">
                  <a:pos x="T4" y="T5"/>
                </a:cxn>
                <a:cxn ang="0">
                  <a:pos x="T6" y="T7"/>
                </a:cxn>
                <a:cxn ang="0">
                  <a:pos x="T8" y="T9"/>
                </a:cxn>
              </a:cxnLst>
              <a:rect l="0" t="0" r="r" b="b"/>
              <a:pathLst>
                <a:path w="578" h="303">
                  <a:moveTo>
                    <a:pt x="289" y="303"/>
                  </a:moveTo>
                  <a:lnTo>
                    <a:pt x="0" y="303"/>
                  </a:lnTo>
                  <a:lnTo>
                    <a:pt x="0" y="0"/>
                  </a:lnTo>
                  <a:lnTo>
                    <a:pt x="578" y="0"/>
                  </a:lnTo>
                  <a:lnTo>
                    <a:pt x="289" y="303"/>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7" name="Freeform 1265"/>
            <p:cNvSpPr>
              <a:spLocks/>
            </p:cNvSpPr>
            <p:nvPr/>
          </p:nvSpPr>
          <p:spPr bwMode="auto">
            <a:xfrm>
              <a:off x="8085334" y="-1128862"/>
              <a:ext cx="123321" cy="72096"/>
            </a:xfrm>
            <a:custGeom>
              <a:avLst/>
              <a:gdLst>
                <a:gd name="T0" fmla="*/ 143 w 326"/>
                <a:gd name="T1" fmla="*/ 0 h 193"/>
                <a:gd name="T2" fmla="*/ 0 w 326"/>
                <a:gd name="T3" fmla="*/ 0 h 193"/>
                <a:gd name="T4" fmla="*/ 0 w 326"/>
                <a:gd name="T5" fmla="*/ 193 h 193"/>
                <a:gd name="T6" fmla="*/ 326 w 326"/>
                <a:gd name="T7" fmla="*/ 193 h 193"/>
                <a:gd name="T8" fmla="*/ 143 w 326"/>
                <a:gd name="T9" fmla="*/ 0 h 193"/>
              </a:gdLst>
              <a:ahLst/>
              <a:cxnLst>
                <a:cxn ang="0">
                  <a:pos x="T0" y="T1"/>
                </a:cxn>
                <a:cxn ang="0">
                  <a:pos x="T2" y="T3"/>
                </a:cxn>
                <a:cxn ang="0">
                  <a:pos x="T4" y="T5"/>
                </a:cxn>
                <a:cxn ang="0">
                  <a:pos x="T6" y="T7"/>
                </a:cxn>
                <a:cxn ang="0">
                  <a:pos x="T8" y="T9"/>
                </a:cxn>
              </a:cxnLst>
              <a:rect l="0" t="0" r="r" b="b"/>
              <a:pathLst>
                <a:path w="326" h="193">
                  <a:moveTo>
                    <a:pt x="143" y="0"/>
                  </a:moveTo>
                  <a:lnTo>
                    <a:pt x="0" y="0"/>
                  </a:lnTo>
                  <a:lnTo>
                    <a:pt x="0" y="193"/>
                  </a:lnTo>
                  <a:lnTo>
                    <a:pt x="326" y="193"/>
                  </a:lnTo>
                  <a:lnTo>
                    <a:pt x="143"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8" name="Rectangle 1266"/>
            <p:cNvSpPr>
              <a:spLocks noChangeArrowheads="1"/>
            </p:cNvSpPr>
            <p:nvPr/>
          </p:nvSpPr>
          <p:spPr bwMode="auto">
            <a:xfrm>
              <a:off x="8085334" y="-1157322"/>
              <a:ext cx="55021" cy="28459"/>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39" name="Freeform 1267"/>
            <p:cNvSpPr>
              <a:spLocks/>
            </p:cNvSpPr>
            <p:nvPr/>
          </p:nvSpPr>
          <p:spPr bwMode="auto">
            <a:xfrm>
              <a:off x="7870944" y="-1297719"/>
              <a:ext cx="197314" cy="263719"/>
            </a:xfrm>
            <a:custGeom>
              <a:avLst/>
              <a:gdLst>
                <a:gd name="T0" fmla="*/ 30 w 519"/>
                <a:gd name="T1" fmla="*/ 693 h 693"/>
                <a:gd name="T2" fmla="*/ 0 w 519"/>
                <a:gd name="T3" fmla="*/ 681 h 693"/>
                <a:gd name="T4" fmla="*/ 265 w 519"/>
                <a:gd name="T5" fmla="*/ 0 h 693"/>
                <a:gd name="T6" fmla="*/ 519 w 519"/>
                <a:gd name="T7" fmla="*/ 0 h 693"/>
                <a:gd name="T8" fmla="*/ 519 w 519"/>
                <a:gd name="T9" fmla="*/ 33 h 693"/>
                <a:gd name="T10" fmla="*/ 286 w 519"/>
                <a:gd name="T11" fmla="*/ 33 h 693"/>
                <a:gd name="T12" fmla="*/ 30 w 519"/>
                <a:gd name="T13" fmla="*/ 693 h 693"/>
              </a:gdLst>
              <a:ahLst/>
              <a:cxnLst>
                <a:cxn ang="0">
                  <a:pos x="T0" y="T1"/>
                </a:cxn>
                <a:cxn ang="0">
                  <a:pos x="T2" y="T3"/>
                </a:cxn>
                <a:cxn ang="0">
                  <a:pos x="T4" y="T5"/>
                </a:cxn>
                <a:cxn ang="0">
                  <a:pos x="T6" y="T7"/>
                </a:cxn>
                <a:cxn ang="0">
                  <a:pos x="T8" y="T9"/>
                </a:cxn>
                <a:cxn ang="0">
                  <a:pos x="T10" y="T11"/>
                </a:cxn>
                <a:cxn ang="0">
                  <a:pos x="T12" y="T13"/>
                </a:cxn>
              </a:cxnLst>
              <a:rect l="0" t="0" r="r" b="b"/>
              <a:pathLst>
                <a:path w="519" h="693">
                  <a:moveTo>
                    <a:pt x="30" y="693"/>
                  </a:moveTo>
                  <a:lnTo>
                    <a:pt x="0" y="681"/>
                  </a:lnTo>
                  <a:lnTo>
                    <a:pt x="265" y="0"/>
                  </a:lnTo>
                  <a:lnTo>
                    <a:pt x="519" y="0"/>
                  </a:lnTo>
                  <a:lnTo>
                    <a:pt x="519" y="33"/>
                  </a:lnTo>
                  <a:lnTo>
                    <a:pt x="286" y="33"/>
                  </a:lnTo>
                  <a:lnTo>
                    <a:pt x="30" y="69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0" name="Rectangle 1268"/>
            <p:cNvSpPr>
              <a:spLocks noChangeArrowheads="1"/>
            </p:cNvSpPr>
            <p:nvPr/>
          </p:nvSpPr>
          <p:spPr bwMode="auto">
            <a:xfrm>
              <a:off x="8075849" y="-1271158"/>
              <a:ext cx="9487" cy="87274"/>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1" name="Freeform 1269"/>
            <p:cNvSpPr>
              <a:spLocks/>
            </p:cNvSpPr>
            <p:nvPr/>
          </p:nvSpPr>
          <p:spPr bwMode="auto">
            <a:xfrm>
              <a:off x="7836794" y="-1056767"/>
              <a:ext cx="248540" cy="30356"/>
            </a:xfrm>
            <a:custGeom>
              <a:avLst/>
              <a:gdLst>
                <a:gd name="T0" fmla="*/ 655 w 655"/>
                <a:gd name="T1" fmla="*/ 0 h 77"/>
                <a:gd name="T2" fmla="*/ 76 w 655"/>
                <a:gd name="T3" fmla="*/ 0 h 77"/>
                <a:gd name="T4" fmla="*/ 76 w 655"/>
                <a:gd name="T5" fmla="*/ 0 h 77"/>
                <a:gd name="T6" fmla="*/ 67 w 655"/>
                <a:gd name="T7" fmla="*/ 2 h 77"/>
                <a:gd name="T8" fmla="*/ 60 w 655"/>
                <a:gd name="T9" fmla="*/ 3 h 77"/>
                <a:gd name="T10" fmla="*/ 52 w 655"/>
                <a:gd name="T11" fmla="*/ 4 h 77"/>
                <a:gd name="T12" fmla="*/ 46 w 655"/>
                <a:gd name="T13" fmla="*/ 7 h 77"/>
                <a:gd name="T14" fmla="*/ 33 w 655"/>
                <a:gd name="T15" fmla="*/ 14 h 77"/>
                <a:gd name="T16" fmla="*/ 22 w 655"/>
                <a:gd name="T17" fmla="*/ 24 h 77"/>
                <a:gd name="T18" fmla="*/ 12 w 655"/>
                <a:gd name="T19" fmla="*/ 35 h 77"/>
                <a:gd name="T20" fmla="*/ 6 w 655"/>
                <a:gd name="T21" fmla="*/ 47 h 77"/>
                <a:gd name="T22" fmla="*/ 2 w 655"/>
                <a:gd name="T23" fmla="*/ 54 h 77"/>
                <a:gd name="T24" fmla="*/ 1 w 655"/>
                <a:gd name="T25" fmla="*/ 61 h 77"/>
                <a:gd name="T26" fmla="*/ 0 w 655"/>
                <a:gd name="T27" fmla="*/ 69 h 77"/>
                <a:gd name="T28" fmla="*/ 0 w 655"/>
                <a:gd name="T29" fmla="*/ 77 h 77"/>
                <a:gd name="T30" fmla="*/ 655 w 655"/>
                <a:gd name="T31" fmla="*/ 77 h 77"/>
                <a:gd name="T32" fmla="*/ 655 w 655"/>
                <a:gd name="T33"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5" h="77">
                  <a:moveTo>
                    <a:pt x="655" y="0"/>
                  </a:moveTo>
                  <a:lnTo>
                    <a:pt x="76" y="0"/>
                  </a:lnTo>
                  <a:lnTo>
                    <a:pt x="76" y="0"/>
                  </a:lnTo>
                  <a:lnTo>
                    <a:pt x="67" y="2"/>
                  </a:lnTo>
                  <a:lnTo>
                    <a:pt x="60" y="3"/>
                  </a:lnTo>
                  <a:lnTo>
                    <a:pt x="52" y="4"/>
                  </a:lnTo>
                  <a:lnTo>
                    <a:pt x="46" y="7"/>
                  </a:lnTo>
                  <a:lnTo>
                    <a:pt x="33" y="14"/>
                  </a:lnTo>
                  <a:lnTo>
                    <a:pt x="22" y="24"/>
                  </a:lnTo>
                  <a:lnTo>
                    <a:pt x="12" y="35"/>
                  </a:lnTo>
                  <a:lnTo>
                    <a:pt x="6" y="47"/>
                  </a:lnTo>
                  <a:lnTo>
                    <a:pt x="2" y="54"/>
                  </a:lnTo>
                  <a:lnTo>
                    <a:pt x="1" y="61"/>
                  </a:lnTo>
                  <a:lnTo>
                    <a:pt x="0" y="69"/>
                  </a:lnTo>
                  <a:lnTo>
                    <a:pt x="0" y="77"/>
                  </a:lnTo>
                  <a:lnTo>
                    <a:pt x="655" y="77"/>
                  </a:lnTo>
                  <a:lnTo>
                    <a:pt x="655"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2" name="Freeform 1270"/>
            <p:cNvSpPr>
              <a:spLocks/>
            </p:cNvSpPr>
            <p:nvPr/>
          </p:nvSpPr>
          <p:spPr bwMode="auto">
            <a:xfrm>
              <a:off x="7836794" y="-1026410"/>
              <a:ext cx="248540" cy="28459"/>
            </a:xfrm>
            <a:custGeom>
              <a:avLst/>
              <a:gdLst>
                <a:gd name="T0" fmla="*/ 655 w 655"/>
                <a:gd name="T1" fmla="*/ 0 h 76"/>
                <a:gd name="T2" fmla="*/ 0 w 655"/>
                <a:gd name="T3" fmla="*/ 0 h 76"/>
                <a:gd name="T4" fmla="*/ 0 w 655"/>
                <a:gd name="T5" fmla="*/ 0 h 76"/>
                <a:gd name="T6" fmla="*/ 0 w 655"/>
                <a:gd name="T7" fmla="*/ 8 h 76"/>
                <a:gd name="T8" fmla="*/ 1 w 655"/>
                <a:gd name="T9" fmla="*/ 15 h 76"/>
                <a:gd name="T10" fmla="*/ 2 w 655"/>
                <a:gd name="T11" fmla="*/ 22 h 76"/>
                <a:gd name="T12" fmla="*/ 6 w 655"/>
                <a:gd name="T13" fmla="*/ 30 h 76"/>
                <a:gd name="T14" fmla="*/ 12 w 655"/>
                <a:gd name="T15" fmla="*/ 42 h 76"/>
                <a:gd name="T16" fmla="*/ 22 w 655"/>
                <a:gd name="T17" fmla="*/ 54 h 76"/>
                <a:gd name="T18" fmla="*/ 33 w 655"/>
                <a:gd name="T19" fmla="*/ 62 h 76"/>
                <a:gd name="T20" fmla="*/ 46 w 655"/>
                <a:gd name="T21" fmla="*/ 70 h 76"/>
                <a:gd name="T22" fmla="*/ 52 w 655"/>
                <a:gd name="T23" fmla="*/ 72 h 76"/>
                <a:gd name="T24" fmla="*/ 60 w 655"/>
                <a:gd name="T25" fmla="*/ 75 h 76"/>
                <a:gd name="T26" fmla="*/ 67 w 655"/>
                <a:gd name="T27" fmla="*/ 76 h 76"/>
                <a:gd name="T28" fmla="*/ 76 w 655"/>
                <a:gd name="T29" fmla="*/ 76 h 76"/>
                <a:gd name="T30" fmla="*/ 655 w 655"/>
                <a:gd name="T31" fmla="*/ 76 h 76"/>
                <a:gd name="T32" fmla="*/ 655 w 655"/>
                <a:gd name="T3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5" h="76">
                  <a:moveTo>
                    <a:pt x="655" y="0"/>
                  </a:moveTo>
                  <a:lnTo>
                    <a:pt x="0" y="0"/>
                  </a:lnTo>
                  <a:lnTo>
                    <a:pt x="0" y="0"/>
                  </a:lnTo>
                  <a:lnTo>
                    <a:pt x="0" y="8"/>
                  </a:lnTo>
                  <a:lnTo>
                    <a:pt x="1" y="15"/>
                  </a:lnTo>
                  <a:lnTo>
                    <a:pt x="2" y="22"/>
                  </a:lnTo>
                  <a:lnTo>
                    <a:pt x="6" y="30"/>
                  </a:lnTo>
                  <a:lnTo>
                    <a:pt x="12" y="42"/>
                  </a:lnTo>
                  <a:lnTo>
                    <a:pt x="22" y="54"/>
                  </a:lnTo>
                  <a:lnTo>
                    <a:pt x="33" y="62"/>
                  </a:lnTo>
                  <a:lnTo>
                    <a:pt x="46" y="70"/>
                  </a:lnTo>
                  <a:lnTo>
                    <a:pt x="52" y="72"/>
                  </a:lnTo>
                  <a:lnTo>
                    <a:pt x="60" y="75"/>
                  </a:lnTo>
                  <a:lnTo>
                    <a:pt x="67" y="76"/>
                  </a:lnTo>
                  <a:lnTo>
                    <a:pt x="76" y="76"/>
                  </a:lnTo>
                  <a:lnTo>
                    <a:pt x="655" y="76"/>
                  </a:lnTo>
                  <a:lnTo>
                    <a:pt x="655"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3" name="Freeform 1271"/>
            <p:cNvSpPr>
              <a:spLocks/>
            </p:cNvSpPr>
            <p:nvPr/>
          </p:nvSpPr>
          <p:spPr bwMode="auto">
            <a:xfrm>
              <a:off x="8051183" y="-1326176"/>
              <a:ext cx="34150" cy="70198"/>
            </a:xfrm>
            <a:custGeom>
              <a:avLst/>
              <a:gdLst>
                <a:gd name="T0" fmla="*/ 92 w 92"/>
                <a:gd name="T1" fmla="*/ 0 h 183"/>
                <a:gd name="T2" fmla="*/ 92 w 92"/>
                <a:gd name="T3" fmla="*/ 0 h 183"/>
                <a:gd name="T4" fmla="*/ 82 w 92"/>
                <a:gd name="T5" fmla="*/ 1 h 183"/>
                <a:gd name="T6" fmla="*/ 73 w 92"/>
                <a:gd name="T7" fmla="*/ 2 h 183"/>
                <a:gd name="T8" fmla="*/ 64 w 92"/>
                <a:gd name="T9" fmla="*/ 5 h 183"/>
                <a:gd name="T10" fmla="*/ 56 w 92"/>
                <a:gd name="T11" fmla="*/ 7 h 183"/>
                <a:gd name="T12" fmla="*/ 48 w 92"/>
                <a:gd name="T13" fmla="*/ 11 h 183"/>
                <a:gd name="T14" fmla="*/ 40 w 92"/>
                <a:gd name="T15" fmla="*/ 16 h 183"/>
                <a:gd name="T16" fmla="*/ 33 w 92"/>
                <a:gd name="T17" fmla="*/ 22 h 183"/>
                <a:gd name="T18" fmla="*/ 27 w 92"/>
                <a:gd name="T19" fmla="*/ 27 h 183"/>
                <a:gd name="T20" fmla="*/ 21 w 92"/>
                <a:gd name="T21" fmla="*/ 34 h 183"/>
                <a:gd name="T22" fmla="*/ 16 w 92"/>
                <a:gd name="T23" fmla="*/ 40 h 183"/>
                <a:gd name="T24" fmla="*/ 11 w 92"/>
                <a:gd name="T25" fmla="*/ 48 h 183"/>
                <a:gd name="T26" fmla="*/ 8 w 92"/>
                <a:gd name="T27" fmla="*/ 56 h 183"/>
                <a:gd name="T28" fmla="*/ 4 w 92"/>
                <a:gd name="T29" fmla="*/ 64 h 183"/>
                <a:gd name="T30" fmla="*/ 1 w 92"/>
                <a:gd name="T31" fmla="*/ 73 h 183"/>
                <a:gd name="T32" fmla="*/ 0 w 92"/>
                <a:gd name="T33" fmla="*/ 83 h 183"/>
                <a:gd name="T34" fmla="*/ 0 w 92"/>
                <a:gd name="T35" fmla="*/ 91 h 183"/>
                <a:gd name="T36" fmla="*/ 0 w 92"/>
                <a:gd name="T37" fmla="*/ 91 h 183"/>
                <a:gd name="T38" fmla="*/ 0 w 92"/>
                <a:gd name="T39" fmla="*/ 101 h 183"/>
                <a:gd name="T40" fmla="*/ 1 w 92"/>
                <a:gd name="T41" fmla="*/ 109 h 183"/>
                <a:gd name="T42" fmla="*/ 4 w 92"/>
                <a:gd name="T43" fmla="*/ 119 h 183"/>
                <a:gd name="T44" fmla="*/ 8 w 92"/>
                <a:gd name="T45" fmla="*/ 127 h 183"/>
                <a:gd name="T46" fmla="*/ 11 w 92"/>
                <a:gd name="T47" fmla="*/ 135 h 183"/>
                <a:gd name="T48" fmla="*/ 16 w 92"/>
                <a:gd name="T49" fmla="*/ 142 h 183"/>
                <a:gd name="T50" fmla="*/ 21 w 92"/>
                <a:gd name="T51" fmla="*/ 150 h 183"/>
                <a:gd name="T52" fmla="*/ 27 w 92"/>
                <a:gd name="T53" fmla="*/ 156 h 183"/>
                <a:gd name="T54" fmla="*/ 33 w 92"/>
                <a:gd name="T55" fmla="*/ 162 h 183"/>
                <a:gd name="T56" fmla="*/ 40 w 92"/>
                <a:gd name="T57" fmla="*/ 167 h 183"/>
                <a:gd name="T58" fmla="*/ 48 w 92"/>
                <a:gd name="T59" fmla="*/ 172 h 183"/>
                <a:gd name="T60" fmla="*/ 56 w 92"/>
                <a:gd name="T61" fmla="*/ 175 h 183"/>
                <a:gd name="T62" fmla="*/ 64 w 92"/>
                <a:gd name="T63" fmla="*/ 179 h 183"/>
                <a:gd name="T64" fmla="*/ 73 w 92"/>
                <a:gd name="T65" fmla="*/ 181 h 183"/>
                <a:gd name="T66" fmla="*/ 82 w 92"/>
                <a:gd name="T67" fmla="*/ 183 h 183"/>
                <a:gd name="T68" fmla="*/ 92 w 92"/>
                <a:gd name="T69" fmla="*/ 183 h 183"/>
                <a:gd name="T70" fmla="*/ 92 w 92"/>
                <a:gd name="T71"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2" h="183">
                  <a:moveTo>
                    <a:pt x="92" y="0"/>
                  </a:moveTo>
                  <a:lnTo>
                    <a:pt x="92" y="0"/>
                  </a:lnTo>
                  <a:lnTo>
                    <a:pt x="82" y="1"/>
                  </a:lnTo>
                  <a:lnTo>
                    <a:pt x="73" y="2"/>
                  </a:lnTo>
                  <a:lnTo>
                    <a:pt x="64" y="5"/>
                  </a:lnTo>
                  <a:lnTo>
                    <a:pt x="56" y="7"/>
                  </a:lnTo>
                  <a:lnTo>
                    <a:pt x="48" y="11"/>
                  </a:lnTo>
                  <a:lnTo>
                    <a:pt x="40" y="16"/>
                  </a:lnTo>
                  <a:lnTo>
                    <a:pt x="33" y="22"/>
                  </a:lnTo>
                  <a:lnTo>
                    <a:pt x="27" y="27"/>
                  </a:lnTo>
                  <a:lnTo>
                    <a:pt x="21" y="34"/>
                  </a:lnTo>
                  <a:lnTo>
                    <a:pt x="16" y="40"/>
                  </a:lnTo>
                  <a:lnTo>
                    <a:pt x="11" y="48"/>
                  </a:lnTo>
                  <a:lnTo>
                    <a:pt x="8" y="56"/>
                  </a:lnTo>
                  <a:lnTo>
                    <a:pt x="4" y="64"/>
                  </a:lnTo>
                  <a:lnTo>
                    <a:pt x="1" y="73"/>
                  </a:lnTo>
                  <a:lnTo>
                    <a:pt x="0" y="83"/>
                  </a:lnTo>
                  <a:lnTo>
                    <a:pt x="0" y="91"/>
                  </a:lnTo>
                  <a:lnTo>
                    <a:pt x="0" y="91"/>
                  </a:lnTo>
                  <a:lnTo>
                    <a:pt x="0" y="101"/>
                  </a:lnTo>
                  <a:lnTo>
                    <a:pt x="1" y="109"/>
                  </a:lnTo>
                  <a:lnTo>
                    <a:pt x="4" y="119"/>
                  </a:lnTo>
                  <a:lnTo>
                    <a:pt x="8" y="127"/>
                  </a:lnTo>
                  <a:lnTo>
                    <a:pt x="11" y="135"/>
                  </a:lnTo>
                  <a:lnTo>
                    <a:pt x="16" y="142"/>
                  </a:lnTo>
                  <a:lnTo>
                    <a:pt x="21" y="150"/>
                  </a:lnTo>
                  <a:lnTo>
                    <a:pt x="27" y="156"/>
                  </a:lnTo>
                  <a:lnTo>
                    <a:pt x="33" y="162"/>
                  </a:lnTo>
                  <a:lnTo>
                    <a:pt x="40" y="167"/>
                  </a:lnTo>
                  <a:lnTo>
                    <a:pt x="48" y="172"/>
                  </a:lnTo>
                  <a:lnTo>
                    <a:pt x="56" y="175"/>
                  </a:lnTo>
                  <a:lnTo>
                    <a:pt x="64" y="179"/>
                  </a:lnTo>
                  <a:lnTo>
                    <a:pt x="73" y="181"/>
                  </a:lnTo>
                  <a:lnTo>
                    <a:pt x="82" y="183"/>
                  </a:lnTo>
                  <a:lnTo>
                    <a:pt x="92" y="183"/>
                  </a:lnTo>
                  <a:lnTo>
                    <a:pt x="92"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4" name="Freeform 1272"/>
            <p:cNvSpPr>
              <a:spLocks/>
            </p:cNvSpPr>
            <p:nvPr/>
          </p:nvSpPr>
          <p:spPr bwMode="auto">
            <a:xfrm>
              <a:off x="8030313" y="-1212343"/>
              <a:ext cx="55021" cy="55021"/>
            </a:xfrm>
            <a:custGeom>
              <a:avLst/>
              <a:gdLst>
                <a:gd name="T0" fmla="*/ 145 w 145"/>
                <a:gd name="T1" fmla="*/ 0 h 143"/>
                <a:gd name="T2" fmla="*/ 145 w 145"/>
                <a:gd name="T3" fmla="*/ 0 h 143"/>
                <a:gd name="T4" fmla="*/ 130 w 145"/>
                <a:gd name="T5" fmla="*/ 0 h 143"/>
                <a:gd name="T6" fmla="*/ 115 w 145"/>
                <a:gd name="T7" fmla="*/ 2 h 143"/>
                <a:gd name="T8" fmla="*/ 101 w 145"/>
                <a:gd name="T9" fmla="*/ 6 h 143"/>
                <a:gd name="T10" fmla="*/ 87 w 145"/>
                <a:gd name="T11" fmla="*/ 11 h 143"/>
                <a:gd name="T12" fmla="*/ 75 w 145"/>
                <a:gd name="T13" fmla="*/ 17 h 143"/>
                <a:gd name="T14" fmla="*/ 63 w 145"/>
                <a:gd name="T15" fmla="*/ 24 h 143"/>
                <a:gd name="T16" fmla="*/ 52 w 145"/>
                <a:gd name="T17" fmla="*/ 33 h 143"/>
                <a:gd name="T18" fmla="*/ 42 w 145"/>
                <a:gd name="T19" fmla="*/ 41 h 143"/>
                <a:gd name="T20" fmla="*/ 32 w 145"/>
                <a:gd name="T21" fmla="*/ 52 h 143"/>
                <a:gd name="T22" fmla="*/ 24 w 145"/>
                <a:gd name="T23" fmla="*/ 63 h 143"/>
                <a:gd name="T24" fmla="*/ 17 w 145"/>
                <a:gd name="T25" fmla="*/ 75 h 143"/>
                <a:gd name="T26" fmla="*/ 11 w 145"/>
                <a:gd name="T27" fmla="*/ 87 h 143"/>
                <a:gd name="T28" fmla="*/ 6 w 145"/>
                <a:gd name="T29" fmla="*/ 101 h 143"/>
                <a:gd name="T30" fmla="*/ 2 w 145"/>
                <a:gd name="T31" fmla="*/ 114 h 143"/>
                <a:gd name="T32" fmla="*/ 1 w 145"/>
                <a:gd name="T33" fmla="*/ 129 h 143"/>
                <a:gd name="T34" fmla="*/ 0 w 145"/>
                <a:gd name="T35" fmla="*/ 143 h 143"/>
                <a:gd name="T36" fmla="*/ 145 w 145"/>
                <a:gd name="T37" fmla="*/ 143 h 143"/>
                <a:gd name="T38" fmla="*/ 145 w 145"/>
                <a:gd name="T39"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5" h="143">
                  <a:moveTo>
                    <a:pt x="145" y="0"/>
                  </a:moveTo>
                  <a:lnTo>
                    <a:pt x="145" y="0"/>
                  </a:lnTo>
                  <a:lnTo>
                    <a:pt x="130" y="0"/>
                  </a:lnTo>
                  <a:lnTo>
                    <a:pt x="115" y="2"/>
                  </a:lnTo>
                  <a:lnTo>
                    <a:pt x="101" y="6"/>
                  </a:lnTo>
                  <a:lnTo>
                    <a:pt x="87" y="11"/>
                  </a:lnTo>
                  <a:lnTo>
                    <a:pt x="75" y="17"/>
                  </a:lnTo>
                  <a:lnTo>
                    <a:pt x="63" y="24"/>
                  </a:lnTo>
                  <a:lnTo>
                    <a:pt x="52" y="33"/>
                  </a:lnTo>
                  <a:lnTo>
                    <a:pt x="42" y="41"/>
                  </a:lnTo>
                  <a:lnTo>
                    <a:pt x="32" y="52"/>
                  </a:lnTo>
                  <a:lnTo>
                    <a:pt x="24" y="63"/>
                  </a:lnTo>
                  <a:lnTo>
                    <a:pt x="17" y="75"/>
                  </a:lnTo>
                  <a:lnTo>
                    <a:pt x="11" y="87"/>
                  </a:lnTo>
                  <a:lnTo>
                    <a:pt x="6" y="101"/>
                  </a:lnTo>
                  <a:lnTo>
                    <a:pt x="2" y="114"/>
                  </a:lnTo>
                  <a:lnTo>
                    <a:pt x="1" y="129"/>
                  </a:lnTo>
                  <a:lnTo>
                    <a:pt x="0" y="143"/>
                  </a:lnTo>
                  <a:lnTo>
                    <a:pt x="145" y="143"/>
                  </a:lnTo>
                  <a:lnTo>
                    <a:pt x="14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5" name="Freeform 1273"/>
            <p:cNvSpPr>
              <a:spLocks/>
            </p:cNvSpPr>
            <p:nvPr/>
          </p:nvSpPr>
          <p:spPr bwMode="auto">
            <a:xfrm>
              <a:off x="7865253" y="-997952"/>
              <a:ext cx="220081" cy="115732"/>
            </a:xfrm>
            <a:custGeom>
              <a:avLst/>
              <a:gdLst>
                <a:gd name="T0" fmla="*/ 288 w 579"/>
                <a:gd name="T1" fmla="*/ 303 h 303"/>
                <a:gd name="T2" fmla="*/ 579 w 579"/>
                <a:gd name="T3" fmla="*/ 303 h 303"/>
                <a:gd name="T4" fmla="*/ 579 w 579"/>
                <a:gd name="T5" fmla="*/ 0 h 303"/>
                <a:gd name="T6" fmla="*/ 0 w 579"/>
                <a:gd name="T7" fmla="*/ 0 h 303"/>
                <a:gd name="T8" fmla="*/ 288 w 579"/>
                <a:gd name="T9" fmla="*/ 303 h 303"/>
              </a:gdLst>
              <a:ahLst/>
              <a:cxnLst>
                <a:cxn ang="0">
                  <a:pos x="T0" y="T1"/>
                </a:cxn>
                <a:cxn ang="0">
                  <a:pos x="T2" y="T3"/>
                </a:cxn>
                <a:cxn ang="0">
                  <a:pos x="T4" y="T5"/>
                </a:cxn>
                <a:cxn ang="0">
                  <a:pos x="T6" y="T7"/>
                </a:cxn>
                <a:cxn ang="0">
                  <a:pos x="T8" y="T9"/>
                </a:cxn>
              </a:cxnLst>
              <a:rect l="0" t="0" r="r" b="b"/>
              <a:pathLst>
                <a:path w="579" h="303">
                  <a:moveTo>
                    <a:pt x="288" y="303"/>
                  </a:moveTo>
                  <a:lnTo>
                    <a:pt x="579" y="303"/>
                  </a:lnTo>
                  <a:lnTo>
                    <a:pt x="579" y="0"/>
                  </a:lnTo>
                  <a:lnTo>
                    <a:pt x="0" y="0"/>
                  </a:lnTo>
                  <a:lnTo>
                    <a:pt x="288" y="30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6" name="Freeform 1274"/>
            <p:cNvSpPr>
              <a:spLocks/>
            </p:cNvSpPr>
            <p:nvPr/>
          </p:nvSpPr>
          <p:spPr bwMode="auto">
            <a:xfrm>
              <a:off x="7962013" y="-1128862"/>
              <a:ext cx="123321" cy="72096"/>
            </a:xfrm>
            <a:custGeom>
              <a:avLst/>
              <a:gdLst>
                <a:gd name="T0" fmla="*/ 183 w 328"/>
                <a:gd name="T1" fmla="*/ 0 h 193"/>
                <a:gd name="T2" fmla="*/ 328 w 328"/>
                <a:gd name="T3" fmla="*/ 0 h 193"/>
                <a:gd name="T4" fmla="*/ 328 w 328"/>
                <a:gd name="T5" fmla="*/ 193 h 193"/>
                <a:gd name="T6" fmla="*/ 0 w 328"/>
                <a:gd name="T7" fmla="*/ 193 h 193"/>
                <a:gd name="T8" fmla="*/ 183 w 328"/>
                <a:gd name="T9" fmla="*/ 0 h 193"/>
              </a:gdLst>
              <a:ahLst/>
              <a:cxnLst>
                <a:cxn ang="0">
                  <a:pos x="T0" y="T1"/>
                </a:cxn>
                <a:cxn ang="0">
                  <a:pos x="T2" y="T3"/>
                </a:cxn>
                <a:cxn ang="0">
                  <a:pos x="T4" y="T5"/>
                </a:cxn>
                <a:cxn ang="0">
                  <a:pos x="T6" y="T7"/>
                </a:cxn>
                <a:cxn ang="0">
                  <a:pos x="T8" y="T9"/>
                </a:cxn>
              </a:cxnLst>
              <a:rect l="0" t="0" r="r" b="b"/>
              <a:pathLst>
                <a:path w="328" h="193">
                  <a:moveTo>
                    <a:pt x="183" y="0"/>
                  </a:moveTo>
                  <a:lnTo>
                    <a:pt x="328" y="0"/>
                  </a:lnTo>
                  <a:lnTo>
                    <a:pt x="328" y="193"/>
                  </a:lnTo>
                  <a:lnTo>
                    <a:pt x="0" y="193"/>
                  </a:lnTo>
                  <a:lnTo>
                    <a:pt x="18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7" name="Rectangle 1275"/>
            <p:cNvSpPr>
              <a:spLocks noChangeArrowheads="1"/>
            </p:cNvSpPr>
            <p:nvPr/>
          </p:nvSpPr>
          <p:spPr bwMode="auto">
            <a:xfrm>
              <a:off x="8030313" y="-1157322"/>
              <a:ext cx="55021" cy="28459"/>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8" name="Freeform 1276"/>
            <p:cNvSpPr>
              <a:spLocks/>
            </p:cNvSpPr>
            <p:nvPr/>
          </p:nvSpPr>
          <p:spPr bwMode="auto">
            <a:xfrm>
              <a:off x="8064465" y="-1314795"/>
              <a:ext cx="30356" cy="30356"/>
            </a:xfrm>
            <a:custGeom>
              <a:avLst/>
              <a:gdLst>
                <a:gd name="T0" fmla="*/ 11 w 82"/>
                <a:gd name="T1" fmla="*/ 69 h 81"/>
                <a:gd name="T2" fmla="*/ 11 w 82"/>
                <a:gd name="T3" fmla="*/ 69 h 81"/>
                <a:gd name="T4" fmla="*/ 19 w 82"/>
                <a:gd name="T5" fmla="*/ 74 h 81"/>
                <a:gd name="T6" fmla="*/ 25 w 82"/>
                <a:gd name="T7" fmla="*/ 78 h 81"/>
                <a:gd name="T8" fmla="*/ 33 w 82"/>
                <a:gd name="T9" fmla="*/ 80 h 81"/>
                <a:gd name="T10" fmla="*/ 41 w 82"/>
                <a:gd name="T11" fmla="*/ 81 h 81"/>
                <a:gd name="T12" fmla="*/ 48 w 82"/>
                <a:gd name="T13" fmla="*/ 80 h 81"/>
                <a:gd name="T14" fmla="*/ 55 w 82"/>
                <a:gd name="T15" fmla="*/ 79 h 81"/>
                <a:gd name="T16" fmla="*/ 63 w 82"/>
                <a:gd name="T17" fmla="*/ 75 h 81"/>
                <a:gd name="T18" fmla="*/ 70 w 82"/>
                <a:gd name="T19" fmla="*/ 70 h 81"/>
                <a:gd name="T20" fmla="*/ 70 w 82"/>
                <a:gd name="T21" fmla="*/ 70 h 81"/>
                <a:gd name="T22" fmla="*/ 75 w 82"/>
                <a:gd name="T23" fmla="*/ 63 h 81"/>
                <a:gd name="T24" fmla="*/ 78 w 82"/>
                <a:gd name="T25" fmla="*/ 57 h 81"/>
                <a:gd name="T26" fmla="*/ 81 w 82"/>
                <a:gd name="T27" fmla="*/ 49 h 81"/>
                <a:gd name="T28" fmla="*/ 82 w 82"/>
                <a:gd name="T29" fmla="*/ 41 h 81"/>
                <a:gd name="T30" fmla="*/ 81 w 82"/>
                <a:gd name="T31" fmla="*/ 34 h 81"/>
                <a:gd name="T32" fmla="*/ 78 w 82"/>
                <a:gd name="T33" fmla="*/ 27 h 81"/>
                <a:gd name="T34" fmla="*/ 75 w 82"/>
                <a:gd name="T35" fmla="*/ 19 h 81"/>
                <a:gd name="T36" fmla="*/ 70 w 82"/>
                <a:gd name="T37" fmla="*/ 12 h 81"/>
                <a:gd name="T38" fmla="*/ 70 w 82"/>
                <a:gd name="T39" fmla="*/ 12 h 81"/>
                <a:gd name="T40" fmla="*/ 64 w 82"/>
                <a:gd name="T41" fmla="*/ 7 h 81"/>
                <a:gd name="T42" fmla="*/ 56 w 82"/>
                <a:gd name="T43" fmla="*/ 3 h 81"/>
                <a:gd name="T44" fmla="*/ 49 w 82"/>
                <a:gd name="T45" fmla="*/ 1 h 81"/>
                <a:gd name="T46" fmla="*/ 42 w 82"/>
                <a:gd name="T47" fmla="*/ 0 h 81"/>
                <a:gd name="T48" fmla="*/ 33 w 82"/>
                <a:gd name="T49" fmla="*/ 1 h 81"/>
                <a:gd name="T50" fmla="*/ 26 w 82"/>
                <a:gd name="T51" fmla="*/ 3 h 81"/>
                <a:gd name="T52" fmla="*/ 19 w 82"/>
                <a:gd name="T53" fmla="*/ 7 h 81"/>
                <a:gd name="T54" fmla="*/ 13 w 82"/>
                <a:gd name="T55" fmla="*/ 12 h 81"/>
                <a:gd name="T56" fmla="*/ 13 w 82"/>
                <a:gd name="T57" fmla="*/ 12 h 81"/>
                <a:gd name="T58" fmla="*/ 8 w 82"/>
                <a:gd name="T59" fmla="*/ 18 h 81"/>
                <a:gd name="T60" fmla="*/ 4 w 82"/>
                <a:gd name="T61" fmla="*/ 25 h 81"/>
                <a:gd name="T62" fmla="*/ 2 w 82"/>
                <a:gd name="T63" fmla="*/ 33 h 81"/>
                <a:gd name="T64" fmla="*/ 0 w 82"/>
                <a:gd name="T65" fmla="*/ 40 h 81"/>
                <a:gd name="T66" fmla="*/ 2 w 82"/>
                <a:gd name="T67" fmla="*/ 49 h 81"/>
                <a:gd name="T68" fmla="*/ 3 w 82"/>
                <a:gd name="T69" fmla="*/ 56 h 81"/>
                <a:gd name="T70" fmla="*/ 6 w 82"/>
                <a:gd name="T71" fmla="*/ 63 h 81"/>
                <a:gd name="T72" fmla="*/ 11 w 82"/>
                <a:gd name="T73" fmla="*/ 69 h 81"/>
                <a:gd name="T74" fmla="*/ 11 w 82"/>
                <a:gd name="T75"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2" h="81">
                  <a:moveTo>
                    <a:pt x="11" y="69"/>
                  </a:moveTo>
                  <a:lnTo>
                    <a:pt x="11" y="69"/>
                  </a:lnTo>
                  <a:lnTo>
                    <a:pt x="19" y="74"/>
                  </a:lnTo>
                  <a:lnTo>
                    <a:pt x="25" y="78"/>
                  </a:lnTo>
                  <a:lnTo>
                    <a:pt x="33" y="80"/>
                  </a:lnTo>
                  <a:lnTo>
                    <a:pt x="41" y="81"/>
                  </a:lnTo>
                  <a:lnTo>
                    <a:pt x="48" y="80"/>
                  </a:lnTo>
                  <a:lnTo>
                    <a:pt x="55" y="79"/>
                  </a:lnTo>
                  <a:lnTo>
                    <a:pt x="63" y="75"/>
                  </a:lnTo>
                  <a:lnTo>
                    <a:pt x="70" y="70"/>
                  </a:lnTo>
                  <a:lnTo>
                    <a:pt x="70" y="70"/>
                  </a:lnTo>
                  <a:lnTo>
                    <a:pt x="75" y="63"/>
                  </a:lnTo>
                  <a:lnTo>
                    <a:pt x="78" y="57"/>
                  </a:lnTo>
                  <a:lnTo>
                    <a:pt x="81" y="49"/>
                  </a:lnTo>
                  <a:lnTo>
                    <a:pt x="82" y="41"/>
                  </a:lnTo>
                  <a:lnTo>
                    <a:pt x="81" y="34"/>
                  </a:lnTo>
                  <a:lnTo>
                    <a:pt x="78" y="27"/>
                  </a:lnTo>
                  <a:lnTo>
                    <a:pt x="75" y="19"/>
                  </a:lnTo>
                  <a:lnTo>
                    <a:pt x="70" y="12"/>
                  </a:lnTo>
                  <a:lnTo>
                    <a:pt x="70" y="12"/>
                  </a:lnTo>
                  <a:lnTo>
                    <a:pt x="64" y="7"/>
                  </a:lnTo>
                  <a:lnTo>
                    <a:pt x="56" y="3"/>
                  </a:lnTo>
                  <a:lnTo>
                    <a:pt x="49" y="1"/>
                  </a:lnTo>
                  <a:lnTo>
                    <a:pt x="42" y="0"/>
                  </a:lnTo>
                  <a:lnTo>
                    <a:pt x="33" y="1"/>
                  </a:lnTo>
                  <a:lnTo>
                    <a:pt x="26" y="3"/>
                  </a:lnTo>
                  <a:lnTo>
                    <a:pt x="19" y="7"/>
                  </a:lnTo>
                  <a:lnTo>
                    <a:pt x="13" y="12"/>
                  </a:lnTo>
                  <a:lnTo>
                    <a:pt x="13" y="12"/>
                  </a:lnTo>
                  <a:lnTo>
                    <a:pt x="8" y="18"/>
                  </a:lnTo>
                  <a:lnTo>
                    <a:pt x="4" y="25"/>
                  </a:lnTo>
                  <a:lnTo>
                    <a:pt x="2" y="33"/>
                  </a:lnTo>
                  <a:lnTo>
                    <a:pt x="0" y="40"/>
                  </a:lnTo>
                  <a:lnTo>
                    <a:pt x="2" y="49"/>
                  </a:lnTo>
                  <a:lnTo>
                    <a:pt x="3" y="56"/>
                  </a:lnTo>
                  <a:lnTo>
                    <a:pt x="6" y="63"/>
                  </a:lnTo>
                  <a:lnTo>
                    <a:pt x="11" y="69"/>
                  </a:lnTo>
                  <a:lnTo>
                    <a:pt x="11" y="6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49" name="Freeform 1277"/>
            <p:cNvSpPr>
              <a:spLocks/>
            </p:cNvSpPr>
            <p:nvPr/>
          </p:nvSpPr>
          <p:spPr bwMode="auto">
            <a:xfrm>
              <a:off x="8005650" y="-1375506"/>
              <a:ext cx="157470" cy="47432"/>
            </a:xfrm>
            <a:custGeom>
              <a:avLst/>
              <a:gdLst>
                <a:gd name="T0" fmla="*/ 216 w 416"/>
                <a:gd name="T1" fmla="*/ 0 h 125"/>
                <a:gd name="T2" fmla="*/ 161 w 416"/>
                <a:gd name="T3" fmla="*/ 5 h 125"/>
                <a:gd name="T4" fmla="*/ 106 w 416"/>
                <a:gd name="T5" fmla="*/ 20 h 125"/>
                <a:gd name="T6" fmla="*/ 55 w 416"/>
                <a:gd name="T7" fmla="*/ 44 h 125"/>
                <a:gd name="T8" fmla="*/ 7 w 416"/>
                <a:gd name="T9" fmla="*/ 77 h 125"/>
                <a:gd name="T10" fmla="*/ 4 w 416"/>
                <a:gd name="T11" fmla="*/ 82 h 125"/>
                <a:gd name="T12" fmla="*/ 0 w 416"/>
                <a:gd name="T13" fmla="*/ 92 h 125"/>
                <a:gd name="T14" fmla="*/ 1 w 416"/>
                <a:gd name="T15" fmla="*/ 103 h 125"/>
                <a:gd name="T16" fmla="*/ 5 w 416"/>
                <a:gd name="T17" fmla="*/ 112 h 125"/>
                <a:gd name="T18" fmla="*/ 8 w 416"/>
                <a:gd name="T19" fmla="*/ 117 h 125"/>
                <a:gd name="T20" fmla="*/ 17 w 416"/>
                <a:gd name="T21" fmla="*/ 122 h 125"/>
                <a:gd name="T22" fmla="*/ 27 w 416"/>
                <a:gd name="T23" fmla="*/ 125 h 125"/>
                <a:gd name="T24" fmla="*/ 32 w 416"/>
                <a:gd name="T25" fmla="*/ 123 h 125"/>
                <a:gd name="T26" fmla="*/ 43 w 416"/>
                <a:gd name="T27" fmla="*/ 119 h 125"/>
                <a:gd name="T28" fmla="*/ 47 w 416"/>
                <a:gd name="T29" fmla="*/ 115 h 125"/>
                <a:gd name="T30" fmla="*/ 85 w 416"/>
                <a:gd name="T31" fmla="*/ 89 h 125"/>
                <a:gd name="T32" fmla="*/ 127 w 416"/>
                <a:gd name="T33" fmla="*/ 70 h 125"/>
                <a:gd name="T34" fmla="*/ 171 w 416"/>
                <a:gd name="T35" fmla="*/ 58 h 125"/>
                <a:gd name="T36" fmla="*/ 216 w 416"/>
                <a:gd name="T37" fmla="*/ 54 h 125"/>
                <a:gd name="T38" fmla="*/ 236 w 416"/>
                <a:gd name="T39" fmla="*/ 55 h 125"/>
                <a:gd name="T40" fmla="*/ 277 w 416"/>
                <a:gd name="T41" fmla="*/ 61 h 125"/>
                <a:gd name="T42" fmla="*/ 314 w 416"/>
                <a:gd name="T43" fmla="*/ 73 h 125"/>
                <a:gd name="T44" fmla="*/ 351 w 416"/>
                <a:gd name="T45" fmla="*/ 92 h 125"/>
                <a:gd name="T46" fmla="*/ 368 w 416"/>
                <a:gd name="T47" fmla="*/ 104 h 125"/>
                <a:gd name="T48" fmla="*/ 378 w 416"/>
                <a:gd name="T49" fmla="*/ 109 h 125"/>
                <a:gd name="T50" fmla="*/ 389 w 416"/>
                <a:gd name="T51" fmla="*/ 110 h 125"/>
                <a:gd name="T52" fmla="*/ 394 w 416"/>
                <a:gd name="T53" fmla="*/ 110 h 125"/>
                <a:gd name="T54" fmla="*/ 403 w 416"/>
                <a:gd name="T55" fmla="*/ 106 h 125"/>
                <a:gd name="T56" fmla="*/ 408 w 416"/>
                <a:gd name="T57" fmla="*/ 101 h 125"/>
                <a:gd name="T58" fmla="*/ 413 w 416"/>
                <a:gd name="T59" fmla="*/ 93 h 125"/>
                <a:gd name="T60" fmla="*/ 416 w 416"/>
                <a:gd name="T61" fmla="*/ 82 h 125"/>
                <a:gd name="T62" fmla="*/ 413 w 416"/>
                <a:gd name="T63" fmla="*/ 71 h 125"/>
                <a:gd name="T64" fmla="*/ 406 w 416"/>
                <a:gd name="T65" fmla="*/ 62 h 125"/>
                <a:gd name="T66" fmla="*/ 384 w 416"/>
                <a:gd name="T67" fmla="*/ 48 h 125"/>
                <a:gd name="T68" fmla="*/ 339 w 416"/>
                <a:gd name="T69" fmla="*/ 25 h 125"/>
                <a:gd name="T70" fmla="*/ 290 w 416"/>
                <a:gd name="T71" fmla="*/ 9 h 125"/>
                <a:gd name="T72" fmla="*/ 241 w 416"/>
                <a:gd name="T73"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6" h="125">
                  <a:moveTo>
                    <a:pt x="216" y="0"/>
                  </a:moveTo>
                  <a:lnTo>
                    <a:pt x="216" y="0"/>
                  </a:lnTo>
                  <a:lnTo>
                    <a:pt x="188" y="1"/>
                  </a:lnTo>
                  <a:lnTo>
                    <a:pt x="161" y="5"/>
                  </a:lnTo>
                  <a:lnTo>
                    <a:pt x="133" y="11"/>
                  </a:lnTo>
                  <a:lnTo>
                    <a:pt x="106" y="20"/>
                  </a:lnTo>
                  <a:lnTo>
                    <a:pt x="80" y="31"/>
                  </a:lnTo>
                  <a:lnTo>
                    <a:pt x="55" y="44"/>
                  </a:lnTo>
                  <a:lnTo>
                    <a:pt x="30" y="60"/>
                  </a:lnTo>
                  <a:lnTo>
                    <a:pt x="7" y="77"/>
                  </a:lnTo>
                  <a:lnTo>
                    <a:pt x="7" y="77"/>
                  </a:lnTo>
                  <a:lnTo>
                    <a:pt x="4" y="82"/>
                  </a:lnTo>
                  <a:lnTo>
                    <a:pt x="1" y="87"/>
                  </a:lnTo>
                  <a:lnTo>
                    <a:pt x="0" y="92"/>
                  </a:lnTo>
                  <a:lnTo>
                    <a:pt x="0" y="98"/>
                  </a:lnTo>
                  <a:lnTo>
                    <a:pt x="1" y="103"/>
                  </a:lnTo>
                  <a:lnTo>
                    <a:pt x="2" y="108"/>
                  </a:lnTo>
                  <a:lnTo>
                    <a:pt x="5" y="112"/>
                  </a:lnTo>
                  <a:lnTo>
                    <a:pt x="8" y="117"/>
                  </a:lnTo>
                  <a:lnTo>
                    <a:pt x="8" y="117"/>
                  </a:lnTo>
                  <a:lnTo>
                    <a:pt x="13" y="120"/>
                  </a:lnTo>
                  <a:lnTo>
                    <a:pt x="17" y="122"/>
                  </a:lnTo>
                  <a:lnTo>
                    <a:pt x="22" y="123"/>
                  </a:lnTo>
                  <a:lnTo>
                    <a:pt x="27" y="125"/>
                  </a:lnTo>
                  <a:lnTo>
                    <a:pt x="27" y="125"/>
                  </a:lnTo>
                  <a:lnTo>
                    <a:pt x="32" y="123"/>
                  </a:lnTo>
                  <a:lnTo>
                    <a:pt x="38" y="122"/>
                  </a:lnTo>
                  <a:lnTo>
                    <a:pt x="43" y="119"/>
                  </a:lnTo>
                  <a:lnTo>
                    <a:pt x="47" y="115"/>
                  </a:lnTo>
                  <a:lnTo>
                    <a:pt x="47" y="115"/>
                  </a:lnTo>
                  <a:lnTo>
                    <a:pt x="66" y="101"/>
                  </a:lnTo>
                  <a:lnTo>
                    <a:pt x="85" y="89"/>
                  </a:lnTo>
                  <a:lnTo>
                    <a:pt x="106" y="78"/>
                  </a:lnTo>
                  <a:lnTo>
                    <a:pt x="127" y="70"/>
                  </a:lnTo>
                  <a:lnTo>
                    <a:pt x="149" y="62"/>
                  </a:lnTo>
                  <a:lnTo>
                    <a:pt x="171" y="58"/>
                  </a:lnTo>
                  <a:lnTo>
                    <a:pt x="194" y="55"/>
                  </a:lnTo>
                  <a:lnTo>
                    <a:pt x="216" y="54"/>
                  </a:lnTo>
                  <a:lnTo>
                    <a:pt x="216" y="54"/>
                  </a:lnTo>
                  <a:lnTo>
                    <a:pt x="236" y="55"/>
                  </a:lnTo>
                  <a:lnTo>
                    <a:pt x="256" y="58"/>
                  </a:lnTo>
                  <a:lnTo>
                    <a:pt x="277" y="61"/>
                  </a:lnTo>
                  <a:lnTo>
                    <a:pt x="296" y="66"/>
                  </a:lnTo>
                  <a:lnTo>
                    <a:pt x="314" y="73"/>
                  </a:lnTo>
                  <a:lnTo>
                    <a:pt x="334" y="82"/>
                  </a:lnTo>
                  <a:lnTo>
                    <a:pt x="351" y="92"/>
                  </a:lnTo>
                  <a:lnTo>
                    <a:pt x="368" y="104"/>
                  </a:lnTo>
                  <a:lnTo>
                    <a:pt x="368" y="104"/>
                  </a:lnTo>
                  <a:lnTo>
                    <a:pt x="373" y="106"/>
                  </a:lnTo>
                  <a:lnTo>
                    <a:pt x="378" y="109"/>
                  </a:lnTo>
                  <a:lnTo>
                    <a:pt x="384" y="110"/>
                  </a:lnTo>
                  <a:lnTo>
                    <a:pt x="389" y="110"/>
                  </a:lnTo>
                  <a:lnTo>
                    <a:pt x="389" y="110"/>
                  </a:lnTo>
                  <a:lnTo>
                    <a:pt x="394" y="110"/>
                  </a:lnTo>
                  <a:lnTo>
                    <a:pt x="399" y="109"/>
                  </a:lnTo>
                  <a:lnTo>
                    <a:pt x="403" y="106"/>
                  </a:lnTo>
                  <a:lnTo>
                    <a:pt x="408" y="101"/>
                  </a:lnTo>
                  <a:lnTo>
                    <a:pt x="408" y="101"/>
                  </a:lnTo>
                  <a:lnTo>
                    <a:pt x="411" y="98"/>
                  </a:lnTo>
                  <a:lnTo>
                    <a:pt x="413" y="93"/>
                  </a:lnTo>
                  <a:lnTo>
                    <a:pt x="414" y="88"/>
                  </a:lnTo>
                  <a:lnTo>
                    <a:pt x="416" y="82"/>
                  </a:lnTo>
                  <a:lnTo>
                    <a:pt x="414" y="77"/>
                  </a:lnTo>
                  <a:lnTo>
                    <a:pt x="413" y="71"/>
                  </a:lnTo>
                  <a:lnTo>
                    <a:pt x="411" y="66"/>
                  </a:lnTo>
                  <a:lnTo>
                    <a:pt x="406" y="62"/>
                  </a:lnTo>
                  <a:lnTo>
                    <a:pt x="406" y="62"/>
                  </a:lnTo>
                  <a:lnTo>
                    <a:pt x="384" y="48"/>
                  </a:lnTo>
                  <a:lnTo>
                    <a:pt x="362" y="36"/>
                  </a:lnTo>
                  <a:lnTo>
                    <a:pt x="339" y="25"/>
                  </a:lnTo>
                  <a:lnTo>
                    <a:pt x="314" y="16"/>
                  </a:lnTo>
                  <a:lnTo>
                    <a:pt x="290" y="9"/>
                  </a:lnTo>
                  <a:lnTo>
                    <a:pt x="266" y="4"/>
                  </a:lnTo>
                  <a:lnTo>
                    <a:pt x="241" y="0"/>
                  </a:lnTo>
                  <a:lnTo>
                    <a:pt x="216" y="0"/>
                  </a:lnTo>
                  <a:close/>
                </a:path>
              </a:pathLst>
            </a:custGeom>
            <a:solidFill>
              <a:srgbClr val="3334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50" name="Freeform 1278"/>
            <p:cNvSpPr>
              <a:spLocks/>
            </p:cNvSpPr>
            <p:nvPr/>
          </p:nvSpPr>
          <p:spPr bwMode="auto">
            <a:xfrm>
              <a:off x="8005650" y="-1375506"/>
              <a:ext cx="157470" cy="47432"/>
            </a:xfrm>
            <a:custGeom>
              <a:avLst/>
              <a:gdLst>
                <a:gd name="T0" fmla="*/ 216 w 416"/>
                <a:gd name="T1" fmla="*/ 0 h 125"/>
                <a:gd name="T2" fmla="*/ 161 w 416"/>
                <a:gd name="T3" fmla="*/ 5 h 125"/>
                <a:gd name="T4" fmla="*/ 106 w 416"/>
                <a:gd name="T5" fmla="*/ 20 h 125"/>
                <a:gd name="T6" fmla="*/ 55 w 416"/>
                <a:gd name="T7" fmla="*/ 44 h 125"/>
                <a:gd name="T8" fmla="*/ 7 w 416"/>
                <a:gd name="T9" fmla="*/ 77 h 125"/>
                <a:gd name="T10" fmla="*/ 4 w 416"/>
                <a:gd name="T11" fmla="*/ 82 h 125"/>
                <a:gd name="T12" fmla="*/ 0 w 416"/>
                <a:gd name="T13" fmla="*/ 92 h 125"/>
                <a:gd name="T14" fmla="*/ 1 w 416"/>
                <a:gd name="T15" fmla="*/ 103 h 125"/>
                <a:gd name="T16" fmla="*/ 5 w 416"/>
                <a:gd name="T17" fmla="*/ 112 h 125"/>
                <a:gd name="T18" fmla="*/ 8 w 416"/>
                <a:gd name="T19" fmla="*/ 117 h 125"/>
                <a:gd name="T20" fmla="*/ 17 w 416"/>
                <a:gd name="T21" fmla="*/ 122 h 125"/>
                <a:gd name="T22" fmla="*/ 27 w 416"/>
                <a:gd name="T23" fmla="*/ 125 h 125"/>
                <a:gd name="T24" fmla="*/ 32 w 416"/>
                <a:gd name="T25" fmla="*/ 123 h 125"/>
                <a:gd name="T26" fmla="*/ 43 w 416"/>
                <a:gd name="T27" fmla="*/ 119 h 125"/>
                <a:gd name="T28" fmla="*/ 47 w 416"/>
                <a:gd name="T29" fmla="*/ 115 h 125"/>
                <a:gd name="T30" fmla="*/ 85 w 416"/>
                <a:gd name="T31" fmla="*/ 89 h 125"/>
                <a:gd name="T32" fmla="*/ 127 w 416"/>
                <a:gd name="T33" fmla="*/ 70 h 125"/>
                <a:gd name="T34" fmla="*/ 171 w 416"/>
                <a:gd name="T35" fmla="*/ 58 h 125"/>
                <a:gd name="T36" fmla="*/ 216 w 416"/>
                <a:gd name="T37" fmla="*/ 54 h 125"/>
                <a:gd name="T38" fmla="*/ 236 w 416"/>
                <a:gd name="T39" fmla="*/ 55 h 125"/>
                <a:gd name="T40" fmla="*/ 277 w 416"/>
                <a:gd name="T41" fmla="*/ 61 h 125"/>
                <a:gd name="T42" fmla="*/ 314 w 416"/>
                <a:gd name="T43" fmla="*/ 73 h 125"/>
                <a:gd name="T44" fmla="*/ 351 w 416"/>
                <a:gd name="T45" fmla="*/ 92 h 125"/>
                <a:gd name="T46" fmla="*/ 368 w 416"/>
                <a:gd name="T47" fmla="*/ 104 h 125"/>
                <a:gd name="T48" fmla="*/ 378 w 416"/>
                <a:gd name="T49" fmla="*/ 109 h 125"/>
                <a:gd name="T50" fmla="*/ 389 w 416"/>
                <a:gd name="T51" fmla="*/ 110 h 125"/>
                <a:gd name="T52" fmla="*/ 394 w 416"/>
                <a:gd name="T53" fmla="*/ 110 h 125"/>
                <a:gd name="T54" fmla="*/ 403 w 416"/>
                <a:gd name="T55" fmla="*/ 106 h 125"/>
                <a:gd name="T56" fmla="*/ 408 w 416"/>
                <a:gd name="T57" fmla="*/ 101 h 125"/>
                <a:gd name="T58" fmla="*/ 413 w 416"/>
                <a:gd name="T59" fmla="*/ 93 h 125"/>
                <a:gd name="T60" fmla="*/ 416 w 416"/>
                <a:gd name="T61" fmla="*/ 82 h 125"/>
                <a:gd name="T62" fmla="*/ 413 w 416"/>
                <a:gd name="T63" fmla="*/ 71 h 125"/>
                <a:gd name="T64" fmla="*/ 406 w 416"/>
                <a:gd name="T65" fmla="*/ 62 h 125"/>
                <a:gd name="T66" fmla="*/ 384 w 416"/>
                <a:gd name="T67" fmla="*/ 48 h 125"/>
                <a:gd name="T68" fmla="*/ 339 w 416"/>
                <a:gd name="T69" fmla="*/ 25 h 125"/>
                <a:gd name="T70" fmla="*/ 290 w 416"/>
                <a:gd name="T71" fmla="*/ 9 h 125"/>
                <a:gd name="T72" fmla="*/ 241 w 416"/>
                <a:gd name="T73"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6" h="125">
                  <a:moveTo>
                    <a:pt x="216" y="0"/>
                  </a:moveTo>
                  <a:lnTo>
                    <a:pt x="216" y="0"/>
                  </a:lnTo>
                  <a:lnTo>
                    <a:pt x="188" y="1"/>
                  </a:lnTo>
                  <a:lnTo>
                    <a:pt x="161" y="5"/>
                  </a:lnTo>
                  <a:lnTo>
                    <a:pt x="133" y="11"/>
                  </a:lnTo>
                  <a:lnTo>
                    <a:pt x="106" y="20"/>
                  </a:lnTo>
                  <a:lnTo>
                    <a:pt x="80" y="31"/>
                  </a:lnTo>
                  <a:lnTo>
                    <a:pt x="55" y="44"/>
                  </a:lnTo>
                  <a:lnTo>
                    <a:pt x="30" y="60"/>
                  </a:lnTo>
                  <a:lnTo>
                    <a:pt x="7" y="77"/>
                  </a:lnTo>
                  <a:lnTo>
                    <a:pt x="7" y="77"/>
                  </a:lnTo>
                  <a:lnTo>
                    <a:pt x="4" y="82"/>
                  </a:lnTo>
                  <a:lnTo>
                    <a:pt x="1" y="87"/>
                  </a:lnTo>
                  <a:lnTo>
                    <a:pt x="0" y="92"/>
                  </a:lnTo>
                  <a:lnTo>
                    <a:pt x="0" y="98"/>
                  </a:lnTo>
                  <a:lnTo>
                    <a:pt x="1" y="103"/>
                  </a:lnTo>
                  <a:lnTo>
                    <a:pt x="2" y="108"/>
                  </a:lnTo>
                  <a:lnTo>
                    <a:pt x="5" y="112"/>
                  </a:lnTo>
                  <a:lnTo>
                    <a:pt x="8" y="117"/>
                  </a:lnTo>
                  <a:lnTo>
                    <a:pt x="8" y="117"/>
                  </a:lnTo>
                  <a:lnTo>
                    <a:pt x="13" y="120"/>
                  </a:lnTo>
                  <a:lnTo>
                    <a:pt x="17" y="122"/>
                  </a:lnTo>
                  <a:lnTo>
                    <a:pt x="22" y="123"/>
                  </a:lnTo>
                  <a:lnTo>
                    <a:pt x="27" y="125"/>
                  </a:lnTo>
                  <a:lnTo>
                    <a:pt x="27" y="125"/>
                  </a:lnTo>
                  <a:lnTo>
                    <a:pt x="32" y="123"/>
                  </a:lnTo>
                  <a:lnTo>
                    <a:pt x="38" y="122"/>
                  </a:lnTo>
                  <a:lnTo>
                    <a:pt x="43" y="119"/>
                  </a:lnTo>
                  <a:lnTo>
                    <a:pt x="47" y="115"/>
                  </a:lnTo>
                  <a:lnTo>
                    <a:pt x="47" y="115"/>
                  </a:lnTo>
                  <a:lnTo>
                    <a:pt x="66" y="101"/>
                  </a:lnTo>
                  <a:lnTo>
                    <a:pt x="85" y="89"/>
                  </a:lnTo>
                  <a:lnTo>
                    <a:pt x="106" y="78"/>
                  </a:lnTo>
                  <a:lnTo>
                    <a:pt x="127" y="70"/>
                  </a:lnTo>
                  <a:lnTo>
                    <a:pt x="149" y="62"/>
                  </a:lnTo>
                  <a:lnTo>
                    <a:pt x="171" y="58"/>
                  </a:lnTo>
                  <a:lnTo>
                    <a:pt x="194" y="55"/>
                  </a:lnTo>
                  <a:lnTo>
                    <a:pt x="216" y="54"/>
                  </a:lnTo>
                  <a:lnTo>
                    <a:pt x="216" y="54"/>
                  </a:lnTo>
                  <a:lnTo>
                    <a:pt x="236" y="55"/>
                  </a:lnTo>
                  <a:lnTo>
                    <a:pt x="256" y="58"/>
                  </a:lnTo>
                  <a:lnTo>
                    <a:pt x="277" y="61"/>
                  </a:lnTo>
                  <a:lnTo>
                    <a:pt x="296" y="66"/>
                  </a:lnTo>
                  <a:lnTo>
                    <a:pt x="314" y="73"/>
                  </a:lnTo>
                  <a:lnTo>
                    <a:pt x="334" y="82"/>
                  </a:lnTo>
                  <a:lnTo>
                    <a:pt x="351" y="92"/>
                  </a:lnTo>
                  <a:lnTo>
                    <a:pt x="368" y="104"/>
                  </a:lnTo>
                  <a:lnTo>
                    <a:pt x="368" y="104"/>
                  </a:lnTo>
                  <a:lnTo>
                    <a:pt x="373" y="106"/>
                  </a:lnTo>
                  <a:lnTo>
                    <a:pt x="378" y="109"/>
                  </a:lnTo>
                  <a:lnTo>
                    <a:pt x="384" y="110"/>
                  </a:lnTo>
                  <a:lnTo>
                    <a:pt x="389" y="110"/>
                  </a:lnTo>
                  <a:lnTo>
                    <a:pt x="389" y="110"/>
                  </a:lnTo>
                  <a:lnTo>
                    <a:pt x="394" y="110"/>
                  </a:lnTo>
                  <a:lnTo>
                    <a:pt x="399" y="109"/>
                  </a:lnTo>
                  <a:lnTo>
                    <a:pt x="403" y="106"/>
                  </a:lnTo>
                  <a:lnTo>
                    <a:pt x="408" y="101"/>
                  </a:lnTo>
                  <a:lnTo>
                    <a:pt x="408" y="101"/>
                  </a:lnTo>
                  <a:lnTo>
                    <a:pt x="411" y="98"/>
                  </a:lnTo>
                  <a:lnTo>
                    <a:pt x="413" y="93"/>
                  </a:lnTo>
                  <a:lnTo>
                    <a:pt x="414" y="88"/>
                  </a:lnTo>
                  <a:lnTo>
                    <a:pt x="416" y="82"/>
                  </a:lnTo>
                  <a:lnTo>
                    <a:pt x="414" y="77"/>
                  </a:lnTo>
                  <a:lnTo>
                    <a:pt x="413" y="71"/>
                  </a:lnTo>
                  <a:lnTo>
                    <a:pt x="411" y="66"/>
                  </a:lnTo>
                  <a:lnTo>
                    <a:pt x="406" y="62"/>
                  </a:lnTo>
                  <a:lnTo>
                    <a:pt x="406" y="62"/>
                  </a:lnTo>
                  <a:lnTo>
                    <a:pt x="384" y="48"/>
                  </a:lnTo>
                  <a:lnTo>
                    <a:pt x="362" y="36"/>
                  </a:lnTo>
                  <a:lnTo>
                    <a:pt x="339" y="25"/>
                  </a:lnTo>
                  <a:lnTo>
                    <a:pt x="314" y="16"/>
                  </a:lnTo>
                  <a:lnTo>
                    <a:pt x="290" y="9"/>
                  </a:lnTo>
                  <a:lnTo>
                    <a:pt x="266" y="4"/>
                  </a:lnTo>
                  <a:lnTo>
                    <a:pt x="241" y="0"/>
                  </a:lnTo>
                  <a:lnTo>
                    <a:pt x="2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51" name="Freeform 1279"/>
            <p:cNvSpPr>
              <a:spLocks/>
            </p:cNvSpPr>
            <p:nvPr/>
          </p:nvSpPr>
          <p:spPr bwMode="auto">
            <a:xfrm>
              <a:off x="7979088" y="-1415350"/>
              <a:ext cx="208697" cy="58815"/>
            </a:xfrm>
            <a:custGeom>
              <a:avLst/>
              <a:gdLst>
                <a:gd name="T0" fmla="*/ 290 w 552"/>
                <a:gd name="T1" fmla="*/ 0 h 155"/>
                <a:gd name="T2" fmla="*/ 272 w 552"/>
                <a:gd name="T3" fmla="*/ 1 h 155"/>
                <a:gd name="T4" fmla="*/ 235 w 552"/>
                <a:gd name="T5" fmla="*/ 4 h 155"/>
                <a:gd name="T6" fmla="*/ 200 w 552"/>
                <a:gd name="T7" fmla="*/ 11 h 155"/>
                <a:gd name="T8" fmla="*/ 165 w 552"/>
                <a:gd name="T9" fmla="*/ 20 h 155"/>
                <a:gd name="T10" fmla="*/ 130 w 552"/>
                <a:gd name="T11" fmla="*/ 32 h 155"/>
                <a:gd name="T12" fmla="*/ 98 w 552"/>
                <a:gd name="T13" fmla="*/ 48 h 155"/>
                <a:gd name="T14" fmla="*/ 67 w 552"/>
                <a:gd name="T15" fmla="*/ 65 h 155"/>
                <a:gd name="T16" fmla="*/ 37 w 552"/>
                <a:gd name="T17" fmla="*/ 86 h 155"/>
                <a:gd name="T18" fmla="*/ 9 w 552"/>
                <a:gd name="T19" fmla="*/ 109 h 155"/>
                <a:gd name="T20" fmla="*/ 5 w 552"/>
                <a:gd name="T21" fmla="*/ 112 h 155"/>
                <a:gd name="T22" fmla="*/ 1 w 552"/>
                <a:gd name="T23" fmla="*/ 123 h 155"/>
                <a:gd name="T24" fmla="*/ 1 w 552"/>
                <a:gd name="T25" fmla="*/ 134 h 155"/>
                <a:gd name="T26" fmla="*/ 6 w 552"/>
                <a:gd name="T27" fmla="*/ 144 h 155"/>
                <a:gd name="T28" fmla="*/ 10 w 552"/>
                <a:gd name="T29" fmla="*/ 148 h 155"/>
                <a:gd name="T30" fmla="*/ 18 w 552"/>
                <a:gd name="T31" fmla="*/ 154 h 155"/>
                <a:gd name="T32" fmla="*/ 27 w 552"/>
                <a:gd name="T33" fmla="*/ 155 h 155"/>
                <a:gd name="T34" fmla="*/ 33 w 552"/>
                <a:gd name="T35" fmla="*/ 155 h 155"/>
                <a:gd name="T36" fmla="*/ 44 w 552"/>
                <a:gd name="T37" fmla="*/ 150 h 155"/>
                <a:gd name="T38" fmla="*/ 49 w 552"/>
                <a:gd name="T39" fmla="*/ 147 h 155"/>
                <a:gd name="T40" fmla="*/ 74 w 552"/>
                <a:gd name="T41" fmla="*/ 126 h 155"/>
                <a:gd name="T42" fmla="*/ 102 w 552"/>
                <a:gd name="T43" fmla="*/ 107 h 155"/>
                <a:gd name="T44" fmla="*/ 132 w 552"/>
                <a:gd name="T45" fmla="*/ 92 h 155"/>
                <a:gd name="T46" fmla="*/ 161 w 552"/>
                <a:gd name="T47" fmla="*/ 79 h 155"/>
                <a:gd name="T48" fmla="*/ 224 w 552"/>
                <a:gd name="T49" fmla="*/ 62 h 155"/>
                <a:gd name="T50" fmla="*/ 288 w 552"/>
                <a:gd name="T51" fmla="*/ 58 h 155"/>
                <a:gd name="T52" fmla="*/ 317 w 552"/>
                <a:gd name="T53" fmla="*/ 59 h 155"/>
                <a:gd name="T54" fmla="*/ 374 w 552"/>
                <a:gd name="T55" fmla="*/ 67 h 155"/>
                <a:gd name="T56" fmla="*/ 429 w 552"/>
                <a:gd name="T57" fmla="*/ 86 h 155"/>
                <a:gd name="T58" fmla="*/ 482 w 552"/>
                <a:gd name="T59" fmla="*/ 112 h 155"/>
                <a:gd name="T60" fmla="*/ 506 w 552"/>
                <a:gd name="T61" fmla="*/ 129 h 155"/>
                <a:gd name="T62" fmla="*/ 516 w 552"/>
                <a:gd name="T63" fmla="*/ 134 h 155"/>
                <a:gd name="T64" fmla="*/ 527 w 552"/>
                <a:gd name="T65" fmla="*/ 137 h 155"/>
                <a:gd name="T66" fmla="*/ 532 w 552"/>
                <a:gd name="T67" fmla="*/ 136 h 155"/>
                <a:gd name="T68" fmla="*/ 541 w 552"/>
                <a:gd name="T69" fmla="*/ 132 h 155"/>
                <a:gd name="T70" fmla="*/ 545 w 552"/>
                <a:gd name="T71" fmla="*/ 128 h 155"/>
                <a:gd name="T72" fmla="*/ 551 w 552"/>
                <a:gd name="T73" fmla="*/ 118 h 155"/>
                <a:gd name="T74" fmla="*/ 552 w 552"/>
                <a:gd name="T75" fmla="*/ 107 h 155"/>
                <a:gd name="T76" fmla="*/ 551 w 552"/>
                <a:gd name="T77" fmla="*/ 98 h 155"/>
                <a:gd name="T78" fmla="*/ 544 w 552"/>
                <a:gd name="T79" fmla="*/ 89 h 155"/>
                <a:gd name="T80" fmla="*/ 516 w 552"/>
                <a:gd name="T81" fmla="*/ 70 h 155"/>
                <a:gd name="T82" fmla="*/ 456 w 552"/>
                <a:gd name="T83" fmla="*/ 37 h 155"/>
                <a:gd name="T84" fmla="*/ 391 w 552"/>
                <a:gd name="T85" fmla="*/ 14 h 155"/>
                <a:gd name="T86" fmla="*/ 341 w 552"/>
                <a:gd name="T87" fmla="*/ 4 h 155"/>
                <a:gd name="T88" fmla="*/ 307 w 552"/>
                <a:gd name="T89" fmla="*/ 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52" h="155">
                  <a:moveTo>
                    <a:pt x="290" y="0"/>
                  </a:moveTo>
                  <a:lnTo>
                    <a:pt x="290" y="0"/>
                  </a:lnTo>
                  <a:lnTo>
                    <a:pt x="272" y="1"/>
                  </a:lnTo>
                  <a:lnTo>
                    <a:pt x="272" y="1"/>
                  </a:lnTo>
                  <a:lnTo>
                    <a:pt x="254" y="3"/>
                  </a:lnTo>
                  <a:lnTo>
                    <a:pt x="235" y="4"/>
                  </a:lnTo>
                  <a:lnTo>
                    <a:pt x="218" y="8"/>
                  </a:lnTo>
                  <a:lnTo>
                    <a:pt x="200" y="11"/>
                  </a:lnTo>
                  <a:lnTo>
                    <a:pt x="182" y="15"/>
                  </a:lnTo>
                  <a:lnTo>
                    <a:pt x="165" y="20"/>
                  </a:lnTo>
                  <a:lnTo>
                    <a:pt x="148" y="26"/>
                  </a:lnTo>
                  <a:lnTo>
                    <a:pt x="130" y="32"/>
                  </a:lnTo>
                  <a:lnTo>
                    <a:pt x="115" y="39"/>
                  </a:lnTo>
                  <a:lnTo>
                    <a:pt x="98" y="48"/>
                  </a:lnTo>
                  <a:lnTo>
                    <a:pt x="82" y="56"/>
                  </a:lnTo>
                  <a:lnTo>
                    <a:pt x="67" y="65"/>
                  </a:lnTo>
                  <a:lnTo>
                    <a:pt x="51" y="75"/>
                  </a:lnTo>
                  <a:lnTo>
                    <a:pt x="37" y="86"/>
                  </a:lnTo>
                  <a:lnTo>
                    <a:pt x="22" y="97"/>
                  </a:lnTo>
                  <a:lnTo>
                    <a:pt x="9" y="109"/>
                  </a:lnTo>
                  <a:lnTo>
                    <a:pt x="9" y="109"/>
                  </a:lnTo>
                  <a:lnTo>
                    <a:pt x="5" y="112"/>
                  </a:lnTo>
                  <a:lnTo>
                    <a:pt x="2" y="117"/>
                  </a:lnTo>
                  <a:lnTo>
                    <a:pt x="1" y="123"/>
                  </a:lnTo>
                  <a:lnTo>
                    <a:pt x="0" y="128"/>
                  </a:lnTo>
                  <a:lnTo>
                    <a:pt x="1" y="134"/>
                  </a:lnTo>
                  <a:lnTo>
                    <a:pt x="4" y="139"/>
                  </a:lnTo>
                  <a:lnTo>
                    <a:pt x="6" y="144"/>
                  </a:lnTo>
                  <a:lnTo>
                    <a:pt x="10" y="148"/>
                  </a:lnTo>
                  <a:lnTo>
                    <a:pt x="10" y="148"/>
                  </a:lnTo>
                  <a:lnTo>
                    <a:pt x="13" y="151"/>
                  </a:lnTo>
                  <a:lnTo>
                    <a:pt x="18" y="154"/>
                  </a:lnTo>
                  <a:lnTo>
                    <a:pt x="23" y="155"/>
                  </a:lnTo>
                  <a:lnTo>
                    <a:pt x="27" y="155"/>
                  </a:lnTo>
                  <a:lnTo>
                    <a:pt x="27" y="155"/>
                  </a:lnTo>
                  <a:lnTo>
                    <a:pt x="33" y="155"/>
                  </a:lnTo>
                  <a:lnTo>
                    <a:pt x="39" y="153"/>
                  </a:lnTo>
                  <a:lnTo>
                    <a:pt x="44" y="150"/>
                  </a:lnTo>
                  <a:lnTo>
                    <a:pt x="49" y="147"/>
                  </a:lnTo>
                  <a:lnTo>
                    <a:pt x="49" y="147"/>
                  </a:lnTo>
                  <a:lnTo>
                    <a:pt x="61" y="136"/>
                  </a:lnTo>
                  <a:lnTo>
                    <a:pt x="74" y="126"/>
                  </a:lnTo>
                  <a:lnTo>
                    <a:pt x="88" y="116"/>
                  </a:lnTo>
                  <a:lnTo>
                    <a:pt x="102" y="107"/>
                  </a:lnTo>
                  <a:lnTo>
                    <a:pt x="117" y="99"/>
                  </a:lnTo>
                  <a:lnTo>
                    <a:pt x="132" y="92"/>
                  </a:lnTo>
                  <a:lnTo>
                    <a:pt x="146" y="86"/>
                  </a:lnTo>
                  <a:lnTo>
                    <a:pt x="161" y="79"/>
                  </a:lnTo>
                  <a:lnTo>
                    <a:pt x="193" y="70"/>
                  </a:lnTo>
                  <a:lnTo>
                    <a:pt x="224" y="62"/>
                  </a:lnTo>
                  <a:lnTo>
                    <a:pt x="256" y="59"/>
                  </a:lnTo>
                  <a:lnTo>
                    <a:pt x="288" y="58"/>
                  </a:lnTo>
                  <a:lnTo>
                    <a:pt x="288" y="58"/>
                  </a:lnTo>
                  <a:lnTo>
                    <a:pt x="317" y="59"/>
                  </a:lnTo>
                  <a:lnTo>
                    <a:pt x="346" y="61"/>
                  </a:lnTo>
                  <a:lnTo>
                    <a:pt x="374" y="67"/>
                  </a:lnTo>
                  <a:lnTo>
                    <a:pt x="402" y="76"/>
                  </a:lnTo>
                  <a:lnTo>
                    <a:pt x="429" y="86"/>
                  </a:lnTo>
                  <a:lnTo>
                    <a:pt x="456" y="98"/>
                  </a:lnTo>
                  <a:lnTo>
                    <a:pt x="482" y="112"/>
                  </a:lnTo>
                  <a:lnTo>
                    <a:pt x="506" y="129"/>
                  </a:lnTo>
                  <a:lnTo>
                    <a:pt x="506" y="129"/>
                  </a:lnTo>
                  <a:lnTo>
                    <a:pt x="511" y="133"/>
                  </a:lnTo>
                  <a:lnTo>
                    <a:pt x="516" y="134"/>
                  </a:lnTo>
                  <a:lnTo>
                    <a:pt x="521" y="136"/>
                  </a:lnTo>
                  <a:lnTo>
                    <a:pt x="527" y="137"/>
                  </a:lnTo>
                  <a:lnTo>
                    <a:pt x="527" y="137"/>
                  </a:lnTo>
                  <a:lnTo>
                    <a:pt x="532" y="136"/>
                  </a:lnTo>
                  <a:lnTo>
                    <a:pt x="536" y="134"/>
                  </a:lnTo>
                  <a:lnTo>
                    <a:pt x="541" y="132"/>
                  </a:lnTo>
                  <a:lnTo>
                    <a:pt x="545" y="128"/>
                  </a:lnTo>
                  <a:lnTo>
                    <a:pt x="545" y="128"/>
                  </a:lnTo>
                  <a:lnTo>
                    <a:pt x="549" y="123"/>
                  </a:lnTo>
                  <a:lnTo>
                    <a:pt x="551" y="118"/>
                  </a:lnTo>
                  <a:lnTo>
                    <a:pt x="552" y="114"/>
                  </a:lnTo>
                  <a:lnTo>
                    <a:pt x="552" y="107"/>
                  </a:lnTo>
                  <a:lnTo>
                    <a:pt x="552" y="103"/>
                  </a:lnTo>
                  <a:lnTo>
                    <a:pt x="551" y="98"/>
                  </a:lnTo>
                  <a:lnTo>
                    <a:pt x="547" y="93"/>
                  </a:lnTo>
                  <a:lnTo>
                    <a:pt x="544" y="89"/>
                  </a:lnTo>
                  <a:lnTo>
                    <a:pt x="544" y="89"/>
                  </a:lnTo>
                  <a:lnTo>
                    <a:pt x="516" y="70"/>
                  </a:lnTo>
                  <a:lnTo>
                    <a:pt x="486" y="51"/>
                  </a:lnTo>
                  <a:lnTo>
                    <a:pt x="456" y="37"/>
                  </a:lnTo>
                  <a:lnTo>
                    <a:pt x="424" y="25"/>
                  </a:lnTo>
                  <a:lnTo>
                    <a:pt x="391" y="14"/>
                  </a:lnTo>
                  <a:lnTo>
                    <a:pt x="358" y="6"/>
                  </a:lnTo>
                  <a:lnTo>
                    <a:pt x="341" y="4"/>
                  </a:lnTo>
                  <a:lnTo>
                    <a:pt x="324" y="3"/>
                  </a:lnTo>
                  <a:lnTo>
                    <a:pt x="307" y="1"/>
                  </a:lnTo>
                  <a:lnTo>
                    <a:pt x="290" y="0"/>
                  </a:lnTo>
                  <a:close/>
                </a:path>
              </a:pathLst>
            </a:custGeom>
            <a:solidFill>
              <a:srgbClr val="3334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52" name="Freeform 1280"/>
            <p:cNvSpPr>
              <a:spLocks/>
            </p:cNvSpPr>
            <p:nvPr/>
          </p:nvSpPr>
          <p:spPr bwMode="auto">
            <a:xfrm>
              <a:off x="7979088" y="-1415350"/>
              <a:ext cx="208697" cy="58815"/>
            </a:xfrm>
            <a:custGeom>
              <a:avLst/>
              <a:gdLst>
                <a:gd name="T0" fmla="*/ 290 w 552"/>
                <a:gd name="T1" fmla="*/ 0 h 155"/>
                <a:gd name="T2" fmla="*/ 272 w 552"/>
                <a:gd name="T3" fmla="*/ 1 h 155"/>
                <a:gd name="T4" fmla="*/ 235 w 552"/>
                <a:gd name="T5" fmla="*/ 4 h 155"/>
                <a:gd name="T6" fmla="*/ 200 w 552"/>
                <a:gd name="T7" fmla="*/ 11 h 155"/>
                <a:gd name="T8" fmla="*/ 165 w 552"/>
                <a:gd name="T9" fmla="*/ 20 h 155"/>
                <a:gd name="T10" fmla="*/ 130 w 552"/>
                <a:gd name="T11" fmla="*/ 32 h 155"/>
                <a:gd name="T12" fmla="*/ 98 w 552"/>
                <a:gd name="T13" fmla="*/ 48 h 155"/>
                <a:gd name="T14" fmla="*/ 67 w 552"/>
                <a:gd name="T15" fmla="*/ 65 h 155"/>
                <a:gd name="T16" fmla="*/ 37 w 552"/>
                <a:gd name="T17" fmla="*/ 86 h 155"/>
                <a:gd name="T18" fmla="*/ 9 w 552"/>
                <a:gd name="T19" fmla="*/ 109 h 155"/>
                <a:gd name="T20" fmla="*/ 5 w 552"/>
                <a:gd name="T21" fmla="*/ 112 h 155"/>
                <a:gd name="T22" fmla="*/ 1 w 552"/>
                <a:gd name="T23" fmla="*/ 123 h 155"/>
                <a:gd name="T24" fmla="*/ 1 w 552"/>
                <a:gd name="T25" fmla="*/ 134 h 155"/>
                <a:gd name="T26" fmla="*/ 6 w 552"/>
                <a:gd name="T27" fmla="*/ 144 h 155"/>
                <a:gd name="T28" fmla="*/ 10 w 552"/>
                <a:gd name="T29" fmla="*/ 148 h 155"/>
                <a:gd name="T30" fmla="*/ 18 w 552"/>
                <a:gd name="T31" fmla="*/ 154 h 155"/>
                <a:gd name="T32" fmla="*/ 27 w 552"/>
                <a:gd name="T33" fmla="*/ 155 h 155"/>
                <a:gd name="T34" fmla="*/ 33 w 552"/>
                <a:gd name="T35" fmla="*/ 155 h 155"/>
                <a:gd name="T36" fmla="*/ 44 w 552"/>
                <a:gd name="T37" fmla="*/ 150 h 155"/>
                <a:gd name="T38" fmla="*/ 49 w 552"/>
                <a:gd name="T39" fmla="*/ 147 h 155"/>
                <a:gd name="T40" fmla="*/ 74 w 552"/>
                <a:gd name="T41" fmla="*/ 126 h 155"/>
                <a:gd name="T42" fmla="*/ 102 w 552"/>
                <a:gd name="T43" fmla="*/ 107 h 155"/>
                <a:gd name="T44" fmla="*/ 132 w 552"/>
                <a:gd name="T45" fmla="*/ 92 h 155"/>
                <a:gd name="T46" fmla="*/ 161 w 552"/>
                <a:gd name="T47" fmla="*/ 79 h 155"/>
                <a:gd name="T48" fmla="*/ 224 w 552"/>
                <a:gd name="T49" fmla="*/ 62 h 155"/>
                <a:gd name="T50" fmla="*/ 288 w 552"/>
                <a:gd name="T51" fmla="*/ 58 h 155"/>
                <a:gd name="T52" fmla="*/ 317 w 552"/>
                <a:gd name="T53" fmla="*/ 59 h 155"/>
                <a:gd name="T54" fmla="*/ 374 w 552"/>
                <a:gd name="T55" fmla="*/ 67 h 155"/>
                <a:gd name="T56" fmla="*/ 429 w 552"/>
                <a:gd name="T57" fmla="*/ 86 h 155"/>
                <a:gd name="T58" fmla="*/ 482 w 552"/>
                <a:gd name="T59" fmla="*/ 112 h 155"/>
                <a:gd name="T60" fmla="*/ 506 w 552"/>
                <a:gd name="T61" fmla="*/ 129 h 155"/>
                <a:gd name="T62" fmla="*/ 516 w 552"/>
                <a:gd name="T63" fmla="*/ 134 h 155"/>
                <a:gd name="T64" fmla="*/ 527 w 552"/>
                <a:gd name="T65" fmla="*/ 137 h 155"/>
                <a:gd name="T66" fmla="*/ 532 w 552"/>
                <a:gd name="T67" fmla="*/ 136 h 155"/>
                <a:gd name="T68" fmla="*/ 541 w 552"/>
                <a:gd name="T69" fmla="*/ 132 h 155"/>
                <a:gd name="T70" fmla="*/ 545 w 552"/>
                <a:gd name="T71" fmla="*/ 128 h 155"/>
                <a:gd name="T72" fmla="*/ 551 w 552"/>
                <a:gd name="T73" fmla="*/ 118 h 155"/>
                <a:gd name="T74" fmla="*/ 552 w 552"/>
                <a:gd name="T75" fmla="*/ 107 h 155"/>
                <a:gd name="T76" fmla="*/ 551 w 552"/>
                <a:gd name="T77" fmla="*/ 98 h 155"/>
                <a:gd name="T78" fmla="*/ 544 w 552"/>
                <a:gd name="T79" fmla="*/ 89 h 155"/>
                <a:gd name="T80" fmla="*/ 516 w 552"/>
                <a:gd name="T81" fmla="*/ 70 h 155"/>
                <a:gd name="T82" fmla="*/ 456 w 552"/>
                <a:gd name="T83" fmla="*/ 37 h 155"/>
                <a:gd name="T84" fmla="*/ 391 w 552"/>
                <a:gd name="T85" fmla="*/ 14 h 155"/>
                <a:gd name="T86" fmla="*/ 341 w 552"/>
                <a:gd name="T87" fmla="*/ 4 h 155"/>
                <a:gd name="T88" fmla="*/ 307 w 552"/>
                <a:gd name="T89" fmla="*/ 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52" h="155">
                  <a:moveTo>
                    <a:pt x="290" y="0"/>
                  </a:moveTo>
                  <a:lnTo>
                    <a:pt x="290" y="0"/>
                  </a:lnTo>
                  <a:lnTo>
                    <a:pt x="272" y="1"/>
                  </a:lnTo>
                  <a:lnTo>
                    <a:pt x="272" y="1"/>
                  </a:lnTo>
                  <a:lnTo>
                    <a:pt x="254" y="3"/>
                  </a:lnTo>
                  <a:lnTo>
                    <a:pt x="235" y="4"/>
                  </a:lnTo>
                  <a:lnTo>
                    <a:pt x="218" y="8"/>
                  </a:lnTo>
                  <a:lnTo>
                    <a:pt x="200" y="11"/>
                  </a:lnTo>
                  <a:lnTo>
                    <a:pt x="182" y="15"/>
                  </a:lnTo>
                  <a:lnTo>
                    <a:pt x="165" y="20"/>
                  </a:lnTo>
                  <a:lnTo>
                    <a:pt x="148" y="26"/>
                  </a:lnTo>
                  <a:lnTo>
                    <a:pt x="130" y="32"/>
                  </a:lnTo>
                  <a:lnTo>
                    <a:pt x="115" y="39"/>
                  </a:lnTo>
                  <a:lnTo>
                    <a:pt x="98" y="48"/>
                  </a:lnTo>
                  <a:lnTo>
                    <a:pt x="82" y="56"/>
                  </a:lnTo>
                  <a:lnTo>
                    <a:pt x="67" y="65"/>
                  </a:lnTo>
                  <a:lnTo>
                    <a:pt x="51" y="75"/>
                  </a:lnTo>
                  <a:lnTo>
                    <a:pt x="37" y="86"/>
                  </a:lnTo>
                  <a:lnTo>
                    <a:pt x="22" y="97"/>
                  </a:lnTo>
                  <a:lnTo>
                    <a:pt x="9" y="109"/>
                  </a:lnTo>
                  <a:lnTo>
                    <a:pt x="9" y="109"/>
                  </a:lnTo>
                  <a:lnTo>
                    <a:pt x="5" y="112"/>
                  </a:lnTo>
                  <a:lnTo>
                    <a:pt x="2" y="117"/>
                  </a:lnTo>
                  <a:lnTo>
                    <a:pt x="1" y="123"/>
                  </a:lnTo>
                  <a:lnTo>
                    <a:pt x="0" y="128"/>
                  </a:lnTo>
                  <a:lnTo>
                    <a:pt x="1" y="134"/>
                  </a:lnTo>
                  <a:lnTo>
                    <a:pt x="4" y="139"/>
                  </a:lnTo>
                  <a:lnTo>
                    <a:pt x="6" y="144"/>
                  </a:lnTo>
                  <a:lnTo>
                    <a:pt x="10" y="148"/>
                  </a:lnTo>
                  <a:lnTo>
                    <a:pt x="10" y="148"/>
                  </a:lnTo>
                  <a:lnTo>
                    <a:pt x="13" y="151"/>
                  </a:lnTo>
                  <a:lnTo>
                    <a:pt x="18" y="154"/>
                  </a:lnTo>
                  <a:lnTo>
                    <a:pt x="23" y="155"/>
                  </a:lnTo>
                  <a:lnTo>
                    <a:pt x="27" y="155"/>
                  </a:lnTo>
                  <a:lnTo>
                    <a:pt x="27" y="155"/>
                  </a:lnTo>
                  <a:lnTo>
                    <a:pt x="33" y="155"/>
                  </a:lnTo>
                  <a:lnTo>
                    <a:pt x="39" y="153"/>
                  </a:lnTo>
                  <a:lnTo>
                    <a:pt x="44" y="150"/>
                  </a:lnTo>
                  <a:lnTo>
                    <a:pt x="49" y="147"/>
                  </a:lnTo>
                  <a:lnTo>
                    <a:pt x="49" y="147"/>
                  </a:lnTo>
                  <a:lnTo>
                    <a:pt x="61" y="136"/>
                  </a:lnTo>
                  <a:lnTo>
                    <a:pt x="74" y="126"/>
                  </a:lnTo>
                  <a:lnTo>
                    <a:pt x="88" y="116"/>
                  </a:lnTo>
                  <a:lnTo>
                    <a:pt x="102" y="107"/>
                  </a:lnTo>
                  <a:lnTo>
                    <a:pt x="117" y="99"/>
                  </a:lnTo>
                  <a:lnTo>
                    <a:pt x="132" y="92"/>
                  </a:lnTo>
                  <a:lnTo>
                    <a:pt x="146" y="86"/>
                  </a:lnTo>
                  <a:lnTo>
                    <a:pt x="161" y="79"/>
                  </a:lnTo>
                  <a:lnTo>
                    <a:pt x="193" y="70"/>
                  </a:lnTo>
                  <a:lnTo>
                    <a:pt x="224" y="62"/>
                  </a:lnTo>
                  <a:lnTo>
                    <a:pt x="256" y="59"/>
                  </a:lnTo>
                  <a:lnTo>
                    <a:pt x="288" y="58"/>
                  </a:lnTo>
                  <a:lnTo>
                    <a:pt x="288" y="58"/>
                  </a:lnTo>
                  <a:lnTo>
                    <a:pt x="317" y="59"/>
                  </a:lnTo>
                  <a:lnTo>
                    <a:pt x="346" y="61"/>
                  </a:lnTo>
                  <a:lnTo>
                    <a:pt x="374" y="67"/>
                  </a:lnTo>
                  <a:lnTo>
                    <a:pt x="402" y="76"/>
                  </a:lnTo>
                  <a:lnTo>
                    <a:pt x="429" y="86"/>
                  </a:lnTo>
                  <a:lnTo>
                    <a:pt x="456" y="98"/>
                  </a:lnTo>
                  <a:lnTo>
                    <a:pt x="482" y="112"/>
                  </a:lnTo>
                  <a:lnTo>
                    <a:pt x="506" y="129"/>
                  </a:lnTo>
                  <a:lnTo>
                    <a:pt x="506" y="129"/>
                  </a:lnTo>
                  <a:lnTo>
                    <a:pt x="511" y="133"/>
                  </a:lnTo>
                  <a:lnTo>
                    <a:pt x="516" y="134"/>
                  </a:lnTo>
                  <a:lnTo>
                    <a:pt x="521" y="136"/>
                  </a:lnTo>
                  <a:lnTo>
                    <a:pt x="527" y="137"/>
                  </a:lnTo>
                  <a:lnTo>
                    <a:pt x="527" y="137"/>
                  </a:lnTo>
                  <a:lnTo>
                    <a:pt x="532" y="136"/>
                  </a:lnTo>
                  <a:lnTo>
                    <a:pt x="536" y="134"/>
                  </a:lnTo>
                  <a:lnTo>
                    <a:pt x="541" y="132"/>
                  </a:lnTo>
                  <a:lnTo>
                    <a:pt x="545" y="128"/>
                  </a:lnTo>
                  <a:lnTo>
                    <a:pt x="545" y="128"/>
                  </a:lnTo>
                  <a:lnTo>
                    <a:pt x="549" y="123"/>
                  </a:lnTo>
                  <a:lnTo>
                    <a:pt x="551" y="118"/>
                  </a:lnTo>
                  <a:lnTo>
                    <a:pt x="552" y="114"/>
                  </a:lnTo>
                  <a:lnTo>
                    <a:pt x="552" y="107"/>
                  </a:lnTo>
                  <a:lnTo>
                    <a:pt x="552" y="103"/>
                  </a:lnTo>
                  <a:lnTo>
                    <a:pt x="551" y="98"/>
                  </a:lnTo>
                  <a:lnTo>
                    <a:pt x="547" y="93"/>
                  </a:lnTo>
                  <a:lnTo>
                    <a:pt x="544" y="89"/>
                  </a:lnTo>
                  <a:lnTo>
                    <a:pt x="544" y="89"/>
                  </a:lnTo>
                  <a:lnTo>
                    <a:pt x="516" y="70"/>
                  </a:lnTo>
                  <a:lnTo>
                    <a:pt x="486" y="51"/>
                  </a:lnTo>
                  <a:lnTo>
                    <a:pt x="456" y="37"/>
                  </a:lnTo>
                  <a:lnTo>
                    <a:pt x="424" y="25"/>
                  </a:lnTo>
                  <a:lnTo>
                    <a:pt x="391" y="14"/>
                  </a:lnTo>
                  <a:lnTo>
                    <a:pt x="358" y="6"/>
                  </a:lnTo>
                  <a:lnTo>
                    <a:pt x="341" y="4"/>
                  </a:lnTo>
                  <a:lnTo>
                    <a:pt x="324" y="3"/>
                  </a:lnTo>
                  <a:lnTo>
                    <a:pt x="307" y="1"/>
                  </a:lnTo>
                  <a:lnTo>
                    <a:pt x="29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53" name="Rectangle 1281"/>
            <p:cNvSpPr>
              <a:spLocks noChangeArrowheads="1"/>
            </p:cNvSpPr>
            <p:nvPr/>
          </p:nvSpPr>
          <p:spPr bwMode="auto">
            <a:xfrm>
              <a:off x="7910787" y="-563482"/>
              <a:ext cx="64506" cy="36048"/>
            </a:xfrm>
            <a:prstGeom prst="rect">
              <a:avLst/>
            </a:prstGeom>
            <a:solidFill>
              <a:srgbClr val="F8AB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54" name="Rectangle 1282"/>
            <p:cNvSpPr>
              <a:spLocks noChangeArrowheads="1"/>
            </p:cNvSpPr>
            <p:nvPr/>
          </p:nvSpPr>
          <p:spPr bwMode="auto">
            <a:xfrm>
              <a:off x="7998061" y="-563482"/>
              <a:ext cx="32254" cy="36048"/>
            </a:xfrm>
            <a:prstGeom prst="rect">
              <a:avLst/>
            </a:prstGeom>
            <a:solidFill>
              <a:srgbClr val="F8AB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55" name="Freeform 1283"/>
            <p:cNvSpPr>
              <a:spLocks/>
            </p:cNvSpPr>
            <p:nvPr/>
          </p:nvSpPr>
          <p:spPr bwMode="auto">
            <a:xfrm>
              <a:off x="7998061" y="-648858"/>
              <a:ext cx="53123" cy="53123"/>
            </a:xfrm>
            <a:custGeom>
              <a:avLst/>
              <a:gdLst>
                <a:gd name="T0" fmla="*/ 140 w 140"/>
                <a:gd name="T1" fmla="*/ 71 h 141"/>
                <a:gd name="T2" fmla="*/ 140 w 140"/>
                <a:gd name="T3" fmla="*/ 71 h 141"/>
                <a:gd name="T4" fmla="*/ 139 w 140"/>
                <a:gd name="T5" fmla="*/ 85 h 141"/>
                <a:gd name="T6" fmla="*/ 134 w 140"/>
                <a:gd name="T7" fmla="*/ 98 h 141"/>
                <a:gd name="T8" fmla="*/ 128 w 140"/>
                <a:gd name="T9" fmla="*/ 110 h 141"/>
                <a:gd name="T10" fmla="*/ 119 w 140"/>
                <a:gd name="T11" fmla="*/ 120 h 141"/>
                <a:gd name="T12" fmla="*/ 110 w 140"/>
                <a:gd name="T13" fmla="*/ 128 h 141"/>
                <a:gd name="T14" fmla="*/ 98 w 140"/>
                <a:gd name="T15" fmla="*/ 136 h 141"/>
                <a:gd name="T16" fmla="*/ 84 w 140"/>
                <a:gd name="T17" fmla="*/ 139 h 141"/>
                <a:gd name="T18" fmla="*/ 69 w 140"/>
                <a:gd name="T19" fmla="*/ 141 h 141"/>
                <a:gd name="T20" fmla="*/ 69 w 140"/>
                <a:gd name="T21" fmla="*/ 141 h 141"/>
                <a:gd name="T22" fmla="*/ 56 w 140"/>
                <a:gd name="T23" fmla="*/ 139 h 141"/>
                <a:gd name="T24" fmla="*/ 43 w 140"/>
                <a:gd name="T25" fmla="*/ 136 h 141"/>
                <a:gd name="T26" fmla="*/ 30 w 140"/>
                <a:gd name="T27" fmla="*/ 128 h 141"/>
                <a:gd name="T28" fmla="*/ 21 w 140"/>
                <a:gd name="T29" fmla="*/ 120 h 141"/>
                <a:gd name="T30" fmla="*/ 12 w 140"/>
                <a:gd name="T31" fmla="*/ 110 h 141"/>
                <a:gd name="T32" fmla="*/ 6 w 140"/>
                <a:gd name="T33" fmla="*/ 98 h 141"/>
                <a:gd name="T34" fmla="*/ 1 w 140"/>
                <a:gd name="T35" fmla="*/ 85 h 141"/>
                <a:gd name="T36" fmla="*/ 0 w 140"/>
                <a:gd name="T37" fmla="*/ 71 h 141"/>
                <a:gd name="T38" fmla="*/ 0 w 140"/>
                <a:gd name="T39" fmla="*/ 71 h 141"/>
                <a:gd name="T40" fmla="*/ 1 w 140"/>
                <a:gd name="T41" fmla="*/ 57 h 141"/>
                <a:gd name="T42" fmla="*/ 6 w 140"/>
                <a:gd name="T43" fmla="*/ 43 h 141"/>
                <a:gd name="T44" fmla="*/ 12 w 140"/>
                <a:gd name="T45" fmla="*/ 32 h 141"/>
                <a:gd name="T46" fmla="*/ 21 w 140"/>
                <a:gd name="T47" fmla="*/ 21 h 141"/>
                <a:gd name="T48" fmla="*/ 30 w 140"/>
                <a:gd name="T49" fmla="*/ 13 h 141"/>
                <a:gd name="T50" fmla="*/ 43 w 140"/>
                <a:gd name="T51" fmla="*/ 7 h 141"/>
                <a:gd name="T52" fmla="*/ 56 w 140"/>
                <a:gd name="T53" fmla="*/ 3 h 141"/>
                <a:gd name="T54" fmla="*/ 69 w 140"/>
                <a:gd name="T55" fmla="*/ 0 h 141"/>
                <a:gd name="T56" fmla="*/ 69 w 140"/>
                <a:gd name="T57" fmla="*/ 0 h 141"/>
                <a:gd name="T58" fmla="*/ 84 w 140"/>
                <a:gd name="T59" fmla="*/ 3 h 141"/>
                <a:gd name="T60" fmla="*/ 98 w 140"/>
                <a:gd name="T61" fmla="*/ 7 h 141"/>
                <a:gd name="T62" fmla="*/ 110 w 140"/>
                <a:gd name="T63" fmla="*/ 13 h 141"/>
                <a:gd name="T64" fmla="*/ 119 w 140"/>
                <a:gd name="T65" fmla="*/ 21 h 141"/>
                <a:gd name="T66" fmla="*/ 128 w 140"/>
                <a:gd name="T67" fmla="*/ 32 h 141"/>
                <a:gd name="T68" fmla="*/ 134 w 140"/>
                <a:gd name="T69" fmla="*/ 43 h 141"/>
                <a:gd name="T70" fmla="*/ 139 w 140"/>
                <a:gd name="T71" fmla="*/ 57 h 141"/>
                <a:gd name="T72" fmla="*/ 140 w 140"/>
                <a:gd name="T73" fmla="*/ 71 h 141"/>
                <a:gd name="T74" fmla="*/ 140 w 140"/>
                <a:gd name="T75" fmla="*/ 7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41">
                  <a:moveTo>
                    <a:pt x="140" y="71"/>
                  </a:moveTo>
                  <a:lnTo>
                    <a:pt x="140" y="71"/>
                  </a:lnTo>
                  <a:lnTo>
                    <a:pt x="139" y="85"/>
                  </a:lnTo>
                  <a:lnTo>
                    <a:pt x="134" y="98"/>
                  </a:lnTo>
                  <a:lnTo>
                    <a:pt x="128" y="110"/>
                  </a:lnTo>
                  <a:lnTo>
                    <a:pt x="119" y="120"/>
                  </a:lnTo>
                  <a:lnTo>
                    <a:pt x="110" y="128"/>
                  </a:lnTo>
                  <a:lnTo>
                    <a:pt x="98" y="136"/>
                  </a:lnTo>
                  <a:lnTo>
                    <a:pt x="84" y="139"/>
                  </a:lnTo>
                  <a:lnTo>
                    <a:pt x="69" y="141"/>
                  </a:lnTo>
                  <a:lnTo>
                    <a:pt x="69" y="141"/>
                  </a:lnTo>
                  <a:lnTo>
                    <a:pt x="56" y="139"/>
                  </a:lnTo>
                  <a:lnTo>
                    <a:pt x="43" y="136"/>
                  </a:lnTo>
                  <a:lnTo>
                    <a:pt x="30" y="128"/>
                  </a:lnTo>
                  <a:lnTo>
                    <a:pt x="21" y="120"/>
                  </a:lnTo>
                  <a:lnTo>
                    <a:pt x="12" y="110"/>
                  </a:lnTo>
                  <a:lnTo>
                    <a:pt x="6" y="98"/>
                  </a:lnTo>
                  <a:lnTo>
                    <a:pt x="1" y="85"/>
                  </a:lnTo>
                  <a:lnTo>
                    <a:pt x="0" y="71"/>
                  </a:lnTo>
                  <a:lnTo>
                    <a:pt x="0" y="71"/>
                  </a:lnTo>
                  <a:lnTo>
                    <a:pt x="1" y="57"/>
                  </a:lnTo>
                  <a:lnTo>
                    <a:pt x="6" y="43"/>
                  </a:lnTo>
                  <a:lnTo>
                    <a:pt x="12" y="32"/>
                  </a:lnTo>
                  <a:lnTo>
                    <a:pt x="21" y="21"/>
                  </a:lnTo>
                  <a:lnTo>
                    <a:pt x="30" y="13"/>
                  </a:lnTo>
                  <a:lnTo>
                    <a:pt x="43" y="7"/>
                  </a:lnTo>
                  <a:lnTo>
                    <a:pt x="56" y="3"/>
                  </a:lnTo>
                  <a:lnTo>
                    <a:pt x="69" y="0"/>
                  </a:lnTo>
                  <a:lnTo>
                    <a:pt x="69" y="0"/>
                  </a:lnTo>
                  <a:lnTo>
                    <a:pt x="84" y="3"/>
                  </a:lnTo>
                  <a:lnTo>
                    <a:pt x="98" y="7"/>
                  </a:lnTo>
                  <a:lnTo>
                    <a:pt x="110" y="13"/>
                  </a:lnTo>
                  <a:lnTo>
                    <a:pt x="119" y="21"/>
                  </a:lnTo>
                  <a:lnTo>
                    <a:pt x="128" y="32"/>
                  </a:lnTo>
                  <a:lnTo>
                    <a:pt x="134" y="43"/>
                  </a:lnTo>
                  <a:lnTo>
                    <a:pt x="139" y="57"/>
                  </a:lnTo>
                  <a:lnTo>
                    <a:pt x="140" y="71"/>
                  </a:lnTo>
                  <a:lnTo>
                    <a:pt x="140" y="71"/>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56" name="Freeform 1284"/>
            <p:cNvSpPr>
              <a:spLocks/>
            </p:cNvSpPr>
            <p:nvPr/>
          </p:nvSpPr>
          <p:spPr bwMode="auto">
            <a:xfrm>
              <a:off x="7998061" y="-724749"/>
              <a:ext cx="53123" cy="53123"/>
            </a:xfrm>
            <a:custGeom>
              <a:avLst/>
              <a:gdLst>
                <a:gd name="T0" fmla="*/ 140 w 140"/>
                <a:gd name="T1" fmla="*/ 70 h 140"/>
                <a:gd name="T2" fmla="*/ 140 w 140"/>
                <a:gd name="T3" fmla="*/ 70 h 140"/>
                <a:gd name="T4" fmla="*/ 139 w 140"/>
                <a:gd name="T5" fmla="*/ 84 h 140"/>
                <a:gd name="T6" fmla="*/ 134 w 140"/>
                <a:gd name="T7" fmla="*/ 97 h 140"/>
                <a:gd name="T8" fmla="*/ 128 w 140"/>
                <a:gd name="T9" fmla="*/ 109 h 140"/>
                <a:gd name="T10" fmla="*/ 119 w 140"/>
                <a:gd name="T11" fmla="*/ 119 h 140"/>
                <a:gd name="T12" fmla="*/ 110 w 140"/>
                <a:gd name="T13" fmla="*/ 128 h 140"/>
                <a:gd name="T14" fmla="*/ 98 w 140"/>
                <a:gd name="T15" fmla="*/ 134 h 140"/>
                <a:gd name="T16" fmla="*/ 84 w 140"/>
                <a:gd name="T17" fmla="*/ 139 h 140"/>
                <a:gd name="T18" fmla="*/ 69 w 140"/>
                <a:gd name="T19" fmla="*/ 140 h 140"/>
                <a:gd name="T20" fmla="*/ 69 w 140"/>
                <a:gd name="T21" fmla="*/ 140 h 140"/>
                <a:gd name="T22" fmla="*/ 56 w 140"/>
                <a:gd name="T23" fmla="*/ 139 h 140"/>
                <a:gd name="T24" fmla="*/ 43 w 140"/>
                <a:gd name="T25" fmla="*/ 134 h 140"/>
                <a:gd name="T26" fmla="*/ 30 w 140"/>
                <a:gd name="T27" fmla="*/ 128 h 140"/>
                <a:gd name="T28" fmla="*/ 21 w 140"/>
                <a:gd name="T29" fmla="*/ 119 h 140"/>
                <a:gd name="T30" fmla="*/ 12 w 140"/>
                <a:gd name="T31" fmla="*/ 109 h 140"/>
                <a:gd name="T32" fmla="*/ 6 w 140"/>
                <a:gd name="T33" fmla="*/ 97 h 140"/>
                <a:gd name="T34" fmla="*/ 1 w 140"/>
                <a:gd name="T35" fmla="*/ 84 h 140"/>
                <a:gd name="T36" fmla="*/ 0 w 140"/>
                <a:gd name="T37" fmla="*/ 70 h 140"/>
                <a:gd name="T38" fmla="*/ 0 w 140"/>
                <a:gd name="T39" fmla="*/ 70 h 140"/>
                <a:gd name="T40" fmla="*/ 1 w 140"/>
                <a:gd name="T41" fmla="*/ 56 h 140"/>
                <a:gd name="T42" fmla="*/ 6 w 140"/>
                <a:gd name="T43" fmla="*/ 42 h 140"/>
                <a:gd name="T44" fmla="*/ 12 w 140"/>
                <a:gd name="T45" fmla="*/ 31 h 140"/>
                <a:gd name="T46" fmla="*/ 21 w 140"/>
                <a:gd name="T47" fmla="*/ 20 h 140"/>
                <a:gd name="T48" fmla="*/ 30 w 140"/>
                <a:gd name="T49" fmla="*/ 12 h 140"/>
                <a:gd name="T50" fmla="*/ 43 w 140"/>
                <a:gd name="T51" fmla="*/ 6 h 140"/>
                <a:gd name="T52" fmla="*/ 56 w 140"/>
                <a:gd name="T53" fmla="*/ 1 h 140"/>
                <a:gd name="T54" fmla="*/ 69 w 140"/>
                <a:gd name="T55" fmla="*/ 0 h 140"/>
                <a:gd name="T56" fmla="*/ 69 w 140"/>
                <a:gd name="T57" fmla="*/ 0 h 140"/>
                <a:gd name="T58" fmla="*/ 84 w 140"/>
                <a:gd name="T59" fmla="*/ 1 h 140"/>
                <a:gd name="T60" fmla="*/ 98 w 140"/>
                <a:gd name="T61" fmla="*/ 6 h 140"/>
                <a:gd name="T62" fmla="*/ 110 w 140"/>
                <a:gd name="T63" fmla="*/ 12 h 140"/>
                <a:gd name="T64" fmla="*/ 119 w 140"/>
                <a:gd name="T65" fmla="*/ 20 h 140"/>
                <a:gd name="T66" fmla="*/ 128 w 140"/>
                <a:gd name="T67" fmla="*/ 31 h 140"/>
                <a:gd name="T68" fmla="*/ 134 w 140"/>
                <a:gd name="T69" fmla="*/ 42 h 140"/>
                <a:gd name="T70" fmla="*/ 139 w 140"/>
                <a:gd name="T71" fmla="*/ 56 h 140"/>
                <a:gd name="T72" fmla="*/ 140 w 140"/>
                <a:gd name="T73" fmla="*/ 70 h 140"/>
                <a:gd name="T74" fmla="*/ 140 w 140"/>
                <a:gd name="T75" fmla="*/ 7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40">
                  <a:moveTo>
                    <a:pt x="140" y="70"/>
                  </a:moveTo>
                  <a:lnTo>
                    <a:pt x="140" y="70"/>
                  </a:lnTo>
                  <a:lnTo>
                    <a:pt x="139" y="84"/>
                  </a:lnTo>
                  <a:lnTo>
                    <a:pt x="134" y="97"/>
                  </a:lnTo>
                  <a:lnTo>
                    <a:pt x="128" y="109"/>
                  </a:lnTo>
                  <a:lnTo>
                    <a:pt x="119" y="119"/>
                  </a:lnTo>
                  <a:lnTo>
                    <a:pt x="110" y="128"/>
                  </a:lnTo>
                  <a:lnTo>
                    <a:pt x="98" y="134"/>
                  </a:lnTo>
                  <a:lnTo>
                    <a:pt x="84" y="139"/>
                  </a:lnTo>
                  <a:lnTo>
                    <a:pt x="69" y="140"/>
                  </a:lnTo>
                  <a:lnTo>
                    <a:pt x="69" y="140"/>
                  </a:lnTo>
                  <a:lnTo>
                    <a:pt x="56" y="139"/>
                  </a:lnTo>
                  <a:lnTo>
                    <a:pt x="43" y="134"/>
                  </a:lnTo>
                  <a:lnTo>
                    <a:pt x="30" y="128"/>
                  </a:lnTo>
                  <a:lnTo>
                    <a:pt x="21" y="119"/>
                  </a:lnTo>
                  <a:lnTo>
                    <a:pt x="12" y="109"/>
                  </a:lnTo>
                  <a:lnTo>
                    <a:pt x="6" y="97"/>
                  </a:lnTo>
                  <a:lnTo>
                    <a:pt x="1" y="84"/>
                  </a:lnTo>
                  <a:lnTo>
                    <a:pt x="0" y="70"/>
                  </a:lnTo>
                  <a:lnTo>
                    <a:pt x="0" y="70"/>
                  </a:lnTo>
                  <a:lnTo>
                    <a:pt x="1" y="56"/>
                  </a:lnTo>
                  <a:lnTo>
                    <a:pt x="6" y="42"/>
                  </a:lnTo>
                  <a:lnTo>
                    <a:pt x="12" y="31"/>
                  </a:lnTo>
                  <a:lnTo>
                    <a:pt x="21" y="20"/>
                  </a:lnTo>
                  <a:lnTo>
                    <a:pt x="30" y="12"/>
                  </a:lnTo>
                  <a:lnTo>
                    <a:pt x="43" y="6"/>
                  </a:lnTo>
                  <a:lnTo>
                    <a:pt x="56" y="1"/>
                  </a:lnTo>
                  <a:lnTo>
                    <a:pt x="69" y="0"/>
                  </a:lnTo>
                  <a:lnTo>
                    <a:pt x="69" y="0"/>
                  </a:lnTo>
                  <a:lnTo>
                    <a:pt x="84" y="1"/>
                  </a:lnTo>
                  <a:lnTo>
                    <a:pt x="98" y="6"/>
                  </a:lnTo>
                  <a:lnTo>
                    <a:pt x="110" y="12"/>
                  </a:lnTo>
                  <a:lnTo>
                    <a:pt x="119" y="20"/>
                  </a:lnTo>
                  <a:lnTo>
                    <a:pt x="128" y="31"/>
                  </a:lnTo>
                  <a:lnTo>
                    <a:pt x="134" y="42"/>
                  </a:lnTo>
                  <a:lnTo>
                    <a:pt x="139" y="56"/>
                  </a:lnTo>
                  <a:lnTo>
                    <a:pt x="140" y="70"/>
                  </a:lnTo>
                  <a:lnTo>
                    <a:pt x="140" y="7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57" name="Freeform 1285"/>
            <p:cNvSpPr>
              <a:spLocks/>
            </p:cNvSpPr>
            <p:nvPr/>
          </p:nvSpPr>
          <p:spPr bwMode="auto">
            <a:xfrm>
              <a:off x="7998060" y="-800638"/>
              <a:ext cx="53123" cy="53123"/>
            </a:xfrm>
            <a:custGeom>
              <a:avLst/>
              <a:gdLst>
                <a:gd name="T0" fmla="*/ 140 w 140"/>
                <a:gd name="T1" fmla="*/ 69 h 140"/>
                <a:gd name="T2" fmla="*/ 140 w 140"/>
                <a:gd name="T3" fmla="*/ 69 h 140"/>
                <a:gd name="T4" fmla="*/ 139 w 140"/>
                <a:gd name="T5" fmla="*/ 84 h 140"/>
                <a:gd name="T6" fmla="*/ 134 w 140"/>
                <a:gd name="T7" fmla="*/ 97 h 140"/>
                <a:gd name="T8" fmla="*/ 128 w 140"/>
                <a:gd name="T9" fmla="*/ 108 h 140"/>
                <a:gd name="T10" fmla="*/ 119 w 140"/>
                <a:gd name="T11" fmla="*/ 119 h 140"/>
                <a:gd name="T12" fmla="*/ 110 w 140"/>
                <a:gd name="T13" fmla="*/ 128 h 140"/>
                <a:gd name="T14" fmla="*/ 98 w 140"/>
                <a:gd name="T15" fmla="*/ 134 h 140"/>
                <a:gd name="T16" fmla="*/ 84 w 140"/>
                <a:gd name="T17" fmla="*/ 139 h 140"/>
                <a:gd name="T18" fmla="*/ 69 w 140"/>
                <a:gd name="T19" fmla="*/ 140 h 140"/>
                <a:gd name="T20" fmla="*/ 69 w 140"/>
                <a:gd name="T21" fmla="*/ 140 h 140"/>
                <a:gd name="T22" fmla="*/ 56 w 140"/>
                <a:gd name="T23" fmla="*/ 139 h 140"/>
                <a:gd name="T24" fmla="*/ 43 w 140"/>
                <a:gd name="T25" fmla="*/ 134 h 140"/>
                <a:gd name="T26" fmla="*/ 30 w 140"/>
                <a:gd name="T27" fmla="*/ 128 h 140"/>
                <a:gd name="T28" fmla="*/ 21 w 140"/>
                <a:gd name="T29" fmla="*/ 119 h 140"/>
                <a:gd name="T30" fmla="*/ 12 w 140"/>
                <a:gd name="T31" fmla="*/ 108 h 140"/>
                <a:gd name="T32" fmla="*/ 6 w 140"/>
                <a:gd name="T33" fmla="*/ 97 h 140"/>
                <a:gd name="T34" fmla="*/ 1 w 140"/>
                <a:gd name="T35" fmla="*/ 84 h 140"/>
                <a:gd name="T36" fmla="*/ 0 w 140"/>
                <a:gd name="T37" fmla="*/ 69 h 140"/>
                <a:gd name="T38" fmla="*/ 0 w 140"/>
                <a:gd name="T39" fmla="*/ 69 h 140"/>
                <a:gd name="T40" fmla="*/ 1 w 140"/>
                <a:gd name="T41" fmla="*/ 56 h 140"/>
                <a:gd name="T42" fmla="*/ 6 w 140"/>
                <a:gd name="T43" fmla="*/ 42 h 140"/>
                <a:gd name="T44" fmla="*/ 12 w 140"/>
                <a:gd name="T45" fmla="*/ 30 h 140"/>
                <a:gd name="T46" fmla="*/ 21 w 140"/>
                <a:gd name="T47" fmla="*/ 20 h 140"/>
                <a:gd name="T48" fmla="*/ 30 w 140"/>
                <a:gd name="T49" fmla="*/ 12 h 140"/>
                <a:gd name="T50" fmla="*/ 43 w 140"/>
                <a:gd name="T51" fmla="*/ 6 h 140"/>
                <a:gd name="T52" fmla="*/ 56 w 140"/>
                <a:gd name="T53" fmla="*/ 1 h 140"/>
                <a:gd name="T54" fmla="*/ 69 w 140"/>
                <a:gd name="T55" fmla="*/ 0 h 140"/>
                <a:gd name="T56" fmla="*/ 69 w 140"/>
                <a:gd name="T57" fmla="*/ 0 h 140"/>
                <a:gd name="T58" fmla="*/ 84 w 140"/>
                <a:gd name="T59" fmla="*/ 1 h 140"/>
                <a:gd name="T60" fmla="*/ 98 w 140"/>
                <a:gd name="T61" fmla="*/ 6 h 140"/>
                <a:gd name="T62" fmla="*/ 110 w 140"/>
                <a:gd name="T63" fmla="*/ 12 h 140"/>
                <a:gd name="T64" fmla="*/ 119 w 140"/>
                <a:gd name="T65" fmla="*/ 20 h 140"/>
                <a:gd name="T66" fmla="*/ 128 w 140"/>
                <a:gd name="T67" fmla="*/ 30 h 140"/>
                <a:gd name="T68" fmla="*/ 134 w 140"/>
                <a:gd name="T69" fmla="*/ 42 h 140"/>
                <a:gd name="T70" fmla="*/ 139 w 140"/>
                <a:gd name="T71" fmla="*/ 56 h 140"/>
                <a:gd name="T72" fmla="*/ 140 w 140"/>
                <a:gd name="T73" fmla="*/ 69 h 140"/>
                <a:gd name="T74" fmla="*/ 140 w 140"/>
                <a:gd name="T75" fmla="*/ 6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40">
                  <a:moveTo>
                    <a:pt x="140" y="69"/>
                  </a:moveTo>
                  <a:lnTo>
                    <a:pt x="140" y="69"/>
                  </a:lnTo>
                  <a:lnTo>
                    <a:pt x="139" y="84"/>
                  </a:lnTo>
                  <a:lnTo>
                    <a:pt x="134" y="97"/>
                  </a:lnTo>
                  <a:lnTo>
                    <a:pt x="128" y="108"/>
                  </a:lnTo>
                  <a:lnTo>
                    <a:pt x="119" y="119"/>
                  </a:lnTo>
                  <a:lnTo>
                    <a:pt x="110" y="128"/>
                  </a:lnTo>
                  <a:lnTo>
                    <a:pt x="98" y="134"/>
                  </a:lnTo>
                  <a:lnTo>
                    <a:pt x="84" y="139"/>
                  </a:lnTo>
                  <a:lnTo>
                    <a:pt x="69" y="140"/>
                  </a:lnTo>
                  <a:lnTo>
                    <a:pt x="69" y="140"/>
                  </a:lnTo>
                  <a:lnTo>
                    <a:pt x="56" y="139"/>
                  </a:lnTo>
                  <a:lnTo>
                    <a:pt x="43" y="134"/>
                  </a:lnTo>
                  <a:lnTo>
                    <a:pt x="30" y="128"/>
                  </a:lnTo>
                  <a:lnTo>
                    <a:pt x="21" y="119"/>
                  </a:lnTo>
                  <a:lnTo>
                    <a:pt x="12" y="108"/>
                  </a:lnTo>
                  <a:lnTo>
                    <a:pt x="6" y="97"/>
                  </a:lnTo>
                  <a:lnTo>
                    <a:pt x="1" y="84"/>
                  </a:lnTo>
                  <a:lnTo>
                    <a:pt x="0" y="69"/>
                  </a:lnTo>
                  <a:lnTo>
                    <a:pt x="0" y="69"/>
                  </a:lnTo>
                  <a:lnTo>
                    <a:pt x="1" y="56"/>
                  </a:lnTo>
                  <a:lnTo>
                    <a:pt x="6" y="42"/>
                  </a:lnTo>
                  <a:lnTo>
                    <a:pt x="12" y="30"/>
                  </a:lnTo>
                  <a:lnTo>
                    <a:pt x="21" y="20"/>
                  </a:lnTo>
                  <a:lnTo>
                    <a:pt x="30" y="12"/>
                  </a:lnTo>
                  <a:lnTo>
                    <a:pt x="43" y="6"/>
                  </a:lnTo>
                  <a:lnTo>
                    <a:pt x="56" y="1"/>
                  </a:lnTo>
                  <a:lnTo>
                    <a:pt x="69" y="0"/>
                  </a:lnTo>
                  <a:lnTo>
                    <a:pt x="69" y="0"/>
                  </a:lnTo>
                  <a:lnTo>
                    <a:pt x="84" y="1"/>
                  </a:lnTo>
                  <a:lnTo>
                    <a:pt x="98" y="6"/>
                  </a:lnTo>
                  <a:lnTo>
                    <a:pt x="110" y="12"/>
                  </a:lnTo>
                  <a:lnTo>
                    <a:pt x="119" y="20"/>
                  </a:lnTo>
                  <a:lnTo>
                    <a:pt x="128" y="30"/>
                  </a:lnTo>
                  <a:lnTo>
                    <a:pt x="134" y="42"/>
                  </a:lnTo>
                  <a:lnTo>
                    <a:pt x="139" y="56"/>
                  </a:lnTo>
                  <a:lnTo>
                    <a:pt x="140" y="69"/>
                  </a:lnTo>
                  <a:lnTo>
                    <a:pt x="140" y="69"/>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58" name="Freeform 1286"/>
            <p:cNvSpPr>
              <a:spLocks/>
            </p:cNvSpPr>
            <p:nvPr/>
          </p:nvSpPr>
          <p:spPr bwMode="auto">
            <a:xfrm>
              <a:off x="4364824" y="-933446"/>
              <a:ext cx="430676" cy="432574"/>
            </a:xfrm>
            <a:custGeom>
              <a:avLst/>
              <a:gdLst>
                <a:gd name="T0" fmla="*/ 1138 w 1138"/>
                <a:gd name="T1" fmla="*/ 1138 h 1138"/>
                <a:gd name="T2" fmla="*/ 1137 w 1138"/>
                <a:gd name="T3" fmla="*/ 1108 h 1138"/>
                <a:gd name="T4" fmla="*/ 1135 w 1138"/>
                <a:gd name="T5" fmla="*/ 1051 h 1138"/>
                <a:gd name="T6" fmla="*/ 1125 w 1138"/>
                <a:gd name="T7" fmla="*/ 964 h 1138"/>
                <a:gd name="T8" fmla="*/ 1102 w 1138"/>
                <a:gd name="T9" fmla="*/ 853 h 1138"/>
                <a:gd name="T10" fmla="*/ 1069 w 1138"/>
                <a:gd name="T11" fmla="*/ 746 h 1138"/>
                <a:gd name="T12" fmla="*/ 1025 w 1138"/>
                <a:gd name="T13" fmla="*/ 645 h 1138"/>
                <a:gd name="T14" fmla="*/ 973 w 1138"/>
                <a:gd name="T15" fmla="*/ 547 h 1138"/>
                <a:gd name="T16" fmla="*/ 912 w 1138"/>
                <a:gd name="T17" fmla="*/ 457 h 1138"/>
                <a:gd name="T18" fmla="*/ 842 w 1138"/>
                <a:gd name="T19" fmla="*/ 373 h 1138"/>
                <a:gd name="T20" fmla="*/ 765 w 1138"/>
                <a:gd name="T21" fmla="*/ 295 h 1138"/>
                <a:gd name="T22" fmla="*/ 680 w 1138"/>
                <a:gd name="T23" fmla="*/ 225 h 1138"/>
                <a:gd name="T24" fmla="*/ 590 w 1138"/>
                <a:gd name="T25" fmla="*/ 164 h 1138"/>
                <a:gd name="T26" fmla="*/ 492 w 1138"/>
                <a:gd name="T27" fmla="*/ 112 h 1138"/>
                <a:gd name="T28" fmla="*/ 391 w 1138"/>
                <a:gd name="T29" fmla="*/ 68 h 1138"/>
                <a:gd name="T30" fmla="*/ 284 w 1138"/>
                <a:gd name="T31" fmla="*/ 35 h 1138"/>
                <a:gd name="T32" fmla="*/ 173 w 1138"/>
                <a:gd name="T33" fmla="*/ 12 h 1138"/>
                <a:gd name="T34" fmla="*/ 86 w 1138"/>
                <a:gd name="T35" fmla="*/ 2 h 1138"/>
                <a:gd name="T36" fmla="*/ 29 w 1138"/>
                <a:gd name="T37" fmla="*/ 0 h 1138"/>
                <a:gd name="T38" fmla="*/ 0 w 1138"/>
                <a:gd name="T39" fmla="*/ 0 h 1138"/>
                <a:gd name="T40" fmla="*/ 14 w 1138"/>
                <a:gd name="T41" fmla="*/ 0 h 1138"/>
                <a:gd name="T42" fmla="*/ 62 w 1138"/>
                <a:gd name="T43" fmla="*/ 5 h 1138"/>
                <a:gd name="T44" fmla="*/ 123 w 1138"/>
                <a:gd name="T45" fmla="*/ 23 h 1138"/>
                <a:gd name="T46" fmla="*/ 181 w 1138"/>
                <a:gd name="T47" fmla="*/ 51 h 1138"/>
                <a:gd name="T48" fmla="*/ 237 w 1138"/>
                <a:gd name="T49" fmla="*/ 89 h 1138"/>
                <a:gd name="T50" fmla="*/ 291 w 1138"/>
                <a:gd name="T51" fmla="*/ 136 h 1138"/>
                <a:gd name="T52" fmla="*/ 342 w 1138"/>
                <a:gd name="T53" fmla="*/ 194 h 1138"/>
                <a:gd name="T54" fmla="*/ 389 w 1138"/>
                <a:gd name="T55" fmla="*/ 259 h 1138"/>
                <a:gd name="T56" fmla="*/ 433 w 1138"/>
                <a:gd name="T57" fmla="*/ 333 h 1138"/>
                <a:gd name="T58" fmla="*/ 472 w 1138"/>
                <a:gd name="T59" fmla="*/ 414 h 1138"/>
                <a:gd name="T60" fmla="*/ 507 w 1138"/>
                <a:gd name="T61" fmla="*/ 501 h 1138"/>
                <a:gd name="T62" fmla="*/ 539 w 1138"/>
                <a:gd name="T63" fmla="*/ 595 h 1138"/>
                <a:gd name="T64" fmla="*/ 564 w 1138"/>
                <a:gd name="T65" fmla="*/ 695 h 1138"/>
                <a:gd name="T66" fmla="*/ 585 w 1138"/>
                <a:gd name="T67" fmla="*/ 799 h 1138"/>
                <a:gd name="T68" fmla="*/ 600 w 1138"/>
                <a:gd name="T69" fmla="*/ 908 h 1138"/>
                <a:gd name="T70" fmla="*/ 609 w 1138"/>
                <a:gd name="T71" fmla="*/ 1021 h 1138"/>
                <a:gd name="T72" fmla="*/ 612 w 1138"/>
                <a:gd name="T73" fmla="*/ 1138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38" h="1138">
                  <a:moveTo>
                    <a:pt x="612" y="1138"/>
                  </a:moveTo>
                  <a:lnTo>
                    <a:pt x="1138" y="1138"/>
                  </a:lnTo>
                  <a:lnTo>
                    <a:pt x="1138" y="1138"/>
                  </a:lnTo>
                  <a:lnTo>
                    <a:pt x="1137" y="1108"/>
                  </a:lnTo>
                  <a:lnTo>
                    <a:pt x="1136" y="1080"/>
                  </a:lnTo>
                  <a:lnTo>
                    <a:pt x="1135" y="1051"/>
                  </a:lnTo>
                  <a:lnTo>
                    <a:pt x="1132" y="1021"/>
                  </a:lnTo>
                  <a:lnTo>
                    <a:pt x="1125" y="964"/>
                  </a:lnTo>
                  <a:lnTo>
                    <a:pt x="1115" y="908"/>
                  </a:lnTo>
                  <a:lnTo>
                    <a:pt x="1102" y="853"/>
                  </a:lnTo>
                  <a:lnTo>
                    <a:pt x="1087" y="799"/>
                  </a:lnTo>
                  <a:lnTo>
                    <a:pt x="1069" y="746"/>
                  </a:lnTo>
                  <a:lnTo>
                    <a:pt x="1048" y="695"/>
                  </a:lnTo>
                  <a:lnTo>
                    <a:pt x="1025" y="645"/>
                  </a:lnTo>
                  <a:lnTo>
                    <a:pt x="1001" y="595"/>
                  </a:lnTo>
                  <a:lnTo>
                    <a:pt x="973" y="547"/>
                  </a:lnTo>
                  <a:lnTo>
                    <a:pt x="943" y="501"/>
                  </a:lnTo>
                  <a:lnTo>
                    <a:pt x="912" y="457"/>
                  </a:lnTo>
                  <a:lnTo>
                    <a:pt x="878" y="413"/>
                  </a:lnTo>
                  <a:lnTo>
                    <a:pt x="842" y="373"/>
                  </a:lnTo>
                  <a:lnTo>
                    <a:pt x="804" y="333"/>
                  </a:lnTo>
                  <a:lnTo>
                    <a:pt x="765" y="295"/>
                  </a:lnTo>
                  <a:lnTo>
                    <a:pt x="724" y="259"/>
                  </a:lnTo>
                  <a:lnTo>
                    <a:pt x="680" y="225"/>
                  </a:lnTo>
                  <a:lnTo>
                    <a:pt x="636" y="194"/>
                  </a:lnTo>
                  <a:lnTo>
                    <a:pt x="590" y="164"/>
                  </a:lnTo>
                  <a:lnTo>
                    <a:pt x="542" y="136"/>
                  </a:lnTo>
                  <a:lnTo>
                    <a:pt x="492" y="112"/>
                  </a:lnTo>
                  <a:lnTo>
                    <a:pt x="442" y="89"/>
                  </a:lnTo>
                  <a:lnTo>
                    <a:pt x="391" y="68"/>
                  </a:lnTo>
                  <a:lnTo>
                    <a:pt x="337" y="51"/>
                  </a:lnTo>
                  <a:lnTo>
                    <a:pt x="284" y="35"/>
                  </a:lnTo>
                  <a:lnTo>
                    <a:pt x="229" y="23"/>
                  </a:lnTo>
                  <a:lnTo>
                    <a:pt x="173" y="12"/>
                  </a:lnTo>
                  <a:lnTo>
                    <a:pt x="116" y="5"/>
                  </a:lnTo>
                  <a:lnTo>
                    <a:pt x="86" y="2"/>
                  </a:lnTo>
                  <a:lnTo>
                    <a:pt x="58" y="1"/>
                  </a:lnTo>
                  <a:lnTo>
                    <a:pt x="29" y="0"/>
                  </a:lnTo>
                  <a:lnTo>
                    <a:pt x="0" y="0"/>
                  </a:lnTo>
                  <a:lnTo>
                    <a:pt x="0" y="0"/>
                  </a:lnTo>
                  <a:lnTo>
                    <a:pt x="0" y="0"/>
                  </a:lnTo>
                  <a:lnTo>
                    <a:pt x="14" y="0"/>
                  </a:lnTo>
                  <a:lnTo>
                    <a:pt x="30" y="1"/>
                  </a:lnTo>
                  <a:lnTo>
                    <a:pt x="62" y="5"/>
                  </a:lnTo>
                  <a:lnTo>
                    <a:pt x="92" y="12"/>
                  </a:lnTo>
                  <a:lnTo>
                    <a:pt x="123" y="23"/>
                  </a:lnTo>
                  <a:lnTo>
                    <a:pt x="152" y="35"/>
                  </a:lnTo>
                  <a:lnTo>
                    <a:pt x="181" y="51"/>
                  </a:lnTo>
                  <a:lnTo>
                    <a:pt x="209" y="68"/>
                  </a:lnTo>
                  <a:lnTo>
                    <a:pt x="237" y="89"/>
                  </a:lnTo>
                  <a:lnTo>
                    <a:pt x="264" y="112"/>
                  </a:lnTo>
                  <a:lnTo>
                    <a:pt x="291" y="136"/>
                  </a:lnTo>
                  <a:lnTo>
                    <a:pt x="317" y="164"/>
                  </a:lnTo>
                  <a:lnTo>
                    <a:pt x="342" y="194"/>
                  </a:lnTo>
                  <a:lnTo>
                    <a:pt x="365" y="225"/>
                  </a:lnTo>
                  <a:lnTo>
                    <a:pt x="389" y="259"/>
                  </a:lnTo>
                  <a:lnTo>
                    <a:pt x="412" y="295"/>
                  </a:lnTo>
                  <a:lnTo>
                    <a:pt x="433" y="333"/>
                  </a:lnTo>
                  <a:lnTo>
                    <a:pt x="453" y="373"/>
                  </a:lnTo>
                  <a:lnTo>
                    <a:pt x="472" y="414"/>
                  </a:lnTo>
                  <a:lnTo>
                    <a:pt x="490" y="457"/>
                  </a:lnTo>
                  <a:lnTo>
                    <a:pt x="507" y="501"/>
                  </a:lnTo>
                  <a:lnTo>
                    <a:pt x="523" y="547"/>
                  </a:lnTo>
                  <a:lnTo>
                    <a:pt x="539" y="595"/>
                  </a:lnTo>
                  <a:lnTo>
                    <a:pt x="552" y="645"/>
                  </a:lnTo>
                  <a:lnTo>
                    <a:pt x="564" y="695"/>
                  </a:lnTo>
                  <a:lnTo>
                    <a:pt x="575" y="746"/>
                  </a:lnTo>
                  <a:lnTo>
                    <a:pt x="585" y="799"/>
                  </a:lnTo>
                  <a:lnTo>
                    <a:pt x="592" y="853"/>
                  </a:lnTo>
                  <a:lnTo>
                    <a:pt x="600" y="908"/>
                  </a:lnTo>
                  <a:lnTo>
                    <a:pt x="604" y="964"/>
                  </a:lnTo>
                  <a:lnTo>
                    <a:pt x="609" y="1021"/>
                  </a:lnTo>
                  <a:lnTo>
                    <a:pt x="612" y="1080"/>
                  </a:lnTo>
                  <a:lnTo>
                    <a:pt x="612" y="1138"/>
                  </a:lnTo>
                  <a:lnTo>
                    <a:pt x="612" y="1138"/>
                  </a:lnTo>
                  <a:close/>
                </a:path>
              </a:pathLst>
            </a:custGeom>
            <a:solidFill>
              <a:srgbClr val="AAAA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59" name="Freeform 1287"/>
            <p:cNvSpPr>
              <a:spLocks/>
            </p:cNvSpPr>
            <p:nvPr/>
          </p:nvSpPr>
          <p:spPr bwMode="auto">
            <a:xfrm>
              <a:off x="3932251" y="-933446"/>
              <a:ext cx="432573" cy="432574"/>
            </a:xfrm>
            <a:custGeom>
              <a:avLst/>
              <a:gdLst>
                <a:gd name="T0" fmla="*/ 1140 w 1140"/>
                <a:gd name="T1" fmla="*/ 0 h 1138"/>
                <a:gd name="T2" fmla="*/ 1109 w 1140"/>
                <a:gd name="T3" fmla="*/ 0 h 1138"/>
                <a:gd name="T4" fmla="*/ 1052 w 1140"/>
                <a:gd name="T5" fmla="*/ 2 h 1138"/>
                <a:gd name="T6" fmla="*/ 965 w 1140"/>
                <a:gd name="T7" fmla="*/ 12 h 1138"/>
                <a:gd name="T8" fmla="*/ 854 w 1140"/>
                <a:gd name="T9" fmla="*/ 35 h 1138"/>
                <a:gd name="T10" fmla="*/ 747 w 1140"/>
                <a:gd name="T11" fmla="*/ 68 h 1138"/>
                <a:gd name="T12" fmla="*/ 646 w 1140"/>
                <a:gd name="T13" fmla="*/ 112 h 1138"/>
                <a:gd name="T14" fmla="*/ 548 w 1140"/>
                <a:gd name="T15" fmla="*/ 164 h 1138"/>
                <a:gd name="T16" fmla="*/ 458 w 1140"/>
                <a:gd name="T17" fmla="*/ 225 h 1138"/>
                <a:gd name="T18" fmla="*/ 373 w 1140"/>
                <a:gd name="T19" fmla="*/ 295 h 1138"/>
                <a:gd name="T20" fmla="*/ 296 w 1140"/>
                <a:gd name="T21" fmla="*/ 373 h 1138"/>
                <a:gd name="T22" fmla="*/ 227 w 1140"/>
                <a:gd name="T23" fmla="*/ 457 h 1138"/>
                <a:gd name="T24" fmla="*/ 166 w 1140"/>
                <a:gd name="T25" fmla="*/ 547 h 1138"/>
                <a:gd name="T26" fmla="*/ 113 w 1140"/>
                <a:gd name="T27" fmla="*/ 645 h 1138"/>
                <a:gd name="T28" fmla="*/ 69 w 1140"/>
                <a:gd name="T29" fmla="*/ 746 h 1138"/>
                <a:gd name="T30" fmla="*/ 36 w 1140"/>
                <a:gd name="T31" fmla="*/ 853 h 1138"/>
                <a:gd name="T32" fmla="*/ 13 w 1140"/>
                <a:gd name="T33" fmla="*/ 964 h 1138"/>
                <a:gd name="T34" fmla="*/ 4 w 1140"/>
                <a:gd name="T35" fmla="*/ 1051 h 1138"/>
                <a:gd name="T36" fmla="*/ 1 w 1140"/>
                <a:gd name="T37" fmla="*/ 1108 h 1138"/>
                <a:gd name="T38" fmla="*/ 527 w 1140"/>
                <a:gd name="T39" fmla="*/ 1138 h 1138"/>
                <a:gd name="T40" fmla="*/ 527 w 1140"/>
                <a:gd name="T41" fmla="*/ 1080 h 1138"/>
                <a:gd name="T42" fmla="*/ 534 w 1140"/>
                <a:gd name="T43" fmla="*/ 964 h 1138"/>
                <a:gd name="T44" fmla="*/ 546 w 1140"/>
                <a:gd name="T45" fmla="*/ 853 h 1138"/>
                <a:gd name="T46" fmla="*/ 563 w 1140"/>
                <a:gd name="T47" fmla="*/ 746 h 1138"/>
                <a:gd name="T48" fmla="*/ 586 w 1140"/>
                <a:gd name="T49" fmla="*/ 645 h 1138"/>
                <a:gd name="T50" fmla="*/ 616 w 1140"/>
                <a:gd name="T51" fmla="*/ 547 h 1138"/>
                <a:gd name="T52" fmla="*/ 648 w 1140"/>
                <a:gd name="T53" fmla="*/ 457 h 1138"/>
                <a:gd name="T54" fmla="*/ 685 w 1140"/>
                <a:gd name="T55" fmla="*/ 373 h 1138"/>
                <a:gd name="T56" fmla="*/ 726 w 1140"/>
                <a:gd name="T57" fmla="*/ 295 h 1138"/>
                <a:gd name="T58" fmla="*/ 773 w 1140"/>
                <a:gd name="T59" fmla="*/ 225 h 1138"/>
                <a:gd name="T60" fmla="*/ 822 w 1140"/>
                <a:gd name="T61" fmla="*/ 164 h 1138"/>
                <a:gd name="T62" fmla="*/ 874 w 1140"/>
                <a:gd name="T63" fmla="*/ 112 h 1138"/>
                <a:gd name="T64" fmla="*/ 929 w 1140"/>
                <a:gd name="T65" fmla="*/ 68 h 1138"/>
                <a:gd name="T66" fmla="*/ 986 w 1140"/>
                <a:gd name="T67" fmla="*/ 35 h 1138"/>
                <a:gd name="T68" fmla="*/ 1046 w 1140"/>
                <a:gd name="T69" fmla="*/ 12 h 1138"/>
                <a:gd name="T70" fmla="*/ 1108 w 1140"/>
                <a:gd name="T71" fmla="*/ 1 h 1138"/>
                <a:gd name="T72" fmla="*/ 1140 w 1140"/>
                <a:gd name="T73" fmla="*/ 0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40" h="1138">
                  <a:moveTo>
                    <a:pt x="1140" y="0"/>
                  </a:moveTo>
                  <a:lnTo>
                    <a:pt x="1140" y="0"/>
                  </a:lnTo>
                  <a:lnTo>
                    <a:pt x="1140" y="0"/>
                  </a:lnTo>
                  <a:lnTo>
                    <a:pt x="1109" y="0"/>
                  </a:lnTo>
                  <a:lnTo>
                    <a:pt x="1080" y="1"/>
                  </a:lnTo>
                  <a:lnTo>
                    <a:pt x="1052" y="2"/>
                  </a:lnTo>
                  <a:lnTo>
                    <a:pt x="1023" y="5"/>
                  </a:lnTo>
                  <a:lnTo>
                    <a:pt x="965" y="12"/>
                  </a:lnTo>
                  <a:lnTo>
                    <a:pt x="909" y="23"/>
                  </a:lnTo>
                  <a:lnTo>
                    <a:pt x="854" y="35"/>
                  </a:lnTo>
                  <a:lnTo>
                    <a:pt x="801" y="51"/>
                  </a:lnTo>
                  <a:lnTo>
                    <a:pt x="747" y="68"/>
                  </a:lnTo>
                  <a:lnTo>
                    <a:pt x="696" y="89"/>
                  </a:lnTo>
                  <a:lnTo>
                    <a:pt x="646" y="112"/>
                  </a:lnTo>
                  <a:lnTo>
                    <a:pt x="596" y="136"/>
                  </a:lnTo>
                  <a:lnTo>
                    <a:pt x="548" y="164"/>
                  </a:lnTo>
                  <a:lnTo>
                    <a:pt x="502" y="194"/>
                  </a:lnTo>
                  <a:lnTo>
                    <a:pt x="458" y="225"/>
                  </a:lnTo>
                  <a:lnTo>
                    <a:pt x="414" y="259"/>
                  </a:lnTo>
                  <a:lnTo>
                    <a:pt x="373" y="295"/>
                  </a:lnTo>
                  <a:lnTo>
                    <a:pt x="334" y="333"/>
                  </a:lnTo>
                  <a:lnTo>
                    <a:pt x="296" y="373"/>
                  </a:lnTo>
                  <a:lnTo>
                    <a:pt x="261" y="413"/>
                  </a:lnTo>
                  <a:lnTo>
                    <a:pt x="227" y="457"/>
                  </a:lnTo>
                  <a:lnTo>
                    <a:pt x="195" y="501"/>
                  </a:lnTo>
                  <a:lnTo>
                    <a:pt x="166" y="547"/>
                  </a:lnTo>
                  <a:lnTo>
                    <a:pt x="138" y="595"/>
                  </a:lnTo>
                  <a:lnTo>
                    <a:pt x="113" y="645"/>
                  </a:lnTo>
                  <a:lnTo>
                    <a:pt x="90" y="695"/>
                  </a:lnTo>
                  <a:lnTo>
                    <a:pt x="69" y="746"/>
                  </a:lnTo>
                  <a:lnTo>
                    <a:pt x="51" y="799"/>
                  </a:lnTo>
                  <a:lnTo>
                    <a:pt x="36" y="853"/>
                  </a:lnTo>
                  <a:lnTo>
                    <a:pt x="23" y="908"/>
                  </a:lnTo>
                  <a:lnTo>
                    <a:pt x="13" y="964"/>
                  </a:lnTo>
                  <a:lnTo>
                    <a:pt x="6" y="1021"/>
                  </a:lnTo>
                  <a:lnTo>
                    <a:pt x="4" y="1051"/>
                  </a:lnTo>
                  <a:lnTo>
                    <a:pt x="2" y="1080"/>
                  </a:lnTo>
                  <a:lnTo>
                    <a:pt x="1" y="1108"/>
                  </a:lnTo>
                  <a:lnTo>
                    <a:pt x="0" y="1138"/>
                  </a:lnTo>
                  <a:lnTo>
                    <a:pt x="527" y="1138"/>
                  </a:lnTo>
                  <a:lnTo>
                    <a:pt x="527" y="1138"/>
                  </a:lnTo>
                  <a:lnTo>
                    <a:pt x="527" y="1080"/>
                  </a:lnTo>
                  <a:lnTo>
                    <a:pt x="529" y="1021"/>
                  </a:lnTo>
                  <a:lnTo>
                    <a:pt x="534" y="964"/>
                  </a:lnTo>
                  <a:lnTo>
                    <a:pt x="539" y="908"/>
                  </a:lnTo>
                  <a:lnTo>
                    <a:pt x="546" y="853"/>
                  </a:lnTo>
                  <a:lnTo>
                    <a:pt x="553" y="799"/>
                  </a:lnTo>
                  <a:lnTo>
                    <a:pt x="563" y="746"/>
                  </a:lnTo>
                  <a:lnTo>
                    <a:pt x="574" y="695"/>
                  </a:lnTo>
                  <a:lnTo>
                    <a:pt x="586" y="645"/>
                  </a:lnTo>
                  <a:lnTo>
                    <a:pt x="600" y="595"/>
                  </a:lnTo>
                  <a:lnTo>
                    <a:pt x="616" y="547"/>
                  </a:lnTo>
                  <a:lnTo>
                    <a:pt x="631" y="501"/>
                  </a:lnTo>
                  <a:lnTo>
                    <a:pt x="648" y="457"/>
                  </a:lnTo>
                  <a:lnTo>
                    <a:pt x="667" y="414"/>
                  </a:lnTo>
                  <a:lnTo>
                    <a:pt x="685" y="373"/>
                  </a:lnTo>
                  <a:lnTo>
                    <a:pt x="706" y="333"/>
                  </a:lnTo>
                  <a:lnTo>
                    <a:pt x="726" y="295"/>
                  </a:lnTo>
                  <a:lnTo>
                    <a:pt x="750" y="259"/>
                  </a:lnTo>
                  <a:lnTo>
                    <a:pt x="773" y="225"/>
                  </a:lnTo>
                  <a:lnTo>
                    <a:pt x="796" y="194"/>
                  </a:lnTo>
                  <a:lnTo>
                    <a:pt x="822" y="164"/>
                  </a:lnTo>
                  <a:lnTo>
                    <a:pt x="847" y="136"/>
                  </a:lnTo>
                  <a:lnTo>
                    <a:pt x="874" y="112"/>
                  </a:lnTo>
                  <a:lnTo>
                    <a:pt x="901" y="89"/>
                  </a:lnTo>
                  <a:lnTo>
                    <a:pt x="929" y="68"/>
                  </a:lnTo>
                  <a:lnTo>
                    <a:pt x="957" y="51"/>
                  </a:lnTo>
                  <a:lnTo>
                    <a:pt x="986" y="35"/>
                  </a:lnTo>
                  <a:lnTo>
                    <a:pt x="1015" y="23"/>
                  </a:lnTo>
                  <a:lnTo>
                    <a:pt x="1046" y="12"/>
                  </a:lnTo>
                  <a:lnTo>
                    <a:pt x="1076" y="5"/>
                  </a:lnTo>
                  <a:lnTo>
                    <a:pt x="1108" y="1"/>
                  </a:lnTo>
                  <a:lnTo>
                    <a:pt x="1124" y="0"/>
                  </a:lnTo>
                  <a:lnTo>
                    <a:pt x="1140" y="0"/>
                  </a:lnTo>
                  <a:lnTo>
                    <a:pt x="11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60" name="Freeform 1288"/>
            <p:cNvSpPr>
              <a:spLocks/>
            </p:cNvSpPr>
            <p:nvPr/>
          </p:nvSpPr>
          <p:spPr bwMode="auto">
            <a:xfrm>
              <a:off x="4364824" y="-933446"/>
              <a:ext cx="231463" cy="432574"/>
            </a:xfrm>
            <a:custGeom>
              <a:avLst/>
              <a:gdLst>
                <a:gd name="T0" fmla="*/ 612 w 612"/>
                <a:gd name="T1" fmla="*/ 1138 h 1138"/>
                <a:gd name="T2" fmla="*/ 612 w 612"/>
                <a:gd name="T3" fmla="*/ 1138 h 1138"/>
                <a:gd name="T4" fmla="*/ 612 w 612"/>
                <a:gd name="T5" fmla="*/ 1080 h 1138"/>
                <a:gd name="T6" fmla="*/ 609 w 612"/>
                <a:gd name="T7" fmla="*/ 1021 h 1138"/>
                <a:gd name="T8" fmla="*/ 604 w 612"/>
                <a:gd name="T9" fmla="*/ 964 h 1138"/>
                <a:gd name="T10" fmla="*/ 600 w 612"/>
                <a:gd name="T11" fmla="*/ 908 h 1138"/>
                <a:gd name="T12" fmla="*/ 592 w 612"/>
                <a:gd name="T13" fmla="*/ 853 h 1138"/>
                <a:gd name="T14" fmla="*/ 585 w 612"/>
                <a:gd name="T15" fmla="*/ 799 h 1138"/>
                <a:gd name="T16" fmla="*/ 575 w 612"/>
                <a:gd name="T17" fmla="*/ 746 h 1138"/>
                <a:gd name="T18" fmla="*/ 564 w 612"/>
                <a:gd name="T19" fmla="*/ 695 h 1138"/>
                <a:gd name="T20" fmla="*/ 552 w 612"/>
                <a:gd name="T21" fmla="*/ 645 h 1138"/>
                <a:gd name="T22" fmla="*/ 539 w 612"/>
                <a:gd name="T23" fmla="*/ 595 h 1138"/>
                <a:gd name="T24" fmla="*/ 523 w 612"/>
                <a:gd name="T25" fmla="*/ 547 h 1138"/>
                <a:gd name="T26" fmla="*/ 507 w 612"/>
                <a:gd name="T27" fmla="*/ 501 h 1138"/>
                <a:gd name="T28" fmla="*/ 490 w 612"/>
                <a:gd name="T29" fmla="*/ 457 h 1138"/>
                <a:gd name="T30" fmla="*/ 472 w 612"/>
                <a:gd name="T31" fmla="*/ 414 h 1138"/>
                <a:gd name="T32" fmla="*/ 453 w 612"/>
                <a:gd name="T33" fmla="*/ 373 h 1138"/>
                <a:gd name="T34" fmla="*/ 433 w 612"/>
                <a:gd name="T35" fmla="*/ 333 h 1138"/>
                <a:gd name="T36" fmla="*/ 412 w 612"/>
                <a:gd name="T37" fmla="*/ 295 h 1138"/>
                <a:gd name="T38" fmla="*/ 389 w 612"/>
                <a:gd name="T39" fmla="*/ 259 h 1138"/>
                <a:gd name="T40" fmla="*/ 365 w 612"/>
                <a:gd name="T41" fmla="*/ 225 h 1138"/>
                <a:gd name="T42" fmla="*/ 342 w 612"/>
                <a:gd name="T43" fmla="*/ 194 h 1138"/>
                <a:gd name="T44" fmla="*/ 317 w 612"/>
                <a:gd name="T45" fmla="*/ 164 h 1138"/>
                <a:gd name="T46" fmla="*/ 291 w 612"/>
                <a:gd name="T47" fmla="*/ 136 h 1138"/>
                <a:gd name="T48" fmla="*/ 264 w 612"/>
                <a:gd name="T49" fmla="*/ 112 h 1138"/>
                <a:gd name="T50" fmla="*/ 237 w 612"/>
                <a:gd name="T51" fmla="*/ 89 h 1138"/>
                <a:gd name="T52" fmla="*/ 209 w 612"/>
                <a:gd name="T53" fmla="*/ 68 h 1138"/>
                <a:gd name="T54" fmla="*/ 181 w 612"/>
                <a:gd name="T55" fmla="*/ 51 h 1138"/>
                <a:gd name="T56" fmla="*/ 152 w 612"/>
                <a:gd name="T57" fmla="*/ 35 h 1138"/>
                <a:gd name="T58" fmla="*/ 123 w 612"/>
                <a:gd name="T59" fmla="*/ 23 h 1138"/>
                <a:gd name="T60" fmla="*/ 92 w 612"/>
                <a:gd name="T61" fmla="*/ 12 h 1138"/>
                <a:gd name="T62" fmla="*/ 62 w 612"/>
                <a:gd name="T63" fmla="*/ 5 h 1138"/>
                <a:gd name="T64" fmla="*/ 30 w 612"/>
                <a:gd name="T65" fmla="*/ 1 h 1138"/>
                <a:gd name="T66" fmla="*/ 14 w 612"/>
                <a:gd name="T67" fmla="*/ 0 h 1138"/>
                <a:gd name="T68" fmla="*/ 0 w 612"/>
                <a:gd name="T69" fmla="*/ 0 h 1138"/>
                <a:gd name="T70" fmla="*/ 0 w 612"/>
                <a:gd name="T71" fmla="*/ 1138 h 1138"/>
                <a:gd name="T72" fmla="*/ 612 w 612"/>
                <a:gd name="T73" fmla="*/ 1138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2" h="1138">
                  <a:moveTo>
                    <a:pt x="612" y="1138"/>
                  </a:moveTo>
                  <a:lnTo>
                    <a:pt x="612" y="1138"/>
                  </a:lnTo>
                  <a:lnTo>
                    <a:pt x="612" y="1080"/>
                  </a:lnTo>
                  <a:lnTo>
                    <a:pt x="609" y="1021"/>
                  </a:lnTo>
                  <a:lnTo>
                    <a:pt x="604" y="964"/>
                  </a:lnTo>
                  <a:lnTo>
                    <a:pt x="600" y="908"/>
                  </a:lnTo>
                  <a:lnTo>
                    <a:pt x="592" y="853"/>
                  </a:lnTo>
                  <a:lnTo>
                    <a:pt x="585" y="799"/>
                  </a:lnTo>
                  <a:lnTo>
                    <a:pt x="575" y="746"/>
                  </a:lnTo>
                  <a:lnTo>
                    <a:pt x="564" y="695"/>
                  </a:lnTo>
                  <a:lnTo>
                    <a:pt x="552" y="645"/>
                  </a:lnTo>
                  <a:lnTo>
                    <a:pt x="539" y="595"/>
                  </a:lnTo>
                  <a:lnTo>
                    <a:pt x="523" y="547"/>
                  </a:lnTo>
                  <a:lnTo>
                    <a:pt x="507" y="501"/>
                  </a:lnTo>
                  <a:lnTo>
                    <a:pt x="490" y="457"/>
                  </a:lnTo>
                  <a:lnTo>
                    <a:pt x="472" y="414"/>
                  </a:lnTo>
                  <a:lnTo>
                    <a:pt x="453" y="373"/>
                  </a:lnTo>
                  <a:lnTo>
                    <a:pt x="433" y="333"/>
                  </a:lnTo>
                  <a:lnTo>
                    <a:pt x="412" y="295"/>
                  </a:lnTo>
                  <a:lnTo>
                    <a:pt x="389" y="259"/>
                  </a:lnTo>
                  <a:lnTo>
                    <a:pt x="365" y="225"/>
                  </a:lnTo>
                  <a:lnTo>
                    <a:pt x="342" y="194"/>
                  </a:lnTo>
                  <a:lnTo>
                    <a:pt x="317" y="164"/>
                  </a:lnTo>
                  <a:lnTo>
                    <a:pt x="291" y="136"/>
                  </a:lnTo>
                  <a:lnTo>
                    <a:pt x="264" y="112"/>
                  </a:lnTo>
                  <a:lnTo>
                    <a:pt x="237" y="89"/>
                  </a:lnTo>
                  <a:lnTo>
                    <a:pt x="209" y="68"/>
                  </a:lnTo>
                  <a:lnTo>
                    <a:pt x="181" y="51"/>
                  </a:lnTo>
                  <a:lnTo>
                    <a:pt x="152" y="35"/>
                  </a:lnTo>
                  <a:lnTo>
                    <a:pt x="123" y="23"/>
                  </a:lnTo>
                  <a:lnTo>
                    <a:pt x="92" y="12"/>
                  </a:lnTo>
                  <a:lnTo>
                    <a:pt x="62" y="5"/>
                  </a:lnTo>
                  <a:lnTo>
                    <a:pt x="30" y="1"/>
                  </a:lnTo>
                  <a:lnTo>
                    <a:pt x="14" y="0"/>
                  </a:lnTo>
                  <a:lnTo>
                    <a:pt x="0" y="0"/>
                  </a:lnTo>
                  <a:lnTo>
                    <a:pt x="0" y="1138"/>
                  </a:lnTo>
                  <a:lnTo>
                    <a:pt x="612" y="113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61" name="Freeform 1289"/>
            <p:cNvSpPr>
              <a:spLocks/>
            </p:cNvSpPr>
            <p:nvPr/>
          </p:nvSpPr>
          <p:spPr bwMode="auto">
            <a:xfrm>
              <a:off x="4131462" y="-933446"/>
              <a:ext cx="233362" cy="432574"/>
            </a:xfrm>
            <a:custGeom>
              <a:avLst/>
              <a:gdLst>
                <a:gd name="T0" fmla="*/ 613 w 613"/>
                <a:gd name="T1" fmla="*/ 0 h 1138"/>
                <a:gd name="T2" fmla="*/ 613 w 613"/>
                <a:gd name="T3" fmla="*/ 0 h 1138"/>
                <a:gd name="T4" fmla="*/ 597 w 613"/>
                <a:gd name="T5" fmla="*/ 0 h 1138"/>
                <a:gd name="T6" fmla="*/ 581 w 613"/>
                <a:gd name="T7" fmla="*/ 1 h 1138"/>
                <a:gd name="T8" fmla="*/ 549 w 613"/>
                <a:gd name="T9" fmla="*/ 5 h 1138"/>
                <a:gd name="T10" fmla="*/ 519 w 613"/>
                <a:gd name="T11" fmla="*/ 12 h 1138"/>
                <a:gd name="T12" fmla="*/ 488 w 613"/>
                <a:gd name="T13" fmla="*/ 23 h 1138"/>
                <a:gd name="T14" fmla="*/ 459 w 613"/>
                <a:gd name="T15" fmla="*/ 35 h 1138"/>
                <a:gd name="T16" fmla="*/ 430 w 613"/>
                <a:gd name="T17" fmla="*/ 51 h 1138"/>
                <a:gd name="T18" fmla="*/ 402 w 613"/>
                <a:gd name="T19" fmla="*/ 68 h 1138"/>
                <a:gd name="T20" fmla="*/ 374 w 613"/>
                <a:gd name="T21" fmla="*/ 89 h 1138"/>
                <a:gd name="T22" fmla="*/ 347 w 613"/>
                <a:gd name="T23" fmla="*/ 112 h 1138"/>
                <a:gd name="T24" fmla="*/ 320 w 613"/>
                <a:gd name="T25" fmla="*/ 136 h 1138"/>
                <a:gd name="T26" fmla="*/ 295 w 613"/>
                <a:gd name="T27" fmla="*/ 164 h 1138"/>
                <a:gd name="T28" fmla="*/ 269 w 613"/>
                <a:gd name="T29" fmla="*/ 194 h 1138"/>
                <a:gd name="T30" fmla="*/ 246 w 613"/>
                <a:gd name="T31" fmla="*/ 225 h 1138"/>
                <a:gd name="T32" fmla="*/ 223 w 613"/>
                <a:gd name="T33" fmla="*/ 259 h 1138"/>
                <a:gd name="T34" fmla="*/ 199 w 613"/>
                <a:gd name="T35" fmla="*/ 295 h 1138"/>
                <a:gd name="T36" fmla="*/ 179 w 613"/>
                <a:gd name="T37" fmla="*/ 333 h 1138"/>
                <a:gd name="T38" fmla="*/ 158 w 613"/>
                <a:gd name="T39" fmla="*/ 373 h 1138"/>
                <a:gd name="T40" fmla="*/ 140 w 613"/>
                <a:gd name="T41" fmla="*/ 414 h 1138"/>
                <a:gd name="T42" fmla="*/ 121 w 613"/>
                <a:gd name="T43" fmla="*/ 457 h 1138"/>
                <a:gd name="T44" fmla="*/ 104 w 613"/>
                <a:gd name="T45" fmla="*/ 501 h 1138"/>
                <a:gd name="T46" fmla="*/ 89 w 613"/>
                <a:gd name="T47" fmla="*/ 547 h 1138"/>
                <a:gd name="T48" fmla="*/ 73 w 613"/>
                <a:gd name="T49" fmla="*/ 595 h 1138"/>
                <a:gd name="T50" fmla="*/ 59 w 613"/>
                <a:gd name="T51" fmla="*/ 645 h 1138"/>
                <a:gd name="T52" fmla="*/ 47 w 613"/>
                <a:gd name="T53" fmla="*/ 695 h 1138"/>
                <a:gd name="T54" fmla="*/ 36 w 613"/>
                <a:gd name="T55" fmla="*/ 746 h 1138"/>
                <a:gd name="T56" fmla="*/ 26 w 613"/>
                <a:gd name="T57" fmla="*/ 799 h 1138"/>
                <a:gd name="T58" fmla="*/ 19 w 613"/>
                <a:gd name="T59" fmla="*/ 853 h 1138"/>
                <a:gd name="T60" fmla="*/ 12 w 613"/>
                <a:gd name="T61" fmla="*/ 908 h 1138"/>
                <a:gd name="T62" fmla="*/ 7 w 613"/>
                <a:gd name="T63" fmla="*/ 964 h 1138"/>
                <a:gd name="T64" fmla="*/ 2 w 613"/>
                <a:gd name="T65" fmla="*/ 1021 h 1138"/>
                <a:gd name="T66" fmla="*/ 0 w 613"/>
                <a:gd name="T67" fmla="*/ 1080 h 1138"/>
                <a:gd name="T68" fmla="*/ 0 w 613"/>
                <a:gd name="T69" fmla="*/ 1138 h 1138"/>
                <a:gd name="T70" fmla="*/ 613 w 613"/>
                <a:gd name="T71" fmla="*/ 1138 h 1138"/>
                <a:gd name="T72" fmla="*/ 613 w 613"/>
                <a:gd name="T73" fmla="*/ 0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3" h="1138">
                  <a:moveTo>
                    <a:pt x="613" y="0"/>
                  </a:moveTo>
                  <a:lnTo>
                    <a:pt x="613" y="0"/>
                  </a:lnTo>
                  <a:lnTo>
                    <a:pt x="597" y="0"/>
                  </a:lnTo>
                  <a:lnTo>
                    <a:pt x="581" y="1"/>
                  </a:lnTo>
                  <a:lnTo>
                    <a:pt x="549" y="5"/>
                  </a:lnTo>
                  <a:lnTo>
                    <a:pt x="519" y="12"/>
                  </a:lnTo>
                  <a:lnTo>
                    <a:pt x="488" y="23"/>
                  </a:lnTo>
                  <a:lnTo>
                    <a:pt x="459" y="35"/>
                  </a:lnTo>
                  <a:lnTo>
                    <a:pt x="430" y="51"/>
                  </a:lnTo>
                  <a:lnTo>
                    <a:pt x="402" y="68"/>
                  </a:lnTo>
                  <a:lnTo>
                    <a:pt x="374" y="89"/>
                  </a:lnTo>
                  <a:lnTo>
                    <a:pt x="347" y="112"/>
                  </a:lnTo>
                  <a:lnTo>
                    <a:pt x="320" y="136"/>
                  </a:lnTo>
                  <a:lnTo>
                    <a:pt x="295" y="164"/>
                  </a:lnTo>
                  <a:lnTo>
                    <a:pt x="269" y="194"/>
                  </a:lnTo>
                  <a:lnTo>
                    <a:pt x="246" y="225"/>
                  </a:lnTo>
                  <a:lnTo>
                    <a:pt x="223" y="259"/>
                  </a:lnTo>
                  <a:lnTo>
                    <a:pt x="199" y="295"/>
                  </a:lnTo>
                  <a:lnTo>
                    <a:pt x="179" y="333"/>
                  </a:lnTo>
                  <a:lnTo>
                    <a:pt x="158" y="373"/>
                  </a:lnTo>
                  <a:lnTo>
                    <a:pt x="140" y="414"/>
                  </a:lnTo>
                  <a:lnTo>
                    <a:pt x="121" y="457"/>
                  </a:lnTo>
                  <a:lnTo>
                    <a:pt x="104" y="501"/>
                  </a:lnTo>
                  <a:lnTo>
                    <a:pt x="89" y="547"/>
                  </a:lnTo>
                  <a:lnTo>
                    <a:pt x="73" y="595"/>
                  </a:lnTo>
                  <a:lnTo>
                    <a:pt x="59" y="645"/>
                  </a:lnTo>
                  <a:lnTo>
                    <a:pt x="47" y="695"/>
                  </a:lnTo>
                  <a:lnTo>
                    <a:pt x="36" y="746"/>
                  </a:lnTo>
                  <a:lnTo>
                    <a:pt x="26" y="799"/>
                  </a:lnTo>
                  <a:lnTo>
                    <a:pt x="19" y="853"/>
                  </a:lnTo>
                  <a:lnTo>
                    <a:pt x="12" y="908"/>
                  </a:lnTo>
                  <a:lnTo>
                    <a:pt x="7" y="964"/>
                  </a:lnTo>
                  <a:lnTo>
                    <a:pt x="2" y="1021"/>
                  </a:lnTo>
                  <a:lnTo>
                    <a:pt x="0" y="1080"/>
                  </a:lnTo>
                  <a:lnTo>
                    <a:pt x="0" y="1138"/>
                  </a:lnTo>
                  <a:lnTo>
                    <a:pt x="613" y="1138"/>
                  </a:lnTo>
                  <a:lnTo>
                    <a:pt x="613"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62" name="Freeform 1290"/>
            <p:cNvSpPr>
              <a:spLocks/>
            </p:cNvSpPr>
            <p:nvPr/>
          </p:nvSpPr>
          <p:spPr bwMode="auto">
            <a:xfrm>
              <a:off x="3831696" y="-500872"/>
              <a:ext cx="1064358" cy="55021"/>
            </a:xfrm>
            <a:custGeom>
              <a:avLst/>
              <a:gdLst>
                <a:gd name="T0" fmla="*/ 2656 w 2803"/>
                <a:gd name="T1" fmla="*/ 0 h 147"/>
                <a:gd name="T2" fmla="*/ 146 w 2803"/>
                <a:gd name="T3" fmla="*/ 0 h 147"/>
                <a:gd name="T4" fmla="*/ 146 w 2803"/>
                <a:gd name="T5" fmla="*/ 0 h 147"/>
                <a:gd name="T6" fmla="*/ 131 w 2803"/>
                <a:gd name="T7" fmla="*/ 0 h 147"/>
                <a:gd name="T8" fmla="*/ 117 w 2803"/>
                <a:gd name="T9" fmla="*/ 3 h 147"/>
                <a:gd name="T10" fmla="*/ 103 w 2803"/>
                <a:gd name="T11" fmla="*/ 6 h 147"/>
                <a:gd name="T12" fmla="*/ 90 w 2803"/>
                <a:gd name="T13" fmla="*/ 11 h 147"/>
                <a:gd name="T14" fmla="*/ 77 w 2803"/>
                <a:gd name="T15" fmla="*/ 17 h 147"/>
                <a:gd name="T16" fmla="*/ 64 w 2803"/>
                <a:gd name="T17" fmla="*/ 25 h 147"/>
                <a:gd name="T18" fmla="*/ 53 w 2803"/>
                <a:gd name="T19" fmla="*/ 33 h 147"/>
                <a:gd name="T20" fmla="*/ 42 w 2803"/>
                <a:gd name="T21" fmla="*/ 43 h 147"/>
                <a:gd name="T22" fmla="*/ 34 w 2803"/>
                <a:gd name="T23" fmla="*/ 53 h 147"/>
                <a:gd name="T24" fmla="*/ 25 w 2803"/>
                <a:gd name="T25" fmla="*/ 65 h 147"/>
                <a:gd name="T26" fmla="*/ 18 w 2803"/>
                <a:gd name="T27" fmla="*/ 76 h 147"/>
                <a:gd name="T28" fmla="*/ 12 w 2803"/>
                <a:gd name="T29" fmla="*/ 89 h 147"/>
                <a:gd name="T30" fmla="*/ 7 w 2803"/>
                <a:gd name="T31" fmla="*/ 103 h 147"/>
                <a:gd name="T32" fmla="*/ 3 w 2803"/>
                <a:gd name="T33" fmla="*/ 116 h 147"/>
                <a:gd name="T34" fmla="*/ 1 w 2803"/>
                <a:gd name="T35" fmla="*/ 131 h 147"/>
                <a:gd name="T36" fmla="*/ 0 w 2803"/>
                <a:gd name="T37" fmla="*/ 147 h 147"/>
                <a:gd name="T38" fmla="*/ 2803 w 2803"/>
                <a:gd name="T39" fmla="*/ 147 h 147"/>
                <a:gd name="T40" fmla="*/ 2803 w 2803"/>
                <a:gd name="T41" fmla="*/ 147 h 147"/>
                <a:gd name="T42" fmla="*/ 2801 w 2803"/>
                <a:gd name="T43" fmla="*/ 131 h 147"/>
                <a:gd name="T44" fmla="*/ 2799 w 2803"/>
                <a:gd name="T45" fmla="*/ 116 h 147"/>
                <a:gd name="T46" fmla="*/ 2795 w 2803"/>
                <a:gd name="T47" fmla="*/ 103 h 147"/>
                <a:gd name="T48" fmla="*/ 2790 w 2803"/>
                <a:gd name="T49" fmla="*/ 89 h 147"/>
                <a:gd name="T50" fmla="*/ 2784 w 2803"/>
                <a:gd name="T51" fmla="*/ 76 h 147"/>
                <a:gd name="T52" fmla="*/ 2777 w 2803"/>
                <a:gd name="T53" fmla="*/ 65 h 147"/>
                <a:gd name="T54" fmla="*/ 2768 w 2803"/>
                <a:gd name="T55" fmla="*/ 53 h 147"/>
                <a:gd name="T56" fmla="*/ 2760 w 2803"/>
                <a:gd name="T57" fmla="*/ 43 h 147"/>
                <a:gd name="T58" fmla="*/ 2749 w 2803"/>
                <a:gd name="T59" fmla="*/ 33 h 147"/>
                <a:gd name="T60" fmla="*/ 2738 w 2803"/>
                <a:gd name="T61" fmla="*/ 25 h 147"/>
                <a:gd name="T62" fmla="*/ 2726 w 2803"/>
                <a:gd name="T63" fmla="*/ 17 h 147"/>
                <a:gd name="T64" fmla="*/ 2714 w 2803"/>
                <a:gd name="T65" fmla="*/ 11 h 147"/>
                <a:gd name="T66" fmla="*/ 2699 w 2803"/>
                <a:gd name="T67" fmla="*/ 6 h 147"/>
                <a:gd name="T68" fmla="*/ 2685 w 2803"/>
                <a:gd name="T69" fmla="*/ 3 h 147"/>
                <a:gd name="T70" fmla="*/ 2671 w 2803"/>
                <a:gd name="T71" fmla="*/ 0 h 147"/>
                <a:gd name="T72" fmla="*/ 2656 w 2803"/>
                <a:gd name="T73" fmla="*/ 0 h 147"/>
                <a:gd name="T74" fmla="*/ 2656 w 2803"/>
                <a:gd name="T75"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03" h="147">
                  <a:moveTo>
                    <a:pt x="2656" y="0"/>
                  </a:moveTo>
                  <a:lnTo>
                    <a:pt x="146" y="0"/>
                  </a:lnTo>
                  <a:lnTo>
                    <a:pt x="146" y="0"/>
                  </a:lnTo>
                  <a:lnTo>
                    <a:pt x="131" y="0"/>
                  </a:lnTo>
                  <a:lnTo>
                    <a:pt x="117" y="3"/>
                  </a:lnTo>
                  <a:lnTo>
                    <a:pt x="103" y="6"/>
                  </a:lnTo>
                  <a:lnTo>
                    <a:pt x="90" y="11"/>
                  </a:lnTo>
                  <a:lnTo>
                    <a:pt x="77" y="17"/>
                  </a:lnTo>
                  <a:lnTo>
                    <a:pt x="64" y="25"/>
                  </a:lnTo>
                  <a:lnTo>
                    <a:pt x="53" y="33"/>
                  </a:lnTo>
                  <a:lnTo>
                    <a:pt x="42" y="43"/>
                  </a:lnTo>
                  <a:lnTo>
                    <a:pt x="34" y="53"/>
                  </a:lnTo>
                  <a:lnTo>
                    <a:pt x="25" y="65"/>
                  </a:lnTo>
                  <a:lnTo>
                    <a:pt x="18" y="76"/>
                  </a:lnTo>
                  <a:lnTo>
                    <a:pt x="12" y="89"/>
                  </a:lnTo>
                  <a:lnTo>
                    <a:pt x="7" y="103"/>
                  </a:lnTo>
                  <a:lnTo>
                    <a:pt x="3" y="116"/>
                  </a:lnTo>
                  <a:lnTo>
                    <a:pt x="1" y="131"/>
                  </a:lnTo>
                  <a:lnTo>
                    <a:pt x="0" y="147"/>
                  </a:lnTo>
                  <a:lnTo>
                    <a:pt x="2803" y="147"/>
                  </a:lnTo>
                  <a:lnTo>
                    <a:pt x="2803" y="147"/>
                  </a:lnTo>
                  <a:lnTo>
                    <a:pt x="2801" y="131"/>
                  </a:lnTo>
                  <a:lnTo>
                    <a:pt x="2799" y="116"/>
                  </a:lnTo>
                  <a:lnTo>
                    <a:pt x="2795" y="103"/>
                  </a:lnTo>
                  <a:lnTo>
                    <a:pt x="2790" y="89"/>
                  </a:lnTo>
                  <a:lnTo>
                    <a:pt x="2784" y="76"/>
                  </a:lnTo>
                  <a:lnTo>
                    <a:pt x="2777" y="65"/>
                  </a:lnTo>
                  <a:lnTo>
                    <a:pt x="2768" y="53"/>
                  </a:lnTo>
                  <a:lnTo>
                    <a:pt x="2760" y="43"/>
                  </a:lnTo>
                  <a:lnTo>
                    <a:pt x="2749" y="33"/>
                  </a:lnTo>
                  <a:lnTo>
                    <a:pt x="2738" y="25"/>
                  </a:lnTo>
                  <a:lnTo>
                    <a:pt x="2726" y="17"/>
                  </a:lnTo>
                  <a:lnTo>
                    <a:pt x="2714" y="11"/>
                  </a:lnTo>
                  <a:lnTo>
                    <a:pt x="2699" y="6"/>
                  </a:lnTo>
                  <a:lnTo>
                    <a:pt x="2685" y="3"/>
                  </a:lnTo>
                  <a:lnTo>
                    <a:pt x="2671" y="0"/>
                  </a:lnTo>
                  <a:lnTo>
                    <a:pt x="2656" y="0"/>
                  </a:lnTo>
                  <a:lnTo>
                    <a:pt x="2656"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63" name="Rectangle 1291"/>
            <p:cNvSpPr>
              <a:spLocks noChangeArrowheads="1"/>
            </p:cNvSpPr>
            <p:nvPr/>
          </p:nvSpPr>
          <p:spPr bwMode="auto">
            <a:xfrm>
              <a:off x="4175099" y="-572966"/>
              <a:ext cx="70199" cy="379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64" name="Rectangle 1292"/>
            <p:cNvSpPr>
              <a:spLocks noChangeArrowheads="1"/>
            </p:cNvSpPr>
            <p:nvPr/>
          </p:nvSpPr>
          <p:spPr bwMode="auto">
            <a:xfrm>
              <a:off x="4269962" y="-572966"/>
              <a:ext cx="34150" cy="379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65" name="Freeform 1293"/>
            <p:cNvSpPr>
              <a:spLocks/>
            </p:cNvSpPr>
            <p:nvPr/>
          </p:nvSpPr>
          <p:spPr bwMode="auto">
            <a:xfrm>
              <a:off x="4269962" y="-664036"/>
              <a:ext cx="56917" cy="56917"/>
            </a:xfrm>
            <a:custGeom>
              <a:avLst/>
              <a:gdLst>
                <a:gd name="T0" fmla="*/ 151 w 151"/>
                <a:gd name="T1" fmla="*/ 75 h 150"/>
                <a:gd name="T2" fmla="*/ 151 w 151"/>
                <a:gd name="T3" fmla="*/ 75 h 150"/>
                <a:gd name="T4" fmla="*/ 151 w 151"/>
                <a:gd name="T5" fmla="*/ 83 h 150"/>
                <a:gd name="T6" fmla="*/ 150 w 151"/>
                <a:gd name="T7" fmla="*/ 90 h 150"/>
                <a:gd name="T8" fmla="*/ 147 w 151"/>
                <a:gd name="T9" fmla="*/ 98 h 150"/>
                <a:gd name="T10" fmla="*/ 145 w 151"/>
                <a:gd name="T11" fmla="*/ 104 h 150"/>
                <a:gd name="T12" fmla="*/ 138 w 151"/>
                <a:gd name="T13" fmla="*/ 117 h 150"/>
                <a:gd name="T14" fmla="*/ 129 w 151"/>
                <a:gd name="T15" fmla="*/ 128 h 150"/>
                <a:gd name="T16" fmla="*/ 118 w 151"/>
                <a:gd name="T17" fmla="*/ 138 h 150"/>
                <a:gd name="T18" fmla="*/ 105 w 151"/>
                <a:gd name="T19" fmla="*/ 144 h 150"/>
                <a:gd name="T20" fmla="*/ 99 w 151"/>
                <a:gd name="T21" fmla="*/ 147 h 150"/>
                <a:gd name="T22" fmla="*/ 91 w 151"/>
                <a:gd name="T23" fmla="*/ 149 h 150"/>
                <a:gd name="T24" fmla="*/ 83 w 151"/>
                <a:gd name="T25" fmla="*/ 150 h 150"/>
                <a:gd name="T26" fmla="*/ 75 w 151"/>
                <a:gd name="T27" fmla="*/ 150 h 150"/>
                <a:gd name="T28" fmla="*/ 75 w 151"/>
                <a:gd name="T29" fmla="*/ 150 h 150"/>
                <a:gd name="T30" fmla="*/ 68 w 151"/>
                <a:gd name="T31" fmla="*/ 150 h 150"/>
                <a:gd name="T32" fmla="*/ 61 w 151"/>
                <a:gd name="T33" fmla="*/ 149 h 150"/>
                <a:gd name="T34" fmla="*/ 53 w 151"/>
                <a:gd name="T35" fmla="*/ 147 h 150"/>
                <a:gd name="T36" fmla="*/ 46 w 151"/>
                <a:gd name="T37" fmla="*/ 144 h 150"/>
                <a:gd name="T38" fmla="*/ 34 w 151"/>
                <a:gd name="T39" fmla="*/ 138 h 150"/>
                <a:gd name="T40" fmla="*/ 23 w 151"/>
                <a:gd name="T41" fmla="*/ 128 h 150"/>
                <a:gd name="T42" fmla="*/ 13 w 151"/>
                <a:gd name="T43" fmla="*/ 117 h 150"/>
                <a:gd name="T44" fmla="*/ 6 w 151"/>
                <a:gd name="T45" fmla="*/ 104 h 150"/>
                <a:gd name="T46" fmla="*/ 3 w 151"/>
                <a:gd name="T47" fmla="*/ 98 h 150"/>
                <a:gd name="T48" fmla="*/ 2 w 151"/>
                <a:gd name="T49" fmla="*/ 90 h 150"/>
                <a:gd name="T50" fmla="*/ 1 w 151"/>
                <a:gd name="T51" fmla="*/ 83 h 150"/>
                <a:gd name="T52" fmla="*/ 0 w 151"/>
                <a:gd name="T53" fmla="*/ 75 h 150"/>
                <a:gd name="T54" fmla="*/ 0 w 151"/>
                <a:gd name="T55" fmla="*/ 75 h 150"/>
                <a:gd name="T56" fmla="*/ 1 w 151"/>
                <a:gd name="T57" fmla="*/ 67 h 150"/>
                <a:gd name="T58" fmla="*/ 2 w 151"/>
                <a:gd name="T59" fmla="*/ 60 h 150"/>
                <a:gd name="T60" fmla="*/ 3 w 151"/>
                <a:gd name="T61" fmla="*/ 53 h 150"/>
                <a:gd name="T62" fmla="*/ 6 w 151"/>
                <a:gd name="T63" fmla="*/ 45 h 150"/>
                <a:gd name="T64" fmla="*/ 13 w 151"/>
                <a:gd name="T65" fmla="*/ 33 h 150"/>
                <a:gd name="T66" fmla="*/ 23 w 151"/>
                <a:gd name="T67" fmla="*/ 22 h 150"/>
                <a:gd name="T68" fmla="*/ 34 w 151"/>
                <a:gd name="T69" fmla="*/ 12 h 150"/>
                <a:gd name="T70" fmla="*/ 46 w 151"/>
                <a:gd name="T71" fmla="*/ 6 h 150"/>
                <a:gd name="T72" fmla="*/ 53 w 151"/>
                <a:gd name="T73" fmla="*/ 3 h 150"/>
                <a:gd name="T74" fmla="*/ 61 w 151"/>
                <a:gd name="T75" fmla="*/ 1 h 150"/>
                <a:gd name="T76" fmla="*/ 68 w 151"/>
                <a:gd name="T77" fmla="*/ 0 h 150"/>
                <a:gd name="T78" fmla="*/ 75 w 151"/>
                <a:gd name="T79" fmla="*/ 0 h 150"/>
                <a:gd name="T80" fmla="*/ 75 w 151"/>
                <a:gd name="T81" fmla="*/ 0 h 150"/>
                <a:gd name="T82" fmla="*/ 83 w 151"/>
                <a:gd name="T83" fmla="*/ 0 h 150"/>
                <a:gd name="T84" fmla="*/ 91 w 151"/>
                <a:gd name="T85" fmla="*/ 1 h 150"/>
                <a:gd name="T86" fmla="*/ 99 w 151"/>
                <a:gd name="T87" fmla="*/ 3 h 150"/>
                <a:gd name="T88" fmla="*/ 105 w 151"/>
                <a:gd name="T89" fmla="*/ 6 h 150"/>
                <a:gd name="T90" fmla="*/ 118 w 151"/>
                <a:gd name="T91" fmla="*/ 12 h 150"/>
                <a:gd name="T92" fmla="*/ 129 w 151"/>
                <a:gd name="T93" fmla="*/ 22 h 150"/>
                <a:gd name="T94" fmla="*/ 138 w 151"/>
                <a:gd name="T95" fmla="*/ 33 h 150"/>
                <a:gd name="T96" fmla="*/ 145 w 151"/>
                <a:gd name="T97" fmla="*/ 45 h 150"/>
                <a:gd name="T98" fmla="*/ 147 w 151"/>
                <a:gd name="T99" fmla="*/ 53 h 150"/>
                <a:gd name="T100" fmla="*/ 150 w 151"/>
                <a:gd name="T101" fmla="*/ 60 h 150"/>
                <a:gd name="T102" fmla="*/ 151 w 151"/>
                <a:gd name="T103" fmla="*/ 67 h 150"/>
                <a:gd name="T104" fmla="*/ 151 w 151"/>
                <a:gd name="T105" fmla="*/ 75 h 150"/>
                <a:gd name="T106" fmla="*/ 151 w 151"/>
                <a:gd name="T107"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1" h="150">
                  <a:moveTo>
                    <a:pt x="151" y="75"/>
                  </a:moveTo>
                  <a:lnTo>
                    <a:pt x="151" y="75"/>
                  </a:lnTo>
                  <a:lnTo>
                    <a:pt x="151" y="83"/>
                  </a:lnTo>
                  <a:lnTo>
                    <a:pt x="150" y="90"/>
                  </a:lnTo>
                  <a:lnTo>
                    <a:pt x="147" y="98"/>
                  </a:lnTo>
                  <a:lnTo>
                    <a:pt x="145" y="104"/>
                  </a:lnTo>
                  <a:lnTo>
                    <a:pt x="138" y="117"/>
                  </a:lnTo>
                  <a:lnTo>
                    <a:pt x="129" y="128"/>
                  </a:lnTo>
                  <a:lnTo>
                    <a:pt x="118" y="138"/>
                  </a:lnTo>
                  <a:lnTo>
                    <a:pt x="105" y="144"/>
                  </a:lnTo>
                  <a:lnTo>
                    <a:pt x="99" y="147"/>
                  </a:lnTo>
                  <a:lnTo>
                    <a:pt x="91" y="149"/>
                  </a:lnTo>
                  <a:lnTo>
                    <a:pt x="83" y="150"/>
                  </a:lnTo>
                  <a:lnTo>
                    <a:pt x="75" y="150"/>
                  </a:lnTo>
                  <a:lnTo>
                    <a:pt x="75" y="150"/>
                  </a:lnTo>
                  <a:lnTo>
                    <a:pt x="68" y="150"/>
                  </a:lnTo>
                  <a:lnTo>
                    <a:pt x="61" y="149"/>
                  </a:lnTo>
                  <a:lnTo>
                    <a:pt x="53" y="147"/>
                  </a:lnTo>
                  <a:lnTo>
                    <a:pt x="46" y="144"/>
                  </a:lnTo>
                  <a:lnTo>
                    <a:pt x="34" y="138"/>
                  </a:lnTo>
                  <a:lnTo>
                    <a:pt x="23" y="128"/>
                  </a:lnTo>
                  <a:lnTo>
                    <a:pt x="13" y="117"/>
                  </a:lnTo>
                  <a:lnTo>
                    <a:pt x="6" y="104"/>
                  </a:lnTo>
                  <a:lnTo>
                    <a:pt x="3" y="98"/>
                  </a:lnTo>
                  <a:lnTo>
                    <a:pt x="2" y="90"/>
                  </a:lnTo>
                  <a:lnTo>
                    <a:pt x="1" y="83"/>
                  </a:lnTo>
                  <a:lnTo>
                    <a:pt x="0" y="75"/>
                  </a:lnTo>
                  <a:lnTo>
                    <a:pt x="0" y="75"/>
                  </a:lnTo>
                  <a:lnTo>
                    <a:pt x="1" y="67"/>
                  </a:lnTo>
                  <a:lnTo>
                    <a:pt x="2" y="60"/>
                  </a:lnTo>
                  <a:lnTo>
                    <a:pt x="3" y="53"/>
                  </a:lnTo>
                  <a:lnTo>
                    <a:pt x="6" y="45"/>
                  </a:lnTo>
                  <a:lnTo>
                    <a:pt x="13" y="33"/>
                  </a:lnTo>
                  <a:lnTo>
                    <a:pt x="23" y="22"/>
                  </a:lnTo>
                  <a:lnTo>
                    <a:pt x="34" y="12"/>
                  </a:lnTo>
                  <a:lnTo>
                    <a:pt x="46" y="6"/>
                  </a:lnTo>
                  <a:lnTo>
                    <a:pt x="53" y="3"/>
                  </a:lnTo>
                  <a:lnTo>
                    <a:pt x="61" y="1"/>
                  </a:lnTo>
                  <a:lnTo>
                    <a:pt x="68" y="0"/>
                  </a:lnTo>
                  <a:lnTo>
                    <a:pt x="75" y="0"/>
                  </a:lnTo>
                  <a:lnTo>
                    <a:pt x="75" y="0"/>
                  </a:lnTo>
                  <a:lnTo>
                    <a:pt x="83" y="0"/>
                  </a:lnTo>
                  <a:lnTo>
                    <a:pt x="91" y="1"/>
                  </a:lnTo>
                  <a:lnTo>
                    <a:pt x="99" y="3"/>
                  </a:lnTo>
                  <a:lnTo>
                    <a:pt x="105" y="6"/>
                  </a:lnTo>
                  <a:lnTo>
                    <a:pt x="118" y="12"/>
                  </a:lnTo>
                  <a:lnTo>
                    <a:pt x="129" y="22"/>
                  </a:lnTo>
                  <a:lnTo>
                    <a:pt x="138" y="33"/>
                  </a:lnTo>
                  <a:lnTo>
                    <a:pt x="145" y="45"/>
                  </a:lnTo>
                  <a:lnTo>
                    <a:pt x="147" y="53"/>
                  </a:lnTo>
                  <a:lnTo>
                    <a:pt x="150" y="60"/>
                  </a:lnTo>
                  <a:lnTo>
                    <a:pt x="151" y="67"/>
                  </a:lnTo>
                  <a:lnTo>
                    <a:pt x="151" y="75"/>
                  </a:lnTo>
                  <a:lnTo>
                    <a:pt x="151" y="75"/>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66" name="Freeform 1294"/>
            <p:cNvSpPr>
              <a:spLocks/>
            </p:cNvSpPr>
            <p:nvPr/>
          </p:nvSpPr>
          <p:spPr bwMode="auto">
            <a:xfrm>
              <a:off x="4269962" y="-745618"/>
              <a:ext cx="56917" cy="56917"/>
            </a:xfrm>
            <a:custGeom>
              <a:avLst/>
              <a:gdLst>
                <a:gd name="T0" fmla="*/ 151 w 151"/>
                <a:gd name="T1" fmla="*/ 76 h 150"/>
                <a:gd name="T2" fmla="*/ 151 w 151"/>
                <a:gd name="T3" fmla="*/ 76 h 150"/>
                <a:gd name="T4" fmla="*/ 151 w 151"/>
                <a:gd name="T5" fmla="*/ 83 h 150"/>
                <a:gd name="T6" fmla="*/ 150 w 151"/>
                <a:gd name="T7" fmla="*/ 91 h 150"/>
                <a:gd name="T8" fmla="*/ 147 w 151"/>
                <a:gd name="T9" fmla="*/ 98 h 150"/>
                <a:gd name="T10" fmla="*/ 145 w 151"/>
                <a:gd name="T11" fmla="*/ 105 h 150"/>
                <a:gd name="T12" fmla="*/ 138 w 151"/>
                <a:gd name="T13" fmla="*/ 117 h 150"/>
                <a:gd name="T14" fmla="*/ 129 w 151"/>
                <a:gd name="T15" fmla="*/ 128 h 150"/>
                <a:gd name="T16" fmla="*/ 118 w 151"/>
                <a:gd name="T17" fmla="*/ 138 h 150"/>
                <a:gd name="T18" fmla="*/ 105 w 151"/>
                <a:gd name="T19" fmla="*/ 144 h 150"/>
                <a:gd name="T20" fmla="*/ 99 w 151"/>
                <a:gd name="T21" fmla="*/ 148 h 150"/>
                <a:gd name="T22" fmla="*/ 91 w 151"/>
                <a:gd name="T23" fmla="*/ 149 h 150"/>
                <a:gd name="T24" fmla="*/ 83 w 151"/>
                <a:gd name="T25" fmla="*/ 150 h 150"/>
                <a:gd name="T26" fmla="*/ 75 w 151"/>
                <a:gd name="T27" fmla="*/ 150 h 150"/>
                <a:gd name="T28" fmla="*/ 75 w 151"/>
                <a:gd name="T29" fmla="*/ 150 h 150"/>
                <a:gd name="T30" fmla="*/ 68 w 151"/>
                <a:gd name="T31" fmla="*/ 150 h 150"/>
                <a:gd name="T32" fmla="*/ 61 w 151"/>
                <a:gd name="T33" fmla="*/ 149 h 150"/>
                <a:gd name="T34" fmla="*/ 53 w 151"/>
                <a:gd name="T35" fmla="*/ 148 h 150"/>
                <a:gd name="T36" fmla="*/ 46 w 151"/>
                <a:gd name="T37" fmla="*/ 144 h 150"/>
                <a:gd name="T38" fmla="*/ 34 w 151"/>
                <a:gd name="T39" fmla="*/ 138 h 150"/>
                <a:gd name="T40" fmla="*/ 23 w 151"/>
                <a:gd name="T41" fmla="*/ 128 h 150"/>
                <a:gd name="T42" fmla="*/ 13 w 151"/>
                <a:gd name="T43" fmla="*/ 117 h 150"/>
                <a:gd name="T44" fmla="*/ 6 w 151"/>
                <a:gd name="T45" fmla="*/ 105 h 150"/>
                <a:gd name="T46" fmla="*/ 3 w 151"/>
                <a:gd name="T47" fmla="*/ 98 h 150"/>
                <a:gd name="T48" fmla="*/ 2 w 151"/>
                <a:gd name="T49" fmla="*/ 91 h 150"/>
                <a:gd name="T50" fmla="*/ 1 w 151"/>
                <a:gd name="T51" fmla="*/ 83 h 150"/>
                <a:gd name="T52" fmla="*/ 0 w 151"/>
                <a:gd name="T53" fmla="*/ 76 h 150"/>
                <a:gd name="T54" fmla="*/ 0 w 151"/>
                <a:gd name="T55" fmla="*/ 76 h 150"/>
                <a:gd name="T56" fmla="*/ 1 w 151"/>
                <a:gd name="T57" fmla="*/ 68 h 150"/>
                <a:gd name="T58" fmla="*/ 2 w 151"/>
                <a:gd name="T59" fmla="*/ 60 h 150"/>
                <a:gd name="T60" fmla="*/ 3 w 151"/>
                <a:gd name="T61" fmla="*/ 53 h 150"/>
                <a:gd name="T62" fmla="*/ 6 w 151"/>
                <a:gd name="T63" fmla="*/ 47 h 150"/>
                <a:gd name="T64" fmla="*/ 13 w 151"/>
                <a:gd name="T65" fmla="*/ 33 h 150"/>
                <a:gd name="T66" fmla="*/ 23 w 151"/>
                <a:gd name="T67" fmla="*/ 22 h 150"/>
                <a:gd name="T68" fmla="*/ 34 w 151"/>
                <a:gd name="T69" fmla="*/ 13 h 150"/>
                <a:gd name="T70" fmla="*/ 46 w 151"/>
                <a:gd name="T71" fmla="*/ 7 h 150"/>
                <a:gd name="T72" fmla="*/ 53 w 151"/>
                <a:gd name="T73" fmla="*/ 4 h 150"/>
                <a:gd name="T74" fmla="*/ 61 w 151"/>
                <a:gd name="T75" fmla="*/ 2 h 150"/>
                <a:gd name="T76" fmla="*/ 68 w 151"/>
                <a:gd name="T77" fmla="*/ 0 h 150"/>
                <a:gd name="T78" fmla="*/ 75 w 151"/>
                <a:gd name="T79" fmla="*/ 0 h 150"/>
                <a:gd name="T80" fmla="*/ 75 w 151"/>
                <a:gd name="T81" fmla="*/ 0 h 150"/>
                <a:gd name="T82" fmla="*/ 83 w 151"/>
                <a:gd name="T83" fmla="*/ 0 h 150"/>
                <a:gd name="T84" fmla="*/ 91 w 151"/>
                <a:gd name="T85" fmla="*/ 2 h 150"/>
                <a:gd name="T86" fmla="*/ 99 w 151"/>
                <a:gd name="T87" fmla="*/ 4 h 150"/>
                <a:gd name="T88" fmla="*/ 105 w 151"/>
                <a:gd name="T89" fmla="*/ 7 h 150"/>
                <a:gd name="T90" fmla="*/ 118 w 151"/>
                <a:gd name="T91" fmla="*/ 13 h 150"/>
                <a:gd name="T92" fmla="*/ 129 w 151"/>
                <a:gd name="T93" fmla="*/ 22 h 150"/>
                <a:gd name="T94" fmla="*/ 138 w 151"/>
                <a:gd name="T95" fmla="*/ 33 h 150"/>
                <a:gd name="T96" fmla="*/ 145 w 151"/>
                <a:gd name="T97" fmla="*/ 47 h 150"/>
                <a:gd name="T98" fmla="*/ 147 w 151"/>
                <a:gd name="T99" fmla="*/ 53 h 150"/>
                <a:gd name="T100" fmla="*/ 150 w 151"/>
                <a:gd name="T101" fmla="*/ 60 h 150"/>
                <a:gd name="T102" fmla="*/ 151 w 151"/>
                <a:gd name="T103" fmla="*/ 68 h 150"/>
                <a:gd name="T104" fmla="*/ 151 w 151"/>
                <a:gd name="T105" fmla="*/ 76 h 150"/>
                <a:gd name="T106" fmla="*/ 151 w 151"/>
                <a:gd name="T107" fmla="*/ 76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1" h="150">
                  <a:moveTo>
                    <a:pt x="151" y="76"/>
                  </a:moveTo>
                  <a:lnTo>
                    <a:pt x="151" y="76"/>
                  </a:lnTo>
                  <a:lnTo>
                    <a:pt x="151" y="83"/>
                  </a:lnTo>
                  <a:lnTo>
                    <a:pt x="150" y="91"/>
                  </a:lnTo>
                  <a:lnTo>
                    <a:pt x="147" y="98"/>
                  </a:lnTo>
                  <a:lnTo>
                    <a:pt x="145" y="105"/>
                  </a:lnTo>
                  <a:lnTo>
                    <a:pt x="138" y="117"/>
                  </a:lnTo>
                  <a:lnTo>
                    <a:pt x="129" y="128"/>
                  </a:lnTo>
                  <a:lnTo>
                    <a:pt x="118" y="138"/>
                  </a:lnTo>
                  <a:lnTo>
                    <a:pt x="105" y="144"/>
                  </a:lnTo>
                  <a:lnTo>
                    <a:pt x="99" y="148"/>
                  </a:lnTo>
                  <a:lnTo>
                    <a:pt x="91" y="149"/>
                  </a:lnTo>
                  <a:lnTo>
                    <a:pt x="83" y="150"/>
                  </a:lnTo>
                  <a:lnTo>
                    <a:pt x="75" y="150"/>
                  </a:lnTo>
                  <a:lnTo>
                    <a:pt x="75" y="150"/>
                  </a:lnTo>
                  <a:lnTo>
                    <a:pt x="68" y="150"/>
                  </a:lnTo>
                  <a:lnTo>
                    <a:pt x="61" y="149"/>
                  </a:lnTo>
                  <a:lnTo>
                    <a:pt x="53" y="148"/>
                  </a:lnTo>
                  <a:lnTo>
                    <a:pt x="46" y="144"/>
                  </a:lnTo>
                  <a:lnTo>
                    <a:pt x="34" y="138"/>
                  </a:lnTo>
                  <a:lnTo>
                    <a:pt x="23" y="128"/>
                  </a:lnTo>
                  <a:lnTo>
                    <a:pt x="13" y="117"/>
                  </a:lnTo>
                  <a:lnTo>
                    <a:pt x="6" y="105"/>
                  </a:lnTo>
                  <a:lnTo>
                    <a:pt x="3" y="98"/>
                  </a:lnTo>
                  <a:lnTo>
                    <a:pt x="2" y="91"/>
                  </a:lnTo>
                  <a:lnTo>
                    <a:pt x="1" y="83"/>
                  </a:lnTo>
                  <a:lnTo>
                    <a:pt x="0" y="76"/>
                  </a:lnTo>
                  <a:lnTo>
                    <a:pt x="0" y="76"/>
                  </a:lnTo>
                  <a:lnTo>
                    <a:pt x="1" y="68"/>
                  </a:lnTo>
                  <a:lnTo>
                    <a:pt x="2" y="60"/>
                  </a:lnTo>
                  <a:lnTo>
                    <a:pt x="3" y="53"/>
                  </a:lnTo>
                  <a:lnTo>
                    <a:pt x="6" y="47"/>
                  </a:lnTo>
                  <a:lnTo>
                    <a:pt x="13" y="33"/>
                  </a:lnTo>
                  <a:lnTo>
                    <a:pt x="23" y="22"/>
                  </a:lnTo>
                  <a:lnTo>
                    <a:pt x="34" y="13"/>
                  </a:lnTo>
                  <a:lnTo>
                    <a:pt x="46" y="7"/>
                  </a:lnTo>
                  <a:lnTo>
                    <a:pt x="53" y="4"/>
                  </a:lnTo>
                  <a:lnTo>
                    <a:pt x="61" y="2"/>
                  </a:lnTo>
                  <a:lnTo>
                    <a:pt x="68" y="0"/>
                  </a:lnTo>
                  <a:lnTo>
                    <a:pt x="75" y="0"/>
                  </a:lnTo>
                  <a:lnTo>
                    <a:pt x="75" y="0"/>
                  </a:lnTo>
                  <a:lnTo>
                    <a:pt x="83" y="0"/>
                  </a:lnTo>
                  <a:lnTo>
                    <a:pt x="91" y="2"/>
                  </a:lnTo>
                  <a:lnTo>
                    <a:pt x="99" y="4"/>
                  </a:lnTo>
                  <a:lnTo>
                    <a:pt x="105" y="7"/>
                  </a:lnTo>
                  <a:lnTo>
                    <a:pt x="118" y="13"/>
                  </a:lnTo>
                  <a:lnTo>
                    <a:pt x="129" y="22"/>
                  </a:lnTo>
                  <a:lnTo>
                    <a:pt x="138" y="33"/>
                  </a:lnTo>
                  <a:lnTo>
                    <a:pt x="145" y="47"/>
                  </a:lnTo>
                  <a:lnTo>
                    <a:pt x="147" y="53"/>
                  </a:lnTo>
                  <a:lnTo>
                    <a:pt x="150" y="60"/>
                  </a:lnTo>
                  <a:lnTo>
                    <a:pt x="151" y="68"/>
                  </a:lnTo>
                  <a:lnTo>
                    <a:pt x="151" y="76"/>
                  </a:lnTo>
                  <a:lnTo>
                    <a:pt x="151" y="76"/>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67" name="Freeform 1295"/>
            <p:cNvSpPr>
              <a:spLocks/>
            </p:cNvSpPr>
            <p:nvPr/>
          </p:nvSpPr>
          <p:spPr bwMode="auto">
            <a:xfrm>
              <a:off x="4269962" y="-827199"/>
              <a:ext cx="56917" cy="56917"/>
            </a:xfrm>
            <a:custGeom>
              <a:avLst/>
              <a:gdLst>
                <a:gd name="T0" fmla="*/ 151 w 151"/>
                <a:gd name="T1" fmla="*/ 75 h 151"/>
                <a:gd name="T2" fmla="*/ 151 w 151"/>
                <a:gd name="T3" fmla="*/ 75 h 151"/>
                <a:gd name="T4" fmla="*/ 151 w 151"/>
                <a:gd name="T5" fmla="*/ 83 h 151"/>
                <a:gd name="T6" fmla="*/ 150 w 151"/>
                <a:gd name="T7" fmla="*/ 90 h 151"/>
                <a:gd name="T8" fmla="*/ 147 w 151"/>
                <a:gd name="T9" fmla="*/ 97 h 151"/>
                <a:gd name="T10" fmla="*/ 145 w 151"/>
                <a:gd name="T11" fmla="*/ 105 h 151"/>
                <a:gd name="T12" fmla="*/ 138 w 151"/>
                <a:gd name="T13" fmla="*/ 117 h 151"/>
                <a:gd name="T14" fmla="*/ 129 w 151"/>
                <a:gd name="T15" fmla="*/ 128 h 151"/>
                <a:gd name="T16" fmla="*/ 118 w 151"/>
                <a:gd name="T17" fmla="*/ 137 h 151"/>
                <a:gd name="T18" fmla="*/ 105 w 151"/>
                <a:gd name="T19" fmla="*/ 145 h 151"/>
                <a:gd name="T20" fmla="*/ 99 w 151"/>
                <a:gd name="T21" fmla="*/ 147 h 151"/>
                <a:gd name="T22" fmla="*/ 91 w 151"/>
                <a:gd name="T23" fmla="*/ 148 h 151"/>
                <a:gd name="T24" fmla="*/ 83 w 151"/>
                <a:gd name="T25" fmla="*/ 150 h 151"/>
                <a:gd name="T26" fmla="*/ 75 w 151"/>
                <a:gd name="T27" fmla="*/ 151 h 151"/>
                <a:gd name="T28" fmla="*/ 75 w 151"/>
                <a:gd name="T29" fmla="*/ 151 h 151"/>
                <a:gd name="T30" fmla="*/ 68 w 151"/>
                <a:gd name="T31" fmla="*/ 150 h 151"/>
                <a:gd name="T32" fmla="*/ 61 w 151"/>
                <a:gd name="T33" fmla="*/ 148 h 151"/>
                <a:gd name="T34" fmla="*/ 53 w 151"/>
                <a:gd name="T35" fmla="*/ 147 h 151"/>
                <a:gd name="T36" fmla="*/ 46 w 151"/>
                <a:gd name="T37" fmla="*/ 145 h 151"/>
                <a:gd name="T38" fmla="*/ 34 w 151"/>
                <a:gd name="T39" fmla="*/ 137 h 151"/>
                <a:gd name="T40" fmla="*/ 23 w 151"/>
                <a:gd name="T41" fmla="*/ 128 h 151"/>
                <a:gd name="T42" fmla="*/ 13 w 151"/>
                <a:gd name="T43" fmla="*/ 117 h 151"/>
                <a:gd name="T44" fmla="*/ 6 w 151"/>
                <a:gd name="T45" fmla="*/ 105 h 151"/>
                <a:gd name="T46" fmla="*/ 3 w 151"/>
                <a:gd name="T47" fmla="*/ 97 h 151"/>
                <a:gd name="T48" fmla="*/ 2 w 151"/>
                <a:gd name="T49" fmla="*/ 90 h 151"/>
                <a:gd name="T50" fmla="*/ 1 w 151"/>
                <a:gd name="T51" fmla="*/ 83 h 151"/>
                <a:gd name="T52" fmla="*/ 0 w 151"/>
                <a:gd name="T53" fmla="*/ 75 h 151"/>
                <a:gd name="T54" fmla="*/ 0 w 151"/>
                <a:gd name="T55" fmla="*/ 75 h 151"/>
                <a:gd name="T56" fmla="*/ 1 w 151"/>
                <a:gd name="T57" fmla="*/ 67 h 151"/>
                <a:gd name="T58" fmla="*/ 2 w 151"/>
                <a:gd name="T59" fmla="*/ 59 h 151"/>
                <a:gd name="T60" fmla="*/ 3 w 151"/>
                <a:gd name="T61" fmla="*/ 52 h 151"/>
                <a:gd name="T62" fmla="*/ 6 w 151"/>
                <a:gd name="T63" fmla="*/ 46 h 151"/>
                <a:gd name="T64" fmla="*/ 13 w 151"/>
                <a:gd name="T65" fmla="*/ 33 h 151"/>
                <a:gd name="T66" fmla="*/ 23 w 151"/>
                <a:gd name="T67" fmla="*/ 22 h 151"/>
                <a:gd name="T68" fmla="*/ 34 w 151"/>
                <a:gd name="T69" fmla="*/ 13 h 151"/>
                <a:gd name="T70" fmla="*/ 46 w 151"/>
                <a:gd name="T71" fmla="*/ 6 h 151"/>
                <a:gd name="T72" fmla="*/ 53 w 151"/>
                <a:gd name="T73" fmla="*/ 3 h 151"/>
                <a:gd name="T74" fmla="*/ 61 w 151"/>
                <a:gd name="T75" fmla="*/ 1 h 151"/>
                <a:gd name="T76" fmla="*/ 68 w 151"/>
                <a:gd name="T77" fmla="*/ 0 h 151"/>
                <a:gd name="T78" fmla="*/ 75 w 151"/>
                <a:gd name="T79" fmla="*/ 0 h 151"/>
                <a:gd name="T80" fmla="*/ 75 w 151"/>
                <a:gd name="T81" fmla="*/ 0 h 151"/>
                <a:gd name="T82" fmla="*/ 83 w 151"/>
                <a:gd name="T83" fmla="*/ 0 h 151"/>
                <a:gd name="T84" fmla="*/ 91 w 151"/>
                <a:gd name="T85" fmla="*/ 1 h 151"/>
                <a:gd name="T86" fmla="*/ 99 w 151"/>
                <a:gd name="T87" fmla="*/ 3 h 151"/>
                <a:gd name="T88" fmla="*/ 105 w 151"/>
                <a:gd name="T89" fmla="*/ 6 h 151"/>
                <a:gd name="T90" fmla="*/ 118 w 151"/>
                <a:gd name="T91" fmla="*/ 13 h 151"/>
                <a:gd name="T92" fmla="*/ 129 w 151"/>
                <a:gd name="T93" fmla="*/ 22 h 151"/>
                <a:gd name="T94" fmla="*/ 138 w 151"/>
                <a:gd name="T95" fmla="*/ 33 h 151"/>
                <a:gd name="T96" fmla="*/ 145 w 151"/>
                <a:gd name="T97" fmla="*/ 46 h 151"/>
                <a:gd name="T98" fmla="*/ 147 w 151"/>
                <a:gd name="T99" fmla="*/ 52 h 151"/>
                <a:gd name="T100" fmla="*/ 150 w 151"/>
                <a:gd name="T101" fmla="*/ 59 h 151"/>
                <a:gd name="T102" fmla="*/ 151 w 151"/>
                <a:gd name="T103" fmla="*/ 67 h 151"/>
                <a:gd name="T104" fmla="*/ 151 w 151"/>
                <a:gd name="T105" fmla="*/ 75 h 151"/>
                <a:gd name="T106" fmla="*/ 151 w 151"/>
                <a:gd name="T107" fmla="*/ 7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1" h="151">
                  <a:moveTo>
                    <a:pt x="151" y="75"/>
                  </a:moveTo>
                  <a:lnTo>
                    <a:pt x="151" y="75"/>
                  </a:lnTo>
                  <a:lnTo>
                    <a:pt x="151" y="83"/>
                  </a:lnTo>
                  <a:lnTo>
                    <a:pt x="150" y="90"/>
                  </a:lnTo>
                  <a:lnTo>
                    <a:pt x="147" y="97"/>
                  </a:lnTo>
                  <a:lnTo>
                    <a:pt x="145" y="105"/>
                  </a:lnTo>
                  <a:lnTo>
                    <a:pt x="138" y="117"/>
                  </a:lnTo>
                  <a:lnTo>
                    <a:pt x="129" y="128"/>
                  </a:lnTo>
                  <a:lnTo>
                    <a:pt x="118" y="137"/>
                  </a:lnTo>
                  <a:lnTo>
                    <a:pt x="105" y="145"/>
                  </a:lnTo>
                  <a:lnTo>
                    <a:pt x="99" y="147"/>
                  </a:lnTo>
                  <a:lnTo>
                    <a:pt x="91" y="148"/>
                  </a:lnTo>
                  <a:lnTo>
                    <a:pt x="83" y="150"/>
                  </a:lnTo>
                  <a:lnTo>
                    <a:pt x="75" y="151"/>
                  </a:lnTo>
                  <a:lnTo>
                    <a:pt x="75" y="151"/>
                  </a:lnTo>
                  <a:lnTo>
                    <a:pt x="68" y="150"/>
                  </a:lnTo>
                  <a:lnTo>
                    <a:pt x="61" y="148"/>
                  </a:lnTo>
                  <a:lnTo>
                    <a:pt x="53" y="147"/>
                  </a:lnTo>
                  <a:lnTo>
                    <a:pt x="46" y="145"/>
                  </a:lnTo>
                  <a:lnTo>
                    <a:pt x="34" y="137"/>
                  </a:lnTo>
                  <a:lnTo>
                    <a:pt x="23" y="128"/>
                  </a:lnTo>
                  <a:lnTo>
                    <a:pt x="13" y="117"/>
                  </a:lnTo>
                  <a:lnTo>
                    <a:pt x="6" y="105"/>
                  </a:lnTo>
                  <a:lnTo>
                    <a:pt x="3" y="97"/>
                  </a:lnTo>
                  <a:lnTo>
                    <a:pt x="2" y="90"/>
                  </a:lnTo>
                  <a:lnTo>
                    <a:pt x="1" y="83"/>
                  </a:lnTo>
                  <a:lnTo>
                    <a:pt x="0" y="75"/>
                  </a:lnTo>
                  <a:lnTo>
                    <a:pt x="0" y="75"/>
                  </a:lnTo>
                  <a:lnTo>
                    <a:pt x="1" y="67"/>
                  </a:lnTo>
                  <a:lnTo>
                    <a:pt x="2" y="59"/>
                  </a:lnTo>
                  <a:lnTo>
                    <a:pt x="3" y="52"/>
                  </a:lnTo>
                  <a:lnTo>
                    <a:pt x="6" y="46"/>
                  </a:lnTo>
                  <a:lnTo>
                    <a:pt x="13" y="33"/>
                  </a:lnTo>
                  <a:lnTo>
                    <a:pt x="23" y="22"/>
                  </a:lnTo>
                  <a:lnTo>
                    <a:pt x="34" y="13"/>
                  </a:lnTo>
                  <a:lnTo>
                    <a:pt x="46" y="6"/>
                  </a:lnTo>
                  <a:lnTo>
                    <a:pt x="53" y="3"/>
                  </a:lnTo>
                  <a:lnTo>
                    <a:pt x="61" y="1"/>
                  </a:lnTo>
                  <a:lnTo>
                    <a:pt x="68" y="0"/>
                  </a:lnTo>
                  <a:lnTo>
                    <a:pt x="75" y="0"/>
                  </a:lnTo>
                  <a:lnTo>
                    <a:pt x="75" y="0"/>
                  </a:lnTo>
                  <a:lnTo>
                    <a:pt x="83" y="0"/>
                  </a:lnTo>
                  <a:lnTo>
                    <a:pt x="91" y="1"/>
                  </a:lnTo>
                  <a:lnTo>
                    <a:pt x="99" y="3"/>
                  </a:lnTo>
                  <a:lnTo>
                    <a:pt x="105" y="6"/>
                  </a:lnTo>
                  <a:lnTo>
                    <a:pt x="118" y="13"/>
                  </a:lnTo>
                  <a:lnTo>
                    <a:pt x="129" y="22"/>
                  </a:lnTo>
                  <a:lnTo>
                    <a:pt x="138" y="33"/>
                  </a:lnTo>
                  <a:lnTo>
                    <a:pt x="145" y="46"/>
                  </a:lnTo>
                  <a:lnTo>
                    <a:pt x="147" y="52"/>
                  </a:lnTo>
                  <a:lnTo>
                    <a:pt x="150" y="59"/>
                  </a:lnTo>
                  <a:lnTo>
                    <a:pt x="151" y="67"/>
                  </a:lnTo>
                  <a:lnTo>
                    <a:pt x="151" y="75"/>
                  </a:lnTo>
                  <a:lnTo>
                    <a:pt x="151" y="75"/>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72" name="Freeform 1387"/>
            <p:cNvSpPr>
              <a:spLocks/>
            </p:cNvSpPr>
            <p:nvPr/>
          </p:nvSpPr>
          <p:spPr bwMode="auto">
            <a:xfrm>
              <a:off x="3882921" y="-1028309"/>
              <a:ext cx="30356" cy="30356"/>
            </a:xfrm>
            <a:custGeom>
              <a:avLst/>
              <a:gdLst>
                <a:gd name="T0" fmla="*/ 40 w 80"/>
                <a:gd name="T1" fmla="*/ 0 h 80"/>
                <a:gd name="T2" fmla="*/ 27 w 80"/>
                <a:gd name="T3" fmla="*/ 25 h 80"/>
                <a:gd name="T4" fmla="*/ 0 w 80"/>
                <a:gd name="T5" fmla="*/ 40 h 80"/>
                <a:gd name="T6" fmla="*/ 27 w 80"/>
                <a:gd name="T7" fmla="*/ 53 h 80"/>
                <a:gd name="T8" fmla="*/ 40 w 80"/>
                <a:gd name="T9" fmla="*/ 80 h 80"/>
                <a:gd name="T10" fmla="*/ 55 w 80"/>
                <a:gd name="T11" fmla="*/ 53 h 80"/>
                <a:gd name="T12" fmla="*/ 80 w 80"/>
                <a:gd name="T13" fmla="*/ 40 h 80"/>
                <a:gd name="T14" fmla="*/ 55 w 80"/>
                <a:gd name="T15" fmla="*/ 25 h 80"/>
                <a:gd name="T16" fmla="*/ 40 w 80"/>
                <a:gd name="T1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0">
                  <a:moveTo>
                    <a:pt x="40" y="0"/>
                  </a:moveTo>
                  <a:lnTo>
                    <a:pt x="27" y="25"/>
                  </a:lnTo>
                  <a:lnTo>
                    <a:pt x="0" y="40"/>
                  </a:lnTo>
                  <a:lnTo>
                    <a:pt x="27" y="53"/>
                  </a:lnTo>
                  <a:lnTo>
                    <a:pt x="40" y="80"/>
                  </a:lnTo>
                  <a:lnTo>
                    <a:pt x="55" y="53"/>
                  </a:lnTo>
                  <a:lnTo>
                    <a:pt x="80" y="40"/>
                  </a:lnTo>
                  <a:lnTo>
                    <a:pt x="55" y="25"/>
                  </a:lnTo>
                  <a:lnTo>
                    <a:pt x="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73" name="Rectangle 1418"/>
            <p:cNvSpPr>
              <a:spLocks noChangeArrowheads="1"/>
            </p:cNvSpPr>
            <p:nvPr/>
          </p:nvSpPr>
          <p:spPr bwMode="auto">
            <a:xfrm>
              <a:off x="4658898" y="-1117480"/>
              <a:ext cx="96760" cy="72096"/>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74" name="Rectangle 1419"/>
            <p:cNvSpPr>
              <a:spLocks noChangeArrowheads="1"/>
            </p:cNvSpPr>
            <p:nvPr/>
          </p:nvSpPr>
          <p:spPr bwMode="auto">
            <a:xfrm>
              <a:off x="4658898" y="-1028309"/>
              <a:ext cx="96760" cy="72096"/>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75" name="Rectangle 1420"/>
            <p:cNvSpPr>
              <a:spLocks noChangeArrowheads="1"/>
            </p:cNvSpPr>
            <p:nvPr/>
          </p:nvSpPr>
          <p:spPr bwMode="auto">
            <a:xfrm>
              <a:off x="4658898" y="-941036"/>
              <a:ext cx="96760" cy="72096"/>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76" name="Rectangle 1421"/>
            <p:cNvSpPr>
              <a:spLocks noChangeArrowheads="1"/>
            </p:cNvSpPr>
            <p:nvPr/>
          </p:nvSpPr>
          <p:spPr bwMode="auto">
            <a:xfrm>
              <a:off x="4658898" y="-851864"/>
              <a:ext cx="96760" cy="72096"/>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77" name="Rectangle 1422"/>
            <p:cNvSpPr>
              <a:spLocks noChangeArrowheads="1"/>
            </p:cNvSpPr>
            <p:nvPr/>
          </p:nvSpPr>
          <p:spPr bwMode="auto">
            <a:xfrm>
              <a:off x="4658898" y="-762694"/>
              <a:ext cx="96760" cy="72096"/>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78" name="Rectangle 1423"/>
            <p:cNvSpPr>
              <a:spLocks noChangeArrowheads="1"/>
            </p:cNvSpPr>
            <p:nvPr/>
          </p:nvSpPr>
          <p:spPr bwMode="auto">
            <a:xfrm>
              <a:off x="4658898" y="-675419"/>
              <a:ext cx="96760" cy="72096"/>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79" name="Rectangle 1424"/>
            <p:cNvSpPr>
              <a:spLocks noChangeArrowheads="1"/>
            </p:cNvSpPr>
            <p:nvPr/>
          </p:nvSpPr>
          <p:spPr bwMode="auto">
            <a:xfrm>
              <a:off x="4658898" y="-586249"/>
              <a:ext cx="96760" cy="72096"/>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80" name="Rectangle 1425"/>
            <p:cNvSpPr>
              <a:spLocks noChangeArrowheads="1"/>
            </p:cNvSpPr>
            <p:nvPr/>
          </p:nvSpPr>
          <p:spPr bwMode="auto">
            <a:xfrm>
              <a:off x="4723405" y="-1187679"/>
              <a:ext cx="559689" cy="7418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81" name="Rectangle 1426"/>
            <p:cNvSpPr>
              <a:spLocks noChangeArrowheads="1"/>
            </p:cNvSpPr>
            <p:nvPr/>
          </p:nvSpPr>
          <p:spPr bwMode="auto">
            <a:xfrm>
              <a:off x="5598038" y="-942933"/>
              <a:ext cx="692497" cy="244746"/>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82" name="Rectangle 1427"/>
            <p:cNvSpPr>
              <a:spLocks noChangeArrowheads="1"/>
            </p:cNvSpPr>
            <p:nvPr/>
          </p:nvSpPr>
          <p:spPr bwMode="auto">
            <a:xfrm>
              <a:off x="5635981" y="-973289"/>
              <a:ext cx="39843" cy="305458"/>
            </a:xfrm>
            <a:prstGeom prst="rect">
              <a:avLst/>
            </a:prstGeom>
            <a:solidFill>
              <a:srgbClr val="7B65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83" name="Rectangle 1428"/>
            <p:cNvSpPr>
              <a:spLocks noChangeArrowheads="1"/>
            </p:cNvSpPr>
            <p:nvPr/>
          </p:nvSpPr>
          <p:spPr bwMode="auto">
            <a:xfrm>
              <a:off x="5698591" y="-973289"/>
              <a:ext cx="41739" cy="305458"/>
            </a:xfrm>
            <a:prstGeom prst="rect">
              <a:avLst/>
            </a:prstGeom>
            <a:solidFill>
              <a:srgbClr val="7B65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84" name="Rectangle 1429"/>
            <p:cNvSpPr>
              <a:spLocks noChangeArrowheads="1"/>
            </p:cNvSpPr>
            <p:nvPr/>
          </p:nvSpPr>
          <p:spPr bwMode="auto">
            <a:xfrm>
              <a:off x="5763099" y="-973289"/>
              <a:ext cx="41739" cy="305458"/>
            </a:xfrm>
            <a:prstGeom prst="rect">
              <a:avLst/>
            </a:prstGeom>
            <a:solidFill>
              <a:srgbClr val="7B65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85" name="Rectangle 1430"/>
            <p:cNvSpPr>
              <a:spLocks noChangeArrowheads="1"/>
            </p:cNvSpPr>
            <p:nvPr/>
          </p:nvSpPr>
          <p:spPr bwMode="auto">
            <a:xfrm>
              <a:off x="5827604" y="-973289"/>
              <a:ext cx="39843" cy="305458"/>
            </a:xfrm>
            <a:prstGeom prst="rect">
              <a:avLst/>
            </a:prstGeom>
            <a:solidFill>
              <a:srgbClr val="7B65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86" name="Rectangle 1431"/>
            <p:cNvSpPr>
              <a:spLocks noChangeArrowheads="1"/>
            </p:cNvSpPr>
            <p:nvPr/>
          </p:nvSpPr>
          <p:spPr bwMode="auto">
            <a:xfrm>
              <a:off x="5892110" y="-973289"/>
              <a:ext cx="39843" cy="305458"/>
            </a:xfrm>
            <a:prstGeom prst="rect">
              <a:avLst/>
            </a:prstGeom>
            <a:solidFill>
              <a:srgbClr val="7B65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87" name="Rectangle 1432"/>
            <p:cNvSpPr>
              <a:spLocks noChangeArrowheads="1"/>
            </p:cNvSpPr>
            <p:nvPr/>
          </p:nvSpPr>
          <p:spPr bwMode="auto">
            <a:xfrm>
              <a:off x="5956617" y="-973289"/>
              <a:ext cx="39843" cy="305458"/>
            </a:xfrm>
            <a:prstGeom prst="rect">
              <a:avLst/>
            </a:prstGeom>
            <a:solidFill>
              <a:srgbClr val="7B65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88" name="Rectangle 1433"/>
            <p:cNvSpPr>
              <a:spLocks noChangeArrowheads="1"/>
            </p:cNvSpPr>
            <p:nvPr/>
          </p:nvSpPr>
          <p:spPr bwMode="auto">
            <a:xfrm>
              <a:off x="6019228" y="-973289"/>
              <a:ext cx="41739" cy="305458"/>
            </a:xfrm>
            <a:prstGeom prst="rect">
              <a:avLst/>
            </a:prstGeom>
            <a:solidFill>
              <a:srgbClr val="7B65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89" name="Rectangle 1434"/>
            <p:cNvSpPr>
              <a:spLocks noChangeArrowheads="1"/>
            </p:cNvSpPr>
            <p:nvPr/>
          </p:nvSpPr>
          <p:spPr bwMode="auto">
            <a:xfrm>
              <a:off x="6083733" y="-973289"/>
              <a:ext cx="41739" cy="305458"/>
            </a:xfrm>
            <a:prstGeom prst="rect">
              <a:avLst/>
            </a:prstGeom>
            <a:solidFill>
              <a:srgbClr val="7B65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90" name="Rectangle 1435"/>
            <p:cNvSpPr>
              <a:spLocks noChangeArrowheads="1"/>
            </p:cNvSpPr>
            <p:nvPr/>
          </p:nvSpPr>
          <p:spPr bwMode="auto">
            <a:xfrm>
              <a:off x="6148239" y="-973289"/>
              <a:ext cx="39843" cy="305458"/>
            </a:xfrm>
            <a:prstGeom prst="rect">
              <a:avLst/>
            </a:prstGeom>
            <a:solidFill>
              <a:srgbClr val="7B65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91" name="Rectangle 1436"/>
            <p:cNvSpPr>
              <a:spLocks noChangeArrowheads="1"/>
            </p:cNvSpPr>
            <p:nvPr/>
          </p:nvSpPr>
          <p:spPr bwMode="auto">
            <a:xfrm>
              <a:off x="6212746" y="-973289"/>
              <a:ext cx="39843" cy="305458"/>
            </a:xfrm>
            <a:prstGeom prst="rect">
              <a:avLst/>
            </a:prstGeom>
            <a:solidFill>
              <a:srgbClr val="7B65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96" name="Freeform 1441"/>
            <p:cNvSpPr>
              <a:spLocks/>
            </p:cNvSpPr>
            <p:nvPr/>
          </p:nvSpPr>
          <p:spPr bwMode="auto">
            <a:xfrm>
              <a:off x="7227776" y="-986570"/>
              <a:ext cx="430676" cy="117630"/>
            </a:xfrm>
            <a:custGeom>
              <a:avLst/>
              <a:gdLst>
                <a:gd name="T0" fmla="*/ 0 w 1133"/>
                <a:gd name="T1" fmla="*/ 0 h 309"/>
                <a:gd name="T2" fmla="*/ 825 w 1133"/>
                <a:gd name="T3" fmla="*/ 0 h 309"/>
                <a:gd name="T4" fmla="*/ 825 w 1133"/>
                <a:gd name="T5" fmla="*/ 0 h 309"/>
                <a:gd name="T6" fmla="*/ 841 w 1133"/>
                <a:gd name="T7" fmla="*/ 0 h 309"/>
                <a:gd name="T8" fmla="*/ 857 w 1133"/>
                <a:gd name="T9" fmla="*/ 2 h 309"/>
                <a:gd name="T10" fmla="*/ 871 w 1133"/>
                <a:gd name="T11" fmla="*/ 4 h 309"/>
                <a:gd name="T12" fmla="*/ 887 w 1133"/>
                <a:gd name="T13" fmla="*/ 6 h 309"/>
                <a:gd name="T14" fmla="*/ 902 w 1133"/>
                <a:gd name="T15" fmla="*/ 10 h 309"/>
                <a:gd name="T16" fmla="*/ 916 w 1133"/>
                <a:gd name="T17" fmla="*/ 14 h 309"/>
                <a:gd name="T18" fmla="*/ 931 w 1133"/>
                <a:gd name="T19" fmla="*/ 19 h 309"/>
                <a:gd name="T20" fmla="*/ 944 w 1133"/>
                <a:gd name="T21" fmla="*/ 25 h 309"/>
                <a:gd name="T22" fmla="*/ 959 w 1133"/>
                <a:gd name="T23" fmla="*/ 31 h 309"/>
                <a:gd name="T24" fmla="*/ 972 w 1133"/>
                <a:gd name="T25" fmla="*/ 37 h 309"/>
                <a:gd name="T26" fmla="*/ 997 w 1133"/>
                <a:gd name="T27" fmla="*/ 53 h 309"/>
                <a:gd name="T28" fmla="*/ 1021 w 1133"/>
                <a:gd name="T29" fmla="*/ 71 h 309"/>
                <a:gd name="T30" fmla="*/ 1043 w 1133"/>
                <a:gd name="T31" fmla="*/ 91 h 309"/>
                <a:gd name="T32" fmla="*/ 1063 w 1133"/>
                <a:gd name="T33" fmla="*/ 112 h 309"/>
                <a:gd name="T34" fmla="*/ 1081 w 1133"/>
                <a:gd name="T35" fmla="*/ 136 h 309"/>
                <a:gd name="T36" fmla="*/ 1096 w 1133"/>
                <a:gd name="T37" fmla="*/ 161 h 309"/>
                <a:gd name="T38" fmla="*/ 1103 w 1133"/>
                <a:gd name="T39" fmla="*/ 175 h 309"/>
                <a:gd name="T40" fmla="*/ 1109 w 1133"/>
                <a:gd name="T41" fmla="*/ 188 h 309"/>
                <a:gd name="T42" fmla="*/ 1115 w 1133"/>
                <a:gd name="T43" fmla="*/ 203 h 309"/>
                <a:gd name="T44" fmla="*/ 1120 w 1133"/>
                <a:gd name="T45" fmla="*/ 217 h 309"/>
                <a:gd name="T46" fmla="*/ 1124 w 1133"/>
                <a:gd name="T47" fmla="*/ 232 h 309"/>
                <a:gd name="T48" fmla="*/ 1127 w 1133"/>
                <a:gd name="T49" fmla="*/ 247 h 309"/>
                <a:gd name="T50" fmla="*/ 1130 w 1133"/>
                <a:gd name="T51" fmla="*/ 261 h 309"/>
                <a:gd name="T52" fmla="*/ 1132 w 1133"/>
                <a:gd name="T53" fmla="*/ 277 h 309"/>
                <a:gd name="T54" fmla="*/ 1133 w 1133"/>
                <a:gd name="T55" fmla="*/ 293 h 309"/>
                <a:gd name="T56" fmla="*/ 1133 w 1133"/>
                <a:gd name="T57" fmla="*/ 309 h 309"/>
                <a:gd name="T58" fmla="*/ 0 w 1133"/>
                <a:gd name="T59" fmla="*/ 309 h 309"/>
                <a:gd name="T60" fmla="*/ 0 w 1133"/>
                <a:gd name="T61"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3" h="309">
                  <a:moveTo>
                    <a:pt x="0" y="0"/>
                  </a:moveTo>
                  <a:lnTo>
                    <a:pt x="825" y="0"/>
                  </a:lnTo>
                  <a:lnTo>
                    <a:pt x="825" y="0"/>
                  </a:lnTo>
                  <a:lnTo>
                    <a:pt x="841" y="0"/>
                  </a:lnTo>
                  <a:lnTo>
                    <a:pt x="857" y="2"/>
                  </a:lnTo>
                  <a:lnTo>
                    <a:pt x="871" y="4"/>
                  </a:lnTo>
                  <a:lnTo>
                    <a:pt x="887" y="6"/>
                  </a:lnTo>
                  <a:lnTo>
                    <a:pt x="902" y="10"/>
                  </a:lnTo>
                  <a:lnTo>
                    <a:pt x="916" y="14"/>
                  </a:lnTo>
                  <a:lnTo>
                    <a:pt x="931" y="19"/>
                  </a:lnTo>
                  <a:lnTo>
                    <a:pt x="944" y="25"/>
                  </a:lnTo>
                  <a:lnTo>
                    <a:pt x="959" y="31"/>
                  </a:lnTo>
                  <a:lnTo>
                    <a:pt x="972" y="37"/>
                  </a:lnTo>
                  <a:lnTo>
                    <a:pt x="997" y="53"/>
                  </a:lnTo>
                  <a:lnTo>
                    <a:pt x="1021" y="71"/>
                  </a:lnTo>
                  <a:lnTo>
                    <a:pt x="1043" y="91"/>
                  </a:lnTo>
                  <a:lnTo>
                    <a:pt x="1063" y="112"/>
                  </a:lnTo>
                  <a:lnTo>
                    <a:pt x="1081" y="136"/>
                  </a:lnTo>
                  <a:lnTo>
                    <a:pt x="1096" y="161"/>
                  </a:lnTo>
                  <a:lnTo>
                    <a:pt x="1103" y="175"/>
                  </a:lnTo>
                  <a:lnTo>
                    <a:pt x="1109" y="188"/>
                  </a:lnTo>
                  <a:lnTo>
                    <a:pt x="1115" y="203"/>
                  </a:lnTo>
                  <a:lnTo>
                    <a:pt x="1120" y="217"/>
                  </a:lnTo>
                  <a:lnTo>
                    <a:pt x="1124" y="232"/>
                  </a:lnTo>
                  <a:lnTo>
                    <a:pt x="1127" y="247"/>
                  </a:lnTo>
                  <a:lnTo>
                    <a:pt x="1130" y="261"/>
                  </a:lnTo>
                  <a:lnTo>
                    <a:pt x="1132" y="277"/>
                  </a:lnTo>
                  <a:lnTo>
                    <a:pt x="1133" y="293"/>
                  </a:lnTo>
                  <a:lnTo>
                    <a:pt x="1133" y="309"/>
                  </a:lnTo>
                  <a:lnTo>
                    <a:pt x="0" y="30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3" name="Freeform 1448"/>
            <p:cNvSpPr>
              <a:spLocks/>
            </p:cNvSpPr>
            <p:nvPr/>
          </p:nvSpPr>
          <p:spPr bwMode="auto">
            <a:xfrm>
              <a:off x="6800895" y="-669727"/>
              <a:ext cx="1107995" cy="117630"/>
            </a:xfrm>
            <a:custGeom>
              <a:avLst/>
              <a:gdLst>
                <a:gd name="T0" fmla="*/ 2921 w 2921"/>
                <a:gd name="T1" fmla="*/ 0 h 309"/>
                <a:gd name="T2" fmla="*/ 2921 w 2921"/>
                <a:gd name="T3" fmla="*/ 0 h 309"/>
                <a:gd name="T4" fmla="*/ 2920 w 2921"/>
                <a:gd name="T5" fmla="*/ 16 h 309"/>
                <a:gd name="T6" fmla="*/ 2919 w 2921"/>
                <a:gd name="T7" fmla="*/ 32 h 309"/>
                <a:gd name="T8" fmla="*/ 2918 w 2921"/>
                <a:gd name="T9" fmla="*/ 48 h 309"/>
                <a:gd name="T10" fmla="*/ 2914 w 2921"/>
                <a:gd name="T11" fmla="*/ 62 h 309"/>
                <a:gd name="T12" fmla="*/ 2912 w 2921"/>
                <a:gd name="T13" fmla="*/ 77 h 309"/>
                <a:gd name="T14" fmla="*/ 2907 w 2921"/>
                <a:gd name="T15" fmla="*/ 92 h 309"/>
                <a:gd name="T16" fmla="*/ 2902 w 2921"/>
                <a:gd name="T17" fmla="*/ 106 h 309"/>
                <a:gd name="T18" fmla="*/ 2897 w 2921"/>
                <a:gd name="T19" fmla="*/ 121 h 309"/>
                <a:gd name="T20" fmla="*/ 2891 w 2921"/>
                <a:gd name="T21" fmla="*/ 134 h 309"/>
                <a:gd name="T22" fmla="*/ 2884 w 2921"/>
                <a:gd name="T23" fmla="*/ 148 h 309"/>
                <a:gd name="T24" fmla="*/ 2868 w 2921"/>
                <a:gd name="T25" fmla="*/ 173 h 309"/>
                <a:gd name="T26" fmla="*/ 2851 w 2921"/>
                <a:gd name="T27" fmla="*/ 196 h 309"/>
                <a:gd name="T28" fmla="*/ 2830 w 2921"/>
                <a:gd name="T29" fmla="*/ 218 h 309"/>
                <a:gd name="T30" fmla="*/ 2808 w 2921"/>
                <a:gd name="T31" fmla="*/ 239 h 309"/>
                <a:gd name="T32" fmla="*/ 2785 w 2921"/>
                <a:gd name="T33" fmla="*/ 256 h 309"/>
                <a:gd name="T34" fmla="*/ 2759 w 2921"/>
                <a:gd name="T35" fmla="*/ 272 h 309"/>
                <a:gd name="T36" fmla="*/ 2746 w 2921"/>
                <a:gd name="T37" fmla="*/ 278 h 309"/>
                <a:gd name="T38" fmla="*/ 2732 w 2921"/>
                <a:gd name="T39" fmla="*/ 284 h 309"/>
                <a:gd name="T40" fmla="*/ 2718 w 2921"/>
                <a:gd name="T41" fmla="*/ 290 h 309"/>
                <a:gd name="T42" fmla="*/ 2704 w 2921"/>
                <a:gd name="T43" fmla="*/ 295 h 309"/>
                <a:gd name="T44" fmla="*/ 2690 w 2921"/>
                <a:gd name="T45" fmla="*/ 299 h 309"/>
                <a:gd name="T46" fmla="*/ 2674 w 2921"/>
                <a:gd name="T47" fmla="*/ 302 h 309"/>
                <a:gd name="T48" fmla="*/ 2659 w 2921"/>
                <a:gd name="T49" fmla="*/ 305 h 309"/>
                <a:gd name="T50" fmla="*/ 2643 w 2921"/>
                <a:gd name="T51" fmla="*/ 307 h 309"/>
                <a:gd name="T52" fmla="*/ 2628 w 2921"/>
                <a:gd name="T53" fmla="*/ 309 h 309"/>
                <a:gd name="T54" fmla="*/ 2612 w 2921"/>
                <a:gd name="T55" fmla="*/ 309 h 309"/>
                <a:gd name="T56" fmla="*/ 309 w 2921"/>
                <a:gd name="T57" fmla="*/ 309 h 309"/>
                <a:gd name="T58" fmla="*/ 309 w 2921"/>
                <a:gd name="T59" fmla="*/ 309 h 309"/>
                <a:gd name="T60" fmla="*/ 293 w 2921"/>
                <a:gd name="T61" fmla="*/ 309 h 309"/>
                <a:gd name="T62" fmla="*/ 277 w 2921"/>
                <a:gd name="T63" fmla="*/ 307 h 309"/>
                <a:gd name="T64" fmla="*/ 261 w 2921"/>
                <a:gd name="T65" fmla="*/ 305 h 309"/>
                <a:gd name="T66" fmla="*/ 247 w 2921"/>
                <a:gd name="T67" fmla="*/ 302 h 309"/>
                <a:gd name="T68" fmla="*/ 232 w 2921"/>
                <a:gd name="T69" fmla="*/ 299 h 309"/>
                <a:gd name="T70" fmla="*/ 217 w 2921"/>
                <a:gd name="T71" fmla="*/ 295 h 309"/>
                <a:gd name="T72" fmla="*/ 203 w 2921"/>
                <a:gd name="T73" fmla="*/ 290 h 309"/>
                <a:gd name="T74" fmla="*/ 188 w 2921"/>
                <a:gd name="T75" fmla="*/ 284 h 309"/>
                <a:gd name="T76" fmla="*/ 175 w 2921"/>
                <a:gd name="T77" fmla="*/ 278 h 309"/>
                <a:gd name="T78" fmla="*/ 161 w 2921"/>
                <a:gd name="T79" fmla="*/ 272 h 309"/>
                <a:gd name="T80" fmla="*/ 136 w 2921"/>
                <a:gd name="T81" fmla="*/ 256 h 309"/>
                <a:gd name="T82" fmla="*/ 112 w 2921"/>
                <a:gd name="T83" fmla="*/ 239 h 309"/>
                <a:gd name="T84" fmla="*/ 91 w 2921"/>
                <a:gd name="T85" fmla="*/ 218 h 309"/>
                <a:gd name="T86" fmla="*/ 71 w 2921"/>
                <a:gd name="T87" fmla="*/ 196 h 309"/>
                <a:gd name="T88" fmla="*/ 53 w 2921"/>
                <a:gd name="T89" fmla="*/ 173 h 309"/>
                <a:gd name="T90" fmla="*/ 37 w 2921"/>
                <a:gd name="T91" fmla="*/ 148 h 309"/>
                <a:gd name="T92" fmla="*/ 31 w 2921"/>
                <a:gd name="T93" fmla="*/ 134 h 309"/>
                <a:gd name="T94" fmla="*/ 25 w 2921"/>
                <a:gd name="T95" fmla="*/ 121 h 309"/>
                <a:gd name="T96" fmla="*/ 19 w 2921"/>
                <a:gd name="T97" fmla="*/ 106 h 309"/>
                <a:gd name="T98" fmla="*/ 14 w 2921"/>
                <a:gd name="T99" fmla="*/ 92 h 309"/>
                <a:gd name="T100" fmla="*/ 10 w 2921"/>
                <a:gd name="T101" fmla="*/ 77 h 309"/>
                <a:gd name="T102" fmla="*/ 6 w 2921"/>
                <a:gd name="T103" fmla="*/ 62 h 309"/>
                <a:gd name="T104" fmla="*/ 4 w 2921"/>
                <a:gd name="T105" fmla="*/ 48 h 309"/>
                <a:gd name="T106" fmla="*/ 2 w 2921"/>
                <a:gd name="T107" fmla="*/ 32 h 309"/>
                <a:gd name="T108" fmla="*/ 0 w 2921"/>
                <a:gd name="T109" fmla="*/ 16 h 309"/>
                <a:gd name="T110" fmla="*/ 0 w 2921"/>
                <a:gd name="T111" fmla="*/ 0 h 309"/>
                <a:gd name="T112" fmla="*/ 2921 w 2921"/>
                <a:gd name="T113"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21" h="309">
                  <a:moveTo>
                    <a:pt x="2921" y="0"/>
                  </a:moveTo>
                  <a:lnTo>
                    <a:pt x="2921" y="0"/>
                  </a:lnTo>
                  <a:lnTo>
                    <a:pt x="2920" y="16"/>
                  </a:lnTo>
                  <a:lnTo>
                    <a:pt x="2919" y="32"/>
                  </a:lnTo>
                  <a:lnTo>
                    <a:pt x="2918" y="48"/>
                  </a:lnTo>
                  <a:lnTo>
                    <a:pt x="2914" y="62"/>
                  </a:lnTo>
                  <a:lnTo>
                    <a:pt x="2912" y="77"/>
                  </a:lnTo>
                  <a:lnTo>
                    <a:pt x="2907" y="92"/>
                  </a:lnTo>
                  <a:lnTo>
                    <a:pt x="2902" y="106"/>
                  </a:lnTo>
                  <a:lnTo>
                    <a:pt x="2897" y="121"/>
                  </a:lnTo>
                  <a:lnTo>
                    <a:pt x="2891" y="134"/>
                  </a:lnTo>
                  <a:lnTo>
                    <a:pt x="2884" y="148"/>
                  </a:lnTo>
                  <a:lnTo>
                    <a:pt x="2868" y="173"/>
                  </a:lnTo>
                  <a:lnTo>
                    <a:pt x="2851" y="196"/>
                  </a:lnTo>
                  <a:lnTo>
                    <a:pt x="2830" y="218"/>
                  </a:lnTo>
                  <a:lnTo>
                    <a:pt x="2808" y="239"/>
                  </a:lnTo>
                  <a:lnTo>
                    <a:pt x="2785" y="256"/>
                  </a:lnTo>
                  <a:lnTo>
                    <a:pt x="2759" y="272"/>
                  </a:lnTo>
                  <a:lnTo>
                    <a:pt x="2746" y="278"/>
                  </a:lnTo>
                  <a:lnTo>
                    <a:pt x="2732" y="284"/>
                  </a:lnTo>
                  <a:lnTo>
                    <a:pt x="2718" y="290"/>
                  </a:lnTo>
                  <a:lnTo>
                    <a:pt x="2704" y="295"/>
                  </a:lnTo>
                  <a:lnTo>
                    <a:pt x="2690" y="299"/>
                  </a:lnTo>
                  <a:lnTo>
                    <a:pt x="2674" y="302"/>
                  </a:lnTo>
                  <a:lnTo>
                    <a:pt x="2659" y="305"/>
                  </a:lnTo>
                  <a:lnTo>
                    <a:pt x="2643" y="307"/>
                  </a:lnTo>
                  <a:lnTo>
                    <a:pt x="2628" y="309"/>
                  </a:lnTo>
                  <a:lnTo>
                    <a:pt x="2612" y="309"/>
                  </a:lnTo>
                  <a:lnTo>
                    <a:pt x="309" y="309"/>
                  </a:lnTo>
                  <a:lnTo>
                    <a:pt x="309" y="309"/>
                  </a:lnTo>
                  <a:lnTo>
                    <a:pt x="293" y="309"/>
                  </a:lnTo>
                  <a:lnTo>
                    <a:pt x="277" y="307"/>
                  </a:lnTo>
                  <a:lnTo>
                    <a:pt x="261" y="305"/>
                  </a:lnTo>
                  <a:lnTo>
                    <a:pt x="247" y="302"/>
                  </a:lnTo>
                  <a:lnTo>
                    <a:pt x="232" y="299"/>
                  </a:lnTo>
                  <a:lnTo>
                    <a:pt x="217" y="295"/>
                  </a:lnTo>
                  <a:lnTo>
                    <a:pt x="203" y="290"/>
                  </a:lnTo>
                  <a:lnTo>
                    <a:pt x="188" y="284"/>
                  </a:lnTo>
                  <a:lnTo>
                    <a:pt x="175" y="278"/>
                  </a:lnTo>
                  <a:lnTo>
                    <a:pt x="161" y="272"/>
                  </a:lnTo>
                  <a:lnTo>
                    <a:pt x="136" y="256"/>
                  </a:lnTo>
                  <a:lnTo>
                    <a:pt x="112" y="239"/>
                  </a:lnTo>
                  <a:lnTo>
                    <a:pt x="91" y="218"/>
                  </a:lnTo>
                  <a:lnTo>
                    <a:pt x="71" y="196"/>
                  </a:lnTo>
                  <a:lnTo>
                    <a:pt x="53" y="173"/>
                  </a:lnTo>
                  <a:lnTo>
                    <a:pt x="37" y="148"/>
                  </a:lnTo>
                  <a:lnTo>
                    <a:pt x="31" y="134"/>
                  </a:lnTo>
                  <a:lnTo>
                    <a:pt x="25" y="121"/>
                  </a:lnTo>
                  <a:lnTo>
                    <a:pt x="19" y="106"/>
                  </a:lnTo>
                  <a:lnTo>
                    <a:pt x="14" y="92"/>
                  </a:lnTo>
                  <a:lnTo>
                    <a:pt x="10" y="77"/>
                  </a:lnTo>
                  <a:lnTo>
                    <a:pt x="6" y="62"/>
                  </a:lnTo>
                  <a:lnTo>
                    <a:pt x="4" y="48"/>
                  </a:lnTo>
                  <a:lnTo>
                    <a:pt x="2" y="32"/>
                  </a:lnTo>
                  <a:lnTo>
                    <a:pt x="0" y="16"/>
                  </a:lnTo>
                  <a:lnTo>
                    <a:pt x="0" y="0"/>
                  </a:lnTo>
                  <a:lnTo>
                    <a:pt x="29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8" name="Freeform 1453"/>
            <p:cNvSpPr>
              <a:spLocks/>
            </p:cNvSpPr>
            <p:nvPr/>
          </p:nvSpPr>
          <p:spPr bwMode="auto">
            <a:xfrm>
              <a:off x="7354892" y="-904988"/>
              <a:ext cx="430676" cy="117630"/>
            </a:xfrm>
            <a:custGeom>
              <a:avLst/>
              <a:gdLst>
                <a:gd name="T0" fmla="*/ 0 w 1134"/>
                <a:gd name="T1" fmla="*/ 0 h 309"/>
                <a:gd name="T2" fmla="*/ 824 w 1134"/>
                <a:gd name="T3" fmla="*/ 0 h 309"/>
                <a:gd name="T4" fmla="*/ 824 w 1134"/>
                <a:gd name="T5" fmla="*/ 0 h 309"/>
                <a:gd name="T6" fmla="*/ 840 w 1134"/>
                <a:gd name="T7" fmla="*/ 0 h 309"/>
                <a:gd name="T8" fmla="*/ 856 w 1134"/>
                <a:gd name="T9" fmla="*/ 2 h 309"/>
                <a:gd name="T10" fmla="*/ 872 w 1134"/>
                <a:gd name="T11" fmla="*/ 3 h 309"/>
                <a:gd name="T12" fmla="*/ 886 w 1134"/>
                <a:gd name="T13" fmla="*/ 6 h 309"/>
                <a:gd name="T14" fmla="*/ 902 w 1134"/>
                <a:gd name="T15" fmla="*/ 9 h 309"/>
                <a:gd name="T16" fmla="*/ 917 w 1134"/>
                <a:gd name="T17" fmla="*/ 14 h 309"/>
                <a:gd name="T18" fmla="*/ 930 w 1134"/>
                <a:gd name="T19" fmla="*/ 19 h 309"/>
                <a:gd name="T20" fmla="*/ 945 w 1134"/>
                <a:gd name="T21" fmla="*/ 23 h 309"/>
                <a:gd name="T22" fmla="*/ 958 w 1134"/>
                <a:gd name="T23" fmla="*/ 31 h 309"/>
                <a:gd name="T24" fmla="*/ 971 w 1134"/>
                <a:gd name="T25" fmla="*/ 37 h 309"/>
                <a:gd name="T26" fmla="*/ 997 w 1134"/>
                <a:gd name="T27" fmla="*/ 53 h 309"/>
                <a:gd name="T28" fmla="*/ 1020 w 1134"/>
                <a:gd name="T29" fmla="*/ 70 h 309"/>
                <a:gd name="T30" fmla="*/ 1042 w 1134"/>
                <a:gd name="T31" fmla="*/ 91 h 309"/>
                <a:gd name="T32" fmla="*/ 1063 w 1134"/>
                <a:gd name="T33" fmla="*/ 112 h 309"/>
                <a:gd name="T34" fmla="*/ 1080 w 1134"/>
                <a:gd name="T35" fmla="*/ 136 h 309"/>
                <a:gd name="T36" fmla="*/ 1096 w 1134"/>
                <a:gd name="T37" fmla="*/ 161 h 309"/>
                <a:gd name="T38" fmla="*/ 1103 w 1134"/>
                <a:gd name="T39" fmla="*/ 175 h 309"/>
                <a:gd name="T40" fmla="*/ 1109 w 1134"/>
                <a:gd name="T41" fmla="*/ 188 h 309"/>
                <a:gd name="T42" fmla="*/ 1114 w 1134"/>
                <a:gd name="T43" fmla="*/ 203 h 309"/>
                <a:gd name="T44" fmla="*/ 1119 w 1134"/>
                <a:gd name="T45" fmla="*/ 216 h 309"/>
                <a:gd name="T46" fmla="*/ 1124 w 1134"/>
                <a:gd name="T47" fmla="*/ 232 h 309"/>
                <a:gd name="T48" fmla="*/ 1128 w 1134"/>
                <a:gd name="T49" fmla="*/ 247 h 309"/>
                <a:gd name="T50" fmla="*/ 1130 w 1134"/>
                <a:gd name="T51" fmla="*/ 261 h 309"/>
                <a:gd name="T52" fmla="*/ 1131 w 1134"/>
                <a:gd name="T53" fmla="*/ 277 h 309"/>
                <a:gd name="T54" fmla="*/ 1132 w 1134"/>
                <a:gd name="T55" fmla="*/ 293 h 309"/>
                <a:gd name="T56" fmla="*/ 1134 w 1134"/>
                <a:gd name="T57" fmla="*/ 309 h 309"/>
                <a:gd name="T58" fmla="*/ 0 w 1134"/>
                <a:gd name="T59" fmla="*/ 309 h 309"/>
                <a:gd name="T60" fmla="*/ 0 w 1134"/>
                <a:gd name="T61"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4" h="309">
                  <a:moveTo>
                    <a:pt x="0" y="0"/>
                  </a:moveTo>
                  <a:lnTo>
                    <a:pt x="824" y="0"/>
                  </a:lnTo>
                  <a:lnTo>
                    <a:pt x="824" y="0"/>
                  </a:lnTo>
                  <a:lnTo>
                    <a:pt x="840" y="0"/>
                  </a:lnTo>
                  <a:lnTo>
                    <a:pt x="856" y="2"/>
                  </a:lnTo>
                  <a:lnTo>
                    <a:pt x="872" y="3"/>
                  </a:lnTo>
                  <a:lnTo>
                    <a:pt x="886" y="6"/>
                  </a:lnTo>
                  <a:lnTo>
                    <a:pt x="902" y="9"/>
                  </a:lnTo>
                  <a:lnTo>
                    <a:pt x="917" y="14"/>
                  </a:lnTo>
                  <a:lnTo>
                    <a:pt x="930" y="19"/>
                  </a:lnTo>
                  <a:lnTo>
                    <a:pt x="945" y="23"/>
                  </a:lnTo>
                  <a:lnTo>
                    <a:pt x="958" y="31"/>
                  </a:lnTo>
                  <a:lnTo>
                    <a:pt x="971" y="37"/>
                  </a:lnTo>
                  <a:lnTo>
                    <a:pt x="997" y="53"/>
                  </a:lnTo>
                  <a:lnTo>
                    <a:pt x="1020" y="70"/>
                  </a:lnTo>
                  <a:lnTo>
                    <a:pt x="1042" y="91"/>
                  </a:lnTo>
                  <a:lnTo>
                    <a:pt x="1063" y="112"/>
                  </a:lnTo>
                  <a:lnTo>
                    <a:pt x="1080" y="136"/>
                  </a:lnTo>
                  <a:lnTo>
                    <a:pt x="1096" y="161"/>
                  </a:lnTo>
                  <a:lnTo>
                    <a:pt x="1103" y="175"/>
                  </a:lnTo>
                  <a:lnTo>
                    <a:pt x="1109" y="188"/>
                  </a:lnTo>
                  <a:lnTo>
                    <a:pt x="1114" y="203"/>
                  </a:lnTo>
                  <a:lnTo>
                    <a:pt x="1119" y="216"/>
                  </a:lnTo>
                  <a:lnTo>
                    <a:pt x="1124" y="232"/>
                  </a:lnTo>
                  <a:lnTo>
                    <a:pt x="1128" y="247"/>
                  </a:lnTo>
                  <a:lnTo>
                    <a:pt x="1130" y="261"/>
                  </a:lnTo>
                  <a:lnTo>
                    <a:pt x="1131" y="277"/>
                  </a:lnTo>
                  <a:lnTo>
                    <a:pt x="1132" y="293"/>
                  </a:lnTo>
                  <a:lnTo>
                    <a:pt x="1134" y="309"/>
                  </a:lnTo>
                  <a:lnTo>
                    <a:pt x="0" y="30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0" name="Freeform 1455"/>
            <p:cNvSpPr>
              <a:spLocks/>
            </p:cNvSpPr>
            <p:nvPr/>
          </p:nvSpPr>
          <p:spPr bwMode="auto">
            <a:xfrm>
              <a:off x="6926114" y="-904988"/>
              <a:ext cx="428779" cy="117630"/>
            </a:xfrm>
            <a:custGeom>
              <a:avLst/>
              <a:gdLst>
                <a:gd name="T0" fmla="*/ 1134 w 1134"/>
                <a:gd name="T1" fmla="*/ 0 h 309"/>
                <a:gd name="T2" fmla="*/ 308 w 1134"/>
                <a:gd name="T3" fmla="*/ 0 h 309"/>
                <a:gd name="T4" fmla="*/ 308 w 1134"/>
                <a:gd name="T5" fmla="*/ 0 h 309"/>
                <a:gd name="T6" fmla="*/ 293 w 1134"/>
                <a:gd name="T7" fmla="*/ 0 h 309"/>
                <a:gd name="T8" fmla="*/ 277 w 1134"/>
                <a:gd name="T9" fmla="*/ 2 h 309"/>
                <a:gd name="T10" fmla="*/ 261 w 1134"/>
                <a:gd name="T11" fmla="*/ 3 h 309"/>
                <a:gd name="T12" fmla="*/ 246 w 1134"/>
                <a:gd name="T13" fmla="*/ 6 h 309"/>
                <a:gd name="T14" fmla="*/ 232 w 1134"/>
                <a:gd name="T15" fmla="*/ 9 h 309"/>
                <a:gd name="T16" fmla="*/ 217 w 1134"/>
                <a:gd name="T17" fmla="*/ 14 h 309"/>
                <a:gd name="T18" fmla="*/ 202 w 1134"/>
                <a:gd name="T19" fmla="*/ 19 h 309"/>
                <a:gd name="T20" fmla="*/ 188 w 1134"/>
                <a:gd name="T21" fmla="*/ 23 h 309"/>
                <a:gd name="T22" fmla="*/ 174 w 1134"/>
                <a:gd name="T23" fmla="*/ 31 h 309"/>
                <a:gd name="T24" fmla="*/ 161 w 1134"/>
                <a:gd name="T25" fmla="*/ 37 h 309"/>
                <a:gd name="T26" fmla="*/ 135 w 1134"/>
                <a:gd name="T27" fmla="*/ 53 h 309"/>
                <a:gd name="T28" fmla="*/ 112 w 1134"/>
                <a:gd name="T29" fmla="*/ 70 h 309"/>
                <a:gd name="T30" fmla="*/ 90 w 1134"/>
                <a:gd name="T31" fmla="*/ 91 h 309"/>
                <a:gd name="T32" fmla="*/ 70 w 1134"/>
                <a:gd name="T33" fmla="*/ 112 h 309"/>
                <a:gd name="T34" fmla="*/ 52 w 1134"/>
                <a:gd name="T35" fmla="*/ 136 h 309"/>
                <a:gd name="T36" fmla="*/ 37 w 1134"/>
                <a:gd name="T37" fmla="*/ 161 h 309"/>
                <a:gd name="T38" fmla="*/ 31 w 1134"/>
                <a:gd name="T39" fmla="*/ 175 h 309"/>
                <a:gd name="T40" fmla="*/ 23 w 1134"/>
                <a:gd name="T41" fmla="*/ 188 h 309"/>
                <a:gd name="T42" fmla="*/ 18 w 1134"/>
                <a:gd name="T43" fmla="*/ 203 h 309"/>
                <a:gd name="T44" fmla="*/ 13 w 1134"/>
                <a:gd name="T45" fmla="*/ 216 h 309"/>
                <a:gd name="T46" fmla="*/ 10 w 1134"/>
                <a:gd name="T47" fmla="*/ 232 h 309"/>
                <a:gd name="T48" fmla="*/ 6 w 1134"/>
                <a:gd name="T49" fmla="*/ 247 h 309"/>
                <a:gd name="T50" fmla="*/ 2 w 1134"/>
                <a:gd name="T51" fmla="*/ 261 h 309"/>
                <a:gd name="T52" fmla="*/ 1 w 1134"/>
                <a:gd name="T53" fmla="*/ 277 h 309"/>
                <a:gd name="T54" fmla="*/ 0 w 1134"/>
                <a:gd name="T55" fmla="*/ 293 h 309"/>
                <a:gd name="T56" fmla="*/ 0 w 1134"/>
                <a:gd name="T57" fmla="*/ 309 h 309"/>
                <a:gd name="T58" fmla="*/ 1134 w 1134"/>
                <a:gd name="T59" fmla="*/ 309 h 309"/>
                <a:gd name="T60" fmla="*/ 1134 w 1134"/>
                <a:gd name="T61"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4" h="309">
                  <a:moveTo>
                    <a:pt x="1134" y="0"/>
                  </a:moveTo>
                  <a:lnTo>
                    <a:pt x="308" y="0"/>
                  </a:lnTo>
                  <a:lnTo>
                    <a:pt x="308" y="0"/>
                  </a:lnTo>
                  <a:lnTo>
                    <a:pt x="293" y="0"/>
                  </a:lnTo>
                  <a:lnTo>
                    <a:pt x="277" y="2"/>
                  </a:lnTo>
                  <a:lnTo>
                    <a:pt x="261" y="3"/>
                  </a:lnTo>
                  <a:lnTo>
                    <a:pt x="246" y="6"/>
                  </a:lnTo>
                  <a:lnTo>
                    <a:pt x="232" y="9"/>
                  </a:lnTo>
                  <a:lnTo>
                    <a:pt x="217" y="14"/>
                  </a:lnTo>
                  <a:lnTo>
                    <a:pt x="202" y="19"/>
                  </a:lnTo>
                  <a:lnTo>
                    <a:pt x="188" y="23"/>
                  </a:lnTo>
                  <a:lnTo>
                    <a:pt x="174" y="31"/>
                  </a:lnTo>
                  <a:lnTo>
                    <a:pt x="161" y="37"/>
                  </a:lnTo>
                  <a:lnTo>
                    <a:pt x="135" y="53"/>
                  </a:lnTo>
                  <a:lnTo>
                    <a:pt x="112" y="70"/>
                  </a:lnTo>
                  <a:lnTo>
                    <a:pt x="90" y="91"/>
                  </a:lnTo>
                  <a:lnTo>
                    <a:pt x="70" y="112"/>
                  </a:lnTo>
                  <a:lnTo>
                    <a:pt x="52" y="136"/>
                  </a:lnTo>
                  <a:lnTo>
                    <a:pt x="37" y="161"/>
                  </a:lnTo>
                  <a:lnTo>
                    <a:pt x="31" y="175"/>
                  </a:lnTo>
                  <a:lnTo>
                    <a:pt x="23" y="188"/>
                  </a:lnTo>
                  <a:lnTo>
                    <a:pt x="18" y="203"/>
                  </a:lnTo>
                  <a:lnTo>
                    <a:pt x="13" y="216"/>
                  </a:lnTo>
                  <a:lnTo>
                    <a:pt x="10" y="232"/>
                  </a:lnTo>
                  <a:lnTo>
                    <a:pt x="6" y="247"/>
                  </a:lnTo>
                  <a:lnTo>
                    <a:pt x="2" y="261"/>
                  </a:lnTo>
                  <a:lnTo>
                    <a:pt x="1" y="277"/>
                  </a:lnTo>
                  <a:lnTo>
                    <a:pt x="0" y="293"/>
                  </a:lnTo>
                  <a:lnTo>
                    <a:pt x="0" y="309"/>
                  </a:lnTo>
                  <a:lnTo>
                    <a:pt x="1134" y="309"/>
                  </a:lnTo>
                  <a:lnTo>
                    <a:pt x="113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6" name="Freeform 1491"/>
            <p:cNvSpPr>
              <a:spLocks/>
            </p:cNvSpPr>
            <p:nvPr/>
          </p:nvSpPr>
          <p:spPr bwMode="auto">
            <a:xfrm>
              <a:off x="6882477" y="-686804"/>
              <a:ext cx="121423" cy="119527"/>
            </a:xfrm>
            <a:custGeom>
              <a:avLst/>
              <a:gdLst>
                <a:gd name="T0" fmla="*/ 0 w 320"/>
                <a:gd name="T1" fmla="*/ 318 h 318"/>
                <a:gd name="T2" fmla="*/ 0 w 320"/>
                <a:gd name="T3" fmla="*/ 318 h 318"/>
                <a:gd name="T4" fmla="*/ 1 w 320"/>
                <a:gd name="T5" fmla="*/ 302 h 318"/>
                <a:gd name="T6" fmla="*/ 3 w 320"/>
                <a:gd name="T7" fmla="*/ 287 h 318"/>
                <a:gd name="T8" fmla="*/ 4 w 320"/>
                <a:gd name="T9" fmla="*/ 269 h 318"/>
                <a:gd name="T10" fmla="*/ 7 w 320"/>
                <a:gd name="T11" fmla="*/ 255 h 318"/>
                <a:gd name="T12" fmla="*/ 10 w 320"/>
                <a:gd name="T13" fmla="*/ 239 h 318"/>
                <a:gd name="T14" fmla="*/ 15 w 320"/>
                <a:gd name="T15" fmla="*/ 224 h 318"/>
                <a:gd name="T16" fmla="*/ 20 w 320"/>
                <a:gd name="T17" fmla="*/ 209 h 318"/>
                <a:gd name="T18" fmla="*/ 26 w 320"/>
                <a:gd name="T19" fmla="*/ 195 h 318"/>
                <a:gd name="T20" fmla="*/ 32 w 320"/>
                <a:gd name="T21" fmla="*/ 180 h 318"/>
                <a:gd name="T22" fmla="*/ 39 w 320"/>
                <a:gd name="T23" fmla="*/ 167 h 318"/>
                <a:gd name="T24" fmla="*/ 46 w 320"/>
                <a:gd name="T25" fmla="*/ 154 h 318"/>
                <a:gd name="T26" fmla="*/ 55 w 320"/>
                <a:gd name="T27" fmla="*/ 140 h 318"/>
                <a:gd name="T28" fmla="*/ 64 w 320"/>
                <a:gd name="T29" fmla="*/ 128 h 318"/>
                <a:gd name="T30" fmla="*/ 73 w 320"/>
                <a:gd name="T31" fmla="*/ 116 h 318"/>
                <a:gd name="T32" fmla="*/ 94 w 320"/>
                <a:gd name="T33" fmla="*/ 94 h 318"/>
                <a:gd name="T34" fmla="*/ 105 w 320"/>
                <a:gd name="T35" fmla="*/ 83 h 318"/>
                <a:gd name="T36" fmla="*/ 116 w 320"/>
                <a:gd name="T37" fmla="*/ 73 h 318"/>
                <a:gd name="T38" fmla="*/ 128 w 320"/>
                <a:gd name="T39" fmla="*/ 63 h 318"/>
                <a:gd name="T40" fmla="*/ 140 w 320"/>
                <a:gd name="T41" fmla="*/ 55 h 318"/>
                <a:gd name="T42" fmla="*/ 154 w 320"/>
                <a:gd name="T43" fmla="*/ 46 h 318"/>
                <a:gd name="T44" fmla="*/ 167 w 320"/>
                <a:gd name="T45" fmla="*/ 39 h 318"/>
                <a:gd name="T46" fmla="*/ 181 w 320"/>
                <a:gd name="T47" fmla="*/ 32 h 318"/>
                <a:gd name="T48" fmla="*/ 195 w 320"/>
                <a:gd name="T49" fmla="*/ 26 h 318"/>
                <a:gd name="T50" fmla="*/ 210 w 320"/>
                <a:gd name="T51" fmla="*/ 20 h 318"/>
                <a:gd name="T52" fmla="*/ 224 w 320"/>
                <a:gd name="T53" fmla="*/ 15 h 318"/>
                <a:gd name="T54" fmla="*/ 239 w 320"/>
                <a:gd name="T55" fmla="*/ 10 h 318"/>
                <a:gd name="T56" fmla="*/ 255 w 320"/>
                <a:gd name="T57" fmla="*/ 6 h 318"/>
                <a:gd name="T58" fmla="*/ 271 w 320"/>
                <a:gd name="T59" fmla="*/ 4 h 318"/>
                <a:gd name="T60" fmla="*/ 287 w 320"/>
                <a:gd name="T61" fmla="*/ 1 h 318"/>
                <a:gd name="T62" fmla="*/ 302 w 320"/>
                <a:gd name="T63" fmla="*/ 0 h 318"/>
                <a:gd name="T64" fmla="*/ 320 w 320"/>
                <a:gd name="T65" fmla="*/ 0 h 318"/>
                <a:gd name="T66" fmla="*/ 320 w 320"/>
                <a:gd name="T67" fmla="*/ 318 h 318"/>
                <a:gd name="T68" fmla="*/ 0 w 320"/>
                <a:gd name="T6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318">
                  <a:moveTo>
                    <a:pt x="0" y="318"/>
                  </a:moveTo>
                  <a:lnTo>
                    <a:pt x="0" y="318"/>
                  </a:lnTo>
                  <a:lnTo>
                    <a:pt x="1" y="302"/>
                  </a:lnTo>
                  <a:lnTo>
                    <a:pt x="3" y="287"/>
                  </a:lnTo>
                  <a:lnTo>
                    <a:pt x="4" y="269"/>
                  </a:lnTo>
                  <a:lnTo>
                    <a:pt x="7" y="255"/>
                  </a:lnTo>
                  <a:lnTo>
                    <a:pt x="10" y="239"/>
                  </a:lnTo>
                  <a:lnTo>
                    <a:pt x="15" y="224"/>
                  </a:lnTo>
                  <a:lnTo>
                    <a:pt x="20" y="209"/>
                  </a:lnTo>
                  <a:lnTo>
                    <a:pt x="26" y="195"/>
                  </a:lnTo>
                  <a:lnTo>
                    <a:pt x="32" y="180"/>
                  </a:lnTo>
                  <a:lnTo>
                    <a:pt x="39" y="167"/>
                  </a:lnTo>
                  <a:lnTo>
                    <a:pt x="46" y="154"/>
                  </a:lnTo>
                  <a:lnTo>
                    <a:pt x="55" y="140"/>
                  </a:lnTo>
                  <a:lnTo>
                    <a:pt x="64" y="128"/>
                  </a:lnTo>
                  <a:lnTo>
                    <a:pt x="73" y="116"/>
                  </a:lnTo>
                  <a:lnTo>
                    <a:pt x="94" y="94"/>
                  </a:lnTo>
                  <a:lnTo>
                    <a:pt x="105" y="83"/>
                  </a:lnTo>
                  <a:lnTo>
                    <a:pt x="116" y="73"/>
                  </a:lnTo>
                  <a:lnTo>
                    <a:pt x="128" y="63"/>
                  </a:lnTo>
                  <a:lnTo>
                    <a:pt x="140" y="55"/>
                  </a:lnTo>
                  <a:lnTo>
                    <a:pt x="154" y="46"/>
                  </a:lnTo>
                  <a:lnTo>
                    <a:pt x="167" y="39"/>
                  </a:lnTo>
                  <a:lnTo>
                    <a:pt x="181" y="32"/>
                  </a:lnTo>
                  <a:lnTo>
                    <a:pt x="195" y="26"/>
                  </a:lnTo>
                  <a:lnTo>
                    <a:pt x="210" y="20"/>
                  </a:lnTo>
                  <a:lnTo>
                    <a:pt x="224" y="15"/>
                  </a:lnTo>
                  <a:lnTo>
                    <a:pt x="239" y="10"/>
                  </a:lnTo>
                  <a:lnTo>
                    <a:pt x="255" y="6"/>
                  </a:lnTo>
                  <a:lnTo>
                    <a:pt x="271" y="4"/>
                  </a:lnTo>
                  <a:lnTo>
                    <a:pt x="287" y="1"/>
                  </a:lnTo>
                  <a:lnTo>
                    <a:pt x="302" y="0"/>
                  </a:lnTo>
                  <a:lnTo>
                    <a:pt x="320" y="0"/>
                  </a:lnTo>
                  <a:lnTo>
                    <a:pt x="320" y="318"/>
                  </a:lnTo>
                  <a:lnTo>
                    <a:pt x="0" y="3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8" name="Freeform 1493"/>
            <p:cNvSpPr>
              <a:spLocks/>
            </p:cNvSpPr>
            <p:nvPr/>
          </p:nvSpPr>
          <p:spPr bwMode="auto">
            <a:xfrm>
              <a:off x="7003901" y="-686804"/>
              <a:ext cx="121423" cy="119527"/>
            </a:xfrm>
            <a:custGeom>
              <a:avLst/>
              <a:gdLst>
                <a:gd name="T0" fmla="*/ 0 w 318"/>
                <a:gd name="T1" fmla="*/ 0 h 318"/>
                <a:gd name="T2" fmla="*/ 0 w 318"/>
                <a:gd name="T3" fmla="*/ 0 h 318"/>
                <a:gd name="T4" fmla="*/ 15 w 318"/>
                <a:gd name="T5" fmla="*/ 0 h 318"/>
                <a:gd name="T6" fmla="*/ 31 w 318"/>
                <a:gd name="T7" fmla="*/ 1 h 318"/>
                <a:gd name="T8" fmla="*/ 47 w 318"/>
                <a:gd name="T9" fmla="*/ 4 h 318"/>
                <a:gd name="T10" fmla="*/ 63 w 318"/>
                <a:gd name="T11" fmla="*/ 6 h 318"/>
                <a:gd name="T12" fmla="*/ 79 w 318"/>
                <a:gd name="T13" fmla="*/ 10 h 318"/>
                <a:gd name="T14" fmla="*/ 93 w 318"/>
                <a:gd name="T15" fmla="*/ 15 h 318"/>
                <a:gd name="T16" fmla="*/ 108 w 318"/>
                <a:gd name="T17" fmla="*/ 20 h 318"/>
                <a:gd name="T18" fmla="*/ 123 w 318"/>
                <a:gd name="T19" fmla="*/ 26 h 318"/>
                <a:gd name="T20" fmla="*/ 137 w 318"/>
                <a:gd name="T21" fmla="*/ 32 h 318"/>
                <a:gd name="T22" fmla="*/ 151 w 318"/>
                <a:gd name="T23" fmla="*/ 39 h 318"/>
                <a:gd name="T24" fmla="*/ 164 w 318"/>
                <a:gd name="T25" fmla="*/ 46 h 318"/>
                <a:gd name="T26" fmla="*/ 178 w 318"/>
                <a:gd name="T27" fmla="*/ 55 h 318"/>
                <a:gd name="T28" fmla="*/ 190 w 318"/>
                <a:gd name="T29" fmla="*/ 63 h 318"/>
                <a:gd name="T30" fmla="*/ 202 w 318"/>
                <a:gd name="T31" fmla="*/ 73 h 318"/>
                <a:gd name="T32" fmla="*/ 224 w 318"/>
                <a:gd name="T33" fmla="*/ 94 h 318"/>
                <a:gd name="T34" fmla="*/ 245 w 318"/>
                <a:gd name="T35" fmla="*/ 116 h 318"/>
                <a:gd name="T36" fmla="*/ 254 w 318"/>
                <a:gd name="T37" fmla="*/ 128 h 318"/>
                <a:gd name="T38" fmla="*/ 263 w 318"/>
                <a:gd name="T39" fmla="*/ 140 h 318"/>
                <a:gd name="T40" fmla="*/ 271 w 318"/>
                <a:gd name="T41" fmla="*/ 154 h 318"/>
                <a:gd name="T42" fmla="*/ 279 w 318"/>
                <a:gd name="T43" fmla="*/ 167 h 318"/>
                <a:gd name="T44" fmla="*/ 286 w 318"/>
                <a:gd name="T45" fmla="*/ 180 h 318"/>
                <a:gd name="T46" fmla="*/ 292 w 318"/>
                <a:gd name="T47" fmla="*/ 195 h 318"/>
                <a:gd name="T48" fmla="*/ 298 w 318"/>
                <a:gd name="T49" fmla="*/ 209 h 318"/>
                <a:gd name="T50" fmla="*/ 303 w 318"/>
                <a:gd name="T51" fmla="*/ 224 h 318"/>
                <a:gd name="T52" fmla="*/ 308 w 318"/>
                <a:gd name="T53" fmla="*/ 239 h 318"/>
                <a:gd name="T54" fmla="*/ 310 w 318"/>
                <a:gd name="T55" fmla="*/ 255 h 318"/>
                <a:gd name="T56" fmla="*/ 314 w 318"/>
                <a:gd name="T57" fmla="*/ 269 h 318"/>
                <a:gd name="T58" fmla="*/ 315 w 318"/>
                <a:gd name="T59" fmla="*/ 287 h 318"/>
                <a:gd name="T60" fmla="*/ 317 w 318"/>
                <a:gd name="T61" fmla="*/ 302 h 318"/>
                <a:gd name="T62" fmla="*/ 318 w 318"/>
                <a:gd name="T63" fmla="*/ 318 h 318"/>
                <a:gd name="T64" fmla="*/ 0 w 318"/>
                <a:gd name="T65" fmla="*/ 318 h 318"/>
                <a:gd name="T66" fmla="*/ 0 w 318"/>
                <a:gd name="T67"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8" h="318">
                  <a:moveTo>
                    <a:pt x="0" y="0"/>
                  </a:moveTo>
                  <a:lnTo>
                    <a:pt x="0" y="0"/>
                  </a:lnTo>
                  <a:lnTo>
                    <a:pt x="15" y="0"/>
                  </a:lnTo>
                  <a:lnTo>
                    <a:pt x="31" y="1"/>
                  </a:lnTo>
                  <a:lnTo>
                    <a:pt x="47" y="4"/>
                  </a:lnTo>
                  <a:lnTo>
                    <a:pt x="63" y="6"/>
                  </a:lnTo>
                  <a:lnTo>
                    <a:pt x="79" y="10"/>
                  </a:lnTo>
                  <a:lnTo>
                    <a:pt x="93" y="15"/>
                  </a:lnTo>
                  <a:lnTo>
                    <a:pt x="108" y="20"/>
                  </a:lnTo>
                  <a:lnTo>
                    <a:pt x="123" y="26"/>
                  </a:lnTo>
                  <a:lnTo>
                    <a:pt x="137" y="32"/>
                  </a:lnTo>
                  <a:lnTo>
                    <a:pt x="151" y="39"/>
                  </a:lnTo>
                  <a:lnTo>
                    <a:pt x="164" y="46"/>
                  </a:lnTo>
                  <a:lnTo>
                    <a:pt x="178" y="55"/>
                  </a:lnTo>
                  <a:lnTo>
                    <a:pt x="190" y="63"/>
                  </a:lnTo>
                  <a:lnTo>
                    <a:pt x="202" y="73"/>
                  </a:lnTo>
                  <a:lnTo>
                    <a:pt x="224" y="94"/>
                  </a:lnTo>
                  <a:lnTo>
                    <a:pt x="245" y="116"/>
                  </a:lnTo>
                  <a:lnTo>
                    <a:pt x="254" y="128"/>
                  </a:lnTo>
                  <a:lnTo>
                    <a:pt x="263" y="140"/>
                  </a:lnTo>
                  <a:lnTo>
                    <a:pt x="271" y="154"/>
                  </a:lnTo>
                  <a:lnTo>
                    <a:pt x="279" y="167"/>
                  </a:lnTo>
                  <a:lnTo>
                    <a:pt x="286" y="180"/>
                  </a:lnTo>
                  <a:lnTo>
                    <a:pt x="292" y="195"/>
                  </a:lnTo>
                  <a:lnTo>
                    <a:pt x="298" y="209"/>
                  </a:lnTo>
                  <a:lnTo>
                    <a:pt x="303" y="224"/>
                  </a:lnTo>
                  <a:lnTo>
                    <a:pt x="308" y="239"/>
                  </a:lnTo>
                  <a:lnTo>
                    <a:pt x="310" y="255"/>
                  </a:lnTo>
                  <a:lnTo>
                    <a:pt x="314" y="269"/>
                  </a:lnTo>
                  <a:lnTo>
                    <a:pt x="315" y="287"/>
                  </a:lnTo>
                  <a:lnTo>
                    <a:pt x="317" y="302"/>
                  </a:lnTo>
                  <a:lnTo>
                    <a:pt x="318" y="318"/>
                  </a:lnTo>
                  <a:lnTo>
                    <a:pt x="0" y="31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0" name="Freeform 1495"/>
            <p:cNvSpPr>
              <a:spLocks/>
            </p:cNvSpPr>
            <p:nvPr/>
          </p:nvSpPr>
          <p:spPr bwMode="auto">
            <a:xfrm>
              <a:off x="7003901" y="-567275"/>
              <a:ext cx="121423" cy="121424"/>
            </a:xfrm>
            <a:custGeom>
              <a:avLst/>
              <a:gdLst>
                <a:gd name="T0" fmla="*/ 318 w 318"/>
                <a:gd name="T1" fmla="*/ 0 h 320"/>
                <a:gd name="T2" fmla="*/ 318 w 318"/>
                <a:gd name="T3" fmla="*/ 0 h 320"/>
                <a:gd name="T4" fmla="*/ 317 w 318"/>
                <a:gd name="T5" fmla="*/ 17 h 320"/>
                <a:gd name="T6" fmla="*/ 315 w 318"/>
                <a:gd name="T7" fmla="*/ 33 h 320"/>
                <a:gd name="T8" fmla="*/ 314 w 318"/>
                <a:gd name="T9" fmla="*/ 49 h 320"/>
                <a:gd name="T10" fmla="*/ 310 w 318"/>
                <a:gd name="T11" fmla="*/ 65 h 320"/>
                <a:gd name="T12" fmla="*/ 308 w 318"/>
                <a:gd name="T13" fmla="*/ 81 h 320"/>
                <a:gd name="T14" fmla="*/ 303 w 318"/>
                <a:gd name="T15" fmla="*/ 95 h 320"/>
                <a:gd name="T16" fmla="*/ 298 w 318"/>
                <a:gd name="T17" fmla="*/ 110 h 320"/>
                <a:gd name="T18" fmla="*/ 292 w 318"/>
                <a:gd name="T19" fmla="*/ 125 h 320"/>
                <a:gd name="T20" fmla="*/ 286 w 318"/>
                <a:gd name="T21" fmla="*/ 139 h 320"/>
                <a:gd name="T22" fmla="*/ 279 w 318"/>
                <a:gd name="T23" fmla="*/ 153 h 320"/>
                <a:gd name="T24" fmla="*/ 271 w 318"/>
                <a:gd name="T25" fmla="*/ 166 h 320"/>
                <a:gd name="T26" fmla="*/ 263 w 318"/>
                <a:gd name="T27" fmla="*/ 178 h 320"/>
                <a:gd name="T28" fmla="*/ 254 w 318"/>
                <a:gd name="T29" fmla="*/ 192 h 320"/>
                <a:gd name="T30" fmla="*/ 245 w 318"/>
                <a:gd name="T31" fmla="*/ 203 h 320"/>
                <a:gd name="T32" fmla="*/ 224 w 318"/>
                <a:gd name="T33" fmla="*/ 226 h 320"/>
                <a:gd name="T34" fmla="*/ 202 w 318"/>
                <a:gd name="T35" fmla="*/ 246 h 320"/>
                <a:gd name="T36" fmla="*/ 190 w 318"/>
                <a:gd name="T37" fmla="*/ 256 h 320"/>
                <a:gd name="T38" fmla="*/ 178 w 318"/>
                <a:gd name="T39" fmla="*/ 265 h 320"/>
                <a:gd name="T40" fmla="*/ 164 w 318"/>
                <a:gd name="T41" fmla="*/ 273 h 320"/>
                <a:gd name="T42" fmla="*/ 151 w 318"/>
                <a:gd name="T43" fmla="*/ 281 h 320"/>
                <a:gd name="T44" fmla="*/ 137 w 318"/>
                <a:gd name="T45" fmla="*/ 288 h 320"/>
                <a:gd name="T46" fmla="*/ 123 w 318"/>
                <a:gd name="T47" fmla="*/ 294 h 320"/>
                <a:gd name="T48" fmla="*/ 108 w 318"/>
                <a:gd name="T49" fmla="*/ 300 h 320"/>
                <a:gd name="T50" fmla="*/ 93 w 318"/>
                <a:gd name="T51" fmla="*/ 305 h 320"/>
                <a:gd name="T52" fmla="*/ 79 w 318"/>
                <a:gd name="T53" fmla="*/ 309 h 320"/>
                <a:gd name="T54" fmla="*/ 63 w 318"/>
                <a:gd name="T55" fmla="*/ 312 h 320"/>
                <a:gd name="T56" fmla="*/ 47 w 318"/>
                <a:gd name="T57" fmla="*/ 316 h 320"/>
                <a:gd name="T58" fmla="*/ 31 w 318"/>
                <a:gd name="T59" fmla="*/ 317 h 320"/>
                <a:gd name="T60" fmla="*/ 15 w 318"/>
                <a:gd name="T61" fmla="*/ 318 h 320"/>
                <a:gd name="T62" fmla="*/ 0 w 318"/>
                <a:gd name="T63" fmla="*/ 320 h 320"/>
                <a:gd name="T64" fmla="*/ 0 w 318"/>
                <a:gd name="T65" fmla="*/ 0 h 320"/>
                <a:gd name="T66" fmla="*/ 318 w 318"/>
                <a:gd name="T6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8" h="320">
                  <a:moveTo>
                    <a:pt x="318" y="0"/>
                  </a:moveTo>
                  <a:lnTo>
                    <a:pt x="318" y="0"/>
                  </a:lnTo>
                  <a:lnTo>
                    <a:pt x="317" y="17"/>
                  </a:lnTo>
                  <a:lnTo>
                    <a:pt x="315" y="33"/>
                  </a:lnTo>
                  <a:lnTo>
                    <a:pt x="314" y="49"/>
                  </a:lnTo>
                  <a:lnTo>
                    <a:pt x="310" y="65"/>
                  </a:lnTo>
                  <a:lnTo>
                    <a:pt x="308" y="81"/>
                  </a:lnTo>
                  <a:lnTo>
                    <a:pt x="303" y="95"/>
                  </a:lnTo>
                  <a:lnTo>
                    <a:pt x="298" y="110"/>
                  </a:lnTo>
                  <a:lnTo>
                    <a:pt x="292" y="125"/>
                  </a:lnTo>
                  <a:lnTo>
                    <a:pt x="286" y="139"/>
                  </a:lnTo>
                  <a:lnTo>
                    <a:pt x="279" y="153"/>
                  </a:lnTo>
                  <a:lnTo>
                    <a:pt x="271" y="166"/>
                  </a:lnTo>
                  <a:lnTo>
                    <a:pt x="263" y="178"/>
                  </a:lnTo>
                  <a:lnTo>
                    <a:pt x="254" y="192"/>
                  </a:lnTo>
                  <a:lnTo>
                    <a:pt x="245" y="203"/>
                  </a:lnTo>
                  <a:lnTo>
                    <a:pt x="224" y="226"/>
                  </a:lnTo>
                  <a:lnTo>
                    <a:pt x="202" y="246"/>
                  </a:lnTo>
                  <a:lnTo>
                    <a:pt x="190" y="256"/>
                  </a:lnTo>
                  <a:lnTo>
                    <a:pt x="178" y="265"/>
                  </a:lnTo>
                  <a:lnTo>
                    <a:pt x="164" y="273"/>
                  </a:lnTo>
                  <a:lnTo>
                    <a:pt x="151" y="281"/>
                  </a:lnTo>
                  <a:lnTo>
                    <a:pt x="137" y="288"/>
                  </a:lnTo>
                  <a:lnTo>
                    <a:pt x="123" y="294"/>
                  </a:lnTo>
                  <a:lnTo>
                    <a:pt x="108" y="300"/>
                  </a:lnTo>
                  <a:lnTo>
                    <a:pt x="93" y="305"/>
                  </a:lnTo>
                  <a:lnTo>
                    <a:pt x="79" y="309"/>
                  </a:lnTo>
                  <a:lnTo>
                    <a:pt x="63" y="312"/>
                  </a:lnTo>
                  <a:lnTo>
                    <a:pt x="47" y="316"/>
                  </a:lnTo>
                  <a:lnTo>
                    <a:pt x="31" y="317"/>
                  </a:lnTo>
                  <a:lnTo>
                    <a:pt x="15" y="318"/>
                  </a:lnTo>
                  <a:lnTo>
                    <a:pt x="0" y="320"/>
                  </a:lnTo>
                  <a:lnTo>
                    <a:pt x="0" y="0"/>
                  </a:lnTo>
                  <a:lnTo>
                    <a:pt x="3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2" name="Freeform 1497"/>
            <p:cNvSpPr>
              <a:spLocks/>
            </p:cNvSpPr>
            <p:nvPr/>
          </p:nvSpPr>
          <p:spPr bwMode="auto">
            <a:xfrm>
              <a:off x="6882477" y="-567275"/>
              <a:ext cx="121423" cy="121424"/>
            </a:xfrm>
            <a:custGeom>
              <a:avLst/>
              <a:gdLst>
                <a:gd name="T0" fmla="*/ 320 w 320"/>
                <a:gd name="T1" fmla="*/ 0 h 320"/>
                <a:gd name="T2" fmla="*/ 320 w 320"/>
                <a:gd name="T3" fmla="*/ 320 h 320"/>
                <a:gd name="T4" fmla="*/ 320 w 320"/>
                <a:gd name="T5" fmla="*/ 320 h 320"/>
                <a:gd name="T6" fmla="*/ 302 w 320"/>
                <a:gd name="T7" fmla="*/ 318 h 320"/>
                <a:gd name="T8" fmla="*/ 287 w 320"/>
                <a:gd name="T9" fmla="*/ 317 h 320"/>
                <a:gd name="T10" fmla="*/ 271 w 320"/>
                <a:gd name="T11" fmla="*/ 316 h 320"/>
                <a:gd name="T12" fmla="*/ 255 w 320"/>
                <a:gd name="T13" fmla="*/ 312 h 320"/>
                <a:gd name="T14" fmla="*/ 239 w 320"/>
                <a:gd name="T15" fmla="*/ 309 h 320"/>
                <a:gd name="T16" fmla="*/ 224 w 320"/>
                <a:gd name="T17" fmla="*/ 305 h 320"/>
                <a:gd name="T18" fmla="*/ 210 w 320"/>
                <a:gd name="T19" fmla="*/ 300 h 320"/>
                <a:gd name="T20" fmla="*/ 195 w 320"/>
                <a:gd name="T21" fmla="*/ 294 h 320"/>
                <a:gd name="T22" fmla="*/ 181 w 320"/>
                <a:gd name="T23" fmla="*/ 288 h 320"/>
                <a:gd name="T24" fmla="*/ 167 w 320"/>
                <a:gd name="T25" fmla="*/ 281 h 320"/>
                <a:gd name="T26" fmla="*/ 154 w 320"/>
                <a:gd name="T27" fmla="*/ 273 h 320"/>
                <a:gd name="T28" fmla="*/ 140 w 320"/>
                <a:gd name="T29" fmla="*/ 265 h 320"/>
                <a:gd name="T30" fmla="*/ 128 w 320"/>
                <a:gd name="T31" fmla="*/ 256 h 320"/>
                <a:gd name="T32" fmla="*/ 116 w 320"/>
                <a:gd name="T33" fmla="*/ 246 h 320"/>
                <a:gd name="T34" fmla="*/ 94 w 320"/>
                <a:gd name="T35" fmla="*/ 226 h 320"/>
                <a:gd name="T36" fmla="*/ 73 w 320"/>
                <a:gd name="T37" fmla="*/ 203 h 320"/>
                <a:gd name="T38" fmla="*/ 64 w 320"/>
                <a:gd name="T39" fmla="*/ 192 h 320"/>
                <a:gd name="T40" fmla="*/ 55 w 320"/>
                <a:gd name="T41" fmla="*/ 178 h 320"/>
                <a:gd name="T42" fmla="*/ 46 w 320"/>
                <a:gd name="T43" fmla="*/ 166 h 320"/>
                <a:gd name="T44" fmla="*/ 39 w 320"/>
                <a:gd name="T45" fmla="*/ 153 h 320"/>
                <a:gd name="T46" fmla="*/ 32 w 320"/>
                <a:gd name="T47" fmla="*/ 139 h 320"/>
                <a:gd name="T48" fmla="*/ 26 w 320"/>
                <a:gd name="T49" fmla="*/ 125 h 320"/>
                <a:gd name="T50" fmla="*/ 20 w 320"/>
                <a:gd name="T51" fmla="*/ 110 h 320"/>
                <a:gd name="T52" fmla="*/ 15 w 320"/>
                <a:gd name="T53" fmla="*/ 95 h 320"/>
                <a:gd name="T54" fmla="*/ 10 w 320"/>
                <a:gd name="T55" fmla="*/ 81 h 320"/>
                <a:gd name="T56" fmla="*/ 7 w 320"/>
                <a:gd name="T57" fmla="*/ 65 h 320"/>
                <a:gd name="T58" fmla="*/ 4 w 320"/>
                <a:gd name="T59" fmla="*/ 49 h 320"/>
                <a:gd name="T60" fmla="*/ 3 w 320"/>
                <a:gd name="T61" fmla="*/ 33 h 320"/>
                <a:gd name="T62" fmla="*/ 1 w 320"/>
                <a:gd name="T63" fmla="*/ 17 h 320"/>
                <a:gd name="T64" fmla="*/ 0 w 320"/>
                <a:gd name="T65" fmla="*/ 0 h 320"/>
                <a:gd name="T66" fmla="*/ 320 w 320"/>
                <a:gd name="T6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320">
                  <a:moveTo>
                    <a:pt x="320" y="0"/>
                  </a:moveTo>
                  <a:lnTo>
                    <a:pt x="320" y="320"/>
                  </a:lnTo>
                  <a:lnTo>
                    <a:pt x="320" y="320"/>
                  </a:lnTo>
                  <a:lnTo>
                    <a:pt x="302" y="318"/>
                  </a:lnTo>
                  <a:lnTo>
                    <a:pt x="287" y="317"/>
                  </a:lnTo>
                  <a:lnTo>
                    <a:pt x="271" y="316"/>
                  </a:lnTo>
                  <a:lnTo>
                    <a:pt x="255" y="312"/>
                  </a:lnTo>
                  <a:lnTo>
                    <a:pt x="239" y="309"/>
                  </a:lnTo>
                  <a:lnTo>
                    <a:pt x="224" y="305"/>
                  </a:lnTo>
                  <a:lnTo>
                    <a:pt x="210" y="300"/>
                  </a:lnTo>
                  <a:lnTo>
                    <a:pt x="195" y="294"/>
                  </a:lnTo>
                  <a:lnTo>
                    <a:pt x="181" y="288"/>
                  </a:lnTo>
                  <a:lnTo>
                    <a:pt x="167" y="281"/>
                  </a:lnTo>
                  <a:lnTo>
                    <a:pt x="154" y="273"/>
                  </a:lnTo>
                  <a:lnTo>
                    <a:pt x="140" y="265"/>
                  </a:lnTo>
                  <a:lnTo>
                    <a:pt x="128" y="256"/>
                  </a:lnTo>
                  <a:lnTo>
                    <a:pt x="116" y="246"/>
                  </a:lnTo>
                  <a:lnTo>
                    <a:pt x="94" y="226"/>
                  </a:lnTo>
                  <a:lnTo>
                    <a:pt x="73" y="203"/>
                  </a:lnTo>
                  <a:lnTo>
                    <a:pt x="64" y="192"/>
                  </a:lnTo>
                  <a:lnTo>
                    <a:pt x="55" y="178"/>
                  </a:lnTo>
                  <a:lnTo>
                    <a:pt x="46" y="166"/>
                  </a:lnTo>
                  <a:lnTo>
                    <a:pt x="39" y="153"/>
                  </a:lnTo>
                  <a:lnTo>
                    <a:pt x="32" y="139"/>
                  </a:lnTo>
                  <a:lnTo>
                    <a:pt x="26" y="125"/>
                  </a:lnTo>
                  <a:lnTo>
                    <a:pt x="20" y="110"/>
                  </a:lnTo>
                  <a:lnTo>
                    <a:pt x="15" y="95"/>
                  </a:lnTo>
                  <a:lnTo>
                    <a:pt x="10" y="81"/>
                  </a:lnTo>
                  <a:lnTo>
                    <a:pt x="7" y="65"/>
                  </a:lnTo>
                  <a:lnTo>
                    <a:pt x="4" y="49"/>
                  </a:lnTo>
                  <a:lnTo>
                    <a:pt x="3" y="33"/>
                  </a:lnTo>
                  <a:lnTo>
                    <a:pt x="1" y="17"/>
                  </a:lnTo>
                  <a:lnTo>
                    <a:pt x="0" y="0"/>
                  </a:lnTo>
                  <a:lnTo>
                    <a:pt x="3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3" name="Rectangle 1508"/>
            <p:cNvSpPr>
              <a:spLocks noChangeArrowheads="1"/>
            </p:cNvSpPr>
            <p:nvPr/>
          </p:nvSpPr>
          <p:spPr bwMode="auto">
            <a:xfrm>
              <a:off x="7459241" y="-1178193"/>
              <a:ext cx="60712" cy="1916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9" name="Freeform 1524"/>
            <p:cNvSpPr>
              <a:spLocks/>
            </p:cNvSpPr>
            <p:nvPr/>
          </p:nvSpPr>
          <p:spPr bwMode="auto">
            <a:xfrm>
              <a:off x="7324535" y="-933448"/>
              <a:ext cx="328225" cy="28459"/>
            </a:xfrm>
            <a:custGeom>
              <a:avLst/>
              <a:gdLst>
                <a:gd name="T0" fmla="*/ 829 w 866"/>
                <a:gd name="T1" fmla="*/ 0 h 76"/>
                <a:gd name="T2" fmla="*/ 0 w 866"/>
                <a:gd name="T3" fmla="*/ 0 h 76"/>
                <a:gd name="T4" fmla="*/ 0 w 866"/>
                <a:gd name="T5" fmla="*/ 76 h 76"/>
                <a:gd name="T6" fmla="*/ 866 w 866"/>
                <a:gd name="T7" fmla="*/ 76 h 76"/>
                <a:gd name="T8" fmla="*/ 866 w 866"/>
                <a:gd name="T9" fmla="*/ 76 h 76"/>
                <a:gd name="T10" fmla="*/ 859 w 866"/>
                <a:gd name="T11" fmla="*/ 56 h 76"/>
                <a:gd name="T12" fmla="*/ 850 w 866"/>
                <a:gd name="T13" fmla="*/ 36 h 76"/>
                <a:gd name="T14" fmla="*/ 840 w 866"/>
                <a:gd name="T15" fmla="*/ 17 h 76"/>
                <a:gd name="T16" fmla="*/ 829 w 866"/>
                <a:gd name="T1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6" h="76">
                  <a:moveTo>
                    <a:pt x="829" y="0"/>
                  </a:moveTo>
                  <a:lnTo>
                    <a:pt x="0" y="0"/>
                  </a:lnTo>
                  <a:lnTo>
                    <a:pt x="0" y="76"/>
                  </a:lnTo>
                  <a:lnTo>
                    <a:pt x="866" y="76"/>
                  </a:lnTo>
                  <a:lnTo>
                    <a:pt x="866" y="76"/>
                  </a:lnTo>
                  <a:lnTo>
                    <a:pt x="859" y="56"/>
                  </a:lnTo>
                  <a:lnTo>
                    <a:pt x="850" y="36"/>
                  </a:lnTo>
                  <a:lnTo>
                    <a:pt x="840" y="17"/>
                  </a:lnTo>
                  <a:lnTo>
                    <a:pt x="8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nvGrpSpPr>
            <p:cNvPr id="862" name="그룹 861"/>
            <p:cNvGrpSpPr/>
            <p:nvPr userDrawn="1"/>
          </p:nvGrpSpPr>
          <p:grpSpPr>
            <a:xfrm>
              <a:off x="7097377" y="-1065723"/>
              <a:ext cx="752698" cy="619871"/>
              <a:chOff x="6554252" y="-1561439"/>
              <a:chExt cx="1354638" cy="1115588"/>
            </a:xfrm>
          </p:grpSpPr>
          <p:sp>
            <p:nvSpPr>
              <p:cNvPr id="292" name="Freeform 1437"/>
              <p:cNvSpPr>
                <a:spLocks/>
              </p:cNvSpPr>
              <p:nvPr/>
            </p:nvSpPr>
            <p:spPr bwMode="auto">
              <a:xfrm>
                <a:off x="6652909" y="-1394482"/>
                <a:ext cx="559689" cy="436368"/>
              </a:xfrm>
              <a:custGeom>
                <a:avLst/>
                <a:gdLst>
                  <a:gd name="T0" fmla="*/ 1348 w 1474"/>
                  <a:gd name="T1" fmla="*/ 1151 h 1151"/>
                  <a:gd name="T2" fmla="*/ 1474 w 1474"/>
                  <a:gd name="T3" fmla="*/ 1098 h 1151"/>
                  <a:gd name="T4" fmla="*/ 1064 w 1474"/>
                  <a:gd name="T5" fmla="*/ 116 h 1151"/>
                  <a:gd name="T6" fmla="*/ 16 w 1474"/>
                  <a:gd name="T7" fmla="*/ 0 h 1151"/>
                  <a:gd name="T8" fmla="*/ 0 w 1474"/>
                  <a:gd name="T9" fmla="*/ 135 h 1151"/>
                  <a:gd name="T10" fmla="*/ 969 w 1474"/>
                  <a:gd name="T11" fmla="*/ 243 h 1151"/>
                  <a:gd name="T12" fmla="*/ 1348 w 1474"/>
                  <a:gd name="T13" fmla="*/ 1151 h 1151"/>
                </a:gdLst>
                <a:ahLst/>
                <a:cxnLst>
                  <a:cxn ang="0">
                    <a:pos x="T0" y="T1"/>
                  </a:cxn>
                  <a:cxn ang="0">
                    <a:pos x="T2" y="T3"/>
                  </a:cxn>
                  <a:cxn ang="0">
                    <a:pos x="T4" y="T5"/>
                  </a:cxn>
                  <a:cxn ang="0">
                    <a:pos x="T6" y="T7"/>
                  </a:cxn>
                  <a:cxn ang="0">
                    <a:pos x="T8" y="T9"/>
                  </a:cxn>
                  <a:cxn ang="0">
                    <a:pos x="T10" y="T11"/>
                  </a:cxn>
                  <a:cxn ang="0">
                    <a:pos x="T12" y="T13"/>
                  </a:cxn>
                </a:cxnLst>
                <a:rect l="0" t="0" r="r" b="b"/>
                <a:pathLst>
                  <a:path w="1474" h="1151">
                    <a:moveTo>
                      <a:pt x="1348" y="1151"/>
                    </a:moveTo>
                    <a:lnTo>
                      <a:pt x="1474" y="1098"/>
                    </a:lnTo>
                    <a:lnTo>
                      <a:pt x="1064" y="116"/>
                    </a:lnTo>
                    <a:lnTo>
                      <a:pt x="16" y="0"/>
                    </a:lnTo>
                    <a:lnTo>
                      <a:pt x="0" y="135"/>
                    </a:lnTo>
                    <a:lnTo>
                      <a:pt x="969" y="243"/>
                    </a:lnTo>
                    <a:lnTo>
                      <a:pt x="1348" y="1151"/>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93" name="Freeform 1438"/>
              <p:cNvSpPr>
                <a:spLocks/>
              </p:cNvSpPr>
              <p:nvPr/>
            </p:nvSpPr>
            <p:spPr bwMode="auto">
              <a:xfrm>
                <a:off x="7294179" y="-1329973"/>
                <a:ext cx="113834" cy="140397"/>
              </a:xfrm>
              <a:custGeom>
                <a:avLst/>
                <a:gdLst>
                  <a:gd name="T0" fmla="*/ 0 w 301"/>
                  <a:gd name="T1" fmla="*/ 0 h 373"/>
                  <a:gd name="T2" fmla="*/ 301 w 301"/>
                  <a:gd name="T3" fmla="*/ 128 h 373"/>
                  <a:gd name="T4" fmla="*/ 301 w 301"/>
                  <a:gd name="T5" fmla="*/ 245 h 373"/>
                  <a:gd name="T6" fmla="*/ 0 w 301"/>
                  <a:gd name="T7" fmla="*/ 373 h 373"/>
                  <a:gd name="T8" fmla="*/ 0 w 301"/>
                  <a:gd name="T9" fmla="*/ 0 h 373"/>
                </a:gdLst>
                <a:ahLst/>
                <a:cxnLst>
                  <a:cxn ang="0">
                    <a:pos x="T0" y="T1"/>
                  </a:cxn>
                  <a:cxn ang="0">
                    <a:pos x="T2" y="T3"/>
                  </a:cxn>
                  <a:cxn ang="0">
                    <a:pos x="T4" y="T5"/>
                  </a:cxn>
                  <a:cxn ang="0">
                    <a:pos x="T6" y="T7"/>
                  </a:cxn>
                  <a:cxn ang="0">
                    <a:pos x="T8" y="T9"/>
                  </a:cxn>
                </a:cxnLst>
                <a:rect l="0" t="0" r="r" b="b"/>
                <a:pathLst>
                  <a:path w="301" h="373">
                    <a:moveTo>
                      <a:pt x="0" y="0"/>
                    </a:moveTo>
                    <a:lnTo>
                      <a:pt x="301" y="128"/>
                    </a:lnTo>
                    <a:lnTo>
                      <a:pt x="301" y="245"/>
                    </a:lnTo>
                    <a:lnTo>
                      <a:pt x="0" y="373"/>
                    </a:lnTo>
                    <a:lnTo>
                      <a:pt x="0"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94" name="Freeform 1439"/>
              <p:cNvSpPr>
                <a:spLocks/>
              </p:cNvSpPr>
              <p:nvPr/>
            </p:nvSpPr>
            <p:spPr bwMode="auto">
              <a:xfrm>
                <a:off x="7294179" y="-1329973"/>
                <a:ext cx="113834" cy="140397"/>
              </a:xfrm>
              <a:custGeom>
                <a:avLst/>
                <a:gdLst>
                  <a:gd name="T0" fmla="*/ 0 w 301"/>
                  <a:gd name="T1" fmla="*/ 0 h 373"/>
                  <a:gd name="T2" fmla="*/ 301 w 301"/>
                  <a:gd name="T3" fmla="*/ 128 h 373"/>
                  <a:gd name="T4" fmla="*/ 301 w 301"/>
                  <a:gd name="T5" fmla="*/ 245 h 373"/>
                  <a:gd name="T6" fmla="*/ 0 w 301"/>
                  <a:gd name="T7" fmla="*/ 373 h 373"/>
                  <a:gd name="T8" fmla="*/ 0 w 301"/>
                  <a:gd name="T9" fmla="*/ 0 h 373"/>
                </a:gdLst>
                <a:ahLst/>
                <a:cxnLst>
                  <a:cxn ang="0">
                    <a:pos x="T0" y="T1"/>
                  </a:cxn>
                  <a:cxn ang="0">
                    <a:pos x="T2" y="T3"/>
                  </a:cxn>
                  <a:cxn ang="0">
                    <a:pos x="T4" y="T5"/>
                  </a:cxn>
                  <a:cxn ang="0">
                    <a:pos x="T6" y="T7"/>
                  </a:cxn>
                  <a:cxn ang="0">
                    <a:pos x="T8" y="T9"/>
                  </a:cxn>
                </a:cxnLst>
                <a:rect l="0" t="0" r="r" b="b"/>
                <a:pathLst>
                  <a:path w="301" h="373">
                    <a:moveTo>
                      <a:pt x="0" y="0"/>
                    </a:moveTo>
                    <a:lnTo>
                      <a:pt x="301" y="128"/>
                    </a:lnTo>
                    <a:lnTo>
                      <a:pt x="301" y="245"/>
                    </a:lnTo>
                    <a:lnTo>
                      <a:pt x="0" y="37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95" name="Freeform 1440"/>
              <p:cNvSpPr>
                <a:spLocks/>
              </p:cNvSpPr>
              <p:nvPr/>
            </p:nvSpPr>
            <p:spPr bwMode="auto">
              <a:xfrm>
                <a:off x="7227776" y="-986570"/>
                <a:ext cx="430676" cy="117630"/>
              </a:xfrm>
              <a:custGeom>
                <a:avLst/>
                <a:gdLst>
                  <a:gd name="T0" fmla="*/ 0 w 1133"/>
                  <a:gd name="T1" fmla="*/ 0 h 309"/>
                  <a:gd name="T2" fmla="*/ 825 w 1133"/>
                  <a:gd name="T3" fmla="*/ 0 h 309"/>
                  <a:gd name="T4" fmla="*/ 825 w 1133"/>
                  <a:gd name="T5" fmla="*/ 0 h 309"/>
                  <a:gd name="T6" fmla="*/ 841 w 1133"/>
                  <a:gd name="T7" fmla="*/ 0 h 309"/>
                  <a:gd name="T8" fmla="*/ 857 w 1133"/>
                  <a:gd name="T9" fmla="*/ 2 h 309"/>
                  <a:gd name="T10" fmla="*/ 871 w 1133"/>
                  <a:gd name="T11" fmla="*/ 4 h 309"/>
                  <a:gd name="T12" fmla="*/ 887 w 1133"/>
                  <a:gd name="T13" fmla="*/ 6 h 309"/>
                  <a:gd name="T14" fmla="*/ 902 w 1133"/>
                  <a:gd name="T15" fmla="*/ 10 h 309"/>
                  <a:gd name="T16" fmla="*/ 916 w 1133"/>
                  <a:gd name="T17" fmla="*/ 14 h 309"/>
                  <a:gd name="T18" fmla="*/ 931 w 1133"/>
                  <a:gd name="T19" fmla="*/ 19 h 309"/>
                  <a:gd name="T20" fmla="*/ 944 w 1133"/>
                  <a:gd name="T21" fmla="*/ 25 h 309"/>
                  <a:gd name="T22" fmla="*/ 959 w 1133"/>
                  <a:gd name="T23" fmla="*/ 31 h 309"/>
                  <a:gd name="T24" fmla="*/ 972 w 1133"/>
                  <a:gd name="T25" fmla="*/ 37 h 309"/>
                  <a:gd name="T26" fmla="*/ 997 w 1133"/>
                  <a:gd name="T27" fmla="*/ 53 h 309"/>
                  <a:gd name="T28" fmla="*/ 1021 w 1133"/>
                  <a:gd name="T29" fmla="*/ 71 h 309"/>
                  <a:gd name="T30" fmla="*/ 1043 w 1133"/>
                  <a:gd name="T31" fmla="*/ 91 h 309"/>
                  <a:gd name="T32" fmla="*/ 1063 w 1133"/>
                  <a:gd name="T33" fmla="*/ 112 h 309"/>
                  <a:gd name="T34" fmla="*/ 1081 w 1133"/>
                  <a:gd name="T35" fmla="*/ 136 h 309"/>
                  <a:gd name="T36" fmla="*/ 1096 w 1133"/>
                  <a:gd name="T37" fmla="*/ 161 h 309"/>
                  <a:gd name="T38" fmla="*/ 1103 w 1133"/>
                  <a:gd name="T39" fmla="*/ 175 h 309"/>
                  <a:gd name="T40" fmla="*/ 1109 w 1133"/>
                  <a:gd name="T41" fmla="*/ 188 h 309"/>
                  <a:gd name="T42" fmla="*/ 1115 w 1133"/>
                  <a:gd name="T43" fmla="*/ 203 h 309"/>
                  <a:gd name="T44" fmla="*/ 1120 w 1133"/>
                  <a:gd name="T45" fmla="*/ 217 h 309"/>
                  <a:gd name="T46" fmla="*/ 1124 w 1133"/>
                  <a:gd name="T47" fmla="*/ 232 h 309"/>
                  <a:gd name="T48" fmla="*/ 1127 w 1133"/>
                  <a:gd name="T49" fmla="*/ 247 h 309"/>
                  <a:gd name="T50" fmla="*/ 1130 w 1133"/>
                  <a:gd name="T51" fmla="*/ 261 h 309"/>
                  <a:gd name="T52" fmla="*/ 1132 w 1133"/>
                  <a:gd name="T53" fmla="*/ 277 h 309"/>
                  <a:gd name="T54" fmla="*/ 1133 w 1133"/>
                  <a:gd name="T55" fmla="*/ 293 h 309"/>
                  <a:gd name="T56" fmla="*/ 1133 w 1133"/>
                  <a:gd name="T57" fmla="*/ 309 h 309"/>
                  <a:gd name="T58" fmla="*/ 0 w 1133"/>
                  <a:gd name="T59" fmla="*/ 309 h 309"/>
                  <a:gd name="T60" fmla="*/ 0 w 1133"/>
                  <a:gd name="T61"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3" h="309">
                    <a:moveTo>
                      <a:pt x="0" y="0"/>
                    </a:moveTo>
                    <a:lnTo>
                      <a:pt x="825" y="0"/>
                    </a:lnTo>
                    <a:lnTo>
                      <a:pt x="825" y="0"/>
                    </a:lnTo>
                    <a:lnTo>
                      <a:pt x="841" y="0"/>
                    </a:lnTo>
                    <a:lnTo>
                      <a:pt x="857" y="2"/>
                    </a:lnTo>
                    <a:lnTo>
                      <a:pt x="871" y="4"/>
                    </a:lnTo>
                    <a:lnTo>
                      <a:pt x="887" y="6"/>
                    </a:lnTo>
                    <a:lnTo>
                      <a:pt x="902" y="10"/>
                    </a:lnTo>
                    <a:lnTo>
                      <a:pt x="916" y="14"/>
                    </a:lnTo>
                    <a:lnTo>
                      <a:pt x="931" y="19"/>
                    </a:lnTo>
                    <a:lnTo>
                      <a:pt x="944" y="25"/>
                    </a:lnTo>
                    <a:lnTo>
                      <a:pt x="959" y="31"/>
                    </a:lnTo>
                    <a:lnTo>
                      <a:pt x="972" y="37"/>
                    </a:lnTo>
                    <a:lnTo>
                      <a:pt x="997" y="53"/>
                    </a:lnTo>
                    <a:lnTo>
                      <a:pt x="1021" y="71"/>
                    </a:lnTo>
                    <a:lnTo>
                      <a:pt x="1043" y="91"/>
                    </a:lnTo>
                    <a:lnTo>
                      <a:pt x="1063" y="112"/>
                    </a:lnTo>
                    <a:lnTo>
                      <a:pt x="1081" y="136"/>
                    </a:lnTo>
                    <a:lnTo>
                      <a:pt x="1096" y="161"/>
                    </a:lnTo>
                    <a:lnTo>
                      <a:pt x="1103" y="175"/>
                    </a:lnTo>
                    <a:lnTo>
                      <a:pt x="1109" y="188"/>
                    </a:lnTo>
                    <a:lnTo>
                      <a:pt x="1115" y="203"/>
                    </a:lnTo>
                    <a:lnTo>
                      <a:pt x="1120" y="217"/>
                    </a:lnTo>
                    <a:lnTo>
                      <a:pt x="1124" y="232"/>
                    </a:lnTo>
                    <a:lnTo>
                      <a:pt x="1127" y="247"/>
                    </a:lnTo>
                    <a:lnTo>
                      <a:pt x="1130" y="261"/>
                    </a:lnTo>
                    <a:lnTo>
                      <a:pt x="1132" y="277"/>
                    </a:lnTo>
                    <a:lnTo>
                      <a:pt x="1133" y="293"/>
                    </a:lnTo>
                    <a:lnTo>
                      <a:pt x="1133" y="309"/>
                    </a:lnTo>
                    <a:lnTo>
                      <a:pt x="0" y="309"/>
                    </a:lnTo>
                    <a:lnTo>
                      <a:pt x="0" y="0"/>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97" name="Rectangle 1442"/>
              <p:cNvSpPr>
                <a:spLocks noChangeArrowheads="1"/>
              </p:cNvSpPr>
              <p:nvPr/>
            </p:nvSpPr>
            <p:spPr bwMode="auto">
              <a:xfrm>
                <a:off x="7476316" y="-1493137"/>
                <a:ext cx="15178" cy="178342"/>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98" name="Rectangle 1443"/>
              <p:cNvSpPr>
                <a:spLocks noChangeArrowheads="1"/>
              </p:cNvSpPr>
              <p:nvPr/>
            </p:nvSpPr>
            <p:spPr bwMode="auto">
              <a:xfrm>
                <a:off x="7698295" y="-1041591"/>
                <a:ext cx="17076" cy="178342"/>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299" name="Freeform 1444"/>
              <p:cNvSpPr>
                <a:spLocks/>
              </p:cNvSpPr>
              <p:nvPr/>
            </p:nvSpPr>
            <p:spPr bwMode="auto">
              <a:xfrm>
                <a:off x="6956470" y="-1356536"/>
                <a:ext cx="168856" cy="117630"/>
              </a:xfrm>
              <a:custGeom>
                <a:avLst/>
                <a:gdLst>
                  <a:gd name="T0" fmla="*/ 432 w 447"/>
                  <a:gd name="T1" fmla="*/ 0 h 311"/>
                  <a:gd name="T2" fmla="*/ 432 w 447"/>
                  <a:gd name="T3" fmla="*/ 0 h 311"/>
                  <a:gd name="T4" fmla="*/ 440 w 447"/>
                  <a:gd name="T5" fmla="*/ 23 h 311"/>
                  <a:gd name="T6" fmla="*/ 445 w 447"/>
                  <a:gd name="T7" fmla="*/ 45 h 311"/>
                  <a:gd name="T8" fmla="*/ 447 w 447"/>
                  <a:gd name="T9" fmla="*/ 68 h 311"/>
                  <a:gd name="T10" fmla="*/ 447 w 447"/>
                  <a:gd name="T11" fmla="*/ 90 h 311"/>
                  <a:gd name="T12" fmla="*/ 445 w 447"/>
                  <a:gd name="T13" fmla="*/ 113 h 311"/>
                  <a:gd name="T14" fmla="*/ 441 w 447"/>
                  <a:gd name="T15" fmla="*/ 134 h 311"/>
                  <a:gd name="T16" fmla="*/ 434 w 447"/>
                  <a:gd name="T17" fmla="*/ 156 h 311"/>
                  <a:gd name="T18" fmla="*/ 426 w 447"/>
                  <a:gd name="T19" fmla="*/ 177 h 311"/>
                  <a:gd name="T20" fmla="*/ 415 w 447"/>
                  <a:gd name="T21" fmla="*/ 196 h 311"/>
                  <a:gd name="T22" fmla="*/ 403 w 447"/>
                  <a:gd name="T23" fmla="*/ 214 h 311"/>
                  <a:gd name="T24" fmla="*/ 390 w 447"/>
                  <a:gd name="T25" fmla="*/ 233 h 311"/>
                  <a:gd name="T26" fmla="*/ 374 w 447"/>
                  <a:gd name="T27" fmla="*/ 249 h 311"/>
                  <a:gd name="T28" fmla="*/ 357 w 447"/>
                  <a:gd name="T29" fmla="*/ 263 h 311"/>
                  <a:gd name="T30" fmla="*/ 338 w 447"/>
                  <a:gd name="T31" fmla="*/ 275 h 311"/>
                  <a:gd name="T32" fmla="*/ 318 w 447"/>
                  <a:gd name="T33" fmla="*/ 288 h 311"/>
                  <a:gd name="T34" fmla="*/ 297 w 447"/>
                  <a:gd name="T35" fmla="*/ 296 h 311"/>
                  <a:gd name="T36" fmla="*/ 297 w 447"/>
                  <a:gd name="T37" fmla="*/ 296 h 311"/>
                  <a:gd name="T38" fmla="*/ 274 w 447"/>
                  <a:gd name="T39" fmla="*/ 303 h 311"/>
                  <a:gd name="T40" fmla="*/ 251 w 447"/>
                  <a:gd name="T41" fmla="*/ 308 h 311"/>
                  <a:gd name="T42" fmla="*/ 229 w 447"/>
                  <a:gd name="T43" fmla="*/ 311 h 311"/>
                  <a:gd name="T44" fmla="*/ 206 w 447"/>
                  <a:gd name="T45" fmla="*/ 311 h 311"/>
                  <a:gd name="T46" fmla="*/ 184 w 447"/>
                  <a:gd name="T47" fmla="*/ 308 h 311"/>
                  <a:gd name="T48" fmla="*/ 162 w 447"/>
                  <a:gd name="T49" fmla="*/ 305 h 311"/>
                  <a:gd name="T50" fmla="*/ 141 w 447"/>
                  <a:gd name="T51" fmla="*/ 298 h 311"/>
                  <a:gd name="T52" fmla="*/ 120 w 447"/>
                  <a:gd name="T53" fmla="*/ 290 h 311"/>
                  <a:gd name="T54" fmla="*/ 101 w 447"/>
                  <a:gd name="T55" fmla="*/ 280 h 311"/>
                  <a:gd name="T56" fmla="*/ 81 w 447"/>
                  <a:gd name="T57" fmla="*/ 268 h 311"/>
                  <a:gd name="T58" fmla="*/ 64 w 447"/>
                  <a:gd name="T59" fmla="*/ 253 h 311"/>
                  <a:gd name="T60" fmla="*/ 48 w 447"/>
                  <a:gd name="T61" fmla="*/ 239 h 311"/>
                  <a:gd name="T62" fmla="*/ 34 w 447"/>
                  <a:gd name="T63" fmla="*/ 222 h 311"/>
                  <a:gd name="T64" fmla="*/ 20 w 447"/>
                  <a:gd name="T65" fmla="*/ 202 h 311"/>
                  <a:gd name="T66" fmla="*/ 9 w 447"/>
                  <a:gd name="T67" fmla="*/ 183 h 311"/>
                  <a:gd name="T68" fmla="*/ 0 w 447"/>
                  <a:gd name="T69" fmla="*/ 161 h 311"/>
                  <a:gd name="T70" fmla="*/ 432 w 447"/>
                  <a:gd name="T71"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7" h="311">
                    <a:moveTo>
                      <a:pt x="432" y="0"/>
                    </a:moveTo>
                    <a:lnTo>
                      <a:pt x="432" y="0"/>
                    </a:lnTo>
                    <a:lnTo>
                      <a:pt x="440" y="23"/>
                    </a:lnTo>
                    <a:lnTo>
                      <a:pt x="445" y="45"/>
                    </a:lnTo>
                    <a:lnTo>
                      <a:pt x="447" y="68"/>
                    </a:lnTo>
                    <a:lnTo>
                      <a:pt x="447" y="90"/>
                    </a:lnTo>
                    <a:lnTo>
                      <a:pt x="445" y="113"/>
                    </a:lnTo>
                    <a:lnTo>
                      <a:pt x="441" y="134"/>
                    </a:lnTo>
                    <a:lnTo>
                      <a:pt x="434" y="156"/>
                    </a:lnTo>
                    <a:lnTo>
                      <a:pt x="426" y="177"/>
                    </a:lnTo>
                    <a:lnTo>
                      <a:pt x="415" y="196"/>
                    </a:lnTo>
                    <a:lnTo>
                      <a:pt x="403" y="214"/>
                    </a:lnTo>
                    <a:lnTo>
                      <a:pt x="390" y="233"/>
                    </a:lnTo>
                    <a:lnTo>
                      <a:pt x="374" y="249"/>
                    </a:lnTo>
                    <a:lnTo>
                      <a:pt x="357" y="263"/>
                    </a:lnTo>
                    <a:lnTo>
                      <a:pt x="338" y="275"/>
                    </a:lnTo>
                    <a:lnTo>
                      <a:pt x="318" y="288"/>
                    </a:lnTo>
                    <a:lnTo>
                      <a:pt x="297" y="296"/>
                    </a:lnTo>
                    <a:lnTo>
                      <a:pt x="297" y="296"/>
                    </a:lnTo>
                    <a:lnTo>
                      <a:pt x="274" y="303"/>
                    </a:lnTo>
                    <a:lnTo>
                      <a:pt x="251" y="308"/>
                    </a:lnTo>
                    <a:lnTo>
                      <a:pt x="229" y="311"/>
                    </a:lnTo>
                    <a:lnTo>
                      <a:pt x="206" y="311"/>
                    </a:lnTo>
                    <a:lnTo>
                      <a:pt x="184" y="308"/>
                    </a:lnTo>
                    <a:lnTo>
                      <a:pt x="162" y="305"/>
                    </a:lnTo>
                    <a:lnTo>
                      <a:pt x="141" y="298"/>
                    </a:lnTo>
                    <a:lnTo>
                      <a:pt x="120" y="290"/>
                    </a:lnTo>
                    <a:lnTo>
                      <a:pt x="101" y="280"/>
                    </a:lnTo>
                    <a:lnTo>
                      <a:pt x="81" y="268"/>
                    </a:lnTo>
                    <a:lnTo>
                      <a:pt x="64" y="253"/>
                    </a:lnTo>
                    <a:lnTo>
                      <a:pt x="48" y="239"/>
                    </a:lnTo>
                    <a:lnTo>
                      <a:pt x="34" y="222"/>
                    </a:lnTo>
                    <a:lnTo>
                      <a:pt x="20" y="202"/>
                    </a:lnTo>
                    <a:lnTo>
                      <a:pt x="9" y="183"/>
                    </a:lnTo>
                    <a:lnTo>
                      <a:pt x="0" y="161"/>
                    </a:lnTo>
                    <a:lnTo>
                      <a:pt x="432" y="0"/>
                    </a:lnTo>
                    <a:close/>
                  </a:path>
                </a:pathLst>
              </a:custGeom>
              <a:solidFill>
                <a:srgbClr val="FF6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0" name="Freeform 1445"/>
              <p:cNvSpPr>
                <a:spLocks/>
              </p:cNvSpPr>
              <p:nvPr/>
            </p:nvSpPr>
            <p:spPr bwMode="auto">
              <a:xfrm>
                <a:off x="6950777" y="-1413453"/>
                <a:ext cx="168856" cy="117630"/>
              </a:xfrm>
              <a:custGeom>
                <a:avLst/>
                <a:gdLst>
                  <a:gd name="T0" fmla="*/ 14 w 446"/>
                  <a:gd name="T1" fmla="*/ 311 h 311"/>
                  <a:gd name="T2" fmla="*/ 14 w 446"/>
                  <a:gd name="T3" fmla="*/ 311 h 311"/>
                  <a:gd name="T4" fmla="*/ 6 w 446"/>
                  <a:gd name="T5" fmla="*/ 288 h 311"/>
                  <a:gd name="T6" fmla="*/ 3 w 446"/>
                  <a:gd name="T7" fmla="*/ 266 h 311"/>
                  <a:gd name="T8" fmla="*/ 0 w 446"/>
                  <a:gd name="T9" fmla="*/ 242 h 311"/>
                  <a:gd name="T10" fmla="*/ 0 w 446"/>
                  <a:gd name="T11" fmla="*/ 221 h 311"/>
                  <a:gd name="T12" fmla="*/ 1 w 446"/>
                  <a:gd name="T13" fmla="*/ 197 h 311"/>
                  <a:gd name="T14" fmla="*/ 6 w 446"/>
                  <a:gd name="T15" fmla="*/ 175 h 311"/>
                  <a:gd name="T16" fmla="*/ 12 w 446"/>
                  <a:gd name="T17" fmla="*/ 155 h 311"/>
                  <a:gd name="T18" fmla="*/ 21 w 446"/>
                  <a:gd name="T19" fmla="*/ 134 h 311"/>
                  <a:gd name="T20" fmla="*/ 31 w 446"/>
                  <a:gd name="T21" fmla="*/ 114 h 311"/>
                  <a:gd name="T22" fmla="*/ 43 w 446"/>
                  <a:gd name="T23" fmla="*/ 96 h 311"/>
                  <a:gd name="T24" fmla="*/ 56 w 446"/>
                  <a:gd name="T25" fmla="*/ 78 h 311"/>
                  <a:gd name="T26" fmla="*/ 72 w 446"/>
                  <a:gd name="T27" fmla="*/ 62 h 311"/>
                  <a:gd name="T28" fmla="*/ 89 w 446"/>
                  <a:gd name="T29" fmla="*/ 47 h 311"/>
                  <a:gd name="T30" fmla="*/ 107 w 446"/>
                  <a:gd name="T31" fmla="*/ 34 h 311"/>
                  <a:gd name="T32" fmla="*/ 128 w 446"/>
                  <a:gd name="T33" fmla="*/ 23 h 311"/>
                  <a:gd name="T34" fmla="*/ 150 w 446"/>
                  <a:gd name="T35" fmla="*/ 14 h 311"/>
                  <a:gd name="T36" fmla="*/ 150 w 446"/>
                  <a:gd name="T37" fmla="*/ 14 h 311"/>
                  <a:gd name="T38" fmla="*/ 172 w 446"/>
                  <a:gd name="T39" fmla="*/ 7 h 311"/>
                  <a:gd name="T40" fmla="*/ 195 w 446"/>
                  <a:gd name="T41" fmla="*/ 2 h 311"/>
                  <a:gd name="T42" fmla="*/ 217 w 446"/>
                  <a:gd name="T43" fmla="*/ 0 h 311"/>
                  <a:gd name="T44" fmla="*/ 240 w 446"/>
                  <a:gd name="T45" fmla="*/ 0 h 311"/>
                  <a:gd name="T46" fmla="*/ 262 w 446"/>
                  <a:gd name="T47" fmla="*/ 2 h 311"/>
                  <a:gd name="T48" fmla="*/ 284 w 446"/>
                  <a:gd name="T49" fmla="*/ 6 h 311"/>
                  <a:gd name="T50" fmla="*/ 306 w 446"/>
                  <a:gd name="T51" fmla="*/ 12 h 311"/>
                  <a:gd name="T52" fmla="*/ 326 w 446"/>
                  <a:gd name="T53" fmla="*/ 21 h 311"/>
                  <a:gd name="T54" fmla="*/ 346 w 446"/>
                  <a:gd name="T55" fmla="*/ 30 h 311"/>
                  <a:gd name="T56" fmla="*/ 365 w 446"/>
                  <a:gd name="T57" fmla="*/ 43 h 311"/>
                  <a:gd name="T58" fmla="*/ 382 w 446"/>
                  <a:gd name="T59" fmla="*/ 56 h 311"/>
                  <a:gd name="T60" fmla="*/ 398 w 446"/>
                  <a:gd name="T61" fmla="*/ 72 h 311"/>
                  <a:gd name="T62" fmla="*/ 412 w 446"/>
                  <a:gd name="T63" fmla="*/ 89 h 311"/>
                  <a:gd name="T64" fmla="*/ 426 w 446"/>
                  <a:gd name="T65" fmla="*/ 108 h 311"/>
                  <a:gd name="T66" fmla="*/ 437 w 446"/>
                  <a:gd name="T67" fmla="*/ 128 h 311"/>
                  <a:gd name="T68" fmla="*/ 446 w 446"/>
                  <a:gd name="T69" fmla="*/ 150 h 311"/>
                  <a:gd name="T70" fmla="*/ 14 w 446"/>
                  <a:gd name="T71" fmla="*/ 311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6" h="311">
                    <a:moveTo>
                      <a:pt x="14" y="311"/>
                    </a:moveTo>
                    <a:lnTo>
                      <a:pt x="14" y="311"/>
                    </a:lnTo>
                    <a:lnTo>
                      <a:pt x="6" y="288"/>
                    </a:lnTo>
                    <a:lnTo>
                      <a:pt x="3" y="266"/>
                    </a:lnTo>
                    <a:lnTo>
                      <a:pt x="0" y="242"/>
                    </a:lnTo>
                    <a:lnTo>
                      <a:pt x="0" y="221"/>
                    </a:lnTo>
                    <a:lnTo>
                      <a:pt x="1" y="197"/>
                    </a:lnTo>
                    <a:lnTo>
                      <a:pt x="6" y="175"/>
                    </a:lnTo>
                    <a:lnTo>
                      <a:pt x="12" y="155"/>
                    </a:lnTo>
                    <a:lnTo>
                      <a:pt x="21" y="134"/>
                    </a:lnTo>
                    <a:lnTo>
                      <a:pt x="31" y="114"/>
                    </a:lnTo>
                    <a:lnTo>
                      <a:pt x="43" y="96"/>
                    </a:lnTo>
                    <a:lnTo>
                      <a:pt x="56" y="78"/>
                    </a:lnTo>
                    <a:lnTo>
                      <a:pt x="72" y="62"/>
                    </a:lnTo>
                    <a:lnTo>
                      <a:pt x="89" y="47"/>
                    </a:lnTo>
                    <a:lnTo>
                      <a:pt x="107" y="34"/>
                    </a:lnTo>
                    <a:lnTo>
                      <a:pt x="128" y="23"/>
                    </a:lnTo>
                    <a:lnTo>
                      <a:pt x="150" y="14"/>
                    </a:lnTo>
                    <a:lnTo>
                      <a:pt x="150" y="14"/>
                    </a:lnTo>
                    <a:lnTo>
                      <a:pt x="172" y="7"/>
                    </a:lnTo>
                    <a:lnTo>
                      <a:pt x="195" y="2"/>
                    </a:lnTo>
                    <a:lnTo>
                      <a:pt x="217" y="0"/>
                    </a:lnTo>
                    <a:lnTo>
                      <a:pt x="240" y="0"/>
                    </a:lnTo>
                    <a:lnTo>
                      <a:pt x="262" y="2"/>
                    </a:lnTo>
                    <a:lnTo>
                      <a:pt x="284" y="6"/>
                    </a:lnTo>
                    <a:lnTo>
                      <a:pt x="306" y="12"/>
                    </a:lnTo>
                    <a:lnTo>
                      <a:pt x="326" y="21"/>
                    </a:lnTo>
                    <a:lnTo>
                      <a:pt x="346" y="30"/>
                    </a:lnTo>
                    <a:lnTo>
                      <a:pt x="365" y="43"/>
                    </a:lnTo>
                    <a:lnTo>
                      <a:pt x="382" y="56"/>
                    </a:lnTo>
                    <a:lnTo>
                      <a:pt x="398" y="72"/>
                    </a:lnTo>
                    <a:lnTo>
                      <a:pt x="412" y="89"/>
                    </a:lnTo>
                    <a:lnTo>
                      <a:pt x="426" y="108"/>
                    </a:lnTo>
                    <a:lnTo>
                      <a:pt x="437" y="128"/>
                    </a:lnTo>
                    <a:lnTo>
                      <a:pt x="446" y="150"/>
                    </a:lnTo>
                    <a:lnTo>
                      <a:pt x="14" y="311"/>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1" name="Freeform 1446"/>
              <p:cNvSpPr>
                <a:spLocks/>
              </p:cNvSpPr>
              <p:nvPr/>
            </p:nvSpPr>
            <p:spPr bwMode="auto">
              <a:xfrm>
                <a:off x="6800895" y="-787358"/>
                <a:ext cx="1107995" cy="117630"/>
              </a:xfrm>
              <a:custGeom>
                <a:avLst/>
                <a:gdLst>
                  <a:gd name="T0" fmla="*/ 309 w 2921"/>
                  <a:gd name="T1" fmla="*/ 0 h 308"/>
                  <a:gd name="T2" fmla="*/ 2612 w 2921"/>
                  <a:gd name="T3" fmla="*/ 0 h 308"/>
                  <a:gd name="T4" fmla="*/ 2612 w 2921"/>
                  <a:gd name="T5" fmla="*/ 0 h 308"/>
                  <a:gd name="T6" fmla="*/ 2628 w 2921"/>
                  <a:gd name="T7" fmla="*/ 0 h 308"/>
                  <a:gd name="T8" fmla="*/ 2643 w 2921"/>
                  <a:gd name="T9" fmla="*/ 1 h 308"/>
                  <a:gd name="T10" fmla="*/ 2659 w 2921"/>
                  <a:gd name="T11" fmla="*/ 3 h 308"/>
                  <a:gd name="T12" fmla="*/ 2674 w 2921"/>
                  <a:gd name="T13" fmla="*/ 6 h 308"/>
                  <a:gd name="T14" fmla="*/ 2690 w 2921"/>
                  <a:gd name="T15" fmla="*/ 9 h 308"/>
                  <a:gd name="T16" fmla="*/ 2704 w 2921"/>
                  <a:gd name="T17" fmla="*/ 13 h 308"/>
                  <a:gd name="T18" fmla="*/ 2718 w 2921"/>
                  <a:gd name="T19" fmla="*/ 18 h 308"/>
                  <a:gd name="T20" fmla="*/ 2732 w 2921"/>
                  <a:gd name="T21" fmla="*/ 24 h 308"/>
                  <a:gd name="T22" fmla="*/ 2746 w 2921"/>
                  <a:gd name="T23" fmla="*/ 30 h 308"/>
                  <a:gd name="T24" fmla="*/ 2759 w 2921"/>
                  <a:gd name="T25" fmla="*/ 36 h 308"/>
                  <a:gd name="T26" fmla="*/ 2785 w 2921"/>
                  <a:gd name="T27" fmla="*/ 52 h 308"/>
                  <a:gd name="T28" fmla="*/ 2808 w 2921"/>
                  <a:gd name="T29" fmla="*/ 70 h 308"/>
                  <a:gd name="T30" fmla="*/ 2830 w 2921"/>
                  <a:gd name="T31" fmla="*/ 90 h 308"/>
                  <a:gd name="T32" fmla="*/ 2851 w 2921"/>
                  <a:gd name="T33" fmla="*/ 112 h 308"/>
                  <a:gd name="T34" fmla="*/ 2868 w 2921"/>
                  <a:gd name="T35" fmla="*/ 135 h 308"/>
                  <a:gd name="T36" fmla="*/ 2884 w 2921"/>
                  <a:gd name="T37" fmla="*/ 161 h 308"/>
                  <a:gd name="T38" fmla="*/ 2891 w 2921"/>
                  <a:gd name="T39" fmla="*/ 174 h 308"/>
                  <a:gd name="T40" fmla="*/ 2897 w 2921"/>
                  <a:gd name="T41" fmla="*/ 187 h 308"/>
                  <a:gd name="T42" fmla="*/ 2902 w 2921"/>
                  <a:gd name="T43" fmla="*/ 202 h 308"/>
                  <a:gd name="T44" fmla="*/ 2907 w 2921"/>
                  <a:gd name="T45" fmla="*/ 217 h 308"/>
                  <a:gd name="T46" fmla="*/ 2912 w 2921"/>
                  <a:gd name="T47" fmla="*/ 231 h 308"/>
                  <a:gd name="T48" fmla="*/ 2914 w 2921"/>
                  <a:gd name="T49" fmla="*/ 246 h 308"/>
                  <a:gd name="T50" fmla="*/ 2918 w 2921"/>
                  <a:gd name="T51" fmla="*/ 261 h 308"/>
                  <a:gd name="T52" fmla="*/ 2919 w 2921"/>
                  <a:gd name="T53" fmla="*/ 276 h 308"/>
                  <a:gd name="T54" fmla="*/ 2920 w 2921"/>
                  <a:gd name="T55" fmla="*/ 292 h 308"/>
                  <a:gd name="T56" fmla="*/ 2921 w 2921"/>
                  <a:gd name="T57" fmla="*/ 308 h 308"/>
                  <a:gd name="T58" fmla="*/ 0 w 2921"/>
                  <a:gd name="T59" fmla="*/ 308 h 308"/>
                  <a:gd name="T60" fmla="*/ 0 w 2921"/>
                  <a:gd name="T61" fmla="*/ 308 h 308"/>
                  <a:gd name="T62" fmla="*/ 0 w 2921"/>
                  <a:gd name="T63" fmla="*/ 292 h 308"/>
                  <a:gd name="T64" fmla="*/ 2 w 2921"/>
                  <a:gd name="T65" fmla="*/ 276 h 308"/>
                  <a:gd name="T66" fmla="*/ 4 w 2921"/>
                  <a:gd name="T67" fmla="*/ 261 h 308"/>
                  <a:gd name="T68" fmla="*/ 6 w 2921"/>
                  <a:gd name="T69" fmla="*/ 246 h 308"/>
                  <a:gd name="T70" fmla="*/ 10 w 2921"/>
                  <a:gd name="T71" fmla="*/ 231 h 308"/>
                  <a:gd name="T72" fmla="*/ 14 w 2921"/>
                  <a:gd name="T73" fmla="*/ 217 h 308"/>
                  <a:gd name="T74" fmla="*/ 19 w 2921"/>
                  <a:gd name="T75" fmla="*/ 202 h 308"/>
                  <a:gd name="T76" fmla="*/ 25 w 2921"/>
                  <a:gd name="T77" fmla="*/ 187 h 308"/>
                  <a:gd name="T78" fmla="*/ 31 w 2921"/>
                  <a:gd name="T79" fmla="*/ 174 h 308"/>
                  <a:gd name="T80" fmla="*/ 37 w 2921"/>
                  <a:gd name="T81" fmla="*/ 161 h 308"/>
                  <a:gd name="T82" fmla="*/ 53 w 2921"/>
                  <a:gd name="T83" fmla="*/ 135 h 308"/>
                  <a:gd name="T84" fmla="*/ 71 w 2921"/>
                  <a:gd name="T85" fmla="*/ 112 h 308"/>
                  <a:gd name="T86" fmla="*/ 91 w 2921"/>
                  <a:gd name="T87" fmla="*/ 90 h 308"/>
                  <a:gd name="T88" fmla="*/ 112 w 2921"/>
                  <a:gd name="T89" fmla="*/ 70 h 308"/>
                  <a:gd name="T90" fmla="*/ 136 w 2921"/>
                  <a:gd name="T91" fmla="*/ 52 h 308"/>
                  <a:gd name="T92" fmla="*/ 161 w 2921"/>
                  <a:gd name="T93" fmla="*/ 36 h 308"/>
                  <a:gd name="T94" fmla="*/ 175 w 2921"/>
                  <a:gd name="T95" fmla="*/ 30 h 308"/>
                  <a:gd name="T96" fmla="*/ 188 w 2921"/>
                  <a:gd name="T97" fmla="*/ 24 h 308"/>
                  <a:gd name="T98" fmla="*/ 203 w 2921"/>
                  <a:gd name="T99" fmla="*/ 18 h 308"/>
                  <a:gd name="T100" fmla="*/ 217 w 2921"/>
                  <a:gd name="T101" fmla="*/ 13 h 308"/>
                  <a:gd name="T102" fmla="*/ 232 w 2921"/>
                  <a:gd name="T103" fmla="*/ 9 h 308"/>
                  <a:gd name="T104" fmla="*/ 247 w 2921"/>
                  <a:gd name="T105" fmla="*/ 6 h 308"/>
                  <a:gd name="T106" fmla="*/ 261 w 2921"/>
                  <a:gd name="T107" fmla="*/ 3 h 308"/>
                  <a:gd name="T108" fmla="*/ 277 w 2921"/>
                  <a:gd name="T109" fmla="*/ 1 h 308"/>
                  <a:gd name="T110" fmla="*/ 293 w 2921"/>
                  <a:gd name="T111" fmla="*/ 0 h 308"/>
                  <a:gd name="T112" fmla="*/ 309 w 2921"/>
                  <a:gd name="T113" fmla="*/ 0 h 308"/>
                  <a:gd name="T114" fmla="*/ 309 w 2921"/>
                  <a:gd name="T115"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21" h="308">
                    <a:moveTo>
                      <a:pt x="309" y="0"/>
                    </a:moveTo>
                    <a:lnTo>
                      <a:pt x="2612" y="0"/>
                    </a:lnTo>
                    <a:lnTo>
                      <a:pt x="2612" y="0"/>
                    </a:lnTo>
                    <a:lnTo>
                      <a:pt x="2628" y="0"/>
                    </a:lnTo>
                    <a:lnTo>
                      <a:pt x="2643" y="1"/>
                    </a:lnTo>
                    <a:lnTo>
                      <a:pt x="2659" y="3"/>
                    </a:lnTo>
                    <a:lnTo>
                      <a:pt x="2674" y="6"/>
                    </a:lnTo>
                    <a:lnTo>
                      <a:pt x="2690" y="9"/>
                    </a:lnTo>
                    <a:lnTo>
                      <a:pt x="2704" y="13"/>
                    </a:lnTo>
                    <a:lnTo>
                      <a:pt x="2718" y="18"/>
                    </a:lnTo>
                    <a:lnTo>
                      <a:pt x="2732" y="24"/>
                    </a:lnTo>
                    <a:lnTo>
                      <a:pt x="2746" y="30"/>
                    </a:lnTo>
                    <a:lnTo>
                      <a:pt x="2759" y="36"/>
                    </a:lnTo>
                    <a:lnTo>
                      <a:pt x="2785" y="52"/>
                    </a:lnTo>
                    <a:lnTo>
                      <a:pt x="2808" y="70"/>
                    </a:lnTo>
                    <a:lnTo>
                      <a:pt x="2830" y="90"/>
                    </a:lnTo>
                    <a:lnTo>
                      <a:pt x="2851" y="112"/>
                    </a:lnTo>
                    <a:lnTo>
                      <a:pt x="2868" y="135"/>
                    </a:lnTo>
                    <a:lnTo>
                      <a:pt x="2884" y="161"/>
                    </a:lnTo>
                    <a:lnTo>
                      <a:pt x="2891" y="174"/>
                    </a:lnTo>
                    <a:lnTo>
                      <a:pt x="2897" y="187"/>
                    </a:lnTo>
                    <a:lnTo>
                      <a:pt x="2902" y="202"/>
                    </a:lnTo>
                    <a:lnTo>
                      <a:pt x="2907" y="217"/>
                    </a:lnTo>
                    <a:lnTo>
                      <a:pt x="2912" y="231"/>
                    </a:lnTo>
                    <a:lnTo>
                      <a:pt x="2914" y="246"/>
                    </a:lnTo>
                    <a:lnTo>
                      <a:pt x="2918" y="261"/>
                    </a:lnTo>
                    <a:lnTo>
                      <a:pt x="2919" y="276"/>
                    </a:lnTo>
                    <a:lnTo>
                      <a:pt x="2920" y="292"/>
                    </a:lnTo>
                    <a:lnTo>
                      <a:pt x="2921" y="308"/>
                    </a:lnTo>
                    <a:lnTo>
                      <a:pt x="0" y="308"/>
                    </a:lnTo>
                    <a:lnTo>
                      <a:pt x="0" y="308"/>
                    </a:lnTo>
                    <a:lnTo>
                      <a:pt x="0" y="292"/>
                    </a:lnTo>
                    <a:lnTo>
                      <a:pt x="2" y="276"/>
                    </a:lnTo>
                    <a:lnTo>
                      <a:pt x="4" y="261"/>
                    </a:lnTo>
                    <a:lnTo>
                      <a:pt x="6" y="246"/>
                    </a:lnTo>
                    <a:lnTo>
                      <a:pt x="10" y="231"/>
                    </a:lnTo>
                    <a:lnTo>
                      <a:pt x="14" y="217"/>
                    </a:lnTo>
                    <a:lnTo>
                      <a:pt x="19" y="202"/>
                    </a:lnTo>
                    <a:lnTo>
                      <a:pt x="25" y="187"/>
                    </a:lnTo>
                    <a:lnTo>
                      <a:pt x="31" y="174"/>
                    </a:lnTo>
                    <a:lnTo>
                      <a:pt x="37" y="161"/>
                    </a:lnTo>
                    <a:lnTo>
                      <a:pt x="53" y="135"/>
                    </a:lnTo>
                    <a:lnTo>
                      <a:pt x="71" y="112"/>
                    </a:lnTo>
                    <a:lnTo>
                      <a:pt x="91" y="90"/>
                    </a:lnTo>
                    <a:lnTo>
                      <a:pt x="112" y="70"/>
                    </a:lnTo>
                    <a:lnTo>
                      <a:pt x="136" y="52"/>
                    </a:lnTo>
                    <a:lnTo>
                      <a:pt x="161" y="36"/>
                    </a:lnTo>
                    <a:lnTo>
                      <a:pt x="175" y="30"/>
                    </a:lnTo>
                    <a:lnTo>
                      <a:pt x="188" y="24"/>
                    </a:lnTo>
                    <a:lnTo>
                      <a:pt x="203" y="18"/>
                    </a:lnTo>
                    <a:lnTo>
                      <a:pt x="217" y="13"/>
                    </a:lnTo>
                    <a:lnTo>
                      <a:pt x="232" y="9"/>
                    </a:lnTo>
                    <a:lnTo>
                      <a:pt x="247" y="6"/>
                    </a:lnTo>
                    <a:lnTo>
                      <a:pt x="261" y="3"/>
                    </a:lnTo>
                    <a:lnTo>
                      <a:pt x="277" y="1"/>
                    </a:lnTo>
                    <a:lnTo>
                      <a:pt x="293" y="0"/>
                    </a:lnTo>
                    <a:lnTo>
                      <a:pt x="309" y="0"/>
                    </a:lnTo>
                    <a:lnTo>
                      <a:pt x="309" y="0"/>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2" name="Freeform 1447"/>
              <p:cNvSpPr>
                <a:spLocks/>
              </p:cNvSpPr>
              <p:nvPr/>
            </p:nvSpPr>
            <p:spPr bwMode="auto">
              <a:xfrm>
                <a:off x="6800895" y="-669727"/>
                <a:ext cx="1107995" cy="117630"/>
              </a:xfrm>
              <a:custGeom>
                <a:avLst/>
                <a:gdLst>
                  <a:gd name="T0" fmla="*/ 2921 w 2921"/>
                  <a:gd name="T1" fmla="*/ 0 h 309"/>
                  <a:gd name="T2" fmla="*/ 2921 w 2921"/>
                  <a:gd name="T3" fmla="*/ 0 h 309"/>
                  <a:gd name="T4" fmla="*/ 2920 w 2921"/>
                  <a:gd name="T5" fmla="*/ 16 h 309"/>
                  <a:gd name="T6" fmla="*/ 2919 w 2921"/>
                  <a:gd name="T7" fmla="*/ 32 h 309"/>
                  <a:gd name="T8" fmla="*/ 2918 w 2921"/>
                  <a:gd name="T9" fmla="*/ 48 h 309"/>
                  <a:gd name="T10" fmla="*/ 2914 w 2921"/>
                  <a:gd name="T11" fmla="*/ 62 h 309"/>
                  <a:gd name="T12" fmla="*/ 2912 w 2921"/>
                  <a:gd name="T13" fmla="*/ 77 h 309"/>
                  <a:gd name="T14" fmla="*/ 2907 w 2921"/>
                  <a:gd name="T15" fmla="*/ 92 h 309"/>
                  <a:gd name="T16" fmla="*/ 2902 w 2921"/>
                  <a:gd name="T17" fmla="*/ 106 h 309"/>
                  <a:gd name="T18" fmla="*/ 2897 w 2921"/>
                  <a:gd name="T19" fmla="*/ 121 h 309"/>
                  <a:gd name="T20" fmla="*/ 2891 w 2921"/>
                  <a:gd name="T21" fmla="*/ 134 h 309"/>
                  <a:gd name="T22" fmla="*/ 2884 w 2921"/>
                  <a:gd name="T23" fmla="*/ 148 h 309"/>
                  <a:gd name="T24" fmla="*/ 2868 w 2921"/>
                  <a:gd name="T25" fmla="*/ 173 h 309"/>
                  <a:gd name="T26" fmla="*/ 2851 w 2921"/>
                  <a:gd name="T27" fmla="*/ 196 h 309"/>
                  <a:gd name="T28" fmla="*/ 2830 w 2921"/>
                  <a:gd name="T29" fmla="*/ 218 h 309"/>
                  <a:gd name="T30" fmla="*/ 2808 w 2921"/>
                  <a:gd name="T31" fmla="*/ 239 h 309"/>
                  <a:gd name="T32" fmla="*/ 2785 w 2921"/>
                  <a:gd name="T33" fmla="*/ 256 h 309"/>
                  <a:gd name="T34" fmla="*/ 2759 w 2921"/>
                  <a:gd name="T35" fmla="*/ 272 h 309"/>
                  <a:gd name="T36" fmla="*/ 2746 w 2921"/>
                  <a:gd name="T37" fmla="*/ 278 h 309"/>
                  <a:gd name="T38" fmla="*/ 2732 w 2921"/>
                  <a:gd name="T39" fmla="*/ 284 h 309"/>
                  <a:gd name="T40" fmla="*/ 2718 w 2921"/>
                  <a:gd name="T41" fmla="*/ 290 h 309"/>
                  <a:gd name="T42" fmla="*/ 2704 w 2921"/>
                  <a:gd name="T43" fmla="*/ 295 h 309"/>
                  <a:gd name="T44" fmla="*/ 2690 w 2921"/>
                  <a:gd name="T45" fmla="*/ 299 h 309"/>
                  <a:gd name="T46" fmla="*/ 2674 w 2921"/>
                  <a:gd name="T47" fmla="*/ 302 h 309"/>
                  <a:gd name="T48" fmla="*/ 2659 w 2921"/>
                  <a:gd name="T49" fmla="*/ 305 h 309"/>
                  <a:gd name="T50" fmla="*/ 2643 w 2921"/>
                  <a:gd name="T51" fmla="*/ 307 h 309"/>
                  <a:gd name="T52" fmla="*/ 2628 w 2921"/>
                  <a:gd name="T53" fmla="*/ 309 h 309"/>
                  <a:gd name="T54" fmla="*/ 2612 w 2921"/>
                  <a:gd name="T55" fmla="*/ 309 h 309"/>
                  <a:gd name="T56" fmla="*/ 309 w 2921"/>
                  <a:gd name="T57" fmla="*/ 309 h 309"/>
                  <a:gd name="T58" fmla="*/ 309 w 2921"/>
                  <a:gd name="T59" fmla="*/ 309 h 309"/>
                  <a:gd name="T60" fmla="*/ 293 w 2921"/>
                  <a:gd name="T61" fmla="*/ 309 h 309"/>
                  <a:gd name="T62" fmla="*/ 277 w 2921"/>
                  <a:gd name="T63" fmla="*/ 307 h 309"/>
                  <a:gd name="T64" fmla="*/ 261 w 2921"/>
                  <a:gd name="T65" fmla="*/ 305 h 309"/>
                  <a:gd name="T66" fmla="*/ 247 w 2921"/>
                  <a:gd name="T67" fmla="*/ 302 h 309"/>
                  <a:gd name="T68" fmla="*/ 232 w 2921"/>
                  <a:gd name="T69" fmla="*/ 299 h 309"/>
                  <a:gd name="T70" fmla="*/ 217 w 2921"/>
                  <a:gd name="T71" fmla="*/ 295 h 309"/>
                  <a:gd name="T72" fmla="*/ 203 w 2921"/>
                  <a:gd name="T73" fmla="*/ 290 h 309"/>
                  <a:gd name="T74" fmla="*/ 188 w 2921"/>
                  <a:gd name="T75" fmla="*/ 284 h 309"/>
                  <a:gd name="T76" fmla="*/ 175 w 2921"/>
                  <a:gd name="T77" fmla="*/ 278 h 309"/>
                  <a:gd name="T78" fmla="*/ 161 w 2921"/>
                  <a:gd name="T79" fmla="*/ 272 h 309"/>
                  <a:gd name="T80" fmla="*/ 136 w 2921"/>
                  <a:gd name="T81" fmla="*/ 256 h 309"/>
                  <a:gd name="T82" fmla="*/ 112 w 2921"/>
                  <a:gd name="T83" fmla="*/ 239 h 309"/>
                  <a:gd name="T84" fmla="*/ 91 w 2921"/>
                  <a:gd name="T85" fmla="*/ 218 h 309"/>
                  <a:gd name="T86" fmla="*/ 71 w 2921"/>
                  <a:gd name="T87" fmla="*/ 196 h 309"/>
                  <a:gd name="T88" fmla="*/ 53 w 2921"/>
                  <a:gd name="T89" fmla="*/ 173 h 309"/>
                  <a:gd name="T90" fmla="*/ 37 w 2921"/>
                  <a:gd name="T91" fmla="*/ 148 h 309"/>
                  <a:gd name="T92" fmla="*/ 31 w 2921"/>
                  <a:gd name="T93" fmla="*/ 134 h 309"/>
                  <a:gd name="T94" fmla="*/ 25 w 2921"/>
                  <a:gd name="T95" fmla="*/ 121 h 309"/>
                  <a:gd name="T96" fmla="*/ 19 w 2921"/>
                  <a:gd name="T97" fmla="*/ 106 h 309"/>
                  <a:gd name="T98" fmla="*/ 14 w 2921"/>
                  <a:gd name="T99" fmla="*/ 92 h 309"/>
                  <a:gd name="T100" fmla="*/ 10 w 2921"/>
                  <a:gd name="T101" fmla="*/ 77 h 309"/>
                  <a:gd name="T102" fmla="*/ 6 w 2921"/>
                  <a:gd name="T103" fmla="*/ 62 h 309"/>
                  <a:gd name="T104" fmla="*/ 4 w 2921"/>
                  <a:gd name="T105" fmla="*/ 48 h 309"/>
                  <a:gd name="T106" fmla="*/ 2 w 2921"/>
                  <a:gd name="T107" fmla="*/ 32 h 309"/>
                  <a:gd name="T108" fmla="*/ 0 w 2921"/>
                  <a:gd name="T109" fmla="*/ 16 h 309"/>
                  <a:gd name="T110" fmla="*/ 0 w 2921"/>
                  <a:gd name="T111" fmla="*/ 0 h 309"/>
                  <a:gd name="T112" fmla="*/ 2921 w 2921"/>
                  <a:gd name="T113"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21" h="309">
                    <a:moveTo>
                      <a:pt x="2921" y="0"/>
                    </a:moveTo>
                    <a:lnTo>
                      <a:pt x="2921" y="0"/>
                    </a:lnTo>
                    <a:lnTo>
                      <a:pt x="2920" y="16"/>
                    </a:lnTo>
                    <a:lnTo>
                      <a:pt x="2919" y="32"/>
                    </a:lnTo>
                    <a:lnTo>
                      <a:pt x="2918" y="48"/>
                    </a:lnTo>
                    <a:lnTo>
                      <a:pt x="2914" y="62"/>
                    </a:lnTo>
                    <a:lnTo>
                      <a:pt x="2912" y="77"/>
                    </a:lnTo>
                    <a:lnTo>
                      <a:pt x="2907" y="92"/>
                    </a:lnTo>
                    <a:lnTo>
                      <a:pt x="2902" y="106"/>
                    </a:lnTo>
                    <a:lnTo>
                      <a:pt x="2897" y="121"/>
                    </a:lnTo>
                    <a:lnTo>
                      <a:pt x="2891" y="134"/>
                    </a:lnTo>
                    <a:lnTo>
                      <a:pt x="2884" y="148"/>
                    </a:lnTo>
                    <a:lnTo>
                      <a:pt x="2868" y="173"/>
                    </a:lnTo>
                    <a:lnTo>
                      <a:pt x="2851" y="196"/>
                    </a:lnTo>
                    <a:lnTo>
                      <a:pt x="2830" y="218"/>
                    </a:lnTo>
                    <a:lnTo>
                      <a:pt x="2808" y="239"/>
                    </a:lnTo>
                    <a:lnTo>
                      <a:pt x="2785" y="256"/>
                    </a:lnTo>
                    <a:lnTo>
                      <a:pt x="2759" y="272"/>
                    </a:lnTo>
                    <a:lnTo>
                      <a:pt x="2746" y="278"/>
                    </a:lnTo>
                    <a:lnTo>
                      <a:pt x="2732" y="284"/>
                    </a:lnTo>
                    <a:lnTo>
                      <a:pt x="2718" y="290"/>
                    </a:lnTo>
                    <a:lnTo>
                      <a:pt x="2704" y="295"/>
                    </a:lnTo>
                    <a:lnTo>
                      <a:pt x="2690" y="299"/>
                    </a:lnTo>
                    <a:lnTo>
                      <a:pt x="2674" y="302"/>
                    </a:lnTo>
                    <a:lnTo>
                      <a:pt x="2659" y="305"/>
                    </a:lnTo>
                    <a:lnTo>
                      <a:pt x="2643" y="307"/>
                    </a:lnTo>
                    <a:lnTo>
                      <a:pt x="2628" y="309"/>
                    </a:lnTo>
                    <a:lnTo>
                      <a:pt x="2612" y="309"/>
                    </a:lnTo>
                    <a:lnTo>
                      <a:pt x="309" y="309"/>
                    </a:lnTo>
                    <a:lnTo>
                      <a:pt x="309" y="309"/>
                    </a:lnTo>
                    <a:lnTo>
                      <a:pt x="293" y="309"/>
                    </a:lnTo>
                    <a:lnTo>
                      <a:pt x="277" y="307"/>
                    </a:lnTo>
                    <a:lnTo>
                      <a:pt x="261" y="305"/>
                    </a:lnTo>
                    <a:lnTo>
                      <a:pt x="247" y="302"/>
                    </a:lnTo>
                    <a:lnTo>
                      <a:pt x="232" y="299"/>
                    </a:lnTo>
                    <a:lnTo>
                      <a:pt x="217" y="295"/>
                    </a:lnTo>
                    <a:lnTo>
                      <a:pt x="203" y="290"/>
                    </a:lnTo>
                    <a:lnTo>
                      <a:pt x="188" y="284"/>
                    </a:lnTo>
                    <a:lnTo>
                      <a:pt x="175" y="278"/>
                    </a:lnTo>
                    <a:lnTo>
                      <a:pt x="161" y="272"/>
                    </a:lnTo>
                    <a:lnTo>
                      <a:pt x="136" y="256"/>
                    </a:lnTo>
                    <a:lnTo>
                      <a:pt x="112" y="239"/>
                    </a:lnTo>
                    <a:lnTo>
                      <a:pt x="91" y="218"/>
                    </a:lnTo>
                    <a:lnTo>
                      <a:pt x="71" y="196"/>
                    </a:lnTo>
                    <a:lnTo>
                      <a:pt x="53" y="173"/>
                    </a:lnTo>
                    <a:lnTo>
                      <a:pt x="37" y="148"/>
                    </a:lnTo>
                    <a:lnTo>
                      <a:pt x="31" y="134"/>
                    </a:lnTo>
                    <a:lnTo>
                      <a:pt x="25" y="121"/>
                    </a:lnTo>
                    <a:lnTo>
                      <a:pt x="19" y="106"/>
                    </a:lnTo>
                    <a:lnTo>
                      <a:pt x="14" y="92"/>
                    </a:lnTo>
                    <a:lnTo>
                      <a:pt x="10" y="77"/>
                    </a:lnTo>
                    <a:lnTo>
                      <a:pt x="6" y="62"/>
                    </a:lnTo>
                    <a:lnTo>
                      <a:pt x="4" y="48"/>
                    </a:lnTo>
                    <a:lnTo>
                      <a:pt x="2" y="32"/>
                    </a:lnTo>
                    <a:lnTo>
                      <a:pt x="0" y="16"/>
                    </a:lnTo>
                    <a:lnTo>
                      <a:pt x="0" y="0"/>
                    </a:lnTo>
                    <a:lnTo>
                      <a:pt x="2921" y="0"/>
                    </a:lnTo>
                    <a:close/>
                  </a:path>
                </a:pathLst>
              </a:custGeom>
              <a:solidFill>
                <a:srgbClr val="FF6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4" name="Freeform 1449"/>
              <p:cNvSpPr>
                <a:spLocks/>
              </p:cNvSpPr>
              <p:nvPr/>
            </p:nvSpPr>
            <p:spPr bwMode="auto">
              <a:xfrm>
                <a:off x="7258131" y="-1329973"/>
                <a:ext cx="36048" cy="142295"/>
              </a:xfrm>
              <a:custGeom>
                <a:avLst/>
                <a:gdLst>
                  <a:gd name="T0" fmla="*/ 94 w 94"/>
                  <a:gd name="T1" fmla="*/ 375 h 375"/>
                  <a:gd name="T2" fmla="*/ 94 w 94"/>
                  <a:gd name="T3" fmla="*/ 375 h 375"/>
                  <a:gd name="T4" fmla="*/ 84 w 94"/>
                  <a:gd name="T5" fmla="*/ 375 h 375"/>
                  <a:gd name="T6" fmla="*/ 76 w 94"/>
                  <a:gd name="T7" fmla="*/ 372 h 375"/>
                  <a:gd name="T8" fmla="*/ 66 w 94"/>
                  <a:gd name="T9" fmla="*/ 371 h 375"/>
                  <a:gd name="T10" fmla="*/ 57 w 94"/>
                  <a:gd name="T11" fmla="*/ 367 h 375"/>
                  <a:gd name="T12" fmla="*/ 50 w 94"/>
                  <a:gd name="T13" fmla="*/ 364 h 375"/>
                  <a:gd name="T14" fmla="*/ 42 w 94"/>
                  <a:gd name="T15" fmla="*/ 359 h 375"/>
                  <a:gd name="T16" fmla="*/ 34 w 94"/>
                  <a:gd name="T17" fmla="*/ 353 h 375"/>
                  <a:gd name="T18" fmla="*/ 28 w 94"/>
                  <a:gd name="T19" fmla="*/ 347 h 375"/>
                  <a:gd name="T20" fmla="*/ 22 w 94"/>
                  <a:gd name="T21" fmla="*/ 340 h 375"/>
                  <a:gd name="T22" fmla="*/ 16 w 94"/>
                  <a:gd name="T23" fmla="*/ 333 h 375"/>
                  <a:gd name="T24" fmla="*/ 11 w 94"/>
                  <a:gd name="T25" fmla="*/ 326 h 375"/>
                  <a:gd name="T26" fmla="*/ 7 w 94"/>
                  <a:gd name="T27" fmla="*/ 317 h 375"/>
                  <a:gd name="T28" fmla="*/ 5 w 94"/>
                  <a:gd name="T29" fmla="*/ 309 h 375"/>
                  <a:gd name="T30" fmla="*/ 2 w 94"/>
                  <a:gd name="T31" fmla="*/ 299 h 375"/>
                  <a:gd name="T32" fmla="*/ 0 w 94"/>
                  <a:gd name="T33" fmla="*/ 290 h 375"/>
                  <a:gd name="T34" fmla="*/ 0 w 94"/>
                  <a:gd name="T35" fmla="*/ 281 h 375"/>
                  <a:gd name="T36" fmla="*/ 0 w 94"/>
                  <a:gd name="T37" fmla="*/ 94 h 375"/>
                  <a:gd name="T38" fmla="*/ 0 w 94"/>
                  <a:gd name="T39" fmla="*/ 94 h 375"/>
                  <a:gd name="T40" fmla="*/ 0 w 94"/>
                  <a:gd name="T41" fmla="*/ 84 h 375"/>
                  <a:gd name="T42" fmla="*/ 2 w 94"/>
                  <a:gd name="T43" fmla="*/ 75 h 375"/>
                  <a:gd name="T44" fmla="*/ 5 w 94"/>
                  <a:gd name="T45" fmla="*/ 66 h 375"/>
                  <a:gd name="T46" fmla="*/ 7 w 94"/>
                  <a:gd name="T47" fmla="*/ 58 h 375"/>
                  <a:gd name="T48" fmla="*/ 11 w 94"/>
                  <a:gd name="T49" fmla="*/ 49 h 375"/>
                  <a:gd name="T50" fmla="*/ 16 w 94"/>
                  <a:gd name="T51" fmla="*/ 42 h 375"/>
                  <a:gd name="T52" fmla="*/ 22 w 94"/>
                  <a:gd name="T53" fmla="*/ 34 h 375"/>
                  <a:gd name="T54" fmla="*/ 28 w 94"/>
                  <a:gd name="T55" fmla="*/ 27 h 375"/>
                  <a:gd name="T56" fmla="*/ 34 w 94"/>
                  <a:gd name="T57" fmla="*/ 21 h 375"/>
                  <a:gd name="T58" fmla="*/ 42 w 94"/>
                  <a:gd name="T59" fmla="*/ 16 h 375"/>
                  <a:gd name="T60" fmla="*/ 50 w 94"/>
                  <a:gd name="T61" fmla="*/ 11 h 375"/>
                  <a:gd name="T62" fmla="*/ 57 w 94"/>
                  <a:gd name="T63" fmla="*/ 8 h 375"/>
                  <a:gd name="T64" fmla="*/ 66 w 94"/>
                  <a:gd name="T65" fmla="*/ 4 h 375"/>
                  <a:gd name="T66" fmla="*/ 76 w 94"/>
                  <a:gd name="T67" fmla="*/ 2 h 375"/>
                  <a:gd name="T68" fmla="*/ 84 w 94"/>
                  <a:gd name="T69" fmla="*/ 0 h 375"/>
                  <a:gd name="T70" fmla="*/ 94 w 94"/>
                  <a:gd name="T71" fmla="*/ 0 h 375"/>
                  <a:gd name="T72" fmla="*/ 94 w 94"/>
                  <a:gd name="T73" fmla="*/ 375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4" h="375">
                    <a:moveTo>
                      <a:pt x="94" y="375"/>
                    </a:moveTo>
                    <a:lnTo>
                      <a:pt x="94" y="375"/>
                    </a:lnTo>
                    <a:lnTo>
                      <a:pt x="84" y="375"/>
                    </a:lnTo>
                    <a:lnTo>
                      <a:pt x="76" y="372"/>
                    </a:lnTo>
                    <a:lnTo>
                      <a:pt x="66" y="371"/>
                    </a:lnTo>
                    <a:lnTo>
                      <a:pt x="57" y="367"/>
                    </a:lnTo>
                    <a:lnTo>
                      <a:pt x="50" y="364"/>
                    </a:lnTo>
                    <a:lnTo>
                      <a:pt x="42" y="359"/>
                    </a:lnTo>
                    <a:lnTo>
                      <a:pt x="34" y="353"/>
                    </a:lnTo>
                    <a:lnTo>
                      <a:pt x="28" y="347"/>
                    </a:lnTo>
                    <a:lnTo>
                      <a:pt x="22" y="340"/>
                    </a:lnTo>
                    <a:lnTo>
                      <a:pt x="16" y="333"/>
                    </a:lnTo>
                    <a:lnTo>
                      <a:pt x="11" y="326"/>
                    </a:lnTo>
                    <a:lnTo>
                      <a:pt x="7" y="317"/>
                    </a:lnTo>
                    <a:lnTo>
                      <a:pt x="5" y="309"/>
                    </a:lnTo>
                    <a:lnTo>
                      <a:pt x="2" y="299"/>
                    </a:lnTo>
                    <a:lnTo>
                      <a:pt x="0" y="290"/>
                    </a:lnTo>
                    <a:lnTo>
                      <a:pt x="0" y="281"/>
                    </a:lnTo>
                    <a:lnTo>
                      <a:pt x="0" y="94"/>
                    </a:lnTo>
                    <a:lnTo>
                      <a:pt x="0" y="94"/>
                    </a:lnTo>
                    <a:lnTo>
                      <a:pt x="0" y="84"/>
                    </a:lnTo>
                    <a:lnTo>
                      <a:pt x="2" y="75"/>
                    </a:lnTo>
                    <a:lnTo>
                      <a:pt x="5" y="66"/>
                    </a:lnTo>
                    <a:lnTo>
                      <a:pt x="7" y="58"/>
                    </a:lnTo>
                    <a:lnTo>
                      <a:pt x="11" y="49"/>
                    </a:lnTo>
                    <a:lnTo>
                      <a:pt x="16" y="42"/>
                    </a:lnTo>
                    <a:lnTo>
                      <a:pt x="22" y="34"/>
                    </a:lnTo>
                    <a:lnTo>
                      <a:pt x="28" y="27"/>
                    </a:lnTo>
                    <a:lnTo>
                      <a:pt x="34" y="21"/>
                    </a:lnTo>
                    <a:lnTo>
                      <a:pt x="42" y="16"/>
                    </a:lnTo>
                    <a:lnTo>
                      <a:pt x="50" y="11"/>
                    </a:lnTo>
                    <a:lnTo>
                      <a:pt x="57" y="8"/>
                    </a:lnTo>
                    <a:lnTo>
                      <a:pt x="66" y="4"/>
                    </a:lnTo>
                    <a:lnTo>
                      <a:pt x="76" y="2"/>
                    </a:lnTo>
                    <a:lnTo>
                      <a:pt x="84" y="0"/>
                    </a:lnTo>
                    <a:lnTo>
                      <a:pt x="94" y="0"/>
                    </a:lnTo>
                    <a:lnTo>
                      <a:pt x="94" y="375"/>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5" name="Freeform 1450"/>
              <p:cNvSpPr>
                <a:spLocks/>
              </p:cNvSpPr>
              <p:nvPr/>
            </p:nvSpPr>
            <p:spPr bwMode="auto">
              <a:xfrm>
                <a:off x="6554252" y="-1527290"/>
                <a:ext cx="172650" cy="193521"/>
              </a:xfrm>
              <a:custGeom>
                <a:avLst/>
                <a:gdLst>
                  <a:gd name="T0" fmla="*/ 263 w 452"/>
                  <a:gd name="T1" fmla="*/ 504 h 511"/>
                  <a:gd name="T2" fmla="*/ 279 w 452"/>
                  <a:gd name="T3" fmla="*/ 511 h 511"/>
                  <a:gd name="T4" fmla="*/ 296 w 452"/>
                  <a:gd name="T5" fmla="*/ 511 h 511"/>
                  <a:gd name="T6" fmla="*/ 313 w 452"/>
                  <a:gd name="T7" fmla="*/ 508 h 511"/>
                  <a:gd name="T8" fmla="*/ 329 w 452"/>
                  <a:gd name="T9" fmla="*/ 500 h 511"/>
                  <a:gd name="T10" fmla="*/ 351 w 452"/>
                  <a:gd name="T11" fmla="*/ 484 h 511"/>
                  <a:gd name="T12" fmla="*/ 388 w 452"/>
                  <a:gd name="T13" fmla="*/ 447 h 511"/>
                  <a:gd name="T14" fmla="*/ 419 w 452"/>
                  <a:gd name="T15" fmla="*/ 403 h 511"/>
                  <a:gd name="T16" fmla="*/ 440 w 452"/>
                  <a:gd name="T17" fmla="*/ 355 h 511"/>
                  <a:gd name="T18" fmla="*/ 447 w 452"/>
                  <a:gd name="T19" fmla="*/ 328 h 511"/>
                  <a:gd name="T20" fmla="*/ 452 w 452"/>
                  <a:gd name="T21" fmla="*/ 274 h 511"/>
                  <a:gd name="T22" fmla="*/ 448 w 452"/>
                  <a:gd name="T23" fmla="*/ 222 h 511"/>
                  <a:gd name="T24" fmla="*/ 434 w 452"/>
                  <a:gd name="T25" fmla="*/ 170 h 511"/>
                  <a:gd name="T26" fmla="*/ 408 w 452"/>
                  <a:gd name="T27" fmla="*/ 123 h 511"/>
                  <a:gd name="T28" fmla="*/ 392 w 452"/>
                  <a:gd name="T29" fmla="*/ 101 h 511"/>
                  <a:gd name="T30" fmla="*/ 353 w 452"/>
                  <a:gd name="T31" fmla="*/ 62 h 511"/>
                  <a:gd name="T32" fmla="*/ 309 w 452"/>
                  <a:gd name="T33" fmla="*/ 33 h 511"/>
                  <a:gd name="T34" fmla="*/ 262 w 452"/>
                  <a:gd name="T35" fmla="*/ 12 h 511"/>
                  <a:gd name="T36" fmla="*/ 210 w 452"/>
                  <a:gd name="T37" fmla="*/ 1 h 511"/>
                  <a:gd name="T38" fmla="*/ 158 w 452"/>
                  <a:gd name="T39" fmla="*/ 0 h 511"/>
                  <a:gd name="T40" fmla="*/ 106 w 452"/>
                  <a:gd name="T41" fmla="*/ 10 h 511"/>
                  <a:gd name="T42" fmla="*/ 54 w 452"/>
                  <a:gd name="T43" fmla="*/ 29 h 511"/>
                  <a:gd name="T44" fmla="*/ 31 w 452"/>
                  <a:gd name="T45" fmla="*/ 44 h 511"/>
                  <a:gd name="T46" fmla="*/ 12 w 452"/>
                  <a:gd name="T47" fmla="*/ 63 h 511"/>
                  <a:gd name="T48" fmla="*/ 1 w 452"/>
                  <a:gd name="T49" fmla="*/ 86 h 511"/>
                  <a:gd name="T50" fmla="*/ 1 w 452"/>
                  <a:gd name="T51" fmla="*/ 113 h 511"/>
                  <a:gd name="T52" fmla="*/ 11 w 452"/>
                  <a:gd name="T53" fmla="*/ 139 h 511"/>
                  <a:gd name="T54" fmla="*/ 20 w 452"/>
                  <a:gd name="T55" fmla="*/ 150 h 511"/>
                  <a:gd name="T56" fmla="*/ 42 w 452"/>
                  <a:gd name="T57" fmla="*/ 164 h 511"/>
                  <a:gd name="T58" fmla="*/ 68 w 452"/>
                  <a:gd name="T59" fmla="*/ 169 h 511"/>
                  <a:gd name="T60" fmla="*/ 93 w 452"/>
                  <a:gd name="T61" fmla="*/ 164 h 511"/>
                  <a:gd name="T62" fmla="*/ 106 w 452"/>
                  <a:gd name="T63" fmla="*/ 158 h 511"/>
                  <a:gd name="T64" fmla="*/ 130 w 452"/>
                  <a:gd name="T65" fmla="*/ 146 h 511"/>
                  <a:gd name="T66" fmla="*/ 156 w 452"/>
                  <a:gd name="T67" fmla="*/ 139 h 511"/>
                  <a:gd name="T68" fmla="*/ 182 w 452"/>
                  <a:gd name="T69" fmla="*/ 136 h 511"/>
                  <a:gd name="T70" fmla="*/ 208 w 452"/>
                  <a:gd name="T71" fmla="*/ 139 h 511"/>
                  <a:gd name="T72" fmla="*/ 232 w 452"/>
                  <a:gd name="T73" fmla="*/ 147 h 511"/>
                  <a:gd name="T74" fmla="*/ 256 w 452"/>
                  <a:gd name="T75" fmla="*/ 159 h 511"/>
                  <a:gd name="T76" fmla="*/ 276 w 452"/>
                  <a:gd name="T77" fmla="*/ 177 h 511"/>
                  <a:gd name="T78" fmla="*/ 293 w 452"/>
                  <a:gd name="T79" fmla="*/ 197 h 511"/>
                  <a:gd name="T80" fmla="*/ 301 w 452"/>
                  <a:gd name="T81" fmla="*/ 209 h 511"/>
                  <a:gd name="T82" fmla="*/ 310 w 452"/>
                  <a:gd name="T83" fmla="*/ 234 h 511"/>
                  <a:gd name="T84" fmla="*/ 315 w 452"/>
                  <a:gd name="T85" fmla="*/ 259 h 511"/>
                  <a:gd name="T86" fmla="*/ 314 w 452"/>
                  <a:gd name="T87" fmla="*/ 286 h 511"/>
                  <a:gd name="T88" fmla="*/ 313 w 452"/>
                  <a:gd name="T89" fmla="*/ 300 h 511"/>
                  <a:gd name="T90" fmla="*/ 304 w 452"/>
                  <a:gd name="T91" fmla="*/ 325 h 511"/>
                  <a:gd name="T92" fmla="*/ 292 w 452"/>
                  <a:gd name="T93" fmla="*/ 348 h 511"/>
                  <a:gd name="T94" fmla="*/ 275 w 452"/>
                  <a:gd name="T95" fmla="*/ 369 h 511"/>
                  <a:gd name="T96" fmla="*/ 254 w 452"/>
                  <a:gd name="T97" fmla="*/ 385 h 511"/>
                  <a:gd name="T98" fmla="*/ 243 w 452"/>
                  <a:gd name="T99" fmla="*/ 394 h 511"/>
                  <a:gd name="T100" fmla="*/ 229 w 452"/>
                  <a:gd name="T101" fmla="*/ 417 h 511"/>
                  <a:gd name="T102" fmla="*/ 223 w 452"/>
                  <a:gd name="T103" fmla="*/ 442 h 511"/>
                  <a:gd name="T104" fmla="*/ 228 w 452"/>
                  <a:gd name="T105" fmla="*/ 468 h 511"/>
                  <a:gd name="T106" fmla="*/ 234 w 452"/>
                  <a:gd name="T107" fmla="*/ 480 h 511"/>
                  <a:gd name="T108" fmla="*/ 247 w 452"/>
                  <a:gd name="T109" fmla="*/ 495 h 511"/>
                  <a:gd name="T110" fmla="*/ 263 w 452"/>
                  <a:gd name="T111" fmla="*/ 504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2" h="511">
                    <a:moveTo>
                      <a:pt x="263" y="504"/>
                    </a:moveTo>
                    <a:lnTo>
                      <a:pt x="263" y="504"/>
                    </a:lnTo>
                    <a:lnTo>
                      <a:pt x="270" y="508"/>
                    </a:lnTo>
                    <a:lnTo>
                      <a:pt x="279" y="511"/>
                    </a:lnTo>
                    <a:lnTo>
                      <a:pt x="287" y="511"/>
                    </a:lnTo>
                    <a:lnTo>
                      <a:pt x="296" y="511"/>
                    </a:lnTo>
                    <a:lnTo>
                      <a:pt x="304" y="511"/>
                    </a:lnTo>
                    <a:lnTo>
                      <a:pt x="313" y="508"/>
                    </a:lnTo>
                    <a:lnTo>
                      <a:pt x="321" y="504"/>
                    </a:lnTo>
                    <a:lnTo>
                      <a:pt x="329" y="500"/>
                    </a:lnTo>
                    <a:lnTo>
                      <a:pt x="329" y="500"/>
                    </a:lnTo>
                    <a:lnTo>
                      <a:pt x="351" y="484"/>
                    </a:lnTo>
                    <a:lnTo>
                      <a:pt x="370" y="467"/>
                    </a:lnTo>
                    <a:lnTo>
                      <a:pt x="388" y="447"/>
                    </a:lnTo>
                    <a:lnTo>
                      <a:pt x="404" y="426"/>
                    </a:lnTo>
                    <a:lnTo>
                      <a:pt x="419" y="403"/>
                    </a:lnTo>
                    <a:lnTo>
                      <a:pt x="430" y="379"/>
                    </a:lnTo>
                    <a:lnTo>
                      <a:pt x="440" y="355"/>
                    </a:lnTo>
                    <a:lnTo>
                      <a:pt x="447" y="328"/>
                    </a:lnTo>
                    <a:lnTo>
                      <a:pt x="447" y="328"/>
                    </a:lnTo>
                    <a:lnTo>
                      <a:pt x="451" y="301"/>
                    </a:lnTo>
                    <a:lnTo>
                      <a:pt x="452" y="274"/>
                    </a:lnTo>
                    <a:lnTo>
                      <a:pt x="452" y="248"/>
                    </a:lnTo>
                    <a:lnTo>
                      <a:pt x="448" y="222"/>
                    </a:lnTo>
                    <a:lnTo>
                      <a:pt x="442" y="196"/>
                    </a:lnTo>
                    <a:lnTo>
                      <a:pt x="434" y="170"/>
                    </a:lnTo>
                    <a:lnTo>
                      <a:pt x="421" y="146"/>
                    </a:lnTo>
                    <a:lnTo>
                      <a:pt x="408" y="123"/>
                    </a:lnTo>
                    <a:lnTo>
                      <a:pt x="408" y="123"/>
                    </a:lnTo>
                    <a:lnTo>
                      <a:pt x="392" y="101"/>
                    </a:lnTo>
                    <a:lnTo>
                      <a:pt x="374" y="80"/>
                    </a:lnTo>
                    <a:lnTo>
                      <a:pt x="353" y="62"/>
                    </a:lnTo>
                    <a:lnTo>
                      <a:pt x="332" y="46"/>
                    </a:lnTo>
                    <a:lnTo>
                      <a:pt x="309" y="33"/>
                    </a:lnTo>
                    <a:lnTo>
                      <a:pt x="286" y="20"/>
                    </a:lnTo>
                    <a:lnTo>
                      <a:pt x="262" y="12"/>
                    </a:lnTo>
                    <a:lnTo>
                      <a:pt x="236" y="6"/>
                    </a:lnTo>
                    <a:lnTo>
                      <a:pt x="210" y="1"/>
                    </a:lnTo>
                    <a:lnTo>
                      <a:pt x="184" y="0"/>
                    </a:lnTo>
                    <a:lnTo>
                      <a:pt x="158" y="0"/>
                    </a:lnTo>
                    <a:lnTo>
                      <a:pt x="131" y="3"/>
                    </a:lnTo>
                    <a:lnTo>
                      <a:pt x="106" y="10"/>
                    </a:lnTo>
                    <a:lnTo>
                      <a:pt x="80" y="18"/>
                    </a:lnTo>
                    <a:lnTo>
                      <a:pt x="54" y="29"/>
                    </a:lnTo>
                    <a:lnTo>
                      <a:pt x="31" y="44"/>
                    </a:lnTo>
                    <a:lnTo>
                      <a:pt x="31" y="44"/>
                    </a:lnTo>
                    <a:lnTo>
                      <a:pt x="20" y="52"/>
                    </a:lnTo>
                    <a:lnTo>
                      <a:pt x="12" y="63"/>
                    </a:lnTo>
                    <a:lnTo>
                      <a:pt x="6" y="74"/>
                    </a:lnTo>
                    <a:lnTo>
                      <a:pt x="1" y="86"/>
                    </a:lnTo>
                    <a:lnTo>
                      <a:pt x="0" y="100"/>
                    </a:lnTo>
                    <a:lnTo>
                      <a:pt x="1" y="113"/>
                    </a:lnTo>
                    <a:lnTo>
                      <a:pt x="4" y="127"/>
                    </a:lnTo>
                    <a:lnTo>
                      <a:pt x="11" y="139"/>
                    </a:lnTo>
                    <a:lnTo>
                      <a:pt x="11" y="139"/>
                    </a:lnTo>
                    <a:lnTo>
                      <a:pt x="20" y="150"/>
                    </a:lnTo>
                    <a:lnTo>
                      <a:pt x="30" y="158"/>
                    </a:lnTo>
                    <a:lnTo>
                      <a:pt x="42" y="164"/>
                    </a:lnTo>
                    <a:lnTo>
                      <a:pt x="54" y="168"/>
                    </a:lnTo>
                    <a:lnTo>
                      <a:pt x="68" y="169"/>
                    </a:lnTo>
                    <a:lnTo>
                      <a:pt x="80" y="168"/>
                    </a:lnTo>
                    <a:lnTo>
                      <a:pt x="93" y="164"/>
                    </a:lnTo>
                    <a:lnTo>
                      <a:pt x="106" y="158"/>
                    </a:lnTo>
                    <a:lnTo>
                      <a:pt x="106" y="158"/>
                    </a:lnTo>
                    <a:lnTo>
                      <a:pt x="118" y="151"/>
                    </a:lnTo>
                    <a:lnTo>
                      <a:pt x="130" y="146"/>
                    </a:lnTo>
                    <a:lnTo>
                      <a:pt x="143" y="141"/>
                    </a:lnTo>
                    <a:lnTo>
                      <a:pt x="156" y="139"/>
                    </a:lnTo>
                    <a:lnTo>
                      <a:pt x="169" y="136"/>
                    </a:lnTo>
                    <a:lnTo>
                      <a:pt x="182" y="136"/>
                    </a:lnTo>
                    <a:lnTo>
                      <a:pt x="195" y="138"/>
                    </a:lnTo>
                    <a:lnTo>
                      <a:pt x="208" y="139"/>
                    </a:lnTo>
                    <a:lnTo>
                      <a:pt x="220" y="142"/>
                    </a:lnTo>
                    <a:lnTo>
                      <a:pt x="232" y="147"/>
                    </a:lnTo>
                    <a:lnTo>
                      <a:pt x="245" y="152"/>
                    </a:lnTo>
                    <a:lnTo>
                      <a:pt x="256" y="159"/>
                    </a:lnTo>
                    <a:lnTo>
                      <a:pt x="267" y="168"/>
                    </a:lnTo>
                    <a:lnTo>
                      <a:pt x="276" y="177"/>
                    </a:lnTo>
                    <a:lnTo>
                      <a:pt x="285" y="186"/>
                    </a:lnTo>
                    <a:lnTo>
                      <a:pt x="293" y="197"/>
                    </a:lnTo>
                    <a:lnTo>
                      <a:pt x="293" y="197"/>
                    </a:lnTo>
                    <a:lnTo>
                      <a:pt x="301" y="209"/>
                    </a:lnTo>
                    <a:lnTo>
                      <a:pt x="306" y="222"/>
                    </a:lnTo>
                    <a:lnTo>
                      <a:pt x="310" y="234"/>
                    </a:lnTo>
                    <a:lnTo>
                      <a:pt x="313" y="247"/>
                    </a:lnTo>
                    <a:lnTo>
                      <a:pt x="315" y="259"/>
                    </a:lnTo>
                    <a:lnTo>
                      <a:pt x="315" y="273"/>
                    </a:lnTo>
                    <a:lnTo>
                      <a:pt x="314" y="286"/>
                    </a:lnTo>
                    <a:lnTo>
                      <a:pt x="313" y="300"/>
                    </a:lnTo>
                    <a:lnTo>
                      <a:pt x="313" y="300"/>
                    </a:lnTo>
                    <a:lnTo>
                      <a:pt x="309" y="313"/>
                    </a:lnTo>
                    <a:lnTo>
                      <a:pt x="304" y="325"/>
                    </a:lnTo>
                    <a:lnTo>
                      <a:pt x="298" y="337"/>
                    </a:lnTo>
                    <a:lnTo>
                      <a:pt x="292" y="348"/>
                    </a:lnTo>
                    <a:lnTo>
                      <a:pt x="284" y="359"/>
                    </a:lnTo>
                    <a:lnTo>
                      <a:pt x="275" y="369"/>
                    </a:lnTo>
                    <a:lnTo>
                      <a:pt x="265" y="378"/>
                    </a:lnTo>
                    <a:lnTo>
                      <a:pt x="254" y="385"/>
                    </a:lnTo>
                    <a:lnTo>
                      <a:pt x="254" y="385"/>
                    </a:lnTo>
                    <a:lnTo>
                      <a:pt x="243" y="394"/>
                    </a:lnTo>
                    <a:lnTo>
                      <a:pt x="235" y="404"/>
                    </a:lnTo>
                    <a:lnTo>
                      <a:pt x="229" y="417"/>
                    </a:lnTo>
                    <a:lnTo>
                      <a:pt x="224" y="429"/>
                    </a:lnTo>
                    <a:lnTo>
                      <a:pt x="223" y="442"/>
                    </a:lnTo>
                    <a:lnTo>
                      <a:pt x="224" y="454"/>
                    </a:lnTo>
                    <a:lnTo>
                      <a:pt x="228" y="468"/>
                    </a:lnTo>
                    <a:lnTo>
                      <a:pt x="234" y="480"/>
                    </a:lnTo>
                    <a:lnTo>
                      <a:pt x="234" y="480"/>
                    </a:lnTo>
                    <a:lnTo>
                      <a:pt x="240" y="489"/>
                    </a:lnTo>
                    <a:lnTo>
                      <a:pt x="247" y="495"/>
                    </a:lnTo>
                    <a:lnTo>
                      <a:pt x="254" y="501"/>
                    </a:lnTo>
                    <a:lnTo>
                      <a:pt x="263" y="504"/>
                    </a:lnTo>
                    <a:lnTo>
                      <a:pt x="263" y="504"/>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6" name="Freeform 1451"/>
              <p:cNvSpPr>
                <a:spLocks/>
              </p:cNvSpPr>
              <p:nvPr/>
            </p:nvSpPr>
            <p:spPr bwMode="auto">
              <a:xfrm>
                <a:off x="6575122" y="-1388788"/>
                <a:ext cx="159369" cy="201110"/>
              </a:xfrm>
              <a:custGeom>
                <a:avLst/>
                <a:gdLst>
                  <a:gd name="T0" fmla="*/ 40 w 418"/>
                  <a:gd name="T1" fmla="*/ 508 h 529"/>
                  <a:gd name="T2" fmla="*/ 43 w 418"/>
                  <a:gd name="T3" fmla="*/ 510 h 529"/>
                  <a:gd name="T4" fmla="*/ 96 w 418"/>
                  <a:gd name="T5" fmla="*/ 526 h 529"/>
                  <a:gd name="T6" fmla="*/ 149 w 418"/>
                  <a:gd name="T7" fmla="*/ 529 h 529"/>
                  <a:gd name="T8" fmla="*/ 201 w 418"/>
                  <a:gd name="T9" fmla="*/ 524 h 529"/>
                  <a:gd name="T10" fmla="*/ 251 w 418"/>
                  <a:gd name="T11" fmla="*/ 508 h 529"/>
                  <a:gd name="T12" fmla="*/ 298 w 418"/>
                  <a:gd name="T13" fmla="*/ 484 h 529"/>
                  <a:gd name="T14" fmla="*/ 339 w 418"/>
                  <a:gd name="T15" fmla="*/ 450 h 529"/>
                  <a:gd name="T16" fmla="*/ 372 w 418"/>
                  <a:gd name="T17" fmla="*/ 410 h 529"/>
                  <a:gd name="T18" fmla="*/ 399 w 418"/>
                  <a:gd name="T19" fmla="*/ 361 h 529"/>
                  <a:gd name="T20" fmla="*/ 407 w 418"/>
                  <a:gd name="T21" fmla="*/ 335 h 529"/>
                  <a:gd name="T22" fmla="*/ 417 w 418"/>
                  <a:gd name="T23" fmla="*/ 283 h 529"/>
                  <a:gd name="T24" fmla="*/ 417 w 418"/>
                  <a:gd name="T25" fmla="*/ 232 h 529"/>
                  <a:gd name="T26" fmla="*/ 407 w 418"/>
                  <a:gd name="T27" fmla="*/ 181 h 529"/>
                  <a:gd name="T28" fmla="*/ 389 w 418"/>
                  <a:gd name="T29" fmla="*/ 134 h 529"/>
                  <a:gd name="T30" fmla="*/ 362 w 418"/>
                  <a:gd name="T31" fmla="*/ 90 h 529"/>
                  <a:gd name="T32" fmla="*/ 327 w 418"/>
                  <a:gd name="T33" fmla="*/ 53 h 529"/>
                  <a:gd name="T34" fmla="*/ 284 w 418"/>
                  <a:gd name="T35" fmla="*/ 22 h 529"/>
                  <a:gd name="T36" fmla="*/ 260 w 418"/>
                  <a:gd name="T37" fmla="*/ 10 h 529"/>
                  <a:gd name="T38" fmla="*/ 250 w 418"/>
                  <a:gd name="T39" fmla="*/ 5 h 529"/>
                  <a:gd name="T40" fmla="*/ 223 w 418"/>
                  <a:gd name="T41" fmla="*/ 0 h 529"/>
                  <a:gd name="T42" fmla="*/ 198 w 418"/>
                  <a:gd name="T43" fmla="*/ 5 h 529"/>
                  <a:gd name="T44" fmla="*/ 176 w 418"/>
                  <a:gd name="T45" fmla="*/ 20 h 529"/>
                  <a:gd name="T46" fmla="*/ 160 w 418"/>
                  <a:gd name="T47" fmla="*/ 43 h 529"/>
                  <a:gd name="T48" fmla="*/ 156 w 418"/>
                  <a:gd name="T49" fmla="*/ 55 h 529"/>
                  <a:gd name="T50" fmla="*/ 156 w 418"/>
                  <a:gd name="T51" fmla="*/ 82 h 529"/>
                  <a:gd name="T52" fmla="*/ 166 w 418"/>
                  <a:gd name="T53" fmla="*/ 105 h 529"/>
                  <a:gd name="T54" fmla="*/ 183 w 418"/>
                  <a:gd name="T55" fmla="*/ 124 h 529"/>
                  <a:gd name="T56" fmla="*/ 195 w 418"/>
                  <a:gd name="T57" fmla="*/ 131 h 529"/>
                  <a:gd name="T58" fmla="*/ 198 w 418"/>
                  <a:gd name="T59" fmla="*/ 132 h 529"/>
                  <a:gd name="T60" fmla="*/ 222 w 418"/>
                  <a:gd name="T61" fmla="*/ 145 h 529"/>
                  <a:gd name="T62" fmla="*/ 243 w 418"/>
                  <a:gd name="T63" fmla="*/ 161 h 529"/>
                  <a:gd name="T64" fmla="*/ 259 w 418"/>
                  <a:gd name="T65" fmla="*/ 182 h 529"/>
                  <a:gd name="T66" fmla="*/ 271 w 418"/>
                  <a:gd name="T67" fmla="*/ 205 h 529"/>
                  <a:gd name="T68" fmla="*/ 279 w 418"/>
                  <a:gd name="T69" fmla="*/ 229 h 529"/>
                  <a:gd name="T70" fmla="*/ 282 w 418"/>
                  <a:gd name="T71" fmla="*/ 256 h 529"/>
                  <a:gd name="T72" fmla="*/ 279 w 418"/>
                  <a:gd name="T73" fmla="*/ 283 h 529"/>
                  <a:gd name="T74" fmla="*/ 272 w 418"/>
                  <a:gd name="T75" fmla="*/ 309 h 529"/>
                  <a:gd name="T76" fmla="*/ 266 w 418"/>
                  <a:gd name="T77" fmla="*/ 321 h 529"/>
                  <a:gd name="T78" fmla="*/ 251 w 418"/>
                  <a:gd name="T79" fmla="*/ 344 h 529"/>
                  <a:gd name="T80" fmla="*/ 232 w 418"/>
                  <a:gd name="T81" fmla="*/ 362 h 529"/>
                  <a:gd name="T82" fmla="*/ 210 w 418"/>
                  <a:gd name="T83" fmla="*/ 377 h 529"/>
                  <a:gd name="T84" fmla="*/ 187 w 418"/>
                  <a:gd name="T85" fmla="*/ 387 h 529"/>
                  <a:gd name="T86" fmla="*/ 161 w 418"/>
                  <a:gd name="T87" fmla="*/ 391 h 529"/>
                  <a:gd name="T88" fmla="*/ 134 w 418"/>
                  <a:gd name="T89" fmla="*/ 393 h 529"/>
                  <a:gd name="T90" fmla="*/ 107 w 418"/>
                  <a:gd name="T91" fmla="*/ 388 h 529"/>
                  <a:gd name="T92" fmla="*/ 95 w 418"/>
                  <a:gd name="T93" fmla="*/ 383 h 529"/>
                  <a:gd name="T94" fmla="*/ 68 w 418"/>
                  <a:gd name="T95" fmla="*/ 378 h 529"/>
                  <a:gd name="T96" fmla="*/ 43 w 418"/>
                  <a:gd name="T97" fmla="*/ 383 h 529"/>
                  <a:gd name="T98" fmla="*/ 21 w 418"/>
                  <a:gd name="T99" fmla="*/ 398 h 529"/>
                  <a:gd name="T100" fmla="*/ 5 w 418"/>
                  <a:gd name="T101" fmla="*/ 420 h 529"/>
                  <a:gd name="T102" fmla="*/ 1 w 418"/>
                  <a:gd name="T103" fmla="*/ 433 h 529"/>
                  <a:gd name="T104" fmla="*/ 1 w 418"/>
                  <a:gd name="T105" fmla="*/ 459 h 529"/>
                  <a:gd name="T106" fmla="*/ 11 w 418"/>
                  <a:gd name="T107" fmla="*/ 483 h 529"/>
                  <a:gd name="T108" fmla="*/ 29 w 418"/>
                  <a:gd name="T109" fmla="*/ 501 h 529"/>
                  <a:gd name="T110" fmla="*/ 40 w 418"/>
                  <a:gd name="T111" fmla="*/ 508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18" h="529">
                    <a:moveTo>
                      <a:pt x="40" y="508"/>
                    </a:moveTo>
                    <a:lnTo>
                      <a:pt x="40" y="508"/>
                    </a:lnTo>
                    <a:lnTo>
                      <a:pt x="43" y="510"/>
                    </a:lnTo>
                    <a:lnTo>
                      <a:pt x="43" y="510"/>
                    </a:lnTo>
                    <a:lnTo>
                      <a:pt x="70" y="518"/>
                    </a:lnTo>
                    <a:lnTo>
                      <a:pt x="96" y="526"/>
                    </a:lnTo>
                    <a:lnTo>
                      <a:pt x="122" y="529"/>
                    </a:lnTo>
                    <a:lnTo>
                      <a:pt x="149" y="529"/>
                    </a:lnTo>
                    <a:lnTo>
                      <a:pt x="176" y="528"/>
                    </a:lnTo>
                    <a:lnTo>
                      <a:pt x="201" y="524"/>
                    </a:lnTo>
                    <a:lnTo>
                      <a:pt x="227" y="517"/>
                    </a:lnTo>
                    <a:lnTo>
                      <a:pt x="251" y="508"/>
                    </a:lnTo>
                    <a:lnTo>
                      <a:pt x="276" y="498"/>
                    </a:lnTo>
                    <a:lnTo>
                      <a:pt x="298" y="484"/>
                    </a:lnTo>
                    <a:lnTo>
                      <a:pt x="318" y="468"/>
                    </a:lnTo>
                    <a:lnTo>
                      <a:pt x="339" y="450"/>
                    </a:lnTo>
                    <a:lnTo>
                      <a:pt x="356" y="430"/>
                    </a:lnTo>
                    <a:lnTo>
                      <a:pt x="372" y="410"/>
                    </a:lnTo>
                    <a:lnTo>
                      <a:pt x="387" y="385"/>
                    </a:lnTo>
                    <a:lnTo>
                      <a:pt x="399" y="361"/>
                    </a:lnTo>
                    <a:lnTo>
                      <a:pt x="399" y="361"/>
                    </a:lnTo>
                    <a:lnTo>
                      <a:pt x="407" y="335"/>
                    </a:lnTo>
                    <a:lnTo>
                      <a:pt x="413" y="309"/>
                    </a:lnTo>
                    <a:lnTo>
                      <a:pt x="417" y="283"/>
                    </a:lnTo>
                    <a:lnTo>
                      <a:pt x="418" y="257"/>
                    </a:lnTo>
                    <a:lnTo>
                      <a:pt x="417" y="232"/>
                    </a:lnTo>
                    <a:lnTo>
                      <a:pt x="413" y="206"/>
                    </a:lnTo>
                    <a:lnTo>
                      <a:pt x="407" y="181"/>
                    </a:lnTo>
                    <a:lnTo>
                      <a:pt x="400" y="157"/>
                    </a:lnTo>
                    <a:lnTo>
                      <a:pt x="389" y="134"/>
                    </a:lnTo>
                    <a:lnTo>
                      <a:pt x="377" y="111"/>
                    </a:lnTo>
                    <a:lnTo>
                      <a:pt x="362" y="90"/>
                    </a:lnTo>
                    <a:lnTo>
                      <a:pt x="345" y="71"/>
                    </a:lnTo>
                    <a:lnTo>
                      <a:pt x="327" y="53"/>
                    </a:lnTo>
                    <a:lnTo>
                      <a:pt x="306" y="37"/>
                    </a:lnTo>
                    <a:lnTo>
                      <a:pt x="284" y="22"/>
                    </a:lnTo>
                    <a:lnTo>
                      <a:pt x="260" y="10"/>
                    </a:lnTo>
                    <a:lnTo>
                      <a:pt x="260" y="10"/>
                    </a:lnTo>
                    <a:lnTo>
                      <a:pt x="250" y="5"/>
                    </a:lnTo>
                    <a:lnTo>
                      <a:pt x="250" y="5"/>
                    </a:lnTo>
                    <a:lnTo>
                      <a:pt x="237" y="1"/>
                    </a:lnTo>
                    <a:lnTo>
                      <a:pt x="223" y="0"/>
                    </a:lnTo>
                    <a:lnTo>
                      <a:pt x="210" y="1"/>
                    </a:lnTo>
                    <a:lnTo>
                      <a:pt x="198" y="5"/>
                    </a:lnTo>
                    <a:lnTo>
                      <a:pt x="185" y="11"/>
                    </a:lnTo>
                    <a:lnTo>
                      <a:pt x="176" y="20"/>
                    </a:lnTo>
                    <a:lnTo>
                      <a:pt x="167" y="31"/>
                    </a:lnTo>
                    <a:lnTo>
                      <a:pt x="160" y="43"/>
                    </a:lnTo>
                    <a:lnTo>
                      <a:pt x="160" y="43"/>
                    </a:lnTo>
                    <a:lnTo>
                      <a:pt x="156" y="55"/>
                    </a:lnTo>
                    <a:lnTo>
                      <a:pt x="155" y="68"/>
                    </a:lnTo>
                    <a:lnTo>
                      <a:pt x="156" y="82"/>
                    </a:lnTo>
                    <a:lnTo>
                      <a:pt x="160" y="94"/>
                    </a:lnTo>
                    <a:lnTo>
                      <a:pt x="166" y="105"/>
                    </a:lnTo>
                    <a:lnTo>
                      <a:pt x="173" y="115"/>
                    </a:lnTo>
                    <a:lnTo>
                      <a:pt x="183" y="124"/>
                    </a:lnTo>
                    <a:lnTo>
                      <a:pt x="195" y="131"/>
                    </a:lnTo>
                    <a:lnTo>
                      <a:pt x="195" y="131"/>
                    </a:lnTo>
                    <a:lnTo>
                      <a:pt x="198" y="132"/>
                    </a:lnTo>
                    <a:lnTo>
                      <a:pt x="198" y="132"/>
                    </a:lnTo>
                    <a:lnTo>
                      <a:pt x="210" y="138"/>
                    </a:lnTo>
                    <a:lnTo>
                      <a:pt x="222" y="145"/>
                    </a:lnTo>
                    <a:lnTo>
                      <a:pt x="233" y="153"/>
                    </a:lnTo>
                    <a:lnTo>
                      <a:pt x="243" y="161"/>
                    </a:lnTo>
                    <a:lnTo>
                      <a:pt x="251" y="171"/>
                    </a:lnTo>
                    <a:lnTo>
                      <a:pt x="259" y="182"/>
                    </a:lnTo>
                    <a:lnTo>
                      <a:pt x="266" y="193"/>
                    </a:lnTo>
                    <a:lnTo>
                      <a:pt x="271" y="205"/>
                    </a:lnTo>
                    <a:lnTo>
                      <a:pt x="276" y="217"/>
                    </a:lnTo>
                    <a:lnTo>
                      <a:pt x="279" y="229"/>
                    </a:lnTo>
                    <a:lnTo>
                      <a:pt x="281" y="243"/>
                    </a:lnTo>
                    <a:lnTo>
                      <a:pt x="282" y="256"/>
                    </a:lnTo>
                    <a:lnTo>
                      <a:pt x="282" y="270"/>
                    </a:lnTo>
                    <a:lnTo>
                      <a:pt x="279" y="283"/>
                    </a:lnTo>
                    <a:lnTo>
                      <a:pt x="277" y="295"/>
                    </a:lnTo>
                    <a:lnTo>
                      <a:pt x="272" y="309"/>
                    </a:lnTo>
                    <a:lnTo>
                      <a:pt x="272" y="309"/>
                    </a:lnTo>
                    <a:lnTo>
                      <a:pt x="266" y="321"/>
                    </a:lnTo>
                    <a:lnTo>
                      <a:pt x="259" y="333"/>
                    </a:lnTo>
                    <a:lnTo>
                      <a:pt x="251" y="344"/>
                    </a:lnTo>
                    <a:lnTo>
                      <a:pt x="242" y="354"/>
                    </a:lnTo>
                    <a:lnTo>
                      <a:pt x="232" y="362"/>
                    </a:lnTo>
                    <a:lnTo>
                      <a:pt x="222" y="370"/>
                    </a:lnTo>
                    <a:lnTo>
                      <a:pt x="210" y="377"/>
                    </a:lnTo>
                    <a:lnTo>
                      <a:pt x="199" y="382"/>
                    </a:lnTo>
                    <a:lnTo>
                      <a:pt x="187" y="387"/>
                    </a:lnTo>
                    <a:lnTo>
                      <a:pt x="173" y="390"/>
                    </a:lnTo>
                    <a:lnTo>
                      <a:pt x="161" y="391"/>
                    </a:lnTo>
                    <a:lnTo>
                      <a:pt x="148" y="393"/>
                    </a:lnTo>
                    <a:lnTo>
                      <a:pt x="134" y="393"/>
                    </a:lnTo>
                    <a:lnTo>
                      <a:pt x="121" y="390"/>
                    </a:lnTo>
                    <a:lnTo>
                      <a:pt x="107" y="388"/>
                    </a:lnTo>
                    <a:lnTo>
                      <a:pt x="95" y="383"/>
                    </a:lnTo>
                    <a:lnTo>
                      <a:pt x="95" y="383"/>
                    </a:lnTo>
                    <a:lnTo>
                      <a:pt x="82" y="379"/>
                    </a:lnTo>
                    <a:lnTo>
                      <a:pt x="68" y="378"/>
                    </a:lnTo>
                    <a:lnTo>
                      <a:pt x="55" y="379"/>
                    </a:lnTo>
                    <a:lnTo>
                      <a:pt x="43" y="383"/>
                    </a:lnTo>
                    <a:lnTo>
                      <a:pt x="31" y="389"/>
                    </a:lnTo>
                    <a:lnTo>
                      <a:pt x="21" y="398"/>
                    </a:lnTo>
                    <a:lnTo>
                      <a:pt x="12" y="407"/>
                    </a:lnTo>
                    <a:lnTo>
                      <a:pt x="5" y="420"/>
                    </a:lnTo>
                    <a:lnTo>
                      <a:pt x="5" y="420"/>
                    </a:lnTo>
                    <a:lnTo>
                      <a:pt x="1" y="433"/>
                    </a:lnTo>
                    <a:lnTo>
                      <a:pt x="0" y="446"/>
                    </a:lnTo>
                    <a:lnTo>
                      <a:pt x="1" y="459"/>
                    </a:lnTo>
                    <a:lnTo>
                      <a:pt x="5" y="471"/>
                    </a:lnTo>
                    <a:lnTo>
                      <a:pt x="11" y="483"/>
                    </a:lnTo>
                    <a:lnTo>
                      <a:pt x="18" y="493"/>
                    </a:lnTo>
                    <a:lnTo>
                      <a:pt x="29" y="501"/>
                    </a:lnTo>
                    <a:lnTo>
                      <a:pt x="40" y="508"/>
                    </a:lnTo>
                    <a:lnTo>
                      <a:pt x="40" y="508"/>
                    </a:lnTo>
                    <a:close/>
                  </a:path>
                </a:pathLst>
              </a:custGeom>
              <a:solidFill>
                <a:srgbClr val="FF6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7" name="Freeform 1452"/>
              <p:cNvSpPr>
                <a:spLocks/>
              </p:cNvSpPr>
              <p:nvPr/>
            </p:nvSpPr>
            <p:spPr bwMode="auto">
              <a:xfrm>
                <a:off x="7354892" y="-904988"/>
                <a:ext cx="430676" cy="117630"/>
              </a:xfrm>
              <a:custGeom>
                <a:avLst/>
                <a:gdLst>
                  <a:gd name="T0" fmla="*/ 0 w 1134"/>
                  <a:gd name="T1" fmla="*/ 0 h 309"/>
                  <a:gd name="T2" fmla="*/ 824 w 1134"/>
                  <a:gd name="T3" fmla="*/ 0 h 309"/>
                  <a:gd name="T4" fmla="*/ 824 w 1134"/>
                  <a:gd name="T5" fmla="*/ 0 h 309"/>
                  <a:gd name="T6" fmla="*/ 840 w 1134"/>
                  <a:gd name="T7" fmla="*/ 0 h 309"/>
                  <a:gd name="T8" fmla="*/ 856 w 1134"/>
                  <a:gd name="T9" fmla="*/ 2 h 309"/>
                  <a:gd name="T10" fmla="*/ 872 w 1134"/>
                  <a:gd name="T11" fmla="*/ 3 h 309"/>
                  <a:gd name="T12" fmla="*/ 886 w 1134"/>
                  <a:gd name="T13" fmla="*/ 6 h 309"/>
                  <a:gd name="T14" fmla="*/ 902 w 1134"/>
                  <a:gd name="T15" fmla="*/ 9 h 309"/>
                  <a:gd name="T16" fmla="*/ 917 w 1134"/>
                  <a:gd name="T17" fmla="*/ 14 h 309"/>
                  <a:gd name="T18" fmla="*/ 930 w 1134"/>
                  <a:gd name="T19" fmla="*/ 19 h 309"/>
                  <a:gd name="T20" fmla="*/ 945 w 1134"/>
                  <a:gd name="T21" fmla="*/ 23 h 309"/>
                  <a:gd name="T22" fmla="*/ 958 w 1134"/>
                  <a:gd name="T23" fmla="*/ 31 h 309"/>
                  <a:gd name="T24" fmla="*/ 971 w 1134"/>
                  <a:gd name="T25" fmla="*/ 37 h 309"/>
                  <a:gd name="T26" fmla="*/ 997 w 1134"/>
                  <a:gd name="T27" fmla="*/ 53 h 309"/>
                  <a:gd name="T28" fmla="*/ 1020 w 1134"/>
                  <a:gd name="T29" fmla="*/ 70 h 309"/>
                  <a:gd name="T30" fmla="*/ 1042 w 1134"/>
                  <a:gd name="T31" fmla="*/ 91 h 309"/>
                  <a:gd name="T32" fmla="*/ 1063 w 1134"/>
                  <a:gd name="T33" fmla="*/ 112 h 309"/>
                  <a:gd name="T34" fmla="*/ 1080 w 1134"/>
                  <a:gd name="T35" fmla="*/ 136 h 309"/>
                  <a:gd name="T36" fmla="*/ 1096 w 1134"/>
                  <a:gd name="T37" fmla="*/ 161 h 309"/>
                  <a:gd name="T38" fmla="*/ 1103 w 1134"/>
                  <a:gd name="T39" fmla="*/ 175 h 309"/>
                  <a:gd name="T40" fmla="*/ 1109 w 1134"/>
                  <a:gd name="T41" fmla="*/ 188 h 309"/>
                  <a:gd name="T42" fmla="*/ 1114 w 1134"/>
                  <a:gd name="T43" fmla="*/ 203 h 309"/>
                  <a:gd name="T44" fmla="*/ 1119 w 1134"/>
                  <a:gd name="T45" fmla="*/ 216 h 309"/>
                  <a:gd name="T46" fmla="*/ 1124 w 1134"/>
                  <a:gd name="T47" fmla="*/ 232 h 309"/>
                  <a:gd name="T48" fmla="*/ 1128 w 1134"/>
                  <a:gd name="T49" fmla="*/ 247 h 309"/>
                  <a:gd name="T50" fmla="*/ 1130 w 1134"/>
                  <a:gd name="T51" fmla="*/ 261 h 309"/>
                  <a:gd name="T52" fmla="*/ 1131 w 1134"/>
                  <a:gd name="T53" fmla="*/ 277 h 309"/>
                  <a:gd name="T54" fmla="*/ 1132 w 1134"/>
                  <a:gd name="T55" fmla="*/ 293 h 309"/>
                  <a:gd name="T56" fmla="*/ 1134 w 1134"/>
                  <a:gd name="T57" fmla="*/ 309 h 309"/>
                  <a:gd name="T58" fmla="*/ 0 w 1134"/>
                  <a:gd name="T59" fmla="*/ 309 h 309"/>
                  <a:gd name="T60" fmla="*/ 0 w 1134"/>
                  <a:gd name="T61"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4" h="309">
                    <a:moveTo>
                      <a:pt x="0" y="0"/>
                    </a:moveTo>
                    <a:lnTo>
                      <a:pt x="824" y="0"/>
                    </a:lnTo>
                    <a:lnTo>
                      <a:pt x="824" y="0"/>
                    </a:lnTo>
                    <a:lnTo>
                      <a:pt x="840" y="0"/>
                    </a:lnTo>
                    <a:lnTo>
                      <a:pt x="856" y="2"/>
                    </a:lnTo>
                    <a:lnTo>
                      <a:pt x="872" y="3"/>
                    </a:lnTo>
                    <a:lnTo>
                      <a:pt x="886" y="6"/>
                    </a:lnTo>
                    <a:lnTo>
                      <a:pt x="902" y="9"/>
                    </a:lnTo>
                    <a:lnTo>
                      <a:pt x="917" y="14"/>
                    </a:lnTo>
                    <a:lnTo>
                      <a:pt x="930" y="19"/>
                    </a:lnTo>
                    <a:lnTo>
                      <a:pt x="945" y="23"/>
                    </a:lnTo>
                    <a:lnTo>
                      <a:pt x="958" y="31"/>
                    </a:lnTo>
                    <a:lnTo>
                      <a:pt x="971" y="37"/>
                    </a:lnTo>
                    <a:lnTo>
                      <a:pt x="997" y="53"/>
                    </a:lnTo>
                    <a:lnTo>
                      <a:pt x="1020" y="70"/>
                    </a:lnTo>
                    <a:lnTo>
                      <a:pt x="1042" y="91"/>
                    </a:lnTo>
                    <a:lnTo>
                      <a:pt x="1063" y="112"/>
                    </a:lnTo>
                    <a:lnTo>
                      <a:pt x="1080" y="136"/>
                    </a:lnTo>
                    <a:lnTo>
                      <a:pt x="1096" y="161"/>
                    </a:lnTo>
                    <a:lnTo>
                      <a:pt x="1103" y="175"/>
                    </a:lnTo>
                    <a:lnTo>
                      <a:pt x="1109" y="188"/>
                    </a:lnTo>
                    <a:lnTo>
                      <a:pt x="1114" y="203"/>
                    </a:lnTo>
                    <a:lnTo>
                      <a:pt x="1119" y="216"/>
                    </a:lnTo>
                    <a:lnTo>
                      <a:pt x="1124" y="232"/>
                    </a:lnTo>
                    <a:lnTo>
                      <a:pt x="1128" y="247"/>
                    </a:lnTo>
                    <a:lnTo>
                      <a:pt x="1130" y="261"/>
                    </a:lnTo>
                    <a:lnTo>
                      <a:pt x="1131" y="277"/>
                    </a:lnTo>
                    <a:lnTo>
                      <a:pt x="1132" y="293"/>
                    </a:lnTo>
                    <a:lnTo>
                      <a:pt x="1134" y="309"/>
                    </a:lnTo>
                    <a:lnTo>
                      <a:pt x="0" y="309"/>
                    </a:lnTo>
                    <a:lnTo>
                      <a:pt x="0"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09" name="Freeform 1454"/>
              <p:cNvSpPr>
                <a:spLocks/>
              </p:cNvSpPr>
              <p:nvPr/>
            </p:nvSpPr>
            <p:spPr bwMode="auto">
              <a:xfrm>
                <a:off x="6926114" y="-904988"/>
                <a:ext cx="428779" cy="117630"/>
              </a:xfrm>
              <a:custGeom>
                <a:avLst/>
                <a:gdLst>
                  <a:gd name="T0" fmla="*/ 1134 w 1134"/>
                  <a:gd name="T1" fmla="*/ 0 h 309"/>
                  <a:gd name="T2" fmla="*/ 308 w 1134"/>
                  <a:gd name="T3" fmla="*/ 0 h 309"/>
                  <a:gd name="T4" fmla="*/ 308 w 1134"/>
                  <a:gd name="T5" fmla="*/ 0 h 309"/>
                  <a:gd name="T6" fmla="*/ 293 w 1134"/>
                  <a:gd name="T7" fmla="*/ 0 h 309"/>
                  <a:gd name="T8" fmla="*/ 277 w 1134"/>
                  <a:gd name="T9" fmla="*/ 2 h 309"/>
                  <a:gd name="T10" fmla="*/ 261 w 1134"/>
                  <a:gd name="T11" fmla="*/ 3 h 309"/>
                  <a:gd name="T12" fmla="*/ 246 w 1134"/>
                  <a:gd name="T13" fmla="*/ 6 h 309"/>
                  <a:gd name="T14" fmla="*/ 232 w 1134"/>
                  <a:gd name="T15" fmla="*/ 9 h 309"/>
                  <a:gd name="T16" fmla="*/ 217 w 1134"/>
                  <a:gd name="T17" fmla="*/ 14 h 309"/>
                  <a:gd name="T18" fmla="*/ 202 w 1134"/>
                  <a:gd name="T19" fmla="*/ 19 h 309"/>
                  <a:gd name="T20" fmla="*/ 188 w 1134"/>
                  <a:gd name="T21" fmla="*/ 23 h 309"/>
                  <a:gd name="T22" fmla="*/ 174 w 1134"/>
                  <a:gd name="T23" fmla="*/ 31 h 309"/>
                  <a:gd name="T24" fmla="*/ 161 w 1134"/>
                  <a:gd name="T25" fmla="*/ 37 h 309"/>
                  <a:gd name="T26" fmla="*/ 135 w 1134"/>
                  <a:gd name="T27" fmla="*/ 53 h 309"/>
                  <a:gd name="T28" fmla="*/ 112 w 1134"/>
                  <a:gd name="T29" fmla="*/ 70 h 309"/>
                  <a:gd name="T30" fmla="*/ 90 w 1134"/>
                  <a:gd name="T31" fmla="*/ 91 h 309"/>
                  <a:gd name="T32" fmla="*/ 70 w 1134"/>
                  <a:gd name="T33" fmla="*/ 112 h 309"/>
                  <a:gd name="T34" fmla="*/ 52 w 1134"/>
                  <a:gd name="T35" fmla="*/ 136 h 309"/>
                  <a:gd name="T36" fmla="*/ 37 w 1134"/>
                  <a:gd name="T37" fmla="*/ 161 h 309"/>
                  <a:gd name="T38" fmla="*/ 31 w 1134"/>
                  <a:gd name="T39" fmla="*/ 175 h 309"/>
                  <a:gd name="T40" fmla="*/ 23 w 1134"/>
                  <a:gd name="T41" fmla="*/ 188 h 309"/>
                  <a:gd name="T42" fmla="*/ 18 w 1134"/>
                  <a:gd name="T43" fmla="*/ 203 h 309"/>
                  <a:gd name="T44" fmla="*/ 13 w 1134"/>
                  <a:gd name="T45" fmla="*/ 216 h 309"/>
                  <a:gd name="T46" fmla="*/ 10 w 1134"/>
                  <a:gd name="T47" fmla="*/ 232 h 309"/>
                  <a:gd name="T48" fmla="*/ 6 w 1134"/>
                  <a:gd name="T49" fmla="*/ 247 h 309"/>
                  <a:gd name="T50" fmla="*/ 2 w 1134"/>
                  <a:gd name="T51" fmla="*/ 261 h 309"/>
                  <a:gd name="T52" fmla="*/ 1 w 1134"/>
                  <a:gd name="T53" fmla="*/ 277 h 309"/>
                  <a:gd name="T54" fmla="*/ 0 w 1134"/>
                  <a:gd name="T55" fmla="*/ 293 h 309"/>
                  <a:gd name="T56" fmla="*/ 0 w 1134"/>
                  <a:gd name="T57" fmla="*/ 309 h 309"/>
                  <a:gd name="T58" fmla="*/ 1134 w 1134"/>
                  <a:gd name="T59" fmla="*/ 309 h 309"/>
                  <a:gd name="T60" fmla="*/ 1134 w 1134"/>
                  <a:gd name="T61"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4" h="309">
                    <a:moveTo>
                      <a:pt x="1134" y="0"/>
                    </a:moveTo>
                    <a:lnTo>
                      <a:pt x="308" y="0"/>
                    </a:lnTo>
                    <a:lnTo>
                      <a:pt x="308" y="0"/>
                    </a:lnTo>
                    <a:lnTo>
                      <a:pt x="293" y="0"/>
                    </a:lnTo>
                    <a:lnTo>
                      <a:pt x="277" y="2"/>
                    </a:lnTo>
                    <a:lnTo>
                      <a:pt x="261" y="3"/>
                    </a:lnTo>
                    <a:lnTo>
                      <a:pt x="246" y="6"/>
                    </a:lnTo>
                    <a:lnTo>
                      <a:pt x="232" y="9"/>
                    </a:lnTo>
                    <a:lnTo>
                      <a:pt x="217" y="14"/>
                    </a:lnTo>
                    <a:lnTo>
                      <a:pt x="202" y="19"/>
                    </a:lnTo>
                    <a:lnTo>
                      <a:pt x="188" y="23"/>
                    </a:lnTo>
                    <a:lnTo>
                      <a:pt x="174" y="31"/>
                    </a:lnTo>
                    <a:lnTo>
                      <a:pt x="161" y="37"/>
                    </a:lnTo>
                    <a:lnTo>
                      <a:pt x="135" y="53"/>
                    </a:lnTo>
                    <a:lnTo>
                      <a:pt x="112" y="70"/>
                    </a:lnTo>
                    <a:lnTo>
                      <a:pt x="90" y="91"/>
                    </a:lnTo>
                    <a:lnTo>
                      <a:pt x="70" y="112"/>
                    </a:lnTo>
                    <a:lnTo>
                      <a:pt x="52" y="136"/>
                    </a:lnTo>
                    <a:lnTo>
                      <a:pt x="37" y="161"/>
                    </a:lnTo>
                    <a:lnTo>
                      <a:pt x="31" y="175"/>
                    </a:lnTo>
                    <a:lnTo>
                      <a:pt x="23" y="188"/>
                    </a:lnTo>
                    <a:lnTo>
                      <a:pt x="18" y="203"/>
                    </a:lnTo>
                    <a:lnTo>
                      <a:pt x="13" y="216"/>
                    </a:lnTo>
                    <a:lnTo>
                      <a:pt x="10" y="232"/>
                    </a:lnTo>
                    <a:lnTo>
                      <a:pt x="6" y="247"/>
                    </a:lnTo>
                    <a:lnTo>
                      <a:pt x="2" y="261"/>
                    </a:lnTo>
                    <a:lnTo>
                      <a:pt x="1" y="277"/>
                    </a:lnTo>
                    <a:lnTo>
                      <a:pt x="0" y="293"/>
                    </a:lnTo>
                    <a:lnTo>
                      <a:pt x="0" y="309"/>
                    </a:lnTo>
                    <a:lnTo>
                      <a:pt x="1134" y="309"/>
                    </a:lnTo>
                    <a:lnTo>
                      <a:pt x="1134"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1" name="Freeform 1456"/>
              <p:cNvSpPr>
                <a:spLocks/>
              </p:cNvSpPr>
              <p:nvPr/>
            </p:nvSpPr>
            <p:spPr bwMode="auto">
              <a:xfrm>
                <a:off x="7586357" y="-686804"/>
                <a:ext cx="119527" cy="119527"/>
              </a:xfrm>
              <a:custGeom>
                <a:avLst/>
                <a:gdLst>
                  <a:gd name="T0" fmla="*/ 0 w 319"/>
                  <a:gd name="T1" fmla="*/ 318 h 318"/>
                  <a:gd name="T2" fmla="*/ 0 w 319"/>
                  <a:gd name="T3" fmla="*/ 318 h 318"/>
                  <a:gd name="T4" fmla="*/ 1 w 319"/>
                  <a:gd name="T5" fmla="*/ 302 h 318"/>
                  <a:gd name="T6" fmla="*/ 2 w 319"/>
                  <a:gd name="T7" fmla="*/ 287 h 318"/>
                  <a:gd name="T8" fmla="*/ 3 w 319"/>
                  <a:gd name="T9" fmla="*/ 269 h 318"/>
                  <a:gd name="T10" fmla="*/ 7 w 319"/>
                  <a:gd name="T11" fmla="*/ 255 h 318"/>
                  <a:gd name="T12" fmla="*/ 11 w 319"/>
                  <a:gd name="T13" fmla="*/ 239 h 318"/>
                  <a:gd name="T14" fmla="*/ 14 w 319"/>
                  <a:gd name="T15" fmla="*/ 224 h 318"/>
                  <a:gd name="T16" fmla="*/ 19 w 319"/>
                  <a:gd name="T17" fmla="*/ 209 h 318"/>
                  <a:gd name="T18" fmla="*/ 25 w 319"/>
                  <a:gd name="T19" fmla="*/ 195 h 318"/>
                  <a:gd name="T20" fmla="*/ 31 w 319"/>
                  <a:gd name="T21" fmla="*/ 180 h 318"/>
                  <a:gd name="T22" fmla="*/ 39 w 319"/>
                  <a:gd name="T23" fmla="*/ 167 h 318"/>
                  <a:gd name="T24" fmla="*/ 46 w 319"/>
                  <a:gd name="T25" fmla="*/ 154 h 318"/>
                  <a:gd name="T26" fmla="*/ 55 w 319"/>
                  <a:gd name="T27" fmla="*/ 140 h 318"/>
                  <a:gd name="T28" fmla="*/ 63 w 319"/>
                  <a:gd name="T29" fmla="*/ 128 h 318"/>
                  <a:gd name="T30" fmla="*/ 73 w 319"/>
                  <a:gd name="T31" fmla="*/ 116 h 318"/>
                  <a:gd name="T32" fmla="*/ 94 w 319"/>
                  <a:gd name="T33" fmla="*/ 94 h 318"/>
                  <a:gd name="T34" fmla="*/ 105 w 319"/>
                  <a:gd name="T35" fmla="*/ 83 h 318"/>
                  <a:gd name="T36" fmla="*/ 117 w 319"/>
                  <a:gd name="T37" fmla="*/ 73 h 318"/>
                  <a:gd name="T38" fmla="*/ 128 w 319"/>
                  <a:gd name="T39" fmla="*/ 63 h 318"/>
                  <a:gd name="T40" fmla="*/ 141 w 319"/>
                  <a:gd name="T41" fmla="*/ 55 h 318"/>
                  <a:gd name="T42" fmla="*/ 153 w 319"/>
                  <a:gd name="T43" fmla="*/ 46 h 318"/>
                  <a:gd name="T44" fmla="*/ 167 w 319"/>
                  <a:gd name="T45" fmla="*/ 39 h 318"/>
                  <a:gd name="T46" fmla="*/ 180 w 319"/>
                  <a:gd name="T47" fmla="*/ 32 h 318"/>
                  <a:gd name="T48" fmla="*/ 195 w 319"/>
                  <a:gd name="T49" fmla="*/ 26 h 318"/>
                  <a:gd name="T50" fmla="*/ 209 w 319"/>
                  <a:gd name="T51" fmla="*/ 20 h 318"/>
                  <a:gd name="T52" fmla="*/ 224 w 319"/>
                  <a:gd name="T53" fmla="*/ 15 h 318"/>
                  <a:gd name="T54" fmla="*/ 239 w 319"/>
                  <a:gd name="T55" fmla="*/ 10 h 318"/>
                  <a:gd name="T56" fmla="*/ 255 w 319"/>
                  <a:gd name="T57" fmla="*/ 6 h 318"/>
                  <a:gd name="T58" fmla="*/ 270 w 319"/>
                  <a:gd name="T59" fmla="*/ 4 h 318"/>
                  <a:gd name="T60" fmla="*/ 286 w 319"/>
                  <a:gd name="T61" fmla="*/ 1 h 318"/>
                  <a:gd name="T62" fmla="*/ 302 w 319"/>
                  <a:gd name="T63" fmla="*/ 0 h 318"/>
                  <a:gd name="T64" fmla="*/ 319 w 319"/>
                  <a:gd name="T65" fmla="*/ 0 h 318"/>
                  <a:gd name="T66" fmla="*/ 319 w 319"/>
                  <a:gd name="T67" fmla="*/ 318 h 318"/>
                  <a:gd name="T68" fmla="*/ 0 w 319"/>
                  <a:gd name="T6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9" h="318">
                    <a:moveTo>
                      <a:pt x="0" y="318"/>
                    </a:moveTo>
                    <a:lnTo>
                      <a:pt x="0" y="318"/>
                    </a:lnTo>
                    <a:lnTo>
                      <a:pt x="1" y="302"/>
                    </a:lnTo>
                    <a:lnTo>
                      <a:pt x="2" y="287"/>
                    </a:lnTo>
                    <a:lnTo>
                      <a:pt x="3" y="269"/>
                    </a:lnTo>
                    <a:lnTo>
                      <a:pt x="7" y="255"/>
                    </a:lnTo>
                    <a:lnTo>
                      <a:pt x="11" y="239"/>
                    </a:lnTo>
                    <a:lnTo>
                      <a:pt x="14" y="224"/>
                    </a:lnTo>
                    <a:lnTo>
                      <a:pt x="19" y="209"/>
                    </a:lnTo>
                    <a:lnTo>
                      <a:pt x="25" y="195"/>
                    </a:lnTo>
                    <a:lnTo>
                      <a:pt x="31" y="180"/>
                    </a:lnTo>
                    <a:lnTo>
                      <a:pt x="39" y="167"/>
                    </a:lnTo>
                    <a:lnTo>
                      <a:pt x="46" y="154"/>
                    </a:lnTo>
                    <a:lnTo>
                      <a:pt x="55" y="140"/>
                    </a:lnTo>
                    <a:lnTo>
                      <a:pt x="63" y="128"/>
                    </a:lnTo>
                    <a:lnTo>
                      <a:pt x="73" y="116"/>
                    </a:lnTo>
                    <a:lnTo>
                      <a:pt x="94" y="94"/>
                    </a:lnTo>
                    <a:lnTo>
                      <a:pt x="105" y="83"/>
                    </a:lnTo>
                    <a:lnTo>
                      <a:pt x="117" y="73"/>
                    </a:lnTo>
                    <a:lnTo>
                      <a:pt x="128" y="63"/>
                    </a:lnTo>
                    <a:lnTo>
                      <a:pt x="141" y="55"/>
                    </a:lnTo>
                    <a:lnTo>
                      <a:pt x="153" y="46"/>
                    </a:lnTo>
                    <a:lnTo>
                      <a:pt x="167" y="39"/>
                    </a:lnTo>
                    <a:lnTo>
                      <a:pt x="180" y="32"/>
                    </a:lnTo>
                    <a:lnTo>
                      <a:pt x="195" y="26"/>
                    </a:lnTo>
                    <a:lnTo>
                      <a:pt x="209" y="20"/>
                    </a:lnTo>
                    <a:lnTo>
                      <a:pt x="224" y="15"/>
                    </a:lnTo>
                    <a:lnTo>
                      <a:pt x="239" y="10"/>
                    </a:lnTo>
                    <a:lnTo>
                      <a:pt x="255" y="6"/>
                    </a:lnTo>
                    <a:lnTo>
                      <a:pt x="270" y="4"/>
                    </a:lnTo>
                    <a:lnTo>
                      <a:pt x="286" y="1"/>
                    </a:lnTo>
                    <a:lnTo>
                      <a:pt x="302" y="0"/>
                    </a:lnTo>
                    <a:lnTo>
                      <a:pt x="319" y="0"/>
                    </a:lnTo>
                    <a:lnTo>
                      <a:pt x="319" y="318"/>
                    </a:lnTo>
                    <a:lnTo>
                      <a:pt x="0" y="318"/>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2" name="Freeform 1457"/>
              <p:cNvSpPr>
                <a:spLocks/>
              </p:cNvSpPr>
              <p:nvPr/>
            </p:nvSpPr>
            <p:spPr bwMode="auto">
              <a:xfrm>
                <a:off x="7586357" y="-686804"/>
                <a:ext cx="119527" cy="119527"/>
              </a:xfrm>
              <a:custGeom>
                <a:avLst/>
                <a:gdLst>
                  <a:gd name="T0" fmla="*/ 0 w 319"/>
                  <a:gd name="T1" fmla="*/ 318 h 318"/>
                  <a:gd name="T2" fmla="*/ 0 w 319"/>
                  <a:gd name="T3" fmla="*/ 318 h 318"/>
                  <a:gd name="T4" fmla="*/ 1 w 319"/>
                  <a:gd name="T5" fmla="*/ 302 h 318"/>
                  <a:gd name="T6" fmla="*/ 2 w 319"/>
                  <a:gd name="T7" fmla="*/ 287 h 318"/>
                  <a:gd name="T8" fmla="*/ 3 w 319"/>
                  <a:gd name="T9" fmla="*/ 269 h 318"/>
                  <a:gd name="T10" fmla="*/ 7 w 319"/>
                  <a:gd name="T11" fmla="*/ 255 h 318"/>
                  <a:gd name="T12" fmla="*/ 11 w 319"/>
                  <a:gd name="T13" fmla="*/ 239 h 318"/>
                  <a:gd name="T14" fmla="*/ 14 w 319"/>
                  <a:gd name="T15" fmla="*/ 224 h 318"/>
                  <a:gd name="T16" fmla="*/ 19 w 319"/>
                  <a:gd name="T17" fmla="*/ 209 h 318"/>
                  <a:gd name="T18" fmla="*/ 25 w 319"/>
                  <a:gd name="T19" fmla="*/ 195 h 318"/>
                  <a:gd name="T20" fmla="*/ 31 w 319"/>
                  <a:gd name="T21" fmla="*/ 180 h 318"/>
                  <a:gd name="T22" fmla="*/ 39 w 319"/>
                  <a:gd name="T23" fmla="*/ 167 h 318"/>
                  <a:gd name="T24" fmla="*/ 46 w 319"/>
                  <a:gd name="T25" fmla="*/ 154 h 318"/>
                  <a:gd name="T26" fmla="*/ 55 w 319"/>
                  <a:gd name="T27" fmla="*/ 140 h 318"/>
                  <a:gd name="T28" fmla="*/ 63 w 319"/>
                  <a:gd name="T29" fmla="*/ 128 h 318"/>
                  <a:gd name="T30" fmla="*/ 73 w 319"/>
                  <a:gd name="T31" fmla="*/ 116 h 318"/>
                  <a:gd name="T32" fmla="*/ 94 w 319"/>
                  <a:gd name="T33" fmla="*/ 94 h 318"/>
                  <a:gd name="T34" fmla="*/ 105 w 319"/>
                  <a:gd name="T35" fmla="*/ 83 h 318"/>
                  <a:gd name="T36" fmla="*/ 117 w 319"/>
                  <a:gd name="T37" fmla="*/ 73 h 318"/>
                  <a:gd name="T38" fmla="*/ 128 w 319"/>
                  <a:gd name="T39" fmla="*/ 63 h 318"/>
                  <a:gd name="T40" fmla="*/ 141 w 319"/>
                  <a:gd name="T41" fmla="*/ 55 h 318"/>
                  <a:gd name="T42" fmla="*/ 153 w 319"/>
                  <a:gd name="T43" fmla="*/ 46 h 318"/>
                  <a:gd name="T44" fmla="*/ 167 w 319"/>
                  <a:gd name="T45" fmla="*/ 39 h 318"/>
                  <a:gd name="T46" fmla="*/ 180 w 319"/>
                  <a:gd name="T47" fmla="*/ 32 h 318"/>
                  <a:gd name="T48" fmla="*/ 195 w 319"/>
                  <a:gd name="T49" fmla="*/ 26 h 318"/>
                  <a:gd name="T50" fmla="*/ 209 w 319"/>
                  <a:gd name="T51" fmla="*/ 20 h 318"/>
                  <a:gd name="T52" fmla="*/ 224 w 319"/>
                  <a:gd name="T53" fmla="*/ 15 h 318"/>
                  <a:gd name="T54" fmla="*/ 239 w 319"/>
                  <a:gd name="T55" fmla="*/ 10 h 318"/>
                  <a:gd name="T56" fmla="*/ 255 w 319"/>
                  <a:gd name="T57" fmla="*/ 6 h 318"/>
                  <a:gd name="T58" fmla="*/ 270 w 319"/>
                  <a:gd name="T59" fmla="*/ 4 h 318"/>
                  <a:gd name="T60" fmla="*/ 286 w 319"/>
                  <a:gd name="T61" fmla="*/ 1 h 318"/>
                  <a:gd name="T62" fmla="*/ 302 w 319"/>
                  <a:gd name="T63" fmla="*/ 0 h 318"/>
                  <a:gd name="T64" fmla="*/ 319 w 319"/>
                  <a:gd name="T65" fmla="*/ 0 h 318"/>
                  <a:gd name="T66" fmla="*/ 319 w 319"/>
                  <a:gd name="T67" fmla="*/ 318 h 318"/>
                  <a:gd name="T68" fmla="*/ 0 w 319"/>
                  <a:gd name="T6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9" h="318">
                    <a:moveTo>
                      <a:pt x="0" y="318"/>
                    </a:moveTo>
                    <a:lnTo>
                      <a:pt x="0" y="318"/>
                    </a:lnTo>
                    <a:lnTo>
                      <a:pt x="1" y="302"/>
                    </a:lnTo>
                    <a:lnTo>
                      <a:pt x="2" y="287"/>
                    </a:lnTo>
                    <a:lnTo>
                      <a:pt x="3" y="269"/>
                    </a:lnTo>
                    <a:lnTo>
                      <a:pt x="7" y="255"/>
                    </a:lnTo>
                    <a:lnTo>
                      <a:pt x="11" y="239"/>
                    </a:lnTo>
                    <a:lnTo>
                      <a:pt x="14" y="224"/>
                    </a:lnTo>
                    <a:lnTo>
                      <a:pt x="19" y="209"/>
                    </a:lnTo>
                    <a:lnTo>
                      <a:pt x="25" y="195"/>
                    </a:lnTo>
                    <a:lnTo>
                      <a:pt x="31" y="180"/>
                    </a:lnTo>
                    <a:lnTo>
                      <a:pt x="39" y="167"/>
                    </a:lnTo>
                    <a:lnTo>
                      <a:pt x="46" y="154"/>
                    </a:lnTo>
                    <a:lnTo>
                      <a:pt x="55" y="140"/>
                    </a:lnTo>
                    <a:lnTo>
                      <a:pt x="63" y="128"/>
                    </a:lnTo>
                    <a:lnTo>
                      <a:pt x="73" y="116"/>
                    </a:lnTo>
                    <a:lnTo>
                      <a:pt x="94" y="94"/>
                    </a:lnTo>
                    <a:lnTo>
                      <a:pt x="105" y="83"/>
                    </a:lnTo>
                    <a:lnTo>
                      <a:pt x="117" y="73"/>
                    </a:lnTo>
                    <a:lnTo>
                      <a:pt x="128" y="63"/>
                    </a:lnTo>
                    <a:lnTo>
                      <a:pt x="141" y="55"/>
                    </a:lnTo>
                    <a:lnTo>
                      <a:pt x="153" y="46"/>
                    </a:lnTo>
                    <a:lnTo>
                      <a:pt x="167" y="39"/>
                    </a:lnTo>
                    <a:lnTo>
                      <a:pt x="180" y="32"/>
                    </a:lnTo>
                    <a:lnTo>
                      <a:pt x="195" y="26"/>
                    </a:lnTo>
                    <a:lnTo>
                      <a:pt x="209" y="20"/>
                    </a:lnTo>
                    <a:lnTo>
                      <a:pt x="224" y="15"/>
                    </a:lnTo>
                    <a:lnTo>
                      <a:pt x="239" y="10"/>
                    </a:lnTo>
                    <a:lnTo>
                      <a:pt x="255" y="6"/>
                    </a:lnTo>
                    <a:lnTo>
                      <a:pt x="270" y="4"/>
                    </a:lnTo>
                    <a:lnTo>
                      <a:pt x="286" y="1"/>
                    </a:lnTo>
                    <a:lnTo>
                      <a:pt x="302" y="0"/>
                    </a:lnTo>
                    <a:lnTo>
                      <a:pt x="319" y="0"/>
                    </a:lnTo>
                    <a:lnTo>
                      <a:pt x="319" y="318"/>
                    </a:lnTo>
                    <a:lnTo>
                      <a:pt x="0" y="3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3" name="Freeform 1458"/>
              <p:cNvSpPr>
                <a:spLocks/>
              </p:cNvSpPr>
              <p:nvPr/>
            </p:nvSpPr>
            <p:spPr bwMode="auto">
              <a:xfrm>
                <a:off x="7705885" y="-686804"/>
                <a:ext cx="121423" cy="119527"/>
              </a:xfrm>
              <a:custGeom>
                <a:avLst/>
                <a:gdLst>
                  <a:gd name="T0" fmla="*/ 0 w 318"/>
                  <a:gd name="T1" fmla="*/ 0 h 318"/>
                  <a:gd name="T2" fmla="*/ 0 w 318"/>
                  <a:gd name="T3" fmla="*/ 0 h 318"/>
                  <a:gd name="T4" fmla="*/ 16 w 318"/>
                  <a:gd name="T5" fmla="*/ 0 h 318"/>
                  <a:gd name="T6" fmla="*/ 32 w 318"/>
                  <a:gd name="T7" fmla="*/ 1 h 318"/>
                  <a:gd name="T8" fmla="*/ 49 w 318"/>
                  <a:gd name="T9" fmla="*/ 4 h 318"/>
                  <a:gd name="T10" fmla="*/ 64 w 318"/>
                  <a:gd name="T11" fmla="*/ 6 h 318"/>
                  <a:gd name="T12" fmla="*/ 79 w 318"/>
                  <a:gd name="T13" fmla="*/ 10 h 318"/>
                  <a:gd name="T14" fmla="*/ 94 w 318"/>
                  <a:gd name="T15" fmla="*/ 15 h 318"/>
                  <a:gd name="T16" fmla="*/ 110 w 318"/>
                  <a:gd name="T17" fmla="*/ 20 h 318"/>
                  <a:gd name="T18" fmla="*/ 123 w 318"/>
                  <a:gd name="T19" fmla="*/ 26 h 318"/>
                  <a:gd name="T20" fmla="*/ 138 w 318"/>
                  <a:gd name="T21" fmla="*/ 32 h 318"/>
                  <a:gd name="T22" fmla="*/ 151 w 318"/>
                  <a:gd name="T23" fmla="*/ 39 h 318"/>
                  <a:gd name="T24" fmla="*/ 165 w 318"/>
                  <a:gd name="T25" fmla="*/ 46 h 318"/>
                  <a:gd name="T26" fmla="*/ 178 w 318"/>
                  <a:gd name="T27" fmla="*/ 55 h 318"/>
                  <a:gd name="T28" fmla="*/ 190 w 318"/>
                  <a:gd name="T29" fmla="*/ 63 h 318"/>
                  <a:gd name="T30" fmla="*/ 203 w 318"/>
                  <a:gd name="T31" fmla="*/ 73 h 318"/>
                  <a:gd name="T32" fmla="*/ 214 w 318"/>
                  <a:gd name="T33" fmla="*/ 83 h 318"/>
                  <a:gd name="T34" fmla="*/ 226 w 318"/>
                  <a:gd name="T35" fmla="*/ 94 h 318"/>
                  <a:gd name="T36" fmla="*/ 245 w 318"/>
                  <a:gd name="T37" fmla="*/ 116 h 318"/>
                  <a:gd name="T38" fmla="*/ 255 w 318"/>
                  <a:gd name="T39" fmla="*/ 128 h 318"/>
                  <a:gd name="T40" fmla="*/ 263 w 318"/>
                  <a:gd name="T41" fmla="*/ 140 h 318"/>
                  <a:gd name="T42" fmla="*/ 272 w 318"/>
                  <a:gd name="T43" fmla="*/ 154 h 318"/>
                  <a:gd name="T44" fmla="*/ 281 w 318"/>
                  <a:gd name="T45" fmla="*/ 167 h 318"/>
                  <a:gd name="T46" fmla="*/ 287 w 318"/>
                  <a:gd name="T47" fmla="*/ 180 h 318"/>
                  <a:gd name="T48" fmla="*/ 294 w 318"/>
                  <a:gd name="T49" fmla="*/ 195 h 318"/>
                  <a:gd name="T50" fmla="*/ 299 w 318"/>
                  <a:gd name="T51" fmla="*/ 209 h 318"/>
                  <a:gd name="T52" fmla="*/ 304 w 318"/>
                  <a:gd name="T53" fmla="*/ 224 h 318"/>
                  <a:gd name="T54" fmla="*/ 309 w 318"/>
                  <a:gd name="T55" fmla="*/ 239 h 318"/>
                  <a:gd name="T56" fmla="*/ 312 w 318"/>
                  <a:gd name="T57" fmla="*/ 255 h 318"/>
                  <a:gd name="T58" fmla="*/ 315 w 318"/>
                  <a:gd name="T59" fmla="*/ 269 h 318"/>
                  <a:gd name="T60" fmla="*/ 317 w 318"/>
                  <a:gd name="T61" fmla="*/ 287 h 318"/>
                  <a:gd name="T62" fmla="*/ 318 w 318"/>
                  <a:gd name="T63" fmla="*/ 302 h 318"/>
                  <a:gd name="T64" fmla="*/ 318 w 318"/>
                  <a:gd name="T65" fmla="*/ 318 h 318"/>
                  <a:gd name="T66" fmla="*/ 0 w 318"/>
                  <a:gd name="T67" fmla="*/ 318 h 318"/>
                  <a:gd name="T68" fmla="*/ 0 w 318"/>
                  <a:gd name="T69"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8" h="318">
                    <a:moveTo>
                      <a:pt x="0" y="0"/>
                    </a:moveTo>
                    <a:lnTo>
                      <a:pt x="0" y="0"/>
                    </a:lnTo>
                    <a:lnTo>
                      <a:pt x="16" y="0"/>
                    </a:lnTo>
                    <a:lnTo>
                      <a:pt x="32" y="1"/>
                    </a:lnTo>
                    <a:lnTo>
                      <a:pt x="49" y="4"/>
                    </a:lnTo>
                    <a:lnTo>
                      <a:pt x="64" y="6"/>
                    </a:lnTo>
                    <a:lnTo>
                      <a:pt x="79" y="10"/>
                    </a:lnTo>
                    <a:lnTo>
                      <a:pt x="94" y="15"/>
                    </a:lnTo>
                    <a:lnTo>
                      <a:pt x="110" y="20"/>
                    </a:lnTo>
                    <a:lnTo>
                      <a:pt x="123" y="26"/>
                    </a:lnTo>
                    <a:lnTo>
                      <a:pt x="138" y="32"/>
                    </a:lnTo>
                    <a:lnTo>
                      <a:pt x="151" y="39"/>
                    </a:lnTo>
                    <a:lnTo>
                      <a:pt x="165" y="46"/>
                    </a:lnTo>
                    <a:lnTo>
                      <a:pt x="178" y="55"/>
                    </a:lnTo>
                    <a:lnTo>
                      <a:pt x="190" y="63"/>
                    </a:lnTo>
                    <a:lnTo>
                      <a:pt x="203" y="73"/>
                    </a:lnTo>
                    <a:lnTo>
                      <a:pt x="214" y="83"/>
                    </a:lnTo>
                    <a:lnTo>
                      <a:pt x="226" y="94"/>
                    </a:lnTo>
                    <a:lnTo>
                      <a:pt x="245" y="116"/>
                    </a:lnTo>
                    <a:lnTo>
                      <a:pt x="255" y="128"/>
                    </a:lnTo>
                    <a:lnTo>
                      <a:pt x="263" y="140"/>
                    </a:lnTo>
                    <a:lnTo>
                      <a:pt x="272" y="154"/>
                    </a:lnTo>
                    <a:lnTo>
                      <a:pt x="281" y="167"/>
                    </a:lnTo>
                    <a:lnTo>
                      <a:pt x="287" y="180"/>
                    </a:lnTo>
                    <a:lnTo>
                      <a:pt x="294" y="195"/>
                    </a:lnTo>
                    <a:lnTo>
                      <a:pt x="299" y="209"/>
                    </a:lnTo>
                    <a:lnTo>
                      <a:pt x="304" y="224"/>
                    </a:lnTo>
                    <a:lnTo>
                      <a:pt x="309" y="239"/>
                    </a:lnTo>
                    <a:lnTo>
                      <a:pt x="312" y="255"/>
                    </a:lnTo>
                    <a:lnTo>
                      <a:pt x="315" y="269"/>
                    </a:lnTo>
                    <a:lnTo>
                      <a:pt x="317" y="287"/>
                    </a:lnTo>
                    <a:lnTo>
                      <a:pt x="318" y="302"/>
                    </a:lnTo>
                    <a:lnTo>
                      <a:pt x="318" y="318"/>
                    </a:lnTo>
                    <a:lnTo>
                      <a:pt x="0" y="318"/>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4" name="Freeform 1459"/>
              <p:cNvSpPr>
                <a:spLocks/>
              </p:cNvSpPr>
              <p:nvPr/>
            </p:nvSpPr>
            <p:spPr bwMode="auto">
              <a:xfrm>
                <a:off x="7705885" y="-686804"/>
                <a:ext cx="121423" cy="119527"/>
              </a:xfrm>
              <a:custGeom>
                <a:avLst/>
                <a:gdLst>
                  <a:gd name="T0" fmla="*/ 0 w 318"/>
                  <a:gd name="T1" fmla="*/ 0 h 318"/>
                  <a:gd name="T2" fmla="*/ 0 w 318"/>
                  <a:gd name="T3" fmla="*/ 0 h 318"/>
                  <a:gd name="T4" fmla="*/ 16 w 318"/>
                  <a:gd name="T5" fmla="*/ 0 h 318"/>
                  <a:gd name="T6" fmla="*/ 32 w 318"/>
                  <a:gd name="T7" fmla="*/ 1 h 318"/>
                  <a:gd name="T8" fmla="*/ 49 w 318"/>
                  <a:gd name="T9" fmla="*/ 4 h 318"/>
                  <a:gd name="T10" fmla="*/ 64 w 318"/>
                  <a:gd name="T11" fmla="*/ 6 h 318"/>
                  <a:gd name="T12" fmla="*/ 79 w 318"/>
                  <a:gd name="T13" fmla="*/ 10 h 318"/>
                  <a:gd name="T14" fmla="*/ 94 w 318"/>
                  <a:gd name="T15" fmla="*/ 15 h 318"/>
                  <a:gd name="T16" fmla="*/ 110 w 318"/>
                  <a:gd name="T17" fmla="*/ 20 h 318"/>
                  <a:gd name="T18" fmla="*/ 123 w 318"/>
                  <a:gd name="T19" fmla="*/ 26 h 318"/>
                  <a:gd name="T20" fmla="*/ 138 w 318"/>
                  <a:gd name="T21" fmla="*/ 32 h 318"/>
                  <a:gd name="T22" fmla="*/ 151 w 318"/>
                  <a:gd name="T23" fmla="*/ 39 h 318"/>
                  <a:gd name="T24" fmla="*/ 165 w 318"/>
                  <a:gd name="T25" fmla="*/ 46 h 318"/>
                  <a:gd name="T26" fmla="*/ 178 w 318"/>
                  <a:gd name="T27" fmla="*/ 55 h 318"/>
                  <a:gd name="T28" fmla="*/ 190 w 318"/>
                  <a:gd name="T29" fmla="*/ 63 h 318"/>
                  <a:gd name="T30" fmla="*/ 203 w 318"/>
                  <a:gd name="T31" fmla="*/ 73 h 318"/>
                  <a:gd name="T32" fmla="*/ 214 w 318"/>
                  <a:gd name="T33" fmla="*/ 83 h 318"/>
                  <a:gd name="T34" fmla="*/ 226 w 318"/>
                  <a:gd name="T35" fmla="*/ 94 h 318"/>
                  <a:gd name="T36" fmla="*/ 245 w 318"/>
                  <a:gd name="T37" fmla="*/ 116 h 318"/>
                  <a:gd name="T38" fmla="*/ 255 w 318"/>
                  <a:gd name="T39" fmla="*/ 128 h 318"/>
                  <a:gd name="T40" fmla="*/ 263 w 318"/>
                  <a:gd name="T41" fmla="*/ 140 h 318"/>
                  <a:gd name="T42" fmla="*/ 272 w 318"/>
                  <a:gd name="T43" fmla="*/ 154 h 318"/>
                  <a:gd name="T44" fmla="*/ 281 w 318"/>
                  <a:gd name="T45" fmla="*/ 167 h 318"/>
                  <a:gd name="T46" fmla="*/ 287 w 318"/>
                  <a:gd name="T47" fmla="*/ 180 h 318"/>
                  <a:gd name="T48" fmla="*/ 294 w 318"/>
                  <a:gd name="T49" fmla="*/ 195 h 318"/>
                  <a:gd name="T50" fmla="*/ 299 w 318"/>
                  <a:gd name="T51" fmla="*/ 209 h 318"/>
                  <a:gd name="T52" fmla="*/ 304 w 318"/>
                  <a:gd name="T53" fmla="*/ 224 h 318"/>
                  <a:gd name="T54" fmla="*/ 309 w 318"/>
                  <a:gd name="T55" fmla="*/ 239 h 318"/>
                  <a:gd name="T56" fmla="*/ 312 w 318"/>
                  <a:gd name="T57" fmla="*/ 255 h 318"/>
                  <a:gd name="T58" fmla="*/ 315 w 318"/>
                  <a:gd name="T59" fmla="*/ 269 h 318"/>
                  <a:gd name="T60" fmla="*/ 317 w 318"/>
                  <a:gd name="T61" fmla="*/ 287 h 318"/>
                  <a:gd name="T62" fmla="*/ 318 w 318"/>
                  <a:gd name="T63" fmla="*/ 302 h 318"/>
                  <a:gd name="T64" fmla="*/ 318 w 318"/>
                  <a:gd name="T65" fmla="*/ 318 h 318"/>
                  <a:gd name="T66" fmla="*/ 0 w 318"/>
                  <a:gd name="T67" fmla="*/ 318 h 318"/>
                  <a:gd name="T68" fmla="*/ 0 w 318"/>
                  <a:gd name="T69"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8" h="318">
                    <a:moveTo>
                      <a:pt x="0" y="0"/>
                    </a:moveTo>
                    <a:lnTo>
                      <a:pt x="0" y="0"/>
                    </a:lnTo>
                    <a:lnTo>
                      <a:pt x="16" y="0"/>
                    </a:lnTo>
                    <a:lnTo>
                      <a:pt x="32" y="1"/>
                    </a:lnTo>
                    <a:lnTo>
                      <a:pt x="49" y="4"/>
                    </a:lnTo>
                    <a:lnTo>
                      <a:pt x="64" y="6"/>
                    </a:lnTo>
                    <a:lnTo>
                      <a:pt x="79" y="10"/>
                    </a:lnTo>
                    <a:lnTo>
                      <a:pt x="94" y="15"/>
                    </a:lnTo>
                    <a:lnTo>
                      <a:pt x="110" y="20"/>
                    </a:lnTo>
                    <a:lnTo>
                      <a:pt x="123" y="26"/>
                    </a:lnTo>
                    <a:lnTo>
                      <a:pt x="138" y="32"/>
                    </a:lnTo>
                    <a:lnTo>
                      <a:pt x="151" y="39"/>
                    </a:lnTo>
                    <a:lnTo>
                      <a:pt x="165" y="46"/>
                    </a:lnTo>
                    <a:lnTo>
                      <a:pt x="178" y="55"/>
                    </a:lnTo>
                    <a:lnTo>
                      <a:pt x="190" y="63"/>
                    </a:lnTo>
                    <a:lnTo>
                      <a:pt x="203" y="73"/>
                    </a:lnTo>
                    <a:lnTo>
                      <a:pt x="214" y="83"/>
                    </a:lnTo>
                    <a:lnTo>
                      <a:pt x="226" y="94"/>
                    </a:lnTo>
                    <a:lnTo>
                      <a:pt x="245" y="116"/>
                    </a:lnTo>
                    <a:lnTo>
                      <a:pt x="255" y="128"/>
                    </a:lnTo>
                    <a:lnTo>
                      <a:pt x="263" y="140"/>
                    </a:lnTo>
                    <a:lnTo>
                      <a:pt x="272" y="154"/>
                    </a:lnTo>
                    <a:lnTo>
                      <a:pt x="281" y="167"/>
                    </a:lnTo>
                    <a:lnTo>
                      <a:pt x="287" y="180"/>
                    </a:lnTo>
                    <a:lnTo>
                      <a:pt x="294" y="195"/>
                    </a:lnTo>
                    <a:lnTo>
                      <a:pt x="299" y="209"/>
                    </a:lnTo>
                    <a:lnTo>
                      <a:pt x="304" y="224"/>
                    </a:lnTo>
                    <a:lnTo>
                      <a:pt x="309" y="239"/>
                    </a:lnTo>
                    <a:lnTo>
                      <a:pt x="312" y="255"/>
                    </a:lnTo>
                    <a:lnTo>
                      <a:pt x="315" y="269"/>
                    </a:lnTo>
                    <a:lnTo>
                      <a:pt x="317" y="287"/>
                    </a:lnTo>
                    <a:lnTo>
                      <a:pt x="318" y="302"/>
                    </a:lnTo>
                    <a:lnTo>
                      <a:pt x="318" y="318"/>
                    </a:lnTo>
                    <a:lnTo>
                      <a:pt x="0" y="31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5" name="Freeform 1460"/>
              <p:cNvSpPr>
                <a:spLocks/>
              </p:cNvSpPr>
              <p:nvPr/>
            </p:nvSpPr>
            <p:spPr bwMode="auto">
              <a:xfrm>
                <a:off x="7705885" y="-567275"/>
                <a:ext cx="121423" cy="121424"/>
              </a:xfrm>
              <a:custGeom>
                <a:avLst/>
                <a:gdLst>
                  <a:gd name="T0" fmla="*/ 318 w 318"/>
                  <a:gd name="T1" fmla="*/ 0 h 320"/>
                  <a:gd name="T2" fmla="*/ 318 w 318"/>
                  <a:gd name="T3" fmla="*/ 0 h 320"/>
                  <a:gd name="T4" fmla="*/ 318 w 318"/>
                  <a:gd name="T5" fmla="*/ 17 h 320"/>
                  <a:gd name="T6" fmla="*/ 317 w 318"/>
                  <a:gd name="T7" fmla="*/ 33 h 320"/>
                  <a:gd name="T8" fmla="*/ 315 w 318"/>
                  <a:gd name="T9" fmla="*/ 49 h 320"/>
                  <a:gd name="T10" fmla="*/ 312 w 318"/>
                  <a:gd name="T11" fmla="*/ 65 h 320"/>
                  <a:gd name="T12" fmla="*/ 309 w 318"/>
                  <a:gd name="T13" fmla="*/ 81 h 320"/>
                  <a:gd name="T14" fmla="*/ 304 w 318"/>
                  <a:gd name="T15" fmla="*/ 95 h 320"/>
                  <a:gd name="T16" fmla="*/ 299 w 318"/>
                  <a:gd name="T17" fmla="*/ 110 h 320"/>
                  <a:gd name="T18" fmla="*/ 294 w 318"/>
                  <a:gd name="T19" fmla="*/ 125 h 320"/>
                  <a:gd name="T20" fmla="*/ 287 w 318"/>
                  <a:gd name="T21" fmla="*/ 139 h 320"/>
                  <a:gd name="T22" fmla="*/ 281 w 318"/>
                  <a:gd name="T23" fmla="*/ 153 h 320"/>
                  <a:gd name="T24" fmla="*/ 272 w 318"/>
                  <a:gd name="T25" fmla="*/ 166 h 320"/>
                  <a:gd name="T26" fmla="*/ 263 w 318"/>
                  <a:gd name="T27" fmla="*/ 178 h 320"/>
                  <a:gd name="T28" fmla="*/ 255 w 318"/>
                  <a:gd name="T29" fmla="*/ 192 h 320"/>
                  <a:gd name="T30" fmla="*/ 245 w 318"/>
                  <a:gd name="T31" fmla="*/ 203 h 320"/>
                  <a:gd name="T32" fmla="*/ 226 w 318"/>
                  <a:gd name="T33" fmla="*/ 226 h 320"/>
                  <a:gd name="T34" fmla="*/ 203 w 318"/>
                  <a:gd name="T35" fmla="*/ 246 h 320"/>
                  <a:gd name="T36" fmla="*/ 190 w 318"/>
                  <a:gd name="T37" fmla="*/ 256 h 320"/>
                  <a:gd name="T38" fmla="*/ 178 w 318"/>
                  <a:gd name="T39" fmla="*/ 265 h 320"/>
                  <a:gd name="T40" fmla="*/ 165 w 318"/>
                  <a:gd name="T41" fmla="*/ 273 h 320"/>
                  <a:gd name="T42" fmla="*/ 151 w 318"/>
                  <a:gd name="T43" fmla="*/ 281 h 320"/>
                  <a:gd name="T44" fmla="*/ 138 w 318"/>
                  <a:gd name="T45" fmla="*/ 288 h 320"/>
                  <a:gd name="T46" fmla="*/ 123 w 318"/>
                  <a:gd name="T47" fmla="*/ 294 h 320"/>
                  <a:gd name="T48" fmla="*/ 110 w 318"/>
                  <a:gd name="T49" fmla="*/ 300 h 320"/>
                  <a:gd name="T50" fmla="*/ 94 w 318"/>
                  <a:gd name="T51" fmla="*/ 305 h 320"/>
                  <a:gd name="T52" fmla="*/ 79 w 318"/>
                  <a:gd name="T53" fmla="*/ 309 h 320"/>
                  <a:gd name="T54" fmla="*/ 64 w 318"/>
                  <a:gd name="T55" fmla="*/ 312 h 320"/>
                  <a:gd name="T56" fmla="*/ 49 w 318"/>
                  <a:gd name="T57" fmla="*/ 316 h 320"/>
                  <a:gd name="T58" fmla="*/ 32 w 318"/>
                  <a:gd name="T59" fmla="*/ 317 h 320"/>
                  <a:gd name="T60" fmla="*/ 16 w 318"/>
                  <a:gd name="T61" fmla="*/ 318 h 320"/>
                  <a:gd name="T62" fmla="*/ 0 w 318"/>
                  <a:gd name="T63" fmla="*/ 320 h 320"/>
                  <a:gd name="T64" fmla="*/ 0 w 318"/>
                  <a:gd name="T65" fmla="*/ 0 h 320"/>
                  <a:gd name="T66" fmla="*/ 318 w 318"/>
                  <a:gd name="T6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8" h="320">
                    <a:moveTo>
                      <a:pt x="318" y="0"/>
                    </a:moveTo>
                    <a:lnTo>
                      <a:pt x="318" y="0"/>
                    </a:lnTo>
                    <a:lnTo>
                      <a:pt x="318" y="17"/>
                    </a:lnTo>
                    <a:lnTo>
                      <a:pt x="317" y="33"/>
                    </a:lnTo>
                    <a:lnTo>
                      <a:pt x="315" y="49"/>
                    </a:lnTo>
                    <a:lnTo>
                      <a:pt x="312" y="65"/>
                    </a:lnTo>
                    <a:lnTo>
                      <a:pt x="309" y="81"/>
                    </a:lnTo>
                    <a:lnTo>
                      <a:pt x="304" y="95"/>
                    </a:lnTo>
                    <a:lnTo>
                      <a:pt x="299" y="110"/>
                    </a:lnTo>
                    <a:lnTo>
                      <a:pt x="294" y="125"/>
                    </a:lnTo>
                    <a:lnTo>
                      <a:pt x="287" y="139"/>
                    </a:lnTo>
                    <a:lnTo>
                      <a:pt x="281" y="153"/>
                    </a:lnTo>
                    <a:lnTo>
                      <a:pt x="272" y="166"/>
                    </a:lnTo>
                    <a:lnTo>
                      <a:pt x="263" y="178"/>
                    </a:lnTo>
                    <a:lnTo>
                      <a:pt x="255" y="192"/>
                    </a:lnTo>
                    <a:lnTo>
                      <a:pt x="245" y="203"/>
                    </a:lnTo>
                    <a:lnTo>
                      <a:pt x="226" y="226"/>
                    </a:lnTo>
                    <a:lnTo>
                      <a:pt x="203" y="246"/>
                    </a:lnTo>
                    <a:lnTo>
                      <a:pt x="190" y="256"/>
                    </a:lnTo>
                    <a:lnTo>
                      <a:pt x="178" y="265"/>
                    </a:lnTo>
                    <a:lnTo>
                      <a:pt x="165" y="273"/>
                    </a:lnTo>
                    <a:lnTo>
                      <a:pt x="151" y="281"/>
                    </a:lnTo>
                    <a:lnTo>
                      <a:pt x="138" y="288"/>
                    </a:lnTo>
                    <a:lnTo>
                      <a:pt x="123" y="294"/>
                    </a:lnTo>
                    <a:lnTo>
                      <a:pt x="110" y="300"/>
                    </a:lnTo>
                    <a:lnTo>
                      <a:pt x="94" y="305"/>
                    </a:lnTo>
                    <a:lnTo>
                      <a:pt x="79" y="309"/>
                    </a:lnTo>
                    <a:lnTo>
                      <a:pt x="64" y="312"/>
                    </a:lnTo>
                    <a:lnTo>
                      <a:pt x="49" y="316"/>
                    </a:lnTo>
                    <a:lnTo>
                      <a:pt x="32" y="317"/>
                    </a:lnTo>
                    <a:lnTo>
                      <a:pt x="16" y="318"/>
                    </a:lnTo>
                    <a:lnTo>
                      <a:pt x="0" y="320"/>
                    </a:lnTo>
                    <a:lnTo>
                      <a:pt x="0" y="0"/>
                    </a:lnTo>
                    <a:lnTo>
                      <a:pt x="318" y="0"/>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6" name="Freeform 1461"/>
              <p:cNvSpPr>
                <a:spLocks/>
              </p:cNvSpPr>
              <p:nvPr/>
            </p:nvSpPr>
            <p:spPr bwMode="auto">
              <a:xfrm>
                <a:off x="7705885" y="-567275"/>
                <a:ext cx="121423" cy="121424"/>
              </a:xfrm>
              <a:custGeom>
                <a:avLst/>
                <a:gdLst>
                  <a:gd name="T0" fmla="*/ 318 w 318"/>
                  <a:gd name="T1" fmla="*/ 0 h 320"/>
                  <a:gd name="T2" fmla="*/ 318 w 318"/>
                  <a:gd name="T3" fmla="*/ 0 h 320"/>
                  <a:gd name="T4" fmla="*/ 318 w 318"/>
                  <a:gd name="T5" fmla="*/ 17 h 320"/>
                  <a:gd name="T6" fmla="*/ 317 w 318"/>
                  <a:gd name="T7" fmla="*/ 33 h 320"/>
                  <a:gd name="T8" fmla="*/ 315 w 318"/>
                  <a:gd name="T9" fmla="*/ 49 h 320"/>
                  <a:gd name="T10" fmla="*/ 312 w 318"/>
                  <a:gd name="T11" fmla="*/ 65 h 320"/>
                  <a:gd name="T12" fmla="*/ 309 w 318"/>
                  <a:gd name="T13" fmla="*/ 81 h 320"/>
                  <a:gd name="T14" fmla="*/ 304 w 318"/>
                  <a:gd name="T15" fmla="*/ 95 h 320"/>
                  <a:gd name="T16" fmla="*/ 299 w 318"/>
                  <a:gd name="T17" fmla="*/ 110 h 320"/>
                  <a:gd name="T18" fmla="*/ 294 w 318"/>
                  <a:gd name="T19" fmla="*/ 125 h 320"/>
                  <a:gd name="T20" fmla="*/ 287 w 318"/>
                  <a:gd name="T21" fmla="*/ 139 h 320"/>
                  <a:gd name="T22" fmla="*/ 281 w 318"/>
                  <a:gd name="T23" fmla="*/ 153 h 320"/>
                  <a:gd name="T24" fmla="*/ 272 w 318"/>
                  <a:gd name="T25" fmla="*/ 166 h 320"/>
                  <a:gd name="T26" fmla="*/ 263 w 318"/>
                  <a:gd name="T27" fmla="*/ 178 h 320"/>
                  <a:gd name="T28" fmla="*/ 255 w 318"/>
                  <a:gd name="T29" fmla="*/ 192 h 320"/>
                  <a:gd name="T30" fmla="*/ 245 w 318"/>
                  <a:gd name="T31" fmla="*/ 203 h 320"/>
                  <a:gd name="T32" fmla="*/ 226 w 318"/>
                  <a:gd name="T33" fmla="*/ 226 h 320"/>
                  <a:gd name="T34" fmla="*/ 203 w 318"/>
                  <a:gd name="T35" fmla="*/ 246 h 320"/>
                  <a:gd name="T36" fmla="*/ 190 w 318"/>
                  <a:gd name="T37" fmla="*/ 256 h 320"/>
                  <a:gd name="T38" fmla="*/ 178 w 318"/>
                  <a:gd name="T39" fmla="*/ 265 h 320"/>
                  <a:gd name="T40" fmla="*/ 165 w 318"/>
                  <a:gd name="T41" fmla="*/ 273 h 320"/>
                  <a:gd name="T42" fmla="*/ 151 w 318"/>
                  <a:gd name="T43" fmla="*/ 281 h 320"/>
                  <a:gd name="T44" fmla="*/ 138 w 318"/>
                  <a:gd name="T45" fmla="*/ 288 h 320"/>
                  <a:gd name="T46" fmla="*/ 123 w 318"/>
                  <a:gd name="T47" fmla="*/ 294 h 320"/>
                  <a:gd name="T48" fmla="*/ 110 w 318"/>
                  <a:gd name="T49" fmla="*/ 300 h 320"/>
                  <a:gd name="T50" fmla="*/ 94 w 318"/>
                  <a:gd name="T51" fmla="*/ 305 h 320"/>
                  <a:gd name="T52" fmla="*/ 79 w 318"/>
                  <a:gd name="T53" fmla="*/ 309 h 320"/>
                  <a:gd name="T54" fmla="*/ 64 w 318"/>
                  <a:gd name="T55" fmla="*/ 312 h 320"/>
                  <a:gd name="T56" fmla="*/ 49 w 318"/>
                  <a:gd name="T57" fmla="*/ 316 h 320"/>
                  <a:gd name="T58" fmla="*/ 32 w 318"/>
                  <a:gd name="T59" fmla="*/ 317 h 320"/>
                  <a:gd name="T60" fmla="*/ 16 w 318"/>
                  <a:gd name="T61" fmla="*/ 318 h 320"/>
                  <a:gd name="T62" fmla="*/ 0 w 318"/>
                  <a:gd name="T63" fmla="*/ 320 h 320"/>
                  <a:gd name="T64" fmla="*/ 0 w 318"/>
                  <a:gd name="T65" fmla="*/ 0 h 320"/>
                  <a:gd name="T66" fmla="*/ 318 w 318"/>
                  <a:gd name="T6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8" h="320">
                    <a:moveTo>
                      <a:pt x="318" y="0"/>
                    </a:moveTo>
                    <a:lnTo>
                      <a:pt x="318" y="0"/>
                    </a:lnTo>
                    <a:lnTo>
                      <a:pt x="318" y="17"/>
                    </a:lnTo>
                    <a:lnTo>
                      <a:pt x="317" y="33"/>
                    </a:lnTo>
                    <a:lnTo>
                      <a:pt x="315" y="49"/>
                    </a:lnTo>
                    <a:lnTo>
                      <a:pt x="312" y="65"/>
                    </a:lnTo>
                    <a:lnTo>
                      <a:pt x="309" y="81"/>
                    </a:lnTo>
                    <a:lnTo>
                      <a:pt x="304" y="95"/>
                    </a:lnTo>
                    <a:lnTo>
                      <a:pt x="299" y="110"/>
                    </a:lnTo>
                    <a:lnTo>
                      <a:pt x="294" y="125"/>
                    </a:lnTo>
                    <a:lnTo>
                      <a:pt x="287" y="139"/>
                    </a:lnTo>
                    <a:lnTo>
                      <a:pt x="281" y="153"/>
                    </a:lnTo>
                    <a:lnTo>
                      <a:pt x="272" y="166"/>
                    </a:lnTo>
                    <a:lnTo>
                      <a:pt x="263" y="178"/>
                    </a:lnTo>
                    <a:lnTo>
                      <a:pt x="255" y="192"/>
                    </a:lnTo>
                    <a:lnTo>
                      <a:pt x="245" y="203"/>
                    </a:lnTo>
                    <a:lnTo>
                      <a:pt x="226" y="226"/>
                    </a:lnTo>
                    <a:lnTo>
                      <a:pt x="203" y="246"/>
                    </a:lnTo>
                    <a:lnTo>
                      <a:pt x="190" y="256"/>
                    </a:lnTo>
                    <a:lnTo>
                      <a:pt x="178" y="265"/>
                    </a:lnTo>
                    <a:lnTo>
                      <a:pt x="165" y="273"/>
                    </a:lnTo>
                    <a:lnTo>
                      <a:pt x="151" y="281"/>
                    </a:lnTo>
                    <a:lnTo>
                      <a:pt x="138" y="288"/>
                    </a:lnTo>
                    <a:lnTo>
                      <a:pt x="123" y="294"/>
                    </a:lnTo>
                    <a:lnTo>
                      <a:pt x="110" y="300"/>
                    </a:lnTo>
                    <a:lnTo>
                      <a:pt x="94" y="305"/>
                    </a:lnTo>
                    <a:lnTo>
                      <a:pt x="79" y="309"/>
                    </a:lnTo>
                    <a:lnTo>
                      <a:pt x="64" y="312"/>
                    </a:lnTo>
                    <a:lnTo>
                      <a:pt x="49" y="316"/>
                    </a:lnTo>
                    <a:lnTo>
                      <a:pt x="32" y="317"/>
                    </a:lnTo>
                    <a:lnTo>
                      <a:pt x="16" y="318"/>
                    </a:lnTo>
                    <a:lnTo>
                      <a:pt x="0" y="320"/>
                    </a:lnTo>
                    <a:lnTo>
                      <a:pt x="0" y="0"/>
                    </a:lnTo>
                    <a:lnTo>
                      <a:pt x="3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7" name="Freeform 1462"/>
              <p:cNvSpPr>
                <a:spLocks/>
              </p:cNvSpPr>
              <p:nvPr/>
            </p:nvSpPr>
            <p:spPr bwMode="auto">
              <a:xfrm>
                <a:off x="7586357" y="-567275"/>
                <a:ext cx="119527" cy="121424"/>
              </a:xfrm>
              <a:custGeom>
                <a:avLst/>
                <a:gdLst>
                  <a:gd name="T0" fmla="*/ 319 w 319"/>
                  <a:gd name="T1" fmla="*/ 0 h 320"/>
                  <a:gd name="T2" fmla="*/ 319 w 319"/>
                  <a:gd name="T3" fmla="*/ 320 h 320"/>
                  <a:gd name="T4" fmla="*/ 319 w 319"/>
                  <a:gd name="T5" fmla="*/ 320 h 320"/>
                  <a:gd name="T6" fmla="*/ 302 w 319"/>
                  <a:gd name="T7" fmla="*/ 318 h 320"/>
                  <a:gd name="T8" fmla="*/ 286 w 319"/>
                  <a:gd name="T9" fmla="*/ 317 h 320"/>
                  <a:gd name="T10" fmla="*/ 270 w 319"/>
                  <a:gd name="T11" fmla="*/ 316 h 320"/>
                  <a:gd name="T12" fmla="*/ 255 w 319"/>
                  <a:gd name="T13" fmla="*/ 312 h 320"/>
                  <a:gd name="T14" fmla="*/ 239 w 319"/>
                  <a:gd name="T15" fmla="*/ 309 h 320"/>
                  <a:gd name="T16" fmla="*/ 224 w 319"/>
                  <a:gd name="T17" fmla="*/ 305 h 320"/>
                  <a:gd name="T18" fmla="*/ 209 w 319"/>
                  <a:gd name="T19" fmla="*/ 300 h 320"/>
                  <a:gd name="T20" fmla="*/ 195 w 319"/>
                  <a:gd name="T21" fmla="*/ 294 h 320"/>
                  <a:gd name="T22" fmla="*/ 180 w 319"/>
                  <a:gd name="T23" fmla="*/ 288 h 320"/>
                  <a:gd name="T24" fmla="*/ 167 w 319"/>
                  <a:gd name="T25" fmla="*/ 281 h 320"/>
                  <a:gd name="T26" fmla="*/ 153 w 319"/>
                  <a:gd name="T27" fmla="*/ 273 h 320"/>
                  <a:gd name="T28" fmla="*/ 141 w 319"/>
                  <a:gd name="T29" fmla="*/ 265 h 320"/>
                  <a:gd name="T30" fmla="*/ 128 w 319"/>
                  <a:gd name="T31" fmla="*/ 256 h 320"/>
                  <a:gd name="T32" fmla="*/ 117 w 319"/>
                  <a:gd name="T33" fmla="*/ 246 h 320"/>
                  <a:gd name="T34" fmla="*/ 94 w 319"/>
                  <a:gd name="T35" fmla="*/ 226 h 320"/>
                  <a:gd name="T36" fmla="*/ 73 w 319"/>
                  <a:gd name="T37" fmla="*/ 203 h 320"/>
                  <a:gd name="T38" fmla="*/ 63 w 319"/>
                  <a:gd name="T39" fmla="*/ 192 h 320"/>
                  <a:gd name="T40" fmla="*/ 55 w 319"/>
                  <a:gd name="T41" fmla="*/ 178 h 320"/>
                  <a:gd name="T42" fmla="*/ 46 w 319"/>
                  <a:gd name="T43" fmla="*/ 166 h 320"/>
                  <a:gd name="T44" fmla="*/ 39 w 319"/>
                  <a:gd name="T45" fmla="*/ 153 h 320"/>
                  <a:gd name="T46" fmla="*/ 31 w 319"/>
                  <a:gd name="T47" fmla="*/ 139 h 320"/>
                  <a:gd name="T48" fmla="*/ 25 w 319"/>
                  <a:gd name="T49" fmla="*/ 125 h 320"/>
                  <a:gd name="T50" fmla="*/ 19 w 319"/>
                  <a:gd name="T51" fmla="*/ 110 h 320"/>
                  <a:gd name="T52" fmla="*/ 14 w 319"/>
                  <a:gd name="T53" fmla="*/ 95 h 320"/>
                  <a:gd name="T54" fmla="*/ 11 w 319"/>
                  <a:gd name="T55" fmla="*/ 81 h 320"/>
                  <a:gd name="T56" fmla="*/ 7 w 319"/>
                  <a:gd name="T57" fmla="*/ 65 h 320"/>
                  <a:gd name="T58" fmla="*/ 3 w 319"/>
                  <a:gd name="T59" fmla="*/ 49 h 320"/>
                  <a:gd name="T60" fmla="*/ 2 w 319"/>
                  <a:gd name="T61" fmla="*/ 33 h 320"/>
                  <a:gd name="T62" fmla="*/ 1 w 319"/>
                  <a:gd name="T63" fmla="*/ 17 h 320"/>
                  <a:gd name="T64" fmla="*/ 0 w 319"/>
                  <a:gd name="T65" fmla="*/ 0 h 320"/>
                  <a:gd name="T66" fmla="*/ 319 w 319"/>
                  <a:gd name="T6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9" h="320">
                    <a:moveTo>
                      <a:pt x="319" y="0"/>
                    </a:moveTo>
                    <a:lnTo>
                      <a:pt x="319" y="320"/>
                    </a:lnTo>
                    <a:lnTo>
                      <a:pt x="319" y="320"/>
                    </a:lnTo>
                    <a:lnTo>
                      <a:pt x="302" y="318"/>
                    </a:lnTo>
                    <a:lnTo>
                      <a:pt x="286" y="317"/>
                    </a:lnTo>
                    <a:lnTo>
                      <a:pt x="270" y="316"/>
                    </a:lnTo>
                    <a:lnTo>
                      <a:pt x="255" y="312"/>
                    </a:lnTo>
                    <a:lnTo>
                      <a:pt x="239" y="309"/>
                    </a:lnTo>
                    <a:lnTo>
                      <a:pt x="224" y="305"/>
                    </a:lnTo>
                    <a:lnTo>
                      <a:pt x="209" y="300"/>
                    </a:lnTo>
                    <a:lnTo>
                      <a:pt x="195" y="294"/>
                    </a:lnTo>
                    <a:lnTo>
                      <a:pt x="180" y="288"/>
                    </a:lnTo>
                    <a:lnTo>
                      <a:pt x="167" y="281"/>
                    </a:lnTo>
                    <a:lnTo>
                      <a:pt x="153" y="273"/>
                    </a:lnTo>
                    <a:lnTo>
                      <a:pt x="141" y="265"/>
                    </a:lnTo>
                    <a:lnTo>
                      <a:pt x="128" y="256"/>
                    </a:lnTo>
                    <a:lnTo>
                      <a:pt x="117" y="246"/>
                    </a:lnTo>
                    <a:lnTo>
                      <a:pt x="94" y="226"/>
                    </a:lnTo>
                    <a:lnTo>
                      <a:pt x="73" y="203"/>
                    </a:lnTo>
                    <a:lnTo>
                      <a:pt x="63" y="192"/>
                    </a:lnTo>
                    <a:lnTo>
                      <a:pt x="55" y="178"/>
                    </a:lnTo>
                    <a:lnTo>
                      <a:pt x="46" y="166"/>
                    </a:lnTo>
                    <a:lnTo>
                      <a:pt x="39" y="153"/>
                    </a:lnTo>
                    <a:lnTo>
                      <a:pt x="31" y="139"/>
                    </a:lnTo>
                    <a:lnTo>
                      <a:pt x="25" y="125"/>
                    </a:lnTo>
                    <a:lnTo>
                      <a:pt x="19" y="110"/>
                    </a:lnTo>
                    <a:lnTo>
                      <a:pt x="14" y="95"/>
                    </a:lnTo>
                    <a:lnTo>
                      <a:pt x="11" y="81"/>
                    </a:lnTo>
                    <a:lnTo>
                      <a:pt x="7" y="65"/>
                    </a:lnTo>
                    <a:lnTo>
                      <a:pt x="3" y="49"/>
                    </a:lnTo>
                    <a:lnTo>
                      <a:pt x="2" y="33"/>
                    </a:lnTo>
                    <a:lnTo>
                      <a:pt x="1" y="17"/>
                    </a:lnTo>
                    <a:lnTo>
                      <a:pt x="0" y="0"/>
                    </a:lnTo>
                    <a:lnTo>
                      <a:pt x="319" y="0"/>
                    </a:lnTo>
                    <a:close/>
                  </a:path>
                </a:pathLst>
              </a:custGeom>
              <a:solidFill>
                <a:srgbClr val="A5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8" name="Freeform 1463"/>
              <p:cNvSpPr>
                <a:spLocks/>
              </p:cNvSpPr>
              <p:nvPr/>
            </p:nvSpPr>
            <p:spPr bwMode="auto">
              <a:xfrm>
                <a:off x="7586357" y="-567275"/>
                <a:ext cx="119527" cy="121424"/>
              </a:xfrm>
              <a:custGeom>
                <a:avLst/>
                <a:gdLst>
                  <a:gd name="T0" fmla="*/ 319 w 319"/>
                  <a:gd name="T1" fmla="*/ 0 h 320"/>
                  <a:gd name="T2" fmla="*/ 319 w 319"/>
                  <a:gd name="T3" fmla="*/ 320 h 320"/>
                  <a:gd name="T4" fmla="*/ 319 w 319"/>
                  <a:gd name="T5" fmla="*/ 320 h 320"/>
                  <a:gd name="T6" fmla="*/ 302 w 319"/>
                  <a:gd name="T7" fmla="*/ 318 h 320"/>
                  <a:gd name="T8" fmla="*/ 286 w 319"/>
                  <a:gd name="T9" fmla="*/ 317 h 320"/>
                  <a:gd name="T10" fmla="*/ 270 w 319"/>
                  <a:gd name="T11" fmla="*/ 316 h 320"/>
                  <a:gd name="T12" fmla="*/ 255 w 319"/>
                  <a:gd name="T13" fmla="*/ 312 h 320"/>
                  <a:gd name="T14" fmla="*/ 239 w 319"/>
                  <a:gd name="T15" fmla="*/ 309 h 320"/>
                  <a:gd name="T16" fmla="*/ 224 w 319"/>
                  <a:gd name="T17" fmla="*/ 305 h 320"/>
                  <a:gd name="T18" fmla="*/ 209 w 319"/>
                  <a:gd name="T19" fmla="*/ 300 h 320"/>
                  <a:gd name="T20" fmla="*/ 195 w 319"/>
                  <a:gd name="T21" fmla="*/ 294 h 320"/>
                  <a:gd name="T22" fmla="*/ 180 w 319"/>
                  <a:gd name="T23" fmla="*/ 288 h 320"/>
                  <a:gd name="T24" fmla="*/ 167 w 319"/>
                  <a:gd name="T25" fmla="*/ 281 h 320"/>
                  <a:gd name="T26" fmla="*/ 153 w 319"/>
                  <a:gd name="T27" fmla="*/ 273 h 320"/>
                  <a:gd name="T28" fmla="*/ 141 w 319"/>
                  <a:gd name="T29" fmla="*/ 265 h 320"/>
                  <a:gd name="T30" fmla="*/ 128 w 319"/>
                  <a:gd name="T31" fmla="*/ 256 h 320"/>
                  <a:gd name="T32" fmla="*/ 117 w 319"/>
                  <a:gd name="T33" fmla="*/ 246 h 320"/>
                  <a:gd name="T34" fmla="*/ 94 w 319"/>
                  <a:gd name="T35" fmla="*/ 226 h 320"/>
                  <a:gd name="T36" fmla="*/ 73 w 319"/>
                  <a:gd name="T37" fmla="*/ 203 h 320"/>
                  <a:gd name="T38" fmla="*/ 63 w 319"/>
                  <a:gd name="T39" fmla="*/ 192 h 320"/>
                  <a:gd name="T40" fmla="*/ 55 w 319"/>
                  <a:gd name="T41" fmla="*/ 178 h 320"/>
                  <a:gd name="T42" fmla="*/ 46 w 319"/>
                  <a:gd name="T43" fmla="*/ 166 h 320"/>
                  <a:gd name="T44" fmla="*/ 39 w 319"/>
                  <a:gd name="T45" fmla="*/ 153 h 320"/>
                  <a:gd name="T46" fmla="*/ 31 w 319"/>
                  <a:gd name="T47" fmla="*/ 139 h 320"/>
                  <a:gd name="T48" fmla="*/ 25 w 319"/>
                  <a:gd name="T49" fmla="*/ 125 h 320"/>
                  <a:gd name="T50" fmla="*/ 19 w 319"/>
                  <a:gd name="T51" fmla="*/ 110 h 320"/>
                  <a:gd name="T52" fmla="*/ 14 w 319"/>
                  <a:gd name="T53" fmla="*/ 95 h 320"/>
                  <a:gd name="T54" fmla="*/ 11 w 319"/>
                  <a:gd name="T55" fmla="*/ 81 h 320"/>
                  <a:gd name="T56" fmla="*/ 7 w 319"/>
                  <a:gd name="T57" fmla="*/ 65 h 320"/>
                  <a:gd name="T58" fmla="*/ 3 w 319"/>
                  <a:gd name="T59" fmla="*/ 49 h 320"/>
                  <a:gd name="T60" fmla="*/ 2 w 319"/>
                  <a:gd name="T61" fmla="*/ 33 h 320"/>
                  <a:gd name="T62" fmla="*/ 1 w 319"/>
                  <a:gd name="T63" fmla="*/ 17 h 320"/>
                  <a:gd name="T64" fmla="*/ 0 w 319"/>
                  <a:gd name="T65" fmla="*/ 0 h 320"/>
                  <a:gd name="T66" fmla="*/ 319 w 319"/>
                  <a:gd name="T6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9" h="320">
                    <a:moveTo>
                      <a:pt x="319" y="0"/>
                    </a:moveTo>
                    <a:lnTo>
                      <a:pt x="319" y="320"/>
                    </a:lnTo>
                    <a:lnTo>
                      <a:pt x="319" y="320"/>
                    </a:lnTo>
                    <a:lnTo>
                      <a:pt x="302" y="318"/>
                    </a:lnTo>
                    <a:lnTo>
                      <a:pt x="286" y="317"/>
                    </a:lnTo>
                    <a:lnTo>
                      <a:pt x="270" y="316"/>
                    </a:lnTo>
                    <a:lnTo>
                      <a:pt x="255" y="312"/>
                    </a:lnTo>
                    <a:lnTo>
                      <a:pt x="239" y="309"/>
                    </a:lnTo>
                    <a:lnTo>
                      <a:pt x="224" y="305"/>
                    </a:lnTo>
                    <a:lnTo>
                      <a:pt x="209" y="300"/>
                    </a:lnTo>
                    <a:lnTo>
                      <a:pt x="195" y="294"/>
                    </a:lnTo>
                    <a:lnTo>
                      <a:pt x="180" y="288"/>
                    </a:lnTo>
                    <a:lnTo>
                      <a:pt x="167" y="281"/>
                    </a:lnTo>
                    <a:lnTo>
                      <a:pt x="153" y="273"/>
                    </a:lnTo>
                    <a:lnTo>
                      <a:pt x="141" y="265"/>
                    </a:lnTo>
                    <a:lnTo>
                      <a:pt x="128" y="256"/>
                    </a:lnTo>
                    <a:lnTo>
                      <a:pt x="117" y="246"/>
                    </a:lnTo>
                    <a:lnTo>
                      <a:pt x="94" y="226"/>
                    </a:lnTo>
                    <a:lnTo>
                      <a:pt x="73" y="203"/>
                    </a:lnTo>
                    <a:lnTo>
                      <a:pt x="63" y="192"/>
                    </a:lnTo>
                    <a:lnTo>
                      <a:pt x="55" y="178"/>
                    </a:lnTo>
                    <a:lnTo>
                      <a:pt x="46" y="166"/>
                    </a:lnTo>
                    <a:lnTo>
                      <a:pt x="39" y="153"/>
                    </a:lnTo>
                    <a:lnTo>
                      <a:pt x="31" y="139"/>
                    </a:lnTo>
                    <a:lnTo>
                      <a:pt x="25" y="125"/>
                    </a:lnTo>
                    <a:lnTo>
                      <a:pt x="19" y="110"/>
                    </a:lnTo>
                    <a:lnTo>
                      <a:pt x="14" y="95"/>
                    </a:lnTo>
                    <a:lnTo>
                      <a:pt x="11" y="81"/>
                    </a:lnTo>
                    <a:lnTo>
                      <a:pt x="7" y="65"/>
                    </a:lnTo>
                    <a:lnTo>
                      <a:pt x="3" y="49"/>
                    </a:lnTo>
                    <a:lnTo>
                      <a:pt x="2" y="33"/>
                    </a:lnTo>
                    <a:lnTo>
                      <a:pt x="1" y="17"/>
                    </a:lnTo>
                    <a:lnTo>
                      <a:pt x="0" y="0"/>
                    </a:lnTo>
                    <a:lnTo>
                      <a:pt x="31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19" name="Freeform 1464"/>
              <p:cNvSpPr>
                <a:spLocks/>
              </p:cNvSpPr>
              <p:nvPr/>
            </p:nvSpPr>
            <p:spPr bwMode="auto">
              <a:xfrm>
                <a:off x="7648968" y="-622298"/>
                <a:ext cx="56917" cy="55021"/>
              </a:xfrm>
              <a:custGeom>
                <a:avLst/>
                <a:gdLst>
                  <a:gd name="T0" fmla="*/ 150 w 150"/>
                  <a:gd name="T1" fmla="*/ 0 h 148"/>
                  <a:gd name="T2" fmla="*/ 150 w 150"/>
                  <a:gd name="T3" fmla="*/ 0 h 148"/>
                  <a:gd name="T4" fmla="*/ 134 w 150"/>
                  <a:gd name="T5" fmla="*/ 0 h 148"/>
                  <a:gd name="T6" fmla="*/ 120 w 150"/>
                  <a:gd name="T7" fmla="*/ 2 h 148"/>
                  <a:gd name="T8" fmla="*/ 105 w 150"/>
                  <a:gd name="T9" fmla="*/ 6 h 148"/>
                  <a:gd name="T10" fmla="*/ 92 w 150"/>
                  <a:gd name="T11" fmla="*/ 10 h 148"/>
                  <a:gd name="T12" fmla="*/ 78 w 150"/>
                  <a:gd name="T13" fmla="*/ 18 h 148"/>
                  <a:gd name="T14" fmla="*/ 66 w 150"/>
                  <a:gd name="T15" fmla="*/ 25 h 148"/>
                  <a:gd name="T16" fmla="*/ 55 w 150"/>
                  <a:gd name="T17" fmla="*/ 34 h 148"/>
                  <a:gd name="T18" fmla="*/ 44 w 150"/>
                  <a:gd name="T19" fmla="*/ 43 h 148"/>
                  <a:gd name="T20" fmla="*/ 34 w 150"/>
                  <a:gd name="T21" fmla="*/ 53 h 148"/>
                  <a:gd name="T22" fmla="*/ 26 w 150"/>
                  <a:gd name="T23" fmla="*/ 65 h 148"/>
                  <a:gd name="T24" fmla="*/ 19 w 150"/>
                  <a:gd name="T25" fmla="*/ 78 h 148"/>
                  <a:gd name="T26" fmla="*/ 12 w 150"/>
                  <a:gd name="T27" fmla="*/ 91 h 148"/>
                  <a:gd name="T28" fmla="*/ 8 w 150"/>
                  <a:gd name="T29" fmla="*/ 104 h 148"/>
                  <a:gd name="T30" fmla="*/ 4 w 150"/>
                  <a:gd name="T31" fmla="*/ 119 h 148"/>
                  <a:gd name="T32" fmla="*/ 1 w 150"/>
                  <a:gd name="T33" fmla="*/ 134 h 148"/>
                  <a:gd name="T34" fmla="*/ 0 w 150"/>
                  <a:gd name="T35" fmla="*/ 148 h 148"/>
                  <a:gd name="T36" fmla="*/ 150 w 150"/>
                  <a:gd name="T37" fmla="*/ 148 h 148"/>
                  <a:gd name="T38" fmla="*/ 150 w 150"/>
                  <a:gd name="T39"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48">
                    <a:moveTo>
                      <a:pt x="150" y="0"/>
                    </a:moveTo>
                    <a:lnTo>
                      <a:pt x="150" y="0"/>
                    </a:lnTo>
                    <a:lnTo>
                      <a:pt x="134" y="0"/>
                    </a:lnTo>
                    <a:lnTo>
                      <a:pt x="120" y="2"/>
                    </a:lnTo>
                    <a:lnTo>
                      <a:pt x="105" y="6"/>
                    </a:lnTo>
                    <a:lnTo>
                      <a:pt x="92" y="10"/>
                    </a:lnTo>
                    <a:lnTo>
                      <a:pt x="78" y="18"/>
                    </a:lnTo>
                    <a:lnTo>
                      <a:pt x="66" y="25"/>
                    </a:lnTo>
                    <a:lnTo>
                      <a:pt x="55" y="34"/>
                    </a:lnTo>
                    <a:lnTo>
                      <a:pt x="44" y="43"/>
                    </a:lnTo>
                    <a:lnTo>
                      <a:pt x="34" y="53"/>
                    </a:lnTo>
                    <a:lnTo>
                      <a:pt x="26" y="65"/>
                    </a:lnTo>
                    <a:lnTo>
                      <a:pt x="19" y="78"/>
                    </a:lnTo>
                    <a:lnTo>
                      <a:pt x="12" y="91"/>
                    </a:lnTo>
                    <a:lnTo>
                      <a:pt x="8" y="104"/>
                    </a:lnTo>
                    <a:lnTo>
                      <a:pt x="4" y="119"/>
                    </a:lnTo>
                    <a:lnTo>
                      <a:pt x="1" y="134"/>
                    </a:lnTo>
                    <a:lnTo>
                      <a:pt x="0" y="148"/>
                    </a:lnTo>
                    <a:lnTo>
                      <a:pt x="150" y="148"/>
                    </a:lnTo>
                    <a:lnTo>
                      <a:pt x="150" y="0"/>
                    </a:lnTo>
                    <a:close/>
                  </a:path>
                </a:pathLst>
              </a:custGeom>
              <a:solidFill>
                <a:srgbClr val="A7A7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0" name="Freeform 1465"/>
              <p:cNvSpPr>
                <a:spLocks/>
              </p:cNvSpPr>
              <p:nvPr/>
            </p:nvSpPr>
            <p:spPr bwMode="auto">
              <a:xfrm>
                <a:off x="7648968" y="-622298"/>
                <a:ext cx="56917" cy="55021"/>
              </a:xfrm>
              <a:custGeom>
                <a:avLst/>
                <a:gdLst>
                  <a:gd name="T0" fmla="*/ 150 w 150"/>
                  <a:gd name="T1" fmla="*/ 0 h 148"/>
                  <a:gd name="T2" fmla="*/ 150 w 150"/>
                  <a:gd name="T3" fmla="*/ 0 h 148"/>
                  <a:gd name="T4" fmla="*/ 134 w 150"/>
                  <a:gd name="T5" fmla="*/ 0 h 148"/>
                  <a:gd name="T6" fmla="*/ 120 w 150"/>
                  <a:gd name="T7" fmla="*/ 2 h 148"/>
                  <a:gd name="T8" fmla="*/ 105 w 150"/>
                  <a:gd name="T9" fmla="*/ 6 h 148"/>
                  <a:gd name="T10" fmla="*/ 92 w 150"/>
                  <a:gd name="T11" fmla="*/ 10 h 148"/>
                  <a:gd name="T12" fmla="*/ 78 w 150"/>
                  <a:gd name="T13" fmla="*/ 18 h 148"/>
                  <a:gd name="T14" fmla="*/ 66 w 150"/>
                  <a:gd name="T15" fmla="*/ 25 h 148"/>
                  <a:gd name="T16" fmla="*/ 55 w 150"/>
                  <a:gd name="T17" fmla="*/ 34 h 148"/>
                  <a:gd name="T18" fmla="*/ 44 w 150"/>
                  <a:gd name="T19" fmla="*/ 43 h 148"/>
                  <a:gd name="T20" fmla="*/ 34 w 150"/>
                  <a:gd name="T21" fmla="*/ 53 h 148"/>
                  <a:gd name="T22" fmla="*/ 26 w 150"/>
                  <a:gd name="T23" fmla="*/ 65 h 148"/>
                  <a:gd name="T24" fmla="*/ 19 w 150"/>
                  <a:gd name="T25" fmla="*/ 78 h 148"/>
                  <a:gd name="T26" fmla="*/ 12 w 150"/>
                  <a:gd name="T27" fmla="*/ 91 h 148"/>
                  <a:gd name="T28" fmla="*/ 8 w 150"/>
                  <a:gd name="T29" fmla="*/ 104 h 148"/>
                  <a:gd name="T30" fmla="*/ 4 w 150"/>
                  <a:gd name="T31" fmla="*/ 119 h 148"/>
                  <a:gd name="T32" fmla="*/ 1 w 150"/>
                  <a:gd name="T33" fmla="*/ 134 h 148"/>
                  <a:gd name="T34" fmla="*/ 0 w 150"/>
                  <a:gd name="T35" fmla="*/ 148 h 148"/>
                  <a:gd name="T36" fmla="*/ 150 w 150"/>
                  <a:gd name="T37" fmla="*/ 148 h 148"/>
                  <a:gd name="T38" fmla="*/ 150 w 150"/>
                  <a:gd name="T39"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48">
                    <a:moveTo>
                      <a:pt x="150" y="0"/>
                    </a:moveTo>
                    <a:lnTo>
                      <a:pt x="150" y="0"/>
                    </a:lnTo>
                    <a:lnTo>
                      <a:pt x="134" y="0"/>
                    </a:lnTo>
                    <a:lnTo>
                      <a:pt x="120" y="2"/>
                    </a:lnTo>
                    <a:lnTo>
                      <a:pt x="105" y="6"/>
                    </a:lnTo>
                    <a:lnTo>
                      <a:pt x="92" y="10"/>
                    </a:lnTo>
                    <a:lnTo>
                      <a:pt x="78" y="18"/>
                    </a:lnTo>
                    <a:lnTo>
                      <a:pt x="66" y="25"/>
                    </a:lnTo>
                    <a:lnTo>
                      <a:pt x="55" y="34"/>
                    </a:lnTo>
                    <a:lnTo>
                      <a:pt x="44" y="43"/>
                    </a:lnTo>
                    <a:lnTo>
                      <a:pt x="34" y="53"/>
                    </a:lnTo>
                    <a:lnTo>
                      <a:pt x="26" y="65"/>
                    </a:lnTo>
                    <a:lnTo>
                      <a:pt x="19" y="78"/>
                    </a:lnTo>
                    <a:lnTo>
                      <a:pt x="12" y="91"/>
                    </a:lnTo>
                    <a:lnTo>
                      <a:pt x="8" y="104"/>
                    </a:lnTo>
                    <a:lnTo>
                      <a:pt x="4" y="119"/>
                    </a:lnTo>
                    <a:lnTo>
                      <a:pt x="1" y="134"/>
                    </a:lnTo>
                    <a:lnTo>
                      <a:pt x="0" y="148"/>
                    </a:lnTo>
                    <a:lnTo>
                      <a:pt x="150" y="148"/>
                    </a:lnTo>
                    <a:lnTo>
                      <a:pt x="1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1" name="Freeform 1466"/>
              <p:cNvSpPr>
                <a:spLocks/>
              </p:cNvSpPr>
              <p:nvPr/>
            </p:nvSpPr>
            <p:spPr bwMode="auto">
              <a:xfrm>
                <a:off x="7705885" y="-622298"/>
                <a:ext cx="56917" cy="55021"/>
              </a:xfrm>
              <a:custGeom>
                <a:avLst/>
                <a:gdLst>
                  <a:gd name="T0" fmla="*/ 0 w 149"/>
                  <a:gd name="T1" fmla="*/ 0 h 148"/>
                  <a:gd name="T2" fmla="*/ 0 w 149"/>
                  <a:gd name="T3" fmla="*/ 0 h 148"/>
                  <a:gd name="T4" fmla="*/ 0 w 149"/>
                  <a:gd name="T5" fmla="*/ 148 h 148"/>
                  <a:gd name="T6" fmla="*/ 149 w 149"/>
                  <a:gd name="T7" fmla="*/ 148 h 148"/>
                  <a:gd name="T8" fmla="*/ 149 w 149"/>
                  <a:gd name="T9" fmla="*/ 148 h 148"/>
                  <a:gd name="T10" fmla="*/ 149 w 149"/>
                  <a:gd name="T11" fmla="*/ 134 h 148"/>
                  <a:gd name="T12" fmla="*/ 146 w 149"/>
                  <a:gd name="T13" fmla="*/ 119 h 148"/>
                  <a:gd name="T14" fmla="*/ 143 w 149"/>
                  <a:gd name="T15" fmla="*/ 104 h 148"/>
                  <a:gd name="T16" fmla="*/ 138 w 149"/>
                  <a:gd name="T17" fmla="*/ 91 h 148"/>
                  <a:gd name="T18" fmla="*/ 131 w 149"/>
                  <a:gd name="T19" fmla="*/ 78 h 148"/>
                  <a:gd name="T20" fmla="*/ 123 w 149"/>
                  <a:gd name="T21" fmla="*/ 65 h 148"/>
                  <a:gd name="T22" fmla="*/ 115 w 149"/>
                  <a:gd name="T23" fmla="*/ 53 h 148"/>
                  <a:gd name="T24" fmla="*/ 105 w 149"/>
                  <a:gd name="T25" fmla="*/ 43 h 148"/>
                  <a:gd name="T26" fmla="*/ 95 w 149"/>
                  <a:gd name="T27" fmla="*/ 34 h 148"/>
                  <a:gd name="T28" fmla="*/ 83 w 149"/>
                  <a:gd name="T29" fmla="*/ 25 h 148"/>
                  <a:gd name="T30" fmla="*/ 71 w 149"/>
                  <a:gd name="T31" fmla="*/ 18 h 148"/>
                  <a:gd name="T32" fmla="*/ 57 w 149"/>
                  <a:gd name="T33" fmla="*/ 10 h 148"/>
                  <a:gd name="T34" fmla="*/ 44 w 149"/>
                  <a:gd name="T35" fmla="*/ 6 h 148"/>
                  <a:gd name="T36" fmla="*/ 29 w 149"/>
                  <a:gd name="T37" fmla="*/ 2 h 148"/>
                  <a:gd name="T38" fmla="*/ 15 w 149"/>
                  <a:gd name="T39" fmla="*/ 0 h 148"/>
                  <a:gd name="T40" fmla="*/ 0 w 149"/>
                  <a:gd name="T41"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9" h="148">
                    <a:moveTo>
                      <a:pt x="0" y="0"/>
                    </a:moveTo>
                    <a:lnTo>
                      <a:pt x="0" y="0"/>
                    </a:lnTo>
                    <a:lnTo>
                      <a:pt x="0" y="148"/>
                    </a:lnTo>
                    <a:lnTo>
                      <a:pt x="149" y="148"/>
                    </a:lnTo>
                    <a:lnTo>
                      <a:pt x="149" y="148"/>
                    </a:lnTo>
                    <a:lnTo>
                      <a:pt x="149" y="134"/>
                    </a:lnTo>
                    <a:lnTo>
                      <a:pt x="146" y="119"/>
                    </a:lnTo>
                    <a:lnTo>
                      <a:pt x="143" y="104"/>
                    </a:lnTo>
                    <a:lnTo>
                      <a:pt x="138" y="91"/>
                    </a:lnTo>
                    <a:lnTo>
                      <a:pt x="131" y="78"/>
                    </a:lnTo>
                    <a:lnTo>
                      <a:pt x="123" y="65"/>
                    </a:lnTo>
                    <a:lnTo>
                      <a:pt x="115" y="53"/>
                    </a:lnTo>
                    <a:lnTo>
                      <a:pt x="105" y="43"/>
                    </a:lnTo>
                    <a:lnTo>
                      <a:pt x="95" y="34"/>
                    </a:lnTo>
                    <a:lnTo>
                      <a:pt x="83" y="25"/>
                    </a:lnTo>
                    <a:lnTo>
                      <a:pt x="71" y="18"/>
                    </a:lnTo>
                    <a:lnTo>
                      <a:pt x="57" y="10"/>
                    </a:lnTo>
                    <a:lnTo>
                      <a:pt x="44" y="6"/>
                    </a:lnTo>
                    <a:lnTo>
                      <a:pt x="29" y="2"/>
                    </a:lnTo>
                    <a:lnTo>
                      <a:pt x="15" y="0"/>
                    </a:lnTo>
                    <a:lnTo>
                      <a:pt x="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2" name="Freeform 1467"/>
              <p:cNvSpPr>
                <a:spLocks/>
              </p:cNvSpPr>
              <p:nvPr/>
            </p:nvSpPr>
            <p:spPr bwMode="auto">
              <a:xfrm>
                <a:off x="7705885" y="-622298"/>
                <a:ext cx="56917" cy="55021"/>
              </a:xfrm>
              <a:custGeom>
                <a:avLst/>
                <a:gdLst>
                  <a:gd name="T0" fmla="*/ 0 w 149"/>
                  <a:gd name="T1" fmla="*/ 0 h 148"/>
                  <a:gd name="T2" fmla="*/ 0 w 149"/>
                  <a:gd name="T3" fmla="*/ 0 h 148"/>
                  <a:gd name="T4" fmla="*/ 0 w 149"/>
                  <a:gd name="T5" fmla="*/ 148 h 148"/>
                  <a:gd name="T6" fmla="*/ 149 w 149"/>
                  <a:gd name="T7" fmla="*/ 148 h 148"/>
                  <a:gd name="T8" fmla="*/ 149 w 149"/>
                  <a:gd name="T9" fmla="*/ 148 h 148"/>
                  <a:gd name="T10" fmla="*/ 149 w 149"/>
                  <a:gd name="T11" fmla="*/ 134 h 148"/>
                  <a:gd name="T12" fmla="*/ 146 w 149"/>
                  <a:gd name="T13" fmla="*/ 119 h 148"/>
                  <a:gd name="T14" fmla="*/ 143 w 149"/>
                  <a:gd name="T15" fmla="*/ 104 h 148"/>
                  <a:gd name="T16" fmla="*/ 138 w 149"/>
                  <a:gd name="T17" fmla="*/ 91 h 148"/>
                  <a:gd name="T18" fmla="*/ 131 w 149"/>
                  <a:gd name="T19" fmla="*/ 78 h 148"/>
                  <a:gd name="T20" fmla="*/ 123 w 149"/>
                  <a:gd name="T21" fmla="*/ 65 h 148"/>
                  <a:gd name="T22" fmla="*/ 115 w 149"/>
                  <a:gd name="T23" fmla="*/ 53 h 148"/>
                  <a:gd name="T24" fmla="*/ 105 w 149"/>
                  <a:gd name="T25" fmla="*/ 43 h 148"/>
                  <a:gd name="T26" fmla="*/ 95 w 149"/>
                  <a:gd name="T27" fmla="*/ 34 h 148"/>
                  <a:gd name="T28" fmla="*/ 83 w 149"/>
                  <a:gd name="T29" fmla="*/ 25 h 148"/>
                  <a:gd name="T30" fmla="*/ 71 w 149"/>
                  <a:gd name="T31" fmla="*/ 18 h 148"/>
                  <a:gd name="T32" fmla="*/ 57 w 149"/>
                  <a:gd name="T33" fmla="*/ 10 h 148"/>
                  <a:gd name="T34" fmla="*/ 44 w 149"/>
                  <a:gd name="T35" fmla="*/ 6 h 148"/>
                  <a:gd name="T36" fmla="*/ 29 w 149"/>
                  <a:gd name="T37" fmla="*/ 2 h 148"/>
                  <a:gd name="T38" fmla="*/ 15 w 149"/>
                  <a:gd name="T39" fmla="*/ 0 h 148"/>
                  <a:gd name="T40" fmla="*/ 0 w 149"/>
                  <a:gd name="T41"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9" h="148">
                    <a:moveTo>
                      <a:pt x="0" y="0"/>
                    </a:moveTo>
                    <a:lnTo>
                      <a:pt x="0" y="0"/>
                    </a:lnTo>
                    <a:lnTo>
                      <a:pt x="0" y="148"/>
                    </a:lnTo>
                    <a:lnTo>
                      <a:pt x="149" y="148"/>
                    </a:lnTo>
                    <a:lnTo>
                      <a:pt x="149" y="148"/>
                    </a:lnTo>
                    <a:lnTo>
                      <a:pt x="149" y="134"/>
                    </a:lnTo>
                    <a:lnTo>
                      <a:pt x="146" y="119"/>
                    </a:lnTo>
                    <a:lnTo>
                      <a:pt x="143" y="104"/>
                    </a:lnTo>
                    <a:lnTo>
                      <a:pt x="138" y="91"/>
                    </a:lnTo>
                    <a:lnTo>
                      <a:pt x="131" y="78"/>
                    </a:lnTo>
                    <a:lnTo>
                      <a:pt x="123" y="65"/>
                    </a:lnTo>
                    <a:lnTo>
                      <a:pt x="115" y="53"/>
                    </a:lnTo>
                    <a:lnTo>
                      <a:pt x="105" y="43"/>
                    </a:lnTo>
                    <a:lnTo>
                      <a:pt x="95" y="34"/>
                    </a:lnTo>
                    <a:lnTo>
                      <a:pt x="83" y="25"/>
                    </a:lnTo>
                    <a:lnTo>
                      <a:pt x="71" y="18"/>
                    </a:lnTo>
                    <a:lnTo>
                      <a:pt x="57" y="10"/>
                    </a:lnTo>
                    <a:lnTo>
                      <a:pt x="44" y="6"/>
                    </a:lnTo>
                    <a:lnTo>
                      <a:pt x="29" y="2"/>
                    </a:lnTo>
                    <a:lnTo>
                      <a:pt x="15"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3" name="Freeform 1468"/>
              <p:cNvSpPr>
                <a:spLocks/>
              </p:cNvSpPr>
              <p:nvPr/>
            </p:nvSpPr>
            <p:spPr bwMode="auto">
              <a:xfrm>
                <a:off x="7705885" y="-567275"/>
                <a:ext cx="56917" cy="56917"/>
              </a:xfrm>
              <a:custGeom>
                <a:avLst/>
                <a:gdLst>
                  <a:gd name="T0" fmla="*/ 149 w 149"/>
                  <a:gd name="T1" fmla="*/ 0 h 150"/>
                  <a:gd name="T2" fmla="*/ 0 w 149"/>
                  <a:gd name="T3" fmla="*/ 0 h 150"/>
                  <a:gd name="T4" fmla="*/ 0 w 149"/>
                  <a:gd name="T5" fmla="*/ 150 h 150"/>
                  <a:gd name="T6" fmla="*/ 0 w 149"/>
                  <a:gd name="T7" fmla="*/ 150 h 150"/>
                  <a:gd name="T8" fmla="*/ 0 w 149"/>
                  <a:gd name="T9" fmla="*/ 150 h 150"/>
                  <a:gd name="T10" fmla="*/ 15 w 149"/>
                  <a:gd name="T11" fmla="*/ 149 h 150"/>
                  <a:gd name="T12" fmla="*/ 29 w 149"/>
                  <a:gd name="T13" fmla="*/ 147 h 150"/>
                  <a:gd name="T14" fmla="*/ 44 w 149"/>
                  <a:gd name="T15" fmla="*/ 143 h 150"/>
                  <a:gd name="T16" fmla="*/ 57 w 149"/>
                  <a:gd name="T17" fmla="*/ 138 h 150"/>
                  <a:gd name="T18" fmla="*/ 71 w 149"/>
                  <a:gd name="T19" fmla="*/ 132 h 150"/>
                  <a:gd name="T20" fmla="*/ 83 w 149"/>
                  <a:gd name="T21" fmla="*/ 125 h 150"/>
                  <a:gd name="T22" fmla="*/ 95 w 149"/>
                  <a:gd name="T23" fmla="*/ 116 h 150"/>
                  <a:gd name="T24" fmla="*/ 105 w 149"/>
                  <a:gd name="T25" fmla="*/ 106 h 150"/>
                  <a:gd name="T26" fmla="*/ 115 w 149"/>
                  <a:gd name="T27" fmla="*/ 95 h 150"/>
                  <a:gd name="T28" fmla="*/ 123 w 149"/>
                  <a:gd name="T29" fmla="*/ 84 h 150"/>
                  <a:gd name="T30" fmla="*/ 131 w 149"/>
                  <a:gd name="T31" fmla="*/ 72 h 150"/>
                  <a:gd name="T32" fmla="*/ 138 w 149"/>
                  <a:gd name="T33" fmla="*/ 59 h 150"/>
                  <a:gd name="T34" fmla="*/ 143 w 149"/>
                  <a:gd name="T35" fmla="*/ 45 h 150"/>
                  <a:gd name="T36" fmla="*/ 146 w 149"/>
                  <a:gd name="T37" fmla="*/ 31 h 150"/>
                  <a:gd name="T38" fmla="*/ 149 w 149"/>
                  <a:gd name="T39" fmla="*/ 16 h 150"/>
                  <a:gd name="T40" fmla="*/ 149 w 149"/>
                  <a:gd name="T41" fmla="*/ 0 h 150"/>
                  <a:gd name="T42" fmla="*/ 149 w 149"/>
                  <a:gd name="T43" fmla="*/ 0 h 150"/>
                  <a:gd name="T44" fmla="*/ 149 w 149"/>
                  <a:gd name="T45"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9" h="150">
                    <a:moveTo>
                      <a:pt x="149" y="0"/>
                    </a:moveTo>
                    <a:lnTo>
                      <a:pt x="0" y="0"/>
                    </a:lnTo>
                    <a:lnTo>
                      <a:pt x="0" y="150"/>
                    </a:lnTo>
                    <a:lnTo>
                      <a:pt x="0" y="150"/>
                    </a:lnTo>
                    <a:lnTo>
                      <a:pt x="0" y="150"/>
                    </a:lnTo>
                    <a:lnTo>
                      <a:pt x="15" y="149"/>
                    </a:lnTo>
                    <a:lnTo>
                      <a:pt x="29" y="147"/>
                    </a:lnTo>
                    <a:lnTo>
                      <a:pt x="44" y="143"/>
                    </a:lnTo>
                    <a:lnTo>
                      <a:pt x="57" y="138"/>
                    </a:lnTo>
                    <a:lnTo>
                      <a:pt x="71" y="132"/>
                    </a:lnTo>
                    <a:lnTo>
                      <a:pt x="83" y="125"/>
                    </a:lnTo>
                    <a:lnTo>
                      <a:pt x="95" y="116"/>
                    </a:lnTo>
                    <a:lnTo>
                      <a:pt x="105" y="106"/>
                    </a:lnTo>
                    <a:lnTo>
                      <a:pt x="115" y="95"/>
                    </a:lnTo>
                    <a:lnTo>
                      <a:pt x="123" y="84"/>
                    </a:lnTo>
                    <a:lnTo>
                      <a:pt x="131" y="72"/>
                    </a:lnTo>
                    <a:lnTo>
                      <a:pt x="138" y="59"/>
                    </a:lnTo>
                    <a:lnTo>
                      <a:pt x="143" y="45"/>
                    </a:lnTo>
                    <a:lnTo>
                      <a:pt x="146" y="31"/>
                    </a:lnTo>
                    <a:lnTo>
                      <a:pt x="149" y="16"/>
                    </a:lnTo>
                    <a:lnTo>
                      <a:pt x="149" y="0"/>
                    </a:lnTo>
                    <a:lnTo>
                      <a:pt x="149" y="0"/>
                    </a:lnTo>
                    <a:lnTo>
                      <a:pt x="149" y="0"/>
                    </a:lnTo>
                    <a:close/>
                  </a:path>
                </a:pathLst>
              </a:custGeom>
              <a:solidFill>
                <a:srgbClr val="A7A7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4" name="Freeform 1469"/>
              <p:cNvSpPr>
                <a:spLocks/>
              </p:cNvSpPr>
              <p:nvPr/>
            </p:nvSpPr>
            <p:spPr bwMode="auto">
              <a:xfrm>
                <a:off x="7705885" y="-567275"/>
                <a:ext cx="56917" cy="56917"/>
              </a:xfrm>
              <a:custGeom>
                <a:avLst/>
                <a:gdLst>
                  <a:gd name="T0" fmla="*/ 149 w 149"/>
                  <a:gd name="T1" fmla="*/ 0 h 150"/>
                  <a:gd name="T2" fmla="*/ 0 w 149"/>
                  <a:gd name="T3" fmla="*/ 0 h 150"/>
                  <a:gd name="T4" fmla="*/ 0 w 149"/>
                  <a:gd name="T5" fmla="*/ 150 h 150"/>
                  <a:gd name="T6" fmla="*/ 0 w 149"/>
                  <a:gd name="T7" fmla="*/ 150 h 150"/>
                  <a:gd name="T8" fmla="*/ 0 w 149"/>
                  <a:gd name="T9" fmla="*/ 150 h 150"/>
                  <a:gd name="T10" fmla="*/ 15 w 149"/>
                  <a:gd name="T11" fmla="*/ 149 h 150"/>
                  <a:gd name="T12" fmla="*/ 29 w 149"/>
                  <a:gd name="T13" fmla="*/ 147 h 150"/>
                  <a:gd name="T14" fmla="*/ 44 w 149"/>
                  <a:gd name="T15" fmla="*/ 143 h 150"/>
                  <a:gd name="T16" fmla="*/ 57 w 149"/>
                  <a:gd name="T17" fmla="*/ 138 h 150"/>
                  <a:gd name="T18" fmla="*/ 71 w 149"/>
                  <a:gd name="T19" fmla="*/ 132 h 150"/>
                  <a:gd name="T20" fmla="*/ 83 w 149"/>
                  <a:gd name="T21" fmla="*/ 125 h 150"/>
                  <a:gd name="T22" fmla="*/ 95 w 149"/>
                  <a:gd name="T23" fmla="*/ 116 h 150"/>
                  <a:gd name="T24" fmla="*/ 105 w 149"/>
                  <a:gd name="T25" fmla="*/ 106 h 150"/>
                  <a:gd name="T26" fmla="*/ 115 w 149"/>
                  <a:gd name="T27" fmla="*/ 95 h 150"/>
                  <a:gd name="T28" fmla="*/ 123 w 149"/>
                  <a:gd name="T29" fmla="*/ 84 h 150"/>
                  <a:gd name="T30" fmla="*/ 131 w 149"/>
                  <a:gd name="T31" fmla="*/ 72 h 150"/>
                  <a:gd name="T32" fmla="*/ 138 w 149"/>
                  <a:gd name="T33" fmla="*/ 59 h 150"/>
                  <a:gd name="T34" fmla="*/ 143 w 149"/>
                  <a:gd name="T35" fmla="*/ 45 h 150"/>
                  <a:gd name="T36" fmla="*/ 146 w 149"/>
                  <a:gd name="T37" fmla="*/ 31 h 150"/>
                  <a:gd name="T38" fmla="*/ 149 w 149"/>
                  <a:gd name="T39" fmla="*/ 16 h 150"/>
                  <a:gd name="T40" fmla="*/ 149 w 149"/>
                  <a:gd name="T41" fmla="*/ 0 h 150"/>
                  <a:gd name="T42" fmla="*/ 149 w 149"/>
                  <a:gd name="T43" fmla="*/ 0 h 150"/>
                  <a:gd name="T44" fmla="*/ 149 w 149"/>
                  <a:gd name="T45"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9" h="150">
                    <a:moveTo>
                      <a:pt x="149" y="0"/>
                    </a:moveTo>
                    <a:lnTo>
                      <a:pt x="0" y="0"/>
                    </a:lnTo>
                    <a:lnTo>
                      <a:pt x="0" y="150"/>
                    </a:lnTo>
                    <a:lnTo>
                      <a:pt x="0" y="150"/>
                    </a:lnTo>
                    <a:lnTo>
                      <a:pt x="0" y="150"/>
                    </a:lnTo>
                    <a:lnTo>
                      <a:pt x="15" y="149"/>
                    </a:lnTo>
                    <a:lnTo>
                      <a:pt x="29" y="147"/>
                    </a:lnTo>
                    <a:lnTo>
                      <a:pt x="44" y="143"/>
                    </a:lnTo>
                    <a:lnTo>
                      <a:pt x="57" y="138"/>
                    </a:lnTo>
                    <a:lnTo>
                      <a:pt x="71" y="132"/>
                    </a:lnTo>
                    <a:lnTo>
                      <a:pt x="83" y="125"/>
                    </a:lnTo>
                    <a:lnTo>
                      <a:pt x="95" y="116"/>
                    </a:lnTo>
                    <a:lnTo>
                      <a:pt x="105" y="106"/>
                    </a:lnTo>
                    <a:lnTo>
                      <a:pt x="115" y="95"/>
                    </a:lnTo>
                    <a:lnTo>
                      <a:pt x="123" y="84"/>
                    </a:lnTo>
                    <a:lnTo>
                      <a:pt x="131" y="72"/>
                    </a:lnTo>
                    <a:lnTo>
                      <a:pt x="138" y="59"/>
                    </a:lnTo>
                    <a:lnTo>
                      <a:pt x="143" y="45"/>
                    </a:lnTo>
                    <a:lnTo>
                      <a:pt x="146" y="31"/>
                    </a:lnTo>
                    <a:lnTo>
                      <a:pt x="149" y="16"/>
                    </a:lnTo>
                    <a:lnTo>
                      <a:pt x="149" y="0"/>
                    </a:lnTo>
                    <a:lnTo>
                      <a:pt x="149" y="0"/>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5" name="Freeform 1470"/>
              <p:cNvSpPr>
                <a:spLocks/>
              </p:cNvSpPr>
              <p:nvPr/>
            </p:nvSpPr>
            <p:spPr bwMode="auto">
              <a:xfrm>
                <a:off x="7648968" y="-567275"/>
                <a:ext cx="56917" cy="56917"/>
              </a:xfrm>
              <a:custGeom>
                <a:avLst/>
                <a:gdLst>
                  <a:gd name="T0" fmla="*/ 150 w 150"/>
                  <a:gd name="T1" fmla="*/ 0 h 150"/>
                  <a:gd name="T2" fmla="*/ 150 w 150"/>
                  <a:gd name="T3" fmla="*/ 0 h 150"/>
                  <a:gd name="T4" fmla="*/ 0 w 150"/>
                  <a:gd name="T5" fmla="*/ 0 h 150"/>
                  <a:gd name="T6" fmla="*/ 0 w 150"/>
                  <a:gd name="T7" fmla="*/ 0 h 150"/>
                  <a:gd name="T8" fmla="*/ 0 w 150"/>
                  <a:gd name="T9" fmla="*/ 0 h 150"/>
                  <a:gd name="T10" fmla="*/ 0 w 150"/>
                  <a:gd name="T11" fmla="*/ 0 h 150"/>
                  <a:gd name="T12" fmla="*/ 1 w 150"/>
                  <a:gd name="T13" fmla="*/ 16 h 150"/>
                  <a:gd name="T14" fmla="*/ 4 w 150"/>
                  <a:gd name="T15" fmla="*/ 31 h 150"/>
                  <a:gd name="T16" fmla="*/ 8 w 150"/>
                  <a:gd name="T17" fmla="*/ 45 h 150"/>
                  <a:gd name="T18" fmla="*/ 12 w 150"/>
                  <a:gd name="T19" fmla="*/ 59 h 150"/>
                  <a:gd name="T20" fmla="*/ 19 w 150"/>
                  <a:gd name="T21" fmla="*/ 72 h 150"/>
                  <a:gd name="T22" fmla="*/ 26 w 150"/>
                  <a:gd name="T23" fmla="*/ 84 h 150"/>
                  <a:gd name="T24" fmla="*/ 34 w 150"/>
                  <a:gd name="T25" fmla="*/ 95 h 150"/>
                  <a:gd name="T26" fmla="*/ 44 w 150"/>
                  <a:gd name="T27" fmla="*/ 106 h 150"/>
                  <a:gd name="T28" fmla="*/ 55 w 150"/>
                  <a:gd name="T29" fmla="*/ 116 h 150"/>
                  <a:gd name="T30" fmla="*/ 66 w 150"/>
                  <a:gd name="T31" fmla="*/ 125 h 150"/>
                  <a:gd name="T32" fmla="*/ 78 w 150"/>
                  <a:gd name="T33" fmla="*/ 132 h 150"/>
                  <a:gd name="T34" fmla="*/ 92 w 150"/>
                  <a:gd name="T35" fmla="*/ 138 h 150"/>
                  <a:gd name="T36" fmla="*/ 105 w 150"/>
                  <a:gd name="T37" fmla="*/ 143 h 150"/>
                  <a:gd name="T38" fmla="*/ 120 w 150"/>
                  <a:gd name="T39" fmla="*/ 147 h 150"/>
                  <a:gd name="T40" fmla="*/ 134 w 150"/>
                  <a:gd name="T41" fmla="*/ 149 h 150"/>
                  <a:gd name="T42" fmla="*/ 150 w 150"/>
                  <a:gd name="T43" fmla="*/ 150 h 150"/>
                  <a:gd name="T44" fmla="*/ 150 w 150"/>
                  <a:gd name="T45"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0" h="150">
                    <a:moveTo>
                      <a:pt x="150" y="0"/>
                    </a:moveTo>
                    <a:lnTo>
                      <a:pt x="150" y="0"/>
                    </a:lnTo>
                    <a:lnTo>
                      <a:pt x="0" y="0"/>
                    </a:lnTo>
                    <a:lnTo>
                      <a:pt x="0" y="0"/>
                    </a:lnTo>
                    <a:lnTo>
                      <a:pt x="0" y="0"/>
                    </a:lnTo>
                    <a:lnTo>
                      <a:pt x="0" y="0"/>
                    </a:lnTo>
                    <a:lnTo>
                      <a:pt x="1" y="16"/>
                    </a:lnTo>
                    <a:lnTo>
                      <a:pt x="4" y="31"/>
                    </a:lnTo>
                    <a:lnTo>
                      <a:pt x="8" y="45"/>
                    </a:lnTo>
                    <a:lnTo>
                      <a:pt x="12" y="59"/>
                    </a:lnTo>
                    <a:lnTo>
                      <a:pt x="19" y="72"/>
                    </a:lnTo>
                    <a:lnTo>
                      <a:pt x="26" y="84"/>
                    </a:lnTo>
                    <a:lnTo>
                      <a:pt x="34" y="95"/>
                    </a:lnTo>
                    <a:lnTo>
                      <a:pt x="44" y="106"/>
                    </a:lnTo>
                    <a:lnTo>
                      <a:pt x="55" y="116"/>
                    </a:lnTo>
                    <a:lnTo>
                      <a:pt x="66" y="125"/>
                    </a:lnTo>
                    <a:lnTo>
                      <a:pt x="78" y="132"/>
                    </a:lnTo>
                    <a:lnTo>
                      <a:pt x="92" y="138"/>
                    </a:lnTo>
                    <a:lnTo>
                      <a:pt x="105" y="143"/>
                    </a:lnTo>
                    <a:lnTo>
                      <a:pt x="120" y="147"/>
                    </a:lnTo>
                    <a:lnTo>
                      <a:pt x="134" y="149"/>
                    </a:lnTo>
                    <a:lnTo>
                      <a:pt x="150" y="150"/>
                    </a:lnTo>
                    <a:lnTo>
                      <a:pt x="150" y="0"/>
                    </a:lnTo>
                    <a:close/>
                  </a:path>
                </a:pathLst>
              </a:custGeom>
              <a:solidFill>
                <a:srgbClr val="848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6" name="Freeform 1471"/>
              <p:cNvSpPr>
                <a:spLocks/>
              </p:cNvSpPr>
              <p:nvPr/>
            </p:nvSpPr>
            <p:spPr bwMode="auto">
              <a:xfrm>
                <a:off x="7648968" y="-567275"/>
                <a:ext cx="56917" cy="56917"/>
              </a:xfrm>
              <a:custGeom>
                <a:avLst/>
                <a:gdLst>
                  <a:gd name="T0" fmla="*/ 150 w 150"/>
                  <a:gd name="T1" fmla="*/ 0 h 150"/>
                  <a:gd name="T2" fmla="*/ 150 w 150"/>
                  <a:gd name="T3" fmla="*/ 0 h 150"/>
                  <a:gd name="T4" fmla="*/ 0 w 150"/>
                  <a:gd name="T5" fmla="*/ 0 h 150"/>
                  <a:gd name="T6" fmla="*/ 0 w 150"/>
                  <a:gd name="T7" fmla="*/ 0 h 150"/>
                  <a:gd name="T8" fmla="*/ 0 w 150"/>
                  <a:gd name="T9" fmla="*/ 0 h 150"/>
                  <a:gd name="T10" fmla="*/ 0 w 150"/>
                  <a:gd name="T11" fmla="*/ 0 h 150"/>
                  <a:gd name="T12" fmla="*/ 1 w 150"/>
                  <a:gd name="T13" fmla="*/ 16 h 150"/>
                  <a:gd name="T14" fmla="*/ 4 w 150"/>
                  <a:gd name="T15" fmla="*/ 31 h 150"/>
                  <a:gd name="T16" fmla="*/ 8 w 150"/>
                  <a:gd name="T17" fmla="*/ 45 h 150"/>
                  <a:gd name="T18" fmla="*/ 12 w 150"/>
                  <a:gd name="T19" fmla="*/ 59 h 150"/>
                  <a:gd name="T20" fmla="*/ 19 w 150"/>
                  <a:gd name="T21" fmla="*/ 72 h 150"/>
                  <a:gd name="T22" fmla="*/ 26 w 150"/>
                  <a:gd name="T23" fmla="*/ 84 h 150"/>
                  <a:gd name="T24" fmla="*/ 34 w 150"/>
                  <a:gd name="T25" fmla="*/ 95 h 150"/>
                  <a:gd name="T26" fmla="*/ 44 w 150"/>
                  <a:gd name="T27" fmla="*/ 106 h 150"/>
                  <a:gd name="T28" fmla="*/ 55 w 150"/>
                  <a:gd name="T29" fmla="*/ 116 h 150"/>
                  <a:gd name="T30" fmla="*/ 66 w 150"/>
                  <a:gd name="T31" fmla="*/ 125 h 150"/>
                  <a:gd name="T32" fmla="*/ 78 w 150"/>
                  <a:gd name="T33" fmla="*/ 132 h 150"/>
                  <a:gd name="T34" fmla="*/ 92 w 150"/>
                  <a:gd name="T35" fmla="*/ 138 h 150"/>
                  <a:gd name="T36" fmla="*/ 105 w 150"/>
                  <a:gd name="T37" fmla="*/ 143 h 150"/>
                  <a:gd name="T38" fmla="*/ 120 w 150"/>
                  <a:gd name="T39" fmla="*/ 147 h 150"/>
                  <a:gd name="T40" fmla="*/ 134 w 150"/>
                  <a:gd name="T41" fmla="*/ 149 h 150"/>
                  <a:gd name="T42" fmla="*/ 150 w 150"/>
                  <a:gd name="T43" fmla="*/ 150 h 150"/>
                  <a:gd name="T44" fmla="*/ 150 w 150"/>
                  <a:gd name="T45"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0" h="150">
                    <a:moveTo>
                      <a:pt x="150" y="0"/>
                    </a:moveTo>
                    <a:lnTo>
                      <a:pt x="150" y="0"/>
                    </a:lnTo>
                    <a:lnTo>
                      <a:pt x="0" y="0"/>
                    </a:lnTo>
                    <a:lnTo>
                      <a:pt x="0" y="0"/>
                    </a:lnTo>
                    <a:lnTo>
                      <a:pt x="0" y="0"/>
                    </a:lnTo>
                    <a:lnTo>
                      <a:pt x="0" y="0"/>
                    </a:lnTo>
                    <a:lnTo>
                      <a:pt x="1" y="16"/>
                    </a:lnTo>
                    <a:lnTo>
                      <a:pt x="4" y="31"/>
                    </a:lnTo>
                    <a:lnTo>
                      <a:pt x="8" y="45"/>
                    </a:lnTo>
                    <a:lnTo>
                      <a:pt x="12" y="59"/>
                    </a:lnTo>
                    <a:lnTo>
                      <a:pt x="19" y="72"/>
                    </a:lnTo>
                    <a:lnTo>
                      <a:pt x="26" y="84"/>
                    </a:lnTo>
                    <a:lnTo>
                      <a:pt x="34" y="95"/>
                    </a:lnTo>
                    <a:lnTo>
                      <a:pt x="44" y="106"/>
                    </a:lnTo>
                    <a:lnTo>
                      <a:pt x="55" y="116"/>
                    </a:lnTo>
                    <a:lnTo>
                      <a:pt x="66" y="125"/>
                    </a:lnTo>
                    <a:lnTo>
                      <a:pt x="78" y="132"/>
                    </a:lnTo>
                    <a:lnTo>
                      <a:pt x="92" y="138"/>
                    </a:lnTo>
                    <a:lnTo>
                      <a:pt x="105" y="143"/>
                    </a:lnTo>
                    <a:lnTo>
                      <a:pt x="120" y="147"/>
                    </a:lnTo>
                    <a:lnTo>
                      <a:pt x="134" y="149"/>
                    </a:lnTo>
                    <a:lnTo>
                      <a:pt x="150" y="150"/>
                    </a:lnTo>
                    <a:lnTo>
                      <a:pt x="1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7" name="Freeform 1472"/>
              <p:cNvSpPr>
                <a:spLocks/>
              </p:cNvSpPr>
              <p:nvPr/>
            </p:nvSpPr>
            <p:spPr bwMode="auto">
              <a:xfrm>
                <a:off x="7658452" y="-614709"/>
                <a:ext cx="96760" cy="96760"/>
              </a:xfrm>
              <a:custGeom>
                <a:avLst/>
                <a:gdLst>
                  <a:gd name="T0" fmla="*/ 0 w 253"/>
                  <a:gd name="T1" fmla="*/ 125 h 252"/>
                  <a:gd name="T2" fmla="*/ 3 w 253"/>
                  <a:gd name="T3" fmla="*/ 151 h 252"/>
                  <a:gd name="T4" fmla="*/ 10 w 253"/>
                  <a:gd name="T5" fmla="*/ 175 h 252"/>
                  <a:gd name="T6" fmla="*/ 22 w 253"/>
                  <a:gd name="T7" fmla="*/ 196 h 252"/>
                  <a:gd name="T8" fmla="*/ 37 w 253"/>
                  <a:gd name="T9" fmla="*/ 215 h 252"/>
                  <a:gd name="T10" fmla="*/ 56 w 253"/>
                  <a:gd name="T11" fmla="*/ 230 h 252"/>
                  <a:gd name="T12" fmla="*/ 77 w 253"/>
                  <a:gd name="T13" fmla="*/ 242 h 252"/>
                  <a:gd name="T14" fmla="*/ 102 w 253"/>
                  <a:gd name="T15" fmla="*/ 250 h 252"/>
                  <a:gd name="T16" fmla="*/ 127 w 253"/>
                  <a:gd name="T17" fmla="*/ 252 h 252"/>
                  <a:gd name="T18" fmla="*/ 139 w 253"/>
                  <a:gd name="T19" fmla="*/ 251 h 252"/>
                  <a:gd name="T20" fmla="*/ 165 w 253"/>
                  <a:gd name="T21" fmla="*/ 246 h 252"/>
                  <a:gd name="T22" fmla="*/ 187 w 253"/>
                  <a:gd name="T23" fmla="*/ 236 h 252"/>
                  <a:gd name="T24" fmla="*/ 208 w 253"/>
                  <a:gd name="T25" fmla="*/ 223 h 252"/>
                  <a:gd name="T26" fmla="*/ 225 w 253"/>
                  <a:gd name="T27" fmla="*/ 206 h 252"/>
                  <a:gd name="T28" fmla="*/ 238 w 253"/>
                  <a:gd name="T29" fmla="*/ 186 h 252"/>
                  <a:gd name="T30" fmla="*/ 248 w 253"/>
                  <a:gd name="T31" fmla="*/ 163 h 252"/>
                  <a:gd name="T32" fmla="*/ 253 w 253"/>
                  <a:gd name="T33" fmla="*/ 139 h 252"/>
                  <a:gd name="T34" fmla="*/ 253 w 253"/>
                  <a:gd name="T35" fmla="*/ 125 h 252"/>
                  <a:gd name="T36" fmla="*/ 250 w 253"/>
                  <a:gd name="T37" fmla="*/ 100 h 252"/>
                  <a:gd name="T38" fmla="*/ 243 w 253"/>
                  <a:gd name="T39" fmla="*/ 76 h 252"/>
                  <a:gd name="T40" fmla="*/ 232 w 253"/>
                  <a:gd name="T41" fmla="*/ 55 h 252"/>
                  <a:gd name="T42" fmla="*/ 216 w 253"/>
                  <a:gd name="T43" fmla="*/ 36 h 252"/>
                  <a:gd name="T44" fmla="*/ 198 w 253"/>
                  <a:gd name="T45" fmla="*/ 20 h 252"/>
                  <a:gd name="T46" fmla="*/ 176 w 253"/>
                  <a:gd name="T47" fmla="*/ 9 h 252"/>
                  <a:gd name="T48" fmla="*/ 153 w 253"/>
                  <a:gd name="T49" fmla="*/ 2 h 252"/>
                  <a:gd name="T50" fmla="*/ 127 w 253"/>
                  <a:gd name="T51" fmla="*/ 0 h 252"/>
                  <a:gd name="T52" fmla="*/ 114 w 253"/>
                  <a:gd name="T53" fmla="*/ 0 h 252"/>
                  <a:gd name="T54" fmla="*/ 89 w 253"/>
                  <a:gd name="T55" fmla="*/ 5 h 252"/>
                  <a:gd name="T56" fmla="*/ 66 w 253"/>
                  <a:gd name="T57" fmla="*/ 14 h 252"/>
                  <a:gd name="T58" fmla="*/ 47 w 253"/>
                  <a:gd name="T59" fmla="*/ 28 h 252"/>
                  <a:gd name="T60" fmla="*/ 30 w 253"/>
                  <a:gd name="T61" fmla="*/ 45 h 252"/>
                  <a:gd name="T62" fmla="*/ 16 w 253"/>
                  <a:gd name="T63" fmla="*/ 66 h 252"/>
                  <a:gd name="T64" fmla="*/ 6 w 253"/>
                  <a:gd name="T65" fmla="*/ 87 h 252"/>
                  <a:gd name="T66" fmla="*/ 2 w 253"/>
                  <a:gd name="T67" fmla="*/ 113 h 252"/>
                  <a:gd name="T68" fmla="*/ 0 w 253"/>
                  <a:gd name="T69" fmla="*/ 125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3" h="252">
                    <a:moveTo>
                      <a:pt x="0" y="125"/>
                    </a:moveTo>
                    <a:lnTo>
                      <a:pt x="0" y="125"/>
                    </a:lnTo>
                    <a:lnTo>
                      <a:pt x="2" y="139"/>
                    </a:lnTo>
                    <a:lnTo>
                      <a:pt x="3" y="151"/>
                    </a:lnTo>
                    <a:lnTo>
                      <a:pt x="6" y="163"/>
                    </a:lnTo>
                    <a:lnTo>
                      <a:pt x="10" y="175"/>
                    </a:lnTo>
                    <a:lnTo>
                      <a:pt x="16" y="186"/>
                    </a:lnTo>
                    <a:lnTo>
                      <a:pt x="22" y="196"/>
                    </a:lnTo>
                    <a:lnTo>
                      <a:pt x="30" y="206"/>
                    </a:lnTo>
                    <a:lnTo>
                      <a:pt x="37" y="215"/>
                    </a:lnTo>
                    <a:lnTo>
                      <a:pt x="47" y="223"/>
                    </a:lnTo>
                    <a:lnTo>
                      <a:pt x="56" y="230"/>
                    </a:lnTo>
                    <a:lnTo>
                      <a:pt x="66" y="236"/>
                    </a:lnTo>
                    <a:lnTo>
                      <a:pt x="77" y="242"/>
                    </a:lnTo>
                    <a:lnTo>
                      <a:pt x="89" y="246"/>
                    </a:lnTo>
                    <a:lnTo>
                      <a:pt x="102" y="250"/>
                    </a:lnTo>
                    <a:lnTo>
                      <a:pt x="114" y="251"/>
                    </a:lnTo>
                    <a:lnTo>
                      <a:pt x="127" y="252"/>
                    </a:lnTo>
                    <a:lnTo>
                      <a:pt x="127" y="252"/>
                    </a:lnTo>
                    <a:lnTo>
                      <a:pt x="139" y="251"/>
                    </a:lnTo>
                    <a:lnTo>
                      <a:pt x="153" y="250"/>
                    </a:lnTo>
                    <a:lnTo>
                      <a:pt x="165" y="246"/>
                    </a:lnTo>
                    <a:lnTo>
                      <a:pt x="176" y="242"/>
                    </a:lnTo>
                    <a:lnTo>
                      <a:pt x="187" y="236"/>
                    </a:lnTo>
                    <a:lnTo>
                      <a:pt x="198" y="230"/>
                    </a:lnTo>
                    <a:lnTo>
                      <a:pt x="208" y="223"/>
                    </a:lnTo>
                    <a:lnTo>
                      <a:pt x="216" y="215"/>
                    </a:lnTo>
                    <a:lnTo>
                      <a:pt x="225" y="206"/>
                    </a:lnTo>
                    <a:lnTo>
                      <a:pt x="232" y="196"/>
                    </a:lnTo>
                    <a:lnTo>
                      <a:pt x="238" y="186"/>
                    </a:lnTo>
                    <a:lnTo>
                      <a:pt x="243" y="175"/>
                    </a:lnTo>
                    <a:lnTo>
                      <a:pt x="248" y="163"/>
                    </a:lnTo>
                    <a:lnTo>
                      <a:pt x="250" y="151"/>
                    </a:lnTo>
                    <a:lnTo>
                      <a:pt x="253" y="139"/>
                    </a:lnTo>
                    <a:lnTo>
                      <a:pt x="253" y="125"/>
                    </a:lnTo>
                    <a:lnTo>
                      <a:pt x="253" y="125"/>
                    </a:lnTo>
                    <a:lnTo>
                      <a:pt x="253" y="113"/>
                    </a:lnTo>
                    <a:lnTo>
                      <a:pt x="250" y="100"/>
                    </a:lnTo>
                    <a:lnTo>
                      <a:pt x="248" y="87"/>
                    </a:lnTo>
                    <a:lnTo>
                      <a:pt x="243" y="76"/>
                    </a:lnTo>
                    <a:lnTo>
                      <a:pt x="238" y="66"/>
                    </a:lnTo>
                    <a:lnTo>
                      <a:pt x="232" y="55"/>
                    </a:lnTo>
                    <a:lnTo>
                      <a:pt x="225" y="45"/>
                    </a:lnTo>
                    <a:lnTo>
                      <a:pt x="216" y="36"/>
                    </a:lnTo>
                    <a:lnTo>
                      <a:pt x="208" y="28"/>
                    </a:lnTo>
                    <a:lnTo>
                      <a:pt x="198" y="20"/>
                    </a:lnTo>
                    <a:lnTo>
                      <a:pt x="187" y="14"/>
                    </a:lnTo>
                    <a:lnTo>
                      <a:pt x="176" y="9"/>
                    </a:lnTo>
                    <a:lnTo>
                      <a:pt x="165" y="5"/>
                    </a:lnTo>
                    <a:lnTo>
                      <a:pt x="153" y="2"/>
                    </a:lnTo>
                    <a:lnTo>
                      <a:pt x="139" y="0"/>
                    </a:lnTo>
                    <a:lnTo>
                      <a:pt x="127" y="0"/>
                    </a:lnTo>
                    <a:lnTo>
                      <a:pt x="127" y="0"/>
                    </a:lnTo>
                    <a:lnTo>
                      <a:pt x="114" y="0"/>
                    </a:lnTo>
                    <a:lnTo>
                      <a:pt x="102" y="2"/>
                    </a:lnTo>
                    <a:lnTo>
                      <a:pt x="89" y="5"/>
                    </a:lnTo>
                    <a:lnTo>
                      <a:pt x="77" y="9"/>
                    </a:lnTo>
                    <a:lnTo>
                      <a:pt x="66" y="14"/>
                    </a:lnTo>
                    <a:lnTo>
                      <a:pt x="56" y="20"/>
                    </a:lnTo>
                    <a:lnTo>
                      <a:pt x="47" y="28"/>
                    </a:lnTo>
                    <a:lnTo>
                      <a:pt x="37" y="36"/>
                    </a:lnTo>
                    <a:lnTo>
                      <a:pt x="30" y="45"/>
                    </a:lnTo>
                    <a:lnTo>
                      <a:pt x="22" y="55"/>
                    </a:lnTo>
                    <a:lnTo>
                      <a:pt x="16" y="66"/>
                    </a:lnTo>
                    <a:lnTo>
                      <a:pt x="10" y="76"/>
                    </a:lnTo>
                    <a:lnTo>
                      <a:pt x="6" y="87"/>
                    </a:lnTo>
                    <a:lnTo>
                      <a:pt x="3" y="100"/>
                    </a:lnTo>
                    <a:lnTo>
                      <a:pt x="2" y="113"/>
                    </a:lnTo>
                    <a:lnTo>
                      <a:pt x="0" y="125"/>
                    </a:lnTo>
                    <a:lnTo>
                      <a:pt x="0" y="125"/>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8" name="Freeform 1473"/>
              <p:cNvSpPr>
                <a:spLocks/>
              </p:cNvSpPr>
              <p:nvPr/>
            </p:nvSpPr>
            <p:spPr bwMode="auto">
              <a:xfrm>
                <a:off x="7233469" y="-686804"/>
                <a:ext cx="121423" cy="119527"/>
              </a:xfrm>
              <a:custGeom>
                <a:avLst/>
                <a:gdLst>
                  <a:gd name="T0" fmla="*/ 0 w 320"/>
                  <a:gd name="T1" fmla="*/ 318 h 318"/>
                  <a:gd name="T2" fmla="*/ 0 w 320"/>
                  <a:gd name="T3" fmla="*/ 318 h 318"/>
                  <a:gd name="T4" fmla="*/ 2 w 320"/>
                  <a:gd name="T5" fmla="*/ 302 h 318"/>
                  <a:gd name="T6" fmla="*/ 3 w 320"/>
                  <a:gd name="T7" fmla="*/ 287 h 318"/>
                  <a:gd name="T8" fmla="*/ 4 w 320"/>
                  <a:gd name="T9" fmla="*/ 269 h 318"/>
                  <a:gd name="T10" fmla="*/ 8 w 320"/>
                  <a:gd name="T11" fmla="*/ 255 h 318"/>
                  <a:gd name="T12" fmla="*/ 11 w 320"/>
                  <a:gd name="T13" fmla="*/ 239 h 318"/>
                  <a:gd name="T14" fmla="*/ 15 w 320"/>
                  <a:gd name="T15" fmla="*/ 224 h 318"/>
                  <a:gd name="T16" fmla="*/ 20 w 320"/>
                  <a:gd name="T17" fmla="*/ 209 h 318"/>
                  <a:gd name="T18" fmla="*/ 26 w 320"/>
                  <a:gd name="T19" fmla="*/ 195 h 318"/>
                  <a:gd name="T20" fmla="*/ 32 w 320"/>
                  <a:gd name="T21" fmla="*/ 180 h 318"/>
                  <a:gd name="T22" fmla="*/ 39 w 320"/>
                  <a:gd name="T23" fmla="*/ 167 h 318"/>
                  <a:gd name="T24" fmla="*/ 47 w 320"/>
                  <a:gd name="T25" fmla="*/ 154 h 318"/>
                  <a:gd name="T26" fmla="*/ 55 w 320"/>
                  <a:gd name="T27" fmla="*/ 140 h 318"/>
                  <a:gd name="T28" fmla="*/ 64 w 320"/>
                  <a:gd name="T29" fmla="*/ 128 h 318"/>
                  <a:gd name="T30" fmla="*/ 74 w 320"/>
                  <a:gd name="T31" fmla="*/ 116 h 318"/>
                  <a:gd name="T32" fmla="*/ 94 w 320"/>
                  <a:gd name="T33" fmla="*/ 94 h 318"/>
                  <a:gd name="T34" fmla="*/ 116 w 320"/>
                  <a:gd name="T35" fmla="*/ 73 h 318"/>
                  <a:gd name="T36" fmla="*/ 128 w 320"/>
                  <a:gd name="T37" fmla="*/ 63 h 318"/>
                  <a:gd name="T38" fmla="*/ 142 w 320"/>
                  <a:gd name="T39" fmla="*/ 55 h 318"/>
                  <a:gd name="T40" fmla="*/ 154 w 320"/>
                  <a:gd name="T41" fmla="*/ 46 h 318"/>
                  <a:gd name="T42" fmla="*/ 167 w 320"/>
                  <a:gd name="T43" fmla="*/ 39 h 318"/>
                  <a:gd name="T44" fmla="*/ 181 w 320"/>
                  <a:gd name="T45" fmla="*/ 32 h 318"/>
                  <a:gd name="T46" fmla="*/ 195 w 320"/>
                  <a:gd name="T47" fmla="*/ 26 h 318"/>
                  <a:gd name="T48" fmla="*/ 210 w 320"/>
                  <a:gd name="T49" fmla="*/ 20 h 318"/>
                  <a:gd name="T50" fmla="*/ 225 w 320"/>
                  <a:gd name="T51" fmla="*/ 15 h 318"/>
                  <a:gd name="T52" fmla="*/ 239 w 320"/>
                  <a:gd name="T53" fmla="*/ 10 h 318"/>
                  <a:gd name="T54" fmla="*/ 255 w 320"/>
                  <a:gd name="T55" fmla="*/ 6 h 318"/>
                  <a:gd name="T56" fmla="*/ 271 w 320"/>
                  <a:gd name="T57" fmla="*/ 4 h 318"/>
                  <a:gd name="T58" fmla="*/ 287 w 320"/>
                  <a:gd name="T59" fmla="*/ 1 h 318"/>
                  <a:gd name="T60" fmla="*/ 303 w 320"/>
                  <a:gd name="T61" fmla="*/ 0 h 318"/>
                  <a:gd name="T62" fmla="*/ 320 w 320"/>
                  <a:gd name="T63" fmla="*/ 0 h 318"/>
                  <a:gd name="T64" fmla="*/ 320 w 320"/>
                  <a:gd name="T65" fmla="*/ 318 h 318"/>
                  <a:gd name="T66" fmla="*/ 0 w 320"/>
                  <a:gd name="T67"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318">
                    <a:moveTo>
                      <a:pt x="0" y="318"/>
                    </a:moveTo>
                    <a:lnTo>
                      <a:pt x="0" y="318"/>
                    </a:lnTo>
                    <a:lnTo>
                      <a:pt x="2" y="302"/>
                    </a:lnTo>
                    <a:lnTo>
                      <a:pt x="3" y="287"/>
                    </a:lnTo>
                    <a:lnTo>
                      <a:pt x="4" y="269"/>
                    </a:lnTo>
                    <a:lnTo>
                      <a:pt x="8" y="255"/>
                    </a:lnTo>
                    <a:lnTo>
                      <a:pt x="11" y="239"/>
                    </a:lnTo>
                    <a:lnTo>
                      <a:pt x="15" y="224"/>
                    </a:lnTo>
                    <a:lnTo>
                      <a:pt x="20" y="209"/>
                    </a:lnTo>
                    <a:lnTo>
                      <a:pt x="26" y="195"/>
                    </a:lnTo>
                    <a:lnTo>
                      <a:pt x="32" y="180"/>
                    </a:lnTo>
                    <a:lnTo>
                      <a:pt x="39" y="167"/>
                    </a:lnTo>
                    <a:lnTo>
                      <a:pt x="47" y="154"/>
                    </a:lnTo>
                    <a:lnTo>
                      <a:pt x="55" y="140"/>
                    </a:lnTo>
                    <a:lnTo>
                      <a:pt x="64" y="128"/>
                    </a:lnTo>
                    <a:lnTo>
                      <a:pt x="74" y="116"/>
                    </a:lnTo>
                    <a:lnTo>
                      <a:pt x="94" y="94"/>
                    </a:lnTo>
                    <a:lnTo>
                      <a:pt x="116" y="73"/>
                    </a:lnTo>
                    <a:lnTo>
                      <a:pt x="128" y="63"/>
                    </a:lnTo>
                    <a:lnTo>
                      <a:pt x="142" y="55"/>
                    </a:lnTo>
                    <a:lnTo>
                      <a:pt x="154" y="46"/>
                    </a:lnTo>
                    <a:lnTo>
                      <a:pt x="167" y="39"/>
                    </a:lnTo>
                    <a:lnTo>
                      <a:pt x="181" y="32"/>
                    </a:lnTo>
                    <a:lnTo>
                      <a:pt x="195" y="26"/>
                    </a:lnTo>
                    <a:lnTo>
                      <a:pt x="210" y="20"/>
                    </a:lnTo>
                    <a:lnTo>
                      <a:pt x="225" y="15"/>
                    </a:lnTo>
                    <a:lnTo>
                      <a:pt x="239" y="10"/>
                    </a:lnTo>
                    <a:lnTo>
                      <a:pt x="255" y="6"/>
                    </a:lnTo>
                    <a:lnTo>
                      <a:pt x="271" y="4"/>
                    </a:lnTo>
                    <a:lnTo>
                      <a:pt x="287" y="1"/>
                    </a:lnTo>
                    <a:lnTo>
                      <a:pt x="303" y="0"/>
                    </a:lnTo>
                    <a:lnTo>
                      <a:pt x="320" y="0"/>
                    </a:lnTo>
                    <a:lnTo>
                      <a:pt x="320" y="318"/>
                    </a:lnTo>
                    <a:lnTo>
                      <a:pt x="0" y="318"/>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29" name="Freeform 1474"/>
              <p:cNvSpPr>
                <a:spLocks/>
              </p:cNvSpPr>
              <p:nvPr/>
            </p:nvSpPr>
            <p:spPr bwMode="auto">
              <a:xfrm>
                <a:off x="7233469" y="-686804"/>
                <a:ext cx="121423" cy="119527"/>
              </a:xfrm>
              <a:custGeom>
                <a:avLst/>
                <a:gdLst>
                  <a:gd name="T0" fmla="*/ 0 w 320"/>
                  <a:gd name="T1" fmla="*/ 318 h 318"/>
                  <a:gd name="T2" fmla="*/ 0 w 320"/>
                  <a:gd name="T3" fmla="*/ 318 h 318"/>
                  <a:gd name="T4" fmla="*/ 2 w 320"/>
                  <a:gd name="T5" fmla="*/ 302 h 318"/>
                  <a:gd name="T6" fmla="*/ 3 w 320"/>
                  <a:gd name="T7" fmla="*/ 287 h 318"/>
                  <a:gd name="T8" fmla="*/ 4 w 320"/>
                  <a:gd name="T9" fmla="*/ 269 h 318"/>
                  <a:gd name="T10" fmla="*/ 8 w 320"/>
                  <a:gd name="T11" fmla="*/ 255 h 318"/>
                  <a:gd name="T12" fmla="*/ 11 w 320"/>
                  <a:gd name="T13" fmla="*/ 239 h 318"/>
                  <a:gd name="T14" fmla="*/ 15 w 320"/>
                  <a:gd name="T15" fmla="*/ 224 h 318"/>
                  <a:gd name="T16" fmla="*/ 20 w 320"/>
                  <a:gd name="T17" fmla="*/ 209 h 318"/>
                  <a:gd name="T18" fmla="*/ 26 w 320"/>
                  <a:gd name="T19" fmla="*/ 195 h 318"/>
                  <a:gd name="T20" fmla="*/ 32 w 320"/>
                  <a:gd name="T21" fmla="*/ 180 h 318"/>
                  <a:gd name="T22" fmla="*/ 39 w 320"/>
                  <a:gd name="T23" fmla="*/ 167 h 318"/>
                  <a:gd name="T24" fmla="*/ 47 w 320"/>
                  <a:gd name="T25" fmla="*/ 154 h 318"/>
                  <a:gd name="T26" fmla="*/ 55 w 320"/>
                  <a:gd name="T27" fmla="*/ 140 h 318"/>
                  <a:gd name="T28" fmla="*/ 64 w 320"/>
                  <a:gd name="T29" fmla="*/ 128 h 318"/>
                  <a:gd name="T30" fmla="*/ 74 w 320"/>
                  <a:gd name="T31" fmla="*/ 116 h 318"/>
                  <a:gd name="T32" fmla="*/ 94 w 320"/>
                  <a:gd name="T33" fmla="*/ 94 h 318"/>
                  <a:gd name="T34" fmla="*/ 116 w 320"/>
                  <a:gd name="T35" fmla="*/ 73 h 318"/>
                  <a:gd name="T36" fmla="*/ 128 w 320"/>
                  <a:gd name="T37" fmla="*/ 63 h 318"/>
                  <a:gd name="T38" fmla="*/ 142 w 320"/>
                  <a:gd name="T39" fmla="*/ 55 h 318"/>
                  <a:gd name="T40" fmla="*/ 154 w 320"/>
                  <a:gd name="T41" fmla="*/ 46 h 318"/>
                  <a:gd name="T42" fmla="*/ 167 w 320"/>
                  <a:gd name="T43" fmla="*/ 39 h 318"/>
                  <a:gd name="T44" fmla="*/ 181 w 320"/>
                  <a:gd name="T45" fmla="*/ 32 h 318"/>
                  <a:gd name="T46" fmla="*/ 195 w 320"/>
                  <a:gd name="T47" fmla="*/ 26 h 318"/>
                  <a:gd name="T48" fmla="*/ 210 w 320"/>
                  <a:gd name="T49" fmla="*/ 20 h 318"/>
                  <a:gd name="T50" fmla="*/ 225 w 320"/>
                  <a:gd name="T51" fmla="*/ 15 h 318"/>
                  <a:gd name="T52" fmla="*/ 239 w 320"/>
                  <a:gd name="T53" fmla="*/ 10 h 318"/>
                  <a:gd name="T54" fmla="*/ 255 w 320"/>
                  <a:gd name="T55" fmla="*/ 6 h 318"/>
                  <a:gd name="T56" fmla="*/ 271 w 320"/>
                  <a:gd name="T57" fmla="*/ 4 h 318"/>
                  <a:gd name="T58" fmla="*/ 287 w 320"/>
                  <a:gd name="T59" fmla="*/ 1 h 318"/>
                  <a:gd name="T60" fmla="*/ 303 w 320"/>
                  <a:gd name="T61" fmla="*/ 0 h 318"/>
                  <a:gd name="T62" fmla="*/ 320 w 320"/>
                  <a:gd name="T63" fmla="*/ 0 h 318"/>
                  <a:gd name="T64" fmla="*/ 320 w 320"/>
                  <a:gd name="T65" fmla="*/ 318 h 318"/>
                  <a:gd name="T66" fmla="*/ 0 w 320"/>
                  <a:gd name="T67"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318">
                    <a:moveTo>
                      <a:pt x="0" y="318"/>
                    </a:moveTo>
                    <a:lnTo>
                      <a:pt x="0" y="318"/>
                    </a:lnTo>
                    <a:lnTo>
                      <a:pt x="2" y="302"/>
                    </a:lnTo>
                    <a:lnTo>
                      <a:pt x="3" y="287"/>
                    </a:lnTo>
                    <a:lnTo>
                      <a:pt x="4" y="269"/>
                    </a:lnTo>
                    <a:lnTo>
                      <a:pt x="8" y="255"/>
                    </a:lnTo>
                    <a:lnTo>
                      <a:pt x="11" y="239"/>
                    </a:lnTo>
                    <a:lnTo>
                      <a:pt x="15" y="224"/>
                    </a:lnTo>
                    <a:lnTo>
                      <a:pt x="20" y="209"/>
                    </a:lnTo>
                    <a:lnTo>
                      <a:pt x="26" y="195"/>
                    </a:lnTo>
                    <a:lnTo>
                      <a:pt x="32" y="180"/>
                    </a:lnTo>
                    <a:lnTo>
                      <a:pt x="39" y="167"/>
                    </a:lnTo>
                    <a:lnTo>
                      <a:pt x="47" y="154"/>
                    </a:lnTo>
                    <a:lnTo>
                      <a:pt x="55" y="140"/>
                    </a:lnTo>
                    <a:lnTo>
                      <a:pt x="64" y="128"/>
                    </a:lnTo>
                    <a:lnTo>
                      <a:pt x="74" y="116"/>
                    </a:lnTo>
                    <a:lnTo>
                      <a:pt x="94" y="94"/>
                    </a:lnTo>
                    <a:lnTo>
                      <a:pt x="116" y="73"/>
                    </a:lnTo>
                    <a:lnTo>
                      <a:pt x="128" y="63"/>
                    </a:lnTo>
                    <a:lnTo>
                      <a:pt x="142" y="55"/>
                    </a:lnTo>
                    <a:lnTo>
                      <a:pt x="154" y="46"/>
                    </a:lnTo>
                    <a:lnTo>
                      <a:pt x="167" y="39"/>
                    </a:lnTo>
                    <a:lnTo>
                      <a:pt x="181" y="32"/>
                    </a:lnTo>
                    <a:lnTo>
                      <a:pt x="195" y="26"/>
                    </a:lnTo>
                    <a:lnTo>
                      <a:pt x="210" y="20"/>
                    </a:lnTo>
                    <a:lnTo>
                      <a:pt x="225" y="15"/>
                    </a:lnTo>
                    <a:lnTo>
                      <a:pt x="239" y="10"/>
                    </a:lnTo>
                    <a:lnTo>
                      <a:pt x="255" y="6"/>
                    </a:lnTo>
                    <a:lnTo>
                      <a:pt x="271" y="4"/>
                    </a:lnTo>
                    <a:lnTo>
                      <a:pt x="287" y="1"/>
                    </a:lnTo>
                    <a:lnTo>
                      <a:pt x="303" y="0"/>
                    </a:lnTo>
                    <a:lnTo>
                      <a:pt x="320" y="0"/>
                    </a:lnTo>
                    <a:lnTo>
                      <a:pt x="320" y="318"/>
                    </a:lnTo>
                    <a:lnTo>
                      <a:pt x="0" y="3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0" name="Freeform 1475"/>
              <p:cNvSpPr>
                <a:spLocks/>
              </p:cNvSpPr>
              <p:nvPr/>
            </p:nvSpPr>
            <p:spPr bwMode="auto">
              <a:xfrm>
                <a:off x="7354892" y="-686804"/>
                <a:ext cx="121423" cy="119527"/>
              </a:xfrm>
              <a:custGeom>
                <a:avLst/>
                <a:gdLst>
                  <a:gd name="T0" fmla="*/ 0 w 318"/>
                  <a:gd name="T1" fmla="*/ 0 h 318"/>
                  <a:gd name="T2" fmla="*/ 0 w 318"/>
                  <a:gd name="T3" fmla="*/ 0 h 318"/>
                  <a:gd name="T4" fmla="*/ 16 w 318"/>
                  <a:gd name="T5" fmla="*/ 0 h 318"/>
                  <a:gd name="T6" fmla="*/ 32 w 318"/>
                  <a:gd name="T7" fmla="*/ 1 h 318"/>
                  <a:gd name="T8" fmla="*/ 47 w 318"/>
                  <a:gd name="T9" fmla="*/ 4 h 318"/>
                  <a:gd name="T10" fmla="*/ 63 w 318"/>
                  <a:gd name="T11" fmla="*/ 6 h 318"/>
                  <a:gd name="T12" fmla="*/ 79 w 318"/>
                  <a:gd name="T13" fmla="*/ 10 h 318"/>
                  <a:gd name="T14" fmla="*/ 94 w 318"/>
                  <a:gd name="T15" fmla="*/ 15 h 318"/>
                  <a:gd name="T16" fmla="*/ 108 w 318"/>
                  <a:gd name="T17" fmla="*/ 20 h 318"/>
                  <a:gd name="T18" fmla="*/ 123 w 318"/>
                  <a:gd name="T19" fmla="*/ 26 h 318"/>
                  <a:gd name="T20" fmla="*/ 138 w 318"/>
                  <a:gd name="T21" fmla="*/ 32 h 318"/>
                  <a:gd name="T22" fmla="*/ 151 w 318"/>
                  <a:gd name="T23" fmla="*/ 39 h 318"/>
                  <a:gd name="T24" fmla="*/ 164 w 318"/>
                  <a:gd name="T25" fmla="*/ 46 h 318"/>
                  <a:gd name="T26" fmla="*/ 178 w 318"/>
                  <a:gd name="T27" fmla="*/ 55 h 318"/>
                  <a:gd name="T28" fmla="*/ 190 w 318"/>
                  <a:gd name="T29" fmla="*/ 63 h 318"/>
                  <a:gd name="T30" fmla="*/ 202 w 318"/>
                  <a:gd name="T31" fmla="*/ 73 h 318"/>
                  <a:gd name="T32" fmla="*/ 224 w 318"/>
                  <a:gd name="T33" fmla="*/ 94 h 318"/>
                  <a:gd name="T34" fmla="*/ 245 w 318"/>
                  <a:gd name="T35" fmla="*/ 116 h 318"/>
                  <a:gd name="T36" fmla="*/ 255 w 318"/>
                  <a:gd name="T37" fmla="*/ 128 h 318"/>
                  <a:gd name="T38" fmla="*/ 263 w 318"/>
                  <a:gd name="T39" fmla="*/ 140 h 318"/>
                  <a:gd name="T40" fmla="*/ 272 w 318"/>
                  <a:gd name="T41" fmla="*/ 154 h 318"/>
                  <a:gd name="T42" fmla="*/ 279 w 318"/>
                  <a:gd name="T43" fmla="*/ 167 h 318"/>
                  <a:gd name="T44" fmla="*/ 286 w 318"/>
                  <a:gd name="T45" fmla="*/ 180 h 318"/>
                  <a:gd name="T46" fmla="*/ 292 w 318"/>
                  <a:gd name="T47" fmla="*/ 195 h 318"/>
                  <a:gd name="T48" fmla="*/ 299 w 318"/>
                  <a:gd name="T49" fmla="*/ 209 h 318"/>
                  <a:gd name="T50" fmla="*/ 303 w 318"/>
                  <a:gd name="T51" fmla="*/ 224 h 318"/>
                  <a:gd name="T52" fmla="*/ 308 w 318"/>
                  <a:gd name="T53" fmla="*/ 239 h 318"/>
                  <a:gd name="T54" fmla="*/ 312 w 318"/>
                  <a:gd name="T55" fmla="*/ 255 h 318"/>
                  <a:gd name="T56" fmla="*/ 314 w 318"/>
                  <a:gd name="T57" fmla="*/ 269 h 318"/>
                  <a:gd name="T58" fmla="*/ 317 w 318"/>
                  <a:gd name="T59" fmla="*/ 287 h 318"/>
                  <a:gd name="T60" fmla="*/ 318 w 318"/>
                  <a:gd name="T61" fmla="*/ 302 h 318"/>
                  <a:gd name="T62" fmla="*/ 318 w 318"/>
                  <a:gd name="T63" fmla="*/ 318 h 318"/>
                  <a:gd name="T64" fmla="*/ 0 w 318"/>
                  <a:gd name="T65" fmla="*/ 318 h 318"/>
                  <a:gd name="T66" fmla="*/ 0 w 318"/>
                  <a:gd name="T67"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8" h="318">
                    <a:moveTo>
                      <a:pt x="0" y="0"/>
                    </a:moveTo>
                    <a:lnTo>
                      <a:pt x="0" y="0"/>
                    </a:lnTo>
                    <a:lnTo>
                      <a:pt x="16" y="0"/>
                    </a:lnTo>
                    <a:lnTo>
                      <a:pt x="32" y="1"/>
                    </a:lnTo>
                    <a:lnTo>
                      <a:pt x="47" y="4"/>
                    </a:lnTo>
                    <a:lnTo>
                      <a:pt x="63" y="6"/>
                    </a:lnTo>
                    <a:lnTo>
                      <a:pt x="79" y="10"/>
                    </a:lnTo>
                    <a:lnTo>
                      <a:pt x="94" y="15"/>
                    </a:lnTo>
                    <a:lnTo>
                      <a:pt x="108" y="20"/>
                    </a:lnTo>
                    <a:lnTo>
                      <a:pt x="123" y="26"/>
                    </a:lnTo>
                    <a:lnTo>
                      <a:pt x="138" y="32"/>
                    </a:lnTo>
                    <a:lnTo>
                      <a:pt x="151" y="39"/>
                    </a:lnTo>
                    <a:lnTo>
                      <a:pt x="164" y="46"/>
                    </a:lnTo>
                    <a:lnTo>
                      <a:pt x="178" y="55"/>
                    </a:lnTo>
                    <a:lnTo>
                      <a:pt x="190" y="63"/>
                    </a:lnTo>
                    <a:lnTo>
                      <a:pt x="202" y="73"/>
                    </a:lnTo>
                    <a:lnTo>
                      <a:pt x="224" y="94"/>
                    </a:lnTo>
                    <a:lnTo>
                      <a:pt x="245" y="116"/>
                    </a:lnTo>
                    <a:lnTo>
                      <a:pt x="255" y="128"/>
                    </a:lnTo>
                    <a:lnTo>
                      <a:pt x="263" y="140"/>
                    </a:lnTo>
                    <a:lnTo>
                      <a:pt x="272" y="154"/>
                    </a:lnTo>
                    <a:lnTo>
                      <a:pt x="279" y="167"/>
                    </a:lnTo>
                    <a:lnTo>
                      <a:pt x="286" y="180"/>
                    </a:lnTo>
                    <a:lnTo>
                      <a:pt x="292" y="195"/>
                    </a:lnTo>
                    <a:lnTo>
                      <a:pt x="299" y="209"/>
                    </a:lnTo>
                    <a:lnTo>
                      <a:pt x="303" y="224"/>
                    </a:lnTo>
                    <a:lnTo>
                      <a:pt x="308" y="239"/>
                    </a:lnTo>
                    <a:lnTo>
                      <a:pt x="312" y="255"/>
                    </a:lnTo>
                    <a:lnTo>
                      <a:pt x="314" y="269"/>
                    </a:lnTo>
                    <a:lnTo>
                      <a:pt x="317" y="287"/>
                    </a:lnTo>
                    <a:lnTo>
                      <a:pt x="318" y="302"/>
                    </a:lnTo>
                    <a:lnTo>
                      <a:pt x="318" y="318"/>
                    </a:lnTo>
                    <a:lnTo>
                      <a:pt x="0" y="318"/>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1" name="Freeform 1476"/>
              <p:cNvSpPr>
                <a:spLocks/>
              </p:cNvSpPr>
              <p:nvPr/>
            </p:nvSpPr>
            <p:spPr bwMode="auto">
              <a:xfrm>
                <a:off x="7354892" y="-686804"/>
                <a:ext cx="121423" cy="119527"/>
              </a:xfrm>
              <a:custGeom>
                <a:avLst/>
                <a:gdLst>
                  <a:gd name="T0" fmla="*/ 0 w 318"/>
                  <a:gd name="T1" fmla="*/ 0 h 318"/>
                  <a:gd name="T2" fmla="*/ 0 w 318"/>
                  <a:gd name="T3" fmla="*/ 0 h 318"/>
                  <a:gd name="T4" fmla="*/ 16 w 318"/>
                  <a:gd name="T5" fmla="*/ 0 h 318"/>
                  <a:gd name="T6" fmla="*/ 32 w 318"/>
                  <a:gd name="T7" fmla="*/ 1 h 318"/>
                  <a:gd name="T8" fmla="*/ 47 w 318"/>
                  <a:gd name="T9" fmla="*/ 4 h 318"/>
                  <a:gd name="T10" fmla="*/ 63 w 318"/>
                  <a:gd name="T11" fmla="*/ 6 h 318"/>
                  <a:gd name="T12" fmla="*/ 79 w 318"/>
                  <a:gd name="T13" fmla="*/ 10 h 318"/>
                  <a:gd name="T14" fmla="*/ 94 w 318"/>
                  <a:gd name="T15" fmla="*/ 15 h 318"/>
                  <a:gd name="T16" fmla="*/ 108 w 318"/>
                  <a:gd name="T17" fmla="*/ 20 h 318"/>
                  <a:gd name="T18" fmla="*/ 123 w 318"/>
                  <a:gd name="T19" fmla="*/ 26 h 318"/>
                  <a:gd name="T20" fmla="*/ 138 w 318"/>
                  <a:gd name="T21" fmla="*/ 32 h 318"/>
                  <a:gd name="T22" fmla="*/ 151 w 318"/>
                  <a:gd name="T23" fmla="*/ 39 h 318"/>
                  <a:gd name="T24" fmla="*/ 164 w 318"/>
                  <a:gd name="T25" fmla="*/ 46 h 318"/>
                  <a:gd name="T26" fmla="*/ 178 w 318"/>
                  <a:gd name="T27" fmla="*/ 55 h 318"/>
                  <a:gd name="T28" fmla="*/ 190 w 318"/>
                  <a:gd name="T29" fmla="*/ 63 h 318"/>
                  <a:gd name="T30" fmla="*/ 202 w 318"/>
                  <a:gd name="T31" fmla="*/ 73 h 318"/>
                  <a:gd name="T32" fmla="*/ 224 w 318"/>
                  <a:gd name="T33" fmla="*/ 94 h 318"/>
                  <a:gd name="T34" fmla="*/ 245 w 318"/>
                  <a:gd name="T35" fmla="*/ 116 h 318"/>
                  <a:gd name="T36" fmla="*/ 255 w 318"/>
                  <a:gd name="T37" fmla="*/ 128 h 318"/>
                  <a:gd name="T38" fmla="*/ 263 w 318"/>
                  <a:gd name="T39" fmla="*/ 140 h 318"/>
                  <a:gd name="T40" fmla="*/ 272 w 318"/>
                  <a:gd name="T41" fmla="*/ 154 h 318"/>
                  <a:gd name="T42" fmla="*/ 279 w 318"/>
                  <a:gd name="T43" fmla="*/ 167 h 318"/>
                  <a:gd name="T44" fmla="*/ 286 w 318"/>
                  <a:gd name="T45" fmla="*/ 180 h 318"/>
                  <a:gd name="T46" fmla="*/ 292 w 318"/>
                  <a:gd name="T47" fmla="*/ 195 h 318"/>
                  <a:gd name="T48" fmla="*/ 299 w 318"/>
                  <a:gd name="T49" fmla="*/ 209 h 318"/>
                  <a:gd name="T50" fmla="*/ 303 w 318"/>
                  <a:gd name="T51" fmla="*/ 224 h 318"/>
                  <a:gd name="T52" fmla="*/ 308 w 318"/>
                  <a:gd name="T53" fmla="*/ 239 h 318"/>
                  <a:gd name="T54" fmla="*/ 312 w 318"/>
                  <a:gd name="T55" fmla="*/ 255 h 318"/>
                  <a:gd name="T56" fmla="*/ 314 w 318"/>
                  <a:gd name="T57" fmla="*/ 269 h 318"/>
                  <a:gd name="T58" fmla="*/ 317 w 318"/>
                  <a:gd name="T59" fmla="*/ 287 h 318"/>
                  <a:gd name="T60" fmla="*/ 318 w 318"/>
                  <a:gd name="T61" fmla="*/ 302 h 318"/>
                  <a:gd name="T62" fmla="*/ 318 w 318"/>
                  <a:gd name="T63" fmla="*/ 318 h 318"/>
                  <a:gd name="T64" fmla="*/ 0 w 318"/>
                  <a:gd name="T65" fmla="*/ 318 h 318"/>
                  <a:gd name="T66" fmla="*/ 0 w 318"/>
                  <a:gd name="T67"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8" h="318">
                    <a:moveTo>
                      <a:pt x="0" y="0"/>
                    </a:moveTo>
                    <a:lnTo>
                      <a:pt x="0" y="0"/>
                    </a:lnTo>
                    <a:lnTo>
                      <a:pt x="16" y="0"/>
                    </a:lnTo>
                    <a:lnTo>
                      <a:pt x="32" y="1"/>
                    </a:lnTo>
                    <a:lnTo>
                      <a:pt x="47" y="4"/>
                    </a:lnTo>
                    <a:lnTo>
                      <a:pt x="63" y="6"/>
                    </a:lnTo>
                    <a:lnTo>
                      <a:pt x="79" y="10"/>
                    </a:lnTo>
                    <a:lnTo>
                      <a:pt x="94" y="15"/>
                    </a:lnTo>
                    <a:lnTo>
                      <a:pt x="108" y="20"/>
                    </a:lnTo>
                    <a:lnTo>
                      <a:pt x="123" y="26"/>
                    </a:lnTo>
                    <a:lnTo>
                      <a:pt x="138" y="32"/>
                    </a:lnTo>
                    <a:lnTo>
                      <a:pt x="151" y="39"/>
                    </a:lnTo>
                    <a:lnTo>
                      <a:pt x="164" y="46"/>
                    </a:lnTo>
                    <a:lnTo>
                      <a:pt x="178" y="55"/>
                    </a:lnTo>
                    <a:lnTo>
                      <a:pt x="190" y="63"/>
                    </a:lnTo>
                    <a:lnTo>
                      <a:pt x="202" y="73"/>
                    </a:lnTo>
                    <a:lnTo>
                      <a:pt x="224" y="94"/>
                    </a:lnTo>
                    <a:lnTo>
                      <a:pt x="245" y="116"/>
                    </a:lnTo>
                    <a:lnTo>
                      <a:pt x="255" y="128"/>
                    </a:lnTo>
                    <a:lnTo>
                      <a:pt x="263" y="140"/>
                    </a:lnTo>
                    <a:lnTo>
                      <a:pt x="272" y="154"/>
                    </a:lnTo>
                    <a:lnTo>
                      <a:pt x="279" y="167"/>
                    </a:lnTo>
                    <a:lnTo>
                      <a:pt x="286" y="180"/>
                    </a:lnTo>
                    <a:lnTo>
                      <a:pt x="292" y="195"/>
                    </a:lnTo>
                    <a:lnTo>
                      <a:pt x="299" y="209"/>
                    </a:lnTo>
                    <a:lnTo>
                      <a:pt x="303" y="224"/>
                    </a:lnTo>
                    <a:lnTo>
                      <a:pt x="308" y="239"/>
                    </a:lnTo>
                    <a:lnTo>
                      <a:pt x="312" y="255"/>
                    </a:lnTo>
                    <a:lnTo>
                      <a:pt x="314" y="269"/>
                    </a:lnTo>
                    <a:lnTo>
                      <a:pt x="317" y="287"/>
                    </a:lnTo>
                    <a:lnTo>
                      <a:pt x="318" y="302"/>
                    </a:lnTo>
                    <a:lnTo>
                      <a:pt x="318" y="318"/>
                    </a:lnTo>
                    <a:lnTo>
                      <a:pt x="0" y="31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2" name="Freeform 1477"/>
              <p:cNvSpPr>
                <a:spLocks/>
              </p:cNvSpPr>
              <p:nvPr/>
            </p:nvSpPr>
            <p:spPr bwMode="auto">
              <a:xfrm>
                <a:off x="7354892" y="-567275"/>
                <a:ext cx="121423" cy="121424"/>
              </a:xfrm>
              <a:custGeom>
                <a:avLst/>
                <a:gdLst>
                  <a:gd name="T0" fmla="*/ 318 w 318"/>
                  <a:gd name="T1" fmla="*/ 0 h 320"/>
                  <a:gd name="T2" fmla="*/ 318 w 318"/>
                  <a:gd name="T3" fmla="*/ 0 h 320"/>
                  <a:gd name="T4" fmla="*/ 318 w 318"/>
                  <a:gd name="T5" fmla="*/ 17 h 320"/>
                  <a:gd name="T6" fmla="*/ 317 w 318"/>
                  <a:gd name="T7" fmla="*/ 33 h 320"/>
                  <a:gd name="T8" fmla="*/ 314 w 318"/>
                  <a:gd name="T9" fmla="*/ 49 h 320"/>
                  <a:gd name="T10" fmla="*/ 312 w 318"/>
                  <a:gd name="T11" fmla="*/ 65 h 320"/>
                  <a:gd name="T12" fmla="*/ 308 w 318"/>
                  <a:gd name="T13" fmla="*/ 81 h 320"/>
                  <a:gd name="T14" fmla="*/ 303 w 318"/>
                  <a:gd name="T15" fmla="*/ 95 h 320"/>
                  <a:gd name="T16" fmla="*/ 299 w 318"/>
                  <a:gd name="T17" fmla="*/ 110 h 320"/>
                  <a:gd name="T18" fmla="*/ 292 w 318"/>
                  <a:gd name="T19" fmla="*/ 125 h 320"/>
                  <a:gd name="T20" fmla="*/ 286 w 318"/>
                  <a:gd name="T21" fmla="*/ 139 h 320"/>
                  <a:gd name="T22" fmla="*/ 279 w 318"/>
                  <a:gd name="T23" fmla="*/ 153 h 320"/>
                  <a:gd name="T24" fmla="*/ 272 w 318"/>
                  <a:gd name="T25" fmla="*/ 166 h 320"/>
                  <a:gd name="T26" fmla="*/ 263 w 318"/>
                  <a:gd name="T27" fmla="*/ 178 h 320"/>
                  <a:gd name="T28" fmla="*/ 255 w 318"/>
                  <a:gd name="T29" fmla="*/ 192 h 320"/>
                  <a:gd name="T30" fmla="*/ 245 w 318"/>
                  <a:gd name="T31" fmla="*/ 203 h 320"/>
                  <a:gd name="T32" fmla="*/ 224 w 318"/>
                  <a:gd name="T33" fmla="*/ 226 h 320"/>
                  <a:gd name="T34" fmla="*/ 202 w 318"/>
                  <a:gd name="T35" fmla="*/ 246 h 320"/>
                  <a:gd name="T36" fmla="*/ 190 w 318"/>
                  <a:gd name="T37" fmla="*/ 256 h 320"/>
                  <a:gd name="T38" fmla="*/ 178 w 318"/>
                  <a:gd name="T39" fmla="*/ 265 h 320"/>
                  <a:gd name="T40" fmla="*/ 164 w 318"/>
                  <a:gd name="T41" fmla="*/ 273 h 320"/>
                  <a:gd name="T42" fmla="*/ 151 w 318"/>
                  <a:gd name="T43" fmla="*/ 281 h 320"/>
                  <a:gd name="T44" fmla="*/ 138 w 318"/>
                  <a:gd name="T45" fmla="*/ 288 h 320"/>
                  <a:gd name="T46" fmla="*/ 123 w 318"/>
                  <a:gd name="T47" fmla="*/ 294 h 320"/>
                  <a:gd name="T48" fmla="*/ 108 w 318"/>
                  <a:gd name="T49" fmla="*/ 300 h 320"/>
                  <a:gd name="T50" fmla="*/ 94 w 318"/>
                  <a:gd name="T51" fmla="*/ 305 h 320"/>
                  <a:gd name="T52" fmla="*/ 79 w 318"/>
                  <a:gd name="T53" fmla="*/ 309 h 320"/>
                  <a:gd name="T54" fmla="*/ 63 w 318"/>
                  <a:gd name="T55" fmla="*/ 312 h 320"/>
                  <a:gd name="T56" fmla="*/ 47 w 318"/>
                  <a:gd name="T57" fmla="*/ 316 h 320"/>
                  <a:gd name="T58" fmla="*/ 32 w 318"/>
                  <a:gd name="T59" fmla="*/ 317 h 320"/>
                  <a:gd name="T60" fmla="*/ 16 w 318"/>
                  <a:gd name="T61" fmla="*/ 318 h 320"/>
                  <a:gd name="T62" fmla="*/ 0 w 318"/>
                  <a:gd name="T63" fmla="*/ 320 h 320"/>
                  <a:gd name="T64" fmla="*/ 0 w 318"/>
                  <a:gd name="T65" fmla="*/ 0 h 320"/>
                  <a:gd name="T66" fmla="*/ 318 w 318"/>
                  <a:gd name="T6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8" h="320">
                    <a:moveTo>
                      <a:pt x="318" y="0"/>
                    </a:moveTo>
                    <a:lnTo>
                      <a:pt x="318" y="0"/>
                    </a:lnTo>
                    <a:lnTo>
                      <a:pt x="318" y="17"/>
                    </a:lnTo>
                    <a:lnTo>
                      <a:pt x="317" y="33"/>
                    </a:lnTo>
                    <a:lnTo>
                      <a:pt x="314" y="49"/>
                    </a:lnTo>
                    <a:lnTo>
                      <a:pt x="312" y="65"/>
                    </a:lnTo>
                    <a:lnTo>
                      <a:pt x="308" y="81"/>
                    </a:lnTo>
                    <a:lnTo>
                      <a:pt x="303" y="95"/>
                    </a:lnTo>
                    <a:lnTo>
                      <a:pt x="299" y="110"/>
                    </a:lnTo>
                    <a:lnTo>
                      <a:pt x="292" y="125"/>
                    </a:lnTo>
                    <a:lnTo>
                      <a:pt x="286" y="139"/>
                    </a:lnTo>
                    <a:lnTo>
                      <a:pt x="279" y="153"/>
                    </a:lnTo>
                    <a:lnTo>
                      <a:pt x="272" y="166"/>
                    </a:lnTo>
                    <a:lnTo>
                      <a:pt x="263" y="178"/>
                    </a:lnTo>
                    <a:lnTo>
                      <a:pt x="255" y="192"/>
                    </a:lnTo>
                    <a:lnTo>
                      <a:pt x="245" y="203"/>
                    </a:lnTo>
                    <a:lnTo>
                      <a:pt x="224" y="226"/>
                    </a:lnTo>
                    <a:lnTo>
                      <a:pt x="202" y="246"/>
                    </a:lnTo>
                    <a:lnTo>
                      <a:pt x="190" y="256"/>
                    </a:lnTo>
                    <a:lnTo>
                      <a:pt x="178" y="265"/>
                    </a:lnTo>
                    <a:lnTo>
                      <a:pt x="164" y="273"/>
                    </a:lnTo>
                    <a:lnTo>
                      <a:pt x="151" y="281"/>
                    </a:lnTo>
                    <a:lnTo>
                      <a:pt x="138" y="288"/>
                    </a:lnTo>
                    <a:lnTo>
                      <a:pt x="123" y="294"/>
                    </a:lnTo>
                    <a:lnTo>
                      <a:pt x="108" y="300"/>
                    </a:lnTo>
                    <a:lnTo>
                      <a:pt x="94" y="305"/>
                    </a:lnTo>
                    <a:lnTo>
                      <a:pt x="79" y="309"/>
                    </a:lnTo>
                    <a:lnTo>
                      <a:pt x="63" y="312"/>
                    </a:lnTo>
                    <a:lnTo>
                      <a:pt x="47" y="316"/>
                    </a:lnTo>
                    <a:lnTo>
                      <a:pt x="32" y="317"/>
                    </a:lnTo>
                    <a:lnTo>
                      <a:pt x="16" y="318"/>
                    </a:lnTo>
                    <a:lnTo>
                      <a:pt x="0" y="320"/>
                    </a:lnTo>
                    <a:lnTo>
                      <a:pt x="0" y="0"/>
                    </a:lnTo>
                    <a:lnTo>
                      <a:pt x="318" y="0"/>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3" name="Freeform 1478"/>
              <p:cNvSpPr>
                <a:spLocks/>
              </p:cNvSpPr>
              <p:nvPr/>
            </p:nvSpPr>
            <p:spPr bwMode="auto">
              <a:xfrm>
                <a:off x="7354892" y="-567275"/>
                <a:ext cx="121423" cy="121424"/>
              </a:xfrm>
              <a:custGeom>
                <a:avLst/>
                <a:gdLst>
                  <a:gd name="T0" fmla="*/ 318 w 318"/>
                  <a:gd name="T1" fmla="*/ 0 h 320"/>
                  <a:gd name="T2" fmla="*/ 318 w 318"/>
                  <a:gd name="T3" fmla="*/ 0 h 320"/>
                  <a:gd name="T4" fmla="*/ 318 w 318"/>
                  <a:gd name="T5" fmla="*/ 17 h 320"/>
                  <a:gd name="T6" fmla="*/ 317 w 318"/>
                  <a:gd name="T7" fmla="*/ 33 h 320"/>
                  <a:gd name="T8" fmla="*/ 314 w 318"/>
                  <a:gd name="T9" fmla="*/ 49 h 320"/>
                  <a:gd name="T10" fmla="*/ 312 w 318"/>
                  <a:gd name="T11" fmla="*/ 65 h 320"/>
                  <a:gd name="T12" fmla="*/ 308 w 318"/>
                  <a:gd name="T13" fmla="*/ 81 h 320"/>
                  <a:gd name="T14" fmla="*/ 303 w 318"/>
                  <a:gd name="T15" fmla="*/ 95 h 320"/>
                  <a:gd name="T16" fmla="*/ 299 w 318"/>
                  <a:gd name="T17" fmla="*/ 110 h 320"/>
                  <a:gd name="T18" fmla="*/ 292 w 318"/>
                  <a:gd name="T19" fmla="*/ 125 h 320"/>
                  <a:gd name="T20" fmla="*/ 286 w 318"/>
                  <a:gd name="T21" fmla="*/ 139 h 320"/>
                  <a:gd name="T22" fmla="*/ 279 w 318"/>
                  <a:gd name="T23" fmla="*/ 153 h 320"/>
                  <a:gd name="T24" fmla="*/ 272 w 318"/>
                  <a:gd name="T25" fmla="*/ 166 h 320"/>
                  <a:gd name="T26" fmla="*/ 263 w 318"/>
                  <a:gd name="T27" fmla="*/ 178 h 320"/>
                  <a:gd name="T28" fmla="*/ 255 w 318"/>
                  <a:gd name="T29" fmla="*/ 192 h 320"/>
                  <a:gd name="T30" fmla="*/ 245 w 318"/>
                  <a:gd name="T31" fmla="*/ 203 h 320"/>
                  <a:gd name="T32" fmla="*/ 224 w 318"/>
                  <a:gd name="T33" fmla="*/ 226 h 320"/>
                  <a:gd name="T34" fmla="*/ 202 w 318"/>
                  <a:gd name="T35" fmla="*/ 246 h 320"/>
                  <a:gd name="T36" fmla="*/ 190 w 318"/>
                  <a:gd name="T37" fmla="*/ 256 h 320"/>
                  <a:gd name="T38" fmla="*/ 178 w 318"/>
                  <a:gd name="T39" fmla="*/ 265 h 320"/>
                  <a:gd name="T40" fmla="*/ 164 w 318"/>
                  <a:gd name="T41" fmla="*/ 273 h 320"/>
                  <a:gd name="T42" fmla="*/ 151 w 318"/>
                  <a:gd name="T43" fmla="*/ 281 h 320"/>
                  <a:gd name="T44" fmla="*/ 138 w 318"/>
                  <a:gd name="T45" fmla="*/ 288 h 320"/>
                  <a:gd name="T46" fmla="*/ 123 w 318"/>
                  <a:gd name="T47" fmla="*/ 294 h 320"/>
                  <a:gd name="T48" fmla="*/ 108 w 318"/>
                  <a:gd name="T49" fmla="*/ 300 h 320"/>
                  <a:gd name="T50" fmla="*/ 94 w 318"/>
                  <a:gd name="T51" fmla="*/ 305 h 320"/>
                  <a:gd name="T52" fmla="*/ 79 w 318"/>
                  <a:gd name="T53" fmla="*/ 309 h 320"/>
                  <a:gd name="T54" fmla="*/ 63 w 318"/>
                  <a:gd name="T55" fmla="*/ 312 h 320"/>
                  <a:gd name="T56" fmla="*/ 47 w 318"/>
                  <a:gd name="T57" fmla="*/ 316 h 320"/>
                  <a:gd name="T58" fmla="*/ 32 w 318"/>
                  <a:gd name="T59" fmla="*/ 317 h 320"/>
                  <a:gd name="T60" fmla="*/ 16 w 318"/>
                  <a:gd name="T61" fmla="*/ 318 h 320"/>
                  <a:gd name="T62" fmla="*/ 0 w 318"/>
                  <a:gd name="T63" fmla="*/ 320 h 320"/>
                  <a:gd name="T64" fmla="*/ 0 w 318"/>
                  <a:gd name="T65" fmla="*/ 0 h 320"/>
                  <a:gd name="T66" fmla="*/ 318 w 318"/>
                  <a:gd name="T6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8" h="320">
                    <a:moveTo>
                      <a:pt x="318" y="0"/>
                    </a:moveTo>
                    <a:lnTo>
                      <a:pt x="318" y="0"/>
                    </a:lnTo>
                    <a:lnTo>
                      <a:pt x="318" y="17"/>
                    </a:lnTo>
                    <a:lnTo>
                      <a:pt x="317" y="33"/>
                    </a:lnTo>
                    <a:lnTo>
                      <a:pt x="314" y="49"/>
                    </a:lnTo>
                    <a:lnTo>
                      <a:pt x="312" y="65"/>
                    </a:lnTo>
                    <a:lnTo>
                      <a:pt x="308" y="81"/>
                    </a:lnTo>
                    <a:lnTo>
                      <a:pt x="303" y="95"/>
                    </a:lnTo>
                    <a:lnTo>
                      <a:pt x="299" y="110"/>
                    </a:lnTo>
                    <a:lnTo>
                      <a:pt x="292" y="125"/>
                    </a:lnTo>
                    <a:lnTo>
                      <a:pt x="286" y="139"/>
                    </a:lnTo>
                    <a:lnTo>
                      <a:pt x="279" y="153"/>
                    </a:lnTo>
                    <a:lnTo>
                      <a:pt x="272" y="166"/>
                    </a:lnTo>
                    <a:lnTo>
                      <a:pt x="263" y="178"/>
                    </a:lnTo>
                    <a:lnTo>
                      <a:pt x="255" y="192"/>
                    </a:lnTo>
                    <a:lnTo>
                      <a:pt x="245" y="203"/>
                    </a:lnTo>
                    <a:lnTo>
                      <a:pt x="224" y="226"/>
                    </a:lnTo>
                    <a:lnTo>
                      <a:pt x="202" y="246"/>
                    </a:lnTo>
                    <a:lnTo>
                      <a:pt x="190" y="256"/>
                    </a:lnTo>
                    <a:lnTo>
                      <a:pt x="178" y="265"/>
                    </a:lnTo>
                    <a:lnTo>
                      <a:pt x="164" y="273"/>
                    </a:lnTo>
                    <a:lnTo>
                      <a:pt x="151" y="281"/>
                    </a:lnTo>
                    <a:lnTo>
                      <a:pt x="138" y="288"/>
                    </a:lnTo>
                    <a:lnTo>
                      <a:pt x="123" y="294"/>
                    </a:lnTo>
                    <a:lnTo>
                      <a:pt x="108" y="300"/>
                    </a:lnTo>
                    <a:lnTo>
                      <a:pt x="94" y="305"/>
                    </a:lnTo>
                    <a:lnTo>
                      <a:pt x="79" y="309"/>
                    </a:lnTo>
                    <a:lnTo>
                      <a:pt x="63" y="312"/>
                    </a:lnTo>
                    <a:lnTo>
                      <a:pt x="47" y="316"/>
                    </a:lnTo>
                    <a:lnTo>
                      <a:pt x="32" y="317"/>
                    </a:lnTo>
                    <a:lnTo>
                      <a:pt x="16" y="318"/>
                    </a:lnTo>
                    <a:lnTo>
                      <a:pt x="0" y="320"/>
                    </a:lnTo>
                    <a:lnTo>
                      <a:pt x="0" y="0"/>
                    </a:lnTo>
                    <a:lnTo>
                      <a:pt x="3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4" name="Freeform 1479"/>
              <p:cNvSpPr>
                <a:spLocks/>
              </p:cNvSpPr>
              <p:nvPr/>
            </p:nvSpPr>
            <p:spPr bwMode="auto">
              <a:xfrm>
                <a:off x="7233469" y="-567275"/>
                <a:ext cx="121423" cy="121424"/>
              </a:xfrm>
              <a:custGeom>
                <a:avLst/>
                <a:gdLst>
                  <a:gd name="T0" fmla="*/ 320 w 320"/>
                  <a:gd name="T1" fmla="*/ 0 h 320"/>
                  <a:gd name="T2" fmla="*/ 320 w 320"/>
                  <a:gd name="T3" fmla="*/ 320 h 320"/>
                  <a:gd name="T4" fmla="*/ 320 w 320"/>
                  <a:gd name="T5" fmla="*/ 320 h 320"/>
                  <a:gd name="T6" fmla="*/ 303 w 320"/>
                  <a:gd name="T7" fmla="*/ 318 h 320"/>
                  <a:gd name="T8" fmla="*/ 287 w 320"/>
                  <a:gd name="T9" fmla="*/ 317 h 320"/>
                  <a:gd name="T10" fmla="*/ 271 w 320"/>
                  <a:gd name="T11" fmla="*/ 316 h 320"/>
                  <a:gd name="T12" fmla="*/ 255 w 320"/>
                  <a:gd name="T13" fmla="*/ 312 h 320"/>
                  <a:gd name="T14" fmla="*/ 239 w 320"/>
                  <a:gd name="T15" fmla="*/ 309 h 320"/>
                  <a:gd name="T16" fmla="*/ 225 w 320"/>
                  <a:gd name="T17" fmla="*/ 305 h 320"/>
                  <a:gd name="T18" fmla="*/ 210 w 320"/>
                  <a:gd name="T19" fmla="*/ 300 h 320"/>
                  <a:gd name="T20" fmla="*/ 195 w 320"/>
                  <a:gd name="T21" fmla="*/ 294 h 320"/>
                  <a:gd name="T22" fmla="*/ 181 w 320"/>
                  <a:gd name="T23" fmla="*/ 288 h 320"/>
                  <a:gd name="T24" fmla="*/ 167 w 320"/>
                  <a:gd name="T25" fmla="*/ 281 h 320"/>
                  <a:gd name="T26" fmla="*/ 154 w 320"/>
                  <a:gd name="T27" fmla="*/ 273 h 320"/>
                  <a:gd name="T28" fmla="*/ 142 w 320"/>
                  <a:gd name="T29" fmla="*/ 265 h 320"/>
                  <a:gd name="T30" fmla="*/ 128 w 320"/>
                  <a:gd name="T31" fmla="*/ 256 h 320"/>
                  <a:gd name="T32" fmla="*/ 116 w 320"/>
                  <a:gd name="T33" fmla="*/ 246 h 320"/>
                  <a:gd name="T34" fmla="*/ 94 w 320"/>
                  <a:gd name="T35" fmla="*/ 226 h 320"/>
                  <a:gd name="T36" fmla="*/ 74 w 320"/>
                  <a:gd name="T37" fmla="*/ 203 h 320"/>
                  <a:gd name="T38" fmla="*/ 64 w 320"/>
                  <a:gd name="T39" fmla="*/ 192 h 320"/>
                  <a:gd name="T40" fmla="*/ 55 w 320"/>
                  <a:gd name="T41" fmla="*/ 178 h 320"/>
                  <a:gd name="T42" fmla="*/ 47 w 320"/>
                  <a:gd name="T43" fmla="*/ 166 h 320"/>
                  <a:gd name="T44" fmla="*/ 39 w 320"/>
                  <a:gd name="T45" fmla="*/ 153 h 320"/>
                  <a:gd name="T46" fmla="*/ 32 w 320"/>
                  <a:gd name="T47" fmla="*/ 139 h 320"/>
                  <a:gd name="T48" fmla="*/ 26 w 320"/>
                  <a:gd name="T49" fmla="*/ 125 h 320"/>
                  <a:gd name="T50" fmla="*/ 20 w 320"/>
                  <a:gd name="T51" fmla="*/ 110 h 320"/>
                  <a:gd name="T52" fmla="*/ 15 w 320"/>
                  <a:gd name="T53" fmla="*/ 95 h 320"/>
                  <a:gd name="T54" fmla="*/ 11 w 320"/>
                  <a:gd name="T55" fmla="*/ 81 h 320"/>
                  <a:gd name="T56" fmla="*/ 8 w 320"/>
                  <a:gd name="T57" fmla="*/ 65 h 320"/>
                  <a:gd name="T58" fmla="*/ 4 w 320"/>
                  <a:gd name="T59" fmla="*/ 49 h 320"/>
                  <a:gd name="T60" fmla="*/ 3 w 320"/>
                  <a:gd name="T61" fmla="*/ 33 h 320"/>
                  <a:gd name="T62" fmla="*/ 2 w 320"/>
                  <a:gd name="T63" fmla="*/ 17 h 320"/>
                  <a:gd name="T64" fmla="*/ 0 w 320"/>
                  <a:gd name="T65" fmla="*/ 0 h 320"/>
                  <a:gd name="T66" fmla="*/ 320 w 320"/>
                  <a:gd name="T6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320">
                    <a:moveTo>
                      <a:pt x="320" y="0"/>
                    </a:moveTo>
                    <a:lnTo>
                      <a:pt x="320" y="320"/>
                    </a:lnTo>
                    <a:lnTo>
                      <a:pt x="320" y="320"/>
                    </a:lnTo>
                    <a:lnTo>
                      <a:pt x="303" y="318"/>
                    </a:lnTo>
                    <a:lnTo>
                      <a:pt x="287" y="317"/>
                    </a:lnTo>
                    <a:lnTo>
                      <a:pt x="271" y="316"/>
                    </a:lnTo>
                    <a:lnTo>
                      <a:pt x="255" y="312"/>
                    </a:lnTo>
                    <a:lnTo>
                      <a:pt x="239" y="309"/>
                    </a:lnTo>
                    <a:lnTo>
                      <a:pt x="225" y="305"/>
                    </a:lnTo>
                    <a:lnTo>
                      <a:pt x="210" y="300"/>
                    </a:lnTo>
                    <a:lnTo>
                      <a:pt x="195" y="294"/>
                    </a:lnTo>
                    <a:lnTo>
                      <a:pt x="181" y="288"/>
                    </a:lnTo>
                    <a:lnTo>
                      <a:pt x="167" y="281"/>
                    </a:lnTo>
                    <a:lnTo>
                      <a:pt x="154" y="273"/>
                    </a:lnTo>
                    <a:lnTo>
                      <a:pt x="142" y="265"/>
                    </a:lnTo>
                    <a:lnTo>
                      <a:pt x="128" y="256"/>
                    </a:lnTo>
                    <a:lnTo>
                      <a:pt x="116" y="246"/>
                    </a:lnTo>
                    <a:lnTo>
                      <a:pt x="94" y="226"/>
                    </a:lnTo>
                    <a:lnTo>
                      <a:pt x="74" y="203"/>
                    </a:lnTo>
                    <a:lnTo>
                      <a:pt x="64" y="192"/>
                    </a:lnTo>
                    <a:lnTo>
                      <a:pt x="55" y="178"/>
                    </a:lnTo>
                    <a:lnTo>
                      <a:pt x="47" y="166"/>
                    </a:lnTo>
                    <a:lnTo>
                      <a:pt x="39" y="153"/>
                    </a:lnTo>
                    <a:lnTo>
                      <a:pt x="32" y="139"/>
                    </a:lnTo>
                    <a:lnTo>
                      <a:pt x="26" y="125"/>
                    </a:lnTo>
                    <a:lnTo>
                      <a:pt x="20" y="110"/>
                    </a:lnTo>
                    <a:lnTo>
                      <a:pt x="15" y="95"/>
                    </a:lnTo>
                    <a:lnTo>
                      <a:pt x="11" y="81"/>
                    </a:lnTo>
                    <a:lnTo>
                      <a:pt x="8" y="65"/>
                    </a:lnTo>
                    <a:lnTo>
                      <a:pt x="4" y="49"/>
                    </a:lnTo>
                    <a:lnTo>
                      <a:pt x="3" y="33"/>
                    </a:lnTo>
                    <a:lnTo>
                      <a:pt x="2" y="17"/>
                    </a:lnTo>
                    <a:lnTo>
                      <a:pt x="0" y="0"/>
                    </a:lnTo>
                    <a:lnTo>
                      <a:pt x="320" y="0"/>
                    </a:lnTo>
                    <a:close/>
                  </a:path>
                </a:pathLst>
              </a:custGeom>
              <a:solidFill>
                <a:srgbClr val="A5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5" name="Freeform 1480"/>
              <p:cNvSpPr>
                <a:spLocks/>
              </p:cNvSpPr>
              <p:nvPr/>
            </p:nvSpPr>
            <p:spPr bwMode="auto">
              <a:xfrm>
                <a:off x="7233469" y="-567275"/>
                <a:ext cx="121423" cy="121424"/>
              </a:xfrm>
              <a:custGeom>
                <a:avLst/>
                <a:gdLst>
                  <a:gd name="T0" fmla="*/ 320 w 320"/>
                  <a:gd name="T1" fmla="*/ 0 h 320"/>
                  <a:gd name="T2" fmla="*/ 320 w 320"/>
                  <a:gd name="T3" fmla="*/ 320 h 320"/>
                  <a:gd name="T4" fmla="*/ 320 w 320"/>
                  <a:gd name="T5" fmla="*/ 320 h 320"/>
                  <a:gd name="T6" fmla="*/ 303 w 320"/>
                  <a:gd name="T7" fmla="*/ 318 h 320"/>
                  <a:gd name="T8" fmla="*/ 287 w 320"/>
                  <a:gd name="T9" fmla="*/ 317 h 320"/>
                  <a:gd name="T10" fmla="*/ 271 w 320"/>
                  <a:gd name="T11" fmla="*/ 316 h 320"/>
                  <a:gd name="T12" fmla="*/ 255 w 320"/>
                  <a:gd name="T13" fmla="*/ 312 h 320"/>
                  <a:gd name="T14" fmla="*/ 239 w 320"/>
                  <a:gd name="T15" fmla="*/ 309 h 320"/>
                  <a:gd name="T16" fmla="*/ 225 w 320"/>
                  <a:gd name="T17" fmla="*/ 305 h 320"/>
                  <a:gd name="T18" fmla="*/ 210 w 320"/>
                  <a:gd name="T19" fmla="*/ 300 h 320"/>
                  <a:gd name="T20" fmla="*/ 195 w 320"/>
                  <a:gd name="T21" fmla="*/ 294 h 320"/>
                  <a:gd name="T22" fmla="*/ 181 w 320"/>
                  <a:gd name="T23" fmla="*/ 288 h 320"/>
                  <a:gd name="T24" fmla="*/ 167 w 320"/>
                  <a:gd name="T25" fmla="*/ 281 h 320"/>
                  <a:gd name="T26" fmla="*/ 154 w 320"/>
                  <a:gd name="T27" fmla="*/ 273 h 320"/>
                  <a:gd name="T28" fmla="*/ 142 w 320"/>
                  <a:gd name="T29" fmla="*/ 265 h 320"/>
                  <a:gd name="T30" fmla="*/ 128 w 320"/>
                  <a:gd name="T31" fmla="*/ 256 h 320"/>
                  <a:gd name="T32" fmla="*/ 116 w 320"/>
                  <a:gd name="T33" fmla="*/ 246 h 320"/>
                  <a:gd name="T34" fmla="*/ 94 w 320"/>
                  <a:gd name="T35" fmla="*/ 226 h 320"/>
                  <a:gd name="T36" fmla="*/ 74 w 320"/>
                  <a:gd name="T37" fmla="*/ 203 h 320"/>
                  <a:gd name="T38" fmla="*/ 64 w 320"/>
                  <a:gd name="T39" fmla="*/ 192 h 320"/>
                  <a:gd name="T40" fmla="*/ 55 w 320"/>
                  <a:gd name="T41" fmla="*/ 178 h 320"/>
                  <a:gd name="T42" fmla="*/ 47 w 320"/>
                  <a:gd name="T43" fmla="*/ 166 h 320"/>
                  <a:gd name="T44" fmla="*/ 39 w 320"/>
                  <a:gd name="T45" fmla="*/ 153 h 320"/>
                  <a:gd name="T46" fmla="*/ 32 w 320"/>
                  <a:gd name="T47" fmla="*/ 139 h 320"/>
                  <a:gd name="T48" fmla="*/ 26 w 320"/>
                  <a:gd name="T49" fmla="*/ 125 h 320"/>
                  <a:gd name="T50" fmla="*/ 20 w 320"/>
                  <a:gd name="T51" fmla="*/ 110 h 320"/>
                  <a:gd name="T52" fmla="*/ 15 w 320"/>
                  <a:gd name="T53" fmla="*/ 95 h 320"/>
                  <a:gd name="T54" fmla="*/ 11 w 320"/>
                  <a:gd name="T55" fmla="*/ 81 h 320"/>
                  <a:gd name="T56" fmla="*/ 8 w 320"/>
                  <a:gd name="T57" fmla="*/ 65 h 320"/>
                  <a:gd name="T58" fmla="*/ 4 w 320"/>
                  <a:gd name="T59" fmla="*/ 49 h 320"/>
                  <a:gd name="T60" fmla="*/ 3 w 320"/>
                  <a:gd name="T61" fmla="*/ 33 h 320"/>
                  <a:gd name="T62" fmla="*/ 2 w 320"/>
                  <a:gd name="T63" fmla="*/ 17 h 320"/>
                  <a:gd name="T64" fmla="*/ 0 w 320"/>
                  <a:gd name="T65" fmla="*/ 0 h 320"/>
                  <a:gd name="T66" fmla="*/ 320 w 320"/>
                  <a:gd name="T6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320">
                    <a:moveTo>
                      <a:pt x="320" y="0"/>
                    </a:moveTo>
                    <a:lnTo>
                      <a:pt x="320" y="320"/>
                    </a:lnTo>
                    <a:lnTo>
                      <a:pt x="320" y="320"/>
                    </a:lnTo>
                    <a:lnTo>
                      <a:pt x="303" y="318"/>
                    </a:lnTo>
                    <a:lnTo>
                      <a:pt x="287" y="317"/>
                    </a:lnTo>
                    <a:lnTo>
                      <a:pt x="271" y="316"/>
                    </a:lnTo>
                    <a:lnTo>
                      <a:pt x="255" y="312"/>
                    </a:lnTo>
                    <a:lnTo>
                      <a:pt x="239" y="309"/>
                    </a:lnTo>
                    <a:lnTo>
                      <a:pt x="225" y="305"/>
                    </a:lnTo>
                    <a:lnTo>
                      <a:pt x="210" y="300"/>
                    </a:lnTo>
                    <a:lnTo>
                      <a:pt x="195" y="294"/>
                    </a:lnTo>
                    <a:lnTo>
                      <a:pt x="181" y="288"/>
                    </a:lnTo>
                    <a:lnTo>
                      <a:pt x="167" y="281"/>
                    </a:lnTo>
                    <a:lnTo>
                      <a:pt x="154" y="273"/>
                    </a:lnTo>
                    <a:lnTo>
                      <a:pt x="142" y="265"/>
                    </a:lnTo>
                    <a:lnTo>
                      <a:pt x="128" y="256"/>
                    </a:lnTo>
                    <a:lnTo>
                      <a:pt x="116" y="246"/>
                    </a:lnTo>
                    <a:lnTo>
                      <a:pt x="94" y="226"/>
                    </a:lnTo>
                    <a:lnTo>
                      <a:pt x="74" y="203"/>
                    </a:lnTo>
                    <a:lnTo>
                      <a:pt x="64" y="192"/>
                    </a:lnTo>
                    <a:lnTo>
                      <a:pt x="55" y="178"/>
                    </a:lnTo>
                    <a:lnTo>
                      <a:pt x="47" y="166"/>
                    </a:lnTo>
                    <a:lnTo>
                      <a:pt x="39" y="153"/>
                    </a:lnTo>
                    <a:lnTo>
                      <a:pt x="32" y="139"/>
                    </a:lnTo>
                    <a:lnTo>
                      <a:pt x="26" y="125"/>
                    </a:lnTo>
                    <a:lnTo>
                      <a:pt x="20" y="110"/>
                    </a:lnTo>
                    <a:lnTo>
                      <a:pt x="15" y="95"/>
                    </a:lnTo>
                    <a:lnTo>
                      <a:pt x="11" y="81"/>
                    </a:lnTo>
                    <a:lnTo>
                      <a:pt x="8" y="65"/>
                    </a:lnTo>
                    <a:lnTo>
                      <a:pt x="4" y="49"/>
                    </a:lnTo>
                    <a:lnTo>
                      <a:pt x="3" y="33"/>
                    </a:lnTo>
                    <a:lnTo>
                      <a:pt x="2" y="17"/>
                    </a:lnTo>
                    <a:lnTo>
                      <a:pt x="0" y="0"/>
                    </a:lnTo>
                    <a:lnTo>
                      <a:pt x="3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6" name="Freeform 1481"/>
              <p:cNvSpPr>
                <a:spLocks/>
              </p:cNvSpPr>
              <p:nvPr/>
            </p:nvSpPr>
            <p:spPr bwMode="auto">
              <a:xfrm>
                <a:off x="7297975" y="-622298"/>
                <a:ext cx="56917" cy="55021"/>
              </a:xfrm>
              <a:custGeom>
                <a:avLst/>
                <a:gdLst>
                  <a:gd name="T0" fmla="*/ 150 w 150"/>
                  <a:gd name="T1" fmla="*/ 0 h 148"/>
                  <a:gd name="T2" fmla="*/ 150 w 150"/>
                  <a:gd name="T3" fmla="*/ 0 h 148"/>
                  <a:gd name="T4" fmla="*/ 134 w 150"/>
                  <a:gd name="T5" fmla="*/ 0 h 148"/>
                  <a:gd name="T6" fmla="*/ 119 w 150"/>
                  <a:gd name="T7" fmla="*/ 2 h 148"/>
                  <a:gd name="T8" fmla="*/ 105 w 150"/>
                  <a:gd name="T9" fmla="*/ 6 h 148"/>
                  <a:gd name="T10" fmla="*/ 91 w 150"/>
                  <a:gd name="T11" fmla="*/ 10 h 148"/>
                  <a:gd name="T12" fmla="*/ 78 w 150"/>
                  <a:gd name="T13" fmla="*/ 18 h 148"/>
                  <a:gd name="T14" fmla="*/ 66 w 150"/>
                  <a:gd name="T15" fmla="*/ 25 h 148"/>
                  <a:gd name="T16" fmla="*/ 55 w 150"/>
                  <a:gd name="T17" fmla="*/ 34 h 148"/>
                  <a:gd name="T18" fmla="*/ 44 w 150"/>
                  <a:gd name="T19" fmla="*/ 43 h 148"/>
                  <a:gd name="T20" fmla="*/ 34 w 150"/>
                  <a:gd name="T21" fmla="*/ 53 h 148"/>
                  <a:gd name="T22" fmla="*/ 25 w 150"/>
                  <a:gd name="T23" fmla="*/ 65 h 148"/>
                  <a:gd name="T24" fmla="*/ 18 w 150"/>
                  <a:gd name="T25" fmla="*/ 78 h 148"/>
                  <a:gd name="T26" fmla="*/ 12 w 150"/>
                  <a:gd name="T27" fmla="*/ 91 h 148"/>
                  <a:gd name="T28" fmla="*/ 7 w 150"/>
                  <a:gd name="T29" fmla="*/ 104 h 148"/>
                  <a:gd name="T30" fmla="*/ 4 w 150"/>
                  <a:gd name="T31" fmla="*/ 119 h 148"/>
                  <a:gd name="T32" fmla="*/ 1 w 150"/>
                  <a:gd name="T33" fmla="*/ 134 h 148"/>
                  <a:gd name="T34" fmla="*/ 0 w 150"/>
                  <a:gd name="T35" fmla="*/ 148 h 148"/>
                  <a:gd name="T36" fmla="*/ 150 w 150"/>
                  <a:gd name="T37" fmla="*/ 148 h 148"/>
                  <a:gd name="T38" fmla="*/ 150 w 150"/>
                  <a:gd name="T39"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48">
                    <a:moveTo>
                      <a:pt x="150" y="0"/>
                    </a:moveTo>
                    <a:lnTo>
                      <a:pt x="150" y="0"/>
                    </a:lnTo>
                    <a:lnTo>
                      <a:pt x="134" y="0"/>
                    </a:lnTo>
                    <a:lnTo>
                      <a:pt x="119" y="2"/>
                    </a:lnTo>
                    <a:lnTo>
                      <a:pt x="105" y="6"/>
                    </a:lnTo>
                    <a:lnTo>
                      <a:pt x="91" y="10"/>
                    </a:lnTo>
                    <a:lnTo>
                      <a:pt x="78" y="18"/>
                    </a:lnTo>
                    <a:lnTo>
                      <a:pt x="66" y="25"/>
                    </a:lnTo>
                    <a:lnTo>
                      <a:pt x="55" y="34"/>
                    </a:lnTo>
                    <a:lnTo>
                      <a:pt x="44" y="43"/>
                    </a:lnTo>
                    <a:lnTo>
                      <a:pt x="34" y="53"/>
                    </a:lnTo>
                    <a:lnTo>
                      <a:pt x="25" y="65"/>
                    </a:lnTo>
                    <a:lnTo>
                      <a:pt x="18" y="78"/>
                    </a:lnTo>
                    <a:lnTo>
                      <a:pt x="12" y="91"/>
                    </a:lnTo>
                    <a:lnTo>
                      <a:pt x="7" y="104"/>
                    </a:lnTo>
                    <a:lnTo>
                      <a:pt x="4" y="119"/>
                    </a:lnTo>
                    <a:lnTo>
                      <a:pt x="1" y="134"/>
                    </a:lnTo>
                    <a:lnTo>
                      <a:pt x="0" y="148"/>
                    </a:lnTo>
                    <a:lnTo>
                      <a:pt x="150" y="148"/>
                    </a:lnTo>
                    <a:lnTo>
                      <a:pt x="150" y="0"/>
                    </a:lnTo>
                    <a:close/>
                  </a:path>
                </a:pathLst>
              </a:custGeom>
              <a:solidFill>
                <a:srgbClr val="A7A7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7" name="Freeform 1482"/>
              <p:cNvSpPr>
                <a:spLocks/>
              </p:cNvSpPr>
              <p:nvPr/>
            </p:nvSpPr>
            <p:spPr bwMode="auto">
              <a:xfrm>
                <a:off x="7297975" y="-622298"/>
                <a:ext cx="56917" cy="55021"/>
              </a:xfrm>
              <a:custGeom>
                <a:avLst/>
                <a:gdLst>
                  <a:gd name="T0" fmla="*/ 150 w 150"/>
                  <a:gd name="T1" fmla="*/ 0 h 148"/>
                  <a:gd name="T2" fmla="*/ 150 w 150"/>
                  <a:gd name="T3" fmla="*/ 0 h 148"/>
                  <a:gd name="T4" fmla="*/ 134 w 150"/>
                  <a:gd name="T5" fmla="*/ 0 h 148"/>
                  <a:gd name="T6" fmla="*/ 119 w 150"/>
                  <a:gd name="T7" fmla="*/ 2 h 148"/>
                  <a:gd name="T8" fmla="*/ 105 w 150"/>
                  <a:gd name="T9" fmla="*/ 6 h 148"/>
                  <a:gd name="T10" fmla="*/ 91 w 150"/>
                  <a:gd name="T11" fmla="*/ 10 h 148"/>
                  <a:gd name="T12" fmla="*/ 78 w 150"/>
                  <a:gd name="T13" fmla="*/ 18 h 148"/>
                  <a:gd name="T14" fmla="*/ 66 w 150"/>
                  <a:gd name="T15" fmla="*/ 25 h 148"/>
                  <a:gd name="T16" fmla="*/ 55 w 150"/>
                  <a:gd name="T17" fmla="*/ 34 h 148"/>
                  <a:gd name="T18" fmla="*/ 44 w 150"/>
                  <a:gd name="T19" fmla="*/ 43 h 148"/>
                  <a:gd name="T20" fmla="*/ 34 w 150"/>
                  <a:gd name="T21" fmla="*/ 53 h 148"/>
                  <a:gd name="T22" fmla="*/ 25 w 150"/>
                  <a:gd name="T23" fmla="*/ 65 h 148"/>
                  <a:gd name="T24" fmla="*/ 18 w 150"/>
                  <a:gd name="T25" fmla="*/ 78 h 148"/>
                  <a:gd name="T26" fmla="*/ 12 w 150"/>
                  <a:gd name="T27" fmla="*/ 91 h 148"/>
                  <a:gd name="T28" fmla="*/ 7 w 150"/>
                  <a:gd name="T29" fmla="*/ 104 h 148"/>
                  <a:gd name="T30" fmla="*/ 4 w 150"/>
                  <a:gd name="T31" fmla="*/ 119 h 148"/>
                  <a:gd name="T32" fmla="*/ 1 w 150"/>
                  <a:gd name="T33" fmla="*/ 134 h 148"/>
                  <a:gd name="T34" fmla="*/ 0 w 150"/>
                  <a:gd name="T35" fmla="*/ 148 h 148"/>
                  <a:gd name="T36" fmla="*/ 150 w 150"/>
                  <a:gd name="T37" fmla="*/ 148 h 148"/>
                  <a:gd name="T38" fmla="*/ 150 w 150"/>
                  <a:gd name="T39"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48">
                    <a:moveTo>
                      <a:pt x="150" y="0"/>
                    </a:moveTo>
                    <a:lnTo>
                      <a:pt x="150" y="0"/>
                    </a:lnTo>
                    <a:lnTo>
                      <a:pt x="134" y="0"/>
                    </a:lnTo>
                    <a:lnTo>
                      <a:pt x="119" y="2"/>
                    </a:lnTo>
                    <a:lnTo>
                      <a:pt x="105" y="6"/>
                    </a:lnTo>
                    <a:lnTo>
                      <a:pt x="91" y="10"/>
                    </a:lnTo>
                    <a:lnTo>
                      <a:pt x="78" y="18"/>
                    </a:lnTo>
                    <a:lnTo>
                      <a:pt x="66" y="25"/>
                    </a:lnTo>
                    <a:lnTo>
                      <a:pt x="55" y="34"/>
                    </a:lnTo>
                    <a:lnTo>
                      <a:pt x="44" y="43"/>
                    </a:lnTo>
                    <a:lnTo>
                      <a:pt x="34" y="53"/>
                    </a:lnTo>
                    <a:lnTo>
                      <a:pt x="25" y="65"/>
                    </a:lnTo>
                    <a:lnTo>
                      <a:pt x="18" y="78"/>
                    </a:lnTo>
                    <a:lnTo>
                      <a:pt x="12" y="91"/>
                    </a:lnTo>
                    <a:lnTo>
                      <a:pt x="7" y="104"/>
                    </a:lnTo>
                    <a:lnTo>
                      <a:pt x="4" y="119"/>
                    </a:lnTo>
                    <a:lnTo>
                      <a:pt x="1" y="134"/>
                    </a:lnTo>
                    <a:lnTo>
                      <a:pt x="0" y="148"/>
                    </a:lnTo>
                    <a:lnTo>
                      <a:pt x="150" y="148"/>
                    </a:lnTo>
                    <a:lnTo>
                      <a:pt x="1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8" name="Freeform 1483"/>
              <p:cNvSpPr>
                <a:spLocks/>
              </p:cNvSpPr>
              <p:nvPr/>
            </p:nvSpPr>
            <p:spPr bwMode="auto">
              <a:xfrm>
                <a:off x="7354892" y="-622298"/>
                <a:ext cx="56917" cy="55021"/>
              </a:xfrm>
              <a:custGeom>
                <a:avLst/>
                <a:gdLst>
                  <a:gd name="T0" fmla="*/ 0 w 149"/>
                  <a:gd name="T1" fmla="*/ 0 h 148"/>
                  <a:gd name="T2" fmla="*/ 0 w 149"/>
                  <a:gd name="T3" fmla="*/ 0 h 148"/>
                  <a:gd name="T4" fmla="*/ 0 w 149"/>
                  <a:gd name="T5" fmla="*/ 148 h 148"/>
                  <a:gd name="T6" fmla="*/ 149 w 149"/>
                  <a:gd name="T7" fmla="*/ 148 h 148"/>
                  <a:gd name="T8" fmla="*/ 149 w 149"/>
                  <a:gd name="T9" fmla="*/ 148 h 148"/>
                  <a:gd name="T10" fmla="*/ 147 w 149"/>
                  <a:gd name="T11" fmla="*/ 134 h 148"/>
                  <a:gd name="T12" fmla="*/ 146 w 149"/>
                  <a:gd name="T13" fmla="*/ 119 h 148"/>
                  <a:gd name="T14" fmla="*/ 142 w 149"/>
                  <a:gd name="T15" fmla="*/ 104 h 148"/>
                  <a:gd name="T16" fmla="*/ 136 w 149"/>
                  <a:gd name="T17" fmla="*/ 91 h 148"/>
                  <a:gd name="T18" fmla="*/ 130 w 149"/>
                  <a:gd name="T19" fmla="*/ 78 h 148"/>
                  <a:gd name="T20" fmla="*/ 123 w 149"/>
                  <a:gd name="T21" fmla="*/ 65 h 148"/>
                  <a:gd name="T22" fmla="*/ 114 w 149"/>
                  <a:gd name="T23" fmla="*/ 53 h 148"/>
                  <a:gd name="T24" fmla="*/ 105 w 149"/>
                  <a:gd name="T25" fmla="*/ 43 h 148"/>
                  <a:gd name="T26" fmla="*/ 94 w 149"/>
                  <a:gd name="T27" fmla="*/ 34 h 148"/>
                  <a:gd name="T28" fmla="*/ 83 w 149"/>
                  <a:gd name="T29" fmla="*/ 25 h 148"/>
                  <a:gd name="T30" fmla="*/ 71 w 149"/>
                  <a:gd name="T31" fmla="*/ 18 h 148"/>
                  <a:gd name="T32" fmla="*/ 57 w 149"/>
                  <a:gd name="T33" fmla="*/ 10 h 148"/>
                  <a:gd name="T34" fmla="*/ 44 w 149"/>
                  <a:gd name="T35" fmla="*/ 6 h 148"/>
                  <a:gd name="T36" fmla="*/ 29 w 149"/>
                  <a:gd name="T37" fmla="*/ 2 h 148"/>
                  <a:gd name="T38" fmla="*/ 14 w 149"/>
                  <a:gd name="T39" fmla="*/ 0 h 148"/>
                  <a:gd name="T40" fmla="*/ 0 w 149"/>
                  <a:gd name="T41"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9" h="148">
                    <a:moveTo>
                      <a:pt x="0" y="0"/>
                    </a:moveTo>
                    <a:lnTo>
                      <a:pt x="0" y="0"/>
                    </a:lnTo>
                    <a:lnTo>
                      <a:pt x="0" y="148"/>
                    </a:lnTo>
                    <a:lnTo>
                      <a:pt x="149" y="148"/>
                    </a:lnTo>
                    <a:lnTo>
                      <a:pt x="149" y="148"/>
                    </a:lnTo>
                    <a:lnTo>
                      <a:pt x="147" y="134"/>
                    </a:lnTo>
                    <a:lnTo>
                      <a:pt x="146" y="119"/>
                    </a:lnTo>
                    <a:lnTo>
                      <a:pt x="142" y="104"/>
                    </a:lnTo>
                    <a:lnTo>
                      <a:pt x="136" y="91"/>
                    </a:lnTo>
                    <a:lnTo>
                      <a:pt x="130" y="78"/>
                    </a:lnTo>
                    <a:lnTo>
                      <a:pt x="123" y="65"/>
                    </a:lnTo>
                    <a:lnTo>
                      <a:pt x="114" y="53"/>
                    </a:lnTo>
                    <a:lnTo>
                      <a:pt x="105" y="43"/>
                    </a:lnTo>
                    <a:lnTo>
                      <a:pt x="94" y="34"/>
                    </a:lnTo>
                    <a:lnTo>
                      <a:pt x="83" y="25"/>
                    </a:lnTo>
                    <a:lnTo>
                      <a:pt x="71" y="18"/>
                    </a:lnTo>
                    <a:lnTo>
                      <a:pt x="57" y="10"/>
                    </a:lnTo>
                    <a:lnTo>
                      <a:pt x="44" y="6"/>
                    </a:lnTo>
                    <a:lnTo>
                      <a:pt x="29" y="2"/>
                    </a:lnTo>
                    <a:lnTo>
                      <a:pt x="14" y="0"/>
                    </a:lnTo>
                    <a:lnTo>
                      <a:pt x="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39" name="Freeform 1484"/>
              <p:cNvSpPr>
                <a:spLocks/>
              </p:cNvSpPr>
              <p:nvPr/>
            </p:nvSpPr>
            <p:spPr bwMode="auto">
              <a:xfrm>
                <a:off x="7354892" y="-622298"/>
                <a:ext cx="56917" cy="55021"/>
              </a:xfrm>
              <a:custGeom>
                <a:avLst/>
                <a:gdLst>
                  <a:gd name="T0" fmla="*/ 0 w 149"/>
                  <a:gd name="T1" fmla="*/ 0 h 148"/>
                  <a:gd name="T2" fmla="*/ 0 w 149"/>
                  <a:gd name="T3" fmla="*/ 0 h 148"/>
                  <a:gd name="T4" fmla="*/ 0 w 149"/>
                  <a:gd name="T5" fmla="*/ 148 h 148"/>
                  <a:gd name="T6" fmla="*/ 149 w 149"/>
                  <a:gd name="T7" fmla="*/ 148 h 148"/>
                  <a:gd name="T8" fmla="*/ 149 w 149"/>
                  <a:gd name="T9" fmla="*/ 148 h 148"/>
                  <a:gd name="T10" fmla="*/ 147 w 149"/>
                  <a:gd name="T11" fmla="*/ 134 h 148"/>
                  <a:gd name="T12" fmla="*/ 146 w 149"/>
                  <a:gd name="T13" fmla="*/ 119 h 148"/>
                  <a:gd name="T14" fmla="*/ 142 w 149"/>
                  <a:gd name="T15" fmla="*/ 104 h 148"/>
                  <a:gd name="T16" fmla="*/ 136 w 149"/>
                  <a:gd name="T17" fmla="*/ 91 h 148"/>
                  <a:gd name="T18" fmla="*/ 130 w 149"/>
                  <a:gd name="T19" fmla="*/ 78 h 148"/>
                  <a:gd name="T20" fmla="*/ 123 w 149"/>
                  <a:gd name="T21" fmla="*/ 65 h 148"/>
                  <a:gd name="T22" fmla="*/ 114 w 149"/>
                  <a:gd name="T23" fmla="*/ 53 h 148"/>
                  <a:gd name="T24" fmla="*/ 105 w 149"/>
                  <a:gd name="T25" fmla="*/ 43 h 148"/>
                  <a:gd name="T26" fmla="*/ 94 w 149"/>
                  <a:gd name="T27" fmla="*/ 34 h 148"/>
                  <a:gd name="T28" fmla="*/ 83 w 149"/>
                  <a:gd name="T29" fmla="*/ 25 h 148"/>
                  <a:gd name="T30" fmla="*/ 71 w 149"/>
                  <a:gd name="T31" fmla="*/ 18 h 148"/>
                  <a:gd name="T32" fmla="*/ 57 w 149"/>
                  <a:gd name="T33" fmla="*/ 10 h 148"/>
                  <a:gd name="T34" fmla="*/ 44 w 149"/>
                  <a:gd name="T35" fmla="*/ 6 h 148"/>
                  <a:gd name="T36" fmla="*/ 29 w 149"/>
                  <a:gd name="T37" fmla="*/ 2 h 148"/>
                  <a:gd name="T38" fmla="*/ 14 w 149"/>
                  <a:gd name="T39" fmla="*/ 0 h 148"/>
                  <a:gd name="T40" fmla="*/ 0 w 149"/>
                  <a:gd name="T41"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9" h="148">
                    <a:moveTo>
                      <a:pt x="0" y="0"/>
                    </a:moveTo>
                    <a:lnTo>
                      <a:pt x="0" y="0"/>
                    </a:lnTo>
                    <a:lnTo>
                      <a:pt x="0" y="148"/>
                    </a:lnTo>
                    <a:lnTo>
                      <a:pt x="149" y="148"/>
                    </a:lnTo>
                    <a:lnTo>
                      <a:pt x="149" y="148"/>
                    </a:lnTo>
                    <a:lnTo>
                      <a:pt x="147" y="134"/>
                    </a:lnTo>
                    <a:lnTo>
                      <a:pt x="146" y="119"/>
                    </a:lnTo>
                    <a:lnTo>
                      <a:pt x="142" y="104"/>
                    </a:lnTo>
                    <a:lnTo>
                      <a:pt x="136" y="91"/>
                    </a:lnTo>
                    <a:lnTo>
                      <a:pt x="130" y="78"/>
                    </a:lnTo>
                    <a:lnTo>
                      <a:pt x="123" y="65"/>
                    </a:lnTo>
                    <a:lnTo>
                      <a:pt x="114" y="53"/>
                    </a:lnTo>
                    <a:lnTo>
                      <a:pt x="105" y="43"/>
                    </a:lnTo>
                    <a:lnTo>
                      <a:pt x="94" y="34"/>
                    </a:lnTo>
                    <a:lnTo>
                      <a:pt x="83" y="25"/>
                    </a:lnTo>
                    <a:lnTo>
                      <a:pt x="71" y="18"/>
                    </a:lnTo>
                    <a:lnTo>
                      <a:pt x="57" y="10"/>
                    </a:lnTo>
                    <a:lnTo>
                      <a:pt x="44" y="6"/>
                    </a:lnTo>
                    <a:lnTo>
                      <a:pt x="29" y="2"/>
                    </a:lnTo>
                    <a:lnTo>
                      <a:pt x="1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0" name="Freeform 1485"/>
              <p:cNvSpPr>
                <a:spLocks/>
              </p:cNvSpPr>
              <p:nvPr/>
            </p:nvSpPr>
            <p:spPr bwMode="auto">
              <a:xfrm>
                <a:off x="7354892" y="-567275"/>
                <a:ext cx="56917" cy="56917"/>
              </a:xfrm>
              <a:custGeom>
                <a:avLst/>
                <a:gdLst>
                  <a:gd name="T0" fmla="*/ 149 w 149"/>
                  <a:gd name="T1" fmla="*/ 0 h 150"/>
                  <a:gd name="T2" fmla="*/ 0 w 149"/>
                  <a:gd name="T3" fmla="*/ 0 h 150"/>
                  <a:gd name="T4" fmla="*/ 0 w 149"/>
                  <a:gd name="T5" fmla="*/ 150 h 150"/>
                  <a:gd name="T6" fmla="*/ 0 w 149"/>
                  <a:gd name="T7" fmla="*/ 150 h 150"/>
                  <a:gd name="T8" fmla="*/ 0 w 149"/>
                  <a:gd name="T9" fmla="*/ 150 h 150"/>
                  <a:gd name="T10" fmla="*/ 14 w 149"/>
                  <a:gd name="T11" fmla="*/ 149 h 150"/>
                  <a:gd name="T12" fmla="*/ 29 w 149"/>
                  <a:gd name="T13" fmla="*/ 147 h 150"/>
                  <a:gd name="T14" fmla="*/ 44 w 149"/>
                  <a:gd name="T15" fmla="*/ 143 h 150"/>
                  <a:gd name="T16" fmla="*/ 57 w 149"/>
                  <a:gd name="T17" fmla="*/ 138 h 150"/>
                  <a:gd name="T18" fmla="*/ 71 w 149"/>
                  <a:gd name="T19" fmla="*/ 132 h 150"/>
                  <a:gd name="T20" fmla="*/ 83 w 149"/>
                  <a:gd name="T21" fmla="*/ 125 h 150"/>
                  <a:gd name="T22" fmla="*/ 94 w 149"/>
                  <a:gd name="T23" fmla="*/ 116 h 150"/>
                  <a:gd name="T24" fmla="*/ 105 w 149"/>
                  <a:gd name="T25" fmla="*/ 106 h 150"/>
                  <a:gd name="T26" fmla="*/ 114 w 149"/>
                  <a:gd name="T27" fmla="*/ 95 h 150"/>
                  <a:gd name="T28" fmla="*/ 123 w 149"/>
                  <a:gd name="T29" fmla="*/ 84 h 150"/>
                  <a:gd name="T30" fmla="*/ 130 w 149"/>
                  <a:gd name="T31" fmla="*/ 72 h 150"/>
                  <a:gd name="T32" fmla="*/ 136 w 149"/>
                  <a:gd name="T33" fmla="*/ 59 h 150"/>
                  <a:gd name="T34" fmla="*/ 142 w 149"/>
                  <a:gd name="T35" fmla="*/ 45 h 150"/>
                  <a:gd name="T36" fmla="*/ 146 w 149"/>
                  <a:gd name="T37" fmla="*/ 31 h 150"/>
                  <a:gd name="T38" fmla="*/ 147 w 149"/>
                  <a:gd name="T39" fmla="*/ 16 h 150"/>
                  <a:gd name="T40" fmla="*/ 149 w 149"/>
                  <a:gd name="T41" fmla="*/ 0 h 150"/>
                  <a:gd name="T42" fmla="*/ 149 w 149"/>
                  <a:gd name="T43" fmla="*/ 0 h 150"/>
                  <a:gd name="T44" fmla="*/ 149 w 149"/>
                  <a:gd name="T45"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9" h="150">
                    <a:moveTo>
                      <a:pt x="149" y="0"/>
                    </a:moveTo>
                    <a:lnTo>
                      <a:pt x="0" y="0"/>
                    </a:lnTo>
                    <a:lnTo>
                      <a:pt x="0" y="150"/>
                    </a:lnTo>
                    <a:lnTo>
                      <a:pt x="0" y="150"/>
                    </a:lnTo>
                    <a:lnTo>
                      <a:pt x="0" y="150"/>
                    </a:lnTo>
                    <a:lnTo>
                      <a:pt x="14" y="149"/>
                    </a:lnTo>
                    <a:lnTo>
                      <a:pt x="29" y="147"/>
                    </a:lnTo>
                    <a:lnTo>
                      <a:pt x="44" y="143"/>
                    </a:lnTo>
                    <a:lnTo>
                      <a:pt x="57" y="138"/>
                    </a:lnTo>
                    <a:lnTo>
                      <a:pt x="71" y="132"/>
                    </a:lnTo>
                    <a:lnTo>
                      <a:pt x="83" y="125"/>
                    </a:lnTo>
                    <a:lnTo>
                      <a:pt x="94" y="116"/>
                    </a:lnTo>
                    <a:lnTo>
                      <a:pt x="105" y="106"/>
                    </a:lnTo>
                    <a:lnTo>
                      <a:pt x="114" y="95"/>
                    </a:lnTo>
                    <a:lnTo>
                      <a:pt x="123" y="84"/>
                    </a:lnTo>
                    <a:lnTo>
                      <a:pt x="130" y="72"/>
                    </a:lnTo>
                    <a:lnTo>
                      <a:pt x="136" y="59"/>
                    </a:lnTo>
                    <a:lnTo>
                      <a:pt x="142" y="45"/>
                    </a:lnTo>
                    <a:lnTo>
                      <a:pt x="146" y="31"/>
                    </a:lnTo>
                    <a:lnTo>
                      <a:pt x="147" y="16"/>
                    </a:lnTo>
                    <a:lnTo>
                      <a:pt x="149" y="0"/>
                    </a:lnTo>
                    <a:lnTo>
                      <a:pt x="149" y="0"/>
                    </a:lnTo>
                    <a:lnTo>
                      <a:pt x="149" y="0"/>
                    </a:lnTo>
                    <a:close/>
                  </a:path>
                </a:pathLst>
              </a:custGeom>
              <a:solidFill>
                <a:srgbClr val="A7A7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1" name="Freeform 1486"/>
              <p:cNvSpPr>
                <a:spLocks/>
              </p:cNvSpPr>
              <p:nvPr/>
            </p:nvSpPr>
            <p:spPr bwMode="auto">
              <a:xfrm>
                <a:off x="7354892" y="-567275"/>
                <a:ext cx="56917" cy="56917"/>
              </a:xfrm>
              <a:custGeom>
                <a:avLst/>
                <a:gdLst>
                  <a:gd name="T0" fmla="*/ 149 w 149"/>
                  <a:gd name="T1" fmla="*/ 0 h 150"/>
                  <a:gd name="T2" fmla="*/ 0 w 149"/>
                  <a:gd name="T3" fmla="*/ 0 h 150"/>
                  <a:gd name="T4" fmla="*/ 0 w 149"/>
                  <a:gd name="T5" fmla="*/ 150 h 150"/>
                  <a:gd name="T6" fmla="*/ 0 w 149"/>
                  <a:gd name="T7" fmla="*/ 150 h 150"/>
                  <a:gd name="T8" fmla="*/ 0 w 149"/>
                  <a:gd name="T9" fmla="*/ 150 h 150"/>
                  <a:gd name="T10" fmla="*/ 14 w 149"/>
                  <a:gd name="T11" fmla="*/ 149 h 150"/>
                  <a:gd name="T12" fmla="*/ 29 w 149"/>
                  <a:gd name="T13" fmla="*/ 147 h 150"/>
                  <a:gd name="T14" fmla="*/ 44 w 149"/>
                  <a:gd name="T15" fmla="*/ 143 h 150"/>
                  <a:gd name="T16" fmla="*/ 57 w 149"/>
                  <a:gd name="T17" fmla="*/ 138 h 150"/>
                  <a:gd name="T18" fmla="*/ 71 w 149"/>
                  <a:gd name="T19" fmla="*/ 132 h 150"/>
                  <a:gd name="T20" fmla="*/ 83 w 149"/>
                  <a:gd name="T21" fmla="*/ 125 h 150"/>
                  <a:gd name="T22" fmla="*/ 94 w 149"/>
                  <a:gd name="T23" fmla="*/ 116 h 150"/>
                  <a:gd name="T24" fmla="*/ 105 w 149"/>
                  <a:gd name="T25" fmla="*/ 106 h 150"/>
                  <a:gd name="T26" fmla="*/ 114 w 149"/>
                  <a:gd name="T27" fmla="*/ 95 h 150"/>
                  <a:gd name="T28" fmla="*/ 123 w 149"/>
                  <a:gd name="T29" fmla="*/ 84 h 150"/>
                  <a:gd name="T30" fmla="*/ 130 w 149"/>
                  <a:gd name="T31" fmla="*/ 72 h 150"/>
                  <a:gd name="T32" fmla="*/ 136 w 149"/>
                  <a:gd name="T33" fmla="*/ 59 h 150"/>
                  <a:gd name="T34" fmla="*/ 142 w 149"/>
                  <a:gd name="T35" fmla="*/ 45 h 150"/>
                  <a:gd name="T36" fmla="*/ 146 w 149"/>
                  <a:gd name="T37" fmla="*/ 31 h 150"/>
                  <a:gd name="T38" fmla="*/ 147 w 149"/>
                  <a:gd name="T39" fmla="*/ 16 h 150"/>
                  <a:gd name="T40" fmla="*/ 149 w 149"/>
                  <a:gd name="T41" fmla="*/ 0 h 150"/>
                  <a:gd name="T42" fmla="*/ 149 w 149"/>
                  <a:gd name="T43" fmla="*/ 0 h 150"/>
                  <a:gd name="T44" fmla="*/ 149 w 149"/>
                  <a:gd name="T45"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9" h="150">
                    <a:moveTo>
                      <a:pt x="149" y="0"/>
                    </a:moveTo>
                    <a:lnTo>
                      <a:pt x="0" y="0"/>
                    </a:lnTo>
                    <a:lnTo>
                      <a:pt x="0" y="150"/>
                    </a:lnTo>
                    <a:lnTo>
                      <a:pt x="0" y="150"/>
                    </a:lnTo>
                    <a:lnTo>
                      <a:pt x="0" y="150"/>
                    </a:lnTo>
                    <a:lnTo>
                      <a:pt x="14" y="149"/>
                    </a:lnTo>
                    <a:lnTo>
                      <a:pt x="29" y="147"/>
                    </a:lnTo>
                    <a:lnTo>
                      <a:pt x="44" y="143"/>
                    </a:lnTo>
                    <a:lnTo>
                      <a:pt x="57" y="138"/>
                    </a:lnTo>
                    <a:lnTo>
                      <a:pt x="71" y="132"/>
                    </a:lnTo>
                    <a:lnTo>
                      <a:pt x="83" y="125"/>
                    </a:lnTo>
                    <a:lnTo>
                      <a:pt x="94" y="116"/>
                    </a:lnTo>
                    <a:lnTo>
                      <a:pt x="105" y="106"/>
                    </a:lnTo>
                    <a:lnTo>
                      <a:pt x="114" y="95"/>
                    </a:lnTo>
                    <a:lnTo>
                      <a:pt x="123" y="84"/>
                    </a:lnTo>
                    <a:lnTo>
                      <a:pt x="130" y="72"/>
                    </a:lnTo>
                    <a:lnTo>
                      <a:pt x="136" y="59"/>
                    </a:lnTo>
                    <a:lnTo>
                      <a:pt x="142" y="45"/>
                    </a:lnTo>
                    <a:lnTo>
                      <a:pt x="146" y="31"/>
                    </a:lnTo>
                    <a:lnTo>
                      <a:pt x="147" y="16"/>
                    </a:lnTo>
                    <a:lnTo>
                      <a:pt x="149" y="0"/>
                    </a:lnTo>
                    <a:lnTo>
                      <a:pt x="149" y="0"/>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2" name="Freeform 1487"/>
              <p:cNvSpPr>
                <a:spLocks/>
              </p:cNvSpPr>
              <p:nvPr/>
            </p:nvSpPr>
            <p:spPr bwMode="auto">
              <a:xfrm>
                <a:off x="7297975" y="-567275"/>
                <a:ext cx="56917" cy="56917"/>
              </a:xfrm>
              <a:custGeom>
                <a:avLst/>
                <a:gdLst>
                  <a:gd name="T0" fmla="*/ 150 w 150"/>
                  <a:gd name="T1" fmla="*/ 0 h 150"/>
                  <a:gd name="T2" fmla="*/ 150 w 150"/>
                  <a:gd name="T3" fmla="*/ 0 h 150"/>
                  <a:gd name="T4" fmla="*/ 0 w 150"/>
                  <a:gd name="T5" fmla="*/ 0 h 150"/>
                  <a:gd name="T6" fmla="*/ 0 w 150"/>
                  <a:gd name="T7" fmla="*/ 0 h 150"/>
                  <a:gd name="T8" fmla="*/ 0 w 150"/>
                  <a:gd name="T9" fmla="*/ 0 h 150"/>
                  <a:gd name="T10" fmla="*/ 0 w 150"/>
                  <a:gd name="T11" fmla="*/ 0 h 150"/>
                  <a:gd name="T12" fmla="*/ 1 w 150"/>
                  <a:gd name="T13" fmla="*/ 16 h 150"/>
                  <a:gd name="T14" fmla="*/ 4 w 150"/>
                  <a:gd name="T15" fmla="*/ 31 h 150"/>
                  <a:gd name="T16" fmla="*/ 7 w 150"/>
                  <a:gd name="T17" fmla="*/ 45 h 150"/>
                  <a:gd name="T18" fmla="*/ 12 w 150"/>
                  <a:gd name="T19" fmla="*/ 59 h 150"/>
                  <a:gd name="T20" fmla="*/ 18 w 150"/>
                  <a:gd name="T21" fmla="*/ 72 h 150"/>
                  <a:gd name="T22" fmla="*/ 25 w 150"/>
                  <a:gd name="T23" fmla="*/ 84 h 150"/>
                  <a:gd name="T24" fmla="*/ 34 w 150"/>
                  <a:gd name="T25" fmla="*/ 95 h 150"/>
                  <a:gd name="T26" fmla="*/ 44 w 150"/>
                  <a:gd name="T27" fmla="*/ 106 h 150"/>
                  <a:gd name="T28" fmla="*/ 55 w 150"/>
                  <a:gd name="T29" fmla="*/ 116 h 150"/>
                  <a:gd name="T30" fmla="*/ 66 w 150"/>
                  <a:gd name="T31" fmla="*/ 125 h 150"/>
                  <a:gd name="T32" fmla="*/ 78 w 150"/>
                  <a:gd name="T33" fmla="*/ 132 h 150"/>
                  <a:gd name="T34" fmla="*/ 91 w 150"/>
                  <a:gd name="T35" fmla="*/ 138 h 150"/>
                  <a:gd name="T36" fmla="*/ 105 w 150"/>
                  <a:gd name="T37" fmla="*/ 143 h 150"/>
                  <a:gd name="T38" fmla="*/ 119 w 150"/>
                  <a:gd name="T39" fmla="*/ 147 h 150"/>
                  <a:gd name="T40" fmla="*/ 134 w 150"/>
                  <a:gd name="T41" fmla="*/ 149 h 150"/>
                  <a:gd name="T42" fmla="*/ 150 w 150"/>
                  <a:gd name="T43" fmla="*/ 150 h 150"/>
                  <a:gd name="T44" fmla="*/ 150 w 150"/>
                  <a:gd name="T45"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0" h="150">
                    <a:moveTo>
                      <a:pt x="150" y="0"/>
                    </a:moveTo>
                    <a:lnTo>
                      <a:pt x="150" y="0"/>
                    </a:lnTo>
                    <a:lnTo>
                      <a:pt x="0" y="0"/>
                    </a:lnTo>
                    <a:lnTo>
                      <a:pt x="0" y="0"/>
                    </a:lnTo>
                    <a:lnTo>
                      <a:pt x="0" y="0"/>
                    </a:lnTo>
                    <a:lnTo>
                      <a:pt x="0" y="0"/>
                    </a:lnTo>
                    <a:lnTo>
                      <a:pt x="1" y="16"/>
                    </a:lnTo>
                    <a:lnTo>
                      <a:pt x="4" y="31"/>
                    </a:lnTo>
                    <a:lnTo>
                      <a:pt x="7" y="45"/>
                    </a:lnTo>
                    <a:lnTo>
                      <a:pt x="12" y="59"/>
                    </a:lnTo>
                    <a:lnTo>
                      <a:pt x="18" y="72"/>
                    </a:lnTo>
                    <a:lnTo>
                      <a:pt x="25" y="84"/>
                    </a:lnTo>
                    <a:lnTo>
                      <a:pt x="34" y="95"/>
                    </a:lnTo>
                    <a:lnTo>
                      <a:pt x="44" y="106"/>
                    </a:lnTo>
                    <a:lnTo>
                      <a:pt x="55" y="116"/>
                    </a:lnTo>
                    <a:lnTo>
                      <a:pt x="66" y="125"/>
                    </a:lnTo>
                    <a:lnTo>
                      <a:pt x="78" y="132"/>
                    </a:lnTo>
                    <a:lnTo>
                      <a:pt x="91" y="138"/>
                    </a:lnTo>
                    <a:lnTo>
                      <a:pt x="105" y="143"/>
                    </a:lnTo>
                    <a:lnTo>
                      <a:pt x="119" y="147"/>
                    </a:lnTo>
                    <a:lnTo>
                      <a:pt x="134" y="149"/>
                    </a:lnTo>
                    <a:lnTo>
                      <a:pt x="150" y="150"/>
                    </a:lnTo>
                    <a:lnTo>
                      <a:pt x="150" y="0"/>
                    </a:lnTo>
                    <a:close/>
                  </a:path>
                </a:pathLst>
              </a:custGeom>
              <a:solidFill>
                <a:srgbClr val="848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3" name="Freeform 1488"/>
              <p:cNvSpPr>
                <a:spLocks/>
              </p:cNvSpPr>
              <p:nvPr/>
            </p:nvSpPr>
            <p:spPr bwMode="auto">
              <a:xfrm>
                <a:off x="7297975" y="-567275"/>
                <a:ext cx="56917" cy="56917"/>
              </a:xfrm>
              <a:custGeom>
                <a:avLst/>
                <a:gdLst>
                  <a:gd name="T0" fmla="*/ 150 w 150"/>
                  <a:gd name="T1" fmla="*/ 0 h 150"/>
                  <a:gd name="T2" fmla="*/ 150 w 150"/>
                  <a:gd name="T3" fmla="*/ 0 h 150"/>
                  <a:gd name="T4" fmla="*/ 0 w 150"/>
                  <a:gd name="T5" fmla="*/ 0 h 150"/>
                  <a:gd name="T6" fmla="*/ 0 w 150"/>
                  <a:gd name="T7" fmla="*/ 0 h 150"/>
                  <a:gd name="T8" fmla="*/ 0 w 150"/>
                  <a:gd name="T9" fmla="*/ 0 h 150"/>
                  <a:gd name="T10" fmla="*/ 0 w 150"/>
                  <a:gd name="T11" fmla="*/ 0 h 150"/>
                  <a:gd name="T12" fmla="*/ 1 w 150"/>
                  <a:gd name="T13" fmla="*/ 16 h 150"/>
                  <a:gd name="T14" fmla="*/ 4 w 150"/>
                  <a:gd name="T15" fmla="*/ 31 h 150"/>
                  <a:gd name="T16" fmla="*/ 7 w 150"/>
                  <a:gd name="T17" fmla="*/ 45 h 150"/>
                  <a:gd name="T18" fmla="*/ 12 w 150"/>
                  <a:gd name="T19" fmla="*/ 59 h 150"/>
                  <a:gd name="T20" fmla="*/ 18 w 150"/>
                  <a:gd name="T21" fmla="*/ 72 h 150"/>
                  <a:gd name="T22" fmla="*/ 25 w 150"/>
                  <a:gd name="T23" fmla="*/ 84 h 150"/>
                  <a:gd name="T24" fmla="*/ 34 w 150"/>
                  <a:gd name="T25" fmla="*/ 95 h 150"/>
                  <a:gd name="T26" fmla="*/ 44 w 150"/>
                  <a:gd name="T27" fmla="*/ 106 h 150"/>
                  <a:gd name="T28" fmla="*/ 55 w 150"/>
                  <a:gd name="T29" fmla="*/ 116 h 150"/>
                  <a:gd name="T30" fmla="*/ 66 w 150"/>
                  <a:gd name="T31" fmla="*/ 125 h 150"/>
                  <a:gd name="T32" fmla="*/ 78 w 150"/>
                  <a:gd name="T33" fmla="*/ 132 h 150"/>
                  <a:gd name="T34" fmla="*/ 91 w 150"/>
                  <a:gd name="T35" fmla="*/ 138 h 150"/>
                  <a:gd name="T36" fmla="*/ 105 w 150"/>
                  <a:gd name="T37" fmla="*/ 143 h 150"/>
                  <a:gd name="T38" fmla="*/ 119 w 150"/>
                  <a:gd name="T39" fmla="*/ 147 h 150"/>
                  <a:gd name="T40" fmla="*/ 134 w 150"/>
                  <a:gd name="T41" fmla="*/ 149 h 150"/>
                  <a:gd name="T42" fmla="*/ 150 w 150"/>
                  <a:gd name="T43" fmla="*/ 150 h 150"/>
                  <a:gd name="T44" fmla="*/ 150 w 150"/>
                  <a:gd name="T45"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0" h="150">
                    <a:moveTo>
                      <a:pt x="150" y="0"/>
                    </a:moveTo>
                    <a:lnTo>
                      <a:pt x="150" y="0"/>
                    </a:lnTo>
                    <a:lnTo>
                      <a:pt x="0" y="0"/>
                    </a:lnTo>
                    <a:lnTo>
                      <a:pt x="0" y="0"/>
                    </a:lnTo>
                    <a:lnTo>
                      <a:pt x="0" y="0"/>
                    </a:lnTo>
                    <a:lnTo>
                      <a:pt x="0" y="0"/>
                    </a:lnTo>
                    <a:lnTo>
                      <a:pt x="1" y="16"/>
                    </a:lnTo>
                    <a:lnTo>
                      <a:pt x="4" y="31"/>
                    </a:lnTo>
                    <a:lnTo>
                      <a:pt x="7" y="45"/>
                    </a:lnTo>
                    <a:lnTo>
                      <a:pt x="12" y="59"/>
                    </a:lnTo>
                    <a:lnTo>
                      <a:pt x="18" y="72"/>
                    </a:lnTo>
                    <a:lnTo>
                      <a:pt x="25" y="84"/>
                    </a:lnTo>
                    <a:lnTo>
                      <a:pt x="34" y="95"/>
                    </a:lnTo>
                    <a:lnTo>
                      <a:pt x="44" y="106"/>
                    </a:lnTo>
                    <a:lnTo>
                      <a:pt x="55" y="116"/>
                    </a:lnTo>
                    <a:lnTo>
                      <a:pt x="66" y="125"/>
                    </a:lnTo>
                    <a:lnTo>
                      <a:pt x="78" y="132"/>
                    </a:lnTo>
                    <a:lnTo>
                      <a:pt x="91" y="138"/>
                    </a:lnTo>
                    <a:lnTo>
                      <a:pt x="105" y="143"/>
                    </a:lnTo>
                    <a:lnTo>
                      <a:pt x="119" y="147"/>
                    </a:lnTo>
                    <a:lnTo>
                      <a:pt x="134" y="149"/>
                    </a:lnTo>
                    <a:lnTo>
                      <a:pt x="150" y="150"/>
                    </a:lnTo>
                    <a:lnTo>
                      <a:pt x="1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4" name="Freeform 1489"/>
              <p:cNvSpPr>
                <a:spLocks/>
              </p:cNvSpPr>
              <p:nvPr/>
            </p:nvSpPr>
            <p:spPr bwMode="auto">
              <a:xfrm>
                <a:off x="7307459" y="-614709"/>
                <a:ext cx="94863" cy="96760"/>
              </a:xfrm>
              <a:custGeom>
                <a:avLst/>
                <a:gdLst>
                  <a:gd name="T0" fmla="*/ 0 w 252"/>
                  <a:gd name="T1" fmla="*/ 125 h 252"/>
                  <a:gd name="T2" fmla="*/ 2 w 252"/>
                  <a:gd name="T3" fmla="*/ 151 h 252"/>
                  <a:gd name="T4" fmla="*/ 10 w 252"/>
                  <a:gd name="T5" fmla="*/ 175 h 252"/>
                  <a:gd name="T6" fmla="*/ 22 w 252"/>
                  <a:gd name="T7" fmla="*/ 196 h 252"/>
                  <a:gd name="T8" fmla="*/ 37 w 252"/>
                  <a:gd name="T9" fmla="*/ 215 h 252"/>
                  <a:gd name="T10" fmla="*/ 56 w 252"/>
                  <a:gd name="T11" fmla="*/ 230 h 252"/>
                  <a:gd name="T12" fmla="*/ 77 w 252"/>
                  <a:gd name="T13" fmla="*/ 242 h 252"/>
                  <a:gd name="T14" fmla="*/ 101 w 252"/>
                  <a:gd name="T15" fmla="*/ 250 h 252"/>
                  <a:gd name="T16" fmla="*/ 127 w 252"/>
                  <a:gd name="T17" fmla="*/ 252 h 252"/>
                  <a:gd name="T18" fmla="*/ 139 w 252"/>
                  <a:gd name="T19" fmla="*/ 251 h 252"/>
                  <a:gd name="T20" fmla="*/ 163 w 252"/>
                  <a:gd name="T21" fmla="*/ 246 h 252"/>
                  <a:gd name="T22" fmla="*/ 187 w 252"/>
                  <a:gd name="T23" fmla="*/ 236 h 252"/>
                  <a:gd name="T24" fmla="*/ 207 w 252"/>
                  <a:gd name="T25" fmla="*/ 223 h 252"/>
                  <a:gd name="T26" fmla="*/ 224 w 252"/>
                  <a:gd name="T27" fmla="*/ 206 h 252"/>
                  <a:gd name="T28" fmla="*/ 238 w 252"/>
                  <a:gd name="T29" fmla="*/ 186 h 252"/>
                  <a:gd name="T30" fmla="*/ 248 w 252"/>
                  <a:gd name="T31" fmla="*/ 163 h 252"/>
                  <a:gd name="T32" fmla="*/ 252 w 252"/>
                  <a:gd name="T33" fmla="*/ 139 h 252"/>
                  <a:gd name="T34" fmla="*/ 252 w 252"/>
                  <a:gd name="T35" fmla="*/ 125 h 252"/>
                  <a:gd name="T36" fmla="*/ 250 w 252"/>
                  <a:gd name="T37" fmla="*/ 100 h 252"/>
                  <a:gd name="T38" fmla="*/ 243 w 252"/>
                  <a:gd name="T39" fmla="*/ 76 h 252"/>
                  <a:gd name="T40" fmla="*/ 232 w 252"/>
                  <a:gd name="T41" fmla="*/ 55 h 252"/>
                  <a:gd name="T42" fmla="*/ 216 w 252"/>
                  <a:gd name="T43" fmla="*/ 36 h 252"/>
                  <a:gd name="T44" fmla="*/ 198 w 252"/>
                  <a:gd name="T45" fmla="*/ 20 h 252"/>
                  <a:gd name="T46" fmla="*/ 176 w 252"/>
                  <a:gd name="T47" fmla="*/ 9 h 252"/>
                  <a:gd name="T48" fmla="*/ 152 w 252"/>
                  <a:gd name="T49" fmla="*/ 2 h 252"/>
                  <a:gd name="T50" fmla="*/ 127 w 252"/>
                  <a:gd name="T51" fmla="*/ 0 h 252"/>
                  <a:gd name="T52" fmla="*/ 113 w 252"/>
                  <a:gd name="T53" fmla="*/ 0 h 252"/>
                  <a:gd name="T54" fmla="*/ 89 w 252"/>
                  <a:gd name="T55" fmla="*/ 5 h 252"/>
                  <a:gd name="T56" fmla="*/ 66 w 252"/>
                  <a:gd name="T57" fmla="*/ 14 h 252"/>
                  <a:gd name="T58" fmla="*/ 46 w 252"/>
                  <a:gd name="T59" fmla="*/ 28 h 252"/>
                  <a:gd name="T60" fmla="*/ 29 w 252"/>
                  <a:gd name="T61" fmla="*/ 45 h 252"/>
                  <a:gd name="T62" fmla="*/ 15 w 252"/>
                  <a:gd name="T63" fmla="*/ 66 h 252"/>
                  <a:gd name="T64" fmla="*/ 6 w 252"/>
                  <a:gd name="T65" fmla="*/ 87 h 252"/>
                  <a:gd name="T66" fmla="*/ 0 w 252"/>
                  <a:gd name="T67" fmla="*/ 113 h 252"/>
                  <a:gd name="T68" fmla="*/ 0 w 252"/>
                  <a:gd name="T69" fmla="*/ 125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2" h="252">
                    <a:moveTo>
                      <a:pt x="0" y="125"/>
                    </a:moveTo>
                    <a:lnTo>
                      <a:pt x="0" y="125"/>
                    </a:lnTo>
                    <a:lnTo>
                      <a:pt x="0" y="139"/>
                    </a:lnTo>
                    <a:lnTo>
                      <a:pt x="2" y="151"/>
                    </a:lnTo>
                    <a:lnTo>
                      <a:pt x="6" y="163"/>
                    </a:lnTo>
                    <a:lnTo>
                      <a:pt x="10" y="175"/>
                    </a:lnTo>
                    <a:lnTo>
                      <a:pt x="15" y="186"/>
                    </a:lnTo>
                    <a:lnTo>
                      <a:pt x="22" y="196"/>
                    </a:lnTo>
                    <a:lnTo>
                      <a:pt x="29" y="206"/>
                    </a:lnTo>
                    <a:lnTo>
                      <a:pt x="37" y="215"/>
                    </a:lnTo>
                    <a:lnTo>
                      <a:pt x="46" y="223"/>
                    </a:lnTo>
                    <a:lnTo>
                      <a:pt x="56" y="230"/>
                    </a:lnTo>
                    <a:lnTo>
                      <a:pt x="66" y="236"/>
                    </a:lnTo>
                    <a:lnTo>
                      <a:pt x="77" y="242"/>
                    </a:lnTo>
                    <a:lnTo>
                      <a:pt x="89" y="246"/>
                    </a:lnTo>
                    <a:lnTo>
                      <a:pt x="101" y="250"/>
                    </a:lnTo>
                    <a:lnTo>
                      <a:pt x="113" y="251"/>
                    </a:lnTo>
                    <a:lnTo>
                      <a:pt x="127" y="252"/>
                    </a:lnTo>
                    <a:lnTo>
                      <a:pt x="127" y="252"/>
                    </a:lnTo>
                    <a:lnTo>
                      <a:pt x="139" y="251"/>
                    </a:lnTo>
                    <a:lnTo>
                      <a:pt x="152" y="250"/>
                    </a:lnTo>
                    <a:lnTo>
                      <a:pt x="163" y="246"/>
                    </a:lnTo>
                    <a:lnTo>
                      <a:pt x="176" y="242"/>
                    </a:lnTo>
                    <a:lnTo>
                      <a:pt x="187" y="236"/>
                    </a:lnTo>
                    <a:lnTo>
                      <a:pt x="198" y="230"/>
                    </a:lnTo>
                    <a:lnTo>
                      <a:pt x="207" y="223"/>
                    </a:lnTo>
                    <a:lnTo>
                      <a:pt x="216" y="215"/>
                    </a:lnTo>
                    <a:lnTo>
                      <a:pt x="224" y="206"/>
                    </a:lnTo>
                    <a:lnTo>
                      <a:pt x="232" y="196"/>
                    </a:lnTo>
                    <a:lnTo>
                      <a:pt x="238" y="186"/>
                    </a:lnTo>
                    <a:lnTo>
                      <a:pt x="243" y="175"/>
                    </a:lnTo>
                    <a:lnTo>
                      <a:pt x="248" y="163"/>
                    </a:lnTo>
                    <a:lnTo>
                      <a:pt x="250" y="151"/>
                    </a:lnTo>
                    <a:lnTo>
                      <a:pt x="252" y="139"/>
                    </a:lnTo>
                    <a:lnTo>
                      <a:pt x="252" y="125"/>
                    </a:lnTo>
                    <a:lnTo>
                      <a:pt x="252" y="125"/>
                    </a:lnTo>
                    <a:lnTo>
                      <a:pt x="252" y="113"/>
                    </a:lnTo>
                    <a:lnTo>
                      <a:pt x="250" y="100"/>
                    </a:lnTo>
                    <a:lnTo>
                      <a:pt x="248" y="87"/>
                    </a:lnTo>
                    <a:lnTo>
                      <a:pt x="243" y="76"/>
                    </a:lnTo>
                    <a:lnTo>
                      <a:pt x="238" y="66"/>
                    </a:lnTo>
                    <a:lnTo>
                      <a:pt x="232" y="55"/>
                    </a:lnTo>
                    <a:lnTo>
                      <a:pt x="224" y="45"/>
                    </a:lnTo>
                    <a:lnTo>
                      <a:pt x="216" y="36"/>
                    </a:lnTo>
                    <a:lnTo>
                      <a:pt x="207" y="28"/>
                    </a:lnTo>
                    <a:lnTo>
                      <a:pt x="198" y="20"/>
                    </a:lnTo>
                    <a:lnTo>
                      <a:pt x="187" y="14"/>
                    </a:lnTo>
                    <a:lnTo>
                      <a:pt x="176" y="9"/>
                    </a:lnTo>
                    <a:lnTo>
                      <a:pt x="163" y="5"/>
                    </a:lnTo>
                    <a:lnTo>
                      <a:pt x="152" y="2"/>
                    </a:lnTo>
                    <a:lnTo>
                      <a:pt x="139" y="0"/>
                    </a:lnTo>
                    <a:lnTo>
                      <a:pt x="127" y="0"/>
                    </a:lnTo>
                    <a:lnTo>
                      <a:pt x="127" y="0"/>
                    </a:lnTo>
                    <a:lnTo>
                      <a:pt x="113" y="0"/>
                    </a:lnTo>
                    <a:lnTo>
                      <a:pt x="101" y="2"/>
                    </a:lnTo>
                    <a:lnTo>
                      <a:pt x="89" y="5"/>
                    </a:lnTo>
                    <a:lnTo>
                      <a:pt x="77" y="9"/>
                    </a:lnTo>
                    <a:lnTo>
                      <a:pt x="66" y="14"/>
                    </a:lnTo>
                    <a:lnTo>
                      <a:pt x="56" y="20"/>
                    </a:lnTo>
                    <a:lnTo>
                      <a:pt x="46" y="28"/>
                    </a:lnTo>
                    <a:lnTo>
                      <a:pt x="37" y="36"/>
                    </a:lnTo>
                    <a:lnTo>
                      <a:pt x="29" y="45"/>
                    </a:lnTo>
                    <a:lnTo>
                      <a:pt x="22" y="55"/>
                    </a:lnTo>
                    <a:lnTo>
                      <a:pt x="15" y="66"/>
                    </a:lnTo>
                    <a:lnTo>
                      <a:pt x="10" y="76"/>
                    </a:lnTo>
                    <a:lnTo>
                      <a:pt x="6" y="87"/>
                    </a:lnTo>
                    <a:lnTo>
                      <a:pt x="2" y="100"/>
                    </a:lnTo>
                    <a:lnTo>
                      <a:pt x="0" y="113"/>
                    </a:lnTo>
                    <a:lnTo>
                      <a:pt x="0" y="125"/>
                    </a:lnTo>
                    <a:lnTo>
                      <a:pt x="0" y="125"/>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5" name="Freeform 1490"/>
              <p:cNvSpPr>
                <a:spLocks/>
              </p:cNvSpPr>
              <p:nvPr/>
            </p:nvSpPr>
            <p:spPr bwMode="auto">
              <a:xfrm>
                <a:off x="6882477" y="-686804"/>
                <a:ext cx="121423" cy="119527"/>
              </a:xfrm>
              <a:custGeom>
                <a:avLst/>
                <a:gdLst>
                  <a:gd name="T0" fmla="*/ 0 w 320"/>
                  <a:gd name="T1" fmla="*/ 318 h 318"/>
                  <a:gd name="T2" fmla="*/ 0 w 320"/>
                  <a:gd name="T3" fmla="*/ 318 h 318"/>
                  <a:gd name="T4" fmla="*/ 1 w 320"/>
                  <a:gd name="T5" fmla="*/ 302 h 318"/>
                  <a:gd name="T6" fmla="*/ 3 w 320"/>
                  <a:gd name="T7" fmla="*/ 287 h 318"/>
                  <a:gd name="T8" fmla="*/ 4 w 320"/>
                  <a:gd name="T9" fmla="*/ 269 h 318"/>
                  <a:gd name="T10" fmla="*/ 7 w 320"/>
                  <a:gd name="T11" fmla="*/ 255 h 318"/>
                  <a:gd name="T12" fmla="*/ 10 w 320"/>
                  <a:gd name="T13" fmla="*/ 239 h 318"/>
                  <a:gd name="T14" fmla="*/ 15 w 320"/>
                  <a:gd name="T15" fmla="*/ 224 h 318"/>
                  <a:gd name="T16" fmla="*/ 20 w 320"/>
                  <a:gd name="T17" fmla="*/ 209 h 318"/>
                  <a:gd name="T18" fmla="*/ 26 w 320"/>
                  <a:gd name="T19" fmla="*/ 195 h 318"/>
                  <a:gd name="T20" fmla="*/ 32 w 320"/>
                  <a:gd name="T21" fmla="*/ 180 h 318"/>
                  <a:gd name="T22" fmla="*/ 39 w 320"/>
                  <a:gd name="T23" fmla="*/ 167 h 318"/>
                  <a:gd name="T24" fmla="*/ 46 w 320"/>
                  <a:gd name="T25" fmla="*/ 154 h 318"/>
                  <a:gd name="T26" fmla="*/ 55 w 320"/>
                  <a:gd name="T27" fmla="*/ 140 h 318"/>
                  <a:gd name="T28" fmla="*/ 64 w 320"/>
                  <a:gd name="T29" fmla="*/ 128 h 318"/>
                  <a:gd name="T30" fmla="*/ 73 w 320"/>
                  <a:gd name="T31" fmla="*/ 116 h 318"/>
                  <a:gd name="T32" fmla="*/ 94 w 320"/>
                  <a:gd name="T33" fmla="*/ 94 h 318"/>
                  <a:gd name="T34" fmla="*/ 105 w 320"/>
                  <a:gd name="T35" fmla="*/ 83 h 318"/>
                  <a:gd name="T36" fmla="*/ 116 w 320"/>
                  <a:gd name="T37" fmla="*/ 73 h 318"/>
                  <a:gd name="T38" fmla="*/ 128 w 320"/>
                  <a:gd name="T39" fmla="*/ 63 h 318"/>
                  <a:gd name="T40" fmla="*/ 140 w 320"/>
                  <a:gd name="T41" fmla="*/ 55 h 318"/>
                  <a:gd name="T42" fmla="*/ 154 w 320"/>
                  <a:gd name="T43" fmla="*/ 46 h 318"/>
                  <a:gd name="T44" fmla="*/ 167 w 320"/>
                  <a:gd name="T45" fmla="*/ 39 h 318"/>
                  <a:gd name="T46" fmla="*/ 181 w 320"/>
                  <a:gd name="T47" fmla="*/ 32 h 318"/>
                  <a:gd name="T48" fmla="*/ 195 w 320"/>
                  <a:gd name="T49" fmla="*/ 26 h 318"/>
                  <a:gd name="T50" fmla="*/ 210 w 320"/>
                  <a:gd name="T51" fmla="*/ 20 h 318"/>
                  <a:gd name="T52" fmla="*/ 224 w 320"/>
                  <a:gd name="T53" fmla="*/ 15 h 318"/>
                  <a:gd name="T54" fmla="*/ 239 w 320"/>
                  <a:gd name="T55" fmla="*/ 10 h 318"/>
                  <a:gd name="T56" fmla="*/ 255 w 320"/>
                  <a:gd name="T57" fmla="*/ 6 h 318"/>
                  <a:gd name="T58" fmla="*/ 271 w 320"/>
                  <a:gd name="T59" fmla="*/ 4 h 318"/>
                  <a:gd name="T60" fmla="*/ 287 w 320"/>
                  <a:gd name="T61" fmla="*/ 1 h 318"/>
                  <a:gd name="T62" fmla="*/ 302 w 320"/>
                  <a:gd name="T63" fmla="*/ 0 h 318"/>
                  <a:gd name="T64" fmla="*/ 320 w 320"/>
                  <a:gd name="T65" fmla="*/ 0 h 318"/>
                  <a:gd name="T66" fmla="*/ 320 w 320"/>
                  <a:gd name="T67" fmla="*/ 318 h 318"/>
                  <a:gd name="T68" fmla="*/ 0 w 320"/>
                  <a:gd name="T6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318">
                    <a:moveTo>
                      <a:pt x="0" y="318"/>
                    </a:moveTo>
                    <a:lnTo>
                      <a:pt x="0" y="318"/>
                    </a:lnTo>
                    <a:lnTo>
                      <a:pt x="1" y="302"/>
                    </a:lnTo>
                    <a:lnTo>
                      <a:pt x="3" y="287"/>
                    </a:lnTo>
                    <a:lnTo>
                      <a:pt x="4" y="269"/>
                    </a:lnTo>
                    <a:lnTo>
                      <a:pt x="7" y="255"/>
                    </a:lnTo>
                    <a:lnTo>
                      <a:pt x="10" y="239"/>
                    </a:lnTo>
                    <a:lnTo>
                      <a:pt x="15" y="224"/>
                    </a:lnTo>
                    <a:lnTo>
                      <a:pt x="20" y="209"/>
                    </a:lnTo>
                    <a:lnTo>
                      <a:pt x="26" y="195"/>
                    </a:lnTo>
                    <a:lnTo>
                      <a:pt x="32" y="180"/>
                    </a:lnTo>
                    <a:lnTo>
                      <a:pt x="39" y="167"/>
                    </a:lnTo>
                    <a:lnTo>
                      <a:pt x="46" y="154"/>
                    </a:lnTo>
                    <a:lnTo>
                      <a:pt x="55" y="140"/>
                    </a:lnTo>
                    <a:lnTo>
                      <a:pt x="64" y="128"/>
                    </a:lnTo>
                    <a:lnTo>
                      <a:pt x="73" y="116"/>
                    </a:lnTo>
                    <a:lnTo>
                      <a:pt x="94" y="94"/>
                    </a:lnTo>
                    <a:lnTo>
                      <a:pt x="105" y="83"/>
                    </a:lnTo>
                    <a:lnTo>
                      <a:pt x="116" y="73"/>
                    </a:lnTo>
                    <a:lnTo>
                      <a:pt x="128" y="63"/>
                    </a:lnTo>
                    <a:lnTo>
                      <a:pt x="140" y="55"/>
                    </a:lnTo>
                    <a:lnTo>
                      <a:pt x="154" y="46"/>
                    </a:lnTo>
                    <a:lnTo>
                      <a:pt x="167" y="39"/>
                    </a:lnTo>
                    <a:lnTo>
                      <a:pt x="181" y="32"/>
                    </a:lnTo>
                    <a:lnTo>
                      <a:pt x="195" y="26"/>
                    </a:lnTo>
                    <a:lnTo>
                      <a:pt x="210" y="20"/>
                    </a:lnTo>
                    <a:lnTo>
                      <a:pt x="224" y="15"/>
                    </a:lnTo>
                    <a:lnTo>
                      <a:pt x="239" y="10"/>
                    </a:lnTo>
                    <a:lnTo>
                      <a:pt x="255" y="6"/>
                    </a:lnTo>
                    <a:lnTo>
                      <a:pt x="271" y="4"/>
                    </a:lnTo>
                    <a:lnTo>
                      <a:pt x="287" y="1"/>
                    </a:lnTo>
                    <a:lnTo>
                      <a:pt x="302" y="0"/>
                    </a:lnTo>
                    <a:lnTo>
                      <a:pt x="320" y="0"/>
                    </a:lnTo>
                    <a:lnTo>
                      <a:pt x="320" y="318"/>
                    </a:lnTo>
                    <a:lnTo>
                      <a:pt x="0" y="318"/>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7" name="Freeform 1492"/>
              <p:cNvSpPr>
                <a:spLocks/>
              </p:cNvSpPr>
              <p:nvPr/>
            </p:nvSpPr>
            <p:spPr bwMode="auto">
              <a:xfrm>
                <a:off x="7003901" y="-686804"/>
                <a:ext cx="121423" cy="119527"/>
              </a:xfrm>
              <a:custGeom>
                <a:avLst/>
                <a:gdLst>
                  <a:gd name="T0" fmla="*/ 0 w 318"/>
                  <a:gd name="T1" fmla="*/ 0 h 318"/>
                  <a:gd name="T2" fmla="*/ 0 w 318"/>
                  <a:gd name="T3" fmla="*/ 0 h 318"/>
                  <a:gd name="T4" fmla="*/ 15 w 318"/>
                  <a:gd name="T5" fmla="*/ 0 h 318"/>
                  <a:gd name="T6" fmla="*/ 31 w 318"/>
                  <a:gd name="T7" fmla="*/ 1 h 318"/>
                  <a:gd name="T8" fmla="*/ 47 w 318"/>
                  <a:gd name="T9" fmla="*/ 4 h 318"/>
                  <a:gd name="T10" fmla="*/ 63 w 318"/>
                  <a:gd name="T11" fmla="*/ 6 h 318"/>
                  <a:gd name="T12" fmla="*/ 79 w 318"/>
                  <a:gd name="T13" fmla="*/ 10 h 318"/>
                  <a:gd name="T14" fmla="*/ 93 w 318"/>
                  <a:gd name="T15" fmla="*/ 15 h 318"/>
                  <a:gd name="T16" fmla="*/ 108 w 318"/>
                  <a:gd name="T17" fmla="*/ 20 h 318"/>
                  <a:gd name="T18" fmla="*/ 123 w 318"/>
                  <a:gd name="T19" fmla="*/ 26 h 318"/>
                  <a:gd name="T20" fmla="*/ 137 w 318"/>
                  <a:gd name="T21" fmla="*/ 32 h 318"/>
                  <a:gd name="T22" fmla="*/ 151 w 318"/>
                  <a:gd name="T23" fmla="*/ 39 h 318"/>
                  <a:gd name="T24" fmla="*/ 164 w 318"/>
                  <a:gd name="T25" fmla="*/ 46 h 318"/>
                  <a:gd name="T26" fmla="*/ 178 w 318"/>
                  <a:gd name="T27" fmla="*/ 55 h 318"/>
                  <a:gd name="T28" fmla="*/ 190 w 318"/>
                  <a:gd name="T29" fmla="*/ 63 h 318"/>
                  <a:gd name="T30" fmla="*/ 202 w 318"/>
                  <a:gd name="T31" fmla="*/ 73 h 318"/>
                  <a:gd name="T32" fmla="*/ 224 w 318"/>
                  <a:gd name="T33" fmla="*/ 94 h 318"/>
                  <a:gd name="T34" fmla="*/ 245 w 318"/>
                  <a:gd name="T35" fmla="*/ 116 h 318"/>
                  <a:gd name="T36" fmla="*/ 254 w 318"/>
                  <a:gd name="T37" fmla="*/ 128 h 318"/>
                  <a:gd name="T38" fmla="*/ 263 w 318"/>
                  <a:gd name="T39" fmla="*/ 140 h 318"/>
                  <a:gd name="T40" fmla="*/ 271 w 318"/>
                  <a:gd name="T41" fmla="*/ 154 h 318"/>
                  <a:gd name="T42" fmla="*/ 279 w 318"/>
                  <a:gd name="T43" fmla="*/ 167 h 318"/>
                  <a:gd name="T44" fmla="*/ 286 w 318"/>
                  <a:gd name="T45" fmla="*/ 180 h 318"/>
                  <a:gd name="T46" fmla="*/ 292 w 318"/>
                  <a:gd name="T47" fmla="*/ 195 h 318"/>
                  <a:gd name="T48" fmla="*/ 298 w 318"/>
                  <a:gd name="T49" fmla="*/ 209 h 318"/>
                  <a:gd name="T50" fmla="*/ 303 w 318"/>
                  <a:gd name="T51" fmla="*/ 224 h 318"/>
                  <a:gd name="T52" fmla="*/ 308 w 318"/>
                  <a:gd name="T53" fmla="*/ 239 h 318"/>
                  <a:gd name="T54" fmla="*/ 310 w 318"/>
                  <a:gd name="T55" fmla="*/ 255 h 318"/>
                  <a:gd name="T56" fmla="*/ 314 w 318"/>
                  <a:gd name="T57" fmla="*/ 269 h 318"/>
                  <a:gd name="T58" fmla="*/ 315 w 318"/>
                  <a:gd name="T59" fmla="*/ 287 h 318"/>
                  <a:gd name="T60" fmla="*/ 317 w 318"/>
                  <a:gd name="T61" fmla="*/ 302 h 318"/>
                  <a:gd name="T62" fmla="*/ 318 w 318"/>
                  <a:gd name="T63" fmla="*/ 318 h 318"/>
                  <a:gd name="T64" fmla="*/ 0 w 318"/>
                  <a:gd name="T65" fmla="*/ 318 h 318"/>
                  <a:gd name="T66" fmla="*/ 0 w 318"/>
                  <a:gd name="T67"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8" h="318">
                    <a:moveTo>
                      <a:pt x="0" y="0"/>
                    </a:moveTo>
                    <a:lnTo>
                      <a:pt x="0" y="0"/>
                    </a:lnTo>
                    <a:lnTo>
                      <a:pt x="15" y="0"/>
                    </a:lnTo>
                    <a:lnTo>
                      <a:pt x="31" y="1"/>
                    </a:lnTo>
                    <a:lnTo>
                      <a:pt x="47" y="4"/>
                    </a:lnTo>
                    <a:lnTo>
                      <a:pt x="63" y="6"/>
                    </a:lnTo>
                    <a:lnTo>
                      <a:pt x="79" y="10"/>
                    </a:lnTo>
                    <a:lnTo>
                      <a:pt x="93" y="15"/>
                    </a:lnTo>
                    <a:lnTo>
                      <a:pt x="108" y="20"/>
                    </a:lnTo>
                    <a:lnTo>
                      <a:pt x="123" y="26"/>
                    </a:lnTo>
                    <a:lnTo>
                      <a:pt x="137" y="32"/>
                    </a:lnTo>
                    <a:lnTo>
                      <a:pt x="151" y="39"/>
                    </a:lnTo>
                    <a:lnTo>
                      <a:pt x="164" y="46"/>
                    </a:lnTo>
                    <a:lnTo>
                      <a:pt x="178" y="55"/>
                    </a:lnTo>
                    <a:lnTo>
                      <a:pt x="190" y="63"/>
                    </a:lnTo>
                    <a:lnTo>
                      <a:pt x="202" y="73"/>
                    </a:lnTo>
                    <a:lnTo>
                      <a:pt x="224" y="94"/>
                    </a:lnTo>
                    <a:lnTo>
                      <a:pt x="245" y="116"/>
                    </a:lnTo>
                    <a:lnTo>
                      <a:pt x="254" y="128"/>
                    </a:lnTo>
                    <a:lnTo>
                      <a:pt x="263" y="140"/>
                    </a:lnTo>
                    <a:lnTo>
                      <a:pt x="271" y="154"/>
                    </a:lnTo>
                    <a:lnTo>
                      <a:pt x="279" y="167"/>
                    </a:lnTo>
                    <a:lnTo>
                      <a:pt x="286" y="180"/>
                    </a:lnTo>
                    <a:lnTo>
                      <a:pt x="292" y="195"/>
                    </a:lnTo>
                    <a:lnTo>
                      <a:pt x="298" y="209"/>
                    </a:lnTo>
                    <a:lnTo>
                      <a:pt x="303" y="224"/>
                    </a:lnTo>
                    <a:lnTo>
                      <a:pt x="308" y="239"/>
                    </a:lnTo>
                    <a:lnTo>
                      <a:pt x="310" y="255"/>
                    </a:lnTo>
                    <a:lnTo>
                      <a:pt x="314" y="269"/>
                    </a:lnTo>
                    <a:lnTo>
                      <a:pt x="315" y="287"/>
                    </a:lnTo>
                    <a:lnTo>
                      <a:pt x="317" y="302"/>
                    </a:lnTo>
                    <a:lnTo>
                      <a:pt x="318" y="318"/>
                    </a:lnTo>
                    <a:lnTo>
                      <a:pt x="0" y="318"/>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49" name="Freeform 1494"/>
              <p:cNvSpPr>
                <a:spLocks/>
              </p:cNvSpPr>
              <p:nvPr/>
            </p:nvSpPr>
            <p:spPr bwMode="auto">
              <a:xfrm>
                <a:off x="7003901" y="-567275"/>
                <a:ext cx="121423" cy="121424"/>
              </a:xfrm>
              <a:custGeom>
                <a:avLst/>
                <a:gdLst>
                  <a:gd name="T0" fmla="*/ 318 w 318"/>
                  <a:gd name="T1" fmla="*/ 0 h 320"/>
                  <a:gd name="T2" fmla="*/ 318 w 318"/>
                  <a:gd name="T3" fmla="*/ 0 h 320"/>
                  <a:gd name="T4" fmla="*/ 317 w 318"/>
                  <a:gd name="T5" fmla="*/ 17 h 320"/>
                  <a:gd name="T6" fmla="*/ 315 w 318"/>
                  <a:gd name="T7" fmla="*/ 33 h 320"/>
                  <a:gd name="T8" fmla="*/ 314 w 318"/>
                  <a:gd name="T9" fmla="*/ 49 h 320"/>
                  <a:gd name="T10" fmla="*/ 310 w 318"/>
                  <a:gd name="T11" fmla="*/ 65 h 320"/>
                  <a:gd name="T12" fmla="*/ 308 w 318"/>
                  <a:gd name="T13" fmla="*/ 81 h 320"/>
                  <a:gd name="T14" fmla="*/ 303 w 318"/>
                  <a:gd name="T15" fmla="*/ 95 h 320"/>
                  <a:gd name="T16" fmla="*/ 298 w 318"/>
                  <a:gd name="T17" fmla="*/ 110 h 320"/>
                  <a:gd name="T18" fmla="*/ 292 w 318"/>
                  <a:gd name="T19" fmla="*/ 125 h 320"/>
                  <a:gd name="T20" fmla="*/ 286 w 318"/>
                  <a:gd name="T21" fmla="*/ 139 h 320"/>
                  <a:gd name="T22" fmla="*/ 279 w 318"/>
                  <a:gd name="T23" fmla="*/ 153 h 320"/>
                  <a:gd name="T24" fmla="*/ 271 w 318"/>
                  <a:gd name="T25" fmla="*/ 166 h 320"/>
                  <a:gd name="T26" fmla="*/ 263 w 318"/>
                  <a:gd name="T27" fmla="*/ 178 h 320"/>
                  <a:gd name="T28" fmla="*/ 254 w 318"/>
                  <a:gd name="T29" fmla="*/ 192 h 320"/>
                  <a:gd name="T30" fmla="*/ 245 w 318"/>
                  <a:gd name="T31" fmla="*/ 203 h 320"/>
                  <a:gd name="T32" fmla="*/ 224 w 318"/>
                  <a:gd name="T33" fmla="*/ 226 h 320"/>
                  <a:gd name="T34" fmla="*/ 202 w 318"/>
                  <a:gd name="T35" fmla="*/ 246 h 320"/>
                  <a:gd name="T36" fmla="*/ 190 w 318"/>
                  <a:gd name="T37" fmla="*/ 256 h 320"/>
                  <a:gd name="T38" fmla="*/ 178 w 318"/>
                  <a:gd name="T39" fmla="*/ 265 h 320"/>
                  <a:gd name="T40" fmla="*/ 164 w 318"/>
                  <a:gd name="T41" fmla="*/ 273 h 320"/>
                  <a:gd name="T42" fmla="*/ 151 w 318"/>
                  <a:gd name="T43" fmla="*/ 281 h 320"/>
                  <a:gd name="T44" fmla="*/ 137 w 318"/>
                  <a:gd name="T45" fmla="*/ 288 h 320"/>
                  <a:gd name="T46" fmla="*/ 123 w 318"/>
                  <a:gd name="T47" fmla="*/ 294 h 320"/>
                  <a:gd name="T48" fmla="*/ 108 w 318"/>
                  <a:gd name="T49" fmla="*/ 300 h 320"/>
                  <a:gd name="T50" fmla="*/ 93 w 318"/>
                  <a:gd name="T51" fmla="*/ 305 h 320"/>
                  <a:gd name="T52" fmla="*/ 79 w 318"/>
                  <a:gd name="T53" fmla="*/ 309 h 320"/>
                  <a:gd name="T54" fmla="*/ 63 w 318"/>
                  <a:gd name="T55" fmla="*/ 312 h 320"/>
                  <a:gd name="T56" fmla="*/ 47 w 318"/>
                  <a:gd name="T57" fmla="*/ 316 h 320"/>
                  <a:gd name="T58" fmla="*/ 31 w 318"/>
                  <a:gd name="T59" fmla="*/ 317 h 320"/>
                  <a:gd name="T60" fmla="*/ 15 w 318"/>
                  <a:gd name="T61" fmla="*/ 318 h 320"/>
                  <a:gd name="T62" fmla="*/ 0 w 318"/>
                  <a:gd name="T63" fmla="*/ 320 h 320"/>
                  <a:gd name="T64" fmla="*/ 0 w 318"/>
                  <a:gd name="T65" fmla="*/ 0 h 320"/>
                  <a:gd name="T66" fmla="*/ 318 w 318"/>
                  <a:gd name="T6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8" h="320">
                    <a:moveTo>
                      <a:pt x="318" y="0"/>
                    </a:moveTo>
                    <a:lnTo>
                      <a:pt x="318" y="0"/>
                    </a:lnTo>
                    <a:lnTo>
                      <a:pt x="317" y="17"/>
                    </a:lnTo>
                    <a:lnTo>
                      <a:pt x="315" y="33"/>
                    </a:lnTo>
                    <a:lnTo>
                      <a:pt x="314" y="49"/>
                    </a:lnTo>
                    <a:lnTo>
                      <a:pt x="310" y="65"/>
                    </a:lnTo>
                    <a:lnTo>
                      <a:pt x="308" y="81"/>
                    </a:lnTo>
                    <a:lnTo>
                      <a:pt x="303" y="95"/>
                    </a:lnTo>
                    <a:lnTo>
                      <a:pt x="298" y="110"/>
                    </a:lnTo>
                    <a:lnTo>
                      <a:pt x="292" y="125"/>
                    </a:lnTo>
                    <a:lnTo>
                      <a:pt x="286" y="139"/>
                    </a:lnTo>
                    <a:lnTo>
                      <a:pt x="279" y="153"/>
                    </a:lnTo>
                    <a:lnTo>
                      <a:pt x="271" y="166"/>
                    </a:lnTo>
                    <a:lnTo>
                      <a:pt x="263" y="178"/>
                    </a:lnTo>
                    <a:lnTo>
                      <a:pt x="254" y="192"/>
                    </a:lnTo>
                    <a:lnTo>
                      <a:pt x="245" y="203"/>
                    </a:lnTo>
                    <a:lnTo>
                      <a:pt x="224" y="226"/>
                    </a:lnTo>
                    <a:lnTo>
                      <a:pt x="202" y="246"/>
                    </a:lnTo>
                    <a:lnTo>
                      <a:pt x="190" y="256"/>
                    </a:lnTo>
                    <a:lnTo>
                      <a:pt x="178" y="265"/>
                    </a:lnTo>
                    <a:lnTo>
                      <a:pt x="164" y="273"/>
                    </a:lnTo>
                    <a:lnTo>
                      <a:pt x="151" y="281"/>
                    </a:lnTo>
                    <a:lnTo>
                      <a:pt x="137" y="288"/>
                    </a:lnTo>
                    <a:lnTo>
                      <a:pt x="123" y="294"/>
                    </a:lnTo>
                    <a:lnTo>
                      <a:pt x="108" y="300"/>
                    </a:lnTo>
                    <a:lnTo>
                      <a:pt x="93" y="305"/>
                    </a:lnTo>
                    <a:lnTo>
                      <a:pt x="79" y="309"/>
                    </a:lnTo>
                    <a:lnTo>
                      <a:pt x="63" y="312"/>
                    </a:lnTo>
                    <a:lnTo>
                      <a:pt x="47" y="316"/>
                    </a:lnTo>
                    <a:lnTo>
                      <a:pt x="31" y="317"/>
                    </a:lnTo>
                    <a:lnTo>
                      <a:pt x="15" y="318"/>
                    </a:lnTo>
                    <a:lnTo>
                      <a:pt x="0" y="320"/>
                    </a:lnTo>
                    <a:lnTo>
                      <a:pt x="0" y="0"/>
                    </a:lnTo>
                    <a:lnTo>
                      <a:pt x="318" y="0"/>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1" name="Freeform 1496"/>
              <p:cNvSpPr>
                <a:spLocks/>
              </p:cNvSpPr>
              <p:nvPr/>
            </p:nvSpPr>
            <p:spPr bwMode="auto">
              <a:xfrm>
                <a:off x="6882477" y="-567275"/>
                <a:ext cx="121423" cy="121424"/>
              </a:xfrm>
              <a:custGeom>
                <a:avLst/>
                <a:gdLst>
                  <a:gd name="T0" fmla="*/ 320 w 320"/>
                  <a:gd name="T1" fmla="*/ 0 h 320"/>
                  <a:gd name="T2" fmla="*/ 320 w 320"/>
                  <a:gd name="T3" fmla="*/ 320 h 320"/>
                  <a:gd name="T4" fmla="*/ 320 w 320"/>
                  <a:gd name="T5" fmla="*/ 320 h 320"/>
                  <a:gd name="T6" fmla="*/ 302 w 320"/>
                  <a:gd name="T7" fmla="*/ 318 h 320"/>
                  <a:gd name="T8" fmla="*/ 287 w 320"/>
                  <a:gd name="T9" fmla="*/ 317 h 320"/>
                  <a:gd name="T10" fmla="*/ 271 w 320"/>
                  <a:gd name="T11" fmla="*/ 316 h 320"/>
                  <a:gd name="T12" fmla="*/ 255 w 320"/>
                  <a:gd name="T13" fmla="*/ 312 h 320"/>
                  <a:gd name="T14" fmla="*/ 239 w 320"/>
                  <a:gd name="T15" fmla="*/ 309 h 320"/>
                  <a:gd name="T16" fmla="*/ 224 w 320"/>
                  <a:gd name="T17" fmla="*/ 305 h 320"/>
                  <a:gd name="T18" fmla="*/ 210 w 320"/>
                  <a:gd name="T19" fmla="*/ 300 h 320"/>
                  <a:gd name="T20" fmla="*/ 195 w 320"/>
                  <a:gd name="T21" fmla="*/ 294 h 320"/>
                  <a:gd name="T22" fmla="*/ 181 w 320"/>
                  <a:gd name="T23" fmla="*/ 288 h 320"/>
                  <a:gd name="T24" fmla="*/ 167 w 320"/>
                  <a:gd name="T25" fmla="*/ 281 h 320"/>
                  <a:gd name="T26" fmla="*/ 154 w 320"/>
                  <a:gd name="T27" fmla="*/ 273 h 320"/>
                  <a:gd name="T28" fmla="*/ 140 w 320"/>
                  <a:gd name="T29" fmla="*/ 265 h 320"/>
                  <a:gd name="T30" fmla="*/ 128 w 320"/>
                  <a:gd name="T31" fmla="*/ 256 h 320"/>
                  <a:gd name="T32" fmla="*/ 116 w 320"/>
                  <a:gd name="T33" fmla="*/ 246 h 320"/>
                  <a:gd name="T34" fmla="*/ 94 w 320"/>
                  <a:gd name="T35" fmla="*/ 226 h 320"/>
                  <a:gd name="T36" fmla="*/ 73 w 320"/>
                  <a:gd name="T37" fmla="*/ 203 h 320"/>
                  <a:gd name="T38" fmla="*/ 64 w 320"/>
                  <a:gd name="T39" fmla="*/ 192 h 320"/>
                  <a:gd name="T40" fmla="*/ 55 w 320"/>
                  <a:gd name="T41" fmla="*/ 178 h 320"/>
                  <a:gd name="T42" fmla="*/ 46 w 320"/>
                  <a:gd name="T43" fmla="*/ 166 h 320"/>
                  <a:gd name="T44" fmla="*/ 39 w 320"/>
                  <a:gd name="T45" fmla="*/ 153 h 320"/>
                  <a:gd name="T46" fmla="*/ 32 w 320"/>
                  <a:gd name="T47" fmla="*/ 139 h 320"/>
                  <a:gd name="T48" fmla="*/ 26 w 320"/>
                  <a:gd name="T49" fmla="*/ 125 h 320"/>
                  <a:gd name="T50" fmla="*/ 20 w 320"/>
                  <a:gd name="T51" fmla="*/ 110 h 320"/>
                  <a:gd name="T52" fmla="*/ 15 w 320"/>
                  <a:gd name="T53" fmla="*/ 95 h 320"/>
                  <a:gd name="T54" fmla="*/ 10 w 320"/>
                  <a:gd name="T55" fmla="*/ 81 h 320"/>
                  <a:gd name="T56" fmla="*/ 7 w 320"/>
                  <a:gd name="T57" fmla="*/ 65 h 320"/>
                  <a:gd name="T58" fmla="*/ 4 w 320"/>
                  <a:gd name="T59" fmla="*/ 49 h 320"/>
                  <a:gd name="T60" fmla="*/ 3 w 320"/>
                  <a:gd name="T61" fmla="*/ 33 h 320"/>
                  <a:gd name="T62" fmla="*/ 1 w 320"/>
                  <a:gd name="T63" fmla="*/ 17 h 320"/>
                  <a:gd name="T64" fmla="*/ 0 w 320"/>
                  <a:gd name="T65" fmla="*/ 0 h 320"/>
                  <a:gd name="T66" fmla="*/ 320 w 320"/>
                  <a:gd name="T6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320">
                    <a:moveTo>
                      <a:pt x="320" y="0"/>
                    </a:moveTo>
                    <a:lnTo>
                      <a:pt x="320" y="320"/>
                    </a:lnTo>
                    <a:lnTo>
                      <a:pt x="320" y="320"/>
                    </a:lnTo>
                    <a:lnTo>
                      <a:pt x="302" y="318"/>
                    </a:lnTo>
                    <a:lnTo>
                      <a:pt x="287" y="317"/>
                    </a:lnTo>
                    <a:lnTo>
                      <a:pt x="271" y="316"/>
                    </a:lnTo>
                    <a:lnTo>
                      <a:pt x="255" y="312"/>
                    </a:lnTo>
                    <a:lnTo>
                      <a:pt x="239" y="309"/>
                    </a:lnTo>
                    <a:lnTo>
                      <a:pt x="224" y="305"/>
                    </a:lnTo>
                    <a:lnTo>
                      <a:pt x="210" y="300"/>
                    </a:lnTo>
                    <a:lnTo>
                      <a:pt x="195" y="294"/>
                    </a:lnTo>
                    <a:lnTo>
                      <a:pt x="181" y="288"/>
                    </a:lnTo>
                    <a:lnTo>
                      <a:pt x="167" y="281"/>
                    </a:lnTo>
                    <a:lnTo>
                      <a:pt x="154" y="273"/>
                    </a:lnTo>
                    <a:lnTo>
                      <a:pt x="140" y="265"/>
                    </a:lnTo>
                    <a:lnTo>
                      <a:pt x="128" y="256"/>
                    </a:lnTo>
                    <a:lnTo>
                      <a:pt x="116" y="246"/>
                    </a:lnTo>
                    <a:lnTo>
                      <a:pt x="94" y="226"/>
                    </a:lnTo>
                    <a:lnTo>
                      <a:pt x="73" y="203"/>
                    </a:lnTo>
                    <a:lnTo>
                      <a:pt x="64" y="192"/>
                    </a:lnTo>
                    <a:lnTo>
                      <a:pt x="55" y="178"/>
                    </a:lnTo>
                    <a:lnTo>
                      <a:pt x="46" y="166"/>
                    </a:lnTo>
                    <a:lnTo>
                      <a:pt x="39" y="153"/>
                    </a:lnTo>
                    <a:lnTo>
                      <a:pt x="32" y="139"/>
                    </a:lnTo>
                    <a:lnTo>
                      <a:pt x="26" y="125"/>
                    </a:lnTo>
                    <a:lnTo>
                      <a:pt x="20" y="110"/>
                    </a:lnTo>
                    <a:lnTo>
                      <a:pt x="15" y="95"/>
                    </a:lnTo>
                    <a:lnTo>
                      <a:pt x="10" y="81"/>
                    </a:lnTo>
                    <a:lnTo>
                      <a:pt x="7" y="65"/>
                    </a:lnTo>
                    <a:lnTo>
                      <a:pt x="4" y="49"/>
                    </a:lnTo>
                    <a:lnTo>
                      <a:pt x="3" y="33"/>
                    </a:lnTo>
                    <a:lnTo>
                      <a:pt x="1" y="17"/>
                    </a:lnTo>
                    <a:lnTo>
                      <a:pt x="0" y="0"/>
                    </a:lnTo>
                    <a:lnTo>
                      <a:pt x="320" y="0"/>
                    </a:lnTo>
                    <a:close/>
                  </a:path>
                </a:pathLst>
              </a:custGeom>
              <a:solidFill>
                <a:srgbClr val="A5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3" name="Freeform 1498"/>
              <p:cNvSpPr>
                <a:spLocks/>
              </p:cNvSpPr>
              <p:nvPr/>
            </p:nvSpPr>
            <p:spPr bwMode="auto">
              <a:xfrm>
                <a:off x="6946983" y="-622298"/>
                <a:ext cx="56917" cy="55021"/>
              </a:xfrm>
              <a:custGeom>
                <a:avLst/>
                <a:gdLst>
                  <a:gd name="T0" fmla="*/ 150 w 150"/>
                  <a:gd name="T1" fmla="*/ 0 h 148"/>
                  <a:gd name="T2" fmla="*/ 150 w 150"/>
                  <a:gd name="T3" fmla="*/ 0 h 148"/>
                  <a:gd name="T4" fmla="*/ 134 w 150"/>
                  <a:gd name="T5" fmla="*/ 0 h 148"/>
                  <a:gd name="T6" fmla="*/ 119 w 150"/>
                  <a:gd name="T7" fmla="*/ 2 h 148"/>
                  <a:gd name="T8" fmla="*/ 104 w 150"/>
                  <a:gd name="T9" fmla="*/ 6 h 148"/>
                  <a:gd name="T10" fmla="*/ 91 w 150"/>
                  <a:gd name="T11" fmla="*/ 10 h 148"/>
                  <a:gd name="T12" fmla="*/ 78 w 150"/>
                  <a:gd name="T13" fmla="*/ 18 h 148"/>
                  <a:gd name="T14" fmla="*/ 65 w 150"/>
                  <a:gd name="T15" fmla="*/ 25 h 148"/>
                  <a:gd name="T16" fmla="*/ 54 w 150"/>
                  <a:gd name="T17" fmla="*/ 34 h 148"/>
                  <a:gd name="T18" fmla="*/ 43 w 150"/>
                  <a:gd name="T19" fmla="*/ 43 h 148"/>
                  <a:gd name="T20" fmla="*/ 34 w 150"/>
                  <a:gd name="T21" fmla="*/ 53 h 148"/>
                  <a:gd name="T22" fmla="*/ 25 w 150"/>
                  <a:gd name="T23" fmla="*/ 65 h 148"/>
                  <a:gd name="T24" fmla="*/ 18 w 150"/>
                  <a:gd name="T25" fmla="*/ 78 h 148"/>
                  <a:gd name="T26" fmla="*/ 12 w 150"/>
                  <a:gd name="T27" fmla="*/ 91 h 148"/>
                  <a:gd name="T28" fmla="*/ 7 w 150"/>
                  <a:gd name="T29" fmla="*/ 104 h 148"/>
                  <a:gd name="T30" fmla="*/ 3 w 150"/>
                  <a:gd name="T31" fmla="*/ 119 h 148"/>
                  <a:gd name="T32" fmla="*/ 1 w 150"/>
                  <a:gd name="T33" fmla="*/ 134 h 148"/>
                  <a:gd name="T34" fmla="*/ 0 w 150"/>
                  <a:gd name="T35" fmla="*/ 148 h 148"/>
                  <a:gd name="T36" fmla="*/ 150 w 150"/>
                  <a:gd name="T37" fmla="*/ 148 h 148"/>
                  <a:gd name="T38" fmla="*/ 150 w 150"/>
                  <a:gd name="T39"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48">
                    <a:moveTo>
                      <a:pt x="150" y="0"/>
                    </a:moveTo>
                    <a:lnTo>
                      <a:pt x="150" y="0"/>
                    </a:lnTo>
                    <a:lnTo>
                      <a:pt x="134" y="0"/>
                    </a:lnTo>
                    <a:lnTo>
                      <a:pt x="119" y="2"/>
                    </a:lnTo>
                    <a:lnTo>
                      <a:pt x="104" y="6"/>
                    </a:lnTo>
                    <a:lnTo>
                      <a:pt x="91" y="10"/>
                    </a:lnTo>
                    <a:lnTo>
                      <a:pt x="78" y="18"/>
                    </a:lnTo>
                    <a:lnTo>
                      <a:pt x="65" y="25"/>
                    </a:lnTo>
                    <a:lnTo>
                      <a:pt x="54" y="34"/>
                    </a:lnTo>
                    <a:lnTo>
                      <a:pt x="43" y="43"/>
                    </a:lnTo>
                    <a:lnTo>
                      <a:pt x="34" y="53"/>
                    </a:lnTo>
                    <a:lnTo>
                      <a:pt x="25" y="65"/>
                    </a:lnTo>
                    <a:lnTo>
                      <a:pt x="18" y="78"/>
                    </a:lnTo>
                    <a:lnTo>
                      <a:pt x="12" y="91"/>
                    </a:lnTo>
                    <a:lnTo>
                      <a:pt x="7" y="104"/>
                    </a:lnTo>
                    <a:lnTo>
                      <a:pt x="3" y="119"/>
                    </a:lnTo>
                    <a:lnTo>
                      <a:pt x="1" y="134"/>
                    </a:lnTo>
                    <a:lnTo>
                      <a:pt x="0" y="148"/>
                    </a:lnTo>
                    <a:lnTo>
                      <a:pt x="150" y="148"/>
                    </a:lnTo>
                    <a:lnTo>
                      <a:pt x="150" y="0"/>
                    </a:lnTo>
                    <a:close/>
                  </a:path>
                </a:pathLst>
              </a:custGeom>
              <a:solidFill>
                <a:srgbClr val="A7A7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4" name="Freeform 1499"/>
              <p:cNvSpPr>
                <a:spLocks/>
              </p:cNvSpPr>
              <p:nvPr/>
            </p:nvSpPr>
            <p:spPr bwMode="auto">
              <a:xfrm>
                <a:off x="6946983" y="-622298"/>
                <a:ext cx="56917" cy="55021"/>
              </a:xfrm>
              <a:custGeom>
                <a:avLst/>
                <a:gdLst>
                  <a:gd name="T0" fmla="*/ 150 w 150"/>
                  <a:gd name="T1" fmla="*/ 0 h 148"/>
                  <a:gd name="T2" fmla="*/ 150 w 150"/>
                  <a:gd name="T3" fmla="*/ 0 h 148"/>
                  <a:gd name="T4" fmla="*/ 134 w 150"/>
                  <a:gd name="T5" fmla="*/ 0 h 148"/>
                  <a:gd name="T6" fmla="*/ 119 w 150"/>
                  <a:gd name="T7" fmla="*/ 2 h 148"/>
                  <a:gd name="T8" fmla="*/ 104 w 150"/>
                  <a:gd name="T9" fmla="*/ 6 h 148"/>
                  <a:gd name="T10" fmla="*/ 91 w 150"/>
                  <a:gd name="T11" fmla="*/ 10 h 148"/>
                  <a:gd name="T12" fmla="*/ 78 w 150"/>
                  <a:gd name="T13" fmla="*/ 18 h 148"/>
                  <a:gd name="T14" fmla="*/ 65 w 150"/>
                  <a:gd name="T15" fmla="*/ 25 h 148"/>
                  <a:gd name="T16" fmla="*/ 54 w 150"/>
                  <a:gd name="T17" fmla="*/ 34 h 148"/>
                  <a:gd name="T18" fmla="*/ 43 w 150"/>
                  <a:gd name="T19" fmla="*/ 43 h 148"/>
                  <a:gd name="T20" fmla="*/ 34 w 150"/>
                  <a:gd name="T21" fmla="*/ 53 h 148"/>
                  <a:gd name="T22" fmla="*/ 25 w 150"/>
                  <a:gd name="T23" fmla="*/ 65 h 148"/>
                  <a:gd name="T24" fmla="*/ 18 w 150"/>
                  <a:gd name="T25" fmla="*/ 78 h 148"/>
                  <a:gd name="T26" fmla="*/ 12 w 150"/>
                  <a:gd name="T27" fmla="*/ 91 h 148"/>
                  <a:gd name="T28" fmla="*/ 7 w 150"/>
                  <a:gd name="T29" fmla="*/ 104 h 148"/>
                  <a:gd name="T30" fmla="*/ 3 w 150"/>
                  <a:gd name="T31" fmla="*/ 119 h 148"/>
                  <a:gd name="T32" fmla="*/ 1 w 150"/>
                  <a:gd name="T33" fmla="*/ 134 h 148"/>
                  <a:gd name="T34" fmla="*/ 0 w 150"/>
                  <a:gd name="T35" fmla="*/ 148 h 148"/>
                  <a:gd name="T36" fmla="*/ 150 w 150"/>
                  <a:gd name="T37" fmla="*/ 148 h 148"/>
                  <a:gd name="T38" fmla="*/ 150 w 150"/>
                  <a:gd name="T39"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48">
                    <a:moveTo>
                      <a:pt x="150" y="0"/>
                    </a:moveTo>
                    <a:lnTo>
                      <a:pt x="150" y="0"/>
                    </a:lnTo>
                    <a:lnTo>
                      <a:pt x="134" y="0"/>
                    </a:lnTo>
                    <a:lnTo>
                      <a:pt x="119" y="2"/>
                    </a:lnTo>
                    <a:lnTo>
                      <a:pt x="104" y="6"/>
                    </a:lnTo>
                    <a:lnTo>
                      <a:pt x="91" y="10"/>
                    </a:lnTo>
                    <a:lnTo>
                      <a:pt x="78" y="18"/>
                    </a:lnTo>
                    <a:lnTo>
                      <a:pt x="65" y="25"/>
                    </a:lnTo>
                    <a:lnTo>
                      <a:pt x="54" y="34"/>
                    </a:lnTo>
                    <a:lnTo>
                      <a:pt x="43" y="43"/>
                    </a:lnTo>
                    <a:lnTo>
                      <a:pt x="34" y="53"/>
                    </a:lnTo>
                    <a:lnTo>
                      <a:pt x="25" y="65"/>
                    </a:lnTo>
                    <a:lnTo>
                      <a:pt x="18" y="78"/>
                    </a:lnTo>
                    <a:lnTo>
                      <a:pt x="12" y="91"/>
                    </a:lnTo>
                    <a:lnTo>
                      <a:pt x="7" y="104"/>
                    </a:lnTo>
                    <a:lnTo>
                      <a:pt x="3" y="119"/>
                    </a:lnTo>
                    <a:lnTo>
                      <a:pt x="1" y="134"/>
                    </a:lnTo>
                    <a:lnTo>
                      <a:pt x="0" y="148"/>
                    </a:lnTo>
                    <a:lnTo>
                      <a:pt x="150" y="148"/>
                    </a:lnTo>
                    <a:lnTo>
                      <a:pt x="1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5" name="Freeform 1500"/>
              <p:cNvSpPr>
                <a:spLocks/>
              </p:cNvSpPr>
              <p:nvPr/>
            </p:nvSpPr>
            <p:spPr bwMode="auto">
              <a:xfrm>
                <a:off x="7003901" y="-622298"/>
                <a:ext cx="56917" cy="55021"/>
              </a:xfrm>
              <a:custGeom>
                <a:avLst/>
                <a:gdLst>
                  <a:gd name="T0" fmla="*/ 0 w 148"/>
                  <a:gd name="T1" fmla="*/ 0 h 148"/>
                  <a:gd name="T2" fmla="*/ 0 w 148"/>
                  <a:gd name="T3" fmla="*/ 0 h 148"/>
                  <a:gd name="T4" fmla="*/ 0 w 148"/>
                  <a:gd name="T5" fmla="*/ 0 h 148"/>
                  <a:gd name="T6" fmla="*/ 0 w 148"/>
                  <a:gd name="T7" fmla="*/ 148 h 148"/>
                  <a:gd name="T8" fmla="*/ 148 w 148"/>
                  <a:gd name="T9" fmla="*/ 148 h 148"/>
                  <a:gd name="T10" fmla="*/ 148 w 148"/>
                  <a:gd name="T11" fmla="*/ 148 h 148"/>
                  <a:gd name="T12" fmla="*/ 147 w 148"/>
                  <a:gd name="T13" fmla="*/ 134 h 148"/>
                  <a:gd name="T14" fmla="*/ 145 w 148"/>
                  <a:gd name="T15" fmla="*/ 119 h 148"/>
                  <a:gd name="T16" fmla="*/ 141 w 148"/>
                  <a:gd name="T17" fmla="*/ 104 h 148"/>
                  <a:gd name="T18" fmla="*/ 136 w 148"/>
                  <a:gd name="T19" fmla="*/ 91 h 148"/>
                  <a:gd name="T20" fmla="*/ 130 w 148"/>
                  <a:gd name="T21" fmla="*/ 78 h 148"/>
                  <a:gd name="T22" fmla="*/ 123 w 148"/>
                  <a:gd name="T23" fmla="*/ 65 h 148"/>
                  <a:gd name="T24" fmla="*/ 114 w 148"/>
                  <a:gd name="T25" fmla="*/ 53 h 148"/>
                  <a:gd name="T26" fmla="*/ 104 w 148"/>
                  <a:gd name="T27" fmla="*/ 43 h 148"/>
                  <a:gd name="T28" fmla="*/ 93 w 148"/>
                  <a:gd name="T29" fmla="*/ 34 h 148"/>
                  <a:gd name="T30" fmla="*/ 82 w 148"/>
                  <a:gd name="T31" fmla="*/ 25 h 148"/>
                  <a:gd name="T32" fmla="*/ 70 w 148"/>
                  <a:gd name="T33" fmla="*/ 18 h 148"/>
                  <a:gd name="T34" fmla="*/ 57 w 148"/>
                  <a:gd name="T35" fmla="*/ 10 h 148"/>
                  <a:gd name="T36" fmla="*/ 43 w 148"/>
                  <a:gd name="T37" fmla="*/ 6 h 148"/>
                  <a:gd name="T38" fmla="*/ 29 w 148"/>
                  <a:gd name="T39" fmla="*/ 2 h 148"/>
                  <a:gd name="T40" fmla="*/ 14 w 148"/>
                  <a:gd name="T41" fmla="*/ 0 h 148"/>
                  <a:gd name="T42" fmla="*/ 0 w 148"/>
                  <a:gd name="T43"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8" h="148">
                    <a:moveTo>
                      <a:pt x="0" y="0"/>
                    </a:moveTo>
                    <a:lnTo>
                      <a:pt x="0" y="0"/>
                    </a:lnTo>
                    <a:lnTo>
                      <a:pt x="0" y="0"/>
                    </a:lnTo>
                    <a:lnTo>
                      <a:pt x="0" y="148"/>
                    </a:lnTo>
                    <a:lnTo>
                      <a:pt x="148" y="148"/>
                    </a:lnTo>
                    <a:lnTo>
                      <a:pt x="148" y="148"/>
                    </a:lnTo>
                    <a:lnTo>
                      <a:pt x="147" y="134"/>
                    </a:lnTo>
                    <a:lnTo>
                      <a:pt x="145" y="119"/>
                    </a:lnTo>
                    <a:lnTo>
                      <a:pt x="141" y="104"/>
                    </a:lnTo>
                    <a:lnTo>
                      <a:pt x="136" y="91"/>
                    </a:lnTo>
                    <a:lnTo>
                      <a:pt x="130" y="78"/>
                    </a:lnTo>
                    <a:lnTo>
                      <a:pt x="123" y="65"/>
                    </a:lnTo>
                    <a:lnTo>
                      <a:pt x="114" y="53"/>
                    </a:lnTo>
                    <a:lnTo>
                      <a:pt x="104" y="43"/>
                    </a:lnTo>
                    <a:lnTo>
                      <a:pt x="93" y="34"/>
                    </a:lnTo>
                    <a:lnTo>
                      <a:pt x="82" y="25"/>
                    </a:lnTo>
                    <a:lnTo>
                      <a:pt x="70" y="18"/>
                    </a:lnTo>
                    <a:lnTo>
                      <a:pt x="57" y="10"/>
                    </a:lnTo>
                    <a:lnTo>
                      <a:pt x="43" y="6"/>
                    </a:lnTo>
                    <a:lnTo>
                      <a:pt x="29" y="2"/>
                    </a:lnTo>
                    <a:lnTo>
                      <a:pt x="14" y="0"/>
                    </a:lnTo>
                    <a:lnTo>
                      <a:pt x="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6" name="Freeform 1501"/>
              <p:cNvSpPr>
                <a:spLocks/>
              </p:cNvSpPr>
              <p:nvPr/>
            </p:nvSpPr>
            <p:spPr bwMode="auto">
              <a:xfrm>
                <a:off x="7003901" y="-622298"/>
                <a:ext cx="56917" cy="55021"/>
              </a:xfrm>
              <a:custGeom>
                <a:avLst/>
                <a:gdLst>
                  <a:gd name="T0" fmla="*/ 0 w 148"/>
                  <a:gd name="T1" fmla="*/ 0 h 148"/>
                  <a:gd name="T2" fmla="*/ 0 w 148"/>
                  <a:gd name="T3" fmla="*/ 0 h 148"/>
                  <a:gd name="T4" fmla="*/ 0 w 148"/>
                  <a:gd name="T5" fmla="*/ 0 h 148"/>
                  <a:gd name="T6" fmla="*/ 0 w 148"/>
                  <a:gd name="T7" fmla="*/ 148 h 148"/>
                  <a:gd name="T8" fmla="*/ 148 w 148"/>
                  <a:gd name="T9" fmla="*/ 148 h 148"/>
                  <a:gd name="T10" fmla="*/ 148 w 148"/>
                  <a:gd name="T11" fmla="*/ 148 h 148"/>
                  <a:gd name="T12" fmla="*/ 147 w 148"/>
                  <a:gd name="T13" fmla="*/ 134 h 148"/>
                  <a:gd name="T14" fmla="*/ 145 w 148"/>
                  <a:gd name="T15" fmla="*/ 119 h 148"/>
                  <a:gd name="T16" fmla="*/ 141 w 148"/>
                  <a:gd name="T17" fmla="*/ 104 h 148"/>
                  <a:gd name="T18" fmla="*/ 136 w 148"/>
                  <a:gd name="T19" fmla="*/ 91 h 148"/>
                  <a:gd name="T20" fmla="*/ 130 w 148"/>
                  <a:gd name="T21" fmla="*/ 78 h 148"/>
                  <a:gd name="T22" fmla="*/ 123 w 148"/>
                  <a:gd name="T23" fmla="*/ 65 h 148"/>
                  <a:gd name="T24" fmla="*/ 114 w 148"/>
                  <a:gd name="T25" fmla="*/ 53 h 148"/>
                  <a:gd name="T26" fmla="*/ 104 w 148"/>
                  <a:gd name="T27" fmla="*/ 43 h 148"/>
                  <a:gd name="T28" fmla="*/ 93 w 148"/>
                  <a:gd name="T29" fmla="*/ 34 h 148"/>
                  <a:gd name="T30" fmla="*/ 82 w 148"/>
                  <a:gd name="T31" fmla="*/ 25 h 148"/>
                  <a:gd name="T32" fmla="*/ 70 w 148"/>
                  <a:gd name="T33" fmla="*/ 18 h 148"/>
                  <a:gd name="T34" fmla="*/ 57 w 148"/>
                  <a:gd name="T35" fmla="*/ 10 h 148"/>
                  <a:gd name="T36" fmla="*/ 43 w 148"/>
                  <a:gd name="T37" fmla="*/ 6 h 148"/>
                  <a:gd name="T38" fmla="*/ 29 w 148"/>
                  <a:gd name="T39" fmla="*/ 2 h 148"/>
                  <a:gd name="T40" fmla="*/ 14 w 148"/>
                  <a:gd name="T41" fmla="*/ 0 h 148"/>
                  <a:gd name="T42" fmla="*/ 0 w 148"/>
                  <a:gd name="T43"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8" h="148">
                    <a:moveTo>
                      <a:pt x="0" y="0"/>
                    </a:moveTo>
                    <a:lnTo>
                      <a:pt x="0" y="0"/>
                    </a:lnTo>
                    <a:lnTo>
                      <a:pt x="0" y="0"/>
                    </a:lnTo>
                    <a:lnTo>
                      <a:pt x="0" y="148"/>
                    </a:lnTo>
                    <a:lnTo>
                      <a:pt x="148" y="148"/>
                    </a:lnTo>
                    <a:lnTo>
                      <a:pt x="148" y="148"/>
                    </a:lnTo>
                    <a:lnTo>
                      <a:pt x="147" y="134"/>
                    </a:lnTo>
                    <a:lnTo>
                      <a:pt x="145" y="119"/>
                    </a:lnTo>
                    <a:lnTo>
                      <a:pt x="141" y="104"/>
                    </a:lnTo>
                    <a:lnTo>
                      <a:pt x="136" y="91"/>
                    </a:lnTo>
                    <a:lnTo>
                      <a:pt x="130" y="78"/>
                    </a:lnTo>
                    <a:lnTo>
                      <a:pt x="123" y="65"/>
                    </a:lnTo>
                    <a:lnTo>
                      <a:pt x="114" y="53"/>
                    </a:lnTo>
                    <a:lnTo>
                      <a:pt x="104" y="43"/>
                    </a:lnTo>
                    <a:lnTo>
                      <a:pt x="93" y="34"/>
                    </a:lnTo>
                    <a:lnTo>
                      <a:pt x="82" y="25"/>
                    </a:lnTo>
                    <a:lnTo>
                      <a:pt x="70" y="18"/>
                    </a:lnTo>
                    <a:lnTo>
                      <a:pt x="57" y="10"/>
                    </a:lnTo>
                    <a:lnTo>
                      <a:pt x="43" y="6"/>
                    </a:lnTo>
                    <a:lnTo>
                      <a:pt x="29" y="2"/>
                    </a:lnTo>
                    <a:lnTo>
                      <a:pt x="1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7" name="Freeform 1502"/>
              <p:cNvSpPr>
                <a:spLocks/>
              </p:cNvSpPr>
              <p:nvPr/>
            </p:nvSpPr>
            <p:spPr bwMode="auto">
              <a:xfrm>
                <a:off x="7003901" y="-567275"/>
                <a:ext cx="56917" cy="56917"/>
              </a:xfrm>
              <a:custGeom>
                <a:avLst/>
                <a:gdLst>
                  <a:gd name="T0" fmla="*/ 148 w 148"/>
                  <a:gd name="T1" fmla="*/ 0 h 150"/>
                  <a:gd name="T2" fmla="*/ 0 w 148"/>
                  <a:gd name="T3" fmla="*/ 0 h 150"/>
                  <a:gd name="T4" fmla="*/ 0 w 148"/>
                  <a:gd name="T5" fmla="*/ 150 h 150"/>
                  <a:gd name="T6" fmla="*/ 0 w 148"/>
                  <a:gd name="T7" fmla="*/ 150 h 150"/>
                  <a:gd name="T8" fmla="*/ 0 w 148"/>
                  <a:gd name="T9" fmla="*/ 150 h 150"/>
                  <a:gd name="T10" fmla="*/ 0 w 148"/>
                  <a:gd name="T11" fmla="*/ 150 h 150"/>
                  <a:gd name="T12" fmla="*/ 14 w 148"/>
                  <a:gd name="T13" fmla="*/ 149 h 150"/>
                  <a:gd name="T14" fmla="*/ 29 w 148"/>
                  <a:gd name="T15" fmla="*/ 147 h 150"/>
                  <a:gd name="T16" fmla="*/ 43 w 148"/>
                  <a:gd name="T17" fmla="*/ 143 h 150"/>
                  <a:gd name="T18" fmla="*/ 57 w 148"/>
                  <a:gd name="T19" fmla="*/ 138 h 150"/>
                  <a:gd name="T20" fmla="*/ 70 w 148"/>
                  <a:gd name="T21" fmla="*/ 132 h 150"/>
                  <a:gd name="T22" fmla="*/ 82 w 148"/>
                  <a:gd name="T23" fmla="*/ 125 h 150"/>
                  <a:gd name="T24" fmla="*/ 93 w 148"/>
                  <a:gd name="T25" fmla="*/ 116 h 150"/>
                  <a:gd name="T26" fmla="*/ 104 w 148"/>
                  <a:gd name="T27" fmla="*/ 106 h 150"/>
                  <a:gd name="T28" fmla="*/ 114 w 148"/>
                  <a:gd name="T29" fmla="*/ 95 h 150"/>
                  <a:gd name="T30" fmla="*/ 123 w 148"/>
                  <a:gd name="T31" fmla="*/ 84 h 150"/>
                  <a:gd name="T32" fmla="*/ 130 w 148"/>
                  <a:gd name="T33" fmla="*/ 72 h 150"/>
                  <a:gd name="T34" fmla="*/ 136 w 148"/>
                  <a:gd name="T35" fmla="*/ 59 h 150"/>
                  <a:gd name="T36" fmla="*/ 141 w 148"/>
                  <a:gd name="T37" fmla="*/ 45 h 150"/>
                  <a:gd name="T38" fmla="*/ 145 w 148"/>
                  <a:gd name="T39" fmla="*/ 31 h 150"/>
                  <a:gd name="T40" fmla="*/ 147 w 148"/>
                  <a:gd name="T41" fmla="*/ 16 h 150"/>
                  <a:gd name="T42" fmla="*/ 148 w 148"/>
                  <a:gd name="T43" fmla="*/ 0 h 150"/>
                  <a:gd name="T44" fmla="*/ 148 w 148"/>
                  <a:gd name="T45" fmla="*/ 0 h 150"/>
                  <a:gd name="T46" fmla="*/ 148 w 148"/>
                  <a:gd name="T47"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8" h="150">
                    <a:moveTo>
                      <a:pt x="148" y="0"/>
                    </a:moveTo>
                    <a:lnTo>
                      <a:pt x="0" y="0"/>
                    </a:lnTo>
                    <a:lnTo>
                      <a:pt x="0" y="150"/>
                    </a:lnTo>
                    <a:lnTo>
                      <a:pt x="0" y="150"/>
                    </a:lnTo>
                    <a:lnTo>
                      <a:pt x="0" y="150"/>
                    </a:lnTo>
                    <a:lnTo>
                      <a:pt x="0" y="150"/>
                    </a:lnTo>
                    <a:lnTo>
                      <a:pt x="14" y="149"/>
                    </a:lnTo>
                    <a:lnTo>
                      <a:pt x="29" y="147"/>
                    </a:lnTo>
                    <a:lnTo>
                      <a:pt x="43" y="143"/>
                    </a:lnTo>
                    <a:lnTo>
                      <a:pt x="57" y="138"/>
                    </a:lnTo>
                    <a:lnTo>
                      <a:pt x="70" y="132"/>
                    </a:lnTo>
                    <a:lnTo>
                      <a:pt x="82" y="125"/>
                    </a:lnTo>
                    <a:lnTo>
                      <a:pt x="93" y="116"/>
                    </a:lnTo>
                    <a:lnTo>
                      <a:pt x="104" y="106"/>
                    </a:lnTo>
                    <a:lnTo>
                      <a:pt x="114" y="95"/>
                    </a:lnTo>
                    <a:lnTo>
                      <a:pt x="123" y="84"/>
                    </a:lnTo>
                    <a:lnTo>
                      <a:pt x="130" y="72"/>
                    </a:lnTo>
                    <a:lnTo>
                      <a:pt x="136" y="59"/>
                    </a:lnTo>
                    <a:lnTo>
                      <a:pt x="141" y="45"/>
                    </a:lnTo>
                    <a:lnTo>
                      <a:pt x="145" y="31"/>
                    </a:lnTo>
                    <a:lnTo>
                      <a:pt x="147" y="16"/>
                    </a:lnTo>
                    <a:lnTo>
                      <a:pt x="148" y="0"/>
                    </a:lnTo>
                    <a:lnTo>
                      <a:pt x="148" y="0"/>
                    </a:lnTo>
                    <a:lnTo>
                      <a:pt x="148" y="0"/>
                    </a:lnTo>
                    <a:close/>
                  </a:path>
                </a:pathLst>
              </a:custGeom>
              <a:solidFill>
                <a:srgbClr val="A7A7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8" name="Freeform 1503"/>
              <p:cNvSpPr>
                <a:spLocks/>
              </p:cNvSpPr>
              <p:nvPr/>
            </p:nvSpPr>
            <p:spPr bwMode="auto">
              <a:xfrm>
                <a:off x="7003901" y="-567275"/>
                <a:ext cx="56917" cy="56917"/>
              </a:xfrm>
              <a:custGeom>
                <a:avLst/>
                <a:gdLst>
                  <a:gd name="T0" fmla="*/ 148 w 148"/>
                  <a:gd name="T1" fmla="*/ 0 h 150"/>
                  <a:gd name="T2" fmla="*/ 0 w 148"/>
                  <a:gd name="T3" fmla="*/ 0 h 150"/>
                  <a:gd name="T4" fmla="*/ 0 w 148"/>
                  <a:gd name="T5" fmla="*/ 150 h 150"/>
                  <a:gd name="T6" fmla="*/ 0 w 148"/>
                  <a:gd name="T7" fmla="*/ 150 h 150"/>
                  <a:gd name="T8" fmla="*/ 0 w 148"/>
                  <a:gd name="T9" fmla="*/ 150 h 150"/>
                  <a:gd name="T10" fmla="*/ 0 w 148"/>
                  <a:gd name="T11" fmla="*/ 150 h 150"/>
                  <a:gd name="T12" fmla="*/ 14 w 148"/>
                  <a:gd name="T13" fmla="*/ 149 h 150"/>
                  <a:gd name="T14" fmla="*/ 29 w 148"/>
                  <a:gd name="T15" fmla="*/ 147 h 150"/>
                  <a:gd name="T16" fmla="*/ 43 w 148"/>
                  <a:gd name="T17" fmla="*/ 143 h 150"/>
                  <a:gd name="T18" fmla="*/ 57 w 148"/>
                  <a:gd name="T19" fmla="*/ 138 h 150"/>
                  <a:gd name="T20" fmla="*/ 70 w 148"/>
                  <a:gd name="T21" fmla="*/ 132 h 150"/>
                  <a:gd name="T22" fmla="*/ 82 w 148"/>
                  <a:gd name="T23" fmla="*/ 125 h 150"/>
                  <a:gd name="T24" fmla="*/ 93 w 148"/>
                  <a:gd name="T25" fmla="*/ 116 h 150"/>
                  <a:gd name="T26" fmla="*/ 104 w 148"/>
                  <a:gd name="T27" fmla="*/ 106 h 150"/>
                  <a:gd name="T28" fmla="*/ 114 w 148"/>
                  <a:gd name="T29" fmla="*/ 95 h 150"/>
                  <a:gd name="T30" fmla="*/ 123 w 148"/>
                  <a:gd name="T31" fmla="*/ 84 h 150"/>
                  <a:gd name="T32" fmla="*/ 130 w 148"/>
                  <a:gd name="T33" fmla="*/ 72 h 150"/>
                  <a:gd name="T34" fmla="*/ 136 w 148"/>
                  <a:gd name="T35" fmla="*/ 59 h 150"/>
                  <a:gd name="T36" fmla="*/ 141 w 148"/>
                  <a:gd name="T37" fmla="*/ 45 h 150"/>
                  <a:gd name="T38" fmla="*/ 145 w 148"/>
                  <a:gd name="T39" fmla="*/ 31 h 150"/>
                  <a:gd name="T40" fmla="*/ 147 w 148"/>
                  <a:gd name="T41" fmla="*/ 16 h 150"/>
                  <a:gd name="T42" fmla="*/ 148 w 148"/>
                  <a:gd name="T43" fmla="*/ 0 h 150"/>
                  <a:gd name="T44" fmla="*/ 148 w 148"/>
                  <a:gd name="T45" fmla="*/ 0 h 150"/>
                  <a:gd name="T46" fmla="*/ 148 w 148"/>
                  <a:gd name="T47"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8" h="150">
                    <a:moveTo>
                      <a:pt x="148" y="0"/>
                    </a:moveTo>
                    <a:lnTo>
                      <a:pt x="0" y="0"/>
                    </a:lnTo>
                    <a:lnTo>
                      <a:pt x="0" y="150"/>
                    </a:lnTo>
                    <a:lnTo>
                      <a:pt x="0" y="150"/>
                    </a:lnTo>
                    <a:lnTo>
                      <a:pt x="0" y="150"/>
                    </a:lnTo>
                    <a:lnTo>
                      <a:pt x="0" y="150"/>
                    </a:lnTo>
                    <a:lnTo>
                      <a:pt x="14" y="149"/>
                    </a:lnTo>
                    <a:lnTo>
                      <a:pt x="29" y="147"/>
                    </a:lnTo>
                    <a:lnTo>
                      <a:pt x="43" y="143"/>
                    </a:lnTo>
                    <a:lnTo>
                      <a:pt x="57" y="138"/>
                    </a:lnTo>
                    <a:lnTo>
                      <a:pt x="70" y="132"/>
                    </a:lnTo>
                    <a:lnTo>
                      <a:pt x="82" y="125"/>
                    </a:lnTo>
                    <a:lnTo>
                      <a:pt x="93" y="116"/>
                    </a:lnTo>
                    <a:lnTo>
                      <a:pt x="104" y="106"/>
                    </a:lnTo>
                    <a:lnTo>
                      <a:pt x="114" y="95"/>
                    </a:lnTo>
                    <a:lnTo>
                      <a:pt x="123" y="84"/>
                    </a:lnTo>
                    <a:lnTo>
                      <a:pt x="130" y="72"/>
                    </a:lnTo>
                    <a:lnTo>
                      <a:pt x="136" y="59"/>
                    </a:lnTo>
                    <a:lnTo>
                      <a:pt x="141" y="45"/>
                    </a:lnTo>
                    <a:lnTo>
                      <a:pt x="145" y="31"/>
                    </a:lnTo>
                    <a:lnTo>
                      <a:pt x="147" y="16"/>
                    </a:lnTo>
                    <a:lnTo>
                      <a:pt x="148" y="0"/>
                    </a:lnTo>
                    <a:lnTo>
                      <a:pt x="148" y="0"/>
                    </a:lnTo>
                    <a:lnTo>
                      <a:pt x="1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59" name="Freeform 1504"/>
              <p:cNvSpPr>
                <a:spLocks/>
              </p:cNvSpPr>
              <p:nvPr/>
            </p:nvSpPr>
            <p:spPr bwMode="auto">
              <a:xfrm>
                <a:off x="6946983" y="-567275"/>
                <a:ext cx="56917" cy="56917"/>
              </a:xfrm>
              <a:custGeom>
                <a:avLst/>
                <a:gdLst>
                  <a:gd name="T0" fmla="*/ 150 w 150"/>
                  <a:gd name="T1" fmla="*/ 0 h 150"/>
                  <a:gd name="T2" fmla="*/ 150 w 150"/>
                  <a:gd name="T3" fmla="*/ 0 h 150"/>
                  <a:gd name="T4" fmla="*/ 0 w 150"/>
                  <a:gd name="T5" fmla="*/ 0 h 150"/>
                  <a:gd name="T6" fmla="*/ 0 w 150"/>
                  <a:gd name="T7" fmla="*/ 0 h 150"/>
                  <a:gd name="T8" fmla="*/ 0 w 150"/>
                  <a:gd name="T9" fmla="*/ 0 h 150"/>
                  <a:gd name="T10" fmla="*/ 0 w 150"/>
                  <a:gd name="T11" fmla="*/ 0 h 150"/>
                  <a:gd name="T12" fmla="*/ 1 w 150"/>
                  <a:gd name="T13" fmla="*/ 16 h 150"/>
                  <a:gd name="T14" fmla="*/ 3 w 150"/>
                  <a:gd name="T15" fmla="*/ 31 h 150"/>
                  <a:gd name="T16" fmla="*/ 7 w 150"/>
                  <a:gd name="T17" fmla="*/ 45 h 150"/>
                  <a:gd name="T18" fmla="*/ 12 w 150"/>
                  <a:gd name="T19" fmla="*/ 59 h 150"/>
                  <a:gd name="T20" fmla="*/ 18 w 150"/>
                  <a:gd name="T21" fmla="*/ 72 h 150"/>
                  <a:gd name="T22" fmla="*/ 25 w 150"/>
                  <a:gd name="T23" fmla="*/ 84 h 150"/>
                  <a:gd name="T24" fmla="*/ 34 w 150"/>
                  <a:gd name="T25" fmla="*/ 95 h 150"/>
                  <a:gd name="T26" fmla="*/ 43 w 150"/>
                  <a:gd name="T27" fmla="*/ 106 h 150"/>
                  <a:gd name="T28" fmla="*/ 54 w 150"/>
                  <a:gd name="T29" fmla="*/ 116 h 150"/>
                  <a:gd name="T30" fmla="*/ 65 w 150"/>
                  <a:gd name="T31" fmla="*/ 125 h 150"/>
                  <a:gd name="T32" fmla="*/ 78 w 150"/>
                  <a:gd name="T33" fmla="*/ 132 h 150"/>
                  <a:gd name="T34" fmla="*/ 91 w 150"/>
                  <a:gd name="T35" fmla="*/ 138 h 150"/>
                  <a:gd name="T36" fmla="*/ 104 w 150"/>
                  <a:gd name="T37" fmla="*/ 143 h 150"/>
                  <a:gd name="T38" fmla="*/ 119 w 150"/>
                  <a:gd name="T39" fmla="*/ 147 h 150"/>
                  <a:gd name="T40" fmla="*/ 134 w 150"/>
                  <a:gd name="T41" fmla="*/ 149 h 150"/>
                  <a:gd name="T42" fmla="*/ 150 w 150"/>
                  <a:gd name="T43" fmla="*/ 150 h 150"/>
                  <a:gd name="T44" fmla="*/ 150 w 150"/>
                  <a:gd name="T45"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0" h="150">
                    <a:moveTo>
                      <a:pt x="150" y="0"/>
                    </a:moveTo>
                    <a:lnTo>
                      <a:pt x="150" y="0"/>
                    </a:lnTo>
                    <a:lnTo>
                      <a:pt x="0" y="0"/>
                    </a:lnTo>
                    <a:lnTo>
                      <a:pt x="0" y="0"/>
                    </a:lnTo>
                    <a:lnTo>
                      <a:pt x="0" y="0"/>
                    </a:lnTo>
                    <a:lnTo>
                      <a:pt x="0" y="0"/>
                    </a:lnTo>
                    <a:lnTo>
                      <a:pt x="1" y="16"/>
                    </a:lnTo>
                    <a:lnTo>
                      <a:pt x="3" y="31"/>
                    </a:lnTo>
                    <a:lnTo>
                      <a:pt x="7" y="45"/>
                    </a:lnTo>
                    <a:lnTo>
                      <a:pt x="12" y="59"/>
                    </a:lnTo>
                    <a:lnTo>
                      <a:pt x="18" y="72"/>
                    </a:lnTo>
                    <a:lnTo>
                      <a:pt x="25" y="84"/>
                    </a:lnTo>
                    <a:lnTo>
                      <a:pt x="34" y="95"/>
                    </a:lnTo>
                    <a:lnTo>
                      <a:pt x="43" y="106"/>
                    </a:lnTo>
                    <a:lnTo>
                      <a:pt x="54" y="116"/>
                    </a:lnTo>
                    <a:lnTo>
                      <a:pt x="65" y="125"/>
                    </a:lnTo>
                    <a:lnTo>
                      <a:pt x="78" y="132"/>
                    </a:lnTo>
                    <a:lnTo>
                      <a:pt x="91" y="138"/>
                    </a:lnTo>
                    <a:lnTo>
                      <a:pt x="104" y="143"/>
                    </a:lnTo>
                    <a:lnTo>
                      <a:pt x="119" y="147"/>
                    </a:lnTo>
                    <a:lnTo>
                      <a:pt x="134" y="149"/>
                    </a:lnTo>
                    <a:lnTo>
                      <a:pt x="150" y="150"/>
                    </a:lnTo>
                    <a:lnTo>
                      <a:pt x="150" y="0"/>
                    </a:lnTo>
                    <a:close/>
                  </a:path>
                </a:pathLst>
              </a:custGeom>
              <a:solidFill>
                <a:srgbClr val="848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0" name="Freeform 1505"/>
              <p:cNvSpPr>
                <a:spLocks/>
              </p:cNvSpPr>
              <p:nvPr/>
            </p:nvSpPr>
            <p:spPr bwMode="auto">
              <a:xfrm>
                <a:off x="6946983" y="-567275"/>
                <a:ext cx="56917" cy="56917"/>
              </a:xfrm>
              <a:custGeom>
                <a:avLst/>
                <a:gdLst>
                  <a:gd name="T0" fmla="*/ 150 w 150"/>
                  <a:gd name="T1" fmla="*/ 0 h 150"/>
                  <a:gd name="T2" fmla="*/ 150 w 150"/>
                  <a:gd name="T3" fmla="*/ 0 h 150"/>
                  <a:gd name="T4" fmla="*/ 0 w 150"/>
                  <a:gd name="T5" fmla="*/ 0 h 150"/>
                  <a:gd name="T6" fmla="*/ 0 w 150"/>
                  <a:gd name="T7" fmla="*/ 0 h 150"/>
                  <a:gd name="T8" fmla="*/ 0 w 150"/>
                  <a:gd name="T9" fmla="*/ 0 h 150"/>
                  <a:gd name="T10" fmla="*/ 0 w 150"/>
                  <a:gd name="T11" fmla="*/ 0 h 150"/>
                  <a:gd name="T12" fmla="*/ 1 w 150"/>
                  <a:gd name="T13" fmla="*/ 16 h 150"/>
                  <a:gd name="T14" fmla="*/ 3 w 150"/>
                  <a:gd name="T15" fmla="*/ 31 h 150"/>
                  <a:gd name="T16" fmla="*/ 7 w 150"/>
                  <a:gd name="T17" fmla="*/ 45 h 150"/>
                  <a:gd name="T18" fmla="*/ 12 w 150"/>
                  <a:gd name="T19" fmla="*/ 59 h 150"/>
                  <a:gd name="T20" fmla="*/ 18 w 150"/>
                  <a:gd name="T21" fmla="*/ 72 h 150"/>
                  <a:gd name="T22" fmla="*/ 25 w 150"/>
                  <a:gd name="T23" fmla="*/ 84 h 150"/>
                  <a:gd name="T24" fmla="*/ 34 w 150"/>
                  <a:gd name="T25" fmla="*/ 95 h 150"/>
                  <a:gd name="T26" fmla="*/ 43 w 150"/>
                  <a:gd name="T27" fmla="*/ 106 h 150"/>
                  <a:gd name="T28" fmla="*/ 54 w 150"/>
                  <a:gd name="T29" fmla="*/ 116 h 150"/>
                  <a:gd name="T30" fmla="*/ 65 w 150"/>
                  <a:gd name="T31" fmla="*/ 125 h 150"/>
                  <a:gd name="T32" fmla="*/ 78 w 150"/>
                  <a:gd name="T33" fmla="*/ 132 h 150"/>
                  <a:gd name="T34" fmla="*/ 91 w 150"/>
                  <a:gd name="T35" fmla="*/ 138 h 150"/>
                  <a:gd name="T36" fmla="*/ 104 w 150"/>
                  <a:gd name="T37" fmla="*/ 143 h 150"/>
                  <a:gd name="T38" fmla="*/ 119 w 150"/>
                  <a:gd name="T39" fmla="*/ 147 h 150"/>
                  <a:gd name="T40" fmla="*/ 134 w 150"/>
                  <a:gd name="T41" fmla="*/ 149 h 150"/>
                  <a:gd name="T42" fmla="*/ 150 w 150"/>
                  <a:gd name="T43" fmla="*/ 150 h 150"/>
                  <a:gd name="T44" fmla="*/ 150 w 150"/>
                  <a:gd name="T45"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0" h="150">
                    <a:moveTo>
                      <a:pt x="150" y="0"/>
                    </a:moveTo>
                    <a:lnTo>
                      <a:pt x="150" y="0"/>
                    </a:lnTo>
                    <a:lnTo>
                      <a:pt x="0" y="0"/>
                    </a:lnTo>
                    <a:lnTo>
                      <a:pt x="0" y="0"/>
                    </a:lnTo>
                    <a:lnTo>
                      <a:pt x="0" y="0"/>
                    </a:lnTo>
                    <a:lnTo>
                      <a:pt x="0" y="0"/>
                    </a:lnTo>
                    <a:lnTo>
                      <a:pt x="1" y="16"/>
                    </a:lnTo>
                    <a:lnTo>
                      <a:pt x="3" y="31"/>
                    </a:lnTo>
                    <a:lnTo>
                      <a:pt x="7" y="45"/>
                    </a:lnTo>
                    <a:lnTo>
                      <a:pt x="12" y="59"/>
                    </a:lnTo>
                    <a:lnTo>
                      <a:pt x="18" y="72"/>
                    </a:lnTo>
                    <a:lnTo>
                      <a:pt x="25" y="84"/>
                    </a:lnTo>
                    <a:lnTo>
                      <a:pt x="34" y="95"/>
                    </a:lnTo>
                    <a:lnTo>
                      <a:pt x="43" y="106"/>
                    </a:lnTo>
                    <a:lnTo>
                      <a:pt x="54" y="116"/>
                    </a:lnTo>
                    <a:lnTo>
                      <a:pt x="65" y="125"/>
                    </a:lnTo>
                    <a:lnTo>
                      <a:pt x="78" y="132"/>
                    </a:lnTo>
                    <a:lnTo>
                      <a:pt x="91" y="138"/>
                    </a:lnTo>
                    <a:lnTo>
                      <a:pt x="104" y="143"/>
                    </a:lnTo>
                    <a:lnTo>
                      <a:pt x="119" y="147"/>
                    </a:lnTo>
                    <a:lnTo>
                      <a:pt x="134" y="149"/>
                    </a:lnTo>
                    <a:lnTo>
                      <a:pt x="150" y="150"/>
                    </a:lnTo>
                    <a:lnTo>
                      <a:pt x="1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1" name="Freeform 1506"/>
              <p:cNvSpPr>
                <a:spLocks/>
              </p:cNvSpPr>
              <p:nvPr/>
            </p:nvSpPr>
            <p:spPr bwMode="auto">
              <a:xfrm>
                <a:off x="6956470" y="-614709"/>
                <a:ext cx="94863" cy="96760"/>
              </a:xfrm>
              <a:custGeom>
                <a:avLst/>
                <a:gdLst>
                  <a:gd name="T0" fmla="*/ 0 w 252"/>
                  <a:gd name="T1" fmla="*/ 125 h 252"/>
                  <a:gd name="T2" fmla="*/ 2 w 252"/>
                  <a:gd name="T3" fmla="*/ 151 h 252"/>
                  <a:gd name="T4" fmla="*/ 9 w 252"/>
                  <a:gd name="T5" fmla="*/ 175 h 252"/>
                  <a:gd name="T6" fmla="*/ 22 w 252"/>
                  <a:gd name="T7" fmla="*/ 196 h 252"/>
                  <a:gd name="T8" fmla="*/ 36 w 252"/>
                  <a:gd name="T9" fmla="*/ 215 h 252"/>
                  <a:gd name="T10" fmla="*/ 56 w 252"/>
                  <a:gd name="T11" fmla="*/ 230 h 252"/>
                  <a:gd name="T12" fmla="*/ 77 w 252"/>
                  <a:gd name="T13" fmla="*/ 242 h 252"/>
                  <a:gd name="T14" fmla="*/ 101 w 252"/>
                  <a:gd name="T15" fmla="*/ 250 h 252"/>
                  <a:gd name="T16" fmla="*/ 127 w 252"/>
                  <a:gd name="T17" fmla="*/ 252 h 252"/>
                  <a:gd name="T18" fmla="*/ 139 w 252"/>
                  <a:gd name="T19" fmla="*/ 251 h 252"/>
                  <a:gd name="T20" fmla="*/ 163 w 252"/>
                  <a:gd name="T21" fmla="*/ 246 h 252"/>
                  <a:gd name="T22" fmla="*/ 186 w 252"/>
                  <a:gd name="T23" fmla="*/ 236 h 252"/>
                  <a:gd name="T24" fmla="*/ 206 w 252"/>
                  <a:gd name="T25" fmla="*/ 223 h 252"/>
                  <a:gd name="T26" fmla="*/ 224 w 252"/>
                  <a:gd name="T27" fmla="*/ 206 h 252"/>
                  <a:gd name="T28" fmla="*/ 237 w 252"/>
                  <a:gd name="T29" fmla="*/ 186 h 252"/>
                  <a:gd name="T30" fmla="*/ 247 w 252"/>
                  <a:gd name="T31" fmla="*/ 163 h 252"/>
                  <a:gd name="T32" fmla="*/ 252 w 252"/>
                  <a:gd name="T33" fmla="*/ 139 h 252"/>
                  <a:gd name="T34" fmla="*/ 252 w 252"/>
                  <a:gd name="T35" fmla="*/ 125 h 252"/>
                  <a:gd name="T36" fmla="*/ 250 w 252"/>
                  <a:gd name="T37" fmla="*/ 100 h 252"/>
                  <a:gd name="T38" fmla="*/ 242 w 252"/>
                  <a:gd name="T39" fmla="*/ 76 h 252"/>
                  <a:gd name="T40" fmla="*/ 230 w 252"/>
                  <a:gd name="T41" fmla="*/ 55 h 252"/>
                  <a:gd name="T42" fmla="*/ 216 w 252"/>
                  <a:gd name="T43" fmla="*/ 36 h 252"/>
                  <a:gd name="T44" fmla="*/ 196 w 252"/>
                  <a:gd name="T45" fmla="*/ 20 h 252"/>
                  <a:gd name="T46" fmla="*/ 175 w 252"/>
                  <a:gd name="T47" fmla="*/ 9 h 252"/>
                  <a:gd name="T48" fmla="*/ 151 w 252"/>
                  <a:gd name="T49" fmla="*/ 2 h 252"/>
                  <a:gd name="T50" fmla="*/ 127 w 252"/>
                  <a:gd name="T51" fmla="*/ 0 h 252"/>
                  <a:gd name="T52" fmla="*/ 113 w 252"/>
                  <a:gd name="T53" fmla="*/ 0 h 252"/>
                  <a:gd name="T54" fmla="*/ 89 w 252"/>
                  <a:gd name="T55" fmla="*/ 5 h 252"/>
                  <a:gd name="T56" fmla="*/ 66 w 252"/>
                  <a:gd name="T57" fmla="*/ 14 h 252"/>
                  <a:gd name="T58" fmla="*/ 46 w 252"/>
                  <a:gd name="T59" fmla="*/ 28 h 252"/>
                  <a:gd name="T60" fmla="*/ 28 w 252"/>
                  <a:gd name="T61" fmla="*/ 45 h 252"/>
                  <a:gd name="T62" fmla="*/ 14 w 252"/>
                  <a:gd name="T63" fmla="*/ 66 h 252"/>
                  <a:gd name="T64" fmla="*/ 5 w 252"/>
                  <a:gd name="T65" fmla="*/ 87 h 252"/>
                  <a:gd name="T66" fmla="*/ 0 w 252"/>
                  <a:gd name="T67" fmla="*/ 113 h 252"/>
                  <a:gd name="T68" fmla="*/ 0 w 252"/>
                  <a:gd name="T69" fmla="*/ 125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2" h="252">
                    <a:moveTo>
                      <a:pt x="0" y="125"/>
                    </a:moveTo>
                    <a:lnTo>
                      <a:pt x="0" y="125"/>
                    </a:lnTo>
                    <a:lnTo>
                      <a:pt x="0" y="139"/>
                    </a:lnTo>
                    <a:lnTo>
                      <a:pt x="2" y="151"/>
                    </a:lnTo>
                    <a:lnTo>
                      <a:pt x="5" y="163"/>
                    </a:lnTo>
                    <a:lnTo>
                      <a:pt x="9" y="175"/>
                    </a:lnTo>
                    <a:lnTo>
                      <a:pt x="14" y="186"/>
                    </a:lnTo>
                    <a:lnTo>
                      <a:pt x="22" y="196"/>
                    </a:lnTo>
                    <a:lnTo>
                      <a:pt x="28" y="206"/>
                    </a:lnTo>
                    <a:lnTo>
                      <a:pt x="36" y="215"/>
                    </a:lnTo>
                    <a:lnTo>
                      <a:pt x="46" y="223"/>
                    </a:lnTo>
                    <a:lnTo>
                      <a:pt x="56" y="230"/>
                    </a:lnTo>
                    <a:lnTo>
                      <a:pt x="66" y="236"/>
                    </a:lnTo>
                    <a:lnTo>
                      <a:pt x="77" y="242"/>
                    </a:lnTo>
                    <a:lnTo>
                      <a:pt x="89" y="246"/>
                    </a:lnTo>
                    <a:lnTo>
                      <a:pt x="101" y="250"/>
                    </a:lnTo>
                    <a:lnTo>
                      <a:pt x="113" y="251"/>
                    </a:lnTo>
                    <a:lnTo>
                      <a:pt x="127" y="252"/>
                    </a:lnTo>
                    <a:lnTo>
                      <a:pt x="127" y="252"/>
                    </a:lnTo>
                    <a:lnTo>
                      <a:pt x="139" y="251"/>
                    </a:lnTo>
                    <a:lnTo>
                      <a:pt x="151" y="250"/>
                    </a:lnTo>
                    <a:lnTo>
                      <a:pt x="163" y="246"/>
                    </a:lnTo>
                    <a:lnTo>
                      <a:pt x="175" y="242"/>
                    </a:lnTo>
                    <a:lnTo>
                      <a:pt x="186" y="236"/>
                    </a:lnTo>
                    <a:lnTo>
                      <a:pt x="196" y="230"/>
                    </a:lnTo>
                    <a:lnTo>
                      <a:pt x="206" y="223"/>
                    </a:lnTo>
                    <a:lnTo>
                      <a:pt x="216" y="215"/>
                    </a:lnTo>
                    <a:lnTo>
                      <a:pt x="224" y="206"/>
                    </a:lnTo>
                    <a:lnTo>
                      <a:pt x="230" y="196"/>
                    </a:lnTo>
                    <a:lnTo>
                      <a:pt x="237" y="186"/>
                    </a:lnTo>
                    <a:lnTo>
                      <a:pt x="242" y="175"/>
                    </a:lnTo>
                    <a:lnTo>
                      <a:pt x="247" y="163"/>
                    </a:lnTo>
                    <a:lnTo>
                      <a:pt x="250" y="151"/>
                    </a:lnTo>
                    <a:lnTo>
                      <a:pt x="252" y="139"/>
                    </a:lnTo>
                    <a:lnTo>
                      <a:pt x="252" y="125"/>
                    </a:lnTo>
                    <a:lnTo>
                      <a:pt x="252" y="125"/>
                    </a:lnTo>
                    <a:lnTo>
                      <a:pt x="252" y="113"/>
                    </a:lnTo>
                    <a:lnTo>
                      <a:pt x="250" y="100"/>
                    </a:lnTo>
                    <a:lnTo>
                      <a:pt x="247" y="87"/>
                    </a:lnTo>
                    <a:lnTo>
                      <a:pt x="242" y="76"/>
                    </a:lnTo>
                    <a:lnTo>
                      <a:pt x="237" y="66"/>
                    </a:lnTo>
                    <a:lnTo>
                      <a:pt x="230" y="55"/>
                    </a:lnTo>
                    <a:lnTo>
                      <a:pt x="224" y="45"/>
                    </a:lnTo>
                    <a:lnTo>
                      <a:pt x="216" y="36"/>
                    </a:lnTo>
                    <a:lnTo>
                      <a:pt x="206" y="28"/>
                    </a:lnTo>
                    <a:lnTo>
                      <a:pt x="196" y="20"/>
                    </a:lnTo>
                    <a:lnTo>
                      <a:pt x="186" y="14"/>
                    </a:lnTo>
                    <a:lnTo>
                      <a:pt x="175" y="9"/>
                    </a:lnTo>
                    <a:lnTo>
                      <a:pt x="163" y="5"/>
                    </a:lnTo>
                    <a:lnTo>
                      <a:pt x="151" y="2"/>
                    </a:lnTo>
                    <a:lnTo>
                      <a:pt x="139" y="0"/>
                    </a:lnTo>
                    <a:lnTo>
                      <a:pt x="127" y="0"/>
                    </a:lnTo>
                    <a:lnTo>
                      <a:pt x="127" y="0"/>
                    </a:lnTo>
                    <a:lnTo>
                      <a:pt x="113" y="0"/>
                    </a:lnTo>
                    <a:lnTo>
                      <a:pt x="101" y="2"/>
                    </a:lnTo>
                    <a:lnTo>
                      <a:pt x="89" y="5"/>
                    </a:lnTo>
                    <a:lnTo>
                      <a:pt x="77" y="9"/>
                    </a:lnTo>
                    <a:lnTo>
                      <a:pt x="66" y="14"/>
                    </a:lnTo>
                    <a:lnTo>
                      <a:pt x="56" y="20"/>
                    </a:lnTo>
                    <a:lnTo>
                      <a:pt x="46" y="28"/>
                    </a:lnTo>
                    <a:lnTo>
                      <a:pt x="36" y="36"/>
                    </a:lnTo>
                    <a:lnTo>
                      <a:pt x="28" y="45"/>
                    </a:lnTo>
                    <a:lnTo>
                      <a:pt x="22" y="55"/>
                    </a:lnTo>
                    <a:lnTo>
                      <a:pt x="14" y="66"/>
                    </a:lnTo>
                    <a:lnTo>
                      <a:pt x="9" y="76"/>
                    </a:lnTo>
                    <a:lnTo>
                      <a:pt x="5" y="87"/>
                    </a:lnTo>
                    <a:lnTo>
                      <a:pt x="2" y="100"/>
                    </a:lnTo>
                    <a:lnTo>
                      <a:pt x="0" y="113"/>
                    </a:lnTo>
                    <a:lnTo>
                      <a:pt x="0" y="125"/>
                    </a:lnTo>
                    <a:lnTo>
                      <a:pt x="0" y="125"/>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2" name="Rectangle 1507"/>
              <p:cNvSpPr>
                <a:spLocks noChangeArrowheads="1"/>
              </p:cNvSpPr>
              <p:nvPr/>
            </p:nvSpPr>
            <p:spPr bwMode="auto">
              <a:xfrm>
                <a:off x="7459241" y="-1178193"/>
                <a:ext cx="60712" cy="191623"/>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4" name="Rectangle 1509"/>
              <p:cNvSpPr>
                <a:spLocks noChangeArrowheads="1"/>
              </p:cNvSpPr>
              <p:nvPr/>
            </p:nvSpPr>
            <p:spPr bwMode="auto">
              <a:xfrm>
                <a:off x="7383350" y="-1341356"/>
                <a:ext cx="203007" cy="163164"/>
              </a:xfrm>
              <a:prstGeom prst="rect">
                <a:avLst/>
              </a:prstGeom>
              <a:solidFill>
                <a:srgbClr val="FF6A1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5" name="Rectangle 1510"/>
              <p:cNvSpPr>
                <a:spLocks noChangeArrowheads="1"/>
              </p:cNvSpPr>
              <p:nvPr/>
            </p:nvSpPr>
            <p:spPr bwMode="auto">
              <a:xfrm>
                <a:off x="7383350" y="-1341356"/>
                <a:ext cx="203007" cy="163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6" name="Freeform 1511"/>
              <p:cNvSpPr>
                <a:spLocks/>
              </p:cNvSpPr>
              <p:nvPr/>
            </p:nvSpPr>
            <p:spPr bwMode="auto">
              <a:xfrm>
                <a:off x="7461138" y="-1341356"/>
                <a:ext cx="125219" cy="108143"/>
              </a:xfrm>
              <a:custGeom>
                <a:avLst/>
                <a:gdLst>
                  <a:gd name="T0" fmla="*/ 0 w 329"/>
                  <a:gd name="T1" fmla="*/ 165 h 285"/>
                  <a:gd name="T2" fmla="*/ 0 w 329"/>
                  <a:gd name="T3" fmla="*/ 165 h 285"/>
                  <a:gd name="T4" fmla="*/ 0 w 329"/>
                  <a:gd name="T5" fmla="*/ 177 h 285"/>
                  <a:gd name="T6" fmla="*/ 2 w 329"/>
                  <a:gd name="T7" fmla="*/ 189 h 285"/>
                  <a:gd name="T8" fmla="*/ 4 w 329"/>
                  <a:gd name="T9" fmla="*/ 200 h 285"/>
                  <a:gd name="T10" fmla="*/ 9 w 329"/>
                  <a:gd name="T11" fmla="*/ 211 h 285"/>
                  <a:gd name="T12" fmla="*/ 14 w 329"/>
                  <a:gd name="T13" fmla="*/ 222 h 285"/>
                  <a:gd name="T14" fmla="*/ 20 w 329"/>
                  <a:gd name="T15" fmla="*/ 232 h 285"/>
                  <a:gd name="T16" fmla="*/ 28 w 329"/>
                  <a:gd name="T17" fmla="*/ 241 h 285"/>
                  <a:gd name="T18" fmla="*/ 35 w 329"/>
                  <a:gd name="T19" fmla="*/ 250 h 285"/>
                  <a:gd name="T20" fmla="*/ 43 w 329"/>
                  <a:gd name="T21" fmla="*/ 257 h 285"/>
                  <a:gd name="T22" fmla="*/ 53 w 329"/>
                  <a:gd name="T23" fmla="*/ 265 h 285"/>
                  <a:gd name="T24" fmla="*/ 63 w 329"/>
                  <a:gd name="T25" fmla="*/ 271 h 285"/>
                  <a:gd name="T26" fmla="*/ 73 w 329"/>
                  <a:gd name="T27" fmla="*/ 276 h 285"/>
                  <a:gd name="T28" fmla="*/ 85 w 329"/>
                  <a:gd name="T29" fmla="*/ 279 h 285"/>
                  <a:gd name="T30" fmla="*/ 96 w 329"/>
                  <a:gd name="T31" fmla="*/ 283 h 285"/>
                  <a:gd name="T32" fmla="*/ 108 w 329"/>
                  <a:gd name="T33" fmla="*/ 284 h 285"/>
                  <a:gd name="T34" fmla="*/ 120 w 329"/>
                  <a:gd name="T35" fmla="*/ 285 h 285"/>
                  <a:gd name="T36" fmla="*/ 329 w 329"/>
                  <a:gd name="T37" fmla="*/ 285 h 285"/>
                  <a:gd name="T38" fmla="*/ 329 w 329"/>
                  <a:gd name="T39" fmla="*/ 0 h 285"/>
                  <a:gd name="T40" fmla="*/ 210 w 329"/>
                  <a:gd name="T41" fmla="*/ 0 h 285"/>
                  <a:gd name="T42" fmla="*/ 0 w 329"/>
                  <a:gd name="T43" fmla="*/ 0 h 285"/>
                  <a:gd name="T44" fmla="*/ 0 w 329"/>
                  <a:gd name="T45" fmla="*/ 165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9" h="285">
                    <a:moveTo>
                      <a:pt x="0" y="165"/>
                    </a:moveTo>
                    <a:lnTo>
                      <a:pt x="0" y="165"/>
                    </a:lnTo>
                    <a:lnTo>
                      <a:pt x="0" y="177"/>
                    </a:lnTo>
                    <a:lnTo>
                      <a:pt x="2" y="189"/>
                    </a:lnTo>
                    <a:lnTo>
                      <a:pt x="4" y="200"/>
                    </a:lnTo>
                    <a:lnTo>
                      <a:pt x="9" y="211"/>
                    </a:lnTo>
                    <a:lnTo>
                      <a:pt x="14" y="222"/>
                    </a:lnTo>
                    <a:lnTo>
                      <a:pt x="20" y="232"/>
                    </a:lnTo>
                    <a:lnTo>
                      <a:pt x="28" y="241"/>
                    </a:lnTo>
                    <a:lnTo>
                      <a:pt x="35" y="250"/>
                    </a:lnTo>
                    <a:lnTo>
                      <a:pt x="43" y="257"/>
                    </a:lnTo>
                    <a:lnTo>
                      <a:pt x="53" y="265"/>
                    </a:lnTo>
                    <a:lnTo>
                      <a:pt x="63" y="271"/>
                    </a:lnTo>
                    <a:lnTo>
                      <a:pt x="73" y="276"/>
                    </a:lnTo>
                    <a:lnTo>
                      <a:pt x="85" y="279"/>
                    </a:lnTo>
                    <a:lnTo>
                      <a:pt x="96" y="283"/>
                    </a:lnTo>
                    <a:lnTo>
                      <a:pt x="108" y="284"/>
                    </a:lnTo>
                    <a:lnTo>
                      <a:pt x="120" y="285"/>
                    </a:lnTo>
                    <a:lnTo>
                      <a:pt x="329" y="285"/>
                    </a:lnTo>
                    <a:lnTo>
                      <a:pt x="329" y="0"/>
                    </a:lnTo>
                    <a:lnTo>
                      <a:pt x="210" y="0"/>
                    </a:lnTo>
                    <a:lnTo>
                      <a:pt x="0" y="0"/>
                    </a:lnTo>
                    <a:lnTo>
                      <a:pt x="0" y="165"/>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7" name="Freeform 1512"/>
              <p:cNvSpPr>
                <a:spLocks/>
              </p:cNvSpPr>
              <p:nvPr/>
            </p:nvSpPr>
            <p:spPr bwMode="auto">
              <a:xfrm>
                <a:off x="7500980" y="-1314795"/>
                <a:ext cx="45534" cy="45534"/>
              </a:xfrm>
              <a:custGeom>
                <a:avLst/>
                <a:gdLst>
                  <a:gd name="T0" fmla="*/ 0 w 118"/>
                  <a:gd name="T1" fmla="*/ 59 h 118"/>
                  <a:gd name="T2" fmla="*/ 0 w 118"/>
                  <a:gd name="T3" fmla="*/ 59 h 118"/>
                  <a:gd name="T4" fmla="*/ 1 w 118"/>
                  <a:gd name="T5" fmla="*/ 71 h 118"/>
                  <a:gd name="T6" fmla="*/ 4 w 118"/>
                  <a:gd name="T7" fmla="*/ 82 h 118"/>
                  <a:gd name="T8" fmla="*/ 10 w 118"/>
                  <a:gd name="T9" fmla="*/ 92 h 118"/>
                  <a:gd name="T10" fmla="*/ 17 w 118"/>
                  <a:gd name="T11" fmla="*/ 100 h 118"/>
                  <a:gd name="T12" fmla="*/ 26 w 118"/>
                  <a:gd name="T13" fmla="*/ 107 h 118"/>
                  <a:gd name="T14" fmla="*/ 35 w 118"/>
                  <a:gd name="T15" fmla="*/ 114 h 118"/>
                  <a:gd name="T16" fmla="*/ 46 w 118"/>
                  <a:gd name="T17" fmla="*/ 117 h 118"/>
                  <a:gd name="T18" fmla="*/ 59 w 118"/>
                  <a:gd name="T19" fmla="*/ 118 h 118"/>
                  <a:gd name="T20" fmla="*/ 59 w 118"/>
                  <a:gd name="T21" fmla="*/ 118 h 118"/>
                  <a:gd name="T22" fmla="*/ 71 w 118"/>
                  <a:gd name="T23" fmla="*/ 117 h 118"/>
                  <a:gd name="T24" fmla="*/ 82 w 118"/>
                  <a:gd name="T25" fmla="*/ 114 h 118"/>
                  <a:gd name="T26" fmla="*/ 92 w 118"/>
                  <a:gd name="T27" fmla="*/ 107 h 118"/>
                  <a:gd name="T28" fmla="*/ 100 w 118"/>
                  <a:gd name="T29" fmla="*/ 100 h 118"/>
                  <a:gd name="T30" fmla="*/ 107 w 118"/>
                  <a:gd name="T31" fmla="*/ 92 h 118"/>
                  <a:gd name="T32" fmla="*/ 113 w 118"/>
                  <a:gd name="T33" fmla="*/ 82 h 118"/>
                  <a:gd name="T34" fmla="*/ 117 w 118"/>
                  <a:gd name="T35" fmla="*/ 71 h 118"/>
                  <a:gd name="T36" fmla="*/ 118 w 118"/>
                  <a:gd name="T37" fmla="*/ 59 h 118"/>
                  <a:gd name="T38" fmla="*/ 118 w 118"/>
                  <a:gd name="T39" fmla="*/ 59 h 118"/>
                  <a:gd name="T40" fmla="*/ 117 w 118"/>
                  <a:gd name="T41" fmla="*/ 47 h 118"/>
                  <a:gd name="T42" fmla="*/ 113 w 118"/>
                  <a:gd name="T43" fmla="*/ 36 h 118"/>
                  <a:gd name="T44" fmla="*/ 107 w 118"/>
                  <a:gd name="T45" fmla="*/ 26 h 118"/>
                  <a:gd name="T46" fmla="*/ 100 w 118"/>
                  <a:gd name="T47" fmla="*/ 17 h 118"/>
                  <a:gd name="T48" fmla="*/ 92 w 118"/>
                  <a:gd name="T49" fmla="*/ 10 h 118"/>
                  <a:gd name="T50" fmla="*/ 82 w 118"/>
                  <a:gd name="T51" fmla="*/ 4 h 118"/>
                  <a:gd name="T52" fmla="*/ 71 w 118"/>
                  <a:gd name="T53" fmla="*/ 1 h 118"/>
                  <a:gd name="T54" fmla="*/ 59 w 118"/>
                  <a:gd name="T55" fmla="*/ 0 h 118"/>
                  <a:gd name="T56" fmla="*/ 59 w 118"/>
                  <a:gd name="T57" fmla="*/ 0 h 118"/>
                  <a:gd name="T58" fmla="*/ 46 w 118"/>
                  <a:gd name="T59" fmla="*/ 1 h 118"/>
                  <a:gd name="T60" fmla="*/ 35 w 118"/>
                  <a:gd name="T61" fmla="*/ 4 h 118"/>
                  <a:gd name="T62" fmla="*/ 26 w 118"/>
                  <a:gd name="T63" fmla="*/ 10 h 118"/>
                  <a:gd name="T64" fmla="*/ 17 w 118"/>
                  <a:gd name="T65" fmla="*/ 17 h 118"/>
                  <a:gd name="T66" fmla="*/ 10 w 118"/>
                  <a:gd name="T67" fmla="*/ 26 h 118"/>
                  <a:gd name="T68" fmla="*/ 4 w 118"/>
                  <a:gd name="T69" fmla="*/ 36 h 118"/>
                  <a:gd name="T70" fmla="*/ 1 w 118"/>
                  <a:gd name="T71" fmla="*/ 47 h 118"/>
                  <a:gd name="T72" fmla="*/ 0 w 118"/>
                  <a:gd name="T73" fmla="*/ 59 h 118"/>
                  <a:gd name="T74" fmla="*/ 0 w 118"/>
                  <a:gd name="T75" fmla="*/ 5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8" h="118">
                    <a:moveTo>
                      <a:pt x="0" y="59"/>
                    </a:moveTo>
                    <a:lnTo>
                      <a:pt x="0" y="59"/>
                    </a:lnTo>
                    <a:lnTo>
                      <a:pt x="1" y="71"/>
                    </a:lnTo>
                    <a:lnTo>
                      <a:pt x="4" y="82"/>
                    </a:lnTo>
                    <a:lnTo>
                      <a:pt x="10" y="92"/>
                    </a:lnTo>
                    <a:lnTo>
                      <a:pt x="17" y="100"/>
                    </a:lnTo>
                    <a:lnTo>
                      <a:pt x="26" y="107"/>
                    </a:lnTo>
                    <a:lnTo>
                      <a:pt x="35" y="114"/>
                    </a:lnTo>
                    <a:lnTo>
                      <a:pt x="46" y="117"/>
                    </a:lnTo>
                    <a:lnTo>
                      <a:pt x="59" y="118"/>
                    </a:lnTo>
                    <a:lnTo>
                      <a:pt x="59" y="118"/>
                    </a:lnTo>
                    <a:lnTo>
                      <a:pt x="71" y="117"/>
                    </a:lnTo>
                    <a:lnTo>
                      <a:pt x="82" y="114"/>
                    </a:lnTo>
                    <a:lnTo>
                      <a:pt x="92" y="107"/>
                    </a:lnTo>
                    <a:lnTo>
                      <a:pt x="100" y="100"/>
                    </a:lnTo>
                    <a:lnTo>
                      <a:pt x="107" y="92"/>
                    </a:lnTo>
                    <a:lnTo>
                      <a:pt x="113" y="82"/>
                    </a:lnTo>
                    <a:lnTo>
                      <a:pt x="117" y="71"/>
                    </a:lnTo>
                    <a:lnTo>
                      <a:pt x="118" y="59"/>
                    </a:lnTo>
                    <a:lnTo>
                      <a:pt x="118" y="59"/>
                    </a:lnTo>
                    <a:lnTo>
                      <a:pt x="117" y="47"/>
                    </a:lnTo>
                    <a:lnTo>
                      <a:pt x="113" y="36"/>
                    </a:lnTo>
                    <a:lnTo>
                      <a:pt x="107" y="26"/>
                    </a:lnTo>
                    <a:lnTo>
                      <a:pt x="100" y="17"/>
                    </a:lnTo>
                    <a:lnTo>
                      <a:pt x="92" y="10"/>
                    </a:lnTo>
                    <a:lnTo>
                      <a:pt x="82" y="4"/>
                    </a:lnTo>
                    <a:lnTo>
                      <a:pt x="71" y="1"/>
                    </a:lnTo>
                    <a:lnTo>
                      <a:pt x="59" y="0"/>
                    </a:lnTo>
                    <a:lnTo>
                      <a:pt x="59" y="0"/>
                    </a:lnTo>
                    <a:lnTo>
                      <a:pt x="46" y="1"/>
                    </a:lnTo>
                    <a:lnTo>
                      <a:pt x="35" y="4"/>
                    </a:lnTo>
                    <a:lnTo>
                      <a:pt x="26" y="10"/>
                    </a:lnTo>
                    <a:lnTo>
                      <a:pt x="17" y="17"/>
                    </a:lnTo>
                    <a:lnTo>
                      <a:pt x="10" y="26"/>
                    </a:lnTo>
                    <a:lnTo>
                      <a:pt x="4" y="36"/>
                    </a:lnTo>
                    <a:lnTo>
                      <a:pt x="1" y="47"/>
                    </a:lnTo>
                    <a:lnTo>
                      <a:pt x="0" y="59"/>
                    </a:lnTo>
                    <a:lnTo>
                      <a:pt x="0"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8" name="Freeform 1513"/>
              <p:cNvSpPr>
                <a:spLocks/>
              </p:cNvSpPr>
              <p:nvPr/>
            </p:nvSpPr>
            <p:spPr bwMode="auto">
              <a:xfrm>
                <a:off x="7375761" y="-1225625"/>
                <a:ext cx="7589" cy="1898"/>
              </a:xfrm>
              <a:custGeom>
                <a:avLst/>
                <a:gdLst>
                  <a:gd name="T0" fmla="*/ 19 w 19"/>
                  <a:gd name="T1" fmla="*/ 0 h 8"/>
                  <a:gd name="T2" fmla="*/ 0 w 19"/>
                  <a:gd name="T3" fmla="*/ 8 h 8"/>
                  <a:gd name="T4" fmla="*/ 19 w 19"/>
                  <a:gd name="T5" fmla="*/ 0 h 8"/>
                  <a:gd name="T6" fmla="*/ 19 w 19"/>
                  <a:gd name="T7" fmla="*/ 0 h 8"/>
                </a:gdLst>
                <a:ahLst/>
                <a:cxnLst>
                  <a:cxn ang="0">
                    <a:pos x="T0" y="T1"/>
                  </a:cxn>
                  <a:cxn ang="0">
                    <a:pos x="T2" y="T3"/>
                  </a:cxn>
                  <a:cxn ang="0">
                    <a:pos x="T4" y="T5"/>
                  </a:cxn>
                  <a:cxn ang="0">
                    <a:pos x="T6" y="T7"/>
                  </a:cxn>
                </a:cxnLst>
                <a:rect l="0" t="0" r="r" b="b"/>
                <a:pathLst>
                  <a:path w="19" h="8">
                    <a:moveTo>
                      <a:pt x="19" y="0"/>
                    </a:moveTo>
                    <a:lnTo>
                      <a:pt x="0" y="8"/>
                    </a:lnTo>
                    <a:lnTo>
                      <a:pt x="19" y="0"/>
                    </a:lnTo>
                    <a:lnTo>
                      <a:pt x="19" y="0"/>
                    </a:lnTo>
                    <a:close/>
                  </a:path>
                </a:pathLst>
              </a:custGeom>
              <a:solidFill>
                <a:srgbClr val="0001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69" name="Freeform 1514"/>
              <p:cNvSpPr>
                <a:spLocks/>
              </p:cNvSpPr>
              <p:nvPr/>
            </p:nvSpPr>
            <p:spPr bwMode="auto">
              <a:xfrm>
                <a:off x="7375761" y="-1225625"/>
                <a:ext cx="7589" cy="1898"/>
              </a:xfrm>
              <a:custGeom>
                <a:avLst/>
                <a:gdLst>
                  <a:gd name="T0" fmla="*/ 19 w 19"/>
                  <a:gd name="T1" fmla="*/ 0 h 8"/>
                  <a:gd name="T2" fmla="*/ 0 w 19"/>
                  <a:gd name="T3" fmla="*/ 8 h 8"/>
                  <a:gd name="T4" fmla="*/ 19 w 19"/>
                  <a:gd name="T5" fmla="*/ 0 h 8"/>
                  <a:gd name="T6" fmla="*/ 19 w 19"/>
                  <a:gd name="T7" fmla="*/ 0 h 8"/>
                </a:gdLst>
                <a:ahLst/>
                <a:cxnLst>
                  <a:cxn ang="0">
                    <a:pos x="T0" y="T1"/>
                  </a:cxn>
                  <a:cxn ang="0">
                    <a:pos x="T2" y="T3"/>
                  </a:cxn>
                  <a:cxn ang="0">
                    <a:pos x="T4" y="T5"/>
                  </a:cxn>
                  <a:cxn ang="0">
                    <a:pos x="T6" y="T7"/>
                  </a:cxn>
                </a:cxnLst>
                <a:rect l="0" t="0" r="r" b="b"/>
                <a:pathLst>
                  <a:path w="19" h="8">
                    <a:moveTo>
                      <a:pt x="19" y="0"/>
                    </a:moveTo>
                    <a:lnTo>
                      <a:pt x="0" y="8"/>
                    </a:lnTo>
                    <a:lnTo>
                      <a:pt x="19" y="0"/>
                    </a:lnTo>
                    <a:lnTo>
                      <a:pt x="1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0" name="Freeform 1515"/>
              <p:cNvSpPr>
                <a:spLocks/>
              </p:cNvSpPr>
              <p:nvPr/>
            </p:nvSpPr>
            <p:spPr bwMode="auto">
              <a:xfrm>
                <a:off x="7360583" y="-1303412"/>
                <a:ext cx="22767" cy="87274"/>
              </a:xfrm>
              <a:custGeom>
                <a:avLst/>
                <a:gdLst>
                  <a:gd name="T0" fmla="*/ 0 w 59"/>
                  <a:gd name="T1" fmla="*/ 0 h 227"/>
                  <a:gd name="T2" fmla="*/ 0 w 59"/>
                  <a:gd name="T3" fmla="*/ 227 h 227"/>
                  <a:gd name="T4" fmla="*/ 40 w 59"/>
                  <a:gd name="T5" fmla="*/ 210 h 227"/>
                  <a:gd name="T6" fmla="*/ 59 w 59"/>
                  <a:gd name="T7" fmla="*/ 202 h 227"/>
                  <a:gd name="T8" fmla="*/ 59 w 59"/>
                  <a:gd name="T9" fmla="*/ 25 h 227"/>
                  <a:gd name="T10" fmla="*/ 0 w 59"/>
                  <a:gd name="T11" fmla="*/ 0 h 227"/>
                </a:gdLst>
                <a:ahLst/>
                <a:cxnLst>
                  <a:cxn ang="0">
                    <a:pos x="T0" y="T1"/>
                  </a:cxn>
                  <a:cxn ang="0">
                    <a:pos x="T2" y="T3"/>
                  </a:cxn>
                  <a:cxn ang="0">
                    <a:pos x="T4" y="T5"/>
                  </a:cxn>
                  <a:cxn ang="0">
                    <a:pos x="T6" y="T7"/>
                  </a:cxn>
                  <a:cxn ang="0">
                    <a:pos x="T8" y="T9"/>
                  </a:cxn>
                  <a:cxn ang="0">
                    <a:pos x="T10" y="T11"/>
                  </a:cxn>
                </a:cxnLst>
                <a:rect l="0" t="0" r="r" b="b"/>
                <a:pathLst>
                  <a:path w="59" h="227">
                    <a:moveTo>
                      <a:pt x="0" y="0"/>
                    </a:moveTo>
                    <a:lnTo>
                      <a:pt x="0" y="227"/>
                    </a:lnTo>
                    <a:lnTo>
                      <a:pt x="40" y="210"/>
                    </a:lnTo>
                    <a:lnTo>
                      <a:pt x="59" y="202"/>
                    </a:lnTo>
                    <a:lnTo>
                      <a:pt x="59" y="25"/>
                    </a:lnTo>
                    <a:lnTo>
                      <a:pt x="0" y="0"/>
                    </a:lnTo>
                    <a:close/>
                  </a:path>
                </a:pathLst>
              </a:custGeom>
              <a:solidFill>
                <a:srgbClr val="862E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1" name="Freeform 1516"/>
              <p:cNvSpPr>
                <a:spLocks/>
              </p:cNvSpPr>
              <p:nvPr/>
            </p:nvSpPr>
            <p:spPr bwMode="auto">
              <a:xfrm>
                <a:off x="7360583" y="-1303412"/>
                <a:ext cx="22767" cy="87274"/>
              </a:xfrm>
              <a:custGeom>
                <a:avLst/>
                <a:gdLst>
                  <a:gd name="T0" fmla="*/ 0 w 59"/>
                  <a:gd name="T1" fmla="*/ 0 h 227"/>
                  <a:gd name="T2" fmla="*/ 0 w 59"/>
                  <a:gd name="T3" fmla="*/ 227 h 227"/>
                  <a:gd name="T4" fmla="*/ 40 w 59"/>
                  <a:gd name="T5" fmla="*/ 210 h 227"/>
                  <a:gd name="T6" fmla="*/ 59 w 59"/>
                  <a:gd name="T7" fmla="*/ 202 h 227"/>
                  <a:gd name="T8" fmla="*/ 59 w 59"/>
                  <a:gd name="T9" fmla="*/ 25 h 227"/>
                  <a:gd name="T10" fmla="*/ 0 w 59"/>
                  <a:gd name="T11" fmla="*/ 0 h 227"/>
                </a:gdLst>
                <a:ahLst/>
                <a:cxnLst>
                  <a:cxn ang="0">
                    <a:pos x="T0" y="T1"/>
                  </a:cxn>
                  <a:cxn ang="0">
                    <a:pos x="T2" y="T3"/>
                  </a:cxn>
                  <a:cxn ang="0">
                    <a:pos x="T4" y="T5"/>
                  </a:cxn>
                  <a:cxn ang="0">
                    <a:pos x="T6" y="T7"/>
                  </a:cxn>
                  <a:cxn ang="0">
                    <a:pos x="T8" y="T9"/>
                  </a:cxn>
                  <a:cxn ang="0">
                    <a:pos x="T10" y="T11"/>
                  </a:cxn>
                </a:cxnLst>
                <a:rect l="0" t="0" r="r" b="b"/>
                <a:pathLst>
                  <a:path w="59" h="227">
                    <a:moveTo>
                      <a:pt x="0" y="0"/>
                    </a:moveTo>
                    <a:lnTo>
                      <a:pt x="0" y="227"/>
                    </a:lnTo>
                    <a:lnTo>
                      <a:pt x="40" y="210"/>
                    </a:lnTo>
                    <a:lnTo>
                      <a:pt x="59" y="202"/>
                    </a:lnTo>
                    <a:lnTo>
                      <a:pt x="59" y="2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2" name="Rectangle 1517"/>
              <p:cNvSpPr>
                <a:spLocks noChangeArrowheads="1"/>
              </p:cNvSpPr>
              <p:nvPr/>
            </p:nvSpPr>
            <p:spPr bwMode="auto">
              <a:xfrm>
                <a:off x="7383350" y="-1293926"/>
                <a:ext cx="1898" cy="68302"/>
              </a:xfrm>
              <a:prstGeom prst="rect">
                <a:avLst/>
              </a:prstGeom>
              <a:solidFill>
                <a:srgbClr val="CC551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3" name="Freeform 1518"/>
              <p:cNvSpPr>
                <a:spLocks/>
              </p:cNvSpPr>
              <p:nvPr/>
            </p:nvSpPr>
            <p:spPr bwMode="auto">
              <a:xfrm>
                <a:off x="7383350" y="-1293926"/>
                <a:ext cx="0" cy="68302"/>
              </a:xfrm>
              <a:custGeom>
                <a:avLst/>
                <a:gdLst>
                  <a:gd name="T0" fmla="*/ 0 h 177"/>
                  <a:gd name="T1" fmla="*/ 177 h 177"/>
                  <a:gd name="T2" fmla="*/ 177 h 177"/>
                  <a:gd name="T3" fmla="*/ 0 h 177"/>
                </a:gdLst>
                <a:ahLst/>
                <a:cxnLst>
                  <a:cxn ang="0">
                    <a:pos x="0" y="T0"/>
                  </a:cxn>
                  <a:cxn ang="0">
                    <a:pos x="0" y="T1"/>
                  </a:cxn>
                  <a:cxn ang="0">
                    <a:pos x="0" y="T2"/>
                  </a:cxn>
                  <a:cxn ang="0">
                    <a:pos x="0" y="T3"/>
                  </a:cxn>
                </a:cxnLst>
                <a:rect l="0" t="0" r="r" b="b"/>
                <a:pathLst>
                  <a:path h="177">
                    <a:moveTo>
                      <a:pt x="0" y="0"/>
                    </a:moveTo>
                    <a:lnTo>
                      <a:pt x="0" y="177"/>
                    </a:lnTo>
                    <a:lnTo>
                      <a:pt x="0" y="17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4" name="Freeform 1519"/>
              <p:cNvSpPr>
                <a:spLocks/>
              </p:cNvSpPr>
              <p:nvPr/>
            </p:nvSpPr>
            <p:spPr bwMode="auto">
              <a:xfrm>
                <a:off x="6628246" y="-1373610"/>
                <a:ext cx="89171" cy="62609"/>
              </a:xfrm>
              <a:custGeom>
                <a:avLst/>
                <a:gdLst>
                  <a:gd name="T0" fmla="*/ 225 w 232"/>
                  <a:gd name="T1" fmla="*/ 0 h 163"/>
                  <a:gd name="T2" fmla="*/ 225 w 232"/>
                  <a:gd name="T3" fmla="*/ 0 h 163"/>
                  <a:gd name="T4" fmla="*/ 229 w 232"/>
                  <a:gd name="T5" fmla="*/ 11 h 163"/>
                  <a:gd name="T6" fmla="*/ 231 w 232"/>
                  <a:gd name="T7" fmla="*/ 24 h 163"/>
                  <a:gd name="T8" fmla="*/ 232 w 232"/>
                  <a:gd name="T9" fmla="*/ 36 h 163"/>
                  <a:gd name="T10" fmla="*/ 232 w 232"/>
                  <a:gd name="T11" fmla="*/ 48 h 163"/>
                  <a:gd name="T12" fmla="*/ 231 w 232"/>
                  <a:gd name="T13" fmla="*/ 59 h 163"/>
                  <a:gd name="T14" fmla="*/ 229 w 232"/>
                  <a:gd name="T15" fmla="*/ 70 h 163"/>
                  <a:gd name="T16" fmla="*/ 226 w 232"/>
                  <a:gd name="T17" fmla="*/ 82 h 163"/>
                  <a:gd name="T18" fmla="*/ 221 w 232"/>
                  <a:gd name="T19" fmla="*/ 92 h 163"/>
                  <a:gd name="T20" fmla="*/ 217 w 232"/>
                  <a:gd name="T21" fmla="*/ 103 h 163"/>
                  <a:gd name="T22" fmla="*/ 211 w 232"/>
                  <a:gd name="T23" fmla="*/ 113 h 163"/>
                  <a:gd name="T24" fmla="*/ 203 w 232"/>
                  <a:gd name="T25" fmla="*/ 121 h 163"/>
                  <a:gd name="T26" fmla="*/ 195 w 232"/>
                  <a:gd name="T27" fmla="*/ 130 h 163"/>
                  <a:gd name="T28" fmla="*/ 186 w 232"/>
                  <a:gd name="T29" fmla="*/ 137 h 163"/>
                  <a:gd name="T30" fmla="*/ 176 w 232"/>
                  <a:gd name="T31" fmla="*/ 144 h 163"/>
                  <a:gd name="T32" fmla="*/ 165 w 232"/>
                  <a:gd name="T33" fmla="*/ 150 h 163"/>
                  <a:gd name="T34" fmla="*/ 154 w 232"/>
                  <a:gd name="T35" fmla="*/ 155 h 163"/>
                  <a:gd name="T36" fmla="*/ 154 w 232"/>
                  <a:gd name="T37" fmla="*/ 155 h 163"/>
                  <a:gd name="T38" fmla="*/ 142 w 232"/>
                  <a:gd name="T39" fmla="*/ 159 h 163"/>
                  <a:gd name="T40" fmla="*/ 130 w 232"/>
                  <a:gd name="T41" fmla="*/ 161 h 163"/>
                  <a:gd name="T42" fmla="*/ 119 w 232"/>
                  <a:gd name="T43" fmla="*/ 163 h 163"/>
                  <a:gd name="T44" fmla="*/ 107 w 232"/>
                  <a:gd name="T45" fmla="*/ 163 h 163"/>
                  <a:gd name="T46" fmla="*/ 95 w 232"/>
                  <a:gd name="T47" fmla="*/ 161 h 163"/>
                  <a:gd name="T48" fmla="*/ 84 w 232"/>
                  <a:gd name="T49" fmla="*/ 159 h 163"/>
                  <a:gd name="T50" fmla="*/ 73 w 232"/>
                  <a:gd name="T51" fmla="*/ 156 h 163"/>
                  <a:gd name="T52" fmla="*/ 62 w 232"/>
                  <a:gd name="T53" fmla="*/ 152 h 163"/>
                  <a:gd name="T54" fmla="*/ 52 w 232"/>
                  <a:gd name="T55" fmla="*/ 147 h 163"/>
                  <a:gd name="T56" fmla="*/ 42 w 232"/>
                  <a:gd name="T57" fmla="*/ 141 h 163"/>
                  <a:gd name="T58" fmla="*/ 33 w 232"/>
                  <a:gd name="T59" fmla="*/ 133 h 163"/>
                  <a:gd name="T60" fmla="*/ 24 w 232"/>
                  <a:gd name="T61" fmla="*/ 125 h 163"/>
                  <a:gd name="T62" fmla="*/ 17 w 232"/>
                  <a:gd name="T63" fmla="*/ 116 h 163"/>
                  <a:gd name="T64" fmla="*/ 9 w 232"/>
                  <a:gd name="T65" fmla="*/ 106 h 163"/>
                  <a:gd name="T66" fmla="*/ 4 w 232"/>
                  <a:gd name="T67" fmla="*/ 95 h 163"/>
                  <a:gd name="T68" fmla="*/ 0 w 232"/>
                  <a:gd name="T69" fmla="*/ 84 h 163"/>
                  <a:gd name="T70" fmla="*/ 225 w 232"/>
                  <a:gd name="T71"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2" h="163">
                    <a:moveTo>
                      <a:pt x="225" y="0"/>
                    </a:moveTo>
                    <a:lnTo>
                      <a:pt x="225" y="0"/>
                    </a:lnTo>
                    <a:lnTo>
                      <a:pt x="229" y="11"/>
                    </a:lnTo>
                    <a:lnTo>
                      <a:pt x="231" y="24"/>
                    </a:lnTo>
                    <a:lnTo>
                      <a:pt x="232" y="36"/>
                    </a:lnTo>
                    <a:lnTo>
                      <a:pt x="232" y="48"/>
                    </a:lnTo>
                    <a:lnTo>
                      <a:pt x="231" y="59"/>
                    </a:lnTo>
                    <a:lnTo>
                      <a:pt x="229" y="70"/>
                    </a:lnTo>
                    <a:lnTo>
                      <a:pt x="226" y="82"/>
                    </a:lnTo>
                    <a:lnTo>
                      <a:pt x="221" y="92"/>
                    </a:lnTo>
                    <a:lnTo>
                      <a:pt x="217" y="103"/>
                    </a:lnTo>
                    <a:lnTo>
                      <a:pt x="211" y="113"/>
                    </a:lnTo>
                    <a:lnTo>
                      <a:pt x="203" y="121"/>
                    </a:lnTo>
                    <a:lnTo>
                      <a:pt x="195" y="130"/>
                    </a:lnTo>
                    <a:lnTo>
                      <a:pt x="186" y="137"/>
                    </a:lnTo>
                    <a:lnTo>
                      <a:pt x="176" y="144"/>
                    </a:lnTo>
                    <a:lnTo>
                      <a:pt x="165" y="150"/>
                    </a:lnTo>
                    <a:lnTo>
                      <a:pt x="154" y="155"/>
                    </a:lnTo>
                    <a:lnTo>
                      <a:pt x="154" y="155"/>
                    </a:lnTo>
                    <a:lnTo>
                      <a:pt x="142" y="159"/>
                    </a:lnTo>
                    <a:lnTo>
                      <a:pt x="130" y="161"/>
                    </a:lnTo>
                    <a:lnTo>
                      <a:pt x="119" y="163"/>
                    </a:lnTo>
                    <a:lnTo>
                      <a:pt x="107" y="163"/>
                    </a:lnTo>
                    <a:lnTo>
                      <a:pt x="95" y="161"/>
                    </a:lnTo>
                    <a:lnTo>
                      <a:pt x="84" y="159"/>
                    </a:lnTo>
                    <a:lnTo>
                      <a:pt x="73" y="156"/>
                    </a:lnTo>
                    <a:lnTo>
                      <a:pt x="62" y="152"/>
                    </a:lnTo>
                    <a:lnTo>
                      <a:pt x="52" y="147"/>
                    </a:lnTo>
                    <a:lnTo>
                      <a:pt x="42" y="141"/>
                    </a:lnTo>
                    <a:lnTo>
                      <a:pt x="33" y="133"/>
                    </a:lnTo>
                    <a:lnTo>
                      <a:pt x="24" y="125"/>
                    </a:lnTo>
                    <a:lnTo>
                      <a:pt x="17" y="116"/>
                    </a:lnTo>
                    <a:lnTo>
                      <a:pt x="9" y="106"/>
                    </a:lnTo>
                    <a:lnTo>
                      <a:pt x="4" y="95"/>
                    </a:lnTo>
                    <a:lnTo>
                      <a:pt x="0" y="84"/>
                    </a:lnTo>
                    <a:lnTo>
                      <a:pt x="225" y="0"/>
                    </a:lnTo>
                    <a:close/>
                  </a:path>
                </a:pathLst>
              </a:custGeom>
              <a:solidFill>
                <a:srgbClr val="A5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5" name="Freeform 1520"/>
              <p:cNvSpPr>
                <a:spLocks/>
              </p:cNvSpPr>
              <p:nvPr/>
            </p:nvSpPr>
            <p:spPr bwMode="auto">
              <a:xfrm>
                <a:off x="6626348" y="-1402070"/>
                <a:ext cx="87274" cy="60712"/>
              </a:xfrm>
              <a:custGeom>
                <a:avLst/>
                <a:gdLst>
                  <a:gd name="T0" fmla="*/ 9 w 234"/>
                  <a:gd name="T1" fmla="*/ 163 h 163"/>
                  <a:gd name="T2" fmla="*/ 9 w 234"/>
                  <a:gd name="T3" fmla="*/ 163 h 163"/>
                  <a:gd name="T4" fmla="*/ 4 w 234"/>
                  <a:gd name="T5" fmla="*/ 151 h 163"/>
                  <a:gd name="T6" fmla="*/ 1 w 234"/>
                  <a:gd name="T7" fmla="*/ 139 h 163"/>
                  <a:gd name="T8" fmla="*/ 0 w 234"/>
                  <a:gd name="T9" fmla="*/ 128 h 163"/>
                  <a:gd name="T10" fmla="*/ 0 w 234"/>
                  <a:gd name="T11" fmla="*/ 116 h 163"/>
                  <a:gd name="T12" fmla="*/ 1 w 234"/>
                  <a:gd name="T13" fmla="*/ 104 h 163"/>
                  <a:gd name="T14" fmla="*/ 4 w 234"/>
                  <a:gd name="T15" fmla="*/ 93 h 163"/>
                  <a:gd name="T16" fmla="*/ 7 w 234"/>
                  <a:gd name="T17" fmla="*/ 82 h 163"/>
                  <a:gd name="T18" fmla="*/ 11 w 234"/>
                  <a:gd name="T19" fmla="*/ 71 h 163"/>
                  <a:gd name="T20" fmla="*/ 17 w 234"/>
                  <a:gd name="T21" fmla="*/ 61 h 163"/>
                  <a:gd name="T22" fmla="*/ 23 w 234"/>
                  <a:gd name="T23" fmla="*/ 51 h 163"/>
                  <a:gd name="T24" fmla="*/ 31 w 234"/>
                  <a:gd name="T25" fmla="*/ 42 h 163"/>
                  <a:gd name="T26" fmla="*/ 38 w 234"/>
                  <a:gd name="T27" fmla="*/ 33 h 163"/>
                  <a:gd name="T28" fmla="*/ 48 w 234"/>
                  <a:gd name="T29" fmla="*/ 26 h 163"/>
                  <a:gd name="T30" fmla="*/ 57 w 234"/>
                  <a:gd name="T31" fmla="*/ 18 h 163"/>
                  <a:gd name="T32" fmla="*/ 67 w 234"/>
                  <a:gd name="T33" fmla="*/ 14 h 163"/>
                  <a:gd name="T34" fmla="*/ 79 w 234"/>
                  <a:gd name="T35" fmla="*/ 9 h 163"/>
                  <a:gd name="T36" fmla="*/ 79 w 234"/>
                  <a:gd name="T37" fmla="*/ 9 h 163"/>
                  <a:gd name="T38" fmla="*/ 90 w 234"/>
                  <a:gd name="T39" fmla="*/ 5 h 163"/>
                  <a:gd name="T40" fmla="*/ 102 w 234"/>
                  <a:gd name="T41" fmla="*/ 3 h 163"/>
                  <a:gd name="T42" fmla="*/ 115 w 234"/>
                  <a:gd name="T43" fmla="*/ 0 h 163"/>
                  <a:gd name="T44" fmla="*/ 127 w 234"/>
                  <a:gd name="T45" fmla="*/ 0 h 163"/>
                  <a:gd name="T46" fmla="*/ 138 w 234"/>
                  <a:gd name="T47" fmla="*/ 1 h 163"/>
                  <a:gd name="T48" fmla="*/ 149 w 234"/>
                  <a:gd name="T49" fmla="*/ 4 h 163"/>
                  <a:gd name="T50" fmla="*/ 161 w 234"/>
                  <a:gd name="T51" fmla="*/ 7 h 163"/>
                  <a:gd name="T52" fmla="*/ 171 w 234"/>
                  <a:gd name="T53" fmla="*/ 11 h 163"/>
                  <a:gd name="T54" fmla="*/ 182 w 234"/>
                  <a:gd name="T55" fmla="*/ 17 h 163"/>
                  <a:gd name="T56" fmla="*/ 191 w 234"/>
                  <a:gd name="T57" fmla="*/ 23 h 163"/>
                  <a:gd name="T58" fmla="*/ 200 w 234"/>
                  <a:gd name="T59" fmla="*/ 31 h 163"/>
                  <a:gd name="T60" fmla="*/ 209 w 234"/>
                  <a:gd name="T61" fmla="*/ 38 h 163"/>
                  <a:gd name="T62" fmla="*/ 216 w 234"/>
                  <a:gd name="T63" fmla="*/ 48 h 163"/>
                  <a:gd name="T64" fmla="*/ 223 w 234"/>
                  <a:gd name="T65" fmla="*/ 57 h 163"/>
                  <a:gd name="T66" fmla="*/ 229 w 234"/>
                  <a:gd name="T67" fmla="*/ 67 h 163"/>
                  <a:gd name="T68" fmla="*/ 234 w 234"/>
                  <a:gd name="T69" fmla="*/ 79 h 163"/>
                  <a:gd name="T70" fmla="*/ 9 w 234"/>
                  <a:gd name="T71"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4" h="163">
                    <a:moveTo>
                      <a:pt x="9" y="163"/>
                    </a:moveTo>
                    <a:lnTo>
                      <a:pt x="9" y="163"/>
                    </a:lnTo>
                    <a:lnTo>
                      <a:pt x="4" y="151"/>
                    </a:lnTo>
                    <a:lnTo>
                      <a:pt x="1" y="139"/>
                    </a:lnTo>
                    <a:lnTo>
                      <a:pt x="0" y="128"/>
                    </a:lnTo>
                    <a:lnTo>
                      <a:pt x="0" y="116"/>
                    </a:lnTo>
                    <a:lnTo>
                      <a:pt x="1" y="104"/>
                    </a:lnTo>
                    <a:lnTo>
                      <a:pt x="4" y="93"/>
                    </a:lnTo>
                    <a:lnTo>
                      <a:pt x="7" y="82"/>
                    </a:lnTo>
                    <a:lnTo>
                      <a:pt x="11" y="71"/>
                    </a:lnTo>
                    <a:lnTo>
                      <a:pt x="17" y="61"/>
                    </a:lnTo>
                    <a:lnTo>
                      <a:pt x="23" y="51"/>
                    </a:lnTo>
                    <a:lnTo>
                      <a:pt x="31" y="42"/>
                    </a:lnTo>
                    <a:lnTo>
                      <a:pt x="38" y="33"/>
                    </a:lnTo>
                    <a:lnTo>
                      <a:pt x="48" y="26"/>
                    </a:lnTo>
                    <a:lnTo>
                      <a:pt x="57" y="18"/>
                    </a:lnTo>
                    <a:lnTo>
                      <a:pt x="67" y="14"/>
                    </a:lnTo>
                    <a:lnTo>
                      <a:pt x="79" y="9"/>
                    </a:lnTo>
                    <a:lnTo>
                      <a:pt x="79" y="9"/>
                    </a:lnTo>
                    <a:lnTo>
                      <a:pt x="90" y="5"/>
                    </a:lnTo>
                    <a:lnTo>
                      <a:pt x="102" y="3"/>
                    </a:lnTo>
                    <a:lnTo>
                      <a:pt x="115" y="0"/>
                    </a:lnTo>
                    <a:lnTo>
                      <a:pt x="127" y="0"/>
                    </a:lnTo>
                    <a:lnTo>
                      <a:pt x="138" y="1"/>
                    </a:lnTo>
                    <a:lnTo>
                      <a:pt x="149" y="4"/>
                    </a:lnTo>
                    <a:lnTo>
                      <a:pt x="161" y="7"/>
                    </a:lnTo>
                    <a:lnTo>
                      <a:pt x="171" y="11"/>
                    </a:lnTo>
                    <a:lnTo>
                      <a:pt x="182" y="17"/>
                    </a:lnTo>
                    <a:lnTo>
                      <a:pt x="191" y="23"/>
                    </a:lnTo>
                    <a:lnTo>
                      <a:pt x="200" y="31"/>
                    </a:lnTo>
                    <a:lnTo>
                      <a:pt x="209" y="38"/>
                    </a:lnTo>
                    <a:lnTo>
                      <a:pt x="216" y="48"/>
                    </a:lnTo>
                    <a:lnTo>
                      <a:pt x="223" y="57"/>
                    </a:lnTo>
                    <a:lnTo>
                      <a:pt x="229" y="67"/>
                    </a:lnTo>
                    <a:lnTo>
                      <a:pt x="234" y="79"/>
                    </a:lnTo>
                    <a:lnTo>
                      <a:pt x="9" y="16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6" name="Rectangle 1521"/>
              <p:cNvSpPr>
                <a:spLocks noChangeArrowheads="1"/>
              </p:cNvSpPr>
              <p:nvPr/>
            </p:nvSpPr>
            <p:spPr bwMode="auto">
              <a:xfrm>
                <a:off x="7459241" y="-1178193"/>
                <a:ext cx="60712" cy="28459"/>
              </a:xfrm>
              <a:prstGeom prst="rect">
                <a:avLst/>
              </a:prstGeom>
              <a:solidFill>
                <a:srgbClr val="862E2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7" name="Rectangle 1522"/>
              <p:cNvSpPr>
                <a:spLocks noChangeArrowheads="1"/>
              </p:cNvSpPr>
              <p:nvPr/>
            </p:nvSpPr>
            <p:spPr bwMode="auto">
              <a:xfrm>
                <a:off x="7459241" y="-1178193"/>
                <a:ext cx="60712" cy="28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78" name="Freeform 1523"/>
              <p:cNvSpPr>
                <a:spLocks/>
              </p:cNvSpPr>
              <p:nvPr/>
            </p:nvSpPr>
            <p:spPr bwMode="auto">
              <a:xfrm>
                <a:off x="7324535" y="-933448"/>
                <a:ext cx="328225" cy="28459"/>
              </a:xfrm>
              <a:custGeom>
                <a:avLst/>
                <a:gdLst>
                  <a:gd name="T0" fmla="*/ 829 w 866"/>
                  <a:gd name="T1" fmla="*/ 0 h 76"/>
                  <a:gd name="T2" fmla="*/ 0 w 866"/>
                  <a:gd name="T3" fmla="*/ 0 h 76"/>
                  <a:gd name="T4" fmla="*/ 0 w 866"/>
                  <a:gd name="T5" fmla="*/ 76 h 76"/>
                  <a:gd name="T6" fmla="*/ 866 w 866"/>
                  <a:gd name="T7" fmla="*/ 76 h 76"/>
                  <a:gd name="T8" fmla="*/ 866 w 866"/>
                  <a:gd name="T9" fmla="*/ 76 h 76"/>
                  <a:gd name="T10" fmla="*/ 859 w 866"/>
                  <a:gd name="T11" fmla="*/ 56 h 76"/>
                  <a:gd name="T12" fmla="*/ 850 w 866"/>
                  <a:gd name="T13" fmla="*/ 36 h 76"/>
                  <a:gd name="T14" fmla="*/ 840 w 866"/>
                  <a:gd name="T15" fmla="*/ 17 h 76"/>
                  <a:gd name="T16" fmla="*/ 829 w 866"/>
                  <a:gd name="T1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6" h="76">
                    <a:moveTo>
                      <a:pt x="829" y="0"/>
                    </a:moveTo>
                    <a:lnTo>
                      <a:pt x="0" y="0"/>
                    </a:lnTo>
                    <a:lnTo>
                      <a:pt x="0" y="76"/>
                    </a:lnTo>
                    <a:lnTo>
                      <a:pt x="866" y="76"/>
                    </a:lnTo>
                    <a:lnTo>
                      <a:pt x="866" y="76"/>
                    </a:lnTo>
                    <a:lnTo>
                      <a:pt x="859" y="56"/>
                    </a:lnTo>
                    <a:lnTo>
                      <a:pt x="850" y="36"/>
                    </a:lnTo>
                    <a:lnTo>
                      <a:pt x="840" y="17"/>
                    </a:lnTo>
                    <a:lnTo>
                      <a:pt x="829" y="0"/>
                    </a:lnTo>
                    <a:close/>
                  </a:path>
                </a:pathLst>
              </a:custGeom>
              <a:solidFill>
                <a:srgbClr val="A7A7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0" name="Freeform 1525"/>
              <p:cNvSpPr>
                <a:spLocks/>
              </p:cNvSpPr>
              <p:nvPr/>
            </p:nvSpPr>
            <p:spPr bwMode="auto">
              <a:xfrm>
                <a:off x="7100662" y="-1068153"/>
                <a:ext cx="127116" cy="163164"/>
              </a:xfrm>
              <a:custGeom>
                <a:avLst/>
                <a:gdLst>
                  <a:gd name="T0" fmla="*/ 337 w 337"/>
                  <a:gd name="T1" fmla="*/ 0 h 434"/>
                  <a:gd name="T2" fmla="*/ 337 w 337"/>
                  <a:gd name="T3" fmla="*/ 336 h 434"/>
                  <a:gd name="T4" fmla="*/ 337 w 337"/>
                  <a:gd name="T5" fmla="*/ 434 h 434"/>
                  <a:gd name="T6" fmla="*/ 0 w 337"/>
                  <a:gd name="T7" fmla="*/ 434 h 434"/>
                  <a:gd name="T8" fmla="*/ 0 w 337"/>
                  <a:gd name="T9" fmla="*/ 336 h 434"/>
                  <a:gd name="T10" fmla="*/ 0 w 337"/>
                  <a:gd name="T11" fmla="*/ 336 h 434"/>
                  <a:gd name="T12" fmla="*/ 1 w 337"/>
                  <a:gd name="T13" fmla="*/ 318 h 434"/>
                  <a:gd name="T14" fmla="*/ 3 w 337"/>
                  <a:gd name="T15" fmla="*/ 301 h 434"/>
                  <a:gd name="T16" fmla="*/ 5 w 337"/>
                  <a:gd name="T17" fmla="*/ 284 h 434"/>
                  <a:gd name="T18" fmla="*/ 7 w 337"/>
                  <a:gd name="T19" fmla="*/ 269 h 434"/>
                  <a:gd name="T20" fmla="*/ 11 w 337"/>
                  <a:gd name="T21" fmla="*/ 251 h 434"/>
                  <a:gd name="T22" fmla="*/ 16 w 337"/>
                  <a:gd name="T23" fmla="*/ 236 h 434"/>
                  <a:gd name="T24" fmla="*/ 21 w 337"/>
                  <a:gd name="T25" fmla="*/ 220 h 434"/>
                  <a:gd name="T26" fmla="*/ 27 w 337"/>
                  <a:gd name="T27" fmla="*/ 205 h 434"/>
                  <a:gd name="T28" fmla="*/ 34 w 337"/>
                  <a:gd name="T29" fmla="*/ 190 h 434"/>
                  <a:gd name="T30" fmla="*/ 42 w 337"/>
                  <a:gd name="T31" fmla="*/ 176 h 434"/>
                  <a:gd name="T32" fmla="*/ 49 w 337"/>
                  <a:gd name="T33" fmla="*/ 161 h 434"/>
                  <a:gd name="T34" fmla="*/ 57 w 337"/>
                  <a:gd name="T35" fmla="*/ 148 h 434"/>
                  <a:gd name="T36" fmla="*/ 67 w 337"/>
                  <a:gd name="T37" fmla="*/ 134 h 434"/>
                  <a:gd name="T38" fmla="*/ 77 w 337"/>
                  <a:gd name="T39" fmla="*/ 122 h 434"/>
                  <a:gd name="T40" fmla="*/ 88 w 337"/>
                  <a:gd name="T41" fmla="*/ 110 h 434"/>
                  <a:gd name="T42" fmla="*/ 99 w 337"/>
                  <a:gd name="T43" fmla="*/ 98 h 434"/>
                  <a:gd name="T44" fmla="*/ 111 w 337"/>
                  <a:gd name="T45" fmla="*/ 87 h 434"/>
                  <a:gd name="T46" fmla="*/ 123 w 337"/>
                  <a:gd name="T47" fmla="*/ 77 h 434"/>
                  <a:gd name="T48" fmla="*/ 135 w 337"/>
                  <a:gd name="T49" fmla="*/ 67 h 434"/>
                  <a:gd name="T50" fmla="*/ 149 w 337"/>
                  <a:gd name="T51" fmla="*/ 58 h 434"/>
                  <a:gd name="T52" fmla="*/ 162 w 337"/>
                  <a:gd name="T53" fmla="*/ 49 h 434"/>
                  <a:gd name="T54" fmla="*/ 176 w 337"/>
                  <a:gd name="T55" fmla="*/ 41 h 434"/>
                  <a:gd name="T56" fmla="*/ 190 w 337"/>
                  <a:gd name="T57" fmla="*/ 33 h 434"/>
                  <a:gd name="T58" fmla="*/ 205 w 337"/>
                  <a:gd name="T59" fmla="*/ 27 h 434"/>
                  <a:gd name="T60" fmla="*/ 221 w 337"/>
                  <a:gd name="T61" fmla="*/ 21 h 434"/>
                  <a:gd name="T62" fmla="*/ 237 w 337"/>
                  <a:gd name="T63" fmla="*/ 15 h 434"/>
                  <a:gd name="T64" fmla="*/ 252 w 337"/>
                  <a:gd name="T65" fmla="*/ 11 h 434"/>
                  <a:gd name="T66" fmla="*/ 268 w 337"/>
                  <a:gd name="T67" fmla="*/ 6 h 434"/>
                  <a:gd name="T68" fmla="*/ 285 w 337"/>
                  <a:gd name="T69" fmla="*/ 4 h 434"/>
                  <a:gd name="T70" fmla="*/ 301 w 337"/>
                  <a:gd name="T71" fmla="*/ 2 h 434"/>
                  <a:gd name="T72" fmla="*/ 318 w 337"/>
                  <a:gd name="T73" fmla="*/ 0 h 434"/>
                  <a:gd name="T74" fmla="*/ 337 w 337"/>
                  <a:gd name="T75" fmla="*/ 0 h 434"/>
                  <a:gd name="T76" fmla="*/ 337 w 337"/>
                  <a:gd name="T77" fmla="*/ 0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7" h="434">
                    <a:moveTo>
                      <a:pt x="337" y="0"/>
                    </a:moveTo>
                    <a:lnTo>
                      <a:pt x="337" y="336"/>
                    </a:lnTo>
                    <a:lnTo>
                      <a:pt x="337" y="434"/>
                    </a:lnTo>
                    <a:lnTo>
                      <a:pt x="0" y="434"/>
                    </a:lnTo>
                    <a:lnTo>
                      <a:pt x="0" y="336"/>
                    </a:lnTo>
                    <a:lnTo>
                      <a:pt x="0" y="336"/>
                    </a:lnTo>
                    <a:lnTo>
                      <a:pt x="1" y="318"/>
                    </a:lnTo>
                    <a:lnTo>
                      <a:pt x="3" y="301"/>
                    </a:lnTo>
                    <a:lnTo>
                      <a:pt x="5" y="284"/>
                    </a:lnTo>
                    <a:lnTo>
                      <a:pt x="7" y="269"/>
                    </a:lnTo>
                    <a:lnTo>
                      <a:pt x="11" y="251"/>
                    </a:lnTo>
                    <a:lnTo>
                      <a:pt x="16" y="236"/>
                    </a:lnTo>
                    <a:lnTo>
                      <a:pt x="21" y="220"/>
                    </a:lnTo>
                    <a:lnTo>
                      <a:pt x="27" y="205"/>
                    </a:lnTo>
                    <a:lnTo>
                      <a:pt x="34" y="190"/>
                    </a:lnTo>
                    <a:lnTo>
                      <a:pt x="42" y="176"/>
                    </a:lnTo>
                    <a:lnTo>
                      <a:pt x="49" y="161"/>
                    </a:lnTo>
                    <a:lnTo>
                      <a:pt x="57" y="148"/>
                    </a:lnTo>
                    <a:lnTo>
                      <a:pt x="67" y="134"/>
                    </a:lnTo>
                    <a:lnTo>
                      <a:pt x="77" y="122"/>
                    </a:lnTo>
                    <a:lnTo>
                      <a:pt x="88" y="110"/>
                    </a:lnTo>
                    <a:lnTo>
                      <a:pt x="99" y="98"/>
                    </a:lnTo>
                    <a:lnTo>
                      <a:pt x="111" y="87"/>
                    </a:lnTo>
                    <a:lnTo>
                      <a:pt x="123" y="77"/>
                    </a:lnTo>
                    <a:lnTo>
                      <a:pt x="135" y="67"/>
                    </a:lnTo>
                    <a:lnTo>
                      <a:pt x="149" y="58"/>
                    </a:lnTo>
                    <a:lnTo>
                      <a:pt x="162" y="49"/>
                    </a:lnTo>
                    <a:lnTo>
                      <a:pt x="176" y="41"/>
                    </a:lnTo>
                    <a:lnTo>
                      <a:pt x="190" y="33"/>
                    </a:lnTo>
                    <a:lnTo>
                      <a:pt x="205" y="27"/>
                    </a:lnTo>
                    <a:lnTo>
                      <a:pt x="221" y="21"/>
                    </a:lnTo>
                    <a:lnTo>
                      <a:pt x="237" y="15"/>
                    </a:lnTo>
                    <a:lnTo>
                      <a:pt x="252" y="11"/>
                    </a:lnTo>
                    <a:lnTo>
                      <a:pt x="268" y="6"/>
                    </a:lnTo>
                    <a:lnTo>
                      <a:pt x="285" y="4"/>
                    </a:lnTo>
                    <a:lnTo>
                      <a:pt x="301" y="2"/>
                    </a:lnTo>
                    <a:lnTo>
                      <a:pt x="318" y="0"/>
                    </a:lnTo>
                    <a:lnTo>
                      <a:pt x="337" y="0"/>
                    </a:lnTo>
                    <a:lnTo>
                      <a:pt x="337" y="0"/>
                    </a:lnTo>
                    <a:close/>
                  </a:path>
                </a:pathLst>
              </a:custGeom>
              <a:solidFill>
                <a:srgbClr val="A5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1" name="Freeform 1526"/>
              <p:cNvSpPr>
                <a:spLocks/>
              </p:cNvSpPr>
              <p:nvPr/>
            </p:nvSpPr>
            <p:spPr bwMode="auto">
              <a:xfrm>
                <a:off x="7227776" y="-1068153"/>
                <a:ext cx="127116" cy="163164"/>
              </a:xfrm>
              <a:custGeom>
                <a:avLst/>
                <a:gdLst>
                  <a:gd name="T0" fmla="*/ 335 w 335"/>
                  <a:gd name="T1" fmla="*/ 336 h 434"/>
                  <a:gd name="T2" fmla="*/ 335 w 335"/>
                  <a:gd name="T3" fmla="*/ 434 h 434"/>
                  <a:gd name="T4" fmla="*/ 0 w 335"/>
                  <a:gd name="T5" fmla="*/ 434 h 434"/>
                  <a:gd name="T6" fmla="*/ 0 w 335"/>
                  <a:gd name="T7" fmla="*/ 336 h 434"/>
                  <a:gd name="T8" fmla="*/ 0 w 335"/>
                  <a:gd name="T9" fmla="*/ 0 h 434"/>
                  <a:gd name="T10" fmla="*/ 0 w 335"/>
                  <a:gd name="T11" fmla="*/ 0 h 434"/>
                  <a:gd name="T12" fmla="*/ 17 w 335"/>
                  <a:gd name="T13" fmla="*/ 0 h 434"/>
                  <a:gd name="T14" fmla="*/ 34 w 335"/>
                  <a:gd name="T15" fmla="*/ 2 h 434"/>
                  <a:gd name="T16" fmla="*/ 50 w 335"/>
                  <a:gd name="T17" fmla="*/ 4 h 434"/>
                  <a:gd name="T18" fmla="*/ 67 w 335"/>
                  <a:gd name="T19" fmla="*/ 6 h 434"/>
                  <a:gd name="T20" fmla="*/ 82 w 335"/>
                  <a:gd name="T21" fmla="*/ 11 h 434"/>
                  <a:gd name="T22" fmla="*/ 98 w 335"/>
                  <a:gd name="T23" fmla="*/ 15 h 434"/>
                  <a:gd name="T24" fmla="*/ 114 w 335"/>
                  <a:gd name="T25" fmla="*/ 21 h 434"/>
                  <a:gd name="T26" fmla="*/ 130 w 335"/>
                  <a:gd name="T27" fmla="*/ 27 h 434"/>
                  <a:gd name="T28" fmla="*/ 145 w 335"/>
                  <a:gd name="T29" fmla="*/ 33 h 434"/>
                  <a:gd name="T30" fmla="*/ 159 w 335"/>
                  <a:gd name="T31" fmla="*/ 41 h 434"/>
                  <a:gd name="T32" fmla="*/ 173 w 335"/>
                  <a:gd name="T33" fmla="*/ 49 h 434"/>
                  <a:gd name="T34" fmla="*/ 186 w 335"/>
                  <a:gd name="T35" fmla="*/ 58 h 434"/>
                  <a:gd name="T36" fmla="*/ 200 w 335"/>
                  <a:gd name="T37" fmla="*/ 67 h 434"/>
                  <a:gd name="T38" fmla="*/ 213 w 335"/>
                  <a:gd name="T39" fmla="*/ 77 h 434"/>
                  <a:gd name="T40" fmla="*/ 225 w 335"/>
                  <a:gd name="T41" fmla="*/ 87 h 434"/>
                  <a:gd name="T42" fmla="*/ 236 w 335"/>
                  <a:gd name="T43" fmla="*/ 98 h 434"/>
                  <a:gd name="T44" fmla="*/ 247 w 335"/>
                  <a:gd name="T45" fmla="*/ 110 h 434"/>
                  <a:gd name="T46" fmla="*/ 258 w 335"/>
                  <a:gd name="T47" fmla="*/ 122 h 434"/>
                  <a:gd name="T48" fmla="*/ 268 w 335"/>
                  <a:gd name="T49" fmla="*/ 134 h 434"/>
                  <a:gd name="T50" fmla="*/ 278 w 335"/>
                  <a:gd name="T51" fmla="*/ 148 h 434"/>
                  <a:gd name="T52" fmla="*/ 286 w 335"/>
                  <a:gd name="T53" fmla="*/ 161 h 434"/>
                  <a:gd name="T54" fmla="*/ 293 w 335"/>
                  <a:gd name="T55" fmla="*/ 176 h 434"/>
                  <a:gd name="T56" fmla="*/ 302 w 335"/>
                  <a:gd name="T57" fmla="*/ 190 h 434"/>
                  <a:gd name="T58" fmla="*/ 308 w 335"/>
                  <a:gd name="T59" fmla="*/ 205 h 434"/>
                  <a:gd name="T60" fmla="*/ 314 w 335"/>
                  <a:gd name="T61" fmla="*/ 220 h 434"/>
                  <a:gd name="T62" fmla="*/ 319 w 335"/>
                  <a:gd name="T63" fmla="*/ 236 h 434"/>
                  <a:gd name="T64" fmla="*/ 324 w 335"/>
                  <a:gd name="T65" fmla="*/ 251 h 434"/>
                  <a:gd name="T66" fmla="*/ 328 w 335"/>
                  <a:gd name="T67" fmla="*/ 269 h 434"/>
                  <a:gd name="T68" fmla="*/ 330 w 335"/>
                  <a:gd name="T69" fmla="*/ 284 h 434"/>
                  <a:gd name="T70" fmla="*/ 332 w 335"/>
                  <a:gd name="T71" fmla="*/ 301 h 434"/>
                  <a:gd name="T72" fmla="*/ 334 w 335"/>
                  <a:gd name="T73" fmla="*/ 318 h 434"/>
                  <a:gd name="T74" fmla="*/ 335 w 335"/>
                  <a:gd name="T75" fmla="*/ 336 h 434"/>
                  <a:gd name="T76" fmla="*/ 335 w 335"/>
                  <a:gd name="T77" fmla="*/ 336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5" h="434">
                    <a:moveTo>
                      <a:pt x="335" y="336"/>
                    </a:moveTo>
                    <a:lnTo>
                      <a:pt x="335" y="434"/>
                    </a:lnTo>
                    <a:lnTo>
                      <a:pt x="0" y="434"/>
                    </a:lnTo>
                    <a:lnTo>
                      <a:pt x="0" y="336"/>
                    </a:lnTo>
                    <a:lnTo>
                      <a:pt x="0" y="0"/>
                    </a:lnTo>
                    <a:lnTo>
                      <a:pt x="0" y="0"/>
                    </a:lnTo>
                    <a:lnTo>
                      <a:pt x="17" y="0"/>
                    </a:lnTo>
                    <a:lnTo>
                      <a:pt x="34" y="2"/>
                    </a:lnTo>
                    <a:lnTo>
                      <a:pt x="50" y="4"/>
                    </a:lnTo>
                    <a:lnTo>
                      <a:pt x="67" y="6"/>
                    </a:lnTo>
                    <a:lnTo>
                      <a:pt x="82" y="11"/>
                    </a:lnTo>
                    <a:lnTo>
                      <a:pt x="98" y="15"/>
                    </a:lnTo>
                    <a:lnTo>
                      <a:pt x="114" y="21"/>
                    </a:lnTo>
                    <a:lnTo>
                      <a:pt x="130" y="27"/>
                    </a:lnTo>
                    <a:lnTo>
                      <a:pt x="145" y="33"/>
                    </a:lnTo>
                    <a:lnTo>
                      <a:pt x="159" y="41"/>
                    </a:lnTo>
                    <a:lnTo>
                      <a:pt x="173" y="49"/>
                    </a:lnTo>
                    <a:lnTo>
                      <a:pt x="186" y="58"/>
                    </a:lnTo>
                    <a:lnTo>
                      <a:pt x="200" y="67"/>
                    </a:lnTo>
                    <a:lnTo>
                      <a:pt x="213" y="77"/>
                    </a:lnTo>
                    <a:lnTo>
                      <a:pt x="225" y="87"/>
                    </a:lnTo>
                    <a:lnTo>
                      <a:pt x="236" y="98"/>
                    </a:lnTo>
                    <a:lnTo>
                      <a:pt x="247" y="110"/>
                    </a:lnTo>
                    <a:lnTo>
                      <a:pt x="258" y="122"/>
                    </a:lnTo>
                    <a:lnTo>
                      <a:pt x="268" y="134"/>
                    </a:lnTo>
                    <a:lnTo>
                      <a:pt x="278" y="148"/>
                    </a:lnTo>
                    <a:lnTo>
                      <a:pt x="286" y="161"/>
                    </a:lnTo>
                    <a:lnTo>
                      <a:pt x="293" y="176"/>
                    </a:lnTo>
                    <a:lnTo>
                      <a:pt x="302" y="190"/>
                    </a:lnTo>
                    <a:lnTo>
                      <a:pt x="308" y="205"/>
                    </a:lnTo>
                    <a:lnTo>
                      <a:pt x="314" y="220"/>
                    </a:lnTo>
                    <a:lnTo>
                      <a:pt x="319" y="236"/>
                    </a:lnTo>
                    <a:lnTo>
                      <a:pt x="324" y="251"/>
                    </a:lnTo>
                    <a:lnTo>
                      <a:pt x="328" y="269"/>
                    </a:lnTo>
                    <a:lnTo>
                      <a:pt x="330" y="284"/>
                    </a:lnTo>
                    <a:lnTo>
                      <a:pt x="332" y="301"/>
                    </a:lnTo>
                    <a:lnTo>
                      <a:pt x="334" y="318"/>
                    </a:lnTo>
                    <a:lnTo>
                      <a:pt x="335" y="336"/>
                    </a:lnTo>
                    <a:lnTo>
                      <a:pt x="335" y="3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2" name="Freeform 1527"/>
              <p:cNvSpPr>
                <a:spLocks/>
              </p:cNvSpPr>
              <p:nvPr/>
            </p:nvSpPr>
            <p:spPr bwMode="auto">
              <a:xfrm>
                <a:off x="7470623" y="-762694"/>
                <a:ext cx="347198" cy="43637"/>
              </a:xfrm>
              <a:custGeom>
                <a:avLst/>
                <a:gdLst>
                  <a:gd name="T0" fmla="*/ 0 w 917"/>
                  <a:gd name="T1" fmla="*/ 57 h 114"/>
                  <a:gd name="T2" fmla="*/ 0 w 917"/>
                  <a:gd name="T3" fmla="*/ 57 h 114"/>
                  <a:gd name="T4" fmla="*/ 0 w 917"/>
                  <a:gd name="T5" fmla="*/ 68 h 114"/>
                  <a:gd name="T6" fmla="*/ 4 w 917"/>
                  <a:gd name="T7" fmla="*/ 79 h 114"/>
                  <a:gd name="T8" fmla="*/ 9 w 917"/>
                  <a:gd name="T9" fmla="*/ 89 h 114"/>
                  <a:gd name="T10" fmla="*/ 16 w 917"/>
                  <a:gd name="T11" fmla="*/ 98 h 114"/>
                  <a:gd name="T12" fmla="*/ 25 w 917"/>
                  <a:gd name="T13" fmla="*/ 104 h 114"/>
                  <a:gd name="T14" fmla="*/ 34 w 917"/>
                  <a:gd name="T15" fmla="*/ 109 h 114"/>
                  <a:gd name="T16" fmla="*/ 45 w 917"/>
                  <a:gd name="T17" fmla="*/ 112 h 114"/>
                  <a:gd name="T18" fmla="*/ 56 w 917"/>
                  <a:gd name="T19" fmla="*/ 114 h 114"/>
                  <a:gd name="T20" fmla="*/ 860 w 917"/>
                  <a:gd name="T21" fmla="*/ 114 h 114"/>
                  <a:gd name="T22" fmla="*/ 860 w 917"/>
                  <a:gd name="T23" fmla="*/ 114 h 114"/>
                  <a:gd name="T24" fmla="*/ 871 w 917"/>
                  <a:gd name="T25" fmla="*/ 112 h 114"/>
                  <a:gd name="T26" fmla="*/ 882 w 917"/>
                  <a:gd name="T27" fmla="*/ 109 h 114"/>
                  <a:gd name="T28" fmla="*/ 891 w 917"/>
                  <a:gd name="T29" fmla="*/ 104 h 114"/>
                  <a:gd name="T30" fmla="*/ 900 w 917"/>
                  <a:gd name="T31" fmla="*/ 98 h 114"/>
                  <a:gd name="T32" fmla="*/ 907 w 917"/>
                  <a:gd name="T33" fmla="*/ 89 h 114"/>
                  <a:gd name="T34" fmla="*/ 912 w 917"/>
                  <a:gd name="T35" fmla="*/ 79 h 114"/>
                  <a:gd name="T36" fmla="*/ 916 w 917"/>
                  <a:gd name="T37" fmla="*/ 68 h 114"/>
                  <a:gd name="T38" fmla="*/ 917 w 917"/>
                  <a:gd name="T39" fmla="*/ 57 h 114"/>
                  <a:gd name="T40" fmla="*/ 917 w 917"/>
                  <a:gd name="T41" fmla="*/ 57 h 114"/>
                  <a:gd name="T42" fmla="*/ 916 w 917"/>
                  <a:gd name="T43" fmla="*/ 45 h 114"/>
                  <a:gd name="T44" fmla="*/ 912 w 917"/>
                  <a:gd name="T45" fmla="*/ 34 h 114"/>
                  <a:gd name="T46" fmla="*/ 907 w 917"/>
                  <a:gd name="T47" fmla="*/ 26 h 114"/>
                  <a:gd name="T48" fmla="*/ 900 w 917"/>
                  <a:gd name="T49" fmla="*/ 17 h 114"/>
                  <a:gd name="T50" fmla="*/ 891 w 917"/>
                  <a:gd name="T51" fmla="*/ 10 h 114"/>
                  <a:gd name="T52" fmla="*/ 882 w 917"/>
                  <a:gd name="T53" fmla="*/ 5 h 114"/>
                  <a:gd name="T54" fmla="*/ 871 w 917"/>
                  <a:gd name="T55" fmla="*/ 1 h 114"/>
                  <a:gd name="T56" fmla="*/ 860 w 917"/>
                  <a:gd name="T57" fmla="*/ 0 h 114"/>
                  <a:gd name="T58" fmla="*/ 56 w 917"/>
                  <a:gd name="T59" fmla="*/ 0 h 114"/>
                  <a:gd name="T60" fmla="*/ 56 w 917"/>
                  <a:gd name="T61" fmla="*/ 0 h 114"/>
                  <a:gd name="T62" fmla="*/ 45 w 917"/>
                  <a:gd name="T63" fmla="*/ 1 h 114"/>
                  <a:gd name="T64" fmla="*/ 34 w 917"/>
                  <a:gd name="T65" fmla="*/ 5 h 114"/>
                  <a:gd name="T66" fmla="*/ 25 w 917"/>
                  <a:gd name="T67" fmla="*/ 10 h 114"/>
                  <a:gd name="T68" fmla="*/ 16 w 917"/>
                  <a:gd name="T69" fmla="*/ 17 h 114"/>
                  <a:gd name="T70" fmla="*/ 9 w 917"/>
                  <a:gd name="T71" fmla="*/ 26 h 114"/>
                  <a:gd name="T72" fmla="*/ 4 w 917"/>
                  <a:gd name="T73" fmla="*/ 34 h 114"/>
                  <a:gd name="T74" fmla="*/ 0 w 917"/>
                  <a:gd name="T75" fmla="*/ 45 h 114"/>
                  <a:gd name="T76" fmla="*/ 0 w 917"/>
                  <a:gd name="T77" fmla="*/ 57 h 114"/>
                  <a:gd name="T78" fmla="*/ 0 w 917"/>
                  <a:gd name="T79" fmla="*/ 5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17" h="114">
                    <a:moveTo>
                      <a:pt x="0" y="57"/>
                    </a:moveTo>
                    <a:lnTo>
                      <a:pt x="0" y="57"/>
                    </a:lnTo>
                    <a:lnTo>
                      <a:pt x="0" y="68"/>
                    </a:lnTo>
                    <a:lnTo>
                      <a:pt x="4" y="79"/>
                    </a:lnTo>
                    <a:lnTo>
                      <a:pt x="9" y="89"/>
                    </a:lnTo>
                    <a:lnTo>
                      <a:pt x="16" y="98"/>
                    </a:lnTo>
                    <a:lnTo>
                      <a:pt x="25" y="104"/>
                    </a:lnTo>
                    <a:lnTo>
                      <a:pt x="34" y="109"/>
                    </a:lnTo>
                    <a:lnTo>
                      <a:pt x="45" y="112"/>
                    </a:lnTo>
                    <a:lnTo>
                      <a:pt x="56" y="114"/>
                    </a:lnTo>
                    <a:lnTo>
                      <a:pt x="860" y="114"/>
                    </a:lnTo>
                    <a:lnTo>
                      <a:pt x="860" y="114"/>
                    </a:lnTo>
                    <a:lnTo>
                      <a:pt x="871" y="112"/>
                    </a:lnTo>
                    <a:lnTo>
                      <a:pt x="882" y="109"/>
                    </a:lnTo>
                    <a:lnTo>
                      <a:pt x="891" y="104"/>
                    </a:lnTo>
                    <a:lnTo>
                      <a:pt x="900" y="98"/>
                    </a:lnTo>
                    <a:lnTo>
                      <a:pt x="907" y="89"/>
                    </a:lnTo>
                    <a:lnTo>
                      <a:pt x="912" y="79"/>
                    </a:lnTo>
                    <a:lnTo>
                      <a:pt x="916" y="68"/>
                    </a:lnTo>
                    <a:lnTo>
                      <a:pt x="917" y="57"/>
                    </a:lnTo>
                    <a:lnTo>
                      <a:pt x="917" y="57"/>
                    </a:lnTo>
                    <a:lnTo>
                      <a:pt x="916" y="45"/>
                    </a:lnTo>
                    <a:lnTo>
                      <a:pt x="912" y="34"/>
                    </a:lnTo>
                    <a:lnTo>
                      <a:pt x="907" y="26"/>
                    </a:lnTo>
                    <a:lnTo>
                      <a:pt x="900" y="17"/>
                    </a:lnTo>
                    <a:lnTo>
                      <a:pt x="891" y="10"/>
                    </a:lnTo>
                    <a:lnTo>
                      <a:pt x="882" y="5"/>
                    </a:lnTo>
                    <a:lnTo>
                      <a:pt x="871" y="1"/>
                    </a:lnTo>
                    <a:lnTo>
                      <a:pt x="860" y="0"/>
                    </a:lnTo>
                    <a:lnTo>
                      <a:pt x="56" y="0"/>
                    </a:lnTo>
                    <a:lnTo>
                      <a:pt x="56" y="0"/>
                    </a:lnTo>
                    <a:lnTo>
                      <a:pt x="45" y="1"/>
                    </a:lnTo>
                    <a:lnTo>
                      <a:pt x="34" y="5"/>
                    </a:lnTo>
                    <a:lnTo>
                      <a:pt x="25" y="10"/>
                    </a:lnTo>
                    <a:lnTo>
                      <a:pt x="16" y="17"/>
                    </a:lnTo>
                    <a:lnTo>
                      <a:pt x="9" y="26"/>
                    </a:lnTo>
                    <a:lnTo>
                      <a:pt x="4" y="34"/>
                    </a:lnTo>
                    <a:lnTo>
                      <a:pt x="0" y="45"/>
                    </a:lnTo>
                    <a:lnTo>
                      <a:pt x="0" y="57"/>
                    </a:lnTo>
                    <a:lnTo>
                      <a:pt x="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3" name="Freeform 1528"/>
              <p:cNvSpPr>
                <a:spLocks/>
              </p:cNvSpPr>
              <p:nvPr/>
            </p:nvSpPr>
            <p:spPr bwMode="auto">
              <a:xfrm>
                <a:off x="7408016" y="-762694"/>
                <a:ext cx="43637" cy="43637"/>
              </a:xfrm>
              <a:custGeom>
                <a:avLst/>
                <a:gdLst>
                  <a:gd name="T0" fmla="*/ 0 w 114"/>
                  <a:gd name="T1" fmla="*/ 57 h 114"/>
                  <a:gd name="T2" fmla="*/ 0 w 114"/>
                  <a:gd name="T3" fmla="*/ 57 h 114"/>
                  <a:gd name="T4" fmla="*/ 1 w 114"/>
                  <a:gd name="T5" fmla="*/ 68 h 114"/>
                  <a:gd name="T6" fmla="*/ 4 w 114"/>
                  <a:gd name="T7" fmla="*/ 79 h 114"/>
                  <a:gd name="T8" fmla="*/ 9 w 114"/>
                  <a:gd name="T9" fmla="*/ 89 h 114"/>
                  <a:gd name="T10" fmla="*/ 17 w 114"/>
                  <a:gd name="T11" fmla="*/ 98 h 114"/>
                  <a:gd name="T12" fmla="*/ 25 w 114"/>
                  <a:gd name="T13" fmla="*/ 104 h 114"/>
                  <a:gd name="T14" fmla="*/ 35 w 114"/>
                  <a:gd name="T15" fmla="*/ 109 h 114"/>
                  <a:gd name="T16" fmla="*/ 46 w 114"/>
                  <a:gd name="T17" fmla="*/ 112 h 114"/>
                  <a:gd name="T18" fmla="*/ 57 w 114"/>
                  <a:gd name="T19" fmla="*/ 114 h 114"/>
                  <a:gd name="T20" fmla="*/ 57 w 114"/>
                  <a:gd name="T21" fmla="*/ 114 h 114"/>
                  <a:gd name="T22" fmla="*/ 68 w 114"/>
                  <a:gd name="T23" fmla="*/ 112 h 114"/>
                  <a:gd name="T24" fmla="*/ 79 w 114"/>
                  <a:gd name="T25" fmla="*/ 109 h 114"/>
                  <a:gd name="T26" fmla="*/ 89 w 114"/>
                  <a:gd name="T27" fmla="*/ 104 h 114"/>
                  <a:gd name="T28" fmla="*/ 97 w 114"/>
                  <a:gd name="T29" fmla="*/ 98 h 114"/>
                  <a:gd name="T30" fmla="*/ 104 w 114"/>
                  <a:gd name="T31" fmla="*/ 89 h 114"/>
                  <a:gd name="T32" fmla="*/ 109 w 114"/>
                  <a:gd name="T33" fmla="*/ 79 h 114"/>
                  <a:gd name="T34" fmla="*/ 113 w 114"/>
                  <a:gd name="T35" fmla="*/ 68 h 114"/>
                  <a:gd name="T36" fmla="*/ 114 w 114"/>
                  <a:gd name="T37" fmla="*/ 57 h 114"/>
                  <a:gd name="T38" fmla="*/ 114 w 114"/>
                  <a:gd name="T39" fmla="*/ 57 h 114"/>
                  <a:gd name="T40" fmla="*/ 113 w 114"/>
                  <a:gd name="T41" fmla="*/ 45 h 114"/>
                  <a:gd name="T42" fmla="*/ 109 w 114"/>
                  <a:gd name="T43" fmla="*/ 34 h 114"/>
                  <a:gd name="T44" fmla="*/ 104 w 114"/>
                  <a:gd name="T45" fmla="*/ 26 h 114"/>
                  <a:gd name="T46" fmla="*/ 97 w 114"/>
                  <a:gd name="T47" fmla="*/ 17 h 114"/>
                  <a:gd name="T48" fmla="*/ 89 w 114"/>
                  <a:gd name="T49" fmla="*/ 10 h 114"/>
                  <a:gd name="T50" fmla="*/ 79 w 114"/>
                  <a:gd name="T51" fmla="*/ 5 h 114"/>
                  <a:gd name="T52" fmla="*/ 68 w 114"/>
                  <a:gd name="T53" fmla="*/ 1 h 114"/>
                  <a:gd name="T54" fmla="*/ 57 w 114"/>
                  <a:gd name="T55" fmla="*/ 0 h 114"/>
                  <a:gd name="T56" fmla="*/ 57 w 114"/>
                  <a:gd name="T57" fmla="*/ 0 h 114"/>
                  <a:gd name="T58" fmla="*/ 46 w 114"/>
                  <a:gd name="T59" fmla="*/ 1 h 114"/>
                  <a:gd name="T60" fmla="*/ 35 w 114"/>
                  <a:gd name="T61" fmla="*/ 5 h 114"/>
                  <a:gd name="T62" fmla="*/ 25 w 114"/>
                  <a:gd name="T63" fmla="*/ 10 h 114"/>
                  <a:gd name="T64" fmla="*/ 17 w 114"/>
                  <a:gd name="T65" fmla="*/ 17 h 114"/>
                  <a:gd name="T66" fmla="*/ 9 w 114"/>
                  <a:gd name="T67" fmla="*/ 26 h 114"/>
                  <a:gd name="T68" fmla="*/ 4 w 114"/>
                  <a:gd name="T69" fmla="*/ 34 h 114"/>
                  <a:gd name="T70" fmla="*/ 1 w 114"/>
                  <a:gd name="T71" fmla="*/ 45 h 114"/>
                  <a:gd name="T72" fmla="*/ 0 w 114"/>
                  <a:gd name="T73" fmla="*/ 57 h 114"/>
                  <a:gd name="T74" fmla="*/ 0 w 114"/>
                  <a:gd name="T75" fmla="*/ 5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4" h="114">
                    <a:moveTo>
                      <a:pt x="0" y="57"/>
                    </a:moveTo>
                    <a:lnTo>
                      <a:pt x="0" y="57"/>
                    </a:lnTo>
                    <a:lnTo>
                      <a:pt x="1" y="68"/>
                    </a:lnTo>
                    <a:lnTo>
                      <a:pt x="4" y="79"/>
                    </a:lnTo>
                    <a:lnTo>
                      <a:pt x="9" y="89"/>
                    </a:lnTo>
                    <a:lnTo>
                      <a:pt x="17" y="98"/>
                    </a:lnTo>
                    <a:lnTo>
                      <a:pt x="25" y="104"/>
                    </a:lnTo>
                    <a:lnTo>
                      <a:pt x="35" y="109"/>
                    </a:lnTo>
                    <a:lnTo>
                      <a:pt x="46" y="112"/>
                    </a:lnTo>
                    <a:lnTo>
                      <a:pt x="57" y="114"/>
                    </a:lnTo>
                    <a:lnTo>
                      <a:pt x="57" y="114"/>
                    </a:lnTo>
                    <a:lnTo>
                      <a:pt x="68" y="112"/>
                    </a:lnTo>
                    <a:lnTo>
                      <a:pt x="79" y="109"/>
                    </a:lnTo>
                    <a:lnTo>
                      <a:pt x="89" y="104"/>
                    </a:lnTo>
                    <a:lnTo>
                      <a:pt x="97" y="98"/>
                    </a:lnTo>
                    <a:lnTo>
                      <a:pt x="104" y="89"/>
                    </a:lnTo>
                    <a:lnTo>
                      <a:pt x="109" y="79"/>
                    </a:lnTo>
                    <a:lnTo>
                      <a:pt x="113" y="68"/>
                    </a:lnTo>
                    <a:lnTo>
                      <a:pt x="114" y="57"/>
                    </a:lnTo>
                    <a:lnTo>
                      <a:pt x="114" y="57"/>
                    </a:lnTo>
                    <a:lnTo>
                      <a:pt x="113" y="45"/>
                    </a:lnTo>
                    <a:lnTo>
                      <a:pt x="109" y="34"/>
                    </a:lnTo>
                    <a:lnTo>
                      <a:pt x="104" y="26"/>
                    </a:lnTo>
                    <a:lnTo>
                      <a:pt x="97" y="17"/>
                    </a:lnTo>
                    <a:lnTo>
                      <a:pt x="89" y="10"/>
                    </a:lnTo>
                    <a:lnTo>
                      <a:pt x="79" y="5"/>
                    </a:lnTo>
                    <a:lnTo>
                      <a:pt x="68" y="1"/>
                    </a:lnTo>
                    <a:lnTo>
                      <a:pt x="57" y="0"/>
                    </a:lnTo>
                    <a:lnTo>
                      <a:pt x="57" y="0"/>
                    </a:lnTo>
                    <a:lnTo>
                      <a:pt x="46" y="1"/>
                    </a:lnTo>
                    <a:lnTo>
                      <a:pt x="35" y="5"/>
                    </a:lnTo>
                    <a:lnTo>
                      <a:pt x="25" y="10"/>
                    </a:lnTo>
                    <a:lnTo>
                      <a:pt x="17" y="17"/>
                    </a:lnTo>
                    <a:lnTo>
                      <a:pt x="9" y="26"/>
                    </a:lnTo>
                    <a:lnTo>
                      <a:pt x="4" y="34"/>
                    </a:lnTo>
                    <a:lnTo>
                      <a:pt x="1" y="45"/>
                    </a:lnTo>
                    <a:lnTo>
                      <a:pt x="0" y="57"/>
                    </a:lnTo>
                    <a:lnTo>
                      <a:pt x="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4" name="Freeform 1529"/>
              <p:cNvSpPr>
                <a:spLocks/>
              </p:cNvSpPr>
              <p:nvPr/>
            </p:nvSpPr>
            <p:spPr bwMode="auto">
              <a:xfrm>
                <a:off x="7341612" y="-762694"/>
                <a:ext cx="41739" cy="43637"/>
              </a:xfrm>
              <a:custGeom>
                <a:avLst/>
                <a:gdLst>
                  <a:gd name="T0" fmla="*/ 0 w 113"/>
                  <a:gd name="T1" fmla="*/ 57 h 114"/>
                  <a:gd name="T2" fmla="*/ 0 w 113"/>
                  <a:gd name="T3" fmla="*/ 57 h 114"/>
                  <a:gd name="T4" fmla="*/ 1 w 113"/>
                  <a:gd name="T5" fmla="*/ 68 h 114"/>
                  <a:gd name="T6" fmla="*/ 3 w 113"/>
                  <a:gd name="T7" fmla="*/ 79 h 114"/>
                  <a:gd name="T8" fmla="*/ 10 w 113"/>
                  <a:gd name="T9" fmla="*/ 89 h 114"/>
                  <a:gd name="T10" fmla="*/ 16 w 113"/>
                  <a:gd name="T11" fmla="*/ 98 h 114"/>
                  <a:gd name="T12" fmla="*/ 24 w 113"/>
                  <a:gd name="T13" fmla="*/ 104 h 114"/>
                  <a:gd name="T14" fmla="*/ 34 w 113"/>
                  <a:gd name="T15" fmla="*/ 109 h 114"/>
                  <a:gd name="T16" fmla="*/ 45 w 113"/>
                  <a:gd name="T17" fmla="*/ 112 h 114"/>
                  <a:gd name="T18" fmla="*/ 56 w 113"/>
                  <a:gd name="T19" fmla="*/ 114 h 114"/>
                  <a:gd name="T20" fmla="*/ 56 w 113"/>
                  <a:gd name="T21" fmla="*/ 114 h 114"/>
                  <a:gd name="T22" fmla="*/ 68 w 113"/>
                  <a:gd name="T23" fmla="*/ 112 h 114"/>
                  <a:gd name="T24" fmla="*/ 78 w 113"/>
                  <a:gd name="T25" fmla="*/ 109 h 114"/>
                  <a:gd name="T26" fmla="*/ 88 w 113"/>
                  <a:gd name="T27" fmla="*/ 104 h 114"/>
                  <a:gd name="T28" fmla="*/ 96 w 113"/>
                  <a:gd name="T29" fmla="*/ 98 h 114"/>
                  <a:gd name="T30" fmla="*/ 103 w 113"/>
                  <a:gd name="T31" fmla="*/ 89 h 114"/>
                  <a:gd name="T32" fmla="*/ 108 w 113"/>
                  <a:gd name="T33" fmla="*/ 79 h 114"/>
                  <a:gd name="T34" fmla="*/ 112 w 113"/>
                  <a:gd name="T35" fmla="*/ 68 h 114"/>
                  <a:gd name="T36" fmla="*/ 113 w 113"/>
                  <a:gd name="T37" fmla="*/ 57 h 114"/>
                  <a:gd name="T38" fmla="*/ 113 w 113"/>
                  <a:gd name="T39" fmla="*/ 57 h 114"/>
                  <a:gd name="T40" fmla="*/ 112 w 113"/>
                  <a:gd name="T41" fmla="*/ 45 h 114"/>
                  <a:gd name="T42" fmla="*/ 108 w 113"/>
                  <a:gd name="T43" fmla="*/ 34 h 114"/>
                  <a:gd name="T44" fmla="*/ 103 w 113"/>
                  <a:gd name="T45" fmla="*/ 26 h 114"/>
                  <a:gd name="T46" fmla="*/ 96 w 113"/>
                  <a:gd name="T47" fmla="*/ 17 h 114"/>
                  <a:gd name="T48" fmla="*/ 88 w 113"/>
                  <a:gd name="T49" fmla="*/ 10 h 114"/>
                  <a:gd name="T50" fmla="*/ 78 w 113"/>
                  <a:gd name="T51" fmla="*/ 5 h 114"/>
                  <a:gd name="T52" fmla="*/ 68 w 113"/>
                  <a:gd name="T53" fmla="*/ 1 h 114"/>
                  <a:gd name="T54" fmla="*/ 56 w 113"/>
                  <a:gd name="T55" fmla="*/ 0 h 114"/>
                  <a:gd name="T56" fmla="*/ 56 w 113"/>
                  <a:gd name="T57" fmla="*/ 0 h 114"/>
                  <a:gd name="T58" fmla="*/ 45 w 113"/>
                  <a:gd name="T59" fmla="*/ 1 h 114"/>
                  <a:gd name="T60" fmla="*/ 34 w 113"/>
                  <a:gd name="T61" fmla="*/ 5 h 114"/>
                  <a:gd name="T62" fmla="*/ 24 w 113"/>
                  <a:gd name="T63" fmla="*/ 10 h 114"/>
                  <a:gd name="T64" fmla="*/ 16 w 113"/>
                  <a:gd name="T65" fmla="*/ 17 h 114"/>
                  <a:gd name="T66" fmla="*/ 10 w 113"/>
                  <a:gd name="T67" fmla="*/ 26 h 114"/>
                  <a:gd name="T68" fmla="*/ 3 w 113"/>
                  <a:gd name="T69" fmla="*/ 34 h 114"/>
                  <a:gd name="T70" fmla="*/ 1 w 113"/>
                  <a:gd name="T71" fmla="*/ 45 h 114"/>
                  <a:gd name="T72" fmla="*/ 0 w 113"/>
                  <a:gd name="T73" fmla="*/ 57 h 114"/>
                  <a:gd name="T74" fmla="*/ 0 w 113"/>
                  <a:gd name="T75" fmla="*/ 5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3" h="114">
                    <a:moveTo>
                      <a:pt x="0" y="57"/>
                    </a:moveTo>
                    <a:lnTo>
                      <a:pt x="0" y="57"/>
                    </a:lnTo>
                    <a:lnTo>
                      <a:pt x="1" y="68"/>
                    </a:lnTo>
                    <a:lnTo>
                      <a:pt x="3" y="79"/>
                    </a:lnTo>
                    <a:lnTo>
                      <a:pt x="10" y="89"/>
                    </a:lnTo>
                    <a:lnTo>
                      <a:pt x="16" y="98"/>
                    </a:lnTo>
                    <a:lnTo>
                      <a:pt x="24" y="104"/>
                    </a:lnTo>
                    <a:lnTo>
                      <a:pt x="34" y="109"/>
                    </a:lnTo>
                    <a:lnTo>
                      <a:pt x="45" y="112"/>
                    </a:lnTo>
                    <a:lnTo>
                      <a:pt x="56" y="114"/>
                    </a:lnTo>
                    <a:lnTo>
                      <a:pt x="56" y="114"/>
                    </a:lnTo>
                    <a:lnTo>
                      <a:pt x="68" y="112"/>
                    </a:lnTo>
                    <a:lnTo>
                      <a:pt x="78" y="109"/>
                    </a:lnTo>
                    <a:lnTo>
                      <a:pt x="88" y="104"/>
                    </a:lnTo>
                    <a:lnTo>
                      <a:pt x="96" y="98"/>
                    </a:lnTo>
                    <a:lnTo>
                      <a:pt x="103" y="89"/>
                    </a:lnTo>
                    <a:lnTo>
                      <a:pt x="108" y="79"/>
                    </a:lnTo>
                    <a:lnTo>
                      <a:pt x="112" y="68"/>
                    </a:lnTo>
                    <a:lnTo>
                      <a:pt x="113" y="57"/>
                    </a:lnTo>
                    <a:lnTo>
                      <a:pt x="113" y="57"/>
                    </a:lnTo>
                    <a:lnTo>
                      <a:pt x="112" y="45"/>
                    </a:lnTo>
                    <a:lnTo>
                      <a:pt x="108" y="34"/>
                    </a:lnTo>
                    <a:lnTo>
                      <a:pt x="103" y="26"/>
                    </a:lnTo>
                    <a:lnTo>
                      <a:pt x="96" y="17"/>
                    </a:lnTo>
                    <a:lnTo>
                      <a:pt x="88" y="10"/>
                    </a:lnTo>
                    <a:lnTo>
                      <a:pt x="78" y="5"/>
                    </a:lnTo>
                    <a:lnTo>
                      <a:pt x="68" y="1"/>
                    </a:lnTo>
                    <a:lnTo>
                      <a:pt x="56" y="0"/>
                    </a:lnTo>
                    <a:lnTo>
                      <a:pt x="56" y="0"/>
                    </a:lnTo>
                    <a:lnTo>
                      <a:pt x="45" y="1"/>
                    </a:lnTo>
                    <a:lnTo>
                      <a:pt x="34" y="5"/>
                    </a:lnTo>
                    <a:lnTo>
                      <a:pt x="24" y="10"/>
                    </a:lnTo>
                    <a:lnTo>
                      <a:pt x="16" y="17"/>
                    </a:lnTo>
                    <a:lnTo>
                      <a:pt x="10" y="26"/>
                    </a:lnTo>
                    <a:lnTo>
                      <a:pt x="3" y="34"/>
                    </a:lnTo>
                    <a:lnTo>
                      <a:pt x="1" y="45"/>
                    </a:lnTo>
                    <a:lnTo>
                      <a:pt x="0" y="57"/>
                    </a:lnTo>
                    <a:lnTo>
                      <a:pt x="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5" name="Freeform 1530"/>
              <p:cNvSpPr>
                <a:spLocks/>
              </p:cNvSpPr>
              <p:nvPr/>
            </p:nvSpPr>
            <p:spPr bwMode="auto">
              <a:xfrm>
                <a:off x="7273309" y="-762694"/>
                <a:ext cx="43637" cy="43637"/>
              </a:xfrm>
              <a:custGeom>
                <a:avLst/>
                <a:gdLst>
                  <a:gd name="T0" fmla="*/ 0 w 113"/>
                  <a:gd name="T1" fmla="*/ 57 h 114"/>
                  <a:gd name="T2" fmla="*/ 0 w 113"/>
                  <a:gd name="T3" fmla="*/ 57 h 114"/>
                  <a:gd name="T4" fmla="*/ 1 w 113"/>
                  <a:gd name="T5" fmla="*/ 68 h 114"/>
                  <a:gd name="T6" fmla="*/ 4 w 113"/>
                  <a:gd name="T7" fmla="*/ 79 h 114"/>
                  <a:gd name="T8" fmla="*/ 10 w 113"/>
                  <a:gd name="T9" fmla="*/ 89 h 114"/>
                  <a:gd name="T10" fmla="*/ 16 w 113"/>
                  <a:gd name="T11" fmla="*/ 98 h 114"/>
                  <a:gd name="T12" fmla="*/ 24 w 113"/>
                  <a:gd name="T13" fmla="*/ 104 h 114"/>
                  <a:gd name="T14" fmla="*/ 34 w 113"/>
                  <a:gd name="T15" fmla="*/ 109 h 114"/>
                  <a:gd name="T16" fmla="*/ 45 w 113"/>
                  <a:gd name="T17" fmla="*/ 112 h 114"/>
                  <a:gd name="T18" fmla="*/ 56 w 113"/>
                  <a:gd name="T19" fmla="*/ 114 h 114"/>
                  <a:gd name="T20" fmla="*/ 56 w 113"/>
                  <a:gd name="T21" fmla="*/ 114 h 114"/>
                  <a:gd name="T22" fmla="*/ 68 w 113"/>
                  <a:gd name="T23" fmla="*/ 112 h 114"/>
                  <a:gd name="T24" fmla="*/ 79 w 113"/>
                  <a:gd name="T25" fmla="*/ 109 h 114"/>
                  <a:gd name="T26" fmla="*/ 88 w 113"/>
                  <a:gd name="T27" fmla="*/ 104 h 114"/>
                  <a:gd name="T28" fmla="*/ 96 w 113"/>
                  <a:gd name="T29" fmla="*/ 98 h 114"/>
                  <a:gd name="T30" fmla="*/ 103 w 113"/>
                  <a:gd name="T31" fmla="*/ 89 h 114"/>
                  <a:gd name="T32" fmla="*/ 108 w 113"/>
                  <a:gd name="T33" fmla="*/ 79 h 114"/>
                  <a:gd name="T34" fmla="*/ 112 w 113"/>
                  <a:gd name="T35" fmla="*/ 68 h 114"/>
                  <a:gd name="T36" fmla="*/ 113 w 113"/>
                  <a:gd name="T37" fmla="*/ 57 h 114"/>
                  <a:gd name="T38" fmla="*/ 113 w 113"/>
                  <a:gd name="T39" fmla="*/ 57 h 114"/>
                  <a:gd name="T40" fmla="*/ 112 w 113"/>
                  <a:gd name="T41" fmla="*/ 45 h 114"/>
                  <a:gd name="T42" fmla="*/ 108 w 113"/>
                  <a:gd name="T43" fmla="*/ 34 h 114"/>
                  <a:gd name="T44" fmla="*/ 103 w 113"/>
                  <a:gd name="T45" fmla="*/ 26 h 114"/>
                  <a:gd name="T46" fmla="*/ 96 w 113"/>
                  <a:gd name="T47" fmla="*/ 17 h 114"/>
                  <a:gd name="T48" fmla="*/ 88 w 113"/>
                  <a:gd name="T49" fmla="*/ 10 h 114"/>
                  <a:gd name="T50" fmla="*/ 79 w 113"/>
                  <a:gd name="T51" fmla="*/ 5 h 114"/>
                  <a:gd name="T52" fmla="*/ 68 w 113"/>
                  <a:gd name="T53" fmla="*/ 1 h 114"/>
                  <a:gd name="T54" fmla="*/ 56 w 113"/>
                  <a:gd name="T55" fmla="*/ 0 h 114"/>
                  <a:gd name="T56" fmla="*/ 56 w 113"/>
                  <a:gd name="T57" fmla="*/ 0 h 114"/>
                  <a:gd name="T58" fmla="*/ 45 w 113"/>
                  <a:gd name="T59" fmla="*/ 1 h 114"/>
                  <a:gd name="T60" fmla="*/ 34 w 113"/>
                  <a:gd name="T61" fmla="*/ 5 h 114"/>
                  <a:gd name="T62" fmla="*/ 24 w 113"/>
                  <a:gd name="T63" fmla="*/ 10 h 114"/>
                  <a:gd name="T64" fmla="*/ 16 w 113"/>
                  <a:gd name="T65" fmla="*/ 17 h 114"/>
                  <a:gd name="T66" fmla="*/ 10 w 113"/>
                  <a:gd name="T67" fmla="*/ 26 h 114"/>
                  <a:gd name="T68" fmla="*/ 4 w 113"/>
                  <a:gd name="T69" fmla="*/ 34 h 114"/>
                  <a:gd name="T70" fmla="*/ 1 w 113"/>
                  <a:gd name="T71" fmla="*/ 45 h 114"/>
                  <a:gd name="T72" fmla="*/ 0 w 113"/>
                  <a:gd name="T73" fmla="*/ 57 h 114"/>
                  <a:gd name="T74" fmla="*/ 0 w 113"/>
                  <a:gd name="T75" fmla="*/ 5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3" h="114">
                    <a:moveTo>
                      <a:pt x="0" y="57"/>
                    </a:moveTo>
                    <a:lnTo>
                      <a:pt x="0" y="57"/>
                    </a:lnTo>
                    <a:lnTo>
                      <a:pt x="1" y="68"/>
                    </a:lnTo>
                    <a:lnTo>
                      <a:pt x="4" y="79"/>
                    </a:lnTo>
                    <a:lnTo>
                      <a:pt x="10" y="89"/>
                    </a:lnTo>
                    <a:lnTo>
                      <a:pt x="16" y="98"/>
                    </a:lnTo>
                    <a:lnTo>
                      <a:pt x="24" y="104"/>
                    </a:lnTo>
                    <a:lnTo>
                      <a:pt x="34" y="109"/>
                    </a:lnTo>
                    <a:lnTo>
                      <a:pt x="45" y="112"/>
                    </a:lnTo>
                    <a:lnTo>
                      <a:pt x="56" y="114"/>
                    </a:lnTo>
                    <a:lnTo>
                      <a:pt x="56" y="114"/>
                    </a:lnTo>
                    <a:lnTo>
                      <a:pt x="68" y="112"/>
                    </a:lnTo>
                    <a:lnTo>
                      <a:pt x="79" y="109"/>
                    </a:lnTo>
                    <a:lnTo>
                      <a:pt x="88" y="104"/>
                    </a:lnTo>
                    <a:lnTo>
                      <a:pt x="96" y="98"/>
                    </a:lnTo>
                    <a:lnTo>
                      <a:pt x="103" y="89"/>
                    </a:lnTo>
                    <a:lnTo>
                      <a:pt x="108" y="79"/>
                    </a:lnTo>
                    <a:lnTo>
                      <a:pt x="112" y="68"/>
                    </a:lnTo>
                    <a:lnTo>
                      <a:pt x="113" y="57"/>
                    </a:lnTo>
                    <a:lnTo>
                      <a:pt x="113" y="57"/>
                    </a:lnTo>
                    <a:lnTo>
                      <a:pt x="112" y="45"/>
                    </a:lnTo>
                    <a:lnTo>
                      <a:pt x="108" y="34"/>
                    </a:lnTo>
                    <a:lnTo>
                      <a:pt x="103" y="26"/>
                    </a:lnTo>
                    <a:lnTo>
                      <a:pt x="96" y="17"/>
                    </a:lnTo>
                    <a:lnTo>
                      <a:pt x="88" y="10"/>
                    </a:lnTo>
                    <a:lnTo>
                      <a:pt x="79" y="5"/>
                    </a:lnTo>
                    <a:lnTo>
                      <a:pt x="68" y="1"/>
                    </a:lnTo>
                    <a:lnTo>
                      <a:pt x="56" y="0"/>
                    </a:lnTo>
                    <a:lnTo>
                      <a:pt x="56" y="0"/>
                    </a:lnTo>
                    <a:lnTo>
                      <a:pt x="45" y="1"/>
                    </a:lnTo>
                    <a:lnTo>
                      <a:pt x="34" y="5"/>
                    </a:lnTo>
                    <a:lnTo>
                      <a:pt x="24" y="10"/>
                    </a:lnTo>
                    <a:lnTo>
                      <a:pt x="16" y="17"/>
                    </a:lnTo>
                    <a:lnTo>
                      <a:pt x="10" y="26"/>
                    </a:lnTo>
                    <a:lnTo>
                      <a:pt x="4" y="34"/>
                    </a:lnTo>
                    <a:lnTo>
                      <a:pt x="1" y="45"/>
                    </a:lnTo>
                    <a:lnTo>
                      <a:pt x="0" y="57"/>
                    </a:lnTo>
                    <a:lnTo>
                      <a:pt x="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6" name="Freeform 1531"/>
              <p:cNvSpPr>
                <a:spLocks/>
              </p:cNvSpPr>
              <p:nvPr/>
            </p:nvSpPr>
            <p:spPr bwMode="auto">
              <a:xfrm>
                <a:off x="7444063" y="-1561439"/>
                <a:ext cx="79685" cy="79685"/>
              </a:xfrm>
              <a:custGeom>
                <a:avLst/>
                <a:gdLst>
                  <a:gd name="T0" fmla="*/ 0 w 211"/>
                  <a:gd name="T1" fmla="*/ 106 h 211"/>
                  <a:gd name="T2" fmla="*/ 2 w 211"/>
                  <a:gd name="T3" fmla="*/ 127 h 211"/>
                  <a:gd name="T4" fmla="*/ 8 w 211"/>
                  <a:gd name="T5" fmla="*/ 146 h 211"/>
                  <a:gd name="T6" fmla="*/ 18 w 211"/>
                  <a:gd name="T7" fmla="*/ 164 h 211"/>
                  <a:gd name="T8" fmla="*/ 31 w 211"/>
                  <a:gd name="T9" fmla="*/ 180 h 211"/>
                  <a:gd name="T10" fmla="*/ 46 w 211"/>
                  <a:gd name="T11" fmla="*/ 192 h 211"/>
                  <a:gd name="T12" fmla="*/ 64 w 211"/>
                  <a:gd name="T13" fmla="*/ 202 h 211"/>
                  <a:gd name="T14" fmla="*/ 84 w 211"/>
                  <a:gd name="T15" fmla="*/ 208 h 211"/>
                  <a:gd name="T16" fmla="*/ 106 w 211"/>
                  <a:gd name="T17" fmla="*/ 211 h 211"/>
                  <a:gd name="T18" fmla="*/ 117 w 211"/>
                  <a:gd name="T19" fmla="*/ 211 h 211"/>
                  <a:gd name="T20" fmla="*/ 136 w 211"/>
                  <a:gd name="T21" fmla="*/ 206 h 211"/>
                  <a:gd name="T22" fmla="*/ 156 w 211"/>
                  <a:gd name="T23" fmla="*/ 198 h 211"/>
                  <a:gd name="T24" fmla="*/ 173 w 211"/>
                  <a:gd name="T25" fmla="*/ 186 h 211"/>
                  <a:gd name="T26" fmla="*/ 186 w 211"/>
                  <a:gd name="T27" fmla="*/ 172 h 211"/>
                  <a:gd name="T28" fmla="*/ 198 w 211"/>
                  <a:gd name="T29" fmla="*/ 156 h 211"/>
                  <a:gd name="T30" fmla="*/ 206 w 211"/>
                  <a:gd name="T31" fmla="*/ 136 h 211"/>
                  <a:gd name="T32" fmla="*/ 211 w 211"/>
                  <a:gd name="T33" fmla="*/ 116 h 211"/>
                  <a:gd name="T34" fmla="*/ 211 w 211"/>
                  <a:gd name="T35" fmla="*/ 106 h 211"/>
                  <a:gd name="T36" fmla="*/ 208 w 211"/>
                  <a:gd name="T37" fmla="*/ 84 h 211"/>
                  <a:gd name="T38" fmla="*/ 202 w 211"/>
                  <a:gd name="T39" fmla="*/ 64 h 211"/>
                  <a:gd name="T40" fmla="*/ 192 w 211"/>
                  <a:gd name="T41" fmla="*/ 46 h 211"/>
                  <a:gd name="T42" fmla="*/ 180 w 211"/>
                  <a:gd name="T43" fmla="*/ 30 h 211"/>
                  <a:gd name="T44" fmla="*/ 164 w 211"/>
                  <a:gd name="T45" fmla="*/ 18 h 211"/>
                  <a:gd name="T46" fmla="*/ 146 w 211"/>
                  <a:gd name="T47" fmla="*/ 8 h 211"/>
                  <a:gd name="T48" fmla="*/ 126 w 211"/>
                  <a:gd name="T49" fmla="*/ 2 h 211"/>
                  <a:gd name="T50" fmla="*/ 106 w 211"/>
                  <a:gd name="T51" fmla="*/ 0 h 211"/>
                  <a:gd name="T52" fmla="*/ 95 w 211"/>
                  <a:gd name="T53" fmla="*/ 1 h 211"/>
                  <a:gd name="T54" fmla="*/ 74 w 211"/>
                  <a:gd name="T55" fmla="*/ 5 h 211"/>
                  <a:gd name="T56" fmla="*/ 56 w 211"/>
                  <a:gd name="T57" fmla="*/ 13 h 211"/>
                  <a:gd name="T58" fmla="*/ 39 w 211"/>
                  <a:gd name="T59" fmla="*/ 24 h 211"/>
                  <a:gd name="T60" fmla="*/ 24 w 211"/>
                  <a:gd name="T61" fmla="*/ 39 h 211"/>
                  <a:gd name="T62" fmla="*/ 13 w 211"/>
                  <a:gd name="T63" fmla="*/ 55 h 211"/>
                  <a:gd name="T64" fmla="*/ 5 w 211"/>
                  <a:gd name="T65" fmla="*/ 74 h 211"/>
                  <a:gd name="T66" fmla="*/ 1 w 211"/>
                  <a:gd name="T67" fmla="*/ 95 h 211"/>
                  <a:gd name="T68" fmla="*/ 0 w 211"/>
                  <a:gd name="T69" fmla="*/ 10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1" h="211">
                    <a:moveTo>
                      <a:pt x="0" y="106"/>
                    </a:moveTo>
                    <a:lnTo>
                      <a:pt x="0" y="106"/>
                    </a:lnTo>
                    <a:lnTo>
                      <a:pt x="1" y="116"/>
                    </a:lnTo>
                    <a:lnTo>
                      <a:pt x="2" y="127"/>
                    </a:lnTo>
                    <a:lnTo>
                      <a:pt x="5" y="136"/>
                    </a:lnTo>
                    <a:lnTo>
                      <a:pt x="8" y="146"/>
                    </a:lnTo>
                    <a:lnTo>
                      <a:pt x="13" y="156"/>
                    </a:lnTo>
                    <a:lnTo>
                      <a:pt x="18" y="164"/>
                    </a:lnTo>
                    <a:lnTo>
                      <a:pt x="24" y="172"/>
                    </a:lnTo>
                    <a:lnTo>
                      <a:pt x="31" y="180"/>
                    </a:lnTo>
                    <a:lnTo>
                      <a:pt x="39" y="186"/>
                    </a:lnTo>
                    <a:lnTo>
                      <a:pt x="46" y="192"/>
                    </a:lnTo>
                    <a:lnTo>
                      <a:pt x="56" y="198"/>
                    </a:lnTo>
                    <a:lnTo>
                      <a:pt x="64" y="202"/>
                    </a:lnTo>
                    <a:lnTo>
                      <a:pt x="74" y="206"/>
                    </a:lnTo>
                    <a:lnTo>
                      <a:pt x="84" y="208"/>
                    </a:lnTo>
                    <a:lnTo>
                      <a:pt x="95" y="211"/>
                    </a:lnTo>
                    <a:lnTo>
                      <a:pt x="106" y="211"/>
                    </a:lnTo>
                    <a:lnTo>
                      <a:pt x="106" y="211"/>
                    </a:lnTo>
                    <a:lnTo>
                      <a:pt x="117" y="211"/>
                    </a:lnTo>
                    <a:lnTo>
                      <a:pt x="126" y="208"/>
                    </a:lnTo>
                    <a:lnTo>
                      <a:pt x="136" y="206"/>
                    </a:lnTo>
                    <a:lnTo>
                      <a:pt x="146" y="202"/>
                    </a:lnTo>
                    <a:lnTo>
                      <a:pt x="156" y="198"/>
                    </a:lnTo>
                    <a:lnTo>
                      <a:pt x="164" y="192"/>
                    </a:lnTo>
                    <a:lnTo>
                      <a:pt x="173" y="186"/>
                    </a:lnTo>
                    <a:lnTo>
                      <a:pt x="180" y="180"/>
                    </a:lnTo>
                    <a:lnTo>
                      <a:pt x="186" y="172"/>
                    </a:lnTo>
                    <a:lnTo>
                      <a:pt x="192" y="164"/>
                    </a:lnTo>
                    <a:lnTo>
                      <a:pt x="198" y="156"/>
                    </a:lnTo>
                    <a:lnTo>
                      <a:pt x="202" y="146"/>
                    </a:lnTo>
                    <a:lnTo>
                      <a:pt x="206" y="136"/>
                    </a:lnTo>
                    <a:lnTo>
                      <a:pt x="208" y="127"/>
                    </a:lnTo>
                    <a:lnTo>
                      <a:pt x="211" y="116"/>
                    </a:lnTo>
                    <a:lnTo>
                      <a:pt x="211" y="106"/>
                    </a:lnTo>
                    <a:lnTo>
                      <a:pt x="211" y="106"/>
                    </a:lnTo>
                    <a:lnTo>
                      <a:pt x="211" y="95"/>
                    </a:lnTo>
                    <a:lnTo>
                      <a:pt x="208" y="84"/>
                    </a:lnTo>
                    <a:lnTo>
                      <a:pt x="206" y="74"/>
                    </a:lnTo>
                    <a:lnTo>
                      <a:pt x="202" y="64"/>
                    </a:lnTo>
                    <a:lnTo>
                      <a:pt x="198" y="55"/>
                    </a:lnTo>
                    <a:lnTo>
                      <a:pt x="192" y="46"/>
                    </a:lnTo>
                    <a:lnTo>
                      <a:pt x="186" y="39"/>
                    </a:lnTo>
                    <a:lnTo>
                      <a:pt x="180" y="30"/>
                    </a:lnTo>
                    <a:lnTo>
                      <a:pt x="173" y="24"/>
                    </a:lnTo>
                    <a:lnTo>
                      <a:pt x="164" y="18"/>
                    </a:lnTo>
                    <a:lnTo>
                      <a:pt x="156" y="13"/>
                    </a:lnTo>
                    <a:lnTo>
                      <a:pt x="146" y="8"/>
                    </a:lnTo>
                    <a:lnTo>
                      <a:pt x="136" y="5"/>
                    </a:lnTo>
                    <a:lnTo>
                      <a:pt x="126" y="2"/>
                    </a:lnTo>
                    <a:lnTo>
                      <a:pt x="117" y="1"/>
                    </a:lnTo>
                    <a:lnTo>
                      <a:pt x="106" y="0"/>
                    </a:lnTo>
                    <a:lnTo>
                      <a:pt x="106" y="0"/>
                    </a:lnTo>
                    <a:lnTo>
                      <a:pt x="95" y="1"/>
                    </a:lnTo>
                    <a:lnTo>
                      <a:pt x="84" y="2"/>
                    </a:lnTo>
                    <a:lnTo>
                      <a:pt x="74" y="5"/>
                    </a:lnTo>
                    <a:lnTo>
                      <a:pt x="64" y="8"/>
                    </a:lnTo>
                    <a:lnTo>
                      <a:pt x="56" y="13"/>
                    </a:lnTo>
                    <a:lnTo>
                      <a:pt x="46" y="18"/>
                    </a:lnTo>
                    <a:lnTo>
                      <a:pt x="39" y="24"/>
                    </a:lnTo>
                    <a:lnTo>
                      <a:pt x="31" y="30"/>
                    </a:lnTo>
                    <a:lnTo>
                      <a:pt x="24" y="39"/>
                    </a:lnTo>
                    <a:lnTo>
                      <a:pt x="18" y="46"/>
                    </a:lnTo>
                    <a:lnTo>
                      <a:pt x="13" y="55"/>
                    </a:lnTo>
                    <a:lnTo>
                      <a:pt x="8" y="64"/>
                    </a:lnTo>
                    <a:lnTo>
                      <a:pt x="5" y="74"/>
                    </a:lnTo>
                    <a:lnTo>
                      <a:pt x="2" y="84"/>
                    </a:lnTo>
                    <a:lnTo>
                      <a:pt x="1" y="95"/>
                    </a:lnTo>
                    <a:lnTo>
                      <a:pt x="0" y="106"/>
                    </a:lnTo>
                    <a:lnTo>
                      <a:pt x="0" y="106"/>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7" name="Freeform 1532"/>
              <p:cNvSpPr>
                <a:spLocks/>
              </p:cNvSpPr>
              <p:nvPr/>
            </p:nvSpPr>
            <p:spPr bwMode="auto">
              <a:xfrm>
                <a:off x="7666040" y="-1109891"/>
                <a:ext cx="79685" cy="79685"/>
              </a:xfrm>
              <a:custGeom>
                <a:avLst/>
                <a:gdLst>
                  <a:gd name="T0" fmla="*/ 0 w 211"/>
                  <a:gd name="T1" fmla="*/ 104 h 210"/>
                  <a:gd name="T2" fmla="*/ 3 w 211"/>
                  <a:gd name="T3" fmla="*/ 126 h 210"/>
                  <a:gd name="T4" fmla="*/ 9 w 211"/>
                  <a:gd name="T5" fmla="*/ 146 h 210"/>
                  <a:gd name="T6" fmla="*/ 18 w 211"/>
                  <a:gd name="T7" fmla="*/ 164 h 210"/>
                  <a:gd name="T8" fmla="*/ 32 w 211"/>
                  <a:gd name="T9" fmla="*/ 180 h 210"/>
                  <a:gd name="T10" fmla="*/ 46 w 211"/>
                  <a:gd name="T11" fmla="*/ 192 h 210"/>
                  <a:gd name="T12" fmla="*/ 65 w 211"/>
                  <a:gd name="T13" fmla="*/ 202 h 210"/>
                  <a:gd name="T14" fmla="*/ 84 w 211"/>
                  <a:gd name="T15" fmla="*/ 208 h 210"/>
                  <a:gd name="T16" fmla="*/ 106 w 211"/>
                  <a:gd name="T17" fmla="*/ 210 h 210"/>
                  <a:gd name="T18" fmla="*/ 117 w 211"/>
                  <a:gd name="T19" fmla="*/ 209 h 210"/>
                  <a:gd name="T20" fmla="*/ 137 w 211"/>
                  <a:gd name="T21" fmla="*/ 206 h 210"/>
                  <a:gd name="T22" fmla="*/ 156 w 211"/>
                  <a:gd name="T23" fmla="*/ 197 h 210"/>
                  <a:gd name="T24" fmla="*/ 173 w 211"/>
                  <a:gd name="T25" fmla="*/ 186 h 210"/>
                  <a:gd name="T26" fmla="*/ 187 w 211"/>
                  <a:gd name="T27" fmla="*/ 171 h 210"/>
                  <a:gd name="T28" fmla="*/ 199 w 211"/>
                  <a:gd name="T29" fmla="*/ 156 h 210"/>
                  <a:gd name="T30" fmla="*/ 206 w 211"/>
                  <a:gd name="T31" fmla="*/ 136 h 210"/>
                  <a:gd name="T32" fmla="*/ 211 w 211"/>
                  <a:gd name="T33" fmla="*/ 115 h 210"/>
                  <a:gd name="T34" fmla="*/ 211 w 211"/>
                  <a:gd name="T35" fmla="*/ 104 h 210"/>
                  <a:gd name="T36" fmla="*/ 209 w 211"/>
                  <a:gd name="T37" fmla="*/ 84 h 210"/>
                  <a:gd name="T38" fmla="*/ 202 w 211"/>
                  <a:gd name="T39" fmla="*/ 64 h 210"/>
                  <a:gd name="T40" fmla="*/ 193 w 211"/>
                  <a:gd name="T41" fmla="*/ 46 h 210"/>
                  <a:gd name="T42" fmla="*/ 181 w 211"/>
                  <a:gd name="T43" fmla="*/ 30 h 210"/>
                  <a:gd name="T44" fmla="*/ 165 w 211"/>
                  <a:gd name="T45" fmla="*/ 18 h 210"/>
                  <a:gd name="T46" fmla="*/ 146 w 211"/>
                  <a:gd name="T47" fmla="*/ 8 h 210"/>
                  <a:gd name="T48" fmla="*/ 127 w 211"/>
                  <a:gd name="T49" fmla="*/ 2 h 210"/>
                  <a:gd name="T50" fmla="*/ 106 w 211"/>
                  <a:gd name="T51" fmla="*/ 0 h 210"/>
                  <a:gd name="T52" fmla="*/ 95 w 211"/>
                  <a:gd name="T53" fmla="*/ 0 h 210"/>
                  <a:gd name="T54" fmla="*/ 74 w 211"/>
                  <a:gd name="T55" fmla="*/ 4 h 210"/>
                  <a:gd name="T56" fmla="*/ 56 w 211"/>
                  <a:gd name="T57" fmla="*/ 12 h 210"/>
                  <a:gd name="T58" fmla="*/ 39 w 211"/>
                  <a:gd name="T59" fmla="*/ 24 h 210"/>
                  <a:gd name="T60" fmla="*/ 24 w 211"/>
                  <a:gd name="T61" fmla="*/ 37 h 210"/>
                  <a:gd name="T62" fmla="*/ 14 w 211"/>
                  <a:gd name="T63" fmla="*/ 54 h 210"/>
                  <a:gd name="T64" fmla="*/ 5 w 211"/>
                  <a:gd name="T65" fmla="*/ 74 h 210"/>
                  <a:gd name="T66" fmla="*/ 1 w 211"/>
                  <a:gd name="T67" fmla="*/ 95 h 210"/>
                  <a:gd name="T68" fmla="*/ 0 w 211"/>
                  <a:gd name="T69" fmla="*/ 104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1" h="210">
                    <a:moveTo>
                      <a:pt x="0" y="104"/>
                    </a:moveTo>
                    <a:lnTo>
                      <a:pt x="0" y="104"/>
                    </a:lnTo>
                    <a:lnTo>
                      <a:pt x="1" y="115"/>
                    </a:lnTo>
                    <a:lnTo>
                      <a:pt x="3" y="126"/>
                    </a:lnTo>
                    <a:lnTo>
                      <a:pt x="5" y="136"/>
                    </a:lnTo>
                    <a:lnTo>
                      <a:pt x="9" y="146"/>
                    </a:lnTo>
                    <a:lnTo>
                      <a:pt x="14" y="156"/>
                    </a:lnTo>
                    <a:lnTo>
                      <a:pt x="18" y="164"/>
                    </a:lnTo>
                    <a:lnTo>
                      <a:pt x="24" y="171"/>
                    </a:lnTo>
                    <a:lnTo>
                      <a:pt x="32" y="180"/>
                    </a:lnTo>
                    <a:lnTo>
                      <a:pt x="39" y="186"/>
                    </a:lnTo>
                    <a:lnTo>
                      <a:pt x="46" y="192"/>
                    </a:lnTo>
                    <a:lnTo>
                      <a:pt x="56" y="197"/>
                    </a:lnTo>
                    <a:lnTo>
                      <a:pt x="65" y="202"/>
                    </a:lnTo>
                    <a:lnTo>
                      <a:pt x="74" y="206"/>
                    </a:lnTo>
                    <a:lnTo>
                      <a:pt x="84" y="208"/>
                    </a:lnTo>
                    <a:lnTo>
                      <a:pt x="95" y="209"/>
                    </a:lnTo>
                    <a:lnTo>
                      <a:pt x="106" y="210"/>
                    </a:lnTo>
                    <a:lnTo>
                      <a:pt x="106" y="210"/>
                    </a:lnTo>
                    <a:lnTo>
                      <a:pt x="117" y="209"/>
                    </a:lnTo>
                    <a:lnTo>
                      <a:pt x="127" y="208"/>
                    </a:lnTo>
                    <a:lnTo>
                      <a:pt x="137" y="206"/>
                    </a:lnTo>
                    <a:lnTo>
                      <a:pt x="146" y="202"/>
                    </a:lnTo>
                    <a:lnTo>
                      <a:pt x="156" y="197"/>
                    </a:lnTo>
                    <a:lnTo>
                      <a:pt x="165" y="192"/>
                    </a:lnTo>
                    <a:lnTo>
                      <a:pt x="173" y="186"/>
                    </a:lnTo>
                    <a:lnTo>
                      <a:pt x="181" y="180"/>
                    </a:lnTo>
                    <a:lnTo>
                      <a:pt x="187" y="171"/>
                    </a:lnTo>
                    <a:lnTo>
                      <a:pt x="193" y="164"/>
                    </a:lnTo>
                    <a:lnTo>
                      <a:pt x="199" y="156"/>
                    </a:lnTo>
                    <a:lnTo>
                      <a:pt x="202" y="146"/>
                    </a:lnTo>
                    <a:lnTo>
                      <a:pt x="206" y="136"/>
                    </a:lnTo>
                    <a:lnTo>
                      <a:pt x="209" y="126"/>
                    </a:lnTo>
                    <a:lnTo>
                      <a:pt x="211" y="115"/>
                    </a:lnTo>
                    <a:lnTo>
                      <a:pt x="211" y="104"/>
                    </a:lnTo>
                    <a:lnTo>
                      <a:pt x="211" y="104"/>
                    </a:lnTo>
                    <a:lnTo>
                      <a:pt x="211" y="95"/>
                    </a:lnTo>
                    <a:lnTo>
                      <a:pt x="209" y="84"/>
                    </a:lnTo>
                    <a:lnTo>
                      <a:pt x="206" y="74"/>
                    </a:lnTo>
                    <a:lnTo>
                      <a:pt x="202" y="64"/>
                    </a:lnTo>
                    <a:lnTo>
                      <a:pt x="199" y="54"/>
                    </a:lnTo>
                    <a:lnTo>
                      <a:pt x="193" y="46"/>
                    </a:lnTo>
                    <a:lnTo>
                      <a:pt x="187" y="37"/>
                    </a:lnTo>
                    <a:lnTo>
                      <a:pt x="181" y="30"/>
                    </a:lnTo>
                    <a:lnTo>
                      <a:pt x="173" y="24"/>
                    </a:lnTo>
                    <a:lnTo>
                      <a:pt x="165" y="18"/>
                    </a:lnTo>
                    <a:lnTo>
                      <a:pt x="156" y="12"/>
                    </a:lnTo>
                    <a:lnTo>
                      <a:pt x="146" y="8"/>
                    </a:lnTo>
                    <a:lnTo>
                      <a:pt x="137" y="4"/>
                    </a:lnTo>
                    <a:lnTo>
                      <a:pt x="127" y="2"/>
                    </a:lnTo>
                    <a:lnTo>
                      <a:pt x="117" y="0"/>
                    </a:lnTo>
                    <a:lnTo>
                      <a:pt x="106" y="0"/>
                    </a:lnTo>
                    <a:lnTo>
                      <a:pt x="106" y="0"/>
                    </a:lnTo>
                    <a:lnTo>
                      <a:pt x="95" y="0"/>
                    </a:lnTo>
                    <a:lnTo>
                      <a:pt x="84" y="2"/>
                    </a:lnTo>
                    <a:lnTo>
                      <a:pt x="74" y="4"/>
                    </a:lnTo>
                    <a:lnTo>
                      <a:pt x="65" y="8"/>
                    </a:lnTo>
                    <a:lnTo>
                      <a:pt x="56" y="12"/>
                    </a:lnTo>
                    <a:lnTo>
                      <a:pt x="46" y="18"/>
                    </a:lnTo>
                    <a:lnTo>
                      <a:pt x="39" y="24"/>
                    </a:lnTo>
                    <a:lnTo>
                      <a:pt x="32" y="30"/>
                    </a:lnTo>
                    <a:lnTo>
                      <a:pt x="24" y="37"/>
                    </a:lnTo>
                    <a:lnTo>
                      <a:pt x="18" y="46"/>
                    </a:lnTo>
                    <a:lnTo>
                      <a:pt x="14" y="54"/>
                    </a:lnTo>
                    <a:lnTo>
                      <a:pt x="9" y="64"/>
                    </a:lnTo>
                    <a:lnTo>
                      <a:pt x="5" y="74"/>
                    </a:lnTo>
                    <a:lnTo>
                      <a:pt x="3" y="84"/>
                    </a:lnTo>
                    <a:lnTo>
                      <a:pt x="1" y="95"/>
                    </a:lnTo>
                    <a:lnTo>
                      <a:pt x="0" y="104"/>
                    </a:lnTo>
                    <a:lnTo>
                      <a:pt x="0" y="104"/>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8" name="Freeform 1533"/>
              <p:cNvSpPr>
                <a:spLocks/>
              </p:cNvSpPr>
              <p:nvPr/>
            </p:nvSpPr>
            <p:spPr bwMode="auto">
              <a:xfrm>
                <a:off x="7696396" y="-1096611"/>
                <a:ext cx="36048" cy="37945"/>
              </a:xfrm>
              <a:custGeom>
                <a:avLst/>
                <a:gdLst>
                  <a:gd name="T0" fmla="*/ 0 w 95"/>
                  <a:gd name="T1" fmla="*/ 48 h 97"/>
                  <a:gd name="T2" fmla="*/ 0 w 95"/>
                  <a:gd name="T3" fmla="*/ 48 h 97"/>
                  <a:gd name="T4" fmla="*/ 0 w 95"/>
                  <a:gd name="T5" fmla="*/ 58 h 97"/>
                  <a:gd name="T6" fmla="*/ 4 w 95"/>
                  <a:gd name="T7" fmla="*/ 67 h 97"/>
                  <a:gd name="T8" fmla="*/ 8 w 95"/>
                  <a:gd name="T9" fmla="*/ 75 h 97"/>
                  <a:gd name="T10" fmla="*/ 14 w 95"/>
                  <a:gd name="T11" fmla="*/ 82 h 97"/>
                  <a:gd name="T12" fmla="*/ 21 w 95"/>
                  <a:gd name="T13" fmla="*/ 88 h 97"/>
                  <a:gd name="T14" fmla="*/ 30 w 95"/>
                  <a:gd name="T15" fmla="*/ 93 h 97"/>
                  <a:gd name="T16" fmla="*/ 38 w 95"/>
                  <a:gd name="T17" fmla="*/ 95 h 97"/>
                  <a:gd name="T18" fmla="*/ 48 w 95"/>
                  <a:gd name="T19" fmla="*/ 97 h 97"/>
                  <a:gd name="T20" fmla="*/ 48 w 95"/>
                  <a:gd name="T21" fmla="*/ 97 h 97"/>
                  <a:gd name="T22" fmla="*/ 58 w 95"/>
                  <a:gd name="T23" fmla="*/ 95 h 97"/>
                  <a:gd name="T24" fmla="*/ 66 w 95"/>
                  <a:gd name="T25" fmla="*/ 93 h 97"/>
                  <a:gd name="T26" fmla="*/ 75 w 95"/>
                  <a:gd name="T27" fmla="*/ 88 h 97"/>
                  <a:gd name="T28" fmla="*/ 82 w 95"/>
                  <a:gd name="T29" fmla="*/ 82 h 97"/>
                  <a:gd name="T30" fmla="*/ 87 w 95"/>
                  <a:gd name="T31" fmla="*/ 75 h 97"/>
                  <a:gd name="T32" fmla="*/ 92 w 95"/>
                  <a:gd name="T33" fmla="*/ 67 h 97"/>
                  <a:gd name="T34" fmla="*/ 94 w 95"/>
                  <a:gd name="T35" fmla="*/ 58 h 97"/>
                  <a:gd name="T36" fmla="*/ 95 w 95"/>
                  <a:gd name="T37" fmla="*/ 48 h 97"/>
                  <a:gd name="T38" fmla="*/ 95 w 95"/>
                  <a:gd name="T39" fmla="*/ 48 h 97"/>
                  <a:gd name="T40" fmla="*/ 94 w 95"/>
                  <a:gd name="T41" fmla="*/ 39 h 97"/>
                  <a:gd name="T42" fmla="*/ 92 w 95"/>
                  <a:gd name="T43" fmla="*/ 30 h 97"/>
                  <a:gd name="T44" fmla="*/ 87 w 95"/>
                  <a:gd name="T45" fmla="*/ 21 h 97"/>
                  <a:gd name="T46" fmla="*/ 82 w 95"/>
                  <a:gd name="T47" fmla="*/ 15 h 97"/>
                  <a:gd name="T48" fmla="*/ 75 w 95"/>
                  <a:gd name="T49" fmla="*/ 9 h 97"/>
                  <a:gd name="T50" fmla="*/ 66 w 95"/>
                  <a:gd name="T51" fmla="*/ 4 h 97"/>
                  <a:gd name="T52" fmla="*/ 58 w 95"/>
                  <a:gd name="T53" fmla="*/ 2 h 97"/>
                  <a:gd name="T54" fmla="*/ 48 w 95"/>
                  <a:gd name="T55" fmla="*/ 0 h 97"/>
                  <a:gd name="T56" fmla="*/ 48 w 95"/>
                  <a:gd name="T57" fmla="*/ 0 h 97"/>
                  <a:gd name="T58" fmla="*/ 38 w 95"/>
                  <a:gd name="T59" fmla="*/ 2 h 97"/>
                  <a:gd name="T60" fmla="*/ 30 w 95"/>
                  <a:gd name="T61" fmla="*/ 4 h 97"/>
                  <a:gd name="T62" fmla="*/ 21 w 95"/>
                  <a:gd name="T63" fmla="*/ 9 h 97"/>
                  <a:gd name="T64" fmla="*/ 14 w 95"/>
                  <a:gd name="T65" fmla="*/ 15 h 97"/>
                  <a:gd name="T66" fmla="*/ 8 w 95"/>
                  <a:gd name="T67" fmla="*/ 21 h 97"/>
                  <a:gd name="T68" fmla="*/ 4 w 95"/>
                  <a:gd name="T69" fmla="*/ 30 h 97"/>
                  <a:gd name="T70" fmla="*/ 0 w 95"/>
                  <a:gd name="T71" fmla="*/ 39 h 97"/>
                  <a:gd name="T72" fmla="*/ 0 w 95"/>
                  <a:gd name="T73" fmla="*/ 48 h 97"/>
                  <a:gd name="T74" fmla="*/ 0 w 95"/>
                  <a:gd name="T75" fmla="*/ 4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7">
                    <a:moveTo>
                      <a:pt x="0" y="48"/>
                    </a:moveTo>
                    <a:lnTo>
                      <a:pt x="0" y="48"/>
                    </a:lnTo>
                    <a:lnTo>
                      <a:pt x="0" y="58"/>
                    </a:lnTo>
                    <a:lnTo>
                      <a:pt x="4" y="67"/>
                    </a:lnTo>
                    <a:lnTo>
                      <a:pt x="8" y="75"/>
                    </a:lnTo>
                    <a:lnTo>
                      <a:pt x="14" y="82"/>
                    </a:lnTo>
                    <a:lnTo>
                      <a:pt x="21" y="88"/>
                    </a:lnTo>
                    <a:lnTo>
                      <a:pt x="30" y="93"/>
                    </a:lnTo>
                    <a:lnTo>
                      <a:pt x="38" y="95"/>
                    </a:lnTo>
                    <a:lnTo>
                      <a:pt x="48" y="97"/>
                    </a:lnTo>
                    <a:lnTo>
                      <a:pt x="48" y="97"/>
                    </a:lnTo>
                    <a:lnTo>
                      <a:pt x="58" y="95"/>
                    </a:lnTo>
                    <a:lnTo>
                      <a:pt x="66" y="93"/>
                    </a:lnTo>
                    <a:lnTo>
                      <a:pt x="75" y="88"/>
                    </a:lnTo>
                    <a:lnTo>
                      <a:pt x="82" y="82"/>
                    </a:lnTo>
                    <a:lnTo>
                      <a:pt x="87" y="75"/>
                    </a:lnTo>
                    <a:lnTo>
                      <a:pt x="92" y="67"/>
                    </a:lnTo>
                    <a:lnTo>
                      <a:pt x="94" y="58"/>
                    </a:lnTo>
                    <a:lnTo>
                      <a:pt x="95" y="48"/>
                    </a:lnTo>
                    <a:lnTo>
                      <a:pt x="95" y="48"/>
                    </a:lnTo>
                    <a:lnTo>
                      <a:pt x="94" y="39"/>
                    </a:lnTo>
                    <a:lnTo>
                      <a:pt x="92" y="30"/>
                    </a:lnTo>
                    <a:lnTo>
                      <a:pt x="87" y="21"/>
                    </a:lnTo>
                    <a:lnTo>
                      <a:pt x="82" y="15"/>
                    </a:lnTo>
                    <a:lnTo>
                      <a:pt x="75" y="9"/>
                    </a:lnTo>
                    <a:lnTo>
                      <a:pt x="66" y="4"/>
                    </a:lnTo>
                    <a:lnTo>
                      <a:pt x="58" y="2"/>
                    </a:lnTo>
                    <a:lnTo>
                      <a:pt x="48" y="0"/>
                    </a:lnTo>
                    <a:lnTo>
                      <a:pt x="48" y="0"/>
                    </a:lnTo>
                    <a:lnTo>
                      <a:pt x="38" y="2"/>
                    </a:lnTo>
                    <a:lnTo>
                      <a:pt x="30" y="4"/>
                    </a:lnTo>
                    <a:lnTo>
                      <a:pt x="21" y="9"/>
                    </a:lnTo>
                    <a:lnTo>
                      <a:pt x="14" y="15"/>
                    </a:lnTo>
                    <a:lnTo>
                      <a:pt x="8" y="21"/>
                    </a:lnTo>
                    <a:lnTo>
                      <a:pt x="4" y="30"/>
                    </a:lnTo>
                    <a:lnTo>
                      <a:pt x="0" y="39"/>
                    </a:lnTo>
                    <a:lnTo>
                      <a:pt x="0" y="48"/>
                    </a:lnTo>
                    <a:lnTo>
                      <a:pt x="0" y="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89" name="Freeform 1534"/>
              <p:cNvSpPr>
                <a:spLocks/>
              </p:cNvSpPr>
              <p:nvPr/>
            </p:nvSpPr>
            <p:spPr bwMode="auto">
              <a:xfrm>
                <a:off x="7474417" y="-1546261"/>
                <a:ext cx="36048" cy="36048"/>
              </a:xfrm>
              <a:custGeom>
                <a:avLst/>
                <a:gdLst>
                  <a:gd name="T0" fmla="*/ 0 w 96"/>
                  <a:gd name="T1" fmla="*/ 48 h 96"/>
                  <a:gd name="T2" fmla="*/ 0 w 96"/>
                  <a:gd name="T3" fmla="*/ 48 h 96"/>
                  <a:gd name="T4" fmla="*/ 1 w 96"/>
                  <a:gd name="T5" fmla="*/ 58 h 96"/>
                  <a:gd name="T6" fmla="*/ 5 w 96"/>
                  <a:gd name="T7" fmla="*/ 66 h 96"/>
                  <a:gd name="T8" fmla="*/ 8 w 96"/>
                  <a:gd name="T9" fmla="*/ 75 h 96"/>
                  <a:gd name="T10" fmla="*/ 14 w 96"/>
                  <a:gd name="T11" fmla="*/ 82 h 96"/>
                  <a:gd name="T12" fmla="*/ 22 w 96"/>
                  <a:gd name="T13" fmla="*/ 88 h 96"/>
                  <a:gd name="T14" fmla="*/ 30 w 96"/>
                  <a:gd name="T15" fmla="*/ 92 h 96"/>
                  <a:gd name="T16" fmla="*/ 39 w 96"/>
                  <a:gd name="T17" fmla="*/ 94 h 96"/>
                  <a:gd name="T18" fmla="*/ 48 w 96"/>
                  <a:gd name="T19" fmla="*/ 96 h 96"/>
                  <a:gd name="T20" fmla="*/ 48 w 96"/>
                  <a:gd name="T21" fmla="*/ 96 h 96"/>
                  <a:gd name="T22" fmla="*/ 58 w 96"/>
                  <a:gd name="T23" fmla="*/ 94 h 96"/>
                  <a:gd name="T24" fmla="*/ 67 w 96"/>
                  <a:gd name="T25" fmla="*/ 92 h 96"/>
                  <a:gd name="T26" fmla="*/ 75 w 96"/>
                  <a:gd name="T27" fmla="*/ 88 h 96"/>
                  <a:gd name="T28" fmla="*/ 83 w 96"/>
                  <a:gd name="T29" fmla="*/ 82 h 96"/>
                  <a:gd name="T30" fmla="*/ 88 w 96"/>
                  <a:gd name="T31" fmla="*/ 75 h 96"/>
                  <a:gd name="T32" fmla="*/ 92 w 96"/>
                  <a:gd name="T33" fmla="*/ 66 h 96"/>
                  <a:gd name="T34" fmla="*/ 95 w 96"/>
                  <a:gd name="T35" fmla="*/ 58 h 96"/>
                  <a:gd name="T36" fmla="*/ 96 w 96"/>
                  <a:gd name="T37" fmla="*/ 48 h 96"/>
                  <a:gd name="T38" fmla="*/ 96 w 96"/>
                  <a:gd name="T39" fmla="*/ 48 h 96"/>
                  <a:gd name="T40" fmla="*/ 95 w 96"/>
                  <a:gd name="T41" fmla="*/ 38 h 96"/>
                  <a:gd name="T42" fmla="*/ 92 w 96"/>
                  <a:gd name="T43" fmla="*/ 30 h 96"/>
                  <a:gd name="T44" fmla="*/ 88 w 96"/>
                  <a:gd name="T45" fmla="*/ 21 h 96"/>
                  <a:gd name="T46" fmla="*/ 83 w 96"/>
                  <a:gd name="T47" fmla="*/ 14 h 96"/>
                  <a:gd name="T48" fmla="*/ 75 w 96"/>
                  <a:gd name="T49" fmla="*/ 8 h 96"/>
                  <a:gd name="T50" fmla="*/ 67 w 96"/>
                  <a:gd name="T51" fmla="*/ 4 h 96"/>
                  <a:gd name="T52" fmla="*/ 58 w 96"/>
                  <a:gd name="T53" fmla="*/ 0 h 96"/>
                  <a:gd name="T54" fmla="*/ 48 w 96"/>
                  <a:gd name="T55" fmla="*/ 0 h 96"/>
                  <a:gd name="T56" fmla="*/ 48 w 96"/>
                  <a:gd name="T57" fmla="*/ 0 h 96"/>
                  <a:gd name="T58" fmla="*/ 39 w 96"/>
                  <a:gd name="T59" fmla="*/ 0 h 96"/>
                  <a:gd name="T60" fmla="*/ 30 w 96"/>
                  <a:gd name="T61" fmla="*/ 4 h 96"/>
                  <a:gd name="T62" fmla="*/ 22 w 96"/>
                  <a:gd name="T63" fmla="*/ 8 h 96"/>
                  <a:gd name="T64" fmla="*/ 14 w 96"/>
                  <a:gd name="T65" fmla="*/ 14 h 96"/>
                  <a:gd name="T66" fmla="*/ 8 w 96"/>
                  <a:gd name="T67" fmla="*/ 21 h 96"/>
                  <a:gd name="T68" fmla="*/ 5 w 96"/>
                  <a:gd name="T69" fmla="*/ 30 h 96"/>
                  <a:gd name="T70" fmla="*/ 1 w 96"/>
                  <a:gd name="T71" fmla="*/ 38 h 96"/>
                  <a:gd name="T72" fmla="*/ 0 w 96"/>
                  <a:gd name="T73" fmla="*/ 48 h 96"/>
                  <a:gd name="T74" fmla="*/ 0 w 96"/>
                  <a:gd name="T75"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6" h="96">
                    <a:moveTo>
                      <a:pt x="0" y="48"/>
                    </a:moveTo>
                    <a:lnTo>
                      <a:pt x="0" y="48"/>
                    </a:lnTo>
                    <a:lnTo>
                      <a:pt x="1" y="58"/>
                    </a:lnTo>
                    <a:lnTo>
                      <a:pt x="5" y="66"/>
                    </a:lnTo>
                    <a:lnTo>
                      <a:pt x="8" y="75"/>
                    </a:lnTo>
                    <a:lnTo>
                      <a:pt x="14" y="82"/>
                    </a:lnTo>
                    <a:lnTo>
                      <a:pt x="22" y="88"/>
                    </a:lnTo>
                    <a:lnTo>
                      <a:pt x="30" y="92"/>
                    </a:lnTo>
                    <a:lnTo>
                      <a:pt x="39" y="94"/>
                    </a:lnTo>
                    <a:lnTo>
                      <a:pt x="48" y="96"/>
                    </a:lnTo>
                    <a:lnTo>
                      <a:pt x="48" y="96"/>
                    </a:lnTo>
                    <a:lnTo>
                      <a:pt x="58" y="94"/>
                    </a:lnTo>
                    <a:lnTo>
                      <a:pt x="67" y="92"/>
                    </a:lnTo>
                    <a:lnTo>
                      <a:pt x="75" y="88"/>
                    </a:lnTo>
                    <a:lnTo>
                      <a:pt x="83" y="82"/>
                    </a:lnTo>
                    <a:lnTo>
                      <a:pt x="88" y="75"/>
                    </a:lnTo>
                    <a:lnTo>
                      <a:pt x="92" y="66"/>
                    </a:lnTo>
                    <a:lnTo>
                      <a:pt x="95" y="58"/>
                    </a:lnTo>
                    <a:lnTo>
                      <a:pt x="96" y="48"/>
                    </a:lnTo>
                    <a:lnTo>
                      <a:pt x="96" y="48"/>
                    </a:lnTo>
                    <a:lnTo>
                      <a:pt x="95" y="38"/>
                    </a:lnTo>
                    <a:lnTo>
                      <a:pt x="92" y="30"/>
                    </a:lnTo>
                    <a:lnTo>
                      <a:pt x="88" y="21"/>
                    </a:lnTo>
                    <a:lnTo>
                      <a:pt x="83" y="14"/>
                    </a:lnTo>
                    <a:lnTo>
                      <a:pt x="75" y="8"/>
                    </a:lnTo>
                    <a:lnTo>
                      <a:pt x="67" y="4"/>
                    </a:lnTo>
                    <a:lnTo>
                      <a:pt x="58" y="0"/>
                    </a:lnTo>
                    <a:lnTo>
                      <a:pt x="48" y="0"/>
                    </a:lnTo>
                    <a:lnTo>
                      <a:pt x="48" y="0"/>
                    </a:lnTo>
                    <a:lnTo>
                      <a:pt x="39" y="0"/>
                    </a:lnTo>
                    <a:lnTo>
                      <a:pt x="30" y="4"/>
                    </a:lnTo>
                    <a:lnTo>
                      <a:pt x="22" y="8"/>
                    </a:lnTo>
                    <a:lnTo>
                      <a:pt x="14" y="14"/>
                    </a:lnTo>
                    <a:lnTo>
                      <a:pt x="8" y="21"/>
                    </a:lnTo>
                    <a:lnTo>
                      <a:pt x="5" y="30"/>
                    </a:lnTo>
                    <a:lnTo>
                      <a:pt x="1" y="38"/>
                    </a:lnTo>
                    <a:lnTo>
                      <a:pt x="0" y="48"/>
                    </a:lnTo>
                    <a:lnTo>
                      <a:pt x="0" y="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sp>
          <p:nvSpPr>
            <p:cNvPr id="390" name="Freeform 1535"/>
            <p:cNvSpPr>
              <a:spLocks/>
            </p:cNvSpPr>
            <p:nvPr/>
          </p:nvSpPr>
          <p:spPr bwMode="auto">
            <a:xfrm>
              <a:off x="5599934" y="-1720808"/>
              <a:ext cx="705777" cy="508465"/>
            </a:xfrm>
            <a:custGeom>
              <a:avLst/>
              <a:gdLst>
                <a:gd name="T0" fmla="*/ 1770 w 1858"/>
                <a:gd name="T1" fmla="*/ 0 h 1344"/>
                <a:gd name="T2" fmla="*/ 1789 w 1858"/>
                <a:gd name="T3" fmla="*/ 3 h 1344"/>
                <a:gd name="T4" fmla="*/ 1805 w 1858"/>
                <a:gd name="T5" fmla="*/ 7 h 1344"/>
                <a:gd name="T6" fmla="*/ 1819 w 1858"/>
                <a:gd name="T7" fmla="*/ 15 h 1344"/>
                <a:gd name="T8" fmla="*/ 1833 w 1858"/>
                <a:gd name="T9" fmla="*/ 26 h 1344"/>
                <a:gd name="T10" fmla="*/ 1844 w 1858"/>
                <a:gd name="T11" fmla="*/ 39 h 1344"/>
                <a:gd name="T12" fmla="*/ 1851 w 1858"/>
                <a:gd name="T13" fmla="*/ 54 h 1344"/>
                <a:gd name="T14" fmla="*/ 1857 w 1858"/>
                <a:gd name="T15" fmla="*/ 70 h 1344"/>
                <a:gd name="T16" fmla="*/ 1858 w 1858"/>
                <a:gd name="T17" fmla="*/ 88 h 1344"/>
                <a:gd name="T18" fmla="*/ 1858 w 1858"/>
                <a:gd name="T19" fmla="*/ 1256 h 1344"/>
                <a:gd name="T20" fmla="*/ 1857 w 1858"/>
                <a:gd name="T21" fmla="*/ 1274 h 1344"/>
                <a:gd name="T22" fmla="*/ 1851 w 1858"/>
                <a:gd name="T23" fmla="*/ 1290 h 1344"/>
                <a:gd name="T24" fmla="*/ 1844 w 1858"/>
                <a:gd name="T25" fmla="*/ 1305 h 1344"/>
                <a:gd name="T26" fmla="*/ 1833 w 1858"/>
                <a:gd name="T27" fmla="*/ 1318 h 1344"/>
                <a:gd name="T28" fmla="*/ 1819 w 1858"/>
                <a:gd name="T29" fmla="*/ 1329 h 1344"/>
                <a:gd name="T30" fmla="*/ 1805 w 1858"/>
                <a:gd name="T31" fmla="*/ 1336 h 1344"/>
                <a:gd name="T32" fmla="*/ 1789 w 1858"/>
                <a:gd name="T33" fmla="*/ 1342 h 1344"/>
                <a:gd name="T34" fmla="*/ 1770 w 1858"/>
                <a:gd name="T35" fmla="*/ 1344 h 1344"/>
                <a:gd name="T36" fmla="*/ 88 w 1858"/>
                <a:gd name="T37" fmla="*/ 1344 h 1344"/>
                <a:gd name="T38" fmla="*/ 71 w 1858"/>
                <a:gd name="T39" fmla="*/ 1342 h 1344"/>
                <a:gd name="T40" fmla="*/ 54 w 1858"/>
                <a:gd name="T41" fmla="*/ 1336 h 1344"/>
                <a:gd name="T42" fmla="*/ 39 w 1858"/>
                <a:gd name="T43" fmla="*/ 1329 h 1344"/>
                <a:gd name="T44" fmla="*/ 26 w 1858"/>
                <a:gd name="T45" fmla="*/ 1318 h 1344"/>
                <a:gd name="T46" fmla="*/ 16 w 1858"/>
                <a:gd name="T47" fmla="*/ 1305 h 1344"/>
                <a:gd name="T48" fmla="*/ 8 w 1858"/>
                <a:gd name="T49" fmla="*/ 1290 h 1344"/>
                <a:gd name="T50" fmla="*/ 3 w 1858"/>
                <a:gd name="T51" fmla="*/ 1274 h 1344"/>
                <a:gd name="T52" fmla="*/ 0 w 1858"/>
                <a:gd name="T53" fmla="*/ 1256 h 1344"/>
                <a:gd name="T54" fmla="*/ 0 w 1858"/>
                <a:gd name="T55" fmla="*/ 88 h 1344"/>
                <a:gd name="T56" fmla="*/ 3 w 1858"/>
                <a:gd name="T57" fmla="*/ 70 h 1344"/>
                <a:gd name="T58" fmla="*/ 8 w 1858"/>
                <a:gd name="T59" fmla="*/ 54 h 1344"/>
                <a:gd name="T60" fmla="*/ 16 w 1858"/>
                <a:gd name="T61" fmla="*/ 39 h 1344"/>
                <a:gd name="T62" fmla="*/ 26 w 1858"/>
                <a:gd name="T63" fmla="*/ 26 h 1344"/>
                <a:gd name="T64" fmla="*/ 39 w 1858"/>
                <a:gd name="T65" fmla="*/ 15 h 1344"/>
                <a:gd name="T66" fmla="*/ 54 w 1858"/>
                <a:gd name="T67" fmla="*/ 7 h 1344"/>
                <a:gd name="T68" fmla="*/ 71 w 1858"/>
                <a:gd name="T69" fmla="*/ 3 h 1344"/>
                <a:gd name="T70" fmla="*/ 88 w 1858"/>
                <a:gd name="T71" fmla="*/ 0 h 1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58" h="1344">
                  <a:moveTo>
                    <a:pt x="1770" y="0"/>
                  </a:moveTo>
                  <a:lnTo>
                    <a:pt x="1770" y="0"/>
                  </a:lnTo>
                  <a:lnTo>
                    <a:pt x="1780" y="0"/>
                  </a:lnTo>
                  <a:lnTo>
                    <a:pt x="1789" y="3"/>
                  </a:lnTo>
                  <a:lnTo>
                    <a:pt x="1797" y="4"/>
                  </a:lnTo>
                  <a:lnTo>
                    <a:pt x="1805" y="7"/>
                  </a:lnTo>
                  <a:lnTo>
                    <a:pt x="1812" y="11"/>
                  </a:lnTo>
                  <a:lnTo>
                    <a:pt x="1819" y="15"/>
                  </a:lnTo>
                  <a:lnTo>
                    <a:pt x="1827" y="20"/>
                  </a:lnTo>
                  <a:lnTo>
                    <a:pt x="1833" y="26"/>
                  </a:lnTo>
                  <a:lnTo>
                    <a:pt x="1839" y="32"/>
                  </a:lnTo>
                  <a:lnTo>
                    <a:pt x="1844" y="39"/>
                  </a:lnTo>
                  <a:lnTo>
                    <a:pt x="1847" y="47"/>
                  </a:lnTo>
                  <a:lnTo>
                    <a:pt x="1851" y="54"/>
                  </a:lnTo>
                  <a:lnTo>
                    <a:pt x="1855" y="62"/>
                  </a:lnTo>
                  <a:lnTo>
                    <a:pt x="1857" y="70"/>
                  </a:lnTo>
                  <a:lnTo>
                    <a:pt x="1858" y="79"/>
                  </a:lnTo>
                  <a:lnTo>
                    <a:pt x="1858" y="88"/>
                  </a:lnTo>
                  <a:lnTo>
                    <a:pt x="1858" y="1256"/>
                  </a:lnTo>
                  <a:lnTo>
                    <a:pt x="1858" y="1256"/>
                  </a:lnTo>
                  <a:lnTo>
                    <a:pt x="1858" y="1266"/>
                  </a:lnTo>
                  <a:lnTo>
                    <a:pt x="1857" y="1274"/>
                  </a:lnTo>
                  <a:lnTo>
                    <a:pt x="1855" y="1283"/>
                  </a:lnTo>
                  <a:lnTo>
                    <a:pt x="1851" y="1290"/>
                  </a:lnTo>
                  <a:lnTo>
                    <a:pt x="1847" y="1299"/>
                  </a:lnTo>
                  <a:lnTo>
                    <a:pt x="1844" y="1305"/>
                  </a:lnTo>
                  <a:lnTo>
                    <a:pt x="1839" y="1312"/>
                  </a:lnTo>
                  <a:lnTo>
                    <a:pt x="1833" y="1318"/>
                  </a:lnTo>
                  <a:lnTo>
                    <a:pt x="1827" y="1324"/>
                  </a:lnTo>
                  <a:lnTo>
                    <a:pt x="1819" y="1329"/>
                  </a:lnTo>
                  <a:lnTo>
                    <a:pt x="1812" y="1333"/>
                  </a:lnTo>
                  <a:lnTo>
                    <a:pt x="1805" y="1336"/>
                  </a:lnTo>
                  <a:lnTo>
                    <a:pt x="1797" y="1340"/>
                  </a:lnTo>
                  <a:lnTo>
                    <a:pt x="1789" y="1342"/>
                  </a:lnTo>
                  <a:lnTo>
                    <a:pt x="1780" y="1344"/>
                  </a:lnTo>
                  <a:lnTo>
                    <a:pt x="1770" y="1344"/>
                  </a:lnTo>
                  <a:lnTo>
                    <a:pt x="88" y="1344"/>
                  </a:lnTo>
                  <a:lnTo>
                    <a:pt x="88" y="1344"/>
                  </a:lnTo>
                  <a:lnTo>
                    <a:pt x="79" y="1344"/>
                  </a:lnTo>
                  <a:lnTo>
                    <a:pt x="71" y="1342"/>
                  </a:lnTo>
                  <a:lnTo>
                    <a:pt x="62" y="1340"/>
                  </a:lnTo>
                  <a:lnTo>
                    <a:pt x="54" y="1336"/>
                  </a:lnTo>
                  <a:lnTo>
                    <a:pt x="47" y="1333"/>
                  </a:lnTo>
                  <a:lnTo>
                    <a:pt x="39" y="1329"/>
                  </a:lnTo>
                  <a:lnTo>
                    <a:pt x="33" y="1324"/>
                  </a:lnTo>
                  <a:lnTo>
                    <a:pt x="26" y="1318"/>
                  </a:lnTo>
                  <a:lnTo>
                    <a:pt x="21" y="1312"/>
                  </a:lnTo>
                  <a:lnTo>
                    <a:pt x="16" y="1305"/>
                  </a:lnTo>
                  <a:lnTo>
                    <a:pt x="11" y="1299"/>
                  </a:lnTo>
                  <a:lnTo>
                    <a:pt x="8" y="1290"/>
                  </a:lnTo>
                  <a:lnTo>
                    <a:pt x="5" y="1283"/>
                  </a:lnTo>
                  <a:lnTo>
                    <a:pt x="3" y="1274"/>
                  </a:lnTo>
                  <a:lnTo>
                    <a:pt x="1" y="1266"/>
                  </a:lnTo>
                  <a:lnTo>
                    <a:pt x="0" y="1256"/>
                  </a:lnTo>
                  <a:lnTo>
                    <a:pt x="0" y="88"/>
                  </a:lnTo>
                  <a:lnTo>
                    <a:pt x="0" y="88"/>
                  </a:lnTo>
                  <a:lnTo>
                    <a:pt x="1" y="79"/>
                  </a:lnTo>
                  <a:lnTo>
                    <a:pt x="3" y="70"/>
                  </a:lnTo>
                  <a:lnTo>
                    <a:pt x="5" y="62"/>
                  </a:lnTo>
                  <a:lnTo>
                    <a:pt x="8" y="54"/>
                  </a:lnTo>
                  <a:lnTo>
                    <a:pt x="11" y="47"/>
                  </a:lnTo>
                  <a:lnTo>
                    <a:pt x="16" y="39"/>
                  </a:lnTo>
                  <a:lnTo>
                    <a:pt x="21" y="32"/>
                  </a:lnTo>
                  <a:lnTo>
                    <a:pt x="26" y="26"/>
                  </a:lnTo>
                  <a:lnTo>
                    <a:pt x="33" y="20"/>
                  </a:lnTo>
                  <a:lnTo>
                    <a:pt x="39" y="15"/>
                  </a:lnTo>
                  <a:lnTo>
                    <a:pt x="47" y="11"/>
                  </a:lnTo>
                  <a:lnTo>
                    <a:pt x="54" y="7"/>
                  </a:lnTo>
                  <a:lnTo>
                    <a:pt x="62" y="4"/>
                  </a:lnTo>
                  <a:lnTo>
                    <a:pt x="71" y="3"/>
                  </a:lnTo>
                  <a:lnTo>
                    <a:pt x="79" y="0"/>
                  </a:lnTo>
                  <a:lnTo>
                    <a:pt x="88" y="0"/>
                  </a:lnTo>
                  <a:lnTo>
                    <a:pt x="177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1" name="Rectangle 1536"/>
            <p:cNvSpPr>
              <a:spLocks noChangeArrowheads="1"/>
            </p:cNvSpPr>
            <p:nvPr/>
          </p:nvSpPr>
          <p:spPr bwMode="auto">
            <a:xfrm>
              <a:off x="5634085" y="-1383097"/>
              <a:ext cx="138499" cy="140397"/>
            </a:xfrm>
            <a:prstGeom prst="rect">
              <a:avLst/>
            </a:prstGeom>
            <a:solidFill>
              <a:srgbClr val="B8A3E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2" name="Rectangle 1537"/>
            <p:cNvSpPr>
              <a:spLocks noChangeArrowheads="1"/>
            </p:cNvSpPr>
            <p:nvPr/>
          </p:nvSpPr>
          <p:spPr bwMode="auto">
            <a:xfrm>
              <a:off x="5634085" y="-1536774"/>
              <a:ext cx="138499" cy="140397"/>
            </a:xfrm>
            <a:prstGeom prst="rect">
              <a:avLst/>
            </a:prstGeom>
            <a:solidFill>
              <a:srgbClr val="B8A3E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3" name="Rectangle 1538"/>
            <p:cNvSpPr>
              <a:spLocks noChangeArrowheads="1"/>
            </p:cNvSpPr>
            <p:nvPr/>
          </p:nvSpPr>
          <p:spPr bwMode="auto">
            <a:xfrm>
              <a:off x="5634085" y="-1690452"/>
              <a:ext cx="138499" cy="140397"/>
            </a:xfrm>
            <a:prstGeom prst="rect">
              <a:avLst/>
            </a:prstGeom>
            <a:solidFill>
              <a:srgbClr val="B8A3E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4" name="Rectangle 1539"/>
            <p:cNvSpPr>
              <a:spLocks noChangeArrowheads="1"/>
            </p:cNvSpPr>
            <p:nvPr/>
          </p:nvSpPr>
          <p:spPr bwMode="auto">
            <a:xfrm>
              <a:off x="5799146" y="-1383097"/>
              <a:ext cx="140397" cy="140397"/>
            </a:xfrm>
            <a:prstGeom prst="rect">
              <a:avLst/>
            </a:prstGeom>
            <a:solidFill>
              <a:srgbClr val="B8A3E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5" name="Rectangle 1540"/>
            <p:cNvSpPr>
              <a:spLocks noChangeArrowheads="1"/>
            </p:cNvSpPr>
            <p:nvPr/>
          </p:nvSpPr>
          <p:spPr bwMode="auto">
            <a:xfrm>
              <a:off x="5799146" y="-1536774"/>
              <a:ext cx="140397" cy="140397"/>
            </a:xfrm>
            <a:prstGeom prst="rect">
              <a:avLst/>
            </a:prstGeom>
            <a:solidFill>
              <a:srgbClr val="B8A3E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6" name="Rectangle 1541"/>
            <p:cNvSpPr>
              <a:spLocks noChangeArrowheads="1"/>
            </p:cNvSpPr>
            <p:nvPr/>
          </p:nvSpPr>
          <p:spPr bwMode="auto">
            <a:xfrm>
              <a:off x="5799146" y="-1690452"/>
              <a:ext cx="140397" cy="140397"/>
            </a:xfrm>
            <a:prstGeom prst="rect">
              <a:avLst/>
            </a:prstGeom>
            <a:solidFill>
              <a:srgbClr val="B8A3E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7" name="Rectangle 1542"/>
            <p:cNvSpPr>
              <a:spLocks noChangeArrowheads="1"/>
            </p:cNvSpPr>
            <p:nvPr/>
          </p:nvSpPr>
          <p:spPr bwMode="auto">
            <a:xfrm>
              <a:off x="5966103" y="-1383097"/>
              <a:ext cx="138499" cy="140397"/>
            </a:xfrm>
            <a:prstGeom prst="rect">
              <a:avLst/>
            </a:prstGeom>
            <a:solidFill>
              <a:srgbClr val="7B65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8" name="Rectangle 1543"/>
            <p:cNvSpPr>
              <a:spLocks noChangeArrowheads="1"/>
            </p:cNvSpPr>
            <p:nvPr/>
          </p:nvSpPr>
          <p:spPr bwMode="auto">
            <a:xfrm>
              <a:off x="5966103" y="-1536774"/>
              <a:ext cx="138499" cy="140397"/>
            </a:xfrm>
            <a:prstGeom prst="rect">
              <a:avLst/>
            </a:prstGeom>
            <a:solidFill>
              <a:srgbClr val="7B65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399" name="Rectangle 1544"/>
            <p:cNvSpPr>
              <a:spLocks noChangeArrowheads="1"/>
            </p:cNvSpPr>
            <p:nvPr/>
          </p:nvSpPr>
          <p:spPr bwMode="auto">
            <a:xfrm>
              <a:off x="5966103" y="-1690452"/>
              <a:ext cx="138499" cy="140397"/>
            </a:xfrm>
            <a:prstGeom prst="rect">
              <a:avLst/>
            </a:prstGeom>
            <a:solidFill>
              <a:srgbClr val="7B65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0" name="Rectangle 1545"/>
            <p:cNvSpPr>
              <a:spLocks noChangeArrowheads="1"/>
            </p:cNvSpPr>
            <p:nvPr/>
          </p:nvSpPr>
          <p:spPr bwMode="auto">
            <a:xfrm>
              <a:off x="6133062" y="-1383097"/>
              <a:ext cx="138499" cy="140397"/>
            </a:xfrm>
            <a:prstGeom prst="rect">
              <a:avLst/>
            </a:prstGeom>
            <a:solidFill>
              <a:srgbClr val="7B65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1" name="Rectangle 1546"/>
            <p:cNvSpPr>
              <a:spLocks noChangeArrowheads="1"/>
            </p:cNvSpPr>
            <p:nvPr/>
          </p:nvSpPr>
          <p:spPr bwMode="auto">
            <a:xfrm>
              <a:off x="6133062" y="-1536774"/>
              <a:ext cx="138499" cy="140397"/>
            </a:xfrm>
            <a:prstGeom prst="rect">
              <a:avLst/>
            </a:prstGeom>
            <a:solidFill>
              <a:srgbClr val="7B65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2" name="Rectangle 1547"/>
            <p:cNvSpPr>
              <a:spLocks noChangeArrowheads="1"/>
            </p:cNvSpPr>
            <p:nvPr/>
          </p:nvSpPr>
          <p:spPr bwMode="auto">
            <a:xfrm>
              <a:off x="6133062" y="-1690452"/>
              <a:ext cx="138499" cy="140397"/>
            </a:xfrm>
            <a:prstGeom prst="rect">
              <a:avLst/>
            </a:prstGeom>
            <a:solidFill>
              <a:srgbClr val="7B65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3" name="Freeform 1548"/>
            <p:cNvSpPr>
              <a:spLocks/>
            </p:cNvSpPr>
            <p:nvPr/>
          </p:nvSpPr>
          <p:spPr bwMode="auto">
            <a:xfrm>
              <a:off x="6019228" y="-683010"/>
              <a:ext cx="269409" cy="237157"/>
            </a:xfrm>
            <a:custGeom>
              <a:avLst/>
              <a:gdLst>
                <a:gd name="T0" fmla="*/ 706 w 706"/>
                <a:gd name="T1" fmla="*/ 82 h 627"/>
                <a:gd name="T2" fmla="*/ 626 w 706"/>
                <a:gd name="T3" fmla="*/ 0 h 627"/>
                <a:gd name="T4" fmla="*/ 0 w 706"/>
                <a:gd name="T5" fmla="*/ 627 h 627"/>
                <a:gd name="T6" fmla="*/ 162 w 706"/>
                <a:gd name="T7" fmla="*/ 627 h 627"/>
                <a:gd name="T8" fmla="*/ 706 w 706"/>
                <a:gd name="T9" fmla="*/ 82 h 627"/>
              </a:gdLst>
              <a:ahLst/>
              <a:cxnLst>
                <a:cxn ang="0">
                  <a:pos x="T0" y="T1"/>
                </a:cxn>
                <a:cxn ang="0">
                  <a:pos x="T2" y="T3"/>
                </a:cxn>
                <a:cxn ang="0">
                  <a:pos x="T4" y="T5"/>
                </a:cxn>
                <a:cxn ang="0">
                  <a:pos x="T6" y="T7"/>
                </a:cxn>
                <a:cxn ang="0">
                  <a:pos x="T8" y="T9"/>
                </a:cxn>
              </a:cxnLst>
              <a:rect l="0" t="0" r="r" b="b"/>
              <a:pathLst>
                <a:path w="706" h="627">
                  <a:moveTo>
                    <a:pt x="706" y="82"/>
                  </a:moveTo>
                  <a:lnTo>
                    <a:pt x="626" y="0"/>
                  </a:lnTo>
                  <a:lnTo>
                    <a:pt x="0" y="627"/>
                  </a:lnTo>
                  <a:lnTo>
                    <a:pt x="162" y="627"/>
                  </a:lnTo>
                  <a:lnTo>
                    <a:pt x="706" y="82"/>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4" name="Freeform 1549"/>
            <p:cNvSpPr>
              <a:spLocks/>
            </p:cNvSpPr>
            <p:nvPr/>
          </p:nvSpPr>
          <p:spPr bwMode="auto">
            <a:xfrm>
              <a:off x="6632039" y="-683010"/>
              <a:ext cx="267512" cy="237157"/>
            </a:xfrm>
            <a:custGeom>
              <a:avLst/>
              <a:gdLst>
                <a:gd name="T0" fmla="*/ 0 w 707"/>
                <a:gd name="T1" fmla="*/ 82 h 627"/>
                <a:gd name="T2" fmla="*/ 81 w 707"/>
                <a:gd name="T3" fmla="*/ 0 h 627"/>
                <a:gd name="T4" fmla="*/ 707 w 707"/>
                <a:gd name="T5" fmla="*/ 627 h 627"/>
                <a:gd name="T6" fmla="*/ 545 w 707"/>
                <a:gd name="T7" fmla="*/ 627 h 627"/>
                <a:gd name="T8" fmla="*/ 0 w 707"/>
                <a:gd name="T9" fmla="*/ 82 h 627"/>
              </a:gdLst>
              <a:ahLst/>
              <a:cxnLst>
                <a:cxn ang="0">
                  <a:pos x="T0" y="T1"/>
                </a:cxn>
                <a:cxn ang="0">
                  <a:pos x="T2" y="T3"/>
                </a:cxn>
                <a:cxn ang="0">
                  <a:pos x="T4" y="T5"/>
                </a:cxn>
                <a:cxn ang="0">
                  <a:pos x="T6" y="T7"/>
                </a:cxn>
                <a:cxn ang="0">
                  <a:pos x="T8" y="T9"/>
                </a:cxn>
              </a:cxnLst>
              <a:rect l="0" t="0" r="r" b="b"/>
              <a:pathLst>
                <a:path w="707" h="627">
                  <a:moveTo>
                    <a:pt x="0" y="82"/>
                  </a:moveTo>
                  <a:lnTo>
                    <a:pt x="81" y="0"/>
                  </a:lnTo>
                  <a:lnTo>
                    <a:pt x="707" y="627"/>
                  </a:lnTo>
                  <a:lnTo>
                    <a:pt x="545" y="627"/>
                  </a:lnTo>
                  <a:lnTo>
                    <a:pt x="0" y="82"/>
                  </a:lnTo>
                  <a:close/>
                </a:path>
              </a:pathLst>
            </a:custGeom>
            <a:solidFill>
              <a:srgbClr val="AAAA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5" name="Freeform 1550"/>
            <p:cNvSpPr>
              <a:spLocks/>
            </p:cNvSpPr>
            <p:nvPr/>
          </p:nvSpPr>
          <p:spPr bwMode="auto">
            <a:xfrm>
              <a:off x="6438519" y="-781666"/>
              <a:ext cx="43637" cy="335815"/>
            </a:xfrm>
            <a:custGeom>
              <a:avLst/>
              <a:gdLst>
                <a:gd name="T0" fmla="*/ 0 w 115"/>
                <a:gd name="T1" fmla="*/ 885 h 885"/>
                <a:gd name="T2" fmla="*/ 115 w 115"/>
                <a:gd name="T3" fmla="*/ 885 h 885"/>
                <a:gd name="T4" fmla="*/ 115 w 115"/>
                <a:gd name="T5" fmla="*/ 0 h 885"/>
                <a:gd name="T6" fmla="*/ 0 w 115"/>
                <a:gd name="T7" fmla="*/ 114 h 885"/>
                <a:gd name="T8" fmla="*/ 0 w 115"/>
                <a:gd name="T9" fmla="*/ 885 h 885"/>
              </a:gdLst>
              <a:ahLst/>
              <a:cxnLst>
                <a:cxn ang="0">
                  <a:pos x="T0" y="T1"/>
                </a:cxn>
                <a:cxn ang="0">
                  <a:pos x="T2" y="T3"/>
                </a:cxn>
                <a:cxn ang="0">
                  <a:pos x="T4" y="T5"/>
                </a:cxn>
                <a:cxn ang="0">
                  <a:pos x="T6" y="T7"/>
                </a:cxn>
                <a:cxn ang="0">
                  <a:pos x="T8" y="T9"/>
                </a:cxn>
              </a:cxnLst>
              <a:rect l="0" t="0" r="r" b="b"/>
              <a:pathLst>
                <a:path w="115" h="885">
                  <a:moveTo>
                    <a:pt x="0" y="885"/>
                  </a:moveTo>
                  <a:lnTo>
                    <a:pt x="115" y="885"/>
                  </a:lnTo>
                  <a:lnTo>
                    <a:pt x="115" y="0"/>
                  </a:lnTo>
                  <a:lnTo>
                    <a:pt x="0" y="114"/>
                  </a:lnTo>
                  <a:lnTo>
                    <a:pt x="0" y="885"/>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6" name="Freeform 1551"/>
            <p:cNvSpPr>
              <a:spLocks/>
            </p:cNvSpPr>
            <p:nvPr/>
          </p:nvSpPr>
          <p:spPr bwMode="auto">
            <a:xfrm>
              <a:off x="6446109" y="-1212343"/>
              <a:ext cx="28459" cy="212493"/>
            </a:xfrm>
            <a:custGeom>
              <a:avLst/>
              <a:gdLst>
                <a:gd name="T0" fmla="*/ 72 w 72"/>
                <a:gd name="T1" fmla="*/ 0 h 557"/>
                <a:gd name="T2" fmla="*/ 0 w 72"/>
                <a:gd name="T3" fmla="*/ 0 h 557"/>
                <a:gd name="T4" fmla="*/ 0 w 72"/>
                <a:gd name="T5" fmla="*/ 557 h 557"/>
                <a:gd name="T6" fmla="*/ 72 w 72"/>
                <a:gd name="T7" fmla="*/ 485 h 557"/>
                <a:gd name="T8" fmla="*/ 72 w 72"/>
                <a:gd name="T9" fmla="*/ 0 h 557"/>
              </a:gdLst>
              <a:ahLst/>
              <a:cxnLst>
                <a:cxn ang="0">
                  <a:pos x="T0" y="T1"/>
                </a:cxn>
                <a:cxn ang="0">
                  <a:pos x="T2" y="T3"/>
                </a:cxn>
                <a:cxn ang="0">
                  <a:pos x="T4" y="T5"/>
                </a:cxn>
                <a:cxn ang="0">
                  <a:pos x="T6" y="T7"/>
                </a:cxn>
                <a:cxn ang="0">
                  <a:pos x="T8" y="T9"/>
                </a:cxn>
              </a:cxnLst>
              <a:rect l="0" t="0" r="r" b="b"/>
              <a:pathLst>
                <a:path w="72" h="557">
                  <a:moveTo>
                    <a:pt x="72" y="0"/>
                  </a:moveTo>
                  <a:lnTo>
                    <a:pt x="0" y="0"/>
                  </a:lnTo>
                  <a:lnTo>
                    <a:pt x="0" y="557"/>
                  </a:lnTo>
                  <a:lnTo>
                    <a:pt x="72" y="485"/>
                  </a:lnTo>
                  <a:lnTo>
                    <a:pt x="72"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7" name="Freeform 1552"/>
            <p:cNvSpPr>
              <a:spLocks/>
            </p:cNvSpPr>
            <p:nvPr/>
          </p:nvSpPr>
          <p:spPr bwMode="auto">
            <a:xfrm>
              <a:off x="6235513" y="-1024514"/>
              <a:ext cx="79685" cy="81582"/>
            </a:xfrm>
            <a:custGeom>
              <a:avLst/>
              <a:gdLst>
                <a:gd name="T0" fmla="*/ 212 w 212"/>
                <a:gd name="T1" fmla="*/ 108 h 214"/>
                <a:gd name="T2" fmla="*/ 210 w 212"/>
                <a:gd name="T3" fmla="*/ 128 h 214"/>
                <a:gd name="T4" fmla="*/ 203 w 212"/>
                <a:gd name="T5" fmla="*/ 148 h 214"/>
                <a:gd name="T6" fmla="*/ 194 w 212"/>
                <a:gd name="T7" fmla="*/ 166 h 214"/>
                <a:gd name="T8" fmla="*/ 180 w 212"/>
                <a:gd name="T9" fmla="*/ 182 h 214"/>
                <a:gd name="T10" fmla="*/ 166 w 212"/>
                <a:gd name="T11" fmla="*/ 195 h 214"/>
                <a:gd name="T12" fmla="*/ 147 w 212"/>
                <a:gd name="T13" fmla="*/ 205 h 214"/>
                <a:gd name="T14" fmla="*/ 127 w 212"/>
                <a:gd name="T15" fmla="*/ 211 h 214"/>
                <a:gd name="T16" fmla="*/ 106 w 212"/>
                <a:gd name="T17" fmla="*/ 214 h 214"/>
                <a:gd name="T18" fmla="*/ 95 w 212"/>
                <a:gd name="T19" fmla="*/ 212 h 214"/>
                <a:gd name="T20" fmla="*/ 74 w 212"/>
                <a:gd name="T21" fmla="*/ 209 h 214"/>
                <a:gd name="T22" fmla="*/ 55 w 212"/>
                <a:gd name="T23" fmla="*/ 200 h 214"/>
                <a:gd name="T24" fmla="*/ 38 w 212"/>
                <a:gd name="T25" fmla="*/ 189 h 214"/>
                <a:gd name="T26" fmla="*/ 24 w 212"/>
                <a:gd name="T27" fmla="*/ 175 h 214"/>
                <a:gd name="T28" fmla="*/ 12 w 212"/>
                <a:gd name="T29" fmla="*/ 158 h 214"/>
                <a:gd name="T30" fmla="*/ 5 w 212"/>
                <a:gd name="T31" fmla="*/ 138 h 214"/>
                <a:gd name="T32" fmla="*/ 0 w 212"/>
                <a:gd name="T33" fmla="*/ 117 h 214"/>
                <a:gd name="T34" fmla="*/ 0 w 212"/>
                <a:gd name="T35" fmla="*/ 108 h 214"/>
                <a:gd name="T36" fmla="*/ 2 w 212"/>
                <a:gd name="T37" fmla="*/ 86 h 214"/>
                <a:gd name="T38" fmla="*/ 8 w 212"/>
                <a:gd name="T39" fmla="*/ 66 h 214"/>
                <a:gd name="T40" fmla="*/ 18 w 212"/>
                <a:gd name="T41" fmla="*/ 48 h 214"/>
                <a:gd name="T42" fmla="*/ 30 w 212"/>
                <a:gd name="T43" fmla="*/ 32 h 214"/>
                <a:gd name="T44" fmla="*/ 46 w 212"/>
                <a:gd name="T45" fmla="*/ 19 h 214"/>
                <a:gd name="T46" fmla="*/ 65 w 212"/>
                <a:gd name="T47" fmla="*/ 9 h 214"/>
                <a:gd name="T48" fmla="*/ 84 w 212"/>
                <a:gd name="T49" fmla="*/ 3 h 214"/>
                <a:gd name="T50" fmla="*/ 106 w 212"/>
                <a:gd name="T51" fmla="*/ 0 h 214"/>
                <a:gd name="T52" fmla="*/ 117 w 212"/>
                <a:gd name="T53" fmla="*/ 2 h 214"/>
                <a:gd name="T54" fmla="*/ 138 w 212"/>
                <a:gd name="T55" fmla="*/ 5 h 214"/>
                <a:gd name="T56" fmla="*/ 156 w 212"/>
                <a:gd name="T57" fmla="*/ 14 h 214"/>
                <a:gd name="T58" fmla="*/ 173 w 212"/>
                <a:gd name="T59" fmla="*/ 25 h 214"/>
                <a:gd name="T60" fmla="*/ 188 w 212"/>
                <a:gd name="T61" fmla="*/ 39 h 214"/>
                <a:gd name="T62" fmla="*/ 199 w 212"/>
                <a:gd name="T63" fmla="*/ 56 h 214"/>
                <a:gd name="T64" fmla="*/ 207 w 212"/>
                <a:gd name="T65" fmla="*/ 76 h 214"/>
                <a:gd name="T66" fmla="*/ 212 w 212"/>
                <a:gd name="T67" fmla="*/ 97 h 214"/>
                <a:gd name="T68" fmla="*/ 212 w 212"/>
                <a:gd name="T69" fmla="*/ 10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2" h="214">
                  <a:moveTo>
                    <a:pt x="212" y="108"/>
                  </a:moveTo>
                  <a:lnTo>
                    <a:pt x="212" y="108"/>
                  </a:lnTo>
                  <a:lnTo>
                    <a:pt x="212" y="117"/>
                  </a:lnTo>
                  <a:lnTo>
                    <a:pt x="210" y="128"/>
                  </a:lnTo>
                  <a:lnTo>
                    <a:pt x="207" y="138"/>
                  </a:lnTo>
                  <a:lnTo>
                    <a:pt x="203" y="148"/>
                  </a:lnTo>
                  <a:lnTo>
                    <a:pt x="199" y="158"/>
                  </a:lnTo>
                  <a:lnTo>
                    <a:pt x="194" y="166"/>
                  </a:lnTo>
                  <a:lnTo>
                    <a:pt x="188" y="175"/>
                  </a:lnTo>
                  <a:lnTo>
                    <a:pt x="180" y="182"/>
                  </a:lnTo>
                  <a:lnTo>
                    <a:pt x="173" y="189"/>
                  </a:lnTo>
                  <a:lnTo>
                    <a:pt x="166" y="195"/>
                  </a:lnTo>
                  <a:lnTo>
                    <a:pt x="156" y="200"/>
                  </a:lnTo>
                  <a:lnTo>
                    <a:pt x="147" y="205"/>
                  </a:lnTo>
                  <a:lnTo>
                    <a:pt x="138" y="209"/>
                  </a:lnTo>
                  <a:lnTo>
                    <a:pt x="127" y="211"/>
                  </a:lnTo>
                  <a:lnTo>
                    <a:pt x="117" y="212"/>
                  </a:lnTo>
                  <a:lnTo>
                    <a:pt x="106" y="214"/>
                  </a:lnTo>
                  <a:lnTo>
                    <a:pt x="106" y="214"/>
                  </a:lnTo>
                  <a:lnTo>
                    <a:pt x="95" y="212"/>
                  </a:lnTo>
                  <a:lnTo>
                    <a:pt x="84" y="211"/>
                  </a:lnTo>
                  <a:lnTo>
                    <a:pt x="74" y="209"/>
                  </a:lnTo>
                  <a:lnTo>
                    <a:pt x="65" y="205"/>
                  </a:lnTo>
                  <a:lnTo>
                    <a:pt x="55" y="200"/>
                  </a:lnTo>
                  <a:lnTo>
                    <a:pt x="46" y="195"/>
                  </a:lnTo>
                  <a:lnTo>
                    <a:pt x="38" y="189"/>
                  </a:lnTo>
                  <a:lnTo>
                    <a:pt x="30" y="182"/>
                  </a:lnTo>
                  <a:lnTo>
                    <a:pt x="24" y="175"/>
                  </a:lnTo>
                  <a:lnTo>
                    <a:pt x="18" y="166"/>
                  </a:lnTo>
                  <a:lnTo>
                    <a:pt x="12" y="158"/>
                  </a:lnTo>
                  <a:lnTo>
                    <a:pt x="8" y="148"/>
                  </a:lnTo>
                  <a:lnTo>
                    <a:pt x="5" y="138"/>
                  </a:lnTo>
                  <a:lnTo>
                    <a:pt x="2" y="128"/>
                  </a:lnTo>
                  <a:lnTo>
                    <a:pt x="0" y="117"/>
                  </a:lnTo>
                  <a:lnTo>
                    <a:pt x="0" y="108"/>
                  </a:lnTo>
                  <a:lnTo>
                    <a:pt x="0" y="108"/>
                  </a:lnTo>
                  <a:lnTo>
                    <a:pt x="0" y="97"/>
                  </a:lnTo>
                  <a:lnTo>
                    <a:pt x="2" y="86"/>
                  </a:lnTo>
                  <a:lnTo>
                    <a:pt x="5" y="76"/>
                  </a:lnTo>
                  <a:lnTo>
                    <a:pt x="8" y="66"/>
                  </a:lnTo>
                  <a:lnTo>
                    <a:pt x="12" y="56"/>
                  </a:lnTo>
                  <a:lnTo>
                    <a:pt x="18" y="48"/>
                  </a:lnTo>
                  <a:lnTo>
                    <a:pt x="24" y="39"/>
                  </a:lnTo>
                  <a:lnTo>
                    <a:pt x="30" y="32"/>
                  </a:lnTo>
                  <a:lnTo>
                    <a:pt x="38" y="25"/>
                  </a:lnTo>
                  <a:lnTo>
                    <a:pt x="46" y="19"/>
                  </a:lnTo>
                  <a:lnTo>
                    <a:pt x="55" y="14"/>
                  </a:lnTo>
                  <a:lnTo>
                    <a:pt x="65" y="9"/>
                  </a:lnTo>
                  <a:lnTo>
                    <a:pt x="74" y="5"/>
                  </a:lnTo>
                  <a:lnTo>
                    <a:pt x="84" y="3"/>
                  </a:lnTo>
                  <a:lnTo>
                    <a:pt x="95" y="2"/>
                  </a:lnTo>
                  <a:lnTo>
                    <a:pt x="106" y="0"/>
                  </a:lnTo>
                  <a:lnTo>
                    <a:pt x="106" y="0"/>
                  </a:lnTo>
                  <a:lnTo>
                    <a:pt x="117" y="2"/>
                  </a:lnTo>
                  <a:lnTo>
                    <a:pt x="127" y="3"/>
                  </a:lnTo>
                  <a:lnTo>
                    <a:pt x="138" y="5"/>
                  </a:lnTo>
                  <a:lnTo>
                    <a:pt x="147" y="9"/>
                  </a:lnTo>
                  <a:lnTo>
                    <a:pt x="156" y="14"/>
                  </a:lnTo>
                  <a:lnTo>
                    <a:pt x="166" y="19"/>
                  </a:lnTo>
                  <a:lnTo>
                    <a:pt x="173" y="25"/>
                  </a:lnTo>
                  <a:lnTo>
                    <a:pt x="180" y="32"/>
                  </a:lnTo>
                  <a:lnTo>
                    <a:pt x="188" y="39"/>
                  </a:lnTo>
                  <a:lnTo>
                    <a:pt x="194" y="48"/>
                  </a:lnTo>
                  <a:lnTo>
                    <a:pt x="199" y="56"/>
                  </a:lnTo>
                  <a:lnTo>
                    <a:pt x="203" y="66"/>
                  </a:lnTo>
                  <a:lnTo>
                    <a:pt x="207" y="76"/>
                  </a:lnTo>
                  <a:lnTo>
                    <a:pt x="210" y="86"/>
                  </a:lnTo>
                  <a:lnTo>
                    <a:pt x="212" y="97"/>
                  </a:lnTo>
                  <a:lnTo>
                    <a:pt x="212" y="108"/>
                  </a:lnTo>
                  <a:lnTo>
                    <a:pt x="212" y="108"/>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8" name="Freeform 1553"/>
            <p:cNvSpPr>
              <a:spLocks/>
            </p:cNvSpPr>
            <p:nvPr/>
          </p:nvSpPr>
          <p:spPr bwMode="auto">
            <a:xfrm>
              <a:off x="6605478" y="-1024514"/>
              <a:ext cx="79685" cy="81582"/>
            </a:xfrm>
            <a:custGeom>
              <a:avLst/>
              <a:gdLst>
                <a:gd name="T0" fmla="*/ 214 w 214"/>
                <a:gd name="T1" fmla="*/ 108 h 214"/>
                <a:gd name="T2" fmla="*/ 211 w 214"/>
                <a:gd name="T3" fmla="*/ 128 h 214"/>
                <a:gd name="T4" fmla="*/ 205 w 214"/>
                <a:gd name="T5" fmla="*/ 148 h 214"/>
                <a:gd name="T6" fmla="*/ 195 w 214"/>
                <a:gd name="T7" fmla="*/ 166 h 214"/>
                <a:gd name="T8" fmla="*/ 182 w 214"/>
                <a:gd name="T9" fmla="*/ 182 h 214"/>
                <a:gd name="T10" fmla="*/ 166 w 214"/>
                <a:gd name="T11" fmla="*/ 195 h 214"/>
                <a:gd name="T12" fmla="*/ 148 w 214"/>
                <a:gd name="T13" fmla="*/ 205 h 214"/>
                <a:gd name="T14" fmla="*/ 128 w 214"/>
                <a:gd name="T15" fmla="*/ 211 h 214"/>
                <a:gd name="T16" fmla="*/ 107 w 214"/>
                <a:gd name="T17" fmla="*/ 214 h 214"/>
                <a:gd name="T18" fmla="*/ 97 w 214"/>
                <a:gd name="T19" fmla="*/ 212 h 214"/>
                <a:gd name="T20" fmla="*/ 76 w 214"/>
                <a:gd name="T21" fmla="*/ 209 h 214"/>
                <a:gd name="T22" fmla="*/ 56 w 214"/>
                <a:gd name="T23" fmla="*/ 200 h 214"/>
                <a:gd name="T24" fmla="*/ 39 w 214"/>
                <a:gd name="T25" fmla="*/ 189 h 214"/>
                <a:gd name="T26" fmla="*/ 25 w 214"/>
                <a:gd name="T27" fmla="*/ 175 h 214"/>
                <a:gd name="T28" fmla="*/ 14 w 214"/>
                <a:gd name="T29" fmla="*/ 158 h 214"/>
                <a:gd name="T30" fmla="*/ 5 w 214"/>
                <a:gd name="T31" fmla="*/ 138 h 214"/>
                <a:gd name="T32" fmla="*/ 1 w 214"/>
                <a:gd name="T33" fmla="*/ 117 h 214"/>
                <a:gd name="T34" fmla="*/ 0 w 214"/>
                <a:gd name="T35" fmla="*/ 108 h 214"/>
                <a:gd name="T36" fmla="*/ 3 w 214"/>
                <a:gd name="T37" fmla="*/ 86 h 214"/>
                <a:gd name="T38" fmla="*/ 9 w 214"/>
                <a:gd name="T39" fmla="*/ 66 h 214"/>
                <a:gd name="T40" fmla="*/ 18 w 214"/>
                <a:gd name="T41" fmla="*/ 48 h 214"/>
                <a:gd name="T42" fmla="*/ 32 w 214"/>
                <a:gd name="T43" fmla="*/ 32 h 214"/>
                <a:gd name="T44" fmla="*/ 48 w 214"/>
                <a:gd name="T45" fmla="*/ 19 h 214"/>
                <a:gd name="T46" fmla="*/ 66 w 214"/>
                <a:gd name="T47" fmla="*/ 9 h 214"/>
                <a:gd name="T48" fmla="*/ 86 w 214"/>
                <a:gd name="T49" fmla="*/ 3 h 214"/>
                <a:gd name="T50" fmla="*/ 107 w 214"/>
                <a:gd name="T51" fmla="*/ 0 h 214"/>
                <a:gd name="T52" fmla="*/ 117 w 214"/>
                <a:gd name="T53" fmla="*/ 2 h 214"/>
                <a:gd name="T54" fmla="*/ 138 w 214"/>
                <a:gd name="T55" fmla="*/ 5 h 214"/>
                <a:gd name="T56" fmla="*/ 157 w 214"/>
                <a:gd name="T57" fmla="*/ 14 h 214"/>
                <a:gd name="T58" fmla="*/ 175 w 214"/>
                <a:gd name="T59" fmla="*/ 25 h 214"/>
                <a:gd name="T60" fmla="*/ 189 w 214"/>
                <a:gd name="T61" fmla="*/ 39 h 214"/>
                <a:gd name="T62" fmla="*/ 200 w 214"/>
                <a:gd name="T63" fmla="*/ 56 h 214"/>
                <a:gd name="T64" fmla="*/ 209 w 214"/>
                <a:gd name="T65" fmla="*/ 76 h 214"/>
                <a:gd name="T66" fmla="*/ 212 w 214"/>
                <a:gd name="T67" fmla="*/ 97 h 214"/>
                <a:gd name="T68" fmla="*/ 214 w 214"/>
                <a:gd name="T69" fmla="*/ 10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4" h="214">
                  <a:moveTo>
                    <a:pt x="214" y="108"/>
                  </a:moveTo>
                  <a:lnTo>
                    <a:pt x="214" y="108"/>
                  </a:lnTo>
                  <a:lnTo>
                    <a:pt x="212" y="117"/>
                  </a:lnTo>
                  <a:lnTo>
                    <a:pt x="211" y="128"/>
                  </a:lnTo>
                  <a:lnTo>
                    <a:pt x="209" y="138"/>
                  </a:lnTo>
                  <a:lnTo>
                    <a:pt x="205" y="148"/>
                  </a:lnTo>
                  <a:lnTo>
                    <a:pt x="200" y="158"/>
                  </a:lnTo>
                  <a:lnTo>
                    <a:pt x="195" y="166"/>
                  </a:lnTo>
                  <a:lnTo>
                    <a:pt x="189" y="175"/>
                  </a:lnTo>
                  <a:lnTo>
                    <a:pt x="182" y="182"/>
                  </a:lnTo>
                  <a:lnTo>
                    <a:pt x="175" y="189"/>
                  </a:lnTo>
                  <a:lnTo>
                    <a:pt x="166" y="195"/>
                  </a:lnTo>
                  <a:lnTo>
                    <a:pt x="157" y="200"/>
                  </a:lnTo>
                  <a:lnTo>
                    <a:pt x="148" y="205"/>
                  </a:lnTo>
                  <a:lnTo>
                    <a:pt x="138" y="209"/>
                  </a:lnTo>
                  <a:lnTo>
                    <a:pt x="128" y="211"/>
                  </a:lnTo>
                  <a:lnTo>
                    <a:pt x="117" y="212"/>
                  </a:lnTo>
                  <a:lnTo>
                    <a:pt x="107" y="214"/>
                  </a:lnTo>
                  <a:lnTo>
                    <a:pt x="107" y="214"/>
                  </a:lnTo>
                  <a:lnTo>
                    <a:pt x="97" y="212"/>
                  </a:lnTo>
                  <a:lnTo>
                    <a:pt x="86" y="211"/>
                  </a:lnTo>
                  <a:lnTo>
                    <a:pt x="76" y="209"/>
                  </a:lnTo>
                  <a:lnTo>
                    <a:pt x="66" y="205"/>
                  </a:lnTo>
                  <a:lnTo>
                    <a:pt x="56" y="200"/>
                  </a:lnTo>
                  <a:lnTo>
                    <a:pt x="48" y="195"/>
                  </a:lnTo>
                  <a:lnTo>
                    <a:pt x="39" y="189"/>
                  </a:lnTo>
                  <a:lnTo>
                    <a:pt x="32" y="182"/>
                  </a:lnTo>
                  <a:lnTo>
                    <a:pt x="25" y="175"/>
                  </a:lnTo>
                  <a:lnTo>
                    <a:pt x="18" y="166"/>
                  </a:lnTo>
                  <a:lnTo>
                    <a:pt x="14" y="158"/>
                  </a:lnTo>
                  <a:lnTo>
                    <a:pt x="9" y="148"/>
                  </a:lnTo>
                  <a:lnTo>
                    <a:pt x="5" y="138"/>
                  </a:lnTo>
                  <a:lnTo>
                    <a:pt x="3" y="128"/>
                  </a:lnTo>
                  <a:lnTo>
                    <a:pt x="1" y="117"/>
                  </a:lnTo>
                  <a:lnTo>
                    <a:pt x="0" y="108"/>
                  </a:lnTo>
                  <a:lnTo>
                    <a:pt x="0" y="108"/>
                  </a:lnTo>
                  <a:lnTo>
                    <a:pt x="1" y="97"/>
                  </a:lnTo>
                  <a:lnTo>
                    <a:pt x="3" y="86"/>
                  </a:lnTo>
                  <a:lnTo>
                    <a:pt x="5" y="76"/>
                  </a:lnTo>
                  <a:lnTo>
                    <a:pt x="9" y="66"/>
                  </a:lnTo>
                  <a:lnTo>
                    <a:pt x="14" y="56"/>
                  </a:lnTo>
                  <a:lnTo>
                    <a:pt x="18" y="48"/>
                  </a:lnTo>
                  <a:lnTo>
                    <a:pt x="25" y="39"/>
                  </a:lnTo>
                  <a:lnTo>
                    <a:pt x="32" y="32"/>
                  </a:lnTo>
                  <a:lnTo>
                    <a:pt x="39" y="25"/>
                  </a:lnTo>
                  <a:lnTo>
                    <a:pt x="48" y="19"/>
                  </a:lnTo>
                  <a:lnTo>
                    <a:pt x="56" y="14"/>
                  </a:lnTo>
                  <a:lnTo>
                    <a:pt x="66" y="9"/>
                  </a:lnTo>
                  <a:lnTo>
                    <a:pt x="76" y="5"/>
                  </a:lnTo>
                  <a:lnTo>
                    <a:pt x="86" y="3"/>
                  </a:lnTo>
                  <a:lnTo>
                    <a:pt x="97" y="2"/>
                  </a:lnTo>
                  <a:lnTo>
                    <a:pt x="107" y="0"/>
                  </a:lnTo>
                  <a:lnTo>
                    <a:pt x="107" y="0"/>
                  </a:lnTo>
                  <a:lnTo>
                    <a:pt x="117" y="2"/>
                  </a:lnTo>
                  <a:lnTo>
                    <a:pt x="128" y="3"/>
                  </a:lnTo>
                  <a:lnTo>
                    <a:pt x="138" y="5"/>
                  </a:lnTo>
                  <a:lnTo>
                    <a:pt x="148" y="9"/>
                  </a:lnTo>
                  <a:lnTo>
                    <a:pt x="157" y="14"/>
                  </a:lnTo>
                  <a:lnTo>
                    <a:pt x="166" y="19"/>
                  </a:lnTo>
                  <a:lnTo>
                    <a:pt x="175" y="25"/>
                  </a:lnTo>
                  <a:lnTo>
                    <a:pt x="182" y="32"/>
                  </a:lnTo>
                  <a:lnTo>
                    <a:pt x="189" y="39"/>
                  </a:lnTo>
                  <a:lnTo>
                    <a:pt x="195" y="48"/>
                  </a:lnTo>
                  <a:lnTo>
                    <a:pt x="200" y="56"/>
                  </a:lnTo>
                  <a:lnTo>
                    <a:pt x="205" y="66"/>
                  </a:lnTo>
                  <a:lnTo>
                    <a:pt x="209" y="76"/>
                  </a:lnTo>
                  <a:lnTo>
                    <a:pt x="211" y="86"/>
                  </a:lnTo>
                  <a:lnTo>
                    <a:pt x="212" y="97"/>
                  </a:lnTo>
                  <a:lnTo>
                    <a:pt x="214" y="108"/>
                  </a:lnTo>
                  <a:lnTo>
                    <a:pt x="214" y="108"/>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09" name="Freeform 1554"/>
            <p:cNvSpPr>
              <a:spLocks/>
            </p:cNvSpPr>
            <p:nvPr/>
          </p:nvSpPr>
          <p:spPr bwMode="auto">
            <a:xfrm>
              <a:off x="6203260" y="-1064358"/>
              <a:ext cx="256129" cy="514158"/>
            </a:xfrm>
            <a:custGeom>
              <a:avLst/>
              <a:gdLst>
                <a:gd name="T0" fmla="*/ 0 w 678"/>
                <a:gd name="T1" fmla="*/ 678 h 1355"/>
                <a:gd name="T2" fmla="*/ 3 w 678"/>
                <a:gd name="T3" fmla="*/ 747 h 1355"/>
                <a:gd name="T4" fmla="*/ 13 w 678"/>
                <a:gd name="T5" fmla="*/ 814 h 1355"/>
                <a:gd name="T6" fmla="*/ 30 w 678"/>
                <a:gd name="T7" fmla="*/ 880 h 1355"/>
                <a:gd name="T8" fmla="*/ 53 w 678"/>
                <a:gd name="T9" fmla="*/ 942 h 1355"/>
                <a:gd name="T10" fmla="*/ 81 w 678"/>
                <a:gd name="T11" fmla="*/ 1001 h 1355"/>
                <a:gd name="T12" fmla="*/ 116 w 678"/>
                <a:gd name="T13" fmla="*/ 1057 h 1355"/>
                <a:gd name="T14" fmla="*/ 155 w 678"/>
                <a:gd name="T15" fmla="*/ 1109 h 1355"/>
                <a:gd name="T16" fmla="*/ 198 w 678"/>
                <a:gd name="T17" fmla="*/ 1157 h 1355"/>
                <a:gd name="T18" fmla="*/ 246 w 678"/>
                <a:gd name="T19" fmla="*/ 1201 h 1355"/>
                <a:gd name="T20" fmla="*/ 298 w 678"/>
                <a:gd name="T21" fmla="*/ 1240 h 1355"/>
                <a:gd name="T22" fmla="*/ 355 w 678"/>
                <a:gd name="T23" fmla="*/ 1274 h 1355"/>
                <a:gd name="T24" fmla="*/ 414 w 678"/>
                <a:gd name="T25" fmla="*/ 1303 h 1355"/>
                <a:gd name="T26" fmla="*/ 476 w 678"/>
                <a:gd name="T27" fmla="*/ 1325 h 1355"/>
                <a:gd name="T28" fmla="*/ 541 w 678"/>
                <a:gd name="T29" fmla="*/ 1342 h 1355"/>
                <a:gd name="T30" fmla="*/ 608 w 678"/>
                <a:gd name="T31" fmla="*/ 1353 h 1355"/>
                <a:gd name="T32" fmla="*/ 678 w 678"/>
                <a:gd name="T33" fmla="*/ 1355 h 1355"/>
                <a:gd name="T34" fmla="*/ 678 w 678"/>
                <a:gd name="T35" fmla="*/ 0 h 1355"/>
                <a:gd name="T36" fmla="*/ 608 w 678"/>
                <a:gd name="T37" fmla="*/ 3 h 1355"/>
                <a:gd name="T38" fmla="*/ 541 w 678"/>
                <a:gd name="T39" fmla="*/ 13 h 1355"/>
                <a:gd name="T40" fmla="*/ 476 w 678"/>
                <a:gd name="T41" fmla="*/ 30 h 1355"/>
                <a:gd name="T42" fmla="*/ 414 w 678"/>
                <a:gd name="T43" fmla="*/ 53 h 1355"/>
                <a:gd name="T44" fmla="*/ 355 w 678"/>
                <a:gd name="T45" fmla="*/ 81 h 1355"/>
                <a:gd name="T46" fmla="*/ 298 w 678"/>
                <a:gd name="T47" fmla="*/ 116 h 1355"/>
                <a:gd name="T48" fmla="*/ 246 w 678"/>
                <a:gd name="T49" fmla="*/ 155 h 1355"/>
                <a:gd name="T50" fmla="*/ 198 w 678"/>
                <a:gd name="T51" fmla="*/ 198 h 1355"/>
                <a:gd name="T52" fmla="*/ 155 w 678"/>
                <a:gd name="T53" fmla="*/ 247 h 1355"/>
                <a:gd name="T54" fmla="*/ 116 w 678"/>
                <a:gd name="T55" fmla="*/ 298 h 1355"/>
                <a:gd name="T56" fmla="*/ 81 w 678"/>
                <a:gd name="T57" fmla="*/ 354 h 1355"/>
                <a:gd name="T58" fmla="*/ 53 w 678"/>
                <a:gd name="T59" fmla="*/ 414 h 1355"/>
                <a:gd name="T60" fmla="*/ 30 w 678"/>
                <a:gd name="T61" fmla="*/ 476 h 1355"/>
                <a:gd name="T62" fmla="*/ 13 w 678"/>
                <a:gd name="T63" fmla="*/ 541 h 1355"/>
                <a:gd name="T64" fmla="*/ 3 w 678"/>
                <a:gd name="T65" fmla="*/ 608 h 1355"/>
                <a:gd name="T66" fmla="*/ 0 w 678"/>
                <a:gd name="T67" fmla="*/ 678 h 1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78" h="1355">
                  <a:moveTo>
                    <a:pt x="0" y="678"/>
                  </a:moveTo>
                  <a:lnTo>
                    <a:pt x="0" y="678"/>
                  </a:lnTo>
                  <a:lnTo>
                    <a:pt x="1" y="713"/>
                  </a:lnTo>
                  <a:lnTo>
                    <a:pt x="3" y="747"/>
                  </a:lnTo>
                  <a:lnTo>
                    <a:pt x="8" y="781"/>
                  </a:lnTo>
                  <a:lnTo>
                    <a:pt x="13" y="814"/>
                  </a:lnTo>
                  <a:lnTo>
                    <a:pt x="22" y="847"/>
                  </a:lnTo>
                  <a:lnTo>
                    <a:pt x="30" y="880"/>
                  </a:lnTo>
                  <a:lnTo>
                    <a:pt x="41" y="910"/>
                  </a:lnTo>
                  <a:lnTo>
                    <a:pt x="53" y="942"/>
                  </a:lnTo>
                  <a:lnTo>
                    <a:pt x="67" y="971"/>
                  </a:lnTo>
                  <a:lnTo>
                    <a:pt x="81" y="1001"/>
                  </a:lnTo>
                  <a:lnTo>
                    <a:pt x="99" y="1030"/>
                  </a:lnTo>
                  <a:lnTo>
                    <a:pt x="116" y="1057"/>
                  </a:lnTo>
                  <a:lnTo>
                    <a:pt x="135" y="1083"/>
                  </a:lnTo>
                  <a:lnTo>
                    <a:pt x="155" y="1109"/>
                  </a:lnTo>
                  <a:lnTo>
                    <a:pt x="177" y="1133"/>
                  </a:lnTo>
                  <a:lnTo>
                    <a:pt x="198" y="1157"/>
                  </a:lnTo>
                  <a:lnTo>
                    <a:pt x="222" y="1180"/>
                  </a:lnTo>
                  <a:lnTo>
                    <a:pt x="246" y="1201"/>
                  </a:lnTo>
                  <a:lnTo>
                    <a:pt x="272" y="1221"/>
                  </a:lnTo>
                  <a:lnTo>
                    <a:pt x="298" y="1240"/>
                  </a:lnTo>
                  <a:lnTo>
                    <a:pt x="327" y="1258"/>
                  </a:lnTo>
                  <a:lnTo>
                    <a:pt x="355" y="1274"/>
                  </a:lnTo>
                  <a:lnTo>
                    <a:pt x="384" y="1290"/>
                  </a:lnTo>
                  <a:lnTo>
                    <a:pt x="414" y="1303"/>
                  </a:lnTo>
                  <a:lnTo>
                    <a:pt x="445" y="1315"/>
                  </a:lnTo>
                  <a:lnTo>
                    <a:pt x="476" y="1325"/>
                  </a:lnTo>
                  <a:lnTo>
                    <a:pt x="508" y="1335"/>
                  </a:lnTo>
                  <a:lnTo>
                    <a:pt x="541" y="1342"/>
                  </a:lnTo>
                  <a:lnTo>
                    <a:pt x="575" y="1348"/>
                  </a:lnTo>
                  <a:lnTo>
                    <a:pt x="608" y="1353"/>
                  </a:lnTo>
                  <a:lnTo>
                    <a:pt x="643" y="1355"/>
                  </a:lnTo>
                  <a:lnTo>
                    <a:pt x="678" y="1355"/>
                  </a:lnTo>
                  <a:lnTo>
                    <a:pt x="678" y="0"/>
                  </a:lnTo>
                  <a:lnTo>
                    <a:pt x="678" y="0"/>
                  </a:lnTo>
                  <a:lnTo>
                    <a:pt x="643" y="1"/>
                  </a:lnTo>
                  <a:lnTo>
                    <a:pt x="608" y="3"/>
                  </a:lnTo>
                  <a:lnTo>
                    <a:pt x="575" y="8"/>
                  </a:lnTo>
                  <a:lnTo>
                    <a:pt x="541" y="13"/>
                  </a:lnTo>
                  <a:lnTo>
                    <a:pt x="508" y="22"/>
                  </a:lnTo>
                  <a:lnTo>
                    <a:pt x="476" y="30"/>
                  </a:lnTo>
                  <a:lnTo>
                    <a:pt x="445" y="41"/>
                  </a:lnTo>
                  <a:lnTo>
                    <a:pt x="414" y="53"/>
                  </a:lnTo>
                  <a:lnTo>
                    <a:pt x="384" y="67"/>
                  </a:lnTo>
                  <a:lnTo>
                    <a:pt x="355" y="81"/>
                  </a:lnTo>
                  <a:lnTo>
                    <a:pt x="327" y="98"/>
                  </a:lnTo>
                  <a:lnTo>
                    <a:pt x="298" y="116"/>
                  </a:lnTo>
                  <a:lnTo>
                    <a:pt x="272" y="135"/>
                  </a:lnTo>
                  <a:lnTo>
                    <a:pt x="246" y="155"/>
                  </a:lnTo>
                  <a:lnTo>
                    <a:pt x="222" y="176"/>
                  </a:lnTo>
                  <a:lnTo>
                    <a:pt x="198" y="198"/>
                  </a:lnTo>
                  <a:lnTo>
                    <a:pt x="177" y="222"/>
                  </a:lnTo>
                  <a:lnTo>
                    <a:pt x="155" y="247"/>
                  </a:lnTo>
                  <a:lnTo>
                    <a:pt x="135" y="273"/>
                  </a:lnTo>
                  <a:lnTo>
                    <a:pt x="116" y="298"/>
                  </a:lnTo>
                  <a:lnTo>
                    <a:pt x="99" y="326"/>
                  </a:lnTo>
                  <a:lnTo>
                    <a:pt x="81" y="354"/>
                  </a:lnTo>
                  <a:lnTo>
                    <a:pt x="67" y="384"/>
                  </a:lnTo>
                  <a:lnTo>
                    <a:pt x="53" y="414"/>
                  </a:lnTo>
                  <a:lnTo>
                    <a:pt x="41" y="445"/>
                  </a:lnTo>
                  <a:lnTo>
                    <a:pt x="30" y="476"/>
                  </a:lnTo>
                  <a:lnTo>
                    <a:pt x="22" y="508"/>
                  </a:lnTo>
                  <a:lnTo>
                    <a:pt x="13" y="541"/>
                  </a:lnTo>
                  <a:lnTo>
                    <a:pt x="8" y="575"/>
                  </a:lnTo>
                  <a:lnTo>
                    <a:pt x="3" y="608"/>
                  </a:lnTo>
                  <a:lnTo>
                    <a:pt x="1" y="643"/>
                  </a:lnTo>
                  <a:lnTo>
                    <a:pt x="0" y="678"/>
                  </a:lnTo>
                  <a:lnTo>
                    <a:pt x="0" y="6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0" name="Freeform 1555"/>
            <p:cNvSpPr>
              <a:spLocks/>
            </p:cNvSpPr>
            <p:nvPr/>
          </p:nvSpPr>
          <p:spPr bwMode="auto">
            <a:xfrm>
              <a:off x="6459389" y="-1064358"/>
              <a:ext cx="258027" cy="514158"/>
            </a:xfrm>
            <a:custGeom>
              <a:avLst/>
              <a:gdLst>
                <a:gd name="T0" fmla="*/ 0 w 677"/>
                <a:gd name="T1" fmla="*/ 1355 h 1355"/>
                <a:gd name="T2" fmla="*/ 35 w 677"/>
                <a:gd name="T3" fmla="*/ 1355 h 1355"/>
                <a:gd name="T4" fmla="*/ 103 w 677"/>
                <a:gd name="T5" fmla="*/ 1348 h 1355"/>
                <a:gd name="T6" fmla="*/ 169 w 677"/>
                <a:gd name="T7" fmla="*/ 1335 h 1355"/>
                <a:gd name="T8" fmla="*/ 232 w 677"/>
                <a:gd name="T9" fmla="*/ 1315 h 1355"/>
                <a:gd name="T10" fmla="*/ 293 w 677"/>
                <a:gd name="T11" fmla="*/ 1290 h 1355"/>
                <a:gd name="T12" fmla="*/ 352 w 677"/>
                <a:gd name="T13" fmla="*/ 1258 h 1355"/>
                <a:gd name="T14" fmla="*/ 406 w 677"/>
                <a:gd name="T15" fmla="*/ 1221 h 1355"/>
                <a:gd name="T16" fmla="*/ 456 w 677"/>
                <a:gd name="T17" fmla="*/ 1180 h 1355"/>
                <a:gd name="T18" fmla="*/ 502 w 677"/>
                <a:gd name="T19" fmla="*/ 1133 h 1355"/>
                <a:gd name="T20" fmla="*/ 543 w 677"/>
                <a:gd name="T21" fmla="*/ 1083 h 1355"/>
                <a:gd name="T22" fmla="*/ 580 w 677"/>
                <a:gd name="T23" fmla="*/ 1030 h 1355"/>
                <a:gd name="T24" fmla="*/ 612 w 677"/>
                <a:gd name="T25" fmla="*/ 971 h 1355"/>
                <a:gd name="T26" fmla="*/ 637 w 677"/>
                <a:gd name="T27" fmla="*/ 910 h 1355"/>
                <a:gd name="T28" fmla="*/ 657 w 677"/>
                <a:gd name="T29" fmla="*/ 847 h 1355"/>
                <a:gd name="T30" fmla="*/ 670 w 677"/>
                <a:gd name="T31" fmla="*/ 781 h 1355"/>
                <a:gd name="T32" fmla="*/ 677 w 677"/>
                <a:gd name="T33" fmla="*/ 713 h 1355"/>
                <a:gd name="T34" fmla="*/ 677 w 677"/>
                <a:gd name="T35" fmla="*/ 678 h 1355"/>
                <a:gd name="T36" fmla="*/ 674 w 677"/>
                <a:gd name="T37" fmla="*/ 608 h 1355"/>
                <a:gd name="T38" fmla="*/ 664 w 677"/>
                <a:gd name="T39" fmla="*/ 541 h 1355"/>
                <a:gd name="T40" fmla="*/ 647 w 677"/>
                <a:gd name="T41" fmla="*/ 476 h 1355"/>
                <a:gd name="T42" fmla="*/ 625 w 677"/>
                <a:gd name="T43" fmla="*/ 414 h 1355"/>
                <a:gd name="T44" fmla="*/ 596 w 677"/>
                <a:gd name="T45" fmla="*/ 354 h 1355"/>
                <a:gd name="T46" fmla="*/ 562 w 677"/>
                <a:gd name="T47" fmla="*/ 298 h 1355"/>
                <a:gd name="T48" fmla="*/ 523 w 677"/>
                <a:gd name="T49" fmla="*/ 247 h 1355"/>
                <a:gd name="T50" fmla="*/ 479 w 677"/>
                <a:gd name="T51" fmla="*/ 198 h 1355"/>
                <a:gd name="T52" fmla="*/ 431 w 677"/>
                <a:gd name="T53" fmla="*/ 155 h 1355"/>
                <a:gd name="T54" fmla="*/ 379 w 677"/>
                <a:gd name="T55" fmla="*/ 116 h 1355"/>
                <a:gd name="T56" fmla="*/ 323 w 677"/>
                <a:gd name="T57" fmla="*/ 81 h 1355"/>
                <a:gd name="T58" fmla="*/ 264 w 677"/>
                <a:gd name="T59" fmla="*/ 53 h 1355"/>
                <a:gd name="T60" fmla="*/ 202 w 677"/>
                <a:gd name="T61" fmla="*/ 30 h 1355"/>
                <a:gd name="T62" fmla="*/ 136 w 677"/>
                <a:gd name="T63" fmla="*/ 13 h 1355"/>
                <a:gd name="T64" fmla="*/ 69 w 677"/>
                <a:gd name="T65" fmla="*/ 3 h 1355"/>
                <a:gd name="T66" fmla="*/ 0 w 677"/>
                <a:gd name="T67" fmla="*/ 0 h 1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77" h="1355">
                  <a:moveTo>
                    <a:pt x="0" y="0"/>
                  </a:moveTo>
                  <a:lnTo>
                    <a:pt x="0" y="1355"/>
                  </a:lnTo>
                  <a:lnTo>
                    <a:pt x="0" y="1355"/>
                  </a:lnTo>
                  <a:lnTo>
                    <a:pt x="35" y="1355"/>
                  </a:lnTo>
                  <a:lnTo>
                    <a:pt x="69" y="1353"/>
                  </a:lnTo>
                  <a:lnTo>
                    <a:pt x="103" y="1348"/>
                  </a:lnTo>
                  <a:lnTo>
                    <a:pt x="136" y="1342"/>
                  </a:lnTo>
                  <a:lnTo>
                    <a:pt x="169" y="1335"/>
                  </a:lnTo>
                  <a:lnTo>
                    <a:pt x="202" y="1325"/>
                  </a:lnTo>
                  <a:lnTo>
                    <a:pt x="232" y="1315"/>
                  </a:lnTo>
                  <a:lnTo>
                    <a:pt x="264" y="1303"/>
                  </a:lnTo>
                  <a:lnTo>
                    <a:pt x="293" y="1290"/>
                  </a:lnTo>
                  <a:lnTo>
                    <a:pt x="323" y="1274"/>
                  </a:lnTo>
                  <a:lnTo>
                    <a:pt x="352" y="1258"/>
                  </a:lnTo>
                  <a:lnTo>
                    <a:pt x="379" y="1240"/>
                  </a:lnTo>
                  <a:lnTo>
                    <a:pt x="406" y="1221"/>
                  </a:lnTo>
                  <a:lnTo>
                    <a:pt x="431" y="1201"/>
                  </a:lnTo>
                  <a:lnTo>
                    <a:pt x="456" y="1180"/>
                  </a:lnTo>
                  <a:lnTo>
                    <a:pt x="479" y="1157"/>
                  </a:lnTo>
                  <a:lnTo>
                    <a:pt x="502" y="1133"/>
                  </a:lnTo>
                  <a:lnTo>
                    <a:pt x="523" y="1109"/>
                  </a:lnTo>
                  <a:lnTo>
                    <a:pt x="543" y="1083"/>
                  </a:lnTo>
                  <a:lnTo>
                    <a:pt x="562" y="1057"/>
                  </a:lnTo>
                  <a:lnTo>
                    <a:pt x="580" y="1030"/>
                  </a:lnTo>
                  <a:lnTo>
                    <a:pt x="596" y="1001"/>
                  </a:lnTo>
                  <a:lnTo>
                    <a:pt x="612" y="971"/>
                  </a:lnTo>
                  <a:lnTo>
                    <a:pt x="625" y="942"/>
                  </a:lnTo>
                  <a:lnTo>
                    <a:pt x="637" y="910"/>
                  </a:lnTo>
                  <a:lnTo>
                    <a:pt x="647" y="880"/>
                  </a:lnTo>
                  <a:lnTo>
                    <a:pt x="657" y="847"/>
                  </a:lnTo>
                  <a:lnTo>
                    <a:pt x="664" y="814"/>
                  </a:lnTo>
                  <a:lnTo>
                    <a:pt x="670" y="781"/>
                  </a:lnTo>
                  <a:lnTo>
                    <a:pt x="674" y="747"/>
                  </a:lnTo>
                  <a:lnTo>
                    <a:pt x="677" y="713"/>
                  </a:lnTo>
                  <a:lnTo>
                    <a:pt x="677" y="678"/>
                  </a:lnTo>
                  <a:lnTo>
                    <a:pt x="677" y="678"/>
                  </a:lnTo>
                  <a:lnTo>
                    <a:pt x="677" y="643"/>
                  </a:lnTo>
                  <a:lnTo>
                    <a:pt x="674" y="608"/>
                  </a:lnTo>
                  <a:lnTo>
                    <a:pt x="670" y="575"/>
                  </a:lnTo>
                  <a:lnTo>
                    <a:pt x="664" y="541"/>
                  </a:lnTo>
                  <a:lnTo>
                    <a:pt x="657" y="508"/>
                  </a:lnTo>
                  <a:lnTo>
                    <a:pt x="647" y="476"/>
                  </a:lnTo>
                  <a:lnTo>
                    <a:pt x="637" y="445"/>
                  </a:lnTo>
                  <a:lnTo>
                    <a:pt x="625" y="414"/>
                  </a:lnTo>
                  <a:lnTo>
                    <a:pt x="612" y="384"/>
                  </a:lnTo>
                  <a:lnTo>
                    <a:pt x="596" y="354"/>
                  </a:lnTo>
                  <a:lnTo>
                    <a:pt x="580" y="326"/>
                  </a:lnTo>
                  <a:lnTo>
                    <a:pt x="562" y="298"/>
                  </a:lnTo>
                  <a:lnTo>
                    <a:pt x="543" y="273"/>
                  </a:lnTo>
                  <a:lnTo>
                    <a:pt x="523" y="247"/>
                  </a:lnTo>
                  <a:lnTo>
                    <a:pt x="502" y="222"/>
                  </a:lnTo>
                  <a:lnTo>
                    <a:pt x="479" y="198"/>
                  </a:lnTo>
                  <a:lnTo>
                    <a:pt x="456" y="176"/>
                  </a:lnTo>
                  <a:lnTo>
                    <a:pt x="431" y="155"/>
                  </a:lnTo>
                  <a:lnTo>
                    <a:pt x="406" y="135"/>
                  </a:lnTo>
                  <a:lnTo>
                    <a:pt x="379" y="116"/>
                  </a:lnTo>
                  <a:lnTo>
                    <a:pt x="352" y="98"/>
                  </a:lnTo>
                  <a:lnTo>
                    <a:pt x="323" y="81"/>
                  </a:lnTo>
                  <a:lnTo>
                    <a:pt x="293" y="67"/>
                  </a:lnTo>
                  <a:lnTo>
                    <a:pt x="264" y="53"/>
                  </a:lnTo>
                  <a:lnTo>
                    <a:pt x="232" y="41"/>
                  </a:lnTo>
                  <a:lnTo>
                    <a:pt x="202" y="30"/>
                  </a:lnTo>
                  <a:lnTo>
                    <a:pt x="169" y="22"/>
                  </a:lnTo>
                  <a:lnTo>
                    <a:pt x="136" y="13"/>
                  </a:lnTo>
                  <a:lnTo>
                    <a:pt x="103" y="8"/>
                  </a:lnTo>
                  <a:lnTo>
                    <a:pt x="69" y="3"/>
                  </a:lnTo>
                  <a:lnTo>
                    <a:pt x="35" y="1"/>
                  </a:lnTo>
                  <a:lnTo>
                    <a:pt x="0" y="0"/>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1" name="Freeform 1556"/>
            <p:cNvSpPr>
              <a:spLocks/>
            </p:cNvSpPr>
            <p:nvPr/>
          </p:nvSpPr>
          <p:spPr bwMode="auto">
            <a:xfrm>
              <a:off x="6203260" y="-829098"/>
              <a:ext cx="256129" cy="172649"/>
            </a:xfrm>
            <a:custGeom>
              <a:avLst/>
              <a:gdLst>
                <a:gd name="T0" fmla="*/ 678 w 678"/>
                <a:gd name="T1" fmla="*/ 0 h 454"/>
                <a:gd name="T2" fmla="*/ 3 w 678"/>
                <a:gd name="T3" fmla="*/ 0 h 454"/>
                <a:gd name="T4" fmla="*/ 3 w 678"/>
                <a:gd name="T5" fmla="*/ 0 h 454"/>
                <a:gd name="T6" fmla="*/ 1 w 678"/>
                <a:gd name="T7" fmla="*/ 30 h 454"/>
                <a:gd name="T8" fmla="*/ 0 w 678"/>
                <a:gd name="T9" fmla="*/ 61 h 454"/>
                <a:gd name="T10" fmla="*/ 0 w 678"/>
                <a:gd name="T11" fmla="*/ 61 h 454"/>
                <a:gd name="T12" fmla="*/ 1 w 678"/>
                <a:gd name="T13" fmla="*/ 89 h 454"/>
                <a:gd name="T14" fmla="*/ 2 w 678"/>
                <a:gd name="T15" fmla="*/ 115 h 454"/>
                <a:gd name="T16" fmla="*/ 5 w 678"/>
                <a:gd name="T17" fmla="*/ 142 h 454"/>
                <a:gd name="T18" fmla="*/ 8 w 678"/>
                <a:gd name="T19" fmla="*/ 169 h 454"/>
                <a:gd name="T20" fmla="*/ 13 w 678"/>
                <a:gd name="T21" fmla="*/ 195 h 454"/>
                <a:gd name="T22" fmla="*/ 19 w 678"/>
                <a:gd name="T23" fmla="*/ 220 h 454"/>
                <a:gd name="T24" fmla="*/ 25 w 678"/>
                <a:gd name="T25" fmla="*/ 246 h 454"/>
                <a:gd name="T26" fmla="*/ 34 w 678"/>
                <a:gd name="T27" fmla="*/ 271 h 454"/>
                <a:gd name="T28" fmla="*/ 42 w 678"/>
                <a:gd name="T29" fmla="*/ 296 h 454"/>
                <a:gd name="T30" fmla="*/ 51 w 678"/>
                <a:gd name="T31" fmla="*/ 320 h 454"/>
                <a:gd name="T32" fmla="*/ 62 w 678"/>
                <a:gd name="T33" fmla="*/ 343 h 454"/>
                <a:gd name="T34" fmla="*/ 73 w 678"/>
                <a:gd name="T35" fmla="*/ 367 h 454"/>
                <a:gd name="T36" fmla="*/ 85 w 678"/>
                <a:gd name="T37" fmla="*/ 390 h 454"/>
                <a:gd name="T38" fmla="*/ 99 w 678"/>
                <a:gd name="T39" fmla="*/ 412 h 454"/>
                <a:gd name="T40" fmla="*/ 112 w 678"/>
                <a:gd name="T41" fmla="*/ 434 h 454"/>
                <a:gd name="T42" fmla="*/ 127 w 678"/>
                <a:gd name="T43" fmla="*/ 454 h 454"/>
                <a:gd name="T44" fmla="*/ 678 w 678"/>
                <a:gd name="T45" fmla="*/ 454 h 454"/>
                <a:gd name="T46" fmla="*/ 678 w 678"/>
                <a:gd name="T47"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8" h="454">
                  <a:moveTo>
                    <a:pt x="678" y="0"/>
                  </a:moveTo>
                  <a:lnTo>
                    <a:pt x="3" y="0"/>
                  </a:lnTo>
                  <a:lnTo>
                    <a:pt x="3" y="0"/>
                  </a:lnTo>
                  <a:lnTo>
                    <a:pt x="1" y="30"/>
                  </a:lnTo>
                  <a:lnTo>
                    <a:pt x="0" y="61"/>
                  </a:lnTo>
                  <a:lnTo>
                    <a:pt x="0" y="61"/>
                  </a:lnTo>
                  <a:lnTo>
                    <a:pt x="1" y="89"/>
                  </a:lnTo>
                  <a:lnTo>
                    <a:pt x="2" y="115"/>
                  </a:lnTo>
                  <a:lnTo>
                    <a:pt x="5" y="142"/>
                  </a:lnTo>
                  <a:lnTo>
                    <a:pt x="8" y="169"/>
                  </a:lnTo>
                  <a:lnTo>
                    <a:pt x="13" y="195"/>
                  </a:lnTo>
                  <a:lnTo>
                    <a:pt x="19" y="220"/>
                  </a:lnTo>
                  <a:lnTo>
                    <a:pt x="25" y="246"/>
                  </a:lnTo>
                  <a:lnTo>
                    <a:pt x="34" y="271"/>
                  </a:lnTo>
                  <a:lnTo>
                    <a:pt x="42" y="296"/>
                  </a:lnTo>
                  <a:lnTo>
                    <a:pt x="51" y="320"/>
                  </a:lnTo>
                  <a:lnTo>
                    <a:pt x="62" y="343"/>
                  </a:lnTo>
                  <a:lnTo>
                    <a:pt x="73" y="367"/>
                  </a:lnTo>
                  <a:lnTo>
                    <a:pt x="85" y="390"/>
                  </a:lnTo>
                  <a:lnTo>
                    <a:pt x="99" y="412"/>
                  </a:lnTo>
                  <a:lnTo>
                    <a:pt x="112" y="434"/>
                  </a:lnTo>
                  <a:lnTo>
                    <a:pt x="127" y="454"/>
                  </a:lnTo>
                  <a:lnTo>
                    <a:pt x="678" y="454"/>
                  </a:lnTo>
                  <a:lnTo>
                    <a:pt x="678"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2" name="Freeform 1557"/>
            <p:cNvSpPr>
              <a:spLocks/>
            </p:cNvSpPr>
            <p:nvPr/>
          </p:nvSpPr>
          <p:spPr bwMode="auto">
            <a:xfrm>
              <a:off x="6459389" y="-829098"/>
              <a:ext cx="258027" cy="172649"/>
            </a:xfrm>
            <a:custGeom>
              <a:avLst/>
              <a:gdLst>
                <a:gd name="T0" fmla="*/ 0 w 677"/>
                <a:gd name="T1" fmla="*/ 454 h 454"/>
                <a:gd name="T2" fmla="*/ 552 w 677"/>
                <a:gd name="T3" fmla="*/ 454 h 454"/>
                <a:gd name="T4" fmla="*/ 552 w 677"/>
                <a:gd name="T5" fmla="*/ 454 h 454"/>
                <a:gd name="T6" fmla="*/ 565 w 677"/>
                <a:gd name="T7" fmla="*/ 434 h 454"/>
                <a:gd name="T8" fmla="*/ 580 w 677"/>
                <a:gd name="T9" fmla="*/ 412 h 454"/>
                <a:gd name="T10" fmla="*/ 592 w 677"/>
                <a:gd name="T11" fmla="*/ 390 h 454"/>
                <a:gd name="T12" fmla="*/ 604 w 677"/>
                <a:gd name="T13" fmla="*/ 367 h 454"/>
                <a:gd name="T14" fmla="*/ 615 w 677"/>
                <a:gd name="T15" fmla="*/ 343 h 454"/>
                <a:gd name="T16" fmla="*/ 626 w 677"/>
                <a:gd name="T17" fmla="*/ 320 h 454"/>
                <a:gd name="T18" fmla="*/ 636 w 677"/>
                <a:gd name="T19" fmla="*/ 296 h 454"/>
                <a:gd name="T20" fmla="*/ 645 w 677"/>
                <a:gd name="T21" fmla="*/ 271 h 454"/>
                <a:gd name="T22" fmla="*/ 652 w 677"/>
                <a:gd name="T23" fmla="*/ 246 h 454"/>
                <a:gd name="T24" fmla="*/ 659 w 677"/>
                <a:gd name="T25" fmla="*/ 220 h 454"/>
                <a:gd name="T26" fmla="*/ 664 w 677"/>
                <a:gd name="T27" fmla="*/ 195 h 454"/>
                <a:gd name="T28" fmla="*/ 669 w 677"/>
                <a:gd name="T29" fmla="*/ 169 h 454"/>
                <a:gd name="T30" fmla="*/ 673 w 677"/>
                <a:gd name="T31" fmla="*/ 142 h 454"/>
                <a:gd name="T32" fmla="*/ 676 w 677"/>
                <a:gd name="T33" fmla="*/ 115 h 454"/>
                <a:gd name="T34" fmla="*/ 677 w 677"/>
                <a:gd name="T35" fmla="*/ 89 h 454"/>
                <a:gd name="T36" fmla="*/ 677 w 677"/>
                <a:gd name="T37" fmla="*/ 61 h 454"/>
                <a:gd name="T38" fmla="*/ 677 w 677"/>
                <a:gd name="T39" fmla="*/ 61 h 454"/>
                <a:gd name="T40" fmla="*/ 677 w 677"/>
                <a:gd name="T41" fmla="*/ 30 h 454"/>
                <a:gd name="T42" fmla="*/ 675 w 677"/>
                <a:gd name="T43" fmla="*/ 0 h 454"/>
                <a:gd name="T44" fmla="*/ 0 w 677"/>
                <a:gd name="T45" fmla="*/ 0 h 454"/>
                <a:gd name="T46" fmla="*/ 0 w 677"/>
                <a:gd name="T47" fmla="*/ 454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7" h="454">
                  <a:moveTo>
                    <a:pt x="0" y="454"/>
                  </a:moveTo>
                  <a:lnTo>
                    <a:pt x="552" y="454"/>
                  </a:lnTo>
                  <a:lnTo>
                    <a:pt x="552" y="454"/>
                  </a:lnTo>
                  <a:lnTo>
                    <a:pt x="565" y="434"/>
                  </a:lnTo>
                  <a:lnTo>
                    <a:pt x="580" y="412"/>
                  </a:lnTo>
                  <a:lnTo>
                    <a:pt x="592" y="390"/>
                  </a:lnTo>
                  <a:lnTo>
                    <a:pt x="604" y="367"/>
                  </a:lnTo>
                  <a:lnTo>
                    <a:pt x="615" y="343"/>
                  </a:lnTo>
                  <a:lnTo>
                    <a:pt x="626" y="320"/>
                  </a:lnTo>
                  <a:lnTo>
                    <a:pt x="636" y="296"/>
                  </a:lnTo>
                  <a:lnTo>
                    <a:pt x="645" y="271"/>
                  </a:lnTo>
                  <a:lnTo>
                    <a:pt x="652" y="246"/>
                  </a:lnTo>
                  <a:lnTo>
                    <a:pt x="659" y="220"/>
                  </a:lnTo>
                  <a:lnTo>
                    <a:pt x="664" y="195"/>
                  </a:lnTo>
                  <a:lnTo>
                    <a:pt x="669" y="169"/>
                  </a:lnTo>
                  <a:lnTo>
                    <a:pt x="673" y="142"/>
                  </a:lnTo>
                  <a:lnTo>
                    <a:pt x="676" y="115"/>
                  </a:lnTo>
                  <a:lnTo>
                    <a:pt x="677" y="89"/>
                  </a:lnTo>
                  <a:lnTo>
                    <a:pt x="677" y="61"/>
                  </a:lnTo>
                  <a:lnTo>
                    <a:pt x="677" y="61"/>
                  </a:lnTo>
                  <a:lnTo>
                    <a:pt x="677" y="30"/>
                  </a:lnTo>
                  <a:lnTo>
                    <a:pt x="675" y="0"/>
                  </a:lnTo>
                  <a:lnTo>
                    <a:pt x="0" y="0"/>
                  </a:lnTo>
                  <a:lnTo>
                    <a:pt x="0" y="454"/>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3" name="Rectangle 1558"/>
            <p:cNvSpPr>
              <a:spLocks noChangeArrowheads="1"/>
            </p:cNvSpPr>
            <p:nvPr/>
          </p:nvSpPr>
          <p:spPr bwMode="auto">
            <a:xfrm>
              <a:off x="6349348" y="-806331"/>
              <a:ext cx="110041" cy="12521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4" name="Rectangle 1559"/>
            <p:cNvSpPr>
              <a:spLocks noChangeArrowheads="1"/>
            </p:cNvSpPr>
            <p:nvPr/>
          </p:nvSpPr>
          <p:spPr bwMode="auto">
            <a:xfrm>
              <a:off x="6459389" y="-806331"/>
              <a:ext cx="111938" cy="125219"/>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5" name="Freeform 1560"/>
            <p:cNvSpPr>
              <a:spLocks/>
            </p:cNvSpPr>
            <p:nvPr/>
          </p:nvSpPr>
          <p:spPr bwMode="auto">
            <a:xfrm>
              <a:off x="6423341" y="-781666"/>
              <a:ext cx="73993" cy="75891"/>
            </a:xfrm>
            <a:custGeom>
              <a:avLst/>
              <a:gdLst>
                <a:gd name="T0" fmla="*/ 199 w 199"/>
                <a:gd name="T1" fmla="*/ 98 h 198"/>
                <a:gd name="T2" fmla="*/ 196 w 199"/>
                <a:gd name="T3" fmla="*/ 119 h 198"/>
                <a:gd name="T4" fmla="*/ 190 w 199"/>
                <a:gd name="T5" fmla="*/ 137 h 198"/>
                <a:gd name="T6" fmla="*/ 182 w 199"/>
                <a:gd name="T7" fmla="*/ 154 h 198"/>
                <a:gd name="T8" fmla="*/ 169 w 199"/>
                <a:gd name="T9" fmla="*/ 169 h 198"/>
                <a:gd name="T10" fmla="*/ 155 w 199"/>
                <a:gd name="T11" fmla="*/ 181 h 198"/>
                <a:gd name="T12" fmla="*/ 138 w 199"/>
                <a:gd name="T13" fmla="*/ 191 h 198"/>
                <a:gd name="T14" fmla="*/ 119 w 199"/>
                <a:gd name="T15" fmla="*/ 196 h 198"/>
                <a:gd name="T16" fmla="*/ 99 w 199"/>
                <a:gd name="T17" fmla="*/ 198 h 198"/>
                <a:gd name="T18" fmla="*/ 89 w 199"/>
                <a:gd name="T19" fmla="*/ 198 h 198"/>
                <a:gd name="T20" fmla="*/ 69 w 199"/>
                <a:gd name="T21" fmla="*/ 193 h 198"/>
                <a:gd name="T22" fmla="*/ 51 w 199"/>
                <a:gd name="T23" fmla="*/ 186 h 198"/>
                <a:gd name="T24" fmla="*/ 35 w 199"/>
                <a:gd name="T25" fmla="*/ 175 h 198"/>
                <a:gd name="T26" fmla="*/ 22 w 199"/>
                <a:gd name="T27" fmla="*/ 162 h 198"/>
                <a:gd name="T28" fmla="*/ 11 w 199"/>
                <a:gd name="T29" fmla="*/ 146 h 198"/>
                <a:gd name="T30" fmla="*/ 4 w 199"/>
                <a:gd name="T31" fmla="*/ 129 h 198"/>
                <a:gd name="T32" fmla="*/ 0 w 199"/>
                <a:gd name="T33" fmla="*/ 109 h 198"/>
                <a:gd name="T34" fmla="*/ 0 w 199"/>
                <a:gd name="T35" fmla="*/ 98 h 198"/>
                <a:gd name="T36" fmla="*/ 1 w 199"/>
                <a:gd name="T37" fmla="*/ 79 h 198"/>
                <a:gd name="T38" fmla="*/ 7 w 199"/>
                <a:gd name="T39" fmla="*/ 61 h 198"/>
                <a:gd name="T40" fmla="*/ 17 w 199"/>
                <a:gd name="T41" fmla="*/ 43 h 198"/>
                <a:gd name="T42" fmla="*/ 28 w 199"/>
                <a:gd name="T43" fmla="*/ 29 h 198"/>
                <a:gd name="T44" fmla="*/ 44 w 199"/>
                <a:gd name="T45" fmla="*/ 17 h 198"/>
                <a:gd name="T46" fmla="*/ 60 w 199"/>
                <a:gd name="T47" fmla="*/ 7 h 198"/>
                <a:gd name="T48" fmla="*/ 79 w 199"/>
                <a:gd name="T49" fmla="*/ 1 h 198"/>
                <a:gd name="T50" fmla="*/ 99 w 199"/>
                <a:gd name="T51" fmla="*/ 0 h 198"/>
                <a:gd name="T52" fmla="*/ 110 w 199"/>
                <a:gd name="T53" fmla="*/ 0 h 198"/>
                <a:gd name="T54" fmla="*/ 129 w 199"/>
                <a:gd name="T55" fmla="*/ 3 h 198"/>
                <a:gd name="T56" fmla="*/ 146 w 199"/>
                <a:gd name="T57" fmla="*/ 12 h 198"/>
                <a:gd name="T58" fmla="*/ 162 w 199"/>
                <a:gd name="T59" fmla="*/ 22 h 198"/>
                <a:gd name="T60" fmla="*/ 175 w 199"/>
                <a:gd name="T61" fmla="*/ 35 h 198"/>
                <a:gd name="T62" fmla="*/ 186 w 199"/>
                <a:gd name="T63" fmla="*/ 51 h 198"/>
                <a:gd name="T64" fmla="*/ 194 w 199"/>
                <a:gd name="T65" fmla="*/ 69 h 198"/>
                <a:gd name="T66" fmla="*/ 197 w 199"/>
                <a:gd name="T67" fmla="*/ 89 h 198"/>
                <a:gd name="T68" fmla="*/ 199 w 199"/>
                <a:gd name="T69" fmla="*/ 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9" h="198">
                  <a:moveTo>
                    <a:pt x="199" y="98"/>
                  </a:moveTo>
                  <a:lnTo>
                    <a:pt x="199" y="98"/>
                  </a:lnTo>
                  <a:lnTo>
                    <a:pt x="197" y="109"/>
                  </a:lnTo>
                  <a:lnTo>
                    <a:pt x="196" y="119"/>
                  </a:lnTo>
                  <a:lnTo>
                    <a:pt x="194" y="129"/>
                  </a:lnTo>
                  <a:lnTo>
                    <a:pt x="190" y="137"/>
                  </a:lnTo>
                  <a:lnTo>
                    <a:pt x="186" y="146"/>
                  </a:lnTo>
                  <a:lnTo>
                    <a:pt x="182" y="154"/>
                  </a:lnTo>
                  <a:lnTo>
                    <a:pt x="175" y="162"/>
                  </a:lnTo>
                  <a:lnTo>
                    <a:pt x="169" y="169"/>
                  </a:lnTo>
                  <a:lnTo>
                    <a:pt x="162" y="175"/>
                  </a:lnTo>
                  <a:lnTo>
                    <a:pt x="155" y="181"/>
                  </a:lnTo>
                  <a:lnTo>
                    <a:pt x="146" y="186"/>
                  </a:lnTo>
                  <a:lnTo>
                    <a:pt x="138" y="191"/>
                  </a:lnTo>
                  <a:lnTo>
                    <a:pt x="129" y="193"/>
                  </a:lnTo>
                  <a:lnTo>
                    <a:pt x="119" y="196"/>
                  </a:lnTo>
                  <a:lnTo>
                    <a:pt x="110" y="198"/>
                  </a:lnTo>
                  <a:lnTo>
                    <a:pt x="99" y="198"/>
                  </a:lnTo>
                  <a:lnTo>
                    <a:pt x="99" y="198"/>
                  </a:lnTo>
                  <a:lnTo>
                    <a:pt x="89" y="198"/>
                  </a:lnTo>
                  <a:lnTo>
                    <a:pt x="79" y="196"/>
                  </a:lnTo>
                  <a:lnTo>
                    <a:pt x="69" y="193"/>
                  </a:lnTo>
                  <a:lnTo>
                    <a:pt x="60" y="191"/>
                  </a:lnTo>
                  <a:lnTo>
                    <a:pt x="51" y="186"/>
                  </a:lnTo>
                  <a:lnTo>
                    <a:pt x="44" y="181"/>
                  </a:lnTo>
                  <a:lnTo>
                    <a:pt x="35" y="175"/>
                  </a:lnTo>
                  <a:lnTo>
                    <a:pt x="28" y="169"/>
                  </a:lnTo>
                  <a:lnTo>
                    <a:pt x="22" y="162"/>
                  </a:lnTo>
                  <a:lnTo>
                    <a:pt x="17" y="154"/>
                  </a:lnTo>
                  <a:lnTo>
                    <a:pt x="11" y="146"/>
                  </a:lnTo>
                  <a:lnTo>
                    <a:pt x="7" y="137"/>
                  </a:lnTo>
                  <a:lnTo>
                    <a:pt x="4" y="129"/>
                  </a:lnTo>
                  <a:lnTo>
                    <a:pt x="1" y="119"/>
                  </a:lnTo>
                  <a:lnTo>
                    <a:pt x="0" y="109"/>
                  </a:lnTo>
                  <a:lnTo>
                    <a:pt x="0" y="98"/>
                  </a:lnTo>
                  <a:lnTo>
                    <a:pt x="0" y="98"/>
                  </a:lnTo>
                  <a:lnTo>
                    <a:pt x="0" y="89"/>
                  </a:lnTo>
                  <a:lnTo>
                    <a:pt x="1" y="79"/>
                  </a:lnTo>
                  <a:lnTo>
                    <a:pt x="4" y="69"/>
                  </a:lnTo>
                  <a:lnTo>
                    <a:pt x="7" y="61"/>
                  </a:lnTo>
                  <a:lnTo>
                    <a:pt x="11" y="51"/>
                  </a:lnTo>
                  <a:lnTo>
                    <a:pt x="17" y="43"/>
                  </a:lnTo>
                  <a:lnTo>
                    <a:pt x="22" y="35"/>
                  </a:lnTo>
                  <a:lnTo>
                    <a:pt x="28" y="29"/>
                  </a:lnTo>
                  <a:lnTo>
                    <a:pt x="35" y="22"/>
                  </a:lnTo>
                  <a:lnTo>
                    <a:pt x="44" y="17"/>
                  </a:lnTo>
                  <a:lnTo>
                    <a:pt x="51" y="12"/>
                  </a:lnTo>
                  <a:lnTo>
                    <a:pt x="60" y="7"/>
                  </a:lnTo>
                  <a:lnTo>
                    <a:pt x="69" y="3"/>
                  </a:lnTo>
                  <a:lnTo>
                    <a:pt x="79" y="1"/>
                  </a:lnTo>
                  <a:lnTo>
                    <a:pt x="89" y="0"/>
                  </a:lnTo>
                  <a:lnTo>
                    <a:pt x="99" y="0"/>
                  </a:lnTo>
                  <a:lnTo>
                    <a:pt x="99" y="0"/>
                  </a:lnTo>
                  <a:lnTo>
                    <a:pt x="110" y="0"/>
                  </a:lnTo>
                  <a:lnTo>
                    <a:pt x="119" y="1"/>
                  </a:lnTo>
                  <a:lnTo>
                    <a:pt x="129" y="3"/>
                  </a:lnTo>
                  <a:lnTo>
                    <a:pt x="138" y="7"/>
                  </a:lnTo>
                  <a:lnTo>
                    <a:pt x="146" y="12"/>
                  </a:lnTo>
                  <a:lnTo>
                    <a:pt x="155" y="17"/>
                  </a:lnTo>
                  <a:lnTo>
                    <a:pt x="162" y="22"/>
                  </a:lnTo>
                  <a:lnTo>
                    <a:pt x="169" y="29"/>
                  </a:lnTo>
                  <a:lnTo>
                    <a:pt x="175" y="35"/>
                  </a:lnTo>
                  <a:lnTo>
                    <a:pt x="182" y="43"/>
                  </a:lnTo>
                  <a:lnTo>
                    <a:pt x="186" y="51"/>
                  </a:lnTo>
                  <a:lnTo>
                    <a:pt x="190" y="61"/>
                  </a:lnTo>
                  <a:lnTo>
                    <a:pt x="194" y="69"/>
                  </a:lnTo>
                  <a:lnTo>
                    <a:pt x="196" y="79"/>
                  </a:lnTo>
                  <a:lnTo>
                    <a:pt x="197" y="89"/>
                  </a:lnTo>
                  <a:lnTo>
                    <a:pt x="199" y="98"/>
                  </a:lnTo>
                  <a:lnTo>
                    <a:pt x="199" y="98"/>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6" name="Freeform 1561"/>
            <p:cNvSpPr>
              <a:spLocks/>
            </p:cNvSpPr>
            <p:nvPr/>
          </p:nvSpPr>
          <p:spPr bwMode="auto">
            <a:xfrm>
              <a:off x="6419547" y="-973289"/>
              <a:ext cx="81582" cy="79685"/>
            </a:xfrm>
            <a:custGeom>
              <a:avLst/>
              <a:gdLst>
                <a:gd name="T0" fmla="*/ 212 w 212"/>
                <a:gd name="T1" fmla="*/ 106 h 212"/>
                <a:gd name="T2" fmla="*/ 210 w 212"/>
                <a:gd name="T3" fmla="*/ 127 h 212"/>
                <a:gd name="T4" fmla="*/ 203 w 212"/>
                <a:gd name="T5" fmla="*/ 148 h 212"/>
                <a:gd name="T6" fmla="*/ 193 w 212"/>
                <a:gd name="T7" fmla="*/ 165 h 212"/>
                <a:gd name="T8" fmla="*/ 181 w 212"/>
                <a:gd name="T9" fmla="*/ 181 h 212"/>
                <a:gd name="T10" fmla="*/ 165 w 212"/>
                <a:gd name="T11" fmla="*/ 194 h 212"/>
                <a:gd name="T12" fmla="*/ 147 w 212"/>
                <a:gd name="T13" fmla="*/ 204 h 212"/>
                <a:gd name="T14" fmla="*/ 128 w 212"/>
                <a:gd name="T15" fmla="*/ 210 h 212"/>
                <a:gd name="T16" fmla="*/ 106 w 212"/>
                <a:gd name="T17" fmla="*/ 212 h 212"/>
                <a:gd name="T18" fmla="*/ 95 w 212"/>
                <a:gd name="T19" fmla="*/ 211 h 212"/>
                <a:gd name="T20" fmla="*/ 74 w 212"/>
                <a:gd name="T21" fmla="*/ 207 h 212"/>
                <a:gd name="T22" fmla="*/ 56 w 212"/>
                <a:gd name="T23" fmla="*/ 199 h 212"/>
                <a:gd name="T24" fmla="*/ 39 w 212"/>
                <a:gd name="T25" fmla="*/ 188 h 212"/>
                <a:gd name="T26" fmla="*/ 24 w 212"/>
                <a:gd name="T27" fmla="*/ 173 h 212"/>
                <a:gd name="T28" fmla="*/ 13 w 212"/>
                <a:gd name="T29" fmla="*/ 156 h 212"/>
                <a:gd name="T30" fmla="*/ 4 w 212"/>
                <a:gd name="T31" fmla="*/ 138 h 212"/>
                <a:gd name="T32" fmla="*/ 1 w 212"/>
                <a:gd name="T33" fmla="*/ 117 h 212"/>
                <a:gd name="T34" fmla="*/ 0 w 212"/>
                <a:gd name="T35" fmla="*/ 106 h 212"/>
                <a:gd name="T36" fmla="*/ 2 w 212"/>
                <a:gd name="T37" fmla="*/ 84 h 212"/>
                <a:gd name="T38" fmla="*/ 8 w 212"/>
                <a:gd name="T39" fmla="*/ 65 h 212"/>
                <a:gd name="T40" fmla="*/ 18 w 212"/>
                <a:gd name="T41" fmla="*/ 47 h 212"/>
                <a:gd name="T42" fmla="*/ 31 w 212"/>
                <a:gd name="T43" fmla="*/ 31 h 212"/>
                <a:gd name="T44" fmla="*/ 47 w 212"/>
                <a:gd name="T45" fmla="*/ 19 h 212"/>
                <a:gd name="T46" fmla="*/ 64 w 212"/>
                <a:gd name="T47" fmla="*/ 8 h 212"/>
                <a:gd name="T48" fmla="*/ 85 w 212"/>
                <a:gd name="T49" fmla="*/ 1 h 212"/>
                <a:gd name="T50" fmla="*/ 106 w 212"/>
                <a:gd name="T51" fmla="*/ 0 h 212"/>
                <a:gd name="T52" fmla="*/ 117 w 212"/>
                <a:gd name="T53" fmla="*/ 0 h 212"/>
                <a:gd name="T54" fmla="*/ 137 w 212"/>
                <a:gd name="T55" fmla="*/ 5 h 212"/>
                <a:gd name="T56" fmla="*/ 157 w 212"/>
                <a:gd name="T57" fmla="*/ 12 h 212"/>
                <a:gd name="T58" fmla="*/ 174 w 212"/>
                <a:gd name="T59" fmla="*/ 25 h 212"/>
                <a:gd name="T60" fmla="*/ 187 w 212"/>
                <a:gd name="T61" fmla="*/ 38 h 212"/>
                <a:gd name="T62" fmla="*/ 199 w 212"/>
                <a:gd name="T63" fmla="*/ 55 h 212"/>
                <a:gd name="T64" fmla="*/ 207 w 212"/>
                <a:gd name="T65" fmla="*/ 75 h 212"/>
                <a:gd name="T66" fmla="*/ 212 w 212"/>
                <a:gd name="T67" fmla="*/ 95 h 212"/>
                <a:gd name="T68" fmla="*/ 212 w 212"/>
                <a:gd name="T69" fmla="*/ 106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2" h="212">
                  <a:moveTo>
                    <a:pt x="212" y="106"/>
                  </a:moveTo>
                  <a:lnTo>
                    <a:pt x="212" y="106"/>
                  </a:lnTo>
                  <a:lnTo>
                    <a:pt x="212" y="117"/>
                  </a:lnTo>
                  <a:lnTo>
                    <a:pt x="210" y="127"/>
                  </a:lnTo>
                  <a:lnTo>
                    <a:pt x="207" y="138"/>
                  </a:lnTo>
                  <a:lnTo>
                    <a:pt x="203" y="148"/>
                  </a:lnTo>
                  <a:lnTo>
                    <a:pt x="199" y="156"/>
                  </a:lnTo>
                  <a:lnTo>
                    <a:pt x="193" y="165"/>
                  </a:lnTo>
                  <a:lnTo>
                    <a:pt x="187" y="173"/>
                  </a:lnTo>
                  <a:lnTo>
                    <a:pt x="181" y="181"/>
                  </a:lnTo>
                  <a:lnTo>
                    <a:pt x="174" y="188"/>
                  </a:lnTo>
                  <a:lnTo>
                    <a:pt x="165" y="194"/>
                  </a:lnTo>
                  <a:lnTo>
                    <a:pt x="157" y="199"/>
                  </a:lnTo>
                  <a:lnTo>
                    <a:pt x="147" y="204"/>
                  </a:lnTo>
                  <a:lnTo>
                    <a:pt x="137" y="207"/>
                  </a:lnTo>
                  <a:lnTo>
                    <a:pt x="128" y="210"/>
                  </a:lnTo>
                  <a:lnTo>
                    <a:pt x="117" y="211"/>
                  </a:lnTo>
                  <a:lnTo>
                    <a:pt x="106" y="212"/>
                  </a:lnTo>
                  <a:lnTo>
                    <a:pt x="106" y="212"/>
                  </a:lnTo>
                  <a:lnTo>
                    <a:pt x="95" y="211"/>
                  </a:lnTo>
                  <a:lnTo>
                    <a:pt x="85" y="210"/>
                  </a:lnTo>
                  <a:lnTo>
                    <a:pt x="74" y="207"/>
                  </a:lnTo>
                  <a:lnTo>
                    <a:pt x="64" y="204"/>
                  </a:lnTo>
                  <a:lnTo>
                    <a:pt x="56" y="199"/>
                  </a:lnTo>
                  <a:lnTo>
                    <a:pt x="47" y="194"/>
                  </a:lnTo>
                  <a:lnTo>
                    <a:pt x="39" y="188"/>
                  </a:lnTo>
                  <a:lnTo>
                    <a:pt x="31" y="181"/>
                  </a:lnTo>
                  <a:lnTo>
                    <a:pt x="24" y="173"/>
                  </a:lnTo>
                  <a:lnTo>
                    <a:pt x="18" y="165"/>
                  </a:lnTo>
                  <a:lnTo>
                    <a:pt x="13" y="156"/>
                  </a:lnTo>
                  <a:lnTo>
                    <a:pt x="8" y="148"/>
                  </a:lnTo>
                  <a:lnTo>
                    <a:pt x="4" y="138"/>
                  </a:lnTo>
                  <a:lnTo>
                    <a:pt x="2" y="127"/>
                  </a:lnTo>
                  <a:lnTo>
                    <a:pt x="1" y="117"/>
                  </a:lnTo>
                  <a:lnTo>
                    <a:pt x="0" y="106"/>
                  </a:lnTo>
                  <a:lnTo>
                    <a:pt x="0" y="106"/>
                  </a:lnTo>
                  <a:lnTo>
                    <a:pt x="1" y="95"/>
                  </a:lnTo>
                  <a:lnTo>
                    <a:pt x="2" y="84"/>
                  </a:lnTo>
                  <a:lnTo>
                    <a:pt x="4" y="75"/>
                  </a:lnTo>
                  <a:lnTo>
                    <a:pt x="8" y="65"/>
                  </a:lnTo>
                  <a:lnTo>
                    <a:pt x="13" y="55"/>
                  </a:lnTo>
                  <a:lnTo>
                    <a:pt x="18" y="47"/>
                  </a:lnTo>
                  <a:lnTo>
                    <a:pt x="24" y="38"/>
                  </a:lnTo>
                  <a:lnTo>
                    <a:pt x="31" y="31"/>
                  </a:lnTo>
                  <a:lnTo>
                    <a:pt x="39" y="25"/>
                  </a:lnTo>
                  <a:lnTo>
                    <a:pt x="47" y="19"/>
                  </a:lnTo>
                  <a:lnTo>
                    <a:pt x="56" y="12"/>
                  </a:lnTo>
                  <a:lnTo>
                    <a:pt x="64" y="8"/>
                  </a:lnTo>
                  <a:lnTo>
                    <a:pt x="74" y="5"/>
                  </a:lnTo>
                  <a:lnTo>
                    <a:pt x="85" y="1"/>
                  </a:lnTo>
                  <a:lnTo>
                    <a:pt x="95" y="0"/>
                  </a:lnTo>
                  <a:lnTo>
                    <a:pt x="106" y="0"/>
                  </a:lnTo>
                  <a:lnTo>
                    <a:pt x="106" y="0"/>
                  </a:lnTo>
                  <a:lnTo>
                    <a:pt x="117" y="0"/>
                  </a:lnTo>
                  <a:lnTo>
                    <a:pt x="128" y="1"/>
                  </a:lnTo>
                  <a:lnTo>
                    <a:pt x="137" y="5"/>
                  </a:lnTo>
                  <a:lnTo>
                    <a:pt x="147" y="8"/>
                  </a:lnTo>
                  <a:lnTo>
                    <a:pt x="157" y="12"/>
                  </a:lnTo>
                  <a:lnTo>
                    <a:pt x="165" y="19"/>
                  </a:lnTo>
                  <a:lnTo>
                    <a:pt x="174" y="25"/>
                  </a:lnTo>
                  <a:lnTo>
                    <a:pt x="181" y="31"/>
                  </a:lnTo>
                  <a:lnTo>
                    <a:pt x="187" y="38"/>
                  </a:lnTo>
                  <a:lnTo>
                    <a:pt x="193" y="47"/>
                  </a:lnTo>
                  <a:lnTo>
                    <a:pt x="199" y="55"/>
                  </a:lnTo>
                  <a:lnTo>
                    <a:pt x="203" y="65"/>
                  </a:lnTo>
                  <a:lnTo>
                    <a:pt x="207" y="75"/>
                  </a:lnTo>
                  <a:lnTo>
                    <a:pt x="210" y="84"/>
                  </a:lnTo>
                  <a:lnTo>
                    <a:pt x="212" y="95"/>
                  </a:lnTo>
                  <a:lnTo>
                    <a:pt x="212" y="106"/>
                  </a:lnTo>
                  <a:lnTo>
                    <a:pt x="212" y="106"/>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7" name="Freeform 1562"/>
            <p:cNvSpPr>
              <a:spLocks/>
            </p:cNvSpPr>
            <p:nvPr/>
          </p:nvSpPr>
          <p:spPr bwMode="auto">
            <a:xfrm>
              <a:off x="6427136" y="-1252185"/>
              <a:ext cx="66404" cy="64507"/>
            </a:xfrm>
            <a:custGeom>
              <a:avLst/>
              <a:gdLst>
                <a:gd name="T0" fmla="*/ 174 w 174"/>
                <a:gd name="T1" fmla="*/ 88 h 174"/>
                <a:gd name="T2" fmla="*/ 172 w 174"/>
                <a:gd name="T3" fmla="*/ 105 h 174"/>
                <a:gd name="T4" fmla="*/ 167 w 174"/>
                <a:gd name="T5" fmla="*/ 121 h 174"/>
                <a:gd name="T6" fmla="*/ 159 w 174"/>
                <a:gd name="T7" fmla="*/ 137 h 174"/>
                <a:gd name="T8" fmla="*/ 149 w 174"/>
                <a:gd name="T9" fmla="*/ 149 h 174"/>
                <a:gd name="T10" fmla="*/ 135 w 174"/>
                <a:gd name="T11" fmla="*/ 160 h 174"/>
                <a:gd name="T12" fmla="*/ 121 w 174"/>
                <a:gd name="T13" fmla="*/ 167 h 174"/>
                <a:gd name="T14" fmla="*/ 105 w 174"/>
                <a:gd name="T15" fmla="*/ 173 h 174"/>
                <a:gd name="T16" fmla="*/ 87 w 174"/>
                <a:gd name="T17" fmla="*/ 174 h 174"/>
                <a:gd name="T18" fmla="*/ 78 w 174"/>
                <a:gd name="T19" fmla="*/ 174 h 174"/>
                <a:gd name="T20" fmla="*/ 61 w 174"/>
                <a:gd name="T21" fmla="*/ 171 h 174"/>
                <a:gd name="T22" fmla="*/ 45 w 174"/>
                <a:gd name="T23" fmla="*/ 163 h 174"/>
                <a:gd name="T24" fmla="*/ 32 w 174"/>
                <a:gd name="T25" fmla="*/ 155 h 174"/>
                <a:gd name="T26" fmla="*/ 20 w 174"/>
                <a:gd name="T27" fmla="*/ 143 h 174"/>
                <a:gd name="T28" fmla="*/ 10 w 174"/>
                <a:gd name="T29" fmla="*/ 129 h 174"/>
                <a:gd name="T30" fmla="*/ 4 w 174"/>
                <a:gd name="T31" fmla="*/ 113 h 174"/>
                <a:gd name="T32" fmla="*/ 0 w 174"/>
                <a:gd name="T33" fmla="*/ 96 h 174"/>
                <a:gd name="T34" fmla="*/ 0 w 174"/>
                <a:gd name="T35" fmla="*/ 88 h 174"/>
                <a:gd name="T36" fmla="*/ 1 w 174"/>
                <a:gd name="T37" fmla="*/ 70 h 174"/>
                <a:gd name="T38" fmla="*/ 6 w 174"/>
                <a:gd name="T39" fmla="*/ 54 h 174"/>
                <a:gd name="T40" fmla="*/ 15 w 174"/>
                <a:gd name="T41" fmla="*/ 39 h 174"/>
                <a:gd name="T42" fmla="*/ 26 w 174"/>
                <a:gd name="T43" fmla="*/ 26 h 174"/>
                <a:gd name="T44" fmla="*/ 38 w 174"/>
                <a:gd name="T45" fmla="*/ 15 h 174"/>
                <a:gd name="T46" fmla="*/ 52 w 174"/>
                <a:gd name="T47" fmla="*/ 7 h 174"/>
                <a:gd name="T48" fmla="*/ 70 w 174"/>
                <a:gd name="T49" fmla="*/ 3 h 174"/>
                <a:gd name="T50" fmla="*/ 87 w 174"/>
                <a:gd name="T51" fmla="*/ 0 h 174"/>
                <a:gd name="T52" fmla="*/ 96 w 174"/>
                <a:gd name="T53" fmla="*/ 1 h 174"/>
                <a:gd name="T54" fmla="*/ 112 w 174"/>
                <a:gd name="T55" fmla="*/ 4 h 174"/>
                <a:gd name="T56" fmla="*/ 128 w 174"/>
                <a:gd name="T57" fmla="*/ 11 h 174"/>
                <a:gd name="T58" fmla="*/ 143 w 174"/>
                <a:gd name="T59" fmla="*/ 20 h 174"/>
                <a:gd name="T60" fmla="*/ 154 w 174"/>
                <a:gd name="T61" fmla="*/ 32 h 174"/>
                <a:gd name="T62" fmla="*/ 163 w 174"/>
                <a:gd name="T63" fmla="*/ 46 h 174"/>
                <a:gd name="T64" fmla="*/ 170 w 174"/>
                <a:gd name="T65" fmla="*/ 61 h 174"/>
                <a:gd name="T66" fmla="*/ 173 w 174"/>
                <a:gd name="T67" fmla="*/ 78 h 174"/>
                <a:gd name="T68" fmla="*/ 174 w 174"/>
                <a:gd name="T69" fmla="*/ 8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 h="174">
                  <a:moveTo>
                    <a:pt x="174" y="88"/>
                  </a:moveTo>
                  <a:lnTo>
                    <a:pt x="174" y="88"/>
                  </a:lnTo>
                  <a:lnTo>
                    <a:pt x="173" y="96"/>
                  </a:lnTo>
                  <a:lnTo>
                    <a:pt x="172" y="105"/>
                  </a:lnTo>
                  <a:lnTo>
                    <a:pt x="170" y="113"/>
                  </a:lnTo>
                  <a:lnTo>
                    <a:pt x="167" y="121"/>
                  </a:lnTo>
                  <a:lnTo>
                    <a:pt x="163" y="129"/>
                  </a:lnTo>
                  <a:lnTo>
                    <a:pt x="159" y="137"/>
                  </a:lnTo>
                  <a:lnTo>
                    <a:pt x="154" y="143"/>
                  </a:lnTo>
                  <a:lnTo>
                    <a:pt x="149" y="149"/>
                  </a:lnTo>
                  <a:lnTo>
                    <a:pt x="143" y="155"/>
                  </a:lnTo>
                  <a:lnTo>
                    <a:pt x="135" y="160"/>
                  </a:lnTo>
                  <a:lnTo>
                    <a:pt x="128" y="163"/>
                  </a:lnTo>
                  <a:lnTo>
                    <a:pt x="121" y="167"/>
                  </a:lnTo>
                  <a:lnTo>
                    <a:pt x="112" y="171"/>
                  </a:lnTo>
                  <a:lnTo>
                    <a:pt x="105" y="173"/>
                  </a:lnTo>
                  <a:lnTo>
                    <a:pt x="96" y="174"/>
                  </a:lnTo>
                  <a:lnTo>
                    <a:pt x="87" y="174"/>
                  </a:lnTo>
                  <a:lnTo>
                    <a:pt x="87" y="174"/>
                  </a:lnTo>
                  <a:lnTo>
                    <a:pt x="78" y="174"/>
                  </a:lnTo>
                  <a:lnTo>
                    <a:pt x="70" y="173"/>
                  </a:lnTo>
                  <a:lnTo>
                    <a:pt x="61" y="171"/>
                  </a:lnTo>
                  <a:lnTo>
                    <a:pt x="52" y="167"/>
                  </a:lnTo>
                  <a:lnTo>
                    <a:pt x="45" y="163"/>
                  </a:lnTo>
                  <a:lnTo>
                    <a:pt x="38" y="160"/>
                  </a:lnTo>
                  <a:lnTo>
                    <a:pt x="32" y="155"/>
                  </a:lnTo>
                  <a:lnTo>
                    <a:pt x="26" y="149"/>
                  </a:lnTo>
                  <a:lnTo>
                    <a:pt x="20" y="143"/>
                  </a:lnTo>
                  <a:lnTo>
                    <a:pt x="15" y="137"/>
                  </a:lnTo>
                  <a:lnTo>
                    <a:pt x="10" y="129"/>
                  </a:lnTo>
                  <a:lnTo>
                    <a:pt x="6" y="121"/>
                  </a:lnTo>
                  <a:lnTo>
                    <a:pt x="4" y="113"/>
                  </a:lnTo>
                  <a:lnTo>
                    <a:pt x="1" y="105"/>
                  </a:lnTo>
                  <a:lnTo>
                    <a:pt x="0" y="96"/>
                  </a:lnTo>
                  <a:lnTo>
                    <a:pt x="0" y="88"/>
                  </a:lnTo>
                  <a:lnTo>
                    <a:pt x="0" y="88"/>
                  </a:lnTo>
                  <a:lnTo>
                    <a:pt x="0" y="78"/>
                  </a:lnTo>
                  <a:lnTo>
                    <a:pt x="1" y="70"/>
                  </a:lnTo>
                  <a:lnTo>
                    <a:pt x="4" y="61"/>
                  </a:lnTo>
                  <a:lnTo>
                    <a:pt x="6" y="54"/>
                  </a:lnTo>
                  <a:lnTo>
                    <a:pt x="10" y="46"/>
                  </a:lnTo>
                  <a:lnTo>
                    <a:pt x="15" y="39"/>
                  </a:lnTo>
                  <a:lnTo>
                    <a:pt x="20" y="32"/>
                  </a:lnTo>
                  <a:lnTo>
                    <a:pt x="26" y="26"/>
                  </a:lnTo>
                  <a:lnTo>
                    <a:pt x="32" y="20"/>
                  </a:lnTo>
                  <a:lnTo>
                    <a:pt x="38" y="15"/>
                  </a:lnTo>
                  <a:lnTo>
                    <a:pt x="45" y="11"/>
                  </a:lnTo>
                  <a:lnTo>
                    <a:pt x="52" y="7"/>
                  </a:lnTo>
                  <a:lnTo>
                    <a:pt x="61" y="4"/>
                  </a:lnTo>
                  <a:lnTo>
                    <a:pt x="70" y="3"/>
                  </a:lnTo>
                  <a:lnTo>
                    <a:pt x="78" y="1"/>
                  </a:lnTo>
                  <a:lnTo>
                    <a:pt x="87" y="0"/>
                  </a:lnTo>
                  <a:lnTo>
                    <a:pt x="87" y="0"/>
                  </a:lnTo>
                  <a:lnTo>
                    <a:pt x="96" y="1"/>
                  </a:lnTo>
                  <a:lnTo>
                    <a:pt x="105" y="3"/>
                  </a:lnTo>
                  <a:lnTo>
                    <a:pt x="112" y="4"/>
                  </a:lnTo>
                  <a:lnTo>
                    <a:pt x="121" y="7"/>
                  </a:lnTo>
                  <a:lnTo>
                    <a:pt x="128" y="11"/>
                  </a:lnTo>
                  <a:lnTo>
                    <a:pt x="135" y="15"/>
                  </a:lnTo>
                  <a:lnTo>
                    <a:pt x="143" y="20"/>
                  </a:lnTo>
                  <a:lnTo>
                    <a:pt x="149" y="26"/>
                  </a:lnTo>
                  <a:lnTo>
                    <a:pt x="154" y="32"/>
                  </a:lnTo>
                  <a:lnTo>
                    <a:pt x="159" y="39"/>
                  </a:lnTo>
                  <a:lnTo>
                    <a:pt x="163" y="46"/>
                  </a:lnTo>
                  <a:lnTo>
                    <a:pt x="167" y="54"/>
                  </a:lnTo>
                  <a:lnTo>
                    <a:pt x="170" y="61"/>
                  </a:lnTo>
                  <a:lnTo>
                    <a:pt x="172" y="70"/>
                  </a:lnTo>
                  <a:lnTo>
                    <a:pt x="173" y="78"/>
                  </a:lnTo>
                  <a:lnTo>
                    <a:pt x="174" y="88"/>
                  </a:lnTo>
                  <a:lnTo>
                    <a:pt x="174" y="88"/>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8" name="Freeform 1563"/>
            <p:cNvSpPr>
              <a:spLocks/>
            </p:cNvSpPr>
            <p:nvPr/>
          </p:nvSpPr>
          <p:spPr bwMode="auto">
            <a:xfrm>
              <a:off x="6057172" y="-489490"/>
              <a:ext cx="45534" cy="43637"/>
            </a:xfrm>
            <a:custGeom>
              <a:avLst/>
              <a:gdLst>
                <a:gd name="T0" fmla="*/ 118 w 118"/>
                <a:gd name="T1" fmla="*/ 119 h 119"/>
                <a:gd name="T2" fmla="*/ 118 w 118"/>
                <a:gd name="T3" fmla="*/ 119 h 119"/>
                <a:gd name="T4" fmla="*/ 117 w 118"/>
                <a:gd name="T5" fmla="*/ 106 h 119"/>
                <a:gd name="T6" fmla="*/ 116 w 118"/>
                <a:gd name="T7" fmla="*/ 94 h 119"/>
                <a:gd name="T8" fmla="*/ 112 w 118"/>
                <a:gd name="T9" fmla="*/ 83 h 119"/>
                <a:gd name="T10" fmla="*/ 108 w 118"/>
                <a:gd name="T11" fmla="*/ 72 h 119"/>
                <a:gd name="T12" fmla="*/ 103 w 118"/>
                <a:gd name="T13" fmla="*/ 61 h 119"/>
                <a:gd name="T14" fmla="*/ 97 w 118"/>
                <a:gd name="T15" fmla="*/ 53 h 119"/>
                <a:gd name="T16" fmla="*/ 90 w 118"/>
                <a:gd name="T17" fmla="*/ 43 h 119"/>
                <a:gd name="T18" fmla="*/ 83 w 118"/>
                <a:gd name="T19" fmla="*/ 35 h 119"/>
                <a:gd name="T20" fmla="*/ 74 w 118"/>
                <a:gd name="T21" fmla="*/ 27 h 119"/>
                <a:gd name="T22" fmla="*/ 66 w 118"/>
                <a:gd name="T23" fmla="*/ 20 h 119"/>
                <a:gd name="T24" fmla="*/ 56 w 118"/>
                <a:gd name="T25" fmla="*/ 15 h 119"/>
                <a:gd name="T26" fmla="*/ 45 w 118"/>
                <a:gd name="T27" fmla="*/ 9 h 119"/>
                <a:gd name="T28" fmla="*/ 35 w 118"/>
                <a:gd name="T29" fmla="*/ 5 h 119"/>
                <a:gd name="T30" fmla="*/ 23 w 118"/>
                <a:gd name="T31" fmla="*/ 3 h 119"/>
                <a:gd name="T32" fmla="*/ 12 w 118"/>
                <a:gd name="T33" fmla="*/ 0 h 119"/>
                <a:gd name="T34" fmla="*/ 0 w 118"/>
                <a:gd name="T35" fmla="*/ 0 h 119"/>
                <a:gd name="T36" fmla="*/ 0 w 118"/>
                <a:gd name="T37" fmla="*/ 119 h 119"/>
                <a:gd name="T38" fmla="*/ 118 w 118"/>
                <a:gd name="T39"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19">
                  <a:moveTo>
                    <a:pt x="118" y="119"/>
                  </a:moveTo>
                  <a:lnTo>
                    <a:pt x="118" y="119"/>
                  </a:lnTo>
                  <a:lnTo>
                    <a:pt x="117" y="106"/>
                  </a:lnTo>
                  <a:lnTo>
                    <a:pt x="116" y="94"/>
                  </a:lnTo>
                  <a:lnTo>
                    <a:pt x="112" y="83"/>
                  </a:lnTo>
                  <a:lnTo>
                    <a:pt x="108" y="72"/>
                  </a:lnTo>
                  <a:lnTo>
                    <a:pt x="103" y="61"/>
                  </a:lnTo>
                  <a:lnTo>
                    <a:pt x="97" y="53"/>
                  </a:lnTo>
                  <a:lnTo>
                    <a:pt x="90" y="43"/>
                  </a:lnTo>
                  <a:lnTo>
                    <a:pt x="83" y="35"/>
                  </a:lnTo>
                  <a:lnTo>
                    <a:pt x="74" y="27"/>
                  </a:lnTo>
                  <a:lnTo>
                    <a:pt x="66" y="20"/>
                  </a:lnTo>
                  <a:lnTo>
                    <a:pt x="56" y="15"/>
                  </a:lnTo>
                  <a:lnTo>
                    <a:pt x="45" y="9"/>
                  </a:lnTo>
                  <a:lnTo>
                    <a:pt x="35" y="5"/>
                  </a:lnTo>
                  <a:lnTo>
                    <a:pt x="23" y="3"/>
                  </a:lnTo>
                  <a:lnTo>
                    <a:pt x="12" y="0"/>
                  </a:lnTo>
                  <a:lnTo>
                    <a:pt x="0" y="0"/>
                  </a:lnTo>
                  <a:lnTo>
                    <a:pt x="0" y="119"/>
                  </a:lnTo>
                  <a:lnTo>
                    <a:pt x="118" y="119"/>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19" name="Freeform 1564"/>
            <p:cNvSpPr>
              <a:spLocks/>
            </p:cNvSpPr>
            <p:nvPr/>
          </p:nvSpPr>
          <p:spPr bwMode="auto">
            <a:xfrm>
              <a:off x="6011639" y="-489490"/>
              <a:ext cx="45534" cy="43637"/>
            </a:xfrm>
            <a:custGeom>
              <a:avLst/>
              <a:gdLst>
                <a:gd name="T0" fmla="*/ 119 w 119"/>
                <a:gd name="T1" fmla="*/ 0 h 119"/>
                <a:gd name="T2" fmla="*/ 119 w 119"/>
                <a:gd name="T3" fmla="*/ 0 h 119"/>
                <a:gd name="T4" fmla="*/ 107 w 119"/>
                <a:gd name="T5" fmla="*/ 0 h 119"/>
                <a:gd name="T6" fmla="*/ 94 w 119"/>
                <a:gd name="T7" fmla="*/ 3 h 119"/>
                <a:gd name="T8" fmla="*/ 83 w 119"/>
                <a:gd name="T9" fmla="*/ 5 h 119"/>
                <a:gd name="T10" fmla="*/ 72 w 119"/>
                <a:gd name="T11" fmla="*/ 9 h 119"/>
                <a:gd name="T12" fmla="*/ 63 w 119"/>
                <a:gd name="T13" fmla="*/ 15 h 119"/>
                <a:gd name="T14" fmla="*/ 53 w 119"/>
                <a:gd name="T15" fmla="*/ 20 h 119"/>
                <a:gd name="T16" fmla="*/ 43 w 119"/>
                <a:gd name="T17" fmla="*/ 27 h 119"/>
                <a:gd name="T18" fmla="*/ 35 w 119"/>
                <a:gd name="T19" fmla="*/ 35 h 119"/>
                <a:gd name="T20" fmla="*/ 27 w 119"/>
                <a:gd name="T21" fmla="*/ 43 h 119"/>
                <a:gd name="T22" fmla="*/ 21 w 119"/>
                <a:gd name="T23" fmla="*/ 53 h 119"/>
                <a:gd name="T24" fmla="*/ 15 w 119"/>
                <a:gd name="T25" fmla="*/ 61 h 119"/>
                <a:gd name="T26" fmla="*/ 10 w 119"/>
                <a:gd name="T27" fmla="*/ 72 h 119"/>
                <a:gd name="T28" fmla="*/ 5 w 119"/>
                <a:gd name="T29" fmla="*/ 83 h 119"/>
                <a:gd name="T30" fmla="*/ 3 w 119"/>
                <a:gd name="T31" fmla="*/ 94 h 119"/>
                <a:gd name="T32" fmla="*/ 2 w 119"/>
                <a:gd name="T33" fmla="*/ 106 h 119"/>
                <a:gd name="T34" fmla="*/ 0 w 119"/>
                <a:gd name="T35" fmla="*/ 119 h 119"/>
                <a:gd name="T36" fmla="*/ 119 w 119"/>
                <a:gd name="T37" fmla="*/ 119 h 119"/>
                <a:gd name="T38" fmla="*/ 119 w 119"/>
                <a:gd name="T39"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9" h="119">
                  <a:moveTo>
                    <a:pt x="119" y="0"/>
                  </a:moveTo>
                  <a:lnTo>
                    <a:pt x="119" y="0"/>
                  </a:lnTo>
                  <a:lnTo>
                    <a:pt x="107" y="0"/>
                  </a:lnTo>
                  <a:lnTo>
                    <a:pt x="94" y="3"/>
                  </a:lnTo>
                  <a:lnTo>
                    <a:pt x="83" y="5"/>
                  </a:lnTo>
                  <a:lnTo>
                    <a:pt x="72" y="9"/>
                  </a:lnTo>
                  <a:lnTo>
                    <a:pt x="63" y="15"/>
                  </a:lnTo>
                  <a:lnTo>
                    <a:pt x="53" y="20"/>
                  </a:lnTo>
                  <a:lnTo>
                    <a:pt x="43" y="27"/>
                  </a:lnTo>
                  <a:lnTo>
                    <a:pt x="35" y="35"/>
                  </a:lnTo>
                  <a:lnTo>
                    <a:pt x="27" y="43"/>
                  </a:lnTo>
                  <a:lnTo>
                    <a:pt x="21" y="53"/>
                  </a:lnTo>
                  <a:lnTo>
                    <a:pt x="15" y="61"/>
                  </a:lnTo>
                  <a:lnTo>
                    <a:pt x="10" y="72"/>
                  </a:lnTo>
                  <a:lnTo>
                    <a:pt x="5" y="83"/>
                  </a:lnTo>
                  <a:lnTo>
                    <a:pt x="3" y="94"/>
                  </a:lnTo>
                  <a:lnTo>
                    <a:pt x="2" y="106"/>
                  </a:lnTo>
                  <a:lnTo>
                    <a:pt x="0" y="119"/>
                  </a:lnTo>
                  <a:lnTo>
                    <a:pt x="119" y="119"/>
                  </a:lnTo>
                  <a:lnTo>
                    <a:pt x="119"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20" name="Freeform 1565"/>
            <p:cNvSpPr>
              <a:spLocks/>
            </p:cNvSpPr>
            <p:nvPr/>
          </p:nvSpPr>
          <p:spPr bwMode="auto">
            <a:xfrm>
              <a:off x="6459389" y="-489490"/>
              <a:ext cx="45534" cy="43637"/>
            </a:xfrm>
            <a:custGeom>
              <a:avLst/>
              <a:gdLst>
                <a:gd name="T0" fmla="*/ 118 w 118"/>
                <a:gd name="T1" fmla="*/ 119 h 119"/>
                <a:gd name="T2" fmla="*/ 118 w 118"/>
                <a:gd name="T3" fmla="*/ 119 h 119"/>
                <a:gd name="T4" fmla="*/ 117 w 118"/>
                <a:gd name="T5" fmla="*/ 106 h 119"/>
                <a:gd name="T6" fmla="*/ 115 w 118"/>
                <a:gd name="T7" fmla="*/ 94 h 119"/>
                <a:gd name="T8" fmla="*/ 113 w 118"/>
                <a:gd name="T9" fmla="*/ 83 h 119"/>
                <a:gd name="T10" fmla="*/ 108 w 118"/>
                <a:gd name="T11" fmla="*/ 72 h 119"/>
                <a:gd name="T12" fmla="*/ 103 w 118"/>
                <a:gd name="T13" fmla="*/ 61 h 119"/>
                <a:gd name="T14" fmla="*/ 97 w 118"/>
                <a:gd name="T15" fmla="*/ 53 h 119"/>
                <a:gd name="T16" fmla="*/ 91 w 118"/>
                <a:gd name="T17" fmla="*/ 43 h 119"/>
                <a:gd name="T18" fmla="*/ 84 w 118"/>
                <a:gd name="T19" fmla="*/ 35 h 119"/>
                <a:gd name="T20" fmla="*/ 75 w 118"/>
                <a:gd name="T21" fmla="*/ 27 h 119"/>
                <a:gd name="T22" fmla="*/ 65 w 118"/>
                <a:gd name="T23" fmla="*/ 20 h 119"/>
                <a:gd name="T24" fmla="*/ 56 w 118"/>
                <a:gd name="T25" fmla="*/ 15 h 119"/>
                <a:gd name="T26" fmla="*/ 46 w 118"/>
                <a:gd name="T27" fmla="*/ 9 h 119"/>
                <a:gd name="T28" fmla="*/ 35 w 118"/>
                <a:gd name="T29" fmla="*/ 5 h 119"/>
                <a:gd name="T30" fmla="*/ 24 w 118"/>
                <a:gd name="T31" fmla="*/ 3 h 119"/>
                <a:gd name="T32" fmla="*/ 12 w 118"/>
                <a:gd name="T33" fmla="*/ 0 h 119"/>
                <a:gd name="T34" fmla="*/ 0 w 118"/>
                <a:gd name="T35" fmla="*/ 0 h 119"/>
                <a:gd name="T36" fmla="*/ 0 w 118"/>
                <a:gd name="T37" fmla="*/ 119 h 119"/>
                <a:gd name="T38" fmla="*/ 118 w 118"/>
                <a:gd name="T39"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19">
                  <a:moveTo>
                    <a:pt x="118" y="119"/>
                  </a:moveTo>
                  <a:lnTo>
                    <a:pt x="118" y="119"/>
                  </a:lnTo>
                  <a:lnTo>
                    <a:pt x="117" y="106"/>
                  </a:lnTo>
                  <a:lnTo>
                    <a:pt x="115" y="94"/>
                  </a:lnTo>
                  <a:lnTo>
                    <a:pt x="113" y="83"/>
                  </a:lnTo>
                  <a:lnTo>
                    <a:pt x="108" y="72"/>
                  </a:lnTo>
                  <a:lnTo>
                    <a:pt x="103" y="61"/>
                  </a:lnTo>
                  <a:lnTo>
                    <a:pt x="97" y="53"/>
                  </a:lnTo>
                  <a:lnTo>
                    <a:pt x="91" y="43"/>
                  </a:lnTo>
                  <a:lnTo>
                    <a:pt x="84" y="35"/>
                  </a:lnTo>
                  <a:lnTo>
                    <a:pt x="75" y="27"/>
                  </a:lnTo>
                  <a:lnTo>
                    <a:pt x="65" y="20"/>
                  </a:lnTo>
                  <a:lnTo>
                    <a:pt x="56" y="15"/>
                  </a:lnTo>
                  <a:lnTo>
                    <a:pt x="46" y="9"/>
                  </a:lnTo>
                  <a:lnTo>
                    <a:pt x="35" y="5"/>
                  </a:lnTo>
                  <a:lnTo>
                    <a:pt x="24" y="3"/>
                  </a:lnTo>
                  <a:lnTo>
                    <a:pt x="12" y="0"/>
                  </a:lnTo>
                  <a:lnTo>
                    <a:pt x="0" y="0"/>
                  </a:lnTo>
                  <a:lnTo>
                    <a:pt x="0" y="119"/>
                  </a:lnTo>
                  <a:lnTo>
                    <a:pt x="118" y="119"/>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21" name="Freeform 1566"/>
            <p:cNvSpPr>
              <a:spLocks/>
            </p:cNvSpPr>
            <p:nvPr/>
          </p:nvSpPr>
          <p:spPr bwMode="auto">
            <a:xfrm>
              <a:off x="6415752" y="-489490"/>
              <a:ext cx="43637" cy="43637"/>
            </a:xfrm>
            <a:custGeom>
              <a:avLst/>
              <a:gdLst>
                <a:gd name="T0" fmla="*/ 117 w 117"/>
                <a:gd name="T1" fmla="*/ 0 h 119"/>
                <a:gd name="T2" fmla="*/ 117 w 117"/>
                <a:gd name="T3" fmla="*/ 0 h 119"/>
                <a:gd name="T4" fmla="*/ 104 w 117"/>
                <a:gd name="T5" fmla="*/ 0 h 119"/>
                <a:gd name="T6" fmla="*/ 93 w 117"/>
                <a:gd name="T7" fmla="*/ 3 h 119"/>
                <a:gd name="T8" fmla="*/ 81 w 117"/>
                <a:gd name="T9" fmla="*/ 5 h 119"/>
                <a:gd name="T10" fmla="*/ 72 w 117"/>
                <a:gd name="T11" fmla="*/ 9 h 119"/>
                <a:gd name="T12" fmla="*/ 61 w 117"/>
                <a:gd name="T13" fmla="*/ 15 h 119"/>
                <a:gd name="T14" fmla="*/ 51 w 117"/>
                <a:gd name="T15" fmla="*/ 20 h 119"/>
                <a:gd name="T16" fmla="*/ 42 w 117"/>
                <a:gd name="T17" fmla="*/ 27 h 119"/>
                <a:gd name="T18" fmla="*/ 34 w 117"/>
                <a:gd name="T19" fmla="*/ 35 h 119"/>
                <a:gd name="T20" fmla="*/ 26 w 117"/>
                <a:gd name="T21" fmla="*/ 43 h 119"/>
                <a:gd name="T22" fmla="*/ 19 w 117"/>
                <a:gd name="T23" fmla="*/ 53 h 119"/>
                <a:gd name="T24" fmla="*/ 13 w 117"/>
                <a:gd name="T25" fmla="*/ 61 h 119"/>
                <a:gd name="T26" fmla="*/ 8 w 117"/>
                <a:gd name="T27" fmla="*/ 72 h 119"/>
                <a:gd name="T28" fmla="*/ 4 w 117"/>
                <a:gd name="T29" fmla="*/ 83 h 119"/>
                <a:gd name="T30" fmla="*/ 1 w 117"/>
                <a:gd name="T31" fmla="*/ 94 h 119"/>
                <a:gd name="T32" fmla="*/ 0 w 117"/>
                <a:gd name="T33" fmla="*/ 106 h 119"/>
                <a:gd name="T34" fmla="*/ 0 w 117"/>
                <a:gd name="T35" fmla="*/ 119 h 119"/>
                <a:gd name="T36" fmla="*/ 117 w 117"/>
                <a:gd name="T37" fmla="*/ 119 h 119"/>
                <a:gd name="T38" fmla="*/ 117 w 117"/>
                <a:gd name="T39"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7" h="119">
                  <a:moveTo>
                    <a:pt x="117" y="0"/>
                  </a:moveTo>
                  <a:lnTo>
                    <a:pt x="117" y="0"/>
                  </a:lnTo>
                  <a:lnTo>
                    <a:pt x="104" y="0"/>
                  </a:lnTo>
                  <a:lnTo>
                    <a:pt x="93" y="3"/>
                  </a:lnTo>
                  <a:lnTo>
                    <a:pt x="81" y="5"/>
                  </a:lnTo>
                  <a:lnTo>
                    <a:pt x="72" y="9"/>
                  </a:lnTo>
                  <a:lnTo>
                    <a:pt x="61" y="15"/>
                  </a:lnTo>
                  <a:lnTo>
                    <a:pt x="51" y="20"/>
                  </a:lnTo>
                  <a:lnTo>
                    <a:pt x="42" y="27"/>
                  </a:lnTo>
                  <a:lnTo>
                    <a:pt x="34" y="35"/>
                  </a:lnTo>
                  <a:lnTo>
                    <a:pt x="26" y="43"/>
                  </a:lnTo>
                  <a:lnTo>
                    <a:pt x="19" y="53"/>
                  </a:lnTo>
                  <a:lnTo>
                    <a:pt x="13" y="61"/>
                  </a:lnTo>
                  <a:lnTo>
                    <a:pt x="8" y="72"/>
                  </a:lnTo>
                  <a:lnTo>
                    <a:pt x="4" y="83"/>
                  </a:lnTo>
                  <a:lnTo>
                    <a:pt x="1" y="94"/>
                  </a:lnTo>
                  <a:lnTo>
                    <a:pt x="0" y="106"/>
                  </a:lnTo>
                  <a:lnTo>
                    <a:pt x="0" y="119"/>
                  </a:lnTo>
                  <a:lnTo>
                    <a:pt x="117" y="119"/>
                  </a:lnTo>
                  <a:lnTo>
                    <a:pt x="117"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22" name="Freeform 1567"/>
            <p:cNvSpPr>
              <a:spLocks/>
            </p:cNvSpPr>
            <p:nvPr/>
          </p:nvSpPr>
          <p:spPr bwMode="auto">
            <a:xfrm>
              <a:off x="6863504" y="-489490"/>
              <a:ext cx="43637" cy="43637"/>
            </a:xfrm>
            <a:custGeom>
              <a:avLst/>
              <a:gdLst>
                <a:gd name="T0" fmla="*/ 117 w 117"/>
                <a:gd name="T1" fmla="*/ 119 h 119"/>
                <a:gd name="T2" fmla="*/ 117 w 117"/>
                <a:gd name="T3" fmla="*/ 119 h 119"/>
                <a:gd name="T4" fmla="*/ 117 w 117"/>
                <a:gd name="T5" fmla="*/ 106 h 119"/>
                <a:gd name="T6" fmla="*/ 114 w 117"/>
                <a:gd name="T7" fmla="*/ 94 h 119"/>
                <a:gd name="T8" fmla="*/ 112 w 117"/>
                <a:gd name="T9" fmla="*/ 83 h 119"/>
                <a:gd name="T10" fmla="*/ 108 w 117"/>
                <a:gd name="T11" fmla="*/ 72 h 119"/>
                <a:gd name="T12" fmla="*/ 103 w 117"/>
                <a:gd name="T13" fmla="*/ 61 h 119"/>
                <a:gd name="T14" fmla="*/ 97 w 117"/>
                <a:gd name="T15" fmla="*/ 53 h 119"/>
                <a:gd name="T16" fmla="*/ 90 w 117"/>
                <a:gd name="T17" fmla="*/ 43 h 119"/>
                <a:gd name="T18" fmla="*/ 83 w 117"/>
                <a:gd name="T19" fmla="*/ 35 h 119"/>
                <a:gd name="T20" fmla="*/ 74 w 117"/>
                <a:gd name="T21" fmla="*/ 27 h 119"/>
                <a:gd name="T22" fmla="*/ 66 w 117"/>
                <a:gd name="T23" fmla="*/ 20 h 119"/>
                <a:gd name="T24" fmla="*/ 56 w 117"/>
                <a:gd name="T25" fmla="*/ 15 h 119"/>
                <a:gd name="T26" fmla="*/ 45 w 117"/>
                <a:gd name="T27" fmla="*/ 9 h 119"/>
                <a:gd name="T28" fmla="*/ 34 w 117"/>
                <a:gd name="T29" fmla="*/ 5 h 119"/>
                <a:gd name="T30" fmla="*/ 23 w 117"/>
                <a:gd name="T31" fmla="*/ 3 h 119"/>
                <a:gd name="T32" fmla="*/ 12 w 117"/>
                <a:gd name="T33" fmla="*/ 0 h 119"/>
                <a:gd name="T34" fmla="*/ 0 w 117"/>
                <a:gd name="T35" fmla="*/ 0 h 119"/>
                <a:gd name="T36" fmla="*/ 0 w 117"/>
                <a:gd name="T37" fmla="*/ 119 h 119"/>
                <a:gd name="T38" fmla="*/ 117 w 117"/>
                <a:gd name="T39"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7" h="119">
                  <a:moveTo>
                    <a:pt x="117" y="119"/>
                  </a:moveTo>
                  <a:lnTo>
                    <a:pt x="117" y="119"/>
                  </a:lnTo>
                  <a:lnTo>
                    <a:pt x="117" y="106"/>
                  </a:lnTo>
                  <a:lnTo>
                    <a:pt x="114" y="94"/>
                  </a:lnTo>
                  <a:lnTo>
                    <a:pt x="112" y="83"/>
                  </a:lnTo>
                  <a:lnTo>
                    <a:pt x="108" y="72"/>
                  </a:lnTo>
                  <a:lnTo>
                    <a:pt x="103" y="61"/>
                  </a:lnTo>
                  <a:lnTo>
                    <a:pt x="97" y="53"/>
                  </a:lnTo>
                  <a:lnTo>
                    <a:pt x="90" y="43"/>
                  </a:lnTo>
                  <a:lnTo>
                    <a:pt x="83" y="35"/>
                  </a:lnTo>
                  <a:lnTo>
                    <a:pt x="74" y="27"/>
                  </a:lnTo>
                  <a:lnTo>
                    <a:pt x="66" y="20"/>
                  </a:lnTo>
                  <a:lnTo>
                    <a:pt x="56" y="15"/>
                  </a:lnTo>
                  <a:lnTo>
                    <a:pt x="45" y="9"/>
                  </a:lnTo>
                  <a:lnTo>
                    <a:pt x="34" y="5"/>
                  </a:lnTo>
                  <a:lnTo>
                    <a:pt x="23" y="3"/>
                  </a:lnTo>
                  <a:lnTo>
                    <a:pt x="12" y="0"/>
                  </a:lnTo>
                  <a:lnTo>
                    <a:pt x="0" y="0"/>
                  </a:lnTo>
                  <a:lnTo>
                    <a:pt x="0" y="119"/>
                  </a:lnTo>
                  <a:lnTo>
                    <a:pt x="117" y="119"/>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23" name="Freeform 1568"/>
            <p:cNvSpPr>
              <a:spLocks/>
            </p:cNvSpPr>
            <p:nvPr/>
          </p:nvSpPr>
          <p:spPr bwMode="auto">
            <a:xfrm>
              <a:off x="6817970" y="-489490"/>
              <a:ext cx="45534" cy="43637"/>
            </a:xfrm>
            <a:custGeom>
              <a:avLst/>
              <a:gdLst>
                <a:gd name="T0" fmla="*/ 119 w 119"/>
                <a:gd name="T1" fmla="*/ 0 h 119"/>
                <a:gd name="T2" fmla="*/ 119 w 119"/>
                <a:gd name="T3" fmla="*/ 0 h 119"/>
                <a:gd name="T4" fmla="*/ 107 w 119"/>
                <a:gd name="T5" fmla="*/ 0 h 119"/>
                <a:gd name="T6" fmla="*/ 94 w 119"/>
                <a:gd name="T7" fmla="*/ 3 h 119"/>
                <a:gd name="T8" fmla="*/ 83 w 119"/>
                <a:gd name="T9" fmla="*/ 5 h 119"/>
                <a:gd name="T10" fmla="*/ 72 w 119"/>
                <a:gd name="T11" fmla="*/ 9 h 119"/>
                <a:gd name="T12" fmla="*/ 63 w 119"/>
                <a:gd name="T13" fmla="*/ 15 h 119"/>
                <a:gd name="T14" fmla="*/ 53 w 119"/>
                <a:gd name="T15" fmla="*/ 20 h 119"/>
                <a:gd name="T16" fmla="*/ 43 w 119"/>
                <a:gd name="T17" fmla="*/ 27 h 119"/>
                <a:gd name="T18" fmla="*/ 35 w 119"/>
                <a:gd name="T19" fmla="*/ 35 h 119"/>
                <a:gd name="T20" fmla="*/ 27 w 119"/>
                <a:gd name="T21" fmla="*/ 43 h 119"/>
                <a:gd name="T22" fmla="*/ 20 w 119"/>
                <a:gd name="T23" fmla="*/ 53 h 119"/>
                <a:gd name="T24" fmla="*/ 15 w 119"/>
                <a:gd name="T25" fmla="*/ 61 h 119"/>
                <a:gd name="T26" fmla="*/ 10 w 119"/>
                <a:gd name="T27" fmla="*/ 72 h 119"/>
                <a:gd name="T28" fmla="*/ 5 w 119"/>
                <a:gd name="T29" fmla="*/ 83 h 119"/>
                <a:gd name="T30" fmla="*/ 3 w 119"/>
                <a:gd name="T31" fmla="*/ 94 h 119"/>
                <a:gd name="T32" fmla="*/ 0 w 119"/>
                <a:gd name="T33" fmla="*/ 106 h 119"/>
                <a:gd name="T34" fmla="*/ 0 w 119"/>
                <a:gd name="T35" fmla="*/ 119 h 119"/>
                <a:gd name="T36" fmla="*/ 119 w 119"/>
                <a:gd name="T37" fmla="*/ 119 h 119"/>
                <a:gd name="T38" fmla="*/ 119 w 119"/>
                <a:gd name="T39"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9" h="119">
                  <a:moveTo>
                    <a:pt x="119" y="0"/>
                  </a:moveTo>
                  <a:lnTo>
                    <a:pt x="119" y="0"/>
                  </a:lnTo>
                  <a:lnTo>
                    <a:pt x="107" y="0"/>
                  </a:lnTo>
                  <a:lnTo>
                    <a:pt x="94" y="3"/>
                  </a:lnTo>
                  <a:lnTo>
                    <a:pt x="83" y="5"/>
                  </a:lnTo>
                  <a:lnTo>
                    <a:pt x="72" y="9"/>
                  </a:lnTo>
                  <a:lnTo>
                    <a:pt x="63" y="15"/>
                  </a:lnTo>
                  <a:lnTo>
                    <a:pt x="53" y="20"/>
                  </a:lnTo>
                  <a:lnTo>
                    <a:pt x="43" y="27"/>
                  </a:lnTo>
                  <a:lnTo>
                    <a:pt x="35" y="35"/>
                  </a:lnTo>
                  <a:lnTo>
                    <a:pt x="27" y="43"/>
                  </a:lnTo>
                  <a:lnTo>
                    <a:pt x="20" y="53"/>
                  </a:lnTo>
                  <a:lnTo>
                    <a:pt x="15" y="61"/>
                  </a:lnTo>
                  <a:lnTo>
                    <a:pt x="10" y="72"/>
                  </a:lnTo>
                  <a:lnTo>
                    <a:pt x="5" y="83"/>
                  </a:lnTo>
                  <a:lnTo>
                    <a:pt x="3" y="94"/>
                  </a:lnTo>
                  <a:lnTo>
                    <a:pt x="0" y="106"/>
                  </a:lnTo>
                  <a:lnTo>
                    <a:pt x="0" y="119"/>
                  </a:lnTo>
                  <a:lnTo>
                    <a:pt x="119" y="119"/>
                  </a:lnTo>
                  <a:lnTo>
                    <a:pt x="119"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24" name="Freeform 1569"/>
            <p:cNvSpPr>
              <a:spLocks/>
            </p:cNvSpPr>
            <p:nvPr/>
          </p:nvSpPr>
          <p:spPr bwMode="auto">
            <a:xfrm>
              <a:off x="6235513" y="-798742"/>
              <a:ext cx="53123" cy="53123"/>
            </a:xfrm>
            <a:custGeom>
              <a:avLst/>
              <a:gdLst>
                <a:gd name="T0" fmla="*/ 140 w 140"/>
                <a:gd name="T1" fmla="*/ 71 h 142"/>
                <a:gd name="T2" fmla="*/ 140 w 140"/>
                <a:gd name="T3" fmla="*/ 71 h 142"/>
                <a:gd name="T4" fmla="*/ 140 w 140"/>
                <a:gd name="T5" fmla="*/ 78 h 142"/>
                <a:gd name="T6" fmla="*/ 139 w 140"/>
                <a:gd name="T7" fmla="*/ 86 h 142"/>
                <a:gd name="T8" fmla="*/ 135 w 140"/>
                <a:gd name="T9" fmla="*/ 99 h 142"/>
                <a:gd name="T10" fmla="*/ 129 w 140"/>
                <a:gd name="T11" fmla="*/ 110 h 142"/>
                <a:gd name="T12" fmla="*/ 119 w 140"/>
                <a:gd name="T13" fmla="*/ 121 h 142"/>
                <a:gd name="T14" fmla="*/ 110 w 140"/>
                <a:gd name="T15" fmla="*/ 129 h 142"/>
                <a:gd name="T16" fmla="*/ 97 w 140"/>
                <a:gd name="T17" fmla="*/ 136 h 142"/>
                <a:gd name="T18" fmla="*/ 84 w 140"/>
                <a:gd name="T19" fmla="*/ 140 h 142"/>
                <a:gd name="T20" fmla="*/ 78 w 140"/>
                <a:gd name="T21" fmla="*/ 142 h 142"/>
                <a:gd name="T22" fmla="*/ 71 w 140"/>
                <a:gd name="T23" fmla="*/ 142 h 142"/>
                <a:gd name="T24" fmla="*/ 71 w 140"/>
                <a:gd name="T25" fmla="*/ 142 h 142"/>
                <a:gd name="T26" fmla="*/ 56 w 140"/>
                <a:gd name="T27" fmla="*/ 140 h 142"/>
                <a:gd name="T28" fmla="*/ 43 w 140"/>
                <a:gd name="T29" fmla="*/ 136 h 142"/>
                <a:gd name="T30" fmla="*/ 30 w 140"/>
                <a:gd name="T31" fmla="*/ 129 h 142"/>
                <a:gd name="T32" fmla="*/ 21 w 140"/>
                <a:gd name="T33" fmla="*/ 121 h 142"/>
                <a:gd name="T34" fmla="*/ 12 w 140"/>
                <a:gd name="T35" fmla="*/ 110 h 142"/>
                <a:gd name="T36" fmla="*/ 5 w 140"/>
                <a:gd name="T37" fmla="*/ 99 h 142"/>
                <a:gd name="T38" fmla="*/ 1 w 140"/>
                <a:gd name="T39" fmla="*/ 86 h 142"/>
                <a:gd name="T40" fmla="*/ 0 w 140"/>
                <a:gd name="T41" fmla="*/ 78 h 142"/>
                <a:gd name="T42" fmla="*/ 0 w 140"/>
                <a:gd name="T43" fmla="*/ 71 h 142"/>
                <a:gd name="T44" fmla="*/ 0 w 140"/>
                <a:gd name="T45" fmla="*/ 71 h 142"/>
                <a:gd name="T46" fmla="*/ 0 w 140"/>
                <a:gd name="T47" fmla="*/ 64 h 142"/>
                <a:gd name="T48" fmla="*/ 1 w 140"/>
                <a:gd name="T49" fmla="*/ 58 h 142"/>
                <a:gd name="T50" fmla="*/ 5 w 140"/>
                <a:gd name="T51" fmla="*/ 44 h 142"/>
                <a:gd name="T52" fmla="*/ 12 w 140"/>
                <a:gd name="T53" fmla="*/ 32 h 142"/>
                <a:gd name="T54" fmla="*/ 21 w 140"/>
                <a:gd name="T55" fmla="*/ 21 h 142"/>
                <a:gd name="T56" fmla="*/ 30 w 140"/>
                <a:gd name="T57" fmla="*/ 12 h 142"/>
                <a:gd name="T58" fmla="*/ 43 w 140"/>
                <a:gd name="T59" fmla="*/ 6 h 142"/>
                <a:gd name="T60" fmla="*/ 56 w 140"/>
                <a:gd name="T61" fmla="*/ 3 h 142"/>
                <a:gd name="T62" fmla="*/ 71 w 140"/>
                <a:gd name="T63" fmla="*/ 0 h 142"/>
                <a:gd name="T64" fmla="*/ 71 w 140"/>
                <a:gd name="T65" fmla="*/ 0 h 142"/>
                <a:gd name="T66" fmla="*/ 78 w 140"/>
                <a:gd name="T67" fmla="*/ 1 h 142"/>
                <a:gd name="T68" fmla="*/ 84 w 140"/>
                <a:gd name="T69" fmla="*/ 3 h 142"/>
                <a:gd name="T70" fmla="*/ 97 w 140"/>
                <a:gd name="T71" fmla="*/ 6 h 142"/>
                <a:gd name="T72" fmla="*/ 110 w 140"/>
                <a:gd name="T73" fmla="*/ 12 h 142"/>
                <a:gd name="T74" fmla="*/ 119 w 140"/>
                <a:gd name="T75" fmla="*/ 21 h 142"/>
                <a:gd name="T76" fmla="*/ 129 w 140"/>
                <a:gd name="T77" fmla="*/ 32 h 142"/>
                <a:gd name="T78" fmla="*/ 135 w 140"/>
                <a:gd name="T79" fmla="*/ 44 h 142"/>
                <a:gd name="T80" fmla="*/ 139 w 140"/>
                <a:gd name="T81" fmla="*/ 58 h 142"/>
                <a:gd name="T82" fmla="*/ 140 w 140"/>
                <a:gd name="T83" fmla="*/ 64 h 142"/>
                <a:gd name="T84" fmla="*/ 140 w 140"/>
                <a:gd name="T85" fmla="*/ 71 h 142"/>
                <a:gd name="T86" fmla="*/ 140 w 140"/>
                <a:gd name="T87"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0" h="142">
                  <a:moveTo>
                    <a:pt x="140" y="71"/>
                  </a:moveTo>
                  <a:lnTo>
                    <a:pt x="140" y="71"/>
                  </a:lnTo>
                  <a:lnTo>
                    <a:pt x="140" y="78"/>
                  </a:lnTo>
                  <a:lnTo>
                    <a:pt x="139" y="86"/>
                  </a:lnTo>
                  <a:lnTo>
                    <a:pt x="135" y="99"/>
                  </a:lnTo>
                  <a:lnTo>
                    <a:pt x="129" y="110"/>
                  </a:lnTo>
                  <a:lnTo>
                    <a:pt x="119" y="121"/>
                  </a:lnTo>
                  <a:lnTo>
                    <a:pt x="110" y="129"/>
                  </a:lnTo>
                  <a:lnTo>
                    <a:pt x="97" y="136"/>
                  </a:lnTo>
                  <a:lnTo>
                    <a:pt x="84" y="140"/>
                  </a:lnTo>
                  <a:lnTo>
                    <a:pt x="78" y="142"/>
                  </a:lnTo>
                  <a:lnTo>
                    <a:pt x="71" y="142"/>
                  </a:lnTo>
                  <a:lnTo>
                    <a:pt x="71" y="142"/>
                  </a:lnTo>
                  <a:lnTo>
                    <a:pt x="56" y="140"/>
                  </a:lnTo>
                  <a:lnTo>
                    <a:pt x="43" y="136"/>
                  </a:lnTo>
                  <a:lnTo>
                    <a:pt x="30" y="129"/>
                  </a:lnTo>
                  <a:lnTo>
                    <a:pt x="21" y="121"/>
                  </a:lnTo>
                  <a:lnTo>
                    <a:pt x="12" y="110"/>
                  </a:lnTo>
                  <a:lnTo>
                    <a:pt x="5" y="99"/>
                  </a:lnTo>
                  <a:lnTo>
                    <a:pt x="1" y="86"/>
                  </a:lnTo>
                  <a:lnTo>
                    <a:pt x="0" y="78"/>
                  </a:lnTo>
                  <a:lnTo>
                    <a:pt x="0" y="71"/>
                  </a:lnTo>
                  <a:lnTo>
                    <a:pt x="0" y="71"/>
                  </a:lnTo>
                  <a:lnTo>
                    <a:pt x="0" y="64"/>
                  </a:lnTo>
                  <a:lnTo>
                    <a:pt x="1" y="58"/>
                  </a:lnTo>
                  <a:lnTo>
                    <a:pt x="5" y="44"/>
                  </a:lnTo>
                  <a:lnTo>
                    <a:pt x="12" y="32"/>
                  </a:lnTo>
                  <a:lnTo>
                    <a:pt x="21" y="21"/>
                  </a:lnTo>
                  <a:lnTo>
                    <a:pt x="30" y="12"/>
                  </a:lnTo>
                  <a:lnTo>
                    <a:pt x="43" y="6"/>
                  </a:lnTo>
                  <a:lnTo>
                    <a:pt x="56" y="3"/>
                  </a:lnTo>
                  <a:lnTo>
                    <a:pt x="71" y="0"/>
                  </a:lnTo>
                  <a:lnTo>
                    <a:pt x="71" y="0"/>
                  </a:lnTo>
                  <a:lnTo>
                    <a:pt x="78" y="1"/>
                  </a:lnTo>
                  <a:lnTo>
                    <a:pt x="84" y="3"/>
                  </a:lnTo>
                  <a:lnTo>
                    <a:pt x="97" y="6"/>
                  </a:lnTo>
                  <a:lnTo>
                    <a:pt x="110" y="12"/>
                  </a:lnTo>
                  <a:lnTo>
                    <a:pt x="119" y="21"/>
                  </a:lnTo>
                  <a:lnTo>
                    <a:pt x="129" y="32"/>
                  </a:lnTo>
                  <a:lnTo>
                    <a:pt x="135" y="44"/>
                  </a:lnTo>
                  <a:lnTo>
                    <a:pt x="139" y="58"/>
                  </a:lnTo>
                  <a:lnTo>
                    <a:pt x="140" y="64"/>
                  </a:lnTo>
                  <a:lnTo>
                    <a:pt x="140" y="71"/>
                  </a:lnTo>
                  <a:lnTo>
                    <a:pt x="140" y="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25" name="Freeform 1570"/>
            <p:cNvSpPr>
              <a:spLocks/>
            </p:cNvSpPr>
            <p:nvPr/>
          </p:nvSpPr>
          <p:spPr bwMode="auto">
            <a:xfrm>
              <a:off x="6262074" y="-730441"/>
              <a:ext cx="32254" cy="32254"/>
            </a:xfrm>
            <a:custGeom>
              <a:avLst/>
              <a:gdLst>
                <a:gd name="T0" fmla="*/ 84 w 84"/>
                <a:gd name="T1" fmla="*/ 43 h 85"/>
                <a:gd name="T2" fmla="*/ 84 w 84"/>
                <a:gd name="T3" fmla="*/ 43 h 85"/>
                <a:gd name="T4" fmla="*/ 84 w 84"/>
                <a:gd name="T5" fmla="*/ 52 h 85"/>
                <a:gd name="T6" fmla="*/ 80 w 84"/>
                <a:gd name="T7" fmla="*/ 59 h 85"/>
                <a:gd name="T8" fmla="*/ 76 w 84"/>
                <a:gd name="T9" fmla="*/ 66 h 85"/>
                <a:gd name="T10" fmla="*/ 72 w 84"/>
                <a:gd name="T11" fmla="*/ 72 h 85"/>
                <a:gd name="T12" fmla="*/ 65 w 84"/>
                <a:gd name="T13" fmla="*/ 77 h 85"/>
                <a:gd name="T14" fmla="*/ 58 w 84"/>
                <a:gd name="T15" fmla="*/ 82 h 85"/>
                <a:gd name="T16" fmla="*/ 50 w 84"/>
                <a:gd name="T17" fmla="*/ 85 h 85"/>
                <a:gd name="T18" fmla="*/ 41 w 84"/>
                <a:gd name="T19" fmla="*/ 85 h 85"/>
                <a:gd name="T20" fmla="*/ 41 w 84"/>
                <a:gd name="T21" fmla="*/ 85 h 85"/>
                <a:gd name="T22" fmla="*/ 33 w 84"/>
                <a:gd name="T23" fmla="*/ 85 h 85"/>
                <a:gd name="T24" fmla="*/ 25 w 84"/>
                <a:gd name="T25" fmla="*/ 82 h 85"/>
                <a:gd name="T26" fmla="*/ 18 w 84"/>
                <a:gd name="T27" fmla="*/ 77 h 85"/>
                <a:gd name="T28" fmla="*/ 12 w 84"/>
                <a:gd name="T29" fmla="*/ 72 h 85"/>
                <a:gd name="T30" fmla="*/ 7 w 84"/>
                <a:gd name="T31" fmla="*/ 66 h 85"/>
                <a:gd name="T32" fmla="*/ 2 w 84"/>
                <a:gd name="T33" fmla="*/ 59 h 85"/>
                <a:gd name="T34" fmla="*/ 0 w 84"/>
                <a:gd name="T35" fmla="*/ 52 h 85"/>
                <a:gd name="T36" fmla="*/ 0 w 84"/>
                <a:gd name="T37" fmla="*/ 43 h 85"/>
                <a:gd name="T38" fmla="*/ 0 w 84"/>
                <a:gd name="T39" fmla="*/ 43 h 85"/>
                <a:gd name="T40" fmla="*/ 0 w 84"/>
                <a:gd name="T41" fmla="*/ 35 h 85"/>
                <a:gd name="T42" fmla="*/ 2 w 84"/>
                <a:gd name="T43" fmla="*/ 26 h 85"/>
                <a:gd name="T44" fmla="*/ 7 w 84"/>
                <a:gd name="T45" fmla="*/ 19 h 85"/>
                <a:gd name="T46" fmla="*/ 12 w 84"/>
                <a:gd name="T47" fmla="*/ 13 h 85"/>
                <a:gd name="T48" fmla="*/ 18 w 84"/>
                <a:gd name="T49" fmla="*/ 8 h 85"/>
                <a:gd name="T50" fmla="*/ 25 w 84"/>
                <a:gd name="T51" fmla="*/ 4 h 85"/>
                <a:gd name="T52" fmla="*/ 33 w 84"/>
                <a:gd name="T53" fmla="*/ 2 h 85"/>
                <a:gd name="T54" fmla="*/ 41 w 84"/>
                <a:gd name="T55" fmla="*/ 0 h 85"/>
                <a:gd name="T56" fmla="*/ 41 w 84"/>
                <a:gd name="T57" fmla="*/ 0 h 85"/>
                <a:gd name="T58" fmla="*/ 50 w 84"/>
                <a:gd name="T59" fmla="*/ 2 h 85"/>
                <a:gd name="T60" fmla="*/ 58 w 84"/>
                <a:gd name="T61" fmla="*/ 4 h 85"/>
                <a:gd name="T62" fmla="*/ 65 w 84"/>
                <a:gd name="T63" fmla="*/ 8 h 85"/>
                <a:gd name="T64" fmla="*/ 72 w 84"/>
                <a:gd name="T65" fmla="*/ 13 h 85"/>
                <a:gd name="T66" fmla="*/ 76 w 84"/>
                <a:gd name="T67" fmla="*/ 19 h 85"/>
                <a:gd name="T68" fmla="*/ 80 w 84"/>
                <a:gd name="T69" fmla="*/ 26 h 85"/>
                <a:gd name="T70" fmla="*/ 84 w 84"/>
                <a:gd name="T71" fmla="*/ 35 h 85"/>
                <a:gd name="T72" fmla="*/ 84 w 84"/>
                <a:gd name="T73" fmla="*/ 43 h 85"/>
                <a:gd name="T74" fmla="*/ 84 w 84"/>
                <a:gd name="T75"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84" y="43"/>
                  </a:moveTo>
                  <a:lnTo>
                    <a:pt x="84" y="43"/>
                  </a:lnTo>
                  <a:lnTo>
                    <a:pt x="84" y="52"/>
                  </a:lnTo>
                  <a:lnTo>
                    <a:pt x="80" y="59"/>
                  </a:lnTo>
                  <a:lnTo>
                    <a:pt x="76" y="66"/>
                  </a:lnTo>
                  <a:lnTo>
                    <a:pt x="72" y="72"/>
                  </a:lnTo>
                  <a:lnTo>
                    <a:pt x="65" y="77"/>
                  </a:lnTo>
                  <a:lnTo>
                    <a:pt x="58" y="82"/>
                  </a:lnTo>
                  <a:lnTo>
                    <a:pt x="50" y="85"/>
                  </a:lnTo>
                  <a:lnTo>
                    <a:pt x="41" y="85"/>
                  </a:lnTo>
                  <a:lnTo>
                    <a:pt x="41" y="85"/>
                  </a:lnTo>
                  <a:lnTo>
                    <a:pt x="33" y="85"/>
                  </a:lnTo>
                  <a:lnTo>
                    <a:pt x="25" y="82"/>
                  </a:lnTo>
                  <a:lnTo>
                    <a:pt x="18" y="77"/>
                  </a:lnTo>
                  <a:lnTo>
                    <a:pt x="12" y="72"/>
                  </a:lnTo>
                  <a:lnTo>
                    <a:pt x="7" y="66"/>
                  </a:lnTo>
                  <a:lnTo>
                    <a:pt x="2" y="59"/>
                  </a:lnTo>
                  <a:lnTo>
                    <a:pt x="0" y="52"/>
                  </a:lnTo>
                  <a:lnTo>
                    <a:pt x="0" y="43"/>
                  </a:lnTo>
                  <a:lnTo>
                    <a:pt x="0" y="43"/>
                  </a:lnTo>
                  <a:lnTo>
                    <a:pt x="0" y="35"/>
                  </a:lnTo>
                  <a:lnTo>
                    <a:pt x="2" y="26"/>
                  </a:lnTo>
                  <a:lnTo>
                    <a:pt x="7" y="19"/>
                  </a:lnTo>
                  <a:lnTo>
                    <a:pt x="12" y="13"/>
                  </a:lnTo>
                  <a:lnTo>
                    <a:pt x="18" y="8"/>
                  </a:lnTo>
                  <a:lnTo>
                    <a:pt x="25" y="4"/>
                  </a:lnTo>
                  <a:lnTo>
                    <a:pt x="33" y="2"/>
                  </a:lnTo>
                  <a:lnTo>
                    <a:pt x="41" y="0"/>
                  </a:lnTo>
                  <a:lnTo>
                    <a:pt x="41" y="0"/>
                  </a:lnTo>
                  <a:lnTo>
                    <a:pt x="50" y="2"/>
                  </a:lnTo>
                  <a:lnTo>
                    <a:pt x="58" y="4"/>
                  </a:lnTo>
                  <a:lnTo>
                    <a:pt x="65" y="8"/>
                  </a:lnTo>
                  <a:lnTo>
                    <a:pt x="72" y="13"/>
                  </a:lnTo>
                  <a:lnTo>
                    <a:pt x="76" y="19"/>
                  </a:lnTo>
                  <a:lnTo>
                    <a:pt x="80" y="26"/>
                  </a:lnTo>
                  <a:lnTo>
                    <a:pt x="84" y="35"/>
                  </a:lnTo>
                  <a:lnTo>
                    <a:pt x="84" y="43"/>
                  </a:lnTo>
                  <a:lnTo>
                    <a:pt x="84"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37" name="Freeform 1582"/>
            <p:cNvSpPr>
              <a:spLocks/>
            </p:cNvSpPr>
            <p:nvPr/>
          </p:nvSpPr>
          <p:spPr bwMode="auto">
            <a:xfrm>
              <a:off x="4687356" y="-1252185"/>
              <a:ext cx="631784" cy="64507"/>
            </a:xfrm>
            <a:custGeom>
              <a:avLst/>
              <a:gdLst>
                <a:gd name="T0" fmla="*/ 1667 w 1667"/>
                <a:gd name="T1" fmla="*/ 88 h 174"/>
                <a:gd name="T2" fmla="*/ 1666 w 1667"/>
                <a:gd name="T3" fmla="*/ 70 h 174"/>
                <a:gd name="T4" fmla="*/ 1661 w 1667"/>
                <a:gd name="T5" fmla="*/ 54 h 174"/>
                <a:gd name="T6" fmla="*/ 1653 w 1667"/>
                <a:gd name="T7" fmla="*/ 39 h 174"/>
                <a:gd name="T8" fmla="*/ 1642 w 1667"/>
                <a:gd name="T9" fmla="*/ 26 h 174"/>
                <a:gd name="T10" fmla="*/ 1630 w 1667"/>
                <a:gd name="T11" fmla="*/ 15 h 174"/>
                <a:gd name="T12" fmla="*/ 1615 w 1667"/>
                <a:gd name="T13" fmla="*/ 7 h 174"/>
                <a:gd name="T14" fmla="*/ 1598 w 1667"/>
                <a:gd name="T15" fmla="*/ 3 h 174"/>
                <a:gd name="T16" fmla="*/ 1581 w 1667"/>
                <a:gd name="T17" fmla="*/ 0 h 174"/>
                <a:gd name="T18" fmla="*/ 86 w 1667"/>
                <a:gd name="T19" fmla="*/ 0 h 174"/>
                <a:gd name="T20" fmla="*/ 69 w 1667"/>
                <a:gd name="T21" fmla="*/ 3 h 174"/>
                <a:gd name="T22" fmla="*/ 52 w 1667"/>
                <a:gd name="T23" fmla="*/ 7 h 174"/>
                <a:gd name="T24" fmla="*/ 37 w 1667"/>
                <a:gd name="T25" fmla="*/ 15 h 174"/>
                <a:gd name="T26" fmla="*/ 25 w 1667"/>
                <a:gd name="T27" fmla="*/ 26 h 174"/>
                <a:gd name="T28" fmla="*/ 14 w 1667"/>
                <a:gd name="T29" fmla="*/ 39 h 174"/>
                <a:gd name="T30" fmla="*/ 6 w 1667"/>
                <a:gd name="T31" fmla="*/ 54 h 174"/>
                <a:gd name="T32" fmla="*/ 1 w 1667"/>
                <a:gd name="T33" fmla="*/ 70 h 174"/>
                <a:gd name="T34" fmla="*/ 0 w 1667"/>
                <a:gd name="T35" fmla="*/ 88 h 174"/>
                <a:gd name="T36" fmla="*/ 0 w 1667"/>
                <a:gd name="T37" fmla="*/ 96 h 174"/>
                <a:gd name="T38" fmla="*/ 3 w 1667"/>
                <a:gd name="T39" fmla="*/ 113 h 174"/>
                <a:gd name="T40" fmla="*/ 9 w 1667"/>
                <a:gd name="T41" fmla="*/ 129 h 174"/>
                <a:gd name="T42" fmla="*/ 19 w 1667"/>
                <a:gd name="T43" fmla="*/ 143 h 174"/>
                <a:gd name="T44" fmla="*/ 31 w 1667"/>
                <a:gd name="T45" fmla="*/ 155 h 174"/>
                <a:gd name="T46" fmla="*/ 45 w 1667"/>
                <a:gd name="T47" fmla="*/ 163 h 174"/>
                <a:gd name="T48" fmla="*/ 61 w 1667"/>
                <a:gd name="T49" fmla="*/ 171 h 174"/>
                <a:gd name="T50" fmla="*/ 78 w 1667"/>
                <a:gd name="T51" fmla="*/ 174 h 174"/>
                <a:gd name="T52" fmla="*/ 1581 w 1667"/>
                <a:gd name="T53" fmla="*/ 174 h 174"/>
                <a:gd name="T54" fmla="*/ 1589 w 1667"/>
                <a:gd name="T55" fmla="*/ 174 h 174"/>
                <a:gd name="T56" fmla="*/ 1607 w 1667"/>
                <a:gd name="T57" fmla="*/ 171 h 174"/>
                <a:gd name="T58" fmla="*/ 1622 w 1667"/>
                <a:gd name="T59" fmla="*/ 163 h 174"/>
                <a:gd name="T60" fmla="*/ 1636 w 1667"/>
                <a:gd name="T61" fmla="*/ 155 h 174"/>
                <a:gd name="T62" fmla="*/ 1648 w 1667"/>
                <a:gd name="T63" fmla="*/ 143 h 174"/>
                <a:gd name="T64" fmla="*/ 1658 w 1667"/>
                <a:gd name="T65" fmla="*/ 129 h 174"/>
                <a:gd name="T66" fmla="*/ 1664 w 1667"/>
                <a:gd name="T67" fmla="*/ 113 h 174"/>
                <a:gd name="T68" fmla="*/ 1667 w 1667"/>
                <a:gd name="T69" fmla="*/ 96 h 174"/>
                <a:gd name="T70" fmla="*/ 1667 w 1667"/>
                <a:gd name="T71" fmla="*/ 8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67" h="174">
                  <a:moveTo>
                    <a:pt x="1667" y="88"/>
                  </a:moveTo>
                  <a:lnTo>
                    <a:pt x="1667" y="88"/>
                  </a:lnTo>
                  <a:lnTo>
                    <a:pt x="1667" y="78"/>
                  </a:lnTo>
                  <a:lnTo>
                    <a:pt x="1666" y="70"/>
                  </a:lnTo>
                  <a:lnTo>
                    <a:pt x="1664" y="61"/>
                  </a:lnTo>
                  <a:lnTo>
                    <a:pt x="1661" y="54"/>
                  </a:lnTo>
                  <a:lnTo>
                    <a:pt x="1658" y="46"/>
                  </a:lnTo>
                  <a:lnTo>
                    <a:pt x="1653" y="39"/>
                  </a:lnTo>
                  <a:lnTo>
                    <a:pt x="1648" y="32"/>
                  </a:lnTo>
                  <a:lnTo>
                    <a:pt x="1642" y="26"/>
                  </a:lnTo>
                  <a:lnTo>
                    <a:pt x="1636" y="20"/>
                  </a:lnTo>
                  <a:lnTo>
                    <a:pt x="1630" y="15"/>
                  </a:lnTo>
                  <a:lnTo>
                    <a:pt x="1622" y="11"/>
                  </a:lnTo>
                  <a:lnTo>
                    <a:pt x="1615" y="7"/>
                  </a:lnTo>
                  <a:lnTo>
                    <a:pt x="1607" y="4"/>
                  </a:lnTo>
                  <a:lnTo>
                    <a:pt x="1598" y="3"/>
                  </a:lnTo>
                  <a:lnTo>
                    <a:pt x="1589" y="1"/>
                  </a:lnTo>
                  <a:lnTo>
                    <a:pt x="1581" y="0"/>
                  </a:lnTo>
                  <a:lnTo>
                    <a:pt x="86" y="0"/>
                  </a:lnTo>
                  <a:lnTo>
                    <a:pt x="86" y="0"/>
                  </a:lnTo>
                  <a:lnTo>
                    <a:pt x="78" y="1"/>
                  </a:lnTo>
                  <a:lnTo>
                    <a:pt x="69" y="3"/>
                  </a:lnTo>
                  <a:lnTo>
                    <a:pt x="61" y="4"/>
                  </a:lnTo>
                  <a:lnTo>
                    <a:pt x="52" y="7"/>
                  </a:lnTo>
                  <a:lnTo>
                    <a:pt x="45" y="11"/>
                  </a:lnTo>
                  <a:lnTo>
                    <a:pt x="37" y="15"/>
                  </a:lnTo>
                  <a:lnTo>
                    <a:pt x="31" y="20"/>
                  </a:lnTo>
                  <a:lnTo>
                    <a:pt x="25" y="26"/>
                  </a:lnTo>
                  <a:lnTo>
                    <a:pt x="19" y="32"/>
                  </a:lnTo>
                  <a:lnTo>
                    <a:pt x="14" y="39"/>
                  </a:lnTo>
                  <a:lnTo>
                    <a:pt x="9" y="46"/>
                  </a:lnTo>
                  <a:lnTo>
                    <a:pt x="6" y="54"/>
                  </a:lnTo>
                  <a:lnTo>
                    <a:pt x="3" y="61"/>
                  </a:lnTo>
                  <a:lnTo>
                    <a:pt x="1" y="70"/>
                  </a:lnTo>
                  <a:lnTo>
                    <a:pt x="0" y="78"/>
                  </a:lnTo>
                  <a:lnTo>
                    <a:pt x="0" y="88"/>
                  </a:lnTo>
                  <a:lnTo>
                    <a:pt x="0" y="88"/>
                  </a:lnTo>
                  <a:lnTo>
                    <a:pt x="0" y="96"/>
                  </a:lnTo>
                  <a:lnTo>
                    <a:pt x="1" y="105"/>
                  </a:lnTo>
                  <a:lnTo>
                    <a:pt x="3" y="113"/>
                  </a:lnTo>
                  <a:lnTo>
                    <a:pt x="6" y="121"/>
                  </a:lnTo>
                  <a:lnTo>
                    <a:pt x="9" y="129"/>
                  </a:lnTo>
                  <a:lnTo>
                    <a:pt x="14" y="137"/>
                  </a:lnTo>
                  <a:lnTo>
                    <a:pt x="19" y="143"/>
                  </a:lnTo>
                  <a:lnTo>
                    <a:pt x="25" y="149"/>
                  </a:lnTo>
                  <a:lnTo>
                    <a:pt x="31" y="155"/>
                  </a:lnTo>
                  <a:lnTo>
                    <a:pt x="37" y="160"/>
                  </a:lnTo>
                  <a:lnTo>
                    <a:pt x="45" y="163"/>
                  </a:lnTo>
                  <a:lnTo>
                    <a:pt x="52" y="167"/>
                  </a:lnTo>
                  <a:lnTo>
                    <a:pt x="61" y="171"/>
                  </a:lnTo>
                  <a:lnTo>
                    <a:pt x="69" y="173"/>
                  </a:lnTo>
                  <a:lnTo>
                    <a:pt x="78" y="174"/>
                  </a:lnTo>
                  <a:lnTo>
                    <a:pt x="86" y="174"/>
                  </a:lnTo>
                  <a:lnTo>
                    <a:pt x="1581" y="174"/>
                  </a:lnTo>
                  <a:lnTo>
                    <a:pt x="1581" y="174"/>
                  </a:lnTo>
                  <a:lnTo>
                    <a:pt x="1589" y="174"/>
                  </a:lnTo>
                  <a:lnTo>
                    <a:pt x="1598" y="173"/>
                  </a:lnTo>
                  <a:lnTo>
                    <a:pt x="1607" y="171"/>
                  </a:lnTo>
                  <a:lnTo>
                    <a:pt x="1615" y="167"/>
                  </a:lnTo>
                  <a:lnTo>
                    <a:pt x="1622" y="163"/>
                  </a:lnTo>
                  <a:lnTo>
                    <a:pt x="1630" y="160"/>
                  </a:lnTo>
                  <a:lnTo>
                    <a:pt x="1636" y="155"/>
                  </a:lnTo>
                  <a:lnTo>
                    <a:pt x="1642" y="149"/>
                  </a:lnTo>
                  <a:lnTo>
                    <a:pt x="1648" y="143"/>
                  </a:lnTo>
                  <a:lnTo>
                    <a:pt x="1653" y="137"/>
                  </a:lnTo>
                  <a:lnTo>
                    <a:pt x="1658" y="129"/>
                  </a:lnTo>
                  <a:lnTo>
                    <a:pt x="1661" y="121"/>
                  </a:lnTo>
                  <a:lnTo>
                    <a:pt x="1664" y="113"/>
                  </a:lnTo>
                  <a:lnTo>
                    <a:pt x="1666" y="105"/>
                  </a:lnTo>
                  <a:lnTo>
                    <a:pt x="1667" y="96"/>
                  </a:lnTo>
                  <a:lnTo>
                    <a:pt x="1667" y="88"/>
                  </a:lnTo>
                  <a:lnTo>
                    <a:pt x="1667" y="88"/>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38" name="Freeform 1583"/>
            <p:cNvSpPr>
              <a:spLocks/>
            </p:cNvSpPr>
            <p:nvPr/>
          </p:nvSpPr>
          <p:spPr bwMode="auto">
            <a:xfrm>
              <a:off x="4687356" y="-1252185"/>
              <a:ext cx="631784" cy="32254"/>
            </a:xfrm>
            <a:custGeom>
              <a:avLst/>
              <a:gdLst>
                <a:gd name="T0" fmla="*/ 1581 w 1667"/>
                <a:gd name="T1" fmla="*/ 0 h 88"/>
                <a:gd name="T2" fmla="*/ 86 w 1667"/>
                <a:gd name="T3" fmla="*/ 0 h 88"/>
                <a:gd name="T4" fmla="*/ 86 w 1667"/>
                <a:gd name="T5" fmla="*/ 0 h 88"/>
                <a:gd name="T6" fmla="*/ 78 w 1667"/>
                <a:gd name="T7" fmla="*/ 1 h 88"/>
                <a:gd name="T8" fmla="*/ 69 w 1667"/>
                <a:gd name="T9" fmla="*/ 3 h 88"/>
                <a:gd name="T10" fmla="*/ 61 w 1667"/>
                <a:gd name="T11" fmla="*/ 4 h 88"/>
                <a:gd name="T12" fmla="*/ 52 w 1667"/>
                <a:gd name="T13" fmla="*/ 7 h 88"/>
                <a:gd name="T14" fmla="*/ 45 w 1667"/>
                <a:gd name="T15" fmla="*/ 11 h 88"/>
                <a:gd name="T16" fmla="*/ 37 w 1667"/>
                <a:gd name="T17" fmla="*/ 15 h 88"/>
                <a:gd name="T18" fmla="*/ 31 w 1667"/>
                <a:gd name="T19" fmla="*/ 20 h 88"/>
                <a:gd name="T20" fmla="*/ 25 w 1667"/>
                <a:gd name="T21" fmla="*/ 26 h 88"/>
                <a:gd name="T22" fmla="*/ 19 w 1667"/>
                <a:gd name="T23" fmla="*/ 32 h 88"/>
                <a:gd name="T24" fmla="*/ 14 w 1667"/>
                <a:gd name="T25" fmla="*/ 39 h 88"/>
                <a:gd name="T26" fmla="*/ 9 w 1667"/>
                <a:gd name="T27" fmla="*/ 46 h 88"/>
                <a:gd name="T28" fmla="*/ 6 w 1667"/>
                <a:gd name="T29" fmla="*/ 54 h 88"/>
                <a:gd name="T30" fmla="*/ 3 w 1667"/>
                <a:gd name="T31" fmla="*/ 61 h 88"/>
                <a:gd name="T32" fmla="*/ 1 w 1667"/>
                <a:gd name="T33" fmla="*/ 70 h 88"/>
                <a:gd name="T34" fmla="*/ 0 w 1667"/>
                <a:gd name="T35" fmla="*/ 78 h 88"/>
                <a:gd name="T36" fmla="*/ 0 w 1667"/>
                <a:gd name="T37" fmla="*/ 88 h 88"/>
                <a:gd name="T38" fmla="*/ 1667 w 1667"/>
                <a:gd name="T39" fmla="*/ 88 h 88"/>
                <a:gd name="T40" fmla="*/ 1667 w 1667"/>
                <a:gd name="T41" fmla="*/ 88 h 88"/>
                <a:gd name="T42" fmla="*/ 1667 w 1667"/>
                <a:gd name="T43" fmla="*/ 78 h 88"/>
                <a:gd name="T44" fmla="*/ 1666 w 1667"/>
                <a:gd name="T45" fmla="*/ 70 h 88"/>
                <a:gd name="T46" fmla="*/ 1664 w 1667"/>
                <a:gd name="T47" fmla="*/ 61 h 88"/>
                <a:gd name="T48" fmla="*/ 1661 w 1667"/>
                <a:gd name="T49" fmla="*/ 54 h 88"/>
                <a:gd name="T50" fmla="*/ 1658 w 1667"/>
                <a:gd name="T51" fmla="*/ 46 h 88"/>
                <a:gd name="T52" fmla="*/ 1653 w 1667"/>
                <a:gd name="T53" fmla="*/ 39 h 88"/>
                <a:gd name="T54" fmla="*/ 1648 w 1667"/>
                <a:gd name="T55" fmla="*/ 32 h 88"/>
                <a:gd name="T56" fmla="*/ 1642 w 1667"/>
                <a:gd name="T57" fmla="*/ 26 h 88"/>
                <a:gd name="T58" fmla="*/ 1636 w 1667"/>
                <a:gd name="T59" fmla="*/ 20 h 88"/>
                <a:gd name="T60" fmla="*/ 1630 w 1667"/>
                <a:gd name="T61" fmla="*/ 15 h 88"/>
                <a:gd name="T62" fmla="*/ 1622 w 1667"/>
                <a:gd name="T63" fmla="*/ 11 h 88"/>
                <a:gd name="T64" fmla="*/ 1615 w 1667"/>
                <a:gd name="T65" fmla="*/ 7 h 88"/>
                <a:gd name="T66" fmla="*/ 1607 w 1667"/>
                <a:gd name="T67" fmla="*/ 4 h 88"/>
                <a:gd name="T68" fmla="*/ 1598 w 1667"/>
                <a:gd name="T69" fmla="*/ 3 h 88"/>
                <a:gd name="T70" fmla="*/ 1589 w 1667"/>
                <a:gd name="T71" fmla="*/ 1 h 88"/>
                <a:gd name="T72" fmla="*/ 1581 w 1667"/>
                <a:gd name="T73" fmla="*/ 0 h 88"/>
                <a:gd name="T74" fmla="*/ 1581 w 1667"/>
                <a:gd name="T75"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67" h="88">
                  <a:moveTo>
                    <a:pt x="1581" y="0"/>
                  </a:moveTo>
                  <a:lnTo>
                    <a:pt x="86" y="0"/>
                  </a:lnTo>
                  <a:lnTo>
                    <a:pt x="86" y="0"/>
                  </a:lnTo>
                  <a:lnTo>
                    <a:pt x="78" y="1"/>
                  </a:lnTo>
                  <a:lnTo>
                    <a:pt x="69" y="3"/>
                  </a:lnTo>
                  <a:lnTo>
                    <a:pt x="61" y="4"/>
                  </a:lnTo>
                  <a:lnTo>
                    <a:pt x="52" y="7"/>
                  </a:lnTo>
                  <a:lnTo>
                    <a:pt x="45" y="11"/>
                  </a:lnTo>
                  <a:lnTo>
                    <a:pt x="37" y="15"/>
                  </a:lnTo>
                  <a:lnTo>
                    <a:pt x="31" y="20"/>
                  </a:lnTo>
                  <a:lnTo>
                    <a:pt x="25" y="26"/>
                  </a:lnTo>
                  <a:lnTo>
                    <a:pt x="19" y="32"/>
                  </a:lnTo>
                  <a:lnTo>
                    <a:pt x="14" y="39"/>
                  </a:lnTo>
                  <a:lnTo>
                    <a:pt x="9" y="46"/>
                  </a:lnTo>
                  <a:lnTo>
                    <a:pt x="6" y="54"/>
                  </a:lnTo>
                  <a:lnTo>
                    <a:pt x="3" y="61"/>
                  </a:lnTo>
                  <a:lnTo>
                    <a:pt x="1" y="70"/>
                  </a:lnTo>
                  <a:lnTo>
                    <a:pt x="0" y="78"/>
                  </a:lnTo>
                  <a:lnTo>
                    <a:pt x="0" y="88"/>
                  </a:lnTo>
                  <a:lnTo>
                    <a:pt x="1667" y="88"/>
                  </a:lnTo>
                  <a:lnTo>
                    <a:pt x="1667" y="88"/>
                  </a:lnTo>
                  <a:lnTo>
                    <a:pt x="1667" y="78"/>
                  </a:lnTo>
                  <a:lnTo>
                    <a:pt x="1666" y="70"/>
                  </a:lnTo>
                  <a:lnTo>
                    <a:pt x="1664" y="61"/>
                  </a:lnTo>
                  <a:lnTo>
                    <a:pt x="1661" y="54"/>
                  </a:lnTo>
                  <a:lnTo>
                    <a:pt x="1658" y="46"/>
                  </a:lnTo>
                  <a:lnTo>
                    <a:pt x="1653" y="39"/>
                  </a:lnTo>
                  <a:lnTo>
                    <a:pt x="1648" y="32"/>
                  </a:lnTo>
                  <a:lnTo>
                    <a:pt x="1642" y="26"/>
                  </a:lnTo>
                  <a:lnTo>
                    <a:pt x="1636" y="20"/>
                  </a:lnTo>
                  <a:lnTo>
                    <a:pt x="1630" y="15"/>
                  </a:lnTo>
                  <a:lnTo>
                    <a:pt x="1622" y="11"/>
                  </a:lnTo>
                  <a:lnTo>
                    <a:pt x="1615" y="7"/>
                  </a:lnTo>
                  <a:lnTo>
                    <a:pt x="1607" y="4"/>
                  </a:lnTo>
                  <a:lnTo>
                    <a:pt x="1598" y="3"/>
                  </a:lnTo>
                  <a:lnTo>
                    <a:pt x="1589" y="1"/>
                  </a:lnTo>
                  <a:lnTo>
                    <a:pt x="1581" y="0"/>
                  </a:lnTo>
                  <a:lnTo>
                    <a:pt x="1581"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39" name="Rectangle 1584"/>
            <p:cNvSpPr>
              <a:spLocks noChangeArrowheads="1"/>
            </p:cNvSpPr>
            <p:nvPr/>
          </p:nvSpPr>
          <p:spPr bwMode="auto">
            <a:xfrm>
              <a:off x="4784115" y="-1117480"/>
              <a:ext cx="286485" cy="434472"/>
            </a:xfrm>
            <a:prstGeom prst="rect">
              <a:avLst/>
            </a:prstGeom>
            <a:solidFill>
              <a:srgbClr val="3469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0" name="Freeform 1585"/>
            <p:cNvSpPr>
              <a:spLocks/>
            </p:cNvSpPr>
            <p:nvPr/>
          </p:nvSpPr>
          <p:spPr bwMode="auto">
            <a:xfrm>
              <a:off x="4877083" y="-1735986"/>
              <a:ext cx="98658" cy="185931"/>
            </a:xfrm>
            <a:custGeom>
              <a:avLst/>
              <a:gdLst>
                <a:gd name="T0" fmla="*/ 131 w 260"/>
                <a:gd name="T1" fmla="*/ 0 h 489"/>
                <a:gd name="T2" fmla="*/ 0 w 260"/>
                <a:gd name="T3" fmla="*/ 0 h 489"/>
                <a:gd name="T4" fmla="*/ 131 w 260"/>
                <a:gd name="T5" fmla="*/ 489 h 489"/>
                <a:gd name="T6" fmla="*/ 260 w 260"/>
                <a:gd name="T7" fmla="*/ 0 h 489"/>
                <a:gd name="T8" fmla="*/ 131 w 260"/>
                <a:gd name="T9" fmla="*/ 0 h 489"/>
              </a:gdLst>
              <a:ahLst/>
              <a:cxnLst>
                <a:cxn ang="0">
                  <a:pos x="T0" y="T1"/>
                </a:cxn>
                <a:cxn ang="0">
                  <a:pos x="T2" y="T3"/>
                </a:cxn>
                <a:cxn ang="0">
                  <a:pos x="T4" y="T5"/>
                </a:cxn>
                <a:cxn ang="0">
                  <a:pos x="T6" y="T7"/>
                </a:cxn>
                <a:cxn ang="0">
                  <a:pos x="T8" y="T9"/>
                </a:cxn>
              </a:cxnLst>
              <a:rect l="0" t="0" r="r" b="b"/>
              <a:pathLst>
                <a:path w="260" h="489">
                  <a:moveTo>
                    <a:pt x="131" y="0"/>
                  </a:moveTo>
                  <a:lnTo>
                    <a:pt x="0" y="0"/>
                  </a:lnTo>
                  <a:lnTo>
                    <a:pt x="131" y="489"/>
                  </a:lnTo>
                  <a:lnTo>
                    <a:pt x="260" y="0"/>
                  </a:lnTo>
                  <a:lnTo>
                    <a:pt x="131" y="0"/>
                  </a:lnTo>
                  <a:close/>
                </a:path>
              </a:pathLst>
            </a:custGeom>
            <a:solidFill>
              <a:srgbClr val="7B65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1" name="Freeform 1586"/>
            <p:cNvSpPr>
              <a:spLocks/>
            </p:cNvSpPr>
            <p:nvPr/>
          </p:nvSpPr>
          <p:spPr bwMode="auto">
            <a:xfrm>
              <a:off x="4877083" y="-1550054"/>
              <a:ext cx="98658" cy="184034"/>
            </a:xfrm>
            <a:custGeom>
              <a:avLst/>
              <a:gdLst>
                <a:gd name="T0" fmla="*/ 131 w 260"/>
                <a:gd name="T1" fmla="*/ 488 h 488"/>
                <a:gd name="T2" fmla="*/ 260 w 260"/>
                <a:gd name="T3" fmla="*/ 488 h 488"/>
                <a:gd name="T4" fmla="*/ 131 w 260"/>
                <a:gd name="T5" fmla="*/ 0 h 488"/>
                <a:gd name="T6" fmla="*/ 0 w 260"/>
                <a:gd name="T7" fmla="*/ 488 h 488"/>
                <a:gd name="T8" fmla="*/ 131 w 260"/>
                <a:gd name="T9" fmla="*/ 488 h 488"/>
              </a:gdLst>
              <a:ahLst/>
              <a:cxnLst>
                <a:cxn ang="0">
                  <a:pos x="T0" y="T1"/>
                </a:cxn>
                <a:cxn ang="0">
                  <a:pos x="T2" y="T3"/>
                </a:cxn>
                <a:cxn ang="0">
                  <a:pos x="T4" y="T5"/>
                </a:cxn>
                <a:cxn ang="0">
                  <a:pos x="T6" y="T7"/>
                </a:cxn>
                <a:cxn ang="0">
                  <a:pos x="T8" y="T9"/>
                </a:cxn>
              </a:cxnLst>
              <a:rect l="0" t="0" r="r" b="b"/>
              <a:pathLst>
                <a:path w="260" h="488">
                  <a:moveTo>
                    <a:pt x="131" y="488"/>
                  </a:moveTo>
                  <a:lnTo>
                    <a:pt x="260" y="488"/>
                  </a:lnTo>
                  <a:lnTo>
                    <a:pt x="131" y="0"/>
                  </a:lnTo>
                  <a:lnTo>
                    <a:pt x="0" y="488"/>
                  </a:lnTo>
                  <a:lnTo>
                    <a:pt x="131" y="488"/>
                  </a:lnTo>
                  <a:close/>
                </a:path>
              </a:pathLst>
            </a:custGeom>
            <a:solidFill>
              <a:srgbClr val="7B65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2" name="Freeform 1587"/>
            <p:cNvSpPr>
              <a:spLocks/>
            </p:cNvSpPr>
            <p:nvPr/>
          </p:nvSpPr>
          <p:spPr bwMode="auto">
            <a:xfrm>
              <a:off x="4742377" y="-1599382"/>
              <a:ext cx="185931" cy="96760"/>
            </a:xfrm>
            <a:custGeom>
              <a:avLst/>
              <a:gdLst>
                <a:gd name="T0" fmla="*/ 0 w 489"/>
                <a:gd name="T1" fmla="*/ 130 h 259"/>
                <a:gd name="T2" fmla="*/ 0 w 489"/>
                <a:gd name="T3" fmla="*/ 259 h 259"/>
                <a:gd name="T4" fmla="*/ 489 w 489"/>
                <a:gd name="T5" fmla="*/ 130 h 259"/>
                <a:gd name="T6" fmla="*/ 0 w 489"/>
                <a:gd name="T7" fmla="*/ 0 h 259"/>
                <a:gd name="T8" fmla="*/ 0 w 489"/>
                <a:gd name="T9" fmla="*/ 130 h 259"/>
              </a:gdLst>
              <a:ahLst/>
              <a:cxnLst>
                <a:cxn ang="0">
                  <a:pos x="T0" y="T1"/>
                </a:cxn>
                <a:cxn ang="0">
                  <a:pos x="T2" y="T3"/>
                </a:cxn>
                <a:cxn ang="0">
                  <a:pos x="T4" y="T5"/>
                </a:cxn>
                <a:cxn ang="0">
                  <a:pos x="T6" y="T7"/>
                </a:cxn>
                <a:cxn ang="0">
                  <a:pos x="T8" y="T9"/>
                </a:cxn>
              </a:cxnLst>
              <a:rect l="0" t="0" r="r" b="b"/>
              <a:pathLst>
                <a:path w="489" h="259">
                  <a:moveTo>
                    <a:pt x="0" y="130"/>
                  </a:moveTo>
                  <a:lnTo>
                    <a:pt x="0" y="259"/>
                  </a:lnTo>
                  <a:lnTo>
                    <a:pt x="489" y="130"/>
                  </a:lnTo>
                  <a:lnTo>
                    <a:pt x="0" y="0"/>
                  </a:lnTo>
                  <a:lnTo>
                    <a:pt x="0" y="130"/>
                  </a:lnTo>
                  <a:close/>
                </a:path>
              </a:pathLst>
            </a:custGeom>
            <a:solidFill>
              <a:srgbClr val="7B65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3" name="Freeform 1588"/>
            <p:cNvSpPr>
              <a:spLocks/>
            </p:cNvSpPr>
            <p:nvPr/>
          </p:nvSpPr>
          <p:spPr bwMode="auto">
            <a:xfrm>
              <a:off x="4928308" y="-1599382"/>
              <a:ext cx="184034" cy="96760"/>
            </a:xfrm>
            <a:custGeom>
              <a:avLst/>
              <a:gdLst>
                <a:gd name="T0" fmla="*/ 489 w 489"/>
                <a:gd name="T1" fmla="*/ 130 h 259"/>
                <a:gd name="T2" fmla="*/ 489 w 489"/>
                <a:gd name="T3" fmla="*/ 0 h 259"/>
                <a:gd name="T4" fmla="*/ 0 w 489"/>
                <a:gd name="T5" fmla="*/ 130 h 259"/>
                <a:gd name="T6" fmla="*/ 489 w 489"/>
                <a:gd name="T7" fmla="*/ 259 h 259"/>
                <a:gd name="T8" fmla="*/ 489 w 489"/>
                <a:gd name="T9" fmla="*/ 130 h 259"/>
              </a:gdLst>
              <a:ahLst/>
              <a:cxnLst>
                <a:cxn ang="0">
                  <a:pos x="T0" y="T1"/>
                </a:cxn>
                <a:cxn ang="0">
                  <a:pos x="T2" y="T3"/>
                </a:cxn>
                <a:cxn ang="0">
                  <a:pos x="T4" y="T5"/>
                </a:cxn>
                <a:cxn ang="0">
                  <a:pos x="T6" y="T7"/>
                </a:cxn>
                <a:cxn ang="0">
                  <a:pos x="T8" y="T9"/>
                </a:cxn>
              </a:cxnLst>
              <a:rect l="0" t="0" r="r" b="b"/>
              <a:pathLst>
                <a:path w="489" h="259">
                  <a:moveTo>
                    <a:pt x="489" y="130"/>
                  </a:moveTo>
                  <a:lnTo>
                    <a:pt x="489" y="0"/>
                  </a:lnTo>
                  <a:lnTo>
                    <a:pt x="0" y="130"/>
                  </a:lnTo>
                  <a:lnTo>
                    <a:pt x="489" y="259"/>
                  </a:lnTo>
                  <a:lnTo>
                    <a:pt x="489" y="130"/>
                  </a:lnTo>
                  <a:close/>
                </a:path>
              </a:pathLst>
            </a:custGeom>
            <a:solidFill>
              <a:srgbClr val="7B65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4" name="Freeform 1589"/>
            <p:cNvSpPr>
              <a:spLocks/>
            </p:cNvSpPr>
            <p:nvPr/>
          </p:nvSpPr>
          <p:spPr bwMode="auto">
            <a:xfrm>
              <a:off x="4761351" y="-1717014"/>
              <a:ext cx="166958" cy="166958"/>
            </a:xfrm>
            <a:custGeom>
              <a:avLst/>
              <a:gdLst>
                <a:gd name="T0" fmla="*/ 93 w 438"/>
                <a:gd name="T1" fmla="*/ 92 h 438"/>
                <a:gd name="T2" fmla="*/ 0 w 438"/>
                <a:gd name="T3" fmla="*/ 184 h 438"/>
                <a:gd name="T4" fmla="*/ 438 w 438"/>
                <a:gd name="T5" fmla="*/ 438 h 438"/>
                <a:gd name="T6" fmla="*/ 184 w 438"/>
                <a:gd name="T7" fmla="*/ 0 h 438"/>
                <a:gd name="T8" fmla="*/ 93 w 438"/>
                <a:gd name="T9" fmla="*/ 92 h 438"/>
              </a:gdLst>
              <a:ahLst/>
              <a:cxnLst>
                <a:cxn ang="0">
                  <a:pos x="T0" y="T1"/>
                </a:cxn>
                <a:cxn ang="0">
                  <a:pos x="T2" y="T3"/>
                </a:cxn>
                <a:cxn ang="0">
                  <a:pos x="T4" y="T5"/>
                </a:cxn>
                <a:cxn ang="0">
                  <a:pos x="T6" y="T7"/>
                </a:cxn>
                <a:cxn ang="0">
                  <a:pos x="T8" y="T9"/>
                </a:cxn>
              </a:cxnLst>
              <a:rect l="0" t="0" r="r" b="b"/>
              <a:pathLst>
                <a:path w="438" h="438">
                  <a:moveTo>
                    <a:pt x="93" y="92"/>
                  </a:moveTo>
                  <a:lnTo>
                    <a:pt x="0" y="184"/>
                  </a:lnTo>
                  <a:lnTo>
                    <a:pt x="438" y="438"/>
                  </a:lnTo>
                  <a:lnTo>
                    <a:pt x="184" y="0"/>
                  </a:lnTo>
                  <a:lnTo>
                    <a:pt x="93" y="92"/>
                  </a:lnTo>
                  <a:close/>
                </a:path>
              </a:pathLst>
            </a:custGeom>
            <a:solidFill>
              <a:srgbClr val="7B65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5" name="Freeform 1590"/>
            <p:cNvSpPr>
              <a:spLocks/>
            </p:cNvSpPr>
            <p:nvPr/>
          </p:nvSpPr>
          <p:spPr bwMode="auto">
            <a:xfrm>
              <a:off x="4928308" y="-1550054"/>
              <a:ext cx="165061" cy="165062"/>
            </a:xfrm>
            <a:custGeom>
              <a:avLst/>
              <a:gdLst>
                <a:gd name="T0" fmla="*/ 345 w 437"/>
                <a:gd name="T1" fmla="*/ 345 h 436"/>
                <a:gd name="T2" fmla="*/ 437 w 437"/>
                <a:gd name="T3" fmla="*/ 254 h 436"/>
                <a:gd name="T4" fmla="*/ 0 w 437"/>
                <a:gd name="T5" fmla="*/ 0 h 436"/>
                <a:gd name="T6" fmla="*/ 253 w 437"/>
                <a:gd name="T7" fmla="*/ 436 h 436"/>
                <a:gd name="T8" fmla="*/ 345 w 437"/>
                <a:gd name="T9" fmla="*/ 345 h 436"/>
              </a:gdLst>
              <a:ahLst/>
              <a:cxnLst>
                <a:cxn ang="0">
                  <a:pos x="T0" y="T1"/>
                </a:cxn>
                <a:cxn ang="0">
                  <a:pos x="T2" y="T3"/>
                </a:cxn>
                <a:cxn ang="0">
                  <a:pos x="T4" y="T5"/>
                </a:cxn>
                <a:cxn ang="0">
                  <a:pos x="T6" y="T7"/>
                </a:cxn>
                <a:cxn ang="0">
                  <a:pos x="T8" y="T9"/>
                </a:cxn>
              </a:cxnLst>
              <a:rect l="0" t="0" r="r" b="b"/>
              <a:pathLst>
                <a:path w="437" h="436">
                  <a:moveTo>
                    <a:pt x="345" y="345"/>
                  </a:moveTo>
                  <a:lnTo>
                    <a:pt x="437" y="254"/>
                  </a:lnTo>
                  <a:lnTo>
                    <a:pt x="0" y="0"/>
                  </a:lnTo>
                  <a:lnTo>
                    <a:pt x="253" y="436"/>
                  </a:lnTo>
                  <a:lnTo>
                    <a:pt x="345" y="345"/>
                  </a:lnTo>
                  <a:close/>
                </a:path>
              </a:pathLst>
            </a:custGeom>
            <a:solidFill>
              <a:srgbClr val="7B65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6" name="Freeform 1591"/>
            <p:cNvSpPr>
              <a:spLocks/>
            </p:cNvSpPr>
            <p:nvPr/>
          </p:nvSpPr>
          <p:spPr bwMode="auto">
            <a:xfrm>
              <a:off x="4761351" y="-1550054"/>
              <a:ext cx="166958" cy="165062"/>
            </a:xfrm>
            <a:custGeom>
              <a:avLst/>
              <a:gdLst>
                <a:gd name="T0" fmla="*/ 93 w 438"/>
                <a:gd name="T1" fmla="*/ 345 h 436"/>
                <a:gd name="T2" fmla="*/ 184 w 438"/>
                <a:gd name="T3" fmla="*/ 436 h 436"/>
                <a:gd name="T4" fmla="*/ 438 w 438"/>
                <a:gd name="T5" fmla="*/ 0 h 436"/>
                <a:gd name="T6" fmla="*/ 0 w 438"/>
                <a:gd name="T7" fmla="*/ 254 h 436"/>
                <a:gd name="T8" fmla="*/ 93 w 438"/>
                <a:gd name="T9" fmla="*/ 345 h 436"/>
              </a:gdLst>
              <a:ahLst/>
              <a:cxnLst>
                <a:cxn ang="0">
                  <a:pos x="T0" y="T1"/>
                </a:cxn>
                <a:cxn ang="0">
                  <a:pos x="T2" y="T3"/>
                </a:cxn>
                <a:cxn ang="0">
                  <a:pos x="T4" y="T5"/>
                </a:cxn>
                <a:cxn ang="0">
                  <a:pos x="T6" y="T7"/>
                </a:cxn>
                <a:cxn ang="0">
                  <a:pos x="T8" y="T9"/>
                </a:cxn>
              </a:cxnLst>
              <a:rect l="0" t="0" r="r" b="b"/>
              <a:pathLst>
                <a:path w="438" h="436">
                  <a:moveTo>
                    <a:pt x="93" y="345"/>
                  </a:moveTo>
                  <a:lnTo>
                    <a:pt x="184" y="436"/>
                  </a:lnTo>
                  <a:lnTo>
                    <a:pt x="438" y="0"/>
                  </a:lnTo>
                  <a:lnTo>
                    <a:pt x="0" y="254"/>
                  </a:lnTo>
                  <a:lnTo>
                    <a:pt x="93" y="345"/>
                  </a:lnTo>
                  <a:close/>
                </a:path>
              </a:pathLst>
            </a:custGeom>
            <a:solidFill>
              <a:srgbClr val="7B65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7" name="Freeform 1592"/>
            <p:cNvSpPr>
              <a:spLocks/>
            </p:cNvSpPr>
            <p:nvPr/>
          </p:nvSpPr>
          <p:spPr bwMode="auto">
            <a:xfrm>
              <a:off x="4928308" y="-1717014"/>
              <a:ext cx="165061" cy="166958"/>
            </a:xfrm>
            <a:custGeom>
              <a:avLst/>
              <a:gdLst>
                <a:gd name="T0" fmla="*/ 345 w 437"/>
                <a:gd name="T1" fmla="*/ 92 h 438"/>
                <a:gd name="T2" fmla="*/ 253 w 437"/>
                <a:gd name="T3" fmla="*/ 0 h 438"/>
                <a:gd name="T4" fmla="*/ 0 w 437"/>
                <a:gd name="T5" fmla="*/ 438 h 438"/>
                <a:gd name="T6" fmla="*/ 437 w 437"/>
                <a:gd name="T7" fmla="*/ 184 h 438"/>
                <a:gd name="T8" fmla="*/ 345 w 437"/>
                <a:gd name="T9" fmla="*/ 92 h 438"/>
              </a:gdLst>
              <a:ahLst/>
              <a:cxnLst>
                <a:cxn ang="0">
                  <a:pos x="T0" y="T1"/>
                </a:cxn>
                <a:cxn ang="0">
                  <a:pos x="T2" y="T3"/>
                </a:cxn>
                <a:cxn ang="0">
                  <a:pos x="T4" y="T5"/>
                </a:cxn>
                <a:cxn ang="0">
                  <a:pos x="T6" y="T7"/>
                </a:cxn>
                <a:cxn ang="0">
                  <a:pos x="T8" y="T9"/>
                </a:cxn>
              </a:cxnLst>
              <a:rect l="0" t="0" r="r" b="b"/>
              <a:pathLst>
                <a:path w="437" h="438">
                  <a:moveTo>
                    <a:pt x="345" y="92"/>
                  </a:moveTo>
                  <a:lnTo>
                    <a:pt x="253" y="0"/>
                  </a:lnTo>
                  <a:lnTo>
                    <a:pt x="0" y="438"/>
                  </a:lnTo>
                  <a:lnTo>
                    <a:pt x="437" y="184"/>
                  </a:lnTo>
                  <a:lnTo>
                    <a:pt x="345" y="92"/>
                  </a:lnTo>
                  <a:close/>
                </a:path>
              </a:pathLst>
            </a:custGeom>
            <a:solidFill>
              <a:srgbClr val="7B65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48" name="Freeform 1593"/>
            <p:cNvSpPr>
              <a:spLocks/>
            </p:cNvSpPr>
            <p:nvPr/>
          </p:nvSpPr>
          <p:spPr bwMode="auto">
            <a:xfrm>
              <a:off x="4878978" y="-1599382"/>
              <a:ext cx="96760" cy="96760"/>
            </a:xfrm>
            <a:custGeom>
              <a:avLst/>
              <a:gdLst>
                <a:gd name="T0" fmla="*/ 253 w 253"/>
                <a:gd name="T1" fmla="*/ 127 h 253"/>
                <a:gd name="T2" fmla="*/ 251 w 253"/>
                <a:gd name="T3" fmla="*/ 153 h 253"/>
                <a:gd name="T4" fmla="*/ 242 w 253"/>
                <a:gd name="T5" fmla="*/ 176 h 253"/>
                <a:gd name="T6" fmla="*/ 231 w 253"/>
                <a:gd name="T7" fmla="*/ 198 h 253"/>
                <a:gd name="T8" fmla="*/ 216 w 253"/>
                <a:gd name="T9" fmla="*/ 216 h 253"/>
                <a:gd name="T10" fmla="*/ 197 w 253"/>
                <a:gd name="T11" fmla="*/ 232 h 253"/>
                <a:gd name="T12" fmla="*/ 175 w 253"/>
                <a:gd name="T13" fmla="*/ 243 h 253"/>
                <a:gd name="T14" fmla="*/ 152 w 253"/>
                <a:gd name="T15" fmla="*/ 250 h 253"/>
                <a:gd name="T16" fmla="*/ 127 w 253"/>
                <a:gd name="T17" fmla="*/ 253 h 253"/>
                <a:gd name="T18" fmla="*/ 113 w 253"/>
                <a:gd name="T19" fmla="*/ 253 h 253"/>
                <a:gd name="T20" fmla="*/ 89 w 253"/>
                <a:gd name="T21" fmla="*/ 248 h 253"/>
                <a:gd name="T22" fmla="*/ 67 w 253"/>
                <a:gd name="T23" fmla="*/ 238 h 253"/>
                <a:gd name="T24" fmla="*/ 46 w 253"/>
                <a:gd name="T25" fmla="*/ 225 h 253"/>
                <a:gd name="T26" fmla="*/ 29 w 253"/>
                <a:gd name="T27" fmla="*/ 207 h 253"/>
                <a:gd name="T28" fmla="*/ 16 w 253"/>
                <a:gd name="T29" fmla="*/ 187 h 253"/>
                <a:gd name="T30" fmla="*/ 6 w 253"/>
                <a:gd name="T31" fmla="*/ 165 h 253"/>
                <a:gd name="T32" fmla="*/ 1 w 253"/>
                <a:gd name="T33" fmla="*/ 139 h 253"/>
                <a:gd name="T34" fmla="*/ 0 w 253"/>
                <a:gd name="T35" fmla="*/ 127 h 253"/>
                <a:gd name="T36" fmla="*/ 2 w 253"/>
                <a:gd name="T37" fmla="*/ 101 h 253"/>
                <a:gd name="T38" fmla="*/ 10 w 253"/>
                <a:gd name="T39" fmla="*/ 77 h 253"/>
                <a:gd name="T40" fmla="*/ 22 w 253"/>
                <a:gd name="T41" fmla="*/ 56 h 253"/>
                <a:gd name="T42" fmla="*/ 38 w 253"/>
                <a:gd name="T43" fmla="*/ 37 h 253"/>
                <a:gd name="T44" fmla="*/ 56 w 253"/>
                <a:gd name="T45" fmla="*/ 22 h 253"/>
                <a:gd name="T46" fmla="*/ 78 w 253"/>
                <a:gd name="T47" fmla="*/ 10 h 253"/>
                <a:gd name="T48" fmla="*/ 101 w 253"/>
                <a:gd name="T49" fmla="*/ 3 h 253"/>
                <a:gd name="T50" fmla="*/ 127 w 253"/>
                <a:gd name="T51" fmla="*/ 0 h 253"/>
                <a:gd name="T52" fmla="*/ 140 w 253"/>
                <a:gd name="T53" fmla="*/ 1 h 253"/>
                <a:gd name="T54" fmla="*/ 164 w 253"/>
                <a:gd name="T55" fmla="*/ 6 h 253"/>
                <a:gd name="T56" fmla="*/ 186 w 253"/>
                <a:gd name="T57" fmla="*/ 16 h 253"/>
                <a:gd name="T58" fmla="*/ 207 w 253"/>
                <a:gd name="T59" fmla="*/ 29 h 253"/>
                <a:gd name="T60" fmla="*/ 224 w 253"/>
                <a:gd name="T61" fmla="*/ 47 h 253"/>
                <a:gd name="T62" fmla="*/ 238 w 253"/>
                <a:gd name="T63" fmla="*/ 66 h 253"/>
                <a:gd name="T64" fmla="*/ 247 w 253"/>
                <a:gd name="T65" fmla="*/ 89 h 253"/>
                <a:gd name="T66" fmla="*/ 252 w 253"/>
                <a:gd name="T67" fmla="*/ 114 h 253"/>
                <a:gd name="T68" fmla="*/ 253 w 253"/>
                <a:gd name="T69" fmla="*/ 127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3" h="253">
                  <a:moveTo>
                    <a:pt x="253" y="127"/>
                  </a:moveTo>
                  <a:lnTo>
                    <a:pt x="253" y="127"/>
                  </a:lnTo>
                  <a:lnTo>
                    <a:pt x="252" y="139"/>
                  </a:lnTo>
                  <a:lnTo>
                    <a:pt x="251" y="153"/>
                  </a:lnTo>
                  <a:lnTo>
                    <a:pt x="247" y="165"/>
                  </a:lnTo>
                  <a:lnTo>
                    <a:pt x="242" y="176"/>
                  </a:lnTo>
                  <a:lnTo>
                    <a:pt x="238" y="187"/>
                  </a:lnTo>
                  <a:lnTo>
                    <a:pt x="231" y="198"/>
                  </a:lnTo>
                  <a:lnTo>
                    <a:pt x="224" y="207"/>
                  </a:lnTo>
                  <a:lnTo>
                    <a:pt x="216" y="216"/>
                  </a:lnTo>
                  <a:lnTo>
                    <a:pt x="207" y="225"/>
                  </a:lnTo>
                  <a:lnTo>
                    <a:pt x="197" y="232"/>
                  </a:lnTo>
                  <a:lnTo>
                    <a:pt x="186" y="238"/>
                  </a:lnTo>
                  <a:lnTo>
                    <a:pt x="175" y="243"/>
                  </a:lnTo>
                  <a:lnTo>
                    <a:pt x="164" y="248"/>
                  </a:lnTo>
                  <a:lnTo>
                    <a:pt x="152" y="250"/>
                  </a:lnTo>
                  <a:lnTo>
                    <a:pt x="140" y="253"/>
                  </a:lnTo>
                  <a:lnTo>
                    <a:pt x="127" y="253"/>
                  </a:lnTo>
                  <a:lnTo>
                    <a:pt x="127" y="253"/>
                  </a:lnTo>
                  <a:lnTo>
                    <a:pt x="113" y="253"/>
                  </a:lnTo>
                  <a:lnTo>
                    <a:pt x="101" y="250"/>
                  </a:lnTo>
                  <a:lnTo>
                    <a:pt x="89" y="248"/>
                  </a:lnTo>
                  <a:lnTo>
                    <a:pt x="78" y="243"/>
                  </a:lnTo>
                  <a:lnTo>
                    <a:pt x="67" y="238"/>
                  </a:lnTo>
                  <a:lnTo>
                    <a:pt x="56" y="232"/>
                  </a:lnTo>
                  <a:lnTo>
                    <a:pt x="46" y="225"/>
                  </a:lnTo>
                  <a:lnTo>
                    <a:pt x="38" y="216"/>
                  </a:lnTo>
                  <a:lnTo>
                    <a:pt x="29" y="207"/>
                  </a:lnTo>
                  <a:lnTo>
                    <a:pt x="22" y="198"/>
                  </a:lnTo>
                  <a:lnTo>
                    <a:pt x="16" y="187"/>
                  </a:lnTo>
                  <a:lnTo>
                    <a:pt x="10" y="176"/>
                  </a:lnTo>
                  <a:lnTo>
                    <a:pt x="6" y="165"/>
                  </a:lnTo>
                  <a:lnTo>
                    <a:pt x="2" y="153"/>
                  </a:lnTo>
                  <a:lnTo>
                    <a:pt x="1" y="139"/>
                  </a:lnTo>
                  <a:lnTo>
                    <a:pt x="0" y="127"/>
                  </a:lnTo>
                  <a:lnTo>
                    <a:pt x="0" y="127"/>
                  </a:lnTo>
                  <a:lnTo>
                    <a:pt x="1" y="114"/>
                  </a:lnTo>
                  <a:lnTo>
                    <a:pt x="2" y="101"/>
                  </a:lnTo>
                  <a:lnTo>
                    <a:pt x="6" y="89"/>
                  </a:lnTo>
                  <a:lnTo>
                    <a:pt x="10" y="77"/>
                  </a:lnTo>
                  <a:lnTo>
                    <a:pt x="16" y="66"/>
                  </a:lnTo>
                  <a:lnTo>
                    <a:pt x="22" y="56"/>
                  </a:lnTo>
                  <a:lnTo>
                    <a:pt x="29" y="47"/>
                  </a:lnTo>
                  <a:lnTo>
                    <a:pt x="38" y="37"/>
                  </a:lnTo>
                  <a:lnTo>
                    <a:pt x="46" y="29"/>
                  </a:lnTo>
                  <a:lnTo>
                    <a:pt x="56" y="22"/>
                  </a:lnTo>
                  <a:lnTo>
                    <a:pt x="67" y="16"/>
                  </a:lnTo>
                  <a:lnTo>
                    <a:pt x="78" y="10"/>
                  </a:lnTo>
                  <a:lnTo>
                    <a:pt x="89" y="6"/>
                  </a:lnTo>
                  <a:lnTo>
                    <a:pt x="101" y="3"/>
                  </a:lnTo>
                  <a:lnTo>
                    <a:pt x="113" y="1"/>
                  </a:lnTo>
                  <a:lnTo>
                    <a:pt x="127" y="0"/>
                  </a:lnTo>
                  <a:lnTo>
                    <a:pt x="127" y="0"/>
                  </a:lnTo>
                  <a:lnTo>
                    <a:pt x="140" y="1"/>
                  </a:lnTo>
                  <a:lnTo>
                    <a:pt x="152" y="3"/>
                  </a:lnTo>
                  <a:lnTo>
                    <a:pt x="164" y="6"/>
                  </a:lnTo>
                  <a:lnTo>
                    <a:pt x="175" y="10"/>
                  </a:lnTo>
                  <a:lnTo>
                    <a:pt x="186" y="16"/>
                  </a:lnTo>
                  <a:lnTo>
                    <a:pt x="197" y="22"/>
                  </a:lnTo>
                  <a:lnTo>
                    <a:pt x="207" y="29"/>
                  </a:lnTo>
                  <a:lnTo>
                    <a:pt x="216" y="37"/>
                  </a:lnTo>
                  <a:lnTo>
                    <a:pt x="224" y="47"/>
                  </a:lnTo>
                  <a:lnTo>
                    <a:pt x="231" y="56"/>
                  </a:lnTo>
                  <a:lnTo>
                    <a:pt x="238" y="66"/>
                  </a:lnTo>
                  <a:lnTo>
                    <a:pt x="242" y="77"/>
                  </a:lnTo>
                  <a:lnTo>
                    <a:pt x="247" y="89"/>
                  </a:lnTo>
                  <a:lnTo>
                    <a:pt x="251" y="101"/>
                  </a:lnTo>
                  <a:lnTo>
                    <a:pt x="252" y="114"/>
                  </a:lnTo>
                  <a:lnTo>
                    <a:pt x="253" y="127"/>
                  </a:lnTo>
                  <a:lnTo>
                    <a:pt x="253" y="1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0" name="Freeform 1595"/>
            <p:cNvSpPr>
              <a:spLocks/>
            </p:cNvSpPr>
            <p:nvPr/>
          </p:nvSpPr>
          <p:spPr bwMode="auto">
            <a:xfrm>
              <a:off x="4924512" y="-1047281"/>
              <a:ext cx="358580" cy="601429"/>
            </a:xfrm>
            <a:custGeom>
              <a:avLst/>
              <a:gdLst>
                <a:gd name="T0" fmla="*/ 679 w 945"/>
                <a:gd name="T1" fmla="*/ 1090 h 1588"/>
                <a:gd name="T2" fmla="*/ 737 w 945"/>
                <a:gd name="T3" fmla="*/ 1148 h 1588"/>
                <a:gd name="T4" fmla="*/ 801 w 945"/>
                <a:gd name="T5" fmla="*/ 1196 h 1588"/>
                <a:gd name="T6" fmla="*/ 871 w 945"/>
                <a:gd name="T7" fmla="*/ 1238 h 1588"/>
                <a:gd name="T8" fmla="*/ 945 w 945"/>
                <a:gd name="T9" fmla="*/ 1271 h 1588"/>
                <a:gd name="T10" fmla="*/ 945 w 945"/>
                <a:gd name="T11" fmla="*/ 0 h 1588"/>
                <a:gd name="T12" fmla="*/ 899 w 945"/>
                <a:gd name="T13" fmla="*/ 20 h 1588"/>
                <a:gd name="T14" fmla="*/ 854 w 945"/>
                <a:gd name="T15" fmla="*/ 42 h 1588"/>
                <a:gd name="T16" fmla="*/ 811 w 945"/>
                <a:gd name="T17" fmla="*/ 67 h 1588"/>
                <a:gd name="T18" fmla="*/ 771 w 945"/>
                <a:gd name="T19" fmla="*/ 97 h 1588"/>
                <a:gd name="T20" fmla="*/ 764 w 945"/>
                <a:gd name="T21" fmla="*/ 89 h 1588"/>
                <a:gd name="T22" fmla="*/ 745 w 945"/>
                <a:gd name="T23" fmla="*/ 76 h 1588"/>
                <a:gd name="T24" fmla="*/ 726 w 945"/>
                <a:gd name="T25" fmla="*/ 67 h 1588"/>
                <a:gd name="T26" fmla="*/ 704 w 945"/>
                <a:gd name="T27" fmla="*/ 63 h 1588"/>
                <a:gd name="T28" fmla="*/ 693 w 945"/>
                <a:gd name="T29" fmla="*/ 61 h 1588"/>
                <a:gd name="T30" fmla="*/ 671 w 945"/>
                <a:gd name="T31" fmla="*/ 64 h 1588"/>
                <a:gd name="T32" fmla="*/ 651 w 945"/>
                <a:gd name="T33" fmla="*/ 70 h 1588"/>
                <a:gd name="T34" fmla="*/ 633 w 945"/>
                <a:gd name="T35" fmla="*/ 80 h 1588"/>
                <a:gd name="T36" fmla="*/ 617 w 945"/>
                <a:gd name="T37" fmla="*/ 93 h 1588"/>
                <a:gd name="T38" fmla="*/ 605 w 945"/>
                <a:gd name="T39" fmla="*/ 109 h 1588"/>
                <a:gd name="T40" fmla="*/ 594 w 945"/>
                <a:gd name="T41" fmla="*/ 127 h 1588"/>
                <a:gd name="T42" fmla="*/ 588 w 945"/>
                <a:gd name="T43" fmla="*/ 147 h 1588"/>
                <a:gd name="T44" fmla="*/ 587 w 945"/>
                <a:gd name="T45" fmla="*/ 169 h 1588"/>
                <a:gd name="T46" fmla="*/ 587 w 945"/>
                <a:gd name="T47" fmla="*/ 180 h 1588"/>
                <a:gd name="T48" fmla="*/ 593 w 945"/>
                <a:gd name="T49" fmla="*/ 203 h 1588"/>
                <a:gd name="T50" fmla="*/ 603 w 945"/>
                <a:gd name="T51" fmla="*/ 223 h 1588"/>
                <a:gd name="T52" fmla="*/ 616 w 945"/>
                <a:gd name="T53" fmla="*/ 241 h 1588"/>
                <a:gd name="T54" fmla="*/ 625 w 945"/>
                <a:gd name="T55" fmla="*/ 249 h 1588"/>
                <a:gd name="T56" fmla="*/ 598 w 945"/>
                <a:gd name="T57" fmla="*/ 291 h 1588"/>
                <a:gd name="T58" fmla="*/ 573 w 945"/>
                <a:gd name="T59" fmla="*/ 336 h 1588"/>
                <a:gd name="T60" fmla="*/ 553 w 945"/>
                <a:gd name="T61" fmla="*/ 382 h 1588"/>
                <a:gd name="T62" fmla="*/ 534 w 945"/>
                <a:gd name="T63" fmla="*/ 430 h 1588"/>
                <a:gd name="T64" fmla="*/ 521 w 945"/>
                <a:gd name="T65" fmla="*/ 479 h 1588"/>
                <a:gd name="T66" fmla="*/ 511 w 945"/>
                <a:gd name="T67" fmla="*/ 529 h 1588"/>
                <a:gd name="T68" fmla="*/ 505 w 945"/>
                <a:gd name="T69" fmla="*/ 582 h 1588"/>
                <a:gd name="T70" fmla="*/ 503 w 945"/>
                <a:gd name="T71" fmla="*/ 636 h 1588"/>
                <a:gd name="T72" fmla="*/ 503 w 945"/>
                <a:gd name="T73" fmla="*/ 661 h 1588"/>
                <a:gd name="T74" fmla="*/ 506 w 945"/>
                <a:gd name="T75" fmla="*/ 710 h 1588"/>
                <a:gd name="T76" fmla="*/ 514 w 945"/>
                <a:gd name="T77" fmla="*/ 759 h 1588"/>
                <a:gd name="T78" fmla="*/ 525 w 945"/>
                <a:gd name="T79" fmla="*/ 805 h 1588"/>
                <a:gd name="T80" fmla="*/ 538 w 945"/>
                <a:gd name="T81" fmla="*/ 851 h 1588"/>
                <a:gd name="T82" fmla="*/ 555 w 945"/>
                <a:gd name="T83" fmla="*/ 895 h 1588"/>
                <a:gd name="T84" fmla="*/ 575 w 945"/>
                <a:gd name="T85" fmla="*/ 938 h 1588"/>
                <a:gd name="T86" fmla="*/ 596 w 945"/>
                <a:gd name="T87" fmla="*/ 979 h 1588"/>
                <a:gd name="T88" fmla="*/ 137 w 945"/>
                <a:gd name="T89" fmla="*/ 1471 h 1588"/>
                <a:gd name="T90" fmla="*/ 127 w 945"/>
                <a:gd name="T91" fmla="*/ 1469 h 1588"/>
                <a:gd name="T92" fmla="*/ 119 w 945"/>
                <a:gd name="T93" fmla="*/ 1469 h 1588"/>
                <a:gd name="T94" fmla="*/ 94 w 945"/>
                <a:gd name="T95" fmla="*/ 1472 h 1588"/>
                <a:gd name="T96" fmla="*/ 72 w 945"/>
                <a:gd name="T97" fmla="*/ 1478 h 1588"/>
                <a:gd name="T98" fmla="*/ 53 w 945"/>
                <a:gd name="T99" fmla="*/ 1489 h 1588"/>
                <a:gd name="T100" fmla="*/ 34 w 945"/>
                <a:gd name="T101" fmla="*/ 1504 h 1588"/>
                <a:gd name="T102" fmla="*/ 20 w 945"/>
                <a:gd name="T103" fmla="*/ 1522 h 1588"/>
                <a:gd name="T104" fmla="*/ 10 w 945"/>
                <a:gd name="T105" fmla="*/ 1541 h 1588"/>
                <a:gd name="T106" fmla="*/ 3 w 945"/>
                <a:gd name="T107" fmla="*/ 1563 h 1588"/>
                <a:gd name="T108" fmla="*/ 0 w 945"/>
                <a:gd name="T109" fmla="*/ 1588 h 1588"/>
                <a:gd name="T110" fmla="*/ 119 w 945"/>
                <a:gd name="T111" fmla="*/ 1588 h 1588"/>
                <a:gd name="T112" fmla="*/ 236 w 945"/>
                <a:gd name="T113" fmla="*/ 1588 h 1588"/>
                <a:gd name="T114" fmla="*/ 236 w 945"/>
                <a:gd name="T115" fmla="*/ 1575 h 1588"/>
                <a:gd name="T116" fmla="*/ 231 w 945"/>
                <a:gd name="T117" fmla="*/ 1554 h 1588"/>
                <a:gd name="T118" fmla="*/ 679 w 945"/>
                <a:gd name="T119" fmla="*/ 1090 h 1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5" h="1588">
                  <a:moveTo>
                    <a:pt x="679" y="1090"/>
                  </a:moveTo>
                  <a:lnTo>
                    <a:pt x="679" y="1090"/>
                  </a:lnTo>
                  <a:lnTo>
                    <a:pt x="707" y="1120"/>
                  </a:lnTo>
                  <a:lnTo>
                    <a:pt x="737" y="1148"/>
                  </a:lnTo>
                  <a:lnTo>
                    <a:pt x="768" y="1173"/>
                  </a:lnTo>
                  <a:lnTo>
                    <a:pt x="801" y="1196"/>
                  </a:lnTo>
                  <a:lnTo>
                    <a:pt x="835" y="1218"/>
                  </a:lnTo>
                  <a:lnTo>
                    <a:pt x="871" y="1238"/>
                  </a:lnTo>
                  <a:lnTo>
                    <a:pt x="907" y="1256"/>
                  </a:lnTo>
                  <a:lnTo>
                    <a:pt x="945" y="1271"/>
                  </a:lnTo>
                  <a:lnTo>
                    <a:pt x="945" y="0"/>
                  </a:lnTo>
                  <a:lnTo>
                    <a:pt x="945" y="0"/>
                  </a:lnTo>
                  <a:lnTo>
                    <a:pt x="922" y="10"/>
                  </a:lnTo>
                  <a:lnTo>
                    <a:pt x="899" y="20"/>
                  </a:lnTo>
                  <a:lnTo>
                    <a:pt x="877" y="31"/>
                  </a:lnTo>
                  <a:lnTo>
                    <a:pt x="854" y="42"/>
                  </a:lnTo>
                  <a:lnTo>
                    <a:pt x="833" y="55"/>
                  </a:lnTo>
                  <a:lnTo>
                    <a:pt x="811" y="67"/>
                  </a:lnTo>
                  <a:lnTo>
                    <a:pt x="790" y="82"/>
                  </a:lnTo>
                  <a:lnTo>
                    <a:pt x="771" y="97"/>
                  </a:lnTo>
                  <a:lnTo>
                    <a:pt x="771" y="97"/>
                  </a:lnTo>
                  <a:lnTo>
                    <a:pt x="764" y="89"/>
                  </a:lnTo>
                  <a:lnTo>
                    <a:pt x="755" y="82"/>
                  </a:lnTo>
                  <a:lnTo>
                    <a:pt x="745" y="76"/>
                  </a:lnTo>
                  <a:lnTo>
                    <a:pt x="735" y="71"/>
                  </a:lnTo>
                  <a:lnTo>
                    <a:pt x="726" y="67"/>
                  </a:lnTo>
                  <a:lnTo>
                    <a:pt x="715" y="64"/>
                  </a:lnTo>
                  <a:lnTo>
                    <a:pt x="704" y="63"/>
                  </a:lnTo>
                  <a:lnTo>
                    <a:pt x="693" y="61"/>
                  </a:lnTo>
                  <a:lnTo>
                    <a:pt x="693" y="61"/>
                  </a:lnTo>
                  <a:lnTo>
                    <a:pt x="682" y="63"/>
                  </a:lnTo>
                  <a:lnTo>
                    <a:pt x="671" y="64"/>
                  </a:lnTo>
                  <a:lnTo>
                    <a:pt x="661" y="66"/>
                  </a:lnTo>
                  <a:lnTo>
                    <a:pt x="651" y="70"/>
                  </a:lnTo>
                  <a:lnTo>
                    <a:pt x="642" y="75"/>
                  </a:lnTo>
                  <a:lnTo>
                    <a:pt x="633" y="80"/>
                  </a:lnTo>
                  <a:lnTo>
                    <a:pt x="625" y="86"/>
                  </a:lnTo>
                  <a:lnTo>
                    <a:pt x="617" y="93"/>
                  </a:lnTo>
                  <a:lnTo>
                    <a:pt x="611" y="100"/>
                  </a:lnTo>
                  <a:lnTo>
                    <a:pt x="605" y="109"/>
                  </a:lnTo>
                  <a:lnTo>
                    <a:pt x="599" y="117"/>
                  </a:lnTo>
                  <a:lnTo>
                    <a:pt x="594" y="127"/>
                  </a:lnTo>
                  <a:lnTo>
                    <a:pt x="592" y="137"/>
                  </a:lnTo>
                  <a:lnTo>
                    <a:pt x="588" y="147"/>
                  </a:lnTo>
                  <a:lnTo>
                    <a:pt x="587" y="158"/>
                  </a:lnTo>
                  <a:lnTo>
                    <a:pt x="587" y="169"/>
                  </a:lnTo>
                  <a:lnTo>
                    <a:pt x="587" y="169"/>
                  </a:lnTo>
                  <a:lnTo>
                    <a:pt x="587" y="180"/>
                  </a:lnTo>
                  <a:lnTo>
                    <a:pt x="589" y="192"/>
                  </a:lnTo>
                  <a:lnTo>
                    <a:pt x="593" y="203"/>
                  </a:lnTo>
                  <a:lnTo>
                    <a:pt x="596" y="214"/>
                  </a:lnTo>
                  <a:lnTo>
                    <a:pt x="603" y="223"/>
                  </a:lnTo>
                  <a:lnTo>
                    <a:pt x="609" y="232"/>
                  </a:lnTo>
                  <a:lnTo>
                    <a:pt x="616" y="241"/>
                  </a:lnTo>
                  <a:lnTo>
                    <a:pt x="625" y="249"/>
                  </a:lnTo>
                  <a:lnTo>
                    <a:pt x="625" y="249"/>
                  </a:lnTo>
                  <a:lnTo>
                    <a:pt x="610" y="270"/>
                  </a:lnTo>
                  <a:lnTo>
                    <a:pt x="598" y="291"/>
                  </a:lnTo>
                  <a:lnTo>
                    <a:pt x="584" y="312"/>
                  </a:lnTo>
                  <a:lnTo>
                    <a:pt x="573" y="336"/>
                  </a:lnTo>
                  <a:lnTo>
                    <a:pt x="562" y="359"/>
                  </a:lnTo>
                  <a:lnTo>
                    <a:pt x="553" y="382"/>
                  </a:lnTo>
                  <a:lnTo>
                    <a:pt x="543" y="405"/>
                  </a:lnTo>
                  <a:lnTo>
                    <a:pt x="534" y="430"/>
                  </a:lnTo>
                  <a:lnTo>
                    <a:pt x="527" y="454"/>
                  </a:lnTo>
                  <a:lnTo>
                    <a:pt x="521" y="479"/>
                  </a:lnTo>
                  <a:lnTo>
                    <a:pt x="515" y="504"/>
                  </a:lnTo>
                  <a:lnTo>
                    <a:pt x="511" y="529"/>
                  </a:lnTo>
                  <a:lnTo>
                    <a:pt x="507" y="556"/>
                  </a:lnTo>
                  <a:lnTo>
                    <a:pt x="505" y="582"/>
                  </a:lnTo>
                  <a:lnTo>
                    <a:pt x="503" y="609"/>
                  </a:lnTo>
                  <a:lnTo>
                    <a:pt x="503" y="636"/>
                  </a:lnTo>
                  <a:lnTo>
                    <a:pt x="503" y="636"/>
                  </a:lnTo>
                  <a:lnTo>
                    <a:pt x="503" y="661"/>
                  </a:lnTo>
                  <a:lnTo>
                    <a:pt x="504" y="686"/>
                  </a:lnTo>
                  <a:lnTo>
                    <a:pt x="506" y="710"/>
                  </a:lnTo>
                  <a:lnTo>
                    <a:pt x="510" y="734"/>
                  </a:lnTo>
                  <a:lnTo>
                    <a:pt x="514" y="759"/>
                  </a:lnTo>
                  <a:lnTo>
                    <a:pt x="518" y="782"/>
                  </a:lnTo>
                  <a:lnTo>
                    <a:pt x="525" y="805"/>
                  </a:lnTo>
                  <a:lnTo>
                    <a:pt x="531" y="828"/>
                  </a:lnTo>
                  <a:lnTo>
                    <a:pt x="538" y="851"/>
                  </a:lnTo>
                  <a:lnTo>
                    <a:pt x="545" y="873"/>
                  </a:lnTo>
                  <a:lnTo>
                    <a:pt x="555" y="895"/>
                  </a:lnTo>
                  <a:lnTo>
                    <a:pt x="564" y="917"/>
                  </a:lnTo>
                  <a:lnTo>
                    <a:pt x="575" y="938"/>
                  </a:lnTo>
                  <a:lnTo>
                    <a:pt x="586" y="959"/>
                  </a:lnTo>
                  <a:lnTo>
                    <a:pt x="596" y="979"/>
                  </a:lnTo>
                  <a:lnTo>
                    <a:pt x="609" y="999"/>
                  </a:lnTo>
                  <a:lnTo>
                    <a:pt x="137" y="1471"/>
                  </a:lnTo>
                  <a:lnTo>
                    <a:pt x="137" y="1471"/>
                  </a:lnTo>
                  <a:lnTo>
                    <a:pt x="127" y="1469"/>
                  </a:lnTo>
                  <a:lnTo>
                    <a:pt x="119" y="1469"/>
                  </a:lnTo>
                  <a:lnTo>
                    <a:pt x="119" y="1469"/>
                  </a:lnTo>
                  <a:lnTo>
                    <a:pt x="106" y="1469"/>
                  </a:lnTo>
                  <a:lnTo>
                    <a:pt x="94" y="1472"/>
                  </a:lnTo>
                  <a:lnTo>
                    <a:pt x="83" y="1474"/>
                  </a:lnTo>
                  <a:lnTo>
                    <a:pt x="72" y="1478"/>
                  </a:lnTo>
                  <a:lnTo>
                    <a:pt x="63" y="1484"/>
                  </a:lnTo>
                  <a:lnTo>
                    <a:pt x="53" y="1489"/>
                  </a:lnTo>
                  <a:lnTo>
                    <a:pt x="43" y="1496"/>
                  </a:lnTo>
                  <a:lnTo>
                    <a:pt x="34" y="1504"/>
                  </a:lnTo>
                  <a:lnTo>
                    <a:pt x="27" y="1512"/>
                  </a:lnTo>
                  <a:lnTo>
                    <a:pt x="20" y="1522"/>
                  </a:lnTo>
                  <a:lnTo>
                    <a:pt x="15" y="1530"/>
                  </a:lnTo>
                  <a:lnTo>
                    <a:pt x="10" y="1541"/>
                  </a:lnTo>
                  <a:lnTo>
                    <a:pt x="5" y="1552"/>
                  </a:lnTo>
                  <a:lnTo>
                    <a:pt x="3" y="1563"/>
                  </a:lnTo>
                  <a:lnTo>
                    <a:pt x="0" y="1575"/>
                  </a:lnTo>
                  <a:lnTo>
                    <a:pt x="0" y="1588"/>
                  </a:lnTo>
                  <a:lnTo>
                    <a:pt x="21" y="1588"/>
                  </a:lnTo>
                  <a:lnTo>
                    <a:pt x="119" y="1588"/>
                  </a:lnTo>
                  <a:lnTo>
                    <a:pt x="182" y="1588"/>
                  </a:lnTo>
                  <a:lnTo>
                    <a:pt x="236" y="1588"/>
                  </a:lnTo>
                  <a:lnTo>
                    <a:pt x="236" y="1588"/>
                  </a:lnTo>
                  <a:lnTo>
                    <a:pt x="236" y="1575"/>
                  </a:lnTo>
                  <a:lnTo>
                    <a:pt x="233" y="1564"/>
                  </a:lnTo>
                  <a:lnTo>
                    <a:pt x="231" y="1554"/>
                  </a:lnTo>
                  <a:lnTo>
                    <a:pt x="227" y="1543"/>
                  </a:lnTo>
                  <a:lnTo>
                    <a:pt x="679" y="1090"/>
                  </a:lnTo>
                  <a:close/>
                </a:path>
              </a:pathLst>
            </a:custGeom>
            <a:solidFill>
              <a:srgbClr val="BCBC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1" name="Freeform 1596"/>
            <p:cNvSpPr>
              <a:spLocks/>
            </p:cNvSpPr>
            <p:nvPr/>
          </p:nvSpPr>
          <p:spPr bwMode="auto">
            <a:xfrm>
              <a:off x="4987122" y="-683010"/>
              <a:ext cx="269409" cy="237155"/>
            </a:xfrm>
            <a:custGeom>
              <a:avLst/>
              <a:gdLst>
                <a:gd name="T0" fmla="*/ 707 w 707"/>
                <a:gd name="T1" fmla="*/ 82 h 627"/>
                <a:gd name="T2" fmla="*/ 626 w 707"/>
                <a:gd name="T3" fmla="*/ 0 h 627"/>
                <a:gd name="T4" fmla="*/ 0 w 707"/>
                <a:gd name="T5" fmla="*/ 627 h 627"/>
                <a:gd name="T6" fmla="*/ 162 w 707"/>
                <a:gd name="T7" fmla="*/ 627 h 627"/>
                <a:gd name="T8" fmla="*/ 707 w 707"/>
                <a:gd name="T9" fmla="*/ 82 h 627"/>
              </a:gdLst>
              <a:ahLst/>
              <a:cxnLst>
                <a:cxn ang="0">
                  <a:pos x="T0" y="T1"/>
                </a:cxn>
                <a:cxn ang="0">
                  <a:pos x="T2" y="T3"/>
                </a:cxn>
                <a:cxn ang="0">
                  <a:pos x="T4" y="T5"/>
                </a:cxn>
                <a:cxn ang="0">
                  <a:pos x="T6" y="T7"/>
                </a:cxn>
                <a:cxn ang="0">
                  <a:pos x="T8" y="T9"/>
                </a:cxn>
              </a:cxnLst>
              <a:rect l="0" t="0" r="r" b="b"/>
              <a:pathLst>
                <a:path w="707" h="627">
                  <a:moveTo>
                    <a:pt x="707" y="82"/>
                  </a:moveTo>
                  <a:lnTo>
                    <a:pt x="626" y="0"/>
                  </a:lnTo>
                  <a:lnTo>
                    <a:pt x="0" y="627"/>
                  </a:lnTo>
                  <a:lnTo>
                    <a:pt x="162" y="627"/>
                  </a:lnTo>
                  <a:lnTo>
                    <a:pt x="707" y="82"/>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2" name="Freeform 1597"/>
            <p:cNvSpPr>
              <a:spLocks/>
            </p:cNvSpPr>
            <p:nvPr/>
          </p:nvSpPr>
          <p:spPr bwMode="auto">
            <a:xfrm>
              <a:off x="5599934" y="-683010"/>
              <a:ext cx="267512" cy="237155"/>
            </a:xfrm>
            <a:custGeom>
              <a:avLst/>
              <a:gdLst>
                <a:gd name="T0" fmla="*/ 0 w 707"/>
                <a:gd name="T1" fmla="*/ 82 h 627"/>
                <a:gd name="T2" fmla="*/ 82 w 707"/>
                <a:gd name="T3" fmla="*/ 0 h 627"/>
                <a:gd name="T4" fmla="*/ 707 w 707"/>
                <a:gd name="T5" fmla="*/ 627 h 627"/>
                <a:gd name="T6" fmla="*/ 545 w 707"/>
                <a:gd name="T7" fmla="*/ 627 h 627"/>
                <a:gd name="T8" fmla="*/ 0 w 707"/>
                <a:gd name="T9" fmla="*/ 82 h 627"/>
              </a:gdLst>
              <a:ahLst/>
              <a:cxnLst>
                <a:cxn ang="0">
                  <a:pos x="T0" y="T1"/>
                </a:cxn>
                <a:cxn ang="0">
                  <a:pos x="T2" y="T3"/>
                </a:cxn>
                <a:cxn ang="0">
                  <a:pos x="T4" y="T5"/>
                </a:cxn>
                <a:cxn ang="0">
                  <a:pos x="T6" y="T7"/>
                </a:cxn>
                <a:cxn ang="0">
                  <a:pos x="T8" y="T9"/>
                </a:cxn>
              </a:cxnLst>
              <a:rect l="0" t="0" r="r" b="b"/>
              <a:pathLst>
                <a:path w="707" h="627">
                  <a:moveTo>
                    <a:pt x="0" y="82"/>
                  </a:moveTo>
                  <a:lnTo>
                    <a:pt x="82" y="0"/>
                  </a:lnTo>
                  <a:lnTo>
                    <a:pt x="707" y="627"/>
                  </a:lnTo>
                  <a:lnTo>
                    <a:pt x="545" y="627"/>
                  </a:lnTo>
                  <a:lnTo>
                    <a:pt x="0" y="82"/>
                  </a:lnTo>
                  <a:close/>
                </a:path>
              </a:pathLst>
            </a:custGeom>
            <a:solidFill>
              <a:srgbClr val="AAAA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3" name="Freeform 1598"/>
            <p:cNvSpPr>
              <a:spLocks/>
            </p:cNvSpPr>
            <p:nvPr/>
          </p:nvSpPr>
          <p:spPr bwMode="auto">
            <a:xfrm>
              <a:off x="5406414" y="-781666"/>
              <a:ext cx="43637" cy="335813"/>
            </a:xfrm>
            <a:custGeom>
              <a:avLst/>
              <a:gdLst>
                <a:gd name="T0" fmla="*/ 0 w 114"/>
                <a:gd name="T1" fmla="*/ 885 h 885"/>
                <a:gd name="T2" fmla="*/ 114 w 114"/>
                <a:gd name="T3" fmla="*/ 885 h 885"/>
                <a:gd name="T4" fmla="*/ 114 w 114"/>
                <a:gd name="T5" fmla="*/ 0 h 885"/>
                <a:gd name="T6" fmla="*/ 0 w 114"/>
                <a:gd name="T7" fmla="*/ 114 h 885"/>
                <a:gd name="T8" fmla="*/ 0 w 114"/>
                <a:gd name="T9" fmla="*/ 885 h 885"/>
              </a:gdLst>
              <a:ahLst/>
              <a:cxnLst>
                <a:cxn ang="0">
                  <a:pos x="T0" y="T1"/>
                </a:cxn>
                <a:cxn ang="0">
                  <a:pos x="T2" y="T3"/>
                </a:cxn>
                <a:cxn ang="0">
                  <a:pos x="T4" y="T5"/>
                </a:cxn>
                <a:cxn ang="0">
                  <a:pos x="T6" y="T7"/>
                </a:cxn>
                <a:cxn ang="0">
                  <a:pos x="T8" y="T9"/>
                </a:cxn>
              </a:cxnLst>
              <a:rect l="0" t="0" r="r" b="b"/>
              <a:pathLst>
                <a:path w="114" h="885">
                  <a:moveTo>
                    <a:pt x="0" y="885"/>
                  </a:moveTo>
                  <a:lnTo>
                    <a:pt x="114" y="885"/>
                  </a:lnTo>
                  <a:lnTo>
                    <a:pt x="114" y="0"/>
                  </a:lnTo>
                  <a:lnTo>
                    <a:pt x="0" y="114"/>
                  </a:lnTo>
                  <a:lnTo>
                    <a:pt x="0" y="885"/>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4" name="Freeform 1599"/>
            <p:cNvSpPr>
              <a:spLocks/>
            </p:cNvSpPr>
            <p:nvPr/>
          </p:nvSpPr>
          <p:spPr bwMode="auto">
            <a:xfrm>
              <a:off x="5414003" y="-1212343"/>
              <a:ext cx="28459" cy="212493"/>
            </a:xfrm>
            <a:custGeom>
              <a:avLst/>
              <a:gdLst>
                <a:gd name="T0" fmla="*/ 72 w 72"/>
                <a:gd name="T1" fmla="*/ 0 h 557"/>
                <a:gd name="T2" fmla="*/ 0 w 72"/>
                <a:gd name="T3" fmla="*/ 0 h 557"/>
                <a:gd name="T4" fmla="*/ 0 w 72"/>
                <a:gd name="T5" fmla="*/ 557 h 557"/>
                <a:gd name="T6" fmla="*/ 72 w 72"/>
                <a:gd name="T7" fmla="*/ 485 h 557"/>
                <a:gd name="T8" fmla="*/ 72 w 72"/>
                <a:gd name="T9" fmla="*/ 0 h 557"/>
              </a:gdLst>
              <a:ahLst/>
              <a:cxnLst>
                <a:cxn ang="0">
                  <a:pos x="T0" y="T1"/>
                </a:cxn>
                <a:cxn ang="0">
                  <a:pos x="T2" y="T3"/>
                </a:cxn>
                <a:cxn ang="0">
                  <a:pos x="T4" y="T5"/>
                </a:cxn>
                <a:cxn ang="0">
                  <a:pos x="T6" y="T7"/>
                </a:cxn>
                <a:cxn ang="0">
                  <a:pos x="T8" y="T9"/>
                </a:cxn>
              </a:cxnLst>
              <a:rect l="0" t="0" r="r" b="b"/>
              <a:pathLst>
                <a:path w="72" h="557">
                  <a:moveTo>
                    <a:pt x="72" y="0"/>
                  </a:moveTo>
                  <a:lnTo>
                    <a:pt x="0" y="0"/>
                  </a:lnTo>
                  <a:lnTo>
                    <a:pt x="0" y="557"/>
                  </a:lnTo>
                  <a:lnTo>
                    <a:pt x="72" y="485"/>
                  </a:lnTo>
                  <a:lnTo>
                    <a:pt x="72"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5" name="Freeform 1600"/>
            <p:cNvSpPr>
              <a:spLocks/>
            </p:cNvSpPr>
            <p:nvPr/>
          </p:nvSpPr>
          <p:spPr bwMode="auto">
            <a:xfrm>
              <a:off x="5203410" y="-1024514"/>
              <a:ext cx="79685" cy="81582"/>
            </a:xfrm>
            <a:custGeom>
              <a:avLst/>
              <a:gdLst>
                <a:gd name="T0" fmla="*/ 212 w 212"/>
                <a:gd name="T1" fmla="*/ 108 h 214"/>
                <a:gd name="T2" fmla="*/ 211 w 212"/>
                <a:gd name="T3" fmla="*/ 128 h 214"/>
                <a:gd name="T4" fmla="*/ 205 w 212"/>
                <a:gd name="T5" fmla="*/ 148 h 214"/>
                <a:gd name="T6" fmla="*/ 195 w 212"/>
                <a:gd name="T7" fmla="*/ 166 h 214"/>
                <a:gd name="T8" fmla="*/ 182 w 212"/>
                <a:gd name="T9" fmla="*/ 182 h 214"/>
                <a:gd name="T10" fmla="*/ 166 w 212"/>
                <a:gd name="T11" fmla="*/ 195 h 214"/>
                <a:gd name="T12" fmla="*/ 148 w 212"/>
                <a:gd name="T13" fmla="*/ 205 h 214"/>
                <a:gd name="T14" fmla="*/ 128 w 212"/>
                <a:gd name="T15" fmla="*/ 211 h 214"/>
                <a:gd name="T16" fmla="*/ 106 w 212"/>
                <a:gd name="T17" fmla="*/ 214 h 214"/>
                <a:gd name="T18" fmla="*/ 95 w 212"/>
                <a:gd name="T19" fmla="*/ 212 h 214"/>
                <a:gd name="T20" fmla="*/ 74 w 212"/>
                <a:gd name="T21" fmla="*/ 209 h 214"/>
                <a:gd name="T22" fmla="*/ 56 w 212"/>
                <a:gd name="T23" fmla="*/ 200 h 214"/>
                <a:gd name="T24" fmla="*/ 39 w 212"/>
                <a:gd name="T25" fmla="*/ 189 h 214"/>
                <a:gd name="T26" fmla="*/ 24 w 212"/>
                <a:gd name="T27" fmla="*/ 175 h 214"/>
                <a:gd name="T28" fmla="*/ 13 w 212"/>
                <a:gd name="T29" fmla="*/ 158 h 214"/>
                <a:gd name="T30" fmla="*/ 5 w 212"/>
                <a:gd name="T31" fmla="*/ 138 h 214"/>
                <a:gd name="T32" fmla="*/ 1 w 212"/>
                <a:gd name="T33" fmla="*/ 117 h 214"/>
                <a:gd name="T34" fmla="*/ 0 w 212"/>
                <a:gd name="T35" fmla="*/ 108 h 214"/>
                <a:gd name="T36" fmla="*/ 2 w 212"/>
                <a:gd name="T37" fmla="*/ 86 h 214"/>
                <a:gd name="T38" fmla="*/ 9 w 212"/>
                <a:gd name="T39" fmla="*/ 66 h 214"/>
                <a:gd name="T40" fmla="*/ 18 w 212"/>
                <a:gd name="T41" fmla="*/ 48 h 214"/>
                <a:gd name="T42" fmla="*/ 32 w 212"/>
                <a:gd name="T43" fmla="*/ 32 h 214"/>
                <a:gd name="T44" fmla="*/ 48 w 212"/>
                <a:gd name="T45" fmla="*/ 19 h 214"/>
                <a:gd name="T46" fmla="*/ 65 w 212"/>
                <a:gd name="T47" fmla="*/ 9 h 214"/>
                <a:gd name="T48" fmla="*/ 85 w 212"/>
                <a:gd name="T49" fmla="*/ 3 h 214"/>
                <a:gd name="T50" fmla="*/ 106 w 212"/>
                <a:gd name="T51" fmla="*/ 0 h 214"/>
                <a:gd name="T52" fmla="*/ 117 w 212"/>
                <a:gd name="T53" fmla="*/ 2 h 214"/>
                <a:gd name="T54" fmla="*/ 138 w 212"/>
                <a:gd name="T55" fmla="*/ 5 h 214"/>
                <a:gd name="T56" fmla="*/ 157 w 212"/>
                <a:gd name="T57" fmla="*/ 14 h 214"/>
                <a:gd name="T58" fmla="*/ 174 w 212"/>
                <a:gd name="T59" fmla="*/ 25 h 214"/>
                <a:gd name="T60" fmla="*/ 188 w 212"/>
                <a:gd name="T61" fmla="*/ 39 h 214"/>
                <a:gd name="T62" fmla="*/ 200 w 212"/>
                <a:gd name="T63" fmla="*/ 56 h 214"/>
                <a:gd name="T64" fmla="*/ 207 w 212"/>
                <a:gd name="T65" fmla="*/ 76 h 214"/>
                <a:gd name="T66" fmla="*/ 212 w 212"/>
                <a:gd name="T67" fmla="*/ 97 h 214"/>
                <a:gd name="T68" fmla="*/ 212 w 212"/>
                <a:gd name="T69" fmla="*/ 10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2" h="214">
                  <a:moveTo>
                    <a:pt x="212" y="108"/>
                  </a:moveTo>
                  <a:lnTo>
                    <a:pt x="212" y="108"/>
                  </a:lnTo>
                  <a:lnTo>
                    <a:pt x="212" y="117"/>
                  </a:lnTo>
                  <a:lnTo>
                    <a:pt x="211" y="128"/>
                  </a:lnTo>
                  <a:lnTo>
                    <a:pt x="207" y="138"/>
                  </a:lnTo>
                  <a:lnTo>
                    <a:pt x="205" y="148"/>
                  </a:lnTo>
                  <a:lnTo>
                    <a:pt x="200" y="158"/>
                  </a:lnTo>
                  <a:lnTo>
                    <a:pt x="195" y="166"/>
                  </a:lnTo>
                  <a:lnTo>
                    <a:pt x="188" y="175"/>
                  </a:lnTo>
                  <a:lnTo>
                    <a:pt x="182" y="182"/>
                  </a:lnTo>
                  <a:lnTo>
                    <a:pt x="174" y="189"/>
                  </a:lnTo>
                  <a:lnTo>
                    <a:pt x="166" y="195"/>
                  </a:lnTo>
                  <a:lnTo>
                    <a:pt x="157" y="200"/>
                  </a:lnTo>
                  <a:lnTo>
                    <a:pt x="148" y="205"/>
                  </a:lnTo>
                  <a:lnTo>
                    <a:pt x="138" y="209"/>
                  </a:lnTo>
                  <a:lnTo>
                    <a:pt x="128" y="211"/>
                  </a:lnTo>
                  <a:lnTo>
                    <a:pt x="117" y="212"/>
                  </a:lnTo>
                  <a:lnTo>
                    <a:pt x="106" y="214"/>
                  </a:lnTo>
                  <a:lnTo>
                    <a:pt x="106" y="214"/>
                  </a:lnTo>
                  <a:lnTo>
                    <a:pt x="95" y="212"/>
                  </a:lnTo>
                  <a:lnTo>
                    <a:pt x="85" y="211"/>
                  </a:lnTo>
                  <a:lnTo>
                    <a:pt x="74" y="209"/>
                  </a:lnTo>
                  <a:lnTo>
                    <a:pt x="65" y="205"/>
                  </a:lnTo>
                  <a:lnTo>
                    <a:pt x="56" y="200"/>
                  </a:lnTo>
                  <a:lnTo>
                    <a:pt x="48" y="195"/>
                  </a:lnTo>
                  <a:lnTo>
                    <a:pt x="39" y="189"/>
                  </a:lnTo>
                  <a:lnTo>
                    <a:pt x="32" y="182"/>
                  </a:lnTo>
                  <a:lnTo>
                    <a:pt x="24" y="175"/>
                  </a:lnTo>
                  <a:lnTo>
                    <a:pt x="18" y="166"/>
                  </a:lnTo>
                  <a:lnTo>
                    <a:pt x="13" y="158"/>
                  </a:lnTo>
                  <a:lnTo>
                    <a:pt x="9" y="148"/>
                  </a:lnTo>
                  <a:lnTo>
                    <a:pt x="5" y="138"/>
                  </a:lnTo>
                  <a:lnTo>
                    <a:pt x="2" y="128"/>
                  </a:lnTo>
                  <a:lnTo>
                    <a:pt x="1" y="117"/>
                  </a:lnTo>
                  <a:lnTo>
                    <a:pt x="0" y="108"/>
                  </a:lnTo>
                  <a:lnTo>
                    <a:pt x="0" y="108"/>
                  </a:lnTo>
                  <a:lnTo>
                    <a:pt x="1" y="97"/>
                  </a:lnTo>
                  <a:lnTo>
                    <a:pt x="2" y="86"/>
                  </a:lnTo>
                  <a:lnTo>
                    <a:pt x="5" y="76"/>
                  </a:lnTo>
                  <a:lnTo>
                    <a:pt x="9" y="66"/>
                  </a:lnTo>
                  <a:lnTo>
                    <a:pt x="13" y="56"/>
                  </a:lnTo>
                  <a:lnTo>
                    <a:pt x="18" y="48"/>
                  </a:lnTo>
                  <a:lnTo>
                    <a:pt x="24" y="39"/>
                  </a:lnTo>
                  <a:lnTo>
                    <a:pt x="32" y="32"/>
                  </a:lnTo>
                  <a:lnTo>
                    <a:pt x="39" y="25"/>
                  </a:lnTo>
                  <a:lnTo>
                    <a:pt x="48" y="19"/>
                  </a:lnTo>
                  <a:lnTo>
                    <a:pt x="56" y="14"/>
                  </a:lnTo>
                  <a:lnTo>
                    <a:pt x="65" y="9"/>
                  </a:lnTo>
                  <a:lnTo>
                    <a:pt x="74" y="5"/>
                  </a:lnTo>
                  <a:lnTo>
                    <a:pt x="85" y="3"/>
                  </a:lnTo>
                  <a:lnTo>
                    <a:pt x="95" y="2"/>
                  </a:lnTo>
                  <a:lnTo>
                    <a:pt x="106" y="0"/>
                  </a:lnTo>
                  <a:lnTo>
                    <a:pt x="106" y="0"/>
                  </a:lnTo>
                  <a:lnTo>
                    <a:pt x="117" y="2"/>
                  </a:lnTo>
                  <a:lnTo>
                    <a:pt x="128" y="3"/>
                  </a:lnTo>
                  <a:lnTo>
                    <a:pt x="138" y="5"/>
                  </a:lnTo>
                  <a:lnTo>
                    <a:pt x="148" y="9"/>
                  </a:lnTo>
                  <a:lnTo>
                    <a:pt x="157" y="14"/>
                  </a:lnTo>
                  <a:lnTo>
                    <a:pt x="166" y="19"/>
                  </a:lnTo>
                  <a:lnTo>
                    <a:pt x="174" y="25"/>
                  </a:lnTo>
                  <a:lnTo>
                    <a:pt x="182" y="32"/>
                  </a:lnTo>
                  <a:lnTo>
                    <a:pt x="188" y="39"/>
                  </a:lnTo>
                  <a:lnTo>
                    <a:pt x="195" y="48"/>
                  </a:lnTo>
                  <a:lnTo>
                    <a:pt x="200" y="56"/>
                  </a:lnTo>
                  <a:lnTo>
                    <a:pt x="205" y="66"/>
                  </a:lnTo>
                  <a:lnTo>
                    <a:pt x="207" y="76"/>
                  </a:lnTo>
                  <a:lnTo>
                    <a:pt x="211" y="86"/>
                  </a:lnTo>
                  <a:lnTo>
                    <a:pt x="212" y="97"/>
                  </a:lnTo>
                  <a:lnTo>
                    <a:pt x="212" y="108"/>
                  </a:lnTo>
                  <a:lnTo>
                    <a:pt x="212" y="108"/>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6" name="Freeform 1601"/>
            <p:cNvSpPr>
              <a:spLocks/>
            </p:cNvSpPr>
            <p:nvPr/>
          </p:nvSpPr>
          <p:spPr bwMode="auto">
            <a:xfrm>
              <a:off x="5573372" y="-1024514"/>
              <a:ext cx="79685" cy="81582"/>
            </a:xfrm>
            <a:custGeom>
              <a:avLst/>
              <a:gdLst>
                <a:gd name="T0" fmla="*/ 212 w 212"/>
                <a:gd name="T1" fmla="*/ 108 h 214"/>
                <a:gd name="T2" fmla="*/ 209 w 212"/>
                <a:gd name="T3" fmla="*/ 128 h 214"/>
                <a:gd name="T4" fmla="*/ 203 w 212"/>
                <a:gd name="T5" fmla="*/ 148 h 214"/>
                <a:gd name="T6" fmla="*/ 193 w 212"/>
                <a:gd name="T7" fmla="*/ 166 h 214"/>
                <a:gd name="T8" fmla="*/ 181 w 212"/>
                <a:gd name="T9" fmla="*/ 182 h 214"/>
                <a:gd name="T10" fmla="*/ 165 w 212"/>
                <a:gd name="T11" fmla="*/ 195 h 214"/>
                <a:gd name="T12" fmla="*/ 147 w 212"/>
                <a:gd name="T13" fmla="*/ 205 h 214"/>
                <a:gd name="T14" fmla="*/ 128 w 212"/>
                <a:gd name="T15" fmla="*/ 211 h 214"/>
                <a:gd name="T16" fmla="*/ 106 w 212"/>
                <a:gd name="T17" fmla="*/ 214 h 214"/>
                <a:gd name="T18" fmla="*/ 95 w 212"/>
                <a:gd name="T19" fmla="*/ 212 h 214"/>
                <a:gd name="T20" fmla="*/ 74 w 212"/>
                <a:gd name="T21" fmla="*/ 209 h 214"/>
                <a:gd name="T22" fmla="*/ 54 w 212"/>
                <a:gd name="T23" fmla="*/ 200 h 214"/>
                <a:gd name="T24" fmla="*/ 39 w 212"/>
                <a:gd name="T25" fmla="*/ 189 h 214"/>
                <a:gd name="T26" fmla="*/ 24 w 212"/>
                <a:gd name="T27" fmla="*/ 175 h 214"/>
                <a:gd name="T28" fmla="*/ 12 w 212"/>
                <a:gd name="T29" fmla="*/ 158 h 214"/>
                <a:gd name="T30" fmla="*/ 4 w 212"/>
                <a:gd name="T31" fmla="*/ 138 h 214"/>
                <a:gd name="T32" fmla="*/ 0 w 212"/>
                <a:gd name="T33" fmla="*/ 117 h 214"/>
                <a:gd name="T34" fmla="*/ 0 w 212"/>
                <a:gd name="T35" fmla="*/ 108 h 214"/>
                <a:gd name="T36" fmla="*/ 2 w 212"/>
                <a:gd name="T37" fmla="*/ 86 h 214"/>
                <a:gd name="T38" fmla="*/ 8 w 212"/>
                <a:gd name="T39" fmla="*/ 66 h 214"/>
                <a:gd name="T40" fmla="*/ 18 w 212"/>
                <a:gd name="T41" fmla="*/ 48 h 214"/>
                <a:gd name="T42" fmla="*/ 30 w 212"/>
                <a:gd name="T43" fmla="*/ 32 h 214"/>
                <a:gd name="T44" fmla="*/ 46 w 212"/>
                <a:gd name="T45" fmla="*/ 19 h 214"/>
                <a:gd name="T46" fmla="*/ 64 w 212"/>
                <a:gd name="T47" fmla="*/ 9 h 214"/>
                <a:gd name="T48" fmla="*/ 84 w 212"/>
                <a:gd name="T49" fmla="*/ 3 h 214"/>
                <a:gd name="T50" fmla="*/ 106 w 212"/>
                <a:gd name="T51" fmla="*/ 0 h 214"/>
                <a:gd name="T52" fmla="*/ 117 w 212"/>
                <a:gd name="T53" fmla="*/ 2 h 214"/>
                <a:gd name="T54" fmla="*/ 137 w 212"/>
                <a:gd name="T55" fmla="*/ 5 h 214"/>
                <a:gd name="T56" fmla="*/ 156 w 212"/>
                <a:gd name="T57" fmla="*/ 14 h 214"/>
                <a:gd name="T58" fmla="*/ 173 w 212"/>
                <a:gd name="T59" fmla="*/ 25 h 214"/>
                <a:gd name="T60" fmla="*/ 187 w 212"/>
                <a:gd name="T61" fmla="*/ 39 h 214"/>
                <a:gd name="T62" fmla="*/ 199 w 212"/>
                <a:gd name="T63" fmla="*/ 56 h 214"/>
                <a:gd name="T64" fmla="*/ 207 w 212"/>
                <a:gd name="T65" fmla="*/ 76 h 214"/>
                <a:gd name="T66" fmla="*/ 212 w 212"/>
                <a:gd name="T67" fmla="*/ 97 h 214"/>
                <a:gd name="T68" fmla="*/ 212 w 212"/>
                <a:gd name="T69" fmla="*/ 10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2" h="214">
                  <a:moveTo>
                    <a:pt x="212" y="108"/>
                  </a:moveTo>
                  <a:lnTo>
                    <a:pt x="212" y="108"/>
                  </a:lnTo>
                  <a:lnTo>
                    <a:pt x="212" y="117"/>
                  </a:lnTo>
                  <a:lnTo>
                    <a:pt x="209" y="128"/>
                  </a:lnTo>
                  <a:lnTo>
                    <a:pt x="207" y="138"/>
                  </a:lnTo>
                  <a:lnTo>
                    <a:pt x="203" y="148"/>
                  </a:lnTo>
                  <a:lnTo>
                    <a:pt x="199" y="158"/>
                  </a:lnTo>
                  <a:lnTo>
                    <a:pt x="193" y="166"/>
                  </a:lnTo>
                  <a:lnTo>
                    <a:pt x="187" y="175"/>
                  </a:lnTo>
                  <a:lnTo>
                    <a:pt x="181" y="182"/>
                  </a:lnTo>
                  <a:lnTo>
                    <a:pt x="173" y="189"/>
                  </a:lnTo>
                  <a:lnTo>
                    <a:pt x="165" y="195"/>
                  </a:lnTo>
                  <a:lnTo>
                    <a:pt x="156" y="200"/>
                  </a:lnTo>
                  <a:lnTo>
                    <a:pt x="147" y="205"/>
                  </a:lnTo>
                  <a:lnTo>
                    <a:pt x="137" y="209"/>
                  </a:lnTo>
                  <a:lnTo>
                    <a:pt x="128" y="211"/>
                  </a:lnTo>
                  <a:lnTo>
                    <a:pt x="117" y="212"/>
                  </a:lnTo>
                  <a:lnTo>
                    <a:pt x="106" y="214"/>
                  </a:lnTo>
                  <a:lnTo>
                    <a:pt x="106" y="214"/>
                  </a:lnTo>
                  <a:lnTo>
                    <a:pt x="95" y="212"/>
                  </a:lnTo>
                  <a:lnTo>
                    <a:pt x="84" y="211"/>
                  </a:lnTo>
                  <a:lnTo>
                    <a:pt x="74" y="209"/>
                  </a:lnTo>
                  <a:lnTo>
                    <a:pt x="64" y="205"/>
                  </a:lnTo>
                  <a:lnTo>
                    <a:pt x="54" y="200"/>
                  </a:lnTo>
                  <a:lnTo>
                    <a:pt x="46" y="195"/>
                  </a:lnTo>
                  <a:lnTo>
                    <a:pt x="39" y="189"/>
                  </a:lnTo>
                  <a:lnTo>
                    <a:pt x="30" y="182"/>
                  </a:lnTo>
                  <a:lnTo>
                    <a:pt x="24" y="175"/>
                  </a:lnTo>
                  <a:lnTo>
                    <a:pt x="18" y="166"/>
                  </a:lnTo>
                  <a:lnTo>
                    <a:pt x="12" y="158"/>
                  </a:lnTo>
                  <a:lnTo>
                    <a:pt x="8" y="148"/>
                  </a:lnTo>
                  <a:lnTo>
                    <a:pt x="4" y="138"/>
                  </a:lnTo>
                  <a:lnTo>
                    <a:pt x="2" y="128"/>
                  </a:lnTo>
                  <a:lnTo>
                    <a:pt x="0" y="117"/>
                  </a:lnTo>
                  <a:lnTo>
                    <a:pt x="0" y="108"/>
                  </a:lnTo>
                  <a:lnTo>
                    <a:pt x="0" y="108"/>
                  </a:lnTo>
                  <a:lnTo>
                    <a:pt x="0" y="97"/>
                  </a:lnTo>
                  <a:lnTo>
                    <a:pt x="2" y="86"/>
                  </a:lnTo>
                  <a:lnTo>
                    <a:pt x="4" y="76"/>
                  </a:lnTo>
                  <a:lnTo>
                    <a:pt x="8" y="66"/>
                  </a:lnTo>
                  <a:lnTo>
                    <a:pt x="12" y="56"/>
                  </a:lnTo>
                  <a:lnTo>
                    <a:pt x="18" y="48"/>
                  </a:lnTo>
                  <a:lnTo>
                    <a:pt x="24" y="39"/>
                  </a:lnTo>
                  <a:lnTo>
                    <a:pt x="30" y="32"/>
                  </a:lnTo>
                  <a:lnTo>
                    <a:pt x="39" y="25"/>
                  </a:lnTo>
                  <a:lnTo>
                    <a:pt x="46" y="19"/>
                  </a:lnTo>
                  <a:lnTo>
                    <a:pt x="54" y="14"/>
                  </a:lnTo>
                  <a:lnTo>
                    <a:pt x="64" y="9"/>
                  </a:lnTo>
                  <a:lnTo>
                    <a:pt x="74" y="5"/>
                  </a:lnTo>
                  <a:lnTo>
                    <a:pt x="84" y="3"/>
                  </a:lnTo>
                  <a:lnTo>
                    <a:pt x="95" y="2"/>
                  </a:lnTo>
                  <a:lnTo>
                    <a:pt x="106" y="0"/>
                  </a:lnTo>
                  <a:lnTo>
                    <a:pt x="106" y="0"/>
                  </a:lnTo>
                  <a:lnTo>
                    <a:pt x="117" y="2"/>
                  </a:lnTo>
                  <a:lnTo>
                    <a:pt x="128" y="3"/>
                  </a:lnTo>
                  <a:lnTo>
                    <a:pt x="137" y="5"/>
                  </a:lnTo>
                  <a:lnTo>
                    <a:pt x="147" y="9"/>
                  </a:lnTo>
                  <a:lnTo>
                    <a:pt x="156" y="14"/>
                  </a:lnTo>
                  <a:lnTo>
                    <a:pt x="165" y="19"/>
                  </a:lnTo>
                  <a:lnTo>
                    <a:pt x="173" y="25"/>
                  </a:lnTo>
                  <a:lnTo>
                    <a:pt x="181" y="32"/>
                  </a:lnTo>
                  <a:lnTo>
                    <a:pt x="187" y="39"/>
                  </a:lnTo>
                  <a:lnTo>
                    <a:pt x="193" y="48"/>
                  </a:lnTo>
                  <a:lnTo>
                    <a:pt x="199" y="56"/>
                  </a:lnTo>
                  <a:lnTo>
                    <a:pt x="203" y="66"/>
                  </a:lnTo>
                  <a:lnTo>
                    <a:pt x="207" y="76"/>
                  </a:lnTo>
                  <a:lnTo>
                    <a:pt x="209" y="86"/>
                  </a:lnTo>
                  <a:lnTo>
                    <a:pt x="212" y="97"/>
                  </a:lnTo>
                  <a:lnTo>
                    <a:pt x="212" y="108"/>
                  </a:lnTo>
                  <a:lnTo>
                    <a:pt x="212" y="108"/>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7" name="Freeform 1602"/>
            <p:cNvSpPr>
              <a:spLocks/>
            </p:cNvSpPr>
            <p:nvPr/>
          </p:nvSpPr>
          <p:spPr bwMode="auto">
            <a:xfrm>
              <a:off x="5171156" y="-1064358"/>
              <a:ext cx="258027" cy="514156"/>
            </a:xfrm>
            <a:custGeom>
              <a:avLst/>
              <a:gdLst>
                <a:gd name="T0" fmla="*/ 0 w 678"/>
                <a:gd name="T1" fmla="*/ 678 h 1355"/>
                <a:gd name="T2" fmla="*/ 3 w 678"/>
                <a:gd name="T3" fmla="*/ 747 h 1355"/>
                <a:gd name="T4" fmla="*/ 14 w 678"/>
                <a:gd name="T5" fmla="*/ 814 h 1355"/>
                <a:gd name="T6" fmla="*/ 31 w 678"/>
                <a:gd name="T7" fmla="*/ 880 h 1355"/>
                <a:gd name="T8" fmla="*/ 53 w 678"/>
                <a:gd name="T9" fmla="*/ 942 h 1355"/>
                <a:gd name="T10" fmla="*/ 82 w 678"/>
                <a:gd name="T11" fmla="*/ 1001 h 1355"/>
                <a:gd name="T12" fmla="*/ 115 w 678"/>
                <a:gd name="T13" fmla="*/ 1057 h 1355"/>
                <a:gd name="T14" fmla="*/ 155 w 678"/>
                <a:gd name="T15" fmla="*/ 1109 h 1355"/>
                <a:gd name="T16" fmla="*/ 198 w 678"/>
                <a:gd name="T17" fmla="*/ 1157 h 1355"/>
                <a:gd name="T18" fmla="*/ 246 w 678"/>
                <a:gd name="T19" fmla="*/ 1201 h 1355"/>
                <a:gd name="T20" fmla="*/ 299 w 678"/>
                <a:gd name="T21" fmla="*/ 1240 h 1355"/>
                <a:gd name="T22" fmla="*/ 355 w 678"/>
                <a:gd name="T23" fmla="*/ 1274 h 1355"/>
                <a:gd name="T24" fmla="*/ 413 w 678"/>
                <a:gd name="T25" fmla="*/ 1303 h 1355"/>
                <a:gd name="T26" fmla="*/ 476 w 678"/>
                <a:gd name="T27" fmla="*/ 1325 h 1355"/>
                <a:gd name="T28" fmla="*/ 541 w 678"/>
                <a:gd name="T29" fmla="*/ 1342 h 1355"/>
                <a:gd name="T30" fmla="*/ 608 w 678"/>
                <a:gd name="T31" fmla="*/ 1353 h 1355"/>
                <a:gd name="T32" fmla="*/ 678 w 678"/>
                <a:gd name="T33" fmla="*/ 1355 h 1355"/>
                <a:gd name="T34" fmla="*/ 678 w 678"/>
                <a:gd name="T35" fmla="*/ 0 h 1355"/>
                <a:gd name="T36" fmla="*/ 608 w 678"/>
                <a:gd name="T37" fmla="*/ 3 h 1355"/>
                <a:gd name="T38" fmla="*/ 541 w 678"/>
                <a:gd name="T39" fmla="*/ 13 h 1355"/>
                <a:gd name="T40" fmla="*/ 476 w 678"/>
                <a:gd name="T41" fmla="*/ 30 h 1355"/>
                <a:gd name="T42" fmla="*/ 413 w 678"/>
                <a:gd name="T43" fmla="*/ 53 h 1355"/>
                <a:gd name="T44" fmla="*/ 355 w 678"/>
                <a:gd name="T45" fmla="*/ 81 h 1355"/>
                <a:gd name="T46" fmla="*/ 299 w 678"/>
                <a:gd name="T47" fmla="*/ 116 h 1355"/>
                <a:gd name="T48" fmla="*/ 246 w 678"/>
                <a:gd name="T49" fmla="*/ 155 h 1355"/>
                <a:gd name="T50" fmla="*/ 198 w 678"/>
                <a:gd name="T51" fmla="*/ 198 h 1355"/>
                <a:gd name="T52" fmla="*/ 155 w 678"/>
                <a:gd name="T53" fmla="*/ 247 h 1355"/>
                <a:gd name="T54" fmla="*/ 115 w 678"/>
                <a:gd name="T55" fmla="*/ 298 h 1355"/>
                <a:gd name="T56" fmla="*/ 82 w 678"/>
                <a:gd name="T57" fmla="*/ 354 h 1355"/>
                <a:gd name="T58" fmla="*/ 53 w 678"/>
                <a:gd name="T59" fmla="*/ 414 h 1355"/>
                <a:gd name="T60" fmla="*/ 31 w 678"/>
                <a:gd name="T61" fmla="*/ 476 h 1355"/>
                <a:gd name="T62" fmla="*/ 14 w 678"/>
                <a:gd name="T63" fmla="*/ 541 h 1355"/>
                <a:gd name="T64" fmla="*/ 3 w 678"/>
                <a:gd name="T65" fmla="*/ 608 h 1355"/>
                <a:gd name="T66" fmla="*/ 0 w 678"/>
                <a:gd name="T67" fmla="*/ 678 h 1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78" h="1355">
                  <a:moveTo>
                    <a:pt x="0" y="678"/>
                  </a:moveTo>
                  <a:lnTo>
                    <a:pt x="0" y="678"/>
                  </a:lnTo>
                  <a:lnTo>
                    <a:pt x="0" y="713"/>
                  </a:lnTo>
                  <a:lnTo>
                    <a:pt x="3" y="747"/>
                  </a:lnTo>
                  <a:lnTo>
                    <a:pt x="7" y="781"/>
                  </a:lnTo>
                  <a:lnTo>
                    <a:pt x="14" y="814"/>
                  </a:lnTo>
                  <a:lnTo>
                    <a:pt x="21" y="847"/>
                  </a:lnTo>
                  <a:lnTo>
                    <a:pt x="31" y="880"/>
                  </a:lnTo>
                  <a:lnTo>
                    <a:pt x="40" y="910"/>
                  </a:lnTo>
                  <a:lnTo>
                    <a:pt x="53" y="942"/>
                  </a:lnTo>
                  <a:lnTo>
                    <a:pt x="66" y="971"/>
                  </a:lnTo>
                  <a:lnTo>
                    <a:pt x="82" y="1001"/>
                  </a:lnTo>
                  <a:lnTo>
                    <a:pt x="98" y="1030"/>
                  </a:lnTo>
                  <a:lnTo>
                    <a:pt x="115" y="1057"/>
                  </a:lnTo>
                  <a:lnTo>
                    <a:pt x="134" y="1083"/>
                  </a:lnTo>
                  <a:lnTo>
                    <a:pt x="155" y="1109"/>
                  </a:lnTo>
                  <a:lnTo>
                    <a:pt x="176" y="1133"/>
                  </a:lnTo>
                  <a:lnTo>
                    <a:pt x="198" y="1157"/>
                  </a:lnTo>
                  <a:lnTo>
                    <a:pt x="222" y="1180"/>
                  </a:lnTo>
                  <a:lnTo>
                    <a:pt x="246" y="1201"/>
                  </a:lnTo>
                  <a:lnTo>
                    <a:pt x="272" y="1221"/>
                  </a:lnTo>
                  <a:lnTo>
                    <a:pt x="299" y="1240"/>
                  </a:lnTo>
                  <a:lnTo>
                    <a:pt x="326" y="1258"/>
                  </a:lnTo>
                  <a:lnTo>
                    <a:pt x="355" y="1274"/>
                  </a:lnTo>
                  <a:lnTo>
                    <a:pt x="384" y="1290"/>
                  </a:lnTo>
                  <a:lnTo>
                    <a:pt x="413" y="1303"/>
                  </a:lnTo>
                  <a:lnTo>
                    <a:pt x="444" y="1315"/>
                  </a:lnTo>
                  <a:lnTo>
                    <a:pt x="476" y="1325"/>
                  </a:lnTo>
                  <a:lnTo>
                    <a:pt x="508" y="1335"/>
                  </a:lnTo>
                  <a:lnTo>
                    <a:pt x="541" y="1342"/>
                  </a:lnTo>
                  <a:lnTo>
                    <a:pt x="574" y="1348"/>
                  </a:lnTo>
                  <a:lnTo>
                    <a:pt x="608" y="1353"/>
                  </a:lnTo>
                  <a:lnTo>
                    <a:pt x="643" y="1355"/>
                  </a:lnTo>
                  <a:lnTo>
                    <a:pt x="678" y="1355"/>
                  </a:lnTo>
                  <a:lnTo>
                    <a:pt x="678" y="0"/>
                  </a:lnTo>
                  <a:lnTo>
                    <a:pt x="678" y="0"/>
                  </a:lnTo>
                  <a:lnTo>
                    <a:pt x="643" y="1"/>
                  </a:lnTo>
                  <a:lnTo>
                    <a:pt x="608" y="3"/>
                  </a:lnTo>
                  <a:lnTo>
                    <a:pt x="574" y="8"/>
                  </a:lnTo>
                  <a:lnTo>
                    <a:pt x="541" y="13"/>
                  </a:lnTo>
                  <a:lnTo>
                    <a:pt x="508" y="22"/>
                  </a:lnTo>
                  <a:lnTo>
                    <a:pt x="476" y="30"/>
                  </a:lnTo>
                  <a:lnTo>
                    <a:pt x="444" y="41"/>
                  </a:lnTo>
                  <a:lnTo>
                    <a:pt x="413" y="53"/>
                  </a:lnTo>
                  <a:lnTo>
                    <a:pt x="384" y="67"/>
                  </a:lnTo>
                  <a:lnTo>
                    <a:pt x="355" y="81"/>
                  </a:lnTo>
                  <a:lnTo>
                    <a:pt x="326" y="98"/>
                  </a:lnTo>
                  <a:lnTo>
                    <a:pt x="299" y="116"/>
                  </a:lnTo>
                  <a:lnTo>
                    <a:pt x="272" y="135"/>
                  </a:lnTo>
                  <a:lnTo>
                    <a:pt x="246" y="155"/>
                  </a:lnTo>
                  <a:lnTo>
                    <a:pt x="222" y="176"/>
                  </a:lnTo>
                  <a:lnTo>
                    <a:pt x="198" y="198"/>
                  </a:lnTo>
                  <a:lnTo>
                    <a:pt x="176" y="222"/>
                  </a:lnTo>
                  <a:lnTo>
                    <a:pt x="155" y="247"/>
                  </a:lnTo>
                  <a:lnTo>
                    <a:pt x="134" y="273"/>
                  </a:lnTo>
                  <a:lnTo>
                    <a:pt x="115" y="298"/>
                  </a:lnTo>
                  <a:lnTo>
                    <a:pt x="98" y="326"/>
                  </a:lnTo>
                  <a:lnTo>
                    <a:pt x="82" y="354"/>
                  </a:lnTo>
                  <a:lnTo>
                    <a:pt x="66" y="384"/>
                  </a:lnTo>
                  <a:lnTo>
                    <a:pt x="53" y="414"/>
                  </a:lnTo>
                  <a:lnTo>
                    <a:pt x="40" y="445"/>
                  </a:lnTo>
                  <a:lnTo>
                    <a:pt x="31" y="476"/>
                  </a:lnTo>
                  <a:lnTo>
                    <a:pt x="21" y="508"/>
                  </a:lnTo>
                  <a:lnTo>
                    <a:pt x="14" y="541"/>
                  </a:lnTo>
                  <a:lnTo>
                    <a:pt x="7" y="575"/>
                  </a:lnTo>
                  <a:lnTo>
                    <a:pt x="3" y="608"/>
                  </a:lnTo>
                  <a:lnTo>
                    <a:pt x="0" y="643"/>
                  </a:lnTo>
                  <a:lnTo>
                    <a:pt x="0" y="678"/>
                  </a:lnTo>
                  <a:lnTo>
                    <a:pt x="0" y="6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8" name="Freeform 1603"/>
            <p:cNvSpPr>
              <a:spLocks/>
            </p:cNvSpPr>
            <p:nvPr/>
          </p:nvSpPr>
          <p:spPr bwMode="auto">
            <a:xfrm>
              <a:off x="5429182" y="-1064358"/>
              <a:ext cx="256129" cy="514156"/>
            </a:xfrm>
            <a:custGeom>
              <a:avLst/>
              <a:gdLst>
                <a:gd name="T0" fmla="*/ 0 w 678"/>
                <a:gd name="T1" fmla="*/ 1355 h 1355"/>
                <a:gd name="T2" fmla="*/ 34 w 678"/>
                <a:gd name="T3" fmla="*/ 1355 h 1355"/>
                <a:gd name="T4" fmla="*/ 102 w 678"/>
                <a:gd name="T5" fmla="*/ 1348 h 1355"/>
                <a:gd name="T6" fmla="*/ 169 w 678"/>
                <a:gd name="T7" fmla="*/ 1335 h 1355"/>
                <a:gd name="T8" fmla="*/ 233 w 678"/>
                <a:gd name="T9" fmla="*/ 1315 h 1355"/>
                <a:gd name="T10" fmla="*/ 294 w 678"/>
                <a:gd name="T11" fmla="*/ 1290 h 1355"/>
                <a:gd name="T12" fmla="*/ 351 w 678"/>
                <a:gd name="T13" fmla="*/ 1258 h 1355"/>
                <a:gd name="T14" fmla="*/ 405 w 678"/>
                <a:gd name="T15" fmla="*/ 1221 h 1355"/>
                <a:gd name="T16" fmla="*/ 456 w 678"/>
                <a:gd name="T17" fmla="*/ 1180 h 1355"/>
                <a:gd name="T18" fmla="*/ 501 w 678"/>
                <a:gd name="T19" fmla="*/ 1133 h 1355"/>
                <a:gd name="T20" fmla="*/ 542 w 678"/>
                <a:gd name="T21" fmla="*/ 1083 h 1355"/>
                <a:gd name="T22" fmla="*/ 579 w 678"/>
                <a:gd name="T23" fmla="*/ 1030 h 1355"/>
                <a:gd name="T24" fmla="*/ 611 w 678"/>
                <a:gd name="T25" fmla="*/ 971 h 1355"/>
                <a:gd name="T26" fmla="*/ 636 w 678"/>
                <a:gd name="T27" fmla="*/ 910 h 1355"/>
                <a:gd name="T28" fmla="*/ 656 w 678"/>
                <a:gd name="T29" fmla="*/ 847 h 1355"/>
                <a:gd name="T30" fmla="*/ 669 w 678"/>
                <a:gd name="T31" fmla="*/ 781 h 1355"/>
                <a:gd name="T32" fmla="*/ 677 w 678"/>
                <a:gd name="T33" fmla="*/ 713 h 1355"/>
                <a:gd name="T34" fmla="*/ 678 w 678"/>
                <a:gd name="T35" fmla="*/ 678 h 1355"/>
                <a:gd name="T36" fmla="*/ 674 w 678"/>
                <a:gd name="T37" fmla="*/ 608 h 1355"/>
                <a:gd name="T38" fmla="*/ 663 w 678"/>
                <a:gd name="T39" fmla="*/ 541 h 1355"/>
                <a:gd name="T40" fmla="*/ 647 w 678"/>
                <a:gd name="T41" fmla="*/ 476 h 1355"/>
                <a:gd name="T42" fmla="*/ 624 w 678"/>
                <a:gd name="T43" fmla="*/ 414 h 1355"/>
                <a:gd name="T44" fmla="*/ 596 w 678"/>
                <a:gd name="T45" fmla="*/ 354 h 1355"/>
                <a:gd name="T46" fmla="*/ 562 w 678"/>
                <a:gd name="T47" fmla="*/ 298 h 1355"/>
                <a:gd name="T48" fmla="*/ 523 w 678"/>
                <a:gd name="T49" fmla="*/ 247 h 1355"/>
                <a:gd name="T50" fmla="*/ 479 w 678"/>
                <a:gd name="T51" fmla="*/ 198 h 1355"/>
                <a:gd name="T52" fmla="*/ 430 w 678"/>
                <a:gd name="T53" fmla="*/ 155 h 1355"/>
                <a:gd name="T54" fmla="*/ 379 w 678"/>
                <a:gd name="T55" fmla="*/ 116 h 1355"/>
                <a:gd name="T56" fmla="*/ 323 w 678"/>
                <a:gd name="T57" fmla="*/ 81 h 1355"/>
                <a:gd name="T58" fmla="*/ 263 w 678"/>
                <a:gd name="T59" fmla="*/ 53 h 1355"/>
                <a:gd name="T60" fmla="*/ 201 w 678"/>
                <a:gd name="T61" fmla="*/ 30 h 1355"/>
                <a:gd name="T62" fmla="*/ 136 w 678"/>
                <a:gd name="T63" fmla="*/ 13 h 1355"/>
                <a:gd name="T64" fmla="*/ 68 w 678"/>
                <a:gd name="T65" fmla="*/ 3 h 1355"/>
                <a:gd name="T66" fmla="*/ 0 w 678"/>
                <a:gd name="T67" fmla="*/ 0 h 1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78" h="1355">
                  <a:moveTo>
                    <a:pt x="0" y="0"/>
                  </a:moveTo>
                  <a:lnTo>
                    <a:pt x="0" y="1355"/>
                  </a:lnTo>
                  <a:lnTo>
                    <a:pt x="0" y="1355"/>
                  </a:lnTo>
                  <a:lnTo>
                    <a:pt x="34" y="1355"/>
                  </a:lnTo>
                  <a:lnTo>
                    <a:pt x="68" y="1353"/>
                  </a:lnTo>
                  <a:lnTo>
                    <a:pt x="102" y="1348"/>
                  </a:lnTo>
                  <a:lnTo>
                    <a:pt x="136" y="1342"/>
                  </a:lnTo>
                  <a:lnTo>
                    <a:pt x="169" y="1335"/>
                  </a:lnTo>
                  <a:lnTo>
                    <a:pt x="201" y="1325"/>
                  </a:lnTo>
                  <a:lnTo>
                    <a:pt x="233" y="1315"/>
                  </a:lnTo>
                  <a:lnTo>
                    <a:pt x="263" y="1303"/>
                  </a:lnTo>
                  <a:lnTo>
                    <a:pt x="294" y="1290"/>
                  </a:lnTo>
                  <a:lnTo>
                    <a:pt x="323" y="1274"/>
                  </a:lnTo>
                  <a:lnTo>
                    <a:pt x="351" y="1258"/>
                  </a:lnTo>
                  <a:lnTo>
                    <a:pt x="379" y="1240"/>
                  </a:lnTo>
                  <a:lnTo>
                    <a:pt x="405" y="1221"/>
                  </a:lnTo>
                  <a:lnTo>
                    <a:pt x="430" y="1201"/>
                  </a:lnTo>
                  <a:lnTo>
                    <a:pt x="456" y="1180"/>
                  </a:lnTo>
                  <a:lnTo>
                    <a:pt x="479" y="1157"/>
                  </a:lnTo>
                  <a:lnTo>
                    <a:pt x="501" y="1133"/>
                  </a:lnTo>
                  <a:lnTo>
                    <a:pt x="523" y="1109"/>
                  </a:lnTo>
                  <a:lnTo>
                    <a:pt x="542" y="1083"/>
                  </a:lnTo>
                  <a:lnTo>
                    <a:pt x="562" y="1057"/>
                  </a:lnTo>
                  <a:lnTo>
                    <a:pt x="579" y="1030"/>
                  </a:lnTo>
                  <a:lnTo>
                    <a:pt x="596" y="1001"/>
                  </a:lnTo>
                  <a:lnTo>
                    <a:pt x="611" y="971"/>
                  </a:lnTo>
                  <a:lnTo>
                    <a:pt x="624" y="942"/>
                  </a:lnTo>
                  <a:lnTo>
                    <a:pt x="636" y="910"/>
                  </a:lnTo>
                  <a:lnTo>
                    <a:pt x="647" y="880"/>
                  </a:lnTo>
                  <a:lnTo>
                    <a:pt x="656" y="847"/>
                  </a:lnTo>
                  <a:lnTo>
                    <a:pt x="663" y="814"/>
                  </a:lnTo>
                  <a:lnTo>
                    <a:pt x="669" y="781"/>
                  </a:lnTo>
                  <a:lnTo>
                    <a:pt x="674" y="747"/>
                  </a:lnTo>
                  <a:lnTo>
                    <a:pt x="677" y="713"/>
                  </a:lnTo>
                  <a:lnTo>
                    <a:pt x="678" y="678"/>
                  </a:lnTo>
                  <a:lnTo>
                    <a:pt x="678" y="678"/>
                  </a:lnTo>
                  <a:lnTo>
                    <a:pt x="677" y="643"/>
                  </a:lnTo>
                  <a:lnTo>
                    <a:pt x="674" y="608"/>
                  </a:lnTo>
                  <a:lnTo>
                    <a:pt x="669" y="575"/>
                  </a:lnTo>
                  <a:lnTo>
                    <a:pt x="663" y="541"/>
                  </a:lnTo>
                  <a:lnTo>
                    <a:pt x="656" y="508"/>
                  </a:lnTo>
                  <a:lnTo>
                    <a:pt x="647" y="476"/>
                  </a:lnTo>
                  <a:lnTo>
                    <a:pt x="636" y="445"/>
                  </a:lnTo>
                  <a:lnTo>
                    <a:pt x="624" y="414"/>
                  </a:lnTo>
                  <a:lnTo>
                    <a:pt x="611" y="384"/>
                  </a:lnTo>
                  <a:lnTo>
                    <a:pt x="596" y="354"/>
                  </a:lnTo>
                  <a:lnTo>
                    <a:pt x="579" y="326"/>
                  </a:lnTo>
                  <a:lnTo>
                    <a:pt x="562" y="298"/>
                  </a:lnTo>
                  <a:lnTo>
                    <a:pt x="542" y="273"/>
                  </a:lnTo>
                  <a:lnTo>
                    <a:pt x="523" y="247"/>
                  </a:lnTo>
                  <a:lnTo>
                    <a:pt x="501" y="222"/>
                  </a:lnTo>
                  <a:lnTo>
                    <a:pt x="479" y="198"/>
                  </a:lnTo>
                  <a:lnTo>
                    <a:pt x="456" y="176"/>
                  </a:lnTo>
                  <a:lnTo>
                    <a:pt x="430" y="155"/>
                  </a:lnTo>
                  <a:lnTo>
                    <a:pt x="405" y="135"/>
                  </a:lnTo>
                  <a:lnTo>
                    <a:pt x="379" y="116"/>
                  </a:lnTo>
                  <a:lnTo>
                    <a:pt x="351" y="98"/>
                  </a:lnTo>
                  <a:lnTo>
                    <a:pt x="323" y="81"/>
                  </a:lnTo>
                  <a:lnTo>
                    <a:pt x="294" y="67"/>
                  </a:lnTo>
                  <a:lnTo>
                    <a:pt x="263" y="53"/>
                  </a:lnTo>
                  <a:lnTo>
                    <a:pt x="233" y="41"/>
                  </a:lnTo>
                  <a:lnTo>
                    <a:pt x="201" y="30"/>
                  </a:lnTo>
                  <a:lnTo>
                    <a:pt x="169" y="22"/>
                  </a:lnTo>
                  <a:lnTo>
                    <a:pt x="136" y="13"/>
                  </a:lnTo>
                  <a:lnTo>
                    <a:pt x="102" y="8"/>
                  </a:lnTo>
                  <a:lnTo>
                    <a:pt x="68" y="3"/>
                  </a:lnTo>
                  <a:lnTo>
                    <a:pt x="34" y="1"/>
                  </a:lnTo>
                  <a:lnTo>
                    <a:pt x="0" y="0"/>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59" name="Freeform 1604"/>
            <p:cNvSpPr>
              <a:spLocks/>
            </p:cNvSpPr>
            <p:nvPr/>
          </p:nvSpPr>
          <p:spPr bwMode="auto">
            <a:xfrm>
              <a:off x="5171156" y="-829098"/>
              <a:ext cx="258027" cy="172649"/>
            </a:xfrm>
            <a:custGeom>
              <a:avLst/>
              <a:gdLst>
                <a:gd name="T0" fmla="*/ 678 w 678"/>
                <a:gd name="T1" fmla="*/ 0 h 454"/>
                <a:gd name="T2" fmla="*/ 3 w 678"/>
                <a:gd name="T3" fmla="*/ 0 h 454"/>
                <a:gd name="T4" fmla="*/ 3 w 678"/>
                <a:gd name="T5" fmla="*/ 0 h 454"/>
                <a:gd name="T6" fmla="*/ 0 w 678"/>
                <a:gd name="T7" fmla="*/ 30 h 454"/>
                <a:gd name="T8" fmla="*/ 0 w 678"/>
                <a:gd name="T9" fmla="*/ 61 h 454"/>
                <a:gd name="T10" fmla="*/ 0 w 678"/>
                <a:gd name="T11" fmla="*/ 61 h 454"/>
                <a:gd name="T12" fmla="*/ 0 w 678"/>
                <a:gd name="T13" fmla="*/ 89 h 454"/>
                <a:gd name="T14" fmla="*/ 1 w 678"/>
                <a:gd name="T15" fmla="*/ 115 h 454"/>
                <a:gd name="T16" fmla="*/ 5 w 678"/>
                <a:gd name="T17" fmla="*/ 142 h 454"/>
                <a:gd name="T18" fmla="*/ 9 w 678"/>
                <a:gd name="T19" fmla="*/ 169 h 454"/>
                <a:gd name="T20" fmla="*/ 12 w 678"/>
                <a:gd name="T21" fmla="*/ 195 h 454"/>
                <a:gd name="T22" fmla="*/ 18 w 678"/>
                <a:gd name="T23" fmla="*/ 220 h 454"/>
                <a:gd name="T24" fmla="*/ 26 w 678"/>
                <a:gd name="T25" fmla="*/ 246 h 454"/>
                <a:gd name="T26" fmla="*/ 33 w 678"/>
                <a:gd name="T27" fmla="*/ 271 h 454"/>
                <a:gd name="T28" fmla="*/ 42 w 678"/>
                <a:gd name="T29" fmla="*/ 296 h 454"/>
                <a:gd name="T30" fmla="*/ 51 w 678"/>
                <a:gd name="T31" fmla="*/ 320 h 454"/>
                <a:gd name="T32" fmla="*/ 61 w 678"/>
                <a:gd name="T33" fmla="*/ 343 h 454"/>
                <a:gd name="T34" fmla="*/ 73 w 678"/>
                <a:gd name="T35" fmla="*/ 367 h 454"/>
                <a:gd name="T36" fmla="*/ 85 w 678"/>
                <a:gd name="T37" fmla="*/ 390 h 454"/>
                <a:gd name="T38" fmla="*/ 98 w 678"/>
                <a:gd name="T39" fmla="*/ 412 h 454"/>
                <a:gd name="T40" fmla="*/ 111 w 678"/>
                <a:gd name="T41" fmla="*/ 434 h 454"/>
                <a:gd name="T42" fmla="*/ 126 w 678"/>
                <a:gd name="T43" fmla="*/ 454 h 454"/>
                <a:gd name="T44" fmla="*/ 678 w 678"/>
                <a:gd name="T45" fmla="*/ 454 h 454"/>
                <a:gd name="T46" fmla="*/ 678 w 678"/>
                <a:gd name="T47"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8" h="454">
                  <a:moveTo>
                    <a:pt x="678" y="0"/>
                  </a:moveTo>
                  <a:lnTo>
                    <a:pt x="3" y="0"/>
                  </a:lnTo>
                  <a:lnTo>
                    <a:pt x="3" y="0"/>
                  </a:lnTo>
                  <a:lnTo>
                    <a:pt x="0" y="30"/>
                  </a:lnTo>
                  <a:lnTo>
                    <a:pt x="0" y="61"/>
                  </a:lnTo>
                  <a:lnTo>
                    <a:pt x="0" y="61"/>
                  </a:lnTo>
                  <a:lnTo>
                    <a:pt x="0" y="89"/>
                  </a:lnTo>
                  <a:lnTo>
                    <a:pt x="1" y="115"/>
                  </a:lnTo>
                  <a:lnTo>
                    <a:pt x="5" y="142"/>
                  </a:lnTo>
                  <a:lnTo>
                    <a:pt x="9" y="169"/>
                  </a:lnTo>
                  <a:lnTo>
                    <a:pt x="12" y="195"/>
                  </a:lnTo>
                  <a:lnTo>
                    <a:pt x="18" y="220"/>
                  </a:lnTo>
                  <a:lnTo>
                    <a:pt x="26" y="246"/>
                  </a:lnTo>
                  <a:lnTo>
                    <a:pt x="33" y="271"/>
                  </a:lnTo>
                  <a:lnTo>
                    <a:pt x="42" y="296"/>
                  </a:lnTo>
                  <a:lnTo>
                    <a:pt x="51" y="320"/>
                  </a:lnTo>
                  <a:lnTo>
                    <a:pt x="61" y="343"/>
                  </a:lnTo>
                  <a:lnTo>
                    <a:pt x="73" y="367"/>
                  </a:lnTo>
                  <a:lnTo>
                    <a:pt x="85" y="390"/>
                  </a:lnTo>
                  <a:lnTo>
                    <a:pt x="98" y="412"/>
                  </a:lnTo>
                  <a:lnTo>
                    <a:pt x="111" y="434"/>
                  </a:lnTo>
                  <a:lnTo>
                    <a:pt x="126" y="454"/>
                  </a:lnTo>
                  <a:lnTo>
                    <a:pt x="678" y="454"/>
                  </a:lnTo>
                  <a:lnTo>
                    <a:pt x="678"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0" name="Freeform 1605"/>
            <p:cNvSpPr>
              <a:spLocks/>
            </p:cNvSpPr>
            <p:nvPr/>
          </p:nvSpPr>
          <p:spPr bwMode="auto">
            <a:xfrm>
              <a:off x="5429182" y="-829098"/>
              <a:ext cx="256129" cy="172649"/>
            </a:xfrm>
            <a:custGeom>
              <a:avLst/>
              <a:gdLst>
                <a:gd name="T0" fmla="*/ 0 w 678"/>
                <a:gd name="T1" fmla="*/ 454 h 454"/>
                <a:gd name="T2" fmla="*/ 551 w 678"/>
                <a:gd name="T3" fmla="*/ 454 h 454"/>
                <a:gd name="T4" fmla="*/ 551 w 678"/>
                <a:gd name="T5" fmla="*/ 454 h 454"/>
                <a:gd name="T6" fmla="*/ 566 w 678"/>
                <a:gd name="T7" fmla="*/ 434 h 454"/>
                <a:gd name="T8" fmla="*/ 579 w 678"/>
                <a:gd name="T9" fmla="*/ 412 h 454"/>
                <a:gd name="T10" fmla="*/ 592 w 678"/>
                <a:gd name="T11" fmla="*/ 390 h 454"/>
                <a:gd name="T12" fmla="*/ 605 w 678"/>
                <a:gd name="T13" fmla="*/ 367 h 454"/>
                <a:gd name="T14" fmla="*/ 616 w 678"/>
                <a:gd name="T15" fmla="*/ 343 h 454"/>
                <a:gd name="T16" fmla="*/ 625 w 678"/>
                <a:gd name="T17" fmla="*/ 320 h 454"/>
                <a:gd name="T18" fmla="*/ 635 w 678"/>
                <a:gd name="T19" fmla="*/ 296 h 454"/>
                <a:gd name="T20" fmla="*/ 644 w 678"/>
                <a:gd name="T21" fmla="*/ 271 h 454"/>
                <a:gd name="T22" fmla="*/ 652 w 678"/>
                <a:gd name="T23" fmla="*/ 246 h 454"/>
                <a:gd name="T24" fmla="*/ 658 w 678"/>
                <a:gd name="T25" fmla="*/ 220 h 454"/>
                <a:gd name="T26" fmla="*/ 664 w 678"/>
                <a:gd name="T27" fmla="*/ 195 h 454"/>
                <a:gd name="T28" fmla="*/ 669 w 678"/>
                <a:gd name="T29" fmla="*/ 169 h 454"/>
                <a:gd name="T30" fmla="*/ 673 w 678"/>
                <a:gd name="T31" fmla="*/ 142 h 454"/>
                <a:gd name="T32" fmla="*/ 675 w 678"/>
                <a:gd name="T33" fmla="*/ 115 h 454"/>
                <a:gd name="T34" fmla="*/ 677 w 678"/>
                <a:gd name="T35" fmla="*/ 89 h 454"/>
                <a:gd name="T36" fmla="*/ 678 w 678"/>
                <a:gd name="T37" fmla="*/ 61 h 454"/>
                <a:gd name="T38" fmla="*/ 678 w 678"/>
                <a:gd name="T39" fmla="*/ 61 h 454"/>
                <a:gd name="T40" fmla="*/ 677 w 678"/>
                <a:gd name="T41" fmla="*/ 30 h 454"/>
                <a:gd name="T42" fmla="*/ 674 w 678"/>
                <a:gd name="T43" fmla="*/ 0 h 454"/>
                <a:gd name="T44" fmla="*/ 0 w 678"/>
                <a:gd name="T45" fmla="*/ 0 h 454"/>
                <a:gd name="T46" fmla="*/ 0 w 678"/>
                <a:gd name="T47" fmla="*/ 454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8" h="454">
                  <a:moveTo>
                    <a:pt x="0" y="454"/>
                  </a:moveTo>
                  <a:lnTo>
                    <a:pt x="551" y="454"/>
                  </a:lnTo>
                  <a:lnTo>
                    <a:pt x="551" y="454"/>
                  </a:lnTo>
                  <a:lnTo>
                    <a:pt x="566" y="434"/>
                  </a:lnTo>
                  <a:lnTo>
                    <a:pt x="579" y="412"/>
                  </a:lnTo>
                  <a:lnTo>
                    <a:pt x="592" y="390"/>
                  </a:lnTo>
                  <a:lnTo>
                    <a:pt x="605" y="367"/>
                  </a:lnTo>
                  <a:lnTo>
                    <a:pt x="616" y="343"/>
                  </a:lnTo>
                  <a:lnTo>
                    <a:pt x="625" y="320"/>
                  </a:lnTo>
                  <a:lnTo>
                    <a:pt x="635" y="296"/>
                  </a:lnTo>
                  <a:lnTo>
                    <a:pt x="644" y="271"/>
                  </a:lnTo>
                  <a:lnTo>
                    <a:pt x="652" y="246"/>
                  </a:lnTo>
                  <a:lnTo>
                    <a:pt x="658" y="220"/>
                  </a:lnTo>
                  <a:lnTo>
                    <a:pt x="664" y="195"/>
                  </a:lnTo>
                  <a:lnTo>
                    <a:pt x="669" y="169"/>
                  </a:lnTo>
                  <a:lnTo>
                    <a:pt x="673" y="142"/>
                  </a:lnTo>
                  <a:lnTo>
                    <a:pt x="675" y="115"/>
                  </a:lnTo>
                  <a:lnTo>
                    <a:pt x="677" y="89"/>
                  </a:lnTo>
                  <a:lnTo>
                    <a:pt x="678" y="61"/>
                  </a:lnTo>
                  <a:lnTo>
                    <a:pt x="678" y="61"/>
                  </a:lnTo>
                  <a:lnTo>
                    <a:pt x="677" y="30"/>
                  </a:lnTo>
                  <a:lnTo>
                    <a:pt x="674" y="0"/>
                  </a:lnTo>
                  <a:lnTo>
                    <a:pt x="0" y="0"/>
                  </a:lnTo>
                  <a:lnTo>
                    <a:pt x="0" y="454"/>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1" name="Rectangle 1606"/>
            <p:cNvSpPr>
              <a:spLocks noChangeArrowheads="1"/>
            </p:cNvSpPr>
            <p:nvPr/>
          </p:nvSpPr>
          <p:spPr bwMode="auto">
            <a:xfrm>
              <a:off x="5317243" y="-806331"/>
              <a:ext cx="111938" cy="12521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2" name="Rectangle 1607"/>
            <p:cNvSpPr>
              <a:spLocks noChangeArrowheads="1"/>
            </p:cNvSpPr>
            <p:nvPr/>
          </p:nvSpPr>
          <p:spPr bwMode="auto">
            <a:xfrm>
              <a:off x="5429182" y="-806331"/>
              <a:ext cx="110041" cy="125219"/>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3" name="Freeform 1608"/>
            <p:cNvSpPr>
              <a:spLocks/>
            </p:cNvSpPr>
            <p:nvPr/>
          </p:nvSpPr>
          <p:spPr bwMode="auto">
            <a:xfrm>
              <a:off x="5391236" y="-781666"/>
              <a:ext cx="73993" cy="75891"/>
            </a:xfrm>
            <a:custGeom>
              <a:avLst/>
              <a:gdLst>
                <a:gd name="T0" fmla="*/ 199 w 199"/>
                <a:gd name="T1" fmla="*/ 98 h 198"/>
                <a:gd name="T2" fmla="*/ 197 w 199"/>
                <a:gd name="T3" fmla="*/ 119 h 198"/>
                <a:gd name="T4" fmla="*/ 191 w 199"/>
                <a:gd name="T5" fmla="*/ 137 h 198"/>
                <a:gd name="T6" fmla="*/ 182 w 199"/>
                <a:gd name="T7" fmla="*/ 154 h 198"/>
                <a:gd name="T8" fmla="*/ 169 w 199"/>
                <a:gd name="T9" fmla="*/ 169 h 198"/>
                <a:gd name="T10" fmla="*/ 155 w 199"/>
                <a:gd name="T11" fmla="*/ 181 h 198"/>
                <a:gd name="T12" fmla="*/ 138 w 199"/>
                <a:gd name="T13" fmla="*/ 191 h 198"/>
                <a:gd name="T14" fmla="*/ 119 w 199"/>
                <a:gd name="T15" fmla="*/ 196 h 198"/>
                <a:gd name="T16" fmla="*/ 100 w 199"/>
                <a:gd name="T17" fmla="*/ 198 h 198"/>
                <a:gd name="T18" fmla="*/ 89 w 199"/>
                <a:gd name="T19" fmla="*/ 198 h 198"/>
                <a:gd name="T20" fmla="*/ 69 w 199"/>
                <a:gd name="T21" fmla="*/ 193 h 198"/>
                <a:gd name="T22" fmla="*/ 52 w 199"/>
                <a:gd name="T23" fmla="*/ 186 h 198"/>
                <a:gd name="T24" fmla="*/ 37 w 199"/>
                <a:gd name="T25" fmla="*/ 175 h 198"/>
                <a:gd name="T26" fmla="*/ 23 w 199"/>
                <a:gd name="T27" fmla="*/ 162 h 198"/>
                <a:gd name="T28" fmla="*/ 12 w 199"/>
                <a:gd name="T29" fmla="*/ 146 h 198"/>
                <a:gd name="T30" fmla="*/ 5 w 199"/>
                <a:gd name="T31" fmla="*/ 129 h 198"/>
                <a:gd name="T32" fmla="*/ 0 w 199"/>
                <a:gd name="T33" fmla="*/ 109 h 198"/>
                <a:gd name="T34" fmla="*/ 0 w 199"/>
                <a:gd name="T35" fmla="*/ 98 h 198"/>
                <a:gd name="T36" fmla="*/ 2 w 199"/>
                <a:gd name="T37" fmla="*/ 79 h 198"/>
                <a:gd name="T38" fmla="*/ 7 w 199"/>
                <a:gd name="T39" fmla="*/ 61 h 198"/>
                <a:gd name="T40" fmla="*/ 17 w 199"/>
                <a:gd name="T41" fmla="*/ 43 h 198"/>
                <a:gd name="T42" fmla="*/ 29 w 199"/>
                <a:gd name="T43" fmla="*/ 29 h 198"/>
                <a:gd name="T44" fmla="*/ 44 w 199"/>
                <a:gd name="T45" fmla="*/ 17 h 198"/>
                <a:gd name="T46" fmla="*/ 61 w 199"/>
                <a:gd name="T47" fmla="*/ 7 h 198"/>
                <a:gd name="T48" fmla="*/ 79 w 199"/>
                <a:gd name="T49" fmla="*/ 1 h 198"/>
                <a:gd name="T50" fmla="*/ 100 w 199"/>
                <a:gd name="T51" fmla="*/ 0 h 198"/>
                <a:gd name="T52" fmla="*/ 110 w 199"/>
                <a:gd name="T53" fmla="*/ 0 h 198"/>
                <a:gd name="T54" fmla="*/ 129 w 199"/>
                <a:gd name="T55" fmla="*/ 3 h 198"/>
                <a:gd name="T56" fmla="*/ 148 w 199"/>
                <a:gd name="T57" fmla="*/ 12 h 198"/>
                <a:gd name="T58" fmla="*/ 163 w 199"/>
                <a:gd name="T59" fmla="*/ 22 h 198"/>
                <a:gd name="T60" fmla="*/ 177 w 199"/>
                <a:gd name="T61" fmla="*/ 35 h 198"/>
                <a:gd name="T62" fmla="*/ 187 w 199"/>
                <a:gd name="T63" fmla="*/ 51 h 198"/>
                <a:gd name="T64" fmla="*/ 195 w 199"/>
                <a:gd name="T65" fmla="*/ 69 h 198"/>
                <a:gd name="T66" fmla="*/ 199 w 199"/>
                <a:gd name="T67" fmla="*/ 89 h 198"/>
                <a:gd name="T68" fmla="*/ 199 w 199"/>
                <a:gd name="T69" fmla="*/ 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9" h="198">
                  <a:moveTo>
                    <a:pt x="199" y="98"/>
                  </a:moveTo>
                  <a:lnTo>
                    <a:pt x="199" y="98"/>
                  </a:lnTo>
                  <a:lnTo>
                    <a:pt x="199" y="109"/>
                  </a:lnTo>
                  <a:lnTo>
                    <a:pt x="197" y="119"/>
                  </a:lnTo>
                  <a:lnTo>
                    <a:pt x="195" y="129"/>
                  </a:lnTo>
                  <a:lnTo>
                    <a:pt x="191" y="137"/>
                  </a:lnTo>
                  <a:lnTo>
                    <a:pt x="187" y="146"/>
                  </a:lnTo>
                  <a:lnTo>
                    <a:pt x="182" y="154"/>
                  </a:lnTo>
                  <a:lnTo>
                    <a:pt x="177" y="162"/>
                  </a:lnTo>
                  <a:lnTo>
                    <a:pt x="169" y="169"/>
                  </a:lnTo>
                  <a:lnTo>
                    <a:pt x="163" y="175"/>
                  </a:lnTo>
                  <a:lnTo>
                    <a:pt x="155" y="181"/>
                  </a:lnTo>
                  <a:lnTo>
                    <a:pt x="148" y="186"/>
                  </a:lnTo>
                  <a:lnTo>
                    <a:pt x="138" y="191"/>
                  </a:lnTo>
                  <a:lnTo>
                    <a:pt x="129" y="193"/>
                  </a:lnTo>
                  <a:lnTo>
                    <a:pt x="119" y="196"/>
                  </a:lnTo>
                  <a:lnTo>
                    <a:pt x="110" y="198"/>
                  </a:lnTo>
                  <a:lnTo>
                    <a:pt x="100" y="198"/>
                  </a:lnTo>
                  <a:lnTo>
                    <a:pt x="100" y="198"/>
                  </a:lnTo>
                  <a:lnTo>
                    <a:pt x="89" y="198"/>
                  </a:lnTo>
                  <a:lnTo>
                    <a:pt x="79" y="196"/>
                  </a:lnTo>
                  <a:lnTo>
                    <a:pt x="69" y="193"/>
                  </a:lnTo>
                  <a:lnTo>
                    <a:pt x="61" y="191"/>
                  </a:lnTo>
                  <a:lnTo>
                    <a:pt x="52" y="186"/>
                  </a:lnTo>
                  <a:lnTo>
                    <a:pt x="44" y="181"/>
                  </a:lnTo>
                  <a:lnTo>
                    <a:pt x="37" y="175"/>
                  </a:lnTo>
                  <a:lnTo>
                    <a:pt x="29" y="169"/>
                  </a:lnTo>
                  <a:lnTo>
                    <a:pt x="23" y="162"/>
                  </a:lnTo>
                  <a:lnTo>
                    <a:pt x="17" y="154"/>
                  </a:lnTo>
                  <a:lnTo>
                    <a:pt x="12" y="146"/>
                  </a:lnTo>
                  <a:lnTo>
                    <a:pt x="7" y="137"/>
                  </a:lnTo>
                  <a:lnTo>
                    <a:pt x="5" y="129"/>
                  </a:lnTo>
                  <a:lnTo>
                    <a:pt x="2" y="119"/>
                  </a:lnTo>
                  <a:lnTo>
                    <a:pt x="0" y="109"/>
                  </a:lnTo>
                  <a:lnTo>
                    <a:pt x="0" y="98"/>
                  </a:lnTo>
                  <a:lnTo>
                    <a:pt x="0" y="98"/>
                  </a:lnTo>
                  <a:lnTo>
                    <a:pt x="0" y="89"/>
                  </a:lnTo>
                  <a:lnTo>
                    <a:pt x="2" y="79"/>
                  </a:lnTo>
                  <a:lnTo>
                    <a:pt x="5" y="69"/>
                  </a:lnTo>
                  <a:lnTo>
                    <a:pt x="7" y="61"/>
                  </a:lnTo>
                  <a:lnTo>
                    <a:pt x="12" y="51"/>
                  </a:lnTo>
                  <a:lnTo>
                    <a:pt x="17" y="43"/>
                  </a:lnTo>
                  <a:lnTo>
                    <a:pt x="23" y="35"/>
                  </a:lnTo>
                  <a:lnTo>
                    <a:pt x="29" y="29"/>
                  </a:lnTo>
                  <a:lnTo>
                    <a:pt x="37" y="22"/>
                  </a:lnTo>
                  <a:lnTo>
                    <a:pt x="44" y="17"/>
                  </a:lnTo>
                  <a:lnTo>
                    <a:pt x="52" y="12"/>
                  </a:lnTo>
                  <a:lnTo>
                    <a:pt x="61" y="7"/>
                  </a:lnTo>
                  <a:lnTo>
                    <a:pt x="69" y="3"/>
                  </a:lnTo>
                  <a:lnTo>
                    <a:pt x="79" y="1"/>
                  </a:lnTo>
                  <a:lnTo>
                    <a:pt x="89" y="0"/>
                  </a:lnTo>
                  <a:lnTo>
                    <a:pt x="100" y="0"/>
                  </a:lnTo>
                  <a:lnTo>
                    <a:pt x="100" y="0"/>
                  </a:lnTo>
                  <a:lnTo>
                    <a:pt x="110" y="0"/>
                  </a:lnTo>
                  <a:lnTo>
                    <a:pt x="119" y="1"/>
                  </a:lnTo>
                  <a:lnTo>
                    <a:pt x="129" y="3"/>
                  </a:lnTo>
                  <a:lnTo>
                    <a:pt x="138" y="7"/>
                  </a:lnTo>
                  <a:lnTo>
                    <a:pt x="148" y="12"/>
                  </a:lnTo>
                  <a:lnTo>
                    <a:pt x="155" y="17"/>
                  </a:lnTo>
                  <a:lnTo>
                    <a:pt x="163" y="22"/>
                  </a:lnTo>
                  <a:lnTo>
                    <a:pt x="169" y="29"/>
                  </a:lnTo>
                  <a:lnTo>
                    <a:pt x="177" y="35"/>
                  </a:lnTo>
                  <a:lnTo>
                    <a:pt x="182" y="43"/>
                  </a:lnTo>
                  <a:lnTo>
                    <a:pt x="187" y="51"/>
                  </a:lnTo>
                  <a:lnTo>
                    <a:pt x="191" y="61"/>
                  </a:lnTo>
                  <a:lnTo>
                    <a:pt x="195" y="69"/>
                  </a:lnTo>
                  <a:lnTo>
                    <a:pt x="197" y="79"/>
                  </a:lnTo>
                  <a:lnTo>
                    <a:pt x="199" y="89"/>
                  </a:lnTo>
                  <a:lnTo>
                    <a:pt x="199" y="98"/>
                  </a:lnTo>
                  <a:lnTo>
                    <a:pt x="199" y="98"/>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4" name="Freeform 1609"/>
            <p:cNvSpPr>
              <a:spLocks/>
            </p:cNvSpPr>
            <p:nvPr/>
          </p:nvSpPr>
          <p:spPr bwMode="auto">
            <a:xfrm>
              <a:off x="5387443" y="-973288"/>
              <a:ext cx="81582" cy="79685"/>
            </a:xfrm>
            <a:custGeom>
              <a:avLst/>
              <a:gdLst>
                <a:gd name="T0" fmla="*/ 212 w 212"/>
                <a:gd name="T1" fmla="*/ 106 h 212"/>
                <a:gd name="T2" fmla="*/ 210 w 212"/>
                <a:gd name="T3" fmla="*/ 127 h 212"/>
                <a:gd name="T4" fmla="*/ 203 w 212"/>
                <a:gd name="T5" fmla="*/ 148 h 212"/>
                <a:gd name="T6" fmla="*/ 194 w 212"/>
                <a:gd name="T7" fmla="*/ 165 h 212"/>
                <a:gd name="T8" fmla="*/ 180 w 212"/>
                <a:gd name="T9" fmla="*/ 181 h 212"/>
                <a:gd name="T10" fmla="*/ 164 w 212"/>
                <a:gd name="T11" fmla="*/ 194 h 212"/>
                <a:gd name="T12" fmla="*/ 147 w 212"/>
                <a:gd name="T13" fmla="*/ 204 h 212"/>
                <a:gd name="T14" fmla="*/ 127 w 212"/>
                <a:gd name="T15" fmla="*/ 210 h 212"/>
                <a:gd name="T16" fmla="*/ 106 w 212"/>
                <a:gd name="T17" fmla="*/ 212 h 212"/>
                <a:gd name="T18" fmla="*/ 95 w 212"/>
                <a:gd name="T19" fmla="*/ 211 h 212"/>
                <a:gd name="T20" fmla="*/ 74 w 212"/>
                <a:gd name="T21" fmla="*/ 207 h 212"/>
                <a:gd name="T22" fmla="*/ 55 w 212"/>
                <a:gd name="T23" fmla="*/ 199 h 212"/>
                <a:gd name="T24" fmla="*/ 38 w 212"/>
                <a:gd name="T25" fmla="*/ 188 h 212"/>
                <a:gd name="T26" fmla="*/ 23 w 212"/>
                <a:gd name="T27" fmla="*/ 173 h 212"/>
                <a:gd name="T28" fmla="*/ 12 w 212"/>
                <a:gd name="T29" fmla="*/ 156 h 212"/>
                <a:gd name="T30" fmla="*/ 4 w 212"/>
                <a:gd name="T31" fmla="*/ 138 h 212"/>
                <a:gd name="T32" fmla="*/ 0 w 212"/>
                <a:gd name="T33" fmla="*/ 117 h 212"/>
                <a:gd name="T34" fmla="*/ 0 w 212"/>
                <a:gd name="T35" fmla="*/ 106 h 212"/>
                <a:gd name="T36" fmla="*/ 1 w 212"/>
                <a:gd name="T37" fmla="*/ 84 h 212"/>
                <a:gd name="T38" fmla="*/ 7 w 212"/>
                <a:gd name="T39" fmla="*/ 65 h 212"/>
                <a:gd name="T40" fmla="*/ 17 w 212"/>
                <a:gd name="T41" fmla="*/ 47 h 212"/>
                <a:gd name="T42" fmla="*/ 30 w 212"/>
                <a:gd name="T43" fmla="*/ 31 h 212"/>
                <a:gd name="T44" fmla="*/ 46 w 212"/>
                <a:gd name="T45" fmla="*/ 19 h 212"/>
                <a:gd name="T46" fmla="*/ 65 w 212"/>
                <a:gd name="T47" fmla="*/ 8 h 212"/>
                <a:gd name="T48" fmla="*/ 84 w 212"/>
                <a:gd name="T49" fmla="*/ 1 h 212"/>
                <a:gd name="T50" fmla="*/ 106 w 212"/>
                <a:gd name="T51" fmla="*/ 0 h 212"/>
                <a:gd name="T52" fmla="*/ 117 w 212"/>
                <a:gd name="T53" fmla="*/ 0 h 212"/>
                <a:gd name="T54" fmla="*/ 138 w 212"/>
                <a:gd name="T55" fmla="*/ 5 h 212"/>
                <a:gd name="T56" fmla="*/ 156 w 212"/>
                <a:gd name="T57" fmla="*/ 12 h 212"/>
                <a:gd name="T58" fmla="*/ 173 w 212"/>
                <a:gd name="T59" fmla="*/ 25 h 212"/>
                <a:gd name="T60" fmla="*/ 188 w 212"/>
                <a:gd name="T61" fmla="*/ 38 h 212"/>
                <a:gd name="T62" fmla="*/ 199 w 212"/>
                <a:gd name="T63" fmla="*/ 55 h 212"/>
                <a:gd name="T64" fmla="*/ 207 w 212"/>
                <a:gd name="T65" fmla="*/ 75 h 212"/>
                <a:gd name="T66" fmla="*/ 211 w 212"/>
                <a:gd name="T67" fmla="*/ 95 h 212"/>
                <a:gd name="T68" fmla="*/ 212 w 212"/>
                <a:gd name="T69" fmla="*/ 106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2" h="212">
                  <a:moveTo>
                    <a:pt x="212" y="106"/>
                  </a:moveTo>
                  <a:lnTo>
                    <a:pt x="212" y="106"/>
                  </a:lnTo>
                  <a:lnTo>
                    <a:pt x="211" y="117"/>
                  </a:lnTo>
                  <a:lnTo>
                    <a:pt x="210" y="127"/>
                  </a:lnTo>
                  <a:lnTo>
                    <a:pt x="207" y="138"/>
                  </a:lnTo>
                  <a:lnTo>
                    <a:pt x="203" y="148"/>
                  </a:lnTo>
                  <a:lnTo>
                    <a:pt x="199" y="156"/>
                  </a:lnTo>
                  <a:lnTo>
                    <a:pt x="194" y="165"/>
                  </a:lnTo>
                  <a:lnTo>
                    <a:pt x="188" y="173"/>
                  </a:lnTo>
                  <a:lnTo>
                    <a:pt x="180" y="181"/>
                  </a:lnTo>
                  <a:lnTo>
                    <a:pt x="173" y="188"/>
                  </a:lnTo>
                  <a:lnTo>
                    <a:pt x="164" y="194"/>
                  </a:lnTo>
                  <a:lnTo>
                    <a:pt x="156" y="199"/>
                  </a:lnTo>
                  <a:lnTo>
                    <a:pt x="147" y="204"/>
                  </a:lnTo>
                  <a:lnTo>
                    <a:pt x="138" y="207"/>
                  </a:lnTo>
                  <a:lnTo>
                    <a:pt x="127" y="210"/>
                  </a:lnTo>
                  <a:lnTo>
                    <a:pt x="117" y="211"/>
                  </a:lnTo>
                  <a:lnTo>
                    <a:pt x="106" y="212"/>
                  </a:lnTo>
                  <a:lnTo>
                    <a:pt x="106" y="212"/>
                  </a:lnTo>
                  <a:lnTo>
                    <a:pt x="95" y="211"/>
                  </a:lnTo>
                  <a:lnTo>
                    <a:pt x="84" y="210"/>
                  </a:lnTo>
                  <a:lnTo>
                    <a:pt x="74" y="207"/>
                  </a:lnTo>
                  <a:lnTo>
                    <a:pt x="65" y="204"/>
                  </a:lnTo>
                  <a:lnTo>
                    <a:pt x="55" y="199"/>
                  </a:lnTo>
                  <a:lnTo>
                    <a:pt x="46" y="194"/>
                  </a:lnTo>
                  <a:lnTo>
                    <a:pt x="38" y="188"/>
                  </a:lnTo>
                  <a:lnTo>
                    <a:pt x="30" y="181"/>
                  </a:lnTo>
                  <a:lnTo>
                    <a:pt x="23" y="173"/>
                  </a:lnTo>
                  <a:lnTo>
                    <a:pt x="17" y="165"/>
                  </a:lnTo>
                  <a:lnTo>
                    <a:pt x="12" y="156"/>
                  </a:lnTo>
                  <a:lnTo>
                    <a:pt x="7" y="148"/>
                  </a:lnTo>
                  <a:lnTo>
                    <a:pt x="4" y="138"/>
                  </a:lnTo>
                  <a:lnTo>
                    <a:pt x="1" y="127"/>
                  </a:lnTo>
                  <a:lnTo>
                    <a:pt x="0" y="117"/>
                  </a:lnTo>
                  <a:lnTo>
                    <a:pt x="0" y="106"/>
                  </a:lnTo>
                  <a:lnTo>
                    <a:pt x="0" y="106"/>
                  </a:lnTo>
                  <a:lnTo>
                    <a:pt x="0" y="95"/>
                  </a:lnTo>
                  <a:lnTo>
                    <a:pt x="1" y="84"/>
                  </a:lnTo>
                  <a:lnTo>
                    <a:pt x="4" y="75"/>
                  </a:lnTo>
                  <a:lnTo>
                    <a:pt x="7" y="65"/>
                  </a:lnTo>
                  <a:lnTo>
                    <a:pt x="12" y="55"/>
                  </a:lnTo>
                  <a:lnTo>
                    <a:pt x="17" y="47"/>
                  </a:lnTo>
                  <a:lnTo>
                    <a:pt x="23" y="38"/>
                  </a:lnTo>
                  <a:lnTo>
                    <a:pt x="30" y="31"/>
                  </a:lnTo>
                  <a:lnTo>
                    <a:pt x="38" y="25"/>
                  </a:lnTo>
                  <a:lnTo>
                    <a:pt x="46" y="19"/>
                  </a:lnTo>
                  <a:lnTo>
                    <a:pt x="55" y="12"/>
                  </a:lnTo>
                  <a:lnTo>
                    <a:pt x="65" y="8"/>
                  </a:lnTo>
                  <a:lnTo>
                    <a:pt x="74" y="5"/>
                  </a:lnTo>
                  <a:lnTo>
                    <a:pt x="84" y="1"/>
                  </a:lnTo>
                  <a:lnTo>
                    <a:pt x="95" y="0"/>
                  </a:lnTo>
                  <a:lnTo>
                    <a:pt x="106" y="0"/>
                  </a:lnTo>
                  <a:lnTo>
                    <a:pt x="106" y="0"/>
                  </a:lnTo>
                  <a:lnTo>
                    <a:pt x="117" y="0"/>
                  </a:lnTo>
                  <a:lnTo>
                    <a:pt x="127" y="1"/>
                  </a:lnTo>
                  <a:lnTo>
                    <a:pt x="138" y="5"/>
                  </a:lnTo>
                  <a:lnTo>
                    <a:pt x="147" y="8"/>
                  </a:lnTo>
                  <a:lnTo>
                    <a:pt x="156" y="12"/>
                  </a:lnTo>
                  <a:lnTo>
                    <a:pt x="164" y="19"/>
                  </a:lnTo>
                  <a:lnTo>
                    <a:pt x="173" y="25"/>
                  </a:lnTo>
                  <a:lnTo>
                    <a:pt x="180" y="31"/>
                  </a:lnTo>
                  <a:lnTo>
                    <a:pt x="188" y="38"/>
                  </a:lnTo>
                  <a:lnTo>
                    <a:pt x="194" y="47"/>
                  </a:lnTo>
                  <a:lnTo>
                    <a:pt x="199" y="55"/>
                  </a:lnTo>
                  <a:lnTo>
                    <a:pt x="203" y="65"/>
                  </a:lnTo>
                  <a:lnTo>
                    <a:pt x="207" y="75"/>
                  </a:lnTo>
                  <a:lnTo>
                    <a:pt x="210" y="84"/>
                  </a:lnTo>
                  <a:lnTo>
                    <a:pt x="211" y="95"/>
                  </a:lnTo>
                  <a:lnTo>
                    <a:pt x="212" y="106"/>
                  </a:lnTo>
                  <a:lnTo>
                    <a:pt x="212" y="106"/>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5" name="Freeform 1610"/>
            <p:cNvSpPr>
              <a:spLocks/>
            </p:cNvSpPr>
            <p:nvPr/>
          </p:nvSpPr>
          <p:spPr bwMode="auto">
            <a:xfrm>
              <a:off x="5395029" y="-1252184"/>
              <a:ext cx="66404" cy="64507"/>
            </a:xfrm>
            <a:custGeom>
              <a:avLst/>
              <a:gdLst>
                <a:gd name="T0" fmla="*/ 175 w 175"/>
                <a:gd name="T1" fmla="*/ 88 h 174"/>
                <a:gd name="T2" fmla="*/ 173 w 175"/>
                <a:gd name="T3" fmla="*/ 105 h 174"/>
                <a:gd name="T4" fmla="*/ 167 w 175"/>
                <a:gd name="T5" fmla="*/ 121 h 174"/>
                <a:gd name="T6" fmla="*/ 160 w 175"/>
                <a:gd name="T7" fmla="*/ 137 h 174"/>
                <a:gd name="T8" fmla="*/ 149 w 175"/>
                <a:gd name="T9" fmla="*/ 149 h 174"/>
                <a:gd name="T10" fmla="*/ 137 w 175"/>
                <a:gd name="T11" fmla="*/ 160 h 174"/>
                <a:gd name="T12" fmla="*/ 121 w 175"/>
                <a:gd name="T13" fmla="*/ 167 h 174"/>
                <a:gd name="T14" fmla="*/ 105 w 175"/>
                <a:gd name="T15" fmla="*/ 173 h 174"/>
                <a:gd name="T16" fmla="*/ 88 w 175"/>
                <a:gd name="T17" fmla="*/ 174 h 174"/>
                <a:gd name="T18" fmla="*/ 78 w 175"/>
                <a:gd name="T19" fmla="*/ 174 h 174"/>
                <a:gd name="T20" fmla="*/ 61 w 175"/>
                <a:gd name="T21" fmla="*/ 171 h 174"/>
                <a:gd name="T22" fmla="*/ 47 w 175"/>
                <a:gd name="T23" fmla="*/ 163 h 174"/>
                <a:gd name="T24" fmla="*/ 32 w 175"/>
                <a:gd name="T25" fmla="*/ 155 h 174"/>
                <a:gd name="T26" fmla="*/ 21 w 175"/>
                <a:gd name="T27" fmla="*/ 143 h 174"/>
                <a:gd name="T28" fmla="*/ 11 w 175"/>
                <a:gd name="T29" fmla="*/ 129 h 174"/>
                <a:gd name="T30" fmla="*/ 4 w 175"/>
                <a:gd name="T31" fmla="*/ 113 h 174"/>
                <a:gd name="T32" fmla="*/ 1 w 175"/>
                <a:gd name="T33" fmla="*/ 96 h 174"/>
                <a:gd name="T34" fmla="*/ 0 w 175"/>
                <a:gd name="T35" fmla="*/ 88 h 174"/>
                <a:gd name="T36" fmla="*/ 3 w 175"/>
                <a:gd name="T37" fmla="*/ 70 h 174"/>
                <a:gd name="T38" fmla="*/ 7 w 175"/>
                <a:gd name="T39" fmla="*/ 54 h 174"/>
                <a:gd name="T40" fmla="*/ 15 w 175"/>
                <a:gd name="T41" fmla="*/ 39 h 174"/>
                <a:gd name="T42" fmla="*/ 26 w 175"/>
                <a:gd name="T43" fmla="*/ 26 h 174"/>
                <a:gd name="T44" fmla="*/ 39 w 175"/>
                <a:gd name="T45" fmla="*/ 15 h 174"/>
                <a:gd name="T46" fmla="*/ 54 w 175"/>
                <a:gd name="T47" fmla="*/ 7 h 174"/>
                <a:gd name="T48" fmla="*/ 70 w 175"/>
                <a:gd name="T49" fmla="*/ 3 h 174"/>
                <a:gd name="T50" fmla="*/ 88 w 175"/>
                <a:gd name="T51" fmla="*/ 0 h 174"/>
                <a:gd name="T52" fmla="*/ 96 w 175"/>
                <a:gd name="T53" fmla="*/ 1 h 174"/>
                <a:gd name="T54" fmla="*/ 114 w 175"/>
                <a:gd name="T55" fmla="*/ 4 h 174"/>
                <a:gd name="T56" fmla="*/ 129 w 175"/>
                <a:gd name="T57" fmla="*/ 11 h 174"/>
                <a:gd name="T58" fmla="*/ 143 w 175"/>
                <a:gd name="T59" fmla="*/ 20 h 174"/>
                <a:gd name="T60" fmla="*/ 155 w 175"/>
                <a:gd name="T61" fmla="*/ 32 h 174"/>
                <a:gd name="T62" fmla="*/ 164 w 175"/>
                <a:gd name="T63" fmla="*/ 46 h 174"/>
                <a:gd name="T64" fmla="*/ 171 w 175"/>
                <a:gd name="T65" fmla="*/ 61 h 174"/>
                <a:gd name="T66" fmla="*/ 175 w 175"/>
                <a:gd name="T67" fmla="*/ 78 h 174"/>
                <a:gd name="T68" fmla="*/ 175 w 175"/>
                <a:gd name="T69" fmla="*/ 8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5" h="174">
                  <a:moveTo>
                    <a:pt x="175" y="88"/>
                  </a:moveTo>
                  <a:lnTo>
                    <a:pt x="175" y="88"/>
                  </a:lnTo>
                  <a:lnTo>
                    <a:pt x="175" y="96"/>
                  </a:lnTo>
                  <a:lnTo>
                    <a:pt x="173" y="105"/>
                  </a:lnTo>
                  <a:lnTo>
                    <a:pt x="171" y="113"/>
                  </a:lnTo>
                  <a:lnTo>
                    <a:pt x="167" y="121"/>
                  </a:lnTo>
                  <a:lnTo>
                    <a:pt x="164" y="129"/>
                  </a:lnTo>
                  <a:lnTo>
                    <a:pt x="160" y="137"/>
                  </a:lnTo>
                  <a:lnTo>
                    <a:pt x="155" y="143"/>
                  </a:lnTo>
                  <a:lnTo>
                    <a:pt x="149" y="149"/>
                  </a:lnTo>
                  <a:lnTo>
                    <a:pt x="143" y="155"/>
                  </a:lnTo>
                  <a:lnTo>
                    <a:pt x="137" y="160"/>
                  </a:lnTo>
                  <a:lnTo>
                    <a:pt x="129" y="163"/>
                  </a:lnTo>
                  <a:lnTo>
                    <a:pt x="121" y="167"/>
                  </a:lnTo>
                  <a:lnTo>
                    <a:pt x="114" y="171"/>
                  </a:lnTo>
                  <a:lnTo>
                    <a:pt x="105" y="173"/>
                  </a:lnTo>
                  <a:lnTo>
                    <a:pt x="96" y="174"/>
                  </a:lnTo>
                  <a:lnTo>
                    <a:pt x="88" y="174"/>
                  </a:lnTo>
                  <a:lnTo>
                    <a:pt x="88" y="174"/>
                  </a:lnTo>
                  <a:lnTo>
                    <a:pt x="78" y="174"/>
                  </a:lnTo>
                  <a:lnTo>
                    <a:pt x="70" y="173"/>
                  </a:lnTo>
                  <a:lnTo>
                    <a:pt x="61" y="171"/>
                  </a:lnTo>
                  <a:lnTo>
                    <a:pt x="54" y="167"/>
                  </a:lnTo>
                  <a:lnTo>
                    <a:pt x="47" y="163"/>
                  </a:lnTo>
                  <a:lnTo>
                    <a:pt x="39" y="160"/>
                  </a:lnTo>
                  <a:lnTo>
                    <a:pt x="32" y="155"/>
                  </a:lnTo>
                  <a:lnTo>
                    <a:pt x="26" y="149"/>
                  </a:lnTo>
                  <a:lnTo>
                    <a:pt x="21" y="143"/>
                  </a:lnTo>
                  <a:lnTo>
                    <a:pt x="15" y="137"/>
                  </a:lnTo>
                  <a:lnTo>
                    <a:pt x="11" y="129"/>
                  </a:lnTo>
                  <a:lnTo>
                    <a:pt x="7" y="121"/>
                  </a:lnTo>
                  <a:lnTo>
                    <a:pt x="4" y="113"/>
                  </a:lnTo>
                  <a:lnTo>
                    <a:pt x="3" y="105"/>
                  </a:lnTo>
                  <a:lnTo>
                    <a:pt x="1" y="96"/>
                  </a:lnTo>
                  <a:lnTo>
                    <a:pt x="0" y="88"/>
                  </a:lnTo>
                  <a:lnTo>
                    <a:pt x="0" y="88"/>
                  </a:lnTo>
                  <a:lnTo>
                    <a:pt x="1" y="78"/>
                  </a:lnTo>
                  <a:lnTo>
                    <a:pt x="3" y="70"/>
                  </a:lnTo>
                  <a:lnTo>
                    <a:pt x="4" y="61"/>
                  </a:lnTo>
                  <a:lnTo>
                    <a:pt x="7" y="54"/>
                  </a:lnTo>
                  <a:lnTo>
                    <a:pt x="11" y="46"/>
                  </a:lnTo>
                  <a:lnTo>
                    <a:pt x="15" y="39"/>
                  </a:lnTo>
                  <a:lnTo>
                    <a:pt x="21" y="32"/>
                  </a:lnTo>
                  <a:lnTo>
                    <a:pt x="26" y="26"/>
                  </a:lnTo>
                  <a:lnTo>
                    <a:pt x="32" y="20"/>
                  </a:lnTo>
                  <a:lnTo>
                    <a:pt x="39" y="15"/>
                  </a:lnTo>
                  <a:lnTo>
                    <a:pt x="47" y="11"/>
                  </a:lnTo>
                  <a:lnTo>
                    <a:pt x="54" y="7"/>
                  </a:lnTo>
                  <a:lnTo>
                    <a:pt x="61" y="4"/>
                  </a:lnTo>
                  <a:lnTo>
                    <a:pt x="70" y="3"/>
                  </a:lnTo>
                  <a:lnTo>
                    <a:pt x="78" y="1"/>
                  </a:lnTo>
                  <a:lnTo>
                    <a:pt x="88" y="0"/>
                  </a:lnTo>
                  <a:lnTo>
                    <a:pt x="88" y="0"/>
                  </a:lnTo>
                  <a:lnTo>
                    <a:pt x="96" y="1"/>
                  </a:lnTo>
                  <a:lnTo>
                    <a:pt x="105" y="3"/>
                  </a:lnTo>
                  <a:lnTo>
                    <a:pt x="114" y="4"/>
                  </a:lnTo>
                  <a:lnTo>
                    <a:pt x="121" y="7"/>
                  </a:lnTo>
                  <a:lnTo>
                    <a:pt x="129" y="11"/>
                  </a:lnTo>
                  <a:lnTo>
                    <a:pt x="137" y="15"/>
                  </a:lnTo>
                  <a:lnTo>
                    <a:pt x="143" y="20"/>
                  </a:lnTo>
                  <a:lnTo>
                    <a:pt x="149" y="26"/>
                  </a:lnTo>
                  <a:lnTo>
                    <a:pt x="155" y="32"/>
                  </a:lnTo>
                  <a:lnTo>
                    <a:pt x="160" y="39"/>
                  </a:lnTo>
                  <a:lnTo>
                    <a:pt x="164" y="46"/>
                  </a:lnTo>
                  <a:lnTo>
                    <a:pt x="167" y="54"/>
                  </a:lnTo>
                  <a:lnTo>
                    <a:pt x="171" y="61"/>
                  </a:lnTo>
                  <a:lnTo>
                    <a:pt x="173" y="70"/>
                  </a:lnTo>
                  <a:lnTo>
                    <a:pt x="175" y="78"/>
                  </a:lnTo>
                  <a:lnTo>
                    <a:pt x="175" y="88"/>
                  </a:lnTo>
                  <a:lnTo>
                    <a:pt x="175" y="88"/>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6" name="Freeform 1611"/>
            <p:cNvSpPr>
              <a:spLocks/>
            </p:cNvSpPr>
            <p:nvPr/>
          </p:nvSpPr>
          <p:spPr bwMode="auto">
            <a:xfrm>
              <a:off x="5025068" y="-489490"/>
              <a:ext cx="45534" cy="43637"/>
            </a:xfrm>
            <a:custGeom>
              <a:avLst/>
              <a:gdLst>
                <a:gd name="T0" fmla="*/ 118 w 118"/>
                <a:gd name="T1" fmla="*/ 119 h 119"/>
                <a:gd name="T2" fmla="*/ 118 w 118"/>
                <a:gd name="T3" fmla="*/ 119 h 119"/>
                <a:gd name="T4" fmla="*/ 117 w 118"/>
                <a:gd name="T5" fmla="*/ 106 h 119"/>
                <a:gd name="T6" fmla="*/ 116 w 118"/>
                <a:gd name="T7" fmla="*/ 94 h 119"/>
                <a:gd name="T8" fmla="*/ 113 w 118"/>
                <a:gd name="T9" fmla="*/ 83 h 119"/>
                <a:gd name="T10" fmla="*/ 108 w 118"/>
                <a:gd name="T11" fmla="*/ 72 h 119"/>
                <a:gd name="T12" fmla="*/ 104 w 118"/>
                <a:gd name="T13" fmla="*/ 61 h 119"/>
                <a:gd name="T14" fmla="*/ 97 w 118"/>
                <a:gd name="T15" fmla="*/ 53 h 119"/>
                <a:gd name="T16" fmla="*/ 91 w 118"/>
                <a:gd name="T17" fmla="*/ 43 h 119"/>
                <a:gd name="T18" fmla="*/ 84 w 118"/>
                <a:gd name="T19" fmla="*/ 35 h 119"/>
                <a:gd name="T20" fmla="*/ 75 w 118"/>
                <a:gd name="T21" fmla="*/ 27 h 119"/>
                <a:gd name="T22" fmla="*/ 66 w 118"/>
                <a:gd name="T23" fmla="*/ 20 h 119"/>
                <a:gd name="T24" fmla="*/ 56 w 118"/>
                <a:gd name="T25" fmla="*/ 15 h 119"/>
                <a:gd name="T26" fmla="*/ 46 w 118"/>
                <a:gd name="T27" fmla="*/ 9 h 119"/>
                <a:gd name="T28" fmla="*/ 35 w 118"/>
                <a:gd name="T29" fmla="*/ 5 h 119"/>
                <a:gd name="T30" fmla="*/ 24 w 118"/>
                <a:gd name="T31" fmla="*/ 3 h 119"/>
                <a:gd name="T32" fmla="*/ 12 w 118"/>
                <a:gd name="T33" fmla="*/ 0 h 119"/>
                <a:gd name="T34" fmla="*/ 0 w 118"/>
                <a:gd name="T35" fmla="*/ 0 h 119"/>
                <a:gd name="T36" fmla="*/ 0 w 118"/>
                <a:gd name="T37" fmla="*/ 119 h 119"/>
                <a:gd name="T38" fmla="*/ 118 w 118"/>
                <a:gd name="T39"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19">
                  <a:moveTo>
                    <a:pt x="118" y="119"/>
                  </a:moveTo>
                  <a:lnTo>
                    <a:pt x="118" y="119"/>
                  </a:lnTo>
                  <a:lnTo>
                    <a:pt x="117" y="106"/>
                  </a:lnTo>
                  <a:lnTo>
                    <a:pt x="116" y="94"/>
                  </a:lnTo>
                  <a:lnTo>
                    <a:pt x="113" y="83"/>
                  </a:lnTo>
                  <a:lnTo>
                    <a:pt x="108" y="72"/>
                  </a:lnTo>
                  <a:lnTo>
                    <a:pt x="104" y="61"/>
                  </a:lnTo>
                  <a:lnTo>
                    <a:pt x="97" y="53"/>
                  </a:lnTo>
                  <a:lnTo>
                    <a:pt x="91" y="43"/>
                  </a:lnTo>
                  <a:lnTo>
                    <a:pt x="84" y="35"/>
                  </a:lnTo>
                  <a:lnTo>
                    <a:pt x="75" y="27"/>
                  </a:lnTo>
                  <a:lnTo>
                    <a:pt x="66" y="20"/>
                  </a:lnTo>
                  <a:lnTo>
                    <a:pt x="56" y="15"/>
                  </a:lnTo>
                  <a:lnTo>
                    <a:pt x="46" y="9"/>
                  </a:lnTo>
                  <a:lnTo>
                    <a:pt x="35" y="5"/>
                  </a:lnTo>
                  <a:lnTo>
                    <a:pt x="24" y="3"/>
                  </a:lnTo>
                  <a:lnTo>
                    <a:pt x="12" y="0"/>
                  </a:lnTo>
                  <a:lnTo>
                    <a:pt x="0" y="0"/>
                  </a:lnTo>
                  <a:lnTo>
                    <a:pt x="0" y="119"/>
                  </a:lnTo>
                  <a:lnTo>
                    <a:pt x="118" y="119"/>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7" name="Freeform 1613"/>
            <p:cNvSpPr>
              <a:spLocks/>
            </p:cNvSpPr>
            <p:nvPr/>
          </p:nvSpPr>
          <p:spPr bwMode="auto">
            <a:xfrm>
              <a:off x="4979534" y="-489490"/>
              <a:ext cx="45534" cy="43637"/>
            </a:xfrm>
            <a:custGeom>
              <a:avLst/>
              <a:gdLst>
                <a:gd name="T0" fmla="*/ 118 w 118"/>
                <a:gd name="T1" fmla="*/ 0 h 119"/>
                <a:gd name="T2" fmla="*/ 118 w 118"/>
                <a:gd name="T3" fmla="*/ 0 h 119"/>
                <a:gd name="T4" fmla="*/ 106 w 118"/>
                <a:gd name="T5" fmla="*/ 0 h 119"/>
                <a:gd name="T6" fmla="*/ 95 w 118"/>
                <a:gd name="T7" fmla="*/ 3 h 119"/>
                <a:gd name="T8" fmla="*/ 83 w 118"/>
                <a:gd name="T9" fmla="*/ 5 h 119"/>
                <a:gd name="T10" fmla="*/ 73 w 118"/>
                <a:gd name="T11" fmla="*/ 9 h 119"/>
                <a:gd name="T12" fmla="*/ 62 w 118"/>
                <a:gd name="T13" fmla="*/ 15 h 119"/>
                <a:gd name="T14" fmla="*/ 52 w 118"/>
                <a:gd name="T15" fmla="*/ 20 h 119"/>
                <a:gd name="T16" fmla="*/ 44 w 118"/>
                <a:gd name="T17" fmla="*/ 27 h 119"/>
                <a:gd name="T18" fmla="*/ 35 w 118"/>
                <a:gd name="T19" fmla="*/ 35 h 119"/>
                <a:gd name="T20" fmla="*/ 28 w 118"/>
                <a:gd name="T21" fmla="*/ 43 h 119"/>
                <a:gd name="T22" fmla="*/ 20 w 118"/>
                <a:gd name="T23" fmla="*/ 53 h 119"/>
                <a:gd name="T24" fmla="*/ 14 w 118"/>
                <a:gd name="T25" fmla="*/ 61 h 119"/>
                <a:gd name="T26" fmla="*/ 9 w 118"/>
                <a:gd name="T27" fmla="*/ 72 h 119"/>
                <a:gd name="T28" fmla="*/ 6 w 118"/>
                <a:gd name="T29" fmla="*/ 83 h 119"/>
                <a:gd name="T30" fmla="*/ 2 w 118"/>
                <a:gd name="T31" fmla="*/ 94 h 119"/>
                <a:gd name="T32" fmla="*/ 1 w 118"/>
                <a:gd name="T33" fmla="*/ 106 h 119"/>
                <a:gd name="T34" fmla="*/ 0 w 118"/>
                <a:gd name="T35" fmla="*/ 119 h 119"/>
                <a:gd name="T36" fmla="*/ 118 w 118"/>
                <a:gd name="T37" fmla="*/ 119 h 119"/>
                <a:gd name="T38" fmla="*/ 118 w 118"/>
                <a:gd name="T39"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19">
                  <a:moveTo>
                    <a:pt x="118" y="0"/>
                  </a:moveTo>
                  <a:lnTo>
                    <a:pt x="118" y="0"/>
                  </a:lnTo>
                  <a:lnTo>
                    <a:pt x="106" y="0"/>
                  </a:lnTo>
                  <a:lnTo>
                    <a:pt x="95" y="3"/>
                  </a:lnTo>
                  <a:lnTo>
                    <a:pt x="83" y="5"/>
                  </a:lnTo>
                  <a:lnTo>
                    <a:pt x="73" y="9"/>
                  </a:lnTo>
                  <a:lnTo>
                    <a:pt x="62" y="15"/>
                  </a:lnTo>
                  <a:lnTo>
                    <a:pt x="52" y="20"/>
                  </a:lnTo>
                  <a:lnTo>
                    <a:pt x="44" y="27"/>
                  </a:lnTo>
                  <a:lnTo>
                    <a:pt x="35" y="35"/>
                  </a:lnTo>
                  <a:lnTo>
                    <a:pt x="28" y="43"/>
                  </a:lnTo>
                  <a:lnTo>
                    <a:pt x="20" y="53"/>
                  </a:lnTo>
                  <a:lnTo>
                    <a:pt x="14" y="61"/>
                  </a:lnTo>
                  <a:lnTo>
                    <a:pt x="9" y="72"/>
                  </a:lnTo>
                  <a:lnTo>
                    <a:pt x="6" y="83"/>
                  </a:lnTo>
                  <a:lnTo>
                    <a:pt x="2" y="94"/>
                  </a:lnTo>
                  <a:lnTo>
                    <a:pt x="1" y="106"/>
                  </a:lnTo>
                  <a:lnTo>
                    <a:pt x="0" y="119"/>
                  </a:lnTo>
                  <a:lnTo>
                    <a:pt x="118" y="119"/>
                  </a:lnTo>
                  <a:lnTo>
                    <a:pt x="118"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8" name="Freeform 1614"/>
            <p:cNvSpPr>
              <a:spLocks/>
            </p:cNvSpPr>
            <p:nvPr/>
          </p:nvSpPr>
          <p:spPr bwMode="auto">
            <a:xfrm>
              <a:off x="5429182" y="-489490"/>
              <a:ext cx="43637" cy="43637"/>
            </a:xfrm>
            <a:custGeom>
              <a:avLst/>
              <a:gdLst>
                <a:gd name="T0" fmla="*/ 117 w 117"/>
                <a:gd name="T1" fmla="*/ 119 h 119"/>
                <a:gd name="T2" fmla="*/ 117 w 117"/>
                <a:gd name="T3" fmla="*/ 119 h 119"/>
                <a:gd name="T4" fmla="*/ 117 w 117"/>
                <a:gd name="T5" fmla="*/ 106 h 119"/>
                <a:gd name="T6" fmla="*/ 115 w 117"/>
                <a:gd name="T7" fmla="*/ 94 h 119"/>
                <a:gd name="T8" fmla="*/ 112 w 117"/>
                <a:gd name="T9" fmla="*/ 83 h 119"/>
                <a:gd name="T10" fmla="*/ 108 w 117"/>
                <a:gd name="T11" fmla="*/ 72 h 119"/>
                <a:gd name="T12" fmla="*/ 104 w 117"/>
                <a:gd name="T13" fmla="*/ 61 h 119"/>
                <a:gd name="T14" fmla="*/ 97 w 117"/>
                <a:gd name="T15" fmla="*/ 53 h 119"/>
                <a:gd name="T16" fmla="*/ 90 w 117"/>
                <a:gd name="T17" fmla="*/ 43 h 119"/>
                <a:gd name="T18" fmla="*/ 83 w 117"/>
                <a:gd name="T19" fmla="*/ 35 h 119"/>
                <a:gd name="T20" fmla="*/ 74 w 117"/>
                <a:gd name="T21" fmla="*/ 27 h 119"/>
                <a:gd name="T22" fmla="*/ 66 w 117"/>
                <a:gd name="T23" fmla="*/ 20 h 119"/>
                <a:gd name="T24" fmla="*/ 56 w 117"/>
                <a:gd name="T25" fmla="*/ 15 h 119"/>
                <a:gd name="T26" fmla="*/ 45 w 117"/>
                <a:gd name="T27" fmla="*/ 9 h 119"/>
                <a:gd name="T28" fmla="*/ 34 w 117"/>
                <a:gd name="T29" fmla="*/ 5 h 119"/>
                <a:gd name="T30" fmla="*/ 23 w 117"/>
                <a:gd name="T31" fmla="*/ 3 h 119"/>
                <a:gd name="T32" fmla="*/ 12 w 117"/>
                <a:gd name="T33" fmla="*/ 0 h 119"/>
                <a:gd name="T34" fmla="*/ 0 w 117"/>
                <a:gd name="T35" fmla="*/ 0 h 119"/>
                <a:gd name="T36" fmla="*/ 0 w 117"/>
                <a:gd name="T37" fmla="*/ 119 h 119"/>
                <a:gd name="T38" fmla="*/ 117 w 117"/>
                <a:gd name="T39"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7" h="119">
                  <a:moveTo>
                    <a:pt x="117" y="119"/>
                  </a:moveTo>
                  <a:lnTo>
                    <a:pt x="117" y="119"/>
                  </a:lnTo>
                  <a:lnTo>
                    <a:pt x="117" y="106"/>
                  </a:lnTo>
                  <a:lnTo>
                    <a:pt x="115" y="94"/>
                  </a:lnTo>
                  <a:lnTo>
                    <a:pt x="112" y="83"/>
                  </a:lnTo>
                  <a:lnTo>
                    <a:pt x="108" y="72"/>
                  </a:lnTo>
                  <a:lnTo>
                    <a:pt x="104" y="61"/>
                  </a:lnTo>
                  <a:lnTo>
                    <a:pt x="97" y="53"/>
                  </a:lnTo>
                  <a:lnTo>
                    <a:pt x="90" y="43"/>
                  </a:lnTo>
                  <a:lnTo>
                    <a:pt x="83" y="35"/>
                  </a:lnTo>
                  <a:lnTo>
                    <a:pt x="74" y="27"/>
                  </a:lnTo>
                  <a:lnTo>
                    <a:pt x="66" y="20"/>
                  </a:lnTo>
                  <a:lnTo>
                    <a:pt x="56" y="15"/>
                  </a:lnTo>
                  <a:lnTo>
                    <a:pt x="45" y="9"/>
                  </a:lnTo>
                  <a:lnTo>
                    <a:pt x="34" y="5"/>
                  </a:lnTo>
                  <a:lnTo>
                    <a:pt x="23" y="3"/>
                  </a:lnTo>
                  <a:lnTo>
                    <a:pt x="12" y="0"/>
                  </a:lnTo>
                  <a:lnTo>
                    <a:pt x="0" y="0"/>
                  </a:lnTo>
                  <a:lnTo>
                    <a:pt x="0" y="119"/>
                  </a:lnTo>
                  <a:lnTo>
                    <a:pt x="117" y="119"/>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9" name="Freeform 1615"/>
            <p:cNvSpPr>
              <a:spLocks/>
            </p:cNvSpPr>
            <p:nvPr/>
          </p:nvSpPr>
          <p:spPr bwMode="auto">
            <a:xfrm>
              <a:off x="5383647" y="-489490"/>
              <a:ext cx="45534" cy="43637"/>
            </a:xfrm>
            <a:custGeom>
              <a:avLst/>
              <a:gdLst>
                <a:gd name="T0" fmla="*/ 118 w 118"/>
                <a:gd name="T1" fmla="*/ 0 h 119"/>
                <a:gd name="T2" fmla="*/ 118 w 118"/>
                <a:gd name="T3" fmla="*/ 0 h 119"/>
                <a:gd name="T4" fmla="*/ 106 w 118"/>
                <a:gd name="T5" fmla="*/ 0 h 119"/>
                <a:gd name="T6" fmla="*/ 94 w 118"/>
                <a:gd name="T7" fmla="*/ 3 h 119"/>
                <a:gd name="T8" fmla="*/ 83 w 118"/>
                <a:gd name="T9" fmla="*/ 5 h 119"/>
                <a:gd name="T10" fmla="*/ 72 w 118"/>
                <a:gd name="T11" fmla="*/ 9 h 119"/>
                <a:gd name="T12" fmla="*/ 62 w 118"/>
                <a:gd name="T13" fmla="*/ 15 h 119"/>
                <a:gd name="T14" fmla="*/ 52 w 118"/>
                <a:gd name="T15" fmla="*/ 20 h 119"/>
                <a:gd name="T16" fmla="*/ 42 w 118"/>
                <a:gd name="T17" fmla="*/ 27 h 119"/>
                <a:gd name="T18" fmla="*/ 34 w 118"/>
                <a:gd name="T19" fmla="*/ 35 h 119"/>
                <a:gd name="T20" fmla="*/ 27 w 118"/>
                <a:gd name="T21" fmla="*/ 43 h 119"/>
                <a:gd name="T22" fmla="*/ 19 w 118"/>
                <a:gd name="T23" fmla="*/ 53 h 119"/>
                <a:gd name="T24" fmla="*/ 14 w 118"/>
                <a:gd name="T25" fmla="*/ 61 h 119"/>
                <a:gd name="T26" fmla="*/ 9 w 118"/>
                <a:gd name="T27" fmla="*/ 72 h 119"/>
                <a:gd name="T28" fmla="*/ 5 w 118"/>
                <a:gd name="T29" fmla="*/ 83 h 119"/>
                <a:gd name="T30" fmla="*/ 2 w 118"/>
                <a:gd name="T31" fmla="*/ 94 h 119"/>
                <a:gd name="T32" fmla="*/ 0 w 118"/>
                <a:gd name="T33" fmla="*/ 106 h 119"/>
                <a:gd name="T34" fmla="*/ 0 w 118"/>
                <a:gd name="T35" fmla="*/ 119 h 119"/>
                <a:gd name="T36" fmla="*/ 118 w 118"/>
                <a:gd name="T37" fmla="*/ 119 h 119"/>
                <a:gd name="T38" fmla="*/ 118 w 118"/>
                <a:gd name="T39"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19">
                  <a:moveTo>
                    <a:pt x="118" y="0"/>
                  </a:moveTo>
                  <a:lnTo>
                    <a:pt x="118" y="0"/>
                  </a:lnTo>
                  <a:lnTo>
                    <a:pt x="106" y="0"/>
                  </a:lnTo>
                  <a:lnTo>
                    <a:pt x="94" y="3"/>
                  </a:lnTo>
                  <a:lnTo>
                    <a:pt x="83" y="5"/>
                  </a:lnTo>
                  <a:lnTo>
                    <a:pt x="72" y="9"/>
                  </a:lnTo>
                  <a:lnTo>
                    <a:pt x="62" y="15"/>
                  </a:lnTo>
                  <a:lnTo>
                    <a:pt x="52" y="20"/>
                  </a:lnTo>
                  <a:lnTo>
                    <a:pt x="42" y="27"/>
                  </a:lnTo>
                  <a:lnTo>
                    <a:pt x="34" y="35"/>
                  </a:lnTo>
                  <a:lnTo>
                    <a:pt x="27" y="43"/>
                  </a:lnTo>
                  <a:lnTo>
                    <a:pt x="19" y="53"/>
                  </a:lnTo>
                  <a:lnTo>
                    <a:pt x="14" y="61"/>
                  </a:lnTo>
                  <a:lnTo>
                    <a:pt x="9" y="72"/>
                  </a:lnTo>
                  <a:lnTo>
                    <a:pt x="5" y="83"/>
                  </a:lnTo>
                  <a:lnTo>
                    <a:pt x="2" y="94"/>
                  </a:lnTo>
                  <a:lnTo>
                    <a:pt x="0" y="106"/>
                  </a:lnTo>
                  <a:lnTo>
                    <a:pt x="0" y="119"/>
                  </a:lnTo>
                  <a:lnTo>
                    <a:pt x="118" y="119"/>
                  </a:lnTo>
                  <a:lnTo>
                    <a:pt x="118"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0" name="Freeform 1616"/>
            <p:cNvSpPr>
              <a:spLocks/>
            </p:cNvSpPr>
            <p:nvPr/>
          </p:nvSpPr>
          <p:spPr bwMode="auto">
            <a:xfrm>
              <a:off x="5831400" y="-489490"/>
              <a:ext cx="45534" cy="43637"/>
            </a:xfrm>
            <a:custGeom>
              <a:avLst/>
              <a:gdLst>
                <a:gd name="T0" fmla="*/ 118 w 118"/>
                <a:gd name="T1" fmla="*/ 119 h 119"/>
                <a:gd name="T2" fmla="*/ 118 w 118"/>
                <a:gd name="T3" fmla="*/ 119 h 119"/>
                <a:gd name="T4" fmla="*/ 117 w 118"/>
                <a:gd name="T5" fmla="*/ 106 h 119"/>
                <a:gd name="T6" fmla="*/ 116 w 118"/>
                <a:gd name="T7" fmla="*/ 94 h 119"/>
                <a:gd name="T8" fmla="*/ 112 w 118"/>
                <a:gd name="T9" fmla="*/ 83 h 119"/>
                <a:gd name="T10" fmla="*/ 108 w 118"/>
                <a:gd name="T11" fmla="*/ 72 h 119"/>
                <a:gd name="T12" fmla="*/ 103 w 118"/>
                <a:gd name="T13" fmla="*/ 61 h 119"/>
                <a:gd name="T14" fmla="*/ 97 w 118"/>
                <a:gd name="T15" fmla="*/ 53 h 119"/>
                <a:gd name="T16" fmla="*/ 91 w 118"/>
                <a:gd name="T17" fmla="*/ 43 h 119"/>
                <a:gd name="T18" fmla="*/ 83 w 118"/>
                <a:gd name="T19" fmla="*/ 35 h 119"/>
                <a:gd name="T20" fmla="*/ 75 w 118"/>
                <a:gd name="T21" fmla="*/ 27 h 119"/>
                <a:gd name="T22" fmla="*/ 66 w 118"/>
                <a:gd name="T23" fmla="*/ 20 h 119"/>
                <a:gd name="T24" fmla="*/ 56 w 118"/>
                <a:gd name="T25" fmla="*/ 15 h 119"/>
                <a:gd name="T26" fmla="*/ 46 w 118"/>
                <a:gd name="T27" fmla="*/ 9 h 119"/>
                <a:gd name="T28" fmla="*/ 35 w 118"/>
                <a:gd name="T29" fmla="*/ 5 h 119"/>
                <a:gd name="T30" fmla="*/ 24 w 118"/>
                <a:gd name="T31" fmla="*/ 3 h 119"/>
                <a:gd name="T32" fmla="*/ 12 w 118"/>
                <a:gd name="T33" fmla="*/ 0 h 119"/>
                <a:gd name="T34" fmla="*/ 0 w 118"/>
                <a:gd name="T35" fmla="*/ 0 h 119"/>
                <a:gd name="T36" fmla="*/ 0 w 118"/>
                <a:gd name="T37" fmla="*/ 119 h 119"/>
                <a:gd name="T38" fmla="*/ 118 w 118"/>
                <a:gd name="T39"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19">
                  <a:moveTo>
                    <a:pt x="118" y="119"/>
                  </a:moveTo>
                  <a:lnTo>
                    <a:pt x="118" y="119"/>
                  </a:lnTo>
                  <a:lnTo>
                    <a:pt x="117" y="106"/>
                  </a:lnTo>
                  <a:lnTo>
                    <a:pt x="116" y="94"/>
                  </a:lnTo>
                  <a:lnTo>
                    <a:pt x="112" y="83"/>
                  </a:lnTo>
                  <a:lnTo>
                    <a:pt x="108" y="72"/>
                  </a:lnTo>
                  <a:lnTo>
                    <a:pt x="103" y="61"/>
                  </a:lnTo>
                  <a:lnTo>
                    <a:pt x="97" y="53"/>
                  </a:lnTo>
                  <a:lnTo>
                    <a:pt x="91" y="43"/>
                  </a:lnTo>
                  <a:lnTo>
                    <a:pt x="83" y="35"/>
                  </a:lnTo>
                  <a:lnTo>
                    <a:pt x="75" y="27"/>
                  </a:lnTo>
                  <a:lnTo>
                    <a:pt x="66" y="20"/>
                  </a:lnTo>
                  <a:lnTo>
                    <a:pt x="56" y="15"/>
                  </a:lnTo>
                  <a:lnTo>
                    <a:pt x="46" y="9"/>
                  </a:lnTo>
                  <a:lnTo>
                    <a:pt x="35" y="5"/>
                  </a:lnTo>
                  <a:lnTo>
                    <a:pt x="24" y="3"/>
                  </a:lnTo>
                  <a:lnTo>
                    <a:pt x="12" y="0"/>
                  </a:lnTo>
                  <a:lnTo>
                    <a:pt x="0" y="0"/>
                  </a:lnTo>
                  <a:lnTo>
                    <a:pt x="0" y="119"/>
                  </a:lnTo>
                  <a:lnTo>
                    <a:pt x="118" y="119"/>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1" name="Freeform 1617"/>
            <p:cNvSpPr>
              <a:spLocks/>
            </p:cNvSpPr>
            <p:nvPr/>
          </p:nvSpPr>
          <p:spPr bwMode="auto">
            <a:xfrm>
              <a:off x="5785869" y="-489490"/>
              <a:ext cx="45534" cy="43637"/>
            </a:xfrm>
            <a:custGeom>
              <a:avLst/>
              <a:gdLst>
                <a:gd name="T0" fmla="*/ 118 w 118"/>
                <a:gd name="T1" fmla="*/ 0 h 119"/>
                <a:gd name="T2" fmla="*/ 118 w 118"/>
                <a:gd name="T3" fmla="*/ 0 h 119"/>
                <a:gd name="T4" fmla="*/ 106 w 118"/>
                <a:gd name="T5" fmla="*/ 0 h 119"/>
                <a:gd name="T6" fmla="*/ 95 w 118"/>
                <a:gd name="T7" fmla="*/ 3 h 119"/>
                <a:gd name="T8" fmla="*/ 82 w 118"/>
                <a:gd name="T9" fmla="*/ 5 h 119"/>
                <a:gd name="T10" fmla="*/ 71 w 118"/>
                <a:gd name="T11" fmla="*/ 9 h 119"/>
                <a:gd name="T12" fmla="*/ 62 w 118"/>
                <a:gd name="T13" fmla="*/ 15 h 119"/>
                <a:gd name="T14" fmla="*/ 52 w 118"/>
                <a:gd name="T15" fmla="*/ 20 h 119"/>
                <a:gd name="T16" fmla="*/ 43 w 118"/>
                <a:gd name="T17" fmla="*/ 27 h 119"/>
                <a:gd name="T18" fmla="*/ 35 w 118"/>
                <a:gd name="T19" fmla="*/ 35 h 119"/>
                <a:gd name="T20" fmla="*/ 26 w 118"/>
                <a:gd name="T21" fmla="*/ 43 h 119"/>
                <a:gd name="T22" fmla="*/ 20 w 118"/>
                <a:gd name="T23" fmla="*/ 53 h 119"/>
                <a:gd name="T24" fmla="*/ 14 w 118"/>
                <a:gd name="T25" fmla="*/ 61 h 119"/>
                <a:gd name="T26" fmla="*/ 9 w 118"/>
                <a:gd name="T27" fmla="*/ 72 h 119"/>
                <a:gd name="T28" fmla="*/ 6 w 118"/>
                <a:gd name="T29" fmla="*/ 83 h 119"/>
                <a:gd name="T30" fmla="*/ 2 w 118"/>
                <a:gd name="T31" fmla="*/ 94 h 119"/>
                <a:gd name="T32" fmla="*/ 1 w 118"/>
                <a:gd name="T33" fmla="*/ 106 h 119"/>
                <a:gd name="T34" fmla="*/ 0 w 118"/>
                <a:gd name="T35" fmla="*/ 119 h 119"/>
                <a:gd name="T36" fmla="*/ 118 w 118"/>
                <a:gd name="T37" fmla="*/ 119 h 119"/>
                <a:gd name="T38" fmla="*/ 118 w 118"/>
                <a:gd name="T39"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19">
                  <a:moveTo>
                    <a:pt x="118" y="0"/>
                  </a:moveTo>
                  <a:lnTo>
                    <a:pt x="118" y="0"/>
                  </a:lnTo>
                  <a:lnTo>
                    <a:pt x="106" y="0"/>
                  </a:lnTo>
                  <a:lnTo>
                    <a:pt x="95" y="3"/>
                  </a:lnTo>
                  <a:lnTo>
                    <a:pt x="82" y="5"/>
                  </a:lnTo>
                  <a:lnTo>
                    <a:pt x="71" y="9"/>
                  </a:lnTo>
                  <a:lnTo>
                    <a:pt x="62" y="15"/>
                  </a:lnTo>
                  <a:lnTo>
                    <a:pt x="52" y="20"/>
                  </a:lnTo>
                  <a:lnTo>
                    <a:pt x="43" y="27"/>
                  </a:lnTo>
                  <a:lnTo>
                    <a:pt x="35" y="35"/>
                  </a:lnTo>
                  <a:lnTo>
                    <a:pt x="26" y="43"/>
                  </a:lnTo>
                  <a:lnTo>
                    <a:pt x="20" y="53"/>
                  </a:lnTo>
                  <a:lnTo>
                    <a:pt x="14" y="61"/>
                  </a:lnTo>
                  <a:lnTo>
                    <a:pt x="9" y="72"/>
                  </a:lnTo>
                  <a:lnTo>
                    <a:pt x="6" y="83"/>
                  </a:lnTo>
                  <a:lnTo>
                    <a:pt x="2" y="94"/>
                  </a:lnTo>
                  <a:lnTo>
                    <a:pt x="1" y="106"/>
                  </a:lnTo>
                  <a:lnTo>
                    <a:pt x="0" y="119"/>
                  </a:lnTo>
                  <a:lnTo>
                    <a:pt x="118" y="119"/>
                  </a:lnTo>
                  <a:lnTo>
                    <a:pt x="118"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2" name="Freeform 1618"/>
            <p:cNvSpPr>
              <a:spLocks/>
            </p:cNvSpPr>
            <p:nvPr/>
          </p:nvSpPr>
          <p:spPr bwMode="auto">
            <a:xfrm>
              <a:off x="5203412" y="-798742"/>
              <a:ext cx="53123" cy="53123"/>
            </a:xfrm>
            <a:custGeom>
              <a:avLst/>
              <a:gdLst>
                <a:gd name="T0" fmla="*/ 141 w 141"/>
                <a:gd name="T1" fmla="*/ 71 h 142"/>
                <a:gd name="T2" fmla="*/ 141 w 141"/>
                <a:gd name="T3" fmla="*/ 71 h 142"/>
                <a:gd name="T4" fmla="*/ 141 w 141"/>
                <a:gd name="T5" fmla="*/ 78 h 142"/>
                <a:gd name="T6" fmla="*/ 140 w 141"/>
                <a:gd name="T7" fmla="*/ 86 h 142"/>
                <a:gd name="T8" fmla="*/ 135 w 141"/>
                <a:gd name="T9" fmla="*/ 99 h 142"/>
                <a:gd name="T10" fmla="*/ 129 w 141"/>
                <a:gd name="T11" fmla="*/ 110 h 142"/>
                <a:gd name="T12" fmla="*/ 121 w 141"/>
                <a:gd name="T13" fmla="*/ 121 h 142"/>
                <a:gd name="T14" fmla="*/ 110 w 141"/>
                <a:gd name="T15" fmla="*/ 129 h 142"/>
                <a:gd name="T16" fmla="*/ 99 w 141"/>
                <a:gd name="T17" fmla="*/ 136 h 142"/>
                <a:gd name="T18" fmla="*/ 85 w 141"/>
                <a:gd name="T19" fmla="*/ 140 h 142"/>
                <a:gd name="T20" fmla="*/ 78 w 141"/>
                <a:gd name="T21" fmla="*/ 142 h 142"/>
                <a:gd name="T22" fmla="*/ 71 w 141"/>
                <a:gd name="T23" fmla="*/ 142 h 142"/>
                <a:gd name="T24" fmla="*/ 71 w 141"/>
                <a:gd name="T25" fmla="*/ 142 h 142"/>
                <a:gd name="T26" fmla="*/ 63 w 141"/>
                <a:gd name="T27" fmla="*/ 142 h 142"/>
                <a:gd name="T28" fmla="*/ 56 w 141"/>
                <a:gd name="T29" fmla="*/ 140 h 142"/>
                <a:gd name="T30" fmla="*/ 44 w 141"/>
                <a:gd name="T31" fmla="*/ 136 h 142"/>
                <a:gd name="T32" fmla="*/ 32 w 141"/>
                <a:gd name="T33" fmla="*/ 129 h 142"/>
                <a:gd name="T34" fmla="*/ 21 w 141"/>
                <a:gd name="T35" fmla="*/ 121 h 142"/>
                <a:gd name="T36" fmla="*/ 12 w 141"/>
                <a:gd name="T37" fmla="*/ 110 h 142"/>
                <a:gd name="T38" fmla="*/ 6 w 141"/>
                <a:gd name="T39" fmla="*/ 99 h 142"/>
                <a:gd name="T40" fmla="*/ 1 w 141"/>
                <a:gd name="T41" fmla="*/ 86 h 142"/>
                <a:gd name="T42" fmla="*/ 1 w 141"/>
                <a:gd name="T43" fmla="*/ 78 h 142"/>
                <a:gd name="T44" fmla="*/ 0 w 141"/>
                <a:gd name="T45" fmla="*/ 71 h 142"/>
                <a:gd name="T46" fmla="*/ 0 w 141"/>
                <a:gd name="T47" fmla="*/ 71 h 142"/>
                <a:gd name="T48" fmla="*/ 1 w 141"/>
                <a:gd name="T49" fmla="*/ 64 h 142"/>
                <a:gd name="T50" fmla="*/ 1 w 141"/>
                <a:gd name="T51" fmla="*/ 58 h 142"/>
                <a:gd name="T52" fmla="*/ 6 w 141"/>
                <a:gd name="T53" fmla="*/ 44 h 142"/>
                <a:gd name="T54" fmla="*/ 12 w 141"/>
                <a:gd name="T55" fmla="*/ 32 h 142"/>
                <a:gd name="T56" fmla="*/ 21 w 141"/>
                <a:gd name="T57" fmla="*/ 21 h 142"/>
                <a:gd name="T58" fmla="*/ 32 w 141"/>
                <a:gd name="T59" fmla="*/ 12 h 142"/>
                <a:gd name="T60" fmla="*/ 44 w 141"/>
                <a:gd name="T61" fmla="*/ 6 h 142"/>
                <a:gd name="T62" fmla="*/ 56 w 141"/>
                <a:gd name="T63" fmla="*/ 3 h 142"/>
                <a:gd name="T64" fmla="*/ 63 w 141"/>
                <a:gd name="T65" fmla="*/ 1 h 142"/>
                <a:gd name="T66" fmla="*/ 71 w 141"/>
                <a:gd name="T67" fmla="*/ 0 h 142"/>
                <a:gd name="T68" fmla="*/ 71 w 141"/>
                <a:gd name="T69" fmla="*/ 0 h 142"/>
                <a:gd name="T70" fmla="*/ 78 w 141"/>
                <a:gd name="T71" fmla="*/ 1 h 142"/>
                <a:gd name="T72" fmla="*/ 85 w 141"/>
                <a:gd name="T73" fmla="*/ 3 h 142"/>
                <a:gd name="T74" fmla="*/ 99 w 141"/>
                <a:gd name="T75" fmla="*/ 6 h 142"/>
                <a:gd name="T76" fmla="*/ 110 w 141"/>
                <a:gd name="T77" fmla="*/ 12 h 142"/>
                <a:gd name="T78" fmla="*/ 121 w 141"/>
                <a:gd name="T79" fmla="*/ 21 h 142"/>
                <a:gd name="T80" fmla="*/ 129 w 141"/>
                <a:gd name="T81" fmla="*/ 32 h 142"/>
                <a:gd name="T82" fmla="*/ 135 w 141"/>
                <a:gd name="T83" fmla="*/ 44 h 142"/>
                <a:gd name="T84" fmla="*/ 140 w 141"/>
                <a:gd name="T85" fmla="*/ 58 h 142"/>
                <a:gd name="T86" fmla="*/ 141 w 141"/>
                <a:gd name="T87" fmla="*/ 64 h 142"/>
                <a:gd name="T88" fmla="*/ 141 w 141"/>
                <a:gd name="T89" fmla="*/ 71 h 142"/>
                <a:gd name="T90" fmla="*/ 141 w 141"/>
                <a:gd name="T9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1" h="142">
                  <a:moveTo>
                    <a:pt x="141" y="71"/>
                  </a:moveTo>
                  <a:lnTo>
                    <a:pt x="141" y="71"/>
                  </a:lnTo>
                  <a:lnTo>
                    <a:pt x="141" y="78"/>
                  </a:lnTo>
                  <a:lnTo>
                    <a:pt x="140" y="86"/>
                  </a:lnTo>
                  <a:lnTo>
                    <a:pt x="135" y="99"/>
                  </a:lnTo>
                  <a:lnTo>
                    <a:pt x="129" y="110"/>
                  </a:lnTo>
                  <a:lnTo>
                    <a:pt x="121" y="121"/>
                  </a:lnTo>
                  <a:lnTo>
                    <a:pt x="110" y="129"/>
                  </a:lnTo>
                  <a:lnTo>
                    <a:pt x="99" y="136"/>
                  </a:lnTo>
                  <a:lnTo>
                    <a:pt x="85" y="140"/>
                  </a:lnTo>
                  <a:lnTo>
                    <a:pt x="78" y="142"/>
                  </a:lnTo>
                  <a:lnTo>
                    <a:pt x="71" y="142"/>
                  </a:lnTo>
                  <a:lnTo>
                    <a:pt x="71" y="142"/>
                  </a:lnTo>
                  <a:lnTo>
                    <a:pt x="63" y="142"/>
                  </a:lnTo>
                  <a:lnTo>
                    <a:pt x="56" y="140"/>
                  </a:lnTo>
                  <a:lnTo>
                    <a:pt x="44" y="136"/>
                  </a:lnTo>
                  <a:lnTo>
                    <a:pt x="32" y="129"/>
                  </a:lnTo>
                  <a:lnTo>
                    <a:pt x="21" y="121"/>
                  </a:lnTo>
                  <a:lnTo>
                    <a:pt x="12" y="110"/>
                  </a:lnTo>
                  <a:lnTo>
                    <a:pt x="6" y="99"/>
                  </a:lnTo>
                  <a:lnTo>
                    <a:pt x="1" y="86"/>
                  </a:lnTo>
                  <a:lnTo>
                    <a:pt x="1" y="78"/>
                  </a:lnTo>
                  <a:lnTo>
                    <a:pt x="0" y="71"/>
                  </a:lnTo>
                  <a:lnTo>
                    <a:pt x="0" y="71"/>
                  </a:lnTo>
                  <a:lnTo>
                    <a:pt x="1" y="64"/>
                  </a:lnTo>
                  <a:lnTo>
                    <a:pt x="1" y="58"/>
                  </a:lnTo>
                  <a:lnTo>
                    <a:pt x="6" y="44"/>
                  </a:lnTo>
                  <a:lnTo>
                    <a:pt x="12" y="32"/>
                  </a:lnTo>
                  <a:lnTo>
                    <a:pt x="21" y="21"/>
                  </a:lnTo>
                  <a:lnTo>
                    <a:pt x="32" y="12"/>
                  </a:lnTo>
                  <a:lnTo>
                    <a:pt x="44" y="6"/>
                  </a:lnTo>
                  <a:lnTo>
                    <a:pt x="56" y="3"/>
                  </a:lnTo>
                  <a:lnTo>
                    <a:pt x="63" y="1"/>
                  </a:lnTo>
                  <a:lnTo>
                    <a:pt x="71" y="0"/>
                  </a:lnTo>
                  <a:lnTo>
                    <a:pt x="71" y="0"/>
                  </a:lnTo>
                  <a:lnTo>
                    <a:pt x="78" y="1"/>
                  </a:lnTo>
                  <a:lnTo>
                    <a:pt x="85" y="3"/>
                  </a:lnTo>
                  <a:lnTo>
                    <a:pt x="99" y="6"/>
                  </a:lnTo>
                  <a:lnTo>
                    <a:pt x="110" y="12"/>
                  </a:lnTo>
                  <a:lnTo>
                    <a:pt x="121" y="21"/>
                  </a:lnTo>
                  <a:lnTo>
                    <a:pt x="129" y="32"/>
                  </a:lnTo>
                  <a:lnTo>
                    <a:pt x="135" y="44"/>
                  </a:lnTo>
                  <a:lnTo>
                    <a:pt x="140" y="58"/>
                  </a:lnTo>
                  <a:lnTo>
                    <a:pt x="141" y="64"/>
                  </a:lnTo>
                  <a:lnTo>
                    <a:pt x="141" y="71"/>
                  </a:lnTo>
                  <a:lnTo>
                    <a:pt x="141" y="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3" name="Freeform 1619"/>
            <p:cNvSpPr>
              <a:spLocks/>
            </p:cNvSpPr>
            <p:nvPr/>
          </p:nvSpPr>
          <p:spPr bwMode="auto">
            <a:xfrm>
              <a:off x="5229976" y="-730440"/>
              <a:ext cx="32254" cy="32254"/>
            </a:xfrm>
            <a:custGeom>
              <a:avLst/>
              <a:gdLst>
                <a:gd name="T0" fmla="*/ 85 w 85"/>
                <a:gd name="T1" fmla="*/ 43 h 85"/>
                <a:gd name="T2" fmla="*/ 85 w 85"/>
                <a:gd name="T3" fmla="*/ 43 h 85"/>
                <a:gd name="T4" fmla="*/ 84 w 85"/>
                <a:gd name="T5" fmla="*/ 52 h 85"/>
                <a:gd name="T6" fmla="*/ 81 w 85"/>
                <a:gd name="T7" fmla="*/ 59 h 85"/>
                <a:gd name="T8" fmla="*/ 78 w 85"/>
                <a:gd name="T9" fmla="*/ 66 h 85"/>
                <a:gd name="T10" fmla="*/ 72 w 85"/>
                <a:gd name="T11" fmla="*/ 72 h 85"/>
                <a:gd name="T12" fmla="*/ 66 w 85"/>
                <a:gd name="T13" fmla="*/ 77 h 85"/>
                <a:gd name="T14" fmla="*/ 58 w 85"/>
                <a:gd name="T15" fmla="*/ 82 h 85"/>
                <a:gd name="T16" fmla="*/ 51 w 85"/>
                <a:gd name="T17" fmla="*/ 85 h 85"/>
                <a:gd name="T18" fmla="*/ 42 w 85"/>
                <a:gd name="T19" fmla="*/ 85 h 85"/>
                <a:gd name="T20" fmla="*/ 42 w 85"/>
                <a:gd name="T21" fmla="*/ 85 h 85"/>
                <a:gd name="T22" fmla="*/ 34 w 85"/>
                <a:gd name="T23" fmla="*/ 85 h 85"/>
                <a:gd name="T24" fmla="*/ 25 w 85"/>
                <a:gd name="T25" fmla="*/ 82 h 85"/>
                <a:gd name="T26" fmla="*/ 18 w 85"/>
                <a:gd name="T27" fmla="*/ 77 h 85"/>
                <a:gd name="T28" fmla="*/ 12 w 85"/>
                <a:gd name="T29" fmla="*/ 72 h 85"/>
                <a:gd name="T30" fmla="*/ 7 w 85"/>
                <a:gd name="T31" fmla="*/ 66 h 85"/>
                <a:gd name="T32" fmla="*/ 3 w 85"/>
                <a:gd name="T33" fmla="*/ 59 h 85"/>
                <a:gd name="T34" fmla="*/ 1 w 85"/>
                <a:gd name="T35" fmla="*/ 52 h 85"/>
                <a:gd name="T36" fmla="*/ 0 w 85"/>
                <a:gd name="T37" fmla="*/ 43 h 85"/>
                <a:gd name="T38" fmla="*/ 0 w 85"/>
                <a:gd name="T39" fmla="*/ 43 h 85"/>
                <a:gd name="T40" fmla="*/ 1 w 85"/>
                <a:gd name="T41" fmla="*/ 35 h 85"/>
                <a:gd name="T42" fmla="*/ 3 w 85"/>
                <a:gd name="T43" fmla="*/ 26 h 85"/>
                <a:gd name="T44" fmla="*/ 7 w 85"/>
                <a:gd name="T45" fmla="*/ 19 h 85"/>
                <a:gd name="T46" fmla="*/ 12 w 85"/>
                <a:gd name="T47" fmla="*/ 13 h 85"/>
                <a:gd name="T48" fmla="*/ 18 w 85"/>
                <a:gd name="T49" fmla="*/ 8 h 85"/>
                <a:gd name="T50" fmla="*/ 25 w 85"/>
                <a:gd name="T51" fmla="*/ 4 h 85"/>
                <a:gd name="T52" fmla="*/ 34 w 85"/>
                <a:gd name="T53" fmla="*/ 2 h 85"/>
                <a:gd name="T54" fmla="*/ 42 w 85"/>
                <a:gd name="T55" fmla="*/ 0 h 85"/>
                <a:gd name="T56" fmla="*/ 42 w 85"/>
                <a:gd name="T57" fmla="*/ 0 h 85"/>
                <a:gd name="T58" fmla="*/ 51 w 85"/>
                <a:gd name="T59" fmla="*/ 2 h 85"/>
                <a:gd name="T60" fmla="*/ 58 w 85"/>
                <a:gd name="T61" fmla="*/ 4 h 85"/>
                <a:gd name="T62" fmla="*/ 66 w 85"/>
                <a:gd name="T63" fmla="*/ 8 h 85"/>
                <a:gd name="T64" fmla="*/ 72 w 85"/>
                <a:gd name="T65" fmla="*/ 13 h 85"/>
                <a:gd name="T66" fmla="*/ 78 w 85"/>
                <a:gd name="T67" fmla="*/ 19 h 85"/>
                <a:gd name="T68" fmla="*/ 81 w 85"/>
                <a:gd name="T69" fmla="*/ 26 h 85"/>
                <a:gd name="T70" fmla="*/ 84 w 85"/>
                <a:gd name="T71" fmla="*/ 35 h 85"/>
                <a:gd name="T72" fmla="*/ 85 w 85"/>
                <a:gd name="T73" fmla="*/ 43 h 85"/>
                <a:gd name="T74" fmla="*/ 85 w 85"/>
                <a:gd name="T75"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 h="85">
                  <a:moveTo>
                    <a:pt x="85" y="43"/>
                  </a:moveTo>
                  <a:lnTo>
                    <a:pt x="85" y="43"/>
                  </a:lnTo>
                  <a:lnTo>
                    <a:pt x="84" y="52"/>
                  </a:lnTo>
                  <a:lnTo>
                    <a:pt x="81" y="59"/>
                  </a:lnTo>
                  <a:lnTo>
                    <a:pt x="78" y="66"/>
                  </a:lnTo>
                  <a:lnTo>
                    <a:pt x="72" y="72"/>
                  </a:lnTo>
                  <a:lnTo>
                    <a:pt x="66" y="77"/>
                  </a:lnTo>
                  <a:lnTo>
                    <a:pt x="58" y="82"/>
                  </a:lnTo>
                  <a:lnTo>
                    <a:pt x="51" y="85"/>
                  </a:lnTo>
                  <a:lnTo>
                    <a:pt x="42" y="85"/>
                  </a:lnTo>
                  <a:lnTo>
                    <a:pt x="42" y="85"/>
                  </a:lnTo>
                  <a:lnTo>
                    <a:pt x="34" y="85"/>
                  </a:lnTo>
                  <a:lnTo>
                    <a:pt x="25" y="82"/>
                  </a:lnTo>
                  <a:lnTo>
                    <a:pt x="18" y="77"/>
                  </a:lnTo>
                  <a:lnTo>
                    <a:pt x="12" y="72"/>
                  </a:lnTo>
                  <a:lnTo>
                    <a:pt x="7" y="66"/>
                  </a:lnTo>
                  <a:lnTo>
                    <a:pt x="3" y="59"/>
                  </a:lnTo>
                  <a:lnTo>
                    <a:pt x="1" y="52"/>
                  </a:lnTo>
                  <a:lnTo>
                    <a:pt x="0" y="43"/>
                  </a:lnTo>
                  <a:lnTo>
                    <a:pt x="0" y="43"/>
                  </a:lnTo>
                  <a:lnTo>
                    <a:pt x="1" y="35"/>
                  </a:lnTo>
                  <a:lnTo>
                    <a:pt x="3" y="26"/>
                  </a:lnTo>
                  <a:lnTo>
                    <a:pt x="7" y="19"/>
                  </a:lnTo>
                  <a:lnTo>
                    <a:pt x="12" y="13"/>
                  </a:lnTo>
                  <a:lnTo>
                    <a:pt x="18" y="8"/>
                  </a:lnTo>
                  <a:lnTo>
                    <a:pt x="25" y="4"/>
                  </a:lnTo>
                  <a:lnTo>
                    <a:pt x="34" y="2"/>
                  </a:lnTo>
                  <a:lnTo>
                    <a:pt x="42" y="0"/>
                  </a:lnTo>
                  <a:lnTo>
                    <a:pt x="42" y="0"/>
                  </a:lnTo>
                  <a:lnTo>
                    <a:pt x="51" y="2"/>
                  </a:lnTo>
                  <a:lnTo>
                    <a:pt x="58" y="4"/>
                  </a:lnTo>
                  <a:lnTo>
                    <a:pt x="66" y="8"/>
                  </a:lnTo>
                  <a:lnTo>
                    <a:pt x="72" y="13"/>
                  </a:lnTo>
                  <a:lnTo>
                    <a:pt x="78" y="19"/>
                  </a:lnTo>
                  <a:lnTo>
                    <a:pt x="81" y="26"/>
                  </a:lnTo>
                  <a:lnTo>
                    <a:pt x="84" y="35"/>
                  </a:lnTo>
                  <a:lnTo>
                    <a:pt x="85" y="43"/>
                  </a:lnTo>
                  <a:lnTo>
                    <a:pt x="85"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4" name="Freeform 1620"/>
            <p:cNvSpPr>
              <a:spLocks/>
            </p:cNvSpPr>
            <p:nvPr/>
          </p:nvSpPr>
          <p:spPr bwMode="auto">
            <a:xfrm>
              <a:off x="4784121" y="-1117480"/>
              <a:ext cx="286485" cy="434472"/>
            </a:xfrm>
            <a:custGeom>
              <a:avLst/>
              <a:gdLst>
                <a:gd name="T0" fmla="*/ 0 w 751"/>
                <a:gd name="T1" fmla="*/ 1146 h 1146"/>
                <a:gd name="T2" fmla="*/ 751 w 751"/>
                <a:gd name="T3" fmla="*/ 0 h 1146"/>
                <a:gd name="T4" fmla="*/ 0 w 751"/>
                <a:gd name="T5" fmla="*/ 0 h 1146"/>
                <a:gd name="T6" fmla="*/ 0 w 751"/>
                <a:gd name="T7" fmla="*/ 1146 h 1146"/>
              </a:gdLst>
              <a:ahLst/>
              <a:cxnLst>
                <a:cxn ang="0">
                  <a:pos x="T0" y="T1"/>
                </a:cxn>
                <a:cxn ang="0">
                  <a:pos x="T2" y="T3"/>
                </a:cxn>
                <a:cxn ang="0">
                  <a:pos x="T4" y="T5"/>
                </a:cxn>
                <a:cxn ang="0">
                  <a:pos x="T6" y="T7"/>
                </a:cxn>
              </a:cxnLst>
              <a:rect l="0" t="0" r="r" b="b"/>
              <a:pathLst>
                <a:path w="751" h="1146">
                  <a:moveTo>
                    <a:pt x="0" y="1146"/>
                  </a:moveTo>
                  <a:lnTo>
                    <a:pt x="751" y="0"/>
                  </a:lnTo>
                  <a:lnTo>
                    <a:pt x="0" y="0"/>
                  </a:lnTo>
                  <a:lnTo>
                    <a:pt x="0" y="1146"/>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5" name="Freeform 1621"/>
            <p:cNvSpPr>
              <a:spLocks/>
            </p:cNvSpPr>
            <p:nvPr/>
          </p:nvSpPr>
          <p:spPr bwMode="auto">
            <a:xfrm>
              <a:off x="4814477" y="-1096611"/>
              <a:ext cx="43637" cy="220082"/>
            </a:xfrm>
            <a:custGeom>
              <a:avLst/>
              <a:gdLst>
                <a:gd name="T0" fmla="*/ 115 w 115"/>
                <a:gd name="T1" fmla="*/ 524 h 581"/>
                <a:gd name="T2" fmla="*/ 115 w 115"/>
                <a:gd name="T3" fmla="*/ 524 h 581"/>
                <a:gd name="T4" fmla="*/ 113 w 115"/>
                <a:gd name="T5" fmla="*/ 536 h 581"/>
                <a:gd name="T6" fmla="*/ 110 w 115"/>
                <a:gd name="T7" fmla="*/ 547 h 581"/>
                <a:gd name="T8" fmla="*/ 105 w 115"/>
                <a:gd name="T9" fmla="*/ 557 h 581"/>
                <a:gd name="T10" fmla="*/ 97 w 115"/>
                <a:gd name="T11" fmla="*/ 564 h 581"/>
                <a:gd name="T12" fmla="*/ 89 w 115"/>
                <a:gd name="T13" fmla="*/ 571 h 581"/>
                <a:gd name="T14" fmla="*/ 79 w 115"/>
                <a:gd name="T15" fmla="*/ 578 h 581"/>
                <a:gd name="T16" fmla="*/ 68 w 115"/>
                <a:gd name="T17" fmla="*/ 580 h 581"/>
                <a:gd name="T18" fmla="*/ 57 w 115"/>
                <a:gd name="T19" fmla="*/ 581 h 581"/>
                <a:gd name="T20" fmla="*/ 57 w 115"/>
                <a:gd name="T21" fmla="*/ 581 h 581"/>
                <a:gd name="T22" fmla="*/ 45 w 115"/>
                <a:gd name="T23" fmla="*/ 580 h 581"/>
                <a:gd name="T24" fmla="*/ 35 w 115"/>
                <a:gd name="T25" fmla="*/ 578 h 581"/>
                <a:gd name="T26" fmla="*/ 26 w 115"/>
                <a:gd name="T27" fmla="*/ 571 h 581"/>
                <a:gd name="T28" fmla="*/ 17 w 115"/>
                <a:gd name="T29" fmla="*/ 564 h 581"/>
                <a:gd name="T30" fmla="*/ 10 w 115"/>
                <a:gd name="T31" fmla="*/ 557 h 581"/>
                <a:gd name="T32" fmla="*/ 5 w 115"/>
                <a:gd name="T33" fmla="*/ 547 h 581"/>
                <a:gd name="T34" fmla="*/ 1 w 115"/>
                <a:gd name="T35" fmla="*/ 536 h 581"/>
                <a:gd name="T36" fmla="*/ 0 w 115"/>
                <a:gd name="T37" fmla="*/ 524 h 581"/>
                <a:gd name="T38" fmla="*/ 0 w 115"/>
                <a:gd name="T39" fmla="*/ 57 h 581"/>
                <a:gd name="T40" fmla="*/ 0 w 115"/>
                <a:gd name="T41" fmla="*/ 57 h 581"/>
                <a:gd name="T42" fmla="*/ 1 w 115"/>
                <a:gd name="T43" fmla="*/ 46 h 581"/>
                <a:gd name="T44" fmla="*/ 5 w 115"/>
                <a:gd name="T45" fmla="*/ 35 h 581"/>
                <a:gd name="T46" fmla="*/ 10 w 115"/>
                <a:gd name="T47" fmla="*/ 25 h 581"/>
                <a:gd name="T48" fmla="*/ 17 w 115"/>
                <a:gd name="T49" fmla="*/ 17 h 581"/>
                <a:gd name="T50" fmla="*/ 26 w 115"/>
                <a:gd name="T51" fmla="*/ 9 h 581"/>
                <a:gd name="T52" fmla="*/ 35 w 115"/>
                <a:gd name="T53" fmla="*/ 5 h 581"/>
                <a:gd name="T54" fmla="*/ 45 w 115"/>
                <a:gd name="T55" fmla="*/ 1 h 581"/>
                <a:gd name="T56" fmla="*/ 57 w 115"/>
                <a:gd name="T57" fmla="*/ 0 h 581"/>
                <a:gd name="T58" fmla="*/ 57 w 115"/>
                <a:gd name="T59" fmla="*/ 0 h 581"/>
                <a:gd name="T60" fmla="*/ 68 w 115"/>
                <a:gd name="T61" fmla="*/ 1 h 581"/>
                <a:gd name="T62" fmla="*/ 79 w 115"/>
                <a:gd name="T63" fmla="*/ 5 h 581"/>
                <a:gd name="T64" fmla="*/ 89 w 115"/>
                <a:gd name="T65" fmla="*/ 9 h 581"/>
                <a:gd name="T66" fmla="*/ 97 w 115"/>
                <a:gd name="T67" fmla="*/ 17 h 581"/>
                <a:gd name="T68" fmla="*/ 105 w 115"/>
                <a:gd name="T69" fmla="*/ 25 h 581"/>
                <a:gd name="T70" fmla="*/ 110 w 115"/>
                <a:gd name="T71" fmla="*/ 35 h 581"/>
                <a:gd name="T72" fmla="*/ 113 w 115"/>
                <a:gd name="T73" fmla="*/ 46 h 581"/>
                <a:gd name="T74" fmla="*/ 115 w 115"/>
                <a:gd name="T75" fmla="*/ 57 h 581"/>
                <a:gd name="T76" fmla="*/ 115 w 115"/>
                <a:gd name="T77" fmla="*/ 524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5" h="581">
                  <a:moveTo>
                    <a:pt x="115" y="524"/>
                  </a:moveTo>
                  <a:lnTo>
                    <a:pt x="115" y="524"/>
                  </a:lnTo>
                  <a:lnTo>
                    <a:pt x="113" y="536"/>
                  </a:lnTo>
                  <a:lnTo>
                    <a:pt x="110" y="547"/>
                  </a:lnTo>
                  <a:lnTo>
                    <a:pt x="105" y="557"/>
                  </a:lnTo>
                  <a:lnTo>
                    <a:pt x="97" y="564"/>
                  </a:lnTo>
                  <a:lnTo>
                    <a:pt x="89" y="571"/>
                  </a:lnTo>
                  <a:lnTo>
                    <a:pt x="79" y="578"/>
                  </a:lnTo>
                  <a:lnTo>
                    <a:pt x="68" y="580"/>
                  </a:lnTo>
                  <a:lnTo>
                    <a:pt x="57" y="581"/>
                  </a:lnTo>
                  <a:lnTo>
                    <a:pt x="57" y="581"/>
                  </a:lnTo>
                  <a:lnTo>
                    <a:pt x="45" y="580"/>
                  </a:lnTo>
                  <a:lnTo>
                    <a:pt x="35" y="578"/>
                  </a:lnTo>
                  <a:lnTo>
                    <a:pt x="26" y="571"/>
                  </a:lnTo>
                  <a:lnTo>
                    <a:pt x="17" y="564"/>
                  </a:lnTo>
                  <a:lnTo>
                    <a:pt x="10" y="557"/>
                  </a:lnTo>
                  <a:lnTo>
                    <a:pt x="5" y="547"/>
                  </a:lnTo>
                  <a:lnTo>
                    <a:pt x="1" y="536"/>
                  </a:lnTo>
                  <a:lnTo>
                    <a:pt x="0" y="524"/>
                  </a:lnTo>
                  <a:lnTo>
                    <a:pt x="0" y="57"/>
                  </a:lnTo>
                  <a:lnTo>
                    <a:pt x="0" y="57"/>
                  </a:lnTo>
                  <a:lnTo>
                    <a:pt x="1" y="46"/>
                  </a:lnTo>
                  <a:lnTo>
                    <a:pt x="5" y="35"/>
                  </a:lnTo>
                  <a:lnTo>
                    <a:pt x="10" y="25"/>
                  </a:lnTo>
                  <a:lnTo>
                    <a:pt x="17" y="17"/>
                  </a:lnTo>
                  <a:lnTo>
                    <a:pt x="26" y="9"/>
                  </a:lnTo>
                  <a:lnTo>
                    <a:pt x="35" y="5"/>
                  </a:lnTo>
                  <a:lnTo>
                    <a:pt x="45" y="1"/>
                  </a:lnTo>
                  <a:lnTo>
                    <a:pt x="57" y="0"/>
                  </a:lnTo>
                  <a:lnTo>
                    <a:pt x="57" y="0"/>
                  </a:lnTo>
                  <a:lnTo>
                    <a:pt x="68" y="1"/>
                  </a:lnTo>
                  <a:lnTo>
                    <a:pt x="79" y="5"/>
                  </a:lnTo>
                  <a:lnTo>
                    <a:pt x="89" y="9"/>
                  </a:lnTo>
                  <a:lnTo>
                    <a:pt x="97" y="17"/>
                  </a:lnTo>
                  <a:lnTo>
                    <a:pt x="105" y="25"/>
                  </a:lnTo>
                  <a:lnTo>
                    <a:pt x="110" y="35"/>
                  </a:lnTo>
                  <a:lnTo>
                    <a:pt x="113" y="46"/>
                  </a:lnTo>
                  <a:lnTo>
                    <a:pt x="115" y="57"/>
                  </a:lnTo>
                  <a:lnTo>
                    <a:pt x="115" y="5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6" name="Freeform 1622"/>
            <p:cNvSpPr>
              <a:spLocks/>
            </p:cNvSpPr>
            <p:nvPr/>
          </p:nvSpPr>
          <p:spPr bwMode="auto">
            <a:xfrm>
              <a:off x="4814478" y="-859455"/>
              <a:ext cx="43637" cy="43637"/>
            </a:xfrm>
            <a:custGeom>
              <a:avLst/>
              <a:gdLst>
                <a:gd name="T0" fmla="*/ 115 w 115"/>
                <a:gd name="T1" fmla="*/ 57 h 115"/>
                <a:gd name="T2" fmla="*/ 115 w 115"/>
                <a:gd name="T3" fmla="*/ 57 h 115"/>
                <a:gd name="T4" fmla="*/ 113 w 115"/>
                <a:gd name="T5" fmla="*/ 68 h 115"/>
                <a:gd name="T6" fmla="*/ 110 w 115"/>
                <a:gd name="T7" fmla="*/ 79 h 115"/>
                <a:gd name="T8" fmla="*/ 105 w 115"/>
                <a:gd name="T9" fmla="*/ 89 h 115"/>
                <a:gd name="T10" fmla="*/ 97 w 115"/>
                <a:gd name="T11" fmla="*/ 98 h 115"/>
                <a:gd name="T12" fmla="*/ 89 w 115"/>
                <a:gd name="T13" fmla="*/ 105 h 115"/>
                <a:gd name="T14" fmla="*/ 79 w 115"/>
                <a:gd name="T15" fmla="*/ 110 h 115"/>
                <a:gd name="T16" fmla="*/ 68 w 115"/>
                <a:gd name="T17" fmla="*/ 113 h 115"/>
                <a:gd name="T18" fmla="*/ 57 w 115"/>
                <a:gd name="T19" fmla="*/ 115 h 115"/>
                <a:gd name="T20" fmla="*/ 57 w 115"/>
                <a:gd name="T21" fmla="*/ 115 h 115"/>
                <a:gd name="T22" fmla="*/ 45 w 115"/>
                <a:gd name="T23" fmla="*/ 113 h 115"/>
                <a:gd name="T24" fmla="*/ 35 w 115"/>
                <a:gd name="T25" fmla="*/ 110 h 115"/>
                <a:gd name="T26" fmla="*/ 26 w 115"/>
                <a:gd name="T27" fmla="*/ 105 h 115"/>
                <a:gd name="T28" fmla="*/ 17 w 115"/>
                <a:gd name="T29" fmla="*/ 98 h 115"/>
                <a:gd name="T30" fmla="*/ 10 w 115"/>
                <a:gd name="T31" fmla="*/ 89 h 115"/>
                <a:gd name="T32" fmla="*/ 5 w 115"/>
                <a:gd name="T33" fmla="*/ 79 h 115"/>
                <a:gd name="T34" fmla="*/ 1 w 115"/>
                <a:gd name="T35" fmla="*/ 68 h 115"/>
                <a:gd name="T36" fmla="*/ 0 w 115"/>
                <a:gd name="T37" fmla="*/ 57 h 115"/>
                <a:gd name="T38" fmla="*/ 0 w 115"/>
                <a:gd name="T39" fmla="*/ 57 h 115"/>
                <a:gd name="T40" fmla="*/ 1 w 115"/>
                <a:gd name="T41" fmla="*/ 45 h 115"/>
                <a:gd name="T42" fmla="*/ 5 w 115"/>
                <a:gd name="T43" fmla="*/ 35 h 115"/>
                <a:gd name="T44" fmla="*/ 10 w 115"/>
                <a:gd name="T45" fmla="*/ 26 h 115"/>
                <a:gd name="T46" fmla="*/ 17 w 115"/>
                <a:gd name="T47" fmla="*/ 17 h 115"/>
                <a:gd name="T48" fmla="*/ 26 w 115"/>
                <a:gd name="T49" fmla="*/ 10 h 115"/>
                <a:gd name="T50" fmla="*/ 35 w 115"/>
                <a:gd name="T51" fmla="*/ 5 h 115"/>
                <a:gd name="T52" fmla="*/ 45 w 115"/>
                <a:gd name="T53" fmla="*/ 1 h 115"/>
                <a:gd name="T54" fmla="*/ 57 w 115"/>
                <a:gd name="T55" fmla="*/ 0 h 115"/>
                <a:gd name="T56" fmla="*/ 57 w 115"/>
                <a:gd name="T57" fmla="*/ 0 h 115"/>
                <a:gd name="T58" fmla="*/ 68 w 115"/>
                <a:gd name="T59" fmla="*/ 1 h 115"/>
                <a:gd name="T60" fmla="*/ 79 w 115"/>
                <a:gd name="T61" fmla="*/ 5 h 115"/>
                <a:gd name="T62" fmla="*/ 89 w 115"/>
                <a:gd name="T63" fmla="*/ 10 h 115"/>
                <a:gd name="T64" fmla="*/ 97 w 115"/>
                <a:gd name="T65" fmla="*/ 17 h 115"/>
                <a:gd name="T66" fmla="*/ 105 w 115"/>
                <a:gd name="T67" fmla="*/ 26 h 115"/>
                <a:gd name="T68" fmla="*/ 110 w 115"/>
                <a:gd name="T69" fmla="*/ 35 h 115"/>
                <a:gd name="T70" fmla="*/ 113 w 115"/>
                <a:gd name="T71" fmla="*/ 45 h 115"/>
                <a:gd name="T72" fmla="*/ 115 w 115"/>
                <a:gd name="T73" fmla="*/ 57 h 115"/>
                <a:gd name="T74" fmla="*/ 115 w 115"/>
                <a:gd name="T75" fmla="*/ 57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5" h="115">
                  <a:moveTo>
                    <a:pt x="115" y="57"/>
                  </a:moveTo>
                  <a:lnTo>
                    <a:pt x="115" y="57"/>
                  </a:lnTo>
                  <a:lnTo>
                    <a:pt x="113" y="68"/>
                  </a:lnTo>
                  <a:lnTo>
                    <a:pt x="110" y="79"/>
                  </a:lnTo>
                  <a:lnTo>
                    <a:pt x="105" y="89"/>
                  </a:lnTo>
                  <a:lnTo>
                    <a:pt x="97" y="98"/>
                  </a:lnTo>
                  <a:lnTo>
                    <a:pt x="89" y="105"/>
                  </a:lnTo>
                  <a:lnTo>
                    <a:pt x="79" y="110"/>
                  </a:lnTo>
                  <a:lnTo>
                    <a:pt x="68" y="113"/>
                  </a:lnTo>
                  <a:lnTo>
                    <a:pt x="57" y="115"/>
                  </a:lnTo>
                  <a:lnTo>
                    <a:pt x="57" y="115"/>
                  </a:lnTo>
                  <a:lnTo>
                    <a:pt x="45" y="113"/>
                  </a:lnTo>
                  <a:lnTo>
                    <a:pt x="35" y="110"/>
                  </a:lnTo>
                  <a:lnTo>
                    <a:pt x="26" y="105"/>
                  </a:lnTo>
                  <a:lnTo>
                    <a:pt x="17" y="98"/>
                  </a:lnTo>
                  <a:lnTo>
                    <a:pt x="10" y="89"/>
                  </a:lnTo>
                  <a:lnTo>
                    <a:pt x="5" y="79"/>
                  </a:lnTo>
                  <a:lnTo>
                    <a:pt x="1" y="68"/>
                  </a:lnTo>
                  <a:lnTo>
                    <a:pt x="0" y="57"/>
                  </a:lnTo>
                  <a:lnTo>
                    <a:pt x="0" y="57"/>
                  </a:lnTo>
                  <a:lnTo>
                    <a:pt x="1" y="45"/>
                  </a:lnTo>
                  <a:lnTo>
                    <a:pt x="5" y="35"/>
                  </a:lnTo>
                  <a:lnTo>
                    <a:pt x="10" y="26"/>
                  </a:lnTo>
                  <a:lnTo>
                    <a:pt x="17" y="17"/>
                  </a:lnTo>
                  <a:lnTo>
                    <a:pt x="26" y="10"/>
                  </a:lnTo>
                  <a:lnTo>
                    <a:pt x="35" y="5"/>
                  </a:lnTo>
                  <a:lnTo>
                    <a:pt x="45" y="1"/>
                  </a:lnTo>
                  <a:lnTo>
                    <a:pt x="57" y="0"/>
                  </a:lnTo>
                  <a:lnTo>
                    <a:pt x="57" y="0"/>
                  </a:lnTo>
                  <a:lnTo>
                    <a:pt x="68" y="1"/>
                  </a:lnTo>
                  <a:lnTo>
                    <a:pt x="79" y="5"/>
                  </a:lnTo>
                  <a:lnTo>
                    <a:pt x="89" y="10"/>
                  </a:lnTo>
                  <a:lnTo>
                    <a:pt x="97" y="17"/>
                  </a:lnTo>
                  <a:lnTo>
                    <a:pt x="105" y="26"/>
                  </a:lnTo>
                  <a:lnTo>
                    <a:pt x="110" y="35"/>
                  </a:lnTo>
                  <a:lnTo>
                    <a:pt x="113" y="45"/>
                  </a:lnTo>
                  <a:lnTo>
                    <a:pt x="115" y="57"/>
                  </a:lnTo>
                  <a:lnTo>
                    <a:pt x="115"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7" name="Freeform 1623"/>
            <p:cNvSpPr>
              <a:spLocks/>
            </p:cNvSpPr>
            <p:nvPr/>
          </p:nvSpPr>
          <p:spPr bwMode="auto">
            <a:xfrm>
              <a:off x="4406569" y="-806328"/>
              <a:ext cx="49328" cy="229566"/>
            </a:xfrm>
            <a:custGeom>
              <a:avLst/>
              <a:gdLst>
                <a:gd name="T0" fmla="*/ 128 w 128"/>
                <a:gd name="T1" fmla="*/ 540 h 605"/>
                <a:gd name="T2" fmla="*/ 128 w 128"/>
                <a:gd name="T3" fmla="*/ 540 h 605"/>
                <a:gd name="T4" fmla="*/ 127 w 128"/>
                <a:gd name="T5" fmla="*/ 554 h 605"/>
                <a:gd name="T6" fmla="*/ 123 w 128"/>
                <a:gd name="T7" fmla="*/ 566 h 605"/>
                <a:gd name="T8" fmla="*/ 117 w 128"/>
                <a:gd name="T9" fmla="*/ 577 h 605"/>
                <a:gd name="T10" fmla="*/ 110 w 128"/>
                <a:gd name="T11" fmla="*/ 585 h 605"/>
                <a:gd name="T12" fmla="*/ 100 w 128"/>
                <a:gd name="T13" fmla="*/ 594 h 605"/>
                <a:gd name="T14" fmla="*/ 89 w 128"/>
                <a:gd name="T15" fmla="*/ 600 h 605"/>
                <a:gd name="T16" fmla="*/ 77 w 128"/>
                <a:gd name="T17" fmla="*/ 604 h 605"/>
                <a:gd name="T18" fmla="*/ 64 w 128"/>
                <a:gd name="T19" fmla="*/ 605 h 605"/>
                <a:gd name="T20" fmla="*/ 64 w 128"/>
                <a:gd name="T21" fmla="*/ 605 h 605"/>
                <a:gd name="T22" fmla="*/ 51 w 128"/>
                <a:gd name="T23" fmla="*/ 604 h 605"/>
                <a:gd name="T24" fmla="*/ 39 w 128"/>
                <a:gd name="T25" fmla="*/ 600 h 605"/>
                <a:gd name="T26" fmla="*/ 28 w 128"/>
                <a:gd name="T27" fmla="*/ 594 h 605"/>
                <a:gd name="T28" fmla="*/ 18 w 128"/>
                <a:gd name="T29" fmla="*/ 585 h 605"/>
                <a:gd name="T30" fmla="*/ 11 w 128"/>
                <a:gd name="T31" fmla="*/ 577 h 605"/>
                <a:gd name="T32" fmla="*/ 5 w 128"/>
                <a:gd name="T33" fmla="*/ 566 h 605"/>
                <a:gd name="T34" fmla="*/ 1 w 128"/>
                <a:gd name="T35" fmla="*/ 554 h 605"/>
                <a:gd name="T36" fmla="*/ 0 w 128"/>
                <a:gd name="T37" fmla="*/ 540 h 605"/>
                <a:gd name="T38" fmla="*/ 0 w 128"/>
                <a:gd name="T39" fmla="*/ 65 h 605"/>
                <a:gd name="T40" fmla="*/ 0 w 128"/>
                <a:gd name="T41" fmla="*/ 65 h 605"/>
                <a:gd name="T42" fmla="*/ 1 w 128"/>
                <a:gd name="T43" fmla="*/ 53 h 605"/>
                <a:gd name="T44" fmla="*/ 5 w 128"/>
                <a:gd name="T45" fmla="*/ 41 h 605"/>
                <a:gd name="T46" fmla="*/ 11 w 128"/>
                <a:gd name="T47" fmla="*/ 30 h 605"/>
                <a:gd name="T48" fmla="*/ 18 w 128"/>
                <a:gd name="T49" fmla="*/ 20 h 605"/>
                <a:gd name="T50" fmla="*/ 28 w 128"/>
                <a:gd name="T51" fmla="*/ 11 h 605"/>
                <a:gd name="T52" fmla="*/ 39 w 128"/>
                <a:gd name="T53" fmla="*/ 6 h 605"/>
                <a:gd name="T54" fmla="*/ 51 w 128"/>
                <a:gd name="T55" fmla="*/ 2 h 605"/>
                <a:gd name="T56" fmla="*/ 64 w 128"/>
                <a:gd name="T57" fmla="*/ 0 h 605"/>
                <a:gd name="T58" fmla="*/ 64 w 128"/>
                <a:gd name="T59" fmla="*/ 0 h 605"/>
                <a:gd name="T60" fmla="*/ 77 w 128"/>
                <a:gd name="T61" fmla="*/ 2 h 605"/>
                <a:gd name="T62" fmla="*/ 89 w 128"/>
                <a:gd name="T63" fmla="*/ 6 h 605"/>
                <a:gd name="T64" fmla="*/ 100 w 128"/>
                <a:gd name="T65" fmla="*/ 11 h 605"/>
                <a:gd name="T66" fmla="*/ 110 w 128"/>
                <a:gd name="T67" fmla="*/ 20 h 605"/>
                <a:gd name="T68" fmla="*/ 117 w 128"/>
                <a:gd name="T69" fmla="*/ 30 h 605"/>
                <a:gd name="T70" fmla="*/ 123 w 128"/>
                <a:gd name="T71" fmla="*/ 41 h 605"/>
                <a:gd name="T72" fmla="*/ 127 w 128"/>
                <a:gd name="T73" fmla="*/ 53 h 605"/>
                <a:gd name="T74" fmla="*/ 128 w 128"/>
                <a:gd name="T75" fmla="*/ 65 h 605"/>
                <a:gd name="T76" fmla="*/ 128 w 128"/>
                <a:gd name="T77" fmla="*/ 54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8" h="605">
                  <a:moveTo>
                    <a:pt x="128" y="540"/>
                  </a:moveTo>
                  <a:lnTo>
                    <a:pt x="128" y="540"/>
                  </a:lnTo>
                  <a:lnTo>
                    <a:pt x="127" y="554"/>
                  </a:lnTo>
                  <a:lnTo>
                    <a:pt x="123" y="566"/>
                  </a:lnTo>
                  <a:lnTo>
                    <a:pt x="117" y="577"/>
                  </a:lnTo>
                  <a:lnTo>
                    <a:pt x="110" y="585"/>
                  </a:lnTo>
                  <a:lnTo>
                    <a:pt x="100" y="594"/>
                  </a:lnTo>
                  <a:lnTo>
                    <a:pt x="89" y="600"/>
                  </a:lnTo>
                  <a:lnTo>
                    <a:pt x="77" y="604"/>
                  </a:lnTo>
                  <a:lnTo>
                    <a:pt x="64" y="605"/>
                  </a:lnTo>
                  <a:lnTo>
                    <a:pt x="64" y="605"/>
                  </a:lnTo>
                  <a:lnTo>
                    <a:pt x="51" y="604"/>
                  </a:lnTo>
                  <a:lnTo>
                    <a:pt x="39" y="600"/>
                  </a:lnTo>
                  <a:lnTo>
                    <a:pt x="28" y="594"/>
                  </a:lnTo>
                  <a:lnTo>
                    <a:pt x="18" y="585"/>
                  </a:lnTo>
                  <a:lnTo>
                    <a:pt x="11" y="577"/>
                  </a:lnTo>
                  <a:lnTo>
                    <a:pt x="5" y="566"/>
                  </a:lnTo>
                  <a:lnTo>
                    <a:pt x="1" y="554"/>
                  </a:lnTo>
                  <a:lnTo>
                    <a:pt x="0" y="540"/>
                  </a:lnTo>
                  <a:lnTo>
                    <a:pt x="0" y="65"/>
                  </a:lnTo>
                  <a:lnTo>
                    <a:pt x="0" y="65"/>
                  </a:lnTo>
                  <a:lnTo>
                    <a:pt x="1" y="53"/>
                  </a:lnTo>
                  <a:lnTo>
                    <a:pt x="5" y="41"/>
                  </a:lnTo>
                  <a:lnTo>
                    <a:pt x="11" y="30"/>
                  </a:lnTo>
                  <a:lnTo>
                    <a:pt x="18" y="20"/>
                  </a:lnTo>
                  <a:lnTo>
                    <a:pt x="28" y="11"/>
                  </a:lnTo>
                  <a:lnTo>
                    <a:pt x="39" y="6"/>
                  </a:lnTo>
                  <a:lnTo>
                    <a:pt x="51" y="2"/>
                  </a:lnTo>
                  <a:lnTo>
                    <a:pt x="64" y="0"/>
                  </a:lnTo>
                  <a:lnTo>
                    <a:pt x="64" y="0"/>
                  </a:lnTo>
                  <a:lnTo>
                    <a:pt x="77" y="2"/>
                  </a:lnTo>
                  <a:lnTo>
                    <a:pt x="89" y="6"/>
                  </a:lnTo>
                  <a:lnTo>
                    <a:pt x="100" y="11"/>
                  </a:lnTo>
                  <a:lnTo>
                    <a:pt x="110" y="20"/>
                  </a:lnTo>
                  <a:lnTo>
                    <a:pt x="117" y="30"/>
                  </a:lnTo>
                  <a:lnTo>
                    <a:pt x="123" y="41"/>
                  </a:lnTo>
                  <a:lnTo>
                    <a:pt x="127" y="53"/>
                  </a:lnTo>
                  <a:lnTo>
                    <a:pt x="128" y="65"/>
                  </a:lnTo>
                  <a:lnTo>
                    <a:pt x="128" y="5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8" name="Freeform 1624"/>
            <p:cNvSpPr>
              <a:spLocks/>
            </p:cNvSpPr>
            <p:nvPr/>
          </p:nvSpPr>
          <p:spPr bwMode="auto">
            <a:xfrm>
              <a:off x="3687504" y="-616603"/>
              <a:ext cx="341505" cy="170753"/>
            </a:xfrm>
            <a:custGeom>
              <a:avLst/>
              <a:gdLst>
                <a:gd name="T0" fmla="*/ 900 w 900"/>
                <a:gd name="T1" fmla="*/ 450 h 450"/>
                <a:gd name="T2" fmla="*/ 899 w 900"/>
                <a:gd name="T3" fmla="*/ 426 h 450"/>
                <a:gd name="T4" fmla="*/ 895 w 900"/>
                <a:gd name="T5" fmla="*/ 380 h 450"/>
                <a:gd name="T6" fmla="*/ 885 w 900"/>
                <a:gd name="T7" fmla="*/ 336 h 450"/>
                <a:gd name="T8" fmla="*/ 873 w 900"/>
                <a:gd name="T9" fmla="*/ 295 h 450"/>
                <a:gd name="T10" fmla="*/ 856 w 900"/>
                <a:gd name="T11" fmla="*/ 255 h 450"/>
                <a:gd name="T12" fmla="*/ 834 w 900"/>
                <a:gd name="T13" fmla="*/ 216 h 450"/>
                <a:gd name="T14" fmla="*/ 811 w 900"/>
                <a:gd name="T15" fmla="*/ 180 h 450"/>
                <a:gd name="T16" fmla="*/ 783 w 900"/>
                <a:gd name="T17" fmla="*/ 147 h 450"/>
                <a:gd name="T18" fmla="*/ 752 w 900"/>
                <a:gd name="T19" fmla="*/ 117 h 450"/>
                <a:gd name="T20" fmla="*/ 719 w 900"/>
                <a:gd name="T21" fmla="*/ 89 h 450"/>
                <a:gd name="T22" fmla="*/ 683 w 900"/>
                <a:gd name="T23" fmla="*/ 64 h 450"/>
                <a:gd name="T24" fmla="*/ 645 w 900"/>
                <a:gd name="T25" fmla="*/ 44 h 450"/>
                <a:gd name="T26" fmla="*/ 605 w 900"/>
                <a:gd name="T27" fmla="*/ 27 h 450"/>
                <a:gd name="T28" fmla="*/ 562 w 900"/>
                <a:gd name="T29" fmla="*/ 13 h 450"/>
                <a:gd name="T30" fmla="*/ 518 w 900"/>
                <a:gd name="T31" fmla="*/ 5 h 450"/>
                <a:gd name="T32" fmla="*/ 473 w 900"/>
                <a:gd name="T33" fmla="*/ 0 h 450"/>
                <a:gd name="T34" fmla="*/ 450 w 900"/>
                <a:gd name="T35" fmla="*/ 0 h 450"/>
                <a:gd name="T36" fmla="*/ 404 w 900"/>
                <a:gd name="T37" fmla="*/ 2 h 450"/>
                <a:gd name="T38" fmla="*/ 360 w 900"/>
                <a:gd name="T39" fmla="*/ 8 h 450"/>
                <a:gd name="T40" fmla="*/ 316 w 900"/>
                <a:gd name="T41" fmla="*/ 19 h 450"/>
                <a:gd name="T42" fmla="*/ 274 w 900"/>
                <a:gd name="T43" fmla="*/ 35 h 450"/>
                <a:gd name="T44" fmla="*/ 235 w 900"/>
                <a:gd name="T45" fmla="*/ 53 h 450"/>
                <a:gd name="T46" fmla="*/ 199 w 900"/>
                <a:gd name="T47" fmla="*/ 77 h 450"/>
                <a:gd name="T48" fmla="*/ 164 w 900"/>
                <a:gd name="T49" fmla="*/ 102 h 450"/>
                <a:gd name="T50" fmla="*/ 132 w 900"/>
                <a:gd name="T51" fmla="*/ 131 h 450"/>
                <a:gd name="T52" fmla="*/ 103 w 900"/>
                <a:gd name="T53" fmla="*/ 163 h 450"/>
                <a:gd name="T54" fmla="*/ 77 w 900"/>
                <a:gd name="T55" fmla="*/ 197 h 450"/>
                <a:gd name="T56" fmla="*/ 55 w 900"/>
                <a:gd name="T57" fmla="*/ 235 h 450"/>
                <a:gd name="T58" fmla="*/ 36 w 900"/>
                <a:gd name="T59" fmla="*/ 274 h 450"/>
                <a:gd name="T60" fmla="*/ 21 w 900"/>
                <a:gd name="T61" fmla="*/ 316 h 450"/>
                <a:gd name="T62" fmla="*/ 10 w 900"/>
                <a:gd name="T63" fmla="*/ 358 h 450"/>
                <a:gd name="T64" fmla="*/ 3 w 900"/>
                <a:gd name="T65" fmla="*/ 403 h 450"/>
                <a:gd name="T66" fmla="*/ 0 w 900"/>
                <a:gd name="T67" fmla="*/ 45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00" h="450">
                  <a:moveTo>
                    <a:pt x="0" y="450"/>
                  </a:moveTo>
                  <a:lnTo>
                    <a:pt x="900" y="450"/>
                  </a:lnTo>
                  <a:lnTo>
                    <a:pt x="900" y="450"/>
                  </a:lnTo>
                  <a:lnTo>
                    <a:pt x="899" y="426"/>
                  </a:lnTo>
                  <a:lnTo>
                    <a:pt x="897" y="403"/>
                  </a:lnTo>
                  <a:lnTo>
                    <a:pt x="895" y="380"/>
                  </a:lnTo>
                  <a:lnTo>
                    <a:pt x="890" y="358"/>
                  </a:lnTo>
                  <a:lnTo>
                    <a:pt x="885" y="336"/>
                  </a:lnTo>
                  <a:lnTo>
                    <a:pt x="879" y="316"/>
                  </a:lnTo>
                  <a:lnTo>
                    <a:pt x="873" y="295"/>
                  </a:lnTo>
                  <a:lnTo>
                    <a:pt x="865" y="274"/>
                  </a:lnTo>
                  <a:lnTo>
                    <a:pt x="856" y="255"/>
                  </a:lnTo>
                  <a:lnTo>
                    <a:pt x="845" y="235"/>
                  </a:lnTo>
                  <a:lnTo>
                    <a:pt x="834" y="216"/>
                  </a:lnTo>
                  <a:lnTo>
                    <a:pt x="823" y="197"/>
                  </a:lnTo>
                  <a:lnTo>
                    <a:pt x="811" y="180"/>
                  </a:lnTo>
                  <a:lnTo>
                    <a:pt x="797" y="163"/>
                  </a:lnTo>
                  <a:lnTo>
                    <a:pt x="783" y="147"/>
                  </a:lnTo>
                  <a:lnTo>
                    <a:pt x="768" y="131"/>
                  </a:lnTo>
                  <a:lnTo>
                    <a:pt x="752" y="117"/>
                  </a:lnTo>
                  <a:lnTo>
                    <a:pt x="737" y="102"/>
                  </a:lnTo>
                  <a:lnTo>
                    <a:pt x="719" y="89"/>
                  </a:lnTo>
                  <a:lnTo>
                    <a:pt x="701" y="77"/>
                  </a:lnTo>
                  <a:lnTo>
                    <a:pt x="683" y="64"/>
                  </a:lnTo>
                  <a:lnTo>
                    <a:pt x="665" y="53"/>
                  </a:lnTo>
                  <a:lnTo>
                    <a:pt x="645" y="44"/>
                  </a:lnTo>
                  <a:lnTo>
                    <a:pt x="626" y="35"/>
                  </a:lnTo>
                  <a:lnTo>
                    <a:pt x="605" y="27"/>
                  </a:lnTo>
                  <a:lnTo>
                    <a:pt x="584" y="19"/>
                  </a:lnTo>
                  <a:lnTo>
                    <a:pt x="562" y="13"/>
                  </a:lnTo>
                  <a:lnTo>
                    <a:pt x="540" y="8"/>
                  </a:lnTo>
                  <a:lnTo>
                    <a:pt x="518" y="5"/>
                  </a:lnTo>
                  <a:lnTo>
                    <a:pt x="496" y="2"/>
                  </a:lnTo>
                  <a:lnTo>
                    <a:pt x="473" y="0"/>
                  </a:lnTo>
                  <a:lnTo>
                    <a:pt x="450" y="0"/>
                  </a:lnTo>
                  <a:lnTo>
                    <a:pt x="450" y="0"/>
                  </a:lnTo>
                  <a:lnTo>
                    <a:pt x="427" y="0"/>
                  </a:lnTo>
                  <a:lnTo>
                    <a:pt x="404" y="2"/>
                  </a:lnTo>
                  <a:lnTo>
                    <a:pt x="382" y="5"/>
                  </a:lnTo>
                  <a:lnTo>
                    <a:pt x="360" y="8"/>
                  </a:lnTo>
                  <a:lnTo>
                    <a:pt x="338" y="13"/>
                  </a:lnTo>
                  <a:lnTo>
                    <a:pt x="316" y="19"/>
                  </a:lnTo>
                  <a:lnTo>
                    <a:pt x="295" y="27"/>
                  </a:lnTo>
                  <a:lnTo>
                    <a:pt x="274" y="35"/>
                  </a:lnTo>
                  <a:lnTo>
                    <a:pt x="255" y="44"/>
                  </a:lnTo>
                  <a:lnTo>
                    <a:pt x="235" y="53"/>
                  </a:lnTo>
                  <a:lnTo>
                    <a:pt x="217" y="64"/>
                  </a:lnTo>
                  <a:lnTo>
                    <a:pt x="199" y="77"/>
                  </a:lnTo>
                  <a:lnTo>
                    <a:pt x="181" y="89"/>
                  </a:lnTo>
                  <a:lnTo>
                    <a:pt x="164" y="102"/>
                  </a:lnTo>
                  <a:lnTo>
                    <a:pt x="148" y="117"/>
                  </a:lnTo>
                  <a:lnTo>
                    <a:pt x="132" y="131"/>
                  </a:lnTo>
                  <a:lnTo>
                    <a:pt x="117" y="147"/>
                  </a:lnTo>
                  <a:lnTo>
                    <a:pt x="103" y="163"/>
                  </a:lnTo>
                  <a:lnTo>
                    <a:pt x="89" y="180"/>
                  </a:lnTo>
                  <a:lnTo>
                    <a:pt x="77" y="197"/>
                  </a:lnTo>
                  <a:lnTo>
                    <a:pt x="66" y="216"/>
                  </a:lnTo>
                  <a:lnTo>
                    <a:pt x="55" y="235"/>
                  </a:lnTo>
                  <a:lnTo>
                    <a:pt x="44" y="255"/>
                  </a:lnTo>
                  <a:lnTo>
                    <a:pt x="36" y="274"/>
                  </a:lnTo>
                  <a:lnTo>
                    <a:pt x="27" y="295"/>
                  </a:lnTo>
                  <a:lnTo>
                    <a:pt x="21" y="316"/>
                  </a:lnTo>
                  <a:lnTo>
                    <a:pt x="15" y="336"/>
                  </a:lnTo>
                  <a:lnTo>
                    <a:pt x="10" y="358"/>
                  </a:lnTo>
                  <a:lnTo>
                    <a:pt x="5" y="380"/>
                  </a:lnTo>
                  <a:lnTo>
                    <a:pt x="3" y="403"/>
                  </a:lnTo>
                  <a:lnTo>
                    <a:pt x="1" y="426"/>
                  </a:lnTo>
                  <a:lnTo>
                    <a:pt x="0" y="450"/>
                  </a:lnTo>
                  <a:lnTo>
                    <a:pt x="0" y="450"/>
                  </a:lnTo>
                  <a:close/>
                </a:path>
              </a:pathLst>
            </a:custGeom>
            <a:solidFill>
              <a:srgbClr val="FFAF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9" name="Freeform 1625"/>
            <p:cNvSpPr>
              <a:spLocks/>
            </p:cNvSpPr>
            <p:nvPr/>
          </p:nvSpPr>
          <p:spPr bwMode="auto">
            <a:xfrm>
              <a:off x="3858257" y="-616603"/>
              <a:ext cx="170753" cy="170753"/>
            </a:xfrm>
            <a:custGeom>
              <a:avLst/>
              <a:gdLst>
                <a:gd name="T0" fmla="*/ 450 w 450"/>
                <a:gd name="T1" fmla="*/ 450 h 450"/>
                <a:gd name="T2" fmla="*/ 450 w 450"/>
                <a:gd name="T3" fmla="*/ 450 h 450"/>
                <a:gd name="T4" fmla="*/ 449 w 450"/>
                <a:gd name="T5" fmla="*/ 426 h 450"/>
                <a:gd name="T6" fmla="*/ 447 w 450"/>
                <a:gd name="T7" fmla="*/ 403 h 450"/>
                <a:gd name="T8" fmla="*/ 445 w 450"/>
                <a:gd name="T9" fmla="*/ 380 h 450"/>
                <a:gd name="T10" fmla="*/ 440 w 450"/>
                <a:gd name="T11" fmla="*/ 358 h 450"/>
                <a:gd name="T12" fmla="*/ 435 w 450"/>
                <a:gd name="T13" fmla="*/ 336 h 450"/>
                <a:gd name="T14" fmla="*/ 429 w 450"/>
                <a:gd name="T15" fmla="*/ 316 h 450"/>
                <a:gd name="T16" fmla="*/ 423 w 450"/>
                <a:gd name="T17" fmla="*/ 295 h 450"/>
                <a:gd name="T18" fmla="*/ 415 w 450"/>
                <a:gd name="T19" fmla="*/ 274 h 450"/>
                <a:gd name="T20" fmla="*/ 406 w 450"/>
                <a:gd name="T21" fmla="*/ 255 h 450"/>
                <a:gd name="T22" fmla="*/ 395 w 450"/>
                <a:gd name="T23" fmla="*/ 235 h 450"/>
                <a:gd name="T24" fmla="*/ 384 w 450"/>
                <a:gd name="T25" fmla="*/ 216 h 450"/>
                <a:gd name="T26" fmla="*/ 373 w 450"/>
                <a:gd name="T27" fmla="*/ 197 h 450"/>
                <a:gd name="T28" fmla="*/ 361 w 450"/>
                <a:gd name="T29" fmla="*/ 180 h 450"/>
                <a:gd name="T30" fmla="*/ 347 w 450"/>
                <a:gd name="T31" fmla="*/ 163 h 450"/>
                <a:gd name="T32" fmla="*/ 333 w 450"/>
                <a:gd name="T33" fmla="*/ 147 h 450"/>
                <a:gd name="T34" fmla="*/ 318 w 450"/>
                <a:gd name="T35" fmla="*/ 131 h 450"/>
                <a:gd name="T36" fmla="*/ 302 w 450"/>
                <a:gd name="T37" fmla="*/ 117 h 450"/>
                <a:gd name="T38" fmla="*/ 287 w 450"/>
                <a:gd name="T39" fmla="*/ 102 h 450"/>
                <a:gd name="T40" fmla="*/ 269 w 450"/>
                <a:gd name="T41" fmla="*/ 89 h 450"/>
                <a:gd name="T42" fmla="*/ 251 w 450"/>
                <a:gd name="T43" fmla="*/ 77 h 450"/>
                <a:gd name="T44" fmla="*/ 233 w 450"/>
                <a:gd name="T45" fmla="*/ 64 h 450"/>
                <a:gd name="T46" fmla="*/ 215 w 450"/>
                <a:gd name="T47" fmla="*/ 53 h 450"/>
                <a:gd name="T48" fmla="*/ 195 w 450"/>
                <a:gd name="T49" fmla="*/ 44 h 450"/>
                <a:gd name="T50" fmla="*/ 176 w 450"/>
                <a:gd name="T51" fmla="*/ 35 h 450"/>
                <a:gd name="T52" fmla="*/ 155 w 450"/>
                <a:gd name="T53" fmla="*/ 27 h 450"/>
                <a:gd name="T54" fmla="*/ 134 w 450"/>
                <a:gd name="T55" fmla="*/ 19 h 450"/>
                <a:gd name="T56" fmla="*/ 112 w 450"/>
                <a:gd name="T57" fmla="*/ 13 h 450"/>
                <a:gd name="T58" fmla="*/ 90 w 450"/>
                <a:gd name="T59" fmla="*/ 8 h 450"/>
                <a:gd name="T60" fmla="*/ 68 w 450"/>
                <a:gd name="T61" fmla="*/ 5 h 450"/>
                <a:gd name="T62" fmla="*/ 46 w 450"/>
                <a:gd name="T63" fmla="*/ 2 h 450"/>
                <a:gd name="T64" fmla="*/ 23 w 450"/>
                <a:gd name="T65" fmla="*/ 0 h 450"/>
                <a:gd name="T66" fmla="*/ 0 w 450"/>
                <a:gd name="T67" fmla="*/ 0 h 450"/>
                <a:gd name="T68" fmla="*/ 0 w 450"/>
                <a:gd name="T69" fmla="*/ 450 h 450"/>
                <a:gd name="T70" fmla="*/ 450 w 450"/>
                <a:gd name="T71" fmla="*/ 45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50" h="450">
                  <a:moveTo>
                    <a:pt x="450" y="450"/>
                  </a:moveTo>
                  <a:lnTo>
                    <a:pt x="450" y="450"/>
                  </a:lnTo>
                  <a:lnTo>
                    <a:pt x="449" y="426"/>
                  </a:lnTo>
                  <a:lnTo>
                    <a:pt x="447" y="403"/>
                  </a:lnTo>
                  <a:lnTo>
                    <a:pt x="445" y="380"/>
                  </a:lnTo>
                  <a:lnTo>
                    <a:pt x="440" y="358"/>
                  </a:lnTo>
                  <a:lnTo>
                    <a:pt x="435" y="336"/>
                  </a:lnTo>
                  <a:lnTo>
                    <a:pt x="429" y="316"/>
                  </a:lnTo>
                  <a:lnTo>
                    <a:pt x="423" y="295"/>
                  </a:lnTo>
                  <a:lnTo>
                    <a:pt x="415" y="274"/>
                  </a:lnTo>
                  <a:lnTo>
                    <a:pt x="406" y="255"/>
                  </a:lnTo>
                  <a:lnTo>
                    <a:pt x="395" y="235"/>
                  </a:lnTo>
                  <a:lnTo>
                    <a:pt x="384" y="216"/>
                  </a:lnTo>
                  <a:lnTo>
                    <a:pt x="373" y="197"/>
                  </a:lnTo>
                  <a:lnTo>
                    <a:pt x="361" y="180"/>
                  </a:lnTo>
                  <a:lnTo>
                    <a:pt x="347" y="163"/>
                  </a:lnTo>
                  <a:lnTo>
                    <a:pt x="333" y="147"/>
                  </a:lnTo>
                  <a:lnTo>
                    <a:pt x="318" y="131"/>
                  </a:lnTo>
                  <a:lnTo>
                    <a:pt x="302" y="117"/>
                  </a:lnTo>
                  <a:lnTo>
                    <a:pt x="287" y="102"/>
                  </a:lnTo>
                  <a:lnTo>
                    <a:pt x="269" y="89"/>
                  </a:lnTo>
                  <a:lnTo>
                    <a:pt x="251" y="77"/>
                  </a:lnTo>
                  <a:lnTo>
                    <a:pt x="233" y="64"/>
                  </a:lnTo>
                  <a:lnTo>
                    <a:pt x="215" y="53"/>
                  </a:lnTo>
                  <a:lnTo>
                    <a:pt x="195" y="44"/>
                  </a:lnTo>
                  <a:lnTo>
                    <a:pt x="176" y="35"/>
                  </a:lnTo>
                  <a:lnTo>
                    <a:pt x="155" y="27"/>
                  </a:lnTo>
                  <a:lnTo>
                    <a:pt x="134" y="19"/>
                  </a:lnTo>
                  <a:lnTo>
                    <a:pt x="112" y="13"/>
                  </a:lnTo>
                  <a:lnTo>
                    <a:pt x="90" y="8"/>
                  </a:lnTo>
                  <a:lnTo>
                    <a:pt x="68" y="5"/>
                  </a:lnTo>
                  <a:lnTo>
                    <a:pt x="46" y="2"/>
                  </a:lnTo>
                  <a:lnTo>
                    <a:pt x="23" y="0"/>
                  </a:lnTo>
                  <a:lnTo>
                    <a:pt x="0" y="0"/>
                  </a:lnTo>
                  <a:lnTo>
                    <a:pt x="0" y="450"/>
                  </a:lnTo>
                  <a:lnTo>
                    <a:pt x="450" y="450"/>
                  </a:lnTo>
                  <a:close/>
                </a:path>
              </a:pathLst>
            </a:custGeom>
            <a:solidFill>
              <a:srgbClr val="FF77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0" name="Freeform 1626"/>
            <p:cNvSpPr>
              <a:spLocks/>
            </p:cNvSpPr>
            <p:nvPr/>
          </p:nvSpPr>
          <p:spPr bwMode="auto">
            <a:xfrm>
              <a:off x="3776689" y="-580558"/>
              <a:ext cx="73993" cy="73993"/>
            </a:xfrm>
            <a:custGeom>
              <a:avLst/>
              <a:gdLst>
                <a:gd name="T0" fmla="*/ 196 w 196"/>
                <a:gd name="T1" fmla="*/ 98 h 197"/>
                <a:gd name="T2" fmla="*/ 195 w 196"/>
                <a:gd name="T3" fmla="*/ 117 h 197"/>
                <a:gd name="T4" fmla="*/ 189 w 196"/>
                <a:gd name="T5" fmla="*/ 136 h 197"/>
                <a:gd name="T6" fmla="*/ 180 w 196"/>
                <a:gd name="T7" fmla="*/ 153 h 197"/>
                <a:gd name="T8" fmla="*/ 168 w 196"/>
                <a:gd name="T9" fmla="*/ 167 h 197"/>
                <a:gd name="T10" fmla="*/ 153 w 196"/>
                <a:gd name="T11" fmla="*/ 180 h 197"/>
                <a:gd name="T12" fmla="*/ 136 w 196"/>
                <a:gd name="T13" fmla="*/ 188 h 197"/>
                <a:gd name="T14" fmla="*/ 118 w 196"/>
                <a:gd name="T15" fmla="*/ 194 h 197"/>
                <a:gd name="T16" fmla="*/ 98 w 196"/>
                <a:gd name="T17" fmla="*/ 197 h 197"/>
                <a:gd name="T18" fmla="*/ 89 w 196"/>
                <a:gd name="T19" fmla="*/ 196 h 197"/>
                <a:gd name="T20" fmla="*/ 69 w 196"/>
                <a:gd name="T21" fmla="*/ 192 h 197"/>
                <a:gd name="T22" fmla="*/ 52 w 196"/>
                <a:gd name="T23" fmla="*/ 185 h 197"/>
                <a:gd name="T24" fmla="*/ 36 w 196"/>
                <a:gd name="T25" fmla="*/ 174 h 197"/>
                <a:gd name="T26" fmla="*/ 23 w 196"/>
                <a:gd name="T27" fmla="*/ 160 h 197"/>
                <a:gd name="T28" fmla="*/ 12 w 196"/>
                <a:gd name="T29" fmla="*/ 144 h 197"/>
                <a:gd name="T30" fmla="*/ 5 w 196"/>
                <a:gd name="T31" fmla="*/ 127 h 197"/>
                <a:gd name="T32" fmla="*/ 1 w 196"/>
                <a:gd name="T33" fmla="*/ 108 h 197"/>
                <a:gd name="T34" fmla="*/ 0 w 196"/>
                <a:gd name="T35" fmla="*/ 98 h 197"/>
                <a:gd name="T36" fmla="*/ 2 w 196"/>
                <a:gd name="T37" fmla="*/ 78 h 197"/>
                <a:gd name="T38" fmla="*/ 8 w 196"/>
                <a:gd name="T39" fmla="*/ 60 h 197"/>
                <a:gd name="T40" fmla="*/ 17 w 196"/>
                <a:gd name="T41" fmla="*/ 43 h 197"/>
                <a:gd name="T42" fmla="*/ 29 w 196"/>
                <a:gd name="T43" fmla="*/ 28 h 197"/>
                <a:gd name="T44" fmla="*/ 44 w 196"/>
                <a:gd name="T45" fmla="*/ 16 h 197"/>
                <a:gd name="T46" fmla="*/ 61 w 196"/>
                <a:gd name="T47" fmla="*/ 8 h 197"/>
                <a:gd name="T48" fmla="*/ 79 w 196"/>
                <a:gd name="T49" fmla="*/ 2 h 197"/>
                <a:gd name="T50" fmla="*/ 98 w 196"/>
                <a:gd name="T51" fmla="*/ 0 h 197"/>
                <a:gd name="T52" fmla="*/ 108 w 196"/>
                <a:gd name="T53" fmla="*/ 0 h 197"/>
                <a:gd name="T54" fmla="*/ 128 w 196"/>
                <a:gd name="T55" fmla="*/ 4 h 197"/>
                <a:gd name="T56" fmla="*/ 145 w 196"/>
                <a:gd name="T57" fmla="*/ 11 h 197"/>
                <a:gd name="T58" fmla="*/ 161 w 196"/>
                <a:gd name="T59" fmla="*/ 22 h 197"/>
                <a:gd name="T60" fmla="*/ 174 w 196"/>
                <a:gd name="T61" fmla="*/ 36 h 197"/>
                <a:gd name="T62" fmla="*/ 185 w 196"/>
                <a:gd name="T63" fmla="*/ 52 h 197"/>
                <a:gd name="T64" fmla="*/ 192 w 196"/>
                <a:gd name="T65" fmla="*/ 69 h 197"/>
                <a:gd name="T66" fmla="*/ 196 w 196"/>
                <a:gd name="T67" fmla="*/ 88 h 197"/>
                <a:gd name="T68" fmla="*/ 196 w 196"/>
                <a:gd name="T69" fmla="*/ 98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6" h="197">
                  <a:moveTo>
                    <a:pt x="196" y="98"/>
                  </a:moveTo>
                  <a:lnTo>
                    <a:pt x="196" y="98"/>
                  </a:lnTo>
                  <a:lnTo>
                    <a:pt x="196" y="108"/>
                  </a:lnTo>
                  <a:lnTo>
                    <a:pt x="195" y="117"/>
                  </a:lnTo>
                  <a:lnTo>
                    <a:pt x="192" y="127"/>
                  </a:lnTo>
                  <a:lnTo>
                    <a:pt x="189" y="136"/>
                  </a:lnTo>
                  <a:lnTo>
                    <a:pt x="185" y="144"/>
                  </a:lnTo>
                  <a:lnTo>
                    <a:pt x="180" y="153"/>
                  </a:lnTo>
                  <a:lnTo>
                    <a:pt x="174" y="160"/>
                  </a:lnTo>
                  <a:lnTo>
                    <a:pt x="168" y="167"/>
                  </a:lnTo>
                  <a:lnTo>
                    <a:pt x="161" y="174"/>
                  </a:lnTo>
                  <a:lnTo>
                    <a:pt x="153" y="180"/>
                  </a:lnTo>
                  <a:lnTo>
                    <a:pt x="145" y="185"/>
                  </a:lnTo>
                  <a:lnTo>
                    <a:pt x="136" y="188"/>
                  </a:lnTo>
                  <a:lnTo>
                    <a:pt x="128" y="192"/>
                  </a:lnTo>
                  <a:lnTo>
                    <a:pt x="118" y="194"/>
                  </a:lnTo>
                  <a:lnTo>
                    <a:pt x="108" y="196"/>
                  </a:lnTo>
                  <a:lnTo>
                    <a:pt x="98" y="197"/>
                  </a:lnTo>
                  <a:lnTo>
                    <a:pt x="98" y="197"/>
                  </a:lnTo>
                  <a:lnTo>
                    <a:pt x="89" y="196"/>
                  </a:lnTo>
                  <a:lnTo>
                    <a:pt x="79" y="194"/>
                  </a:lnTo>
                  <a:lnTo>
                    <a:pt x="69" y="192"/>
                  </a:lnTo>
                  <a:lnTo>
                    <a:pt x="61" y="188"/>
                  </a:lnTo>
                  <a:lnTo>
                    <a:pt x="52" y="185"/>
                  </a:lnTo>
                  <a:lnTo>
                    <a:pt x="44" y="180"/>
                  </a:lnTo>
                  <a:lnTo>
                    <a:pt x="36" y="174"/>
                  </a:lnTo>
                  <a:lnTo>
                    <a:pt x="29" y="167"/>
                  </a:lnTo>
                  <a:lnTo>
                    <a:pt x="23" y="160"/>
                  </a:lnTo>
                  <a:lnTo>
                    <a:pt x="17" y="153"/>
                  </a:lnTo>
                  <a:lnTo>
                    <a:pt x="12" y="144"/>
                  </a:lnTo>
                  <a:lnTo>
                    <a:pt x="8" y="136"/>
                  </a:lnTo>
                  <a:lnTo>
                    <a:pt x="5" y="127"/>
                  </a:lnTo>
                  <a:lnTo>
                    <a:pt x="2" y="117"/>
                  </a:lnTo>
                  <a:lnTo>
                    <a:pt x="1" y="108"/>
                  </a:lnTo>
                  <a:lnTo>
                    <a:pt x="0" y="98"/>
                  </a:lnTo>
                  <a:lnTo>
                    <a:pt x="0" y="98"/>
                  </a:lnTo>
                  <a:lnTo>
                    <a:pt x="1" y="88"/>
                  </a:lnTo>
                  <a:lnTo>
                    <a:pt x="2" y="78"/>
                  </a:lnTo>
                  <a:lnTo>
                    <a:pt x="5" y="69"/>
                  </a:lnTo>
                  <a:lnTo>
                    <a:pt x="8" y="60"/>
                  </a:lnTo>
                  <a:lnTo>
                    <a:pt x="12" y="52"/>
                  </a:lnTo>
                  <a:lnTo>
                    <a:pt x="17" y="43"/>
                  </a:lnTo>
                  <a:lnTo>
                    <a:pt x="23" y="36"/>
                  </a:lnTo>
                  <a:lnTo>
                    <a:pt x="29" y="28"/>
                  </a:lnTo>
                  <a:lnTo>
                    <a:pt x="36" y="22"/>
                  </a:lnTo>
                  <a:lnTo>
                    <a:pt x="44" y="16"/>
                  </a:lnTo>
                  <a:lnTo>
                    <a:pt x="52" y="11"/>
                  </a:lnTo>
                  <a:lnTo>
                    <a:pt x="61" y="8"/>
                  </a:lnTo>
                  <a:lnTo>
                    <a:pt x="69" y="4"/>
                  </a:lnTo>
                  <a:lnTo>
                    <a:pt x="79" y="2"/>
                  </a:lnTo>
                  <a:lnTo>
                    <a:pt x="89" y="0"/>
                  </a:lnTo>
                  <a:lnTo>
                    <a:pt x="98" y="0"/>
                  </a:lnTo>
                  <a:lnTo>
                    <a:pt x="98" y="0"/>
                  </a:lnTo>
                  <a:lnTo>
                    <a:pt x="108" y="0"/>
                  </a:lnTo>
                  <a:lnTo>
                    <a:pt x="118" y="2"/>
                  </a:lnTo>
                  <a:lnTo>
                    <a:pt x="128" y="4"/>
                  </a:lnTo>
                  <a:lnTo>
                    <a:pt x="136" y="8"/>
                  </a:lnTo>
                  <a:lnTo>
                    <a:pt x="145" y="11"/>
                  </a:lnTo>
                  <a:lnTo>
                    <a:pt x="153" y="16"/>
                  </a:lnTo>
                  <a:lnTo>
                    <a:pt x="161" y="22"/>
                  </a:lnTo>
                  <a:lnTo>
                    <a:pt x="168" y="28"/>
                  </a:lnTo>
                  <a:lnTo>
                    <a:pt x="174" y="36"/>
                  </a:lnTo>
                  <a:lnTo>
                    <a:pt x="180" y="43"/>
                  </a:lnTo>
                  <a:lnTo>
                    <a:pt x="185" y="52"/>
                  </a:lnTo>
                  <a:lnTo>
                    <a:pt x="189" y="60"/>
                  </a:lnTo>
                  <a:lnTo>
                    <a:pt x="192" y="69"/>
                  </a:lnTo>
                  <a:lnTo>
                    <a:pt x="195" y="78"/>
                  </a:lnTo>
                  <a:lnTo>
                    <a:pt x="196" y="88"/>
                  </a:lnTo>
                  <a:lnTo>
                    <a:pt x="196" y="98"/>
                  </a:lnTo>
                  <a:lnTo>
                    <a:pt x="196" y="9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611" name="그룹 610"/>
          <p:cNvGrpSpPr/>
          <p:nvPr userDrawn="1"/>
        </p:nvGrpSpPr>
        <p:grpSpPr>
          <a:xfrm>
            <a:off x="4334316" y="5566072"/>
            <a:ext cx="565968" cy="1062677"/>
            <a:chOff x="5108631" y="2320938"/>
            <a:chExt cx="231777" cy="407991"/>
          </a:xfrm>
        </p:grpSpPr>
        <p:sp>
          <p:nvSpPr>
            <p:cNvPr id="612" name="Rectangle 987"/>
            <p:cNvSpPr>
              <a:spLocks noChangeArrowheads="1"/>
            </p:cNvSpPr>
            <p:nvPr/>
          </p:nvSpPr>
          <p:spPr bwMode="auto">
            <a:xfrm>
              <a:off x="5224520" y="2446351"/>
              <a:ext cx="52388" cy="88901"/>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13" name="Rectangle 988"/>
            <p:cNvSpPr>
              <a:spLocks noChangeArrowheads="1"/>
            </p:cNvSpPr>
            <p:nvPr/>
          </p:nvSpPr>
          <p:spPr bwMode="auto">
            <a:xfrm>
              <a:off x="5224520" y="2446351"/>
              <a:ext cx="52388" cy="88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14" name="Rectangle 989"/>
            <p:cNvSpPr>
              <a:spLocks noChangeArrowheads="1"/>
            </p:cNvSpPr>
            <p:nvPr/>
          </p:nvSpPr>
          <p:spPr bwMode="auto">
            <a:xfrm>
              <a:off x="5138794" y="2355863"/>
              <a:ext cx="7938" cy="68263"/>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15" name="Freeform 990"/>
            <p:cNvSpPr>
              <a:spLocks/>
            </p:cNvSpPr>
            <p:nvPr/>
          </p:nvSpPr>
          <p:spPr bwMode="auto">
            <a:xfrm>
              <a:off x="5151494" y="2363801"/>
              <a:ext cx="25400" cy="33338"/>
            </a:xfrm>
            <a:custGeom>
              <a:avLst/>
              <a:gdLst>
                <a:gd name="T0" fmla="*/ 0 w 81"/>
                <a:gd name="T1" fmla="*/ 81 h 104"/>
                <a:gd name="T2" fmla="*/ 0 w 81"/>
                <a:gd name="T3" fmla="*/ 104 h 104"/>
                <a:gd name="T4" fmla="*/ 81 w 81"/>
                <a:gd name="T5" fmla="*/ 104 h 104"/>
                <a:gd name="T6" fmla="*/ 81 w 81"/>
                <a:gd name="T7" fmla="*/ 81 h 104"/>
                <a:gd name="T8" fmla="*/ 81 w 81"/>
                <a:gd name="T9" fmla="*/ 0 h 104"/>
                <a:gd name="T10" fmla="*/ 81 w 81"/>
                <a:gd name="T11" fmla="*/ 0 h 104"/>
                <a:gd name="T12" fmla="*/ 72 w 81"/>
                <a:gd name="T13" fmla="*/ 0 h 104"/>
                <a:gd name="T14" fmla="*/ 65 w 81"/>
                <a:gd name="T15" fmla="*/ 1 h 104"/>
                <a:gd name="T16" fmla="*/ 56 w 81"/>
                <a:gd name="T17" fmla="*/ 3 h 104"/>
                <a:gd name="T18" fmla="*/ 49 w 81"/>
                <a:gd name="T19" fmla="*/ 6 h 104"/>
                <a:gd name="T20" fmla="*/ 42 w 81"/>
                <a:gd name="T21" fmla="*/ 9 h 104"/>
                <a:gd name="T22" fmla="*/ 35 w 81"/>
                <a:gd name="T23" fmla="*/ 13 h 104"/>
                <a:gd name="T24" fmla="*/ 29 w 81"/>
                <a:gd name="T25" fmla="*/ 18 h 104"/>
                <a:gd name="T26" fmla="*/ 23 w 81"/>
                <a:gd name="T27" fmla="*/ 24 h 104"/>
                <a:gd name="T28" fmla="*/ 18 w 81"/>
                <a:gd name="T29" fmla="*/ 29 h 104"/>
                <a:gd name="T30" fmla="*/ 13 w 81"/>
                <a:gd name="T31" fmla="*/ 35 h 104"/>
                <a:gd name="T32" fmla="*/ 10 w 81"/>
                <a:gd name="T33" fmla="*/ 42 h 104"/>
                <a:gd name="T34" fmla="*/ 6 w 81"/>
                <a:gd name="T35" fmla="*/ 50 h 104"/>
                <a:gd name="T36" fmla="*/ 4 w 81"/>
                <a:gd name="T37" fmla="*/ 57 h 104"/>
                <a:gd name="T38" fmla="*/ 1 w 81"/>
                <a:gd name="T39" fmla="*/ 64 h 104"/>
                <a:gd name="T40" fmla="*/ 0 w 81"/>
                <a:gd name="T41" fmla="*/ 73 h 104"/>
                <a:gd name="T42" fmla="*/ 0 w 81"/>
                <a:gd name="T43" fmla="*/ 81 h 104"/>
                <a:gd name="T44" fmla="*/ 0 w 81"/>
                <a:gd name="T45" fmla="*/ 8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1" h="104">
                  <a:moveTo>
                    <a:pt x="0" y="81"/>
                  </a:moveTo>
                  <a:lnTo>
                    <a:pt x="0" y="104"/>
                  </a:lnTo>
                  <a:lnTo>
                    <a:pt x="81" y="104"/>
                  </a:lnTo>
                  <a:lnTo>
                    <a:pt x="81" y="81"/>
                  </a:lnTo>
                  <a:lnTo>
                    <a:pt x="81" y="0"/>
                  </a:lnTo>
                  <a:lnTo>
                    <a:pt x="81" y="0"/>
                  </a:lnTo>
                  <a:lnTo>
                    <a:pt x="72" y="0"/>
                  </a:lnTo>
                  <a:lnTo>
                    <a:pt x="65" y="1"/>
                  </a:lnTo>
                  <a:lnTo>
                    <a:pt x="56" y="3"/>
                  </a:lnTo>
                  <a:lnTo>
                    <a:pt x="49" y="6"/>
                  </a:lnTo>
                  <a:lnTo>
                    <a:pt x="42" y="9"/>
                  </a:lnTo>
                  <a:lnTo>
                    <a:pt x="35" y="13"/>
                  </a:lnTo>
                  <a:lnTo>
                    <a:pt x="29" y="18"/>
                  </a:lnTo>
                  <a:lnTo>
                    <a:pt x="23" y="24"/>
                  </a:lnTo>
                  <a:lnTo>
                    <a:pt x="18" y="29"/>
                  </a:lnTo>
                  <a:lnTo>
                    <a:pt x="13" y="35"/>
                  </a:lnTo>
                  <a:lnTo>
                    <a:pt x="10" y="42"/>
                  </a:lnTo>
                  <a:lnTo>
                    <a:pt x="6" y="50"/>
                  </a:lnTo>
                  <a:lnTo>
                    <a:pt x="4" y="57"/>
                  </a:lnTo>
                  <a:lnTo>
                    <a:pt x="1" y="64"/>
                  </a:lnTo>
                  <a:lnTo>
                    <a:pt x="0" y="73"/>
                  </a:lnTo>
                  <a:lnTo>
                    <a:pt x="0" y="81"/>
                  </a:lnTo>
                  <a:lnTo>
                    <a:pt x="0" y="81"/>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16" name="Freeform 991"/>
            <p:cNvSpPr>
              <a:spLocks/>
            </p:cNvSpPr>
            <p:nvPr/>
          </p:nvSpPr>
          <p:spPr bwMode="auto">
            <a:xfrm>
              <a:off x="5134032" y="2401901"/>
              <a:ext cx="25400" cy="44450"/>
            </a:xfrm>
            <a:custGeom>
              <a:avLst/>
              <a:gdLst>
                <a:gd name="T0" fmla="*/ 0 w 81"/>
                <a:gd name="T1" fmla="*/ 108 h 140"/>
                <a:gd name="T2" fmla="*/ 0 w 81"/>
                <a:gd name="T3" fmla="*/ 140 h 140"/>
                <a:gd name="T4" fmla="*/ 81 w 81"/>
                <a:gd name="T5" fmla="*/ 140 h 140"/>
                <a:gd name="T6" fmla="*/ 81 w 81"/>
                <a:gd name="T7" fmla="*/ 108 h 140"/>
                <a:gd name="T8" fmla="*/ 81 w 81"/>
                <a:gd name="T9" fmla="*/ 0 h 140"/>
                <a:gd name="T10" fmla="*/ 81 w 81"/>
                <a:gd name="T11" fmla="*/ 0 h 140"/>
                <a:gd name="T12" fmla="*/ 72 w 81"/>
                <a:gd name="T13" fmla="*/ 0 h 140"/>
                <a:gd name="T14" fmla="*/ 65 w 81"/>
                <a:gd name="T15" fmla="*/ 2 h 140"/>
                <a:gd name="T16" fmla="*/ 56 w 81"/>
                <a:gd name="T17" fmla="*/ 5 h 140"/>
                <a:gd name="T18" fmla="*/ 49 w 81"/>
                <a:gd name="T19" fmla="*/ 8 h 140"/>
                <a:gd name="T20" fmla="*/ 43 w 81"/>
                <a:gd name="T21" fmla="*/ 13 h 140"/>
                <a:gd name="T22" fmla="*/ 36 w 81"/>
                <a:gd name="T23" fmla="*/ 18 h 140"/>
                <a:gd name="T24" fmla="*/ 29 w 81"/>
                <a:gd name="T25" fmla="*/ 24 h 140"/>
                <a:gd name="T26" fmla="*/ 23 w 81"/>
                <a:gd name="T27" fmla="*/ 32 h 140"/>
                <a:gd name="T28" fmla="*/ 18 w 81"/>
                <a:gd name="T29" fmla="*/ 39 h 140"/>
                <a:gd name="T30" fmla="*/ 14 w 81"/>
                <a:gd name="T31" fmla="*/ 47 h 140"/>
                <a:gd name="T32" fmla="*/ 10 w 81"/>
                <a:gd name="T33" fmla="*/ 57 h 140"/>
                <a:gd name="T34" fmla="*/ 6 w 81"/>
                <a:gd name="T35" fmla="*/ 66 h 140"/>
                <a:gd name="T36" fmla="*/ 4 w 81"/>
                <a:gd name="T37" fmla="*/ 77 h 140"/>
                <a:gd name="T38" fmla="*/ 1 w 81"/>
                <a:gd name="T39" fmla="*/ 86 h 140"/>
                <a:gd name="T40" fmla="*/ 0 w 81"/>
                <a:gd name="T41" fmla="*/ 97 h 140"/>
                <a:gd name="T42" fmla="*/ 0 w 81"/>
                <a:gd name="T43" fmla="*/ 108 h 140"/>
                <a:gd name="T44" fmla="*/ 0 w 81"/>
                <a:gd name="T45" fmla="*/ 10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1" h="140">
                  <a:moveTo>
                    <a:pt x="0" y="108"/>
                  </a:moveTo>
                  <a:lnTo>
                    <a:pt x="0" y="140"/>
                  </a:lnTo>
                  <a:lnTo>
                    <a:pt x="81" y="140"/>
                  </a:lnTo>
                  <a:lnTo>
                    <a:pt x="81" y="108"/>
                  </a:lnTo>
                  <a:lnTo>
                    <a:pt x="81" y="0"/>
                  </a:lnTo>
                  <a:lnTo>
                    <a:pt x="81" y="0"/>
                  </a:lnTo>
                  <a:lnTo>
                    <a:pt x="72" y="0"/>
                  </a:lnTo>
                  <a:lnTo>
                    <a:pt x="65" y="2"/>
                  </a:lnTo>
                  <a:lnTo>
                    <a:pt x="56" y="5"/>
                  </a:lnTo>
                  <a:lnTo>
                    <a:pt x="49" y="8"/>
                  </a:lnTo>
                  <a:lnTo>
                    <a:pt x="43" y="13"/>
                  </a:lnTo>
                  <a:lnTo>
                    <a:pt x="36" y="18"/>
                  </a:lnTo>
                  <a:lnTo>
                    <a:pt x="29" y="24"/>
                  </a:lnTo>
                  <a:lnTo>
                    <a:pt x="23" y="32"/>
                  </a:lnTo>
                  <a:lnTo>
                    <a:pt x="18" y="39"/>
                  </a:lnTo>
                  <a:lnTo>
                    <a:pt x="14" y="47"/>
                  </a:lnTo>
                  <a:lnTo>
                    <a:pt x="10" y="57"/>
                  </a:lnTo>
                  <a:lnTo>
                    <a:pt x="6" y="66"/>
                  </a:lnTo>
                  <a:lnTo>
                    <a:pt x="4" y="77"/>
                  </a:lnTo>
                  <a:lnTo>
                    <a:pt x="1" y="86"/>
                  </a:lnTo>
                  <a:lnTo>
                    <a:pt x="0" y="97"/>
                  </a:lnTo>
                  <a:lnTo>
                    <a:pt x="0" y="108"/>
                  </a:lnTo>
                  <a:lnTo>
                    <a:pt x="0" y="10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17" name="Rectangle 992"/>
            <p:cNvSpPr>
              <a:spLocks noChangeArrowheads="1"/>
            </p:cNvSpPr>
            <p:nvPr/>
          </p:nvSpPr>
          <p:spPr bwMode="auto">
            <a:xfrm>
              <a:off x="5151494" y="2397139"/>
              <a:ext cx="25400" cy="49213"/>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18" name="Rectangle 993"/>
            <p:cNvSpPr>
              <a:spLocks noChangeArrowheads="1"/>
            </p:cNvSpPr>
            <p:nvPr/>
          </p:nvSpPr>
          <p:spPr bwMode="auto">
            <a:xfrm>
              <a:off x="5151494" y="2397139"/>
              <a:ext cx="25400" cy="49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19" name="Freeform 994"/>
            <p:cNvSpPr>
              <a:spLocks/>
            </p:cNvSpPr>
            <p:nvPr/>
          </p:nvSpPr>
          <p:spPr bwMode="auto">
            <a:xfrm>
              <a:off x="5168957" y="2552715"/>
              <a:ext cx="55563" cy="90488"/>
            </a:xfrm>
            <a:custGeom>
              <a:avLst/>
              <a:gdLst>
                <a:gd name="T0" fmla="*/ 176 w 176"/>
                <a:gd name="T1" fmla="*/ 0 h 284"/>
                <a:gd name="T2" fmla="*/ 176 w 176"/>
                <a:gd name="T3" fmla="*/ 136 h 284"/>
                <a:gd name="T4" fmla="*/ 151 w 176"/>
                <a:gd name="T5" fmla="*/ 284 h 284"/>
                <a:gd name="T6" fmla="*/ 0 w 176"/>
                <a:gd name="T7" fmla="*/ 284 h 284"/>
                <a:gd name="T8" fmla="*/ 30 w 176"/>
                <a:gd name="T9" fmla="*/ 0 h 284"/>
                <a:gd name="T10" fmla="*/ 176 w 176"/>
                <a:gd name="T11" fmla="*/ 0 h 284"/>
              </a:gdLst>
              <a:ahLst/>
              <a:cxnLst>
                <a:cxn ang="0">
                  <a:pos x="T0" y="T1"/>
                </a:cxn>
                <a:cxn ang="0">
                  <a:pos x="T2" y="T3"/>
                </a:cxn>
                <a:cxn ang="0">
                  <a:pos x="T4" y="T5"/>
                </a:cxn>
                <a:cxn ang="0">
                  <a:pos x="T6" y="T7"/>
                </a:cxn>
                <a:cxn ang="0">
                  <a:pos x="T8" y="T9"/>
                </a:cxn>
                <a:cxn ang="0">
                  <a:pos x="T10" y="T11"/>
                </a:cxn>
              </a:cxnLst>
              <a:rect l="0" t="0" r="r" b="b"/>
              <a:pathLst>
                <a:path w="176" h="284">
                  <a:moveTo>
                    <a:pt x="176" y="0"/>
                  </a:moveTo>
                  <a:lnTo>
                    <a:pt x="176" y="136"/>
                  </a:lnTo>
                  <a:lnTo>
                    <a:pt x="151" y="284"/>
                  </a:lnTo>
                  <a:lnTo>
                    <a:pt x="0" y="284"/>
                  </a:lnTo>
                  <a:lnTo>
                    <a:pt x="30" y="0"/>
                  </a:lnTo>
                  <a:lnTo>
                    <a:pt x="1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0" name="Freeform 995"/>
            <p:cNvSpPr>
              <a:spLocks/>
            </p:cNvSpPr>
            <p:nvPr/>
          </p:nvSpPr>
          <p:spPr bwMode="auto">
            <a:xfrm>
              <a:off x="5168957" y="2552715"/>
              <a:ext cx="55563" cy="90488"/>
            </a:xfrm>
            <a:custGeom>
              <a:avLst/>
              <a:gdLst>
                <a:gd name="T0" fmla="*/ 176 w 176"/>
                <a:gd name="T1" fmla="*/ 0 h 284"/>
                <a:gd name="T2" fmla="*/ 176 w 176"/>
                <a:gd name="T3" fmla="*/ 136 h 284"/>
                <a:gd name="T4" fmla="*/ 151 w 176"/>
                <a:gd name="T5" fmla="*/ 284 h 284"/>
                <a:gd name="T6" fmla="*/ 0 w 176"/>
                <a:gd name="T7" fmla="*/ 284 h 284"/>
                <a:gd name="T8" fmla="*/ 30 w 176"/>
                <a:gd name="T9" fmla="*/ 0 h 284"/>
                <a:gd name="T10" fmla="*/ 176 w 176"/>
                <a:gd name="T11" fmla="*/ 0 h 284"/>
              </a:gdLst>
              <a:ahLst/>
              <a:cxnLst>
                <a:cxn ang="0">
                  <a:pos x="T0" y="T1"/>
                </a:cxn>
                <a:cxn ang="0">
                  <a:pos x="T2" y="T3"/>
                </a:cxn>
                <a:cxn ang="0">
                  <a:pos x="T4" y="T5"/>
                </a:cxn>
                <a:cxn ang="0">
                  <a:pos x="T6" y="T7"/>
                </a:cxn>
                <a:cxn ang="0">
                  <a:pos x="T8" y="T9"/>
                </a:cxn>
                <a:cxn ang="0">
                  <a:pos x="T10" y="T11"/>
                </a:cxn>
              </a:cxnLst>
              <a:rect l="0" t="0" r="r" b="b"/>
              <a:pathLst>
                <a:path w="176" h="284">
                  <a:moveTo>
                    <a:pt x="176" y="0"/>
                  </a:moveTo>
                  <a:lnTo>
                    <a:pt x="176" y="136"/>
                  </a:lnTo>
                  <a:lnTo>
                    <a:pt x="151" y="284"/>
                  </a:lnTo>
                  <a:lnTo>
                    <a:pt x="0" y="284"/>
                  </a:lnTo>
                  <a:lnTo>
                    <a:pt x="30" y="0"/>
                  </a:lnTo>
                  <a:lnTo>
                    <a:pt x="17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1" name="Rectangle 996"/>
            <p:cNvSpPr>
              <a:spLocks noChangeArrowheads="1"/>
            </p:cNvSpPr>
            <p:nvPr/>
          </p:nvSpPr>
          <p:spPr bwMode="auto">
            <a:xfrm>
              <a:off x="5173720" y="2343163"/>
              <a:ext cx="103188" cy="1031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2" name="Rectangle 997"/>
            <p:cNvSpPr>
              <a:spLocks noChangeArrowheads="1"/>
            </p:cNvSpPr>
            <p:nvPr/>
          </p:nvSpPr>
          <p:spPr bwMode="auto">
            <a:xfrm>
              <a:off x="5173720" y="2343163"/>
              <a:ext cx="103188" cy="103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3" name="Rectangle 998"/>
            <p:cNvSpPr>
              <a:spLocks noChangeArrowheads="1"/>
            </p:cNvSpPr>
            <p:nvPr/>
          </p:nvSpPr>
          <p:spPr bwMode="auto">
            <a:xfrm>
              <a:off x="5224520" y="2343163"/>
              <a:ext cx="52388" cy="103188"/>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4" name="Rectangle 999"/>
            <p:cNvSpPr>
              <a:spLocks noChangeArrowheads="1"/>
            </p:cNvSpPr>
            <p:nvPr/>
          </p:nvSpPr>
          <p:spPr bwMode="auto">
            <a:xfrm>
              <a:off x="5224520" y="2343163"/>
              <a:ext cx="52388" cy="103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5" name="Freeform 1000"/>
            <p:cNvSpPr>
              <a:spLocks/>
            </p:cNvSpPr>
            <p:nvPr/>
          </p:nvSpPr>
          <p:spPr bwMode="auto">
            <a:xfrm>
              <a:off x="5224520" y="2351101"/>
              <a:ext cx="44450" cy="42863"/>
            </a:xfrm>
            <a:custGeom>
              <a:avLst/>
              <a:gdLst>
                <a:gd name="T0" fmla="*/ 138 w 138"/>
                <a:gd name="T1" fmla="*/ 138 h 138"/>
                <a:gd name="T2" fmla="*/ 138 w 138"/>
                <a:gd name="T3" fmla="*/ 138 h 138"/>
                <a:gd name="T4" fmla="*/ 137 w 138"/>
                <a:gd name="T5" fmla="*/ 123 h 138"/>
                <a:gd name="T6" fmla="*/ 136 w 138"/>
                <a:gd name="T7" fmla="*/ 110 h 138"/>
                <a:gd name="T8" fmla="*/ 132 w 138"/>
                <a:gd name="T9" fmla="*/ 96 h 138"/>
                <a:gd name="T10" fmla="*/ 127 w 138"/>
                <a:gd name="T11" fmla="*/ 84 h 138"/>
                <a:gd name="T12" fmla="*/ 121 w 138"/>
                <a:gd name="T13" fmla="*/ 72 h 138"/>
                <a:gd name="T14" fmla="*/ 115 w 138"/>
                <a:gd name="T15" fmla="*/ 61 h 138"/>
                <a:gd name="T16" fmla="*/ 107 w 138"/>
                <a:gd name="T17" fmla="*/ 50 h 138"/>
                <a:gd name="T18" fmla="*/ 98 w 138"/>
                <a:gd name="T19" fmla="*/ 40 h 138"/>
                <a:gd name="T20" fmla="*/ 88 w 138"/>
                <a:gd name="T21" fmla="*/ 32 h 138"/>
                <a:gd name="T22" fmla="*/ 77 w 138"/>
                <a:gd name="T23" fmla="*/ 23 h 138"/>
                <a:gd name="T24" fmla="*/ 66 w 138"/>
                <a:gd name="T25" fmla="*/ 17 h 138"/>
                <a:gd name="T26" fmla="*/ 54 w 138"/>
                <a:gd name="T27" fmla="*/ 11 h 138"/>
                <a:gd name="T28" fmla="*/ 42 w 138"/>
                <a:gd name="T29" fmla="*/ 6 h 138"/>
                <a:gd name="T30" fmla="*/ 29 w 138"/>
                <a:gd name="T31" fmla="*/ 3 h 138"/>
                <a:gd name="T32" fmla="*/ 15 w 138"/>
                <a:gd name="T33" fmla="*/ 1 h 138"/>
                <a:gd name="T34" fmla="*/ 0 w 138"/>
                <a:gd name="T35" fmla="*/ 0 h 138"/>
                <a:gd name="T36" fmla="*/ 0 w 138"/>
                <a:gd name="T37" fmla="*/ 138 h 138"/>
                <a:gd name="T38" fmla="*/ 138 w 138"/>
                <a:gd name="T3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8" h="138">
                  <a:moveTo>
                    <a:pt x="138" y="138"/>
                  </a:moveTo>
                  <a:lnTo>
                    <a:pt x="138" y="138"/>
                  </a:lnTo>
                  <a:lnTo>
                    <a:pt x="137" y="123"/>
                  </a:lnTo>
                  <a:lnTo>
                    <a:pt x="136" y="110"/>
                  </a:lnTo>
                  <a:lnTo>
                    <a:pt x="132" y="96"/>
                  </a:lnTo>
                  <a:lnTo>
                    <a:pt x="127" y="84"/>
                  </a:lnTo>
                  <a:lnTo>
                    <a:pt x="121" y="72"/>
                  </a:lnTo>
                  <a:lnTo>
                    <a:pt x="115" y="61"/>
                  </a:lnTo>
                  <a:lnTo>
                    <a:pt x="107" y="50"/>
                  </a:lnTo>
                  <a:lnTo>
                    <a:pt x="98" y="40"/>
                  </a:lnTo>
                  <a:lnTo>
                    <a:pt x="88" y="32"/>
                  </a:lnTo>
                  <a:lnTo>
                    <a:pt x="77" y="23"/>
                  </a:lnTo>
                  <a:lnTo>
                    <a:pt x="66" y="17"/>
                  </a:lnTo>
                  <a:lnTo>
                    <a:pt x="54" y="11"/>
                  </a:lnTo>
                  <a:lnTo>
                    <a:pt x="42" y="6"/>
                  </a:lnTo>
                  <a:lnTo>
                    <a:pt x="29" y="3"/>
                  </a:lnTo>
                  <a:lnTo>
                    <a:pt x="15" y="1"/>
                  </a:lnTo>
                  <a:lnTo>
                    <a:pt x="0" y="0"/>
                  </a:lnTo>
                  <a:lnTo>
                    <a:pt x="0" y="138"/>
                  </a:lnTo>
                  <a:lnTo>
                    <a:pt x="138" y="138"/>
                  </a:lnTo>
                  <a:close/>
                </a:path>
              </a:pathLst>
            </a:custGeom>
            <a:solidFill>
              <a:srgbClr val="1F23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6" name="Freeform 1001"/>
            <p:cNvSpPr>
              <a:spLocks/>
            </p:cNvSpPr>
            <p:nvPr/>
          </p:nvSpPr>
          <p:spPr bwMode="auto">
            <a:xfrm>
              <a:off x="5181657" y="2351101"/>
              <a:ext cx="42863" cy="42863"/>
            </a:xfrm>
            <a:custGeom>
              <a:avLst/>
              <a:gdLst>
                <a:gd name="T0" fmla="*/ 136 w 136"/>
                <a:gd name="T1" fmla="*/ 0 h 138"/>
                <a:gd name="T2" fmla="*/ 136 w 136"/>
                <a:gd name="T3" fmla="*/ 0 h 138"/>
                <a:gd name="T4" fmla="*/ 123 w 136"/>
                <a:gd name="T5" fmla="*/ 1 h 138"/>
                <a:gd name="T6" fmla="*/ 110 w 136"/>
                <a:gd name="T7" fmla="*/ 3 h 138"/>
                <a:gd name="T8" fmla="*/ 96 w 136"/>
                <a:gd name="T9" fmla="*/ 6 h 138"/>
                <a:gd name="T10" fmla="*/ 83 w 136"/>
                <a:gd name="T11" fmla="*/ 11 h 138"/>
                <a:gd name="T12" fmla="*/ 72 w 136"/>
                <a:gd name="T13" fmla="*/ 17 h 138"/>
                <a:gd name="T14" fmla="*/ 60 w 136"/>
                <a:gd name="T15" fmla="*/ 23 h 138"/>
                <a:gd name="T16" fmla="*/ 50 w 136"/>
                <a:gd name="T17" fmla="*/ 32 h 138"/>
                <a:gd name="T18" fmla="*/ 40 w 136"/>
                <a:gd name="T19" fmla="*/ 40 h 138"/>
                <a:gd name="T20" fmla="*/ 30 w 136"/>
                <a:gd name="T21" fmla="*/ 50 h 138"/>
                <a:gd name="T22" fmla="*/ 23 w 136"/>
                <a:gd name="T23" fmla="*/ 61 h 138"/>
                <a:gd name="T24" fmla="*/ 16 w 136"/>
                <a:gd name="T25" fmla="*/ 72 h 138"/>
                <a:gd name="T26" fmla="*/ 11 w 136"/>
                <a:gd name="T27" fmla="*/ 84 h 138"/>
                <a:gd name="T28" fmla="*/ 6 w 136"/>
                <a:gd name="T29" fmla="*/ 96 h 138"/>
                <a:gd name="T30" fmla="*/ 2 w 136"/>
                <a:gd name="T31" fmla="*/ 110 h 138"/>
                <a:gd name="T32" fmla="*/ 0 w 136"/>
                <a:gd name="T33" fmla="*/ 123 h 138"/>
                <a:gd name="T34" fmla="*/ 0 w 136"/>
                <a:gd name="T35" fmla="*/ 138 h 138"/>
                <a:gd name="T36" fmla="*/ 136 w 136"/>
                <a:gd name="T37" fmla="*/ 138 h 138"/>
                <a:gd name="T38" fmla="*/ 136 w 136"/>
                <a:gd name="T39"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6" h="138">
                  <a:moveTo>
                    <a:pt x="136" y="0"/>
                  </a:moveTo>
                  <a:lnTo>
                    <a:pt x="136" y="0"/>
                  </a:lnTo>
                  <a:lnTo>
                    <a:pt x="123" y="1"/>
                  </a:lnTo>
                  <a:lnTo>
                    <a:pt x="110" y="3"/>
                  </a:lnTo>
                  <a:lnTo>
                    <a:pt x="96" y="6"/>
                  </a:lnTo>
                  <a:lnTo>
                    <a:pt x="83" y="11"/>
                  </a:lnTo>
                  <a:lnTo>
                    <a:pt x="72" y="17"/>
                  </a:lnTo>
                  <a:lnTo>
                    <a:pt x="60" y="23"/>
                  </a:lnTo>
                  <a:lnTo>
                    <a:pt x="50" y="32"/>
                  </a:lnTo>
                  <a:lnTo>
                    <a:pt x="40" y="40"/>
                  </a:lnTo>
                  <a:lnTo>
                    <a:pt x="30" y="50"/>
                  </a:lnTo>
                  <a:lnTo>
                    <a:pt x="23" y="61"/>
                  </a:lnTo>
                  <a:lnTo>
                    <a:pt x="16" y="72"/>
                  </a:lnTo>
                  <a:lnTo>
                    <a:pt x="11" y="84"/>
                  </a:lnTo>
                  <a:lnTo>
                    <a:pt x="6" y="96"/>
                  </a:lnTo>
                  <a:lnTo>
                    <a:pt x="2" y="110"/>
                  </a:lnTo>
                  <a:lnTo>
                    <a:pt x="0" y="123"/>
                  </a:lnTo>
                  <a:lnTo>
                    <a:pt x="0" y="138"/>
                  </a:lnTo>
                  <a:lnTo>
                    <a:pt x="136" y="138"/>
                  </a:lnTo>
                  <a:lnTo>
                    <a:pt x="136" y="0"/>
                  </a:lnTo>
                  <a:close/>
                </a:path>
              </a:pathLst>
            </a:custGeom>
            <a:solidFill>
              <a:srgbClr val="3338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7" name="Freeform 1002"/>
            <p:cNvSpPr>
              <a:spLocks/>
            </p:cNvSpPr>
            <p:nvPr/>
          </p:nvSpPr>
          <p:spPr bwMode="auto">
            <a:xfrm>
              <a:off x="5181657" y="2393963"/>
              <a:ext cx="42863" cy="42863"/>
            </a:xfrm>
            <a:custGeom>
              <a:avLst/>
              <a:gdLst>
                <a:gd name="T0" fmla="*/ 0 w 136"/>
                <a:gd name="T1" fmla="*/ 0 h 136"/>
                <a:gd name="T2" fmla="*/ 0 w 136"/>
                <a:gd name="T3" fmla="*/ 0 h 136"/>
                <a:gd name="T4" fmla="*/ 0 w 136"/>
                <a:gd name="T5" fmla="*/ 13 h 136"/>
                <a:gd name="T6" fmla="*/ 2 w 136"/>
                <a:gd name="T7" fmla="*/ 27 h 136"/>
                <a:gd name="T8" fmla="*/ 6 w 136"/>
                <a:gd name="T9" fmla="*/ 40 h 136"/>
                <a:gd name="T10" fmla="*/ 11 w 136"/>
                <a:gd name="T11" fmla="*/ 54 h 136"/>
                <a:gd name="T12" fmla="*/ 16 w 136"/>
                <a:gd name="T13" fmla="*/ 65 h 136"/>
                <a:gd name="T14" fmla="*/ 23 w 136"/>
                <a:gd name="T15" fmla="*/ 77 h 136"/>
                <a:gd name="T16" fmla="*/ 30 w 136"/>
                <a:gd name="T17" fmla="*/ 86 h 136"/>
                <a:gd name="T18" fmla="*/ 40 w 136"/>
                <a:gd name="T19" fmla="*/ 96 h 136"/>
                <a:gd name="T20" fmla="*/ 50 w 136"/>
                <a:gd name="T21" fmla="*/ 106 h 136"/>
                <a:gd name="T22" fmla="*/ 60 w 136"/>
                <a:gd name="T23" fmla="*/ 113 h 136"/>
                <a:gd name="T24" fmla="*/ 72 w 136"/>
                <a:gd name="T25" fmla="*/ 121 h 136"/>
                <a:gd name="T26" fmla="*/ 83 w 136"/>
                <a:gd name="T27" fmla="*/ 127 h 136"/>
                <a:gd name="T28" fmla="*/ 96 w 136"/>
                <a:gd name="T29" fmla="*/ 130 h 136"/>
                <a:gd name="T30" fmla="*/ 110 w 136"/>
                <a:gd name="T31" fmla="*/ 134 h 136"/>
                <a:gd name="T32" fmla="*/ 123 w 136"/>
                <a:gd name="T33" fmla="*/ 136 h 136"/>
                <a:gd name="T34" fmla="*/ 136 w 136"/>
                <a:gd name="T35" fmla="*/ 136 h 136"/>
                <a:gd name="T36" fmla="*/ 136 w 136"/>
                <a:gd name="T37" fmla="*/ 0 h 136"/>
                <a:gd name="T38" fmla="*/ 0 w 136"/>
                <a:gd name="T39"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6" h="136">
                  <a:moveTo>
                    <a:pt x="0" y="0"/>
                  </a:moveTo>
                  <a:lnTo>
                    <a:pt x="0" y="0"/>
                  </a:lnTo>
                  <a:lnTo>
                    <a:pt x="0" y="13"/>
                  </a:lnTo>
                  <a:lnTo>
                    <a:pt x="2" y="27"/>
                  </a:lnTo>
                  <a:lnTo>
                    <a:pt x="6" y="40"/>
                  </a:lnTo>
                  <a:lnTo>
                    <a:pt x="11" y="54"/>
                  </a:lnTo>
                  <a:lnTo>
                    <a:pt x="16" y="65"/>
                  </a:lnTo>
                  <a:lnTo>
                    <a:pt x="23" y="77"/>
                  </a:lnTo>
                  <a:lnTo>
                    <a:pt x="30" y="86"/>
                  </a:lnTo>
                  <a:lnTo>
                    <a:pt x="40" y="96"/>
                  </a:lnTo>
                  <a:lnTo>
                    <a:pt x="50" y="106"/>
                  </a:lnTo>
                  <a:lnTo>
                    <a:pt x="60" y="113"/>
                  </a:lnTo>
                  <a:lnTo>
                    <a:pt x="72" y="121"/>
                  </a:lnTo>
                  <a:lnTo>
                    <a:pt x="83" y="127"/>
                  </a:lnTo>
                  <a:lnTo>
                    <a:pt x="96" y="130"/>
                  </a:lnTo>
                  <a:lnTo>
                    <a:pt x="110" y="134"/>
                  </a:lnTo>
                  <a:lnTo>
                    <a:pt x="123" y="136"/>
                  </a:lnTo>
                  <a:lnTo>
                    <a:pt x="136" y="136"/>
                  </a:lnTo>
                  <a:lnTo>
                    <a:pt x="136" y="0"/>
                  </a:lnTo>
                  <a:lnTo>
                    <a:pt x="0" y="0"/>
                  </a:lnTo>
                  <a:close/>
                </a:path>
              </a:pathLst>
            </a:custGeom>
            <a:solidFill>
              <a:srgbClr val="1F23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8" name="Freeform 1003"/>
            <p:cNvSpPr>
              <a:spLocks/>
            </p:cNvSpPr>
            <p:nvPr/>
          </p:nvSpPr>
          <p:spPr bwMode="auto">
            <a:xfrm>
              <a:off x="5224520" y="2393963"/>
              <a:ext cx="44450" cy="42863"/>
            </a:xfrm>
            <a:custGeom>
              <a:avLst/>
              <a:gdLst>
                <a:gd name="T0" fmla="*/ 0 w 138"/>
                <a:gd name="T1" fmla="*/ 0 h 136"/>
                <a:gd name="T2" fmla="*/ 0 w 138"/>
                <a:gd name="T3" fmla="*/ 136 h 136"/>
                <a:gd name="T4" fmla="*/ 0 w 138"/>
                <a:gd name="T5" fmla="*/ 136 h 136"/>
                <a:gd name="T6" fmla="*/ 15 w 138"/>
                <a:gd name="T7" fmla="*/ 136 h 136"/>
                <a:gd name="T8" fmla="*/ 29 w 138"/>
                <a:gd name="T9" fmla="*/ 134 h 136"/>
                <a:gd name="T10" fmla="*/ 42 w 138"/>
                <a:gd name="T11" fmla="*/ 130 h 136"/>
                <a:gd name="T12" fmla="*/ 54 w 138"/>
                <a:gd name="T13" fmla="*/ 127 h 136"/>
                <a:gd name="T14" fmla="*/ 66 w 138"/>
                <a:gd name="T15" fmla="*/ 121 h 136"/>
                <a:gd name="T16" fmla="*/ 77 w 138"/>
                <a:gd name="T17" fmla="*/ 113 h 136"/>
                <a:gd name="T18" fmla="*/ 88 w 138"/>
                <a:gd name="T19" fmla="*/ 106 h 136"/>
                <a:gd name="T20" fmla="*/ 98 w 138"/>
                <a:gd name="T21" fmla="*/ 96 h 136"/>
                <a:gd name="T22" fmla="*/ 107 w 138"/>
                <a:gd name="T23" fmla="*/ 86 h 136"/>
                <a:gd name="T24" fmla="*/ 115 w 138"/>
                <a:gd name="T25" fmla="*/ 77 h 136"/>
                <a:gd name="T26" fmla="*/ 121 w 138"/>
                <a:gd name="T27" fmla="*/ 65 h 136"/>
                <a:gd name="T28" fmla="*/ 127 w 138"/>
                <a:gd name="T29" fmla="*/ 54 h 136"/>
                <a:gd name="T30" fmla="*/ 132 w 138"/>
                <a:gd name="T31" fmla="*/ 40 h 136"/>
                <a:gd name="T32" fmla="*/ 136 w 138"/>
                <a:gd name="T33" fmla="*/ 27 h 136"/>
                <a:gd name="T34" fmla="*/ 137 w 138"/>
                <a:gd name="T35" fmla="*/ 13 h 136"/>
                <a:gd name="T36" fmla="*/ 138 w 138"/>
                <a:gd name="T37" fmla="*/ 0 h 136"/>
                <a:gd name="T38" fmla="*/ 0 w 138"/>
                <a:gd name="T39"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8" h="136">
                  <a:moveTo>
                    <a:pt x="0" y="0"/>
                  </a:moveTo>
                  <a:lnTo>
                    <a:pt x="0" y="136"/>
                  </a:lnTo>
                  <a:lnTo>
                    <a:pt x="0" y="136"/>
                  </a:lnTo>
                  <a:lnTo>
                    <a:pt x="15" y="136"/>
                  </a:lnTo>
                  <a:lnTo>
                    <a:pt x="29" y="134"/>
                  </a:lnTo>
                  <a:lnTo>
                    <a:pt x="42" y="130"/>
                  </a:lnTo>
                  <a:lnTo>
                    <a:pt x="54" y="127"/>
                  </a:lnTo>
                  <a:lnTo>
                    <a:pt x="66" y="121"/>
                  </a:lnTo>
                  <a:lnTo>
                    <a:pt x="77" y="113"/>
                  </a:lnTo>
                  <a:lnTo>
                    <a:pt x="88" y="106"/>
                  </a:lnTo>
                  <a:lnTo>
                    <a:pt x="98" y="96"/>
                  </a:lnTo>
                  <a:lnTo>
                    <a:pt x="107" y="86"/>
                  </a:lnTo>
                  <a:lnTo>
                    <a:pt x="115" y="77"/>
                  </a:lnTo>
                  <a:lnTo>
                    <a:pt x="121" y="65"/>
                  </a:lnTo>
                  <a:lnTo>
                    <a:pt x="127" y="54"/>
                  </a:lnTo>
                  <a:lnTo>
                    <a:pt x="132" y="40"/>
                  </a:lnTo>
                  <a:lnTo>
                    <a:pt x="136" y="27"/>
                  </a:lnTo>
                  <a:lnTo>
                    <a:pt x="137" y="13"/>
                  </a:lnTo>
                  <a:lnTo>
                    <a:pt x="138"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9" name="Rectangle 1004"/>
            <p:cNvSpPr>
              <a:spLocks noChangeArrowheads="1"/>
            </p:cNvSpPr>
            <p:nvPr/>
          </p:nvSpPr>
          <p:spPr bwMode="auto">
            <a:xfrm>
              <a:off x="5172132" y="2446351"/>
              <a:ext cx="52388" cy="8890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0" name="Rectangle 1005"/>
            <p:cNvSpPr>
              <a:spLocks noChangeArrowheads="1"/>
            </p:cNvSpPr>
            <p:nvPr/>
          </p:nvSpPr>
          <p:spPr bwMode="auto">
            <a:xfrm>
              <a:off x="5172132" y="2446351"/>
              <a:ext cx="52388" cy="88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1" name="Freeform 1006"/>
            <p:cNvSpPr>
              <a:spLocks/>
            </p:cNvSpPr>
            <p:nvPr/>
          </p:nvSpPr>
          <p:spPr bwMode="auto">
            <a:xfrm>
              <a:off x="5153082" y="2427301"/>
              <a:ext cx="20638" cy="107951"/>
            </a:xfrm>
            <a:custGeom>
              <a:avLst/>
              <a:gdLst>
                <a:gd name="T0" fmla="*/ 62 w 62"/>
                <a:gd name="T1" fmla="*/ 343 h 343"/>
                <a:gd name="T2" fmla="*/ 62 w 62"/>
                <a:gd name="T3" fmla="*/ 61 h 343"/>
                <a:gd name="T4" fmla="*/ 62 w 62"/>
                <a:gd name="T5" fmla="*/ 61 h 343"/>
                <a:gd name="T6" fmla="*/ 61 w 62"/>
                <a:gd name="T7" fmla="*/ 49 h 343"/>
                <a:gd name="T8" fmla="*/ 57 w 62"/>
                <a:gd name="T9" fmla="*/ 38 h 343"/>
                <a:gd name="T10" fmla="*/ 51 w 62"/>
                <a:gd name="T11" fmla="*/ 27 h 343"/>
                <a:gd name="T12" fmla="*/ 44 w 62"/>
                <a:gd name="T13" fmla="*/ 17 h 343"/>
                <a:gd name="T14" fmla="*/ 36 w 62"/>
                <a:gd name="T15" fmla="*/ 10 h 343"/>
                <a:gd name="T16" fmla="*/ 25 w 62"/>
                <a:gd name="T17" fmla="*/ 5 h 343"/>
                <a:gd name="T18" fmla="*/ 14 w 62"/>
                <a:gd name="T19" fmla="*/ 2 h 343"/>
                <a:gd name="T20" fmla="*/ 0 w 62"/>
                <a:gd name="T21" fmla="*/ 0 h 343"/>
                <a:gd name="T22" fmla="*/ 0 w 62"/>
                <a:gd name="T23" fmla="*/ 343 h 343"/>
                <a:gd name="T24" fmla="*/ 62 w 62"/>
                <a:gd name="T25"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43">
                  <a:moveTo>
                    <a:pt x="62" y="343"/>
                  </a:moveTo>
                  <a:lnTo>
                    <a:pt x="62" y="61"/>
                  </a:lnTo>
                  <a:lnTo>
                    <a:pt x="62" y="61"/>
                  </a:lnTo>
                  <a:lnTo>
                    <a:pt x="61" y="49"/>
                  </a:lnTo>
                  <a:lnTo>
                    <a:pt x="57" y="38"/>
                  </a:lnTo>
                  <a:lnTo>
                    <a:pt x="51" y="27"/>
                  </a:lnTo>
                  <a:lnTo>
                    <a:pt x="44" y="17"/>
                  </a:lnTo>
                  <a:lnTo>
                    <a:pt x="36" y="10"/>
                  </a:lnTo>
                  <a:lnTo>
                    <a:pt x="25" y="5"/>
                  </a:lnTo>
                  <a:lnTo>
                    <a:pt x="14" y="2"/>
                  </a:lnTo>
                  <a:lnTo>
                    <a:pt x="0" y="0"/>
                  </a:lnTo>
                  <a:lnTo>
                    <a:pt x="0" y="343"/>
                  </a:lnTo>
                  <a:lnTo>
                    <a:pt x="62" y="343"/>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2" name="Freeform 1007"/>
            <p:cNvSpPr>
              <a:spLocks/>
            </p:cNvSpPr>
            <p:nvPr/>
          </p:nvSpPr>
          <p:spPr bwMode="auto">
            <a:xfrm>
              <a:off x="5153082" y="2427301"/>
              <a:ext cx="20638" cy="107951"/>
            </a:xfrm>
            <a:custGeom>
              <a:avLst/>
              <a:gdLst>
                <a:gd name="T0" fmla="*/ 62 w 62"/>
                <a:gd name="T1" fmla="*/ 343 h 343"/>
                <a:gd name="T2" fmla="*/ 62 w 62"/>
                <a:gd name="T3" fmla="*/ 61 h 343"/>
                <a:gd name="T4" fmla="*/ 62 w 62"/>
                <a:gd name="T5" fmla="*/ 61 h 343"/>
                <a:gd name="T6" fmla="*/ 61 w 62"/>
                <a:gd name="T7" fmla="*/ 49 h 343"/>
                <a:gd name="T8" fmla="*/ 57 w 62"/>
                <a:gd name="T9" fmla="*/ 38 h 343"/>
                <a:gd name="T10" fmla="*/ 51 w 62"/>
                <a:gd name="T11" fmla="*/ 27 h 343"/>
                <a:gd name="T12" fmla="*/ 44 w 62"/>
                <a:gd name="T13" fmla="*/ 17 h 343"/>
                <a:gd name="T14" fmla="*/ 36 w 62"/>
                <a:gd name="T15" fmla="*/ 10 h 343"/>
                <a:gd name="T16" fmla="*/ 25 w 62"/>
                <a:gd name="T17" fmla="*/ 5 h 343"/>
                <a:gd name="T18" fmla="*/ 14 w 62"/>
                <a:gd name="T19" fmla="*/ 2 h 343"/>
                <a:gd name="T20" fmla="*/ 0 w 62"/>
                <a:gd name="T21" fmla="*/ 0 h 343"/>
                <a:gd name="T22" fmla="*/ 0 w 62"/>
                <a:gd name="T23" fmla="*/ 343 h 343"/>
                <a:gd name="T24" fmla="*/ 62 w 62"/>
                <a:gd name="T25"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43">
                  <a:moveTo>
                    <a:pt x="62" y="343"/>
                  </a:moveTo>
                  <a:lnTo>
                    <a:pt x="62" y="61"/>
                  </a:lnTo>
                  <a:lnTo>
                    <a:pt x="62" y="61"/>
                  </a:lnTo>
                  <a:lnTo>
                    <a:pt x="61" y="49"/>
                  </a:lnTo>
                  <a:lnTo>
                    <a:pt x="57" y="38"/>
                  </a:lnTo>
                  <a:lnTo>
                    <a:pt x="51" y="27"/>
                  </a:lnTo>
                  <a:lnTo>
                    <a:pt x="44" y="17"/>
                  </a:lnTo>
                  <a:lnTo>
                    <a:pt x="36" y="10"/>
                  </a:lnTo>
                  <a:lnTo>
                    <a:pt x="25" y="5"/>
                  </a:lnTo>
                  <a:lnTo>
                    <a:pt x="14" y="2"/>
                  </a:lnTo>
                  <a:lnTo>
                    <a:pt x="0" y="0"/>
                  </a:lnTo>
                  <a:lnTo>
                    <a:pt x="0" y="343"/>
                  </a:lnTo>
                  <a:lnTo>
                    <a:pt x="62" y="34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3" name="Freeform 1008"/>
            <p:cNvSpPr>
              <a:spLocks/>
            </p:cNvSpPr>
            <p:nvPr/>
          </p:nvSpPr>
          <p:spPr bwMode="auto">
            <a:xfrm>
              <a:off x="5134032" y="2427301"/>
              <a:ext cx="19050" cy="107951"/>
            </a:xfrm>
            <a:custGeom>
              <a:avLst/>
              <a:gdLst>
                <a:gd name="T0" fmla="*/ 61 w 61"/>
                <a:gd name="T1" fmla="*/ 343 h 343"/>
                <a:gd name="T2" fmla="*/ 61 w 61"/>
                <a:gd name="T3" fmla="*/ 0 h 343"/>
                <a:gd name="T4" fmla="*/ 61 w 61"/>
                <a:gd name="T5" fmla="*/ 0 h 343"/>
                <a:gd name="T6" fmla="*/ 49 w 61"/>
                <a:gd name="T7" fmla="*/ 2 h 343"/>
                <a:gd name="T8" fmla="*/ 38 w 61"/>
                <a:gd name="T9" fmla="*/ 5 h 343"/>
                <a:gd name="T10" fmla="*/ 27 w 61"/>
                <a:gd name="T11" fmla="*/ 10 h 343"/>
                <a:gd name="T12" fmla="*/ 18 w 61"/>
                <a:gd name="T13" fmla="*/ 17 h 343"/>
                <a:gd name="T14" fmla="*/ 10 w 61"/>
                <a:gd name="T15" fmla="*/ 27 h 343"/>
                <a:gd name="T16" fmla="*/ 5 w 61"/>
                <a:gd name="T17" fmla="*/ 38 h 343"/>
                <a:gd name="T18" fmla="*/ 1 w 61"/>
                <a:gd name="T19" fmla="*/ 49 h 343"/>
                <a:gd name="T20" fmla="*/ 0 w 61"/>
                <a:gd name="T21" fmla="*/ 61 h 343"/>
                <a:gd name="T22" fmla="*/ 0 w 61"/>
                <a:gd name="T23" fmla="*/ 343 h 343"/>
                <a:gd name="T24" fmla="*/ 61 w 61"/>
                <a:gd name="T25"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343">
                  <a:moveTo>
                    <a:pt x="61" y="343"/>
                  </a:moveTo>
                  <a:lnTo>
                    <a:pt x="61" y="0"/>
                  </a:lnTo>
                  <a:lnTo>
                    <a:pt x="61" y="0"/>
                  </a:lnTo>
                  <a:lnTo>
                    <a:pt x="49" y="2"/>
                  </a:lnTo>
                  <a:lnTo>
                    <a:pt x="38" y="5"/>
                  </a:lnTo>
                  <a:lnTo>
                    <a:pt x="27" y="10"/>
                  </a:lnTo>
                  <a:lnTo>
                    <a:pt x="18" y="17"/>
                  </a:lnTo>
                  <a:lnTo>
                    <a:pt x="10" y="27"/>
                  </a:lnTo>
                  <a:lnTo>
                    <a:pt x="5" y="38"/>
                  </a:lnTo>
                  <a:lnTo>
                    <a:pt x="1" y="49"/>
                  </a:lnTo>
                  <a:lnTo>
                    <a:pt x="0" y="61"/>
                  </a:lnTo>
                  <a:lnTo>
                    <a:pt x="0" y="343"/>
                  </a:lnTo>
                  <a:lnTo>
                    <a:pt x="61"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4" name="Freeform 1010"/>
            <p:cNvSpPr>
              <a:spLocks/>
            </p:cNvSpPr>
            <p:nvPr/>
          </p:nvSpPr>
          <p:spPr bwMode="auto">
            <a:xfrm>
              <a:off x="5134032" y="2427302"/>
              <a:ext cx="19050" cy="107951"/>
            </a:xfrm>
            <a:custGeom>
              <a:avLst/>
              <a:gdLst>
                <a:gd name="T0" fmla="*/ 61 w 61"/>
                <a:gd name="T1" fmla="*/ 343 h 343"/>
                <a:gd name="T2" fmla="*/ 61 w 61"/>
                <a:gd name="T3" fmla="*/ 0 h 343"/>
                <a:gd name="T4" fmla="*/ 61 w 61"/>
                <a:gd name="T5" fmla="*/ 0 h 343"/>
                <a:gd name="T6" fmla="*/ 49 w 61"/>
                <a:gd name="T7" fmla="*/ 2 h 343"/>
                <a:gd name="T8" fmla="*/ 38 w 61"/>
                <a:gd name="T9" fmla="*/ 5 h 343"/>
                <a:gd name="T10" fmla="*/ 27 w 61"/>
                <a:gd name="T11" fmla="*/ 10 h 343"/>
                <a:gd name="T12" fmla="*/ 18 w 61"/>
                <a:gd name="T13" fmla="*/ 17 h 343"/>
                <a:gd name="T14" fmla="*/ 10 w 61"/>
                <a:gd name="T15" fmla="*/ 27 h 343"/>
                <a:gd name="T16" fmla="*/ 5 w 61"/>
                <a:gd name="T17" fmla="*/ 38 h 343"/>
                <a:gd name="T18" fmla="*/ 1 w 61"/>
                <a:gd name="T19" fmla="*/ 49 h 343"/>
                <a:gd name="T20" fmla="*/ 0 w 61"/>
                <a:gd name="T21" fmla="*/ 61 h 343"/>
                <a:gd name="T22" fmla="*/ 0 w 61"/>
                <a:gd name="T23" fmla="*/ 343 h 343"/>
                <a:gd name="T24" fmla="*/ 61 w 61"/>
                <a:gd name="T25"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343">
                  <a:moveTo>
                    <a:pt x="61" y="343"/>
                  </a:moveTo>
                  <a:lnTo>
                    <a:pt x="61" y="0"/>
                  </a:lnTo>
                  <a:lnTo>
                    <a:pt x="61" y="0"/>
                  </a:lnTo>
                  <a:lnTo>
                    <a:pt x="49" y="2"/>
                  </a:lnTo>
                  <a:lnTo>
                    <a:pt x="38" y="5"/>
                  </a:lnTo>
                  <a:lnTo>
                    <a:pt x="27" y="10"/>
                  </a:lnTo>
                  <a:lnTo>
                    <a:pt x="18" y="17"/>
                  </a:lnTo>
                  <a:lnTo>
                    <a:pt x="10" y="27"/>
                  </a:lnTo>
                  <a:lnTo>
                    <a:pt x="5" y="38"/>
                  </a:lnTo>
                  <a:lnTo>
                    <a:pt x="1" y="49"/>
                  </a:lnTo>
                  <a:lnTo>
                    <a:pt x="0" y="61"/>
                  </a:lnTo>
                  <a:lnTo>
                    <a:pt x="0" y="343"/>
                  </a:lnTo>
                  <a:lnTo>
                    <a:pt x="61" y="34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5" name="Rectangle 1011"/>
            <p:cNvSpPr>
              <a:spLocks noChangeArrowheads="1"/>
            </p:cNvSpPr>
            <p:nvPr/>
          </p:nvSpPr>
          <p:spPr bwMode="auto">
            <a:xfrm>
              <a:off x="5134032" y="2535253"/>
              <a:ext cx="19050" cy="50800"/>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6" name="Rectangle 1012"/>
            <p:cNvSpPr>
              <a:spLocks noChangeArrowheads="1"/>
            </p:cNvSpPr>
            <p:nvPr/>
          </p:nvSpPr>
          <p:spPr bwMode="auto">
            <a:xfrm>
              <a:off x="5134032" y="2535253"/>
              <a:ext cx="19050" cy="5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7" name="Rectangle 1013"/>
            <p:cNvSpPr>
              <a:spLocks noChangeArrowheads="1"/>
            </p:cNvSpPr>
            <p:nvPr/>
          </p:nvSpPr>
          <p:spPr bwMode="auto">
            <a:xfrm>
              <a:off x="5153082" y="2535253"/>
              <a:ext cx="20638" cy="50800"/>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8" name="Rectangle 1014"/>
            <p:cNvSpPr>
              <a:spLocks noChangeArrowheads="1"/>
            </p:cNvSpPr>
            <p:nvPr/>
          </p:nvSpPr>
          <p:spPr bwMode="auto">
            <a:xfrm>
              <a:off x="5153082" y="2535253"/>
              <a:ext cx="20638" cy="5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9" name="Freeform 1015"/>
            <p:cNvSpPr>
              <a:spLocks/>
            </p:cNvSpPr>
            <p:nvPr/>
          </p:nvSpPr>
          <p:spPr bwMode="auto">
            <a:xfrm>
              <a:off x="5153082" y="2568590"/>
              <a:ext cx="26988" cy="26988"/>
            </a:xfrm>
            <a:custGeom>
              <a:avLst/>
              <a:gdLst>
                <a:gd name="T0" fmla="*/ 84 w 84"/>
                <a:gd name="T1" fmla="*/ 84 h 84"/>
                <a:gd name="T2" fmla="*/ 84 w 84"/>
                <a:gd name="T3" fmla="*/ 84 h 84"/>
                <a:gd name="T4" fmla="*/ 84 w 84"/>
                <a:gd name="T5" fmla="*/ 76 h 84"/>
                <a:gd name="T6" fmla="*/ 83 w 84"/>
                <a:gd name="T7" fmla="*/ 67 h 84"/>
                <a:gd name="T8" fmla="*/ 81 w 84"/>
                <a:gd name="T9" fmla="*/ 58 h 84"/>
                <a:gd name="T10" fmla="*/ 78 w 84"/>
                <a:gd name="T11" fmla="*/ 51 h 84"/>
                <a:gd name="T12" fmla="*/ 75 w 84"/>
                <a:gd name="T13" fmla="*/ 44 h 84"/>
                <a:gd name="T14" fmla="*/ 70 w 84"/>
                <a:gd name="T15" fmla="*/ 37 h 84"/>
                <a:gd name="T16" fmla="*/ 65 w 84"/>
                <a:gd name="T17" fmla="*/ 30 h 84"/>
                <a:gd name="T18" fmla="*/ 60 w 84"/>
                <a:gd name="T19" fmla="*/ 24 h 84"/>
                <a:gd name="T20" fmla="*/ 54 w 84"/>
                <a:gd name="T21" fmla="*/ 19 h 84"/>
                <a:gd name="T22" fmla="*/ 48 w 84"/>
                <a:gd name="T23" fmla="*/ 15 h 84"/>
                <a:gd name="T24" fmla="*/ 40 w 84"/>
                <a:gd name="T25" fmla="*/ 10 h 84"/>
                <a:gd name="T26" fmla="*/ 33 w 84"/>
                <a:gd name="T27" fmla="*/ 6 h 84"/>
                <a:gd name="T28" fmla="*/ 26 w 84"/>
                <a:gd name="T29" fmla="*/ 4 h 84"/>
                <a:gd name="T30" fmla="*/ 17 w 84"/>
                <a:gd name="T31" fmla="*/ 1 h 84"/>
                <a:gd name="T32" fmla="*/ 9 w 84"/>
                <a:gd name="T33" fmla="*/ 0 h 84"/>
                <a:gd name="T34" fmla="*/ 0 w 84"/>
                <a:gd name="T35" fmla="*/ 0 h 84"/>
                <a:gd name="T36" fmla="*/ 0 w 84"/>
                <a:gd name="T37" fmla="*/ 84 h 84"/>
                <a:gd name="T38" fmla="*/ 84 w 84"/>
                <a:gd name="T3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4" h="84">
                  <a:moveTo>
                    <a:pt x="84" y="84"/>
                  </a:moveTo>
                  <a:lnTo>
                    <a:pt x="84" y="84"/>
                  </a:lnTo>
                  <a:lnTo>
                    <a:pt x="84" y="76"/>
                  </a:lnTo>
                  <a:lnTo>
                    <a:pt x="83" y="67"/>
                  </a:lnTo>
                  <a:lnTo>
                    <a:pt x="81" y="58"/>
                  </a:lnTo>
                  <a:lnTo>
                    <a:pt x="78" y="51"/>
                  </a:lnTo>
                  <a:lnTo>
                    <a:pt x="75" y="44"/>
                  </a:lnTo>
                  <a:lnTo>
                    <a:pt x="70" y="37"/>
                  </a:lnTo>
                  <a:lnTo>
                    <a:pt x="65" y="30"/>
                  </a:lnTo>
                  <a:lnTo>
                    <a:pt x="60" y="24"/>
                  </a:lnTo>
                  <a:lnTo>
                    <a:pt x="54" y="19"/>
                  </a:lnTo>
                  <a:lnTo>
                    <a:pt x="48" y="15"/>
                  </a:lnTo>
                  <a:lnTo>
                    <a:pt x="40" y="10"/>
                  </a:lnTo>
                  <a:lnTo>
                    <a:pt x="33" y="6"/>
                  </a:lnTo>
                  <a:lnTo>
                    <a:pt x="26" y="4"/>
                  </a:lnTo>
                  <a:lnTo>
                    <a:pt x="17" y="1"/>
                  </a:lnTo>
                  <a:lnTo>
                    <a:pt x="9" y="0"/>
                  </a:lnTo>
                  <a:lnTo>
                    <a:pt x="0" y="0"/>
                  </a:lnTo>
                  <a:lnTo>
                    <a:pt x="0" y="84"/>
                  </a:lnTo>
                  <a:lnTo>
                    <a:pt x="84" y="84"/>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0" name="Freeform 1016"/>
            <p:cNvSpPr>
              <a:spLocks/>
            </p:cNvSpPr>
            <p:nvPr/>
          </p:nvSpPr>
          <p:spPr bwMode="auto">
            <a:xfrm>
              <a:off x="5127682" y="2568590"/>
              <a:ext cx="25400" cy="26988"/>
            </a:xfrm>
            <a:custGeom>
              <a:avLst/>
              <a:gdLst>
                <a:gd name="T0" fmla="*/ 83 w 83"/>
                <a:gd name="T1" fmla="*/ 0 h 84"/>
                <a:gd name="T2" fmla="*/ 83 w 83"/>
                <a:gd name="T3" fmla="*/ 0 h 84"/>
                <a:gd name="T4" fmla="*/ 75 w 83"/>
                <a:gd name="T5" fmla="*/ 0 h 84"/>
                <a:gd name="T6" fmla="*/ 67 w 83"/>
                <a:gd name="T7" fmla="*/ 1 h 84"/>
                <a:gd name="T8" fmla="*/ 59 w 83"/>
                <a:gd name="T9" fmla="*/ 4 h 84"/>
                <a:gd name="T10" fmla="*/ 51 w 83"/>
                <a:gd name="T11" fmla="*/ 6 h 84"/>
                <a:gd name="T12" fmla="*/ 44 w 83"/>
                <a:gd name="T13" fmla="*/ 10 h 84"/>
                <a:gd name="T14" fmla="*/ 37 w 83"/>
                <a:gd name="T15" fmla="*/ 15 h 84"/>
                <a:gd name="T16" fmla="*/ 31 w 83"/>
                <a:gd name="T17" fmla="*/ 19 h 84"/>
                <a:gd name="T18" fmla="*/ 25 w 83"/>
                <a:gd name="T19" fmla="*/ 24 h 84"/>
                <a:gd name="T20" fmla="*/ 19 w 83"/>
                <a:gd name="T21" fmla="*/ 30 h 84"/>
                <a:gd name="T22" fmla="*/ 15 w 83"/>
                <a:gd name="T23" fmla="*/ 37 h 84"/>
                <a:gd name="T24" fmla="*/ 10 w 83"/>
                <a:gd name="T25" fmla="*/ 44 h 84"/>
                <a:gd name="T26" fmla="*/ 6 w 83"/>
                <a:gd name="T27" fmla="*/ 51 h 84"/>
                <a:gd name="T28" fmla="*/ 4 w 83"/>
                <a:gd name="T29" fmla="*/ 58 h 84"/>
                <a:gd name="T30" fmla="*/ 1 w 83"/>
                <a:gd name="T31" fmla="*/ 67 h 84"/>
                <a:gd name="T32" fmla="*/ 0 w 83"/>
                <a:gd name="T33" fmla="*/ 76 h 84"/>
                <a:gd name="T34" fmla="*/ 0 w 83"/>
                <a:gd name="T35" fmla="*/ 84 h 84"/>
                <a:gd name="T36" fmla="*/ 83 w 83"/>
                <a:gd name="T37" fmla="*/ 84 h 84"/>
                <a:gd name="T38" fmla="*/ 83 w 83"/>
                <a:gd name="T39"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 h="84">
                  <a:moveTo>
                    <a:pt x="83" y="0"/>
                  </a:moveTo>
                  <a:lnTo>
                    <a:pt x="83" y="0"/>
                  </a:lnTo>
                  <a:lnTo>
                    <a:pt x="75" y="0"/>
                  </a:lnTo>
                  <a:lnTo>
                    <a:pt x="67" y="1"/>
                  </a:lnTo>
                  <a:lnTo>
                    <a:pt x="59" y="4"/>
                  </a:lnTo>
                  <a:lnTo>
                    <a:pt x="51" y="6"/>
                  </a:lnTo>
                  <a:lnTo>
                    <a:pt x="44" y="10"/>
                  </a:lnTo>
                  <a:lnTo>
                    <a:pt x="37" y="15"/>
                  </a:lnTo>
                  <a:lnTo>
                    <a:pt x="31" y="19"/>
                  </a:lnTo>
                  <a:lnTo>
                    <a:pt x="25" y="24"/>
                  </a:lnTo>
                  <a:lnTo>
                    <a:pt x="19" y="30"/>
                  </a:lnTo>
                  <a:lnTo>
                    <a:pt x="15" y="37"/>
                  </a:lnTo>
                  <a:lnTo>
                    <a:pt x="10" y="44"/>
                  </a:lnTo>
                  <a:lnTo>
                    <a:pt x="6" y="51"/>
                  </a:lnTo>
                  <a:lnTo>
                    <a:pt x="4" y="58"/>
                  </a:lnTo>
                  <a:lnTo>
                    <a:pt x="1" y="67"/>
                  </a:lnTo>
                  <a:lnTo>
                    <a:pt x="0" y="76"/>
                  </a:lnTo>
                  <a:lnTo>
                    <a:pt x="0" y="84"/>
                  </a:lnTo>
                  <a:lnTo>
                    <a:pt x="83" y="84"/>
                  </a:lnTo>
                  <a:lnTo>
                    <a:pt x="8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1" name="Freeform 1017"/>
            <p:cNvSpPr>
              <a:spLocks/>
            </p:cNvSpPr>
            <p:nvPr/>
          </p:nvSpPr>
          <p:spPr bwMode="auto">
            <a:xfrm>
              <a:off x="5127682" y="2595578"/>
              <a:ext cx="25400" cy="26988"/>
            </a:xfrm>
            <a:custGeom>
              <a:avLst/>
              <a:gdLst>
                <a:gd name="T0" fmla="*/ 0 w 83"/>
                <a:gd name="T1" fmla="*/ 0 h 83"/>
                <a:gd name="T2" fmla="*/ 0 w 83"/>
                <a:gd name="T3" fmla="*/ 0 h 83"/>
                <a:gd name="T4" fmla="*/ 0 w 83"/>
                <a:gd name="T5" fmla="*/ 9 h 83"/>
                <a:gd name="T6" fmla="*/ 1 w 83"/>
                <a:gd name="T7" fmla="*/ 16 h 83"/>
                <a:gd name="T8" fmla="*/ 4 w 83"/>
                <a:gd name="T9" fmla="*/ 24 h 83"/>
                <a:gd name="T10" fmla="*/ 6 w 83"/>
                <a:gd name="T11" fmla="*/ 32 h 83"/>
                <a:gd name="T12" fmla="*/ 10 w 83"/>
                <a:gd name="T13" fmla="*/ 39 h 83"/>
                <a:gd name="T14" fmla="*/ 15 w 83"/>
                <a:gd name="T15" fmla="*/ 46 h 83"/>
                <a:gd name="T16" fmla="*/ 19 w 83"/>
                <a:gd name="T17" fmla="*/ 52 h 83"/>
                <a:gd name="T18" fmla="*/ 25 w 83"/>
                <a:gd name="T19" fmla="*/ 59 h 83"/>
                <a:gd name="T20" fmla="*/ 31 w 83"/>
                <a:gd name="T21" fmla="*/ 65 h 83"/>
                <a:gd name="T22" fmla="*/ 37 w 83"/>
                <a:gd name="T23" fmla="*/ 68 h 83"/>
                <a:gd name="T24" fmla="*/ 44 w 83"/>
                <a:gd name="T25" fmla="*/ 73 h 83"/>
                <a:gd name="T26" fmla="*/ 51 w 83"/>
                <a:gd name="T27" fmla="*/ 77 h 83"/>
                <a:gd name="T28" fmla="*/ 59 w 83"/>
                <a:gd name="T29" fmla="*/ 79 h 83"/>
                <a:gd name="T30" fmla="*/ 67 w 83"/>
                <a:gd name="T31" fmla="*/ 82 h 83"/>
                <a:gd name="T32" fmla="*/ 75 w 83"/>
                <a:gd name="T33" fmla="*/ 83 h 83"/>
                <a:gd name="T34" fmla="*/ 83 w 83"/>
                <a:gd name="T35" fmla="*/ 83 h 83"/>
                <a:gd name="T36" fmla="*/ 83 w 83"/>
                <a:gd name="T37" fmla="*/ 0 h 83"/>
                <a:gd name="T38" fmla="*/ 0 w 83"/>
                <a:gd name="T39"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 h="83">
                  <a:moveTo>
                    <a:pt x="0" y="0"/>
                  </a:moveTo>
                  <a:lnTo>
                    <a:pt x="0" y="0"/>
                  </a:lnTo>
                  <a:lnTo>
                    <a:pt x="0" y="9"/>
                  </a:lnTo>
                  <a:lnTo>
                    <a:pt x="1" y="16"/>
                  </a:lnTo>
                  <a:lnTo>
                    <a:pt x="4" y="24"/>
                  </a:lnTo>
                  <a:lnTo>
                    <a:pt x="6" y="32"/>
                  </a:lnTo>
                  <a:lnTo>
                    <a:pt x="10" y="39"/>
                  </a:lnTo>
                  <a:lnTo>
                    <a:pt x="15" y="46"/>
                  </a:lnTo>
                  <a:lnTo>
                    <a:pt x="19" y="52"/>
                  </a:lnTo>
                  <a:lnTo>
                    <a:pt x="25" y="59"/>
                  </a:lnTo>
                  <a:lnTo>
                    <a:pt x="31" y="65"/>
                  </a:lnTo>
                  <a:lnTo>
                    <a:pt x="37" y="68"/>
                  </a:lnTo>
                  <a:lnTo>
                    <a:pt x="44" y="73"/>
                  </a:lnTo>
                  <a:lnTo>
                    <a:pt x="51" y="77"/>
                  </a:lnTo>
                  <a:lnTo>
                    <a:pt x="59" y="79"/>
                  </a:lnTo>
                  <a:lnTo>
                    <a:pt x="67" y="82"/>
                  </a:lnTo>
                  <a:lnTo>
                    <a:pt x="75" y="83"/>
                  </a:lnTo>
                  <a:lnTo>
                    <a:pt x="83" y="83"/>
                  </a:lnTo>
                  <a:lnTo>
                    <a:pt x="83" y="0"/>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2" name="Freeform 1018"/>
            <p:cNvSpPr>
              <a:spLocks/>
            </p:cNvSpPr>
            <p:nvPr/>
          </p:nvSpPr>
          <p:spPr bwMode="auto">
            <a:xfrm>
              <a:off x="5153082" y="2595578"/>
              <a:ext cx="26988" cy="26988"/>
            </a:xfrm>
            <a:custGeom>
              <a:avLst/>
              <a:gdLst>
                <a:gd name="T0" fmla="*/ 0 w 84"/>
                <a:gd name="T1" fmla="*/ 0 h 83"/>
                <a:gd name="T2" fmla="*/ 0 w 84"/>
                <a:gd name="T3" fmla="*/ 83 h 83"/>
                <a:gd name="T4" fmla="*/ 0 w 84"/>
                <a:gd name="T5" fmla="*/ 83 h 83"/>
                <a:gd name="T6" fmla="*/ 9 w 84"/>
                <a:gd name="T7" fmla="*/ 83 h 83"/>
                <a:gd name="T8" fmla="*/ 17 w 84"/>
                <a:gd name="T9" fmla="*/ 82 h 83"/>
                <a:gd name="T10" fmla="*/ 26 w 84"/>
                <a:gd name="T11" fmla="*/ 79 h 83"/>
                <a:gd name="T12" fmla="*/ 33 w 84"/>
                <a:gd name="T13" fmla="*/ 77 h 83"/>
                <a:gd name="T14" fmla="*/ 40 w 84"/>
                <a:gd name="T15" fmla="*/ 73 h 83"/>
                <a:gd name="T16" fmla="*/ 48 w 84"/>
                <a:gd name="T17" fmla="*/ 68 h 83"/>
                <a:gd name="T18" fmla="*/ 54 w 84"/>
                <a:gd name="T19" fmla="*/ 65 h 83"/>
                <a:gd name="T20" fmla="*/ 60 w 84"/>
                <a:gd name="T21" fmla="*/ 59 h 83"/>
                <a:gd name="T22" fmla="*/ 65 w 84"/>
                <a:gd name="T23" fmla="*/ 52 h 83"/>
                <a:gd name="T24" fmla="*/ 70 w 84"/>
                <a:gd name="T25" fmla="*/ 46 h 83"/>
                <a:gd name="T26" fmla="*/ 75 w 84"/>
                <a:gd name="T27" fmla="*/ 39 h 83"/>
                <a:gd name="T28" fmla="*/ 78 w 84"/>
                <a:gd name="T29" fmla="*/ 32 h 83"/>
                <a:gd name="T30" fmla="*/ 81 w 84"/>
                <a:gd name="T31" fmla="*/ 24 h 83"/>
                <a:gd name="T32" fmla="*/ 83 w 84"/>
                <a:gd name="T33" fmla="*/ 16 h 83"/>
                <a:gd name="T34" fmla="*/ 84 w 84"/>
                <a:gd name="T35" fmla="*/ 9 h 83"/>
                <a:gd name="T36" fmla="*/ 84 w 84"/>
                <a:gd name="T37" fmla="*/ 0 h 83"/>
                <a:gd name="T38" fmla="*/ 0 w 84"/>
                <a:gd name="T39"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4" h="83">
                  <a:moveTo>
                    <a:pt x="0" y="0"/>
                  </a:moveTo>
                  <a:lnTo>
                    <a:pt x="0" y="83"/>
                  </a:lnTo>
                  <a:lnTo>
                    <a:pt x="0" y="83"/>
                  </a:lnTo>
                  <a:lnTo>
                    <a:pt x="9" y="83"/>
                  </a:lnTo>
                  <a:lnTo>
                    <a:pt x="17" y="82"/>
                  </a:lnTo>
                  <a:lnTo>
                    <a:pt x="26" y="79"/>
                  </a:lnTo>
                  <a:lnTo>
                    <a:pt x="33" y="77"/>
                  </a:lnTo>
                  <a:lnTo>
                    <a:pt x="40" y="73"/>
                  </a:lnTo>
                  <a:lnTo>
                    <a:pt x="48" y="68"/>
                  </a:lnTo>
                  <a:lnTo>
                    <a:pt x="54" y="65"/>
                  </a:lnTo>
                  <a:lnTo>
                    <a:pt x="60" y="59"/>
                  </a:lnTo>
                  <a:lnTo>
                    <a:pt x="65" y="52"/>
                  </a:lnTo>
                  <a:lnTo>
                    <a:pt x="70" y="46"/>
                  </a:lnTo>
                  <a:lnTo>
                    <a:pt x="75" y="39"/>
                  </a:lnTo>
                  <a:lnTo>
                    <a:pt x="78" y="32"/>
                  </a:lnTo>
                  <a:lnTo>
                    <a:pt x="81" y="24"/>
                  </a:lnTo>
                  <a:lnTo>
                    <a:pt x="83" y="16"/>
                  </a:lnTo>
                  <a:lnTo>
                    <a:pt x="84" y="9"/>
                  </a:lnTo>
                  <a:lnTo>
                    <a:pt x="84" y="0"/>
                  </a:lnTo>
                  <a:lnTo>
                    <a:pt x="0" y="0"/>
                  </a:lnTo>
                  <a:close/>
                </a:path>
              </a:pathLst>
            </a:custGeom>
            <a:solidFill>
              <a:srgbClr val="A5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3" name="Rectangle 1019"/>
            <p:cNvSpPr>
              <a:spLocks noChangeArrowheads="1"/>
            </p:cNvSpPr>
            <p:nvPr/>
          </p:nvSpPr>
          <p:spPr bwMode="auto">
            <a:xfrm>
              <a:off x="5173719" y="2463814"/>
              <a:ext cx="33338" cy="26988"/>
            </a:xfrm>
            <a:prstGeom prst="rect">
              <a:avLst/>
            </a:prstGeom>
            <a:solidFill>
              <a:srgbClr val="3469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4" name="Rectangle 1020"/>
            <p:cNvSpPr>
              <a:spLocks noChangeArrowheads="1"/>
            </p:cNvSpPr>
            <p:nvPr/>
          </p:nvSpPr>
          <p:spPr bwMode="auto">
            <a:xfrm>
              <a:off x="5173719" y="2490802"/>
              <a:ext cx="33338" cy="26988"/>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5" name="Freeform 1021"/>
            <p:cNvSpPr>
              <a:spLocks/>
            </p:cNvSpPr>
            <p:nvPr/>
          </p:nvSpPr>
          <p:spPr bwMode="auto">
            <a:xfrm>
              <a:off x="5173719" y="2535253"/>
              <a:ext cx="50800" cy="17463"/>
            </a:xfrm>
            <a:custGeom>
              <a:avLst/>
              <a:gdLst>
                <a:gd name="T0" fmla="*/ 16 w 162"/>
                <a:gd name="T1" fmla="*/ 54 h 54"/>
                <a:gd name="T2" fmla="*/ 162 w 162"/>
                <a:gd name="T3" fmla="*/ 54 h 54"/>
                <a:gd name="T4" fmla="*/ 162 w 162"/>
                <a:gd name="T5" fmla="*/ 0 h 54"/>
                <a:gd name="T6" fmla="*/ 0 w 162"/>
                <a:gd name="T7" fmla="*/ 0 h 54"/>
                <a:gd name="T8" fmla="*/ 16 w 162"/>
                <a:gd name="T9" fmla="*/ 54 h 54"/>
              </a:gdLst>
              <a:ahLst/>
              <a:cxnLst>
                <a:cxn ang="0">
                  <a:pos x="T0" y="T1"/>
                </a:cxn>
                <a:cxn ang="0">
                  <a:pos x="T2" y="T3"/>
                </a:cxn>
                <a:cxn ang="0">
                  <a:pos x="T4" y="T5"/>
                </a:cxn>
                <a:cxn ang="0">
                  <a:pos x="T6" y="T7"/>
                </a:cxn>
                <a:cxn ang="0">
                  <a:pos x="T8" y="T9"/>
                </a:cxn>
              </a:cxnLst>
              <a:rect l="0" t="0" r="r" b="b"/>
              <a:pathLst>
                <a:path w="162" h="54">
                  <a:moveTo>
                    <a:pt x="16" y="54"/>
                  </a:moveTo>
                  <a:lnTo>
                    <a:pt x="162" y="54"/>
                  </a:lnTo>
                  <a:lnTo>
                    <a:pt x="162" y="0"/>
                  </a:lnTo>
                  <a:lnTo>
                    <a:pt x="0" y="0"/>
                  </a:lnTo>
                  <a:lnTo>
                    <a:pt x="16" y="54"/>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6" name="Freeform 1022"/>
            <p:cNvSpPr>
              <a:spLocks/>
            </p:cNvSpPr>
            <p:nvPr/>
          </p:nvSpPr>
          <p:spPr bwMode="auto">
            <a:xfrm>
              <a:off x="5173719" y="2535253"/>
              <a:ext cx="50800" cy="17463"/>
            </a:xfrm>
            <a:custGeom>
              <a:avLst/>
              <a:gdLst>
                <a:gd name="T0" fmla="*/ 16 w 162"/>
                <a:gd name="T1" fmla="*/ 54 h 54"/>
                <a:gd name="T2" fmla="*/ 162 w 162"/>
                <a:gd name="T3" fmla="*/ 54 h 54"/>
                <a:gd name="T4" fmla="*/ 162 w 162"/>
                <a:gd name="T5" fmla="*/ 0 h 54"/>
                <a:gd name="T6" fmla="*/ 0 w 162"/>
                <a:gd name="T7" fmla="*/ 0 h 54"/>
                <a:gd name="T8" fmla="*/ 16 w 162"/>
                <a:gd name="T9" fmla="*/ 54 h 54"/>
              </a:gdLst>
              <a:ahLst/>
              <a:cxnLst>
                <a:cxn ang="0">
                  <a:pos x="T0" y="T1"/>
                </a:cxn>
                <a:cxn ang="0">
                  <a:pos x="T2" y="T3"/>
                </a:cxn>
                <a:cxn ang="0">
                  <a:pos x="T4" y="T5"/>
                </a:cxn>
                <a:cxn ang="0">
                  <a:pos x="T6" y="T7"/>
                </a:cxn>
                <a:cxn ang="0">
                  <a:pos x="T8" y="T9"/>
                </a:cxn>
              </a:cxnLst>
              <a:rect l="0" t="0" r="r" b="b"/>
              <a:pathLst>
                <a:path w="162" h="54">
                  <a:moveTo>
                    <a:pt x="16" y="54"/>
                  </a:moveTo>
                  <a:lnTo>
                    <a:pt x="162" y="54"/>
                  </a:lnTo>
                  <a:lnTo>
                    <a:pt x="162" y="0"/>
                  </a:lnTo>
                  <a:lnTo>
                    <a:pt x="0" y="0"/>
                  </a:lnTo>
                  <a:lnTo>
                    <a:pt x="16" y="5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7" name="Freeform 1023"/>
            <p:cNvSpPr>
              <a:spLocks/>
            </p:cNvSpPr>
            <p:nvPr/>
          </p:nvSpPr>
          <p:spPr bwMode="auto">
            <a:xfrm>
              <a:off x="5168957" y="2627328"/>
              <a:ext cx="50800" cy="15875"/>
            </a:xfrm>
            <a:custGeom>
              <a:avLst/>
              <a:gdLst>
                <a:gd name="T0" fmla="*/ 159 w 159"/>
                <a:gd name="T1" fmla="*/ 0 h 49"/>
                <a:gd name="T2" fmla="*/ 6 w 159"/>
                <a:gd name="T3" fmla="*/ 0 h 49"/>
                <a:gd name="T4" fmla="*/ 0 w 159"/>
                <a:gd name="T5" fmla="*/ 49 h 49"/>
                <a:gd name="T6" fmla="*/ 151 w 159"/>
                <a:gd name="T7" fmla="*/ 49 h 49"/>
                <a:gd name="T8" fmla="*/ 159 w 159"/>
                <a:gd name="T9" fmla="*/ 0 h 49"/>
              </a:gdLst>
              <a:ahLst/>
              <a:cxnLst>
                <a:cxn ang="0">
                  <a:pos x="T0" y="T1"/>
                </a:cxn>
                <a:cxn ang="0">
                  <a:pos x="T2" y="T3"/>
                </a:cxn>
                <a:cxn ang="0">
                  <a:pos x="T4" y="T5"/>
                </a:cxn>
                <a:cxn ang="0">
                  <a:pos x="T6" y="T7"/>
                </a:cxn>
                <a:cxn ang="0">
                  <a:pos x="T8" y="T9"/>
                </a:cxn>
              </a:cxnLst>
              <a:rect l="0" t="0" r="r" b="b"/>
              <a:pathLst>
                <a:path w="159" h="49">
                  <a:moveTo>
                    <a:pt x="159" y="0"/>
                  </a:moveTo>
                  <a:lnTo>
                    <a:pt x="6" y="0"/>
                  </a:lnTo>
                  <a:lnTo>
                    <a:pt x="0" y="49"/>
                  </a:lnTo>
                  <a:lnTo>
                    <a:pt x="151" y="49"/>
                  </a:lnTo>
                  <a:lnTo>
                    <a:pt x="159"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8" name="Freeform 1024"/>
            <p:cNvSpPr>
              <a:spLocks/>
            </p:cNvSpPr>
            <p:nvPr/>
          </p:nvSpPr>
          <p:spPr bwMode="auto">
            <a:xfrm>
              <a:off x="5168957" y="2627328"/>
              <a:ext cx="50800" cy="15875"/>
            </a:xfrm>
            <a:custGeom>
              <a:avLst/>
              <a:gdLst>
                <a:gd name="T0" fmla="*/ 159 w 159"/>
                <a:gd name="T1" fmla="*/ 0 h 49"/>
                <a:gd name="T2" fmla="*/ 6 w 159"/>
                <a:gd name="T3" fmla="*/ 0 h 49"/>
                <a:gd name="T4" fmla="*/ 0 w 159"/>
                <a:gd name="T5" fmla="*/ 49 h 49"/>
                <a:gd name="T6" fmla="*/ 151 w 159"/>
                <a:gd name="T7" fmla="*/ 49 h 49"/>
                <a:gd name="T8" fmla="*/ 159 w 159"/>
                <a:gd name="T9" fmla="*/ 0 h 49"/>
              </a:gdLst>
              <a:ahLst/>
              <a:cxnLst>
                <a:cxn ang="0">
                  <a:pos x="T0" y="T1"/>
                </a:cxn>
                <a:cxn ang="0">
                  <a:pos x="T2" y="T3"/>
                </a:cxn>
                <a:cxn ang="0">
                  <a:pos x="T4" y="T5"/>
                </a:cxn>
                <a:cxn ang="0">
                  <a:pos x="T6" y="T7"/>
                </a:cxn>
                <a:cxn ang="0">
                  <a:pos x="T8" y="T9"/>
                </a:cxn>
              </a:cxnLst>
              <a:rect l="0" t="0" r="r" b="b"/>
              <a:pathLst>
                <a:path w="159" h="49">
                  <a:moveTo>
                    <a:pt x="159" y="0"/>
                  </a:moveTo>
                  <a:lnTo>
                    <a:pt x="6" y="0"/>
                  </a:lnTo>
                  <a:lnTo>
                    <a:pt x="0" y="49"/>
                  </a:lnTo>
                  <a:lnTo>
                    <a:pt x="151" y="49"/>
                  </a:lnTo>
                  <a:lnTo>
                    <a:pt x="1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9" name="Rectangle 1025"/>
            <p:cNvSpPr>
              <a:spLocks noChangeArrowheads="1"/>
            </p:cNvSpPr>
            <p:nvPr/>
          </p:nvSpPr>
          <p:spPr bwMode="auto">
            <a:xfrm>
              <a:off x="5168957" y="2643204"/>
              <a:ext cx="47625" cy="69851"/>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0" name="Freeform 1026"/>
            <p:cNvSpPr>
              <a:spLocks/>
            </p:cNvSpPr>
            <p:nvPr/>
          </p:nvSpPr>
          <p:spPr bwMode="auto">
            <a:xfrm>
              <a:off x="5178482" y="2686066"/>
              <a:ext cx="42863" cy="42863"/>
            </a:xfrm>
            <a:custGeom>
              <a:avLst/>
              <a:gdLst>
                <a:gd name="T0" fmla="*/ 134 w 134"/>
                <a:gd name="T1" fmla="*/ 134 h 134"/>
                <a:gd name="T2" fmla="*/ 134 w 134"/>
                <a:gd name="T3" fmla="*/ 134 h 134"/>
                <a:gd name="T4" fmla="*/ 133 w 134"/>
                <a:gd name="T5" fmla="*/ 120 h 134"/>
                <a:gd name="T6" fmla="*/ 131 w 134"/>
                <a:gd name="T7" fmla="*/ 107 h 134"/>
                <a:gd name="T8" fmla="*/ 128 w 134"/>
                <a:gd name="T9" fmla="*/ 94 h 134"/>
                <a:gd name="T10" fmla="*/ 123 w 134"/>
                <a:gd name="T11" fmla="*/ 82 h 134"/>
                <a:gd name="T12" fmla="*/ 117 w 134"/>
                <a:gd name="T13" fmla="*/ 70 h 134"/>
                <a:gd name="T14" fmla="*/ 111 w 134"/>
                <a:gd name="T15" fmla="*/ 59 h 134"/>
                <a:gd name="T16" fmla="*/ 103 w 134"/>
                <a:gd name="T17" fmla="*/ 49 h 134"/>
                <a:gd name="T18" fmla="*/ 94 w 134"/>
                <a:gd name="T19" fmla="*/ 39 h 134"/>
                <a:gd name="T20" fmla="*/ 86 w 134"/>
                <a:gd name="T21" fmla="*/ 31 h 134"/>
                <a:gd name="T22" fmla="*/ 75 w 134"/>
                <a:gd name="T23" fmla="*/ 23 h 134"/>
                <a:gd name="T24" fmla="*/ 64 w 134"/>
                <a:gd name="T25" fmla="*/ 16 h 134"/>
                <a:gd name="T26" fmla="*/ 53 w 134"/>
                <a:gd name="T27" fmla="*/ 11 h 134"/>
                <a:gd name="T28" fmla="*/ 40 w 134"/>
                <a:gd name="T29" fmla="*/ 6 h 134"/>
                <a:gd name="T30" fmla="*/ 27 w 134"/>
                <a:gd name="T31" fmla="*/ 3 h 134"/>
                <a:gd name="T32" fmla="*/ 14 w 134"/>
                <a:gd name="T33" fmla="*/ 1 h 134"/>
                <a:gd name="T34" fmla="*/ 0 w 134"/>
                <a:gd name="T35" fmla="*/ 0 h 134"/>
                <a:gd name="T36" fmla="*/ 0 w 134"/>
                <a:gd name="T37" fmla="*/ 134 h 134"/>
                <a:gd name="T38" fmla="*/ 134 w 134"/>
                <a:gd name="T39"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4" h="134">
                  <a:moveTo>
                    <a:pt x="134" y="134"/>
                  </a:moveTo>
                  <a:lnTo>
                    <a:pt x="134" y="134"/>
                  </a:lnTo>
                  <a:lnTo>
                    <a:pt x="133" y="120"/>
                  </a:lnTo>
                  <a:lnTo>
                    <a:pt x="131" y="107"/>
                  </a:lnTo>
                  <a:lnTo>
                    <a:pt x="128" y="94"/>
                  </a:lnTo>
                  <a:lnTo>
                    <a:pt x="123" y="82"/>
                  </a:lnTo>
                  <a:lnTo>
                    <a:pt x="117" y="70"/>
                  </a:lnTo>
                  <a:lnTo>
                    <a:pt x="111" y="59"/>
                  </a:lnTo>
                  <a:lnTo>
                    <a:pt x="103" y="49"/>
                  </a:lnTo>
                  <a:lnTo>
                    <a:pt x="94" y="39"/>
                  </a:lnTo>
                  <a:lnTo>
                    <a:pt x="86" y="31"/>
                  </a:lnTo>
                  <a:lnTo>
                    <a:pt x="75" y="23"/>
                  </a:lnTo>
                  <a:lnTo>
                    <a:pt x="64" y="16"/>
                  </a:lnTo>
                  <a:lnTo>
                    <a:pt x="53" y="11"/>
                  </a:lnTo>
                  <a:lnTo>
                    <a:pt x="40" y="6"/>
                  </a:lnTo>
                  <a:lnTo>
                    <a:pt x="27" y="3"/>
                  </a:lnTo>
                  <a:lnTo>
                    <a:pt x="14" y="1"/>
                  </a:lnTo>
                  <a:lnTo>
                    <a:pt x="0" y="0"/>
                  </a:lnTo>
                  <a:lnTo>
                    <a:pt x="0" y="134"/>
                  </a:lnTo>
                  <a:lnTo>
                    <a:pt x="134" y="134"/>
                  </a:lnTo>
                  <a:close/>
                </a:path>
              </a:pathLst>
            </a:custGeom>
            <a:solidFill>
              <a:srgbClr val="A5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1" name="Freeform 1027"/>
            <p:cNvSpPr>
              <a:spLocks/>
            </p:cNvSpPr>
            <p:nvPr/>
          </p:nvSpPr>
          <p:spPr bwMode="auto">
            <a:xfrm>
              <a:off x="5135619" y="2686066"/>
              <a:ext cx="42863" cy="42863"/>
            </a:xfrm>
            <a:custGeom>
              <a:avLst/>
              <a:gdLst>
                <a:gd name="T0" fmla="*/ 134 w 134"/>
                <a:gd name="T1" fmla="*/ 0 h 134"/>
                <a:gd name="T2" fmla="*/ 134 w 134"/>
                <a:gd name="T3" fmla="*/ 0 h 134"/>
                <a:gd name="T4" fmla="*/ 121 w 134"/>
                <a:gd name="T5" fmla="*/ 1 h 134"/>
                <a:gd name="T6" fmla="*/ 107 w 134"/>
                <a:gd name="T7" fmla="*/ 3 h 134"/>
                <a:gd name="T8" fmla="*/ 94 w 134"/>
                <a:gd name="T9" fmla="*/ 6 h 134"/>
                <a:gd name="T10" fmla="*/ 82 w 134"/>
                <a:gd name="T11" fmla="*/ 11 h 134"/>
                <a:gd name="T12" fmla="*/ 71 w 134"/>
                <a:gd name="T13" fmla="*/ 16 h 134"/>
                <a:gd name="T14" fmla="*/ 60 w 134"/>
                <a:gd name="T15" fmla="*/ 23 h 134"/>
                <a:gd name="T16" fmla="*/ 49 w 134"/>
                <a:gd name="T17" fmla="*/ 31 h 134"/>
                <a:gd name="T18" fmla="*/ 39 w 134"/>
                <a:gd name="T19" fmla="*/ 39 h 134"/>
                <a:gd name="T20" fmla="*/ 31 w 134"/>
                <a:gd name="T21" fmla="*/ 49 h 134"/>
                <a:gd name="T22" fmla="*/ 23 w 134"/>
                <a:gd name="T23" fmla="*/ 59 h 134"/>
                <a:gd name="T24" fmla="*/ 17 w 134"/>
                <a:gd name="T25" fmla="*/ 70 h 134"/>
                <a:gd name="T26" fmla="*/ 11 w 134"/>
                <a:gd name="T27" fmla="*/ 82 h 134"/>
                <a:gd name="T28" fmla="*/ 6 w 134"/>
                <a:gd name="T29" fmla="*/ 94 h 134"/>
                <a:gd name="T30" fmla="*/ 4 w 134"/>
                <a:gd name="T31" fmla="*/ 107 h 134"/>
                <a:gd name="T32" fmla="*/ 1 w 134"/>
                <a:gd name="T33" fmla="*/ 120 h 134"/>
                <a:gd name="T34" fmla="*/ 0 w 134"/>
                <a:gd name="T35" fmla="*/ 134 h 134"/>
                <a:gd name="T36" fmla="*/ 134 w 134"/>
                <a:gd name="T37" fmla="*/ 134 h 134"/>
                <a:gd name="T38" fmla="*/ 134 w 134"/>
                <a:gd name="T39"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4" h="134">
                  <a:moveTo>
                    <a:pt x="134" y="0"/>
                  </a:moveTo>
                  <a:lnTo>
                    <a:pt x="134" y="0"/>
                  </a:lnTo>
                  <a:lnTo>
                    <a:pt x="121" y="1"/>
                  </a:lnTo>
                  <a:lnTo>
                    <a:pt x="107" y="3"/>
                  </a:lnTo>
                  <a:lnTo>
                    <a:pt x="94" y="6"/>
                  </a:lnTo>
                  <a:lnTo>
                    <a:pt x="82" y="11"/>
                  </a:lnTo>
                  <a:lnTo>
                    <a:pt x="71" y="16"/>
                  </a:lnTo>
                  <a:lnTo>
                    <a:pt x="60" y="23"/>
                  </a:lnTo>
                  <a:lnTo>
                    <a:pt x="49" y="31"/>
                  </a:lnTo>
                  <a:lnTo>
                    <a:pt x="39" y="39"/>
                  </a:lnTo>
                  <a:lnTo>
                    <a:pt x="31" y="49"/>
                  </a:lnTo>
                  <a:lnTo>
                    <a:pt x="23" y="59"/>
                  </a:lnTo>
                  <a:lnTo>
                    <a:pt x="17" y="70"/>
                  </a:lnTo>
                  <a:lnTo>
                    <a:pt x="11" y="82"/>
                  </a:lnTo>
                  <a:lnTo>
                    <a:pt x="6" y="94"/>
                  </a:lnTo>
                  <a:lnTo>
                    <a:pt x="4" y="107"/>
                  </a:lnTo>
                  <a:lnTo>
                    <a:pt x="1" y="120"/>
                  </a:lnTo>
                  <a:lnTo>
                    <a:pt x="0" y="134"/>
                  </a:lnTo>
                  <a:lnTo>
                    <a:pt x="134" y="134"/>
                  </a:lnTo>
                  <a:lnTo>
                    <a:pt x="13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2" name="Freeform 1028"/>
            <p:cNvSpPr>
              <a:spLocks/>
            </p:cNvSpPr>
            <p:nvPr/>
          </p:nvSpPr>
          <p:spPr bwMode="auto">
            <a:xfrm>
              <a:off x="5108631" y="2320938"/>
              <a:ext cx="46038" cy="34925"/>
            </a:xfrm>
            <a:custGeom>
              <a:avLst/>
              <a:gdLst>
                <a:gd name="T0" fmla="*/ 145 w 145"/>
                <a:gd name="T1" fmla="*/ 98 h 112"/>
                <a:gd name="T2" fmla="*/ 145 w 145"/>
                <a:gd name="T3" fmla="*/ 98 h 112"/>
                <a:gd name="T4" fmla="*/ 144 w 145"/>
                <a:gd name="T5" fmla="*/ 104 h 112"/>
                <a:gd name="T6" fmla="*/ 141 w 145"/>
                <a:gd name="T7" fmla="*/ 107 h 112"/>
                <a:gd name="T8" fmla="*/ 136 w 145"/>
                <a:gd name="T9" fmla="*/ 111 h 112"/>
                <a:gd name="T10" fmla="*/ 130 w 145"/>
                <a:gd name="T11" fmla="*/ 112 h 112"/>
                <a:gd name="T12" fmla="*/ 14 w 145"/>
                <a:gd name="T13" fmla="*/ 112 h 112"/>
                <a:gd name="T14" fmla="*/ 14 w 145"/>
                <a:gd name="T15" fmla="*/ 112 h 112"/>
                <a:gd name="T16" fmla="*/ 8 w 145"/>
                <a:gd name="T17" fmla="*/ 111 h 112"/>
                <a:gd name="T18" fmla="*/ 5 w 145"/>
                <a:gd name="T19" fmla="*/ 107 h 112"/>
                <a:gd name="T20" fmla="*/ 1 w 145"/>
                <a:gd name="T21" fmla="*/ 104 h 112"/>
                <a:gd name="T22" fmla="*/ 0 w 145"/>
                <a:gd name="T23" fmla="*/ 98 h 112"/>
                <a:gd name="T24" fmla="*/ 0 w 145"/>
                <a:gd name="T25" fmla="*/ 15 h 112"/>
                <a:gd name="T26" fmla="*/ 0 w 145"/>
                <a:gd name="T27" fmla="*/ 15 h 112"/>
                <a:gd name="T28" fmla="*/ 1 w 145"/>
                <a:gd name="T29" fmla="*/ 9 h 112"/>
                <a:gd name="T30" fmla="*/ 5 w 145"/>
                <a:gd name="T31" fmla="*/ 5 h 112"/>
                <a:gd name="T32" fmla="*/ 8 w 145"/>
                <a:gd name="T33" fmla="*/ 1 h 112"/>
                <a:gd name="T34" fmla="*/ 14 w 145"/>
                <a:gd name="T35" fmla="*/ 0 h 112"/>
                <a:gd name="T36" fmla="*/ 130 w 145"/>
                <a:gd name="T37" fmla="*/ 0 h 112"/>
                <a:gd name="T38" fmla="*/ 130 w 145"/>
                <a:gd name="T39" fmla="*/ 0 h 112"/>
                <a:gd name="T40" fmla="*/ 136 w 145"/>
                <a:gd name="T41" fmla="*/ 1 h 112"/>
                <a:gd name="T42" fmla="*/ 141 w 145"/>
                <a:gd name="T43" fmla="*/ 5 h 112"/>
                <a:gd name="T44" fmla="*/ 144 w 145"/>
                <a:gd name="T45" fmla="*/ 9 h 112"/>
                <a:gd name="T46" fmla="*/ 145 w 145"/>
                <a:gd name="T47" fmla="*/ 15 h 112"/>
                <a:gd name="T48" fmla="*/ 145 w 145"/>
                <a:gd name="T49" fmla="*/ 9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5" h="112">
                  <a:moveTo>
                    <a:pt x="145" y="98"/>
                  </a:moveTo>
                  <a:lnTo>
                    <a:pt x="145" y="98"/>
                  </a:lnTo>
                  <a:lnTo>
                    <a:pt x="144" y="104"/>
                  </a:lnTo>
                  <a:lnTo>
                    <a:pt x="141" y="107"/>
                  </a:lnTo>
                  <a:lnTo>
                    <a:pt x="136" y="111"/>
                  </a:lnTo>
                  <a:lnTo>
                    <a:pt x="130" y="112"/>
                  </a:lnTo>
                  <a:lnTo>
                    <a:pt x="14" y="112"/>
                  </a:lnTo>
                  <a:lnTo>
                    <a:pt x="14" y="112"/>
                  </a:lnTo>
                  <a:lnTo>
                    <a:pt x="8" y="111"/>
                  </a:lnTo>
                  <a:lnTo>
                    <a:pt x="5" y="107"/>
                  </a:lnTo>
                  <a:lnTo>
                    <a:pt x="1" y="104"/>
                  </a:lnTo>
                  <a:lnTo>
                    <a:pt x="0" y="98"/>
                  </a:lnTo>
                  <a:lnTo>
                    <a:pt x="0" y="15"/>
                  </a:lnTo>
                  <a:lnTo>
                    <a:pt x="0" y="15"/>
                  </a:lnTo>
                  <a:lnTo>
                    <a:pt x="1" y="9"/>
                  </a:lnTo>
                  <a:lnTo>
                    <a:pt x="5" y="5"/>
                  </a:lnTo>
                  <a:lnTo>
                    <a:pt x="8" y="1"/>
                  </a:lnTo>
                  <a:lnTo>
                    <a:pt x="14" y="0"/>
                  </a:lnTo>
                  <a:lnTo>
                    <a:pt x="130" y="0"/>
                  </a:lnTo>
                  <a:lnTo>
                    <a:pt x="130" y="0"/>
                  </a:lnTo>
                  <a:lnTo>
                    <a:pt x="136" y="1"/>
                  </a:lnTo>
                  <a:lnTo>
                    <a:pt x="141" y="5"/>
                  </a:lnTo>
                  <a:lnTo>
                    <a:pt x="144" y="9"/>
                  </a:lnTo>
                  <a:lnTo>
                    <a:pt x="145" y="15"/>
                  </a:lnTo>
                  <a:lnTo>
                    <a:pt x="145" y="9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3" name="Freeform 1029"/>
            <p:cNvSpPr>
              <a:spLocks/>
            </p:cNvSpPr>
            <p:nvPr/>
          </p:nvSpPr>
          <p:spPr bwMode="auto">
            <a:xfrm>
              <a:off x="5108631" y="2320938"/>
              <a:ext cx="46038" cy="34925"/>
            </a:xfrm>
            <a:custGeom>
              <a:avLst/>
              <a:gdLst>
                <a:gd name="T0" fmla="*/ 145 w 145"/>
                <a:gd name="T1" fmla="*/ 98 h 112"/>
                <a:gd name="T2" fmla="*/ 145 w 145"/>
                <a:gd name="T3" fmla="*/ 98 h 112"/>
                <a:gd name="T4" fmla="*/ 144 w 145"/>
                <a:gd name="T5" fmla="*/ 104 h 112"/>
                <a:gd name="T6" fmla="*/ 141 w 145"/>
                <a:gd name="T7" fmla="*/ 107 h 112"/>
                <a:gd name="T8" fmla="*/ 136 w 145"/>
                <a:gd name="T9" fmla="*/ 111 h 112"/>
                <a:gd name="T10" fmla="*/ 130 w 145"/>
                <a:gd name="T11" fmla="*/ 112 h 112"/>
                <a:gd name="T12" fmla="*/ 14 w 145"/>
                <a:gd name="T13" fmla="*/ 112 h 112"/>
                <a:gd name="T14" fmla="*/ 14 w 145"/>
                <a:gd name="T15" fmla="*/ 112 h 112"/>
                <a:gd name="T16" fmla="*/ 8 w 145"/>
                <a:gd name="T17" fmla="*/ 111 h 112"/>
                <a:gd name="T18" fmla="*/ 5 w 145"/>
                <a:gd name="T19" fmla="*/ 107 h 112"/>
                <a:gd name="T20" fmla="*/ 1 w 145"/>
                <a:gd name="T21" fmla="*/ 104 h 112"/>
                <a:gd name="T22" fmla="*/ 0 w 145"/>
                <a:gd name="T23" fmla="*/ 98 h 112"/>
                <a:gd name="T24" fmla="*/ 0 w 145"/>
                <a:gd name="T25" fmla="*/ 15 h 112"/>
                <a:gd name="T26" fmla="*/ 0 w 145"/>
                <a:gd name="T27" fmla="*/ 15 h 112"/>
                <a:gd name="T28" fmla="*/ 1 w 145"/>
                <a:gd name="T29" fmla="*/ 9 h 112"/>
                <a:gd name="T30" fmla="*/ 5 w 145"/>
                <a:gd name="T31" fmla="*/ 5 h 112"/>
                <a:gd name="T32" fmla="*/ 8 w 145"/>
                <a:gd name="T33" fmla="*/ 1 h 112"/>
                <a:gd name="T34" fmla="*/ 14 w 145"/>
                <a:gd name="T35" fmla="*/ 0 h 112"/>
                <a:gd name="T36" fmla="*/ 130 w 145"/>
                <a:gd name="T37" fmla="*/ 0 h 112"/>
                <a:gd name="T38" fmla="*/ 130 w 145"/>
                <a:gd name="T39" fmla="*/ 0 h 112"/>
                <a:gd name="T40" fmla="*/ 136 w 145"/>
                <a:gd name="T41" fmla="*/ 1 h 112"/>
                <a:gd name="T42" fmla="*/ 141 w 145"/>
                <a:gd name="T43" fmla="*/ 5 h 112"/>
                <a:gd name="T44" fmla="*/ 144 w 145"/>
                <a:gd name="T45" fmla="*/ 9 h 112"/>
                <a:gd name="T46" fmla="*/ 145 w 145"/>
                <a:gd name="T47" fmla="*/ 15 h 112"/>
                <a:gd name="T48" fmla="*/ 145 w 145"/>
                <a:gd name="T49" fmla="*/ 9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5" h="112">
                  <a:moveTo>
                    <a:pt x="145" y="98"/>
                  </a:moveTo>
                  <a:lnTo>
                    <a:pt x="145" y="98"/>
                  </a:lnTo>
                  <a:lnTo>
                    <a:pt x="144" y="104"/>
                  </a:lnTo>
                  <a:lnTo>
                    <a:pt x="141" y="107"/>
                  </a:lnTo>
                  <a:lnTo>
                    <a:pt x="136" y="111"/>
                  </a:lnTo>
                  <a:lnTo>
                    <a:pt x="130" y="112"/>
                  </a:lnTo>
                  <a:lnTo>
                    <a:pt x="14" y="112"/>
                  </a:lnTo>
                  <a:lnTo>
                    <a:pt x="14" y="112"/>
                  </a:lnTo>
                  <a:lnTo>
                    <a:pt x="8" y="111"/>
                  </a:lnTo>
                  <a:lnTo>
                    <a:pt x="5" y="107"/>
                  </a:lnTo>
                  <a:lnTo>
                    <a:pt x="1" y="104"/>
                  </a:lnTo>
                  <a:lnTo>
                    <a:pt x="0" y="98"/>
                  </a:lnTo>
                  <a:lnTo>
                    <a:pt x="0" y="15"/>
                  </a:lnTo>
                  <a:lnTo>
                    <a:pt x="0" y="15"/>
                  </a:lnTo>
                  <a:lnTo>
                    <a:pt x="1" y="9"/>
                  </a:lnTo>
                  <a:lnTo>
                    <a:pt x="5" y="5"/>
                  </a:lnTo>
                  <a:lnTo>
                    <a:pt x="8" y="1"/>
                  </a:lnTo>
                  <a:lnTo>
                    <a:pt x="14" y="0"/>
                  </a:lnTo>
                  <a:lnTo>
                    <a:pt x="130" y="0"/>
                  </a:lnTo>
                  <a:lnTo>
                    <a:pt x="130" y="0"/>
                  </a:lnTo>
                  <a:lnTo>
                    <a:pt x="136" y="1"/>
                  </a:lnTo>
                  <a:lnTo>
                    <a:pt x="141" y="5"/>
                  </a:lnTo>
                  <a:lnTo>
                    <a:pt x="144" y="9"/>
                  </a:lnTo>
                  <a:lnTo>
                    <a:pt x="145" y="15"/>
                  </a:lnTo>
                  <a:lnTo>
                    <a:pt x="145" y="9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4" name="Freeform 1030"/>
            <p:cNvSpPr>
              <a:spLocks/>
            </p:cNvSpPr>
            <p:nvPr/>
          </p:nvSpPr>
          <p:spPr bwMode="auto">
            <a:xfrm>
              <a:off x="5111806" y="2327288"/>
              <a:ext cx="23813" cy="22225"/>
            </a:xfrm>
            <a:custGeom>
              <a:avLst/>
              <a:gdLst>
                <a:gd name="T0" fmla="*/ 35 w 72"/>
                <a:gd name="T1" fmla="*/ 0 h 71"/>
                <a:gd name="T2" fmla="*/ 35 w 72"/>
                <a:gd name="T3" fmla="*/ 0 h 71"/>
                <a:gd name="T4" fmla="*/ 28 w 72"/>
                <a:gd name="T5" fmla="*/ 0 h 71"/>
                <a:gd name="T6" fmla="*/ 22 w 72"/>
                <a:gd name="T7" fmla="*/ 2 h 71"/>
                <a:gd name="T8" fmla="*/ 16 w 72"/>
                <a:gd name="T9" fmla="*/ 6 h 71"/>
                <a:gd name="T10" fmla="*/ 11 w 72"/>
                <a:gd name="T11" fmla="*/ 10 h 71"/>
                <a:gd name="T12" fmla="*/ 6 w 72"/>
                <a:gd name="T13" fmla="*/ 16 h 71"/>
                <a:gd name="T14" fmla="*/ 2 w 72"/>
                <a:gd name="T15" fmla="*/ 22 h 71"/>
                <a:gd name="T16" fmla="*/ 1 w 72"/>
                <a:gd name="T17" fmla="*/ 28 h 71"/>
                <a:gd name="T18" fmla="*/ 0 w 72"/>
                <a:gd name="T19" fmla="*/ 35 h 71"/>
                <a:gd name="T20" fmla="*/ 0 w 72"/>
                <a:gd name="T21" fmla="*/ 35 h 71"/>
                <a:gd name="T22" fmla="*/ 1 w 72"/>
                <a:gd name="T23" fmla="*/ 42 h 71"/>
                <a:gd name="T24" fmla="*/ 2 w 72"/>
                <a:gd name="T25" fmla="*/ 49 h 71"/>
                <a:gd name="T26" fmla="*/ 6 w 72"/>
                <a:gd name="T27" fmla="*/ 55 h 71"/>
                <a:gd name="T28" fmla="*/ 11 w 72"/>
                <a:gd name="T29" fmla="*/ 61 h 71"/>
                <a:gd name="T30" fmla="*/ 16 w 72"/>
                <a:gd name="T31" fmla="*/ 64 h 71"/>
                <a:gd name="T32" fmla="*/ 22 w 72"/>
                <a:gd name="T33" fmla="*/ 68 h 71"/>
                <a:gd name="T34" fmla="*/ 28 w 72"/>
                <a:gd name="T35" fmla="*/ 71 h 71"/>
                <a:gd name="T36" fmla="*/ 35 w 72"/>
                <a:gd name="T37" fmla="*/ 71 h 71"/>
                <a:gd name="T38" fmla="*/ 35 w 72"/>
                <a:gd name="T39" fmla="*/ 71 h 71"/>
                <a:gd name="T40" fmla="*/ 42 w 72"/>
                <a:gd name="T41" fmla="*/ 71 h 71"/>
                <a:gd name="T42" fmla="*/ 50 w 72"/>
                <a:gd name="T43" fmla="*/ 68 h 71"/>
                <a:gd name="T44" fmla="*/ 56 w 72"/>
                <a:gd name="T45" fmla="*/ 64 h 71"/>
                <a:gd name="T46" fmla="*/ 61 w 72"/>
                <a:gd name="T47" fmla="*/ 61 h 71"/>
                <a:gd name="T48" fmla="*/ 66 w 72"/>
                <a:gd name="T49" fmla="*/ 55 h 71"/>
                <a:gd name="T50" fmla="*/ 68 w 72"/>
                <a:gd name="T51" fmla="*/ 49 h 71"/>
                <a:gd name="T52" fmla="*/ 70 w 72"/>
                <a:gd name="T53" fmla="*/ 42 h 71"/>
                <a:gd name="T54" fmla="*/ 72 w 72"/>
                <a:gd name="T55" fmla="*/ 35 h 71"/>
                <a:gd name="T56" fmla="*/ 72 w 72"/>
                <a:gd name="T57" fmla="*/ 35 h 71"/>
                <a:gd name="T58" fmla="*/ 70 w 72"/>
                <a:gd name="T59" fmla="*/ 28 h 71"/>
                <a:gd name="T60" fmla="*/ 68 w 72"/>
                <a:gd name="T61" fmla="*/ 22 h 71"/>
                <a:gd name="T62" fmla="*/ 66 w 72"/>
                <a:gd name="T63" fmla="*/ 16 h 71"/>
                <a:gd name="T64" fmla="*/ 61 w 72"/>
                <a:gd name="T65" fmla="*/ 10 h 71"/>
                <a:gd name="T66" fmla="*/ 56 w 72"/>
                <a:gd name="T67" fmla="*/ 6 h 71"/>
                <a:gd name="T68" fmla="*/ 50 w 72"/>
                <a:gd name="T69" fmla="*/ 2 h 71"/>
                <a:gd name="T70" fmla="*/ 42 w 72"/>
                <a:gd name="T71" fmla="*/ 0 h 71"/>
                <a:gd name="T72" fmla="*/ 35 w 72"/>
                <a:gd name="T7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2" h="71">
                  <a:moveTo>
                    <a:pt x="35" y="0"/>
                  </a:moveTo>
                  <a:lnTo>
                    <a:pt x="35" y="0"/>
                  </a:lnTo>
                  <a:lnTo>
                    <a:pt x="28" y="0"/>
                  </a:lnTo>
                  <a:lnTo>
                    <a:pt x="22" y="2"/>
                  </a:lnTo>
                  <a:lnTo>
                    <a:pt x="16" y="6"/>
                  </a:lnTo>
                  <a:lnTo>
                    <a:pt x="11" y="10"/>
                  </a:lnTo>
                  <a:lnTo>
                    <a:pt x="6" y="16"/>
                  </a:lnTo>
                  <a:lnTo>
                    <a:pt x="2" y="22"/>
                  </a:lnTo>
                  <a:lnTo>
                    <a:pt x="1" y="28"/>
                  </a:lnTo>
                  <a:lnTo>
                    <a:pt x="0" y="35"/>
                  </a:lnTo>
                  <a:lnTo>
                    <a:pt x="0" y="35"/>
                  </a:lnTo>
                  <a:lnTo>
                    <a:pt x="1" y="42"/>
                  </a:lnTo>
                  <a:lnTo>
                    <a:pt x="2" y="49"/>
                  </a:lnTo>
                  <a:lnTo>
                    <a:pt x="6" y="55"/>
                  </a:lnTo>
                  <a:lnTo>
                    <a:pt x="11" y="61"/>
                  </a:lnTo>
                  <a:lnTo>
                    <a:pt x="16" y="64"/>
                  </a:lnTo>
                  <a:lnTo>
                    <a:pt x="22" y="68"/>
                  </a:lnTo>
                  <a:lnTo>
                    <a:pt x="28" y="71"/>
                  </a:lnTo>
                  <a:lnTo>
                    <a:pt x="35" y="71"/>
                  </a:lnTo>
                  <a:lnTo>
                    <a:pt x="35" y="71"/>
                  </a:lnTo>
                  <a:lnTo>
                    <a:pt x="42" y="71"/>
                  </a:lnTo>
                  <a:lnTo>
                    <a:pt x="50" y="68"/>
                  </a:lnTo>
                  <a:lnTo>
                    <a:pt x="56" y="64"/>
                  </a:lnTo>
                  <a:lnTo>
                    <a:pt x="61" y="61"/>
                  </a:lnTo>
                  <a:lnTo>
                    <a:pt x="66" y="55"/>
                  </a:lnTo>
                  <a:lnTo>
                    <a:pt x="68" y="49"/>
                  </a:lnTo>
                  <a:lnTo>
                    <a:pt x="70" y="42"/>
                  </a:lnTo>
                  <a:lnTo>
                    <a:pt x="72" y="35"/>
                  </a:lnTo>
                  <a:lnTo>
                    <a:pt x="72" y="35"/>
                  </a:lnTo>
                  <a:lnTo>
                    <a:pt x="70" y="28"/>
                  </a:lnTo>
                  <a:lnTo>
                    <a:pt x="68" y="22"/>
                  </a:lnTo>
                  <a:lnTo>
                    <a:pt x="66" y="16"/>
                  </a:lnTo>
                  <a:lnTo>
                    <a:pt x="61" y="10"/>
                  </a:lnTo>
                  <a:lnTo>
                    <a:pt x="56" y="6"/>
                  </a:lnTo>
                  <a:lnTo>
                    <a:pt x="50" y="2"/>
                  </a:lnTo>
                  <a:lnTo>
                    <a:pt x="42" y="0"/>
                  </a:lnTo>
                  <a:lnTo>
                    <a:pt x="35"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5" name="Freeform 1031"/>
            <p:cNvSpPr>
              <a:spLocks/>
            </p:cNvSpPr>
            <p:nvPr/>
          </p:nvSpPr>
          <p:spPr bwMode="auto">
            <a:xfrm>
              <a:off x="5111806" y="2327288"/>
              <a:ext cx="23813" cy="22225"/>
            </a:xfrm>
            <a:custGeom>
              <a:avLst/>
              <a:gdLst>
                <a:gd name="T0" fmla="*/ 35 w 72"/>
                <a:gd name="T1" fmla="*/ 0 h 71"/>
                <a:gd name="T2" fmla="*/ 35 w 72"/>
                <a:gd name="T3" fmla="*/ 0 h 71"/>
                <a:gd name="T4" fmla="*/ 28 w 72"/>
                <a:gd name="T5" fmla="*/ 0 h 71"/>
                <a:gd name="T6" fmla="*/ 22 w 72"/>
                <a:gd name="T7" fmla="*/ 2 h 71"/>
                <a:gd name="T8" fmla="*/ 16 w 72"/>
                <a:gd name="T9" fmla="*/ 6 h 71"/>
                <a:gd name="T10" fmla="*/ 11 w 72"/>
                <a:gd name="T11" fmla="*/ 10 h 71"/>
                <a:gd name="T12" fmla="*/ 6 w 72"/>
                <a:gd name="T13" fmla="*/ 16 h 71"/>
                <a:gd name="T14" fmla="*/ 2 w 72"/>
                <a:gd name="T15" fmla="*/ 22 h 71"/>
                <a:gd name="T16" fmla="*/ 1 w 72"/>
                <a:gd name="T17" fmla="*/ 28 h 71"/>
                <a:gd name="T18" fmla="*/ 0 w 72"/>
                <a:gd name="T19" fmla="*/ 35 h 71"/>
                <a:gd name="T20" fmla="*/ 0 w 72"/>
                <a:gd name="T21" fmla="*/ 35 h 71"/>
                <a:gd name="T22" fmla="*/ 1 w 72"/>
                <a:gd name="T23" fmla="*/ 42 h 71"/>
                <a:gd name="T24" fmla="*/ 2 w 72"/>
                <a:gd name="T25" fmla="*/ 49 h 71"/>
                <a:gd name="T26" fmla="*/ 6 w 72"/>
                <a:gd name="T27" fmla="*/ 55 h 71"/>
                <a:gd name="T28" fmla="*/ 11 w 72"/>
                <a:gd name="T29" fmla="*/ 61 h 71"/>
                <a:gd name="T30" fmla="*/ 16 w 72"/>
                <a:gd name="T31" fmla="*/ 64 h 71"/>
                <a:gd name="T32" fmla="*/ 22 w 72"/>
                <a:gd name="T33" fmla="*/ 68 h 71"/>
                <a:gd name="T34" fmla="*/ 28 w 72"/>
                <a:gd name="T35" fmla="*/ 71 h 71"/>
                <a:gd name="T36" fmla="*/ 35 w 72"/>
                <a:gd name="T37" fmla="*/ 71 h 71"/>
                <a:gd name="T38" fmla="*/ 35 w 72"/>
                <a:gd name="T39" fmla="*/ 71 h 71"/>
                <a:gd name="T40" fmla="*/ 42 w 72"/>
                <a:gd name="T41" fmla="*/ 71 h 71"/>
                <a:gd name="T42" fmla="*/ 50 w 72"/>
                <a:gd name="T43" fmla="*/ 68 h 71"/>
                <a:gd name="T44" fmla="*/ 56 w 72"/>
                <a:gd name="T45" fmla="*/ 64 h 71"/>
                <a:gd name="T46" fmla="*/ 61 w 72"/>
                <a:gd name="T47" fmla="*/ 61 h 71"/>
                <a:gd name="T48" fmla="*/ 66 w 72"/>
                <a:gd name="T49" fmla="*/ 55 h 71"/>
                <a:gd name="T50" fmla="*/ 68 w 72"/>
                <a:gd name="T51" fmla="*/ 49 h 71"/>
                <a:gd name="T52" fmla="*/ 70 w 72"/>
                <a:gd name="T53" fmla="*/ 42 h 71"/>
                <a:gd name="T54" fmla="*/ 72 w 72"/>
                <a:gd name="T55" fmla="*/ 35 h 71"/>
                <a:gd name="T56" fmla="*/ 72 w 72"/>
                <a:gd name="T57" fmla="*/ 35 h 71"/>
                <a:gd name="T58" fmla="*/ 70 w 72"/>
                <a:gd name="T59" fmla="*/ 28 h 71"/>
                <a:gd name="T60" fmla="*/ 68 w 72"/>
                <a:gd name="T61" fmla="*/ 22 h 71"/>
                <a:gd name="T62" fmla="*/ 66 w 72"/>
                <a:gd name="T63" fmla="*/ 16 h 71"/>
                <a:gd name="T64" fmla="*/ 61 w 72"/>
                <a:gd name="T65" fmla="*/ 10 h 71"/>
                <a:gd name="T66" fmla="*/ 56 w 72"/>
                <a:gd name="T67" fmla="*/ 6 h 71"/>
                <a:gd name="T68" fmla="*/ 50 w 72"/>
                <a:gd name="T69" fmla="*/ 2 h 71"/>
                <a:gd name="T70" fmla="*/ 42 w 72"/>
                <a:gd name="T71" fmla="*/ 0 h 71"/>
                <a:gd name="T72" fmla="*/ 35 w 72"/>
                <a:gd name="T7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2" h="71">
                  <a:moveTo>
                    <a:pt x="35" y="0"/>
                  </a:moveTo>
                  <a:lnTo>
                    <a:pt x="35" y="0"/>
                  </a:lnTo>
                  <a:lnTo>
                    <a:pt x="28" y="0"/>
                  </a:lnTo>
                  <a:lnTo>
                    <a:pt x="22" y="2"/>
                  </a:lnTo>
                  <a:lnTo>
                    <a:pt x="16" y="6"/>
                  </a:lnTo>
                  <a:lnTo>
                    <a:pt x="11" y="10"/>
                  </a:lnTo>
                  <a:lnTo>
                    <a:pt x="6" y="16"/>
                  </a:lnTo>
                  <a:lnTo>
                    <a:pt x="2" y="22"/>
                  </a:lnTo>
                  <a:lnTo>
                    <a:pt x="1" y="28"/>
                  </a:lnTo>
                  <a:lnTo>
                    <a:pt x="0" y="35"/>
                  </a:lnTo>
                  <a:lnTo>
                    <a:pt x="0" y="35"/>
                  </a:lnTo>
                  <a:lnTo>
                    <a:pt x="1" y="42"/>
                  </a:lnTo>
                  <a:lnTo>
                    <a:pt x="2" y="49"/>
                  </a:lnTo>
                  <a:lnTo>
                    <a:pt x="6" y="55"/>
                  </a:lnTo>
                  <a:lnTo>
                    <a:pt x="11" y="61"/>
                  </a:lnTo>
                  <a:lnTo>
                    <a:pt x="16" y="64"/>
                  </a:lnTo>
                  <a:lnTo>
                    <a:pt x="22" y="68"/>
                  </a:lnTo>
                  <a:lnTo>
                    <a:pt x="28" y="71"/>
                  </a:lnTo>
                  <a:lnTo>
                    <a:pt x="35" y="71"/>
                  </a:lnTo>
                  <a:lnTo>
                    <a:pt x="35" y="71"/>
                  </a:lnTo>
                  <a:lnTo>
                    <a:pt x="42" y="71"/>
                  </a:lnTo>
                  <a:lnTo>
                    <a:pt x="50" y="68"/>
                  </a:lnTo>
                  <a:lnTo>
                    <a:pt x="56" y="64"/>
                  </a:lnTo>
                  <a:lnTo>
                    <a:pt x="61" y="61"/>
                  </a:lnTo>
                  <a:lnTo>
                    <a:pt x="66" y="55"/>
                  </a:lnTo>
                  <a:lnTo>
                    <a:pt x="68" y="49"/>
                  </a:lnTo>
                  <a:lnTo>
                    <a:pt x="70" y="42"/>
                  </a:lnTo>
                  <a:lnTo>
                    <a:pt x="72" y="35"/>
                  </a:lnTo>
                  <a:lnTo>
                    <a:pt x="72" y="35"/>
                  </a:lnTo>
                  <a:lnTo>
                    <a:pt x="70" y="28"/>
                  </a:lnTo>
                  <a:lnTo>
                    <a:pt x="68" y="22"/>
                  </a:lnTo>
                  <a:lnTo>
                    <a:pt x="66" y="16"/>
                  </a:lnTo>
                  <a:lnTo>
                    <a:pt x="61" y="10"/>
                  </a:lnTo>
                  <a:lnTo>
                    <a:pt x="56" y="6"/>
                  </a:lnTo>
                  <a:lnTo>
                    <a:pt x="50" y="2"/>
                  </a:lnTo>
                  <a:lnTo>
                    <a:pt x="42" y="0"/>
                  </a:lnTo>
                  <a:lnTo>
                    <a:pt x="3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6" name="Freeform 1032"/>
            <p:cNvSpPr>
              <a:spLocks/>
            </p:cNvSpPr>
            <p:nvPr/>
          </p:nvSpPr>
          <p:spPr bwMode="auto">
            <a:xfrm>
              <a:off x="5237220" y="2459052"/>
              <a:ext cx="9525" cy="14288"/>
            </a:xfrm>
            <a:custGeom>
              <a:avLst/>
              <a:gdLst>
                <a:gd name="T0" fmla="*/ 33 w 33"/>
                <a:gd name="T1" fmla="*/ 39 h 47"/>
                <a:gd name="T2" fmla="*/ 33 w 33"/>
                <a:gd name="T3" fmla="*/ 39 h 47"/>
                <a:gd name="T4" fmla="*/ 33 w 33"/>
                <a:gd name="T5" fmla="*/ 42 h 47"/>
                <a:gd name="T6" fmla="*/ 31 w 33"/>
                <a:gd name="T7" fmla="*/ 45 h 47"/>
                <a:gd name="T8" fmla="*/ 28 w 33"/>
                <a:gd name="T9" fmla="*/ 46 h 47"/>
                <a:gd name="T10" fmla="*/ 24 w 33"/>
                <a:gd name="T11" fmla="*/ 47 h 47"/>
                <a:gd name="T12" fmla="*/ 9 w 33"/>
                <a:gd name="T13" fmla="*/ 47 h 47"/>
                <a:gd name="T14" fmla="*/ 9 w 33"/>
                <a:gd name="T15" fmla="*/ 47 h 47"/>
                <a:gd name="T16" fmla="*/ 5 w 33"/>
                <a:gd name="T17" fmla="*/ 46 h 47"/>
                <a:gd name="T18" fmla="*/ 2 w 33"/>
                <a:gd name="T19" fmla="*/ 45 h 47"/>
                <a:gd name="T20" fmla="*/ 0 w 33"/>
                <a:gd name="T21" fmla="*/ 42 h 47"/>
                <a:gd name="T22" fmla="*/ 0 w 33"/>
                <a:gd name="T23" fmla="*/ 39 h 47"/>
                <a:gd name="T24" fmla="*/ 0 w 33"/>
                <a:gd name="T25" fmla="*/ 8 h 47"/>
                <a:gd name="T26" fmla="*/ 0 w 33"/>
                <a:gd name="T27" fmla="*/ 8 h 47"/>
                <a:gd name="T28" fmla="*/ 0 w 33"/>
                <a:gd name="T29" fmla="*/ 4 h 47"/>
                <a:gd name="T30" fmla="*/ 2 w 33"/>
                <a:gd name="T31" fmla="*/ 2 h 47"/>
                <a:gd name="T32" fmla="*/ 5 w 33"/>
                <a:gd name="T33" fmla="*/ 0 h 47"/>
                <a:gd name="T34" fmla="*/ 9 w 33"/>
                <a:gd name="T35" fmla="*/ 0 h 47"/>
                <a:gd name="T36" fmla="*/ 24 w 33"/>
                <a:gd name="T37" fmla="*/ 0 h 47"/>
                <a:gd name="T38" fmla="*/ 24 w 33"/>
                <a:gd name="T39" fmla="*/ 0 h 47"/>
                <a:gd name="T40" fmla="*/ 28 w 33"/>
                <a:gd name="T41" fmla="*/ 0 h 47"/>
                <a:gd name="T42" fmla="*/ 31 w 33"/>
                <a:gd name="T43" fmla="*/ 2 h 47"/>
                <a:gd name="T44" fmla="*/ 33 w 33"/>
                <a:gd name="T45" fmla="*/ 4 h 47"/>
                <a:gd name="T46" fmla="*/ 33 w 33"/>
                <a:gd name="T47" fmla="*/ 8 h 47"/>
                <a:gd name="T48" fmla="*/ 33 w 33"/>
                <a:gd name="T49" fmla="*/ 3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3" h="47">
                  <a:moveTo>
                    <a:pt x="33" y="39"/>
                  </a:moveTo>
                  <a:lnTo>
                    <a:pt x="33" y="39"/>
                  </a:lnTo>
                  <a:lnTo>
                    <a:pt x="33" y="42"/>
                  </a:lnTo>
                  <a:lnTo>
                    <a:pt x="31" y="45"/>
                  </a:lnTo>
                  <a:lnTo>
                    <a:pt x="28" y="46"/>
                  </a:lnTo>
                  <a:lnTo>
                    <a:pt x="24" y="47"/>
                  </a:lnTo>
                  <a:lnTo>
                    <a:pt x="9" y="47"/>
                  </a:lnTo>
                  <a:lnTo>
                    <a:pt x="9" y="47"/>
                  </a:lnTo>
                  <a:lnTo>
                    <a:pt x="5" y="46"/>
                  </a:lnTo>
                  <a:lnTo>
                    <a:pt x="2" y="45"/>
                  </a:lnTo>
                  <a:lnTo>
                    <a:pt x="0" y="42"/>
                  </a:lnTo>
                  <a:lnTo>
                    <a:pt x="0" y="39"/>
                  </a:lnTo>
                  <a:lnTo>
                    <a:pt x="0" y="8"/>
                  </a:lnTo>
                  <a:lnTo>
                    <a:pt x="0" y="8"/>
                  </a:lnTo>
                  <a:lnTo>
                    <a:pt x="0" y="4"/>
                  </a:lnTo>
                  <a:lnTo>
                    <a:pt x="2" y="2"/>
                  </a:lnTo>
                  <a:lnTo>
                    <a:pt x="5" y="0"/>
                  </a:lnTo>
                  <a:lnTo>
                    <a:pt x="9" y="0"/>
                  </a:lnTo>
                  <a:lnTo>
                    <a:pt x="24" y="0"/>
                  </a:lnTo>
                  <a:lnTo>
                    <a:pt x="24" y="0"/>
                  </a:lnTo>
                  <a:lnTo>
                    <a:pt x="28" y="0"/>
                  </a:lnTo>
                  <a:lnTo>
                    <a:pt x="31" y="2"/>
                  </a:lnTo>
                  <a:lnTo>
                    <a:pt x="33" y="4"/>
                  </a:lnTo>
                  <a:lnTo>
                    <a:pt x="33" y="8"/>
                  </a:lnTo>
                  <a:lnTo>
                    <a:pt x="33" y="39"/>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7" name="Freeform 1033"/>
            <p:cNvSpPr>
              <a:spLocks/>
            </p:cNvSpPr>
            <p:nvPr/>
          </p:nvSpPr>
          <p:spPr bwMode="auto">
            <a:xfrm>
              <a:off x="5251507" y="2459052"/>
              <a:ext cx="9525" cy="14288"/>
            </a:xfrm>
            <a:custGeom>
              <a:avLst/>
              <a:gdLst>
                <a:gd name="T0" fmla="*/ 33 w 33"/>
                <a:gd name="T1" fmla="*/ 39 h 47"/>
                <a:gd name="T2" fmla="*/ 33 w 33"/>
                <a:gd name="T3" fmla="*/ 39 h 47"/>
                <a:gd name="T4" fmla="*/ 33 w 33"/>
                <a:gd name="T5" fmla="*/ 42 h 47"/>
                <a:gd name="T6" fmla="*/ 31 w 33"/>
                <a:gd name="T7" fmla="*/ 45 h 47"/>
                <a:gd name="T8" fmla="*/ 28 w 33"/>
                <a:gd name="T9" fmla="*/ 46 h 47"/>
                <a:gd name="T10" fmla="*/ 25 w 33"/>
                <a:gd name="T11" fmla="*/ 47 h 47"/>
                <a:gd name="T12" fmla="*/ 9 w 33"/>
                <a:gd name="T13" fmla="*/ 47 h 47"/>
                <a:gd name="T14" fmla="*/ 9 w 33"/>
                <a:gd name="T15" fmla="*/ 47 h 47"/>
                <a:gd name="T16" fmla="*/ 5 w 33"/>
                <a:gd name="T17" fmla="*/ 46 h 47"/>
                <a:gd name="T18" fmla="*/ 3 w 33"/>
                <a:gd name="T19" fmla="*/ 45 h 47"/>
                <a:gd name="T20" fmla="*/ 0 w 33"/>
                <a:gd name="T21" fmla="*/ 42 h 47"/>
                <a:gd name="T22" fmla="*/ 0 w 33"/>
                <a:gd name="T23" fmla="*/ 39 h 47"/>
                <a:gd name="T24" fmla="*/ 0 w 33"/>
                <a:gd name="T25" fmla="*/ 8 h 47"/>
                <a:gd name="T26" fmla="*/ 0 w 33"/>
                <a:gd name="T27" fmla="*/ 8 h 47"/>
                <a:gd name="T28" fmla="*/ 0 w 33"/>
                <a:gd name="T29" fmla="*/ 4 h 47"/>
                <a:gd name="T30" fmla="*/ 3 w 33"/>
                <a:gd name="T31" fmla="*/ 2 h 47"/>
                <a:gd name="T32" fmla="*/ 5 w 33"/>
                <a:gd name="T33" fmla="*/ 0 h 47"/>
                <a:gd name="T34" fmla="*/ 9 w 33"/>
                <a:gd name="T35" fmla="*/ 0 h 47"/>
                <a:gd name="T36" fmla="*/ 25 w 33"/>
                <a:gd name="T37" fmla="*/ 0 h 47"/>
                <a:gd name="T38" fmla="*/ 25 w 33"/>
                <a:gd name="T39" fmla="*/ 0 h 47"/>
                <a:gd name="T40" fmla="*/ 28 w 33"/>
                <a:gd name="T41" fmla="*/ 0 h 47"/>
                <a:gd name="T42" fmla="*/ 31 w 33"/>
                <a:gd name="T43" fmla="*/ 2 h 47"/>
                <a:gd name="T44" fmla="*/ 33 w 33"/>
                <a:gd name="T45" fmla="*/ 4 h 47"/>
                <a:gd name="T46" fmla="*/ 33 w 33"/>
                <a:gd name="T47" fmla="*/ 8 h 47"/>
                <a:gd name="T48" fmla="*/ 33 w 33"/>
                <a:gd name="T49" fmla="*/ 3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3" h="47">
                  <a:moveTo>
                    <a:pt x="33" y="39"/>
                  </a:moveTo>
                  <a:lnTo>
                    <a:pt x="33" y="39"/>
                  </a:lnTo>
                  <a:lnTo>
                    <a:pt x="33" y="42"/>
                  </a:lnTo>
                  <a:lnTo>
                    <a:pt x="31" y="45"/>
                  </a:lnTo>
                  <a:lnTo>
                    <a:pt x="28" y="46"/>
                  </a:lnTo>
                  <a:lnTo>
                    <a:pt x="25" y="47"/>
                  </a:lnTo>
                  <a:lnTo>
                    <a:pt x="9" y="47"/>
                  </a:lnTo>
                  <a:lnTo>
                    <a:pt x="9" y="47"/>
                  </a:lnTo>
                  <a:lnTo>
                    <a:pt x="5" y="46"/>
                  </a:lnTo>
                  <a:lnTo>
                    <a:pt x="3" y="45"/>
                  </a:lnTo>
                  <a:lnTo>
                    <a:pt x="0" y="42"/>
                  </a:lnTo>
                  <a:lnTo>
                    <a:pt x="0" y="39"/>
                  </a:lnTo>
                  <a:lnTo>
                    <a:pt x="0" y="8"/>
                  </a:lnTo>
                  <a:lnTo>
                    <a:pt x="0" y="8"/>
                  </a:lnTo>
                  <a:lnTo>
                    <a:pt x="0" y="4"/>
                  </a:lnTo>
                  <a:lnTo>
                    <a:pt x="3" y="2"/>
                  </a:lnTo>
                  <a:lnTo>
                    <a:pt x="5" y="0"/>
                  </a:lnTo>
                  <a:lnTo>
                    <a:pt x="9" y="0"/>
                  </a:lnTo>
                  <a:lnTo>
                    <a:pt x="25" y="0"/>
                  </a:lnTo>
                  <a:lnTo>
                    <a:pt x="25" y="0"/>
                  </a:lnTo>
                  <a:lnTo>
                    <a:pt x="28" y="0"/>
                  </a:lnTo>
                  <a:lnTo>
                    <a:pt x="31" y="2"/>
                  </a:lnTo>
                  <a:lnTo>
                    <a:pt x="33" y="4"/>
                  </a:lnTo>
                  <a:lnTo>
                    <a:pt x="33" y="8"/>
                  </a:lnTo>
                  <a:lnTo>
                    <a:pt x="33" y="39"/>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8" name="Freeform 1034"/>
            <p:cNvSpPr>
              <a:spLocks/>
            </p:cNvSpPr>
            <p:nvPr/>
          </p:nvSpPr>
          <p:spPr bwMode="auto">
            <a:xfrm>
              <a:off x="5237220" y="2482865"/>
              <a:ext cx="22225" cy="42863"/>
            </a:xfrm>
            <a:custGeom>
              <a:avLst/>
              <a:gdLst>
                <a:gd name="T0" fmla="*/ 29 w 74"/>
                <a:gd name="T1" fmla="*/ 139 h 139"/>
                <a:gd name="T2" fmla="*/ 29 w 74"/>
                <a:gd name="T3" fmla="*/ 139 h 139"/>
                <a:gd name="T4" fmla="*/ 23 w 74"/>
                <a:gd name="T5" fmla="*/ 137 h 139"/>
                <a:gd name="T6" fmla="*/ 17 w 74"/>
                <a:gd name="T7" fmla="*/ 136 h 139"/>
                <a:gd name="T8" fmla="*/ 12 w 74"/>
                <a:gd name="T9" fmla="*/ 134 h 139"/>
                <a:gd name="T10" fmla="*/ 9 w 74"/>
                <a:gd name="T11" fmla="*/ 130 h 139"/>
                <a:gd name="T12" fmla="*/ 5 w 74"/>
                <a:gd name="T13" fmla="*/ 125 h 139"/>
                <a:gd name="T14" fmla="*/ 2 w 74"/>
                <a:gd name="T15" fmla="*/ 120 h 139"/>
                <a:gd name="T16" fmla="*/ 0 w 74"/>
                <a:gd name="T17" fmla="*/ 115 h 139"/>
                <a:gd name="T18" fmla="*/ 0 w 74"/>
                <a:gd name="T19" fmla="*/ 109 h 139"/>
                <a:gd name="T20" fmla="*/ 0 w 74"/>
                <a:gd name="T21" fmla="*/ 29 h 139"/>
                <a:gd name="T22" fmla="*/ 0 w 74"/>
                <a:gd name="T23" fmla="*/ 29 h 139"/>
                <a:gd name="T24" fmla="*/ 0 w 74"/>
                <a:gd name="T25" fmla="*/ 23 h 139"/>
                <a:gd name="T26" fmla="*/ 2 w 74"/>
                <a:gd name="T27" fmla="*/ 18 h 139"/>
                <a:gd name="T28" fmla="*/ 5 w 74"/>
                <a:gd name="T29" fmla="*/ 13 h 139"/>
                <a:gd name="T30" fmla="*/ 9 w 74"/>
                <a:gd name="T31" fmla="*/ 8 h 139"/>
                <a:gd name="T32" fmla="*/ 12 w 74"/>
                <a:gd name="T33" fmla="*/ 5 h 139"/>
                <a:gd name="T34" fmla="*/ 17 w 74"/>
                <a:gd name="T35" fmla="*/ 2 h 139"/>
                <a:gd name="T36" fmla="*/ 23 w 74"/>
                <a:gd name="T37" fmla="*/ 0 h 139"/>
                <a:gd name="T38" fmla="*/ 29 w 74"/>
                <a:gd name="T39" fmla="*/ 0 h 139"/>
                <a:gd name="T40" fmla="*/ 45 w 74"/>
                <a:gd name="T41" fmla="*/ 0 h 139"/>
                <a:gd name="T42" fmla="*/ 45 w 74"/>
                <a:gd name="T43" fmla="*/ 0 h 139"/>
                <a:gd name="T44" fmla="*/ 51 w 74"/>
                <a:gd name="T45" fmla="*/ 0 h 139"/>
                <a:gd name="T46" fmla="*/ 56 w 74"/>
                <a:gd name="T47" fmla="*/ 2 h 139"/>
                <a:gd name="T48" fmla="*/ 61 w 74"/>
                <a:gd name="T49" fmla="*/ 5 h 139"/>
                <a:gd name="T50" fmla="*/ 66 w 74"/>
                <a:gd name="T51" fmla="*/ 8 h 139"/>
                <a:gd name="T52" fmla="*/ 70 w 74"/>
                <a:gd name="T53" fmla="*/ 13 h 139"/>
                <a:gd name="T54" fmla="*/ 72 w 74"/>
                <a:gd name="T55" fmla="*/ 18 h 139"/>
                <a:gd name="T56" fmla="*/ 73 w 74"/>
                <a:gd name="T57" fmla="*/ 23 h 139"/>
                <a:gd name="T58" fmla="*/ 74 w 74"/>
                <a:gd name="T59" fmla="*/ 29 h 139"/>
                <a:gd name="T60" fmla="*/ 74 w 74"/>
                <a:gd name="T61" fmla="*/ 109 h 139"/>
                <a:gd name="T62" fmla="*/ 74 w 74"/>
                <a:gd name="T63" fmla="*/ 109 h 139"/>
                <a:gd name="T64" fmla="*/ 73 w 74"/>
                <a:gd name="T65" fmla="*/ 115 h 139"/>
                <a:gd name="T66" fmla="*/ 72 w 74"/>
                <a:gd name="T67" fmla="*/ 120 h 139"/>
                <a:gd name="T68" fmla="*/ 70 w 74"/>
                <a:gd name="T69" fmla="*/ 125 h 139"/>
                <a:gd name="T70" fmla="*/ 66 w 74"/>
                <a:gd name="T71" fmla="*/ 130 h 139"/>
                <a:gd name="T72" fmla="*/ 61 w 74"/>
                <a:gd name="T73" fmla="*/ 134 h 139"/>
                <a:gd name="T74" fmla="*/ 56 w 74"/>
                <a:gd name="T75" fmla="*/ 136 h 139"/>
                <a:gd name="T76" fmla="*/ 51 w 74"/>
                <a:gd name="T77" fmla="*/ 137 h 139"/>
                <a:gd name="T78" fmla="*/ 45 w 74"/>
                <a:gd name="T79" fmla="*/ 139 h 139"/>
                <a:gd name="T80" fmla="*/ 29 w 74"/>
                <a:gd name="T81"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4" h="139">
                  <a:moveTo>
                    <a:pt x="29" y="139"/>
                  </a:moveTo>
                  <a:lnTo>
                    <a:pt x="29" y="139"/>
                  </a:lnTo>
                  <a:lnTo>
                    <a:pt x="23" y="137"/>
                  </a:lnTo>
                  <a:lnTo>
                    <a:pt x="17" y="136"/>
                  </a:lnTo>
                  <a:lnTo>
                    <a:pt x="12" y="134"/>
                  </a:lnTo>
                  <a:lnTo>
                    <a:pt x="9" y="130"/>
                  </a:lnTo>
                  <a:lnTo>
                    <a:pt x="5" y="125"/>
                  </a:lnTo>
                  <a:lnTo>
                    <a:pt x="2" y="120"/>
                  </a:lnTo>
                  <a:lnTo>
                    <a:pt x="0" y="115"/>
                  </a:lnTo>
                  <a:lnTo>
                    <a:pt x="0" y="109"/>
                  </a:lnTo>
                  <a:lnTo>
                    <a:pt x="0" y="29"/>
                  </a:lnTo>
                  <a:lnTo>
                    <a:pt x="0" y="29"/>
                  </a:lnTo>
                  <a:lnTo>
                    <a:pt x="0" y="23"/>
                  </a:lnTo>
                  <a:lnTo>
                    <a:pt x="2" y="18"/>
                  </a:lnTo>
                  <a:lnTo>
                    <a:pt x="5" y="13"/>
                  </a:lnTo>
                  <a:lnTo>
                    <a:pt x="9" y="8"/>
                  </a:lnTo>
                  <a:lnTo>
                    <a:pt x="12" y="5"/>
                  </a:lnTo>
                  <a:lnTo>
                    <a:pt x="17" y="2"/>
                  </a:lnTo>
                  <a:lnTo>
                    <a:pt x="23" y="0"/>
                  </a:lnTo>
                  <a:lnTo>
                    <a:pt x="29" y="0"/>
                  </a:lnTo>
                  <a:lnTo>
                    <a:pt x="45" y="0"/>
                  </a:lnTo>
                  <a:lnTo>
                    <a:pt x="45" y="0"/>
                  </a:lnTo>
                  <a:lnTo>
                    <a:pt x="51" y="0"/>
                  </a:lnTo>
                  <a:lnTo>
                    <a:pt x="56" y="2"/>
                  </a:lnTo>
                  <a:lnTo>
                    <a:pt x="61" y="5"/>
                  </a:lnTo>
                  <a:lnTo>
                    <a:pt x="66" y="8"/>
                  </a:lnTo>
                  <a:lnTo>
                    <a:pt x="70" y="13"/>
                  </a:lnTo>
                  <a:lnTo>
                    <a:pt x="72" y="18"/>
                  </a:lnTo>
                  <a:lnTo>
                    <a:pt x="73" y="23"/>
                  </a:lnTo>
                  <a:lnTo>
                    <a:pt x="74" y="29"/>
                  </a:lnTo>
                  <a:lnTo>
                    <a:pt x="74" y="109"/>
                  </a:lnTo>
                  <a:lnTo>
                    <a:pt x="74" y="109"/>
                  </a:lnTo>
                  <a:lnTo>
                    <a:pt x="73" y="115"/>
                  </a:lnTo>
                  <a:lnTo>
                    <a:pt x="72" y="120"/>
                  </a:lnTo>
                  <a:lnTo>
                    <a:pt x="70" y="125"/>
                  </a:lnTo>
                  <a:lnTo>
                    <a:pt x="66" y="130"/>
                  </a:lnTo>
                  <a:lnTo>
                    <a:pt x="61" y="134"/>
                  </a:lnTo>
                  <a:lnTo>
                    <a:pt x="56" y="136"/>
                  </a:lnTo>
                  <a:lnTo>
                    <a:pt x="51" y="137"/>
                  </a:lnTo>
                  <a:lnTo>
                    <a:pt x="45" y="139"/>
                  </a:lnTo>
                  <a:lnTo>
                    <a:pt x="29" y="1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9" name="Freeform 1035"/>
            <p:cNvSpPr>
              <a:spLocks/>
            </p:cNvSpPr>
            <p:nvPr/>
          </p:nvSpPr>
          <p:spPr bwMode="auto">
            <a:xfrm>
              <a:off x="5243570" y="2489215"/>
              <a:ext cx="9525" cy="30163"/>
            </a:xfrm>
            <a:custGeom>
              <a:avLst/>
              <a:gdLst>
                <a:gd name="T0" fmla="*/ 34 w 34"/>
                <a:gd name="T1" fmla="*/ 89 h 98"/>
                <a:gd name="T2" fmla="*/ 34 w 34"/>
                <a:gd name="T3" fmla="*/ 89 h 98"/>
                <a:gd name="T4" fmla="*/ 32 w 34"/>
                <a:gd name="T5" fmla="*/ 92 h 98"/>
                <a:gd name="T6" fmla="*/ 31 w 34"/>
                <a:gd name="T7" fmla="*/ 95 h 98"/>
                <a:gd name="T8" fmla="*/ 29 w 34"/>
                <a:gd name="T9" fmla="*/ 97 h 98"/>
                <a:gd name="T10" fmla="*/ 25 w 34"/>
                <a:gd name="T11" fmla="*/ 98 h 98"/>
                <a:gd name="T12" fmla="*/ 9 w 34"/>
                <a:gd name="T13" fmla="*/ 98 h 98"/>
                <a:gd name="T14" fmla="*/ 9 w 34"/>
                <a:gd name="T15" fmla="*/ 98 h 98"/>
                <a:gd name="T16" fmla="*/ 6 w 34"/>
                <a:gd name="T17" fmla="*/ 97 h 98"/>
                <a:gd name="T18" fmla="*/ 3 w 34"/>
                <a:gd name="T19" fmla="*/ 95 h 98"/>
                <a:gd name="T20" fmla="*/ 1 w 34"/>
                <a:gd name="T21" fmla="*/ 92 h 98"/>
                <a:gd name="T22" fmla="*/ 0 w 34"/>
                <a:gd name="T23" fmla="*/ 89 h 98"/>
                <a:gd name="T24" fmla="*/ 0 w 34"/>
                <a:gd name="T25" fmla="*/ 9 h 98"/>
                <a:gd name="T26" fmla="*/ 0 w 34"/>
                <a:gd name="T27" fmla="*/ 9 h 98"/>
                <a:gd name="T28" fmla="*/ 1 w 34"/>
                <a:gd name="T29" fmla="*/ 5 h 98"/>
                <a:gd name="T30" fmla="*/ 3 w 34"/>
                <a:gd name="T31" fmla="*/ 3 h 98"/>
                <a:gd name="T32" fmla="*/ 6 w 34"/>
                <a:gd name="T33" fmla="*/ 0 h 98"/>
                <a:gd name="T34" fmla="*/ 9 w 34"/>
                <a:gd name="T35" fmla="*/ 0 h 98"/>
                <a:gd name="T36" fmla="*/ 25 w 34"/>
                <a:gd name="T37" fmla="*/ 0 h 98"/>
                <a:gd name="T38" fmla="*/ 25 w 34"/>
                <a:gd name="T39" fmla="*/ 0 h 98"/>
                <a:gd name="T40" fmla="*/ 29 w 34"/>
                <a:gd name="T41" fmla="*/ 0 h 98"/>
                <a:gd name="T42" fmla="*/ 31 w 34"/>
                <a:gd name="T43" fmla="*/ 3 h 98"/>
                <a:gd name="T44" fmla="*/ 32 w 34"/>
                <a:gd name="T45" fmla="*/ 5 h 98"/>
                <a:gd name="T46" fmla="*/ 34 w 34"/>
                <a:gd name="T47" fmla="*/ 9 h 98"/>
                <a:gd name="T48" fmla="*/ 34 w 34"/>
                <a:gd name="T49" fmla="*/ 8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 h="98">
                  <a:moveTo>
                    <a:pt x="34" y="89"/>
                  </a:moveTo>
                  <a:lnTo>
                    <a:pt x="34" y="89"/>
                  </a:lnTo>
                  <a:lnTo>
                    <a:pt x="32" y="92"/>
                  </a:lnTo>
                  <a:lnTo>
                    <a:pt x="31" y="95"/>
                  </a:lnTo>
                  <a:lnTo>
                    <a:pt x="29" y="97"/>
                  </a:lnTo>
                  <a:lnTo>
                    <a:pt x="25" y="98"/>
                  </a:lnTo>
                  <a:lnTo>
                    <a:pt x="9" y="98"/>
                  </a:lnTo>
                  <a:lnTo>
                    <a:pt x="9" y="98"/>
                  </a:lnTo>
                  <a:lnTo>
                    <a:pt x="6" y="97"/>
                  </a:lnTo>
                  <a:lnTo>
                    <a:pt x="3" y="95"/>
                  </a:lnTo>
                  <a:lnTo>
                    <a:pt x="1" y="92"/>
                  </a:lnTo>
                  <a:lnTo>
                    <a:pt x="0" y="89"/>
                  </a:lnTo>
                  <a:lnTo>
                    <a:pt x="0" y="9"/>
                  </a:lnTo>
                  <a:lnTo>
                    <a:pt x="0" y="9"/>
                  </a:lnTo>
                  <a:lnTo>
                    <a:pt x="1" y="5"/>
                  </a:lnTo>
                  <a:lnTo>
                    <a:pt x="3" y="3"/>
                  </a:lnTo>
                  <a:lnTo>
                    <a:pt x="6" y="0"/>
                  </a:lnTo>
                  <a:lnTo>
                    <a:pt x="9" y="0"/>
                  </a:lnTo>
                  <a:lnTo>
                    <a:pt x="25" y="0"/>
                  </a:lnTo>
                  <a:lnTo>
                    <a:pt x="25" y="0"/>
                  </a:lnTo>
                  <a:lnTo>
                    <a:pt x="29" y="0"/>
                  </a:lnTo>
                  <a:lnTo>
                    <a:pt x="31" y="3"/>
                  </a:lnTo>
                  <a:lnTo>
                    <a:pt x="32" y="5"/>
                  </a:lnTo>
                  <a:lnTo>
                    <a:pt x="34" y="9"/>
                  </a:lnTo>
                  <a:lnTo>
                    <a:pt x="34" y="89"/>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0" name="Freeform 1036"/>
            <p:cNvSpPr>
              <a:spLocks/>
            </p:cNvSpPr>
            <p:nvPr/>
          </p:nvSpPr>
          <p:spPr bwMode="auto">
            <a:xfrm>
              <a:off x="5218170" y="2363801"/>
              <a:ext cx="9525" cy="9525"/>
            </a:xfrm>
            <a:custGeom>
              <a:avLst/>
              <a:gdLst>
                <a:gd name="T0" fmla="*/ 32 w 32"/>
                <a:gd name="T1" fmla="*/ 15 h 31"/>
                <a:gd name="T2" fmla="*/ 32 w 32"/>
                <a:gd name="T3" fmla="*/ 15 h 31"/>
                <a:gd name="T4" fmla="*/ 31 w 32"/>
                <a:gd name="T5" fmla="*/ 22 h 31"/>
                <a:gd name="T6" fmla="*/ 27 w 32"/>
                <a:gd name="T7" fmla="*/ 26 h 31"/>
                <a:gd name="T8" fmla="*/ 22 w 32"/>
                <a:gd name="T9" fmla="*/ 30 h 31"/>
                <a:gd name="T10" fmla="*/ 16 w 32"/>
                <a:gd name="T11" fmla="*/ 31 h 31"/>
                <a:gd name="T12" fmla="*/ 16 w 32"/>
                <a:gd name="T13" fmla="*/ 31 h 31"/>
                <a:gd name="T14" fmla="*/ 10 w 32"/>
                <a:gd name="T15" fmla="*/ 30 h 31"/>
                <a:gd name="T16" fmla="*/ 4 w 32"/>
                <a:gd name="T17" fmla="*/ 26 h 31"/>
                <a:gd name="T18" fmla="*/ 2 w 32"/>
                <a:gd name="T19" fmla="*/ 22 h 31"/>
                <a:gd name="T20" fmla="*/ 0 w 32"/>
                <a:gd name="T21" fmla="*/ 15 h 31"/>
                <a:gd name="T22" fmla="*/ 0 w 32"/>
                <a:gd name="T23" fmla="*/ 15 h 31"/>
                <a:gd name="T24" fmla="*/ 2 w 32"/>
                <a:gd name="T25" fmla="*/ 9 h 31"/>
                <a:gd name="T26" fmla="*/ 4 w 32"/>
                <a:gd name="T27" fmla="*/ 5 h 31"/>
                <a:gd name="T28" fmla="*/ 10 w 32"/>
                <a:gd name="T29" fmla="*/ 1 h 31"/>
                <a:gd name="T30" fmla="*/ 16 w 32"/>
                <a:gd name="T31" fmla="*/ 0 h 31"/>
                <a:gd name="T32" fmla="*/ 16 w 32"/>
                <a:gd name="T33" fmla="*/ 0 h 31"/>
                <a:gd name="T34" fmla="*/ 22 w 32"/>
                <a:gd name="T35" fmla="*/ 1 h 31"/>
                <a:gd name="T36" fmla="*/ 27 w 32"/>
                <a:gd name="T37" fmla="*/ 5 h 31"/>
                <a:gd name="T38" fmla="*/ 31 w 32"/>
                <a:gd name="T39" fmla="*/ 9 h 31"/>
                <a:gd name="T40" fmla="*/ 32 w 32"/>
                <a:gd name="T41" fmla="*/ 15 h 31"/>
                <a:gd name="T42" fmla="*/ 32 w 32"/>
                <a:gd name="T43"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1">
                  <a:moveTo>
                    <a:pt x="32" y="15"/>
                  </a:moveTo>
                  <a:lnTo>
                    <a:pt x="32" y="15"/>
                  </a:lnTo>
                  <a:lnTo>
                    <a:pt x="31" y="22"/>
                  </a:lnTo>
                  <a:lnTo>
                    <a:pt x="27" y="26"/>
                  </a:lnTo>
                  <a:lnTo>
                    <a:pt x="22" y="30"/>
                  </a:lnTo>
                  <a:lnTo>
                    <a:pt x="16" y="31"/>
                  </a:lnTo>
                  <a:lnTo>
                    <a:pt x="16" y="31"/>
                  </a:lnTo>
                  <a:lnTo>
                    <a:pt x="10" y="30"/>
                  </a:lnTo>
                  <a:lnTo>
                    <a:pt x="4" y="26"/>
                  </a:lnTo>
                  <a:lnTo>
                    <a:pt x="2" y="22"/>
                  </a:lnTo>
                  <a:lnTo>
                    <a:pt x="0" y="15"/>
                  </a:lnTo>
                  <a:lnTo>
                    <a:pt x="0" y="15"/>
                  </a:lnTo>
                  <a:lnTo>
                    <a:pt x="2" y="9"/>
                  </a:lnTo>
                  <a:lnTo>
                    <a:pt x="4" y="5"/>
                  </a:lnTo>
                  <a:lnTo>
                    <a:pt x="10" y="1"/>
                  </a:lnTo>
                  <a:lnTo>
                    <a:pt x="16" y="0"/>
                  </a:lnTo>
                  <a:lnTo>
                    <a:pt x="16" y="0"/>
                  </a:lnTo>
                  <a:lnTo>
                    <a:pt x="22" y="1"/>
                  </a:lnTo>
                  <a:lnTo>
                    <a:pt x="27" y="5"/>
                  </a:lnTo>
                  <a:lnTo>
                    <a:pt x="31" y="9"/>
                  </a:lnTo>
                  <a:lnTo>
                    <a:pt x="32" y="15"/>
                  </a:lnTo>
                  <a:lnTo>
                    <a:pt x="32"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1" name="Freeform 1037"/>
            <p:cNvSpPr>
              <a:spLocks/>
            </p:cNvSpPr>
            <p:nvPr/>
          </p:nvSpPr>
          <p:spPr bwMode="auto">
            <a:xfrm>
              <a:off x="5192770" y="2374914"/>
              <a:ext cx="26988" cy="26988"/>
            </a:xfrm>
            <a:custGeom>
              <a:avLst/>
              <a:gdLst>
                <a:gd name="T0" fmla="*/ 84 w 84"/>
                <a:gd name="T1" fmla="*/ 42 h 85"/>
                <a:gd name="T2" fmla="*/ 84 w 84"/>
                <a:gd name="T3" fmla="*/ 42 h 85"/>
                <a:gd name="T4" fmla="*/ 84 w 84"/>
                <a:gd name="T5" fmla="*/ 50 h 85"/>
                <a:gd name="T6" fmla="*/ 81 w 84"/>
                <a:gd name="T7" fmla="*/ 59 h 85"/>
                <a:gd name="T8" fmla="*/ 77 w 84"/>
                <a:gd name="T9" fmla="*/ 66 h 85"/>
                <a:gd name="T10" fmla="*/ 72 w 84"/>
                <a:gd name="T11" fmla="*/ 72 h 85"/>
                <a:gd name="T12" fmla="*/ 66 w 84"/>
                <a:gd name="T13" fmla="*/ 77 h 85"/>
                <a:gd name="T14" fmla="*/ 59 w 84"/>
                <a:gd name="T15" fmla="*/ 81 h 85"/>
                <a:gd name="T16" fmla="*/ 50 w 84"/>
                <a:gd name="T17" fmla="*/ 85 h 85"/>
                <a:gd name="T18" fmla="*/ 42 w 84"/>
                <a:gd name="T19" fmla="*/ 85 h 85"/>
                <a:gd name="T20" fmla="*/ 42 w 84"/>
                <a:gd name="T21" fmla="*/ 85 h 85"/>
                <a:gd name="T22" fmla="*/ 33 w 84"/>
                <a:gd name="T23" fmla="*/ 85 h 85"/>
                <a:gd name="T24" fmla="*/ 26 w 84"/>
                <a:gd name="T25" fmla="*/ 81 h 85"/>
                <a:gd name="T26" fmla="*/ 18 w 84"/>
                <a:gd name="T27" fmla="*/ 77 h 85"/>
                <a:gd name="T28" fmla="*/ 12 w 84"/>
                <a:gd name="T29" fmla="*/ 72 h 85"/>
                <a:gd name="T30" fmla="*/ 7 w 84"/>
                <a:gd name="T31" fmla="*/ 66 h 85"/>
                <a:gd name="T32" fmla="*/ 3 w 84"/>
                <a:gd name="T33" fmla="*/ 59 h 85"/>
                <a:gd name="T34" fmla="*/ 0 w 84"/>
                <a:gd name="T35" fmla="*/ 50 h 85"/>
                <a:gd name="T36" fmla="*/ 0 w 84"/>
                <a:gd name="T37" fmla="*/ 42 h 85"/>
                <a:gd name="T38" fmla="*/ 0 w 84"/>
                <a:gd name="T39" fmla="*/ 42 h 85"/>
                <a:gd name="T40" fmla="*/ 0 w 84"/>
                <a:gd name="T41" fmla="*/ 33 h 85"/>
                <a:gd name="T42" fmla="*/ 3 w 84"/>
                <a:gd name="T43" fmla="*/ 26 h 85"/>
                <a:gd name="T44" fmla="*/ 7 w 84"/>
                <a:gd name="T45" fmla="*/ 19 h 85"/>
                <a:gd name="T46" fmla="*/ 12 w 84"/>
                <a:gd name="T47" fmla="*/ 13 h 85"/>
                <a:gd name="T48" fmla="*/ 18 w 84"/>
                <a:gd name="T49" fmla="*/ 8 h 85"/>
                <a:gd name="T50" fmla="*/ 26 w 84"/>
                <a:gd name="T51" fmla="*/ 3 h 85"/>
                <a:gd name="T52" fmla="*/ 33 w 84"/>
                <a:gd name="T53" fmla="*/ 0 h 85"/>
                <a:gd name="T54" fmla="*/ 42 w 84"/>
                <a:gd name="T55" fmla="*/ 0 h 85"/>
                <a:gd name="T56" fmla="*/ 42 w 84"/>
                <a:gd name="T57" fmla="*/ 0 h 85"/>
                <a:gd name="T58" fmla="*/ 50 w 84"/>
                <a:gd name="T59" fmla="*/ 0 h 85"/>
                <a:gd name="T60" fmla="*/ 59 w 84"/>
                <a:gd name="T61" fmla="*/ 3 h 85"/>
                <a:gd name="T62" fmla="*/ 66 w 84"/>
                <a:gd name="T63" fmla="*/ 8 h 85"/>
                <a:gd name="T64" fmla="*/ 72 w 84"/>
                <a:gd name="T65" fmla="*/ 13 h 85"/>
                <a:gd name="T66" fmla="*/ 77 w 84"/>
                <a:gd name="T67" fmla="*/ 19 h 85"/>
                <a:gd name="T68" fmla="*/ 81 w 84"/>
                <a:gd name="T69" fmla="*/ 26 h 85"/>
                <a:gd name="T70" fmla="*/ 84 w 84"/>
                <a:gd name="T71" fmla="*/ 33 h 85"/>
                <a:gd name="T72" fmla="*/ 84 w 84"/>
                <a:gd name="T73" fmla="*/ 42 h 85"/>
                <a:gd name="T74" fmla="*/ 84 w 84"/>
                <a:gd name="T75" fmla="*/ 42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84" y="42"/>
                  </a:moveTo>
                  <a:lnTo>
                    <a:pt x="84" y="42"/>
                  </a:lnTo>
                  <a:lnTo>
                    <a:pt x="84" y="50"/>
                  </a:lnTo>
                  <a:lnTo>
                    <a:pt x="81" y="59"/>
                  </a:lnTo>
                  <a:lnTo>
                    <a:pt x="77" y="66"/>
                  </a:lnTo>
                  <a:lnTo>
                    <a:pt x="72" y="72"/>
                  </a:lnTo>
                  <a:lnTo>
                    <a:pt x="66" y="77"/>
                  </a:lnTo>
                  <a:lnTo>
                    <a:pt x="59" y="81"/>
                  </a:lnTo>
                  <a:lnTo>
                    <a:pt x="50" y="85"/>
                  </a:lnTo>
                  <a:lnTo>
                    <a:pt x="42" y="85"/>
                  </a:lnTo>
                  <a:lnTo>
                    <a:pt x="42" y="85"/>
                  </a:lnTo>
                  <a:lnTo>
                    <a:pt x="33" y="85"/>
                  </a:lnTo>
                  <a:lnTo>
                    <a:pt x="26" y="81"/>
                  </a:lnTo>
                  <a:lnTo>
                    <a:pt x="18" y="77"/>
                  </a:lnTo>
                  <a:lnTo>
                    <a:pt x="12" y="72"/>
                  </a:lnTo>
                  <a:lnTo>
                    <a:pt x="7" y="66"/>
                  </a:lnTo>
                  <a:lnTo>
                    <a:pt x="3" y="59"/>
                  </a:lnTo>
                  <a:lnTo>
                    <a:pt x="0" y="50"/>
                  </a:lnTo>
                  <a:lnTo>
                    <a:pt x="0" y="42"/>
                  </a:lnTo>
                  <a:lnTo>
                    <a:pt x="0" y="42"/>
                  </a:lnTo>
                  <a:lnTo>
                    <a:pt x="0" y="33"/>
                  </a:lnTo>
                  <a:lnTo>
                    <a:pt x="3" y="26"/>
                  </a:lnTo>
                  <a:lnTo>
                    <a:pt x="7" y="19"/>
                  </a:lnTo>
                  <a:lnTo>
                    <a:pt x="12" y="13"/>
                  </a:lnTo>
                  <a:lnTo>
                    <a:pt x="18" y="8"/>
                  </a:lnTo>
                  <a:lnTo>
                    <a:pt x="26" y="3"/>
                  </a:lnTo>
                  <a:lnTo>
                    <a:pt x="33" y="0"/>
                  </a:lnTo>
                  <a:lnTo>
                    <a:pt x="42" y="0"/>
                  </a:lnTo>
                  <a:lnTo>
                    <a:pt x="42" y="0"/>
                  </a:lnTo>
                  <a:lnTo>
                    <a:pt x="50" y="0"/>
                  </a:lnTo>
                  <a:lnTo>
                    <a:pt x="59" y="3"/>
                  </a:lnTo>
                  <a:lnTo>
                    <a:pt x="66" y="8"/>
                  </a:lnTo>
                  <a:lnTo>
                    <a:pt x="72" y="13"/>
                  </a:lnTo>
                  <a:lnTo>
                    <a:pt x="77" y="19"/>
                  </a:lnTo>
                  <a:lnTo>
                    <a:pt x="81" y="26"/>
                  </a:lnTo>
                  <a:lnTo>
                    <a:pt x="84" y="33"/>
                  </a:lnTo>
                  <a:lnTo>
                    <a:pt x="84" y="42"/>
                  </a:lnTo>
                  <a:lnTo>
                    <a:pt x="84"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2" name="Freeform 1038"/>
            <p:cNvSpPr>
              <a:spLocks/>
            </p:cNvSpPr>
            <p:nvPr/>
          </p:nvSpPr>
          <p:spPr bwMode="auto">
            <a:xfrm>
              <a:off x="5134032" y="2535253"/>
              <a:ext cx="19050" cy="7938"/>
            </a:xfrm>
            <a:custGeom>
              <a:avLst/>
              <a:gdLst>
                <a:gd name="T0" fmla="*/ 61 w 61"/>
                <a:gd name="T1" fmla="*/ 0 h 26"/>
                <a:gd name="T2" fmla="*/ 61 w 61"/>
                <a:gd name="T3" fmla="*/ 0 h 26"/>
                <a:gd name="T4" fmla="*/ 0 w 61"/>
                <a:gd name="T5" fmla="*/ 0 h 26"/>
                <a:gd name="T6" fmla="*/ 0 w 61"/>
                <a:gd name="T7" fmla="*/ 26 h 26"/>
                <a:gd name="T8" fmla="*/ 61 w 61"/>
                <a:gd name="T9" fmla="*/ 26 h 26"/>
                <a:gd name="T10" fmla="*/ 61 w 61"/>
                <a:gd name="T11" fmla="*/ 0 h 26"/>
              </a:gdLst>
              <a:ahLst/>
              <a:cxnLst>
                <a:cxn ang="0">
                  <a:pos x="T0" y="T1"/>
                </a:cxn>
                <a:cxn ang="0">
                  <a:pos x="T2" y="T3"/>
                </a:cxn>
                <a:cxn ang="0">
                  <a:pos x="T4" y="T5"/>
                </a:cxn>
                <a:cxn ang="0">
                  <a:pos x="T6" y="T7"/>
                </a:cxn>
                <a:cxn ang="0">
                  <a:pos x="T8" y="T9"/>
                </a:cxn>
                <a:cxn ang="0">
                  <a:pos x="T10" y="T11"/>
                </a:cxn>
              </a:cxnLst>
              <a:rect l="0" t="0" r="r" b="b"/>
              <a:pathLst>
                <a:path w="61" h="26">
                  <a:moveTo>
                    <a:pt x="61" y="0"/>
                  </a:moveTo>
                  <a:lnTo>
                    <a:pt x="61" y="0"/>
                  </a:lnTo>
                  <a:lnTo>
                    <a:pt x="0" y="0"/>
                  </a:lnTo>
                  <a:lnTo>
                    <a:pt x="0" y="26"/>
                  </a:lnTo>
                  <a:lnTo>
                    <a:pt x="61" y="26"/>
                  </a:lnTo>
                  <a:lnTo>
                    <a:pt x="61" y="0"/>
                  </a:lnTo>
                  <a:close/>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3" name="Freeform 1039"/>
            <p:cNvSpPr>
              <a:spLocks/>
            </p:cNvSpPr>
            <p:nvPr/>
          </p:nvSpPr>
          <p:spPr bwMode="auto">
            <a:xfrm>
              <a:off x="5134032" y="2535253"/>
              <a:ext cx="19050" cy="7938"/>
            </a:xfrm>
            <a:custGeom>
              <a:avLst/>
              <a:gdLst>
                <a:gd name="T0" fmla="*/ 61 w 61"/>
                <a:gd name="T1" fmla="*/ 0 h 26"/>
                <a:gd name="T2" fmla="*/ 61 w 61"/>
                <a:gd name="T3" fmla="*/ 0 h 26"/>
                <a:gd name="T4" fmla="*/ 0 w 61"/>
                <a:gd name="T5" fmla="*/ 0 h 26"/>
                <a:gd name="T6" fmla="*/ 0 w 61"/>
                <a:gd name="T7" fmla="*/ 26 h 26"/>
                <a:gd name="T8" fmla="*/ 61 w 61"/>
                <a:gd name="T9" fmla="*/ 26 h 26"/>
                <a:gd name="T10" fmla="*/ 61 w 61"/>
                <a:gd name="T11" fmla="*/ 0 h 26"/>
              </a:gdLst>
              <a:ahLst/>
              <a:cxnLst>
                <a:cxn ang="0">
                  <a:pos x="T0" y="T1"/>
                </a:cxn>
                <a:cxn ang="0">
                  <a:pos x="T2" y="T3"/>
                </a:cxn>
                <a:cxn ang="0">
                  <a:pos x="T4" y="T5"/>
                </a:cxn>
                <a:cxn ang="0">
                  <a:pos x="T6" y="T7"/>
                </a:cxn>
                <a:cxn ang="0">
                  <a:pos x="T8" y="T9"/>
                </a:cxn>
                <a:cxn ang="0">
                  <a:pos x="T10" y="T11"/>
                </a:cxn>
              </a:cxnLst>
              <a:rect l="0" t="0" r="r" b="b"/>
              <a:pathLst>
                <a:path w="61" h="26">
                  <a:moveTo>
                    <a:pt x="61" y="0"/>
                  </a:moveTo>
                  <a:lnTo>
                    <a:pt x="61" y="0"/>
                  </a:lnTo>
                  <a:lnTo>
                    <a:pt x="0" y="0"/>
                  </a:lnTo>
                  <a:lnTo>
                    <a:pt x="0" y="26"/>
                  </a:lnTo>
                  <a:lnTo>
                    <a:pt x="61" y="26"/>
                  </a:lnTo>
                  <a:lnTo>
                    <a:pt x="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4" name="Rectangle 1040"/>
            <p:cNvSpPr>
              <a:spLocks noChangeArrowheads="1"/>
            </p:cNvSpPr>
            <p:nvPr/>
          </p:nvSpPr>
          <p:spPr bwMode="auto">
            <a:xfrm>
              <a:off x="5153082" y="2535253"/>
              <a:ext cx="20638" cy="793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5" name="Rectangle 1041"/>
            <p:cNvSpPr>
              <a:spLocks noChangeArrowheads="1"/>
            </p:cNvSpPr>
            <p:nvPr/>
          </p:nvSpPr>
          <p:spPr bwMode="auto">
            <a:xfrm>
              <a:off x="5153082" y="2535253"/>
              <a:ext cx="20638" cy="7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6" name="Freeform 1042"/>
            <p:cNvSpPr>
              <a:spLocks/>
            </p:cNvSpPr>
            <p:nvPr/>
          </p:nvSpPr>
          <p:spPr bwMode="auto">
            <a:xfrm>
              <a:off x="5173719" y="2446352"/>
              <a:ext cx="50800" cy="7938"/>
            </a:xfrm>
            <a:custGeom>
              <a:avLst/>
              <a:gdLst>
                <a:gd name="T0" fmla="*/ 162 w 162"/>
                <a:gd name="T1" fmla="*/ 0 h 27"/>
                <a:gd name="T2" fmla="*/ 162 w 162"/>
                <a:gd name="T3" fmla="*/ 0 h 27"/>
                <a:gd name="T4" fmla="*/ 0 w 162"/>
                <a:gd name="T5" fmla="*/ 0 h 27"/>
                <a:gd name="T6" fmla="*/ 0 w 162"/>
                <a:gd name="T7" fmla="*/ 27 h 27"/>
                <a:gd name="T8" fmla="*/ 162 w 162"/>
                <a:gd name="T9" fmla="*/ 27 h 27"/>
                <a:gd name="T10" fmla="*/ 162 w 162"/>
                <a:gd name="T11" fmla="*/ 0 h 27"/>
              </a:gdLst>
              <a:ahLst/>
              <a:cxnLst>
                <a:cxn ang="0">
                  <a:pos x="T0" y="T1"/>
                </a:cxn>
                <a:cxn ang="0">
                  <a:pos x="T2" y="T3"/>
                </a:cxn>
                <a:cxn ang="0">
                  <a:pos x="T4" y="T5"/>
                </a:cxn>
                <a:cxn ang="0">
                  <a:pos x="T6" y="T7"/>
                </a:cxn>
                <a:cxn ang="0">
                  <a:pos x="T8" y="T9"/>
                </a:cxn>
                <a:cxn ang="0">
                  <a:pos x="T10" y="T11"/>
                </a:cxn>
              </a:cxnLst>
              <a:rect l="0" t="0" r="r" b="b"/>
              <a:pathLst>
                <a:path w="162" h="27">
                  <a:moveTo>
                    <a:pt x="162" y="0"/>
                  </a:moveTo>
                  <a:lnTo>
                    <a:pt x="162" y="0"/>
                  </a:lnTo>
                  <a:lnTo>
                    <a:pt x="0" y="0"/>
                  </a:lnTo>
                  <a:lnTo>
                    <a:pt x="0" y="27"/>
                  </a:lnTo>
                  <a:lnTo>
                    <a:pt x="162" y="27"/>
                  </a:lnTo>
                  <a:lnTo>
                    <a:pt x="162"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7" name="Freeform 1043"/>
            <p:cNvSpPr>
              <a:spLocks/>
            </p:cNvSpPr>
            <p:nvPr/>
          </p:nvSpPr>
          <p:spPr bwMode="auto">
            <a:xfrm>
              <a:off x="5173719" y="2446352"/>
              <a:ext cx="50800" cy="7938"/>
            </a:xfrm>
            <a:custGeom>
              <a:avLst/>
              <a:gdLst>
                <a:gd name="T0" fmla="*/ 162 w 162"/>
                <a:gd name="T1" fmla="*/ 0 h 27"/>
                <a:gd name="T2" fmla="*/ 162 w 162"/>
                <a:gd name="T3" fmla="*/ 0 h 27"/>
                <a:gd name="T4" fmla="*/ 0 w 162"/>
                <a:gd name="T5" fmla="*/ 0 h 27"/>
                <a:gd name="T6" fmla="*/ 0 w 162"/>
                <a:gd name="T7" fmla="*/ 27 h 27"/>
                <a:gd name="T8" fmla="*/ 162 w 162"/>
                <a:gd name="T9" fmla="*/ 27 h 27"/>
                <a:gd name="T10" fmla="*/ 162 w 162"/>
                <a:gd name="T11" fmla="*/ 0 h 27"/>
              </a:gdLst>
              <a:ahLst/>
              <a:cxnLst>
                <a:cxn ang="0">
                  <a:pos x="T0" y="T1"/>
                </a:cxn>
                <a:cxn ang="0">
                  <a:pos x="T2" y="T3"/>
                </a:cxn>
                <a:cxn ang="0">
                  <a:pos x="T4" y="T5"/>
                </a:cxn>
                <a:cxn ang="0">
                  <a:pos x="T6" y="T7"/>
                </a:cxn>
                <a:cxn ang="0">
                  <a:pos x="T8" y="T9"/>
                </a:cxn>
                <a:cxn ang="0">
                  <a:pos x="T10" y="T11"/>
                </a:cxn>
              </a:cxnLst>
              <a:rect l="0" t="0" r="r" b="b"/>
              <a:pathLst>
                <a:path w="162" h="27">
                  <a:moveTo>
                    <a:pt x="162" y="0"/>
                  </a:moveTo>
                  <a:lnTo>
                    <a:pt x="162" y="0"/>
                  </a:lnTo>
                  <a:lnTo>
                    <a:pt x="0" y="0"/>
                  </a:lnTo>
                  <a:lnTo>
                    <a:pt x="0" y="27"/>
                  </a:lnTo>
                  <a:lnTo>
                    <a:pt x="162" y="27"/>
                  </a:lnTo>
                  <a:lnTo>
                    <a:pt x="16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8" name="Freeform 1044"/>
            <p:cNvSpPr>
              <a:spLocks/>
            </p:cNvSpPr>
            <p:nvPr/>
          </p:nvSpPr>
          <p:spPr bwMode="auto">
            <a:xfrm>
              <a:off x="5114981" y="2328876"/>
              <a:ext cx="17463" cy="19050"/>
            </a:xfrm>
            <a:custGeom>
              <a:avLst/>
              <a:gdLst>
                <a:gd name="T0" fmla="*/ 57 w 57"/>
                <a:gd name="T1" fmla="*/ 29 h 58"/>
                <a:gd name="T2" fmla="*/ 57 w 57"/>
                <a:gd name="T3" fmla="*/ 29 h 58"/>
                <a:gd name="T4" fmla="*/ 57 w 57"/>
                <a:gd name="T5" fmla="*/ 35 h 58"/>
                <a:gd name="T6" fmla="*/ 55 w 57"/>
                <a:gd name="T7" fmla="*/ 40 h 58"/>
                <a:gd name="T8" fmla="*/ 52 w 57"/>
                <a:gd name="T9" fmla="*/ 45 h 58"/>
                <a:gd name="T10" fmla="*/ 49 w 57"/>
                <a:gd name="T11" fmla="*/ 50 h 58"/>
                <a:gd name="T12" fmla="*/ 45 w 57"/>
                <a:gd name="T13" fmla="*/ 54 h 58"/>
                <a:gd name="T14" fmla="*/ 40 w 57"/>
                <a:gd name="T15" fmla="*/ 56 h 58"/>
                <a:gd name="T16" fmla="*/ 34 w 57"/>
                <a:gd name="T17" fmla="*/ 57 h 58"/>
                <a:gd name="T18" fmla="*/ 28 w 57"/>
                <a:gd name="T19" fmla="*/ 58 h 58"/>
                <a:gd name="T20" fmla="*/ 28 w 57"/>
                <a:gd name="T21" fmla="*/ 58 h 58"/>
                <a:gd name="T22" fmla="*/ 23 w 57"/>
                <a:gd name="T23" fmla="*/ 57 h 58"/>
                <a:gd name="T24" fmla="*/ 17 w 57"/>
                <a:gd name="T25" fmla="*/ 56 h 58"/>
                <a:gd name="T26" fmla="*/ 12 w 57"/>
                <a:gd name="T27" fmla="*/ 54 h 58"/>
                <a:gd name="T28" fmla="*/ 9 w 57"/>
                <a:gd name="T29" fmla="*/ 50 h 58"/>
                <a:gd name="T30" fmla="*/ 5 w 57"/>
                <a:gd name="T31" fmla="*/ 45 h 58"/>
                <a:gd name="T32" fmla="*/ 2 w 57"/>
                <a:gd name="T33" fmla="*/ 40 h 58"/>
                <a:gd name="T34" fmla="*/ 0 w 57"/>
                <a:gd name="T35" fmla="*/ 35 h 58"/>
                <a:gd name="T36" fmla="*/ 0 w 57"/>
                <a:gd name="T37" fmla="*/ 29 h 58"/>
                <a:gd name="T38" fmla="*/ 0 w 57"/>
                <a:gd name="T39" fmla="*/ 29 h 58"/>
                <a:gd name="T40" fmla="*/ 0 w 57"/>
                <a:gd name="T41" fmla="*/ 23 h 58"/>
                <a:gd name="T42" fmla="*/ 2 w 57"/>
                <a:gd name="T43" fmla="*/ 18 h 58"/>
                <a:gd name="T44" fmla="*/ 5 w 57"/>
                <a:gd name="T45" fmla="*/ 13 h 58"/>
                <a:gd name="T46" fmla="*/ 9 w 57"/>
                <a:gd name="T47" fmla="*/ 8 h 58"/>
                <a:gd name="T48" fmla="*/ 12 w 57"/>
                <a:gd name="T49" fmla="*/ 5 h 58"/>
                <a:gd name="T50" fmla="*/ 17 w 57"/>
                <a:gd name="T51" fmla="*/ 2 h 58"/>
                <a:gd name="T52" fmla="*/ 23 w 57"/>
                <a:gd name="T53" fmla="*/ 1 h 58"/>
                <a:gd name="T54" fmla="*/ 28 w 57"/>
                <a:gd name="T55" fmla="*/ 0 h 58"/>
                <a:gd name="T56" fmla="*/ 28 w 57"/>
                <a:gd name="T57" fmla="*/ 0 h 58"/>
                <a:gd name="T58" fmla="*/ 34 w 57"/>
                <a:gd name="T59" fmla="*/ 1 h 58"/>
                <a:gd name="T60" fmla="*/ 40 w 57"/>
                <a:gd name="T61" fmla="*/ 2 h 58"/>
                <a:gd name="T62" fmla="*/ 45 w 57"/>
                <a:gd name="T63" fmla="*/ 5 h 58"/>
                <a:gd name="T64" fmla="*/ 49 w 57"/>
                <a:gd name="T65" fmla="*/ 8 h 58"/>
                <a:gd name="T66" fmla="*/ 52 w 57"/>
                <a:gd name="T67" fmla="*/ 13 h 58"/>
                <a:gd name="T68" fmla="*/ 55 w 57"/>
                <a:gd name="T69" fmla="*/ 18 h 58"/>
                <a:gd name="T70" fmla="*/ 57 w 57"/>
                <a:gd name="T71" fmla="*/ 23 h 58"/>
                <a:gd name="T72" fmla="*/ 57 w 57"/>
                <a:gd name="T73" fmla="*/ 29 h 58"/>
                <a:gd name="T74" fmla="*/ 57 w 57"/>
                <a:gd name="T7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7" h="58">
                  <a:moveTo>
                    <a:pt x="57" y="29"/>
                  </a:moveTo>
                  <a:lnTo>
                    <a:pt x="57" y="29"/>
                  </a:lnTo>
                  <a:lnTo>
                    <a:pt x="57" y="35"/>
                  </a:lnTo>
                  <a:lnTo>
                    <a:pt x="55" y="40"/>
                  </a:lnTo>
                  <a:lnTo>
                    <a:pt x="52" y="45"/>
                  </a:lnTo>
                  <a:lnTo>
                    <a:pt x="49" y="50"/>
                  </a:lnTo>
                  <a:lnTo>
                    <a:pt x="45" y="54"/>
                  </a:lnTo>
                  <a:lnTo>
                    <a:pt x="40" y="56"/>
                  </a:lnTo>
                  <a:lnTo>
                    <a:pt x="34" y="57"/>
                  </a:lnTo>
                  <a:lnTo>
                    <a:pt x="28" y="58"/>
                  </a:lnTo>
                  <a:lnTo>
                    <a:pt x="28" y="58"/>
                  </a:lnTo>
                  <a:lnTo>
                    <a:pt x="23" y="57"/>
                  </a:lnTo>
                  <a:lnTo>
                    <a:pt x="17" y="56"/>
                  </a:lnTo>
                  <a:lnTo>
                    <a:pt x="12" y="54"/>
                  </a:lnTo>
                  <a:lnTo>
                    <a:pt x="9" y="50"/>
                  </a:lnTo>
                  <a:lnTo>
                    <a:pt x="5" y="45"/>
                  </a:lnTo>
                  <a:lnTo>
                    <a:pt x="2" y="40"/>
                  </a:lnTo>
                  <a:lnTo>
                    <a:pt x="0" y="35"/>
                  </a:lnTo>
                  <a:lnTo>
                    <a:pt x="0" y="29"/>
                  </a:lnTo>
                  <a:lnTo>
                    <a:pt x="0" y="29"/>
                  </a:lnTo>
                  <a:lnTo>
                    <a:pt x="0" y="23"/>
                  </a:lnTo>
                  <a:lnTo>
                    <a:pt x="2" y="18"/>
                  </a:lnTo>
                  <a:lnTo>
                    <a:pt x="5" y="13"/>
                  </a:lnTo>
                  <a:lnTo>
                    <a:pt x="9" y="8"/>
                  </a:lnTo>
                  <a:lnTo>
                    <a:pt x="12" y="5"/>
                  </a:lnTo>
                  <a:lnTo>
                    <a:pt x="17" y="2"/>
                  </a:lnTo>
                  <a:lnTo>
                    <a:pt x="23" y="1"/>
                  </a:lnTo>
                  <a:lnTo>
                    <a:pt x="28" y="0"/>
                  </a:lnTo>
                  <a:lnTo>
                    <a:pt x="28" y="0"/>
                  </a:lnTo>
                  <a:lnTo>
                    <a:pt x="34" y="1"/>
                  </a:lnTo>
                  <a:lnTo>
                    <a:pt x="40" y="2"/>
                  </a:lnTo>
                  <a:lnTo>
                    <a:pt x="45" y="5"/>
                  </a:lnTo>
                  <a:lnTo>
                    <a:pt x="49" y="8"/>
                  </a:lnTo>
                  <a:lnTo>
                    <a:pt x="52" y="13"/>
                  </a:lnTo>
                  <a:lnTo>
                    <a:pt x="55" y="18"/>
                  </a:lnTo>
                  <a:lnTo>
                    <a:pt x="57" y="23"/>
                  </a:lnTo>
                  <a:lnTo>
                    <a:pt x="57" y="29"/>
                  </a:lnTo>
                  <a:lnTo>
                    <a:pt x="57" y="29"/>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9" name="Freeform 1045"/>
            <p:cNvSpPr>
              <a:spLocks/>
            </p:cNvSpPr>
            <p:nvPr/>
          </p:nvSpPr>
          <p:spPr bwMode="auto">
            <a:xfrm>
              <a:off x="5114981" y="2328876"/>
              <a:ext cx="17463" cy="9525"/>
            </a:xfrm>
            <a:custGeom>
              <a:avLst/>
              <a:gdLst>
                <a:gd name="T0" fmla="*/ 28 w 57"/>
                <a:gd name="T1" fmla="*/ 0 h 29"/>
                <a:gd name="T2" fmla="*/ 28 w 57"/>
                <a:gd name="T3" fmla="*/ 0 h 29"/>
                <a:gd name="T4" fmla="*/ 23 w 57"/>
                <a:gd name="T5" fmla="*/ 1 h 29"/>
                <a:gd name="T6" fmla="*/ 17 w 57"/>
                <a:gd name="T7" fmla="*/ 2 h 29"/>
                <a:gd name="T8" fmla="*/ 12 w 57"/>
                <a:gd name="T9" fmla="*/ 5 h 29"/>
                <a:gd name="T10" fmla="*/ 9 w 57"/>
                <a:gd name="T11" fmla="*/ 8 h 29"/>
                <a:gd name="T12" fmla="*/ 5 w 57"/>
                <a:gd name="T13" fmla="*/ 13 h 29"/>
                <a:gd name="T14" fmla="*/ 2 w 57"/>
                <a:gd name="T15" fmla="*/ 18 h 29"/>
                <a:gd name="T16" fmla="*/ 0 w 57"/>
                <a:gd name="T17" fmla="*/ 23 h 29"/>
                <a:gd name="T18" fmla="*/ 0 w 57"/>
                <a:gd name="T19" fmla="*/ 29 h 29"/>
                <a:gd name="T20" fmla="*/ 57 w 57"/>
                <a:gd name="T21" fmla="*/ 29 h 29"/>
                <a:gd name="T22" fmla="*/ 57 w 57"/>
                <a:gd name="T23" fmla="*/ 29 h 29"/>
                <a:gd name="T24" fmla="*/ 57 w 57"/>
                <a:gd name="T25" fmla="*/ 23 h 29"/>
                <a:gd name="T26" fmla="*/ 55 w 57"/>
                <a:gd name="T27" fmla="*/ 18 h 29"/>
                <a:gd name="T28" fmla="*/ 52 w 57"/>
                <a:gd name="T29" fmla="*/ 13 h 29"/>
                <a:gd name="T30" fmla="*/ 49 w 57"/>
                <a:gd name="T31" fmla="*/ 8 h 29"/>
                <a:gd name="T32" fmla="*/ 45 w 57"/>
                <a:gd name="T33" fmla="*/ 5 h 29"/>
                <a:gd name="T34" fmla="*/ 40 w 57"/>
                <a:gd name="T35" fmla="*/ 2 h 29"/>
                <a:gd name="T36" fmla="*/ 34 w 57"/>
                <a:gd name="T37" fmla="*/ 1 h 29"/>
                <a:gd name="T38" fmla="*/ 28 w 57"/>
                <a:gd name="T39" fmla="*/ 0 h 29"/>
                <a:gd name="T40" fmla="*/ 28 w 57"/>
                <a:gd name="T41"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7" h="29">
                  <a:moveTo>
                    <a:pt x="28" y="0"/>
                  </a:moveTo>
                  <a:lnTo>
                    <a:pt x="28" y="0"/>
                  </a:lnTo>
                  <a:lnTo>
                    <a:pt x="23" y="1"/>
                  </a:lnTo>
                  <a:lnTo>
                    <a:pt x="17" y="2"/>
                  </a:lnTo>
                  <a:lnTo>
                    <a:pt x="12" y="5"/>
                  </a:lnTo>
                  <a:lnTo>
                    <a:pt x="9" y="8"/>
                  </a:lnTo>
                  <a:lnTo>
                    <a:pt x="5" y="13"/>
                  </a:lnTo>
                  <a:lnTo>
                    <a:pt x="2" y="18"/>
                  </a:lnTo>
                  <a:lnTo>
                    <a:pt x="0" y="23"/>
                  </a:lnTo>
                  <a:lnTo>
                    <a:pt x="0" y="29"/>
                  </a:lnTo>
                  <a:lnTo>
                    <a:pt x="57" y="29"/>
                  </a:lnTo>
                  <a:lnTo>
                    <a:pt x="57" y="29"/>
                  </a:lnTo>
                  <a:lnTo>
                    <a:pt x="57" y="23"/>
                  </a:lnTo>
                  <a:lnTo>
                    <a:pt x="55" y="18"/>
                  </a:lnTo>
                  <a:lnTo>
                    <a:pt x="52" y="13"/>
                  </a:lnTo>
                  <a:lnTo>
                    <a:pt x="49" y="8"/>
                  </a:lnTo>
                  <a:lnTo>
                    <a:pt x="45" y="5"/>
                  </a:lnTo>
                  <a:lnTo>
                    <a:pt x="40" y="2"/>
                  </a:lnTo>
                  <a:lnTo>
                    <a:pt x="34" y="1"/>
                  </a:lnTo>
                  <a:lnTo>
                    <a:pt x="28" y="0"/>
                  </a:lnTo>
                  <a:lnTo>
                    <a:pt x="28"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0" name="Freeform 1046"/>
            <p:cNvSpPr>
              <a:spLocks/>
            </p:cNvSpPr>
            <p:nvPr/>
          </p:nvSpPr>
          <p:spPr bwMode="auto">
            <a:xfrm>
              <a:off x="5141969" y="2327288"/>
              <a:ext cx="9525" cy="9525"/>
            </a:xfrm>
            <a:custGeom>
              <a:avLst/>
              <a:gdLst>
                <a:gd name="T0" fmla="*/ 14 w 30"/>
                <a:gd name="T1" fmla="*/ 0 h 30"/>
                <a:gd name="T2" fmla="*/ 14 w 30"/>
                <a:gd name="T3" fmla="*/ 0 h 30"/>
                <a:gd name="T4" fmla="*/ 8 w 30"/>
                <a:gd name="T5" fmla="*/ 1 h 30"/>
                <a:gd name="T6" fmla="*/ 3 w 30"/>
                <a:gd name="T7" fmla="*/ 3 h 30"/>
                <a:gd name="T8" fmla="*/ 1 w 30"/>
                <a:gd name="T9" fmla="*/ 8 h 30"/>
                <a:gd name="T10" fmla="*/ 0 w 30"/>
                <a:gd name="T11" fmla="*/ 14 h 30"/>
                <a:gd name="T12" fmla="*/ 0 w 30"/>
                <a:gd name="T13" fmla="*/ 14 h 30"/>
                <a:gd name="T14" fmla="*/ 1 w 30"/>
                <a:gd name="T15" fmla="*/ 21 h 30"/>
                <a:gd name="T16" fmla="*/ 3 w 30"/>
                <a:gd name="T17" fmla="*/ 25 h 30"/>
                <a:gd name="T18" fmla="*/ 8 w 30"/>
                <a:gd name="T19" fmla="*/ 29 h 30"/>
                <a:gd name="T20" fmla="*/ 14 w 30"/>
                <a:gd name="T21" fmla="*/ 30 h 30"/>
                <a:gd name="T22" fmla="*/ 14 w 30"/>
                <a:gd name="T23" fmla="*/ 30 h 30"/>
                <a:gd name="T24" fmla="*/ 20 w 30"/>
                <a:gd name="T25" fmla="*/ 29 h 30"/>
                <a:gd name="T26" fmla="*/ 25 w 30"/>
                <a:gd name="T27" fmla="*/ 25 h 30"/>
                <a:gd name="T28" fmla="*/ 29 w 30"/>
                <a:gd name="T29" fmla="*/ 21 h 30"/>
                <a:gd name="T30" fmla="*/ 30 w 30"/>
                <a:gd name="T31" fmla="*/ 14 h 30"/>
                <a:gd name="T32" fmla="*/ 30 w 30"/>
                <a:gd name="T33" fmla="*/ 14 h 30"/>
                <a:gd name="T34" fmla="*/ 29 w 30"/>
                <a:gd name="T35" fmla="*/ 8 h 30"/>
                <a:gd name="T36" fmla="*/ 25 w 30"/>
                <a:gd name="T37" fmla="*/ 3 h 30"/>
                <a:gd name="T38" fmla="*/ 2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14" y="0"/>
                  </a:lnTo>
                  <a:lnTo>
                    <a:pt x="8" y="1"/>
                  </a:lnTo>
                  <a:lnTo>
                    <a:pt x="3" y="3"/>
                  </a:lnTo>
                  <a:lnTo>
                    <a:pt x="1" y="8"/>
                  </a:lnTo>
                  <a:lnTo>
                    <a:pt x="0" y="14"/>
                  </a:lnTo>
                  <a:lnTo>
                    <a:pt x="0" y="14"/>
                  </a:lnTo>
                  <a:lnTo>
                    <a:pt x="1" y="21"/>
                  </a:lnTo>
                  <a:lnTo>
                    <a:pt x="3" y="25"/>
                  </a:lnTo>
                  <a:lnTo>
                    <a:pt x="8" y="29"/>
                  </a:lnTo>
                  <a:lnTo>
                    <a:pt x="14" y="30"/>
                  </a:lnTo>
                  <a:lnTo>
                    <a:pt x="14" y="30"/>
                  </a:lnTo>
                  <a:lnTo>
                    <a:pt x="20" y="29"/>
                  </a:lnTo>
                  <a:lnTo>
                    <a:pt x="25" y="25"/>
                  </a:lnTo>
                  <a:lnTo>
                    <a:pt x="29" y="21"/>
                  </a:lnTo>
                  <a:lnTo>
                    <a:pt x="30" y="14"/>
                  </a:lnTo>
                  <a:lnTo>
                    <a:pt x="30" y="14"/>
                  </a:lnTo>
                  <a:lnTo>
                    <a:pt x="29" y="8"/>
                  </a:lnTo>
                  <a:lnTo>
                    <a:pt x="25" y="3"/>
                  </a:lnTo>
                  <a:lnTo>
                    <a:pt x="20" y="1"/>
                  </a:lnTo>
                  <a:lnTo>
                    <a:pt x="14"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1" name="Freeform 1047"/>
            <p:cNvSpPr>
              <a:spLocks/>
            </p:cNvSpPr>
            <p:nvPr/>
          </p:nvSpPr>
          <p:spPr bwMode="auto">
            <a:xfrm>
              <a:off x="5141969" y="2327288"/>
              <a:ext cx="9525" cy="9525"/>
            </a:xfrm>
            <a:custGeom>
              <a:avLst/>
              <a:gdLst>
                <a:gd name="T0" fmla="*/ 14 w 30"/>
                <a:gd name="T1" fmla="*/ 0 h 30"/>
                <a:gd name="T2" fmla="*/ 14 w 30"/>
                <a:gd name="T3" fmla="*/ 0 h 30"/>
                <a:gd name="T4" fmla="*/ 8 w 30"/>
                <a:gd name="T5" fmla="*/ 1 h 30"/>
                <a:gd name="T6" fmla="*/ 3 w 30"/>
                <a:gd name="T7" fmla="*/ 3 h 30"/>
                <a:gd name="T8" fmla="*/ 1 w 30"/>
                <a:gd name="T9" fmla="*/ 8 h 30"/>
                <a:gd name="T10" fmla="*/ 0 w 30"/>
                <a:gd name="T11" fmla="*/ 14 h 30"/>
                <a:gd name="T12" fmla="*/ 0 w 30"/>
                <a:gd name="T13" fmla="*/ 14 h 30"/>
                <a:gd name="T14" fmla="*/ 1 w 30"/>
                <a:gd name="T15" fmla="*/ 21 h 30"/>
                <a:gd name="T16" fmla="*/ 3 w 30"/>
                <a:gd name="T17" fmla="*/ 25 h 30"/>
                <a:gd name="T18" fmla="*/ 8 w 30"/>
                <a:gd name="T19" fmla="*/ 29 h 30"/>
                <a:gd name="T20" fmla="*/ 14 w 30"/>
                <a:gd name="T21" fmla="*/ 30 h 30"/>
                <a:gd name="T22" fmla="*/ 14 w 30"/>
                <a:gd name="T23" fmla="*/ 30 h 30"/>
                <a:gd name="T24" fmla="*/ 20 w 30"/>
                <a:gd name="T25" fmla="*/ 29 h 30"/>
                <a:gd name="T26" fmla="*/ 25 w 30"/>
                <a:gd name="T27" fmla="*/ 25 h 30"/>
                <a:gd name="T28" fmla="*/ 29 w 30"/>
                <a:gd name="T29" fmla="*/ 21 h 30"/>
                <a:gd name="T30" fmla="*/ 30 w 30"/>
                <a:gd name="T31" fmla="*/ 14 h 30"/>
                <a:gd name="T32" fmla="*/ 30 w 30"/>
                <a:gd name="T33" fmla="*/ 14 h 30"/>
                <a:gd name="T34" fmla="*/ 29 w 30"/>
                <a:gd name="T35" fmla="*/ 8 h 30"/>
                <a:gd name="T36" fmla="*/ 25 w 30"/>
                <a:gd name="T37" fmla="*/ 3 h 30"/>
                <a:gd name="T38" fmla="*/ 2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14" y="0"/>
                  </a:lnTo>
                  <a:lnTo>
                    <a:pt x="8" y="1"/>
                  </a:lnTo>
                  <a:lnTo>
                    <a:pt x="3" y="3"/>
                  </a:lnTo>
                  <a:lnTo>
                    <a:pt x="1" y="8"/>
                  </a:lnTo>
                  <a:lnTo>
                    <a:pt x="0" y="14"/>
                  </a:lnTo>
                  <a:lnTo>
                    <a:pt x="0" y="14"/>
                  </a:lnTo>
                  <a:lnTo>
                    <a:pt x="1" y="21"/>
                  </a:lnTo>
                  <a:lnTo>
                    <a:pt x="3" y="25"/>
                  </a:lnTo>
                  <a:lnTo>
                    <a:pt x="8" y="29"/>
                  </a:lnTo>
                  <a:lnTo>
                    <a:pt x="14" y="30"/>
                  </a:lnTo>
                  <a:lnTo>
                    <a:pt x="14" y="30"/>
                  </a:lnTo>
                  <a:lnTo>
                    <a:pt x="20" y="29"/>
                  </a:lnTo>
                  <a:lnTo>
                    <a:pt x="25" y="25"/>
                  </a:lnTo>
                  <a:lnTo>
                    <a:pt x="29" y="21"/>
                  </a:lnTo>
                  <a:lnTo>
                    <a:pt x="30" y="14"/>
                  </a:lnTo>
                  <a:lnTo>
                    <a:pt x="30" y="14"/>
                  </a:lnTo>
                  <a:lnTo>
                    <a:pt x="29" y="8"/>
                  </a:lnTo>
                  <a:lnTo>
                    <a:pt x="25" y="3"/>
                  </a:lnTo>
                  <a:lnTo>
                    <a:pt x="20" y="1"/>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2" name="Freeform 1048"/>
            <p:cNvSpPr>
              <a:spLocks/>
            </p:cNvSpPr>
            <p:nvPr/>
          </p:nvSpPr>
          <p:spPr bwMode="auto">
            <a:xfrm>
              <a:off x="5141969" y="2339988"/>
              <a:ext cx="9525" cy="9525"/>
            </a:xfrm>
            <a:custGeom>
              <a:avLst/>
              <a:gdLst>
                <a:gd name="T0" fmla="*/ 14 w 30"/>
                <a:gd name="T1" fmla="*/ 0 h 31"/>
                <a:gd name="T2" fmla="*/ 14 w 30"/>
                <a:gd name="T3" fmla="*/ 0 h 31"/>
                <a:gd name="T4" fmla="*/ 8 w 30"/>
                <a:gd name="T5" fmla="*/ 1 h 31"/>
                <a:gd name="T6" fmla="*/ 3 w 30"/>
                <a:gd name="T7" fmla="*/ 5 h 31"/>
                <a:gd name="T8" fmla="*/ 1 w 30"/>
                <a:gd name="T9" fmla="*/ 10 h 31"/>
                <a:gd name="T10" fmla="*/ 0 w 30"/>
                <a:gd name="T11" fmla="*/ 16 h 31"/>
                <a:gd name="T12" fmla="*/ 0 w 30"/>
                <a:gd name="T13" fmla="*/ 16 h 31"/>
                <a:gd name="T14" fmla="*/ 1 w 30"/>
                <a:gd name="T15" fmla="*/ 22 h 31"/>
                <a:gd name="T16" fmla="*/ 3 w 30"/>
                <a:gd name="T17" fmla="*/ 27 h 31"/>
                <a:gd name="T18" fmla="*/ 8 w 30"/>
                <a:gd name="T19" fmla="*/ 29 h 31"/>
                <a:gd name="T20" fmla="*/ 14 w 30"/>
                <a:gd name="T21" fmla="*/ 31 h 31"/>
                <a:gd name="T22" fmla="*/ 14 w 30"/>
                <a:gd name="T23" fmla="*/ 31 h 31"/>
                <a:gd name="T24" fmla="*/ 20 w 30"/>
                <a:gd name="T25" fmla="*/ 29 h 31"/>
                <a:gd name="T26" fmla="*/ 25 w 30"/>
                <a:gd name="T27" fmla="*/ 27 h 31"/>
                <a:gd name="T28" fmla="*/ 29 w 30"/>
                <a:gd name="T29" fmla="*/ 22 h 31"/>
                <a:gd name="T30" fmla="*/ 30 w 30"/>
                <a:gd name="T31" fmla="*/ 16 h 31"/>
                <a:gd name="T32" fmla="*/ 30 w 30"/>
                <a:gd name="T33" fmla="*/ 16 h 31"/>
                <a:gd name="T34" fmla="*/ 29 w 30"/>
                <a:gd name="T35" fmla="*/ 10 h 31"/>
                <a:gd name="T36" fmla="*/ 25 w 30"/>
                <a:gd name="T37" fmla="*/ 5 h 31"/>
                <a:gd name="T38" fmla="*/ 20 w 30"/>
                <a:gd name="T39" fmla="*/ 1 h 31"/>
                <a:gd name="T40" fmla="*/ 14 w 30"/>
                <a:gd name="T4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1">
                  <a:moveTo>
                    <a:pt x="14" y="0"/>
                  </a:moveTo>
                  <a:lnTo>
                    <a:pt x="14" y="0"/>
                  </a:lnTo>
                  <a:lnTo>
                    <a:pt x="8" y="1"/>
                  </a:lnTo>
                  <a:lnTo>
                    <a:pt x="3" y="5"/>
                  </a:lnTo>
                  <a:lnTo>
                    <a:pt x="1" y="10"/>
                  </a:lnTo>
                  <a:lnTo>
                    <a:pt x="0" y="16"/>
                  </a:lnTo>
                  <a:lnTo>
                    <a:pt x="0" y="16"/>
                  </a:lnTo>
                  <a:lnTo>
                    <a:pt x="1" y="22"/>
                  </a:lnTo>
                  <a:lnTo>
                    <a:pt x="3" y="27"/>
                  </a:lnTo>
                  <a:lnTo>
                    <a:pt x="8" y="29"/>
                  </a:lnTo>
                  <a:lnTo>
                    <a:pt x="14" y="31"/>
                  </a:lnTo>
                  <a:lnTo>
                    <a:pt x="14" y="31"/>
                  </a:lnTo>
                  <a:lnTo>
                    <a:pt x="20" y="29"/>
                  </a:lnTo>
                  <a:lnTo>
                    <a:pt x="25" y="27"/>
                  </a:lnTo>
                  <a:lnTo>
                    <a:pt x="29" y="22"/>
                  </a:lnTo>
                  <a:lnTo>
                    <a:pt x="30" y="16"/>
                  </a:lnTo>
                  <a:lnTo>
                    <a:pt x="30" y="16"/>
                  </a:lnTo>
                  <a:lnTo>
                    <a:pt x="29" y="10"/>
                  </a:lnTo>
                  <a:lnTo>
                    <a:pt x="25" y="5"/>
                  </a:lnTo>
                  <a:lnTo>
                    <a:pt x="20" y="1"/>
                  </a:lnTo>
                  <a:lnTo>
                    <a:pt x="14"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3" name="Freeform 1049"/>
            <p:cNvSpPr>
              <a:spLocks/>
            </p:cNvSpPr>
            <p:nvPr/>
          </p:nvSpPr>
          <p:spPr bwMode="auto">
            <a:xfrm>
              <a:off x="5141969" y="2339988"/>
              <a:ext cx="9525" cy="9525"/>
            </a:xfrm>
            <a:custGeom>
              <a:avLst/>
              <a:gdLst>
                <a:gd name="T0" fmla="*/ 14 w 30"/>
                <a:gd name="T1" fmla="*/ 0 h 31"/>
                <a:gd name="T2" fmla="*/ 14 w 30"/>
                <a:gd name="T3" fmla="*/ 0 h 31"/>
                <a:gd name="T4" fmla="*/ 8 w 30"/>
                <a:gd name="T5" fmla="*/ 1 h 31"/>
                <a:gd name="T6" fmla="*/ 3 w 30"/>
                <a:gd name="T7" fmla="*/ 5 h 31"/>
                <a:gd name="T8" fmla="*/ 1 w 30"/>
                <a:gd name="T9" fmla="*/ 10 h 31"/>
                <a:gd name="T10" fmla="*/ 0 w 30"/>
                <a:gd name="T11" fmla="*/ 16 h 31"/>
                <a:gd name="T12" fmla="*/ 0 w 30"/>
                <a:gd name="T13" fmla="*/ 16 h 31"/>
                <a:gd name="T14" fmla="*/ 1 w 30"/>
                <a:gd name="T15" fmla="*/ 22 h 31"/>
                <a:gd name="T16" fmla="*/ 3 w 30"/>
                <a:gd name="T17" fmla="*/ 27 h 31"/>
                <a:gd name="T18" fmla="*/ 8 w 30"/>
                <a:gd name="T19" fmla="*/ 29 h 31"/>
                <a:gd name="T20" fmla="*/ 14 w 30"/>
                <a:gd name="T21" fmla="*/ 31 h 31"/>
                <a:gd name="T22" fmla="*/ 14 w 30"/>
                <a:gd name="T23" fmla="*/ 31 h 31"/>
                <a:gd name="T24" fmla="*/ 20 w 30"/>
                <a:gd name="T25" fmla="*/ 29 h 31"/>
                <a:gd name="T26" fmla="*/ 25 w 30"/>
                <a:gd name="T27" fmla="*/ 27 h 31"/>
                <a:gd name="T28" fmla="*/ 29 w 30"/>
                <a:gd name="T29" fmla="*/ 22 h 31"/>
                <a:gd name="T30" fmla="*/ 30 w 30"/>
                <a:gd name="T31" fmla="*/ 16 h 31"/>
                <a:gd name="T32" fmla="*/ 30 w 30"/>
                <a:gd name="T33" fmla="*/ 16 h 31"/>
                <a:gd name="T34" fmla="*/ 29 w 30"/>
                <a:gd name="T35" fmla="*/ 10 h 31"/>
                <a:gd name="T36" fmla="*/ 25 w 30"/>
                <a:gd name="T37" fmla="*/ 5 h 31"/>
                <a:gd name="T38" fmla="*/ 20 w 30"/>
                <a:gd name="T39" fmla="*/ 1 h 31"/>
                <a:gd name="T40" fmla="*/ 14 w 30"/>
                <a:gd name="T4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1">
                  <a:moveTo>
                    <a:pt x="14" y="0"/>
                  </a:moveTo>
                  <a:lnTo>
                    <a:pt x="14" y="0"/>
                  </a:lnTo>
                  <a:lnTo>
                    <a:pt x="8" y="1"/>
                  </a:lnTo>
                  <a:lnTo>
                    <a:pt x="3" y="5"/>
                  </a:lnTo>
                  <a:lnTo>
                    <a:pt x="1" y="10"/>
                  </a:lnTo>
                  <a:lnTo>
                    <a:pt x="0" y="16"/>
                  </a:lnTo>
                  <a:lnTo>
                    <a:pt x="0" y="16"/>
                  </a:lnTo>
                  <a:lnTo>
                    <a:pt x="1" y="22"/>
                  </a:lnTo>
                  <a:lnTo>
                    <a:pt x="3" y="27"/>
                  </a:lnTo>
                  <a:lnTo>
                    <a:pt x="8" y="29"/>
                  </a:lnTo>
                  <a:lnTo>
                    <a:pt x="14" y="31"/>
                  </a:lnTo>
                  <a:lnTo>
                    <a:pt x="14" y="31"/>
                  </a:lnTo>
                  <a:lnTo>
                    <a:pt x="20" y="29"/>
                  </a:lnTo>
                  <a:lnTo>
                    <a:pt x="25" y="27"/>
                  </a:lnTo>
                  <a:lnTo>
                    <a:pt x="29" y="22"/>
                  </a:lnTo>
                  <a:lnTo>
                    <a:pt x="30" y="16"/>
                  </a:lnTo>
                  <a:lnTo>
                    <a:pt x="30" y="16"/>
                  </a:lnTo>
                  <a:lnTo>
                    <a:pt x="29" y="10"/>
                  </a:lnTo>
                  <a:lnTo>
                    <a:pt x="25" y="5"/>
                  </a:lnTo>
                  <a:lnTo>
                    <a:pt x="20" y="1"/>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4" name="Rectangle 1050"/>
            <p:cNvSpPr>
              <a:spLocks noChangeArrowheads="1"/>
            </p:cNvSpPr>
            <p:nvPr/>
          </p:nvSpPr>
          <p:spPr bwMode="auto">
            <a:xfrm>
              <a:off x="5303895" y="2355863"/>
              <a:ext cx="6350" cy="68263"/>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5" name="Rectangle 1051"/>
            <p:cNvSpPr>
              <a:spLocks noChangeArrowheads="1"/>
            </p:cNvSpPr>
            <p:nvPr/>
          </p:nvSpPr>
          <p:spPr bwMode="auto">
            <a:xfrm>
              <a:off x="5303895" y="2355863"/>
              <a:ext cx="6350" cy="68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6" name="Freeform 1052"/>
            <p:cNvSpPr>
              <a:spLocks/>
            </p:cNvSpPr>
            <p:nvPr/>
          </p:nvSpPr>
          <p:spPr bwMode="auto">
            <a:xfrm>
              <a:off x="5272145" y="2363801"/>
              <a:ext cx="26988" cy="33338"/>
            </a:xfrm>
            <a:custGeom>
              <a:avLst/>
              <a:gdLst>
                <a:gd name="T0" fmla="*/ 82 w 82"/>
                <a:gd name="T1" fmla="*/ 81 h 104"/>
                <a:gd name="T2" fmla="*/ 82 w 82"/>
                <a:gd name="T3" fmla="*/ 104 h 104"/>
                <a:gd name="T4" fmla="*/ 0 w 82"/>
                <a:gd name="T5" fmla="*/ 104 h 104"/>
                <a:gd name="T6" fmla="*/ 0 w 82"/>
                <a:gd name="T7" fmla="*/ 81 h 104"/>
                <a:gd name="T8" fmla="*/ 0 w 82"/>
                <a:gd name="T9" fmla="*/ 0 h 104"/>
                <a:gd name="T10" fmla="*/ 0 w 82"/>
                <a:gd name="T11" fmla="*/ 0 h 104"/>
                <a:gd name="T12" fmla="*/ 9 w 82"/>
                <a:gd name="T13" fmla="*/ 0 h 104"/>
                <a:gd name="T14" fmla="*/ 17 w 82"/>
                <a:gd name="T15" fmla="*/ 1 h 104"/>
                <a:gd name="T16" fmla="*/ 25 w 82"/>
                <a:gd name="T17" fmla="*/ 3 h 104"/>
                <a:gd name="T18" fmla="*/ 32 w 82"/>
                <a:gd name="T19" fmla="*/ 6 h 104"/>
                <a:gd name="T20" fmla="*/ 39 w 82"/>
                <a:gd name="T21" fmla="*/ 9 h 104"/>
                <a:gd name="T22" fmla="*/ 47 w 82"/>
                <a:gd name="T23" fmla="*/ 13 h 104"/>
                <a:gd name="T24" fmla="*/ 53 w 82"/>
                <a:gd name="T25" fmla="*/ 18 h 104"/>
                <a:gd name="T26" fmla="*/ 58 w 82"/>
                <a:gd name="T27" fmla="*/ 24 h 104"/>
                <a:gd name="T28" fmla="*/ 64 w 82"/>
                <a:gd name="T29" fmla="*/ 29 h 104"/>
                <a:gd name="T30" fmla="*/ 69 w 82"/>
                <a:gd name="T31" fmla="*/ 35 h 104"/>
                <a:gd name="T32" fmla="*/ 72 w 82"/>
                <a:gd name="T33" fmla="*/ 42 h 104"/>
                <a:gd name="T34" fmla="*/ 76 w 82"/>
                <a:gd name="T35" fmla="*/ 50 h 104"/>
                <a:gd name="T36" fmla="*/ 78 w 82"/>
                <a:gd name="T37" fmla="*/ 57 h 104"/>
                <a:gd name="T38" fmla="*/ 81 w 82"/>
                <a:gd name="T39" fmla="*/ 64 h 104"/>
                <a:gd name="T40" fmla="*/ 82 w 82"/>
                <a:gd name="T41" fmla="*/ 73 h 104"/>
                <a:gd name="T42" fmla="*/ 82 w 82"/>
                <a:gd name="T43" fmla="*/ 81 h 104"/>
                <a:gd name="T44" fmla="*/ 82 w 82"/>
                <a:gd name="T45" fmla="*/ 8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2" h="104">
                  <a:moveTo>
                    <a:pt x="82" y="81"/>
                  </a:moveTo>
                  <a:lnTo>
                    <a:pt x="82" y="104"/>
                  </a:lnTo>
                  <a:lnTo>
                    <a:pt x="0" y="104"/>
                  </a:lnTo>
                  <a:lnTo>
                    <a:pt x="0" y="81"/>
                  </a:lnTo>
                  <a:lnTo>
                    <a:pt x="0" y="0"/>
                  </a:lnTo>
                  <a:lnTo>
                    <a:pt x="0" y="0"/>
                  </a:lnTo>
                  <a:lnTo>
                    <a:pt x="9" y="0"/>
                  </a:lnTo>
                  <a:lnTo>
                    <a:pt x="17" y="1"/>
                  </a:lnTo>
                  <a:lnTo>
                    <a:pt x="25" y="3"/>
                  </a:lnTo>
                  <a:lnTo>
                    <a:pt x="32" y="6"/>
                  </a:lnTo>
                  <a:lnTo>
                    <a:pt x="39" y="9"/>
                  </a:lnTo>
                  <a:lnTo>
                    <a:pt x="47" y="13"/>
                  </a:lnTo>
                  <a:lnTo>
                    <a:pt x="53" y="18"/>
                  </a:lnTo>
                  <a:lnTo>
                    <a:pt x="58" y="24"/>
                  </a:lnTo>
                  <a:lnTo>
                    <a:pt x="64" y="29"/>
                  </a:lnTo>
                  <a:lnTo>
                    <a:pt x="69" y="35"/>
                  </a:lnTo>
                  <a:lnTo>
                    <a:pt x="72" y="42"/>
                  </a:lnTo>
                  <a:lnTo>
                    <a:pt x="76" y="50"/>
                  </a:lnTo>
                  <a:lnTo>
                    <a:pt x="78" y="57"/>
                  </a:lnTo>
                  <a:lnTo>
                    <a:pt x="81" y="64"/>
                  </a:lnTo>
                  <a:lnTo>
                    <a:pt x="82" y="73"/>
                  </a:lnTo>
                  <a:lnTo>
                    <a:pt x="82" y="81"/>
                  </a:lnTo>
                  <a:lnTo>
                    <a:pt x="82"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7" name="Freeform 1053"/>
            <p:cNvSpPr>
              <a:spLocks/>
            </p:cNvSpPr>
            <p:nvPr/>
          </p:nvSpPr>
          <p:spPr bwMode="auto">
            <a:xfrm>
              <a:off x="5289608" y="2401901"/>
              <a:ext cx="26988" cy="44450"/>
            </a:xfrm>
            <a:custGeom>
              <a:avLst/>
              <a:gdLst>
                <a:gd name="T0" fmla="*/ 82 w 82"/>
                <a:gd name="T1" fmla="*/ 108 h 140"/>
                <a:gd name="T2" fmla="*/ 82 w 82"/>
                <a:gd name="T3" fmla="*/ 140 h 140"/>
                <a:gd name="T4" fmla="*/ 0 w 82"/>
                <a:gd name="T5" fmla="*/ 140 h 140"/>
                <a:gd name="T6" fmla="*/ 0 w 82"/>
                <a:gd name="T7" fmla="*/ 108 h 140"/>
                <a:gd name="T8" fmla="*/ 0 w 82"/>
                <a:gd name="T9" fmla="*/ 0 h 140"/>
                <a:gd name="T10" fmla="*/ 0 w 82"/>
                <a:gd name="T11" fmla="*/ 0 h 140"/>
                <a:gd name="T12" fmla="*/ 9 w 82"/>
                <a:gd name="T13" fmla="*/ 0 h 140"/>
                <a:gd name="T14" fmla="*/ 17 w 82"/>
                <a:gd name="T15" fmla="*/ 2 h 140"/>
                <a:gd name="T16" fmla="*/ 25 w 82"/>
                <a:gd name="T17" fmla="*/ 5 h 140"/>
                <a:gd name="T18" fmla="*/ 32 w 82"/>
                <a:gd name="T19" fmla="*/ 8 h 140"/>
                <a:gd name="T20" fmla="*/ 39 w 82"/>
                <a:gd name="T21" fmla="*/ 13 h 140"/>
                <a:gd name="T22" fmla="*/ 45 w 82"/>
                <a:gd name="T23" fmla="*/ 18 h 140"/>
                <a:gd name="T24" fmla="*/ 53 w 82"/>
                <a:gd name="T25" fmla="*/ 24 h 140"/>
                <a:gd name="T26" fmla="*/ 58 w 82"/>
                <a:gd name="T27" fmla="*/ 32 h 140"/>
                <a:gd name="T28" fmla="*/ 64 w 82"/>
                <a:gd name="T29" fmla="*/ 39 h 140"/>
                <a:gd name="T30" fmla="*/ 67 w 82"/>
                <a:gd name="T31" fmla="*/ 47 h 140"/>
                <a:gd name="T32" fmla="*/ 72 w 82"/>
                <a:gd name="T33" fmla="*/ 57 h 140"/>
                <a:gd name="T34" fmla="*/ 76 w 82"/>
                <a:gd name="T35" fmla="*/ 66 h 140"/>
                <a:gd name="T36" fmla="*/ 78 w 82"/>
                <a:gd name="T37" fmla="*/ 77 h 140"/>
                <a:gd name="T38" fmla="*/ 80 w 82"/>
                <a:gd name="T39" fmla="*/ 86 h 140"/>
                <a:gd name="T40" fmla="*/ 81 w 82"/>
                <a:gd name="T41" fmla="*/ 97 h 140"/>
                <a:gd name="T42" fmla="*/ 82 w 82"/>
                <a:gd name="T43" fmla="*/ 108 h 140"/>
                <a:gd name="T44" fmla="*/ 82 w 82"/>
                <a:gd name="T45" fmla="*/ 10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2" h="140">
                  <a:moveTo>
                    <a:pt x="82" y="108"/>
                  </a:moveTo>
                  <a:lnTo>
                    <a:pt x="82" y="140"/>
                  </a:lnTo>
                  <a:lnTo>
                    <a:pt x="0" y="140"/>
                  </a:lnTo>
                  <a:lnTo>
                    <a:pt x="0" y="108"/>
                  </a:lnTo>
                  <a:lnTo>
                    <a:pt x="0" y="0"/>
                  </a:lnTo>
                  <a:lnTo>
                    <a:pt x="0" y="0"/>
                  </a:lnTo>
                  <a:lnTo>
                    <a:pt x="9" y="0"/>
                  </a:lnTo>
                  <a:lnTo>
                    <a:pt x="17" y="2"/>
                  </a:lnTo>
                  <a:lnTo>
                    <a:pt x="25" y="5"/>
                  </a:lnTo>
                  <a:lnTo>
                    <a:pt x="32" y="8"/>
                  </a:lnTo>
                  <a:lnTo>
                    <a:pt x="39" y="13"/>
                  </a:lnTo>
                  <a:lnTo>
                    <a:pt x="45" y="18"/>
                  </a:lnTo>
                  <a:lnTo>
                    <a:pt x="53" y="24"/>
                  </a:lnTo>
                  <a:lnTo>
                    <a:pt x="58" y="32"/>
                  </a:lnTo>
                  <a:lnTo>
                    <a:pt x="64" y="39"/>
                  </a:lnTo>
                  <a:lnTo>
                    <a:pt x="67" y="47"/>
                  </a:lnTo>
                  <a:lnTo>
                    <a:pt x="72" y="57"/>
                  </a:lnTo>
                  <a:lnTo>
                    <a:pt x="76" y="66"/>
                  </a:lnTo>
                  <a:lnTo>
                    <a:pt x="78" y="77"/>
                  </a:lnTo>
                  <a:lnTo>
                    <a:pt x="80" y="86"/>
                  </a:lnTo>
                  <a:lnTo>
                    <a:pt x="81" y="97"/>
                  </a:lnTo>
                  <a:lnTo>
                    <a:pt x="82" y="108"/>
                  </a:lnTo>
                  <a:lnTo>
                    <a:pt x="82" y="10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8" name="Rectangle 1054"/>
            <p:cNvSpPr>
              <a:spLocks noChangeArrowheads="1"/>
            </p:cNvSpPr>
            <p:nvPr/>
          </p:nvSpPr>
          <p:spPr bwMode="auto">
            <a:xfrm>
              <a:off x="5272145" y="2397139"/>
              <a:ext cx="26988" cy="49213"/>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9" name="Rectangle 1055"/>
            <p:cNvSpPr>
              <a:spLocks noChangeArrowheads="1"/>
            </p:cNvSpPr>
            <p:nvPr/>
          </p:nvSpPr>
          <p:spPr bwMode="auto">
            <a:xfrm>
              <a:off x="5272145" y="2397139"/>
              <a:ext cx="26988" cy="49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0" name="Freeform 1056"/>
            <p:cNvSpPr>
              <a:spLocks/>
            </p:cNvSpPr>
            <p:nvPr/>
          </p:nvSpPr>
          <p:spPr bwMode="auto">
            <a:xfrm>
              <a:off x="5224520" y="2552715"/>
              <a:ext cx="57150" cy="90488"/>
            </a:xfrm>
            <a:custGeom>
              <a:avLst/>
              <a:gdLst>
                <a:gd name="T0" fmla="*/ 0 w 177"/>
                <a:gd name="T1" fmla="*/ 0 h 284"/>
                <a:gd name="T2" fmla="*/ 0 w 177"/>
                <a:gd name="T3" fmla="*/ 136 h 284"/>
                <a:gd name="T4" fmla="*/ 26 w 177"/>
                <a:gd name="T5" fmla="*/ 284 h 284"/>
                <a:gd name="T6" fmla="*/ 177 w 177"/>
                <a:gd name="T7" fmla="*/ 284 h 284"/>
                <a:gd name="T8" fmla="*/ 147 w 177"/>
                <a:gd name="T9" fmla="*/ 0 h 284"/>
                <a:gd name="T10" fmla="*/ 0 w 177"/>
                <a:gd name="T11" fmla="*/ 0 h 284"/>
              </a:gdLst>
              <a:ahLst/>
              <a:cxnLst>
                <a:cxn ang="0">
                  <a:pos x="T0" y="T1"/>
                </a:cxn>
                <a:cxn ang="0">
                  <a:pos x="T2" y="T3"/>
                </a:cxn>
                <a:cxn ang="0">
                  <a:pos x="T4" y="T5"/>
                </a:cxn>
                <a:cxn ang="0">
                  <a:pos x="T6" y="T7"/>
                </a:cxn>
                <a:cxn ang="0">
                  <a:pos x="T8" y="T9"/>
                </a:cxn>
                <a:cxn ang="0">
                  <a:pos x="T10" y="T11"/>
                </a:cxn>
              </a:cxnLst>
              <a:rect l="0" t="0" r="r" b="b"/>
              <a:pathLst>
                <a:path w="177" h="284">
                  <a:moveTo>
                    <a:pt x="0" y="0"/>
                  </a:moveTo>
                  <a:lnTo>
                    <a:pt x="0" y="136"/>
                  </a:lnTo>
                  <a:lnTo>
                    <a:pt x="26" y="284"/>
                  </a:lnTo>
                  <a:lnTo>
                    <a:pt x="177" y="284"/>
                  </a:lnTo>
                  <a:lnTo>
                    <a:pt x="147" y="0"/>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1" name="Freeform 1057"/>
            <p:cNvSpPr>
              <a:spLocks/>
            </p:cNvSpPr>
            <p:nvPr/>
          </p:nvSpPr>
          <p:spPr bwMode="auto">
            <a:xfrm>
              <a:off x="5224520" y="2552715"/>
              <a:ext cx="57150" cy="90488"/>
            </a:xfrm>
            <a:custGeom>
              <a:avLst/>
              <a:gdLst>
                <a:gd name="T0" fmla="*/ 0 w 177"/>
                <a:gd name="T1" fmla="*/ 0 h 284"/>
                <a:gd name="T2" fmla="*/ 0 w 177"/>
                <a:gd name="T3" fmla="*/ 136 h 284"/>
                <a:gd name="T4" fmla="*/ 26 w 177"/>
                <a:gd name="T5" fmla="*/ 284 h 284"/>
                <a:gd name="T6" fmla="*/ 177 w 177"/>
                <a:gd name="T7" fmla="*/ 284 h 284"/>
                <a:gd name="T8" fmla="*/ 147 w 177"/>
                <a:gd name="T9" fmla="*/ 0 h 284"/>
                <a:gd name="T10" fmla="*/ 0 w 177"/>
                <a:gd name="T11" fmla="*/ 0 h 284"/>
              </a:gdLst>
              <a:ahLst/>
              <a:cxnLst>
                <a:cxn ang="0">
                  <a:pos x="T0" y="T1"/>
                </a:cxn>
                <a:cxn ang="0">
                  <a:pos x="T2" y="T3"/>
                </a:cxn>
                <a:cxn ang="0">
                  <a:pos x="T4" y="T5"/>
                </a:cxn>
                <a:cxn ang="0">
                  <a:pos x="T6" y="T7"/>
                </a:cxn>
                <a:cxn ang="0">
                  <a:pos x="T8" y="T9"/>
                </a:cxn>
                <a:cxn ang="0">
                  <a:pos x="T10" y="T11"/>
                </a:cxn>
              </a:cxnLst>
              <a:rect l="0" t="0" r="r" b="b"/>
              <a:pathLst>
                <a:path w="177" h="284">
                  <a:moveTo>
                    <a:pt x="0" y="0"/>
                  </a:moveTo>
                  <a:lnTo>
                    <a:pt x="0" y="136"/>
                  </a:lnTo>
                  <a:lnTo>
                    <a:pt x="26" y="284"/>
                  </a:lnTo>
                  <a:lnTo>
                    <a:pt x="177" y="284"/>
                  </a:lnTo>
                  <a:lnTo>
                    <a:pt x="147"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2" name="Freeform 1058"/>
            <p:cNvSpPr>
              <a:spLocks/>
            </p:cNvSpPr>
            <p:nvPr/>
          </p:nvSpPr>
          <p:spPr bwMode="auto">
            <a:xfrm>
              <a:off x="5295958" y="2427302"/>
              <a:ext cx="20638" cy="107951"/>
            </a:xfrm>
            <a:custGeom>
              <a:avLst/>
              <a:gdLst>
                <a:gd name="T0" fmla="*/ 62 w 62"/>
                <a:gd name="T1" fmla="*/ 343 h 343"/>
                <a:gd name="T2" fmla="*/ 62 w 62"/>
                <a:gd name="T3" fmla="*/ 61 h 343"/>
                <a:gd name="T4" fmla="*/ 62 w 62"/>
                <a:gd name="T5" fmla="*/ 61 h 343"/>
                <a:gd name="T6" fmla="*/ 61 w 62"/>
                <a:gd name="T7" fmla="*/ 49 h 343"/>
                <a:gd name="T8" fmla="*/ 57 w 62"/>
                <a:gd name="T9" fmla="*/ 38 h 343"/>
                <a:gd name="T10" fmla="*/ 51 w 62"/>
                <a:gd name="T11" fmla="*/ 27 h 343"/>
                <a:gd name="T12" fmla="*/ 44 w 62"/>
                <a:gd name="T13" fmla="*/ 17 h 343"/>
                <a:gd name="T14" fmla="*/ 34 w 62"/>
                <a:gd name="T15" fmla="*/ 10 h 343"/>
                <a:gd name="T16" fmla="*/ 24 w 62"/>
                <a:gd name="T17" fmla="*/ 5 h 343"/>
                <a:gd name="T18" fmla="*/ 12 w 62"/>
                <a:gd name="T19" fmla="*/ 2 h 343"/>
                <a:gd name="T20" fmla="*/ 0 w 62"/>
                <a:gd name="T21" fmla="*/ 0 h 343"/>
                <a:gd name="T22" fmla="*/ 0 w 62"/>
                <a:gd name="T23" fmla="*/ 343 h 343"/>
                <a:gd name="T24" fmla="*/ 62 w 62"/>
                <a:gd name="T25"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43">
                  <a:moveTo>
                    <a:pt x="62" y="343"/>
                  </a:moveTo>
                  <a:lnTo>
                    <a:pt x="62" y="61"/>
                  </a:lnTo>
                  <a:lnTo>
                    <a:pt x="62" y="61"/>
                  </a:lnTo>
                  <a:lnTo>
                    <a:pt x="61" y="49"/>
                  </a:lnTo>
                  <a:lnTo>
                    <a:pt x="57" y="38"/>
                  </a:lnTo>
                  <a:lnTo>
                    <a:pt x="51" y="27"/>
                  </a:lnTo>
                  <a:lnTo>
                    <a:pt x="44" y="17"/>
                  </a:lnTo>
                  <a:lnTo>
                    <a:pt x="34" y="10"/>
                  </a:lnTo>
                  <a:lnTo>
                    <a:pt x="24" y="5"/>
                  </a:lnTo>
                  <a:lnTo>
                    <a:pt x="12" y="2"/>
                  </a:lnTo>
                  <a:lnTo>
                    <a:pt x="0" y="0"/>
                  </a:lnTo>
                  <a:lnTo>
                    <a:pt x="0" y="343"/>
                  </a:lnTo>
                  <a:lnTo>
                    <a:pt x="62" y="343"/>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3" name="Freeform 1059"/>
            <p:cNvSpPr>
              <a:spLocks/>
            </p:cNvSpPr>
            <p:nvPr/>
          </p:nvSpPr>
          <p:spPr bwMode="auto">
            <a:xfrm>
              <a:off x="5295958" y="2427302"/>
              <a:ext cx="20638" cy="107951"/>
            </a:xfrm>
            <a:custGeom>
              <a:avLst/>
              <a:gdLst>
                <a:gd name="T0" fmla="*/ 62 w 62"/>
                <a:gd name="T1" fmla="*/ 343 h 343"/>
                <a:gd name="T2" fmla="*/ 62 w 62"/>
                <a:gd name="T3" fmla="*/ 61 h 343"/>
                <a:gd name="T4" fmla="*/ 62 w 62"/>
                <a:gd name="T5" fmla="*/ 61 h 343"/>
                <a:gd name="T6" fmla="*/ 61 w 62"/>
                <a:gd name="T7" fmla="*/ 49 h 343"/>
                <a:gd name="T8" fmla="*/ 57 w 62"/>
                <a:gd name="T9" fmla="*/ 38 h 343"/>
                <a:gd name="T10" fmla="*/ 51 w 62"/>
                <a:gd name="T11" fmla="*/ 27 h 343"/>
                <a:gd name="T12" fmla="*/ 44 w 62"/>
                <a:gd name="T13" fmla="*/ 17 h 343"/>
                <a:gd name="T14" fmla="*/ 34 w 62"/>
                <a:gd name="T15" fmla="*/ 10 h 343"/>
                <a:gd name="T16" fmla="*/ 24 w 62"/>
                <a:gd name="T17" fmla="*/ 5 h 343"/>
                <a:gd name="T18" fmla="*/ 12 w 62"/>
                <a:gd name="T19" fmla="*/ 2 h 343"/>
                <a:gd name="T20" fmla="*/ 0 w 62"/>
                <a:gd name="T21" fmla="*/ 0 h 343"/>
                <a:gd name="T22" fmla="*/ 0 w 62"/>
                <a:gd name="T23" fmla="*/ 343 h 343"/>
                <a:gd name="T24" fmla="*/ 62 w 62"/>
                <a:gd name="T25"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43">
                  <a:moveTo>
                    <a:pt x="62" y="343"/>
                  </a:moveTo>
                  <a:lnTo>
                    <a:pt x="62" y="61"/>
                  </a:lnTo>
                  <a:lnTo>
                    <a:pt x="62" y="61"/>
                  </a:lnTo>
                  <a:lnTo>
                    <a:pt x="61" y="49"/>
                  </a:lnTo>
                  <a:lnTo>
                    <a:pt x="57" y="38"/>
                  </a:lnTo>
                  <a:lnTo>
                    <a:pt x="51" y="27"/>
                  </a:lnTo>
                  <a:lnTo>
                    <a:pt x="44" y="17"/>
                  </a:lnTo>
                  <a:lnTo>
                    <a:pt x="34" y="10"/>
                  </a:lnTo>
                  <a:lnTo>
                    <a:pt x="24" y="5"/>
                  </a:lnTo>
                  <a:lnTo>
                    <a:pt x="12" y="2"/>
                  </a:lnTo>
                  <a:lnTo>
                    <a:pt x="0" y="0"/>
                  </a:lnTo>
                  <a:lnTo>
                    <a:pt x="0" y="343"/>
                  </a:lnTo>
                  <a:lnTo>
                    <a:pt x="62" y="34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4" name="Freeform 1060"/>
            <p:cNvSpPr>
              <a:spLocks/>
            </p:cNvSpPr>
            <p:nvPr/>
          </p:nvSpPr>
          <p:spPr bwMode="auto">
            <a:xfrm>
              <a:off x="5276908" y="2427302"/>
              <a:ext cx="19050" cy="107951"/>
            </a:xfrm>
            <a:custGeom>
              <a:avLst/>
              <a:gdLst>
                <a:gd name="T0" fmla="*/ 62 w 62"/>
                <a:gd name="T1" fmla="*/ 343 h 343"/>
                <a:gd name="T2" fmla="*/ 62 w 62"/>
                <a:gd name="T3" fmla="*/ 0 h 343"/>
                <a:gd name="T4" fmla="*/ 62 w 62"/>
                <a:gd name="T5" fmla="*/ 0 h 343"/>
                <a:gd name="T6" fmla="*/ 50 w 62"/>
                <a:gd name="T7" fmla="*/ 2 h 343"/>
                <a:gd name="T8" fmla="*/ 37 w 62"/>
                <a:gd name="T9" fmla="*/ 5 h 343"/>
                <a:gd name="T10" fmla="*/ 28 w 62"/>
                <a:gd name="T11" fmla="*/ 10 h 343"/>
                <a:gd name="T12" fmla="*/ 18 w 62"/>
                <a:gd name="T13" fmla="*/ 17 h 343"/>
                <a:gd name="T14" fmla="*/ 11 w 62"/>
                <a:gd name="T15" fmla="*/ 27 h 343"/>
                <a:gd name="T16" fmla="*/ 4 w 62"/>
                <a:gd name="T17" fmla="*/ 38 h 343"/>
                <a:gd name="T18" fmla="*/ 1 w 62"/>
                <a:gd name="T19" fmla="*/ 49 h 343"/>
                <a:gd name="T20" fmla="*/ 0 w 62"/>
                <a:gd name="T21" fmla="*/ 61 h 343"/>
                <a:gd name="T22" fmla="*/ 0 w 62"/>
                <a:gd name="T23" fmla="*/ 343 h 343"/>
                <a:gd name="T24" fmla="*/ 62 w 62"/>
                <a:gd name="T25"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43">
                  <a:moveTo>
                    <a:pt x="62" y="343"/>
                  </a:moveTo>
                  <a:lnTo>
                    <a:pt x="62" y="0"/>
                  </a:lnTo>
                  <a:lnTo>
                    <a:pt x="62" y="0"/>
                  </a:lnTo>
                  <a:lnTo>
                    <a:pt x="50" y="2"/>
                  </a:lnTo>
                  <a:lnTo>
                    <a:pt x="37" y="5"/>
                  </a:lnTo>
                  <a:lnTo>
                    <a:pt x="28" y="10"/>
                  </a:lnTo>
                  <a:lnTo>
                    <a:pt x="18" y="17"/>
                  </a:lnTo>
                  <a:lnTo>
                    <a:pt x="11" y="27"/>
                  </a:lnTo>
                  <a:lnTo>
                    <a:pt x="4" y="38"/>
                  </a:lnTo>
                  <a:lnTo>
                    <a:pt x="1" y="49"/>
                  </a:lnTo>
                  <a:lnTo>
                    <a:pt x="0" y="61"/>
                  </a:lnTo>
                  <a:lnTo>
                    <a:pt x="0" y="343"/>
                  </a:lnTo>
                  <a:lnTo>
                    <a:pt x="62"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5" name="Freeform 1061"/>
            <p:cNvSpPr>
              <a:spLocks/>
            </p:cNvSpPr>
            <p:nvPr/>
          </p:nvSpPr>
          <p:spPr bwMode="auto">
            <a:xfrm>
              <a:off x="5276908" y="2427302"/>
              <a:ext cx="19050" cy="107951"/>
            </a:xfrm>
            <a:custGeom>
              <a:avLst/>
              <a:gdLst>
                <a:gd name="T0" fmla="*/ 62 w 62"/>
                <a:gd name="T1" fmla="*/ 343 h 343"/>
                <a:gd name="T2" fmla="*/ 62 w 62"/>
                <a:gd name="T3" fmla="*/ 0 h 343"/>
                <a:gd name="T4" fmla="*/ 62 w 62"/>
                <a:gd name="T5" fmla="*/ 0 h 343"/>
                <a:gd name="T6" fmla="*/ 50 w 62"/>
                <a:gd name="T7" fmla="*/ 2 h 343"/>
                <a:gd name="T8" fmla="*/ 37 w 62"/>
                <a:gd name="T9" fmla="*/ 5 h 343"/>
                <a:gd name="T10" fmla="*/ 28 w 62"/>
                <a:gd name="T11" fmla="*/ 10 h 343"/>
                <a:gd name="T12" fmla="*/ 18 w 62"/>
                <a:gd name="T13" fmla="*/ 17 h 343"/>
                <a:gd name="T14" fmla="*/ 11 w 62"/>
                <a:gd name="T15" fmla="*/ 27 h 343"/>
                <a:gd name="T16" fmla="*/ 4 w 62"/>
                <a:gd name="T17" fmla="*/ 38 h 343"/>
                <a:gd name="T18" fmla="*/ 1 w 62"/>
                <a:gd name="T19" fmla="*/ 49 h 343"/>
                <a:gd name="T20" fmla="*/ 0 w 62"/>
                <a:gd name="T21" fmla="*/ 61 h 343"/>
                <a:gd name="T22" fmla="*/ 0 w 62"/>
                <a:gd name="T23" fmla="*/ 343 h 343"/>
                <a:gd name="T24" fmla="*/ 62 w 62"/>
                <a:gd name="T25"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43">
                  <a:moveTo>
                    <a:pt x="62" y="343"/>
                  </a:moveTo>
                  <a:lnTo>
                    <a:pt x="62" y="0"/>
                  </a:lnTo>
                  <a:lnTo>
                    <a:pt x="62" y="0"/>
                  </a:lnTo>
                  <a:lnTo>
                    <a:pt x="50" y="2"/>
                  </a:lnTo>
                  <a:lnTo>
                    <a:pt x="37" y="5"/>
                  </a:lnTo>
                  <a:lnTo>
                    <a:pt x="28" y="10"/>
                  </a:lnTo>
                  <a:lnTo>
                    <a:pt x="18" y="17"/>
                  </a:lnTo>
                  <a:lnTo>
                    <a:pt x="11" y="27"/>
                  </a:lnTo>
                  <a:lnTo>
                    <a:pt x="4" y="38"/>
                  </a:lnTo>
                  <a:lnTo>
                    <a:pt x="1" y="49"/>
                  </a:lnTo>
                  <a:lnTo>
                    <a:pt x="0" y="61"/>
                  </a:lnTo>
                  <a:lnTo>
                    <a:pt x="0" y="343"/>
                  </a:lnTo>
                  <a:lnTo>
                    <a:pt x="62" y="34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6" name="Rectangle 1062"/>
            <p:cNvSpPr>
              <a:spLocks noChangeArrowheads="1"/>
            </p:cNvSpPr>
            <p:nvPr/>
          </p:nvSpPr>
          <p:spPr bwMode="auto">
            <a:xfrm>
              <a:off x="5276908" y="2535253"/>
              <a:ext cx="19050" cy="50800"/>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7" name="Rectangle 1063"/>
            <p:cNvSpPr>
              <a:spLocks noChangeArrowheads="1"/>
            </p:cNvSpPr>
            <p:nvPr/>
          </p:nvSpPr>
          <p:spPr bwMode="auto">
            <a:xfrm>
              <a:off x="5276908" y="2535253"/>
              <a:ext cx="19050" cy="5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8" name="Rectangle 1064"/>
            <p:cNvSpPr>
              <a:spLocks noChangeArrowheads="1"/>
            </p:cNvSpPr>
            <p:nvPr/>
          </p:nvSpPr>
          <p:spPr bwMode="auto">
            <a:xfrm>
              <a:off x="5295958" y="2535253"/>
              <a:ext cx="20638" cy="50800"/>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9" name="Rectangle 1065"/>
            <p:cNvSpPr>
              <a:spLocks noChangeArrowheads="1"/>
            </p:cNvSpPr>
            <p:nvPr/>
          </p:nvSpPr>
          <p:spPr bwMode="auto">
            <a:xfrm>
              <a:off x="5295958" y="2535253"/>
              <a:ext cx="20638" cy="5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0" name="Freeform 1066"/>
            <p:cNvSpPr>
              <a:spLocks/>
            </p:cNvSpPr>
            <p:nvPr/>
          </p:nvSpPr>
          <p:spPr bwMode="auto">
            <a:xfrm>
              <a:off x="5295958" y="2568590"/>
              <a:ext cx="26988" cy="26988"/>
            </a:xfrm>
            <a:custGeom>
              <a:avLst/>
              <a:gdLst>
                <a:gd name="T0" fmla="*/ 84 w 84"/>
                <a:gd name="T1" fmla="*/ 84 h 84"/>
                <a:gd name="T2" fmla="*/ 84 w 84"/>
                <a:gd name="T3" fmla="*/ 84 h 84"/>
                <a:gd name="T4" fmla="*/ 83 w 84"/>
                <a:gd name="T5" fmla="*/ 76 h 84"/>
                <a:gd name="T6" fmla="*/ 81 w 84"/>
                <a:gd name="T7" fmla="*/ 67 h 84"/>
                <a:gd name="T8" fmla="*/ 80 w 84"/>
                <a:gd name="T9" fmla="*/ 58 h 84"/>
                <a:gd name="T10" fmla="*/ 77 w 84"/>
                <a:gd name="T11" fmla="*/ 51 h 84"/>
                <a:gd name="T12" fmla="*/ 73 w 84"/>
                <a:gd name="T13" fmla="*/ 44 h 84"/>
                <a:gd name="T14" fmla="*/ 69 w 84"/>
                <a:gd name="T15" fmla="*/ 37 h 84"/>
                <a:gd name="T16" fmla="*/ 64 w 84"/>
                <a:gd name="T17" fmla="*/ 30 h 84"/>
                <a:gd name="T18" fmla="*/ 60 w 84"/>
                <a:gd name="T19" fmla="*/ 24 h 84"/>
                <a:gd name="T20" fmla="*/ 53 w 84"/>
                <a:gd name="T21" fmla="*/ 19 h 84"/>
                <a:gd name="T22" fmla="*/ 46 w 84"/>
                <a:gd name="T23" fmla="*/ 15 h 84"/>
                <a:gd name="T24" fmla="*/ 40 w 84"/>
                <a:gd name="T25" fmla="*/ 10 h 84"/>
                <a:gd name="T26" fmla="*/ 33 w 84"/>
                <a:gd name="T27" fmla="*/ 6 h 84"/>
                <a:gd name="T28" fmla="*/ 24 w 84"/>
                <a:gd name="T29" fmla="*/ 4 h 84"/>
                <a:gd name="T30" fmla="*/ 17 w 84"/>
                <a:gd name="T31" fmla="*/ 1 h 84"/>
                <a:gd name="T32" fmla="*/ 8 w 84"/>
                <a:gd name="T33" fmla="*/ 0 h 84"/>
                <a:gd name="T34" fmla="*/ 0 w 84"/>
                <a:gd name="T35" fmla="*/ 0 h 84"/>
                <a:gd name="T36" fmla="*/ 0 w 84"/>
                <a:gd name="T37" fmla="*/ 84 h 84"/>
                <a:gd name="T38" fmla="*/ 84 w 84"/>
                <a:gd name="T3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4" h="84">
                  <a:moveTo>
                    <a:pt x="84" y="84"/>
                  </a:moveTo>
                  <a:lnTo>
                    <a:pt x="84" y="84"/>
                  </a:lnTo>
                  <a:lnTo>
                    <a:pt x="83" y="76"/>
                  </a:lnTo>
                  <a:lnTo>
                    <a:pt x="81" y="67"/>
                  </a:lnTo>
                  <a:lnTo>
                    <a:pt x="80" y="58"/>
                  </a:lnTo>
                  <a:lnTo>
                    <a:pt x="77" y="51"/>
                  </a:lnTo>
                  <a:lnTo>
                    <a:pt x="73" y="44"/>
                  </a:lnTo>
                  <a:lnTo>
                    <a:pt x="69" y="37"/>
                  </a:lnTo>
                  <a:lnTo>
                    <a:pt x="64" y="30"/>
                  </a:lnTo>
                  <a:lnTo>
                    <a:pt x="60" y="24"/>
                  </a:lnTo>
                  <a:lnTo>
                    <a:pt x="53" y="19"/>
                  </a:lnTo>
                  <a:lnTo>
                    <a:pt x="46" y="15"/>
                  </a:lnTo>
                  <a:lnTo>
                    <a:pt x="40" y="10"/>
                  </a:lnTo>
                  <a:lnTo>
                    <a:pt x="33" y="6"/>
                  </a:lnTo>
                  <a:lnTo>
                    <a:pt x="24" y="4"/>
                  </a:lnTo>
                  <a:lnTo>
                    <a:pt x="17" y="1"/>
                  </a:lnTo>
                  <a:lnTo>
                    <a:pt x="8" y="0"/>
                  </a:lnTo>
                  <a:lnTo>
                    <a:pt x="0" y="0"/>
                  </a:lnTo>
                  <a:lnTo>
                    <a:pt x="0" y="84"/>
                  </a:lnTo>
                  <a:lnTo>
                    <a:pt x="84" y="84"/>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1" name="Freeform 1067"/>
            <p:cNvSpPr>
              <a:spLocks/>
            </p:cNvSpPr>
            <p:nvPr/>
          </p:nvSpPr>
          <p:spPr bwMode="auto">
            <a:xfrm>
              <a:off x="5270558" y="2568590"/>
              <a:ext cx="25400" cy="26988"/>
            </a:xfrm>
            <a:custGeom>
              <a:avLst/>
              <a:gdLst>
                <a:gd name="T0" fmla="*/ 83 w 83"/>
                <a:gd name="T1" fmla="*/ 0 h 84"/>
                <a:gd name="T2" fmla="*/ 83 w 83"/>
                <a:gd name="T3" fmla="*/ 0 h 84"/>
                <a:gd name="T4" fmla="*/ 74 w 83"/>
                <a:gd name="T5" fmla="*/ 0 h 84"/>
                <a:gd name="T6" fmla="*/ 66 w 83"/>
                <a:gd name="T7" fmla="*/ 1 h 84"/>
                <a:gd name="T8" fmla="*/ 58 w 83"/>
                <a:gd name="T9" fmla="*/ 4 h 84"/>
                <a:gd name="T10" fmla="*/ 50 w 83"/>
                <a:gd name="T11" fmla="*/ 6 h 84"/>
                <a:gd name="T12" fmla="*/ 43 w 83"/>
                <a:gd name="T13" fmla="*/ 10 h 84"/>
                <a:gd name="T14" fmla="*/ 36 w 83"/>
                <a:gd name="T15" fmla="*/ 15 h 84"/>
                <a:gd name="T16" fmla="*/ 29 w 83"/>
                <a:gd name="T17" fmla="*/ 19 h 84"/>
                <a:gd name="T18" fmla="*/ 24 w 83"/>
                <a:gd name="T19" fmla="*/ 24 h 84"/>
                <a:gd name="T20" fmla="*/ 18 w 83"/>
                <a:gd name="T21" fmla="*/ 30 h 84"/>
                <a:gd name="T22" fmla="*/ 13 w 83"/>
                <a:gd name="T23" fmla="*/ 37 h 84"/>
                <a:gd name="T24" fmla="*/ 10 w 83"/>
                <a:gd name="T25" fmla="*/ 44 h 84"/>
                <a:gd name="T26" fmla="*/ 6 w 83"/>
                <a:gd name="T27" fmla="*/ 51 h 84"/>
                <a:gd name="T28" fmla="*/ 4 w 83"/>
                <a:gd name="T29" fmla="*/ 58 h 84"/>
                <a:gd name="T30" fmla="*/ 1 w 83"/>
                <a:gd name="T31" fmla="*/ 67 h 84"/>
                <a:gd name="T32" fmla="*/ 0 w 83"/>
                <a:gd name="T33" fmla="*/ 76 h 84"/>
                <a:gd name="T34" fmla="*/ 0 w 83"/>
                <a:gd name="T35" fmla="*/ 84 h 84"/>
                <a:gd name="T36" fmla="*/ 83 w 83"/>
                <a:gd name="T37" fmla="*/ 84 h 84"/>
                <a:gd name="T38" fmla="*/ 83 w 83"/>
                <a:gd name="T39"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 h="84">
                  <a:moveTo>
                    <a:pt x="83" y="0"/>
                  </a:moveTo>
                  <a:lnTo>
                    <a:pt x="83" y="0"/>
                  </a:lnTo>
                  <a:lnTo>
                    <a:pt x="74" y="0"/>
                  </a:lnTo>
                  <a:lnTo>
                    <a:pt x="66" y="1"/>
                  </a:lnTo>
                  <a:lnTo>
                    <a:pt x="58" y="4"/>
                  </a:lnTo>
                  <a:lnTo>
                    <a:pt x="50" y="6"/>
                  </a:lnTo>
                  <a:lnTo>
                    <a:pt x="43" y="10"/>
                  </a:lnTo>
                  <a:lnTo>
                    <a:pt x="36" y="15"/>
                  </a:lnTo>
                  <a:lnTo>
                    <a:pt x="29" y="19"/>
                  </a:lnTo>
                  <a:lnTo>
                    <a:pt x="24" y="24"/>
                  </a:lnTo>
                  <a:lnTo>
                    <a:pt x="18" y="30"/>
                  </a:lnTo>
                  <a:lnTo>
                    <a:pt x="13" y="37"/>
                  </a:lnTo>
                  <a:lnTo>
                    <a:pt x="10" y="44"/>
                  </a:lnTo>
                  <a:lnTo>
                    <a:pt x="6" y="51"/>
                  </a:lnTo>
                  <a:lnTo>
                    <a:pt x="4" y="58"/>
                  </a:lnTo>
                  <a:lnTo>
                    <a:pt x="1" y="67"/>
                  </a:lnTo>
                  <a:lnTo>
                    <a:pt x="0" y="76"/>
                  </a:lnTo>
                  <a:lnTo>
                    <a:pt x="0" y="84"/>
                  </a:lnTo>
                  <a:lnTo>
                    <a:pt x="83" y="84"/>
                  </a:lnTo>
                  <a:lnTo>
                    <a:pt x="8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2" name="Freeform 1068"/>
            <p:cNvSpPr>
              <a:spLocks/>
            </p:cNvSpPr>
            <p:nvPr/>
          </p:nvSpPr>
          <p:spPr bwMode="auto">
            <a:xfrm>
              <a:off x="5270558" y="2595578"/>
              <a:ext cx="25400" cy="26988"/>
            </a:xfrm>
            <a:custGeom>
              <a:avLst/>
              <a:gdLst>
                <a:gd name="T0" fmla="*/ 0 w 83"/>
                <a:gd name="T1" fmla="*/ 0 h 83"/>
                <a:gd name="T2" fmla="*/ 0 w 83"/>
                <a:gd name="T3" fmla="*/ 0 h 83"/>
                <a:gd name="T4" fmla="*/ 0 w 83"/>
                <a:gd name="T5" fmla="*/ 9 h 83"/>
                <a:gd name="T6" fmla="*/ 1 w 83"/>
                <a:gd name="T7" fmla="*/ 16 h 83"/>
                <a:gd name="T8" fmla="*/ 4 w 83"/>
                <a:gd name="T9" fmla="*/ 24 h 83"/>
                <a:gd name="T10" fmla="*/ 6 w 83"/>
                <a:gd name="T11" fmla="*/ 32 h 83"/>
                <a:gd name="T12" fmla="*/ 10 w 83"/>
                <a:gd name="T13" fmla="*/ 39 h 83"/>
                <a:gd name="T14" fmla="*/ 13 w 83"/>
                <a:gd name="T15" fmla="*/ 46 h 83"/>
                <a:gd name="T16" fmla="*/ 18 w 83"/>
                <a:gd name="T17" fmla="*/ 52 h 83"/>
                <a:gd name="T18" fmla="*/ 24 w 83"/>
                <a:gd name="T19" fmla="*/ 59 h 83"/>
                <a:gd name="T20" fmla="*/ 29 w 83"/>
                <a:gd name="T21" fmla="*/ 65 h 83"/>
                <a:gd name="T22" fmla="*/ 36 w 83"/>
                <a:gd name="T23" fmla="*/ 68 h 83"/>
                <a:gd name="T24" fmla="*/ 43 w 83"/>
                <a:gd name="T25" fmla="*/ 73 h 83"/>
                <a:gd name="T26" fmla="*/ 50 w 83"/>
                <a:gd name="T27" fmla="*/ 77 h 83"/>
                <a:gd name="T28" fmla="*/ 58 w 83"/>
                <a:gd name="T29" fmla="*/ 79 h 83"/>
                <a:gd name="T30" fmla="*/ 66 w 83"/>
                <a:gd name="T31" fmla="*/ 82 h 83"/>
                <a:gd name="T32" fmla="*/ 74 w 83"/>
                <a:gd name="T33" fmla="*/ 83 h 83"/>
                <a:gd name="T34" fmla="*/ 83 w 83"/>
                <a:gd name="T35" fmla="*/ 83 h 83"/>
                <a:gd name="T36" fmla="*/ 83 w 83"/>
                <a:gd name="T37" fmla="*/ 0 h 83"/>
                <a:gd name="T38" fmla="*/ 0 w 83"/>
                <a:gd name="T39"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 h="83">
                  <a:moveTo>
                    <a:pt x="0" y="0"/>
                  </a:moveTo>
                  <a:lnTo>
                    <a:pt x="0" y="0"/>
                  </a:lnTo>
                  <a:lnTo>
                    <a:pt x="0" y="9"/>
                  </a:lnTo>
                  <a:lnTo>
                    <a:pt x="1" y="16"/>
                  </a:lnTo>
                  <a:lnTo>
                    <a:pt x="4" y="24"/>
                  </a:lnTo>
                  <a:lnTo>
                    <a:pt x="6" y="32"/>
                  </a:lnTo>
                  <a:lnTo>
                    <a:pt x="10" y="39"/>
                  </a:lnTo>
                  <a:lnTo>
                    <a:pt x="13" y="46"/>
                  </a:lnTo>
                  <a:lnTo>
                    <a:pt x="18" y="52"/>
                  </a:lnTo>
                  <a:lnTo>
                    <a:pt x="24" y="59"/>
                  </a:lnTo>
                  <a:lnTo>
                    <a:pt x="29" y="65"/>
                  </a:lnTo>
                  <a:lnTo>
                    <a:pt x="36" y="68"/>
                  </a:lnTo>
                  <a:lnTo>
                    <a:pt x="43" y="73"/>
                  </a:lnTo>
                  <a:lnTo>
                    <a:pt x="50" y="77"/>
                  </a:lnTo>
                  <a:lnTo>
                    <a:pt x="58" y="79"/>
                  </a:lnTo>
                  <a:lnTo>
                    <a:pt x="66" y="82"/>
                  </a:lnTo>
                  <a:lnTo>
                    <a:pt x="74" y="83"/>
                  </a:lnTo>
                  <a:lnTo>
                    <a:pt x="83" y="83"/>
                  </a:lnTo>
                  <a:lnTo>
                    <a:pt x="83" y="0"/>
                  </a:lnTo>
                  <a:lnTo>
                    <a:pt x="0" y="0"/>
                  </a:lnTo>
                  <a:close/>
                </a:path>
              </a:pathLst>
            </a:custGeom>
            <a:solidFill>
              <a:srgbClr val="A5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3" name="Freeform 1069"/>
            <p:cNvSpPr>
              <a:spLocks/>
            </p:cNvSpPr>
            <p:nvPr/>
          </p:nvSpPr>
          <p:spPr bwMode="auto">
            <a:xfrm>
              <a:off x="5295958" y="2595578"/>
              <a:ext cx="26988" cy="26988"/>
            </a:xfrm>
            <a:custGeom>
              <a:avLst/>
              <a:gdLst>
                <a:gd name="T0" fmla="*/ 0 w 84"/>
                <a:gd name="T1" fmla="*/ 0 h 83"/>
                <a:gd name="T2" fmla="*/ 0 w 84"/>
                <a:gd name="T3" fmla="*/ 83 h 83"/>
                <a:gd name="T4" fmla="*/ 0 w 84"/>
                <a:gd name="T5" fmla="*/ 83 h 83"/>
                <a:gd name="T6" fmla="*/ 8 w 84"/>
                <a:gd name="T7" fmla="*/ 83 h 83"/>
                <a:gd name="T8" fmla="*/ 17 w 84"/>
                <a:gd name="T9" fmla="*/ 82 h 83"/>
                <a:gd name="T10" fmla="*/ 24 w 84"/>
                <a:gd name="T11" fmla="*/ 79 h 83"/>
                <a:gd name="T12" fmla="*/ 33 w 84"/>
                <a:gd name="T13" fmla="*/ 77 h 83"/>
                <a:gd name="T14" fmla="*/ 40 w 84"/>
                <a:gd name="T15" fmla="*/ 73 h 83"/>
                <a:gd name="T16" fmla="*/ 46 w 84"/>
                <a:gd name="T17" fmla="*/ 68 h 83"/>
                <a:gd name="T18" fmla="*/ 53 w 84"/>
                <a:gd name="T19" fmla="*/ 65 h 83"/>
                <a:gd name="T20" fmla="*/ 60 w 84"/>
                <a:gd name="T21" fmla="*/ 59 h 83"/>
                <a:gd name="T22" fmla="*/ 64 w 84"/>
                <a:gd name="T23" fmla="*/ 52 h 83"/>
                <a:gd name="T24" fmla="*/ 69 w 84"/>
                <a:gd name="T25" fmla="*/ 46 h 83"/>
                <a:gd name="T26" fmla="*/ 73 w 84"/>
                <a:gd name="T27" fmla="*/ 39 h 83"/>
                <a:gd name="T28" fmla="*/ 77 w 84"/>
                <a:gd name="T29" fmla="*/ 32 h 83"/>
                <a:gd name="T30" fmla="*/ 80 w 84"/>
                <a:gd name="T31" fmla="*/ 24 h 83"/>
                <a:gd name="T32" fmla="*/ 81 w 84"/>
                <a:gd name="T33" fmla="*/ 16 h 83"/>
                <a:gd name="T34" fmla="*/ 83 w 84"/>
                <a:gd name="T35" fmla="*/ 9 h 83"/>
                <a:gd name="T36" fmla="*/ 84 w 84"/>
                <a:gd name="T37" fmla="*/ 0 h 83"/>
                <a:gd name="T38" fmla="*/ 0 w 84"/>
                <a:gd name="T39"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4" h="83">
                  <a:moveTo>
                    <a:pt x="0" y="0"/>
                  </a:moveTo>
                  <a:lnTo>
                    <a:pt x="0" y="83"/>
                  </a:lnTo>
                  <a:lnTo>
                    <a:pt x="0" y="83"/>
                  </a:lnTo>
                  <a:lnTo>
                    <a:pt x="8" y="83"/>
                  </a:lnTo>
                  <a:lnTo>
                    <a:pt x="17" y="82"/>
                  </a:lnTo>
                  <a:lnTo>
                    <a:pt x="24" y="79"/>
                  </a:lnTo>
                  <a:lnTo>
                    <a:pt x="33" y="77"/>
                  </a:lnTo>
                  <a:lnTo>
                    <a:pt x="40" y="73"/>
                  </a:lnTo>
                  <a:lnTo>
                    <a:pt x="46" y="68"/>
                  </a:lnTo>
                  <a:lnTo>
                    <a:pt x="53" y="65"/>
                  </a:lnTo>
                  <a:lnTo>
                    <a:pt x="60" y="59"/>
                  </a:lnTo>
                  <a:lnTo>
                    <a:pt x="64" y="52"/>
                  </a:lnTo>
                  <a:lnTo>
                    <a:pt x="69" y="46"/>
                  </a:lnTo>
                  <a:lnTo>
                    <a:pt x="73" y="39"/>
                  </a:lnTo>
                  <a:lnTo>
                    <a:pt x="77" y="32"/>
                  </a:lnTo>
                  <a:lnTo>
                    <a:pt x="80" y="24"/>
                  </a:lnTo>
                  <a:lnTo>
                    <a:pt x="81" y="16"/>
                  </a:lnTo>
                  <a:lnTo>
                    <a:pt x="83" y="9"/>
                  </a:lnTo>
                  <a:lnTo>
                    <a:pt x="84" y="0"/>
                  </a:lnTo>
                  <a:lnTo>
                    <a:pt x="0" y="0"/>
                  </a:lnTo>
                  <a:close/>
                </a:path>
              </a:pathLst>
            </a:custGeom>
            <a:solidFill>
              <a:srgbClr val="D6D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4" name="Freeform 1070"/>
            <p:cNvSpPr>
              <a:spLocks/>
            </p:cNvSpPr>
            <p:nvPr/>
          </p:nvSpPr>
          <p:spPr bwMode="auto">
            <a:xfrm>
              <a:off x="5224520" y="2535253"/>
              <a:ext cx="52388" cy="17463"/>
            </a:xfrm>
            <a:custGeom>
              <a:avLst/>
              <a:gdLst>
                <a:gd name="T0" fmla="*/ 147 w 163"/>
                <a:gd name="T1" fmla="*/ 54 h 54"/>
                <a:gd name="T2" fmla="*/ 0 w 163"/>
                <a:gd name="T3" fmla="*/ 54 h 54"/>
                <a:gd name="T4" fmla="*/ 0 w 163"/>
                <a:gd name="T5" fmla="*/ 0 h 54"/>
                <a:gd name="T6" fmla="*/ 163 w 163"/>
                <a:gd name="T7" fmla="*/ 0 h 54"/>
                <a:gd name="T8" fmla="*/ 147 w 163"/>
                <a:gd name="T9" fmla="*/ 54 h 54"/>
              </a:gdLst>
              <a:ahLst/>
              <a:cxnLst>
                <a:cxn ang="0">
                  <a:pos x="T0" y="T1"/>
                </a:cxn>
                <a:cxn ang="0">
                  <a:pos x="T2" y="T3"/>
                </a:cxn>
                <a:cxn ang="0">
                  <a:pos x="T4" y="T5"/>
                </a:cxn>
                <a:cxn ang="0">
                  <a:pos x="T6" y="T7"/>
                </a:cxn>
                <a:cxn ang="0">
                  <a:pos x="T8" y="T9"/>
                </a:cxn>
              </a:cxnLst>
              <a:rect l="0" t="0" r="r" b="b"/>
              <a:pathLst>
                <a:path w="163" h="54">
                  <a:moveTo>
                    <a:pt x="147" y="54"/>
                  </a:moveTo>
                  <a:lnTo>
                    <a:pt x="0" y="54"/>
                  </a:lnTo>
                  <a:lnTo>
                    <a:pt x="0" y="0"/>
                  </a:lnTo>
                  <a:lnTo>
                    <a:pt x="163" y="0"/>
                  </a:lnTo>
                  <a:lnTo>
                    <a:pt x="147" y="54"/>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5" name="Freeform 1071"/>
            <p:cNvSpPr>
              <a:spLocks/>
            </p:cNvSpPr>
            <p:nvPr/>
          </p:nvSpPr>
          <p:spPr bwMode="auto">
            <a:xfrm>
              <a:off x="5224520" y="2535253"/>
              <a:ext cx="52388" cy="17463"/>
            </a:xfrm>
            <a:custGeom>
              <a:avLst/>
              <a:gdLst>
                <a:gd name="T0" fmla="*/ 147 w 163"/>
                <a:gd name="T1" fmla="*/ 54 h 54"/>
                <a:gd name="T2" fmla="*/ 0 w 163"/>
                <a:gd name="T3" fmla="*/ 54 h 54"/>
                <a:gd name="T4" fmla="*/ 0 w 163"/>
                <a:gd name="T5" fmla="*/ 0 h 54"/>
                <a:gd name="T6" fmla="*/ 163 w 163"/>
                <a:gd name="T7" fmla="*/ 0 h 54"/>
                <a:gd name="T8" fmla="*/ 147 w 163"/>
                <a:gd name="T9" fmla="*/ 54 h 54"/>
              </a:gdLst>
              <a:ahLst/>
              <a:cxnLst>
                <a:cxn ang="0">
                  <a:pos x="T0" y="T1"/>
                </a:cxn>
                <a:cxn ang="0">
                  <a:pos x="T2" y="T3"/>
                </a:cxn>
                <a:cxn ang="0">
                  <a:pos x="T4" y="T5"/>
                </a:cxn>
                <a:cxn ang="0">
                  <a:pos x="T6" y="T7"/>
                </a:cxn>
                <a:cxn ang="0">
                  <a:pos x="T8" y="T9"/>
                </a:cxn>
              </a:cxnLst>
              <a:rect l="0" t="0" r="r" b="b"/>
              <a:pathLst>
                <a:path w="163" h="54">
                  <a:moveTo>
                    <a:pt x="147" y="54"/>
                  </a:moveTo>
                  <a:lnTo>
                    <a:pt x="0" y="54"/>
                  </a:lnTo>
                  <a:lnTo>
                    <a:pt x="0" y="0"/>
                  </a:lnTo>
                  <a:lnTo>
                    <a:pt x="163" y="0"/>
                  </a:lnTo>
                  <a:lnTo>
                    <a:pt x="147" y="5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6" name="Freeform 1072"/>
            <p:cNvSpPr>
              <a:spLocks/>
            </p:cNvSpPr>
            <p:nvPr/>
          </p:nvSpPr>
          <p:spPr bwMode="auto">
            <a:xfrm>
              <a:off x="5230870" y="2627328"/>
              <a:ext cx="50800" cy="15875"/>
            </a:xfrm>
            <a:custGeom>
              <a:avLst/>
              <a:gdLst>
                <a:gd name="T0" fmla="*/ 154 w 159"/>
                <a:gd name="T1" fmla="*/ 0 h 49"/>
                <a:gd name="T2" fmla="*/ 0 w 159"/>
                <a:gd name="T3" fmla="*/ 0 h 49"/>
                <a:gd name="T4" fmla="*/ 8 w 159"/>
                <a:gd name="T5" fmla="*/ 49 h 49"/>
                <a:gd name="T6" fmla="*/ 159 w 159"/>
                <a:gd name="T7" fmla="*/ 49 h 49"/>
                <a:gd name="T8" fmla="*/ 154 w 159"/>
                <a:gd name="T9" fmla="*/ 0 h 49"/>
              </a:gdLst>
              <a:ahLst/>
              <a:cxnLst>
                <a:cxn ang="0">
                  <a:pos x="T0" y="T1"/>
                </a:cxn>
                <a:cxn ang="0">
                  <a:pos x="T2" y="T3"/>
                </a:cxn>
                <a:cxn ang="0">
                  <a:pos x="T4" y="T5"/>
                </a:cxn>
                <a:cxn ang="0">
                  <a:pos x="T6" y="T7"/>
                </a:cxn>
                <a:cxn ang="0">
                  <a:pos x="T8" y="T9"/>
                </a:cxn>
              </a:cxnLst>
              <a:rect l="0" t="0" r="r" b="b"/>
              <a:pathLst>
                <a:path w="159" h="49">
                  <a:moveTo>
                    <a:pt x="154" y="0"/>
                  </a:moveTo>
                  <a:lnTo>
                    <a:pt x="0" y="0"/>
                  </a:lnTo>
                  <a:lnTo>
                    <a:pt x="8" y="49"/>
                  </a:lnTo>
                  <a:lnTo>
                    <a:pt x="159" y="49"/>
                  </a:lnTo>
                  <a:lnTo>
                    <a:pt x="154" y="0"/>
                  </a:lnTo>
                  <a:close/>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7" name="Freeform 1073"/>
            <p:cNvSpPr>
              <a:spLocks/>
            </p:cNvSpPr>
            <p:nvPr/>
          </p:nvSpPr>
          <p:spPr bwMode="auto">
            <a:xfrm>
              <a:off x="5230870" y="2627328"/>
              <a:ext cx="50800" cy="15875"/>
            </a:xfrm>
            <a:custGeom>
              <a:avLst/>
              <a:gdLst>
                <a:gd name="T0" fmla="*/ 154 w 159"/>
                <a:gd name="T1" fmla="*/ 0 h 49"/>
                <a:gd name="T2" fmla="*/ 0 w 159"/>
                <a:gd name="T3" fmla="*/ 0 h 49"/>
                <a:gd name="T4" fmla="*/ 8 w 159"/>
                <a:gd name="T5" fmla="*/ 49 h 49"/>
                <a:gd name="T6" fmla="*/ 159 w 159"/>
                <a:gd name="T7" fmla="*/ 49 h 49"/>
                <a:gd name="T8" fmla="*/ 154 w 159"/>
                <a:gd name="T9" fmla="*/ 0 h 49"/>
              </a:gdLst>
              <a:ahLst/>
              <a:cxnLst>
                <a:cxn ang="0">
                  <a:pos x="T0" y="T1"/>
                </a:cxn>
                <a:cxn ang="0">
                  <a:pos x="T2" y="T3"/>
                </a:cxn>
                <a:cxn ang="0">
                  <a:pos x="T4" y="T5"/>
                </a:cxn>
                <a:cxn ang="0">
                  <a:pos x="T6" y="T7"/>
                </a:cxn>
                <a:cxn ang="0">
                  <a:pos x="T8" y="T9"/>
                </a:cxn>
              </a:cxnLst>
              <a:rect l="0" t="0" r="r" b="b"/>
              <a:pathLst>
                <a:path w="159" h="49">
                  <a:moveTo>
                    <a:pt x="154" y="0"/>
                  </a:moveTo>
                  <a:lnTo>
                    <a:pt x="0" y="0"/>
                  </a:lnTo>
                  <a:lnTo>
                    <a:pt x="8" y="49"/>
                  </a:lnTo>
                  <a:lnTo>
                    <a:pt x="159" y="49"/>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8" name="Rectangle 1074"/>
            <p:cNvSpPr>
              <a:spLocks noChangeArrowheads="1"/>
            </p:cNvSpPr>
            <p:nvPr/>
          </p:nvSpPr>
          <p:spPr bwMode="auto">
            <a:xfrm>
              <a:off x="5232457" y="2643204"/>
              <a:ext cx="49213" cy="69851"/>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9" name="Freeform 1075"/>
            <p:cNvSpPr>
              <a:spLocks/>
            </p:cNvSpPr>
            <p:nvPr/>
          </p:nvSpPr>
          <p:spPr bwMode="auto">
            <a:xfrm>
              <a:off x="5229282" y="2686066"/>
              <a:ext cx="42863" cy="42863"/>
            </a:xfrm>
            <a:custGeom>
              <a:avLst/>
              <a:gdLst>
                <a:gd name="T0" fmla="*/ 0 w 134"/>
                <a:gd name="T1" fmla="*/ 134 h 134"/>
                <a:gd name="T2" fmla="*/ 0 w 134"/>
                <a:gd name="T3" fmla="*/ 134 h 134"/>
                <a:gd name="T4" fmla="*/ 1 w 134"/>
                <a:gd name="T5" fmla="*/ 120 h 134"/>
                <a:gd name="T6" fmla="*/ 2 w 134"/>
                <a:gd name="T7" fmla="*/ 107 h 134"/>
                <a:gd name="T8" fmla="*/ 6 w 134"/>
                <a:gd name="T9" fmla="*/ 94 h 134"/>
                <a:gd name="T10" fmla="*/ 11 w 134"/>
                <a:gd name="T11" fmla="*/ 82 h 134"/>
                <a:gd name="T12" fmla="*/ 16 w 134"/>
                <a:gd name="T13" fmla="*/ 70 h 134"/>
                <a:gd name="T14" fmla="*/ 23 w 134"/>
                <a:gd name="T15" fmla="*/ 59 h 134"/>
                <a:gd name="T16" fmla="*/ 30 w 134"/>
                <a:gd name="T17" fmla="*/ 49 h 134"/>
                <a:gd name="T18" fmla="*/ 39 w 134"/>
                <a:gd name="T19" fmla="*/ 39 h 134"/>
                <a:gd name="T20" fmla="*/ 49 w 134"/>
                <a:gd name="T21" fmla="*/ 31 h 134"/>
                <a:gd name="T22" fmla="*/ 58 w 134"/>
                <a:gd name="T23" fmla="*/ 23 h 134"/>
                <a:gd name="T24" fmla="*/ 69 w 134"/>
                <a:gd name="T25" fmla="*/ 16 h 134"/>
                <a:gd name="T26" fmla="*/ 82 w 134"/>
                <a:gd name="T27" fmla="*/ 11 h 134"/>
                <a:gd name="T28" fmla="*/ 94 w 134"/>
                <a:gd name="T29" fmla="*/ 6 h 134"/>
                <a:gd name="T30" fmla="*/ 107 w 134"/>
                <a:gd name="T31" fmla="*/ 3 h 134"/>
                <a:gd name="T32" fmla="*/ 119 w 134"/>
                <a:gd name="T33" fmla="*/ 1 h 134"/>
                <a:gd name="T34" fmla="*/ 134 w 134"/>
                <a:gd name="T35" fmla="*/ 0 h 134"/>
                <a:gd name="T36" fmla="*/ 134 w 134"/>
                <a:gd name="T37" fmla="*/ 134 h 134"/>
                <a:gd name="T38" fmla="*/ 0 w 134"/>
                <a:gd name="T39"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4" h="134">
                  <a:moveTo>
                    <a:pt x="0" y="134"/>
                  </a:moveTo>
                  <a:lnTo>
                    <a:pt x="0" y="134"/>
                  </a:lnTo>
                  <a:lnTo>
                    <a:pt x="1" y="120"/>
                  </a:lnTo>
                  <a:lnTo>
                    <a:pt x="2" y="107"/>
                  </a:lnTo>
                  <a:lnTo>
                    <a:pt x="6" y="94"/>
                  </a:lnTo>
                  <a:lnTo>
                    <a:pt x="11" y="82"/>
                  </a:lnTo>
                  <a:lnTo>
                    <a:pt x="16" y="70"/>
                  </a:lnTo>
                  <a:lnTo>
                    <a:pt x="23" y="59"/>
                  </a:lnTo>
                  <a:lnTo>
                    <a:pt x="30" y="49"/>
                  </a:lnTo>
                  <a:lnTo>
                    <a:pt x="39" y="39"/>
                  </a:lnTo>
                  <a:lnTo>
                    <a:pt x="49" y="31"/>
                  </a:lnTo>
                  <a:lnTo>
                    <a:pt x="58" y="23"/>
                  </a:lnTo>
                  <a:lnTo>
                    <a:pt x="69" y="16"/>
                  </a:lnTo>
                  <a:lnTo>
                    <a:pt x="82" y="11"/>
                  </a:lnTo>
                  <a:lnTo>
                    <a:pt x="94" y="6"/>
                  </a:lnTo>
                  <a:lnTo>
                    <a:pt x="107" y="3"/>
                  </a:lnTo>
                  <a:lnTo>
                    <a:pt x="119" y="1"/>
                  </a:lnTo>
                  <a:lnTo>
                    <a:pt x="134" y="0"/>
                  </a:lnTo>
                  <a:lnTo>
                    <a:pt x="134" y="134"/>
                  </a:lnTo>
                  <a:lnTo>
                    <a:pt x="0" y="1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0" name="Freeform 1076"/>
            <p:cNvSpPr>
              <a:spLocks/>
            </p:cNvSpPr>
            <p:nvPr/>
          </p:nvSpPr>
          <p:spPr bwMode="auto">
            <a:xfrm>
              <a:off x="5272145" y="2686066"/>
              <a:ext cx="41275" cy="42863"/>
            </a:xfrm>
            <a:custGeom>
              <a:avLst/>
              <a:gdLst>
                <a:gd name="T0" fmla="*/ 0 w 133"/>
                <a:gd name="T1" fmla="*/ 0 h 134"/>
                <a:gd name="T2" fmla="*/ 0 w 133"/>
                <a:gd name="T3" fmla="*/ 0 h 134"/>
                <a:gd name="T4" fmla="*/ 13 w 133"/>
                <a:gd name="T5" fmla="*/ 1 h 134"/>
                <a:gd name="T6" fmla="*/ 27 w 133"/>
                <a:gd name="T7" fmla="*/ 3 h 134"/>
                <a:gd name="T8" fmla="*/ 39 w 133"/>
                <a:gd name="T9" fmla="*/ 6 h 134"/>
                <a:gd name="T10" fmla="*/ 51 w 133"/>
                <a:gd name="T11" fmla="*/ 11 h 134"/>
                <a:gd name="T12" fmla="*/ 63 w 133"/>
                <a:gd name="T13" fmla="*/ 16 h 134"/>
                <a:gd name="T14" fmla="*/ 74 w 133"/>
                <a:gd name="T15" fmla="*/ 23 h 134"/>
                <a:gd name="T16" fmla="*/ 84 w 133"/>
                <a:gd name="T17" fmla="*/ 31 h 134"/>
                <a:gd name="T18" fmla="*/ 94 w 133"/>
                <a:gd name="T19" fmla="*/ 39 h 134"/>
                <a:gd name="T20" fmla="*/ 102 w 133"/>
                <a:gd name="T21" fmla="*/ 49 h 134"/>
                <a:gd name="T22" fmla="*/ 110 w 133"/>
                <a:gd name="T23" fmla="*/ 59 h 134"/>
                <a:gd name="T24" fmla="*/ 117 w 133"/>
                <a:gd name="T25" fmla="*/ 70 h 134"/>
                <a:gd name="T26" fmla="*/ 123 w 133"/>
                <a:gd name="T27" fmla="*/ 82 h 134"/>
                <a:gd name="T28" fmla="*/ 127 w 133"/>
                <a:gd name="T29" fmla="*/ 94 h 134"/>
                <a:gd name="T30" fmla="*/ 130 w 133"/>
                <a:gd name="T31" fmla="*/ 107 h 134"/>
                <a:gd name="T32" fmla="*/ 133 w 133"/>
                <a:gd name="T33" fmla="*/ 120 h 134"/>
                <a:gd name="T34" fmla="*/ 133 w 133"/>
                <a:gd name="T35" fmla="*/ 134 h 134"/>
                <a:gd name="T36" fmla="*/ 0 w 133"/>
                <a:gd name="T37" fmla="*/ 134 h 134"/>
                <a:gd name="T38" fmla="*/ 0 w 133"/>
                <a:gd name="T39"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3" h="134">
                  <a:moveTo>
                    <a:pt x="0" y="0"/>
                  </a:moveTo>
                  <a:lnTo>
                    <a:pt x="0" y="0"/>
                  </a:lnTo>
                  <a:lnTo>
                    <a:pt x="13" y="1"/>
                  </a:lnTo>
                  <a:lnTo>
                    <a:pt x="27" y="3"/>
                  </a:lnTo>
                  <a:lnTo>
                    <a:pt x="39" y="6"/>
                  </a:lnTo>
                  <a:lnTo>
                    <a:pt x="51" y="11"/>
                  </a:lnTo>
                  <a:lnTo>
                    <a:pt x="63" y="16"/>
                  </a:lnTo>
                  <a:lnTo>
                    <a:pt x="74" y="23"/>
                  </a:lnTo>
                  <a:lnTo>
                    <a:pt x="84" y="31"/>
                  </a:lnTo>
                  <a:lnTo>
                    <a:pt x="94" y="39"/>
                  </a:lnTo>
                  <a:lnTo>
                    <a:pt x="102" y="49"/>
                  </a:lnTo>
                  <a:lnTo>
                    <a:pt x="110" y="59"/>
                  </a:lnTo>
                  <a:lnTo>
                    <a:pt x="117" y="70"/>
                  </a:lnTo>
                  <a:lnTo>
                    <a:pt x="123" y="82"/>
                  </a:lnTo>
                  <a:lnTo>
                    <a:pt x="127" y="94"/>
                  </a:lnTo>
                  <a:lnTo>
                    <a:pt x="130" y="107"/>
                  </a:lnTo>
                  <a:lnTo>
                    <a:pt x="133" y="120"/>
                  </a:lnTo>
                  <a:lnTo>
                    <a:pt x="133" y="134"/>
                  </a:lnTo>
                  <a:lnTo>
                    <a:pt x="0" y="134"/>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1" name="Freeform 1077"/>
            <p:cNvSpPr>
              <a:spLocks/>
            </p:cNvSpPr>
            <p:nvPr/>
          </p:nvSpPr>
          <p:spPr bwMode="auto">
            <a:xfrm>
              <a:off x="5294370" y="2320938"/>
              <a:ext cx="46038" cy="34925"/>
            </a:xfrm>
            <a:custGeom>
              <a:avLst/>
              <a:gdLst>
                <a:gd name="T0" fmla="*/ 0 w 145"/>
                <a:gd name="T1" fmla="*/ 98 h 112"/>
                <a:gd name="T2" fmla="*/ 0 w 145"/>
                <a:gd name="T3" fmla="*/ 98 h 112"/>
                <a:gd name="T4" fmla="*/ 1 w 145"/>
                <a:gd name="T5" fmla="*/ 104 h 112"/>
                <a:gd name="T6" fmla="*/ 5 w 145"/>
                <a:gd name="T7" fmla="*/ 107 h 112"/>
                <a:gd name="T8" fmla="*/ 9 w 145"/>
                <a:gd name="T9" fmla="*/ 111 h 112"/>
                <a:gd name="T10" fmla="*/ 15 w 145"/>
                <a:gd name="T11" fmla="*/ 112 h 112"/>
                <a:gd name="T12" fmla="*/ 131 w 145"/>
                <a:gd name="T13" fmla="*/ 112 h 112"/>
                <a:gd name="T14" fmla="*/ 131 w 145"/>
                <a:gd name="T15" fmla="*/ 112 h 112"/>
                <a:gd name="T16" fmla="*/ 137 w 145"/>
                <a:gd name="T17" fmla="*/ 111 h 112"/>
                <a:gd name="T18" fmla="*/ 142 w 145"/>
                <a:gd name="T19" fmla="*/ 107 h 112"/>
                <a:gd name="T20" fmla="*/ 144 w 145"/>
                <a:gd name="T21" fmla="*/ 104 h 112"/>
                <a:gd name="T22" fmla="*/ 145 w 145"/>
                <a:gd name="T23" fmla="*/ 98 h 112"/>
                <a:gd name="T24" fmla="*/ 145 w 145"/>
                <a:gd name="T25" fmla="*/ 15 h 112"/>
                <a:gd name="T26" fmla="*/ 145 w 145"/>
                <a:gd name="T27" fmla="*/ 15 h 112"/>
                <a:gd name="T28" fmla="*/ 144 w 145"/>
                <a:gd name="T29" fmla="*/ 9 h 112"/>
                <a:gd name="T30" fmla="*/ 142 w 145"/>
                <a:gd name="T31" fmla="*/ 5 h 112"/>
                <a:gd name="T32" fmla="*/ 137 w 145"/>
                <a:gd name="T33" fmla="*/ 1 h 112"/>
                <a:gd name="T34" fmla="*/ 131 w 145"/>
                <a:gd name="T35" fmla="*/ 0 h 112"/>
                <a:gd name="T36" fmla="*/ 15 w 145"/>
                <a:gd name="T37" fmla="*/ 0 h 112"/>
                <a:gd name="T38" fmla="*/ 15 w 145"/>
                <a:gd name="T39" fmla="*/ 0 h 112"/>
                <a:gd name="T40" fmla="*/ 9 w 145"/>
                <a:gd name="T41" fmla="*/ 1 h 112"/>
                <a:gd name="T42" fmla="*/ 5 w 145"/>
                <a:gd name="T43" fmla="*/ 5 h 112"/>
                <a:gd name="T44" fmla="*/ 1 w 145"/>
                <a:gd name="T45" fmla="*/ 9 h 112"/>
                <a:gd name="T46" fmla="*/ 0 w 145"/>
                <a:gd name="T47" fmla="*/ 15 h 112"/>
                <a:gd name="T48" fmla="*/ 0 w 145"/>
                <a:gd name="T49" fmla="*/ 9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5" h="112">
                  <a:moveTo>
                    <a:pt x="0" y="98"/>
                  </a:moveTo>
                  <a:lnTo>
                    <a:pt x="0" y="98"/>
                  </a:lnTo>
                  <a:lnTo>
                    <a:pt x="1" y="104"/>
                  </a:lnTo>
                  <a:lnTo>
                    <a:pt x="5" y="107"/>
                  </a:lnTo>
                  <a:lnTo>
                    <a:pt x="9" y="111"/>
                  </a:lnTo>
                  <a:lnTo>
                    <a:pt x="15" y="112"/>
                  </a:lnTo>
                  <a:lnTo>
                    <a:pt x="131" y="112"/>
                  </a:lnTo>
                  <a:lnTo>
                    <a:pt x="131" y="112"/>
                  </a:lnTo>
                  <a:lnTo>
                    <a:pt x="137" y="111"/>
                  </a:lnTo>
                  <a:lnTo>
                    <a:pt x="142" y="107"/>
                  </a:lnTo>
                  <a:lnTo>
                    <a:pt x="144" y="104"/>
                  </a:lnTo>
                  <a:lnTo>
                    <a:pt x="145" y="98"/>
                  </a:lnTo>
                  <a:lnTo>
                    <a:pt x="145" y="15"/>
                  </a:lnTo>
                  <a:lnTo>
                    <a:pt x="145" y="15"/>
                  </a:lnTo>
                  <a:lnTo>
                    <a:pt x="144" y="9"/>
                  </a:lnTo>
                  <a:lnTo>
                    <a:pt x="142" y="5"/>
                  </a:lnTo>
                  <a:lnTo>
                    <a:pt x="137" y="1"/>
                  </a:lnTo>
                  <a:lnTo>
                    <a:pt x="131" y="0"/>
                  </a:lnTo>
                  <a:lnTo>
                    <a:pt x="15" y="0"/>
                  </a:lnTo>
                  <a:lnTo>
                    <a:pt x="15" y="0"/>
                  </a:lnTo>
                  <a:lnTo>
                    <a:pt x="9" y="1"/>
                  </a:lnTo>
                  <a:lnTo>
                    <a:pt x="5" y="5"/>
                  </a:lnTo>
                  <a:lnTo>
                    <a:pt x="1" y="9"/>
                  </a:lnTo>
                  <a:lnTo>
                    <a:pt x="0" y="15"/>
                  </a:lnTo>
                  <a:lnTo>
                    <a:pt x="0" y="9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2" name="Freeform 1078"/>
            <p:cNvSpPr>
              <a:spLocks/>
            </p:cNvSpPr>
            <p:nvPr/>
          </p:nvSpPr>
          <p:spPr bwMode="auto">
            <a:xfrm>
              <a:off x="5294370" y="2320938"/>
              <a:ext cx="46038" cy="34925"/>
            </a:xfrm>
            <a:custGeom>
              <a:avLst/>
              <a:gdLst>
                <a:gd name="T0" fmla="*/ 0 w 145"/>
                <a:gd name="T1" fmla="*/ 98 h 112"/>
                <a:gd name="T2" fmla="*/ 0 w 145"/>
                <a:gd name="T3" fmla="*/ 98 h 112"/>
                <a:gd name="T4" fmla="*/ 1 w 145"/>
                <a:gd name="T5" fmla="*/ 104 h 112"/>
                <a:gd name="T6" fmla="*/ 5 w 145"/>
                <a:gd name="T7" fmla="*/ 107 h 112"/>
                <a:gd name="T8" fmla="*/ 9 w 145"/>
                <a:gd name="T9" fmla="*/ 111 h 112"/>
                <a:gd name="T10" fmla="*/ 15 w 145"/>
                <a:gd name="T11" fmla="*/ 112 h 112"/>
                <a:gd name="T12" fmla="*/ 131 w 145"/>
                <a:gd name="T13" fmla="*/ 112 h 112"/>
                <a:gd name="T14" fmla="*/ 131 w 145"/>
                <a:gd name="T15" fmla="*/ 112 h 112"/>
                <a:gd name="T16" fmla="*/ 137 w 145"/>
                <a:gd name="T17" fmla="*/ 111 h 112"/>
                <a:gd name="T18" fmla="*/ 142 w 145"/>
                <a:gd name="T19" fmla="*/ 107 h 112"/>
                <a:gd name="T20" fmla="*/ 144 w 145"/>
                <a:gd name="T21" fmla="*/ 104 h 112"/>
                <a:gd name="T22" fmla="*/ 145 w 145"/>
                <a:gd name="T23" fmla="*/ 98 h 112"/>
                <a:gd name="T24" fmla="*/ 145 w 145"/>
                <a:gd name="T25" fmla="*/ 15 h 112"/>
                <a:gd name="T26" fmla="*/ 145 w 145"/>
                <a:gd name="T27" fmla="*/ 15 h 112"/>
                <a:gd name="T28" fmla="*/ 144 w 145"/>
                <a:gd name="T29" fmla="*/ 9 h 112"/>
                <a:gd name="T30" fmla="*/ 142 w 145"/>
                <a:gd name="T31" fmla="*/ 5 h 112"/>
                <a:gd name="T32" fmla="*/ 137 w 145"/>
                <a:gd name="T33" fmla="*/ 1 h 112"/>
                <a:gd name="T34" fmla="*/ 131 w 145"/>
                <a:gd name="T35" fmla="*/ 0 h 112"/>
                <a:gd name="T36" fmla="*/ 15 w 145"/>
                <a:gd name="T37" fmla="*/ 0 h 112"/>
                <a:gd name="T38" fmla="*/ 15 w 145"/>
                <a:gd name="T39" fmla="*/ 0 h 112"/>
                <a:gd name="T40" fmla="*/ 9 w 145"/>
                <a:gd name="T41" fmla="*/ 1 h 112"/>
                <a:gd name="T42" fmla="*/ 5 w 145"/>
                <a:gd name="T43" fmla="*/ 5 h 112"/>
                <a:gd name="T44" fmla="*/ 1 w 145"/>
                <a:gd name="T45" fmla="*/ 9 h 112"/>
                <a:gd name="T46" fmla="*/ 0 w 145"/>
                <a:gd name="T47" fmla="*/ 15 h 112"/>
                <a:gd name="T48" fmla="*/ 0 w 145"/>
                <a:gd name="T49" fmla="*/ 9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5" h="112">
                  <a:moveTo>
                    <a:pt x="0" y="98"/>
                  </a:moveTo>
                  <a:lnTo>
                    <a:pt x="0" y="98"/>
                  </a:lnTo>
                  <a:lnTo>
                    <a:pt x="1" y="104"/>
                  </a:lnTo>
                  <a:lnTo>
                    <a:pt x="5" y="107"/>
                  </a:lnTo>
                  <a:lnTo>
                    <a:pt x="9" y="111"/>
                  </a:lnTo>
                  <a:lnTo>
                    <a:pt x="15" y="112"/>
                  </a:lnTo>
                  <a:lnTo>
                    <a:pt x="131" y="112"/>
                  </a:lnTo>
                  <a:lnTo>
                    <a:pt x="131" y="112"/>
                  </a:lnTo>
                  <a:lnTo>
                    <a:pt x="137" y="111"/>
                  </a:lnTo>
                  <a:lnTo>
                    <a:pt x="142" y="107"/>
                  </a:lnTo>
                  <a:lnTo>
                    <a:pt x="144" y="104"/>
                  </a:lnTo>
                  <a:lnTo>
                    <a:pt x="145" y="98"/>
                  </a:lnTo>
                  <a:lnTo>
                    <a:pt x="145" y="15"/>
                  </a:lnTo>
                  <a:lnTo>
                    <a:pt x="145" y="15"/>
                  </a:lnTo>
                  <a:lnTo>
                    <a:pt x="144" y="9"/>
                  </a:lnTo>
                  <a:lnTo>
                    <a:pt x="142" y="5"/>
                  </a:lnTo>
                  <a:lnTo>
                    <a:pt x="137" y="1"/>
                  </a:lnTo>
                  <a:lnTo>
                    <a:pt x="131" y="0"/>
                  </a:lnTo>
                  <a:lnTo>
                    <a:pt x="15" y="0"/>
                  </a:lnTo>
                  <a:lnTo>
                    <a:pt x="15" y="0"/>
                  </a:lnTo>
                  <a:lnTo>
                    <a:pt x="9" y="1"/>
                  </a:lnTo>
                  <a:lnTo>
                    <a:pt x="5" y="5"/>
                  </a:lnTo>
                  <a:lnTo>
                    <a:pt x="1" y="9"/>
                  </a:lnTo>
                  <a:lnTo>
                    <a:pt x="0" y="15"/>
                  </a:lnTo>
                  <a:lnTo>
                    <a:pt x="0" y="9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3" name="Freeform 1079"/>
            <p:cNvSpPr>
              <a:spLocks/>
            </p:cNvSpPr>
            <p:nvPr/>
          </p:nvSpPr>
          <p:spPr bwMode="auto">
            <a:xfrm>
              <a:off x="5276908" y="2535253"/>
              <a:ext cx="19050" cy="7938"/>
            </a:xfrm>
            <a:custGeom>
              <a:avLst/>
              <a:gdLst>
                <a:gd name="T0" fmla="*/ 62 w 62"/>
                <a:gd name="T1" fmla="*/ 0 h 26"/>
                <a:gd name="T2" fmla="*/ 62 w 62"/>
                <a:gd name="T3" fmla="*/ 0 h 26"/>
                <a:gd name="T4" fmla="*/ 0 w 62"/>
                <a:gd name="T5" fmla="*/ 0 h 26"/>
                <a:gd name="T6" fmla="*/ 0 w 62"/>
                <a:gd name="T7" fmla="*/ 26 h 26"/>
                <a:gd name="T8" fmla="*/ 62 w 62"/>
                <a:gd name="T9" fmla="*/ 26 h 26"/>
                <a:gd name="T10" fmla="*/ 62 w 62"/>
                <a:gd name="T11" fmla="*/ 0 h 26"/>
              </a:gdLst>
              <a:ahLst/>
              <a:cxnLst>
                <a:cxn ang="0">
                  <a:pos x="T0" y="T1"/>
                </a:cxn>
                <a:cxn ang="0">
                  <a:pos x="T2" y="T3"/>
                </a:cxn>
                <a:cxn ang="0">
                  <a:pos x="T4" y="T5"/>
                </a:cxn>
                <a:cxn ang="0">
                  <a:pos x="T6" y="T7"/>
                </a:cxn>
                <a:cxn ang="0">
                  <a:pos x="T8" y="T9"/>
                </a:cxn>
                <a:cxn ang="0">
                  <a:pos x="T10" y="T11"/>
                </a:cxn>
              </a:cxnLst>
              <a:rect l="0" t="0" r="r" b="b"/>
              <a:pathLst>
                <a:path w="62" h="26">
                  <a:moveTo>
                    <a:pt x="62" y="0"/>
                  </a:moveTo>
                  <a:lnTo>
                    <a:pt x="62" y="0"/>
                  </a:lnTo>
                  <a:lnTo>
                    <a:pt x="0" y="0"/>
                  </a:lnTo>
                  <a:lnTo>
                    <a:pt x="0" y="26"/>
                  </a:lnTo>
                  <a:lnTo>
                    <a:pt x="62" y="26"/>
                  </a:lnTo>
                  <a:lnTo>
                    <a:pt x="62" y="0"/>
                  </a:lnTo>
                  <a:close/>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4" name="Freeform 1080"/>
            <p:cNvSpPr>
              <a:spLocks/>
            </p:cNvSpPr>
            <p:nvPr/>
          </p:nvSpPr>
          <p:spPr bwMode="auto">
            <a:xfrm>
              <a:off x="5276908" y="2535253"/>
              <a:ext cx="19050" cy="7938"/>
            </a:xfrm>
            <a:custGeom>
              <a:avLst/>
              <a:gdLst>
                <a:gd name="T0" fmla="*/ 62 w 62"/>
                <a:gd name="T1" fmla="*/ 0 h 26"/>
                <a:gd name="T2" fmla="*/ 62 w 62"/>
                <a:gd name="T3" fmla="*/ 0 h 26"/>
                <a:gd name="T4" fmla="*/ 0 w 62"/>
                <a:gd name="T5" fmla="*/ 0 h 26"/>
                <a:gd name="T6" fmla="*/ 0 w 62"/>
                <a:gd name="T7" fmla="*/ 26 h 26"/>
                <a:gd name="T8" fmla="*/ 62 w 62"/>
                <a:gd name="T9" fmla="*/ 26 h 26"/>
                <a:gd name="T10" fmla="*/ 62 w 62"/>
                <a:gd name="T11" fmla="*/ 0 h 26"/>
              </a:gdLst>
              <a:ahLst/>
              <a:cxnLst>
                <a:cxn ang="0">
                  <a:pos x="T0" y="T1"/>
                </a:cxn>
                <a:cxn ang="0">
                  <a:pos x="T2" y="T3"/>
                </a:cxn>
                <a:cxn ang="0">
                  <a:pos x="T4" y="T5"/>
                </a:cxn>
                <a:cxn ang="0">
                  <a:pos x="T6" y="T7"/>
                </a:cxn>
                <a:cxn ang="0">
                  <a:pos x="T8" y="T9"/>
                </a:cxn>
                <a:cxn ang="0">
                  <a:pos x="T10" y="T11"/>
                </a:cxn>
              </a:cxnLst>
              <a:rect l="0" t="0" r="r" b="b"/>
              <a:pathLst>
                <a:path w="62" h="26">
                  <a:moveTo>
                    <a:pt x="62" y="0"/>
                  </a:moveTo>
                  <a:lnTo>
                    <a:pt x="62" y="0"/>
                  </a:lnTo>
                  <a:lnTo>
                    <a:pt x="0" y="0"/>
                  </a:lnTo>
                  <a:lnTo>
                    <a:pt x="0" y="26"/>
                  </a:lnTo>
                  <a:lnTo>
                    <a:pt x="62" y="26"/>
                  </a:lnTo>
                  <a:lnTo>
                    <a:pt x="6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5" name="Rectangle 1081"/>
            <p:cNvSpPr>
              <a:spLocks noChangeArrowheads="1"/>
            </p:cNvSpPr>
            <p:nvPr/>
          </p:nvSpPr>
          <p:spPr bwMode="auto">
            <a:xfrm>
              <a:off x="5295958" y="2535253"/>
              <a:ext cx="20638" cy="793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6" name="Rectangle 1082"/>
            <p:cNvSpPr>
              <a:spLocks noChangeArrowheads="1"/>
            </p:cNvSpPr>
            <p:nvPr/>
          </p:nvSpPr>
          <p:spPr bwMode="auto">
            <a:xfrm>
              <a:off x="5295958" y="2535253"/>
              <a:ext cx="20638" cy="7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7" name="Freeform 1083"/>
            <p:cNvSpPr>
              <a:spLocks/>
            </p:cNvSpPr>
            <p:nvPr/>
          </p:nvSpPr>
          <p:spPr bwMode="auto">
            <a:xfrm>
              <a:off x="5318183" y="2320938"/>
              <a:ext cx="22225" cy="34925"/>
            </a:xfrm>
            <a:custGeom>
              <a:avLst/>
              <a:gdLst>
                <a:gd name="T0" fmla="*/ 58 w 72"/>
                <a:gd name="T1" fmla="*/ 0 h 112"/>
                <a:gd name="T2" fmla="*/ 0 w 72"/>
                <a:gd name="T3" fmla="*/ 0 h 112"/>
                <a:gd name="T4" fmla="*/ 0 w 72"/>
                <a:gd name="T5" fmla="*/ 112 h 112"/>
                <a:gd name="T6" fmla="*/ 58 w 72"/>
                <a:gd name="T7" fmla="*/ 112 h 112"/>
                <a:gd name="T8" fmla="*/ 58 w 72"/>
                <a:gd name="T9" fmla="*/ 112 h 112"/>
                <a:gd name="T10" fmla="*/ 64 w 72"/>
                <a:gd name="T11" fmla="*/ 111 h 112"/>
                <a:gd name="T12" fmla="*/ 69 w 72"/>
                <a:gd name="T13" fmla="*/ 107 h 112"/>
                <a:gd name="T14" fmla="*/ 71 w 72"/>
                <a:gd name="T15" fmla="*/ 104 h 112"/>
                <a:gd name="T16" fmla="*/ 72 w 72"/>
                <a:gd name="T17" fmla="*/ 98 h 112"/>
                <a:gd name="T18" fmla="*/ 72 w 72"/>
                <a:gd name="T19" fmla="*/ 15 h 112"/>
                <a:gd name="T20" fmla="*/ 72 w 72"/>
                <a:gd name="T21" fmla="*/ 15 h 112"/>
                <a:gd name="T22" fmla="*/ 71 w 72"/>
                <a:gd name="T23" fmla="*/ 9 h 112"/>
                <a:gd name="T24" fmla="*/ 69 w 72"/>
                <a:gd name="T25" fmla="*/ 5 h 112"/>
                <a:gd name="T26" fmla="*/ 64 w 72"/>
                <a:gd name="T27" fmla="*/ 1 h 112"/>
                <a:gd name="T28" fmla="*/ 58 w 72"/>
                <a:gd name="T2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2" h="112">
                  <a:moveTo>
                    <a:pt x="58" y="0"/>
                  </a:moveTo>
                  <a:lnTo>
                    <a:pt x="0" y="0"/>
                  </a:lnTo>
                  <a:lnTo>
                    <a:pt x="0" y="112"/>
                  </a:lnTo>
                  <a:lnTo>
                    <a:pt x="58" y="112"/>
                  </a:lnTo>
                  <a:lnTo>
                    <a:pt x="58" y="112"/>
                  </a:lnTo>
                  <a:lnTo>
                    <a:pt x="64" y="111"/>
                  </a:lnTo>
                  <a:lnTo>
                    <a:pt x="69" y="107"/>
                  </a:lnTo>
                  <a:lnTo>
                    <a:pt x="71" y="104"/>
                  </a:lnTo>
                  <a:lnTo>
                    <a:pt x="72" y="98"/>
                  </a:lnTo>
                  <a:lnTo>
                    <a:pt x="72" y="15"/>
                  </a:lnTo>
                  <a:lnTo>
                    <a:pt x="72" y="15"/>
                  </a:lnTo>
                  <a:lnTo>
                    <a:pt x="71" y="9"/>
                  </a:lnTo>
                  <a:lnTo>
                    <a:pt x="69" y="5"/>
                  </a:lnTo>
                  <a:lnTo>
                    <a:pt x="64" y="1"/>
                  </a:lnTo>
                  <a:lnTo>
                    <a:pt x="58"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8" name="Freeform 1084"/>
            <p:cNvSpPr>
              <a:spLocks/>
            </p:cNvSpPr>
            <p:nvPr/>
          </p:nvSpPr>
          <p:spPr bwMode="auto">
            <a:xfrm>
              <a:off x="5318183" y="2320938"/>
              <a:ext cx="22225" cy="34925"/>
            </a:xfrm>
            <a:custGeom>
              <a:avLst/>
              <a:gdLst>
                <a:gd name="T0" fmla="*/ 58 w 72"/>
                <a:gd name="T1" fmla="*/ 0 h 112"/>
                <a:gd name="T2" fmla="*/ 0 w 72"/>
                <a:gd name="T3" fmla="*/ 0 h 112"/>
                <a:gd name="T4" fmla="*/ 0 w 72"/>
                <a:gd name="T5" fmla="*/ 112 h 112"/>
                <a:gd name="T6" fmla="*/ 58 w 72"/>
                <a:gd name="T7" fmla="*/ 112 h 112"/>
                <a:gd name="T8" fmla="*/ 58 w 72"/>
                <a:gd name="T9" fmla="*/ 112 h 112"/>
                <a:gd name="T10" fmla="*/ 64 w 72"/>
                <a:gd name="T11" fmla="*/ 111 h 112"/>
                <a:gd name="T12" fmla="*/ 69 w 72"/>
                <a:gd name="T13" fmla="*/ 107 h 112"/>
                <a:gd name="T14" fmla="*/ 71 w 72"/>
                <a:gd name="T15" fmla="*/ 104 h 112"/>
                <a:gd name="T16" fmla="*/ 72 w 72"/>
                <a:gd name="T17" fmla="*/ 98 h 112"/>
                <a:gd name="T18" fmla="*/ 72 w 72"/>
                <a:gd name="T19" fmla="*/ 15 h 112"/>
                <a:gd name="T20" fmla="*/ 72 w 72"/>
                <a:gd name="T21" fmla="*/ 15 h 112"/>
                <a:gd name="T22" fmla="*/ 71 w 72"/>
                <a:gd name="T23" fmla="*/ 9 h 112"/>
                <a:gd name="T24" fmla="*/ 69 w 72"/>
                <a:gd name="T25" fmla="*/ 5 h 112"/>
                <a:gd name="T26" fmla="*/ 64 w 72"/>
                <a:gd name="T27" fmla="*/ 1 h 112"/>
                <a:gd name="T28" fmla="*/ 58 w 72"/>
                <a:gd name="T2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2" h="112">
                  <a:moveTo>
                    <a:pt x="58" y="0"/>
                  </a:moveTo>
                  <a:lnTo>
                    <a:pt x="0" y="0"/>
                  </a:lnTo>
                  <a:lnTo>
                    <a:pt x="0" y="112"/>
                  </a:lnTo>
                  <a:lnTo>
                    <a:pt x="58" y="112"/>
                  </a:lnTo>
                  <a:lnTo>
                    <a:pt x="58" y="112"/>
                  </a:lnTo>
                  <a:lnTo>
                    <a:pt x="64" y="111"/>
                  </a:lnTo>
                  <a:lnTo>
                    <a:pt x="69" y="107"/>
                  </a:lnTo>
                  <a:lnTo>
                    <a:pt x="71" y="104"/>
                  </a:lnTo>
                  <a:lnTo>
                    <a:pt x="72" y="98"/>
                  </a:lnTo>
                  <a:lnTo>
                    <a:pt x="72" y="15"/>
                  </a:lnTo>
                  <a:lnTo>
                    <a:pt x="72" y="15"/>
                  </a:lnTo>
                  <a:lnTo>
                    <a:pt x="71" y="9"/>
                  </a:lnTo>
                  <a:lnTo>
                    <a:pt x="69" y="5"/>
                  </a:lnTo>
                  <a:lnTo>
                    <a:pt x="64" y="1"/>
                  </a:lnTo>
                  <a:lnTo>
                    <a:pt x="5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9" name="Freeform 1085"/>
            <p:cNvSpPr>
              <a:spLocks/>
            </p:cNvSpPr>
            <p:nvPr/>
          </p:nvSpPr>
          <p:spPr bwMode="auto">
            <a:xfrm>
              <a:off x="5224520" y="2446352"/>
              <a:ext cx="52388" cy="7938"/>
            </a:xfrm>
            <a:custGeom>
              <a:avLst/>
              <a:gdLst>
                <a:gd name="T0" fmla="*/ 163 w 163"/>
                <a:gd name="T1" fmla="*/ 0 h 27"/>
                <a:gd name="T2" fmla="*/ 0 w 163"/>
                <a:gd name="T3" fmla="*/ 0 h 27"/>
                <a:gd name="T4" fmla="*/ 0 w 163"/>
                <a:gd name="T5" fmla="*/ 27 h 27"/>
                <a:gd name="T6" fmla="*/ 163 w 163"/>
                <a:gd name="T7" fmla="*/ 27 h 27"/>
                <a:gd name="T8" fmla="*/ 163 w 163"/>
                <a:gd name="T9" fmla="*/ 1 h 27"/>
                <a:gd name="T10" fmla="*/ 163 w 163"/>
                <a:gd name="T11" fmla="*/ 1 h 27"/>
                <a:gd name="T12" fmla="*/ 163 w 163"/>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63" h="27">
                  <a:moveTo>
                    <a:pt x="163" y="0"/>
                  </a:moveTo>
                  <a:lnTo>
                    <a:pt x="0" y="0"/>
                  </a:lnTo>
                  <a:lnTo>
                    <a:pt x="0" y="27"/>
                  </a:lnTo>
                  <a:lnTo>
                    <a:pt x="163" y="27"/>
                  </a:lnTo>
                  <a:lnTo>
                    <a:pt x="163" y="1"/>
                  </a:lnTo>
                  <a:lnTo>
                    <a:pt x="163" y="1"/>
                  </a:lnTo>
                  <a:lnTo>
                    <a:pt x="163" y="0"/>
                  </a:lnTo>
                  <a:close/>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0" name="Freeform 1086"/>
            <p:cNvSpPr>
              <a:spLocks/>
            </p:cNvSpPr>
            <p:nvPr/>
          </p:nvSpPr>
          <p:spPr bwMode="auto">
            <a:xfrm>
              <a:off x="5224520" y="2446352"/>
              <a:ext cx="52388" cy="7938"/>
            </a:xfrm>
            <a:custGeom>
              <a:avLst/>
              <a:gdLst>
                <a:gd name="T0" fmla="*/ 163 w 163"/>
                <a:gd name="T1" fmla="*/ 0 h 27"/>
                <a:gd name="T2" fmla="*/ 0 w 163"/>
                <a:gd name="T3" fmla="*/ 0 h 27"/>
                <a:gd name="T4" fmla="*/ 0 w 163"/>
                <a:gd name="T5" fmla="*/ 27 h 27"/>
                <a:gd name="T6" fmla="*/ 163 w 163"/>
                <a:gd name="T7" fmla="*/ 27 h 27"/>
                <a:gd name="T8" fmla="*/ 163 w 163"/>
                <a:gd name="T9" fmla="*/ 1 h 27"/>
                <a:gd name="T10" fmla="*/ 163 w 163"/>
                <a:gd name="T11" fmla="*/ 1 h 27"/>
                <a:gd name="T12" fmla="*/ 163 w 163"/>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63" h="27">
                  <a:moveTo>
                    <a:pt x="163" y="0"/>
                  </a:moveTo>
                  <a:lnTo>
                    <a:pt x="0" y="0"/>
                  </a:lnTo>
                  <a:lnTo>
                    <a:pt x="0" y="27"/>
                  </a:lnTo>
                  <a:lnTo>
                    <a:pt x="163" y="27"/>
                  </a:lnTo>
                  <a:lnTo>
                    <a:pt x="163" y="1"/>
                  </a:lnTo>
                  <a:lnTo>
                    <a:pt x="163" y="1"/>
                  </a:lnTo>
                  <a:lnTo>
                    <a:pt x="16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1" name="Freeform 1087"/>
            <p:cNvSpPr>
              <a:spLocks/>
            </p:cNvSpPr>
            <p:nvPr/>
          </p:nvSpPr>
          <p:spPr bwMode="auto">
            <a:xfrm>
              <a:off x="5224520" y="2446352"/>
              <a:ext cx="52388" cy="0"/>
            </a:xfrm>
            <a:custGeom>
              <a:avLst/>
              <a:gdLst>
                <a:gd name="T0" fmla="*/ 163 w 163"/>
                <a:gd name="T1" fmla="*/ 150 w 163"/>
                <a:gd name="T2" fmla="*/ 0 w 163"/>
                <a:gd name="T3" fmla="*/ 163 w 163"/>
              </a:gdLst>
              <a:ahLst/>
              <a:cxnLst>
                <a:cxn ang="0">
                  <a:pos x="T0" y="0"/>
                </a:cxn>
                <a:cxn ang="0">
                  <a:pos x="T1" y="0"/>
                </a:cxn>
                <a:cxn ang="0">
                  <a:pos x="T2" y="0"/>
                </a:cxn>
                <a:cxn ang="0">
                  <a:pos x="T3" y="0"/>
                </a:cxn>
              </a:cxnLst>
              <a:rect l="0" t="0" r="r" b="b"/>
              <a:pathLst>
                <a:path w="163">
                  <a:moveTo>
                    <a:pt x="163" y="0"/>
                  </a:moveTo>
                  <a:lnTo>
                    <a:pt x="150" y="0"/>
                  </a:lnTo>
                  <a:lnTo>
                    <a:pt x="0" y="0"/>
                  </a:lnTo>
                  <a:lnTo>
                    <a:pt x="163" y="0"/>
                  </a:lnTo>
                  <a:close/>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2" name="Freeform 1088"/>
            <p:cNvSpPr>
              <a:spLocks/>
            </p:cNvSpPr>
            <p:nvPr/>
          </p:nvSpPr>
          <p:spPr bwMode="auto">
            <a:xfrm>
              <a:off x="5224520" y="2446352"/>
              <a:ext cx="52388" cy="0"/>
            </a:xfrm>
            <a:custGeom>
              <a:avLst/>
              <a:gdLst>
                <a:gd name="T0" fmla="*/ 163 w 163"/>
                <a:gd name="T1" fmla="*/ 150 w 163"/>
                <a:gd name="T2" fmla="*/ 0 w 163"/>
                <a:gd name="T3" fmla="*/ 163 w 163"/>
              </a:gdLst>
              <a:ahLst/>
              <a:cxnLst>
                <a:cxn ang="0">
                  <a:pos x="T0" y="0"/>
                </a:cxn>
                <a:cxn ang="0">
                  <a:pos x="T1" y="0"/>
                </a:cxn>
                <a:cxn ang="0">
                  <a:pos x="T2" y="0"/>
                </a:cxn>
                <a:cxn ang="0">
                  <a:pos x="T3" y="0"/>
                </a:cxn>
              </a:cxnLst>
              <a:rect l="0" t="0" r="r" b="b"/>
              <a:pathLst>
                <a:path w="163">
                  <a:moveTo>
                    <a:pt x="163" y="0"/>
                  </a:moveTo>
                  <a:lnTo>
                    <a:pt x="150" y="0"/>
                  </a:lnTo>
                  <a:lnTo>
                    <a:pt x="0" y="0"/>
                  </a:lnTo>
                  <a:lnTo>
                    <a:pt x="16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3" name="Freeform 1089"/>
            <p:cNvSpPr>
              <a:spLocks/>
            </p:cNvSpPr>
            <p:nvPr/>
          </p:nvSpPr>
          <p:spPr bwMode="auto">
            <a:xfrm>
              <a:off x="5302308" y="2339988"/>
              <a:ext cx="11113" cy="11113"/>
            </a:xfrm>
            <a:custGeom>
              <a:avLst/>
              <a:gdLst>
                <a:gd name="T0" fmla="*/ 19 w 37"/>
                <a:gd name="T1" fmla="*/ 0 h 36"/>
                <a:gd name="T2" fmla="*/ 19 w 37"/>
                <a:gd name="T3" fmla="*/ 0 h 36"/>
                <a:gd name="T4" fmla="*/ 15 w 37"/>
                <a:gd name="T5" fmla="*/ 0 h 36"/>
                <a:gd name="T6" fmla="*/ 12 w 37"/>
                <a:gd name="T7" fmla="*/ 1 h 36"/>
                <a:gd name="T8" fmla="*/ 6 w 37"/>
                <a:gd name="T9" fmla="*/ 5 h 36"/>
                <a:gd name="T10" fmla="*/ 3 w 37"/>
                <a:gd name="T11" fmla="*/ 11 h 36"/>
                <a:gd name="T12" fmla="*/ 2 w 37"/>
                <a:gd name="T13" fmla="*/ 14 h 36"/>
                <a:gd name="T14" fmla="*/ 0 w 37"/>
                <a:gd name="T15" fmla="*/ 17 h 36"/>
                <a:gd name="T16" fmla="*/ 0 w 37"/>
                <a:gd name="T17" fmla="*/ 17 h 36"/>
                <a:gd name="T18" fmla="*/ 2 w 37"/>
                <a:gd name="T19" fmla="*/ 21 h 36"/>
                <a:gd name="T20" fmla="*/ 3 w 37"/>
                <a:gd name="T21" fmla="*/ 25 h 36"/>
                <a:gd name="T22" fmla="*/ 6 w 37"/>
                <a:gd name="T23" fmla="*/ 31 h 36"/>
                <a:gd name="T24" fmla="*/ 12 w 37"/>
                <a:gd name="T25" fmla="*/ 34 h 36"/>
                <a:gd name="T26" fmla="*/ 15 w 37"/>
                <a:gd name="T27" fmla="*/ 36 h 36"/>
                <a:gd name="T28" fmla="*/ 19 w 37"/>
                <a:gd name="T29" fmla="*/ 36 h 36"/>
                <a:gd name="T30" fmla="*/ 19 w 37"/>
                <a:gd name="T31" fmla="*/ 36 h 36"/>
                <a:gd name="T32" fmla="*/ 22 w 37"/>
                <a:gd name="T33" fmla="*/ 36 h 36"/>
                <a:gd name="T34" fmla="*/ 26 w 37"/>
                <a:gd name="T35" fmla="*/ 34 h 36"/>
                <a:gd name="T36" fmla="*/ 32 w 37"/>
                <a:gd name="T37" fmla="*/ 31 h 36"/>
                <a:gd name="T38" fmla="*/ 36 w 37"/>
                <a:gd name="T39" fmla="*/ 25 h 36"/>
                <a:gd name="T40" fmla="*/ 37 w 37"/>
                <a:gd name="T41" fmla="*/ 21 h 36"/>
                <a:gd name="T42" fmla="*/ 37 w 37"/>
                <a:gd name="T43" fmla="*/ 17 h 36"/>
                <a:gd name="T44" fmla="*/ 37 w 37"/>
                <a:gd name="T45" fmla="*/ 17 h 36"/>
                <a:gd name="T46" fmla="*/ 37 w 37"/>
                <a:gd name="T47" fmla="*/ 14 h 36"/>
                <a:gd name="T48" fmla="*/ 36 w 37"/>
                <a:gd name="T49" fmla="*/ 11 h 36"/>
                <a:gd name="T50" fmla="*/ 32 w 37"/>
                <a:gd name="T51" fmla="*/ 5 h 36"/>
                <a:gd name="T52" fmla="*/ 26 w 37"/>
                <a:gd name="T53" fmla="*/ 1 h 36"/>
                <a:gd name="T54" fmla="*/ 22 w 37"/>
                <a:gd name="T55" fmla="*/ 0 h 36"/>
                <a:gd name="T56" fmla="*/ 19 w 37"/>
                <a:gd name="T5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36">
                  <a:moveTo>
                    <a:pt x="19" y="0"/>
                  </a:moveTo>
                  <a:lnTo>
                    <a:pt x="19" y="0"/>
                  </a:lnTo>
                  <a:lnTo>
                    <a:pt x="15" y="0"/>
                  </a:lnTo>
                  <a:lnTo>
                    <a:pt x="12" y="1"/>
                  </a:lnTo>
                  <a:lnTo>
                    <a:pt x="6" y="5"/>
                  </a:lnTo>
                  <a:lnTo>
                    <a:pt x="3" y="11"/>
                  </a:lnTo>
                  <a:lnTo>
                    <a:pt x="2" y="14"/>
                  </a:lnTo>
                  <a:lnTo>
                    <a:pt x="0" y="17"/>
                  </a:lnTo>
                  <a:lnTo>
                    <a:pt x="0" y="17"/>
                  </a:lnTo>
                  <a:lnTo>
                    <a:pt x="2" y="21"/>
                  </a:lnTo>
                  <a:lnTo>
                    <a:pt x="3" y="25"/>
                  </a:lnTo>
                  <a:lnTo>
                    <a:pt x="6" y="31"/>
                  </a:lnTo>
                  <a:lnTo>
                    <a:pt x="12" y="34"/>
                  </a:lnTo>
                  <a:lnTo>
                    <a:pt x="15" y="36"/>
                  </a:lnTo>
                  <a:lnTo>
                    <a:pt x="19" y="36"/>
                  </a:lnTo>
                  <a:lnTo>
                    <a:pt x="19" y="36"/>
                  </a:lnTo>
                  <a:lnTo>
                    <a:pt x="22" y="36"/>
                  </a:lnTo>
                  <a:lnTo>
                    <a:pt x="26" y="34"/>
                  </a:lnTo>
                  <a:lnTo>
                    <a:pt x="32" y="31"/>
                  </a:lnTo>
                  <a:lnTo>
                    <a:pt x="36" y="25"/>
                  </a:lnTo>
                  <a:lnTo>
                    <a:pt x="37" y="21"/>
                  </a:lnTo>
                  <a:lnTo>
                    <a:pt x="37" y="17"/>
                  </a:lnTo>
                  <a:lnTo>
                    <a:pt x="37" y="17"/>
                  </a:lnTo>
                  <a:lnTo>
                    <a:pt x="37" y="14"/>
                  </a:lnTo>
                  <a:lnTo>
                    <a:pt x="36" y="11"/>
                  </a:lnTo>
                  <a:lnTo>
                    <a:pt x="32" y="5"/>
                  </a:lnTo>
                  <a:lnTo>
                    <a:pt x="26" y="1"/>
                  </a:lnTo>
                  <a:lnTo>
                    <a:pt x="22" y="0"/>
                  </a:lnTo>
                  <a:lnTo>
                    <a:pt x="19"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4" name="Freeform 1090"/>
            <p:cNvSpPr>
              <a:spLocks/>
            </p:cNvSpPr>
            <p:nvPr/>
          </p:nvSpPr>
          <p:spPr bwMode="auto">
            <a:xfrm>
              <a:off x="5302308" y="2339988"/>
              <a:ext cx="11113" cy="11113"/>
            </a:xfrm>
            <a:custGeom>
              <a:avLst/>
              <a:gdLst>
                <a:gd name="T0" fmla="*/ 19 w 37"/>
                <a:gd name="T1" fmla="*/ 0 h 36"/>
                <a:gd name="T2" fmla="*/ 19 w 37"/>
                <a:gd name="T3" fmla="*/ 0 h 36"/>
                <a:gd name="T4" fmla="*/ 15 w 37"/>
                <a:gd name="T5" fmla="*/ 0 h 36"/>
                <a:gd name="T6" fmla="*/ 12 w 37"/>
                <a:gd name="T7" fmla="*/ 1 h 36"/>
                <a:gd name="T8" fmla="*/ 6 w 37"/>
                <a:gd name="T9" fmla="*/ 5 h 36"/>
                <a:gd name="T10" fmla="*/ 3 w 37"/>
                <a:gd name="T11" fmla="*/ 11 h 36"/>
                <a:gd name="T12" fmla="*/ 2 w 37"/>
                <a:gd name="T13" fmla="*/ 14 h 36"/>
                <a:gd name="T14" fmla="*/ 0 w 37"/>
                <a:gd name="T15" fmla="*/ 17 h 36"/>
                <a:gd name="T16" fmla="*/ 0 w 37"/>
                <a:gd name="T17" fmla="*/ 17 h 36"/>
                <a:gd name="T18" fmla="*/ 2 w 37"/>
                <a:gd name="T19" fmla="*/ 21 h 36"/>
                <a:gd name="T20" fmla="*/ 3 w 37"/>
                <a:gd name="T21" fmla="*/ 25 h 36"/>
                <a:gd name="T22" fmla="*/ 6 w 37"/>
                <a:gd name="T23" fmla="*/ 31 h 36"/>
                <a:gd name="T24" fmla="*/ 12 w 37"/>
                <a:gd name="T25" fmla="*/ 34 h 36"/>
                <a:gd name="T26" fmla="*/ 15 w 37"/>
                <a:gd name="T27" fmla="*/ 36 h 36"/>
                <a:gd name="T28" fmla="*/ 19 w 37"/>
                <a:gd name="T29" fmla="*/ 36 h 36"/>
                <a:gd name="T30" fmla="*/ 19 w 37"/>
                <a:gd name="T31" fmla="*/ 36 h 36"/>
                <a:gd name="T32" fmla="*/ 22 w 37"/>
                <a:gd name="T33" fmla="*/ 36 h 36"/>
                <a:gd name="T34" fmla="*/ 26 w 37"/>
                <a:gd name="T35" fmla="*/ 34 h 36"/>
                <a:gd name="T36" fmla="*/ 32 w 37"/>
                <a:gd name="T37" fmla="*/ 31 h 36"/>
                <a:gd name="T38" fmla="*/ 36 w 37"/>
                <a:gd name="T39" fmla="*/ 25 h 36"/>
                <a:gd name="T40" fmla="*/ 37 w 37"/>
                <a:gd name="T41" fmla="*/ 21 h 36"/>
                <a:gd name="T42" fmla="*/ 37 w 37"/>
                <a:gd name="T43" fmla="*/ 17 h 36"/>
                <a:gd name="T44" fmla="*/ 37 w 37"/>
                <a:gd name="T45" fmla="*/ 17 h 36"/>
                <a:gd name="T46" fmla="*/ 37 w 37"/>
                <a:gd name="T47" fmla="*/ 14 h 36"/>
                <a:gd name="T48" fmla="*/ 36 w 37"/>
                <a:gd name="T49" fmla="*/ 11 h 36"/>
                <a:gd name="T50" fmla="*/ 32 w 37"/>
                <a:gd name="T51" fmla="*/ 5 h 36"/>
                <a:gd name="T52" fmla="*/ 26 w 37"/>
                <a:gd name="T53" fmla="*/ 1 h 36"/>
                <a:gd name="T54" fmla="*/ 22 w 37"/>
                <a:gd name="T55" fmla="*/ 0 h 36"/>
                <a:gd name="T56" fmla="*/ 19 w 37"/>
                <a:gd name="T5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36">
                  <a:moveTo>
                    <a:pt x="19" y="0"/>
                  </a:moveTo>
                  <a:lnTo>
                    <a:pt x="19" y="0"/>
                  </a:lnTo>
                  <a:lnTo>
                    <a:pt x="15" y="0"/>
                  </a:lnTo>
                  <a:lnTo>
                    <a:pt x="12" y="1"/>
                  </a:lnTo>
                  <a:lnTo>
                    <a:pt x="6" y="5"/>
                  </a:lnTo>
                  <a:lnTo>
                    <a:pt x="3" y="11"/>
                  </a:lnTo>
                  <a:lnTo>
                    <a:pt x="2" y="14"/>
                  </a:lnTo>
                  <a:lnTo>
                    <a:pt x="0" y="17"/>
                  </a:lnTo>
                  <a:lnTo>
                    <a:pt x="0" y="17"/>
                  </a:lnTo>
                  <a:lnTo>
                    <a:pt x="2" y="21"/>
                  </a:lnTo>
                  <a:lnTo>
                    <a:pt x="3" y="25"/>
                  </a:lnTo>
                  <a:lnTo>
                    <a:pt x="6" y="31"/>
                  </a:lnTo>
                  <a:lnTo>
                    <a:pt x="12" y="34"/>
                  </a:lnTo>
                  <a:lnTo>
                    <a:pt x="15" y="36"/>
                  </a:lnTo>
                  <a:lnTo>
                    <a:pt x="19" y="36"/>
                  </a:lnTo>
                  <a:lnTo>
                    <a:pt x="19" y="36"/>
                  </a:lnTo>
                  <a:lnTo>
                    <a:pt x="22" y="36"/>
                  </a:lnTo>
                  <a:lnTo>
                    <a:pt x="26" y="34"/>
                  </a:lnTo>
                  <a:lnTo>
                    <a:pt x="32" y="31"/>
                  </a:lnTo>
                  <a:lnTo>
                    <a:pt x="36" y="25"/>
                  </a:lnTo>
                  <a:lnTo>
                    <a:pt x="37" y="21"/>
                  </a:lnTo>
                  <a:lnTo>
                    <a:pt x="37" y="17"/>
                  </a:lnTo>
                  <a:lnTo>
                    <a:pt x="37" y="17"/>
                  </a:lnTo>
                  <a:lnTo>
                    <a:pt x="37" y="14"/>
                  </a:lnTo>
                  <a:lnTo>
                    <a:pt x="36" y="11"/>
                  </a:lnTo>
                  <a:lnTo>
                    <a:pt x="32" y="5"/>
                  </a:lnTo>
                  <a:lnTo>
                    <a:pt x="26" y="1"/>
                  </a:lnTo>
                  <a:lnTo>
                    <a:pt x="22" y="0"/>
                  </a:lnTo>
                  <a:lnTo>
                    <a:pt x="1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5" name="Freeform 1091"/>
            <p:cNvSpPr>
              <a:spLocks/>
            </p:cNvSpPr>
            <p:nvPr/>
          </p:nvSpPr>
          <p:spPr bwMode="auto">
            <a:xfrm>
              <a:off x="5303895" y="2341576"/>
              <a:ext cx="9525" cy="9525"/>
            </a:xfrm>
            <a:custGeom>
              <a:avLst/>
              <a:gdLst>
                <a:gd name="T0" fmla="*/ 0 w 29"/>
                <a:gd name="T1" fmla="*/ 14 h 30"/>
                <a:gd name="T2" fmla="*/ 0 w 29"/>
                <a:gd name="T3" fmla="*/ 14 h 30"/>
                <a:gd name="T4" fmla="*/ 1 w 29"/>
                <a:gd name="T5" fmla="*/ 20 h 30"/>
                <a:gd name="T6" fmla="*/ 5 w 29"/>
                <a:gd name="T7" fmla="*/ 25 h 30"/>
                <a:gd name="T8" fmla="*/ 10 w 29"/>
                <a:gd name="T9" fmla="*/ 29 h 30"/>
                <a:gd name="T10" fmla="*/ 15 w 29"/>
                <a:gd name="T11" fmla="*/ 30 h 30"/>
                <a:gd name="T12" fmla="*/ 15 w 29"/>
                <a:gd name="T13" fmla="*/ 30 h 30"/>
                <a:gd name="T14" fmla="*/ 21 w 29"/>
                <a:gd name="T15" fmla="*/ 29 h 30"/>
                <a:gd name="T16" fmla="*/ 26 w 29"/>
                <a:gd name="T17" fmla="*/ 25 h 30"/>
                <a:gd name="T18" fmla="*/ 29 w 29"/>
                <a:gd name="T19" fmla="*/ 20 h 30"/>
                <a:gd name="T20" fmla="*/ 29 w 29"/>
                <a:gd name="T21" fmla="*/ 14 h 30"/>
                <a:gd name="T22" fmla="*/ 29 w 29"/>
                <a:gd name="T23" fmla="*/ 14 h 30"/>
                <a:gd name="T24" fmla="*/ 29 w 29"/>
                <a:gd name="T25" fmla="*/ 9 h 30"/>
                <a:gd name="T26" fmla="*/ 26 w 29"/>
                <a:gd name="T27" fmla="*/ 5 h 30"/>
                <a:gd name="T28" fmla="*/ 21 w 29"/>
                <a:gd name="T29" fmla="*/ 1 h 30"/>
                <a:gd name="T30" fmla="*/ 15 w 29"/>
                <a:gd name="T31" fmla="*/ 0 h 30"/>
                <a:gd name="T32" fmla="*/ 15 w 29"/>
                <a:gd name="T33" fmla="*/ 0 h 30"/>
                <a:gd name="T34" fmla="*/ 10 w 29"/>
                <a:gd name="T35" fmla="*/ 1 h 30"/>
                <a:gd name="T36" fmla="*/ 5 w 29"/>
                <a:gd name="T37" fmla="*/ 5 h 30"/>
                <a:gd name="T38" fmla="*/ 1 w 29"/>
                <a:gd name="T39" fmla="*/ 9 h 30"/>
                <a:gd name="T40" fmla="*/ 0 w 29"/>
                <a:gd name="T41" fmla="*/ 14 h 30"/>
                <a:gd name="T42" fmla="*/ 0 w 29"/>
                <a:gd name="T43" fmla="*/ 1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 h="30">
                  <a:moveTo>
                    <a:pt x="0" y="14"/>
                  </a:moveTo>
                  <a:lnTo>
                    <a:pt x="0" y="14"/>
                  </a:lnTo>
                  <a:lnTo>
                    <a:pt x="1" y="20"/>
                  </a:lnTo>
                  <a:lnTo>
                    <a:pt x="5" y="25"/>
                  </a:lnTo>
                  <a:lnTo>
                    <a:pt x="10" y="29"/>
                  </a:lnTo>
                  <a:lnTo>
                    <a:pt x="15" y="30"/>
                  </a:lnTo>
                  <a:lnTo>
                    <a:pt x="15" y="30"/>
                  </a:lnTo>
                  <a:lnTo>
                    <a:pt x="21" y="29"/>
                  </a:lnTo>
                  <a:lnTo>
                    <a:pt x="26" y="25"/>
                  </a:lnTo>
                  <a:lnTo>
                    <a:pt x="29" y="20"/>
                  </a:lnTo>
                  <a:lnTo>
                    <a:pt x="29" y="14"/>
                  </a:lnTo>
                  <a:lnTo>
                    <a:pt x="29" y="14"/>
                  </a:lnTo>
                  <a:lnTo>
                    <a:pt x="29" y="9"/>
                  </a:lnTo>
                  <a:lnTo>
                    <a:pt x="26" y="5"/>
                  </a:lnTo>
                  <a:lnTo>
                    <a:pt x="21" y="1"/>
                  </a:lnTo>
                  <a:lnTo>
                    <a:pt x="15" y="0"/>
                  </a:lnTo>
                  <a:lnTo>
                    <a:pt x="15" y="0"/>
                  </a:lnTo>
                  <a:lnTo>
                    <a:pt x="10" y="1"/>
                  </a:lnTo>
                  <a:lnTo>
                    <a:pt x="5" y="5"/>
                  </a:lnTo>
                  <a:lnTo>
                    <a:pt x="1" y="9"/>
                  </a:lnTo>
                  <a:lnTo>
                    <a:pt x="0" y="14"/>
                  </a:lnTo>
                  <a:lnTo>
                    <a:pt x="0" y="14"/>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6" name="Freeform 1092"/>
            <p:cNvSpPr>
              <a:spLocks/>
            </p:cNvSpPr>
            <p:nvPr/>
          </p:nvSpPr>
          <p:spPr bwMode="auto">
            <a:xfrm>
              <a:off x="5303895" y="2341576"/>
              <a:ext cx="9525" cy="3175"/>
            </a:xfrm>
            <a:custGeom>
              <a:avLst/>
              <a:gdLst>
                <a:gd name="T0" fmla="*/ 15 w 29"/>
                <a:gd name="T1" fmla="*/ 0 h 14"/>
                <a:gd name="T2" fmla="*/ 15 w 29"/>
                <a:gd name="T3" fmla="*/ 0 h 14"/>
                <a:gd name="T4" fmla="*/ 21 w 29"/>
                <a:gd name="T5" fmla="*/ 1 h 14"/>
                <a:gd name="T6" fmla="*/ 26 w 29"/>
                <a:gd name="T7" fmla="*/ 5 h 14"/>
                <a:gd name="T8" fmla="*/ 29 w 29"/>
                <a:gd name="T9" fmla="*/ 9 h 14"/>
                <a:gd name="T10" fmla="*/ 29 w 29"/>
                <a:gd name="T11" fmla="*/ 14 h 14"/>
                <a:gd name="T12" fmla="*/ 0 w 29"/>
                <a:gd name="T13" fmla="*/ 14 h 14"/>
                <a:gd name="T14" fmla="*/ 0 w 29"/>
                <a:gd name="T15" fmla="*/ 14 h 14"/>
                <a:gd name="T16" fmla="*/ 1 w 29"/>
                <a:gd name="T17" fmla="*/ 9 h 14"/>
                <a:gd name="T18" fmla="*/ 5 w 29"/>
                <a:gd name="T19" fmla="*/ 5 h 14"/>
                <a:gd name="T20" fmla="*/ 10 w 29"/>
                <a:gd name="T21" fmla="*/ 1 h 14"/>
                <a:gd name="T22" fmla="*/ 15 w 29"/>
                <a:gd name="T23" fmla="*/ 0 h 14"/>
                <a:gd name="T24" fmla="*/ 15 w 29"/>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14">
                  <a:moveTo>
                    <a:pt x="15" y="0"/>
                  </a:moveTo>
                  <a:lnTo>
                    <a:pt x="15" y="0"/>
                  </a:lnTo>
                  <a:lnTo>
                    <a:pt x="21" y="1"/>
                  </a:lnTo>
                  <a:lnTo>
                    <a:pt x="26" y="5"/>
                  </a:lnTo>
                  <a:lnTo>
                    <a:pt x="29" y="9"/>
                  </a:lnTo>
                  <a:lnTo>
                    <a:pt x="29" y="14"/>
                  </a:lnTo>
                  <a:lnTo>
                    <a:pt x="0" y="14"/>
                  </a:lnTo>
                  <a:lnTo>
                    <a:pt x="0" y="14"/>
                  </a:lnTo>
                  <a:lnTo>
                    <a:pt x="1" y="9"/>
                  </a:lnTo>
                  <a:lnTo>
                    <a:pt x="5" y="5"/>
                  </a:lnTo>
                  <a:lnTo>
                    <a:pt x="10" y="1"/>
                  </a:lnTo>
                  <a:lnTo>
                    <a:pt x="15" y="0"/>
                  </a:lnTo>
                  <a:lnTo>
                    <a:pt x="15"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7" name="Freeform 1093"/>
            <p:cNvSpPr>
              <a:spLocks/>
            </p:cNvSpPr>
            <p:nvPr/>
          </p:nvSpPr>
          <p:spPr bwMode="auto">
            <a:xfrm>
              <a:off x="5302308" y="2325701"/>
              <a:ext cx="11113" cy="11113"/>
            </a:xfrm>
            <a:custGeom>
              <a:avLst/>
              <a:gdLst>
                <a:gd name="T0" fmla="*/ 19 w 37"/>
                <a:gd name="T1" fmla="*/ 0 h 35"/>
                <a:gd name="T2" fmla="*/ 19 w 37"/>
                <a:gd name="T3" fmla="*/ 0 h 35"/>
                <a:gd name="T4" fmla="*/ 15 w 37"/>
                <a:gd name="T5" fmla="*/ 0 h 35"/>
                <a:gd name="T6" fmla="*/ 12 w 37"/>
                <a:gd name="T7" fmla="*/ 1 h 35"/>
                <a:gd name="T8" fmla="*/ 6 w 37"/>
                <a:gd name="T9" fmla="*/ 5 h 35"/>
                <a:gd name="T10" fmla="*/ 3 w 37"/>
                <a:gd name="T11" fmla="*/ 11 h 35"/>
                <a:gd name="T12" fmla="*/ 2 w 37"/>
                <a:gd name="T13" fmla="*/ 13 h 35"/>
                <a:gd name="T14" fmla="*/ 0 w 37"/>
                <a:gd name="T15" fmla="*/ 17 h 35"/>
                <a:gd name="T16" fmla="*/ 0 w 37"/>
                <a:gd name="T17" fmla="*/ 17 h 35"/>
                <a:gd name="T18" fmla="*/ 2 w 37"/>
                <a:gd name="T19" fmla="*/ 20 h 35"/>
                <a:gd name="T20" fmla="*/ 3 w 37"/>
                <a:gd name="T21" fmla="*/ 24 h 35"/>
                <a:gd name="T22" fmla="*/ 6 w 37"/>
                <a:gd name="T23" fmla="*/ 30 h 35"/>
                <a:gd name="T24" fmla="*/ 12 w 37"/>
                <a:gd name="T25" fmla="*/ 34 h 35"/>
                <a:gd name="T26" fmla="*/ 15 w 37"/>
                <a:gd name="T27" fmla="*/ 35 h 35"/>
                <a:gd name="T28" fmla="*/ 19 w 37"/>
                <a:gd name="T29" fmla="*/ 35 h 35"/>
                <a:gd name="T30" fmla="*/ 19 w 37"/>
                <a:gd name="T31" fmla="*/ 35 h 35"/>
                <a:gd name="T32" fmla="*/ 22 w 37"/>
                <a:gd name="T33" fmla="*/ 35 h 35"/>
                <a:gd name="T34" fmla="*/ 26 w 37"/>
                <a:gd name="T35" fmla="*/ 34 h 35"/>
                <a:gd name="T36" fmla="*/ 32 w 37"/>
                <a:gd name="T37" fmla="*/ 30 h 35"/>
                <a:gd name="T38" fmla="*/ 36 w 37"/>
                <a:gd name="T39" fmla="*/ 24 h 35"/>
                <a:gd name="T40" fmla="*/ 37 w 37"/>
                <a:gd name="T41" fmla="*/ 20 h 35"/>
                <a:gd name="T42" fmla="*/ 37 w 37"/>
                <a:gd name="T43" fmla="*/ 17 h 35"/>
                <a:gd name="T44" fmla="*/ 37 w 37"/>
                <a:gd name="T45" fmla="*/ 17 h 35"/>
                <a:gd name="T46" fmla="*/ 37 w 37"/>
                <a:gd name="T47" fmla="*/ 13 h 35"/>
                <a:gd name="T48" fmla="*/ 36 w 37"/>
                <a:gd name="T49" fmla="*/ 11 h 35"/>
                <a:gd name="T50" fmla="*/ 32 w 37"/>
                <a:gd name="T51" fmla="*/ 5 h 35"/>
                <a:gd name="T52" fmla="*/ 26 w 37"/>
                <a:gd name="T53" fmla="*/ 1 h 35"/>
                <a:gd name="T54" fmla="*/ 22 w 37"/>
                <a:gd name="T55" fmla="*/ 0 h 35"/>
                <a:gd name="T56" fmla="*/ 19 w 37"/>
                <a:gd name="T5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35">
                  <a:moveTo>
                    <a:pt x="19" y="0"/>
                  </a:moveTo>
                  <a:lnTo>
                    <a:pt x="19" y="0"/>
                  </a:lnTo>
                  <a:lnTo>
                    <a:pt x="15" y="0"/>
                  </a:lnTo>
                  <a:lnTo>
                    <a:pt x="12" y="1"/>
                  </a:lnTo>
                  <a:lnTo>
                    <a:pt x="6" y="5"/>
                  </a:lnTo>
                  <a:lnTo>
                    <a:pt x="3" y="11"/>
                  </a:lnTo>
                  <a:lnTo>
                    <a:pt x="2" y="13"/>
                  </a:lnTo>
                  <a:lnTo>
                    <a:pt x="0" y="17"/>
                  </a:lnTo>
                  <a:lnTo>
                    <a:pt x="0" y="17"/>
                  </a:lnTo>
                  <a:lnTo>
                    <a:pt x="2" y="20"/>
                  </a:lnTo>
                  <a:lnTo>
                    <a:pt x="3" y="24"/>
                  </a:lnTo>
                  <a:lnTo>
                    <a:pt x="6" y="30"/>
                  </a:lnTo>
                  <a:lnTo>
                    <a:pt x="12" y="34"/>
                  </a:lnTo>
                  <a:lnTo>
                    <a:pt x="15" y="35"/>
                  </a:lnTo>
                  <a:lnTo>
                    <a:pt x="19" y="35"/>
                  </a:lnTo>
                  <a:lnTo>
                    <a:pt x="19" y="35"/>
                  </a:lnTo>
                  <a:lnTo>
                    <a:pt x="22" y="35"/>
                  </a:lnTo>
                  <a:lnTo>
                    <a:pt x="26" y="34"/>
                  </a:lnTo>
                  <a:lnTo>
                    <a:pt x="32" y="30"/>
                  </a:lnTo>
                  <a:lnTo>
                    <a:pt x="36" y="24"/>
                  </a:lnTo>
                  <a:lnTo>
                    <a:pt x="37" y="20"/>
                  </a:lnTo>
                  <a:lnTo>
                    <a:pt x="37" y="17"/>
                  </a:lnTo>
                  <a:lnTo>
                    <a:pt x="37" y="17"/>
                  </a:lnTo>
                  <a:lnTo>
                    <a:pt x="37" y="13"/>
                  </a:lnTo>
                  <a:lnTo>
                    <a:pt x="36" y="11"/>
                  </a:lnTo>
                  <a:lnTo>
                    <a:pt x="32" y="5"/>
                  </a:lnTo>
                  <a:lnTo>
                    <a:pt x="26" y="1"/>
                  </a:lnTo>
                  <a:lnTo>
                    <a:pt x="22" y="0"/>
                  </a:lnTo>
                  <a:lnTo>
                    <a:pt x="19"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8" name="Freeform 1094"/>
            <p:cNvSpPr>
              <a:spLocks/>
            </p:cNvSpPr>
            <p:nvPr/>
          </p:nvSpPr>
          <p:spPr bwMode="auto">
            <a:xfrm>
              <a:off x="5302308" y="2325701"/>
              <a:ext cx="11113" cy="11113"/>
            </a:xfrm>
            <a:custGeom>
              <a:avLst/>
              <a:gdLst>
                <a:gd name="T0" fmla="*/ 19 w 37"/>
                <a:gd name="T1" fmla="*/ 0 h 35"/>
                <a:gd name="T2" fmla="*/ 19 w 37"/>
                <a:gd name="T3" fmla="*/ 0 h 35"/>
                <a:gd name="T4" fmla="*/ 15 w 37"/>
                <a:gd name="T5" fmla="*/ 0 h 35"/>
                <a:gd name="T6" fmla="*/ 12 w 37"/>
                <a:gd name="T7" fmla="*/ 1 h 35"/>
                <a:gd name="T8" fmla="*/ 6 w 37"/>
                <a:gd name="T9" fmla="*/ 5 h 35"/>
                <a:gd name="T10" fmla="*/ 3 w 37"/>
                <a:gd name="T11" fmla="*/ 11 h 35"/>
                <a:gd name="T12" fmla="*/ 2 w 37"/>
                <a:gd name="T13" fmla="*/ 13 h 35"/>
                <a:gd name="T14" fmla="*/ 0 w 37"/>
                <a:gd name="T15" fmla="*/ 17 h 35"/>
                <a:gd name="T16" fmla="*/ 0 w 37"/>
                <a:gd name="T17" fmla="*/ 17 h 35"/>
                <a:gd name="T18" fmla="*/ 2 w 37"/>
                <a:gd name="T19" fmla="*/ 20 h 35"/>
                <a:gd name="T20" fmla="*/ 3 w 37"/>
                <a:gd name="T21" fmla="*/ 24 h 35"/>
                <a:gd name="T22" fmla="*/ 6 w 37"/>
                <a:gd name="T23" fmla="*/ 30 h 35"/>
                <a:gd name="T24" fmla="*/ 12 w 37"/>
                <a:gd name="T25" fmla="*/ 34 h 35"/>
                <a:gd name="T26" fmla="*/ 15 w 37"/>
                <a:gd name="T27" fmla="*/ 35 h 35"/>
                <a:gd name="T28" fmla="*/ 19 w 37"/>
                <a:gd name="T29" fmla="*/ 35 h 35"/>
                <a:gd name="T30" fmla="*/ 19 w 37"/>
                <a:gd name="T31" fmla="*/ 35 h 35"/>
                <a:gd name="T32" fmla="*/ 22 w 37"/>
                <a:gd name="T33" fmla="*/ 35 h 35"/>
                <a:gd name="T34" fmla="*/ 26 w 37"/>
                <a:gd name="T35" fmla="*/ 34 h 35"/>
                <a:gd name="T36" fmla="*/ 32 w 37"/>
                <a:gd name="T37" fmla="*/ 30 h 35"/>
                <a:gd name="T38" fmla="*/ 36 w 37"/>
                <a:gd name="T39" fmla="*/ 24 h 35"/>
                <a:gd name="T40" fmla="*/ 37 w 37"/>
                <a:gd name="T41" fmla="*/ 20 h 35"/>
                <a:gd name="T42" fmla="*/ 37 w 37"/>
                <a:gd name="T43" fmla="*/ 17 h 35"/>
                <a:gd name="T44" fmla="*/ 37 w 37"/>
                <a:gd name="T45" fmla="*/ 17 h 35"/>
                <a:gd name="T46" fmla="*/ 37 w 37"/>
                <a:gd name="T47" fmla="*/ 13 h 35"/>
                <a:gd name="T48" fmla="*/ 36 w 37"/>
                <a:gd name="T49" fmla="*/ 11 h 35"/>
                <a:gd name="T50" fmla="*/ 32 w 37"/>
                <a:gd name="T51" fmla="*/ 5 h 35"/>
                <a:gd name="T52" fmla="*/ 26 w 37"/>
                <a:gd name="T53" fmla="*/ 1 h 35"/>
                <a:gd name="T54" fmla="*/ 22 w 37"/>
                <a:gd name="T55" fmla="*/ 0 h 35"/>
                <a:gd name="T56" fmla="*/ 19 w 37"/>
                <a:gd name="T5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35">
                  <a:moveTo>
                    <a:pt x="19" y="0"/>
                  </a:moveTo>
                  <a:lnTo>
                    <a:pt x="19" y="0"/>
                  </a:lnTo>
                  <a:lnTo>
                    <a:pt x="15" y="0"/>
                  </a:lnTo>
                  <a:lnTo>
                    <a:pt x="12" y="1"/>
                  </a:lnTo>
                  <a:lnTo>
                    <a:pt x="6" y="5"/>
                  </a:lnTo>
                  <a:lnTo>
                    <a:pt x="3" y="11"/>
                  </a:lnTo>
                  <a:lnTo>
                    <a:pt x="2" y="13"/>
                  </a:lnTo>
                  <a:lnTo>
                    <a:pt x="0" y="17"/>
                  </a:lnTo>
                  <a:lnTo>
                    <a:pt x="0" y="17"/>
                  </a:lnTo>
                  <a:lnTo>
                    <a:pt x="2" y="20"/>
                  </a:lnTo>
                  <a:lnTo>
                    <a:pt x="3" y="24"/>
                  </a:lnTo>
                  <a:lnTo>
                    <a:pt x="6" y="30"/>
                  </a:lnTo>
                  <a:lnTo>
                    <a:pt x="12" y="34"/>
                  </a:lnTo>
                  <a:lnTo>
                    <a:pt x="15" y="35"/>
                  </a:lnTo>
                  <a:lnTo>
                    <a:pt x="19" y="35"/>
                  </a:lnTo>
                  <a:lnTo>
                    <a:pt x="19" y="35"/>
                  </a:lnTo>
                  <a:lnTo>
                    <a:pt x="22" y="35"/>
                  </a:lnTo>
                  <a:lnTo>
                    <a:pt x="26" y="34"/>
                  </a:lnTo>
                  <a:lnTo>
                    <a:pt x="32" y="30"/>
                  </a:lnTo>
                  <a:lnTo>
                    <a:pt x="36" y="24"/>
                  </a:lnTo>
                  <a:lnTo>
                    <a:pt x="37" y="20"/>
                  </a:lnTo>
                  <a:lnTo>
                    <a:pt x="37" y="17"/>
                  </a:lnTo>
                  <a:lnTo>
                    <a:pt x="37" y="17"/>
                  </a:lnTo>
                  <a:lnTo>
                    <a:pt x="37" y="13"/>
                  </a:lnTo>
                  <a:lnTo>
                    <a:pt x="36" y="11"/>
                  </a:lnTo>
                  <a:lnTo>
                    <a:pt x="32" y="5"/>
                  </a:lnTo>
                  <a:lnTo>
                    <a:pt x="26" y="1"/>
                  </a:lnTo>
                  <a:lnTo>
                    <a:pt x="22" y="0"/>
                  </a:lnTo>
                  <a:lnTo>
                    <a:pt x="1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9" name="Freeform 1095"/>
            <p:cNvSpPr>
              <a:spLocks/>
            </p:cNvSpPr>
            <p:nvPr/>
          </p:nvSpPr>
          <p:spPr bwMode="auto">
            <a:xfrm>
              <a:off x="5303895" y="2325701"/>
              <a:ext cx="9525" cy="9525"/>
            </a:xfrm>
            <a:custGeom>
              <a:avLst/>
              <a:gdLst>
                <a:gd name="T0" fmla="*/ 0 w 29"/>
                <a:gd name="T1" fmla="*/ 15 h 31"/>
                <a:gd name="T2" fmla="*/ 0 w 29"/>
                <a:gd name="T3" fmla="*/ 15 h 31"/>
                <a:gd name="T4" fmla="*/ 1 w 29"/>
                <a:gd name="T5" fmla="*/ 21 h 31"/>
                <a:gd name="T6" fmla="*/ 5 w 29"/>
                <a:gd name="T7" fmla="*/ 26 h 31"/>
                <a:gd name="T8" fmla="*/ 10 w 29"/>
                <a:gd name="T9" fmla="*/ 29 h 31"/>
                <a:gd name="T10" fmla="*/ 15 w 29"/>
                <a:gd name="T11" fmla="*/ 31 h 31"/>
                <a:gd name="T12" fmla="*/ 15 w 29"/>
                <a:gd name="T13" fmla="*/ 31 h 31"/>
                <a:gd name="T14" fmla="*/ 21 w 29"/>
                <a:gd name="T15" fmla="*/ 29 h 31"/>
                <a:gd name="T16" fmla="*/ 26 w 29"/>
                <a:gd name="T17" fmla="*/ 26 h 31"/>
                <a:gd name="T18" fmla="*/ 29 w 29"/>
                <a:gd name="T19" fmla="*/ 21 h 31"/>
                <a:gd name="T20" fmla="*/ 29 w 29"/>
                <a:gd name="T21" fmla="*/ 15 h 31"/>
                <a:gd name="T22" fmla="*/ 29 w 29"/>
                <a:gd name="T23" fmla="*/ 15 h 31"/>
                <a:gd name="T24" fmla="*/ 29 w 29"/>
                <a:gd name="T25" fmla="*/ 10 h 31"/>
                <a:gd name="T26" fmla="*/ 26 w 29"/>
                <a:gd name="T27" fmla="*/ 5 h 31"/>
                <a:gd name="T28" fmla="*/ 21 w 29"/>
                <a:gd name="T29" fmla="*/ 1 h 31"/>
                <a:gd name="T30" fmla="*/ 15 w 29"/>
                <a:gd name="T31" fmla="*/ 0 h 31"/>
                <a:gd name="T32" fmla="*/ 15 w 29"/>
                <a:gd name="T33" fmla="*/ 0 h 31"/>
                <a:gd name="T34" fmla="*/ 10 w 29"/>
                <a:gd name="T35" fmla="*/ 1 h 31"/>
                <a:gd name="T36" fmla="*/ 5 w 29"/>
                <a:gd name="T37" fmla="*/ 5 h 31"/>
                <a:gd name="T38" fmla="*/ 1 w 29"/>
                <a:gd name="T39" fmla="*/ 10 h 31"/>
                <a:gd name="T40" fmla="*/ 0 w 29"/>
                <a:gd name="T41" fmla="*/ 15 h 31"/>
                <a:gd name="T42" fmla="*/ 0 w 29"/>
                <a:gd name="T43"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 h="31">
                  <a:moveTo>
                    <a:pt x="0" y="15"/>
                  </a:moveTo>
                  <a:lnTo>
                    <a:pt x="0" y="15"/>
                  </a:lnTo>
                  <a:lnTo>
                    <a:pt x="1" y="21"/>
                  </a:lnTo>
                  <a:lnTo>
                    <a:pt x="5" y="26"/>
                  </a:lnTo>
                  <a:lnTo>
                    <a:pt x="10" y="29"/>
                  </a:lnTo>
                  <a:lnTo>
                    <a:pt x="15" y="31"/>
                  </a:lnTo>
                  <a:lnTo>
                    <a:pt x="15" y="31"/>
                  </a:lnTo>
                  <a:lnTo>
                    <a:pt x="21" y="29"/>
                  </a:lnTo>
                  <a:lnTo>
                    <a:pt x="26" y="26"/>
                  </a:lnTo>
                  <a:lnTo>
                    <a:pt x="29" y="21"/>
                  </a:lnTo>
                  <a:lnTo>
                    <a:pt x="29" y="15"/>
                  </a:lnTo>
                  <a:lnTo>
                    <a:pt x="29" y="15"/>
                  </a:lnTo>
                  <a:lnTo>
                    <a:pt x="29" y="10"/>
                  </a:lnTo>
                  <a:lnTo>
                    <a:pt x="26" y="5"/>
                  </a:lnTo>
                  <a:lnTo>
                    <a:pt x="21" y="1"/>
                  </a:lnTo>
                  <a:lnTo>
                    <a:pt x="15" y="0"/>
                  </a:lnTo>
                  <a:lnTo>
                    <a:pt x="15" y="0"/>
                  </a:lnTo>
                  <a:lnTo>
                    <a:pt x="10" y="1"/>
                  </a:lnTo>
                  <a:lnTo>
                    <a:pt x="5" y="5"/>
                  </a:lnTo>
                  <a:lnTo>
                    <a:pt x="1" y="10"/>
                  </a:lnTo>
                  <a:lnTo>
                    <a:pt x="0" y="15"/>
                  </a:lnTo>
                  <a:lnTo>
                    <a:pt x="0" y="15"/>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20" name="Freeform 1096"/>
            <p:cNvSpPr>
              <a:spLocks/>
            </p:cNvSpPr>
            <p:nvPr/>
          </p:nvSpPr>
          <p:spPr bwMode="auto">
            <a:xfrm>
              <a:off x="5303895" y="2325701"/>
              <a:ext cx="9525" cy="4763"/>
            </a:xfrm>
            <a:custGeom>
              <a:avLst/>
              <a:gdLst>
                <a:gd name="T0" fmla="*/ 15 w 29"/>
                <a:gd name="T1" fmla="*/ 0 h 15"/>
                <a:gd name="T2" fmla="*/ 15 w 29"/>
                <a:gd name="T3" fmla="*/ 0 h 15"/>
                <a:gd name="T4" fmla="*/ 21 w 29"/>
                <a:gd name="T5" fmla="*/ 1 h 15"/>
                <a:gd name="T6" fmla="*/ 26 w 29"/>
                <a:gd name="T7" fmla="*/ 5 h 15"/>
                <a:gd name="T8" fmla="*/ 29 w 29"/>
                <a:gd name="T9" fmla="*/ 10 h 15"/>
                <a:gd name="T10" fmla="*/ 29 w 29"/>
                <a:gd name="T11" fmla="*/ 15 h 15"/>
                <a:gd name="T12" fmla="*/ 0 w 29"/>
                <a:gd name="T13" fmla="*/ 15 h 15"/>
                <a:gd name="T14" fmla="*/ 0 w 29"/>
                <a:gd name="T15" fmla="*/ 15 h 15"/>
                <a:gd name="T16" fmla="*/ 1 w 29"/>
                <a:gd name="T17" fmla="*/ 10 h 15"/>
                <a:gd name="T18" fmla="*/ 5 w 29"/>
                <a:gd name="T19" fmla="*/ 5 h 15"/>
                <a:gd name="T20" fmla="*/ 10 w 29"/>
                <a:gd name="T21" fmla="*/ 1 h 15"/>
                <a:gd name="T22" fmla="*/ 15 w 29"/>
                <a:gd name="T23" fmla="*/ 0 h 15"/>
                <a:gd name="T24" fmla="*/ 15 w 29"/>
                <a:gd name="T2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15">
                  <a:moveTo>
                    <a:pt x="15" y="0"/>
                  </a:moveTo>
                  <a:lnTo>
                    <a:pt x="15" y="0"/>
                  </a:lnTo>
                  <a:lnTo>
                    <a:pt x="21" y="1"/>
                  </a:lnTo>
                  <a:lnTo>
                    <a:pt x="26" y="5"/>
                  </a:lnTo>
                  <a:lnTo>
                    <a:pt x="29" y="10"/>
                  </a:lnTo>
                  <a:lnTo>
                    <a:pt x="29" y="15"/>
                  </a:lnTo>
                  <a:lnTo>
                    <a:pt x="0" y="15"/>
                  </a:lnTo>
                  <a:lnTo>
                    <a:pt x="0" y="15"/>
                  </a:lnTo>
                  <a:lnTo>
                    <a:pt x="1" y="10"/>
                  </a:lnTo>
                  <a:lnTo>
                    <a:pt x="5" y="5"/>
                  </a:lnTo>
                  <a:lnTo>
                    <a:pt x="10" y="1"/>
                  </a:lnTo>
                  <a:lnTo>
                    <a:pt x="15" y="0"/>
                  </a:lnTo>
                  <a:lnTo>
                    <a:pt x="15"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21" name="Freeform 1097"/>
            <p:cNvSpPr>
              <a:spLocks/>
            </p:cNvSpPr>
            <p:nvPr/>
          </p:nvSpPr>
          <p:spPr bwMode="auto">
            <a:xfrm>
              <a:off x="5321358" y="2339988"/>
              <a:ext cx="12700" cy="11113"/>
            </a:xfrm>
            <a:custGeom>
              <a:avLst/>
              <a:gdLst>
                <a:gd name="T0" fmla="*/ 19 w 37"/>
                <a:gd name="T1" fmla="*/ 0 h 36"/>
                <a:gd name="T2" fmla="*/ 19 w 37"/>
                <a:gd name="T3" fmla="*/ 0 h 36"/>
                <a:gd name="T4" fmla="*/ 15 w 37"/>
                <a:gd name="T5" fmla="*/ 0 h 36"/>
                <a:gd name="T6" fmla="*/ 11 w 37"/>
                <a:gd name="T7" fmla="*/ 1 h 36"/>
                <a:gd name="T8" fmla="*/ 7 w 37"/>
                <a:gd name="T9" fmla="*/ 5 h 36"/>
                <a:gd name="T10" fmla="*/ 2 w 37"/>
                <a:gd name="T11" fmla="*/ 11 h 36"/>
                <a:gd name="T12" fmla="*/ 0 w 37"/>
                <a:gd name="T13" fmla="*/ 14 h 36"/>
                <a:gd name="T14" fmla="*/ 0 w 37"/>
                <a:gd name="T15" fmla="*/ 17 h 36"/>
                <a:gd name="T16" fmla="*/ 0 w 37"/>
                <a:gd name="T17" fmla="*/ 17 h 36"/>
                <a:gd name="T18" fmla="*/ 0 w 37"/>
                <a:gd name="T19" fmla="*/ 21 h 36"/>
                <a:gd name="T20" fmla="*/ 2 w 37"/>
                <a:gd name="T21" fmla="*/ 25 h 36"/>
                <a:gd name="T22" fmla="*/ 7 w 37"/>
                <a:gd name="T23" fmla="*/ 31 h 36"/>
                <a:gd name="T24" fmla="*/ 11 w 37"/>
                <a:gd name="T25" fmla="*/ 34 h 36"/>
                <a:gd name="T26" fmla="*/ 15 w 37"/>
                <a:gd name="T27" fmla="*/ 36 h 36"/>
                <a:gd name="T28" fmla="*/ 19 w 37"/>
                <a:gd name="T29" fmla="*/ 36 h 36"/>
                <a:gd name="T30" fmla="*/ 19 w 37"/>
                <a:gd name="T31" fmla="*/ 36 h 36"/>
                <a:gd name="T32" fmla="*/ 22 w 37"/>
                <a:gd name="T33" fmla="*/ 36 h 36"/>
                <a:gd name="T34" fmla="*/ 26 w 37"/>
                <a:gd name="T35" fmla="*/ 34 h 36"/>
                <a:gd name="T36" fmla="*/ 32 w 37"/>
                <a:gd name="T37" fmla="*/ 31 h 36"/>
                <a:gd name="T38" fmla="*/ 36 w 37"/>
                <a:gd name="T39" fmla="*/ 25 h 36"/>
                <a:gd name="T40" fmla="*/ 37 w 37"/>
                <a:gd name="T41" fmla="*/ 21 h 36"/>
                <a:gd name="T42" fmla="*/ 37 w 37"/>
                <a:gd name="T43" fmla="*/ 17 h 36"/>
                <a:gd name="T44" fmla="*/ 37 w 37"/>
                <a:gd name="T45" fmla="*/ 17 h 36"/>
                <a:gd name="T46" fmla="*/ 37 w 37"/>
                <a:gd name="T47" fmla="*/ 14 h 36"/>
                <a:gd name="T48" fmla="*/ 36 w 37"/>
                <a:gd name="T49" fmla="*/ 11 h 36"/>
                <a:gd name="T50" fmla="*/ 32 w 37"/>
                <a:gd name="T51" fmla="*/ 5 h 36"/>
                <a:gd name="T52" fmla="*/ 26 w 37"/>
                <a:gd name="T53" fmla="*/ 1 h 36"/>
                <a:gd name="T54" fmla="*/ 22 w 37"/>
                <a:gd name="T55" fmla="*/ 0 h 36"/>
                <a:gd name="T56" fmla="*/ 19 w 37"/>
                <a:gd name="T5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36">
                  <a:moveTo>
                    <a:pt x="19" y="0"/>
                  </a:moveTo>
                  <a:lnTo>
                    <a:pt x="19" y="0"/>
                  </a:lnTo>
                  <a:lnTo>
                    <a:pt x="15" y="0"/>
                  </a:lnTo>
                  <a:lnTo>
                    <a:pt x="11" y="1"/>
                  </a:lnTo>
                  <a:lnTo>
                    <a:pt x="7" y="5"/>
                  </a:lnTo>
                  <a:lnTo>
                    <a:pt x="2" y="11"/>
                  </a:lnTo>
                  <a:lnTo>
                    <a:pt x="0" y="14"/>
                  </a:lnTo>
                  <a:lnTo>
                    <a:pt x="0" y="17"/>
                  </a:lnTo>
                  <a:lnTo>
                    <a:pt x="0" y="17"/>
                  </a:lnTo>
                  <a:lnTo>
                    <a:pt x="0" y="21"/>
                  </a:lnTo>
                  <a:lnTo>
                    <a:pt x="2" y="25"/>
                  </a:lnTo>
                  <a:lnTo>
                    <a:pt x="7" y="31"/>
                  </a:lnTo>
                  <a:lnTo>
                    <a:pt x="11" y="34"/>
                  </a:lnTo>
                  <a:lnTo>
                    <a:pt x="15" y="36"/>
                  </a:lnTo>
                  <a:lnTo>
                    <a:pt x="19" y="36"/>
                  </a:lnTo>
                  <a:lnTo>
                    <a:pt x="19" y="36"/>
                  </a:lnTo>
                  <a:lnTo>
                    <a:pt x="22" y="36"/>
                  </a:lnTo>
                  <a:lnTo>
                    <a:pt x="26" y="34"/>
                  </a:lnTo>
                  <a:lnTo>
                    <a:pt x="32" y="31"/>
                  </a:lnTo>
                  <a:lnTo>
                    <a:pt x="36" y="25"/>
                  </a:lnTo>
                  <a:lnTo>
                    <a:pt x="37" y="21"/>
                  </a:lnTo>
                  <a:lnTo>
                    <a:pt x="37" y="17"/>
                  </a:lnTo>
                  <a:lnTo>
                    <a:pt x="37" y="17"/>
                  </a:lnTo>
                  <a:lnTo>
                    <a:pt x="37" y="14"/>
                  </a:lnTo>
                  <a:lnTo>
                    <a:pt x="36" y="11"/>
                  </a:lnTo>
                  <a:lnTo>
                    <a:pt x="32" y="5"/>
                  </a:lnTo>
                  <a:lnTo>
                    <a:pt x="26" y="1"/>
                  </a:lnTo>
                  <a:lnTo>
                    <a:pt x="22" y="0"/>
                  </a:lnTo>
                  <a:lnTo>
                    <a:pt x="19" y="0"/>
                  </a:lnTo>
                  <a:close/>
                </a:path>
              </a:pathLst>
            </a:custGeom>
            <a:solidFill>
              <a:srgbClr val="8A8A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22" name="Freeform 1098"/>
            <p:cNvSpPr>
              <a:spLocks/>
            </p:cNvSpPr>
            <p:nvPr/>
          </p:nvSpPr>
          <p:spPr bwMode="auto">
            <a:xfrm>
              <a:off x="5321358" y="2339988"/>
              <a:ext cx="12700" cy="11113"/>
            </a:xfrm>
            <a:custGeom>
              <a:avLst/>
              <a:gdLst>
                <a:gd name="T0" fmla="*/ 19 w 37"/>
                <a:gd name="T1" fmla="*/ 0 h 36"/>
                <a:gd name="T2" fmla="*/ 19 w 37"/>
                <a:gd name="T3" fmla="*/ 0 h 36"/>
                <a:gd name="T4" fmla="*/ 15 w 37"/>
                <a:gd name="T5" fmla="*/ 0 h 36"/>
                <a:gd name="T6" fmla="*/ 11 w 37"/>
                <a:gd name="T7" fmla="*/ 1 h 36"/>
                <a:gd name="T8" fmla="*/ 7 w 37"/>
                <a:gd name="T9" fmla="*/ 5 h 36"/>
                <a:gd name="T10" fmla="*/ 2 w 37"/>
                <a:gd name="T11" fmla="*/ 11 h 36"/>
                <a:gd name="T12" fmla="*/ 0 w 37"/>
                <a:gd name="T13" fmla="*/ 14 h 36"/>
                <a:gd name="T14" fmla="*/ 0 w 37"/>
                <a:gd name="T15" fmla="*/ 17 h 36"/>
                <a:gd name="T16" fmla="*/ 0 w 37"/>
                <a:gd name="T17" fmla="*/ 17 h 36"/>
                <a:gd name="T18" fmla="*/ 0 w 37"/>
                <a:gd name="T19" fmla="*/ 21 h 36"/>
                <a:gd name="T20" fmla="*/ 2 w 37"/>
                <a:gd name="T21" fmla="*/ 25 h 36"/>
                <a:gd name="T22" fmla="*/ 7 w 37"/>
                <a:gd name="T23" fmla="*/ 31 h 36"/>
                <a:gd name="T24" fmla="*/ 11 w 37"/>
                <a:gd name="T25" fmla="*/ 34 h 36"/>
                <a:gd name="T26" fmla="*/ 15 w 37"/>
                <a:gd name="T27" fmla="*/ 36 h 36"/>
                <a:gd name="T28" fmla="*/ 19 w 37"/>
                <a:gd name="T29" fmla="*/ 36 h 36"/>
                <a:gd name="T30" fmla="*/ 19 w 37"/>
                <a:gd name="T31" fmla="*/ 36 h 36"/>
                <a:gd name="T32" fmla="*/ 22 w 37"/>
                <a:gd name="T33" fmla="*/ 36 h 36"/>
                <a:gd name="T34" fmla="*/ 26 w 37"/>
                <a:gd name="T35" fmla="*/ 34 h 36"/>
                <a:gd name="T36" fmla="*/ 32 w 37"/>
                <a:gd name="T37" fmla="*/ 31 h 36"/>
                <a:gd name="T38" fmla="*/ 36 w 37"/>
                <a:gd name="T39" fmla="*/ 25 h 36"/>
                <a:gd name="T40" fmla="*/ 37 w 37"/>
                <a:gd name="T41" fmla="*/ 21 h 36"/>
                <a:gd name="T42" fmla="*/ 37 w 37"/>
                <a:gd name="T43" fmla="*/ 17 h 36"/>
                <a:gd name="T44" fmla="*/ 37 w 37"/>
                <a:gd name="T45" fmla="*/ 17 h 36"/>
                <a:gd name="T46" fmla="*/ 37 w 37"/>
                <a:gd name="T47" fmla="*/ 14 h 36"/>
                <a:gd name="T48" fmla="*/ 36 w 37"/>
                <a:gd name="T49" fmla="*/ 11 h 36"/>
                <a:gd name="T50" fmla="*/ 32 w 37"/>
                <a:gd name="T51" fmla="*/ 5 h 36"/>
                <a:gd name="T52" fmla="*/ 26 w 37"/>
                <a:gd name="T53" fmla="*/ 1 h 36"/>
                <a:gd name="T54" fmla="*/ 22 w 37"/>
                <a:gd name="T55" fmla="*/ 0 h 36"/>
                <a:gd name="T56" fmla="*/ 19 w 37"/>
                <a:gd name="T5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36">
                  <a:moveTo>
                    <a:pt x="19" y="0"/>
                  </a:moveTo>
                  <a:lnTo>
                    <a:pt x="19" y="0"/>
                  </a:lnTo>
                  <a:lnTo>
                    <a:pt x="15" y="0"/>
                  </a:lnTo>
                  <a:lnTo>
                    <a:pt x="11" y="1"/>
                  </a:lnTo>
                  <a:lnTo>
                    <a:pt x="7" y="5"/>
                  </a:lnTo>
                  <a:lnTo>
                    <a:pt x="2" y="11"/>
                  </a:lnTo>
                  <a:lnTo>
                    <a:pt x="0" y="14"/>
                  </a:lnTo>
                  <a:lnTo>
                    <a:pt x="0" y="17"/>
                  </a:lnTo>
                  <a:lnTo>
                    <a:pt x="0" y="17"/>
                  </a:lnTo>
                  <a:lnTo>
                    <a:pt x="0" y="21"/>
                  </a:lnTo>
                  <a:lnTo>
                    <a:pt x="2" y="25"/>
                  </a:lnTo>
                  <a:lnTo>
                    <a:pt x="7" y="31"/>
                  </a:lnTo>
                  <a:lnTo>
                    <a:pt x="11" y="34"/>
                  </a:lnTo>
                  <a:lnTo>
                    <a:pt x="15" y="36"/>
                  </a:lnTo>
                  <a:lnTo>
                    <a:pt x="19" y="36"/>
                  </a:lnTo>
                  <a:lnTo>
                    <a:pt x="19" y="36"/>
                  </a:lnTo>
                  <a:lnTo>
                    <a:pt x="22" y="36"/>
                  </a:lnTo>
                  <a:lnTo>
                    <a:pt x="26" y="34"/>
                  </a:lnTo>
                  <a:lnTo>
                    <a:pt x="32" y="31"/>
                  </a:lnTo>
                  <a:lnTo>
                    <a:pt x="36" y="25"/>
                  </a:lnTo>
                  <a:lnTo>
                    <a:pt x="37" y="21"/>
                  </a:lnTo>
                  <a:lnTo>
                    <a:pt x="37" y="17"/>
                  </a:lnTo>
                  <a:lnTo>
                    <a:pt x="37" y="17"/>
                  </a:lnTo>
                  <a:lnTo>
                    <a:pt x="37" y="14"/>
                  </a:lnTo>
                  <a:lnTo>
                    <a:pt x="36" y="11"/>
                  </a:lnTo>
                  <a:lnTo>
                    <a:pt x="32" y="5"/>
                  </a:lnTo>
                  <a:lnTo>
                    <a:pt x="26" y="1"/>
                  </a:lnTo>
                  <a:lnTo>
                    <a:pt x="22" y="0"/>
                  </a:lnTo>
                  <a:lnTo>
                    <a:pt x="1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23" name="Freeform 1099"/>
            <p:cNvSpPr>
              <a:spLocks/>
            </p:cNvSpPr>
            <p:nvPr/>
          </p:nvSpPr>
          <p:spPr bwMode="auto">
            <a:xfrm>
              <a:off x="5322945" y="2341576"/>
              <a:ext cx="9525" cy="9525"/>
            </a:xfrm>
            <a:custGeom>
              <a:avLst/>
              <a:gdLst>
                <a:gd name="T0" fmla="*/ 0 w 29"/>
                <a:gd name="T1" fmla="*/ 14 h 30"/>
                <a:gd name="T2" fmla="*/ 0 w 29"/>
                <a:gd name="T3" fmla="*/ 14 h 30"/>
                <a:gd name="T4" fmla="*/ 1 w 29"/>
                <a:gd name="T5" fmla="*/ 20 h 30"/>
                <a:gd name="T6" fmla="*/ 5 w 29"/>
                <a:gd name="T7" fmla="*/ 25 h 30"/>
                <a:gd name="T8" fmla="*/ 9 w 29"/>
                <a:gd name="T9" fmla="*/ 29 h 30"/>
                <a:gd name="T10" fmla="*/ 15 w 29"/>
                <a:gd name="T11" fmla="*/ 30 h 30"/>
                <a:gd name="T12" fmla="*/ 15 w 29"/>
                <a:gd name="T13" fmla="*/ 30 h 30"/>
                <a:gd name="T14" fmla="*/ 21 w 29"/>
                <a:gd name="T15" fmla="*/ 29 h 30"/>
                <a:gd name="T16" fmla="*/ 26 w 29"/>
                <a:gd name="T17" fmla="*/ 25 h 30"/>
                <a:gd name="T18" fmla="*/ 28 w 29"/>
                <a:gd name="T19" fmla="*/ 20 h 30"/>
                <a:gd name="T20" fmla="*/ 29 w 29"/>
                <a:gd name="T21" fmla="*/ 14 h 30"/>
                <a:gd name="T22" fmla="*/ 29 w 29"/>
                <a:gd name="T23" fmla="*/ 14 h 30"/>
                <a:gd name="T24" fmla="*/ 28 w 29"/>
                <a:gd name="T25" fmla="*/ 9 h 30"/>
                <a:gd name="T26" fmla="*/ 26 w 29"/>
                <a:gd name="T27" fmla="*/ 5 h 30"/>
                <a:gd name="T28" fmla="*/ 21 w 29"/>
                <a:gd name="T29" fmla="*/ 1 h 30"/>
                <a:gd name="T30" fmla="*/ 15 w 29"/>
                <a:gd name="T31" fmla="*/ 0 h 30"/>
                <a:gd name="T32" fmla="*/ 15 w 29"/>
                <a:gd name="T33" fmla="*/ 0 h 30"/>
                <a:gd name="T34" fmla="*/ 9 w 29"/>
                <a:gd name="T35" fmla="*/ 1 h 30"/>
                <a:gd name="T36" fmla="*/ 5 w 29"/>
                <a:gd name="T37" fmla="*/ 5 h 30"/>
                <a:gd name="T38" fmla="*/ 1 w 29"/>
                <a:gd name="T39" fmla="*/ 9 h 30"/>
                <a:gd name="T40" fmla="*/ 0 w 29"/>
                <a:gd name="T41" fmla="*/ 14 h 30"/>
                <a:gd name="T42" fmla="*/ 0 w 29"/>
                <a:gd name="T43" fmla="*/ 1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 h="30">
                  <a:moveTo>
                    <a:pt x="0" y="14"/>
                  </a:moveTo>
                  <a:lnTo>
                    <a:pt x="0" y="14"/>
                  </a:lnTo>
                  <a:lnTo>
                    <a:pt x="1" y="20"/>
                  </a:lnTo>
                  <a:lnTo>
                    <a:pt x="5" y="25"/>
                  </a:lnTo>
                  <a:lnTo>
                    <a:pt x="9" y="29"/>
                  </a:lnTo>
                  <a:lnTo>
                    <a:pt x="15" y="30"/>
                  </a:lnTo>
                  <a:lnTo>
                    <a:pt x="15" y="30"/>
                  </a:lnTo>
                  <a:lnTo>
                    <a:pt x="21" y="29"/>
                  </a:lnTo>
                  <a:lnTo>
                    <a:pt x="26" y="25"/>
                  </a:lnTo>
                  <a:lnTo>
                    <a:pt x="28" y="20"/>
                  </a:lnTo>
                  <a:lnTo>
                    <a:pt x="29" y="14"/>
                  </a:lnTo>
                  <a:lnTo>
                    <a:pt x="29" y="14"/>
                  </a:lnTo>
                  <a:lnTo>
                    <a:pt x="28" y="9"/>
                  </a:lnTo>
                  <a:lnTo>
                    <a:pt x="26" y="5"/>
                  </a:lnTo>
                  <a:lnTo>
                    <a:pt x="21" y="1"/>
                  </a:lnTo>
                  <a:lnTo>
                    <a:pt x="15" y="0"/>
                  </a:lnTo>
                  <a:lnTo>
                    <a:pt x="15" y="0"/>
                  </a:lnTo>
                  <a:lnTo>
                    <a:pt x="9" y="1"/>
                  </a:lnTo>
                  <a:lnTo>
                    <a:pt x="5" y="5"/>
                  </a:lnTo>
                  <a:lnTo>
                    <a:pt x="1" y="9"/>
                  </a:lnTo>
                  <a:lnTo>
                    <a:pt x="0" y="14"/>
                  </a:lnTo>
                  <a:lnTo>
                    <a:pt x="0" y="14"/>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24" name="Freeform 1100"/>
            <p:cNvSpPr>
              <a:spLocks/>
            </p:cNvSpPr>
            <p:nvPr/>
          </p:nvSpPr>
          <p:spPr bwMode="auto">
            <a:xfrm>
              <a:off x="5322945" y="2341576"/>
              <a:ext cx="9525" cy="3175"/>
            </a:xfrm>
            <a:custGeom>
              <a:avLst/>
              <a:gdLst>
                <a:gd name="T0" fmla="*/ 15 w 29"/>
                <a:gd name="T1" fmla="*/ 0 h 14"/>
                <a:gd name="T2" fmla="*/ 15 w 29"/>
                <a:gd name="T3" fmla="*/ 0 h 14"/>
                <a:gd name="T4" fmla="*/ 21 w 29"/>
                <a:gd name="T5" fmla="*/ 1 h 14"/>
                <a:gd name="T6" fmla="*/ 26 w 29"/>
                <a:gd name="T7" fmla="*/ 5 h 14"/>
                <a:gd name="T8" fmla="*/ 28 w 29"/>
                <a:gd name="T9" fmla="*/ 9 h 14"/>
                <a:gd name="T10" fmla="*/ 29 w 29"/>
                <a:gd name="T11" fmla="*/ 14 h 14"/>
                <a:gd name="T12" fmla="*/ 0 w 29"/>
                <a:gd name="T13" fmla="*/ 14 h 14"/>
                <a:gd name="T14" fmla="*/ 0 w 29"/>
                <a:gd name="T15" fmla="*/ 14 h 14"/>
                <a:gd name="T16" fmla="*/ 1 w 29"/>
                <a:gd name="T17" fmla="*/ 9 h 14"/>
                <a:gd name="T18" fmla="*/ 5 w 29"/>
                <a:gd name="T19" fmla="*/ 5 h 14"/>
                <a:gd name="T20" fmla="*/ 9 w 29"/>
                <a:gd name="T21" fmla="*/ 1 h 14"/>
                <a:gd name="T22" fmla="*/ 15 w 29"/>
                <a:gd name="T23" fmla="*/ 0 h 14"/>
                <a:gd name="T24" fmla="*/ 15 w 29"/>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14">
                  <a:moveTo>
                    <a:pt x="15" y="0"/>
                  </a:moveTo>
                  <a:lnTo>
                    <a:pt x="15" y="0"/>
                  </a:lnTo>
                  <a:lnTo>
                    <a:pt x="21" y="1"/>
                  </a:lnTo>
                  <a:lnTo>
                    <a:pt x="26" y="5"/>
                  </a:lnTo>
                  <a:lnTo>
                    <a:pt x="28" y="9"/>
                  </a:lnTo>
                  <a:lnTo>
                    <a:pt x="29" y="14"/>
                  </a:lnTo>
                  <a:lnTo>
                    <a:pt x="0" y="14"/>
                  </a:lnTo>
                  <a:lnTo>
                    <a:pt x="0" y="14"/>
                  </a:lnTo>
                  <a:lnTo>
                    <a:pt x="1" y="9"/>
                  </a:lnTo>
                  <a:lnTo>
                    <a:pt x="5" y="5"/>
                  </a:lnTo>
                  <a:lnTo>
                    <a:pt x="9" y="1"/>
                  </a:lnTo>
                  <a:lnTo>
                    <a:pt x="15" y="0"/>
                  </a:lnTo>
                  <a:lnTo>
                    <a:pt x="15"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25" name="Freeform 1101"/>
            <p:cNvSpPr>
              <a:spLocks/>
            </p:cNvSpPr>
            <p:nvPr/>
          </p:nvSpPr>
          <p:spPr bwMode="auto">
            <a:xfrm>
              <a:off x="5321358" y="2325701"/>
              <a:ext cx="12700" cy="11113"/>
            </a:xfrm>
            <a:custGeom>
              <a:avLst/>
              <a:gdLst>
                <a:gd name="T0" fmla="*/ 19 w 37"/>
                <a:gd name="T1" fmla="*/ 0 h 35"/>
                <a:gd name="T2" fmla="*/ 19 w 37"/>
                <a:gd name="T3" fmla="*/ 0 h 35"/>
                <a:gd name="T4" fmla="*/ 15 w 37"/>
                <a:gd name="T5" fmla="*/ 0 h 35"/>
                <a:gd name="T6" fmla="*/ 11 w 37"/>
                <a:gd name="T7" fmla="*/ 1 h 35"/>
                <a:gd name="T8" fmla="*/ 7 w 37"/>
                <a:gd name="T9" fmla="*/ 5 h 35"/>
                <a:gd name="T10" fmla="*/ 2 w 37"/>
                <a:gd name="T11" fmla="*/ 11 h 35"/>
                <a:gd name="T12" fmla="*/ 0 w 37"/>
                <a:gd name="T13" fmla="*/ 13 h 35"/>
                <a:gd name="T14" fmla="*/ 0 w 37"/>
                <a:gd name="T15" fmla="*/ 17 h 35"/>
                <a:gd name="T16" fmla="*/ 0 w 37"/>
                <a:gd name="T17" fmla="*/ 17 h 35"/>
                <a:gd name="T18" fmla="*/ 0 w 37"/>
                <a:gd name="T19" fmla="*/ 20 h 35"/>
                <a:gd name="T20" fmla="*/ 2 w 37"/>
                <a:gd name="T21" fmla="*/ 24 h 35"/>
                <a:gd name="T22" fmla="*/ 7 w 37"/>
                <a:gd name="T23" fmla="*/ 30 h 35"/>
                <a:gd name="T24" fmla="*/ 11 w 37"/>
                <a:gd name="T25" fmla="*/ 34 h 35"/>
                <a:gd name="T26" fmla="*/ 15 w 37"/>
                <a:gd name="T27" fmla="*/ 35 h 35"/>
                <a:gd name="T28" fmla="*/ 19 w 37"/>
                <a:gd name="T29" fmla="*/ 35 h 35"/>
                <a:gd name="T30" fmla="*/ 19 w 37"/>
                <a:gd name="T31" fmla="*/ 35 h 35"/>
                <a:gd name="T32" fmla="*/ 22 w 37"/>
                <a:gd name="T33" fmla="*/ 35 h 35"/>
                <a:gd name="T34" fmla="*/ 26 w 37"/>
                <a:gd name="T35" fmla="*/ 34 h 35"/>
                <a:gd name="T36" fmla="*/ 32 w 37"/>
                <a:gd name="T37" fmla="*/ 30 h 35"/>
                <a:gd name="T38" fmla="*/ 36 w 37"/>
                <a:gd name="T39" fmla="*/ 24 h 35"/>
                <a:gd name="T40" fmla="*/ 37 w 37"/>
                <a:gd name="T41" fmla="*/ 20 h 35"/>
                <a:gd name="T42" fmla="*/ 37 w 37"/>
                <a:gd name="T43" fmla="*/ 17 h 35"/>
                <a:gd name="T44" fmla="*/ 37 w 37"/>
                <a:gd name="T45" fmla="*/ 17 h 35"/>
                <a:gd name="T46" fmla="*/ 37 w 37"/>
                <a:gd name="T47" fmla="*/ 13 h 35"/>
                <a:gd name="T48" fmla="*/ 36 w 37"/>
                <a:gd name="T49" fmla="*/ 11 h 35"/>
                <a:gd name="T50" fmla="*/ 32 w 37"/>
                <a:gd name="T51" fmla="*/ 5 h 35"/>
                <a:gd name="T52" fmla="*/ 26 w 37"/>
                <a:gd name="T53" fmla="*/ 1 h 35"/>
                <a:gd name="T54" fmla="*/ 22 w 37"/>
                <a:gd name="T55" fmla="*/ 0 h 35"/>
                <a:gd name="T56" fmla="*/ 19 w 37"/>
                <a:gd name="T5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35">
                  <a:moveTo>
                    <a:pt x="19" y="0"/>
                  </a:moveTo>
                  <a:lnTo>
                    <a:pt x="19" y="0"/>
                  </a:lnTo>
                  <a:lnTo>
                    <a:pt x="15" y="0"/>
                  </a:lnTo>
                  <a:lnTo>
                    <a:pt x="11" y="1"/>
                  </a:lnTo>
                  <a:lnTo>
                    <a:pt x="7" y="5"/>
                  </a:lnTo>
                  <a:lnTo>
                    <a:pt x="2" y="11"/>
                  </a:lnTo>
                  <a:lnTo>
                    <a:pt x="0" y="13"/>
                  </a:lnTo>
                  <a:lnTo>
                    <a:pt x="0" y="17"/>
                  </a:lnTo>
                  <a:lnTo>
                    <a:pt x="0" y="17"/>
                  </a:lnTo>
                  <a:lnTo>
                    <a:pt x="0" y="20"/>
                  </a:lnTo>
                  <a:lnTo>
                    <a:pt x="2" y="24"/>
                  </a:lnTo>
                  <a:lnTo>
                    <a:pt x="7" y="30"/>
                  </a:lnTo>
                  <a:lnTo>
                    <a:pt x="11" y="34"/>
                  </a:lnTo>
                  <a:lnTo>
                    <a:pt x="15" y="35"/>
                  </a:lnTo>
                  <a:lnTo>
                    <a:pt x="19" y="35"/>
                  </a:lnTo>
                  <a:lnTo>
                    <a:pt x="19" y="35"/>
                  </a:lnTo>
                  <a:lnTo>
                    <a:pt x="22" y="35"/>
                  </a:lnTo>
                  <a:lnTo>
                    <a:pt x="26" y="34"/>
                  </a:lnTo>
                  <a:lnTo>
                    <a:pt x="32" y="30"/>
                  </a:lnTo>
                  <a:lnTo>
                    <a:pt x="36" y="24"/>
                  </a:lnTo>
                  <a:lnTo>
                    <a:pt x="37" y="20"/>
                  </a:lnTo>
                  <a:lnTo>
                    <a:pt x="37" y="17"/>
                  </a:lnTo>
                  <a:lnTo>
                    <a:pt x="37" y="17"/>
                  </a:lnTo>
                  <a:lnTo>
                    <a:pt x="37" y="13"/>
                  </a:lnTo>
                  <a:lnTo>
                    <a:pt x="36" y="11"/>
                  </a:lnTo>
                  <a:lnTo>
                    <a:pt x="32" y="5"/>
                  </a:lnTo>
                  <a:lnTo>
                    <a:pt x="26" y="1"/>
                  </a:lnTo>
                  <a:lnTo>
                    <a:pt x="22" y="0"/>
                  </a:lnTo>
                  <a:lnTo>
                    <a:pt x="19" y="0"/>
                  </a:lnTo>
                  <a:close/>
                </a:path>
              </a:pathLst>
            </a:custGeom>
            <a:solidFill>
              <a:srgbClr val="8A8A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26" name="Freeform 1102"/>
            <p:cNvSpPr>
              <a:spLocks/>
            </p:cNvSpPr>
            <p:nvPr/>
          </p:nvSpPr>
          <p:spPr bwMode="auto">
            <a:xfrm>
              <a:off x="5321358" y="2325701"/>
              <a:ext cx="12700" cy="11113"/>
            </a:xfrm>
            <a:custGeom>
              <a:avLst/>
              <a:gdLst>
                <a:gd name="T0" fmla="*/ 19 w 37"/>
                <a:gd name="T1" fmla="*/ 0 h 35"/>
                <a:gd name="T2" fmla="*/ 19 w 37"/>
                <a:gd name="T3" fmla="*/ 0 h 35"/>
                <a:gd name="T4" fmla="*/ 15 w 37"/>
                <a:gd name="T5" fmla="*/ 0 h 35"/>
                <a:gd name="T6" fmla="*/ 11 w 37"/>
                <a:gd name="T7" fmla="*/ 1 h 35"/>
                <a:gd name="T8" fmla="*/ 7 w 37"/>
                <a:gd name="T9" fmla="*/ 5 h 35"/>
                <a:gd name="T10" fmla="*/ 2 w 37"/>
                <a:gd name="T11" fmla="*/ 11 h 35"/>
                <a:gd name="T12" fmla="*/ 0 w 37"/>
                <a:gd name="T13" fmla="*/ 13 h 35"/>
                <a:gd name="T14" fmla="*/ 0 w 37"/>
                <a:gd name="T15" fmla="*/ 17 h 35"/>
                <a:gd name="T16" fmla="*/ 0 w 37"/>
                <a:gd name="T17" fmla="*/ 17 h 35"/>
                <a:gd name="T18" fmla="*/ 0 w 37"/>
                <a:gd name="T19" fmla="*/ 20 h 35"/>
                <a:gd name="T20" fmla="*/ 2 w 37"/>
                <a:gd name="T21" fmla="*/ 24 h 35"/>
                <a:gd name="T22" fmla="*/ 7 w 37"/>
                <a:gd name="T23" fmla="*/ 30 h 35"/>
                <a:gd name="T24" fmla="*/ 11 w 37"/>
                <a:gd name="T25" fmla="*/ 34 h 35"/>
                <a:gd name="T26" fmla="*/ 15 w 37"/>
                <a:gd name="T27" fmla="*/ 35 h 35"/>
                <a:gd name="T28" fmla="*/ 19 w 37"/>
                <a:gd name="T29" fmla="*/ 35 h 35"/>
                <a:gd name="T30" fmla="*/ 19 w 37"/>
                <a:gd name="T31" fmla="*/ 35 h 35"/>
                <a:gd name="T32" fmla="*/ 22 w 37"/>
                <a:gd name="T33" fmla="*/ 35 h 35"/>
                <a:gd name="T34" fmla="*/ 26 w 37"/>
                <a:gd name="T35" fmla="*/ 34 h 35"/>
                <a:gd name="T36" fmla="*/ 32 w 37"/>
                <a:gd name="T37" fmla="*/ 30 h 35"/>
                <a:gd name="T38" fmla="*/ 36 w 37"/>
                <a:gd name="T39" fmla="*/ 24 h 35"/>
                <a:gd name="T40" fmla="*/ 37 w 37"/>
                <a:gd name="T41" fmla="*/ 20 h 35"/>
                <a:gd name="T42" fmla="*/ 37 w 37"/>
                <a:gd name="T43" fmla="*/ 17 h 35"/>
                <a:gd name="T44" fmla="*/ 37 w 37"/>
                <a:gd name="T45" fmla="*/ 17 h 35"/>
                <a:gd name="T46" fmla="*/ 37 w 37"/>
                <a:gd name="T47" fmla="*/ 13 h 35"/>
                <a:gd name="T48" fmla="*/ 36 w 37"/>
                <a:gd name="T49" fmla="*/ 11 h 35"/>
                <a:gd name="T50" fmla="*/ 32 w 37"/>
                <a:gd name="T51" fmla="*/ 5 h 35"/>
                <a:gd name="T52" fmla="*/ 26 w 37"/>
                <a:gd name="T53" fmla="*/ 1 h 35"/>
                <a:gd name="T54" fmla="*/ 22 w 37"/>
                <a:gd name="T55" fmla="*/ 0 h 35"/>
                <a:gd name="T56" fmla="*/ 19 w 37"/>
                <a:gd name="T5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35">
                  <a:moveTo>
                    <a:pt x="19" y="0"/>
                  </a:moveTo>
                  <a:lnTo>
                    <a:pt x="19" y="0"/>
                  </a:lnTo>
                  <a:lnTo>
                    <a:pt x="15" y="0"/>
                  </a:lnTo>
                  <a:lnTo>
                    <a:pt x="11" y="1"/>
                  </a:lnTo>
                  <a:lnTo>
                    <a:pt x="7" y="5"/>
                  </a:lnTo>
                  <a:lnTo>
                    <a:pt x="2" y="11"/>
                  </a:lnTo>
                  <a:lnTo>
                    <a:pt x="0" y="13"/>
                  </a:lnTo>
                  <a:lnTo>
                    <a:pt x="0" y="17"/>
                  </a:lnTo>
                  <a:lnTo>
                    <a:pt x="0" y="17"/>
                  </a:lnTo>
                  <a:lnTo>
                    <a:pt x="0" y="20"/>
                  </a:lnTo>
                  <a:lnTo>
                    <a:pt x="2" y="24"/>
                  </a:lnTo>
                  <a:lnTo>
                    <a:pt x="7" y="30"/>
                  </a:lnTo>
                  <a:lnTo>
                    <a:pt x="11" y="34"/>
                  </a:lnTo>
                  <a:lnTo>
                    <a:pt x="15" y="35"/>
                  </a:lnTo>
                  <a:lnTo>
                    <a:pt x="19" y="35"/>
                  </a:lnTo>
                  <a:lnTo>
                    <a:pt x="19" y="35"/>
                  </a:lnTo>
                  <a:lnTo>
                    <a:pt x="22" y="35"/>
                  </a:lnTo>
                  <a:lnTo>
                    <a:pt x="26" y="34"/>
                  </a:lnTo>
                  <a:lnTo>
                    <a:pt x="32" y="30"/>
                  </a:lnTo>
                  <a:lnTo>
                    <a:pt x="36" y="24"/>
                  </a:lnTo>
                  <a:lnTo>
                    <a:pt x="37" y="20"/>
                  </a:lnTo>
                  <a:lnTo>
                    <a:pt x="37" y="17"/>
                  </a:lnTo>
                  <a:lnTo>
                    <a:pt x="37" y="17"/>
                  </a:lnTo>
                  <a:lnTo>
                    <a:pt x="37" y="13"/>
                  </a:lnTo>
                  <a:lnTo>
                    <a:pt x="36" y="11"/>
                  </a:lnTo>
                  <a:lnTo>
                    <a:pt x="32" y="5"/>
                  </a:lnTo>
                  <a:lnTo>
                    <a:pt x="26" y="1"/>
                  </a:lnTo>
                  <a:lnTo>
                    <a:pt x="22" y="0"/>
                  </a:lnTo>
                  <a:lnTo>
                    <a:pt x="1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27" name="Freeform 1103"/>
            <p:cNvSpPr>
              <a:spLocks/>
            </p:cNvSpPr>
            <p:nvPr/>
          </p:nvSpPr>
          <p:spPr bwMode="auto">
            <a:xfrm>
              <a:off x="5322945" y="2325701"/>
              <a:ext cx="9525" cy="9525"/>
            </a:xfrm>
            <a:custGeom>
              <a:avLst/>
              <a:gdLst>
                <a:gd name="T0" fmla="*/ 0 w 29"/>
                <a:gd name="T1" fmla="*/ 15 h 31"/>
                <a:gd name="T2" fmla="*/ 0 w 29"/>
                <a:gd name="T3" fmla="*/ 15 h 31"/>
                <a:gd name="T4" fmla="*/ 1 w 29"/>
                <a:gd name="T5" fmla="*/ 21 h 31"/>
                <a:gd name="T6" fmla="*/ 5 w 29"/>
                <a:gd name="T7" fmla="*/ 26 h 31"/>
                <a:gd name="T8" fmla="*/ 9 w 29"/>
                <a:gd name="T9" fmla="*/ 29 h 31"/>
                <a:gd name="T10" fmla="*/ 15 w 29"/>
                <a:gd name="T11" fmla="*/ 31 h 31"/>
                <a:gd name="T12" fmla="*/ 15 w 29"/>
                <a:gd name="T13" fmla="*/ 31 h 31"/>
                <a:gd name="T14" fmla="*/ 21 w 29"/>
                <a:gd name="T15" fmla="*/ 29 h 31"/>
                <a:gd name="T16" fmla="*/ 26 w 29"/>
                <a:gd name="T17" fmla="*/ 26 h 31"/>
                <a:gd name="T18" fmla="*/ 28 w 29"/>
                <a:gd name="T19" fmla="*/ 21 h 31"/>
                <a:gd name="T20" fmla="*/ 29 w 29"/>
                <a:gd name="T21" fmla="*/ 15 h 31"/>
                <a:gd name="T22" fmla="*/ 29 w 29"/>
                <a:gd name="T23" fmla="*/ 15 h 31"/>
                <a:gd name="T24" fmla="*/ 28 w 29"/>
                <a:gd name="T25" fmla="*/ 10 h 31"/>
                <a:gd name="T26" fmla="*/ 26 w 29"/>
                <a:gd name="T27" fmla="*/ 5 h 31"/>
                <a:gd name="T28" fmla="*/ 21 w 29"/>
                <a:gd name="T29" fmla="*/ 1 h 31"/>
                <a:gd name="T30" fmla="*/ 15 w 29"/>
                <a:gd name="T31" fmla="*/ 0 h 31"/>
                <a:gd name="T32" fmla="*/ 15 w 29"/>
                <a:gd name="T33" fmla="*/ 0 h 31"/>
                <a:gd name="T34" fmla="*/ 9 w 29"/>
                <a:gd name="T35" fmla="*/ 1 h 31"/>
                <a:gd name="T36" fmla="*/ 5 w 29"/>
                <a:gd name="T37" fmla="*/ 5 h 31"/>
                <a:gd name="T38" fmla="*/ 1 w 29"/>
                <a:gd name="T39" fmla="*/ 10 h 31"/>
                <a:gd name="T40" fmla="*/ 0 w 29"/>
                <a:gd name="T41" fmla="*/ 15 h 31"/>
                <a:gd name="T42" fmla="*/ 0 w 29"/>
                <a:gd name="T43"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 h="31">
                  <a:moveTo>
                    <a:pt x="0" y="15"/>
                  </a:moveTo>
                  <a:lnTo>
                    <a:pt x="0" y="15"/>
                  </a:lnTo>
                  <a:lnTo>
                    <a:pt x="1" y="21"/>
                  </a:lnTo>
                  <a:lnTo>
                    <a:pt x="5" y="26"/>
                  </a:lnTo>
                  <a:lnTo>
                    <a:pt x="9" y="29"/>
                  </a:lnTo>
                  <a:lnTo>
                    <a:pt x="15" y="31"/>
                  </a:lnTo>
                  <a:lnTo>
                    <a:pt x="15" y="31"/>
                  </a:lnTo>
                  <a:lnTo>
                    <a:pt x="21" y="29"/>
                  </a:lnTo>
                  <a:lnTo>
                    <a:pt x="26" y="26"/>
                  </a:lnTo>
                  <a:lnTo>
                    <a:pt x="28" y="21"/>
                  </a:lnTo>
                  <a:lnTo>
                    <a:pt x="29" y="15"/>
                  </a:lnTo>
                  <a:lnTo>
                    <a:pt x="29" y="15"/>
                  </a:lnTo>
                  <a:lnTo>
                    <a:pt x="28" y="10"/>
                  </a:lnTo>
                  <a:lnTo>
                    <a:pt x="26" y="5"/>
                  </a:lnTo>
                  <a:lnTo>
                    <a:pt x="21" y="1"/>
                  </a:lnTo>
                  <a:lnTo>
                    <a:pt x="15" y="0"/>
                  </a:lnTo>
                  <a:lnTo>
                    <a:pt x="15" y="0"/>
                  </a:lnTo>
                  <a:lnTo>
                    <a:pt x="9" y="1"/>
                  </a:lnTo>
                  <a:lnTo>
                    <a:pt x="5" y="5"/>
                  </a:lnTo>
                  <a:lnTo>
                    <a:pt x="1" y="10"/>
                  </a:lnTo>
                  <a:lnTo>
                    <a:pt x="0" y="15"/>
                  </a:lnTo>
                  <a:lnTo>
                    <a:pt x="0" y="15"/>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28" name="Freeform 1104"/>
            <p:cNvSpPr>
              <a:spLocks/>
            </p:cNvSpPr>
            <p:nvPr/>
          </p:nvSpPr>
          <p:spPr bwMode="auto">
            <a:xfrm>
              <a:off x="5322945" y="2325701"/>
              <a:ext cx="9525" cy="4763"/>
            </a:xfrm>
            <a:custGeom>
              <a:avLst/>
              <a:gdLst>
                <a:gd name="T0" fmla="*/ 15 w 29"/>
                <a:gd name="T1" fmla="*/ 0 h 15"/>
                <a:gd name="T2" fmla="*/ 15 w 29"/>
                <a:gd name="T3" fmla="*/ 0 h 15"/>
                <a:gd name="T4" fmla="*/ 21 w 29"/>
                <a:gd name="T5" fmla="*/ 1 h 15"/>
                <a:gd name="T6" fmla="*/ 26 w 29"/>
                <a:gd name="T7" fmla="*/ 5 h 15"/>
                <a:gd name="T8" fmla="*/ 28 w 29"/>
                <a:gd name="T9" fmla="*/ 10 h 15"/>
                <a:gd name="T10" fmla="*/ 29 w 29"/>
                <a:gd name="T11" fmla="*/ 15 h 15"/>
                <a:gd name="T12" fmla="*/ 0 w 29"/>
                <a:gd name="T13" fmla="*/ 15 h 15"/>
                <a:gd name="T14" fmla="*/ 0 w 29"/>
                <a:gd name="T15" fmla="*/ 15 h 15"/>
                <a:gd name="T16" fmla="*/ 1 w 29"/>
                <a:gd name="T17" fmla="*/ 10 h 15"/>
                <a:gd name="T18" fmla="*/ 5 w 29"/>
                <a:gd name="T19" fmla="*/ 5 h 15"/>
                <a:gd name="T20" fmla="*/ 9 w 29"/>
                <a:gd name="T21" fmla="*/ 1 h 15"/>
                <a:gd name="T22" fmla="*/ 15 w 29"/>
                <a:gd name="T23" fmla="*/ 0 h 15"/>
                <a:gd name="T24" fmla="*/ 15 w 29"/>
                <a:gd name="T2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15">
                  <a:moveTo>
                    <a:pt x="15" y="0"/>
                  </a:moveTo>
                  <a:lnTo>
                    <a:pt x="15" y="0"/>
                  </a:lnTo>
                  <a:lnTo>
                    <a:pt x="21" y="1"/>
                  </a:lnTo>
                  <a:lnTo>
                    <a:pt x="26" y="5"/>
                  </a:lnTo>
                  <a:lnTo>
                    <a:pt x="28" y="10"/>
                  </a:lnTo>
                  <a:lnTo>
                    <a:pt x="29" y="15"/>
                  </a:lnTo>
                  <a:lnTo>
                    <a:pt x="0" y="15"/>
                  </a:lnTo>
                  <a:lnTo>
                    <a:pt x="0" y="15"/>
                  </a:lnTo>
                  <a:lnTo>
                    <a:pt x="1" y="10"/>
                  </a:lnTo>
                  <a:lnTo>
                    <a:pt x="5" y="5"/>
                  </a:lnTo>
                  <a:lnTo>
                    <a:pt x="9" y="1"/>
                  </a:lnTo>
                  <a:lnTo>
                    <a:pt x="15" y="0"/>
                  </a:lnTo>
                  <a:lnTo>
                    <a:pt x="15"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29" name="Rectangle 1105"/>
            <p:cNvSpPr>
              <a:spLocks noChangeArrowheads="1"/>
            </p:cNvSpPr>
            <p:nvPr/>
          </p:nvSpPr>
          <p:spPr bwMode="auto">
            <a:xfrm>
              <a:off x="5300720" y="2460639"/>
              <a:ext cx="15875" cy="31750"/>
            </a:xfrm>
            <a:prstGeom prst="rect">
              <a:avLst/>
            </a:prstGeom>
            <a:solidFill>
              <a:srgbClr val="B1B1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30" name="Rectangle 1106"/>
            <p:cNvSpPr>
              <a:spLocks noChangeArrowheads="1"/>
            </p:cNvSpPr>
            <p:nvPr/>
          </p:nvSpPr>
          <p:spPr bwMode="auto">
            <a:xfrm>
              <a:off x="5300720" y="2460639"/>
              <a:ext cx="15875" cy="3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sp>
        <p:nvSpPr>
          <p:cNvPr id="775" name="Rectangle 46"/>
          <p:cNvSpPr>
            <a:spLocks noChangeArrowheads="1"/>
          </p:cNvSpPr>
          <p:nvPr userDrawn="1"/>
        </p:nvSpPr>
        <p:spPr bwMode="auto">
          <a:xfrm>
            <a:off x="3161164" y="881077"/>
            <a:ext cx="2117" cy="2258"/>
          </a:xfrm>
          <a:prstGeom prst="rect">
            <a:avLst/>
          </a:prstGeom>
          <a:solidFill>
            <a:srgbClr val="F79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ko-KR" altLang="en-US" sz="2400"/>
          </a:p>
        </p:txBody>
      </p:sp>
      <p:sp>
        <p:nvSpPr>
          <p:cNvPr id="782" name="텍스트 개체 틀 15"/>
          <p:cNvSpPr>
            <a:spLocks noGrp="1"/>
          </p:cNvSpPr>
          <p:nvPr userDrawn="1">
            <p:ph type="body" sz="quarter" idx="10" hasCustomPrompt="1"/>
          </p:nvPr>
        </p:nvSpPr>
        <p:spPr>
          <a:xfrm>
            <a:off x="3445398" y="1489457"/>
            <a:ext cx="7577667" cy="607871"/>
          </a:xfrm>
          <a:prstGeom prst="rect">
            <a:avLst/>
          </a:prstGeom>
        </p:spPr>
        <p:txBody>
          <a:bodyPr lIns="0" tIns="0" rIns="0" bIns="0"/>
          <a:lstStyle>
            <a:lvl1pPr marL="0" indent="0">
              <a:buNone/>
              <a:defRPr sz="4267" b="1" baseline="0">
                <a:solidFill>
                  <a:schemeClr val="bg1"/>
                </a:solidFill>
                <a:latin typeface="Tahoma" panose="020B0604030504040204" pitchFamily="34" charset="0"/>
                <a:cs typeface="Tahoma" panose="020B0604030504040204" pitchFamily="34" charset="0"/>
              </a:defRPr>
            </a:lvl1pPr>
          </a:lstStyle>
          <a:p>
            <a:pPr lvl="0"/>
            <a:r>
              <a:rPr lang="en-US" altLang="ko-KR"/>
              <a:t>Section Cover Slide1</a:t>
            </a:r>
            <a:endParaRPr lang="ko-KR" altLang="en-US"/>
          </a:p>
        </p:txBody>
      </p:sp>
      <p:sp>
        <p:nvSpPr>
          <p:cNvPr id="783" name="텍스트 개체 틀 15"/>
          <p:cNvSpPr>
            <a:spLocks noGrp="1"/>
          </p:cNvSpPr>
          <p:nvPr userDrawn="1">
            <p:ph type="body" sz="quarter" idx="11" hasCustomPrompt="1"/>
          </p:nvPr>
        </p:nvSpPr>
        <p:spPr>
          <a:xfrm>
            <a:off x="3445399" y="2283221"/>
            <a:ext cx="7577668" cy="402350"/>
          </a:xfrm>
          <a:prstGeom prst="rect">
            <a:avLst/>
          </a:prstGeom>
        </p:spPr>
        <p:txBody>
          <a:bodyPr lIns="0" tIns="0" rIns="0" bIns="0"/>
          <a:lstStyle>
            <a:lvl1pPr marL="0" indent="0">
              <a:buNone/>
              <a:defRPr sz="2400" baseline="0">
                <a:solidFill>
                  <a:srgbClr val="F59E1D"/>
                </a:solidFill>
                <a:latin typeface="Tahoma" panose="020B0604030504040204" pitchFamily="34" charset="0"/>
                <a:cs typeface="Tahoma" panose="020B0604030504040204" pitchFamily="34" charset="0"/>
              </a:defRPr>
            </a:lvl1pPr>
          </a:lstStyle>
          <a:p>
            <a:pPr lvl="0"/>
            <a:r>
              <a:rPr lang="en-US" altLang="ko-KR"/>
              <a:t>Design inspiration For Presentation</a:t>
            </a:r>
            <a:endParaRPr lang="ko-KR" altLang="en-US"/>
          </a:p>
        </p:txBody>
      </p:sp>
      <p:grpSp>
        <p:nvGrpSpPr>
          <p:cNvPr id="865" name="그룹 864"/>
          <p:cNvGrpSpPr/>
          <p:nvPr userDrawn="1"/>
        </p:nvGrpSpPr>
        <p:grpSpPr>
          <a:xfrm>
            <a:off x="245397" y="1489457"/>
            <a:ext cx="3831083" cy="5121344"/>
            <a:chOff x="184048" y="1047274"/>
            <a:chExt cx="2873312" cy="3600945"/>
          </a:xfrm>
        </p:grpSpPr>
        <p:grpSp>
          <p:nvGrpSpPr>
            <p:cNvPr id="777" name="그룹 776"/>
            <p:cNvGrpSpPr/>
            <p:nvPr userDrawn="1"/>
          </p:nvGrpSpPr>
          <p:grpSpPr>
            <a:xfrm>
              <a:off x="184048" y="1047274"/>
              <a:ext cx="2873312" cy="3600945"/>
              <a:chOff x="-2515452" y="-2739643"/>
              <a:chExt cx="3798888" cy="4760913"/>
            </a:xfrm>
          </p:grpSpPr>
          <p:sp>
            <p:nvSpPr>
              <p:cNvPr id="734" name="Freeform 5"/>
              <p:cNvSpPr>
                <a:spLocks/>
              </p:cNvSpPr>
              <p:nvPr userDrawn="1"/>
            </p:nvSpPr>
            <p:spPr bwMode="auto">
              <a:xfrm>
                <a:off x="-754914" y="382970"/>
                <a:ext cx="2038350" cy="1638300"/>
              </a:xfrm>
              <a:custGeom>
                <a:avLst/>
                <a:gdLst>
                  <a:gd name="T0" fmla="*/ 2528 w 2569"/>
                  <a:gd name="T1" fmla="*/ 2064 h 2064"/>
                  <a:gd name="T2" fmla="*/ 2569 w 2569"/>
                  <a:gd name="T3" fmla="*/ 2064 h 2064"/>
                  <a:gd name="T4" fmla="*/ 2569 w 2569"/>
                  <a:gd name="T5" fmla="*/ 1742 h 2064"/>
                  <a:gd name="T6" fmla="*/ 2569 w 2569"/>
                  <a:gd name="T7" fmla="*/ 1742 h 2064"/>
                  <a:gd name="T8" fmla="*/ 2568 w 2569"/>
                  <a:gd name="T9" fmla="*/ 1725 h 2064"/>
                  <a:gd name="T10" fmla="*/ 2566 w 2569"/>
                  <a:gd name="T11" fmla="*/ 1708 h 2064"/>
                  <a:gd name="T12" fmla="*/ 2562 w 2569"/>
                  <a:gd name="T13" fmla="*/ 1692 h 2064"/>
                  <a:gd name="T14" fmla="*/ 2557 w 2569"/>
                  <a:gd name="T15" fmla="*/ 1677 h 2064"/>
                  <a:gd name="T16" fmla="*/ 2551 w 2569"/>
                  <a:gd name="T17" fmla="*/ 1663 h 2064"/>
                  <a:gd name="T18" fmla="*/ 2544 w 2569"/>
                  <a:gd name="T19" fmla="*/ 1649 h 2064"/>
                  <a:gd name="T20" fmla="*/ 2537 w 2569"/>
                  <a:gd name="T21" fmla="*/ 1637 h 2064"/>
                  <a:gd name="T22" fmla="*/ 2530 w 2569"/>
                  <a:gd name="T23" fmla="*/ 1626 h 2064"/>
                  <a:gd name="T24" fmla="*/ 2522 w 2569"/>
                  <a:gd name="T25" fmla="*/ 1616 h 2064"/>
                  <a:gd name="T26" fmla="*/ 2514 w 2569"/>
                  <a:gd name="T27" fmla="*/ 1606 h 2064"/>
                  <a:gd name="T28" fmla="*/ 2500 w 2569"/>
                  <a:gd name="T29" fmla="*/ 1591 h 2064"/>
                  <a:gd name="T30" fmla="*/ 2488 w 2569"/>
                  <a:gd name="T31" fmla="*/ 1580 h 2064"/>
                  <a:gd name="T32" fmla="*/ 2479 w 2569"/>
                  <a:gd name="T33" fmla="*/ 1573 h 2064"/>
                  <a:gd name="T34" fmla="*/ 335 w 2569"/>
                  <a:gd name="T35" fmla="*/ 0 h 2064"/>
                  <a:gd name="T36" fmla="*/ 0 w 2569"/>
                  <a:gd name="T37" fmla="*/ 0 h 2064"/>
                  <a:gd name="T38" fmla="*/ 19 w 2569"/>
                  <a:gd name="T39" fmla="*/ 87 h 2064"/>
                  <a:gd name="T40" fmla="*/ 2528 w 2569"/>
                  <a:gd name="T41" fmla="*/ 2064 h 2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9" h="2064">
                    <a:moveTo>
                      <a:pt x="2528" y="2064"/>
                    </a:moveTo>
                    <a:lnTo>
                      <a:pt x="2569" y="2064"/>
                    </a:lnTo>
                    <a:lnTo>
                      <a:pt x="2569" y="1742"/>
                    </a:lnTo>
                    <a:lnTo>
                      <a:pt x="2569" y="1742"/>
                    </a:lnTo>
                    <a:lnTo>
                      <a:pt x="2568" y="1725"/>
                    </a:lnTo>
                    <a:lnTo>
                      <a:pt x="2566" y="1708"/>
                    </a:lnTo>
                    <a:lnTo>
                      <a:pt x="2562" y="1692"/>
                    </a:lnTo>
                    <a:lnTo>
                      <a:pt x="2557" y="1677"/>
                    </a:lnTo>
                    <a:lnTo>
                      <a:pt x="2551" y="1663"/>
                    </a:lnTo>
                    <a:lnTo>
                      <a:pt x="2544" y="1649"/>
                    </a:lnTo>
                    <a:lnTo>
                      <a:pt x="2537" y="1637"/>
                    </a:lnTo>
                    <a:lnTo>
                      <a:pt x="2530" y="1626"/>
                    </a:lnTo>
                    <a:lnTo>
                      <a:pt x="2522" y="1616"/>
                    </a:lnTo>
                    <a:lnTo>
                      <a:pt x="2514" y="1606"/>
                    </a:lnTo>
                    <a:lnTo>
                      <a:pt x="2500" y="1591"/>
                    </a:lnTo>
                    <a:lnTo>
                      <a:pt x="2488" y="1580"/>
                    </a:lnTo>
                    <a:lnTo>
                      <a:pt x="2479" y="1573"/>
                    </a:lnTo>
                    <a:lnTo>
                      <a:pt x="335" y="0"/>
                    </a:lnTo>
                    <a:lnTo>
                      <a:pt x="0" y="0"/>
                    </a:lnTo>
                    <a:lnTo>
                      <a:pt x="19" y="87"/>
                    </a:lnTo>
                    <a:lnTo>
                      <a:pt x="2528" y="2064"/>
                    </a:lnTo>
                    <a:close/>
                  </a:path>
                </a:pathLst>
              </a:custGeom>
              <a:solidFill>
                <a:srgbClr val="E0E1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35" name="Freeform 6"/>
              <p:cNvSpPr>
                <a:spLocks/>
              </p:cNvSpPr>
              <p:nvPr userDrawn="1"/>
            </p:nvSpPr>
            <p:spPr bwMode="auto">
              <a:xfrm>
                <a:off x="-713639" y="414720"/>
                <a:ext cx="1965325" cy="1606550"/>
              </a:xfrm>
              <a:custGeom>
                <a:avLst/>
                <a:gdLst>
                  <a:gd name="T0" fmla="*/ 2403 w 2476"/>
                  <a:gd name="T1" fmla="*/ 1565 h 2023"/>
                  <a:gd name="T2" fmla="*/ 269 w 2476"/>
                  <a:gd name="T3" fmla="*/ 0 h 2023"/>
                  <a:gd name="T4" fmla="*/ 0 w 2476"/>
                  <a:gd name="T5" fmla="*/ 0 h 2023"/>
                  <a:gd name="T6" fmla="*/ 119 w 2476"/>
                  <a:gd name="T7" fmla="*/ 566 h 2023"/>
                  <a:gd name="T8" fmla="*/ 2019 w 2476"/>
                  <a:gd name="T9" fmla="*/ 2023 h 2023"/>
                  <a:gd name="T10" fmla="*/ 2476 w 2476"/>
                  <a:gd name="T11" fmla="*/ 2023 h 2023"/>
                  <a:gd name="T12" fmla="*/ 2476 w 2476"/>
                  <a:gd name="T13" fmla="*/ 1701 h 2023"/>
                  <a:gd name="T14" fmla="*/ 2476 w 2476"/>
                  <a:gd name="T15" fmla="*/ 1701 h 2023"/>
                  <a:gd name="T16" fmla="*/ 2475 w 2476"/>
                  <a:gd name="T17" fmla="*/ 1687 h 2023"/>
                  <a:gd name="T18" fmla="*/ 2473 w 2476"/>
                  <a:gd name="T19" fmla="*/ 1673 h 2023"/>
                  <a:gd name="T20" fmla="*/ 2470 w 2476"/>
                  <a:gd name="T21" fmla="*/ 1661 h 2023"/>
                  <a:gd name="T22" fmla="*/ 2465 w 2476"/>
                  <a:gd name="T23" fmla="*/ 1649 h 2023"/>
                  <a:gd name="T24" fmla="*/ 2461 w 2476"/>
                  <a:gd name="T25" fmla="*/ 1637 h 2023"/>
                  <a:gd name="T26" fmla="*/ 2456 w 2476"/>
                  <a:gd name="T27" fmla="*/ 1627 h 2023"/>
                  <a:gd name="T28" fmla="*/ 2450 w 2476"/>
                  <a:gd name="T29" fmla="*/ 1617 h 2023"/>
                  <a:gd name="T30" fmla="*/ 2444 w 2476"/>
                  <a:gd name="T31" fmla="*/ 1607 h 2023"/>
                  <a:gd name="T32" fmla="*/ 2430 w 2476"/>
                  <a:gd name="T33" fmla="*/ 1592 h 2023"/>
                  <a:gd name="T34" fmla="*/ 2419 w 2476"/>
                  <a:gd name="T35" fmla="*/ 1580 h 2023"/>
                  <a:gd name="T36" fmla="*/ 2409 w 2476"/>
                  <a:gd name="T37" fmla="*/ 1570 h 2023"/>
                  <a:gd name="T38" fmla="*/ 2403 w 2476"/>
                  <a:gd name="T39" fmla="*/ 1565 h 2023"/>
                  <a:gd name="T40" fmla="*/ 2403 w 2476"/>
                  <a:gd name="T41" fmla="*/ 1565 h 2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76" h="2023">
                    <a:moveTo>
                      <a:pt x="2403" y="1565"/>
                    </a:moveTo>
                    <a:lnTo>
                      <a:pt x="269" y="0"/>
                    </a:lnTo>
                    <a:lnTo>
                      <a:pt x="0" y="0"/>
                    </a:lnTo>
                    <a:lnTo>
                      <a:pt x="119" y="566"/>
                    </a:lnTo>
                    <a:lnTo>
                      <a:pt x="2019" y="2023"/>
                    </a:lnTo>
                    <a:lnTo>
                      <a:pt x="2476" y="2023"/>
                    </a:lnTo>
                    <a:lnTo>
                      <a:pt x="2476" y="1701"/>
                    </a:lnTo>
                    <a:lnTo>
                      <a:pt x="2476" y="1701"/>
                    </a:lnTo>
                    <a:lnTo>
                      <a:pt x="2475" y="1687"/>
                    </a:lnTo>
                    <a:lnTo>
                      <a:pt x="2473" y="1673"/>
                    </a:lnTo>
                    <a:lnTo>
                      <a:pt x="2470" y="1661"/>
                    </a:lnTo>
                    <a:lnTo>
                      <a:pt x="2465" y="1649"/>
                    </a:lnTo>
                    <a:lnTo>
                      <a:pt x="2461" y="1637"/>
                    </a:lnTo>
                    <a:lnTo>
                      <a:pt x="2456" y="1627"/>
                    </a:lnTo>
                    <a:lnTo>
                      <a:pt x="2450" y="1617"/>
                    </a:lnTo>
                    <a:lnTo>
                      <a:pt x="2444" y="1607"/>
                    </a:lnTo>
                    <a:lnTo>
                      <a:pt x="2430" y="1592"/>
                    </a:lnTo>
                    <a:lnTo>
                      <a:pt x="2419" y="1580"/>
                    </a:lnTo>
                    <a:lnTo>
                      <a:pt x="2409" y="1570"/>
                    </a:lnTo>
                    <a:lnTo>
                      <a:pt x="2403" y="1565"/>
                    </a:lnTo>
                    <a:lnTo>
                      <a:pt x="2403" y="1565"/>
                    </a:lnTo>
                    <a:close/>
                  </a:path>
                </a:pathLst>
              </a:custGeom>
              <a:solidFill>
                <a:srgbClr val="ABAD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 name="Freeform 19"/>
              <p:cNvSpPr>
                <a:spLocks noEditPoints="1"/>
              </p:cNvSpPr>
              <p:nvPr userDrawn="1"/>
            </p:nvSpPr>
            <p:spPr bwMode="auto">
              <a:xfrm>
                <a:off x="-2091589" y="-2488818"/>
                <a:ext cx="1708150" cy="3411538"/>
              </a:xfrm>
              <a:custGeom>
                <a:avLst/>
                <a:gdLst>
                  <a:gd name="T0" fmla="*/ 528 w 2152"/>
                  <a:gd name="T1" fmla="*/ 783 h 4297"/>
                  <a:gd name="T2" fmla="*/ 424 w 2152"/>
                  <a:gd name="T3" fmla="*/ 972 h 4297"/>
                  <a:gd name="T4" fmla="*/ 347 w 2152"/>
                  <a:gd name="T5" fmla="*/ 1126 h 4297"/>
                  <a:gd name="T6" fmla="*/ 240 w 2152"/>
                  <a:gd name="T7" fmla="*/ 1370 h 4297"/>
                  <a:gd name="T8" fmla="*/ 146 w 2152"/>
                  <a:gd name="T9" fmla="*/ 1628 h 4297"/>
                  <a:gd name="T10" fmla="*/ 106 w 2152"/>
                  <a:gd name="T11" fmla="*/ 1762 h 4297"/>
                  <a:gd name="T12" fmla="*/ 71 w 2152"/>
                  <a:gd name="T13" fmla="*/ 1898 h 4297"/>
                  <a:gd name="T14" fmla="*/ 44 w 2152"/>
                  <a:gd name="T15" fmla="*/ 2035 h 4297"/>
                  <a:gd name="T16" fmla="*/ 21 w 2152"/>
                  <a:gd name="T17" fmla="*/ 2175 h 4297"/>
                  <a:gd name="T18" fmla="*/ 8 w 2152"/>
                  <a:gd name="T19" fmla="*/ 2316 h 4297"/>
                  <a:gd name="T20" fmla="*/ 1 w 2152"/>
                  <a:gd name="T21" fmla="*/ 2428 h 4297"/>
                  <a:gd name="T22" fmla="*/ 1 w 2152"/>
                  <a:gd name="T23" fmla="*/ 2576 h 4297"/>
                  <a:gd name="T24" fmla="*/ 11 w 2152"/>
                  <a:gd name="T25" fmla="*/ 2814 h 4297"/>
                  <a:gd name="T26" fmla="*/ 27 w 2152"/>
                  <a:gd name="T27" fmla="*/ 2992 h 4297"/>
                  <a:gd name="T28" fmla="*/ 63 w 2152"/>
                  <a:gd name="T29" fmla="*/ 3255 h 4297"/>
                  <a:gd name="T30" fmla="*/ 112 w 2152"/>
                  <a:gd name="T31" fmla="*/ 3519 h 4297"/>
                  <a:gd name="T32" fmla="*/ 176 w 2152"/>
                  <a:gd name="T33" fmla="*/ 3793 h 4297"/>
                  <a:gd name="T34" fmla="*/ 307 w 2152"/>
                  <a:gd name="T35" fmla="*/ 4297 h 4297"/>
                  <a:gd name="T36" fmla="*/ 1835 w 2152"/>
                  <a:gd name="T37" fmla="*/ 4297 h 4297"/>
                  <a:gd name="T38" fmla="*/ 1971 w 2152"/>
                  <a:gd name="T39" fmla="*/ 3794 h 4297"/>
                  <a:gd name="T40" fmla="*/ 2037 w 2152"/>
                  <a:gd name="T41" fmla="*/ 3523 h 4297"/>
                  <a:gd name="T42" fmla="*/ 2089 w 2152"/>
                  <a:gd name="T43" fmla="*/ 3261 h 4297"/>
                  <a:gd name="T44" fmla="*/ 2126 w 2152"/>
                  <a:gd name="T45" fmla="*/ 2996 h 4297"/>
                  <a:gd name="T46" fmla="*/ 2142 w 2152"/>
                  <a:gd name="T47" fmla="*/ 2814 h 4297"/>
                  <a:gd name="T48" fmla="*/ 2152 w 2152"/>
                  <a:gd name="T49" fmla="*/ 2576 h 4297"/>
                  <a:gd name="T50" fmla="*/ 2151 w 2152"/>
                  <a:gd name="T51" fmla="*/ 2428 h 4297"/>
                  <a:gd name="T52" fmla="*/ 2146 w 2152"/>
                  <a:gd name="T53" fmla="*/ 2317 h 4297"/>
                  <a:gd name="T54" fmla="*/ 2132 w 2152"/>
                  <a:gd name="T55" fmla="*/ 2177 h 4297"/>
                  <a:gd name="T56" fmla="*/ 2110 w 2152"/>
                  <a:gd name="T57" fmla="*/ 2040 h 4297"/>
                  <a:gd name="T58" fmla="*/ 2082 w 2152"/>
                  <a:gd name="T59" fmla="*/ 1903 h 4297"/>
                  <a:gd name="T60" fmla="*/ 2048 w 2152"/>
                  <a:gd name="T61" fmla="*/ 1769 h 4297"/>
                  <a:gd name="T62" fmla="*/ 1981 w 2152"/>
                  <a:gd name="T63" fmla="*/ 1551 h 4297"/>
                  <a:gd name="T64" fmla="*/ 1884 w 2152"/>
                  <a:gd name="T65" fmla="*/ 1299 h 4297"/>
                  <a:gd name="T66" fmla="*/ 1775 w 2152"/>
                  <a:gd name="T67" fmla="*/ 1062 h 4297"/>
                  <a:gd name="T68" fmla="*/ 1700 w 2152"/>
                  <a:gd name="T69" fmla="*/ 917 h 4297"/>
                  <a:gd name="T70" fmla="*/ 1589 w 2152"/>
                  <a:gd name="T71" fmla="*/ 720 h 4297"/>
                  <a:gd name="T72" fmla="*/ 1492 w 2152"/>
                  <a:gd name="T73" fmla="*/ 564 h 4297"/>
                  <a:gd name="T74" fmla="*/ 1354 w 2152"/>
                  <a:gd name="T75" fmla="*/ 359 h 4297"/>
                  <a:gd name="T76" fmla="*/ 1235 w 2152"/>
                  <a:gd name="T77" fmla="*/ 196 h 4297"/>
                  <a:gd name="T78" fmla="*/ 1120 w 2152"/>
                  <a:gd name="T79" fmla="*/ 51 h 4297"/>
                  <a:gd name="T80" fmla="*/ 1076 w 2152"/>
                  <a:gd name="T81" fmla="*/ 0 h 4297"/>
                  <a:gd name="T82" fmla="*/ 983 w 2152"/>
                  <a:gd name="T83" fmla="*/ 113 h 4297"/>
                  <a:gd name="T84" fmla="*/ 880 w 2152"/>
                  <a:gd name="T85" fmla="*/ 247 h 4297"/>
                  <a:gd name="T86" fmla="*/ 753 w 2152"/>
                  <a:gd name="T87" fmla="*/ 425 h 4297"/>
                  <a:gd name="T88" fmla="*/ 611 w 2152"/>
                  <a:gd name="T89" fmla="*/ 643 h 4297"/>
                  <a:gd name="T90" fmla="*/ 2002 w 2152"/>
                  <a:gd name="T91" fmla="*/ 2703 h 4297"/>
                  <a:gd name="T92" fmla="*/ 1950 w 2152"/>
                  <a:gd name="T93" fmla="*/ 2674 h 4297"/>
                  <a:gd name="T94" fmla="*/ 1862 w 2152"/>
                  <a:gd name="T95" fmla="*/ 2634 h 4297"/>
                  <a:gd name="T96" fmla="*/ 1763 w 2152"/>
                  <a:gd name="T97" fmla="*/ 2598 h 4297"/>
                  <a:gd name="T98" fmla="*/ 1797 w 2152"/>
                  <a:gd name="T99" fmla="*/ 2609 h 4297"/>
                  <a:gd name="T100" fmla="*/ 1893 w 2152"/>
                  <a:gd name="T101" fmla="*/ 2648 h 4297"/>
                  <a:gd name="T102" fmla="*/ 1976 w 2152"/>
                  <a:gd name="T103" fmla="*/ 2689 h 4297"/>
                  <a:gd name="T104" fmla="*/ 390 w 2152"/>
                  <a:gd name="T105" fmla="*/ 2598 h 4297"/>
                  <a:gd name="T106" fmla="*/ 322 w 2152"/>
                  <a:gd name="T107" fmla="*/ 2622 h 4297"/>
                  <a:gd name="T108" fmla="*/ 231 w 2152"/>
                  <a:gd name="T109" fmla="*/ 2661 h 4297"/>
                  <a:gd name="T110" fmla="*/ 151 w 2152"/>
                  <a:gd name="T111" fmla="*/ 2703 h 4297"/>
                  <a:gd name="T112" fmla="*/ 203 w 2152"/>
                  <a:gd name="T113" fmla="*/ 2674 h 4297"/>
                  <a:gd name="T114" fmla="*/ 290 w 2152"/>
                  <a:gd name="T115" fmla="*/ 2634 h 4297"/>
                  <a:gd name="T116" fmla="*/ 390 w 2152"/>
                  <a:gd name="T117" fmla="*/ 2598 h 4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52" h="4297">
                    <a:moveTo>
                      <a:pt x="563" y="723"/>
                    </a:moveTo>
                    <a:lnTo>
                      <a:pt x="563" y="723"/>
                    </a:lnTo>
                    <a:lnTo>
                      <a:pt x="528" y="783"/>
                    </a:lnTo>
                    <a:lnTo>
                      <a:pt x="493" y="844"/>
                    </a:lnTo>
                    <a:lnTo>
                      <a:pt x="458" y="907"/>
                    </a:lnTo>
                    <a:lnTo>
                      <a:pt x="424" y="972"/>
                    </a:lnTo>
                    <a:lnTo>
                      <a:pt x="424" y="972"/>
                    </a:lnTo>
                    <a:lnTo>
                      <a:pt x="385" y="1048"/>
                    </a:lnTo>
                    <a:lnTo>
                      <a:pt x="347" y="1126"/>
                    </a:lnTo>
                    <a:lnTo>
                      <a:pt x="310" y="1205"/>
                    </a:lnTo>
                    <a:lnTo>
                      <a:pt x="275" y="1287"/>
                    </a:lnTo>
                    <a:lnTo>
                      <a:pt x="240" y="1370"/>
                    </a:lnTo>
                    <a:lnTo>
                      <a:pt x="207" y="1454"/>
                    </a:lnTo>
                    <a:lnTo>
                      <a:pt x="175" y="1541"/>
                    </a:lnTo>
                    <a:lnTo>
                      <a:pt x="146" y="1628"/>
                    </a:lnTo>
                    <a:lnTo>
                      <a:pt x="132" y="1672"/>
                    </a:lnTo>
                    <a:lnTo>
                      <a:pt x="119" y="1717"/>
                    </a:lnTo>
                    <a:lnTo>
                      <a:pt x="106" y="1762"/>
                    </a:lnTo>
                    <a:lnTo>
                      <a:pt x="94" y="1807"/>
                    </a:lnTo>
                    <a:lnTo>
                      <a:pt x="83" y="1852"/>
                    </a:lnTo>
                    <a:lnTo>
                      <a:pt x="71" y="1898"/>
                    </a:lnTo>
                    <a:lnTo>
                      <a:pt x="61" y="1943"/>
                    </a:lnTo>
                    <a:lnTo>
                      <a:pt x="52" y="1989"/>
                    </a:lnTo>
                    <a:lnTo>
                      <a:pt x="44" y="2035"/>
                    </a:lnTo>
                    <a:lnTo>
                      <a:pt x="35" y="2082"/>
                    </a:lnTo>
                    <a:lnTo>
                      <a:pt x="28" y="2128"/>
                    </a:lnTo>
                    <a:lnTo>
                      <a:pt x="21" y="2175"/>
                    </a:lnTo>
                    <a:lnTo>
                      <a:pt x="16" y="2223"/>
                    </a:lnTo>
                    <a:lnTo>
                      <a:pt x="11" y="2269"/>
                    </a:lnTo>
                    <a:lnTo>
                      <a:pt x="8" y="2316"/>
                    </a:lnTo>
                    <a:lnTo>
                      <a:pt x="4" y="2364"/>
                    </a:lnTo>
                    <a:lnTo>
                      <a:pt x="4" y="2364"/>
                    </a:lnTo>
                    <a:lnTo>
                      <a:pt x="1" y="2428"/>
                    </a:lnTo>
                    <a:lnTo>
                      <a:pt x="0" y="2492"/>
                    </a:lnTo>
                    <a:lnTo>
                      <a:pt x="0" y="2492"/>
                    </a:lnTo>
                    <a:lnTo>
                      <a:pt x="1" y="2576"/>
                    </a:lnTo>
                    <a:lnTo>
                      <a:pt x="3" y="2657"/>
                    </a:lnTo>
                    <a:lnTo>
                      <a:pt x="6" y="2736"/>
                    </a:lnTo>
                    <a:lnTo>
                      <a:pt x="11" y="2814"/>
                    </a:lnTo>
                    <a:lnTo>
                      <a:pt x="11" y="2814"/>
                    </a:lnTo>
                    <a:lnTo>
                      <a:pt x="18" y="2904"/>
                    </a:lnTo>
                    <a:lnTo>
                      <a:pt x="27" y="2992"/>
                    </a:lnTo>
                    <a:lnTo>
                      <a:pt x="37" y="3081"/>
                    </a:lnTo>
                    <a:lnTo>
                      <a:pt x="50" y="3168"/>
                    </a:lnTo>
                    <a:lnTo>
                      <a:pt x="63" y="3255"/>
                    </a:lnTo>
                    <a:lnTo>
                      <a:pt x="77" y="3343"/>
                    </a:lnTo>
                    <a:lnTo>
                      <a:pt x="95" y="3430"/>
                    </a:lnTo>
                    <a:lnTo>
                      <a:pt x="112" y="3519"/>
                    </a:lnTo>
                    <a:lnTo>
                      <a:pt x="132" y="3608"/>
                    </a:lnTo>
                    <a:lnTo>
                      <a:pt x="154" y="3700"/>
                    </a:lnTo>
                    <a:lnTo>
                      <a:pt x="176" y="3793"/>
                    </a:lnTo>
                    <a:lnTo>
                      <a:pt x="200" y="3888"/>
                    </a:lnTo>
                    <a:lnTo>
                      <a:pt x="251" y="4087"/>
                    </a:lnTo>
                    <a:lnTo>
                      <a:pt x="307" y="4297"/>
                    </a:lnTo>
                    <a:lnTo>
                      <a:pt x="1835" y="4297"/>
                    </a:lnTo>
                    <a:lnTo>
                      <a:pt x="1835" y="4297"/>
                    </a:lnTo>
                    <a:lnTo>
                      <a:pt x="1835" y="4297"/>
                    </a:lnTo>
                    <a:lnTo>
                      <a:pt x="1894" y="4087"/>
                    </a:lnTo>
                    <a:lnTo>
                      <a:pt x="1947" y="3889"/>
                    </a:lnTo>
                    <a:lnTo>
                      <a:pt x="1971" y="3794"/>
                    </a:lnTo>
                    <a:lnTo>
                      <a:pt x="1995" y="3702"/>
                    </a:lnTo>
                    <a:lnTo>
                      <a:pt x="2017" y="3612"/>
                    </a:lnTo>
                    <a:lnTo>
                      <a:pt x="2037" y="3523"/>
                    </a:lnTo>
                    <a:lnTo>
                      <a:pt x="2056" y="3435"/>
                    </a:lnTo>
                    <a:lnTo>
                      <a:pt x="2073" y="3348"/>
                    </a:lnTo>
                    <a:lnTo>
                      <a:pt x="2089" y="3261"/>
                    </a:lnTo>
                    <a:lnTo>
                      <a:pt x="2103" y="3173"/>
                    </a:lnTo>
                    <a:lnTo>
                      <a:pt x="2115" y="3086"/>
                    </a:lnTo>
                    <a:lnTo>
                      <a:pt x="2126" y="2996"/>
                    </a:lnTo>
                    <a:lnTo>
                      <a:pt x="2135" y="2906"/>
                    </a:lnTo>
                    <a:lnTo>
                      <a:pt x="2142" y="2814"/>
                    </a:lnTo>
                    <a:lnTo>
                      <a:pt x="2142" y="2814"/>
                    </a:lnTo>
                    <a:lnTo>
                      <a:pt x="2146" y="2736"/>
                    </a:lnTo>
                    <a:lnTo>
                      <a:pt x="2150" y="2656"/>
                    </a:lnTo>
                    <a:lnTo>
                      <a:pt x="2152" y="2576"/>
                    </a:lnTo>
                    <a:lnTo>
                      <a:pt x="2152" y="2492"/>
                    </a:lnTo>
                    <a:lnTo>
                      <a:pt x="2152" y="2492"/>
                    </a:lnTo>
                    <a:lnTo>
                      <a:pt x="2151" y="2428"/>
                    </a:lnTo>
                    <a:lnTo>
                      <a:pt x="2149" y="2364"/>
                    </a:lnTo>
                    <a:lnTo>
                      <a:pt x="2149" y="2364"/>
                    </a:lnTo>
                    <a:lnTo>
                      <a:pt x="2146" y="2317"/>
                    </a:lnTo>
                    <a:lnTo>
                      <a:pt x="2142" y="2270"/>
                    </a:lnTo>
                    <a:lnTo>
                      <a:pt x="2137" y="2224"/>
                    </a:lnTo>
                    <a:lnTo>
                      <a:pt x="2132" y="2177"/>
                    </a:lnTo>
                    <a:lnTo>
                      <a:pt x="2126" y="2131"/>
                    </a:lnTo>
                    <a:lnTo>
                      <a:pt x="2118" y="2086"/>
                    </a:lnTo>
                    <a:lnTo>
                      <a:pt x="2110" y="2040"/>
                    </a:lnTo>
                    <a:lnTo>
                      <a:pt x="2102" y="1994"/>
                    </a:lnTo>
                    <a:lnTo>
                      <a:pt x="2093" y="1948"/>
                    </a:lnTo>
                    <a:lnTo>
                      <a:pt x="2082" y="1903"/>
                    </a:lnTo>
                    <a:lnTo>
                      <a:pt x="2072" y="1859"/>
                    </a:lnTo>
                    <a:lnTo>
                      <a:pt x="2061" y="1813"/>
                    </a:lnTo>
                    <a:lnTo>
                      <a:pt x="2048" y="1769"/>
                    </a:lnTo>
                    <a:lnTo>
                      <a:pt x="2036" y="1725"/>
                    </a:lnTo>
                    <a:lnTo>
                      <a:pt x="2009" y="1637"/>
                    </a:lnTo>
                    <a:lnTo>
                      <a:pt x="1981" y="1551"/>
                    </a:lnTo>
                    <a:lnTo>
                      <a:pt x="1950" y="1466"/>
                    </a:lnTo>
                    <a:lnTo>
                      <a:pt x="1918" y="1381"/>
                    </a:lnTo>
                    <a:lnTo>
                      <a:pt x="1884" y="1299"/>
                    </a:lnTo>
                    <a:lnTo>
                      <a:pt x="1849" y="1219"/>
                    </a:lnTo>
                    <a:lnTo>
                      <a:pt x="1812" y="1140"/>
                    </a:lnTo>
                    <a:lnTo>
                      <a:pt x="1775" y="1062"/>
                    </a:lnTo>
                    <a:lnTo>
                      <a:pt x="1737" y="987"/>
                    </a:lnTo>
                    <a:lnTo>
                      <a:pt x="1737" y="987"/>
                    </a:lnTo>
                    <a:lnTo>
                      <a:pt x="1700" y="917"/>
                    </a:lnTo>
                    <a:lnTo>
                      <a:pt x="1663" y="849"/>
                    </a:lnTo>
                    <a:lnTo>
                      <a:pt x="1626" y="784"/>
                    </a:lnTo>
                    <a:lnTo>
                      <a:pt x="1589" y="720"/>
                    </a:lnTo>
                    <a:lnTo>
                      <a:pt x="1589" y="720"/>
                    </a:lnTo>
                    <a:lnTo>
                      <a:pt x="1539" y="640"/>
                    </a:lnTo>
                    <a:lnTo>
                      <a:pt x="1492" y="564"/>
                    </a:lnTo>
                    <a:lnTo>
                      <a:pt x="1445" y="492"/>
                    </a:lnTo>
                    <a:lnTo>
                      <a:pt x="1398" y="423"/>
                    </a:lnTo>
                    <a:lnTo>
                      <a:pt x="1354" y="359"/>
                    </a:lnTo>
                    <a:lnTo>
                      <a:pt x="1312" y="300"/>
                    </a:lnTo>
                    <a:lnTo>
                      <a:pt x="1272" y="246"/>
                    </a:lnTo>
                    <a:lnTo>
                      <a:pt x="1235" y="196"/>
                    </a:lnTo>
                    <a:lnTo>
                      <a:pt x="1201" y="151"/>
                    </a:lnTo>
                    <a:lnTo>
                      <a:pt x="1170" y="112"/>
                    </a:lnTo>
                    <a:lnTo>
                      <a:pt x="1120" y="51"/>
                    </a:lnTo>
                    <a:lnTo>
                      <a:pt x="1088" y="13"/>
                    </a:lnTo>
                    <a:lnTo>
                      <a:pt x="1076" y="0"/>
                    </a:lnTo>
                    <a:lnTo>
                      <a:pt x="1076" y="0"/>
                    </a:lnTo>
                    <a:lnTo>
                      <a:pt x="1065" y="13"/>
                    </a:lnTo>
                    <a:lnTo>
                      <a:pt x="1033" y="51"/>
                    </a:lnTo>
                    <a:lnTo>
                      <a:pt x="983" y="113"/>
                    </a:lnTo>
                    <a:lnTo>
                      <a:pt x="952" y="152"/>
                    </a:lnTo>
                    <a:lnTo>
                      <a:pt x="918" y="196"/>
                    </a:lnTo>
                    <a:lnTo>
                      <a:pt x="880" y="247"/>
                    </a:lnTo>
                    <a:lnTo>
                      <a:pt x="840" y="301"/>
                    </a:lnTo>
                    <a:lnTo>
                      <a:pt x="798" y="361"/>
                    </a:lnTo>
                    <a:lnTo>
                      <a:pt x="753" y="425"/>
                    </a:lnTo>
                    <a:lnTo>
                      <a:pt x="707" y="494"/>
                    </a:lnTo>
                    <a:lnTo>
                      <a:pt x="660" y="566"/>
                    </a:lnTo>
                    <a:lnTo>
                      <a:pt x="611" y="643"/>
                    </a:lnTo>
                    <a:lnTo>
                      <a:pt x="563" y="723"/>
                    </a:lnTo>
                    <a:lnTo>
                      <a:pt x="563" y="723"/>
                    </a:lnTo>
                    <a:close/>
                    <a:moveTo>
                      <a:pt x="2002" y="2703"/>
                    </a:moveTo>
                    <a:lnTo>
                      <a:pt x="2002" y="2703"/>
                    </a:lnTo>
                    <a:lnTo>
                      <a:pt x="1976" y="2689"/>
                    </a:lnTo>
                    <a:lnTo>
                      <a:pt x="1950" y="2674"/>
                    </a:lnTo>
                    <a:lnTo>
                      <a:pt x="1922" y="2661"/>
                    </a:lnTo>
                    <a:lnTo>
                      <a:pt x="1893" y="2648"/>
                    </a:lnTo>
                    <a:lnTo>
                      <a:pt x="1862" y="2634"/>
                    </a:lnTo>
                    <a:lnTo>
                      <a:pt x="1830" y="2622"/>
                    </a:lnTo>
                    <a:lnTo>
                      <a:pt x="1797" y="2611"/>
                    </a:lnTo>
                    <a:lnTo>
                      <a:pt x="1763" y="2598"/>
                    </a:lnTo>
                    <a:lnTo>
                      <a:pt x="1763" y="2598"/>
                    </a:lnTo>
                    <a:lnTo>
                      <a:pt x="1763" y="2598"/>
                    </a:lnTo>
                    <a:lnTo>
                      <a:pt x="1797" y="2609"/>
                    </a:lnTo>
                    <a:lnTo>
                      <a:pt x="1830" y="2622"/>
                    </a:lnTo>
                    <a:lnTo>
                      <a:pt x="1862" y="2634"/>
                    </a:lnTo>
                    <a:lnTo>
                      <a:pt x="1893" y="2648"/>
                    </a:lnTo>
                    <a:lnTo>
                      <a:pt x="1922" y="2661"/>
                    </a:lnTo>
                    <a:lnTo>
                      <a:pt x="1950" y="2674"/>
                    </a:lnTo>
                    <a:lnTo>
                      <a:pt x="1976" y="2689"/>
                    </a:lnTo>
                    <a:lnTo>
                      <a:pt x="2002" y="2703"/>
                    </a:lnTo>
                    <a:lnTo>
                      <a:pt x="2002" y="2703"/>
                    </a:lnTo>
                    <a:close/>
                    <a:moveTo>
                      <a:pt x="390" y="2598"/>
                    </a:moveTo>
                    <a:lnTo>
                      <a:pt x="390" y="2598"/>
                    </a:lnTo>
                    <a:lnTo>
                      <a:pt x="355" y="2611"/>
                    </a:lnTo>
                    <a:lnTo>
                      <a:pt x="322" y="2622"/>
                    </a:lnTo>
                    <a:lnTo>
                      <a:pt x="290" y="2634"/>
                    </a:lnTo>
                    <a:lnTo>
                      <a:pt x="260" y="2648"/>
                    </a:lnTo>
                    <a:lnTo>
                      <a:pt x="231" y="2661"/>
                    </a:lnTo>
                    <a:lnTo>
                      <a:pt x="203" y="2674"/>
                    </a:lnTo>
                    <a:lnTo>
                      <a:pt x="176" y="2689"/>
                    </a:lnTo>
                    <a:lnTo>
                      <a:pt x="151" y="2703"/>
                    </a:lnTo>
                    <a:lnTo>
                      <a:pt x="151" y="2703"/>
                    </a:lnTo>
                    <a:lnTo>
                      <a:pt x="176" y="2689"/>
                    </a:lnTo>
                    <a:lnTo>
                      <a:pt x="203" y="2674"/>
                    </a:lnTo>
                    <a:lnTo>
                      <a:pt x="231" y="2661"/>
                    </a:lnTo>
                    <a:lnTo>
                      <a:pt x="260" y="2648"/>
                    </a:lnTo>
                    <a:lnTo>
                      <a:pt x="290" y="2634"/>
                    </a:lnTo>
                    <a:lnTo>
                      <a:pt x="322" y="2622"/>
                    </a:lnTo>
                    <a:lnTo>
                      <a:pt x="355" y="2609"/>
                    </a:lnTo>
                    <a:lnTo>
                      <a:pt x="390" y="2598"/>
                    </a:lnTo>
                    <a:lnTo>
                      <a:pt x="390" y="2598"/>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 name="Rectangle 20"/>
              <p:cNvSpPr>
                <a:spLocks noChangeArrowheads="1"/>
              </p:cNvSpPr>
              <p:nvPr userDrawn="1"/>
            </p:nvSpPr>
            <p:spPr bwMode="auto">
              <a:xfrm>
                <a:off x="-1243864" y="-2692018"/>
                <a:ext cx="14288" cy="406400"/>
              </a:xfrm>
              <a:prstGeom prst="rect">
                <a:avLst/>
              </a:prstGeom>
              <a:solidFill>
                <a:srgbClr val="80828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 name="Freeform 21"/>
              <p:cNvSpPr>
                <a:spLocks/>
              </p:cNvSpPr>
              <p:nvPr userDrawn="1"/>
            </p:nvSpPr>
            <p:spPr bwMode="auto">
              <a:xfrm>
                <a:off x="-1285139" y="-2739643"/>
                <a:ext cx="96838" cy="96838"/>
              </a:xfrm>
              <a:custGeom>
                <a:avLst/>
                <a:gdLst>
                  <a:gd name="T0" fmla="*/ 122 w 122"/>
                  <a:gd name="T1" fmla="*/ 61 h 122"/>
                  <a:gd name="T2" fmla="*/ 122 w 122"/>
                  <a:gd name="T3" fmla="*/ 61 h 122"/>
                  <a:gd name="T4" fmla="*/ 121 w 122"/>
                  <a:gd name="T5" fmla="*/ 68 h 122"/>
                  <a:gd name="T6" fmla="*/ 120 w 122"/>
                  <a:gd name="T7" fmla="*/ 73 h 122"/>
                  <a:gd name="T8" fmla="*/ 117 w 122"/>
                  <a:gd name="T9" fmla="*/ 85 h 122"/>
                  <a:gd name="T10" fmla="*/ 111 w 122"/>
                  <a:gd name="T11" fmla="*/ 96 h 122"/>
                  <a:gd name="T12" fmla="*/ 104 w 122"/>
                  <a:gd name="T13" fmla="*/ 105 h 122"/>
                  <a:gd name="T14" fmla="*/ 94 w 122"/>
                  <a:gd name="T15" fmla="*/ 112 h 122"/>
                  <a:gd name="T16" fmla="*/ 84 w 122"/>
                  <a:gd name="T17" fmla="*/ 117 h 122"/>
                  <a:gd name="T18" fmla="*/ 73 w 122"/>
                  <a:gd name="T19" fmla="*/ 121 h 122"/>
                  <a:gd name="T20" fmla="*/ 67 w 122"/>
                  <a:gd name="T21" fmla="*/ 122 h 122"/>
                  <a:gd name="T22" fmla="*/ 60 w 122"/>
                  <a:gd name="T23" fmla="*/ 122 h 122"/>
                  <a:gd name="T24" fmla="*/ 60 w 122"/>
                  <a:gd name="T25" fmla="*/ 122 h 122"/>
                  <a:gd name="T26" fmla="*/ 54 w 122"/>
                  <a:gd name="T27" fmla="*/ 122 h 122"/>
                  <a:gd name="T28" fmla="*/ 48 w 122"/>
                  <a:gd name="T29" fmla="*/ 121 h 122"/>
                  <a:gd name="T30" fmla="*/ 37 w 122"/>
                  <a:gd name="T31" fmla="*/ 117 h 122"/>
                  <a:gd name="T32" fmla="*/ 26 w 122"/>
                  <a:gd name="T33" fmla="*/ 112 h 122"/>
                  <a:gd name="T34" fmla="*/ 17 w 122"/>
                  <a:gd name="T35" fmla="*/ 105 h 122"/>
                  <a:gd name="T36" fmla="*/ 10 w 122"/>
                  <a:gd name="T37" fmla="*/ 96 h 122"/>
                  <a:gd name="T38" fmla="*/ 4 w 122"/>
                  <a:gd name="T39" fmla="*/ 85 h 122"/>
                  <a:gd name="T40" fmla="*/ 1 w 122"/>
                  <a:gd name="T41" fmla="*/ 73 h 122"/>
                  <a:gd name="T42" fmla="*/ 0 w 122"/>
                  <a:gd name="T43" fmla="*/ 68 h 122"/>
                  <a:gd name="T44" fmla="*/ 0 w 122"/>
                  <a:gd name="T45" fmla="*/ 61 h 122"/>
                  <a:gd name="T46" fmla="*/ 0 w 122"/>
                  <a:gd name="T47" fmla="*/ 61 h 122"/>
                  <a:gd name="T48" fmla="*/ 0 w 122"/>
                  <a:gd name="T49" fmla="*/ 55 h 122"/>
                  <a:gd name="T50" fmla="*/ 1 w 122"/>
                  <a:gd name="T51" fmla="*/ 48 h 122"/>
                  <a:gd name="T52" fmla="*/ 4 w 122"/>
                  <a:gd name="T53" fmla="*/ 37 h 122"/>
                  <a:gd name="T54" fmla="*/ 10 w 122"/>
                  <a:gd name="T55" fmla="*/ 27 h 122"/>
                  <a:gd name="T56" fmla="*/ 17 w 122"/>
                  <a:gd name="T57" fmla="*/ 17 h 122"/>
                  <a:gd name="T58" fmla="*/ 26 w 122"/>
                  <a:gd name="T59" fmla="*/ 10 h 122"/>
                  <a:gd name="T60" fmla="*/ 37 w 122"/>
                  <a:gd name="T61" fmla="*/ 5 h 122"/>
                  <a:gd name="T62" fmla="*/ 48 w 122"/>
                  <a:gd name="T63" fmla="*/ 1 h 122"/>
                  <a:gd name="T64" fmla="*/ 54 w 122"/>
                  <a:gd name="T65" fmla="*/ 0 h 122"/>
                  <a:gd name="T66" fmla="*/ 60 w 122"/>
                  <a:gd name="T67" fmla="*/ 0 h 122"/>
                  <a:gd name="T68" fmla="*/ 60 w 122"/>
                  <a:gd name="T69" fmla="*/ 0 h 122"/>
                  <a:gd name="T70" fmla="*/ 67 w 122"/>
                  <a:gd name="T71" fmla="*/ 0 h 122"/>
                  <a:gd name="T72" fmla="*/ 73 w 122"/>
                  <a:gd name="T73" fmla="*/ 1 h 122"/>
                  <a:gd name="T74" fmla="*/ 84 w 122"/>
                  <a:gd name="T75" fmla="*/ 5 h 122"/>
                  <a:gd name="T76" fmla="*/ 94 w 122"/>
                  <a:gd name="T77" fmla="*/ 10 h 122"/>
                  <a:gd name="T78" fmla="*/ 104 w 122"/>
                  <a:gd name="T79" fmla="*/ 17 h 122"/>
                  <a:gd name="T80" fmla="*/ 111 w 122"/>
                  <a:gd name="T81" fmla="*/ 27 h 122"/>
                  <a:gd name="T82" fmla="*/ 117 w 122"/>
                  <a:gd name="T83" fmla="*/ 37 h 122"/>
                  <a:gd name="T84" fmla="*/ 120 w 122"/>
                  <a:gd name="T85" fmla="*/ 48 h 122"/>
                  <a:gd name="T86" fmla="*/ 121 w 122"/>
                  <a:gd name="T87" fmla="*/ 55 h 122"/>
                  <a:gd name="T88" fmla="*/ 122 w 122"/>
                  <a:gd name="T89" fmla="*/ 61 h 122"/>
                  <a:gd name="T90" fmla="*/ 122 w 122"/>
                  <a:gd name="T91" fmla="*/ 6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 h="122">
                    <a:moveTo>
                      <a:pt x="122" y="61"/>
                    </a:moveTo>
                    <a:lnTo>
                      <a:pt x="122" y="61"/>
                    </a:lnTo>
                    <a:lnTo>
                      <a:pt x="121" y="68"/>
                    </a:lnTo>
                    <a:lnTo>
                      <a:pt x="120" y="73"/>
                    </a:lnTo>
                    <a:lnTo>
                      <a:pt x="117" y="85"/>
                    </a:lnTo>
                    <a:lnTo>
                      <a:pt x="111" y="96"/>
                    </a:lnTo>
                    <a:lnTo>
                      <a:pt x="104" y="105"/>
                    </a:lnTo>
                    <a:lnTo>
                      <a:pt x="94" y="112"/>
                    </a:lnTo>
                    <a:lnTo>
                      <a:pt x="84" y="117"/>
                    </a:lnTo>
                    <a:lnTo>
                      <a:pt x="73" y="121"/>
                    </a:lnTo>
                    <a:lnTo>
                      <a:pt x="67" y="122"/>
                    </a:lnTo>
                    <a:lnTo>
                      <a:pt x="60" y="122"/>
                    </a:lnTo>
                    <a:lnTo>
                      <a:pt x="60" y="122"/>
                    </a:lnTo>
                    <a:lnTo>
                      <a:pt x="54" y="122"/>
                    </a:lnTo>
                    <a:lnTo>
                      <a:pt x="48" y="121"/>
                    </a:lnTo>
                    <a:lnTo>
                      <a:pt x="37" y="117"/>
                    </a:lnTo>
                    <a:lnTo>
                      <a:pt x="26" y="112"/>
                    </a:lnTo>
                    <a:lnTo>
                      <a:pt x="17" y="105"/>
                    </a:lnTo>
                    <a:lnTo>
                      <a:pt x="10" y="96"/>
                    </a:lnTo>
                    <a:lnTo>
                      <a:pt x="4" y="85"/>
                    </a:lnTo>
                    <a:lnTo>
                      <a:pt x="1" y="73"/>
                    </a:lnTo>
                    <a:lnTo>
                      <a:pt x="0" y="68"/>
                    </a:lnTo>
                    <a:lnTo>
                      <a:pt x="0" y="61"/>
                    </a:lnTo>
                    <a:lnTo>
                      <a:pt x="0" y="61"/>
                    </a:lnTo>
                    <a:lnTo>
                      <a:pt x="0" y="55"/>
                    </a:lnTo>
                    <a:lnTo>
                      <a:pt x="1" y="48"/>
                    </a:lnTo>
                    <a:lnTo>
                      <a:pt x="4" y="37"/>
                    </a:lnTo>
                    <a:lnTo>
                      <a:pt x="10" y="27"/>
                    </a:lnTo>
                    <a:lnTo>
                      <a:pt x="17" y="17"/>
                    </a:lnTo>
                    <a:lnTo>
                      <a:pt x="26" y="10"/>
                    </a:lnTo>
                    <a:lnTo>
                      <a:pt x="37" y="5"/>
                    </a:lnTo>
                    <a:lnTo>
                      <a:pt x="48" y="1"/>
                    </a:lnTo>
                    <a:lnTo>
                      <a:pt x="54" y="0"/>
                    </a:lnTo>
                    <a:lnTo>
                      <a:pt x="60" y="0"/>
                    </a:lnTo>
                    <a:lnTo>
                      <a:pt x="60" y="0"/>
                    </a:lnTo>
                    <a:lnTo>
                      <a:pt x="67" y="0"/>
                    </a:lnTo>
                    <a:lnTo>
                      <a:pt x="73" y="1"/>
                    </a:lnTo>
                    <a:lnTo>
                      <a:pt x="84" y="5"/>
                    </a:lnTo>
                    <a:lnTo>
                      <a:pt x="94" y="10"/>
                    </a:lnTo>
                    <a:lnTo>
                      <a:pt x="104" y="17"/>
                    </a:lnTo>
                    <a:lnTo>
                      <a:pt x="111" y="27"/>
                    </a:lnTo>
                    <a:lnTo>
                      <a:pt x="117" y="37"/>
                    </a:lnTo>
                    <a:lnTo>
                      <a:pt x="120" y="48"/>
                    </a:lnTo>
                    <a:lnTo>
                      <a:pt x="121" y="55"/>
                    </a:lnTo>
                    <a:lnTo>
                      <a:pt x="122" y="61"/>
                    </a:lnTo>
                    <a:lnTo>
                      <a:pt x="122" y="61"/>
                    </a:ln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 name="Freeform 22"/>
              <p:cNvSpPr>
                <a:spLocks/>
              </p:cNvSpPr>
              <p:nvPr userDrawn="1"/>
            </p:nvSpPr>
            <p:spPr bwMode="auto">
              <a:xfrm>
                <a:off x="-810477" y="327407"/>
                <a:ext cx="850900" cy="1693863"/>
              </a:xfrm>
              <a:custGeom>
                <a:avLst/>
                <a:gdLst>
                  <a:gd name="T0" fmla="*/ 400 w 1073"/>
                  <a:gd name="T1" fmla="*/ 0 h 2134"/>
                  <a:gd name="T2" fmla="*/ 400 w 1073"/>
                  <a:gd name="T3" fmla="*/ 0 h 2134"/>
                  <a:gd name="T4" fmla="*/ 419 w 1073"/>
                  <a:gd name="T5" fmla="*/ 14 h 2134"/>
                  <a:gd name="T6" fmla="*/ 471 w 1073"/>
                  <a:gd name="T7" fmla="*/ 51 h 2134"/>
                  <a:gd name="T8" fmla="*/ 550 w 1073"/>
                  <a:gd name="T9" fmla="*/ 104 h 2134"/>
                  <a:gd name="T10" fmla="*/ 597 w 1073"/>
                  <a:gd name="T11" fmla="*/ 135 h 2134"/>
                  <a:gd name="T12" fmla="*/ 647 w 1073"/>
                  <a:gd name="T13" fmla="*/ 167 h 2134"/>
                  <a:gd name="T14" fmla="*/ 700 w 1073"/>
                  <a:gd name="T15" fmla="*/ 200 h 2134"/>
                  <a:gd name="T16" fmla="*/ 755 w 1073"/>
                  <a:gd name="T17" fmla="*/ 232 h 2134"/>
                  <a:gd name="T18" fmla="*/ 811 w 1073"/>
                  <a:gd name="T19" fmla="*/ 263 h 2134"/>
                  <a:gd name="T20" fmla="*/ 867 w 1073"/>
                  <a:gd name="T21" fmla="*/ 292 h 2134"/>
                  <a:gd name="T22" fmla="*/ 895 w 1073"/>
                  <a:gd name="T23" fmla="*/ 304 h 2134"/>
                  <a:gd name="T24" fmla="*/ 922 w 1073"/>
                  <a:gd name="T25" fmla="*/ 317 h 2134"/>
                  <a:gd name="T26" fmla="*/ 949 w 1073"/>
                  <a:gd name="T27" fmla="*/ 329 h 2134"/>
                  <a:gd name="T28" fmla="*/ 975 w 1073"/>
                  <a:gd name="T29" fmla="*/ 339 h 2134"/>
                  <a:gd name="T30" fmla="*/ 1001 w 1073"/>
                  <a:gd name="T31" fmla="*/ 347 h 2134"/>
                  <a:gd name="T32" fmla="*/ 1026 w 1073"/>
                  <a:gd name="T33" fmla="*/ 355 h 2134"/>
                  <a:gd name="T34" fmla="*/ 1051 w 1073"/>
                  <a:gd name="T35" fmla="*/ 362 h 2134"/>
                  <a:gd name="T36" fmla="*/ 1073 w 1073"/>
                  <a:gd name="T37" fmla="*/ 367 h 2134"/>
                  <a:gd name="T38" fmla="*/ 699 w 1073"/>
                  <a:gd name="T39" fmla="*/ 2134 h 2134"/>
                  <a:gd name="T40" fmla="*/ 579 w 1073"/>
                  <a:gd name="T41" fmla="*/ 2134 h 2134"/>
                  <a:gd name="T42" fmla="*/ 579 w 1073"/>
                  <a:gd name="T43" fmla="*/ 2134 h 2134"/>
                  <a:gd name="T44" fmla="*/ 585 w 1073"/>
                  <a:gd name="T45" fmla="*/ 2078 h 2134"/>
                  <a:gd name="T46" fmla="*/ 591 w 1073"/>
                  <a:gd name="T47" fmla="*/ 2014 h 2134"/>
                  <a:gd name="T48" fmla="*/ 596 w 1073"/>
                  <a:gd name="T49" fmla="*/ 1929 h 2134"/>
                  <a:gd name="T50" fmla="*/ 599 w 1073"/>
                  <a:gd name="T51" fmla="*/ 1881 h 2134"/>
                  <a:gd name="T52" fmla="*/ 601 w 1073"/>
                  <a:gd name="T53" fmla="*/ 1830 h 2134"/>
                  <a:gd name="T54" fmla="*/ 602 w 1073"/>
                  <a:gd name="T55" fmla="*/ 1774 h 2134"/>
                  <a:gd name="T56" fmla="*/ 603 w 1073"/>
                  <a:gd name="T57" fmla="*/ 1716 h 2134"/>
                  <a:gd name="T58" fmla="*/ 603 w 1073"/>
                  <a:gd name="T59" fmla="*/ 1657 h 2134"/>
                  <a:gd name="T60" fmla="*/ 602 w 1073"/>
                  <a:gd name="T61" fmla="*/ 1595 h 2134"/>
                  <a:gd name="T62" fmla="*/ 599 w 1073"/>
                  <a:gd name="T63" fmla="*/ 1532 h 2134"/>
                  <a:gd name="T64" fmla="*/ 595 w 1073"/>
                  <a:gd name="T65" fmla="*/ 1467 h 2134"/>
                  <a:gd name="T66" fmla="*/ 590 w 1073"/>
                  <a:gd name="T67" fmla="*/ 1404 h 2134"/>
                  <a:gd name="T68" fmla="*/ 583 w 1073"/>
                  <a:gd name="T69" fmla="*/ 1339 h 2134"/>
                  <a:gd name="T70" fmla="*/ 574 w 1073"/>
                  <a:gd name="T71" fmla="*/ 1275 h 2134"/>
                  <a:gd name="T72" fmla="*/ 563 w 1073"/>
                  <a:gd name="T73" fmla="*/ 1212 h 2134"/>
                  <a:gd name="T74" fmla="*/ 557 w 1073"/>
                  <a:gd name="T75" fmla="*/ 1180 h 2134"/>
                  <a:gd name="T76" fmla="*/ 550 w 1073"/>
                  <a:gd name="T77" fmla="*/ 1151 h 2134"/>
                  <a:gd name="T78" fmla="*/ 542 w 1073"/>
                  <a:gd name="T79" fmla="*/ 1120 h 2134"/>
                  <a:gd name="T80" fmla="*/ 534 w 1073"/>
                  <a:gd name="T81" fmla="*/ 1090 h 2134"/>
                  <a:gd name="T82" fmla="*/ 526 w 1073"/>
                  <a:gd name="T83" fmla="*/ 1061 h 2134"/>
                  <a:gd name="T84" fmla="*/ 517 w 1073"/>
                  <a:gd name="T85" fmla="*/ 1032 h 2134"/>
                  <a:gd name="T86" fmla="*/ 506 w 1073"/>
                  <a:gd name="T87" fmla="*/ 1005 h 2134"/>
                  <a:gd name="T88" fmla="*/ 496 w 1073"/>
                  <a:gd name="T89" fmla="*/ 978 h 2134"/>
                  <a:gd name="T90" fmla="*/ 485 w 1073"/>
                  <a:gd name="T91" fmla="*/ 951 h 2134"/>
                  <a:gd name="T92" fmla="*/ 472 w 1073"/>
                  <a:gd name="T93" fmla="*/ 925 h 2134"/>
                  <a:gd name="T94" fmla="*/ 460 w 1073"/>
                  <a:gd name="T95" fmla="*/ 901 h 2134"/>
                  <a:gd name="T96" fmla="*/ 447 w 1073"/>
                  <a:gd name="T97" fmla="*/ 877 h 2134"/>
                  <a:gd name="T98" fmla="*/ 432 w 1073"/>
                  <a:gd name="T99" fmla="*/ 854 h 2134"/>
                  <a:gd name="T100" fmla="*/ 417 w 1073"/>
                  <a:gd name="T101" fmla="*/ 833 h 2134"/>
                  <a:gd name="T102" fmla="*/ 401 w 1073"/>
                  <a:gd name="T103" fmla="*/ 812 h 2134"/>
                  <a:gd name="T104" fmla="*/ 384 w 1073"/>
                  <a:gd name="T105" fmla="*/ 793 h 2134"/>
                  <a:gd name="T106" fmla="*/ 367 w 1073"/>
                  <a:gd name="T107" fmla="*/ 774 h 2134"/>
                  <a:gd name="T108" fmla="*/ 348 w 1073"/>
                  <a:gd name="T109" fmla="*/ 758 h 2134"/>
                  <a:gd name="T110" fmla="*/ 329 w 1073"/>
                  <a:gd name="T111" fmla="*/ 742 h 2134"/>
                  <a:gd name="T112" fmla="*/ 309 w 1073"/>
                  <a:gd name="T113" fmla="*/ 728 h 2134"/>
                  <a:gd name="T114" fmla="*/ 287 w 1073"/>
                  <a:gd name="T115" fmla="*/ 716 h 2134"/>
                  <a:gd name="T116" fmla="*/ 266 w 1073"/>
                  <a:gd name="T117" fmla="*/ 704 h 2134"/>
                  <a:gd name="T118" fmla="*/ 242 w 1073"/>
                  <a:gd name="T119" fmla="*/ 694 h 2134"/>
                  <a:gd name="T120" fmla="*/ 218 w 1073"/>
                  <a:gd name="T121" fmla="*/ 686 h 2134"/>
                  <a:gd name="T122" fmla="*/ 0 w 1073"/>
                  <a:gd name="T123" fmla="*/ 133 h 2134"/>
                  <a:gd name="T124" fmla="*/ 400 w 1073"/>
                  <a:gd name="T125" fmla="*/ 0 h 2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73" h="2134">
                    <a:moveTo>
                      <a:pt x="400" y="0"/>
                    </a:moveTo>
                    <a:lnTo>
                      <a:pt x="400" y="0"/>
                    </a:lnTo>
                    <a:lnTo>
                      <a:pt x="419" y="14"/>
                    </a:lnTo>
                    <a:lnTo>
                      <a:pt x="471" y="51"/>
                    </a:lnTo>
                    <a:lnTo>
                      <a:pt x="550" y="104"/>
                    </a:lnTo>
                    <a:lnTo>
                      <a:pt x="597" y="135"/>
                    </a:lnTo>
                    <a:lnTo>
                      <a:pt x="647" y="167"/>
                    </a:lnTo>
                    <a:lnTo>
                      <a:pt x="700" y="200"/>
                    </a:lnTo>
                    <a:lnTo>
                      <a:pt x="755" y="232"/>
                    </a:lnTo>
                    <a:lnTo>
                      <a:pt x="811" y="263"/>
                    </a:lnTo>
                    <a:lnTo>
                      <a:pt x="867" y="292"/>
                    </a:lnTo>
                    <a:lnTo>
                      <a:pt x="895" y="304"/>
                    </a:lnTo>
                    <a:lnTo>
                      <a:pt x="922" y="317"/>
                    </a:lnTo>
                    <a:lnTo>
                      <a:pt x="949" y="329"/>
                    </a:lnTo>
                    <a:lnTo>
                      <a:pt x="975" y="339"/>
                    </a:lnTo>
                    <a:lnTo>
                      <a:pt x="1001" y="347"/>
                    </a:lnTo>
                    <a:lnTo>
                      <a:pt x="1026" y="355"/>
                    </a:lnTo>
                    <a:lnTo>
                      <a:pt x="1051" y="362"/>
                    </a:lnTo>
                    <a:lnTo>
                      <a:pt x="1073" y="367"/>
                    </a:lnTo>
                    <a:lnTo>
                      <a:pt x="699" y="2134"/>
                    </a:lnTo>
                    <a:lnTo>
                      <a:pt x="579" y="2134"/>
                    </a:lnTo>
                    <a:lnTo>
                      <a:pt x="579" y="2134"/>
                    </a:lnTo>
                    <a:lnTo>
                      <a:pt x="585" y="2078"/>
                    </a:lnTo>
                    <a:lnTo>
                      <a:pt x="591" y="2014"/>
                    </a:lnTo>
                    <a:lnTo>
                      <a:pt x="596" y="1929"/>
                    </a:lnTo>
                    <a:lnTo>
                      <a:pt x="599" y="1881"/>
                    </a:lnTo>
                    <a:lnTo>
                      <a:pt x="601" y="1830"/>
                    </a:lnTo>
                    <a:lnTo>
                      <a:pt x="602" y="1774"/>
                    </a:lnTo>
                    <a:lnTo>
                      <a:pt x="603" y="1716"/>
                    </a:lnTo>
                    <a:lnTo>
                      <a:pt x="603" y="1657"/>
                    </a:lnTo>
                    <a:lnTo>
                      <a:pt x="602" y="1595"/>
                    </a:lnTo>
                    <a:lnTo>
                      <a:pt x="599" y="1532"/>
                    </a:lnTo>
                    <a:lnTo>
                      <a:pt x="595" y="1467"/>
                    </a:lnTo>
                    <a:lnTo>
                      <a:pt x="590" y="1404"/>
                    </a:lnTo>
                    <a:lnTo>
                      <a:pt x="583" y="1339"/>
                    </a:lnTo>
                    <a:lnTo>
                      <a:pt x="574" y="1275"/>
                    </a:lnTo>
                    <a:lnTo>
                      <a:pt x="563" y="1212"/>
                    </a:lnTo>
                    <a:lnTo>
                      <a:pt x="557" y="1180"/>
                    </a:lnTo>
                    <a:lnTo>
                      <a:pt x="550" y="1151"/>
                    </a:lnTo>
                    <a:lnTo>
                      <a:pt x="542" y="1120"/>
                    </a:lnTo>
                    <a:lnTo>
                      <a:pt x="534" y="1090"/>
                    </a:lnTo>
                    <a:lnTo>
                      <a:pt x="526" y="1061"/>
                    </a:lnTo>
                    <a:lnTo>
                      <a:pt x="517" y="1032"/>
                    </a:lnTo>
                    <a:lnTo>
                      <a:pt x="506" y="1005"/>
                    </a:lnTo>
                    <a:lnTo>
                      <a:pt x="496" y="978"/>
                    </a:lnTo>
                    <a:lnTo>
                      <a:pt x="485" y="951"/>
                    </a:lnTo>
                    <a:lnTo>
                      <a:pt x="472" y="925"/>
                    </a:lnTo>
                    <a:lnTo>
                      <a:pt x="460" y="901"/>
                    </a:lnTo>
                    <a:lnTo>
                      <a:pt x="447" y="877"/>
                    </a:lnTo>
                    <a:lnTo>
                      <a:pt x="432" y="854"/>
                    </a:lnTo>
                    <a:lnTo>
                      <a:pt x="417" y="833"/>
                    </a:lnTo>
                    <a:lnTo>
                      <a:pt x="401" y="812"/>
                    </a:lnTo>
                    <a:lnTo>
                      <a:pt x="384" y="793"/>
                    </a:lnTo>
                    <a:lnTo>
                      <a:pt x="367" y="774"/>
                    </a:lnTo>
                    <a:lnTo>
                      <a:pt x="348" y="758"/>
                    </a:lnTo>
                    <a:lnTo>
                      <a:pt x="329" y="742"/>
                    </a:lnTo>
                    <a:lnTo>
                      <a:pt x="309" y="728"/>
                    </a:lnTo>
                    <a:lnTo>
                      <a:pt x="287" y="716"/>
                    </a:lnTo>
                    <a:lnTo>
                      <a:pt x="266" y="704"/>
                    </a:lnTo>
                    <a:lnTo>
                      <a:pt x="242" y="694"/>
                    </a:lnTo>
                    <a:lnTo>
                      <a:pt x="218" y="686"/>
                    </a:lnTo>
                    <a:lnTo>
                      <a:pt x="0" y="133"/>
                    </a:lnTo>
                    <a:lnTo>
                      <a:pt x="400" y="0"/>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 name="Freeform 23"/>
              <p:cNvSpPr>
                <a:spLocks/>
              </p:cNvSpPr>
              <p:nvPr userDrawn="1"/>
            </p:nvSpPr>
            <p:spPr bwMode="auto">
              <a:xfrm>
                <a:off x="-810477" y="327407"/>
                <a:ext cx="393700" cy="569913"/>
              </a:xfrm>
              <a:custGeom>
                <a:avLst/>
                <a:gdLst>
                  <a:gd name="T0" fmla="*/ 400 w 497"/>
                  <a:gd name="T1" fmla="*/ 0 h 718"/>
                  <a:gd name="T2" fmla="*/ 0 w 497"/>
                  <a:gd name="T3" fmla="*/ 133 h 718"/>
                  <a:gd name="T4" fmla="*/ 218 w 497"/>
                  <a:gd name="T5" fmla="*/ 686 h 718"/>
                  <a:gd name="T6" fmla="*/ 218 w 497"/>
                  <a:gd name="T7" fmla="*/ 686 h 718"/>
                  <a:gd name="T8" fmla="*/ 238 w 497"/>
                  <a:gd name="T9" fmla="*/ 693 h 718"/>
                  <a:gd name="T10" fmla="*/ 256 w 497"/>
                  <a:gd name="T11" fmla="*/ 700 h 718"/>
                  <a:gd name="T12" fmla="*/ 274 w 497"/>
                  <a:gd name="T13" fmla="*/ 708 h 718"/>
                  <a:gd name="T14" fmla="*/ 291 w 497"/>
                  <a:gd name="T15" fmla="*/ 718 h 718"/>
                  <a:gd name="T16" fmla="*/ 291 w 497"/>
                  <a:gd name="T17" fmla="*/ 718 h 718"/>
                  <a:gd name="T18" fmla="*/ 308 w 497"/>
                  <a:gd name="T19" fmla="*/ 680 h 718"/>
                  <a:gd name="T20" fmla="*/ 323 w 497"/>
                  <a:gd name="T21" fmla="*/ 640 h 718"/>
                  <a:gd name="T22" fmla="*/ 339 w 497"/>
                  <a:gd name="T23" fmla="*/ 600 h 718"/>
                  <a:gd name="T24" fmla="*/ 354 w 497"/>
                  <a:gd name="T25" fmla="*/ 559 h 718"/>
                  <a:gd name="T26" fmla="*/ 383 w 497"/>
                  <a:gd name="T27" fmla="*/ 474 h 718"/>
                  <a:gd name="T28" fmla="*/ 411 w 497"/>
                  <a:gd name="T29" fmla="*/ 386 h 718"/>
                  <a:gd name="T30" fmla="*/ 435 w 497"/>
                  <a:gd name="T31" fmla="*/ 301 h 718"/>
                  <a:gd name="T32" fmla="*/ 459 w 497"/>
                  <a:gd name="T33" fmla="*/ 218 h 718"/>
                  <a:gd name="T34" fmla="*/ 480 w 497"/>
                  <a:gd name="T35" fmla="*/ 139 h 718"/>
                  <a:gd name="T36" fmla="*/ 497 w 497"/>
                  <a:gd name="T37" fmla="*/ 68 h 718"/>
                  <a:gd name="T38" fmla="*/ 497 w 497"/>
                  <a:gd name="T39" fmla="*/ 68 h 718"/>
                  <a:gd name="T40" fmla="*/ 426 w 497"/>
                  <a:gd name="T41" fmla="*/ 19 h 718"/>
                  <a:gd name="T42" fmla="*/ 400 w 497"/>
                  <a:gd name="T43" fmla="*/ 0 h 718"/>
                  <a:gd name="T44" fmla="*/ 400 w 497"/>
                  <a:gd name="T45"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97" h="718">
                    <a:moveTo>
                      <a:pt x="400" y="0"/>
                    </a:moveTo>
                    <a:lnTo>
                      <a:pt x="0" y="133"/>
                    </a:lnTo>
                    <a:lnTo>
                      <a:pt x="218" y="686"/>
                    </a:lnTo>
                    <a:lnTo>
                      <a:pt x="218" y="686"/>
                    </a:lnTo>
                    <a:lnTo>
                      <a:pt x="238" y="693"/>
                    </a:lnTo>
                    <a:lnTo>
                      <a:pt x="256" y="700"/>
                    </a:lnTo>
                    <a:lnTo>
                      <a:pt x="274" y="708"/>
                    </a:lnTo>
                    <a:lnTo>
                      <a:pt x="291" y="718"/>
                    </a:lnTo>
                    <a:lnTo>
                      <a:pt x="291" y="718"/>
                    </a:lnTo>
                    <a:lnTo>
                      <a:pt x="308" y="680"/>
                    </a:lnTo>
                    <a:lnTo>
                      <a:pt x="323" y="640"/>
                    </a:lnTo>
                    <a:lnTo>
                      <a:pt x="339" y="600"/>
                    </a:lnTo>
                    <a:lnTo>
                      <a:pt x="354" y="559"/>
                    </a:lnTo>
                    <a:lnTo>
                      <a:pt x="383" y="474"/>
                    </a:lnTo>
                    <a:lnTo>
                      <a:pt x="411" y="386"/>
                    </a:lnTo>
                    <a:lnTo>
                      <a:pt x="435" y="301"/>
                    </a:lnTo>
                    <a:lnTo>
                      <a:pt x="459" y="218"/>
                    </a:lnTo>
                    <a:lnTo>
                      <a:pt x="480" y="139"/>
                    </a:lnTo>
                    <a:lnTo>
                      <a:pt x="497" y="68"/>
                    </a:lnTo>
                    <a:lnTo>
                      <a:pt x="497" y="68"/>
                    </a:lnTo>
                    <a:lnTo>
                      <a:pt x="426" y="19"/>
                    </a:lnTo>
                    <a:lnTo>
                      <a:pt x="400" y="0"/>
                    </a:lnTo>
                    <a:lnTo>
                      <a:pt x="400" y="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 name="Freeform 24"/>
              <p:cNvSpPr>
                <a:spLocks/>
              </p:cNvSpPr>
              <p:nvPr userDrawn="1"/>
            </p:nvSpPr>
            <p:spPr bwMode="auto">
              <a:xfrm>
                <a:off x="-2515452" y="327407"/>
                <a:ext cx="852488" cy="1693863"/>
              </a:xfrm>
              <a:custGeom>
                <a:avLst/>
                <a:gdLst>
                  <a:gd name="T0" fmla="*/ 674 w 1073"/>
                  <a:gd name="T1" fmla="*/ 0 h 2134"/>
                  <a:gd name="T2" fmla="*/ 674 w 1073"/>
                  <a:gd name="T3" fmla="*/ 0 h 2134"/>
                  <a:gd name="T4" fmla="*/ 655 w 1073"/>
                  <a:gd name="T5" fmla="*/ 14 h 2134"/>
                  <a:gd name="T6" fmla="*/ 602 w 1073"/>
                  <a:gd name="T7" fmla="*/ 51 h 2134"/>
                  <a:gd name="T8" fmla="*/ 524 w 1073"/>
                  <a:gd name="T9" fmla="*/ 104 h 2134"/>
                  <a:gd name="T10" fmla="*/ 477 w 1073"/>
                  <a:gd name="T11" fmla="*/ 135 h 2134"/>
                  <a:gd name="T12" fmla="*/ 427 w 1073"/>
                  <a:gd name="T13" fmla="*/ 167 h 2134"/>
                  <a:gd name="T14" fmla="*/ 374 w 1073"/>
                  <a:gd name="T15" fmla="*/ 200 h 2134"/>
                  <a:gd name="T16" fmla="*/ 318 w 1073"/>
                  <a:gd name="T17" fmla="*/ 232 h 2134"/>
                  <a:gd name="T18" fmla="*/ 263 w 1073"/>
                  <a:gd name="T19" fmla="*/ 263 h 2134"/>
                  <a:gd name="T20" fmla="*/ 206 w 1073"/>
                  <a:gd name="T21" fmla="*/ 292 h 2134"/>
                  <a:gd name="T22" fmla="*/ 179 w 1073"/>
                  <a:gd name="T23" fmla="*/ 304 h 2134"/>
                  <a:gd name="T24" fmla="*/ 152 w 1073"/>
                  <a:gd name="T25" fmla="*/ 317 h 2134"/>
                  <a:gd name="T26" fmla="*/ 125 w 1073"/>
                  <a:gd name="T27" fmla="*/ 329 h 2134"/>
                  <a:gd name="T28" fmla="*/ 98 w 1073"/>
                  <a:gd name="T29" fmla="*/ 339 h 2134"/>
                  <a:gd name="T30" fmla="*/ 72 w 1073"/>
                  <a:gd name="T31" fmla="*/ 347 h 2134"/>
                  <a:gd name="T32" fmla="*/ 48 w 1073"/>
                  <a:gd name="T33" fmla="*/ 355 h 2134"/>
                  <a:gd name="T34" fmla="*/ 23 w 1073"/>
                  <a:gd name="T35" fmla="*/ 362 h 2134"/>
                  <a:gd name="T36" fmla="*/ 0 w 1073"/>
                  <a:gd name="T37" fmla="*/ 367 h 2134"/>
                  <a:gd name="T38" fmla="*/ 375 w 1073"/>
                  <a:gd name="T39" fmla="*/ 2134 h 2134"/>
                  <a:gd name="T40" fmla="*/ 495 w 1073"/>
                  <a:gd name="T41" fmla="*/ 2134 h 2134"/>
                  <a:gd name="T42" fmla="*/ 495 w 1073"/>
                  <a:gd name="T43" fmla="*/ 2134 h 2134"/>
                  <a:gd name="T44" fmla="*/ 489 w 1073"/>
                  <a:gd name="T45" fmla="*/ 2078 h 2134"/>
                  <a:gd name="T46" fmla="*/ 483 w 1073"/>
                  <a:gd name="T47" fmla="*/ 2014 h 2134"/>
                  <a:gd name="T48" fmla="*/ 478 w 1073"/>
                  <a:gd name="T49" fmla="*/ 1929 h 2134"/>
                  <a:gd name="T50" fmla="*/ 475 w 1073"/>
                  <a:gd name="T51" fmla="*/ 1881 h 2134"/>
                  <a:gd name="T52" fmla="*/ 473 w 1073"/>
                  <a:gd name="T53" fmla="*/ 1830 h 2134"/>
                  <a:gd name="T54" fmla="*/ 472 w 1073"/>
                  <a:gd name="T55" fmla="*/ 1774 h 2134"/>
                  <a:gd name="T56" fmla="*/ 471 w 1073"/>
                  <a:gd name="T57" fmla="*/ 1716 h 2134"/>
                  <a:gd name="T58" fmla="*/ 471 w 1073"/>
                  <a:gd name="T59" fmla="*/ 1657 h 2134"/>
                  <a:gd name="T60" fmla="*/ 473 w 1073"/>
                  <a:gd name="T61" fmla="*/ 1595 h 2134"/>
                  <a:gd name="T62" fmla="*/ 475 w 1073"/>
                  <a:gd name="T63" fmla="*/ 1532 h 2134"/>
                  <a:gd name="T64" fmla="*/ 479 w 1073"/>
                  <a:gd name="T65" fmla="*/ 1467 h 2134"/>
                  <a:gd name="T66" fmla="*/ 484 w 1073"/>
                  <a:gd name="T67" fmla="*/ 1404 h 2134"/>
                  <a:gd name="T68" fmla="*/ 491 w 1073"/>
                  <a:gd name="T69" fmla="*/ 1339 h 2134"/>
                  <a:gd name="T70" fmla="*/ 500 w 1073"/>
                  <a:gd name="T71" fmla="*/ 1275 h 2134"/>
                  <a:gd name="T72" fmla="*/ 511 w 1073"/>
                  <a:gd name="T73" fmla="*/ 1212 h 2134"/>
                  <a:gd name="T74" fmla="*/ 517 w 1073"/>
                  <a:gd name="T75" fmla="*/ 1180 h 2134"/>
                  <a:gd name="T76" fmla="*/ 524 w 1073"/>
                  <a:gd name="T77" fmla="*/ 1151 h 2134"/>
                  <a:gd name="T78" fmla="*/ 531 w 1073"/>
                  <a:gd name="T79" fmla="*/ 1120 h 2134"/>
                  <a:gd name="T80" fmla="*/ 539 w 1073"/>
                  <a:gd name="T81" fmla="*/ 1090 h 2134"/>
                  <a:gd name="T82" fmla="*/ 548 w 1073"/>
                  <a:gd name="T83" fmla="*/ 1061 h 2134"/>
                  <a:gd name="T84" fmla="*/ 557 w 1073"/>
                  <a:gd name="T85" fmla="*/ 1032 h 2134"/>
                  <a:gd name="T86" fmla="*/ 567 w 1073"/>
                  <a:gd name="T87" fmla="*/ 1005 h 2134"/>
                  <a:gd name="T88" fmla="*/ 578 w 1073"/>
                  <a:gd name="T89" fmla="*/ 978 h 2134"/>
                  <a:gd name="T90" fmla="*/ 589 w 1073"/>
                  <a:gd name="T91" fmla="*/ 951 h 2134"/>
                  <a:gd name="T92" fmla="*/ 601 w 1073"/>
                  <a:gd name="T93" fmla="*/ 925 h 2134"/>
                  <a:gd name="T94" fmla="*/ 614 w 1073"/>
                  <a:gd name="T95" fmla="*/ 901 h 2134"/>
                  <a:gd name="T96" fmla="*/ 627 w 1073"/>
                  <a:gd name="T97" fmla="*/ 877 h 2134"/>
                  <a:gd name="T98" fmla="*/ 641 w 1073"/>
                  <a:gd name="T99" fmla="*/ 854 h 2134"/>
                  <a:gd name="T100" fmla="*/ 657 w 1073"/>
                  <a:gd name="T101" fmla="*/ 833 h 2134"/>
                  <a:gd name="T102" fmla="*/ 672 w 1073"/>
                  <a:gd name="T103" fmla="*/ 812 h 2134"/>
                  <a:gd name="T104" fmla="*/ 690 w 1073"/>
                  <a:gd name="T105" fmla="*/ 793 h 2134"/>
                  <a:gd name="T106" fmla="*/ 707 w 1073"/>
                  <a:gd name="T107" fmla="*/ 774 h 2134"/>
                  <a:gd name="T108" fmla="*/ 726 w 1073"/>
                  <a:gd name="T109" fmla="*/ 758 h 2134"/>
                  <a:gd name="T110" fmla="*/ 744 w 1073"/>
                  <a:gd name="T111" fmla="*/ 742 h 2134"/>
                  <a:gd name="T112" fmla="*/ 765 w 1073"/>
                  <a:gd name="T113" fmla="*/ 728 h 2134"/>
                  <a:gd name="T114" fmla="*/ 786 w 1073"/>
                  <a:gd name="T115" fmla="*/ 716 h 2134"/>
                  <a:gd name="T116" fmla="*/ 808 w 1073"/>
                  <a:gd name="T117" fmla="*/ 704 h 2134"/>
                  <a:gd name="T118" fmla="*/ 832 w 1073"/>
                  <a:gd name="T119" fmla="*/ 694 h 2134"/>
                  <a:gd name="T120" fmla="*/ 855 w 1073"/>
                  <a:gd name="T121" fmla="*/ 686 h 2134"/>
                  <a:gd name="T122" fmla="*/ 1073 w 1073"/>
                  <a:gd name="T123" fmla="*/ 133 h 2134"/>
                  <a:gd name="T124" fmla="*/ 674 w 1073"/>
                  <a:gd name="T125" fmla="*/ 0 h 2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73" h="2134">
                    <a:moveTo>
                      <a:pt x="674" y="0"/>
                    </a:moveTo>
                    <a:lnTo>
                      <a:pt x="674" y="0"/>
                    </a:lnTo>
                    <a:lnTo>
                      <a:pt x="655" y="14"/>
                    </a:lnTo>
                    <a:lnTo>
                      <a:pt x="602" y="51"/>
                    </a:lnTo>
                    <a:lnTo>
                      <a:pt x="524" y="104"/>
                    </a:lnTo>
                    <a:lnTo>
                      <a:pt x="477" y="135"/>
                    </a:lnTo>
                    <a:lnTo>
                      <a:pt x="427" y="167"/>
                    </a:lnTo>
                    <a:lnTo>
                      <a:pt x="374" y="200"/>
                    </a:lnTo>
                    <a:lnTo>
                      <a:pt x="318" y="232"/>
                    </a:lnTo>
                    <a:lnTo>
                      <a:pt x="263" y="263"/>
                    </a:lnTo>
                    <a:lnTo>
                      <a:pt x="206" y="292"/>
                    </a:lnTo>
                    <a:lnTo>
                      <a:pt x="179" y="304"/>
                    </a:lnTo>
                    <a:lnTo>
                      <a:pt x="152" y="317"/>
                    </a:lnTo>
                    <a:lnTo>
                      <a:pt x="125" y="329"/>
                    </a:lnTo>
                    <a:lnTo>
                      <a:pt x="98" y="339"/>
                    </a:lnTo>
                    <a:lnTo>
                      <a:pt x="72" y="347"/>
                    </a:lnTo>
                    <a:lnTo>
                      <a:pt x="48" y="355"/>
                    </a:lnTo>
                    <a:lnTo>
                      <a:pt x="23" y="362"/>
                    </a:lnTo>
                    <a:lnTo>
                      <a:pt x="0" y="367"/>
                    </a:lnTo>
                    <a:lnTo>
                      <a:pt x="375" y="2134"/>
                    </a:lnTo>
                    <a:lnTo>
                      <a:pt x="495" y="2134"/>
                    </a:lnTo>
                    <a:lnTo>
                      <a:pt x="495" y="2134"/>
                    </a:lnTo>
                    <a:lnTo>
                      <a:pt x="489" y="2078"/>
                    </a:lnTo>
                    <a:lnTo>
                      <a:pt x="483" y="2014"/>
                    </a:lnTo>
                    <a:lnTo>
                      <a:pt x="478" y="1929"/>
                    </a:lnTo>
                    <a:lnTo>
                      <a:pt x="475" y="1881"/>
                    </a:lnTo>
                    <a:lnTo>
                      <a:pt x="473" y="1830"/>
                    </a:lnTo>
                    <a:lnTo>
                      <a:pt x="472" y="1774"/>
                    </a:lnTo>
                    <a:lnTo>
                      <a:pt x="471" y="1716"/>
                    </a:lnTo>
                    <a:lnTo>
                      <a:pt x="471" y="1657"/>
                    </a:lnTo>
                    <a:lnTo>
                      <a:pt x="473" y="1595"/>
                    </a:lnTo>
                    <a:lnTo>
                      <a:pt x="475" y="1532"/>
                    </a:lnTo>
                    <a:lnTo>
                      <a:pt x="479" y="1467"/>
                    </a:lnTo>
                    <a:lnTo>
                      <a:pt x="484" y="1404"/>
                    </a:lnTo>
                    <a:lnTo>
                      <a:pt x="491" y="1339"/>
                    </a:lnTo>
                    <a:lnTo>
                      <a:pt x="500" y="1275"/>
                    </a:lnTo>
                    <a:lnTo>
                      <a:pt x="511" y="1212"/>
                    </a:lnTo>
                    <a:lnTo>
                      <a:pt x="517" y="1180"/>
                    </a:lnTo>
                    <a:lnTo>
                      <a:pt x="524" y="1151"/>
                    </a:lnTo>
                    <a:lnTo>
                      <a:pt x="531" y="1120"/>
                    </a:lnTo>
                    <a:lnTo>
                      <a:pt x="539" y="1090"/>
                    </a:lnTo>
                    <a:lnTo>
                      <a:pt x="548" y="1061"/>
                    </a:lnTo>
                    <a:lnTo>
                      <a:pt x="557" y="1032"/>
                    </a:lnTo>
                    <a:lnTo>
                      <a:pt x="567" y="1005"/>
                    </a:lnTo>
                    <a:lnTo>
                      <a:pt x="578" y="978"/>
                    </a:lnTo>
                    <a:lnTo>
                      <a:pt x="589" y="951"/>
                    </a:lnTo>
                    <a:lnTo>
                      <a:pt x="601" y="925"/>
                    </a:lnTo>
                    <a:lnTo>
                      <a:pt x="614" y="901"/>
                    </a:lnTo>
                    <a:lnTo>
                      <a:pt x="627" y="877"/>
                    </a:lnTo>
                    <a:lnTo>
                      <a:pt x="641" y="854"/>
                    </a:lnTo>
                    <a:lnTo>
                      <a:pt x="657" y="833"/>
                    </a:lnTo>
                    <a:lnTo>
                      <a:pt x="672" y="812"/>
                    </a:lnTo>
                    <a:lnTo>
                      <a:pt x="690" y="793"/>
                    </a:lnTo>
                    <a:lnTo>
                      <a:pt x="707" y="774"/>
                    </a:lnTo>
                    <a:lnTo>
                      <a:pt x="726" y="758"/>
                    </a:lnTo>
                    <a:lnTo>
                      <a:pt x="744" y="742"/>
                    </a:lnTo>
                    <a:lnTo>
                      <a:pt x="765" y="728"/>
                    </a:lnTo>
                    <a:lnTo>
                      <a:pt x="786" y="716"/>
                    </a:lnTo>
                    <a:lnTo>
                      <a:pt x="808" y="704"/>
                    </a:lnTo>
                    <a:lnTo>
                      <a:pt x="832" y="694"/>
                    </a:lnTo>
                    <a:lnTo>
                      <a:pt x="855" y="686"/>
                    </a:lnTo>
                    <a:lnTo>
                      <a:pt x="1073" y="133"/>
                    </a:lnTo>
                    <a:lnTo>
                      <a:pt x="674" y="0"/>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4" name="Freeform 25"/>
              <p:cNvSpPr>
                <a:spLocks/>
              </p:cNvSpPr>
              <p:nvPr userDrawn="1"/>
            </p:nvSpPr>
            <p:spPr bwMode="auto">
              <a:xfrm>
                <a:off x="-2058252" y="327407"/>
                <a:ext cx="395288" cy="569913"/>
              </a:xfrm>
              <a:custGeom>
                <a:avLst/>
                <a:gdLst>
                  <a:gd name="T0" fmla="*/ 97 w 496"/>
                  <a:gd name="T1" fmla="*/ 0 h 718"/>
                  <a:gd name="T2" fmla="*/ 496 w 496"/>
                  <a:gd name="T3" fmla="*/ 133 h 718"/>
                  <a:gd name="T4" fmla="*/ 278 w 496"/>
                  <a:gd name="T5" fmla="*/ 686 h 718"/>
                  <a:gd name="T6" fmla="*/ 278 w 496"/>
                  <a:gd name="T7" fmla="*/ 686 h 718"/>
                  <a:gd name="T8" fmla="*/ 259 w 496"/>
                  <a:gd name="T9" fmla="*/ 693 h 718"/>
                  <a:gd name="T10" fmla="*/ 240 w 496"/>
                  <a:gd name="T11" fmla="*/ 700 h 718"/>
                  <a:gd name="T12" fmla="*/ 223 w 496"/>
                  <a:gd name="T13" fmla="*/ 708 h 718"/>
                  <a:gd name="T14" fmla="*/ 205 w 496"/>
                  <a:gd name="T15" fmla="*/ 718 h 718"/>
                  <a:gd name="T16" fmla="*/ 205 w 496"/>
                  <a:gd name="T17" fmla="*/ 718 h 718"/>
                  <a:gd name="T18" fmla="*/ 189 w 496"/>
                  <a:gd name="T19" fmla="*/ 680 h 718"/>
                  <a:gd name="T20" fmla="*/ 173 w 496"/>
                  <a:gd name="T21" fmla="*/ 640 h 718"/>
                  <a:gd name="T22" fmla="*/ 158 w 496"/>
                  <a:gd name="T23" fmla="*/ 600 h 718"/>
                  <a:gd name="T24" fmla="*/ 143 w 496"/>
                  <a:gd name="T25" fmla="*/ 559 h 718"/>
                  <a:gd name="T26" fmla="*/ 114 w 496"/>
                  <a:gd name="T27" fmla="*/ 474 h 718"/>
                  <a:gd name="T28" fmla="*/ 86 w 496"/>
                  <a:gd name="T29" fmla="*/ 386 h 718"/>
                  <a:gd name="T30" fmla="*/ 61 w 496"/>
                  <a:gd name="T31" fmla="*/ 301 h 718"/>
                  <a:gd name="T32" fmla="*/ 38 w 496"/>
                  <a:gd name="T33" fmla="*/ 218 h 718"/>
                  <a:gd name="T34" fmla="*/ 17 w 496"/>
                  <a:gd name="T35" fmla="*/ 139 h 718"/>
                  <a:gd name="T36" fmla="*/ 0 w 496"/>
                  <a:gd name="T37" fmla="*/ 68 h 718"/>
                  <a:gd name="T38" fmla="*/ 0 w 496"/>
                  <a:gd name="T39" fmla="*/ 68 h 718"/>
                  <a:gd name="T40" fmla="*/ 71 w 496"/>
                  <a:gd name="T41" fmla="*/ 19 h 718"/>
                  <a:gd name="T42" fmla="*/ 97 w 496"/>
                  <a:gd name="T43" fmla="*/ 0 h 718"/>
                  <a:gd name="T44" fmla="*/ 97 w 496"/>
                  <a:gd name="T45"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96" h="718">
                    <a:moveTo>
                      <a:pt x="97" y="0"/>
                    </a:moveTo>
                    <a:lnTo>
                      <a:pt x="496" y="133"/>
                    </a:lnTo>
                    <a:lnTo>
                      <a:pt x="278" y="686"/>
                    </a:lnTo>
                    <a:lnTo>
                      <a:pt x="278" y="686"/>
                    </a:lnTo>
                    <a:lnTo>
                      <a:pt x="259" y="693"/>
                    </a:lnTo>
                    <a:lnTo>
                      <a:pt x="240" y="700"/>
                    </a:lnTo>
                    <a:lnTo>
                      <a:pt x="223" y="708"/>
                    </a:lnTo>
                    <a:lnTo>
                      <a:pt x="205" y="718"/>
                    </a:lnTo>
                    <a:lnTo>
                      <a:pt x="205" y="718"/>
                    </a:lnTo>
                    <a:lnTo>
                      <a:pt x="189" y="680"/>
                    </a:lnTo>
                    <a:lnTo>
                      <a:pt x="173" y="640"/>
                    </a:lnTo>
                    <a:lnTo>
                      <a:pt x="158" y="600"/>
                    </a:lnTo>
                    <a:lnTo>
                      <a:pt x="143" y="559"/>
                    </a:lnTo>
                    <a:lnTo>
                      <a:pt x="114" y="474"/>
                    </a:lnTo>
                    <a:lnTo>
                      <a:pt x="86" y="386"/>
                    </a:lnTo>
                    <a:lnTo>
                      <a:pt x="61" y="301"/>
                    </a:lnTo>
                    <a:lnTo>
                      <a:pt x="38" y="218"/>
                    </a:lnTo>
                    <a:lnTo>
                      <a:pt x="17" y="139"/>
                    </a:lnTo>
                    <a:lnTo>
                      <a:pt x="0" y="68"/>
                    </a:lnTo>
                    <a:lnTo>
                      <a:pt x="0" y="68"/>
                    </a:lnTo>
                    <a:lnTo>
                      <a:pt x="71" y="19"/>
                    </a:lnTo>
                    <a:lnTo>
                      <a:pt x="97" y="0"/>
                    </a:lnTo>
                    <a:lnTo>
                      <a:pt x="97" y="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5" name="Freeform 26"/>
              <p:cNvSpPr>
                <a:spLocks/>
              </p:cNvSpPr>
              <p:nvPr userDrawn="1"/>
            </p:nvSpPr>
            <p:spPr bwMode="auto">
              <a:xfrm>
                <a:off x="-2091589" y="-791780"/>
                <a:ext cx="854075" cy="538163"/>
              </a:xfrm>
              <a:custGeom>
                <a:avLst/>
                <a:gdLst>
                  <a:gd name="T0" fmla="*/ 1076 w 1076"/>
                  <a:gd name="T1" fmla="*/ 370 h 678"/>
                  <a:gd name="T2" fmla="*/ 1076 w 1076"/>
                  <a:gd name="T3" fmla="*/ 370 h 678"/>
                  <a:gd name="T4" fmla="*/ 1076 w 1076"/>
                  <a:gd name="T5" fmla="*/ 0 h 678"/>
                  <a:gd name="T6" fmla="*/ 1076 w 1076"/>
                  <a:gd name="T7" fmla="*/ 0 h 678"/>
                  <a:gd name="T8" fmla="*/ 1076 w 1076"/>
                  <a:gd name="T9" fmla="*/ 0 h 678"/>
                  <a:gd name="T10" fmla="*/ 1000 w 1076"/>
                  <a:gd name="T11" fmla="*/ 2 h 678"/>
                  <a:gd name="T12" fmla="*/ 924 w 1076"/>
                  <a:gd name="T13" fmla="*/ 5 h 678"/>
                  <a:gd name="T14" fmla="*/ 850 w 1076"/>
                  <a:gd name="T15" fmla="*/ 11 h 678"/>
                  <a:gd name="T16" fmla="*/ 776 w 1076"/>
                  <a:gd name="T17" fmla="*/ 19 h 678"/>
                  <a:gd name="T18" fmla="*/ 704 w 1076"/>
                  <a:gd name="T19" fmla="*/ 28 h 678"/>
                  <a:gd name="T20" fmla="*/ 632 w 1076"/>
                  <a:gd name="T21" fmla="*/ 39 h 678"/>
                  <a:gd name="T22" fmla="*/ 562 w 1076"/>
                  <a:gd name="T23" fmla="*/ 53 h 678"/>
                  <a:gd name="T24" fmla="*/ 494 w 1076"/>
                  <a:gd name="T25" fmla="*/ 67 h 678"/>
                  <a:gd name="T26" fmla="*/ 427 w 1076"/>
                  <a:gd name="T27" fmla="*/ 84 h 678"/>
                  <a:gd name="T28" fmla="*/ 361 w 1076"/>
                  <a:gd name="T29" fmla="*/ 101 h 678"/>
                  <a:gd name="T30" fmla="*/ 298 w 1076"/>
                  <a:gd name="T31" fmla="*/ 120 h 678"/>
                  <a:gd name="T32" fmla="*/ 235 w 1076"/>
                  <a:gd name="T33" fmla="*/ 139 h 678"/>
                  <a:gd name="T34" fmla="*/ 174 w 1076"/>
                  <a:gd name="T35" fmla="*/ 161 h 678"/>
                  <a:gd name="T36" fmla="*/ 116 w 1076"/>
                  <a:gd name="T37" fmla="*/ 182 h 678"/>
                  <a:gd name="T38" fmla="*/ 59 w 1076"/>
                  <a:gd name="T39" fmla="*/ 205 h 678"/>
                  <a:gd name="T40" fmla="*/ 4 w 1076"/>
                  <a:gd name="T41" fmla="*/ 228 h 678"/>
                  <a:gd name="T42" fmla="*/ 4 w 1076"/>
                  <a:gd name="T43" fmla="*/ 228 h 678"/>
                  <a:gd name="T44" fmla="*/ 1 w 1076"/>
                  <a:gd name="T45" fmla="*/ 292 h 678"/>
                  <a:gd name="T46" fmla="*/ 0 w 1076"/>
                  <a:gd name="T47" fmla="*/ 356 h 678"/>
                  <a:gd name="T48" fmla="*/ 0 w 1076"/>
                  <a:gd name="T49" fmla="*/ 356 h 678"/>
                  <a:gd name="T50" fmla="*/ 1 w 1076"/>
                  <a:gd name="T51" fmla="*/ 440 h 678"/>
                  <a:gd name="T52" fmla="*/ 3 w 1076"/>
                  <a:gd name="T53" fmla="*/ 521 h 678"/>
                  <a:gd name="T54" fmla="*/ 6 w 1076"/>
                  <a:gd name="T55" fmla="*/ 600 h 678"/>
                  <a:gd name="T56" fmla="*/ 11 w 1076"/>
                  <a:gd name="T57" fmla="*/ 678 h 678"/>
                  <a:gd name="T58" fmla="*/ 11 w 1076"/>
                  <a:gd name="T59" fmla="*/ 678 h 678"/>
                  <a:gd name="T60" fmla="*/ 26 w 1076"/>
                  <a:gd name="T61" fmla="*/ 662 h 678"/>
                  <a:gd name="T62" fmla="*/ 43 w 1076"/>
                  <a:gd name="T63" fmla="*/ 646 h 678"/>
                  <a:gd name="T64" fmla="*/ 59 w 1076"/>
                  <a:gd name="T65" fmla="*/ 632 h 678"/>
                  <a:gd name="T66" fmla="*/ 79 w 1076"/>
                  <a:gd name="T67" fmla="*/ 616 h 678"/>
                  <a:gd name="T68" fmla="*/ 98 w 1076"/>
                  <a:gd name="T69" fmla="*/ 602 h 678"/>
                  <a:gd name="T70" fmla="*/ 119 w 1076"/>
                  <a:gd name="T71" fmla="*/ 587 h 678"/>
                  <a:gd name="T72" fmla="*/ 141 w 1076"/>
                  <a:gd name="T73" fmla="*/ 573 h 678"/>
                  <a:gd name="T74" fmla="*/ 165 w 1076"/>
                  <a:gd name="T75" fmla="*/ 559 h 678"/>
                  <a:gd name="T76" fmla="*/ 190 w 1076"/>
                  <a:gd name="T77" fmla="*/ 545 h 678"/>
                  <a:gd name="T78" fmla="*/ 215 w 1076"/>
                  <a:gd name="T79" fmla="*/ 532 h 678"/>
                  <a:gd name="T80" fmla="*/ 242 w 1076"/>
                  <a:gd name="T81" fmla="*/ 519 h 678"/>
                  <a:gd name="T82" fmla="*/ 271 w 1076"/>
                  <a:gd name="T83" fmla="*/ 506 h 678"/>
                  <a:gd name="T84" fmla="*/ 300 w 1076"/>
                  <a:gd name="T85" fmla="*/ 494 h 678"/>
                  <a:gd name="T86" fmla="*/ 331 w 1076"/>
                  <a:gd name="T87" fmla="*/ 483 h 678"/>
                  <a:gd name="T88" fmla="*/ 362 w 1076"/>
                  <a:gd name="T89" fmla="*/ 471 h 678"/>
                  <a:gd name="T90" fmla="*/ 395 w 1076"/>
                  <a:gd name="T91" fmla="*/ 461 h 678"/>
                  <a:gd name="T92" fmla="*/ 429 w 1076"/>
                  <a:gd name="T93" fmla="*/ 451 h 678"/>
                  <a:gd name="T94" fmla="*/ 464 w 1076"/>
                  <a:gd name="T95" fmla="*/ 441 h 678"/>
                  <a:gd name="T96" fmla="*/ 501 w 1076"/>
                  <a:gd name="T97" fmla="*/ 431 h 678"/>
                  <a:gd name="T98" fmla="*/ 538 w 1076"/>
                  <a:gd name="T99" fmla="*/ 423 h 678"/>
                  <a:gd name="T100" fmla="*/ 577 w 1076"/>
                  <a:gd name="T101" fmla="*/ 415 h 678"/>
                  <a:gd name="T102" fmla="*/ 618 w 1076"/>
                  <a:gd name="T103" fmla="*/ 408 h 678"/>
                  <a:gd name="T104" fmla="*/ 658 w 1076"/>
                  <a:gd name="T105" fmla="*/ 400 h 678"/>
                  <a:gd name="T106" fmla="*/ 700 w 1076"/>
                  <a:gd name="T107" fmla="*/ 394 h 678"/>
                  <a:gd name="T108" fmla="*/ 743 w 1076"/>
                  <a:gd name="T109" fmla="*/ 388 h 678"/>
                  <a:gd name="T110" fmla="*/ 787 w 1076"/>
                  <a:gd name="T111" fmla="*/ 383 h 678"/>
                  <a:gd name="T112" fmla="*/ 833 w 1076"/>
                  <a:gd name="T113" fmla="*/ 379 h 678"/>
                  <a:gd name="T114" fmla="*/ 880 w 1076"/>
                  <a:gd name="T115" fmla="*/ 376 h 678"/>
                  <a:gd name="T116" fmla="*/ 927 w 1076"/>
                  <a:gd name="T117" fmla="*/ 373 h 678"/>
                  <a:gd name="T118" fmla="*/ 975 w 1076"/>
                  <a:gd name="T119" fmla="*/ 371 h 678"/>
                  <a:gd name="T120" fmla="*/ 1026 w 1076"/>
                  <a:gd name="T121" fmla="*/ 370 h 678"/>
                  <a:gd name="T122" fmla="*/ 1076 w 1076"/>
                  <a:gd name="T123" fmla="*/ 370 h 678"/>
                  <a:gd name="T124" fmla="*/ 1076 w 1076"/>
                  <a:gd name="T125" fmla="*/ 370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76" h="678">
                    <a:moveTo>
                      <a:pt x="1076" y="370"/>
                    </a:moveTo>
                    <a:lnTo>
                      <a:pt x="1076" y="370"/>
                    </a:lnTo>
                    <a:lnTo>
                      <a:pt x="1076" y="0"/>
                    </a:lnTo>
                    <a:lnTo>
                      <a:pt x="1076" y="0"/>
                    </a:lnTo>
                    <a:lnTo>
                      <a:pt x="1076" y="0"/>
                    </a:lnTo>
                    <a:lnTo>
                      <a:pt x="1000" y="2"/>
                    </a:lnTo>
                    <a:lnTo>
                      <a:pt x="924" y="5"/>
                    </a:lnTo>
                    <a:lnTo>
                      <a:pt x="850" y="11"/>
                    </a:lnTo>
                    <a:lnTo>
                      <a:pt x="776" y="19"/>
                    </a:lnTo>
                    <a:lnTo>
                      <a:pt x="704" y="28"/>
                    </a:lnTo>
                    <a:lnTo>
                      <a:pt x="632" y="39"/>
                    </a:lnTo>
                    <a:lnTo>
                      <a:pt x="562" y="53"/>
                    </a:lnTo>
                    <a:lnTo>
                      <a:pt x="494" y="67"/>
                    </a:lnTo>
                    <a:lnTo>
                      <a:pt x="427" y="84"/>
                    </a:lnTo>
                    <a:lnTo>
                      <a:pt x="361" y="101"/>
                    </a:lnTo>
                    <a:lnTo>
                      <a:pt x="298" y="120"/>
                    </a:lnTo>
                    <a:lnTo>
                      <a:pt x="235" y="139"/>
                    </a:lnTo>
                    <a:lnTo>
                      <a:pt x="174" y="161"/>
                    </a:lnTo>
                    <a:lnTo>
                      <a:pt x="116" y="182"/>
                    </a:lnTo>
                    <a:lnTo>
                      <a:pt x="59" y="205"/>
                    </a:lnTo>
                    <a:lnTo>
                      <a:pt x="4" y="228"/>
                    </a:lnTo>
                    <a:lnTo>
                      <a:pt x="4" y="228"/>
                    </a:lnTo>
                    <a:lnTo>
                      <a:pt x="1" y="292"/>
                    </a:lnTo>
                    <a:lnTo>
                      <a:pt x="0" y="356"/>
                    </a:lnTo>
                    <a:lnTo>
                      <a:pt x="0" y="356"/>
                    </a:lnTo>
                    <a:lnTo>
                      <a:pt x="1" y="440"/>
                    </a:lnTo>
                    <a:lnTo>
                      <a:pt x="3" y="521"/>
                    </a:lnTo>
                    <a:lnTo>
                      <a:pt x="6" y="600"/>
                    </a:lnTo>
                    <a:lnTo>
                      <a:pt x="11" y="678"/>
                    </a:lnTo>
                    <a:lnTo>
                      <a:pt x="11" y="678"/>
                    </a:lnTo>
                    <a:lnTo>
                      <a:pt x="26" y="662"/>
                    </a:lnTo>
                    <a:lnTo>
                      <a:pt x="43" y="646"/>
                    </a:lnTo>
                    <a:lnTo>
                      <a:pt x="59" y="632"/>
                    </a:lnTo>
                    <a:lnTo>
                      <a:pt x="79" y="616"/>
                    </a:lnTo>
                    <a:lnTo>
                      <a:pt x="98" y="602"/>
                    </a:lnTo>
                    <a:lnTo>
                      <a:pt x="119" y="587"/>
                    </a:lnTo>
                    <a:lnTo>
                      <a:pt x="141" y="573"/>
                    </a:lnTo>
                    <a:lnTo>
                      <a:pt x="165" y="559"/>
                    </a:lnTo>
                    <a:lnTo>
                      <a:pt x="190" y="545"/>
                    </a:lnTo>
                    <a:lnTo>
                      <a:pt x="215" y="532"/>
                    </a:lnTo>
                    <a:lnTo>
                      <a:pt x="242" y="519"/>
                    </a:lnTo>
                    <a:lnTo>
                      <a:pt x="271" y="506"/>
                    </a:lnTo>
                    <a:lnTo>
                      <a:pt x="300" y="494"/>
                    </a:lnTo>
                    <a:lnTo>
                      <a:pt x="331" y="483"/>
                    </a:lnTo>
                    <a:lnTo>
                      <a:pt x="362" y="471"/>
                    </a:lnTo>
                    <a:lnTo>
                      <a:pt x="395" y="461"/>
                    </a:lnTo>
                    <a:lnTo>
                      <a:pt x="429" y="451"/>
                    </a:lnTo>
                    <a:lnTo>
                      <a:pt x="464" y="441"/>
                    </a:lnTo>
                    <a:lnTo>
                      <a:pt x="501" y="431"/>
                    </a:lnTo>
                    <a:lnTo>
                      <a:pt x="538" y="423"/>
                    </a:lnTo>
                    <a:lnTo>
                      <a:pt x="577" y="415"/>
                    </a:lnTo>
                    <a:lnTo>
                      <a:pt x="618" y="408"/>
                    </a:lnTo>
                    <a:lnTo>
                      <a:pt x="658" y="400"/>
                    </a:lnTo>
                    <a:lnTo>
                      <a:pt x="700" y="394"/>
                    </a:lnTo>
                    <a:lnTo>
                      <a:pt x="743" y="388"/>
                    </a:lnTo>
                    <a:lnTo>
                      <a:pt x="787" y="383"/>
                    </a:lnTo>
                    <a:lnTo>
                      <a:pt x="833" y="379"/>
                    </a:lnTo>
                    <a:lnTo>
                      <a:pt x="880" y="376"/>
                    </a:lnTo>
                    <a:lnTo>
                      <a:pt x="927" y="373"/>
                    </a:lnTo>
                    <a:lnTo>
                      <a:pt x="975" y="371"/>
                    </a:lnTo>
                    <a:lnTo>
                      <a:pt x="1026" y="370"/>
                    </a:lnTo>
                    <a:lnTo>
                      <a:pt x="1076" y="370"/>
                    </a:lnTo>
                    <a:lnTo>
                      <a:pt x="1076" y="370"/>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6" name="Freeform 27"/>
              <p:cNvSpPr>
                <a:spLocks/>
              </p:cNvSpPr>
              <p:nvPr userDrawn="1"/>
            </p:nvSpPr>
            <p:spPr bwMode="auto">
              <a:xfrm>
                <a:off x="-1237514" y="-791780"/>
                <a:ext cx="854075" cy="538163"/>
              </a:xfrm>
              <a:custGeom>
                <a:avLst/>
                <a:gdLst>
                  <a:gd name="T0" fmla="*/ 1073 w 1076"/>
                  <a:gd name="T1" fmla="*/ 228 h 678"/>
                  <a:gd name="T2" fmla="*/ 1073 w 1076"/>
                  <a:gd name="T3" fmla="*/ 228 h 678"/>
                  <a:gd name="T4" fmla="*/ 1018 w 1076"/>
                  <a:gd name="T5" fmla="*/ 204 h 678"/>
                  <a:gd name="T6" fmla="*/ 961 w 1076"/>
                  <a:gd name="T7" fmla="*/ 182 h 678"/>
                  <a:gd name="T8" fmla="*/ 902 w 1076"/>
                  <a:gd name="T9" fmla="*/ 160 h 678"/>
                  <a:gd name="T10" fmla="*/ 842 w 1076"/>
                  <a:gd name="T11" fmla="*/ 139 h 678"/>
                  <a:gd name="T12" fmla="*/ 780 w 1076"/>
                  <a:gd name="T13" fmla="*/ 120 h 678"/>
                  <a:gd name="T14" fmla="*/ 715 w 1076"/>
                  <a:gd name="T15" fmla="*/ 101 h 678"/>
                  <a:gd name="T16" fmla="*/ 650 w 1076"/>
                  <a:gd name="T17" fmla="*/ 84 h 678"/>
                  <a:gd name="T18" fmla="*/ 584 w 1076"/>
                  <a:gd name="T19" fmla="*/ 67 h 678"/>
                  <a:gd name="T20" fmla="*/ 515 w 1076"/>
                  <a:gd name="T21" fmla="*/ 53 h 678"/>
                  <a:gd name="T22" fmla="*/ 445 w 1076"/>
                  <a:gd name="T23" fmla="*/ 39 h 678"/>
                  <a:gd name="T24" fmla="*/ 374 w 1076"/>
                  <a:gd name="T25" fmla="*/ 28 h 678"/>
                  <a:gd name="T26" fmla="*/ 301 w 1076"/>
                  <a:gd name="T27" fmla="*/ 19 h 678"/>
                  <a:gd name="T28" fmla="*/ 228 w 1076"/>
                  <a:gd name="T29" fmla="*/ 11 h 678"/>
                  <a:gd name="T30" fmla="*/ 153 w 1076"/>
                  <a:gd name="T31" fmla="*/ 5 h 678"/>
                  <a:gd name="T32" fmla="*/ 77 w 1076"/>
                  <a:gd name="T33" fmla="*/ 2 h 678"/>
                  <a:gd name="T34" fmla="*/ 0 w 1076"/>
                  <a:gd name="T35" fmla="*/ 0 h 678"/>
                  <a:gd name="T36" fmla="*/ 0 w 1076"/>
                  <a:gd name="T37" fmla="*/ 0 h 678"/>
                  <a:gd name="T38" fmla="*/ 0 w 1076"/>
                  <a:gd name="T39" fmla="*/ 370 h 678"/>
                  <a:gd name="T40" fmla="*/ 0 w 1076"/>
                  <a:gd name="T41" fmla="*/ 370 h 678"/>
                  <a:gd name="T42" fmla="*/ 0 w 1076"/>
                  <a:gd name="T43" fmla="*/ 370 h 678"/>
                  <a:gd name="T44" fmla="*/ 52 w 1076"/>
                  <a:gd name="T45" fmla="*/ 370 h 678"/>
                  <a:gd name="T46" fmla="*/ 101 w 1076"/>
                  <a:gd name="T47" fmla="*/ 371 h 678"/>
                  <a:gd name="T48" fmla="*/ 149 w 1076"/>
                  <a:gd name="T49" fmla="*/ 373 h 678"/>
                  <a:gd name="T50" fmla="*/ 198 w 1076"/>
                  <a:gd name="T51" fmla="*/ 376 h 678"/>
                  <a:gd name="T52" fmla="*/ 244 w 1076"/>
                  <a:gd name="T53" fmla="*/ 379 h 678"/>
                  <a:gd name="T54" fmla="*/ 289 w 1076"/>
                  <a:gd name="T55" fmla="*/ 383 h 678"/>
                  <a:gd name="T56" fmla="*/ 334 w 1076"/>
                  <a:gd name="T57" fmla="*/ 388 h 678"/>
                  <a:gd name="T58" fmla="*/ 377 w 1076"/>
                  <a:gd name="T59" fmla="*/ 394 h 678"/>
                  <a:gd name="T60" fmla="*/ 419 w 1076"/>
                  <a:gd name="T61" fmla="*/ 400 h 678"/>
                  <a:gd name="T62" fmla="*/ 460 w 1076"/>
                  <a:gd name="T63" fmla="*/ 407 h 678"/>
                  <a:gd name="T64" fmla="*/ 500 w 1076"/>
                  <a:gd name="T65" fmla="*/ 415 h 678"/>
                  <a:gd name="T66" fmla="*/ 538 w 1076"/>
                  <a:gd name="T67" fmla="*/ 423 h 678"/>
                  <a:gd name="T68" fmla="*/ 576 w 1076"/>
                  <a:gd name="T69" fmla="*/ 431 h 678"/>
                  <a:gd name="T70" fmla="*/ 612 w 1076"/>
                  <a:gd name="T71" fmla="*/ 441 h 678"/>
                  <a:gd name="T72" fmla="*/ 647 w 1076"/>
                  <a:gd name="T73" fmla="*/ 451 h 678"/>
                  <a:gd name="T74" fmla="*/ 681 w 1076"/>
                  <a:gd name="T75" fmla="*/ 461 h 678"/>
                  <a:gd name="T76" fmla="*/ 714 w 1076"/>
                  <a:gd name="T77" fmla="*/ 471 h 678"/>
                  <a:gd name="T78" fmla="*/ 746 w 1076"/>
                  <a:gd name="T79" fmla="*/ 483 h 678"/>
                  <a:gd name="T80" fmla="*/ 777 w 1076"/>
                  <a:gd name="T81" fmla="*/ 494 h 678"/>
                  <a:gd name="T82" fmla="*/ 807 w 1076"/>
                  <a:gd name="T83" fmla="*/ 506 h 678"/>
                  <a:gd name="T84" fmla="*/ 835 w 1076"/>
                  <a:gd name="T85" fmla="*/ 519 h 678"/>
                  <a:gd name="T86" fmla="*/ 862 w 1076"/>
                  <a:gd name="T87" fmla="*/ 532 h 678"/>
                  <a:gd name="T88" fmla="*/ 888 w 1076"/>
                  <a:gd name="T89" fmla="*/ 545 h 678"/>
                  <a:gd name="T90" fmla="*/ 913 w 1076"/>
                  <a:gd name="T91" fmla="*/ 559 h 678"/>
                  <a:gd name="T92" fmla="*/ 935 w 1076"/>
                  <a:gd name="T93" fmla="*/ 573 h 678"/>
                  <a:gd name="T94" fmla="*/ 958 w 1076"/>
                  <a:gd name="T95" fmla="*/ 587 h 678"/>
                  <a:gd name="T96" fmla="*/ 980 w 1076"/>
                  <a:gd name="T97" fmla="*/ 602 h 678"/>
                  <a:gd name="T98" fmla="*/ 999 w 1076"/>
                  <a:gd name="T99" fmla="*/ 616 h 678"/>
                  <a:gd name="T100" fmla="*/ 1018 w 1076"/>
                  <a:gd name="T101" fmla="*/ 632 h 678"/>
                  <a:gd name="T102" fmla="*/ 1035 w 1076"/>
                  <a:gd name="T103" fmla="*/ 646 h 678"/>
                  <a:gd name="T104" fmla="*/ 1051 w 1076"/>
                  <a:gd name="T105" fmla="*/ 662 h 678"/>
                  <a:gd name="T106" fmla="*/ 1066 w 1076"/>
                  <a:gd name="T107" fmla="*/ 678 h 678"/>
                  <a:gd name="T108" fmla="*/ 1066 w 1076"/>
                  <a:gd name="T109" fmla="*/ 678 h 678"/>
                  <a:gd name="T110" fmla="*/ 1070 w 1076"/>
                  <a:gd name="T111" fmla="*/ 600 h 678"/>
                  <a:gd name="T112" fmla="*/ 1074 w 1076"/>
                  <a:gd name="T113" fmla="*/ 520 h 678"/>
                  <a:gd name="T114" fmla="*/ 1076 w 1076"/>
                  <a:gd name="T115" fmla="*/ 440 h 678"/>
                  <a:gd name="T116" fmla="*/ 1076 w 1076"/>
                  <a:gd name="T117" fmla="*/ 356 h 678"/>
                  <a:gd name="T118" fmla="*/ 1076 w 1076"/>
                  <a:gd name="T119" fmla="*/ 356 h 678"/>
                  <a:gd name="T120" fmla="*/ 1075 w 1076"/>
                  <a:gd name="T121" fmla="*/ 292 h 678"/>
                  <a:gd name="T122" fmla="*/ 1073 w 1076"/>
                  <a:gd name="T123" fmla="*/ 228 h 678"/>
                  <a:gd name="T124" fmla="*/ 1073 w 1076"/>
                  <a:gd name="T125" fmla="*/ 228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76" h="678">
                    <a:moveTo>
                      <a:pt x="1073" y="228"/>
                    </a:moveTo>
                    <a:lnTo>
                      <a:pt x="1073" y="228"/>
                    </a:lnTo>
                    <a:lnTo>
                      <a:pt x="1018" y="204"/>
                    </a:lnTo>
                    <a:lnTo>
                      <a:pt x="961" y="182"/>
                    </a:lnTo>
                    <a:lnTo>
                      <a:pt x="902" y="160"/>
                    </a:lnTo>
                    <a:lnTo>
                      <a:pt x="842" y="139"/>
                    </a:lnTo>
                    <a:lnTo>
                      <a:pt x="780" y="120"/>
                    </a:lnTo>
                    <a:lnTo>
                      <a:pt x="715" y="101"/>
                    </a:lnTo>
                    <a:lnTo>
                      <a:pt x="650" y="84"/>
                    </a:lnTo>
                    <a:lnTo>
                      <a:pt x="584" y="67"/>
                    </a:lnTo>
                    <a:lnTo>
                      <a:pt x="515" y="53"/>
                    </a:lnTo>
                    <a:lnTo>
                      <a:pt x="445" y="39"/>
                    </a:lnTo>
                    <a:lnTo>
                      <a:pt x="374" y="28"/>
                    </a:lnTo>
                    <a:lnTo>
                      <a:pt x="301" y="19"/>
                    </a:lnTo>
                    <a:lnTo>
                      <a:pt x="228" y="11"/>
                    </a:lnTo>
                    <a:lnTo>
                      <a:pt x="153" y="5"/>
                    </a:lnTo>
                    <a:lnTo>
                      <a:pt x="77" y="2"/>
                    </a:lnTo>
                    <a:lnTo>
                      <a:pt x="0" y="0"/>
                    </a:lnTo>
                    <a:lnTo>
                      <a:pt x="0" y="0"/>
                    </a:lnTo>
                    <a:lnTo>
                      <a:pt x="0" y="370"/>
                    </a:lnTo>
                    <a:lnTo>
                      <a:pt x="0" y="370"/>
                    </a:lnTo>
                    <a:lnTo>
                      <a:pt x="0" y="370"/>
                    </a:lnTo>
                    <a:lnTo>
                      <a:pt x="52" y="370"/>
                    </a:lnTo>
                    <a:lnTo>
                      <a:pt x="101" y="371"/>
                    </a:lnTo>
                    <a:lnTo>
                      <a:pt x="149" y="373"/>
                    </a:lnTo>
                    <a:lnTo>
                      <a:pt x="198" y="376"/>
                    </a:lnTo>
                    <a:lnTo>
                      <a:pt x="244" y="379"/>
                    </a:lnTo>
                    <a:lnTo>
                      <a:pt x="289" y="383"/>
                    </a:lnTo>
                    <a:lnTo>
                      <a:pt x="334" y="388"/>
                    </a:lnTo>
                    <a:lnTo>
                      <a:pt x="377" y="394"/>
                    </a:lnTo>
                    <a:lnTo>
                      <a:pt x="419" y="400"/>
                    </a:lnTo>
                    <a:lnTo>
                      <a:pt x="460" y="407"/>
                    </a:lnTo>
                    <a:lnTo>
                      <a:pt x="500" y="415"/>
                    </a:lnTo>
                    <a:lnTo>
                      <a:pt x="538" y="423"/>
                    </a:lnTo>
                    <a:lnTo>
                      <a:pt x="576" y="431"/>
                    </a:lnTo>
                    <a:lnTo>
                      <a:pt x="612" y="441"/>
                    </a:lnTo>
                    <a:lnTo>
                      <a:pt x="647" y="451"/>
                    </a:lnTo>
                    <a:lnTo>
                      <a:pt x="681" y="461"/>
                    </a:lnTo>
                    <a:lnTo>
                      <a:pt x="714" y="471"/>
                    </a:lnTo>
                    <a:lnTo>
                      <a:pt x="746" y="483"/>
                    </a:lnTo>
                    <a:lnTo>
                      <a:pt x="777" y="494"/>
                    </a:lnTo>
                    <a:lnTo>
                      <a:pt x="807" y="506"/>
                    </a:lnTo>
                    <a:lnTo>
                      <a:pt x="835" y="519"/>
                    </a:lnTo>
                    <a:lnTo>
                      <a:pt x="862" y="532"/>
                    </a:lnTo>
                    <a:lnTo>
                      <a:pt x="888" y="545"/>
                    </a:lnTo>
                    <a:lnTo>
                      <a:pt x="913" y="559"/>
                    </a:lnTo>
                    <a:lnTo>
                      <a:pt x="935" y="573"/>
                    </a:lnTo>
                    <a:lnTo>
                      <a:pt x="958" y="587"/>
                    </a:lnTo>
                    <a:lnTo>
                      <a:pt x="980" y="602"/>
                    </a:lnTo>
                    <a:lnTo>
                      <a:pt x="999" y="616"/>
                    </a:lnTo>
                    <a:lnTo>
                      <a:pt x="1018" y="632"/>
                    </a:lnTo>
                    <a:lnTo>
                      <a:pt x="1035" y="646"/>
                    </a:lnTo>
                    <a:lnTo>
                      <a:pt x="1051" y="662"/>
                    </a:lnTo>
                    <a:lnTo>
                      <a:pt x="1066" y="678"/>
                    </a:lnTo>
                    <a:lnTo>
                      <a:pt x="1066" y="678"/>
                    </a:lnTo>
                    <a:lnTo>
                      <a:pt x="1070" y="600"/>
                    </a:lnTo>
                    <a:lnTo>
                      <a:pt x="1074" y="520"/>
                    </a:lnTo>
                    <a:lnTo>
                      <a:pt x="1076" y="440"/>
                    </a:lnTo>
                    <a:lnTo>
                      <a:pt x="1076" y="356"/>
                    </a:lnTo>
                    <a:lnTo>
                      <a:pt x="1076" y="356"/>
                    </a:lnTo>
                    <a:lnTo>
                      <a:pt x="1075" y="292"/>
                    </a:lnTo>
                    <a:lnTo>
                      <a:pt x="1073" y="228"/>
                    </a:lnTo>
                    <a:lnTo>
                      <a:pt x="1073" y="228"/>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7" name="Freeform 28"/>
              <p:cNvSpPr>
                <a:spLocks/>
              </p:cNvSpPr>
              <p:nvPr userDrawn="1"/>
            </p:nvSpPr>
            <p:spPr bwMode="auto">
              <a:xfrm>
                <a:off x="-1755039" y="-2488818"/>
                <a:ext cx="1041400" cy="784225"/>
              </a:xfrm>
              <a:custGeom>
                <a:avLst/>
                <a:gdLst>
                  <a:gd name="T0" fmla="*/ 1313 w 1313"/>
                  <a:gd name="T1" fmla="*/ 986 h 986"/>
                  <a:gd name="T2" fmla="*/ 1239 w 1313"/>
                  <a:gd name="T3" fmla="*/ 849 h 986"/>
                  <a:gd name="T4" fmla="*/ 1165 w 1313"/>
                  <a:gd name="T5" fmla="*/ 720 h 986"/>
                  <a:gd name="T6" fmla="*/ 1115 w 1313"/>
                  <a:gd name="T7" fmla="*/ 640 h 986"/>
                  <a:gd name="T8" fmla="*/ 1021 w 1313"/>
                  <a:gd name="T9" fmla="*/ 492 h 986"/>
                  <a:gd name="T10" fmla="*/ 930 w 1313"/>
                  <a:gd name="T11" fmla="*/ 359 h 986"/>
                  <a:gd name="T12" fmla="*/ 848 w 1313"/>
                  <a:gd name="T13" fmla="*/ 246 h 986"/>
                  <a:gd name="T14" fmla="*/ 777 w 1313"/>
                  <a:gd name="T15" fmla="*/ 151 h 986"/>
                  <a:gd name="T16" fmla="*/ 696 w 1313"/>
                  <a:gd name="T17" fmla="*/ 51 h 986"/>
                  <a:gd name="T18" fmla="*/ 652 w 1313"/>
                  <a:gd name="T19" fmla="*/ 0 h 986"/>
                  <a:gd name="T20" fmla="*/ 641 w 1313"/>
                  <a:gd name="T21" fmla="*/ 13 h 986"/>
                  <a:gd name="T22" fmla="*/ 559 w 1313"/>
                  <a:gd name="T23" fmla="*/ 113 h 986"/>
                  <a:gd name="T24" fmla="*/ 494 w 1313"/>
                  <a:gd name="T25" fmla="*/ 196 h 986"/>
                  <a:gd name="T26" fmla="*/ 416 w 1313"/>
                  <a:gd name="T27" fmla="*/ 301 h 986"/>
                  <a:gd name="T28" fmla="*/ 329 w 1313"/>
                  <a:gd name="T29" fmla="*/ 425 h 986"/>
                  <a:gd name="T30" fmla="*/ 236 w 1313"/>
                  <a:gd name="T31" fmla="*/ 566 h 986"/>
                  <a:gd name="T32" fmla="*/ 139 w 1313"/>
                  <a:gd name="T33" fmla="*/ 723 h 986"/>
                  <a:gd name="T34" fmla="*/ 104 w 1313"/>
                  <a:gd name="T35" fmla="*/ 783 h 986"/>
                  <a:gd name="T36" fmla="*/ 34 w 1313"/>
                  <a:gd name="T37" fmla="*/ 907 h 986"/>
                  <a:gd name="T38" fmla="*/ 0 w 1313"/>
                  <a:gd name="T39" fmla="*/ 972 h 986"/>
                  <a:gd name="T40" fmla="*/ 123 w 1313"/>
                  <a:gd name="T41" fmla="*/ 945 h 986"/>
                  <a:gd name="T42" fmla="*/ 258 w 1313"/>
                  <a:gd name="T43" fmla="*/ 923 h 986"/>
                  <a:gd name="T44" fmla="*/ 406 w 1313"/>
                  <a:gd name="T45" fmla="*/ 906 h 986"/>
                  <a:gd name="T46" fmla="*/ 526 w 1313"/>
                  <a:gd name="T47" fmla="*/ 899 h 986"/>
                  <a:gd name="T48" fmla="*/ 608 w 1313"/>
                  <a:gd name="T49" fmla="*/ 898 h 986"/>
                  <a:gd name="T50" fmla="*/ 694 w 1313"/>
                  <a:gd name="T51" fmla="*/ 899 h 986"/>
                  <a:gd name="T52" fmla="*/ 782 w 1313"/>
                  <a:gd name="T53" fmla="*/ 902 h 986"/>
                  <a:gd name="T54" fmla="*/ 873 w 1313"/>
                  <a:gd name="T55" fmla="*/ 909 h 986"/>
                  <a:gd name="T56" fmla="*/ 967 w 1313"/>
                  <a:gd name="T57" fmla="*/ 920 h 986"/>
                  <a:gd name="T58" fmla="*/ 1063 w 1313"/>
                  <a:gd name="T59" fmla="*/ 934 h 986"/>
                  <a:gd name="T60" fmla="*/ 1161 w 1313"/>
                  <a:gd name="T61" fmla="*/ 952 h 986"/>
                  <a:gd name="T62" fmla="*/ 1261 w 1313"/>
                  <a:gd name="T63" fmla="*/ 974 h 986"/>
                  <a:gd name="T64" fmla="*/ 1313 w 1313"/>
                  <a:gd name="T65" fmla="*/ 986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13" h="986">
                    <a:moveTo>
                      <a:pt x="1313" y="986"/>
                    </a:moveTo>
                    <a:lnTo>
                      <a:pt x="1313" y="986"/>
                    </a:lnTo>
                    <a:lnTo>
                      <a:pt x="1276" y="917"/>
                    </a:lnTo>
                    <a:lnTo>
                      <a:pt x="1239" y="849"/>
                    </a:lnTo>
                    <a:lnTo>
                      <a:pt x="1202" y="784"/>
                    </a:lnTo>
                    <a:lnTo>
                      <a:pt x="1165" y="720"/>
                    </a:lnTo>
                    <a:lnTo>
                      <a:pt x="1165" y="720"/>
                    </a:lnTo>
                    <a:lnTo>
                      <a:pt x="1115" y="640"/>
                    </a:lnTo>
                    <a:lnTo>
                      <a:pt x="1068" y="564"/>
                    </a:lnTo>
                    <a:lnTo>
                      <a:pt x="1021" y="492"/>
                    </a:lnTo>
                    <a:lnTo>
                      <a:pt x="974" y="423"/>
                    </a:lnTo>
                    <a:lnTo>
                      <a:pt x="930" y="359"/>
                    </a:lnTo>
                    <a:lnTo>
                      <a:pt x="888" y="300"/>
                    </a:lnTo>
                    <a:lnTo>
                      <a:pt x="848" y="246"/>
                    </a:lnTo>
                    <a:lnTo>
                      <a:pt x="811" y="196"/>
                    </a:lnTo>
                    <a:lnTo>
                      <a:pt x="777" y="151"/>
                    </a:lnTo>
                    <a:lnTo>
                      <a:pt x="746" y="112"/>
                    </a:lnTo>
                    <a:lnTo>
                      <a:pt x="696" y="51"/>
                    </a:lnTo>
                    <a:lnTo>
                      <a:pt x="664" y="13"/>
                    </a:lnTo>
                    <a:lnTo>
                      <a:pt x="652" y="0"/>
                    </a:lnTo>
                    <a:lnTo>
                      <a:pt x="652" y="0"/>
                    </a:lnTo>
                    <a:lnTo>
                      <a:pt x="641" y="13"/>
                    </a:lnTo>
                    <a:lnTo>
                      <a:pt x="609" y="51"/>
                    </a:lnTo>
                    <a:lnTo>
                      <a:pt x="559" y="113"/>
                    </a:lnTo>
                    <a:lnTo>
                      <a:pt x="528" y="152"/>
                    </a:lnTo>
                    <a:lnTo>
                      <a:pt x="494" y="196"/>
                    </a:lnTo>
                    <a:lnTo>
                      <a:pt x="456" y="247"/>
                    </a:lnTo>
                    <a:lnTo>
                      <a:pt x="416" y="301"/>
                    </a:lnTo>
                    <a:lnTo>
                      <a:pt x="374" y="361"/>
                    </a:lnTo>
                    <a:lnTo>
                      <a:pt x="329" y="425"/>
                    </a:lnTo>
                    <a:lnTo>
                      <a:pt x="283" y="494"/>
                    </a:lnTo>
                    <a:lnTo>
                      <a:pt x="236" y="566"/>
                    </a:lnTo>
                    <a:lnTo>
                      <a:pt x="187" y="643"/>
                    </a:lnTo>
                    <a:lnTo>
                      <a:pt x="139" y="723"/>
                    </a:lnTo>
                    <a:lnTo>
                      <a:pt x="139" y="723"/>
                    </a:lnTo>
                    <a:lnTo>
                      <a:pt x="104" y="783"/>
                    </a:lnTo>
                    <a:lnTo>
                      <a:pt x="69" y="844"/>
                    </a:lnTo>
                    <a:lnTo>
                      <a:pt x="34" y="907"/>
                    </a:lnTo>
                    <a:lnTo>
                      <a:pt x="0" y="972"/>
                    </a:lnTo>
                    <a:lnTo>
                      <a:pt x="0" y="972"/>
                    </a:lnTo>
                    <a:lnTo>
                      <a:pt x="60" y="957"/>
                    </a:lnTo>
                    <a:lnTo>
                      <a:pt x="123" y="945"/>
                    </a:lnTo>
                    <a:lnTo>
                      <a:pt x="188" y="933"/>
                    </a:lnTo>
                    <a:lnTo>
                      <a:pt x="258" y="923"/>
                    </a:lnTo>
                    <a:lnTo>
                      <a:pt x="330" y="913"/>
                    </a:lnTo>
                    <a:lnTo>
                      <a:pt x="406" y="906"/>
                    </a:lnTo>
                    <a:lnTo>
                      <a:pt x="485" y="901"/>
                    </a:lnTo>
                    <a:lnTo>
                      <a:pt x="526" y="899"/>
                    </a:lnTo>
                    <a:lnTo>
                      <a:pt x="567" y="898"/>
                    </a:lnTo>
                    <a:lnTo>
                      <a:pt x="608" y="898"/>
                    </a:lnTo>
                    <a:lnTo>
                      <a:pt x="651" y="898"/>
                    </a:lnTo>
                    <a:lnTo>
                      <a:pt x="694" y="899"/>
                    </a:lnTo>
                    <a:lnTo>
                      <a:pt x="738" y="900"/>
                    </a:lnTo>
                    <a:lnTo>
                      <a:pt x="782" y="902"/>
                    </a:lnTo>
                    <a:lnTo>
                      <a:pt x="827" y="905"/>
                    </a:lnTo>
                    <a:lnTo>
                      <a:pt x="873" y="909"/>
                    </a:lnTo>
                    <a:lnTo>
                      <a:pt x="920" y="914"/>
                    </a:lnTo>
                    <a:lnTo>
                      <a:pt x="967" y="920"/>
                    </a:lnTo>
                    <a:lnTo>
                      <a:pt x="1014" y="927"/>
                    </a:lnTo>
                    <a:lnTo>
                      <a:pt x="1063" y="934"/>
                    </a:lnTo>
                    <a:lnTo>
                      <a:pt x="1112" y="943"/>
                    </a:lnTo>
                    <a:lnTo>
                      <a:pt x="1161" y="952"/>
                    </a:lnTo>
                    <a:lnTo>
                      <a:pt x="1211" y="963"/>
                    </a:lnTo>
                    <a:lnTo>
                      <a:pt x="1261" y="974"/>
                    </a:lnTo>
                    <a:lnTo>
                      <a:pt x="1313" y="986"/>
                    </a:lnTo>
                    <a:lnTo>
                      <a:pt x="1313" y="986"/>
                    </a:lnTo>
                    <a:close/>
                  </a:path>
                </a:pathLst>
              </a:custGeom>
              <a:solidFill>
                <a:srgbClr val="F1A7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8" name="Freeform 29"/>
              <p:cNvSpPr>
                <a:spLocks/>
              </p:cNvSpPr>
              <p:nvPr userDrawn="1"/>
            </p:nvSpPr>
            <p:spPr bwMode="auto">
              <a:xfrm>
                <a:off x="-2088414" y="-1776030"/>
                <a:ext cx="1701800" cy="2698750"/>
              </a:xfrm>
              <a:custGeom>
                <a:avLst/>
                <a:gdLst>
                  <a:gd name="T0" fmla="*/ 1268 w 2145"/>
                  <a:gd name="T1" fmla="*/ 1247 h 3399"/>
                  <a:gd name="T2" fmla="*/ 1528 w 2145"/>
                  <a:gd name="T3" fmla="*/ 1279 h 3399"/>
                  <a:gd name="T4" fmla="*/ 1771 w 2145"/>
                  <a:gd name="T5" fmla="*/ 1334 h 3399"/>
                  <a:gd name="T6" fmla="*/ 1993 w 2145"/>
                  <a:gd name="T7" fmla="*/ 1405 h 3399"/>
                  <a:gd name="T8" fmla="*/ 2145 w 2145"/>
                  <a:gd name="T9" fmla="*/ 1466 h 3399"/>
                  <a:gd name="T10" fmla="*/ 2128 w 2145"/>
                  <a:gd name="T11" fmla="*/ 1279 h 3399"/>
                  <a:gd name="T12" fmla="*/ 2098 w 2145"/>
                  <a:gd name="T13" fmla="*/ 1096 h 3399"/>
                  <a:gd name="T14" fmla="*/ 2057 w 2145"/>
                  <a:gd name="T15" fmla="*/ 915 h 3399"/>
                  <a:gd name="T16" fmla="*/ 1977 w 2145"/>
                  <a:gd name="T17" fmla="*/ 652 h 3399"/>
                  <a:gd name="T18" fmla="*/ 1845 w 2145"/>
                  <a:gd name="T19" fmla="*/ 321 h 3399"/>
                  <a:gd name="T20" fmla="*/ 1733 w 2145"/>
                  <a:gd name="T21" fmla="*/ 88 h 3399"/>
                  <a:gd name="T22" fmla="*/ 1532 w 2145"/>
                  <a:gd name="T23" fmla="*/ 45 h 3399"/>
                  <a:gd name="T24" fmla="*/ 1340 w 2145"/>
                  <a:gd name="T25" fmla="*/ 16 h 3399"/>
                  <a:gd name="T26" fmla="*/ 1158 w 2145"/>
                  <a:gd name="T27" fmla="*/ 2 h 3399"/>
                  <a:gd name="T28" fmla="*/ 987 w 2145"/>
                  <a:gd name="T29" fmla="*/ 0 h 3399"/>
                  <a:gd name="T30" fmla="*/ 750 w 2145"/>
                  <a:gd name="T31" fmla="*/ 15 h 3399"/>
                  <a:gd name="T32" fmla="*/ 480 w 2145"/>
                  <a:gd name="T33" fmla="*/ 59 h 3399"/>
                  <a:gd name="T34" fmla="*/ 343 w 2145"/>
                  <a:gd name="T35" fmla="*/ 228 h 3399"/>
                  <a:gd name="T36" fmla="*/ 203 w 2145"/>
                  <a:gd name="T37" fmla="*/ 556 h 3399"/>
                  <a:gd name="T38" fmla="*/ 115 w 2145"/>
                  <a:gd name="T39" fmla="*/ 819 h 3399"/>
                  <a:gd name="T40" fmla="*/ 67 w 2145"/>
                  <a:gd name="T41" fmla="*/ 1000 h 3399"/>
                  <a:gd name="T42" fmla="*/ 31 w 2145"/>
                  <a:gd name="T43" fmla="*/ 1184 h 3399"/>
                  <a:gd name="T44" fmla="*/ 7 w 2145"/>
                  <a:gd name="T45" fmla="*/ 1371 h 3399"/>
                  <a:gd name="T46" fmla="*/ 49 w 2145"/>
                  <a:gd name="T47" fmla="*/ 1445 h 3399"/>
                  <a:gd name="T48" fmla="*/ 260 w 2145"/>
                  <a:gd name="T49" fmla="*/ 1368 h 3399"/>
                  <a:gd name="T50" fmla="*/ 493 w 2145"/>
                  <a:gd name="T51" fmla="*/ 1304 h 3399"/>
                  <a:gd name="T52" fmla="*/ 745 w 2145"/>
                  <a:gd name="T53" fmla="*/ 1260 h 3399"/>
                  <a:gd name="T54" fmla="*/ 944 w 2145"/>
                  <a:gd name="T55" fmla="*/ 1611 h 3399"/>
                  <a:gd name="T56" fmla="*/ 814 w 2145"/>
                  <a:gd name="T57" fmla="*/ 1619 h 3399"/>
                  <a:gd name="T58" fmla="*/ 654 w 2145"/>
                  <a:gd name="T59" fmla="*/ 1638 h 3399"/>
                  <a:gd name="T60" fmla="*/ 509 w 2145"/>
                  <a:gd name="T61" fmla="*/ 1667 h 3399"/>
                  <a:gd name="T62" fmla="*/ 379 w 2145"/>
                  <a:gd name="T63" fmla="*/ 1703 h 3399"/>
                  <a:gd name="T64" fmla="*/ 265 w 2145"/>
                  <a:gd name="T65" fmla="*/ 1745 h 3399"/>
                  <a:gd name="T66" fmla="*/ 167 w 2145"/>
                  <a:gd name="T67" fmla="*/ 1793 h 3399"/>
                  <a:gd name="T68" fmla="*/ 86 w 2145"/>
                  <a:gd name="T69" fmla="*/ 1845 h 3399"/>
                  <a:gd name="T70" fmla="*/ 21 w 2145"/>
                  <a:gd name="T71" fmla="*/ 1902 h 3399"/>
                  <a:gd name="T72" fmla="*/ 23 w 2145"/>
                  <a:gd name="T73" fmla="*/ 2094 h 3399"/>
                  <a:gd name="T74" fmla="*/ 73 w 2145"/>
                  <a:gd name="T75" fmla="*/ 2445 h 3399"/>
                  <a:gd name="T76" fmla="*/ 150 w 2145"/>
                  <a:gd name="T77" fmla="*/ 2802 h 3399"/>
                  <a:gd name="T78" fmla="*/ 303 w 2145"/>
                  <a:gd name="T79" fmla="*/ 3399 h 3399"/>
                  <a:gd name="T80" fmla="*/ 1890 w 2145"/>
                  <a:gd name="T81" fmla="*/ 3189 h 3399"/>
                  <a:gd name="T82" fmla="*/ 2013 w 2145"/>
                  <a:gd name="T83" fmla="*/ 2714 h 3399"/>
                  <a:gd name="T84" fmla="*/ 2085 w 2145"/>
                  <a:gd name="T85" fmla="*/ 2363 h 3399"/>
                  <a:gd name="T86" fmla="*/ 2131 w 2145"/>
                  <a:gd name="T87" fmla="*/ 2008 h 3399"/>
                  <a:gd name="T88" fmla="*/ 2109 w 2145"/>
                  <a:gd name="T89" fmla="*/ 1887 h 3399"/>
                  <a:gd name="T90" fmla="*/ 2040 w 2145"/>
                  <a:gd name="T91" fmla="*/ 1832 h 3399"/>
                  <a:gd name="T92" fmla="*/ 1955 w 2145"/>
                  <a:gd name="T93" fmla="*/ 1780 h 3399"/>
                  <a:gd name="T94" fmla="*/ 1853 w 2145"/>
                  <a:gd name="T95" fmla="*/ 1734 h 3399"/>
                  <a:gd name="T96" fmla="*/ 1735 w 2145"/>
                  <a:gd name="T97" fmla="*/ 1693 h 3399"/>
                  <a:gd name="T98" fmla="*/ 1601 w 2145"/>
                  <a:gd name="T99" fmla="*/ 1659 h 3399"/>
                  <a:gd name="T100" fmla="*/ 1453 w 2145"/>
                  <a:gd name="T101" fmla="*/ 1633 h 3399"/>
                  <a:gd name="T102" fmla="*/ 1288 w 2145"/>
                  <a:gd name="T103" fmla="*/ 1616 h 3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45" h="3399">
                    <a:moveTo>
                      <a:pt x="1201" y="1611"/>
                    </a:moveTo>
                    <a:lnTo>
                      <a:pt x="1201" y="1242"/>
                    </a:lnTo>
                    <a:lnTo>
                      <a:pt x="1201" y="1242"/>
                    </a:lnTo>
                    <a:lnTo>
                      <a:pt x="1268" y="1247"/>
                    </a:lnTo>
                    <a:lnTo>
                      <a:pt x="1335" y="1253"/>
                    </a:lnTo>
                    <a:lnTo>
                      <a:pt x="1399" y="1260"/>
                    </a:lnTo>
                    <a:lnTo>
                      <a:pt x="1464" y="1269"/>
                    </a:lnTo>
                    <a:lnTo>
                      <a:pt x="1528" y="1279"/>
                    </a:lnTo>
                    <a:lnTo>
                      <a:pt x="1590" y="1292"/>
                    </a:lnTo>
                    <a:lnTo>
                      <a:pt x="1651" y="1304"/>
                    </a:lnTo>
                    <a:lnTo>
                      <a:pt x="1712" y="1319"/>
                    </a:lnTo>
                    <a:lnTo>
                      <a:pt x="1771" y="1334"/>
                    </a:lnTo>
                    <a:lnTo>
                      <a:pt x="1828" y="1350"/>
                    </a:lnTo>
                    <a:lnTo>
                      <a:pt x="1885" y="1368"/>
                    </a:lnTo>
                    <a:lnTo>
                      <a:pt x="1939" y="1386"/>
                    </a:lnTo>
                    <a:lnTo>
                      <a:pt x="1993" y="1405"/>
                    </a:lnTo>
                    <a:lnTo>
                      <a:pt x="2045" y="1424"/>
                    </a:lnTo>
                    <a:lnTo>
                      <a:pt x="2096" y="1445"/>
                    </a:lnTo>
                    <a:lnTo>
                      <a:pt x="2145" y="1466"/>
                    </a:lnTo>
                    <a:lnTo>
                      <a:pt x="2145" y="1466"/>
                    </a:lnTo>
                    <a:lnTo>
                      <a:pt x="2142" y="1419"/>
                    </a:lnTo>
                    <a:lnTo>
                      <a:pt x="2138" y="1372"/>
                    </a:lnTo>
                    <a:lnTo>
                      <a:pt x="2133" y="1326"/>
                    </a:lnTo>
                    <a:lnTo>
                      <a:pt x="2128" y="1279"/>
                    </a:lnTo>
                    <a:lnTo>
                      <a:pt x="2122" y="1233"/>
                    </a:lnTo>
                    <a:lnTo>
                      <a:pt x="2114" y="1188"/>
                    </a:lnTo>
                    <a:lnTo>
                      <a:pt x="2106" y="1142"/>
                    </a:lnTo>
                    <a:lnTo>
                      <a:pt x="2098" y="1096"/>
                    </a:lnTo>
                    <a:lnTo>
                      <a:pt x="2089" y="1050"/>
                    </a:lnTo>
                    <a:lnTo>
                      <a:pt x="2078" y="1005"/>
                    </a:lnTo>
                    <a:lnTo>
                      <a:pt x="2068" y="961"/>
                    </a:lnTo>
                    <a:lnTo>
                      <a:pt x="2057" y="915"/>
                    </a:lnTo>
                    <a:lnTo>
                      <a:pt x="2044" y="871"/>
                    </a:lnTo>
                    <a:lnTo>
                      <a:pt x="2032" y="827"/>
                    </a:lnTo>
                    <a:lnTo>
                      <a:pt x="2005" y="739"/>
                    </a:lnTo>
                    <a:lnTo>
                      <a:pt x="1977" y="652"/>
                    </a:lnTo>
                    <a:lnTo>
                      <a:pt x="1946" y="568"/>
                    </a:lnTo>
                    <a:lnTo>
                      <a:pt x="1914" y="483"/>
                    </a:lnTo>
                    <a:lnTo>
                      <a:pt x="1880" y="401"/>
                    </a:lnTo>
                    <a:lnTo>
                      <a:pt x="1845" y="321"/>
                    </a:lnTo>
                    <a:lnTo>
                      <a:pt x="1808" y="242"/>
                    </a:lnTo>
                    <a:lnTo>
                      <a:pt x="1771" y="164"/>
                    </a:lnTo>
                    <a:lnTo>
                      <a:pt x="1733" y="88"/>
                    </a:lnTo>
                    <a:lnTo>
                      <a:pt x="1733" y="88"/>
                    </a:lnTo>
                    <a:lnTo>
                      <a:pt x="1681" y="76"/>
                    </a:lnTo>
                    <a:lnTo>
                      <a:pt x="1631" y="65"/>
                    </a:lnTo>
                    <a:lnTo>
                      <a:pt x="1581" y="54"/>
                    </a:lnTo>
                    <a:lnTo>
                      <a:pt x="1532" y="45"/>
                    </a:lnTo>
                    <a:lnTo>
                      <a:pt x="1483" y="36"/>
                    </a:lnTo>
                    <a:lnTo>
                      <a:pt x="1434" y="29"/>
                    </a:lnTo>
                    <a:lnTo>
                      <a:pt x="1387" y="22"/>
                    </a:lnTo>
                    <a:lnTo>
                      <a:pt x="1340" y="16"/>
                    </a:lnTo>
                    <a:lnTo>
                      <a:pt x="1293" y="11"/>
                    </a:lnTo>
                    <a:lnTo>
                      <a:pt x="1247" y="7"/>
                    </a:lnTo>
                    <a:lnTo>
                      <a:pt x="1202" y="4"/>
                    </a:lnTo>
                    <a:lnTo>
                      <a:pt x="1158" y="2"/>
                    </a:lnTo>
                    <a:lnTo>
                      <a:pt x="1114" y="1"/>
                    </a:lnTo>
                    <a:lnTo>
                      <a:pt x="1071" y="0"/>
                    </a:lnTo>
                    <a:lnTo>
                      <a:pt x="1028" y="0"/>
                    </a:lnTo>
                    <a:lnTo>
                      <a:pt x="987" y="0"/>
                    </a:lnTo>
                    <a:lnTo>
                      <a:pt x="946" y="1"/>
                    </a:lnTo>
                    <a:lnTo>
                      <a:pt x="905" y="3"/>
                    </a:lnTo>
                    <a:lnTo>
                      <a:pt x="826" y="8"/>
                    </a:lnTo>
                    <a:lnTo>
                      <a:pt x="750" y="15"/>
                    </a:lnTo>
                    <a:lnTo>
                      <a:pt x="678" y="25"/>
                    </a:lnTo>
                    <a:lnTo>
                      <a:pt x="608" y="35"/>
                    </a:lnTo>
                    <a:lnTo>
                      <a:pt x="543" y="47"/>
                    </a:lnTo>
                    <a:lnTo>
                      <a:pt x="480" y="59"/>
                    </a:lnTo>
                    <a:lnTo>
                      <a:pt x="420" y="74"/>
                    </a:lnTo>
                    <a:lnTo>
                      <a:pt x="420" y="74"/>
                    </a:lnTo>
                    <a:lnTo>
                      <a:pt x="381" y="150"/>
                    </a:lnTo>
                    <a:lnTo>
                      <a:pt x="343" y="228"/>
                    </a:lnTo>
                    <a:lnTo>
                      <a:pt x="306" y="307"/>
                    </a:lnTo>
                    <a:lnTo>
                      <a:pt x="271" y="389"/>
                    </a:lnTo>
                    <a:lnTo>
                      <a:pt x="236" y="472"/>
                    </a:lnTo>
                    <a:lnTo>
                      <a:pt x="203" y="556"/>
                    </a:lnTo>
                    <a:lnTo>
                      <a:pt x="171" y="643"/>
                    </a:lnTo>
                    <a:lnTo>
                      <a:pt x="142" y="730"/>
                    </a:lnTo>
                    <a:lnTo>
                      <a:pt x="128" y="774"/>
                    </a:lnTo>
                    <a:lnTo>
                      <a:pt x="115" y="819"/>
                    </a:lnTo>
                    <a:lnTo>
                      <a:pt x="102" y="864"/>
                    </a:lnTo>
                    <a:lnTo>
                      <a:pt x="90" y="909"/>
                    </a:lnTo>
                    <a:lnTo>
                      <a:pt x="79" y="954"/>
                    </a:lnTo>
                    <a:lnTo>
                      <a:pt x="67" y="1000"/>
                    </a:lnTo>
                    <a:lnTo>
                      <a:pt x="57" y="1045"/>
                    </a:lnTo>
                    <a:lnTo>
                      <a:pt x="48" y="1091"/>
                    </a:lnTo>
                    <a:lnTo>
                      <a:pt x="40" y="1137"/>
                    </a:lnTo>
                    <a:lnTo>
                      <a:pt x="31" y="1184"/>
                    </a:lnTo>
                    <a:lnTo>
                      <a:pt x="24" y="1230"/>
                    </a:lnTo>
                    <a:lnTo>
                      <a:pt x="17" y="1277"/>
                    </a:lnTo>
                    <a:lnTo>
                      <a:pt x="12" y="1325"/>
                    </a:lnTo>
                    <a:lnTo>
                      <a:pt x="7" y="1371"/>
                    </a:lnTo>
                    <a:lnTo>
                      <a:pt x="4" y="1418"/>
                    </a:lnTo>
                    <a:lnTo>
                      <a:pt x="0" y="1466"/>
                    </a:lnTo>
                    <a:lnTo>
                      <a:pt x="0" y="1466"/>
                    </a:lnTo>
                    <a:lnTo>
                      <a:pt x="49" y="1445"/>
                    </a:lnTo>
                    <a:lnTo>
                      <a:pt x="99" y="1424"/>
                    </a:lnTo>
                    <a:lnTo>
                      <a:pt x="152" y="1405"/>
                    </a:lnTo>
                    <a:lnTo>
                      <a:pt x="205" y="1386"/>
                    </a:lnTo>
                    <a:lnTo>
                      <a:pt x="260" y="1368"/>
                    </a:lnTo>
                    <a:lnTo>
                      <a:pt x="316" y="1350"/>
                    </a:lnTo>
                    <a:lnTo>
                      <a:pt x="374" y="1334"/>
                    </a:lnTo>
                    <a:lnTo>
                      <a:pt x="434" y="1319"/>
                    </a:lnTo>
                    <a:lnTo>
                      <a:pt x="493" y="1304"/>
                    </a:lnTo>
                    <a:lnTo>
                      <a:pt x="555" y="1292"/>
                    </a:lnTo>
                    <a:lnTo>
                      <a:pt x="618" y="1279"/>
                    </a:lnTo>
                    <a:lnTo>
                      <a:pt x="680" y="1269"/>
                    </a:lnTo>
                    <a:lnTo>
                      <a:pt x="745" y="1260"/>
                    </a:lnTo>
                    <a:lnTo>
                      <a:pt x="810" y="1253"/>
                    </a:lnTo>
                    <a:lnTo>
                      <a:pt x="877" y="1247"/>
                    </a:lnTo>
                    <a:lnTo>
                      <a:pt x="944" y="1242"/>
                    </a:lnTo>
                    <a:lnTo>
                      <a:pt x="944" y="1611"/>
                    </a:lnTo>
                    <a:lnTo>
                      <a:pt x="944" y="1611"/>
                    </a:lnTo>
                    <a:lnTo>
                      <a:pt x="899" y="1613"/>
                    </a:lnTo>
                    <a:lnTo>
                      <a:pt x="856" y="1616"/>
                    </a:lnTo>
                    <a:lnTo>
                      <a:pt x="814" y="1619"/>
                    </a:lnTo>
                    <a:lnTo>
                      <a:pt x="773" y="1623"/>
                    </a:lnTo>
                    <a:lnTo>
                      <a:pt x="732" y="1627"/>
                    </a:lnTo>
                    <a:lnTo>
                      <a:pt x="693" y="1633"/>
                    </a:lnTo>
                    <a:lnTo>
                      <a:pt x="654" y="1638"/>
                    </a:lnTo>
                    <a:lnTo>
                      <a:pt x="617" y="1645"/>
                    </a:lnTo>
                    <a:lnTo>
                      <a:pt x="580" y="1652"/>
                    </a:lnTo>
                    <a:lnTo>
                      <a:pt x="544" y="1659"/>
                    </a:lnTo>
                    <a:lnTo>
                      <a:pt x="509" y="1667"/>
                    </a:lnTo>
                    <a:lnTo>
                      <a:pt x="475" y="1675"/>
                    </a:lnTo>
                    <a:lnTo>
                      <a:pt x="442" y="1684"/>
                    </a:lnTo>
                    <a:lnTo>
                      <a:pt x="410" y="1693"/>
                    </a:lnTo>
                    <a:lnTo>
                      <a:pt x="379" y="1703"/>
                    </a:lnTo>
                    <a:lnTo>
                      <a:pt x="349" y="1713"/>
                    </a:lnTo>
                    <a:lnTo>
                      <a:pt x="320" y="1723"/>
                    </a:lnTo>
                    <a:lnTo>
                      <a:pt x="293" y="1734"/>
                    </a:lnTo>
                    <a:lnTo>
                      <a:pt x="265" y="1745"/>
                    </a:lnTo>
                    <a:lnTo>
                      <a:pt x="239" y="1757"/>
                    </a:lnTo>
                    <a:lnTo>
                      <a:pt x="214" y="1769"/>
                    </a:lnTo>
                    <a:lnTo>
                      <a:pt x="191" y="1780"/>
                    </a:lnTo>
                    <a:lnTo>
                      <a:pt x="167" y="1793"/>
                    </a:lnTo>
                    <a:lnTo>
                      <a:pt x="145" y="1806"/>
                    </a:lnTo>
                    <a:lnTo>
                      <a:pt x="125" y="1818"/>
                    </a:lnTo>
                    <a:lnTo>
                      <a:pt x="104" y="1832"/>
                    </a:lnTo>
                    <a:lnTo>
                      <a:pt x="86" y="1845"/>
                    </a:lnTo>
                    <a:lnTo>
                      <a:pt x="68" y="1860"/>
                    </a:lnTo>
                    <a:lnTo>
                      <a:pt x="51" y="1873"/>
                    </a:lnTo>
                    <a:lnTo>
                      <a:pt x="35" y="1887"/>
                    </a:lnTo>
                    <a:lnTo>
                      <a:pt x="21" y="1902"/>
                    </a:lnTo>
                    <a:lnTo>
                      <a:pt x="7" y="1916"/>
                    </a:lnTo>
                    <a:lnTo>
                      <a:pt x="7" y="1916"/>
                    </a:lnTo>
                    <a:lnTo>
                      <a:pt x="14" y="2006"/>
                    </a:lnTo>
                    <a:lnTo>
                      <a:pt x="23" y="2094"/>
                    </a:lnTo>
                    <a:lnTo>
                      <a:pt x="33" y="2183"/>
                    </a:lnTo>
                    <a:lnTo>
                      <a:pt x="46" y="2270"/>
                    </a:lnTo>
                    <a:lnTo>
                      <a:pt x="59" y="2357"/>
                    </a:lnTo>
                    <a:lnTo>
                      <a:pt x="73" y="2445"/>
                    </a:lnTo>
                    <a:lnTo>
                      <a:pt x="91" y="2532"/>
                    </a:lnTo>
                    <a:lnTo>
                      <a:pt x="108" y="2621"/>
                    </a:lnTo>
                    <a:lnTo>
                      <a:pt x="128" y="2710"/>
                    </a:lnTo>
                    <a:lnTo>
                      <a:pt x="150" y="2802"/>
                    </a:lnTo>
                    <a:lnTo>
                      <a:pt x="172" y="2895"/>
                    </a:lnTo>
                    <a:lnTo>
                      <a:pt x="196" y="2990"/>
                    </a:lnTo>
                    <a:lnTo>
                      <a:pt x="247" y="3189"/>
                    </a:lnTo>
                    <a:lnTo>
                      <a:pt x="303" y="3399"/>
                    </a:lnTo>
                    <a:lnTo>
                      <a:pt x="1831" y="3399"/>
                    </a:lnTo>
                    <a:lnTo>
                      <a:pt x="1831" y="3399"/>
                    </a:lnTo>
                    <a:lnTo>
                      <a:pt x="1831" y="3399"/>
                    </a:lnTo>
                    <a:lnTo>
                      <a:pt x="1890" y="3189"/>
                    </a:lnTo>
                    <a:lnTo>
                      <a:pt x="1943" y="2991"/>
                    </a:lnTo>
                    <a:lnTo>
                      <a:pt x="1967" y="2896"/>
                    </a:lnTo>
                    <a:lnTo>
                      <a:pt x="1991" y="2804"/>
                    </a:lnTo>
                    <a:lnTo>
                      <a:pt x="2013" y="2714"/>
                    </a:lnTo>
                    <a:lnTo>
                      <a:pt x="2033" y="2625"/>
                    </a:lnTo>
                    <a:lnTo>
                      <a:pt x="2052" y="2537"/>
                    </a:lnTo>
                    <a:lnTo>
                      <a:pt x="2069" y="2450"/>
                    </a:lnTo>
                    <a:lnTo>
                      <a:pt x="2085" y="2363"/>
                    </a:lnTo>
                    <a:lnTo>
                      <a:pt x="2099" y="2275"/>
                    </a:lnTo>
                    <a:lnTo>
                      <a:pt x="2111" y="2188"/>
                    </a:lnTo>
                    <a:lnTo>
                      <a:pt x="2122" y="2098"/>
                    </a:lnTo>
                    <a:lnTo>
                      <a:pt x="2131" y="2008"/>
                    </a:lnTo>
                    <a:lnTo>
                      <a:pt x="2138" y="1916"/>
                    </a:lnTo>
                    <a:lnTo>
                      <a:pt x="2138" y="1916"/>
                    </a:lnTo>
                    <a:lnTo>
                      <a:pt x="2125" y="1902"/>
                    </a:lnTo>
                    <a:lnTo>
                      <a:pt x="2109" y="1887"/>
                    </a:lnTo>
                    <a:lnTo>
                      <a:pt x="2094" y="1873"/>
                    </a:lnTo>
                    <a:lnTo>
                      <a:pt x="2077" y="1860"/>
                    </a:lnTo>
                    <a:lnTo>
                      <a:pt x="2059" y="1845"/>
                    </a:lnTo>
                    <a:lnTo>
                      <a:pt x="2040" y="1832"/>
                    </a:lnTo>
                    <a:lnTo>
                      <a:pt x="2021" y="1818"/>
                    </a:lnTo>
                    <a:lnTo>
                      <a:pt x="1999" y="1806"/>
                    </a:lnTo>
                    <a:lnTo>
                      <a:pt x="1978" y="1793"/>
                    </a:lnTo>
                    <a:lnTo>
                      <a:pt x="1955" y="1780"/>
                    </a:lnTo>
                    <a:lnTo>
                      <a:pt x="1930" y="1769"/>
                    </a:lnTo>
                    <a:lnTo>
                      <a:pt x="1906" y="1757"/>
                    </a:lnTo>
                    <a:lnTo>
                      <a:pt x="1880" y="1745"/>
                    </a:lnTo>
                    <a:lnTo>
                      <a:pt x="1853" y="1734"/>
                    </a:lnTo>
                    <a:lnTo>
                      <a:pt x="1824" y="1723"/>
                    </a:lnTo>
                    <a:lnTo>
                      <a:pt x="1795" y="1713"/>
                    </a:lnTo>
                    <a:lnTo>
                      <a:pt x="1766" y="1703"/>
                    </a:lnTo>
                    <a:lnTo>
                      <a:pt x="1735" y="1693"/>
                    </a:lnTo>
                    <a:lnTo>
                      <a:pt x="1703" y="1684"/>
                    </a:lnTo>
                    <a:lnTo>
                      <a:pt x="1670" y="1675"/>
                    </a:lnTo>
                    <a:lnTo>
                      <a:pt x="1636" y="1667"/>
                    </a:lnTo>
                    <a:lnTo>
                      <a:pt x="1601" y="1659"/>
                    </a:lnTo>
                    <a:lnTo>
                      <a:pt x="1566" y="1652"/>
                    </a:lnTo>
                    <a:lnTo>
                      <a:pt x="1529" y="1645"/>
                    </a:lnTo>
                    <a:lnTo>
                      <a:pt x="1491" y="1638"/>
                    </a:lnTo>
                    <a:lnTo>
                      <a:pt x="1453" y="1633"/>
                    </a:lnTo>
                    <a:lnTo>
                      <a:pt x="1413" y="1627"/>
                    </a:lnTo>
                    <a:lnTo>
                      <a:pt x="1373" y="1623"/>
                    </a:lnTo>
                    <a:lnTo>
                      <a:pt x="1331" y="1619"/>
                    </a:lnTo>
                    <a:lnTo>
                      <a:pt x="1288" y="1616"/>
                    </a:lnTo>
                    <a:lnTo>
                      <a:pt x="1245" y="1613"/>
                    </a:lnTo>
                    <a:lnTo>
                      <a:pt x="1201" y="1611"/>
                    </a:lnTo>
                    <a:lnTo>
                      <a:pt x="1201" y="1611"/>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9" name="Freeform 30"/>
              <p:cNvSpPr>
                <a:spLocks/>
              </p:cNvSpPr>
              <p:nvPr userDrawn="1"/>
            </p:nvSpPr>
            <p:spPr bwMode="auto">
              <a:xfrm>
                <a:off x="-1850289" y="865570"/>
                <a:ext cx="1214438" cy="95250"/>
              </a:xfrm>
              <a:custGeom>
                <a:avLst/>
                <a:gdLst>
                  <a:gd name="T0" fmla="*/ 765 w 1529"/>
                  <a:gd name="T1" fmla="*/ 0 h 122"/>
                  <a:gd name="T2" fmla="*/ 467 w 1529"/>
                  <a:gd name="T3" fmla="*/ 5 h 122"/>
                  <a:gd name="T4" fmla="*/ 337 w 1529"/>
                  <a:gd name="T5" fmla="*/ 10 h 122"/>
                  <a:gd name="T6" fmla="*/ 224 w 1529"/>
                  <a:gd name="T7" fmla="*/ 17 h 122"/>
                  <a:gd name="T8" fmla="*/ 130 w 1529"/>
                  <a:gd name="T9" fmla="*/ 27 h 122"/>
                  <a:gd name="T10" fmla="*/ 60 w 1529"/>
                  <a:gd name="T11" fmla="*/ 39 h 122"/>
                  <a:gd name="T12" fmla="*/ 23 w 1529"/>
                  <a:gd name="T13" fmla="*/ 50 h 122"/>
                  <a:gd name="T14" fmla="*/ 8 w 1529"/>
                  <a:gd name="T15" fmla="*/ 58 h 122"/>
                  <a:gd name="T16" fmla="*/ 1 w 1529"/>
                  <a:gd name="T17" fmla="*/ 66 h 122"/>
                  <a:gd name="T18" fmla="*/ 0 w 1529"/>
                  <a:gd name="T19" fmla="*/ 70 h 122"/>
                  <a:gd name="T20" fmla="*/ 4 w 1529"/>
                  <a:gd name="T21" fmla="*/ 80 h 122"/>
                  <a:gd name="T22" fmla="*/ 15 w 1529"/>
                  <a:gd name="T23" fmla="*/ 87 h 122"/>
                  <a:gd name="T24" fmla="*/ 34 w 1529"/>
                  <a:gd name="T25" fmla="*/ 93 h 122"/>
                  <a:gd name="T26" fmla="*/ 91 w 1529"/>
                  <a:gd name="T27" fmla="*/ 104 h 122"/>
                  <a:gd name="T28" fmla="*/ 175 w 1529"/>
                  <a:gd name="T29" fmla="*/ 112 h 122"/>
                  <a:gd name="T30" fmla="*/ 278 w 1529"/>
                  <a:gd name="T31" fmla="*/ 117 h 122"/>
                  <a:gd name="T32" fmla="*/ 467 w 1529"/>
                  <a:gd name="T33" fmla="*/ 121 h 122"/>
                  <a:gd name="T34" fmla="*/ 765 w 1529"/>
                  <a:gd name="T35" fmla="*/ 122 h 122"/>
                  <a:gd name="T36" fmla="*/ 918 w 1529"/>
                  <a:gd name="T37" fmla="*/ 122 h 122"/>
                  <a:gd name="T38" fmla="*/ 1192 w 1529"/>
                  <a:gd name="T39" fmla="*/ 119 h 122"/>
                  <a:gd name="T40" fmla="*/ 1305 w 1529"/>
                  <a:gd name="T41" fmla="*/ 115 h 122"/>
                  <a:gd name="T42" fmla="*/ 1399 w 1529"/>
                  <a:gd name="T43" fmla="*/ 108 h 122"/>
                  <a:gd name="T44" fmla="*/ 1470 w 1529"/>
                  <a:gd name="T45" fmla="*/ 99 h 122"/>
                  <a:gd name="T46" fmla="*/ 1506 w 1529"/>
                  <a:gd name="T47" fmla="*/ 90 h 122"/>
                  <a:gd name="T48" fmla="*/ 1521 w 1529"/>
                  <a:gd name="T49" fmla="*/ 83 h 122"/>
                  <a:gd name="T50" fmla="*/ 1528 w 1529"/>
                  <a:gd name="T51" fmla="*/ 76 h 122"/>
                  <a:gd name="T52" fmla="*/ 1529 w 1529"/>
                  <a:gd name="T53" fmla="*/ 70 h 122"/>
                  <a:gd name="T54" fmla="*/ 1526 w 1529"/>
                  <a:gd name="T55" fmla="*/ 62 h 122"/>
                  <a:gd name="T56" fmla="*/ 1514 w 1529"/>
                  <a:gd name="T57" fmla="*/ 54 h 122"/>
                  <a:gd name="T58" fmla="*/ 1496 w 1529"/>
                  <a:gd name="T59" fmla="*/ 46 h 122"/>
                  <a:gd name="T60" fmla="*/ 1438 w 1529"/>
                  <a:gd name="T61" fmla="*/ 32 h 122"/>
                  <a:gd name="T62" fmla="*/ 1356 w 1529"/>
                  <a:gd name="T63" fmla="*/ 22 h 122"/>
                  <a:gd name="T64" fmla="*/ 1252 w 1529"/>
                  <a:gd name="T65" fmla="*/ 13 h 122"/>
                  <a:gd name="T66" fmla="*/ 1129 w 1529"/>
                  <a:gd name="T67" fmla="*/ 7 h 122"/>
                  <a:gd name="T68" fmla="*/ 918 w 1529"/>
                  <a:gd name="T69" fmla="*/ 1 h 122"/>
                  <a:gd name="T70" fmla="*/ 765 w 1529"/>
                  <a:gd name="T71"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29" h="122">
                    <a:moveTo>
                      <a:pt x="765" y="0"/>
                    </a:moveTo>
                    <a:lnTo>
                      <a:pt x="765" y="0"/>
                    </a:lnTo>
                    <a:lnTo>
                      <a:pt x="611" y="1"/>
                    </a:lnTo>
                    <a:lnTo>
                      <a:pt x="467" y="5"/>
                    </a:lnTo>
                    <a:lnTo>
                      <a:pt x="400" y="7"/>
                    </a:lnTo>
                    <a:lnTo>
                      <a:pt x="337" y="10"/>
                    </a:lnTo>
                    <a:lnTo>
                      <a:pt x="278" y="13"/>
                    </a:lnTo>
                    <a:lnTo>
                      <a:pt x="224" y="17"/>
                    </a:lnTo>
                    <a:lnTo>
                      <a:pt x="175" y="22"/>
                    </a:lnTo>
                    <a:lnTo>
                      <a:pt x="130" y="27"/>
                    </a:lnTo>
                    <a:lnTo>
                      <a:pt x="91" y="32"/>
                    </a:lnTo>
                    <a:lnTo>
                      <a:pt x="60" y="39"/>
                    </a:lnTo>
                    <a:lnTo>
                      <a:pt x="34" y="46"/>
                    </a:lnTo>
                    <a:lnTo>
                      <a:pt x="23" y="50"/>
                    </a:lnTo>
                    <a:lnTo>
                      <a:pt x="15" y="54"/>
                    </a:lnTo>
                    <a:lnTo>
                      <a:pt x="8" y="58"/>
                    </a:lnTo>
                    <a:lnTo>
                      <a:pt x="4" y="62"/>
                    </a:lnTo>
                    <a:lnTo>
                      <a:pt x="1" y="66"/>
                    </a:lnTo>
                    <a:lnTo>
                      <a:pt x="0" y="70"/>
                    </a:lnTo>
                    <a:lnTo>
                      <a:pt x="0" y="70"/>
                    </a:lnTo>
                    <a:lnTo>
                      <a:pt x="1" y="76"/>
                    </a:lnTo>
                    <a:lnTo>
                      <a:pt x="4" y="80"/>
                    </a:lnTo>
                    <a:lnTo>
                      <a:pt x="8" y="83"/>
                    </a:lnTo>
                    <a:lnTo>
                      <a:pt x="15" y="87"/>
                    </a:lnTo>
                    <a:lnTo>
                      <a:pt x="23" y="90"/>
                    </a:lnTo>
                    <a:lnTo>
                      <a:pt x="34" y="93"/>
                    </a:lnTo>
                    <a:lnTo>
                      <a:pt x="60" y="99"/>
                    </a:lnTo>
                    <a:lnTo>
                      <a:pt x="91" y="104"/>
                    </a:lnTo>
                    <a:lnTo>
                      <a:pt x="130" y="108"/>
                    </a:lnTo>
                    <a:lnTo>
                      <a:pt x="175" y="112"/>
                    </a:lnTo>
                    <a:lnTo>
                      <a:pt x="224" y="115"/>
                    </a:lnTo>
                    <a:lnTo>
                      <a:pt x="278" y="117"/>
                    </a:lnTo>
                    <a:lnTo>
                      <a:pt x="337" y="119"/>
                    </a:lnTo>
                    <a:lnTo>
                      <a:pt x="467" y="121"/>
                    </a:lnTo>
                    <a:lnTo>
                      <a:pt x="611" y="122"/>
                    </a:lnTo>
                    <a:lnTo>
                      <a:pt x="765" y="122"/>
                    </a:lnTo>
                    <a:lnTo>
                      <a:pt x="765" y="122"/>
                    </a:lnTo>
                    <a:lnTo>
                      <a:pt x="918" y="122"/>
                    </a:lnTo>
                    <a:lnTo>
                      <a:pt x="1062" y="121"/>
                    </a:lnTo>
                    <a:lnTo>
                      <a:pt x="1192" y="119"/>
                    </a:lnTo>
                    <a:lnTo>
                      <a:pt x="1252" y="117"/>
                    </a:lnTo>
                    <a:lnTo>
                      <a:pt x="1305" y="115"/>
                    </a:lnTo>
                    <a:lnTo>
                      <a:pt x="1356" y="112"/>
                    </a:lnTo>
                    <a:lnTo>
                      <a:pt x="1399" y="108"/>
                    </a:lnTo>
                    <a:lnTo>
                      <a:pt x="1438" y="104"/>
                    </a:lnTo>
                    <a:lnTo>
                      <a:pt x="1470" y="99"/>
                    </a:lnTo>
                    <a:lnTo>
                      <a:pt x="1496" y="93"/>
                    </a:lnTo>
                    <a:lnTo>
                      <a:pt x="1506" y="90"/>
                    </a:lnTo>
                    <a:lnTo>
                      <a:pt x="1514" y="87"/>
                    </a:lnTo>
                    <a:lnTo>
                      <a:pt x="1521" y="83"/>
                    </a:lnTo>
                    <a:lnTo>
                      <a:pt x="1526" y="80"/>
                    </a:lnTo>
                    <a:lnTo>
                      <a:pt x="1528" y="76"/>
                    </a:lnTo>
                    <a:lnTo>
                      <a:pt x="1529" y="70"/>
                    </a:lnTo>
                    <a:lnTo>
                      <a:pt x="1529" y="70"/>
                    </a:lnTo>
                    <a:lnTo>
                      <a:pt x="1528" y="66"/>
                    </a:lnTo>
                    <a:lnTo>
                      <a:pt x="1526" y="62"/>
                    </a:lnTo>
                    <a:lnTo>
                      <a:pt x="1521" y="58"/>
                    </a:lnTo>
                    <a:lnTo>
                      <a:pt x="1514" y="54"/>
                    </a:lnTo>
                    <a:lnTo>
                      <a:pt x="1506" y="50"/>
                    </a:lnTo>
                    <a:lnTo>
                      <a:pt x="1496" y="46"/>
                    </a:lnTo>
                    <a:lnTo>
                      <a:pt x="1470" y="39"/>
                    </a:lnTo>
                    <a:lnTo>
                      <a:pt x="1438" y="32"/>
                    </a:lnTo>
                    <a:lnTo>
                      <a:pt x="1399" y="27"/>
                    </a:lnTo>
                    <a:lnTo>
                      <a:pt x="1356" y="22"/>
                    </a:lnTo>
                    <a:lnTo>
                      <a:pt x="1305" y="17"/>
                    </a:lnTo>
                    <a:lnTo>
                      <a:pt x="1252" y="13"/>
                    </a:lnTo>
                    <a:lnTo>
                      <a:pt x="1192" y="10"/>
                    </a:lnTo>
                    <a:lnTo>
                      <a:pt x="1129" y="7"/>
                    </a:lnTo>
                    <a:lnTo>
                      <a:pt x="1062" y="5"/>
                    </a:lnTo>
                    <a:lnTo>
                      <a:pt x="918" y="1"/>
                    </a:lnTo>
                    <a:lnTo>
                      <a:pt x="765" y="0"/>
                    </a:lnTo>
                    <a:lnTo>
                      <a:pt x="765" y="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60" name="Freeform 31"/>
              <p:cNvSpPr>
                <a:spLocks/>
              </p:cNvSpPr>
              <p:nvPr userDrawn="1"/>
            </p:nvSpPr>
            <p:spPr bwMode="auto">
              <a:xfrm>
                <a:off x="-1861402" y="-1353755"/>
                <a:ext cx="1247775" cy="1249363"/>
              </a:xfrm>
              <a:custGeom>
                <a:avLst/>
                <a:gdLst>
                  <a:gd name="T0" fmla="*/ 746 w 1572"/>
                  <a:gd name="T1" fmla="*/ 1571 h 1572"/>
                  <a:gd name="T2" fmla="*/ 628 w 1572"/>
                  <a:gd name="T3" fmla="*/ 1556 h 1572"/>
                  <a:gd name="T4" fmla="*/ 517 w 1572"/>
                  <a:gd name="T5" fmla="*/ 1524 h 1572"/>
                  <a:gd name="T6" fmla="*/ 412 w 1572"/>
                  <a:gd name="T7" fmla="*/ 1477 h 1572"/>
                  <a:gd name="T8" fmla="*/ 316 w 1572"/>
                  <a:gd name="T9" fmla="*/ 1416 h 1572"/>
                  <a:gd name="T10" fmla="*/ 231 w 1572"/>
                  <a:gd name="T11" fmla="*/ 1342 h 1572"/>
                  <a:gd name="T12" fmla="*/ 157 w 1572"/>
                  <a:gd name="T13" fmla="*/ 1256 h 1572"/>
                  <a:gd name="T14" fmla="*/ 95 w 1572"/>
                  <a:gd name="T15" fmla="*/ 1161 h 1572"/>
                  <a:gd name="T16" fmla="*/ 49 w 1572"/>
                  <a:gd name="T17" fmla="*/ 1056 h 1572"/>
                  <a:gd name="T18" fmla="*/ 17 w 1572"/>
                  <a:gd name="T19" fmla="*/ 944 h 1572"/>
                  <a:gd name="T20" fmla="*/ 1 w 1572"/>
                  <a:gd name="T21" fmla="*/ 827 h 1572"/>
                  <a:gd name="T22" fmla="*/ 1 w 1572"/>
                  <a:gd name="T23" fmla="*/ 745 h 1572"/>
                  <a:gd name="T24" fmla="*/ 17 w 1572"/>
                  <a:gd name="T25" fmla="*/ 628 h 1572"/>
                  <a:gd name="T26" fmla="*/ 49 w 1572"/>
                  <a:gd name="T27" fmla="*/ 516 h 1572"/>
                  <a:gd name="T28" fmla="*/ 95 w 1572"/>
                  <a:gd name="T29" fmla="*/ 412 h 1572"/>
                  <a:gd name="T30" fmla="*/ 157 w 1572"/>
                  <a:gd name="T31" fmla="*/ 316 h 1572"/>
                  <a:gd name="T32" fmla="*/ 231 w 1572"/>
                  <a:gd name="T33" fmla="*/ 231 h 1572"/>
                  <a:gd name="T34" fmla="*/ 316 w 1572"/>
                  <a:gd name="T35" fmla="*/ 156 h 1572"/>
                  <a:gd name="T36" fmla="*/ 412 w 1572"/>
                  <a:gd name="T37" fmla="*/ 95 h 1572"/>
                  <a:gd name="T38" fmla="*/ 517 w 1572"/>
                  <a:gd name="T39" fmla="*/ 48 h 1572"/>
                  <a:gd name="T40" fmla="*/ 628 w 1572"/>
                  <a:gd name="T41" fmla="*/ 16 h 1572"/>
                  <a:gd name="T42" fmla="*/ 746 w 1572"/>
                  <a:gd name="T43" fmla="*/ 1 h 1572"/>
                  <a:gd name="T44" fmla="*/ 826 w 1572"/>
                  <a:gd name="T45" fmla="*/ 1 h 1572"/>
                  <a:gd name="T46" fmla="*/ 945 w 1572"/>
                  <a:gd name="T47" fmla="*/ 16 h 1572"/>
                  <a:gd name="T48" fmla="*/ 1057 w 1572"/>
                  <a:gd name="T49" fmla="*/ 48 h 1572"/>
                  <a:gd name="T50" fmla="*/ 1161 w 1572"/>
                  <a:gd name="T51" fmla="*/ 95 h 1572"/>
                  <a:gd name="T52" fmla="*/ 1256 w 1572"/>
                  <a:gd name="T53" fmla="*/ 156 h 1572"/>
                  <a:gd name="T54" fmla="*/ 1342 w 1572"/>
                  <a:gd name="T55" fmla="*/ 231 h 1572"/>
                  <a:gd name="T56" fmla="*/ 1416 w 1572"/>
                  <a:gd name="T57" fmla="*/ 316 h 1572"/>
                  <a:gd name="T58" fmla="*/ 1478 w 1572"/>
                  <a:gd name="T59" fmla="*/ 412 h 1572"/>
                  <a:gd name="T60" fmla="*/ 1525 w 1572"/>
                  <a:gd name="T61" fmla="*/ 516 h 1572"/>
                  <a:gd name="T62" fmla="*/ 1557 w 1572"/>
                  <a:gd name="T63" fmla="*/ 628 h 1572"/>
                  <a:gd name="T64" fmla="*/ 1571 w 1572"/>
                  <a:gd name="T65" fmla="*/ 745 h 1572"/>
                  <a:gd name="T66" fmla="*/ 1571 w 1572"/>
                  <a:gd name="T67" fmla="*/ 827 h 1572"/>
                  <a:gd name="T68" fmla="*/ 1557 w 1572"/>
                  <a:gd name="T69" fmla="*/ 944 h 1572"/>
                  <a:gd name="T70" fmla="*/ 1525 w 1572"/>
                  <a:gd name="T71" fmla="*/ 1056 h 1572"/>
                  <a:gd name="T72" fmla="*/ 1478 w 1572"/>
                  <a:gd name="T73" fmla="*/ 1161 h 1572"/>
                  <a:gd name="T74" fmla="*/ 1416 w 1572"/>
                  <a:gd name="T75" fmla="*/ 1256 h 1572"/>
                  <a:gd name="T76" fmla="*/ 1342 w 1572"/>
                  <a:gd name="T77" fmla="*/ 1342 h 1572"/>
                  <a:gd name="T78" fmla="*/ 1256 w 1572"/>
                  <a:gd name="T79" fmla="*/ 1416 h 1572"/>
                  <a:gd name="T80" fmla="*/ 1161 w 1572"/>
                  <a:gd name="T81" fmla="*/ 1477 h 1572"/>
                  <a:gd name="T82" fmla="*/ 1057 w 1572"/>
                  <a:gd name="T83" fmla="*/ 1524 h 1572"/>
                  <a:gd name="T84" fmla="*/ 945 w 1572"/>
                  <a:gd name="T85" fmla="*/ 1556 h 1572"/>
                  <a:gd name="T86" fmla="*/ 826 w 1572"/>
                  <a:gd name="T87" fmla="*/ 1571 h 1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72" h="1572">
                    <a:moveTo>
                      <a:pt x="786" y="1572"/>
                    </a:moveTo>
                    <a:lnTo>
                      <a:pt x="786" y="1572"/>
                    </a:lnTo>
                    <a:lnTo>
                      <a:pt x="746" y="1571"/>
                    </a:lnTo>
                    <a:lnTo>
                      <a:pt x="706" y="1568"/>
                    </a:lnTo>
                    <a:lnTo>
                      <a:pt x="667" y="1563"/>
                    </a:lnTo>
                    <a:lnTo>
                      <a:pt x="628" y="1556"/>
                    </a:lnTo>
                    <a:lnTo>
                      <a:pt x="590" y="1548"/>
                    </a:lnTo>
                    <a:lnTo>
                      <a:pt x="553" y="1536"/>
                    </a:lnTo>
                    <a:lnTo>
                      <a:pt x="517" y="1524"/>
                    </a:lnTo>
                    <a:lnTo>
                      <a:pt x="481" y="1511"/>
                    </a:lnTo>
                    <a:lnTo>
                      <a:pt x="446" y="1494"/>
                    </a:lnTo>
                    <a:lnTo>
                      <a:pt x="412" y="1477"/>
                    </a:lnTo>
                    <a:lnTo>
                      <a:pt x="379" y="1458"/>
                    </a:lnTo>
                    <a:lnTo>
                      <a:pt x="347" y="1438"/>
                    </a:lnTo>
                    <a:lnTo>
                      <a:pt x="316" y="1416"/>
                    </a:lnTo>
                    <a:lnTo>
                      <a:pt x="286" y="1392"/>
                    </a:lnTo>
                    <a:lnTo>
                      <a:pt x="259" y="1368"/>
                    </a:lnTo>
                    <a:lnTo>
                      <a:pt x="231" y="1342"/>
                    </a:lnTo>
                    <a:lnTo>
                      <a:pt x="205" y="1314"/>
                    </a:lnTo>
                    <a:lnTo>
                      <a:pt x="180" y="1285"/>
                    </a:lnTo>
                    <a:lnTo>
                      <a:pt x="157" y="1256"/>
                    </a:lnTo>
                    <a:lnTo>
                      <a:pt x="135" y="1226"/>
                    </a:lnTo>
                    <a:lnTo>
                      <a:pt x="115" y="1194"/>
                    </a:lnTo>
                    <a:lnTo>
                      <a:pt x="95" y="1161"/>
                    </a:lnTo>
                    <a:lnTo>
                      <a:pt x="79" y="1127"/>
                    </a:lnTo>
                    <a:lnTo>
                      <a:pt x="62" y="1092"/>
                    </a:lnTo>
                    <a:lnTo>
                      <a:pt x="49" y="1056"/>
                    </a:lnTo>
                    <a:lnTo>
                      <a:pt x="35" y="1020"/>
                    </a:lnTo>
                    <a:lnTo>
                      <a:pt x="25" y="982"/>
                    </a:lnTo>
                    <a:lnTo>
                      <a:pt x="17" y="944"/>
                    </a:lnTo>
                    <a:lnTo>
                      <a:pt x="10" y="906"/>
                    </a:lnTo>
                    <a:lnTo>
                      <a:pt x="5" y="867"/>
                    </a:lnTo>
                    <a:lnTo>
                      <a:pt x="1" y="827"/>
                    </a:lnTo>
                    <a:lnTo>
                      <a:pt x="0" y="787"/>
                    </a:lnTo>
                    <a:lnTo>
                      <a:pt x="0" y="787"/>
                    </a:lnTo>
                    <a:lnTo>
                      <a:pt x="1" y="745"/>
                    </a:lnTo>
                    <a:lnTo>
                      <a:pt x="5" y="706"/>
                    </a:lnTo>
                    <a:lnTo>
                      <a:pt x="10" y="666"/>
                    </a:lnTo>
                    <a:lnTo>
                      <a:pt x="17" y="628"/>
                    </a:lnTo>
                    <a:lnTo>
                      <a:pt x="25" y="590"/>
                    </a:lnTo>
                    <a:lnTo>
                      <a:pt x="35" y="553"/>
                    </a:lnTo>
                    <a:lnTo>
                      <a:pt x="49" y="516"/>
                    </a:lnTo>
                    <a:lnTo>
                      <a:pt x="62" y="480"/>
                    </a:lnTo>
                    <a:lnTo>
                      <a:pt x="79" y="446"/>
                    </a:lnTo>
                    <a:lnTo>
                      <a:pt x="95" y="412"/>
                    </a:lnTo>
                    <a:lnTo>
                      <a:pt x="115" y="379"/>
                    </a:lnTo>
                    <a:lnTo>
                      <a:pt x="135" y="347"/>
                    </a:lnTo>
                    <a:lnTo>
                      <a:pt x="157" y="316"/>
                    </a:lnTo>
                    <a:lnTo>
                      <a:pt x="180" y="287"/>
                    </a:lnTo>
                    <a:lnTo>
                      <a:pt x="205" y="258"/>
                    </a:lnTo>
                    <a:lnTo>
                      <a:pt x="231" y="231"/>
                    </a:lnTo>
                    <a:lnTo>
                      <a:pt x="259" y="204"/>
                    </a:lnTo>
                    <a:lnTo>
                      <a:pt x="286" y="180"/>
                    </a:lnTo>
                    <a:lnTo>
                      <a:pt x="316" y="156"/>
                    </a:lnTo>
                    <a:lnTo>
                      <a:pt x="347" y="134"/>
                    </a:lnTo>
                    <a:lnTo>
                      <a:pt x="379" y="114"/>
                    </a:lnTo>
                    <a:lnTo>
                      <a:pt x="412" y="95"/>
                    </a:lnTo>
                    <a:lnTo>
                      <a:pt x="446" y="78"/>
                    </a:lnTo>
                    <a:lnTo>
                      <a:pt x="481" y="62"/>
                    </a:lnTo>
                    <a:lnTo>
                      <a:pt x="517" y="48"/>
                    </a:lnTo>
                    <a:lnTo>
                      <a:pt x="553" y="36"/>
                    </a:lnTo>
                    <a:lnTo>
                      <a:pt x="590" y="25"/>
                    </a:lnTo>
                    <a:lnTo>
                      <a:pt x="628" y="16"/>
                    </a:lnTo>
                    <a:lnTo>
                      <a:pt x="667" y="9"/>
                    </a:lnTo>
                    <a:lnTo>
                      <a:pt x="706" y="4"/>
                    </a:lnTo>
                    <a:lnTo>
                      <a:pt x="746" y="1"/>
                    </a:lnTo>
                    <a:lnTo>
                      <a:pt x="786" y="0"/>
                    </a:lnTo>
                    <a:lnTo>
                      <a:pt x="786" y="0"/>
                    </a:lnTo>
                    <a:lnTo>
                      <a:pt x="826" y="1"/>
                    </a:lnTo>
                    <a:lnTo>
                      <a:pt x="867" y="4"/>
                    </a:lnTo>
                    <a:lnTo>
                      <a:pt x="906" y="9"/>
                    </a:lnTo>
                    <a:lnTo>
                      <a:pt x="945" y="16"/>
                    </a:lnTo>
                    <a:lnTo>
                      <a:pt x="983" y="25"/>
                    </a:lnTo>
                    <a:lnTo>
                      <a:pt x="1020" y="36"/>
                    </a:lnTo>
                    <a:lnTo>
                      <a:pt x="1057" y="48"/>
                    </a:lnTo>
                    <a:lnTo>
                      <a:pt x="1092" y="62"/>
                    </a:lnTo>
                    <a:lnTo>
                      <a:pt x="1127" y="78"/>
                    </a:lnTo>
                    <a:lnTo>
                      <a:pt x="1161" y="95"/>
                    </a:lnTo>
                    <a:lnTo>
                      <a:pt x="1194" y="114"/>
                    </a:lnTo>
                    <a:lnTo>
                      <a:pt x="1226" y="134"/>
                    </a:lnTo>
                    <a:lnTo>
                      <a:pt x="1256" y="156"/>
                    </a:lnTo>
                    <a:lnTo>
                      <a:pt x="1286" y="180"/>
                    </a:lnTo>
                    <a:lnTo>
                      <a:pt x="1315" y="204"/>
                    </a:lnTo>
                    <a:lnTo>
                      <a:pt x="1342" y="231"/>
                    </a:lnTo>
                    <a:lnTo>
                      <a:pt x="1369" y="258"/>
                    </a:lnTo>
                    <a:lnTo>
                      <a:pt x="1393" y="287"/>
                    </a:lnTo>
                    <a:lnTo>
                      <a:pt x="1416" y="316"/>
                    </a:lnTo>
                    <a:lnTo>
                      <a:pt x="1438" y="347"/>
                    </a:lnTo>
                    <a:lnTo>
                      <a:pt x="1459" y="379"/>
                    </a:lnTo>
                    <a:lnTo>
                      <a:pt x="1478" y="412"/>
                    </a:lnTo>
                    <a:lnTo>
                      <a:pt x="1495" y="446"/>
                    </a:lnTo>
                    <a:lnTo>
                      <a:pt x="1510" y="480"/>
                    </a:lnTo>
                    <a:lnTo>
                      <a:pt x="1525" y="516"/>
                    </a:lnTo>
                    <a:lnTo>
                      <a:pt x="1537" y="553"/>
                    </a:lnTo>
                    <a:lnTo>
                      <a:pt x="1548" y="590"/>
                    </a:lnTo>
                    <a:lnTo>
                      <a:pt x="1557" y="628"/>
                    </a:lnTo>
                    <a:lnTo>
                      <a:pt x="1564" y="666"/>
                    </a:lnTo>
                    <a:lnTo>
                      <a:pt x="1568" y="706"/>
                    </a:lnTo>
                    <a:lnTo>
                      <a:pt x="1571" y="745"/>
                    </a:lnTo>
                    <a:lnTo>
                      <a:pt x="1572" y="787"/>
                    </a:lnTo>
                    <a:lnTo>
                      <a:pt x="1572" y="787"/>
                    </a:lnTo>
                    <a:lnTo>
                      <a:pt x="1571" y="827"/>
                    </a:lnTo>
                    <a:lnTo>
                      <a:pt x="1568" y="867"/>
                    </a:lnTo>
                    <a:lnTo>
                      <a:pt x="1564" y="906"/>
                    </a:lnTo>
                    <a:lnTo>
                      <a:pt x="1557" y="944"/>
                    </a:lnTo>
                    <a:lnTo>
                      <a:pt x="1548" y="982"/>
                    </a:lnTo>
                    <a:lnTo>
                      <a:pt x="1537" y="1020"/>
                    </a:lnTo>
                    <a:lnTo>
                      <a:pt x="1525" y="1056"/>
                    </a:lnTo>
                    <a:lnTo>
                      <a:pt x="1510" y="1092"/>
                    </a:lnTo>
                    <a:lnTo>
                      <a:pt x="1495" y="1127"/>
                    </a:lnTo>
                    <a:lnTo>
                      <a:pt x="1478" y="1161"/>
                    </a:lnTo>
                    <a:lnTo>
                      <a:pt x="1459" y="1194"/>
                    </a:lnTo>
                    <a:lnTo>
                      <a:pt x="1438" y="1226"/>
                    </a:lnTo>
                    <a:lnTo>
                      <a:pt x="1416" y="1256"/>
                    </a:lnTo>
                    <a:lnTo>
                      <a:pt x="1393" y="1285"/>
                    </a:lnTo>
                    <a:lnTo>
                      <a:pt x="1369" y="1314"/>
                    </a:lnTo>
                    <a:lnTo>
                      <a:pt x="1342" y="1342"/>
                    </a:lnTo>
                    <a:lnTo>
                      <a:pt x="1315" y="1368"/>
                    </a:lnTo>
                    <a:lnTo>
                      <a:pt x="1286" y="1392"/>
                    </a:lnTo>
                    <a:lnTo>
                      <a:pt x="1256" y="1416"/>
                    </a:lnTo>
                    <a:lnTo>
                      <a:pt x="1226" y="1438"/>
                    </a:lnTo>
                    <a:lnTo>
                      <a:pt x="1194" y="1458"/>
                    </a:lnTo>
                    <a:lnTo>
                      <a:pt x="1161" y="1477"/>
                    </a:lnTo>
                    <a:lnTo>
                      <a:pt x="1127" y="1494"/>
                    </a:lnTo>
                    <a:lnTo>
                      <a:pt x="1092" y="1511"/>
                    </a:lnTo>
                    <a:lnTo>
                      <a:pt x="1057" y="1524"/>
                    </a:lnTo>
                    <a:lnTo>
                      <a:pt x="1020" y="1536"/>
                    </a:lnTo>
                    <a:lnTo>
                      <a:pt x="983" y="1548"/>
                    </a:lnTo>
                    <a:lnTo>
                      <a:pt x="945" y="1556"/>
                    </a:lnTo>
                    <a:lnTo>
                      <a:pt x="906" y="1563"/>
                    </a:lnTo>
                    <a:lnTo>
                      <a:pt x="867" y="1568"/>
                    </a:lnTo>
                    <a:lnTo>
                      <a:pt x="826" y="1571"/>
                    </a:lnTo>
                    <a:lnTo>
                      <a:pt x="786" y="1572"/>
                    </a:lnTo>
                    <a:lnTo>
                      <a:pt x="786" y="1572"/>
                    </a:lnTo>
                    <a:close/>
                  </a:path>
                </a:pathLst>
              </a:custGeom>
              <a:solidFill>
                <a:srgbClr val="B7B7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61" name="Freeform 32"/>
              <p:cNvSpPr>
                <a:spLocks/>
              </p:cNvSpPr>
              <p:nvPr userDrawn="1"/>
            </p:nvSpPr>
            <p:spPr bwMode="auto">
              <a:xfrm>
                <a:off x="-1807427" y="-1299780"/>
                <a:ext cx="1139825" cy="1141413"/>
              </a:xfrm>
              <a:custGeom>
                <a:avLst/>
                <a:gdLst>
                  <a:gd name="T0" fmla="*/ 1436 w 1436"/>
                  <a:gd name="T1" fmla="*/ 756 h 1437"/>
                  <a:gd name="T2" fmla="*/ 1422 w 1436"/>
                  <a:gd name="T3" fmla="*/ 863 h 1437"/>
                  <a:gd name="T4" fmla="*/ 1393 w 1436"/>
                  <a:gd name="T5" fmla="*/ 965 h 1437"/>
                  <a:gd name="T6" fmla="*/ 1350 w 1436"/>
                  <a:gd name="T7" fmla="*/ 1060 h 1437"/>
                  <a:gd name="T8" fmla="*/ 1294 w 1436"/>
                  <a:gd name="T9" fmla="*/ 1147 h 1437"/>
                  <a:gd name="T10" fmla="*/ 1226 w 1436"/>
                  <a:gd name="T11" fmla="*/ 1226 h 1437"/>
                  <a:gd name="T12" fmla="*/ 1148 w 1436"/>
                  <a:gd name="T13" fmla="*/ 1294 h 1437"/>
                  <a:gd name="T14" fmla="*/ 1061 w 1436"/>
                  <a:gd name="T15" fmla="*/ 1350 h 1437"/>
                  <a:gd name="T16" fmla="*/ 965 w 1436"/>
                  <a:gd name="T17" fmla="*/ 1392 h 1437"/>
                  <a:gd name="T18" fmla="*/ 863 w 1436"/>
                  <a:gd name="T19" fmla="*/ 1422 h 1437"/>
                  <a:gd name="T20" fmla="*/ 755 w 1436"/>
                  <a:gd name="T21" fmla="*/ 1436 h 1437"/>
                  <a:gd name="T22" fmla="*/ 681 w 1436"/>
                  <a:gd name="T23" fmla="*/ 1436 h 1437"/>
                  <a:gd name="T24" fmla="*/ 573 w 1436"/>
                  <a:gd name="T25" fmla="*/ 1422 h 1437"/>
                  <a:gd name="T26" fmla="*/ 471 w 1436"/>
                  <a:gd name="T27" fmla="*/ 1392 h 1437"/>
                  <a:gd name="T28" fmla="*/ 376 w 1436"/>
                  <a:gd name="T29" fmla="*/ 1350 h 1437"/>
                  <a:gd name="T30" fmla="*/ 288 w 1436"/>
                  <a:gd name="T31" fmla="*/ 1294 h 1437"/>
                  <a:gd name="T32" fmla="*/ 210 w 1436"/>
                  <a:gd name="T33" fmla="*/ 1226 h 1437"/>
                  <a:gd name="T34" fmla="*/ 143 w 1436"/>
                  <a:gd name="T35" fmla="*/ 1147 h 1437"/>
                  <a:gd name="T36" fmla="*/ 87 w 1436"/>
                  <a:gd name="T37" fmla="*/ 1060 h 1437"/>
                  <a:gd name="T38" fmla="*/ 44 w 1436"/>
                  <a:gd name="T39" fmla="*/ 965 h 1437"/>
                  <a:gd name="T40" fmla="*/ 15 w 1436"/>
                  <a:gd name="T41" fmla="*/ 863 h 1437"/>
                  <a:gd name="T42" fmla="*/ 1 w 1436"/>
                  <a:gd name="T43" fmla="*/ 756 h 1437"/>
                  <a:gd name="T44" fmla="*/ 1 w 1436"/>
                  <a:gd name="T45" fmla="*/ 682 h 1437"/>
                  <a:gd name="T46" fmla="*/ 15 w 1436"/>
                  <a:gd name="T47" fmla="*/ 574 h 1437"/>
                  <a:gd name="T48" fmla="*/ 44 w 1436"/>
                  <a:gd name="T49" fmla="*/ 472 h 1437"/>
                  <a:gd name="T50" fmla="*/ 87 w 1436"/>
                  <a:gd name="T51" fmla="*/ 376 h 1437"/>
                  <a:gd name="T52" fmla="*/ 143 w 1436"/>
                  <a:gd name="T53" fmla="*/ 289 h 1437"/>
                  <a:gd name="T54" fmla="*/ 210 w 1436"/>
                  <a:gd name="T55" fmla="*/ 210 h 1437"/>
                  <a:gd name="T56" fmla="*/ 288 w 1436"/>
                  <a:gd name="T57" fmla="*/ 143 h 1437"/>
                  <a:gd name="T58" fmla="*/ 376 w 1436"/>
                  <a:gd name="T59" fmla="*/ 87 h 1437"/>
                  <a:gd name="T60" fmla="*/ 471 w 1436"/>
                  <a:gd name="T61" fmla="*/ 44 h 1437"/>
                  <a:gd name="T62" fmla="*/ 573 w 1436"/>
                  <a:gd name="T63" fmla="*/ 15 h 1437"/>
                  <a:gd name="T64" fmla="*/ 681 w 1436"/>
                  <a:gd name="T65" fmla="*/ 1 h 1437"/>
                  <a:gd name="T66" fmla="*/ 755 w 1436"/>
                  <a:gd name="T67" fmla="*/ 1 h 1437"/>
                  <a:gd name="T68" fmla="*/ 863 w 1436"/>
                  <a:gd name="T69" fmla="*/ 15 h 1437"/>
                  <a:gd name="T70" fmla="*/ 965 w 1436"/>
                  <a:gd name="T71" fmla="*/ 44 h 1437"/>
                  <a:gd name="T72" fmla="*/ 1061 w 1436"/>
                  <a:gd name="T73" fmla="*/ 87 h 1437"/>
                  <a:gd name="T74" fmla="*/ 1148 w 1436"/>
                  <a:gd name="T75" fmla="*/ 143 h 1437"/>
                  <a:gd name="T76" fmla="*/ 1226 w 1436"/>
                  <a:gd name="T77" fmla="*/ 210 h 1437"/>
                  <a:gd name="T78" fmla="*/ 1294 w 1436"/>
                  <a:gd name="T79" fmla="*/ 289 h 1437"/>
                  <a:gd name="T80" fmla="*/ 1350 w 1436"/>
                  <a:gd name="T81" fmla="*/ 376 h 1437"/>
                  <a:gd name="T82" fmla="*/ 1393 w 1436"/>
                  <a:gd name="T83" fmla="*/ 472 h 1437"/>
                  <a:gd name="T84" fmla="*/ 1422 w 1436"/>
                  <a:gd name="T85" fmla="*/ 574 h 1437"/>
                  <a:gd name="T86" fmla="*/ 1436 w 1436"/>
                  <a:gd name="T87" fmla="*/ 682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36" h="1437">
                    <a:moveTo>
                      <a:pt x="1436" y="719"/>
                    </a:moveTo>
                    <a:lnTo>
                      <a:pt x="1436" y="719"/>
                    </a:lnTo>
                    <a:lnTo>
                      <a:pt x="1436" y="756"/>
                    </a:lnTo>
                    <a:lnTo>
                      <a:pt x="1433" y="792"/>
                    </a:lnTo>
                    <a:lnTo>
                      <a:pt x="1428" y="828"/>
                    </a:lnTo>
                    <a:lnTo>
                      <a:pt x="1422" y="863"/>
                    </a:lnTo>
                    <a:lnTo>
                      <a:pt x="1414" y="898"/>
                    </a:lnTo>
                    <a:lnTo>
                      <a:pt x="1404" y="931"/>
                    </a:lnTo>
                    <a:lnTo>
                      <a:pt x="1393" y="965"/>
                    </a:lnTo>
                    <a:lnTo>
                      <a:pt x="1381" y="997"/>
                    </a:lnTo>
                    <a:lnTo>
                      <a:pt x="1366" y="1029"/>
                    </a:lnTo>
                    <a:lnTo>
                      <a:pt x="1350" y="1060"/>
                    </a:lnTo>
                    <a:lnTo>
                      <a:pt x="1332" y="1091"/>
                    </a:lnTo>
                    <a:lnTo>
                      <a:pt x="1314" y="1120"/>
                    </a:lnTo>
                    <a:lnTo>
                      <a:pt x="1294" y="1147"/>
                    </a:lnTo>
                    <a:lnTo>
                      <a:pt x="1273" y="1175"/>
                    </a:lnTo>
                    <a:lnTo>
                      <a:pt x="1250" y="1201"/>
                    </a:lnTo>
                    <a:lnTo>
                      <a:pt x="1226" y="1226"/>
                    </a:lnTo>
                    <a:lnTo>
                      <a:pt x="1202" y="1249"/>
                    </a:lnTo>
                    <a:lnTo>
                      <a:pt x="1175" y="1272"/>
                    </a:lnTo>
                    <a:lnTo>
                      <a:pt x="1148" y="1294"/>
                    </a:lnTo>
                    <a:lnTo>
                      <a:pt x="1121" y="1314"/>
                    </a:lnTo>
                    <a:lnTo>
                      <a:pt x="1091" y="1333"/>
                    </a:lnTo>
                    <a:lnTo>
                      <a:pt x="1061" y="1350"/>
                    </a:lnTo>
                    <a:lnTo>
                      <a:pt x="1030" y="1366"/>
                    </a:lnTo>
                    <a:lnTo>
                      <a:pt x="998" y="1380"/>
                    </a:lnTo>
                    <a:lnTo>
                      <a:pt x="965" y="1392"/>
                    </a:lnTo>
                    <a:lnTo>
                      <a:pt x="932" y="1404"/>
                    </a:lnTo>
                    <a:lnTo>
                      <a:pt x="898" y="1414"/>
                    </a:lnTo>
                    <a:lnTo>
                      <a:pt x="863" y="1422"/>
                    </a:lnTo>
                    <a:lnTo>
                      <a:pt x="828" y="1428"/>
                    </a:lnTo>
                    <a:lnTo>
                      <a:pt x="792" y="1432"/>
                    </a:lnTo>
                    <a:lnTo>
                      <a:pt x="755" y="1436"/>
                    </a:lnTo>
                    <a:lnTo>
                      <a:pt x="718" y="1437"/>
                    </a:lnTo>
                    <a:lnTo>
                      <a:pt x="718" y="1437"/>
                    </a:lnTo>
                    <a:lnTo>
                      <a:pt x="681" y="1436"/>
                    </a:lnTo>
                    <a:lnTo>
                      <a:pt x="645" y="1432"/>
                    </a:lnTo>
                    <a:lnTo>
                      <a:pt x="609" y="1428"/>
                    </a:lnTo>
                    <a:lnTo>
                      <a:pt x="573" y="1422"/>
                    </a:lnTo>
                    <a:lnTo>
                      <a:pt x="539" y="1414"/>
                    </a:lnTo>
                    <a:lnTo>
                      <a:pt x="505" y="1404"/>
                    </a:lnTo>
                    <a:lnTo>
                      <a:pt x="471" y="1392"/>
                    </a:lnTo>
                    <a:lnTo>
                      <a:pt x="439" y="1380"/>
                    </a:lnTo>
                    <a:lnTo>
                      <a:pt x="407" y="1366"/>
                    </a:lnTo>
                    <a:lnTo>
                      <a:pt x="376" y="1350"/>
                    </a:lnTo>
                    <a:lnTo>
                      <a:pt x="346" y="1333"/>
                    </a:lnTo>
                    <a:lnTo>
                      <a:pt x="317" y="1314"/>
                    </a:lnTo>
                    <a:lnTo>
                      <a:pt x="288" y="1294"/>
                    </a:lnTo>
                    <a:lnTo>
                      <a:pt x="262" y="1272"/>
                    </a:lnTo>
                    <a:lnTo>
                      <a:pt x="236" y="1249"/>
                    </a:lnTo>
                    <a:lnTo>
                      <a:pt x="210" y="1226"/>
                    </a:lnTo>
                    <a:lnTo>
                      <a:pt x="186" y="1201"/>
                    </a:lnTo>
                    <a:lnTo>
                      <a:pt x="164" y="1175"/>
                    </a:lnTo>
                    <a:lnTo>
                      <a:pt x="143" y="1147"/>
                    </a:lnTo>
                    <a:lnTo>
                      <a:pt x="123" y="1120"/>
                    </a:lnTo>
                    <a:lnTo>
                      <a:pt x="104" y="1091"/>
                    </a:lnTo>
                    <a:lnTo>
                      <a:pt x="87" y="1060"/>
                    </a:lnTo>
                    <a:lnTo>
                      <a:pt x="71" y="1029"/>
                    </a:lnTo>
                    <a:lnTo>
                      <a:pt x="57" y="997"/>
                    </a:lnTo>
                    <a:lnTo>
                      <a:pt x="44" y="965"/>
                    </a:lnTo>
                    <a:lnTo>
                      <a:pt x="32" y="931"/>
                    </a:lnTo>
                    <a:lnTo>
                      <a:pt x="23" y="898"/>
                    </a:lnTo>
                    <a:lnTo>
                      <a:pt x="15" y="863"/>
                    </a:lnTo>
                    <a:lnTo>
                      <a:pt x="9" y="828"/>
                    </a:lnTo>
                    <a:lnTo>
                      <a:pt x="4" y="792"/>
                    </a:lnTo>
                    <a:lnTo>
                      <a:pt x="1" y="756"/>
                    </a:lnTo>
                    <a:lnTo>
                      <a:pt x="0" y="719"/>
                    </a:lnTo>
                    <a:lnTo>
                      <a:pt x="0" y="719"/>
                    </a:lnTo>
                    <a:lnTo>
                      <a:pt x="1" y="682"/>
                    </a:lnTo>
                    <a:lnTo>
                      <a:pt x="4" y="644"/>
                    </a:lnTo>
                    <a:lnTo>
                      <a:pt x="9" y="608"/>
                    </a:lnTo>
                    <a:lnTo>
                      <a:pt x="15" y="574"/>
                    </a:lnTo>
                    <a:lnTo>
                      <a:pt x="23" y="539"/>
                    </a:lnTo>
                    <a:lnTo>
                      <a:pt x="32" y="505"/>
                    </a:lnTo>
                    <a:lnTo>
                      <a:pt x="44" y="472"/>
                    </a:lnTo>
                    <a:lnTo>
                      <a:pt x="57" y="439"/>
                    </a:lnTo>
                    <a:lnTo>
                      <a:pt x="71" y="407"/>
                    </a:lnTo>
                    <a:lnTo>
                      <a:pt x="87" y="376"/>
                    </a:lnTo>
                    <a:lnTo>
                      <a:pt x="104" y="346"/>
                    </a:lnTo>
                    <a:lnTo>
                      <a:pt x="123" y="316"/>
                    </a:lnTo>
                    <a:lnTo>
                      <a:pt x="143" y="289"/>
                    </a:lnTo>
                    <a:lnTo>
                      <a:pt x="164" y="261"/>
                    </a:lnTo>
                    <a:lnTo>
                      <a:pt x="186" y="235"/>
                    </a:lnTo>
                    <a:lnTo>
                      <a:pt x="210" y="210"/>
                    </a:lnTo>
                    <a:lnTo>
                      <a:pt x="236" y="187"/>
                    </a:lnTo>
                    <a:lnTo>
                      <a:pt x="262" y="164"/>
                    </a:lnTo>
                    <a:lnTo>
                      <a:pt x="288" y="143"/>
                    </a:lnTo>
                    <a:lnTo>
                      <a:pt x="317" y="123"/>
                    </a:lnTo>
                    <a:lnTo>
                      <a:pt x="346" y="103"/>
                    </a:lnTo>
                    <a:lnTo>
                      <a:pt x="376" y="87"/>
                    </a:lnTo>
                    <a:lnTo>
                      <a:pt x="407" y="70"/>
                    </a:lnTo>
                    <a:lnTo>
                      <a:pt x="439" y="56"/>
                    </a:lnTo>
                    <a:lnTo>
                      <a:pt x="471" y="44"/>
                    </a:lnTo>
                    <a:lnTo>
                      <a:pt x="505" y="32"/>
                    </a:lnTo>
                    <a:lnTo>
                      <a:pt x="539" y="22"/>
                    </a:lnTo>
                    <a:lnTo>
                      <a:pt x="573" y="15"/>
                    </a:lnTo>
                    <a:lnTo>
                      <a:pt x="609" y="8"/>
                    </a:lnTo>
                    <a:lnTo>
                      <a:pt x="645" y="4"/>
                    </a:lnTo>
                    <a:lnTo>
                      <a:pt x="681" y="1"/>
                    </a:lnTo>
                    <a:lnTo>
                      <a:pt x="718" y="0"/>
                    </a:lnTo>
                    <a:lnTo>
                      <a:pt x="718" y="0"/>
                    </a:lnTo>
                    <a:lnTo>
                      <a:pt x="755" y="1"/>
                    </a:lnTo>
                    <a:lnTo>
                      <a:pt x="792" y="4"/>
                    </a:lnTo>
                    <a:lnTo>
                      <a:pt x="828" y="8"/>
                    </a:lnTo>
                    <a:lnTo>
                      <a:pt x="863" y="15"/>
                    </a:lnTo>
                    <a:lnTo>
                      <a:pt x="898" y="22"/>
                    </a:lnTo>
                    <a:lnTo>
                      <a:pt x="932" y="32"/>
                    </a:lnTo>
                    <a:lnTo>
                      <a:pt x="965" y="44"/>
                    </a:lnTo>
                    <a:lnTo>
                      <a:pt x="998" y="56"/>
                    </a:lnTo>
                    <a:lnTo>
                      <a:pt x="1030" y="70"/>
                    </a:lnTo>
                    <a:lnTo>
                      <a:pt x="1061" y="87"/>
                    </a:lnTo>
                    <a:lnTo>
                      <a:pt x="1091" y="103"/>
                    </a:lnTo>
                    <a:lnTo>
                      <a:pt x="1121" y="123"/>
                    </a:lnTo>
                    <a:lnTo>
                      <a:pt x="1148" y="143"/>
                    </a:lnTo>
                    <a:lnTo>
                      <a:pt x="1175" y="164"/>
                    </a:lnTo>
                    <a:lnTo>
                      <a:pt x="1202" y="187"/>
                    </a:lnTo>
                    <a:lnTo>
                      <a:pt x="1226" y="210"/>
                    </a:lnTo>
                    <a:lnTo>
                      <a:pt x="1250" y="235"/>
                    </a:lnTo>
                    <a:lnTo>
                      <a:pt x="1273" y="261"/>
                    </a:lnTo>
                    <a:lnTo>
                      <a:pt x="1294" y="289"/>
                    </a:lnTo>
                    <a:lnTo>
                      <a:pt x="1314" y="316"/>
                    </a:lnTo>
                    <a:lnTo>
                      <a:pt x="1332" y="346"/>
                    </a:lnTo>
                    <a:lnTo>
                      <a:pt x="1350" y="376"/>
                    </a:lnTo>
                    <a:lnTo>
                      <a:pt x="1366" y="407"/>
                    </a:lnTo>
                    <a:lnTo>
                      <a:pt x="1381" y="439"/>
                    </a:lnTo>
                    <a:lnTo>
                      <a:pt x="1393" y="472"/>
                    </a:lnTo>
                    <a:lnTo>
                      <a:pt x="1404" y="505"/>
                    </a:lnTo>
                    <a:lnTo>
                      <a:pt x="1414" y="539"/>
                    </a:lnTo>
                    <a:lnTo>
                      <a:pt x="1422" y="574"/>
                    </a:lnTo>
                    <a:lnTo>
                      <a:pt x="1428" y="608"/>
                    </a:lnTo>
                    <a:lnTo>
                      <a:pt x="1433" y="644"/>
                    </a:lnTo>
                    <a:lnTo>
                      <a:pt x="1436" y="682"/>
                    </a:lnTo>
                    <a:lnTo>
                      <a:pt x="1436" y="719"/>
                    </a:lnTo>
                    <a:lnTo>
                      <a:pt x="1436" y="719"/>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62" name="Freeform 33"/>
              <p:cNvSpPr>
                <a:spLocks/>
              </p:cNvSpPr>
              <p:nvPr userDrawn="1"/>
            </p:nvSpPr>
            <p:spPr bwMode="auto">
              <a:xfrm>
                <a:off x="-1688364" y="-1180718"/>
                <a:ext cx="901700" cy="903288"/>
              </a:xfrm>
              <a:custGeom>
                <a:avLst/>
                <a:gdLst>
                  <a:gd name="T0" fmla="*/ 1136 w 1136"/>
                  <a:gd name="T1" fmla="*/ 597 h 1136"/>
                  <a:gd name="T2" fmla="*/ 1125 w 1136"/>
                  <a:gd name="T3" fmla="*/ 683 h 1136"/>
                  <a:gd name="T4" fmla="*/ 1102 w 1136"/>
                  <a:gd name="T5" fmla="*/ 763 h 1136"/>
                  <a:gd name="T6" fmla="*/ 1068 w 1136"/>
                  <a:gd name="T7" fmla="*/ 839 h 1136"/>
                  <a:gd name="T8" fmla="*/ 1024 w 1136"/>
                  <a:gd name="T9" fmla="*/ 908 h 1136"/>
                  <a:gd name="T10" fmla="*/ 971 w 1136"/>
                  <a:gd name="T11" fmla="*/ 970 h 1136"/>
                  <a:gd name="T12" fmla="*/ 909 w 1136"/>
                  <a:gd name="T13" fmla="*/ 1023 h 1136"/>
                  <a:gd name="T14" fmla="*/ 839 w 1136"/>
                  <a:gd name="T15" fmla="*/ 1067 h 1136"/>
                  <a:gd name="T16" fmla="*/ 764 w 1136"/>
                  <a:gd name="T17" fmla="*/ 1101 h 1136"/>
                  <a:gd name="T18" fmla="*/ 682 w 1136"/>
                  <a:gd name="T19" fmla="*/ 1125 h 1136"/>
                  <a:gd name="T20" fmla="*/ 598 w 1136"/>
                  <a:gd name="T21" fmla="*/ 1135 h 1136"/>
                  <a:gd name="T22" fmla="*/ 540 w 1136"/>
                  <a:gd name="T23" fmla="*/ 1135 h 1136"/>
                  <a:gd name="T24" fmla="*/ 454 w 1136"/>
                  <a:gd name="T25" fmla="*/ 1125 h 1136"/>
                  <a:gd name="T26" fmla="*/ 373 w 1136"/>
                  <a:gd name="T27" fmla="*/ 1101 h 1136"/>
                  <a:gd name="T28" fmla="*/ 298 w 1136"/>
                  <a:gd name="T29" fmla="*/ 1067 h 1136"/>
                  <a:gd name="T30" fmla="*/ 229 w 1136"/>
                  <a:gd name="T31" fmla="*/ 1023 h 1136"/>
                  <a:gd name="T32" fmla="*/ 167 w 1136"/>
                  <a:gd name="T33" fmla="*/ 970 h 1136"/>
                  <a:gd name="T34" fmla="*/ 114 w 1136"/>
                  <a:gd name="T35" fmla="*/ 908 h 1136"/>
                  <a:gd name="T36" fmla="*/ 69 w 1136"/>
                  <a:gd name="T37" fmla="*/ 839 h 1136"/>
                  <a:gd name="T38" fmla="*/ 35 w 1136"/>
                  <a:gd name="T39" fmla="*/ 763 h 1136"/>
                  <a:gd name="T40" fmla="*/ 12 w 1136"/>
                  <a:gd name="T41" fmla="*/ 683 h 1136"/>
                  <a:gd name="T42" fmla="*/ 2 w 1136"/>
                  <a:gd name="T43" fmla="*/ 597 h 1136"/>
                  <a:gd name="T44" fmla="*/ 2 w 1136"/>
                  <a:gd name="T45" fmla="*/ 539 h 1136"/>
                  <a:gd name="T46" fmla="*/ 12 w 1136"/>
                  <a:gd name="T47" fmla="*/ 453 h 1136"/>
                  <a:gd name="T48" fmla="*/ 35 w 1136"/>
                  <a:gd name="T49" fmla="*/ 373 h 1136"/>
                  <a:gd name="T50" fmla="*/ 69 w 1136"/>
                  <a:gd name="T51" fmla="*/ 297 h 1136"/>
                  <a:gd name="T52" fmla="*/ 114 w 1136"/>
                  <a:gd name="T53" fmla="*/ 228 h 1136"/>
                  <a:gd name="T54" fmla="*/ 167 w 1136"/>
                  <a:gd name="T55" fmla="*/ 166 h 1136"/>
                  <a:gd name="T56" fmla="*/ 229 w 1136"/>
                  <a:gd name="T57" fmla="*/ 113 h 1136"/>
                  <a:gd name="T58" fmla="*/ 298 w 1136"/>
                  <a:gd name="T59" fmla="*/ 69 h 1136"/>
                  <a:gd name="T60" fmla="*/ 373 w 1136"/>
                  <a:gd name="T61" fmla="*/ 35 h 1136"/>
                  <a:gd name="T62" fmla="*/ 454 w 1136"/>
                  <a:gd name="T63" fmla="*/ 12 h 1136"/>
                  <a:gd name="T64" fmla="*/ 540 w 1136"/>
                  <a:gd name="T65" fmla="*/ 1 h 1136"/>
                  <a:gd name="T66" fmla="*/ 598 w 1136"/>
                  <a:gd name="T67" fmla="*/ 1 h 1136"/>
                  <a:gd name="T68" fmla="*/ 682 w 1136"/>
                  <a:gd name="T69" fmla="*/ 12 h 1136"/>
                  <a:gd name="T70" fmla="*/ 764 w 1136"/>
                  <a:gd name="T71" fmla="*/ 35 h 1136"/>
                  <a:gd name="T72" fmla="*/ 839 w 1136"/>
                  <a:gd name="T73" fmla="*/ 69 h 1136"/>
                  <a:gd name="T74" fmla="*/ 909 w 1136"/>
                  <a:gd name="T75" fmla="*/ 113 h 1136"/>
                  <a:gd name="T76" fmla="*/ 971 w 1136"/>
                  <a:gd name="T77" fmla="*/ 166 h 1136"/>
                  <a:gd name="T78" fmla="*/ 1024 w 1136"/>
                  <a:gd name="T79" fmla="*/ 228 h 1136"/>
                  <a:gd name="T80" fmla="*/ 1068 w 1136"/>
                  <a:gd name="T81" fmla="*/ 297 h 1136"/>
                  <a:gd name="T82" fmla="*/ 1102 w 1136"/>
                  <a:gd name="T83" fmla="*/ 373 h 1136"/>
                  <a:gd name="T84" fmla="*/ 1125 w 1136"/>
                  <a:gd name="T85" fmla="*/ 453 h 1136"/>
                  <a:gd name="T86" fmla="*/ 1136 w 1136"/>
                  <a:gd name="T87" fmla="*/ 539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36" h="1136">
                    <a:moveTo>
                      <a:pt x="1136" y="569"/>
                    </a:moveTo>
                    <a:lnTo>
                      <a:pt x="1136" y="569"/>
                    </a:lnTo>
                    <a:lnTo>
                      <a:pt x="1136" y="597"/>
                    </a:lnTo>
                    <a:lnTo>
                      <a:pt x="1134" y="626"/>
                    </a:lnTo>
                    <a:lnTo>
                      <a:pt x="1130" y="655"/>
                    </a:lnTo>
                    <a:lnTo>
                      <a:pt x="1125" y="683"/>
                    </a:lnTo>
                    <a:lnTo>
                      <a:pt x="1119" y="710"/>
                    </a:lnTo>
                    <a:lnTo>
                      <a:pt x="1111" y="737"/>
                    </a:lnTo>
                    <a:lnTo>
                      <a:pt x="1102" y="763"/>
                    </a:lnTo>
                    <a:lnTo>
                      <a:pt x="1092" y="790"/>
                    </a:lnTo>
                    <a:lnTo>
                      <a:pt x="1081" y="814"/>
                    </a:lnTo>
                    <a:lnTo>
                      <a:pt x="1068" y="839"/>
                    </a:lnTo>
                    <a:lnTo>
                      <a:pt x="1054" y="863"/>
                    </a:lnTo>
                    <a:lnTo>
                      <a:pt x="1039" y="885"/>
                    </a:lnTo>
                    <a:lnTo>
                      <a:pt x="1024" y="908"/>
                    </a:lnTo>
                    <a:lnTo>
                      <a:pt x="1007" y="930"/>
                    </a:lnTo>
                    <a:lnTo>
                      <a:pt x="989" y="950"/>
                    </a:lnTo>
                    <a:lnTo>
                      <a:pt x="971" y="970"/>
                    </a:lnTo>
                    <a:lnTo>
                      <a:pt x="950" y="988"/>
                    </a:lnTo>
                    <a:lnTo>
                      <a:pt x="929" y="1007"/>
                    </a:lnTo>
                    <a:lnTo>
                      <a:pt x="909" y="1023"/>
                    </a:lnTo>
                    <a:lnTo>
                      <a:pt x="886" y="1039"/>
                    </a:lnTo>
                    <a:lnTo>
                      <a:pt x="863" y="1054"/>
                    </a:lnTo>
                    <a:lnTo>
                      <a:pt x="839" y="1067"/>
                    </a:lnTo>
                    <a:lnTo>
                      <a:pt x="815" y="1080"/>
                    </a:lnTo>
                    <a:lnTo>
                      <a:pt x="789" y="1091"/>
                    </a:lnTo>
                    <a:lnTo>
                      <a:pt x="764" y="1101"/>
                    </a:lnTo>
                    <a:lnTo>
                      <a:pt x="737" y="1111"/>
                    </a:lnTo>
                    <a:lnTo>
                      <a:pt x="710" y="1118"/>
                    </a:lnTo>
                    <a:lnTo>
                      <a:pt x="682" y="1125"/>
                    </a:lnTo>
                    <a:lnTo>
                      <a:pt x="655" y="1129"/>
                    </a:lnTo>
                    <a:lnTo>
                      <a:pt x="627" y="1133"/>
                    </a:lnTo>
                    <a:lnTo>
                      <a:pt x="598" y="1135"/>
                    </a:lnTo>
                    <a:lnTo>
                      <a:pt x="568" y="1136"/>
                    </a:lnTo>
                    <a:lnTo>
                      <a:pt x="568" y="1136"/>
                    </a:lnTo>
                    <a:lnTo>
                      <a:pt x="540" y="1135"/>
                    </a:lnTo>
                    <a:lnTo>
                      <a:pt x="511" y="1133"/>
                    </a:lnTo>
                    <a:lnTo>
                      <a:pt x="482" y="1129"/>
                    </a:lnTo>
                    <a:lnTo>
                      <a:pt x="454" y="1125"/>
                    </a:lnTo>
                    <a:lnTo>
                      <a:pt x="426" y="1118"/>
                    </a:lnTo>
                    <a:lnTo>
                      <a:pt x="400" y="1111"/>
                    </a:lnTo>
                    <a:lnTo>
                      <a:pt x="373" y="1101"/>
                    </a:lnTo>
                    <a:lnTo>
                      <a:pt x="347" y="1091"/>
                    </a:lnTo>
                    <a:lnTo>
                      <a:pt x="322" y="1080"/>
                    </a:lnTo>
                    <a:lnTo>
                      <a:pt x="298" y="1067"/>
                    </a:lnTo>
                    <a:lnTo>
                      <a:pt x="274" y="1054"/>
                    </a:lnTo>
                    <a:lnTo>
                      <a:pt x="250" y="1039"/>
                    </a:lnTo>
                    <a:lnTo>
                      <a:pt x="229" y="1023"/>
                    </a:lnTo>
                    <a:lnTo>
                      <a:pt x="207" y="1007"/>
                    </a:lnTo>
                    <a:lnTo>
                      <a:pt x="187" y="988"/>
                    </a:lnTo>
                    <a:lnTo>
                      <a:pt x="167" y="970"/>
                    </a:lnTo>
                    <a:lnTo>
                      <a:pt x="148" y="950"/>
                    </a:lnTo>
                    <a:lnTo>
                      <a:pt x="130" y="930"/>
                    </a:lnTo>
                    <a:lnTo>
                      <a:pt x="114" y="908"/>
                    </a:lnTo>
                    <a:lnTo>
                      <a:pt x="97" y="885"/>
                    </a:lnTo>
                    <a:lnTo>
                      <a:pt x="83" y="863"/>
                    </a:lnTo>
                    <a:lnTo>
                      <a:pt x="69" y="839"/>
                    </a:lnTo>
                    <a:lnTo>
                      <a:pt x="56" y="814"/>
                    </a:lnTo>
                    <a:lnTo>
                      <a:pt x="45" y="790"/>
                    </a:lnTo>
                    <a:lnTo>
                      <a:pt x="35" y="763"/>
                    </a:lnTo>
                    <a:lnTo>
                      <a:pt x="26" y="737"/>
                    </a:lnTo>
                    <a:lnTo>
                      <a:pt x="18" y="710"/>
                    </a:lnTo>
                    <a:lnTo>
                      <a:pt x="12" y="683"/>
                    </a:lnTo>
                    <a:lnTo>
                      <a:pt x="7" y="655"/>
                    </a:lnTo>
                    <a:lnTo>
                      <a:pt x="4" y="626"/>
                    </a:lnTo>
                    <a:lnTo>
                      <a:pt x="2" y="597"/>
                    </a:lnTo>
                    <a:lnTo>
                      <a:pt x="0" y="569"/>
                    </a:lnTo>
                    <a:lnTo>
                      <a:pt x="0" y="569"/>
                    </a:lnTo>
                    <a:lnTo>
                      <a:pt x="2" y="539"/>
                    </a:lnTo>
                    <a:lnTo>
                      <a:pt x="4" y="510"/>
                    </a:lnTo>
                    <a:lnTo>
                      <a:pt x="7" y="482"/>
                    </a:lnTo>
                    <a:lnTo>
                      <a:pt x="12" y="453"/>
                    </a:lnTo>
                    <a:lnTo>
                      <a:pt x="18" y="427"/>
                    </a:lnTo>
                    <a:lnTo>
                      <a:pt x="26" y="399"/>
                    </a:lnTo>
                    <a:lnTo>
                      <a:pt x="35" y="373"/>
                    </a:lnTo>
                    <a:lnTo>
                      <a:pt x="45" y="347"/>
                    </a:lnTo>
                    <a:lnTo>
                      <a:pt x="56" y="322"/>
                    </a:lnTo>
                    <a:lnTo>
                      <a:pt x="69" y="297"/>
                    </a:lnTo>
                    <a:lnTo>
                      <a:pt x="83" y="273"/>
                    </a:lnTo>
                    <a:lnTo>
                      <a:pt x="97" y="251"/>
                    </a:lnTo>
                    <a:lnTo>
                      <a:pt x="114" y="228"/>
                    </a:lnTo>
                    <a:lnTo>
                      <a:pt x="130" y="206"/>
                    </a:lnTo>
                    <a:lnTo>
                      <a:pt x="148" y="186"/>
                    </a:lnTo>
                    <a:lnTo>
                      <a:pt x="167" y="166"/>
                    </a:lnTo>
                    <a:lnTo>
                      <a:pt x="187" y="148"/>
                    </a:lnTo>
                    <a:lnTo>
                      <a:pt x="207" y="130"/>
                    </a:lnTo>
                    <a:lnTo>
                      <a:pt x="229" y="113"/>
                    </a:lnTo>
                    <a:lnTo>
                      <a:pt x="250" y="97"/>
                    </a:lnTo>
                    <a:lnTo>
                      <a:pt x="274" y="82"/>
                    </a:lnTo>
                    <a:lnTo>
                      <a:pt x="298" y="69"/>
                    </a:lnTo>
                    <a:lnTo>
                      <a:pt x="322" y="56"/>
                    </a:lnTo>
                    <a:lnTo>
                      <a:pt x="347" y="45"/>
                    </a:lnTo>
                    <a:lnTo>
                      <a:pt x="373" y="35"/>
                    </a:lnTo>
                    <a:lnTo>
                      <a:pt x="400" y="25"/>
                    </a:lnTo>
                    <a:lnTo>
                      <a:pt x="426" y="18"/>
                    </a:lnTo>
                    <a:lnTo>
                      <a:pt x="454" y="12"/>
                    </a:lnTo>
                    <a:lnTo>
                      <a:pt x="482" y="7"/>
                    </a:lnTo>
                    <a:lnTo>
                      <a:pt x="511" y="3"/>
                    </a:lnTo>
                    <a:lnTo>
                      <a:pt x="540" y="1"/>
                    </a:lnTo>
                    <a:lnTo>
                      <a:pt x="568" y="0"/>
                    </a:lnTo>
                    <a:lnTo>
                      <a:pt x="568" y="0"/>
                    </a:lnTo>
                    <a:lnTo>
                      <a:pt x="598" y="1"/>
                    </a:lnTo>
                    <a:lnTo>
                      <a:pt x="627" y="3"/>
                    </a:lnTo>
                    <a:lnTo>
                      <a:pt x="655" y="7"/>
                    </a:lnTo>
                    <a:lnTo>
                      <a:pt x="682" y="12"/>
                    </a:lnTo>
                    <a:lnTo>
                      <a:pt x="710" y="18"/>
                    </a:lnTo>
                    <a:lnTo>
                      <a:pt x="737" y="25"/>
                    </a:lnTo>
                    <a:lnTo>
                      <a:pt x="764" y="35"/>
                    </a:lnTo>
                    <a:lnTo>
                      <a:pt x="789" y="45"/>
                    </a:lnTo>
                    <a:lnTo>
                      <a:pt x="815" y="56"/>
                    </a:lnTo>
                    <a:lnTo>
                      <a:pt x="839" y="69"/>
                    </a:lnTo>
                    <a:lnTo>
                      <a:pt x="863" y="82"/>
                    </a:lnTo>
                    <a:lnTo>
                      <a:pt x="886" y="97"/>
                    </a:lnTo>
                    <a:lnTo>
                      <a:pt x="909" y="113"/>
                    </a:lnTo>
                    <a:lnTo>
                      <a:pt x="929" y="130"/>
                    </a:lnTo>
                    <a:lnTo>
                      <a:pt x="950" y="148"/>
                    </a:lnTo>
                    <a:lnTo>
                      <a:pt x="971" y="166"/>
                    </a:lnTo>
                    <a:lnTo>
                      <a:pt x="989" y="186"/>
                    </a:lnTo>
                    <a:lnTo>
                      <a:pt x="1007" y="206"/>
                    </a:lnTo>
                    <a:lnTo>
                      <a:pt x="1024" y="228"/>
                    </a:lnTo>
                    <a:lnTo>
                      <a:pt x="1039" y="251"/>
                    </a:lnTo>
                    <a:lnTo>
                      <a:pt x="1054" y="273"/>
                    </a:lnTo>
                    <a:lnTo>
                      <a:pt x="1068" y="297"/>
                    </a:lnTo>
                    <a:lnTo>
                      <a:pt x="1081" y="322"/>
                    </a:lnTo>
                    <a:lnTo>
                      <a:pt x="1092" y="347"/>
                    </a:lnTo>
                    <a:lnTo>
                      <a:pt x="1102" y="373"/>
                    </a:lnTo>
                    <a:lnTo>
                      <a:pt x="1111" y="399"/>
                    </a:lnTo>
                    <a:lnTo>
                      <a:pt x="1119" y="427"/>
                    </a:lnTo>
                    <a:lnTo>
                      <a:pt x="1125" y="453"/>
                    </a:lnTo>
                    <a:lnTo>
                      <a:pt x="1130" y="482"/>
                    </a:lnTo>
                    <a:lnTo>
                      <a:pt x="1134" y="510"/>
                    </a:lnTo>
                    <a:lnTo>
                      <a:pt x="1136" y="539"/>
                    </a:lnTo>
                    <a:lnTo>
                      <a:pt x="1136" y="569"/>
                    </a:lnTo>
                    <a:lnTo>
                      <a:pt x="1136" y="569"/>
                    </a:lnTo>
                    <a:close/>
                  </a:path>
                </a:pathLst>
              </a:custGeom>
              <a:solidFill>
                <a:srgbClr val="6DCF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63" name="Freeform 34"/>
              <p:cNvSpPr>
                <a:spLocks/>
              </p:cNvSpPr>
              <p:nvPr userDrawn="1"/>
            </p:nvSpPr>
            <p:spPr bwMode="auto">
              <a:xfrm>
                <a:off x="-1259739" y="-1261680"/>
                <a:ext cx="44450" cy="44450"/>
              </a:xfrm>
              <a:custGeom>
                <a:avLst/>
                <a:gdLst>
                  <a:gd name="T0" fmla="*/ 55 w 55"/>
                  <a:gd name="T1" fmla="*/ 28 h 55"/>
                  <a:gd name="T2" fmla="*/ 55 w 55"/>
                  <a:gd name="T3" fmla="*/ 28 h 55"/>
                  <a:gd name="T4" fmla="*/ 54 w 55"/>
                  <a:gd name="T5" fmla="*/ 33 h 55"/>
                  <a:gd name="T6" fmla="*/ 53 w 55"/>
                  <a:gd name="T7" fmla="*/ 39 h 55"/>
                  <a:gd name="T8" fmla="*/ 50 w 55"/>
                  <a:gd name="T9" fmla="*/ 43 h 55"/>
                  <a:gd name="T10" fmla="*/ 47 w 55"/>
                  <a:gd name="T11" fmla="*/ 47 h 55"/>
                  <a:gd name="T12" fmla="*/ 43 w 55"/>
                  <a:gd name="T13" fmla="*/ 50 h 55"/>
                  <a:gd name="T14" fmla="*/ 39 w 55"/>
                  <a:gd name="T15" fmla="*/ 53 h 55"/>
                  <a:gd name="T16" fmla="*/ 33 w 55"/>
                  <a:gd name="T17" fmla="*/ 54 h 55"/>
                  <a:gd name="T18" fmla="*/ 27 w 55"/>
                  <a:gd name="T19" fmla="*/ 55 h 55"/>
                  <a:gd name="T20" fmla="*/ 27 w 55"/>
                  <a:gd name="T21" fmla="*/ 55 h 55"/>
                  <a:gd name="T22" fmla="*/ 22 w 55"/>
                  <a:gd name="T23" fmla="*/ 54 h 55"/>
                  <a:gd name="T24" fmla="*/ 17 w 55"/>
                  <a:gd name="T25" fmla="*/ 53 h 55"/>
                  <a:gd name="T26" fmla="*/ 12 w 55"/>
                  <a:gd name="T27" fmla="*/ 50 h 55"/>
                  <a:gd name="T28" fmla="*/ 8 w 55"/>
                  <a:gd name="T29" fmla="*/ 47 h 55"/>
                  <a:gd name="T30" fmla="*/ 5 w 55"/>
                  <a:gd name="T31" fmla="*/ 43 h 55"/>
                  <a:gd name="T32" fmla="*/ 3 w 55"/>
                  <a:gd name="T33" fmla="*/ 39 h 55"/>
                  <a:gd name="T34" fmla="*/ 1 w 55"/>
                  <a:gd name="T35" fmla="*/ 33 h 55"/>
                  <a:gd name="T36" fmla="*/ 0 w 55"/>
                  <a:gd name="T37" fmla="*/ 28 h 55"/>
                  <a:gd name="T38" fmla="*/ 0 w 55"/>
                  <a:gd name="T39" fmla="*/ 28 h 55"/>
                  <a:gd name="T40" fmla="*/ 1 w 55"/>
                  <a:gd name="T41" fmla="*/ 22 h 55"/>
                  <a:gd name="T42" fmla="*/ 3 w 55"/>
                  <a:gd name="T43" fmla="*/ 17 h 55"/>
                  <a:gd name="T44" fmla="*/ 5 w 55"/>
                  <a:gd name="T45" fmla="*/ 12 h 55"/>
                  <a:gd name="T46" fmla="*/ 8 w 55"/>
                  <a:gd name="T47" fmla="*/ 8 h 55"/>
                  <a:gd name="T48" fmla="*/ 12 w 55"/>
                  <a:gd name="T49" fmla="*/ 5 h 55"/>
                  <a:gd name="T50" fmla="*/ 17 w 55"/>
                  <a:gd name="T51" fmla="*/ 2 h 55"/>
                  <a:gd name="T52" fmla="*/ 22 w 55"/>
                  <a:gd name="T53" fmla="*/ 1 h 55"/>
                  <a:gd name="T54" fmla="*/ 27 w 55"/>
                  <a:gd name="T55" fmla="*/ 0 h 55"/>
                  <a:gd name="T56" fmla="*/ 27 w 55"/>
                  <a:gd name="T57" fmla="*/ 0 h 55"/>
                  <a:gd name="T58" fmla="*/ 33 w 55"/>
                  <a:gd name="T59" fmla="*/ 1 h 55"/>
                  <a:gd name="T60" fmla="*/ 39 w 55"/>
                  <a:gd name="T61" fmla="*/ 2 h 55"/>
                  <a:gd name="T62" fmla="*/ 43 w 55"/>
                  <a:gd name="T63" fmla="*/ 5 h 55"/>
                  <a:gd name="T64" fmla="*/ 47 w 55"/>
                  <a:gd name="T65" fmla="*/ 8 h 55"/>
                  <a:gd name="T66" fmla="*/ 50 w 55"/>
                  <a:gd name="T67" fmla="*/ 12 h 55"/>
                  <a:gd name="T68" fmla="*/ 53 w 55"/>
                  <a:gd name="T69" fmla="*/ 17 h 55"/>
                  <a:gd name="T70" fmla="*/ 54 w 55"/>
                  <a:gd name="T71" fmla="*/ 22 h 55"/>
                  <a:gd name="T72" fmla="*/ 55 w 55"/>
                  <a:gd name="T73" fmla="*/ 28 h 55"/>
                  <a:gd name="T74" fmla="*/ 55 w 55"/>
                  <a:gd name="T75"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5">
                    <a:moveTo>
                      <a:pt x="55" y="28"/>
                    </a:moveTo>
                    <a:lnTo>
                      <a:pt x="55" y="28"/>
                    </a:lnTo>
                    <a:lnTo>
                      <a:pt x="54" y="33"/>
                    </a:lnTo>
                    <a:lnTo>
                      <a:pt x="53" y="39"/>
                    </a:lnTo>
                    <a:lnTo>
                      <a:pt x="50" y="43"/>
                    </a:lnTo>
                    <a:lnTo>
                      <a:pt x="47" y="47"/>
                    </a:lnTo>
                    <a:lnTo>
                      <a:pt x="43" y="50"/>
                    </a:lnTo>
                    <a:lnTo>
                      <a:pt x="39" y="53"/>
                    </a:lnTo>
                    <a:lnTo>
                      <a:pt x="33" y="54"/>
                    </a:lnTo>
                    <a:lnTo>
                      <a:pt x="27" y="55"/>
                    </a:lnTo>
                    <a:lnTo>
                      <a:pt x="27" y="55"/>
                    </a:lnTo>
                    <a:lnTo>
                      <a:pt x="22" y="54"/>
                    </a:lnTo>
                    <a:lnTo>
                      <a:pt x="17" y="53"/>
                    </a:lnTo>
                    <a:lnTo>
                      <a:pt x="12" y="50"/>
                    </a:lnTo>
                    <a:lnTo>
                      <a:pt x="8" y="47"/>
                    </a:lnTo>
                    <a:lnTo>
                      <a:pt x="5" y="43"/>
                    </a:lnTo>
                    <a:lnTo>
                      <a:pt x="3" y="39"/>
                    </a:lnTo>
                    <a:lnTo>
                      <a:pt x="1" y="33"/>
                    </a:lnTo>
                    <a:lnTo>
                      <a:pt x="0" y="28"/>
                    </a:lnTo>
                    <a:lnTo>
                      <a:pt x="0" y="28"/>
                    </a:lnTo>
                    <a:lnTo>
                      <a:pt x="1" y="22"/>
                    </a:lnTo>
                    <a:lnTo>
                      <a:pt x="3" y="17"/>
                    </a:lnTo>
                    <a:lnTo>
                      <a:pt x="5" y="12"/>
                    </a:lnTo>
                    <a:lnTo>
                      <a:pt x="8" y="8"/>
                    </a:lnTo>
                    <a:lnTo>
                      <a:pt x="12" y="5"/>
                    </a:lnTo>
                    <a:lnTo>
                      <a:pt x="17" y="2"/>
                    </a:lnTo>
                    <a:lnTo>
                      <a:pt x="22" y="1"/>
                    </a:lnTo>
                    <a:lnTo>
                      <a:pt x="27" y="0"/>
                    </a:lnTo>
                    <a:lnTo>
                      <a:pt x="27" y="0"/>
                    </a:lnTo>
                    <a:lnTo>
                      <a:pt x="33" y="1"/>
                    </a:lnTo>
                    <a:lnTo>
                      <a:pt x="39" y="2"/>
                    </a:lnTo>
                    <a:lnTo>
                      <a:pt x="43" y="5"/>
                    </a:lnTo>
                    <a:lnTo>
                      <a:pt x="47" y="8"/>
                    </a:lnTo>
                    <a:lnTo>
                      <a:pt x="50" y="12"/>
                    </a:lnTo>
                    <a:lnTo>
                      <a:pt x="53" y="17"/>
                    </a:lnTo>
                    <a:lnTo>
                      <a:pt x="54" y="22"/>
                    </a:lnTo>
                    <a:lnTo>
                      <a:pt x="55" y="28"/>
                    </a:lnTo>
                    <a:lnTo>
                      <a:pt x="55" y="28"/>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64" name="Freeform 35"/>
              <p:cNvSpPr>
                <a:spLocks/>
              </p:cNvSpPr>
              <p:nvPr userDrawn="1"/>
            </p:nvSpPr>
            <p:spPr bwMode="auto">
              <a:xfrm>
                <a:off x="-1259739" y="-240918"/>
                <a:ext cx="44450" cy="44450"/>
              </a:xfrm>
              <a:custGeom>
                <a:avLst/>
                <a:gdLst>
                  <a:gd name="T0" fmla="*/ 55 w 55"/>
                  <a:gd name="T1" fmla="*/ 27 h 55"/>
                  <a:gd name="T2" fmla="*/ 55 w 55"/>
                  <a:gd name="T3" fmla="*/ 27 h 55"/>
                  <a:gd name="T4" fmla="*/ 54 w 55"/>
                  <a:gd name="T5" fmla="*/ 33 h 55"/>
                  <a:gd name="T6" fmla="*/ 53 w 55"/>
                  <a:gd name="T7" fmla="*/ 38 h 55"/>
                  <a:gd name="T8" fmla="*/ 50 w 55"/>
                  <a:gd name="T9" fmla="*/ 43 h 55"/>
                  <a:gd name="T10" fmla="*/ 47 w 55"/>
                  <a:gd name="T11" fmla="*/ 47 h 55"/>
                  <a:gd name="T12" fmla="*/ 43 w 55"/>
                  <a:gd name="T13" fmla="*/ 50 h 55"/>
                  <a:gd name="T14" fmla="*/ 39 w 55"/>
                  <a:gd name="T15" fmla="*/ 53 h 55"/>
                  <a:gd name="T16" fmla="*/ 33 w 55"/>
                  <a:gd name="T17" fmla="*/ 54 h 55"/>
                  <a:gd name="T18" fmla="*/ 27 w 55"/>
                  <a:gd name="T19" fmla="*/ 55 h 55"/>
                  <a:gd name="T20" fmla="*/ 27 w 55"/>
                  <a:gd name="T21" fmla="*/ 55 h 55"/>
                  <a:gd name="T22" fmla="*/ 22 w 55"/>
                  <a:gd name="T23" fmla="*/ 54 h 55"/>
                  <a:gd name="T24" fmla="*/ 17 w 55"/>
                  <a:gd name="T25" fmla="*/ 53 h 55"/>
                  <a:gd name="T26" fmla="*/ 12 w 55"/>
                  <a:gd name="T27" fmla="*/ 50 h 55"/>
                  <a:gd name="T28" fmla="*/ 8 w 55"/>
                  <a:gd name="T29" fmla="*/ 47 h 55"/>
                  <a:gd name="T30" fmla="*/ 5 w 55"/>
                  <a:gd name="T31" fmla="*/ 43 h 55"/>
                  <a:gd name="T32" fmla="*/ 3 w 55"/>
                  <a:gd name="T33" fmla="*/ 38 h 55"/>
                  <a:gd name="T34" fmla="*/ 1 w 55"/>
                  <a:gd name="T35" fmla="*/ 33 h 55"/>
                  <a:gd name="T36" fmla="*/ 0 w 55"/>
                  <a:gd name="T37" fmla="*/ 27 h 55"/>
                  <a:gd name="T38" fmla="*/ 0 w 55"/>
                  <a:gd name="T39" fmla="*/ 27 h 55"/>
                  <a:gd name="T40" fmla="*/ 1 w 55"/>
                  <a:gd name="T41" fmla="*/ 22 h 55"/>
                  <a:gd name="T42" fmla="*/ 3 w 55"/>
                  <a:gd name="T43" fmla="*/ 17 h 55"/>
                  <a:gd name="T44" fmla="*/ 5 w 55"/>
                  <a:gd name="T45" fmla="*/ 12 h 55"/>
                  <a:gd name="T46" fmla="*/ 8 w 55"/>
                  <a:gd name="T47" fmla="*/ 8 h 55"/>
                  <a:gd name="T48" fmla="*/ 12 w 55"/>
                  <a:gd name="T49" fmla="*/ 5 h 55"/>
                  <a:gd name="T50" fmla="*/ 17 w 55"/>
                  <a:gd name="T51" fmla="*/ 2 h 55"/>
                  <a:gd name="T52" fmla="*/ 22 w 55"/>
                  <a:gd name="T53" fmla="*/ 1 h 55"/>
                  <a:gd name="T54" fmla="*/ 27 w 55"/>
                  <a:gd name="T55" fmla="*/ 0 h 55"/>
                  <a:gd name="T56" fmla="*/ 27 w 55"/>
                  <a:gd name="T57" fmla="*/ 0 h 55"/>
                  <a:gd name="T58" fmla="*/ 33 w 55"/>
                  <a:gd name="T59" fmla="*/ 1 h 55"/>
                  <a:gd name="T60" fmla="*/ 39 w 55"/>
                  <a:gd name="T61" fmla="*/ 2 h 55"/>
                  <a:gd name="T62" fmla="*/ 43 w 55"/>
                  <a:gd name="T63" fmla="*/ 5 h 55"/>
                  <a:gd name="T64" fmla="*/ 47 w 55"/>
                  <a:gd name="T65" fmla="*/ 8 h 55"/>
                  <a:gd name="T66" fmla="*/ 50 w 55"/>
                  <a:gd name="T67" fmla="*/ 12 h 55"/>
                  <a:gd name="T68" fmla="*/ 53 w 55"/>
                  <a:gd name="T69" fmla="*/ 17 h 55"/>
                  <a:gd name="T70" fmla="*/ 54 w 55"/>
                  <a:gd name="T71" fmla="*/ 22 h 55"/>
                  <a:gd name="T72" fmla="*/ 55 w 55"/>
                  <a:gd name="T73" fmla="*/ 27 h 55"/>
                  <a:gd name="T74" fmla="*/ 55 w 55"/>
                  <a:gd name="T75"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5">
                    <a:moveTo>
                      <a:pt x="55" y="27"/>
                    </a:moveTo>
                    <a:lnTo>
                      <a:pt x="55" y="27"/>
                    </a:lnTo>
                    <a:lnTo>
                      <a:pt x="54" y="33"/>
                    </a:lnTo>
                    <a:lnTo>
                      <a:pt x="53" y="38"/>
                    </a:lnTo>
                    <a:lnTo>
                      <a:pt x="50" y="43"/>
                    </a:lnTo>
                    <a:lnTo>
                      <a:pt x="47" y="47"/>
                    </a:lnTo>
                    <a:lnTo>
                      <a:pt x="43" y="50"/>
                    </a:lnTo>
                    <a:lnTo>
                      <a:pt x="39" y="53"/>
                    </a:lnTo>
                    <a:lnTo>
                      <a:pt x="33" y="54"/>
                    </a:lnTo>
                    <a:lnTo>
                      <a:pt x="27" y="55"/>
                    </a:lnTo>
                    <a:lnTo>
                      <a:pt x="27" y="55"/>
                    </a:lnTo>
                    <a:lnTo>
                      <a:pt x="22" y="54"/>
                    </a:lnTo>
                    <a:lnTo>
                      <a:pt x="17" y="53"/>
                    </a:lnTo>
                    <a:lnTo>
                      <a:pt x="12" y="50"/>
                    </a:lnTo>
                    <a:lnTo>
                      <a:pt x="8" y="47"/>
                    </a:lnTo>
                    <a:lnTo>
                      <a:pt x="5" y="43"/>
                    </a:lnTo>
                    <a:lnTo>
                      <a:pt x="3" y="38"/>
                    </a:lnTo>
                    <a:lnTo>
                      <a:pt x="1" y="33"/>
                    </a:lnTo>
                    <a:lnTo>
                      <a:pt x="0" y="27"/>
                    </a:lnTo>
                    <a:lnTo>
                      <a:pt x="0" y="27"/>
                    </a:lnTo>
                    <a:lnTo>
                      <a:pt x="1" y="22"/>
                    </a:lnTo>
                    <a:lnTo>
                      <a:pt x="3" y="17"/>
                    </a:lnTo>
                    <a:lnTo>
                      <a:pt x="5" y="12"/>
                    </a:lnTo>
                    <a:lnTo>
                      <a:pt x="8" y="8"/>
                    </a:lnTo>
                    <a:lnTo>
                      <a:pt x="12" y="5"/>
                    </a:lnTo>
                    <a:lnTo>
                      <a:pt x="17" y="2"/>
                    </a:lnTo>
                    <a:lnTo>
                      <a:pt x="22" y="1"/>
                    </a:lnTo>
                    <a:lnTo>
                      <a:pt x="27" y="0"/>
                    </a:lnTo>
                    <a:lnTo>
                      <a:pt x="27" y="0"/>
                    </a:lnTo>
                    <a:lnTo>
                      <a:pt x="33" y="1"/>
                    </a:lnTo>
                    <a:lnTo>
                      <a:pt x="39" y="2"/>
                    </a:lnTo>
                    <a:lnTo>
                      <a:pt x="43" y="5"/>
                    </a:lnTo>
                    <a:lnTo>
                      <a:pt x="47" y="8"/>
                    </a:lnTo>
                    <a:lnTo>
                      <a:pt x="50" y="12"/>
                    </a:lnTo>
                    <a:lnTo>
                      <a:pt x="53" y="17"/>
                    </a:lnTo>
                    <a:lnTo>
                      <a:pt x="54" y="22"/>
                    </a:lnTo>
                    <a:lnTo>
                      <a:pt x="55" y="27"/>
                    </a:lnTo>
                    <a:lnTo>
                      <a:pt x="55" y="27"/>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65" name="Freeform 36"/>
              <p:cNvSpPr>
                <a:spLocks/>
              </p:cNvSpPr>
              <p:nvPr userDrawn="1"/>
            </p:nvSpPr>
            <p:spPr bwMode="auto">
              <a:xfrm>
                <a:off x="-897789" y="-1110868"/>
                <a:ext cx="42863" cy="42863"/>
              </a:xfrm>
              <a:custGeom>
                <a:avLst/>
                <a:gdLst>
                  <a:gd name="T0" fmla="*/ 47 w 55"/>
                  <a:gd name="T1" fmla="*/ 46 h 55"/>
                  <a:gd name="T2" fmla="*/ 47 w 55"/>
                  <a:gd name="T3" fmla="*/ 46 h 55"/>
                  <a:gd name="T4" fmla="*/ 42 w 55"/>
                  <a:gd name="T5" fmla="*/ 51 h 55"/>
                  <a:gd name="T6" fmla="*/ 38 w 55"/>
                  <a:gd name="T7" fmla="*/ 53 h 55"/>
                  <a:gd name="T8" fmla="*/ 33 w 55"/>
                  <a:gd name="T9" fmla="*/ 55 h 55"/>
                  <a:gd name="T10" fmla="*/ 27 w 55"/>
                  <a:gd name="T11" fmla="*/ 55 h 55"/>
                  <a:gd name="T12" fmla="*/ 22 w 55"/>
                  <a:gd name="T13" fmla="*/ 55 h 55"/>
                  <a:gd name="T14" fmla="*/ 17 w 55"/>
                  <a:gd name="T15" fmla="*/ 53 h 55"/>
                  <a:gd name="T16" fmla="*/ 13 w 55"/>
                  <a:gd name="T17" fmla="*/ 51 h 55"/>
                  <a:gd name="T18" fmla="*/ 8 w 55"/>
                  <a:gd name="T19" fmla="*/ 46 h 55"/>
                  <a:gd name="T20" fmla="*/ 8 w 55"/>
                  <a:gd name="T21" fmla="*/ 46 h 55"/>
                  <a:gd name="T22" fmla="*/ 4 w 55"/>
                  <a:gd name="T23" fmla="*/ 42 h 55"/>
                  <a:gd name="T24" fmla="*/ 2 w 55"/>
                  <a:gd name="T25" fmla="*/ 37 h 55"/>
                  <a:gd name="T26" fmla="*/ 0 w 55"/>
                  <a:gd name="T27" fmla="*/ 32 h 55"/>
                  <a:gd name="T28" fmla="*/ 0 w 55"/>
                  <a:gd name="T29" fmla="*/ 27 h 55"/>
                  <a:gd name="T30" fmla="*/ 0 w 55"/>
                  <a:gd name="T31" fmla="*/ 22 h 55"/>
                  <a:gd name="T32" fmla="*/ 2 w 55"/>
                  <a:gd name="T33" fmla="*/ 17 h 55"/>
                  <a:gd name="T34" fmla="*/ 4 w 55"/>
                  <a:gd name="T35" fmla="*/ 12 h 55"/>
                  <a:gd name="T36" fmla="*/ 8 w 55"/>
                  <a:gd name="T37" fmla="*/ 7 h 55"/>
                  <a:gd name="T38" fmla="*/ 8 w 55"/>
                  <a:gd name="T39" fmla="*/ 7 h 55"/>
                  <a:gd name="T40" fmla="*/ 13 w 55"/>
                  <a:gd name="T41" fmla="*/ 4 h 55"/>
                  <a:gd name="T42" fmla="*/ 17 w 55"/>
                  <a:gd name="T43" fmla="*/ 1 h 55"/>
                  <a:gd name="T44" fmla="*/ 22 w 55"/>
                  <a:gd name="T45" fmla="*/ 0 h 55"/>
                  <a:gd name="T46" fmla="*/ 27 w 55"/>
                  <a:gd name="T47" fmla="*/ 0 h 55"/>
                  <a:gd name="T48" fmla="*/ 33 w 55"/>
                  <a:gd name="T49" fmla="*/ 0 h 55"/>
                  <a:gd name="T50" fmla="*/ 38 w 55"/>
                  <a:gd name="T51" fmla="*/ 1 h 55"/>
                  <a:gd name="T52" fmla="*/ 42 w 55"/>
                  <a:gd name="T53" fmla="*/ 4 h 55"/>
                  <a:gd name="T54" fmla="*/ 47 w 55"/>
                  <a:gd name="T55" fmla="*/ 7 h 55"/>
                  <a:gd name="T56" fmla="*/ 47 w 55"/>
                  <a:gd name="T57" fmla="*/ 7 h 55"/>
                  <a:gd name="T58" fmla="*/ 51 w 55"/>
                  <a:gd name="T59" fmla="*/ 12 h 55"/>
                  <a:gd name="T60" fmla="*/ 53 w 55"/>
                  <a:gd name="T61" fmla="*/ 17 h 55"/>
                  <a:gd name="T62" fmla="*/ 55 w 55"/>
                  <a:gd name="T63" fmla="*/ 22 h 55"/>
                  <a:gd name="T64" fmla="*/ 55 w 55"/>
                  <a:gd name="T65" fmla="*/ 27 h 55"/>
                  <a:gd name="T66" fmla="*/ 55 w 55"/>
                  <a:gd name="T67" fmla="*/ 32 h 55"/>
                  <a:gd name="T68" fmla="*/ 53 w 55"/>
                  <a:gd name="T69" fmla="*/ 37 h 55"/>
                  <a:gd name="T70" fmla="*/ 51 w 55"/>
                  <a:gd name="T71" fmla="*/ 42 h 55"/>
                  <a:gd name="T72" fmla="*/ 47 w 55"/>
                  <a:gd name="T73" fmla="*/ 46 h 55"/>
                  <a:gd name="T74" fmla="*/ 47 w 55"/>
                  <a:gd name="T75" fmla="*/ 4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5">
                    <a:moveTo>
                      <a:pt x="47" y="46"/>
                    </a:moveTo>
                    <a:lnTo>
                      <a:pt x="47" y="46"/>
                    </a:lnTo>
                    <a:lnTo>
                      <a:pt x="42" y="51"/>
                    </a:lnTo>
                    <a:lnTo>
                      <a:pt x="38" y="53"/>
                    </a:lnTo>
                    <a:lnTo>
                      <a:pt x="33" y="55"/>
                    </a:lnTo>
                    <a:lnTo>
                      <a:pt x="27" y="55"/>
                    </a:lnTo>
                    <a:lnTo>
                      <a:pt x="22" y="55"/>
                    </a:lnTo>
                    <a:lnTo>
                      <a:pt x="17" y="53"/>
                    </a:lnTo>
                    <a:lnTo>
                      <a:pt x="13" y="51"/>
                    </a:lnTo>
                    <a:lnTo>
                      <a:pt x="8" y="46"/>
                    </a:lnTo>
                    <a:lnTo>
                      <a:pt x="8" y="46"/>
                    </a:lnTo>
                    <a:lnTo>
                      <a:pt x="4" y="42"/>
                    </a:lnTo>
                    <a:lnTo>
                      <a:pt x="2" y="37"/>
                    </a:lnTo>
                    <a:lnTo>
                      <a:pt x="0" y="32"/>
                    </a:lnTo>
                    <a:lnTo>
                      <a:pt x="0" y="27"/>
                    </a:lnTo>
                    <a:lnTo>
                      <a:pt x="0" y="22"/>
                    </a:lnTo>
                    <a:lnTo>
                      <a:pt x="2" y="17"/>
                    </a:lnTo>
                    <a:lnTo>
                      <a:pt x="4" y="12"/>
                    </a:lnTo>
                    <a:lnTo>
                      <a:pt x="8" y="7"/>
                    </a:lnTo>
                    <a:lnTo>
                      <a:pt x="8" y="7"/>
                    </a:lnTo>
                    <a:lnTo>
                      <a:pt x="13" y="4"/>
                    </a:lnTo>
                    <a:lnTo>
                      <a:pt x="17" y="1"/>
                    </a:lnTo>
                    <a:lnTo>
                      <a:pt x="22" y="0"/>
                    </a:lnTo>
                    <a:lnTo>
                      <a:pt x="27" y="0"/>
                    </a:lnTo>
                    <a:lnTo>
                      <a:pt x="33" y="0"/>
                    </a:lnTo>
                    <a:lnTo>
                      <a:pt x="38" y="1"/>
                    </a:lnTo>
                    <a:lnTo>
                      <a:pt x="42" y="4"/>
                    </a:lnTo>
                    <a:lnTo>
                      <a:pt x="47" y="7"/>
                    </a:lnTo>
                    <a:lnTo>
                      <a:pt x="47" y="7"/>
                    </a:lnTo>
                    <a:lnTo>
                      <a:pt x="51" y="12"/>
                    </a:lnTo>
                    <a:lnTo>
                      <a:pt x="53" y="17"/>
                    </a:lnTo>
                    <a:lnTo>
                      <a:pt x="55" y="22"/>
                    </a:lnTo>
                    <a:lnTo>
                      <a:pt x="55" y="27"/>
                    </a:lnTo>
                    <a:lnTo>
                      <a:pt x="55" y="32"/>
                    </a:lnTo>
                    <a:lnTo>
                      <a:pt x="53" y="37"/>
                    </a:lnTo>
                    <a:lnTo>
                      <a:pt x="51" y="42"/>
                    </a:lnTo>
                    <a:lnTo>
                      <a:pt x="47" y="46"/>
                    </a:lnTo>
                    <a:lnTo>
                      <a:pt x="47" y="4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66" name="Freeform 37"/>
              <p:cNvSpPr>
                <a:spLocks/>
              </p:cNvSpPr>
              <p:nvPr userDrawn="1"/>
            </p:nvSpPr>
            <p:spPr bwMode="auto">
              <a:xfrm>
                <a:off x="-1621689" y="-390143"/>
                <a:ext cx="44450" cy="44450"/>
              </a:xfrm>
              <a:custGeom>
                <a:avLst/>
                <a:gdLst>
                  <a:gd name="T0" fmla="*/ 47 w 55"/>
                  <a:gd name="T1" fmla="*/ 48 h 56"/>
                  <a:gd name="T2" fmla="*/ 47 w 55"/>
                  <a:gd name="T3" fmla="*/ 48 h 56"/>
                  <a:gd name="T4" fmla="*/ 43 w 55"/>
                  <a:gd name="T5" fmla="*/ 51 h 56"/>
                  <a:gd name="T6" fmla="*/ 38 w 55"/>
                  <a:gd name="T7" fmla="*/ 54 h 56"/>
                  <a:gd name="T8" fmla="*/ 33 w 55"/>
                  <a:gd name="T9" fmla="*/ 55 h 56"/>
                  <a:gd name="T10" fmla="*/ 28 w 55"/>
                  <a:gd name="T11" fmla="*/ 56 h 56"/>
                  <a:gd name="T12" fmla="*/ 22 w 55"/>
                  <a:gd name="T13" fmla="*/ 55 h 56"/>
                  <a:gd name="T14" fmla="*/ 17 w 55"/>
                  <a:gd name="T15" fmla="*/ 54 h 56"/>
                  <a:gd name="T16" fmla="*/ 12 w 55"/>
                  <a:gd name="T17" fmla="*/ 51 h 56"/>
                  <a:gd name="T18" fmla="*/ 8 w 55"/>
                  <a:gd name="T19" fmla="*/ 48 h 56"/>
                  <a:gd name="T20" fmla="*/ 8 w 55"/>
                  <a:gd name="T21" fmla="*/ 48 h 56"/>
                  <a:gd name="T22" fmla="*/ 5 w 55"/>
                  <a:gd name="T23" fmla="*/ 44 h 56"/>
                  <a:gd name="T24" fmla="*/ 2 w 55"/>
                  <a:gd name="T25" fmla="*/ 38 h 56"/>
                  <a:gd name="T26" fmla="*/ 1 w 55"/>
                  <a:gd name="T27" fmla="*/ 33 h 56"/>
                  <a:gd name="T28" fmla="*/ 0 w 55"/>
                  <a:gd name="T29" fmla="*/ 28 h 56"/>
                  <a:gd name="T30" fmla="*/ 1 w 55"/>
                  <a:gd name="T31" fmla="*/ 23 h 56"/>
                  <a:gd name="T32" fmla="*/ 2 w 55"/>
                  <a:gd name="T33" fmla="*/ 18 h 56"/>
                  <a:gd name="T34" fmla="*/ 5 w 55"/>
                  <a:gd name="T35" fmla="*/ 13 h 56"/>
                  <a:gd name="T36" fmla="*/ 8 w 55"/>
                  <a:gd name="T37" fmla="*/ 9 h 56"/>
                  <a:gd name="T38" fmla="*/ 8 w 55"/>
                  <a:gd name="T39" fmla="*/ 9 h 56"/>
                  <a:gd name="T40" fmla="*/ 12 w 55"/>
                  <a:gd name="T41" fmla="*/ 6 h 56"/>
                  <a:gd name="T42" fmla="*/ 17 w 55"/>
                  <a:gd name="T43" fmla="*/ 2 h 56"/>
                  <a:gd name="T44" fmla="*/ 22 w 55"/>
                  <a:gd name="T45" fmla="*/ 1 h 56"/>
                  <a:gd name="T46" fmla="*/ 28 w 55"/>
                  <a:gd name="T47" fmla="*/ 0 h 56"/>
                  <a:gd name="T48" fmla="*/ 33 w 55"/>
                  <a:gd name="T49" fmla="*/ 1 h 56"/>
                  <a:gd name="T50" fmla="*/ 38 w 55"/>
                  <a:gd name="T51" fmla="*/ 2 h 56"/>
                  <a:gd name="T52" fmla="*/ 43 w 55"/>
                  <a:gd name="T53" fmla="*/ 6 h 56"/>
                  <a:gd name="T54" fmla="*/ 47 w 55"/>
                  <a:gd name="T55" fmla="*/ 9 h 56"/>
                  <a:gd name="T56" fmla="*/ 47 w 55"/>
                  <a:gd name="T57" fmla="*/ 9 h 56"/>
                  <a:gd name="T58" fmla="*/ 50 w 55"/>
                  <a:gd name="T59" fmla="*/ 13 h 56"/>
                  <a:gd name="T60" fmla="*/ 53 w 55"/>
                  <a:gd name="T61" fmla="*/ 18 h 56"/>
                  <a:gd name="T62" fmla="*/ 54 w 55"/>
                  <a:gd name="T63" fmla="*/ 23 h 56"/>
                  <a:gd name="T64" fmla="*/ 55 w 55"/>
                  <a:gd name="T65" fmla="*/ 28 h 56"/>
                  <a:gd name="T66" fmla="*/ 54 w 55"/>
                  <a:gd name="T67" fmla="*/ 33 h 56"/>
                  <a:gd name="T68" fmla="*/ 53 w 55"/>
                  <a:gd name="T69" fmla="*/ 38 h 56"/>
                  <a:gd name="T70" fmla="*/ 50 w 55"/>
                  <a:gd name="T71" fmla="*/ 44 h 56"/>
                  <a:gd name="T72" fmla="*/ 47 w 55"/>
                  <a:gd name="T73" fmla="*/ 48 h 56"/>
                  <a:gd name="T74" fmla="*/ 47 w 55"/>
                  <a:gd name="T75"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6">
                    <a:moveTo>
                      <a:pt x="47" y="48"/>
                    </a:moveTo>
                    <a:lnTo>
                      <a:pt x="47" y="48"/>
                    </a:lnTo>
                    <a:lnTo>
                      <a:pt x="43" y="51"/>
                    </a:lnTo>
                    <a:lnTo>
                      <a:pt x="38" y="54"/>
                    </a:lnTo>
                    <a:lnTo>
                      <a:pt x="33" y="55"/>
                    </a:lnTo>
                    <a:lnTo>
                      <a:pt x="28" y="56"/>
                    </a:lnTo>
                    <a:lnTo>
                      <a:pt x="22" y="55"/>
                    </a:lnTo>
                    <a:lnTo>
                      <a:pt x="17" y="54"/>
                    </a:lnTo>
                    <a:lnTo>
                      <a:pt x="12" y="51"/>
                    </a:lnTo>
                    <a:lnTo>
                      <a:pt x="8" y="48"/>
                    </a:lnTo>
                    <a:lnTo>
                      <a:pt x="8" y="48"/>
                    </a:lnTo>
                    <a:lnTo>
                      <a:pt x="5" y="44"/>
                    </a:lnTo>
                    <a:lnTo>
                      <a:pt x="2" y="38"/>
                    </a:lnTo>
                    <a:lnTo>
                      <a:pt x="1" y="33"/>
                    </a:lnTo>
                    <a:lnTo>
                      <a:pt x="0" y="28"/>
                    </a:lnTo>
                    <a:lnTo>
                      <a:pt x="1" y="23"/>
                    </a:lnTo>
                    <a:lnTo>
                      <a:pt x="2" y="18"/>
                    </a:lnTo>
                    <a:lnTo>
                      <a:pt x="5" y="13"/>
                    </a:lnTo>
                    <a:lnTo>
                      <a:pt x="8" y="9"/>
                    </a:lnTo>
                    <a:lnTo>
                      <a:pt x="8" y="9"/>
                    </a:lnTo>
                    <a:lnTo>
                      <a:pt x="12" y="6"/>
                    </a:lnTo>
                    <a:lnTo>
                      <a:pt x="17" y="2"/>
                    </a:lnTo>
                    <a:lnTo>
                      <a:pt x="22" y="1"/>
                    </a:lnTo>
                    <a:lnTo>
                      <a:pt x="28" y="0"/>
                    </a:lnTo>
                    <a:lnTo>
                      <a:pt x="33" y="1"/>
                    </a:lnTo>
                    <a:lnTo>
                      <a:pt x="38" y="2"/>
                    </a:lnTo>
                    <a:lnTo>
                      <a:pt x="43" y="6"/>
                    </a:lnTo>
                    <a:lnTo>
                      <a:pt x="47" y="9"/>
                    </a:lnTo>
                    <a:lnTo>
                      <a:pt x="47" y="9"/>
                    </a:lnTo>
                    <a:lnTo>
                      <a:pt x="50" y="13"/>
                    </a:lnTo>
                    <a:lnTo>
                      <a:pt x="53" y="18"/>
                    </a:lnTo>
                    <a:lnTo>
                      <a:pt x="54" y="23"/>
                    </a:lnTo>
                    <a:lnTo>
                      <a:pt x="55" y="28"/>
                    </a:lnTo>
                    <a:lnTo>
                      <a:pt x="54" y="33"/>
                    </a:lnTo>
                    <a:lnTo>
                      <a:pt x="53" y="38"/>
                    </a:lnTo>
                    <a:lnTo>
                      <a:pt x="50" y="44"/>
                    </a:lnTo>
                    <a:lnTo>
                      <a:pt x="47" y="48"/>
                    </a:lnTo>
                    <a:lnTo>
                      <a:pt x="47" y="48"/>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67" name="Freeform 38"/>
              <p:cNvSpPr>
                <a:spLocks/>
              </p:cNvSpPr>
              <p:nvPr userDrawn="1"/>
            </p:nvSpPr>
            <p:spPr bwMode="auto">
              <a:xfrm>
                <a:off x="-1621689" y="-1110868"/>
                <a:ext cx="44450" cy="42863"/>
              </a:xfrm>
              <a:custGeom>
                <a:avLst/>
                <a:gdLst>
                  <a:gd name="T0" fmla="*/ 8 w 55"/>
                  <a:gd name="T1" fmla="*/ 46 h 55"/>
                  <a:gd name="T2" fmla="*/ 8 w 55"/>
                  <a:gd name="T3" fmla="*/ 46 h 55"/>
                  <a:gd name="T4" fmla="*/ 12 w 55"/>
                  <a:gd name="T5" fmla="*/ 51 h 55"/>
                  <a:gd name="T6" fmla="*/ 17 w 55"/>
                  <a:gd name="T7" fmla="*/ 53 h 55"/>
                  <a:gd name="T8" fmla="*/ 22 w 55"/>
                  <a:gd name="T9" fmla="*/ 55 h 55"/>
                  <a:gd name="T10" fmla="*/ 28 w 55"/>
                  <a:gd name="T11" fmla="*/ 55 h 55"/>
                  <a:gd name="T12" fmla="*/ 33 w 55"/>
                  <a:gd name="T13" fmla="*/ 55 h 55"/>
                  <a:gd name="T14" fmla="*/ 38 w 55"/>
                  <a:gd name="T15" fmla="*/ 53 h 55"/>
                  <a:gd name="T16" fmla="*/ 43 w 55"/>
                  <a:gd name="T17" fmla="*/ 51 h 55"/>
                  <a:gd name="T18" fmla="*/ 47 w 55"/>
                  <a:gd name="T19" fmla="*/ 46 h 55"/>
                  <a:gd name="T20" fmla="*/ 47 w 55"/>
                  <a:gd name="T21" fmla="*/ 46 h 55"/>
                  <a:gd name="T22" fmla="*/ 50 w 55"/>
                  <a:gd name="T23" fmla="*/ 42 h 55"/>
                  <a:gd name="T24" fmla="*/ 53 w 55"/>
                  <a:gd name="T25" fmla="*/ 37 h 55"/>
                  <a:gd name="T26" fmla="*/ 54 w 55"/>
                  <a:gd name="T27" fmla="*/ 32 h 55"/>
                  <a:gd name="T28" fmla="*/ 55 w 55"/>
                  <a:gd name="T29" fmla="*/ 27 h 55"/>
                  <a:gd name="T30" fmla="*/ 54 w 55"/>
                  <a:gd name="T31" fmla="*/ 22 h 55"/>
                  <a:gd name="T32" fmla="*/ 53 w 55"/>
                  <a:gd name="T33" fmla="*/ 17 h 55"/>
                  <a:gd name="T34" fmla="*/ 50 w 55"/>
                  <a:gd name="T35" fmla="*/ 12 h 55"/>
                  <a:gd name="T36" fmla="*/ 47 w 55"/>
                  <a:gd name="T37" fmla="*/ 7 h 55"/>
                  <a:gd name="T38" fmla="*/ 47 w 55"/>
                  <a:gd name="T39" fmla="*/ 7 h 55"/>
                  <a:gd name="T40" fmla="*/ 43 w 55"/>
                  <a:gd name="T41" fmla="*/ 4 h 55"/>
                  <a:gd name="T42" fmla="*/ 38 w 55"/>
                  <a:gd name="T43" fmla="*/ 1 h 55"/>
                  <a:gd name="T44" fmla="*/ 33 w 55"/>
                  <a:gd name="T45" fmla="*/ 0 h 55"/>
                  <a:gd name="T46" fmla="*/ 28 w 55"/>
                  <a:gd name="T47" fmla="*/ 0 h 55"/>
                  <a:gd name="T48" fmla="*/ 22 w 55"/>
                  <a:gd name="T49" fmla="*/ 0 h 55"/>
                  <a:gd name="T50" fmla="*/ 17 w 55"/>
                  <a:gd name="T51" fmla="*/ 1 h 55"/>
                  <a:gd name="T52" fmla="*/ 12 w 55"/>
                  <a:gd name="T53" fmla="*/ 4 h 55"/>
                  <a:gd name="T54" fmla="*/ 8 w 55"/>
                  <a:gd name="T55" fmla="*/ 7 h 55"/>
                  <a:gd name="T56" fmla="*/ 8 w 55"/>
                  <a:gd name="T57" fmla="*/ 7 h 55"/>
                  <a:gd name="T58" fmla="*/ 5 w 55"/>
                  <a:gd name="T59" fmla="*/ 12 h 55"/>
                  <a:gd name="T60" fmla="*/ 2 w 55"/>
                  <a:gd name="T61" fmla="*/ 17 h 55"/>
                  <a:gd name="T62" fmla="*/ 1 w 55"/>
                  <a:gd name="T63" fmla="*/ 22 h 55"/>
                  <a:gd name="T64" fmla="*/ 0 w 55"/>
                  <a:gd name="T65" fmla="*/ 27 h 55"/>
                  <a:gd name="T66" fmla="*/ 1 w 55"/>
                  <a:gd name="T67" fmla="*/ 32 h 55"/>
                  <a:gd name="T68" fmla="*/ 2 w 55"/>
                  <a:gd name="T69" fmla="*/ 37 h 55"/>
                  <a:gd name="T70" fmla="*/ 5 w 55"/>
                  <a:gd name="T71" fmla="*/ 42 h 55"/>
                  <a:gd name="T72" fmla="*/ 8 w 55"/>
                  <a:gd name="T73" fmla="*/ 46 h 55"/>
                  <a:gd name="T74" fmla="*/ 8 w 55"/>
                  <a:gd name="T75" fmla="*/ 4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5">
                    <a:moveTo>
                      <a:pt x="8" y="46"/>
                    </a:moveTo>
                    <a:lnTo>
                      <a:pt x="8" y="46"/>
                    </a:lnTo>
                    <a:lnTo>
                      <a:pt x="12" y="51"/>
                    </a:lnTo>
                    <a:lnTo>
                      <a:pt x="17" y="53"/>
                    </a:lnTo>
                    <a:lnTo>
                      <a:pt x="22" y="55"/>
                    </a:lnTo>
                    <a:lnTo>
                      <a:pt x="28" y="55"/>
                    </a:lnTo>
                    <a:lnTo>
                      <a:pt x="33" y="55"/>
                    </a:lnTo>
                    <a:lnTo>
                      <a:pt x="38" y="53"/>
                    </a:lnTo>
                    <a:lnTo>
                      <a:pt x="43" y="51"/>
                    </a:lnTo>
                    <a:lnTo>
                      <a:pt x="47" y="46"/>
                    </a:lnTo>
                    <a:lnTo>
                      <a:pt x="47" y="46"/>
                    </a:lnTo>
                    <a:lnTo>
                      <a:pt x="50" y="42"/>
                    </a:lnTo>
                    <a:lnTo>
                      <a:pt x="53" y="37"/>
                    </a:lnTo>
                    <a:lnTo>
                      <a:pt x="54" y="32"/>
                    </a:lnTo>
                    <a:lnTo>
                      <a:pt x="55" y="27"/>
                    </a:lnTo>
                    <a:lnTo>
                      <a:pt x="54" y="22"/>
                    </a:lnTo>
                    <a:lnTo>
                      <a:pt x="53" y="17"/>
                    </a:lnTo>
                    <a:lnTo>
                      <a:pt x="50" y="12"/>
                    </a:lnTo>
                    <a:lnTo>
                      <a:pt x="47" y="7"/>
                    </a:lnTo>
                    <a:lnTo>
                      <a:pt x="47" y="7"/>
                    </a:lnTo>
                    <a:lnTo>
                      <a:pt x="43" y="4"/>
                    </a:lnTo>
                    <a:lnTo>
                      <a:pt x="38" y="1"/>
                    </a:lnTo>
                    <a:lnTo>
                      <a:pt x="33" y="0"/>
                    </a:lnTo>
                    <a:lnTo>
                      <a:pt x="28" y="0"/>
                    </a:lnTo>
                    <a:lnTo>
                      <a:pt x="22" y="0"/>
                    </a:lnTo>
                    <a:lnTo>
                      <a:pt x="17" y="1"/>
                    </a:lnTo>
                    <a:lnTo>
                      <a:pt x="12" y="4"/>
                    </a:lnTo>
                    <a:lnTo>
                      <a:pt x="8" y="7"/>
                    </a:lnTo>
                    <a:lnTo>
                      <a:pt x="8" y="7"/>
                    </a:lnTo>
                    <a:lnTo>
                      <a:pt x="5" y="12"/>
                    </a:lnTo>
                    <a:lnTo>
                      <a:pt x="2" y="17"/>
                    </a:lnTo>
                    <a:lnTo>
                      <a:pt x="1" y="22"/>
                    </a:lnTo>
                    <a:lnTo>
                      <a:pt x="0" y="27"/>
                    </a:lnTo>
                    <a:lnTo>
                      <a:pt x="1" y="32"/>
                    </a:lnTo>
                    <a:lnTo>
                      <a:pt x="2" y="37"/>
                    </a:lnTo>
                    <a:lnTo>
                      <a:pt x="5" y="42"/>
                    </a:lnTo>
                    <a:lnTo>
                      <a:pt x="8" y="46"/>
                    </a:lnTo>
                    <a:lnTo>
                      <a:pt x="8" y="4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68" name="Freeform 39"/>
              <p:cNvSpPr>
                <a:spLocks/>
              </p:cNvSpPr>
              <p:nvPr userDrawn="1"/>
            </p:nvSpPr>
            <p:spPr bwMode="auto">
              <a:xfrm>
                <a:off x="-897789" y="-390143"/>
                <a:ext cx="42863" cy="44450"/>
              </a:xfrm>
              <a:custGeom>
                <a:avLst/>
                <a:gdLst>
                  <a:gd name="T0" fmla="*/ 8 w 55"/>
                  <a:gd name="T1" fmla="*/ 48 h 56"/>
                  <a:gd name="T2" fmla="*/ 8 w 55"/>
                  <a:gd name="T3" fmla="*/ 48 h 56"/>
                  <a:gd name="T4" fmla="*/ 13 w 55"/>
                  <a:gd name="T5" fmla="*/ 51 h 56"/>
                  <a:gd name="T6" fmla="*/ 17 w 55"/>
                  <a:gd name="T7" fmla="*/ 54 h 56"/>
                  <a:gd name="T8" fmla="*/ 22 w 55"/>
                  <a:gd name="T9" fmla="*/ 55 h 56"/>
                  <a:gd name="T10" fmla="*/ 27 w 55"/>
                  <a:gd name="T11" fmla="*/ 56 h 56"/>
                  <a:gd name="T12" fmla="*/ 33 w 55"/>
                  <a:gd name="T13" fmla="*/ 55 h 56"/>
                  <a:gd name="T14" fmla="*/ 38 w 55"/>
                  <a:gd name="T15" fmla="*/ 54 h 56"/>
                  <a:gd name="T16" fmla="*/ 42 w 55"/>
                  <a:gd name="T17" fmla="*/ 51 h 56"/>
                  <a:gd name="T18" fmla="*/ 47 w 55"/>
                  <a:gd name="T19" fmla="*/ 48 h 56"/>
                  <a:gd name="T20" fmla="*/ 47 w 55"/>
                  <a:gd name="T21" fmla="*/ 48 h 56"/>
                  <a:gd name="T22" fmla="*/ 51 w 55"/>
                  <a:gd name="T23" fmla="*/ 44 h 56"/>
                  <a:gd name="T24" fmla="*/ 53 w 55"/>
                  <a:gd name="T25" fmla="*/ 38 h 56"/>
                  <a:gd name="T26" fmla="*/ 55 w 55"/>
                  <a:gd name="T27" fmla="*/ 33 h 56"/>
                  <a:gd name="T28" fmla="*/ 55 w 55"/>
                  <a:gd name="T29" fmla="*/ 28 h 56"/>
                  <a:gd name="T30" fmla="*/ 55 w 55"/>
                  <a:gd name="T31" fmla="*/ 23 h 56"/>
                  <a:gd name="T32" fmla="*/ 53 w 55"/>
                  <a:gd name="T33" fmla="*/ 18 h 56"/>
                  <a:gd name="T34" fmla="*/ 51 w 55"/>
                  <a:gd name="T35" fmla="*/ 13 h 56"/>
                  <a:gd name="T36" fmla="*/ 47 w 55"/>
                  <a:gd name="T37" fmla="*/ 9 h 56"/>
                  <a:gd name="T38" fmla="*/ 47 w 55"/>
                  <a:gd name="T39" fmla="*/ 9 h 56"/>
                  <a:gd name="T40" fmla="*/ 42 w 55"/>
                  <a:gd name="T41" fmla="*/ 6 h 56"/>
                  <a:gd name="T42" fmla="*/ 38 w 55"/>
                  <a:gd name="T43" fmla="*/ 2 h 56"/>
                  <a:gd name="T44" fmla="*/ 33 w 55"/>
                  <a:gd name="T45" fmla="*/ 1 h 56"/>
                  <a:gd name="T46" fmla="*/ 27 w 55"/>
                  <a:gd name="T47" fmla="*/ 0 h 56"/>
                  <a:gd name="T48" fmla="*/ 22 w 55"/>
                  <a:gd name="T49" fmla="*/ 1 h 56"/>
                  <a:gd name="T50" fmla="*/ 17 w 55"/>
                  <a:gd name="T51" fmla="*/ 2 h 56"/>
                  <a:gd name="T52" fmla="*/ 13 w 55"/>
                  <a:gd name="T53" fmla="*/ 6 h 56"/>
                  <a:gd name="T54" fmla="*/ 8 w 55"/>
                  <a:gd name="T55" fmla="*/ 9 h 56"/>
                  <a:gd name="T56" fmla="*/ 8 w 55"/>
                  <a:gd name="T57" fmla="*/ 9 h 56"/>
                  <a:gd name="T58" fmla="*/ 4 w 55"/>
                  <a:gd name="T59" fmla="*/ 13 h 56"/>
                  <a:gd name="T60" fmla="*/ 2 w 55"/>
                  <a:gd name="T61" fmla="*/ 18 h 56"/>
                  <a:gd name="T62" fmla="*/ 0 w 55"/>
                  <a:gd name="T63" fmla="*/ 23 h 56"/>
                  <a:gd name="T64" fmla="*/ 0 w 55"/>
                  <a:gd name="T65" fmla="*/ 28 h 56"/>
                  <a:gd name="T66" fmla="*/ 0 w 55"/>
                  <a:gd name="T67" fmla="*/ 33 h 56"/>
                  <a:gd name="T68" fmla="*/ 2 w 55"/>
                  <a:gd name="T69" fmla="*/ 38 h 56"/>
                  <a:gd name="T70" fmla="*/ 4 w 55"/>
                  <a:gd name="T71" fmla="*/ 44 h 56"/>
                  <a:gd name="T72" fmla="*/ 8 w 55"/>
                  <a:gd name="T73" fmla="*/ 48 h 56"/>
                  <a:gd name="T74" fmla="*/ 8 w 55"/>
                  <a:gd name="T75"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6">
                    <a:moveTo>
                      <a:pt x="8" y="48"/>
                    </a:moveTo>
                    <a:lnTo>
                      <a:pt x="8" y="48"/>
                    </a:lnTo>
                    <a:lnTo>
                      <a:pt x="13" y="51"/>
                    </a:lnTo>
                    <a:lnTo>
                      <a:pt x="17" y="54"/>
                    </a:lnTo>
                    <a:lnTo>
                      <a:pt x="22" y="55"/>
                    </a:lnTo>
                    <a:lnTo>
                      <a:pt x="27" y="56"/>
                    </a:lnTo>
                    <a:lnTo>
                      <a:pt x="33" y="55"/>
                    </a:lnTo>
                    <a:lnTo>
                      <a:pt x="38" y="54"/>
                    </a:lnTo>
                    <a:lnTo>
                      <a:pt x="42" y="51"/>
                    </a:lnTo>
                    <a:lnTo>
                      <a:pt x="47" y="48"/>
                    </a:lnTo>
                    <a:lnTo>
                      <a:pt x="47" y="48"/>
                    </a:lnTo>
                    <a:lnTo>
                      <a:pt x="51" y="44"/>
                    </a:lnTo>
                    <a:lnTo>
                      <a:pt x="53" y="38"/>
                    </a:lnTo>
                    <a:lnTo>
                      <a:pt x="55" y="33"/>
                    </a:lnTo>
                    <a:lnTo>
                      <a:pt x="55" y="28"/>
                    </a:lnTo>
                    <a:lnTo>
                      <a:pt x="55" y="23"/>
                    </a:lnTo>
                    <a:lnTo>
                      <a:pt x="53" y="18"/>
                    </a:lnTo>
                    <a:lnTo>
                      <a:pt x="51" y="13"/>
                    </a:lnTo>
                    <a:lnTo>
                      <a:pt x="47" y="9"/>
                    </a:lnTo>
                    <a:lnTo>
                      <a:pt x="47" y="9"/>
                    </a:lnTo>
                    <a:lnTo>
                      <a:pt x="42" y="6"/>
                    </a:lnTo>
                    <a:lnTo>
                      <a:pt x="38" y="2"/>
                    </a:lnTo>
                    <a:lnTo>
                      <a:pt x="33" y="1"/>
                    </a:lnTo>
                    <a:lnTo>
                      <a:pt x="27" y="0"/>
                    </a:lnTo>
                    <a:lnTo>
                      <a:pt x="22" y="1"/>
                    </a:lnTo>
                    <a:lnTo>
                      <a:pt x="17" y="2"/>
                    </a:lnTo>
                    <a:lnTo>
                      <a:pt x="13" y="6"/>
                    </a:lnTo>
                    <a:lnTo>
                      <a:pt x="8" y="9"/>
                    </a:lnTo>
                    <a:lnTo>
                      <a:pt x="8" y="9"/>
                    </a:lnTo>
                    <a:lnTo>
                      <a:pt x="4" y="13"/>
                    </a:lnTo>
                    <a:lnTo>
                      <a:pt x="2" y="18"/>
                    </a:lnTo>
                    <a:lnTo>
                      <a:pt x="0" y="23"/>
                    </a:lnTo>
                    <a:lnTo>
                      <a:pt x="0" y="28"/>
                    </a:lnTo>
                    <a:lnTo>
                      <a:pt x="0" y="33"/>
                    </a:lnTo>
                    <a:lnTo>
                      <a:pt x="2" y="38"/>
                    </a:lnTo>
                    <a:lnTo>
                      <a:pt x="4" y="44"/>
                    </a:lnTo>
                    <a:lnTo>
                      <a:pt x="8" y="48"/>
                    </a:lnTo>
                    <a:lnTo>
                      <a:pt x="8" y="48"/>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69" name="Freeform 40"/>
              <p:cNvSpPr>
                <a:spLocks/>
              </p:cNvSpPr>
              <p:nvPr userDrawn="1"/>
            </p:nvSpPr>
            <p:spPr bwMode="auto">
              <a:xfrm>
                <a:off x="-748564" y="-750505"/>
                <a:ext cx="42863" cy="42863"/>
              </a:xfrm>
              <a:custGeom>
                <a:avLst/>
                <a:gdLst>
                  <a:gd name="T0" fmla="*/ 28 w 55"/>
                  <a:gd name="T1" fmla="*/ 54 h 54"/>
                  <a:gd name="T2" fmla="*/ 28 w 55"/>
                  <a:gd name="T3" fmla="*/ 54 h 54"/>
                  <a:gd name="T4" fmla="*/ 22 w 55"/>
                  <a:gd name="T5" fmla="*/ 54 h 54"/>
                  <a:gd name="T6" fmla="*/ 17 w 55"/>
                  <a:gd name="T7" fmla="*/ 52 h 54"/>
                  <a:gd name="T8" fmla="*/ 13 w 55"/>
                  <a:gd name="T9" fmla="*/ 50 h 54"/>
                  <a:gd name="T10" fmla="*/ 9 w 55"/>
                  <a:gd name="T11" fmla="*/ 47 h 54"/>
                  <a:gd name="T12" fmla="*/ 5 w 55"/>
                  <a:gd name="T13" fmla="*/ 43 h 54"/>
                  <a:gd name="T14" fmla="*/ 3 w 55"/>
                  <a:gd name="T15" fmla="*/ 38 h 54"/>
                  <a:gd name="T16" fmla="*/ 0 w 55"/>
                  <a:gd name="T17" fmla="*/ 33 h 54"/>
                  <a:gd name="T18" fmla="*/ 0 w 55"/>
                  <a:gd name="T19" fmla="*/ 28 h 54"/>
                  <a:gd name="T20" fmla="*/ 0 w 55"/>
                  <a:gd name="T21" fmla="*/ 28 h 54"/>
                  <a:gd name="T22" fmla="*/ 0 w 55"/>
                  <a:gd name="T23" fmla="*/ 21 h 54"/>
                  <a:gd name="T24" fmla="*/ 3 w 55"/>
                  <a:gd name="T25" fmla="*/ 16 h 54"/>
                  <a:gd name="T26" fmla="*/ 5 w 55"/>
                  <a:gd name="T27" fmla="*/ 12 h 54"/>
                  <a:gd name="T28" fmla="*/ 9 w 55"/>
                  <a:gd name="T29" fmla="*/ 8 h 54"/>
                  <a:gd name="T30" fmla="*/ 13 w 55"/>
                  <a:gd name="T31" fmla="*/ 4 h 54"/>
                  <a:gd name="T32" fmla="*/ 17 w 55"/>
                  <a:gd name="T33" fmla="*/ 2 h 54"/>
                  <a:gd name="T34" fmla="*/ 22 w 55"/>
                  <a:gd name="T35" fmla="*/ 0 h 54"/>
                  <a:gd name="T36" fmla="*/ 28 w 55"/>
                  <a:gd name="T37" fmla="*/ 0 h 54"/>
                  <a:gd name="T38" fmla="*/ 28 w 55"/>
                  <a:gd name="T39" fmla="*/ 0 h 54"/>
                  <a:gd name="T40" fmla="*/ 33 w 55"/>
                  <a:gd name="T41" fmla="*/ 0 h 54"/>
                  <a:gd name="T42" fmla="*/ 39 w 55"/>
                  <a:gd name="T43" fmla="*/ 2 h 54"/>
                  <a:gd name="T44" fmla="*/ 44 w 55"/>
                  <a:gd name="T45" fmla="*/ 4 h 54"/>
                  <a:gd name="T46" fmla="*/ 48 w 55"/>
                  <a:gd name="T47" fmla="*/ 8 h 54"/>
                  <a:gd name="T48" fmla="*/ 51 w 55"/>
                  <a:gd name="T49" fmla="*/ 12 h 54"/>
                  <a:gd name="T50" fmla="*/ 53 w 55"/>
                  <a:gd name="T51" fmla="*/ 16 h 54"/>
                  <a:gd name="T52" fmla="*/ 55 w 55"/>
                  <a:gd name="T53" fmla="*/ 21 h 54"/>
                  <a:gd name="T54" fmla="*/ 55 w 55"/>
                  <a:gd name="T55" fmla="*/ 28 h 54"/>
                  <a:gd name="T56" fmla="*/ 55 w 55"/>
                  <a:gd name="T57" fmla="*/ 28 h 54"/>
                  <a:gd name="T58" fmla="*/ 55 w 55"/>
                  <a:gd name="T59" fmla="*/ 33 h 54"/>
                  <a:gd name="T60" fmla="*/ 53 w 55"/>
                  <a:gd name="T61" fmla="*/ 38 h 54"/>
                  <a:gd name="T62" fmla="*/ 51 w 55"/>
                  <a:gd name="T63" fmla="*/ 43 h 54"/>
                  <a:gd name="T64" fmla="*/ 48 w 55"/>
                  <a:gd name="T65" fmla="*/ 47 h 54"/>
                  <a:gd name="T66" fmla="*/ 44 w 55"/>
                  <a:gd name="T67" fmla="*/ 50 h 54"/>
                  <a:gd name="T68" fmla="*/ 39 w 55"/>
                  <a:gd name="T69" fmla="*/ 52 h 54"/>
                  <a:gd name="T70" fmla="*/ 33 w 55"/>
                  <a:gd name="T71" fmla="*/ 54 h 54"/>
                  <a:gd name="T72" fmla="*/ 28 w 55"/>
                  <a:gd name="T73" fmla="*/ 54 h 54"/>
                  <a:gd name="T74" fmla="*/ 28 w 55"/>
                  <a:gd name="T7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4">
                    <a:moveTo>
                      <a:pt x="28" y="54"/>
                    </a:moveTo>
                    <a:lnTo>
                      <a:pt x="28" y="54"/>
                    </a:lnTo>
                    <a:lnTo>
                      <a:pt x="22" y="54"/>
                    </a:lnTo>
                    <a:lnTo>
                      <a:pt x="17" y="52"/>
                    </a:lnTo>
                    <a:lnTo>
                      <a:pt x="13" y="50"/>
                    </a:lnTo>
                    <a:lnTo>
                      <a:pt x="9" y="47"/>
                    </a:lnTo>
                    <a:lnTo>
                      <a:pt x="5" y="43"/>
                    </a:lnTo>
                    <a:lnTo>
                      <a:pt x="3" y="38"/>
                    </a:lnTo>
                    <a:lnTo>
                      <a:pt x="0" y="33"/>
                    </a:lnTo>
                    <a:lnTo>
                      <a:pt x="0" y="28"/>
                    </a:lnTo>
                    <a:lnTo>
                      <a:pt x="0" y="28"/>
                    </a:lnTo>
                    <a:lnTo>
                      <a:pt x="0" y="21"/>
                    </a:lnTo>
                    <a:lnTo>
                      <a:pt x="3" y="16"/>
                    </a:lnTo>
                    <a:lnTo>
                      <a:pt x="5" y="12"/>
                    </a:lnTo>
                    <a:lnTo>
                      <a:pt x="9" y="8"/>
                    </a:lnTo>
                    <a:lnTo>
                      <a:pt x="13" y="4"/>
                    </a:lnTo>
                    <a:lnTo>
                      <a:pt x="17" y="2"/>
                    </a:lnTo>
                    <a:lnTo>
                      <a:pt x="22" y="0"/>
                    </a:lnTo>
                    <a:lnTo>
                      <a:pt x="28" y="0"/>
                    </a:lnTo>
                    <a:lnTo>
                      <a:pt x="28" y="0"/>
                    </a:lnTo>
                    <a:lnTo>
                      <a:pt x="33" y="0"/>
                    </a:lnTo>
                    <a:lnTo>
                      <a:pt x="39" y="2"/>
                    </a:lnTo>
                    <a:lnTo>
                      <a:pt x="44" y="4"/>
                    </a:lnTo>
                    <a:lnTo>
                      <a:pt x="48" y="8"/>
                    </a:lnTo>
                    <a:lnTo>
                      <a:pt x="51" y="12"/>
                    </a:lnTo>
                    <a:lnTo>
                      <a:pt x="53" y="16"/>
                    </a:lnTo>
                    <a:lnTo>
                      <a:pt x="55" y="21"/>
                    </a:lnTo>
                    <a:lnTo>
                      <a:pt x="55" y="28"/>
                    </a:lnTo>
                    <a:lnTo>
                      <a:pt x="55" y="28"/>
                    </a:lnTo>
                    <a:lnTo>
                      <a:pt x="55" y="33"/>
                    </a:lnTo>
                    <a:lnTo>
                      <a:pt x="53" y="38"/>
                    </a:lnTo>
                    <a:lnTo>
                      <a:pt x="51" y="43"/>
                    </a:lnTo>
                    <a:lnTo>
                      <a:pt x="48" y="47"/>
                    </a:lnTo>
                    <a:lnTo>
                      <a:pt x="44" y="50"/>
                    </a:lnTo>
                    <a:lnTo>
                      <a:pt x="39" y="52"/>
                    </a:lnTo>
                    <a:lnTo>
                      <a:pt x="33" y="54"/>
                    </a:lnTo>
                    <a:lnTo>
                      <a:pt x="28" y="54"/>
                    </a:lnTo>
                    <a:lnTo>
                      <a:pt x="28" y="54"/>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70" name="Freeform 41"/>
              <p:cNvSpPr>
                <a:spLocks/>
              </p:cNvSpPr>
              <p:nvPr userDrawn="1"/>
            </p:nvSpPr>
            <p:spPr bwMode="auto">
              <a:xfrm>
                <a:off x="-1770914" y="-750505"/>
                <a:ext cx="44450" cy="42863"/>
              </a:xfrm>
              <a:custGeom>
                <a:avLst/>
                <a:gdLst>
                  <a:gd name="T0" fmla="*/ 27 w 54"/>
                  <a:gd name="T1" fmla="*/ 54 h 54"/>
                  <a:gd name="T2" fmla="*/ 27 w 54"/>
                  <a:gd name="T3" fmla="*/ 54 h 54"/>
                  <a:gd name="T4" fmla="*/ 21 w 54"/>
                  <a:gd name="T5" fmla="*/ 54 h 54"/>
                  <a:gd name="T6" fmla="*/ 16 w 54"/>
                  <a:gd name="T7" fmla="*/ 52 h 54"/>
                  <a:gd name="T8" fmla="*/ 12 w 54"/>
                  <a:gd name="T9" fmla="*/ 50 h 54"/>
                  <a:gd name="T10" fmla="*/ 8 w 54"/>
                  <a:gd name="T11" fmla="*/ 47 h 54"/>
                  <a:gd name="T12" fmla="*/ 5 w 54"/>
                  <a:gd name="T13" fmla="*/ 43 h 54"/>
                  <a:gd name="T14" fmla="*/ 2 w 54"/>
                  <a:gd name="T15" fmla="*/ 38 h 54"/>
                  <a:gd name="T16" fmla="*/ 0 w 54"/>
                  <a:gd name="T17" fmla="*/ 33 h 54"/>
                  <a:gd name="T18" fmla="*/ 0 w 54"/>
                  <a:gd name="T19" fmla="*/ 28 h 54"/>
                  <a:gd name="T20" fmla="*/ 0 w 54"/>
                  <a:gd name="T21" fmla="*/ 28 h 54"/>
                  <a:gd name="T22" fmla="*/ 0 w 54"/>
                  <a:gd name="T23" fmla="*/ 21 h 54"/>
                  <a:gd name="T24" fmla="*/ 2 w 54"/>
                  <a:gd name="T25" fmla="*/ 16 h 54"/>
                  <a:gd name="T26" fmla="*/ 5 w 54"/>
                  <a:gd name="T27" fmla="*/ 12 h 54"/>
                  <a:gd name="T28" fmla="*/ 8 w 54"/>
                  <a:gd name="T29" fmla="*/ 8 h 54"/>
                  <a:gd name="T30" fmla="*/ 12 w 54"/>
                  <a:gd name="T31" fmla="*/ 4 h 54"/>
                  <a:gd name="T32" fmla="*/ 16 w 54"/>
                  <a:gd name="T33" fmla="*/ 2 h 54"/>
                  <a:gd name="T34" fmla="*/ 21 w 54"/>
                  <a:gd name="T35" fmla="*/ 0 h 54"/>
                  <a:gd name="T36" fmla="*/ 27 w 54"/>
                  <a:gd name="T37" fmla="*/ 0 h 54"/>
                  <a:gd name="T38" fmla="*/ 27 w 54"/>
                  <a:gd name="T39" fmla="*/ 0 h 54"/>
                  <a:gd name="T40" fmla="*/ 33 w 54"/>
                  <a:gd name="T41" fmla="*/ 0 h 54"/>
                  <a:gd name="T42" fmla="*/ 38 w 54"/>
                  <a:gd name="T43" fmla="*/ 2 h 54"/>
                  <a:gd name="T44" fmla="*/ 43 w 54"/>
                  <a:gd name="T45" fmla="*/ 4 h 54"/>
                  <a:gd name="T46" fmla="*/ 47 w 54"/>
                  <a:gd name="T47" fmla="*/ 8 h 54"/>
                  <a:gd name="T48" fmla="*/ 50 w 54"/>
                  <a:gd name="T49" fmla="*/ 12 h 54"/>
                  <a:gd name="T50" fmla="*/ 52 w 54"/>
                  <a:gd name="T51" fmla="*/ 16 h 54"/>
                  <a:gd name="T52" fmla="*/ 54 w 54"/>
                  <a:gd name="T53" fmla="*/ 21 h 54"/>
                  <a:gd name="T54" fmla="*/ 54 w 54"/>
                  <a:gd name="T55" fmla="*/ 28 h 54"/>
                  <a:gd name="T56" fmla="*/ 54 w 54"/>
                  <a:gd name="T57" fmla="*/ 28 h 54"/>
                  <a:gd name="T58" fmla="*/ 54 w 54"/>
                  <a:gd name="T59" fmla="*/ 33 h 54"/>
                  <a:gd name="T60" fmla="*/ 52 w 54"/>
                  <a:gd name="T61" fmla="*/ 38 h 54"/>
                  <a:gd name="T62" fmla="*/ 50 w 54"/>
                  <a:gd name="T63" fmla="*/ 43 h 54"/>
                  <a:gd name="T64" fmla="*/ 47 w 54"/>
                  <a:gd name="T65" fmla="*/ 47 h 54"/>
                  <a:gd name="T66" fmla="*/ 43 w 54"/>
                  <a:gd name="T67" fmla="*/ 50 h 54"/>
                  <a:gd name="T68" fmla="*/ 38 w 54"/>
                  <a:gd name="T69" fmla="*/ 52 h 54"/>
                  <a:gd name="T70" fmla="*/ 33 w 54"/>
                  <a:gd name="T71" fmla="*/ 54 h 54"/>
                  <a:gd name="T72" fmla="*/ 27 w 54"/>
                  <a:gd name="T73" fmla="*/ 54 h 54"/>
                  <a:gd name="T74" fmla="*/ 27 w 54"/>
                  <a:gd name="T7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 h="54">
                    <a:moveTo>
                      <a:pt x="27" y="54"/>
                    </a:moveTo>
                    <a:lnTo>
                      <a:pt x="27" y="54"/>
                    </a:lnTo>
                    <a:lnTo>
                      <a:pt x="21" y="54"/>
                    </a:lnTo>
                    <a:lnTo>
                      <a:pt x="16" y="52"/>
                    </a:lnTo>
                    <a:lnTo>
                      <a:pt x="12" y="50"/>
                    </a:lnTo>
                    <a:lnTo>
                      <a:pt x="8" y="47"/>
                    </a:lnTo>
                    <a:lnTo>
                      <a:pt x="5" y="43"/>
                    </a:lnTo>
                    <a:lnTo>
                      <a:pt x="2" y="38"/>
                    </a:lnTo>
                    <a:lnTo>
                      <a:pt x="0" y="33"/>
                    </a:lnTo>
                    <a:lnTo>
                      <a:pt x="0" y="28"/>
                    </a:lnTo>
                    <a:lnTo>
                      <a:pt x="0" y="28"/>
                    </a:lnTo>
                    <a:lnTo>
                      <a:pt x="0" y="21"/>
                    </a:lnTo>
                    <a:lnTo>
                      <a:pt x="2" y="16"/>
                    </a:lnTo>
                    <a:lnTo>
                      <a:pt x="5" y="12"/>
                    </a:lnTo>
                    <a:lnTo>
                      <a:pt x="8" y="8"/>
                    </a:lnTo>
                    <a:lnTo>
                      <a:pt x="12" y="4"/>
                    </a:lnTo>
                    <a:lnTo>
                      <a:pt x="16" y="2"/>
                    </a:lnTo>
                    <a:lnTo>
                      <a:pt x="21" y="0"/>
                    </a:lnTo>
                    <a:lnTo>
                      <a:pt x="27" y="0"/>
                    </a:lnTo>
                    <a:lnTo>
                      <a:pt x="27" y="0"/>
                    </a:lnTo>
                    <a:lnTo>
                      <a:pt x="33" y="0"/>
                    </a:lnTo>
                    <a:lnTo>
                      <a:pt x="38" y="2"/>
                    </a:lnTo>
                    <a:lnTo>
                      <a:pt x="43" y="4"/>
                    </a:lnTo>
                    <a:lnTo>
                      <a:pt x="47" y="8"/>
                    </a:lnTo>
                    <a:lnTo>
                      <a:pt x="50" y="12"/>
                    </a:lnTo>
                    <a:lnTo>
                      <a:pt x="52" y="16"/>
                    </a:lnTo>
                    <a:lnTo>
                      <a:pt x="54" y="21"/>
                    </a:lnTo>
                    <a:lnTo>
                      <a:pt x="54" y="28"/>
                    </a:lnTo>
                    <a:lnTo>
                      <a:pt x="54" y="28"/>
                    </a:lnTo>
                    <a:lnTo>
                      <a:pt x="54" y="33"/>
                    </a:lnTo>
                    <a:lnTo>
                      <a:pt x="52" y="38"/>
                    </a:lnTo>
                    <a:lnTo>
                      <a:pt x="50" y="43"/>
                    </a:lnTo>
                    <a:lnTo>
                      <a:pt x="47" y="47"/>
                    </a:lnTo>
                    <a:lnTo>
                      <a:pt x="43" y="50"/>
                    </a:lnTo>
                    <a:lnTo>
                      <a:pt x="38" y="52"/>
                    </a:lnTo>
                    <a:lnTo>
                      <a:pt x="33" y="54"/>
                    </a:lnTo>
                    <a:lnTo>
                      <a:pt x="27" y="54"/>
                    </a:lnTo>
                    <a:lnTo>
                      <a:pt x="27" y="54"/>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71" name="Freeform 42"/>
              <p:cNvSpPr>
                <a:spLocks/>
              </p:cNvSpPr>
              <p:nvPr userDrawn="1"/>
            </p:nvSpPr>
            <p:spPr bwMode="auto">
              <a:xfrm>
                <a:off x="-1664552" y="1418020"/>
                <a:ext cx="854075" cy="174625"/>
              </a:xfrm>
              <a:custGeom>
                <a:avLst/>
                <a:gdLst>
                  <a:gd name="T0" fmla="*/ 1076 w 1076"/>
                  <a:gd name="T1" fmla="*/ 220 h 220"/>
                  <a:gd name="T2" fmla="*/ 0 w 1076"/>
                  <a:gd name="T3" fmla="*/ 220 h 220"/>
                  <a:gd name="T4" fmla="*/ 14 w 1076"/>
                  <a:gd name="T5" fmla="*/ 0 h 220"/>
                  <a:gd name="T6" fmla="*/ 1063 w 1076"/>
                  <a:gd name="T7" fmla="*/ 0 h 220"/>
                  <a:gd name="T8" fmla="*/ 1076 w 1076"/>
                  <a:gd name="T9" fmla="*/ 220 h 220"/>
                </a:gdLst>
                <a:ahLst/>
                <a:cxnLst>
                  <a:cxn ang="0">
                    <a:pos x="T0" y="T1"/>
                  </a:cxn>
                  <a:cxn ang="0">
                    <a:pos x="T2" y="T3"/>
                  </a:cxn>
                  <a:cxn ang="0">
                    <a:pos x="T4" y="T5"/>
                  </a:cxn>
                  <a:cxn ang="0">
                    <a:pos x="T6" y="T7"/>
                  </a:cxn>
                  <a:cxn ang="0">
                    <a:pos x="T8" y="T9"/>
                  </a:cxn>
                </a:cxnLst>
                <a:rect l="0" t="0" r="r" b="b"/>
                <a:pathLst>
                  <a:path w="1076" h="220">
                    <a:moveTo>
                      <a:pt x="1076" y="220"/>
                    </a:moveTo>
                    <a:lnTo>
                      <a:pt x="0" y="220"/>
                    </a:lnTo>
                    <a:lnTo>
                      <a:pt x="14" y="0"/>
                    </a:lnTo>
                    <a:lnTo>
                      <a:pt x="1063" y="0"/>
                    </a:lnTo>
                    <a:lnTo>
                      <a:pt x="1076" y="220"/>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72" name="Freeform 43"/>
              <p:cNvSpPr>
                <a:spLocks/>
              </p:cNvSpPr>
              <p:nvPr userDrawn="1"/>
            </p:nvSpPr>
            <p:spPr bwMode="auto">
              <a:xfrm>
                <a:off x="-1574064" y="894145"/>
                <a:ext cx="674688" cy="523875"/>
              </a:xfrm>
              <a:custGeom>
                <a:avLst/>
                <a:gdLst>
                  <a:gd name="T0" fmla="*/ 742 w 850"/>
                  <a:gd name="T1" fmla="*/ 67 h 661"/>
                  <a:gd name="T2" fmla="*/ 742 w 850"/>
                  <a:gd name="T3" fmla="*/ 67 h 661"/>
                  <a:gd name="T4" fmla="*/ 742 w 850"/>
                  <a:gd name="T5" fmla="*/ 64 h 661"/>
                  <a:gd name="T6" fmla="*/ 741 w 850"/>
                  <a:gd name="T7" fmla="*/ 61 h 661"/>
                  <a:gd name="T8" fmla="*/ 739 w 850"/>
                  <a:gd name="T9" fmla="*/ 58 h 661"/>
                  <a:gd name="T10" fmla="*/ 736 w 850"/>
                  <a:gd name="T11" fmla="*/ 54 h 661"/>
                  <a:gd name="T12" fmla="*/ 728 w 850"/>
                  <a:gd name="T13" fmla="*/ 48 h 661"/>
                  <a:gd name="T14" fmla="*/ 717 w 850"/>
                  <a:gd name="T15" fmla="*/ 42 h 661"/>
                  <a:gd name="T16" fmla="*/ 704 w 850"/>
                  <a:gd name="T17" fmla="*/ 35 h 661"/>
                  <a:gd name="T18" fmla="*/ 689 w 850"/>
                  <a:gd name="T19" fmla="*/ 30 h 661"/>
                  <a:gd name="T20" fmla="*/ 670 w 850"/>
                  <a:gd name="T21" fmla="*/ 25 h 661"/>
                  <a:gd name="T22" fmla="*/ 650 w 850"/>
                  <a:gd name="T23" fmla="*/ 20 h 661"/>
                  <a:gd name="T24" fmla="*/ 627 w 850"/>
                  <a:gd name="T25" fmla="*/ 16 h 661"/>
                  <a:gd name="T26" fmla="*/ 602 w 850"/>
                  <a:gd name="T27" fmla="*/ 12 h 661"/>
                  <a:gd name="T28" fmla="*/ 577 w 850"/>
                  <a:gd name="T29" fmla="*/ 9 h 661"/>
                  <a:gd name="T30" fmla="*/ 549 w 850"/>
                  <a:gd name="T31" fmla="*/ 6 h 661"/>
                  <a:gd name="T32" fmla="*/ 520 w 850"/>
                  <a:gd name="T33" fmla="*/ 4 h 661"/>
                  <a:gd name="T34" fmla="*/ 489 w 850"/>
                  <a:gd name="T35" fmla="*/ 2 h 661"/>
                  <a:gd name="T36" fmla="*/ 458 w 850"/>
                  <a:gd name="T37" fmla="*/ 0 h 661"/>
                  <a:gd name="T38" fmla="*/ 425 w 850"/>
                  <a:gd name="T39" fmla="*/ 0 h 661"/>
                  <a:gd name="T40" fmla="*/ 425 w 850"/>
                  <a:gd name="T41" fmla="*/ 0 h 661"/>
                  <a:gd name="T42" fmla="*/ 393 w 850"/>
                  <a:gd name="T43" fmla="*/ 0 h 661"/>
                  <a:gd name="T44" fmla="*/ 362 w 850"/>
                  <a:gd name="T45" fmla="*/ 2 h 661"/>
                  <a:gd name="T46" fmla="*/ 331 w 850"/>
                  <a:gd name="T47" fmla="*/ 4 h 661"/>
                  <a:gd name="T48" fmla="*/ 302 w 850"/>
                  <a:gd name="T49" fmla="*/ 6 h 661"/>
                  <a:gd name="T50" fmla="*/ 274 w 850"/>
                  <a:gd name="T51" fmla="*/ 9 h 661"/>
                  <a:gd name="T52" fmla="*/ 248 w 850"/>
                  <a:gd name="T53" fmla="*/ 12 h 661"/>
                  <a:gd name="T54" fmla="*/ 224 w 850"/>
                  <a:gd name="T55" fmla="*/ 16 h 661"/>
                  <a:gd name="T56" fmla="*/ 201 w 850"/>
                  <a:gd name="T57" fmla="*/ 20 h 661"/>
                  <a:gd name="T58" fmla="*/ 181 w 850"/>
                  <a:gd name="T59" fmla="*/ 25 h 661"/>
                  <a:gd name="T60" fmla="*/ 163 w 850"/>
                  <a:gd name="T61" fmla="*/ 30 h 661"/>
                  <a:gd name="T62" fmla="*/ 147 w 850"/>
                  <a:gd name="T63" fmla="*/ 35 h 661"/>
                  <a:gd name="T64" fmla="*/ 133 w 850"/>
                  <a:gd name="T65" fmla="*/ 42 h 661"/>
                  <a:gd name="T66" fmla="*/ 123 w 850"/>
                  <a:gd name="T67" fmla="*/ 48 h 661"/>
                  <a:gd name="T68" fmla="*/ 115 w 850"/>
                  <a:gd name="T69" fmla="*/ 54 h 661"/>
                  <a:gd name="T70" fmla="*/ 113 w 850"/>
                  <a:gd name="T71" fmla="*/ 58 h 661"/>
                  <a:gd name="T72" fmla="*/ 111 w 850"/>
                  <a:gd name="T73" fmla="*/ 61 h 661"/>
                  <a:gd name="T74" fmla="*/ 109 w 850"/>
                  <a:gd name="T75" fmla="*/ 64 h 661"/>
                  <a:gd name="T76" fmla="*/ 109 w 850"/>
                  <a:gd name="T77" fmla="*/ 67 h 661"/>
                  <a:gd name="T78" fmla="*/ 0 w 850"/>
                  <a:gd name="T79" fmla="*/ 661 h 661"/>
                  <a:gd name="T80" fmla="*/ 850 w 850"/>
                  <a:gd name="T81" fmla="*/ 661 h 661"/>
                  <a:gd name="T82" fmla="*/ 742 w 850"/>
                  <a:gd name="T83" fmla="*/ 67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50" h="661">
                    <a:moveTo>
                      <a:pt x="742" y="67"/>
                    </a:moveTo>
                    <a:lnTo>
                      <a:pt x="742" y="67"/>
                    </a:lnTo>
                    <a:lnTo>
                      <a:pt x="742" y="64"/>
                    </a:lnTo>
                    <a:lnTo>
                      <a:pt x="741" y="61"/>
                    </a:lnTo>
                    <a:lnTo>
                      <a:pt x="739" y="58"/>
                    </a:lnTo>
                    <a:lnTo>
                      <a:pt x="736" y="54"/>
                    </a:lnTo>
                    <a:lnTo>
                      <a:pt x="728" y="48"/>
                    </a:lnTo>
                    <a:lnTo>
                      <a:pt x="717" y="42"/>
                    </a:lnTo>
                    <a:lnTo>
                      <a:pt x="704" y="35"/>
                    </a:lnTo>
                    <a:lnTo>
                      <a:pt x="689" y="30"/>
                    </a:lnTo>
                    <a:lnTo>
                      <a:pt x="670" y="25"/>
                    </a:lnTo>
                    <a:lnTo>
                      <a:pt x="650" y="20"/>
                    </a:lnTo>
                    <a:lnTo>
                      <a:pt x="627" y="16"/>
                    </a:lnTo>
                    <a:lnTo>
                      <a:pt x="602" y="12"/>
                    </a:lnTo>
                    <a:lnTo>
                      <a:pt x="577" y="9"/>
                    </a:lnTo>
                    <a:lnTo>
                      <a:pt x="549" y="6"/>
                    </a:lnTo>
                    <a:lnTo>
                      <a:pt x="520" y="4"/>
                    </a:lnTo>
                    <a:lnTo>
                      <a:pt x="489" y="2"/>
                    </a:lnTo>
                    <a:lnTo>
                      <a:pt x="458" y="0"/>
                    </a:lnTo>
                    <a:lnTo>
                      <a:pt x="425" y="0"/>
                    </a:lnTo>
                    <a:lnTo>
                      <a:pt x="425" y="0"/>
                    </a:lnTo>
                    <a:lnTo>
                      <a:pt x="393" y="0"/>
                    </a:lnTo>
                    <a:lnTo>
                      <a:pt x="362" y="2"/>
                    </a:lnTo>
                    <a:lnTo>
                      <a:pt x="331" y="4"/>
                    </a:lnTo>
                    <a:lnTo>
                      <a:pt x="302" y="6"/>
                    </a:lnTo>
                    <a:lnTo>
                      <a:pt x="274" y="9"/>
                    </a:lnTo>
                    <a:lnTo>
                      <a:pt x="248" y="12"/>
                    </a:lnTo>
                    <a:lnTo>
                      <a:pt x="224" y="16"/>
                    </a:lnTo>
                    <a:lnTo>
                      <a:pt x="201" y="20"/>
                    </a:lnTo>
                    <a:lnTo>
                      <a:pt x="181" y="25"/>
                    </a:lnTo>
                    <a:lnTo>
                      <a:pt x="163" y="30"/>
                    </a:lnTo>
                    <a:lnTo>
                      <a:pt x="147" y="35"/>
                    </a:lnTo>
                    <a:lnTo>
                      <a:pt x="133" y="42"/>
                    </a:lnTo>
                    <a:lnTo>
                      <a:pt x="123" y="48"/>
                    </a:lnTo>
                    <a:lnTo>
                      <a:pt x="115" y="54"/>
                    </a:lnTo>
                    <a:lnTo>
                      <a:pt x="113" y="58"/>
                    </a:lnTo>
                    <a:lnTo>
                      <a:pt x="111" y="61"/>
                    </a:lnTo>
                    <a:lnTo>
                      <a:pt x="109" y="64"/>
                    </a:lnTo>
                    <a:lnTo>
                      <a:pt x="109" y="67"/>
                    </a:lnTo>
                    <a:lnTo>
                      <a:pt x="0" y="661"/>
                    </a:lnTo>
                    <a:lnTo>
                      <a:pt x="850" y="661"/>
                    </a:lnTo>
                    <a:lnTo>
                      <a:pt x="742" y="67"/>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73" name="Rectangle 44"/>
              <p:cNvSpPr>
                <a:spLocks noChangeArrowheads="1"/>
              </p:cNvSpPr>
              <p:nvPr userDrawn="1"/>
            </p:nvSpPr>
            <p:spPr bwMode="auto">
              <a:xfrm>
                <a:off x="-1286727" y="327407"/>
                <a:ext cx="96838" cy="1693863"/>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74" name="Rectangle 45"/>
              <p:cNvSpPr>
                <a:spLocks noChangeArrowheads="1"/>
              </p:cNvSpPr>
              <p:nvPr userDrawn="1"/>
            </p:nvSpPr>
            <p:spPr bwMode="auto">
              <a:xfrm>
                <a:off x="-1286727" y="327407"/>
                <a:ext cx="96838" cy="569913"/>
              </a:xfrm>
              <a:prstGeom prst="rect">
                <a:avLst/>
              </a:prstGeom>
              <a:solidFill>
                <a:srgbClr val="80828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76" name="Freeform 47"/>
              <p:cNvSpPr>
                <a:spLocks/>
              </p:cNvSpPr>
              <p:nvPr userDrawn="1"/>
            </p:nvSpPr>
            <p:spPr bwMode="auto">
              <a:xfrm>
                <a:off x="-635852" y="-336168"/>
                <a:ext cx="735013" cy="463550"/>
              </a:xfrm>
              <a:custGeom>
                <a:avLst/>
                <a:gdLst>
                  <a:gd name="T0" fmla="*/ 0 w 926"/>
                  <a:gd name="T1" fmla="*/ 530 h 585"/>
                  <a:gd name="T2" fmla="*/ 40 w 926"/>
                  <a:gd name="T3" fmla="*/ 585 h 585"/>
                  <a:gd name="T4" fmla="*/ 40 w 926"/>
                  <a:gd name="T5" fmla="*/ 585 h 585"/>
                  <a:gd name="T6" fmla="*/ 88 w 926"/>
                  <a:gd name="T7" fmla="*/ 551 h 585"/>
                  <a:gd name="T8" fmla="*/ 137 w 926"/>
                  <a:gd name="T9" fmla="*/ 518 h 585"/>
                  <a:gd name="T10" fmla="*/ 237 w 926"/>
                  <a:gd name="T11" fmla="*/ 453 h 585"/>
                  <a:gd name="T12" fmla="*/ 340 w 926"/>
                  <a:gd name="T13" fmla="*/ 388 h 585"/>
                  <a:gd name="T14" fmla="*/ 448 w 926"/>
                  <a:gd name="T15" fmla="*/ 323 h 585"/>
                  <a:gd name="T16" fmla="*/ 559 w 926"/>
                  <a:gd name="T17" fmla="*/ 257 h 585"/>
                  <a:gd name="T18" fmla="*/ 675 w 926"/>
                  <a:gd name="T19" fmla="*/ 191 h 585"/>
                  <a:gd name="T20" fmla="*/ 926 w 926"/>
                  <a:gd name="T21" fmla="*/ 48 h 585"/>
                  <a:gd name="T22" fmla="*/ 878 w 926"/>
                  <a:gd name="T23" fmla="*/ 0 h 585"/>
                  <a:gd name="T24" fmla="*/ 878 w 926"/>
                  <a:gd name="T25" fmla="*/ 0 h 585"/>
                  <a:gd name="T26" fmla="*/ 878 w 926"/>
                  <a:gd name="T27" fmla="*/ 0 h 585"/>
                  <a:gd name="T28" fmla="*/ 631 w 926"/>
                  <a:gd name="T29" fmla="*/ 140 h 585"/>
                  <a:gd name="T30" fmla="*/ 515 w 926"/>
                  <a:gd name="T31" fmla="*/ 207 h 585"/>
                  <a:gd name="T32" fmla="*/ 405 w 926"/>
                  <a:gd name="T33" fmla="*/ 272 h 585"/>
                  <a:gd name="T34" fmla="*/ 299 w 926"/>
                  <a:gd name="T35" fmla="*/ 336 h 585"/>
                  <a:gd name="T36" fmla="*/ 197 w 926"/>
                  <a:gd name="T37" fmla="*/ 399 h 585"/>
                  <a:gd name="T38" fmla="*/ 97 w 926"/>
                  <a:gd name="T39" fmla="*/ 464 h 585"/>
                  <a:gd name="T40" fmla="*/ 49 w 926"/>
                  <a:gd name="T41" fmla="*/ 497 h 585"/>
                  <a:gd name="T42" fmla="*/ 0 w 926"/>
                  <a:gd name="T43" fmla="*/ 530 h 585"/>
                  <a:gd name="T44" fmla="*/ 0 w 926"/>
                  <a:gd name="T45" fmla="*/ 53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26" h="585">
                    <a:moveTo>
                      <a:pt x="0" y="530"/>
                    </a:moveTo>
                    <a:lnTo>
                      <a:pt x="40" y="585"/>
                    </a:lnTo>
                    <a:lnTo>
                      <a:pt x="40" y="585"/>
                    </a:lnTo>
                    <a:lnTo>
                      <a:pt x="88" y="551"/>
                    </a:lnTo>
                    <a:lnTo>
                      <a:pt x="137" y="518"/>
                    </a:lnTo>
                    <a:lnTo>
                      <a:pt x="237" y="453"/>
                    </a:lnTo>
                    <a:lnTo>
                      <a:pt x="340" y="388"/>
                    </a:lnTo>
                    <a:lnTo>
                      <a:pt x="448" y="323"/>
                    </a:lnTo>
                    <a:lnTo>
                      <a:pt x="559" y="257"/>
                    </a:lnTo>
                    <a:lnTo>
                      <a:pt x="675" y="191"/>
                    </a:lnTo>
                    <a:lnTo>
                      <a:pt x="926" y="48"/>
                    </a:lnTo>
                    <a:lnTo>
                      <a:pt x="878" y="0"/>
                    </a:lnTo>
                    <a:lnTo>
                      <a:pt x="878" y="0"/>
                    </a:lnTo>
                    <a:lnTo>
                      <a:pt x="878" y="0"/>
                    </a:lnTo>
                    <a:lnTo>
                      <a:pt x="631" y="140"/>
                    </a:lnTo>
                    <a:lnTo>
                      <a:pt x="515" y="207"/>
                    </a:lnTo>
                    <a:lnTo>
                      <a:pt x="405" y="272"/>
                    </a:lnTo>
                    <a:lnTo>
                      <a:pt x="299" y="336"/>
                    </a:lnTo>
                    <a:lnTo>
                      <a:pt x="197" y="399"/>
                    </a:lnTo>
                    <a:lnTo>
                      <a:pt x="97" y="464"/>
                    </a:lnTo>
                    <a:lnTo>
                      <a:pt x="49" y="497"/>
                    </a:lnTo>
                    <a:lnTo>
                      <a:pt x="0" y="530"/>
                    </a:lnTo>
                    <a:lnTo>
                      <a:pt x="0" y="530"/>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sp>
          <p:nvSpPr>
            <p:cNvPr id="854" name="자유형 853"/>
            <p:cNvSpPr>
              <a:spLocks/>
            </p:cNvSpPr>
            <p:nvPr userDrawn="1"/>
          </p:nvSpPr>
          <p:spPr bwMode="auto">
            <a:xfrm>
              <a:off x="1137898" y="1236986"/>
              <a:ext cx="1919462" cy="3411233"/>
            </a:xfrm>
            <a:custGeom>
              <a:avLst/>
              <a:gdLst>
                <a:gd name="connsiteX0" fmla="*/ 12427 w 1919462"/>
                <a:gd name="connsiteY0" fmla="*/ 0 h 3411233"/>
                <a:gd name="connsiteX1" fmla="*/ 19626 w 1919462"/>
                <a:gd name="connsiteY1" fmla="*/ 7821 h 3411233"/>
                <a:gd name="connsiteX2" fmla="*/ 38823 w 1919462"/>
                <a:gd name="connsiteY2" fmla="*/ 30681 h 3411233"/>
                <a:gd name="connsiteX3" fmla="*/ 68818 w 1919462"/>
                <a:gd name="connsiteY3" fmla="*/ 67377 h 3411233"/>
                <a:gd name="connsiteX4" fmla="*/ 87415 w 1919462"/>
                <a:gd name="connsiteY4" fmla="*/ 90838 h 3411233"/>
                <a:gd name="connsiteX5" fmla="*/ 107811 w 1919462"/>
                <a:gd name="connsiteY5" fmla="*/ 117909 h 3411233"/>
                <a:gd name="connsiteX6" fmla="*/ 130007 w 1919462"/>
                <a:gd name="connsiteY6" fmla="*/ 147988 h 3411233"/>
                <a:gd name="connsiteX7" fmla="*/ 154003 w 1919462"/>
                <a:gd name="connsiteY7" fmla="*/ 180473 h 3411233"/>
                <a:gd name="connsiteX8" fmla="*/ 179199 w 1919462"/>
                <a:gd name="connsiteY8" fmla="*/ 215966 h 3411233"/>
                <a:gd name="connsiteX9" fmla="*/ 205595 w 1919462"/>
                <a:gd name="connsiteY9" fmla="*/ 254466 h 3411233"/>
                <a:gd name="connsiteX10" fmla="*/ 233790 w 1919462"/>
                <a:gd name="connsiteY10" fmla="*/ 295975 h 3411233"/>
                <a:gd name="connsiteX11" fmla="*/ 261986 w 1919462"/>
                <a:gd name="connsiteY11" fmla="*/ 339289 h 3411233"/>
                <a:gd name="connsiteX12" fmla="*/ 290181 w 1919462"/>
                <a:gd name="connsiteY12" fmla="*/ 385008 h 3411233"/>
                <a:gd name="connsiteX13" fmla="*/ 320176 w 1919462"/>
                <a:gd name="connsiteY13" fmla="*/ 433134 h 3411233"/>
                <a:gd name="connsiteX14" fmla="*/ 342372 w 1919462"/>
                <a:gd name="connsiteY14" fmla="*/ 471635 h 3411233"/>
                <a:gd name="connsiteX15" fmla="*/ 364568 w 1919462"/>
                <a:gd name="connsiteY15" fmla="*/ 510737 h 3411233"/>
                <a:gd name="connsiteX16" fmla="*/ 386765 w 1919462"/>
                <a:gd name="connsiteY16" fmla="*/ 551644 h 3411233"/>
                <a:gd name="connsiteX17" fmla="*/ 408222 w 1919462"/>
                <a:gd name="connsiteY17" fmla="*/ 591771 h 3411233"/>
                <a:gd name="connsiteX18" fmla="*/ 409077 w 1919462"/>
                <a:gd name="connsiteY18" fmla="*/ 591968 h 3411233"/>
                <a:gd name="connsiteX19" fmla="*/ 431880 w 1919462"/>
                <a:gd name="connsiteY19" fmla="*/ 637609 h 3411233"/>
                <a:gd name="connsiteX20" fmla="*/ 454083 w 1919462"/>
                <a:gd name="connsiteY20" fmla="*/ 684450 h 3411233"/>
                <a:gd name="connsiteX21" fmla="*/ 476286 w 1919462"/>
                <a:gd name="connsiteY21" fmla="*/ 731893 h 3411233"/>
                <a:gd name="connsiteX22" fmla="*/ 497288 w 1919462"/>
                <a:gd name="connsiteY22" fmla="*/ 779935 h 3411233"/>
                <a:gd name="connsiteX23" fmla="*/ 517691 w 1919462"/>
                <a:gd name="connsiteY23" fmla="*/ 829179 h 3411233"/>
                <a:gd name="connsiteX24" fmla="*/ 536894 w 1919462"/>
                <a:gd name="connsiteY24" fmla="*/ 880225 h 3411233"/>
                <a:gd name="connsiteX25" fmla="*/ 555496 w 1919462"/>
                <a:gd name="connsiteY25" fmla="*/ 930669 h 3411233"/>
                <a:gd name="connsiteX26" fmla="*/ 572298 w 1919462"/>
                <a:gd name="connsiteY26" fmla="*/ 982916 h 3411233"/>
                <a:gd name="connsiteX27" fmla="*/ 588500 w 1919462"/>
                <a:gd name="connsiteY27" fmla="*/ 1035763 h 3411233"/>
                <a:gd name="connsiteX28" fmla="*/ 595701 w 1919462"/>
                <a:gd name="connsiteY28" fmla="*/ 1062186 h 3411233"/>
                <a:gd name="connsiteX29" fmla="*/ 603502 w 1919462"/>
                <a:gd name="connsiteY29" fmla="*/ 1088610 h 3411233"/>
                <a:gd name="connsiteX30" fmla="*/ 610103 w 1919462"/>
                <a:gd name="connsiteY30" fmla="*/ 1116235 h 3411233"/>
                <a:gd name="connsiteX31" fmla="*/ 616104 w 1919462"/>
                <a:gd name="connsiteY31" fmla="*/ 1142658 h 3411233"/>
                <a:gd name="connsiteX32" fmla="*/ 622705 w 1919462"/>
                <a:gd name="connsiteY32" fmla="*/ 1169682 h 3411233"/>
                <a:gd name="connsiteX33" fmla="*/ 628105 w 1919462"/>
                <a:gd name="connsiteY33" fmla="*/ 1197307 h 3411233"/>
                <a:gd name="connsiteX34" fmla="*/ 632906 w 1919462"/>
                <a:gd name="connsiteY34" fmla="*/ 1224931 h 3411233"/>
                <a:gd name="connsiteX35" fmla="*/ 637707 w 1919462"/>
                <a:gd name="connsiteY35" fmla="*/ 1252556 h 3411233"/>
                <a:gd name="connsiteX36" fmla="*/ 642507 w 1919462"/>
                <a:gd name="connsiteY36" fmla="*/ 1279580 h 3411233"/>
                <a:gd name="connsiteX37" fmla="*/ 646108 w 1919462"/>
                <a:gd name="connsiteY37" fmla="*/ 1307204 h 3411233"/>
                <a:gd name="connsiteX38" fmla="*/ 649108 w 1919462"/>
                <a:gd name="connsiteY38" fmla="*/ 1335430 h 3411233"/>
                <a:gd name="connsiteX39" fmla="*/ 652109 w 1919462"/>
                <a:gd name="connsiteY39" fmla="*/ 1363054 h 3411233"/>
                <a:gd name="connsiteX40" fmla="*/ 654509 w 1919462"/>
                <a:gd name="connsiteY40" fmla="*/ 1391279 h 3411233"/>
                <a:gd name="connsiteX41" fmla="*/ 656309 w 1919462"/>
                <a:gd name="connsiteY41" fmla="*/ 1419504 h 3411233"/>
                <a:gd name="connsiteX42" fmla="*/ 626905 w 1919462"/>
                <a:gd name="connsiteY42" fmla="*/ 1406893 h 3411233"/>
                <a:gd name="connsiteX43" fmla="*/ 596301 w 1919462"/>
                <a:gd name="connsiteY43" fmla="*/ 1394282 h 3411233"/>
                <a:gd name="connsiteX44" fmla="*/ 565097 w 1919462"/>
                <a:gd name="connsiteY44" fmla="*/ 1382872 h 3411233"/>
                <a:gd name="connsiteX45" fmla="*/ 532693 w 1919462"/>
                <a:gd name="connsiteY45" fmla="*/ 1371462 h 3411233"/>
                <a:gd name="connsiteX46" fmla="*/ 500289 w 1919462"/>
                <a:gd name="connsiteY46" fmla="*/ 1360652 h 3411233"/>
                <a:gd name="connsiteX47" fmla="*/ 466084 w 1919462"/>
                <a:gd name="connsiteY47" fmla="*/ 1349842 h 3411233"/>
                <a:gd name="connsiteX48" fmla="*/ 431880 w 1919462"/>
                <a:gd name="connsiteY48" fmla="*/ 1340234 h 3411233"/>
                <a:gd name="connsiteX49" fmla="*/ 396475 w 1919462"/>
                <a:gd name="connsiteY49" fmla="*/ 1331226 h 3411233"/>
                <a:gd name="connsiteX50" fmla="*/ 359871 w 1919462"/>
                <a:gd name="connsiteY50" fmla="*/ 1322218 h 3411233"/>
                <a:gd name="connsiteX51" fmla="*/ 323266 w 1919462"/>
                <a:gd name="connsiteY51" fmla="*/ 1315011 h 3411233"/>
                <a:gd name="connsiteX52" fmla="*/ 286061 w 1919462"/>
                <a:gd name="connsiteY52" fmla="*/ 1307204 h 3411233"/>
                <a:gd name="connsiteX53" fmla="*/ 247656 w 1919462"/>
                <a:gd name="connsiteY53" fmla="*/ 1301199 h 3411233"/>
                <a:gd name="connsiteX54" fmla="*/ 208651 w 1919462"/>
                <a:gd name="connsiteY54" fmla="*/ 1295794 h 3411233"/>
                <a:gd name="connsiteX55" fmla="*/ 170246 w 1919462"/>
                <a:gd name="connsiteY55" fmla="*/ 1291591 h 3411233"/>
                <a:gd name="connsiteX56" fmla="*/ 130041 w 1919462"/>
                <a:gd name="connsiteY56" fmla="*/ 1287987 h 3411233"/>
                <a:gd name="connsiteX57" fmla="*/ 89836 w 1919462"/>
                <a:gd name="connsiteY57" fmla="*/ 1284985 h 3411233"/>
                <a:gd name="connsiteX58" fmla="*/ 89836 w 1919462"/>
                <a:gd name="connsiteY58" fmla="*/ 1285985 h 3411233"/>
                <a:gd name="connsiteX59" fmla="*/ 104580 w 1919462"/>
                <a:gd name="connsiteY59" fmla="*/ 1286567 h 3411233"/>
                <a:gd name="connsiteX60" fmla="*/ 149607 w 1919462"/>
                <a:gd name="connsiteY60" fmla="*/ 1290169 h 3411233"/>
                <a:gd name="connsiteX61" fmla="*/ 193433 w 1919462"/>
                <a:gd name="connsiteY61" fmla="*/ 1294972 h 3411233"/>
                <a:gd name="connsiteX62" fmla="*/ 237259 w 1919462"/>
                <a:gd name="connsiteY62" fmla="*/ 1300375 h 3411233"/>
                <a:gd name="connsiteX63" fmla="*/ 279884 w 1919462"/>
                <a:gd name="connsiteY63" fmla="*/ 1306979 h 3411233"/>
                <a:gd name="connsiteX64" fmla="*/ 321909 w 1919462"/>
                <a:gd name="connsiteY64" fmla="*/ 1315384 h 3411233"/>
                <a:gd name="connsiteX65" fmla="*/ 363334 w 1919462"/>
                <a:gd name="connsiteY65" fmla="*/ 1323789 h 3411233"/>
                <a:gd name="connsiteX66" fmla="*/ 402958 w 1919462"/>
                <a:gd name="connsiteY66" fmla="*/ 1333995 h 3411233"/>
                <a:gd name="connsiteX67" fmla="*/ 441981 w 1919462"/>
                <a:gd name="connsiteY67" fmla="*/ 1344201 h 3411233"/>
                <a:gd name="connsiteX68" fmla="*/ 481004 w 1919462"/>
                <a:gd name="connsiteY68" fmla="*/ 1355608 h 3411233"/>
                <a:gd name="connsiteX69" fmla="*/ 518226 w 1919462"/>
                <a:gd name="connsiteY69" fmla="*/ 1367015 h 3411233"/>
                <a:gd name="connsiteX70" fmla="*/ 554248 w 1919462"/>
                <a:gd name="connsiteY70" fmla="*/ 1379622 h 3411233"/>
                <a:gd name="connsiteX71" fmla="*/ 589669 w 1919462"/>
                <a:gd name="connsiteY71" fmla="*/ 1392830 h 3411233"/>
                <a:gd name="connsiteX72" fmla="*/ 623889 w 1919462"/>
                <a:gd name="connsiteY72" fmla="*/ 1406038 h 3411233"/>
                <a:gd name="connsiteX73" fmla="*/ 656909 w 1919462"/>
                <a:gd name="connsiteY73" fmla="*/ 1420447 h 3411233"/>
                <a:gd name="connsiteX74" fmla="*/ 658110 w 1919462"/>
                <a:gd name="connsiteY74" fmla="*/ 1458870 h 3411233"/>
                <a:gd name="connsiteX75" fmla="*/ 658710 w 1919462"/>
                <a:gd name="connsiteY75" fmla="*/ 1497293 h 3411233"/>
                <a:gd name="connsiteX76" fmla="*/ 658710 w 1919462"/>
                <a:gd name="connsiteY76" fmla="*/ 1547723 h 3411233"/>
                <a:gd name="connsiteX77" fmla="*/ 657509 w 1919462"/>
                <a:gd name="connsiteY77" fmla="*/ 1595752 h 3411233"/>
                <a:gd name="connsiteX78" fmla="*/ 655108 w 1919462"/>
                <a:gd name="connsiteY78" fmla="*/ 1643780 h 3411233"/>
                <a:gd name="connsiteX79" fmla="*/ 652707 w 1919462"/>
                <a:gd name="connsiteY79" fmla="*/ 1690608 h 3411233"/>
                <a:gd name="connsiteX80" fmla="*/ 652093 w 1919462"/>
                <a:gd name="connsiteY80" fmla="*/ 1689953 h 3411233"/>
                <a:gd name="connsiteX81" fmla="*/ 647908 w 1919462"/>
                <a:gd name="connsiteY81" fmla="*/ 1744994 h 3411233"/>
                <a:gd name="connsiteX82" fmla="*/ 642507 w 1919462"/>
                <a:gd name="connsiteY82" fmla="*/ 1799042 h 3411233"/>
                <a:gd name="connsiteX83" fmla="*/ 638088 w 1919462"/>
                <a:gd name="connsiteY83" fmla="*/ 1835228 h 3411233"/>
                <a:gd name="connsiteX84" fmla="*/ 647303 w 1919462"/>
                <a:gd name="connsiteY84" fmla="*/ 1829546 h 3411233"/>
                <a:gd name="connsiteX85" fmla="*/ 710941 w 1919462"/>
                <a:gd name="connsiteY85" fmla="*/ 1791188 h 3411233"/>
                <a:gd name="connsiteX86" fmla="*/ 776981 w 1919462"/>
                <a:gd name="connsiteY86" fmla="*/ 1752232 h 3411233"/>
                <a:gd name="connsiteX87" fmla="*/ 846622 w 1919462"/>
                <a:gd name="connsiteY87" fmla="*/ 1712077 h 3411233"/>
                <a:gd name="connsiteX88" fmla="*/ 994911 w 1919462"/>
                <a:gd name="connsiteY88" fmla="*/ 1628170 h 3411233"/>
                <a:gd name="connsiteX89" fmla="*/ 1023728 w 1919462"/>
                <a:gd name="connsiteY89" fmla="*/ 1656938 h 3411233"/>
                <a:gd name="connsiteX90" fmla="*/ 873038 w 1919462"/>
                <a:gd name="connsiteY90" fmla="*/ 1742642 h 3411233"/>
                <a:gd name="connsiteX91" fmla="*/ 803396 w 1919462"/>
                <a:gd name="connsiteY91" fmla="*/ 1782198 h 3411233"/>
                <a:gd name="connsiteX92" fmla="*/ 736757 w 1919462"/>
                <a:gd name="connsiteY92" fmla="*/ 1821754 h 3411233"/>
                <a:gd name="connsiteX93" fmla="*/ 671918 w 1919462"/>
                <a:gd name="connsiteY93" fmla="*/ 1860711 h 3411233"/>
                <a:gd name="connsiteX94" fmla="*/ 631332 w 1919462"/>
                <a:gd name="connsiteY94" fmla="*/ 1886280 h 3411233"/>
                <a:gd name="connsiteX95" fmla="*/ 628705 w 1919462"/>
                <a:gd name="connsiteY95" fmla="*/ 1905337 h 3411233"/>
                <a:gd name="connsiteX96" fmla="*/ 620304 w 1919462"/>
                <a:gd name="connsiteY96" fmla="*/ 1958184 h 3411233"/>
                <a:gd name="connsiteX97" fmla="*/ 610703 w 1919462"/>
                <a:gd name="connsiteY97" fmla="*/ 2010430 h 3411233"/>
                <a:gd name="connsiteX98" fmla="*/ 600502 w 1919462"/>
                <a:gd name="connsiteY98" fmla="*/ 2062677 h 3411233"/>
                <a:gd name="connsiteX99" fmla="*/ 589100 w 1919462"/>
                <a:gd name="connsiteY99" fmla="*/ 2115524 h 3411233"/>
                <a:gd name="connsiteX100" fmla="*/ 584385 w 1919462"/>
                <a:gd name="connsiteY100" fmla="*/ 2136522 h 3411233"/>
                <a:gd name="connsiteX101" fmla="*/ 587032 w 1919462"/>
                <a:gd name="connsiteY101" fmla="*/ 2138474 h 3411233"/>
                <a:gd name="connsiteX102" fmla="*/ 618222 w 1919462"/>
                <a:gd name="connsiteY102" fmla="*/ 2160687 h 3411233"/>
                <a:gd name="connsiteX103" fmla="*/ 665606 w 1919462"/>
                <a:gd name="connsiteY103" fmla="*/ 2192506 h 3411233"/>
                <a:gd name="connsiteX104" fmla="*/ 693796 w 1919462"/>
                <a:gd name="connsiteY104" fmla="*/ 2211117 h 3411233"/>
                <a:gd name="connsiteX105" fmla="*/ 723786 w 1919462"/>
                <a:gd name="connsiteY105" fmla="*/ 2230329 h 3411233"/>
                <a:gd name="connsiteX106" fmla="*/ 755576 w 1919462"/>
                <a:gd name="connsiteY106" fmla="*/ 2250141 h 3411233"/>
                <a:gd name="connsiteX107" fmla="*/ 788564 w 1919462"/>
                <a:gd name="connsiteY107" fmla="*/ 2269352 h 3411233"/>
                <a:gd name="connsiteX108" fmla="*/ 822153 w 1919462"/>
                <a:gd name="connsiteY108" fmla="*/ 2287963 h 3411233"/>
                <a:gd name="connsiteX109" fmla="*/ 855742 w 1919462"/>
                <a:gd name="connsiteY109" fmla="*/ 2305374 h 3411233"/>
                <a:gd name="connsiteX110" fmla="*/ 872536 w 1919462"/>
                <a:gd name="connsiteY110" fmla="*/ 2312578 h 3411233"/>
                <a:gd name="connsiteX111" fmla="*/ 888731 w 1919462"/>
                <a:gd name="connsiteY111" fmla="*/ 2320382 h 3411233"/>
                <a:gd name="connsiteX112" fmla="*/ 904925 w 1919462"/>
                <a:gd name="connsiteY112" fmla="*/ 2327587 h 3411233"/>
                <a:gd name="connsiteX113" fmla="*/ 920520 w 1919462"/>
                <a:gd name="connsiteY113" fmla="*/ 2333590 h 3411233"/>
                <a:gd name="connsiteX114" fmla="*/ 936115 w 1919462"/>
                <a:gd name="connsiteY114" fmla="*/ 2338393 h 3411233"/>
                <a:gd name="connsiteX115" fmla="*/ 951110 w 1919462"/>
                <a:gd name="connsiteY115" fmla="*/ 2343196 h 3411233"/>
                <a:gd name="connsiteX116" fmla="*/ 966105 w 1919462"/>
                <a:gd name="connsiteY116" fmla="*/ 2347399 h 3411233"/>
                <a:gd name="connsiteX117" fmla="*/ 979300 w 1919462"/>
                <a:gd name="connsiteY117" fmla="*/ 2350400 h 3411233"/>
                <a:gd name="connsiteX118" fmla="*/ 958129 w 1919462"/>
                <a:gd name="connsiteY118" fmla="*/ 2450519 h 3411233"/>
                <a:gd name="connsiteX119" fmla="*/ 1865451 w 1919462"/>
                <a:gd name="connsiteY119" fmla="*/ 3116458 h 3411233"/>
                <a:gd name="connsiteX120" fmla="*/ 1870852 w 1919462"/>
                <a:gd name="connsiteY120" fmla="*/ 3120660 h 3411233"/>
                <a:gd name="connsiteX121" fmla="*/ 1878054 w 1919462"/>
                <a:gd name="connsiteY121" fmla="*/ 3127264 h 3411233"/>
                <a:gd name="connsiteX122" fmla="*/ 1886455 w 1919462"/>
                <a:gd name="connsiteY122" fmla="*/ 3136269 h 3411233"/>
                <a:gd name="connsiteX123" fmla="*/ 1891256 w 1919462"/>
                <a:gd name="connsiteY123" fmla="*/ 3142273 h 3411233"/>
                <a:gd name="connsiteX124" fmla="*/ 1896057 w 1919462"/>
                <a:gd name="connsiteY124" fmla="*/ 3148277 h 3411233"/>
                <a:gd name="connsiteX125" fmla="*/ 1900258 w 1919462"/>
                <a:gd name="connsiteY125" fmla="*/ 3154881 h 3411233"/>
                <a:gd name="connsiteX126" fmla="*/ 1904459 w 1919462"/>
                <a:gd name="connsiteY126" fmla="*/ 3162085 h 3411233"/>
                <a:gd name="connsiteX127" fmla="*/ 1908660 w 1919462"/>
                <a:gd name="connsiteY127" fmla="*/ 3170490 h 3411233"/>
                <a:gd name="connsiteX128" fmla="*/ 1912261 w 1919462"/>
                <a:gd name="connsiteY128" fmla="*/ 3178895 h 3411233"/>
                <a:gd name="connsiteX129" fmla="*/ 1915261 w 1919462"/>
                <a:gd name="connsiteY129" fmla="*/ 3187900 h 3411233"/>
                <a:gd name="connsiteX130" fmla="*/ 1917662 w 1919462"/>
                <a:gd name="connsiteY130" fmla="*/ 3197506 h 3411233"/>
                <a:gd name="connsiteX131" fmla="*/ 1918862 w 1919462"/>
                <a:gd name="connsiteY131" fmla="*/ 3207712 h 3411233"/>
                <a:gd name="connsiteX132" fmla="*/ 1919462 w 1919462"/>
                <a:gd name="connsiteY132" fmla="*/ 3217918 h 3411233"/>
                <a:gd name="connsiteX133" fmla="*/ 1919462 w 1919462"/>
                <a:gd name="connsiteY133" fmla="*/ 3411233 h 3411233"/>
                <a:gd name="connsiteX134" fmla="*/ 1894857 w 1919462"/>
                <a:gd name="connsiteY134" fmla="*/ 3411233 h 3411233"/>
                <a:gd name="connsiteX135" fmla="*/ 1894856 w 1919462"/>
                <a:gd name="connsiteY135" fmla="*/ 3411232 h 3411233"/>
                <a:gd name="connsiteX136" fmla="*/ 1621083 w 1919462"/>
                <a:gd name="connsiteY136" fmla="*/ 3411232 h 3411233"/>
                <a:gd name="connsiteX137" fmla="*/ 875876 w 1919462"/>
                <a:gd name="connsiteY137" fmla="*/ 2839494 h 3411233"/>
                <a:gd name="connsiteX138" fmla="*/ 754976 w 1919462"/>
                <a:gd name="connsiteY138" fmla="*/ 3411232 h 3411233"/>
                <a:gd name="connsiteX139" fmla="*/ 683000 w 1919462"/>
                <a:gd name="connsiteY139" fmla="*/ 3411232 h 3411233"/>
                <a:gd name="connsiteX140" fmla="*/ 686599 w 1919462"/>
                <a:gd name="connsiteY140" fmla="*/ 3377612 h 3411233"/>
                <a:gd name="connsiteX141" fmla="*/ 690198 w 1919462"/>
                <a:gd name="connsiteY141" fmla="*/ 3339189 h 3411233"/>
                <a:gd name="connsiteX142" fmla="*/ 693197 w 1919462"/>
                <a:gd name="connsiteY142" fmla="*/ 3288159 h 3411233"/>
                <a:gd name="connsiteX143" fmla="*/ 694996 w 1919462"/>
                <a:gd name="connsiteY143" fmla="*/ 3259342 h 3411233"/>
                <a:gd name="connsiteX144" fmla="*/ 696196 w 1919462"/>
                <a:gd name="connsiteY144" fmla="*/ 3228723 h 3411233"/>
                <a:gd name="connsiteX145" fmla="*/ 696795 w 1919462"/>
                <a:gd name="connsiteY145" fmla="*/ 3195103 h 3411233"/>
                <a:gd name="connsiteX146" fmla="*/ 697395 w 1919462"/>
                <a:gd name="connsiteY146" fmla="*/ 3160283 h 3411233"/>
                <a:gd name="connsiteX147" fmla="*/ 697395 w 1919462"/>
                <a:gd name="connsiteY147" fmla="*/ 3124862 h 3411233"/>
                <a:gd name="connsiteX148" fmla="*/ 696795 w 1919462"/>
                <a:gd name="connsiteY148" fmla="*/ 3087640 h 3411233"/>
                <a:gd name="connsiteX149" fmla="*/ 694996 w 1919462"/>
                <a:gd name="connsiteY149" fmla="*/ 3049817 h 3411233"/>
                <a:gd name="connsiteX150" fmla="*/ 692597 w 1919462"/>
                <a:gd name="connsiteY150" fmla="*/ 3010794 h 3411233"/>
                <a:gd name="connsiteX151" fmla="*/ 689598 w 1919462"/>
                <a:gd name="connsiteY151" fmla="*/ 2972971 h 3411233"/>
                <a:gd name="connsiteX152" fmla="*/ 685399 w 1919462"/>
                <a:gd name="connsiteY152" fmla="*/ 2933948 h 3411233"/>
                <a:gd name="connsiteX153" fmla="*/ 680001 w 1919462"/>
                <a:gd name="connsiteY153" fmla="*/ 2895525 h 3411233"/>
                <a:gd name="connsiteX154" fmla="*/ 673403 w 1919462"/>
                <a:gd name="connsiteY154" fmla="*/ 2857703 h 3411233"/>
                <a:gd name="connsiteX155" fmla="*/ 669804 w 1919462"/>
                <a:gd name="connsiteY155" fmla="*/ 2838491 h 3411233"/>
                <a:gd name="connsiteX156" fmla="*/ 665606 w 1919462"/>
                <a:gd name="connsiteY156" fmla="*/ 2821081 h 3411233"/>
                <a:gd name="connsiteX157" fmla="*/ 660807 w 1919462"/>
                <a:gd name="connsiteY157" fmla="*/ 2802470 h 3411233"/>
                <a:gd name="connsiteX158" fmla="*/ 656009 w 1919462"/>
                <a:gd name="connsiteY158" fmla="*/ 2784459 h 3411233"/>
                <a:gd name="connsiteX159" fmla="*/ 651211 w 1919462"/>
                <a:gd name="connsiteY159" fmla="*/ 2767049 h 3411233"/>
                <a:gd name="connsiteX160" fmla="*/ 645813 w 1919462"/>
                <a:gd name="connsiteY160" fmla="*/ 2749638 h 3411233"/>
                <a:gd name="connsiteX161" fmla="*/ 639215 w 1919462"/>
                <a:gd name="connsiteY161" fmla="*/ 2733428 h 3411233"/>
                <a:gd name="connsiteX162" fmla="*/ 633217 w 1919462"/>
                <a:gd name="connsiteY162" fmla="*/ 2717219 h 3411233"/>
                <a:gd name="connsiteX163" fmla="*/ 626619 w 1919462"/>
                <a:gd name="connsiteY163" fmla="*/ 2701009 h 3411233"/>
                <a:gd name="connsiteX164" fmla="*/ 618822 w 1919462"/>
                <a:gd name="connsiteY164" fmla="*/ 2685400 h 3411233"/>
                <a:gd name="connsiteX165" fmla="*/ 611624 w 1919462"/>
                <a:gd name="connsiteY165" fmla="*/ 2670991 h 3411233"/>
                <a:gd name="connsiteX166" fmla="*/ 603827 w 1919462"/>
                <a:gd name="connsiteY166" fmla="*/ 2656583 h 3411233"/>
                <a:gd name="connsiteX167" fmla="*/ 594830 w 1919462"/>
                <a:gd name="connsiteY167" fmla="*/ 2642774 h 3411233"/>
                <a:gd name="connsiteX168" fmla="*/ 585833 w 1919462"/>
                <a:gd name="connsiteY168" fmla="*/ 2630167 h 3411233"/>
                <a:gd name="connsiteX169" fmla="*/ 576236 w 1919462"/>
                <a:gd name="connsiteY169" fmla="*/ 2617559 h 3411233"/>
                <a:gd name="connsiteX170" fmla="*/ 566039 w 1919462"/>
                <a:gd name="connsiteY170" fmla="*/ 2606153 h 3411233"/>
                <a:gd name="connsiteX171" fmla="*/ 555843 w 1919462"/>
                <a:gd name="connsiteY171" fmla="*/ 2594746 h 3411233"/>
                <a:gd name="connsiteX172" fmla="*/ 545421 w 1919462"/>
                <a:gd name="connsiteY172" fmla="*/ 2585961 h 3411233"/>
                <a:gd name="connsiteX173" fmla="*/ 520433 w 1919462"/>
                <a:gd name="connsiteY173" fmla="*/ 2566790 h 3411233"/>
                <a:gd name="connsiteX174" fmla="*/ 507859 w 1919462"/>
                <a:gd name="connsiteY174" fmla="*/ 2559925 h 3411233"/>
                <a:gd name="connsiteX175" fmla="*/ 495263 w 1919462"/>
                <a:gd name="connsiteY175" fmla="*/ 2552721 h 3411233"/>
                <a:gd name="connsiteX176" fmla="*/ 480868 w 1919462"/>
                <a:gd name="connsiteY176" fmla="*/ 2546717 h 3411233"/>
                <a:gd name="connsiteX177" fmla="*/ 477627 w 1919462"/>
                <a:gd name="connsiteY177" fmla="*/ 2545636 h 3411233"/>
                <a:gd name="connsiteX178" fmla="*/ 467885 w 1919462"/>
                <a:gd name="connsiteY178" fmla="*/ 2580337 h 3411233"/>
                <a:gd name="connsiteX179" fmla="*/ 467478 w 1919462"/>
                <a:gd name="connsiteY179" fmla="*/ 2580337 h 3411233"/>
                <a:gd name="connsiteX180" fmla="*/ 467197 w 1919462"/>
                <a:gd name="connsiteY180" fmla="*/ 2581991 h 3411233"/>
                <a:gd name="connsiteX181" fmla="*/ 465996 w 1919462"/>
                <a:gd name="connsiteY181" fmla="*/ 2584353 h 3411233"/>
                <a:gd name="connsiteX182" fmla="*/ 462992 w 1919462"/>
                <a:gd name="connsiteY182" fmla="*/ 2586125 h 3411233"/>
                <a:gd name="connsiteX183" fmla="*/ 458787 w 1919462"/>
                <a:gd name="connsiteY183" fmla="*/ 2588487 h 3411233"/>
                <a:gd name="connsiteX184" fmla="*/ 453981 w 1919462"/>
                <a:gd name="connsiteY184" fmla="*/ 2590259 h 3411233"/>
                <a:gd name="connsiteX185" fmla="*/ 447973 w 1919462"/>
                <a:gd name="connsiteY185" fmla="*/ 2592030 h 3411233"/>
                <a:gd name="connsiteX186" fmla="*/ 432354 w 1919462"/>
                <a:gd name="connsiteY186" fmla="*/ 2595573 h 3411233"/>
                <a:gd name="connsiteX187" fmla="*/ 413130 w 1919462"/>
                <a:gd name="connsiteY187" fmla="*/ 2598526 h 3411233"/>
                <a:gd name="connsiteX188" fmla="*/ 389700 w 1919462"/>
                <a:gd name="connsiteY188" fmla="*/ 2600888 h 3411233"/>
                <a:gd name="connsiteX189" fmla="*/ 363868 w 1919462"/>
                <a:gd name="connsiteY189" fmla="*/ 2603250 h 3411233"/>
                <a:gd name="connsiteX190" fmla="*/ 333230 w 1919462"/>
                <a:gd name="connsiteY190" fmla="*/ 2605022 h 3411233"/>
                <a:gd name="connsiteX191" fmla="*/ 301390 w 1919462"/>
                <a:gd name="connsiteY191" fmla="*/ 2606203 h 3411233"/>
                <a:gd name="connsiteX192" fmla="*/ 265345 w 1919462"/>
                <a:gd name="connsiteY192" fmla="*/ 2607384 h 3411233"/>
                <a:gd name="connsiteX193" fmla="*/ 205351 w 1919462"/>
                <a:gd name="connsiteY193" fmla="*/ 2608291 h 3411233"/>
                <a:gd name="connsiteX194" fmla="*/ 268478 w 1919462"/>
                <a:gd name="connsiteY194" fmla="*/ 2954960 h 3411233"/>
                <a:gd name="connsiteX195" fmla="*/ 327912 w 1919462"/>
                <a:gd name="connsiteY195" fmla="*/ 2954960 h 3411233"/>
                <a:gd name="connsiteX196" fmla="*/ 335717 w 1919462"/>
                <a:gd name="connsiteY196" fmla="*/ 3087039 h 3411233"/>
                <a:gd name="connsiteX197" fmla="*/ 48747 w 1919462"/>
                <a:gd name="connsiteY197" fmla="*/ 3087039 h 3411233"/>
                <a:gd name="connsiteX198" fmla="*/ 48747 w 1919462"/>
                <a:gd name="connsiteY198" fmla="*/ 3411232 h 3411233"/>
                <a:gd name="connsiteX199" fmla="*/ 0 w 1919462"/>
                <a:gd name="connsiteY199" fmla="*/ 3411232 h 3411233"/>
                <a:gd name="connsiteX200" fmla="*/ 0 w 1919462"/>
                <a:gd name="connsiteY200" fmla="*/ 14761 h 3411233"/>
                <a:gd name="connsiteX201" fmla="*/ 5828 w 1919462"/>
                <a:gd name="connsiteY201" fmla="*/ 7821 h 3411233"/>
                <a:gd name="connsiteX202" fmla="*/ 12427 w 1919462"/>
                <a:gd name="connsiteY202" fmla="*/ 0 h 3411233"/>
                <a:gd name="connsiteX203" fmla="*/ 610326 w 1919462"/>
                <a:gd name="connsiteY203" fmla="*/ 1651797 h 3411233"/>
                <a:gd name="connsiteX204" fmla="*/ 615504 w 1919462"/>
                <a:gd name="connsiteY204" fmla="*/ 1656115 h 3411233"/>
                <a:gd name="connsiteX205" fmla="*/ 617909 w 1919462"/>
                <a:gd name="connsiteY205" fmla="*/ 1657956 h 3411233"/>
                <a:gd name="connsiteX206" fmla="*/ 612483 w 1919462"/>
                <a:gd name="connsiteY206" fmla="*/ 1653386 h 3411233"/>
                <a:gd name="connsiteX207" fmla="*/ 610326 w 1919462"/>
                <a:gd name="connsiteY207" fmla="*/ 1651797 h 3411233"/>
                <a:gd name="connsiteX208" fmla="*/ 630820 w 1919462"/>
                <a:gd name="connsiteY208" fmla="*/ 1668699 h 3411233"/>
                <a:gd name="connsiteX209" fmla="*/ 634706 w 1919462"/>
                <a:gd name="connsiteY209" fmla="*/ 1672329 h 3411233"/>
                <a:gd name="connsiteX210" fmla="*/ 639912 w 1919462"/>
                <a:gd name="connsiteY210" fmla="*/ 1677213 h 3411233"/>
                <a:gd name="connsiteX211" fmla="*/ 634095 w 1919462"/>
                <a:gd name="connsiteY211" fmla="*/ 1671397 h 3411233"/>
                <a:gd name="connsiteX212" fmla="*/ 630820 w 1919462"/>
                <a:gd name="connsiteY212" fmla="*/ 1668699 h 3411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1919462" h="3411233">
                  <a:moveTo>
                    <a:pt x="12427" y="0"/>
                  </a:moveTo>
                  <a:lnTo>
                    <a:pt x="19626" y="7821"/>
                  </a:lnTo>
                  <a:lnTo>
                    <a:pt x="38823" y="30681"/>
                  </a:lnTo>
                  <a:lnTo>
                    <a:pt x="68818" y="67377"/>
                  </a:lnTo>
                  <a:lnTo>
                    <a:pt x="87415" y="90838"/>
                  </a:lnTo>
                  <a:lnTo>
                    <a:pt x="107811" y="117909"/>
                  </a:lnTo>
                  <a:lnTo>
                    <a:pt x="130007" y="147988"/>
                  </a:lnTo>
                  <a:lnTo>
                    <a:pt x="154003" y="180473"/>
                  </a:lnTo>
                  <a:lnTo>
                    <a:pt x="179199" y="215966"/>
                  </a:lnTo>
                  <a:lnTo>
                    <a:pt x="205595" y="254466"/>
                  </a:lnTo>
                  <a:lnTo>
                    <a:pt x="233790" y="295975"/>
                  </a:lnTo>
                  <a:lnTo>
                    <a:pt x="261986" y="339289"/>
                  </a:lnTo>
                  <a:lnTo>
                    <a:pt x="290181" y="385008"/>
                  </a:lnTo>
                  <a:lnTo>
                    <a:pt x="320176" y="433134"/>
                  </a:lnTo>
                  <a:lnTo>
                    <a:pt x="342372" y="471635"/>
                  </a:lnTo>
                  <a:lnTo>
                    <a:pt x="364568" y="510737"/>
                  </a:lnTo>
                  <a:lnTo>
                    <a:pt x="386765" y="551644"/>
                  </a:lnTo>
                  <a:lnTo>
                    <a:pt x="408222" y="591771"/>
                  </a:lnTo>
                  <a:lnTo>
                    <a:pt x="409077" y="591968"/>
                  </a:lnTo>
                  <a:lnTo>
                    <a:pt x="431880" y="637609"/>
                  </a:lnTo>
                  <a:lnTo>
                    <a:pt x="454083" y="684450"/>
                  </a:lnTo>
                  <a:lnTo>
                    <a:pt x="476286" y="731893"/>
                  </a:lnTo>
                  <a:lnTo>
                    <a:pt x="497288" y="779935"/>
                  </a:lnTo>
                  <a:lnTo>
                    <a:pt x="517691" y="829179"/>
                  </a:lnTo>
                  <a:lnTo>
                    <a:pt x="536894" y="880225"/>
                  </a:lnTo>
                  <a:lnTo>
                    <a:pt x="555496" y="930669"/>
                  </a:lnTo>
                  <a:lnTo>
                    <a:pt x="572298" y="982916"/>
                  </a:lnTo>
                  <a:lnTo>
                    <a:pt x="588500" y="1035763"/>
                  </a:lnTo>
                  <a:lnTo>
                    <a:pt x="595701" y="1062186"/>
                  </a:lnTo>
                  <a:lnTo>
                    <a:pt x="603502" y="1088610"/>
                  </a:lnTo>
                  <a:lnTo>
                    <a:pt x="610103" y="1116235"/>
                  </a:lnTo>
                  <a:lnTo>
                    <a:pt x="616104" y="1142658"/>
                  </a:lnTo>
                  <a:lnTo>
                    <a:pt x="622705" y="1169682"/>
                  </a:lnTo>
                  <a:lnTo>
                    <a:pt x="628105" y="1197307"/>
                  </a:lnTo>
                  <a:lnTo>
                    <a:pt x="632906" y="1224931"/>
                  </a:lnTo>
                  <a:lnTo>
                    <a:pt x="637707" y="1252556"/>
                  </a:lnTo>
                  <a:lnTo>
                    <a:pt x="642507" y="1279580"/>
                  </a:lnTo>
                  <a:lnTo>
                    <a:pt x="646108" y="1307204"/>
                  </a:lnTo>
                  <a:lnTo>
                    <a:pt x="649108" y="1335430"/>
                  </a:lnTo>
                  <a:lnTo>
                    <a:pt x="652109" y="1363054"/>
                  </a:lnTo>
                  <a:lnTo>
                    <a:pt x="654509" y="1391279"/>
                  </a:lnTo>
                  <a:lnTo>
                    <a:pt x="656309" y="1419504"/>
                  </a:lnTo>
                  <a:lnTo>
                    <a:pt x="626905" y="1406893"/>
                  </a:lnTo>
                  <a:lnTo>
                    <a:pt x="596301" y="1394282"/>
                  </a:lnTo>
                  <a:lnTo>
                    <a:pt x="565097" y="1382872"/>
                  </a:lnTo>
                  <a:lnTo>
                    <a:pt x="532693" y="1371462"/>
                  </a:lnTo>
                  <a:lnTo>
                    <a:pt x="500289" y="1360652"/>
                  </a:lnTo>
                  <a:lnTo>
                    <a:pt x="466084" y="1349842"/>
                  </a:lnTo>
                  <a:lnTo>
                    <a:pt x="431880" y="1340234"/>
                  </a:lnTo>
                  <a:lnTo>
                    <a:pt x="396475" y="1331226"/>
                  </a:lnTo>
                  <a:lnTo>
                    <a:pt x="359871" y="1322218"/>
                  </a:lnTo>
                  <a:lnTo>
                    <a:pt x="323266" y="1315011"/>
                  </a:lnTo>
                  <a:lnTo>
                    <a:pt x="286061" y="1307204"/>
                  </a:lnTo>
                  <a:lnTo>
                    <a:pt x="247656" y="1301199"/>
                  </a:lnTo>
                  <a:lnTo>
                    <a:pt x="208651" y="1295794"/>
                  </a:lnTo>
                  <a:lnTo>
                    <a:pt x="170246" y="1291591"/>
                  </a:lnTo>
                  <a:lnTo>
                    <a:pt x="130041" y="1287987"/>
                  </a:lnTo>
                  <a:lnTo>
                    <a:pt x="89836" y="1284985"/>
                  </a:lnTo>
                  <a:lnTo>
                    <a:pt x="89836" y="1285985"/>
                  </a:lnTo>
                  <a:lnTo>
                    <a:pt x="104580" y="1286567"/>
                  </a:lnTo>
                  <a:lnTo>
                    <a:pt x="149607" y="1290169"/>
                  </a:lnTo>
                  <a:lnTo>
                    <a:pt x="193433" y="1294972"/>
                  </a:lnTo>
                  <a:lnTo>
                    <a:pt x="237259" y="1300375"/>
                  </a:lnTo>
                  <a:lnTo>
                    <a:pt x="279884" y="1306979"/>
                  </a:lnTo>
                  <a:lnTo>
                    <a:pt x="321909" y="1315384"/>
                  </a:lnTo>
                  <a:lnTo>
                    <a:pt x="363334" y="1323789"/>
                  </a:lnTo>
                  <a:lnTo>
                    <a:pt x="402958" y="1333995"/>
                  </a:lnTo>
                  <a:lnTo>
                    <a:pt x="441981" y="1344201"/>
                  </a:lnTo>
                  <a:lnTo>
                    <a:pt x="481004" y="1355608"/>
                  </a:lnTo>
                  <a:lnTo>
                    <a:pt x="518226" y="1367015"/>
                  </a:lnTo>
                  <a:lnTo>
                    <a:pt x="554248" y="1379622"/>
                  </a:lnTo>
                  <a:lnTo>
                    <a:pt x="589669" y="1392830"/>
                  </a:lnTo>
                  <a:lnTo>
                    <a:pt x="623889" y="1406038"/>
                  </a:lnTo>
                  <a:lnTo>
                    <a:pt x="656909" y="1420447"/>
                  </a:lnTo>
                  <a:lnTo>
                    <a:pt x="658110" y="1458870"/>
                  </a:lnTo>
                  <a:lnTo>
                    <a:pt x="658710" y="1497293"/>
                  </a:lnTo>
                  <a:lnTo>
                    <a:pt x="658710" y="1547723"/>
                  </a:lnTo>
                  <a:lnTo>
                    <a:pt x="657509" y="1595752"/>
                  </a:lnTo>
                  <a:lnTo>
                    <a:pt x="655108" y="1643780"/>
                  </a:lnTo>
                  <a:lnTo>
                    <a:pt x="652707" y="1690608"/>
                  </a:lnTo>
                  <a:lnTo>
                    <a:pt x="652093" y="1689953"/>
                  </a:lnTo>
                  <a:lnTo>
                    <a:pt x="647908" y="1744994"/>
                  </a:lnTo>
                  <a:lnTo>
                    <a:pt x="642507" y="1799042"/>
                  </a:lnTo>
                  <a:lnTo>
                    <a:pt x="638088" y="1835228"/>
                  </a:lnTo>
                  <a:lnTo>
                    <a:pt x="647303" y="1829546"/>
                  </a:lnTo>
                  <a:lnTo>
                    <a:pt x="710941" y="1791188"/>
                  </a:lnTo>
                  <a:lnTo>
                    <a:pt x="776981" y="1752232"/>
                  </a:lnTo>
                  <a:lnTo>
                    <a:pt x="846622" y="1712077"/>
                  </a:lnTo>
                  <a:lnTo>
                    <a:pt x="994911" y="1628170"/>
                  </a:lnTo>
                  <a:lnTo>
                    <a:pt x="1023728" y="1656938"/>
                  </a:lnTo>
                  <a:lnTo>
                    <a:pt x="873038" y="1742642"/>
                  </a:lnTo>
                  <a:lnTo>
                    <a:pt x="803396" y="1782198"/>
                  </a:lnTo>
                  <a:lnTo>
                    <a:pt x="736757" y="1821754"/>
                  </a:lnTo>
                  <a:lnTo>
                    <a:pt x="671918" y="1860711"/>
                  </a:lnTo>
                  <a:lnTo>
                    <a:pt x="631332" y="1886280"/>
                  </a:lnTo>
                  <a:lnTo>
                    <a:pt x="628705" y="1905337"/>
                  </a:lnTo>
                  <a:lnTo>
                    <a:pt x="620304" y="1958184"/>
                  </a:lnTo>
                  <a:lnTo>
                    <a:pt x="610703" y="2010430"/>
                  </a:lnTo>
                  <a:lnTo>
                    <a:pt x="600502" y="2062677"/>
                  </a:lnTo>
                  <a:lnTo>
                    <a:pt x="589100" y="2115524"/>
                  </a:lnTo>
                  <a:lnTo>
                    <a:pt x="584385" y="2136522"/>
                  </a:lnTo>
                  <a:lnTo>
                    <a:pt x="587032" y="2138474"/>
                  </a:lnTo>
                  <a:lnTo>
                    <a:pt x="618222" y="2160687"/>
                  </a:lnTo>
                  <a:lnTo>
                    <a:pt x="665606" y="2192506"/>
                  </a:lnTo>
                  <a:lnTo>
                    <a:pt x="693796" y="2211117"/>
                  </a:lnTo>
                  <a:lnTo>
                    <a:pt x="723786" y="2230329"/>
                  </a:lnTo>
                  <a:lnTo>
                    <a:pt x="755576" y="2250141"/>
                  </a:lnTo>
                  <a:lnTo>
                    <a:pt x="788564" y="2269352"/>
                  </a:lnTo>
                  <a:lnTo>
                    <a:pt x="822153" y="2287963"/>
                  </a:lnTo>
                  <a:lnTo>
                    <a:pt x="855742" y="2305374"/>
                  </a:lnTo>
                  <a:lnTo>
                    <a:pt x="872536" y="2312578"/>
                  </a:lnTo>
                  <a:lnTo>
                    <a:pt x="888731" y="2320382"/>
                  </a:lnTo>
                  <a:lnTo>
                    <a:pt x="904925" y="2327587"/>
                  </a:lnTo>
                  <a:lnTo>
                    <a:pt x="920520" y="2333590"/>
                  </a:lnTo>
                  <a:lnTo>
                    <a:pt x="936115" y="2338393"/>
                  </a:lnTo>
                  <a:lnTo>
                    <a:pt x="951110" y="2343196"/>
                  </a:lnTo>
                  <a:lnTo>
                    <a:pt x="966105" y="2347399"/>
                  </a:lnTo>
                  <a:lnTo>
                    <a:pt x="979300" y="2350400"/>
                  </a:lnTo>
                  <a:lnTo>
                    <a:pt x="958129" y="2450519"/>
                  </a:lnTo>
                  <a:lnTo>
                    <a:pt x="1865451" y="3116458"/>
                  </a:lnTo>
                  <a:lnTo>
                    <a:pt x="1870852" y="3120660"/>
                  </a:lnTo>
                  <a:lnTo>
                    <a:pt x="1878054" y="3127264"/>
                  </a:lnTo>
                  <a:lnTo>
                    <a:pt x="1886455" y="3136269"/>
                  </a:lnTo>
                  <a:lnTo>
                    <a:pt x="1891256" y="3142273"/>
                  </a:lnTo>
                  <a:lnTo>
                    <a:pt x="1896057" y="3148277"/>
                  </a:lnTo>
                  <a:lnTo>
                    <a:pt x="1900258" y="3154881"/>
                  </a:lnTo>
                  <a:lnTo>
                    <a:pt x="1904459" y="3162085"/>
                  </a:lnTo>
                  <a:lnTo>
                    <a:pt x="1908660" y="3170490"/>
                  </a:lnTo>
                  <a:lnTo>
                    <a:pt x="1912261" y="3178895"/>
                  </a:lnTo>
                  <a:lnTo>
                    <a:pt x="1915261" y="3187900"/>
                  </a:lnTo>
                  <a:lnTo>
                    <a:pt x="1917662" y="3197506"/>
                  </a:lnTo>
                  <a:lnTo>
                    <a:pt x="1918862" y="3207712"/>
                  </a:lnTo>
                  <a:lnTo>
                    <a:pt x="1919462" y="3217918"/>
                  </a:lnTo>
                  <a:lnTo>
                    <a:pt x="1919462" y="3411233"/>
                  </a:lnTo>
                  <a:lnTo>
                    <a:pt x="1894857" y="3411233"/>
                  </a:lnTo>
                  <a:lnTo>
                    <a:pt x="1894856" y="3411232"/>
                  </a:lnTo>
                  <a:lnTo>
                    <a:pt x="1621083" y="3411232"/>
                  </a:lnTo>
                  <a:lnTo>
                    <a:pt x="875876" y="2839494"/>
                  </a:lnTo>
                  <a:lnTo>
                    <a:pt x="754976" y="3411232"/>
                  </a:lnTo>
                  <a:lnTo>
                    <a:pt x="683000" y="3411232"/>
                  </a:lnTo>
                  <a:lnTo>
                    <a:pt x="686599" y="3377612"/>
                  </a:lnTo>
                  <a:lnTo>
                    <a:pt x="690198" y="3339189"/>
                  </a:lnTo>
                  <a:lnTo>
                    <a:pt x="693197" y="3288159"/>
                  </a:lnTo>
                  <a:lnTo>
                    <a:pt x="694996" y="3259342"/>
                  </a:lnTo>
                  <a:lnTo>
                    <a:pt x="696196" y="3228723"/>
                  </a:lnTo>
                  <a:lnTo>
                    <a:pt x="696795" y="3195103"/>
                  </a:lnTo>
                  <a:lnTo>
                    <a:pt x="697395" y="3160283"/>
                  </a:lnTo>
                  <a:lnTo>
                    <a:pt x="697395" y="3124862"/>
                  </a:lnTo>
                  <a:lnTo>
                    <a:pt x="696795" y="3087640"/>
                  </a:lnTo>
                  <a:lnTo>
                    <a:pt x="694996" y="3049817"/>
                  </a:lnTo>
                  <a:lnTo>
                    <a:pt x="692597" y="3010794"/>
                  </a:lnTo>
                  <a:lnTo>
                    <a:pt x="689598" y="2972971"/>
                  </a:lnTo>
                  <a:lnTo>
                    <a:pt x="685399" y="2933948"/>
                  </a:lnTo>
                  <a:lnTo>
                    <a:pt x="680001" y="2895525"/>
                  </a:lnTo>
                  <a:lnTo>
                    <a:pt x="673403" y="2857703"/>
                  </a:lnTo>
                  <a:lnTo>
                    <a:pt x="669804" y="2838491"/>
                  </a:lnTo>
                  <a:lnTo>
                    <a:pt x="665606" y="2821081"/>
                  </a:lnTo>
                  <a:lnTo>
                    <a:pt x="660807" y="2802470"/>
                  </a:lnTo>
                  <a:lnTo>
                    <a:pt x="656009" y="2784459"/>
                  </a:lnTo>
                  <a:lnTo>
                    <a:pt x="651211" y="2767049"/>
                  </a:lnTo>
                  <a:lnTo>
                    <a:pt x="645813" y="2749638"/>
                  </a:lnTo>
                  <a:lnTo>
                    <a:pt x="639215" y="2733428"/>
                  </a:lnTo>
                  <a:lnTo>
                    <a:pt x="633217" y="2717219"/>
                  </a:lnTo>
                  <a:lnTo>
                    <a:pt x="626619" y="2701009"/>
                  </a:lnTo>
                  <a:lnTo>
                    <a:pt x="618822" y="2685400"/>
                  </a:lnTo>
                  <a:lnTo>
                    <a:pt x="611624" y="2670991"/>
                  </a:lnTo>
                  <a:lnTo>
                    <a:pt x="603827" y="2656583"/>
                  </a:lnTo>
                  <a:lnTo>
                    <a:pt x="594830" y="2642774"/>
                  </a:lnTo>
                  <a:lnTo>
                    <a:pt x="585833" y="2630167"/>
                  </a:lnTo>
                  <a:lnTo>
                    <a:pt x="576236" y="2617559"/>
                  </a:lnTo>
                  <a:lnTo>
                    <a:pt x="566039" y="2606153"/>
                  </a:lnTo>
                  <a:lnTo>
                    <a:pt x="555843" y="2594746"/>
                  </a:lnTo>
                  <a:lnTo>
                    <a:pt x="545421" y="2585961"/>
                  </a:lnTo>
                  <a:lnTo>
                    <a:pt x="520433" y="2566790"/>
                  </a:lnTo>
                  <a:lnTo>
                    <a:pt x="507859" y="2559925"/>
                  </a:lnTo>
                  <a:lnTo>
                    <a:pt x="495263" y="2552721"/>
                  </a:lnTo>
                  <a:lnTo>
                    <a:pt x="480868" y="2546717"/>
                  </a:lnTo>
                  <a:lnTo>
                    <a:pt x="477627" y="2545636"/>
                  </a:lnTo>
                  <a:lnTo>
                    <a:pt x="467885" y="2580337"/>
                  </a:lnTo>
                  <a:lnTo>
                    <a:pt x="467478" y="2580337"/>
                  </a:lnTo>
                  <a:lnTo>
                    <a:pt x="467197" y="2581991"/>
                  </a:lnTo>
                  <a:lnTo>
                    <a:pt x="465996" y="2584353"/>
                  </a:lnTo>
                  <a:lnTo>
                    <a:pt x="462992" y="2586125"/>
                  </a:lnTo>
                  <a:lnTo>
                    <a:pt x="458787" y="2588487"/>
                  </a:lnTo>
                  <a:lnTo>
                    <a:pt x="453981" y="2590259"/>
                  </a:lnTo>
                  <a:lnTo>
                    <a:pt x="447973" y="2592030"/>
                  </a:lnTo>
                  <a:lnTo>
                    <a:pt x="432354" y="2595573"/>
                  </a:lnTo>
                  <a:lnTo>
                    <a:pt x="413130" y="2598526"/>
                  </a:lnTo>
                  <a:lnTo>
                    <a:pt x="389700" y="2600888"/>
                  </a:lnTo>
                  <a:lnTo>
                    <a:pt x="363868" y="2603250"/>
                  </a:lnTo>
                  <a:lnTo>
                    <a:pt x="333230" y="2605022"/>
                  </a:lnTo>
                  <a:lnTo>
                    <a:pt x="301390" y="2606203"/>
                  </a:lnTo>
                  <a:lnTo>
                    <a:pt x="265345" y="2607384"/>
                  </a:lnTo>
                  <a:lnTo>
                    <a:pt x="205351" y="2608291"/>
                  </a:lnTo>
                  <a:lnTo>
                    <a:pt x="268478" y="2954960"/>
                  </a:lnTo>
                  <a:lnTo>
                    <a:pt x="327912" y="2954960"/>
                  </a:lnTo>
                  <a:lnTo>
                    <a:pt x="335717" y="3087039"/>
                  </a:lnTo>
                  <a:lnTo>
                    <a:pt x="48747" y="3087039"/>
                  </a:lnTo>
                  <a:lnTo>
                    <a:pt x="48747" y="3411232"/>
                  </a:lnTo>
                  <a:lnTo>
                    <a:pt x="0" y="3411232"/>
                  </a:lnTo>
                  <a:lnTo>
                    <a:pt x="0" y="14761"/>
                  </a:lnTo>
                  <a:lnTo>
                    <a:pt x="5828" y="7821"/>
                  </a:lnTo>
                  <a:lnTo>
                    <a:pt x="12427" y="0"/>
                  </a:lnTo>
                  <a:close/>
                  <a:moveTo>
                    <a:pt x="610326" y="1651797"/>
                  </a:moveTo>
                  <a:lnTo>
                    <a:pt x="615504" y="1656115"/>
                  </a:lnTo>
                  <a:lnTo>
                    <a:pt x="617909" y="1657956"/>
                  </a:lnTo>
                  <a:lnTo>
                    <a:pt x="612483" y="1653386"/>
                  </a:lnTo>
                  <a:lnTo>
                    <a:pt x="610326" y="1651797"/>
                  </a:lnTo>
                  <a:close/>
                  <a:moveTo>
                    <a:pt x="630820" y="1668699"/>
                  </a:moveTo>
                  <a:lnTo>
                    <a:pt x="634706" y="1672329"/>
                  </a:lnTo>
                  <a:lnTo>
                    <a:pt x="639912" y="1677213"/>
                  </a:lnTo>
                  <a:lnTo>
                    <a:pt x="634095" y="1671397"/>
                  </a:lnTo>
                  <a:lnTo>
                    <a:pt x="630820" y="1668699"/>
                  </a:lnTo>
                  <a:close/>
                </a:path>
              </a:pathLst>
            </a:custGeom>
            <a:solidFill>
              <a:schemeClr val="tx1">
                <a:lumMod val="85000"/>
                <a:lumOff val="15000"/>
                <a:alpha val="10000"/>
              </a:schemeClr>
            </a:solidFill>
            <a:ln>
              <a:noFill/>
            </a:ln>
          </p:spPr>
          <p:txBody>
            <a:bodyPr vert="horz" wrap="square" lIns="91440" tIns="45720" rIns="91440" bIns="45720" numCol="1" anchor="t" anchorCtr="0" compatLnSpc="1">
              <a:prstTxWarp prst="textNoShape">
                <a:avLst/>
              </a:prstTxWarp>
              <a:noAutofit/>
            </a:bodyPr>
            <a:lstStyle/>
            <a:p>
              <a:endParaRPr lang="ko-KR" altLang="en-US" sz="2400"/>
            </a:p>
          </p:txBody>
        </p:sp>
      </p:grpSp>
      <p:sp>
        <p:nvSpPr>
          <p:cNvPr id="851" name="자유형 850"/>
          <p:cNvSpPr>
            <a:spLocks/>
          </p:cNvSpPr>
          <p:nvPr userDrawn="1"/>
        </p:nvSpPr>
        <p:spPr bwMode="auto">
          <a:xfrm>
            <a:off x="-1948885" y="4108492"/>
            <a:ext cx="10111" cy="8759"/>
          </a:xfrm>
          <a:custGeom>
            <a:avLst/>
            <a:gdLst>
              <a:gd name="connsiteX0" fmla="*/ 0 w 7583"/>
              <a:gd name="connsiteY0" fmla="*/ 0 h 6159"/>
              <a:gd name="connsiteX1" fmla="*/ 2157 w 7583"/>
              <a:gd name="connsiteY1" fmla="*/ 1589 h 6159"/>
              <a:gd name="connsiteX2" fmla="*/ 7583 w 7583"/>
              <a:gd name="connsiteY2" fmla="*/ 6159 h 6159"/>
              <a:gd name="connsiteX3" fmla="*/ 5178 w 7583"/>
              <a:gd name="connsiteY3" fmla="*/ 4318 h 6159"/>
              <a:gd name="connsiteX4" fmla="*/ 0 w 7583"/>
              <a:gd name="connsiteY4" fmla="*/ 0 h 6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3" h="6159">
                <a:moveTo>
                  <a:pt x="0" y="0"/>
                </a:moveTo>
                <a:lnTo>
                  <a:pt x="2157" y="1589"/>
                </a:lnTo>
                <a:lnTo>
                  <a:pt x="7583" y="6159"/>
                </a:lnTo>
                <a:lnTo>
                  <a:pt x="5178" y="4318"/>
                </a:lnTo>
                <a:lnTo>
                  <a:pt x="0" y="0"/>
                </a:lnTo>
                <a:close/>
              </a:path>
            </a:pathLst>
          </a:custGeom>
          <a:solidFill>
            <a:srgbClr val="E0E1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ko-KR" altLang="en-US" sz="2400"/>
          </a:p>
        </p:txBody>
      </p:sp>
      <p:sp>
        <p:nvSpPr>
          <p:cNvPr id="850" name="자유형 849"/>
          <p:cNvSpPr>
            <a:spLocks/>
          </p:cNvSpPr>
          <p:nvPr userDrawn="1"/>
        </p:nvSpPr>
        <p:spPr bwMode="auto">
          <a:xfrm>
            <a:off x="-1921562" y="4132530"/>
            <a:ext cx="12123" cy="12109"/>
          </a:xfrm>
          <a:custGeom>
            <a:avLst/>
            <a:gdLst>
              <a:gd name="connsiteX0" fmla="*/ 0 w 9092"/>
              <a:gd name="connsiteY0" fmla="*/ 0 h 8514"/>
              <a:gd name="connsiteX1" fmla="*/ 3275 w 9092"/>
              <a:gd name="connsiteY1" fmla="*/ 2698 h 8514"/>
              <a:gd name="connsiteX2" fmla="*/ 9092 w 9092"/>
              <a:gd name="connsiteY2" fmla="*/ 8514 h 8514"/>
              <a:gd name="connsiteX3" fmla="*/ 3886 w 9092"/>
              <a:gd name="connsiteY3" fmla="*/ 3630 h 8514"/>
              <a:gd name="connsiteX4" fmla="*/ 0 w 9092"/>
              <a:gd name="connsiteY4" fmla="*/ 0 h 8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92" h="8514">
                <a:moveTo>
                  <a:pt x="0" y="0"/>
                </a:moveTo>
                <a:lnTo>
                  <a:pt x="3275" y="2698"/>
                </a:lnTo>
                <a:lnTo>
                  <a:pt x="9092" y="8514"/>
                </a:lnTo>
                <a:lnTo>
                  <a:pt x="3886" y="3630"/>
                </a:lnTo>
                <a:lnTo>
                  <a:pt x="0" y="0"/>
                </a:lnTo>
                <a:close/>
              </a:path>
            </a:pathLst>
          </a:custGeom>
          <a:solidFill>
            <a:srgbClr val="E0E1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ko-KR" altLang="en-US" sz="2400"/>
          </a:p>
        </p:txBody>
      </p:sp>
      <p:grpSp>
        <p:nvGrpSpPr>
          <p:cNvPr id="855" name="그룹 854"/>
          <p:cNvGrpSpPr/>
          <p:nvPr userDrawn="1"/>
        </p:nvGrpSpPr>
        <p:grpSpPr>
          <a:xfrm rot="3600000">
            <a:off x="1049221" y="3197401"/>
            <a:ext cx="969441" cy="910167"/>
            <a:chOff x="-5705856" y="-3474720"/>
            <a:chExt cx="1609344" cy="1609344"/>
          </a:xfrm>
        </p:grpSpPr>
        <p:sp>
          <p:nvSpPr>
            <p:cNvPr id="856" name="자유형 855"/>
            <p:cNvSpPr/>
            <p:nvPr/>
          </p:nvSpPr>
          <p:spPr>
            <a:xfrm>
              <a:off x="-4910328" y="-3474720"/>
              <a:ext cx="237744" cy="1609344"/>
            </a:xfrm>
            <a:custGeom>
              <a:avLst/>
              <a:gdLst>
                <a:gd name="connsiteX0" fmla="*/ 9144 w 237744"/>
                <a:gd name="connsiteY0" fmla="*/ 0 h 1609344"/>
                <a:gd name="connsiteX1" fmla="*/ 171313 w 237744"/>
                <a:gd name="connsiteY1" fmla="*/ 16348 h 1609344"/>
                <a:gd name="connsiteX2" fmla="*/ 237744 w 237744"/>
                <a:gd name="connsiteY2" fmla="*/ 33429 h 1609344"/>
                <a:gd name="connsiteX3" fmla="*/ 237744 w 237744"/>
                <a:gd name="connsiteY3" fmla="*/ 1575915 h 1609344"/>
                <a:gd name="connsiteX4" fmla="*/ 171313 w 237744"/>
                <a:gd name="connsiteY4" fmla="*/ 1592996 h 1609344"/>
                <a:gd name="connsiteX5" fmla="*/ 9144 w 237744"/>
                <a:gd name="connsiteY5" fmla="*/ 1609344 h 1609344"/>
                <a:gd name="connsiteX6" fmla="*/ 0 w 237744"/>
                <a:gd name="connsiteY6" fmla="*/ 1608883 h 1609344"/>
                <a:gd name="connsiteX7" fmla="*/ 0 w 237744"/>
                <a:gd name="connsiteY7" fmla="*/ 462 h 1609344"/>
                <a:gd name="connsiteX8" fmla="*/ 9144 w 237744"/>
                <a:gd name="connsiteY8" fmla="*/ 0 h 1609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7744" h="1609344">
                  <a:moveTo>
                    <a:pt x="9144" y="0"/>
                  </a:moveTo>
                  <a:cubicBezTo>
                    <a:pt x="64695" y="0"/>
                    <a:pt x="118931" y="5629"/>
                    <a:pt x="171313" y="16348"/>
                  </a:cubicBezTo>
                  <a:lnTo>
                    <a:pt x="237744" y="33429"/>
                  </a:lnTo>
                  <a:lnTo>
                    <a:pt x="237744" y="1575915"/>
                  </a:lnTo>
                  <a:lnTo>
                    <a:pt x="171313" y="1592996"/>
                  </a:lnTo>
                  <a:cubicBezTo>
                    <a:pt x="118931" y="1603715"/>
                    <a:pt x="64695" y="1609344"/>
                    <a:pt x="9144" y="1609344"/>
                  </a:cubicBezTo>
                  <a:lnTo>
                    <a:pt x="0" y="1608883"/>
                  </a:lnTo>
                  <a:lnTo>
                    <a:pt x="0" y="462"/>
                  </a:lnTo>
                  <a:lnTo>
                    <a:pt x="9144"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857" name="자유형 856"/>
            <p:cNvSpPr/>
            <p:nvPr/>
          </p:nvSpPr>
          <p:spPr>
            <a:xfrm>
              <a:off x="-5705856" y="-3448343"/>
              <a:ext cx="603504" cy="1556593"/>
            </a:xfrm>
            <a:custGeom>
              <a:avLst/>
              <a:gdLst>
                <a:gd name="connsiteX0" fmla="*/ 603504 w 603504"/>
                <a:gd name="connsiteY0" fmla="*/ 0 h 1556593"/>
                <a:gd name="connsiteX1" fmla="*/ 603504 w 603504"/>
                <a:gd name="connsiteY1" fmla="*/ 1556593 h 1556593"/>
                <a:gd name="connsiteX2" fmla="*/ 565387 w 603504"/>
                <a:gd name="connsiteY2" fmla="*/ 1546792 h 1556593"/>
                <a:gd name="connsiteX3" fmla="*/ 0 w 603504"/>
                <a:gd name="connsiteY3" fmla="*/ 778296 h 1556593"/>
                <a:gd name="connsiteX4" fmla="*/ 565387 w 603504"/>
                <a:gd name="connsiteY4" fmla="*/ 9800 h 1556593"/>
                <a:gd name="connsiteX5" fmla="*/ 603504 w 603504"/>
                <a:gd name="connsiteY5" fmla="*/ 0 h 1556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3504" h="1556593">
                  <a:moveTo>
                    <a:pt x="603504" y="0"/>
                  </a:moveTo>
                  <a:lnTo>
                    <a:pt x="603504" y="1556593"/>
                  </a:lnTo>
                  <a:lnTo>
                    <a:pt x="565387" y="1546792"/>
                  </a:lnTo>
                  <a:cubicBezTo>
                    <a:pt x="237830" y="1444911"/>
                    <a:pt x="0" y="1139378"/>
                    <a:pt x="0" y="778296"/>
                  </a:cubicBezTo>
                  <a:cubicBezTo>
                    <a:pt x="0" y="417215"/>
                    <a:pt x="237830" y="111681"/>
                    <a:pt x="565387" y="9800"/>
                  </a:cubicBezTo>
                  <a:lnTo>
                    <a:pt x="603504"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858" name="자유형 857"/>
            <p:cNvSpPr/>
            <p:nvPr/>
          </p:nvSpPr>
          <p:spPr>
            <a:xfrm>
              <a:off x="-4590288" y="-3412334"/>
              <a:ext cx="493776" cy="1484572"/>
            </a:xfrm>
            <a:custGeom>
              <a:avLst/>
              <a:gdLst>
                <a:gd name="connsiteX0" fmla="*/ 0 w 493776"/>
                <a:gd name="connsiteY0" fmla="*/ 0 h 1484572"/>
                <a:gd name="connsiteX1" fmla="*/ 2319 w 493776"/>
                <a:gd name="connsiteY1" fmla="*/ 849 h 1484572"/>
                <a:gd name="connsiteX2" fmla="*/ 493776 w 493776"/>
                <a:gd name="connsiteY2" fmla="*/ 742286 h 1484572"/>
                <a:gd name="connsiteX3" fmla="*/ 2319 w 493776"/>
                <a:gd name="connsiteY3" fmla="*/ 1483723 h 1484572"/>
                <a:gd name="connsiteX4" fmla="*/ 0 w 493776"/>
                <a:gd name="connsiteY4" fmla="*/ 1484572 h 1484572"/>
                <a:gd name="connsiteX5" fmla="*/ 0 w 493776"/>
                <a:gd name="connsiteY5" fmla="*/ 0 h 1484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6" h="1484572">
                  <a:moveTo>
                    <a:pt x="0" y="0"/>
                  </a:moveTo>
                  <a:lnTo>
                    <a:pt x="2319" y="849"/>
                  </a:lnTo>
                  <a:cubicBezTo>
                    <a:pt x="291128" y="123005"/>
                    <a:pt x="493776" y="408980"/>
                    <a:pt x="493776" y="742286"/>
                  </a:cubicBezTo>
                  <a:cubicBezTo>
                    <a:pt x="493776" y="1075592"/>
                    <a:pt x="291128" y="1361567"/>
                    <a:pt x="2319" y="1483723"/>
                  </a:cubicBezTo>
                  <a:lnTo>
                    <a:pt x="0" y="1484572"/>
                  </a:lnTo>
                  <a:lnTo>
                    <a:pt x="0"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spTree>
    <p:extLst>
      <p:ext uri="{BB962C8B-B14F-4D97-AF65-F5344CB8AC3E}">
        <p14:creationId xmlns:p14="http://schemas.microsoft.com/office/powerpoint/2010/main" val="84457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2">
    <p:bg>
      <p:bgPr>
        <a:gradFill>
          <a:gsLst>
            <a:gs pos="0">
              <a:srgbClr val="0F1121"/>
            </a:gs>
            <a:gs pos="100000">
              <a:srgbClr val="0C191A"/>
            </a:gs>
          </a:gsLst>
          <a:lin ang="0" scaled="1"/>
        </a:gradFill>
        <a:effectLst/>
      </p:bgPr>
    </p:bg>
    <p:spTree>
      <p:nvGrpSpPr>
        <p:cNvPr id="1" name=""/>
        <p:cNvGrpSpPr/>
        <p:nvPr/>
      </p:nvGrpSpPr>
      <p:grpSpPr>
        <a:xfrm>
          <a:off x="0" y="0"/>
          <a:ext cx="0" cy="0"/>
          <a:chOff x="0" y="0"/>
          <a:chExt cx="0" cy="0"/>
        </a:xfrm>
      </p:grpSpPr>
      <p:grpSp>
        <p:nvGrpSpPr>
          <p:cNvPr id="7560" name="그룹 7559"/>
          <p:cNvGrpSpPr/>
          <p:nvPr userDrawn="1"/>
        </p:nvGrpSpPr>
        <p:grpSpPr>
          <a:xfrm>
            <a:off x="3092183" y="617402"/>
            <a:ext cx="9208287" cy="7292561"/>
            <a:chOff x="2319137" y="434111"/>
            <a:chExt cx="6906215" cy="5127582"/>
          </a:xfrm>
        </p:grpSpPr>
        <p:sp>
          <p:nvSpPr>
            <p:cNvPr id="747" name="자유형 746"/>
            <p:cNvSpPr>
              <a:spLocks/>
            </p:cNvSpPr>
            <p:nvPr userDrawn="1"/>
          </p:nvSpPr>
          <p:spPr bwMode="auto">
            <a:xfrm rot="20844360">
              <a:off x="4500321" y="1767295"/>
              <a:ext cx="4559714" cy="3794398"/>
            </a:xfrm>
            <a:custGeom>
              <a:avLst/>
              <a:gdLst>
                <a:gd name="connsiteX0" fmla="*/ 2830447 w 4559714"/>
                <a:gd name="connsiteY0" fmla="*/ 68979 h 3794398"/>
                <a:gd name="connsiteX1" fmla="*/ 2860838 w 4559714"/>
                <a:gd name="connsiteY1" fmla="*/ 77094 h 3794398"/>
                <a:gd name="connsiteX2" fmla="*/ 2919594 w 4559714"/>
                <a:gd name="connsiteY2" fmla="*/ 93324 h 3794398"/>
                <a:gd name="connsiteX3" fmla="*/ 2976325 w 4559714"/>
                <a:gd name="connsiteY3" fmla="*/ 111584 h 3794398"/>
                <a:gd name="connsiteX4" fmla="*/ 3033056 w 4559714"/>
                <a:gd name="connsiteY4" fmla="*/ 129843 h 3794398"/>
                <a:gd name="connsiteX5" fmla="*/ 3089786 w 4559714"/>
                <a:gd name="connsiteY5" fmla="*/ 151145 h 3794398"/>
                <a:gd name="connsiteX6" fmla="*/ 3144491 w 4559714"/>
                <a:gd name="connsiteY6" fmla="*/ 171433 h 3794398"/>
                <a:gd name="connsiteX7" fmla="*/ 3199195 w 4559714"/>
                <a:gd name="connsiteY7" fmla="*/ 194764 h 3794398"/>
                <a:gd name="connsiteX8" fmla="*/ 3252886 w 4559714"/>
                <a:gd name="connsiteY8" fmla="*/ 220124 h 3794398"/>
                <a:gd name="connsiteX9" fmla="*/ 3305565 w 4559714"/>
                <a:gd name="connsiteY9" fmla="*/ 245483 h 3794398"/>
                <a:gd name="connsiteX10" fmla="*/ 3308604 w 4559714"/>
                <a:gd name="connsiteY10" fmla="*/ 247513 h 3794398"/>
                <a:gd name="connsiteX11" fmla="*/ 3342035 w 4559714"/>
                <a:gd name="connsiteY11" fmla="*/ 265771 h 3794398"/>
                <a:gd name="connsiteX12" fmla="*/ 3376477 w 4559714"/>
                <a:gd name="connsiteY12" fmla="*/ 283016 h 3794398"/>
                <a:gd name="connsiteX13" fmla="*/ 3441313 w 4559714"/>
                <a:gd name="connsiteY13" fmla="*/ 321563 h 3794398"/>
                <a:gd name="connsiteX14" fmla="*/ 3463600 w 4559714"/>
                <a:gd name="connsiteY14" fmla="*/ 333736 h 3794398"/>
                <a:gd name="connsiteX15" fmla="*/ 3512226 w 4559714"/>
                <a:gd name="connsiteY15" fmla="*/ 366196 h 3794398"/>
                <a:gd name="connsiteX16" fmla="*/ 3561866 w 4559714"/>
                <a:gd name="connsiteY16" fmla="*/ 398657 h 3794398"/>
                <a:gd name="connsiteX17" fmla="*/ 3610492 w 4559714"/>
                <a:gd name="connsiteY17" fmla="*/ 431117 h 3794398"/>
                <a:gd name="connsiteX18" fmla="*/ 3657092 w 4559714"/>
                <a:gd name="connsiteY18" fmla="*/ 466621 h 3794398"/>
                <a:gd name="connsiteX19" fmla="*/ 3703692 w 4559714"/>
                <a:gd name="connsiteY19" fmla="*/ 502125 h 3794398"/>
                <a:gd name="connsiteX20" fmla="*/ 3749279 w 4559714"/>
                <a:gd name="connsiteY20" fmla="*/ 539658 h 3794398"/>
                <a:gd name="connsiteX21" fmla="*/ 3792839 w 4559714"/>
                <a:gd name="connsiteY21" fmla="*/ 578205 h 3794398"/>
                <a:gd name="connsiteX22" fmla="*/ 3837413 w 4559714"/>
                <a:gd name="connsiteY22" fmla="*/ 617766 h 3794398"/>
                <a:gd name="connsiteX23" fmla="*/ 3839440 w 4559714"/>
                <a:gd name="connsiteY23" fmla="*/ 620810 h 3794398"/>
                <a:gd name="connsiteX24" fmla="*/ 3862739 w 4559714"/>
                <a:gd name="connsiteY24" fmla="*/ 644140 h 3794398"/>
                <a:gd name="connsiteX25" fmla="*/ 3885027 w 4559714"/>
                <a:gd name="connsiteY25" fmla="*/ 665443 h 3794398"/>
                <a:gd name="connsiteX26" fmla="*/ 3917444 w 4559714"/>
                <a:gd name="connsiteY26" fmla="*/ 698918 h 3794398"/>
                <a:gd name="connsiteX27" fmla="*/ 3948849 w 4559714"/>
                <a:gd name="connsiteY27" fmla="*/ 731378 h 3794398"/>
                <a:gd name="connsiteX28" fmla="*/ 3957965 w 4559714"/>
                <a:gd name="connsiteY28" fmla="*/ 740508 h 3794398"/>
                <a:gd name="connsiteX29" fmla="*/ 4004566 w 4559714"/>
                <a:gd name="connsiteY29" fmla="*/ 793257 h 3794398"/>
                <a:gd name="connsiteX30" fmla="*/ 4050153 w 4559714"/>
                <a:gd name="connsiteY30" fmla="*/ 848034 h 3794398"/>
                <a:gd name="connsiteX31" fmla="*/ 4093714 w 4559714"/>
                <a:gd name="connsiteY31" fmla="*/ 902812 h 3794398"/>
                <a:gd name="connsiteX32" fmla="*/ 4135249 w 4559714"/>
                <a:gd name="connsiteY32" fmla="*/ 960632 h 3794398"/>
                <a:gd name="connsiteX33" fmla="*/ 4174757 w 4559714"/>
                <a:gd name="connsiteY33" fmla="*/ 1018452 h 3794398"/>
                <a:gd name="connsiteX34" fmla="*/ 4213253 w 4559714"/>
                <a:gd name="connsiteY34" fmla="*/ 1078302 h 3794398"/>
                <a:gd name="connsiteX35" fmla="*/ 4249723 w 4559714"/>
                <a:gd name="connsiteY35" fmla="*/ 1139165 h 3794398"/>
                <a:gd name="connsiteX36" fmla="*/ 4285180 w 4559714"/>
                <a:gd name="connsiteY36" fmla="*/ 1201044 h 3794398"/>
                <a:gd name="connsiteX37" fmla="*/ 4317597 w 4559714"/>
                <a:gd name="connsiteY37" fmla="*/ 1263935 h 3794398"/>
                <a:gd name="connsiteX38" fmla="*/ 4349001 w 4559714"/>
                <a:gd name="connsiteY38" fmla="*/ 1327842 h 3794398"/>
                <a:gd name="connsiteX39" fmla="*/ 4377367 w 4559714"/>
                <a:gd name="connsiteY39" fmla="*/ 1393779 h 3794398"/>
                <a:gd name="connsiteX40" fmla="*/ 4403705 w 4559714"/>
                <a:gd name="connsiteY40" fmla="*/ 1459714 h 3794398"/>
                <a:gd name="connsiteX41" fmla="*/ 4429031 w 4559714"/>
                <a:gd name="connsiteY41" fmla="*/ 1526664 h 3794398"/>
                <a:gd name="connsiteX42" fmla="*/ 4451318 w 4559714"/>
                <a:gd name="connsiteY42" fmla="*/ 1595643 h 3794398"/>
                <a:gd name="connsiteX43" fmla="*/ 4472592 w 4559714"/>
                <a:gd name="connsiteY43" fmla="*/ 1664621 h 3794398"/>
                <a:gd name="connsiteX44" fmla="*/ 4490827 w 4559714"/>
                <a:gd name="connsiteY44" fmla="*/ 1734614 h 3794398"/>
                <a:gd name="connsiteX45" fmla="*/ 4490827 w 4559714"/>
                <a:gd name="connsiteY45" fmla="*/ 1735629 h 3794398"/>
                <a:gd name="connsiteX46" fmla="*/ 4506023 w 4559714"/>
                <a:gd name="connsiteY46" fmla="*/ 1800550 h 3794398"/>
                <a:gd name="connsiteX47" fmla="*/ 4520205 w 4559714"/>
                <a:gd name="connsiteY47" fmla="*/ 1868515 h 3794398"/>
                <a:gd name="connsiteX48" fmla="*/ 4532362 w 4559714"/>
                <a:gd name="connsiteY48" fmla="*/ 1935465 h 3794398"/>
                <a:gd name="connsiteX49" fmla="*/ 4541479 w 4559714"/>
                <a:gd name="connsiteY49" fmla="*/ 2004444 h 3794398"/>
                <a:gd name="connsiteX50" fmla="*/ 4549584 w 4559714"/>
                <a:gd name="connsiteY50" fmla="*/ 2073423 h 3794398"/>
                <a:gd name="connsiteX51" fmla="*/ 4555662 w 4559714"/>
                <a:gd name="connsiteY51" fmla="*/ 2142402 h 3794398"/>
                <a:gd name="connsiteX52" fmla="*/ 4558702 w 4559714"/>
                <a:gd name="connsiteY52" fmla="*/ 2212394 h 3794398"/>
                <a:gd name="connsiteX53" fmla="*/ 4559714 w 4559714"/>
                <a:gd name="connsiteY53" fmla="*/ 2283403 h 3794398"/>
                <a:gd name="connsiteX54" fmla="*/ 4558702 w 4559714"/>
                <a:gd name="connsiteY54" fmla="*/ 2342237 h 3794398"/>
                <a:gd name="connsiteX55" fmla="*/ 4556675 w 4559714"/>
                <a:gd name="connsiteY55" fmla="*/ 2400058 h 3794398"/>
                <a:gd name="connsiteX56" fmla="*/ 4552623 w 4559714"/>
                <a:gd name="connsiteY56" fmla="*/ 2458893 h 3794398"/>
                <a:gd name="connsiteX57" fmla="*/ 4548571 w 4559714"/>
                <a:gd name="connsiteY57" fmla="*/ 2516714 h 3794398"/>
                <a:gd name="connsiteX58" fmla="*/ 4541479 w 4559714"/>
                <a:gd name="connsiteY58" fmla="*/ 2574533 h 3794398"/>
                <a:gd name="connsiteX59" fmla="*/ 4534389 w 4559714"/>
                <a:gd name="connsiteY59" fmla="*/ 2630326 h 3794398"/>
                <a:gd name="connsiteX60" fmla="*/ 4524258 w 4559714"/>
                <a:gd name="connsiteY60" fmla="*/ 2687132 h 3794398"/>
                <a:gd name="connsiteX61" fmla="*/ 4513114 w 4559714"/>
                <a:gd name="connsiteY61" fmla="*/ 2743937 h 3794398"/>
                <a:gd name="connsiteX62" fmla="*/ 4501971 w 4559714"/>
                <a:gd name="connsiteY62" fmla="*/ 2798715 h 3794398"/>
                <a:gd name="connsiteX63" fmla="*/ 4487788 w 4559714"/>
                <a:gd name="connsiteY63" fmla="*/ 2853492 h 3794398"/>
                <a:gd name="connsiteX64" fmla="*/ 4473605 w 4559714"/>
                <a:gd name="connsiteY64" fmla="*/ 2908269 h 3794398"/>
                <a:gd name="connsiteX65" fmla="*/ 4457397 w 4559714"/>
                <a:gd name="connsiteY65" fmla="*/ 2962032 h 3794398"/>
                <a:gd name="connsiteX66" fmla="*/ 4440175 w 4559714"/>
                <a:gd name="connsiteY66" fmla="*/ 3015795 h 3794398"/>
                <a:gd name="connsiteX67" fmla="*/ 4420927 w 4559714"/>
                <a:gd name="connsiteY67" fmla="*/ 3068543 h 3794398"/>
                <a:gd name="connsiteX68" fmla="*/ 4401679 w 4559714"/>
                <a:gd name="connsiteY68" fmla="*/ 3120278 h 3794398"/>
                <a:gd name="connsiteX69" fmla="*/ 4380405 w 4559714"/>
                <a:gd name="connsiteY69" fmla="*/ 3172012 h 3794398"/>
                <a:gd name="connsiteX70" fmla="*/ 4358119 w 4559714"/>
                <a:gd name="connsiteY70" fmla="*/ 3222732 h 3794398"/>
                <a:gd name="connsiteX71" fmla="*/ 4334818 w 4559714"/>
                <a:gd name="connsiteY71" fmla="*/ 3272437 h 3794398"/>
                <a:gd name="connsiteX72" fmla="*/ 4310505 w 4559714"/>
                <a:gd name="connsiteY72" fmla="*/ 3323157 h 3794398"/>
                <a:gd name="connsiteX73" fmla="*/ 4285179 w 4559714"/>
                <a:gd name="connsiteY73" fmla="*/ 3371847 h 3794398"/>
                <a:gd name="connsiteX74" fmla="*/ 4257827 w 4559714"/>
                <a:gd name="connsiteY74" fmla="*/ 3419524 h 3794398"/>
                <a:gd name="connsiteX75" fmla="*/ 4230474 w 4559714"/>
                <a:gd name="connsiteY75" fmla="*/ 3466186 h 3794398"/>
                <a:gd name="connsiteX76" fmla="*/ 4201096 w 4559714"/>
                <a:gd name="connsiteY76" fmla="*/ 3512848 h 3794398"/>
                <a:gd name="connsiteX77" fmla="*/ 4170705 w 4559714"/>
                <a:gd name="connsiteY77" fmla="*/ 3559510 h 3794398"/>
                <a:gd name="connsiteX78" fmla="*/ 4139300 w 4559714"/>
                <a:gd name="connsiteY78" fmla="*/ 3604144 h 3794398"/>
                <a:gd name="connsiteX79" fmla="*/ 4107896 w 4559714"/>
                <a:gd name="connsiteY79" fmla="*/ 3648777 h 3794398"/>
                <a:gd name="connsiteX80" fmla="*/ 4073453 w 4559714"/>
                <a:gd name="connsiteY80" fmla="*/ 3693411 h 3794398"/>
                <a:gd name="connsiteX81" fmla="*/ 4040022 w 4559714"/>
                <a:gd name="connsiteY81" fmla="*/ 3735001 h 3794398"/>
                <a:gd name="connsiteX82" fmla="*/ 4003552 w 4559714"/>
                <a:gd name="connsiteY82" fmla="*/ 3777606 h 3794398"/>
                <a:gd name="connsiteX83" fmla="*/ 3988460 w 4559714"/>
                <a:gd name="connsiteY83" fmla="*/ 3794398 h 3794398"/>
                <a:gd name="connsiteX84" fmla="*/ 91028 w 4559714"/>
                <a:gd name="connsiteY84" fmla="*/ 2923647 h 3794398"/>
                <a:gd name="connsiteX85" fmla="*/ 86108 w 4559714"/>
                <a:gd name="connsiteY85" fmla="*/ 2906241 h 3794398"/>
                <a:gd name="connsiteX86" fmla="*/ 70912 w 4559714"/>
                <a:gd name="connsiteY86" fmla="*/ 2851463 h 3794398"/>
                <a:gd name="connsiteX87" fmla="*/ 57742 w 4559714"/>
                <a:gd name="connsiteY87" fmla="*/ 2795671 h 3794398"/>
                <a:gd name="connsiteX88" fmla="*/ 45587 w 4559714"/>
                <a:gd name="connsiteY88" fmla="*/ 2740894 h 3794398"/>
                <a:gd name="connsiteX89" fmla="*/ 34442 w 4559714"/>
                <a:gd name="connsiteY89" fmla="*/ 2685103 h 3794398"/>
                <a:gd name="connsiteX90" fmla="*/ 25326 w 4559714"/>
                <a:gd name="connsiteY90" fmla="*/ 2629311 h 3794398"/>
                <a:gd name="connsiteX91" fmla="*/ 17221 w 4559714"/>
                <a:gd name="connsiteY91" fmla="*/ 2573519 h 3794398"/>
                <a:gd name="connsiteX92" fmla="*/ 11143 w 4559714"/>
                <a:gd name="connsiteY92" fmla="*/ 2515699 h 3794398"/>
                <a:gd name="connsiteX93" fmla="*/ 7090 w 4559714"/>
                <a:gd name="connsiteY93" fmla="*/ 2457878 h 3794398"/>
                <a:gd name="connsiteX94" fmla="*/ 2026 w 4559714"/>
                <a:gd name="connsiteY94" fmla="*/ 2400057 h 3794398"/>
                <a:gd name="connsiteX95" fmla="*/ 1013 w 4559714"/>
                <a:gd name="connsiteY95" fmla="*/ 2342237 h 3794398"/>
                <a:gd name="connsiteX96" fmla="*/ 0 w 4559714"/>
                <a:gd name="connsiteY96" fmla="*/ 2283403 h 3794398"/>
                <a:gd name="connsiteX97" fmla="*/ 1013 w 4559714"/>
                <a:gd name="connsiteY97" fmla="*/ 2223554 h 3794398"/>
                <a:gd name="connsiteX98" fmla="*/ 2025 w 4559714"/>
                <a:gd name="connsiteY98" fmla="*/ 2165732 h 3794398"/>
                <a:gd name="connsiteX99" fmla="*/ 7090 w 4559714"/>
                <a:gd name="connsiteY99" fmla="*/ 2106898 h 3794398"/>
                <a:gd name="connsiteX100" fmla="*/ 11143 w 4559714"/>
                <a:gd name="connsiteY100" fmla="*/ 2050092 h 3794398"/>
                <a:gd name="connsiteX101" fmla="*/ 18234 w 4559714"/>
                <a:gd name="connsiteY101" fmla="*/ 1992271 h 3794398"/>
                <a:gd name="connsiteX102" fmla="*/ 25326 w 4559714"/>
                <a:gd name="connsiteY102" fmla="*/ 1935465 h 3794398"/>
                <a:gd name="connsiteX103" fmla="*/ 34443 w 4559714"/>
                <a:gd name="connsiteY103" fmla="*/ 1879673 h 3794398"/>
                <a:gd name="connsiteX104" fmla="*/ 46600 w 4559714"/>
                <a:gd name="connsiteY104" fmla="*/ 1822867 h 3794398"/>
                <a:gd name="connsiteX105" fmla="*/ 57743 w 4559714"/>
                <a:gd name="connsiteY105" fmla="*/ 1767075 h 3794398"/>
                <a:gd name="connsiteX106" fmla="*/ 70912 w 4559714"/>
                <a:gd name="connsiteY106" fmla="*/ 1712299 h 3794398"/>
                <a:gd name="connsiteX107" fmla="*/ 86108 w 4559714"/>
                <a:gd name="connsiteY107" fmla="*/ 1657521 h 3794398"/>
                <a:gd name="connsiteX108" fmla="*/ 102317 w 4559714"/>
                <a:gd name="connsiteY108" fmla="*/ 1603758 h 3794398"/>
                <a:gd name="connsiteX109" fmla="*/ 119539 w 4559714"/>
                <a:gd name="connsiteY109" fmla="*/ 1551009 h 3794398"/>
                <a:gd name="connsiteX110" fmla="*/ 138786 w 4559714"/>
                <a:gd name="connsiteY110" fmla="*/ 1497247 h 3794398"/>
                <a:gd name="connsiteX111" fmla="*/ 158034 w 4559714"/>
                <a:gd name="connsiteY111" fmla="*/ 1445513 h 3794398"/>
                <a:gd name="connsiteX112" fmla="*/ 179308 w 4559714"/>
                <a:gd name="connsiteY112" fmla="*/ 1394793 h 3794398"/>
                <a:gd name="connsiteX113" fmla="*/ 201595 w 4559714"/>
                <a:gd name="connsiteY113" fmla="*/ 1343059 h 3794398"/>
                <a:gd name="connsiteX114" fmla="*/ 224895 w 4559714"/>
                <a:gd name="connsiteY114" fmla="*/ 1293353 h 3794398"/>
                <a:gd name="connsiteX115" fmla="*/ 249208 w 4559714"/>
                <a:gd name="connsiteY115" fmla="*/ 1243647 h 3794398"/>
                <a:gd name="connsiteX116" fmla="*/ 275547 w 4559714"/>
                <a:gd name="connsiteY116" fmla="*/ 1194957 h 3794398"/>
                <a:gd name="connsiteX117" fmla="*/ 301887 w 4559714"/>
                <a:gd name="connsiteY117" fmla="*/ 1147280 h 3794398"/>
                <a:gd name="connsiteX118" fmla="*/ 330252 w 4559714"/>
                <a:gd name="connsiteY118" fmla="*/ 1099604 h 3794398"/>
                <a:gd name="connsiteX119" fmla="*/ 358617 w 4559714"/>
                <a:gd name="connsiteY119" fmla="*/ 1051927 h 3794398"/>
                <a:gd name="connsiteX120" fmla="*/ 389008 w 4559714"/>
                <a:gd name="connsiteY120" fmla="*/ 1007294 h 3794398"/>
                <a:gd name="connsiteX121" fmla="*/ 420413 w 4559714"/>
                <a:gd name="connsiteY121" fmla="*/ 961646 h 3794398"/>
                <a:gd name="connsiteX122" fmla="*/ 452830 w 4559714"/>
                <a:gd name="connsiteY122" fmla="*/ 917012 h 3794398"/>
                <a:gd name="connsiteX123" fmla="*/ 486261 w 4559714"/>
                <a:gd name="connsiteY123" fmla="*/ 873394 h 3794398"/>
                <a:gd name="connsiteX124" fmla="*/ 519691 w 4559714"/>
                <a:gd name="connsiteY124" fmla="*/ 830789 h 3794398"/>
                <a:gd name="connsiteX125" fmla="*/ 556161 w 4559714"/>
                <a:gd name="connsiteY125" fmla="*/ 788185 h 3794398"/>
                <a:gd name="connsiteX126" fmla="*/ 592631 w 4559714"/>
                <a:gd name="connsiteY126" fmla="*/ 747609 h 3794398"/>
                <a:gd name="connsiteX127" fmla="*/ 630113 w 4559714"/>
                <a:gd name="connsiteY127" fmla="*/ 708048 h 3794398"/>
                <a:gd name="connsiteX128" fmla="*/ 668609 w 4559714"/>
                <a:gd name="connsiteY128" fmla="*/ 668486 h 3794398"/>
                <a:gd name="connsiteX129" fmla="*/ 707104 w 4559714"/>
                <a:gd name="connsiteY129" fmla="*/ 630954 h 3794398"/>
                <a:gd name="connsiteX130" fmla="*/ 746613 w 4559714"/>
                <a:gd name="connsiteY130" fmla="*/ 593420 h 3794398"/>
                <a:gd name="connsiteX131" fmla="*/ 788148 w 4559714"/>
                <a:gd name="connsiteY131" fmla="*/ 555889 h 3794398"/>
                <a:gd name="connsiteX132" fmla="*/ 828670 w 4559714"/>
                <a:gd name="connsiteY132" fmla="*/ 521399 h 3794398"/>
                <a:gd name="connsiteX133" fmla="*/ 872231 w 4559714"/>
                <a:gd name="connsiteY133" fmla="*/ 486910 h 3794398"/>
                <a:gd name="connsiteX134" fmla="*/ 915792 w 4559714"/>
                <a:gd name="connsiteY134" fmla="*/ 453434 h 3794398"/>
                <a:gd name="connsiteX135" fmla="*/ 959353 w 4559714"/>
                <a:gd name="connsiteY135" fmla="*/ 420974 h 3794398"/>
                <a:gd name="connsiteX136" fmla="*/ 1004940 w 4559714"/>
                <a:gd name="connsiteY136" fmla="*/ 390542 h 3794398"/>
                <a:gd name="connsiteX137" fmla="*/ 1050526 w 4559714"/>
                <a:gd name="connsiteY137" fmla="*/ 360110 h 3794398"/>
                <a:gd name="connsiteX138" fmla="*/ 1097127 w 4559714"/>
                <a:gd name="connsiteY138" fmla="*/ 330692 h 3794398"/>
                <a:gd name="connsiteX139" fmla="*/ 1144740 w 4559714"/>
                <a:gd name="connsiteY139" fmla="*/ 302290 h 3794398"/>
                <a:gd name="connsiteX140" fmla="*/ 1193366 w 4559714"/>
                <a:gd name="connsiteY140" fmla="*/ 275916 h 3794398"/>
                <a:gd name="connsiteX141" fmla="*/ 1241993 w 4559714"/>
                <a:gd name="connsiteY141" fmla="*/ 250556 h 3794398"/>
                <a:gd name="connsiteX142" fmla="*/ 1290618 w 4559714"/>
                <a:gd name="connsiteY142" fmla="*/ 224182 h 3794398"/>
                <a:gd name="connsiteX143" fmla="*/ 1341271 w 4559714"/>
                <a:gd name="connsiteY143" fmla="*/ 200851 h 3794398"/>
                <a:gd name="connsiteX144" fmla="*/ 1391923 w 4559714"/>
                <a:gd name="connsiteY144" fmla="*/ 178534 h 3794398"/>
                <a:gd name="connsiteX145" fmla="*/ 1443588 w 4559714"/>
                <a:gd name="connsiteY145" fmla="*/ 158246 h 3794398"/>
                <a:gd name="connsiteX146" fmla="*/ 1496266 w 4559714"/>
                <a:gd name="connsiteY146" fmla="*/ 137958 h 3794398"/>
                <a:gd name="connsiteX147" fmla="*/ 1548945 w 4559714"/>
                <a:gd name="connsiteY147" fmla="*/ 119699 h 3794398"/>
                <a:gd name="connsiteX148" fmla="*/ 1602636 w 4559714"/>
                <a:gd name="connsiteY148" fmla="*/ 102454 h 3794398"/>
                <a:gd name="connsiteX149" fmla="*/ 1656328 w 4559714"/>
                <a:gd name="connsiteY149" fmla="*/ 86224 h 3794398"/>
                <a:gd name="connsiteX150" fmla="*/ 1710019 w 4559714"/>
                <a:gd name="connsiteY150" fmla="*/ 71008 h 3794398"/>
                <a:gd name="connsiteX151" fmla="*/ 1764724 w 4559714"/>
                <a:gd name="connsiteY151" fmla="*/ 58835 h 3794398"/>
                <a:gd name="connsiteX152" fmla="*/ 1820441 w 4559714"/>
                <a:gd name="connsiteY152" fmla="*/ 45648 h 3794398"/>
                <a:gd name="connsiteX153" fmla="*/ 1876158 w 4559714"/>
                <a:gd name="connsiteY153" fmla="*/ 35504 h 3794398"/>
                <a:gd name="connsiteX154" fmla="*/ 1932889 w 4559714"/>
                <a:gd name="connsiteY154" fmla="*/ 25360 h 3794398"/>
                <a:gd name="connsiteX155" fmla="*/ 1989619 w 4559714"/>
                <a:gd name="connsiteY155" fmla="*/ 17245 h 3794398"/>
                <a:gd name="connsiteX156" fmla="*/ 2046350 w 4559714"/>
                <a:gd name="connsiteY156" fmla="*/ 12173 h 3794398"/>
                <a:gd name="connsiteX157" fmla="*/ 2105107 w 4559714"/>
                <a:gd name="connsiteY157" fmla="*/ 6086 h 3794398"/>
                <a:gd name="connsiteX158" fmla="*/ 2161837 w 4559714"/>
                <a:gd name="connsiteY158" fmla="*/ 2029 h 3794398"/>
                <a:gd name="connsiteX159" fmla="*/ 2221607 w 4559714"/>
                <a:gd name="connsiteY159" fmla="*/ 1 h 3794398"/>
                <a:gd name="connsiteX160" fmla="*/ 2280364 w 4559714"/>
                <a:gd name="connsiteY160" fmla="*/ 0 h 3794398"/>
                <a:gd name="connsiteX161" fmla="*/ 2331015 w 4559714"/>
                <a:gd name="connsiteY161" fmla="*/ 0 h 3794398"/>
                <a:gd name="connsiteX162" fmla="*/ 2382681 w 4559714"/>
                <a:gd name="connsiteY162" fmla="*/ 2029 h 3794398"/>
                <a:gd name="connsiteX163" fmla="*/ 2432320 w 4559714"/>
                <a:gd name="connsiteY163" fmla="*/ 6086 h 3794398"/>
                <a:gd name="connsiteX164" fmla="*/ 2482972 w 4559714"/>
                <a:gd name="connsiteY164" fmla="*/ 9130 h 3794398"/>
                <a:gd name="connsiteX165" fmla="*/ 2532611 w 4559714"/>
                <a:gd name="connsiteY165" fmla="*/ 15216 h 3794398"/>
                <a:gd name="connsiteX166" fmla="*/ 2582250 w 4559714"/>
                <a:gd name="connsiteY166" fmla="*/ 21302 h 3794398"/>
                <a:gd name="connsiteX167" fmla="*/ 2631890 w 4559714"/>
                <a:gd name="connsiteY167" fmla="*/ 29418 h 3794398"/>
                <a:gd name="connsiteX168" fmla="*/ 2681529 w 4559714"/>
                <a:gd name="connsiteY168" fmla="*/ 37533 h 3794398"/>
                <a:gd name="connsiteX169" fmla="*/ 2717998 w 4559714"/>
                <a:gd name="connsiteY169" fmla="*/ 44633 h 3794398"/>
                <a:gd name="connsiteX170" fmla="*/ 2755482 w 4559714"/>
                <a:gd name="connsiteY170" fmla="*/ 52748 h 3794398"/>
                <a:gd name="connsiteX171" fmla="*/ 2830447 w 4559714"/>
                <a:gd name="connsiteY171" fmla="*/ 68979 h 3794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4559714" h="3794398">
                  <a:moveTo>
                    <a:pt x="2830447" y="68979"/>
                  </a:moveTo>
                  <a:lnTo>
                    <a:pt x="2860838" y="77094"/>
                  </a:lnTo>
                  <a:lnTo>
                    <a:pt x="2919594" y="93324"/>
                  </a:lnTo>
                  <a:lnTo>
                    <a:pt x="2976325" y="111584"/>
                  </a:lnTo>
                  <a:lnTo>
                    <a:pt x="3033056" y="129843"/>
                  </a:lnTo>
                  <a:lnTo>
                    <a:pt x="3089786" y="151145"/>
                  </a:lnTo>
                  <a:lnTo>
                    <a:pt x="3144491" y="171433"/>
                  </a:lnTo>
                  <a:lnTo>
                    <a:pt x="3199195" y="194764"/>
                  </a:lnTo>
                  <a:lnTo>
                    <a:pt x="3252886" y="220124"/>
                  </a:lnTo>
                  <a:lnTo>
                    <a:pt x="3305565" y="245483"/>
                  </a:lnTo>
                  <a:lnTo>
                    <a:pt x="3308604" y="247513"/>
                  </a:lnTo>
                  <a:lnTo>
                    <a:pt x="3342035" y="265771"/>
                  </a:lnTo>
                  <a:lnTo>
                    <a:pt x="3376477" y="283016"/>
                  </a:lnTo>
                  <a:lnTo>
                    <a:pt x="3441313" y="321563"/>
                  </a:lnTo>
                  <a:lnTo>
                    <a:pt x="3463600" y="333736"/>
                  </a:lnTo>
                  <a:lnTo>
                    <a:pt x="3512226" y="366196"/>
                  </a:lnTo>
                  <a:lnTo>
                    <a:pt x="3561866" y="398657"/>
                  </a:lnTo>
                  <a:lnTo>
                    <a:pt x="3610492" y="431117"/>
                  </a:lnTo>
                  <a:lnTo>
                    <a:pt x="3657092" y="466621"/>
                  </a:lnTo>
                  <a:lnTo>
                    <a:pt x="3703692" y="502125"/>
                  </a:lnTo>
                  <a:lnTo>
                    <a:pt x="3749279" y="539658"/>
                  </a:lnTo>
                  <a:lnTo>
                    <a:pt x="3792839" y="578205"/>
                  </a:lnTo>
                  <a:lnTo>
                    <a:pt x="3837413" y="617766"/>
                  </a:lnTo>
                  <a:lnTo>
                    <a:pt x="3839440" y="620810"/>
                  </a:lnTo>
                  <a:lnTo>
                    <a:pt x="3862739" y="644140"/>
                  </a:lnTo>
                  <a:lnTo>
                    <a:pt x="3885027" y="665443"/>
                  </a:lnTo>
                  <a:lnTo>
                    <a:pt x="3917444" y="698918"/>
                  </a:lnTo>
                  <a:lnTo>
                    <a:pt x="3948849" y="731378"/>
                  </a:lnTo>
                  <a:lnTo>
                    <a:pt x="3957965" y="740508"/>
                  </a:lnTo>
                  <a:lnTo>
                    <a:pt x="4004566" y="793257"/>
                  </a:lnTo>
                  <a:lnTo>
                    <a:pt x="4050153" y="848034"/>
                  </a:lnTo>
                  <a:lnTo>
                    <a:pt x="4093714" y="902812"/>
                  </a:lnTo>
                  <a:lnTo>
                    <a:pt x="4135249" y="960632"/>
                  </a:lnTo>
                  <a:lnTo>
                    <a:pt x="4174757" y="1018452"/>
                  </a:lnTo>
                  <a:lnTo>
                    <a:pt x="4213253" y="1078302"/>
                  </a:lnTo>
                  <a:lnTo>
                    <a:pt x="4249723" y="1139165"/>
                  </a:lnTo>
                  <a:lnTo>
                    <a:pt x="4285180" y="1201044"/>
                  </a:lnTo>
                  <a:lnTo>
                    <a:pt x="4317597" y="1263935"/>
                  </a:lnTo>
                  <a:lnTo>
                    <a:pt x="4349001" y="1327842"/>
                  </a:lnTo>
                  <a:lnTo>
                    <a:pt x="4377367" y="1393779"/>
                  </a:lnTo>
                  <a:lnTo>
                    <a:pt x="4403705" y="1459714"/>
                  </a:lnTo>
                  <a:lnTo>
                    <a:pt x="4429031" y="1526664"/>
                  </a:lnTo>
                  <a:lnTo>
                    <a:pt x="4451318" y="1595643"/>
                  </a:lnTo>
                  <a:lnTo>
                    <a:pt x="4472592" y="1664621"/>
                  </a:lnTo>
                  <a:lnTo>
                    <a:pt x="4490827" y="1734614"/>
                  </a:lnTo>
                  <a:lnTo>
                    <a:pt x="4490827" y="1735629"/>
                  </a:lnTo>
                  <a:lnTo>
                    <a:pt x="4506023" y="1800550"/>
                  </a:lnTo>
                  <a:lnTo>
                    <a:pt x="4520205" y="1868515"/>
                  </a:lnTo>
                  <a:lnTo>
                    <a:pt x="4532362" y="1935465"/>
                  </a:lnTo>
                  <a:lnTo>
                    <a:pt x="4541479" y="2004444"/>
                  </a:lnTo>
                  <a:lnTo>
                    <a:pt x="4549584" y="2073423"/>
                  </a:lnTo>
                  <a:lnTo>
                    <a:pt x="4555662" y="2142402"/>
                  </a:lnTo>
                  <a:lnTo>
                    <a:pt x="4558702" y="2212394"/>
                  </a:lnTo>
                  <a:lnTo>
                    <a:pt x="4559714" y="2283403"/>
                  </a:lnTo>
                  <a:lnTo>
                    <a:pt x="4558702" y="2342237"/>
                  </a:lnTo>
                  <a:lnTo>
                    <a:pt x="4556675" y="2400058"/>
                  </a:lnTo>
                  <a:lnTo>
                    <a:pt x="4552623" y="2458893"/>
                  </a:lnTo>
                  <a:lnTo>
                    <a:pt x="4548571" y="2516714"/>
                  </a:lnTo>
                  <a:lnTo>
                    <a:pt x="4541479" y="2574533"/>
                  </a:lnTo>
                  <a:lnTo>
                    <a:pt x="4534389" y="2630326"/>
                  </a:lnTo>
                  <a:lnTo>
                    <a:pt x="4524258" y="2687132"/>
                  </a:lnTo>
                  <a:lnTo>
                    <a:pt x="4513114" y="2743937"/>
                  </a:lnTo>
                  <a:lnTo>
                    <a:pt x="4501971" y="2798715"/>
                  </a:lnTo>
                  <a:lnTo>
                    <a:pt x="4487788" y="2853492"/>
                  </a:lnTo>
                  <a:lnTo>
                    <a:pt x="4473605" y="2908269"/>
                  </a:lnTo>
                  <a:lnTo>
                    <a:pt x="4457397" y="2962032"/>
                  </a:lnTo>
                  <a:lnTo>
                    <a:pt x="4440175" y="3015795"/>
                  </a:lnTo>
                  <a:lnTo>
                    <a:pt x="4420927" y="3068543"/>
                  </a:lnTo>
                  <a:lnTo>
                    <a:pt x="4401679" y="3120278"/>
                  </a:lnTo>
                  <a:lnTo>
                    <a:pt x="4380405" y="3172012"/>
                  </a:lnTo>
                  <a:lnTo>
                    <a:pt x="4358119" y="3222732"/>
                  </a:lnTo>
                  <a:lnTo>
                    <a:pt x="4334818" y="3272437"/>
                  </a:lnTo>
                  <a:lnTo>
                    <a:pt x="4310505" y="3323157"/>
                  </a:lnTo>
                  <a:lnTo>
                    <a:pt x="4285179" y="3371847"/>
                  </a:lnTo>
                  <a:lnTo>
                    <a:pt x="4257827" y="3419524"/>
                  </a:lnTo>
                  <a:lnTo>
                    <a:pt x="4230474" y="3466186"/>
                  </a:lnTo>
                  <a:lnTo>
                    <a:pt x="4201096" y="3512848"/>
                  </a:lnTo>
                  <a:lnTo>
                    <a:pt x="4170705" y="3559510"/>
                  </a:lnTo>
                  <a:lnTo>
                    <a:pt x="4139300" y="3604144"/>
                  </a:lnTo>
                  <a:lnTo>
                    <a:pt x="4107896" y="3648777"/>
                  </a:lnTo>
                  <a:lnTo>
                    <a:pt x="4073453" y="3693411"/>
                  </a:lnTo>
                  <a:lnTo>
                    <a:pt x="4040022" y="3735001"/>
                  </a:lnTo>
                  <a:lnTo>
                    <a:pt x="4003552" y="3777606"/>
                  </a:lnTo>
                  <a:lnTo>
                    <a:pt x="3988460" y="3794398"/>
                  </a:lnTo>
                  <a:lnTo>
                    <a:pt x="91028" y="2923647"/>
                  </a:lnTo>
                  <a:lnTo>
                    <a:pt x="86108" y="2906241"/>
                  </a:lnTo>
                  <a:lnTo>
                    <a:pt x="70912" y="2851463"/>
                  </a:lnTo>
                  <a:lnTo>
                    <a:pt x="57742" y="2795671"/>
                  </a:lnTo>
                  <a:lnTo>
                    <a:pt x="45587" y="2740894"/>
                  </a:lnTo>
                  <a:lnTo>
                    <a:pt x="34442" y="2685103"/>
                  </a:lnTo>
                  <a:lnTo>
                    <a:pt x="25326" y="2629311"/>
                  </a:lnTo>
                  <a:lnTo>
                    <a:pt x="17221" y="2573519"/>
                  </a:lnTo>
                  <a:lnTo>
                    <a:pt x="11143" y="2515699"/>
                  </a:lnTo>
                  <a:lnTo>
                    <a:pt x="7090" y="2457878"/>
                  </a:lnTo>
                  <a:lnTo>
                    <a:pt x="2026" y="2400057"/>
                  </a:lnTo>
                  <a:lnTo>
                    <a:pt x="1013" y="2342237"/>
                  </a:lnTo>
                  <a:lnTo>
                    <a:pt x="0" y="2283403"/>
                  </a:lnTo>
                  <a:lnTo>
                    <a:pt x="1013" y="2223554"/>
                  </a:lnTo>
                  <a:lnTo>
                    <a:pt x="2025" y="2165732"/>
                  </a:lnTo>
                  <a:lnTo>
                    <a:pt x="7090" y="2106898"/>
                  </a:lnTo>
                  <a:lnTo>
                    <a:pt x="11143" y="2050092"/>
                  </a:lnTo>
                  <a:lnTo>
                    <a:pt x="18234" y="1992271"/>
                  </a:lnTo>
                  <a:lnTo>
                    <a:pt x="25326" y="1935465"/>
                  </a:lnTo>
                  <a:lnTo>
                    <a:pt x="34443" y="1879673"/>
                  </a:lnTo>
                  <a:lnTo>
                    <a:pt x="46600" y="1822867"/>
                  </a:lnTo>
                  <a:lnTo>
                    <a:pt x="57743" y="1767075"/>
                  </a:lnTo>
                  <a:lnTo>
                    <a:pt x="70912" y="1712299"/>
                  </a:lnTo>
                  <a:lnTo>
                    <a:pt x="86108" y="1657521"/>
                  </a:lnTo>
                  <a:lnTo>
                    <a:pt x="102317" y="1603758"/>
                  </a:lnTo>
                  <a:lnTo>
                    <a:pt x="119539" y="1551009"/>
                  </a:lnTo>
                  <a:lnTo>
                    <a:pt x="138786" y="1497247"/>
                  </a:lnTo>
                  <a:lnTo>
                    <a:pt x="158034" y="1445513"/>
                  </a:lnTo>
                  <a:lnTo>
                    <a:pt x="179308" y="1394793"/>
                  </a:lnTo>
                  <a:lnTo>
                    <a:pt x="201595" y="1343059"/>
                  </a:lnTo>
                  <a:lnTo>
                    <a:pt x="224895" y="1293353"/>
                  </a:lnTo>
                  <a:lnTo>
                    <a:pt x="249208" y="1243647"/>
                  </a:lnTo>
                  <a:lnTo>
                    <a:pt x="275547" y="1194957"/>
                  </a:lnTo>
                  <a:lnTo>
                    <a:pt x="301887" y="1147280"/>
                  </a:lnTo>
                  <a:lnTo>
                    <a:pt x="330252" y="1099604"/>
                  </a:lnTo>
                  <a:lnTo>
                    <a:pt x="358617" y="1051927"/>
                  </a:lnTo>
                  <a:lnTo>
                    <a:pt x="389008" y="1007294"/>
                  </a:lnTo>
                  <a:lnTo>
                    <a:pt x="420413" y="961646"/>
                  </a:lnTo>
                  <a:lnTo>
                    <a:pt x="452830" y="917012"/>
                  </a:lnTo>
                  <a:lnTo>
                    <a:pt x="486261" y="873394"/>
                  </a:lnTo>
                  <a:lnTo>
                    <a:pt x="519691" y="830789"/>
                  </a:lnTo>
                  <a:lnTo>
                    <a:pt x="556161" y="788185"/>
                  </a:lnTo>
                  <a:lnTo>
                    <a:pt x="592631" y="747609"/>
                  </a:lnTo>
                  <a:lnTo>
                    <a:pt x="630113" y="708048"/>
                  </a:lnTo>
                  <a:lnTo>
                    <a:pt x="668609" y="668486"/>
                  </a:lnTo>
                  <a:lnTo>
                    <a:pt x="707104" y="630954"/>
                  </a:lnTo>
                  <a:lnTo>
                    <a:pt x="746613" y="593420"/>
                  </a:lnTo>
                  <a:lnTo>
                    <a:pt x="788148" y="555889"/>
                  </a:lnTo>
                  <a:lnTo>
                    <a:pt x="828670" y="521399"/>
                  </a:lnTo>
                  <a:lnTo>
                    <a:pt x="872231" y="486910"/>
                  </a:lnTo>
                  <a:lnTo>
                    <a:pt x="915792" y="453434"/>
                  </a:lnTo>
                  <a:lnTo>
                    <a:pt x="959353" y="420974"/>
                  </a:lnTo>
                  <a:lnTo>
                    <a:pt x="1004940" y="390542"/>
                  </a:lnTo>
                  <a:lnTo>
                    <a:pt x="1050526" y="360110"/>
                  </a:lnTo>
                  <a:lnTo>
                    <a:pt x="1097127" y="330692"/>
                  </a:lnTo>
                  <a:lnTo>
                    <a:pt x="1144740" y="302290"/>
                  </a:lnTo>
                  <a:lnTo>
                    <a:pt x="1193366" y="275916"/>
                  </a:lnTo>
                  <a:lnTo>
                    <a:pt x="1241993" y="250556"/>
                  </a:lnTo>
                  <a:lnTo>
                    <a:pt x="1290618" y="224182"/>
                  </a:lnTo>
                  <a:lnTo>
                    <a:pt x="1341271" y="200851"/>
                  </a:lnTo>
                  <a:lnTo>
                    <a:pt x="1391923" y="178534"/>
                  </a:lnTo>
                  <a:lnTo>
                    <a:pt x="1443588" y="158246"/>
                  </a:lnTo>
                  <a:lnTo>
                    <a:pt x="1496266" y="137958"/>
                  </a:lnTo>
                  <a:lnTo>
                    <a:pt x="1548945" y="119699"/>
                  </a:lnTo>
                  <a:lnTo>
                    <a:pt x="1602636" y="102454"/>
                  </a:lnTo>
                  <a:lnTo>
                    <a:pt x="1656328" y="86224"/>
                  </a:lnTo>
                  <a:lnTo>
                    <a:pt x="1710019" y="71008"/>
                  </a:lnTo>
                  <a:lnTo>
                    <a:pt x="1764724" y="58835"/>
                  </a:lnTo>
                  <a:lnTo>
                    <a:pt x="1820441" y="45648"/>
                  </a:lnTo>
                  <a:lnTo>
                    <a:pt x="1876158" y="35504"/>
                  </a:lnTo>
                  <a:lnTo>
                    <a:pt x="1932889" y="25360"/>
                  </a:lnTo>
                  <a:lnTo>
                    <a:pt x="1989619" y="17245"/>
                  </a:lnTo>
                  <a:lnTo>
                    <a:pt x="2046350" y="12173"/>
                  </a:lnTo>
                  <a:lnTo>
                    <a:pt x="2105107" y="6086"/>
                  </a:lnTo>
                  <a:lnTo>
                    <a:pt x="2161837" y="2029"/>
                  </a:lnTo>
                  <a:lnTo>
                    <a:pt x="2221607" y="1"/>
                  </a:lnTo>
                  <a:lnTo>
                    <a:pt x="2280364" y="0"/>
                  </a:lnTo>
                  <a:lnTo>
                    <a:pt x="2331015" y="0"/>
                  </a:lnTo>
                  <a:lnTo>
                    <a:pt x="2382681" y="2029"/>
                  </a:lnTo>
                  <a:lnTo>
                    <a:pt x="2432320" y="6086"/>
                  </a:lnTo>
                  <a:lnTo>
                    <a:pt x="2482972" y="9130"/>
                  </a:lnTo>
                  <a:lnTo>
                    <a:pt x="2532611" y="15216"/>
                  </a:lnTo>
                  <a:lnTo>
                    <a:pt x="2582250" y="21302"/>
                  </a:lnTo>
                  <a:lnTo>
                    <a:pt x="2631890" y="29418"/>
                  </a:lnTo>
                  <a:lnTo>
                    <a:pt x="2681529" y="37533"/>
                  </a:lnTo>
                  <a:lnTo>
                    <a:pt x="2717998" y="44633"/>
                  </a:lnTo>
                  <a:lnTo>
                    <a:pt x="2755482" y="52748"/>
                  </a:lnTo>
                  <a:lnTo>
                    <a:pt x="2830447" y="68979"/>
                  </a:lnTo>
                  <a:close/>
                </a:path>
              </a:pathLst>
            </a:custGeom>
            <a:solidFill>
              <a:srgbClr val="7F89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ko-KR" altLang="en-US" sz="2400"/>
            </a:p>
          </p:txBody>
        </p:sp>
        <p:grpSp>
          <p:nvGrpSpPr>
            <p:cNvPr id="7559" name="그룹 7558"/>
            <p:cNvGrpSpPr/>
            <p:nvPr userDrawn="1"/>
          </p:nvGrpSpPr>
          <p:grpSpPr>
            <a:xfrm>
              <a:off x="2319137" y="434111"/>
              <a:ext cx="6906215" cy="4959707"/>
              <a:chOff x="2319137" y="434111"/>
              <a:chExt cx="6906215" cy="4959707"/>
            </a:xfrm>
          </p:grpSpPr>
          <p:grpSp>
            <p:nvGrpSpPr>
              <p:cNvPr id="7550" name="그룹 7549"/>
              <p:cNvGrpSpPr/>
              <p:nvPr userDrawn="1"/>
            </p:nvGrpSpPr>
            <p:grpSpPr>
              <a:xfrm rot="20006978">
                <a:off x="5018916" y="1378960"/>
                <a:ext cx="1409920" cy="773182"/>
                <a:chOff x="9449933" y="-110039"/>
                <a:chExt cx="1574800" cy="863600"/>
              </a:xfrm>
            </p:grpSpPr>
            <p:sp>
              <p:nvSpPr>
                <p:cNvPr id="810" name="Freeform 194"/>
                <p:cNvSpPr>
                  <a:spLocks/>
                </p:cNvSpPr>
                <p:nvPr userDrawn="1"/>
              </p:nvSpPr>
              <p:spPr bwMode="auto">
                <a:xfrm>
                  <a:off x="9611858" y="556711"/>
                  <a:ext cx="161925" cy="117475"/>
                </a:xfrm>
                <a:custGeom>
                  <a:avLst/>
                  <a:gdLst>
                    <a:gd name="T0" fmla="*/ 13 w 203"/>
                    <a:gd name="T1" fmla="*/ 148 h 148"/>
                    <a:gd name="T2" fmla="*/ 0 w 203"/>
                    <a:gd name="T3" fmla="*/ 130 h 148"/>
                    <a:gd name="T4" fmla="*/ 190 w 203"/>
                    <a:gd name="T5" fmla="*/ 0 h 148"/>
                    <a:gd name="T6" fmla="*/ 203 w 203"/>
                    <a:gd name="T7" fmla="*/ 18 h 148"/>
                    <a:gd name="T8" fmla="*/ 13 w 203"/>
                    <a:gd name="T9" fmla="*/ 148 h 148"/>
                  </a:gdLst>
                  <a:ahLst/>
                  <a:cxnLst>
                    <a:cxn ang="0">
                      <a:pos x="T0" y="T1"/>
                    </a:cxn>
                    <a:cxn ang="0">
                      <a:pos x="T2" y="T3"/>
                    </a:cxn>
                    <a:cxn ang="0">
                      <a:pos x="T4" y="T5"/>
                    </a:cxn>
                    <a:cxn ang="0">
                      <a:pos x="T6" y="T7"/>
                    </a:cxn>
                    <a:cxn ang="0">
                      <a:pos x="T8" y="T9"/>
                    </a:cxn>
                  </a:cxnLst>
                  <a:rect l="0" t="0" r="r" b="b"/>
                  <a:pathLst>
                    <a:path w="203" h="148">
                      <a:moveTo>
                        <a:pt x="13" y="148"/>
                      </a:moveTo>
                      <a:lnTo>
                        <a:pt x="0" y="130"/>
                      </a:lnTo>
                      <a:lnTo>
                        <a:pt x="190" y="0"/>
                      </a:lnTo>
                      <a:lnTo>
                        <a:pt x="203" y="18"/>
                      </a:lnTo>
                      <a:lnTo>
                        <a:pt x="13" y="148"/>
                      </a:lnTo>
                      <a:close/>
                    </a:path>
                  </a:pathLst>
                </a:custGeom>
                <a:solidFill>
                  <a:srgbClr val="3ABA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1" name="Freeform 195"/>
                <p:cNvSpPr>
                  <a:spLocks/>
                </p:cNvSpPr>
                <p:nvPr userDrawn="1"/>
              </p:nvSpPr>
              <p:spPr bwMode="auto">
                <a:xfrm>
                  <a:off x="9572171" y="623386"/>
                  <a:ext cx="87313" cy="87313"/>
                </a:xfrm>
                <a:custGeom>
                  <a:avLst/>
                  <a:gdLst>
                    <a:gd name="T0" fmla="*/ 111 w 111"/>
                    <a:gd name="T1" fmla="*/ 56 h 110"/>
                    <a:gd name="T2" fmla="*/ 111 w 111"/>
                    <a:gd name="T3" fmla="*/ 56 h 110"/>
                    <a:gd name="T4" fmla="*/ 110 w 111"/>
                    <a:gd name="T5" fmla="*/ 66 h 110"/>
                    <a:gd name="T6" fmla="*/ 106 w 111"/>
                    <a:gd name="T7" fmla="*/ 77 h 110"/>
                    <a:gd name="T8" fmla="*/ 101 w 111"/>
                    <a:gd name="T9" fmla="*/ 86 h 110"/>
                    <a:gd name="T10" fmla="*/ 94 w 111"/>
                    <a:gd name="T11" fmla="*/ 94 h 110"/>
                    <a:gd name="T12" fmla="*/ 86 w 111"/>
                    <a:gd name="T13" fmla="*/ 101 h 110"/>
                    <a:gd name="T14" fmla="*/ 76 w 111"/>
                    <a:gd name="T15" fmla="*/ 105 h 110"/>
                    <a:gd name="T16" fmla="*/ 67 w 111"/>
                    <a:gd name="T17" fmla="*/ 109 h 110"/>
                    <a:gd name="T18" fmla="*/ 55 w 111"/>
                    <a:gd name="T19" fmla="*/ 110 h 110"/>
                    <a:gd name="T20" fmla="*/ 55 w 111"/>
                    <a:gd name="T21" fmla="*/ 110 h 110"/>
                    <a:gd name="T22" fmla="*/ 44 w 111"/>
                    <a:gd name="T23" fmla="*/ 109 h 110"/>
                    <a:gd name="T24" fmla="*/ 34 w 111"/>
                    <a:gd name="T25" fmla="*/ 105 h 110"/>
                    <a:gd name="T26" fmla="*/ 24 w 111"/>
                    <a:gd name="T27" fmla="*/ 101 h 110"/>
                    <a:gd name="T28" fmla="*/ 17 w 111"/>
                    <a:gd name="T29" fmla="*/ 94 h 110"/>
                    <a:gd name="T30" fmla="*/ 10 w 111"/>
                    <a:gd name="T31" fmla="*/ 86 h 110"/>
                    <a:gd name="T32" fmla="*/ 5 w 111"/>
                    <a:gd name="T33" fmla="*/ 77 h 110"/>
                    <a:gd name="T34" fmla="*/ 2 w 111"/>
                    <a:gd name="T35" fmla="*/ 66 h 110"/>
                    <a:gd name="T36" fmla="*/ 0 w 111"/>
                    <a:gd name="T37" fmla="*/ 56 h 110"/>
                    <a:gd name="T38" fmla="*/ 0 w 111"/>
                    <a:gd name="T39" fmla="*/ 56 h 110"/>
                    <a:gd name="T40" fmla="*/ 2 w 111"/>
                    <a:gd name="T41" fmla="*/ 44 h 110"/>
                    <a:gd name="T42" fmla="*/ 5 w 111"/>
                    <a:gd name="T43" fmla="*/ 34 h 110"/>
                    <a:gd name="T44" fmla="*/ 10 w 111"/>
                    <a:gd name="T45" fmla="*/ 25 h 110"/>
                    <a:gd name="T46" fmla="*/ 17 w 111"/>
                    <a:gd name="T47" fmla="*/ 16 h 110"/>
                    <a:gd name="T48" fmla="*/ 24 w 111"/>
                    <a:gd name="T49" fmla="*/ 9 h 110"/>
                    <a:gd name="T50" fmla="*/ 34 w 111"/>
                    <a:gd name="T51" fmla="*/ 4 h 110"/>
                    <a:gd name="T52" fmla="*/ 44 w 111"/>
                    <a:gd name="T53" fmla="*/ 1 h 110"/>
                    <a:gd name="T54" fmla="*/ 55 w 111"/>
                    <a:gd name="T55" fmla="*/ 0 h 110"/>
                    <a:gd name="T56" fmla="*/ 55 w 111"/>
                    <a:gd name="T57" fmla="*/ 0 h 110"/>
                    <a:gd name="T58" fmla="*/ 67 w 111"/>
                    <a:gd name="T59" fmla="*/ 1 h 110"/>
                    <a:gd name="T60" fmla="*/ 76 w 111"/>
                    <a:gd name="T61" fmla="*/ 4 h 110"/>
                    <a:gd name="T62" fmla="*/ 86 w 111"/>
                    <a:gd name="T63" fmla="*/ 9 h 110"/>
                    <a:gd name="T64" fmla="*/ 94 w 111"/>
                    <a:gd name="T65" fmla="*/ 16 h 110"/>
                    <a:gd name="T66" fmla="*/ 101 w 111"/>
                    <a:gd name="T67" fmla="*/ 25 h 110"/>
                    <a:gd name="T68" fmla="*/ 106 w 111"/>
                    <a:gd name="T69" fmla="*/ 34 h 110"/>
                    <a:gd name="T70" fmla="*/ 110 w 111"/>
                    <a:gd name="T71" fmla="*/ 44 h 110"/>
                    <a:gd name="T72" fmla="*/ 111 w 111"/>
                    <a:gd name="T73" fmla="*/ 56 h 110"/>
                    <a:gd name="T74" fmla="*/ 111 w 111"/>
                    <a:gd name="T75" fmla="*/ 56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1" h="110">
                      <a:moveTo>
                        <a:pt x="111" y="56"/>
                      </a:moveTo>
                      <a:lnTo>
                        <a:pt x="111" y="56"/>
                      </a:lnTo>
                      <a:lnTo>
                        <a:pt x="110" y="66"/>
                      </a:lnTo>
                      <a:lnTo>
                        <a:pt x="106" y="77"/>
                      </a:lnTo>
                      <a:lnTo>
                        <a:pt x="101" y="86"/>
                      </a:lnTo>
                      <a:lnTo>
                        <a:pt x="94" y="94"/>
                      </a:lnTo>
                      <a:lnTo>
                        <a:pt x="86" y="101"/>
                      </a:lnTo>
                      <a:lnTo>
                        <a:pt x="76" y="105"/>
                      </a:lnTo>
                      <a:lnTo>
                        <a:pt x="67" y="109"/>
                      </a:lnTo>
                      <a:lnTo>
                        <a:pt x="55" y="110"/>
                      </a:lnTo>
                      <a:lnTo>
                        <a:pt x="55" y="110"/>
                      </a:lnTo>
                      <a:lnTo>
                        <a:pt x="44" y="109"/>
                      </a:lnTo>
                      <a:lnTo>
                        <a:pt x="34" y="105"/>
                      </a:lnTo>
                      <a:lnTo>
                        <a:pt x="24" y="101"/>
                      </a:lnTo>
                      <a:lnTo>
                        <a:pt x="17" y="94"/>
                      </a:lnTo>
                      <a:lnTo>
                        <a:pt x="10" y="86"/>
                      </a:lnTo>
                      <a:lnTo>
                        <a:pt x="5" y="77"/>
                      </a:lnTo>
                      <a:lnTo>
                        <a:pt x="2" y="66"/>
                      </a:lnTo>
                      <a:lnTo>
                        <a:pt x="0" y="56"/>
                      </a:lnTo>
                      <a:lnTo>
                        <a:pt x="0" y="56"/>
                      </a:lnTo>
                      <a:lnTo>
                        <a:pt x="2" y="44"/>
                      </a:lnTo>
                      <a:lnTo>
                        <a:pt x="5" y="34"/>
                      </a:lnTo>
                      <a:lnTo>
                        <a:pt x="10" y="25"/>
                      </a:lnTo>
                      <a:lnTo>
                        <a:pt x="17" y="16"/>
                      </a:lnTo>
                      <a:lnTo>
                        <a:pt x="24" y="9"/>
                      </a:lnTo>
                      <a:lnTo>
                        <a:pt x="34" y="4"/>
                      </a:lnTo>
                      <a:lnTo>
                        <a:pt x="44" y="1"/>
                      </a:lnTo>
                      <a:lnTo>
                        <a:pt x="55" y="0"/>
                      </a:lnTo>
                      <a:lnTo>
                        <a:pt x="55" y="0"/>
                      </a:lnTo>
                      <a:lnTo>
                        <a:pt x="67" y="1"/>
                      </a:lnTo>
                      <a:lnTo>
                        <a:pt x="76" y="4"/>
                      </a:lnTo>
                      <a:lnTo>
                        <a:pt x="86" y="9"/>
                      </a:lnTo>
                      <a:lnTo>
                        <a:pt x="94" y="16"/>
                      </a:lnTo>
                      <a:lnTo>
                        <a:pt x="101" y="25"/>
                      </a:lnTo>
                      <a:lnTo>
                        <a:pt x="106" y="34"/>
                      </a:lnTo>
                      <a:lnTo>
                        <a:pt x="110" y="44"/>
                      </a:lnTo>
                      <a:lnTo>
                        <a:pt x="111" y="56"/>
                      </a:lnTo>
                      <a:lnTo>
                        <a:pt x="111" y="56"/>
                      </a:lnTo>
                      <a:close/>
                    </a:path>
                  </a:pathLst>
                </a:custGeom>
                <a:solidFill>
                  <a:srgbClr val="3ABA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2" name="Freeform 196"/>
                <p:cNvSpPr>
                  <a:spLocks/>
                </p:cNvSpPr>
                <p:nvPr userDrawn="1"/>
              </p:nvSpPr>
              <p:spPr bwMode="auto">
                <a:xfrm>
                  <a:off x="9586458" y="639261"/>
                  <a:ext cx="41275" cy="42863"/>
                </a:xfrm>
                <a:custGeom>
                  <a:avLst/>
                  <a:gdLst>
                    <a:gd name="T0" fmla="*/ 53 w 53"/>
                    <a:gd name="T1" fmla="*/ 27 h 53"/>
                    <a:gd name="T2" fmla="*/ 53 w 53"/>
                    <a:gd name="T3" fmla="*/ 27 h 53"/>
                    <a:gd name="T4" fmla="*/ 51 w 53"/>
                    <a:gd name="T5" fmla="*/ 32 h 53"/>
                    <a:gd name="T6" fmla="*/ 50 w 53"/>
                    <a:gd name="T7" fmla="*/ 37 h 53"/>
                    <a:gd name="T8" fmla="*/ 48 w 53"/>
                    <a:gd name="T9" fmla="*/ 41 h 53"/>
                    <a:gd name="T10" fmla="*/ 44 w 53"/>
                    <a:gd name="T11" fmla="*/ 45 h 53"/>
                    <a:gd name="T12" fmla="*/ 41 w 53"/>
                    <a:gd name="T13" fmla="*/ 49 h 53"/>
                    <a:gd name="T14" fmla="*/ 36 w 53"/>
                    <a:gd name="T15" fmla="*/ 51 h 53"/>
                    <a:gd name="T16" fmla="*/ 31 w 53"/>
                    <a:gd name="T17" fmla="*/ 52 h 53"/>
                    <a:gd name="T18" fmla="*/ 26 w 53"/>
                    <a:gd name="T19" fmla="*/ 53 h 53"/>
                    <a:gd name="T20" fmla="*/ 26 w 53"/>
                    <a:gd name="T21" fmla="*/ 53 h 53"/>
                    <a:gd name="T22" fmla="*/ 20 w 53"/>
                    <a:gd name="T23" fmla="*/ 52 h 53"/>
                    <a:gd name="T24" fmla="*/ 16 w 53"/>
                    <a:gd name="T25" fmla="*/ 51 h 53"/>
                    <a:gd name="T26" fmla="*/ 11 w 53"/>
                    <a:gd name="T27" fmla="*/ 49 h 53"/>
                    <a:gd name="T28" fmla="*/ 7 w 53"/>
                    <a:gd name="T29" fmla="*/ 45 h 53"/>
                    <a:gd name="T30" fmla="*/ 4 w 53"/>
                    <a:gd name="T31" fmla="*/ 41 h 53"/>
                    <a:gd name="T32" fmla="*/ 1 w 53"/>
                    <a:gd name="T33" fmla="*/ 37 h 53"/>
                    <a:gd name="T34" fmla="*/ 0 w 53"/>
                    <a:gd name="T35" fmla="*/ 32 h 53"/>
                    <a:gd name="T36" fmla="*/ 0 w 53"/>
                    <a:gd name="T37" fmla="*/ 27 h 53"/>
                    <a:gd name="T38" fmla="*/ 0 w 53"/>
                    <a:gd name="T39" fmla="*/ 27 h 53"/>
                    <a:gd name="T40" fmla="*/ 0 w 53"/>
                    <a:gd name="T41" fmla="*/ 21 h 53"/>
                    <a:gd name="T42" fmla="*/ 1 w 53"/>
                    <a:gd name="T43" fmla="*/ 17 h 53"/>
                    <a:gd name="T44" fmla="*/ 4 w 53"/>
                    <a:gd name="T45" fmla="*/ 12 h 53"/>
                    <a:gd name="T46" fmla="*/ 7 w 53"/>
                    <a:gd name="T47" fmla="*/ 8 h 53"/>
                    <a:gd name="T48" fmla="*/ 11 w 53"/>
                    <a:gd name="T49" fmla="*/ 5 h 53"/>
                    <a:gd name="T50" fmla="*/ 16 w 53"/>
                    <a:gd name="T51" fmla="*/ 2 h 53"/>
                    <a:gd name="T52" fmla="*/ 20 w 53"/>
                    <a:gd name="T53" fmla="*/ 1 h 53"/>
                    <a:gd name="T54" fmla="*/ 26 w 53"/>
                    <a:gd name="T55" fmla="*/ 0 h 53"/>
                    <a:gd name="T56" fmla="*/ 26 w 53"/>
                    <a:gd name="T57" fmla="*/ 0 h 53"/>
                    <a:gd name="T58" fmla="*/ 31 w 53"/>
                    <a:gd name="T59" fmla="*/ 1 h 53"/>
                    <a:gd name="T60" fmla="*/ 36 w 53"/>
                    <a:gd name="T61" fmla="*/ 2 h 53"/>
                    <a:gd name="T62" fmla="*/ 41 w 53"/>
                    <a:gd name="T63" fmla="*/ 5 h 53"/>
                    <a:gd name="T64" fmla="*/ 44 w 53"/>
                    <a:gd name="T65" fmla="*/ 8 h 53"/>
                    <a:gd name="T66" fmla="*/ 48 w 53"/>
                    <a:gd name="T67" fmla="*/ 12 h 53"/>
                    <a:gd name="T68" fmla="*/ 50 w 53"/>
                    <a:gd name="T69" fmla="*/ 17 h 53"/>
                    <a:gd name="T70" fmla="*/ 51 w 53"/>
                    <a:gd name="T71" fmla="*/ 21 h 53"/>
                    <a:gd name="T72" fmla="*/ 53 w 53"/>
                    <a:gd name="T73" fmla="*/ 27 h 53"/>
                    <a:gd name="T74" fmla="*/ 53 w 53"/>
                    <a:gd name="T75"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53">
                      <a:moveTo>
                        <a:pt x="53" y="27"/>
                      </a:moveTo>
                      <a:lnTo>
                        <a:pt x="53" y="27"/>
                      </a:lnTo>
                      <a:lnTo>
                        <a:pt x="51" y="32"/>
                      </a:lnTo>
                      <a:lnTo>
                        <a:pt x="50" y="37"/>
                      </a:lnTo>
                      <a:lnTo>
                        <a:pt x="48" y="41"/>
                      </a:lnTo>
                      <a:lnTo>
                        <a:pt x="44" y="45"/>
                      </a:lnTo>
                      <a:lnTo>
                        <a:pt x="41" y="49"/>
                      </a:lnTo>
                      <a:lnTo>
                        <a:pt x="36" y="51"/>
                      </a:lnTo>
                      <a:lnTo>
                        <a:pt x="31" y="52"/>
                      </a:lnTo>
                      <a:lnTo>
                        <a:pt x="26" y="53"/>
                      </a:lnTo>
                      <a:lnTo>
                        <a:pt x="26" y="53"/>
                      </a:lnTo>
                      <a:lnTo>
                        <a:pt x="20" y="52"/>
                      </a:lnTo>
                      <a:lnTo>
                        <a:pt x="16" y="51"/>
                      </a:lnTo>
                      <a:lnTo>
                        <a:pt x="11" y="49"/>
                      </a:lnTo>
                      <a:lnTo>
                        <a:pt x="7" y="45"/>
                      </a:lnTo>
                      <a:lnTo>
                        <a:pt x="4" y="41"/>
                      </a:lnTo>
                      <a:lnTo>
                        <a:pt x="1" y="37"/>
                      </a:lnTo>
                      <a:lnTo>
                        <a:pt x="0" y="32"/>
                      </a:lnTo>
                      <a:lnTo>
                        <a:pt x="0" y="27"/>
                      </a:lnTo>
                      <a:lnTo>
                        <a:pt x="0" y="27"/>
                      </a:lnTo>
                      <a:lnTo>
                        <a:pt x="0" y="21"/>
                      </a:lnTo>
                      <a:lnTo>
                        <a:pt x="1" y="17"/>
                      </a:lnTo>
                      <a:lnTo>
                        <a:pt x="4" y="12"/>
                      </a:lnTo>
                      <a:lnTo>
                        <a:pt x="7" y="8"/>
                      </a:lnTo>
                      <a:lnTo>
                        <a:pt x="11" y="5"/>
                      </a:lnTo>
                      <a:lnTo>
                        <a:pt x="16" y="2"/>
                      </a:lnTo>
                      <a:lnTo>
                        <a:pt x="20" y="1"/>
                      </a:lnTo>
                      <a:lnTo>
                        <a:pt x="26" y="0"/>
                      </a:lnTo>
                      <a:lnTo>
                        <a:pt x="26" y="0"/>
                      </a:lnTo>
                      <a:lnTo>
                        <a:pt x="31" y="1"/>
                      </a:lnTo>
                      <a:lnTo>
                        <a:pt x="36" y="2"/>
                      </a:lnTo>
                      <a:lnTo>
                        <a:pt x="41" y="5"/>
                      </a:lnTo>
                      <a:lnTo>
                        <a:pt x="44" y="8"/>
                      </a:lnTo>
                      <a:lnTo>
                        <a:pt x="48" y="12"/>
                      </a:lnTo>
                      <a:lnTo>
                        <a:pt x="50" y="17"/>
                      </a:lnTo>
                      <a:lnTo>
                        <a:pt x="51" y="21"/>
                      </a:lnTo>
                      <a:lnTo>
                        <a:pt x="53" y="27"/>
                      </a:lnTo>
                      <a:lnTo>
                        <a:pt x="5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3" name="Rectangle 197"/>
                <p:cNvSpPr>
                  <a:spLocks noChangeArrowheads="1"/>
                </p:cNvSpPr>
                <p:nvPr userDrawn="1"/>
              </p:nvSpPr>
              <p:spPr bwMode="auto">
                <a:xfrm>
                  <a:off x="10227808" y="-30664"/>
                  <a:ext cx="17463" cy="115888"/>
                </a:xfrm>
                <a:prstGeom prst="rect">
                  <a:avLst/>
                </a:prstGeom>
                <a:solidFill>
                  <a:srgbClr val="3ABA7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4" name="Freeform 198"/>
                <p:cNvSpPr>
                  <a:spLocks/>
                </p:cNvSpPr>
                <p:nvPr userDrawn="1"/>
              </p:nvSpPr>
              <p:spPr bwMode="auto">
                <a:xfrm>
                  <a:off x="9743621" y="167774"/>
                  <a:ext cx="493713" cy="71438"/>
                </a:xfrm>
                <a:custGeom>
                  <a:avLst/>
                  <a:gdLst>
                    <a:gd name="T0" fmla="*/ 622 w 622"/>
                    <a:gd name="T1" fmla="*/ 0 h 89"/>
                    <a:gd name="T2" fmla="*/ 90 w 622"/>
                    <a:gd name="T3" fmla="*/ 0 h 89"/>
                    <a:gd name="T4" fmla="*/ 90 w 622"/>
                    <a:gd name="T5" fmla="*/ 0 h 89"/>
                    <a:gd name="T6" fmla="*/ 81 w 622"/>
                    <a:gd name="T7" fmla="*/ 0 h 89"/>
                    <a:gd name="T8" fmla="*/ 71 w 622"/>
                    <a:gd name="T9" fmla="*/ 2 h 89"/>
                    <a:gd name="T10" fmla="*/ 63 w 622"/>
                    <a:gd name="T11" fmla="*/ 3 h 89"/>
                    <a:gd name="T12" fmla="*/ 54 w 622"/>
                    <a:gd name="T13" fmla="*/ 7 h 89"/>
                    <a:gd name="T14" fmla="*/ 47 w 622"/>
                    <a:gd name="T15" fmla="*/ 10 h 89"/>
                    <a:gd name="T16" fmla="*/ 40 w 622"/>
                    <a:gd name="T17" fmla="*/ 15 h 89"/>
                    <a:gd name="T18" fmla="*/ 33 w 622"/>
                    <a:gd name="T19" fmla="*/ 20 h 89"/>
                    <a:gd name="T20" fmla="*/ 26 w 622"/>
                    <a:gd name="T21" fmla="*/ 26 h 89"/>
                    <a:gd name="T22" fmla="*/ 20 w 622"/>
                    <a:gd name="T23" fmla="*/ 32 h 89"/>
                    <a:gd name="T24" fmla="*/ 15 w 622"/>
                    <a:gd name="T25" fmla="*/ 39 h 89"/>
                    <a:gd name="T26" fmla="*/ 10 w 622"/>
                    <a:gd name="T27" fmla="*/ 47 h 89"/>
                    <a:gd name="T28" fmla="*/ 7 w 622"/>
                    <a:gd name="T29" fmla="*/ 54 h 89"/>
                    <a:gd name="T30" fmla="*/ 5 w 622"/>
                    <a:gd name="T31" fmla="*/ 63 h 89"/>
                    <a:gd name="T32" fmla="*/ 2 w 622"/>
                    <a:gd name="T33" fmla="*/ 71 h 89"/>
                    <a:gd name="T34" fmla="*/ 1 w 622"/>
                    <a:gd name="T35" fmla="*/ 81 h 89"/>
                    <a:gd name="T36" fmla="*/ 0 w 622"/>
                    <a:gd name="T37" fmla="*/ 89 h 89"/>
                    <a:gd name="T38" fmla="*/ 622 w 622"/>
                    <a:gd name="T39" fmla="*/ 89 h 89"/>
                    <a:gd name="T40" fmla="*/ 622 w 622"/>
                    <a:gd name="T4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2" h="89">
                      <a:moveTo>
                        <a:pt x="622" y="0"/>
                      </a:moveTo>
                      <a:lnTo>
                        <a:pt x="90" y="0"/>
                      </a:lnTo>
                      <a:lnTo>
                        <a:pt x="90" y="0"/>
                      </a:lnTo>
                      <a:lnTo>
                        <a:pt x="81" y="0"/>
                      </a:lnTo>
                      <a:lnTo>
                        <a:pt x="71" y="2"/>
                      </a:lnTo>
                      <a:lnTo>
                        <a:pt x="63" y="3"/>
                      </a:lnTo>
                      <a:lnTo>
                        <a:pt x="54" y="7"/>
                      </a:lnTo>
                      <a:lnTo>
                        <a:pt x="47" y="10"/>
                      </a:lnTo>
                      <a:lnTo>
                        <a:pt x="40" y="15"/>
                      </a:lnTo>
                      <a:lnTo>
                        <a:pt x="33" y="20"/>
                      </a:lnTo>
                      <a:lnTo>
                        <a:pt x="26" y="26"/>
                      </a:lnTo>
                      <a:lnTo>
                        <a:pt x="20" y="32"/>
                      </a:lnTo>
                      <a:lnTo>
                        <a:pt x="15" y="39"/>
                      </a:lnTo>
                      <a:lnTo>
                        <a:pt x="10" y="47"/>
                      </a:lnTo>
                      <a:lnTo>
                        <a:pt x="7" y="54"/>
                      </a:lnTo>
                      <a:lnTo>
                        <a:pt x="5" y="63"/>
                      </a:lnTo>
                      <a:lnTo>
                        <a:pt x="2" y="71"/>
                      </a:lnTo>
                      <a:lnTo>
                        <a:pt x="1" y="81"/>
                      </a:lnTo>
                      <a:lnTo>
                        <a:pt x="0" y="89"/>
                      </a:lnTo>
                      <a:lnTo>
                        <a:pt x="622" y="89"/>
                      </a:lnTo>
                      <a:lnTo>
                        <a:pt x="622"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5" name="Freeform 199"/>
                <p:cNvSpPr>
                  <a:spLocks/>
                </p:cNvSpPr>
                <p:nvPr userDrawn="1"/>
              </p:nvSpPr>
              <p:spPr bwMode="auto">
                <a:xfrm>
                  <a:off x="9743621" y="239211"/>
                  <a:ext cx="493713" cy="71438"/>
                </a:xfrm>
                <a:custGeom>
                  <a:avLst/>
                  <a:gdLst>
                    <a:gd name="T0" fmla="*/ 622 w 622"/>
                    <a:gd name="T1" fmla="*/ 0 h 90"/>
                    <a:gd name="T2" fmla="*/ 0 w 622"/>
                    <a:gd name="T3" fmla="*/ 0 h 90"/>
                    <a:gd name="T4" fmla="*/ 0 w 622"/>
                    <a:gd name="T5" fmla="*/ 0 h 90"/>
                    <a:gd name="T6" fmla="*/ 1 w 622"/>
                    <a:gd name="T7" fmla="*/ 9 h 90"/>
                    <a:gd name="T8" fmla="*/ 2 w 622"/>
                    <a:gd name="T9" fmla="*/ 19 h 90"/>
                    <a:gd name="T10" fmla="*/ 5 w 622"/>
                    <a:gd name="T11" fmla="*/ 27 h 90"/>
                    <a:gd name="T12" fmla="*/ 7 w 622"/>
                    <a:gd name="T13" fmla="*/ 36 h 90"/>
                    <a:gd name="T14" fmla="*/ 10 w 622"/>
                    <a:gd name="T15" fmla="*/ 43 h 90"/>
                    <a:gd name="T16" fmla="*/ 15 w 622"/>
                    <a:gd name="T17" fmla="*/ 51 h 90"/>
                    <a:gd name="T18" fmla="*/ 20 w 622"/>
                    <a:gd name="T19" fmla="*/ 57 h 90"/>
                    <a:gd name="T20" fmla="*/ 26 w 622"/>
                    <a:gd name="T21" fmla="*/ 64 h 90"/>
                    <a:gd name="T22" fmla="*/ 33 w 622"/>
                    <a:gd name="T23" fmla="*/ 70 h 90"/>
                    <a:gd name="T24" fmla="*/ 40 w 622"/>
                    <a:gd name="T25" fmla="*/ 75 h 90"/>
                    <a:gd name="T26" fmla="*/ 47 w 622"/>
                    <a:gd name="T27" fmla="*/ 79 h 90"/>
                    <a:gd name="T28" fmla="*/ 54 w 622"/>
                    <a:gd name="T29" fmla="*/ 83 h 90"/>
                    <a:gd name="T30" fmla="*/ 63 w 622"/>
                    <a:gd name="T31" fmla="*/ 85 h 90"/>
                    <a:gd name="T32" fmla="*/ 71 w 622"/>
                    <a:gd name="T33" fmla="*/ 88 h 90"/>
                    <a:gd name="T34" fmla="*/ 81 w 622"/>
                    <a:gd name="T35" fmla="*/ 89 h 90"/>
                    <a:gd name="T36" fmla="*/ 90 w 622"/>
                    <a:gd name="T37" fmla="*/ 90 h 90"/>
                    <a:gd name="T38" fmla="*/ 622 w 622"/>
                    <a:gd name="T39" fmla="*/ 90 h 90"/>
                    <a:gd name="T40" fmla="*/ 622 w 622"/>
                    <a:gd name="T4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2" h="90">
                      <a:moveTo>
                        <a:pt x="622" y="0"/>
                      </a:moveTo>
                      <a:lnTo>
                        <a:pt x="0" y="0"/>
                      </a:lnTo>
                      <a:lnTo>
                        <a:pt x="0" y="0"/>
                      </a:lnTo>
                      <a:lnTo>
                        <a:pt x="1" y="9"/>
                      </a:lnTo>
                      <a:lnTo>
                        <a:pt x="2" y="19"/>
                      </a:lnTo>
                      <a:lnTo>
                        <a:pt x="5" y="27"/>
                      </a:lnTo>
                      <a:lnTo>
                        <a:pt x="7" y="36"/>
                      </a:lnTo>
                      <a:lnTo>
                        <a:pt x="10" y="43"/>
                      </a:lnTo>
                      <a:lnTo>
                        <a:pt x="15" y="51"/>
                      </a:lnTo>
                      <a:lnTo>
                        <a:pt x="20" y="57"/>
                      </a:lnTo>
                      <a:lnTo>
                        <a:pt x="26" y="64"/>
                      </a:lnTo>
                      <a:lnTo>
                        <a:pt x="33" y="70"/>
                      </a:lnTo>
                      <a:lnTo>
                        <a:pt x="40" y="75"/>
                      </a:lnTo>
                      <a:lnTo>
                        <a:pt x="47" y="79"/>
                      </a:lnTo>
                      <a:lnTo>
                        <a:pt x="54" y="83"/>
                      </a:lnTo>
                      <a:lnTo>
                        <a:pt x="63" y="85"/>
                      </a:lnTo>
                      <a:lnTo>
                        <a:pt x="71" y="88"/>
                      </a:lnTo>
                      <a:lnTo>
                        <a:pt x="81" y="89"/>
                      </a:lnTo>
                      <a:lnTo>
                        <a:pt x="90" y="90"/>
                      </a:lnTo>
                      <a:lnTo>
                        <a:pt x="622" y="90"/>
                      </a:lnTo>
                      <a:lnTo>
                        <a:pt x="622"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6" name="Freeform 200"/>
                <p:cNvSpPr>
                  <a:spLocks/>
                </p:cNvSpPr>
                <p:nvPr userDrawn="1"/>
              </p:nvSpPr>
              <p:spPr bwMode="auto">
                <a:xfrm>
                  <a:off x="9743621" y="239211"/>
                  <a:ext cx="493713" cy="71438"/>
                </a:xfrm>
                <a:custGeom>
                  <a:avLst/>
                  <a:gdLst>
                    <a:gd name="T0" fmla="*/ 622 w 622"/>
                    <a:gd name="T1" fmla="*/ 0 h 90"/>
                    <a:gd name="T2" fmla="*/ 0 w 622"/>
                    <a:gd name="T3" fmla="*/ 0 h 90"/>
                    <a:gd name="T4" fmla="*/ 0 w 622"/>
                    <a:gd name="T5" fmla="*/ 0 h 90"/>
                    <a:gd name="T6" fmla="*/ 1 w 622"/>
                    <a:gd name="T7" fmla="*/ 9 h 90"/>
                    <a:gd name="T8" fmla="*/ 2 w 622"/>
                    <a:gd name="T9" fmla="*/ 19 h 90"/>
                    <a:gd name="T10" fmla="*/ 5 w 622"/>
                    <a:gd name="T11" fmla="*/ 27 h 90"/>
                    <a:gd name="T12" fmla="*/ 7 w 622"/>
                    <a:gd name="T13" fmla="*/ 36 h 90"/>
                    <a:gd name="T14" fmla="*/ 10 w 622"/>
                    <a:gd name="T15" fmla="*/ 43 h 90"/>
                    <a:gd name="T16" fmla="*/ 15 w 622"/>
                    <a:gd name="T17" fmla="*/ 51 h 90"/>
                    <a:gd name="T18" fmla="*/ 20 w 622"/>
                    <a:gd name="T19" fmla="*/ 57 h 90"/>
                    <a:gd name="T20" fmla="*/ 26 w 622"/>
                    <a:gd name="T21" fmla="*/ 64 h 90"/>
                    <a:gd name="T22" fmla="*/ 33 w 622"/>
                    <a:gd name="T23" fmla="*/ 70 h 90"/>
                    <a:gd name="T24" fmla="*/ 40 w 622"/>
                    <a:gd name="T25" fmla="*/ 75 h 90"/>
                    <a:gd name="T26" fmla="*/ 47 w 622"/>
                    <a:gd name="T27" fmla="*/ 79 h 90"/>
                    <a:gd name="T28" fmla="*/ 54 w 622"/>
                    <a:gd name="T29" fmla="*/ 83 h 90"/>
                    <a:gd name="T30" fmla="*/ 63 w 622"/>
                    <a:gd name="T31" fmla="*/ 85 h 90"/>
                    <a:gd name="T32" fmla="*/ 71 w 622"/>
                    <a:gd name="T33" fmla="*/ 88 h 90"/>
                    <a:gd name="T34" fmla="*/ 81 w 622"/>
                    <a:gd name="T35" fmla="*/ 89 h 90"/>
                    <a:gd name="T36" fmla="*/ 90 w 622"/>
                    <a:gd name="T37" fmla="*/ 90 h 90"/>
                    <a:gd name="T38" fmla="*/ 622 w 622"/>
                    <a:gd name="T39" fmla="*/ 90 h 90"/>
                    <a:gd name="T40" fmla="*/ 622 w 622"/>
                    <a:gd name="T4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2" h="90">
                      <a:moveTo>
                        <a:pt x="622" y="0"/>
                      </a:moveTo>
                      <a:lnTo>
                        <a:pt x="0" y="0"/>
                      </a:lnTo>
                      <a:lnTo>
                        <a:pt x="0" y="0"/>
                      </a:lnTo>
                      <a:lnTo>
                        <a:pt x="1" y="9"/>
                      </a:lnTo>
                      <a:lnTo>
                        <a:pt x="2" y="19"/>
                      </a:lnTo>
                      <a:lnTo>
                        <a:pt x="5" y="27"/>
                      </a:lnTo>
                      <a:lnTo>
                        <a:pt x="7" y="36"/>
                      </a:lnTo>
                      <a:lnTo>
                        <a:pt x="10" y="43"/>
                      </a:lnTo>
                      <a:lnTo>
                        <a:pt x="15" y="51"/>
                      </a:lnTo>
                      <a:lnTo>
                        <a:pt x="20" y="57"/>
                      </a:lnTo>
                      <a:lnTo>
                        <a:pt x="26" y="64"/>
                      </a:lnTo>
                      <a:lnTo>
                        <a:pt x="33" y="70"/>
                      </a:lnTo>
                      <a:lnTo>
                        <a:pt x="40" y="75"/>
                      </a:lnTo>
                      <a:lnTo>
                        <a:pt x="47" y="79"/>
                      </a:lnTo>
                      <a:lnTo>
                        <a:pt x="54" y="83"/>
                      </a:lnTo>
                      <a:lnTo>
                        <a:pt x="63" y="85"/>
                      </a:lnTo>
                      <a:lnTo>
                        <a:pt x="71" y="88"/>
                      </a:lnTo>
                      <a:lnTo>
                        <a:pt x="81" y="89"/>
                      </a:lnTo>
                      <a:lnTo>
                        <a:pt x="90" y="90"/>
                      </a:lnTo>
                      <a:lnTo>
                        <a:pt x="622" y="90"/>
                      </a:lnTo>
                      <a:lnTo>
                        <a:pt x="6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7" name="Freeform 201"/>
                <p:cNvSpPr>
                  <a:spLocks/>
                </p:cNvSpPr>
                <p:nvPr userDrawn="1"/>
              </p:nvSpPr>
              <p:spPr bwMode="auto">
                <a:xfrm>
                  <a:off x="9913483" y="85224"/>
                  <a:ext cx="323850" cy="82550"/>
                </a:xfrm>
                <a:custGeom>
                  <a:avLst/>
                  <a:gdLst>
                    <a:gd name="T0" fmla="*/ 408 w 408"/>
                    <a:gd name="T1" fmla="*/ 0 h 105"/>
                    <a:gd name="T2" fmla="*/ 408 w 408"/>
                    <a:gd name="T3" fmla="*/ 0 h 105"/>
                    <a:gd name="T4" fmla="*/ 366 w 408"/>
                    <a:gd name="T5" fmla="*/ 1 h 105"/>
                    <a:gd name="T6" fmla="*/ 326 w 408"/>
                    <a:gd name="T7" fmla="*/ 2 h 105"/>
                    <a:gd name="T8" fmla="*/ 286 w 408"/>
                    <a:gd name="T9" fmla="*/ 5 h 105"/>
                    <a:gd name="T10" fmla="*/ 250 w 408"/>
                    <a:gd name="T11" fmla="*/ 8 h 105"/>
                    <a:gd name="T12" fmla="*/ 214 w 408"/>
                    <a:gd name="T13" fmla="*/ 13 h 105"/>
                    <a:gd name="T14" fmla="*/ 181 w 408"/>
                    <a:gd name="T15" fmla="*/ 18 h 105"/>
                    <a:gd name="T16" fmla="*/ 148 w 408"/>
                    <a:gd name="T17" fmla="*/ 24 h 105"/>
                    <a:gd name="T18" fmla="*/ 120 w 408"/>
                    <a:gd name="T19" fmla="*/ 31 h 105"/>
                    <a:gd name="T20" fmla="*/ 94 w 408"/>
                    <a:gd name="T21" fmla="*/ 38 h 105"/>
                    <a:gd name="T22" fmla="*/ 70 w 408"/>
                    <a:gd name="T23" fmla="*/ 46 h 105"/>
                    <a:gd name="T24" fmla="*/ 50 w 408"/>
                    <a:gd name="T25" fmla="*/ 55 h 105"/>
                    <a:gd name="T26" fmla="*/ 32 w 408"/>
                    <a:gd name="T27" fmla="*/ 64 h 105"/>
                    <a:gd name="T28" fmla="*/ 19 w 408"/>
                    <a:gd name="T29" fmla="*/ 74 h 105"/>
                    <a:gd name="T30" fmla="*/ 13 w 408"/>
                    <a:gd name="T31" fmla="*/ 79 h 105"/>
                    <a:gd name="T32" fmla="*/ 8 w 408"/>
                    <a:gd name="T33" fmla="*/ 83 h 105"/>
                    <a:gd name="T34" fmla="*/ 5 w 408"/>
                    <a:gd name="T35" fmla="*/ 89 h 105"/>
                    <a:gd name="T36" fmla="*/ 2 w 408"/>
                    <a:gd name="T37" fmla="*/ 94 h 105"/>
                    <a:gd name="T38" fmla="*/ 1 w 408"/>
                    <a:gd name="T39" fmla="*/ 100 h 105"/>
                    <a:gd name="T40" fmla="*/ 0 w 408"/>
                    <a:gd name="T41" fmla="*/ 105 h 105"/>
                    <a:gd name="T42" fmla="*/ 408 w 408"/>
                    <a:gd name="T43" fmla="*/ 105 h 105"/>
                    <a:gd name="T44" fmla="*/ 408 w 408"/>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8" h="105">
                      <a:moveTo>
                        <a:pt x="408" y="0"/>
                      </a:moveTo>
                      <a:lnTo>
                        <a:pt x="408" y="0"/>
                      </a:lnTo>
                      <a:lnTo>
                        <a:pt x="366" y="1"/>
                      </a:lnTo>
                      <a:lnTo>
                        <a:pt x="326" y="2"/>
                      </a:lnTo>
                      <a:lnTo>
                        <a:pt x="286" y="5"/>
                      </a:lnTo>
                      <a:lnTo>
                        <a:pt x="250" y="8"/>
                      </a:lnTo>
                      <a:lnTo>
                        <a:pt x="214" y="13"/>
                      </a:lnTo>
                      <a:lnTo>
                        <a:pt x="181" y="18"/>
                      </a:lnTo>
                      <a:lnTo>
                        <a:pt x="148" y="24"/>
                      </a:lnTo>
                      <a:lnTo>
                        <a:pt x="120" y="31"/>
                      </a:lnTo>
                      <a:lnTo>
                        <a:pt x="94" y="38"/>
                      </a:lnTo>
                      <a:lnTo>
                        <a:pt x="70" y="46"/>
                      </a:lnTo>
                      <a:lnTo>
                        <a:pt x="50" y="55"/>
                      </a:lnTo>
                      <a:lnTo>
                        <a:pt x="32" y="64"/>
                      </a:lnTo>
                      <a:lnTo>
                        <a:pt x="19" y="74"/>
                      </a:lnTo>
                      <a:lnTo>
                        <a:pt x="13" y="79"/>
                      </a:lnTo>
                      <a:lnTo>
                        <a:pt x="8" y="83"/>
                      </a:lnTo>
                      <a:lnTo>
                        <a:pt x="5" y="89"/>
                      </a:lnTo>
                      <a:lnTo>
                        <a:pt x="2" y="94"/>
                      </a:lnTo>
                      <a:lnTo>
                        <a:pt x="1" y="100"/>
                      </a:lnTo>
                      <a:lnTo>
                        <a:pt x="0" y="105"/>
                      </a:lnTo>
                      <a:lnTo>
                        <a:pt x="408" y="105"/>
                      </a:lnTo>
                      <a:lnTo>
                        <a:pt x="408" y="0"/>
                      </a:lnTo>
                      <a:close/>
                    </a:path>
                  </a:pathLst>
                </a:custGeom>
                <a:solidFill>
                  <a:srgbClr val="3ABA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8" name="Freeform 202"/>
                <p:cNvSpPr>
                  <a:spLocks/>
                </p:cNvSpPr>
                <p:nvPr userDrawn="1"/>
              </p:nvSpPr>
              <p:spPr bwMode="auto">
                <a:xfrm>
                  <a:off x="9669008" y="493211"/>
                  <a:ext cx="568325" cy="260350"/>
                </a:xfrm>
                <a:custGeom>
                  <a:avLst/>
                  <a:gdLst>
                    <a:gd name="T0" fmla="*/ 0 w 716"/>
                    <a:gd name="T1" fmla="*/ 0 h 328"/>
                    <a:gd name="T2" fmla="*/ 0 w 716"/>
                    <a:gd name="T3" fmla="*/ 0 h 328"/>
                    <a:gd name="T4" fmla="*/ 1 w 716"/>
                    <a:gd name="T5" fmla="*/ 16 h 328"/>
                    <a:gd name="T6" fmla="*/ 3 w 716"/>
                    <a:gd name="T7" fmla="*/ 33 h 328"/>
                    <a:gd name="T8" fmla="*/ 8 w 716"/>
                    <a:gd name="T9" fmla="*/ 50 h 328"/>
                    <a:gd name="T10" fmla="*/ 14 w 716"/>
                    <a:gd name="T11" fmla="*/ 66 h 328"/>
                    <a:gd name="T12" fmla="*/ 22 w 716"/>
                    <a:gd name="T13" fmla="*/ 82 h 328"/>
                    <a:gd name="T14" fmla="*/ 32 w 716"/>
                    <a:gd name="T15" fmla="*/ 97 h 328"/>
                    <a:gd name="T16" fmla="*/ 43 w 716"/>
                    <a:gd name="T17" fmla="*/ 113 h 328"/>
                    <a:gd name="T18" fmla="*/ 56 w 716"/>
                    <a:gd name="T19" fmla="*/ 128 h 328"/>
                    <a:gd name="T20" fmla="*/ 70 w 716"/>
                    <a:gd name="T21" fmla="*/ 142 h 328"/>
                    <a:gd name="T22" fmla="*/ 87 w 716"/>
                    <a:gd name="T23" fmla="*/ 157 h 328"/>
                    <a:gd name="T24" fmla="*/ 103 w 716"/>
                    <a:gd name="T25" fmla="*/ 170 h 328"/>
                    <a:gd name="T26" fmla="*/ 122 w 716"/>
                    <a:gd name="T27" fmla="*/ 184 h 328"/>
                    <a:gd name="T28" fmla="*/ 143 w 716"/>
                    <a:gd name="T29" fmla="*/ 196 h 328"/>
                    <a:gd name="T30" fmla="*/ 163 w 716"/>
                    <a:gd name="T31" fmla="*/ 209 h 328"/>
                    <a:gd name="T32" fmla="*/ 185 w 716"/>
                    <a:gd name="T33" fmla="*/ 221 h 328"/>
                    <a:gd name="T34" fmla="*/ 209 w 716"/>
                    <a:gd name="T35" fmla="*/ 231 h 328"/>
                    <a:gd name="T36" fmla="*/ 234 w 716"/>
                    <a:gd name="T37" fmla="*/ 243 h 328"/>
                    <a:gd name="T38" fmla="*/ 260 w 716"/>
                    <a:gd name="T39" fmla="*/ 253 h 328"/>
                    <a:gd name="T40" fmla="*/ 288 w 716"/>
                    <a:gd name="T41" fmla="*/ 264 h 328"/>
                    <a:gd name="T42" fmla="*/ 315 w 716"/>
                    <a:gd name="T43" fmla="*/ 272 h 328"/>
                    <a:gd name="T44" fmla="*/ 345 w 716"/>
                    <a:gd name="T45" fmla="*/ 280 h 328"/>
                    <a:gd name="T46" fmla="*/ 374 w 716"/>
                    <a:gd name="T47" fmla="*/ 288 h 328"/>
                    <a:gd name="T48" fmla="*/ 405 w 716"/>
                    <a:gd name="T49" fmla="*/ 296 h 328"/>
                    <a:gd name="T50" fmla="*/ 437 w 716"/>
                    <a:gd name="T51" fmla="*/ 303 h 328"/>
                    <a:gd name="T52" fmla="*/ 470 w 716"/>
                    <a:gd name="T53" fmla="*/ 309 h 328"/>
                    <a:gd name="T54" fmla="*/ 503 w 716"/>
                    <a:gd name="T55" fmla="*/ 313 h 328"/>
                    <a:gd name="T56" fmla="*/ 537 w 716"/>
                    <a:gd name="T57" fmla="*/ 318 h 328"/>
                    <a:gd name="T58" fmla="*/ 572 w 716"/>
                    <a:gd name="T59" fmla="*/ 322 h 328"/>
                    <a:gd name="T60" fmla="*/ 606 w 716"/>
                    <a:gd name="T61" fmla="*/ 324 h 328"/>
                    <a:gd name="T62" fmla="*/ 643 w 716"/>
                    <a:gd name="T63" fmla="*/ 327 h 328"/>
                    <a:gd name="T64" fmla="*/ 679 w 716"/>
                    <a:gd name="T65" fmla="*/ 328 h 328"/>
                    <a:gd name="T66" fmla="*/ 716 w 716"/>
                    <a:gd name="T67" fmla="*/ 328 h 328"/>
                    <a:gd name="T68" fmla="*/ 716 w 716"/>
                    <a:gd name="T69" fmla="*/ 0 h 328"/>
                    <a:gd name="T70" fmla="*/ 0 w 716"/>
                    <a:gd name="T71"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16" h="328">
                      <a:moveTo>
                        <a:pt x="0" y="0"/>
                      </a:moveTo>
                      <a:lnTo>
                        <a:pt x="0" y="0"/>
                      </a:lnTo>
                      <a:lnTo>
                        <a:pt x="1" y="16"/>
                      </a:lnTo>
                      <a:lnTo>
                        <a:pt x="3" y="33"/>
                      </a:lnTo>
                      <a:lnTo>
                        <a:pt x="8" y="50"/>
                      </a:lnTo>
                      <a:lnTo>
                        <a:pt x="14" y="66"/>
                      </a:lnTo>
                      <a:lnTo>
                        <a:pt x="22" y="82"/>
                      </a:lnTo>
                      <a:lnTo>
                        <a:pt x="32" y="97"/>
                      </a:lnTo>
                      <a:lnTo>
                        <a:pt x="43" y="113"/>
                      </a:lnTo>
                      <a:lnTo>
                        <a:pt x="56" y="128"/>
                      </a:lnTo>
                      <a:lnTo>
                        <a:pt x="70" y="142"/>
                      </a:lnTo>
                      <a:lnTo>
                        <a:pt x="87" y="157"/>
                      </a:lnTo>
                      <a:lnTo>
                        <a:pt x="103" y="170"/>
                      </a:lnTo>
                      <a:lnTo>
                        <a:pt x="122" y="184"/>
                      </a:lnTo>
                      <a:lnTo>
                        <a:pt x="143" y="196"/>
                      </a:lnTo>
                      <a:lnTo>
                        <a:pt x="163" y="209"/>
                      </a:lnTo>
                      <a:lnTo>
                        <a:pt x="185" y="221"/>
                      </a:lnTo>
                      <a:lnTo>
                        <a:pt x="209" y="231"/>
                      </a:lnTo>
                      <a:lnTo>
                        <a:pt x="234" y="243"/>
                      </a:lnTo>
                      <a:lnTo>
                        <a:pt x="260" y="253"/>
                      </a:lnTo>
                      <a:lnTo>
                        <a:pt x="288" y="264"/>
                      </a:lnTo>
                      <a:lnTo>
                        <a:pt x="315" y="272"/>
                      </a:lnTo>
                      <a:lnTo>
                        <a:pt x="345" y="280"/>
                      </a:lnTo>
                      <a:lnTo>
                        <a:pt x="374" y="288"/>
                      </a:lnTo>
                      <a:lnTo>
                        <a:pt x="405" y="296"/>
                      </a:lnTo>
                      <a:lnTo>
                        <a:pt x="437" y="303"/>
                      </a:lnTo>
                      <a:lnTo>
                        <a:pt x="470" y="309"/>
                      </a:lnTo>
                      <a:lnTo>
                        <a:pt x="503" y="313"/>
                      </a:lnTo>
                      <a:lnTo>
                        <a:pt x="537" y="318"/>
                      </a:lnTo>
                      <a:lnTo>
                        <a:pt x="572" y="322"/>
                      </a:lnTo>
                      <a:lnTo>
                        <a:pt x="606" y="324"/>
                      </a:lnTo>
                      <a:lnTo>
                        <a:pt x="643" y="327"/>
                      </a:lnTo>
                      <a:lnTo>
                        <a:pt x="679" y="328"/>
                      </a:lnTo>
                      <a:lnTo>
                        <a:pt x="716" y="328"/>
                      </a:lnTo>
                      <a:lnTo>
                        <a:pt x="716" y="0"/>
                      </a:lnTo>
                      <a:lnTo>
                        <a:pt x="0"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9" name="Freeform 203"/>
                <p:cNvSpPr>
                  <a:spLocks/>
                </p:cNvSpPr>
                <p:nvPr userDrawn="1"/>
              </p:nvSpPr>
              <p:spPr bwMode="auto">
                <a:xfrm>
                  <a:off x="9669008" y="493211"/>
                  <a:ext cx="568325" cy="260350"/>
                </a:xfrm>
                <a:custGeom>
                  <a:avLst/>
                  <a:gdLst>
                    <a:gd name="T0" fmla="*/ 0 w 716"/>
                    <a:gd name="T1" fmla="*/ 0 h 328"/>
                    <a:gd name="T2" fmla="*/ 0 w 716"/>
                    <a:gd name="T3" fmla="*/ 0 h 328"/>
                    <a:gd name="T4" fmla="*/ 1 w 716"/>
                    <a:gd name="T5" fmla="*/ 16 h 328"/>
                    <a:gd name="T6" fmla="*/ 3 w 716"/>
                    <a:gd name="T7" fmla="*/ 33 h 328"/>
                    <a:gd name="T8" fmla="*/ 8 w 716"/>
                    <a:gd name="T9" fmla="*/ 50 h 328"/>
                    <a:gd name="T10" fmla="*/ 14 w 716"/>
                    <a:gd name="T11" fmla="*/ 66 h 328"/>
                    <a:gd name="T12" fmla="*/ 22 w 716"/>
                    <a:gd name="T13" fmla="*/ 82 h 328"/>
                    <a:gd name="T14" fmla="*/ 32 w 716"/>
                    <a:gd name="T15" fmla="*/ 97 h 328"/>
                    <a:gd name="T16" fmla="*/ 43 w 716"/>
                    <a:gd name="T17" fmla="*/ 113 h 328"/>
                    <a:gd name="T18" fmla="*/ 56 w 716"/>
                    <a:gd name="T19" fmla="*/ 128 h 328"/>
                    <a:gd name="T20" fmla="*/ 70 w 716"/>
                    <a:gd name="T21" fmla="*/ 142 h 328"/>
                    <a:gd name="T22" fmla="*/ 87 w 716"/>
                    <a:gd name="T23" fmla="*/ 157 h 328"/>
                    <a:gd name="T24" fmla="*/ 103 w 716"/>
                    <a:gd name="T25" fmla="*/ 170 h 328"/>
                    <a:gd name="T26" fmla="*/ 122 w 716"/>
                    <a:gd name="T27" fmla="*/ 184 h 328"/>
                    <a:gd name="T28" fmla="*/ 143 w 716"/>
                    <a:gd name="T29" fmla="*/ 196 h 328"/>
                    <a:gd name="T30" fmla="*/ 163 w 716"/>
                    <a:gd name="T31" fmla="*/ 209 h 328"/>
                    <a:gd name="T32" fmla="*/ 185 w 716"/>
                    <a:gd name="T33" fmla="*/ 221 h 328"/>
                    <a:gd name="T34" fmla="*/ 209 w 716"/>
                    <a:gd name="T35" fmla="*/ 231 h 328"/>
                    <a:gd name="T36" fmla="*/ 234 w 716"/>
                    <a:gd name="T37" fmla="*/ 243 h 328"/>
                    <a:gd name="T38" fmla="*/ 260 w 716"/>
                    <a:gd name="T39" fmla="*/ 253 h 328"/>
                    <a:gd name="T40" fmla="*/ 288 w 716"/>
                    <a:gd name="T41" fmla="*/ 264 h 328"/>
                    <a:gd name="T42" fmla="*/ 315 w 716"/>
                    <a:gd name="T43" fmla="*/ 272 h 328"/>
                    <a:gd name="T44" fmla="*/ 345 w 716"/>
                    <a:gd name="T45" fmla="*/ 280 h 328"/>
                    <a:gd name="T46" fmla="*/ 374 w 716"/>
                    <a:gd name="T47" fmla="*/ 288 h 328"/>
                    <a:gd name="T48" fmla="*/ 405 w 716"/>
                    <a:gd name="T49" fmla="*/ 296 h 328"/>
                    <a:gd name="T50" fmla="*/ 437 w 716"/>
                    <a:gd name="T51" fmla="*/ 303 h 328"/>
                    <a:gd name="T52" fmla="*/ 470 w 716"/>
                    <a:gd name="T53" fmla="*/ 309 h 328"/>
                    <a:gd name="T54" fmla="*/ 503 w 716"/>
                    <a:gd name="T55" fmla="*/ 313 h 328"/>
                    <a:gd name="T56" fmla="*/ 537 w 716"/>
                    <a:gd name="T57" fmla="*/ 318 h 328"/>
                    <a:gd name="T58" fmla="*/ 572 w 716"/>
                    <a:gd name="T59" fmla="*/ 322 h 328"/>
                    <a:gd name="T60" fmla="*/ 606 w 716"/>
                    <a:gd name="T61" fmla="*/ 324 h 328"/>
                    <a:gd name="T62" fmla="*/ 643 w 716"/>
                    <a:gd name="T63" fmla="*/ 327 h 328"/>
                    <a:gd name="T64" fmla="*/ 679 w 716"/>
                    <a:gd name="T65" fmla="*/ 328 h 328"/>
                    <a:gd name="T66" fmla="*/ 716 w 716"/>
                    <a:gd name="T67" fmla="*/ 328 h 328"/>
                    <a:gd name="T68" fmla="*/ 716 w 716"/>
                    <a:gd name="T69" fmla="*/ 0 h 328"/>
                    <a:gd name="T70" fmla="*/ 0 w 716"/>
                    <a:gd name="T71"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16" h="328">
                      <a:moveTo>
                        <a:pt x="0" y="0"/>
                      </a:moveTo>
                      <a:lnTo>
                        <a:pt x="0" y="0"/>
                      </a:lnTo>
                      <a:lnTo>
                        <a:pt x="1" y="16"/>
                      </a:lnTo>
                      <a:lnTo>
                        <a:pt x="3" y="33"/>
                      </a:lnTo>
                      <a:lnTo>
                        <a:pt x="8" y="50"/>
                      </a:lnTo>
                      <a:lnTo>
                        <a:pt x="14" y="66"/>
                      </a:lnTo>
                      <a:lnTo>
                        <a:pt x="22" y="82"/>
                      </a:lnTo>
                      <a:lnTo>
                        <a:pt x="32" y="97"/>
                      </a:lnTo>
                      <a:lnTo>
                        <a:pt x="43" y="113"/>
                      </a:lnTo>
                      <a:lnTo>
                        <a:pt x="56" y="128"/>
                      </a:lnTo>
                      <a:lnTo>
                        <a:pt x="70" y="142"/>
                      </a:lnTo>
                      <a:lnTo>
                        <a:pt x="87" y="157"/>
                      </a:lnTo>
                      <a:lnTo>
                        <a:pt x="103" y="170"/>
                      </a:lnTo>
                      <a:lnTo>
                        <a:pt x="122" y="184"/>
                      </a:lnTo>
                      <a:lnTo>
                        <a:pt x="143" y="196"/>
                      </a:lnTo>
                      <a:lnTo>
                        <a:pt x="163" y="209"/>
                      </a:lnTo>
                      <a:lnTo>
                        <a:pt x="185" y="221"/>
                      </a:lnTo>
                      <a:lnTo>
                        <a:pt x="209" y="231"/>
                      </a:lnTo>
                      <a:lnTo>
                        <a:pt x="234" y="243"/>
                      </a:lnTo>
                      <a:lnTo>
                        <a:pt x="260" y="253"/>
                      </a:lnTo>
                      <a:lnTo>
                        <a:pt x="288" y="264"/>
                      </a:lnTo>
                      <a:lnTo>
                        <a:pt x="315" y="272"/>
                      </a:lnTo>
                      <a:lnTo>
                        <a:pt x="345" y="280"/>
                      </a:lnTo>
                      <a:lnTo>
                        <a:pt x="374" y="288"/>
                      </a:lnTo>
                      <a:lnTo>
                        <a:pt x="405" y="296"/>
                      </a:lnTo>
                      <a:lnTo>
                        <a:pt x="437" y="303"/>
                      </a:lnTo>
                      <a:lnTo>
                        <a:pt x="470" y="309"/>
                      </a:lnTo>
                      <a:lnTo>
                        <a:pt x="503" y="313"/>
                      </a:lnTo>
                      <a:lnTo>
                        <a:pt x="537" y="318"/>
                      </a:lnTo>
                      <a:lnTo>
                        <a:pt x="572" y="322"/>
                      </a:lnTo>
                      <a:lnTo>
                        <a:pt x="606" y="324"/>
                      </a:lnTo>
                      <a:lnTo>
                        <a:pt x="643" y="327"/>
                      </a:lnTo>
                      <a:lnTo>
                        <a:pt x="679" y="328"/>
                      </a:lnTo>
                      <a:lnTo>
                        <a:pt x="716" y="328"/>
                      </a:lnTo>
                      <a:lnTo>
                        <a:pt x="71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0" name="Freeform 204"/>
                <p:cNvSpPr>
                  <a:spLocks/>
                </p:cNvSpPr>
                <p:nvPr userDrawn="1"/>
              </p:nvSpPr>
              <p:spPr bwMode="auto">
                <a:xfrm>
                  <a:off x="9449933" y="310649"/>
                  <a:ext cx="787400" cy="182563"/>
                </a:xfrm>
                <a:custGeom>
                  <a:avLst/>
                  <a:gdLst>
                    <a:gd name="T0" fmla="*/ 0 w 992"/>
                    <a:gd name="T1" fmla="*/ 230 h 230"/>
                    <a:gd name="T2" fmla="*/ 992 w 992"/>
                    <a:gd name="T3" fmla="*/ 230 h 230"/>
                    <a:gd name="T4" fmla="*/ 992 w 992"/>
                    <a:gd name="T5" fmla="*/ 0 h 230"/>
                    <a:gd name="T6" fmla="*/ 460 w 992"/>
                    <a:gd name="T7" fmla="*/ 0 h 230"/>
                    <a:gd name="T8" fmla="*/ 0 w 992"/>
                    <a:gd name="T9" fmla="*/ 230 h 230"/>
                  </a:gdLst>
                  <a:ahLst/>
                  <a:cxnLst>
                    <a:cxn ang="0">
                      <a:pos x="T0" y="T1"/>
                    </a:cxn>
                    <a:cxn ang="0">
                      <a:pos x="T2" y="T3"/>
                    </a:cxn>
                    <a:cxn ang="0">
                      <a:pos x="T4" y="T5"/>
                    </a:cxn>
                    <a:cxn ang="0">
                      <a:pos x="T6" y="T7"/>
                    </a:cxn>
                    <a:cxn ang="0">
                      <a:pos x="T8" y="T9"/>
                    </a:cxn>
                  </a:cxnLst>
                  <a:rect l="0" t="0" r="r" b="b"/>
                  <a:pathLst>
                    <a:path w="992" h="230">
                      <a:moveTo>
                        <a:pt x="0" y="230"/>
                      </a:moveTo>
                      <a:lnTo>
                        <a:pt x="992" y="230"/>
                      </a:lnTo>
                      <a:lnTo>
                        <a:pt x="992" y="0"/>
                      </a:lnTo>
                      <a:lnTo>
                        <a:pt x="460" y="0"/>
                      </a:lnTo>
                      <a:lnTo>
                        <a:pt x="0" y="230"/>
                      </a:lnTo>
                      <a:close/>
                    </a:path>
                  </a:pathLst>
                </a:custGeom>
                <a:solidFill>
                  <a:srgbClr val="3ABA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1" name="Freeform 205"/>
                <p:cNvSpPr>
                  <a:spLocks/>
                </p:cNvSpPr>
                <p:nvPr userDrawn="1"/>
              </p:nvSpPr>
              <p:spPr bwMode="auto">
                <a:xfrm>
                  <a:off x="9449933" y="310649"/>
                  <a:ext cx="787400" cy="182563"/>
                </a:xfrm>
                <a:custGeom>
                  <a:avLst/>
                  <a:gdLst>
                    <a:gd name="T0" fmla="*/ 0 w 992"/>
                    <a:gd name="T1" fmla="*/ 230 h 230"/>
                    <a:gd name="T2" fmla="*/ 992 w 992"/>
                    <a:gd name="T3" fmla="*/ 230 h 230"/>
                    <a:gd name="T4" fmla="*/ 992 w 992"/>
                    <a:gd name="T5" fmla="*/ 0 h 230"/>
                    <a:gd name="T6" fmla="*/ 460 w 992"/>
                    <a:gd name="T7" fmla="*/ 0 h 230"/>
                    <a:gd name="T8" fmla="*/ 0 w 992"/>
                    <a:gd name="T9" fmla="*/ 230 h 230"/>
                  </a:gdLst>
                  <a:ahLst/>
                  <a:cxnLst>
                    <a:cxn ang="0">
                      <a:pos x="T0" y="T1"/>
                    </a:cxn>
                    <a:cxn ang="0">
                      <a:pos x="T2" y="T3"/>
                    </a:cxn>
                    <a:cxn ang="0">
                      <a:pos x="T4" y="T5"/>
                    </a:cxn>
                    <a:cxn ang="0">
                      <a:pos x="T6" y="T7"/>
                    </a:cxn>
                    <a:cxn ang="0">
                      <a:pos x="T8" y="T9"/>
                    </a:cxn>
                  </a:cxnLst>
                  <a:rect l="0" t="0" r="r" b="b"/>
                  <a:pathLst>
                    <a:path w="992" h="230">
                      <a:moveTo>
                        <a:pt x="0" y="230"/>
                      </a:moveTo>
                      <a:lnTo>
                        <a:pt x="992" y="230"/>
                      </a:lnTo>
                      <a:lnTo>
                        <a:pt x="992" y="0"/>
                      </a:lnTo>
                      <a:lnTo>
                        <a:pt x="460" y="0"/>
                      </a:lnTo>
                      <a:lnTo>
                        <a:pt x="0" y="23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2" name="Freeform 206"/>
                <p:cNvSpPr>
                  <a:spLocks/>
                </p:cNvSpPr>
                <p:nvPr userDrawn="1"/>
              </p:nvSpPr>
              <p:spPr bwMode="auto">
                <a:xfrm>
                  <a:off x="10192883" y="-110039"/>
                  <a:ext cx="88900" cy="87313"/>
                </a:xfrm>
                <a:custGeom>
                  <a:avLst/>
                  <a:gdLst>
                    <a:gd name="T0" fmla="*/ 111 w 111"/>
                    <a:gd name="T1" fmla="*/ 56 h 111"/>
                    <a:gd name="T2" fmla="*/ 111 w 111"/>
                    <a:gd name="T3" fmla="*/ 56 h 111"/>
                    <a:gd name="T4" fmla="*/ 109 w 111"/>
                    <a:gd name="T5" fmla="*/ 67 h 111"/>
                    <a:gd name="T6" fmla="*/ 106 w 111"/>
                    <a:gd name="T7" fmla="*/ 77 h 111"/>
                    <a:gd name="T8" fmla="*/ 101 w 111"/>
                    <a:gd name="T9" fmla="*/ 86 h 111"/>
                    <a:gd name="T10" fmla="*/ 94 w 111"/>
                    <a:gd name="T11" fmla="*/ 94 h 111"/>
                    <a:gd name="T12" fmla="*/ 86 w 111"/>
                    <a:gd name="T13" fmla="*/ 101 h 111"/>
                    <a:gd name="T14" fmla="*/ 76 w 111"/>
                    <a:gd name="T15" fmla="*/ 106 h 111"/>
                    <a:gd name="T16" fmla="*/ 65 w 111"/>
                    <a:gd name="T17" fmla="*/ 109 h 111"/>
                    <a:gd name="T18" fmla="*/ 55 w 111"/>
                    <a:gd name="T19" fmla="*/ 111 h 111"/>
                    <a:gd name="T20" fmla="*/ 55 w 111"/>
                    <a:gd name="T21" fmla="*/ 111 h 111"/>
                    <a:gd name="T22" fmla="*/ 44 w 111"/>
                    <a:gd name="T23" fmla="*/ 109 h 111"/>
                    <a:gd name="T24" fmla="*/ 33 w 111"/>
                    <a:gd name="T25" fmla="*/ 106 h 111"/>
                    <a:gd name="T26" fmla="*/ 24 w 111"/>
                    <a:gd name="T27" fmla="*/ 101 h 111"/>
                    <a:gd name="T28" fmla="*/ 15 w 111"/>
                    <a:gd name="T29" fmla="*/ 94 h 111"/>
                    <a:gd name="T30" fmla="*/ 9 w 111"/>
                    <a:gd name="T31" fmla="*/ 86 h 111"/>
                    <a:gd name="T32" fmla="*/ 4 w 111"/>
                    <a:gd name="T33" fmla="*/ 77 h 111"/>
                    <a:gd name="T34" fmla="*/ 1 w 111"/>
                    <a:gd name="T35" fmla="*/ 67 h 111"/>
                    <a:gd name="T36" fmla="*/ 0 w 111"/>
                    <a:gd name="T37" fmla="*/ 56 h 111"/>
                    <a:gd name="T38" fmla="*/ 0 w 111"/>
                    <a:gd name="T39" fmla="*/ 56 h 111"/>
                    <a:gd name="T40" fmla="*/ 1 w 111"/>
                    <a:gd name="T41" fmla="*/ 44 h 111"/>
                    <a:gd name="T42" fmla="*/ 4 w 111"/>
                    <a:gd name="T43" fmla="*/ 33 h 111"/>
                    <a:gd name="T44" fmla="*/ 9 w 111"/>
                    <a:gd name="T45" fmla="*/ 25 h 111"/>
                    <a:gd name="T46" fmla="*/ 15 w 111"/>
                    <a:gd name="T47" fmla="*/ 17 h 111"/>
                    <a:gd name="T48" fmla="*/ 24 w 111"/>
                    <a:gd name="T49" fmla="*/ 10 h 111"/>
                    <a:gd name="T50" fmla="*/ 33 w 111"/>
                    <a:gd name="T51" fmla="*/ 5 h 111"/>
                    <a:gd name="T52" fmla="*/ 44 w 111"/>
                    <a:gd name="T53" fmla="*/ 1 h 111"/>
                    <a:gd name="T54" fmla="*/ 55 w 111"/>
                    <a:gd name="T55" fmla="*/ 0 h 111"/>
                    <a:gd name="T56" fmla="*/ 55 w 111"/>
                    <a:gd name="T57" fmla="*/ 0 h 111"/>
                    <a:gd name="T58" fmla="*/ 65 w 111"/>
                    <a:gd name="T59" fmla="*/ 1 h 111"/>
                    <a:gd name="T60" fmla="*/ 76 w 111"/>
                    <a:gd name="T61" fmla="*/ 5 h 111"/>
                    <a:gd name="T62" fmla="*/ 86 w 111"/>
                    <a:gd name="T63" fmla="*/ 10 h 111"/>
                    <a:gd name="T64" fmla="*/ 94 w 111"/>
                    <a:gd name="T65" fmla="*/ 17 h 111"/>
                    <a:gd name="T66" fmla="*/ 101 w 111"/>
                    <a:gd name="T67" fmla="*/ 25 h 111"/>
                    <a:gd name="T68" fmla="*/ 106 w 111"/>
                    <a:gd name="T69" fmla="*/ 33 h 111"/>
                    <a:gd name="T70" fmla="*/ 109 w 111"/>
                    <a:gd name="T71" fmla="*/ 44 h 111"/>
                    <a:gd name="T72" fmla="*/ 111 w 111"/>
                    <a:gd name="T73" fmla="*/ 56 h 111"/>
                    <a:gd name="T74" fmla="*/ 111 w 111"/>
                    <a:gd name="T75" fmla="*/ 56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1" h="111">
                      <a:moveTo>
                        <a:pt x="111" y="56"/>
                      </a:moveTo>
                      <a:lnTo>
                        <a:pt x="111" y="56"/>
                      </a:lnTo>
                      <a:lnTo>
                        <a:pt x="109" y="67"/>
                      </a:lnTo>
                      <a:lnTo>
                        <a:pt x="106" y="77"/>
                      </a:lnTo>
                      <a:lnTo>
                        <a:pt x="101" y="86"/>
                      </a:lnTo>
                      <a:lnTo>
                        <a:pt x="94" y="94"/>
                      </a:lnTo>
                      <a:lnTo>
                        <a:pt x="86" y="101"/>
                      </a:lnTo>
                      <a:lnTo>
                        <a:pt x="76" y="106"/>
                      </a:lnTo>
                      <a:lnTo>
                        <a:pt x="65" y="109"/>
                      </a:lnTo>
                      <a:lnTo>
                        <a:pt x="55" y="111"/>
                      </a:lnTo>
                      <a:lnTo>
                        <a:pt x="55" y="111"/>
                      </a:lnTo>
                      <a:lnTo>
                        <a:pt x="44" y="109"/>
                      </a:lnTo>
                      <a:lnTo>
                        <a:pt x="33" y="106"/>
                      </a:lnTo>
                      <a:lnTo>
                        <a:pt x="24" y="101"/>
                      </a:lnTo>
                      <a:lnTo>
                        <a:pt x="15" y="94"/>
                      </a:lnTo>
                      <a:lnTo>
                        <a:pt x="9" y="86"/>
                      </a:lnTo>
                      <a:lnTo>
                        <a:pt x="4" y="77"/>
                      </a:lnTo>
                      <a:lnTo>
                        <a:pt x="1" y="67"/>
                      </a:lnTo>
                      <a:lnTo>
                        <a:pt x="0" y="56"/>
                      </a:lnTo>
                      <a:lnTo>
                        <a:pt x="0" y="56"/>
                      </a:lnTo>
                      <a:lnTo>
                        <a:pt x="1" y="44"/>
                      </a:lnTo>
                      <a:lnTo>
                        <a:pt x="4" y="33"/>
                      </a:lnTo>
                      <a:lnTo>
                        <a:pt x="9" y="25"/>
                      </a:lnTo>
                      <a:lnTo>
                        <a:pt x="15" y="17"/>
                      </a:lnTo>
                      <a:lnTo>
                        <a:pt x="24" y="10"/>
                      </a:lnTo>
                      <a:lnTo>
                        <a:pt x="33" y="5"/>
                      </a:lnTo>
                      <a:lnTo>
                        <a:pt x="44" y="1"/>
                      </a:lnTo>
                      <a:lnTo>
                        <a:pt x="55" y="0"/>
                      </a:lnTo>
                      <a:lnTo>
                        <a:pt x="55" y="0"/>
                      </a:lnTo>
                      <a:lnTo>
                        <a:pt x="65" y="1"/>
                      </a:lnTo>
                      <a:lnTo>
                        <a:pt x="76" y="5"/>
                      </a:lnTo>
                      <a:lnTo>
                        <a:pt x="86" y="10"/>
                      </a:lnTo>
                      <a:lnTo>
                        <a:pt x="94" y="17"/>
                      </a:lnTo>
                      <a:lnTo>
                        <a:pt x="101" y="25"/>
                      </a:lnTo>
                      <a:lnTo>
                        <a:pt x="106" y="33"/>
                      </a:lnTo>
                      <a:lnTo>
                        <a:pt x="109" y="44"/>
                      </a:lnTo>
                      <a:lnTo>
                        <a:pt x="111" y="56"/>
                      </a:lnTo>
                      <a:lnTo>
                        <a:pt x="111" y="56"/>
                      </a:lnTo>
                      <a:close/>
                    </a:path>
                  </a:pathLst>
                </a:custGeom>
                <a:solidFill>
                  <a:srgbClr val="3ABA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3" name="Freeform 207"/>
                <p:cNvSpPr>
                  <a:spLocks/>
                </p:cNvSpPr>
                <p:nvPr userDrawn="1"/>
              </p:nvSpPr>
              <p:spPr bwMode="auto">
                <a:xfrm>
                  <a:off x="10207171" y="-94164"/>
                  <a:ext cx="41275" cy="42863"/>
                </a:xfrm>
                <a:custGeom>
                  <a:avLst/>
                  <a:gdLst>
                    <a:gd name="T0" fmla="*/ 52 w 52"/>
                    <a:gd name="T1" fmla="*/ 26 h 54"/>
                    <a:gd name="T2" fmla="*/ 52 w 52"/>
                    <a:gd name="T3" fmla="*/ 26 h 54"/>
                    <a:gd name="T4" fmla="*/ 52 w 52"/>
                    <a:gd name="T5" fmla="*/ 32 h 54"/>
                    <a:gd name="T6" fmla="*/ 51 w 52"/>
                    <a:gd name="T7" fmla="*/ 37 h 54"/>
                    <a:gd name="T8" fmla="*/ 48 w 52"/>
                    <a:gd name="T9" fmla="*/ 42 h 54"/>
                    <a:gd name="T10" fmla="*/ 45 w 52"/>
                    <a:gd name="T11" fmla="*/ 45 h 54"/>
                    <a:gd name="T12" fmla="*/ 41 w 52"/>
                    <a:gd name="T13" fmla="*/ 49 h 54"/>
                    <a:gd name="T14" fmla="*/ 36 w 52"/>
                    <a:gd name="T15" fmla="*/ 51 h 54"/>
                    <a:gd name="T16" fmla="*/ 32 w 52"/>
                    <a:gd name="T17" fmla="*/ 53 h 54"/>
                    <a:gd name="T18" fmla="*/ 26 w 52"/>
                    <a:gd name="T19" fmla="*/ 54 h 54"/>
                    <a:gd name="T20" fmla="*/ 26 w 52"/>
                    <a:gd name="T21" fmla="*/ 54 h 54"/>
                    <a:gd name="T22" fmla="*/ 21 w 52"/>
                    <a:gd name="T23" fmla="*/ 53 h 54"/>
                    <a:gd name="T24" fmla="*/ 16 w 52"/>
                    <a:gd name="T25" fmla="*/ 51 h 54"/>
                    <a:gd name="T26" fmla="*/ 11 w 52"/>
                    <a:gd name="T27" fmla="*/ 49 h 54"/>
                    <a:gd name="T28" fmla="*/ 8 w 52"/>
                    <a:gd name="T29" fmla="*/ 45 h 54"/>
                    <a:gd name="T30" fmla="*/ 4 w 52"/>
                    <a:gd name="T31" fmla="*/ 42 h 54"/>
                    <a:gd name="T32" fmla="*/ 2 w 52"/>
                    <a:gd name="T33" fmla="*/ 37 h 54"/>
                    <a:gd name="T34" fmla="*/ 1 w 52"/>
                    <a:gd name="T35" fmla="*/ 32 h 54"/>
                    <a:gd name="T36" fmla="*/ 0 w 52"/>
                    <a:gd name="T37" fmla="*/ 26 h 54"/>
                    <a:gd name="T38" fmla="*/ 0 w 52"/>
                    <a:gd name="T39" fmla="*/ 26 h 54"/>
                    <a:gd name="T40" fmla="*/ 1 w 52"/>
                    <a:gd name="T41" fmla="*/ 22 h 54"/>
                    <a:gd name="T42" fmla="*/ 2 w 52"/>
                    <a:gd name="T43" fmla="*/ 17 h 54"/>
                    <a:gd name="T44" fmla="*/ 4 w 52"/>
                    <a:gd name="T45" fmla="*/ 12 h 54"/>
                    <a:gd name="T46" fmla="*/ 8 w 52"/>
                    <a:gd name="T47" fmla="*/ 9 h 54"/>
                    <a:gd name="T48" fmla="*/ 11 w 52"/>
                    <a:gd name="T49" fmla="*/ 5 h 54"/>
                    <a:gd name="T50" fmla="*/ 16 w 52"/>
                    <a:gd name="T51" fmla="*/ 3 h 54"/>
                    <a:gd name="T52" fmla="*/ 21 w 52"/>
                    <a:gd name="T53" fmla="*/ 1 h 54"/>
                    <a:gd name="T54" fmla="*/ 26 w 52"/>
                    <a:gd name="T55" fmla="*/ 0 h 54"/>
                    <a:gd name="T56" fmla="*/ 26 w 52"/>
                    <a:gd name="T57" fmla="*/ 0 h 54"/>
                    <a:gd name="T58" fmla="*/ 32 w 52"/>
                    <a:gd name="T59" fmla="*/ 1 h 54"/>
                    <a:gd name="T60" fmla="*/ 36 w 52"/>
                    <a:gd name="T61" fmla="*/ 3 h 54"/>
                    <a:gd name="T62" fmla="*/ 41 w 52"/>
                    <a:gd name="T63" fmla="*/ 5 h 54"/>
                    <a:gd name="T64" fmla="*/ 45 w 52"/>
                    <a:gd name="T65" fmla="*/ 9 h 54"/>
                    <a:gd name="T66" fmla="*/ 48 w 52"/>
                    <a:gd name="T67" fmla="*/ 12 h 54"/>
                    <a:gd name="T68" fmla="*/ 51 w 52"/>
                    <a:gd name="T69" fmla="*/ 17 h 54"/>
                    <a:gd name="T70" fmla="*/ 52 w 52"/>
                    <a:gd name="T71" fmla="*/ 22 h 54"/>
                    <a:gd name="T72" fmla="*/ 52 w 52"/>
                    <a:gd name="T73" fmla="*/ 26 h 54"/>
                    <a:gd name="T74" fmla="*/ 52 w 5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54">
                      <a:moveTo>
                        <a:pt x="52" y="26"/>
                      </a:moveTo>
                      <a:lnTo>
                        <a:pt x="52" y="26"/>
                      </a:lnTo>
                      <a:lnTo>
                        <a:pt x="52" y="32"/>
                      </a:lnTo>
                      <a:lnTo>
                        <a:pt x="51" y="37"/>
                      </a:lnTo>
                      <a:lnTo>
                        <a:pt x="48" y="42"/>
                      </a:lnTo>
                      <a:lnTo>
                        <a:pt x="45" y="45"/>
                      </a:lnTo>
                      <a:lnTo>
                        <a:pt x="41" y="49"/>
                      </a:lnTo>
                      <a:lnTo>
                        <a:pt x="36" y="51"/>
                      </a:lnTo>
                      <a:lnTo>
                        <a:pt x="32" y="53"/>
                      </a:lnTo>
                      <a:lnTo>
                        <a:pt x="26" y="54"/>
                      </a:lnTo>
                      <a:lnTo>
                        <a:pt x="26" y="54"/>
                      </a:lnTo>
                      <a:lnTo>
                        <a:pt x="21" y="53"/>
                      </a:lnTo>
                      <a:lnTo>
                        <a:pt x="16" y="51"/>
                      </a:lnTo>
                      <a:lnTo>
                        <a:pt x="11" y="49"/>
                      </a:lnTo>
                      <a:lnTo>
                        <a:pt x="8" y="45"/>
                      </a:lnTo>
                      <a:lnTo>
                        <a:pt x="4" y="42"/>
                      </a:lnTo>
                      <a:lnTo>
                        <a:pt x="2" y="37"/>
                      </a:lnTo>
                      <a:lnTo>
                        <a:pt x="1" y="32"/>
                      </a:lnTo>
                      <a:lnTo>
                        <a:pt x="0" y="26"/>
                      </a:lnTo>
                      <a:lnTo>
                        <a:pt x="0" y="26"/>
                      </a:lnTo>
                      <a:lnTo>
                        <a:pt x="1" y="22"/>
                      </a:lnTo>
                      <a:lnTo>
                        <a:pt x="2" y="17"/>
                      </a:lnTo>
                      <a:lnTo>
                        <a:pt x="4" y="12"/>
                      </a:lnTo>
                      <a:lnTo>
                        <a:pt x="8" y="9"/>
                      </a:lnTo>
                      <a:lnTo>
                        <a:pt x="11" y="5"/>
                      </a:lnTo>
                      <a:lnTo>
                        <a:pt x="16" y="3"/>
                      </a:lnTo>
                      <a:lnTo>
                        <a:pt x="21" y="1"/>
                      </a:lnTo>
                      <a:lnTo>
                        <a:pt x="26" y="0"/>
                      </a:lnTo>
                      <a:lnTo>
                        <a:pt x="26" y="0"/>
                      </a:lnTo>
                      <a:lnTo>
                        <a:pt x="32" y="1"/>
                      </a:lnTo>
                      <a:lnTo>
                        <a:pt x="36" y="3"/>
                      </a:lnTo>
                      <a:lnTo>
                        <a:pt x="41" y="5"/>
                      </a:lnTo>
                      <a:lnTo>
                        <a:pt x="45" y="9"/>
                      </a:lnTo>
                      <a:lnTo>
                        <a:pt x="48" y="12"/>
                      </a:lnTo>
                      <a:lnTo>
                        <a:pt x="51" y="17"/>
                      </a:lnTo>
                      <a:lnTo>
                        <a:pt x="52" y="22"/>
                      </a:lnTo>
                      <a:lnTo>
                        <a:pt x="52" y="26"/>
                      </a:lnTo>
                      <a:lnTo>
                        <a:pt x="52"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4" name="Freeform 208"/>
                <p:cNvSpPr>
                  <a:spLocks/>
                </p:cNvSpPr>
                <p:nvPr userDrawn="1"/>
              </p:nvSpPr>
              <p:spPr bwMode="auto">
                <a:xfrm>
                  <a:off x="9949996" y="363036"/>
                  <a:ext cx="80963" cy="80963"/>
                </a:xfrm>
                <a:custGeom>
                  <a:avLst/>
                  <a:gdLst>
                    <a:gd name="T0" fmla="*/ 101 w 101"/>
                    <a:gd name="T1" fmla="*/ 50 h 101"/>
                    <a:gd name="T2" fmla="*/ 101 w 101"/>
                    <a:gd name="T3" fmla="*/ 50 h 101"/>
                    <a:gd name="T4" fmla="*/ 100 w 101"/>
                    <a:gd name="T5" fmla="*/ 60 h 101"/>
                    <a:gd name="T6" fmla="*/ 98 w 101"/>
                    <a:gd name="T7" fmla="*/ 70 h 101"/>
                    <a:gd name="T8" fmla="*/ 93 w 101"/>
                    <a:gd name="T9" fmla="*/ 78 h 101"/>
                    <a:gd name="T10" fmla="*/ 87 w 101"/>
                    <a:gd name="T11" fmla="*/ 87 h 101"/>
                    <a:gd name="T12" fmla="*/ 80 w 101"/>
                    <a:gd name="T13" fmla="*/ 92 h 101"/>
                    <a:gd name="T14" fmla="*/ 70 w 101"/>
                    <a:gd name="T15" fmla="*/ 97 h 101"/>
                    <a:gd name="T16" fmla="*/ 61 w 101"/>
                    <a:gd name="T17" fmla="*/ 100 h 101"/>
                    <a:gd name="T18" fmla="*/ 51 w 101"/>
                    <a:gd name="T19" fmla="*/ 101 h 101"/>
                    <a:gd name="T20" fmla="*/ 51 w 101"/>
                    <a:gd name="T21" fmla="*/ 101 h 101"/>
                    <a:gd name="T22" fmla="*/ 41 w 101"/>
                    <a:gd name="T23" fmla="*/ 100 h 101"/>
                    <a:gd name="T24" fmla="*/ 31 w 101"/>
                    <a:gd name="T25" fmla="*/ 97 h 101"/>
                    <a:gd name="T26" fmla="*/ 23 w 101"/>
                    <a:gd name="T27" fmla="*/ 92 h 101"/>
                    <a:gd name="T28" fmla="*/ 16 w 101"/>
                    <a:gd name="T29" fmla="*/ 87 h 101"/>
                    <a:gd name="T30" fmla="*/ 9 w 101"/>
                    <a:gd name="T31" fmla="*/ 78 h 101"/>
                    <a:gd name="T32" fmla="*/ 4 w 101"/>
                    <a:gd name="T33" fmla="*/ 70 h 101"/>
                    <a:gd name="T34" fmla="*/ 1 w 101"/>
                    <a:gd name="T35" fmla="*/ 60 h 101"/>
                    <a:gd name="T36" fmla="*/ 0 w 101"/>
                    <a:gd name="T37" fmla="*/ 50 h 101"/>
                    <a:gd name="T38" fmla="*/ 0 w 101"/>
                    <a:gd name="T39" fmla="*/ 50 h 101"/>
                    <a:gd name="T40" fmla="*/ 1 w 101"/>
                    <a:gd name="T41" fmla="*/ 40 h 101"/>
                    <a:gd name="T42" fmla="*/ 4 w 101"/>
                    <a:gd name="T43" fmla="*/ 31 h 101"/>
                    <a:gd name="T44" fmla="*/ 9 w 101"/>
                    <a:gd name="T45" fmla="*/ 22 h 101"/>
                    <a:gd name="T46" fmla="*/ 16 w 101"/>
                    <a:gd name="T47" fmla="*/ 14 h 101"/>
                    <a:gd name="T48" fmla="*/ 23 w 101"/>
                    <a:gd name="T49" fmla="*/ 8 h 101"/>
                    <a:gd name="T50" fmla="*/ 31 w 101"/>
                    <a:gd name="T51" fmla="*/ 3 h 101"/>
                    <a:gd name="T52" fmla="*/ 41 w 101"/>
                    <a:gd name="T53" fmla="*/ 1 h 101"/>
                    <a:gd name="T54" fmla="*/ 51 w 101"/>
                    <a:gd name="T55" fmla="*/ 0 h 101"/>
                    <a:gd name="T56" fmla="*/ 51 w 101"/>
                    <a:gd name="T57" fmla="*/ 0 h 101"/>
                    <a:gd name="T58" fmla="*/ 61 w 101"/>
                    <a:gd name="T59" fmla="*/ 1 h 101"/>
                    <a:gd name="T60" fmla="*/ 70 w 101"/>
                    <a:gd name="T61" fmla="*/ 3 h 101"/>
                    <a:gd name="T62" fmla="*/ 80 w 101"/>
                    <a:gd name="T63" fmla="*/ 8 h 101"/>
                    <a:gd name="T64" fmla="*/ 87 w 101"/>
                    <a:gd name="T65" fmla="*/ 14 h 101"/>
                    <a:gd name="T66" fmla="*/ 93 w 101"/>
                    <a:gd name="T67" fmla="*/ 22 h 101"/>
                    <a:gd name="T68" fmla="*/ 98 w 101"/>
                    <a:gd name="T69" fmla="*/ 31 h 101"/>
                    <a:gd name="T70" fmla="*/ 100 w 101"/>
                    <a:gd name="T71" fmla="*/ 40 h 101"/>
                    <a:gd name="T72" fmla="*/ 101 w 101"/>
                    <a:gd name="T73" fmla="*/ 50 h 101"/>
                    <a:gd name="T74" fmla="*/ 101 w 101"/>
                    <a:gd name="T7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1" h="101">
                      <a:moveTo>
                        <a:pt x="101" y="50"/>
                      </a:moveTo>
                      <a:lnTo>
                        <a:pt x="101" y="50"/>
                      </a:lnTo>
                      <a:lnTo>
                        <a:pt x="100" y="60"/>
                      </a:lnTo>
                      <a:lnTo>
                        <a:pt x="98" y="70"/>
                      </a:lnTo>
                      <a:lnTo>
                        <a:pt x="93" y="78"/>
                      </a:lnTo>
                      <a:lnTo>
                        <a:pt x="87" y="87"/>
                      </a:lnTo>
                      <a:lnTo>
                        <a:pt x="80" y="92"/>
                      </a:lnTo>
                      <a:lnTo>
                        <a:pt x="70" y="97"/>
                      </a:lnTo>
                      <a:lnTo>
                        <a:pt x="61" y="100"/>
                      </a:lnTo>
                      <a:lnTo>
                        <a:pt x="51" y="101"/>
                      </a:lnTo>
                      <a:lnTo>
                        <a:pt x="51" y="101"/>
                      </a:lnTo>
                      <a:lnTo>
                        <a:pt x="41" y="100"/>
                      </a:lnTo>
                      <a:lnTo>
                        <a:pt x="31" y="97"/>
                      </a:lnTo>
                      <a:lnTo>
                        <a:pt x="23" y="92"/>
                      </a:lnTo>
                      <a:lnTo>
                        <a:pt x="16" y="87"/>
                      </a:lnTo>
                      <a:lnTo>
                        <a:pt x="9" y="78"/>
                      </a:lnTo>
                      <a:lnTo>
                        <a:pt x="4" y="70"/>
                      </a:lnTo>
                      <a:lnTo>
                        <a:pt x="1" y="60"/>
                      </a:lnTo>
                      <a:lnTo>
                        <a:pt x="0" y="50"/>
                      </a:lnTo>
                      <a:lnTo>
                        <a:pt x="0" y="50"/>
                      </a:lnTo>
                      <a:lnTo>
                        <a:pt x="1" y="40"/>
                      </a:lnTo>
                      <a:lnTo>
                        <a:pt x="4" y="31"/>
                      </a:lnTo>
                      <a:lnTo>
                        <a:pt x="9" y="22"/>
                      </a:lnTo>
                      <a:lnTo>
                        <a:pt x="16" y="14"/>
                      </a:lnTo>
                      <a:lnTo>
                        <a:pt x="23" y="8"/>
                      </a:lnTo>
                      <a:lnTo>
                        <a:pt x="31" y="3"/>
                      </a:lnTo>
                      <a:lnTo>
                        <a:pt x="41" y="1"/>
                      </a:lnTo>
                      <a:lnTo>
                        <a:pt x="51" y="0"/>
                      </a:lnTo>
                      <a:lnTo>
                        <a:pt x="51" y="0"/>
                      </a:lnTo>
                      <a:lnTo>
                        <a:pt x="61" y="1"/>
                      </a:lnTo>
                      <a:lnTo>
                        <a:pt x="70" y="3"/>
                      </a:lnTo>
                      <a:lnTo>
                        <a:pt x="80" y="8"/>
                      </a:lnTo>
                      <a:lnTo>
                        <a:pt x="87" y="14"/>
                      </a:lnTo>
                      <a:lnTo>
                        <a:pt x="93" y="22"/>
                      </a:lnTo>
                      <a:lnTo>
                        <a:pt x="98" y="31"/>
                      </a:lnTo>
                      <a:lnTo>
                        <a:pt x="100" y="40"/>
                      </a:lnTo>
                      <a:lnTo>
                        <a:pt x="101" y="50"/>
                      </a:lnTo>
                      <a:lnTo>
                        <a:pt x="101"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5" name="Freeform 209"/>
                <p:cNvSpPr>
                  <a:spLocks/>
                </p:cNvSpPr>
                <p:nvPr userDrawn="1"/>
              </p:nvSpPr>
              <p:spPr bwMode="auto">
                <a:xfrm>
                  <a:off x="10110333" y="363036"/>
                  <a:ext cx="79375" cy="80963"/>
                </a:xfrm>
                <a:custGeom>
                  <a:avLst/>
                  <a:gdLst>
                    <a:gd name="T0" fmla="*/ 101 w 101"/>
                    <a:gd name="T1" fmla="*/ 50 h 101"/>
                    <a:gd name="T2" fmla="*/ 101 w 101"/>
                    <a:gd name="T3" fmla="*/ 50 h 101"/>
                    <a:gd name="T4" fmla="*/ 100 w 101"/>
                    <a:gd name="T5" fmla="*/ 60 h 101"/>
                    <a:gd name="T6" fmla="*/ 98 w 101"/>
                    <a:gd name="T7" fmla="*/ 70 h 101"/>
                    <a:gd name="T8" fmla="*/ 93 w 101"/>
                    <a:gd name="T9" fmla="*/ 78 h 101"/>
                    <a:gd name="T10" fmla="*/ 87 w 101"/>
                    <a:gd name="T11" fmla="*/ 87 h 101"/>
                    <a:gd name="T12" fmla="*/ 79 w 101"/>
                    <a:gd name="T13" fmla="*/ 92 h 101"/>
                    <a:gd name="T14" fmla="*/ 70 w 101"/>
                    <a:gd name="T15" fmla="*/ 97 h 101"/>
                    <a:gd name="T16" fmla="*/ 61 w 101"/>
                    <a:gd name="T17" fmla="*/ 100 h 101"/>
                    <a:gd name="T18" fmla="*/ 51 w 101"/>
                    <a:gd name="T19" fmla="*/ 101 h 101"/>
                    <a:gd name="T20" fmla="*/ 51 w 101"/>
                    <a:gd name="T21" fmla="*/ 101 h 101"/>
                    <a:gd name="T22" fmla="*/ 41 w 101"/>
                    <a:gd name="T23" fmla="*/ 100 h 101"/>
                    <a:gd name="T24" fmla="*/ 31 w 101"/>
                    <a:gd name="T25" fmla="*/ 97 h 101"/>
                    <a:gd name="T26" fmla="*/ 23 w 101"/>
                    <a:gd name="T27" fmla="*/ 92 h 101"/>
                    <a:gd name="T28" fmla="*/ 16 w 101"/>
                    <a:gd name="T29" fmla="*/ 87 h 101"/>
                    <a:gd name="T30" fmla="*/ 8 w 101"/>
                    <a:gd name="T31" fmla="*/ 78 h 101"/>
                    <a:gd name="T32" fmla="*/ 4 w 101"/>
                    <a:gd name="T33" fmla="*/ 70 h 101"/>
                    <a:gd name="T34" fmla="*/ 1 w 101"/>
                    <a:gd name="T35" fmla="*/ 60 h 101"/>
                    <a:gd name="T36" fmla="*/ 0 w 101"/>
                    <a:gd name="T37" fmla="*/ 50 h 101"/>
                    <a:gd name="T38" fmla="*/ 0 w 101"/>
                    <a:gd name="T39" fmla="*/ 50 h 101"/>
                    <a:gd name="T40" fmla="*/ 1 w 101"/>
                    <a:gd name="T41" fmla="*/ 40 h 101"/>
                    <a:gd name="T42" fmla="*/ 4 w 101"/>
                    <a:gd name="T43" fmla="*/ 31 h 101"/>
                    <a:gd name="T44" fmla="*/ 8 w 101"/>
                    <a:gd name="T45" fmla="*/ 22 h 101"/>
                    <a:gd name="T46" fmla="*/ 16 w 101"/>
                    <a:gd name="T47" fmla="*/ 14 h 101"/>
                    <a:gd name="T48" fmla="*/ 23 w 101"/>
                    <a:gd name="T49" fmla="*/ 8 h 101"/>
                    <a:gd name="T50" fmla="*/ 31 w 101"/>
                    <a:gd name="T51" fmla="*/ 3 h 101"/>
                    <a:gd name="T52" fmla="*/ 41 w 101"/>
                    <a:gd name="T53" fmla="*/ 1 h 101"/>
                    <a:gd name="T54" fmla="*/ 51 w 101"/>
                    <a:gd name="T55" fmla="*/ 0 h 101"/>
                    <a:gd name="T56" fmla="*/ 51 w 101"/>
                    <a:gd name="T57" fmla="*/ 0 h 101"/>
                    <a:gd name="T58" fmla="*/ 61 w 101"/>
                    <a:gd name="T59" fmla="*/ 1 h 101"/>
                    <a:gd name="T60" fmla="*/ 70 w 101"/>
                    <a:gd name="T61" fmla="*/ 3 h 101"/>
                    <a:gd name="T62" fmla="*/ 79 w 101"/>
                    <a:gd name="T63" fmla="*/ 8 h 101"/>
                    <a:gd name="T64" fmla="*/ 87 w 101"/>
                    <a:gd name="T65" fmla="*/ 14 h 101"/>
                    <a:gd name="T66" fmla="*/ 93 w 101"/>
                    <a:gd name="T67" fmla="*/ 22 h 101"/>
                    <a:gd name="T68" fmla="*/ 98 w 101"/>
                    <a:gd name="T69" fmla="*/ 31 h 101"/>
                    <a:gd name="T70" fmla="*/ 100 w 101"/>
                    <a:gd name="T71" fmla="*/ 40 h 101"/>
                    <a:gd name="T72" fmla="*/ 101 w 101"/>
                    <a:gd name="T73" fmla="*/ 50 h 101"/>
                    <a:gd name="T74" fmla="*/ 101 w 101"/>
                    <a:gd name="T7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1" h="101">
                      <a:moveTo>
                        <a:pt x="101" y="50"/>
                      </a:moveTo>
                      <a:lnTo>
                        <a:pt x="101" y="50"/>
                      </a:lnTo>
                      <a:lnTo>
                        <a:pt x="100" y="60"/>
                      </a:lnTo>
                      <a:lnTo>
                        <a:pt x="98" y="70"/>
                      </a:lnTo>
                      <a:lnTo>
                        <a:pt x="93" y="78"/>
                      </a:lnTo>
                      <a:lnTo>
                        <a:pt x="87" y="87"/>
                      </a:lnTo>
                      <a:lnTo>
                        <a:pt x="79" y="92"/>
                      </a:lnTo>
                      <a:lnTo>
                        <a:pt x="70" y="97"/>
                      </a:lnTo>
                      <a:lnTo>
                        <a:pt x="61" y="100"/>
                      </a:lnTo>
                      <a:lnTo>
                        <a:pt x="51" y="101"/>
                      </a:lnTo>
                      <a:lnTo>
                        <a:pt x="51" y="101"/>
                      </a:lnTo>
                      <a:lnTo>
                        <a:pt x="41" y="100"/>
                      </a:lnTo>
                      <a:lnTo>
                        <a:pt x="31" y="97"/>
                      </a:lnTo>
                      <a:lnTo>
                        <a:pt x="23" y="92"/>
                      </a:lnTo>
                      <a:lnTo>
                        <a:pt x="16" y="87"/>
                      </a:lnTo>
                      <a:lnTo>
                        <a:pt x="8" y="78"/>
                      </a:lnTo>
                      <a:lnTo>
                        <a:pt x="4" y="70"/>
                      </a:lnTo>
                      <a:lnTo>
                        <a:pt x="1" y="60"/>
                      </a:lnTo>
                      <a:lnTo>
                        <a:pt x="0" y="50"/>
                      </a:lnTo>
                      <a:lnTo>
                        <a:pt x="0" y="50"/>
                      </a:lnTo>
                      <a:lnTo>
                        <a:pt x="1" y="40"/>
                      </a:lnTo>
                      <a:lnTo>
                        <a:pt x="4" y="31"/>
                      </a:lnTo>
                      <a:lnTo>
                        <a:pt x="8" y="22"/>
                      </a:lnTo>
                      <a:lnTo>
                        <a:pt x="16" y="14"/>
                      </a:lnTo>
                      <a:lnTo>
                        <a:pt x="23" y="8"/>
                      </a:lnTo>
                      <a:lnTo>
                        <a:pt x="31" y="3"/>
                      </a:lnTo>
                      <a:lnTo>
                        <a:pt x="41" y="1"/>
                      </a:lnTo>
                      <a:lnTo>
                        <a:pt x="51" y="0"/>
                      </a:lnTo>
                      <a:lnTo>
                        <a:pt x="51" y="0"/>
                      </a:lnTo>
                      <a:lnTo>
                        <a:pt x="61" y="1"/>
                      </a:lnTo>
                      <a:lnTo>
                        <a:pt x="70" y="3"/>
                      </a:lnTo>
                      <a:lnTo>
                        <a:pt x="79" y="8"/>
                      </a:lnTo>
                      <a:lnTo>
                        <a:pt x="87" y="14"/>
                      </a:lnTo>
                      <a:lnTo>
                        <a:pt x="93" y="22"/>
                      </a:lnTo>
                      <a:lnTo>
                        <a:pt x="98" y="31"/>
                      </a:lnTo>
                      <a:lnTo>
                        <a:pt x="100" y="40"/>
                      </a:lnTo>
                      <a:lnTo>
                        <a:pt x="101" y="50"/>
                      </a:lnTo>
                      <a:lnTo>
                        <a:pt x="101"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6" name="Freeform 210"/>
                <p:cNvSpPr>
                  <a:spLocks/>
                </p:cNvSpPr>
                <p:nvPr userDrawn="1"/>
              </p:nvSpPr>
              <p:spPr bwMode="auto">
                <a:xfrm>
                  <a:off x="10048421" y="661486"/>
                  <a:ext cx="188913" cy="92075"/>
                </a:xfrm>
                <a:custGeom>
                  <a:avLst/>
                  <a:gdLst>
                    <a:gd name="T0" fmla="*/ 0 w 238"/>
                    <a:gd name="T1" fmla="*/ 99 h 117"/>
                    <a:gd name="T2" fmla="*/ 0 w 238"/>
                    <a:gd name="T3" fmla="*/ 99 h 117"/>
                    <a:gd name="T4" fmla="*/ 57 w 238"/>
                    <a:gd name="T5" fmla="*/ 106 h 117"/>
                    <a:gd name="T6" fmla="*/ 115 w 238"/>
                    <a:gd name="T7" fmla="*/ 112 h 117"/>
                    <a:gd name="T8" fmla="*/ 176 w 238"/>
                    <a:gd name="T9" fmla="*/ 116 h 117"/>
                    <a:gd name="T10" fmla="*/ 238 w 238"/>
                    <a:gd name="T11" fmla="*/ 117 h 117"/>
                    <a:gd name="T12" fmla="*/ 238 w 238"/>
                    <a:gd name="T13" fmla="*/ 0 h 117"/>
                    <a:gd name="T14" fmla="*/ 238 w 238"/>
                    <a:gd name="T15" fmla="*/ 0 h 117"/>
                    <a:gd name="T16" fmla="*/ 219 w 238"/>
                    <a:gd name="T17" fmla="*/ 0 h 117"/>
                    <a:gd name="T18" fmla="*/ 201 w 238"/>
                    <a:gd name="T19" fmla="*/ 1 h 117"/>
                    <a:gd name="T20" fmla="*/ 182 w 238"/>
                    <a:gd name="T21" fmla="*/ 4 h 117"/>
                    <a:gd name="T22" fmla="*/ 164 w 238"/>
                    <a:gd name="T23" fmla="*/ 7 h 117"/>
                    <a:gd name="T24" fmla="*/ 147 w 238"/>
                    <a:gd name="T25" fmla="*/ 11 h 117"/>
                    <a:gd name="T26" fmla="*/ 131 w 238"/>
                    <a:gd name="T27" fmla="*/ 16 h 117"/>
                    <a:gd name="T28" fmla="*/ 114 w 238"/>
                    <a:gd name="T29" fmla="*/ 20 h 117"/>
                    <a:gd name="T30" fmla="*/ 99 w 238"/>
                    <a:gd name="T31" fmla="*/ 28 h 117"/>
                    <a:gd name="T32" fmla="*/ 83 w 238"/>
                    <a:gd name="T33" fmla="*/ 34 h 117"/>
                    <a:gd name="T34" fmla="*/ 69 w 238"/>
                    <a:gd name="T35" fmla="*/ 42 h 117"/>
                    <a:gd name="T36" fmla="*/ 56 w 238"/>
                    <a:gd name="T37" fmla="*/ 49 h 117"/>
                    <a:gd name="T38" fmla="*/ 43 w 238"/>
                    <a:gd name="T39" fmla="*/ 58 h 117"/>
                    <a:gd name="T40" fmla="*/ 31 w 238"/>
                    <a:gd name="T41" fmla="*/ 68 h 117"/>
                    <a:gd name="T42" fmla="*/ 20 w 238"/>
                    <a:gd name="T43" fmla="*/ 77 h 117"/>
                    <a:gd name="T44" fmla="*/ 9 w 238"/>
                    <a:gd name="T45" fmla="*/ 88 h 117"/>
                    <a:gd name="T46" fmla="*/ 0 w 238"/>
                    <a:gd name="T47" fmla="*/ 99 h 117"/>
                    <a:gd name="T48" fmla="*/ 0 w 238"/>
                    <a:gd name="T49" fmla="*/ 9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8" h="117">
                      <a:moveTo>
                        <a:pt x="0" y="99"/>
                      </a:moveTo>
                      <a:lnTo>
                        <a:pt x="0" y="99"/>
                      </a:lnTo>
                      <a:lnTo>
                        <a:pt x="57" y="106"/>
                      </a:lnTo>
                      <a:lnTo>
                        <a:pt x="115" y="112"/>
                      </a:lnTo>
                      <a:lnTo>
                        <a:pt x="176" y="116"/>
                      </a:lnTo>
                      <a:lnTo>
                        <a:pt x="238" y="117"/>
                      </a:lnTo>
                      <a:lnTo>
                        <a:pt x="238" y="0"/>
                      </a:lnTo>
                      <a:lnTo>
                        <a:pt x="238" y="0"/>
                      </a:lnTo>
                      <a:lnTo>
                        <a:pt x="219" y="0"/>
                      </a:lnTo>
                      <a:lnTo>
                        <a:pt x="201" y="1"/>
                      </a:lnTo>
                      <a:lnTo>
                        <a:pt x="182" y="4"/>
                      </a:lnTo>
                      <a:lnTo>
                        <a:pt x="164" y="7"/>
                      </a:lnTo>
                      <a:lnTo>
                        <a:pt x="147" y="11"/>
                      </a:lnTo>
                      <a:lnTo>
                        <a:pt x="131" y="16"/>
                      </a:lnTo>
                      <a:lnTo>
                        <a:pt x="114" y="20"/>
                      </a:lnTo>
                      <a:lnTo>
                        <a:pt x="99" y="28"/>
                      </a:lnTo>
                      <a:lnTo>
                        <a:pt x="83" y="34"/>
                      </a:lnTo>
                      <a:lnTo>
                        <a:pt x="69" y="42"/>
                      </a:lnTo>
                      <a:lnTo>
                        <a:pt x="56" y="49"/>
                      </a:lnTo>
                      <a:lnTo>
                        <a:pt x="43" y="58"/>
                      </a:lnTo>
                      <a:lnTo>
                        <a:pt x="31" y="68"/>
                      </a:lnTo>
                      <a:lnTo>
                        <a:pt x="20" y="77"/>
                      </a:lnTo>
                      <a:lnTo>
                        <a:pt x="9" y="88"/>
                      </a:lnTo>
                      <a:lnTo>
                        <a:pt x="0" y="99"/>
                      </a:lnTo>
                      <a:lnTo>
                        <a:pt x="0" y="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7" name="Freeform 211"/>
                <p:cNvSpPr>
                  <a:spLocks/>
                </p:cNvSpPr>
                <p:nvPr userDrawn="1"/>
              </p:nvSpPr>
              <p:spPr bwMode="auto">
                <a:xfrm>
                  <a:off x="10700883" y="556711"/>
                  <a:ext cx="160338" cy="117475"/>
                </a:xfrm>
                <a:custGeom>
                  <a:avLst/>
                  <a:gdLst>
                    <a:gd name="T0" fmla="*/ 191 w 204"/>
                    <a:gd name="T1" fmla="*/ 148 h 148"/>
                    <a:gd name="T2" fmla="*/ 204 w 204"/>
                    <a:gd name="T3" fmla="*/ 130 h 148"/>
                    <a:gd name="T4" fmla="*/ 14 w 204"/>
                    <a:gd name="T5" fmla="*/ 0 h 148"/>
                    <a:gd name="T6" fmla="*/ 0 w 204"/>
                    <a:gd name="T7" fmla="*/ 18 h 148"/>
                    <a:gd name="T8" fmla="*/ 191 w 204"/>
                    <a:gd name="T9" fmla="*/ 148 h 148"/>
                  </a:gdLst>
                  <a:ahLst/>
                  <a:cxnLst>
                    <a:cxn ang="0">
                      <a:pos x="T0" y="T1"/>
                    </a:cxn>
                    <a:cxn ang="0">
                      <a:pos x="T2" y="T3"/>
                    </a:cxn>
                    <a:cxn ang="0">
                      <a:pos x="T4" y="T5"/>
                    </a:cxn>
                    <a:cxn ang="0">
                      <a:pos x="T6" y="T7"/>
                    </a:cxn>
                    <a:cxn ang="0">
                      <a:pos x="T8" y="T9"/>
                    </a:cxn>
                  </a:cxnLst>
                  <a:rect l="0" t="0" r="r" b="b"/>
                  <a:pathLst>
                    <a:path w="204" h="148">
                      <a:moveTo>
                        <a:pt x="191" y="148"/>
                      </a:moveTo>
                      <a:lnTo>
                        <a:pt x="204" y="130"/>
                      </a:lnTo>
                      <a:lnTo>
                        <a:pt x="14" y="0"/>
                      </a:lnTo>
                      <a:lnTo>
                        <a:pt x="0" y="18"/>
                      </a:lnTo>
                      <a:lnTo>
                        <a:pt x="191" y="148"/>
                      </a:lnTo>
                      <a:close/>
                    </a:path>
                  </a:pathLst>
                </a:custGeom>
                <a:solidFill>
                  <a:srgbClr val="009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8" name="Freeform 212"/>
                <p:cNvSpPr>
                  <a:spLocks/>
                </p:cNvSpPr>
                <p:nvPr userDrawn="1"/>
              </p:nvSpPr>
              <p:spPr bwMode="auto">
                <a:xfrm>
                  <a:off x="10237333" y="167774"/>
                  <a:ext cx="493713" cy="71438"/>
                </a:xfrm>
                <a:custGeom>
                  <a:avLst/>
                  <a:gdLst>
                    <a:gd name="T0" fmla="*/ 0 w 622"/>
                    <a:gd name="T1" fmla="*/ 0 h 89"/>
                    <a:gd name="T2" fmla="*/ 532 w 622"/>
                    <a:gd name="T3" fmla="*/ 0 h 89"/>
                    <a:gd name="T4" fmla="*/ 532 w 622"/>
                    <a:gd name="T5" fmla="*/ 0 h 89"/>
                    <a:gd name="T6" fmla="*/ 541 w 622"/>
                    <a:gd name="T7" fmla="*/ 0 h 89"/>
                    <a:gd name="T8" fmla="*/ 550 w 622"/>
                    <a:gd name="T9" fmla="*/ 2 h 89"/>
                    <a:gd name="T10" fmla="*/ 559 w 622"/>
                    <a:gd name="T11" fmla="*/ 3 h 89"/>
                    <a:gd name="T12" fmla="*/ 567 w 622"/>
                    <a:gd name="T13" fmla="*/ 7 h 89"/>
                    <a:gd name="T14" fmla="*/ 575 w 622"/>
                    <a:gd name="T15" fmla="*/ 10 h 89"/>
                    <a:gd name="T16" fmla="*/ 582 w 622"/>
                    <a:gd name="T17" fmla="*/ 15 h 89"/>
                    <a:gd name="T18" fmla="*/ 589 w 622"/>
                    <a:gd name="T19" fmla="*/ 20 h 89"/>
                    <a:gd name="T20" fmla="*/ 595 w 622"/>
                    <a:gd name="T21" fmla="*/ 26 h 89"/>
                    <a:gd name="T22" fmla="*/ 601 w 622"/>
                    <a:gd name="T23" fmla="*/ 32 h 89"/>
                    <a:gd name="T24" fmla="*/ 606 w 622"/>
                    <a:gd name="T25" fmla="*/ 39 h 89"/>
                    <a:gd name="T26" fmla="*/ 611 w 622"/>
                    <a:gd name="T27" fmla="*/ 47 h 89"/>
                    <a:gd name="T28" fmla="*/ 614 w 622"/>
                    <a:gd name="T29" fmla="*/ 54 h 89"/>
                    <a:gd name="T30" fmla="*/ 618 w 622"/>
                    <a:gd name="T31" fmla="*/ 63 h 89"/>
                    <a:gd name="T32" fmla="*/ 619 w 622"/>
                    <a:gd name="T33" fmla="*/ 71 h 89"/>
                    <a:gd name="T34" fmla="*/ 622 w 622"/>
                    <a:gd name="T35" fmla="*/ 81 h 89"/>
                    <a:gd name="T36" fmla="*/ 622 w 622"/>
                    <a:gd name="T37" fmla="*/ 89 h 89"/>
                    <a:gd name="T38" fmla="*/ 0 w 622"/>
                    <a:gd name="T39" fmla="*/ 89 h 89"/>
                    <a:gd name="T40" fmla="*/ 0 w 622"/>
                    <a:gd name="T4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2" h="89">
                      <a:moveTo>
                        <a:pt x="0" y="0"/>
                      </a:moveTo>
                      <a:lnTo>
                        <a:pt x="532" y="0"/>
                      </a:lnTo>
                      <a:lnTo>
                        <a:pt x="532" y="0"/>
                      </a:lnTo>
                      <a:lnTo>
                        <a:pt x="541" y="0"/>
                      </a:lnTo>
                      <a:lnTo>
                        <a:pt x="550" y="2"/>
                      </a:lnTo>
                      <a:lnTo>
                        <a:pt x="559" y="3"/>
                      </a:lnTo>
                      <a:lnTo>
                        <a:pt x="567" y="7"/>
                      </a:lnTo>
                      <a:lnTo>
                        <a:pt x="575" y="10"/>
                      </a:lnTo>
                      <a:lnTo>
                        <a:pt x="582" y="15"/>
                      </a:lnTo>
                      <a:lnTo>
                        <a:pt x="589" y="20"/>
                      </a:lnTo>
                      <a:lnTo>
                        <a:pt x="595" y="26"/>
                      </a:lnTo>
                      <a:lnTo>
                        <a:pt x="601" y="32"/>
                      </a:lnTo>
                      <a:lnTo>
                        <a:pt x="606" y="39"/>
                      </a:lnTo>
                      <a:lnTo>
                        <a:pt x="611" y="47"/>
                      </a:lnTo>
                      <a:lnTo>
                        <a:pt x="614" y="54"/>
                      </a:lnTo>
                      <a:lnTo>
                        <a:pt x="618" y="63"/>
                      </a:lnTo>
                      <a:lnTo>
                        <a:pt x="619" y="71"/>
                      </a:lnTo>
                      <a:lnTo>
                        <a:pt x="622" y="81"/>
                      </a:lnTo>
                      <a:lnTo>
                        <a:pt x="622" y="89"/>
                      </a:lnTo>
                      <a:lnTo>
                        <a:pt x="0" y="89"/>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9" name="Freeform 213"/>
                <p:cNvSpPr>
                  <a:spLocks/>
                </p:cNvSpPr>
                <p:nvPr userDrawn="1"/>
              </p:nvSpPr>
              <p:spPr bwMode="auto">
                <a:xfrm>
                  <a:off x="10237333" y="239211"/>
                  <a:ext cx="493713" cy="71438"/>
                </a:xfrm>
                <a:custGeom>
                  <a:avLst/>
                  <a:gdLst>
                    <a:gd name="T0" fmla="*/ 0 w 622"/>
                    <a:gd name="T1" fmla="*/ 0 h 90"/>
                    <a:gd name="T2" fmla="*/ 622 w 622"/>
                    <a:gd name="T3" fmla="*/ 0 h 90"/>
                    <a:gd name="T4" fmla="*/ 622 w 622"/>
                    <a:gd name="T5" fmla="*/ 0 h 90"/>
                    <a:gd name="T6" fmla="*/ 622 w 622"/>
                    <a:gd name="T7" fmla="*/ 9 h 90"/>
                    <a:gd name="T8" fmla="*/ 619 w 622"/>
                    <a:gd name="T9" fmla="*/ 19 h 90"/>
                    <a:gd name="T10" fmla="*/ 618 w 622"/>
                    <a:gd name="T11" fmla="*/ 27 h 90"/>
                    <a:gd name="T12" fmla="*/ 614 w 622"/>
                    <a:gd name="T13" fmla="*/ 36 h 90"/>
                    <a:gd name="T14" fmla="*/ 611 w 622"/>
                    <a:gd name="T15" fmla="*/ 43 h 90"/>
                    <a:gd name="T16" fmla="*/ 606 w 622"/>
                    <a:gd name="T17" fmla="*/ 51 h 90"/>
                    <a:gd name="T18" fmla="*/ 601 w 622"/>
                    <a:gd name="T19" fmla="*/ 57 h 90"/>
                    <a:gd name="T20" fmla="*/ 595 w 622"/>
                    <a:gd name="T21" fmla="*/ 64 h 90"/>
                    <a:gd name="T22" fmla="*/ 589 w 622"/>
                    <a:gd name="T23" fmla="*/ 70 h 90"/>
                    <a:gd name="T24" fmla="*/ 582 w 622"/>
                    <a:gd name="T25" fmla="*/ 75 h 90"/>
                    <a:gd name="T26" fmla="*/ 575 w 622"/>
                    <a:gd name="T27" fmla="*/ 79 h 90"/>
                    <a:gd name="T28" fmla="*/ 567 w 622"/>
                    <a:gd name="T29" fmla="*/ 83 h 90"/>
                    <a:gd name="T30" fmla="*/ 559 w 622"/>
                    <a:gd name="T31" fmla="*/ 85 h 90"/>
                    <a:gd name="T32" fmla="*/ 550 w 622"/>
                    <a:gd name="T33" fmla="*/ 88 h 90"/>
                    <a:gd name="T34" fmla="*/ 541 w 622"/>
                    <a:gd name="T35" fmla="*/ 89 h 90"/>
                    <a:gd name="T36" fmla="*/ 532 w 622"/>
                    <a:gd name="T37" fmla="*/ 90 h 90"/>
                    <a:gd name="T38" fmla="*/ 0 w 622"/>
                    <a:gd name="T39" fmla="*/ 90 h 90"/>
                    <a:gd name="T40" fmla="*/ 0 w 622"/>
                    <a:gd name="T4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2" h="90">
                      <a:moveTo>
                        <a:pt x="0" y="0"/>
                      </a:moveTo>
                      <a:lnTo>
                        <a:pt x="622" y="0"/>
                      </a:lnTo>
                      <a:lnTo>
                        <a:pt x="622" y="0"/>
                      </a:lnTo>
                      <a:lnTo>
                        <a:pt x="622" y="9"/>
                      </a:lnTo>
                      <a:lnTo>
                        <a:pt x="619" y="19"/>
                      </a:lnTo>
                      <a:lnTo>
                        <a:pt x="618" y="27"/>
                      </a:lnTo>
                      <a:lnTo>
                        <a:pt x="614" y="36"/>
                      </a:lnTo>
                      <a:lnTo>
                        <a:pt x="611" y="43"/>
                      </a:lnTo>
                      <a:lnTo>
                        <a:pt x="606" y="51"/>
                      </a:lnTo>
                      <a:lnTo>
                        <a:pt x="601" y="57"/>
                      </a:lnTo>
                      <a:lnTo>
                        <a:pt x="595" y="64"/>
                      </a:lnTo>
                      <a:lnTo>
                        <a:pt x="589" y="70"/>
                      </a:lnTo>
                      <a:lnTo>
                        <a:pt x="582" y="75"/>
                      </a:lnTo>
                      <a:lnTo>
                        <a:pt x="575" y="79"/>
                      </a:lnTo>
                      <a:lnTo>
                        <a:pt x="567" y="83"/>
                      </a:lnTo>
                      <a:lnTo>
                        <a:pt x="559" y="85"/>
                      </a:lnTo>
                      <a:lnTo>
                        <a:pt x="550" y="88"/>
                      </a:lnTo>
                      <a:lnTo>
                        <a:pt x="541" y="89"/>
                      </a:lnTo>
                      <a:lnTo>
                        <a:pt x="532" y="90"/>
                      </a:lnTo>
                      <a:lnTo>
                        <a:pt x="0" y="90"/>
                      </a:lnTo>
                      <a:lnTo>
                        <a:pt x="0" y="0"/>
                      </a:lnTo>
                      <a:close/>
                    </a:path>
                  </a:pathLst>
                </a:custGeom>
                <a:solidFill>
                  <a:srgbClr val="275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0" name="Freeform 214"/>
                <p:cNvSpPr>
                  <a:spLocks/>
                </p:cNvSpPr>
                <p:nvPr userDrawn="1"/>
              </p:nvSpPr>
              <p:spPr bwMode="auto">
                <a:xfrm>
                  <a:off x="10237333" y="239211"/>
                  <a:ext cx="493713" cy="71438"/>
                </a:xfrm>
                <a:custGeom>
                  <a:avLst/>
                  <a:gdLst>
                    <a:gd name="T0" fmla="*/ 0 w 622"/>
                    <a:gd name="T1" fmla="*/ 0 h 90"/>
                    <a:gd name="T2" fmla="*/ 622 w 622"/>
                    <a:gd name="T3" fmla="*/ 0 h 90"/>
                    <a:gd name="T4" fmla="*/ 622 w 622"/>
                    <a:gd name="T5" fmla="*/ 0 h 90"/>
                    <a:gd name="T6" fmla="*/ 622 w 622"/>
                    <a:gd name="T7" fmla="*/ 9 h 90"/>
                    <a:gd name="T8" fmla="*/ 619 w 622"/>
                    <a:gd name="T9" fmla="*/ 19 h 90"/>
                    <a:gd name="T10" fmla="*/ 618 w 622"/>
                    <a:gd name="T11" fmla="*/ 27 h 90"/>
                    <a:gd name="T12" fmla="*/ 614 w 622"/>
                    <a:gd name="T13" fmla="*/ 36 h 90"/>
                    <a:gd name="T14" fmla="*/ 611 w 622"/>
                    <a:gd name="T15" fmla="*/ 43 h 90"/>
                    <a:gd name="T16" fmla="*/ 606 w 622"/>
                    <a:gd name="T17" fmla="*/ 51 h 90"/>
                    <a:gd name="T18" fmla="*/ 601 w 622"/>
                    <a:gd name="T19" fmla="*/ 57 h 90"/>
                    <a:gd name="T20" fmla="*/ 595 w 622"/>
                    <a:gd name="T21" fmla="*/ 64 h 90"/>
                    <a:gd name="T22" fmla="*/ 589 w 622"/>
                    <a:gd name="T23" fmla="*/ 70 h 90"/>
                    <a:gd name="T24" fmla="*/ 582 w 622"/>
                    <a:gd name="T25" fmla="*/ 75 h 90"/>
                    <a:gd name="T26" fmla="*/ 575 w 622"/>
                    <a:gd name="T27" fmla="*/ 79 h 90"/>
                    <a:gd name="T28" fmla="*/ 567 w 622"/>
                    <a:gd name="T29" fmla="*/ 83 h 90"/>
                    <a:gd name="T30" fmla="*/ 559 w 622"/>
                    <a:gd name="T31" fmla="*/ 85 h 90"/>
                    <a:gd name="T32" fmla="*/ 550 w 622"/>
                    <a:gd name="T33" fmla="*/ 88 h 90"/>
                    <a:gd name="T34" fmla="*/ 541 w 622"/>
                    <a:gd name="T35" fmla="*/ 89 h 90"/>
                    <a:gd name="T36" fmla="*/ 532 w 622"/>
                    <a:gd name="T37" fmla="*/ 90 h 90"/>
                    <a:gd name="T38" fmla="*/ 0 w 622"/>
                    <a:gd name="T39" fmla="*/ 90 h 90"/>
                    <a:gd name="T40" fmla="*/ 0 w 622"/>
                    <a:gd name="T4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2" h="90">
                      <a:moveTo>
                        <a:pt x="0" y="0"/>
                      </a:moveTo>
                      <a:lnTo>
                        <a:pt x="622" y="0"/>
                      </a:lnTo>
                      <a:lnTo>
                        <a:pt x="622" y="0"/>
                      </a:lnTo>
                      <a:lnTo>
                        <a:pt x="622" y="9"/>
                      </a:lnTo>
                      <a:lnTo>
                        <a:pt x="619" y="19"/>
                      </a:lnTo>
                      <a:lnTo>
                        <a:pt x="618" y="27"/>
                      </a:lnTo>
                      <a:lnTo>
                        <a:pt x="614" y="36"/>
                      </a:lnTo>
                      <a:lnTo>
                        <a:pt x="611" y="43"/>
                      </a:lnTo>
                      <a:lnTo>
                        <a:pt x="606" y="51"/>
                      </a:lnTo>
                      <a:lnTo>
                        <a:pt x="601" y="57"/>
                      </a:lnTo>
                      <a:lnTo>
                        <a:pt x="595" y="64"/>
                      </a:lnTo>
                      <a:lnTo>
                        <a:pt x="589" y="70"/>
                      </a:lnTo>
                      <a:lnTo>
                        <a:pt x="582" y="75"/>
                      </a:lnTo>
                      <a:lnTo>
                        <a:pt x="575" y="79"/>
                      </a:lnTo>
                      <a:lnTo>
                        <a:pt x="567" y="83"/>
                      </a:lnTo>
                      <a:lnTo>
                        <a:pt x="559" y="85"/>
                      </a:lnTo>
                      <a:lnTo>
                        <a:pt x="550" y="88"/>
                      </a:lnTo>
                      <a:lnTo>
                        <a:pt x="541" y="89"/>
                      </a:lnTo>
                      <a:lnTo>
                        <a:pt x="532" y="90"/>
                      </a:lnTo>
                      <a:lnTo>
                        <a:pt x="0" y="9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1" name="Freeform 215"/>
                <p:cNvSpPr>
                  <a:spLocks/>
                </p:cNvSpPr>
                <p:nvPr userDrawn="1"/>
              </p:nvSpPr>
              <p:spPr bwMode="auto">
                <a:xfrm>
                  <a:off x="10237333" y="85224"/>
                  <a:ext cx="323850" cy="82550"/>
                </a:xfrm>
                <a:custGeom>
                  <a:avLst/>
                  <a:gdLst>
                    <a:gd name="T0" fmla="*/ 0 w 407"/>
                    <a:gd name="T1" fmla="*/ 0 h 105"/>
                    <a:gd name="T2" fmla="*/ 0 w 407"/>
                    <a:gd name="T3" fmla="*/ 0 h 105"/>
                    <a:gd name="T4" fmla="*/ 41 w 407"/>
                    <a:gd name="T5" fmla="*/ 1 h 105"/>
                    <a:gd name="T6" fmla="*/ 82 w 407"/>
                    <a:gd name="T7" fmla="*/ 2 h 105"/>
                    <a:gd name="T8" fmla="*/ 121 w 407"/>
                    <a:gd name="T9" fmla="*/ 5 h 105"/>
                    <a:gd name="T10" fmla="*/ 158 w 407"/>
                    <a:gd name="T11" fmla="*/ 8 h 105"/>
                    <a:gd name="T12" fmla="*/ 193 w 407"/>
                    <a:gd name="T13" fmla="*/ 13 h 105"/>
                    <a:gd name="T14" fmla="*/ 228 w 407"/>
                    <a:gd name="T15" fmla="*/ 18 h 105"/>
                    <a:gd name="T16" fmla="*/ 259 w 407"/>
                    <a:gd name="T17" fmla="*/ 24 h 105"/>
                    <a:gd name="T18" fmla="*/ 287 w 407"/>
                    <a:gd name="T19" fmla="*/ 31 h 105"/>
                    <a:gd name="T20" fmla="*/ 314 w 407"/>
                    <a:gd name="T21" fmla="*/ 38 h 105"/>
                    <a:gd name="T22" fmla="*/ 337 w 407"/>
                    <a:gd name="T23" fmla="*/ 46 h 105"/>
                    <a:gd name="T24" fmla="*/ 358 w 407"/>
                    <a:gd name="T25" fmla="*/ 55 h 105"/>
                    <a:gd name="T26" fmla="*/ 375 w 407"/>
                    <a:gd name="T27" fmla="*/ 64 h 105"/>
                    <a:gd name="T28" fmla="*/ 388 w 407"/>
                    <a:gd name="T29" fmla="*/ 74 h 105"/>
                    <a:gd name="T30" fmla="*/ 394 w 407"/>
                    <a:gd name="T31" fmla="*/ 79 h 105"/>
                    <a:gd name="T32" fmla="*/ 399 w 407"/>
                    <a:gd name="T33" fmla="*/ 83 h 105"/>
                    <a:gd name="T34" fmla="*/ 403 w 407"/>
                    <a:gd name="T35" fmla="*/ 89 h 105"/>
                    <a:gd name="T36" fmla="*/ 405 w 407"/>
                    <a:gd name="T37" fmla="*/ 94 h 105"/>
                    <a:gd name="T38" fmla="*/ 406 w 407"/>
                    <a:gd name="T39" fmla="*/ 100 h 105"/>
                    <a:gd name="T40" fmla="*/ 407 w 407"/>
                    <a:gd name="T41" fmla="*/ 105 h 105"/>
                    <a:gd name="T42" fmla="*/ 0 w 407"/>
                    <a:gd name="T43" fmla="*/ 105 h 105"/>
                    <a:gd name="T44" fmla="*/ 0 w 407"/>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7" h="105">
                      <a:moveTo>
                        <a:pt x="0" y="0"/>
                      </a:moveTo>
                      <a:lnTo>
                        <a:pt x="0" y="0"/>
                      </a:lnTo>
                      <a:lnTo>
                        <a:pt x="41" y="1"/>
                      </a:lnTo>
                      <a:lnTo>
                        <a:pt x="82" y="2"/>
                      </a:lnTo>
                      <a:lnTo>
                        <a:pt x="121" y="5"/>
                      </a:lnTo>
                      <a:lnTo>
                        <a:pt x="158" y="8"/>
                      </a:lnTo>
                      <a:lnTo>
                        <a:pt x="193" y="13"/>
                      </a:lnTo>
                      <a:lnTo>
                        <a:pt x="228" y="18"/>
                      </a:lnTo>
                      <a:lnTo>
                        <a:pt x="259" y="24"/>
                      </a:lnTo>
                      <a:lnTo>
                        <a:pt x="287" y="31"/>
                      </a:lnTo>
                      <a:lnTo>
                        <a:pt x="314" y="38"/>
                      </a:lnTo>
                      <a:lnTo>
                        <a:pt x="337" y="46"/>
                      </a:lnTo>
                      <a:lnTo>
                        <a:pt x="358" y="55"/>
                      </a:lnTo>
                      <a:lnTo>
                        <a:pt x="375" y="64"/>
                      </a:lnTo>
                      <a:lnTo>
                        <a:pt x="388" y="74"/>
                      </a:lnTo>
                      <a:lnTo>
                        <a:pt x="394" y="79"/>
                      </a:lnTo>
                      <a:lnTo>
                        <a:pt x="399" y="83"/>
                      </a:lnTo>
                      <a:lnTo>
                        <a:pt x="403" y="89"/>
                      </a:lnTo>
                      <a:lnTo>
                        <a:pt x="405" y="94"/>
                      </a:lnTo>
                      <a:lnTo>
                        <a:pt x="406" y="100"/>
                      </a:lnTo>
                      <a:lnTo>
                        <a:pt x="407" y="105"/>
                      </a:lnTo>
                      <a:lnTo>
                        <a:pt x="0" y="105"/>
                      </a:lnTo>
                      <a:lnTo>
                        <a:pt x="0" y="0"/>
                      </a:lnTo>
                      <a:close/>
                    </a:path>
                  </a:pathLst>
                </a:custGeom>
                <a:solidFill>
                  <a:srgbClr val="009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2" name="Freeform 216"/>
                <p:cNvSpPr>
                  <a:spLocks/>
                </p:cNvSpPr>
                <p:nvPr userDrawn="1"/>
              </p:nvSpPr>
              <p:spPr bwMode="auto">
                <a:xfrm>
                  <a:off x="10237333" y="493211"/>
                  <a:ext cx="568325" cy="260350"/>
                </a:xfrm>
                <a:custGeom>
                  <a:avLst/>
                  <a:gdLst>
                    <a:gd name="T0" fmla="*/ 715 w 715"/>
                    <a:gd name="T1" fmla="*/ 0 h 328"/>
                    <a:gd name="T2" fmla="*/ 715 w 715"/>
                    <a:gd name="T3" fmla="*/ 0 h 328"/>
                    <a:gd name="T4" fmla="*/ 715 w 715"/>
                    <a:gd name="T5" fmla="*/ 16 h 328"/>
                    <a:gd name="T6" fmla="*/ 712 w 715"/>
                    <a:gd name="T7" fmla="*/ 33 h 328"/>
                    <a:gd name="T8" fmla="*/ 707 w 715"/>
                    <a:gd name="T9" fmla="*/ 50 h 328"/>
                    <a:gd name="T10" fmla="*/ 701 w 715"/>
                    <a:gd name="T11" fmla="*/ 66 h 328"/>
                    <a:gd name="T12" fmla="*/ 693 w 715"/>
                    <a:gd name="T13" fmla="*/ 82 h 328"/>
                    <a:gd name="T14" fmla="*/ 683 w 715"/>
                    <a:gd name="T15" fmla="*/ 97 h 328"/>
                    <a:gd name="T16" fmla="*/ 673 w 715"/>
                    <a:gd name="T17" fmla="*/ 113 h 328"/>
                    <a:gd name="T18" fmla="*/ 660 w 715"/>
                    <a:gd name="T19" fmla="*/ 128 h 328"/>
                    <a:gd name="T20" fmla="*/ 645 w 715"/>
                    <a:gd name="T21" fmla="*/ 142 h 328"/>
                    <a:gd name="T22" fmla="*/ 630 w 715"/>
                    <a:gd name="T23" fmla="*/ 157 h 328"/>
                    <a:gd name="T24" fmla="*/ 612 w 715"/>
                    <a:gd name="T25" fmla="*/ 170 h 328"/>
                    <a:gd name="T26" fmla="*/ 593 w 715"/>
                    <a:gd name="T27" fmla="*/ 184 h 328"/>
                    <a:gd name="T28" fmla="*/ 574 w 715"/>
                    <a:gd name="T29" fmla="*/ 196 h 328"/>
                    <a:gd name="T30" fmla="*/ 553 w 715"/>
                    <a:gd name="T31" fmla="*/ 209 h 328"/>
                    <a:gd name="T32" fmla="*/ 530 w 715"/>
                    <a:gd name="T33" fmla="*/ 221 h 328"/>
                    <a:gd name="T34" fmla="*/ 506 w 715"/>
                    <a:gd name="T35" fmla="*/ 231 h 328"/>
                    <a:gd name="T36" fmla="*/ 481 w 715"/>
                    <a:gd name="T37" fmla="*/ 243 h 328"/>
                    <a:gd name="T38" fmla="*/ 455 w 715"/>
                    <a:gd name="T39" fmla="*/ 253 h 328"/>
                    <a:gd name="T40" fmla="*/ 428 w 715"/>
                    <a:gd name="T41" fmla="*/ 264 h 328"/>
                    <a:gd name="T42" fmla="*/ 400 w 715"/>
                    <a:gd name="T43" fmla="*/ 272 h 328"/>
                    <a:gd name="T44" fmla="*/ 371 w 715"/>
                    <a:gd name="T45" fmla="*/ 280 h 328"/>
                    <a:gd name="T46" fmla="*/ 341 w 715"/>
                    <a:gd name="T47" fmla="*/ 288 h 328"/>
                    <a:gd name="T48" fmla="*/ 310 w 715"/>
                    <a:gd name="T49" fmla="*/ 296 h 328"/>
                    <a:gd name="T50" fmla="*/ 279 w 715"/>
                    <a:gd name="T51" fmla="*/ 303 h 328"/>
                    <a:gd name="T52" fmla="*/ 246 w 715"/>
                    <a:gd name="T53" fmla="*/ 309 h 328"/>
                    <a:gd name="T54" fmla="*/ 212 w 715"/>
                    <a:gd name="T55" fmla="*/ 313 h 328"/>
                    <a:gd name="T56" fmla="*/ 179 w 715"/>
                    <a:gd name="T57" fmla="*/ 318 h 328"/>
                    <a:gd name="T58" fmla="*/ 144 w 715"/>
                    <a:gd name="T59" fmla="*/ 322 h 328"/>
                    <a:gd name="T60" fmla="*/ 109 w 715"/>
                    <a:gd name="T61" fmla="*/ 324 h 328"/>
                    <a:gd name="T62" fmla="*/ 73 w 715"/>
                    <a:gd name="T63" fmla="*/ 327 h 328"/>
                    <a:gd name="T64" fmla="*/ 37 w 715"/>
                    <a:gd name="T65" fmla="*/ 328 h 328"/>
                    <a:gd name="T66" fmla="*/ 0 w 715"/>
                    <a:gd name="T67" fmla="*/ 328 h 328"/>
                    <a:gd name="T68" fmla="*/ 0 w 715"/>
                    <a:gd name="T69" fmla="*/ 0 h 328"/>
                    <a:gd name="T70" fmla="*/ 715 w 715"/>
                    <a:gd name="T71"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15" h="328">
                      <a:moveTo>
                        <a:pt x="715" y="0"/>
                      </a:moveTo>
                      <a:lnTo>
                        <a:pt x="715" y="0"/>
                      </a:lnTo>
                      <a:lnTo>
                        <a:pt x="715" y="16"/>
                      </a:lnTo>
                      <a:lnTo>
                        <a:pt x="712" y="33"/>
                      </a:lnTo>
                      <a:lnTo>
                        <a:pt x="707" y="50"/>
                      </a:lnTo>
                      <a:lnTo>
                        <a:pt x="701" y="66"/>
                      </a:lnTo>
                      <a:lnTo>
                        <a:pt x="693" y="82"/>
                      </a:lnTo>
                      <a:lnTo>
                        <a:pt x="683" y="97"/>
                      </a:lnTo>
                      <a:lnTo>
                        <a:pt x="673" y="113"/>
                      </a:lnTo>
                      <a:lnTo>
                        <a:pt x="660" y="128"/>
                      </a:lnTo>
                      <a:lnTo>
                        <a:pt x="645" y="142"/>
                      </a:lnTo>
                      <a:lnTo>
                        <a:pt x="630" y="157"/>
                      </a:lnTo>
                      <a:lnTo>
                        <a:pt x="612" y="170"/>
                      </a:lnTo>
                      <a:lnTo>
                        <a:pt x="593" y="184"/>
                      </a:lnTo>
                      <a:lnTo>
                        <a:pt x="574" y="196"/>
                      </a:lnTo>
                      <a:lnTo>
                        <a:pt x="553" y="209"/>
                      </a:lnTo>
                      <a:lnTo>
                        <a:pt x="530" y="221"/>
                      </a:lnTo>
                      <a:lnTo>
                        <a:pt x="506" y="231"/>
                      </a:lnTo>
                      <a:lnTo>
                        <a:pt x="481" y="243"/>
                      </a:lnTo>
                      <a:lnTo>
                        <a:pt x="455" y="253"/>
                      </a:lnTo>
                      <a:lnTo>
                        <a:pt x="428" y="264"/>
                      </a:lnTo>
                      <a:lnTo>
                        <a:pt x="400" y="272"/>
                      </a:lnTo>
                      <a:lnTo>
                        <a:pt x="371" y="280"/>
                      </a:lnTo>
                      <a:lnTo>
                        <a:pt x="341" y="288"/>
                      </a:lnTo>
                      <a:lnTo>
                        <a:pt x="310" y="296"/>
                      </a:lnTo>
                      <a:lnTo>
                        <a:pt x="279" y="303"/>
                      </a:lnTo>
                      <a:lnTo>
                        <a:pt x="246" y="309"/>
                      </a:lnTo>
                      <a:lnTo>
                        <a:pt x="212" y="313"/>
                      </a:lnTo>
                      <a:lnTo>
                        <a:pt x="179" y="318"/>
                      </a:lnTo>
                      <a:lnTo>
                        <a:pt x="144" y="322"/>
                      </a:lnTo>
                      <a:lnTo>
                        <a:pt x="109" y="324"/>
                      </a:lnTo>
                      <a:lnTo>
                        <a:pt x="73" y="327"/>
                      </a:lnTo>
                      <a:lnTo>
                        <a:pt x="37" y="328"/>
                      </a:lnTo>
                      <a:lnTo>
                        <a:pt x="0" y="328"/>
                      </a:lnTo>
                      <a:lnTo>
                        <a:pt x="0" y="0"/>
                      </a:lnTo>
                      <a:lnTo>
                        <a:pt x="715"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3" name="Freeform 217"/>
                <p:cNvSpPr>
                  <a:spLocks/>
                </p:cNvSpPr>
                <p:nvPr userDrawn="1"/>
              </p:nvSpPr>
              <p:spPr bwMode="auto">
                <a:xfrm>
                  <a:off x="10237333" y="493211"/>
                  <a:ext cx="568325" cy="260350"/>
                </a:xfrm>
                <a:custGeom>
                  <a:avLst/>
                  <a:gdLst>
                    <a:gd name="T0" fmla="*/ 715 w 715"/>
                    <a:gd name="T1" fmla="*/ 0 h 328"/>
                    <a:gd name="T2" fmla="*/ 715 w 715"/>
                    <a:gd name="T3" fmla="*/ 0 h 328"/>
                    <a:gd name="T4" fmla="*/ 715 w 715"/>
                    <a:gd name="T5" fmla="*/ 16 h 328"/>
                    <a:gd name="T6" fmla="*/ 712 w 715"/>
                    <a:gd name="T7" fmla="*/ 33 h 328"/>
                    <a:gd name="T8" fmla="*/ 707 w 715"/>
                    <a:gd name="T9" fmla="*/ 50 h 328"/>
                    <a:gd name="T10" fmla="*/ 701 w 715"/>
                    <a:gd name="T11" fmla="*/ 66 h 328"/>
                    <a:gd name="T12" fmla="*/ 693 w 715"/>
                    <a:gd name="T13" fmla="*/ 82 h 328"/>
                    <a:gd name="T14" fmla="*/ 683 w 715"/>
                    <a:gd name="T15" fmla="*/ 97 h 328"/>
                    <a:gd name="T16" fmla="*/ 673 w 715"/>
                    <a:gd name="T17" fmla="*/ 113 h 328"/>
                    <a:gd name="T18" fmla="*/ 660 w 715"/>
                    <a:gd name="T19" fmla="*/ 128 h 328"/>
                    <a:gd name="T20" fmla="*/ 645 w 715"/>
                    <a:gd name="T21" fmla="*/ 142 h 328"/>
                    <a:gd name="T22" fmla="*/ 630 w 715"/>
                    <a:gd name="T23" fmla="*/ 157 h 328"/>
                    <a:gd name="T24" fmla="*/ 612 w 715"/>
                    <a:gd name="T25" fmla="*/ 170 h 328"/>
                    <a:gd name="T26" fmla="*/ 593 w 715"/>
                    <a:gd name="T27" fmla="*/ 184 h 328"/>
                    <a:gd name="T28" fmla="*/ 574 w 715"/>
                    <a:gd name="T29" fmla="*/ 196 h 328"/>
                    <a:gd name="T30" fmla="*/ 553 w 715"/>
                    <a:gd name="T31" fmla="*/ 209 h 328"/>
                    <a:gd name="T32" fmla="*/ 530 w 715"/>
                    <a:gd name="T33" fmla="*/ 221 h 328"/>
                    <a:gd name="T34" fmla="*/ 506 w 715"/>
                    <a:gd name="T35" fmla="*/ 231 h 328"/>
                    <a:gd name="T36" fmla="*/ 481 w 715"/>
                    <a:gd name="T37" fmla="*/ 243 h 328"/>
                    <a:gd name="T38" fmla="*/ 455 w 715"/>
                    <a:gd name="T39" fmla="*/ 253 h 328"/>
                    <a:gd name="T40" fmla="*/ 428 w 715"/>
                    <a:gd name="T41" fmla="*/ 264 h 328"/>
                    <a:gd name="T42" fmla="*/ 400 w 715"/>
                    <a:gd name="T43" fmla="*/ 272 h 328"/>
                    <a:gd name="T44" fmla="*/ 371 w 715"/>
                    <a:gd name="T45" fmla="*/ 280 h 328"/>
                    <a:gd name="T46" fmla="*/ 341 w 715"/>
                    <a:gd name="T47" fmla="*/ 288 h 328"/>
                    <a:gd name="T48" fmla="*/ 310 w 715"/>
                    <a:gd name="T49" fmla="*/ 296 h 328"/>
                    <a:gd name="T50" fmla="*/ 279 w 715"/>
                    <a:gd name="T51" fmla="*/ 303 h 328"/>
                    <a:gd name="T52" fmla="*/ 246 w 715"/>
                    <a:gd name="T53" fmla="*/ 309 h 328"/>
                    <a:gd name="T54" fmla="*/ 212 w 715"/>
                    <a:gd name="T55" fmla="*/ 313 h 328"/>
                    <a:gd name="T56" fmla="*/ 179 w 715"/>
                    <a:gd name="T57" fmla="*/ 318 h 328"/>
                    <a:gd name="T58" fmla="*/ 144 w 715"/>
                    <a:gd name="T59" fmla="*/ 322 h 328"/>
                    <a:gd name="T60" fmla="*/ 109 w 715"/>
                    <a:gd name="T61" fmla="*/ 324 h 328"/>
                    <a:gd name="T62" fmla="*/ 73 w 715"/>
                    <a:gd name="T63" fmla="*/ 327 h 328"/>
                    <a:gd name="T64" fmla="*/ 37 w 715"/>
                    <a:gd name="T65" fmla="*/ 328 h 328"/>
                    <a:gd name="T66" fmla="*/ 0 w 715"/>
                    <a:gd name="T67" fmla="*/ 328 h 328"/>
                    <a:gd name="T68" fmla="*/ 0 w 715"/>
                    <a:gd name="T69" fmla="*/ 0 h 328"/>
                    <a:gd name="T70" fmla="*/ 715 w 715"/>
                    <a:gd name="T71"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15" h="328">
                      <a:moveTo>
                        <a:pt x="715" y="0"/>
                      </a:moveTo>
                      <a:lnTo>
                        <a:pt x="715" y="0"/>
                      </a:lnTo>
                      <a:lnTo>
                        <a:pt x="715" y="16"/>
                      </a:lnTo>
                      <a:lnTo>
                        <a:pt x="712" y="33"/>
                      </a:lnTo>
                      <a:lnTo>
                        <a:pt x="707" y="50"/>
                      </a:lnTo>
                      <a:lnTo>
                        <a:pt x="701" y="66"/>
                      </a:lnTo>
                      <a:lnTo>
                        <a:pt x="693" y="82"/>
                      </a:lnTo>
                      <a:lnTo>
                        <a:pt x="683" y="97"/>
                      </a:lnTo>
                      <a:lnTo>
                        <a:pt x="673" y="113"/>
                      </a:lnTo>
                      <a:lnTo>
                        <a:pt x="660" y="128"/>
                      </a:lnTo>
                      <a:lnTo>
                        <a:pt x="645" y="142"/>
                      </a:lnTo>
                      <a:lnTo>
                        <a:pt x="630" y="157"/>
                      </a:lnTo>
                      <a:lnTo>
                        <a:pt x="612" y="170"/>
                      </a:lnTo>
                      <a:lnTo>
                        <a:pt x="593" y="184"/>
                      </a:lnTo>
                      <a:lnTo>
                        <a:pt x="574" y="196"/>
                      </a:lnTo>
                      <a:lnTo>
                        <a:pt x="553" y="209"/>
                      </a:lnTo>
                      <a:lnTo>
                        <a:pt x="530" y="221"/>
                      </a:lnTo>
                      <a:lnTo>
                        <a:pt x="506" y="231"/>
                      </a:lnTo>
                      <a:lnTo>
                        <a:pt x="481" y="243"/>
                      </a:lnTo>
                      <a:lnTo>
                        <a:pt x="455" y="253"/>
                      </a:lnTo>
                      <a:lnTo>
                        <a:pt x="428" y="264"/>
                      </a:lnTo>
                      <a:lnTo>
                        <a:pt x="400" y="272"/>
                      </a:lnTo>
                      <a:lnTo>
                        <a:pt x="371" y="280"/>
                      </a:lnTo>
                      <a:lnTo>
                        <a:pt x="341" y="288"/>
                      </a:lnTo>
                      <a:lnTo>
                        <a:pt x="310" y="296"/>
                      </a:lnTo>
                      <a:lnTo>
                        <a:pt x="279" y="303"/>
                      </a:lnTo>
                      <a:lnTo>
                        <a:pt x="246" y="309"/>
                      </a:lnTo>
                      <a:lnTo>
                        <a:pt x="212" y="313"/>
                      </a:lnTo>
                      <a:lnTo>
                        <a:pt x="179" y="318"/>
                      </a:lnTo>
                      <a:lnTo>
                        <a:pt x="144" y="322"/>
                      </a:lnTo>
                      <a:lnTo>
                        <a:pt x="109" y="324"/>
                      </a:lnTo>
                      <a:lnTo>
                        <a:pt x="73" y="327"/>
                      </a:lnTo>
                      <a:lnTo>
                        <a:pt x="37" y="328"/>
                      </a:lnTo>
                      <a:lnTo>
                        <a:pt x="0" y="328"/>
                      </a:lnTo>
                      <a:lnTo>
                        <a:pt x="0" y="0"/>
                      </a:lnTo>
                      <a:lnTo>
                        <a:pt x="71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4" name="Freeform 218"/>
                <p:cNvSpPr>
                  <a:spLocks/>
                </p:cNvSpPr>
                <p:nvPr userDrawn="1"/>
              </p:nvSpPr>
              <p:spPr bwMode="auto">
                <a:xfrm>
                  <a:off x="10237333" y="310649"/>
                  <a:ext cx="787400" cy="182563"/>
                </a:xfrm>
                <a:custGeom>
                  <a:avLst/>
                  <a:gdLst>
                    <a:gd name="T0" fmla="*/ 991 w 991"/>
                    <a:gd name="T1" fmla="*/ 230 h 230"/>
                    <a:gd name="T2" fmla="*/ 0 w 991"/>
                    <a:gd name="T3" fmla="*/ 230 h 230"/>
                    <a:gd name="T4" fmla="*/ 0 w 991"/>
                    <a:gd name="T5" fmla="*/ 0 h 230"/>
                    <a:gd name="T6" fmla="*/ 532 w 991"/>
                    <a:gd name="T7" fmla="*/ 0 h 230"/>
                    <a:gd name="T8" fmla="*/ 991 w 991"/>
                    <a:gd name="T9" fmla="*/ 230 h 230"/>
                  </a:gdLst>
                  <a:ahLst/>
                  <a:cxnLst>
                    <a:cxn ang="0">
                      <a:pos x="T0" y="T1"/>
                    </a:cxn>
                    <a:cxn ang="0">
                      <a:pos x="T2" y="T3"/>
                    </a:cxn>
                    <a:cxn ang="0">
                      <a:pos x="T4" y="T5"/>
                    </a:cxn>
                    <a:cxn ang="0">
                      <a:pos x="T6" y="T7"/>
                    </a:cxn>
                    <a:cxn ang="0">
                      <a:pos x="T8" y="T9"/>
                    </a:cxn>
                  </a:cxnLst>
                  <a:rect l="0" t="0" r="r" b="b"/>
                  <a:pathLst>
                    <a:path w="991" h="230">
                      <a:moveTo>
                        <a:pt x="991" y="230"/>
                      </a:moveTo>
                      <a:lnTo>
                        <a:pt x="0" y="230"/>
                      </a:lnTo>
                      <a:lnTo>
                        <a:pt x="0" y="0"/>
                      </a:lnTo>
                      <a:lnTo>
                        <a:pt x="532" y="0"/>
                      </a:lnTo>
                      <a:lnTo>
                        <a:pt x="991" y="230"/>
                      </a:lnTo>
                      <a:close/>
                    </a:path>
                  </a:pathLst>
                </a:custGeom>
                <a:solidFill>
                  <a:srgbClr val="009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5" name="Freeform 219"/>
                <p:cNvSpPr>
                  <a:spLocks/>
                </p:cNvSpPr>
                <p:nvPr userDrawn="1"/>
              </p:nvSpPr>
              <p:spPr bwMode="auto">
                <a:xfrm>
                  <a:off x="10237333" y="310649"/>
                  <a:ext cx="787400" cy="182563"/>
                </a:xfrm>
                <a:custGeom>
                  <a:avLst/>
                  <a:gdLst>
                    <a:gd name="T0" fmla="*/ 991 w 991"/>
                    <a:gd name="T1" fmla="*/ 230 h 230"/>
                    <a:gd name="T2" fmla="*/ 0 w 991"/>
                    <a:gd name="T3" fmla="*/ 230 h 230"/>
                    <a:gd name="T4" fmla="*/ 0 w 991"/>
                    <a:gd name="T5" fmla="*/ 0 h 230"/>
                    <a:gd name="T6" fmla="*/ 532 w 991"/>
                    <a:gd name="T7" fmla="*/ 0 h 230"/>
                    <a:gd name="T8" fmla="*/ 991 w 991"/>
                    <a:gd name="T9" fmla="*/ 230 h 230"/>
                  </a:gdLst>
                  <a:ahLst/>
                  <a:cxnLst>
                    <a:cxn ang="0">
                      <a:pos x="T0" y="T1"/>
                    </a:cxn>
                    <a:cxn ang="0">
                      <a:pos x="T2" y="T3"/>
                    </a:cxn>
                    <a:cxn ang="0">
                      <a:pos x="T4" y="T5"/>
                    </a:cxn>
                    <a:cxn ang="0">
                      <a:pos x="T6" y="T7"/>
                    </a:cxn>
                    <a:cxn ang="0">
                      <a:pos x="T8" y="T9"/>
                    </a:cxn>
                  </a:cxnLst>
                  <a:rect l="0" t="0" r="r" b="b"/>
                  <a:pathLst>
                    <a:path w="991" h="230">
                      <a:moveTo>
                        <a:pt x="991" y="230"/>
                      </a:moveTo>
                      <a:lnTo>
                        <a:pt x="0" y="230"/>
                      </a:lnTo>
                      <a:lnTo>
                        <a:pt x="0" y="0"/>
                      </a:lnTo>
                      <a:lnTo>
                        <a:pt x="532" y="0"/>
                      </a:lnTo>
                      <a:lnTo>
                        <a:pt x="991" y="23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6" name="Freeform 220"/>
                <p:cNvSpPr>
                  <a:spLocks/>
                </p:cNvSpPr>
                <p:nvPr userDrawn="1"/>
              </p:nvSpPr>
              <p:spPr bwMode="auto">
                <a:xfrm>
                  <a:off x="10815183" y="623386"/>
                  <a:ext cx="87313" cy="87313"/>
                </a:xfrm>
                <a:custGeom>
                  <a:avLst/>
                  <a:gdLst>
                    <a:gd name="T0" fmla="*/ 0 w 111"/>
                    <a:gd name="T1" fmla="*/ 56 h 110"/>
                    <a:gd name="T2" fmla="*/ 0 w 111"/>
                    <a:gd name="T3" fmla="*/ 56 h 110"/>
                    <a:gd name="T4" fmla="*/ 2 w 111"/>
                    <a:gd name="T5" fmla="*/ 66 h 110"/>
                    <a:gd name="T6" fmla="*/ 5 w 111"/>
                    <a:gd name="T7" fmla="*/ 77 h 110"/>
                    <a:gd name="T8" fmla="*/ 10 w 111"/>
                    <a:gd name="T9" fmla="*/ 86 h 110"/>
                    <a:gd name="T10" fmla="*/ 17 w 111"/>
                    <a:gd name="T11" fmla="*/ 94 h 110"/>
                    <a:gd name="T12" fmla="*/ 25 w 111"/>
                    <a:gd name="T13" fmla="*/ 101 h 110"/>
                    <a:gd name="T14" fmla="*/ 35 w 111"/>
                    <a:gd name="T15" fmla="*/ 105 h 110"/>
                    <a:gd name="T16" fmla="*/ 44 w 111"/>
                    <a:gd name="T17" fmla="*/ 109 h 110"/>
                    <a:gd name="T18" fmla="*/ 56 w 111"/>
                    <a:gd name="T19" fmla="*/ 110 h 110"/>
                    <a:gd name="T20" fmla="*/ 56 w 111"/>
                    <a:gd name="T21" fmla="*/ 110 h 110"/>
                    <a:gd name="T22" fmla="*/ 67 w 111"/>
                    <a:gd name="T23" fmla="*/ 109 h 110"/>
                    <a:gd name="T24" fmla="*/ 78 w 111"/>
                    <a:gd name="T25" fmla="*/ 105 h 110"/>
                    <a:gd name="T26" fmla="*/ 87 w 111"/>
                    <a:gd name="T27" fmla="*/ 101 h 110"/>
                    <a:gd name="T28" fmla="*/ 95 w 111"/>
                    <a:gd name="T29" fmla="*/ 94 h 110"/>
                    <a:gd name="T30" fmla="*/ 101 w 111"/>
                    <a:gd name="T31" fmla="*/ 86 h 110"/>
                    <a:gd name="T32" fmla="*/ 107 w 111"/>
                    <a:gd name="T33" fmla="*/ 77 h 110"/>
                    <a:gd name="T34" fmla="*/ 110 w 111"/>
                    <a:gd name="T35" fmla="*/ 66 h 110"/>
                    <a:gd name="T36" fmla="*/ 111 w 111"/>
                    <a:gd name="T37" fmla="*/ 56 h 110"/>
                    <a:gd name="T38" fmla="*/ 111 w 111"/>
                    <a:gd name="T39" fmla="*/ 56 h 110"/>
                    <a:gd name="T40" fmla="*/ 110 w 111"/>
                    <a:gd name="T41" fmla="*/ 44 h 110"/>
                    <a:gd name="T42" fmla="*/ 107 w 111"/>
                    <a:gd name="T43" fmla="*/ 34 h 110"/>
                    <a:gd name="T44" fmla="*/ 101 w 111"/>
                    <a:gd name="T45" fmla="*/ 25 h 110"/>
                    <a:gd name="T46" fmla="*/ 95 w 111"/>
                    <a:gd name="T47" fmla="*/ 16 h 110"/>
                    <a:gd name="T48" fmla="*/ 87 w 111"/>
                    <a:gd name="T49" fmla="*/ 9 h 110"/>
                    <a:gd name="T50" fmla="*/ 78 w 111"/>
                    <a:gd name="T51" fmla="*/ 4 h 110"/>
                    <a:gd name="T52" fmla="*/ 67 w 111"/>
                    <a:gd name="T53" fmla="*/ 1 h 110"/>
                    <a:gd name="T54" fmla="*/ 56 w 111"/>
                    <a:gd name="T55" fmla="*/ 0 h 110"/>
                    <a:gd name="T56" fmla="*/ 56 w 111"/>
                    <a:gd name="T57" fmla="*/ 0 h 110"/>
                    <a:gd name="T58" fmla="*/ 44 w 111"/>
                    <a:gd name="T59" fmla="*/ 1 h 110"/>
                    <a:gd name="T60" fmla="*/ 35 w 111"/>
                    <a:gd name="T61" fmla="*/ 4 h 110"/>
                    <a:gd name="T62" fmla="*/ 25 w 111"/>
                    <a:gd name="T63" fmla="*/ 9 h 110"/>
                    <a:gd name="T64" fmla="*/ 17 w 111"/>
                    <a:gd name="T65" fmla="*/ 16 h 110"/>
                    <a:gd name="T66" fmla="*/ 10 w 111"/>
                    <a:gd name="T67" fmla="*/ 25 h 110"/>
                    <a:gd name="T68" fmla="*/ 5 w 111"/>
                    <a:gd name="T69" fmla="*/ 34 h 110"/>
                    <a:gd name="T70" fmla="*/ 2 w 111"/>
                    <a:gd name="T71" fmla="*/ 44 h 110"/>
                    <a:gd name="T72" fmla="*/ 0 w 111"/>
                    <a:gd name="T73" fmla="*/ 56 h 110"/>
                    <a:gd name="T74" fmla="*/ 0 w 111"/>
                    <a:gd name="T75" fmla="*/ 56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1" h="110">
                      <a:moveTo>
                        <a:pt x="0" y="56"/>
                      </a:moveTo>
                      <a:lnTo>
                        <a:pt x="0" y="56"/>
                      </a:lnTo>
                      <a:lnTo>
                        <a:pt x="2" y="66"/>
                      </a:lnTo>
                      <a:lnTo>
                        <a:pt x="5" y="77"/>
                      </a:lnTo>
                      <a:lnTo>
                        <a:pt x="10" y="86"/>
                      </a:lnTo>
                      <a:lnTo>
                        <a:pt x="17" y="94"/>
                      </a:lnTo>
                      <a:lnTo>
                        <a:pt x="25" y="101"/>
                      </a:lnTo>
                      <a:lnTo>
                        <a:pt x="35" y="105"/>
                      </a:lnTo>
                      <a:lnTo>
                        <a:pt x="44" y="109"/>
                      </a:lnTo>
                      <a:lnTo>
                        <a:pt x="56" y="110"/>
                      </a:lnTo>
                      <a:lnTo>
                        <a:pt x="56" y="110"/>
                      </a:lnTo>
                      <a:lnTo>
                        <a:pt x="67" y="109"/>
                      </a:lnTo>
                      <a:lnTo>
                        <a:pt x="78" y="105"/>
                      </a:lnTo>
                      <a:lnTo>
                        <a:pt x="87" y="101"/>
                      </a:lnTo>
                      <a:lnTo>
                        <a:pt x="95" y="94"/>
                      </a:lnTo>
                      <a:lnTo>
                        <a:pt x="101" y="86"/>
                      </a:lnTo>
                      <a:lnTo>
                        <a:pt x="107" y="77"/>
                      </a:lnTo>
                      <a:lnTo>
                        <a:pt x="110" y="66"/>
                      </a:lnTo>
                      <a:lnTo>
                        <a:pt x="111" y="56"/>
                      </a:lnTo>
                      <a:lnTo>
                        <a:pt x="111" y="56"/>
                      </a:lnTo>
                      <a:lnTo>
                        <a:pt x="110" y="44"/>
                      </a:lnTo>
                      <a:lnTo>
                        <a:pt x="107" y="34"/>
                      </a:lnTo>
                      <a:lnTo>
                        <a:pt x="101" y="25"/>
                      </a:lnTo>
                      <a:lnTo>
                        <a:pt x="95" y="16"/>
                      </a:lnTo>
                      <a:lnTo>
                        <a:pt x="87" y="9"/>
                      </a:lnTo>
                      <a:lnTo>
                        <a:pt x="78" y="4"/>
                      </a:lnTo>
                      <a:lnTo>
                        <a:pt x="67" y="1"/>
                      </a:lnTo>
                      <a:lnTo>
                        <a:pt x="56" y="0"/>
                      </a:lnTo>
                      <a:lnTo>
                        <a:pt x="56" y="0"/>
                      </a:lnTo>
                      <a:lnTo>
                        <a:pt x="44" y="1"/>
                      </a:lnTo>
                      <a:lnTo>
                        <a:pt x="35" y="4"/>
                      </a:lnTo>
                      <a:lnTo>
                        <a:pt x="25" y="9"/>
                      </a:lnTo>
                      <a:lnTo>
                        <a:pt x="17" y="16"/>
                      </a:lnTo>
                      <a:lnTo>
                        <a:pt x="10" y="25"/>
                      </a:lnTo>
                      <a:lnTo>
                        <a:pt x="5" y="34"/>
                      </a:lnTo>
                      <a:lnTo>
                        <a:pt x="2" y="44"/>
                      </a:lnTo>
                      <a:lnTo>
                        <a:pt x="0" y="56"/>
                      </a:lnTo>
                      <a:lnTo>
                        <a:pt x="0" y="56"/>
                      </a:lnTo>
                      <a:close/>
                    </a:path>
                  </a:pathLst>
                </a:custGeom>
                <a:solidFill>
                  <a:srgbClr val="009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7" name="Freeform 221"/>
                <p:cNvSpPr>
                  <a:spLocks/>
                </p:cNvSpPr>
                <p:nvPr userDrawn="1"/>
              </p:nvSpPr>
              <p:spPr bwMode="auto">
                <a:xfrm>
                  <a:off x="10846933" y="639261"/>
                  <a:ext cx="42863" cy="42863"/>
                </a:xfrm>
                <a:custGeom>
                  <a:avLst/>
                  <a:gdLst>
                    <a:gd name="T0" fmla="*/ 0 w 52"/>
                    <a:gd name="T1" fmla="*/ 27 h 53"/>
                    <a:gd name="T2" fmla="*/ 0 w 52"/>
                    <a:gd name="T3" fmla="*/ 27 h 53"/>
                    <a:gd name="T4" fmla="*/ 0 w 52"/>
                    <a:gd name="T5" fmla="*/ 32 h 53"/>
                    <a:gd name="T6" fmla="*/ 1 w 52"/>
                    <a:gd name="T7" fmla="*/ 37 h 53"/>
                    <a:gd name="T8" fmla="*/ 4 w 52"/>
                    <a:gd name="T9" fmla="*/ 41 h 53"/>
                    <a:gd name="T10" fmla="*/ 7 w 52"/>
                    <a:gd name="T11" fmla="*/ 45 h 53"/>
                    <a:gd name="T12" fmla="*/ 11 w 52"/>
                    <a:gd name="T13" fmla="*/ 49 h 53"/>
                    <a:gd name="T14" fmla="*/ 15 w 52"/>
                    <a:gd name="T15" fmla="*/ 51 h 53"/>
                    <a:gd name="T16" fmla="*/ 20 w 52"/>
                    <a:gd name="T17" fmla="*/ 52 h 53"/>
                    <a:gd name="T18" fmla="*/ 26 w 52"/>
                    <a:gd name="T19" fmla="*/ 53 h 53"/>
                    <a:gd name="T20" fmla="*/ 26 w 52"/>
                    <a:gd name="T21" fmla="*/ 53 h 53"/>
                    <a:gd name="T22" fmla="*/ 31 w 52"/>
                    <a:gd name="T23" fmla="*/ 52 h 53"/>
                    <a:gd name="T24" fmla="*/ 36 w 52"/>
                    <a:gd name="T25" fmla="*/ 51 h 53"/>
                    <a:gd name="T26" fmla="*/ 40 w 52"/>
                    <a:gd name="T27" fmla="*/ 49 h 53"/>
                    <a:gd name="T28" fmla="*/ 44 w 52"/>
                    <a:gd name="T29" fmla="*/ 45 h 53"/>
                    <a:gd name="T30" fmla="*/ 48 w 52"/>
                    <a:gd name="T31" fmla="*/ 41 h 53"/>
                    <a:gd name="T32" fmla="*/ 50 w 52"/>
                    <a:gd name="T33" fmla="*/ 37 h 53"/>
                    <a:gd name="T34" fmla="*/ 51 w 52"/>
                    <a:gd name="T35" fmla="*/ 32 h 53"/>
                    <a:gd name="T36" fmla="*/ 52 w 52"/>
                    <a:gd name="T37" fmla="*/ 27 h 53"/>
                    <a:gd name="T38" fmla="*/ 52 w 52"/>
                    <a:gd name="T39" fmla="*/ 27 h 53"/>
                    <a:gd name="T40" fmla="*/ 51 w 52"/>
                    <a:gd name="T41" fmla="*/ 21 h 53"/>
                    <a:gd name="T42" fmla="*/ 50 w 52"/>
                    <a:gd name="T43" fmla="*/ 17 h 53"/>
                    <a:gd name="T44" fmla="*/ 48 w 52"/>
                    <a:gd name="T45" fmla="*/ 12 h 53"/>
                    <a:gd name="T46" fmla="*/ 44 w 52"/>
                    <a:gd name="T47" fmla="*/ 8 h 53"/>
                    <a:gd name="T48" fmla="*/ 40 w 52"/>
                    <a:gd name="T49" fmla="*/ 5 h 53"/>
                    <a:gd name="T50" fmla="*/ 36 w 52"/>
                    <a:gd name="T51" fmla="*/ 2 h 53"/>
                    <a:gd name="T52" fmla="*/ 31 w 52"/>
                    <a:gd name="T53" fmla="*/ 1 h 53"/>
                    <a:gd name="T54" fmla="*/ 26 w 52"/>
                    <a:gd name="T55" fmla="*/ 0 h 53"/>
                    <a:gd name="T56" fmla="*/ 26 w 52"/>
                    <a:gd name="T57" fmla="*/ 0 h 53"/>
                    <a:gd name="T58" fmla="*/ 20 w 52"/>
                    <a:gd name="T59" fmla="*/ 1 h 53"/>
                    <a:gd name="T60" fmla="*/ 15 w 52"/>
                    <a:gd name="T61" fmla="*/ 2 h 53"/>
                    <a:gd name="T62" fmla="*/ 11 w 52"/>
                    <a:gd name="T63" fmla="*/ 5 h 53"/>
                    <a:gd name="T64" fmla="*/ 7 w 52"/>
                    <a:gd name="T65" fmla="*/ 8 h 53"/>
                    <a:gd name="T66" fmla="*/ 4 w 52"/>
                    <a:gd name="T67" fmla="*/ 12 h 53"/>
                    <a:gd name="T68" fmla="*/ 1 w 52"/>
                    <a:gd name="T69" fmla="*/ 17 h 53"/>
                    <a:gd name="T70" fmla="*/ 0 w 52"/>
                    <a:gd name="T71" fmla="*/ 21 h 53"/>
                    <a:gd name="T72" fmla="*/ 0 w 52"/>
                    <a:gd name="T73" fmla="*/ 27 h 53"/>
                    <a:gd name="T74" fmla="*/ 0 w 52"/>
                    <a:gd name="T75"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53">
                      <a:moveTo>
                        <a:pt x="0" y="27"/>
                      </a:moveTo>
                      <a:lnTo>
                        <a:pt x="0" y="27"/>
                      </a:lnTo>
                      <a:lnTo>
                        <a:pt x="0" y="32"/>
                      </a:lnTo>
                      <a:lnTo>
                        <a:pt x="1" y="37"/>
                      </a:lnTo>
                      <a:lnTo>
                        <a:pt x="4" y="41"/>
                      </a:lnTo>
                      <a:lnTo>
                        <a:pt x="7" y="45"/>
                      </a:lnTo>
                      <a:lnTo>
                        <a:pt x="11" y="49"/>
                      </a:lnTo>
                      <a:lnTo>
                        <a:pt x="15" y="51"/>
                      </a:lnTo>
                      <a:lnTo>
                        <a:pt x="20" y="52"/>
                      </a:lnTo>
                      <a:lnTo>
                        <a:pt x="26" y="53"/>
                      </a:lnTo>
                      <a:lnTo>
                        <a:pt x="26" y="53"/>
                      </a:lnTo>
                      <a:lnTo>
                        <a:pt x="31" y="52"/>
                      </a:lnTo>
                      <a:lnTo>
                        <a:pt x="36" y="51"/>
                      </a:lnTo>
                      <a:lnTo>
                        <a:pt x="40" y="49"/>
                      </a:lnTo>
                      <a:lnTo>
                        <a:pt x="44" y="45"/>
                      </a:lnTo>
                      <a:lnTo>
                        <a:pt x="48" y="41"/>
                      </a:lnTo>
                      <a:lnTo>
                        <a:pt x="50" y="37"/>
                      </a:lnTo>
                      <a:lnTo>
                        <a:pt x="51" y="32"/>
                      </a:lnTo>
                      <a:lnTo>
                        <a:pt x="52" y="27"/>
                      </a:lnTo>
                      <a:lnTo>
                        <a:pt x="52" y="27"/>
                      </a:lnTo>
                      <a:lnTo>
                        <a:pt x="51" y="21"/>
                      </a:lnTo>
                      <a:lnTo>
                        <a:pt x="50" y="17"/>
                      </a:lnTo>
                      <a:lnTo>
                        <a:pt x="48" y="12"/>
                      </a:lnTo>
                      <a:lnTo>
                        <a:pt x="44" y="8"/>
                      </a:lnTo>
                      <a:lnTo>
                        <a:pt x="40" y="5"/>
                      </a:lnTo>
                      <a:lnTo>
                        <a:pt x="36" y="2"/>
                      </a:lnTo>
                      <a:lnTo>
                        <a:pt x="31" y="1"/>
                      </a:lnTo>
                      <a:lnTo>
                        <a:pt x="26" y="0"/>
                      </a:lnTo>
                      <a:lnTo>
                        <a:pt x="26" y="0"/>
                      </a:lnTo>
                      <a:lnTo>
                        <a:pt x="20" y="1"/>
                      </a:lnTo>
                      <a:lnTo>
                        <a:pt x="15" y="2"/>
                      </a:lnTo>
                      <a:lnTo>
                        <a:pt x="11" y="5"/>
                      </a:lnTo>
                      <a:lnTo>
                        <a:pt x="7" y="8"/>
                      </a:lnTo>
                      <a:lnTo>
                        <a:pt x="4" y="12"/>
                      </a:lnTo>
                      <a:lnTo>
                        <a:pt x="1" y="17"/>
                      </a:lnTo>
                      <a:lnTo>
                        <a:pt x="0" y="21"/>
                      </a:lnTo>
                      <a:lnTo>
                        <a:pt x="0" y="27"/>
                      </a:lnTo>
                      <a:lnTo>
                        <a:pt x="0"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8" name="Freeform 222"/>
                <p:cNvSpPr>
                  <a:spLocks/>
                </p:cNvSpPr>
                <p:nvPr userDrawn="1"/>
              </p:nvSpPr>
              <p:spPr bwMode="auto">
                <a:xfrm>
                  <a:off x="10604046" y="363036"/>
                  <a:ext cx="79375" cy="80963"/>
                </a:xfrm>
                <a:custGeom>
                  <a:avLst/>
                  <a:gdLst>
                    <a:gd name="T0" fmla="*/ 0 w 101"/>
                    <a:gd name="T1" fmla="*/ 50 h 101"/>
                    <a:gd name="T2" fmla="*/ 0 w 101"/>
                    <a:gd name="T3" fmla="*/ 50 h 101"/>
                    <a:gd name="T4" fmla="*/ 1 w 101"/>
                    <a:gd name="T5" fmla="*/ 60 h 101"/>
                    <a:gd name="T6" fmla="*/ 4 w 101"/>
                    <a:gd name="T7" fmla="*/ 70 h 101"/>
                    <a:gd name="T8" fmla="*/ 8 w 101"/>
                    <a:gd name="T9" fmla="*/ 78 h 101"/>
                    <a:gd name="T10" fmla="*/ 14 w 101"/>
                    <a:gd name="T11" fmla="*/ 87 h 101"/>
                    <a:gd name="T12" fmla="*/ 23 w 101"/>
                    <a:gd name="T13" fmla="*/ 92 h 101"/>
                    <a:gd name="T14" fmla="*/ 31 w 101"/>
                    <a:gd name="T15" fmla="*/ 97 h 101"/>
                    <a:gd name="T16" fmla="*/ 40 w 101"/>
                    <a:gd name="T17" fmla="*/ 100 h 101"/>
                    <a:gd name="T18" fmla="*/ 50 w 101"/>
                    <a:gd name="T19" fmla="*/ 101 h 101"/>
                    <a:gd name="T20" fmla="*/ 50 w 101"/>
                    <a:gd name="T21" fmla="*/ 101 h 101"/>
                    <a:gd name="T22" fmla="*/ 61 w 101"/>
                    <a:gd name="T23" fmla="*/ 100 h 101"/>
                    <a:gd name="T24" fmla="*/ 70 w 101"/>
                    <a:gd name="T25" fmla="*/ 97 h 101"/>
                    <a:gd name="T26" fmla="*/ 78 w 101"/>
                    <a:gd name="T27" fmla="*/ 92 h 101"/>
                    <a:gd name="T28" fmla="*/ 87 w 101"/>
                    <a:gd name="T29" fmla="*/ 87 h 101"/>
                    <a:gd name="T30" fmla="*/ 93 w 101"/>
                    <a:gd name="T31" fmla="*/ 78 h 101"/>
                    <a:gd name="T32" fmla="*/ 98 w 101"/>
                    <a:gd name="T33" fmla="*/ 70 h 101"/>
                    <a:gd name="T34" fmla="*/ 100 w 101"/>
                    <a:gd name="T35" fmla="*/ 60 h 101"/>
                    <a:gd name="T36" fmla="*/ 101 w 101"/>
                    <a:gd name="T37" fmla="*/ 50 h 101"/>
                    <a:gd name="T38" fmla="*/ 101 w 101"/>
                    <a:gd name="T39" fmla="*/ 50 h 101"/>
                    <a:gd name="T40" fmla="*/ 100 w 101"/>
                    <a:gd name="T41" fmla="*/ 40 h 101"/>
                    <a:gd name="T42" fmla="*/ 98 w 101"/>
                    <a:gd name="T43" fmla="*/ 31 h 101"/>
                    <a:gd name="T44" fmla="*/ 93 w 101"/>
                    <a:gd name="T45" fmla="*/ 22 h 101"/>
                    <a:gd name="T46" fmla="*/ 87 w 101"/>
                    <a:gd name="T47" fmla="*/ 14 h 101"/>
                    <a:gd name="T48" fmla="*/ 78 w 101"/>
                    <a:gd name="T49" fmla="*/ 8 h 101"/>
                    <a:gd name="T50" fmla="*/ 70 w 101"/>
                    <a:gd name="T51" fmla="*/ 3 h 101"/>
                    <a:gd name="T52" fmla="*/ 61 w 101"/>
                    <a:gd name="T53" fmla="*/ 1 h 101"/>
                    <a:gd name="T54" fmla="*/ 50 w 101"/>
                    <a:gd name="T55" fmla="*/ 0 h 101"/>
                    <a:gd name="T56" fmla="*/ 50 w 101"/>
                    <a:gd name="T57" fmla="*/ 0 h 101"/>
                    <a:gd name="T58" fmla="*/ 40 w 101"/>
                    <a:gd name="T59" fmla="*/ 1 h 101"/>
                    <a:gd name="T60" fmla="*/ 31 w 101"/>
                    <a:gd name="T61" fmla="*/ 3 h 101"/>
                    <a:gd name="T62" fmla="*/ 23 w 101"/>
                    <a:gd name="T63" fmla="*/ 8 h 101"/>
                    <a:gd name="T64" fmla="*/ 14 w 101"/>
                    <a:gd name="T65" fmla="*/ 14 h 101"/>
                    <a:gd name="T66" fmla="*/ 8 w 101"/>
                    <a:gd name="T67" fmla="*/ 22 h 101"/>
                    <a:gd name="T68" fmla="*/ 4 w 101"/>
                    <a:gd name="T69" fmla="*/ 31 h 101"/>
                    <a:gd name="T70" fmla="*/ 1 w 101"/>
                    <a:gd name="T71" fmla="*/ 40 h 101"/>
                    <a:gd name="T72" fmla="*/ 0 w 101"/>
                    <a:gd name="T73" fmla="*/ 50 h 101"/>
                    <a:gd name="T74" fmla="*/ 0 w 101"/>
                    <a:gd name="T7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1" h="101">
                      <a:moveTo>
                        <a:pt x="0" y="50"/>
                      </a:moveTo>
                      <a:lnTo>
                        <a:pt x="0" y="50"/>
                      </a:lnTo>
                      <a:lnTo>
                        <a:pt x="1" y="60"/>
                      </a:lnTo>
                      <a:lnTo>
                        <a:pt x="4" y="70"/>
                      </a:lnTo>
                      <a:lnTo>
                        <a:pt x="8" y="78"/>
                      </a:lnTo>
                      <a:lnTo>
                        <a:pt x="14" y="87"/>
                      </a:lnTo>
                      <a:lnTo>
                        <a:pt x="23" y="92"/>
                      </a:lnTo>
                      <a:lnTo>
                        <a:pt x="31" y="97"/>
                      </a:lnTo>
                      <a:lnTo>
                        <a:pt x="40" y="100"/>
                      </a:lnTo>
                      <a:lnTo>
                        <a:pt x="50" y="101"/>
                      </a:lnTo>
                      <a:lnTo>
                        <a:pt x="50" y="101"/>
                      </a:lnTo>
                      <a:lnTo>
                        <a:pt x="61" y="100"/>
                      </a:lnTo>
                      <a:lnTo>
                        <a:pt x="70" y="97"/>
                      </a:lnTo>
                      <a:lnTo>
                        <a:pt x="78" y="92"/>
                      </a:lnTo>
                      <a:lnTo>
                        <a:pt x="87" y="87"/>
                      </a:lnTo>
                      <a:lnTo>
                        <a:pt x="93" y="78"/>
                      </a:lnTo>
                      <a:lnTo>
                        <a:pt x="98" y="70"/>
                      </a:lnTo>
                      <a:lnTo>
                        <a:pt x="100" y="60"/>
                      </a:lnTo>
                      <a:lnTo>
                        <a:pt x="101" y="50"/>
                      </a:lnTo>
                      <a:lnTo>
                        <a:pt x="101" y="50"/>
                      </a:lnTo>
                      <a:lnTo>
                        <a:pt x="100" y="40"/>
                      </a:lnTo>
                      <a:lnTo>
                        <a:pt x="98" y="31"/>
                      </a:lnTo>
                      <a:lnTo>
                        <a:pt x="93" y="22"/>
                      </a:lnTo>
                      <a:lnTo>
                        <a:pt x="87" y="14"/>
                      </a:lnTo>
                      <a:lnTo>
                        <a:pt x="78" y="8"/>
                      </a:lnTo>
                      <a:lnTo>
                        <a:pt x="70" y="3"/>
                      </a:lnTo>
                      <a:lnTo>
                        <a:pt x="61" y="1"/>
                      </a:lnTo>
                      <a:lnTo>
                        <a:pt x="50" y="0"/>
                      </a:lnTo>
                      <a:lnTo>
                        <a:pt x="50" y="0"/>
                      </a:lnTo>
                      <a:lnTo>
                        <a:pt x="40" y="1"/>
                      </a:lnTo>
                      <a:lnTo>
                        <a:pt x="31" y="3"/>
                      </a:lnTo>
                      <a:lnTo>
                        <a:pt x="23" y="8"/>
                      </a:lnTo>
                      <a:lnTo>
                        <a:pt x="14" y="14"/>
                      </a:lnTo>
                      <a:lnTo>
                        <a:pt x="8" y="22"/>
                      </a:lnTo>
                      <a:lnTo>
                        <a:pt x="4" y="31"/>
                      </a:lnTo>
                      <a:lnTo>
                        <a:pt x="1" y="40"/>
                      </a:lnTo>
                      <a:lnTo>
                        <a:pt x="0" y="50"/>
                      </a:lnTo>
                      <a:lnTo>
                        <a:pt x="0" y="50"/>
                      </a:lnTo>
                      <a:close/>
                    </a:path>
                  </a:pathLst>
                </a:custGeom>
                <a:solidFill>
                  <a:srgbClr val="D0D5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9" name="Freeform 223"/>
                <p:cNvSpPr>
                  <a:spLocks/>
                </p:cNvSpPr>
                <p:nvPr userDrawn="1"/>
              </p:nvSpPr>
              <p:spPr bwMode="auto">
                <a:xfrm>
                  <a:off x="10443708" y="363036"/>
                  <a:ext cx="80963" cy="80963"/>
                </a:xfrm>
                <a:custGeom>
                  <a:avLst/>
                  <a:gdLst>
                    <a:gd name="T0" fmla="*/ 0 w 101"/>
                    <a:gd name="T1" fmla="*/ 50 h 101"/>
                    <a:gd name="T2" fmla="*/ 0 w 101"/>
                    <a:gd name="T3" fmla="*/ 50 h 101"/>
                    <a:gd name="T4" fmla="*/ 1 w 101"/>
                    <a:gd name="T5" fmla="*/ 60 h 101"/>
                    <a:gd name="T6" fmla="*/ 4 w 101"/>
                    <a:gd name="T7" fmla="*/ 70 h 101"/>
                    <a:gd name="T8" fmla="*/ 8 w 101"/>
                    <a:gd name="T9" fmla="*/ 78 h 101"/>
                    <a:gd name="T10" fmla="*/ 14 w 101"/>
                    <a:gd name="T11" fmla="*/ 87 h 101"/>
                    <a:gd name="T12" fmla="*/ 23 w 101"/>
                    <a:gd name="T13" fmla="*/ 92 h 101"/>
                    <a:gd name="T14" fmla="*/ 31 w 101"/>
                    <a:gd name="T15" fmla="*/ 97 h 101"/>
                    <a:gd name="T16" fmla="*/ 40 w 101"/>
                    <a:gd name="T17" fmla="*/ 100 h 101"/>
                    <a:gd name="T18" fmla="*/ 51 w 101"/>
                    <a:gd name="T19" fmla="*/ 101 h 101"/>
                    <a:gd name="T20" fmla="*/ 51 w 101"/>
                    <a:gd name="T21" fmla="*/ 101 h 101"/>
                    <a:gd name="T22" fmla="*/ 61 w 101"/>
                    <a:gd name="T23" fmla="*/ 100 h 101"/>
                    <a:gd name="T24" fmla="*/ 70 w 101"/>
                    <a:gd name="T25" fmla="*/ 97 h 101"/>
                    <a:gd name="T26" fmla="*/ 79 w 101"/>
                    <a:gd name="T27" fmla="*/ 92 h 101"/>
                    <a:gd name="T28" fmla="*/ 87 w 101"/>
                    <a:gd name="T29" fmla="*/ 87 h 101"/>
                    <a:gd name="T30" fmla="*/ 93 w 101"/>
                    <a:gd name="T31" fmla="*/ 78 h 101"/>
                    <a:gd name="T32" fmla="*/ 98 w 101"/>
                    <a:gd name="T33" fmla="*/ 70 h 101"/>
                    <a:gd name="T34" fmla="*/ 100 w 101"/>
                    <a:gd name="T35" fmla="*/ 60 h 101"/>
                    <a:gd name="T36" fmla="*/ 101 w 101"/>
                    <a:gd name="T37" fmla="*/ 50 h 101"/>
                    <a:gd name="T38" fmla="*/ 101 w 101"/>
                    <a:gd name="T39" fmla="*/ 50 h 101"/>
                    <a:gd name="T40" fmla="*/ 100 w 101"/>
                    <a:gd name="T41" fmla="*/ 40 h 101"/>
                    <a:gd name="T42" fmla="*/ 98 w 101"/>
                    <a:gd name="T43" fmla="*/ 31 h 101"/>
                    <a:gd name="T44" fmla="*/ 93 w 101"/>
                    <a:gd name="T45" fmla="*/ 22 h 101"/>
                    <a:gd name="T46" fmla="*/ 87 w 101"/>
                    <a:gd name="T47" fmla="*/ 14 h 101"/>
                    <a:gd name="T48" fmla="*/ 79 w 101"/>
                    <a:gd name="T49" fmla="*/ 8 h 101"/>
                    <a:gd name="T50" fmla="*/ 70 w 101"/>
                    <a:gd name="T51" fmla="*/ 3 h 101"/>
                    <a:gd name="T52" fmla="*/ 61 w 101"/>
                    <a:gd name="T53" fmla="*/ 1 h 101"/>
                    <a:gd name="T54" fmla="*/ 51 w 101"/>
                    <a:gd name="T55" fmla="*/ 0 h 101"/>
                    <a:gd name="T56" fmla="*/ 51 w 101"/>
                    <a:gd name="T57" fmla="*/ 0 h 101"/>
                    <a:gd name="T58" fmla="*/ 40 w 101"/>
                    <a:gd name="T59" fmla="*/ 1 h 101"/>
                    <a:gd name="T60" fmla="*/ 31 w 101"/>
                    <a:gd name="T61" fmla="*/ 3 h 101"/>
                    <a:gd name="T62" fmla="*/ 23 w 101"/>
                    <a:gd name="T63" fmla="*/ 8 h 101"/>
                    <a:gd name="T64" fmla="*/ 14 w 101"/>
                    <a:gd name="T65" fmla="*/ 14 h 101"/>
                    <a:gd name="T66" fmla="*/ 8 w 101"/>
                    <a:gd name="T67" fmla="*/ 22 h 101"/>
                    <a:gd name="T68" fmla="*/ 4 w 101"/>
                    <a:gd name="T69" fmla="*/ 31 h 101"/>
                    <a:gd name="T70" fmla="*/ 1 w 101"/>
                    <a:gd name="T71" fmla="*/ 40 h 101"/>
                    <a:gd name="T72" fmla="*/ 0 w 101"/>
                    <a:gd name="T73" fmla="*/ 50 h 101"/>
                    <a:gd name="T74" fmla="*/ 0 w 101"/>
                    <a:gd name="T7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1" h="101">
                      <a:moveTo>
                        <a:pt x="0" y="50"/>
                      </a:moveTo>
                      <a:lnTo>
                        <a:pt x="0" y="50"/>
                      </a:lnTo>
                      <a:lnTo>
                        <a:pt x="1" y="60"/>
                      </a:lnTo>
                      <a:lnTo>
                        <a:pt x="4" y="70"/>
                      </a:lnTo>
                      <a:lnTo>
                        <a:pt x="8" y="78"/>
                      </a:lnTo>
                      <a:lnTo>
                        <a:pt x="14" y="87"/>
                      </a:lnTo>
                      <a:lnTo>
                        <a:pt x="23" y="92"/>
                      </a:lnTo>
                      <a:lnTo>
                        <a:pt x="31" y="97"/>
                      </a:lnTo>
                      <a:lnTo>
                        <a:pt x="40" y="100"/>
                      </a:lnTo>
                      <a:lnTo>
                        <a:pt x="51" y="101"/>
                      </a:lnTo>
                      <a:lnTo>
                        <a:pt x="51" y="101"/>
                      </a:lnTo>
                      <a:lnTo>
                        <a:pt x="61" y="100"/>
                      </a:lnTo>
                      <a:lnTo>
                        <a:pt x="70" y="97"/>
                      </a:lnTo>
                      <a:lnTo>
                        <a:pt x="79" y="92"/>
                      </a:lnTo>
                      <a:lnTo>
                        <a:pt x="87" y="87"/>
                      </a:lnTo>
                      <a:lnTo>
                        <a:pt x="93" y="78"/>
                      </a:lnTo>
                      <a:lnTo>
                        <a:pt x="98" y="70"/>
                      </a:lnTo>
                      <a:lnTo>
                        <a:pt x="100" y="60"/>
                      </a:lnTo>
                      <a:lnTo>
                        <a:pt x="101" y="50"/>
                      </a:lnTo>
                      <a:lnTo>
                        <a:pt x="101" y="50"/>
                      </a:lnTo>
                      <a:lnTo>
                        <a:pt x="100" y="40"/>
                      </a:lnTo>
                      <a:lnTo>
                        <a:pt x="98" y="31"/>
                      </a:lnTo>
                      <a:lnTo>
                        <a:pt x="93" y="22"/>
                      </a:lnTo>
                      <a:lnTo>
                        <a:pt x="87" y="14"/>
                      </a:lnTo>
                      <a:lnTo>
                        <a:pt x="79" y="8"/>
                      </a:lnTo>
                      <a:lnTo>
                        <a:pt x="70" y="3"/>
                      </a:lnTo>
                      <a:lnTo>
                        <a:pt x="61" y="1"/>
                      </a:lnTo>
                      <a:lnTo>
                        <a:pt x="51" y="0"/>
                      </a:lnTo>
                      <a:lnTo>
                        <a:pt x="51" y="0"/>
                      </a:lnTo>
                      <a:lnTo>
                        <a:pt x="40" y="1"/>
                      </a:lnTo>
                      <a:lnTo>
                        <a:pt x="31" y="3"/>
                      </a:lnTo>
                      <a:lnTo>
                        <a:pt x="23" y="8"/>
                      </a:lnTo>
                      <a:lnTo>
                        <a:pt x="14" y="14"/>
                      </a:lnTo>
                      <a:lnTo>
                        <a:pt x="8" y="22"/>
                      </a:lnTo>
                      <a:lnTo>
                        <a:pt x="4" y="31"/>
                      </a:lnTo>
                      <a:lnTo>
                        <a:pt x="1" y="40"/>
                      </a:lnTo>
                      <a:lnTo>
                        <a:pt x="0" y="50"/>
                      </a:lnTo>
                      <a:lnTo>
                        <a:pt x="0" y="50"/>
                      </a:lnTo>
                      <a:close/>
                    </a:path>
                  </a:pathLst>
                </a:custGeom>
                <a:solidFill>
                  <a:srgbClr val="D0D5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0" name="Freeform 224"/>
                <p:cNvSpPr>
                  <a:spLocks/>
                </p:cNvSpPr>
                <p:nvPr userDrawn="1"/>
              </p:nvSpPr>
              <p:spPr bwMode="auto">
                <a:xfrm>
                  <a:off x="10284958" y="363036"/>
                  <a:ext cx="79375" cy="80963"/>
                </a:xfrm>
                <a:custGeom>
                  <a:avLst/>
                  <a:gdLst>
                    <a:gd name="T0" fmla="*/ 0 w 101"/>
                    <a:gd name="T1" fmla="*/ 50 h 101"/>
                    <a:gd name="T2" fmla="*/ 0 w 101"/>
                    <a:gd name="T3" fmla="*/ 50 h 101"/>
                    <a:gd name="T4" fmla="*/ 1 w 101"/>
                    <a:gd name="T5" fmla="*/ 60 h 101"/>
                    <a:gd name="T6" fmla="*/ 4 w 101"/>
                    <a:gd name="T7" fmla="*/ 70 h 101"/>
                    <a:gd name="T8" fmla="*/ 8 w 101"/>
                    <a:gd name="T9" fmla="*/ 78 h 101"/>
                    <a:gd name="T10" fmla="*/ 14 w 101"/>
                    <a:gd name="T11" fmla="*/ 87 h 101"/>
                    <a:gd name="T12" fmla="*/ 23 w 101"/>
                    <a:gd name="T13" fmla="*/ 92 h 101"/>
                    <a:gd name="T14" fmla="*/ 31 w 101"/>
                    <a:gd name="T15" fmla="*/ 97 h 101"/>
                    <a:gd name="T16" fmla="*/ 41 w 101"/>
                    <a:gd name="T17" fmla="*/ 100 h 101"/>
                    <a:gd name="T18" fmla="*/ 51 w 101"/>
                    <a:gd name="T19" fmla="*/ 101 h 101"/>
                    <a:gd name="T20" fmla="*/ 51 w 101"/>
                    <a:gd name="T21" fmla="*/ 101 h 101"/>
                    <a:gd name="T22" fmla="*/ 61 w 101"/>
                    <a:gd name="T23" fmla="*/ 100 h 101"/>
                    <a:gd name="T24" fmla="*/ 70 w 101"/>
                    <a:gd name="T25" fmla="*/ 97 h 101"/>
                    <a:gd name="T26" fmla="*/ 79 w 101"/>
                    <a:gd name="T27" fmla="*/ 92 h 101"/>
                    <a:gd name="T28" fmla="*/ 87 w 101"/>
                    <a:gd name="T29" fmla="*/ 87 h 101"/>
                    <a:gd name="T30" fmla="*/ 93 w 101"/>
                    <a:gd name="T31" fmla="*/ 78 h 101"/>
                    <a:gd name="T32" fmla="*/ 98 w 101"/>
                    <a:gd name="T33" fmla="*/ 70 h 101"/>
                    <a:gd name="T34" fmla="*/ 100 w 101"/>
                    <a:gd name="T35" fmla="*/ 60 h 101"/>
                    <a:gd name="T36" fmla="*/ 101 w 101"/>
                    <a:gd name="T37" fmla="*/ 50 h 101"/>
                    <a:gd name="T38" fmla="*/ 101 w 101"/>
                    <a:gd name="T39" fmla="*/ 50 h 101"/>
                    <a:gd name="T40" fmla="*/ 100 w 101"/>
                    <a:gd name="T41" fmla="*/ 40 h 101"/>
                    <a:gd name="T42" fmla="*/ 98 w 101"/>
                    <a:gd name="T43" fmla="*/ 31 h 101"/>
                    <a:gd name="T44" fmla="*/ 93 w 101"/>
                    <a:gd name="T45" fmla="*/ 22 h 101"/>
                    <a:gd name="T46" fmla="*/ 87 w 101"/>
                    <a:gd name="T47" fmla="*/ 14 h 101"/>
                    <a:gd name="T48" fmla="*/ 79 w 101"/>
                    <a:gd name="T49" fmla="*/ 8 h 101"/>
                    <a:gd name="T50" fmla="*/ 70 w 101"/>
                    <a:gd name="T51" fmla="*/ 3 h 101"/>
                    <a:gd name="T52" fmla="*/ 61 w 101"/>
                    <a:gd name="T53" fmla="*/ 1 h 101"/>
                    <a:gd name="T54" fmla="*/ 51 w 101"/>
                    <a:gd name="T55" fmla="*/ 0 h 101"/>
                    <a:gd name="T56" fmla="*/ 51 w 101"/>
                    <a:gd name="T57" fmla="*/ 0 h 101"/>
                    <a:gd name="T58" fmla="*/ 41 w 101"/>
                    <a:gd name="T59" fmla="*/ 1 h 101"/>
                    <a:gd name="T60" fmla="*/ 31 w 101"/>
                    <a:gd name="T61" fmla="*/ 3 h 101"/>
                    <a:gd name="T62" fmla="*/ 23 w 101"/>
                    <a:gd name="T63" fmla="*/ 8 h 101"/>
                    <a:gd name="T64" fmla="*/ 14 w 101"/>
                    <a:gd name="T65" fmla="*/ 14 h 101"/>
                    <a:gd name="T66" fmla="*/ 8 w 101"/>
                    <a:gd name="T67" fmla="*/ 22 h 101"/>
                    <a:gd name="T68" fmla="*/ 4 w 101"/>
                    <a:gd name="T69" fmla="*/ 31 h 101"/>
                    <a:gd name="T70" fmla="*/ 1 w 101"/>
                    <a:gd name="T71" fmla="*/ 40 h 101"/>
                    <a:gd name="T72" fmla="*/ 0 w 101"/>
                    <a:gd name="T73" fmla="*/ 50 h 101"/>
                    <a:gd name="T74" fmla="*/ 0 w 101"/>
                    <a:gd name="T7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1" h="101">
                      <a:moveTo>
                        <a:pt x="0" y="50"/>
                      </a:moveTo>
                      <a:lnTo>
                        <a:pt x="0" y="50"/>
                      </a:lnTo>
                      <a:lnTo>
                        <a:pt x="1" y="60"/>
                      </a:lnTo>
                      <a:lnTo>
                        <a:pt x="4" y="70"/>
                      </a:lnTo>
                      <a:lnTo>
                        <a:pt x="8" y="78"/>
                      </a:lnTo>
                      <a:lnTo>
                        <a:pt x="14" y="87"/>
                      </a:lnTo>
                      <a:lnTo>
                        <a:pt x="23" y="92"/>
                      </a:lnTo>
                      <a:lnTo>
                        <a:pt x="31" y="97"/>
                      </a:lnTo>
                      <a:lnTo>
                        <a:pt x="41" y="100"/>
                      </a:lnTo>
                      <a:lnTo>
                        <a:pt x="51" y="101"/>
                      </a:lnTo>
                      <a:lnTo>
                        <a:pt x="51" y="101"/>
                      </a:lnTo>
                      <a:lnTo>
                        <a:pt x="61" y="100"/>
                      </a:lnTo>
                      <a:lnTo>
                        <a:pt x="70" y="97"/>
                      </a:lnTo>
                      <a:lnTo>
                        <a:pt x="79" y="92"/>
                      </a:lnTo>
                      <a:lnTo>
                        <a:pt x="87" y="87"/>
                      </a:lnTo>
                      <a:lnTo>
                        <a:pt x="93" y="78"/>
                      </a:lnTo>
                      <a:lnTo>
                        <a:pt x="98" y="70"/>
                      </a:lnTo>
                      <a:lnTo>
                        <a:pt x="100" y="60"/>
                      </a:lnTo>
                      <a:lnTo>
                        <a:pt x="101" y="50"/>
                      </a:lnTo>
                      <a:lnTo>
                        <a:pt x="101" y="50"/>
                      </a:lnTo>
                      <a:lnTo>
                        <a:pt x="100" y="40"/>
                      </a:lnTo>
                      <a:lnTo>
                        <a:pt x="98" y="31"/>
                      </a:lnTo>
                      <a:lnTo>
                        <a:pt x="93" y="22"/>
                      </a:lnTo>
                      <a:lnTo>
                        <a:pt x="87" y="14"/>
                      </a:lnTo>
                      <a:lnTo>
                        <a:pt x="79" y="8"/>
                      </a:lnTo>
                      <a:lnTo>
                        <a:pt x="70" y="3"/>
                      </a:lnTo>
                      <a:lnTo>
                        <a:pt x="61" y="1"/>
                      </a:lnTo>
                      <a:lnTo>
                        <a:pt x="51" y="0"/>
                      </a:lnTo>
                      <a:lnTo>
                        <a:pt x="51" y="0"/>
                      </a:lnTo>
                      <a:lnTo>
                        <a:pt x="41" y="1"/>
                      </a:lnTo>
                      <a:lnTo>
                        <a:pt x="31" y="3"/>
                      </a:lnTo>
                      <a:lnTo>
                        <a:pt x="23" y="8"/>
                      </a:lnTo>
                      <a:lnTo>
                        <a:pt x="14" y="14"/>
                      </a:lnTo>
                      <a:lnTo>
                        <a:pt x="8" y="22"/>
                      </a:lnTo>
                      <a:lnTo>
                        <a:pt x="4" y="31"/>
                      </a:lnTo>
                      <a:lnTo>
                        <a:pt x="1" y="40"/>
                      </a:lnTo>
                      <a:lnTo>
                        <a:pt x="0" y="50"/>
                      </a:lnTo>
                      <a:lnTo>
                        <a:pt x="0" y="50"/>
                      </a:lnTo>
                      <a:close/>
                    </a:path>
                  </a:pathLst>
                </a:custGeom>
                <a:solidFill>
                  <a:srgbClr val="D0D5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1" name="Freeform 225"/>
                <p:cNvSpPr>
                  <a:spLocks/>
                </p:cNvSpPr>
                <p:nvPr userDrawn="1"/>
              </p:nvSpPr>
              <p:spPr bwMode="auto">
                <a:xfrm>
                  <a:off x="10237333" y="661486"/>
                  <a:ext cx="188913" cy="92075"/>
                </a:xfrm>
                <a:custGeom>
                  <a:avLst/>
                  <a:gdLst>
                    <a:gd name="T0" fmla="*/ 237 w 237"/>
                    <a:gd name="T1" fmla="*/ 99 h 117"/>
                    <a:gd name="T2" fmla="*/ 237 w 237"/>
                    <a:gd name="T3" fmla="*/ 99 h 117"/>
                    <a:gd name="T4" fmla="*/ 180 w 237"/>
                    <a:gd name="T5" fmla="*/ 106 h 117"/>
                    <a:gd name="T6" fmla="*/ 122 w 237"/>
                    <a:gd name="T7" fmla="*/ 112 h 117"/>
                    <a:gd name="T8" fmla="*/ 61 w 237"/>
                    <a:gd name="T9" fmla="*/ 116 h 117"/>
                    <a:gd name="T10" fmla="*/ 0 w 237"/>
                    <a:gd name="T11" fmla="*/ 117 h 117"/>
                    <a:gd name="T12" fmla="*/ 0 w 237"/>
                    <a:gd name="T13" fmla="*/ 0 h 117"/>
                    <a:gd name="T14" fmla="*/ 0 w 237"/>
                    <a:gd name="T15" fmla="*/ 0 h 117"/>
                    <a:gd name="T16" fmla="*/ 19 w 237"/>
                    <a:gd name="T17" fmla="*/ 0 h 117"/>
                    <a:gd name="T18" fmla="*/ 38 w 237"/>
                    <a:gd name="T19" fmla="*/ 1 h 117"/>
                    <a:gd name="T20" fmla="*/ 56 w 237"/>
                    <a:gd name="T21" fmla="*/ 4 h 117"/>
                    <a:gd name="T22" fmla="*/ 73 w 237"/>
                    <a:gd name="T23" fmla="*/ 7 h 117"/>
                    <a:gd name="T24" fmla="*/ 91 w 237"/>
                    <a:gd name="T25" fmla="*/ 11 h 117"/>
                    <a:gd name="T26" fmla="*/ 108 w 237"/>
                    <a:gd name="T27" fmla="*/ 16 h 117"/>
                    <a:gd name="T28" fmla="*/ 123 w 237"/>
                    <a:gd name="T29" fmla="*/ 20 h 117"/>
                    <a:gd name="T30" fmla="*/ 139 w 237"/>
                    <a:gd name="T31" fmla="*/ 28 h 117"/>
                    <a:gd name="T32" fmla="*/ 154 w 237"/>
                    <a:gd name="T33" fmla="*/ 34 h 117"/>
                    <a:gd name="T34" fmla="*/ 169 w 237"/>
                    <a:gd name="T35" fmla="*/ 42 h 117"/>
                    <a:gd name="T36" fmla="*/ 182 w 237"/>
                    <a:gd name="T37" fmla="*/ 49 h 117"/>
                    <a:gd name="T38" fmla="*/ 195 w 237"/>
                    <a:gd name="T39" fmla="*/ 58 h 117"/>
                    <a:gd name="T40" fmla="*/ 207 w 237"/>
                    <a:gd name="T41" fmla="*/ 68 h 117"/>
                    <a:gd name="T42" fmla="*/ 218 w 237"/>
                    <a:gd name="T43" fmla="*/ 77 h 117"/>
                    <a:gd name="T44" fmla="*/ 228 w 237"/>
                    <a:gd name="T45" fmla="*/ 88 h 117"/>
                    <a:gd name="T46" fmla="*/ 237 w 237"/>
                    <a:gd name="T47" fmla="*/ 99 h 117"/>
                    <a:gd name="T48" fmla="*/ 237 w 237"/>
                    <a:gd name="T49" fmla="*/ 9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7" h="117">
                      <a:moveTo>
                        <a:pt x="237" y="99"/>
                      </a:moveTo>
                      <a:lnTo>
                        <a:pt x="237" y="99"/>
                      </a:lnTo>
                      <a:lnTo>
                        <a:pt x="180" y="106"/>
                      </a:lnTo>
                      <a:lnTo>
                        <a:pt x="122" y="112"/>
                      </a:lnTo>
                      <a:lnTo>
                        <a:pt x="61" y="116"/>
                      </a:lnTo>
                      <a:lnTo>
                        <a:pt x="0" y="117"/>
                      </a:lnTo>
                      <a:lnTo>
                        <a:pt x="0" y="0"/>
                      </a:lnTo>
                      <a:lnTo>
                        <a:pt x="0" y="0"/>
                      </a:lnTo>
                      <a:lnTo>
                        <a:pt x="19" y="0"/>
                      </a:lnTo>
                      <a:lnTo>
                        <a:pt x="38" y="1"/>
                      </a:lnTo>
                      <a:lnTo>
                        <a:pt x="56" y="4"/>
                      </a:lnTo>
                      <a:lnTo>
                        <a:pt x="73" y="7"/>
                      </a:lnTo>
                      <a:lnTo>
                        <a:pt x="91" y="11"/>
                      </a:lnTo>
                      <a:lnTo>
                        <a:pt x="108" y="16"/>
                      </a:lnTo>
                      <a:lnTo>
                        <a:pt x="123" y="20"/>
                      </a:lnTo>
                      <a:lnTo>
                        <a:pt x="139" y="28"/>
                      </a:lnTo>
                      <a:lnTo>
                        <a:pt x="154" y="34"/>
                      </a:lnTo>
                      <a:lnTo>
                        <a:pt x="169" y="42"/>
                      </a:lnTo>
                      <a:lnTo>
                        <a:pt x="182" y="49"/>
                      </a:lnTo>
                      <a:lnTo>
                        <a:pt x="195" y="58"/>
                      </a:lnTo>
                      <a:lnTo>
                        <a:pt x="207" y="68"/>
                      </a:lnTo>
                      <a:lnTo>
                        <a:pt x="218" y="77"/>
                      </a:lnTo>
                      <a:lnTo>
                        <a:pt x="228" y="88"/>
                      </a:lnTo>
                      <a:lnTo>
                        <a:pt x="237" y="99"/>
                      </a:lnTo>
                      <a:lnTo>
                        <a:pt x="237" y="99"/>
                      </a:lnTo>
                      <a:close/>
                    </a:path>
                  </a:pathLst>
                </a:custGeom>
                <a:solidFill>
                  <a:srgbClr val="D0D5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2" name="Freeform 226"/>
                <p:cNvSpPr>
                  <a:spLocks/>
                </p:cNvSpPr>
                <p:nvPr userDrawn="1"/>
              </p:nvSpPr>
              <p:spPr bwMode="auto">
                <a:xfrm>
                  <a:off x="9772196" y="310649"/>
                  <a:ext cx="42863" cy="20638"/>
                </a:xfrm>
                <a:custGeom>
                  <a:avLst/>
                  <a:gdLst>
                    <a:gd name="T0" fmla="*/ 55 w 55"/>
                    <a:gd name="T1" fmla="*/ 0 h 26"/>
                    <a:gd name="T2" fmla="*/ 0 w 55"/>
                    <a:gd name="T3" fmla="*/ 26 h 26"/>
                    <a:gd name="T4" fmla="*/ 0 w 55"/>
                    <a:gd name="T5" fmla="*/ 26 h 26"/>
                    <a:gd name="T6" fmla="*/ 55 w 55"/>
                    <a:gd name="T7" fmla="*/ 0 h 26"/>
                    <a:gd name="T8" fmla="*/ 55 w 55"/>
                    <a:gd name="T9" fmla="*/ 0 h 26"/>
                  </a:gdLst>
                  <a:ahLst/>
                  <a:cxnLst>
                    <a:cxn ang="0">
                      <a:pos x="T0" y="T1"/>
                    </a:cxn>
                    <a:cxn ang="0">
                      <a:pos x="T2" y="T3"/>
                    </a:cxn>
                    <a:cxn ang="0">
                      <a:pos x="T4" y="T5"/>
                    </a:cxn>
                    <a:cxn ang="0">
                      <a:pos x="T6" y="T7"/>
                    </a:cxn>
                    <a:cxn ang="0">
                      <a:pos x="T8" y="T9"/>
                    </a:cxn>
                  </a:cxnLst>
                  <a:rect l="0" t="0" r="r" b="b"/>
                  <a:pathLst>
                    <a:path w="55" h="26">
                      <a:moveTo>
                        <a:pt x="55" y="0"/>
                      </a:moveTo>
                      <a:lnTo>
                        <a:pt x="0" y="26"/>
                      </a:lnTo>
                      <a:lnTo>
                        <a:pt x="0" y="26"/>
                      </a:lnTo>
                      <a:lnTo>
                        <a:pt x="55" y="0"/>
                      </a:lnTo>
                      <a:lnTo>
                        <a:pt x="55"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3" name="Freeform 227"/>
                <p:cNvSpPr>
                  <a:spLocks/>
                </p:cNvSpPr>
                <p:nvPr userDrawn="1"/>
              </p:nvSpPr>
              <p:spPr bwMode="auto">
                <a:xfrm>
                  <a:off x="9772196" y="310649"/>
                  <a:ext cx="42863" cy="20638"/>
                </a:xfrm>
                <a:custGeom>
                  <a:avLst/>
                  <a:gdLst>
                    <a:gd name="T0" fmla="*/ 55 w 55"/>
                    <a:gd name="T1" fmla="*/ 0 h 26"/>
                    <a:gd name="T2" fmla="*/ 0 w 55"/>
                    <a:gd name="T3" fmla="*/ 26 h 26"/>
                    <a:gd name="T4" fmla="*/ 0 w 55"/>
                    <a:gd name="T5" fmla="*/ 26 h 26"/>
                    <a:gd name="T6" fmla="*/ 55 w 55"/>
                    <a:gd name="T7" fmla="*/ 0 h 26"/>
                    <a:gd name="T8" fmla="*/ 55 w 55"/>
                    <a:gd name="T9" fmla="*/ 0 h 26"/>
                  </a:gdLst>
                  <a:ahLst/>
                  <a:cxnLst>
                    <a:cxn ang="0">
                      <a:pos x="T0" y="T1"/>
                    </a:cxn>
                    <a:cxn ang="0">
                      <a:pos x="T2" y="T3"/>
                    </a:cxn>
                    <a:cxn ang="0">
                      <a:pos x="T4" y="T5"/>
                    </a:cxn>
                    <a:cxn ang="0">
                      <a:pos x="T6" y="T7"/>
                    </a:cxn>
                    <a:cxn ang="0">
                      <a:pos x="T8" y="T9"/>
                    </a:cxn>
                  </a:cxnLst>
                  <a:rect l="0" t="0" r="r" b="b"/>
                  <a:pathLst>
                    <a:path w="55" h="26">
                      <a:moveTo>
                        <a:pt x="55" y="0"/>
                      </a:moveTo>
                      <a:lnTo>
                        <a:pt x="0" y="26"/>
                      </a:lnTo>
                      <a:lnTo>
                        <a:pt x="0" y="26"/>
                      </a:lnTo>
                      <a:lnTo>
                        <a:pt x="55" y="0"/>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4" name="Freeform 228"/>
                <p:cNvSpPr>
                  <a:spLocks/>
                </p:cNvSpPr>
                <p:nvPr userDrawn="1"/>
              </p:nvSpPr>
              <p:spPr bwMode="auto">
                <a:xfrm>
                  <a:off x="9772196" y="310649"/>
                  <a:ext cx="465138" cy="20638"/>
                </a:xfrm>
                <a:custGeom>
                  <a:avLst/>
                  <a:gdLst>
                    <a:gd name="T0" fmla="*/ 587 w 587"/>
                    <a:gd name="T1" fmla="*/ 0 h 26"/>
                    <a:gd name="T2" fmla="*/ 55 w 587"/>
                    <a:gd name="T3" fmla="*/ 0 h 26"/>
                    <a:gd name="T4" fmla="*/ 0 w 587"/>
                    <a:gd name="T5" fmla="*/ 26 h 26"/>
                    <a:gd name="T6" fmla="*/ 587 w 587"/>
                    <a:gd name="T7" fmla="*/ 26 h 26"/>
                    <a:gd name="T8" fmla="*/ 587 w 587"/>
                    <a:gd name="T9" fmla="*/ 0 h 26"/>
                  </a:gdLst>
                  <a:ahLst/>
                  <a:cxnLst>
                    <a:cxn ang="0">
                      <a:pos x="T0" y="T1"/>
                    </a:cxn>
                    <a:cxn ang="0">
                      <a:pos x="T2" y="T3"/>
                    </a:cxn>
                    <a:cxn ang="0">
                      <a:pos x="T4" y="T5"/>
                    </a:cxn>
                    <a:cxn ang="0">
                      <a:pos x="T6" y="T7"/>
                    </a:cxn>
                    <a:cxn ang="0">
                      <a:pos x="T8" y="T9"/>
                    </a:cxn>
                  </a:cxnLst>
                  <a:rect l="0" t="0" r="r" b="b"/>
                  <a:pathLst>
                    <a:path w="587" h="26">
                      <a:moveTo>
                        <a:pt x="587" y="0"/>
                      </a:moveTo>
                      <a:lnTo>
                        <a:pt x="55" y="0"/>
                      </a:lnTo>
                      <a:lnTo>
                        <a:pt x="0" y="26"/>
                      </a:lnTo>
                      <a:lnTo>
                        <a:pt x="587" y="26"/>
                      </a:lnTo>
                      <a:lnTo>
                        <a:pt x="587" y="0"/>
                      </a:lnTo>
                      <a:close/>
                    </a:path>
                  </a:pathLst>
                </a:custGeom>
                <a:solidFill>
                  <a:srgbClr val="2E95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5" name="Freeform 229"/>
                <p:cNvSpPr>
                  <a:spLocks/>
                </p:cNvSpPr>
                <p:nvPr userDrawn="1"/>
              </p:nvSpPr>
              <p:spPr bwMode="auto">
                <a:xfrm>
                  <a:off x="9772196" y="310649"/>
                  <a:ext cx="465138" cy="20638"/>
                </a:xfrm>
                <a:custGeom>
                  <a:avLst/>
                  <a:gdLst>
                    <a:gd name="T0" fmla="*/ 587 w 587"/>
                    <a:gd name="T1" fmla="*/ 0 h 26"/>
                    <a:gd name="T2" fmla="*/ 55 w 587"/>
                    <a:gd name="T3" fmla="*/ 0 h 26"/>
                    <a:gd name="T4" fmla="*/ 0 w 587"/>
                    <a:gd name="T5" fmla="*/ 26 h 26"/>
                    <a:gd name="T6" fmla="*/ 587 w 587"/>
                    <a:gd name="T7" fmla="*/ 26 h 26"/>
                    <a:gd name="T8" fmla="*/ 587 w 587"/>
                    <a:gd name="T9" fmla="*/ 0 h 26"/>
                  </a:gdLst>
                  <a:ahLst/>
                  <a:cxnLst>
                    <a:cxn ang="0">
                      <a:pos x="T0" y="T1"/>
                    </a:cxn>
                    <a:cxn ang="0">
                      <a:pos x="T2" y="T3"/>
                    </a:cxn>
                    <a:cxn ang="0">
                      <a:pos x="T4" y="T5"/>
                    </a:cxn>
                    <a:cxn ang="0">
                      <a:pos x="T6" y="T7"/>
                    </a:cxn>
                    <a:cxn ang="0">
                      <a:pos x="T8" y="T9"/>
                    </a:cxn>
                  </a:cxnLst>
                  <a:rect l="0" t="0" r="r" b="b"/>
                  <a:pathLst>
                    <a:path w="587" h="26">
                      <a:moveTo>
                        <a:pt x="587" y="0"/>
                      </a:moveTo>
                      <a:lnTo>
                        <a:pt x="55" y="0"/>
                      </a:lnTo>
                      <a:lnTo>
                        <a:pt x="0" y="26"/>
                      </a:lnTo>
                      <a:lnTo>
                        <a:pt x="587" y="26"/>
                      </a:lnTo>
                      <a:lnTo>
                        <a:pt x="5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6" name="Freeform 230"/>
                <p:cNvSpPr>
                  <a:spLocks/>
                </p:cNvSpPr>
                <p:nvPr userDrawn="1"/>
              </p:nvSpPr>
              <p:spPr bwMode="auto">
                <a:xfrm>
                  <a:off x="10237333" y="310649"/>
                  <a:ext cx="0" cy="20638"/>
                </a:xfrm>
                <a:custGeom>
                  <a:avLst/>
                  <a:gdLst>
                    <a:gd name="T0" fmla="*/ 0 h 26"/>
                    <a:gd name="T1" fmla="*/ 0 h 26"/>
                    <a:gd name="T2" fmla="*/ 0 h 26"/>
                    <a:gd name="T3" fmla="*/ 26 h 26"/>
                    <a:gd name="T4" fmla="*/ 26 h 26"/>
                    <a:gd name="T5" fmla="*/ 0 h 26"/>
                  </a:gdLst>
                  <a:ahLst/>
                  <a:cxnLst>
                    <a:cxn ang="0">
                      <a:pos x="0" y="T0"/>
                    </a:cxn>
                    <a:cxn ang="0">
                      <a:pos x="0" y="T1"/>
                    </a:cxn>
                    <a:cxn ang="0">
                      <a:pos x="0" y="T2"/>
                    </a:cxn>
                    <a:cxn ang="0">
                      <a:pos x="0" y="T3"/>
                    </a:cxn>
                    <a:cxn ang="0">
                      <a:pos x="0" y="T4"/>
                    </a:cxn>
                    <a:cxn ang="0">
                      <a:pos x="0" y="T5"/>
                    </a:cxn>
                  </a:cxnLst>
                  <a:rect l="0" t="0" r="r" b="b"/>
                  <a:pathLst>
                    <a:path h="26">
                      <a:moveTo>
                        <a:pt x="0" y="0"/>
                      </a:moveTo>
                      <a:lnTo>
                        <a:pt x="0" y="0"/>
                      </a:lnTo>
                      <a:lnTo>
                        <a:pt x="0" y="0"/>
                      </a:lnTo>
                      <a:lnTo>
                        <a:pt x="0" y="26"/>
                      </a:lnTo>
                      <a:lnTo>
                        <a:pt x="0" y="26"/>
                      </a:lnTo>
                      <a:lnTo>
                        <a:pt x="0" y="0"/>
                      </a:lnTo>
                      <a:close/>
                    </a:path>
                  </a:pathLst>
                </a:custGeom>
                <a:solidFill>
                  <a:srgbClr val="2E95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7" name="Freeform 231"/>
                <p:cNvSpPr>
                  <a:spLocks/>
                </p:cNvSpPr>
                <p:nvPr userDrawn="1"/>
              </p:nvSpPr>
              <p:spPr bwMode="auto">
                <a:xfrm>
                  <a:off x="10237333" y="310649"/>
                  <a:ext cx="0" cy="20638"/>
                </a:xfrm>
                <a:custGeom>
                  <a:avLst/>
                  <a:gdLst>
                    <a:gd name="T0" fmla="*/ 0 h 26"/>
                    <a:gd name="T1" fmla="*/ 0 h 26"/>
                    <a:gd name="T2" fmla="*/ 0 h 26"/>
                    <a:gd name="T3" fmla="*/ 26 h 26"/>
                    <a:gd name="T4" fmla="*/ 26 h 26"/>
                    <a:gd name="T5" fmla="*/ 0 h 26"/>
                  </a:gdLst>
                  <a:ahLst/>
                  <a:cxnLst>
                    <a:cxn ang="0">
                      <a:pos x="0" y="T0"/>
                    </a:cxn>
                    <a:cxn ang="0">
                      <a:pos x="0" y="T1"/>
                    </a:cxn>
                    <a:cxn ang="0">
                      <a:pos x="0" y="T2"/>
                    </a:cxn>
                    <a:cxn ang="0">
                      <a:pos x="0" y="T3"/>
                    </a:cxn>
                    <a:cxn ang="0">
                      <a:pos x="0" y="T4"/>
                    </a:cxn>
                    <a:cxn ang="0">
                      <a:pos x="0" y="T5"/>
                    </a:cxn>
                  </a:cxnLst>
                  <a:rect l="0" t="0" r="r" b="b"/>
                  <a:pathLst>
                    <a:path h="26">
                      <a:moveTo>
                        <a:pt x="0" y="0"/>
                      </a:moveTo>
                      <a:lnTo>
                        <a:pt x="0" y="0"/>
                      </a:lnTo>
                      <a:lnTo>
                        <a:pt x="0" y="0"/>
                      </a:lnTo>
                      <a:lnTo>
                        <a:pt x="0" y="26"/>
                      </a:lnTo>
                      <a:lnTo>
                        <a:pt x="0" y="2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8" name="Freeform 232"/>
                <p:cNvSpPr>
                  <a:spLocks/>
                </p:cNvSpPr>
                <p:nvPr userDrawn="1"/>
              </p:nvSpPr>
              <p:spPr bwMode="auto">
                <a:xfrm>
                  <a:off x="10237333" y="310649"/>
                  <a:ext cx="463550" cy="20638"/>
                </a:xfrm>
                <a:custGeom>
                  <a:avLst/>
                  <a:gdLst>
                    <a:gd name="T0" fmla="*/ 531 w 585"/>
                    <a:gd name="T1" fmla="*/ 0 h 26"/>
                    <a:gd name="T2" fmla="*/ 0 w 585"/>
                    <a:gd name="T3" fmla="*/ 0 h 26"/>
                    <a:gd name="T4" fmla="*/ 0 w 585"/>
                    <a:gd name="T5" fmla="*/ 26 h 26"/>
                    <a:gd name="T6" fmla="*/ 585 w 585"/>
                    <a:gd name="T7" fmla="*/ 26 h 26"/>
                    <a:gd name="T8" fmla="*/ 531 w 585"/>
                    <a:gd name="T9" fmla="*/ 0 h 26"/>
                  </a:gdLst>
                  <a:ahLst/>
                  <a:cxnLst>
                    <a:cxn ang="0">
                      <a:pos x="T0" y="T1"/>
                    </a:cxn>
                    <a:cxn ang="0">
                      <a:pos x="T2" y="T3"/>
                    </a:cxn>
                    <a:cxn ang="0">
                      <a:pos x="T4" y="T5"/>
                    </a:cxn>
                    <a:cxn ang="0">
                      <a:pos x="T6" y="T7"/>
                    </a:cxn>
                    <a:cxn ang="0">
                      <a:pos x="T8" y="T9"/>
                    </a:cxn>
                  </a:cxnLst>
                  <a:rect l="0" t="0" r="r" b="b"/>
                  <a:pathLst>
                    <a:path w="585" h="26">
                      <a:moveTo>
                        <a:pt x="531" y="0"/>
                      </a:moveTo>
                      <a:lnTo>
                        <a:pt x="0" y="0"/>
                      </a:lnTo>
                      <a:lnTo>
                        <a:pt x="0" y="26"/>
                      </a:lnTo>
                      <a:lnTo>
                        <a:pt x="585" y="26"/>
                      </a:lnTo>
                      <a:lnTo>
                        <a:pt x="531" y="0"/>
                      </a:lnTo>
                      <a:close/>
                    </a:path>
                  </a:pathLst>
                </a:custGeom>
                <a:solidFill>
                  <a:srgbClr val="0078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9" name="Freeform 233"/>
                <p:cNvSpPr>
                  <a:spLocks/>
                </p:cNvSpPr>
                <p:nvPr userDrawn="1"/>
              </p:nvSpPr>
              <p:spPr bwMode="auto">
                <a:xfrm>
                  <a:off x="10237333" y="310649"/>
                  <a:ext cx="463550" cy="20638"/>
                </a:xfrm>
                <a:custGeom>
                  <a:avLst/>
                  <a:gdLst>
                    <a:gd name="T0" fmla="*/ 531 w 585"/>
                    <a:gd name="T1" fmla="*/ 0 h 26"/>
                    <a:gd name="T2" fmla="*/ 0 w 585"/>
                    <a:gd name="T3" fmla="*/ 0 h 26"/>
                    <a:gd name="T4" fmla="*/ 0 w 585"/>
                    <a:gd name="T5" fmla="*/ 26 h 26"/>
                    <a:gd name="T6" fmla="*/ 585 w 585"/>
                    <a:gd name="T7" fmla="*/ 26 h 26"/>
                    <a:gd name="T8" fmla="*/ 531 w 585"/>
                    <a:gd name="T9" fmla="*/ 0 h 26"/>
                  </a:gdLst>
                  <a:ahLst/>
                  <a:cxnLst>
                    <a:cxn ang="0">
                      <a:pos x="T0" y="T1"/>
                    </a:cxn>
                    <a:cxn ang="0">
                      <a:pos x="T2" y="T3"/>
                    </a:cxn>
                    <a:cxn ang="0">
                      <a:pos x="T4" y="T5"/>
                    </a:cxn>
                    <a:cxn ang="0">
                      <a:pos x="T6" y="T7"/>
                    </a:cxn>
                    <a:cxn ang="0">
                      <a:pos x="T8" y="T9"/>
                    </a:cxn>
                  </a:cxnLst>
                  <a:rect l="0" t="0" r="r" b="b"/>
                  <a:pathLst>
                    <a:path w="585" h="26">
                      <a:moveTo>
                        <a:pt x="531" y="0"/>
                      </a:moveTo>
                      <a:lnTo>
                        <a:pt x="0" y="0"/>
                      </a:lnTo>
                      <a:lnTo>
                        <a:pt x="0" y="26"/>
                      </a:lnTo>
                      <a:lnTo>
                        <a:pt x="585" y="26"/>
                      </a:lnTo>
                      <a:lnTo>
                        <a:pt x="5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52" name="Freeform 234"/>
                <p:cNvSpPr>
                  <a:spLocks/>
                </p:cNvSpPr>
                <p:nvPr userDrawn="1"/>
              </p:nvSpPr>
              <p:spPr bwMode="auto">
                <a:xfrm>
                  <a:off x="9888083" y="218574"/>
                  <a:ext cx="696913" cy="39688"/>
                </a:xfrm>
                <a:custGeom>
                  <a:avLst/>
                  <a:gdLst>
                    <a:gd name="T0" fmla="*/ 877 w 877"/>
                    <a:gd name="T1" fmla="*/ 25 h 50"/>
                    <a:gd name="T2" fmla="*/ 877 w 877"/>
                    <a:gd name="T3" fmla="*/ 25 h 50"/>
                    <a:gd name="T4" fmla="*/ 877 w 877"/>
                    <a:gd name="T5" fmla="*/ 31 h 50"/>
                    <a:gd name="T6" fmla="*/ 875 w 877"/>
                    <a:gd name="T7" fmla="*/ 36 h 50"/>
                    <a:gd name="T8" fmla="*/ 873 w 877"/>
                    <a:gd name="T9" fmla="*/ 39 h 50"/>
                    <a:gd name="T10" fmla="*/ 870 w 877"/>
                    <a:gd name="T11" fmla="*/ 43 h 50"/>
                    <a:gd name="T12" fmla="*/ 867 w 877"/>
                    <a:gd name="T13" fmla="*/ 46 h 50"/>
                    <a:gd name="T14" fmla="*/ 862 w 877"/>
                    <a:gd name="T15" fmla="*/ 49 h 50"/>
                    <a:gd name="T16" fmla="*/ 857 w 877"/>
                    <a:gd name="T17" fmla="*/ 50 h 50"/>
                    <a:gd name="T18" fmla="*/ 852 w 877"/>
                    <a:gd name="T19" fmla="*/ 50 h 50"/>
                    <a:gd name="T20" fmla="*/ 25 w 877"/>
                    <a:gd name="T21" fmla="*/ 50 h 50"/>
                    <a:gd name="T22" fmla="*/ 25 w 877"/>
                    <a:gd name="T23" fmla="*/ 50 h 50"/>
                    <a:gd name="T24" fmla="*/ 20 w 877"/>
                    <a:gd name="T25" fmla="*/ 50 h 50"/>
                    <a:gd name="T26" fmla="*/ 15 w 877"/>
                    <a:gd name="T27" fmla="*/ 49 h 50"/>
                    <a:gd name="T28" fmla="*/ 12 w 877"/>
                    <a:gd name="T29" fmla="*/ 46 h 50"/>
                    <a:gd name="T30" fmla="*/ 7 w 877"/>
                    <a:gd name="T31" fmla="*/ 43 h 50"/>
                    <a:gd name="T32" fmla="*/ 5 w 877"/>
                    <a:gd name="T33" fmla="*/ 39 h 50"/>
                    <a:gd name="T34" fmla="*/ 2 w 877"/>
                    <a:gd name="T35" fmla="*/ 36 h 50"/>
                    <a:gd name="T36" fmla="*/ 1 w 877"/>
                    <a:gd name="T37" fmla="*/ 31 h 50"/>
                    <a:gd name="T38" fmla="*/ 0 w 877"/>
                    <a:gd name="T39" fmla="*/ 25 h 50"/>
                    <a:gd name="T40" fmla="*/ 0 w 877"/>
                    <a:gd name="T41" fmla="*/ 25 h 50"/>
                    <a:gd name="T42" fmla="*/ 1 w 877"/>
                    <a:gd name="T43" fmla="*/ 20 h 50"/>
                    <a:gd name="T44" fmla="*/ 2 w 877"/>
                    <a:gd name="T45" fmla="*/ 15 h 50"/>
                    <a:gd name="T46" fmla="*/ 5 w 877"/>
                    <a:gd name="T47" fmla="*/ 12 h 50"/>
                    <a:gd name="T48" fmla="*/ 7 w 877"/>
                    <a:gd name="T49" fmla="*/ 8 h 50"/>
                    <a:gd name="T50" fmla="*/ 12 w 877"/>
                    <a:gd name="T51" fmla="*/ 5 h 50"/>
                    <a:gd name="T52" fmla="*/ 15 w 877"/>
                    <a:gd name="T53" fmla="*/ 2 h 50"/>
                    <a:gd name="T54" fmla="*/ 20 w 877"/>
                    <a:gd name="T55" fmla="*/ 1 h 50"/>
                    <a:gd name="T56" fmla="*/ 25 w 877"/>
                    <a:gd name="T57" fmla="*/ 0 h 50"/>
                    <a:gd name="T58" fmla="*/ 852 w 877"/>
                    <a:gd name="T59" fmla="*/ 0 h 50"/>
                    <a:gd name="T60" fmla="*/ 852 w 877"/>
                    <a:gd name="T61" fmla="*/ 0 h 50"/>
                    <a:gd name="T62" fmla="*/ 857 w 877"/>
                    <a:gd name="T63" fmla="*/ 1 h 50"/>
                    <a:gd name="T64" fmla="*/ 862 w 877"/>
                    <a:gd name="T65" fmla="*/ 2 h 50"/>
                    <a:gd name="T66" fmla="*/ 867 w 877"/>
                    <a:gd name="T67" fmla="*/ 5 h 50"/>
                    <a:gd name="T68" fmla="*/ 870 w 877"/>
                    <a:gd name="T69" fmla="*/ 8 h 50"/>
                    <a:gd name="T70" fmla="*/ 873 w 877"/>
                    <a:gd name="T71" fmla="*/ 12 h 50"/>
                    <a:gd name="T72" fmla="*/ 875 w 877"/>
                    <a:gd name="T73" fmla="*/ 15 h 50"/>
                    <a:gd name="T74" fmla="*/ 877 w 877"/>
                    <a:gd name="T75" fmla="*/ 20 h 50"/>
                    <a:gd name="T76" fmla="*/ 877 w 877"/>
                    <a:gd name="T77" fmla="*/ 25 h 50"/>
                    <a:gd name="T78" fmla="*/ 877 w 877"/>
                    <a:gd name="T79"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77" h="50">
                      <a:moveTo>
                        <a:pt x="877" y="25"/>
                      </a:moveTo>
                      <a:lnTo>
                        <a:pt x="877" y="25"/>
                      </a:lnTo>
                      <a:lnTo>
                        <a:pt x="877" y="31"/>
                      </a:lnTo>
                      <a:lnTo>
                        <a:pt x="875" y="36"/>
                      </a:lnTo>
                      <a:lnTo>
                        <a:pt x="873" y="39"/>
                      </a:lnTo>
                      <a:lnTo>
                        <a:pt x="870" y="43"/>
                      </a:lnTo>
                      <a:lnTo>
                        <a:pt x="867" y="46"/>
                      </a:lnTo>
                      <a:lnTo>
                        <a:pt x="862" y="49"/>
                      </a:lnTo>
                      <a:lnTo>
                        <a:pt x="857" y="50"/>
                      </a:lnTo>
                      <a:lnTo>
                        <a:pt x="852" y="50"/>
                      </a:lnTo>
                      <a:lnTo>
                        <a:pt x="25" y="50"/>
                      </a:lnTo>
                      <a:lnTo>
                        <a:pt x="25" y="50"/>
                      </a:lnTo>
                      <a:lnTo>
                        <a:pt x="20" y="50"/>
                      </a:lnTo>
                      <a:lnTo>
                        <a:pt x="15" y="49"/>
                      </a:lnTo>
                      <a:lnTo>
                        <a:pt x="12" y="46"/>
                      </a:lnTo>
                      <a:lnTo>
                        <a:pt x="7" y="43"/>
                      </a:lnTo>
                      <a:lnTo>
                        <a:pt x="5" y="39"/>
                      </a:lnTo>
                      <a:lnTo>
                        <a:pt x="2" y="36"/>
                      </a:lnTo>
                      <a:lnTo>
                        <a:pt x="1" y="31"/>
                      </a:lnTo>
                      <a:lnTo>
                        <a:pt x="0" y="25"/>
                      </a:lnTo>
                      <a:lnTo>
                        <a:pt x="0" y="25"/>
                      </a:lnTo>
                      <a:lnTo>
                        <a:pt x="1" y="20"/>
                      </a:lnTo>
                      <a:lnTo>
                        <a:pt x="2" y="15"/>
                      </a:lnTo>
                      <a:lnTo>
                        <a:pt x="5" y="12"/>
                      </a:lnTo>
                      <a:lnTo>
                        <a:pt x="7" y="8"/>
                      </a:lnTo>
                      <a:lnTo>
                        <a:pt x="12" y="5"/>
                      </a:lnTo>
                      <a:lnTo>
                        <a:pt x="15" y="2"/>
                      </a:lnTo>
                      <a:lnTo>
                        <a:pt x="20" y="1"/>
                      </a:lnTo>
                      <a:lnTo>
                        <a:pt x="25" y="0"/>
                      </a:lnTo>
                      <a:lnTo>
                        <a:pt x="852" y="0"/>
                      </a:lnTo>
                      <a:lnTo>
                        <a:pt x="852" y="0"/>
                      </a:lnTo>
                      <a:lnTo>
                        <a:pt x="857" y="1"/>
                      </a:lnTo>
                      <a:lnTo>
                        <a:pt x="862" y="2"/>
                      </a:lnTo>
                      <a:lnTo>
                        <a:pt x="867" y="5"/>
                      </a:lnTo>
                      <a:lnTo>
                        <a:pt x="870" y="8"/>
                      </a:lnTo>
                      <a:lnTo>
                        <a:pt x="873" y="12"/>
                      </a:lnTo>
                      <a:lnTo>
                        <a:pt x="875" y="15"/>
                      </a:lnTo>
                      <a:lnTo>
                        <a:pt x="877" y="20"/>
                      </a:lnTo>
                      <a:lnTo>
                        <a:pt x="877" y="25"/>
                      </a:lnTo>
                      <a:lnTo>
                        <a:pt x="877"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53" name="Freeform 235"/>
                <p:cNvSpPr>
                  <a:spLocks noEditPoints="1"/>
                </p:cNvSpPr>
                <p:nvPr userDrawn="1"/>
              </p:nvSpPr>
              <p:spPr bwMode="auto">
                <a:xfrm>
                  <a:off x="9669008" y="493211"/>
                  <a:ext cx="0" cy="1588"/>
                </a:xfrm>
                <a:custGeom>
                  <a:avLst/>
                  <a:gdLst>
                    <a:gd name="T0" fmla="*/ 1 h 1"/>
                    <a:gd name="T1" fmla="*/ 1 h 1"/>
                    <a:gd name="T2" fmla="*/ 1 h 1"/>
                    <a:gd name="T3" fmla="*/ 1 h 1"/>
                    <a:gd name="T4" fmla="*/ 1 h 1"/>
                    <a:gd name="T5" fmla="*/ 0 h 1"/>
                    <a:gd name="T6" fmla="*/ 0 h 1"/>
                    <a:gd name="T7" fmla="*/ 0 h 1"/>
                    <a:gd name="T8" fmla="*/ 0 h 1"/>
                    <a:gd name="T9" fmla="*/ 0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1">
                      <a:moveTo>
                        <a:pt x="0" y="1"/>
                      </a:moveTo>
                      <a:lnTo>
                        <a:pt x="0" y="1"/>
                      </a:lnTo>
                      <a:lnTo>
                        <a:pt x="0" y="1"/>
                      </a:lnTo>
                      <a:lnTo>
                        <a:pt x="0" y="1"/>
                      </a:lnTo>
                      <a:lnTo>
                        <a:pt x="0" y="1"/>
                      </a:lnTo>
                      <a:close/>
                      <a:moveTo>
                        <a:pt x="0" y="0"/>
                      </a:moveTo>
                      <a:lnTo>
                        <a:pt x="0" y="0"/>
                      </a:lnTo>
                      <a:lnTo>
                        <a:pt x="0" y="0"/>
                      </a:lnTo>
                      <a:lnTo>
                        <a:pt x="0" y="0"/>
                      </a:lnTo>
                      <a:lnTo>
                        <a:pt x="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59" name="Rectangle 236"/>
                <p:cNvSpPr>
                  <a:spLocks noChangeArrowheads="1"/>
                </p:cNvSpPr>
                <p:nvPr userDrawn="1"/>
              </p:nvSpPr>
              <p:spPr bwMode="auto">
                <a:xfrm>
                  <a:off x="9669008" y="494799"/>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0" name="Rectangle 237"/>
                <p:cNvSpPr>
                  <a:spLocks noChangeArrowheads="1"/>
                </p:cNvSpPr>
                <p:nvPr userDrawn="1"/>
              </p:nvSpPr>
              <p:spPr bwMode="auto">
                <a:xfrm>
                  <a:off x="9669008" y="493211"/>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1" name="Freeform 238"/>
                <p:cNvSpPr>
                  <a:spLocks/>
                </p:cNvSpPr>
                <p:nvPr userDrawn="1"/>
              </p:nvSpPr>
              <p:spPr bwMode="auto">
                <a:xfrm>
                  <a:off x="9669008" y="493211"/>
                  <a:ext cx="568325" cy="39688"/>
                </a:xfrm>
                <a:custGeom>
                  <a:avLst/>
                  <a:gdLst>
                    <a:gd name="T0" fmla="*/ 716 w 716"/>
                    <a:gd name="T1" fmla="*/ 0 h 50"/>
                    <a:gd name="T2" fmla="*/ 0 w 716"/>
                    <a:gd name="T3" fmla="*/ 0 h 50"/>
                    <a:gd name="T4" fmla="*/ 0 w 716"/>
                    <a:gd name="T5" fmla="*/ 0 h 50"/>
                    <a:gd name="T6" fmla="*/ 0 w 716"/>
                    <a:gd name="T7" fmla="*/ 1 h 50"/>
                    <a:gd name="T8" fmla="*/ 0 w 716"/>
                    <a:gd name="T9" fmla="*/ 1 h 50"/>
                    <a:gd name="T10" fmla="*/ 0 w 716"/>
                    <a:gd name="T11" fmla="*/ 1 h 50"/>
                    <a:gd name="T12" fmla="*/ 0 w 716"/>
                    <a:gd name="T13" fmla="*/ 1 h 50"/>
                    <a:gd name="T14" fmla="*/ 0 w 716"/>
                    <a:gd name="T15" fmla="*/ 2 h 50"/>
                    <a:gd name="T16" fmla="*/ 0 w 716"/>
                    <a:gd name="T17" fmla="*/ 2 h 50"/>
                    <a:gd name="T18" fmla="*/ 0 w 716"/>
                    <a:gd name="T19" fmla="*/ 2 h 50"/>
                    <a:gd name="T20" fmla="*/ 0 w 716"/>
                    <a:gd name="T21" fmla="*/ 2 h 50"/>
                    <a:gd name="T22" fmla="*/ 0 w 716"/>
                    <a:gd name="T23" fmla="*/ 14 h 50"/>
                    <a:gd name="T24" fmla="*/ 2 w 716"/>
                    <a:gd name="T25" fmla="*/ 26 h 50"/>
                    <a:gd name="T26" fmla="*/ 5 w 716"/>
                    <a:gd name="T27" fmla="*/ 38 h 50"/>
                    <a:gd name="T28" fmla="*/ 8 w 716"/>
                    <a:gd name="T29" fmla="*/ 50 h 50"/>
                    <a:gd name="T30" fmla="*/ 716 w 716"/>
                    <a:gd name="T31" fmla="*/ 50 h 50"/>
                    <a:gd name="T32" fmla="*/ 716 w 716"/>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6" h="50">
                      <a:moveTo>
                        <a:pt x="716" y="0"/>
                      </a:moveTo>
                      <a:lnTo>
                        <a:pt x="0" y="0"/>
                      </a:lnTo>
                      <a:lnTo>
                        <a:pt x="0" y="0"/>
                      </a:lnTo>
                      <a:lnTo>
                        <a:pt x="0" y="1"/>
                      </a:lnTo>
                      <a:lnTo>
                        <a:pt x="0" y="1"/>
                      </a:lnTo>
                      <a:lnTo>
                        <a:pt x="0" y="1"/>
                      </a:lnTo>
                      <a:lnTo>
                        <a:pt x="0" y="1"/>
                      </a:lnTo>
                      <a:lnTo>
                        <a:pt x="0" y="2"/>
                      </a:lnTo>
                      <a:lnTo>
                        <a:pt x="0" y="2"/>
                      </a:lnTo>
                      <a:lnTo>
                        <a:pt x="0" y="2"/>
                      </a:lnTo>
                      <a:lnTo>
                        <a:pt x="0" y="2"/>
                      </a:lnTo>
                      <a:lnTo>
                        <a:pt x="0" y="14"/>
                      </a:lnTo>
                      <a:lnTo>
                        <a:pt x="2" y="26"/>
                      </a:lnTo>
                      <a:lnTo>
                        <a:pt x="5" y="38"/>
                      </a:lnTo>
                      <a:lnTo>
                        <a:pt x="8" y="50"/>
                      </a:lnTo>
                      <a:lnTo>
                        <a:pt x="716" y="50"/>
                      </a:lnTo>
                      <a:lnTo>
                        <a:pt x="716" y="0"/>
                      </a:lnTo>
                      <a:close/>
                    </a:path>
                  </a:pathLst>
                </a:custGeom>
                <a:solidFill>
                  <a:srgbClr val="4685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3" name="Freeform 239"/>
                <p:cNvSpPr>
                  <a:spLocks/>
                </p:cNvSpPr>
                <p:nvPr userDrawn="1"/>
              </p:nvSpPr>
              <p:spPr bwMode="auto">
                <a:xfrm>
                  <a:off x="9669008" y="493211"/>
                  <a:ext cx="568325" cy="39688"/>
                </a:xfrm>
                <a:custGeom>
                  <a:avLst/>
                  <a:gdLst>
                    <a:gd name="T0" fmla="*/ 716 w 716"/>
                    <a:gd name="T1" fmla="*/ 0 h 50"/>
                    <a:gd name="T2" fmla="*/ 0 w 716"/>
                    <a:gd name="T3" fmla="*/ 0 h 50"/>
                    <a:gd name="T4" fmla="*/ 0 w 716"/>
                    <a:gd name="T5" fmla="*/ 0 h 50"/>
                    <a:gd name="T6" fmla="*/ 0 w 716"/>
                    <a:gd name="T7" fmla="*/ 1 h 50"/>
                    <a:gd name="T8" fmla="*/ 0 w 716"/>
                    <a:gd name="T9" fmla="*/ 1 h 50"/>
                    <a:gd name="T10" fmla="*/ 0 w 716"/>
                    <a:gd name="T11" fmla="*/ 1 h 50"/>
                    <a:gd name="T12" fmla="*/ 0 w 716"/>
                    <a:gd name="T13" fmla="*/ 1 h 50"/>
                    <a:gd name="T14" fmla="*/ 0 w 716"/>
                    <a:gd name="T15" fmla="*/ 2 h 50"/>
                    <a:gd name="T16" fmla="*/ 0 w 716"/>
                    <a:gd name="T17" fmla="*/ 2 h 50"/>
                    <a:gd name="T18" fmla="*/ 0 w 716"/>
                    <a:gd name="T19" fmla="*/ 2 h 50"/>
                    <a:gd name="T20" fmla="*/ 0 w 716"/>
                    <a:gd name="T21" fmla="*/ 2 h 50"/>
                    <a:gd name="T22" fmla="*/ 0 w 716"/>
                    <a:gd name="T23" fmla="*/ 14 h 50"/>
                    <a:gd name="T24" fmla="*/ 2 w 716"/>
                    <a:gd name="T25" fmla="*/ 26 h 50"/>
                    <a:gd name="T26" fmla="*/ 5 w 716"/>
                    <a:gd name="T27" fmla="*/ 38 h 50"/>
                    <a:gd name="T28" fmla="*/ 8 w 716"/>
                    <a:gd name="T29" fmla="*/ 50 h 50"/>
                    <a:gd name="T30" fmla="*/ 716 w 716"/>
                    <a:gd name="T31" fmla="*/ 50 h 50"/>
                    <a:gd name="T32" fmla="*/ 716 w 716"/>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6" h="50">
                      <a:moveTo>
                        <a:pt x="716" y="0"/>
                      </a:moveTo>
                      <a:lnTo>
                        <a:pt x="0" y="0"/>
                      </a:lnTo>
                      <a:lnTo>
                        <a:pt x="0" y="0"/>
                      </a:lnTo>
                      <a:lnTo>
                        <a:pt x="0" y="1"/>
                      </a:lnTo>
                      <a:lnTo>
                        <a:pt x="0" y="1"/>
                      </a:lnTo>
                      <a:lnTo>
                        <a:pt x="0" y="1"/>
                      </a:lnTo>
                      <a:lnTo>
                        <a:pt x="0" y="1"/>
                      </a:lnTo>
                      <a:lnTo>
                        <a:pt x="0" y="2"/>
                      </a:lnTo>
                      <a:lnTo>
                        <a:pt x="0" y="2"/>
                      </a:lnTo>
                      <a:lnTo>
                        <a:pt x="0" y="2"/>
                      </a:lnTo>
                      <a:lnTo>
                        <a:pt x="0" y="2"/>
                      </a:lnTo>
                      <a:lnTo>
                        <a:pt x="0" y="14"/>
                      </a:lnTo>
                      <a:lnTo>
                        <a:pt x="2" y="26"/>
                      </a:lnTo>
                      <a:lnTo>
                        <a:pt x="5" y="38"/>
                      </a:lnTo>
                      <a:lnTo>
                        <a:pt x="8" y="50"/>
                      </a:lnTo>
                      <a:lnTo>
                        <a:pt x="716" y="50"/>
                      </a:lnTo>
                      <a:lnTo>
                        <a:pt x="7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5" name="Rectangle 240"/>
                <p:cNvSpPr>
                  <a:spLocks noChangeArrowheads="1"/>
                </p:cNvSpPr>
                <p:nvPr userDrawn="1"/>
              </p:nvSpPr>
              <p:spPr bwMode="auto">
                <a:xfrm>
                  <a:off x="10805658" y="493211"/>
                  <a:ext cx="1588" cy="1588"/>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6" name="Rectangle 241"/>
                <p:cNvSpPr>
                  <a:spLocks noChangeArrowheads="1"/>
                </p:cNvSpPr>
                <p:nvPr userDrawn="1"/>
              </p:nvSpPr>
              <p:spPr bwMode="auto">
                <a:xfrm>
                  <a:off x="10805658" y="493211"/>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7" name="Freeform 242"/>
                <p:cNvSpPr>
                  <a:spLocks/>
                </p:cNvSpPr>
                <p:nvPr userDrawn="1"/>
              </p:nvSpPr>
              <p:spPr bwMode="auto">
                <a:xfrm>
                  <a:off x="10237333" y="493211"/>
                  <a:ext cx="568325" cy="39688"/>
                </a:xfrm>
                <a:custGeom>
                  <a:avLst/>
                  <a:gdLst>
                    <a:gd name="T0" fmla="*/ 715 w 715"/>
                    <a:gd name="T1" fmla="*/ 0 h 50"/>
                    <a:gd name="T2" fmla="*/ 0 w 715"/>
                    <a:gd name="T3" fmla="*/ 0 h 50"/>
                    <a:gd name="T4" fmla="*/ 0 w 715"/>
                    <a:gd name="T5" fmla="*/ 50 h 50"/>
                    <a:gd name="T6" fmla="*/ 708 w 715"/>
                    <a:gd name="T7" fmla="*/ 50 h 50"/>
                    <a:gd name="T8" fmla="*/ 708 w 715"/>
                    <a:gd name="T9" fmla="*/ 50 h 50"/>
                    <a:gd name="T10" fmla="*/ 711 w 715"/>
                    <a:gd name="T11" fmla="*/ 38 h 50"/>
                    <a:gd name="T12" fmla="*/ 714 w 715"/>
                    <a:gd name="T13" fmla="*/ 25 h 50"/>
                    <a:gd name="T14" fmla="*/ 715 w 715"/>
                    <a:gd name="T15" fmla="*/ 13 h 50"/>
                    <a:gd name="T16" fmla="*/ 715 w 715"/>
                    <a:gd name="T17" fmla="*/ 1 h 50"/>
                    <a:gd name="T18" fmla="*/ 715 w 715"/>
                    <a:gd name="T19" fmla="*/ 1 h 50"/>
                    <a:gd name="T20" fmla="*/ 715 w 715"/>
                    <a:gd name="T21" fmla="*/ 1 h 50"/>
                    <a:gd name="T22" fmla="*/ 715 w 715"/>
                    <a:gd name="T23" fmla="*/ 1 h 50"/>
                    <a:gd name="T24" fmla="*/ 715 w 715"/>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5" h="50">
                      <a:moveTo>
                        <a:pt x="715" y="0"/>
                      </a:moveTo>
                      <a:lnTo>
                        <a:pt x="0" y="0"/>
                      </a:lnTo>
                      <a:lnTo>
                        <a:pt x="0" y="50"/>
                      </a:lnTo>
                      <a:lnTo>
                        <a:pt x="708" y="50"/>
                      </a:lnTo>
                      <a:lnTo>
                        <a:pt x="708" y="50"/>
                      </a:lnTo>
                      <a:lnTo>
                        <a:pt x="711" y="38"/>
                      </a:lnTo>
                      <a:lnTo>
                        <a:pt x="714" y="25"/>
                      </a:lnTo>
                      <a:lnTo>
                        <a:pt x="715" y="13"/>
                      </a:lnTo>
                      <a:lnTo>
                        <a:pt x="715" y="1"/>
                      </a:lnTo>
                      <a:lnTo>
                        <a:pt x="715" y="1"/>
                      </a:lnTo>
                      <a:lnTo>
                        <a:pt x="715" y="1"/>
                      </a:lnTo>
                      <a:lnTo>
                        <a:pt x="715" y="1"/>
                      </a:lnTo>
                      <a:lnTo>
                        <a:pt x="715" y="0"/>
                      </a:lnTo>
                      <a:close/>
                    </a:path>
                  </a:pathLst>
                </a:custGeom>
                <a:solidFill>
                  <a:srgbClr val="2A54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8" name="Freeform 243"/>
                <p:cNvSpPr>
                  <a:spLocks/>
                </p:cNvSpPr>
                <p:nvPr userDrawn="1"/>
              </p:nvSpPr>
              <p:spPr bwMode="auto">
                <a:xfrm>
                  <a:off x="10237333" y="493211"/>
                  <a:ext cx="568325" cy="39688"/>
                </a:xfrm>
                <a:custGeom>
                  <a:avLst/>
                  <a:gdLst>
                    <a:gd name="T0" fmla="*/ 715 w 715"/>
                    <a:gd name="T1" fmla="*/ 0 h 50"/>
                    <a:gd name="T2" fmla="*/ 0 w 715"/>
                    <a:gd name="T3" fmla="*/ 0 h 50"/>
                    <a:gd name="T4" fmla="*/ 0 w 715"/>
                    <a:gd name="T5" fmla="*/ 50 h 50"/>
                    <a:gd name="T6" fmla="*/ 708 w 715"/>
                    <a:gd name="T7" fmla="*/ 50 h 50"/>
                    <a:gd name="T8" fmla="*/ 708 w 715"/>
                    <a:gd name="T9" fmla="*/ 50 h 50"/>
                    <a:gd name="T10" fmla="*/ 711 w 715"/>
                    <a:gd name="T11" fmla="*/ 38 h 50"/>
                    <a:gd name="T12" fmla="*/ 714 w 715"/>
                    <a:gd name="T13" fmla="*/ 25 h 50"/>
                    <a:gd name="T14" fmla="*/ 715 w 715"/>
                    <a:gd name="T15" fmla="*/ 13 h 50"/>
                    <a:gd name="T16" fmla="*/ 715 w 715"/>
                    <a:gd name="T17" fmla="*/ 1 h 50"/>
                    <a:gd name="T18" fmla="*/ 715 w 715"/>
                    <a:gd name="T19" fmla="*/ 1 h 50"/>
                    <a:gd name="T20" fmla="*/ 715 w 715"/>
                    <a:gd name="T21" fmla="*/ 1 h 50"/>
                    <a:gd name="T22" fmla="*/ 715 w 715"/>
                    <a:gd name="T23" fmla="*/ 1 h 50"/>
                    <a:gd name="T24" fmla="*/ 715 w 715"/>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5" h="50">
                      <a:moveTo>
                        <a:pt x="715" y="0"/>
                      </a:moveTo>
                      <a:lnTo>
                        <a:pt x="0" y="0"/>
                      </a:lnTo>
                      <a:lnTo>
                        <a:pt x="0" y="50"/>
                      </a:lnTo>
                      <a:lnTo>
                        <a:pt x="708" y="50"/>
                      </a:lnTo>
                      <a:lnTo>
                        <a:pt x="708" y="50"/>
                      </a:lnTo>
                      <a:lnTo>
                        <a:pt x="711" y="38"/>
                      </a:lnTo>
                      <a:lnTo>
                        <a:pt x="714" y="25"/>
                      </a:lnTo>
                      <a:lnTo>
                        <a:pt x="715" y="13"/>
                      </a:lnTo>
                      <a:lnTo>
                        <a:pt x="715" y="1"/>
                      </a:lnTo>
                      <a:lnTo>
                        <a:pt x="715" y="1"/>
                      </a:lnTo>
                      <a:lnTo>
                        <a:pt x="715" y="1"/>
                      </a:lnTo>
                      <a:lnTo>
                        <a:pt x="715" y="1"/>
                      </a:lnTo>
                      <a:lnTo>
                        <a:pt x="71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9" name="Freeform 244"/>
                <p:cNvSpPr>
                  <a:spLocks/>
                </p:cNvSpPr>
                <p:nvPr userDrawn="1"/>
              </p:nvSpPr>
              <p:spPr bwMode="auto">
                <a:xfrm>
                  <a:off x="9791246" y="363036"/>
                  <a:ext cx="79375" cy="80963"/>
                </a:xfrm>
                <a:custGeom>
                  <a:avLst/>
                  <a:gdLst>
                    <a:gd name="T0" fmla="*/ 101 w 101"/>
                    <a:gd name="T1" fmla="*/ 50 h 101"/>
                    <a:gd name="T2" fmla="*/ 101 w 101"/>
                    <a:gd name="T3" fmla="*/ 50 h 101"/>
                    <a:gd name="T4" fmla="*/ 101 w 101"/>
                    <a:gd name="T5" fmla="*/ 60 h 101"/>
                    <a:gd name="T6" fmla="*/ 98 w 101"/>
                    <a:gd name="T7" fmla="*/ 70 h 101"/>
                    <a:gd name="T8" fmla="*/ 93 w 101"/>
                    <a:gd name="T9" fmla="*/ 78 h 101"/>
                    <a:gd name="T10" fmla="*/ 87 w 101"/>
                    <a:gd name="T11" fmla="*/ 87 h 101"/>
                    <a:gd name="T12" fmla="*/ 80 w 101"/>
                    <a:gd name="T13" fmla="*/ 92 h 101"/>
                    <a:gd name="T14" fmla="*/ 70 w 101"/>
                    <a:gd name="T15" fmla="*/ 97 h 101"/>
                    <a:gd name="T16" fmla="*/ 61 w 101"/>
                    <a:gd name="T17" fmla="*/ 100 h 101"/>
                    <a:gd name="T18" fmla="*/ 51 w 101"/>
                    <a:gd name="T19" fmla="*/ 101 h 101"/>
                    <a:gd name="T20" fmla="*/ 51 w 101"/>
                    <a:gd name="T21" fmla="*/ 101 h 101"/>
                    <a:gd name="T22" fmla="*/ 41 w 101"/>
                    <a:gd name="T23" fmla="*/ 100 h 101"/>
                    <a:gd name="T24" fmla="*/ 31 w 101"/>
                    <a:gd name="T25" fmla="*/ 97 h 101"/>
                    <a:gd name="T26" fmla="*/ 23 w 101"/>
                    <a:gd name="T27" fmla="*/ 92 h 101"/>
                    <a:gd name="T28" fmla="*/ 16 w 101"/>
                    <a:gd name="T29" fmla="*/ 87 h 101"/>
                    <a:gd name="T30" fmla="*/ 9 w 101"/>
                    <a:gd name="T31" fmla="*/ 78 h 101"/>
                    <a:gd name="T32" fmla="*/ 4 w 101"/>
                    <a:gd name="T33" fmla="*/ 70 h 101"/>
                    <a:gd name="T34" fmla="*/ 1 w 101"/>
                    <a:gd name="T35" fmla="*/ 60 h 101"/>
                    <a:gd name="T36" fmla="*/ 0 w 101"/>
                    <a:gd name="T37" fmla="*/ 50 h 101"/>
                    <a:gd name="T38" fmla="*/ 0 w 101"/>
                    <a:gd name="T39" fmla="*/ 50 h 101"/>
                    <a:gd name="T40" fmla="*/ 1 w 101"/>
                    <a:gd name="T41" fmla="*/ 40 h 101"/>
                    <a:gd name="T42" fmla="*/ 4 w 101"/>
                    <a:gd name="T43" fmla="*/ 31 h 101"/>
                    <a:gd name="T44" fmla="*/ 9 w 101"/>
                    <a:gd name="T45" fmla="*/ 22 h 101"/>
                    <a:gd name="T46" fmla="*/ 16 w 101"/>
                    <a:gd name="T47" fmla="*/ 14 h 101"/>
                    <a:gd name="T48" fmla="*/ 23 w 101"/>
                    <a:gd name="T49" fmla="*/ 8 h 101"/>
                    <a:gd name="T50" fmla="*/ 31 w 101"/>
                    <a:gd name="T51" fmla="*/ 3 h 101"/>
                    <a:gd name="T52" fmla="*/ 41 w 101"/>
                    <a:gd name="T53" fmla="*/ 1 h 101"/>
                    <a:gd name="T54" fmla="*/ 51 w 101"/>
                    <a:gd name="T55" fmla="*/ 0 h 101"/>
                    <a:gd name="T56" fmla="*/ 51 w 101"/>
                    <a:gd name="T57" fmla="*/ 0 h 101"/>
                    <a:gd name="T58" fmla="*/ 61 w 101"/>
                    <a:gd name="T59" fmla="*/ 1 h 101"/>
                    <a:gd name="T60" fmla="*/ 70 w 101"/>
                    <a:gd name="T61" fmla="*/ 3 h 101"/>
                    <a:gd name="T62" fmla="*/ 80 w 101"/>
                    <a:gd name="T63" fmla="*/ 8 h 101"/>
                    <a:gd name="T64" fmla="*/ 87 w 101"/>
                    <a:gd name="T65" fmla="*/ 14 h 101"/>
                    <a:gd name="T66" fmla="*/ 93 w 101"/>
                    <a:gd name="T67" fmla="*/ 22 h 101"/>
                    <a:gd name="T68" fmla="*/ 98 w 101"/>
                    <a:gd name="T69" fmla="*/ 31 h 101"/>
                    <a:gd name="T70" fmla="*/ 101 w 101"/>
                    <a:gd name="T71" fmla="*/ 40 h 101"/>
                    <a:gd name="T72" fmla="*/ 101 w 101"/>
                    <a:gd name="T73" fmla="*/ 50 h 101"/>
                    <a:gd name="T74" fmla="*/ 101 w 101"/>
                    <a:gd name="T7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1" h="101">
                      <a:moveTo>
                        <a:pt x="101" y="50"/>
                      </a:moveTo>
                      <a:lnTo>
                        <a:pt x="101" y="50"/>
                      </a:lnTo>
                      <a:lnTo>
                        <a:pt x="101" y="60"/>
                      </a:lnTo>
                      <a:lnTo>
                        <a:pt x="98" y="70"/>
                      </a:lnTo>
                      <a:lnTo>
                        <a:pt x="93" y="78"/>
                      </a:lnTo>
                      <a:lnTo>
                        <a:pt x="87" y="87"/>
                      </a:lnTo>
                      <a:lnTo>
                        <a:pt x="80" y="92"/>
                      </a:lnTo>
                      <a:lnTo>
                        <a:pt x="70" y="97"/>
                      </a:lnTo>
                      <a:lnTo>
                        <a:pt x="61" y="100"/>
                      </a:lnTo>
                      <a:lnTo>
                        <a:pt x="51" y="101"/>
                      </a:lnTo>
                      <a:lnTo>
                        <a:pt x="51" y="101"/>
                      </a:lnTo>
                      <a:lnTo>
                        <a:pt x="41" y="100"/>
                      </a:lnTo>
                      <a:lnTo>
                        <a:pt x="31" y="97"/>
                      </a:lnTo>
                      <a:lnTo>
                        <a:pt x="23" y="92"/>
                      </a:lnTo>
                      <a:lnTo>
                        <a:pt x="16" y="87"/>
                      </a:lnTo>
                      <a:lnTo>
                        <a:pt x="9" y="78"/>
                      </a:lnTo>
                      <a:lnTo>
                        <a:pt x="4" y="70"/>
                      </a:lnTo>
                      <a:lnTo>
                        <a:pt x="1" y="60"/>
                      </a:lnTo>
                      <a:lnTo>
                        <a:pt x="0" y="50"/>
                      </a:lnTo>
                      <a:lnTo>
                        <a:pt x="0" y="50"/>
                      </a:lnTo>
                      <a:lnTo>
                        <a:pt x="1" y="40"/>
                      </a:lnTo>
                      <a:lnTo>
                        <a:pt x="4" y="31"/>
                      </a:lnTo>
                      <a:lnTo>
                        <a:pt x="9" y="22"/>
                      </a:lnTo>
                      <a:lnTo>
                        <a:pt x="16" y="14"/>
                      </a:lnTo>
                      <a:lnTo>
                        <a:pt x="23" y="8"/>
                      </a:lnTo>
                      <a:lnTo>
                        <a:pt x="31" y="3"/>
                      </a:lnTo>
                      <a:lnTo>
                        <a:pt x="41" y="1"/>
                      </a:lnTo>
                      <a:lnTo>
                        <a:pt x="51" y="0"/>
                      </a:lnTo>
                      <a:lnTo>
                        <a:pt x="51" y="0"/>
                      </a:lnTo>
                      <a:lnTo>
                        <a:pt x="61" y="1"/>
                      </a:lnTo>
                      <a:lnTo>
                        <a:pt x="70" y="3"/>
                      </a:lnTo>
                      <a:lnTo>
                        <a:pt x="80" y="8"/>
                      </a:lnTo>
                      <a:lnTo>
                        <a:pt x="87" y="14"/>
                      </a:lnTo>
                      <a:lnTo>
                        <a:pt x="93" y="22"/>
                      </a:lnTo>
                      <a:lnTo>
                        <a:pt x="98" y="31"/>
                      </a:lnTo>
                      <a:lnTo>
                        <a:pt x="101" y="40"/>
                      </a:lnTo>
                      <a:lnTo>
                        <a:pt x="101" y="50"/>
                      </a:lnTo>
                      <a:lnTo>
                        <a:pt x="101"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962" name="그룹 961"/>
              <p:cNvGrpSpPr/>
              <p:nvPr userDrawn="1"/>
            </p:nvGrpSpPr>
            <p:grpSpPr>
              <a:xfrm rot="2062520" flipH="1">
                <a:off x="7549630" y="434111"/>
                <a:ext cx="1550425" cy="1943052"/>
                <a:chOff x="184048" y="1047274"/>
                <a:chExt cx="2873312" cy="3600945"/>
              </a:xfrm>
            </p:grpSpPr>
            <p:grpSp>
              <p:nvGrpSpPr>
                <p:cNvPr id="963" name="그룹 962"/>
                <p:cNvGrpSpPr/>
                <p:nvPr userDrawn="1"/>
              </p:nvGrpSpPr>
              <p:grpSpPr>
                <a:xfrm>
                  <a:off x="184048" y="1047274"/>
                  <a:ext cx="2873312" cy="3600945"/>
                  <a:chOff x="-2515452" y="-2739643"/>
                  <a:chExt cx="3798888" cy="4760913"/>
                </a:xfrm>
              </p:grpSpPr>
              <p:sp>
                <p:nvSpPr>
                  <p:cNvPr id="965" name="Freeform 5"/>
                  <p:cNvSpPr>
                    <a:spLocks/>
                  </p:cNvSpPr>
                  <p:nvPr userDrawn="1"/>
                </p:nvSpPr>
                <p:spPr bwMode="auto">
                  <a:xfrm>
                    <a:off x="-754914" y="382970"/>
                    <a:ext cx="2038350" cy="1638300"/>
                  </a:xfrm>
                  <a:custGeom>
                    <a:avLst/>
                    <a:gdLst>
                      <a:gd name="T0" fmla="*/ 2528 w 2569"/>
                      <a:gd name="T1" fmla="*/ 2064 h 2064"/>
                      <a:gd name="T2" fmla="*/ 2569 w 2569"/>
                      <a:gd name="T3" fmla="*/ 2064 h 2064"/>
                      <a:gd name="T4" fmla="*/ 2569 w 2569"/>
                      <a:gd name="T5" fmla="*/ 1742 h 2064"/>
                      <a:gd name="T6" fmla="*/ 2569 w 2569"/>
                      <a:gd name="T7" fmla="*/ 1742 h 2064"/>
                      <a:gd name="T8" fmla="*/ 2568 w 2569"/>
                      <a:gd name="T9" fmla="*/ 1725 h 2064"/>
                      <a:gd name="T10" fmla="*/ 2566 w 2569"/>
                      <a:gd name="T11" fmla="*/ 1708 h 2064"/>
                      <a:gd name="T12" fmla="*/ 2562 w 2569"/>
                      <a:gd name="T13" fmla="*/ 1692 h 2064"/>
                      <a:gd name="T14" fmla="*/ 2557 w 2569"/>
                      <a:gd name="T15" fmla="*/ 1677 h 2064"/>
                      <a:gd name="T16" fmla="*/ 2551 w 2569"/>
                      <a:gd name="T17" fmla="*/ 1663 h 2064"/>
                      <a:gd name="T18" fmla="*/ 2544 w 2569"/>
                      <a:gd name="T19" fmla="*/ 1649 h 2064"/>
                      <a:gd name="T20" fmla="*/ 2537 w 2569"/>
                      <a:gd name="T21" fmla="*/ 1637 h 2064"/>
                      <a:gd name="T22" fmla="*/ 2530 w 2569"/>
                      <a:gd name="T23" fmla="*/ 1626 h 2064"/>
                      <a:gd name="T24" fmla="*/ 2522 w 2569"/>
                      <a:gd name="T25" fmla="*/ 1616 h 2064"/>
                      <a:gd name="T26" fmla="*/ 2514 w 2569"/>
                      <a:gd name="T27" fmla="*/ 1606 h 2064"/>
                      <a:gd name="T28" fmla="*/ 2500 w 2569"/>
                      <a:gd name="T29" fmla="*/ 1591 h 2064"/>
                      <a:gd name="T30" fmla="*/ 2488 w 2569"/>
                      <a:gd name="T31" fmla="*/ 1580 h 2064"/>
                      <a:gd name="T32" fmla="*/ 2479 w 2569"/>
                      <a:gd name="T33" fmla="*/ 1573 h 2064"/>
                      <a:gd name="T34" fmla="*/ 335 w 2569"/>
                      <a:gd name="T35" fmla="*/ 0 h 2064"/>
                      <a:gd name="T36" fmla="*/ 0 w 2569"/>
                      <a:gd name="T37" fmla="*/ 0 h 2064"/>
                      <a:gd name="T38" fmla="*/ 19 w 2569"/>
                      <a:gd name="T39" fmla="*/ 87 h 2064"/>
                      <a:gd name="T40" fmla="*/ 2528 w 2569"/>
                      <a:gd name="T41" fmla="*/ 2064 h 2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9" h="2064">
                        <a:moveTo>
                          <a:pt x="2528" y="2064"/>
                        </a:moveTo>
                        <a:lnTo>
                          <a:pt x="2569" y="2064"/>
                        </a:lnTo>
                        <a:lnTo>
                          <a:pt x="2569" y="1742"/>
                        </a:lnTo>
                        <a:lnTo>
                          <a:pt x="2569" y="1742"/>
                        </a:lnTo>
                        <a:lnTo>
                          <a:pt x="2568" y="1725"/>
                        </a:lnTo>
                        <a:lnTo>
                          <a:pt x="2566" y="1708"/>
                        </a:lnTo>
                        <a:lnTo>
                          <a:pt x="2562" y="1692"/>
                        </a:lnTo>
                        <a:lnTo>
                          <a:pt x="2557" y="1677"/>
                        </a:lnTo>
                        <a:lnTo>
                          <a:pt x="2551" y="1663"/>
                        </a:lnTo>
                        <a:lnTo>
                          <a:pt x="2544" y="1649"/>
                        </a:lnTo>
                        <a:lnTo>
                          <a:pt x="2537" y="1637"/>
                        </a:lnTo>
                        <a:lnTo>
                          <a:pt x="2530" y="1626"/>
                        </a:lnTo>
                        <a:lnTo>
                          <a:pt x="2522" y="1616"/>
                        </a:lnTo>
                        <a:lnTo>
                          <a:pt x="2514" y="1606"/>
                        </a:lnTo>
                        <a:lnTo>
                          <a:pt x="2500" y="1591"/>
                        </a:lnTo>
                        <a:lnTo>
                          <a:pt x="2488" y="1580"/>
                        </a:lnTo>
                        <a:lnTo>
                          <a:pt x="2479" y="1573"/>
                        </a:lnTo>
                        <a:lnTo>
                          <a:pt x="335" y="0"/>
                        </a:lnTo>
                        <a:lnTo>
                          <a:pt x="0" y="0"/>
                        </a:lnTo>
                        <a:lnTo>
                          <a:pt x="19" y="87"/>
                        </a:lnTo>
                        <a:lnTo>
                          <a:pt x="2528" y="2064"/>
                        </a:lnTo>
                        <a:close/>
                      </a:path>
                    </a:pathLst>
                  </a:custGeom>
                  <a:solidFill>
                    <a:srgbClr val="E0E1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6" name="Freeform 6"/>
                  <p:cNvSpPr>
                    <a:spLocks/>
                  </p:cNvSpPr>
                  <p:nvPr userDrawn="1"/>
                </p:nvSpPr>
                <p:spPr bwMode="auto">
                  <a:xfrm>
                    <a:off x="-713639" y="414720"/>
                    <a:ext cx="1965325" cy="1606550"/>
                  </a:xfrm>
                  <a:custGeom>
                    <a:avLst/>
                    <a:gdLst>
                      <a:gd name="T0" fmla="*/ 2403 w 2476"/>
                      <a:gd name="T1" fmla="*/ 1565 h 2023"/>
                      <a:gd name="T2" fmla="*/ 269 w 2476"/>
                      <a:gd name="T3" fmla="*/ 0 h 2023"/>
                      <a:gd name="T4" fmla="*/ 0 w 2476"/>
                      <a:gd name="T5" fmla="*/ 0 h 2023"/>
                      <a:gd name="T6" fmla="*/ 119 w 2476"/>
                      <a:gd name="T7" fmla="*/ 566 h 2023"/>
                      <a:gd name="T8" fmla="*/ 2019 w 2476"/>
                      <a:gd name="T9" fmla="*/ 2023 h 2023"/>
                      <a:gd name="T10" fmla="*/ 2476 w 2476"/>
                      <a:gd name="T11" fmla="*/ 2023 h 2023"/>
                      <a:gd name="T12" fmla="*/ 2476 w 2476"/>
                      <a:gd name="T13" fmla="*/ 1701 h 2023"/>
                      <a:gd name="T14" fmla="*/ 2476 w 2476"/>
                      <a:gd name="T15" fmla="*/ 1701 h 2023"/>
                      <a:gd name="T16" fmla="*/ 2475 w 2476"/>
                      <a:gd name="T17" fmla="*/ 1687 h 2023"/>
                      <a:gd name="T18" fmla="*/ 2473 w 2476"/>
                      <a:gd name="T19" fmla="*/ 1673 h 2023"/>
                      <a:gd name="T20" fmla="*/ 2470 w 2476"/>
                      <a:gd name="T21" fmla="*/ 1661 h 2023"/>
                      <a:gd name="T22" fmla="*/ 2465 w 2476"/>
                      <a:gd name="T23" fmla="*/ 1649 h 2023"/>
                      <a:gd name="T24" fmla="*/ 2461 w 2476"/>
                      <a:gd name="T25" fmla="*/ 1637 h 2023"/>
                      <a:gd name="T26" fmla="*/ 2456 w 2476"/>
                      <a:gd name="T27" fmla="*/ 1627 h 2023"/>
                      <a:gd name="T28" fmla="*/ 2450 w 2476"/>
                      <a:gd name="T29" fmla="*/ 1617 h 2023"/>
                      <a:gd name="T30" fmla="*/ 2444 w 2476"/>
                      <a:gd name="T31" fmla="*/ 1607 h 2023"/>
                      <a:gd name="T32" fmla="*/ 2430 w 2476"/>
                      <a:gd name="T33" fmla="*/ 1592 h 2023"/>
                      <a:gd name="T34" fmla="*/ 2419 w 2476"/>
                      <a:gd name="T35" fmla="*/ 1580 h 2023"/>
                      <a:gd name="T36" fmla="*/ 2409 w 2476"/>
                      <a:gd name="T37" fmla="*/ 1570 h 2023"/>
                      <a:gd name="T38" fmla="*/ 2403 w 2476"/>
                      <a:gd name="T39" fmla="*/ 1565 h 2023"/>
                      <a:gd name="T40" fmla="*/ 2403 w 2476"/>
                      <a:gd name="T41" fmla="*/ 1565 h 2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76" h="2023">
                        <a:moveTo>
                          <a:pt x="2403" y="1565"/>
                        </a:moveTo>
                        <a:lnTo>
                          <a:pt x="269" y="0"/>
                        </a:lnTo>
                        <a:lnTo>
                          <a:pt x="0" y="0"/>
                        </a:lnTo>
                        <a:lnTo>
                          <a:pt x="119" y="566"/>
                        </a:lnTo>
                        <a:lnTo>
                          <a:pt x="2019" y="2023"/>
                        </a:lnTo>
                        <a:lnTo>
                          <a:pt x="2476" y="2023"/>
                        </a:lnTo>
                        <a:lnTo>
                          <a:pt x="2476" y="1701"/>
                        </a:lnTo>
                        <a:lnTo>
                          <a:pt x="2476" y="1701"/>
                        </a:lnTo>
                        <a:lnTo>
                          <a:pt x="2475" y="1687"/>
                        </a:lnTo>
                        <a:lnTo>
                          <a:pt x="2473" y="1673"/>
                        </a:lnTo>
                        <a:lnTo>
                          <a:pt x="2470" y="1661"/>
                        </a:lnTo>
                        <a:lnTo>
                          <a:pt x="2465" y="1649"/>
                        </a:lnTo>
                        <a:lnTo>
                          <a:pt x="2461" y="1637"/>
                        </a:lnTo>
                        <a:lnTo>
                          <a:pt x="2456" y="1627"/>
                        </a:lnTo>
                        <a:lnTo>
                          <a:pt x="2450" y="1617"/>
                        </a:lnTo>
                        <a:lnTo>
                          <a:pt x="2444" y="1607"/>
                        </a:lnTo>
                        <a:lnTo>
                          <a:pt x="2430" y="1592"/>
                        </a:lnTo>
                        <a:lnTo>
                          <a:pt x="2419" y="1580"/>
                        </a:lnTo>
                        <a:lnTo>
                          <a:pt x="2409" y="1570"/>
                        </a:lnTo>
                        <a:lnTo>
                          <a:pt x="2403" y="1565"/>
                        </a:lnTo>
                        <a:lnTo>
                          <a:pt x="2403" y="1565"/>
                        </a:lnTo>
                        <a:close/>
                      </a:path>
                    </a:pathLst>
                  </a:custGeom>
                  <a:solidFill>
                    <a:srgbClr val="ABAD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7" name="Freeform 19"/>
                  <p:cNvSpPr>
                    <a:spLocks noEditPoints="1"/>
                  </p:cNvSpPr>
                  <p:nvPr userDrawn="1"/>
                </p:nvSpPr>
                <p:spPr bwMode="auto">
                  <a:xfrm>
                    <a:off x="-2091589" y="-2488818"/>
                    <a:ext cx="1708150" cy="3411538"/>
                  </a:xfrm>
                  <a:custGeom>
                    <a:avLst/>
                    <a:gdLst>
                      <a:gd name="T0" fmla="*/ 528 w 2152"/>
                      <a:gd name="T1" fmla="*/ 783 h 4297"/>
                      <a:gd name="T2" fmla="*/ 424 w 2152"/>
                      <a:gd name="T3" fmla="*/ 972 h 4297"/>
                      <a:gd name="T4" fmla="*/ 347 w 2152"/>
                      <a:gd name="T5" fmla="*/ 1126 h 4297"/>
                      <a:gd name="T6" fmla="*/ 240 w 2152"/>
                      <a:gd name="T7" fmla="*/ 1370 h 4297"/>
                      <a:gd name="T8" fmla="*/ 146 w 2152"/>
                      <a:gd name="T9" fmla="*/ 1628 h 4297"/>
                      <a:gd name="T10" fmla="*/ 106 w 2152"/>
                      <a:gd name="T11" fmla="*/ 1762 h 4297"/>
                      <a:gd name="T12" fmla="*/ 71 w 2152"/>
                      <a:gd name="T13" fmla="*/ 1898 h 4297"/>
                      <a:gd name="T14" fmla="*/ 44 w 2152"/>
                      <a:gd name="T15" fmla="*/ 2035 h 4297"/>
                      <a:gd name="T16" fmla="*/ 21 w 2152"/>
                      <a:gd name="T17" fmla="*/ 2175 h 4297"/>
                      <a:gd name="T18" fmla="*/ 8 w 2152"/>
                      <a:gd name="T19" fmla="*/ 2316 h 4297"/>
                      <a:gd name="T20" fmla="*/ 1 w 2152"/>
                      <a:gd name="T21" fmla="*/ 2428 h 4297"/>
                      <a:gd name="T22" fmla="*/ 1 w 2152"/>
                      <a:gd name="T23" fmla="*/ 2576 h 4297"/>
                      <a:gd name="T24" fmla="*/ 11 w 2152"/>
                      <a:gd name="T25" fmla="*/ 2814 h 4297"/>
                      <a:gd name="T26" fmla="*/ 27 w 2152"/>
                      <a:gd name="T27" fmla="*/ 2992 h 4297"/>
                      <a:gd name="T28" fmla="*/ 63 w 2152"/>
                      <a:gd name="T29" fmla="*/ 3255 h 4297"/>
                      <a:gd name="T30" fmla="*/ 112 w 2152"/>
                      <a:gd name="T31" fmla="*/ 3519 h 4297"/>
                      <a:gd name="T32" fmla="*/ 176 w 2152"/>
                      <a:gd name="T33" fmla="*/ 3793 h 4297"/>
                      <a:gd name="T34" fmla="*/ 307 w 2152"/>
                      <a:gd name="T35" fmla="*/ 4297 h 4297"/>
                      <a:gd name="T36" fmla="*/ 1835 w 2152"/>
                      <a:gd name="T37" fmla="*/ 4297 h 4297"/>
                      <a:gd name="T38" fmla="*/ 1971 w 2152"/>
                      <a:gd name="T39" fmla="*/ 3794 h 4297"/>
                      <a:gd name="T40" fmla="*/ 2037 w 2152"/>
                      <a:gd name="T41" fmla="*/ 3523 h 4297"/>
                      <a:gd name="T42" fmla="*/ 2089 w 2152"/>
                      <a:gd name="T43" fmla="*/ 3261 h 4297"/>
                      <a:gd name="T44" fmla="*/ 2126 w 2152"/>
                      <a:gd name="T45" fmla="*/ 2996 h 4297"/>
                      <a:gd name="T46" fmla="*/ 2142 w 2152"/>
                      <a:gd name="T47" fmla="*/ 2814 h 4297"/>
                      <a:gd name="T48" fmla="*/ 2152 w 2152"/>
                      <a:gd name="T49" fmla="*/ 2576 h 4297"/>
                      <a:gd name="T50" fmla="*/ 2151 w 2152"/>
                      <a:gd name="T51" fmla="*/ 2428 h 4297"/>
                      <a:gd name="T52" fmla="*/ 2146 w 2152"/>
                      <a:gd name="T53" fmla="*/ 2317 h 4297"/>
                      <a:gd name="T54" fmla="*/ 2132 w 2152"/>
                      <a:gd name="T55" fmla="*/ 2177 h 4297"/>
                      <a:gd name="T56" fmla="*/ 2110 w 2152"/>
                      <a:gd name="T57" fmla="*/ 2040 h 4297"/>
                      <a:gd name="T58" fmla="*/ 2082 w 2152"/>
                      <a:gd name="T59" fmla="*/ 1903 h 4297"/>
                      <a:gd name="T60" fmla="*/ 2048 w 2152"/>
                      <a:gd name="T61" fmla="*/ 1769 h 4297"/>
                      <a:gd name="T62" fmla="*/ 1981 w 2152"/>
                      <a:gd name="T63" fmla="*/ 1551 h 4297"/>
                      <a:gd name="T64" fmla="*/ 1884 w 2152"/>
                      <a:gd name="T65" fmla="*/ 1299 h 4297"/>
                      <a:gd name="T66" fmla="*/ 1775 w 2152"/>
                      <a:gd name="T67" fmla="*/ 1062 h 4297"/>
                      <a:gd name="T68" fmla="*/ 1700 w 2152"/>
                      <a:gd name="T69" fmla="*/ 917 h 4297"/>
                      <a:gd name="T70" fmla="*/ 1589 w 2152"/>
                      <a:gd name="T71" fmla="*/ 720 h 4297"/>
                      <a:gd name="T72" fmla="*/ 1492 w 2152"/>
                      <a:gd name="T73" fmla="*/ 564 h 4297"/>
                      <a:gd name="T74" fmla="*/ 1354 w 2152"/>
                      <a:gd name="T75" fmla="*/ 359 h 4297"/>
                      <a:gd name="T76" fmla="*/ 1235 w 2152"/>
                      <a:gd name="T77" fmla="*/ 196 h 4297"/>
                      <a:gd name="T78" fmla="*/ 1120 w 2152"/>
                      <a:gd name="T79" fmla="*/ 51 h 4297"/>
                      <a:gd name="T80" fmla="*/ 1076 w 2152"/>
                      <a:gd name="T81" fmla="*/ 0 h 4297"/>
                      <a:gd name="T82" fmla="*/ 983 w 2152"/>
                      <a:gd name="T83" fmla="*/ 113 h 4297"/>
                      <a:gd name="T84" fmla="*/ 880 w 2152"/>
                      <a:gd name="T85" fmla="*/ 247 h 4297"/>
                      <a:gd name="T86" fmla="*/ 753 w 2152"/>
                      <a:gd name="T87" fmla="*/ 425 h 4297"/>
                      <a:gd name="T88" fmla="*/ 611 w 2152"/>
                      <a:gd name="T89" fmla="*/ 643 h 4297"/>
                      <a:gd name="T90" fmla="*/ 2002 w 2152"/>
                      <a:gd name="T91" fmla="*/ 2703 h 4297"/>
                      <a:gd name="T92" fmla="*/ 1950 w 2152"/>
                      <a:gd name="T93" fmla="*/ 2674 h 4297"/>
                      <a:gd name="T94" fmla="*/ 1862 w 2152"/>
                      <a:gd name="T95" fmla="*/ 2634 h 4297"/>
                      <a:gd name="T96" fmla="*/ 1763 w 2152"/>
                      <a:gd name="T97" fmla="*/ 2598 h 4297"/>
                      <a:gd name="T98" fmla="*/ 1797 w 2152"/>
                      <a:gd name="T99" fmla="*/ 2609 h 4297"/>
                      <a:gd name="T100" fmla="*/ 1893 w 2152"/>
                      <a:gd name="T101" fmla="*/ 2648 h 4297"/>
                      <a:gd name="T102" fmla="*/ 1976 w 2152"/>
                      <a:gd name="T103" fmla="*/ 2689 h 4297"/>
                      <a:gd name="T104" fmla="*/ 390 w 2152"/>
                      <a:gd name="T105" fmla="*/ 2598 h 4297"/>
                      <a:gd name="T106" fmla="*/ 322 w 2152"/>
                      <a:gd name="T107" fmla="*/ 2622 h 4297"/>
                      <a:gd name="T108" fmla="*/ 231 w 2152"/>
                      <a:gd name="T109" fmla="*/ 2661 h 4297"/>
                      <a:gd name="T110" fmla="*/ 151 w 2152"/>
                      <a:gd name="T111" fmla="*/ 2703 h 4297"/>
                      <a:gd name="T112" fmla="*/ 203 w 2152"/>
                      <a:gd name="T113" fmla="*/ 2674 h 4297"/>
                      <a:gd name="T114" fmla="*/ 290 w 2152"/>
                      <a:gd name="T115" fmla="*/ 2634 h 4297"/>
                      <a:gd name="T116" fmla="*/ 390 w 2152"/>
                      <a:gd name="T117" fmla="*/ 2598 h 4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52" h="4297">
                        <a:moveTo>
                          <a:pt x="563" y="723"/>
                        </a:moveTo>
                        <a:lnTo>
                          <a:pt x="563" y="723"/>
                        </a:lnTo>
                        <a:lnTo>
                          <a:pt x="528" y="783"/>
                        </a:lnTo>
                        <a:lnTo>
                          <a:pt x="493" y="844"/>
                        </a:lnTo>
                        <a:lnTo>
                          <a:pt x="458" y="907"/>
                        </a:lnTo>
                        <a:lnTo>
                          <a:pt x="424" y="972"/>
                        </a:lnTo>
                        <a:lnTo>
                          <a:pt x="424" y="972"/>
                        </a:lnTo>
                        <a:lnTo>
                          <a:pt x="385" y="1048"/>
                        </a:lnTo>
                        <a:lnTo>
                          <a:pt x="347" y="1126"/>
                        </a:lnTo>
                        <a:lnTo>
                          <a:pt x="310" y="1205"/>
                        </a:lnTo>
                        <a:lnTo>
                          <a:pt x="275" y="1287"/>
                        </a:lnTo>
                        <a:lnTo>
                          <a:pt x="240" y="1370"/>
                        </a:lnTo>
                        <a:lnTo>
                          <a:pt x="207" y="1454"/>
                        </a:lnTo>
                        <a:lnTo>
                          <a:pt x="175" y="1541"/>
                        </a:lnTo>
                        <a:lnTo>
                          <a:pt x="146" y="1628"/>
                        </a:lnTo>
                        <a:lnTo>
                          <a:pt x="132" y="1672"/>
                        </a:lnTo>
                        <a:lnTo>
                          <a:pt x="119" y="1717"/>
                        </a:lnTo>
                        <a:lnTo>
                          <a:pt x="106" y="1762"/>
                        </a:lnTo>
                        <a:lnTo>
                          <a:pt x="94" y="1807"/>
                        </a:lnTo>
                        <a:lnTo>
                          <a:pt x="83" y="1852"/>
                        </a:lnTo>
                        <a:lnTo>
                          <a:pt x="71" y="1898"/>
                        </a:lnTo>
                        <a:lnTo>
                          <a:pt x="61" y="1943"/>
                        </a:lnTo>
                        <a:lnTo>
                          <a:pt x="52" y="1989"/>
                        </a:lnTo>
                        <a:lnTo>
                          <a:pt x="44" y="2035"/>
                        </a:lnTo>
                        <a:lnTo>
                          <a:pt x="35" y="2082"/>
                        </a:lnTo>
                        <a:lnTo>
                          <a:pt x="28" y="2128"/>
                        </a:lnTo>
                        <a:lnTo>
                          <a:pt x="21" y="2175"/>
                        </a:lnTo>
                        <a:lnTo>
                          <a:pt x="16" y="2223"/>
                        </a:lnTo>
                        <a:lnTo>
                          <a:pt x="11" y="2269"/>
                        </a:lnTo>
                        <a:lnTo>
                          <a:pt x="8" y="2316"/>
                        </a:lnTo>
                        <a:lnTo>
                          <a:pt x="4" y="2364"/>
                        </a:lnTo>
                        <a:lnTo>
                          <a:pt x="4" y="2364"/>
                        </a:lnTo>
                        <a:lnTo>
                          <a:pt x="1" y="2428"/>
                        </a:lnTo>
                        <a:lnTo>
                          <a:pt x="0" y="2492"/>
                        </a:lnTo>
                        <a:lnTo>
                          <a:pt x="0" y="2492"/>
                        </a:lnTo>
                        <a:lnTo>
                          <a:pt x="1" y="2576"/>
                        </a:lnTo>
                        <a:lnTo>
                          <a:pt x="3" y="2657"/>
                        </a:lnTo>
                        <a:lnTo>
                          <a:pt x="6" y="2736"/>
                        </a:lnTo>
                        <a:lnTo>
                          <a:pt x="11" y="2814"/>
                        </a:lnTo>
                        <a:lnTo>
                          <a:pt x="11" y="2814"/>
                        </a:lnTo>
                        <a:lnTo>
                          <a:pt x="18" y="2904"/>
                        </a:lnTo>
                        <a:lnTo>
                          <a:pt x="27" y="2992"/>
                        </a:lnTo>
                        <a:lnTo>
                          <a:pt x="37" y="3081"/>
                        </a:lnTo>
                        <a:lnTo>
                          <a:pt x="50" y="3168"/>
                        </a:lnTo>
                        <a:lnTo>
                          <a:pt x="63" y="3255"/>
                        </a:lnTo>
                        <a:lnTo>
                          <a:pt x="77" y="3343"/>
                        </a:lnTo>
                        <a:lnTo>
                          <a:pt x="95" y="3430"/>
                        </a:lnTo>
                        <a:lnTo>
                          <a:pt x="112" y="3519"/>
                        </a:lnTo>
                        <a:lnTo>
                          <a:pt x="132" y="3608"/>
                        </a:lnTo>
                        <a:lnTo>
                          <a:pt x="154" y="3700"/>
                        </a:lnTo>
                        <a:lnTo>
                          <a:pt x="176" y="3793"/>
                        </a:lnTo>
                        <a:lnTo>
                          <a:pt x="200" y="3888"/>
                        </a:lnTo>
                        <a:lnTo>
                          <a:pt x="251" y="4087"/>
                        </a:lnTo>
                        <a:lnTo>
                          <a:pt x="307" y="4297"/>
                        </a:lnTo>
                        <a:lnTo>
                          <a:pt x="1835" y="4297"/>
                        </a:lnTo>
                        <a:lnTo>
                          <a:pt x="1835" y="4297"/>
                        </a:lnTo>
                        <a:lnTo>
                          <a:pt x="1835" y="4297"/>
                        </a:lnTo>
                        <a:lnTo>
                          <a:pt x="1894" y="4087"/>
                        </a:lnTo>
                        <a:lnTo>
                          <a:pt x="1947" y="3889"/>
                        </a:lnTo>
                        <a:lnTo>
                          <a:pt x="1971" y="3794"/>
                        </a:lnTo>
                        <a:lnTo>
                          <a:pt x="1995" y="3702"/>
                        </a:lnTo>
                        <a:lnTo>
                          <a:pt x="2017" y="3612"/>
                        </a:lnTo>
                        <a:lnTo>
                          <a:pt x="2037" y="3523"/>
                        </a:lnTo>
                        <a:lnTo>
                          <a:pt x="2056" y="3435"/>
                        </a:lnTo>
                        <a:lnTo>
                          <a:pt x="2073" y="3348"/>
                        </a:lnTo>
                        <a:lnTo>
                          <a:pt x="2089" y="3261"/>
                        </a:lnTo>
                        <a:lnTo>
                          <a:pt x="2103" y="3173"/>
                        </a:lnTo>
                        <a:lnTo>
                          <a:pt x="2115" y="3086"/>
                        </a:lnTo>
                        <a:lnTo>
                          <a:pt x="2126" y="2996"/>
                        </a:lnTo>
                        <a:lnTo>
                          <a:pt x="2135" y="2906"/>
                        </a:lnTo>
                        <a:lnTo>
                          <a:pt x="2142" y="2814"/>
                        </a:lnTo>
                        <a:lnTo>
                          <a:pt x="2142" y="2814"/>
                        </a:lnTo>
                        <a:lnTo>
                          <a:pt x="2146" y="2736"/>
                        </a:lnTo>
                        <a:lnTo>
                          <a:pt x="2150" y="2656"/>
                        </a:lnTo>
                        <a:lnTo>
                          <a:pt x="2152" y="2576"/>
                        </a:lnTo>
                        <a:lnTo>
                          <a:pt x="2152" y="2492"/>
                        </a:lnTo>
                        <a:lnTo>
                          <a:pt x="2152" y="2492"/>
                        </a:lnTo>
                        <a:lnTo>
                          <a:pt x="2151" y="2428"/>
                        </a:lnTo>
                        <a:lnTo>
                          <a:pt x="2149" y="2364"/>
                        </a:lnTo>
                        <a:lnTo>
                          <a:pt x="2149" y="2364"/>
                        </a:lnTo>
                        <a:lnTo>
                          <a:pt x="2146" y="2317"/>
                        </a:lnTo>
                        <a:lnTo>
                          <a:pt x="2142" y="2270"/>
                        </a:lnTo>
                        <a:lnTo>
                          <a:pt x="2137" y="2224"/>
                        </a:lnTo>
                        <a:lnTo>
                          <a:pt x="2132" y="2177"/>
                        </a:lnTo>
                        <a:lnTo>
                          <a:pt x="2126" y="2131"/>
                        </a:lnTo>
                        <a:lnTo>
                          <a:pt x="2118" y="2086"/>
                        </a:lnTo>
                        <a:lnTo>
                          <a:pt x="2110" y="2040"/>
                        </a:lnTo>
                        <a:lnTo>
                          <a:pt x="2102" y="1994"/>
                        </a:lnTo>
                        <a:lnTo>
                          <a:pt x="2093" y="1948"/>
                        </a:lnTo>
                        <a:lnTo>
                          <a:pt x="2082" y="1903"/>
                        </a:lnTo>
                        <a:lnTo>
                          <a:pt x="2072" y="1859"/>
                        </a:lnTo>
                        <a:lnTo>
                          <a:pt x="2061" y="1813"/>
                        </a:lnTo>
                        <a:lnTo>
                          <a:pt x="2048" y="1769"/>
                        </a:lnTo>
                        <a:lnTo>
                          <a:pt x="2036" y="1725"/>
                        </a:lnTo>
                        <a:lnTo>
                          <a:pt x="2009" y="1637"/>
                        </a:lnTo>
                        <a:lnTo>
                          <a:pt x="1981" y="1551"/>
                        </a:lnTo>
                        <a:lnTo>
                          <a:pt x="1950" y="1466"/>
                        </a:lnTo>
                        <a:lnTo>
                          <a:pt x="1918" y="1381"/>
                        </a:lnTo>
                        <a:lnTo>
                          <a:pt x="1884" y="1299"/>
                        </a:lnTo>
                        <a:lnTo>
                          <a:pt x="1849" y="1219"/>
                        </a:lnTo>
                        <a:lnTo>
                          <a:pt x="1812" y="1140"/>
                        </a:lnTo>
                        <a:lnTo>
                          <a:pt x="1775" y="1062"/>
                        </a:lnTo>
                        <a:lnTo>
                          <a:pt x="1737" y="987"/>
                        </a:lnTo>
                        <a:lnTo>
                          <a:pt x="1737" y="987"/>
                        </a:lnTo>
                        <a:lnTo>
                          <a:pt x="1700" y="917"/>
                        </a:lnTo>
                        <a:lnTo>
                          <a:pt x="1663" y="849"/>
                        </a:lnTo>
                        <a:lnTo>
                          <a:pt x="1626" y="784"/>
                        </a:lnTo>
                        <a:lnTo>
                          <a:pt x="1589" y="720"/>
                        </a:lnTo>
                        <a:lnTo>
                          <a:pt x="1589" y="720"/>
                        </a:lnTo>
                        <a:lnTo>
                          <a:pt x="1539" y="640"/>
                        </a:lnTo>
                        <a:lnTo>
                          <a:pt x="1492" y="564"/>
                        </a:lnTo>
                        <a:lnTo>
                          <a:pt x="1445" y="492"/>
                        </a:lnTo>
                        <a:lnTo>
                          <a:pt x="1398" y="423"/>
                        </a:lnTo>
                        <a:lnTo>
                          <a:pt x="1354" y="359"/>
                        </a:lnTo>
                        <a:lnTo>
                          <a:pt x="1312" y="300"/>
                        </a:lnTo>
                        <a:lnTo>
                          <a:pt x="1272" y="246"/>
                        </a:lnTo>
                        <a:lnTo>
                          <a:pt x="1235" y="196"/>
                        </a:lnTo>
                        <a:lnTo>
                          <a:pt x="1201" y="151"/>
                        </a:lnTo>
                        <a:lnTo>
                          <a:pt x="1170" y="112"/>
                        </a:lnTo>
                        <a:lnTo>
                          <a:pt x="1120" y="51"/>
                        </a:lnTo>
                        <a:lnTo>
                          <a:pt x="1088" y="13"/>
                        </a:lnTo>
                        <a:lnTo>
                          <a:pt x="1076" y="0"/>
                        </a:lnTo>
                        <a:lnTo>
                          <a:pt x="1076" y="0"/>
                        </a:lnTo>
                        <a:lnTo>
                          <a:pt x="1065" y="13"/>
                        </a:lnTo>
                        <a:lnTo>
                          <a:pt x="1033" y="51"/>
                        </a:lnTo>
                        <a:lnTo>
                          <a:pt x="983" y="113"/>
                        </a:lnTo>
                        <a:lnTo>
                          <a:pt x="952" y="152"/>
                        </a:lnTo>
                        <a:lnTo>
                          <a:pt x="918" y="196"/>
                        </a:lnTo>
                        <a:lnTo>
                          <a:pt x="880" y="247"/>
                        </a:lnTo>
                        <a:lnTo>
                          <a:pt x="840" y="301"/>
                        </a:lnTo>
                        <a:lnTo>
                          <a:pt x="798" y="361"/>
                        </a:lnTo>
                        <a:lnTo>
                          <a:pt x="753" y="425"/>
                        </a:lnTo>
                        <a:lnTo>
                          <a:pt x="707" y="494"/>
                        </a:lnTo>
                        <a:lnTo>
                          <a:pt x="660" y="566"/>
                        </a:lnTo>
                        <a:lnTo>
                          <a:pt x="611" y="643"/>
                        </a:lnTo>
                        <a:lnTo>
                          <a:pt x="563" y="723"/>
                        </a:lnTo>
                        <a:lnTo>
                          <a:pt x="563" y="723"/>
                        </a:lnTo>
                        <a:close/>
                        <a:moveTo>
                          <a:pt x="2002" y="2703"/>
                        </a:moveTo>
                        <a:lnTo>
                          <a:pt x="2002" y="2703"/>
                        </a:lnTo>
                        <a:lnTo>
                          <a:pt x="1976" y="2689"/>
                        </a:lnTo>
                        <a:lnTo>
                          <a:pt x="1950" y="2674"/>
                        </a:lnTo>
                        <a:lnTo>
                          <a:pt x="1922" y="2661"/>
                        </a:lnTo>
                        <a:lnTo>
                          <a:pt x="1893" y="2648"/>
                        </a:lnTo>
                        <a:lnTo>
                          <a:pt x="1862" y="2634"/>
                        </a:lnTo>
                        <a:lnTo>
                          <a:pt x="1830" y="2622"/>
                        </a:lnTo>
                        <a:lnTo>
                          <a:pt x="1797" y="2611"/>
                        </a:lnTo>
                        <a:lnTo>
                          <a:pt x="1763" y="2598"/>
                        </a:lnTo>
                        <a:lnTo>
                          <a:pt x="1763" y="2598"/>
                        </a:lnTo>
                        <a:lnTo>
                          <a:pt x="1763" y="2598"/>
                        </a:lnTo>
                        <a:lnTo>
                          <a:pt x="1797" y="2609"/>
                        </a:lnTo>
                        <a:lnTo>
                          <a:pt x="1830" y="2622"/>
                        </a:lnTo>
                        <a:lnTo>
                          <a:pt x="1862" y="2634"/>
                        </a:lnTo>
                        <a:lnTo>
                          <a:pt x="1893" y="2648"/>
                        </a:lnTo>
                        <a:lnTo>
                          <a:pt x="1922" y="2661"/>
                        </a:lnTo>
                        <a:lnTo>
                          <a:pt x="1950" y="2674"/>
                        </a:lnTo>
                        <a:lnTo>
                          <a:pt x="1976" y="2689"/>
                        </a:lnTo>
                        <a:lnTo>
                          <a:pt x="2002" y="2703"/>
                        </a:lnTo>
                        <a:lnTo>
                          <a:pt x="2002" y="2703"/>
                        </a:lnTo>
                        <a:close/>
                        <a:moveTo>
                          <a:pt x="390" y="2598"/>
                        </a:moveTo>
                        <a:lnTo>
                          <a:pt x="390" y="2598"/>
                        </a:lnTo>
                        <a:lnTo>
                          <a:pt x="355" y="2611"/>
                        </a:lnTo>
                        <a:lnTo>
                          <a:pt x="322" y="2622"/>
                        </a:lnTo>
                        <a:lnTo>
                          <a:pt x="290" y="2634"/>
                        </a:lnTo>
                        <a:lnTo>
                          <a:pt x="260" y="2648"/>
                        </a:lnTo>
                        <a:lnTo>
                          <a:pt x="231" y="2661"/>
                        </a:lnTo>
                        <a:lnTo>
                          <a:pt x="203" y="2674"/>
                        </a:lnTo>
                        <a:lnTo>
                          <a:pt x="176" y="2689"/>
                        </a:lnTo>
                        <a:lnTo>
                          <a:pt x="151" y="2703"/>
                        </a:lnTo>
                        <a:lnTo>
                          <a:pt x="151" y="2703"/>
                        </a:lnTo>
                        <a:lnTo>
                          <a:pt x="176" y="2689"/>
                        </a:lnTo>
                        <a:lnTo>
                          <a:pt x="203" y="2674"/>
                        </a:lnTo>
                        <a:lnTo>
                          <a:pt x="231" y="2661"/>
                        </a:lnTo>
                        <a:lnTo>
                          <a:pt x="260" y="2648"/>
                        </a:lnTo>
                        <a:lnTo>
                          <a:pt x="290" y="2634"/>
                        </a:lnTo>
                        <a:lnTo>
                          <a:pt x="322" y="2622"/>
                        </a:lnTo>
                        <a:lnTo>
                          <a:pt x="355" y="2609"/>
                        </a:lnTo>
                        <a:lnTo>
                          <a:pt x="390" y="2598"/>
                        </a:lnTo>
                        <a:lnTo>
                          <a:pt x="390" y="2598"/>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8" name="Rectangle 20"/>
                  <p:cNvSpPr>
                    <a:spLocks noChangeArrowheads="1"/>
                  </p:cNvSpPr>
                  <p:nvPr userDrawn="1"/>
                </p:nvSpPr>
                <p:spPr bwMode="auto">
                  <a:xfrm>
                    <a:off x="-1243864" y="-2692018"/>
                    <a:ext cx="14288" cy="406400"/>
                  </a:xfrm>
                  <a:prstGeom prst="rect">
                    <a:avLst/>
                  </a:prstGeom>
                  <a:solidFill>
                    <a:srgbClr val="80828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9" name="Freeform 21"/>
                  <p:cNvSpPr>
                    <a:spLocks/>
                  </p:cNvSpPr>
                  <p:nvPr userDrawn="1"/>
                </p:nvSpPr>
                <p:spPr bwMode="auto">
                  <a:xfrm>
                    <a:off x="-1285139" y="-2739643"/>
                    <a:ext cx="96838" cy="96838"/>
                  </a:xfrm>
                  <a:custGeom>
                    <a:avLst/>
                    <a:gdLst>
                      <a:gd name="T0" fmla="*/ 122 w 122"/>
                      <a:gd name="T1" fmla="*/ 61 h 122"/>
                      <a:gd name="T2" fmla="*/ 122 w 122"/>
                      <a:gd name="T3" fmla="*/ 61 h 122"/>
                      <a:gd name="T4" fmla="*/ 121 w 122"/>
                      <a:gd name="T5" fmla="*/ 68 h 122"/>
                      <a:gd name="T6" fmla="*/ 120 w 122"/>
                      <a:gd name="T7" fmla="*/ 73 h 122"/>
                      <a:gd name="T8" fmla="*/ 117 w 122"/>
                      <a:gd name="T9" fmla="*/ 85 h 122"/>
                      <a:gd name="T10" fmla="*/ 111 w 122"/>
                      <a:gd name="T11" fmla="*/ 96 h 122"/>
                      <a:gd name="T12" fmla="*/ 104 w 122"/>
                      <a:gd name="T13" fmla="*/ 105 h 122"/>
                      <a:gd name="T14" fmla="*/ 94 w 122"/>
                      <a:gd name="T15" fmla="*/ 112 h 122"/>
                      <a:gd name="T16" fmla="*/ 84 w 122"/>
                      <a:gd name="T17" fmla="*/ 117 h 122"/>
                      <a:gd name="T18" fmla="*/ 73 w 122"/>
                      <a:gd name="T19" fmla="*/ 121 h 122"/>
                      <a:gd name="T20" fmla="*/ 67 w 122"/>
                      <a:gd name="T21" fmla="*/ 122 h 122"/>
                      <a:gd name="T22" fmla="*/ 60 w 122"/>
                      <a:gd name="T23" fmla="*/ 122 h 122"/>
                      <a:gd name="T24" fmla="*/ 60 w 122"/>
                      <a:gd name="T25" fmla="*/ 122 h 122"/>
                      <a:gd name="T26" fmla="*/ 54 w 122"/>
                      <a:gd name="T27" fmla="*/ 122 h 122"/>
                      <a:gd name="T28" fmla="*/ 48 w 122"/>
                      <a:gd name="T29" fmla="*/ 121 h 122"/>
                      <a:gd name="T30" fmla="*/ 37 w 122"/>
                      <a:gd name="T31" fmla="*/ 117 h 122"/>
                      <a:gd name="T32" fmla="*/ 26 w 122"/>
                      <a:gd name="T33" fmla="*/ 112 h 122"/>
                      <a:gd name="T34" fmla="*/ 17 w 122"/>
                      <a:gd name="T35" fmla="*/ 105 h 122"/>
                      <a:gd name="T36" fmla="*/ 10 w 122"/>
                      <a:gd name="T37" fmla="*/ 96 h 122"/>
                      <a:gd name="T38" fmla="*/ 4 w 122"/>
                      <a:gd name="T39" fmla="*/ 85 h 122"/>
                      <a:gd name="T40" fmla="*/ 1 w 122"/>
                      <a:gd name="T41" fmla="*/ 73 h 122"/>
                      <a:gd name="T42" fmla="*/ 0 w 122"/>
                      <a:gd name="T43" fmla="*/ 68 h 122"/>
                      <a:gd name="T44" fmla="*/ 0 w 122"/>
                      <a:gd name="T45" fmla="*/ 61 h 122"/>
                      <a:gd name="T46" fmla="*/ 0 w 122"/>
                      <a:gd name="T47" fmla="*/ 61 h 122"/>
                      <a:gd name="T48" fmla="*/ 0 w 122"/>
                      <a:gd name="T49" fmla="*/ 55 h 122"/>
                      <a:gd name="T50" fmla="*/ 1 w 122"/>
                      <a:gd name="T51" fmla="*/ 48 h 122"/>
                      <a:gd name="T52" fmla="*/ 4 w 122"/>
                      <a:gd name="T53" fmla="*/ 37 h 122"/>
                      <a:gd name="T54" fmla="*/ 10 w 122"/>
                      <a:gd name="T55" fmla="*/ 27 h 122"/>
                      <a:gd name="T56" fmla="*/ 17 w 122"/>
                      <a:gd name="T57" fmla="*/ 17 h 122"/>
                      <a:gd name="T58" fmla="*/ 26 w 122"/>
                      <a:gd name="T59" fmla="*/ 10 h 122"/>
                      <a:gd name="T60" fmla="*/ 37 w 122"/>
                      <a:gd name="T61" fmla="*/ 5 h 122"/>
                      <a:gd name="T62" fmla="*/ 48 w 122"/>
                      <a:gd name="T63" fmla="*/ 1 h 122"/>
                      <a:gd name="T64" fmla="*/ 54 w 122"/>
                      <a:gd name="T65" fmla="*/ 0 h 122"/>
                      <a:gd name="T66" fmla="*/ 60 w 122"/>
                      <a:gd name="T67" fmla="*/ 0 h 122"/>
                      <a:gd name="T68" fmla="*/ 60 w 122"/>
                      <a:gd name="T69" fmla="*/ 0 h 122"/>
                      <a:gd name="T70" fmla="*/ 67 w 122"/>
                      <a:gd name="T71" fmla="*/ 0 h 122"/>
                      <a:gd name="T72" fmla="*/ 73 w 122"/>
                      <a:gd name="T73" fmla="*/ 1 h 122"/>
                      <a:gd name="T74" fmla="*/ 84 w 122"/>
                      <a:gd name="T75" fmla="*/ 5 h 122"/>
                      <a:gd name="T76" fmla="*/ 94 w 122"/>
                      <a:gd name="T77" fmla="*/ 10 h 122"/>
                      <a:gd name="T78" fmla="*/ 104 w 122"/>
                      <a:gd name="T79" fmla="*/ 17 h 122"/>
                      <a:gd name="T80" fmla="*/ 111 w 122"/>
                      <a:gd name="T81" fmla="*/ 27 h 122"/>
                      <a:gd name="T82" fmla="*/ 117 w 122"/>
                      <a:gd name="T83" fmla="*/ 37 h 122"/>
                      <a:gd name="T84" fmla="*/ 120 w 122"/>
                      <a:gd name="T85" fmla="*/ 48 h 122"/>
                      <a:gd name="T86" fmla="*/ 121 w 122"/>
                      <a:gd name="T87" fmla="*/ 55 h 122"/>
                      <a:gd name="T88" fmla="*/ 122 w 122"/>
                      <a:gd name="T89" fmla="*/ 61 h 122"/>
                      <a:gd name="T90" fmla="*/ 122 w 122"/>
                      <a:gd name="T91" fmla="*/ 6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 h="122">
                        <a:moveTo>
                          <a:pt x="122" y="61"/>
                        </a:moveTo>
                        <a:lnTo>
                          <a:pt x="122" y="61"/>
                        </a:lnTo>
                        <a:lnTo>
                          <a:pt x="121" y="68"/>
                        </a:lnTo>
                        <a:lnTo>
                          <a:pt x="120" y="73"/>
                        </a:lnTo>
                        <a:lnTo>
                          <a:pt x="117" y="85"/>
                        </a:lnTo>
                        <a:lnTo>
                          <a:pt x="111" y="96"/>
                        </a:lnTo>
                        <a:lnTo>
                          <a:pt x="104" y="105"/>
                        </a:lnTo>
                        <a:lnTo>
                          <a:pt x="94" y="112"/>
                        </a:lnTo>
                        <a:lnTo>
                          <a:pt x="84" y="117"/>
                        </a:lnTo>
                        <a:lnTo>
                          <a:pt x="73" y="121"/>
                        </a:lnTo>
                        <a:lnTo>
                          <a:pt x="67" y="122"/>
                        </a:lnTo>
                        <a:lnTo>
                          <a:pt x="60" y="122"/>
                        </a:lnTo>
                        <a:lnTo>
                          <a:pt x="60" y="122"/>
                        </a:lnTo>
                        <a:lnTo>
                          <a:pt x="54" y="122"/>
                        </a:lnTo>
                        <a:lnTo>
                          <a:pt x="48" y="121"/>
                        </a:lnTo>
                        <a:lnTo>
                          <a:pt x="37" y="117"/>
                        </a:lnTo>
                        <a:lnTo>
                          <a:pt x="26" y="112"/>
                        </a:lnTo>
                        <a:lnTo>
                          <a:pt x="17" y="105"/>
                        </a:lnTo>
                        <a:lnTo>
                          <a:pt x="10" y="96"/>
                        </a:lnTo>
                        <a:lnTo>
                          <a:pt x="4" y="85"/>
                        </a:lnTo>
                        <a:lnTo>
                          <a:pt x="1" y="73"/>
                        </a:lnTo>
                        <a:lnTo>
                          <a:pt x="0" y="68"/>
                        </a:lnTo>
                        <a:lnTo>
                          <a:pt x="0" y="61"/>
                        </a:lnTo>
                        <a:lnTo>
                          <a:pt x="0" y="61"/>
                        </a:lnTo>
                        <a:lnTo>
                          <a:pt x="0" y="55"/>
                        </a:lnTo>
                        <a:lnTo>
                          <a:pt x="1" y="48"/>
                        </a:lnTo>
                        <a:lnTo>
                          <a:pt x="4" y="37"/>
                        </a:lnTo>
                        <a:lnTo>
                          <a:pt x="10" y="27"/>
                        </a:lnTo>
                        <a:lnTo>
                          <a:pt x="17" y="17"/>
                        </a:lnTo>
                        <a:lnTo>
                          <a:pt x="26" y="10"/>
                        </a:lnTo>
                        <a:lnTo>
                          <a:pt x="37" y="5"/>
                        </a:lnTo>
                        <a:lnTo>
                          <a:pt x="48" y="1"/>
                        </a:lnTo>
                        <a:lnTo>
                          <a:pt x="54" y="0"/>
                        </a:lnTo>
                        <a:lnTo>
                          <a:pt x="60" y="0"/>
                        </a:lnTo>
                        <a:lnTo>
                          <a:pt x="60" y="0"/>
                        </a:lnTo>
                        <a:lnTo>
                          <a:pt x="67" y="0"/>
                        </a:lnTo>
                        <a:lnTo>
                          <a:pt x="73" y="1"/>
                        </a:lnTo>
                        <a:lnTo>
                          <a:pt x="84" y="5"/>
                        </a:lnTo>
                        <a:lnTo>
                          <a:pt x="94" y="10"/>
                        </a:lnTo>
                        <a:lnTo>
                          <a:pt x="104" y="17"/>
                        </a:lnTo>
                        <a:lnTo>
                          <a:pt x="111" y="27"/>
                        </a:lnTo>
                        <a:lnTo>
                          <a:pt x="117" y="37"/>
                        </a:lnTo>
                        <a:lnTo>
                          <a:pt x="120" y="48"/>
                        </a:lnTo>
                        <a:lnTo>
                          <a:pt x="121" y="55"/>
                        </a:lnTo>
                        <a:lnTo>
                          <a:pt x="122" y="61"/>
                        </a:lnTo>
                        <a:lnTo>
                          <a:pt x="122" y="61"/>
                        </a:ln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0" name="Freeform 22"/>
                  <p:cNvSpPr>
                    <a:spLocks/>
                  </p:cNvSpPr>
                  <p:nvPr userDrawn="1"/>
                </p:nvSpPr>
                <p:spPr bwMode="auto">
                  <a:xfrm>
                    <a:off x="-810477" y="327407"/>
                    <a:ext cx="850900" cy="1693863"/>
                  </a:xfrm>
                  <a:custGeom>
                    <a:avLst/>
                    <a:gdLst>
                      <a:gd name="T0" fmla="*/ 400 w 1073"/>
                      <a:gd name="T1" fmla="*/ 0 h 2134"/>
                      <a:gd name="T2" fmla="*/ 400 w 1073"/>
                      <a:gd name="T3" fmla="*/ 0 h 2134"/>
                      <a:gd name="T4" fmla="*/ 419 w 1073"/>
                      <a:gd name="T5" fmla="*/ 14 h 2134"/>
                      <a:gd name="T6" fmla="*/ 471 w 1073"/>
                      <a:gd name="T7" fmla="*/ 51 h 2134"/>
                      <a:gd name="T8" fmla="*/ 550 w 1073"/>
                      <a:gd name="T9" fmla="*/ 104 h 2134"/>
                      <a:gd name="T10" fmla="*/ 597 w 1073"/>
                      <a:gd name="T11" fmla="*/ 135 h 2134"/>
                      <a:gd name="T12" fmla="*/ 647 w 1073"/>
                      <a:gd name="T13" fmla="*/ 167 h 2134"/>
                      <a:gd name="T14" fmla="*/ 700 w 1073"/>
                      <a:gd name="T15" fmla="*/ 200 h 2134"/>
                      <a:gd name="T16" fmla="*/ 755 w 1073"/>
                      <a:gd name="T17" fmla="*/ 232 h 2134"/>
                      <a:gd name="T18" fmla="*/ 811 w 1073"/>
                      <a:gd name="T19" fmla="*/ 263 h 2134"/>
                      <a:gd name="T20" fmla="*/ 867 w 1073"/>
                      <a:gd name="T21" fmla="*/ 292 h 2134"/>
                      <a:gd name="T22" fmla="*/ 895 w 1073"/>
                      <a:gd name="T23" fmla="*/ 304 h 2134"/>
                      <a:gd name="T24" fmla="*/ 922 w 1073"/>
                      <a:gd name="T25" fmla="*/ 317 h 2134"/>
                      <a:gd name="T26" fmla="*/ 949 w 1073"/>
                      <a:gd name="T27" fmla="*/ 329 h 2134"/>
                      <a:gd name="T28" fmla="*/ 975 w 1073"/>
                      <a:gd name="T29" fmla="*/ 339 h 2134"/>
                      <a:gd name="T30" fmla="*/ 1001 w 1073"/>
                      <a:gd name="T31" fmla="*/ 347 h 2134"/>
                      <a:gd name="T32" fmla="*/ 1026 w 1073"/>
                      <a:gd name="T33" fmla="*/ 355 h 2134"/>
                      <a:gd name="T34" fmla="*/ 1051 w 1073"/>
                      <a:gd name="T35" fmla="*/ 362 h 2134"/>
                      <a:gd name="T36" fmla="*/ 1073 w 1073"/>
                      <a:gd name="T37" fmla="*/ 367 h 2134"/>
                      <a:gd name="T38" fmla="*/ 699 w 1073"/>
                      <a:gd name="T39" fmla="*/ 2134 h 2134"/>
                      <a:gd name="T40" fmla="*/ 579 w 1073"/>
                      <a:gd name="T41" fmla="*/ 2134 h 2134"/>
                      <a:gd name="T42" fmla="*/ 579 w 1073"/>
                      <a:gd name="T43" fmla="*/ 2134 h 2134"/>
                      <a:gd name="T44" fmla="*/ 585 w 1073"/>
                      <a:gd name="T45" fmla="*/ 2078 h 2134"/>
                      <a:gd name="T46" fmla="*/ 591 w 1073"/>
                      <a:gd name="T47" fmla="*/ 2014 h 2134"/>
                      <a:gd name="T48" fmla="*/ 596 w 1073"/>
                      <a:gd name="T49" fmla="*/ 1929 h 2134"/>
                      <a:gd name="T50" fmla="*/ 599 w 1073"/>
                      <a:gd name="T51" fmla="*/ 1881 h 2134"/>
                      <a:gd name="T52" fmla="*/ 601 w 1073"/>
                      <a:gd name="T53" fmla="*/ 1830 h 2134"/>
                      <a:gd name="T54" fmla="*/ 602 w 1073"/>
                      <a:gd name="T55" fmla="*/ 1774 h 2134"/>
                      <a:gd name="T56" fmla="*/ 603 w 1073"/>
                      <a:gd name="T57" fmla="*/ 1716 h 2134"/>
                      <a:gd name="T58" fmla="*/ 603 w 1073"/>
                      <a:gd name="T59" fmla="*/ 1657 h 2134"/>
                      <a:gd name="T60" fmla="*/ 602 w 1073"/>
                      <a:gd name="T61" fmla="*/ 1595 h 2134"/>
                      <a:gd name="T62" fmla="*/ 599 w 1073"/>
                      <a:gd name="T63" fmla="*/ 1532 h 2134"/>
                      <a:gd name="T64" fmla="*/ 595 w 1073"/>
                      <a:gd name="T65" fmla="*/ 1467 h 2134"/>
                      <a:gd name="T66" fmla="*/ 590 w 1073"/>
                      <a:gd name="T67" fmla="*/ 1404 h 2134"/>
                      <a:gd name="T68" fmla="*/ 583 w 1073"/>
                      <a:gd name="T69" fmla="*/ 1339 h 2134"/>
                      <a:gd name="T70" fmla="*/ 574 w 1073"/>
                      <a:gd name="T71" fmla="*/ 1275 h 2134"/>
                      <a:gd name="T72" fmla="*/ 563 w 1073"/>
                      <a:gd name="T73" fmla="*/ 1212 h 2134"/>
                      <a:gd name="T74" fmla="*/ 557 w 1073"/>
                      <a:gd name="T75" fmla="*/ 1180 h 2134"/>
                      <a:gd name="T76" fmla="*/ 550 w 1073"/>
                      <a:gd name="T77" fmla="*/ 1151 h 2134"/>
                      <a:gd name="T78" fmla="*/ 542 w 1073"/>
                      <a:gd name="T79" fmla="*/ 1120 h 2134"/>
                      <a:gd name="T80" fmla="*/ 534 w 1073"/>
                      <a:gd name="T81" fmla="*/ 1090 h 2134"/>
                      <a:gd name="T82" fmla="*/ 526 w 1073"/>
                      <a:gd name="T83" fmla="*/ 1061 h 2134"/>
                      <a:gd name="T84" fmla="*/ 517 w 1073"/>
                      <a:gd name="T85" fmla="*/ 1032 h 2134"/>
                      <a:gd name="T86" fmla="*/ 506 w 1073"/>
                      <a:gd name="T87" fmla="*/ 1005 h 2134"/>
                      <a:gd name="T88" fmla="*/ 496 w 1073"/>
                      <a:gd name="T89" fmla="*/ 978 h 2134"/>
                      <a:gd name="T90" fmla="*/ 485 w 1073"/>
                      <a:gd name="T91" fmla="*/ 951 h 2134"/>
                      <a:gd name="T92" fmla="*/ 472 w 1073"/>
                      <a:gd name="T93" fmla="*/ 925 h 2134"/>
                      <a:gd name="T94" fmla="*/ 460 w 1073"/>
                      <a:gd name="T95" fmla="*/ 901 h 2134"/>
                      <a:gd name="T96" fmla="*/ 447 w 1073"/>
                      <a:gd name="T97" fmla="*/ 877 h 2134"/>
                      <a:gd name="T98" fmla="*/ 432 w 1073"/>
                      <a:gd name="T99" fmla="*/ 854 h 2134"/>
                      <a:gd name="T100" fmla="*/ 417 w 1073"/>
                      <a:gd name="T101" fmla="*/ 833 h 2134"/>
                      <a:gd name="T102" fmla="*/ 401 w 1073"/>
                      <a:gd name="T103" fmla="*/ 812 h 2134"/>
                      <a:gd name="T104" fmla="*/ 384 w 1073"/>
                      <a:gd name="T105" fmla="*/ 793 h 2134"/>
                      <a:gd name="T106" fmla="*/ 367 w 1073"/>
                      <a:gd name="T107" fmla="*/ 774 h 2134"/>
                      <a:gd name="T108" fmla="*/ 348 w 1073"/>
                      <a:gd name="T109" fmla="*/ 758 h 2134"/>
                      <a:gd name="T110" fmla="*/ 329 w 1073"/>
                      <a:gd name="T111" fmla="*/ 742 h 2134"/>
                      <a:gd name="T112" fmla="*/ 309 w 1073"/>
                      <a:gd name="T113" fmla="*/ 728 h 2134"/>
                      <a:gd name="T114" fmla="*/ 287 w 1073"/>
                      <a:gd name="T115" fmla="*/ 716 h 2134"/>
                      <a:gd name="T116" fmla="*/ 266 w 1073"/>
                      <a:gd name="T117" fmla="*/ 704 h 2134"/>
                      <a:gd name="T118" fmla="*/ 242 w 1073"/>
                      <a:gd name="T119" fmla="*/ 694 h 2134"/>
                      <a:gd name="T120" fmla="*/ 218 w 1073"/>
                      <a:gd name="T121" fmla="*/ 686 h 2134"/>
                      <a:gd name="T122" fmla="*/ 0 w 1073"/>
                      <a:gd name="T123" fmla="*/ 133 h 2134"/>
                      <a:gd name="T124" fmla="*/ 400 w 1073"/>
                      <a:gd name="T125" fmla="*/ 0 h 2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73" h="2134">
                        <a:moveTo>
                          <a:pt x="400" y="0"/>
                        </a:moveTo>
                        <a:lnTo>
                          <a:pt x="400" y="0"/>
                        </a:lnTo>
                        <a:lnTo>
                          <a:pt x="419" y="14"/>
                        </a:lnTo>
                        <a:lnTo>
                          <a:pt x="471" y="51"/>
                        </a:lnTo>
                        <a:lnTo>
                          <a:pt x="550" y="104"/>
                        </a:lnTo>
                        <a:lnTo>
                          <a:pt x="597" y="135"/>
                        </a:lnTo>
                        <a:lnTo>
                          <a:pt x="647" y="167"/>
                        </a:lnTo>
                        <a:lnTo>
                          <a:pt x="700" y="200"/>
                        </a:lnTo>
                        <a:lnTo>
                          <a:pt x="755" y="232"/>
                        </a:lnTo>
                        <a:lnTo>
                          <a:pt x="811" y="263"/>
                        </a:lnTo>
                        <a:lnTo>
                          <a:pt x="867" y="292"/>
                        </a:lnTo>
                        <a:lnTo>
                          <a:pt x="895" y="304"/>
                        </a:lnTo>
                        <a:lnTo>
                          <a:pt x="922" y="317"/>
                        </a:lnTo>
                        <a:lnTo>
                          <a:pt x="949" y="329"/>
                        </a:lnTo>
                        <a:lnTo>
                          <a:pt x="975" y="339"/>
                        </a:lnTo>
                        <a:lnTo>
                          <a:pt x="1001" y="347"/>
                        </a:lnTo>
                        <a:lnTo>
                          <a:pt x="1026" y="355"/>
                        </a:lnTo>
                        <a:lnTo>
                          <a:pt x="1051" y="362"/>
                        </a:lnTo>
                        <a:lnTo>
                          <a:pt x="1073" y="367"/>
                        </a:lnTo>
                        <a:lnTo>
                          <a:pt x="699" y="2134"/>
                        </a:lnTo>
                        <a:lnTo>
                          <a:pt x="579" y="2134"/>
                        </a:lnTo>
                        <a:lnTo>
                          <a:pt x="579" y="2134"/>
                        </a:lnTo>
                        <a:lnTo>
                          <a:pt x="585" y="2078"/>
                        </a:lnTo>
                        <a:lnTo>
                          <a:pt x="591" y="2014"/>
                        </a:lnTo>
                        <a:lnTo>
                          <a:pt x="596" y="1929"/>
                        </a:lnTo>
                        <a:lnTo>
                          <a:pt x="599" y="1881"/>
                        </a:lnTo>
                        <a:lnTo>
                          <a:pt x="601" y="1830"/>
                        </a:lnTo>
                        <a:lnTo>
                          <a:pt x="602" y="1774"/>
                        </a:lnTo>
                        <a:lnTo>
                          <a:pt x="603" y="1716"/>
                        </a:lnTo>
                        <a:lnTo>
                          <a:pt x="603" y="1657"/>
                        </a:lnTo>
                        <a:lnTo>
                          <a:pt x="602" y="1595"/>
                        </a:lnTo>
                        <a:lnTo>
                          <a:pt x="599" y="1532"/>
                        </a:lnTo>
                        <a:lnTo>
                          <a:pt x="595" y="1467"/>
                        </a:lnTo>
                        <a:lnTo>
                          <a:pt x="590" y="1404"/>
                        </a:lnTo>
                        <a:lnTo>
                          <a:pt x="583" y="1339"/>
                        </a:lnTo>
                        <a:lnTo>
                          <a:pt x="574" y="1275"/>
                        </a:lnTo>
                        <a:lnTo>
                          <a:pt x="563" y="1212"/>
                        </a:lnTo>
                        <a:lnTo>
                          <a:pt x="557" y="1180"/>
                        </a:lnTo>
                        <a:lnTo>
                          <a:pt x="550" y="1151"/>
                        </a:lnTo>
                        <a:lnTo>
                          <a:pt x="542" y="1120"/>
                        </a:lnTo>
                        <a:lnTo>
                          <a:pt x="534" y="1090"/>
                        </a:lnTo>
                        <a:lnTo>
                          <a:pt x="526" y="1061"/>
                        </a:lnTo>
                        <a:lnTo>
                          <a:pt x="517" y="1032"/>
                        </a:lnTo>
                        <a:lnTo>
                          <a:pt x="506" y="1005"/>
                        </a:lnTo>
                        <a:lnTo>
                          <a:pt x="496" y="978"/>
                        </a:lnTo>
                        <a:lnTo>
                          <a:pt x="485" y="951"/>
                        </a:lnTo>
                        <a:lnTo>
                          <a:pt x="472" y="925"/>
                        </a:lnTo>
                        <a:lnTo>
                          <a:pt x="460" y="901"/>
                        </a:lnTo>
                        <a:lnTo>
                          <a:pt x="447" y="877"/>
                        </a:lnTo>
                        <a:lnTo>
                          <a:pt x="432" y="854"/>
                        </a:lnTo>
                        <a:lnTo>
                          <a:pt x="417" y="833"/>
                        </a:lnTo>
                        <a:lnTo>
                          <a:pt x="401" y="812"/>
                        </a:lnTo>
                        <a:lnTo>
                          <a:pt x="384" y="793"/>
                        </a:lnTo>
                        <a:lnTo>
                          <a:pt x="367" y="774"/>
                        </a:lnTo>
                        <a:lnTo>
                          <a:pt x="348" y="758"/>
                        </a:lnTo>
                        <a:lnTo>
                          <a:pt x="329" y="742"/>
                        </a:lnTo>
                        <a:lnTo>
                          <a:pt x="309" y="728"/>
                        </a:lnTo>
                        <a:lnTo>
                          <a:pt x="287" y="716"/>
                        </a:lnTo>
                        <a:lnTo>
                          <a:pt x="266" y="704"/>
                        </a:lnTo>
                        <a:lnTo>
                          <a:pt x="242" y="694"/>
                        </a:lnTo>
                        <a:lnTo>
                          <a:pt x="218" y="686"/>
                        </a:lnTo>
                        <a:lnTo>
                          <a:pt x="0" y="133"/>
                        </a:lnTo>
                        <a:lnTo>
                          <a:pt x="400" y="0"/>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1" name="Freeform 23"/>
                  <p:cNvSpPr>
                    <a:spLocks/>
                  </p:cNvSpPr>
                  <p:nvPr userDrawn="1"/>
                </p:nvSpPr>
                <p:spPr bwMode="auto">
                  <a:xfrm>
                    <a:off x="-810477" y="327407"/>
                    <a:ext cx="393700" cy="569913"/>
                  </a:xfrm>
                  <a:custGeom>
                    <a:avLst/>
                    <a:gdLst>
                      <a:gd name="T0" fmla="*/ 400 w 497"/>
                      <a:gd name="T1" fmla="*/ 0 h 718"/>
                      <a:gd name="T2" fmla="*/ 0 w 497"/>
                      <a:gd name="T3" fmla="*/ 133 h 718"/>
                      <a:gd name="T4" fmla="*/ 218 w 497"/>
                      <a:gd name="T5" fmla="*/ 686 h 718"/>
                      <a:gd name="T6" fmla="*/ 218 w 497"/>
                      <a:gd name="T7" fmla="*/ 686 h 718"/>
                      <a:gd name="T8" fmla="*/ 238 w 497"/>
                      <a:gd name="T9" fmla="*/ 693 h 718"/>
                      <a:gd name="T10" fmla="*/ 256 w 497"/>
                      <a:gd name="T11" fmla="*/ 700 h 718"/>
                      <a:gd name="T12" fmla="*/ 274 w 497"/>
                      <a:gd name="T13" fmla="*/ 708 h 718"/>
                      <a:gd name="T14" fmla="*/ 291 w 497"/>
                      <a:gd name="T15" fmla="*/ 718 h 718"/>
                      <a:gd name="T16" fmla="*/ 291 w 497"/>
                      <a:gd name="T17" fmla="*/ 718 h 718"/>
                      <a:gd name="T18" fmla="*/ 308 w 497"/>
                      <a:gd name="T19" fmla="*/ 680 h 718"/>
                      <a:gd name="T20" fmla="*/ 323 w 497"/>
                      <a:gd name="T21" fmla="*/ 640 h 718"/>
                      <a:gd name="T22" fmla="*/ 339 w 497"/>
                      <a:gd name="T23" fmla="*/ 600 h 718"/>
                      <a:gd name="T24" fmla="*/ 354 w 497"/>
                      <a:gd name="T25" fmla="*/ 559 h 718"/>
                      <a:gd name="T26" fmla="*/ 383 w 497"/>
                      <a:gd name="T27" fmla="*/ 474 h 718"/>
                      <a:gd name="T28" fmla="*/ 411 w 497"/>
                      <a:gd name="T29" fmla="*/ 386 h 718"/>
                      <a:gd name="T30" fmla="*/ 435 w 497"/>
                      <a:gd name="T31" fmla="*/ 301 h 718"/>
                      <a:gd name="T32" fmla="*/ 459 w 497"/>
                      <a:gd name="T33" fmla="*/ 218 h 718"/>
                      <a:gd name="T34" fmla="*/ 480 w 497"/>
                      <a:gd name="T35" fmla="*/ 139 h 718"/>
                      <a:gd name="T36" fmla="*/ 497 w 497"/>
                      <a:gd name="T37" fmla="*/ 68 h 718"/>
                      <a:gd name="T38" fmla="*/ 497 w 497"/>
                      <a:gd name="T39" fmla="*/ 68 h 718"/>
                      <a:gd name="T40" fmla="*/ 426 w 497"/>
                      <a:gd name="T41" fmla="*/ 19 h 718"/>
                      <a:gd name="T42" fmla="*/ 400 w 497"/>
                      <a:gd name="T43" fmla="*/ 0 h 718"/>
                      <a:gd name="T44" fmla="*/ 400 w 497"/>
                      <a:gd name="T45"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97" h="718">
                        <a:moveTo>
                          <a:pt x="400" y="0"/>
                        </a:moveTo>
                        <a:lnTo>
                          <a:pt x="0" y="133"/>
                        </a:lnTo>
                        <a:lnTo>
                          <a:pt x="218" y="686"/>
                        </a:lnTo>
                        <a:lnTo>
                          <a:pt x="218" y="686"/>
                        </a:lnTo>
                        <a:lnTo>
                          <a:pt x="238" y="693"/>
                        </a:lnTo>
                        <a:lnTo>
                          <a:pt x="256" y="700"/>
                        </a:lnTo>
                        <a:lnTo>
                          <a:pt x="274" y="708"/>
                        </a:lnTo>
                        <a:lnTo>
                          <a:pt x="291" y="718"/>
                        </a:lnTo>
                        <a:lnTo>
                          <a:pt x="291" y="718"/>
                        </a:lnTo>
                        <a:lnTo>
                          <a:pt x="308" y="680"/>
                        </a:lnTo>
                        <a:lnTo>
                          <a:pt x="323" y="640"/>
                        </a:lnTo>
                        <a:lnTo>
                          <a:pt x="339" y="600"/>
                        </a:lnTo>
                        <a:lnTo>
                          <a:pt x="354" y="559"/>
                        </a:lnTo>
                        <a:lnTo>
                          <a:pt x="383" y="474"/>
                        </a:lnTo>
                        <a:lnTo>
                          <a:pt x="411" y="386"/>
                        </a:lnTo>
                        <a:lnTo>
                          <a:pt x="435" y="301"/>
                        </a:lnTo>
                        <a:lnTo>
                          <a:pt x="459" y="218"/>
                        </a:lnTo>
                        <a:lnTo>
                          <a:pt x="480" y="139"/>
                        </a:lnTo>
                        <a:lnTo>
                          <a:pt x="497" y="68"/>
                        </a:lnTo>
                        <a:lnTo>
                          <a:pt x="497" y="68"/>
                        </a:lnTo>
                        <a:lnTo>
                          <a:pt x="426" y="19"/>
                        </a:lnTo>
                        <a:lnTo>
                          <a:pt x="400" y="0"/>
                        </a:lnTo>
                        <a:lnTo>
                          <a:pt x="400" y="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2" name="Freeform 24"/>
                  <p:cNvSpPr>
                    <a:spLocks/>
                  </p:cNvSpPr>
                  <p:nvPr userDrawn="1"/>
                </p:nvSpPr>
                <p:spPr bwMode="auto">
                  <a:xfrm>
                    <a:off x="-2515452" y="327407"/>
                    <a:ext cx="852488" cy="1693863"/>
                  </a:xfrm>
                  <a:custGeom>
                    <a:avLst/>
                    <a:gdLst>
                      <a:gd name="T0" fmla="*/ 674 w 1073"/>
                      <a:gd name="T1" fmla="*/ 0 h 2134"/>
                      <a:gd name="T2" fmla="*/ 674 w 1073"/>
                      <a:gd name="T3" fmla="*/ 0 h 2134"/>
                      <a:gd name="T4" fmla="*/ 655 w 1073"/>
                      <a:gd name="T5" fmla="*/ 14 h 2134"/>
                      <a:gd name="T6" fmla="*/ 602 w 1073"/>
                      <a:gd name="T7" fmla="*/ 51 h 2134"/>
                      <a:gd name="T8" fmla="*/ 524 w 1073"/>
                      <a:gd name="T9" fmla="*/ 104 h 2134"/>
                      <a:gd name="T10" fmla="*/ 477 w 1073"/>
                      <a:gd name="T11" fmla="*/ 135 h 2134"/>
                      <a:gd name="T12" fmla="*/ 427 w 1073"/>
                      <a:gd name="T13" fmla="*/ 167 h 2134"/>
                      <a:gd name="T14" fmla="*/ 374 w 1073"/>
                      <a:gd name="T15" fmla="*/ 200 h 2134"/>
                      <a:gd name="T16" fmla="*/ 318 w 1073"/>
                      <a:gd name="T17" fmla="*/ 232 h 2134"/>
                      <a:gd name="T18" fmla="*/ 263 w 1073"/>
                      <a:gd name="T19" fmla="*/ 263 h 2134"/>
                      <a:gd name="T20" fmla="*/ 206 w 1073"/>
                      <a:gd name="T21" fmla="*/ 292 h 2134"/>
                      <a:gd name="T22" fmla="*/ 179 w 1073"/>
                      <a:gd name="T23" fmla="*/ 304 h 2134"/>
                      <a:gd name="T24" fmla="*/ 152 w 1073"/>
                      <a:gd name="T25" fmla="*/ 317 h 2134"/>
                      <a:gd name="T26" fmla="*/ 125 w 1073"/>
                      <a:gd name="T27" fmla="*/ 329 h 2134"/>
                      <a:gd name="T28" fmla="*/ 98 w 1073"/>
                      <a:gd name="T29" fmla="*/ 339 h 2134"/>
                      <a:gd name="T30" fmla="*/ 72 w 1073"/>
                      <a:gd name="T31" fmla="*/ 347 h 2134"/>
                      <a:gd name="T32" fmla="*/ 48 w 1073"/>
                      <a:gd name="T33" fmla="*/ 355 h 2134"/>
                      <a:gd name="T34" fmla="*/ 23 w 1073"/>
                      <a:gd name="T35" fmla="*/ 362 h 2134"/>
                      <a:gd name="T36" fmla="*/ 0 w 1073"/>
                      <a:gd name="T37" fmla="*/ 367 h 2134"/>
                      <a:gd name="T38" fmla="*/ 375 w 1073"/>
                      <a:gd name="T39" fmla="*/ 2134 h 2134"/>
                      <a:gd name="T40" fmla="*/ 495 w 1073"/>
                      <a:gd name="T41" fmla="*/ 2134 h 2134"/>
                      <a:gd name="T42" fmla="*/ 495 w 1073"/>
                      <a:gd name="T43" fmla="*/ 2134 h 2134"/>
                      <a:gd name="T44" fmla="*/ 489 w 1073"/>
                      <a:gd name="T45" fmla="*/ 2078 h 2134"/>
                      <a:gd name="T46" fmla="*/ 483 w 1073"/>
                      <a:gd name="T47" fmla="*/ 2014 h 2134"/>
                      <a:gd name="T48" fmla="*/ 478 w 1073"/>
                      <a:gd name="T49" fmla="*/ 1929 h 2134"/>
                      <a:gd name="T50" fmla="*/ 475 w 1073"/>
                      <a:gd name="T51" fmla="*/ 1881 h 2134"/>
                      <a:gd name="T52" fmla="*/ 473 w 1073"/>
                      <a:gd name="T53" fmla="*/ 1830 h 2134"/>
                      <a:gd name="T54" fmla="*/ 472 w 1073"/>
                      <a:gd name="T55" fmla="*/ 1774 h 2134"/>
                      <a:gd name="T56" fmla="*/ 471 w 1073"/>
                      <a:gd name="T57" fmla="*/ 1716 h 2134"/>
                      <a:gd name="T58" fmla="*/ 471 w 1073"/>
                      <a:gd name="T59" fmla="*/ 1657 h 2134"/>
                      <a:gd name="T60" fmla="*/ 473 w 1073"/>
                      <a:gd name="T61" fmla="*/ 1595 h 2134"/>
                      <a:gd name="T62" fmla="*/ 475 w 1073"/>
                      <a:gd name="T63" fmla="*/ 1532 h 2134"/>
                      <a:gd name="T64" fmla="*/ 479 w 1073"/>
                      <a:gd name="T65" fmla="*/ 1467 h 2134"/>
                      <a:gd name="T66" fmla="*/ 484 w 1073"/>
                      <a:gd name="T67" fmla="*/ 1404 h 2134"/>
                      <a:gd name="T68" fmla="*/ 491 w 1073"/>
                      <a:gd name="T69" fmla="*/ 1339 h 2134"/>
                      <a:gd name="T70" fmla="*/ 500 w 1073"/>
                      <a:gd name="T71" fmla="*/ 1275 h 2134"/>
                      <a:gd name="T72" fmla="*/ 511 w 1073"/>
                      <a:gd name="T73" fmla="*/ 1212 h 2134"/>
                      <a:gd name="T74" fmla="*/ 517 w 1073"/>
                      <a:gd name="T75" fmla="*/ 1180 h 2134"/>
                      <a:gd name="T76" fmla="*/ 524 w 1073"/>
                      <a:gd name="T77" fmla="*/ 1151 h 2134"/>
                      <a:gd name="T78" fmla="*/ 531 w 1073"/>
                      <a:gd name="T79" fmla="*/ 1120 h 2134"/>
                      <a:gd name="T80" fmla="*/ 539 w 1073"/>
                      <a:gd name="T81" fmla="*/ 1090 h 2134"/>
                      <a:gd name="T82" fmla="*/ 548 w 1073"/>
                      <a:gd name="T83" fmla="*/ 1061 h 2134"/>
                      <a:gd name="T84" fmla="*/ 557 w 1073"/>
                      <a:gd name="T85" fmla="*/ 1032 h 2134"/>
                      <a:gd name="T86" fmla="*/ 567 w 1073"/>
                      <a:gd name="T87" fmla="*/ 1005 h 2134"/>
                      <a:gd name="T88" fmla="*/ 578 w 1073"/>
                      <a:gd name="T89" fmla="*/ 978 h 2134"/>
                      <a:gd name="T90" fmla="*/ 589 w 1073"/>
                      <a:gd name="T91" fmla="*/ 951 h 2134"/>
                      <a:gd name="T92" fmla="*/ 601 w 1073"/>
                      <a:gd name="T93" fmla="*/ 925 h 2134"/>
                      <a:gd name="T94" fmla="*/ 614 w 1073"/>
                      <a:gd name="T95" fmla="*/ 901 h 2134"/>
                      <a:gd name="T96" fmla="*/ 627 w 1073"/>
                      <a:gd name="T97" fmla="*/ 877 h 2134"/>
                      <a:gd name="T98" fmla="*/ 641 w 1073"/>
                      <a:gd name="T99" fmla="*/ 854 h 2134"/>
                      <a:gd name="T100" fmla="*/ 657 w 1073"/>
                      <a:gd name="T101" fmla="*/ 833 h 2134"/>
                      <a:gd name="T102" fmla="*/ 672 w 1073"/>
                      <a:gd name="T103" fmla="*/ 812 h 2134"/>
                      <a:gd name="T104" fmla="*/ 690 w 1073"/>
                      <a:gd name="T105" fmla="*/ 793 h 2134"/>
                      <a:gd name="T106" fmla="*/ 707 w 1073"/>
                      <a:gd name="T107" fmla="*/ 774 h 2134"/>
                      <a:gd name="T108" fmla="*/ 726 w 1073"/>
                      <a:gd name="T109" fmla="*/ 758 h 2134"/>
                      <a:gd name="T110" fmla="*/ 744 w 1073"/>
                      <a:gd name="T111" fmla="*/ 742 h 2134"/>
                      <a:gd name="T112" fmla="*/ 765 w 1073"/>
                      <a:gd name="T113" fmla="*/ 728 h 2134"/>
                      <a:gd name="T114" fmla="*/ 786 w 1073"/>
                      <a:gd name="T115" fmla="*/ 716 h 2134"/>
                      <a:gd name="T116" fmla="*/ 808 w 1073"/>
                      <a:gd name="T117" fmla="*/ 704 h 2134"/>
                      <a:gd name="T118" fmla="*/ 832 w 1073"/>
                      <a:gd name="T119" fmla="*/ 694 h 2134"/>
                      <a:gd name="T120" fmla="*/ 855 w 1073"/>
                      <a:gd name="T121" fmla="*/ 686 h 2134"/>
                      <a:gd name="T122" fmla="*/ 1073 w 1073"/>
                      <a:gd name="T123" fmla="*/ 133 h 2134"/>
                      <a:gd name="T124" fmla="*/ 674 w 1073"/>
                      <a:gd name="T125" fmla="*/ 0 h 2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73" h="2134">
                        <a:moveTo>
                          <a:pt x="674" y="0"/>
                        </a:moveTo>
                        <a:lnTo>
                          <a:pt x="674" y="0"/>
                        </a:lnTo>
                        <a:lnTo>
                          <a:pt x="655" y="14"/>
                        </a:lnTo>
                        <a:lnTo>
                          <a:pt x="602" y="51"/>
                        </a:lnTo>
                        <a:lnTo>
                          <a:pt x="524" y="104"/>
                        </a:lnTo>
                        <a:lnTo>
                          <a:pt x="477" y="135"/>
                        </a:lnTo>
                        <a:lnTo>
                          <a:pt x="427" y="167"/>
                        </a:lnTo>
                        <a:lnTo>
                          <a:pt x="374" y="200"/>
                        </a:lnTo>
                        <a:lnTo>
                          <a:pt x="318" y="232"/>
                        </a:lnTo>
                        <a:lnTo>
                          <a:pt x="263" y="263"/>
                        </a:lnTo>
                        <a:lnTo>
                          <a:pt x="206" y="292"/>
                        </a:lnTo>
                        <a:lnTo>
                          <a:pt x="179" y="304"/>
                        </a:lnTo>
                        <a:lnTo>
                          <a:pt x="152" y="317"/>
                        </a:lnTo>
                        <a:lnTo>
                          <a:pt x="125" y="329"/>
                        </a:lnTo>
                        <a:lnTo>
                          <a:pt x="98" y="339"/>
                        </a:lnTo>
                        <a:lnTo>
                          <a:pt x="72" y="347"/>
                        </a:lnTo>
                        <a:lnTo>
                          <a:pt x="48" y="355"/>
                        </a:lnTo>
                        <a:lnTo>
                          <a:pt x="23" y="362"/>
                        </a:lnTo>
                        <a:lnTo>
                          <a:pt x="0" y="367"/>
                        </a:lnTo>
                        <a:lnTo>
                          <a:pt x="375" y="2134"/>
                        </a:lnTo>
                        <a:lnTo>
                          <a:pt x="495" y="2134"/>
                        </a:lnTo>
                        <a:lnTo>
                          <a:pt x="495" y="2134"/>
                        </a:lnTo>
                        <a:lnTo>
                          <a:pt x="489" y="2078"/>
                        </a:lnTo>
                        <a:lnTo>
                          <a:pt x="483" y="2014"/>
                        </a:lnTo>
                        <a:lnTo>
                          <a:pt x="478" y="1929"/>
                        </a:lnTo>
                        <a:lnTo>
                          <a:pt x="475" y="1881"/>
                        </a:lnTo>
                        <a:lnTo>
                          <a:pt x="473" y="1830"/>
                        </a:lnTo>
                        <a:lnTo>
                          <a:pt x="472" y="1774"/>
                        </a:lnTo>
                        <a:lnTo>
                          <a:pt x="471" y="1716"/>
                        </a:lnTo>
                        <a:lnTo>
                          <a:pt x="471" y="1657"/>
                        </a:lnTo>
                        <a:lnTo>
                          <a:pt x="473" y="1595"/>
                        </a:lnTo>
                        <a:lnTo>
                          <a:pt x="475" y="1532"/>
                        </a:lnTo>
                        <a:lnTo>
                          <a:pt x="479" y="1467"/>
                        </a:lnTo>
                        <a:lnTo>
                          <a:pt x="484" y="1404"/>
                        </a:lnTo>
                        <a:lnTo>
                          <a:pt x="491" y="1339"/>
                        </a:lnTo>
                        <a:lnTo>
                          <a:pt x="500" y="1275"/>
                        </a:lnTo>
                        <a:lnTo>
                          <a:pt x="511" y="1212"/>
                        </a:lnTo>
                        <a:lnTo>
                          <a:pt x="517" y="1180"/>
                        </a:lnTo>
                        <a:lnTo>
                          <a:pt x="524" y="1151"/>
                        </a:lnTo>
                        <a:lnTo>
                          <a:pt x="531" y="1120"/>
                        </a:lnTo>
                        <a:lnTo>
                          <a:pt x="539" y="1090"/>
                        </a:lnTo>
                        <a:lnTo>
                          <a:pt x="548" y="1061"/>
                        </a:lnTo>
                        <a:lnTo>
                          <a:pt x="557" y="1032"/>
                        </a:lnTo>
                        <a:lnTo>
                          <a:pt x="567" y="1005"/>
                        </a:lnTo>
                        <a:lnTo>
                          <a:pt x="578" y="978"/>
                        </a:lnTo>
                        <a:lnTo>
                          <a:pt x="589" y="951"/>
                        </a:lnTo>
                        <a:lnTo>
                          <a:pt x="601" y="925"/>
                        </a:lnTo>
                        <a:lnTo>
                          <a:pt x="614" y="901"/>
                        </a:lnTo>
                        <a:lnTo>
                          <a:pt x="627" y="877"/>
                        </a:lnTo>
                        <a:lnTo>
                          <a:pt x="641" y="854"/>
                        </a:lnTo>
                        <a:lnTo>
                          <a:pt x="657" y="833"/>
                        </a:lnTo>
                        <a:lnTo>
                          <a:pt x="672" y="812"/>
                        </a:lnTo>
                        <a:lnTo>
                          <a:pt x="690" y="793"/>
                        </a:lnTo>
                        <a:lnTo>
                          <a:pt x="707" y="774"/>
                        </a:lnTo>
                        <a:lnTo>
                          <a:pt x="726" y="758"/>
                        </a:lnTo>
                        <a:lnTo>
                          <a:pt x="744" y="742"/>
                        </a:lnTo>
                        <a:lnTo>
                          <a:pt x="765" y="728"/>
                        </a:lnTo>
                        <a:lnTo>
                          <a:pt x="786" y="716"/>
                        </a:lnTo>
                        <a:lnTo>
                          <a:pt x="808" y="704"/>
                        </a:lnTo>
                        <a:lnTo>
                          <a:pt x="832" y="694"/>
                        </a:lnTo>
                        <a:lnTo>
                          <a:pt x="855" y="686"/>
                        </a:lnTo>
                        <a:lnTo>
                          <a:pt x="1073" y="133"/>
                        </a:lnTo>
                        <a:lnTo>
                          <a:pt x="674" y="0"/>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3" name="Freeform 25"/>
                  <p:cNvSpPr>
                    <a:spLocks/>
                  </p:cNvSpPr>
                  <p:nvPr userDrawn="1"/>
                </p:nvSpPr>
                <p:spPr bwMode="auto">
                  <a:xfrm>
                    <a:off x="-2058252" y="327407"/>
                    <a:ext cx="395288" cy="569913"/>
                  </a:xfrm>
                  <a:custGeom>
                    <a:avLst/>
                    <a:gdLst>
                      <a:gd name="T0" fmla="*/ 97 w 496"/>
                      <a:gd name="T1" fmla="*/ 0 h 718"/>
                      <a:gd name="T2" fmla="*/ 496 w 496"/>
                      <a:gd name="T3" fmla="*/ 133 h 718"/>
                      <a:gd name="T4" fmla="*/ 278 w 496"/>
                      <a:gd name="T5" fmla="*/ 686 h 718"/>
                      <a:gd name="T6" fmla="*/ 278 w 496"/>
                      <a:gd name="T7" fmla="*/ 686 h 718"/>
                      <a:gd name="T8" fmla="*/ 259 w 496"/>
                      <a:gd name="T9" fmla="*/ 693 h 718"/>
                      <a:gd name="T10" fmla="*/ 240 w 496"/>
                      <a:gd name="T11" fmla="*/ 700 h 718"/>
                      <a:gd name="T12" fmla="*/ 223 w 496"/>
                      <a:gd name="T13" fmla="*/ 708 h 718"/>
                      <a:gd name="T14" fmla="*/ 205 w 496"/>
                      <a:gd name="T15" fmla="*/ 718 h 718"/>
                      <a:gd name="T16" fmla="*/ 205 w 496"/>
                      <a:gd name="T17" fmla="*/ 718 h 718"/>
                      <a:gd name="T18" fmla="*/ 189 w 496"/>
                      <a:gd name="T19" fmla="*/ 680 h 718"/>
                      <a:gd name="T20" fmla="*/ 173 w 496"/>
                      <a:gd name="T21" fmla="*/ 640 h 718"/>
                      <a:gd name="T22" fmla="*/ 158 w 496"/>
                      <a:gd name="T23" fmla="*/ 600 h 718"/>
                      <a:gd name="T24" fmla="*/ 143 w 496"/>
                      <a:gd name="T25" fmla="*/ 559 h 718"/>
                      <a:gd name="T26" fmla="*/ 114 w 496"/>
                      <a:gd name="T27" fmla="*/ 474 h 718"/>
                      <a:gd name="T28" fmla="*/ 86 w 496"/>
                      <a:gd name="T29" fmla="*/ 386 h 718"/>
                      <a:gd name="T30" fmla="*/ 61 w 496"/>
                      <a:gd name="T31" fmla="*/ 301 h 718"/>
                      <a:gd name="T32" fmla="*/ 38 w 496"/>
                      <a:gd name="T33" fmla="*/ 218 h 718"/>
                      <a:gd name="T34" fmla="*/ 17 w 496"/>
                      <a:gd name="T35" fmla="*/ 139 h 718"/>
                      <a:gd name="T36" fmla="*/ 0 w 496"/>
                      <a:gd name="T37" fmla="*/ 68 h 718"/>
                      <a:gd name="T38" fmla="*/ 0 w 496"/>
                      <a:gd name="T39" fmla="*/ 68 h 718"/>
                      <a:gd name="T40" fmla="*/ 71 w 496"/>
                      <a:gd name="T41" fmla="*/ 19 h 718"/>
                      <a:gd name="T42" fmla="*/ 97 w 496"/>
                      <a:gd name="T43" fmla="*/ 0 h 718"/>
                      <a:gd name="T44" fmla="*/ 97 w 496"/>
                      <a:gd name="T45"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96" h="718">
                        <a:moveTo>
                          <a:pt x="97" y="0"/>
                        </a:moveTo>
                        <a:lnTo>
                          <a:pt x="496" y="133"/>
                        </a:lnTo>
                        <a:lnTo>
                          <a:pt x="278" y="686"/>
                        </a:lnTo>
                        <a:lnTo>
                          <a:pt x="278" y="686"/>
                        </a:lnTo>
                        <a:lnTo>
                          <a:pt x="259" y="693"/>
                        </a:lnTo>
                        <a:lnTo>
                          <a:pt x="240" y="700"/>
                        </a:lnTo>
                        <a:lnTo>
                          <a:pt x="223" y="708"/>
                        </a:lnTo>
                        <a:lnTo>
                          <a:pt x="205" y="718"/>
                        </a:lnTo>
                        <a:lnTo>
                          <a:pt x="205" y="718"/>
                        </a:lnTo>
                        <a:lnTo>
                          <a:pt x="189" y="680"/>
                        </a:lnTo>
                        <a:lnTo>
                          <a:pt x="173" y="640"/>
                        </a:lnTo>
                        <a:lnTo>
                          <a:pt x="158" y="600"/>
                        </a:lnTo>
                        <a:lnTo>
                          <a:pt x="143" y="559"/>
                        </a:lnTo>
                        <a:lnTo>
                          <a:pt x="114" y="474"/>
                        </a:lnTo>
                        <a:lnTo>
                          <a:pt x="86" y="386"/>
                        </a:lnTo>
                        <a:lnTo>
                          <a:pt x="61" y="301"/>
                        </a:lnTo>
                        <a:lnTo>
                          <a:pt x="38" y="218"/>
                        </a:lnTo>
                        <a:lnTo>
                          <a:pt x="17" y="139"/>
                        </a:lnTo>
                        <a:lnTo>
                          <a:pt x="0" y="68"/>
                        </a:lnTo>
                        <a:lnTo>
                          <a:pt x="0" y="68"/>
                        </a:lnTo>
                        <a:lnTo>
                          <a:pt x="71" y="19"/>
                        </a:lnTo>
                        <a:lnTo>
                          <a:pt x="97" y="0"/>
                        </a:lnTo>
                        <a:lnTo>
                          <a:pt x="97" y="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4" name="Freeform 26"/>
                  <p:cNvSpPr>
                    <a:spLocks/>
                  </p:cNvSpPr>
                  <p:nvPr userDrawn="1"/>
                </p:nvSpPr>
                <p:spPr bwMode="auto">
                  <a:xfrm>
                    <a:off x="-2091589" y="-791780"/>
                    <a:ext cx="854075" cy="538163"/>
                  </a:xfrm>
                  <a:custGeom>
                    <a:avLst/>
                    <a:gdLst>
                      <a:gd name="T0" fmla="*/ 1076 w 1076"/>
                      <a:gd name="T1" fmla="*/ 370 h 678"/>
                      <a:gd name="T2" fmla="*/ 1076 w 1076"/>
                      <a:gd name="T3" fmla="*/ 370 h 678"/>
                      <a:gd name="T4" fmla="*/ 1076 w 1076"/>
                      <a:gd name="T5" fmla="*/ 0 h 678"/>
                      <a:gd name="T6" fmla="*/ 1076 w 1076"/>
                      <a:gd name="T7" fmla="*/ 0 h 678"/>
                      <a:gd name="T8" fmla="*/ 1076 w 1076"/>
                      <a:gd name="T9" fmla="*/ 0 h 678"/>
                      <a:gd name="T10" fmla="*/ 1000 w 1076"/>
                      <a:gd name="T11" fmla="*/ 2 h 678"/>
                      <a:gd name="T12" fmla="*/ 924 w 1076"/>
                      <a:gd name="T13" fmla="*/ 5 h 678"/>
                      <a:gd name="T14" fmla="*/ 850 w 1076"/>
                      <a:gd name="T15" fmla="*/ 11 h 678"/>
                      <a:gd name="T16" fmla="*/ 776 w 1076"/>
                      <a:gd name="T17" fmla="*/ 19 h 678"/>
                      <a:gd name="T18" fmla="*/ 704 w 1076"/>
                      <a:gd name="T19" fmla="*/ 28 h 678"/>
                      <a:gd name="T20" fmla="*/ 632 w 1076"/>
                      <a:gd name="T21" fmla="*/ 39 h 678"/>
                      <a:gd name="T22" fmla="*/ 562 w 1076"/>
                      <a:gd name="T23" fmla="*/ 53 h 678"/>
                      <a:gd name="T24" fmla="*/ 494 w 1076"/>
                      <a:gd name="T25" fmla="*/ 67 h 678"/>
                      <a:gd name="T26" fmla="*/ 427 w 1076"/>
                      <a:gd name="T27" fmla="*/ 84 h 678"/>
                      <a:gd name="T28" fmla="*/ 361 w 1076"/>
                      <a:gd name="T29" fmla="*/ 101 h 678"/>
                      <a:gd name="T30" fmla="*/ 298 w 1076"/>
                      <a:gd name="T31" fmla="*/ 120 h 678"/>
                      <a:gd name="T32" fmla="*/ 235 w 1076"/>
                      <a:gd name="T33" fmla="*/ 139 h 678"/>
                      <a:gd name="T34" fmla="*/ 174 w 1076"/>
                      <a:gd name="T35" fmla="*/ 161 h 678"/>
                      <a:gd name="T36" fmla="*/ 116 w 1076"/>
                      <a:gd name="T37" fmla="*/ 182 h 678"/>
                      <a:gd name="T38" fmla="*/ 59 w 1076"/>
                      <a:gd name="T39" fmla="*/ 205 h 678"/>
                      <a:gd name="T40" fmla="*/ 4 w 1076"/>
                      <a:gd name="T41" fmla="*/ 228 h 678"/>
                      <a:gd name="T42" fmla="*/ 4 w 1076"/>
                      <a:gd name="T43" fmla="*/ 228 h 678"/>
                      <a:gd name="T44" fmla="*/ 1 w 1076"/>
                      <a:gd name="T45" fmla="*/ 292 h 678"/>
                      <a:gd name="T46" fmla="*/ 0 w 1076"/>
                      <a:gd name="T47" fmla="*/ 356 h 678"/>
                      <a:gd name="T48" fmla="*/ 0 w 1076"/>
                      <a:gd name="T49" fmla="*/ 356 h 678"/>
                      <a:gd name="T50" fmla="*/ 1 w 1076"/>
                      <a:gd name="T51" fmla="*/ 440 h 678"/>
                      <a:gd name="T52" fmla="*/ 3 w 1076"/>
                      <a:gd name="T53" fmla="*/ 521 h 678"/>
                      <a:gd name="T54" fmla="*/ 6 w 1076"/>
                      <a:gd name="T55" fmla="*/ 600 h 678"/>
                      <a:gd name="T56" fmla="*/ 11 w 1076"/>
                      <a:gd name="T57" fmla="*/ 678 h 678"/>
                      <a:gd name="T58" fmla="*/ 11 w 1076"/>
                      <a:gd name="T59" fmla="*/ 678 h 678"/>
                      <a:gd name="T60" fmla="*/ 26 w 1076"/>
                      <a:gd name="T61" fmla="*/ 662 h 678"/>
                      <a:gd name="T62" fmla="*/ 43 w 1076"/>
                      <a:gd name="T63" fmla="*/ 646 h 678"/>
                      <a:gd name="T64" fmla="*/ 59 w 1076"/>
                      <a:gd name="T65" fmla="*/ 632 h 678"/>
                      <a:gd name="T66" fmla="*/ 79 w 1076"/>
                      <a:gd name="T67" fmla="*/ 616 h 678"/>
                      <a:gd name="T68" fmla="*/ 98 w 1076"/>
                      <a:gd name="T69" fmla="*/ 602 h 678"/>
                      <a:gd name="T70" fmla="*/ 119 w 1076"/>
                      <a:gd name="T71" fmla="*/ 587 h 678"/>
                      <a:gd name="T72" fmla="*/ 141 w 1076"/>
                      <a:gd name="T73" fmla="*/ 573 h 678"/>
                      <a:gd name="T74" fmla="*/ 165 w 1076"/>
                      <a:gd name="T75" fmla="*/ 559 h 678"/>
                      <a:gd name="T76" fmla="*/ 190 w 1076"/>
                      <a:gd name="T77" fmla="*/ 545 h 678"/>
                      <a:gd name="T78" fmla="*/ 215 w 1076"/>
                      <a:gd name="T79" fmla="*/ 532 h 678"/>
                      <a:gd name="T80" fmla="*/ 242 w 1076"/>
                      <a:gd name="T81" fmla="*/ 519 h 678"/>
                      <a:gd name="T82" fmla="*/ 271 w 1076"/>
                      <a:gd name="T83" fmla="*/ 506 h 678"/>
                      <a:gd name="T84" fmla="*/ 300 w 1076"/>
                      <a:gd name="T85" fmla="*/ 494 h 678"/>
                      <a:gd name="T86" fmla="*/ 331 w 1076"/>
                      <a:gd name="T87" fmla="*/ 483 h 678"/>
                      <a:gd name="T88" fmla="*/ 362 w 1076"/>
                      <a:gd name="T89" fmla="*/ 471 h 678"/>
                      <a:gd name="T90" fmla="*/ 395 w 1076"/>
                      <a:gd name="T91" fmla="*/ 461 h 678"/>
                      <a:gd name="T92" fmla="*/ 429 w 1076"/>
                      <a:gd name="T93" fmla="*/ 451 h 678"/>
                      <a:gd name="T94" fmla="*/ 464 w 1076"/>
                      <a:gd name="T95" fmla="*/ 441 h 678"/>
                      <a:gd name="T96" fmla="*/ 501 w 1076"/>
                      <a:gd name="T97" fmla="*/ 431 h 678"/>
                      <a:gd name="T98" fmla="*/ 538 w 1076"/>
                      <a:gd name="T99" fmla="*/ 423 h 678"/>
                      <a:gd name="T100" fmla="*/ 577 w 1076"/>
                      <a:gd name="T101" fmla="*/ 415 h 678"/>
                      <a:gd name="T102" fmla="*/ 618 w 1076"/>
                      <a:gd name="T103" fmla="*/ 408 h 678"/>
                      <a:gd name="T104" fmla="*/ 658 w 1076"/>
                      <a:gd name="T105" fmla="*/ 400 h 678"/>
                      <a:gd name="T106" fmla="*/ 700 w 1076"/>
                      <a:gd name="T107" fmla="*/ 394 h 678"/>
                      <a:gd name="T108" fmla="*/ 743 w 1076"/>
                      <a:gd name="T109" fmla="*/ 388 h 678"/>
                      <a:gd name="T110" fmla="*/ 787 w 1076"/>
                      <a:gd name="T111" fmla="*/ 383 h 678"/>
                      <a:gd name="T112" fmla="*/ 833 w 1076"/>
                      <a:gd name="T113" fmla="*/ 379 h 678"/>
                      <a:gd name="T114" fmla="*/ 880 w 1076"/>
                      <a:gd name="T115" fmla="*/ 376 h 678"/>
                      <a:gd name="T116" fmla="*/ 927 w 1076"/>
                      <a:gd name="T117" fmla="*/ 373 h 678"/>
                      <a:gd name="T118" fmla="*/ 975 w 1076"/>
                      <a:gd name="T119" fmla="*/ 371 h 678"/>
                      <a:gd name="T120" fmla="*/ 1026 w 1076"/>
                      <a:gd name="T121" fmla="*/ 370 h 678"/>
                      <a:gd name="T122" fmla="*/ 1076 w 1076"/>
                      <a:gd name="T123" fmla="*/ 370 h 678"/>
                      <a:gd name="T124" fmla="*/ 1076 w 1076"/>
                      <a:gd name="T125" fmla="*/ 370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76" h="678">
                        <a:moveTo>
                          <a:pt x="1076" y="370"/>
                        </a:moveTo>
                        <a:lnTo>
                          <a:pt x="1076" y="370"/>
                        </a:lnTo>
                        <a:lnTo>
                          <a:pt x="1076" y="0"/>
                        </a:lnTo>
                        <a:lnTo>
                          <a:pt x="1076" y="0"/>
                        </a:lnTo>
                        <a:lnTo>
                          <a:pt x="1076" y="0"/>
                        </a:lnTo>
                        <a:lnTo>
                          <a:pt x="1000" y="2"/>
                        </a:lnTo>
                        <a:lnTo>
                          <a:pt x="924" y="5"/>
                        </a:lnTo>
                        <a:lnTo>
                          <a:pt x="850" y="11"/>
                        </a:lnTo>
                        <a:lnTo>
                          <a:pt x="776" y="19"/>
                        </a:lnTo>
                        <a:lnTo>
                          <a:pt x="704" y="28"/>
                        </a:lnTo>
                        <a:lnTo>
                          <a:pt x="632" y="39"/>
                        </a:lnTo>
                        <a:lnTo>
                          <a:pt x="562" y="53"/>
                        </a:lnTo>
                        <a:lnTo>
                          <a:pt x="494" y="67"/>
                        </a:lnTo>
                        <a:lnTo>
                          <a:pt x="427" y="84"/>
                        </a:lnTo>
                        <a:lnTo>
                          <a:pt x="361" y="101"/>
                        </a:lnTo>
                        <a:lnTo>
                          <a:pt x="298" y="120"/>
                        </a:lnTo>
                        <a:lnTo>
                          <a:pt x="235" y="139"/>
                        </a:lnTo>
                        <a:lnTo>
                          <a:pt x="174" y="161"/>
                        </a:lnTo>
                        <a:lnTo>
                          <a:pt x="116" y="182"/>
                        </a:lnTo>
                        <a:lnTo>
                          <a:pt x="59" y="205"/>
                        </a:lnTo>
                        <a:lnTo>
                          <a:pt x="4" y="228"/>
                        </a:lnTo>
                        <a:lnTo>
                          <a:pt x="4" y="228"/>
                        </a:lnTo>
                        <a:lnTo>
                          <a:pt x="1" y="292"/>
                        </a:lnTo>
                        <a:lnTo>
                          <a:pt x="0" y="356"/>
                        </a:lnTo>
                        <a:lnTo>
                          <a:pt x="0" y="356"/>
                        </a:lnTo>
                        <a:lnTo>
                          <a:pt x="1" y="440"/>
                        </a:lnTo>
                        <a:lnTo>
                          <a:pt x="3" y="521"/>
                        </a:lnTo>
                        <a:lnTo>
                          <a:pt x="6" y="600"/>
                        </a:lnTo>
                        <a:lnTo>
                          <a:pt x="11" y="678"/>
                        </a:lnTo>
                        <a:lnTo>
                          <a:pt x="11" y="678"/>
                        </a:lnTo>
                        <a:lnTo>
                          <a:pt x="26" y="662"/>
                        </a:lnTo>
                        <a:lnTo>
                          <a:pt x="43" y="646"/>
                        </a:lnTo>
                        <a:lnTo>
                          <a:pt x="59" y="632"/>
                        </a:lnTo>
                        <a:lnTo>
                          <a:pt x="79" y="616"/>
                        </a:lnTo>
                        <a:lnTo>
                          <a:pt x="98" y="602"/>
                        </a:lnTo>
                        <a:lnTo>
                          <a:pt x="119" y="587"/>
                        </a:lnTo>
                        <a:lnTo>
                          <a:pt x="141" y="573"/>
                        </a:lnTo>
                        <a:lnTo>
                          <a:pt x="165" y="559"/>
                        </a:lnTo>
                        <a:lnTo>
                          <a:pt x="190" y="545"/>
                        </a:lnTo>
                        <a:lnTo>
                          <a:pt x="215" y="532"/>
                        </a:lnTo>
                        <a:lnTo>
                          <a:pt x="242" y="519"/>
                        </a:lnTo>
                        <a:lnTo>
                          <a:pt x="271" y="506"/>
                        </a:lnTo>
                        <a:lnTo>
                          <a:pt x="300" y="494"/>
                        </a:lnTo>
                        <a:lnTo>
                          <a:pt x="331" y="483"/>
                        </a:lnTo>
                        <a:lnTo>
                          <a:pt x="362" y="471"/>
                        </a:lnTo>
                        <a:lnTo>
                          <a:pt x="395" y="461"/>
                        </a:lnTo>
                        <a:lnTo>
                          <a:pt x="429" y="451"/>
                        </a:lnTo>
                        <a:lnTo>
                          <a:pt x="464" y="441"/>
                        </a:lnTo>
                        <a:lnTo>
                          <a:pt x="501" y="431"/>
                        </a:lnTo>
                        <a:lnTo>
                          <a:pt x="538" y="423"/>
                        </a:lnTo>
                        <a:lnTo>
                          <a:pt x="577" y="415"/>
                        </a:lnTo>
                        <a:lnTo>
                          <a:pt x="618" y="408"/>
                        </a:lnTo>
                        <a:lnTo>
                          <a:pt x="658" y="400"/>
                        </a:lnTo>
                        <a:lnTo>
                          <a:pt x="700" y="394"/>
                        </a:lnTo>
                        <a:lnTo>
                          <a:pt x="743" y="388"/>
                        </a:lnTo>
                        <a:lnTo>
                          <a:pt x="787" y="383"/>
                        </a:lnTo>
                        <a:lnTo>
                          <a:pt x="833" y="379"/>
                        </a:lnTo>
                        <a:lnTo>
                          <a:pt x="880" y="376"/>
                        </a:lnTo>
                        <a:lnTo>
                          <a:pt x="927" y="373"/>
                        </a:lnTo>
                        <a:lnTo>
                          <a:pt x="975" y="371"/>
                        </a:lnTo>
                        <a:lnTo>
                          <a:pt x="1026" y="370"/>
                        </a:lnTo>
                        <a:lnTo>
                          <a:pt x="1076" y="370"/>
                        </a:lnTo>
                        <a:lnTo>
                          <a:pt x="1076" y="370"/>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5" name="Freeform 27"/>
                  <p:cNvSpPr>
                    <a:spLocks/>
                  </p:cNvSpPr>
                  <p:nvPr userDrawn="1"/>
                </p:nvSpPr>
                <p:spPr bwMode="auto">
                  <a:xfrm>
                    <a:off x="-1237514" y="-791780"/>
                    <a:ext cx="854075" cy="538163"/>
                  </a:xfrm>
                  <a:custGeom>
                    <a:avLst/>
                    <a:gdLst>
                      <a:gd name="T0" fmla="*/ 1073 w 1076"/>
                      <a:gd name="T1" fmla="*/ 228 h 678"/>
                      <a:gd name="T2" fmla="*/ 1073 w 1076"/>
                      <a:gd name="T3" fmla="*/ 228 h 678"/>
                      <a:gd name="T4" fmla="*/ 1018 w 1076"/>
                      <a:gd name="T5" fmla="*/ 204 h 678"/>
                      <a:gd name="T6" fmla="*/ 961 w 1076"/>
                      <a:gd name="T7" fmla="*/ 182 h 678"/>
                      <a:gd name="T8" fmla="*/ 902 w 1076"/>
                      <a:gd name="T9" fmla="*/ 160 h 678"/>
                      <a:gd name="T10" fmla="*/ 842 w 1076"/>
                      <a:gd name="T11" fmla="*/ 139 h 678"/>
                      <a:gd name="T12" fmla="*/ 780 w 1076"/>
                      <a:gd name="T13" fmla="*/ 120 h 678"/>
                      <a:gd name="T14" fmla="*/ 715 w 1076"/>
                      <a:gd name="T15" fmla="*/ 101 h 678"/>
                      <a:gd name="T16" fmla="*/ 650 w 1076"/>
                      <a:gd name="T17" fmla="*/ 84 h 678"/>
                      <a:gd name="T18" fmla="*/ 584 w 1076"/>
                      <a:gd name="T19" fmla="*/ 67 h 678"/>
                      <a:gd name="T20" fmla="*/ 515 w 1076"/>
                      <a:gd name="T21" fmla="*/ 53 h 678"/>
                      <a:gd name="T22" fmla="*/ 445 w 1076"/>
                      <a:gd name="T23" fmla="*/ 39 h 678"/>
                      <a:gd name="T24" fmla="*/ 374 w 1076"/>
                      <a:gd name="T25" fmla="*/ 28 h 678"/>
                      <a:gd name="T26" fmla="*/ 301 w 1076"/>
                      <a:gd name="T27" fmla="*/ 19 h 678"/>
                      <a:gd name="T28" fmla="*/ 228 w 1076"/>
                      <a:gd name="T29" fmla="*/ 11 h 678"/>
                      <a:gd name="T30" fmla="*/ 153 w 1076"/>
                      <a:gd name="T31" fmla="*/ 5 h 678"/>
                      <a:gd name="T32" fmla="*/ 77 w 1076"/>
                      <a:gd name="T33" fmla="*/ 2 h 678"/>
                      <a:gd name="T34" fmla="*/ 0 w 1076"/>
                      <a:gd name="T35" fmla="*/ 0 h 678"/>
                      <a:gd name="T36" fmla="*/ 0 w 1076"/>
                      <a:gd name="T37" fmla="*/ 0 h 678"/>
                      <a:gd name="T38" fmla="*/ 0 w 1076"/>
                      <a:gd name="T39" fmla="*/ 370 h 678"/>
                      <a:gd name="T40" fmla="*/ 0 w 1076"/>
                      <a:gd name="T41" fmla="*/ 370 h 678"/>
                      <a:gd name="T42" fmla="*/ 0 w 1076"/>
                      <a:gd name="T43" fmla="*/ 370 h 678"/>
                      <a:gd name="T44" fmla="*/ 52 w 1076"/>
                      <a:gd name="T45" fmla="*/ 370 h 678"/>
                      <a:gd name="T46" fmla="*/ 101 w 1076"/>
                      <a:gd name="T47" fmla="*/ 371 h 678"/>
                      <a:gd name="T48" fmla="*/ 149 w 1076"/>
                      <a:gd name="T49" fmla="*/ 373 h 678"/>
                      <a:gd name="T50" fmla="*/ 198 w 1076"/>
                      <a:gd name="T51" fmla="*/ 376 h 678"/>
                      <a:gd name="T52" fmla="*/ 244 w 1076"/>
                      <a:gd name="T53" fmla="*/ 379 h 678"/>
                      <a:gd name="T54" fmla="*/ 289 w 1076"/>
                      <a:gd name="T55" fmla="*/ 383 h 678"/>
                      <a:gd name="T56" fmla="*/ 334 w 1076"/>
                      <a:gd name="T57" fmla="*/ 388 h 678"/>
                      <a:gd name="T58" fmla="*/ 377 w 1076"/>
                      <a:gd name="T59" fmla="*/ 394 h 678"/>
                      <a:gd name="T60" fmla="*/ 419 w 1076"/>
                      <a:gd name="T61" fmla="*/ 400 h 678"/>
                      <a:gd name="T62" fmla="*/ 460 w 1076"/>
                      <a:gd name="T63" fmla="*/ 407 h 678"/>
                      <a:gd name="T64" fmla="*/ 500 w 1076"/>
                      <a:gd name="T65" fmla="*/ 415 h 678"/>
                      <a:gd name="T66" fmla="*/ 538 w 1076"/>
                      <a:gd name="T67" fmla="*/ 423 h 678"/>
                      <a:gd name="T68" fmla="*/ 576 w 1076"/>
                      <a:gd name="T69" fmla="*/ 431 h 678"/>
                      <a:gd name="T70" fmla="*/ 612 w 1076"/>
                      <a:gd name="T71" fmla="*/ 441 h 678"/>
                      <a:gd name="T72" fmla="*/ 647 w 1076"/>
                      <a:gd name="T73" fmla="*/ 451 h 678"/>
                      <a:gd name="T74" fmla="*/ 681 w 1076"/>
                      <a:gd name="T75" fmla="*/ 461 h 678"/>
                      <a:gd name="T76" fmla="*/ 714 w 1076"/>
                      <a:gd name="T77" fmla="*/ 471 h 678"/>
                      <a:gd name="T78" fmla="*/ 746 w 1076"/>
                      <a:gd name="T79" fmla="*/ 483 h 678"/>
                      <a:gd name="T80" fmla="*/ 777 w 1076"/>
                      <a:gd name="T81" fmla="*/ 494 h 678"/>
                      <a:gd name="T82" fmla="*/ 807 w 1076"/>
                      <a:gd name="T83" fmla="*/ 506 h 678"/>
                      <a:gd name="T84" fmla="*/ 835 w 1076"/>
                      <a:gd name="T85" fmla="*/ 519 h 678"/>
                      <a:gd name="T86" fmla="*/ 862 w 1076"/>
                      <a:gd name="T87" fmla="*/ 532 h 678"/>
                      <a:gd name="T88" fmla="*/ 888 w 1076"/>
                      <a:gd name="T89" fmla="*/ 545 h 678"/>
                      <a:gd name="T90" fmla="*/ 913 w 1076"/>
                      <a:gd name="T91" fmla="*/ 559 h 678"/>
                      <a:gd name="T92" fmla="*/ 935 w 1076"/>
                      <a:gd name="T93" fmla="*/ 573 h 678"/>
                      <a:gd name="T94" fmla="*/ 958 w 1076"/>
                      <a:gd name="T95" fmla="*/ 587 h 678"/>
                      <a:gd name="T96" fmla="*/ 980 w 1076"/>
                      <a:gd name="T97" fmla="*/ 602 h 678"/>
                      <a:gd name="T98" fmla="*/ 999 w 1076"/>
                      <a:gd name="T99" fmla="*/ 616 h 678"/>
                      <a:gd name="T100" fmla="*/ 1018 w 1076"/>
                      <a:gd name="T101" fmla="*/ 632 h 678"/>
                      <a:gd name="T102" fmla="*/ 1035 w 1076"/>
                      <a:gd name="T103" fmla="*/ 646 h 678"/>
                      <a:gd name="T104" fmla="*/ 1051 w 1076"/>
                      <a:gd name="T105" fmla="*/ 662 h 678"/>
                      <a:gd name="T106" fmla="*/ 1066 w 1076"/>
                      <a:gd name="T107" fmla="*/ 678 h 678"/>
                      <a:gd name="T108" fmla="*/ 1066 w 1076"/>
                      <a:gd name="T109" fmla="*/ 678 h 678"/>
                      <a:gd name="T110" fmla="*/ 1070 w 1076"/>
                      <a:gd name="T111" fmla="*/ 600 h 678"/>
                      <a:gd name="T112" fmla="*/ 1074 w 1076"/>
                      <a:gd name="T113" fmla="*/ 520 h 678"/>
                      <a:gd name="T114" fmla="*/ 1076 w 1076"/>
                      <a:gd name="T115" fmla="*/ 440 h 678"/>
                      <a:gd name="T116" fmla="*/ 1076 w 1076"/>
                      <a:gd name="T117" fmla="*/ 356 h 678"/>
                      <a:gd name="T118" fmla="*/ 1076 w 1076"/>
                      <a:gd name="T119" fmla="*/ 356 h 678"/>
                      <a:gd name="T120" fmla="*/ 1075 w 1076"/>
                      <a:gd name="T121" fmla="*/ 292 h 678"/>
                      <a:gd name="T122" fmla="*/ 1073 w 1076"/>
                      <a:gd name="T123" fmla="*/ 228 h 678"/>
                      <a:gd name="T124" fmla="*/ 1073 w 1076"/>
                      <a:gd name="T125" fmla="*/ 228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76" h="678">
                        <a:moveTo>
                          <a:pt x="1073" y="228"/>
                        </a:moveTo>
                        <a:lnTo>
                          <a:pt x="1073" y="228"/>
                        </a:lnTo>
                        <a:lnTo>
                          <a:pt x="1018" y="204"/>
                        </a:lnTo>
                        <a:lnTo>
                          <a:pt x="961" y="182"/>
                        </a:lnTo>
                        <a:lnTo>
                          <a:pt x="902" y="160"/>
                        </a:lnTo>
                        <a:lnTo>
                          <a:pt x="842" y="139"/>
                        </a:lnTo>
                        <a:lnTo>
                          <a:pt x="780" y="120"/>
                        </a:lnTo>
                        <a:lnTo>
                          <a:pt x="715" y="101"/>
                        </a:lnTo>
                        <a:lnTo>
                          <a:pt x="650" y="84"/>
                        </a:lnTo>
                        <a:lnTo>
                          <a:pt x="584" y="67"/>
                        </a:lnTo>
                        <a:lnTo>
                          <a:pt x="515" y="53"/>
                        </a:lnTo>
                        <a:lnTo>
                          <a:pt x="445" y="39"/>
                        </a:lnTo>
                        <a:lnTo>
                          <a:pt x="374" y="28"/>
                        </a:lnTo>
                        <a:lnTo>
                          <a:pt x="301" y="19"/>
                        </a:lnTo>
                        <a:lnTo>
                          <a:pt x="228" y="11"/>
                        </a:lnTo>
                        <a:lnTo>
                          <a:pt x="153" y="5"/>
                        </a:lnTo>
                        <a:lnTo>
                          <a:pt x="77" y="2"/>
                        </a:lnTo>
                        <a:lnTo>
                          <a:pt x="0" y="0"/>
                        </a:lnTo>
                        <a:lnTo>
                          <a:pt x="0" y="0"/>
                        </a:lnTo>
                        <a:lnTo>
                          <a:pt x="0" y="370"/>
                        </a:lnTo>
                        <a:lnTo>
                          <a:pt x="0" y="370"/>
                        </a:lnTo>
                        <a:lnTo>
                          <a:pt x="0" y="370"/>
                        </a:lnTo>
                        <a:lnTo>
                          <a:pt x="52" y="370"/>
                        </a:lnTo>
                        <a:lnTo>
                          <a:pt x="101" y="371"/>
                        </a:lnTo>
                        <a:lnTo>
                          <a:pt x="149" y="373"/>
                        </a:lnTo>
                        <a:lnTo>
                          <a:pt x="198" y="376"/>
                        </a:lnTo>
                        <a:lnTo>
                          <a:pt x="244" y="379"/>
                        </a:lnTo>
                        <a:lnTo>
                          <a:pt x="289" y="383"/>
                        </a:lnTo>
                        <a:lnTo>
                          <a:pt x="334" y="388"/>
                        </a:lnTo>
                        <a:lnTo>
                          <a:pt x="377" y="394"/>
                        </a:lnTo>
                        <a:lnTo>
                          <a:pt x="419" y="400"/>
                        </a:lnTo>
                        <a:lnTo>
                          <a:pt x="460" y="407"/>
                        </a:lnTo>
                        <a:lnTo>
                          <a:pt x="500" y="415"/>
                        </a:lnTo>
                        <a:lnTo>
                          <a:pt x="538" y="423"/>
                        </a:lnTo>
                        <a:lnTo>
                          <a:pt x="576" y="431"/>
                        </a:lnTo>
                        <a:lnTo>
                          <a:pt x="612" y="441"/>
                        </a:lnTo>
                        <a:lnTo>
                          <a:pt x="647" y="451"/>
                        </a:lnTo>
                        <a:lnTo>
                          <a:pt x="681" y="461"/>
                        </a:lnTo>
                        <a:lnTo>
                          <a:pt x="714" y="471"/>
                        </a:lnTo>
                        <a:lnTo>
                          <a:pt x="746" y="483"/>
                        </a:lnTo>
                        <a:lnTo>
                          <a:pt x="777" y="494"/>
                        </a:lnTo>
                        <a:lnTo>
                          <a:pt x="807" y="506"/>
                        </a:lnTo>
                        <a:lnTo>
                          <a:pt x="835" y="519"/>
                        </a:lnTo>
                        <a:lnTo>
                          <a:pt x="862" y="532"/>
                        </a:lnTo>
                        <a:lnTo>
                          <a:pt x="888" y="545"/>
                        </a:lnTo>
                        <a:lnTo>
                          <a:pt x="913" y="559"/>
                        </a:lnTo>
                        <a:lnTo>
                          <a:pt x="935" y="573"/>
                        </a:lnTo>
                        <a:lnTo>
                          <a:pt x="958" y="587"/>
                        </a:lnTo>
                        <a:lnTo>
                          <a:pt x="980" y="602"/>
                        </a:lnTo>
                        <a:lnTo>
                          <a:pt x="999" y="616"/>
                        </a:lnTo>
                        <a:lnTo>
                          <a:pt x="1018" y="632"/>
                        </a:lnTo>
                        <a:lnTo>
                          <a:pt x="1035" y="646"/>
                        </a:lnTo>
                        <a:lnTo>
                          <a:pt x="1051" y="662"/>
                        </a:lnTo>
                        <a:lnTo>
                          <a:pt x="1066" y="678"/>
                        </a:lnTo>
                        <a:lnTo>
                          <a:pt x="1066" y="678"/>
                        </a:lnTo>
                        <a:lnTo>
                          <a:pt x="1070" y="600"/>
                        </a:lnTo>
                        <a:lnTo>
                          <a:pt x="1074" y="520"/>
                        </a:lnTo>
                        <a:lnTo>
                          <a:pt x="1076" y="440"/>
                        </a:lnTo>
                        <a:lnTo>
                          <a:pt x="1076" y="356"/>
                        </a:lnTo>
                        <a:lnTo>
                          <a:pt x="1076" y="356"/>
                        </a:lnTo>
                        <a:lnTo>
                          <a:pt x="1075" y="292"/>
                        </a:lnTo>
                        <a:lnTo>
                          <a:pt x="1073" y="228"/>
                        </a:lnTo>
                        <a:lnTo>
                          <a:pt x="1073" y="228"/>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6" name="Freeform 28"/>
                  <p:cNvSpPr>
                    <a:spLocks/>
                  </p:cNvSpPr>
                  <p:nvPr userDrawn="1"/>
                </p:nvSpPr>
                <p:spPr bwMode="auto">
                  <a:xfrm>
                    <a:off x="-1755039" y="-2488818"/>
                    <a:ext cx="1041400" cy="784225"/>
                  </a:xfrm>
                  <a:custGeom>
                    <a:avLst/>
                    <a:gdLst>
                      <a:gd name="T0" fmla="*/ 1313 w 1313"/>
                      <a:gd name="T1" fmla="*/ 986 h 986"/>
                      <a:gd name="T2" fmla="*/ 1239 w 1313"/>
                      <a:gd name="T3" fmla="*/ 849 h 986"/>
                      <a:gd name="T4" fmla="*/ 1165 w 1313"/>
                      <a:gd name="T5" fmla="*/ 720 h 986"/>
                      <a:gd name="T6" fmla="*/ 1115 w 1313"/>
                      <a:gd name="T7" fmla="*/ 640 h 986"/>
                      <a:gd name="T8" fmla="*/ 1021 w 1313"/>
                      <a:gd name="T9" fmla="*/ 492 h 986"/>
                      <a:gd name="T10" fmla="*/ 930 w 1313"/>
                      <a:gd name="T11" fmla="*/ 359 h 986"/>
                      <a:gd name="T12" fmla="*/ 848 w 1313"/>
                      <a:gd name="T13" fmla="*/ 246 h 986"/>
                      <a:gd name="T14" fmla="*/ 777 w 1313"/>
                      <a:gd name="T15" fmla="*/ 151 h 986"/>
                      <a:gd name="T16" fmla="*/ 696 w 1313"/>
                      <a:gd name="T17" fmla="*/ 51 h 986"/>
                      <a:gd name="T18" fmla="*/ 652 w 1313"/>
                      <a:gd name="T19" fmla="*/ 0 h 986"/>
                      <a:gd name="T20" fmla="*/ 641 w 1313"/>
                      <a:gd name="T21" fmla="*/ 13 h 986"/>
                      <a:gd name="T22" fmla="*/ 559 w 1313"/>
                      <a:gd name="T23" fmla="*/ 113 h 986"/>
                      <a:gd name="T24" fmla="*/ 494 w 1313"/>
                      <a:gd name="T25" fmla="*/ 196 h 986"/>
                      <a:gd name="T26" fmla="*/ 416 w 1313"/>
                      <a:gd name="T27" fmla="*/ 301 h 986"/>
                      <a:gd name="T28" fmla="*/ 329 w 1313"/>
                      <a:gd name="T29" fmla="*/ 425 h 986"/>
                      <a:gd name="T30" fmla="*/ 236 w 1313"/>
                      <a:gd name="T31" fmla="*/ 566 h 986"/>
                      <a:gd name="T32" fmla="*/ 139 w 1313"/>
                      <a:gd name="T33" fmla="*/ 723 h 986"/>
                      <a:gd name="T34" fmla="*/ 104 w 1313"/>
                      <a:gd name="T35" fmla="*/ 783 h 986"/>
                      <a:gd name="T36" fmla="*/ 34 w 1313"/>
                      <a:gd name="T37" fmla="*/ 907 h 986"/>
                      <a:gd name="T38" fmla="*/ 0 w 1313"/>
                      <a:gd name="T39" fmla="*/ 972 h 986"/>
                      <a:gd name="T40" fmla="*/ 123 w 1313"/>
                      <a:gd name="T41" fmla="*/ 945 h 986"/>
                      <a:gd name="T42" fmla="*/ 258 w 1313"/>
                      <a:gd name="T43" fmla="*/ 923 h 986"/>
                      <a:gd name="T44" fmla="*/ 406 w 1313"/>
                      <a:gd name="T45" fmla="*/ 906 h 986"/>
                      <a:gd name="T46" fmla="*/ 526 w 1313"/>
                      <a:gd name="T47" fmla="*/ 899 h 986"/>
                      <a:gd name="T48" fmla="*/ 608 w 1313"/>
                      <a:gd name="T49" fmla="*/ 898 h 986"/>
                      <a:gd name="T50" fmla="*/ 694 w 1313"/>
                      <a:gd name="T51" fmla="*/ 899 h 986"/>
                      <a:gd name="T52" fmla="*/ 782 w 1313"/>
                      <a:gd name="T53" fmla="*/ 902 h 986"/>
                      <a:gd name="T54" fmla="*/ 873 w 1313"/>
                      <a:gd name="T55" fmla="*/ 909 h 986"/>
                      <a:gd name="T56" fmla="*/ 967 w 1313"/>
                      <a:gd name="T57" fmla="*/ 920 h 986"/>
                      <a:gd name="T58" fmla="*/ 1063 w 1313"/>
                      <a:gd name="T59" fmla="*/ 934 h 986"/>
                      <a:gd name="T60" fmla="*/ 1161 w 1313"/>
                      <a:gd name="T61" fmla="*/ 952 h 986"/>
                      <a:gd name="T62" fmla="*/ 1261 w 1313"/>
                      <a:gd name="T63" fmla="*/ 974 h 986"/>
                      <a:gd name="T64" fmla="*/ 1313 w 1313"/>
                      <a:gd name="T65" fmla="*/ 986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13" h="986">
                        <a:moveTo>
                          <a:pt x="1313" y="986"/>
                        </a:moveTo>
                        <a:lnTo>
                          <a:pt x="1313" y="986"/>
                        </a:lnTo>
                        <a:lnTo>
                          <a:pt x="1276" y="917"/>
                        </a:lnTo>
                        <a:lnTo>
                          <a:pt x="1239" y="849"/>
                        </a:lnTo>
                        <a:lnTo>
                          <a:pt x="1202" y="784"/>
                        </a:lnTo>
                        <a:lnTo>
                          <a:pt x="1165" y="720"/>
                        </a:lnTo>
                        <a:lnTo>
                          <a:pt x="1165" y="720"/>
                        </a:lnTo>
                        <a:lnTo>
                          <a:pt x="1115" y="640"/>
                        </a:lnTo>
                        <a:lnTo>
                          <a:pt x="1068" y="564"/>
                        </a:lnTo>
                        <a:lnTo>
                          <a:pt x="1021" y="492"/>
                        </a:lnTo>
                        <a:lnTo>
                          <a:pt x="974" y="423"/>
                        </a:lnTo>
                        <a:lnTo>
                          <a:pt x="930" y="359"/>
                        </a:lnTo>
                        <a:lnTo>
                          <a:pt x="888" y="300"/>
                        </a:lnTo>
                        <a:lnTo>
                          <a:pt x="848" y="246"/>
                        </a:lnTo>
                        <a:lnTo>
                          <a:pt x="811" y="196"/>
                        </a:lnTo>
                        <a:lnTo>
                          <a:pt x="777" y="151"/>
                        </a:lnTo>
                        <a:lnTo>
                          <a:pt x="746" y="112"/>
                        </a:lnTo>
                        <a:lnTo>
                          <a:pt x="696" y="51"/>
                        </a:lnTo>
                        <a:lnTo>
                          <a:pt x="664" y="13"/>
                        </a:lnTo>
                        <a:lnTo>
                          <a:pt x="652" y="0"/>
                        </a:lnTo>
                        <a:lnTo>
                          <a:pt x="652" y="0"/>
                        </a:lnTo>
                        <a:lnTo>
                          <a:pt x="641" y="13"/>
                        </a:lnTo>
                        <a:lnTo>
                          <a:pt x="609" y="51"/>
                        </a:lnTo>
                        <a:lnTo>
                          <a:pt x="559" y="113"/>
                        </a:lnTo>
                        <a:lnTo>
                          <a:pt x="528" y="152"/>
                        </a:lnTo>
                        <a:lnTo>
                          <a:pt x="494" y="196"/>
                        </a:lnTo>
                        <a:lnTo>
                          <a:pt x="456" y="247"/>
                        </a:lnTo>
                        <a:lnTo>
                          <a:pt x="416" y="301"/>
                        </a:lnTo>
                        <a:lnTo>
                          <a:pt x="374" y="361"/>
                        </a:lnTo>
                        <a:lnTo>
                          <a:pt x="329" y="425"/>
                        </a:lnTo>
                        <a:lnTo>
                          <a:pt x="283" y="494"/>
                        </a:lnTo>
                        <a:lnTo>
                          <a:pt x="236" y="566"/>
                        </a:lnTo>
                        <a:lnTo>
                          <a:pt x="187" y="643"/>
                        </a:lnTo>
                        <a:lnTo>
                          <a:pt x="139" y="723"/>
                        </a:lnTo>
                        <a:lnTo>
                          <a:pt x="139" y="723"/>
                        </a:lnTo>
                        <a:lnTo>
                          <a:pt x="104" y="783"/>
                        </a:lnTo>
                        <a:lnTo>
                          <a:pt x="69" y="844"/>
                        </a:lnTo>
                        <a:lnTo>
                          <a:pt x="34" y="907"/>
                        </a:lnTo>
                        <a:lnTo>
                          <a:pt x="0" y="972"/>
                        </a:lnTo>
                        <a:lnTo>
                          <a:pt x="0" y="972"/>
                        </a:lnTo>
                        <a:lnTo>
                          <a:pt x="60" y="957"/>
                        </a:lnTo>
                        <a:lnTo>
                          <a:pt x="123" y="945"/>
                        </a:lnTo>
                        <a:lnTo>
                          <a:pt x="188" y="933"/>
                        </a:lnTo>
                        <a:lnTo>
                          <a:pt x="258" y="923"/>
                        </a:lnTo>
                        <a:lnTo>
                          <a:pt x="330" y="913"/>
                        </a:lnTo>
                        <a:lnTo>
                          <a:pt x="406" y="906"/>
                        </a:lnTo>
                        <a:lnTo>
                          <a:pt x="485" y="901"/>
                        </a:lnTo>
                        <a:lnTo>
                          <a:pt x="526" y="899"/>
                        </a:lnTo>
                        <a:lnTo>
                          <a:pt x="567" y="898"/>
                        </a:lnTo>
                        <a:lnTo>
                          <a:pt x="608" y="898"/>
                        </a:lnTo>
                        <a:lnTo>
                          <a:pt x="651" y="898"/>
                        </a:lnTo>
                        <a:lnTo>
                          <a:pt x="694" y="899"/>
                        </a:lnTo>
                        <a:lnTo>
                          <a:pt x="738" y="900"/>
                        </a:lnTo>
                        <a:lnTo>
                          <a:pt x="782" y="902"/>
                        </a:lnTo>
                        <a:lnTo>
                          <a:pt x="827" y="905"/>
                        </a:lnTo>
                        <a:lnTo>
                          <a:pt x="873" y="909"/>
                        </a:lnTo>
                        <a:lnTo>
                          <a:pt x="920" y="914"/>
                        </a:lnTo>
                        <a:lnTo>
                          <a:pt x="967" y="920"/>
                        </a:lnTo>
                        <a:lnTo>
                          <a:pt x="1014" y="927"/>
                        </a:lnTo>
                        <a:lnTo>
                          <a:pt x="1063" y="934"/>
                        </a:lnTo>
                        <a:lnTo>
                          <a:pt x="1112" y="943"/>
                        </a:lnTo>
                        <a:lnTo>
                          <a:pt x="1161" y="952"/>
                        </a:lnTo>
                        <a:lnTo>
                          <a:pt x="1211" y="963"/>
                        </a:lnTo>
                        <a:lnTo>
                          <a:pt x="1261" y="974"/>
                        </a:lnTo>
                        <a:lnTo>
                          <a:pt x="1313" y="986"/>
                        </a:lnTo>
                        <a:lnTo>
                          <a:pt x="1313" y="986"/>
                        </a:lnTo>
                        <a:close/>
                      </a:path>
                    </a:pathLst>
                  </a:custGeom>
                  <a:solidFill>
                    <a:srgbClr val="F1A7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7" name="Freeform 29"/>
                  <p:cNvSpPr>
                    <a:spLocks/>
                  </p:cNvSpPr>
                  <p:nvPr userDrawn="1"/>
                </p:nvSpPr>
                <p:spPr bwMode="auto">
                  <a:xfrm>
                    <a:off x="-2088414" y="-1776030"/>
                    <a:ext cx="1701800" cy="2698750"/>
                  </a:xfrm>
                  <a:custGeom>
                    <a:avLst/>
                    <a:gdLst>
                      <a:gd name="T0" fmla="*/ 1268 w 2145"/>
                      <a:gd name="T1" fmla="*/ 1247 h 3399"/>
                      <a:gd name="T2" fmla="*/ 1528 w 2145"/>
                      <a:gd name="T3" fmla="*/ 1279 h 3399"/>
                      <a:gd name="T4" fmla="*/ 1771 w 2145"/>
                      <a:gd name="T5" fmla="*/ 1334 h 3399"/>
                      <a:gd name="T6" fmla="*/ 1993 w 2145"/>
                      <a:gd name="T7" fmla="*/ 1405 h 3399"/>
                      <a:gd name="T8" fmla="*/ 2145 w 2145"/>
                      <a:gd name="T9" fmla="*/ 1466 h 3399"/>
                      <a:gd name="T10" fmla="*/ 2128 w 2145"/>
                      <a:gd name="T11" fmla="*/ 1279 h 3399"/>
                      <a:gd name="T12" fmla="*/ 2098 w 2145"/>
                      <a:gd name="T13" fmla="*/ 1096 h 3399"/>
                      <a:gd name="T14" fmla="*/ 2057 w 2145"/>
                      <a:gd name="T15" fmla="*/ 915 h 3399"/>
                      <a:gd name="T16" fmla="*/ 1977 w 2145"/>
                      <a:gd name="T17" fmla="*/ 652 h 3399"/>
                      <a:gd name="T18" fmla="*/ 1845 w 2145"/>
                      <a:gd name="T19" fmla="*/ 321 h 3399"/>
                      <a:gd name="T20" fmla="*/ 1733 w 2145"/>
                      <a:gd name="T21" fmla="*/ 88 h 3399"/>
                      <a:gd name="T22" fmla="*/ 1532 w 2145"/>
                      <a:gd name="T23" fmla="*/ 45 h 3399"/>
                      <a:gd name="T24" fmla="*/ 1340 w 2145"/>
                      <a:gd name="T25" fmla="*/ 16 h 3399"/>
                      <a:gd name="T26" fmla="*/ 1158 w 2145"/>
                      <a:gd name="T27" fmla="*/ 2 h 3399"/>
                      <a:gd name="T28" fmla="*/ 987 w 2145"/>
                      <a:gd name="T29" fmla="*/ 0 h 3399"/>
                      <a:gd name="T30" fmla="*/ 750 w 2145"/>
                      <a:gd name="T31" fmla="*/ 15 h 3399"/>
                      <a:gd name="T32" fmla="*/ 480 w 2145"/>
                      <a:gd name="T33" fmla="*/ 59 h 3399"/>
                      <a:gd name="T34" fmla="*/ 343 w 2145"/>
                      <a:gd name="T35" fmla="*/ 228 h 3399"/>
                      <a:gd name="T36" fmla="*/ 203 w 2145"/>
                      <a:gd name="T37" fmla="*/ 556 h 3399"/>
                      <a:gd name="T38" fmla="*/ 115 w 2145"/>
                      <a:gd name="T39" fmla="*/ 819 h 3399"/>
                      <a:gd name="T40" fmla="*/ 67 w 2145"/>
                      <a:gd name="T41" fmla="*/ 1000 h 3399"/>
                      <a:gd name="T42" fmla="*/ 31 w 2145"/>
                      <a:gd name="T43" fmla="*/ 1184 h 3399"/>
                      <a:gd name="T44" fmla="*/ 7 w 2145"/>
                      <a:gd name="T45" fmla="*/ 1371 h 3399"/>
                      <a:gd name="T46" fmla="*/ 49 w 2145"/>
                      <a:gd name="T47" fmla="*/ 1445 h 3399"/>
                      <a:gd name="T48" fmla="*/ 260 w 2145"/>
                      <a:gd name="T49" fmla="*/ 1368 h 3399"/>
                      <a:gd name="T50" fmla="*/ 493 w 2145"/>
                      <a:gd name="T51" fmla="*/ 1304 h 3399"/>
                      <a:gd name="T52" fmla="*/ 745 w 2145"/>
                      <a:gd name="T53" fmla="*/ 1260 h 3399"/>
                      <a:gd name="T54" fmla="*/ 944 w 2145"/>
                      <a:gd name="T55" fmla="*/ 1611 h 3399"/>
                      <a:gd name="T56" fmla="*/ 814 w 2145"/>
                      <a:gd name="T57" fmla="*/ 1619 h 3399"/>
                      <a:gd name="T58" fmla="*/ 654 w 2145"/>
                      <a:gd name="T59" fmla="*/ 1638 h 3399"/>
                      <a:gd name="T60" fmla="*/ 509 w 2145"/>
                      <a:gd name="T61" fmla="*/ 1667 h 3399"/>
                      <a:gd name="T62" fmla="*/ 379 w 2145"/>
                      <a:gd name="T63" fmla="*/ 1703 h 3399"/>
                      <a:gd name="T64" fmla="*/ 265 w 2145"/>
                      <a:gd name="T65" fmla="*/ 1745 h 3399"/>
                      <a:gd name="T66" fmla="*/ 167 w 2145"/>
                      <a:gd name="T67" fmla="*/ 1793 h 3399"/>
                      <a:gd name="T68" fmla="*/ 86 w 2145"/>
                      <a:gd name="T69" fmla="*/ 1845 h 3399"/>
                      <a:gd name="T70" fmla="*/ 21 w 2145"/>
                      <a:gd name="T71" fmla="*/ 1902 h 3399"/>
                      <a:gd name="T72" fmla="*/ 23 w 2145"/>
                      <a:gd name="T73" fmla="*/ 2094 h 3399"/>
                      <a:gd name="T74" fmla="*/ 73 w 2145"/>
                      <a:gd name="T75" fmla="*/ 2445 h 3399"/>
                      <a:gd name="T76" fmla="*/ 150 w 2145"/>
                      <a:gd name="T77" fmla="*/ 2802 h 3399"/>
                      <a:gd name="T78" fmla="*/ 303 w 2145"/>
                      <a:gd name="T79" fmla="*/ 3399 h 3399"/>
                      <a:gd name="T80" fmla="*/ 1890 w 2145"/>
                      <a:gd name="T81" fmla="*/ 3189 h 3399"/>
                      <a:gd name="T82" fmla="*/ 2013 w 2145"/>
                      <a:gd name="T83" fmla="*/ 2714 h 3399"/>
                      <a:gd name="T84" fmla="*/ 2085 w 2145"/>
                      <a:gd name="T85" fmla="*/ 2363 h 3399"/>
                      <a:gd name="T86" fmla="*/ 2131 w 2145"/>
                      <a:gd name="T87" fmla="*/ 2008 h 3399"/>
                      <a:gd name="T88" fmla="*/ 2109 w 2145"/>
                      <a:gd name="T89" fmla="*/ 1887 h 3399"/>
                      <a:gd name="T90" fmla="*/ 2040 w 2145"/>
                      <a:gd name="T91" fmla="*/ 1832 h 3399"/>
                      <a:gd name="T92" fmla="*/ 1955 w 2145"/>
                      <a:gd name="T93" fmla="*/ 1780 h 3399"/>
                      <a:gd name="T94" fmla="*/ 1853 w 2145"/>
                      <a:gd name="T95" fmla="*/ 1734 h 3399"/>
                      <a:gd name="T96" fmla="*/ 1735 w 2145"/>
                      <a:gd name="T97" fmla="*/ 1693 h 3399"/>
                      <a:gd name="T98" fmla="*/ 1601 w 2145"/>
                      <a:gd name="T99" fmla="*/ 1659 h 3399"/>
                      <a:gd name="T100" fmla="*/ 1453 w 2145"/>
                      <a:gd name="T101" fmla="*/ 1633 h 3399"/>
                      <a:gd name="T102" fmla="*/ 1288 w 2145"/>
                      <a:gd name="T103" fmla="*/ 1616 h 3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45" h="3399">
                        <a:moveTo>
                          <a:pt x="1201" y="1611"/>
                        </a:moveTo>
                        <a:lnTo>
                          <a:pt x="1201" y="1242"/>
                        </a:lnTo>
                        <a:lnTo>
                          <a:pt x="1201" y="1242"/>
                        </a:lnTo>
                        <a:lnTo>
                          <a:pt x="1268" y="1247"/>
                        </a:lnTo>
                        <a:lnTo>
                          <a:pt x="1335" y="1253"/>
                        </a:lnTo>
                        <a:lnTo>
                          <a:pt x="1399" y="1260"/>
                        </a:lnTo>
                        <a:lnTo>
                          <a:pt x="1464" y="1269"/>
                        </a:lnTo>
                        <a:lnTo>
                          <a:pt x="1528" y="1279"/>
                        </a:lnTo>
                        <a:lnTo>
                          <a:pt x="1590" y="1292"/>
                        </a:lnTo>
                        <a:lnTo>
                          <a:pt x="1651" y="1304"/>
                        </a:lnTo>
                        <a:lnTo>
                          <a:pt x="1712" y="1319"/>
                        </a:lnTo>
                        <a:lnTo>
                          <a:pt x="1771" y="1334"/>
                        </a:lnTo>
                        <a:lnTo>
                          <a:pt x="1828" y="1350"/>
                        </a:lnTo>
                        <a:lnTo>
                          <a:pt x="1885" y="1368"/>
                        </a:lnTo>
                        <a:lnTo>
                          <a:pt x="1939" y="1386"/>
                        </a:lnTo>
                        <a:lnTo>
                          <a:pt x="1993" y="1405"/>
                        </a:lnTo>
                        <a:lnTo>
                          <a:pt x="2045" y="1424"/>
                        </a:lnTo>
                        <a:lnTo>
                          <a:pt x="2096" y="1445"/>
                        </a:lnTo>
                        <a:lnTo>
                          <a:pt x="2145" y="1466"/>
                        </a:lnTo>
                        <a:lnTo>
                          <a:pt x="2145" y="1466"/>
                        </a:lnTo>
                        <a:lnTo>
                          <a:pt x="2142" y="1419"/>
                        </a:lnTo>
                        <a:lnTo>
                          <a:pt x="2138" y="1372"/>
                        </a:lnTo>
                        <a:lnTo>
                          <a:pt x="2133" y="1326"/>
                        </a:lnTo>
                        <a:lnTo>
                          <a:pt x="2128" y="1279"/>
                        </a:lnTo>
                        <a:lnTo>
                          <a:pt x="2122" y="1233"/>
                        </a:lnTo>
                        <a:lnTo>
                          <a:pt x="2114" y="1188"/>
                        </a:lnTo>
                        <a:lnTo>
                          <a:pt x="2106" y="1142"/>
                        </a:lnTo>
                        <a:lnTo>
                          <a:pt x="2098" y="1096"/>
                        </a:lnTo>
                        <a:lnTo>
                          <a:pt x="2089" y="1050"/>
                        </a:lnTo>
                        <a:lnTo>
                          <a:pt x="2078" y="1005"/>
                        </a:lnTo>
                        <a:lnTo>
                          <a:pt x="2068" y="961"/>
                        </a:lnTo>
                        <a:lnTo>
                          <a:pt x="2057" y="915"/>
                        </a:lnTo>
                        <a:lnTo>
                          <a:pt x="2044" y="871"/>
                        </a:lnTo>
                        <a:lnTo>
                          <a:pt x="2032" y="827"/>
                        </a:lnTo>
                        <a:lnTo>
                          <a:pt x="2005" y="739"/>
                        </a:lnTo>
                        <a:lnTo>
                          <a:pt x="1977" y="652"/>
                        </a:lnTo>
                        <a:lnTo>
                          <a:pt x="1946" y="568"/>
                        </a:lnTo>
                        <a:lnTo>
                          <a:pt x="1914" y="483"/>
                        </a:lnTo>
                        <a:lnTo>
                          <a:pt x="1880" y="401"/>
                        </a:lnTo>
                        <a:lnTo>
                          <a:pt x="1845" y="321"/>
                        </a:lnTo>
                        <a:lnTo>
                          <a:pt x="1808" y="242"/>
                        </a:lnTo>
                        <a:lnTo>
                          <a:pt x="1771" y="164"/>
                        </a:lnTo>
                        <a:lnTo>
                          <a:pt x="1733" y="88"/>
                        </a:lnTo>
                        <a:lnTo>
                          <a:pt x="1733" y="88"/>
                        </a:lnTo>
                        <a:lnTo>
                          <a:pt x="1681" y="76"/>
                        </a:lnTo>
                        <a:lnTo>
                          <a:pt x="1631" y="65"/>
                        </a:lnTo>
                        <a:lnTo>
                          <a:pt x="1581" y="54"/>
                        </a:lnTo>
                        <a:lnTo>
                          <a:pt x="1532" y="45"/>
                        </a:lnTo>
                        <a:lnTo>
                          <a:pt x="1483" y="36"/>
                        </a:lnTo>
                        <a:lnTo>
                          <a:pt x="1434" y="29"/>
                        </a:lnTo>
                        <a:lnTo>
                          <a:pt x="1387" y="22"/>
                        </a:lnTo>
                        <a:lnTo>
                          <a:pt x="1340" y="16"/>
                        </a:lnTo>
                        <a:lnTo>
                          <a:pt x="1293" y="11"/>
                        </a:lnTo>
                        <a:lnTo>
                          <a:pt x="1247" y="7"/>
                        </a:lnTo>
                        <a:lnTo>
                          <a:pt x="1202" y="4"/>
                        </a:lnTo>
                        <a:lnTo>
                          <a:pt x="1158" y="2"/>
                        </a:lnTo>
                        <a:lnTo>
                          <a:pt x="1114" y="1"/>
                        </a:lnTo>
                        <a:lnTo>
                          <a:pt x="1071" y="0"/>
                        </a:lnTo>
                        <a:lnTo>
                          <a:pt x="1028" y="0"/>
                        </a:lnTo>
                        <a:lnTo>
                          <a:pt x="987" y="0"/>
                        </a:lnTo>
                        <a:lnTo>
                          <a:pt x="946" y="1"/>
                        </a:lnTo>
                        <a:lnTo>
                          <a:pt x="905" y="3"/>
                        </a:lnTo>
                        <a:lnTo>
                          <a:pt x="826" y="8"/>
                        </a:lnTo>
                        <a:lnTo>
                          <a:pt x="750" y="15"/>
                        </a:lnTo>
                        <a:lnTo>
                          <a:pt x="678" y="25"/>
                        </a:lnTo>
                        <a:lnTo>
                          <a:pt x="608" y="35"/>
                        </a:lnTo>
                        <a:lnTo>
                          <a:pt x="543" y="47"/>
                        </a:lnTo>
                        <a:lnTo>
                          <a:pt x="480" y="59"/>
                        </a:lnTo>
                        <a:lnTo>
                          <a:pt x="420" y="74"/>
                        </a:lnTo>
                        <a:lnTo>
                          <a:pt x="420" y="74"/>
                        </a:lnTo>
                        <a:lnTo>
                          <a:pt x="381" y="150"/>
                        </a:lnTo>
                        <a:lnTo>
                          <a:pt x="343" y="228"/>
                        </a:lnTo>
                        <a:lnTo>
                          <a:pt x="306" y="307"/>
                        </a:lnTo>
                        <a:lnTo>
                          <a:pt x="271" y="389"/>
                        </a:lnTo>
                        <a:lnTo>
                          <a:pt x="236" y="472"/>
                        </a:lnTo>
                        <a:lnTo>
                          <a:pt x="203" y="556"/>
                        </a:lnTo>
                        <a:lnTo>
                          <a:pt x="171" y="643"/>
                        </a:lnTo>
                        <a:lnTo>
                          <a:pt x="142" y="730"/>
                        </a:lnTo>
                        <a:lnTo>
                          <a:pt x="128" y="774"/>
                        </a:lnTo>
                        <a:lnTo>
                          <a:pt x="115" y="819"/>
                        </a:lnTo>
                        <a:lnTo>
                          <a:pt x="102" y="864"/>
                        </a:lnTo>
                        <a:lnTo>
                          <a:pt x="90" y="909"/>
                        </a:lnTo>
                        <a:lnTo>
                          <a:pt x="79" y="954"/>
                        </a:lnTo>
                        <a:lnTo>
                          <a:pt x="67" y="1000"/>
                        </a:lnTo>
                        <a:lnTo>
                          <a:pt x="57" y="1045"/>
                        </a:lnTo>
                        <a:lnTo>
                          <a:pt x="48" y="1091"/>
                        </a:lnTo>
                        <a:lnTo>
                          <a:pt x="40" y="1137"/>
                        </a:lnTo>
                        <a:lnTo>
                          <a:pt x="31" y="1184"/>
                        </a:lnTo>
                        <a:lnTo>
                          <a:pt x="24" y="1230"/>
                        </a:lnTo>
                        <a:lnTo>
                          <a:pt x="17" y="1277"/>
                        </a:lnTo>
                        <a:lnTo>
                          <a:pt x="12" y="1325"/>
                        </a:lnTo>
                        <a:lnTo>
                          <a:pt x="7" y="1371"/>
                        </a:lnTo>
                        <a:lnTo>
                          <a:pt x="4" y="1418"/>
                        </a:lnTo>
                        <a:lnTo>
                          <a:pt x="0" y="1466"/>
                        </a:lnTo>
                        <a:lnTo>
                          <a:pt x="0" y="1466"/>
                        </a:lnTo>
                        <a:lnTo>
                          <a:pt x="49" y="1445"/>
                        </a:lnTo>
                        <a:lnTo>
                          <a:pt x="99" y="1424"/>
                        </a:lnTo>
                        <a:lnTo>
                          <a:pt x="152" y="1405"/>
                        </a:lnTo>
                        <a:lnTo>
                          <a:pt x="205" y="1386"/>
                        </a:lnTo>
                        <a:lnTo>
                          <a:pt x="260" y="1368"/>
                        </a:lnTo>
                        <a:lnTo>
                          <a:pt x="316" y="1350"/>
                        </a:lnTo>
                        <a:lnTo>
                          <a:pt x="374" y="1334"/>
                        </a:lnTo>
                        <a:lnTo>
                          <a:pt x="434" y="1319"/>
                        </a:lnTo>
                        <a:lnTo>
                          <a:pt x="493" y="1304"/>
                        </a:lnTo>
                        <a:lnTo>
                          <a:pt x="555" y="1292"/>
                        </a:lnTo>
                        <a:lnTo>
                          <a:pt x="618" y="1279"/>
                        </a:lnTo>
                        <a:lnTo>
                          <a:pt x="680" y="1269"/>
                        </a:lnTo>
                        <a:lnTo>
                          <a:pt x="745" y="1260"/>
                        </a:lnTo>
                        <a:lnTo>
                          <a:pt x="810" y="1253"/>
                        </a:lnTo>
                        <a:lnTo>
                          <a:pt x="877" y="1247"/>
                        </a:lnTo>
                        <a:lnTo>
                          <a:pt x="944" y="1242"/>
                        </a:lnTo>
                        <a:lnTo>
                          <a:pt x="944" y="1611"/>
                        </a:lnTo>
                        <a:lnTo>
                          <a:pt x="944" y="1611"/>
                        </a:lnTo>
                        <a:lnTo>
                          <a:pt x="899" y="1613"/>
                        </a:lnTo>
                        <a:lnTo>
                          <a:pt x="856" y="1616"/>
                        </a:lnTo>
                        <a:lnTo>
                          <a:pt x="814" y="1619"/>
                        </a:lnTo>
                        <a:lnTo>
                          <a:pt x="773" y="1623"/>
                        </a:lnTo>
                        <a:lnTo>
                          <a:pt x="732" y="1627"/>
                        </a:lnTo>
                        <a:lnTo>
                          <a:pt x="693" y="1633"/>
                        </a:lnTo>
                        <a:lnTo>
                          <a:pt x="654" y="1638"/>
                        </a:lnTo>
                        <a:lnTo>
                          <a:pt x="617" y="1645"/>
                        </a:lnTo>
                        <a:lnTo>
                          <a:pt x="580" y="1652"/>
                        </a:lnTo>
                        <a:lnTo>
                          <a:pt x="544" y="1659"/>
                        </a:lnTo>
                        <a:lnTo>
                          <a:pt x="509" y="1667"/>
                        </a:lnTo>
                        <a:lnTo>
                          <a:pt x="475" y="1675"/>
                        </a:lnTo>
                        <a:lnTo>
                          <a:pt x="442" y="1684"/>
                        </a:lnTo>
                        <a:lnTo>
                          <a:pt x="410" y="1693"/>
                        </a:lnTo>
                        <a:lnTo>
                          <a:pt x="379" y="1703"/>
                        </a:lnTo>
                        <a:lnTo>
                          <a:pt x="349" y="1713"/>
                        </a:lnTo>
                        <a:lnTo>
                          <a:pt x="320" y="1723"/>
                        </a:lnTo>
                        <a:lnTo>
                          <a:pt x="293" y="1734"/>
                        </a:lnTo>
                        <a:lnTo>
                          <a:pt x="265" y="1745"/>
                        </a:lnTo>
                        <a:lnTo>
                          <a:pt x="239" y="1757"/>
                        </a:lnTo>
                        <a:lnTo>
                          <a:pt x="214" y="1769"/>
                        </a:lnTo>
                        <a:lnTo>
                          <a:pt x="191" y="1780"/>
                        </a:lnTo>
                        <a:lnTo>
                          <a:pt x="167" y="1793"/>
                        </a:lnTo>
                        <a:lnTo>
                          <a:pt x="145" y="1806"/>
                        </a:lnTo>
                        <a:lnTo>
                          <a:pt x="125" y="1818"/>
                        </a:lnTo>
                        <a:lnTo>
                          <a:pt x="104" y="1832"/>
                        </a:lnTo>
                        <a:lnTo>
                          <a:pt x="86" y="1845"/>
                        </a:lnTo>
                        <a:lnTo>
                          <a:pt x="68" y="1860"/>
                        </a:lnTo>
                        <a:lnTo>
                          <a:pt x="51" y="1873"/>
                        </a:lnTo>
                        <a:lnTo>
                          <a:pt x="35" y="1887"/>
                        </a:lnTo>
                        <a:lnTo>
                          <a:pt x="21" y="1902"/>
                        </a:lnTo>
                        <a:lnTo>
                          <a:pt x="7" y="1916"/>
                        </a:lnTo>
                        <a:lnTo>
                          <a:pt x="7" y="1916"/>
                        </a:lnTo>
                        <a:lnTo>
                          <a:pt x="14" y="2006"/>
                        </a:lnTo>
                        <a:lnTo>
                          <a:pt x="23" y="2094"/>
                        </a:lnTo>
                        <a:lnTo>
                          <a:pt x="33" y="2183"/>
                        </a:lnTo>
                        <a:lnTo>
                          <a:pt x="46" y="2270"/>
                        </a:lnTo>
                        <a:lnTo>
                          <a:pt x="59" y="2357"/>
                        </a:lnTo>
                        <a:lnTo>
                          <a:pt x="73" y="2445"/>
                        </a:lnTo>
                        <a:lnTo>
                          <a:pt x="91" y="2532"/>
                        </a:lnTo>
                        <a:lnTo>
                          <a:pt x="108" y="2621"/>
                        </a:lnTo>
                        <a:lnTo>
                          <a:pt x="128" y="2710"/>
                        </a:lnTo>
                        <a:lnTo>
                          <a:pt x="150" y="2802"/>
                        </a:lnTo>
                        <a:lnTo>
                          <a:pt x="172" y="2895"/>
                        </a:lnTo>
                        <a:lnTo>
                          <a:pt x="196" y="2990"/>
                        </a:lnTo>
                        <a:lnTo>
                          <a:pt x="247" y="3189"/>
                        </a:lnTo>
                        <a:lnTo>
                          <a:pt x="303" y="3399"/>
                        </a:lnTo>
                        <a:lnTo>
                          <a:pt x="1831" y="3399"/>
                        </a:lnTo>
                        <a:lnTo>
                          <a:pt x="1831" y="3399"/>
                        </a:lnTo>
                        <a:lnTo>
                          <a:pt x="1831" y="3399"/>
                        </a:lnTo>
                        <a:lnTo>
                          <a:pt x="1890" y="3189"/>
                        </a:lnTo>
                        <a:lnTo>
                          <a:pt x="1943" y="2991"/>
                        </a:lnTo>
                        <a:lnTo>
                          <a:pt x="1967" y="2896"/>
                        </a:lnTo>
                        <a:lnTo>
                          <a:pt x="1991" y="2804"/>
                        </a:lnTo>
                        <a:lnTo>
                          <a:pt x="2013" y="2714"/>
                        </a:lnTo>
                        <a:lnTo>
                          <a:pt x="2033" y="2625"/>
                        </a:lnTo>
                        <a:lnTo>
                          <a:pt x="2052" y="2537"/>
                        </a:lnTo>
                        <a:lnTo>
                          <a:pt x="2069" y="2450"/>
                        </a:lnTo>
                        <a:lnTo>
                          <a:pt x="2085" y="2363"/>
                        </a:lnTo>
                        <a:lnTo>
                          <a:pt x="2099" y="2275"/>
                        </a:lnTo>
                        <a:lnTo>
                          <a:pt x="2111" y="2188"/>
                        </a:lnTo>
                        <a:lnTo>
                          <a:pt x="2122" y="2098"/>
                        </a:lnTo>
                        <a:lnTo>
                          <a:pt x="2131" y="2008"/>
                        </a:lnTo>
                        <a:lnTo>
                          <a:pt x="2138" y="1916"/>
                        </a:lnTo>
                        <a:lnTo>
                          <a:pt x="2138" y="1916"/>
                        </a:lnTo>
                        <a:lnTo>
                          <a:pt x="2125" y="1902"/>
                        </a:lnTo>
                        <a:lnTo>
                          <a:pt x="2109" y="1887"/>
                        </a:lnTo>
                        <a:lnTo>
                          <a:pt x="2094" y="1873"/>
                        </a:lnTo>
                        <a:lnTo>
                          <a:pt x="2077" y="1860"/>
                        </a:lnTo>
                        <a:lnTo>
                          <a:pt x="2059" y="1845"/>
                        </a:lnTo>
                        <a:lnTo>
                          <a:pt x="2040" y="1832"/>
                        </a:lnTo>
                        <a:lnTo>
                          <a:pt x="2021" y="1818"/>
                        </a:lnTo>
                        <a:lnTo>
                          <a:pt x="1999" y="1806"/>
                        </a:lnTo>
                        <a:lnTo>
                          <a:pt x="1978" y="1793"/>
                        </a:lnTo>
                        <a:lnTo>
                          <a:pt x="1955" y="1780"/>
                        </a:lnTo>
                        <a:lnTo>
                          <a:pt x="1930" y="1769"/>
                        </a:lnTo>
                        <a:lnTo>
                          <a:pt x="1906" y="1757"/>
                        </a:lnTo>
                        <a:lnTo>
                          <a:pt x="1880" y="1745"/>
                        </a:lnTo>
                        <a:lnTo>
                          <a:pt x="1853" y="1734"/>
                        </a:lnTo>
                        <a:lnTo>
                          <a:pt x="1824" y="1723"/>
                        </a:lnTo>
                        <a:lnTo>
                          <a:pt x="1795" y="1713"/>
                        </a:lnTo>
                        <a:lnTo>
                          <a:pt x="1766" y="1703"/>
                        </a:lnTo>
                        <a:lnTo>
                          <a:pt x="1735" y="1693"/>
                        </a:lnTo>
                        <a:lnTo>
                          <a:pt x="1703" y="1684"/>
                        </a:lnTo>
                        <a:lnTo>
                          <a:pt x="1670" y="1675"/>
                        </a:lnTo>
                        <a:lnTo>
                          <a:pt x="1636" y="1667"/>
                        </a:lnTo>
                        <a:lnTo>
                          <a:pt x="1601" y="1659"/>
                        </a:lnTo>
                        <a:lnTo>
                          <a:pt x="1566" y="1652"/>
                        </a:lnTo>
                        <a:lnTo>
                          <a:pt x="1529" y="1645"/>
                        </a:lnTo>
                        <a:lnTo>
                          <a:pt x="1491" y="1638"/>
                        </a:lnTo>
                        <a:lnTo>
                          <a:pt x="1453" y="1633"/>
                        </a:lnTo>
                        <a:lnTo>
                          <a:pt x="1413" y="1627"/>
                        </a:lnTo>
                        <a:lnTo>
                          <a:pt x="1373" y="1623"/>
                        </a:lnTo>
                        <a:lnTo>
                          <a:pt x="1331" y="1619"/>
                        </a:lnTo>
                        <a:lnTo>
                          <a:pt x="1288" y="1616"/>
                        </a:lnTo>
                        <a:lnTo>
                          <a:pt x="1245" y="1613"/>
                        </a:lnTo>
                        <a:lnTo>
                          <a:pt x="1201" y="1611"/>
                        </a:lnTo>
                        <a:lnTo>
                          <a:pt x="1201" y="1611"/>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8" name="Freeform 30"/>
                  <p:cNvSpPr>
                    <a:spLocks/>
                  </p:cNvSpPr>
                  <p:nvPr userDrawn="1"/>
                </p:nvSpPr>
                <p:spPr bwMode="auto">
                  <a:xfrm>
                    <a:off x="-1850289" y="865570"/>
                    <a:ext cx="1214438" cy="95250"/>
                  </a:xfrm>
                  <a:custGeom>
                    <a:avLst/>
                    <a:gdLst>
                      <a:gd name="T0" fmla="*/ 765 w 1529"/>
                      <a:gd name="T1" fmla="*/ 0 h 122"/>
                      <a:gd name="T2" fmla="*/ 467 w 1529"/>
                      <a:gd name="T3" fmla="*/ 5 h 122"/>
                      <a:gd name="T4" fmla="*/ 337 w 1529"/>
                      <a:gd name="T5" fmla="*/ 10 h 122"/>
                      <a:gd name="T6" fmla="*/ 224 w 1529"/>
                      <a:gd name="T7" fmla="*/ 17 h 122"/>
                      <a:gd name="T8" fmla="*/ 130 w 1529"/>
                      <a:gd name="T9" fmla="*/ 27 h 122"/>
                      <a:gd name="T10" fmla="*/ 60 w 1529"/>
                      <a:gd name="T11" fmla="*/ 39 h 122"/>
                      <a:gd name="T12" fmla="*/ 23 w 1529"/>
                      <a:gd name="T13" fmla="*/ 50 h 122"/>
                      <a:gd name="T14" fmla="*/ 8 w 1529"/>
                      <a:gd name="T15" fmla="*/ 58 h 122"/>
                      <a:gd name="T16" fmla="*/ 1 w 1529"/>
                      <a:gd name="T17" fmla="*/ 66 h 122"/>
                      <a:gd name="T18" fmla="*/ 0 w 1529"/>
                      <a:gd name="T19" fmla="*/ 70 h 122"/>
                      <a:gd name="T20" fmla="*/ 4 w 1529"/>
                      <a:gd name="T21" fmla="*/ 80 h 122"/>
                      <a:gd name="T22" fmla="*/ 15 w 1529"/>
                      <a:gd name="T23" fmla="*/ 87 h 122"/>
                      <a:gd name="T24" fmla="*/ 34 w 1529"/>
                      <a:gd name="T25" fmla="*/ 93 h 122"/>
                      <a:gd name="T26" fmla="*/ 91 w 1529"/>
                      <a:gd name="T27" fmla="*/ 104 h 122"/>
                      <a:gd name="T28" fmla="*/ 175 w 1529"/>
                      <a:gd name="T29" fmla="*/ 112 h 122"/>
                      <a:gd name="T30" fmla="*/ 278 w 1529"/>
                      <a:gd name="T31" fmla="*/ 117 h 122"/>
                      <a:gd name="T32" fmla="*/ 467 w 1529"/>
                      <a:gd name="T33" fmla="*/ 121 h 122"/>
                      <a:gd name="T34" fmla="*/ 765 w 1529"/>
                      <a:gd name="T35" fmla="*/ 122 h 122"/>
                      <a:gd name="T36" fmla="*/ 918 w 1529"/>
                      <a:gd name="T37" fmla="*/ 122 h 122"/>
                      <a:gd name="T38" fmla="*/ 1192 w 1529"/>
                      <a:gd name="T39" fmla="*/ 119 h 122"/>
                      <a:gd name="T40" fmla="*/ 1305 w 1529"/>
                      <a:gd name="T41" fmla="*/ 115 h 122"/>
                      <a:gd name="T42" fmla="*/ 1399 w 1529"/>
                      <a:gd name="T43" fmla="*/ 108 h 122"/>
                      <a:gd name="T44" fmla="*/ 1470 w 1529"/>
                      <a:gd name="T45" fmla="*/ 99 h 122"/>
                      <a:gd name="T46" fmla="*/ 1506 w 1529"/>
                      <a:gd name="T47" fmla="*/ 90 h 122"/>
                      <a:gd name="T48" fmla="*/ 1521 w 1529"/>
                      <a:gd name="T49" fmla="*/ 83 h 122"/>
                      <a:gd name="T50" fmla="*/ 1528 w 1529"/>
                      <a:gd name="T51" fmla="*/ 76 h 122"/>
                      <a:gd name="T52" fmla="*/ 1529 w 1529"/>
                      <a:gd name="T53" fmla="*/ 70 h 122"/>
                      <a:gd name="T54" fmla="*/ 1526 w 1529"/>
                      <a:gd name="T55" fmla="*/ 62 h 122"/>
                      <a:gd name="T56" fmla="*/ 1514 w 1529"/>
                      <a:gd name="T57" fmla="*/ 54 h 122"/>
                      <a:gd name="T58" fmla="*/ 1496 w 1529"/>
                      <a:gd name="T59" fmla="*/ 46 h 122"/>
                      <a:gd name="T60" fmla="*/ 1438 w 1529"/>
                      <a:gd name="T61" fmla="*/ 32 h 122"/>
                      <a:gd name="T62" fmla="*/ 1356 w 1529"/>
                      <a:gd name="T63" fmla="*/ 22 h 122"/>
                      <a:gd name="T64" fmla="*/ 1252 w 1529"/>
                      <a:gd name="T65" fmla="*/ 13 h 122"/>
                      <a:gd name="T66" fmla="*/ 1129 w 1529"/>
                      <a:gd name="T67" fmla="*/ 7 h 122"/>
                      <a:gd name="T68" fmla="*/ 918 w 1529"/>
                      <a:gd name="T69" fmla="*/ 1 h 122"/>
                      <a:gd name="T70" fmla="*/ 765 w 1529"/>
                      <a:gd name="T71"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29" h="122">
                        <a:moveTo>
                          <a:pt x="765" y="0"/>
                        </a:moveTo>
                        <a:lnTo>
                          <a:pt x="765" y="0"/>
                        </a:lnTo>
                        <a:lnTo>
                          <a:pt x="611" y="1"/>
                        </a:lnTo>
                        <a:lnTo>
                          <a:pt x="467" y="5"/>
                        </a:lnTo>
                        <a:lnTo>
                          <a:pt x="400" y="7"/>
                        </a:lnTo>
                        <a:lnTo>
                          <a:pt x="337" y="10"/>
                        </a:lnTo>
                        <a:lnTo>
                          <a:pt x="278" y="13"/>
                        </a:lnTo>
                        <a:lnTo>
                          <a:pt x="224" y="17"/>
                        </a:lnTo>
                        <a:lnTo>
                          <a:pt x="175" y="22"/>
                        </a:lnTo>
                        <a:lnTo>
                          <a:pt x="130" y="27"/>
                        </a:lnTo>
                        <a:lnTo>
                          <a:pt x="91" y="32"/>
                        </a:lnTo>
                        <a:lnTo>
                          <a:pt x="60" y="39"/>
                        </a:lnTo>
                        <a:lnTo>
                          <a:pt x="34" y="46"/>
                        </a:lnTo>
                        <a:lnTo>
                          <a:pt x="23" y="50"/>
                        </a:lnTo>
                        <a:lnTo>
                          <a:pt x="15" y="54"/>
                        </a:lnTo>
                        <a:lnTo>
                          <a:pt x="8" y="58"/>
                        </a:lnTo>
                        <a:lnTo>
                          <a:pt x="4" y="62"/>
                        </a:lnTo>
                        <a:lnTo>
                          <a:pt x="1" y="66"/>
                        </a:lnTo>
                        <a:lnTo>
                          <a:pt x="0" y="70"/>
                        </a:lnTo>
                        <a:lnTo>
                          <a:pt x="0" y="70"/>
                        </a:lnTo>
                        <a:lnTo>
                          <a:pt x="1" y="76"/>
                        </a:lnTo>
                        <a:lnTo>
                          <a:pt x="4" y="80"/>
                        </a:lnTo>
                        <a:lnTo>
                          <a:pt x="8" y="83"/>
                        </a:lnTo>
                        <a:lnTo>
                          <a:pt x="15" y="87"/>
                        </a:lnTo>
                        <a:lnTo>
                          <a:pt x="23" y="90"/>
                        </a:lnTo>
                        <a:lnTo>
                          <a:pt x="34" y="93"/>
                        </a:lnTo>
                        <a:lnTo>
                          <a:pt x="60" y="99"/>
                        </a:lnTo>
                        <a:lnTo>
                          <a:pt x="91" y="104"/>
                        </a:lnTo>
                        <a:lnTo>
                          <a:pt x="130" y="108"/>
                        </a:lnTo>
                        <a:lnTo>
                          <a:pt x="175" y="112"/>
                        </a:lnTo>
                        <a:lnTo>
                          <a:pt x="224" y="115"/>
                        </a:lnTo>
                        <a:lnTo>
                          <a:pt x="278" y="117"/>
                        </a:lnTo>
                        <a:lnTo>
                          <a:pt x="337" y="119"/>
                        </a:lnTo>
                        <a:lnTo>
                          <a:pt x="467" y="121"/>
                        </a:lnTo>
                        <a:lnTo>
                          <a:pt x="611" y="122"/>
                        </a:lnTo>
                        <a:lnTo>
                          <a:pt x="765" y="122"/>
                        </a:lnTo>
                        <a:lnTo>
                          <a:pt x="765" y="122"/>
                        </a:lnTo>
                        <a:lnTo>
                          <a:pt x="918" y="122"/>
                        </a:lnTo>
                        <a:lnTo>
                          <a:pt x="1062" y="121"/>
                        </a:lnTo>
                        <a:lnTo>
                          <a:pt x="1192" y="119"/>
                        </a:lnTo>
                        <a:lnTo>
                          <a:pt x="1252" y="117"/>
                        </a:lnTo>
                        <a:lnTo>
                          <a:pt x="1305" y="115"/>
                        </a:lnTo>
                        <a:lnTo>
                          <a:pt x="1356" y="112"/>
                        </a:lnTo>
                        <a:lnTo>
                          <a:pt x="1399" y="108"/>
                        </a:lnTo>
                        <a:lnTo>
                          <a:pt x="1438" y="104"/>
                        </a:lnTo>
                        <a:lnTo>
                          <a:pt x="1470" y="99"/>
                        </a:lnTo>
                        <a:lnTo>
                          <a:pt x="1496" y="93"/>
                        </a:lnTo>
                        <a:lnTo>
                          <a:pt x="1506" y="90"/>
                        </a:lnTo>
                        <a:lnTo>
                          <a:pt x="1514" y="87"/>
                        </a:lnTo>
                        <a:lnTo>
                          <a:pt x="1521" y="83"/>
                        </a:lnTo>
                        <a:lnTo>
                          <a:pt x="1526" y="80"/>
                        </a:lnTo>
                        <a:lnTo>
                          <a:pt x="1528" y="76"/>
                        </a:lnTo>
                        <a:lnTo>
                          <a:pt x="1529" y="70"/>
                        </a:lnTo>
                        <a:lnTo>
                          <a:pt x="1529" y="70"/>
                        </a:lnTo>
                        <a:lnTo>
                          <a:pt x="1528" y="66"/>
                        </a:lnTo>
                        <a:lnTo>
                          <a:pt x="1526" y="62"/>
                        </a:lnTo>
                        <a:lnTo>
                          <a:pt x="1521" y="58"/>
                        </a:lnTo>
                        <a:lnTo>
                          <a:pt x="1514" y="54"/>
                        </a:lnTo>
                        <a:lnTo>
                          <a:pt x="1506" y="50"/>
                        </a:lnTo>
                        <a:lnTo>
                          <a:pt x="1496" y="46"/>
                        </a:lnTo>
                        <a:lnTo>
                          <a:pt x="1470" y="39"/>
                        </a:lnTo>
                        <a:lnTo>
                          <a:pt x="1438" y="32"/>
                        </a:lnTo>
                        <a:lnTo>
                          <a:pt x="1399" y="27"/>
                        </a:lnTo>
                        <a:lnTo>
                          <a:pt x="1356" y="22"/>
                        </a:lnTo>
                        <a:lnTo>
                          <a:pt x="1305" y="17"/>
                        </a:lnTo>
                        <a:lnTo>
                          <a:pt x="1252" y="13"/>
                        </a:lnTo>
                        <a:lnTo>
                          <a:pt x="1192" y="10"/>
                        </a:lnTo>
                        <a:lnTo>
                          <a:pt x="1129" y="7"/>
                        </a:lnTo>
                        <a:lnTo>
                          <a:pt x="1062" y="5"/>
                        </a:lnTo>
                        <a:lnTo>
                          <a:pt x="918" y="1"/>
                        </a:lnTo>
                        <a:lnTo>
                          <a:pt x="765" y="0"/>
                        </a:lnTo>
                        <a:lnTo>
                          <a:pt x="765" y="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9" name="Freeform 31"/>
                  <p:cNvSpPr>
                    <a:spLocks/>
                  </p:cNvSpPr>
                  <p:nvPr userDrawn="1"/>
                </p:nvSpPr>
                <p:spPr bwMode="auto">
                  <a:xfrm>
                    <a:off x="-1861402" y="-1353755"/>
                    <a:ext cx="1247775" cy="1249363"/>
                  </a:xfrm>
                  <a:custGeom>
                    <a:avLst/>
                    <a:gdLst>
                      <a:gd name="T0" fmla="*/ 746 w 1572"/>
                      <a:gd name="T1" fmla="*/ 1571 h 1572"/>
                      <a:gd name="T2" fmla="*/ 628 w 1572"/>
                      <a:gd name="T3" fmla="*/ 1556 h 1572"/>
                      <a:gd name="T4" fmla="*/ 517 w 1572"/>
                      <a:gd name="T5" fmla="*/ 1524 h 1572"/>
                      <a:gd name="T6" fmla="*/ 412 w 1572"/>
                      <a:gd name="T7" fmla="*/ 1477 h 1572"/>
                      <a:gd name="T8" fmla="*/ 316 w 1572"/>
                      <a:gd name="T9" fmla="*/ 1416 h 1572"/>
                      <a:gd name="T10" fmla="*/ 231 w 1572"/>
                      <a:gd name="T11" fmla="*/ 1342 h 1572"/>
                      <a:gd name="T12" fmla="*/ 157 w 1572"/>
                      <a:gd name="T13" fmla="*/ 1256 h 1572"/>
                      <a:gd name="T14" fmla="*/ 95 w 1572"/>
                      <a:gd name="T15" fmla="*/ 1161 h 1572"/>
                      <a:gd name="T16" fmla="*/ 49 w 1572"/>
                      <a:gd name="T17" fmla="*/ 1056 h 1572"/>
                      <a:gd name="T18" fmla="*/ 17 w 1572"/>
                      <a:gd name="T19" fmla="*/ 944 h 1572"/>
                      <a:gd name="T20" fmla="*/ 1 w 1572"/>
                      <a:gd name="T21" fmla="*/ 827 h 1572"/>
                      <a:gd name="T22" fmla="*/ 1 w 1572"/>
                      <a:gd name="T23" fmla="*/ 745 h 1572"/>
                      <a:gd name="T24" fmla="*/ 17 w 1572"/>
                      <a:gd name="T25" fmla="*/ 628 h 1572"/>
                      <a:gd name="T26" fmla="*/ 49 w 1572"/>
                      <a:gd name="T27" fmla="*/ 516 h 1572"/>
                      <a:gd name="T28" fmla="*/ 95 w 1572"/>
                      <a:gd name="T29" fmla="*/ 412 h 1572"/>
                      <a:gd name="T30" fmla="*/ 157 w 1572"/>
                      <a:gd name="T31" fmla="*/ 316 h 1572"/>
                      <a:gd name="T32" fmla="*/ 231 w 1572"/>
                      <a:gd name="T33" fmla="*/ 231 h 1572"/>
                      <a:gd name="T34" fmla="*/ 316 w 1572"/>
                      <a:gd name="T35" fmla="*/ 156 h 1572"/>
                      <a:gd name="T36" fmla="*/ 412 w 1572"/>
                      <a:gd name="T37" fmla="*/ 95 h 1572"/>
                      <a:gd name="T38" fmla="*/ 517 w 1572"/>
                      <a:gd name="T39" fmla="*/ 48 h 1572"/>
                      <a:gd name="T40" fmla="*/ 628 w 1572"/>
                      <a:gd name="T41" fmla="*/ 16 h 1572"/>
                      <a:gd name="T42" fmla="*/ 746 w 1572"/>
                      <a:gd name="T43" fmla="*/ 1 h 1572"/>
                      <a:gd name="T44" fmla="*/ 826 w 1572"/>
                      <a:gd name="T45" fmla="*/ 1 h 1572"/>
                      <a:gd name="T46" fmla="*/ 945 w 1572"/>
                      <a:gd name="T47" fmla="*/ 16 h 1572"/>
                      <a:gd name="T48" fmla="*/ 1057 w 1572"/>
                      <a:gd name="T49" fmla="*/ 48 h 1572"/>
                      <a:gd name="T50" fmla="*/ 1161 w 1572"/>
                      <a:gd name="T51" fmla="*/ 95 h 1572"/>
                      <a:gd name="T52" fmla="*/ 1256 w 1572"/>
                      <a:gd name="T53" fmla="*/ 156 h 1572"/>
                      <a:gd name="T54" fmla="*/ 1342 w 1572"/>
                      <a:gd name="T55" fmla="*/ 231 h 1572"/>
                      <a:gd name="T56" fmla="*/ 1416 w 1572"/>
                      <a:gd name="T57" fmla="*/ 316 h 1572"/>
                      <a:gd name="T58" fmla="*/ 1478 w 1572"/>
                      <a:gd name="T59" fmla="*/ 412 h 1572"/>
                      <a:gd name="T60" fmla="*/ 1525 w 1572"/>
                      <a:gd name="T61" fmla="*/ 516 h 1572"/>
                      <a:gd name="T62" fmla="*/ 1557 w 1572"/>
                      <a:gd name="T63" fmla="*/ 628 h 1572"/>
                      <a:gd name="T64" fmla="*/ 1571 w 1572"/>
                      <a:gd name="T65" fmla="*/ 745 h 1572"/>
                      <a:gd name="T66" fmla="*/ 1571 w 1572"/>
                      <a:gd name="T67" fmla="*/ 827 h 1572"/>
                      <a:gd name="T68" fmla="*/ 1557 w 1572"/>
                      <a:gd name="T69" fmla="*/ 944 h 1572"/>
                      <a:gd name="T70" fmla="*/ 1525 w 1572"/>
                      <a:gd name="T71" fmla="*/ 1056 h 1572"/>
                      <a:gd name="T72" fmla="*/ 1478 w 1572"/>
                      <a:gd name="T73" fmla="*/ 1161 h 1572"/>
                      <a:gd name="T74" fmla="*/ 1416 w 1572"/>
                      <a:gd name="T75" fmla="*/ 1256 h 1572"/>
                      <a:gd name="T76" fmla="*/ 1342 w 1572"/>
                      <a:gd name="T77" fmla="*/ 1342 h 1572"/>
                      <a:gd name="T78" fmla="*/ 1256 w 1572"/>
                      <a:gd name="T79" fmla="*/ 1416 h 1572"/>
                      <a:gd name="T80" fmla="*/ 1161 w 1572"/>
                      <a:gd name="T81" fmla="*/ 1477 h 1572"/>
                      <a:gd name="T82" fmla="*/ 1057 w 1572"/>
                      <a:gd name="T83" fmla="*/ 1524 h 1572"/>
                      <a:gd name="T84" fmla="*/ 945 w 1572"/>
                      <a:gd name="T85" fmla="*/ 1556 h 1572"/>
                      <a:gd name="T86" fmla="*/ 826 w 1572"/>
                      <a:gd name="T87" fmla="*/ 1571 h 1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72" h="1572">
                        <a:moveTo>
                          <a:pt x="786" y="1572"/>
                        </a:moveTo>
                        <a:lnTo>
                          <a:pt x="786" y="1572"/>
                        </a:lnTo>
                        <a:lnTo>
                          <a:pt x="746" y="1571"/>
                        </a:lnTo>
                        <a:lnTo>
                          <a:pt x="706" y="1568"/>
                        </a:lnTo>
                        <a:lnTo>
                          <a:pt x="667" y="1563"/>
                        </a:lnTo>
                        <a:lnTo>
                          <a:pt x="628" y="1556"/>
                        </a:lnTo>
                        <a:lnTo>
                          <a:pt x="590" y="1548"/>
                        </a:lnTo>
                        <a:lnTo>
                          <a:pt x="553" y="1536"/>
                        </a:lnTo>
                        <a:lnTo>
                          <a:pt x="517" y="1524"/>
                        </a:lnTo>
                        <a:lnTo>
                          <a:pt x="481" y="1511"/>
                        </a:lnTo>
                        <a:lnTo>
                          <a:pt x="446" y="1494"/>
                        </a:lnTo>
                        <a:lnTo>
                          <a:pt x="412" y="1477"/>
                        </a:lnTo>
                        <a:lnTo>
                          <a:pt x="379" y="1458"/>
                        </a:lnTo>
                        <a:lnTo>
                          <a:pt x="347" y="1438"/>
                        </a:lnTo>
                        <a:lnTo>
                          <a:pt x="316" y="1416"/>
                        </a:lnTo>
                        <a:lnTo>
                          <a:pt x="286" y="1392"/>
                        </a:lnTo>
                        <a:lnTo>
                          <a:pt x="259" y="1368"/>
                        </a:lnTo>
                        <a:lnTo>
                          <a:pt x="231" y="1342"/>
                        </a:lnTo>
                        <a:lnTo>
                          <a:pt x="205" y="1314"/>
                        </a:lnTo>
                        <a:lnTo>
                          <a:pt x="180" y="1285"/>
                        </a:lnTo>
                        <a:lnTo>
                          <a:pt x="157" y="1256"/>
                        </a:lnTo>
                        <a:lnTo>
                          <a:pt x="135" y="1226"/>
                        </a:lnTo>
                        <a:lnTo>
                          <a:pt x="115" y="1194"/>
                        </a:lnTo>
                        <a:lnTo>
                          <a:pt x="95" y="1161"/>
                        </a:lnTo>
                        <a:lnTo>
                          <a:pt x="79" y="1127"/>
                        </a:lnTo>
                        <a:lnTo>
                          <a:pt x="62" y="1092"/>
                        </a:lnTo>
                        <a:lnTo>
                          <a:pt x="49" y="1056"/>
                        </a:lnTo>
                        <a:lnTo>
                          <a:pt x="35" y="1020"/>
                        </a:lnTo>
                        <a:lnTo>
                          <a:pt x="25" y="982"/>
                        </a:lnTo>
                        <a:lnTo>
                          <a:pt x="17" y="944"/>
                        </a:lnTo>
                        <a:lnTo>
                          <a:pt x="10" y="906"/>
                        </a:lnTo>
                        <a:lnTo>
                          <a:pt x="5" y="867"/>
                        </a:lnTo>
                        <a:lnTo>
                          <a:pt x="1" y="827"/>
                        </a:lnTo>
                        <a:lnTo>
                          <a:pt x="0" y="787"/>
                        </a:lnTo>
                        <a:lnTo>
                          <a:pt x="0" y="787"/>
                        </a:lnTo>
                        <a:lnTo>
                          <a:pt x="1" y="745"/>
                        </a:lnTo>
                        <a:lnTo>
                          <a:pt x="5" y="706"/>
                        </a:lnTo>
                        <a:lnTo>
                          <a:pt x="10" y="666"/>
                        </a:lnTo>
                        <a:lnTo>
                          <a:pt x="17" y="628"/>
                        </a:lnTo>
                        <a:lnTo>
                          <a:pt x="25" y="590"/>
                        </a:lnTo>
                        <a:lnTo>
                          <a:pt x="35" y="553"/>
                        </a:lnTo>
                        <a:lnTo>
                          <a:pt x="49" y="516"/>
                        </a:lnTo>
                        <a:lnTo>
                          <a:pt x="62" y="480"/>
                        </a:lnTo>
                        <a:lnTo>
                          <a:pt x="79" y="446"/>
                        </a:lnTo>
                        <a:lnTo>
                          <a:pt x="95" y="412"/>
                        </a:lnTo>
                        <a:lnTo>
                          <a:pt x="115" y="379"/>
                        </a:lnTo>
                        <a:lnTo>
                          <a:pt x="135" y="347"/>
                        </a:lnTo>
                        <a:lnTo>
                          <a:pt x="157" y="316"/>
                        </a:lnTo>
                        <a:lnTo>
                          <a:pt x="180" y="287"/>
                        </a:lnTo>
                        <a:lnTo>
                          <a:pt x="205" y="258"/>
                        </a:lnTo>
                        <a:lnTo>
                          <a:pt x="231" y="231"/>
                        </a:lnTo>
                        <a:lnTo>
                          <a:pt x="259" y="204"/>
                        </a:lnTo>
                        <a:lnTo>
                          <a:pt x="286" y="180"/>
                        </a:lnTo>
                        <a:lnTo>
                          <a:pt x="316" y="156"/>
                        </a:lnTo>
                        <a:lnTo>
                          <a:pt x="347" y="134"/>
                        </a:lnTo>
                        <a:lnTo>
                          <a:pt x="379" y="114"/>
                        </a:lnTo>
                        <a:lnTo>
                          <a:pt x="412" y="95"/>
                        </a:lnTo>
                        <a:lnTo>
                          <a:pt x="446" y="78"/>
                        </a:lnTo>
                        <a:lnTo>
                          <a:pt x="481" y="62"/>
                        </a:lnTo>
                        <a:lnTo>
                          <a:pt x="517" y="48"/>
                        </a:lnTo>
                        <a:lnTo>
                          <a:pt x="553" y="36"/>
                        </a:lnTo>
                        <a:lnTo>
                          <a:pt x="590" y="25"/>
                        </a:lnTo>
                        <a:lnTo>
                          <a:pt x="628" y="16"/>
                        </a:lnTo>
                        <a:lnTo>
                          <a:pt x="667" y="9"/>
                        </a:lnTo>
                        <a:lnTo>
                          <a:pt x="706" y="4"/>
                        </a:lnTo>
                        <a:lnTo>
                          <a:pt x="746" y="1"/>
                        </a:lnTo>
                        <a:lnTo>
                          <a:pt x="786" y="0"/>
                        </a:lnTo>
                        <a:lnTo>
                          <a:pt x="786" y="0"/>
                        </a:lnTo>
                        <a:lnTo>
                          <a:pt x="826" y="1"/>
                        </a:lnTo>
                        <a:lnTo>
                          <a:pt x="867" y="4"/>
                        </a:lnTo>
                        <a:lnTo>
                          <a:pt x="906" y="9"/>
                        </a:lnTo>
                        <a:lnTo>
                          <a:pt x="945" y="16"/>
                        </a:lnTo>
                        <a:lnTo>
                          <a:pt x="983" y="25"/>
                        </a:lnTo>
                        <a:lnTo>
                          <a:pt x="1020" y="36"/>
                        </a:lnTo>
                        <a:lnTo>
                          <a:pt x="1057" y="48"/>
                        </a:lnTo>
                        <a:lnTo>
                          <a:pt x="1092" y="62"/>
                        </a:lnTo>
                        <a:lnTo>
                          <a:pt x="1127" y="78"/>
                        </a:lnTo>
                        <a:lnTo>
                          <a:pt x="1161" y="95"/>
                        </a:lnTo>
                        <a:lnTo>
                          <a:pt x="1194" y="114"/>
                        </a:lnTo>
                        <a:lnTo>
                          <a:pt x="1226" y="134"/>
                        </a:lnTo>
                        <a:lnTo>
                          <a:pt x="1256" y="156"/>
                        </a:lnTo>
                        <a:lnTo>
                          <a:pt x="1286" y="180"/>
                        </a:lnTo>
                        <a:lnTo>
                          <a:pt x="1315" y="204"/>
                        </a:lnTo>
                        <a:lnTo>
                          <a:pt x="1342" y="231"/>
                        </a:lnTo>
                        <a:lnTo>
                          <a:pt x="1369" y="258"/>
                        </a:lnTo>
                        <a:lnTo>
                          <a:pt x="1393" y="287"/>
                        </a:lnTo>
                        <a:lnTo>
                          <a:pt x="1416" y="316"/>
                        </a:lnTo>
                        <a:lnTo>
                          <a:pt x="1438" y="347"/>
                        </a:lnTo>
                        <a:lnTo>
                          <a:pt x="1459" y="379"/>
                        </a:lnTo>
                        <a:lnTo>
                          <a:pt x="1478" y="412"/>
                        </a:lnTo>
                        <a:lnTo>
                          <a:pt x="1495" y="446"/>
                        </a:lnTo>
                        <a:lnTo>
                          <a:pt x="1510" y="480"/>
                        </a:lnTo>
                        <a:lnTo>
                          <a:pt x="1525" y="516"/>
                        </a:lnTo>
                        <a:lnTo>
                          <a:pt x="1537" y="553"/>
                        </a:lnTo>
                        <a:lnTo>
                          <a:pt x="1548" y="590"/>
                        </a:lnTo>
                        <a:lnTo>
                          <a:pt x="1557" y="628"/>
                        </a:lnTo>
                        <a:lnTo>
                          <a:pt x="1564" y="666"/>
                        </a:lnTo>
                        <a:lnTo>
                          <a:pt x="1568" y="706"/>
                        </a:lnTo>
                        <a:lnTo>
                          <a:pt x="1571" y="745"/>
                        </a:lnTo>
                        <a:lnTo>
                          <a:pt x="1572" y="787"/>
                        </a:lnTo>
                        <a:lnTo>
                          <a:pt x="1572" y="787"/>
                        </a:lnTo>
                        <a:lnTo>
                          <a:pt x="1571" y="827"/>
                        </a:lnTo>
                        <a:lnTo>
                          <a:pt x="1568" y="867"/>
                        </a:lnTo>
                        <a:lnTo>
                          <a:pt x="1564" y="906"/>
                        </a:lnTo>
                        <a:lnTo>
                          <a:pt x="1557" y="944"/>
                        </a:lnTo>
                        <a:lnTo>
                          <a:pt x="1548" y="982"/>
                        </a:lnTo>
                        <a:lnTo>
                          <a:pt x="1537" y="1020"/>
                        </a:lnTo>
                        <a:lnTo>
                          <a:pt x="1525" y="1056"/>
                        </a:lnTo>
                        <a:lnTo>
                          <a:pt x="1510" y="1092"/>
                        </a:lnTo>
                        <a:lnTo>
                          <a:pt x="1495" y="1127"/>
                        </a:lnTo>
                        <a:lnTo>
                          <a:pt x="1478" y="1161"/>
                        </a:lnTo>
                        <a:lnTo>
                          <a:pt x="1459" y="1194"/>
                        </a:lnTo>
                        <a:lnTo>
                          <a:pt x="1438" y="1226"/>
                        </a:lnTo>
                        <a:lnTo>
                          <a:pt x="1416" y="1256"/>
                        </a:lnTo>
                        <a:lnTo>
                          <a:pt x="1393" y="1285"/>
                        </a:lnTo>
                        <a:lnTo>
                          <a:pt x="1369" y="1314"/>
                        </a:lnTo>
                        <a:lnTo>
                          <a:pt x="1342" y="1342"/>
                        </a:lnTo>
                        <a:lnTo>
                          <a:pt x="1315" y="1368"/>
                        </a:lnTo>
                        <a:lnTo>
                          <a:pt x="1286" y="1392"/>
                        </a:lnTo>
                        <a:lnTo>
                          <a:pt x="1256" y="1416"/>
                        </a:lnTo>
                        <a:lnTo>
                          <a:pt x="1226" y="1438"/>
                        </a:lnTo>
                        <a:lnTo>
                          <a:pt x="1194" y="1458"/>
                        </a:lnTo>
                        <a:lnTo>
                          <a:pt x="1161" y="1477"/>
                        </a:lnTo>
                        <a:lnTo>
                          <a:pt x="1127" y="1494"/>
                        </a:lnTo>
                        <a:lnTo>
                          <a:pt x="1092" y="1511"/>
                        </a:lnTo>
                        <a:lnTo>
                          <a:pt x="1057" y="1524"/>
                        </a:lnTo>
                        <a:lnTo>
                          <a:pt x="1020" y="1536"/>
                        </a:lnTo>
                        <a:lnTo>
                          <a:pt x="983" y="1548"/>
                        </a:lnTo>
                        <a:lnTo>
                          <a:pt x="945" y="1556"/>
                        </a:lnTo>
                        <a:lnTo>
                          <a:pt x="906" y="1563"/>
                        </a:lnTo>
                        <a:lnTo>
                          <a:pt x="867" y="1568"/>
                        </a:lnTo>
                        <a:lnTo>
                          <a:pt x="826" y="1571"/>
                        </a:lnTo>
                        <a:lnTo>
                          <a:pt x="786" y="1572"/>
                        </a:lnTo>
                        <a:lnTo>
                          <a:pt x="786" y="1572"/>
                        </a:lnTo>
                        <a:close/>
                      </a:path>
                    </a:pathLst>
                  </a:custGeom>
                  <a:solidFill>
                    <a:srgbClr val="B7B7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0" name="Freeform 32"/>
                  <p:cNvSpPr>
                    <a:spLocks/>
                  </p:cNvSpPr>
                  <p:nvPr userDrawn="1"/>
                </p:nvSpPr>
                <p:spPr bwMode="auto">
                  <a:xfrm>
                    <a:off x="-1807427" y="-1299780"/>
                    <a:ext cx="1139825" cy="1141413"/>
                  </a:xfrm>
                  <a:custGeom>
                    <a:avLst/>
                    <a:gdLst>
                      <a:gd name="T0" fmla="*/ 1436 w 1436"/>
                      <a:gd name="T1" fmla="*/ 756 h 1437"/>
                      <a:gd name="T2" fmla="*/ 1422 w 1436"/>
                      <a:gd name="T3" fmla="*/ 863 h 1437"/>
                      <a:gd name="T4" fmla="*/ 1393 w 1436"/>
                      <a:gd name="T5" fmla="*/ 965 h 1437"/>
                      <a:gd name="T6" fmla="*/ 1350 w 1436"/>
                      <a:gd name="T7" fmla="*/ 1060 h 1437"/>
                      <a:gd name="T8" fmla="*/ 1294 w 1436"/>
                      <a:gd name="T9" fmla="*/ 1147 h 1437"/>
                      <a:gd name="T10" fmla="*/ 1226 w 1436"/>
                      <a:gd name="T11" fmla="*/ 1226 h 1437"/>
                      <a:gd name="T12" fmla="*/ 1148 w 1436"/>
                      <a:gd name="T13" fmla="*/ 1294 h 1437"/>
                      <a:gd name="T14" fmla="*/ 1061 w 1436"/>
                      <a:gd name="T15" fmla="*/ 1350 h 1437"/>
                      <a:gd name="T16" fmla="*/ 965 w 1436"/>
                      <a:gd name="T17" fmla="*/ 1392 h 1437"/>
                      <a:gd name="T18" fmla="*/ 863 w 1436"/>
                      <a:gd name="T19" fmla="*/ 1422 h 1437"/>
                      <a:gd name="T20" fmla="*/ 755 w 1436"/>
                      <a:gd name="T21" fmla="*/ 1436 h 1437"/>
                      <a:gd name="T22" fmla="*/ 681 w 1436"/>
                      <a:gd name="T23" fmla="*/ 1436 h 1437"/>
                      <a:gd name="T24" fmla="*/ 573 w 1436"/>
                      <a:gd name="T25" fmla="*/ 1422 h 1437"/>
                      <a:gd name="T26" fmla="*/ 471 w 1436"/>
                      <a:gd name="T27" fmla="*/ 1392 h 1437"/>
                      <a:gd name="T28" fmla="*/ 376 w 1436"/>
                      <a:gd name="T29" fmla="*/ 1350 h 1437"/>
                      <a:gd name="T30" fmla="*/ 288 w 1436"/>
                      <a:gd name="T31" fmla="*/ 1294 h 1437"/>
                      <a:gd name="T32" fmla="*/ 210 w 1436"/>
                      <a:gd name="T33" fmla="*/ 1226 h 1437"/>
                      <a:gd name="T34" fmla="*/ 143 w 1436"/>
                      <a:gd name="T35" fmla="*/ 1147 h 1437"/>
                      <a:gd name="T36" fmla="*/ 87 w 1436"/>
                      <a:gd name="T37" fmla="*/ 1060 h 1437"/>
                      <a:gd name="T38" fmla="*/ 44 w 1436"/>
                      <a:gd name="T39" fmla="*/ 965 h 1437"/>
                      <a:gd name="T40" fmla="*/ 15 w 1436"/>
                      <a:gd name="T41" fmla="*/ 863 h 1437"/>
                      <a:gd name="T42" fmla="*/ 1 w 1436"/>
                      <a:gd name="T43" fmla="*/ 756 h 1437"/>
                      <a:gd name="T44" fmla="*/ 1 w 1436"/>
                      <a:gd name="T45" fmla="*/ 682 h 1437"/>
                      <a:gd name="T46" fmla="*/ 15 w 1436"/>
                      <a:gd name="T47" fmla="*/ 574 h 1437"/>
                      <a:gd name="T48" fmla="*/ 44 w 1436"/>
                      <a:gd name="T49" fmla="*/ 472 h 1437"/>
                      <a:gd name="T50" fmla="*/ 87 w 1436"/>
                      <a:gd name="T51" fmla="*/ 376 h 1437"/>
                      <a:gd name="T52" fmla="*/ 143 w 1436"/>
                      <a:gd name="T53" fmla="*/ 289 h 1437"/>
                      <a:gd name="T54" fmla="*/ 210 w 1436"/>
                      <a:gd name="T55" fmla="*/ 210 h 1437"/>
                      <a:gd name="T56" fmla="*/ 288 w 1436"/>
                      <a:gd name="T57" fmla="*/ 143 h 1437"/>
                      <a:gd name="T58" fmla="*/ 376 w 1436"/>
                      <a:gd name="T59" fmla="*/ 87 h 1437"/>
                      <a:gd name="T60" fmla="*/ 471 w 1436"/>
                      <a:gd name="T61" fmla="*/ 44 h 1437"/>
                      <a:gd name="T62" fmla="*/ 573 w 1436"/>
                      <a:gd name="T63" fmla="*/ 15 h 1437"/>
                      <a:gd name="T64" fmla="*/ 681 w 1436"/>
                      <a:gd name="T65" fmla="*/ 1 h 1437"/>
                      <a:gd name="T66" fmla="*/ 755 w 1436"/>
                      <a:gd name="T67" fmla="*/ 1 h 1437"/>
                      <a:gd name="T68" fmla="*/ 863 w 1436"/>
                      <a:gd name="T69" fmla="*/ 15 h 1437"/>
                      <a:gd name="T70" fmla="*/ 965 w 1436"/>
                      <a:gd name="T71" fmla="*/ 44 h 1437"/>
                      <a:gd name="T72" fmla="*/ 1061 w 1436"/>
                      <a:gd name="T73" fmla="*/ 87 h 1437"/>
                      <a:gd name="T74" fmla="*/ 1148 w 1436"/>
                      <a:gd name="T75" fmla="*/ 143 h 1437"/>
                      <a:gd name="T76" fmla="*/ 1226 w 1436"/>
                      <a:gd name="T77" fmla="*/ 210 h 1437"/>
                      <a:gd name="T78" fmla="*/ 1294 w 1436"/>
                      <a:gd name="T79" fmla="*/ 289 h 1437"/>
                      <a:gd name="T80" fmla="*/ 1350 w 1436"/>
                      <a:gd name="T81" fmla="*/ 376 h 1437"/>
                      <a:gd name="T82" fmla="*/ 1393 w 1436"/>
                      <a:gd name="T83" fmla="*/ 472 h 1437"/>
                      <a:gd name="T84" fmla="*/ 1422 w 1436"/>
                      <a:gd name="T85" fmla="*/ 574 h 1437"/>
                      <a:gd name="T86" fmla="*/ 1436 w 1436"/>
                      <a:gd name="T87" fmla="*/ 682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36" h="1437">
                        <a:moveTo>
                          <a:pt x="1436" y="719"/>
                        </a:moveTo>
                        <a:lnTo>
                          <a:pt x="1436" y="719"/>
                        </a:lnTo>
                        <a:lnTo>
                          <a:pt x="1436" y="756"/>
                        </a:lnTo>
                        <a:lnTo>
                          <a:pt x="1433" y="792"/>
                        </a:lnTo>
                        <a:lnTo>
                          <a:pt x="1428" y="828"/>
                        </a:lnTo>
                        <a:lnTo>
                          <a:pt x="1422" y="863"/>
                        </a:lnTo>
                        <a:lnTo>
                          <a:pt x="1414" y="898"/>
                        </a:lnTo>
                        <a:lnTo>
                          <a:pt x="1404" y="931"/>
                        </a:lnTo>
                        <a:lnTo>
                          <a:pt x="1393" y="965"/>
                        </a:lnTo>
                        <a:lnTo>
                          <a:pt x="1381" y="997"/>
                        </a:lnTo>
                        <a:lnTo>
                          <a:pt x="1366" y="1029"/>
                        </a:lnTo>
                        <a:lnTo>
                          <a:pt x="1350" y="1060"/>
                        </a:lnTo>
                        <a:lnTo>
                          <a:pt x="1332" y="1091"/>
                        </a:lnTo>
                        <a:lnTo>
                          <a:pt x="1314" y="1120"/>
                        </a:lnTo>
                        <a:lnTo>
                          <a:pt x="1294" y="1147"/>
                        </a:lnTo>
                        <a:lnTo>
                          <a:pt x="1273" y="1175"/>
                        </a:lnTo>
                        <a:lnTo>
                          <a:pt x="1250" y="1201"/>
                        </a:lnTo>
                        <a:lnTo>
                          <a:pt x="1226" y="1226"/>
                        </a:lnTo>
                        <a:lnTo>
                          <a:pt x="1202" y="1249"/>
                        </a:lnTo>
                        <a:lnTo>
                          <a:pt x="1175" y="1272"/>
                        </a:lnTo>
                        <a:lnTo>
                          <a:pt x="1148" y="1294"/>
                        </a:lnTo>
                        <a:lnTo>
                          <a:pt x="1121" y="1314"/>
                        </a:lnTo>
                        <a:lnTo>
                          <a:pt x="1091" y="1333"/>
                        </a:lnTo>
                        <a:lnTo>
                          <a:pt x="1061" y="1350"/>
                        </a:lnTo>
                        <a:lnTo>
                          <a:pt x="1030" y="1366"/>
                        </a:lnTo>
                        <a:lnTo>
                          <a:pt x="998" y="1380"/>
                        </a:lnTo>
                        <a:lnTo>
                          <a:pt x="965" y="1392"/>
                        </a:lnTo>
                        <a:lnTo>
                          <a:pt x="932" y="1404"/>
                        </a:lnTo>
                        <a:lnTo>
                          <a:pt x="898" y="1414"/>
                        </a:lnTo>
                        <a:lnTo>
                          <a:pt x="863" y="1422"/>
                        </a:lnTo>
                        <a:lnTo>
                          <a:pt x="828" y="1428"/>
                        </a:lnTo>
                        <a:lnTo>
                          <a:pt x="792" y="1432"/>
                        </a:lnTo>
                        <a:lnTo>
                          <a:pt x="755" y="1436"/>
                        </a:lnTo>
                        <a:lnTo>
                          <a:pt x="718" y="1437"/>
                        </a:lnTo>
                        <a:lnTo>
                          <a:pt x="718" y="1437"/>
                        </a:lnTo>
                        <a:lnTo>
                          <a:pt x="681" y="1436"/>
                        </a:lnTo>
                        <a:lnTo>
                          <a:pt x="645" y="1432"/>
                        </a:lnTo>
                        <a:lnTo>
                          <a:pt x="609" y="1428"/>
                        </a:lnTo>
                        <a:lnTo>
                          <a:pt x="573" y="1422"/>
                        </a:lnTo>
                        <a:lnTo>
                          <a:pt x="539" y="1414"/>
                        </a:lnTo>
                        <a:lnTo>
                          <a:pt x="505" y="1404"/>
                        </a:lnTo>
                        <a:lnTo>
                          <a:pt x="471" y="1392"/>
                        </a:lnTo>
                        <a:lnTo>
                          <a:pt x="439" y="1380"/>
                        </a:lnTo>
                        <a:lnTo>
                          <a:pt x="407" y="1366"/>
                        </a:lnTo>
                        <a:lnTo>
                          <a:pt x="376" y="1350"/>
                        </a:lnTo>
                        <a:lnTo>
                          <a:pt x="346" y="1333"/>
                        </a:lnTo>
                        <a:lnTo>
                          <a:pt x="317" y="1314"/>
                        </a:lnTo>
                        <a:lnTo>
                          <a:pt x="288" y="1294"/>
                        </a:lnTo>
                        <a:lnTo>
                          <a:pt x="262" y="1272"/>
                        </a:lnTo>
                        <a:lnTo>
                          <a:pt x="236" y="1249"/>
                        </a:lnTo>
                        <a:lnTo>
                          <a:pt x="210" y="1226"/>
                        </a:lnTo>
                        <a:lnTo>
                          <a:pt x="186" y="1201"/>
                        </a:lnTo>
                        <a:lnTo>
                          <a:pt x="164" y="1175"/>
                        </a:lnTo>
                        <a:lnTo>
                          <a:pt x="143" y="1147"/>
                        </a:lnTo>
                        <a:lnTo>
                          <a:pt x="123" y="1120"/>
                        </a:lnTo>
                        <a:lnTo>
                          <a:pt x="104" y="1091"/>
                        </a:lnTo>
                        <a:lnTo>
                          <a:pt x="87" y="1060"/>
                        </a:lnTo>
                        <a:lnTo>
                          <a:pt x="71" y="1029"/>
                        </a:lnTo>
                        <a:lnTo>
                          <a:pt x="57" y="997"/>
                        </a:lnTo>
                        <a:lnTo>
                          <a:pt x="44" y="965"/>
                        </a:lnTo>
                        <a:lnTo>
                          <a:pt x="32" y="931"/>
                        </a:lnTo>
                        <a:lnTo>
                          <a:pt x="23" y="898"/>
                        </a:lnTo>
                        <a:lnTo>
                          <a:pt x="15" y="863"/>
                        </a:lnTo>
                        <a:lnTo>
                          <a:pt x="9" y="828"/>
                        </a:lnTo>
                        <a:lnTo>
                          <a:pt x="4" y="792"/>
                        </a:lnTo>
                        <a:lnTo>
                          <a:pt x="1" y="756"/>
                        </a:lnTo>
                        <a:lnTo>
                          <a:pt x="0" y="719"/>
                        </a:lnTo>
                        <a:lnTo>
                          <a:pt x="0" y="719"/>
                        </a:lnTo>
                        <a:lnTo>
                          <a:pt x="1" y="682"/>
                        </a:lnTo>
                        <a:lnTo>
                          <a:pt x="4" y="644"/>
                        </a:lnTo>
                        <a:lnTo>
                          <a:pt x="9" y="608"/>
                        </a:lnTo>
                        <a:lnTo>
                          <a:pt x="15" y="574"/>
                        </a:lnTo>
                        <a:lnTo>
                          <a:pt x="23" y="539"/>
                        </a:lnTo>
                        <a:lnTo>
                          <a:pt x="32" y="505"/>
                        </a:lnTo>
                        <a:lnTo>
                          <a:pt x="44" y="472"/>
                        </a:lnTo>
                        <a:lnTo>
                          <a:pt x="57" y="439"/>
                        </a:lnTo>
                        <a:lnTo>
                          <a:pt x="71" y="407"/>
                        </a:lnTo>
                        <a:lnTo>
                          <a:pt x="87" y="376"/>
                        </a:lnTo>
                        <a:lnTo>
                          <a:pt x="104" y="346"/>
                        </a:lnTo>
                        <a:lnTo>
                          <a:pt x="123" y="316"/>
                        </a:lnTo>
                        <a:lnTo>
                          <a:pt x="143" y="289"/>
                        </a:lnTo>
                        <a:lnTo>
                          <a:pt x="164" y="261"/>
                        </a:lnTo>
                        <a:lnTo>
                          <a:pt x="186" y="235"/>
                        </a:lnTo>
                        <a:lnTo>
                          <a:pt x="210" y="210"/>
                        </a:lnTo>
                        <a:lnTo>
                          <a:pt x="236" y="187"/>
                        </a:lnTo>
                        <a:lnTo>
                          <a:pt x="262" y="164"/>
                        </a:lnTo>
                        <a:lnTo>
                          <a:pt x="288" y="143"/>
                        </a:lnTo>
                        <a:lnTo>
                          <a:pt x="317" y="123"/>
                        </a:lnTo>
                        <a:lnTo>
                          <a:pt x="346" y="103"/>
                        </a:lnTo>
                        <a:lnTo>
                          <a:pt x="376" y="87"/>
                        </a:lnTo>
                        <a:lnTo>
                          <a:pt x="407" y="70"/>
                        </a:lnTo>
                        <a:lnTo>
                          <a:pt x="439" y="56"/>
                        </a:lnTo>
                        <a:lnTo>
                          <a:pt x="471" y="44"/>
                        </a:lnTo>
                        <a:lnTo>
                          <a:pt x="505" y="32"/>
                        </a:lnTo>
                        <a:lnTo>
                          <a:pt x="539" y="22"/>
                        </a:lnTo>
                        <a:lnTo>
                          <a:pt x="573" y="15"/>
                        </a:lnTo>
                        <a:lnTo>
                          <a:pt x="609" y="8"/>
                        </a:lnTo>
                        <a:lnTo>
                          <a:pt x="645" y="4"/>
                        </a:lnTo>
                        <a:lnTo>
                          <a:pt x="681" y="1"/>
                        </a:lnTo>
                        <a:lnTo>
                          <a:pt x="718" y="0"/>
                        </a:lnTo>
                        <a:lnTo>
                          <a:pt x="718" y="0"/>
                        </a:lnTo>
                        <a:lnTo>
                          <a:pt x="755" y="1"/>
                        </a:lnTo>
                        <a:lnTo>
                          <a:pt x="792" y="4"/>
                        </a:lnTo>
                        <a:lnTo>
                          <a:pt x="828" y="8"/>
                        </a:lnTo>
                        <a:lnTo>
                          <a:pt x="863" y="15"/>
                        </a:lnTo>
                        <a:lnTo>
                          <a:pt x="898" y="22"/>
                        </a:lnTo>
                        <a:lnTo>
                          <a:pt x="932" y="32"/>
                        </a:lnTo>
                        <a:lnTo>
                          <a:pt x="965" y="44"/>
                        </a:lnTo>
                        <a:lnTo>
                          <a:pt x="998" y="56"/>
                        </a:lnTo>
                        <a:lnTo>
                          <a:pt x="1030" y="70"/>
                        </a:lnTo>
                        <a:lnTo>
                          <a:pt x="1061" y="87"/>
                        </a:lnTo>
                        <a:lnTo>
                          <a:pt x="1091" y="103"/>
                        </a:lnTo>
                        <a:lnTo>
                          <a:pt x="1121" y="123"/>
                        </a:lnTo>
                        <a:lnTo>
                          <a:pt x="1148" y="143"/>
                        </a:lnTo>
                        <a:lnTo>
                          <a:pt x="1175" y="164"/>
                        </a:lnTo>
                        <a:lnTo>
                          <a:pt x="1202" y="187"/>
                        </a:lnTo>
                        <a:lnTo>
                          <a:pt x="1226" y="210"/>
                        </a:lnTo>
                        <a:lnTo>
                          <a:pt x="1250" y="235"/>
                        </a:lnTo>
                        <a:lnTo>
                          <a:pt x="1273" y="261"/>
                        </a:lnTo>
                        <a:lnTo>
                          <a:pt x="1294" y="289"/>
                        </a:lnTo>
                        <a:lnTo>
                          <a:pt x="1314" y="316"/>
                        </a:lnTo>
                        <a:lnTo>
                          <a:pt x="1332" y="346"/>
                        </a:lnTo>
                        <a:lnTo>
                          <a:pt x="1350" y="376"/>
                        </a:lnTo>
                        <a:lnTo>
                          <a:pt x="1366" y="407"/>
                        </a:lnTo>
                        <a:lnTo>
                          <a:pt x="1381" y="439"/>
                        </a:lnTo>
                        <a:lnTo>
                          <a:pt x="1393" y="472"/>
                        </a:lnTo>
                        <a:lnTo>
                          <a:pt x="1404" y="505"/>
                        </a:lnTo>
                        <a:lnTo>
                          <a:pt x="1414" y="539"/>
                        </a:lnTo>
                        <a:lnTo>
                          <a:pt x="1422" y="574"/>
                        </a:lnTo>
                        <a:lnTo>
                          <a:pt x="1428" y="608"/>
                        </a:lnTo>
                        <a:lnTo>
                          <a:pt x="1433" y="644"/>
                        </a:lnTo>
                        <a:lnTo>
                          <a:pt x="1436" y="682"/>
                        </a:lnTo>
                        <a:lnTo>
                          <a:pt x="1436" y="719"/>
                        </a:lnTo>
                        <a:lnTo>
                          <a:pt x="1436" y="719"/>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1" name="Freeform 33"/>
                  <p:cNvSpPr>
                    <a:spLocks/>
                  </p:cNvSpPr>
                  <p:nvPr userDrawn="1"/>
                </p:nvSpPr>
                <p:spPr bwMode="auto">
                  <a:xfrm>
                    <a:off x="-1688364" y="-1180718"/>
                    <a:ext cx="901700" cy="903288"/>
                  </a:xfrm>
                  <a:custGeom>
                    <a:avLst/>
                    <a:gdLst>
                      <a:gd name="T0" fmla="*/ 1136 w 1136"/>
                      <a:gd name="T1" fmla="*/ 597 h 1136"/>
                      <a:gd name="T2" fmla="*/ 1125 w 1136"/>
                      <a:gd name="T3" fmla="*/ 683 h 1136"/>
                      <a:gd name="T4" fmla="*/ 1102 w 1136"/>
                      <a:gd name="T5" fmla="*/ 763 h 1136"/>
                      <a:gd name="T6" fmla="*/ 1068 w 1136"/>
                      <a:gd name="T7" fmla="*/ 839 h 1136"/>
                      <a:gd name="T8" fmla="*/ 1024 w 1136"/>
                      <a:gd name="T9" fmla="*/ 908 h 1136"/>
                      <a:gd name="T10" fmla="*/ 971 w 1136"/>
                      <a:gd name="T11" fmla="*/ 970 h 1136"/>
                      <a:gd name="T12" fmla="*/ 909 w 1136"/>
                      <a:gd name="T13" fmla="*/ 1023 h 1136"/>
                      <a:gd name="T14" fmla="*/ 839 w 1136"/>
                      <a:gd name="T15" fmla="*/ 1067 h 1136"/>
                      <a:gd name="T16" fmla="*/ 764 w 1136"/>
                      <a:gd name="T17" fmla="*/ 1101 h 1136"/>
                      <a:gd name="T18" fmla="*/ 682 w 1136"/>
                      <a:gd name="T19" fmla="*/ 1125 h 1136"/>
                      <a:gd name="T20" fmla="*/ 598 w 1136"/>
                      <a:gd name="T21" fmla="*/ 1135 h 1136"/>
                      <a:gd name="T22" fmla="*/ 540 w 1136"/>
                      <a:gd name="T23" fmla="*/ 1135 h 1136"/>
                      <a:gd name="T24" fmla="*/ 454 w 1136"/>
                      <a:gd name="T25" fmla="*/ 1125 h 1136"/>
                      <a:gd name="T26" fmla="*/ 373 w 1136"/>
                      <a:gd name="T27" fmla="*/ 1101 h 1136"/>
                      <a:gd name="T28" fmla="*/ 298 w 1136"/>
                      <a:gd name="T29" fmla="*/ 1067 h 1136"/>
                      <a:gd name="T30" fmla="*/ 229 w 1136"/>
                      <a:gd name="T31" fmla="*/ 1023 h 1136"/>
                      <a:gd name="T32" fmla="*/ 167 w 1136"/>
                      <a:gd name="T33" fmla="*/ 970 h 1136"/>
                      <a:gd name="T34" fmla="*/ 114 w 1136"/>
                      <a:gd name="T35" fmla="*/ 908 h 1136"/>
                      <a:gd name="T36" fmla="*/ 69 w 1136"/>
                      <a:gd name="T37" fmla="*/ 839 h 1136"/>
                      <a:gd name="T38" fmla="*/ 35 w 1136"/>
                      <a:gd name="T39" fmla="*/ 763 h 1136"/>
                      <a:gd name="T40" fmla="*/ 12 w 1136"/>
                      <a:gd name="T41" fmla="*/ 683 h 1136"/>
                      <a:gd name="T42" fmla="*/ 2 w 1136"/>
                      <a:gd name="T43" fmla="*/ 597 h 1136"/>
                      <a:gd name="T44" fmla="*/ 2 w 1136"/>
                      <a:gd name="T45" fmla="*/ 539 h 1136"/>
                      <a:gd name="T46" fmla="*/ 12 w 1136"/>
                      <a:gd name="T47" fmla="*/ 453 h 1136"/>
                      <a:gd name="T48" fmla="*/ 35 w 1136"/>
                      <a:gd name="T49" fmla="*/ 373 h 1136"/>
                      <a:gd name="T50" fmla="*/ 69 w 1136"/>
                      <a:gd name="T51" fmla="*/ 297 h 1136"/>
                      <a:gd name="T52" fmla="*/ 114 w 1136"/>
                      <a:gd name="T53" fmla="*/ 228 h 1136"/>
                      <a:gd name="T54" fmla="*/ 167 w 1136"/>
                      <a:gd name="T55" fmla="*/ 166 h 1136"/>
                      <a:gd name="T56" fmla="*/ 229 w 1136"/>
                      <a:gd name="T57" fmla="*/ 113 h 1136"/>
                      <a:gd name="T58" fmla="*/ 298 w 1136"/>
                      <a:gd name="T59" fmla="*/ 69 h 1136"/>
                      <a:gd name="T60" fmla="*/ 373 w 1136"/>
                      <a:gd name="T61" fmla="*/ 35 h 1136"/>
                      <a:gd name="T62" fmla="*/ 454 w 1136"/>
                      <a:gd name="T63" fmla="*/ 12 h 1136"/>
                      <a:gd name="T64" fmla="*/ 540 w 1136"/>
                      <a:gd name="T65" fmla="*/ 1 h 1136"/>
                      <a:gd name="T66" fmla="*/ 598 w 1136"/>
                      <a:gd name="T67" fmla="*/ 1 h 1136"/>
                      <a:gd name="T68" fmla="*/ 682 w 1136"/>
                      <a:gd name="T69" fmla="*/ 12 h 1136"/>
                      <a:gd name="T70" fmla="*/ 764 w 1136"/>
                      <a:gd name="T71" fmla="*/ 35 h 1136"/>
                      <a:gd name="T72" fmla="*/ 839 w 1136"/>
                      <a:gd name="T73" fmla="*/ 69 h 1136"/>
                      <a:gd name="T74" fmla="*/ 909 w 1136"/>
                      <a:gd name="T75" fmla="*/ 113 h 1136"/>
                      <a:gd name="T76" fmla="*/ 971 w 1136"/>
                      <a:gd name="T77" fmla="*/ 166 h 1136"/>
                      <a:gd name="T78" fmla="*/ 1024 w 1136"/>
                      <a:gd name="T79" fmla="*/ 228 h 1136"/>
                      <a:gd name="T80" fmla="*/ 1068 w 1136"/>
                      <a:gd name="T81" fmla="*/ 297 h 1136"/>
                      <a:gd name="T82" fmla="*/ 1102 w 1136"/>
                      <a:gd name="T83" fmla="*/ 373 h 1136"/>
                      <a:gd name="T84" fmla="*/ 1125 w 1136"/>
                      <a:gd name="T85" fmla="*/ 453 h 1136"/>
                      <a:gd name="T86" fmla="*/ 1136 w 1136"/>
                      <a:gd name="T87" fmla="*/ 539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36" h="1136">
                        <a:moveTo>
                          <a:pt x="1136" y="569"/>
                        </a:moveTo>
                        <a:lnTo>
                          <a:pt x="1136" y="569"/>
                        </a:lnTo>
                        <a:lnTo>
                          <a:pt x="1136" y="597"/>
                        </a:lnTo>
                        <a:lnTo>
                          <a:pt x="1134" y="626"/>
                        </a:lnTo>
                        <a:lnTo>
                          <a:pt x="1130" y="655"/>
                        </a:lnTo>
                        <a:lnTo>
                          <a:pt x="1125" y="683"/>
                        </a:lnTo>
                        <a:lnTo>
                          <a:pt x="1119" y="710"/>
                        </a:lnTo>
                        <a:lnTo>
                          <a:pt x="1111" y="737"/>
                        </a:lnTo>
                        <a:lnTo>
                          <a:pt x="1102" y="763"/>
                        </a:lnTo>
                        <a:lnTo>
                          <a:pt x="1092" y="790"/>
                        </a:lnTo>
                        <a:lnTo>
                          <a:pt x="1081" y="814"/>
                        </a:lnTo>
                        <a:lnTo>
                          <a:pt x="1068" y="839"/>
                        </a:lnTo>
                        <a:lnTo>
                          <a:pt x="1054" y="863"/>
                        </a:lnTo>
                        <a:lnTo>
                          <a:pt x="1039" y="885"/>
                        </a:lnTo>
                        <a:lnTo>
                          <a:pt x="1024" y="908"/>
                        </a:lnTo>
                        <a:lnTo>
                          <a:pt x="1007" y="930"/>
                        </a:lnTo>
                        <a:lnTo>
                          <a:pt x="989" y="950"/>
                        </a:lnTo>
                        <a:lnTo>
                          <a:pt x="971" y="970"/>
                        </a:lnTo>
                        <a:lnTo>
                          <a:pt x="950" y="988"/>
                        </a:lnTo>
                        <a:lnTo>
                          <a:pt x="929" y="1007"/>
                        </a:lnTo>
                        <a:lnTo>
                          <a:pt x="909" y="1023"/>
                        </a:lnTo>
                        <a:lnTo>
                          <a:pt x="886" y="1039"/>
                        </a:lnTo>
                        <a:lnTo>
                          <a:pt x="863" y="1054"/>
                        </a:lnTo>
                        <a:lnTo>
                          <a:pt x="839" y="1067"/>
                        </a:lnTo>
                        <a:lnTo>
                          <a:pt x="815" y="1080"/>
                        </a:lnTo>
                        <a:lnTo>
                          <a:pt x="789" y="1091"/>
                        </a:lnTo>
                        <a:lnTo>
                          <a:pt x="764" y="1101"/>
                        </a:lnTo>
                        <a:lnTo>
                          <a:pt x="737" y="1111"/>
                        </a:lnTo>
                        <a:lnTo>
                          <a:pt x="710" y="1118"/>
                        </a:lnTo>
                        <a:lnTo>
                          <a:pt x="682" y="1125"/>
                        </a:lnTo>
                        <a:lnTo>
                          <a:pt x="655" y="1129"/>
                        </a:lnTo>
                        <a:lnTo>
                          <a:pt x="627" y="1133"/>
                        </a:lnTo>
                        <a:lnTo>
                          <a:pt x="598" y="1135"/>
                        </a:lnTo>
                        <a:lnTo>
                          <a:pt x="568" y="1136"/>
                        </a:lnTo>
                        <a:lnTo>
                          <a:pt x="568" y="1136"/>
                        </a:lnTo>
                        <a:lnTo>
                          <a:pt x="540" y="1135"/>
                        </a:lnTo>
                        <a:lnTo>
                          <a:pt x="511" y="1133"/>
                        </a:lnTo>
                        <a:lnTo>
                          <a:pt x="482" y="1129"/>
                        </a:lnTo>
                        <a:lnTo>
                          <a:pt x="454" y="1125"/>
                        </a:lnTo>
                        <a:lnTo>
                          <a:pt x="426" y="1118"/>
                        </a:lnTo>
                        <a:lnTo>
                          <a:pt x="400" y="1111"/>
                        </a:lnTo>
                        <a:lnTo>
                          <a:pt x="373" y="1101"/>
                        </a:lnTo>
                        <a:lnTo>
                          <a:pt x="347" y="1091"/>
                        </a:lnTo>
                        <a:lnTo>
                          <a:pt x="322" y="1080"/>
                        </a:lnTo>
                        <a:lnTo>
                          <a:pt x="298" y="1067"/>
                        </a:lnTo>
                        <a:lnTo>
                          <a:pt x="274" y="1054"/>
                        </a:lnTo>
                        <a:lnTo>
                          <a:pt x="250" y="1039"/>
                        </a:lnTo>
                        <a:lnTo>
                          <a:pt x="229" y="1023"/>
                        </a:lnTo>
                        <a:lnTo>
                          <a:pt x="207" y="1007"/>
                        </a:lnTo>
                        <a:lnTo>
                          <a:pt x="187" y="988"/>
                        </a:lnTo>
                        <a:lnTo>
                          <a:pt x="167" y="970"/>
                        </a:lnTo>
                        <a:lnTo>
                          <a:pt x="148" y="950"/>
                        </a:lnTo>
                        <a:lnTo>
                          <a:pt x="130" y="930"/>
                        </a:lnTo>
                        <a:lnTo>
                          <a:pt x="114" y="908"/>
                        </a:lnTo>
                        <a:lnTo>
                          <a:pt x="97" y="885"/>
                        </a:lnTo>
                        <a:lnTo>
                          <a:pt x="83" y="863"/>
                        </a:lnTo>
                        <a:lnTo>
                          <a:pt x="69" y="839"/>
                        </a:lnTo>
                        <a:lnTo>
                          <a:pt x="56" y="814"/>
                        </a:lnTo>
                        <a:lnTo>
                          <a:pt x="45" y="790"/>
                        </a:lnTo>
                        <a:lnTo>
                          <a:pt x="35" y="763"/>
                        </a:lnTo>
                        <a:lnTo>
                          <a:pt x="26" y="737"/>
                        </a:lnTo>
                        <a:lnTo>
                          <a:pt x="18" y="710"/>
                        </a:lnTo>
                        <a:lnTo>
                          <a:pt x="12" y="683"/>
                        </a:lnTo>
                        <a:lnTo>
                          <a:pt x="7" y="655"/>
                        </a:lnTo>
                        <a:lnTo>
                          <a:pt x="4" y="626"/>
                        </a:lnTo>
                        <a:lnTo>
                          <a:pt x="2" y="597"/>
                        </a:lnTo>
                        <a:lnTo>
                          <a:pt x="0" y="569"/>
                        </a:lnTo>
                        <a:lnTo>
                          <a:pt x="0" y="569"/>
                        </a:lnTo>
                        <a:lnTo>
                          <a:pt x="2" y="539"/>
                        </a:lnTo>
                        <a:lnTo>
                          <a:pt x="4" y="510"/>
                        </a:lnTo>
                        <a:lnTo>
                          <a:pt x="7" y="482"/>
                        </a:lnTo>
                        <a:lnTo>
                          <a:pt x="12" y="453"/>
                        </a:lnTo>
                        <a:lnTo>
                          <a:pt x="18" y="427"/>
                        </a:lnTo>
                        <a:lnTo>
                          <a:pt x="26" y="399"/>
                        </a:lnTo>
                        <a:lnTo>
                          <a:pt x="35" y="373"/>
                        </a:lnTo>
                        <a:lnTo>
                          <a:pt x="45" y="347"/>
                        </a:lnTo>
                        <a:lnTo>
                          <a:pt x="56" y="322"/>
                        </a:lnTo>
                        <a:lnTo>
                          <a:pt x="69" y="297"/>
                        </a:lnTo>
                        <a:lnTo>
                          <a:pt x="83" y="273"/>
                        </a:lnTo>
                        <a:lnTo>
                          <a:pt x="97" y="251"/>
                        </a:lnTo>
                        <a:lnTo>
                          <a:pt x="114" y="228"/>
                        </a:lnTo>
                        <a:lnTo>
                          <a:pt x="130" y="206"/>
                        </a:lnTo>
                        <a:lnTo>
                          <a:pt x="148" y="186"/>
                        </a:lnTo>
                        <a:lnTo>
                          <a:pt x="167" y="166"/>
                        </a:lnTo>
                        <a:lnTo>
                          <a:pt x="187" y="148"/>
                        </a:lnTo>
                        <a:lnTo>
                          <a:pt x="207" y="130"/>
                        </a:lnTo>
                        <a:lnTo>
                          <a:pt x="229" y="113"/>
                        </a:lnTo>
                        <a:lnTo>
                          <a:pt x="250" y="97"/>
                        </a:lnTo>
                        <a:lnTo>
                          <a:pt x="274" y="82"/>
                        </a:lnTo>
                        <a:lnTo>
                          <a:pt x="298" y="69"/>
                        </a:lnTo>
                        <a:lnTo>
                          <a:pt x="322" y="56"/>
                        </a:lnTo>
                        <a:lnTo>
                          <a:pt x="347" y="45"/>
                        </a:lnTo>
                        <a:lnTo>
                          <a:pt x="373" y="35"/>
                        </a:lnTo>
                        <a:lnTo>
                          <a:pt x="400" y="25"/>
                        </a:lnTo>
                        <a:lnTo>
                          <a:pt x="426" y="18"/>
                        </a:lnTo>
                        <a:lnTo>
                          <a:pt x="454" y="12"/>
                        </a:lnTo>
                        <a:lnTo>
                          <a:pt x="482" y="7"/>
                        </a:lnTo>
                        <a:lnTo>
                          <a:pt x="511" y="3"/>
                        </a:lnTo>
                        <a:lnTo>
                          <a:pt x="540" y="1"/>
                        </a:lnTo>
                        <a:lnTo>
                          <a:pt x="568" y="0"/>
                        </a:lnTo>
                        <a:lnTo>
                          <a:pt x="568" y="0"/>
                        </a:lnTo>
                        <a:lnTo>
                          <a:pt x="598" y="1"/>
                        </a:lnTo>
                        <a:lnTo>
                          <a:pt x="627" y="3"/>
                        </a:lnTo>
                        <a:lnTo>
                          <a:pt x="655" y="7"/>
                        </a:lnTo>
                        <a:lnTo>
                          <a:pt x="682" y="12"/>
                        </a:lnTo>
                        <a:lnTo>
                          <a:pt x="710" y="18"/>
                        </a:lnTo>
                        <a:lnTo>
                          <a:pt x="737" y="25"/>
                        </a:lnTo>
                        <a:lnTo>
                          <a:pt x="764" y="35"/>
                        </a:lnTo>
                        <a:lnTo>
                          <a:pt x="789" y="45"/>
                        </a:lnTo>
                        <a:lnTo>
                          <a:pt x="815" y="56"/>
                        </a:lnTo>
                        <a:lnTo>
                          <a:pt x="839" y="69"/>
                        </a:lnTo>
                        <a:lnTo>
                          <a:pt x="863" y="82"/>
                        </a:lnTo>
                        <a:lnTo>
                          <a:pt x="886" y="97"/>
                        </a:lnTo>
                        <a:lnTo>
                          <a:pt x="909" y="113"/>
                        </a:lnTo>
                        <a:lnTo>
                          <a:pt x="929" y="130"/>
                        </a:lnTo>
                        <a:lnTo>
                          <a:pt x="950" y="148"/>
                        </a:lnTo>
                        <a:lnTo>
                          <a:pt x="971" y="166"/>
                        </a:lnTo>
                        <a:lnTo>
                          <a:pt x="989" y="186"/>
                        </a:lnTo>
                        <a:lnTo>
                          <a:pt x="1007" y="206"/>
                        </a:lnTo>
                        <a:lnTo>
                          <a:pt x="1024" y="228"/>
                        </a:lnTo>
                        <a:lnTo>
                          <a:pt x="1039" y="251"/>
                        </a:lnTo>
                        <a:lnTo>
                          <a:pt x="1054" y="273"/>
                        </a:lnTo>
                        <a:lnTo>
                          <a:pt x="1068" y="297"/>
                        </a:lnTo>
                        <a:lnTo>
                          <a:pt x="1081" y="322"/>
                        </a:lnTo>
                        <a:lnTo>
                          <a:pt x="1092" y="347"/>
                        </a:lnTo>
                        <a:lnTo>
                          <a:pt x="1102" y="373"/>
                        </a:lnTo>
                        <a:lnTo>
                          <a:pt x="1111" y="399"/>
                        </a:lnTo>
                        <a:lnTo>
                          <a:pt x="1119" y="427"/>
                        </a:lnTo>
                        <a:lnTo>
                          <a:pt x="1125" y="453"/>
                        </a:lnTo>
                        <a:lnTo>
                          <a:pt x="1130" y="482"/>
                        </a:lnTo>
                        <a:lnTo>
                          <a:pt x="1134" y="510"/>
                        </a:lnTo>
                        <a:lnTo>
                          <a:pt x="1136" y="539"/>
                        </a:lnTo>
                        <a:lnTo>
                          <a:pt x="1136" y="569"/>
                        </a:lnTo>
                        <a:lnTo>
                          <a:pt x="1136" y="569"/>
                        </a:lnTo>
                        <a:close/>
                      </a:path>
                    </a:pathLst>
                  </a:custGeom>
                  <a:solidFill>
                    <a:srgbClr val="6DCF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2" name="Freeform 34"/>
                  <p:cNvSpPr>
                    <a:spLocks/>
                  </p:cNvSpPr>
                  <p:nvPr userDrawn="1"/>
                </p:nvSpPr>
                <p:spPr bwMode="auto">
                  <a:xfrm>
                    <a:off x="-1259739" y="-1261680"/>
                    <a:ext cx="44450" cy="44450"/>
                  </a:xfrm>
                  <a:custGeom>
                    <a:avLst/>
                    <a:gdLst>
                      <a:gd name="T0" fmla="*/ 55 w 55"/>
                      <a:gd name="T1" fmla="*/ 28 h 55"/>
                      <a:gd name="T2" fmla="*/ 55 w 55"/>
                      <a:gd name="T3" fmla="*/ 28 h 55"/>
                      <a:gd name="T4" fmla="*/ 54 w 55"/>
                      <a:gd name="T5" fmla="*/ 33 h 55"/>
                      <a:gd name="T6" fmla="*/ 53 w 55"/>
                      <a:gd name="T7" fmla="*/ 39 h 55"/>
                      <a:gd name="T8" fmla="*/ 50 w 55"/>
                      <a:gd name="T9" fmla="*/ 43 h 55"/>
                      <a:gd name="T10" fmla="*/ 47 w 55"/>
                      <a:gd name="T11" fmla="*/ 47 h 55"/>
                      <a:gd name="T12" fmla="*/ 43 w 55"/>
                      <a:gd name="T13" fmla="*/ 50 h 55"/>
                      <a:gd name="T14" fmla="*/ 39 w 55"/>
                      <a:gd name="T15" fmla="*/ 53 h 55"/>
                      <a:gd name="T16" fmla="*/ 33 w 55"/>
                      <a:gd name="T17" fmla="*/ 54 h 55"/>
                      <a:gd name="T18" fmla="*/ 27 w 55"/>
                      <a:gd name="T19" fmla="*/ 55 h 55"/>
                      <a:gd name="T20" fmla="*/ 27 w 55"/>
                      <a:gd name="T21" fmla="*/ 55 h 55"/>
                      <a:gd name="T22" fmla="*/ 22 w 55"/>
                      <a:gd name="T23" fmla="*/ 54 h 55"/>
                      <a:gd name="T24" fmla="*/ 17 w 55"/>
                      <a:gd name="T25" fmla="*/ 53 h 55"/>
                      <a:gd name="T26" fmla="*/ 12 w 55"/>
                      <a:gd name="T27" fmla="*/ 50 h 55"/>
                      <a:gd name="T28" fmla="*/ 8 w 55"/>
                      <a:gd name="T29" fmla="*/ 47 h 55"/>
                      <a:gd name="T30" fmla="*/ 5 w 55"/>
                      <a:gd name="T31" fmla="*/ 43 h 55"/>
                      <a:gd name="T32" fmla="*/ 3 w 55"/>
                      <a:gd name="T33" fmla="*/ 39 h 55"/>
                      <a:gd name="T34" fmla="*/ 1 w 55"/>
                      <a:gd name="T35" fmla="*/ 33 h 55"/>
                      <a:gd name="T36" fmla="*/ 0 w 55"/>
                      <a:gd name="T37" fmla="*/ 28 h 55"/>
                      <a:gd name="T38" fmla="*/ 0 w 55"/>
                      <a:gd name="T39" fmla="*/ 28 h 55"/>
                      <a:gd name="T40" fmla="*/ 1 w 55"/>
                      <a:gd name="T41" fmla="*/ 22 h 55"/>
                      <a:gd name="T42" fmla="*/ 3 w 55"/>
                      <a:gd name="T43" fmla="*/ 17 h 55"/>
                      <a:gd name="T44" fmla="*/ 5 w 55"/>
                      <a:gd name="T45" fmla="*/ 12 h 55"/>
                      <a:gd name="T46" fmla="*/ 8 w 55"/>
                      <a:gd name="T47" fmla="*/ 8 h 55"/>
                      <a:gd name="T48" fmla="*/ 12 w 55"/>
                      <a:gd name="T49" fmla="*/ 5 h 55"/>
                      <a:gd name="T50" fmla="*/ 17 w 55"/>
                      <a:gd name="T51" fmla="*/ 2 h 55"/>
                      <a:gd name="T52" fmla="*/ 22 w 55"/>
                      <a:gd name="T53" fmla="*/ 1 h 55"/>
                      <a:gd name="T54" fmla="*/ 27 w 55"/>
                      <a:gd name="T55" fmla="*/ 0 h 55"/>
                      <a:gd name="T56" fmla="*/ 27 w 55"/>
                      <a:gd name="T57" fmla="*/ 0 h 55"/>
                      <a:gd name="T58" fmla="*/ 33 w 55"/>
                      <a:gd name="T59" fmla="*/ 1 h 55"/>
                      <a:gd name="T60" fmla="*/ 39 w 55"/>
                      <a:gd name="T61" fmla="*/ 2 h 55"/>
                      <a:gd name="T62" fmla="*/ 43 w 55"/>
                      <a:gd name="T63" fmla="*/ 5 h 55"/>
                      <a:gd name="T64" fmla="*/ 47 w 55"/>
                      <a:gd name="T65" fmla="*/ 8 h 55"/>
                      <a:gd name="T66" fmla="*/ 50 w 55"/>
                      <a:gd name="T67" fmla="*/ 12 h 55"/>
                      <a:gd name="T68" fmla="*/ 53 w 55"/>
                      <a:gd name="T69" fmla="*/ 17 h 55"/>
                      <a:gd name="T70" fmla="*/ 54 w 55"/>
                      <a:gd name="T71" fmla="*/ 22 h 55"/>
                      <a:gd name="T72" fmla="*/ 55 w 55"/>
                      <a:gd name="T73" fmla="*/ 28 h 55"/>
                      <a:gd name="T74" fmla="*/ 55 w 55"/>
                      <a:gd name="T75"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5">
                        <a:moveTo>
                          <a:pt x="55" y="28"/>
                        </a:moveTo>
                        <a:lnTo>
                          <a:pt x="55" y="28"/>
                        </a:lnTo>
                        <a:lnTo>
                          <a:pt x="54" y="33"/>
                        </a:lnTo>
                        <a:lnTo>
                          <a:pt x="53" y="39"/>
                        </a:lnTo>
                        <a:lnTo>
                          <a:pt x="50" y="43"/>
                        </a:lnTo>
                        <a:lnTo>
                          <a:pt x="47" y="47"/>
                        </a:lnTo>
                        <a:lnTo>
                          <a:pt x="43" y="50"/>
                        </a:lnTo>
                        <a:lnTo>
                          <a:pt x="39" y="53"/>
                        </a:lnTo>
                        <a:lnTo>
                          <a:pt x="33" y="54"/>
                        </a:lnTo>
                        <a:lnTo>
                          <a:pt x="27" y="55"/>
                        </a:lnTo>
                        <a:lnTo>
                          <a:pt x="27" y="55"/>
                        </a:lnTo>
                        <a:lnTo>
                          <a:pt x="22" y="54"/>
                        </a:lnTo>
                        <a:lnTo>
                          <a:pt x="17" y="53"/>
                        </a:lnTo>
                        <a:lnTo>
                          <a:pt x="12" y="50"/>
                        </a:lnTo>
                        <a:lnTo>
                          <a:pt x="8" y="47"/>
                        </a:lnTo>
                        <a:lnTo>
                          <a:pt x="5" y="43"/>
                        </a:lnTo>
                        <a:lnTo>
                          <a:pt x="3" y="39"/>
                        </a:lnTo>
                        <a:lnTo>
                          <a:pt x="1" y="33"/>
                        </a:lnTo>
                        <a:lnTo>
                          <a:pt x="0" y="28"/>
                        </a:lnTo>
                        <a:lnTo>
                          <a:pt x="0" y="28"/>
                        </a:lnTo>
                        <a:lnTo>
                          <a:pt x="1" y="22"/>
                        </a:lnTo>
                        <a:lnTo>
                          <a:pt x="3" y="17"/>
                        </a:lnTo>
                        <a:lnTo>
                          <a:pt x="5" y="12"/>
                        </a:lnTo>
                        <a:lnTo>
                          <a:pt x="8" y="8"/>
                        </a:lnTo>
                        <a:lnTo>
                          <a:pt x="12" y="5"/>
                        </a:lnTo>
                        <a:lnTo>
                          <a:pt x="17" y="2"/>
                        </a:lnTo>
                        <a:lnTo>
                          <a:pt x="22" y="1"/>
                        </a:lnTo>
                        <a:lnTo>
                          <a:pt x="27" y="0"/>
                        </a:lnTo>
                        <a:lnTo>
                          <a:pt x="27" y="0"/>
                        </a:lnTo>
                        <a:lnTo>
                          <a:pt x="33" y="1"/>
                        </a:lnTo>
                        <a:lnTo>
                          <a:pt x="39" y="2"/>
                        </a:lnTo>
                        <a:lnTo>
                          <a:pt x="43" y="5"/>
                        </a:lnTo>
                        <a:lnTo>
                          <a:pt x="47" y="8"/>
                        </a:lnTo>
                        <a:lnTo>
                          <a:pt x="50" y="12"/>
                        </a:lnTo>
                        <a:lnTo>
                          <a:pt x="53" y="17"/>
                        </a:lnTo>
                        <a:lnTo>
                          <a:pt x="54" y="22"/>
                        </a:lnTo>
                        <a:lnTo>
                          <a:pt x="55" y="28"/>
                        </a:lnTo>
                        <a:lnTo>
                          <a:pt x="55" y="28"/>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3" name="Freeform 35"/>
                  <p:cNvSpPr>
                    <a:spLocks/>
                  </p:cNvSpPr>
                  <p:nvPr userDrawn="1"/>
                </p:nvSpPr>
                <p:spPr bwMode="auto">
                  <a:xfrm>
                    <a:off x="-1259739" y="-240918"/>
                    <a:ext cx="44450" cy="44450"/>
                  </a:xfrm>
                  <a:custGeom>
                    <a:avLst/>
                    <a:gdLst>
                      <a:gd name="T0" fmla="*/ 55 w 55"/>
                      <a:gd name="T1" fmla="*/ 27 h 55"/>
                      <a:gd name="T2" fmla="*/ 55 w 55"/>
                      <a:gd name="T3" fmla="*/ 27 h 55"/>
                      <a:gd name="T4" fmla="*/ 54 w 55"/>
                      <a:gd name="T5" fmla="*/ 33 h 55"/>
                      <a:gd name="T6" fmla="*/ 53 w 55"/>
                      <a:gd name="T7" fmla="*/ 38 h 55"/>
                      <a:gd name="T8" fmla="*/ 50 w 55"/>
                      <a:gd name="T9" fmla="*/ 43 h 55"/>
                      <a:gd name="T10" fmla="*/ 47 w 55"/>
                      <a:gd name="T11" fmla="*/ 47 h 55"/>
                      <a:gd name="T12" fmla="*/ 43 w 55"/>
                      <a:gd name="T13" fmla="*/ 50 h 55"/>
                      <a:gd name="T14" fmla="*/ 39 w 55"/>
                      <a:gd name="T15" fmla="*/ 53 h 55"/>
                      <a:gd name="T16" fmla="*/ 33 w 55"/>
                      <a:gd name="T17" fmla="*/ 54 h 55"/>
                      <a:gd name="T18" fmla="*/ 27 w 55"/>
                      <a:gd name="T19" fmla="*/ 55 h 55"/>
                      <a:gd name="T20" fmla="*/ 27 w 55"/>
                      <a:gd name="T21" fmla="*/ 55 h 55"/>
                      <a:gd name="T22" fmla="*/ 22 w 55"/>
                      <a:gd name="T23" fmla="*/ 54 h 55"/>
                      <a:gd name="T24" fmla="*/ 17 w 55"/>
                      <a:gd name="T25" fmla="*/ 53 h 55"/>
                      <a:gd name="T26" fmla="*/ 12 w 55"/>
                      <a:gd name="T27" fmla="*/ 50 h 55"/>
                      <a:gd name="T28" fmla="*/ 8 w 55"/>
                      <a:gd name="T29" fmla="*/ 47 h 55"/>
                      <a:gd name="T30" fmla="*/ 5 w 55"/>
                      <a:gd name="T31" fmla="*/ 43 h 55"/>
                      <a:gd name="T32" fmla="*/ 3 w 55"/>
                      <a:gd name="T33" fmla="*/ 38 h 55"/>
                      <a:gd name="T34" fmla="*/ 1 w 55"/>
                      <a:gd name="T35" fmla="*/ 33 h 55"/>
                      <a:gd name="T36" fmla="*/ 0 w 55"/>
                      <a:gd name="T37" fmla="*/ 27 h 55"/>
                      <a:gd name="T38" fmla="*/ 0 w 55"/>
                      <a:gd name="T39" fmla="*/ 27 h 55"/>
                      <a:gd name="T40" fmla="*/ 1 w 55"/>
                      <a:gd name="T41" fmla="*/ 22 h 55"/>
                      <a:gd name="T42" fmla="*/ 3 w 55"/>
                      <a:gd name="T43" fmla="*/ 17 h 55"/>
                      <a:gd name="T44" fmla="*/ 5 w 55"/>
                      <a:gd name="T45" fmla="*/ 12 h 55"/>
                      <a:gd name="T46" fmla="*/ 8 w 55"/>
                      <a:gd name="T47" fmla="*/ 8 h 55"/>
                      <a:gd name="T48" fmla="*/ 12 w 55"/>
                      <a:gd name="T49" fmla="*/ 5 h 55"/>
                      <a:gd name="T50" fmla="*/ 17 w 55"/>
                      <a:gd name="T51" fmla="*/ 2 h 55"/>
                      <a:gd name="T52" fmla="*/ 22 w 55"/>
                      <a:gd name="T53" fmla="*/ 1 h 55"/>
                      <a:gd name="T54" fmla="*/ 27 w 55"/>
                      <a:gd name="T55" fmla="*/ 0 h 55"/>
                      <a:gd name="T56" fmla="*/ 27 w 55"/>
                      <a:gd name="T57" fmla="*/ 0 h 55"/>
                      <a:gd name="T58" fmla="*/ 33 w 55"/>
                      <a:gd name="T59" fmla="*/ 1 h 55"/>
                      <a:gd name="T60" fmla="*/ 39 w 55"/>
                      <a:gd name="T61" fmla="*/ 2 h 55"/>
                      <a:gd name="T62" fmla="*/ 43 w 55"/>
                      <a:gd name="T63" fmla="*/ 5 h 55"/>
                      <a:gd name="T64" fmla="*/ 47 w 55"/>
                      <a:gd name="T65" fmla="*/ 8 h 55"/>
                      <a:gd name="T66" fmla="*/ 50 w 55"/>
                      <a:gd name="T67" fmla="*/ 12 h 55"/>
                      <a:gd name="T68" fmla="*/ 53 w 55"/>
                      <a:gd name="T69" fmla="*/ 17 h 55"/>
                      <a:gd name="T70" fmla="*/ 54 w 55"/>
                      <a:gd name="T71" fmla="*/ 22 h 55"/>
                      <a:gd name="T72" fmla="*/ 55 w 55"/>
                      <a:gd name="T73" fmla="*/ 27 h 55"/>
                      <a:gd name="T74" fmla="*/ 55 w 55"/>
                      <a:gd name="T75"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5">
                        <a:moveTo>
                          <a:pt x="55" y="27"/>
                        </a:moveTo>
                        <a:lnTo>
                          <a:pt x="55" y="27"/>
                        </a:lnTo>
                        <a:lnTo>
                          <a:pt x="54" y="33"/>
                        </a:lnTo>
                        <a:lnTo>
                          <a:pt x="53" y="38"/>
                        </a:lnTo>
                        <a:lnTo>
                          <a:pt x="50" y="43"/>
                        </a:lnTo>
                        <a:lnTo>
                          <a:pt x="47" y="47"/>
                        </a:lnTo>
                        <a:lnTo>
                          <a:pt x="43" y="50"/>
                        </a:lnTo>
                        <a:lnTo>
                          <a:pt x="39" y="53"/>
                        </a:lnTo>
                        <a:lnTo>
                          <a:pt x="33" y="54"/>
                        </a:lnTo>
                        <a:lnTo>
                          <a:pt x="27" y="55"/>
                        </a:lnTo>
                        <a:lnTo>
                          <a:pt x="27" y="55"/>
                        </a:lnTo>
                        <a:lnTo>
                          <a:pt x="22" y="54"/>
                        </a:lnTo>
                        <a:lnTo>
                          <a:pt x="17" y="53"/>
                        </a:lnTo>
                        <a:lnTo>
                          <a:pt x="12" y="50"/>
                        </a:lnTo>
                        <a:lnTo>
                          <a:pt x="8" y="47"/>
                        </a:lnTo>
                        <a:lnTo>
                          <a:pt x="5" y="43"/>
                        </a:lnTo>
                        <a:lnTo>
                          <a:pt x="3" y="38"/>
                        </a:lnTo>
                        <a:lnTo>
                          <a:pt x="1" y="33"/>
                        </a:lnTo>
                        <a:lnTo>
                          <a:pt x="0" y="27"/>
                        </a:lnTo>
                        <a:lnTo>
                          <a:pt x="0" y="27"/>
                        </a:lnTo>
                        <a:lnTo>
                          <a:pt x="1" y="22"/>
                        </a:lnTo>
                        <a:lnTo>
                          <a:pt x="3" y="17"/>
                        </a:lnTo>
                        <a:lnTo>
                          <a:pt x="5" y="12"/>
                        </a:lnTo>
                        <a:lnTo>
                          <a:pt x="8" y="8"/>
                        </a:lnTo>
                        <a:lnTo>
                          <a:pt x="12" y="5"/>
                        </a:lnTo>
                        <a:lnTo>
                          <a:pt x="17" y="2"/>
                        </a:lnTo>
                        <a:lnTo>
                          <a:pt x="22" y="1"/>
                        </a:lnTo>
                        <a:lnTo>
                          <a:pt x="27" y="0"/>
                        </a:lnTo>
                        <a:lnTo>
                          <a:pt x="27" y="0"/>
                        </a:lnTo>
                        <a:lnTo>
                          <a:pt x="33" y="1"/>
                        </a:lnTo>
                        <a:lnTo>
                          <a:pt x="39" y="2"/>
                        </a:lnTo>
                        <a:lnTo>
                          <a:pt x="43" y="5"/>
                        </a:lnTo>
                        <a:lnTo>
                          <a:pt x="47" y="8"/>
                        </a:lnTo>
                        <a:lnTo>
                          <a:pt x="50" y="12"/>
                        </a:lnTo>
                        <a:lnTo>
                          <a:pt x="53" y="17"/>
                        </a:lnTo>
                        <a:lnTo>
                          <a:pt x="54" y="22"/>
                        </a:lnTo>
                        <a:lnTo>
                          <a:pt x="55" y="27"/>
                        </a:lnTo>
                        <a:lnTo>
                          <a:pt x="55" y="27"/>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4" name="Freeform 36"/>
                  <p:cNvSpPr>
                    <a:spLocks/>
                  </p:cNvSpPr>
                  <p:nvPr userDrawn="1"/>
                </p:nvSpPr>
                <p:spPr bwMode="auto">
                  <a:xfrm>
                    <a:off x="-897789" y="-1110868"/>
                    <a:ext cx="42863" cy="42863"/>
                  </a:xfrm>
                  <a:custGeom>
                    <a:avLst/>
                    <a:gdLst>
                      <a:gd name="T0" fmla="*/ 47 w 55"/>
                      <a:gd name="T1" fmla="*/ 46 h 55"/>
                      <a:gd name="T2" fmla="*/ 47 w 55"/>
                      <a:gd name="T3" fmla="*/ 46 h 55"/>
                      <a:gd name="T4" fmla="*/ 42 w 55"/>
                      <a:gd name="T5" fmla="*/ 51 h 55"/>
                      <a:gd name="T6" fmla="*/ 38 w 55"/>
                      <a:gd name="T7" fmla="*/ 53 h 55"/>
                      <a:gd name="T8" fmla="*/ 33 w 55"/>
                      <a:gd name="T9" fmla="*/ 55 h 55"/>
                      <a:gd name="T10" fmla="*/ 27 w 55"/>
                      <a:gd name="T11" fmla="*/ 55 h 55"/>
                      <a:gd name="T12" fmla="*/ 22 w 55"/>
                      <a:gd name="T13" fmla="*/ 55 h 55"/>
                      <a:gd name="T14" fmla="*/ 17 w 55"/>
                      <a:gd name="T15" fmla="*/ 53 h 55"/>
                      <a:gd name="T16" fmla="*/ 13 w 55"/>
                      <a:gd name="T17" fmla="*/ 51 h 55"/>
                      <a:gd name="T18" fmla="*/ 8 w 55"/>
                      <a:gd name="T19" fmla="*/ 46 h 55"/>
                      <a:gd name="T20" fmla="*/ 8 w 55"/>
                      <a:gd name="T21" fmla="*/ 46 h 55"/>
                      <a:gd name="T22" fmla="*/ 4 w 55"/>
                      <a:gd name="T23" fmla="*/ 42 h 55"/>
                      <a:gd name="T24" fmla="*/ 2 w 55"/>
                      <a:gd name="T25" fmla="*/ 37 h 55"/>
                      <a:gd name="T26" fmla="*/ 0 w 55"/>
                      <a:gd name="T27" fmla="*/ 32 h 55"/>
                      <a:gd name="T28" fmla="*/ 0 w 55"/>
                      <a:gd name="T29" fmla="*/ 27 h 55"/>
                      <a:gd name="T30" fmla="*/ 0 w 55"/>
                      <a:gd name="T31" fmla="*/ 22 h 55"/>
                      <a:gd name="T32" fmla="*/ 2 w 55"/>
                      <a:gd name="T33" fmla="*/ 17 h 55"/>
                      <a:gd name="T34" fmla="*/ 4 w 55"/>
                      <a:gd name="T35" fmla="*/ 12 h 55"/>
                      <a:gd name="T36" fmla="*/ 8 w 55"/>
                      <a:gd name="T37" fmla="*/ 7 h 55"/>
                      <a:gd name="T38" fmla="*/ 8 w 55"/>
                      <a:gd name="T39" fmla="*/ 7 h 55"/>
                      <a:gd name="T40" fmla="*/ 13 w 55"/>
                      <a:gd name="T41" fmla="*/ 4 h 55"/>
                      <a:gd name="T42" fmla="*/ 17 w 55"/>
                      <a:gd name="T43" fmla="*/ 1 h 55"/>
                      <a:gd name="T44" fmla="*/ 22 w 55"/>
                      <a:gd name="T45" fmla="*/ 0 h 55"/>
                      <a:gd name="T46" fmla="*/ 27 w 55"/>
                      <a:gd name="T47" fmla="*/ 0 h 55"/>
                      <a:gd name="T48" fmla="*/ 33 w 55"/>
                      <a:gd name="T49" fmla="*/ 0 h 55"/>
                      <a:gd name="T50" fmla="*/ 38 w 55"/>
                      <a:gd name="T51" fmla="*/ 1 h 55"/>
                      <a:gd name="T52" fmla="*/ 42 w 55"/>
                      <a:gd name="T53" fmla="*/ 4 h 55"/>
                      <a:gd name="T54" fmla="*/ 47 w 55"/>
                      <a:gd name="T55" fmla="*/ 7 h 55"/>
                      <a:gd name="T56" fmla="*/ 47 w 55"/>
                      <a:gd name="T57" fmla="*/ 7 h 55"/>
                      <a:gd name="T58" fmla="*/ 51 w 55"/>
                      <a:gd name="T59" fmla="*/ 12 h 55"/>
                      <a:gd name="T60" fmla="*/ 53 w 55"/>
                      <a:gd name="T61" fmla="*/ 17 h 55"/>
                      <a:gd name="T62" fmla="*/ 55 w 55"/>
                      <a:gd name="T63" fmla="*/ 22 h 55"/>
                      <a:gd name="T64" fmla="*/ 55 w 55"/>
                      <a:gd name="T65" fmla="*/ 27 h 55"/>
                      <a:gd name="T66" fmla="*/ 55 w 55"/>
                      <a:gd name="T67" fmla="*/ 32 h 55"/>
                      <a:gd name="T68" fmla="*/ 53 w 55"/>
                      <a:gd name="T69" fmla="*/ 37 h 55"/>
                      <a:gd name="T70" fmla="*/ 51 w 55"/>
                      <a:gd name="T71" fmla="*/ 42 h 55"/>
                      <a:gd name="T72" fmla="*/ 47 w 55"/>
                      <a:gd name="T73" fmla="*/ 46 h 55"/>
                      <a:gd name="T74" fmla="*/ 47 w 55"/>
                      <a:gd name="T75" fmla="*/ 4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5">
                        <a:moveTo>
                          <a:pt x="47" y="46"/>
                        </a:moveTo>
                        <a:lnTo>
                          <a:pt x="47" y="46"/>
                        </a:lnTo>
                        <a:lnTo>
                          <a:pt x="42" y="51"/>
                        </a:lnTo>
                        <a:lnTo>
                          <a:pt x="38" y="53"/>
                        </a:lnTo>
                        <a:lnTo>
                          <a:pt x="33" y="55"/>
                        </a:lnTo>
                        <a:lnTo>
                          <a:pt x="27" y="55"/>
                        </a:lnTo>
                        <a:lnTo>
                          <a:pt x="22" y="55"/>
                        </a:lnTo>
                        <a:lnTo>
                          <a:pt x="17" y="53"/>
                        </a:lnTo>
                        <a:lnTo>
                          <a:pt x="13" y="51"/>
                        </a:lnTo>
                        <a:lnTo>
                          <a:pt x="8" y="46"/>
                        </a:lnTo>
                        <a:lnTo>
                          <a:pt x="8" y="46"/>
                        </a:lnTo>
                        <a:lnTo>
                          <a:pt x="4" y="42"/>
                        </a:lnTo>
                        <a:lnTo>
                          <a:pt x="2" y="37"/>
                        </a:lnTo>
                        <a:lnTo>
                          <a:pt x="0" y="32"/>
                        </a:lnTo>
                        <a:lnTo>
                          <a:pt x="0" y="27"/>
                        </a:lnTo>
                        <a:lnTo>
                          <a:pt x="0" y="22"/>
                        </a:lnTo>
                        <a:lnTo>
                          <a:pt x="2" y="17"/>
                        </a:lnTo>
                        <a:lnTo>
                          <a:pt x="4" y="12"/>
                        </a:lnTo>
                        <a:lnTo>
                          <a:pt x="8" y="7"/>
                        </a:lnTo>
                        <a:lnTo>
                          <a:pt x="8" y="7"/>
                        </a:lnTo>
                        <a:lnTo>
                          <a:pt x="13" y="4"/>
                        </a:lnTo>
                        <a:lnTo>
                          <a:pt x="17" y="1"/>
                        </a:lnTo>
                        <a:lnTo>
                          <a:pt x="22" y="0"/>
                        </a:lnTo>
                        <a:lnTo>
                          <a:pt x="27" y="0"/>
                        </a:lnTo>
                        <a:lnTo>
                          <a:pt x="33" y="0"/>
                        </a:lnTo>
                        <a:lnTo>
                          <a:pt x="38" y="1"/>
                        </a:lnTo>
                        <a:lnTo>
                          <a:pt x="42" y="4"/>
                        </a:lnTo>
                        <a:lnTo>
                          <a:pt x="47" y="7"/>
                        </a:lnTo>
                        <a:lnTo>
                          <a:pt x="47" y="7"/>
                        </a:lnTo>
                        <a:lnTo>
                          <a:pt x="51" y="12"/>
                        </a:lnTo>
                        <a:lnTo>
                          <a:pt x="53" y="17"/>
                        </a:lnTo>
                        <a:lnTo>
                          <a:pt x="55" y="22"/>
                        </a:lnTo>
                        <a:lnTo>
                          <a:pt x="55" y="27"/>
                        </a:lnTo>
                        <a:lnTo>
                          <a:pt x="55" y="32"/>
                        </a:lnTo>
                        <a:lnTo>
                          <a:pt x="53" y="37"/>
                        </a:lnTo>
                        <a:lnTo>
                          <a:pt x="51" y="42"/>
                        </a:lnTo>
                        <a:lnTo>
                          <a:pt x="47" y="46"/>
                        </a:lnTo>
                        <a:lnTo>
                          <a:pt x="47" y="4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5" name="Freeform 37"/>
                  <p:cNvSpPr>
                    <a:spLocks/>
                  </p:cNvSpPr>
                  <p:nvPr userDrawn="1"/>
                </p:nvSpPr>
                <p:spPr bwMode="auto">
                  <a:xfrm>
                    <a:off x="-1621689" y="-390143"/>
                    <a:ext cx="44450" cy="44450"/>
                  </a:xfrm>
                  <a:custGeom>
                    <a:avLst/>
                    <a:gdLst>
                      <a:gd name="T0" fmla="*/ 47 w 55"/>
                      <a:gd name="T1" fmla="*/ 48 h 56"/>
                      <a:gd name="T2" fmla="*/ 47 w 55"/>
                      <a:gd name="T3" fmla="*/ 48 h 56"/>
                      <a:gd name="T4" fmla="*/ 43 w 55"/>
                      <a:gd name="T5" fmla="*/ 51 h 56"/>
                      <a:gd name="T6" fmla="*/ 38 w 55"/>
                      <a:gd name="T7" fmla="*/ 54 h 56"/>
                      <a:gd name="T8" fmla="*/ 33 w 55"/>
                      <a:gd name="T9" fmla="*/ 55 h 56"/>
                      <a:gd name="T10" fmla="*/ 28 w 55"/>
                      <a:gd name="T11" fmla="*/ 56 h 56"/>
                      <a:gd name="T12" fmla="*/ 22 w 55"/>
                      <a:gd name="T13" fmla="*/ 55 h 56"/>
                      <a:gd name="T14" fmla="*/ 17 w 55"/>
                      <a:gd name="T15" fmla="*/ 54 h 56"/>
                      <a:gd name="T16" fmla="*/ 12 w 55"/>
                      <a:gd name="T17" fmla="*/ 51 h 56"/>
                      <a:gd name="T18" fmla="*/ 8 w 55"/>
                      <a:gd name="T19" fmla="*/ 48 h 56"/>
                      <a:gd name="T20" fmla="*/ 8 w 55"/>
                      <a:gd name="T21" fmla="*/ 48 h 56"/>
                      <a:gd name="T22" fmla="*/ 5 w 55"/>
                      <a:gd name="T23" fmla="*/ 44 h 56"/>
                      <a:gd name="T24" fmla="*/ 2 w 55"/>
                      <a:gd name="T25" fmla="*/ 38 h 56"/>
                      <a:gd name="T26" fmla="*/ 1 w 55"/>
                      <a:gd name="T27" fmla="*/ 33 h 56"/>
                      <a:gd name="T28" fmla="*/ 0 w 55"/>
                      <a:gd name="T29" fmla="*/ 28 h 56"/>
                      <a:gd name="T30" fmla="*/ 1 w 55"/>
                      <a:gd name="T31" fmla="*/ 23 h 56"/>
                      <a:gd name="T32" fmla="*/ 2 w 55"/>
                      <a:gd name="T33" fmla="*/ 18 h 56"/>
                      <a:gd name="T34" fmla="*/ 5 w 55"/>
                      <a:gd name="T35" fmla="*/ 13 h 56"/>
                      <a:gd name="T36" fmla="*/ 8 w 55"/>
                      <a:gd name="T37" fmla="*/ 9 h 56"/>
                      <a:gd name="T38" fmla="*/ 8 w 55"/>
                      <a:gd name="T39" fmla="*/ 9 h 56"/>
                      <a:gd name="T40" fmla="*/ 12 w 55"/>
                      <a:gd name="T41" fmla="*/ 6 h 56"/>
                      <a:gd name="T42" fmla="*/ 17 w 55"/>
                      <a:gd name="T43" fmla="*/ 2 h 56"/>
                      <a:gd name="T44" fmla="*/ 22 w 55"/>
                      <a:gd name="T45" fmla="*/ 1 h 56"/>
                      <a:gd name="T46" fmla="*/ 28 w 55"/>
                      <a:gd name="T47" fmla="*/ 0 h 56"/>
                      <a:gd name="T48" fmla="*/ 33 w 55"/>
                      <a:gd name="T49" fmla="*/ 1 h 56"/>
                      <a:gd name="T50" fmla="*/ 38 w 55"/>
                      <a:gd name="T51" fmla="*/ 2 h 56"/>
                      <a:gd name="T52" fmla="*/ 43 w 55"/>
                      <a:gd name="T53" fmla="*/ 6 h 56"/>
                      <a:gd name="T54" fmla="*/ 47 w 55"/>
                      <a:gd name="T55" fmla="*/ 9 h 56"/>
                      <a:gd name="T56" fmla="*/ 47 w 55"/>
                      <a:gd name="T57" fmla="*/ 9 h 56"/>
                      <a:gd name="T58" fmla="*/ 50 w 55"/>
                      <a:gd name="T59" fmla="*/ 13 h 56"/>
                      <a:gd name="T60" fmla="*/ 53 w 55"/>
                      <a:gd name="T61" fmla="*/ 18 h 56"/>
                      <a:gd name="T62" fmla="*/ 54 w 55"/>
                      <a:gd name="T63" fmla="*/ 23 h 56"/>
                      <a:gd name="T64" fmla="*/ 55 w 55"/>
                      <a:gd name="T65" fmla="*/ 28 h 56"/>
                      <a:gd name="T66" fmla="*/ 54 w 55"/>
                      <a:gd name="T67" fmla="*/ 33 h 56"/>
                      <a:gd name="T68" fmla="*/ 53 w 55"/>
                      <a:gd name="T69" fmla="*/ 38 h 56"/>
                      <a:gd name="T70" fmla="*/ 50 w 55"/>
                      <a:gd name="T71" fmla="*/ 44 h 56"/>
                      <a:gd name="T72" fmla="*/ 47 w 55"/>
                      <a:gd name="T73" fmla="*/ 48 h 56"/>
                      <a:gd name="T74" fmla="*/ 47 w 55"/>
                      <a:gd name="T75"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6">
                        <a:moveTo>
                          <a:pt x="47" y="48"/>
                        </a:moveTo>
                        <a:lnTo>
                          <a:pt x="47" y="48"/>
                        </a:lnTo>
                        <a:lnTo>
                          <a:pt x="43" y="51"/>
                        </a:lnTo>
                        <a:lnTo>
                          <a:pt x="38" y="54"/>
                        </a:lnTo>
                        <a:lnTo>
                          <a:pt x="33" y="55"/>
                        </a:lnTo>
                        <a:lnTo>
                          <a:pt x="28" y="56"/>
                        </a:lnTo>
                        <a:lnTo>
                          <a:pt x="22" y="55"/>
                        </a:lnTo>
                        <a:lnTo>
                          <a:pt x="17" y="54"/>
                        </a:lnTo>
                        <a:lnTo>
                          <a:pt x="12" y="51"/>
                        </a:lnTo>
                        <a:lnTo>
                          <a:pt x="8" y="48"/>
                        </a:lnTo>
                        <a:lnTo>
                          <a:pt x="8" y="48"/>
                        </a:lnTo>
                        <a:lnTo>
                          <a:pt x="5" y="44"/>
                        </a:lnTo>
                        <a:lnTo>
                          <a:pt x="2" y="38"/>
                        </a:lnTo>
                        <a:lnTo>
                          <a:pt x="1" y="33"/>
                        </a:lnTo>
                        <a:lnTo>
                          <a:pt x="0" y="28"/>
                        </a:lnTo>
                        <a:lnTo>
                          <a:pt x="1" y="23"/>
                        </a:lnTo>
                        <a:lnTo>
                          <a:pt x="2" y="18"/>
                        </a:lnTo>
                        <a:lnTo>
                          <a:pt x="5" y="13"/>
                        </a:lnTo>
                        <a:lnTo>
                          <a:pt x="8" y="9"/>
                        </a:lnTo>
                        <a:lnTo>
                          <a:pt x="8" y="9"/>
                        </a:lnTo>
                        <a:lnTo>
                          <a:pt x="12" y="6"/>
                        </a:lnTo>
                        <a:lnTo>
                          <a:pt x="17" y="2"/>
                        </a:lnTo>
                        <a:lnTo>
                          <a:pt x="22" y="1"/>
                        </a:lnTo>
                        <a:lnTo>
                          <a:pt x="28" y="0"/>
                        </a:lnTo>
                        <a:lnTo>
                          <a:pt x="33" y="1"/>
                        </a:lnTo>
                        <a:lnTo>
                          <a:pt x="38" y="2"/>
                        </a:lnTo>
                        <a:lnTo>
                          <a:pt x="43" y="6"/>
                        </a:lnTo>
                        <a:lnTo>
                          <a:pt x="47" y="9"/>
                        </a:lnTo>
                        <a:lnTo>
                          <a:pt x="47" y="9"/>
                        </a:lnTo>
                        <a:lnTo>
                          <a:pt x="50" y="13"/>
                        </a:lnTo>
                        <a:lnTo>
                          <a:pt x="53" y="18"/>
                        </a:lnTo>
                        <a:lnTo>
                          <a:pt x="54" y="23"/>
                        </a:lnTo>
                        <a:lnTo>
                          <a:pt x="55" y="28"/>
                        </a:lnTo>
                        <a:lnTo>
                          <a:pt x="54" y="33"/>
                        </a:lnTo>
                        <a:lnTo>
                          <a:pt x="53" y="38"/>
                        </a:lnTo>
                        <a:lnTo>
                          <a:pt x="50" y="44"/>
                        </a:lnTo>
                        <a:lnTo>
                          <a:pt x="47" y="48"/>
                        </a:lnTo>
                        <a:lnTo>
                          <a:pt x="47" y="48"/>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6" name="Freeform 38"/>
                  <p:cNvSpPr>
                    <a:spLocks/>
                  </p:cNvSpPr>
                  <p:nvPr userDrawn="1"/>
                </p:nvSpPr>
                <p:spPr bwMode="auto">
                  <a:xfrm>
                    <a:off x="-1621689" y="-1110868"/>
                    <a:ext cx="44450" cy="42863"/>
                  </a:xfrm>
                  <a:custGeom>
                    <a:avLst/>
                    <a:gdLst>
                      <a:gd name="T0" fmla="*/ 8 w 55"/>
                      <a:gd name="T1" fmla="*/ 46 h 55"/>
                      <a:gd name="T2" fmla="*/ 8 w 55"/>
                      <a:gd name="T3" fmla="*/ 46 h 55"/>
                      <a:gd name="T4" fmla="*/ 12 w 55"/>
                      <a:gd name="T5" fmla="*/ 51 h 55"/>
                      <a:gd name="T6" fmla="*/ 17 w 55"/>
                      <a:gd name="T7" fmla="*/ 53 h 55"/>
                      <a:gd name="T8" fmla="*/ 22 w 55"/>
                      <a:gd name="T9" fmla="*/ 55 h 55"/>
                      <a:gd name="T10" fmla="*/ 28 w 55"/>
                      <a:gd name="T11" fmla="*/ 55 h 55"/>
                      <a:gd name="T12" fmla="*/ 33 w 55"/>
                      <a:gd name="T13" fmla="*/ 55 h 55"/>
                      <a:gd name="T14" fmla="*/ 38 w 55"/>
                      <a:gd name="T15" fmla="*/ 53 h 55"/>
                      <a:gd name="T16" fmla="*/ 43 w 55"/>
                      <a:gd name="T17" fmla="*/ 51 h 55"/>
                      <a:gd name="T18" fmla="*/ 47 w 55"/>
                      <a:gd name="T19" fmla="*/ 46 h 55"/>
                      <a:gd name="T20" fmla="*/ 47 w 55"/>
                      <a:gd name="T21" fmla="*/ 46 h 55"/>
                      <a:gd name="T22" fmla="*/ 50 w 55"/>
                      <a:gd name="T23" fmla="*/ 42 h 55"/>
                      <a:gd name="T24" fmla="*/ 53 w 55"/>
                      <a:gd name="T25" fmla="*/ 37 h 55"/>
                      <a:gd name="T26" fmla="*/ 54 w 55"/>
                      <a:gd name="T27" fmla="*/ 32 h 55"/>
                      <a:gd name="T28" fmla="*/ 55 w 55"/>
                      <a:gd name="T29" fmla="*/ 27 h 55"/>
                      <a:gd name="T30" fmla="*/ 54 w 55"/>
                      <a:gd name="T31" fmla="*/ 22 h 55"/>
                      <a:gd name="T32" fmla="*/ 53 w 55"/>
                      <a:gd name="T33" fmla="*/ 17 h 55"/>
                      <a:gd name="T34" fmla="*/ 50 w 55"/>
                      <a:gd name="T35" fmla="*/ 12 h 55"/>
                      <a:gd name="T36" fmla="*/ 47 w 55"/>
                      <a:gd name="T37" fmla="*/ 7 h 55"/>
                      <a:gd name="T38" fmla="*/ 47 w 55"/>
                      <a:gd name="T39" fmla="*/ 7 h 55"/>
                      <a:gd name="T40" fmla="*/ 43 w 55"/>
                      <a:gd name="T41" fmla="*/ 4 h 55"/>
                      <a:gd name="T42" fmla="*/ 38 w 55"/>
                      <a:gd name="T43" fmla="*/ 1 h 55"/>
                      <a:gd name="T44" fmla="*/ 33 w 55"/>
                      <a:gd name="T45" fmla="*/ 0 h 55"/>
                      <a:gd name="T46" fmla="*/ 28 w 55"/>
                      <a:gd name="T47" fmla="*/ 0 h 55"/>
                      <a:gd name="T48" fmla="*/ 22 w 55"/>
                      <a:gd name="T49" fmla="*/ 0 h 55"/>
                      <a:gd name="T50" fmla="*/ 17 w 55"/>
                      <a:gd name="T51" fmla="*/ 1 h 55"/>
                      <a:gd name="T52" fmla="*/ 12 w 55"/>
                      <a:gd name="T53" fmla="*/ 4 h 55"/>
                      <a:gd name="T54" fmla="*/ 8 w 55"/>
                      <a:gd name="T55" fmla="*/ 7 h 55"/>
                      <a:gd name="T56" fmla="*/ 8 w 55"/>
                      <a:gd name="T57" fmla="*/ 7 h 55"/>
                      <a:gd name="T58" fmla="*/ 5 w 55"/>
                      <a:gd name="T59" fmla="*/ 12 h 55"/>
                      <a:gd name="T60" fmla="*/ 2 w 55"/>
                      <a:gd name="T61" fmla="*/ 17 h 55"/>
                      <a:gd name="T62" fmla="*/ 1 w 55"/>
                      <a:gd name="T63" fmla="*/ 22 h 55"/>
                      <a:gd name="T64" fmla="*/ 0 w 55"/>
                      <a:gd name="T65" fmla="*/ 27 h 55"/>
                      <a:gd name="T66" fmla="*/ 1 w 55"/>
                      <a:gd name="T67" fmla="*/ 32 h 55"/>
                      <a:gd name="T68" fmla="*/ 2 w 55"/>
                      <a:gd name="T69" fmla="*/ 37 h 55"/>
                      <a:gd name="T70" fmla="*/ 5 w 55"/>
                      <a:gd name="T71" fmla="*/ 42 h 55"/>
                      <a:gd name="T72" fmla="*/ 8 w 55"/>
                      <a:gd name="T73" fmla="*/ 46 h 55"/>
                      <a:gd name="T74" fmla="*/ 8 w 55"/>
                      <a:gd name="T75" fmla="*/ 4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5">
                        <a:moveTo>
                          <a:pt x="8" y="46"/>
                        </a:moveTo>
                        <a:lnTo>
                          <a:pt x="8" y="46"/>
                        </a:lnTo>
                        <a:lnTo>
                          <a:pt x="12" y="51"/>
                        </a:lnTo>
                        <a:lnTo>
                          <a:pt x="17" y="53"/>
                        </a:lnTo>
                        <a:lnTo>
                          <a:pt x="22" y="55"/>
                        </a:lnTo>
                        <a:lnTo>
                          <a:pt x="28" y="55"/>
                        </a:lnTo>
                        <a:lnTo>
                          <a:pt x="33" y="55"/>
                        </a:lnTo>
                        <a:lnTo>
                          <a:pt x="38" y="53"/>
                        </a:lnTo>
                        <a:lnTo>
                          <a:pt x="43" y="51"/>
                        </a:lnTo>
                        <a:lnTo>
                          <a:pt x="47" y="46"/>
                        </a:lnTo>
                        <a:lnTo>
                          <a:pt x="47" y="46"/>
                        </a:lnTo>
                        <a:lnTo>
                          <a:pt x="50" y="42"/>
                        </a:lnTo>
                        <a:lnTo>
                          <a:pt x="53" y="37"/>
                        </a:lnTo>
                        <a:lnTo>
                          <a:pt x="54" y="32"/>
                        </a:lnTo>
                        <a:lnTo>
                          <a:pt x="55" y="27"/>
                        </a:lnTo>
                        <a:lnTo>
                          <a:pt x="54" y="22"/>
                        </a:lnTo>
                        <a:lnTo>
                          <a:pt x="53" y="17"/>
                        </a:lnTo>
                        <a:lnTo>
                          <a:pt x="50" y="12"/>
                        </a:lnTo>
                        <a:lnTo>
                          <a:pt x="47" y="7"/>
                        </a:lnTo>
                        <a:lnTo>
                          <a:pt x="47" y="7"/>
                        </a:lnTo>
                        <a:lnTo>
                          <a:pt x="43" y="4"/>
                        </a:lnTo>
                        <a:lnTo>
                          <a:pt x="38" y="1"/>
                        </a:lnTo>
                        <a:lnTo>
                          <a:pt x="33" y="0"/>
                        </a:lnTo>
                        <a:lnTo>
                          <a:pt x="28" y="0"/>
                        </a:lnTo>
                        <a:lnTo>
                          <a:pt x="22" y="0"/>
                        </a:lnTo>
                        <a:lnTo>
                          <a:pt x="17" y="1"/>
                        </a:lnTo>
                        <a:lnTo>
                          <a:pt x="12" y="4"/>
                        </a:lnTo>
                        <a:lnTo>
                          <a:pt x="8" y="7"/>
                        </a:lnTo>
                        <a:lnTo>
                          <a:pt x="8" y="7"/>
                        </a:lnTo>
                        <a:lnTo>
                          <a:pt x="5" y="12"/>
                        </a:lnTo>
                        <a:lnTo>
                          <a:pt x="2" y="17"/>
                        </a:lnTo>
                        <a:lnTo>
                          <a:pt x="1" y="22"/>
                        </a:lnTo>
                        <a:lnTo>
                          <a:pt x="0" y="27"/>
                        </a:lnTo>
                        <a:lnTo>
                          <a:pt x="1" y="32"/>
                        </a:lnTo>
                        <a:lnTo>
                          <a:pt x="2" y="37"/>
                        </a:lnTo>
                        <a:lnTo>
                          <a:pt x="5" y="42"/>
                        </a:lnTo>
                        <a:lnTo>
                          <a:pt x="8" y="46"/>
                        </a:lnTo>
                        <a:lnTo>
                          <a:pt x="8" y="4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7" name="Freeform 39"/>
                  <p:cNvSpPr>
                    <a:spLocks/>
                  </p:cNvSpPr>
                  <p:nvPr userDrawn="1"/>
                </p:nvSpPr>
                <p:spPr bwMode="auto">
                  <a:xfrm>
                    <a:off x="-897789" y="-390143"/>
                    <a:ext cx="42863" cy="44450"/>
                  </a:xfrm>
                  <a:custGeom>
                    <a:avLst/>
                    <a:gdLst>
                      <a:gd name="T0" fmla="*/ 8 w 55"/>
                      <a:gd name="T1" fmla="*/ 48 h 56"/>
                      <a:gd name="T2" fmla="*/ 8 w 55"/>
                      <a:gd name="T3" fmla="*/ 48 h 56"/>
                      <a:gd name="T4" fmla="*/ 13 w 55"/>
                      <a:gd name="T5" fmla="*/ 51 h 56"/>
                      <a:gd name="T6" fmla="*/ 17 w 55"/>
                      <a:gd name="T7" fmla="*/ 54 h 56"/>
                      <a:gd name="T8" fmla="*/ 22 w 55"/>
                      <a:gd name="T9" fmla="*/ 55 h 56"/>
                      <a:gd name="T10" fmla="*/ 27 w 55"/>
                      <a:gd name="T11" fmla="*/ 56 h 56"/>
                      <a:gd name="T12" fmla="*/ 33 w 55"/>
                      <a:gd name="T13" fmla="*/ 55 h 56"/>
                      <a:gd name="T14" fmla="*/ 38 w 55"/>
                      <a:gd name="T15" fmla="*/ 54 h 56"/>
                      <a:gd name="T16" fmla="*/ 42 w 55"/>
                      <a:gd name="T17" fmla="*/ 51 h 56"/>
                      <a:gd name="T18" fmla="*/ 47 w 55"/>
                      <a:gd name="T19" fmla="*/ 48 h 56"/>
                      <a:gd name="T20" fmla="*/ 47 w 55"/>
                      <a:gd name="T21" fmla="*/ 48 h 56"/>
                      <a:gd name="T22" fmla="*/ 51 w 55"/>
                      <a:gd name="T23" fmla="*/ 44 h 56"/>
                      <a:gd name="T24" fmla="*/ 53 w 55"/>
                      <a:gd name="T25" fmla="*/ 38 h 56"/>
                      <a:gd name="T26" fmla="*/ 55 w 55"/>
                      <a:gd name="T27" fmla="*/ 33 h 56"/>
                      <a:gd name="T28" fmla="*/ 55 w 55"/>
                      <a:gd name="T29" fmla="*/ 28 h 56"/>
                      <a:gd name="T30" fmla="*/ 55 w 55"/>
                      <a:gd name="T31" fmla="*/ 23 h 56"/>
                      <a:gd name="T32" fmla="*/ 53 w 55"/>
                      <a:gd name="T33" fmla="*/ 18 h 56"/>
                      <a:gd name="T34" fmla="*/ 51 w 55"/>
                      <a:gd name="T35" fmla="*/ 13 h 56"/>
                      <a:gd name="T36" fmla="*/ 47 w 55"/>
                      <a:gd name="T37" fmla="*/ 9 h 56"/>
                      <a:gd name="T38" fmla="*/ 47 w 55"/>
                      <a:gd name="T39" fmla="*/ 9 h 56"/>
                      <a:gd name="T40" fmla="*/ 42 w 55"/>
                      <a:gd name="T41" fmla="*/ 6 h 56"/>
                      <a:gd name="T42" fmla="*/ 38 w 55"/>
                      <a:gd name="T43" fmla="*/ 2 h 56"/>
                      <a:gd name="T44" fmla="*/ 33 w 55"/>
                      <a:gd name="T45" fmla="*/ 1 h 56"/>
                      <a:gd name="T46" fmla="*/ 27 w 55"/>
                      <a:gd name="T47" fmla="*/ 0 h 56"/>
                      <a:gd name="T48" fmla="*/ 22 w 55"/>
                      <a:gd name="T49" fmla="*/ 1 h 56"/>
                      <a:gd name="T50" fmla="*/ 17 w 55"/>
                      <a:gd name="T51" fmla="*/ 2 h 56"/>
                      <a:gd name="T52" fmla="*/ 13 w 55"/>
                      <a:gd name="T53" fmla="*/ 6 h 56"/>
                      <a:gd name="T54" fmla="*/ 8 w 55"/>
                      <a:gd name="T55" fmla="*/ 9 h 56"/>
                      <a:gd name="T56" fmla="*/ 8 w 55"/>
                      <a:gd name="T57" fmla="*/ 9 h 56"/>
                      <a:gd name="T58" fmla="*/ 4 w 55"/>
                      <a:gd name="T59" fmla="*/ 13 h 56"/>
                      <a:gd name="T60" fmla="*/ 2 w 55"/>
                      <a:gd name="T61" fmla="*/ 18 h 56"/>
                      <a:gd name="T62" fmla="*/ 0 w 55"/>
                      <a:gd name="T63" fmla="*/ 23 h 56"/>
                      <a:gd name="T64" fmla="*/ 0 w 55"/>
                      <a:gd name="T65" fmla="*/ 28 h 56"/>
                      <a:gd name="T66" fmla="*/ 0 w 55"/>
                      <a:gd name="T67" fmla="*/ 33 h 56"/>
                      <a:gd name="T68" fmla="*/ 2 w 55"/>
                      <a:gd name="T69" fmla="*/ 38 h 56"/>
                      <a:gd name="T70" fmla="*/ 4 w 55"/>
                      <a:gd name="T71" fmla="*/ 44 h 56"/>
                      <a:gd name="T72" fmla="*/ 8 w 55"/>
                      <a:gd name="T73" fmla="*/ 48 h 56"/>
                      <a:gd name="T74" fmla="*/ 8 w 55"/>
                      <a:gd name="T75"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6">
                        <a:moveTo>
                          <a:pt x="8" y="48"/>
                        </a:moveTo>
                        <a:lnTo>
                          <a:pt x="8" y="48"/>
                        </a:lnTo>
                        <a:lnTo>
                          <a:pt x="13" y="51"/>
                        </a:lnTo>
                        <a:lnTo>
                          <a:pt x="17" y="54"/>
                        </a:lnTo>
                        <a:lnTo>
                          <a:pt x="22" y="55"/>
                        </a:lnTo>
                        <a:lnTo>
                          <a:pt x="27" y="56"/>
                        </a:lnTo>
                        <a:lnTo>
                          <a:pt x="33" y="55"/>
                        </a:lnTo>
                        <a:lnTo>
                          <a:pt x="38" y="54"/>
                        </a:lnTo>
                        <a:lnTo>
                          <a:pt x="42" y="51"/>
                        </a:lnTo>
                        <a:lnTo>
                          <a:pt x="47" y="48"/>
                        </a:lnTo>
                        <a:lnTo>
                          <a:pt x="47" y="48"/>
                        </a:lnTo>
                        <a:lnTo>
                          <a:pt x="51" y="44"/>
                        </a:lnTo>
                        <a:lnTo>
                          <a:pt x="53" y="38"/>
                        </a:lnTo>
                        <a:lnTo>
                          <a:pt x="55" y="33"/>
                        </a:lnTo>
                        <a:lnTo>
                          <a:pt x="55" y="28"/>
                        </a:lnTo>
                        <a:lnTo>
                          <a:pt x="55" y="23"/>
                        </a:lnTo>
                        <a:lnTo>
                          <a:pt x="53" y="18"/>
                        </a:lnTo>
                        <a:lnTo>
                          <a:pt x="51" y="13"/>
                        </a:lnTo>
                        <a:lnTo>
                          <a:pt x="47" y="9"/>
                        </a:lnTo>
                        <a:lnTo>
                          <a:pt x="47" y="9"/>
                        </a:lnTo>
                        <a:lnTo>
                          <a:pt x="42" y="6"/>
                        </a:lnTo>
                        <a:lnTo>
                          <a:pt x="38" y="2"/>
                        </a:lnTo>
                        <a:lnTo>
                          <a:pt x="33" y="1"/>
                        </a:lnTo>
                        <a:lnTo>
                          <a:pt x="27" y="0"/>
                        </a:lnTo>
                        <a:lnTo>
                          <a:pt x="22" y="1"/>
                        </a:lnTo>
                        <a:lnTo>
                          <a:pt x="17" y="2"/>
                        </a:lnTo>
                        <a:lnTo>
                          <a:pt x="13" y="6"/>
                        </a:lnTo>
                        <a:lnTo>
                          <a:pt x="8" y="9"/>
                        </a:lnTo>
                        <a:lnTo>
                          <a:pt x="8" y="9"/>
                        </a:lnTo>
                        <a:lnTo>
                          <a:pt x="4" y="13"/>
                        </a:lnTo>
                        <a:lnTo>
                          <a:pt x="2" y="18"/>
                        </a:lnTo>
                        <a:lnTo>
                          <a:pt x="0" y="23"/>
                        </a:lnTo>
                        <a:lnTo>
                          <a:pt x="0" y="28"/>
                        </a:lnTo>
                        <a:lnTo>
                          <a:pt x="0" y="33"/>
                        </a:lnTo>
                        <a:lnTo>
                          <a:pt x="2" y="38"/>
                        </a:lnTo>
                        <a:lnTo>
                          <a:pt x="4" y="44"/>
                        </a:lnTo>
                        <a:lnTo>
                          <a:pt x="8" y="48"/>
                        </a:lnTo>
                        <a:lnTo>
                          <a:pt x="8" y="48"/>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8" name="Freeform 40"/>
                  <p:cNvSpPr>
                    <a:spLocks/>
                  </p:cNvSpPr>
                  <p:nvPr userDrawn="1"/>
                </p:nvSpPr>
                <p:spPr bwMode="auto">
                  <a:xfrm>
                    <a:off x="-748564" y="-750505"/>
                    <a:ext cx="42863" cy="42863"/>
                  </a:xfrm>
                  <a:custGeom>
                    <a:avLst/>
                    <a:gdLst>
                      <a:gd name="T0" fmla="*/ 28 w 55"/>
                      <a:gd name="T1" fmla="*/ 54 h 54"/>
                      <a:gd name="T2" fmla="*/ 28 w 55"/>
                      <a:gd name="T3" fmla="*/ 54 h 54"/>
                      <a:gd name="T4" fmla="*/ 22 w 55"/>
                      <a:gd name="T5" fmla="*/ 54 h 54"/>
                      <a:gd name="T6" fmla="*/ 17 w 55"/>
                      <a:gd name="T7" fmla="*/ 52 h 54"/>
                      <a:gd name="T8" fmla="*/ 13 w 55"/>
                      <a:gd name="T9" fmla="*/ 50 h 54"/>
                      <a:gd name="T10" fmla="*/ 9 w 55"/>
                      <a:gd name="T11" fmla="*/ 47 h 54"/>
                      <a:gd name="T12" fmla="*/ 5 w 55"/>
                      <a:gd name="T13" fmla="*/ 43 h 54"/>
                      <a:gd name="T14" fmla="*/ 3 w 55"/>
                      <a:gd name="T15" fmla="*/ 38 h 54"/>
                      <a:gd name="T16" fmla="*/ 0 w 55"/>
                      <a:gd name="T17" fmla="*/ 33 h 54"/>
                      <a:gd name="T18" fmla="*/ 0 w 55"/>
                      <a:gd name="T19" fmla="*/ 28 h 54"/>
                      <a:gd name="T20" fmla="*/ 0 w 55"/>
                      <a:gd name="T21" fmla="*/ 28 h 54"/>
                      <a:gd name="T22" fmla="*/ 0 w 55"/>
                      <a:gd name="T23" fmla="*/ 21 h 54"/>
                      <a:gd name="T24" fmla="*/ 3 w 55"/>
                      <a:gd name="T25" fmla="*/ 16 h 54"/>
                      <a:gd name="T26" fmla="*/ 5 w 55"/>
                      <a:gd name="T27" fmla="*/ 12 h 54"/>
                      <a:gd name="T28" fmla="*/ 9 w 55"/>
                      <a:gd name="T29" fmla="*/ 8 h 54"/>
                      <a:gd name="T30" fmla="*/ 13 w 55"/>
                      <a:gd name="T31" fmla="*/ 4 h 54"/>
                      <a:gd name="T32" fmla="*/ 17 w 55"/>
                      <a:gd name="T33" fmla="*/ 2 h 54"/>
                      <a:gd name="T34" fmla="*/ 22 w 55"/>
                      <a:gd name="T35" fmla="*/ 0 h 54"/>
                      <a:gd name="T36" fmla="*/ 28 w 55"/>
                      <a:gd name="T37" fmla="*/ 0 h 54"/>
                      <a:gd name="T38" fmla="*/ 28 w 55"/>
                      <a:gd name="T39" fmla="*/ 0 h 54"/>
                      <a:gd name="T40" fmla="*/ 33 w 55"/>
                      <a:gd name="T41" fmla="*/ 0 h 54"/>
                      <a:gd name="T42" fmla="*/ 39 w 55"/>
                      <a:gd name="T43" fmla="*/ 2 h 54"/>
                      <a:gd name="T44" fmla="*/ 44 w 55"/>
                      <a:gd name="T45" fmla="*/ 4 h 54"/>
                      <a:gd name="T46" fmla="*/ 48 w 55"/>
                      <a:gd name="T47" fmla="*/ 8 h 54"/>
                      <a:gd name="T48" fmla="*/ 51 w 55"/>
                      <a:gd name="T49" fmla="*/ 12 h 54"/>
                      <a:gd name="T50" fmla="*/ 53 w 55"/>
                      <a:gd name="T51" fmla="*/ 16 h 54"/>
                      <a:gd name="T52" fmla="*/ 55 w 55"/>
                      <a:gd name="T53" fmla="*/ 21 h 54"/>
                      <a:gd name="T54" fmla="*/ 55 w 55"/>
                      <a:gd name="T55" fmla="*/ 28 h 54"/>
                      <a:gd name="T56" fmla="*/ 55 w 55"/>
                      <a:gd name="T57" fmla="*/ 28 h 54"/>
                      <a:gd name="T58" fmla="*/ 55 w 55"/>
                      <a:gd name="T59" fmla="*/ 33 h 54"/>
                      <a:gd name="T60" fmla="*/ 53 w 55"/>
                      <a:gd name="T61" fmla="*/ 38 h 54"/>
                      <a:gd name="T62" fmla="*/ 51 w 55"/>
                      <a:gd name="T63" fmla="*/ 43 h 54"/>
                      <a:gd name="T64" fmla="*/ 48 w 55"/>
                      <a:gd name="T65" fmla="*/ 47 h 54"/>
                      <a:gd name="T66" fmla="*/ 44 w 55"/>
                      <a:gd name="T67" fmla="*/ 50 h 54"/>
                      <a:gd name="T68" fmla="*/ 39 w 55"/>
                      <a:gd name="T69" fmla="*/ 52 h 54"/>
                      <a:gd name="T70" fmla="*/ 33 w 55"/>
                      <a:gd name="T71" fmla="*/ 54 h 54"/>
                      <a:gd name="T72" fmla="*/ 28 w 55"/>
                      <a:gd name="T73" fmla="*/ 54 h 54"/>
                      <a:gd name="T74" fmla="*/ 28 w 55"/>
                      <a:gd name="T7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4">
                        <a:moveTo>
                          <a:pt x="28" y="54"/>
                        </a:moveTo>
                        <a:lnTo>
                          <a:pt x="28" y="54"/>
                        </a:lnTo>
                        <a:lnTo>
                          <a:pt x="22" y="54"/>
                        </a:lnTo>
                        <a:lnTo>
                          <a:pt x="17" y="52"/>
                        </a:lnTo>
                        <a:lnTo>
                          <a:pt x="13" y="50"/>
                        </a:lnTo>
                        <a:lnTo>
                          <a:pt x="9" y="47"/>
                        </a:lnTo>
                        <a:lnTo>
                          <a:pt x="5" y="43"/>
                        </a:lnTo>
                        <a:lnTo>
                          <a:pt x="3" y="38"/>
                        </a:lnTo>
                        <a:lnTo>
                          <a:pt x="0" y="33"/>
                        </a:lnTo>
                        <a:lnTo>
                          <a:pt x="0" y="28"/>
                        </a:lnTo>
                        <a:lnTo>
                          <a:pt x="0" y="28"/>
                        </a:lnTo>
                        <a:lnTo>
                          <a:pt x="0" y="21"/>
                        </a:lnTo>
                        <a:lnTo>
                          <a:pt x="3" y="16"/>
                        </a:lnTo>
                        <a:lnTo>
                          <a:pt x="5" y="12"/>
                        </a:lnTo>
                        <a:lnTo>
                          <a:pt x="9" y="8"/>
                        </a:lnTo>
                        <a:lnTo>
                          <a:pt x="13" y="4"/>
                        </a:lnTo>
                        <a:lnTo>
                          <a:pt x="17" y="2"/>
                        </a:lnTo>
                        <a:lnTo>
                          <a:pt x="22" y="0"/>
                        </a:lnTo>
                        <a:lnTo>
                          <a:pt x="28" y="0"/>
                        </a:lnTo>
                        <a:lnTo>
                          <a:pt x="28" y="0"/>
                        </a:lnTo>
                        <a:lnTo>
                          <a:pt x="33" y="0"/>
                        </a:lnTo>
                        <a:lnTo>
                          <a:pt x="39" y="2"/>
                        </a:lnTo>
                        <a:lnTo>
                          <a:pt x="44" y="4"/>
                        </a:lnTo>
                        <a:lnTo>
                          <a:pt x="48" y="8"/>
                        </a:lnTo>
                        <a:lnTo>
                          <a:pt x="51" y="12"/>
                        </a:lnTo>
                        <a:lnTo>
                          <a:pt x="53" y="16"/>
                        </a:lnTo>
                        <a:lnTo>
                          <a:pt x="55" y="21"/>
                        </a:lnTo>
                        <a:lnTo>
                          <a:pt x="55" y="28"/>
                        </a:lnTo>
                        <a:lnTo>
                          <a:pt x="55" y="28"/>
                        </a:lnTo>
                        <a:lnTo>
                          <a:pt x="55" y="33"/>
                        </a:lnTo>
                        <a:lnTo>
                          <a:pt x="53" y="38"/>
                        </a:lnTo>
                        <a:lnTo>
                          <a:pt x="51" y="43"/>
                        </a:lnTo>
                        <a:lnTo>
                          <a:pt x="48" y="47"/>
                        </a:lnTo>
                        <a:lnTo>
                          <a:pt x="44" y="50"/>
                        </a:lnTo>
                        <a:lnTo>
                          <a:pt x="39" y="52"/>
                        </a:lnTo>
                        <a:lnTo>
                          <a:pt x="33" y="54"/>
                        </a:lnTo>
                        <a:lnTo>
                          <a:pt x="28" y="54"/>
                        </a:lnTo>
                        <a:lnTo>
                          <a:pt x="28" y="54"/>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9" name="Freeform 41"/>
                  <p:cNvSpPr>
                    <a:spLocks/>
                  </p:cNvSpPr>
                  <p:nvPr userDrawn="1"/>
                </p:nvSpPr>
                <p:spPr bwMode="auto">
                  <a:xfrm>
                    <a:off x="-1770914" y="-750505"/>
                    <a:ext cx="44450" cy="42863"/>
                  </a:xfrm>
                  <a:custGeom>
                    <a:avLst/>
                    <a:gdLst>
                      <a:gd name="T0" fmla="*/ 27 w 54"/>
                      <a:gd name="T1" fmla="*/ 54 h 54"/>
                      <a:gd name="T2" fmla="*/ 27 w 54"/>
                      <a:gd name="T3" fmla="*/ 54 h 54"/>
                      <a:gd name="T4" fmla="*/ 21 w 54"/>
                      <a:gd name="T5" fmla="*/ 54 h 54"/>
                      <a:gd name="T6" fmla="*/ 16 w 54"/>
                      <a:gd name="T7" fmla="*/ 52 h 54"/>
                      <a:gd name="T8" fmla="*/ 12 w 54"/>
                      <a:gd name="T9" fmla="*/ 50 h 54"/>
                      <a:gd name="T10" fmla="*/ 8 w 54"/>
                      <a:gd name="T11" fmla="*/ 47 h 54"/>
                      <a:gd name="T12" fmla="*/ 5 w 54"/>
                      <a:gd name="T13" fmla="*/ 43 h 54"/>
                      <a:gd name="T14" fmla="*/ 2 w 54"/>
                      <a:gd name="T15" fmla="*/ 38 h 54"/>
                      <a:gd name="T16" fmla="*/ 0 w 54"/>
                      <a:gd name="T17" fmla="*/ 33 h 54"/>
                      <a:gd name="T18" fmla="*/ 0 w 54"/>
                      <a:gd name="T19" fmla="*/ 28 h 54"/>
                      <a:gd name="T20" fmla="*/ 0 w 54"/>
                      <a:gd name="T21" fmla="*/ 28 h 54"/>
                      <a:gd name="T22" fmla="*/ 0 w 54"/>
                      <a:gd name="T23" fmla="*/ 21 h 54"/>
                      <a:gd name="T24" fmla="*/ 2 w 54"/>
                      <a:gd name="T25" fmla="*/ 16 h 54"/>
                      <a:gd name="T26" fmla="*/ 5 w 54"/>
                      <a:gd name="T27" fmla="*/ 12 h 54"/>
                      <a:gd name="T28" fmla="*/ 8 w 54"/>
                      <a:gd name="T29" fmla="*/ 8 h 54"/>
                      <a:gd name="T30" fmla="*/ 12 w 54"/>
                      <a:gd name="T31" fmla="*/ 4 h 54"/>
                      <a:gd name="T32" fmla="*/ 16 w 54"/>
                      <a:gd name="T33" fmla="*/ 2 h 54"/>
                      <a:gd name="T34" fmla="*/ 21 w 54"/>
                      <a:gd name="T35" fmla="*/ 0 h 54"/>
                      <a:gd name="T36" fmla="*/ 27 w 54"/>
                      <a:gd name="T37" fmla="*/ 0 h 54"/>
                      <a:gd name="T38" fmla="*/ 27 w 54"/>
                      <a:gd name="T39" fmla="*/ 0 h 54"/>
                      <a:gd name="T40" fmla="*/ 33 w 54"/>
                      <a:gd name="T41" fmla="*/ 0 h 54"/>
                      <a:gd name="T42" fmla="*/ 38 w 54"/>
                      <a:gd name="T43" fmla="*/ 2 h 54"/>
                      <a:gd name="T44" fmla="*/ 43 w 54"/>
                      <a:gd name="T45" fmla="*/ 4 h 54"/>
                      <a:gd name="T46" fmla="*/ 47 w 54"/>
                      <a:gd name="T47" fmla="*/ 8 h 54"/>
                      <a:gd name="T48" fmla="*/ 50 w 54"/>
                      <a:gd name="T49" fmla="*/ 12 h 54"/>
                      <a:gd name="T50" fmla="*/ 52 w 54"/>
                      <a:gd name="T51" fmla="*/ 16 h 54"/>
                      <a:gd name="T52" fmla="*/ 54 w 54"/>
                      <a:gd name="T53" fmla="*/ 21 h 54"/>
                      <a:gd name="T54" fmla="*/ 54 w 54"/>
                      <a:gd name="T55" fmla="*/ 28 h 54"/>
                      <a:gd name="T56" fmla="*/ 54 w 54"/>
                      <a:gd name="T57" fmla="*/ 28 h 54"/>
                      <a:gd name="T58" fmla="*/ 54 w 54"/>
                      <a:gd name="T59" fmla="*/ 33 h 54"/>
                      <a:gd name="T60" fmla="*/ 52 w 54"/>
                      <a:gd name="T61" fmla="*/ 38 h 54"/>
                      <a:gd name="T62" fmla="*/ 50 w 54"/>
                      <a:gd name="T63" fmla="*/ 43 h 54"/>
                      <a:gd name="T64" fmla="*/ 47 w 54"/>
                      <a:gd name="T65" fmla="*/ 47 h 54"/>
                      <a:gd name="T66" fmla="*/ 43 w 54"/>
                      <a:gd name="T67" fmla="*/ 50 h 54"/>
                      <a:gd name="T68" fmla="*/ 38 w 54"/>
                      <a:gd name="T69" fmla="*/ 52 h 54"/>
                      <a:gd name="T70" fmla="*/ 33 w 54"/>
                      <a:gd name="T71" fmla="*/ 54 h 54"/>
                      <a:gd name="T72" fmla="*/ 27 w 54"/>
                      <a:gd name="T73" fmla="*/ 54 h 54"/>
                      <a:gd name="T74" fmla="*/ 27 w 54"/>
                      <a:gd name="T7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 h="54">
                        <a:moveTo>
                          <a:pt x="27" y="54"/>
                        </a:moveTo>
                        <a:lnTo>
                          <a:pt x="27" y="54"/>
                        </a:lnTo>
                        <a:lnTo>
                          <a:pt x="21" y="54"/>
                        </a:lnTo>
                        <a:lnTo>
                          <a:pt x="16" y="52"/>
                        </a:lnTo>
                        <a:lnTo>
                          <a:pt x="12" y="50"/>
                        </a:lnTo>
                        <a:lnTo>
                          <a:pt x="8" y="47"/>
                        </a:lnTo>
                        <a:lnTo>
                          <a:pt x="5" y="43"/>
                        </a:lnTo>
                        <a:lnTo>
                          <a:pt x="2" y="38"/>
                        </a:lnTo>
                        <a:lnTo>
                          <a:pt x="0" y="33"/>
                        </a:lnTo>
                        <a:lnTo>
                          <a:pt x="0" y="28"/>
                        </a:lnTo>
                        <a:lnTo>
                          <a:pt x="0" y="28"/>
                        </a:lnTo>
                        <a:lnTo>
                          <a:pt x="0" y="21"/>
                        </a:lnTo>
                        <a:lnTo>
                          <a:pt x="2" y="16"/>
                        </a:lnTo>
                        <a:lnTo>
                          <a:pt x="5" y="12"/>
                        </a:lnTo>
                        <a:lnTo>
                          <a:pt x="8" y="8"/>
                        </a:lnTo>
                        <a:lnTo>
                          <a:pt x="12" y="4"/>
                        </a:lnTo>
                        <a:lnTo>
                          <a:pt x="16" y="2"/>
                        </a:lnTo>
                        <a:lnTo>
                          <a:pt x="21" y="0"/>
                        </a:lnTo>
                        <a:lnTo>
                          <a:pt x="27" y="0"/>
                        </a:lnTo>
                        <a:lnTo>
                          <a:pt x="27" y="0"/>
                        </a:lnTo>
                        <a:lnTo>
                          <a:pt x="33" y="0"/>
                        </a:lnTo>
                        <a:lnTo>
                          <a:pt x="38" y="2"/>
                        </a:lnTo>
                        <a:lnTo>
                          <a:pt x="43" y="4"/>
                        </a:lnTo>
                        <a:lnTo>
                          <a:pt x="47" y="8"/>
                        </a:lnTo>
                        <a:lnTo>
                          <a:pt x="50" y="12"/>
                        </a:lnTo>
                        <a:lnTo>
                          <a:pt x="52" y="16"/>
                        </a:lnTo>
                        <a:lnTo>
                          <a:pt x="54" y="21"/>
                        </a:lnTo>
                        <a:lnTo>
                          <a:pt x="54" y="28"/>
                        </a:lnTo>
                        <a:lnTo>
                          <a:pt x="54" y="28"/>
                        </a:lnTo>
                        <a:lnTo>
                          <a:pt x="54" y="33"/>
                        </a:lnTo>
                        <a:lnTo>
                          <a:pt x="52" y="38"/>
                        </a:lnTo>
                        <a:lnTo>
                          <a:pt x="50" y="43"/>
                        </a:lnTo>
                        <a:lnTo>
                          <a:pt x="47" y="47"/>
                        </a:lnTo>
                        <a:lnTo>
                          <a:pt x="43" y="50"/>
                        </a:lnTo>
                        <a:lnTo>
                          <a:pt x="38" y="52"/>
                        </a:lnTo>
                        <a:lnTo>
                          <a:pt x="33" y="54"/>
                        </a:lnTo>
                        <a:lnTo>
                          <a:pt x="27" y="54"/>
                        </a:lnTo>
                        <a:lnTo>
                          <a:pt x="27" y="54"/>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0" name="Freeform 42"/>
                  <p:cNvSpPr>
                    <a:spLocks/>
                  </p:cNvSpPr>
                  <p:nvPr userDrawn="1"/>
                </p:nvSpPr>
                <p:spPr bwMode="auto">
                  <a:xfrm>
                    <a:off x="-1664552" y="1418020"/>
                    <a:ext cx="854075" cy="174625"/>
                  </a:xfrm>
                  <a:custGeom>
                    <a:avLst/>
                    <a:gdLst>
                      <a:gd name="T0" fmla="*/ 1076 w 1076"/>
                      <a:gd name="T1" fmla="*/ 220 h 220"/>
                      <a:gd name="T2" fmla="*/ 0 w 1076"/>
                      <a:gd name="T3" fmla="*/ 220 h 220"/>
                      <a:gd name="T4" fmla="*/ 14 w 1076"/>
                      <a:gd name="T5" fmla="*/ 0 h 220"/>
                      <a:gd name="T6" fmla="*/ 1063 w 1076"/>
                      <a:gd name="T7" fmla="*/ 0 h 220"/>
                      <a:gd name="T8" fmla="*/ 1076 w 1076"/>
                      <a:gd name="T9" fmla="*/ 220 h 220"/>
                    </a:gdLst>
                    <a:ahLst/>
                    <a:cxnLst>
                      <a:cxn ang="0">
                        <a:pos x="T0" y="T1"/>
                      </a:cxn>
                      <a:cxn ang="0">
                        <a:pos x="T2" y="T3"/>
                      </a:cxn>
                      <a:cxn ang="0">
                        <a:pos x="T4" y="T5"/>
                      </a:cxn>
                      <a:cxn ang="0">
                        <a:pos x="T6" y="T7"/>
                      </a:cxn>
                      <a:cxn ang="0">
                        <a:pos x="T8" y="T9"/>
                      </a:cxn>
                    </a:cxnLst>
                    <a:rect l="0" t="0" r="r" b="b"/>
                    <a:pathLst>
                      <a:path w="1076" h="220">
                        <a:moveTo>
                          <a:pt x="1076" y="220"/>
                        </a:moveTo>
                        <a:lnTo>
                          <a:pt x="0" y="220"/>
                        </a:lnTo>
                        <a:lnTo>
                          <a:pt x="14" y="0"/>
                        </a:lnTo>
                        <a:lnTo>
                          <a:pt x="1063" y="0"/>
                        </a:lnTo>
                        <a:lnTo>
                          <a:pt x="1076" y="220"/>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1" name="Freeform 43"/>
                  <p:cNvSpPr>
                    <a:spLocks/>
                  </p:cNvSpPr>
                  <p:nvPr userDrawn="1"/>
                </p:nvSpPr>
                <p:spPr bwMode="auto">
                  <a:xfrm>
                    <a:off x="-1574064" y="894145"/>
                    <a:ext cx="674688" cy="523875"/>
                  </a:xfrm>
                  <a:custGeom>
                    <a:avLst/>
                    <a:gdLst>
                      <a:gd name="T0" fmla="*/ 742 w 850"/>
                      <a:gd name="T1" fmla="*/ 67 h 661"/>
                      <a:gd name="T2" fmla="*/ 742 w 850"/>
                      <a:gd name="T3" fmla="*/ 67 h 661"/>
                      <a:gd name="T4" fmla="*/ 742 w 850"/>
                      <a:gd name="T5" fmla="*/ 64 h 661"/>
                      <a:gd name="T6" fmla="*/ 741 w 850"/>
                      <a:gd name="T7" fmla="*/ 61 h 661"/>
                      <a:gd name="T8" fmla="*/ 739 w 850"/>
                      <a:gd name="T9" fmla="*/ 58 h 661"/>
                      <a:gd name="T10" fmla="*/ 736 w 850"/>
                      <a:gd name="T11" fmla="*/ 54 h 661"/>
                      <a:gd name="T12" fmla="*/ 728 w 850"/>
                      <a:gd name="T13" fmla="*/ 48 h 661"/>
                      <a:gd name="T14" fmla="*/ 717 w 850"/>
                      <a:gd name="T15" fmla="*/ 42 h 661"/>
                      <a:gd name="T16" fmla="*/ 704 w 850"/>
                      <a:gd name="T17" fmla="*/ 35 h 661"/>
                      <a:gd name="T18" fmla="*/ 689 w 850"/>
                      <a:gd name="T19" fmla="*/ 30 h 661"/>
                      <a:gd name="T20" fmla="*/ 670 w 850"/>
                      <a:gd name="T21" fmla="*/ 25 h 661"/>
                      <a:gd name="T22" fmla="*/ 650 w 850"/>
                      <a:gd name="T23" fmla="*/ 20 h 661"/>
                      <a:gd name="T24" fmla="*/ 627 w 850"/>
                      <a:gd name="T25" fmla="*/ 16 h 661"/>
                      <a:gd name="T26" fmla="*/ 602 w 850"/>
                      <a:gd name="T27" fmla="*/ 12 h 661"/>
                      <a:gd name="T28" fmla="*/ 577 w 850"/>
                      <a:gd name="T29" fmla="*/ 9 h 661"/>
                      <a:gd name="T30" fmla="*/ 549 w 850"/>
                      <a:gd name="T31" fmla="*/ 6 h 661"/>
                      <a:gd name="T32" fmla="*/ 520 w 850"/>
                      <a:gd name="T33" fmla="*/ 4 h 661"/>
                      <a:gd name="T34" fmla="*/ 489 w 850"/>
                      <a:gd name="T35" fmla="*/ 2 h 661"/>
                      <a:gd name="T36" fmla="*/ 458 w 850"/>
                      <a:gd name="T37" fmla="*/ 0 h 661"/>
                      <a:gd name="T38" fmla="*/ 425 w 850"/>
                      <a:gd name="T39" fmla="*/ 0 h 661"/>
                      <a:gd name="T40" fmla="*/ 425 w 850"/>
                      <a:gd name="T41" fmla="*/ 0 h 661"/>
                      <a:gd name="T42" fmla="*/ 393 w 850"/>
                      <a:gd name="T43" fmla="*/ 0 h 661"/>
                      <a:gd name="T44" fmla="*/ 362 w 850"/>
                      <a:gd name="T45" fmla="*/ 2 h 661"/>
                      <a:gd name="T46" fmla="*/ 331 w 850"/>
                      <a:gd name="T47" fmla="*/ 4 h 661"/>
                      <a:gd name="T48" fmla="*/ 302 w 850"/>
                      <a:gd name="T49" fmla="*/ 6 h 661"/>
                      <a:gd name="T50" fmla="*/ 274 w 850"/>
                      <a:gd name="T51" fmla="*/ 9 h 661"/>
                      <a:gd name="T52" fmla="*/ 248 w 850"/>
                      <a:gd name="T53" fmla="*/ 12 h 661"/>
                      <a:gd name="T54" fmla="*/ 224 w 850"/>
                      <a:gd name="T55" fmla="*/ 16 h 661"/>
                      <a:gd name="T56" fmla="*/ 201 w 850"/>
                      <a:gd name="T57" fmla="*/ 20 h 661"/>
                      <a:gd name="T58" fmla="*/ 181 w 850"/>
                      <a:gd name="T59" fmla="*/ 25 h 661"/>
                      <a:gd name="T60" fmla="*/ 163 w 850"/>
                      <a:gd name="T61" fmla="*/ 30 h 661"/>
                      <a:gd name="T62" fmla="*/ 147 w 850"/>
                      <a:gd name="T63" fmla="*/ 35 h 661"/>
                      <a:gd name="T64" fmla="*/ 133 w 850"/>
                      <a:gd name="T65" fmla="*/ 42 h 661"/>
                      <a:gd name="T66" fmla="*/ 123 w 850"/>
                      <a:gd name="T67" fmla="*/ 48 h 661"/>
                      <a:gd name="T68" fmla="*/ 115 w 850"/>
                      <a:gd name="T69" fmla="*/ 54 h 661"/>
                      <a:gd name="T70" fmla="*/ 113 w 850"/>
                      <a:gd name="T71" fmla="*/ 58 h 661"/>
                      <a:gd name="T72" fmla="*/ 111 w 850"/>
                      <a:gd name="T73" fmla="*/ 61 h 661"/>
                      <a:gd name="T74" fmla="*/ 109 w 850"/>
                      <a:gd name="T75" fmla="*/ 64 h 661"/>
                      <a:gd name="T76" fmla="*/ 109 w 850"/>
                      <a:gd name="T77" fmla="*/ 67 h 661"/>
                      <a:gd name="T78" fmla="*/ 0 w 850"/>
                      <a:gd name="T79" fmla="*/ 661 h 661"/>
                      <a:gd name="T80" fmla="*/ 850 w 850"/>
                      <a:gd name="T81" fmla="*/ 661 h 661"/>
                      <a:gd name="T82" fmla="*/ 742 w 850"/>
                      <a:gd name="T83" fmla="*/ 67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50" h="661">
                        <a:moveTo>
                          <a:pt x="742" y="67"/>
                        </a:moveTo>
                        <a:lnTo>
                          <a:pt x="742" y="67"/>
                        </a:lnTo>
                        <a:lnTo>
                          <a:pt x="742" y="64"/>
                        </a:lnTo>
                        <a:lnTo>
                          <a:pt x="741" y="61"/>
                        </a:lnTo>
                        <a:lnTo>
                          <a:pt x="739" y="58"/>
                        </a:lnTo>
                        <a:lnTo>
                          <a:pt x="736" y="54"/>
                        </a:lnTo>
                        <a:lnTo>
                          <a:pt x="728" y="48"/>
                        </a:lnTo>
                        <a:lnTo>
                          <a:pt x="717" y="42"/>
                        </a:lnTo>
                        <a:lnTo>
                          <a:pt x="704" y="35"/>
                        </a:lnTo>
                        <a:lnTo>
                          <a:pt x="689" y="30"/>
                        </a:lnTo>
                        <a:lnTo>
                          <a:pt x="670" y="25"/>
                        </a:lnTo>
                        <a:lnTo>
                          <a:pt x="650" y="20"/>
                        </a:lnTo>
                        <a:lnTo>
                          <a:pt x="627" y="16"/>
                        </a:lnTo>
                        <a:lnTo>
                          <a:pt x="602" y="12"/>
                        </a:lnTo>
                        <a:lnTo>
                          <a:pt x="577" y="9"/>
                        </a:lnTo>
                        <a:lnTo>
                          <a:pt x="549" y="6"/>
                        </a:lnTo>
                        <a:lnTo>
                          <a:pt x="520" y="4"/>
                        </a:lnTo>
                        <a:lnTo>
                          <a:pt x="489" y="2"/>
                        </a:lnTo>
                        <a:lnTo>
                          <a:pt x="458" y="0"/>
                        </a:lnTo>
                        <a:lnTo>
                          <a:pt x="425" y="0"/>
                        </a:lnTo>
                        <a:lnTo>
                          <a:pt x="425" y="0"/>
                        </a:lnTo>
                        <a:lnTo>
                          <a:pt x="393" y="0"/>
                        </a:lnTo>
                        <a:lnTo>
                          <a:pt x="362" y="2"/>
                        </a:lnTo>
                        <a:lnTo>
                          <a:pt x="331" y="4"/>
                        </a:lnTo>
                        <a:lnTo>
                          <a:pt x="302" y="6"/>
                        </a:lnTo>
                        <a:lnTo>
                          <a:pt x="274" y="9"/>
                        </a:lnTo>
                        <a:lnTo>
                          <a:pt x="248" y="12"/>
                        </a:lnTo>
                        <a:lnTo>
                          <a:pt x="224" y="16"/>
                        </a:lnTo>
                        <a:lnTo>
                          <a:pt x="201" y="20"/>
                        </a:lnTo>
                        <a:lnTo>
                          <a:pt x="181" y="25"/>
                        </a:lnTo>
                        <a:lnTo>
                          <a:pt x="163" y="30"/>
                        </a:lnTo>
                        <a:lnTo>
                          <a:pt x="147" y="35"/>
                        </a:lnTo>
                        <a:lnTo>
                          <a:pt x="133" y="42"/>
                        </a:lnTo>
                        <a:lnTo>
                          <a:pt x="123" y="48"/>
                        </a:lnTo>
                        <a:lnTo>
                          <a:pt x="115" y="54"/>
                        </a:lnTo>
                        <a:lnTo>
                          <a:pt x="113" y="58"/>
                        </a:lnTo>
                        <a:lnTo>
                          <a:pt x="111" y="61"/>
                        </a:lnTo>
                        <a:lnTo>
                          <a:pt x="109" y="64"/>
                        </a:lnTo>
                        <a:lnTo>
                          <a:pt x="109" y="67"/>
                        </a:lnTo>
                        <a:lnTo>
                          <a:pt x="0" y="661"/>
                        </a:lnTo>
                        <a:lnTo>
                          <a:pt x="850" y="661"/>
                        </a:lnTo>
                        <a:lnTo>
                          <a:pt x="742" y="67"/>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2" name="Rectangle 44"/>
                  <p:cNvSpPr>
                    <a:spLocks noChangeArrowheads="1"/>
                  </p:cNvSpPr>
                  <p:nvPr userDrawn="1"/>
                </p:nvSpPr>
                <p:spPr bwMode="auto">
                  <a:xfrm>
                    <a:off x="-1286727" y="327407"/>
                    <a:ext cx="96838" cy="1693863"/>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3" name="Rectangle 45"/>
                  <p:cNvSpPr>
                    <a:spLocks noChangeArrowheads="1"/>
                  </p:cNvSpPr>
                  <p:nvPr userDrawn="1"/>
                </p:nvSpPr>
                <p:spPr bwMode="auto">
                  <a:xfrm>
                    <a:off x="-1286727" y="327407"/>
                    <a:ext cx="96838" cy="569913"/>
                  </a:xfrm>
                  <a:prstGeom prst="rect">
                    <a:avLst/>
                  </a:prstGeom>
                  <a:solidFill>
                    <a:srgbClr val="80828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4" name="Freeform 47"/>
                  <p:cNvSpPr>
                    <a:spLocks/>
                  </p:cNvSpPr>
                  <p:nvPr userDrawn="1"/>
                </p:nvSpPr>
                <p:spPr bwMode="auto">
                  <a:xfrm>
                    <a:off x="-635852" y="-336168"/>
                    <a:ext cx="735013" cy="463550"/>
                  </a:xfrm>
                  <a:custGeom>
                    <a:avLst/>
                    <a:gdLst>
                      <a:gd name="T0" fmla="*/ 0 w 926"/>
                      <a:gd name="T1" fmla="*/ 530 h 585"/>
                      <a:gd name="T2" fmla="*/ 40 w 926"/>
                      <a:gd name="T3" fmla="*/ 585 h 585"/>
                      <a:gd name="T4" fmla="*/ 40 w 926"/>
                      <a:gd name="T5" fmla="*/ 585 h 585"/>
                      <a:gd name="T6" fmla="*/ 88 w 926"/>
                      <a:gd name="T7" fmla="*/ 551 h 585"/>
                      <a:gd name="T8" fmla="*/ 137 w 926"/>
                      <a:gd name="T9" fmla="*/ 518 h 585"/>
                      <a:gd name="T10" fmla="*/ 237 w 926"/>
                      <a:gd name="T11" fmla="*/ 453 h 585"/>
                      <a:gd name="T12" fmla="*/ 340 w 926"/>
                      <a:gd name="T13" fmla="*/ 388 h 585"/>
                      <a:gd name="T14" fmla="*/ 448 w 926"/>
                      <a:gd name="T15" fmla="*/ 323 h 585"/>
                      <a:gd name="T16" fmla="*/ 559 w 926"/>
                      <a:gd name="T17" fmla="*/ 257 h 585"/>
                      <a:gd name="T18" fmla="*/ 675 w 926"/>
                      <a:gd name="T19" fmla="*/ 191 h 585"/>
                      <a:gd name="T20" fmla="*/ 926 w 926"/>
                      <a:gd name="T21" fmla="*/ 48 h 585"/>
                      <a:gd name="T22" fmla="*/ 878 w 926"/>
                      <a:gd name="T23" fmla="*/ 0 h 585"/>
                      <a:gd name="T24" fmla="*/ 878 w 926"/>
                      <a:gd name="T25" fmla="*/ 0 h 585"/>
                      <a:gd name="T26" fmla="*/ 878 w 926"/>
                      <a:gd name="T27" fmla="*/ 0 h 585"/>
                      <a:gd name="T28" fmla="*/ 631 w 926"/>
                      <a:gd name="T29" fmla="*/ 140 h 585"/>
                      <a:gd name="T30" fmla="*/ 515 w 926"/>
                      <a:gd name="T31" fmla="*/ 207 h 585"/>
                      <a:gd name="T32" fmla="*/ 405 w 926"/>
                      <a:gd name="T33" fmla="*/ 272 h 585"/>
                      <a:gd name="T34" fmla="*/ 299 w 926"/>
                      <a:gd name="T35" fmla="*/ 336 h 585"/>
                      <a:gd name="T36" fmla="*/ 197 w 926"/>
                      <a:gd name="T37" fmla="*/ 399 h 585"/>
                      <a:gd name="T38" fmla="*/ 97 w 926"/>
                      <a:gd name="T39" fmla="*/ 464 h 585"/>
                      <a:gd name="T40" fmla="*/ 49 w 926"/>
                      <a:gd name="T41" fmla="*/ 497 h 585"/>
                      <a:gd name="T42" fmla="*/ 0 w 926"/>
                      <a:gd name="T43" fmla="*/ 530 h 585"/>
                      <a:gd name="T44" fmla="*/ 0 w 926"/>
                      <a:gd name="T45" fmla="*/ 53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26" h="585">
                        <a:moveTo>
                          <a:pt x="0" y="530"/>
                        </a:moveTo>
                        <a:lnTo>
                          <a:pt x="40" y="585"/>
                        </a:lnTo>
                        <a:lnTo>
                          <a:pt x="40" y="585"/>
                        </a:lnTo>
                        <a:lnTo>
                          <a:pt x="88" y="551"/>
                        </a:lnTo>
                        <a:lnTo>
                          <a:pt x="137" y="518"/>
                        </a:lnTo>
                        <a:lnTo>
                          <a:pt x="237" y="453"/>
                        </a:lnTo>
                        <a:lnTo>
                          <a:pt x="340" y="388"/>
                        </a:lnTo>
                        <a:lnTo>
                          <a:pt x="448" y="323"/>
                        </a:lnTo>
                        <a:lnTo>
                          <a:pt x="559" y="257"/>
                        </a:lnTo>
                        <a:lnTo>
                          <a:pt x="675" y="191"/>
                        </a:lnTo>
                        <a:lnTo>
                          <a:pt x="926" y="48"/>
                        </a:lnTo>
                        <a:lnTo>
                          <a:pt x="878" y="0"/>
                        </a:lnTo>
                        <a:lnTo>
                          <a:pt x="878" y="0"/>
                        </a:lnTo>
                        <a:lnTo>
                          <a:pt x="878" y="0"/>
                        </a:lnTo>
                        <a:lnTo>
                          <a:pt x="631" y="140"/>
                        </a:lnTo>
                        <a:lnTo>
                          <a:pt x="515" y="207"/>
                        </a:lnTo>
                        <a:lnTo>
                          <a:pt x="405" y="272"/>
                        </a:lnTo>
                        <a:lnTo>
                          <a:pt x="299" y="336"/>
                        </a:lnTo>
                        <a:lnTo>
                          <a:pt x="197" y="399"/>
                        </a:lnTo>
                        <a:lnTo>
                          <a:pt x="97" y="464"/>
                        </a:lnTo>
                        <a:lnTo>
                          <a:pt x="49" y="497"/>
                        </a:lnTo>
                        <a:lnTo>
                          <a:pt x="0" y="530"/>
                        </a:lnTo>
                        <a:lnTo>
                          <a:pt x="0" y="530"/>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sp>
              <p:nvSpPr>
                <p:cNvPr id="964" name="자유형 963"/>
                <p:cNvSpPr>
                  <a:spLocks/>
                </p:cNvSpPr>
                <p:nvPr userDrawn="1"/>
              </p:nvSpPr>
              <p:spPr bwMode="auto">
                <a:xfrm>
                  <a:off x="1137898" y="1236986"/>
                  <a:ext cx="1919462" cy="3411233"/>
                </a:xfrm>
                <a:custGeom>
                  <a:avLst/>
                  <a:gdLst>
                    <a:gd name="connsiteX0" fmla="*/ 12427 w 1919462"/>
                    <a:gd name="connsiteY0" fmla="*/ 0 h 3411233"/>
                    <a:gd name="connsiteX1" fmla="*/ 19626 w 1919462"/>
                    <a:gd name="connsiteY1" fmla="*/ 7821 h 3411233"/>
                    <a:gd name="connsiteX2" fmla="*/ 38823 w 1919462"/>
                    <a:gd name="connsiteY2" fmla="*/ 30681 h 3411233"/>
                    <a:gd name="connsiteX3" fmla="*/ 68818 w 1919462"/>
                    <a:gd name="connsiteY3" fmla="*/ 67377 h 3411233"/>
                    <a:gd name="connsiteX4" fmla="*/ 87415 w 1919462"/>
                    <a:gd name="connsiteY4" fmla="*/ 90838 h 3411233"/>
                    <a:gd name="connsiteX5" fmla="*/ 107811 w 1919462"/>
                    <a:gd name="connsiteY5" fmla="*/ 117909 h 3411233"/>
                    <a:gd name="connsiteX6" fmla="*/ 130007 w 1919462"/>
                    <a:gd name="connsiteY6" fmla="*/ 147988 h 3411233"/>
                    <a:gd name="connsiteX7" fmla="*/ 154003 w 1919462"/>
                    <a:gd name="connsiteY7" fmla="*/ 180473 h 3411233"/>
                    <a:gd name="connsiteX8" fmla="*/ 179199 w 1919462"/>
                    <a:gd name="connsiteY8" fmla="*/ 215966 h 3411233"/>
                    <a:gd name="connsiteX9" fmla="*/ 205595 w 1919462"/>
                    <a:gd name="connsiteY9" fmla="*/ 254466 h 3411233"/>
                    <a:gd name="connsiteX10" fmla="*/ 233790 w 1919462"/>
                    <a:gd name="connsiteY10" fmla="*/ 295975 h 3411233"/>
                    <a:gd name="connsiteX11" fmla="*/ 261986 w 1919462"/>
                    <a:gd name="connsiteY11" fmla="*/ 339289 h 3411233"/>
                    <a:gd name="connsiteX12" fmla="*/ 290181 w 1919462"/>
                    <a:gd name="connsiteY12" fmla="*/ 385008 h 3411233"/>
                    <a:gd name="connsiteX13" fmla="*/ 320176 w 1919462"/>
                    <a:gd name="connsiteY13" fmla="*/ 433134 h 3411233"/>
                    <a:gd name="connsiteX14" fmla="*/ 342372 w 1919462"/>
                    <a:gd name="connsiteY14" fmla="*/ 471635 h 3411233"/>
                    <a:gd name="connsiteX15" fmla="*/ 364568 w 1919462"/>
                    <a:gd name="connsiteY15" fmla="*/ 510737 h 3411233"/>
                    <a:gd name="connsiteX16" fmla="*/ 386765 w 1919462"/>
                    <a:gd name="connsiteY16" fmla="*/ 551644 h 3411233"/>
                    <a:gd name="connsiteX17" fmla="*/ 408222 w 1919462"/>
                    <a:gd name="connsiteY17" fmla="*/ 591771 h 3411233"/>
                    <a:gd name="connsiteX18" fmla="*/ 409077 w 1919462"/>
                    <a:gd name="connsiteY18" fmla="*/ 591968 h 3411233"/>
                    <a:gd name="connsiteX19" fmla="*/ 431880 w 1919462"/>
                    <a:gd name="connsiteY19" fmla="*/ 637609 h 3411233"/>
                    <a:gd name="connsiteX20" fmla="*/ 454083 w 1919462"/>
                    <a:gd name="connsiteY20" fmla="*/ 684450 h 3411233"/>
                    <a:gd name="connsiteX21" fmla="*/ 476286 w 1919462"/>
                    <a:gd name="connsiteY21" fmla="*/ 731893 h 3411233"/>
                    <a:gd name="connsiteX22" fmla="*/ 497288 w 1919462"/>
                    <a:gd name="connsiteY22" fmla="*/ 779935 h 3411233"/>
                    <a:gd name="connsiteX23" fmla="*/ 517691 w 1919462"/>
                    <a:gd name="connsiteY23" fmla="*/ 829179 h 3411233"/>
                    <a:gd name="connsiteX24" fmla="*/ 536894 w 1919462"/>
                    <a:gd name="connsiteY24" fmla="*/ 880225 h 3411233"/>
                    <a:gd name="connsiteX25" fmla="*/ 555496 w 1919462"/>
                    <a:gd name="connsiteY25" fmla="*/ 930669 h 3411233"/>
                    <a:gd name="connsiteX26" fmla="*/ 572298 w 1919462"/>
                    <a:gd name="connsiteY26" fmla="*/ 982916 h 3411233"/>
                    <a:gd name="connsiteX27" fmla="*/ 588500 w 1919462"/>
                    <a:gd name="connsiteY27" fmla="*/ 1035763 h 3411233"/>
                    <a:gd name="connsiteX28" fmla="*/ 595701 w 1919462"/>
                    <a:gd name="connsiteY28" fmla="*/ 1062186 h 3411233"/>
                    <a:gd name="connsiteX29" fmla="*/ 603502 w 1919462"/>
                    <a:gd name="connsiteY29" fmla="*/ 1088610 h 3411233"/>
                    <a:gd name="connsiteX30" fmla="*/ 610103 w 1919462"/>
                    <a:gd name="connsiteY30" fmla="*/ 1116235 h 3411233"/>
                    <a:gd name="connsiteX31" fmla="*/ 616104 w 1919462"/>
                    <a:gd name="connsiteY31" fmla="*/ 1142658 h 3411233"/>
                    <a:gd name="connsiteX32" fmla="*/ 622705 w 1919462"/>
                    <a:gd name="connsiteY32" fmla="*/ 1169682 h 3411233"/>
                    <a:gd name="connsiteX33" fmla="*/ 628105 w 1919462"/>
                    <a:gd name="connsiteY33" fmla="*/ 1197307 h 3411233"/>
                    <a:gd name="connsiteX34" fmla="*/ 632906 w 1919462"/>
                    <a:gd name="connsiteY34" fmla="*/ 1224931 h 3411233"/>
                    <a:gd name="connsiteX35" fmla="*/ 637707 w 1919462"/>
                    <a:gd name="connsiteY35" fmla="*/ 1252556 h 3411233"/>
                    <a:gd name="connsiteX36" fmla="*/ 642507 w 1919462"/>
                    <a:gd name="connsiteY36" fmla="*/ 1279580 h 3411233"/>
                    <a:gd name="connsiteX37" fmla="*/ 646108 w 1919462"/>
                    <a:gd name="connsiteY37" fmla="*/ 1307204 h 3411233"/>
                    <a:gd name="connsiteX38" fmla="*/ 649108 w 1919462"/>
                    <a:gd name="connsiteY38" fmla="*/ 1335430 h 3411233"/>
                    <a:gd name="connsiteX39" fmla="*/ 652109 w 1919462"/>
                    <a:gd name="connsiteY39" fmla="*/ 1363054 h 3411233"/>
                    <a:gd name="connsiteX40" fmla="*/ 654509 w 1919462"/>
                    <a:gd name="connsiteY40" fmla="*/ 1391279 h 3411233"/>
                    <a:gd name="connsiteX41" fmla="*/ 656309 w 1919462"/>
                    <a:gd name="connsiteY41" fmla="*/ 1419504 h 3411233"/>
                    <a:gd name="connsiteX42" fmla="*/ 626905 w 1919462"/>
                    <a:gd name="connsiteY42" fmla="*/ 1406893 h 3411233"/>
                    <a:gd name="connsiteX43" fmla="*/ 596301 w 1919462"/>
                    <a:gd name="connsiteY43" fmla="*/ 1394282 h 3411233"/>
                    <a:gd name="connsiteX44" fmla="*/ 565097 w 1919462"/>
                    <a:gd name="connsiteY44" fmla="*/ 1382872 h 3411233"/>
                    <a:gd name="connsiteX45" fmla="*/ 532693 w 1919462"/>
                    <a:gd name="connsiteY45" fmla="*/ 1371462 h 3411233"/>
                    <a:gd name="connsiteX46" fmla="*/ 500289 w 1919462"/>
                    <a:gd name="connsiteY46" fmla="*/ 1360652 h 3411233"/>
                    <a:gd name="connsiteX47" fmla="*/ 466084 w 1919462"/>
                    <a:gd name="connsiteY47" fmla="*/ 1349842 h 3411233"/>
                    <a:gd name="connsiteX48" fmla="*/ 431880 w 1919462"/>
                    <a:gd name="connsiteY48" fmla="*/ 1340234 h 3411233"/>
                    <a:gd name="connsiteX49" fmla="*/ 396475 w 1919462"/>
                    <a:gd name="connsiteY49" fmla="*/ 1331226 h 3411233"/>
                    <a:gd name="connsiteX50" fmla="*/ 359871 w 1919462"/>
                    <a:gd name="connsiteY50" fmla="*/ 1322218 h 3411233"/>
                    <a:gd name="connsiteX51" fmla="*/ 323266 w 1919462"/>
                    <a:gd name="connsiteY51" fmla="*/ 1315011 h 3411233"/>
                    <a:gd name="connsiteX52" fmla="*/ 286061 w 1919462"/>
                    <a:gd name="connsiteY52" fmla="*/ 1307204 h 3411233"/>
                    <a:gd name="connsiteX53" fmla="*/ 247656 w 1919462"/>
                    <a:gd name="connsiteY53" fmla="*/ 1301199 h 3411233"/>
                    <a:gd name="connsiteX54" fmla="*/ 208651 w 1919462"/>
                    <a:gd name="connsiteY54" fmla="*/ 1295794 h 3411233"/>
                    <a:gd name="connsiteX55" fmla="*/ 170246 w 1919462"/>
                    <a:gd name="connsiteY55" fmla="*/ 1291591 h 3411233"/>
                    <a:gd name="connsiteX56" fmla="*/ 130041 w 1919462"/>
                    <a:gd name="connsiteY56" fmla="*/ 1287987 h 3411233"/>
                    <a:gd name="connsiteX57" fmla="*/ 89836 w 1919462"/>
                    <a:gd name="connsiteY57" fmla="*/ 1284985 h 3411233"/>
                    <a:gd name="connsiteX58" fmla="*/ 89836 w 1919462"/>
                    <a:gd name="connsiteY58" fmla="*/ 1285985 h 3411233"/>
                    <a:gd name="connsiteX59" fmla="*/ 104580 w 1919462"/>
                    <a:gd name="connsiteY59" fmla="*/ 1286567 h 3411233"/>
                    <a:gd name="connsiteX60" fmla="*/ 149607 w 1919462"/>
                    <a:gd name="connsiteY60" fmla="*/ 1290169 h 3411233"/>
                    <a:gd name="connsiteX61" fmla="*/ 193433 w 1919462"/>
                    <a:gd name="connsiteY61" fmla="*/ 1294972 h 3411233"/>
                    <a:gd name="connsiteX62" fmla="*/ 237259 w 1919462"/>
                    <a:gd name="connsiteY62" fmla="*/ 1300375 h 3411233"/>
                    <a:gd name="connsiteX63" fmla="*/ 279884 w 1919462"/>
                    <a:gd name="connsiteY63" fmla="*/ 1306979 h 3411233"/>
                    <a:gd name="connsiteX64" fmla="*/ 321909 w 1919462"/>
                    <a:gd name="connsiteY64" fmla="*/ 1315384 h 3411233"/>
                    <a:gd name="connsiteX65" fmla="*/ 363334 w 1919462"/>
                    <a:gd name="connsiteY65" fmla="*/ 1323789 h 3411233"/>
                    <a:gd name="connsiteX66" fmla="*/ 402958 w 1919462"/>
                    <a:gd name="connsiteY66" fmla="*/ 1333995 h 3411233"/>
                    <a:gd name="connsiteX67" fmla="*/ 441981 w 1919462"/>
                    <a:gd name="connsiteY67" fmla="*/ 1344201 h 3411233"/>
                    <a:gd name="connsiteX68" fmla="*/ 481004 w 1919462"/>
                    <a:gd name="connsiteY68" fmla="*/ 1355608 h 3411233"/>
                    <a:gd name="connsiteX69" fmla="*/ 518226 w 1919462"/>
                    <a:gd name="connsiteY69" fmla="*/ 1367015 h 3411233"/>
                    <a:gd name="connsiteX70" fmla="*/ 554248 w 1919462"/>
                    <a:gd name="connsiteY70" fmla="*/ 1379622 h 3411233"/>
                    <a:gd name="connsiteX71" fmla="*/ 589669 w 1919462"/>
                    <a:gd name="connsiteY71" fmla="*/ 1392830 h 3411233"/>
                    <a:gd name="connsiteX72" fmla="*/ 623889 w 1919462"/>
                    <a:gd name="connsiteY72" fmla="*/ 1406038 h 3411233"/>
                    <a:gd name="connsiteX73" fmla="*/ 656909 w 1919462"/>
                    <a:gd name="connsiteY73" fmla="*/ 1420447 h 3411233"/>
                    <a:gd name="connsiteX74" fmla="*/ 658110 w 1919462"/>
                    <a:gd name="connsiteY74" fmla="*/ 1458870 h 3411233"/>
                    <a:gd name="connsiteX75" fmla="*/ 658710 w 1919462"/>
                    <a:gd name="connsiteY75" fmla="*/ 1497293 h 3411233"/>
                    <a:gd name="connsiteX76" fmla="*/ 658710 w 1919462"/>
                    <a:gd name="connsiteY76" fmla="*/ 1547723 h 3411233"/>
                    <a:gd name="connsiteX77" fmla="*/ 657509 w 1919462"/>
                    <a:gd name="connsiteY77" fmla="*/ 1595752 h 3411233"/>
                    <a:gd name="connsiteX78" fmla="*/ 655108 w 1919462"/>
                    <a:gd name="connsiteY78" fmla="*/ 1643780 h 3411233"/>
                    <a:gd name="connsiteX79" fmla="*/ 652707 w 1919462"/>
                    <a:gd name="connsiteY79" fmla="*/ 1690608 h 3411233"/>
                    <a:gd name="connsiteX80" fmla="*/ 652093 w 1919462"/>
                    <a:gd name="connsiteY80" fmla="*/ 1689953 h 3411233"/>
                    <a:gd name="connsiteX81" fmla="*/ 647908 w 1919462"/>
                    <a:gd name="connsiteY81" fmla="*/ 1744994 h 3411233"/>
                    <a:gd name="connsiteX82" fmla="*/ 642507 w 1919462"/>
                    <a:gd name="connsiteY82" fmla="*/ 1799042 h 3411233"/>
                    <a:gd name="connsiteX83" fmla="*/ 638088 w 1919462"/>
                    <a:gd name="connsiteY83" fmla="*/ 1835228 h 3411233"/>
                    <a:gd name="connsiteX84" fmla="*/ 647303 w 1919462"/>
                    <a:gd name="connsiteY84" fmla="*/ 1829546 h 3411233"/>
                    <a:gd name="connsiteX85" fmla="*/ 710941 w 1919462"/>
                    <a:gd name="connsiteY85" fmla="*/ 1791188 h 3411233"/>
                    <a:gd name="connsiteX86" fmla="*/ 776981 w 1919462"/>
                    <a:gd name="connsiteY86" fmla="*/ 1752232 h 3411233"/>
                    <a:gd name="connsiteX87" fmla="*/ 846622 w 1919462"/>
                    <a:gd name="connsiteY87" fmla="*/ 1712077 h 3411233"/>
                    <a:gd name="connsiteX88" fmla="*/ 994911 w 1919462"/>
                    <a:gd name="connsiteY88" fmla="*/ 1628170 h 3411233"/>
                    <a:gd name="connsiteX89" fmla="*/ 1023728 w 1919462"/>
                    <a:gd name="connsiteY89" fmla="*/ 1656938 h 3411233"/>
                    <a:gd name="connsiteX90" fmla="*/ 873038 w 1919462"/>
                    <a:gd name="connsiteY90" fmla="*/ 1742642 h 3411233"/>
                    <a:gd name="connsiteX91" fmla="*/ 803396 w 1919462"/>
                    <a:gd name="connsiteY91" fmla="*/ 1782198 h 3411233"/>
                    <a:gd name="connsiteX92" fmla="*/ 736757 w 1919462"/>
                    <a:gd name="connsiteY92" fmla="*/ 1821754 h 3411233"/>
                    <a:gd name="connsiteX93" fmla="*/ 671918 w 1919462"/>
                    <a:gd name="connsiteY93" fmla="*/ 1860711 h 3411233"/>
                    <a:gd name="connsiteX94" fmla="*/ 631332 w 1919462"/>
                    <a:gd name="connsiteY94" fmla="*/ 1886280 h 3411233"/>
                    <a:gd name="connsiteX95" fmla="*/ 628705 w 1919462"/>
                    <a:gd name="connsiteY95" fmla="*/ 1905337 h 3411233"/>
                    <a:gd name="connsiteX96" fmla="*/ 620304 w 1919462"/>
                    <a:gd name="connsiteY96" fmla="*/ 1958184 h 3411233"/>
                    <a:gd name="connsiteX97" fmla="*/ 610703 w 1919462"/>
                    <a:gd name="connsiteY97" fmla="*/ 2010430 h 3411233"/>
                    <a:gd name="connsiteX98" fmla="*/ 600502 w 1919462"/>
                    <a:gd name="connsiteY98" fmla="*/ 2062677 h 3411233"/>
                    <a:gd name="connsiteX99" fmla="*/ 589100 w 1919462"/>
                    <a:gd name="connsiteY99" fmla="*/ 2115524 h 3411233"/>
                    <a:gd name="connsiteX100" fmla="*/ 584385 w 1919462"/>
                    <a:gd name="connsiteY100" fmla="*/ 2136522 h 3411233"/>
                    <a:gd name="connsiteX101" fmla="*/ 587032 w 1919462"/>
                    <a:gd name="connsiteY101" fmla="*/ 2138474 h 3411233"/>
                    <a:gd name="connsiteX102" fmla="*/ 618222 w 1919462"/>
                    <a:gd name="connsiteY102" fmla="*/ 2160687 h 3411233"/>
                    <a:gd name="connsiteX103" fmla="*/ 665606 w 1919462"/>
                    <a:gd name="connsiteY103" fmla="*/ 2192506 h 3411233"/>
                    <a:gd name="connsiteX104" fmla="*/ 693796 w 1919462"/>
                    <a:gd name="connsiteY104" fmla="*/ 2211117 h 3411233"/>
                    <a:gd name="connsiteX105" fmla="*/ 723786 w 1919462"/>
                    <a:gd name="connsiteY105" fmla="*/ 2230329 h 3411233"/>
                    <a:gd name="connsiteX106" fmla="*/ 755576 w 1919462"/>
                    <a:gd name="connsiteY106" fmla="*/ 2250141 h 3411233"/>
                    <a:gd name="connsiteX107" fmla="*/ 788564 w 1919462"/>
                    <a:gd name="connsiteY107" fmla="*/ 2269352 h 3411233"/>
                    <a:gd name="connsiteX108" fmla="*/ 822153 w 1919462"/>
                    <a:gd name="connsiteY108" fmla="*/ 2287963 h 3411233"/>
                    <a:gd name="connsiteX109" fmla="*/ 855742 w 1919462"/>
                    <a:gd name="connsiteY109" fmla="*/ 2305374 h 3411233"/>
                    <a:gd name="connsiteX110" fmla="*/ 872536 w 1919462"/>
                    <a:gd name="connsiteY110" fmla="*/ 2312578 h 3411233"/>
                    <a:gd name="connsiteX111" fmla="*/ 888731 w 1919462"/>
                    <a:gd name="connsiteY111" fmla="*/ 2320382 h 3411233"/>
                    <a:gd name="connsiteX112" fmla="*/ 904925 w 1919462"/>
                    <a:gd name="connsiteY112" fmla="*/ 2327587 h 3411233"/>
                    <a:gd name="connsiteX113" fmla="*/ 920520 w 1919462"/>
                    <a:gd name="connsiteY113" fmla="*/ 2333590 h 3411233"/>
                    <a:gd name="connsiteX114" fmla="*/ 936115 w 1919462"/>
                    <a:gd name="connsiteY114" fmla="*/ 2338393 h 3411233"/>
                    <a:gd name="connsiteX115" fmla="*/ 951110 w 1919462"/>
                    <a:gd name="connsiteY115" fmla="*/ 2343196 h 3411233"/>
                    <a:gd name="connsiteX116" fmla="*/ 966105 w 1919462"/>
                    <a:gd name="connsiteY116" fmla="*/ 2347399 h 3411233"/>
                    <a:gd name="connsiteX117" fmla="*/ 979300 w 1919462"/>
                    <a:gd name="connsiteY117" fmla="*/ 2350400 h 3411233"/>
                    <a:gd name="connsiteX118" fmla="*/ 958129 w 1919462"/>
                    <a:gd name="connsiteY118" fmla="*/ 2450519 h 3411233"/>
                    <a:gd name="connsiteX119" fmla="*/ 1865451 w 1919462"/>
                    <a:gd name="connsiteY119" fmla="*/ 3116458 h 3411233"/>
                    <a:gd name="connsiteX120" fmla="*/ 1870852 w 1919462"/>
                    <a:gd name="connsiteY120" fmla="*/ 3120660 h 3411233"/>
                    <a:gd name="connsiteX121" fmla="*/ 1878054 w 1919462"/>
                    <a:gd name="connsiteY121" fmla="*/ 3127264 h 3411233"/>
                    <a:gd name="connsiteX122" fmla="*/ 1886455 w 1919462"/>
                    <a:gd name="connsiteY122" fmla="*/ 3136269 h 3411233"/>
                    <a:gd name="connsiteX123" fmla="*/ 1891256 w 1919462"/>
                    <a:gd name="connsiteY123" fmla="*/ 3142273 h 3411233"/>
                    <a:gd name="connsiteX124" fmla="*/ 1896057 w 1919462"/>
                    <a:gd name="connsiteY124" fmla="*/ 3148277 h 3411233"/>
                    <a:gd name="connsiteX125" fmla="*/ 1900258 w 1919462"/>
                    <a:gd name="connsiteY125" fmla="*/ 3154881 h 3411233"/>
                    <a:gd name="connsiteX126" fmla="*/ 1904459 w 1919462"/>
                    <a:gd name="connsiteY126" fmla="*/ 3162085 h 3411233"/>
                    <a:gd name="connsiteX127" fmla="*/ 1908660 w 1919462"/>
                    <a:gd name="connsiteY127" fmla="*/ 3170490 h 3411233"/>
                    <a:gd name="connsiteX128" fmla="*/ 1912261 w 1919462"/>
                    <a:gd name="connsiteY128" fmla="*/ 3178895 h 3411233"/>
                    <a:gd name="connsiteX129" fmla="*/ 1915261 w 1919462"/>
                    <a:gd name="connsiteY129" fmla="*/ 3187900 h 3411233"/>
                    <a:gd name="connsiteX130" fmla="*/ 1917662 w 1919462"/>
                    <a:gd name="connsiteY130" fmla="*/ 3197506 h 3411233"/>
                    <a:gd name="connsiteX131" fmla="*/ 1918862 w 1919462"/>
                    <a:gd name="connsiteY131" fmla="*/ 3207712 h 3411233"/>
                    <a:gd name="connsiteX132" fmla="*/ 1919462 w 1919462"/>
                    <a:gd name="connsiteY132" fmla="*/ 3217918 h 3411233"/>
                    <a:gd name="connsiteX133" fmla="*/ 1919462 w 1919462"/>
                    <a:gd name="connsiteY133" fmla="*/ 3411233 h 3411233"/>
                    <a:gd name="connsiteX134" fmla="*/ 1894857 w 1919462"/>
                    <a:gd name="connsiteY134" fmla="*/ 3411233 h 3411233"/>
                    <a:gd name="connsiteX135" fmla="*/ 1894856 w 1919462"/>
                    <a:gd name="connsiteY135" fmla="*/ 3411232 h 3411233"/>
                    <a:gd name="connsiteX136" fmla="*/ 1621083 w 1919462"/>
                    <a:gd name="connsiteY136" fmla="*/ 3411232 h 3411233"/>
                    <a:gd name="connsiteX137" fmla="*/ 875876 w 1919462"/>
                    <a:gd name="connsiteY137" fmla="*/ 2839494 h 3411233"/>
                    <a:gd name="connsiteX138" fmla="*/ 754976 w 1919462"/>
                    <a:gd name="connsiteY138" fmla="*/ 3411232 h 3411233"/>
                    <a:gd name="connsiteX139" fmla="*/ 683000 w 1919462"/>
                    <a:gd name="connsiteY139" fmla="*/ 3411232 h 3411233"/>
                    <a:gd name="connsiteX140" fmla="*/ 686599 w 1919462"/>
                    <a:gd name="connsiteY140" fmla="*/ 3377612 h 3411233"/>
                    <a:gd name="connsiteX141" fmla="*/ 690198 w 1919462"/>
                    <a:gd name="connsiteY141" fmla="*/ 3339189 h 3411233"/>
                    <a:gd name="connsiteX142" fmla="*/ 693197 w 1919462"/>
                    <a:gd name="connsiteY142" fmla="*/ 3288159 h 3411233"/>
                    <a:gd name="connsiteX143" fmla="*/ 694996 w 1919462"/>
                    <a:gd name="connsiteY143" fmla="*/ 3259342 h 3411233"/>
                    <a:gd name="connsiteX144" fmla="*/ 696196 w 1919462"/>
                    <a:gd name="connsiteY144" fmla="*/ 3228723 h 3411233"/>
                    <a:gd name="connsiteX145" fmla="*/ 696795 w 1919462"/>
                    <a:gd name="connsiteY145" fmla="*/ 3195103 h 3411233"/>
                    <a:gd name="connsiteX146" fmla="*/ 697395 w 1919462"/>
                    <a:gd name="connsiteY146" fmla="*/ 3160283 h 3411233"/>
                    <a:gd name="connsiteX147" fmla="*/ 697395 w 1919462"/>
                    <a:gd name="connsiteY147" fmla="*/ 3124862 h 3411233"/>
                    <a:gd name="connsiteX148" fmla="*/ 696795 w 1919462"/>
                    <a:gd name="connsiteY148" fmla="*/ 3087640 h 3411233"/>
                    <a:gd name="connsiteX149" fmla="*/ 694996 w 1919462"/>
                    <a:gd name="connsiteY149" fmla="*/ 3049817 h 3411233"/>
                    <a:gd name="connsiteX150" fmla="*/ 692597 w 1919462"/>
                    <a:gd name="connsiteY150" fmla="*/ 3010794 h 3411233"/>
                    <a:gd name="connsiteX151" fmla="*/ 689598 w 1919462"/>
                    <a:gd name="connsiteY151" fmla="*/ 2972971 h 3411233"/>
                    <a:gd name="connsiteX152" fmla="*/ 685399 w 1919462"/>
                    <a:gd name="connsiteY152" fmla="*/ 2933948 h 3411233"/>
                    <a:gd name="connsiteX153" fmla="*/ 680001 w 1919462"/>
                    <a:gd name="connsiteY153" fmla="*/ 2895525 h 3411233"/>
                    <a:gd name="connsiteX154" fmla="*/ 673403 w 1919462"/>
                    <a:gd name="connsiteY154" fmla="*/ 2857703 h 3411233"/>
                    <a:gd name="connsiteX155" fmla="*/ 669804 w 1919462"/>
                    <a:gd name="connsiteY155" fmla="*/ 2838491 h 3411233"/>
                    <a:gd name="connsiteX156" fmla="*/ 665606 w 1919462"/>
                    <a:gd name="connsiteY156" fmla="*/ 2821081 h 3411233"/>
                    <a:gd name="connsiteX157" fmla="*/ 660807 w 1919462"/>
                    <a:gd name="connsiteY157" fmla="*/ 2802470 h 3411233"/>
                    <a:gd name="connsiteX158" fmla="*/ 656009 w 1919462"/>
                    <a:gd name="connsiteY158" fmla="*/ 2784459 h 3411233"/>
                    <a:gd name="connsiteX159" fmla="*/ 651211 w 1919462"/>
                    <a:gd name="connsiteY159" fmla="*/ 2767049 h 3411233"/>
                    <a:gd name="connsiteX160" fmla="*/ 645813 w 1919462"/>
                    <a:gd name="connsiteY160" fmla="*/ 2749638 h 3411233"/>
                    <a:gd name="connsiteX161" fmla="*/ 639215 w 1919462"/>
                    <a:gd name="connsiteY161" fmla="*/ 2733428 h 3411233"/>
                    <a:gd name="connsiteX162" fmla="*/ 633217 w 1919462"/>
                    <a:gd name="connsiteY162" fmla="*/ 2717219 h 3411233"/>
                    <a:gd name="connsiteX163" fmla="*/ 626619 w 1919462"/>
                    <a:gd name="connsiteY163" fmla="*/ 2701009 h 3411233"/>
                    <a:gd name="connsiteX164" fmla="*/ 618822 w 1919462"/>
                    <a:gd name="connsiteY164" fmla="*/ 2685400 h 3411233"/>
                    <a:gd name="connsiteX165" fmla="*/ 611624 w 1919462"/>
                    <a:gd name="connsiteY165" fmla="*/ 2670991 h 3411233"/>
                    <a:gd name="connsiteX166" fmla="*/ 603827 w 1919462"/>
                    <a:gd name="connsiteY166" fmla="*/ 2656583 h 3411233"/>
                    <a:gd name="connsiteX167" fmla="*/ 594830 w 1919462"/>
                    <a:gd name="connsiteY167" fmla="*/ 2642774 h 3411233"/>
                    <a:gd name="connsiteX168" fmla="*/ 585833 w 1919462"/>
                    <a:gd name="connsiteY168" fmla="*/ 2630167 h 3411233"/>
                    <a:gd name="connsiteX169" fmla="*/ 576236 w 1919462"/>
                    <a:gd name="connsiteY169" fmla="*/ 2617559 h 3411233"/>
                    <a:gd name="connsiteX170" fmla="*/ 566039 w 1919462"/>
                    <a:gd name="connsiteY170" fmla="*/ 2606153 h 3411233"/>
                    <a:gd name="connsiteX171" fmla="*/ 555843 w 1919462"/>
                    <a:gd name="connsiteY171" fmla="*/ 2594746 h 3411233"/>
                    <a:gd name="connsiteX172" fmla="*/ 545421 w 1919462"/>
                    <a:gd name="connsiteY172" fmla="*/ 2585961 h 3411233"/>
                    <a:gd name="connsiteX173" fmla="*/ 520433 w 1919462"/>
                    <a:gd name="connsiteY173" fmla="*/ 2566790 h 3411233"/>
                    <a:gd name="connsiteX174" fmla="*/ 507859 w 1919462"/>
                    <a:gd name="connsiteY174" fmla="*/ 2559925 h 3411233"/>
                    <a:gd name="connsiteX175" fmla="*/ 495263 w 1919462"/>
                    <a:gd name="connsiteY175" fmla="*/ 2552721 h 3411233"/>
                    <a:gd name="connsiteX176" fmla="*/ 480868 w 1919462"/>
                    <a:gd name="connsiteY176" fmla="*/ 2546717 h 3411233"/>
                    <a:gd name="connsiteX177" fmla="*/ 477627 w 1919462"/>
                    <a:gd name="connsiteY177" fmla="*/ 2545636 h 3411233"/>
                    <a:gd name="connsiteX178" fmla="*/ 467885 w 1919462"/>
                    <a:gd name="connsiteY178" fmla="*/ 2580337 h 3411233"/>
                    <a:gd name="connsiteX179" fmla="*/ 467478 w 1919462"/>
                    <a:gd name="connsiteY179" fmla="*/ 2580337 h 3411233"/>
                    <a:gd name="connsiteX180" fmla="*/ 467197 w 1919462"/>
                    <a:gd name="connsiteY180" fmla="*/ 2581991 h 3411233"/>
                    <a:gd name="connsiteX181" fmla="*/ 465996 w 1919462"/>
                    <a:gd name="connsiteY181" fmla="*/ 2584353 h 3411233"/>
                    <a:gd name="connsiteX182" fmla="*/ 462992 w 1919462"/>
                    <a:gd name="connsiteY182" fmla="*/ 2586125 h 3411233"/>
                    <a:gd name="connsiteX183" fmla="*/ 458787 w 1919462"/>
                    <a:gd name="connsiteY183" fmla="*/ 2588487 h 3411233"/>
                    <a:gd name="connsiteX184" fmla="*/ 453981 w 1919462"/>
                    <a:gd name="connsiteY184" fmla="*/ 2590259 h 3411233"/>
                    <a:gd name="connsiteX185" fmla="*/ 447973 w 1919462"/>
                    <a:gd name="connsiteY185" fmla="*/ 2592030 h 3411233"/>
                    <a:gd name="connsiteX186" fmla="*/ 432354 w 1919462"/>
                    <a:gd name="connsiteY186" fmla="*/ 2595573 h 3411233"/>
                    <a:gd name="connsiteX187" fmla="*/ 413130 w 1919462"/>
                    <a:gd name="connsiteY187" fmla="*/ 2598526 h 3411233"/>
                    <a:gd name="connsiteX188" fmla="*/ 389700 w 1919462"/>
                    <a:gd name="connsiteY188" fmla="*/ 2600888 h 3411233"/>
                    <a:gd name="connsiteX189" fmla="*/ 363868 w 1919462"/>
                    <a:gd name="connsiteY189" fmla="*/ 2603250 h 3411233"/>
                    <a:gd name="connsiteX190" fmla="*/ 333230 w 1919462"/>
                    <a:gd name="connsiteY190" fmla="*/ 2605022 h 3411233"/>
                    <a:gd name="connsiteX191" fmla="*/ 301390 w 1919462"/>
                    <a:gd name="connsiteY191" fmla="*/ 2606203 h 3411233"/>
                    <a:gd name="connsiteX192" fmla="*/ 265345 w 1919462"/>
                    <a:gd name="connsiteY192" fmla="*/ 2607384 h 3411233"/>
                    <a:gd name="connsiteX193" fmla="*/ 205351 w 1919462"/>
                    <a:gd name="connsiteY193" fmla="*/ 2608291 h 3411233"/>
                    <a:gd name="connsiteX194" fmla="*/ 268478 w 1919462"/>
                    <a:gd name="connsiteY194" fmla="*/ 2954960 h 3411233"/>
                    <a:gd name="connsiteX195" fmla="*/ 327912 w 1919462"/>
                    <a:gd name="connsiteY195" fmla="*/ 2954960 h 3411233"/>
                    <a:gd name="connsiteX196" fmla="*/ 335717 w 1919462"/>
                    <a:gd name="connsiteY196" fmla="*/ 3087039 h 3411233"/>
                    <a:gd name="connsiteX197" fmla="*/ 48747 w 1919462"/>
                    <a:gd name="connsiteY197" fmla="*/ 3087039 h 3411233"/>
                    <a:gd name="connsiteX198" fmla="*/ 48747 w 1919462"/>
                    <a:gd name="connsiteY198" fmla="*/ 3411232 h 3411233"/>
                    <a:gd name="connsiteX199" fmla="*/ 0 w 1919462"/>
                    <a:gd name="connsiteY199" fmla="*/ 3411232 h 3411233"/>
                    <a:gd name="connsiteX200" fmla="*/ 0 w 1919462"/>
                    <a:gd name="connsiteY200" fmla="*/ 14761 h 3411233"/>
                    <a:gd name="connsiteX201" fmla="*/ 5828 w 1919462"/>
                    <a:gd name="connsiteY201" fmla="*/ 7821 h 3411233"/>
                    <a:gd name="connsiteX202" fmla="*/ 12427 w 1919462"/>
                    <a:gd name="connsiteY202" fmla="*/ 0 h 3411233"/>
                    <a:gd name="connsiteX203" fmla="*/ 610326 w 1919462"/>
                    <a:gd name="connsiteY203" fmla="*/ 1651797 h 3411233"/>
                    <a:gd name="connsiteX204" fmla="*/ 615504 w 1919462"/>
                    <a:gd name="connsiteY204" fmla="*/ 1656115 h 3411233"/>
                    <a:gd name="connsiteX205" fmla="*/ 617909 w 1919462"/>
                    <a:gd name="connsiteY205" fmla="*/ 1657956 h 3411233"/>
                    <a:gd name="connsiteX206" fmla="*/ 612483 w 1919462"/>
                    <a:gd name="connsiteY206" fmla="*/ 1653386 h 3411233"/>
                    <a:gd name="connsiteX207" fmla="*/ 610326 w 1919462"/>
                    <a:gd name="connsiteY207" fmla="*/ 1651797 h 3411233"/>
                    <a:gd name="connsiteX208" fmla="*/ 630820 w 1919462"/>
                    <a:gd name="connsiteY208" fmla="*/ 1668699 h 3411233"/>
                    <a:gd name="connsiteX209" fmla="*/ 634706 w 1919462"/>
                    <a:gd name="connsiteY209" fmla="*/ 1672329 h 3411233"/>
                    <a:gd name="connsiteX210" fmla="*/ 639912 w 1919462"/>
                    <a:gd name="connsiteY210" fmla="*/ 1677213 h 3411233"/>
                    <a:gd name="connsiteX211" fmla="*/ 634095 w 1919462"/>
                    <a:gd name="connsiteY211" fmla="*/ 1671397 h 3411233"/>
                    <a:gd name="connsiteX212" fmla="*/ 630820 w 1919462"/>
                    <a:gd name="connsiteY212" fmla="*/ 1668699 h 3411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1919462" h="3411233">
                      <a:moveTo>
                        <a:pt x="12427" y="0"/>
                      </a:moveTo>
                      <a:lnTo>
                        <a:pt x="19626" y="7821"/>
                      </a:lnTo>
                      <a:lnTo>
                        <a:pt x="38823" y="30681"/>
                      </a:lnTo>
                      <a:lnTo>
                        <a:pt x="68818" y="67377"/>
                      </a:lnTo>
                      <a:lnTo>
                        <a:pt x="87415" y="90838"/>
                      </a:lnTo>
                      <a:lnTo>
                        <a:pt x="107811" y="117909"/>
                      </a:lnTo>
                      <a:lnTo>
                        <a:pt x="130007" y="147988"/>
                      </a:lnTo>
                      <a:lnTo>
                        <a:pt x="154003" y="180473"/>
                      </a:lnTo>
                      <a:lnTo>
                        <a:pt x="179199" y="215966"/>
                      </a:lnTo>
                      <a:lnTo>
                        <a:pt x="205595" y="254466"/>
                      </a:lnTo>
                      <a:lnTo>
                        <a:pt x="233790" y="295975"/>
                      </a:lnTo>
                      <a:lnTo>
                        <a:pt x="261986" y="339289"/>
                      </a:lnTo>
                      <a:lnTo>
                        <a:pt x="290181" y="385008"/>
                      </a:lnTo>
                      <a:lnTo>
                        <a:pt x="320176" y="433134"/>
                      </a:lnTo>
                      <a:lnTo>
                        <a:pt x="342372" y="471635"/>
                      </a:lnTo>
                      <a:lnTo>
                        <a:pt x="364568" y="510737"/>
                      </a:lnTo>
                      <a:lnTo>
                        <a:pt x="386765" y="551644"/>
                      </a:lnTo>
                      <a:lnTo>
                        <a:pt x="408222" y="591771"/>
                      </a:lnTo>
                      <a:lnTo>
                        <a:pt x="409077" y="591968"/>
                      </a:lnTo>
                      <a:lnTo>
                        <a:pt x="431880" y="637609"/>
                      </a:lnTo>
                      <a:lnTo>
                        <a:pt x="454083" y="684450"/>
                      </a:lnTo>
                      <a:lnTo>
                        <a:pt x="476286" y="731893"/>
                      </a:lnTo>
                      <a:lnTo>
                        <a:pt x="497288" y="779935"/>
                      </a:lnTo>
                      <a:lnTo>
                        <a:pt x="517691" y="829179"/>
                      </a:lnTo>
                      <a:lnTo>
                        <a:pt x="536894" y="880225"/>
                      </a:lnTo>
                      <a:lnTo>
                        <a:pt x="555496" y="930669"/>
                      </a:lnTo>
                      <a:lnTo>
                        <a:pt x="572298" y="982916"/>
                      </a:lnTo>
                      <a:lnTo>
                        <a:pt x="588500" y="1035763"/>
                      </a:lnTo>
                      <a:lnTo>
                        <a:pt x="595701" y="1062186"/>
                      </a:lnTo>
                      <a:lnTo>
                        <a:pt x="603502" y="1088610"/>
                      </a:lnTo>
                      <a:lnTo>
                        <a:pt x="610103" y="1116235"/>
                      </a:lnTo>
                      <a:lnTo>
                        <a:pt x="616104" y="1142658"/>
                      </a:lnTo>
                      <a:lnTo>
                        <a:pt x="622705" y="1169682"/>
                      </a:lnTo>
                      <a:lnTo>
                        <a:pt x="628105" y="1197307"/>
                      </a:lnTo>
                      <a:lnTo>
                        <a:pt x="632906" y="1224931"/>
                      </a:lnTo>
                      <a:lnTo>
                        <a:pt x="637707" y="1252556"/>
                      </a:lnTo>
                      <a:lnTo>
                        <a:pt x="642507" y="1279580"/>
                      </a:lnTo>
                      <a:lnTo>
                        <a:pt x="646108" y="1307204"/>
                      </a:lnTo>
                      <a:lnTo>
                        <a:pt x="649108" y="1335430"/>
                      </a:lnTo>
                      <a:lnTo>
                        <a:pt x="652109" y="1363054"/>
                      </a:lnTo>
                      <a:lnTo>
                        <a:pt x="654509" y="1391279"/>
                      </a:lnTo>
                      <a:lnTo>
                        <a:pt x="656309" y="1419504"/>
                      </a:lnTo>
                      <a:lnTo>
                        <a:pt x="626905" y="1406893"/>
                      </a:lnTo>
                      <a:lnTo>
                        <a:pt x="596301" y="1394282"/>
                      </a:lnTo>
                      <a:lnTo>
                        <a:pt x="565097" y="1382872"/>
                      </a:lnTo>
                      <a:lnTo>
                        <a:pt x="532693" y="1371462"/>
                      </a:lnTo>
                      <a:lnTo>
                        <a:pt x="500289" y="1360652"/>
                      </a:lnTo>
                      <a:lnTo>
                        <a:pt x="466084" y="1349842"/>
                      </a:lnTo>
                      <a:lnTo>
                        <a:pt x="431880" y="1340234"/>
                      </a:lnTo>
                      <a:lnTo>
                        <a:pt x="396475" y="1331226"/>
                      </a:lnTo>
                      <a:lnTo>
                        <a:pt x="359871" y="1322218"/>
                      </a:lnTo>
                      <a:lnTo>
                        <a:pt x="323266" y="1315011"/>
                      </a:lnTo>
                      <a:lnTo>
                        <a:pt x="286061" y="1307204"/>
                      </a:lnTo>
                      <a:lnTo>
                        <a:pt x="247656" y="1301199"/>
                      </a:lnTo>
                      <a:lnTo>
                        <a:pt x="208651" y="1295794"/>
                      </a:lnTo>
                      <a:lnTo>
                        <a:pt x="170246" y="1291591"/>
                      </a:lnTo>
                      <a:lnTo>
                        <a:pt x="130041" y="1287987"/>
                      </a:lnTo>
                      <a:lnTo>
                        <a:pt x="89836" y="1284985"/>
                      </a:lnTo>
                      <a:lnTo>
                        <a:pt x="89836" y="1285985"/>
                      </a:lnTo>
                      <a:lnTo>
                        <a:pt x="104580" y="1286567"/>
                      </a:lnTo>
                      <a:lnTo>
                        <a:pt x="149607" y="1290169"/>
                      </a:lnTo>
                      <a:lnTo>
                        <a:pt x="193433" y="1294972"/>
                      </a:lnTo>
                      <a:lnTo>
                        <a:pt x="237259" y="1300375"/>
                      </a:lnTo>
                      <a:lnTo>
                        <a:pt x="279884" y="1306979"/>
                      </a:lnTo>
                      <a:lnTo>
                        <a:pt x="321909" y="1315384"/>
                      </a:lnTo>
                      <a:lnTo>
                        <a:pt x="363334" y="1323789"/>
                      </a:lnTo>
                      <a:lnTo>
                        <a:pt x="402958" y="1333995"/>
                      </a:lnTo>
                      <a:lnTo>
                        <a:pt x="441981" y="1344201"/>
                      </a:lnTo>
                      <a:lnTo>
                        <a:pt x="481004" y="1355608"/>
                      </a:lnTo>
                      <a:lnTo>
                        <a:pt x="518226" y="1367015"/>
                      </a:lnTo>
                      <a:lnTo>
                        <a:pt x="554248" y="1379622"/>
                      </a:lnTo>
                      <a:lnTo>
                        <a:pt x="589669" y="1392830"/>
                      </a:lnTo>
                      <a:lnTo>
                        <a:pt x="623889" y="1406038"/>
                      </a:lnTo>
                      <a:lnTo>
                        <a:pt x="656909" y="1420447"/>
                      </a:lnTo>
                      <a:lnTo>
                        <a:pt x="658110" y="1458870"/>
                      </a:lnTo>
                      <a:lnTo>
                        <a:pt x="658710" y="1497293"/>
                      </a:lnTo>
                      <a:lnTo>
                        <a:pt x="658710" y="1547723"/>
                      </a:lnTo>
                      <a:lnTo>
                        <a:pt x="657509" y="1595752"/>
                      </a:lnTo>
                      <a:lnTo>
                        <a:pt x="655108" y="1643780"/>
                      </a:lnTo>
                      <a:lnTo>
                        <a:pt x="652707" y="1690608"/>
                      </a:lnTo>
                      <a:lnTo>
                        <a:pt x="652093" y="1689953"/>
                      </a:lnTo>
                      <a:lnTo>
                        <a:pt x="647908" y="1744994"/>
                      </a:lnTo>
                      <a:lnTo>
                        <a:pt x="642507" y="1799042"/>
                      </a:lnTo>
                      <a:lnTo>
                        <a:pt x="638088" y="1835228"/>
                      </a:lnTo>
                      <a:lnTo>
                        <a:pt x="647303" y="1829546"/>
                      </a:lnTo>
                      <a:lnTo>
                        <a:pt x="710941" y="1791188"/>
                      </a:lnTo>
                      <a:lnTo>
                        <a:pt x="776981" y="1752232"/>
                      </a:lnTo>
                      <a:lnTo>
                        <a:pt x="846622" y="1712077"/>
                      </a:lnTo>
                      <a:lnTo>
                        <a:pt x="994911" y="1628170"/>
                      </a:lnTo>
                      <a:lnTo>
                        <a:pt x="1023728" y="1656938"/>
                      </a:lnTo>
                      <a:lnTo>
                        <a:pt x="873038" y="1742642"/>
                      </a:lnTo>
                      <a:lnTo>
                        <a:pt x="803396" y="1782198"/>
                      </a:lnTo>
                      <a:lnTo>
                        <a:pt x="736757" y="1821754"/>
                      </a:lnTo>
                      <a:lnTo>
                        <a:pt x="671918" y="1860711"/>
                      </a:lnTo>
                      <a:lnTo>
                        <a:pt x="631332" y="1886280"/>
                      </a:lnTo>
                      <a:lnTo>
                        <a:pt x="628705" y="1905337"/>
                      </a:lnTo>
                      <a:lnTo>
                        <a:pt x="620304" y="1958184"/>
                      </a:lnTo>
                      <a:lnTo>
                        <a:pt x="610703" y="2010430"/>
                      </a:lnTo>
                      <a:lnTo>
                        <a:pt x="600502" y="2062677"/>
                      </a:lnTo>
                      <a:lnTo>
                        <a:pt x="589100" y="2115524"/>
                      </a:lnTo>
                      <a:lnTo>
                        <a:pt x="584385" y="2136522"/>
                      </a:lnTo>
                      <a:lnTo>
                        <a:pt x="587032" y="2138474"/>
                      </a:lnTo>
                      <a:lnTo>
                        <a:pt x="618222" y="2160687"/>
                      </a:lnTo>
                      <a:lnTo>
                        <a:pt x="665606" y="2192506"/>
                      </a:lnTo>
                      <a:lnTo>
                        <a:pt x="693796" y="2211117"/>
                      </a:lnTo>
                      <a:lnTo>
                        <a:pt x="723786" y="2230329"/>
                      </a:lnTo>
                      <a:lnTo>
                        <a:pt x="755576" y="2250141"/>
                      </a:lnTo>
                      <a:lnTo>
                        <a:pt x="788564" y="2269352"/>
                      </a:lnTo>
                      <a:lnTo>
                        <a:pt x="822153" y="2287963"/>
                      </a:lnTo>
                      <a:lnTo>
                        <a:pt x="855742" y="2305374"/>
                      </a:lnTo>
                      <a:lnTo>
                        <a:pt x="872536" y="2312578"/>
                      </a:lnTo>
                      <a:lnTo>
                        <a:pt x="888731" y="2320382"/>
                      </a:lnTo>
                      <a:lnTo>
                        <a:pt x="904925" y="2327587"/>
                      </a:lnTo>
                      <a:lnTo>
                        <a:pt x="920520" y="2333590"/>
                      </a:lnTo>
                      <a:lnTo>
                        <a:pt x="936115" y="2338393"/>
                      </a:lnTo>
                      <a:lnTo>
                        <a:pt x="951110" y="2343196"/>
                      </a:lnTo>
                      <a:lnTo>
                        <a:pt x="966105" y="2347399"/>
                      </a:lnTo>
                      <a:lnTo>
                        <a:pt x="979300" y="2350400"/>
                      </a:lnTo>
                      <a:lnTo>
                        <a:pt x="958129" y="2450519"/>
                      </a:lnTo>
                      <a:lnTo>
                        <a:pt x="1865451" y="3116458"/>
                      </a:lnTo>
                      <a:lnTo>
                        <a:pt x="1870852" y="3120660"/>
                      </a:lnTo>
                      <a:lnTo>
                        <a:pt x="1878054" y="3127264"/>
                      </a:lnTo>
                      <a:lnTo>
                        <a:pt x="1886455" y="3136269"/>
                      </a:lnTo>
                      <a:lnTo>
                        <a:pt x="1891256" y="3142273"/>
                      </a:lnTo>
                      <a:lnTo>
                        <a:pt x="1896057" y="3148277"/>
                      </a:lnTo>
                      <a:lnTo>
                        <a:pt x="1900258" y="3154881"/>
                      </a:lnTo>
                      <a:lnTo>
                        <a:pt x="1904459" y="3162085"/>
                      </a:lnTo>
                      <a:lnTo>
                        <a:pt x="1908660" y="3170490"/>
                      </a:lnTo>
                      <a:lnTo>
                        <a:pt x="1912261" y="3178895"/>
                      </a:lnTo>
                      <a:lnTo>
                        <a:pt x="1915261" y="3187900"/>
                      </a:lnTo>
                      <a:lnTo>
                        <a:pt x="1917662" y="3197506"/>
                      </a:lnTo>
                      <a:lnTo>
                        <a:pt x="1918862" y="3207712"/>
                      </a:lnTo>
                      <a:lnTo>
                        <a:pt x="1919462" y="3217918"/>
                      </a:lnTo>
                      <a:lnTo>
                        <a:pt x="1919462" y="3411233"/>
                      </a:lnTo>
                      <a:lnTo>
                        <a:pt x="1894857" y="3411233"/>
                      </a:lnTo>
                      <a:lnTo>
                        <a:pt x="1894856" y="3411232"/>
                      </a:lnTo>
                      <a:lnTo>
                        <a:pt x="1621083" y="3411232"/>
                      </a:lnTo>
                      <a:lnTo>
                        <a:pt x="875876" y="2839494"/>
                      </a:lnTo>
                      <a:lnTo>
                        <a:pt x="754976" y="3411232"/>
                      </a:lnTo>
                      <a:lnTo>
                        <a:pt x="683000" y="3411232"/>
                      </a:lnTo>
                      <a:lnTo>
                        <a:pt x="686599" y="3377612"/>
                      </a:lnTo>
                      <a:lnTo>
                        <a:pt x="690198" y="3339189"/>
                      </a:lnTo>
                      <a:lnTo>
                        <a:pt x="693197" y="3288159"/>
                      </a:lnTo>
                      <a:lnTo>
                        <a:pt x="694996" y="3259342"/>
                      </a:lnTo>
                      <a:lnTo>
                        <a:pt x="696196" y="3228723"/>
                      </a:lnTo>
                      <a:lnTo>
                        <a:pt x="696795" y="3195103"/>
                      </a:lnTo>
                      <a:lnTo>
                        <a:pt x="697395" y="3160283"/>
                      </a:lnTo>
                      <a:lnTo>
                        <a:pt x="697395" y="3124862"/>
                      </a:lnTo>
                      <a:lnTo>
                        <a:pt x="696795" y="3087640"/>
                      </a:lnTo>
                      <a:lnTo>
                        <a:pt x="694996" y="3049817"/>
                      </a:lnTo>
                      <a:lnTo>
                        <a:pt x="692597" y="3010794"/>
                      </a:lnTo>
                      <a:lnTo>
                        <a:pt x="689598" y="2972971"/>
                      </a:lnTo>
                      <a:lnTo>
                        <a:pt x="685399" y="2933948"/>
                      </a:lnTo>
                      <a:lnTo>
                        <a:pt x="680001" y="2895525"/>
                      </a:lnTo>
                      <a:lnTo>
                        <a:pt x="673403" y="2857703"/>
                      </a:lnTo>
                      <a:lnTo>
                        <a:pt x="669804" y="2838491"/>
                      </a:lnTo>
                      <a:lnTo>
                        <a:pt x="665606" y="2821081"/>
                      </a:lnTo>
                      <a:lnTo>
                        <a:pt x="660807" y="2802470"/>
                      </a:lnTo>
                      <a:lnTo>
                        <a:pt x="656009" y="2784459"/>
                      </a:lnTo>
                      <a:lnTo>
                        <a:pt x="651211" y="2767049"/>
                      </a:lnTo>
                      <a:lnTo>
                        <a:pt x="645813" y="2749638"/>
                      </a:lnTo>
                      <a:lnTo>
                        <a:pt x="639215" y="2733428"/>
                      </a:lnTo>
                      <a:lnTo>
                        <a:pt x="633217" y="2717219"/>
                      </a:lnTo>
                      <a:lnTo>
                        <a:pt x="626619" y="2701009"/>
                      </a:lnTo>
                      <a:lnTo>
                        <a:pt x="618822" y="2685400"/>
                      </a:lnTo>
                      <a:lnTo>
                        <a:pt x="611624" y="2670991"/>
                      </a:lnTo>
                      <a:lnTo>
                        <a:pt x="603827" y="2656583"/>
                      </a:lnTo>
                      <a:lnTo>
                        <a:pt x="594830" y="2642774"/>
                      </a:lnTo>
                      <a:lnTo>
                        <a:pt x="585833" y="2630167"/>
                      </a:lnTo>
                      <a:lnTo>
                        <a:pt x="576236" y="2617559"/>
                      </a:lnTo>
                      <a:lnTo>
                        <a:pt x="566039" y="2606153"/>
                      </a:lnTo>
                      <a:lnTo>
                        <a:pt x="555843" y="2594746"/>
                      </a:lnTo>
                      <a:lnTo>
                        <a:pt x="545421" y="2585961"/>
                      </a:lnTo>
                      <a:lnTo>
                        <a:pt x="520433" y="2566790"/>
                      </a:lnTo>
                      <a:lnTo>
                        <a:pt x="507859" y="2559925"/>
                      </a:lnTo>
                      <a:lnTo>
                        <a:pt x="495263" y="2552721"/>
                      </a:lnTo>
                      <a:lnTo>
                        <a:pt x="480868" y="2546717"/>
                      </a:lnTo>
                      <a:lnTo>
                        <a:pt x="477627" y="2545636"/>
                      </a:lnTo>
                      <a:lnTo>
                        <a:pt x="467885" y="2580337"/>
                      </a:lnTo>
                      <a:lnTo>
                        <a:pt x="467478" y="2580337"/>
                      </a:lnTo>
                      <a:lnTo>
                        <a:pt x="467197" y="2581991"/>
                      </a:lnTo>
                      <a:lnTo>
                        <a:pt x="465996" y="2584353"/>
                      </a:lnTo>
                      <a:lnTo>
                        <a:pt x="462992" y="2586125"/>
                      </a:lnTo>
                      <a:lnTo>
                        <a:pt x="458787" y="2588487"/>
                      </a:lnTo>
                      <a:lnTo>
                        <a:pt x="453981" y="2590259"/>
                      </a:lnTo>
                      <a:lnTo>
                        <a:pt x="447973" y="2592030"/>
                      </a:lnTo>
                      <a:lnTo>
                        <a:pt x="432354" y="2595573"/>
                      </a:lnTo>
                      <a:lnTo>
                        <a:pt x="413130" y="2598526"/>
                      </a:lnTo>
                      <a:lnTo>
                        <a:pt x="389700" y="2600888"/>
                      </a:lnTo>
                      <a:lnTo>
                        <a:pt x="363868" y="2603250"/>
                      </a:lnTo>
                      <a:lnTo>
                        <a:pt x="333230" y="2605022"/>
                      </a:lnTo>
                      <a:lnTo>
                        <a:pt x="301390" y="2606203"/>
                      </a:lnTo>
                      <a:lnTo>
                        <a:pt x="265345" y="2607384"/>
                      </a:lnTo>
                      <a:lnTo>
                        <a:pt x="205351" y="2608291"/>
                      </a:lnTo>
                      <a:lnTo>
                        <a:pt x="268478" y="2954960"/>
                      </a:lnTo>
                      <a:lnTo>
                        <a:pt x="327912" y="2954960"/>
                      </a:lnTo>
                      <a:lnTo>
                        <a:pt x="335717" y="3087039"/>
                      </a:lnTo>
                      <a:lnTo>
                        <a:pt x="48747" y="3087039"/>
                      </a:lnTo>
                      <a:lnTo>
                        <a:pt x="48747" y="3411232"/>
                      </a:lnTo>
                      <a:lnTo>
                        <a:pt x="0" y="3411232"/>
                      </a:lnTo>
                      <a:lnTo>
                        <a:pt x="0" y="14761"/>
                      </a:lnTo>
                      <a:lnTo>
                        <a:pt x="5828" y="7821"/>
                      </a:lnTo>
                      <a:lnTo>
                        <a:pt x="12427" y="0"/>
                      </a:lnTo>
                      <a:close/>
                      <a:moveTo>
                        <a:pt x="610326" y="1651797"/>
                      </a:moveTo>
                      <a:lnTo>
                        <a:pt x="615504" y="1656115"/>
                      </a:lnTo>
                      <a:lnTo>
                        <a:pt x="617909" y="1657956"/>
                      </a:lnTo>
                      <a:lnTo>
                        <a:pt x="612483" y="1653386"/>
                      </a:lnTo>
                      <a:lnTo>
                        <a:pt x="610326" y="1651797"/>
                      </a:lnTo>
                      <a:close/>
                      <a:moveTo>
                        <a:pt x="630820" y="1668699"/>
                      </a:moveTo>
                      <a:lnTo>
                        <a:pt x="634706" y="1672329"/>
                      </a:lnTo>
                      <a:lnTo>
                        <a:pt x="639912" y="1677213"/>
                      </a:lnTo>
                      <a:lnTo>
                        <a:pt x="634095" y="1671397"/>
                      </a:lnTo>
                      <a:lnTo>
                        <a:pt x="630820" y="1668699"/>
                      </a:lnTo>
                      <a:close/>
                    </a:path>
                  </a:pathLst>
                </a:custGeom>
                <a:solidFill>
                  <a:schemeClr val="tx1">
                    <a:lumMod val="85000"/>
                    <a:lumOff val="15000"/>
                    <a:alpha val="10000"/>
                  </a:schemeClr>
                </a:solidFill>
                <a:ln>
                  <a:noFill/>
                </a:ln>
              </p:spPr>
              <p:txBody>
                <a:bodyPr vert="horz" wrap="square" lIns="91440" tIns="45720" rIns="91440" bIns="45720" numCol="1" anchor="t" anchorCtr="0" compatLnSpc="1">
                  <a:prstTxWarp prst="textNoShape">
                    <a:avLst/>
                  </a:prstTxWarp>
                  <a:noAutofit/>
                </a:bodyPr>
                <a:lstStyle/>
                <a:p>
                  <a:endParaRPr lang="ko-KR" altLang="en-US" sz="2400"/>
                </a:p>
              </p:txBody>
            </p:sp>
          </p:grpSp>
          <p:sp>
            <p:nvSpPr>
              <p:cNvPr id="780" name="자유형 779"/>
              <p:cNvSpPr>
                <a:spLocks/>
              </p:cNvSpPr>
              <p:nvPr userDrawn="1"/>
            </p:nvSpPr>
            <p:spPr bwMode="auto">
              <a:xfrm rot="20844360">
                <a:off x="4456681" y="1979268"/>
                <a:ext cx="2680515" cy="3204114"/>
              </a:xfrm>
              <a:custGeom>
                <a:avLst/>
                <a:gdLst>
                  <a:gd name="connsiteX0" fmla="*/ 2680515 w 2680515"/>
                  <a:gd name="connsiteY0" fmla="*/ 37483 h 3204114"/>
                  <a:gd name="connsiteX1" fmla="*/ 2640009 w 2680515"/>
                  <a:gd name="connsiteY1" fmla="*/ 40522 h 3204114"/>
                  <a:gd name="connsiteX2" fmla="*/ 2600515 w 2680515"/>
                  <a:gd name="connsiteY2" fmla="*/ 45587 h 3204114"/>
                  <a:gd name="connsiteX3" fmla="*/ 2558996 w 2680515"/>
                  <a:gd name="connsiteY3" fmla="*/ 50652 h 3204114"/>
                  <a:gd name="connsiteX4" fmla="*/ 2519502 w 2680515"/>
                  <a:gd name="connsiteY4" fmla="*/ 57743 h 3204114"/>
                  <a:gd name="connsiteX5" fmla="*/ 2481021 w 2680515"/>
                  <a:gd name="connsiteY5" fmla="*/ 63822 h 3204114"/>
                  <a:gd name="connsiteX6" fmla="*/ 2441527 w 2680515"/>
                  <a:gd name="connsiteY6" fmla="*/ 72939 h 3204114"/>
                  <a:gd name="connsiteX7" fmla="*/ 2403046 w 2680515"/>
                  <a:gd name="connsiteY7" fmla="*/ 82057 h 3204114"/>
                  <a:gd name="connsiteX8" fmla="*/ 2364565 w 2680515"/>
                  <a:gd name="connsiteY8" fmla="*/ 92187 h 3204114"/>
                  <a:gd name="connsiteX9" fmla="*/ 2327096 w 2680515"/>
                  <a:gd name="connsiteY9" fmla="*/ 102317 h 3204114"/>
                  <a:gd name="connsiteX10" fmla="*/ 2290641 w 2680515"/>
                  <a:gd name="connsiteY10" fmla="*/ 114474 h 3204114"/>
                  <a:gd name="connsiteX11" fmla="*/ 2253172 w 2680515"/>
                  <a:gd name="connsiteY11" fmla="*/ 127644 h 3204114"/>
                  <a:gd name="connsiteX12" fmla="*/ 2215703 w 2680515"/>
                  <a:gd name="connsiteY12" fmla="*/ 139800 h 3204114"/>
                  <a:gd name="connsiteX13" fmla="*/ 2179248 w 2680515"/>
                  <a:gd name="connsiteY13" fmla="*/ 154996 h 3204114"/>
                  <a:gd name="connsiteX14" fmla="*/ 2142793 w 2680515"/>
                  <a:gd name="connsiteY14" fmla="*/ 170192 h 3204114"/>
                  <a:gd name="connsiteX15" fmla="*/ 2108362 w 2680515"/>
                  <a:gd name="connsiteY15" fmla="*/ 185387 h 3204114"/>
                  <a:gd name="connsiteX16" fmla="*/ 2071906 w 2680515"/>
                  <a:gd name="connsiteY16" fmla="*/ 202609 h 3204114"/>
                  <a:gd name="connsiteX17" fmla="*/ 2038488 w 2680515"/>
                  <a:gd name="connsiteY17" fmla="*/ 220844 h 3204114"/>
                  <a:gd name="connsiteX18" fmla="*/ 2003045 w 2680515"/>
                  <a:gd name="connsiteY18" fmla="*/ 238066 h 3204114"/>
                  <a:gd name="connsiteX19" fmla="*/ 1970639 w 2680515"/>
                  <a:gd name="connsiteY19" fmla="*/ 256300 h 3204114"/>
                  <a:gd name="connsiteX20" fmla="*/ 1937221 w 2680515"/>
                  <a:gd name="connsiteY20" fmla="*/ 276561 h 3204114"/>
                  <a:gd name="connsiteX21" fmla="*/ 1903804 w 2680515"/>
                  <a:gd name="connsiteY21" fmla="*/ 297835 h 3204114"/>
                  <a:gd name="connsiteX22" fmla="*/ 1871398 w 2680515"/>
                  <a:gd name="connsiteY22" fmla="*/ 318096 h 3204114"/>
                  <a:gd name="connsiteX23" fmla="*/ 1840007 w 2680515"/>
                  <a:gd name="connsiteY23" fmla="*/ 340383 h 3204114"/>
                  <a:gd name="connsiteX24" fmla="*/ 1808614 w 2680515"/>
                  <a:gd name="connsiteY24" fmla="*/ 362670 h 3204114"/>
                  <a:gd name="connsiteX25" fmla="*/ 1778234 w 2680515"/>
                  <a:gd name="connsiteY25" fmla="*/ 385970 h 3204114"/>
                  <a:gd name="connsiteX26" fmla="*/ 1747854 w 2680515"/>
                  <a:gd name="connsiteY26" fmla="*/ 410284 h 3204114"/>
                  <a:gd name="connsiteX27" fmla="*/ 1718487 w 2680515"/>
                  <a:gd name="connsiteY27" fmla="*/ 435610 h 3204114"/>
                  <a:gd name="connsiteX28" fmla="*/ 1690132 w 2680515"/>
                  <a:gd name="connsiteY28" fmla="*/ 460936 h 3204114"/>
                  <a:gd name="connsiteX29" fmla="*/ 1661778 w 2680515"/>
                  <a:gd name="connsiteY29" fmla="*/ 486261 h 3204114"/>
                  <a:gd name="connsiteX30" fmla="*/ 1633423 w 2680515"/>
                  <a:gd name="connsiteY30" fmla="*/ 513614 h 3204114"/>
                  <a:gd name="connsiteX31" fmla="*/ 1607094 w 2680515"/>
                  <a:gd name="connsiteY31" fmla="*/ 539953 h 3204114"/>
                  <a:gd name="connsiteX32" fmla="*/ 1579753 w 2680515"/>
                  <a:gd name="connsiteY32" fmla="*/ 568318 h 3204114"/>
                  <a:gd name="connsiteX33" fmla="*/ 1554436 w 2680515"/>
                  <a:gd name="connsiteY33" fmla="*/ 595670 h 3204114"/>
                  <a:gd name="connsiteX34" fmla="*/ 1529119 w 2680515"/>
                  <a:gd name="connsiteY34" fmla="*/ 625049 h 3204114"/>
                  <a:gd name="connsiteX35" fmla="*/ 1504815 w 2680515"/>
                  <a:gd name="connsiteY35" fmla="*/ 654427 h 3204114"/>
                  <a:gd name="connsiteX36" fmla="*/ 1481524 w 2680515"/>
                  <a:gd name="connsiteY36" fmla="*/ 684818 h 3204114"/>
                  <a:gd name="connsiteX37" fmla="*/ 1458232 w 2680515"/>
                  <a:gd name="connsiteY37" fmla="*/ 715210 h 3204114"/>
                  <a:gd name="connsiteX38" fmla="*/ 1435954 w 2680515"/>
                  <a:gd name="connsiteY38" fmla="*/ 746614 h 3204114"/>
                  <a:gd name="connsiteX39" fmla="*/ 1413676 w 2680515"/>
                  <a:gd name="connsiteY39" fmla="*/ 778018 h 3204114"/>
                  <a:gd name="connsiteX40" fmla="*/ 1392409 w 2680515"/>
                  <a:gd name="connsiteY40" fmla="*/ 810436 h 3204114"/>
                  <a:gd name="connsiteX41" fmla="*/ 1372157 w 2680515"/>
                  <a:gd name="connsiteY41" fmla="*/ 843866 h 3204114"/>
                  <a:gd name="connsiteX42" fmla="*/ 1352916 w 2680515"/>
                  <a:gd name="connsiteY42" fmla="*/ 877296 h 3204114"/>
                  <a:gd name="connsiteX43" fmla="*/ 1332662 w 2680515"/>
                  <a:gd name="connsiteY43" fmla="*/ 910727 h 3204114"/>
                  <a:gd name="connsiteX44" fmla="*/ 1315447 w 2680515"/>
                  <a:gd name="connsiteY44" fmla="*/ 945171 h 3204114"/>
                  <a:gd name="connsiteX45" fmla="*/ 1298233 w 2680515"/>
                  <a:gd name="connsiteY45" fmla="*/ 979614 h 3204114"/>
                  <a:gd name="connsiteX46" fmla="*/ 1282030 w 2680515"/>
                  <a:gd name="connsiteY46" fmla="*/ 1015070 h 3204114"/>
                  <a:gd name="connsiteX47" fmla="*/ 1265827 w 2680515"/>
                  <a:gd name="connsiteY47" fmla="*/ 1049514 h 3204114"/>
                  <a:gd name="connsiteX48" fmla="*/ 1251650 w 2680515"/>
                  <a:gd name="connsiteY48" fmla="*/ 1085983 h 3204114"/>
                  <a:gd name="connsiteX49" fmla="*/ 1236460 w 2680515"/>
                  <a:gd name="connsiteY49" fmla="*/ 1123466 h 3204114"/>
                  <a:gd name="connsiteX50" fmla="*/ 1223295 w 2680515"/>
                  <a:gd name="connsiteY50" fmla="*/ 1159936 h 3204114"/>
                  <a:gd name="connsiteX51" fmla="*/ 1210131 w 2680515"/>
                  <a:gd name="connsiteY51" fmla="*/ 1196405 h 3204114"/>
                  <a:gd name="connsiteX52" fmla="*/ 1198992 w 2680515"/>
                  <a:gd name="connsiteY52" fmla="*/ 1233888 h 3204114"/>
                  <a:gd name="connsiteX53" fmla="*/ 1188865 w 2680515"/>
                  <a:gd name="connsiteY53" fmla="*/ 1272383 h 3204114"/>
                  <a:gd name="connsiteX54" fmla="*/ 1178738 w 2680515"/>
                  <a:gd name="connsiteY54" fmla="*/ 1310880 h 3204114"/>
                  <a:gd name="connsiteX55" fmla="*/ 1169624 w 2680515"/>
                  <a:gd name="connsiteY55" fmla="*/ 1349376 h 3204114"/>
                  <a:gd name="connsiteX56" fmla="*/ 1161523 w 2680515"/>
                  <a:gd name="connsiteY56" fmla="*/ 1387870 h 3204114"/>
                  <a:gd name="connsiteX57" fmla="*/ 1154435 w 2680515"/>
                  <a:gd name="connsiteY57" fmla="*/ 1427380 h 3204114"/>
                  <a:gd name="connsiteX58" fmla="*/ 1147346 w 2680515"/>
                  <a:gd name="connsiteY58" fmla="*/ 1467902 h 3204114"/>
                  <a:gd name="connsiteX59" fmla="*/ 1143295 w 2680515"/>
                  <a:gd name="connsiteY59" fmla="*/ 1507410 h 3204114"/>
                  <a:gd name="connsiteX60" fmla="*/ 1138231 w 2680515"/>
                  <a:gd name="connsiteY60" fmla="*/ 1547932 h 3204114"/>
                  <a:gd name="connsiteX61" fmla="*/ 1135194 w 2680515"/>
                  <a:gd name="connsiteY61" fmla="*/ 1588454 h 3204114"/>
                  <a:gd name="connsiteX62" fmla="*/ 1132156 w 2680515"/>
                  <a:gd name="connsiteY62" fmla="*/ 1629989 h 3204114"/>
                  <a:gd name="connsiteX63" fmla="*/ 1131143 w 2680515"/>
                  <a:gd name="connsiteY63" fmla="*/ 1670510 h 3204114"/>
                  <a:gd name="connsiteX64" fmla="*/ 1130131 w 2680515"/>
                  <a:gd name="connsiteY64" fmla="*/ 1711032 h 3204114"/>
                  <a:gd name="connsiteX65" fmla="*/ 1131143 w 2680515"/>
                  <a:gd name="connsiteY65" fmla="*/ 1755606 h 3204114"/>
                  <a:gd name="connsiteX66" fmla="*/ 1132156 w 2680515"/>
                  <a:gd name="connsiteY66" fmla="*/ 1800180 h 3204114"/>
                  <a:gd name="connsiteX67" fmla="*/ 1136206 w 2680515"/>
                  <a:gd name="connsiteY67" fmla="*/ 1842727 h 3204114"/>
                  <a:gd name="connsiteX68" fmla="*/ 1139244 w 2680515"/>
                  <a:gd name="connsiteY68" fmla="*/ 1886289 h 3204114"/>
                  <a:gd name="connsiteX69" fmla="*/ 1144308 w 2680515"/>
                  <a:gd name="connsiteY69" fmla="*/ 1928837 h 3204114"/>
                  <a:gd name="connsiteX70" fmla="*/ 1150384 w 2680515"/>
                  <a:gd name="connsiteY70" fmla="*/ 1971384 h 3204114"/>
                  <a:gd name="connsiteX71" fmla="*/ 1158485 w 2680515"/>
                  <a:gd name="connsiteY71" fmla="*/ 2012919 h 3204114"/>
                  <a:gd name="connsiteX72" fmla="*/ 1166586 w 2680515"/>
                  <a:gd name="connsiteY72" fmla="*/ 2055467 h 3204114"/>
                  <a:gd name="connsiteX73" fmla="*/ 1174688 w 2680515"/>
                  <a:gd name="connsiteY73" fmla="*/ 2095989 h 3204114"/>
                  <a:gd name="connsiteX74" fmla="*/ 1184814 w 2680515"/>
                  <a:gd name="connsiteY74" fmla="*/ 2138536 h 3204114"/>
                  <a:gd name="connsiteX75" fmla="*/ 1196966 w 2680515"/>
                  <a:gd name="connsiteY75" fmla="*/ 2178046 h 3204114"/>
                  <a:gd name="connsiteX76" fmla="*/ 1208106 w 2680515"/>
                  <a:gd name="connsiteY76" fmla="*/ 2218567 h 3204114"/>
                  <a:gd name="connsiteX77" fmla="*/ 1221270 w 2680515"/>
                  <a:gd name="connsiteY77" fmla="*/ 2258076 h 3204114"/>
                  <a:gd name="connsiteX78" fmla="*/ 1236460 w 2680515"/>
                  <a:gd name="connsiteY78" fmla="*/ 2297585 h 3204114"/>
                  <a:gd name="connsiteX79" fmla="*/ 1250637 w 2680515"/>
                  <a:gd name="connsiteY79" fmla="*/ 2336080 h 3204114"/>
                  <a:gd name="connsiteX80" fmla="*/ 1266839 w 2680515"/>
                  <a:gd name="connsiteY80" fmla="*/ 2374576 h 3204114"/>
                  <a:gd name="connsiteX81" fmla="*/ 1284055 w 2680515"/>
                  <a:gd name="connsiteY81" fmla="*/ 2412059 h 3204114"/>
                  <a:gd name="connsiteX82" fmla="*/ 1301270 w 2680515"/>
                  <a:gd name="connsiteY82" fmla="*/ 2449541 h 3204114"/>
                  <a:gd name="connsiteX83" fmla="*/ 1320510 w 2680515"/>
                  <a:gd name="connsiteY83" fmla="*/ 2487024 h 3204114"/>
                  <a:gd name="connsiteX84" fmla="*/ 1339751 w 2680515"/>
                  <a:gd name="connsiteY84" fmla="*/ 2522481 h 3204114"/>
                  <a:gd name="connsiteX85" fmla="*/ 1360005 w 2680515"/>
                  <a:gd name="connsiteY85" fmla="*/ 2558950 h 3204114"/>
                  <a:gd name="connsiteX86" fmla="*/ 1381270 w 2680515"/>
                  <a:gd name="connsiteY86" fmla="*/ 2594407 h 3204114"/>
                  <a:gd name="connsiteX87" fmla="*/ 1402536 w 2680515"/>
                  <a:gd name="connsiteY87" fmla="*/ 2628851 h 3204114"/>
                  <a:gd name="connsiteX88" fmla="*/ 1425827 w 2680515"/>
                  <a:gd name="connsiteY88" fmla="*/ 2663294 h 3204114"/>
                  <a:gd name="connsiteX89" fmla="*/ 1449119 w 2680515"/>
                  <a:gd name="connsiteY89" fmla="*/ 2696725 h 3204114"/>
                  <a:gd name="connsiteX90" fmla="*/ 1474435 w 2680515"/>
                  <a:gd name="connsiteY90" fmla="*/ 2729142 h 3204114"/>
                  <a:gd name="connsiteX91" fmla="*/ 1499752 w 2680515"/>
                  <a:gd name="connsiteY91" fmla="*/ 2761559 h 3204114"/>
                  <a:gd name="connsiteX92" fmla="*/ 1525068 w 2680515"/>
                  <a:gd name="connsiteY92" fmla="*/ 2793977 h 3204114"/>
                  <a:gd name="connsiteX93" fmla="*/ 1552410 w 2680515"/>
                  <a:gd name="connsiteY93" fmla="*/ 2824368 h 3204114"/>
                  <a:gd name="connsiteX94" fmla="*/ 1579753 w 2680515"/>
                  <a:gd name="connsiteY94" fmla="*/ 2853746 h 3204114"/>
                  <a:gd name="connsiteX95" fmla="*/ 1608107 w 2680515"/>
                  <a:gd name="connsiteY95" fmla="*/ 2884138 h 3204114"/>
                  <a:gd name="connsiteX96" fmla="*/ 1637474 w 2680515"/>
                  <a:gd name="connsiteY96" fmla="*/ 2913516 h 3204114"/>
                  <a:gd name="connsiteX97" fmla="*/ 1346381 w 2680515"/>
                  <a:gd name="connsiteY97" fmla="*/ 3204114 h 3204114"/>
                  <a:gd name="connsiteX98" fmla="*/ 93249 w 2680515"/>
                  <a:gd name="connsiteY98" fmla="*/ 2924143 h 3204114"/>
                  <a:gd name="connsiteX99" fmla="*/ 87089 w 2680515"/>
                  <a:gd name="connsiteY99" fmla="*/ 2902372 h 3204114"/>
                  <a:gd name="connsiteX100" fmla="*/ 71899 w 2680515"/>
                  <a:gd name="connsiteY100" fmla="*/ 2847668 h 3204114"/>
                  <a:gd name="connsiteX101" fmla="*/ 58734 w 2680515"/>
                  <a:gd name="connsiteY101" fmla="*/ 2791951 h 3204114"/>
                  <a:gd name="connsiteX102" fmla="*/ 46583 w 2680515"/>
                  <a:gd name="connsiteY102" fmla="*/ 2737246 h 3204114"/>
                  <a:gd name="connsiteX103" fmla="*/ 35443 w 2680515"/>
                  <a:gd name="connsiteY103" fmla="*/ 2681529 h 3204114"/>
                  <a:gd name="connsiteX104" fmla="*/ 26330 w 2680515"/>
                  <a:gd name="connsiteY104" fmla="*/ 2625811 h 3204114"/>
                  <a:gd name="connsiteX105" fmla="*/ 19241 w 2680515"/>
                  <a:gd name="connsiteY105" fmla="*/ 2570094 h 3204114"/>
                  <a:gd name="connsiteX106" fmla="*/ 12152 w 2680515"/>
                  <a:gd name="connsiteY106" fmla="*/ 2512350 h 3204114"/>
                  <a:gd name="connsiteX107" fmla="*/ 7089 w 2680515"/>
                  <a:gd name="connsiteY107" fmla="*/ 2454607 h 3204114"/>
                  <a:gd name="connsiteX108" fmla="*/ 4051 w 2680515"/>
                  <a:gd name="connsiteY108" fmla="*/ 2396863 h 3204114"/>
                  <a:gd name="connsiteX109" fmla="*/ 2025 w 2680515"/>
                  <a:gd name="connsiteY109" fmla="*/ 2339120 h 3204114"/>
                  <a:gd name="connsiteX110" fmla="*/ 0 w 2680515"/>
                  <a:gd name="connsiteY110" fmla="*/ 2280364 h 3204114"/>
                  <a:gd name="connsiteX111" fmla="*/ 2026 w 2680515"/>
                  <a:gd name="connsiteY111" fmla="*/ 2220593 h 3204114"/>
                  <a:gd name="connsiteX112" fmla="*/ 4051 w 2680515"/>
                  <a:gd name="connsiteY112" fmla="*/ 2162850 h 3204114"/>
                  <a:gd name="connsiteX113" fmla="*/ 7089 w 2680515"/>
                  <a:gd name="connsiteY113" fmla="*/ 2104093 h 3204114"/>
                  <a:gd name="connsiteX114" fmla="*/ 12152 w 2680515"/>
                  <a:gd name="connsiteY114" fmla="*/ 2047363 h 3204114"/>
                  <a:gd name="connsiteX115" fmla="*/ 19241 w 2680515"/>
                  <a:gd name="connsiteY115" fmla="*/ 1989619 h 3204114"/>
                  <a:gd name="connsiteX116" fmla="*/ 27343 w 2680515"/>
                  <a:gd name="connsiteY116" fmla="*/ 1932889 h 3204114"/>
                  <a:gd name="connsiteX117" fmla="*/ 36456 w 2680515"/>
                  <a:gd name="connsiteY117" fmla="*/ 1877172 h 3204114"/>
                  <a:gd name="connsiteX118" fmla="*/ 46583 w 2680515"/>
                  <a:gd name="connsiteY118" fmla="*/ 1820441 h 3204114"/>
                  <a:gd name="connsiteX119" fmla="*/ 58735 w 2680515"/>
                  <a:gd name="connsiteY119" fmla="*/ 1764724 h 3204114"/>
                  <a:gd name="connsiteX120" fmla="*/ 72912 w 2680515"/>
                  <a:gd name="connsiteY120" fmla="*/ 1710019 h 3204114"/>
                  <a:gd name="connsiteX121" fmla="*/ 87089 w 2680515"/>
                  <a:gd name="connsiteY121" fmla="*/ 1655315 h 3204114"/>
                  <a:gd name="connsiteX122" fmla="*/ 103291 w 2680515"/>
                  <a:gd name="connsiteY122" fmla="*/ 1601624 h 3204114"/>
                  <a:gd name="connsiteX123" fmla="*/ 120507 w 2680515"/>
                  <a:gd name="connsiteY123" fmla="*/ 1548945 h 3204114"/>
                  <a:gd name="connsiteX124" fmla="*/ 138735 w 2680515"/>
                  <a:gd name="connsiteY124" fmla="*/ 1495253 h 3204114"/>
                  <a:gd name="connsiteX125" fmla="*/ 158989 w 2680515"/>
                  <a:gd name="connsiteY125" fmla="*/ 1443588 h 3204114"/>
                  <a:gd name="connsiteX126" fmla="*/ 180253 w 2680515"/>
                  <a:gd name="connsiteY126" fmla="*/ 1392936 h 3204114"/>
                  <a:gd name="connsiteX127" fmla="*/ 202533 w 2680515"/>
                  <a:gd name="connsiteY127" fmla="*/ 1341271 h 3204114"/>
                  <a:gd name="connsiteX128" fmla="*/ 225823 w 2680515"/>
                  <a:gd name="connsiteY128" fmla="*/ 1291632 h 3204114"/>
                  <a:gd name="connsiteX129" fmla="*/ 250127 w 2680515"/>
                  <a:gd name="connsiteY129" fmla="*/ 1241993 h 3204114"/>
                  <a:gd name="connsiteX130" fmla="*/ 275444 w 2680515"/>
                  <a:gd name="connsiteY130" fmla="*/ 1193366 h 3204114"/>
                  <a:gd name="connsiteX131" fmla="*/ 302786 w 2680515"/>
                  <a:gd name="connsiteY131" fmla="*/ 1145753 h 3204114"/>
                  <a:gd name="connsiteX132" fmla="*/ 330128 w 2680515"/>
                  <a:gd name="connsiteY132" fmla="*/ 1098140 h 3204114"/>
                  <a:gd name="connsiteX133" fmla="*/ 359495 w 2680515"/>
                  <a:gd name="connsiteY133" fmla="*/ 1050527 h 3204114"/>
                  <a:gd name="connsiteX134" fmla="*/ 389875 w 2680515"/>
                  <a:gd name="connsiteY134" fmla="*/ 1005954 h 3204114"/>
                  <a:gd name="connsiteX135" fmla="*/ 421267 w 2680515"/>
                  <a:gd name="connsiteY135" fmla="*/ 960366 h 3204114"/>
                  <a:gd name="connsiteX136" fmla="*/ 453673 w 2680515"/>
                  <a:gd name="connsiteY136" fmla="*/ 915793 h 3204114"/>
                  <a:gd name="connsiteX137" fmla="*/ 487090 w 2680515"/>
                  <a:gd name="connsiteY137" fmla="*/ 872231 h 3204114"/>
                  <a:gd name="connsiteX138" fmla="*/ 521521 w 2680515"/>
                  <a:gd name="connsiteY138" fmla="*/ 829684 h 3204114"/>
                  <a:gd name="connsiteX139" fmla="*/ 556964 w 2680515"/>
                  <a:gd name="connsiteY139" fmla="*/ 787136 h 3204114"/>
                  <a:gd name="connsiteX140" fmla="*/ 592407 w 2680515"/>
                  <a:gd name="connsiteY140" fmla="*/ 746614 h 3204114"/>
                  <a:gd name="connsiteX141" fmla="*/ 629876 w 2680515"/>
                  <a:gd name="connsiteY141" fmla="*/ 707105 h 3204114"/>
                  <a:gd name="connsiteX142" fmla="*/ 668356 w 2680515"/>
                  <a:gd name="connsiteY142" fmla="*/ 667596 h 3204114"/>
                  <a:gd name="connsiteX143" fmla="*/ 706838 w 2680515"/>
                  <a:gd name="connsiteY143" fmla="*/ 630114 h 3204114"/>
                  <a:gd name="connsiteX144" fmla="*/ 747344 w 2680515"/>
                  <a:gd name="connsiteY144" fmla="*/ 592631 h 3204114"/>
                  <a:gd name="connsiteX145" fmla="*/ 788864 w 2680515"/>
                  <a:gd name="connsiteY145" fmla="*/ 555149 h 3204114"/>
                  <a:gd name="connsiteX146" fmla="*/ 830383 w 2680515"/>
                  <a:gd name="connsiteY146" fmla="*/ 520705 h 3204114"/>
                  <a:gd name="connsiteX147" fmla="*/ 872914 w 2680515"/>
                  <a:gd name="connsiteY147" fmla="*/ 486262 h 3204114"/>
                  <a:gd name="connsiteX148" fmla="*/ 915446 w 2680515"/>
                  <a:gd name="connsiteY148" fmla="*/ 452831 h 3204114"/>
                  <a:gd name="connsiteX149" fmla="*/ 960003 w 2680515"/>
                  <a:gd name="connsiteY149" fmla="*/ 420414 h 3204114"/>
                  <a:gd name="connsiteX150" fmla="*/ 1005573 w 2680515"/>
                  <a:gd name="connsiteY150" fmla="*/ 390022 h 3204114"/>
                  <a:gd name="connsiteX151" fmla="*/ 1051142 w 2680515"/>
                  <a:gd name="connsiteY151" fmla="*/ 359631 h 3204114"/>
                  <a:gd name="connsiteX152" fmla="*/ 1097725 w 2680515"/>
                  <a:gd name="connsiteY152" fmla="*/ 330252 h 3204114"/>
                  <a:gd name="connsiteX153" fmla="*/ 1145321 w 2680515"/>
                  <a:gd name="connsiteY153" fmla="*/ 301888 h 3204114"/>
                  <a:gd name="connsiteX154" fmla="*/ 1192916 w 2680515"/>
                  <a:gd name="connsiteY154" fmla="*/ 275548 h 3204114"/>
                  <a:gd name="connsiteX155" fmla="*/ 1242536 w 2680515"/>
                  <a:gd name="connsiteY155" fmla="*/ 250222 h 3204114"/>
                  <a:gd name="connsiteX156" fmla="*/ 1292156 w 2680515"/>
                  <a:gd name="connsiteY156" fmla="*/ 223883 h 3204114"/>
                  <a:gd name="connsiteX157" fmla="*/ 1342789 w 2680515"/>
                  <a:gd name="connsiteY157" fmla="*/ 200583 h 3204114"/>
                  <a:gd name="connsiteX158" fmla="*/ 1392410 w 2680515"/>
                  <a:gd name="connsiteY158" fmla="*/ 178296 h 3204114"/>
                  <a:gd name="connsiteX159" fmla="*/ 1444055 w 2680515"/>
                  <a:gd name="connsiteY159" fmla="*/ 158035 h 3204114"/>
                  <a:gd name="connsiteX160" fmla="*/ 1496714 w 2680515"/>
                  <a:gd name="connsiteY160" fmla="*/ 137774 h 3204114"/>
                  <a:gd name="connsiteX161" fmla="*/ 1548360 w 2680515"/>
                  <a:gd name="connsiteY161" fmla="*/ 119539 h 3204114"/>
                  <a:gd name="connsiteX162" fmla="*/ 1602031 w 2680515"/>
                  <a:gd name="connsiteY162" fmla="*/ 102317 h 3204114"/>
                  <a:gd name="connsiteX163" fmla="*/ 1655701 w 2680515"/>
                  <a:gd name="connsiteY163" fmla="*/ 86109 h 3204114"/>
                  <a:gd name="connsiteX164" fmla="*/ 1710385 w 2680515"/>
                  <a:gd name="connsiteY164" fmla="*/ 70913 h 3204114"/>
                  <a:gd name="connsiteX165" fmla="*/ 1765070 w 2680515"/>
                  <a:gd name="connsiteY165" fmla="*/ 58756 h 3204114"/>
                  <a:gd name="connsiteX166" fmla="*/ 1820765 w 2680515"/>
                  <a:gd name="connsiteY166" fmla="*/ 45587 h 3204114"/>
                  <a:gd name="connsiteX167" fmla="*/ 1876462 w 2680515"/>
                  <a:gd name="connsiteY167" fmla="*/ 35457 h 3204114"/>
                  <a:gd name="connsiteX168" fmla="*/ 1932158 w 2680515"/>
                  <a:gd name="connsiteY168" fmla="*/ 25326 h 3204114"/>
                  <a:gd name="connsiteX169" fmla="*/ 1988868 w 2680515"/>
                  <a:gd name="connsiteY169" fmla="*/ 17222 h 3204114"/>
                  <a:gd name="connsiteX170" fmla="*/ 2046589 w 2680515"/>
                  <a:gd name="connsiteY170" fmla="*/ 12157 h 3204114"/>
                  <a:gd name="connsiteX171" fmla="*/ 2104311 w 2680515"/>
                  <a:gd name="connsiteY171" fmla="*/ 6078 h 3204114"/>
                  <a:gd name="connsiteX172" fmla="*/ 2163046 w 2680515"/>
                  <a:gd name="connsiteY172" fmla="*/ 2027 h 3204114"/>
                  <a:gd name="connsiteX173" fmla="*/ 2221780 w 2680515"/>
                  <a:gd name="connsiteY173" fmla="*/ 0 h 3204114"/>
                  <a:gd name="connsiteX174" fmla="*/ 2279502 w 2680515"/>
                  <a:gd name="connsiteY174" fmla="*/ 0 h 3204114"/>
                  <a:gd name="connsiteX175" fmla="*/ 2331147 w 2680515"/>
                  <a:gd name="connsiteY175" fmla="*/ 0 h 3204114"/>
                  <a:gd name="connsiteX176" fmla="*/ 2381780 w 2680515"/>
                  <a:gd name="connsiteY176" fmla="*/ 2026 h 3204114"/>
                  <a:gd name="connsiteX177" fmla="*/ 2432413 w 2680515"/>
                  <a:gd name="connsiteY177" fmla="*/ 6078 h 3204114"/>
                  <a:gd name="connsiteX178" fmla="*/ 2482034 w 2680515"/>
                  <a:gd name="connsiteY178" fmla="*/ 9118 h 3204114"/>
                  <a:gd name="connsiteX179" fmla="*/ 2532667 w 2680515"/>
                  <a:gd name="connsiteY179" fmla="*/ 15196 h 3204114"/>
                  <a:gd name="connsiteX180" fmla="*/ 2582287 w 2680515"/>
                  <a:gd name="connsiteY180" fmla="*/ 21274 h 3204114"/>
                  <a:gd name="connsiteX181" fmla="*/ 2631908 w 2680515"/>
                  <a:gd name="connsiteY181" fmla="*/ 29379 h 3204114"/>
                  <a:gd name="connsiteX182" fmla="*/ 2680515 w 2680515"/>
                  <a:gd name="connsiteY182" fmla="*/ 37483 h 3204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Lst>
                <a:rect l="l" t="t" r="r" b="b"/>
                <a:pathLst>
                  <a:path w="2680515" h="3204114">
                    <a:moveTo>
                      <a:pt x="2680515" y="37483"/>
                    </a:moveTo>
                    <a:lnTo>
                      <a:pt x="2640009" y="40522"/>
                    </a:lnTo>
                    <a:lnTo>
                      <a:pt x="2600515" y="45587"/>
                    </a:lnTo>
                    <a:lnTo>
                      <a:pt x="2558996" y="50652"/>
                    </a:lnTo>
                    <a:lnTo>
                      <a:pt x="2519502" y="57743"/>
                    </a:lnTo>
                    <a:lnTo>
                      <a:pt x="2481021" y="63822"/>
                    </a:lnTo>
                    <a:lnTo>
                      <a:pt x="2441527" y="72939"/>
                    </a:lnTo>
                    <a:lnTo>
                      <a:pt x="2403046" y="82057"/>
                    </a:lnTo>
                    <a:lnTo>
                      <a:pt x="2364565" y="92187"/>
                    </a:lnTo>
                    <a:lnTo>
                      <a:pt x="2327096" y="102317"/>
                    </a:lnTo>
                    <a:lnTo>
                      <a:pt x="2290641" y="114474"/>
                    </a:lnTo>
                    <a:lnTo>
                      <a:pt x="2253172" y="127644"/>
                    </a:lnTo>
                    <a:lnTo>
                      <a:pt x="2215703" y="139800"/>
                    </a:lnTo>
                    <a:lnTo>
                      <a:pt x="2179248" y="154996"/>
                    </a:lnTo>
                    <a:lnTo>
                      <a:pt x="2142793" y="170192"/>
                    </a:lnTo>
                    <a:lnTo>
                      <a:pt x="2108362" y="185387"/>
                    </a:lnTo>
                    <a:lnTo>
                      <a:pt x="2071906" y="202609"/>
                    </a:lnTo>
                    <a:lnTo>
                      <a:pt x="2038488" y="220844"/>
                    </a:lnTo>
                    <a:lnTo>
                      <a:pt x="2003045" y="238066"/>
                    </a:lnTo>
                    <a:lnTo>
                      <a:pt x="1970639" y="256300"/>
                    </a:lnTo>
                    <a:lnTo>
                      <a:pt x="1937221" y="276561"/>
                    </a:lnTo>
                    <a:lnTo>
                      <a:pt x="1903804" y="297835"/>
                    </a:lnTo>
                    <a:lnTo>
                      <a:pt x="1871398" y="318096"/>
                    </a:lnTo>
                    <a:lnTo>
                      <a:pt x="1840007" y="340383"/>
                    </a:lnTo>
                    <a:lnTo>
                      <a:pt x="1808614" y="362670"/>
                    </a:lnTo>
                    <a:lnTo>
                      <a:pt x="1778234" y="385970"/>
                    </a:lnTo>
                    <a:lnTo>
                      <a:pt x="1747854" y="410284"/>
                    </a:lnTo>
                    <a:lnTo>
                      <a:pt x="1718487" y="435610"/>
                    </a:lnTo>
                    <a:lnTo>
                      <a:pt x="1690132" y="460936"/>
                    </a:lnTo>
                    <a:lnTo>
                      <a:pt x="1661778" y="486261"/>
                    </a:lnTo>
                    <a:lnTo>
                      <a:pt x="1633423" y="513614"/>
                    </a:lnTo>
                    <a:lnTo>
                      <a:pt x="1607094" y="539953"/>
                    </a:lnTo>
                    <a:lnTo>
                      <a:pt x="1579753" y="568318"/>
                    </a:lnTo>
                    <a:lnTo>
                      <a:pt x="1554436" y="595670"/>
                    </a:lnTo>
                    <a:lnTo>
                      <a:pt x="1529119" y="625049"/>
                    </a:lnTo>
                    <a:lnTo>
                      <a:pt x="1504815" y="654427"/>
                    </a:lnTo>
                    <a:lnTo>
                      <a:pt x="1481524" y="684818"/>
                    </a:lnTo>
                    <a:lnTo>
                      <a:pt x="1458232" y="715210"/>
                    </a:lnTo>
                    <a:lnTo>
                      <a:pt x="1435954" y="746614"/>
                    </a:lnTo>
                    <a:lnTo>
                      <a:pt x="1413676" y="778018"/>
                    </a:lnTo>
                    <a:lnTo>
                      <a:pt x="1392409" y="810436"/>
                    </a:lnTo>
                    <a:lnTo>
                      <a:pt x="1372157" y="843866"/>
                    </a:lnTo>
                    <a:lnTo>
                      <a:pt x="1352916" y="877296"/>
                    </a:lnTo>
                    <a:lnTo>
                      <a:pt x="1332662" y="910727"/>
                    </a:lnTo>
                    <a:lnTo>
                      <a:pt x="1315447" y="945171"/>
                    </a:lnTo>
                    <a:lnTo>
                      <a:pt x="1298233" y="979614"/>
                    </a:lnTo>
                    <a:lnTo>
                      <a:pt x="1282030" y="1015070"/>
                    </a:lnTo>
                    <a:lnTo>
                      <a:pt x="1265827" y="1049514"/>
                    </a:lnTo>
                    <a:lnTo>
                      <a:pt x="1251650" y="1085983"/>
                    </a:lnTo>
                    <a:lnTo>
                      <a:pt x="1236460" y="1123466"/>
                    </a:lnTo>
                    <a:lnTo>
                      <a:pt x="1223295" y="1159936"/>
                    </a:lnTo>
                    <a:lnTo>
                      <a:pt x="1210131" y="1196405"/>
                    </a:lnTo>
                    <a:lnTo>
                      <a:pt x="1198992" y="1233888"/>
                    </a:lnTo>
                    <a:lnTo>
                      <a:pt x="1188865" y="1272383"/>
                    </a:lnTo>
                    <a:lnTo>
                      <a:pt x="1178738" y="1310880"/>
                    </a:lnTo>
                    <a:lnTo>
                      <a:pt x="1169624" y="1349376"/>
                    </a:lnTo>
                    <a:lnTo>
                      <a:pt x="1161523" y="1387870"/>
                    </a:lnTo>
                    <a:lnTo>
                      <a:pt x="1154435" y="1427380"/>
                    </a:lnTo>
                    <a:lnTo>
                      <a:pt x="1147346" y="1467902"/>
                    </a:lnTo>
                    <a:lnTo>
                      <a:pt x="1143295" y="1507410"/>
                    </a:lnTo>
                    <a:lnTo>
                      <a:pt x="1138231" y="1547932"/>
                    </a:lnTo>
                    <a:lnTo>
                      <a:pt x="1135194" y="1588454"/>
                    </a:lnTo>
                    <a:lnTo>
                      <a:pt x="1132156" y="1629989"/>
                    </a:lnTo>
                    <a:lnTo>
                      <a:pt x="1131143" y="1670510"/>
                    </a:lnTo>
                    <a:lnTo>
                      <a:pt x="1130131" y="1711032"/>
                    </a:lnTo>
                    <a:lnTo>
                      <a:pt x="1131143" y="1755606"/>
                    </a:lnTo>
                    <a:lnTo>
                      <a:pt x="1132156" y="1800180"/>
                    </a:lnTo>
                    <a:lnTo>
                      <a:pt x="1136206" y="1842727"/>
                    </a:lnTo>
                    <a:lnTo>
                      <a:pt x="1139244" y="1886289"/>
                    </a:lnTo>
                    <a:lnTo>
                      <a:pt x="1144308" y="1928837"/>
                    </a:lnTo>
                    <a:lnTo>
                      <a:pt x="1150384" y="1971384"/>
                    </a:lnTo>
                    <a:lnTo>
                      <a:pt x="1158485" y="2012919"/>
                    </a:lnTo>
                    <a:lnTo>
                      <a:pt x="1166586" y="2055467"/>
                    </a:lnTo>
                    <a:lnTo>
                      <a:pt x="1174688" y="2095989"/>
                    </a:lnTo>
                    <a:lnTo>
                      <a:pt x="1184814" y="2138536"/>
                    </a:lnTo>
                    <a:lnTo>
                      <a:pt x="1196966" y="2178046"/>
                    </a:lnTo>
                    <a:lnTo>
                      <a:pt x="1208106" y="2218567"/>
                    </a:lnTo>
                    <a:lnTo>
                      <a:pt x="1221270" y="2258076"/>
                    </a:lnTo>
                    <a:lnTo>
                      <a:pt x="1236460" y="2297585"/>
                    </a:lnTo>
                    <a:lnTo>
                      <a:pt x="1250637" y="2336080"/>
                    </a:lnTo>
                    <a:lnTo>
                      <a:pt x="1266839" y="2374576"/>
                    </a:lnTo>
                    <a:lnTo>
                      <a:pt x="1284055" y="2412059"/>
                    </a:lnTo>
                    <a:lnTo>
                      <a:pt x="1301270" y="2449541"/>
                    </a:lnTo>
                    <a:lnTo>
                      <a:pt x="1320510" y="2487024"/>
                    </a:lnTo>
                    <a:lnTo>
                      <a:pt x="1339751" y="2522481"/>
                    </a:lnTo>
                    <a:lnTo>
                      <a:pt x="1360005" y="2558950"/>
                    </a:lnTo>
                    <a:lnTo>
                      <a:pt x="1381270" y="2594407"/>
                    </a:lnTo>
                    <a:lnTo>
                      <a:pt x="1402536" y="2628851"/>
                    </a:lnTo>
                    <a:lnTo>
                      <a:pt x="1425827" y="2663294"/>
                    </a:lnTo>
                    <a:lnTo>
                      <a:pt x="1449119" y="2696725"/>
                    </a:lnTo>
                    <a:lnTo>
                      <a:pt x="1474435" y="2729142"/>
                    </a:lnTo>
                    <a:lnTo>
                      <a:pt x="1499752" y="2761559"/>
                    </a:lnTo>
                    <a:lnTo>
                      <a:pt x="1525068" y="2793977"/>
                    </a:lnTo>
                    <a:lnTo>
                      <a:pt x="1552410" y="2824368"/>
                    </a:lnTo>
                    <a:lnTo>
                      <a:pt x="1579753" y="2853746"/>
                    </a:lnTo>
                    <a:lnTo>
                      <a:pt x="1608107" y="2884138"/>
                    </a:lnTo>
                    <a:lnTo>
                      <a:pt x="1637474" y="2913516"/>
                    </a:lnTo>
                    <a:lnTo>
                      <a:pt x="1346381" y="3204114"/>
                    </a:lnTo>
                    <a:lnTo>
                      <a:pt x="93249" y="2924143"/>
                    </a:lnTo>
                    <a:lnTo>
                      <a:pt x="87089" y="2902372"/>
                    </a:lnTo>
                    <a:lnTo>
                      <a:pt x="71899" y="2847668"/>
                    </a:lnTo>
                    <a:lnTo>
                      <a:pt x="58734" y="2791951"/>
                    </a:lnTo>
                    <a:lnTo>
                      <a:pt x="46583" y="2737246"/>
                    </a:lnTo>
                    <a:lnTo>
                      <a:pt x="35443" y="2681529"/>
                    </a:lnTo>
                    <a:lnTo>
                      <a:pt x="26330" y="2625811"/>
                    </a:lnTo>
                    <a:lnTo>
                      <a:pt x="19241" y="2570094"/>
                    </a:lnTo>
                    <a:lnTo>
                      <a:pt x="12152" y="2512350"/>
                    </a:lnTo>
                    <a:lnTo>
                      <a:pt x="7089" y="2454607"/>
                    </a:lnTo>
                    <a:lnTo>
                      <a:pt x="4051" y="2396863"/>
                    </a:lnTo>
                    <a:lnTo>
                      <a:pt x="2025" y="2339120"/>
                    </a:lnTo>
                    <a:lnTo>
                      <a:pt x="0" y="2280364"/>
                    </a:lnTo>
                    <a:lnTo>
                      <a:pt x="2026" y="2220593"/>
                    </a:lnTo>
                    <a:lnTo>
                      <a:pt x="4051" y="2162850"/>
                    </a:lnTo>
                    <a:lnTo>
                      <a:pt x="7089" y="2104093"/>
                    </a:lnTo>
                    <a:lnTo>
                      <a:pt x="12152" y="2047363"/>
                    </a:lnTo>
                    <a:lnTo>
                      <a:pt x="19241" y="1989619"/>
                    </a:lnTo>
                    <a:lnTo>
                      <a:pt x="27343" y="1932889"/>
                    </a:lnTo>
                    <a:lnTo>
                      <a:pt x="36456" y="1877172"/>
                    </a:lnTo>
                    <a:lnTo>
                      <a:pt x="46583" y="1820441"/>
                    </a:lnTo>
                    <a:lnTo>
                      <a:pt x="58735" y="1764724"/>
                    </a:lnTo>
                    <a:lnTo>
                      <a:pt x="72912" y="1710019"/>
                    </a:lnTo>
                    <a:lnTo>
                      <a:pt x="87089" y="1655315"/>
                    </a:lnTo>
                    <a:lnTo>
                      <a:pt x="103291" y="1601624"/>
                    </a:lnTo>
                    <a:lnTo>
                      <a:pt x="120507" y="1548945"/>
                    </a:lnTo>
                    <a:lnTo>
                      <a:pt x="138735" y="1495253"/>
                    </a:lnTo>
                    <a:lnTo>
                      <a:pt x="158989" y="1443588"/>
                    </a:lnTo>
                    <a:lnTo>
                      <a:pt x="180253" y="1392936"/>
                    </a:lnTo>
                    <a:lnTo>
                      <a:pt x="202533" y="1341271"/>
                    </a:lnTo>
                    <a:lnTo>
                      <a:pt x="225823" y="1291632"/>
                    </a:lnTo>
                    <a:lnTo>
                      <a:pt x="250127" y="1241993"/>
                    </a:lnTo>
                    <a:lnTo>
                      <a:pt x="275444" y="1193366"/>
                    </a:lnTo>
                    <a:lnTo>
                      <a:pt x="302786" y="1145753"/>
                    </a:lnTo>
                    <a:lnTo>
                      <a:pt x="330128" y="1098140"/>
                    </a:lnTo>
                    <a:lnTo>
                      <a:pt x="359495" y="1050527"/>
                    </a:lnTo>
                    <a:lnTo>
                      <a:pt x="389875" y="1005954"/>
                    </a:lnTo>
                    <a:lnTo>
                      <a:pt x="421267" y="960366"/>
                    </a:lnTo>
                    <a:lnTo>
                      <a:pt x="453673" y="915793"/>
                    </a:lnTo>
                    <a:lnTo>
                      <a:pt x="487090" y="872231"/>
                    </a:lnTo>
                    <a:lnTo>
                      <a:pt x="521521" y="829684"/>
                    </a:lnTo>
                    <a:lnTo>
                      <a:pt x="556964" y="787136"/>
                    </a:lnTo>
                    <a:lnTo>
                      <a:pt x="592407" y="746614"/>
                    </a:lnTo>
                    <a:lnTo>
                      <a:pt x="629876" y="707105"/>
                    </a:lnTo>
                    <a:lnTo>
                      <a:pt x="668356" y="667596"/>
                    </a:lnTo>
                    <a:lnTo>
                      <a:pt x="706838" y="630114"/>
                    </a:lnTo>
                    <a:lnTo>
                      <a:pt x="747344" y="592631"/>
                    </a:lnTo>
                    <a:lnTo>
                      <a:pt x="788864" y="555149"/>
                    </a:lnTo>
                    <a:lnTo>
                      <a:pt x="830383" y="520705"/>
                    </a:lnTo>
                    <a:lnTo>
                      <a:pt x="872914" y="486262"/>
                    </a:lnTo>
                    <a:lnTo>
                      <a:pt x="915446" y="452831"/>
                    </a:lnTo>
                    <a:lnTo>
                      <a:pt x="960003" y="420414"/>
                    </a:lnTo>
                    <a:lnTo>
                      <a:pt x="1005573" y="390022"/>
                    </a:lnTo>
                    <a:lnTo>
                      <a:pt x="1051142" y="359631"/>
                    </a:lnTo>
                    <a:lnTo>
                      <a:pt x="1097725" y="330252"/>
                    </a:lnTo>
                    <a:lnTo>
                      <a:pt x="1145321" y="301888"/>
                    </a:lnTo>
                    <a:lnTo>
                      <a:pt x="1192916" y="275548"/>
                    </a:lnTo>
                    <a:lnTo>
                      <a:pt x="1242536" y="250222"/>
                    </a:lnTo>
                    <a:lnTo>
                      <a:pt x="1292156" y="223883"/>
                    </a:lnTo>
                    <a:lnTo>
                      <a:pt x="1342789" y="200583"/>
                    </a:lnTo>
                    <a:lnTo>
                      <a:pt x="1392410" y="178296"/>
                    </a:lnTo>
                    <a:lnTo>
                      <a:pt x="1444055" y="158035"/>
                    </a:lnTo>
                    <a:lnTo>
                      <a:pt x="1496714" y="137774"/>
                    </a:lnTo>
                    <a:lnTo>
                      <a:pt x="1548360" y="119539"/>
                    </a:lnTo>
                    <a:lnTo>
                      <a:pt x="1602031" y="102317"/>
                    </a:lnTo>
                    <a:lnTo>
                      <a:pt x="1655701" y="86109"/>
                    </a:lnTo>
                    <a:lnTo>
                      <a:pt x="1710385" y="70913"/>
                    </a:lnTo>
                    <a:lnTo>
                      <a:pt x="1765070" y="58756"/>
                    </a:lnTo>
                    <a:lnTo>
                      <a:pt x="1820765" y="45587"/>
                    </a:lnTo>
                    <a:lnTo>
                      <a:pt x="1876462" y="35457"/>
                    </a:lnTo>
                    <a:lnTo>
                      <a:pt x="1932158" y="25326"/>
                    </a:lnTo>
                    <a:lnTo>
                      <a:pt x="1988868" y="17222"/>
                    </a:lnTo>
                    <a:lnTo>
                      <a:pt x="2046589" y="12157"/>
                    </a:lnTo>
                    <a:lnTo>
                      <a:pt x="2104311" y="6078"/>
                    </a:lnTo>
                    <a:lnTo>
                      <a:pt x="2163046" y="2027"/>
                    </a:lnTo>
                    <a:lnTo>
                      <a:pt x="2221780" y="0"/>
                    </a:lnTo>
                    <a:lnTo>
                      <a:pt x="2279502" y="0"/>
                    </a:lnTo>
                    <a:lnTo>
                      <a:pt x="2331147" y="0"/>
                    </a:lnTo>
                    <a:lnTo>
                      <a:pt x="2381780" y="2026"/>
                    </a:lnTo>
                    <a:lnTo>
                      <a:pt x="2432413" y="6078"/>
                    </a:lnTo>
                    <a:lnTo>
                      <a:pt x="2482034" y="9118"/>
                    </a:lnTo>
                    <a:lnTo>
                      <a:pt x="2532667" y="15196"/>
                    </a:lnTo>
                    <a:lnTo>
                      <a:pt x="2582287" y="21274"/>
                    </a:lnTo>
                    <a:lnTo>
                      <a:pt x="2631908" y="29379"/>
                    </a:lnTo>
                    <a:lnTo>
                      <a:pt x="2680515" y="37483"/>
                    </a:lnTo>
                    <a:close/>
                  </a:path>
                </a:pathLst>
              </a:custGeom>
              <a:solidFill>
                <a:srgbClr val="B3C1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ko-KR" altLang="en-US" sz="2400"/>
              </a:p>
            </p:txBody>
          </p:sp>
          <p:sp>
            <p:nvSpPr>
              <p:cNvPr id="117" name="Freeform 88"/>
              <p:cNvSpPr>
                <a:spLocks/>
              </p:cNvSpPr>
              <p:nvPr userDrawn="1"/>
            </p:nvSpPr>
            <p:spPr bwMode="auto">
              <a:xfrm rot="20844360">
                <a:off x="5523308" y="1771212"/>
                <a:ext cx="2751428" cy="2871983"/>
              </a:xfrm>
              <a:custGeom>
                <a:avLst/>
                <a:gdLst>
                  <a:gd name="T0" fmla="*/ 1 w 2719"/>
                  <a:gd name="T1" fmla="*/ 1696 h 2839"/>
                  <a:gd name="T2" fmla="*/ 9 w 2719"/>
                  <a:gd name="T3" fmla="*/ 1825 h 2839"/>
                  <a:gd name="T4" fmla="*/ 28 w 2719"/>
                  <a:gd name="T5" fmla="*/ 1950 h 2839"/>
                  <a:gd name="T6" fmla="*/ 54 w 2719"/>
                  <a:gd name="T7" fmla="*/ 2074 h 2839"/>
                  <a:gd name="T8" fmla="*/ 90 w 2719"/>
                  <a:gd name="T9" fmla="*/ 2192 h 2839"/>
                  <a:gd name="T10" fmla="*/ 135 w 2719"/>
                  <a:gd name="T11" fmla="*/ 2307 h 2839"/>
                  <a:gd name="T12" fmla="*/ 188 w 2719"/>
                  <a:gd name="T13" fmla="*/ 2418 h 2839"/>
                  <a:gd name="T14" fmla="*/ 248 w 2719"/>
                  <a:gd name="T15" fmla="*/ 2524 h 2839"/>
                  <a:gd name="T16" fmla="*/ 315 w 2719"/>
                  <a:gd name="T17" fmla="*/ 2625 h 2839"/>
                  <a:gd name="T18" fmla="*/ 390 w 2719"/>
                  <a:gd name="T19" fmla="*/ 2721 h 2839"/>
                  <a:gd name="T20" fmla="*/ 472 w 2719"/>
                  <a:gd name="T21" fmla="*/ 2810 h 2839"/>
                  <a:gd name="T22" fmla="*/ 2719 w 2719"/>
                  <a:gd name="T23" fmla="*/ 619 h 2839"/>
                  <a:gd name="T24" fmla="*/ 2674 w 2719"/>
                  <a:gd name="T25" fmla="*/ 575 h 2839"/>
                  <a:gd name="T26" fmla="*/ 2630 w 2719"/>
                  <a:gd name="T27" fmla="*/ 533 h 2839"/>
                  <a:gd name="T28" fmla="*/ 2495 w 2719"/>
                  <a:gd name="T29" fmla="*/ 423 h 2839"/>
                  <a:gd name="T30" fmla="*/ 2353 w 2719"/>
                  <a:gd name="T31" fmla="*/ 324 h 2839"/>
                  <a:gd name="T32" fmla="*/ 2282 w 2719"/>
                  <a:gd name="T33" fmla="*/ 280 h 2839"/>
                  <a:gd name="T34" fmla="*/ 2184 w 2719"/>
                  <a:gd name="T35" fmla="*/ 225 h 2839"/>
                  <a:gd name="T36" fmla="*/ 2148 w 2719"/>
                  <a:gd name="T37" fmla="*/ 205 h 2839"/>
                  <a:gd name="T38" fmla="*/ 2042 w 2719"/>
                  <a:gd name="T39" fmla="*/ 155 h 2839"/>
                  <a:gd name="T40" fmla="*/ 1879 w 2719"/>
                  <a:gd name="T41" fmla="*/ 91 h 2839"/>
                  <a:gd name="T42" fmla="*/ 1710 w 2719"/>
                  <a:gd name="T43" fmla="*/ 39 h 2839"/>
                  <a:gd name="T44" fmla="*/ 1679 w 2719"/>
                  <a:gd name="T45" fmla="*/ 31 h 2839"/>
                  <a:gd name="T46" fmla="*/ 1531 w 2719"/>
                  <a:gd name="T47" fmla="*/ 0 h 2839"/>
                  <a:gd name="T48" fmla="*/ 1452 w 2719"/>
                  <a:gd name="T49" fmla="*/ 8 h 2839"/>
                  <a:gd name="T50" fmla="*/ 1334 w 2719"/>
                  <a:gd name="T51" fmla="*/ 26 h 2839"/>
                  <a:gd name="T52" fmla="*/ 1219 w 2719"/>
                  <a:gd name="T53" fmla="*/ 54 h 2839"/>
                  <a:gd name="T54" fmla="*/ 1109 w 2719"/>
                  <a:gd name="T55" fmla="*/ 89 h 2839"/>
                  <a:gd name="T56" fmla="*/ 1000 w 2719"/>
                  <a:gd name="T57" fmla="*/ 131 h 2839"/>
                  <a:gd name="T58" fmla="*/ 897 w 2719"/>
                  <a:gd name="T59" fmla="*/ 181 h 2839"/>
                  <a:gd name="T60" fmla="*/ 797 w 2719"/>
                  <a:gd name="T61" fmla="*/ 236 h 2839"/>
                  <a:gd name="T62" fmla="*/ 701 w 2719"/>
                  <a:gd name="T63" fmla="*/ 299 h 2839"/>
                  <a:gd name="T64" fmla="*/ 610 w 2719"/>
                  <a:gd name="T65" fmla="*/ 368 h 2839"/>
                  <a:gd name="T66" fmla="*/ 525 w 2719"/>
                  <a:gd name="T67" fmla="*/ 443 h 2839"/>
                  <a:gd name="T68" fmla="*/ 444 w 2719"/>
                  <a:gd name="T69" fmla="*/ 524 h 2839"/>
                  <a:gd name="T70" fmla="*/ 370 w 2719"/>
                  <a:gd name="T71" fmla="*/ 609 h 2839"/>
                  <a:gd name="T72" fmla="*/ 302 w 2719"/>
                  <a:gd name="T73" fmla="*/ 700 h 2839"/>
                  <a:gd name="T74" fmla="*/ 239 w 2719"/>
                  <a:gd name="T75" fmla="*/ 796 h 2839"/>
                  <a:gd name="T76" fmla="*/ 183 w 2719"/>
                  <a:gd name="T77" fmla="*/ 896 h 2839"/>
                  <a:gd name="T78" fmla="*/ 134 w 2719"/>
                  <a:gd name="T79" fmla="*/ 999 h 2839"/>
                  <a:gd name="T80" fmla="*/ 92 w 2719"/>
                  <a:gd name="T81" fmla="*/ 1108 h 2839"/>
                  <a:gd name="T82" fmla="*/ 58 w 2719"/>
                  <a:gd name="T83" fmla="*/ 1219 h 2839"/>
                  <a:gd name="T84" fmla="*/ 31 w 2719"/>
                  <a:gd name="T85" fmla="*/ 1333 h 2839"/>
                  <a:gd name="T86" fmla="*/ 13 w 2719"/>
                  <a:gd name="T87" fmla="*/ 1451 h 2839"/>
                  <a:gd name="T88" fmla="*/ 2 w 2719"/>
                  <a:gd name="T89" fmla="*/ 1572 h 2839"/>
                  <a:gd name="T90" fmla="*/ 0 w 2719"/>
                  <a:gd name="T91" fmla="*/ 1652 h 2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19" h="2839">
                    <a:moveTo>
                      <a:pt x="0" y="1652"/>
                    </a:moveTo>
                    <a:lnTo>
                      <a:pt x="0" y="1652"/>
                    </a:lnTo>
                    <a:lnTo>
                      <a:pt x="1" y="1696"/>
                    </a:lnTo>
                    <a:lnTo>
                      <a:pt x="2" y="1740"/>
                    </a:lnTo>
                    <a:lnTo>
                      <a:pt x="6" y="1782"/>
                    </a:lnTo>
                    <a:lnTo>
                      <a:pt x="9" y="1825"/>
                    </a:lnTo>
                    <a:lnTo>
                      <a:pt x="14" y="1867"/>
                    </a:lnTo>
                    <a:lnTo>
                      <a:pt x="20" y="1909"/>
                    </a:lnTo>
                    <a:lnTo>
                      <a:pt x="28" y="1950"/>
                    </a:lnTo>
                    <a:lnTo>
                      <a:pt x="36" y="1992"/>
                    </a:lnTo>
                    <a:lnTo>
                      <a:pt x="44" y="2032"/>
                    </a:lnTo>
                    <a:lnTo>
                      <a:pt x="54" y="2074"/>
                    </a:lnTo>
                    <a:lnTo>
                      <a:pt x="66" y="2113"/>
                    </a:lnTo>
                    <a:lnTo>
                      <a:pt x="77" y="2153"/>
                    </a:lnTo>
                    <a:lnTo>
                      <a:pt x="90" y="2192"/>
                    </a:lnTo>
                    <a:lnTo>
                      <a:pt x="105" y="2231"/>
                    </a:lnTo>
                    <a:lnTo>
                      <a:pt x="119" y="2269"/>
                    </a:lnTo>
                    <a:lnTo>
                      <a:pt x="135" y="2307"/>
                    </a:lnTo>
                    <a:lnTo>
                      <a:pt x="152" y="2344"/>
                    </a:lnTo>
                    <a:lnTo>
                      <a:pt x="169" y="2381"/>
                    </a:lnTo>
                    <a:lnTo>
                      <a:pt x="188" y="2418"/>
                    </a:lnTo>
                    <a:lnTo>
                      <a:pt x="207" y="2453"/>
                    </a:lnTo>
                    <a:lnTo>
                      <a:pt x="227" y="2489"/>
                    </a:lnTo>
                    <a:lnTo>
                      <a:pt x="248" y="2524"/>
                    </a:lnTo>
                    <a:lnTo>
                      <a:pt x="269" y="2558"/>
                    </a:lnTo>
                    <a:lnTo>
                      <a:pt x="292" y="2592"/>
                    </a:lnTo>
                    <a:lnTo>
                      <a:pt x="315" y="2625"/>
                    </a:lnTo>
                    <a:lnTo>
                      <a:pt x="340" y="2657"/>
                    </a:lnTo>
                    <a:lnTo>
                      <a:pt x="365" y="2689"/>
                    </a:lnTo>
                    <a:lnTo>
                      <a:pt x="390" y="2721"/>
                    </a:lnTo>
                    <a:lnTo>
                      <a:pt x="417" y="2751"/>
                    </a:lnTo>
                    <a:lnTo>
                      <a:pt x="444" y="2780"/>
                    </a:lnTo>
                    <a:lnTo>
                      <a:pt x="472" y="2810"/>
                    </a:lnTo>
                    <a:lnTo>
                      <a:pt x="501" y="2839"/>
                    </a:lnTo>
                    <a:lnTo>
                      <a:pt x="2719" y="619"/>
                    </a:lnTo>
                    <a:lnTo>
                      <a:pt x="2719" y="619"/>
                    </a:lnTo>
                    <a:lnTo>
                      <a:pt x="2697" y="598"/>
                    </a:lnTo>
                    <a:lnTo>
                      <a:pt x="2674" y="575"/>
                    </a:lnTo>
                    <a:lnTo>
                      <a:pt x="2674" y="575"/>
                    </a:lnTo>
                    <a:lnTo>
                      <a:pt x="2672" y="572"/>
                    </a:lnTo>
                    <a:lnTo>
                      <a:pt x="2672" y="572"/>
                    </a:lnTo>
                    <a:lnTo>
                      <a:pt x="2630" y="533"/>
                    </a:lnTo>
                    <a:lnTo>
                      <a:pt x="2586" y="495"/>
                    </a:lnTo>
                    <a:lnTo>
                      <a:pt x="2541" y="458"/>
                    </a:lnTo>
                    <a:lnTo>
                      <a:pt x="2495" y="423"/>
                    </a:lnTo>
                    <a:lnTo>
                      <a:pt x="2449" y="388"/>
                    </a:lnTo>
                    <a:lnTo>
                      <a:pt x="2402" y="356"/>
                    </a:lnTo>
                    <a:lnTo>
                      <a:pt x="2353" y="324"/>
                    </a:lnTo>
                    <a:lnTo>
                      <a:pt x="2304" y="292"/>
                    </a:lnTo>
                    <a:lnTo>
                      <a:pt x="2304" y="292"/>
                    </a:lnTo>
                    <a:lnTo>
                      <a:pt x="2282" y="280"/>
                    </a:lnTo>
                    <a:lnTo>
                      <a:pt x="2282" y="280"/>
                    </a:lnTo>
                    <a:lnTo>
                      <a:pt x="2217" y="242"/>
                    </a:lnTo>
                    <a:lnTo>
                      <a:pt x="2184" y="225"/>
                    </a:lnTo>
                    <a:lnTo>
                      <a:pt x="2152" y="207"/>
                    </a:lnTo>
                    <a:lnTo>
                      <a:pt x="2152" y="207"/>
                    </a:lnTo>
                    <a:lnTo>
                      <a:pt x="2148" y="205"/>
                    </a:lnTo>
                    <a:lnTo>
                      <a:pt x="2148" y="205"/>
                    </a:lnTo>
                    <a:lnTo>
                      <a:pt x="2095" y="180"/>
                    </a:lnTo>
                    <a:lnTo>
                      <a:pt x="2042" y="155"/>
                    </a:lnTo>
                    <a:lnTo>
                      <a:pt x="1988" y="132"/>
                    </a:lnTo>
                    <a:lnTo>
                      <a:pt x="1934" y="112"/>
                    </a:lnTo>
                    <a:lnTo>
                      <a:pt x="1879" y="91"/>
                    </a:lnTo>
                    <a:lnTo>
                      <a:pt x="1822" y="73"/>
                    </a:lnTo>
                    <a:lnTo>
                      <a:pt x="1766" y="55"/>
                    </a:lnTo>
                    <a:lnTo>
                      <a:pt x="1710" y="39"/>
                    </a:lnTo>
                    <a:lnTo>
                      <a:pt x="1710" y="39"/>
                    </a:lnTo>
                    <a:lnTo>
                      <a:pt x="1679" y="31"/>
                    </a:lnTo>
                    <a:lnTo>
                      <a:pt x="1679" y="31"/>
                    </a:lnTo>
                    <a:lnTo>
                      <a:pt x="1606" y="15"/>
                    </a:lnTo>
                    <a:lnTo>
                      <a:pt x="1568" y="7"/>
                    </a:lnTo>
                    <a:lnTo>
                      <a:pt x="1531" y="0"/>
                    </a:lnTo>
                    <a:lnTo>
                      <a:pt x="1531" y="0"/>
                    </a:lnTo>
                    <a:lnTo>
                      <a:pt x="1491" y="3"/>
                    </a:lnTo>
                    <a:lnTo>
                      <a:pt x="1452" y="8"/>
                    </a:lnTo>
                    <a:lnTo>
                      <a:pt x="1411" y="13"/>
                    </a:lnTo>
                    <a:lnTo>
                      <a:pt x="1372" y="20"/>
                    </a:lnTo>
                    <a:lnTo>
                      <a:pt x="1334" y="26"/>
                    </a:lnTo>
                    <a:lnTo>
                      <a:pt x="1295" y="35"/>
                    </a:lnTo>
                    <a:lnTo>
                      <a:pt x="1257" y="44"/>
                    </a:lnTo>
                    <a:lnTo>
                      <a:pt x="1219" y="54"/>
                    </a:lnTo>
                    <a:lnTo>
                      <a:pt x="1182" y="64"/>
                    </a:lnTo>
                    <a:lnTo>
                      <a:pt x="1146" y="76"/>
                    </a:lnTo>
                    <a:lnTo>
                      <a:pt x="1109" y="89"/>
                    </a:lnTo>
                    <a:lnTo>
                      <a:pt x="1072" y="101"/>
                    </a:lnTo>
                    <a:lnTo>
                      <a:pt x="1036" y="116"/>
                    </a:lnTo>
                    <a:lnTo>
                      <a:pt x="1000" y="131"/>
                    </a:lnTo>
                    <a:lnTo>
                      <a:pt x="966" y="146"/>
                    </a:lnTo>
                    <a:lnTo>
                      <a:pt x="930" y="163"/>
                    </a:lnTo>
                    <a:lnTo>
                      <a:pt x="897" y="181"/>
                    </a:lnTo>
                    <a:lnTo>
                      <a:pt x="862" y="198"/>
                    </a:lnTo>
                    <a:lnTo>
                      <a:pt x="830" y="216"/>
                    </a:lnTo>
                    <a:lnTo>
                      <a:pt x="797" y="236"/>
                    </a:lnTo>
                    <a:lnTo>
                      <a:pt x="764" y="257"/>
                    </a:lnTo>
                    <a:lnTo>
                      <a:pt x="732" y="277"/>
                    </a:lnTo>
                    <a:lnTo>
                      <a:pt x="701" y="299"/>
                    </a:lnTo>
                    <a:lnTo>
                      <a:pt x="670" y="321"/>
                    </a:lnTo>
                    <a:lnTo>
                      <a:pt x="640" y="344"/>
                    </a:lnTo>
                    <a:lnTo>
                      <a:pt x="610" y="368"/>
                    </a:lnTo>
                    <a:lnTo>
                      <a:pt x="581" y="393"/>
                    </a:lnTo>
                    <a:lnTo>
                      <a:pt x="553" y="418"/>
                    </a:lnTo>
                    <a:lnTo>
                      <a:pt x="525" y="443"/>
                    </a:lnTo>
                    <a:lnTo>
                      <a:pt x="497" y="470"/>
                    </a:lnTo>
                    <a:lnTo>
                      <a:pt x="471" y="496"/>
                    </a:lnTo>
                    <a:lnTo>
                      <a:pt x="444" y="524"/>
                    </a:lnTo>
                    <a:lnTo>
                      <a:pt x="419" y="551"/>
                    </a:lnTo>
                    <a:lnTo>
                      <a:pt x="394" y="580"/>
                    </a:lnTo>
                    <a:lnTo>
                      <a:pt x="370" y="609"/>
                    </a:lnTo>
                    <a:lnTo>
                      <a:pt x="347" y="639"/>
                    </a:lnTo>
                    <a:lnTo>
                      <a:pt x="324" y="669"/>
                    </a:lnTo>
                    <a:lnTo>
                      <a:pt x="302" y="700"/>
                    </a:lnTo>
                    <a:lnTo>
                      <a:pt x="280" y="731"/>
                    </a:lnTo>
                    <a:lnTo>
                      <a:pt x="259" y="763"/>
                    </a:lnTo>
                    <a:lnTo>
                      <a:pt x="239" y="796"/>
                    </a:lnTo>
                    <a:lnTo>
                      <a:pt x="220" y="829"/>
                    </a:lnTo>
                    <a:lnTo>
                      <a:pt x="200" y="862"/>
                    </a:lnTo>
                    <a:lnTo>
                      <a:pt x="183" y="896"/>
                    </a:lnTo>
                    <a:lnTo>
                      <a:pt x="166" y="930"/>
                    </a:lnTo>
                    <a:lnTo>
                      <a:pt x="150" y="965"/>
                    </a:lnTo>
                    <a:lnTo>
                      <a:pt x="134" y="999"/>
                    </a:lnTo>
                    <a:lnTo>
                      <a:pt x="120" y="1035"/>
                    </a:lnTo>
                    <a:lnTo>
                      <a:pt x="105" y="1072"/>
                    </a:lnTo>
                    <a:lnTo>
                      <a:pt x="92" y="1108"/>
                    </a:lnTo>
                    <a:lnTo>
                      <a:pt x="79" y="1144"/>
                    </a:lnTo>
                    <a:lnTo>
                      <a:pt x="68" y="1181"/>
                    </a:lnTo>
                    <a:lnTo>
                      <a:pt x="58" y="1219"/>
                    </a:lnTo>
                    <a:lnTo>
                      <a:pt x="48" y="1257"/>
                    </a:lnTo>
                    <a:lnTo>
                      <a:pt x="39" y="1295"/>
                    </a:lnTo>
                    <a:lnTo>
                      <a:pt x="31" y="1333"/>
                    </a:lnTo>
                    <a:lnTo>
                      <a:pt x="24" y="1372"/>
                    </a:lnTo>
                    <a:lnTo>
                      <a:pt x="17" y="1412"/>
                    </a:lnTo>
                    <a:lnTo>
                      <a:pt x="13" y="1451"/>
                    </a:lnTo>
                    <a:lnTo>
                      <a:pt x="8" y="1491"/>
                    </a:lnTo>
                    <a:lnTo>
                      <a:pt x="5" y="1531"/>
                    </a:lnTo>
                    <a:lnTo>
                      <a:pt x="2" y="1572"/>
                    </a:lnTo>
                    <a:lnTo>
                      <a:pt x="1" y="1612"/>
                    </a:lnTo>
                    <a:lnTo>
                      <a:pt x="0" y="1652"/>
                    </a:lnTo>
                    <a:lnTo>
                      <a:pt x="0" y="1652"/>
                    </a:lnTo>
                    <a:close/>
                  </a:path>
                </a:pathLst>
              </a:custGeom>
              <a:solidFill>
                <a:srgbClr val="D2E0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1" name="자유형 740"/>
              <p:cNvSpPr>
                <a:spLocks/>
              </p:cNvSpPr>
              <p:nvPr userDrawn="1"/>
            </p:nvSpPr>
            <p:spPr bwMode="auto">
              <a:xfrm rot="20844360">
                <a:off x="6013741" y="3336795"/>
                <a:ext cx="3211611" cy="2057023"/>
              </a:xfrm>
              <a:custGeom>
                <a:avLst/>
                <a:gdLst>
                  <a:gd name="connsiteX0" fmla="*/ 3142670 w 3211611"/>
                  <a:gd name="connsiteY0" fmla="*/ 0 h 2057023"/>
                  <a:gd name="connsiteX1" fmla="*/ 3157877 w 3211611"/>
                  <a:gd name="connsiteY1" fmla="*/ 64880 h 2057023"/>
                  <a:gd name="connsiteX2" fmla="*/ 3172072 w 3211611"/>
                  <a:gd name="connsiteY2" fmla="*/ 132804 h 2057023"/>
                  <a:gd name="connsiteX3" fmla="*/ 3183223 w 3211611"/>
                  <a:gd name="connsiteY3" fmla="*/ 199712 h 2057023"/>
                  <a:gd name="connsiteX4" fmla="*/ 3194376 w 3211611"/>
                  <a:gd name="connsiteY4" fmla="*/ 268648 h 2057023"/>
                  <a:gd name="connsiteX5" fmla="*/ 3201472 w 3211611"/>
                  <a:gd name="connsiteY5" fmla="*/ 337585 h 2057023"/>
                  <a:gd name="connsiteX6" fmla="*/ 3206542 w 3211611"/>
                  <a:gd name="connsiteY6" fmla="*/ 406521 h 2057023"/>
                  <a:gd name="connsiteX7" fmla="*/ 3210597 w 3211611"/>
                  <a:gd name="connsiteY7" fmla="*/ 476471 h 2057023"/>
                  <a:gd name="connsiteX8" fmla="*/ 3211611 w 3211611"/>
                  <a:gd name="connsiteY8" fmla="*/ 547436 h 2057023"/>
                  <a:gd name="connsiteX9" fmla="*/ 3211611 w 3211611"/>
                  <a:gd name="connsiteY9" fmla="*/ 606234 h 2057023"/>
                  <a:gd name="connsiteX10" fmla="*/ 3209584 w 3211611"/>
                  <a:gd name="connsiteY10" fmla="*/ 664019 h 2057023"/>
                  <a:gd name="connsiteX11" fmla="*/ 3205529 w 3211611"/>
                  <a:gd name="connsiteY11" fmla="*/ 722818 h 2057023"/>
                  <a:gd name="connsiteX12" fmla="*/ 3199445 w 3211611"/>
                  <a:gd name="connsiteY12" fmla="*/ 780602 h 2057023"/>
                  <a:gd name="connsiteX13" fmla="*/ 3194376 w 3211611"/>
                  <a:gd name="connsiteY13" fmla="*/ 838388 h 2057023"/>
                  <a:gd name="connsiteX14" fmla="*/ 3186266 w 3211611"/>
                  <a:gd name="connsiteY14" fmla="*/ 894146 h 2057023"/>
                  <a:gd name="connsiteX15" fmla="*/ 3176127 w 3211611"/>
                  <a:gd name="connsiteY15" fmla="*/ 950916 h 2057023"/>
                  <a:gd name="connsiteX16" fmla="*/ 3165989 w 3211611"/>
                  <a:gd name="connsiteY16" fmla="*/ 1007687 h 2057023"/>
                  <a:gd name="connsiteX17" fmla="*/ 3152809 w 3211611"/>
                  <a:gd name="connsiteY17" fmla="*/ 1062431 h 2057023"/>
                  <a:gd name="connsiteX18" fmla="*/ 3140642 w 3211611"/>
                  <a:gd name="connsiteY18" fmla="*/ 1117175 h 2057023"/>
                  <a:gd name="connsiteX19" fmla="*/ 3125435 w 3211611"/>
                  <a:gd name="connsiteY19" fmla="*/ 1171918 h 2057023"/>
                  <a:gd name="connsiteX20" fmla="*/ 3109213 w 3211611"/>
                  <a:gd name="connsiteY20" fmla="*/ 1225648 h 2057023"/>
                  <a:gd name="connsiteX21" fmla="*/ 3091979 w 3211611"/>
                  <a:gd name="connsiteY21" fmla="*/ 1279378 h 2057023"/>
                  <a:gd name="connsiteX22" fmla="*/ 3073729 w 3211611"/>
                  <a:gd name="connsiteY22" fmla="*/ 1332094 h 2057023"/>
                  <a:gd name="connsiteX23" fmla="*/ 3053453 w 3211611"/>
                  <a:gd name="connsiteY23" fmla="*/ 1383797 h 2057023"/>
                  <a:gd name="connsiteX24" fmla="*/ 3033176 w 3211611"/>
                  <a:gd name="connsiteY24" fmla="*/ 1435499 h 2057023"/>
                  <a:gd name="connsiteX25" fmla="*/ 3010872 w 3211611"/>
                  <a:gd name="connsiteY25" fmla="*/ 1486187 h 2057023"/>
                  <a:gd name="connsiteX26" fmla="*/ 2986540 w 3211611"/>
                  <a:gd name="connsiteY26" fmla="*/ 1535862 h 2057023"/>
                  <a:gd name="connsiteX27" fmla="*/ 2962208 w 3211611"/>
                  <a:gd name="connsiteY27" fmla="*/ 1586551 h 2057023"/>
                  <a:gd name="connsiteX28" fmla="*/ 2935849 w 3211611"/>
                  <a:gd name="connsiteY28" fmla="*/ 1635212 h 2057023"/>
                  <a:gd name="connsiteX29" fmla="*/ 2909488 w 3211611"/>
                  <a:gd name="connsiteY29" fmla="*/ 1682860 h 2057023"/>
                  <a:gd name="connsiteX30" fmla="*/ 2881101 w 3211611"/>
                  <a:gd name="connsiteY30" fmla="*/ 1729493 h 2057023"/>
                  <a:gd name="connsiteX31" fmla="*/ 2851700 w 3211611"/>
                  <a:gd name="connsiteY31" fmla="*/ 1776126 h 2057023"/>
                  <a:gd name="connsiteX32" fmla="*/ 2821285 w 3211611"/>
                  <a:gd name="connsiteY32" fmla="*/ 1822760 h 2057023"/>
                  <a:gd name="connsiteX33" fmla="*/ 2790870 w 3211611"/>
                  <a:gd name="connsiteY33" fmla="*/ 1867365 h 2057023"/>
                  <a:gd name="connsiteX34" fmla="*/ 2758427 w 3211611"/>
                  <a:gd name="connsiteY34" fmla="*/ 1911972 h 2057023"/>
                  <a:gd name="connsiteX35" fmla="*/ 2724971 w 3211611"/>
                  <a:gd name="connsiteY35" fmla="*/ 1956577 h 2057023"/>
                  <a:gd name="connsiteX36" fmla="*/ 2690500 w 3211611"/>
                  <a:gd name="connsiteY36" fmla="*/ 1998142 h 2057023"/>
                  <a:gd name="connsiteX37" fmla="*/ 2655016 w 3211611"/>
                  <a:gd name="connsiteY37" fmla="*/ 2040721 h 2057023"/>
                  <a:gd name="connsiteX38" fmla="*/ 2640342 w 3211611"/>
                  <a:gd name="connsiteY38" fmla="*/ 2057023 h 2057023"/>
                  <a:gd name="connsiteX39" fmla="*/ 0 w 3211611"/>
                  <a:gd name="connsiteY39" fmla="*/ 1467127 h 2057023"/>
                  <a:gd name="connsiteX40" fmla="*/ 286698 w 3211611"/>
                  <a:gd name="connsiteY40" fmla="*/ 1181043 h 2057023"/>
                  <a:gd name="connsiteX41" fmla="*/ 314073 w 3211611"/>
                  <a:gd name="connsiteY41" fmla="*/ 1208414 h 2057023"/>
                  <a:gd name="connsiteX42" fmla="*/ 343474 w 3211611"/>
                  <a:gd name="connsiteY42" fmla="*/ 1234772 h 2057023"/>
                  <a:gd name="connsiteX43" fmla="*/ 373889 w 3211611"/>
                  <a:gd name="connsiteY43" fmla="*/ 1260117 h 2057023"/>
                  <a:gd name="connsiteX44" fmla="*/ 404304 w 3211611"/>
                  <a:gd name="connsiteY44" fmla="*/ 1286474 h 2057023"/>
                  <a:gd name="connsiteX45" fmla="*/ 435733 w 3211611"/>
                  <a:gd name="connsiteY45" fmla="*/ 1310806 h 2057023"/>
                  <a:gd name="connsiteX46" fmla="*/ 467162 w 3211611"/>
                  <a:gd name="connsiteY46" fmla="*/ 1335136 h 2057023"/>
                  <a:gd name="connsiteX47" fmla="*/ 499604 w 3211611"/>
                  <a:gd name="connsiteY47" fmla="*/ 1358453 h 2057023"/>
                  <a:gd name="connsiteX48" fmla="*/ 533060 w 3211611"/>
                  <a:gd name="connsiteY48" fmla="*/ 1380755 h 2057023"/>
                  <a:gd name="connsiteX49" fmla="*/ 566517 w 3211611"/>
                  <a:gd name="connsiteY49" fmla="*/ 1403059 h 2057023"/>
                  <a:gd name="connsiteX50" fmla="*/ 599973 w 3211611"/>
                  <a:gd name="connsiteY50" fmla="*/ 1424348 h 2057023"/>
                  <a:gd name="connsiteX51" fmla="*/ 635458 w 3211611"/>
                  <a:gd name="connsiteY51" fmla="*/ 1443609 h 2057023"/>
                  <a:gd name="connsiteX52" fmla="*/ 670942 w 3211611"/>
                  <a:gd name="connsiteY52" fmla="*/ 1462871 h 2057023"/>
                  <a:gd name="connsiteX53" fmla="*/ 705413 w 3211611"/>
                  <a:gd name="connsiteY53" fmla="*/ 1481119 h 2057023"/>
                  <a:gd name="connsiteX54" fmla="*/ 741910 w 3211611"/>
                  <a:gd name="connsiteY54" fmla="*/ 1498353 h 2057023"/>
                  <a:gd name="connsiteX55" fmla="*/ 779422 w 3211611"/>
                  <a:gd name="connsiteY55" fmla="*/ 1516601 h 2057023"/>
                  <a:gd name="connsiteX56" fmla="*/ 814907 w 3211611"/>
                  <a:gd name="connsiteY56" fmla="*/ 1531808 h 2057023"/>
                  <a:gd name="connsiteX57" fmla="*/ 853433 w 3211611"/>
                  <a:gd name="connsiteY57" fmla="*/ 1547014 h 2057023"/>
                  <a:gd name="connsiteX58" fmla="*/ 890944 w 3211611"/>
                  <a:gd name="connsiteY58" fmla="*/ 1562221 h 2057023"/>
                  <a:gd name="connsiteX59" fmla="*/ 929470 w 3211611"/>
                  <a:gd name="connsiteY59" fmla="*/ 1574385 h 2057023"/>
                  <a:gd name="connsiteX60" fmla="*/ 967995 w 3211611"/>
                  <a:gd name="connsiteY60" fmla="*/ 1587565 h 2057023"/>
                  <a:gd name="connsiteX61" fmla="*/ 1007535 w 3211611"/>
                  <a:gd name="connsiteY61" fmla="*/ 1598716 h 2057023"/>
                  <a:gd name="connsiteX62" fmla="*/ 1047075 w 3211611"/>
                  <a:gd name="connsiteY62" fmla="*/ 1609868 h 2057023"/>
                  <a:gd name="connsiteX63" fmla="*/ 1087628 w 3211611"/>
                  <a:gd name="connsiteY63" fmla="*/ 1618992 h 2057023"/>
                  <a:gd name="connsiteX64" fmla="*/ 1127168 w 3211611"/>
                  <a:gd name="connsiteY64" fmla="*/ 1627102 h 2057023"/>
                  <a:gd name="connsiteX65" fmla="*/ 1167722 w 3211611"/>
                  <a:gd name="connsiteY65" fmla="*/ 1635213 h 2057023"/>
                  <a:gd name="connsiteX66" fmla="*/ 1208274 w 3211611"/>
                  <a:gd name="connsiteY66" fmla="*/ 1642308 h 2057023"/>
                  <a:gd name="connsiteX67" fmla="*/ 1250855 w 3211611"/>
                  <a:gd name="connsiteY67" fmla="*/ 1648391 h 2057023"/>
                  <a:gd name="connsiteX68" fmla="*/ 1292422 w 3211611"/>
                  <a:gd name="connsiteY68" fmla="*/ 1652446 h 2057023"/>
                  <a:gd name="connsiteX69" fmla="*/ 1332976 w 3211611"/>
                  <a:gd name="connsiteY69" fmla="*/ 1656501 h 2057023"/>
                  <a:gd name="connsiteX70" fmla="*/ 1376571 w 3211611"/>
                  <a:gd name="connsiteY70" fmla="*/ 1658528 h 2057023"/>
                  <a:gd name="connsiteX71" fmla="*/ 1419152 w 3211611"/>
                  <a:gd name="connsiteY71" fmla="*/ 1659542 h 2057023"/>
                  <a:gd name="connsiteX72" fmla="*/ 1461733 w 3211611"/>
                  <a:gd name="connsiteY72" fmla="*/ 1660556 h 2057023"/>
                  <a:gd name="connsiteX73" fmla="*/ 1505327 w 3211611"/>
                  <a:gd name="connsiteY73" fmla="*/ 1659543 h 2057023"/>
                  <a:gd name="connsiteX74" fmla="*/ 1546896 w 3211611"/>
                  <a:gd name="connsiteY74" fmla="*/ 1658529 h 2057023"/>
                  <a:gd name="connsiteX75" fmla="*/ 1590490 w 3211611"/>
                  <a:gd name="connsiteY75" fmla="*/ 1656502 h 2057023"/>
                  <a:gd name="connsiteX76" fmla="*/ 1632057 w 3211611"/>
                  <a:gd name="connsiteY76" fmla="*/ 1652446 h 2057023"/>
                  <a:gd name="connsiteX77" fmla="*/ 1674639 w 3211611"/>
                  <a:gd name="connsiteY77" fmla="*/ 1647377 h 2057023"/>
                  <a:gd name="connsiteX78" fmla="*/ 1716205 w 3211611"/>
                  <a:gd name="connsiteY78" fmla="*/ 1641295 h 2057023"/>
                  <a:gd name="connsiteX79" fmla="*/ 1756759 w 3211611"/>
                  <a:gd name="connsiteY79" fmla="*/ 1635212 h 2057023"/>
                  <a:gd name="connsiteX80" fmla="*/ 1798326 w 3211611"/>
                  <a:gd name="connsiteY80" fmla="*/ 1627102 h 2057023"/>
                  <a:gd name="connsiteX81" fmla="*/ 1838880 w 3211611"/>
                  <a:gd name="connsiteY81" fmla="*/ 1617978 h 2057023"/>
                  <a:gd name="connsiteX82" fmla="*/ 1878420 w 3211611"/>
                  <a:gd name="connsiteY82" fmla="*/ 1608854 h 2057023"/>
                  <a:gd name="connsiteX83" fmla="*/ 1917958 w 3211611"/>
                  <a:gd name="connsiteY83" fmla="*/ 1597702 h 2057023"/>
                  <a:gd name="connsiteX84" fmla="*/ 1957498 w 3211611"/>
                  <a:gd name="connsiteY84" fmla="*/ 1586551 h 2057023"/>
                  <a:gd name="connsiteX85" fmla="*/ 1998052 w 3211611"/>
                  <a:gd name="connsiteY85" fmla="*/ 1573372 h 2057023"/>
                  <a:gd name="connsiteX86" fmla="*/ 2036577 w 3211611"/>
                  <a:gd name="connsiteY86" fmla="*/ 1560193 h 2057023"/>
                  <a:gd name="connsiteX87" fmla="*/ 2073076 w 3211611"/>
                  <a:gd name="connsiteY87" fmla="*/ 1544986 h 2057023"/>
                  <a:gd name="connsiteX88" fmla="*/ 2111601 w 3211611"/>
                  <a:gd name="connsiteY88" fmla="*/ 1529780 h 2057023"/>
                  <a:gd name="connsiteX89" fmla="*/ 2149113 w 3211611"/>
                  <a:gd name="connsiteY89" fmla="*/ 1513559 h 2057023"/>
                  <a:gd name="connsiteX90" fmla="*/ 2185611 w 3211611"/>
                  <a:gd name="connsiteY90" fmla="*/ 1497339 h 2057023"/>
                  <a:gd name="connsiteX91" fmla="*/ 2222108 w 3211611"/>
                  <a:gd name="connsiteY91" fmla="*/ 1479091 h 2057023"/>
                  <a:gd name="connsiteX92" fmla="*/ 2257593 w 3211611"/>
                  <a:gd name="connsiteY92" fmla="*/ 1459830 h 2057023"/>
                  <a:gd name="connsiteX93" fmla="*/ 2293078 w 3211611"/>
                  <a:gd name="connsiteY93" fmla="*/ 1441582 h 2057023"/>
                  <a:gd name="connsiteX94" fmla="*/ 2327548 w 3211611"/>
                  <a:gd name="connsiteY94" fmla="*/ 1420292 h 2057023"/>
                  <a:gd name="connsiteX95" fmla="*/ 2362018 w 3211611"/>
                  <a:gd name="connsiteY95" fmla="*/ 1399003 h 2057023"/>
                  <a:gd name="connsiteX96" fmla="*/ 2395475 w 3211611"/>
                  <a:gd name="connsiteY96" fmla="*/ 1377715 h 2057023"/>
                  <a:gd name="connsiteX97" fmla="*/ 2427918 w 3211611"/>
                  <a:gd name="connsiteY97" fmla="*/ 1355411 h 2057023"/>
                  <a:gd name="connsiteX98" fmla="*/ 2461374 w 3211611"/>
                  <a:gd name="connsiteY98" fmla="*/ 1332095 h 2057023"/>
                  <a:gd name="connsiteX99" fmla="*/ 2493816 w 3211611"/>
                  <a:gd name="connsiteY99" fmla="*/ 1307764 h 2057023"/>
                  <a:gd name="connsiteX100" fmla="*/ 2525246 w 3211611"/>
                  <a:gd name="connsiteY100" fmla="*/ 1281406 h 2057023"/>
                  <a:gd name="connsiteX101" fmla="*/ 2555660 w 3211611"/>
                  <a:gd name="connsiteY101" fmla="*/ 1256062 h 2057023"/>
                  <a:gd name="connsiteX102" fmla="*/ 2586075 w 3211611"/>
                  <a:gd name="connsiteY102" fmla="*/ 1230718 h 2057023"/>
                  <a:gd name="connsiteX103" fmla="*/ 2615476 w 3211611"/>
                  <a:gd name="connsiteY103" fmla="*/ 1202332 h 2057023"/>
                  <a:gd name="connsiteX104" fmla="*/ 2643864 w 3211611"/>
                  <a:gd name="connsiteY104" fmla="*/ 1174960 h 2057023"/>
                  <a:gd name="connsiteX105" fmla="*/ 2672251 w 3211611"/>
                  <a:gd name="connsiteY105" fmla="*/ 1146574 h 2057023"/>
                  <a:gd name="connsiteX106" fmla="*/ 2698611 w 3211611"/>
                  <a:gd name="connsiteY106" fmla="*/ 1117175 h 2057023"/>
                  <a:gd name="connsiteX107" fmla="*/ 2725985 w 3211611"/>
                  <a:gd name="connsiteY107" fmla="*/ 1087775 h 2057023"/>
                  <a:gd name="connsiteX108" fmla="*/ 2751330 w 3211611"/>
                  <a:gd name="connsiteY108" fmla="*/ 1057362 h 2057023"/>
                  <a:gd name="connsiteX109" fmla="*/ 2777690 w 3211611"/>
                  <a:gd name="connsiteY109" fmla="*/ 1025935 h 2057023"/>
                  <a:gd name="connsiteX110" fmla="*/ 2802022 w 3211611"/>
                  <a:gd name="connsiteY110" fmla="*/ 994509 h 2057023"/>
                  <a:gd name="connsiteX111" fmla="*/ 2826354 w 3211611"/>
                  <a:gd name="connsiteY111" fmla="*/ 962067 h 2057023"/>
                  <a:gd name="connsiteX112" fmla="*/ 2848658 w 3211611"/>
                  <a:gd name="connsiteY112" fmla="*/ 928614 h 2057023"/>
                  <a:gd name="connsiteX113" fmla="*/ 2871977 w 3211611"/>
                  <a:gd name="connsiteY113" fmla="*/ 895159 h 2057023"/>
                  <a:gd name="connsiteX114" fmla="*/ 2893267 w 3211611"/>
                  <a:gd name="connsiteY114" fmla="*/ 861704 h 2057023"/>
                  <a:gd name="connsiteX115" fmla="*/ 2913544 w 3211611"/>
                  <a:gd name="connsiteY115" fmla="*/ 827236 h 2057023"/>
                  <a:gd name="connsiteX116" fmla="*/ 2933820 w 3211611"/>
                  <a:gd name="connsiteY116" fmla="*/ 792768 h 2057023"/>
                  <a:gd name="connsiteX117" fmla="*/ 2952070 w 3211611"/>
                  <a:gd name="connsiteY117" fmla="*/ 756272 h 2057023"/>
                  <a:gd name="connsiteX118" fmla="*/ 2971333 w 3211611"/>
                  <a:gd name="connsiteY118" fmla="*/ 719777 h 2057023"/>
                  <a:gd name="connsiteX119" fmla="*/ 2988568 w 3211611"/>
                  <a:gd name="connsiteY119" fmla="*/ 684294 h 2057023"/>
                  <a:gd name="connsiteX120" fmla="*/ 3004789 w 3211611"/>
                  <a:gd name="connsiteY120" fmla="*/ 646785 h 2057023"/>
                  <a:gd name="connsiteX121" fmla="*/ 3021011 w 3211611"/>
                  <a:gd name="connsiteY121" fmla="*/ 609275 h 2057023"/>
                  <a:gd name="connsiteX122" fmla="*/ 3035204 w 3211611"/>
                  <a:gd name="connsiteY122" fmla="*/ 571766 h 2057023"/>
                  <a:gd name="connsiteX123" fmla="*/ 3049397 w 3211611"/>
                  <a:gd name="connsiteY123" fmla="*/ 533242 h 2057023"/>
                  <a:gd name="connsiteX124" fmla="*/ 3062577 w 3211611"/>
                  <a:gd name="connsiteY124" fmla="*/ 493706 h 2057023"/>
                  <a:gd name="connsiteX125" fmla="*/ 3074743 w 3211611"/>
                  <a:gd name="connsiteY125" fmla="*/ 455183 h 2057023"/>
                  <a:gd name="connsiteX126" fmla="*/ 3085895 w 3211611"/>
                  <a:gd name="connsiteY126" fmla="*/ 415645 h 2057023"/>
                  <a:gd name="connsiteX127" fmla="*/ 3096034 w 3211611"/>
                  <a:gd name="connsiteY127" fmla="*/ 375095 h 2057023"/>
                  <a:gd name="connsiteX128" fmla="*/ 3105158 w 3211611"/>
                  <a:gd name="connsiteY128" fmla="*/ 334544 h 2057023"/>
                  <a:gd name="connsiteX129" fmla="*/ 3113269 w 3211611"/>
                  <a:gd name="connsiteY129" fmla="*/ 293993 h 2057023"/>
                  <a:gd name="connsiteX130" fmla="*/ 3120366 w 3211611"/>
                  <a:gd name="connsiteY130" fmla="*/ 253442 h 2057023"/>
                  <a:gd name="connsiteX131" fmla="*/ 3127463 w 3211611"/>
                  <a:gd name="connsiteY131" fmla="*/ 210863 h 2057023"/>
                  <a:gd name="connsiteX132" fmla="*/ 3132532 w 3211611"/>
                  <a:gd name="connsiteY132" fmla="*/ 169298 h 2057023"/>
                  <a:gd name="connsiteX133" fmla="*/ 3136587 w 3211611"/>
                  <a:gd name="connsiteY133" fmla="*/ 127735 h 2057023"/>
                  <a:gd name="connsiteX134" fmla="*/ 3139628 w 3211611"/>
                  <a:gd name="connsiteY134" fmla="*/ 85156 h 2057023"/>
                  <a:gd name="connsiteX135" fmla="*/ 3141657 w 3211611"/>
                  <a:gd name="connsiteY135" fmla="*/ 41564 h 2057023"/>
                  <a:gd name="connsiteX136" fmla="*/ 3142670 w 3211611"/>
                  <a:gd name="connsiteY136" fmla="*/ 0 h 2057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3211611" h="2057023">
                    <a:moveTo>
                      <a:pt x="3142670" y="0"/>
                    </a:moveTo>
                    <a:lnTo>
                      <a:pt x="3157877" y="64880"/>
                    </a:lnTo>
                    <a:lnTo>
                      <a:pt x="3172072" y="132804"/>
                    </a:lnTo>
                    <a:lnTo>
                      <a:pt x="3183223" y="199712"/>
                    </a:lnTo>
                    <a:lnTo>
                      <a:pt x="3194376" y="268648"/>
                    </a:lnTo>
                    <a:lnTo>
                      <a:pt x="3201472" y="337585"/>
                    </a:lnTo>
                    <a:lnTo>
                      <a:pt x="3206542" y="406521"/>
                    </a:lnTo>
                    <a:lnTo>
                      <a:pt x="3210597" y="476471"/>
                    </a:lnTo>
                    <a:lnTo>
                      <a:pt x="3211611" y="547436"/>
                    </a:lnTo>
                    <a:lnTo>
                      <a:pt x="3211611" y="606234"/>
                    </a:lnTo>
                    <a:lnTo>
                      <a:pt x="3209584" y="664019"/>
                    </a:lnTo>
                    <a:lnTo>
                      <a:pt x="3205529" y="722818"/>
                    </a:lnTo>
                    <a:lnTo>
                      <a:pt x="3199445" y="780602"/>
                    </a:lnTo>
                    <a:lnTo>
                      <a:pt x="3194376" y="838388"/>
                    </a:lnTo>
                    <a:lnTo>
                      <a:pt x="3186266" y="894146"/>
                    </a:lnTo>
                    <a:lnTo>
                      <a:pt x="3176127" y="950916"/>
                    </a:lnTo>
                    <a:lnTo>
                      <a:pt x="3165989" y="1007687"/>
                    </a:lnTo>
                    <a:lnTo>
                      <a:pt x="3152809" y="1062431"/>
                    </a:lnTo>
                    <a:lnTo>
                      <a:pt x="3140642" y="1117175"/>
                    </a:lnTo>
                    <a:lnTo>
                      <a:pt x="3125435" y="1171918"/>
                    </a:lnTo>
                    <a:lnTo>
                      <a:pt x="3109213" y="1225648"/>
                    </a:lnTo>
                    <a:lnTo>
                      <a:pt x="3091979" y="1279378"/>
                    </a:lnTo>
                    <a:lnTo>
                      <a:pt x="3073729" y="1332094"/>
                    </a:lnTo>
                    <a:lnTo>
                      <a:pt x="3053453" y="1383797"/>
                    </a:lnTo>
                    <a:lnTo>
                      <a:pt x="3033176" y="1435499"/>
                    </a:lnTo>
                    <a:lnTo>
                      <a:pt x="3010872" y="1486187"/>
                    </a:lnTo>
                    <a:lnTo>
                      <a:pt x="2986540" y="1535862"/>
                    </a:lnTo>
                    <a:lnTo>
                      <a:pt x="2962208" y="1586551"/>
                    </a:lnTo>
                    <a:lnTo>
                      <a:pt x="2935849" y="1635212"/>
                    </a:lnTo>
                    <a:lnTo>
                      <a:pt x="2909488" y="1682860"/>
                    </a:lnTo>
                    <a:lnTo>
                      <a:pt x="2881101" y="1729493"/>
                    </a:lnTo>
                    <a:lnTo>
                      <a:pt x="2851700" y="1776126"/>
                    </a:lnTo>
                    <a:lnTo>
                      <a:pt x="2821285" y="1822760"/>
                    </a:lnTo>
                    <a:lnTo>
                      <a:pt x="2790870" y="1867365"/>
                    </a:lnTo>
                    <a:lnTo>
                      <a:pt x="2758427" y="1911972"/>
                    </a:lnTo>
                    <a:lnTo>
                      <a:pt x="2724971" y="1956577"/>
                    </a:lnTo>
                    <a:lnTo>
                      <a:pt x="2690500" y="1998142"/>
                    </a:lnTo>
                    <a:lnTo>
                      <a:pt x="2655016" y="2040721"/>
                    </a:lnTo>
                    <a:lnTo>
                      <a:pt x="2640342" y="2057023"/>
                    </a:lnTo>
                    <a:lnTo>
                      <a:pt x="0" y="1467127"/>
                    </a:lnTo>
                    <a:lnTo>
                      <a:pt x="286698" y="1181043"/>
                    </a:lnTo>
                    <a:lnTo>
                      <a:pt x="314073" y="1208414"/>
                    </a:lnTo>
                    <a:lnTo>
                      <a:pt x="343474" y="1234772"/>
                    </a:lnTo>
                    <a:lnTo>
                      <a:pt x="373889" y="1260117"/>
                    </a:lnTo>
                    <a:lnTo>
                      <a:pt x="404304" y="1286474"/>
                    </a:lnTo>
                    <a:lnTo>
                      <a:pt x="435733" y="1310806"/>
                    </a:lnTo>
                    <a:lnTo>
                      <a:pt x="467162" y="1335136"/>
                    </a:lnTo>
                    <a:lnTo>
                      <a:pt x="499604" y="1358453"/>
                    </a:lnTo>
                    <a:lnTo>
                      <a:pt x="533060" y="1380755"/>
                    </a:lnTo>
                    <a:lnTo>
                      <a:pt x="566517" y="1403059"/>
                    </a:lnTo>
                    <a:lnTo>
                      <a:pt x="599973" y="1424348"/>
                    </a:lnTo>
                    <a:lnTo>
                      <a:pt x="635458" y="1443609"/>
                    </a:lnTo>
                    <a:lnTo>
                      <a:pt x="670942" y="1462871"/>
                    </a:lnTo>
                    <a:lnTo>
                      <a:pt x="705413" y="1481119"/>
                    </a:lnTo>
                    <a:lnTo>
                      <a:pt x="741910" y="1498353"/>
                    </a:lnTo>
                    <a:lnTo>
                      <a:pt x="779422" y="1516601"/>
                    </a:lnTo>
                    <a:lnTo>
                      <a:pt x="814907" y="1531808"/>
                    </a:lnTo>
                    <a:lnTo>
                      <a:pt x="853433" y="1547014"/>
                    </a:lnTo>
                    <a:lnTo>
                      <a:pt x="890944" y="1562221"/>
                    </a:lnTo>
                    <a:lnTo>
                      <a:pt x="929470" y="1574385"/>
                    </a:lnTo>
                    <a:lnTo>
                      <a:pt x="967995" y="1587565"/>
                    </a:lnTo>
                    <a:lnTo>
                      <a:pt x="1007535" y="1598716"/>
                    </a:lnTo>
                    <a:lnTo>
                      <a:pt x="1047075" y="1609868"/>
                    </a:lnTo>
                    <a:lnTo>
                      <a:pt x="1087628" y="1618992"/>
                    </a:lnTo>
                    <a:lnTo>
                      <a:pt x="1127168" y="1627102"/>
                    </a:lnTo>
                    <a:lnTo>
                      <a:pt x="1167722" y="1635213"/>
                    </a:lnTo>
                    <a:lnTo>
                      <a:pt x="1208274" y="1642308"/>
                    </a:lnTo>
                    <a:lnTo>
                      <a:pt x="1250855" y="1648391"/>
                    </a:lnTo>
                    <a:lnTo>
                      <a:pt x="1292422" y="1652446"/>
                    </a:lnTo>
                    <a:lnTo>
                      <a:pt x="1332976" y="1656501"/>
                    </a:lnTo>
                    <a:lnTo>
                      <a:pt x="1376571" y="1658528"/>
                    </a:lnTo>
                    <a:lnTo>
                      <a:pt x="1419152" y="1659542"/>
                    </a:lnTo>
                    <a:lnTo>
                      <a:pt x="1461733" y="1660556"/>
                    </a:lnTo>
                    <a:lnTo>
                      <a:pt x="1505327" y="1659543"/>
                    </a:lnTo>
                    <a:lnTo>
                      <a:pt x="1546896" y="1658529"/>
                    </a:lnTo>
                    <a:lnTo>
                      <a:pt x="1590490" y="1656502"/>
                    </a:lnTo>
                    <a:lnTo>
                      <a:pt x="1632057" y="1652446"/>
                    </a:lnTo>
                    <a:lnTo>
                      <a:pt x="1674639" y="1647377"/>
                    </a:lnTo>
                    <a:lnTo>
                      <a:pt x="1716205" y="1641295"/>
                    </a:lnTo>
                    <a:lnTo>
                      <a:pt x="1756759" y="1635212"/>
                    </a:lnTo>
                    <a:lnTo>
                      <a:pt x="1798326" y="1627102"/>
                    </a:lnTo>
                    <a:lnTo>
                      <a:pt x="1838880" y="1617978"/>
                    </a:lnTo>
                    <a:lnTo>
                      <a:pt x="1878420" y="1608854"/>
                    </a:lnTo>
                    <a:lnTo>
                      <a:pt x="1917958" y="1597702"/>
                    </a:lnTo>
                    <a:lnTo>
                      <a:pt x="1957498" y="1586551"/>
                    </a:lnTo>
                    <a:lnTo>
                      <a:pt x="1998052" y="1573372"/>
                    </a:lnTo>
                    <a:lnTo>
                      <a:pt x="2036577" y="1560193"/>
                    </a:lnTo>
                    <a:lnTo>
                      <a:pt x="2073076" y="1544986"/>
                    </a:lnTo>
                    <a:lnTo>
                      <a:pt x="2111601" y="1529780"/>
                    </a:lnTo>
                    <a:lnTo>
                      <a:pt x="2149113" y="1513559"/>
                    </a:lnTo>
                    <a:lnTo>
                      <a:pt x="2185611" y="1497339"/>
                    </a:lnTo>
                    <a:lnTo>
                      <a:pt x="2222108" y="1479091"/>
                    </a:lnTo>
                    <a:lnTo>
                      <a:pt x="2257593" y="1459830"/>
                    </a:lnTo>
                    <a:lnTo>
                      <a:pt x="2293078" y="1441582"/>
                    </a:lnTo>
                    <a:lnTo>
                      <a:pt x="2327548" y="1420292"/>
                    </a:lnTo>
                    <a:lnTo>
                      <a:pt x="2362018" y="1399003"/>
                    </a:lnTo>
                    <a:lnTo>
                      <a:pt x="2395475" y="1377715"/>
                    </a:lnTo>
                    <a:lnTo>
                      <a:pt x="2427918" y="1355411"/>
                    </a:lnTo>
                    <a:lnTo>
                      <a:pt x="2461374" y="1332095"/>
                    </a:lnTo>
                    <a:lnTo>
                      <a:pt x="2493816" y="1307764"/>
                    </a:lnTo>
                    <a:lnTo>
                      <a:pt x="2525246" y="1281406"/>
                    </a:lnTo>
                    <a:lnTo>
                      <a:pt x="2555660" y="1256062"/>
                    </a:lnTo>
                    <a:lnTo>
                      <a:pt x="2586075" y="1230718"/>
                    </a:lnTo>
                    <a:lnTo>
                      <a:pt x="2615476" y="1202332"/>
                    </a:lnTo>
                    <a:lnTo>
                      <a:pt x="2643864" y="1174960"/>
                    </a:lnTo>
                    <a:lnTo>
                      <a:pt x="2672251" y="1146574"/>
                    </a:lnTo>
                    <a:lnTo>
                      <a:pt x="2698611" y="1117175"/>
                    </a:lnTo>
                    <a:lnTo>
                      <a:pt x="2725985" y="1087775"/>
                    </a:lnTo>
                    <a:lnTo>
                      <a:pt x="2751330" y="1057362"/>
                    </a:lnTo>
                    <a:lnTo>
                      <a:pt x="2777690" y="1025935"/>
                    </a:lnTo>
                    <a:lnTo>
                      <a:pt x="2802022" y="994509"/>
                    </a:lnTo>
                    <a:lnTo>
                      <a:pt x="2826354" y="962067"/>
                    </a:lnTo>
                    <a:lnTo>
                      <a:pt x="2848658" y="928614"/>
                    </a:lnTo>
                    <a:lnTo>
                      <a:pt x="2871977" y="895159"/>
                    </a:lnTo>
                    <a:lnTo>
                      <a:pt x="2893267" y="861704"/>
                    </a:lnTo>
                    <a:lnTo>
                      <a:pt x="2913544" y="827236"/>
                    </a:lnTo>
                    <a:lnTo>
                      <a:pt x="2933820" y="792768"/>
                    </a:lnTo>
                    <a:lnTo>
                      <a:pt x="2952070" y="756272"/>
                    </a:lnTo>
                    <a:lnTo>
                      <a:pt x="2971333" y="719777"/>
                    </a:lnTo>
                    <a:lnTo>
                      <a:pt x="2988568" y="684294"/>
                    </a:lnTo>
                    <a:lnTo>
                      <a:pt x="3004789" y="646785"/>
                    </a:lnTo>
                    <a:lnTo>
                      <a:pt x="3021011" y="609275"/>
                    </a:lnTo>
                    <a:lnTo>
                      <a:pt x="3035204" y="571766"/>
                    </a:lnTo>
                    <a:lnTo>
                      <a:pt x="3049397" y="533242"/>
                    </a:lnTo>
                    <a:lnTo>
                      <a:pt x="3062577" y="493706"/>
                    </a:lnTo>
                    <a:lnTo>
                      <a:pt x="3074743" y="455183"/>
                    </a:lnTo>
                    <a:lnTo>
                      <a:pt x="3085895" y="415645"/>
                    </a:lnTo>
                    <a:lnTo>
                      <a:pt x="3096034" y="375095"/>
                    </a:lnTo>
                    <a:lnTo>
                      <a:pt x="3105158" y="334544"/>
                    </a:lnTo>
                    <a:lnTo>
                      <a:pt x="3113269" y="293993"/>
                    </a:lnTo>
                    <a:lnTo>
                      <a:pt x="3120366" y="253442"/>
                    </a:lnTo>
                    <a:lnTo>
                      <a:pt x="3127463" y="210863"/>
                    </a:lnTo>
                    <a:lnTo>
                      <a:pt x="3132532" y="169298"/>
                    </a:lnTo>
                    <a:lnTo>
                      <a:pt x="3136587" y="127735"/>
                    </a:lnTo>
                    <a:lnTo>
                      <a:pt x="3139628" y="85156"/>
                    </a:lnTo>
                    <a:lnTo>
                      <a:pt x="3141657" y="41564"/>
                    </a:lnTo>
                    <a:lnTo>
                      <a:pt x="3142670" y="0"/>
                    </a:lnTo>
                    <a:close/>
                  </a:path>
                </a:pathLst>
              </a:custGeom>
              <a:solidFill>
                <a:srgbClr val="7F89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ko-KR" altLang="en-US" sz="2400"/>
              </a:p>
            </p:txBody>
          </p:sp>
          <p:sp>
            <p:nvSpPr>
              <p:cNvPr id="119" name="Freeform 90"/>
              <p:cNvSpPr>
                <a:spLocks/>
              </p:cNvSpPr>
              <p:nvPr userDrawn="1"/>
            </p:nvSpPr>
            <p:spPr bwMode="auto">
              <a:xfrm rot="20844360">
                <a:off x="6135030" y="2259789"/>
                <a:ext cx="2850707" cy="2730157"/>
              </a:xfrm>
              <a:custGeom>
                <a:avLst/>
                <a:gdLst>
                  <a:gd name="T0" fmla="*/ 0 w 2817"/>
                  <a:gd name="T1" fmla="*/ 2220 h 2693"/>
                  <a:gd name="T2" fmla="*/ 56 w 2817"/>
                  <a:gd name="T3" fmla="*/ 2273 h 2693"/>
                  <a:gd name="T4" fmla="*/ 116 w 2817"/>
                  <a:gd name="T5" fmla="*/ 2324 h 2693"/>
                  <a:gd name="T6" fmla="*/ 178 w 2817"/>
                  <a:gd name="T7" fmla="*/ 2372 h 2693"/>
                  <a:gd name="T8" fmla="*/ 243 w 2817"/>
                  <a:gd name="T9" fmla="*/ 2417 h 2693"/>
                  <a:gd name="T10" fmla="*/ 309 w 2817"/>
                  <a:gd name="T11" fmla="*/ 2460 h 2693"/>
                  <a:gd name="T12" fmla="*/ 379 w 2817"/>
                  <a:gd name="T13" fmla="*/ 2498 h 2693"/>
                  <a:gd name="T14" fmla="*/ 449 w 2817"/>
                  <a:gd name="T15" fmla="*/ 2533 h 2693"/>
                  <a:gd name="T16" fmla="*/ 521 w 2817"/>
                  <a:gd name="T17" fmla="*/ 2566 h 2693"/>
                  <a:gd name="T18" fmla="*/ 596 w 2817"/>
                  <a:gd name="T19" fmla="*/ 2596 h 2693"/>
                  <a:gd name="T20" fmla="*/ 672 w 2817"/>
                  <a:gd name="T21" fmla="*/ 2621 h 2693"/>
                  <a:gd name="T22" fmla="*/ 750 w 2817"/>
                  <a:gd name="T23" fmla="*/ 2643 h 2693"/>
                  <a:gd name="T24" fmla="*/ 829 w 2817"/>
                  <a:gd name="T25" fmla="*/ 2660 h 2693"/>
                  <a:gd name="T26" fmla="*/ 909 w 2817"/>
                  <a:gd name="T27" fmla="*/ 2675 h 2693"/>
                  <a:gd name="T28" fmla="*/ 992 w 2817"/>
                  <a:gd name="T29" fmla="*/ 2685 h 2693"/>
                  <a:gd name="T30" fmla="*/ 1075 w 2817"/>
                  <a:gd name="T31" fmla="*/ 2691 h 2693"/>
                  <a:gd name="T32" fmla="*/ 1159 w 2817"/>
                  <a:gd name="T33" fmla="*/ 2693 h 2693"/>
                  <a:gd name="T34" fmla="*/ 1202 w 2817"/>
                  <a:gd name="T35" fmla="*/ 2692 h 2693"/>
                  <a:gd name="T36" fmla="*/ 1286 w 2817"/>
                  <a:gd name="T37" fmla="*/ 2689 h 2693"/>
                  <a:gd name="T38" fmla="*/ 1369 w 2817"/>
                  <a:gd name="T39" fmla="*/ 2680 h 2693"/>
                  <a:gd name="T40" fmla="*/ 1450 w 2817"/>
                  <a:gd name="T41" fmla="*/ 2668 h 2693"/>
                  <a:gd name="T42" fmla="*/ 1531 w 2817"/>
                  <a:gd name="T43" fmla="*/ 2651 h 2693"/>
                  <a:gd name="T44" fmla="*/ 1609 w 2817"/>
                  <a:gd name="T45" fmla="*/ 2631 h 2693"/>
                  <a:gd name="T46" fmla="*/ 1688 w 2817"/>
                  <a:gd name="T47" fmla="*/ 2607 h 2693"/>
                  <a:gd name="T48" fmla="*/ 1762 w 2817"/>
                  <a:gd name="T49" fmla="*/ 2579 h 2693"/>
                  <a:gd name="T50" fmla="*/ 1837 w 2817"/>
                  <a:gd name="T51" fmla="*/ 2548 h 2693"/>
                  <a:gd name="T52" fmla="*/ 1909 w 2817"/>
                  <a:gd name="T53" fmla="*/ 2514 h 2693"/>
                  <a:gd name="T54" fmla="*/ 1979 w 2817"/>
                  <a:gd name="T55" fmla="*/ 2477 h 2693"/>
                  <a:gd name="T56" fmla="*/ 2047 w 2817"/>
                  <a:gd name="T57" fmla="*/ 2435 h 2693"/>
                  <a:gd name="T58" fmla="*/ 2112 w 2817"/>
                  <a:gd name="T59" fmla="*/ 2392 h 2693"/>
                  <a:gd name="T60" fmla="*/ 2177 w 2817"/>
                  <a:gd name="T61" fmla="*/ 2345 h 2693"/>
                  <a:gd name="T62" fmla="*/ 2238 w 2817"/>
                  <a:gd name="T63" fmla="*/ 2294 h 2693"/>
                  <a:gd name="T64" fmla="*/ 2297 w 2817"/>
                  <a:gd name="T65" fmla="*/ 2241 h 2693"/>
                  <a:gd name="T66" fmla="*/ 2353 w 2817"/>
                  <a:gd name="T67" fmla="*/ 2186 h 2693"/>
                  <a:gd name="T68" fmla="*/ 2406 w 2817"/>
                  <a:gd name="T69" fmla="*/ 2128 h 2693"/>
                  <a:gd name="T70" fmla="*/ 2457 w 2817"/>
                  <a:gd name="T71" fmla="*/ 2067 h 2693"/>
                  <a:gd name="T72" fmla="*/ 2505 w 2817"/>
                  <a:gd name="T73" fmla="*/ 2004 h 2693"/>
                  <a:gd name="T74" fmla="*/ 2550 w 2817"/>
                  <a:gd name="T75" fmla="*/ 1938 h 2693"/>
                  <a:gd name="T76" fmla="*/ 2591 w 2817"/>
                  <a:gd name="T77" fmla="*/ 1871 h 2693"/>
                  <a:gd name="T78" fmla="*/ 2629 w 2817"/>
                  <a:gd name="T79" fmla="*/ 1801 h 2693"/>
                  <a:gd name="T80" fmla="*/ 2665 w 2817"/>
                  <a:gd name="T81" fmla="*/ 1730 h 2693"/>
                  <a:gd name="T82" fmla="*/ 2697 w 2817"/>
                  <a:gd name="T83" fmla="*/ 1656 h 2693"/>
                  <a:gd name="T84" fmla="*/ 2725 w 2817"/>
                  <a:gd name="T85" fmla="*/ 1581 h 2693"/>
                  <a:gd name="T86" fmla="*/ 2750 w 2817"/>
                  <a:gd name="T87" fmla="*/ 1504 h 2693"/>
                  <a:gd name="T88" fmla="*/ 2771 w 2817"/>
                  <a:gd name="T89" fmla="*/ 1425 h 2693"/>
                  <a:gd name="T90" fmla="*/ 2788 w 2817"/>
                  <a:gd name="T91" fmla="*/ 1345 h 2693"/>
                  <a:gd name="T92" fmla="*/ 2802 w 2817"/>
                  <a:gd name="T93" fmla="*/ 1263 h 2693"/>
                  <a:gd name="T94" fmla="*/ 2811 w 2817"/>
                  <a:gd name="T95" fmla="*/ 1181 h 2693"/>
                  <a:gd name="T96" fmla="*/ 2816 w 2817"/>
                  <a:gd name="T97" fmla="*/ 1096 h 2693"/>
                  <a:gd name="T98" fmla="*/ 2817 w 2817"/>
                  <a:gd name="T99" fmla="*/ 1054 h 2693"/>
                  <a:gd name="T100" fmla="*/ 2799 w 2817"/>
                  <a:gd name="T101" fmla="*/ 985 h 2693"/>
                  <a:gd name="T102" fmla="*/ 2756 w 2817"/>
                  <a:gd name="T103" fmla="*/ 849 h 2693"/>
                  <a:gd name="T104" fmla="*/ 2705 w 2817"/>
                  <a:gd name="T105" fmla="*/ 718 h 2693"/>
                  <a:gd name="T106" fmla="*/ 2645 w 2817"/>
                  <a:gd name="T107" fmla="*/ 590 h 2693"/>
                  <a:gd name="T108" fmla="*/ 2580 w 2817"/>
                  <a:gd name="T109" fmla="*/ 467 h 2693"/>
                  <a:gd name="T110" fmla="*/ 2505 w 2817"/>
                  <a:gd name="T111" fmla="*/ 348 h 2693"/>
                  <a:gd name="T112" fmla="*/ 2424 w 2817"/>
                  <a:gd name="T113" fmla="*/ 234 h 2693"/>
                  <a:gd name="T114" fmla="*/ 2337 w 2817"/>
                  <a:gd name="T115" fmla="*/ 126 h 2693"/>
                  <a:gd name="T116" fmla="*/ 2291 w 2817"/>
                  <a:gd name="T117" fmla="*/ 74 h 2693"/>
                  <a:gd name="T118" fmla="*/ 2283 w 2817"/>
                  <a:gd name="T119" fmla="*/ 65 h 2693"/>
                  <a:gd name="T120" fmla="*/ 2218 w 2817"/>
                  <a:gd name="T121" fmla="*/ 0 h 2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17" h="2693">
                    <a:moveTo>
                      <a:pt x="0" y="2220"/>
                    </a:moveTo>
                    <a:lnTo>
                      <a:pt x="0" y="2220"/>
                    </a:lnTo>
                    <a:lnTo>
                      <a:pt x="27" y="2247"/>
                    </a:lnTo>
                    <a:lnTo>
                      <a:pt x="56" y="2273"/>
                    </a:lnTo>
                    <a:lnTo>
                      <a:pt x="86" y="2298"/>
                    </a:lnTo>
                    <a:lnTo>
                      <a:pt x="116" y="2324"/>
                    </a:lnTo>
                    <a:lnTo>
                      <a:pt x="147" y="2348"/>
                    </a:lnTo>
                    <a:lnTo>
                      <a:pt x="178" y="2372"/>
                    </a:lnTo>
                    <a:lnTo>
                      <a:pt x="210" y="2395"/>
                    </a:lnTo>
                    <a:lnTo>
                      <a:pt x="243" y="2417"/>
                    </a:lnTo>
                    <a:lnTo>
                      <a:pt x="276" y="2439"/>
                    </a:lnTo>
                    <a:lnTo>
                      <a:pt x="309" y="2460"/>
                    </a:lnTo>
                    <a:lnTo>
                      <a:pt x="344" y="2479"/>
                    </a:lnTo>
                    <a:lnTo>
                      <a:pt x="379" y="2498"/>
                    </a:lnTo>
                    <a:lnTo>
                      <a:pt x="413" y="2516"/>
                    </a:lnTo>
                    <a:lnTo>
                      <a:pt x="449" y="2533"/>
                    </a:lnTo>
                    <a:lnTo>
                      <a:pt x="486" y="2551"/>
                    </a:lnTo>
                    <a:lnTo>
                      <a:pt x="521" y="2566"/>
                    </a:lnTo>
                    <a:lnTo>
                      <a:pt x="559" y="2581"/>
                    </a:lnTo>
                    <a:lnTo>
                      <a:pt x="596" y="2596"/>
                    </a:lnTo>
                    <a:lnTo>
                      <a:pt x="634" y="2608"/>
                    </a:lnTo>
                    <a:lnTo>
                      <a:pt x="672" y="2621"/>
                    </a:lnTo>
                    <a:lnTo>
                      <a:pt x="711" y="2632"/>
                    </a:lnTo>
                    <a:lnTo>
                      <a:pt x="750" y="2643"/>
                    </a:lnTo>
                    <a:lnTo>
                      <a:pt x="790" y="2652"/>
                    </a:lnTo>
                    <a:lnTo>
                      <a:pt x="829" y="2660"/>
                    </a:lnTo>
                    <a:lnTo>
                      <a:pt x="869" y="2668"/>
                    </a:lnTo>
                    <a:lnTo>
                      <a:pt x="909" y="2675"/>
                    </a:lnTo>
                    <a:lnTo>
                      <a:pt x="951" y="2681"/>
                    </a:lnTo>
                    <a:lnTo>
                      <a:pt x="992" y="2685"/>
                    </a:lnTo>
                    <a:lnTo>
                      <a:pt x="1032" y="2689"/>
                    </a:lnTo>
                    <a:lnTo>
                      <a:pt x="1075" y="2691"/>
                    </a:lnTo>
                    <a:lnTo>
                      <a:pt x="1117" y="2692"/>
                    </a:lnTo>
                    <a:lnTo>
                      <a:pt x="1159" y="2693"/>
                    </a:lnTo>
                    <a:lnTo>
                      <a:pt x="1159" y="2693"/>
                    </a:lnTo>
                    <a:lnTo>
                      <a:pt x="1202" y="2692"/>
                    </a:lnTo>
                    <a:lnTo>
                      <a:pt x="1243" y="2691"/>
                    </a:lnTo>
                    <a:lnTo>
                      <a:pt x="1286" y="2689"/>
                    </a:lnTo>
                    <a:lnTo>
                      <a:pt x="1327" y="2685"/>
                    </a:lnTo>
                    <a:lnTo>
                      <a:pt x="1369" y="2680"/>
                    </a:lnTo>
                    <a:lnTo>
                      <a:pt x="1410" y="2674"/>
                    </a:lnTo>
                    <a:lnTo>
                      <a:pt x="1450" y="2668"/>
                    </a:lnTo>
                    <a:lnTo>
                      <a:pt x="1491" y="2660"/>
                    </a:lnTo>
                    <a:lnTo>
                      <a:pt x="1531" y="2651"/>
                    </a:lnTo>
                    <a:lnTo>
                      <a:pt x="1570" y="2642"/>
                    </a:lnTo>
                    <a:lnTo>
                      <a:pt x="1609" y="2631"/>
                    </a:lnTo>
                    <a:lnTo>
                      <a:pt x="1648" y="2620"/>
                    </a:lnTo>
                    <a:lnTo>
                      <a:pt x="1688" y="2607"/>
                    </a:lnTo>
                    <a:lnTo>
                      <a:pt x="1726" y="2594"/>
                    </a:lnTo>
                    <a:lnTo>
                      <a:pt x="1762" y="2579"/>
                    </a:lnTo>
                    <a:lnTo>
                      <a:pt x="1800" y="2564"/>
                    </a:lnTo>
                    <a:lnTo>
                      <a:pt x="1837" y="2548"/>
                    </a:lnTo>
                    <a:lnTo>
                      <a:pt x="1873" y="2532"/>
                    </a:lnTo>
                    <a:lnTo>
                      <a:pt x="1909" y="2514"/>
                    </a:lnTo>
                    <a:lnTo>
                      <a:pt x="1944" y="2495"/>
                    </a:lnTo>
                    <a:lnTo>
                      <a:pt x="1979" y="2477"/>
                    </a:lnTo>
                    <a:lnTo>
                      <a:pt x="2013" y="2456"/>
                    </a:lnTo>
                    <a:lnTo>
                      <a:pt x="2047" y="2435"/>
                    </a:lnTo>
                    <a:lnTo>
                      <a:pt x="2080" y="2414"/>
                    </a:lnTo>
                    <a:lnTo>
                      <a:pt x="2112" y="2392"/>
                    </a:lnTo>
                    <a:lnTo>
                      <a:pt x="2145" y="2369"/>
                    </a:lnTo>
                    <a:lnTo>
                      <a:pt x="2177" y="2345"/>
                    </a:lnTo>
                    <a:lnTo>
                      <a:pt x="2208" y="2319"/>
                    </a:lnTo>
                    <a:lnTo>
                      <a:pt x="2238" y="2294"/>
                    </a:lnTo>
                    <a:lnTo>
                      <a:pt x="2268" y="2269"/>
                    </a:lnTo>
                    <a:lnTo>
                      <a:pt x="2297" y="2241"/>
                    </a:lnTo>
                    <a:lnTo>
                      <a:pt x="2325" y="2214"/>
                    </a:lnTo>
                    <a:lnTo>
                      <a:pt x="2353" y="2186"/>
                    </a:lnTo>
                    <a:lnTo>
                      <a:pt x="2379" y="2157"/>
                    </a:lnTo>
                    <a:lnTo>
                      <a:pt x="2406" y="2128"/>
                    </a:lnTo>
                    <a:lnTo>
                      <a:pt x="2431" y="2098"/>
                    </a:lnTo>
                    <a:lnTo>
                      <a:pt x="2457" y="2067"/>
                    </a:lnTo>
                    <a:lnTo>
                      <a:pt x="2481" y="2036"/>
                    </a:lnTo>
                    <a:lnTo>
                      <a:pt x="2505" y="2004"/>
                    </a:lnTo>
                    <a:lnTo>
                      <a:pt x="2527" y="1971"/>
                    </a:lnTo>
                    <a:lnTo>
                      <a:pt x="2550" y="1938"/>
                    </a:lnTo>
                    <a:lnTo>
                      <a:pt x="2571" y="1905"/>
                    </a:lnTo>
                    <a:lnTo>
                      <a:pt x="2591" y="1871"/>
                    </a:lnTo>
                    <a:lnTo>
                      <a:pt x="2611" y="1837"/>
                    </a:lnTo>
                    <a:lnTo>
                      <a:pt x="2629" y="1801"/>
                    </a:lnTo>
                    <a:lnTo>
                      <a:pt x="2648" y="1765"/>
                    </a:lnTo>
                    <a:lnTo>
                      <a:pt x="2665" y="1730"/>
                    </a:lnTo>
                    <a:lnTo>
                      <a:pt x="2681" y="1693"/>
                    </a:lnTo>
                    <a:lnTo>
                      <a:pt x="2697" y="1656"/>
                    </a:lnTo>
                    <a:lnTo>
                      <a:pt x="2711" y="1619"/>
                    </a:lnTo>
                    <a:lnTo>
                      <a:pt x="2725" y="1581"/>
                    </a:lnTo>
                    <a:lnTo>
                      <a:pt x="2738" y="1542"/>
                    </a:lnTo>
                    <a:lnTo>
                      <a:pt x="2750" y="1504"/>
                    </a:lnTo>
                    <a:lnTo>
                      <a:pt x="2761" y="1465"/>
                    </a:lnTo>
                    <a:lnTo>
                      <a:pt x="2771" y="1425"/>
                    </a:lnTo>
                    <a:lnTo>
                      <a:pt x="2780" y="1385"/>
                    </a:lnTo>
                    <a:lnTo>
                      <a:pt x="2788" y="1345"/>
                    </a:lnTo>
                    <a:lnTo>
                      <a:pt x="2795" y="1305"/>
                    </a:lnTo>
                    <a:lnTo>
                      <a:pt x="2802" y="1263"/>
                    </a:lnTo>
                    <a:lnTo>
                      <a:pt x="2807" y="1222"/>
                    </a:lnTo>
                    <a:lnTo>
                      <a:pt x="2811" y="1181"/>
                    </a:lnTo>
                    <a:lnTo>
                      <a:pt x="2814" y="1139"/>
                    </a:lnTo>
                    <a:lnTo>
                      <a:pt x="2816" y="1096"/>
                    </a:lnTo>
                    <a:lnTo>
                      <a:pt x="2817" y="1055"/>
                    </a:lnTo>
                    <a:lnTo>
                      <a:pt x="2817" y="1054"/>
                    </a:lnTo>
                    <a:lnTo>
                      <a:pt x="2817" y="1054"/>
                    </a:lnTo>
                    <a:lnTo>
                      <a:pt x="2799" y="985"/>
                    </a:lnTo>
                    <a:lnTo>
                      <a:pt x="2779" y="917"/>
                    </a:lnTo>
                    <a:lnTo>
                      <a:pt x="2756" y="849"/>
                    </a:lnTo>
                    <a:lnTo>
                      <a:pt x="2732" y="783"/>
                    </a:lnTo>
                    <a:lnTo>
                      <a:pt x="2705" y="718"/>
                    </a:lnTo>
                    <a:lnTo>
                      <a:pt x="2677" y="653"/>
                    </a:lnTo>
                    <a:lnTo>
                      <a:pt x="2645" y="590"/>
                    </a:lnTo>
                    <a:lnTo>
                      <a:pt x="2613" y="528"/>
                    </a:lnTo>
                    <a:lnTo>
                      <a:pt x="2580" y="467"/>
                    </a:lnTo>
                    <a:lnTo>
                      <a:pt x="2543" y="407"/>
                    </a:lnTo>
                    <a:lnTo>
                      <a:pt x="2505" y="348"/>
                    </a:lnTo>
                    <a:lnTo>
                      <a:pt x="2466" y="291"/>
                    </a:lnTo>
                    <a:lnTo>
                      <a:pt x="2424" y="234"/>
                    </a:lnTo>
                    <a:lnTo>
                      <a:pt x="2382" y="180"/>
                    </a:lnTo>
                    <a:lnTo>
                      <a:pt x="2337" y="126"/>
                    </a:lnTo>
                    <a:lnTo>
                      <a:pt x="2291" y="74"/>
                    </a:lnTo>
                    <a:lnTo>
                      <a:pt x="2291" y="74"/>
                    </a:lnTo>
                    <a:lnTo>
                      <a:pt x="2283" y="65"/>
                    </a:lnTo>
                    <a:lnTo>
                      <a:pt x="2283" y="65"/>
                    </a:lnTo>
                    <a:lnTo>
                      <a:pt x="2251" y="33"/>
                    </a:lnTo>
                    <a:lnTo>
                      <a:pt x="2218" y="0"/>
                    </a:lnTo>
                    <a:lnTo>
                      <a:pt x="0" y="2220"/>
                    </a:lnTo>
                    <a:close/>
                  </a:path>
                </a:pathLst>
              </a:custGeom>
              <a:solidFill>
                <a:srgbClr val="B3C1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20" name="Freeform 91"/>
              <p:cNvSpPr>
                <a:spLocks/>
              </p:cNvSpPr>
              <p:nvPr userDrawn="1"/>
            </p:nvSpPr>
            <p:spPr bwMode="auto">
              <a:xfrm rot="20844360">
                <a:off x="6025041" y="3599934"/>
                <a:ext cx="1560088" cy="390024"/>
              </a:xfrm>
              <a:custGeom>
                <a:avLst/>
                <a:gdLst>
                  <a:gd name="T0" fmla="*/ 1538 w 1538"/>
                  <a:gd name="T1" fmla="*/ 193 h 388"/>
                  <a:gd name="T2" fmla="*/ 1534 w 1538"/>
                  <a:gd name="T3" fmla="*/ 232 h 388"/>
                  <a:gd name="T4" fmla="*/ 1523 w 1538"/>
                  <a:gd name="T5" fmla="*/ 269 h 388"/>
                  <a:gd name="T6" fmla="*/ 1504 w 1538"/>
                  <a:gd name="T7" fmla="*/ 303 h 388"/>
                  <a:gd name="T8" fmla="*/ 1481 w 1538"/>
                  <a:gd name="T9" fmla="*/ 331 h 388"/>
                  <a:gd name="T10" fmla="*/ 1452 w 1538"/>
                  <a:gd name="T11" fmla="*/ 354 h 388"/>
                  <a:gd name="T12" fmla="*/ 1419 w 1538"/>
                  <a:gd name="T13" fmla="*/ 373 h 388"/>
                  <a:gd name="T14" fmla="*/ 1382 w 1538"/>
                  <a:gd name="T15" fmla="*/ 384 h 388"/>
                  <a:gd name="T16" fmla="*/ 1343 w 1538"/>
                  <a:gd name="T17" fmla="*/ 388 h 388"/>
                  <a:gd name="T18" fmla="*/ 193 w 1538"/>
                  <a:gd name="T19" fmla="*/ 388 h 388"/>
                  <a:gd name="T20" fmla="*/ 154 w 1538"/>
                  <a:gd name="T21" fmla="*/ 384 h 388"/>
                  <a:gd name="T22" fmla="*/ 118 w 1538"/>
                  <a:gd name="T23" fmla="*/ 373 h 388"/>
                  <a:gd name="T24" fmla="*/ 85 w 1538"/>
                  <a:gd name="T25" fmla="*/ 354 h 388"/>
                  <a:gd name="T26" fmla="*/ 56 w 1538"/>
                  <a:gd name="T27" fmla="*/ 331 h 388"/>
                  <a:gd name="T28" fmla="*/ 33 w 1538"/>
                  <a:gd name="T29" fmla="*/ 303 h 388"/>
                  <a:gd name="T30" fmla="*/ 15 w 1538"/>
                  <a:gd name="T31" fmla="*/ 269 h 388"/>
                  <a:gd name="T32" fmla="*/ 3 w 1538"/>
                  <a:gd name="T33" fmla="*/ 232 h 388"/>
                  <a:gd name="T34" fmla="*/ 0 w 1538"/>
                  <a:gd name="T35" fmla="*/ 193 h 388"/>
                  <a:gd name="T36" fmla="*/ 1 w 1538"/>
                  <a:gd name="T37" fmla="*/ 174 h 388"/>
                  <a:gd name="T38" fmla="*/ 8 w 1538"/>
                  <a:gd name="T39" fmla="*/ 136 h 388"/>
                  <a:gd name="T40" fmla="*/ 23 w 1538"/>
                  <a:gd name="T41" fmla="*/ 101 h 388"/>
                  <a:gd name="T42" fmla="*/ 43 w 1538"/>
                  <a:gd name="T43" fmla="*/ 70 h 388"/>
                  <a:gd name="T44" fmla="*/ 70 w 1538"/>
                  <a:gd name="T45" fmla="*/ 44 h 388"/>
                  <a:gd name="T46" fmla="*/ 101 w 1538"/>
                  <a:gd name="T47" fmla="*/ 23 h 388"/>
                  <a:gd name="T48" fmla="*/ 135 w 1538"/>
                  <a:gd name="T49" fmla="*/ 8 h 388"/>
                  <a:gd name="T50" fmla="*/ 173 w 1538"/>
                  <a:gd name="T51" fmla="*/ 1 h 388"/>
                  <a:gd name="T52" fmla="*/ 1343 w 1538"/>
                  <a:gd name="T53" fmla="*/ 0 h 388"/>
                  <a:gd name="T54" fmla="*/ 1364 w 1538"/>
                  <a:gd name="T55" fmla="*/ 1 h 388"/>
                  <a:gd name="T56" fmla="*/ 1402 w 1538"/>
                  <a:gd name="T57" fmla="*/ 8 h 388"/>
                  <a:gd name="T58" fmla="*/ 1436 w 1538"/>
                  <a:gd name="T59" fmla="*/ 23 h 388"/>
                  <a:gd name="T60" fmla="*/ 1467 w 1538"/>
                  <a:gd name="T61" fmla="*/ 44 h 388"/>
                  <a:gd name="T62" fmla="*/ 1494 w 1538"/>
                  <a:gd name="T63" fmla="*/ 70 h 388"/>
                  <a:gd name="T64" fmla="*/ 1515 w 1538"/>
                  <a:gd name="T65" fmla="*/ 101 h 388"/>
                  <a:gd name="T66" fmla="*/ 1528 w 1538"/>
                  <a:gd name="T67" fmla="*/ 136 h 388"/>
                  <a:gd name="T68" fmla="*/ 1537 w 1538"/>
                  <a:gd name="T69" fmla="*/ 174 h 388"/>
                  <a:gd name="T70" fmla="*/ 1538 w 1538"/>
                  <a:gd name="T71" fmla="*/ 19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38" h="388">
                    <a:moveTo>
                      <a:pt x="1538" y="193"/>
                    </a:moveTo>
                    <a:lnTo>
                      <a:pt x="1538" y="193"/>
                    </a:lnTo>
                    <a:lnTo>
                      <a:pt x="1537" y="214"/>
                    </a:lnTo>
                    <a:lnTo>
                      <a:pt x="1534" y="232"/>
                    </a:lnTo>
                    <a:lnTo>
                      <a:pt x="1528" y="252"/>
                    </a:lnTo>
                    <a:lnTo>
                      <a:pt x="1523" y="269"/>
                    </a:lnTo>
                    <a:lnTo>
                      <a:pt x="1515" y="287"/>
                    </a:lnTo>
                    <a:lnTo>
                      <a:pt x="1504" y="303"/>
                    </a:lnTo>
                    <a:lnTo>
                      <a:pt x="1494" y="318"/>
                    </a:lnTo>
                    <a:lnTo>
                      <a:pt x="1481" y="331"/>
                    </a:lnTo>
                    <a:lnTo>
                      <a:pt x="1467" y="343"/>
                    </a:lnTo>
                    <a:lnTo>
                      <a:pt x="1452" y="354"/>
                    </a:lnTo>
                    <a:lnTo>
                      <a:pt x="1436" y="365"/>
                    </a:lnTo>
                    <a:lnTo>
                      <a:pt x="1419" y="373"/>
                    </a:lnTo>
                    <a:lnTo>
                      <a:pt x="1402" y="379"/>
                    </a:lnTo>
                    <a:lnTo>
                      <a:pt x="1382" y="384"/>
                    </a:lnTo>
                    <a:lnTo>
                      <a:pt x="1364" y="387"/>
                    </a:lnTo>
                    <a:lnTo>
                      <a:pt x="1343" y="388"/>
                    </a:lnTo>
                    <a:lnTo>
                      <a:pt x="193" y="388"/>
                    </a:lnTo>
                    <a:lnTo>
                      <a:pt x="193" y="388"/>
                    </a:lnTo>
                    <a:lnTo>
                      <a:pt x="173" y="387"/>
                    </a:lnTo>
                    <a:lnTo>
                      <a:pt x="154" y="384"/>
                    </a:lnTo>
                    <a:lnTo>
                      <a:pt x="135" y="379"/>
                    </a:lnTo>
                    <a:lnTo>
                      <a:pt x="118" y="373"/>
                    </a:lnTo>
                    <a:lnTo>
                      <a:pt x="101" y="365"/>
                    </a:lnTo>
                    <a:lnTo>
                      <a:pt x="85" y="354"/>
                    </a:lnTo>
                    <a:lnTo>
                      <a:pt x="70" y="343"/>
                    </a:lnTo>
                    <a:lnTo>
                      <a:pt x="56" y="331"/>
                    </a:lnTo>
                    <a:lnTo>
                      <a:pt x="43" y="318"/>
                    </a:lnTo>
                    <a:lnTo>
                      <a:pt x="33" y="303"/>
                    </a:lnTo>
                    <a:lnTo>
                      <a:pt x="23" y="287"/>
                    </a:lnTo>
                    <a:lnTo>
                      <a:pt x="15" y="269"/>
                    </a:lnTo>
                    <a:lnTo>
                      <a:pt x="8" y="252"/>
                    </a:lnTo>
                    <a:lnTo>
                      <a:pt x="3" y="232"/>
                    </a:lnTo>
                    <a:lnTo>
                      <a:pt x="1" y="214"/>
                    </a:lnTo>
                    <a:lnTo>
                      <a:pt x="0" y="193"/>
                    </a:lnTo>
                    <a:lnTo>
                      <a:pt x="0" y="193"/>
                    </a:lnTo>
                    <a:lnTo>
                      <a:pt x="1" y="174"/>
                    </a:lnTo>
                    <a:lnTo>
                      <a:pt x="3" y="154"/>
                    </a:lnTo>
                    <a:lnTo>
                      <a:pt x="8" y="136"/>
                    </a:lnTo>
                    <a:lnTo>
                      <a:pt x="15" y="118"/>
                    </a:lnTo>
                    <a:lnTo>
                      <a:pt x="23" y="101"/>
                    </a:lnTo>
                    <a:lnTo>
                      <a:pt x="33" y="85"/>
                    </a:lnTo>
                    <a:lnTo>
                      <a:pt x="43" y="70"/>
                    </a:lnTo>
                    <a:lnTo>
                      <a:pt x="56" y="56"/>
                    </a:lnTo>
                    <a:lnTo>
                      <a:pt x="70" y="44"/>
                    </a:lnTo>
                    <a:lnTo>
                      <a:pt x="85" y="33"/>
                    </a:lnTo>
                    <a:lnTo>
                      <a:pt x="101" y="23"/>
                    </a:lnTo>
                    <a:lnTo>
                      <a:pt x="118" y="15"/>
                    </a:lnTo>
                    <a:lnTo>
                      <a:pt x="135" y="8"/>
                    </a:lnTo>
                    <a:lnTo>
                      <a:pt x="154" y="3"/>
                    </a:lnTo>
                    <a:lnTo>
                      <a:pt x="173" y="1"/>
                    </a:lnTo>
                    <a:lnTo>
                      <a:pt x="193" y="0"/>
                    </a:lnTo>
                    <a:lnTo>
                      <a:pt x="1343" y="0"/>
                    </a:lnTo>
                    <a:lnTo>
                      <a:pt x="1343" y="0"/>
                    </a:lnTo>
                    <a:lnTo>
                      <a:pt x="1364" y="1"/>
                    </a:lnTo>
                    <a:lnTo>
                      <a:pt x="1382" y="3"/>
                    </a:lnTo>
                    <a:lnTo>
                      <a:pt x="1402" y="8"/>
                    </a:lnTo>
                    <a:lnTo>
                      <a:pt x="1419" y="15"/>
                    </a:lnTo>
                    <a:lnTo>
                      <a:pt x="1436" y="23"/>
                    </a:lnTo>
                    <a:lnTo>
                      <a:pt x="1452" y="33"/>
                    </a:lnTo>
                    <a:lnTo>
                      <a:pt x="1467" y="44"/>
                    </a:lnTo>
                    <a:lnTo>
                      <a:pt x="1481" y="56"/>
                    </a:lnTo>
                    <a:lnTo>
                      <a:pt x="1494" y="70"/>
                    </a:lnTo>
                    <a:lnTo>
                      <a:pt x="1504" y="85"/>
                    </a:lnTo>
                    <a:lnTo>
                      <a:pt x="1515" y="101"/>
                    </a:lnTo>
                    <a:lnTo>
                      <a:pt x="1523" y="118"/>
                    </a:lnTo>
                    <a:lnTo>
                      <a:pt x="1528" y="136"/>
                    </a:lnTo>
                    <a:lnTo>
                      <a:pt x="1534" y="154"/>
                    </a:lnTo>
                    <a:lnTo>
                      <a:pt x="1537" y="174"/>
                    </a:lnTo>
                    <a:lnTo>
                      <a:pt x="1538" y="193"/>
                    </a:lnTo>
                    <a:lnTo>
                      <a:pt x="1538" y="193"/>
                    </a:lnTo>
                    <a:close/>
                  </a:path>
                </a:pathLst>
              </a:custGeom>
              <a:solidFill>
                <a:srgbClr val="B3C1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21" name="Freeform 92"/>
              <p:cNvSpPr>
                <a:spLocks/>
              </p:cNvSpPr>
              <p:nvPr userDrawn="1"/>
            </p:nvSpPr>
            <p:spPr bwMode="auto">
              <a:xfrm rot="20844360">
                <a:off x="6882728" y="2885803"/>
                <a:ext cx="1354442" cy="347476"/>
              </a:xfrm>
              <a:custGeom>
                <a:avLst/>
                <a:gdLst>
                  <a:gd name="T0" fmla="*/ 1332 w 1332"/>
                  <a:gd name="T1" fmla="*/ 169 h 337"/>
                  <a:gd name="T2" fmla="*/ 1328 w 1332"/>
                  <a:gd name="T3" fmla="*/ 202 h 337"/>
                  <a:gd name="T4" fmla="*/ 1318 w 1332"/>
                  <a:gd name="T5" fmla="*/ 233 h 337"/>
                  <a:gd name="T6" fmla="*/ 1303 w 1332"/>
                  <a:gd name="T7" fmla="*/ 262 h 337"/>
                  <a:gd name="T8" fmla="*/ 1282 w 1332"/>
                  <a:gd name="T9" fmla="*/ 287 h 337"/>
                  <a:gd name="T10" fmla="*/ 1258 w 1332"/>
                  <a:gd name="T11" fmla="*/ 308 h 337"/>
                  <a:gd name="T12" fmla="*/ 1229 w 1332"/>
                  <a:gd name="T13" fmla="*/ 323 h 337"/>
                  <a:gd name="T14" fmla="*/ 1197 w 1332"/>
                  <a:gd name="T15" fmla="*/ 333 h 337"/>
                  <a:gd name="T16" fmla="*/ 1164 w 1332"/>
                  <a:gd name="T17" fmla="*/ 337 h 337"/>
                  <a:gd name="T18" fmla="*/ 168 w 1332"/>
                  <a:gd name="T19" fmla="*/ 337 h 337"/>
                  <a:gd name="T20" fmla="*/ 134 w 1332"/>
                  <a:gd name="T21" fmla="*/ 333 h 337"/>
                  <a:gd name="T22" fmla="*/ 102 w 1332"/>
                  <a:gd name="T23" fmla="*/ 323 h 337"/>
                  <a:gd name="T24" fmla="*/ 73 w 1332"/>
                  <a:gd name="T25" fmla="*/ 308 h 337"/>
                  <a:gd name="T26" fmla="*/ 49 w 1332"/>
                  <a:gd name="T27" fmla="*/ 287 h 337"/>
                  <a:gd name="T28" fmla="*/ 28 w 1332"/>
                  <a:gd name="T29" fmla="*/ 262 h 337"/>
                  <a:gd name="T30" fmla="*/ 13 w 1332"/>
                  <a:gd name="T31" fmla="*/ 233 h 337"/>
                  <a:gd name="T32" fmla="*/ 3 w 1332"/>
                  <a:gd name="T33" fmla="*/ 202 h 337"/>
                  <a:gd name="T34" fmla="*/ 0 w 1332"/>
                  <a:gd name="T35" fmla="*/ 169 h 337"/>
                  <a:gd name="T36" fmla="*/ 1 w 1332"/>
                  <a:gd name="T37" fmla="*/ 151 h 337"/>
                  <a:gd name="T38" fmla="*/ 8 w 1332"/>
                  <a:gd name="T39" fmla="*/ 118 h 337"/>
                  <a:gd name="T40" fmla="*/ 20 w 1332"/>
                  <a:gd name="T41" fmla="*/ 88 h 337"/>
                  <a:gd name="T42" fmla="*/ 38 w 1332"/>
                  <a:gd name="T43" fmla="*/ 62 h 337"/>
                  <a:gd name="T44" fmla="*/ 61 w 1332"/>
                  <a:gd name="T45" fmla="*/ 38 h 337"/>
                  <a:gd name="T46" fmla="*/ 88 w 1332"/>
                  <a:gd name="T47" fmla="*/ 20 h 337"/>
                  <a:gd name="T48" fmla="*/ 118 w 1332"/>
                  <a:gd name="T49" fmla="*/ 7 h 337"/>
                  <a:gd name="T50" fmla="*/ 150 w 1332"/>
                  <a:gd name="T51" fmla="*/ 2 h 337"/>
                  <a:gd name="T52" fmla="*/ 1164 w 1332"/>
                  <a:gd name="T53" fmla="*/ 0 h 337"/>
                  <a:gd name="T54" fmla="*/ 1181 w 1332"/>
                  <a:gd name="T55" fmla="*/ 2 h 337"/>
                  <a:gd name="T56" fmla="*/ 1213 w 1332"/>
                  <a:gd name="T57" fmla="*/ 7 h 337"/>
                  <a:gd name="T58" fmla="*/ 1244 w 1332"/>
                  <a:gd name="T59" fmla="*/ 20 h 337"/>
                  <a:gd name="T60" fmla="*/ 1271 w 1332"/>
                  <a:gd name="T61" fmla="*/ 38 h 337"/>
                  <a:gd name="T62" fmla="*/ 1294 w 1332"/>
                  <a:gd name="T63" fmla="*/ 62 h 337"/>
                  <a:gd name="T64" fmla="*/ 1311 w 1332"/>
                  <a:gd name="T65" fmla="*/ 88 h 337"/>
                  <a:gd name="T66" fmla="*/ 1324 w 1332"/>
                  <a:gd name="T67" fmla="*/ 118 h 337"/>
                  <a:gd name="T68" fmla="*/ 1331 w 1332"/>
                  <a:gd name="T69" fmla="*/ 151 h 337"/>
                  <a:gd name="T70" fmla="*/ 1332 w 1332"/>
                  <a:gd name="T71" fmla="*/ 169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32" h="337">
                    <a:moveTo>
                      <a:pt x="1332" y="169"/>
                    </a:moveTo>
                    <a:lnTo>
                      <a:pt x="1332" y="169"/>
                    </a:lnTo>
                    <a:lnTo>
                      <a:pt x="1331" y="186"/>
                    </a:lnTo>
                    <a:lnTo>
                      <a:pt x="1328" y="202"/>
                    </a:lnTo>
                    <a:lnTo>
                      <a:pt x="1324" y="218"/>
                    </a:lnTo>
                    <a:lnTo>
                      <a:pt x="1318" y="233"/>
                    </a:lnTo>
                    <a:lnTo>
                      <a:pt x="1311" y="248"/>
                    </a:lnTo>
                    <a:lnTo>
                      <a:pt x="1303" y="262"/>
                    </a:lnTo>
                    <a:lnTo>
                      <a:pt x="1294" y="275"/>
                    </a:lnTo>
                    <a:lnTo>
                      <a:pt x="1282" y="287"/>
                    </a:lnTo>
                    <a:lnTo>
                      <a:pt x="1271" y="298"/>
                    </a:lnTo>
                    <a:lnTo>
                      <a:pt x="1258" y="308"/>
                    </a:lnTo>
                    <a:lnTo>
                      <a:pt x="1244" y="316"/>
                    </a:lnTo>
                    <a:lnTo>
                      <a:pt x="1229" y="323"/>
                    </a:lnTo>
                    <a:lnTo>
                      <a:pt x="1213" y="329"/>
                    </a:lnTo>
                    <a:lnTo>
                      <a:pt x="1197" y="333"/>
                    </a:lnTo>
                    <a:lnTo>
                      <a:pt x="1181" y="336"/>
                    </a:lnTo>
                    <a:lnTo>
                      <a:pt x="1164" y="337"/>
                    </a:lnTo>
                    <a:lnTo>
                      <a:pt x="168" y="337"/>
                    </a:lnTo>
                    <a:lnTo>
                      <a:pt x="168" y="337"/>
                    </a:lnTo>
                    <a:lnTo>
                      <a:pt x="150" y="336"/>
                    </a:lnTo>
                    <a:lnTo>
                      <a:pt x="134" y="333"/>
                    </a:lnTo>
                    <a:lnTo>
                      <a:pt x="118" y="329"/>
                    </a:lnTo>
                    <a:lnTo>
                      <a:pt x="102" y="323"/>
                    </a:lnTo>
                    <a:lnTo>
                      <a:pt x="88" y="316"/>
                    </a:lnTo>
                    <a:lnTo>
                      <a:pt x="73" y="308"/>
                    </a:lnTo>
                    <a:lnTo>
                      <a:pt x="61" y="298"/>
                    </a:lnTo>
                    <a:lnTo>
                      <a:pt x="49" y="287"/>
                    </a:lnTo>
                    <a:lnTo>
                      <a:pt x="38" y="275"/>
                    </a:lnTo>
                    <a:lnTo>
                      <a:pt x="28" y="262"/>
                    </a:lnTo>
                    <a:lnTo>
                      <a:pt x="20" y="248"/>
                    </a:lnTo>
                    <a:lnTo>
                      <a:pt x="13" y="233"/>
                    </a:lnTo>
                    <a:lnTo>
                      <a:pt x="8" y="218"/>
                    </a:lnTo>
                    <a:lnTo>
                      <a:pt x="3" y="202"/>
                    </a:lnTo>
                    <a:lnTo>
                      <a:pt x="1" y="186"/>
                    </a:lnTo>
                    <a:lnTo>
                      <a:pt x="0" y="169"/>
                    </a:lnTo>
                    <a:lnTo>
                      <a:pt x="0" y="169"/>
                    </a:lnTo>
                    <a:lnTo>
                      <a:pt x="1" y="151"/>
                    </a:lnTo>
                    <a:lnTo>
                      <a:pt x="3" y="134"/>
                    </a:lnTo>
                    <a:lnTo>
                      <a:pt x="8" y="118"/>
                    </a:lnTo>
                    <a:lnTo>
                      <a:pt x="13" y="103"/>
                    </a:lnTo>
                    <a:lnTo>
                      <a:pt x="20" y="88"/>
                    </a:lnTo>
                    <a:lnTo>
                      <a:pt x="28" y="74"/>
                    </a:lnTo>
                    <a:lnTo>
                      <a:pt x="38" y="62"/>
                    </a:lnTo>
                    <a:lnTo>
                      <a:pt x="49" y="49"/>
                    </a:lnTo>
                    <a:lnTo>
                      <a:pt x="61" y="38"/>
                    </a:lnTo>
                    <a:lnTo>
                      <a:pt x="73" y="29"/>
                    </a:lnTo>
                    <a:lnTo>
                      <a:pt x="88" y="20"/>
                    </a:lnTo>
                    <a:lnTo>
                      <a:pt x="102" y="13"/>
                    </a:lnTo>
                    <a:lnTo>
                      <a:pt x="118" y="7"/>
                    </a:lnTo>
                    <a:lnTo>
                      <a:pt x="134" y="4"/>
                    </a:lnTo>
                    <a:lnTo>
                      <a:pt x="150" y="2"/>
                    </a:lnTo>
                    <a:lnTo>
                      <a:pt x="168" y="0"/>
                    </a:lnTo>
                    <a:lnTo>
                      <a:pt x="1164" y="0"/>
                    </a:lnTo>
                    <a:lnTo>
                      <a:pt x="1164" y="0"/>
                    </a:lnTo>
                    <a:lnTo>
                      <a:pt x="1181" y="2"/>
                    </a:lnTo>
                    <a:lnTo>
                      <a:pt x="1197" y="4"/>
                    </a:lnTo>
                    <a:lnTo>
                      <a:pt x="1213" y="7"/>
                    </a:lnTo>
                    <a:lnTo>
                      <a:pt x="1229" y="13"/>
                    </a:lnTo>
                    <a:lnTo>
                      <a:pt x="1244" y="20"/>
                    </a:lnTo>
                    <a:lnTo>
                      <a:pt x="1258" y="29"/>
                    </a:lnTo>
                    <a:lnTo>
                      <a:pt x="1271" y="38"/>
                    </a:lnTo>
                    <a:lnTo>
                      <a:pt x="1282" y="49"/>
                    </a:lnTo>
                    <a:lnTo>
                      <a:pt x="1294" y="62"/>
                    </a:lnTo>
                    <a:lnTo>
                      <a:pt x="1303" y="74"/>
                    </a:lnTo>
                    <a:lnTo>
                      <a:pt x="1311" y="88"/>
                    </a:lnTo>
                    <a:lnTo>
                      <a:pt x="1318" y="103"/>
                    </a:lnTo>
                    <a:lnTo>
                      <a:pt x="1324" y="118"/>
                    </a:lnTo>
                    <a:lnTo>
                      <a:pt x="1328" y="134"/>
                    </a:lnTo>
                    <a:lnTo>
                      <a:pt x="1331" y="151"/>
                    </a:lnTo>
                    <a:lnTo>
                      <a:pt x="1332" y="169"/>
                    </a:lnTo>
                    <a:lnTo>
                      <a:pt x="1332" y="169"/>
                    </a:lnTo>
                    <a:close/>
                  </a:path>
                </a:pathLst>
              </a:custGeom>
              <a:solidFill>
                <a:srgbClr val="D2E0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22" name="Freeform 93"/>
              <p:cNvSpPr>
                <a:spLocks/>
              </p:cNvSpPr>
              <p:nvPr userDrawn="1"/>
            </p:nvSpPr>
            <p:spPr bwMode="auto">
              <a:xfrm rot="20844360">
                <a:off x="4965430" y="3182717"/>
                <a:ext cx="1560088" cy="390024"/>
              </a:xfrm>
              <a:custGeom>
                <a:avLst/>
                <a:gdLst>
                  <a:gd name="T0" fmla="*/ 1539 w 1539"/>
                  <a:gd name="T1" fmla="*/ 195 h 388"/>
                  <a:gd name="T2" fmla="*/ 1535 w 1539"/>
                  <a:gd name="T3" fmla="*/ 234 h 388"/>
                  <a:gd name="T4" fmla="*/ 1523 w 1539"/>
                  <a:gd name="T5" fmla="*/ 270 h 388"/>
                  <a:gd name="T6" fmla="*/ 1506 w 1539"/>
                  <a:gd name="T7" fmla="*/ 303 h 388"/>
                  <a:gd name="T8" fmla="*/ 1482 w 1539"/>
                  <a:gd name="T9" fmla="*/ 332 h 388"/>
                  <a:gd name="T10" fmla="*/ 1453 w 1539"/>
                  <a:gd name="T11" fmla="*/ 356 h 388"/>
                  <a:gd name="T12" fmla="*/ 1421 w 1539"/>
                  <a:gd name="T13" fmla="*/ 373 h 388"/>
                  <a:gd name="T14" fmla="*/ 1384 w 1539"/>
                  <a:gd name="T15" fmla="*/ 385 h 388"/>
                  <a:gd name="T16" fmla="*/ 1345 w 1539"/>
                  <a:gd name="T17" fmla="*/ 388 h 388"/>
                  <a:gd name="T18" fmla="*/ 195 w 1539"/>
                  <a:gd name="T19" fmla="*/ 388 h 388"/>
                  <a:gd name="T20" fmla="*/ 156 w 1539"/>
                  <a:gd name="T21" fmla="*/ 385 h 388"/>
                  <a:gd name="T22" fmla="*/ 119 w 1539"/>
                  <a:gd name="T23" fmla="*/ 373 h 388"/>
                  <a:gd name="T24" fmla="*/ 87 w 1539"/>
                  <a:gd name="T25" fmla="*/ 356 h 388"/>
                  <a:gd name="T26" fmla="*/ 58 w 1539"/>
                  <a:gd name="T27" fmla="*/ 332 h 388"/>
                  <a:gd name="T28" fmla="*/ 34 w 1539"/>
                  <a:gd name="T29" fmla="*/ 303 h 388"/>
                  <a:gd name="T30" fmla="*/ 16 w 1539"/>
                  <a:gd name="T31" fmla="*/ 270 h 388"/>
                  <a:gd name="T32" fmla="*/ 5 w 1539"/>
                  <a:gd name="T33" fmla="*/ 234 h 388"/>
                  <a:gd name="T34" fmla="*/ 0 w 1539"/>
                  <a:gd name="T35" fmla="*/ 195 h 388"/>
                  <a:gd name="T36" fmla="*/ 1 w 1539"/>
                  <a:gd name="T37" fmla="*/ 175 h 388"/>
                  <a:gd name="T38" fmla="*/ 9 w 1539"/>
                  <a:gd name="T39" fmla="*/ 137 h 388"/>
                  <a:gd name="T40" fmla="*/ 24 w 1539"/>
                  <a:gd name="T41" fmla="*/ 101 h 388"/>
                  <a:gd name="T42" fmla="*/ 45 w 1539"/>
                  <a:gd name="T43" fmla="*/ 71 h 388"/>
                  <a:gd name="T44" fmla="*/ 72 w 1539"/>
                  <a:gd name="T45" fmla="*/ 45 h 388"/>
                  <a:gd name="T46" fmla="*/ 103 w 1539"/>
                  <a:gd name="T47" fmla="*/ 24 h 388"/>
                  <a:gd name="T48" fmla="*/ 137 w 1539"/>
                  <a:gd name="T49" fmla="*/ 9 h 388"/>
                  <a:gd name="T50" fmla="*/ 175 w 1539"/>
                  <a:gd name="T51" fmla="*/ 1 h 388"/>
                  <a:gd name="T52" fmla="*/ 1345 w 1539"/>
                  <a:gd name="T53" fmla="*/ 0 h 388"/>
                  <a:gd name="T54" fmla="*/ 1364 w 1539"/>
                  <a:gd name="T55" fmla="*/ 1 h 388"/>
                  <a:gd name="T56" fmla="*/ 1402 w 1539"/>
                  <a:gd name="T57" fmla="*/ 9 h 388"/>
                  <a:gd name="T58" fmla="*/ 1437 w 1539"/>
                  <a:gd name="T59" fmla="*/ 24 h 388"/>
                  <a:gd name="T60" fmla="*/ 1468 w 1539"/>
                  <a:gd name="T61" fmla="*/ 45 h 388"/>
                  <a:gd name="T62" fmla="*/ 1495 w 1539"/>
                  <a:gd name="T63" fmla="*/ 71 h 388"/>
                  <a:gd name="T64" fmla="*/ 1515 w 1539"/>
                  <a:gd name="T65" fmla="*/ 101 h 388"/>
                  <a:gd name="T66" fmla="*/ 1530 w 1539"/>
                  <a:gd name="T67" fmla="*/ 137 h 388"/>
                  <a:gd name="T68" fmla="*/ 1538 w 1539"/>
                  <a:gd name="T69" fmla="*/ 175 h 388"/>
                  <a:gd name="T70" fmla="*/ 1539 w 1539"/>
                  <a:gd name="T71"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39" h="388">
                    <a:moveTo>
                      <a:pt x="1539" y="195"/>
                    </a:moveTo>
                    <a:lnTo>
                      <a:pt x="1539" y="195"/>
                    </a:lnTo>
                    <a:lnTo>
                      <a:pt x="1538" y="214"/>
                    </a:lnTo>
                    <a:lnTo>
                      <a:pt x="1535" y="234"/>
                    </a:lnTo>
                    <a:lnTo>
                      <a:pt x="1530" y="252"/>
                    </a:lnTo>
                    <a:lnTo>
                      <a:pt x="1523" y="270"/>
                    </a:lnTo>
                    <a:lnTo>
                      <a:pt x="1515" y="287"/>
                    </a:lnTo>
                    <a:lnTo>
                      <a:pt x="1506" y="303"/>
                    </a:lnTo>
                    <a:lnTo>
                      <a:pt x="1495" y="318"/>
                    </a:lnTo>
                    <a:lnTo>
                      <a:pt x="1482" y="332"/>
                    </a:lnTo>
                    <a:lnTo>
                      <a:pt x="1468" y="344"/>
                    </a:lnTo>
                    <a:lnTo>
                      <a:pt x="1453" y="356"/>
                    </a:lnTo>
                    <a:lnTo>
                      <a:pt x="1437" y="365"/>
                    </a:lnTo>
                    <a:lnTo>
                      <a:pt x="1421" y="373"/>
                    </a:lnTo>
                    <a:lnTo>
                      <a:pt x="1402" y="380"/>
                    </a:lnTo>
                    <a:lnTo>
                      <a:pt x="1384" y="385"/>
                    </a:lnTo>
                    <a:lnTo>
                      <a:pt x="1364" y="388"/>
                    </a:lnTo>
                    <a:lnTo>
                      <a:pt x="1345" y="388"/>
                    </a:lnTo>
                    <a:lnTo>
                      <a:pt x="195" y="388"/>
                    </a:lnTo>
                    <a:lnTo>
                      <a:pt x="195" y="388"/>
                    </a:lnTo>
                    <a:lnTo>
                      <a:pt x="175" y="388"/>
                    </a:lnTo>
                    <a:lnTo>
                      <a:pt x="156" y="385"/>
                    </a:lnTo>
                    <a:lnTo>
                      <a:pt x="137" y="380"/>
                    </a:lnTo>
                    <a:lnTo>
                      <a:pt x="119" y="373"/>
                    </a:lnTo>
                    <a:lnTo>
                      <a:pt x="103" y="365"/>
                    </a:lnTo>
                    <a:lnTo>
                      <a:pt x="87" y="356"/>
                    </a:lnTo>
                    <a:lnTo>
                      <a:pt x="72" y="344"/>
                    </a:lnTo>
                    <a:lnTo>
                      <a:pt x="58" y="332"/>
                    </a:lnTo>
                    <a:lnTo>
                      <a:pt x="45" y="318"/>
                    </a:lnTo>
                    <a:lnTo>
                      <a:pt x="34" y="303"/>
                    </a:lnTo>
                    <a:lnTo>
                      <a:pt x="24" y="287"/>
                    </a:lnTo>
                    <a:lnTo>
                      <a:pt x="16" y="270"/>
                    </a:lnTo>
                    <a:lnTo>
                      <a:pt x="9" y="252"/>
                    </a:lnTo>
                    <a:lnTo>
                      <a:pt x="5" y="234"/>
                    </a:lnTo>
                    <a:lnTo>
                      <a:pt x="1" y="214"/>
                    </a:lnTo>
                    <a:lnTo>
                      <a:pt x="0" y="195"/>
                    </a:lnTo>
                    <a:lnTo>
                      <a:pt x="0" y="195"/>
                    </a:lnTo>
                    <a:lnTo>
                      <a:pt x="1" y="175"/>
                    </a:lnTo>
                    <a:lnTo>
                      <a:pt x="5" y="156"/>
                    </a:lnTo>
                    <a:lnTo>
                      <a:pt x="9" y="137"/>
                    </a:lnTo>
                    <a:lnTo>
                      <a:pt x="16" y="119"/>
                    </a:lnTo>
                    <a:lnTo>
                      <a:pt x="24" y="101"/>
                    </a:lnTo>
                    <a:lnTo>
                      <a:pt x="34" y="86"/>
                    </a:lnTo>
                    <a:lnTo>
                      <a:pt x="45" y="71"/>
                    </a:lnTo>
                    <a:lnTo>
                      <a:pt x="58" y="58"/>
                    </a:lnTo>
                    <a:lnTo>
                      <a:pt x="72" y="45"/>
                    </a:lnTo>
                    <a:lnTo>
                      <a:pt x="87" y="33"/>
                    </a:lnTo>
                    <a:lnTo>
                      <a:pt x="103" y="24"/>
                    </a:lnTo>
                    <a:lnTo>
                      <a:pt x="119" y="16"/>
                    </a:lnTo>
                    <a:lnTo>
                      <a:pt x="137" y="9"/>
                    </a:lnTo>
                    <a:lnTo>
                      <a:pt x="156" y="5"/>
                    </a:lnTo>
                    <a:lnTo>
                      <a:pt x="175" y="1"/>
                    </a:lnTo>
                    <a:lnTo>
                      <a:pt x="195" y="0"/>
                    </a:lnTo>
                    <a:lnTo>
                      <a:pt x="1345" y="0"/>
                    </a:lnTo>
                    <a:lnTo>
                      <a:pt x="1345" y="0"/>
                    </a:lnTo>
                    <a:lnTo>
                      <a:pt x="1364" y="1"/>
                    </a:lnTo>
                    <a:lnTo>
                      <a:pt x="1384" y="5"/>
                    </a:lnTo>
                    <a:lnTo>
                      <a:pt x="1402" y="9"/>
                    </a:lnTo>
                    <a:lnTo>
                      <a:pt x="1421" y="16"/>
                    </a:lnTo>
                    <a:lnTo>
                      <a:pt x="1437" y="24"/>
                    </a:lnTo>
                    <a:lnTo>
                      <a:pt x="1453" y="33"/>
                    </a:lnTo>
                    <a:lnTo>
                      <a:pt x="1468" y="45"/>
                    </a:lnTo>
                    <a:lnTo>
                      <a:pt x="1482" y="58"/>
                    </a:lnTo>
                    <a:lnTo>
                      <a:pt x="1495" y="71"/>
                    </a:lnTo>
                    <a:lnTo>
                      <a:pt x="1506" y="86"/>
                    </a:lnTo>
                    <a:lnTo>
                      <a:pt x="1515" y="101"/>
                    </a:lnTo>
                    <a:lnTo>
                      <a:pt x="1523" y="119"/>
                    </a:lnTo>
                    <a:lnTo>
                      <a:pt x="1530" y="137"/>
                    </a:lnTo>
                    <a:lnTo>
                      <a:pt x="1535" y="156"/>
                    </a:lnTo>
                    <a:lnTo>
                      <a:pt x="1538" y="175"/>
                    </a:lnTo>
                    <a:lnTo>
                      <a:pt x="1539" y="195"/>
                    </a:lnTo>
                    <a:lnTo>
                      <a:pt x="1539" y="195"/>
                    </a:lnTo>
                    <a:close/>
                  </a:path>
                </a:pathLst>
              </a:custGeom>
              <a:solidFill>
                <a:srgbClr val="7F89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35" name="자유형 1134"/>
              <p:cNvSpPr>
                <a:spLocks/>
              </p:cNvSpPr>
              <p:nvPr userDrawn="1"/>
            </p:nvSpPr>
            <p:spPr bwMode="auto">
              <a:xfrm rot="20844360">
                <a:off x="2319137" y="3873483"/>
                <a:ext cx="6859213" cy="1077879"/>
              </a:xfrm>
              <a:custGeom>
                <a:avLst/>
                <a:gdLst>
                  <a:gd name="connsiteX0" fmla="*/ 6859213 w 6859213"/>
                  <a:gd name="connsiteY0" fmla="*/ 759856 h 1077879"/>
                  <a:gd name="connsiteX1" fmla="*/ 6803920 w 6859213"/>
                  <a:gd name="connsiteY1" fmla="*/ 1007346 h 1077879"/>
                  <a:gd name="connsiteX2" fmla="*/ 6779777 w 6859213"/>
                  <a:gd name="connsiteY2" fmla="*/ 1009121 h 1077879"/>
                  <a:gd name="connsiteX3" fmla="*/ 6582190 w 6859213"/>
                  <a:gd name="connsiteY3" fmla="*/ 1020244 h 1077879"/>
                  <a:gd name="connsiteX4" fmla="*/ 6378523 w 6859213"/>
                  <a:gd name="connsiteY4" fmla="*/ 1032377 h 1077879"/>
                  <a:gd name="connsiteX5" fmla="*/ 6169790 w 6859213"/>
                  <a:gd name="connsiteY5" fmla="*/ 1042489 h 1077879"/>
                  <a:gd name="connsiteX6" fmla="*/ 5957004 w 6859213"/>
                  <a:gd name="connsiteY6" fmla="*/ 1051589 h 1077879"/>
                  <a:gd name="connsiteX7" fmla="*/ 5739151 w 6859213"/>
                  <a:gd name="connsiteY7" fmla="*/ 1059678 h 1077879"/>
                  <a:gd name="connsiteX8" fmla="*/ 5517247 w 6859213"/>
                  <a:gd name="connsiteY8" fmla="*/ 1065745 h 1077879"/>
                  <a:gd name="connsiteX9" fmla="*/ 5290275 w 6859213"/>
                  <a:gd name="connsiteY9" fmla="*/ 1071812 h 1077879"/>
                  <a:gd name="connsiteX10" fmla="*/ 5060261 w 6859213"/>
                  <a:gd name="connsiteY10" fmla="*/ 1074845 h 1077879"/>
                  <a:gd name="connsiteX11" fmla="*/ 4828224 w 6859213"/>
                  <a:gd name="connsiteY11" fmla="*/ 1077879 h 1077879"/>
                  <a:gd name="connsiteX12" fmla="*/ 4592131 w 6859213"/>
                  <a:gd name="connsiteY12" fmla="*/ 1077879 h 1077879"/>
                  <a:gd name="connsiteX13" fmla="*/ 4355027 w 6859213"/>
                  <a:gd name="connsiteY13" fmla="*/ 1077878 h 1077879"/>
                  <a:gd name="connsiteX14" fmla="*/ 4122989 w 6859213"/>
                  <a:gd name="connsiteY14" fmla="*/ 1074846 h 1077879"/>
                  <a:gd name="connsiteX15" fmla="*/ 3892976 w 6859213"/>
                  <a:gd name="connsiteY15" fmla="*/ 1071811 h 1077879"/>
                  <a:gd name="connsiteX16" fmla="*/ 3667017 w 6859213"/>
                  <a:gd name="connsiteY16" fmla="*/ 1065745 h 1077879"/>
                  <a:gd name="connsiteX17" fmla="*/ 3444100 w 6859213"/>
                  <a:gd name="connsiteY17" fmla="*/ 1059678 h 1077879"/>
                  <a:gd name="connsiteX18" fmla="*/ 3227259 w 6859213"/>
                  <a:gd name="connsiteY18" fmla="*/ 1051589 h 1077879"/>
                  <a:gd name="connsiteX19" fmla="*/ 3013459 w 6859213"/>
                  <a:gd name="connsiteY19" fmla="*/ 1042488 h 1077879"/>
                  <a:gd name="connsiteX20" fmla="*/ 2804728 w 6859213"/>
                  <a:gd name="connsiteY20" fmla="*/ 1032378 h 1077879"/>
                  <a:gd name="connsiteX21" fmla="*/ 2602072 w 6859213"/>
                  <a:gd name="connsiteY21" fmla="*/ 1020244 h 1077879"/>
                  <a:gd name="connsiteX22" fmla="*/ 2403472 w 6859213"/>
                  <a:gd name="connsiteY22" fmla="*/ 1009121 h 1077879"/>
                  <a:gd name="connsiteX23" fmla="*/ 2210953 w 6859213"/>
                  <a:gd name="connsiteY23" fmla="*/ 994965 h 1077879"/>
                  <a:gd name="connsiteX24" fmla="*/ 2064484 w 6859213"/>
                  <a:gd name="connsiteY24" fmla="*/ 983049 h 1077879"/>
                  <a:gd name="connsiteX25" fmla="*/ 3071 w 6859213"/>
                  <a:gd name="connsiteY25" fmla="*/ 522496 h 1077879"/>
                  <a:gd name="connsiteX26" fmla="*/ 1013 w 6859213"/>
                  <a:gd name="connsiteY26" fmla="*/ 517705 h 1077879"/>
                  <a:gd name="connsiteX27" fmla="*/ 0 w 6859213"/>
                  <a:gd name="connsiteY27" fmla="*/ 509616 h 1077879"/>
                  <a:gd name="connsiteX28" fmla="*/ 0 w 6859213"/>
                  <a:gd name="connsiteY28" fmla="*/ 502538 h 1077879"/>
                  <a:gd name="connsiteX29" fmla="*/ 0 w 6859213"/>
                  <a:gd name="connsiteY29" fmla="*/ 492427 h 1077879"/>
                  <a:gd name="connsiteX30" fmla="*/ 3041 w 6859213"/>
                  <a:gd name="connsiteY30" fmla="*/ 481303 h 1077879"/>
                  <a:gd name="connsiteX31" fmla="*/ 6080 w 6859213"/>
                  <a:gd name="connsiteY31" fmla="*/ 472204 h 1077879"/>
                  <a:gd name="connsiteX32" fmla="*/ 11146 w 6859213"/>
                  <a:gd name="connsiteY32" fmla="*/ 462092 h 1077879"/>
                  <a:gd name="connsiteX33" fmla="*/ 17226 w 6859213"/>
                  <a:gd name="connsiteY33" fmla="*/ 451980 h 1077879"/>
                  <a:gd name="connsiteX34" fmla="*/ 24319 w 6859213"/>
                  <a:gd name="connsiteY34" fmla="*/ 441870 h 1077879"/>
                  <a:gd name="connsiteX35" fmla="*/ 34451 w 6859213"/>
                  <a:gd name="connsiteY35" fmla="*/ 432769 h 1077879"/>
                  <a:gd name="connsiteX36" fmla="*/ 43570 w 6859213"/>
                  <a:gd name="connsiteY36" fmla="*/ 421647 h 1077879"/>
                  <a:gd name="connsiteX37" fmla="*/ 54717 w 6859213"/>
                  <a:gd name="connsiteY37" fmla="*/ 412546 h 1077879"/>
                  <a:gd name="connsiteX38" fmla="*/ 67889 w 6859213"/>
                  <a:gd name="connsiteY38" fmla="*/ 403446 h 1077879"/>
                  <a:gd name="connsiteX39" fmla="*/ 82075 w 6859213"/>
                  <a:gd name="connsiteY39" fmla="*/ 393334 h 1077879"/>
                  <a:gd name="connsiteX40" fmla="*/ 97275 w 6859213"/>
                  <a:gd name="connsiteY40" fmla="*/ 383222 h 1077879"/>
                  <a:gd name="connsiteX41" fmla="*/ 130712 w 6859213"/>
                  <a:gd name="connsiteY41" fmla="*/ 365023 h 1077879"/>
                  <a:gd name="connsiteX42" fmla="*/ 170230 w 6859213"/>
                  <a:gd name="connsiteY42" fmla="*/ 346822 h 1077879"/>
                  <a:gd name="connsiteX43" fmla="*/ 213800 w 6859213"/>
                  <a:gd name="connsiteY43" fmla="*/ 327610 h 1077879"/>
                  <a:gd name="connsiteX44" fmla="*/ 262437 w 6859213"/>
                  <a:gd name="connsiteY44" fmla="*/ 309409 h 1077879"/>
                  <a:gd name="connsiteX45" fmla="*/ 316140 w 6859213"/>
                  <a:gd name="connsiteY45" fmla="*/ 292220 h 1077879"/>
                  <a:gd name="connsiteX46" fmla="*/ 374909 w 6859213"/>
                  <a:gd name="connsiteY46" fmla="*/ 274019 h 1077879"/>
                  <a:gd name="connsiteX47" fmla="*/ 436719 w 6859213"/>
                  <a:gd name="connsiteY47" fmla="*/ 256830 h 1077879"/>
                  <a:gd name="connsiteX48" fmla="*/ 502581 w 6859213"/>
                  <a:gd name="connsiteY48" fmla="*/ 239642 h 1077879"/>
                  <a:gd name="connsiteX49" fmla="*/ 574523 w 6859213"/>
                  <a:gd name="connsiteY49" fmla="*/ 223462 h 1077879"/>
                  <a:gd name="connsiteX50" fmla="*/ 649505 w 6859213"/>
                  <a:gd name="connsiteY50" fmla="*/ 206272 h 1077879"/>
                  <a:gd name="connsiteX51" fmla="*/ 729553 w 6859213"/>
                  <a:gd name="connsiteY51" fmla="*/ 190095 h 1077879"/>
                  <a:gd name="connsiteX52" fmla="*/ 812642 w 6859213"/>
                  <a:gd name="connsiteY52" fmla="*/ 174928 h 1077879"/>
                  <a:gd name="connsiteX53" fmla="*/ 899782 w 6859213"/>
                  <a:gd name="connsiteY53" fmla="*/ 159760 h 1077879"/>
                  <a:gd name="connsiteX54" fmla="*/ 991990 w 6859213"/>
                  <a:gd name="connsiteY54" fmla="*/ 144593 h 1077879"/>
                  <a:gd name="connsiteX55" fmla="*/ 1086223 w 6859213"/>
                  <a:gd name="connsiteY55" fmla="*/ 129426 h 1077879"/>
                  <a:gd name="connsiteX56" fmla="*/ 1184510 w 6859213"/>
                  <a:gd name="connsiteY56" fmla="*/ 116281 h 1077879"/>
                  <a:gd name="connsiteX57" fmla="*/ 1286851 w 6859213"/>
                  <a:gd name="connsiteY57" fmla="*/ 103137 h 1077879"/>
                  <a:gd name="connsiteX58" fmla="*/ 1393244 w 6859213"/>
                  <a:gd name="connsiteY58" fmla="*/ 88980 h 1077879"/>
                  <a:gd name="connsiteX59" fmla="*/ 1501663 w 6859213"/>
                  <a:gd name="connsiteY59" fmla="*/ 76848 h 1077879"/>
                  <a:gd name="connsiteX60" fmla="*/ 1613123 w 6859213"/>
                  <a:gd name="connsiteY60" fmla="*/ 63701 h 1077879"/>
                  <a:gd name="connsiteX61" fmla="*/ 1728635 w 6859213"/>
                  <a:gd name="connsiteY61" fmla="*/ 51568 h 1077879"/>
                  <a:gd name="connsiteX62" fmla="*/ 1848201 w 6859213"/>
                  <a:gd name="connsiteY62" fmla="*/ 40445 h 1077879"/>
                  <a:gd name="connsiteX63" fmla="*/ 1969794 w 6859213"/>
                  <a:gd name="connsiteY63" fmla="*/ 29323 h 1077879"/>
                  <a:gd name="connsiteX64" fmla="*/ 2094425 w 6859213"/>
                  <a:gd name="connsiteY64" fmla="*/ 19211 h 1077879"/>
                  <a:gd name="connsiteX65" fmla="*/ 2221084 w 6859213"/>
                  <a:gd name="connsiteY65" fmla="*/ 9100 h 1077879"/>
                  <a:gd name="connsiteX66" fmla="*/ 2351797 w 6859213"/>
                  <a:gd name="connsiteY66" fmla="*/ 0 h 1077879"/>
                  <a:gd name="connsiteX67" fmla="*/ 2339637 w 6859213"/>
                  <a:gd name="connsiteY67" fmla="*/ 76846 h 1077879"/>
                  <a:gd name="connsiteX68" fmla="*/ 2333558 w 6859213"/>
                  <a:gd name="connsiteY68" fmla="*/ 116282 h 1077879"/>
                  <a:gd name="connsiteX69" fmla="*/ 2327478 w 6859213"/>
                  <a:gd name="connsiteY69" fmla="*/ 154705 h 1077879"/>
                  <a:gd name="connsiteX70" fmla="*/ 2229191 w 6859213"/>
                  <a:gd name="connsiteY70" fmla="*/ 169872 h 1077879"/>
                  <a:gd name="connsiteX71" fmla="*/ 2134957 w 6859213"/>
                  <a:gd name="connsiteY71" fmla="*/ 186050 h 1077879"/>
                  <a:gd name="connsiteX72" fmla="*/ 2046801 w 6859213"/>
                  <a:gd name="connsiteY72" fmla="*/ 202228 h 1077879"/>
                  <a:gd name="connsiteX73" fmla="*/ 1963715 w 6859213"/>
                  <a:gd name="connsiteY73" fmla="*/ 218406 h 1077879"/>
                  <a:gd name="connsiteX74" fmla="*/ 1885692 w 6859213"/>
                  <a:gd name="connsiteY74" fmla="*/ 235596 h 1077879"/>
                  <a:gd name="connsiteX75" fmla="*/ 1813751 w 6859213"/>
                  <a:gd name="connsiteY75" fmla="*/ 254808 h 1077879"/>
                  <a:gd name="connsiteX76" fmla="*/ 1747887 w 6859213"/>
                  <a:gd name="connsiteY76" fmla="*/ 273008 h 1077879"/>
                  <a:gd name="connsiteX77" fmla="*/ 1688105 w 6859213"/>
                  <a:gd name="connsiteY77" fmla="*/ 292220 h 1077879"/>
                  <a:gd name="connsiteX78" fmla="*/ 1634402 w 6859213"/>
                  <a:gd name="connsiteY78" fmla="*/ 311431 h 1077879"/>
                  <a:gd name="connsiteX79" fmla="*/ 1610084 w 6859213"/>
                  <a:gd name="connsiteY79" fmla="*/ 320532 h 1077879"/>
                  <a:gd name="connsiteX80" fmla="*/ 1587791 w 6859213"/>
                  <a:gd name="connsiteY80" fmla="*/ 331655 h 1077879"/>
                  <a:gd name="connsiteX81" fmla="*/ 1566514 w 6859213"/>
                  <a:gd name="connsiteY81" fmla="*/ 340756 h 1077879"/>
                  <a:gd name="connsiteX82" fmla="*/ 1547261 w 6859213"/>
                  <a:gd name="connsiteY82" fmla="*/ 350866 h 1077879"/>
                  <a:gd name="connsiteX83" fmla="*/ 1530035 w 6859213"/>
                  <a:gd name="connsiteY83" fmla="*/ 361989 h 1077879"/>
                  <a:gd name="connsiteX84" fmla="*/ 1514836 w 6859213"/>
                  <a:gd name="connsiteY84" fmla="*/ 372100 h 1077879"/>
                  <a:gd name="connsiteX85" fmla="*/ 1500651 w 6859213"/>
                  <a:gd name="connsiteY85" fmla="*/ 382212 h 1077879"/>
                  <a:gd name="connsiteX86" fmla="*/ 1488491 w 6859213"/>
                  <a:gd name="connsiteY86" fmla="*/ 393334 h 1077879"/>
                  <a:gd name="connsiteX87" fmla="*/ 1478360 w 6859213"/>
                  <a:gd name="connsiteY87" fmla="*/ 403446 h 1077879"/>
                  <a:gd name="connsiteX88" fmla="*/ 1469239 w 6859213"/>
                  <a:gd name="connsiteY88" fmla="*/ 413557 h 1077879"/>
                  <a:gd name="connsiteX89" fmla="*/ 1463159 w 6859213"/>
                  <a:gd name="connsiteY89" fmla="*/ 424680 h 1077879"/>
                  <a:gd name="connsiteX90" fmla="*/ 1457080 w 6859213"/>
                  <a:gd name="connsiteY90" fmla="*/ 435802 h 1077879"/>
                  <a:gd name="connsiteX91" fmla="*/ 1455053 w 6859213"/>
                  <a:gd name="connsiteY91" fmla="*/ 446925 h 1077879"/>
                  <a:gd name="connsiteX92" fmla="*/ 1454040 w 6859213"/>
                  <a:gd name="connsiteY92" fmla="*/ 458048 h 1077879"/>
                  <a:gd name="connsiteX93" fmla="*/ 1455053 w 6859213"/>
                  <a:gd name="connsiteY93" fmla="*/ 469170 h 1077879"/>
                  <a:gd name="connsiteX94" fmla="*/ 1458093 w 6859213"/>
                  <a:gd name="connsiteY94" fmla="*/ 480294 h 1077879"/>
                  <a:gd name="connsiteX95" fmla="*/ 1463160 w 6859213"/>
                  <a:gd name="connsiteY95" fmla="*/ 492427 h 1077879"/>
                  <a:gd name="connsiteX96" fmla="*/ 1470252 w 6859213"/>
                  <a:gd name="connsiteY96" fmla="*/ 502538 h 1077879"/>
                  <a:gd name="connsiteX97" fmla="*/ 1479373 w 6859213"/>
                  <a:gd name="connsiteY97" fmla="*/ 513660 h 1077879"/>
                  <a:gd name="connsiteX98" fmla="*/ 1489504 w 6859213"/>
                  <a:gd name="connsiteY98" fmla="*/ 524783 h 1077879"/>
                  <a:gd name="connsiteX99" fmla="*/ 1502677 w 6859213"/>
                  <a:gd name="connsiteY99" fmla="*/ 534895 h 1077879"/>
                  <a:gd name="connsiteX100" fmla="*/ 1517876 w 6859213"/>
                  <a:gd name="connsiteY100" fmla="*/ 545006 h 1077879"/>
                  <a:gd name="connsiteX101" fmla="*/ 1534088 w 6859213"/>
                  <a:gd name="connsiteY101" fmla="*/ 557140 h 1077879"/>
                  <a:gd name="connsiteX102" fmla="*/ 1553341 w 6859213"/>
                  <a:gd name="connsiteY102" fmla="*/ 567251 h 1077879"/>
                  <a:gd name="connsiteX103" fmla="*/ 1572592 w 6859213"/>
                  <a:gd name="connsiteY103" fmla="*/ 578374 h 1077879"/>
                  <a:gd name="connsiteX104" fmla="*/ 1594884 w 6859213"/>
                  <a:gd name="connsiteY104" fmla="*/ 587474 h 1077879"/>
                  <a:gd name="connsiteX105" fmla="*/ 1618190 w 6859213"/>
                  <a:gd name="connsiteY105" fmla="*/ 597586 h 1077879"/>
                  <a:gd name="connsiteX106" fmla="*/ 1643521 w 6859213"/>
                  <a:gd name="connsiteY106" fmla="*/ 608708 h 1077879"/>
                  <a:gd name="connsiteX107" fmla="*/ 1700264 w 6859213"/>
                  <a:gd name="connsiteY107" fmla="*/ 627920 h 1077879"/>
                  <a:gd name="connsiteX108" fmla="*/ 1763086 w 6859213"/>
                  <a:gd name="connsiteY108" fmla="*/ 648142 h 1077879"/>
                  <a:gd name="connsiteX109" fmla="*/ 1833002 w 6859213"/>
                  <a:gd name="connsiteY109" fmla="*/ 666344 h 1077879"/>
                  <a:gd name="connsiteX110" fmla="*/ 1908998 w 6859213"/>
                  <a:gd name="connsiteY110" fmla="*/ 685555 h 1077879"/>
                  <a:gd name="connsiteX111" fmla="*/ 1989046 w 6859213"/>
                  <a:gd name="connsiteY111" fmla="*/ 702745 h 1077879"/>
                  <a:gd name="connsiteX112" fmla="*/ 2076186 w 6859213"/>
                  <a:gd name="connsiteY112" fmla="*/ 719933 h 1077879"/>
                  <a:gd name="connsiteX113" fmla="*/ 2170420 w 6859213"/>
                  <a:gd name="connsiteY113" fmla="*/ 736112 h 1077879"/>
                  <a:gd name="connsiteX114" fmla="*/ 2268709 w 6859213"/>
                  <a:gd name="connsiteY114" fmla="*/ 751279 h 1077879"/>
                  <a:gd name="connsiteX115" fmla="*/ 2373074 w 6859213"/>
                  <a:gd name="connsiteY115" fmla="*/ 767457 h 1077879"/>
                  <a:gd name="connsiteX116" fmla="*/ 2481495 w 6859213"/>
                  <a:gd name="connsiteY116" fmla="*/ 781613 h 1077879"/>
                  <a:gd name="connsiteX117" fmla="*/ 2595995 w 6859213"/>
                  <a:gd name="connsiteY117" fmla="*/ 795769 h 1077879"/>
                  <a:gd name="connsiteX118" fmla="*/ 2714545 w 6859213"/>
                  <a:gd name="connsiteY118" fmla="*/ 808915 h 1077879"/>
                  <a:gd name="connsiteX119" fmla="*/ 2837152 w 6859213"/>
                  <a:gd name="connsiteY119" fmla="*/ 820037 h 1077879"/>
                  <a:gd name="connsiteX120" fmla="*/ 2964824 w 6859213"/>
                  <a:gd name="connsiteY120" fmla="*/ 832171 h 1077879"/>
                  <a:gd name="connsiteX121" fmla="*/ 3096549 w 6859213"/>
                  <a:gd name="connsiteY121" fmla="*/ 842282 h 1077879"/>
                  <a:gd name="connsiteX122" fmla="*/ 3231313 w 6859213"/>
                  <a:gd name="connsiteY122" fmla="*/ 852393 h 1077879"/>
                  <a:gd name="connsiteX123" fmla="*/ 3370130 w 6859213"/>
                  <a:gd name="connsiteY123" fmla="*/ 861494 h 1077879"/>
                  <a:gd name="connsiteX124" fmla="*/ 3513002 w 6859213"/>
                  <a:gd name="connsiteY124" fmla="*/ 869584 h 1077879"/>
                  <a:gd name="connsiteX125" fmla="*/ 3658913 w 6859213"/>
                  <a:gd name="connsiteY125" fmla="*/ 875650 h 1077879"/>
                  <a:gd name="connsiteX126" fmla="*/ 3807863 w 6859213"/>
                  <a:gd name="connsiteY126" fmla="*/ 881717 h 1077879"/>
                  <a:gd name="connsiteX127" fmla="*/ 3959852 w 6859213"/>
                  <a:gd name="connsiteY127" fmla="*/ 886773 h 1077879"/>
                  <a:gd name="connsiteX128" fmla="*/ 4113869 w 6859213"/>
                  <a:gd name="connsiteY128" fmla="*/ 889806 h 1077879"/>
                  <a:gd name="connsiteX129" fmla="*/ 4270927 w 6859213"/>
                  <a:gd name="connsiteY129" fmla="*/ 893850 h 1077879"/>
                  <a:gd name="connsiteX130" fmla="*/ 4431022 w 6859213"/>
                  <a:gd name="connsiteY130" fmla="*/ 894862 h 1077879"/>
                  <a:gd name="connsiteX131" fmla="*/ 4592131 w 6859213"/>
                  <a:gd name="connsiteY131" fmla="*/ 895873 h 1077879"/>
                  <a:gd name="connsiteX132" fmla="*/ 4752228 w 6859213"/>
                  <a:gd name="connsiteY132" fmla="*/ 894862 h 1077879"/>
                  <a:gd name="connsiteX133" fmla="*/ 4912325 w 6859213"/>
                  <a:gd name="connsiteY133" fmla="*/ 893850 h 1077879"/>
                  <a:gd name="connsiteX134" fmla="*/ 5070394 w 6859213"/>
                  <a:gd name="connsiteY134" fmla="*/ 889806 h 1077879"/>
                  <a:gd name="connsiteX135" fmla="*/ 5224411 w 6859213"/>
                  <a:gd name="connsiteY135" fmla="*/ 886773 h 1077879"/>
                  <a:gd name="connsiteX136" fmla="*/ 5375389 w 6859213"/>
                  <a:gd name="connsiteY136" fmla="*/ 881717 h 1077879"/>
                  <a:gd name="connsiteX137" fmla="*/ 5525351 w 6859213"/>
                  <a:gd name="connsiteY137" fmla="*/ 875649 h 1077879"/>
                  <a:gd name="connsiteX138" fmla="*/ 5671263 w 6859213"/>
                  <a:gd name="connsiteY138" fmla="*/ 869583 h 1077879"/>
                  <a:gd name="connsiteX139" fmla="*/ 5813120 w 6859213"/>
                  <a:gd name="connsiteY139" fmla="*/ 861494 h 1077879"/>
                  <a:gd name="connsiteX140" fmla="*/ 5951939 w 6859213"/>
                  <a:gd name="connsiteY140" fmla="*/ 852393 h 1077879"/>
                  <a:gd name="connsiteX141" fmla="*/ 6087716 w 6859213"/>
                  <a:gd name="connsiteY141" fmla="*/ 842282 h 1077879"/>
                  <a:gd name="connsiteX142" fmla="*/ 6219439 w 6859213"/>
                  <a:gd name="connsiteY142" fmla="*/ 832171 h 1077879"/>
                  <a:gd name="connsiteX143" fmla="*/ 6346099 w 6859213"/>
                  <a:gd name="connsiteY143" fmla="*/ 820037 h 1077879"/>
                  <a:gd name="connsiteX144" fmla="*/ 6468705 w 6859213"/>
                  <a:gd name="connsiteY144" fmla="*/ 808914 h 1077879"/>
                  <a:gd name="connsiteX145" fmla="*/ 6587256 w 6859213"/>
                  <a:gd name="connsiteY145" fmla="*/ 795769 h 1077879"/>
                  <a:gd name="connsiteX146" fmla="*/ 6701757 w 6859213"/>
                  <a:gd name="connsiteY146" fmla="*/ 781613 h 1077879"/>
                  <a:gd name="connsiteX147" fmla="*/ 6810175 w 6859213"/>
                  <a:gd name="connsiteY147" fmla="*/ 767457 h 1077879"/>
                  <a:gd name="connsiteX148" fmla="*/ 6859213 w 6859213"/>
                  <a:gd name="connsiteY148" fmla="*/ 759856 h 107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Lst>
                <a:rect l="l" t="t" r="r" b="b"/>
                <a:pathLst>
                  <a:path w="6859213" h="1077879">
                    <a:moveTo>
                      <a:pt x="6859213" y="759856"/>
                    </a:moveTo>
                    <a:lnTo>
                      <a:pt x="6803920" y="1007346"/>
                    </a:lnTo>
                    <a:lnTo>
                      <a:pt x="6779777" y="1009121"/>
                    </a:lnTo>
                    <a:lnTo>
                      <a:pt x="6582190" y="1020244"/>
                    </a:lnTo>
                    <a:lnTo>
                      <a:pt x="6378523" y="1032377"/>
                    </a:lnTo>
                    <a:lnTo>
                      <a:pt x="6169790" y="1042489"/>
                    </a:lnTo>
                    <a:lnTo>
                      <a:pt x="5957004" y="1051589"/>
                    </a:lnTo>
                    <a:lnTo>
                      <a:pt x="5739151" y="1059678"/>
                    </a:lnTo>
                    <a:lnTo>
                      <a:pt x="5517247" y="1065745"/>
                    </a:lnTo>
                    <a:lnTo>
                      <a:pt x="5290275" y="1071812"/>
                    </a:lnTo>
                    <a:lnTo>
                      <a:pt x="5060261" y="1074845"/>
                    </a:lnTo>
                    <a:lnTo>
                      <a:pt x="4828224" y="1077879"/>
                    </a:lnTo>
                    <a:lnTo>
                      <a:pt x="4592131" y="1077879"/>
                    </a:lnTo>
                    <a:lnTo>
                      <a:pt x="4355027" y="1077878"/>
                    </a:lnTo>
                    <a:lnTo>
                      <a:pt x="4122989" y="1074846"/>
                    </a:lnTo>
                    <a:lnTo>
                      <a:pt x="3892976" y="1071811"/>
                    </a:lnTo>
                    <a:lnTo>
                      <a:pt x="3667017" y="1065745"/>
                    </a:lnTo>
                    <a:lnTo>
                      <a:pt x="3444100" y="1059678"/>
                    </a:lnTo>
                    <a:lnTo>
                      <a:pt x="3227259" y="1051589"/>
                    </a:lnTo>
                    <a:lnTo>
                      <a:pt x="3013459" y="1042488"/>
                    </a:lnTo>
                    <a:lnTo>
                      <a:pt x="2804728" y="1032378"/>
                    </a:lnTo>
                    <a:lnTo>
                      <a:pt x="2602072" y="1020244"/>
                    </a:lnTo>
                    <a:lnTo>
                      <a:pt x="2403472" y="1009121"/>
                    </a:lnTo>
                    <a:lnTo>
                      <a:pt x="2210953" y="994965"/>
                    </a:lnTo>
                    <a:lnTo>
                      <a:pt x="2064484" y="983049"/>
                    </a:lnTo>
                    <a:lnTo>
                      <a:pt x="3071" y="522496"/>
                    </a:lnTo>
                    <a:lnTo>
                      <a:pt x="1013" y="517705"/>
                    </a:lnTo>
                    <a:lnTo>
                      <a:pt x="0" y="509616"/>
                    </a:lnTo>
                    <a:lnTo>
                      <a:pt x="0" y="502538"/>
                    </a:lnTo>
                    <a:lnTo>
                      <a:pt x="0" y="492427"/>
                    </a:lnTo>
                    <a:lnTo>
                      <a:pt x="3041" y="481303"/>
                    </a:lnTo>
                    <a:lnTo>
                      <a:pt x="6080" y="472204"/>
                    </a:lnTo>
                    <a:lnTo>
                      <a:pt x="11146" y="462092"/>
                    </a:lnTo>
                    <a:lnTo>
                      <a:pt x="17226" y="451980"/>
                    </a:lnTo>
                    <a:lnTo>
                      <a:pt x="24319" y="441870"/>
                    </a:lnTo>
                    <a:lnTo>
                      <a:pt x="34451" y="432769"/>
                    </a:lnTo>
                    <a:lnTo>
                      <a:pt x="43570" y="421647"/>
                    </a:lnTo>
                    <a:lnTo>
                      <a:pt x="54717" y="412546"/>
                    </a:lnTo>
                    <a:lnTo>
                      <a:pt x="67889" y="403446"/>
                    </a:lnTo>
                    <a:lnTo>
                      <a:pt x="82075" y="393334"/>
                    </a:lnTo>
                    <a:lnTo>
                      <a:pt x="97275" y="383222"/>
                    </a:lnTo>
                    <a:lnTo>
                      <a:pt x="130712" y="365023"/>
                    </a:lnTo>
                    <a:lnTo>
                      <a:pt x="170230" y="346822"/>
                    </a:lnTo>
                    <a:lnTo>
                      <a:pt x="213800" y="327610"/>
                    </a:lnTo>
                    <a:lnTo>
                      <a:pt x="262437" y="309409"/>
                    </a:lnTo>
                    <a:lnTo>
                      <a:pt x="316140" y="292220"/>
                    </a:lnTo>
                    <a:lnTo>
                      <a:pt x="374909" y="274019"/>
                    </a:lnTo>
                    <a:lnTo>
                      <a:pt x="436719" y="256830"/>
                    </a:lnTo>
                    <a:lnTo>
                      <a:pt x="502581" y="239642"/>
                    </a:lnTo>
                    <a:lnTo>
                      <a:pt x="574523" y="223462"/>
                    </a:lnTo>
                    <a:lnTo>
                      <a:pt x="649505" y="206272"/>
                    </a:lnTo>
                    <a:lnTo>
                      <a:pt x="729553" y="190095"/>
                    </a:lnTo>
                    <a:lnTo>
                      <a:pt x="812642" y="174928"/>
                    </a:lnTo>
                    <a:lnTo>
                      <a:pt x="899782" y="159760"/>
                    </a:lnTo>
                    <a:lnTo>
                      <a:pt x="991990" y="144593"/>
                    </a:lnTo>
                    <a:lnTo>
                      <a:pt x="1086223" y="129426"/>
                    </a:lnTo>
                    <a:lnTo>
                      <a:pt x="1184510" y="116281"/>
                    </a:lnTo>
                    <a:lnTo>
                      <a:pt x="1286851" y="103137"/>
                    </a:lnTo>
                    <a:lnTo>
                      <a:pt x="1393244" y="88980"/>
                    </a:lnTo>
                    <a:lnTo>
                      <a:pt x="1501663" y="76848"/>
                    </a:lnTo>
                    <a:lnTo>
                      <a:pt x="1613123" y="63701"/>
                    </a:lnTo>
                    <a:lnTo>
                      <a:pt x="1728635" y="51568"/>
                    </a:lnTo>
                    <a:lnTo>
                      <a:pt x="1848201" y="40445"/>
                    </a:lnTo>
                    <a:lnTo>
                      <a:pt x="1969794" y="29323"/>
                    </a:lnTo>
                    <a:lnTo>
                      <a:pt x="2094425" y="19211"/>
                    </a:lnTo>
                    <a:lnTo>
                      <a:pt x="2221084" y="9100"/>
                    </a:lnTo>
                    <a:lnTo>
                      <a:pt x="2351797" y="0"/>
                    </a:lnTo>
                    <a:lnTo>
                      <a:pt x="2339637" y="76846"/>
                    </a:lnTo>
                    <a:lnTo>
                      <a:pt x="2333558" y="116282"/>
                    </a:lnTo>
                    <a:lnTo>
                      <a:pt x="2327478" y="154705"/>
                    </a:lnTo>
                    <a:lnTo>
                      <a:pt x="2229191" y="169872"/>
                    </a:lnTo>
                    <a:lnTo>
                      <a:pt x="2134957" y="186050"/>
                    </a:lnTo>
                    <a:lnTo>
                      <a:pt x="2046801" y="202228"/>
                    </a:lnTo>
                    <a:lnTo>
                      <a:pt x="1963715" y="218406"/>
                    </a:lnTo>
                    <a:lnTo>
                      <a:pt x="1885692" y="235596"/>
                    </a:lnTo>
                    <a:lnTo>
                      <a:pt x="1813751" y="254808"/>
                    </a:lnTo>
                    <a:lnTo>
                      <a:pt x="1747887" y="273008"/>
                    </a:lnTo>
                    <a:lnTo>
                      <a:pt x="1688105" y="292220"/>
                    </a:lnTo>
                    <a:lnTo>
                      <a:pt x="1634402" y="311431"/>
                    </a:lnTo>
                    <a:lnTo>
                      <a:pt x="1610084" y="320532"/>
                    </a:lnTo>
                    <a:lnTo>
                      <a:pt x="1587791" y="331655"/>
                    </a:lnTo>
                    <a:lnTo>
                      <a:pt x="1566514" y="340756"/>
                    </a:lnTo>
                    <a:lnTo>
                      <a:pt x="1547261" y="350866"/>
                    </a:lnTo>
                    <a:lnTo>
                      <a:pt x="1530035" y="361989"/>
                    </a:lnTo>
                    <a:lnTo>
                      <a:pt x="1514836" y="372100"/>
                    </a:lnTo>
                    <a:lnTo>
                      <a:pt x="1500651" y="382212"/>
                    </a:lnTo>
                    <a:lnTo>
                      <a:pt x="1488491" y="393334"/>
                    </a:lnTo>
                    <a:lnTo>
                      <a:pt x="1478360" y="403446"/>
                    </a:lnTo>
                    <a:lnTo>
                      <a:pt x="1469239" y="413557"/>
                    </a:lnTo>
                    <a:lnTo>
                      <a:pt x="1463159" y="424680"/>
                    </a:lnTo>
                    <a:lnTo>
                      <a:pt x="1457080" y="435802"/>
                    </a:lnTo>
                    <a:lnTo>
                      <a:pt x="1455053" y="446925"/>
                    </a:lnTo>
                    <a:lnTo>
                      <a:pt x="1454040" y="458048"/>
                    </a:lnTo>
                    <a:lnTo>
                      <a:pt x="1455053" y="469170"/>
                    </a:lnTo>
                    <a:lnTo>
                      <a:pt x="1458093" y="480294"/>
                    </a:lnTo>
                    <a:lnTo>
                      <a:pt x="1463160" y="492427"/>
                    </a:lnTo>
                    <a:lnTo>
                      <a:pt x="1470252" y="502538"/>
                    </a:lnTo>
                    <a:lnTo>
                      <a:pt x="1479373" y="513660"/>
                    </a:lnTo>
                    <a:lnTo>
                      <a:pt x="1489504" y="524783"/>
                    </a:lnTo>
                    <a:lnTo>
                      <a:pt x="1502677" y="534895"/>
                    </a:lnTo>
                    <a:lnTo>
                      <a:pt x="1517876" y="545006"/>
                    </a:lnTo>
                    <a:lnTo>
                      <a:pt x="1534088" y="557140"/>
                    </a:lnTo>
                    <a:lnTo>
                      <a:pt x="1553341" y="567251"/>
                    </a:lnTo>
                    <a:lnTo>
                      <a:pt x="1572592" y="578374"/>
                    </a:lnTo>
                    <a:lnTo>
                      <a:pt x="1594884" y="587474"/>
                    </a:lnTo>
                    <a:lnTo>
                      <a:pt x="1618190" y="597586"/>
                    </a:lnTo>
                    <a:lnTo>
                      <a:pt x="1643521" y="608708"/>
                    </a:lnTo>
                    <a:lnTo>
                      <a:pt x="1700264" y="627920"/>
                    </a:lnTo>
                    <a:lnTo>
                      <a:pt x="1763086" y="648142"/>
                    </a:lnTo>
                    <a:lnTo>
                      <a:pt x="1833002" y="666344"/>
                    </a:lnTo>
                    <a:lnTo>
                      <a:pt x="1908998" y="685555"/>
                    </a:lnTo>
                    <a:lnTo>
                      <a:pt x="1989046" y="702745"/>
                    </a:lnTo>
                    <a:lnTo>
                      <a:pt x="2076186" y="719933"/>
                    </a:lnTo>
                    <a:lnTo>
                      <a:pt x="2170420" y="736112"/>
                    </a:lnTo>
                    <a:lnTo>
                      <a:pt x="2268709" y="751279"/>
                    </a:lnTo>
                    <a:lnTo>
                      <a:pt x="2373074" y="767457"/>
                    </a:lnTo>
                    <a:lnTo>
                      <a:pt x="2481495" y="781613"/>
                    </a:lnTo>
                    <a:lnTo>
                      <a:pt x="2595995" y="795769"/>
                    </a:lnTo>
                    <a:lnTo>
                      <a:pt x="2714545" y="808915"/>
                    </a:lnTo>
                    <a:lnTo>
                      <a:pt x="2837152" y="820037"/>
                    </a:lnTo>
                    <a:lnTo>
                      <a:pt x="2964824" y="832171"/>
                    </a:lnTo>
                    <a:lnTo>
                      <a:pt x="3096549" y="842282"/>
                    </a:lnTo>
                    <a:lnTo>
                      <a:pt x="3231313" y="852393"/>
                    </a:lnTo>
                    <a:lnTo>
                      <a:pt x="3370130" y="861494"/>
                    </a:lnTo>
                    <a:lnTo>
                      <a:pt x="3513002" y="869584"/>
                    </a:lnTo>
                    <a:lnTo>
                      <a:pt x="3658913" y="875650"/>
                    </a:lnTo>
                    <a:lnTo>
                      <a:pt x="3807863" y="881717"/>
                    </a:lnTo>
                    <a:lnTo>
                      <a:pt x="3959852" y="886773"/>
                    </a:lnTo>
                    <a:lnTo>
                      <a:pt x="4113869" y="889806"/>
                    </a:lnTo>
                    <a:lnTo>
                      <a:pt x="4270927" y="893850"/>
                    </a:lnTo>
                    <a:lnTo>
                      <a:pt x="4431022" y="894862"/>
                    </a:lnTo>
                    <a:lnTo>
                      <a:pt x="4592131" y="895873"/>
                    </a:lnTo>
                    <a:lnTo>
                      <a:pt x="4752228" y="894862"/>
                    </a:lnTo>
                    <a:lnTo>
                      <a:pt x="4912325" y="893850"/>
                    </a:lnTo>
                    <a:lnTo>
                      <a:pt x="5070394" y="889806"/>
                    </a:lnTo>
                    <a:lnTo>
                      <a:pt x="5224411" y="886773"/>
                    </a:lnTo>
                    <a:lnTo>
                      <a:pt x="5375389" y="881717"/>
                    </a:lnTo>
                    <a:lnTo>
                      <a:pt x="5525351" y="875649"/>
                    </a:lnTo>
                    <a:lnTo>
                      <a:pt x="5671263" y="869583"/>
                    </a:lnTo>
                    <a:lnTo>
                      <a:pt x="5813120" y="861494"/>
                    </a:lnTo>
                    <a:lnTo>
                      <a:pt x="5951939" y="852393"/>
                    </a:lnTo>
                    <a:lnTo>
                      <a:pt x="6087716" y="842282"/>
                    </a:lnTo>
                    <a:lnTo>
                      <a:pt x="6219439" y="832171"/>
                    </a:lnTo>
                    <a:lnTo>
                      <a:pt x="6346099" y="820037"/>
                    </a:lnTo>
                    <a:lnTo>
                      <a:pt x="6468705" y="808914"/>
                    </a:lnTo>
                    <a:lnTo>
                      <a:pt x="6587256" y="795769"/>
                    </a:lnTo>
                    <a:lnTo>
                      <a:pt x="6701757" y="781613"/>
                    </a:lnTo>
                    <a:lnTo>
                      <a:pt x="6810175" y="767457"/>
                    </a:lnTo>
                    <a:lnTo>
                      <a:pt x="6859213" y="759856"/>
                    </a:lnTo>
                    <a:close/>
                  </a:path>
                </a:pathLst>
              </a:custGeom>
              <a:solidFill>
                <a:srgbClr val="FFAF3B">
                  <a:alpha val="30000"/>
                </a:srgbClr>
              </a:solidFill>
              <a:ln>
                <a:noFill/>
              </a:ln>
            </p:spPr>
            <p:txBody>
              <a:bodyPr vert="horz" wrap="square" lIns="91440" tIns="45720" rIns="91440" bIns="45720" numCol="1" anchor="t" anchorCtr="0" compatLnSpc="1">
                <a:prstTxWarp prst="textNoShape">
                  <a:avLst/>
                </a:prstTxWarp>
                <a:noAutofit/>
              </a:bodyPr>
              <a:lstStyle/>
              <a:p>
                <a:endParaRPr lang="ko-KR" altLang="en-US" sz="2400"/>
              </a:p>
            </p:txBody>
          </p:sp>
          <p:grpSp>
            <p:nvGrpSpPr>
              <p:cNvPr id="7552" name="그룹 7551"/>
              <p:cNvGrpSpPr/>
              <p:nvPr userDrawn="1"/>
            </p:nvGrpSpPr>
            <p:grpSpPr>
              <a:xfrm>
                <a:off x="6379654" y="764935"/>
                <a:ext cx="1219814" cy="1671041"/>
                <a:chOff x="10759621" y="732924"/>
                <a:chExt cx="1677988" cy="2298700"/>
              </a:xfrm>
            </p:grpSpPr>
            <p:sp>
              <p:nvSpPr>
                <p:cNvPr id="7441" name="Freeform 288"/>
                <p:cNvSpPr>
                  <a:spLocks/>
                </p:cNvSpPr>
                <p:nvPr userDrawn="1"/>
              </p:nvSpPr>
              <p:spPr bwMode="auto">
                <a:xfrm>
                  <a:off x="10889796" y="1763211"/>
                  <a:ext cx="187325" cy="179388"/>
                </a:xfrm>
                <a:custGeom>
                  <a:avLst/>
                  <a:gdLst>
                    <a:gd name="T0" fmla="*/ 118 w 236"/>
                    <a:gd name="T1" fmla="*/ 187 h 225"/>
                    <a:gd name="T2" fmla="*/ 192 w 236"/>
                    <a:gd name="T3" fmla="*/ 225 h 225"/>
                    <a:gd name="T4" fmla="*/ 178 w 236"/>
                    <a:gd name="T5" fmla="*/ 144 h 225"/>
                    <a:gd name="T6" fmla="*/ 236 w 236"/>
                    <a:gd name="T7" fmla="*/ 87 h 225"/>
                    <a:gd name="T8" fmla="*/ 155 w 236"/>
                    <a:gd name="T9" fmla="*/ 75 h 225"/>
                    <a:gd name="T10" fmla="*/ 118 w 236"/>
                    <a:gd name="T11" fmla="*/ 0 h 225"/>
                    <a:gd name="T12" fmla="*/ 83 w 236"/>
                    <a:gd name="T13" fmla="*/ 75 h 225"/>
                    <a:gd name="T14" fmla="*/ 0 w 236"/>
                    <a:gd name="T15" fmla="*/ 87 h 225"/>
                    <a:gd name="T16" fmla="*/ 60 w 236"/>
                    <a:gd name="T17" fmla="*/ 144 h 225"/>
                    <a:gd name="T18" fmla="*/ 46 w 236"/>
                    <a:gd name="T19" fmla="*/ 225 h 225"/>
                    <a:gd name="T20" fmla="*/ 118 w 236"/>
                    <a:gd name="T21" fmla="*/ 187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6" h="225">
                      <a:moveTo>
                        <a:pt x="118" y="187"/>
                      </a:moveTo>
                      <a:lnTo>
                        <a:pt x="192" y="225"/>
                      </a:lnTo>
                      <a:lnTo>
                        <a:pt x="178" y="144"/>
                      </a:lnTo>
                      <a:lnTo>
                        <a:pt x="236" y="87"/>
                      </a:lnTo>
                      <a:lnTo>
                        <a:pt x="155" y="75"/>
                      </a:lnTo>
                      <a:lnTo>
                        <a:pt x="118" y="0"/>
                      </a:lnTo>
                      <a:lnTo>
                        <a:pt x="83" y="75"/>
                      </a:lnTo>
                      <a:lnTo>
                        <a:pt x="0" y="87"/>
                      </a:lnTo>
                      <a:lnTo>
                        <a:pt x="60" y="144"/>
                      </a:lnTo>
                      <a:lnTo>
                        <a:pt x="46" y="225"/>
                      </a:lnTo>
                      <a:lnTo>
                        <a:pt x="118" y="187"/>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2" name="Freeform 289"/>
                <p:cNvSpPr>
                  <a:spLocks/>
                </p:cNvSpPr>
                <p:nvPr userDrawn="1"/>
              </p:nvSpPr>
              <p:spPr bwMode="auto">
                <a:xfrm>
                  <a:off x="11664496" y="1147261"/>
                  <a:ext cx="144463" cy="134938"/>
                </a:xfrm>
                <a:custGeom>
                  <a:avLst/>
                  <a:gdLst>
                    <a:gd name="T0" fmla="*/ 90 w 180"/>
                    <a:gd name="T1" fmla="*/ 143 h 172"/>
                    <a:gd name="T2" fmla="*/ 146 w 180"/>
                    <a:gd name="T3" fmla="*/ 172 h 172"/>
                    <a:gd name="T4" fmla="*/ 135 w 180"/>
                    <a:gd name="T5" fmla="*/ 110 h 172"/>
                    <a:gd name="T6" fmla="*/ 180 w 180"/>
                    <a:gd name="T7" fmla="*/ 66 h 172"/>
                    <a:gd name="T8" fmla="*/ 119 w 180"/>
                    <a:gd name="T9" fmla="*/ 56 h 172"/>
                    <a:gd name="T10" fmla="*/ 90 w 180"/>
                    <a:gd name="T11" fmla="*/ 0 h 172"/>
                    <a:gd name="T12" fmla="*/ 63 w 180"/>
                    <a:gd name="T13" fmla="*/ 56 h 172"/>
                    <a:gd name="T14" fmla="*/ 0 w 180"/>
                    <a:gd name="T15" fmla="*/ 66 h 172"/>
                    <a:gd name="T16" fmla="*/ 45 w 180"/>
                    <a:gd name="T17" fmla="*/ 110 h 172"/>
                    <a:gd name="T18" fmla="*/ 34 w 180"/>
                    <a:gd name="T19" fmla="*/ 172 h 172"/>
                    <a:gd name="T20" fmla="*/ 90 w 180"/>
                    <a:gd name="T21" fmla="*/ 14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 h="172">
                      <a:moveTo>
                        <a:pt x="90" y="143"/>
                      </a:moveTo>
                      <a:lnTo>
                        <a:pt x="146" y="172"/>
                      </a:lnTo>
                      <a:lnTo>
                        <a:pt x="135" y="110"/>
                      </a:lnTo>
                      <a:lnTo>
                        <a:pt x="180" y="66"/>
                      </a:lnTo>
                      <a:lnTo>
                        <a:pt x="119" y="56"/>
                      </a:lnTo>
                      <a:lnTo>
                        <a:pt x="90" y="0"/>
                      </a:lnTo>
                      <a:lnTo>
                        <a:pt x="63" y="56"/>
                      </a:lnTo>
                      <a:lnTo>
                        <a:pt x="0" y="66"/>
                      </a:lnTo>
                      <a:lnTo>
                        <a:pt x="45" y="110"/>
                      </a:lnTo>
                      <a:lnTo>
                        <a:pt x="34" y="172"/>
                      </a:lnTo>
                      <a:lnTo>
                        <a:pt x="90" y="14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3" name="Freeform 290"/>
                <p:cNvSpPr>
                  <a:spLocks/>
                </p:cNvSpPr>
                <p:nvPr userDrawn="1"/>
              </p:nvSpPr>
              <p:spPr bwMode="auto">
                <a:xfrm>
                  <a:off x="12002633" y="2112461"/>
                  <a:ext cx="144463" cy="134938"/>
                </a:xfrm>
                <a:custGeom>
                  <a:avLst/>
                  <a:gdLst>
                    <a:gd name="T0" fmla="*/ 91 w 181"/>
                    <a:gd name="T1" fmla="*/ 141 h 171"/>
                    <a:gd name="T2" fmla="*/ 147 w 181"/>
                    <a:gd name="T3" fmla="*/ 171 h 171"/>
                    <a:gd name="T4" fmla="*/ 136 w 181"/>
                    <a:gd name="T5" fmla="*/ 109 h 171"/>
                    <a:gd name="T6" fmla="*/ 181 w 181"/>
                    <a:gd name="T7" fmla="*/ 65 h 171"/>
                    <a:gd name="T8" fmla="*/ 119 w 181"/>
                    <a:gd name="T9" fmla="*/ 55 h 171"/>
                    <a:gd name="T10" fmla="*/ 91 w 181"/>
                    <a:gd name="T11" fmla="*/ 0 h 171"/>
                    <a:gd name="T12" fmla="*/ 63 w 181"/>
                    <a:gd name="T13" fmla="*/ 55 h 171"/>
                    <a:gd name="T14" fmla="*/ 0 w 181"/>
                    <a:gd name="T15" fmla="*/ 65 h 171"/>
                    <a:gd name="T16" fmla="*/ 46 w 181"/>
                    <a:gd name="T17" fmla="*/ 109 h 171"/>
                    <a:gd name="T18" fmla="*/ 35 w 181"/>
                    <a:gd name="T19" fmla="*/ 171 h 171"/>
                    <a:gd name="T20" fmla="*/ 91 w 181"/>
                    <a:gd name="T21" fmla="*/ 14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1" h="171">
                      <a:moveTo>
                        <a:pt x="91" y="141"/>
                      </a:moveTo>
                      <a:lnTo>
                        <a:pt x="147" y="171"/>
                      </a:lnTo>
                      <a:lnTo>
                        <a:pt x="136" y="109"/>
                      </a:lnTo>
                      <a:lnTo>
                        <a:pt x="181" y="65"/>
                      </a:lnTo>
                      <a:lnTo>
                        <a:pt x="119" y="55"/>
                      </a:lnTo>
                      <a:lnTo>
                        <a:pt x="91" y="0"/>
                      </a:lnTo>
                      <a:lnTo>
                        <a:pt x="63" y="55"/>
                      </a:lnTo>
                      <a:lnTo>
                        <a:pt x="0" y="65"/>
                      </a:lnTo>
                      <a:lnTo>
                        <a:pt x="46" y="109"/>
                      </a:lnTo>
                      <a:lnTo>
                        <a:pt x="35" y="171"/>
                      </a:lnTo>
                      <a:lnTo>
                        <a:pt x="91" y="141"/>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4" name="Freeform 291"/>
                <p:cNvSpPr>
                  <a:spLocks/>
                </p:cNvSpPr>
                <p:nvPr userDrawn="1"/>
              </p:nvSpPr>
              <p:spPr bwMode="auto">
                <a:xfrm>
                  <a:off x="11413671" y="732924"/>
                  <a:ext cx="31750" cy="1660525"/>
                </a:xfrm>
                <a:custGeom>
                  <a:avLst/>
                  <a:gdLst>
                    <a:gd name="T0" fmla="*/ 0 w 41"/>
                    <a:gd name="T1" fmla="*/ 40 h 2091"/>
                    <a:gd name="T2" fmla="*/ 0 w 41"/>
                    <a:gd name="T3" fmla="*/ 2050 h 2091"/>
                    <a:gd name="T4" fmla="*/ 0 w 41"/>
                    <a:gd name="T5" fmla="*/ 2050 h 2091"/>
                    <a:gd name="T6" fmla="*/ 2 w 41"/>
                    <a:gd name="T7" fmla="*/ 2059 h 2091"/>
                    <a:gd name="T8" fmla="*/ 4 w 41"/>
                    <a:gd name="T9" fmla="*/ 2066 h 2091"/>
                    <a:gd name="T10" fmla="*/ 8 w 41"/>
                    <a:gd name="T11" fmla="*/ 2073 h 2091"/>
                    <a:gd name="T12" fmla="*/ 12 w 41"/>
                    <a:gd name="T13" fmla="*/ 2079 h 2091"/>
                    <a:gd name="T14" fmla="*/ 18 w 41"/>
                    <a:gd name="T15" fmla="*/ 2084 h 2091"/>
                    <a:gd name="T16" fmla="*/ 25 w 41"/>
                    <a:gd name="T17" fmla="*/ 2087 h 2091"/>
                    <a:gd name="T18" fmla="*/ 32 w 41"/>
                    <a:gd name="T19" fmla="*/ 2090 h 2091"/>
                    <a:gd name="T20" fmla="*/ 41 w 41"/>
                    <a:gd name="T21" fmla="*/ 2091 h 2091"/>
                    <a:gd name="T22" fmla="*/ 41 w 41"/>
                    <a:gd name="T23" fmla="*/ 0 h 2091"/>
                    <a:gd name="T24" fmla="*/ 41 w 41"/>
                    <a:gd name="T25" fmla="*/ 0 h 2091"/>
                    <a:gd name="T26" fmla="*/ 32 w 41"/>
                    <a:gd name="T27" fmla="*/ 1 h 2091"/>
                    <a:gd name="T28" fmla="*/ 25 w 41"/>
                    <a:gd name="T29" fmla="*/ 3 h 2091"/>
                    <a:gd name="T30" fmla="*/ 18 w 41"/>
                    <a:gd name="T31" fmla="*/ 7 h 2091"/>
                    <a:gd name="T32" fmla="*/ 12 w 41"/>
                    <a:gd name="T33" fmla="*/ 12 h 2091"/>
                    <a:gd name="T34" fmla="*/ 8 w 41"/>
                    <a:gd name="T35" fmla="*/ 18 h 2091"/>
                    <a:gd name="T36" fmla="*/ 4 w 41"/>
                    <a:gd name="T37" fmla="*/ 24 h 2091"/>
                    <a:gd name="T38" fmla="*/ 2 w 41"/>
                    <a:gd name="T39" fmla="*/ 32 h 2091"/>
                    <a:gd name="T40" fmla="*/ 0 w 41"/>
                    <a:gd name="T41" fmla="*/ 40 h 2091"/>
                    <a:gd name="T42" fmla="*/ 0 w 41"/>
                    <a:gd name="T43" fmla="*/ 40 h 20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2091">
                      <a:moveTo>
                        <a:pt x="0" y="40"/>
                      </a:moveTo>
                      <a:lnTo>
                        <a:pt x="0" y="2050"/>
                      </a:lnTo>
                      <a:lnTo>
                        <a:pt x="0" y="2050"/>
                      </a:lnTo>
                      <a:lnTo>
                        <a:pt x="2" y="2059"/>
                      </a:lnTo>
                      <a:lnTo>
                        <a:pt x="4" y="2066"/>
                      </a:lnTo>
                      <a:lnTo>
                        <a:pt x="8" y="2073"/>
                      </a:lnTo>
                      <a:lnTo>
                        <a:pt x="12" y="2079"/>
                      </a:lnTo>
                      <a:lnTo>
                        <a:pt x="18" y="2084"/>
                      </a:lnTo>
                      <a:lnTo>
                        <a:pt x="25" y="2087"/>
                      </a:lnTo>
                      <a:lnTo>
                        <a:pt x="32" y="2090"/>
                      </a:lnTo>
                      <a:lnTo>
                        <a:pt x="41" y="2091"/>
                      </a:lnTo>
                      <a:lnTo>
                        <a:pt x="41" y="0"/>
                      </a:lnTo>
                      <a:lnTo>
                        <a:pt x="41" y="0"/>
                      </a:lnTo>
                      <a:lnTo>
                        <a:pt x="32" y="1"/>
                      </a:lnTo>
                      <a:lnTo>
                        <a:pt x="25" y="3"/>
                      </a:lnTo>
                      <a:lnTo>
                        <a:pt x="18" y="7"/>
                      </a:lnTo>
                      <a:lnTo>
                        <a:pt x="12" y="12"/>
                      </a:lnTo>
                      <a:lnTo>
                        <a:pt x="8" y="18"/>
                      </a:lnTo>
                      <a:lnTo>
                        <a:pt x="4" y="24"/>
                      </a:lnTo>
                      <a:lnTo>
                        <a:pt x="2" y="32"/>
                      </a:lnTo>
                      <a:lnTo>
                        <a:pt x="0" y="40"/>
                      </a:lnTo>
                      <a:lnTo>
                        <a:pt x="0"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5" name="Freeform 292"/>
                <p:cNvSpPr>
                  <a:spLocks/>
                </p:cNvSpPr>
                <p:nvPr userDrawn="1"/>
              </p:nvSpPr>
              <p:spPr bwMode="auto">
                <a:xfrm>
                  <a:off x="11445421" y="732924"/>
                  <a:ext cx="33338" cy="1660525"/>
                </a:xfrm>
                <a:custGeom>
                  <a:avLst/>
                  <a:gdLst>
                    <a:gd name="T0" fmla="*/ 0 w 40"/>
                    <a:gd name="T1" fmla="*/ 2091 h 2091"/>
                    <a:gd name="T2" fmla="*/ 0 w 40"/>
                    <a:gd name="T3" fmla="*/ 2091 h 2091"/>
                    <a:gd name="T4" fmla="*/ 8 w 40"/>
                    <a:gd name="T5" fmla="*/ 2090 h 2091"/>
                    <a:gd name="T6" fmla="*/ 15 w 40"/>
                    <a:gd name="T7" fmla="*/ 2087 h 2091"/>
                    <a:gd name="T8" fmla="*/ 22 w 40"/>
                    <a:gd name="T9" fmla="*/ 2084 h 2091"/>
                    <a:gd name="T10" fmla="*/ 28 w 40"/>
                    <a:gd name="T11" fmla="*/ 2079 h 2091"/>
                    <a:gd name="T12" fmla="*/ 33 w 40"/>
                    <a:gd name="T13" fmla="*/ 2073 h 2091"/>
                    <a:gd name="T14" fmla="*/ 37 w 40"/>
                    <a:gd name="T15" fmla="*/ 2066 h 2091"/>
                    <a:gd name="T16" fmla="*/ 39 w 40"/>
                    <a:gd name="T17" fmla="*/ 2059 h 2091"/>
                    <a:gd name="T18" fmla="*/ 40 w 40"/>
                    <a:gd name="T19" fmla="*/ 2050 h 2091"/>
                    <a:gd name="T20" fmla="*/ 40 w 40"/>
                    <a:gd name="T21" fmla="*/ 40 h 2091"/>
                    <a:gd name="T22" fmla="*/ 40 w 40"/>
                    <a:gd name="T23" fmla="*/ 40 h 2091"/>
                    <a:gd name="T24" fmla="*/ 39 w 40"/>
                    <a:gd name="T25" fmla="*/ 32 h 2091"/>
                    <a:gd name="T26" fmla="*/ 37 w 40"/>
                    <a:gd name="T27" fmla="*/ 24 h 2091"/>
                    <a:gd name="T28" fmla="*/ 33 w 40"/>
                    <a:gd name="T29" fmla="*/ 18 h 2091"/>
                    <a:gd name="T30" fmla="*/ 28 w 40"/>
                    <a:gd name="T31" fmla="*/ 12 h 2091"/>
                    <a:gd name="T32" fmla="*/ 22 w 40"/>
                    <a:gd name="T33" fmla="*/ 7 h 2091"/>
                    <a:gd name="T34" fmla="*/ 15 w 40"/>
                    <a:gd name="T35" fmla="*/ 3 h 2091"/>
                    <a:gd name="T36" fmla="*/ 8 w 40"/>
                    <a:gd name="T37" fmla="*/ 1 h 2091"/>
                    <a:gd name="T38" fmla="*/ 0 w 40"/>
                    <a:gd name="T39" fmla="*/ 0 h 2091"/>
                    <a:gd name="T40" fmla="*/ 0 w 40"/>
                    <a:gd name="T41" fmla="*/ 2091 h 20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2091">
                      <a:moveTo>
                        <a:pt x="0" y="2091"/>
                      </a:moveTo>
                      <a:lnTo>
                        <a:pt x="0" y="2091"/>
                      </a:lnTo>
                      <a:lnTo>
                        <a:pt x="8" y="2090"/>
                      </a:lnTo>
                      <a:lnTo>
                        <a:pt x="15" y="2087"/>
                      </a:lnTo>
                      <a:lnTo>
                        <a:pt x="22" y="2084"/>
                      </a:lnTo>
                      <a:lnTo>
                        <a:pt x="28" y="2079"/>
                      </a:lnTo>
                      <a:lnTo>
                        <a:pt x="33" y="2073"/>
                      </a:lnTo>
                      <a:lnTo>
                        <a:pt x="37" y="2066"/>
                      </a:lnTo>
                      <a:lnTo>
                        <a:pt x="39" y="2059"/>
                      </a:lnTo>
                      <a:lnTo>
                        <a:pt x="40" y="2050"/>
                      </a:lnTo>
                      <a:lnTo>
                        <a:pt x="40" y="40"/>
                      </a:lnTo>
                      <a:lnTo>
                        <a:pt x="40" y="40"/>
                      </a:lnTo>
                      <a:lnTo>
                        <a:pt x="39" y="32"/>
                      </a:lnTo>
                      <a:lnTo>
                        <a:pt x="37" y="24"/>
                      </a:lnTo>
                      <a:lnTo>
                        <a:pt x="33" y="18"/>
                      </a:lnTo>
                      <a:lnTo>
                        <a:pt x="28" y="12"/>
                      </a:lnTo>
                      <a:lnTo>
                        <a:pt x="22" y="7"/>
                      </a:lnTo>
                      <a:lnTo>
                        <a:pt x="15" y="3"/>
                      </a:lnTo>
                      <a:lnTo>
                        <a:pt x="8" y="1"/>
                      </a:lnTo>
                      <a:lnTo>
                        <a:pt x="0" y="0"/>
                      </a:lnTo>
                      <a:lnTo>
                        <a:pt x="0" y="2091"/>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6" name="Freeform 293"/>
                <p:cNvSpPr>
                  <a:spLocks/>
                </p:cNvSpPr>
                <p:nvPr userDrawn="1"/>
              </p:nvSpPr>
              <p:spPr bwMode="auto">
                <a:xfrm>
                  <a:off x="11445421" y="2315661"/>
                  <a:ext cx="152400" cy="193675"/>
                </a:xfrm>
                <a:custGeom>
                  <a:avLst/>
                  <a:gdLst>
                    <a:gd name="T0" fmla="*/ 0 w 190"/>
                    <a:gd name="T1" fmla="*/ 0 h 245"/>
                    <a:gd name="T2" fmla="*/ 0 w 190"/>
                    <a:gd name="T3" fmla="*/ 189 h 245"/>
                    <a:gd name="T4" fmla="*/ 0 w 190"/>
                    <a:gd name="T5" fmla="*/ 245 h 245"/>
                    <a:gd name="T6" fmla="*/ 190 w 190"/>
                    <a:gd name="T7" fmla="*/ 245 h 245"/>
                    <a:gd name="T8" fmla="*/ 190 w 190"/>
                    <a:gd name="T9" fmla="*/ 189 h 245"/>
                    <a:gd name="T10" fmla="*/ 190 w 190"/>
                    <a:gd name="T11" fmla="*/ 189 h 245"/>
                    <a:gd name="T12" fmla="*/ 189 w 190"/>
                    <a:gd name="T13" fmla="*/ 170 h 245"/>
                    <a:gd name="T14" fmla="*/ 185 w 190"/>
                    <a:gd name="T15" fmla="*/ 151 h 245"/>
                    <a:gd name="T16" fmla="*/ 181 w 190"/>
                    <a:gd name="T17" fmla="*/ 133 h 245"/>
                    <a:gd name="T18" fmla="*/ 175 w 190"/>
                    <a:gd name="T19" fmla="*/ 115 h 245"/>
                    <a:gd name="T20" fmla="*/ 166 w 190"/>
                    <a:gd name="T21" fmla="*/ 99 h 245"/>
                    <a:gd name="T22" fmla="*/ 157 w 190"/>
                    <a:gd name="T23" fmla="*/ 83 h 245"/>
                    <a:gd name="T24" fmla="*/ 146 w 190"/>
                    <a:gd name="T25" fmla="*/ 69 h 245"/>
                    <a:gd name="T26" fmla="*/ 134 w 190"/>
                    <a:gd name="T27" fmla="*/ 55 h 245"/>
                    <a:gd name="T28" fmla="*/ 121 w 190"/>
                    <a:gd name="T29" fmla="*/ 43 h 245"/>
                    <a:gd name="T30" fmla="*/ 106 w 190"/>
                    <a:gd name="T31" fmla="*/ 32 h 245"/>
                    <a:gd name="T32" fmla="*/ 90 w 190"/>
                    <a:gd name="T33" fmla="*/ 23 h 245"/>
                    <a:gd name="T34" fmla="*/ 74 w 190"/>
                    <a:gd name="T35" fmla="*/ 14 h 245"/>
                    <a:gd name="T36" fmla="*/ 57 w 190"/>
                    <a:gd name="T37" fmla="*/ 8 h 245"/>
                    <a:gd name="T38" fmla="*/ 38 w 190"/>
                    <a:gd name="T39" fmla="*/ 4 h 245"/>
                    <a:gd name="T40" fmla="*/ 19 w 190"/>
                    <a:gd name="T41" fmla="*/ 0 h 245"/>
                    <a:gd name="T42" fmla="*/ 0 w 190"/>
                    <a:gd name="T43"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0" h="245">
                      <a:moveTo>
                        <a:pt x="0" y="0"/>
                      </a:moveTo>
                      <a:lnTo>
                        <a:pt x="0" y="189"/>
                      </a:lnTo>
                      <a:lnTo>
                        <a:pt x="0" y="245"/>
                      </a:lnTo>
                      <a:lnTo>
                        <a:pt x="190" y="245"/>
                      </a:lnTo>
                      <a:lnTo>
                        <a:pt x="190" y="189"/>
                      </a:lnTo>
                      <a:lnTo>
                        <a:pt x="190" y="189"/>
                      </a:lnTo>
                      <a:lnTo>
                        <a:pt x="189" y="170"/>
                      </a:lnTo>
                      <a:lnTo>
                        <a:pt x="185" y="151"/>
                      </a:lnTo>
                      <a:lnTo>
                        <a:pt x="181" y="133"/>
                      </a:lnTo>
                      <a:lnTo>
                        <a:pt x="175" y="115"/>
                      </a:lnTo>
                      <a:lnTo>
                        <a:pt x="166" y="99"/>
                      </a:lnTo>
                      <a:lnTo>
                        <a:pt x="157" y="83"/>
                      </a:lnTo>
                      <a:lnTo>
                        <a:pt x="146" y="69"/>
                      </a:lnTo>
                      <a:lnTo>
                        <a:pt x="134" y="55"/>
                      </a:lnTo>
                      <a:lnTo>
                        <a:pt x="121" y="43"/>
                      </a:lnTo>
                      <a:lnTo>
                        <a:pt x="106" y="32"/>
                      </a:lnTo>
                      <a:lnTo>
                        <a:pt x="90" y="23"/>
                      </a:lnTo>
                      <a:lnTo>
                        <a:pt x="74" y="14"/>
                      </a:lnTo>
                      <a:lnTo>
                        <a:pt x="57" y="8"/>
                      </a:lnTo>
                      <a:lnTo>
                        <a:pt x="38" y="4"/>
                      </a:lnTo>
                      <a:lnTo>
                        <a:pt x="19" y="0"/>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7" name="Freeform 294"/>
                <p:cNvSpPr>
                  <a:spLocks/>
                </p:cNvSpPr>
                <p:nvPr userDrawn="1"/>
              </p:nvSpPr>
              <p:spPr bwMode="auto">
                <a:xfrm>
                  <a:off x="11445421" y="2315661"/>
                  <a:ext cx="152400" cy="193675"/>
                </a:xfrm>
                <a:custGeom>
                  <a:avLst/>
                  <a:gdLst>
                    <a:gd name="T0" fmla="*/ 0 w 190"/>
                    <a:gd name="T1" fmla="*/ 0 h 245"/>
                    <a:gd name="T2" fmla="*/ 0 w 190"/>
                    <a:gd name="T3" fmla="*/ 189 h 245"/>
                    <a:gd name="T4" fmla="*/ 0 w 190"/>
                    <a:gd name="T5" fmla="*/ 245 h 245"/>
                    <a:gd name="T6" fmla="*/ 190 w 190"/>
                    <a:gd name="T7" fmla="*/ 245 h 245"/>
                    <a:gd name="T8" fmla="*/ 190 w 190"/>
                    <a:gd name="T9" fmla="*/ 189 h 245"/>
                    <a:gd name="T10" fmla="*/ 190 w 190"/>
                    <a:gd name="T11" fmla="*/ 189 h 245"/>
                    <a:gd name="T12" fmla="*/ 189 w 190"/>
                    <a:gd name="T13" fmla="*/ 170 h 245"/>
                    <a:gd name="T14" fmla="*/ 185 w 190"/>
                    <a:gd name="T15" fmla="*/ 151 h 245"/>
                    <a:gd name="T16" fmla="*/ 181 w 190"/>
                    <a:gd name="T17" fmla="*/ 133 h 245"/>
                    <a:gd name="T18" fmla="*/ 175 w 190"/>
                    <a:gd name="T19" fmla="*/ 115 h 245"/>
                    <a:gd name="T20" fmla="*/ 166 w 190"/>
                    <a:gd name="T21" fmla="*/ 99 h 245"/>
                    <a:gd name="T22" fmla="*/ 157 w 190"/>
                    <a:gd name="T23" fmla="*/ 83 h 245"/>
                    <a:gd name="T24" fmla="*/ 146 w 190"/>
                    <a:gd name="T25" fmla="*/ 69 h 245"/>
                    <a:gd name="T26" fmla="*/ 134 w 190"/>
                    <a:gd name="T27" fmla="*/ 55 h 245"/>
                    <a:gd name="T28" fmla="*/ 121 w 190"/>
                    <a:gd name="T29" fmla="*/ 43 h 245"/>
                    <a:gd name="T30" fmla="*/ 106 w 190"/>
                    <a:gd name="T31" fmla="*/ 32 h 245"/>
                    <a:gd name="T32" fmla="*/ 90 w 190"/>
                    <a:gd name="T33" fmla="*/ 23 h 245"/>
                    <a:gd name="T34" fmla="*/ 74 w 190"/>
                    <a:gd name="T35" fmla="*/ 14 h 245"/>
                    <a:gd name="T36" fmla="*/ 57 w 190"/>
                    <a:gd name="T37" fmla="*/ 8 h 245"/>
                    <a:gd name="T38" fmla="*/ 38 w 190"/>
                    <a:gd name="T39" fmla="*/ 4 h 245"/>
                    <a:gd name="T40" fmla="*/ 19 w 190"/>
                    <a:gd name="T41" fmla="*/ 0 h 245"/>
                    <a:gd name="T42" fmla="*/ 0 w 190"/>
                    <a:gd name="T43"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0" h="245">
                      <a:moveTo>
                        <a:pt x="0" y="0"/>
                      </a:moveTo>
                      <a:lnTo>
                        <a:pt x="0" y="189"/>
                      </a:lnTo>
                      <a:lnTo>
                        <a:pt x="0" y="245"/>
                      </a:lnTo>
                      <a:lnTo>
                        <a:pt x="190" y="245"/>
                      </a:lnTo>
                      <a:lnTo>
                        <a:pt x="190" y="189"/>
                      </a:lnTo>
                      <a:lnTo>
                        <a:pt x="190" y="189"/>
                      </a:lnTo>
                      <a:lnTo>
                        <a:pt x="189" y="170"/>
                      </a:lnTo>
                      <a:lnTo>
                        <a:pt x="185" y="151"/>
                      </a:lnTo>
                      <a:lnTo>
                        <a:pt x="181" y="133"/>
                      </a:lnTo>
                      <a:lnTo>
                        <a:pt x="175" y="115"/>
                      </a:lnTo>
                      <a:lnTo>
                        <a:pt x="166" y="99"/>
                      </a:lnTo>
                      <a:lnTo>
                        <a:pt x="157" y="83"/>
                      </a:lnTo>
                      <a:lnTo>
                        <a:pt x="146" y="69"/>
                      </a:lnTo>
                      <a:lnTo>
                        <a:pt x="134" y="55"/>
                      </a:lnTo>
                      <a:lnTo>
                        <a:pt x="121" y="43"/>
                      </a:lnTo>
                      <a:lnTo>
                        <a:pt x="106" y="32"/>
                      </a:lnTo>
                      <a:lnTo>
                        <a:pt x="90" y="23"/>
                      </a:lnTo>
                      <a:lnTo>
                        <a:pt x="74" y="14"/>
                      </a:lnTo>
                      <a:lnTo>
                        <a:pt x="57" y="8"/>
                      </a:lnTo>
                      <a:lnTo>
                        <a:pt x="38" y="4"/>
                      </a:lnTo>
                      <a:lnTo>
                        <a:pt x="19"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8" name="Freeform 295"/>
                <p:cNvSpPr>
                  <a:spLocks/>
                </p:cNvSpPr>
                <p:nvPr userDrawn="1"/>
              </p:nvSpPr>
              <p:spPr bwMode="auto">
                <a:xfrm>
                  <a:off x="11296196" y="2315661"/>
                  <a:ext cx="149225" cy="193675"/>
                </a:xfrm>
                <a:custGeom>
                  <a:avLst/>
                  <a:gdLst>
                    <a:gd name="T0" fmla="*/ 0 w 189"/>
                    <a:gd name="T1" fmla="*/ 189 h 245"/>
                    <a:gd name="T2" fmla="*/ 0 w 189"/>
                    <a:gd name="T3" fmla="*/ 245 h 245"/>
                    <a:gd name="T4" fmla="*/ 189 w 189"/>
                    <a:gd name="T5" fmla="*/ 245 h 245"/>
                    <a:gd name="T6" fmla="*/ 189 w 189"/>
                    <a:gd name="T7" fmla="*/ 189 h 245"/>
                    <a:gd name="T8" fmla="*/ 189 w 189"/>
                    <a:gd name="T9" fmla="*/ 0 h 245"/>
                    <a:gd name="T10" fmla="*/ 189 w 189"/>
                    <a:gd name="T11" fmla="*/ 0 h 245"/>
                    <a:gd name="T12" fmla="*/ 170 w 189"/>
                    <a:gd name="T13" fmla="*/ 0 h 245"/>
                    <a:gd name="T14" fmla="*/ 151 w 189"/>
                    <a:gd name="T15" fmla="*/ 4 h 245"/>
                    <a:gd name="T16" fmla="*/ 133 w 189"/>
                    <a:gd name="T17" fmla="*/ 8 h 245"/>
                    <a:gd name="T18" fmla="*/ 115 w 189"/>
                    <a:gd name="T19" fmla="*/ 14 h 245"/>
                    <a:gd name="T20" fmla="*/ 98 w 189"/>
                    <a:gd name="T21" fmla="*/ 23 h 245"/>
                    <a:gd name="T22" fmla="*/ 83 w 189"/>
                    <a:gd name="T23" fmla="*/ 32 h 245"/>
                    <a:gd name="T24" fmla="*/ 69 w 189"/>
                    <a:gd name="T25" fmla="*/ 43 h 245"/>
                    <a:gd name="T26" fmla="*/ 54 w 189"/>
                    <a:gd name="T27" fmla="*/ 55 h 245"/>
                    <a:gd name="T28" fmla="*/ 43 w 189"/>
                    <a:gd name="T29" fmla="*/ 69 h 245"/>
                    <a:gd name="T30" fmla="*/ 32 w 189"/>
                    <a:gd name="T31" fmla="*/ 83 h 245"/>
                    <a:gd name="T32" fmla="*/ 22 w 189"/>
                    <a:gd name="T33" fmla="*/ 99 h 245"/>
                    <a:gd name="T34" fmla="*/ 14 w 189"/>
                    <a:gd name="T35" fmla="*/ 115 h 245"/>
                    <a:gd name="T36" fmla="*/ 8 w 189"/>
                    <a:gd name="T37" fmla="*/ 133 h 245"/>
                    <a:gd name="T38" fmla="*/ 3 w 189"/>
                    <a:gd name="T39" fmla="*/ 151 h 245"/>
                    <a:gd name="T40" fmla="*/ 1 w 189"/>
                    <a:gd name="T41" fmla="*/ 170 h 245"/>
                    <a:gd name="T42" fmla="*/ 0 w 189"/>
                    <a:gd name="T43" fmla="*/ 189 h 245"/>
                    <a:gd name="T44" fmla="*/ 0 w 189"/>
                    <a:gd name="T45" fmla="*/ 189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245">
                      <a:moveTo>
                        <a:pt x="0" y="189"/>
                      </a:moveTo>
                      <a:lnTo>
                        <a:pt x="0" y="245"/>
                      </a:lnTo>
                      <a:lnTo>
                        <a:pt x="189" y="245"/>
                      </a:lnTo>
                      <a:lnTo>
                        <a:pt x="189" y="189"/>
                      </a:lnTo>
                      <a:lnTo>
                        <a:pt x="189" y="0"/>
                      </a:lnTo>
                      <a:lnTo>
                        <a:pt x="189" y="0"/>
                      </a:lnTo>
                      <a:lnTo>
                        <a:pt x="170" y="0"/>
                      </a:lnTo>
                      <a:lnTo>
                        <a:pt x="151" y="4"/>
                      </a:lnTo>
                      <a:lnTo>
                        <a:pt x="133" y="8"/>
                      </a:lnTo>
                      <a:lnTo>
                        <a:pt x="115" y="14"/>
                      </a:lnTo>
                      <a:lnTo>
                        <a:pt x="98" y="23"/>
                      </a:lnTo>
                      <a:lnTo>
                        <a:pt x="83" y="32"/>
                      </a:lnTo>
                      <a:lnTo>
                        <a:pt x="69" y="43"/>
                      </a:lnTo>
                      <a:lnTo>
                        <a:pt x="54" y="55"/>
                      </a:lnTo>
                      <a:lnTo>
                        <a:pt x="43" y="69"/>
                      </a:lnTo>
                      <a:lnTo>
                        <a:pt x="32" y="83"/>
                      </a:lnTo>
                      <a:lnTo>
                        <a:pt x="22" y="99"/>
                      </a:lnTo>
                      <a:lnTo>
                        <a:pt x="14" y="115"/>
                      </a:lnTo>
                      <a:lnTo>
                        <a:pt x="8" y="133"/>
                      </a:lnTo>
                      <a:lnTo>
                        <a:pt x="3" y="151"/>
                      </a:lnTo>
                      <a:lnTo>
                        <a:pt x="1" y="170"/>
                      </a:lnTo>
                      <a:lnTo>
                        <a:pt x="0" y="189"/>
                      </a:lnTo>
                      <a:lnTo>
                        <a:pt x="0" y="189"/>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9" name="Rectangle 296"/>
                <p:cNvSpPr>
                  <a:spLocks noChangeArrowheads="1"/>
                </p:cNvSpPr>
                <p:nvPr userDrawn="1"/>
              </p:nvSpPr>
              <p:spPr bwMode="auto">
                <a:xfrm>
                  <a:off x="11478758" y="828174"/>
                  <a:ext cx="604838" cy="422275"/>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50" name="Freeform 297"/>
                <p:cNvSpPr>
                  <a:spLocks/>
                </p:cNvSpPr>
                <p:nvPr userDrawn="1"/>
              </p:nvSpPr>
              <p:spPr bwMode="auto">
                <a:xfrm>
                  <a:off x="11478758" y="828174"/>
                  <a:ext cx="604838" cy="422275"/>
                </a:xfrm>
                <a:custGeom>
                  <a:avLst/>
                  <a:gdLst>
                    <a:gd name="T0" fmla="*/ 762 w 762"/>
                    <a:gd name="T1" fmla="*/ 0 h 532"/>
                    <a:gd name="T2" fmla="*/ 0 w 762"/>
                    <a:gd name="T3" fmla="*/ 532 h 532"/>
                    <a:gd name="T4" fmla="*/ 762 w 762"/>
                    <a:gd name="T5" fmla="*/ 532 h 532"/>
                    <a:gd name="T6" fmla="*/ 762 w 762"/>
                    <a:gd name="T7" fmla="*/ 0 h 532"/>
                  </a:gdLst>
                  <a:ahLst/>
                  <a:cxnLst>
                    <a:cxn ang="0">
                      <a:pos x="T0" y="T1"/>
                    </a:cxn>
                    <a:cxn ang="0">
                      <a:pos x="T2" y="T3"/>
                    </a:cxn>
                    <a:cxn ang="0">
                      <a:pos x="T4" y="T5"/>
                    </a:cxn>
                    <a:cxn ang="0">
                      <a:pos x="T6" y="T7"/>
                    </a:cxn>
                  </a:cxnLst>
                  <a:rect l="0" t="0" r="r" b="b"/>
                  <a:pathLst>
                    <a:path w="762" h="532">
                      <a:moveTo>
                        <a:pt x="762" y="0"/>
                      </a:moveTo>
                      <a:lnTo>
                        <a:pt x="0" y="532"/>
                      </a:lnTo>
                      <a:lnTo>
                        <a:pt x="762" y="532"/>
                      </a:lnTo>
                      <a:lnTo>
                        <a:pt x="762"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51" name="Freeform 298"/>
                <p:cNvSpPr>
                  <a:spLocks/>
                </p:cNvSpPr>
                <p:nvPr userDrawn="1"/>
              </p:nvSpPr>
              <p:spPr bwMode="auto">
                <a:xfrm>
                  <a:off x="11575596" y="891674"/>
                  <a:ext cx="101600" cy="100013"/>
                </a:xfrm>
                <a:custGeom>
                  <a:avLst/>
                  <a:gdLst>
                    <a:gd name="T0" fmla="*/ 127 w 127"/>
                    <a:gd name="T1" fmla="*/ 63 h 127"/>
                    <a:gd name="T2" fmla="*/ 127 w 127"/>
                    <a:gd name="T3" fmla="*/ 63 h 127"/>
                    <a:gd name="T4" fmla="*/ 126 w 127"/>
                    <a:gd name="T5" fmla="*/ 76 h 127"/>
                    <a:gd name="T6" fmla="*/ 122 w 127"/>
                    <a:gd name="T7" fmla="*/ 88 h 127"/>
                    <a:gd name="T8" fmla="*/ 116 w 127"/>
                    <a:gd name="T9" fmla="*/ 99 h 127"/>
                    <a:gd name="T10" fmla="*/ 109 w 127"/>
                    <a:gd name="T11" fmla="*/ 108 h 127"/>
                    <a:gd name="T12" fmla="*/ 100 w 127"/>
                    <a:gd name="T13" fmla="*/ 117 h 127"/>
                    <a:gd name="T14" fmla="*/ 89 w 127"/>
                    <a:gd name="T15" fmla="*/ 123 h 127"/>
                    <a:gd name="T16" fmla="*/ 77 w 127"/>
                    <a:gd name="T17" fmla="*/ 126 h 127"/>
                    <a:gd name="T18" fmla="*/ 64 w 127"/>
                    <a:gd name="T19" fmla="*/ 127 h 127"/>
                    <a:gd name="T20" fmla="*/ 64 w 127"/>
                    <a:gd name="T21" fmla="*/ 127 h 127"/>
                    <a:gd name="T22" fmla="*/ 51 w 127"/>
                    <a:gd name="T23" fmla="*/ 126 h 127"/>
                    <a:gd name="T24" fmla="*/ 39 w 127"/>
                    <a:gd name="T25" fmla="*/ 123 h 127"/>
                    <a:gd name="T26" fmla="*/ 28 w 127"/>
                    <a:gd name="T27" fmla="*/ 117 h 127"/>
                    <a:gd name="T28" fmla="*/ 19 w 127"/>
                    <a:gd name="T29" fmla="*/ 108 h 127"/>
                    <a:gd name="T30" fmla="*/ 11 w 127"/>
                    <a:gd name="T31" fmla="*/ 99 h 127"/>
                    <a:gd name="T32" fmla="*/ 5 w 127"/>
                    <a:gd name="T33" fmla="*/ 88 h 127"/>
                    <a:gd name="T34" fmla="*/ 1 w 127"/>
                    <a:gd name="T35" fmla="*/ 76 h 127"/>
                    <a:gd name="T36" fmla="*/ 0 w 127"/>
                    <a:gd name="T37" fmla="*/ 63 h 127"/>
                    <a:gd name="T38" fmla="*/ 0 w 127"/>
                    <a:gd name="T39" fmla="*/ 63 h 127"/>
                    <a:gd name="T40" fmla="*/ 1 w 127"/>
                    <a:gd name="T41" fmla="*/ 51 h 127"/>
                    <a:gd name="T42" fmla="*/ 5 w 127"/>
                    <a:gd name="T43" fmla="*/ 38 h 127"/>
                    <a:gd name="T44" fmla="*/ 11 w 127"/>
                    <a:gd name="T45" fmla="*/ 28 h 127"/>
                    <a:gd name="T46" fmla="*/ 19 w 127"/>
                    <a:gd name="T47" fmla="*/ 18 h 127"/>
                    <a:gd name="T48" fmla="*/ 28 w 127"/>
                    <a:gd name="T49" fmla="*/ 11 h 127"/>
                    <a:gd name="T50" fmla="*/ 39 w 127"/>
                    <a:gd name="T51" fmla="*/ 5 h 127"/>
                    <a:gd name="T52" fmla="*/ 51 w 127"/>
                    <a:gd name="T53" fmla="*/ 1 h 127"/>
                    <a:gd name="T54" fmla="*/ 64 w 127"/>
                    <a:gd name="T55" fmla="*/ 0 h 127"/>
                    <a:gd name="T56" fmla="*/ 64 w 127"/>
                    <a:gd name="T57" fmla="*/ 0 h 127"/>
                    <a:gd name="T58" fmla="*/ 77 w 127"/>
                    <a:gd name="T59" fmla="*/ 1 h 127"/>
                    <a:gd name="T60" fmla="*/ 89 w 127"/>
                    <a:gd name="T61" fmla="*/ 5 h 127"/>
                    <a:gd name="T62" fmla="*/ 100 w 127"/>
                    <a:gd name="T63" fmla="*/ 11 h 127"/>
                    <a:gd name="T64" fmla="*/ 109 w 127"/>
                    <a:gd name="T65" fmla="*/ 18 h 127"/>
                    <a:gd name="T66" fmla="*/ 116 w 127"/>
                    <a:gd name="T67" fmla="*/ 28 h 127"/>
                    <a:gd name="T68" fmla="*/ 122 w 127"/>
                    <a:gd name="T69" fmla="*/ 38 h 127"/>
                    <a:gd name="T70" fmla="*/ 126 w 127"/>
                    <a:gd name="T71" fmla="*/ 51 h 127"/>
                    <a:gd name="T72" fmla="*/ 127 w 127"/>
                    <a:gd name="T73" fmla="*/ 63 h 127"/>
                    <a:gd name="T74" fmla="*/ 127 w 127"/>
                    <a:gd name="T75" fmla="*/ 6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7" h="127">
                      <a:moveTo>
                        <a:pt x="127" y="63"/>
                      </a:moveTo>
                      <a:lnTo>
                        <a:pt x="127" y="63"/>
                      </a:lnTo>
                      <a:lnTo>
                        <a:pt x="126" y="76"/>
                      </a:lnTo>
                      <a:lnTo>
                        <a:pt x="122" y="88"/>
                      </a:lnTo>
                      <a:lnTo>
                        <a:pt x="116" y="99"/>
                      </a:lnTo>
                      <a:lnTo>
                        <a:pt x="109" y="108"/>
                      </a:lnTo>
                      <a:lnTo>
                        <a:pt x="100" y="117"/>
                      </a:lnTo>
                      <a:lnTo>
                        <a:pt x="89" y="123"/>
                      </a:lnTo>
                      <a:lnTo>
                        <a:pt x="77" y="126"/>
                      </a:lnTo>
                      <a:lnTo>
                        <a:pt x="64" y="127"/>
                      </a:lnTo>
                      <a:lnTo>
                        <a:pt x="64" y="127"/>
                      </a:lnTo>
                      <a:lnTo>
                        <a:pt x="51" y="126"/>
                      </a:lnTo>
                      <a:lnTo>
                        <a:pt x="39" y="123"/>
                      </a:lnTo>
                      <a:lnTo>
                        <a:pt x="28" y="117"/>
                      </a:lnTo>
                      <a:lnTo>
                        <a:pt x="19" y="108"/>
                      </a:lnTo>
                      <a:lnTo>
                        <a:pt x="11" y="99"/>
                      </a:lnTo>
                      <a:lnTo>
                        <a:pt x="5" y="88"/>
                      </a:lnTo>
                      <a:lnTo>
                        <a:pt x="1" y="76"/>
                      </a:lnTo>
                      <a:lnTo>
                        <a:pt x="0" y="63"/>
                      </a:lnTo>
                      <a:lnTo>
                        <a:pt x="0" y="63"/>
                      </a:lnTo>
                      <a:lnTo>
                        <a:pt x="1" y="51"/>
                      </a:lnTo>
                      <a:lnTo>
                        <a:pt x="5" y="38"/>
                      </a:lnTo>
                      <a:lnTo>
                        <a:pt x="11" y="28"/>
                      </a:lnTo>
                      <a:lnTo>
                        <a:pt x="19" y="18"/>
                      </a:lnTo>
                      <a:lnTo>
                        <a:pt x="28" y="11"/>
                      </a:lnTo>
                      <a:lnTo>
                        <a:pt x="39" y="5"/>
                      </a:lnTo>
                      <a:lnTo>
                        <a:pt x="51" y="1"/>
                      </a:lnTo>
                      <a:lnTo>
                        <a:pt x="64" y="0"/>
                      </a:lnTo>
                      <a:lnTo>
                        <a:pt x="64" y="0"/>
                      </a:lnTo>
                      <a:lnTo>
                        <a:pt x="77" y="1"/>
                      </a:lnTo>
                      <a:lnTo>
                        <a:pt x="89" y="5"/>
                      </a:lnTo>
                      <a:lnTo>
                        <a:pt x="100" y="11"/>
                      </a:lnTo>
                      <a:lnTo>
                        <a:pt x="109" y="18"/>
                      </a:lnTo>
                      <a:lnTo>
                        <a:pt x="116" y="28"/>
                      </a:lnTo>
                      <a:lnTo>
                        <a:pt x="122" y="38"/>
                      </a:lnTo>
                      <a:lnTo>
                        <a:pt x="126" y="51"/>
                      </a:lnTo>
                      <a:lnTo>
                        <a:pt x="127" y="63"/>
                      </a:lnTo>
                      <a:lnTo>
                        <a:pt x="127" y="6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52" name="Freeform 299"/>
                <p:cNvSpPr>
                  <a:spLocks/>
                </p:cNvSpPr>
                <p:nvPr userDrawn="1"/>
              </p:nvSpPr>
              <p:spPr bwMode="auto">
                <a:xfrm>
                  <a:off x="11715296" y="872624"/>
                  <a:ext cx="165100" cy="166688"/>
                </a:xfrm>
                <a:custGeom>
                  <a:avLst/>
                  <a:gdLst>
                    <a:gd name="T0" fmla="*/ 209 w 209"/>
                    <a:gd name="T1" fmla="*/ 105 h 210"/>
                    <a:gd name="T2" fmla="*/ 207 w 209"/>
                    <a:gd name="T3" fmla="*/ 126 h 210"/>
                    <a:gd name="T4" fmla="*/ 201 w 209"/>
                    <a:gd name="T5" fmla="*/ 146 h 210"/>
                    <a:gd name="T6" fmla="*/ 191 w 209"/>
                    <a:gd name="T7" fmla="*/ 164 h 210"/>
                    <a:gd name="T8" fmla="*/ 178 w 209"/>
                    <a:gd name="T9" fmla="*/ 179 h 210"/>
                    <a:gd name="T10" fmla="*/ 163 w 209"/>
                    <a:gd name="T11" fmla="*/ 192 h 210"/>
                    <a:gd name="T12" fmla="*/ 145 w 209"/>
                    <a:gd name="T13" fmla="*/ 202 h 210"/>
                    <a:gd name="T14" fmla="*/ 126 w 209"/>
                    <a:gd name="T15" fmla="*/ 208 h 210"/>
                    <a:gd name="T16" fmla="*/ 104 w 209"/>
                    <a:gd name="T17" fmla="*/ 210 h 210"/>
                    <a:gd name="T18" fmla="*/ 94 w 209"/>
                    <a:gd name="T19" fmla="*/ 210 h 210"/>
                    <a:gd name="T20" fmla="*/ 73 w 209"/>
                    <a:gd name="T21" fmla="*/ 205 h 210"/>
                    <a:gd name="T22" fmla="*/ 54 w 209"/>
                    <a:gd name="T23" fmla="*/ 197 h 210"/>
                    <a:gd name="T24" fmla="*/ 38 w 209"/>
                    <a:gd name="T25" fmla="*/ 186 h 210"/>
                    <a:gd name="T26" fmla="*/ 23 w 209"/>
                    <a:gd name="T27" fmla="*/ 172 h 210"/>
                    <a:gd name="T28" fmla="*/ 12 w 209"/>
                    <a:gd name="T29" fmla="*/ 155 h 210"/>
                    <a:gd name="T30" fmla="*/ 4 w 209"/>
                    <a:gd name="T31" fmla="*/ 136 h 210"/>
                    <a:gd name="T32" fmla="*/ 0 w 209"/>
                    <a:gd name="T33" fmla="*/ 116 h 210"/>
                    <a:gd name="T34" fmla="*/ 0 w 209"/>
                    <a:gd name="T35" fmla="*/ 105 h 210"/>
                    <a:gd name="T36" fmla="*/ 1 w 209"/>
                    <a:gd name="T37" fmla="*/ 84 h 210"/>
                    <a:gd name="T38" fmla="*/ 7 w 209"/>
                    <a:gd name="T39" fmla="*/ 64 h 210"/>
                    <a:gd name="T40" fmla="*/ 18 w 209"/>
                    <a:gd name="T41" fmla="*/ 46 h 210"/>
                    <a:gd name="T42" fmla="*/ 29 w 209"/>
                    <a:gd name="T43" fmla="*/ 30 h 210"/>
                    <a:gd name="T44" fmla="*/ 45 w 209"/>
                    <a:gd name="T45" fmla="*/ 17 h 210"/>
                    <a:gd name="T46" fmla="*/ 63 w 209"/>
                    <a:gd name="T47" fmla="*/ 8 h 210"/>
                    <a:gd name="T48" fmla="*/ 83 w 209"/>
                    <a:gd name="T49" fmla="*/ 2 h 210"/>
                    <a:gd name="T50" fmla="*/ 104 w 209"/>
                    <a:gd name="T51" fmla="*/ 0 h 210"/>
                    <a:gd name="T52" fmla="*/ 115 w 209"/>
                    <a:gd name="T53" fmla="*/ 1 h 210"/>
                    <a:gd name="T54" fmla="*/ 135 w 209"/>
                    <a:gd name="T55" fmla="*/ 4 h 210"/>
                    <a:gd name="T56" fmla="*/ 154 w 209"/>
                    <a:gd name="T57" fmla="*/ 13 h 210"/>
                    <a:gd name="T58" fmla="*/ 171 w 209"/>
                    <a:gd name="T59" fmla="*/ 24 h 210"/>
                    <a:gd name="T60" fmla="*/ 185 w 209"/>
                    <a:gd name="T61" fmla="*/ 38 h 210"/>
                    <a:gd name="T62" fmla="*/ 197 w 209"/>
                    <a:gd name="T63" fmla="*/ 55 h 210"/>
                    <a:gd name="T64" fmla="*/ 204 w 209"/>
                    <a:gd name="T65" fmla="*/ 73 h 210"/>
                    <a:gd name="T66" fmla="*/ 209 w 209"/>
                    <a:gd name="T67" fmla="*/ 95 h 210"/>
                    <a:gd name="T68" fmla="*/ 209 w 209"/>
                    <a:gd name="T69"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9" h="210">
                      <a:moveTo>
                        <a:pt x="209" y="105"/>
                      </a:moveTo>
                      <a:lnTo>
                        <a:pt x="209" y="105"/>
                      </a:lnTo>
                      <a:lnTo>
                        <a:pt x="209" y="116"/>
                      </a:lnTo>
                      <a:lnTo>
                        <a:pt x="207" y="126"/>
                      </a:lnTo>
                      <a:lnTo>
                        <a:pt x="204" y="136"/>
                      </a:lnTo>
                      <a:lnTo>
                        <a:pt x="201" y="146"/>
                      </a:lnTo>
                      <a:lnTo>
                        <a:pt x="197" y="155"/>
                      </a:lnTo>
                      <a:lnTo>
                        <a:pt x="191" y="164"/>
                      </a:lnTo>
                      <a:lnTo>
                        <a:pt x="185" y="172"/>
                      </a:lnTo>
                      <a:lnTo>
                        <a:pt x="178" y="179"/>
                      </a:lnTo>
                      <a:lnTo>
                        <a:pt x="171" y="186"/>
                      </a:lnTo>
                      <a:lnTo>
                        <a:pt x="163" y="192"/>
                      </a:lnTo>
                      <a:lnTo>
                        <a:pt x="154" y="197"/>
                      </a:lnTo>
                      <a:lnTo>
                        <a:pt x="145" y="202"/>
                      </a:lnTo>
                      <a:lnTo>
                        <a:pt x="135" y="205"/>
                      </a:lnTo>
                      <a:lnTo>
                        <a:pt x="126" y="208"/>
                      </a:lnTo>
                      <a:lnTo>
                        <a:pt x="115" y="210"/>
                      </a:lnTo>
                      <a:lnTo>
                        <a:pt x="104" y="210"/>
                      </a:lnTo>
                      <a:lnTo>
                        <a:pt x="104" y="210"/>
                      </a:lnTo>
                      <a:lnTo>
                        <a:pt x="94" y="210"/>
                      </a:lnTo>
                      <a:lnTo>
                        <a:pt x="83" y="208"/>
                      </a:lnTo>
                      <a:lnTo>
                        <a:pt x="73" y="205"/>
                      </a:lnTo>
                      <a:lnTo>
                        <a:pt x="63" y="202"/>
                      </a:lnTo>
                      <a:lnTo>
                        <a:pt x="54" y="197"/>
                      </a:lnTo>
                      <a:lnTo>
                        <a:pt x="45" y="192"/>
                      </a:lnTo>
                      <a:lnTo>
                        <a:pt x="38" y="186"/>
                      </a:lnTo>
                      <a:lnTo>
                        <a:pt x="29" y="179"/>
                      </a:lnTo>
                      <a:lnTo>
                        <a:pt x="23" y="172"/>
                      </a:lnTo>
                      <a:lnTo>
                        <a:pt x="18" y="164"/>
                      </a:lnTo>
                      <a:lnTo>
                        <a:pt x="12" y="155"/>
                      </a:lnTo>
                      <a:lnTo>
                        <a:pt x="7" y="146"/>
                      </a:lnTo>
                      <a:lnTo>
                        <a:pt x="4" y="136"/>
                      </a:lnTo>
                      <a:lnTo>
                        <a:pt x="1" y="126"/>
                      </a:lnTo>
                      <a:lnTo>
                        <a:pt x="0" y="116"/>
                      </a:lnTo>
                      <a:lnTo>
                        <a:pt x="0" y="105"/>
                      </a:lnTo>
                      <a:lnTo>
                        <a:pt x="0" y="105"/>
                      </a:lnTo>
                      <a:lnTo>
                        <a:pt x="0" y="95"/>
                      </a:lnTo>
                      <a:lnTo>
                        <a:pt x="1" y="84"/>
                      </a:lnTo>
                      <a:lnTo>
                        <a:pt x="4" y="73"/>
                      </a:lnTo>
                      <a:lnTo>
                        <a:pt x="7" y="64"/>
                      </a:lnTo>
                      <a:lnTo>
                        <a:pt x="12" y="55"/>
                      </a:lnTo>
                      <a:lnTo>
                        <a:pt x="18" y="46"/>
                      </a:lnTo>
                      <a:lnTo>
                        <a:pt x="23" y="38"/>
                      </a:lnTo>
                      <a:lnTo>
                        <a:pt x="29" y="30"/>
                      </a:lnTo>
                      <a:lnTo>
                        <a:pt x="38" y="24"/>
                      </a:lnTo>
                      <a:lnTo>
                        <a:pt x="45" y="17"/>
                      </a:lnTo>
                      <a:lnTo>
                        <a:pt x="54" y="13"/>
                      </a:lnTo>
                      <a:lnTo>
                        <a:pt x="63" y="8"/>
                      </a:lnTo>
                      <a:lnTo>
                        <a:pt x="73" y="4"/>
                      </a:lnTo>
                      <a:lnTo>
                        <a:pt x="83" y="2"/>
                      </a:lnTo>
                      <a:lnTo>
                        <a:pt x="94" y="1"/>
                      </a:lnTo>
                      <a:lnTo>
                        <a:pt x="104" y="0"/>
                      </a:lnTo>
                      <a:lnTo>
                        <a:pt x="104" y="0"/>
                      </a:lnTo>
                      <a:lnTo>
                        <a:pt x="115" y="1"/>
                      </a:lnTo>
                      <a:lnTo>
                        <a:pt x="126" y="2"/>
                      </a:lnTo>
                      <a:lnTo>
                        <a:pt x="135" y="4"/>
                      </a:lnTo>
                      <a:lnTo>
                        <a:pt x="145" y="8"/>
                      </a:lnTo>
                      <a:lnTo>
                        <a:pt x="154" y="13"/>
                      </a:lnTo>
                      <a:lnTo>
                        <a:pt x="163" y="17"/>
                      </a:lnTo>
                      <a:lnTo>
                        <a:pt x="171" y="24"/>
                      </a:lnTo>
                      <a:lnTo>
                        <a:pt x="178" y="30"/>
                      </a:lnTo>
                      <a:lnTo>
                        <a:pt x="185" y="38"/>
                      </a:lnTo>
                      <a:lnTo>
                        <a:pt x="191" y="46"/>
                      </a:lnTo>
                      <a:lnTo>
                        <a:pt x="197" y="55"/>
                      </a:lnTo>
                      <a:lnTo>
                        <a:pt x="201" y="64"/>
                      </a:lnTo>
                      <a:lnTo>
                        <a:pt x="204" y="73"/>
                      </a:lnTo>
                      <a:lnTo>
                        <a:pt x="207" y="84"/>
                      </a:lnTo>
                      <a:lnTo>
                        <a:pt x="209" y="95"/>
                      </a:lnTo>
                      <a:lnTo>
                        <a:pt x="209" y="105"/>
                      </a:lnTo>
                      <a:lnTo>
                        <a:pt x="209" y="1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53" name="Freeform 300"/>
                <p:cNvSpPr>
                  <a:spLocks/>
                </p:cNvSpPr>
                <p:nvPr userDrawn="1"/>
              </p:nvSpPr>
              <p:spPr bwMode="auto">
                <a:xfrm>
                  <a:off x="10759621" y="2431549"/>
                  <a:ext cx="1677988" cy="598488"/>
                </a:xfrm>
                <a:custGeom>
                  <a:avLst/>
                  <a:gdLst>
                    <a:gd name="T0" fmla="*/ 2115 w 2115"/>
                    <a:gd name="T1" fmla="*/ 225 h 753"/>
                    <a:gd name="T2" fmla="*/ 2000 w 2115"/>
                    <a:gd name="T3" fmla="*/ 174 h 753"/>
                    <a:gd name="T4" fmla="*/ 1878 w 2115"/>
                    <a:gd name="T5" fmla="*/ 129 h 753"/>
                    <a:gd name="T6" fmla="*/ 1752 w 2115"/>
                    <a:gd name="T7" fmla="*/ 91 h 753"/>
                    <a:gd name="T8" fmla="*/ 1621 w 2115"/>
                    <a:gd name="T9" fmla="*/ 59 h 753"/>
                    <a:gd name="T10" fmla="*/ 1485 w 2115"/>
                    <a:gd name="T11" fmla="*/ 33 h 753"/>
                    <a:gd name="T12" fmla="*/ 1346 w 2115"/>
                    <a:gd name="T13" fmla="*/ 14 h 753"/>
                    <a:gd name="T14" fmla="*/ 1204 w 2115"/>
                    <a:gd name="T15" fmla="*/ 3 h 753"/>
                    <a:gd name="T16" fmla="*/ 1058 w 2115"/>
                    <a:gd name="T17" fmla="*/ 0 h 753"/>
                    <a:gd name="T18" fmla="*/ 985 w 2115"/>
                    <a:gd name="T19" fmla="*/ 0 h 753"/>
                    <a:gd name="T20" fmla="*/ 841 w 2115"/>
                    <a:gd name="T21" fmla="*/ 8 h 753"/>
                    <a:gd name="T22" fmla="*/ 699 w 2115"/>
                    <a:gd name="T23" fmla="*/ 22 h 753"/>
                    <a:gd name="T24" fmla="*/ 563 w 2115"/>
                    <a:gd name="T25" fmla="*/ 45 h 753"/>
                    <a:gd name="T26" fmla="*/ 429 w 2115"/>
                    <a:gd name="T27" fmla="*/ 74 h 753"/>
                    <a:gd name="T28" fmla="*/ 301 w 2115"/>
                    <a:gd name="T29" fmla="*/ 109 h 753"/>
                    <a:gd name="T30" fmla="*/ 176 w 2115"/>
                    <a:gd name="T31" fmla="*/ 152 h 753"/>
                    <a:gd name="T32" fmla="*/ 57 w 2115"/>
                    <a:gd name="T33" fmla="*/ 199 h 753"/>
                    <a:gd name="T34" fmla="*/ 0 w 2115"/>
                    <a:gd name="T35" fmla="*/ 225 h 753"/>
                    <a:gd name="T36" fmla="*/ 48 w 2115"/>
                    <a:gd name="T37" fmla="*/ 284 h 753"/>
                    <a:gd name="T38" fmla="*/ 98 w 2115"/>
                    <a:gd name="T39" fmla="*/ 340 h 753"/>
                    <a:gd name="T40" fmla="*/ 150 w 2115"/>
                    <a:gd name="T41" fmla="*/ 393 h 753"/>
                    <a:gd name="T42" fmla="*/ 207 w 2115"/>
                    <a:gd name="T43" fmla="*/ 443 h 753"/>
                    <a:gd name="T44" fmla="*/ 265 w 2115"/>
                    <a:gd name="T45" fmla="*/ 489 h 753"/>
                    <a:gd name="T46" fmla="*/ 327 w 2115"/>
                    <a:gd name="T47" fmla="*/ 533 h 753"/>
                    <a:gd name="T48" fmla="*/ 391 w 2115"/>
                    <a:gd name="T49" fmla="*/ 573 h 753"/>
                    <a:gd name="T50" fmla="*/ 458 w 2115"/>
                    <a:gd name="T51" fmla="*/ 609 h 753"/>
                    <a:gd name="T52" fmla="*/ 526 w 2115"/>
                    <a:gd name="T53" fmla="*/ 641 h 753"/>
                    <a:gd name="T54" fmla="*/ 597 w 2115"/>
                    <a:gd name="T55" fmla="*/ 670 h 753"/>
                    <a:gd name="T56" fmla="*/ 670 w 2115"/>
                    <a:gd name="T57" fmla="*/ 695 h 753"/>
                    <a:gd name="T58" fmla="*/ 745 w 2115"/>
                    <a:gd name="T59" fmla="*/ 715 h 753"/>
                    <a:gd name="T60" fmla="*/ 821 w 2115"/>
                    <a:gd name="T61" fmla="*/ 732 h 753"/>
                    <a:gd name="T62" fmla="*/ 898 w 2115"/>
                    <a:gd name="T63" fmla="*/ 744 h 753"/>
                    <a:gd name="T64" fmla="*/ 978 w 2115"/>
                    <a:gd name="T65" fmla="*/ 751 h 753"/>
                    <a:gd name="T66" fmla="*/ 1058 w 2115"/>
                    <a:gd name="T67" fmla="*/ 753 h 753"/>
                    <a:gd name="T68" fmla="*/ 1099 w 2115"/>
                    <a:gd name="T69" fmla="*/ 752 h 753"/>
                    <a:gd name="T70" fmla="*/ 1179 w 2115"/>
                    <a:gd name="T71" fmla="*/ 747 h 753"/>
                    <a:gd name="T72" fmla="*/ 1257 w 2115"/>
                    <a:gd name="T73" fmla="*/ 738 h 753"/>
                    <a:gd name="T74" fmla="*/ 1334 w 2115"/>
                    <a:gd name="T75" fmla="*/ 725 h 753"/>
                    <a:gd name="T76" fmla="*/ 1409 w 2115"/>
                    <a:gd name="T77" fmla="*/ 706 h 753"/>
                    <a:gd name="T78" fmla="*/ 1483 w 2115"/>
                    <a:gd name="T79" fmla="*/ 683 h 753"/>
                    <a:gd name="T80" fmla="*/ 1554 w 2115"/>
                    <a:gd name="T81" fmla="*/ 657 h 753"/>
                    <a:gd name="T82" fmla="*/ 1624 w 2115"/>
                    <a:gd name="T83" fmla="*/ 626 h 753"/>
                    <a:gd name="T84" fmla="*/ 1692 w 2115"/>
                    <a:gd name="T85" fmla="*/ 592 h 753"/>
                    <a:gd name="T86" fmla="*/ 1758 w 2115"/>
                    <a:gd name="T87" fmla="*/ 554 h 753"/>
                    <a:gd name="T88" fmla="*/ 1821 w 2115"/>
                    <a:gd name="T89" fmla="*/ 512 h 753"/>
                    <a:gd name="T90" fmla="*/ 1880 w 2115"/>
                    <a:gd name="T91" fmla="*/ 467 h 753"/>
                    <a:gd name="T92" fmla="*/ 1938 w 2115"/>
                    <a:gd name="T93" fmla="*/ 418 h 753"/>
                    <a:gd name="T94" fmla="*/ 1993 w 2115"/>
                    <a:gd name="T95" fmla="*/ 367 h 753"/>
                    <a:gd name="T96" fmla="*/ 2044 w 2115"/>
                    <a:gd name="T97" fmla="*/ 312 h 753"/>
                    <a:gd name="T98" fmla="*/ 2093 w 2115"/>
                    <a:gd name="T99" fmla="*/ 255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15" h="753">
                      <a:moveTo>
                        <a:pt x="2115" y="225"/>
                      </a:moveTo>
                      <a:lnTo>
                        <a:pt x="2115" y="225"/>
                      </a:lnTo>
                      <a:lnTo>
                        <a:pt x="2058" y="199"/>
                      </a:lnTo>
                      <a:lnTo>
                        <a:pt x="2000" y="174"/>
                      </a:lnTo>
                      <a:lnTo>
                        <a:pt x="1940" y="152"/>
                      </a:lnTo>
                      <a:lnTo>
                        <a:pt x="1878" y="129"/>
                      </a:lnTo>
                      <a:lnTo>
                        <a:pt x="1816" y="109"/>
                      </a:lnTo>
                      <a:lnTo>
                        <a:pt x="1752" y="91"/>
                      </a:lnTo>
                      <a:lnTo>
                        <a:pt x="1686" y="74"/>
                      </a:lnTo>
                      <a:lnTo>
                        <a:pt x="1621" y="59"/>
                      </a:lnTo>
                      <a:lnTo>
                        <a:pt x="1553" y="45"/>
                      </a:lnTo>
                      <a:lnTo>
                        <a:pt x="1485" y="33"/>
                      </a:lnTo>
                      <a:lnTo>
                        <a:pt x="1416" y="22"/>
                      </a:lnTo>
                      <a:lnTo>
                        <a:pt x="1346" y="14"/>
                      </a:lnTo>
                      <a:lnTo>
                        <a:pt x="1275" y="8"/>
                      </a:lnTo>
                      <a:lnTo>
                        <a:pt x="1204" y="3"/>
                      </a:lnTo>
                      <a:lnTo>
                        <a:pt x="1131" y="0"/>
                      </a:lnTo>
                      <a:lnTo>
                        <a:pt x="1058" y="0"/>
                      </a:lnTo>
                      <a:lnTo>
                        <a:pt x="1058" y="0"/>
                      </a:lnTo>
                      <a:lnTo>
                        <a:pt x="985" y="0"/>
                      </a:lnTo>
                      <a:lnTo>
                        <a:pt x="912" y="3"/>
                      </a:lnTo>
                      <a:lnTo>
                        <a:pt x="841" y="8"/>
                      </a:lnTo>
                      <a:lnTo>
                        <a:pt x="770" y="14"/>
                      </a:lnTo>
                      <a:lnTo>
                        <a:pt x="699" y="22"/>
                      </a:lnTo>
                      <a:lnTo>
                        <a:pt x="630" y="33"/>
                      </a:lnTo>
                      <a:lnTo>
                        <a:pt x="563" y="45"/>
                      </a:lnTo>
                      <a:lnTo>
                        <a:pt x="496" y="59"/>
                      </a:lnTo>
                      <a:lnTo>
                        <a:pt x="429" y="74"/>
                      </a:lnTo>
                      <a:lnTo>
                        <a:pt x="364" y="91"/>
                      </a:lnTo>
                      <a:lnTo>
                        <a:pt x="301" y="109"/>
                      </a:lnTo>
                      <a:lnTo>
                        <a:pt x="238" y="129"/>
                      </a:lnTo>
                      <a:lnTo>
                        <a:pt x="176" y="152"/>
                      </a:lnTo>
                      <a:lnTo>
                        <a:pt x="117" y="174"/>
                      </a:lnTo>
                      <a:lnTo>
                        <a:pt x="57" y="199"/>
                      </a:lnTo>
                      <a:lnTo>
                        <a:pt x="0" y="225"/>
                      </a:lnTo>
                      <a:lnTo>
                        <a:pt x="0" y="225"/>
                      </a:lnTo>
                      <a:lnTo>
                        <a:pt x="24" y="255"/>
                      </a:lnTo>
                      <a:lnTo>
                        <a:pt x="48" y="284"/>
                      </a:lnTo>
                      <a:lnTo>
                        <a:pt x="72" y="312"/>
                      </a:lnTo>
                      <a:lnTo>
                        <a:pt x="98" y="340"/>
                      </a:lnTo>
                      <a:lnTo>
                        <a:pt x="124" y="367"/>
                      </a:lnTo>
                      <a:lnTo>
                        <a:pt x="150" y="393"/>
                      </a:lnTo>
                      <a:lnTo>
                        <a:pt x="179" y="418"/>
                      </a:lnTo>
                      <a:lnTo>
                        <a:pt x="207" y="443"/>
                      </a:lnTo>
                      <a:lnTo>
                        <a:pt x="236" y="467"/>
                      </a:lnTo>
                      <a:lnTo>
                        <a:pt x="265" y="489"/>
                      </a:lnTo>
                      <a:lnTo>
                        <a:pt x="296" y="512"/>
                      </a:lnTo>
                      <a:lnTo>
                        <a:pt x="327" y="533"/>
                      </a:lnTo>
                      <a:lnTo>
                        <a:pt x="359" y="554"/>
                      </a:lnTo>
                      <a:lnTo>
                        <a:pt x="391" y="573"/>
                      </a:lnTo>
                      <a:lnTo>
                        <a:pt x="425" y="592"/>
                      </a:lnTo>
                      <a:lnTo>
                        <a:pt x="458" y="609"/>
                      </a:lnTo>
                      <a:lnTo>
                        <a:pt x="491" y="626"/>
                      </a:lnTo>
                      <a:lnTo>
                        <a:pt x="526" y="641"/>
                      </a:lnTo>
                      <a:lnTo>
                        <a:pt x="561" y="657"/>
                      </a:lnTo>
                      <a:lnTo>
                        <a:pt x="597" y="670"/>
                      </a:lnTo>
                      <a:lnTo>
                        <a:pt x="633" y="683"/>
                      </a:lnTo>
                      <a:lnTo>
                        <a:pt x="670" y="695"/>
                      </a:lnTo>
                      <a:lnTo>
                        <a:pt x="706" y="706"/>
                      </a:lnTo>
                      <a:lnTo>
                        <a:pt x="745" y="715"/>
                      </a:lnTo>
                      <a:lnTo>
                        <a:pt x="783" y="725"/>
                      </a:lnTo>
                      <a:lnTo>
                        <a:pt x="821" y="732"/>
                      </a:lnTo>
                      <a:lnTo>
                        <a:pt x="860" y="738"/>
                      </a:lnTo>
                      <a:lnTo>
                        <a:pt x="898" y="744"/>
                      </a:lnTo>
                      <a:lnTo>
                        <a:pt x="938" y="747"/>
                      </a:lnTo>
                      <a:lnTo>
                        <a:pt x="978" y="751"/>
                      </a:lnTo>
                      <a:lnTo>
                        <a:pt x="1018" y="752"/>
                      </a:lnTo>
                      <a:lnTo>
                        <a:pt x="1058" y="753"/>
                      </a:lnTo>
                      <a:lnTo>
                        <a:pt x="1058" y="753"/>
                      </a:lnTo>
                      <a:lnTo>
                        <a:pt x="1099" y="752"/>
                      </a:lnTo>
                      <a:lnTo>
                        <a:pt x="1138" y="751"/>
                      </a:lnTo>
                      <a:lnTo>
                        <a:pt x="1179" y="747"/>
                      </a:lnTo>
                      <a:lnTo>
                        <a:pt x="1218" y="744"/>
                      </a:lnTo>
                      <a:lnTo>
                        <a:pt x="1257" y="738"/>
                      </a:lnTo>
                      <a:lnTo>
                        <a:pt x="1295" y="732"/>
                      </a:lnTo>
                      <a:lnTo>
                        <a:pt x="1334" y="725"/>
                      </a:lnTo>
                      <a:lnTo>
                        <a:pt x="1372" y="715"/>
                      </a:lnTo>
                      <a:lnTo>
                        <a:pt x="1409" y="706"/>
                      </a:lnTo>
                      <a:lnTo>
                        <a:pt x="1446" y="695"/>
                      </a:lnTo>
                      <a:lnTo>
                        <a:pt x="1483" y="683"/>
                      </a:lnTo>
                      <a:lnTo>
                        <a:pt x="1519" y="670"/>
                      </a:lnTo>
                      <a:lnTo>
                        <a:pt x="1554" y="657"/>
                      </a:lnTo>
                      <a:lnTo>
                        <a:pt x="1590" y="641"/>
                      </a:lnTo>
                      <a:lnTo>
                        <a:pt x="1624" y="626"/>
                      </a:lnTo>
                      <a:lnTo>
                        <a:pt x="1659" y="609"/>
                      </a:lnTo>
                      <a:lnTo>
                        <a:pt x="1692" y="592"/>
                      </a:lnTo>
                      <a:lnTo>
                        <a:pt x="1725" y="573"/>
                      </a:lnTo>
                      <a:lnTo>
                        <a:pt x="1758" y="554"/>
                      </a:lnTo>
                      <a:lnTo>
                        <a:pt x="1789" y="533"/>
                      </a:lnTo>
                      <a:lnTo>
                        <a:pt x="1821" y="512"/>
                      </a:lnTo>
                      <a:lnTo>
                        <a:pt x="1850" y="489"/>
                      </a:lnTo>
                      <a:lnTo>
                        <a:pt x="1880" y="467"/>
                      </a:lnTo>
                      <a:lnTo>
                        <a:pt x="1910" y="443"/>
                      </a:lnTo>
                      <a:lnTo>
                        <a:pt x="1938" y="418"/>
                      </a:lnTo>
                      <a:lnTo>
                        <a:pt x="1966" y="393"/>
                      </a:lnTo>
                      <a:lnTo>
                        <a:pt x="1993" y="367"/>
                      </a:lnTo>
                      <a:lnTo>
                        <a:pt x="2019" y="340"/>
                      </a:lnTo>
                      <a:lnTo>
                        <a:pt x="2044" y="312"/>
                      </a:lnTo>
                      <a:lnTo>
                        <a:pt x="2069" y="284"/>
                      </a:lnTo>
                      <a:lnTo>
                        <a:pt x="2093" y="255"/>
                      </a:lnTo>
                      <a:lnTo>
                        <a:pt x="2115" y="225"/>
                      </a:lnTo>
                      <a:close/>
                    </a:path>
                  </a:pathLst>
                </a:custGeom>
                <a:solidFill>
                  <a:srgbClr val="D2E0B6"/>
                </a:solidFill>
                <a:ln>
                  <a:noFill/>
                </a:ln>
              </p:spPr>
              <p:txBody>
                <a:bodyPr vert="horz" wrap="square" lIns="91440" tIns="45720" rIns="91440" bIns="45720" numCol="1" anchor="t" anchorCtr="0" compatLnSpc="1">
                  <a:prstTxWarp prst="textNoShape">
                    <a:avLst/>
                  </a:prstTxWarp>
                </a:bodyPr>
                <a:lstStyle/>
                <a:p>
                  <a:endParaRPr lang="ko-KR" altLang="en-US" sz="2400"/>
                </a:p>
              </p:txBody>
            </p:sp>
            <p:sp>
              <p:nvSpPr>
                <p:cNvPr id="7454" name="Freeform 301"/>
                <p:cNvSpPr>
                  <a:spLocks/>
                </p:cNvSpPr>
                <p:nvPr userDrawn="1"/>
              </p:nvSpPr>
              <p:spPr bwMode="auto">
                <a:xfrm>
                  <a:off x="10759621" y="2431549"/>
                  <a:ext cx="1677988" cy="598488"/>
                </a:xfrm>
                <a:custGeom>
                  <a:avLst/>
                  <a:gdLst>
                    <a:gd name="T0" fmla="*/ 2115 w 2115"/>
                    <a:gd name="T1" fmla="*/ 225 h 753"/>
                    <a:gd name="T2" fmla="*/ 2000 w 2115"/>
                    <a:gd name="T3" fmla="*/ 174 h 753"/>
                    <a:gd name="T4" fmla="*/ 1878 w 2115"/>
                    <a:gd name="T5" fmla="*/ 129 h 753"/>
                    <a:gd name="T6" fmla="*/ 1752 w 2115"/>
                    <a:gd name="T7" fmla="*/ 91 h 753"/>
                    <a:gd name="T8" fmla="*/ 1621 w 2115"/>
                    <a:gd name="T9" fmla="*/ 59 h 753"/>
                    <a:gd name="T10" fmla="*/ 1485 w 2115"/>
                    <a:gd name="T11" fmla="*/ 33 h 753"/>
                    <a:gd name="T12" fmla="*/ 1346 w 2115"/>
                    <a:gd name="T13" fmla="*/ 14 h 753"/>
                    <a:gd name="T14" fmla="*/ 1204 w 2115"/>
                    <a:gd name="T15" fmla="*/ 3 h 753"/>
                    <a:gd name="T16" fmla="*/ 1058 w 2115"/>
                    <a:gd name="T17" fmla="*/ 0 h 753"/>
                    <a:gd name="T18" fmla="*/ 985 w 2115"/>
                    <a:gd name="T19" fmla="*/ 0 h 753"/>
                    <a:gd name="T20" fmla="*/ 841 w 2115"/>
                    <a:gd name="T21" fmla="*/ 8 h 753"/>
                    <a:gd name="T22" fmla="*/ 699 w 2115"/>
                    <a:gd name="T23" fmla="*/ 22 h 753"/>
                    <a:gd name="T24" fmla="*/ 563 w 2115"/>
                    <a:gd name="T25" fmla="*/ 45 h 753"/>
                    <a:gd name="T26" fmla="*/ 429 w 2115"/>
                    <a:gd name="T27" fmla="*/ 74 h 753"/>
                    <a:gd name="T28" fmla="*/ 301 w 2115"/>
                    <a:gd name="T29" fmla="*/ 109 h 753"/>
                    <a:gd name="T30" fmla="*/ 176 w 2115"/>
                    <a:gd name="T31" fmla="*/ 152 h 753"/>
                    <a:gd name="T32" fmla="*/ 57 w 2115"/>
                    <a:gd name="T33" fmla="*/ 199 h 753"/>
                    <a:gd name="T34" fmla="*/ 0 w 2115"/>
                    <a:gd name="T35" fmla="*/ 225 h 753"/>
                    <a:gd name="T36" fmla="*/ 48 w 2115"/>
                    <a:gd name="T37" fmla="*/ 284 h 753"/>
                    <a:gd name="T38" fmla="*/ 98 w 2115"/>
                    <a:gd name="T39" fmla="*/ 340 h 753"/>
                    <a:gd name="T40" fmla="*/ 150 w 2115"/>
                    <a:gd name="T41" fmla="*/ 393 h 753"/>
                    <a:gd name="T42" fmla="*/ 207 w 2115"/>
                    <a:gd name="T43" fmla="*/ 443 h 753"/>
                    <a:gd name="T44" fmla="*/ 265 w 2115"/>
                    <a:gd name="T45" fmla="*/ 489 h 753"/>
                    <a:gd name="T46" fmla="*/ 327 w 2115"/>
                    <a:gd name="T47" fmla="*/ 533 h 753"/>
                    <a:gd name="T48" fmla="*/ 391 w 2115"/>
                    <a:gd name="T49" fmla="*/ 573 h 753"/>
                    <a:gd name="T50" fmla="*/ 458 w 2115"/>
                    <a:gd name="T51" fmla="*/ 609 h 753"/>
                    <a:gd name="T52" fmla="*/ 526 w 2115"/>
                    <a:gd name="T53" fmla="*/ 641 h 753"/>
                    <a:gd name="T54" fmla="*/ 597 w 2115"/>
                    <a:gd name="T55" fmla="*/ 670 h 753"/>
                    <a:gd name="T56" fmla="*/ 670 w 2115"/>
                    <a:gd name="T57" fmla="*/ 695 h 753"/>
                    <a:gd name="T58" fmla="*/ 745 w 2115"/>
                    <a:gd name="T59" fmla="*/ 715 h 753"/>
                    <a:gd name="T60" fmla="*/ 821 w 2115"/>
                    <a:gd name="T61" fmla="*/ 732 h 753"/>
                    <a:gd name="T62" fmla="*/ 898 w 2115"/>
                    <a:gd name="T63" fmla="*/ 744 h 753"/>
                    <a:gd name="T64" fmla="*/ 978 w 2115"/>
                    <a:gd name="T65" fmla="*/ 751 h 753"/>
                    <a:gd name="T66" fmla="*/ 1058 w 2115"/>
                    <a:gd name="T67" fmla="*/ 753 h 753"/>
                    <a:gd name="T68" fmla="*/ 1099 w 2115"/>
                    <a:gd name="T69" fmla="*/ 752 h 753"/>
                    <a:gd name="T70" fmla="*/ 1179 w 2115"/>
                    <a:gd name="T71" fmla="*/ 747 h 753"/>
                    <a:gd name="T72" fmla="*/ 1257 w 2115"/>
                    <a:gd name="T73" fmla="*/ 738 h 753"/>
                    <a:gd name="T74" fmla="*/ 1334 w 2115"/>
                    <a:gd name="T75" fmla="*/ 725 h 753"/>
                    <a:gd name="T76" fmla="*/ 1409 w 2115"/>
                    <a:gd name="T77" fmla="*/ 706 h 753"/>
                    <a:gd name="T78" fmla="*/ 1483 w 2115"/>
                    <a:gd name="T79" fmla="*/ 683 h 753"/>
                    <a:gd name="T80" fmla="*/ 1554 w 2115"/>
                    <a:gd name="T81" fmla="*/ 657 h 753"/>
                    <a:gd name="T82" fmla="*/ 1624 w 2115"/>
                    <a:gd name="T83" fmla="*/ 626 h 753"/>
                    <a:gd name="T84" fmla="*/ 1692 w 2115"/>
                    <a:gd name="T85" fmla="*/ 592 h 753"/>
                    <a:gd name="T86" fmla="*/ 1758 w 2115"/>
                    <a:gd name="T87" fmla="*/ 554 h 753"/>
                    <a:gd name="T88" fmla="*/ 1821 w 2115"/>
                    <a:gd name="T89" fmla="*/ 512 h 753"/>
                    <a:gd name="T90" fmla="*/ 1880 w 2115"/>
                    <a:gd name="T91" fmla="*/ 467 h 753"/>
                    <a:gd name="T92" fmla="*/ 1938 w 2115"/>
                    <a:gd name="T93" fmla="*/ 418 h 753"/>
                    <a:gd name="T94" fmla="*/ 1993 w 2115"/>
                    <a:gd name="T95" fmla="*/ 367 h 753"/>
                    <a:gd name="T96" fmla="*/ 2044 w 2115"/>
                    <a:gd name="T97" fmla="*/ 312 h 753"/>
                    <a:gd name="T98" fmla="*/ 2093 w 2115"/>
                    <a:gd name="T99" fmla="*/ 255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15" h="753">
                      <a:moveTo>
                        <a:pt x="2115" y="225"/>
                      </a:moveTo>
                      <a:lnTo>
                        <a:pt x="2115" y="225"/>
                      </a:lnTo>
                      <a:lnTo>
                        <a:pt x="2058" y="199"/>
                      </a:lnTo>
                      <a:lnTo>
                        <a:pt x="2000" y="174"/>
                      </a:lnTo>
                      <a:lnTo>
                        <a:pt x="1940" y="152"/>
                      </a:lnTo>
                      <a:lnTo>
                        <a:pt x="1878" y="129"/>
                      </a:lnTo>
                      <a:lnTo>
                        <a:pt x="1816" y="109"/>
                      </a:lnTo>
                      <a:lnTo>
                        <a:pt x="1752" y="91"/>
                      </a:lnTo>
                      <a:lnTo>
                        <a:pt x="1686" y="74"/>
                      </a:lnTo>
                      <a:lnTo>
                        <a:pt x="1621" y="59"/>
                      </a:lnTo>
                      <a:lnTo>
                        <a:pt x="1553" y="45"/>
                      </a:lnTo>
                      <a:lnTo>
                        <a:pt x="1485" y="33"/>
                      </a:lnTo>
                      <a:lnTo>
                        <a:pt x="1416" y="22"/>
                      </a:lnTo>
                      <a:lnTo>
                        <a:pt x="1346" y="14"/>
                      </a:lnTo>
                      <a:lnTo>
                        <a:pt x="1275" y="8"/>
                      </a:lnTo>
                      <a:lnTo>
                        <a:pt x="1204" y="3"/>
                      </a:lnTo>
                      <a:lnTo>
                        <a:pt x="1131" y="0"/>
                      </a:lnTo>
                      <a:lnTo>
                        <a:pt x="1058" y="0"/>
                      </a:lnTo>
                      <a:lnTo>
                        <a:pt x="1058" y="0"/>
                      </a:lnTo>
                      <a:lnTo>
                        <a:pt x="985" y="0"/>
                      </a:lnTo>
                      <a:lnTo>
                        <a:pt x="912" y="3"/>
                      </a:lnTo>
                      <a:lnTo>
                        <a:pt x="841" y="8"/>
                      </a:lnTo>
                      <a:lnTo>
                        <a:pt x="770" y="14"/>
                      </a:lnTo>
                      <a:lnTo>
                        <a:pt x="699" y="22"/>
                      </a:lnTo>
                      <a:lnTo>
                        <a:pt x="630" y="33"/>
                      </a:lnTo>
                      <a:lnTo>
                        <a:pt x="563" y="45"/>
                      </a:lnTo>
                      <a:lnTo>
                        <a:pt x="496" y="59"/>
                      </a:lnTo>
                      <a:lnTo>
                        <a:pt x="429" y="74"/>
                      </a:lnTo>
                      <a:lnTo>
                        <a:pt x="364" y="91"/>
                      </a:lnTo>
                      <a:lnTo>
                        <a:pt x="301" y="109"/>
                      </a:lnTo>
                      <a:lnTo>
                        <a:pt x="238" y="129"/>
                      </a:lnTo>
                      <a:lnTo>
                        <a:pt x="176" y="152"/>
                      </a:lnTo>
                      <a:lnTo>
                        <a:pt x="117" y="174"/>
                      </a:lnTo>
                      <a:lnTo>
                        <a:pt x="57" y="199"/>
                      </a:lnTo>
                      <a:lnTo>
                        <a:pt x="0" y="225"/>
                      </a:lnTo>
                      <a:lnTo>
                        <a:pt x="0" y="225"/>
                      </a:lnTo>
                      <a:lnTo>
                        <a:pt x="24" y="255"/>
                      </a:lnTo>
                      <a:lnTo>
                        <a:pt x="48" y="284"/>
                      </a:lnTo>
                      <a:lnTo>
                        <a:pt x="72" y="312"/>
                      </a:lnTo>
                      <a:lnTo>
                        <a:pt x="98" y="340"/>
                      </a:lnTo>
                      <a:lnTo>
                        <a:pt x="124" y="367"/>
                      </a:lnTo>
                      <a:lnTo>
                        <a:pt x="150" y="393"/>
                      </a:lnTo>
                      <a:lnTo>
                        <a:pt x="179" y="418"/>
                      </a:lnTo>
                      <a:lnTo>
                        <a:pt x="207" y="443"/>
                      </a:lnTo>
                      <a:lnTo>
                        <a:pt x="236" y="467"/>
                      </a:lnTo>
                      <a:lnTo>
                        <a:pt x="265" y="489"/>
                      </a:lnTo>
                      <a:lnTo>
                        <a:pt x="296" y="512"/>
                      </a:lnTo>
                      <a:lnTo>
                        <a:pt x="327" y="533"/>
                      </a:lnTo>
                      <a:lnTo>
                        <a:pt x="359" y="554"/>
                      </a:lnTo>
                      <a:lnTo>
                        <a:pt x="391" y="573"/>
                      </a:lnTo>
                      <a:lnTo>
                        <a:pt x="425" y="592"/>
                      </a:lnTo>
                      <a:lnTo>
                        <a:pt x="458" y="609"/>
                      </a:lnTo>
                      <a:lnTo>
                        <a:pt x="491" y="626"/>
                      </a:lnTo>
                      <a:lnTo>
                        <a:pt x="526" y="641"/>
                      </a:lnTo>
                      <a:lnTo>
                        <a:pt x="561" y="657"/>
                      </a:lnTo>
                      <a:lnTo>
                        <a:pt x="597" y="670"/>
                      </a:lnTo>
                      <a:lnTo>
                        <a:pt x="633" y="683"/>
                      </a:lnTo>
                      <a:lnTo>
                        <a:pt x="670" y="695"/>
                      </a:lnTo>
                      <a:lnTo>
                        <a:pt x="706" y="706"/>
                      </a:lnTo>
                      <a:lnTo>
                        <a:pt x="745" y="715"/>
                      </a:lnTo>
                      <a:lnTo>
                        <a:pt x="783" y="725"/>
                      </a:lnTo>
                      <a:lnTo>
                        <a:pt x="821" y="732"/>
                      </a:lnTo>
                      <a:lnTo>
                        <a:pt x="860" y="738"/>
                      </a:lnTo>
                      <a:lnTo>
                        <a:pt x="898" y="744"/>
                      </a:lnTo>
                      <a:lnTo>
                        <a:pt x="938" y="747"/>
                      </a:lnTo>
                      <a:lnTo>
                        <a:pt x="978" y="751"/>
                      </a:lnTo>
                      <a:lnTo>
                        <a:pt x="1018" y="752"/>
                      </a:lnTo>
                      <a:lnTo>
                        <a:pt x="1058" y="753"/>
                      </a:lnTo>
                      <a:lnTo>
                        <a:pt x="1058" y="753"/>
                      </a:lnTo>
                      <a:lnTo>
                        <a:pt x="1099" y="752"/>
                      </a:lnTo>
                      <a:lnTo>
                        <a:pt x="1138" y="751"/>
                      </a:lnTo>
                      <a:lnTo>
                        <a:pt x="1179" y="747"/>
                      </a:lnTo>
                      <a:lnTo>
                        <a:pt x="1218" y="744"/>
                      </a:lnTo>
                      <a:lnTo>
                        <a:pt x="1257" y="738"/>
                      </a:lnTo>
                      <a:lnTo>
                        <a:pt x="1295" y="732"/>
                      </a:lnTo>
                      <a:lnTo>
                        <a:pt x="1334" y="725"/>
                      </a:lnTo>
                      <a:lnTo>
                        <a:pt x="1372" y="715"/>
                      </a:lnTo>
                      <a:lnTo>
                        <a:pt x="1409" y="706"/>
                      </a:lnTo>
                      <a:lnTo>
                        <a:pt x="1446" y="695"/>
                      </a:lnTo>
                      <a:lnTo>
                        <a:pt x="1483" y="683"/>
                      </a:lnTo>
                      <a:lnTo>
                        <a:pt x="1519" y="670"/>
                      </a:lnTo>
                      <a:lnTo>
                        <a:pt x="1554" y="657"/>
                      </a:lnTo>
                      <a:lnTo>
                        <a:pt x="1590" y="641"/>
                      </a:lnTo>
                      <a:lnTo>
                        <a:pt x="1624" y="626"/>
                      </a:lnTo>
                      <a:lnTo>
                        <a:pt x="1659" y="609"/>
                      </a:lnTo>
                      <a:lnTo>
                        <a:pt x="1692" y="592"/>
                      </a:lnTo>
                      <a:lnTo>
                        <a:pt x="1725" y="573"/>
                      </a:lnTo>
                      <a:lnTo>
                        <a:pt x="1758" y="554"/>
                      </a:lnTo>
                      <a:lnTo>
                        <a:pt x="1789" y="533"/>
                      </a:lnTo>
                      <a:lnTo>
                        <a:pt x="1821" y="512"/>
                      </a:lnTo>
                      <a:lnTo>
                        <a:pt x="1850" y="489"/>
                      </a:lnTo>
                      <a:lnTo>
                        <a:pt x="1880" y="467"/>
                      </a:lnTo>
                      <a:lnTo>
                        <a:pt x="1910" y="443"/>
                      </a:lnTo>
                      <a:lnTo>
                        <a:pt x="1938" y="418"/>
                      </a:lnTo>
                      <a:lnTo>
                        <a:pt x="1966" y="393"/>
                      </a:lnTo>
                      <a:lnTo>
                        <a:pt x="1993" y="367"/>
                      </a:lnTo>
                      <a:lnTo>
                        <a:pt x="2019" y="340"/>
                      </a:lnTo>
                      <a:lnTo>
                        <a:pt x="2044" y="312"/>
                      </a:lnTo>
                      <a:lnTo>
                        <a:pt x="2069" y="284"/>
                      </a:lnTo>
                      <a:lnTo>
                        <a:pt x="2093" y="255"/>
                      </a:lnTo>
                      <a:lnTo>
                        <a:pt x="2115" y="22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55" name="Freeform 302"/>
                <p:cNvSpPr>
                  <a:spLocks/>
                </p:cNvSpPr>
                <p:nvPr userDrawn="1"/>
              </p:nvSpPr>
              <p:spPr bwMode="auto">
                <a:xfrm>
                  <a:off x="11326358" y="2509336"/>
                  <a:ext cx="398463" cy="257175"/>
                </a:xfrm>
                <a:custGeom>
                  <a:avLst/>
                  <a:gdLst>
                    <a:gd name="T0" fmla="*/ 251 w 503"/>
                    <a:gd name="T1" fmla="*/ 0 h 325"/>
                    <a:gd name="T2" fmla="*/ 201 w 503"/>
                    <a:gd name="T3" fmla="*/ 2 h 325"/>
                    <a:gd name="T4" fmla="*/ 153 w 503"/>
                    <a:gd name="T5" fmla="*/ 12 h 325"/>
                    <a:gd name="T6" fmla="*/ 110 w 503"/>
                    <a:gd name="T7" fmla="*/ 27 h 325"/>
                    <a:gd name="T8" fmla="*/ 74 w 503"/>
                    <a:gd name="T9" fmla="*/ 48 h 325"/>
                    <a:gd name="T10" fmla="*/ 43 w 503"/>
                    <a:gd name="T11" fmla="*/ 71 h 325"/>
                    <a:gd name="T12" fmla="*/ 20 w 503"/>
                    <a:gd name="T13" fmla="*/ 99 h 325"/>
                    <a:gd name="T14" fmla="*/ 5 w 503"/>
                    <a:gd name="T15" fmla="*/ 130 h 325"/>
                    <a:gd name="T16" fmla="*/ 0 w 503"/>
                    <a:gd name="T17" fmla="*/ 162 h 325"/>
                    <a:gd name="T18" fmla="*/ 1 w 503"/>
                    <a:gd name="T19" fmla="*/ 178 h 325"/>
                    <a:gd name="T20" fmla="*/ 12 w 503"/>
                    <a:gd name="T21" fmla="*/ 210 h 325"/>
                    <a:gd name="T22" fmla="*/ 31 w 503"/>
                    <a:gd name="T23" fmla="*/ 239 h 325"/>
                    <a:gd name="T24" fmla="*/ 57 w 503"/>
                    <a:gd name="T25" fmla="*/ 265 h 325"/>
                    <a:gd name="T26" fmla="*/ 91 w 503"/>
                    <a:gd name="T27" fmla="*/ 288 h 325"/>
                    <a:gd name="T28" fmla="*/ 132 w 503"/>
                    <a:gd name="T29" fmla="*/ 304 h 325"/>
                    <a:gd name="T30" fmla="*/ 177 w 503"/>
                    <a:gd name="T31" fmla="*/ 317 h 325"/>
                    <a:gd name="T32" fmla="*/ 226 w 503"/>
                    <a:gd name="T33" fmla="*/ 323 h 325"/>
                    <a:gd name="T34" fmla="*/ 251 w 503"/>
                    <a:gd name="T35" fmla="*/ 325 h 325"/>
                    <a:gd name="T36" fmla="*/ 302 w 503"/>
                    <a:gd name="T37" fmla="*/ 321 h 325"/>
                    <a:gd name="T38" fmla="*/ 349 w 503"/>
                    <a:gd name="T39" fmla="*/ 311 h 325"/>
                    <a:gd name="T40" fmla="*/ 392 w 503"/>
                    <a:gd name="T41" fmla="*/ 296 h 325"/>
                    <a:gd name="T42" fmla="*/ 429 w 503"/>
                    <a:gd name="T43" fmla="*/ 277 h 325"/>
                    <a:gd name="T44" fmla="*/ 460 w 503"/>
                    <a:gd name="T45" fmla="*/ 253 h 325"/>
                    <a:gd name="T46" fmla="*/ 483 w 503"/>
                    <a:gd name="T47" fmla="*/ 225 h 325"/>
                    <a:gd name="T48" fmla="*/ 497 w 503"/>
                    <a:gd name="T49" fmla="*/ 195 h 325"/>
                    <a:gd name="T50" fmla="*/ 503 w 503"/>
                    <a:gd name="T51" fmla="*/ 162 h 325"/>
                    <a:gd name="T52" fmla="*/ 502 w 503"/>
                    <a:gd name="T53" fmla="*/ 145 h 325"/>
                    <a:gd name="T54" fmla="*/ 491 w 503"/>
                    <a:gd name="T55" fmla="*/ 114 h 325"/>
                    <a:gd name="T56" fmla="*/ 472 w 503"/>
                    <a:gd name="T57" fmla="*/ 84 h 325"/>
                    <a:gd name="T58" fmla="*/ 445 w 503"/>
                    <a:gd name="T59" fmla="*/ 58 h 325"/>
                    <a:gd name="T60" fmla="*/ 411 w 503"/>
                    <a:gd name="T61" fmla="*/ 37 h 325"/>
                    <a:gd name="T62" fmla="*/ 371 w 503"/>
                    <a:gd name="T63" fmla="*/ 19 h 325"/>
                    <a:gd name="T64" fmla="*/ 326 w 503"/>
                    <a:gd name="T65" fmla="*/ 7 h 325"/>
                    <a:gd name="T66" fmla="*/ 277 w 503"/>
                    <a:gd name="T67" fmla="*/ 0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3" h="325">
                      <a:moveTo>
                        <a:pt x="251" y="0"/>
                      </a:moveTo>
                      <a:lnTo>
                        <a:pt x="251" y="0"/>
                      </a:lnTo>
                      <a:lnTo>
                        <a:pt x="226" y="0"/>
                      </a:lnTo>
                      <a:lnTo>
                        <a:pt x="201" y="2"/>
                      </a:lnTo>
                      <a:lnTo>
                        <a:pt x="177" y="7"/>
                      </a:lnTo>
                      <a:lnTo>
                        <a:pt x="153" y="12"/>
                      </a:lnTo>
                      <a:lnTo>
                        <a:pt x="132" y="19"/>
                      </a:lnTo>
                      <a:lnTo>
                        <a:pt x="110" y="27"/>
                      </a:lnTo>
                      <a:lnTo>
                        <a:pt x="91" y="37"/>
                      </a:lnTo>
                      <a:lnTo>
                        <a:pt x="74" y="48"/>
                      </a:lnTo>
                      <a:lnTo>
                        <a:pt x="57" y="58"/>
                      </a:lnTo>
                      <a:lnTo>
                        <a:pt x="43" y="71"/>
                      </a:lnTo>
                      <a:lnTo>
                        <a:pt x="31" y="84"/>
                      </a:lnTo>
                      <a:lnTo>
                        <a:pt x="20" y="99"/>
                      </a:lnTo>
                      <a:lnTo>
                        <a:pt x="12" y="114"/>
                      </a:lnTo>
                      <a:lnTo>
                        <a:pt x="5" y="130"/>
                      </a:lnTo>
                      <a:lnTo>
                        <a:pt x="1" y="145"/>
                      </a:lnTo>
                      <a:lnTo>
                        <a:pt x="0" y="162"/>
                      </a:lnTo>
                      <a:lnTo>
                        <a:pt x="0" y="162"/>
                      </a:lnTo>
                      <a:lnTo>
                        <a:pt x="1" y="178"/>
                      </a:lnTo>
                      <a:lnTo>
                        <a:pt x="5" y="195"/>
                      </a:lnTo>
                      <a:lnTo>
                        <a:pt x="12" y="210"/>
                      </a:lnTo>
                      <a:lnTo>
                        <a:pt x="20" y="225"/>
                      </a:lnTo>
                      <a:lnTo>
                        <a:pt x="31" y="239"/>
                      </a:lnTo>
                      <a:lnTo>
                        <a:pt x="43" y="253"/>
                      </a:lnTo>
                      <a:lnTo>
                        <a:pt x="57" y="265"/>
                      </a:lnTo>
                      <a:lnTo>
                        <a:pt x="74" y="277"/>
                      </a:lnTo>
                      <a:lnTo>
                        <a:pt x="91" y="288"/>
                      </a:lnTo>
                      <a:lnTo>
                        <a:pt x="110" y="296"/>
                      </a:lnTo>
                      <a:lnTo>
                        <a:pt x="132" y="304"/>
                      </a:lnTo>
                      <a:lnTo>
                        <a:pt x="153" y="311"/>
                      </a:lnTo>
                      <a:lnTo>
                        <a:pt x="177" y="317"/>
                      </a:lnTo>
                      <a:lnTo>
                        <a:pt x="201" y="321"/>
                      </a:lnTo>
                      <a:lnTo>
                        <a:pt x="226" y="323"/>
                      </a:lnTo>
                      <a:lnTo>
                        <a:pt x="251" y="325"/>
                      </a:lnTo>
                      <a:lnTo>
                        <a:pt x="251" y="325"/>
                      </a:lnTo>
                      <a:lnTo>
                        <a:pt x="277" y="323"/>
                      </a:lnTo>
                      <a:lnTo>
                        <a:pt x="302" y="321"/>
                      </a:lnTo>
                      <a:lnTo>
                        <a:pt x="326" y="317"/>
                      </a:lnTo>
                      <a:lnTo>
                        <a:pt x="349" y="311"/>
                      </a:lnTo>
                      <a:lnTo>
                        <a:pt x="371" y="304"/>
                      </a:lnTo>
                      <a:lnTo>
                        <a:pt x="392" y="296"/>
                      </a:lnTo>
                      <a:lnTo>
                        <a:pt x="411" y="288"/>
                      </a:lnTo>
                      <a:lnTo>
                        <a:pt x="429" y="277"/>
                      </a:lnTo>
                      <a:lnTo>
                        <a:pt x="445" y="265"/>
                      </a:lnTo>
                      <a:lnTo>
                        <a:pt x="460" y="253"/>
                      </a:lnTo>
                      <a:lnTo>
                        <a:pt x="472" y="239"/>
                      </a:lnTo>
                      <a:lnTo>
                        <a:pt x="483" y="225"/>
                      </a:lnTo>
                      <a:lnTo>
                        <a:pt x="491" y="210"/>
                      </a:lnTo>
                      <a:lnTo>
                        <a:pt x="497" y="195"/>
                      </a:lnTo>
                      <a:lnTo>
                        <a:pt x="502" y="178"/>
                      </a:lnTo>
                      <a:lnTo>
                        <a:pt x="503" y="162"/>
                      </a:lnTo>
                      <a:lnTo>
                        <a:pt x="503" y="162"/>
                      </a:lnTo>
                      <a:lnTo>
                        <a:pt x="502" y="145"/>
                      </a:lnTo>
                      <a:lnTo>
                        <a:pt x="497" y="130"/>
                      </a:lnTo>
                      <a:lnTo>
                        <a:pt x="491" y="114"/>
                      </a:lnTo>
                      <a:lnTo>
                        <a:pt x="483" y="99"/>
                      </a:lnTo>
                      <a:lnTo>
                        <a:pt x="472" y="84"/>
                      </a:lnTo>
                      <a:lnTo>
                        <a:pt x="460" y="71"/>
                      </a:lnTo>
                      <a:lnTo>
                        <a:pt x="445" y="58"/>
                      </a:lnTo>
                      <a:lnTo>
                        <a:pt x="429" y="48"/>
                      </a:lnTo>
                      <a:lnTo>
                        <a:pt x="411" y="37"/>
                      </a:lnTo>
                      <a:lnTo>
                        <a:pt x="392" y="27"/>
                      </a:lnTo>
                      <a:lnTo>
                        <a:pt x="371" y="19"/>
                      </a:lnTo>
                      <a:lnTo>
                        <a:pt x="349" y="12"/>
                      </a:lnTo>
                      <a:lnTo>
                        <a:pt x="326" y="7"/>
                      </a:lnTo>
                      <a:lnTo>
                        <a:pt x="302" y="2"/>
                      </a:lnTo>
                      <a:lnTo>
                        <a:pt x="277" y="0"/>
                      </a:lnTo>
                      <a:lnTo>
                        <a:pt x="251" y="0"/>
                      </a:lnTo>
                      <a:close/>
                    </a:path>
                  </a:pathLst>
                </a:custGeom>
                <a:solidFill>
                  <a:srgbClr val="C2CF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56" name="Freeform 303"/>
                <p:cNvSpPr>
                  <a:spLocks/>
                </p:cNvSpPr>
                <p:nvPr userDrawn="1"/>
              </p:nvSpPr>
              <p:spPr bwMode="auto">
                <a:xfrm>
                  <a:off x="11326358" y="2509336"/>
                  <a:ext cx="398463" cy="257175"/>
                </a:xfrm>
                <a:custGeom>
                  <a:avLst/>
                  <a:gdLst>
                    <a:gd name="T0" fmla="*/ 251 w 503"/>
                    <a:gd name="T1" fmla="*/ 0 h 325"/>
                    <a:gd name="T2" fmla="*/ 201 w 503"/>
                    <a:gd name="T3" fmla="*/ 2 h 325"/>
                    <a:gd name="T4" fmla="*/ 153 w 503"/>
                    <a:gd name="T5" fmla="*/ 12 h 325"/>
                    <a:gd name="T6" fmla="*/ 110 w 503"/>
                    <a:gd name="T7" fmla="*/ 27 h 325"/>
                    <a:gd name="T8" fmla="*/ 74 w 503"/>
                    <a:gd name="T9" fmla="*/ 48 h 325"/>
                    <a:gd name="T10" fmla="*/ 43 w 503"/>
                    <a:gd name="T11" fmla="*/ 71 h 325"/>
                    <a:gd name="T12" fmla="*/ 20 w 503"/>
                    <a:gd name="T13" fmla="*/ 99 h 325"/>
                    <a:gd name="T14" fmla="*/ 5 w 503"/>
                    <a:gd name="T15" fmla="*/ 130 h 325"/>
                    <a:gd name="T16" fmla="*/ 0 w 503"/>
                    <a:gd name="T17" fmla="*/ 162 h 325"/>
                    <a:gd name="T18" fmla="*/ 1 w 503"/>
                    <a:gd name="T19" fmla="*/ 178 h 325"/>
                    <a:gd name="T20" fmla="*/ 12 w 503"/>
                    <a:gd name="T21" fmla="*/ 210 h 325"/>
                    <a:gd name="T22" fmla="*/ 31 w 503"/>
                    <a:gd name="T23" fmla="*/ 239 h 325"/>
                    <a:gd name="T24" fmla="*/ 57 w 503"/>
                    <a:gd name="T25" fmla="*/ 265 h 325"/>
                    <a:gd name="T26" fmla="*/ 91 w 503"/>
                    <a:gd name="T27" fmla="*/ 288 h 325"/>
                    <a:gd name="T28" fmla="*/ 132 w 503"/>
                    <a:gd name="T29" fmla="*/ 304 h 325"/>
                    <a:gd name="T30" fmla="*/ 177 w 503"/>
                    <a:gd name="T31" fmla="*/ 317 h 325"/>
                    <a:gd name="T32" fmla="*/ 226 w 503"/>
                    <a:gd name="T33" fmla="*/ 323 h 325"/>
                    <a:gd name="T34" fmla="*/ 251 w 503"/>
                    <a:gd name="T35" fmla="*/ 325 h 325"/>
                    <a:gd name="T36" fmla="*/ 302 w 503"/>
                    <a:gd name="T37" fmla="*/ 321 h 325"/>
                    <a:gd name="T38" fmla="*/ 349 w 503"/>
                    <a:gd name="T39" fmla="*/ 311 h 325"/>
                    <a:gd name="T40" fmla="*/ 392 w 503"/>
                    <a:gd name="T41" fmla="*/ 296 h 325"/>
                    <a:gd name="T42" fmla="*/ 429 w 503"/>
                    <a:gd name="T43" fmla="*/ 277 h 325"/>
                    <a:gd name="T44" fmla="*/ 460 w 503"/>
                    <a:gd name="T45" fmla="*/ 253 h 325"/>
                    <a:gd name="T46" fmla="*/ 483 w 503"/>
                    <a:gd name="T47" fmla="*/ 225 h 325"/>
                    <a:gd name="T48" fmla="*/ 497 w 503"/>
                    <a:gd name="T49" fmla="*/ 195 h 325"/>
                    <a:gd name="T50" fmla="*/ 503 w 503"/>
                    <a:gd name="T51" fmla="*/ 162 h 325"/>
                    <a:gd name="T52" fmla="*/ 502 w 503"/>
                    <a:gd name="T53" fmla="*/ 145 h 325"/>
                    <a:gd name="T54" fmla="*/ 491 w 503"/>
                    <a:gd name="T55" fmla="*/ 114 h 325"/>
                    <a:gd name="T56" fmla="*/ 472 w 503"/>
                    <a:gd name="T57" fmla="*/ 84 h 325"/>
                    <a:gd name="T58" fmla="*/ 445 w 503"/>
                    <a:gd name="T59" fmla="*/ 58 h 325"/>
                    <a:gd name="T60" fmla="*/ 411 w 503"/>
                    <a:gd name="T61" fmla="*/ 37 h 325"/>
                    <a:gd name="T62" fmla="*/ 371 w 503"/>
                    <a:gd name="T63" fmla="*/ 19 h 325"/>
                    <a:gd name="T64" fmla="*/ 326 w 503"/>
                    <a:gd name="T65" fmla="*/ 7 h 325"/>
                    <a:gd name="T66" fmla="*/ 277 w 503"/>
                    <a:gd name="T67" fmla="*/ 0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3" h="325">
                      <a:moveTo>
                        <a:pt x="251" y="0"/>
                      </a:moveTo>
                      <a:lnTo>
                        <a:pt x="251" y="0"/>
                      </a:lnTo>
                      <a:lnTo>
                        <a:pt x="226" y="0"/>
                      </a:lnTo>
                      <a:lnTo>
                        <a:pt x="201" y="2"/>
                      </a:lnTo>
                      <a:lnTo>
                        <a:pt x="177" y="7"/>
                      </a:lnTo>
                      <a:lnTo>
                        <a:pt x="153" y="12"/>
                      </a:lnTo>
                      <a:lnTo>
                        <a:pt x="132" y="19"/>
                      </a:lnTo>
                      <a:lnTo>
                        <a:pt x="110" y="27"/>
                      </a:lnTo>
                      <a:lnTo>
                        <a:pt x="91" y="37"/>
                      </a:lnTo>
                      <a:lnTo>
                        <a:pt x="74" y="48"/>
                      </a:lnTo>
                      <a:lnTo>
                        <a:pt x="57" y="58"/>
                      </a:lnTo>
                      <a:lnTo>
                        <a:pt x="43" y="71"/>
                      </a:lnTo>
                      <a:lnTo>
                        <a:pt x="31" y="84"/>
                      </a:lnTo>
                      <a:lnTo>
                        <a:pt x="20" y="99"/>
                      </a:lnTo>
                      <a:lnTo>
                        <a:pt x="12" y="114"/>
                      </a:lnTo>
                      <a:lnTo>
                        <a:pt x="5" y="130"/>
                      </a:lnTo>
                      <a:lnTo>
                        <a:pt x="1" y="145"/>
                      </a:lnTo>
                      <a:lnTo>
                        <a:pt x="0" y="162"/>
                      </a:lnTo>
                      <a:lnTo>
                        <a:pt x="0" y="162"/>
                      </a:lnTo>
                      <a:lnTo>
                        <a:pt x="1" y="178"/>
                      </a:lnTo>
                      <a:lnTo>
                        <a:pt x="5" y="195"/>
                      </a:lnTo>
                      <a:lnTo>
                        <a:pt x="12" y="210"/>
                      </a:lnTo>
                      <a:lnTo>
                        <a:pt x="20" y="225"/>
                      </a:lnTo>
                      <a:lnTo>
                        <a:pt x="31" y="239"/>
                      </a:lnTo>
                      <a:lnTo>
                        <a:pt x="43" y="253"/>
                      </a:lnTo>
                      <a:lnTo>
                        <a:pt x="57" y="265"/>
                      </a:lnTo>
                      <a:lnTo>
                        <a:pt x="74" y="277"/>
                      </a:lnTo>
                      <a:lnTo>
                        <a:pt x="91" y="288"/>
                      </a:lnTo>
                      <a:lnTo>
                        <a:pt x="110" y="296"/>
                      </a:lnTo>
                      <a:lnTo>
                        <a:pt x="132" y="304"/>
                      </a:lnTo>
                      <a:lnTo>
                        <a:pt x="153" y="311"/>
                      </a:lnTo>
                      <a:lnTo>
                        <a:pt x="177" y="317"/>
                      </a:lnTo>
                      <a:lnTo>
                        <a:pt x="201" y="321"/>
                      </a:lnTo>
                      <a:lnTo>
                        <a:pt x="226" y="323"/>
                      </a:lnTo>
                      <a:lnTo>
                        <a:pt x="251" y="325"/>
                      </a:lnTo>
                      <a:lnTo>
                        <a:pt x="251" y="325"/>
                      </a:lnTo>
                      <a:lnTo>
                        <a:pt x="277" y="323"/>
                      </a:lnTo>
                      <a:lnTo>
                        <a:pt x="302" y="321"/>
                      </a:lnTo>
                      <a:lnTo>
                        <a:pt x="326" y="317"/>
                      </a:lnTo>
                      <a:lnTo>
                        <a:pt x="349" y="311"/>
                      </a:lnTo>
                      <a:lnTo>
                        <a:pt x="371" y="304"/>
                      </a:lnTo>
                      <a:lnTo>
                        <a:pt x="392" y="296"/>
                      </a:lnTo>
                      <a:lnTo>
                        <a:pt x="411" y="288"/>
                      </a:lnTo>
                      <a:lnTo>
                        <a:pt x="429" y="277"/>
                      </a:lnTo>
                      <a:lnTo>
                        <a:pt x="445" y="265"/>
                      </a:lnTo>
                      <a:lnTo>
                        <a:pt x="460" y="253"/>
                      </a:lnTo>
                      <a:lnTo>
                        <a:pt x="472" y="239"/>
                      </a:lnTo>
                      <a:lnTo>
                        <a:pt x="483" y="225"/>
                      </a:lnTo>
                      <a:lnTo>
                        <a:pt x="491" y="210"/>
                      </a:lnTo>
                      <a:lnTo>
                        <a:pt x="497" y="195"/>
                      </a:lnTo>
                      <a:lnTo>
                        <a:pt x="502" y="178"/>
                      </a:lnTo>
                      <a:lnTo>
                        <a:pt x="503" y="162"/>
                      </a:lnTo>
                      <a:lnTo>
                        <a:pt x="503" y="162"/>
                      </a:lnTo>
                      <a:lnTo>
                        <a:pt x="502" y="145"/>
                      </a:lnTo>
                      <a:lnTo>
                        <a:pt x="497" y="130"/>
                      </a:lnTo>
                      <a:lnTo>
                        <a:pt x="491" y="114"/>
                      </a:lnTo>
                      <a:lnTo>
                        <a:pt x="483" y="99"/>
                      </a:lnTo>
                      <a:lnTo>
                        <a:pt x="472" y="84"/>
                      </a:lnTo>
                      <a:lnTo>
                        <a:pt x="460" y="71"/>
                      </a:lnTo>
                      <a:lnTo>
                        <a:pt x="445" y="58"/>
                      </a:lnTo>
                      <a:lnTo>
                        <a:pt x="429" y="48"/>
                      </a:lnTo>
                      <a:lnTo>
                        <a:pt x="411" y="37"/>
                      </a:lnTo>
                      <a:lnTo>
                        <a:pt x="392" y="27"/>
                      </a:lnTo>
                      <a:lnTo>
                        <a:pt x="371" y="19"/>
                      </a:lnTo>
                      <a:lnTo>
                        <a:pt x="349" y="12"/>
                      </a:lnTo>
                      <a:lnTo>
                        <a:pt x="326" y="7"/>
                      </a:lnTo>
                      <a:lnTo>
                        <a:pt x="302" y="2"/>
                      </a:lnTo>
                      <a:lnTo>
                        <a:pt x="277" y="0"/>
                      </a:lnTo>
                      <a:lnTo>
                        <a:pt x="25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58" name="Freeform 305"/>
                <p:cNvSpPr>
                  <a:spLocks/>
                </p:cNvSpPr>
                <p:nvPr userDrawn="1"/>
              </p:nvSpPr>
              <p:spPr bwMode="auto">
                <a:xfrm>
                  <a:off x="10859633" y="2691899"/>
                  <a:ext cx="276225" cy="203200"/>
                </a:xfrm>
                <a:custGeom>
                  <a:avLst/>
                  <a:gdLst>
                    <a:gd name="T0" fmla="*/ 167 w 349"/>
                    <a:gd name="T1" fmla="*/ 0 h 255"/>
                    <a:gd name="T2" fmla="*/ 167 w 349"/>
                    <a:gd name="T3" fmla="*/ 0 h 255"/>
                    <a:gd name="T4" fmla="*/ 139 w 349"/>
                    <a:gd name="T5" fmla="*/ 1 h 255"/>
                    <a:gd name="T6" fmla="*/ 112 w 349"/>
                    <a:gd name="T7" fmla="*/ 4 h 255"/>
                    <a:gd name="T8" fmla="*/ 83 w 349"/>
                    <a:gd name="T9" fmla="*/ 10 h 255"/>
                    <a:gd name="T10" fmla="*/ 55 w 349"/>
                    <a:gd name="T11" fmla="*/ 19 h 255"/>
                    <a:gd name="T12" fmla="*/ 55 w 349"/>
                    <a:gd name="T13" fmla="*/ 19 h 255"/>
                    <a:gd name="T14" fmla="*/ 28 w 349"/>
                    <a:gd name="T15" fmla="*/ 28 h 255"/>
                    <a:gd name="T16" fmla="*/ 0 w 349"/>
                    <a:gd name="T17" fmla="*/ 41 h 255"/>
                    <a:gd name="T18" fmla="*/ 0 w 349"/>
                    <a:gd name="T19" fmla="*/ 41 h 255"/>
                    <a:gd name="T20" fmla="*/ 32 w 349"/>
                    <a:gd name="T21" fmla="*/ 71 h 255"/>
                    <a:gd name="T22" fmla="*/ 66 w 349"/>
                    <a:gd name="T23" fmla="*/ 101 h 255"/>
                    <a:gd name="T24" fmla="*/ 99 w 349"/>
                    <a:gd name="T25" fmla="*/ 129 h 255"/>
                    <a:gd name="T26" fmla="*/ 135 w 349"/>
                    <a:gd name="T27" fmla="*/ 157 h 255"/>
                    <a:gd name="T28" fmla="*/ 170 w 349"/>
                    <a:gd name="T29" fmla="*/ 184 h 255"/>
                    <a:gd name="T30" fmla="*/ 207 w 349"/>
                    <a:gd name="T31" fmla="*/ 209 h 255"/>
                    <a:gd name="T32" fmla="*/ 245 w 349"/>
                    <a:gd name="T33" fmla="*/ 233 h 255"/>
                    <a:gd name="T34" fmla="*/ 283 w 349"/>
                    <a:gd name="T35" fmla="*/ 255 h 255"/>
                    <a:gd name="T36" fmla="*/ 283 w 349"/>
                    <a:gd name="T37" fmla="*/ 255 h 255"/>
                    <a:gd name="T38" fmla="*/ 301 w 349"/>
                    <a:gd name="T39" fmla="*/ 236 h 255"/>
                    <a:gd name="T40" fmla="*/ 318 w 349"/>
                    <a:gd name="T41" fmla="*/ 217 h 255"/>
                    <a:gd name="T42" fmla="*/ 330 w 349"/>
                    <a:gd name="T43" fmla="*/ 197 h 255"/>
                    <a:gd name="T44" fmla="*/ 336 w 349"/>
                    <a:gd name="T45" fmla="*/ 187 h 255"/>
                    <a:gd name="T46" fmla="*/ 339 w 349"/>
                    <a:gd name="T47" fmla="*/ 177 h 255"/>
                    <a:gd name="T48" fmla="*/ 343 w 349"/>
                    <a:gd name="T49" fmla="*/ 167 h 255"/>
                    <a:gd name="T50" fmla="*/ 346 w 349"/>
                    <a:gd name="T51" fmla="*/ 157 h 255"/>
                    <a:gd name="T52" fmla="*/ 347 w 349"/>
                    <a:gd name="T53" fmla="*/ 146 h 255"/>
                    <a:gd name="T54" fmla="*/ 349 w 349"/>
                    <a:gd name="T55" fmla="*/ 136 h 255"/>
                    <a:gd name="T56" fmla="*/ 349 w 349"/>
                    <a:gd name="T57" fmla="*/ 126 h 255"/>
                    <a:gd name="T58" fmla="*/ 349 w 349"/>
                    <a:gd name="T59" fmla="*/ 116 h 255"/>
                    <a:gd name="T60" fmla="*/ 346 w 349"/>
                    <a:gd name="T61" fmla="*/ 105 h 255"/>
                    <a:gd name="T62" fmla="*/ 344 w 349"/>
                    <a:gd name="T63" fmla="*/ 96 h 255"/>
                    <a:gd name="T64" fmla="*/ 344 w 349"/>
                    <a:gd name="T65" fmla="*/ 96 h 255"/>
                    <a:gd name="T66" fmla="*/ 340 w 349"/>
                    <a:gd name="T67" fmla="*/ 85 h 255"/>
                    <a:gd name="T68" fmla="*/ 334 w 349"/>
                    <a:gd name="T69" fmla="*/ 75 h 255"/>
                    <a:gd name="T70" fmla="*/ 328 w 349"/>
                    <a:gd name="T71" fmla="*/ 65 h 255"/>
                    <a:gd name="T72" fmla="*/ 320 w 349"/>
                    <a:gd name="T73" fmla="*/ 56 h 255"/>
                    <a:gd name="T74" fmla="*/ 312 w 349"/>
                    <a:gd name="T75" fmla="*/ 47 h 255"/>
                    <a:gd name="T76" fmla="*/ 302 w 349"/>
                    <a:gd name="T77" fmla="*/ 39 h 255"/>
                    <a:gd name="T78" fmla="*/ 292 w 349"/>
                    <a:gd name="T79" fmla="*/ 32 h 255"/>
                    <a:gd name="T80" fmla="*/ 281 w 349"/>
                    <a:gd name="T81" fmla="*/ 26 h 255"/>
                    <a:gd name="T82" fmla="*/ 269 w 349"/>
                    <a:gd name="T83" fmla="*/ 20 h 255"/>
                    <a:gd name="T84" fmla="*/ 256 w 349"/>
                    <a:gd name="T85" fmla="*/ 15 h 255"/>
                    <a:gd name="T86" fmla="*/ 243 w 349"/>
                    <a:gd name="T87" fmla="*/ 10 h 255"/>
                    <a:gd name="T88" fmla="*/ 229 w 349"/>
                    <a:gd name="T89" fmla="*/ 7 h 255"/>
                    <a:gd name="T90" fmla="*/ 214 w 349"/>
                    <a:gd name="T91" fmla="*/ 4 h 255"/>
                    <a:gd name="T92" fmla="*/ 199 w 349"/>
                    <a:gd name="T93" fmla="*/ 2 h 255"/>
                    <a:gd name="T94" fmla="*/ 183 w 349"/>
                    <a:gd name="T95" fmla="*/ 1 h 255"/>
                    <a:gd name="T96" fmla="*/ 167 w 349"/>
                    <a:gd name="T97"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9" h="255">
                      <a:moveTo>
                        <a:pt x="167" y="0"/>
                      </a:moveTo>
                      <a:lnTo>
                        <a:pt x="167" y="0"/>
                      </a:lnTo>
                      <a:lnTo>
                        <a:pt x="139" y="1"/>
                      </a:lnTo>
                      <a:lnTo>
                        <a:pt x="112" y="4"/>
                      </a:lnTo>
                      <a:lnTo>
                        <a:pt x="83" y="10"/>
                      </a:lnTo>
                      <a:lnTo>
                        <a:pt x="55" y="19"/>
                      </a:lnTo>
                      <a:lnTo>
                        <a:pt x="55" y="19"/>
                      </a:lnTo>
                      <a:lnTo>
                        <a:pt x="28" y="28"/>
                      </a:lnTo>
                      <a:lnTo>
                        <a:pt x="0" y="41"/>
                      </a:lnTo>
                      <a:lnTo>
                        <a:pt x="0" y="41"/>
                      </a:lnTo>
                      <a:lnTo>
                        <a:pt x="32" y="71"/>
                      </a:lnTo>
                      <a:lnTo>
                        <a:pt x="66" y="101"/>
                      </a:lnTo>
                      <a:lnTo>
                        <a:pt x="99" y="129"/>
                      </a:lnTo>
                      <a:lnTo>
                        <a:pt x="135" y="157"/>
                      </a:lnTo>
                      <a:lnTo>
                        <a:pt x="170" y="184"/>
                      </a:lnTo>
                      <a:lnTo>
                        <a:pt x="207" y="209"/>
                      </a:lnTo>
                      <a:lnTo>
                        <a:pt x="245" y="233"/>
                      </a:lnTo>
                      <a:lnTo>
                        <a:pt x="283" y="255"/>
                      </a:lnTo>
                      <a:lnTo>
                        <a:pt x="283" y="255"/>
                      </a:lnTo>
                      <a:lnTo>
                        <a:pt x="301" y="236"/>
                      </a:lnTo>
                      <a:lnTo>
                        <a:pt x="318" y="217"/>
                      </a:lnTo>
                      <a:lnTo>
                        <a:pt x="330" y="197"/>
                      </a:lnTo>
                      <a:lnTo>
                        <a:pt x="336" y="187"/>
                      </a:lnTo>
                      <a:lnTo>
                        <a:pt x="339" y="177"/>
                      </a:lnTo>
                      <a:lnTo>
                        <a:pt x="343" y="167"/>
                      </a:lnTo>
                      <a:lnTo>
                        <a:pt x="346" y="157"/>
                      </a:lnTo>
                      <a:lnTo>
                        <a:pt x="347" y="146"/>
                      </a:lnTo>
                      <a:lnTo>
                        <a:pt x="349" y="136"/>
                      </a:lnTo>
                      <a:lnTo>
                        <a:pt x="349" y="126"/>
                      </a:lnTo>
                      <a:lnTo>
                        <a:pt x="349" y="116"/>
                      </a:lnTo>
                      <a:lnTo>
                        <a:pt x="346" y="105"/>
                      </a:lnTo>
                      <a:lnTo>
                        <a:pt x="344" y="96"/>
                      </a:lnTo>
                      <a:lnTo>
                        <a:pt x="344" y="96"/>
                      </a:lnTo>
                      <a:lnTo>
                        <a:pt x="340" y="85"/>
                      </a:lnTo>
                      <a:lnTo>
                        <a:pt x="334" y="75"/>
                      </a:lnTo>
                      <a:lnTo>
                        <a:pt x="328" y="65"/>
                      </a:lnTo>
                      <a:lnTo>
                        <a:pt x="320" y="56"/>
                      </a:lnTo>
                      <a:lnTo>
                        <a:pt x="312" y="47"/>
                      </a:lnTo>
                      <a:lnTo>
                        <a:pt x="302" y="39"/>
                      </a:lnTo>
                      <a:lnTo>
                        <a:pt x="292" y="32"/>
                      </a:lnTo>
                      <a:lnTo>
                        <a:pt x="281" y="26"/>
                      </a:lnTo>
                      <a:lnTo>
                        <a:pt x="269" y="20"/>
                      </a:lnTo>
                      <a:lnTo>
                        <a:pt x="256" y="15"/>
                      </a:lnTo>
                      <a:lnTo>
                        <a:pt x="243" y="10"/>
                      </a:lnTo>
                      <a:lnTo>
                        <a:pt x="229" y="7"/>
                      </a:lnTo>
                      <a:lnTo>
                        <a:pt x="214" y="4"/>
                      </a:lnTo>
                      <a:lnTo>
                        <a:pt x="199" y="2"/>
                      </a:lnTo>
                      <a:lnTo>
                        <a:pt x="183" y="1"/>
                      </a:lnTo>
                      <a:lnTo>
                        <a:pt x="16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60" name="Freeform 307"/>
                <p:cNvSpPr>
                  <a:spLocks/>
                </p:cNvSpPr>
                <p:nvPr userDrawn="1"/>
              </p:nvSpPr>
              <p:spPr bwMode="auto">
                <a:xfrm>
                  <a:off x="11881983" y="2625224"/>
                  <a:ext cx="484188" cy="322263"/>
                </a:xfrm>
                <a:custGeom>
                  <a:avLst/>
                  <a:gdLst>
                    <a:gd name="T0" fmla="*/ 297 w 610"/>
                    <a:gd name="T1" fmla="*/ 0 h 407"/>
                    <a:gd name="T2" fmla="*/ 243 w 610"/>
                    <a:gd name="T3" fmla="*/ 3 h 407"/>
                    <a:gd name="T4" fmla="*/ 190 w 610"/>
                    <a:gd name="T5" fmla="*/ 11 h 407"/>
                    <a:gd name="T6" fmla="*/ 144 w 610"/>
                    <a:gd name="T7" fmla="*/ 25 h 407"/>
                    <a:gd name="T8" fmla="*/ 101 w 610"/>
                    <a:gd name="T9" fmla="*/ 43 h 407"/>
                    <a:gd name="T10" fmla="*/ 66 w 610"/>
                    <a:gd name="T11" fmla="*/ 67 h 407"/>
                    <a:gd name="T12" fmla="*/ 37 w 610"/>
                    <a:gd name="T13" fmla="*/ 94 h 407"/>
                    <a:gd name="T14" fmla="*/ 16 w 610"/>
                    <a:gd name="T15" fmla="*/ 126 h 407"/>
                    <a:gd name="T16" fmla="*/ 4 w 610"/>
                    <a:gd name="T17" fmla="*/ 162 h 407"/>
                    <a:gd name="T18" fmla="*/ 0 w 610"/>
                    <a:gd name="T19" fmla="*/ 179 h 407"/>
                    <a:gd name="T20" fmla="*/ 1 w 610"/>
                    <a:gd name="T21" fmla="*/ 212 h 407"/>
                    <a:gd name="T22" fmla="*/ 8 w 610"/>
                    <a:gd name="T23" fmla="*/ 245 h 407"/>
                    <a:gd name="T24" fmla="*/ 23 w 610"/>
                    <a:gd name="T25" fmla="*/ 277 h 407"/>
                    <a:gd name="T26" fmla="*/ 43 w 610"/>
                    <a:gd name="T27" fmla="*/ 309 h 407"/>
                    <a:gd name="T28" fmla="*/ 69 w 610"/>
                    <a:gd name="T29" fmla="*/ 339 h 407"/>
                    <a:gd name="T30" fmla="*/ 100 w 610"/>
                    <a:gd name="T31" fmla="*/ 368 h 407"/>
                    <a:gd name="T32" fmla="*/ 137 w 610"/>
                    <a:gd name="T33" fmla="*/ 394 h 407"/>
                    <a:gd name="T34" fmla="*/ 156 w 610"/>
                    <a:gd name="T35" fmla="*/ 407 h 407"/>
                    <a:gd name="T36" fmla="*/ 220 w 610"/>
                    <a:gd name="T37" fmla="*/ 377 h 407"/>
                    <a:gd name="T38" fmla="*/ 282 w 610"/>
                    <a:gd name="T39" fmla="*/ 345 h 407"/>
                    <a:gd name="T40" fmla="*/ 343 w 610"/>
                    <a:gd name="T41" fmla="*/ 311 h 407"/>
                    <a:gd name="T42" fmla="*/ 401 w 610"/>
                    <a:gd name="T43" fmla="*/ 271 h 407"/>
                    <a:gd name="T44" fmla="*/ 457 w 610"/>
                    <a:gd name="T45" fmla="*/ 231 h 407"/>
                    <a:gd name="T46" fmla="*/ 510 w 610"/>
                    <a:gd name="T47" fmla="*/ 187 h 407"/>
                    <a:gd name="T48" fmla="*/ 561 w 610"/>
                    <a:gd name="T49" fmla="*/ 139 h 407"/>
                    <a:gd name="T50" fmla="*/ 610 w 610"/>
                    <a:gd name="T51" fmla="*/ 91 h 407"/>
                    <a:gd name="T52" fmla="*/ 590 w 610"/>
                    <a:gd name="T53" fmla="*/ 78 h 407"/>
                    <a:gd name="T54" fmla="*/ 546 w 610"/>
                    <a:gd name="T55" fmla="*/ 55 h 407"/>
                    <a:gd name="T56" fmla="*/ 500 w 610"/>
                    <a:gd name="T57" fmla="*/ 36 h 407"/>
                    <a:gd name="T58" fmla="*/ 448 w 610"/>
                    <a:gd name="T59" fmla="*/ 19 h 407"/>
                    <a:gd name="T60" fmla="*/ 422 w 610"/>
                    <a:gd name="T61" fmla="*/ 13 h 407"/>
                    <a:gd name="T62" fmla="*/ 358 w 610"/>
                    <a:gd name="T63" fmla="*/ 3 h 407"/>
                    <a:gd name="T64" fmla="*/ 297 w 610"/>
                    <a:gd name="T65" fmla="*/ 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10" h="407">
                      <a:moveTo>
                        <a:pt x="297" y="0"/>
                      </a:moveTo>
                      <a:lnTo>
                        <a:pt x="297" y="0"/>
                      </a:lnTo>
                      <a:lnTo>
                        <a:pt x="269" y="0"/>
                      </a:lnTo>
                      <a:lnTo>
                        <a:pt x="243" y="3"/>
                      </a:lnTo>
                      <a:lnTo>
                        <a:pt x="217" y="6"/>
                      </a:lnTo>
                      <a:lnTo>
                        <a:pt x="190" y="11"/>
                      </a:lnTo>
                      <a:lnTo>
                        <a:pt x="167" y="17"/>
                      </a:lnTo>
                      <a:lnTo>
                        <a:pt x="144" y="25"/>
                      </a:lnTo>
                      <a:lnTo>
                        <a:pt x="121" y="34"/>
                      </a:lnTo>
                      <a:lnTo>
                        <a:pt x="101" y="43"/>
                      </a:lnTo>
                      <a:lnTo>
                        <a:pt x="83" y="55"/>
                      </a:lnTo>
                      <a:lnTo>
                        <a:pt x="66" y="67"/>
                      </a:lnTo>
                      <a:lnTo>
                        <a:pt x="50" y="80"/>
                      </a:lnTo>
                      <a:lnTo>
                        <a:pt x="37" y="94"/>
                      </a:lnTo>
                      <a:lnTo>
                        <a:pt x="25" y="110"/>
                      </a:lnTo>
                      <a:lnTo>
                        <a:pt x="16" y="126"/>
                      </a:lnTo>
                      <a:lnTo>
                        <a:pt x="8" y="144"/>
                      </a:lnTo>
                      <a:lnTo>
                        <a:pt x="4" y="162"/>
                      </a:lnTo>
                      <a:lnTo>
                        <a:pt x="4" y="162"/>
                      </a:lnTo>
                      <a:lnTo>
                        <a:pt x="0" y="179"/>
                      </a:lnTo>
                      <a:lnTo>
                        <a:pt x="0" y="195"/>
                      </a:lnTo>
                      <a:lnTo>
                        <a:pt x="1" y="212"/>
                      </a:lnTo>
                      <a:lnTo>
                        <a:pt x="4" y="228"/>
                      </a:lnTo>
                      <a:lnTo>
                        <a:pt x="8" y="245"/>
                      </a:lnTo>
                      <a:lnTo>
                        <a:pt x="14" y="261"/>
                      </a:lnTo>
                      <a:lnTo>
                        <a:pt x="23" y="277"/>
                      </a:lnTo>
                      <a:lnTo>
                        <a:pt x="32" y="293"/>
                      </a:lnTo>
                      <a:lnTo>
                        <a:pt x="43" y="309"/>
                      </a:lnTo>
                      <a:lnTo>
                        <a:pt x="55" y="325"/>
                      </a:lnTo>
                      <a:lnTo>
                        <a:pt x="69" y="339"/>
                      </a:lnTo>
                      <a:lnTo>
                        <a:pt x="83" y="353"/>
                      </a:lnTo>
                      <a:lnTo>
                        <a:pt x="100" y="368"/>
                      </a:lnTo>
                      <a:lnTo>
                        <a:pt x="118" y="381"/>
                      </a:lnTo>
                      <a:lnTo>
                        <a:pt x="137" y="394"/>
                      </a:lnTo>
                      <a:lnTo>
                        <a:pt x="156" y="407"/>
                      </a:lnTo>
                      <a:lnTo>
                        <a:pt x="156" y="407"/>
                      </a:lnTo>
                      <a:lnTo>
                        <a:pt x="188" y="393"/>
                      </a:lnTo>
                      <a:lnTo>
                        <a:pt x="220" y="377"/>
                      </a:lnTo>
                      <a:lnTo>
                        <a:pt x="251" y="362"/>
                      </a:lnTo>
                      <a:lnTo>
                        <a:pt x="282" y="345"/>
                      </a:lnTo>
                      <a:lnTo>
                        <a:pt x="313" y="328"/>
                      </a:lnTo>
                      <a:lnTo>
                        <a:pt x="343" y="311"/>
                      </a:lnTo>
                      <a:lnTo>
                        <a:pt x="371" y="292"/>
                      </a:lnTo>
                      <a:lnTo>
                        <a:pt x="401" y="271"/>
                      </a:lnTo>
                      <a:lnTo>
                        <a:pt x="428" y="251"/>
                      </a:lnTo>
                      <a:lnTo>
                        <a:pt x="457" y="231"/>
                      </a:lnTo>
                      <a:lnTo>
                        <a:pt x="483" y="208"/>
                      </a:lnTo>
                      <a:lnTo>
                        <a:pt x="510" y="187"/>
                      </a:lnTo>
                      <a:lnTo>
                        <a:pt x="535" y="163"/>
                      </a:lnTo>
                      <a:lnTo>
                        <a:pt x="561" y="139"/>
                      </a:lnTo>
                      <a:lnTo>
                        <a:pt x="585" y="116"/>
                      </a:lnTo>
                      <a:lnTo>
                        <a:pt x="610" y="91"/>
                      </a:lnTo>
                      <a:lnTo>
                        <a:pt x="610" y="91"/>
                      </a:lnTo>
                      <a:lnTo>
                        <a:pt x="590" y="78"/>
                      </a:lnTo>
                      <a:lnTo>
                        <a:pt x="569" y="66"/>
                      </a:lnTo>
                      <a:lnTo>
                        <a:pt x="546" y="55"/>
                      </a:lnTo>
                      <a:lnTo>
                        <a:pt x="523" y="45"/>
                      </a:lnTo>
                      <a:lnTo>
                        <a:pt x="500" y="36"/>
                      </a:lnTo>
                      <a:lnTo>
                        <a:pt x="475" y="28"/>
                      </a:lnTo>
                      <a:lnTo>
                        <a:pt x="448" y="19"/>
                      </a:lnTo>
                      <a:lnTo>
                        <a:pt x="422" y="13"/>
                      </a:lnTo>
                      <a:lnTo>
                        <a:pt x="422" y="13"/>
                      </a:lnTo>
                      <a:lnTo>
                        <a:pt x="390" y="7"/>
                      </a:lnTo>
                      <a:lnTo>
                        <a:pt x="358" y="3"/>
                      </a:lnTo>
                      <a:lnTo>
                        <a:pt x="327" y="0"/>
                      </a:lnTo>
                      <a:lnTo>
                        <a:pt x="29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61" name="Freeform 308"/>
                <p:cNvSpPr>
                  <a:spLocks noEditPoints="1"/>
                </p:cNvSpPr>
                <p:nvPr userDrawn="1"/>
              </p:nvSpPr>
              <p:spPr bwMode="auto">
                <a:xfrm>
                  <a:off x="11597821" y="3030036"/>
                  <a:ext cx="3175" cy="0"/>
                </a:xfrm>
                <a:custGeom>
                  <a:avLst/>
                  <a:gdLst>
                    <a:gd name="T0" fmla="*/ 0 w 5"/>
                    <a:gd name="T1" fmla="*/ 0 w 5"/>
                    <a:gd name="T2" fmla="*/ 2 w 5"/>
                    <a:gd name="T3" fmla="*/ 2 w 5"/>
                    <a:gd name="T4" fmla="*/ 0 w 5"/>
                    <a:gd name="T5" fmla="*/ 5 w 5"/>
                    <a:gd name="T6" fmla="*/ 5 w 5"/>
                    <a:gd name="T7" fmla="*/ 2 w 5"/>
                    <a:gd name="T8" fmla="*/ 2 w 5"/>
                    <a:gd name="T9" fmla="*/ 5 w 5"/>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5">
                      <a:moveTo>
                        <a:pt x="0" y="0"/>
                      </a:moveTo>
                      <a:lnTo>
                        <a:pt x="0" y="0"/>
                      </a:lnTo>
                      <a:lnTo>
                        <a:pt x="2" y="0"/>
                      </a:lnTo>
                      <a:lnTo>
                        <a:pt x="2" y="0"/>
                      </a:lnTo>
                      <a:lnTo>
                        <a:pt x="0" y="0"/>
                      </a:lnTo>
                      <a:close/>
                      <a:moveTo>
                        <a:pt x="5" y="0"/>
                      </a:moveTo>
                      <a:lnTo>
                        <a:pt x="5" y="0"/>
                      </a:lnTo>
                      <a:lnTo>
                        <a:pt x="2" y="0"/>
                      </a:lnTo>
                      <a:lnTo>
                        <a:pt x="2" y="0"/>
                      </a:lnTo>
                      <a:lnTo>
                        <a:pt x="5" y="0"/>
                      </a:lnTo>
                      <a:close/>
                    </a:path>
                  </a:pathLst>
                </a:custGeom>
                <a:solidFill>
                  <a:srgbClr val="EBE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62" name="Rectangle 309"/>
                <p:cNvSpPr>
                  <a:spLocks noChangeArrowheads="1"/>
                </p:cNvSpPr>
                <p:nvPr userDrawn="1"/>
              </p:nvSpPr>
              <p:spPr bwMode="auto">
                <a:xfrm>
                  <a:off x="11597821" y="3030036"/>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63" name="Rectangle 310"/>
                <p:cNvSpPr>
                  <a:spLocks noChangeArrowheads="1"/>
                </p:cNvSpPr>
                <p:nvPr userDrawn="1"/>
              </p:nvSpPr>
              <p:spPr bwMode="auto">
                <a:xfrm>
                  <a:off x="11599408" y="3030036"/>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65" name="Freeform 312"/>
                <p:cNvSpPr>
                  <a:spLocks/>
                </p:cNvSpPr>
                <p:nvPr userDrawn="1"/>
              </p:nvSpPr>
              <p:spPr bwMode="auto">
                <a:xfrm>
                  <a:off x="11366046" y="2918911"/>
                  <a:ext cx="477838" cy="111125"/>
                </a:xfrm>
                <a:custGeom>
                  <a:avLst/>
                  <a:gdLst>
                    <a:gd name="T0" fmla="*/ 270 w 602"/>
                    <a:gd name="T1" fmla="*/ 0 h 140"/>
                    <a:gd name="T2" fmla="*/ 270 w 602"/>
                    <a:gd name="T3" fmla="*/ 0 h 140"/>
                    <a:gd name="T4" fmla="*/ 247 w 602"/>
                    <a:gd name="T5" fmla="*/ 0 h 140"/>
                    <a:gd name="T6" fmla="*/ 225 w 602"/>
                    <a:gd name="T7" fmla="*/ 1 h 140"/>
                    <a:gd name="T8" fmla="*/ 203 w 602"/>
                    <a:gd name="T9" fmla="*/ 4 h 140"/>
                    <a:gd name="T10" fmla="*/ 183 w 602"/>
                    <a:gd name="T11" fmla="*/ 7 h 140"/>
                    <a:gd name="T12" fmla="*/ 163 w 602"/>
                    <a:gd name="T13" fmla="*/ 11 h 140"/>
                    <a:gd name="T14" fmla="*/ 144 w 602"/>
                    <a:gd name="T15" fmla="*/ 15 h 140"/>
                    <a:gd name="T16" fmla="*/ 125 w 602"/>
                    <a:gd name="T17" fmla="*/ 21 h 140"/>
                    <a:gd name="T18" fmla="*/ 107 w 602"/>
                    <a:gd name="T19" fmla="*/ 28 h 140"/>
                    <a:gd name="T20" fmla="*/ 90 w 602"/>
                    <a:gd name="T21" fmla="*/ 36 h 140"/>
                    <a:gd name="T22" fmla="*/ 74 w 602"/>
                    <a:gd name="T23" fmla="*/ 44 h 140"/>
                    <a:gd name="T24" fmla="*/ 58 w 602"/>
                    <a:gd name="T25" fmla="*/ 52 h 140"/>
                    <a:gd name="T26" fmla="*/ 45 w 602"/>
                    <a:gd name="T27" fmla="*/ 62 h 140"/>
                    <a:gd name="T28" fmla="*/ 32 w 602"/>
                    <a:gd name="T29" fmla="*/ 72 h 140"/>
                    <a:gd name="T30" fmla="*/ 20 w 602"/>
                    <a:gd name="T31" fmla="*/ 83 h 140"/>
                    <a:gd name="T32" fmla="*/ 9 w 602"/>
                    <a:gd name="T33" fmla="*/ 95 h 140"/>
                    <a:gd name="T34" fmla="*/ 0 w 602"/>
                    <a:gd name="T35" fmla="*/ 107 h 140"/>
                    <a:gd name="T36" fmla="*/ 0 w 602"/>
                    <a:gd name="T37" fmla="*/ 107 h 140"/>
                    <a:gd name="T38" fmla="*/ 34 w 602"/>
                    <a:gd name="T39" fmla="*/ 114 h 140"/>
                    <a:gd name="T40" fmla="*/ 70 w 602"/>
                    <a:gd name="T41" fmla="*/ 121 h 140"/>
                    <a:gd name="T42" fmla="*/ 106 w 602"/>
                    <a:gd name="T43" fmla="*/ 127 h 140"/>
                    <a:gd name="T44" fmla="*/ 143 w 602"/>
                    <a:gd name="T45" fmla="*/ 132 h 140"/>
                    <a:gd name="T46" fmla="*/ 178 w 602"/>
                    <a:gd name="T47" fmla="*/ 135 h 140"/>
                    <a:gd name="T48" fmla="*/ 215 w 602"/>
                    <a:gd name="T49" fmla="*/ 138 h 140"/>
                    <a:gd name="T50" fmla="*/ 252 w 602"/>
                    <a:gd name="T51" fmla="*/ 139 h 140"/>
                    <a:gd name="T52" fmla="*/ 290 w 602"/>
                    <a:gd name="T53" fmla="*/ 140 h 140"/>
                    <a:gd name="T54" fmla="*/ 290 w 602"/>
                    <a:gd name="T55" fmla="*/ 140 h 140"/>
                    <a:gd name="T56" fmla="*/ 292 w 602"/>
                    <a:gd name="T57" fmla="*/ 140 h 140"/>
                    <a:gd name="T58" fmla="*/ 292 w 602"/>
                    <a:gd name="T59" fmla="*/ 140 h 140"/>
                    <a:gd name="T60" fmla="*/ 292 w 602"/>
                    <a:gd name="T61" fmla="*/ 140 h 140"/>
                    <a:gd name="T62" fmla="*/ 292 w 602"/>
                    <a:gd name="T63" fmla="*/ 140 h 140"/>
                    <a:gd name="T64" fmla="*/ 295 w 602"/>
                    <a:gd name="T65" fmla="*/ 140 h 140"/>
                    <a:gd name="T66" fmla="*/ 295 w 602"/>
                    <a:gd name="T67" fmla="*/ 140 h 140"/>
                    <a:gd name="T68" fmla="*/ 334 w 602"/>
                    <a:gd name="T69" fmla="*/ 139 h 140"/>
                    <a:gd name="T70" fmla="*/ 373 w 602"/>
                    <a:gd name="T71" fmla="*/ 138 h 140"/>
                    <a:gd name="T72" fmla="*/ 413 w 602"/>
                    <a:gd name="T73" fmla="*/ 134 h 140"/>
                    <a:gd name="T74" fmla="*/ 451 w 602"/>
                    <a:gd name="T75" fmla="*/ 131 h 140"/>
                    <a:gd name="T76" fmla="*/ 489 w 602"/>
                    <a:gd name="T77" fmla="*/ 126 h 140"/>
                    <a:gd name="T78" fmla="*/ 527 w 602"/>
                    <a:gd name="T79" fmla="*/ 119 h 140"/>
                    <a:gd name="T80" fmla="*/ 564 w 602"/>
                    <a:gd name="T81" fmla="*/ 112 h 140"/>
                    <a:gd name="T82" fmla="*/ 602 w 602"/>
                    <a:gd name="T83" fmla="*/ 103 h 140"/>
                    <a:gd name="T84" fmla="*/ 602 w 602"/>
                    <a:gd name="T85" fmla="*/ 103 h 140"/>
                    <a:gd name="T86" fmla="*/ 580 w 602"/>
                    <a:gd name="T87" fmla="*/ 89 h 140"/>
                    <a:gd name="T88" fmla="*/ 556 w 602"/>
                    <a:gd name="T89" fmla="*/ 75 h 140"/>
                    <a:gd name="T90" fmla="*/ 533 w 602"/>
                    <a:gd name="T91" fmla="*/ 62 h 140"/>
                    <a:gd name="T92" fmla="*/ 508 w 602"/>
                    <a:gd name="T93" fmla="*/ 50 h 140"/>
                    <a:gd name="T94" fmla="*/ 480 w 602"/>
                    <a:gd name="T95" fmla="*/ 39 h 140"/>
                    <a:gd name="T96" fmla="*/ 453 w 602"/>
                    <a:gd name="T97" fmla="*/ 28 h 140"/>
                    <a:gd name="T98" fmla="*/ 423 w 602"/>
                    <a:gd name="T99" fmla="*/ 20 h 140"/>
                    <a:gd name="T100" fmla="*/ 394 w 602"/>
                    <a:gd name="T101" fmla="*/ 13 h 140"/>
                    <a:gd name="T102" fmla="*/ 394 w 602"/>
                    <a:gd name="T103" fmla="*/ 13 h 140"/>
                    <a:gd name="T104" fmla="*/ 361 w 602"/>
                    <a:gd name="T105" fmla="*/ 7 h 140"/>
                    <a:gd name="T106" fmla="*/ 330 w 602"/>
                    <a:gd name="T107" fmla="*/ 4 h 140"/>
                    <a:gd name="T108" fmla="*/ 300 w 602"/>
                    <a:gd name="T109" fmla="*/ 0 h 140"/>
                    <a:gd name="T110" fmla="*/ 270 w 602"/>
                    <a:gd name="T111"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02" h="140">
                      <a:moveTo>
                        <a:pt x="270" y="0"/>
                      </a:moveTo>
                      <a:lnTo>
                        <a:pt x="270" y="0"/>
                      </a:lnTo>
                      <a:lnTo>
                        <a:pt x="247" y="0"/>
                      </a:lnTo>
                      <a:lnTo>
                        <a:pt x="225" y="1"/>
                      </a:lnTo>
                      <a:lnTo>
                        <a:pt x="203" y="4"/>
                      </a:lnTo>
                      <a:lnTo>
                        <a:pt x="183" y="7"/>
                      </a:lnTo>
                      <a:lnTo>
                        <a:pt x="163" y="11"/>
                      </a:lnTo>
                      <a:lnTo>
                        <a:pt x="144" y="15"/>
                      </a:lnTo>
                      <a:lnTo>
                        <a:pt x="125" y="21"/>
                      </a:lnTo>
                      <a:lnTo>
                        <a:pt x="107" y="28"/>
                      </a:lnTo>
                      <a:lnTo>
                        <a:pt x="90" y="36"/>
                      </a:lnTo>
                      <a:lnTo>
                        <a:pt x="74" y="44"/>
                      </a:lnTo>
                      <a:lnTo>
                        <a:pt x="58" y="52"/>
                      </a:lnTo>
                      <a:lnTo>
                        <a:pt x="45" y="62"/>
                      </a:lnTo>
                      <a:lnTo>
                        <a:pt x="32" y="72"/>
                      </a:lnTo>
                      <a:lnTo>
                        <a:pt x="20" y="83"/>
                      </a:lnTo>
                      <a:lnTo>
                        <a:pt x="9" y="95"/>
                      </a:lnTo>
                      <a:lnTo>
                        <a:pt x="0" y="107"/>
                      </a:lnTo>
                      <a:lnTo>
                        <a:pt x="0" y="107"/>
                      </a:lnTo>
                      <a:lnTo>
                        <a:pt x="34" y="114"/>
                      </a:lnTo>
                      <a:lnTo>
                        <a:pt x="70" y="121"/>
                      </a:lnTo>
                      <a:lnTo>
                        <a:pt x="106" y="127"/>
                      </a:lnTo>
                      <a:lnTo>
                        <a:pt x="143" y="132"/>
                      </a:lnTo>
                      <a:lnTo>
                        <a:pt x="178" y="135"/>
                      </a:lnTo>
                      <a:lnTo>
                        <a:pt x="215" y="138"/>
                      </a:lnTo>
                      <a:lnTo>
                        <a:pt x="252" y="139"/>
                      </a:lnTo>
                      <a:lnTo>
                        <a:pt x="290" y="140"/>
                      </a:lnTo>
                      <a:lnTo>
                        <a:pt x="290" y="140"/>
                      </a:lnTo>
                      <a:lnTo>
                        <a:pt x="292" y="140"/>
                      </a:lnTo>
                      <a:lnTo>
                        <a:pt x="292" y="140"/>
                      </a:lnTo>
                      <a:lnTo>
                        <a:pt x="292" y="140"/>
                      </a:lnTo>
                      <a:lnTo>
                        <a:pt x="292" y="140"/>
                      </a:lnTo>
                      <a:lnTo>
                        <a:pt x="295" y="140"/>
                      </a:lnTo>
                      <a:lnTo>
                        <a:pt x="295" y="140"/>
                      </a:lnTo>
                      <a:lnTo>
                        <a:pt x="334" y="139"/>
                      </a:lnTo>
                      <a:lnTo>
                        <a:pt x="373" y="138"/>
                      </a:lnTo>
                      <a:lnTo>
                        <a:pt x="413" y="134"/>
                      </a:lnTo>
                      <a:lnTo>
                        <a:pt x="451" y="131"/>
                      </a:lnTo>
                      <a:lnTo>
                        <a:pt x="489" y="126"/>
                      </a:lnTo>
                      <a:lnTo>
                        <a:pt x="527" y="119"/>
                      </a:lnTo>
                      <a:lnTo>
                        <a:pt x="564" y="112"/>
                      </a:lnTo>
                      <a:lnTo>
                        <a:pt x="602" y="103"/>
                      </a:lnTo>
                      <a:lnTo>
                        <a:pt x="602" y="103"/>
                      </a:lnTo>
                      <a:lnTo>
                        <a:pt x="580" y="89"/>
                      </a:lnTo>
                      <a:lnTo>
                        <a:pt x="556" y="75"/>
                      </a:lnTo>
                      <a:lnTo>
                        <a:pt x="533" y="62"/>
                      </a:lnTo>
                      <a:lnTo>
                        <a:pt x="508" y="50"/>
                      </a:lnTo>
                      <a:lnTo>
                        <a:pt x="480" y="39"/>
                      </a:lnTo>
                      <a:lnTo>
                        <a:pt x="453" y="28"/>
                      </a:lnTo>
                      <a:lnTo>
                        <a:pt x="423" y="20"/>
                      </a:lnTo>
                      <a:lnTo>
                        <a:pt x="394" y="13"/>
                      </a:lnTo>
                      <a:lnTo>
                        <a:pt x="394" y="13"/>
                      </a:lnTo>
                      <a:lnTo>
                        <a:pt x="361" y="7"/>
                      </a:lnTo>
                      <a:lnTo>
                        <a:pt x="330" y="4"/>
                      </a:lnTo>
                      <a:lnTo>
                        <a:pt x="300" y="0"/>
                      </a:lnTo>
                      <a:lnTo>
                        <a:pt x="27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66" name="Freeform 313"/>
                <p:cNvSpPr>
                  <a:spLocks/>
                </p:cNvSpPr>
                <p:nvPr userDrawn="1"/>
              </p:nvSpPr>
              <p:spPr bwMode="auto">
                <a:xfrm>
                  <a:off x="11764508" y="2509336"/>
                  <a:ext cx="117475" cy="92075"/>
                </a:xfrm>
                <a:custGeom>
                  <a:avLst/>
                  <a:gdLst>
                    <a:gd name="T0" fmla="*/ 74 w 148"/>
                    <a:gd name="T1" fmla="*/ 0 h 117"/>
                    <a:gd name="T2" fmla="*/ 74 w 148"/>
                    <a:gd name="T3" fmla="*/ 0 h 117"/>
                    <a:gd name="T4" fmla="*/ 59 w 148"/>
                    <a:gd name="T5" fmla="*/ 1 h 117"/>
                    <a:gd name="T6" fmla="*/ 45 w 148"/>
                    <a:gd name="T7" fmla="*/ 5 h 117"/>
                    <a:gd name="T8" fmla="*/ 33 w 148"/>
                    <a:gd name="T9" fmla="*/ 10 h 117"/>
                    <a:gd name="T10" fmla="*/ 22 w 148"/>
                    <a:gd name="T11" fmla="*/ 17 h 117"/>
                    <a:gd name="T12" fmla="*/ 13 w 148"/>
                    <a:gd name="T13" fmla="*/ 25 h 117"/>
                    <a:gd name="T14" fmla="*/ 5 w 148"/>
                    <a:gd name="T15" fmla="*/ 36 h 117"/>
                    <a:gd name="T16" fmla="*/ 2 w 148"/>
                    <a:gd name="T17" fmla="*/ 46 h 117"/>
                    <a:gd name="T18" fmla="*/ 1 w 148"/>
                    <a:gd name="T19" fmla="*/ 52 h 117"/>
                    <a:gd name="T20" fmla="*/ 0 w 148"/>
                    <a:gd name="T21" fmla="*/ 58 h 117"/>
                    <a:gd name="T22" fmla="*/ 0 w 148"/>
                    <a:gd name="T23" fmla="*/ 58 h 117"/>
                    <a:gd name="T24" fmla="*/ 1 w 148"/>
                    <a:gd name="T25" fmla="*/ 64 h 117"/>
                    <a:gd name="T26" fmla="*/ 2 w 148"/>
                    <a:gd name="T27" fmla="*/ 70 h 117"/>
                    <a:gd name="T28" fmla="*/ 5 w 148"/>
                    <a:gd name="T29" fmla="*/ 81 h 117"/>
                    <a:gd name="T30" fmla="*/ 13 w 148"/>
                    <a:gd name="T31" fmla="*/ 92 h 117"/>
                    <a:gd name="T32" fmla="*/ 22 w 148"/>
                    <a:gd name="T33" fmla="*/ 100 h 117"/>
                    <a:gd name="T34" fmla="*/ 33 w 148"/>
                    <a:gd name="T35" fmla="*/ 107 h 117"/>
                    <a:gd name="T36" fmla="*/ 45 w 148"/>
                    <a:gd name="T37" fmla="*/ 112 h 117"/>
                    <a:gd name="T38" fmla="*/ 59 w 148"/>
                    <a:gd name="T39" fmla="*/ 115 h 117"/>
                    <a:gd name="T40" fmla="*/ 74 w 148"/>
                    <a:gd name="T41" fmla="*/ 117 h 117"/>
                    <a:gd name="T42" fmla="*/ 74 w 148"/>
                    <a:gd name="T43" fmla="*/ 117 h 117"/>
                    <a:gd name="T44" fmla="*/ 89 w 148"/>
                    <a:gd name="T45" fmla="*/ 115 h 117"/>
                    <a:gd name="T46" fmla="*/ 103 w 148"/>
                    <a:gd name="T47" fmla="*/ 112 h 117"/>
                    <a:gd name="T48" fmla="*/ 115 w 148"/>
                    <a:gd name="T49" fmla="*/ 107 h 117"/>
                    <a:gd name="T50" fmla="*/ 127 w 148"/>
                    <a:gd name="T51" fmla="*/ 100 h 117"/>
                    <a:gd name="T52" fmla="*/ 135 w 148"/>
                    <a:gd name="T53" fmla="*/ 92 h 117"/>
                    <a:gd name="T54" fmla="*/ 142 w 148"/>
                    <a:gd name="T55" fmla="*/ 81 h 117"/>
                    <a:gd name="T56" fmla="*/ 146 w 148"/>
                    <a:gd name="T57" fmla="*/ 70 h 117"/>
                    <a:gd name="T58" fmla="*/ 147 w 148"/>
                    <a:gd name="T59" fmla="*/ 64 h 117"/>
                    <a:gd name="T60" fmla="*/ 148 w 148"/>
                    <a:gd name="T61" fmla="*/ 58 h 117"/>
                    <a:gd name="T62" fmla="*/ 148 w 148"/>
                    <a:gd name="T63" fmla="*/ 58 h 117"/>
                    <a:gd name="T64" fmla="*/ 147 w 148"/>
                    <a:gd name="T65" fmla="*/ 52 h 117"/>
                    <a:gd name="T66" fmla="*/ 146 w 148"/>
                    <a:gd name="T67" fmla="*/ 46 h 117"/>
                    <a:gd name="T68" fmla="*/ 142 w 148"/>
                    <a:gd name="T69" fmla="*/ 36 h 117"/>
                    <a:gd name="T70" fmla="*/ 135 w 148"/>
                    <a:gd name="T71" fmla="*/ 25 h 117"/>
                    <a:gd name="T72" fmla="*/ 127 w 148"/>
                    <a:gd name="T73" fmla="*/ 17 h 117"/>
                    <a:gd name="T74" fmla="*/ 115 w 148"/>
                    <a:gd name="T75" fmla="*/ 10 h 117"/>
                    <a:gd name="T76" fmla="*/ 103 w 148"/>
                    <a:gd name="T77" fmla="*/ 5 h 117"/>
                    <a:gd name="T78" fmla="*/ 89 w 148"/>
                    <a:gd name="T79" fmla="*/ 1 h 117"/>
                    <a:gd name="T80" fmla="*/ 74 w 148"/>
                    <a:gd name="T81"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8" h="117">
                      <a:moveTo>
                        <a:pt x="74" y="0"/>
                      </a:moveTo>
                      <a:lnTo>
                        <a:pt x="74" y="0"/>
                      </a:lnTo>
                      <a:lnTo>
                        <a:pt x="59" y="1"/>
                      </a:lnTo>
                      <a:lnTo>
                        <a:pt x="45" y="5"/>
                      </a:lnTo>
                      <a:lnTo>
                        <a:pt x="33" y="10"/>
                      </a:lnTo>
                      <a:lnTo>
                        <a:pt x="22" y="17"/>
                      </a:lnTo>
                      <a:lnTo>
                        <a:pt x="13" y="25"/>
                      </a:lnTo>
                      <a:lnTo>
                        <a:pt x="5" y="36"/>
                      </a:lnTo>
                      <a:lnTo>
                        <a:pt x="2" y="46"/>
                      </a:lnTo>
                      <a:lnTo>
                        <a:pt x="1" y="52"/>
                      </a:lnTo>
                      <a:lnTo>
                        <a:pt x="0" y="58"/>
                      </a:lnTo>
                      <a:lnTo>
                        <a:pt x="0" y="58"/>
                      </a:lnTo>
                      <a:lnTo>
                        <a:pt x="1" y="64"/>
                      </a:lnTo>
                      <a:lnTo>
                        <a:pt x="2" y="70"/>
                      </a:lnTo>
                      <a:lnTo>
                        <a:pt x="5" y="81"/>
                      </a:lnTo>
                      <a:lnTo>
                        <a:pt x="13" y="92"/>
                      </a:lnTo>
                      <a:lnTo>
                        <a:pt x="22" y="100"/>
                      </a:lnTo>
                      <a:lnTo>
                        <a:pt x="33" y="107"/>
                      </a:lnTo>
                      <a:lnTo>
                        <a:pt x="45" y="112"/>
                      </a:lnTo>
                      <a:lnTo>
                        <a:pt x="59" y="115"/>
                      </a:lnTo>
                      <a:lnTo>
                        <a:pt x="74" y="117"/>
                      </a:lnTo>
                      <a:lnTo>
                        <a:pt x="74" y="117"/>
                      </a:lnTo>
                      <a:lnTo>
                        <a:pt x="89" y="115"/>
                      </a:lnTo>
                      <a:lnTo>
                        <a:pt x="103" y="112"/>
                      </a:lnTo>
                      <a:lnTo>
                        <a:pt x="115" y="107"/>
                      </a:lnTo>
                      <a:lnTo>
                        <a:pt x="127" y="100"/>
                      </a:lnTo>
                      <a:lnTo>
                        <a:pt x="135" y="92"/>
                      </a:lnTo>
                      <a:lnTo>
                        <a:pt x="142" y="81"/>
                      </a:lnTo>
                      <a:lnTo>
                        <a:pt x="146" y="70"/>
                      </a:lnTo>
                      <a:lnTo>
                        <a:pt x="147" y="64"/>
                      </a:lnTo>
                      <a:lnTo>
                        <a:pt x="148" y="58"/>
                      </a:lnTo>
                      <a:lnTo>
                        <a:pt x="148" y="58"/>
                      </a:lnTo>
                      <a:lnTo>
                        <a:pt x="147" y="52"/>
                      </a:lnTo>
                      <a:lnTo>
                        <a:pt x="146" y="46"/>
                      </a:lnTo>
                      <a:lnTo>
                        <a:pt x="142" y="36"/>
                      </a:lnTo>
                      <a:lnTo>
                        <a:pt x="135" y="25"/>
                      </a:lnTo>
                      <a:lnTo>
                        <a:pt x="127" y="17"/>
                      </a:lnTo>
                      <a:lnTo>
                        <a:pt x="115" y="10"/>
                      </a:lnTo>
                      <a:lnTo>
                        <a:pt x="103" y="5"/>
                      </a:lnTo>
                      <a:lnTo>
                        <a:pt x="89" y="1"/>
                      </a:lnTo>
                      <a:lnTo>
                        <a:pt x="74" y="0"/>
                      </a:lnTo>
                      <a:close/>
                    </a:path>
                  </a:pathLst>
                </a:custGeom>
                <a:solidFill>
                  <a:srgbClr val="B1BE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67" name="Freeform 314"/>
                <p:cNvSpPr>
                  <a:spLocks/>
                </p:cNvSpPr>
                <p:nvPr userDrawn="1"/>
              </p:nvSpPr>
              <p:spPr bwMode="auto">
                <a:xfrm>
                  <a:off x="11764508" y="2509336"/>
                  <a:ext cx="117475" cy="92075"/>
                </a:xfrm>
                <a:custGeom>
                  <a:avLst/>
                  <a:gdLst>
                    <a:gd name="T0" fmla="*/ 74 w 148"/>
                    <a:gd name="T1" fmla="*/ 0 h 117"/>
                    <a:gd name="T2" fmla="*/ 74 w 148"/>
                    <a:gd name="T3" fmla="*/ 0 h 117"/>
                    <a:gd name="T4" fmla="*/ 59 w 148"/>
                    <a:gd name="T5" fmla="*/ 1 h 117"/>
                    <a:gd name="T6" fmla="*/ 45 w 148"/>
                    <a:gd name="T7" fmla="*/ 5 h 117"/>
                    <a:gd name="T8" fmla="*/ 33 w 148"/>
                    <a:gd name="T9" fmla="*/ 10 h 117"/>
                    <a:gd name="T10" fmla="*/ 22 w 148"/>
                    <a:gd name="T11" fmla="*/ 17 h 117"/>
                    <a:gd name="T12" fmla="*/ 13 w 148"/>
                    <a:gd name="T13" fmla="*/ 25 h 117"/>
                    <a:gd name="T14" fmla="*/ 5 w 148"/>
                    <a:gd name="T15" fmla="*/ 36 h 117"/>
                    <a:gd name="T16" fmla="*/ 2 w 148"/>
                    <a:gd name="T17" fmla="*/ 46 h 117"/>
                    <a:gd name="T18" fmla="*/ 1 w 148"/>
                    <a:gd name="T19" fmla="*/ 52 h 117"/>
                    <a:gd name="T20" fmla="*/ 0 w 148"/>
                    <a:gd name="T21" fmla="*/ 58 h 117"/>
                    <a:gd name="T22" fmla="*/ 0 w 148"/>
                    <a:gd name="T23" fmla="*/ 58 h 117"/>
                    <a:gd name="T24" fmla="*/ 1 w 148"/>
                    <a:gd name="T25" fmla="*/ 64 h 117"/>
                    <a:gd name="T26" fmla="*/ 2 w 148"/>
                    <a:gd name="T27" fmla="*/ 70 h 117"/>
                    <a:gd name="T28" fmla="*/ 5 w 148"/>
                    <a:gd name="T29" fmla="*/ 81 h 117"/>
                    <a:gd name="T30" fmla="*/ 13 w 148"/>
                    <a:gd name="T31" fmla="*/ 92 h 117"/>
                    <a:gd name="T32" fmla="*/ 22 w 148"/>
                    <a:gd name="T33" fmla="*/ 100 h 117"/>
                    <a:gd name="T34" fmla="*/ 33 w 148"/>
                    <a:gd name="T35" fmla="*/ 107 h 117"/>
                    <a:gd name="T36" fmla="*/ 45 w 148"/>
                    <a:gd name="T37" fmla="*/ 112 h 117"/>
                    <a:gd name="T38" fmla="*/ 59 w 148"/>
                    <a:gd name="T39" fmla="*/ 115 h 117"/>
                    <a:gd name="T40" fmla="*/ 74 w 148"/>
                    <a:gd name="T41" fmla="*/ 117 h 117"/>
                    <a:gd name="T42" fmla="*/ 74 w 148"/>
                    <a:gd name="T43" fmla="*/ 117 h 117"/>
                    <a:gd name="T44" fmla="*/ 89 w 148"/>
                    <a:gd name="T45" fmla="*/ 115 h 117"/>
                    <a:gd name="T46" fmla="*/ 103 w 148"/>
                    <a:gd name="T47" fmla="*/ 112 h 117"/>
                    <a:gd name="T48" fmla="*/ 115 w 148"/>
                    <a:gd name="T49" fmla="*/ 107 h 117"/>
                    <a:gd name="T50" fmla="*/ 127 w 148"/>
                    <a:gd name="T51" fmla="*/ 100 h 117"/>
                    <a:gd name="T52" fmla="*/ 135 w 148"/>
                    <a:gd name="T53" fmla="*/ 92 h 117"/>
                    <a:gd name="T54" fmla="*/ 142 w 148"/>
                    <a:gd name="T55" fmla="*/ 81 h 117"/>
                    <a:gd name="T56" fmla="*/ 146 w 148"/>
                    <a:gd name="T57" fmla="*/ 70 h 117"/>
                    <a:gd name="T58" fmla="*/ 147 w 148"/>
                    <a:gd name="T59" fmla="*/ 64 h 117"/>
                    <a:gd name="T60" fmla="*/ 148 w 148"/>
                    <a:gd name="T61" fmla="*/ 58 h 117"/>
                    <a:gd name="T62" fmla="*/ 148 w 148"/>
                    <a:gd name="T63" fmla="*/ 58 h 117"/>
                    <a:gd name="T64" fmla="*/ 147 w 148"/>
                    <a:gd name="T65" fmla="*/ 52 h 117"/>
                    <a:gd name="T66" fmla="*/ 146 w 148"/>
                    <a:gd name="T67" fmla="*/ 46 h 117"/>
                    <a:gd name="T68" fmla="*/ 142 w 148"/>
                    <a:gd name="T69" fmla="*/ 36 h 117"/>
                    <a:gd name="T70" fmla="*/ 135 w 148"/>
                    <a:gd name="T71" fmla="*/ 25 h 117"/>
                    <a:gd name="T72" fmla="*/ 127 w 148"/>
                    <a:gd name="T73" fmla="*/ 17 h 117"/>
                    <a:gd name="T74" fmla="*/ 115 w 148"/>
                    <a:gd name="T75" fmla="*/ 10 h 117"/>
                    <a:gd name="T76" fmla="*/ 103 w 148"/>
                    <a:gd name="T77" fmla="*/ 5 h 117"/>
                    <a:gd name="T78" fmla="*/ 89 w 148"/>
                    <a:gd name="T79" fmla="*/ 1 h 117"/>
                    <a:gd name="T80" fmla="*/ 74 w 148"/>
                    <a:gd name="T81"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8" h="117">
                      <a:moveTo>
                        <a:pt x="74" y="0"/>
                      </a:moveTo>
                      <a:lnTo>
                        <a:pt x="74" y="0"/>
                      </a:lnTo>
                      <a:lnTo>
                        <a:pt x="59" y="1"/>
                      </a:lnTo>
                      <a:lnTo>
                        <a:pt x="45" y="5"/>
                      </a:lnTo>
                      <a:lnTo>
                        <a:pt x="33" y="10"/>
                      </a:lnTo>
                      <a:lnTo>
                        <a:pt x="22" y="17"/>
                      </a:lnTo>
                      <a:lnTo>
                        <a:pt x="13" y="25"/>
                      </a:lnTo>
                      <a:lnTo>
                        <a:pt x="5" y="36"/>
                      </a:lnTo>
                      <a:lnTo>
                        <a:pt x="2" y="46"/>
                      </a:lnTo>
                      <a:lnTo>
                        <a:pt x="1" y="52"/>
                      </a:lnTo>
                      <a:lnTo>
                        <a:pt x="0" y="58"/>
                      </a:lnTo>
                      <a:lnTo>
                        <a:pt x="0" y="58"/>
                      </a:lnTo>
                      <a:lnTo>
                        <a:pt x="1" y="64"/>
                      </a:lnTo>
                      <a:lnTo>
                        <a:pt x="2" y="70"/>
                      </a:lnTo>
                      <a:lnTo>
                        <a:pt x="5" y="81"/>
                      </a:lnTo>
                      <a:lnTo>
                        <a:pt x="13" y="92"/>
                      </a:lnTo>
                      <a:lnTo>
                        <a:pt x="22" y="100"/>
                      </a:lnTo>
                      <a:lnTo>
                        <a:pt x="33" y="107"/>
                      </a:lnTo>
                      <a:lnTo>
                        <a:pt x="45" y="112"/>
                      </a:lnTo>
                      <a:lnTo>
                        <a:pt x="59" y="115"/>
                      </a:lnTo>
                      <a:lnTo>
                        <a:pt x="74" y="117"/>
                      </a:lnTo>
                      <a:lnTo>
                        <a:pt x="74" y="117"/>
                      </a:lnTo>
                      <a:lnTo>
                        <a:pt x="89" y="115"/>
                      </a:lnTo>
                      <a:lnTo>
                        <a:pt x="103" y="112"/>
                      </a:lnTo>
                      <a:lnTo>
                        <a:pt x="115" y="107"/>
                      </a:lnTo>
                      <a:lnTo>
                        <a:pt x="127" y="100"/>
                      </a:lnTo>
                      <a:lnTo>
                        <a:pt x="135" y="92"/>
                      </a:lnTo>
                      <a:lnTo>
                        <a:pt x="142" y="81"/>
                      </a:lnTo>
                      <a:lnTo>
                        <a:pt x="146" y="70"/>
                      </a:lnTo>
                      <a:lnTo>
                        <a:pt x="147" y="64"/>
                      </a:lnTo>
                      <a:lnTo>
                        <a:pt x="148" y="58"/>
                      </a:lnTo>
                      <a:lnTo>
                        <a:pt x="148" y="58"/>
                      </a:lnTo>
                      <a:lnTo>
                        <a:pt x="147" y="52"/>
                      </a:lnTo>
                      <a:lnTo>
                        <a:pt x="146" y="46"/>
                      </a:lnTo>
                      <a:lnTo>
                        <a:pt x="142" y="36"/>
                      </a:lnTo>
                      <a:lnTo>
                        <a:pt x="135" y="25"/>
                      </a:lnTo>
                      <a:lnTo>
                        <a:pt x="127" y="17"/>
                      </a:lnTo>
                      <a:lnTo>
                        <a:pt x="115" y="10"/>
                      </a:lnTo>
                      <a:lnTo>
                        <a:pt x="103" y="5"/>
                      </a:lnTo>
                      <a:lnTo>
                        <a:pt x="89" y="1"/>
                      </a:lnTo>
                      <a:lnTo>
                        <a:pt x="7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69" name="Freeform 316"/>
                <p:cNvSpPr>
                  <a:spLocks/>
                </p:cNvSpPr>
                <p:nvPr userDrawn="1"/>
              </p:nvSpPr>
              <p:spPr bwMode="auto">
                <a:xfrm>
                  <a:off x="11169196" y="2795086"/>
                  <a:ext cx="171450" cy="131763"/>
                </a:xfrm>
                <a:custGeom>
                  <a:avLst/>
                  <a:gdLst>
                    <a:gd name="T0" fmla="*/ 125 w 216"/>
                    <a:gd name="T1" fmla="*/ 0 h 166"/>
                    <a:gd name="T2" fmla="*/ 125 w 216"/>
                    <a:gd name="T3" fmla="*/ 0 h 166"/>
                    <a:gd name="T4" fmla="*/ 106 w 216"/>
                    <a:gd name="T5" fmla="*/ 1 h 166"/>
                    <a:gd name="T6" fmla="*/ 86 w 216"/>
                    <a:gd name="T7" fmla="*/ 5 h 166"/>
                    <a:gd name="T8" fmla="*/ 86 w 216"/>
                    <a:gd name="T9" fmla="*/ 5 h 166"/>
                    <a:gd name="T10" fmla="*/ 75 w 216"/>
                    <a:gd name="T11" fmla="*/ 8 h 166"/>
                    <a:gd name="T12" fmla="*/ 66 w 216"/>
                    <a:gd name="T13" fmla="*/ 13 h 166"/>
                    <a:gd name="T14" fmla="*/ 56 w 216"/>
                    <a:gd name="T15" fmla="*/ 18 h 166"/>
                    <a:gd name="T16" fmla="*/ 47 w 216"/>
                    <a:gd name="T17" fmla="*/ 23 h 166"/>
                    <a:gd name="T18" fmla="*/ 38 w 216"/>
                    <a:gd name="T19" fmla="*/ 29 h 166"/>
                    <a:gd name="T20" fmla="*/ 31 w 216"/>
                    <a:gd name="T21" fmla="*/ 35 h 166"/>
                    <a:gd name="T22" fmla="*/ 24 w 216"/>
                    <a:gd name="T23" fmla="*/ 42 h 166"/>
                    <a:gd name="T24" fmla="*/ 18 w 216"/>
                    <a:gd name="T25" fmla="*/ 49 h 166"/>
                    <a:gd name="T26" fmla="*/ 14 w 216"/>
                    <a:gd name="T27" fmla="*/ 56 h 166"/>
                    <a:gd name="T28" fmla="*/ 9 w 216"/>
                    <a:gd name="T29" fmla="*/ 64 h 166"/>
                    <a:gd name="T30" fmla="*/ 5 w 216"/>
                    <a:gd name="T31" fmla="*/ 73 h 166"/>
                    <a:gd name="T32" fmla="*/ 3 w 216"/>
                    <a:gd name="T33" fmla="*/ 80 h 166"/>
                    <a:gd name="T34" fmla="*/ 2 w 216"/>
                    <a:gd name="T35" fmla="*/ 88 h 166"/>
                    <a:gd name="T36" fmla="*/ 0 w 216"/>
                    <a:gd name="T37" fmla="*/ 96 h 166"/>
                    <a:gd name="T38" fmla="*/ 2 w 216"/>
                    <a:gd name="T39" fmla="*/ 105 h 166"/>
                    <a:gd name="T40" fmla="*/ 3 w 216"/>
                    <a:gd name="T41" fmla="*/ 113 h 166"/>
                    <a:gd name="T42" fmla="*/ 3 w 216"/>
                    <a:gd name="T43" fmla="*/ 113 h 166"/>
                    <a:gd name="T44" fmla="*/ 8 w 216"/>
                    <a:gd name="T45" fmla="*/ 125 h 166"/>
                    <a:gd name="T46" fmla="*/ 15 w 216"/>
                    <a:gd name="T47" fmla="*/ 134 h 166"/>
                    <a:gd name="T48" fmla="*/ 24 w 216"/>
                    <a:gd name="T49" fmla="*/ 144 h 166"/>
                    <a:gd name="T50" fmla="*/ 35 w 216"/>
                    <a:gd name="T51" fmla="*/ 152 h 166"/>
                    <a:gd name="T52" fmla="*/ 47 w 216"/>
                    <a:gd name="T53" fmla="*/ 158 h 166"/>
                    <a:gd name="T54" fmla="*/ 61 w 216"/>
                    <a:gd name="T55" fmla="*/ 163 h 166"/>
                    <a:gd name="T56" fmla="*/ 75 w 216"/>
                    <a:gd name="T57" fmla="*/ 165 h 166"/>
                    <a:gd name="T58" fmla="*/ 91 w 216"/>
                    <a:gd name="T59" fmla="*/ 166 h 166"/>
                    <a:gd name="T60" fmla="*/ 91 w 216"/>
                    <a:gd name="T61" fmla="*/ 166 h 166"/>
                    <a:gd name="T62" fmla="*/ 111 w 216"/>
                    <a:gd name="T63" fmla="*/ 164 h 166"/>
                    <a:gd name="T64" fmla="*/ 130 w 216"/>
                    <a:gd name="T65" fmla="*/ 161 h 166"/>
                    <a:gd name="T66" fmla="*/ 130 w 216"/>
                    <a:gd name="T67" fmla="*/ 161 h 166"/>
                    <a:gd name="T68" fmla="*/ 141 w 216"/>
                    <a:gd name="T69" fmla="*/ 157 h 166"/>
                    <a:gd name="T70" fmla="*/ 151 w 216"/>
                    <a:gd name="T71" fmla="*/ 153 h 166"/>
                    <a:gd name="T72" fmla="*/ 161 w 216"/>
                    <a:gd name="T73" fmla="*/ 149 h 166"/>
                    <a:gd name="T74" fmla="*/ 169 w 216"/>
                    <a:gd name="T75" fmla="*/ 143 h 166"/>
                    <a:gd name="T76" fmla="*/ 178 w 216"/>
                    <a:gd name="T77" fmla="*/ 137 h 166"/>
                    <a:gd name="T78" fmla="*/ 186 w 216"/>
                    <a:gd name="T79" fmla="*/ 131 h 166"/>
                    <a:gd name="T80" fmla="*/ 192 w 216"/>
                    <a:gd name="T81" fmla="*/ 124 h 166"/>
                    <a:gd name="T82" fmla="*/ 198 w 216"/>
                    <a:gd name="T83" fmla="*/ 117 h 166"/>
                    <a:gd name="T84" fmla="*/ 204 w 216"/>
                    <a:gd name="T85" fmla="*/ 109 h 166"/>
                    <a:gd name="T86" fmla="*/ 207 w 216"/>
                    <a:gd name="T87" fmla="*/ 101 h 166"/>
                    <a:gd name="T88" fmla="*/ 211 w 216"/>
                    <a:gd name="T89" fmla="*/ 94 h 166"/>
                    <a:gd name="T90" fmla="*/ 213 w 216"/>
                    <a:gd name="T91" fmla="*/ 86 h 166"/>
                    <a:gd name="T92" fmla="*/ 216 w 216"/>
                    <a:gd name="T93" fmla="*/ 77 h 166"/>
                    <a:gd name="T94" fmla="*/ 216 w 216"/>
                    <a:gd name="T95" fmla="*/ 69 h 166"/>
                    <a:gd name="T96" fmla="*/ 216 w 216"/>
                    <a:gd name="T97" fmla="*/ 61 h 166"/>
                    <a:gd name="T98" fmla="*/ 213 w 216"/>
                    <a:gd name="T99" fmla="*/ 52 h 166"/>
                    <a:gd name="T100" fmla="*/ 213 w 216"/>
                    <a:gd name="T101" fmla="*/ 52 h 166"/>
                    <a:gd name="T102" fmla="*/ 209 w 216"/>
                    <a:gd name="T103" fmla="*/ 42 h 166"/>
                    <a:gd name="T104" fmla="*/ 201 w 216"/>
                    <a:gd name="T105" fmla="*/ 31 h 166"/>
                    <a:gd name="T106" fmla="*/ 193 w 216"/>
                    <a:gd name="T107" fmla="*/ 21 h 166"/>
                    <a:gd name="T108" fmla="*/ 182 w 216"/>
                    <a:gd name="T109" fmla="*/ 14 h 166"/>
                    <a:gd name="T110" fmla="*/ 169 w 216"/>
                    <a:gd name="T111" fmla="*/ 7 h 166"/>
                    <a:gd name="T112" fmla="*/ 156 w 216"/>
                    <a:gd name="T113" fmla="*/ 4 h 166"/>
                    <a:gd name="T114" fmla="*/ 141 w 216"/>
                    <a:gd name="T115" fmla="*/ 0 h 166"/>
                    <a:gd name="T116" fmla="*/ 125 w 216"/>
                    <a:gd name="T11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6" h="166">
                      <a:moveTo>
                        <a:pt x="125" y="0"/>
                      </a:moveTo>
                      <a:lnTo>
                        <a:pt x="125" y="0"/>
                      </a:lnTo>
                      <a:lnTo>
                        <a:pt x="106" y="1"/>
                      </a:lnTo>
                      <a:lnTo>
                        <a:pt x="86" y="5"/>
                      </a:lnTo>
                      <a:lnTo>
                        <a:pt x="86" y="5"/>
                      </a:lnTo>
                      <a:lnTo>
                        <a:pt x="75" y="8"/>
                      </a:lnTo>
                      <a:lnTo>
                        <a:pt x="66" y="13"/>
                      </a:lnTo>
                      <a:lnTo>
                        <a:pt x="56" y="18"/>
                      </a:lnTo>
                      <a:lnTo>
                        <a:pt x="47" y="23"/>
                      </a:lnTo>
                      <a:lnTo>
                        <a:pt x="38" y="29"/>
                      </a:lnTo>
                      <a:lnTo>
                        <a:pt x="31" y="35"/>
                      </a:lnTo>
                      <a:lnTo>
                        <a:pt x="24" y="42"/>
                      </a:lnTo>
                      <a:lnTo>
                        <a:pt x="18" y="49"/>
                      </a:lnTo>
                      <a:lnTo>
                        <a:pt x="14" y="56"/>
                      </a:lnTo>
                      <a:lnTo>
                        <a:pt x="9" y="64"/>
                      </a:lnTo>
                      <a:lnTo>
                        <a:pt x="5" y="73"/>
                      </a:lnTo>
                      <a:lnTo>
                        <a:pt x="3" y="80"/>
                      </a:lnTo>
                      <a:lnTo>
                        <a:pt x="2" y="88"/>
                      </a:lnTo>
                      <a:lnTo>
                        <a:pt x="0" y="96"/>
                      </a:lnTo>
                      <a:lnTo>
                        <a:pt x="2" y="105"/>
                      </a:lnTo>
                      <a:lnTo>
                        <a:pt x="3" y="113"/>
                      </a:lnTo>
                      <a:lnTo>
                        <a:pt x="3" y="113"/>
                      </a:lnTo>
                      <a:lnTo>
                        <a:pt x="8" y="125"/>
                      </a:lnTo>
                      <a:lnTo>
                        <a:pt x="15" y="134"/>
                      </a:lnTo>
                      <a:lnTo>
                        <a:pt x="24" y="144"/>
                      </a:lnTo>
                      <a:lnTo>
                        <a:pt x="35" y="152"/>
                      </a:lnTo>
                      <a:lnTo>
                        <a:pt x="47" y="158"/>
                      </a:lnTo>
                      <a:lnTo>
                        <a:pt x="61" y="163"/>
                      </a:lnTo>
                      <a:lnTo>
                        <a:pt x="75" y="165"/>
                      </a:lnTo>
                      <a:lnTo>
                        <a:pt x="91" y="166"/>
                      </a:lnTo>
                      <a:lnTo>
                        <a:pt x="91" y="166"/>
                      </a:lnTo>
                      <a:lnTo>
                        <a:pt x="111" y="164"/>
                      </a:lnTo>
                      <a:lnTo>
                        <a:pt x="130" y="161"/>
                      </a:lnTo>
                      <a:lnTo>
                        <a:pt x="130" y="161"/>
                      </a:lnTo>
                      <a:lnTo>
                        <a:pt x="141" y="157"/>
                      </a:lnTo>
                      <a:lnTo>
                        <a:pt x="151" y="153"/>
                      </a:lnTo>
                      <a:lnTo>
                        <a:pt x="161" y="149"/>
                      </a:lnTo>
                      <a:lnTo>
                        <a:pt x="169" y="143"/>
                      </a:lnTo>
                      <a:lnTo>
                        <a:pt x="178" y="137"/>
                      </a:lnTo>
                      <a:lnTo>
                        <a:pt x="186" y="131"/>
                      </a:lnTo>
                      <a:lnTo>
                        <a:pt x="192" y="124"/>
                      </a:lnTo>
                      <a:lnTo>
                        <a:pt x="198" y="117"/>
                      </a:lnTo>
                      <a:lnTo>
                        <a:pt x="204" y="109"/>
                      </a:lnTo>
                      <a:lnTo>
                        <a:pt x="207" y="101"/>
                      </a:lnTo>
                      <a:lnTo>
                        <a:pt x="211" y="94"/>
                      </a:lnTo>
                      <a:lnTo>
                        <a:pt x="213" y="86"/>
                      </a:lnTo>
                      <a:lnTo>
                        <a:pt x="216" y="77"/>
                      </a:lnTo>
                      <a:lnTo>
                        <a:pt x="216" y="69"/>
                      </a:lnTo>
                      <a:lnTo>
                        <a:pt x="216" y="61"/>
                      </a:lnTo>
                      <a:lnTo>
                        <a:pt x="213" y="52"/>
                      </a:lnTo>
                      <a:lnTo>
                        <a:pt x="213" y="52"/>
                      </a:lnTo>
                      <a:lnTo>
                        <a:pt x="209" y="42"/>
                      </a:lnTo>
                      <a:lnTo>
                        <a:pt x="201" y="31"/>
                      </a:lnTo>
                      <a:lnTo>
                        <a:pt x="193" y="21"/>
                      </a:lnTo>
                      <a:lnTo>
                        <a:pt x="182" y="14"/>
                      </a:lnTo>
                      <a:lnTo>
                        <a:pt x="169" y="7"/>
                      </a:lnTo>
                      <a:lnTo>
                        <a:pt x="156" y="4"/>
                      </a:lnTo>
                      <a:lnTo>
                        <a:pt x="141" y="0"/>
                      </a:lnTo>
                      <a:lnTo>
                        <a:pt x="1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7547" name="그룹 7546"/>
              <p:cNvGrpSpPr/>
              <p:nvPr userDrawn="1"/>
            </p:nvGrpSpPr>
            <p:grpSpPr>
              <a:xfrm>
                <a:off x="6301722" y="1363524"/>
                <a:ext cx="374586" cy="815843"/>
                <a:chOff x="12147096" y="-27489"/>
                <a:chExt cx="677863" cy="1476376"/>
              </a:xfrm>
            </p:grpSpPr>
            <p:sp>
              <p:nvSpPr>
                <p:cNvPr id="7470" name="Freeform 317"/>
                <p:cNvSpPr>
                  <a:spLocks/>
                </p:cNvSpPr>
                <p:nvPr userDrawn="1"/>
              </p:nvSpPr>
              <p:spPr bwMode="auto">
                <a:xfrm>
                  <a:off x="12356646" y="1167899"/>
                  <a:ext cx="73025" cy="252413"/>
                </a:xfrm>
                <a:custGeom>
                  <a:avLst/>
                  <a:gdLst>
                    <a:gd name="T0" fmla="*/ 44 w 92"/>
                    <a:gd name="T1" fmla="*/ 318 h 318"/>
                    <a:gd name="T2" fmla="*/ 0 w 92"/>
                    <a:gd name="T3" fmla="*/ 318 h 318"/>
                    <a:gd name="T4" fmla="*/ 0 w 92"/>
                    <a:gd name="T5" fmla="*/ 0 h 318"/>
                    <a:gd name="T6" fmla="*/ 92 w 92"/>
                    <a:gd name="T7" fmla="*/ 0 h 318"/>
                    <a:gd name="T8" fmla="*/ 44 w 92"/>
                    <a:gd name="T9" fmla="*/ 318 h 318"/>
                  </a:gdLst>
                  <a:ahLst/>
                  <a:cxnLst>
                    <a:cxn ang="0">
                      <a:pos x="T0" y="T1"/>
                    </a:cxn>
                    <a:cxn ang="0">
                      <a:pos x="T2" y="T3"/>
                    </a:cxn>
                    <a:cxn ang="0">
                      <a:pos x="T4" y="T5"/>
                    </a:cxn>
                    <a:cxn ang="0">
                      <a:pos x="T6" y="T7"/>
                    </a:cxn>
                    <a:cxn ang="0">
                      <a:pos x="T8" y="T9"/>
                    </a:cxn>
                  </a:cxnLst>
                  <a:rect l="0" t="0" r="r" b="b"/>
                  <a:pathLst>
                    <a:path w="92" h="318">
                      <a:moveTo>
                        <a:pt x="44" y="318"/>
                      </a:moveTo>
                      <a:lnTo>
                        <a:pt x="0" y="318"/>
                      </a:lnTo>
                      <a:lnTo>
                        <a:pt x="0" y="0"/>
                      </a:lnTo>
                      <a:lnTo>
                        <a:pt x="92" y="0"/>
                      </a:lnTo>
                      <a:lnTo>
                        <a:pt x="44" y="318"/>
                      </a:lnTo>
                      <a:close/>
                    </a:path>
                  </a:pathLst>
                </a:custGeom>
                <a:solidFill>
                  <a:srgbClr val="148C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1" name="Freeform 318"/>
                <p:cNvSpPr>
                  <a:spLocks/>
                </p:cNvSpPr>
                <p:nvPr userDrawn="1"/>
              </p:nvSpPr>
              <p:spPr bwMode="auto">
                <a:xfrm>
                  <a:off x="12340771" y="1371099"/>
                  <a:ext cx="77788" cy="77788"/>
                </a:xfrm>
                <a:custGeom>
                  <a:avLst/>
                  <a:gdLst>
                    <a:gd name="T0" fmla="*/ 98 w 98"/>
                    <a:gd name="T1" fmla="*/ 98 h 98"/>
                    <a:gd name="T2" fmla="*/ 98 w 98"/>
                    <a:gd name="T3" fmla="*/ 98 h 98"/>
                    <a:gd name="T4" fmla="*/ 98 w 98"/>
                    <a:gd name="T5" fmla="*/ 88 h 98"/>
                    <a:gd name="T6" fmla="*/ 96 w 98"/>
                    <a:gd name="T7" fmla="*/ 79 h 98"/>
                    <a:gd name="T8" fmla="*/ 94 w 98"/>
                    <a:gd name="T9" fmla="*/ 69 h 98"/>
                    <a:gd name="T10" fmla="*/ 90 w 98"/>
                    <a:gd name="T11" fmla="*/ 60 h 98"/>
                    <a:gd name="T12" fmla="*/ 86 w 98"/>
                    <a:gd name="T13" fmla="*/ 51 h 98"/>
                    <a:gd name="T14" fmla="*/ 81 w 98"/>
                    <a:gd name="T15" fmla="*/ 43 h 98"/>
                    <a:gd name="T16" fmla="*/ 76 w 98"/>
                    <a:gd name="T17" fmla="*/ 36 h 98"/>
                    <a:gd name="T18" fmla="*/ 69 w 98"/>
                    <a:gd name="T19" fmla="*/ 29 h 98"/>
                    <a:gd name="T20" fmla="*/ 62 w 98"/>
                    <a:gd name="T21" fmla="*/ 23 h 98"/>
                    <a:gd name="T22" fmla="*/ 55 w 98"/>
                    <a:gd name="T23" fmla="*/ 17 h 98"/>
                    <a:gd name="T24" fmla="*/ 46 w 98"/>
                    <a:gd name="T25" fmla="*/ 12 h 98"/>
                    <a:gd name="T26" fmla="*/ 38 w 98"/>
                    <a:gd name="T27" fmla="*/ 9 h 98"/>
                    <a:gd name="T28" fmla="*/ 30 w 98"/>
                    <a:gd name="T29" fmla="*/ 5 h 98"/>
                    <a:gd name="T30" fmla="*/ 20 w 98"/>
                    <a:gd name="T31" fmla="*/ 3 h 98"/>
                    <a:gd name="T32" fmla="*/ 11 w 98"/>
                    <a:gd name="T33" fmla="*/ 2 h 98"/>
                    <a:gd name="T34" fmla="*/ 0 w 98"/>
                    <a:gd name="T35" fmla="*/ 0 h 98"/>
                    <a:gd name="T36" fmla="*/ 0 w 98"/>
                    <a:gd name="T37" fmla="*/ 98 h 98"/>
                    <a:gd name="T38" fmla="*/ 98 w 98"/>
                    <a:gd name="T39"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8" h="98">
                      <a:moveTo>
                        <a:pt x="98" y="98"/>
                      </a:moveTo>
                      <a:lnTo>
                        <a:pt x="98" y="98"/>
                      </a:lnTo>
                      <a:lnTo>
                        <a:pt x="98" y="88"/>
                      </a:lnTo>
                      <a:lnTo>
                        <a:pt x="96" y="79"/>
                      </a:lnTo>
                      <a:lnTo>
                        <a:pt x="94" y="69"/>
                      </a:lnTo>
                      <a:lnTo>
                        <a:pt x="90" y="60"/>
                      </a:lnTo>
                      <a:lnTo>
                        <a:pt x="86" y="51"/>
                      </a:lnTo>
                      <a:lnTo>
                        <a:pt x="81" y="43"/>
                      </a:lnTo>
                      <a:lnTo>
                        <a:pt x="76" y="36"/>
                      </a:lnTo>
                      <a:lnTo>
                        <a:pt x="69" y="29"/>
                      </a:lnTo>
                      <a:lnTo>
                        <a:pt x="62" y="23"/>
                      </a:lnTo>
                      <a:lnTo>
                        <a:pt x="55" y="17"/>
                      </a:lnTo>
                      <a:lnTo>
                        <a:pt x="46" y="12"/>
                      </a:lnTo>
                      <a:lnTo>
                        <a:pt x="38" y="9"/>
                      </a:lnTo>
                      <a:lnTo>
                        <a:pt x="30" y="5"/>
                      </a:lnTo>
                      <a:lnTo>
                        <a:pt x="20" y="3"/>
                      </a:lnTo>
                      <a:lnTo>
                        <a:pt x="11" y="2"/>
                      </a:lnTo>
                      <a:lnTo>
                        <a:pt x="0" y="0"/>
                      </a:lnTo>
                      <a:lnTo>
                        <a:pt x="0" y="98"/>
                      </a:lnTo>
                      <a:lnTo>
                        <a:pt x="98" y="98"/>
                      </a:lnTo>
                      <a:close/>
                    </a:path>
                  </a:pathLst>
                </a:custGeom>
                <a:solidFill>
                  <a:srgbClr val="177A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2" name="Freeform 319"/>
                <p:cNvSpPr>
                  <a:spLocks/>
                </p:cNvSpPr>
                <p:nvPr userDrawn="1"/>
              </p:nvSpPr>
              <p:spPr bwMode="auto">
                <a:xfrm>
                  <a:off x="12262983" y="1371099"/>
                  <a:ext cx="77788" cy="77788"/>
                </a:xfrm>
                <a:custGeom>
                  <a:avLst/>
                  <a:gdLst>
                    <a:gd name="T0" fmla="*/ 97 w 97"/>
                    <a:gd name="T1" fmla="*/ 0 h 98"/>
                    <a:gd name="T2" fmla="*/ 97 w 97"/>
                    <a:gd name="T3" fmla="*/ 0 h 98"/>
                    <a:gd name="T4" fmla="*/ 88 w 97"/>
                    <a:gd name="T5" fmla="*/ 2 h 98"/>
                    <a:gd name="T6" fmla="*/ 78 w 97"/>
                    <a:gd name="T7" fmla="*/ 3 h 98"/>
                    <a:gd name="T8" fmla="*/ 68 w 97"/>
                    <a:gd name="T9" fmla="*/ 5 h 98"/>
                    <a:gd name="T10" fmla="*/ 59 w 97"/>
                    <a:gd name="T11" fmla="*/ 9 h 98"/>
                    <a:gd name="T12" fmla="*/ 51 w 97"/>
                    <a:gd name="T13" fmla="*/ 12 h 98"/>
                    <a:gd name="T14" fmla="*/ 42 w 97"/>
                    <a:gd name="T15" fmla="*/ 17 h 98"/>
                    <a:gd name="T16" fmla="*/ 35 w 97"/>
                    <a:gd name="T17" fmla="*/ 23 h 98"/>
                    <a:gd name="T18" fmla="*/ 28 w 97"/>
                    <a:gd name="T19" fmla="*/ 29 h 98"/>
                    <a:gd name="T20" fmla="*/ 22 w 97"/>
                    <a:gd name="T21" fmla="*/ 36 h 98"/>
                    <a:gd name="T22" fmla="*/ 16 w 97"/>
                    <a:gd name="T23" fmla="*/ 43 h 98"/>
                    <a:gd name="T24" fmla="*/ 11 w 97"/>
                    <a:gd name="T25" fmla="*/ 51 h 98"/>
                    <a:gd name="T26" fmla="*/ 7 w 97"/>
                    <a:gd name="T27" fmla="*/ 60 h 98"/>
                    <a:gd name="T28" fmla="*/ 3 w 97"/>
                    <a:gd name="T29" fmla="*/ 69 h 98"/>
                    <a:gd name="T30" fmla="*/ 1 w 97"/>
                    <a:gd name="T31" fmla="*/ 79 h 98"/>
                    <a:gd name="T32" fmla="*/ 0 w 97"/>
                    <a:gd name="T33" fmla="*/ 88 h 98"/>
                    <a:gd name="T34" fmla="*/ 0 w 97"/>
                    <a:gd name="T35" fmla="*/ 98 h 98"/>
                    <a:gd name="T36" fmla="*/ 97 w 97"/>
                    <a:gd name="T37" fmla="*/ 98 h 98"/>
                    <a:gd name="T38" fmla="*/ 97 w 97"/>
                    <a:gd name="T39"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7" h="98">
                      <a:moveTo>
                        <a:pt x="97" y="0"/>
                      </a:moveTo>
                      <a:lnTo>
                        <a:pt x="97" y="0"/>
                      </a:lnTo>
                      <a:lnTo>
                        <a:pt x="88" y="2"/>
                      </a:lnTo>
                      <a:lnTo>
                        <a:pt x="78" y="3"/>
                      </a:lnTo>
                      <a:lnTo>
                        <a:pt x="68" y="5"/>
                      </a:lnTo>
                      <a:lnTo>
                        <a:pt x="59" y="9"/>
                      </a:lnTo>
                      <a:lnTo>
                        <a:pt x="51" y="12"/>
                      </a:lnTo>
                      <a:lnTo>
                        <a:pt x="42" y="17"/>
                      </a:lnTo>
                      <a:lnTo>
                        <a:pt x="35" y="23"/>
                      </a:lnTo>
                      <a:lnTo>
                        <a:pt x="28" y="29"/>
                      </a:lnTo>
                      <a:lnTo>
                        <a:pt x="22" y="36"/>
                      </a:lnTo>
                      <a:lnTo>
                        <a:pt x="16" y="43"/>
                      </a:lnTo>
                      <a:lnTo>
                        <a:pt x="11" y="51"/>
                      </a:lnTo>
                      <a:lnTo>
                        <a:pt x="7" y="60"/>
                      </a:lnTo>
                      <a:lnTo>
                        <a:pt x="3" y="69"/>
                      </a:lnTo>
                      <a:lnTo>
                        <a:pt x="1" y="79"/>
                      </a:lnTo>
                      <a:lnTo>
                        <a:pt x="0" y="88"/>
                      </a:lnTo>
                      <a:lnTo>
                        <a:pt x="0" y="98"/>
                      </a:lnTo>
                      <a:lnTo>
                        <a:pt x="97" y="98"/>
                      </a:lnTo>
                      <a:lnTo>
                        <a:pt x="97" y="0"/>
                      </a:lnTo>
                      <a:close/>
                    </a:path>
                  </a:pathLst>
                </a:custGeom>
                <a:solidFill>
                  <a:srgbClr val="39B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3" name="Freeform 320"/>
                <p:cNvSpPr>
                  <a:spLocks/>
                </p:cNvSpPr>
                <p:nvPr userDrawn="1"/>
              </p:nvSpPr>
              <p:spPr bwMode="auto">
                <a:xfrm>
                  <a:off x="12451896" y="759911"/>
                  <a:ext cx="34925" cy="112713"/>
                </a:xfrm>
                <a:custGeom>
                  <a:avLst/>
                  <a:gdLst>
                    <a:gd name="T0" fmla="*/ 0 w 44"/>
                    <a:gd name="T1" fmla="*/ 143 h 143"/>
                    <a:gd name="T2" fmla="*/ 44 w 44"/>
                    <a:gd name="T3" fmla="*/ 143 h 143"/>
                    <a:gd name="T4" fmla="*/ 44 w 44"/>
                    <a:gd name="T5" fmla="*/ 0 h 143"/>
                    <a:gd name="T6" fmla="*/ 5 w 44"/>
                    <a:gd name="T7" fmla="*/ 0 h 143"/>
                    <a:gd name="T8" fmla="*/ 0 w 44"/>
                    <a:gd name="T9" fmla="*/ 143 h 143"/>
                  </a:gdLst>
                  <a:ahLst/>
                  <a:cxnLst>
                    <a:cxn ang="0">
                      <a:pos x="T0" y="T1"/>
                    </a:cxn>
                    <a:cxn ang="0">
                      <a:pos x="T2" y="T3"/>
                    </a:cxn>
                    <a:cxn ang="0">
                      <a:pos x="T4" y="T5"/>
                    </a:cxn>
                    <a:cxn ang="0">
                      <a:pos x="T6" y="T7"/>
                    </a:cxn>
                    <a:cxn ang="0">
                      <a:pos x="T8" y="T9"/>
                    </a:cxn>
                  </a:cxnLst>
                  <a:rect l="0" t="0" r="r" b="b"/>
                  <a:pathLst>
                    <a:path w="44" h="143">
                      <a:moveTo>
                        <a:pt x="0" y="143"/>
                      </a:moveTo>
                      <a:lnTo>
                        <a:pt x="44" y="143"/>
                      </a:lnTo>
                      <a:lnTo>
                        <a:pt x="44" y="0"/>
                      </a:lnTo>
                      <a:lnTo>
                        <a:pt x="5" y="0"/>
                      </a:lnTo>
                      <a:lnTo>
                        <a:pt x="0" y="143"/>
                      </a:lnTo>
                      <a:close/>
                    </a:path>
                  </a:pathLst>
                </a:custGeom>
                <a:solidFill>
                  <a:srgbClr val="148C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4" name="Freeform 321"/>
                <p:cNvSpPr>
                  <a:spLocks/>
                </p:cNvSpPr>
                <p:nvPr userDrawn="1"/>
              </p:nvSpPr>
              <p:spPr bwMode="auto">
                <a:xfrm>
                  <a:off x="12147096" y="-27489"/>
                  <a:ext cx="339725" cy="806450"/>
                </a:xfrm>
                <a:custGeom>
                  <a:avLst/>
                  <a:gdLst>
                    <a:gd name="T0" fmla="*/ 428 w 428"/>
                    <a:gd name="T1" fmla="*/ 1015 h 1015"/>
                    <a:gd name="T2" fmla="*/ 428 w 428"/>
                    <a:gd name="T3" fmla="*/ 1015 h 1015"/>
                    <a:gd name="T4" fmla="*/ 402 w 428"/>
                    <a:gd name="T5" fmla="*/ 1014 h 1015"/>
                    <a:gd name="T6" fmla="*/ 378 w 428"/>
                    <a:gd name="T7" fmla="*/ 1011 h 1015"/>
                    <a:gd name="T8" fmla="*/ 354 w 428"/>
                    <a:gd name="T9" fmla="*/ 1009 h 1015"/>
                    <a:gd name="T10" fmla="*/ 333 w 428"/>
                    <a:gd name="T11" fmla="*/ 1004 h 1015"/>
                    <a:gd name="T12" fmla="*/ 312 w 428"/>
                    <a:gd name="T13" fmla="*/ 998 h 1015"/>
                    <a:gd name="T14" fmla="*/ 291 w 428"/>
                    <a:gd name="T15" fmla="*/ 992 h 1015"/>
                    <a:gd name="T16" fmla="*/ 274 w 428"/>
                    <a:gd name="T17" fmla="*/ 984 h 1015"/>
                    <a:gd name="T18" fmla="*/ 256 w 428"/>
                    <a:gd name="T19" fmla="*/ 974 h 1015"/>
                    <a:gd name="T20" fmla="*/ 239 w 428"/>
                    <a:gd name="T21" fmla="*/ 963 h 1015"/>
                    <a:gd name="T22" fmla="*/ 222 w 428"/>
                    <a:gd name="T23" fmla="*/ 951 h 1015"/>
                    <a:gd name="T24" fmla="*/ 208 w 428"/>
                    <a:gd name="T25" fmla="*/ 938 h 1015"/>
                    <a:gd name="T26" fmla="*/ 195 w 428"/>
                    <a:gd name="T27" fmla="*/ 922 h 1015"/>
                    <a:gd name="T28" fmla="*/ 182 w 428"/>
                    <a:gd name="T29" fmla="*/ 905 h 1015"/>
                    <a:gd name="T30" fmla="*/ 170 w 428"/>
                    <a:gd name="T31" fmla="*/ 888 h 1015"/>
                    <a:gd name="T32" fmla="*/ 159 w 428"/>
                    <a:gd name="T33" fmla="*/ 869 h 1015"/>
                    <a:gd name="T34" fmla="*/ 150 w 428"/>
                    <a:gd name="T35" fmla="*/ 848 h 1015"/>
                    <a:gd name="T36" fmla="*/ 150 w 428"/>
                    <a:gd name="T37" fmla="*/ 848 h 1015"/>
                    <a:gd name="T38" fmla="*/ 130 w 428"/>
                    <a:gd name="T39" fmla="*/ 800 h 1015"/>
                    <a:gd name="T40" fmla="*/ 106 w 428"/>
                    <a:gd name="T41" fmla="*/ 739 h 1015"/>
                    <a:gd name="T42" fmla="*/ 81 w 428"/>
                    <a:gd name="T43" fmla="*/ 671 h 1015"/>
                    <a:gd name="T44" fmla="*/ 57 w 428"/>
                    <a:gd name="T45" fmla="*/ 596 h 1015"/>
                    <a:gd name="T46" fmla="*/ 45 w 428"/>
                    <a:gd name="T47" fmla="*/ 558 h 1015"/>
                    <a:gd name="T48" fmla="*/ 35 w 428"/>
                    <a:gd name="T49" fmla="*/ 519 h 1015"/>
                    <a:gd name="T50" fmla="*/ 25 w 428"/>
                    <a:gd name="T51" fmla="*/ 481 h 1015"/>
                    <a:gd name="T52" fmla="*/ 17 w 428"/>
                    <a:gd name="T53" fmla="*/ 442 h 1015"/>
                    <a:gd name="T54" fmla="*/ 10 w 428"/>
                    <a:gd name="T55" fmla="*/ 404 h 1015"/>
                    <a:gd name="T56" fmla="*/ 5 w 428"/>
                    <a:gd name="T57" fmla="*/ 367 h 1015"/>
                    <a:gd name="T58" fmla="*/ 1 w 428"/>
                    <a:gd name="T59" fmla="*/ 330 h 1015"/>
                    <a:gd name="T60" fmla="*/ 0 w 428"/>
                    <a:gd name="T61" fmla="*/ 296 h 1015"/>
                    <a:gd name="T62" fmla="*/ 0 w 428"/>
                    <a:gd name="T63" fmla="*/ 296 h 1015"/>
                    <a:gd name="T64" fmla="*/ 1 w 428"/>
                    <a:gd name="T65" fmla="*/ 279 h 1015"/>
                    <a:gd name="T66" fmla="*/ 2 w 428"/>
                    <a:gd name="T67" fmla="*/ 262 h 1015"/>
                    <a:gd name="T68" fmla="*/ 5 w 428"/>
                    <a:gd name="T69" fmla="*/ 247 h 1015"/>
                    <a:gd name="T70" fmla="*/ 10 w 428"/>
                    <a:gd name="T71" fmla="*/ 231 h 1015"/>
                    <a:gd name="T72" fmla="*/ 14 w 428"/>
                    <a:gd name="T73" fmla="*/ 216 h 1015"/>
                    <a:gd name="T74" fmla="*/ 20 w 428"/>
                    <a:gd name="T75" fmla="*/ 202 h 1015"/>
                    <a:gd name="T76" fmla="*/ 26 w 428"/>
                    <a:gd name="T77" fmla="*/ 187 h 1015"/>
                    <a:gd name="T78" fmla="*/ 35 w 428"/>
                    <a:gd name="T79" fmla="*/ 173 h 1015"/>
                    <a:gd name="T80" fmla="*/ 43 w 428"/>
                    <a:gd name="T81" fmla="*/ 160 h 1015"/>
                    <a:gd name="T82" fmla="*/ 52 w 428"/>
                    <a:gd name="T83" fmla="*/ 147 h 1015"/>
                    <a:gd name="T84" fmla="*/ 63 w 428"/>
                    <a:gd name="T85" fmla="*/ 135 h 1015"/>
                    <a:gd name="T86" fmla="*/ 74 w 428"/>
                    <a:gd name="T87" fmla="*/ 123 h 1015"/>
                    <a:gd name="T88" fmla="*/ 86 w 428"/>
                    <a:gd name="T89" fmla="*/ 111 h 1015"/>
                    <a:gd name="T90" fmla="*/ 99 w 428"/>
                    <a:gd name="T91" fmla="*/ 101 h 1015"/>
                    <a:gd name="T92" fmla="*/ 113 w 428"/>
                    <a:gd name="T93" fmla="*/ 90 h 1015"/>
                    <a:gd name="T94" fmla="*/ 127 w 428"/>
                    <a:gd name="T95" fmla="*/ 80 h 1015"/>
                    <a:gd name="T96" fmla="*/ 142 w 428"/>
                    <a:gd name="T97" fmla="*/ 71 h 1015"/>
                    <a:gd name="T98" fmla="*/ 157 w 428"/>
                    <a:gd name="T99" fmla="*/ 61 h 1015"/>
                    <a:gd name="T100" fmla="*/ 174 w 428"/>
                    <a:gd name="T101" fmla="*/ 53 h 1015"/>
                    <a:gd name="T102" fmla="*/ 190 w 428"/>
                    <a:gd name="T103" fmla="*/ 46 h 1015"/>
                    <a:gd name="T104" fmla="*/ 208 w 428"/>
                    <a:gd name="T105" fmla="*/ 39 h 1015"/>
                    <a:gd name="T106" fmla="*/ 226 w 428"/>
                    <a:gd name="T107" fmla="*/ 32 h 1015"/>
                    <a:gd name="T108" fmla="*/ 263 w 428"/>
                    <a:gd name="T109" fmla="*/ 20 h 1015"/>
                    <a:gd name="T110" fmla="*/ 302 w 428"/>
                    <a:gd name="T111" fmla="*/ 11 h 1015"/>
                    <a:gd name="T112" fmla="*/ 343 w 428"/>
                    <a:gd name="T113" fmla="*/ 4 h 1015"/>
                    <a:gd name="T114" fmla="*/ 384 w 428"/>
                    <a:gd name="T115" fmla="*/ 1 h 1015"/>
                    <a:gd name="T116" fmla="*/ 428 w 428"/>
                    <a:gd name="T117" fmla="*/ 0 h 1015"/>
                    <a:gd name="T118" fmla="*/ 428 w 428"/>
                    <a:gd name="T119" fmla="*/ 0 h 1015"/>
                    <a:gd name="T120" fmla="*/ 428 w 428"/>
                    <a:gd name="T121" fmla="*/ 1015 h 1015"/>
                    <a:gd name="T122" fmla="*/ 428 w 428"/>
                    <a:gd name="T123" fmla="*/ 1015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8" h="1015">
                      <a:moveTo>
                        <a:pt x="428" y="1015"/>
                      </a:moveTo>
                      <a:lnTo>
                        <a:pt x="428" y="1015"/>
                      </a:lnTo>
                      <a:lnTo>
                        <a:pt x="402" y="1014"/>
                      </a:lnTo>
                      <a:lnTo>
                        <a:pt x="378" y="1011"/>
                      </a:lnTo>
                      <a:lnTo>
                        <a:pt x="354" y="1009"/>
                      </a:lnTo>
                      <a:lnTo>
                        <a:pt x="333" y="1004"/>
                      </a:lnTo>
                      <a:lnTo>
                        <a:pt x="312" y="998"/>
                      </a:lnTo>
                      <a:lnTo>
                        <a:pt x="291" y="992"/>
                      </a:lnTo>
                      <a:lnTo>
                        <a:pt x="274" y="984"/>
                      </a:lnTo>
                      <a:lnTo>
                        <a:pt x="256" y="974"/>
                      </a:lnTo>
                      <a:lnTo>
                        <a:pt x="239" y="963"/>
                      </a:lnTo>
                      <a:lnTo>
                        <a:pt x="222" y="951"/>
                      </a:lnTo>
                      <a:lnTo>
                        <a:pt x="208" y="938"/>
                      </a:lnTo>
                      <a:lnTo>
                        <a:pt x="195" y="922"/>
                      </a:lnTo>
                      <a:lnTo>
                        <a:pt x="182" y="905"/>
                      </a:lnTo>
                      <a:lnTo>
                        <a:pt x="170" y="888"/>
                      </a:lnTo>
                      <a:lnTo>
                        <a:pt x="159" y="869"/>
                      </a:lnTo>
                      <a:lnTo>
                        <a:pt x="150" y="848"/>
                      </a:lnTo>
                      <a:lnTo>
                        <a:pt x="150" y="848"/>
                      </a:lnTo>
                      <a:lnTo>
                        <a:pt x="130" y="800"/>
                      </a:lnTo>
                      <a:lnTo>
                        <a:pt x="106" y="739"/>
                      </a:lnTo>
                      <a:lnTo>
                        <a:pt x="81" y="671"/>
                      </a:lnTo>
                      <a:lnTo>
                        <a:pt x="57" y="596"/>
                      </a:lnTo>
                      <a:lnTo>
                        <a:pt x="45" y="558"/>
                      </a:lnTo>
                      <a:lnTo>
                        <a:pt x="35" y="519"/>
                      </a:lnTo>
                      <a:lnTo>
                        <a:pt x="25" y="481"/>
                      </a:lnTo>
                      <a:lnTo>
                        <a:pt x="17" y="442"/>
                      </a:lnTo>
                      <a:lnTo>
                        <a:pt x="10" y="404"/>
                      </a:lnTo>
                      <a:lnTo>
                        <a:pt x="5" y="367"/>
                      </a:lnTo>
                      <a:lnTo>
                        <a:pt x="1" y="330"/>
                      </a:lnTo>
                      <a:lnTo>
                        <a:pt x="0" y="296"/>
                      </a:lnTo>
                      <a:lnTo>
                        <a:pt x="0" y="296"/>
                      </a:lnTo>
                      <a:lnTo>
                        <a:pt x="1" y="279"/>
                      </a:lnTo>
                      <a:lnTo>
                        <a:pt x="2" y="262"/>
                      </a:lnTo>
                      <a:lnTo>
                        <a:pt x="5" y="247"/>
                      </a:lnTo>
                      <a:lnTo>
                        <a:pt x="10" y="231"/>
                      </a:lnTo>
                      <a:lnTo>
                        <a:pt x="14" y="216"/>
                      </a:lnTo>
                      <a:lnTo>
                        <a:pt x="20" y="202"/>
                      </a:lnTo>
                      <a:lnTo>
                        <a:pt x="26" y="187"/>
                      </a:lnTo>
                      <a:lnTo>
                        <a:pt x="35" y="173"/>
                      </a:lnTo>
                      <a:lnTo>
                        <a:pt x="43" y="160"/>
                      </a:lnTo>
                      <a:lnTo>
                        <a:pt x="52" y="147"/>
                      </a:lnTo>
                      <a:lnTo>
                        <a:pt x="63" y="135"/>
                      </a:lnTo>
                      <a:lnTo>
                        <a:pt x="74" y="123"/>
                      </a:lnTo>
                      <a:lnTo>
                        <a:pt x="86" y="111"/>
                      </a:lnTo>
                      <a:lnTo>
                        <a:pt x="99" y="101"/>
                      </a:lnTo>
                      <a:lnTo>
                        <a:pt x="113" y="90"/>
                      </a:lnTo>
                      <a:lnTo>
                        <a:pt x="127" y="80"/>
                      </a:lnTo>
                      <a:lnTo>
                        <a:pt x="142" y="71"/>
                      </a:lnTo>
                      <a:lnTo>
                        <a:pt x="157" y="61"/>
                      </a:lnTo>
                      <a:lnTo>
                        <a:pt x="174" y="53"/>
                      </a:lnTo>
                      <a:lnTo>
                        <a:pt x="190" y="46"/>
                      </a:lnTo>
                      <a:lnTo>
                        <a:pt x="208" y="39"/>
                      </a:lnTo>
                      <a:lnTo>
                        <a:pt x="226" y="32"/>
                      </a:lnTo>
                      <a:lnTo>
                        <a:pt x="263" y="20"/>
                      </a:lnTo>
                      <a:lnTo>
                        <a:pt x="302" y="11"/>
                      </a:lnTo>
                      <a:lnTo>
                        <a:pt x="343" y="4"/>
                      </a:lnTo>
                      <a:lnTo>
                        <a:pt x="384" y="1"/>
                      </a:lnTo>
                      <a:lnTo>
                        <a:pt x="428" y="0"/>
                      </a:lnTo>
                      <a:lnTo>
                        <a:pt x="428" y="0"/>
                      </a:lnTo>
                      <a:lnTo>
                        <a:pt x="428" y="1015"/>
                      </a:lnTo>
                      <a:lnTo>
                        <a:pt x="428" y="1015"/>
                      </a:lnTo>
                      <a:close/>
                    </a:path>
                  </a:pathLst>
                </a:custGeom>
                <a:solidFill>
                  <a:srgbClr val="39B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5" name="Freeform 322"/>
                <p:cNvSpPr>
                  <a:spLocks/>
                </p:cNvSpPr>
                <p:nvPr userDrawn="1"/>
              </p:nvSpPr>
              <p:spPr bwMode="auto">
                <a:xfrm>
                  <a:off x="12296321" y="850399"/>
                  <a:ext cx="190500" cy="377825"/>
                </a:xfrm>
                <a:custGeom>
                  <a:avLst/>
                  <a:gdLst>
                    <a:gd name="T0" fmla="*/ 239 w 239"/>
                    <a:gd name="T1" fmla="*/ 0 h 476"/>
                    <a:gd name="T2" fmla="*/ 239 w 239"/>
                    <a:gd name="T3" fmla="*/ 0 h 476"/>
                    <a:gd name="T4" fmla="*/ 226 w 239"/>
                    <a:gd name="T5" fmla="*/ 0 h 476"/>
                    <a:gd name="T6" fmla="*/ 214 w 239"/>
                    <a:gd name="T7" fmla="*/ 1 h 476"/>
                    <a:gd name="T8" fmla="*/ 202 w 239"/>
                    <a:gd name="T9" fmla="*/ 4 h 476"/>
                    <a:gd name="T10" fmla="*/ 190 w 239"/>
                    <a:gd name="T11" fmla="*/ 7 h 476"/>
                    <a:gd name="T12" fmla="*/ 180 w 239"/>
                    <a:gd name="T13" fmla="*/ 11 h 476"/>
                    <a:gd name="T14" fmla="*/ 168 w 239"/>
                    <a:gd name="T15" fmla="*/ 16 h 476"/>
                    <a:gd name="T16" fmla="*/ 157 w 239"/>
                    <a:gd name="T17" fmla="*/ 20 h 476"/>
                    <a:gd name="T18" fmla="*/ 146 w 239"/>
                    <a:gd name="T19" fmla="*/ 26 h 476"/>
                    <a:gd name="T20" fmla="*/ 125 w 239"/>
                    <a:gd name="T21" fmla="*/ 39 h 476"/>
                    <a:gd name="T22" fmla="*/ 106 w 239"/>
                    <a:gd name="T23" fmla="*/ 56 h 476"/>
                    <a:gd name="T24" fmla="*/ 87 w 239"/>
                    <a:gd name="T25" fmla="*/ 74 h 476"/>
                    <a:gd name="T26" fmla="*/ 70 w 239"/>
                    <a:gd name="T27" fmla="*/ 94 h 476"/>
                    <a:gd name="T28" fmla="*/ 55 w 239"/>
                    <a:gd name="T29" fmla="*/ 115 h 476"/>
                    <a:gd name="T30" fmla="*/ 42 w 239"/>
                    <a:gd name="T31" fmla="*/ 138 h 476"/>
                    <a:gd name="T32" fmla="*/ 30 w 239"/>
                    <a:gd name="T33" fmla="*/ 162 h 476"/>
                    <a:gd name="T34" fmla="*/ 19 w 239"/>
                    <a:gd name="T35" fmla="*/ 186 h 476"/>
                    <a:gd name="T36" fmla="*/ 11 w 239"/>
                    <a:gd name="T37" fmla="*/ 211 h 476"/>
                    <a:gd name="T38" fmla="*/ 6 w 239"/>
                    <a:gd name="T39" fmla="*/ 236 h 476"/>
                    <a:gd name="T40" fmla="*/ 3 w 239"/>
                    <a:gd name="T41" fmla="*/ 261 h 476"/>
                    <a:gd name="T42" fmla="*/ 0 w 239"/>
                    <a:gd name="T43" fmla="*/ 285 h 476"/>
                    <a:gd name="T44" fmla="*/ 0 w 239"/>
                    <a:gd name="T45" fmla="*/ 285 h 476"/>
                    <a:gd name="T46" fmla="*/ 3 w 239"/>
                    <a:gd name="T47" fmla="*/ 309 h 476"/>
                    <a:gd name="T48" fmla="*/ 6 w 239"/>
                    <a:gd name="T49" fmla="*/ 332 h 476"/>
                    <a:gd name="T50" fmla="*/ 11 w 239"/>
                    <a:gd name="T51" fmla="*/ 352 h 476"/>
                    <a:gd name="T52" fmla="*/ 19 w 239"/>
                    <a:gd name="T53" fmla="*/ 371 h 476"/>
                    <a:gd name="T54" fmla="*/ 30 w 239"/>
                    <a:gd name="T55" fmla="*/ 388 h 476"/>
                    <a:gd name="T56" fmla="*/ 42 w 239"/>
                    <a:gd name="T57" fmla="*/ 403 h 476"/>
                    <a:gd name="T58" fmla="*/ 55 w 239"/>
                    <a:gd name="T59" fmla="*/ 417 h 476"/>
                    <a:gd name="T60" fmla="*/ 70 w 239"/>
                    <a:gd name="T61" fmla="*/ 431 h 476"/>
                    <a:gd name="T62" fmla="*/ 87 w 239"/>
                    <a:gd name="T63" fmla="*/ 441 h 476"/>
                    <a:gd name="T64" fmla="*/ 106 w 239"/>
                    <a:gd name="T65" fmla="*/ 451 h 476"/>
                    <a:gd name="T66" fmla="*/ 125 w 239"/>
                    <a:gd name="T67" fmla="*/ 458 h 476"/>
                    <a:gd name="T68" fmla="*/ 146 w 239"/>
                    <a:gd name="T69" fmla="*/ 465 h 476"/>
                    <a:gd name="T70" fmla="*/ 168 w 239"/>
                    <a:gd name="T71" fmla="*/ 470 h 476"/>
                    <a:gd name="T72" fmla="*/ 190 w 239"/>
                    <a:gd name="T73" fmla="*/ 473 h 476"/>
                    <a:gd name="T74" fmla="*/ 214 w 239"/>
                    <a:gd name="T75" fmla="*/ 476 h 476"/>
                    <a:gd name="T76" fmla="*/ 239 w 239"/>
                    <a:gd name="T77" fmla="*/ 476 h 476"/>
                    <a:gd name="T78" fmla="*/ 239 w 239"/>
                    <a:gd name="T79"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9" h="476">
                      <a:moveTo>
                        <a:pt x="239" y="0"/>
                      </a:moveTo>
                      <a:lnTo>
                        <a:pt x="239" y="0"/>
                      </a:lnTo>
                      <a:lnTo>
                        <a:pt x="226" y="0"/>
                      </a:lnTo>
                      <a:lnTo>
                        <a:pt x="214" y="1"/>
                      </a:lnTo>
                      <a:lnTo>
                        <a:pt x="202" y="4"/>
                      </a:lnTo>
                      <a:lnTo>
                        <a:pt x="190" y="7"/>
                      </a:lnTo>
                      <a:lnTo>
                        <a:pt x="180" y="11"/>
                      </a:lnTo>
                      <a:lnTo>
                        <a:pt x="168" y="16"/>
                      </a:lnTo>
                      <a:lnTo>
                        <a:pt x="157" y="20"/>
                      </a:lnTo>
                      <a:lnTo>
                        <a:pt x="146" y="26"/>
                      </a:lnTo>
                      <a:lnTo>
                        <a:pt x="125" y="39"/>
                      </a:lnTo>
                      <a:lnTo>
                        <a:pt x="106" y="56"/>
                      </a:lnTo>
                      <a:lnTo>
                        <a:pt x="87" y="74"/>
                      </a:lnTo>
                      <a:lnTo>
                        <a:pt x="70" y="94"/>
                      </a:lnTo>
                      <a:lnTo>
                        <a:pt x="55" y="115"/>
                      </a:lnTo>
                      <a:lnTo>
                        <a:pt x="42" y="138"/>
                      </a:lnTo>
                      <a:lnTo>
                        <a:pt x="30" y="162"/>
                      </a:lnTo>
                      <a:lnTo>
                        <a:pt x="19" y="186"/>
                      </a:lnTo>
                      <a:lnTo>
                        <a:pt x="11" y="211"/>
                      </a:lnTo>
                      <a:lnTo>
                        <a:pt x="6" y="236"/>
                      </a:lnTo>
                      <a:lnTo>
                        <a:pt x="3" y="261"/>
                      </a:lnTo>
                      <a:lnTo>
                        <a:pt x="0" y="285"/>
                      </a:lnTo>
                      <a:lnTo>
                        <a:pt x="0" y="285"/>
                      </a:lnTo>
                      <a:lnTo>
                        <a:pt x="3" y="309"/>
                      </a:lnTo>
                      <a:lnTo>
                        <a:pt x="6" y="332"/>
                      </a:lnTo>
                      <a:lnTo>
                        <a:pt x="11" y="352"/>
                      </a:lnTo>
                      <a:lnTo>
                        <a:pt x="19" y="371"/>
                      </a:lnTo>
                      <a:lnTo>
                        <a:pt x="30" y="388"/>
                      </a:lnTo>
                      <a:lnTo>
                        <a:pt x="42" y="403"/>
                      </a:lnTo>
                      <a:lnTo>
                        <a:pt x="55" y="417"/>
                      </a:lnTo>
                      <a:lnTo>
                        <a:pt x="70" y="431"/>
                      </a:lnTo>
                      <a:lnTo>
                        <a:pt x="87" y="441"/>
                      </a:lnTo>
                      <a:lnTo>
                        <a:pt x="106" y="451"/>
                      </a:lnTo>
                      <a:lnTo>
                        <a:pt x="125" y="458"/>
                      </a:lnTo>
                      <a:lnTo>
                        <a:pt x="146" y="465"/>
                      </a:lnTo>
                      <a:lnTo>
                        <a:pt x="168" y="470"/>
                      </a:lnTo>
                      <a:lnTo>
                        <a:pt x="190" y="473"/>
                      </a:lnTo>
                      <a:lnTo>
                        <a:pt x="214" y="476"/>
                      </a:lnTo>
                      <a:lnTo>
                        <a:pt x="239" y="476"/>
                      </a:lnTo>
                      <a:lnTo>
                        <a:pt x="239" y="0"/>
                      </a:lnTo>
                      <a:close/>
                    </a:path>
                  </a:pathLst>
                </a:custGeom>
                <a:solidFill>
                  <a:srgbClr val="39B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6" name="Freeform 323"/>
                <p:cNvSpPr>
                  <a:spLocks/>
                </p:cNvSpPr>
                <p:nvPr userDrawn="1"/>
              </p:nvSpPr>
              <p:spPr bwMode="auto">
                <a:xfrm>
                  <a:off x="12296321" y="850399"/>
                  <a:ext cx="190500" cy="377825"/>
                </a:xfrm>
                <a:custGeom>
                  <a:avLst/>
                  <a:gdLst>
                    <a:gd name="T0" fmla="*/ 239 w 239"/>
                    <a:gd name="T1" fmla="*/ 0 h 476"/>
                    <a:gd name="T2" fmla="*/ 239 w 239"/>
                    <a:gd name="T3" fmla="*/ 0 h 476"/>
                    <a:gd name="T4" fmla="*/ 226 w 239"/>
                    <a:gd name="T5" fmla="*/ 0 h 476"/>
                    <a:gd name="T6" fmla="*/ 214 w 239"/>
                    <a:gd name="T7" fmla="*/ 1 h 476"/>
                    <a:gd name="T8" fmla="*/ 202 w 239"/>
                    <a:gd name="T9" fmla="*/ 4 h 476"/>
                    <a:gd name="T10" fmla="*/ 190 w 239"/>
                    <a:gd name="T11" fmla="*/ 7 h 476"/>
                    <a:gd name="T12" fmla="*/ 180 w 239"/>
                    <a:gd name="T13" fmla="*/ 11 h 476"/>
                    <a:gd name="T14" fmla="*/ 168 w 239"/>
                    <a:gd name="T15" fmla="*/ 16 h 476"/>
                    <a:gd name="T16" fmla="*/ 157 w 239"/>
                    <a:gd name="T17" fmla="*/ 20 h 476"/>
                    <a:gd name="T18" fmla="*/ 146 w 239"/>
                    <a:gd name="T19" fmla="*/ 26 h 476"/>
                    <a:gd name="T20" fmla="*/ 125 w 239"/>
                    <a:gd name="T21" fmla="*/ 39 h 476"/>
                    <a:gd name="T22" fmla="*/ 106 w 239"/>
                    <a:gd name="T23" fmla="*/ 56 h 476"/>
                    <a:gd name="T24" fmla="*/ 87 w 239"/>
                    <a:gd name="T25" fmla="*/ 74 h 476"/>
                    <a:gd name="T26" fmla="*/ 70 w 239"/>
                    <a:gd name="T27" fmla="*/ 94 h 476"/>
                    <a:gd name="T28" fmla="*/ 55 w 239"/>
                    <a:gd name="T29" fmla="*/ 115 h 476"/>
                    <a:gd name="T30" fmla="*/ 42 w 239"/>
                    <a:gd name="T31" fmla="*/ 138 h 476"/>
                    <a:gd name="T32" fmla="*/ 30 w 239"/>
                    <a:gd name="T33" fmla="*/ 162 h 476"/>
                    <a:gd name="T34" fmla="*/ 19 w 239"/>
                    <a:gd name="T35" fmla="*/ 186 h 476"/>
                    <a:gd name="T36" fmla="*/ 11 w 239"/>
                    <a:gd name="T37" fmla="*/ 211 h 476"/>
                    <a:gd name="T38" fmla="*/ 6 w 239"/>
                    <a:gd name="T39" fmla="*/ 236 h 476"/>
                    <a:gd name="T40" fmla="*/ 3 w 239"/>
                    <a:gd name="T41" fmla="*/ 261 h 476"/>
                    <a:gd name="T42" fmla="*/ 0 w 239"/>
                    <a:gd name="T43" fmla="*/ 285 h 476"/>
                    <a:gd name="T44" fmla="*/ 0 w 239"/>
                    <a:gd name="T45" fmla="*/ 285 h 476"/>
                    <a:gd name="T46" fmla="*/ 3 w 239"/>
                    <a:gd name="T47" fmla="*/ 309 h 476"/>
                    <a:gd name="T48" fmla="*/ 6 w 239"/>
                    <a:gd name="T49" fmla="*/ 332 h 476"/>
                    <a:gd name="T50" fmla="*/ 11 w 239"/>
                    <a:gd name="T51" fmla="*/ 352 h 476"/>
                    <a:gd name="T52" fmla="*/ 19 w 239"/>
                    <a:gd name="T53" fmla="*/ 371 h 476"/>
                    <a:gd name="T54" fmla="*/ 30 w 239"/>
                    <a:gd name="T55" fmla="*/ 388 h 476"/>
                    <a:gd name="T56" fmla="*/ 42 w 239"/>
                    <a:gd name="T57" fmla="*/ 403 h 476"/>
                    <a:gd name="T58" fmla="*/ 55 w 239"/>
                    <a:gd name="T59" fmla="*/ 417 h 476"/>
                    <a:gd name="T60" fmla="*/ 70 w 239"/>
                    <a:gd name="T61" fmla="*/ 431 h 476"/>
                    <a:gd name="T62" fmla="*/ 87 w 239"/>
                    <a:gd name="T63" fmla="*/ 441 h 476"/>
                    <a:gd name="T64" fmla="*/ 106 w 239"/>
                    <a:gd name="T65" fmla="*/ 451 h 476"/>
                    <a:gd name="T66" fmla="*/ 125 w 239"/>
                    <a:gd name="T67" fmla="*/ 458 h 476"/>
                    <a:gd name="T68" fmla="*/ 146 w 239"/>
                    <a:gd name="T69" fmla="*/ 465 h 476"/>
                    <a:gd name="T70" fmla="*/ 168 w 239"/>
                    <a:gd name="T71" fmla="*/ 470 h 476"/>
                    <a:gd name="T72" fmla="*/ 190 w 239"/>
                    <a:gd name="T73" fmla="*/ 473 h 476"/>
                    <a:gd name="T74" fmla="*/ 214 w 239"/>
                    <a:gd name="T75" fmla="*/ 476 h 476"/>
                    <a:gd name="T76" fmla="*/ 239 w 239"/>
                    <a:gd name="T77" fmla="*/ 476 h 476"/>
                    <a:gd name="T78" fmla="*/ 239 w 239"/>
                    <a:gd name="T79"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9" h="476">
                      <a:moveTo>
                        <a:pt x="239" y="0"/>
                      </a:moveTo>
                      <a:lnTo>
                        <a:pt x="239" y="0"/>
                      </a:lnTo>
                      <a:lnTo>
                        <a:pt x="226" y="0"/>
                      </a:lnTo>
                      <a:lnTo>
                        <a:pt x="214" y="1"/>
                      </a:lnTo>
                      <a:lnTo>
                        <a:pt x="202" y="4"/>
                      </a:lnTo>
                      <a:lnTo>
                        <a:pt x="190" y="7"/>
                      </a:lnTo>
                      <a:lnTo>
                        <a:pt x="180" y="11"/>
                      </a:lnTo>
                      <a:lnTo>
                        <a:pt x="168" y="16"/>
                      </a:lnTo>
                      <a:lnTo>
                        <a:pt x="157" y="20"/>
                      </a:lnTo>
                      <a:lnTo>
                        <a:pt x="146" y="26"/>
                      </a:lnTo>
                      <a:lnTo>
                        <a:pt x="125" y="39"/>
                      </a:lnTo>
                      <a:lnTo>
                        <a:pt x="106" y="56"/>
                      </a:lnTo>
                      <a:lnTo>
                        <a:pt x="87" y="74"/>
                      </a:lnTo>
                      <a:lnTo>
                        <a:pt x="70" y="94"/>
                      </a:lnTo>
                      <a:lnTo>
                        <a:pt x="55" y="115"/>
                      </a:lnTo>
                      <a:lnTo>
                        <a:pt x="42" y="138"/>
                      </a:lnTo>
                      <a:lnTo>
                        <a:pt x="30" y="162"/>
                      </a:lnTo>
                      <a:lnTo>
                        <a:pt x="19" y="186"/>
                      </a:lnTo>
                      <a:lnTo>
                        <a:pt x="11" y="211"/>
                      </a:lnTo>
                      <a:lnTo>
                        <a:pt x="6" y="236"/>
                      </a:lnTo>
                      <a:lnTo>
                        <a:pt x="3" y="261"/>
                      </a:lnTo>
                      <a:lnTo>
                        <a:pt x="0" y="285"/>
                      </a:lnTo>
                      <a:lnTo>
                        <a:pt x="0" y="285"/>
                      </a:lnTo>
                      <a:lnTo>
                        <a:pt x="3" y="309"/>
                      </a:lnTo>
                      <a:lnTo>
                        <a:pt x="6" y="332"/>
                      </a:lnTo>
                      <a:lnTo>
                        <a:pt x="11" y="352"/>
                      </a:lnTo>
                      <a:lnTo>
                        <a:pt x="19" y="371"/>
                      </a:lnTo>
                      <a:lnTo>
                        <a:pt x="30" y="388"/>
                      </a:lnTo>
                      <a:lnTo>
                        <a:pt x="42" y="403"/>
                      </a:lnTo>
                      <a:lnTo>
                        <a:pt x="55" y="417"/>
                      </a:lnTo>
                      <a:lnTo>
                        <a:pt x="70" y="431"/>
                      </a:lnTo>
                      <a:lnTo>
                        <a:pt x="87" y="441"/>
                      </a:lnTo>
                      <a:lnTo>
                        <a:pt x="106" y="451"/>
                      </a:lnTo>
                      <a:lnTo>
                        <a:pt x="125" y="458"/>
                      </a:lnTo>
                      <a:lnTo>
                        <a:pt x="146" y="465"/>
                      </a:lnTo>
                      <a:lnTo>
                        <a:pt x="168" y="470"/>
                      </a:lnTo>
                      <a:lnTo>
                        <a:pt x="190" y="473"/>
                      </a:lnTo>
                      <a:lnTo>
                        <a:pt x="214" y="476"/>
                      </a:lnTo>
                      <a:lnTo>
                        <a:pt x="239" y="476"/>
                      </a:lnTo>
                      <a:lnTo>
                        <a:pt x="23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7" name="Freeform 324"/>
                <p:cNvSpPr>
                  <a:spLocks/>
                </p:cNvSpPr>
                <p:nvPr userDrawn="1"/>
              </p:nvSpPr>
              <p:spPr bwMode="auto">
                <a:xfrm>
                  <a:off x="12148683" y="240799"/>
                  <a:ext cx="273050" cy="317500"/>
                </a:xfrm>
                <a:custGeom>
                  <a:avLst/>
                  <a:gdLst>
                    <a:gd name="T0" fmla="*/ 190 w 344"/>
                    <a:gd name="T1" fmla="*/ 50 h 400"/>
                    <a:gd name="T2" fmla="*/ 190 w 344"/>
                    <a:gd name="T3" fmla="*/ 50 h 400"/>
                    <a:gd name="T4" fmla="*/ 172 w 344"/>
                    <a:gd name="T5" fmla="*/ 39 h 400"/>
                    <a:gd name="T6" fmla="*/ 150 w 344"/>
                    <a:gd name="T7" fmla="*/ 29 h 400"/>
                    <a:gd name="T8" fmla="*/ 124 w 344"/>
                    <a:gd name="T9" fmla="*/ 18 h 400"/>
                    <a:gd name="T10" fmla="*/ 98 w 344"/>
                    <a:gd name="T11" fmla="*/ 10 h 400"/>
                    <a:gd name="T12" fmla="*/ 71 w 344"/>
                    <a:gd name="T13" fmla="*/ 4 h 400"/>
                    <a:gd name="T14" fmla="*/ 44 w 344"/>
                    <a:gd name="T15" fmla="*/ 0 h 400"/>
                    <a:gd name="T16" fmla="*/ 31 w 344"/>
                    <a:gd name="T17" fmla="*/ 0 h 400"/>
                    <a:gd name="T18" fmla="*/ 21 w 344"/>
                    <a:gd name="T19" fmla="*/ 0 h 400"/>
                    <a:gd name="T20" fmla="*/ 10 w 344"/>
                    <a:gd name="T21" fmla="*/ 1 h 400"/>
                    <a:gd name="T22" fmla="*/ 0 w 344"/>
                    <a:gd name="T23" fmla="*/ 3 h 400"/>
                    <a:gd name="T24" fmla="*/ 0 w 344"/>
                    <a:gd name="T25" fmla="*/ 3 h 400"/>
                    <a:gd name="T26" fmla="*/ 3 w 344"/>
                    <a:gd name="T27" fmla="*/ 28 h 400"/>
                    <a:gd name="T28" fmla="*/ 6 w 344"/>
                    <a:gd name="T29" fmla="*/ 53 h 400"/>
                    <a:gd name="T30" fmla="*/ 15 w 344"/>
                    <a:gd name="T31" fmla="*/ 102 h 400"/>
                    <a:gd name="T32" fmla="*/ 25 w 344"/>
                    <a:gd name="T33" fmla="*/ 154 h 400"/>
                    <a:gd name="T34" fmla="*/ 40 w 344"/>
                    <a:gd name="T35" fmla="*/ 206 h 400"/>
                    <a:gd name="T36" fmla="*/ 54 w 344"/>
                    <a:gd name="T37" fmla="*/ 257 h 400"/>
                    <a:gd name="T38" fmla="*/ 71 w 344"/>
                    <a:gd name="T39" fmla="*/ 307 h 400"/>
                    <a:gd name="T40" fmla="*/ 87 w 344"/>
                    <a:gd name="T41" fmla="*/ 354 h 400"/>
                    <a:gd name="T42" fmla="*/ 104 w 344"/>
                    <a:gd name="T43" fmla="*/ 400 h 400"/>
                    <a:gd name="T44" fmla="*/ 104 w 344"/>
                    <a:gd name="T45" fmla="*/ 400 h 400"/>
                    <a:gd name="T46" fmla="*/ 140 w 344"/>
                    <a:gd name="T47" fmla="*/ 397 h 400"/>
                    <a:gd name="T48" fmla="*/ 179 w 344"/>
                    <a:gd name="T49" fmla="*/ 391 h 400"/>
                    <a:gd name="T50" fmla="*/ 199 w 344"/>
                    <a:gd name="T51" fmla="*/ 388 h 400"/>
                    <a:gd name="T52" fmla="*/ 219 w 344"/>
                    <a:gd name="T53" fmla="*/ 383 h 400"/>
                    <a:gd name="T54" fmla="*/ 238 w 344"/>
                    <a:gd name="T55" fmla="*/ 377 h 400"/>
                    <a:gd name="T56" fmla="*/ 257 w 344"/>
                    <a:gd name="T57" fmla="*/ 370 h 400"/>
                    <a:gd name="T58" fmla="*/ 275 w 344"/>
                    <a:gd name="T59" fmla="*/ 362 h 400"/>
                    <a:gd name="T60" fmla="*/ 292 w 344"/>
                    <a:gd name="T61" fmla="*/ 352 h 400"/>
                    <a:gd name="T62" fmla="*/ 307 w 344"/>
                    <a:gd name="T63" fmla="*/ 341 h 400"/>
                    <a:gd name="T64" fmla="*/ 319 w 344"/>
                    <a:gd name="T65" fmla="*/ 328 h 400"/>
                    <a:gd name="T66" fmla="*/ 325 w 344"/>
                    <a:gd name="T67" fmla="*/ 322 h 400"/>
                    <a:gd name="T68" fmla="*/ 330 w 344"/>
                    <a:gd name="T69" fmla="*/ 315 h 400"/>
                    <a:gd name="T70" fmla="*/ 335 w 344"/>
                    <a:gd name="T71" fmla="*/ 307 h 400"/>
                    <a:gd name="T72" fmla="*/ 338 w 344"/>
                    <a:gd name="T73" fmla="*/ 300 h 400"/>
                    <a:gd name="T74" fmla="*/ 341 w 344"/>
                    <a:gd name="T75" fmla="*/ 291 h 400"/>
                    <a:gd name="T76" fmla="*/ 343 w 344"/>
                    <a:gd name="T77" fmla="*/ 282 h 400"/>
                    <a:gd name="T78" fmla="*/ 344 w 344"/>
                    <a:gd name="T79" fmla="*/ 272 h 400"/>
                    <a:gd name="T80" fmla="*/ 344 w 344"/>
                    <a:gd name="T81" fmla="*/ 263 h 400"/>
                    <a:gd name="T82" fmla="*/ 344 w 344"/>
                    <a:gd name="T83" fmla="*/ 263 h 400"/>
                    <a:gd name="T84" fmla="*/ 344 w 344"/>
                    <a:gd name="T85" fmla="*/ 245 h 400"/>
                    <a:gd name="T86" fmla="*/ 342 w 344"/>
                    <a:gd name="T87" fmla="*/ 228 h 400"/>
                    <a:gd name="T88" fmla="*/ 338 w 344"/>
                    <a:gd name="T89" fmla="*/ 213 h 400"/>
                    <a:gd name="T90" fmla="*/ 333 w 344"/>
                    <a:gd name="T91" fmla="*/ 199 h 400"/>
                    <a:gd name="T92" fmla="*/ 327 w 344"/>
                    <a:gd name="T93" fmla="*/ 184 h 400"/>
                    <a:gd name="T94" fmla="*/ 320 w 344"/>
                    <a:gd name="T95" fmla="*/ 171 h 400"/>
                    <a:gd name="T96" fmla="*/ 312 w 344"/>
                    <a:gd name="T97" fmla="*/ 158 h 400"/>
                    <a:gd name="T98" fmla="*/ 302 w 344"/>
                    <a:gd name="T99" fmla="*/ 146 h 400"/>
                    <a:gd name="T100" fmla="*/ 292 w 344"/>
                    <a:gd name="T101" fmla="*/ 133 h 400"/>
                    <a:gd name="T102" fmla="*/ 280 w 344"/>
                    <a:gd name="T103" fmla="*/ 121 h 400"/>
                    <a:gd name="T104" fmla="*/ 253 w 344"/>
                    <a:gd name="T105" fmla="*/ 99 h 400"/>
                    <a:gd name="T106" fmla="*/ 223 w 344"/>
                    <a:gd name="T107" fmla="*/ 75 h 400"/>
                    <a:gd name="T108" fmla="*/ 190 w 344"/>
                    <a:gd name="T109" fmla="*/ 50 h 400"/>
                    <a:gd name="T110" fmla="*/ 190 w 344"/>
                    <a:gd name="T111" fmla="*/ 5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4" h="400">
                      <a:moveTo>
                        <a:pt x="190" y="50"/>
                      </a:moveTo>
                      <a:lnTo>
                        <a:pt x="190" y="50"/>
                      </a:lnTo>
                      <a:lnTo>
                        <a:pt x="172" y="39"/>
                      </a:lnTo>
                      <a:lnTo>
                        <a:pt x="150" y="29"/>
                      </a:lnTo>
                      <a:lnTo>
                        <a:pt x="124" y="18"/>
                      </a:lnTo>
                      <a:lnTo>
                        <a:pt x="98" y="10"/>
                      </a:lnTo>
                      <a:lnTo>
                        <a:pt x="71" y="4"/>
                      </a:lnTo>
                      <a:lnTo>
                        <a:pt x="44" y="0"/>
                      </a:lnTo>
                      <a:lnTo>
                        <a:pt x="31" y="0"/>
                      </a:lnTo>
                      <a:lnTo>
                        <a:pt x="21" y="0"/>
                      </a:lnTo>
                      <a:lnTo>
                        <a:pt x="10" y="1"/>
                      </a:lnTo>
                      <a:lnTo>
                        <a:pt x="0" y="3"/>
                      </a:lnTo>
                      <a:lnTo>
                        <a:pt x="0" y="3"/>
                      </a:lnTo>
                      <a:lnTo>
                        <a:pt x="3" y="28"/>
                      </a:lnTo>
                      <a:lnTo>
                        <a:pt x="6" y="53"/>
                      </a:lnTo>
                      <a:lnTo>
                        <a:pt x="15" y="102"/>
                      </a:lnTo>
                      <a:lnTo>
                        <a:pt x="25" y="154"/>
                      </a:lnTo>
                      <a:lnTo>
                        <a:pt x="40" y="206"/>
                      </a:lnTo>
                      <a:lnTo>
                        <a:pt x="54" y="257"/>
                      </a:lnTo>
                      <a:lnTo>
                        <a:pt x="71" y="307"/>
                      </a:lnTo>
                      <a:lnTo>
                        <a:pt x="87" y="354"/>
                      </a:lnTo>
                      <a:lnTo>
                        <a:pt x="104" y="400"/>
                      </a:lnTo>
                      <a:lnTo>
                        <a:pt x="104" y="400"/>
                      </a:lnTo>
                      <a:lnTo>
                        <a:pt x="140" y="397"/>
                      </a:lnTo>
                      <a:lnTo>
                        <a:pt x="179" y="391"/>
                      </a:lnTo>
                      <a:lnTo>
                        <a:pt x="199" y="388"/>
                      </a:lnTo>
                      <a:lnTo>
                        <a:pt x="219" y="383"/>
                      </a:lnTo>
                      <a:lnTo>
                        <a:pt x="238" y="377"/>
                      </a:lnTo>
                      <a:lnTo>
                        <a:pt x="257" y="370"/>
                      </a:lnTo>
                      <a:lnTo>
                        <a:pt x="275" y="362"/>
                      </a:lnTo>
                      <a:lnTo>
                        <a:pt x="292" y="352"/>
                      </a:lnTo>
                      <a:lnTo>
                        <a:pt x="307" y="341"/>
                      </a:lnTo>
                      <a:lnTo>
                        <a:pt x="319" y="328"/>
                      </a:lnTo>
                      <a:lnTo>
                        <a:pt x="325" y="322"/>
                      </a:lnTo>
                      <a:lnTo>
                        <a:pt x="330" y="315"/>
                      </a:lnTo>
                      <a:lnTo>
                        <a:pt x="335" y="307"/>
                      </a:lnTo>
                      <a:lnTo>
                        <a:pt x="338" y="300"/>
                      </a:lnTo>
                      <a:lnTo>
                        <a:pt x="341" y="291"/>
                      </a:lnTo>
                      <a:lnTo>
                        <a:pt x="343" y="282"/>
                      </a:lnTo>
                      <a:lnTo>
                        <a:pt x="344" y="272"/>
                      </a:lnTo>
                      <a:lnTo>
                        <a:pt x="344" y="263"/>
                      </a:lnTo>
                      <a:lnTo>
                        <a:pt x="344" y="263"/>
                      </a:lnTo>
                      <a:lnTo>
                        <a:pt x="344" y="245"/>
                      </a:lnTo>
                      <a:lnTo>
                        <a:pt x="342" y="228"/>
                      </a:lnTo>
                      <a:lnTo>
                        <a:pt x="338" y="213"/>
                      </a:lnTo>
                      <a:lnTo>
                        <a:pt x="333" y="199"/>
                      </a:lnTo>
                      <a:lnTo>
                        <a:pt x="327" y="184"/>
                      </a:lnTo>
                      <a:lnTo>
                        <a:pt x="320" y="171"/>
                      </a:lnTo>
                      <a:lnTo>
                        <a:pt x="312" y="158"/>
                      </a:lnTo>
                      <a:lnTo>
                        <a:pt x="302" y="146"/>
                      </a:lnTo>
                      <a:lnTo>
                        <a:pt x="292" y="133"/>
                      </a:lnTo>
                      <a:lnTo>
                        <a:pt x="280" y="121"/>
                      </a:lnTo>
                      <a:lnTo>
                        <a:pt x="253" y="99"/>
                      </a:lnTo>
                      <a:lnTo>
                        <a:pt x="223" y="75"/>
                      </a:lnTo>
                      <a:lnTo>
                        <a:pt x="190" y="50"/>
                      </a:lnTo>
                      <a:lnTo>
                        <a:pt x="190" y="50"/>
                      </a:lnTo>
                      <a:close/>
                    </a:path>
                  </a:pathLst>
                </a:custGeom>
                <a:solidFill>
                  <a:srgbClr val="292D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8" name="Freeform 325"/>
                <p:cNvSpPr>
                  <a:spLocks/>
                </p:cNvSpPr>
                <p:nvPr userDrawn="1"/>
              </p:nvSpPr>
              <p:spPr bwMode="auto">
                <a:xfrm>
                  <a:off x="12216946" y="877386"/>
                  <a:ext cx="206375" cy="287338"/>
                </a:xfrm>
                <a:custGeom>
                  <a:avLst/>
                  <a:gdLst>
                    <a:gd name="T0" fmla="*/ 49 w 262"/>
                    <a:gd name="T1" fmla="*/ 361 h 361"/>
                    <a:gd name="T2" fmla="*/ 49 w 262"/>
                    <a:gd name="T3" fmla="*/ 361 h 361"/>
                    <a:gd name="T4" fmla="*/ 38 w 262"/>
                    <a:gd name="T5" fmla="*/ 361 h 361"/>
                    <a:gd name="T6" fmla="*/ 38 w 262"/>
                    <a:gd name="T7" fmla="*/ 361 h 361"/>
                    <a:gd name="T8" fmla="*/ 32 w 262"/>
                    <a:gd name="T9" fmla="*/ 359 h 361"/>
                    <a:gd name="T10" fmla="*/ 27 w 262"/>
                    <a:gd name="T11" fmla="*/ 355 h 361"/>
                    <a:gd name="T12" fmla="*/ 25 w 262"/>
                    <a:gd name="T13" fmla="*/ 350 h 361"/>
                    <a:gd name="T14" fmla="*/ 24 w 262"/>
                    <a:gd name="T15" fmla="*/ 343 h 361"/>
                    <a:gd name="T16" fmla="*/ 24 w 262"/>
                    <a:gd name="T17" fmla="*/ 343 h 361"/>
                    <a:gd name="T18" fmla="*/ 26 w 262"/>
                    <a:gd name="T19" fmla="*/ 337 h 361"/>
                    <a:gd name="T20" fmla="*/ 30 w 262"/>
                    <a:gd name="T21" fmla="*/ 333 h 361"/>
                    <a:gd name="T22" fmla="*/ 36 w 262"/>
                    <a:gd name="T23" fmla="*/ 330 h 361"/>
                    <a:gd name="T24" fmla="*/ 42 w 262"/>
                    <a:gd name="T25" fmla="*/ 329 h 361"/>
                    <a:gd name="T26" fmla="*/ 42 w 262"/>
                    <a:gd name="T27" fmla="*/ 329 h 361"/>
                    <a:gd name="T28" fmla="*/ 54 w 262"/>
                    <a:gd name="T29" fmla="*/ 329 h 361"/>
                    <a:gd name="T30" fmla="*/ 63 w 262"/>
                    <a:gd name="T31" fmla="*/ 327 h 361"/>
                    <a:gd name="T32" fmla="*/ 71 w 262"/>
                    <a:gd name="T33" fmla="*/ 323 h 361"/>
                    <a:gd name="T34" fmla="*/ 77 w 262"/>
                    <a:gd name="T35" fmla="*/ 318 h 361"/>
                    <a:gd name="T36" fmla="*/ 82 w 262"/>
                    <a:gd name="T37" fmla="*/ 312 h 361"/>
                    <a:gd name="T38" fmla="*/ 86 w 262"/>
                    <a:gd name="T39" fmla="*/ 306 h 361"/>
                    <a:gd name="T40" fmla="*/ 89 w 262"/>
                    <a:gd name="T41" fmla="*/ 297 h 361"/>
                    <a:gd name="T42" fmla="*/ 2 w 262"/>
                    <a:gd name="T43" fmla="*/ 128 h 361"/>
                    <a:gd name="T44" fmla="*/ 2 w 262"/>
                    <a:gd name="T45" fmla="*/ 128 h 361"/>
                    <a:gd name="T46" fmla="*/ 0 w 262"/>
                    <a:gd name="T47" fmla="*/ 121 h 361"/>
                    <a:gd name="T48" fmla="*/ 1 w 262"/>
                    <a:gd name="T49" fmla="*/ 115 h 361"/>
                    <a:gd name="T50" fmla="*/ 1 w 262"/>
                    <a:gd name="T51" fmla="*/ 115 h 361"/>
                    <a:gd name="T52" fmla="*/ 5 w 262"/>
                    <a:gd name="T53" fmla="*/ 109 h 361"/>
                    <a:gd name="T54" fmla="*/ 10 w 262"/>
                    <a:gd name="T55" fmla="*/ 105 h 361"/>
                    <a:gd name="T56" fmla="*/ 239 w 262"/>
                    <a:gd name="T57" fmla="*/ 1 h 361"/>
                    <a:gd name="T58" fmla="*/ 239 w 262"/>
                    <a:gd name="T59" fmla="*/ 1 h 361"/>
                    <a:gd name="T60" fmla="*/ 245 w 262"/>
                    <a:gd name="T61" fmla="*/ 0 h 361"/>
                    <a:gd name="T62" fmla="*/ 251 w 262"/>
                    <a:gd name="T63" fmla="*/ 1 h 361"/>
                    <a:gd name="T64" fmla="*/ 256 w 262"/>
                    <a:gd name="T65" fmla="*/ 3 h 361"/>
                    <a:gd name="T66" fmla="*/ 260 w 262"/>
                    <a:gd name="T67" fmla="*/ 9 h 361"/>
                    <a:gd name="T68" fmla="*/ 260 w 262"/>
                    <a:gd name="T69" fmla="*/ 9 h 361"/>
                    <a:gd name="T70" fmla="*/ 262 w 262"/>
                    <a:gd name="T71" fmla="*/ 15 h 361"/>
                    <a:gd name="T72" fmla="*/ 260 w 262"/>
                    <a:gd name="T73" fmla="*/ 21 h 361"/>
                    <a:gd name="T74" fmla="*/ 257 w 262"/>
                    <a:gd name="T75" fmla="*/ 26 h 361"/>
                    <a:gd name="T76" fmla="*/ 252 w 262"/>
                    <a:gd name="T77" fmla="*/ 29 h 361"/>
                    <a:gd name="T78" fmla="*/ 38 w 262"/>
                    <a:gd name="T79" fmla="*/ 128 h 361"/>
                    <a:gd name="T80" fmla="*/ 120 w 262"/>
                    <a:gd name="T81" fmla="*/ 287 h 361"/>
                    <a:gd name="T82" fmla="*/ 120 w 262"/>
                    <a:gd name="T83" fmla="*/ 287 h 361"/>
                    <a:gd name="T84" fmla="*/ 121 w 262"/>
                    <a:gd name="T85" fmla="*/ 291 h 361"/>
                    <a:gd name="T86" fmla="*/ 121 w 262"/>
                    <a:gd name="T87" fmla="*/ 296 h 361"/>
                    <a:gd name="T88" fmla="*/ 121 w 262"/>
                    <a:gd name="T89" fmla="*/ 296 h 361"/>
                    <a:gd name="T90" fmla="*/ 120 w 262"/>
                    <a:gd name="T91" fmla="*/ 305 h 361"/>
                    <a:gd name="T92" fmla="*/ 117 w 262"/>
                    <a:gd name="T93" fmla="*/ 316 h 361"/>
                    <a:gd name="T94" fmla="*/ 112 w 262"/>
                    <a:gd name="T95" fmla="*/ 327 h 361"/>
                    <a:gd name="T96" fmla="*/ 104 w 262"/>
                    <a:gd name="T97" fmla="*/ 337 h 361"/>
                    <a:gd name="T98" fmla="*/ 94 w 262"/>
                    <a:gd name="T99" fmla="*/ 347 h 361"/>
                    <a:gd name="T100" fmla="*/ 88 w 262"/>
                    <a:gd name="T101" fmla="*/ 352 h 361"/>
                    <a:gd name="T102" fmla="*/ 82 w 262"/>
                    <a:gd name="T103" fmla="*/ 354 h 361"/>
                    <a:gd name="T104" fmla="*/ 74 w 262"/>
                    <a:gd name="T105" fmla="*/ 357 h 361"/>
                    <a:gd name="T106" fmla="*/ 67 w 262"/>
                    <a:gd name="T107" fmla="*/ 360 h 361"/>
                    <a:gd name="T108" fmla="*/ 58 w 262"/>
                    <a:gd name="T109" fmla="*/ 361 h 361"/>
                    <a:gd name="T110" fmla="*/ 49 w 262"/>
                    <a:gd name="T111" fmla="*/ 361 h 361"/>
                    <a:gd name="T112" fmla="*/ 49 w 262"/>
                    <a:gd name="T113"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2" h="361">
                      <a:moveTo>
                        <a:pt x="49" y="361"/>
                      </a:moveTo>
                      <a:lnTo>
                        <a:pt x="49" y="361"/>
                      </a:lnTo>
                      <a:lnTo>
                        <a:pt x="38" y="361"/>
                      </a:lnTo>
                      <a:lnTo>
                        <a:pt x="38" y="361"/>
                      </a:lnTo>
                      <a:lnTo>
                        <a:pt x="32" y="359"/>
                      </a:lnTo>
                      <a:lnTo>
                        <a:pt x="27" y="355"/>
                      </a:lnTo>
                      <a:lnTo>
                        <a:pt x="25" y="350"/>
                      </a:lnTo>
                      <a:lnTo>
                        <a:pt x="24" y="343"/>
                      </a:lnTo>
                      <a:lnTo>
                        <a:pt x="24" y="343"/>
                      </a:lnTo>
                      <a:lnTo>
                        <a:pt x="26" y="337"/>
                      </a:lnTo>
                      <a:lnTo>
                        <a:pt x="30" y="333"/>
                      </a:lnTo>
                      <a:lnTo>
                        <a:pt x="36" y="330"/>
                      </a:lnTo>
                      <a:lnTo>
                        <a:pt x="42" y="329"/>
                      </a:lnTo>
                      <a:lnTo>
                        <a:pt x="42" y="329"/>
                      </a:lnTo>
                      <a:lnTo>
                        <a:pt x="54" y="329"/>
                      </a:lnTo>
                      <a:lnTo>
                        <a:pt x="63" y="327"/>
                      </a:lnTo>
                      <a:lnTo>
                        <a:pt x="71" y="323"/>
                      </a:lnTo>
                      <a:lnTo>
                        <a:pt x="77" y="318"/>
                      </a:lnTo>
                      <a:lnTo>
                        <a:pt x="82" y="312"/>
                      </a:lnTo>
                      <a:lnTo>
                        <a:pt x="86" y="306"/>
                      </a:lnTo>
                      <a:lnTo>
                        <a:pt x="89" y="297"/>
                      </a:lnTo>
                      <a:lnTo>
                        <a:pt x="2" y="128"/>
                      </a:lnTo>
                      <a:lnTo>
                        <a:pt x="2" y="128"/>
                      </a:lnTo>
                      <a:lnTo>
                        <a:pt x="0" y="121"/>
                      </a:lnTo>
                      <a:lnTo>
                        <a:pt x="1" y="115"/>
                      </a:lnTo>
                      <a:lnTo>
                        <a:pt x="1" y="115"/>
                      </a:lnTo>
                      <a:lnTo>
                        <a:pt x="5" y="109"/>
                      </a:lnTo>
                      <a:lnTo>
                        <a:pt x="10" y="105"/>
                      </a:lnTo>
                      <a:lnTo>
                        <a:pt x="239" y="1"/>
                      </a:lnTo>
                      <a:lnTo>
                        <a:pt x="239" y="1"/>
                      </a:lnTo>
                      <a:lnTo>
                        <a:pt x="245" y="0"/>
                      </a:lnTo>
                      <a:lnTo>
                        <a:pt x="251" y="1"/>
                      </a:lnTo>
                      <a:lnTo>
                        <a:pt x="256" y="3"/>
                      </a:lnTo>
                      <a:lnTo>
                        <a:pt x="260" y="9"/>
                      </a:lnTo>
                      <a:lnTo>
                        <a:pt x="260" y="9"/>
                      </a:lnTo>
                      <a:lnTo>
                        <a:pt x="262" y="15"/>
                      </a:lnTo>
                      <a:lnTo>
                        <a:pt x="260" y="21"/>
                      </a:lnTo>
                      <a:lnTo>
                        <a:pt x="257" y="26"/>
                      </a:lnTo>
                      <a:lnTo>
                        <a:pt x="252" y="29"/>
                      </a:lnTo>
                      <a:lnTo>
                        <a:pt x="38" y="128"/>
                      </a:lnTo>
                      <a:lnTo>
                        <a:pt x="120" y="287"/>
                      </a:lnTo>
                      <a:lnTo>
                        <a:pt x="120" y="287"/>
                      </a:lnTo>
                      <a:lnTo>
                        <a:pt x="121" y="291"/>
                      </a:lnTo>
                      <a:lnTo>
                        <a:pt x="121" y="296"/>
                      </a:lnTo>
                      <a:lnTo>
                        <a:pt x="121" y="296"/>
                      </a:lnTo>
                      <a:lnTo>
                        <a:pt x="120" y="305"/>
                      </a:lnTo>
                      <a:lnTo>
                        <a:pt x="117" y="316"/>
                      </a:lnTo>
                      <a:lnTo>
                        <a:pt x="112" y="327"/>
                      </a:lnTo>
                      <a:lnTo>
                        <a:pt x="104" y="337"/>
                      </a:lnTo>
                      <a:lnTo>
                        <a:pt x="94" y="347"/>
                      </a:lnTo>
                      <a:lnTo>
                        <a:pt x="88" y="352"/>
                      </a:lnTo>
                      <a:lnTo>
                        <a:pt x="82" y="354"/>
                      </a:lnTo>
                      <a:lnTo>
                        <a:pt x="74" y="357"/>
                      </a:lnTo>
                      <a:lnTo>
                        <a:pt x="67" y="360"/>
                      </a:lnTo>
                      <a:lnTo>
                        <a:pt x="58" y="361"/>
                      </a:lnTo>
                      <a:lnTo>
                        <a:pt x="49" y="361"/>
                      </a:lnTo>
                      <a:lnTo>
                        <a:pt x="49" y="361"/>
                      </a:lnTo>
                      <a:close/>
                    </a:path>
                  </a:pathLst>
                </a:custGeom>
                <a:solidFill>
                  <a:srgbClr val="39B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9" name="Freeform 326"/>
                <p:cNvSpPr>
                  <a:spLocks/>
                </p:cNvSpPr>
                <p:nvPr userDrawn="1"/>
              </p:nvSpPr>
              <p:spPr bwMode="auto">
                <a:xfrm>
                  <a:off x="12542383" y="1167899"/>
                  <a:ext cx="73025" cy="252413"/>
                </a:xfrm>
                <a:custGeom>
                  <a:avLst/>
                  <a:gdLst>
                    <a:gd name="T0" fmla="*/ 49 w 93"/>
                    <a:gd name="T1" fmla="*/ 318 h 318"/>
                    <a:gd name="T2" fmla="*/ 93 w 93"/>
                    <a:gd name="T3" fmla="*/ 318 h 318"/>
                    <a:gd name="T4" fmla="*/ 93 w 93"/>
                    <a:gd name="T5" fmla="*/ 0 h 318"/>
                    <a:gd name="T6" fmla="*/ 0 w 93"/>
                    <a:gd name="T7" fmla="*/ 0 h 318"/>
                    <a:gd name="T8" fmla="*/ 49 w 93"/>
                    <a:gd name="T9" fmla="*/ 318 h 318"/>
                  </a:gdLst>
                  <a:ahLst/>
                  <a:cxnLst>
                    <a:cxn ang="0">
                      <a:pos x="T0" y="T1"/>
                    </a:cxn>
                    <a:cxn ang="0">
                      <a:pos x="T2" y="T3"/>
                    </a:cxn>
                    <a:cxn ang="0">
                      <a:pos x="T4" y="T5"/>
                    </a:cxn>
                    <a:cxn ang="0">
                      <a:pos x="T6" y="T7"/>
                    </a:cxn>
                    <a:cxn ang="0">
                      <a:pos x="T8" y="T9"/>
                    </a:cxn>
                  </a:cxnLst>
                  <a:rect l="0" t="0" r="r" b="b"/>
                  <a:pathLst>
                    <a:path w="93" h="318">
                      <a:moveTo>
                        <a:pt x="49" y="318"/>
                      </a:moveTo>
                      <a:lnTo>
                        <a:pt x="93" y="318"/>
                      </a:lnTo>
                      <a:lnTo>
                        <a:pt x="93" y="0"/>
                      </a:lnTo>
                      <a:lnTo>
                        <a:pt x="0" y="0"/>
                      </a:lnTo>
                      <a:lnTo>
                        <a:pt x="49" y="318"/>
                      </a:lnTo>
                      <a:close/>
                    </a:path>
                  </a:pathLst>
                </a:custGeom>
                <a:solidFill>
                  <a:srgbClr val="177A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0" name="Freeform 327"/>
                <p:cNvSpPr>
                  <a:spLocks/>
                </p:cNvSpPr>
                <p:nvPr userDrawn="1"/>
              </p:nvSpPr>
              <p:spPr bwMode="auto">
                <a:xfrm>
                  <a:off x="12553496" y="1371099"/>
                  <a:ext cx="77788" cy="77788"/>
                </a:xfrm>
                <a:custGeom>
                  <a:avLst/>
                  <a:gdLst>
                    <a:gd name="T0" fmla="*/ 0 w 97"/>
                    <a:gd name="T1" fmla="*/ 98 h 98"/>
                    <a:gd name="T2" fmla="*/ 0 w 97"/>
                    <a:gd name="T3" fmla="*/ 98 h 98"/>
                    <a:gd name="T4" fmla="*/ 0 w 97"/>
                    <a:gd name="T5" fmla="*/ 88 h 98"/>
                    <a:gd name="T6" fmla="*/ 1 w 97"/>
                    <a:gd name="T7" fmla="*/ 79 h 98"/>
                    <a:gd name="T8" fmla="*/ 4 w 97"/>
                    <a:gd name="T9" fmla="*/ 69 h 98"/>
                    <a:gd name="T10" fmla="*/ 7 w 97"/>
                    <a:gd name="T11" fmla="*/ 60 h 98"/>
                    <a:gd name="T12" fmla="*/ 11 w 97"/>
                    <a:gd name="T13" fmla="*/ 51 h 98"/>
                    <a:gd name="T14" fmla="*/ 16 w 97"/>
                    <a:gd name="T15" fmla="*/ 43 h 98"/>
                    <a:gd name="T16" fmla="*/ 22 w 97"/>
                    <a:gd name="T17" fmla="*/ 36 h 98"/>
                    <a:gd name="T18" fmla="*/ 28 w 97"/>
                    <a:gd name="T19" fmla="*/ 29 h 98"/>
                    <a:gd name="T20" fmla="*/ 35 w 97"/>
                    <a:gd name="T21" fmla="*/ 23 h 98"/>
                    <a:gd name="T22" fmla="*/ 42 w 97"/>
                    <a:gd name="T23" fmla="*/ 17 h 98"/>
                    <a:gd name="T24" fmla="*/ 51 w 97"/>
                    <a:gd name="T25" fmla="*/ 12 h 98"/>
                    <a:gd name="T26" fmla="*/ 59 w 97"/>
                    <a:gd name="T27" fmla="*/ 9 h 98"/>
                    <a:gd name="T28" fmla="*/ 69 w 97"/>
                    <a:gd name="T29" fmla="*/ 5 h 98"/>
                    <a:gd name="T30" fmla="*/ 78 w 97"/>
                    <a:gd name="T31" fmla="*/ 3 h 98"/>
                    <a:gd name="T32" fmla="*/ 88 w 97"/>
                    <a:gd name="T33" fmla="*/ 2 h 98"/>
                    <a:gd name="T34" fmla="*/ 97 w 97"/>
                    <a:gd name="T35" fmla="*/ 0 h 98"/>
                    <a:gd name="T36" fmla="*/ 97 w 97"/>
                    <a:gd name="T37" fmla="*/ 98 h 98"/>
                    <a:gd name="T38" fmla="*/ 0 w 97"/>
                    <a:gd name="T39"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7" h="98">
                      <a:moveTo>
                        <a:pt x="0" y="98"/>
                      </a:moveTo>
                      <a:lnTo>
                        <a:pt x="0" y="98"/>
                      </a:lnTo>
                      <a:lnTo>
                        <a:pt x="0" y="88"/>
                      </a:lnTo>
                      <a:lnTo>
                        <a:pt x="1" y="79"/>
                      </a:lnTo>
                      <a:lnTo>
                        <a:pt x="4" y="69"/>
                      </a:lnTo>
                      <a:lnTo>
                        <a:pt x="7" y="60"/>
                      </a:lnTo>
                      <a:lnTo>
                        <a:pt x="11" y="51"/>
                      </a:lnTo>
                      <a:lnTo>
                        <a:pt x="16" y="43"/>
                      </a:lnTo>
                      <a:lnTo>
                        <a:pt x="22" y="36"/>
                      </a:lnTo>
                      <a:lnTo>
                        <a:pt x="28" y="29"/>
                      </a:lnTo>
                      <a:lnTo>
                        <a:pt x="35" y="23"/>
                      </a:lnTo>
                      <a:lnTo>
                        <a:pt x="42" y="17"/>
                      </a:lnTo>
                      <a:lnTo>
                        <a:pt x="51" y="12"/>
                      </a:lnTo>
                      <a:lnTo>
                        <a:pt x="59" y="9"/>
                      </a:lnTo>
                      <a:lnTo>
                        <a:pt x="69" y="5"/>
                      </a:lnTo>
                      <a:lnTo>
                        <a:pt x="78" y="3"/>
                      </a:lnTo>
                      <a:lnTo>
                        <a:pt x="88" y="2"/>
                      </a:lnTo>
                      <a:lnTo>
                        <a:pt x="97" y="0"/>
                      </a:lnTo>
                      <a:lnTo>
                        <a:pt x="97" y="98"/>
                      </a:lnTo>
                      <a:lnTo>
                        <a:pt x="0" y="98"/>
                      </a:lnTo>
                      <a:close/>
                    </a:path>
                  </a:pathLst>
                </a:custGeom>
                <a:solidFill>
                  <a:srgbClr val="39B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1" name="Freeform 328"/>
                <p:cNvSpPr>
                  <a:spLocks/>
                </p:cNvSpPr>
                <p:nvPr userDrawn="1"/>
              </p:nvSpPr>
              <p:spPr bwMode="auto">
                <a:xfrm>
                  <a:off x="12631283" y="1371099"/>
                  <a:ext cx="76200" cy="77788"/>
                </a:xfrm>
                <a:custGeom>
                  <a:avLst/>
                  <a:gdLst>
                    <a:gd name="T0" fmla="*/ 0 w 98"/>
                    <a:gd name="T1" fmla="*/ 0 h 98"/>
                    <a:gd name="T2" fmla="*/ 0 w 98"/>
                    <a:gd name="T3" fmla="*/ 0 h 98"/>
                    <a:gd name="T4" fmla="*/ 11 w 98"/>
                    <a:gd name="T5" fmla="*/ 2 h 98"/>
                    <a:gd name="T6" fmla="*/ 20 w 98"/>
                    <a:gd name="T7" fmla="*/ 3 h 98"/>
                    <a:gd name="T8" fmla="*/ 30 w 98"/>
                    <a:gd name="T9" fmla="*/ 5 h 98"/>
                    <a:gd name="T10" fmla="*/ 38 w 98"/>
                    <a:gd name="T11" fmla="*/ 9 h 98"/>
                    <a:gd name="T12" fmla="*/ 46 w 98"/>
                    <a:gd name="T13" fmla="*/ 12 h 98"/>
                    <a:gd name="T14" fmla="*/ 55 w 98"/>
                    <a:gd name="T15" fmla="*/ 17 h 98"/>
                    <a:gd name="T16" fmla="*/ 62 w 98"/>
                    <a:gd name="T17" fmla="*/ 23 h 98"/>
                    <a:gd name="T18" fmla="*/ 69 w 98"/>
                    <a:gd name="T19" fmla="*/ 29 h 98"/>
                    <a:gd name="T20" fmla="*/ 76 w 98"/>
                    <a:gd name="T21" fmla="*/ 36 h 98"/>
                    <a:gd name="T22" fmla="*/ 81 w 98"/>
                    <a:gd name="T23" fmla="*/ 43 h 98"/>
                    <a:gd name="T24" fmla="*/ 87 w 98"/>
                    <a:gd name="T25" fmla="*/ 51 h 98"/>
                    <a:gd name="T26" fmla="*/ 90 w 98"/>
                    <a:gd name="T27" fmla="*/ 60 h 98"/>
                    <a:gd name="T28" fmla="*/ 94 w 98"/>
                    <a:gd name="T29" fmla="*/ 69 h 98"/>
                    <a:gd name="T30" fmla="*/ 96 w 98"/>
                    <a:gd name="T31" fmla="*/ 79 h 98"/>
                    <a:gd name="T32" fmla="*/ 98 w 98"/>
                    <a:gd name="T33" fmla="*/ 88 h 98"/>
                    <a:gd name="T34" fmla="*/ 98 w 98"/>
                    <a:gd name="T35" fmla="*/ 98 h 98"/>
                    <a:gd name="T36" fmla="*/ 0 w 98"/>
                    <a:gd name="T37" fmla="*/ 98 h 98"/>
                    <a:gd name="T38" fmla="*/ 0 w 98"/>
                    <a:gd name="T39"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8" h="98">
                      <a:moveTo>
                        <a:pt x="0" y="0"/>
                      </a:moveTo>
                      <a:lnTo>
                        <a:pt x="0" y="0"/>
                      </a:lnTo>
                      <a:lnTo>
                        <a:pt x="11" y="2"/>
                      </a:lnTo>
                      <a:lnTo>
                        <a:pt x="20" y="3"/>
                      </a:lnTo>
                      <a:lnTo>
                        <a:pt x="30" y="5"/>
                      </a:lnTo>
                      <a:lnTo>
                        <a:pt x="38" y="9"/>
                      </a:lnTo>
                      <a:lnTo>
                        <a:pt x="46" y="12"/>
                      </a:lnTo>
                      <a:lnTo>
                        <a:pt x="55" y="17"/>
                      </a:lnTo>
                      <a:lnTo>
                        <a:pt x="62" y="23"/>
                      </a:lnTo>
                      <a:lnTo>
                        <a:pt x="69" y="29"/>
                      </a:lnTo>
                      <a:lnTo>
                        <a:pt x="76" y="36"/>
                      </a:lnTo>
                      <a:lnTo>
                        <a:pt x="81" y="43"/>
                      </a:lnTo>
                      <a:lnTo>
                        <a:pt x="87" y="51"/>
                      </a:lnTo>
                      <a:lnTo>
                        <a:pt x="90" y="60"/>
                      </a:lnTo>
                      <a:lnTo>
                        <a:pt x="94" y="69"/>
                      </a:lnTo>
                      <a:lnTo>
                        <a:pt x="96" y="79"/>
                      </a:lnTo>
                      <a:lnTo>
                        <a:pt x="98" y="88"/>
                      </a:lnTo>
                      <a:lnTo>
                        <a:pt x="98" y="98"/>
                      </a:lnTo>
                      <a:lnTo>
                        <a:pt x="0" y="98"/>
                      </a:lnTo>
                      <a:lnTo>
                        <a:pt x="0" y="0"/>
                      </a:lnTo>
                      <a:close/>
                    </a:path>
                  </a:pathLst>
                </a:custGeom>
                <a:solidFill>
                  <a:srgbClr val="148C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2" name="Freeform 329"/>
                <p:cNvSpPr>
                  <a:spLocks/>
                </p:cNvSpPr>
                <p:nvPr userDrawn="1"/>
              </p:nvSpPr>
              <p:spPr bwMode="auto">
                <a:xfrm>
                  <a:off x="12486821" y="759911"/>
                  <a:ext cx="33338" cy="112713"/>
                </a:xfrm>
                <a:custGeom>
                  <a:avLst/>
                  <a:gdLst>
                    <a:gd name="T0" fmla="*/ 43 w 43"/>
                    <a:gd name="T1" fmla="*/ 143 h 143"/>
                    <a:gd name="T2" fmla="*/ 0 w 43"/>
                    <a:gd name="T3" fmla="*/ 143 h 143"/>
                    <a:gd name="T4" fmla="*/ 0 w 43"/>
                    <a:gd name="T5" fmla="*/ 0 h 143"/>
                    <a:gd name="T6" fmla="*/ 38 w 43"/>
                    <a:gd name="T7" fmla="*/ 0 h 143"/>
                    <a:gd name="T8" fmla="*/ 43 w 43"/>
                    <a:gd name="T9" fmla="*/ 143 h 143"/>
                  </a:gdLst>
                  <a:ahLst/>
                  <a:cxnLst>
                    <a:cxn ang="0">
                      <a:pos x="T0" y="T1"/>
                    </a:cxn>
                    <a:cxn ang="0">
                      <a:pos x="T2" y="T3"/>
                    </a:cxn>
                    <a:cxn ang="0">
                      <a:pos x="T4" y="T5"/>
                    </a:cxn>
                    <a:cxn ang="0">
                      <a:pos x="T6" y="T7"/>
                    </a:cxn>
                    <a:cxn ang="0">
                      <a:pos x="T8" y="T9"/>
                    </a:cxn>
                  </a:cxnLst>
                  <a:rect l="0" t="0" r="r" b="b"/>
                  <a:pathLst>
                    <a:path w="43" h="143">
                      <a:moveTo>
                        <a:pt x="43" y="143"/>
                      </a:moveTo>
                      <a:lnTo>
                        <a:pt x="0" y="143"/>
                      </a:lnTo>
                      <a:lnTo>
                        <a:pt x="0" y="0"/>
                      </a:lnTo>
                      <a:lnTo>
                        <a:pt x="38" y="0"/>
                      </a:lnTo>
                      <a:lnTo>
                        <a:pt x="43" y="143"/>
                      </a:lnTo>
                      <a:close/>
                    </a:path>
                  </a:pathLst>
                </a:custGeom>
                <a:solidFill>
                  <a:srgbClr val="177A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3" name="Freeform 330"/>
                <p:cNvSpPr>
                  <a:spLocks/>
                </p:cNvSpPr>
                <p:nvPr userDrawn="1"/>
              </p:nvSpPr>
              <p:spPr bwMode="auto">
                <a:xfrm>
                  <a:off x="12486821" y="-27489"/>
                  <a:ext cx="338138" cy="806450"/>
                </a:xfrm>
                <a:custGeom>
                  <a:avLst/>
                  <a:gdLst>
                    <a:gd name="T0" fmla="*/ 0 w 427"/>
                    <a:gd name="T1" fmla="*/ 1015 h 1015"/>
                    <a:gd name="T2" fmla="*/ 0 w 427"/>
                    <a:gd name="T3" fmla="*/ 1015 h 1015"/>
                    <a:gd name="T4" fmla="*/ 25 w 427"/>
                    <a:gd name="T5" fmla="*/ 1014 h 1015"/>
                    <a:gd name="T6" fmla="*/ 49 w 427"/>
                    <a:gd name="T7" fmla="*/ 1011 h 1015"/>
                    <a:gd name="T8" fmla="*/ 73 w 427"/>
                    <a:gd name="T9" fmla="*/ 1009 h 1015"/>
                    <a:gd name="T10" fmla="*/ 95 w 427"/>
                    <a:gd name="T11" fmla="*/ 1004 h 1015"/>
                    <a:gd name="T12" fmla="*/ 115 w 427"/>
                    <a:gd name="T13" fmla="*/ 998 h 1015"/>
                    <a:gd name="T14" fmla="*/ 136 w 427"/>
                    <a:gd name="T15" fmla="*/ 992 h 1015"/>
                    <a:gd name="T16" fmla="*/ 155 w 427"/>
                    <a:gd name="T17" fmla="*/ 984 h 1015"/>
                    <a:gd name="T18" fmla="*/ 173 w 427"/>
                    <a:gd name="T19" fmla="*/ 974 h 1015"/>
                    <a:gd name="T20" fmla="*/ 189 w 427"/>
                    <a:gd name="T21" fmla="*/ 963 h 1015"/>
                    <a:gd name="T22" fmla="*/ 205 w 427"/>
                    <a:gd name="T23" fmla="*/ 951 h 1015"/>
                    <a:gd name="T24" fmla="*/ 219 w 427"/>
                    <a:gd name="T25" fmla="*/ 938 h 1015"/>
                    <a:gd name="T26" fmla="*/ 233 w 427"/>
                    <a:gd name="T27" fmla="*/ 922 h 1015"/>
                    <a:gd name="T28" fmla="*/ 245 w 427"/>
                    <a:gd name="T29" fmla="*/ 905 h 1015"/>
                    <a:gd name="T30" fmla="*/ 257 w 427"/>
                    <a:gd name="T31" fmla="*/ 888 h 1015"/>
                    <a:gd name="T32" fmla="*/ 268 w 427"/>
                    <a:gd name="T33" fmla="*/ 869 h 1015"/>
                    <a:gd name="T34" fmla="*/ 277 w 427"/>
                    <a:gd name="T35" fmla="*/ 848 h 1015"/>
                    <a:gd name="T36" fmla="*/ 277 w 427"/>
                    <a:gd name="T37" fmla="*/ 848 h 1015"/>
                    <a:gd name="T38" fmla="*/ 297 w 427"/>
                    <a:gd name="T39" fmla="*/ 800 h 1015"/>
                    <a:gd name="T40" fmla="*/ 321 w 427"/>
                    <a:gd name="T41" fmla="*/ 739 h 1015"/>
                    <a:gd name="T42" fmla="*/ 346 w 427"/>
                    <a:gd name="T43" fmla="*/ 671 h 1015"/>
                    <a:gd name="T44" fmla="*/ 370 w 427"/>
                    <a:gd name="T45" fmla="*/ 596 h 1015"/>
                    <a:gd name="T46" fmla="*/ 382 w 427"/>
                    <a:gd name="T47" fmla="*/ 558 h 1015"/>
                    <a:gd name="T48" fmla="*/ 393 w 427"/>
                    <a:gd name="T49" fmla="*/ 519 h 1015"/>
                    <a:gd name="T50" fmla="*/ 402 w 427"/>
                    <a:gd name="T51" fmla="*/ 481 h 1015"/>
                    <a:gd name="T52" fmla="*/ 410 w 427"/>
                    <a:gd name="T53" fmla="*/ 442 h 1015"/>
                    <a:gd name="T54" fmla="*/ 417 w 427"/>
                    <a:gd name="T55" fmla="*/ 404 h 1015"/>
                    <a:gd name="T56" fmla="*/ 422 w 427"/>
                    <a:gd name="T57" fmla="*/ 367 h 1015"/>
                    <a:gd name="T58" fmla="*/ 426 w 427"/>
                    <a:gd name="T59" fmla="*/ 330 h 1015"/>
                    <a:gd name="T60" fmla="*/ 427 w 427"/>
                    <a:gd name="T61" fmla="*/ 296 h 1015"/>
                    <a:gd name="T62" fmla="*/ 427 w 427"/>
                    <a:gd name="T63" fmla="*/ 296 h 1015"/>
                    <a:gd name="T64" fmla="*/ 427 w 427"/>
                    <a:gd name="T65" fmla="*/ 279 h 1015"/>
                    <a:gd name="T66" fmla="*/ 425 w 427"/>
                    <a:gd name="T67" fmla="*/ 262 h 1015"/>
                    <a:gd name="T68" fmla="*/ 422 w 427"/>
                    <a:gd name="T69" fmla="*/ 247 h 1015"/>
                    <a:gd name="T70" fmla="*/ 419 w 427"/>
                    <a:gd name="T71" fmla="*/ 231 h 1015"/>
                    <a:gd name="T72" fmla="*/ 414 w 427"/>
                    <a:gd name="T73" fmla="*/ 216 h 1015"/>
                    <a:gd name="T74" fmla="*/ 408 w 427"/>
                    <a:gd name="T75" fmla="*/ 202 h 1015"/>
                    <a:gd name="T76" fmla="*/ 401 w 427"/>
                    <a:gd name="T77" fmla="*/ 187 h 1015"/>
                    <a:gd name="T78" fmla="*/ 393 w 427"/>
                    <a:gd name="T79" fmla="*/ 173 h 1015"/>
                    <a:gd name="T80" fmla="*/ 384 w 427"/>
                    <a:gd name="T81" fmla="*/ 160 h 1015"/>
                    <a:gd name="T82" fmla="*/ 375 w 427"/>
                    <a:gd name="T83" fmla="*/ 147 h 1015"/>
                    <a:gd name="T84" fmla="*/ 364 w 427"/>
                    <a:gd name="T85" fmla="*/ 135 h 1015"/>
                    <a:gd name="T86" fmla="*/ 353 w 427"/>
                    <a:gd name="T87" fmla="*/ 123 h 1015"/>
                    <a:gd name="T88" fmla="*/ 341 w 427"/>
                    <a:gd name="T89" fmla="*/ 111 h 1015"/>
                    <a:gd name="T90" fmla="*/ 328 w 427"/>
                    <a:gd name="T91" fmla="*/ 101 h 1015"/>
                    <a:gd name="T92" fmla="*/ 315 w 427"/>
                    <a:gd name="T93" fmla="*/ 90 h 1015"/>
                    <a:gd name="T94" fmla="*/ 301 w 427"/>
                    <a:gd name="T95" fmla="*/ 80 h 1015"/>
                    <a:gd name="T96" fmla="*/ 286 w 427"/>
                    <a:gd name="T97" fmla="*/ 71 h 1015"/>
                    <a:gd name="T98" fmla="*/ 270 w 427"/>
                    <a:gd name="T99" fmla="*/ 61 h 1015"/>
                    <a:gd name="T100" fmla="*/ 253 w 427"/>
                    <a:gd name="T101" fmla="*/ 53 h 1015"/>
                    <a:gd name="T102" fmla="*/ 237 w 427"/>
                    <a:gd name="T103" fmla="*/ 46 h 1015"/>
                    <a:gd name="T104" fmla="*/ 220 w 427"/>
                    <a:gd name="T105" fmla="*/ 39 h 1015"/>
                    <a:gd name="T106" fmla="*/ 202 w 427"/>
                    <a:gd name="T107" fmla="*/ 32 h 1015"/>
                    <a:gd name="T108" fmla="*/ 164 w 427"/>
                    <a:gd name="T109" fmla="*/ 20 h 1015"/>
                    <a:gd name="T110" fmla="*/ 125 w 427"/>
                    <a:gd name="T111" fmla="*/ 11 h 1015"/>
                    <a:gd name="T112" fmla="*/ 85 w 427"/>
                    <a:gd name="T113" fmla="*/ 4 h 1015"/>
                    <a:gd name="T114" fmla="*/ 43 w 427"/>
                    <a:gd name="T115" fmla="*/ 1 h 1015"/>
                    <a:gd name="T116" fmla="*/ 0 w 427"/>
                    <a:gd name="T117" fmla="*/ 0 h 1015"/>
                    <a:gd name="T118" fmla="*/ 0 w 427"/>
                    <a:gd name="T119" fmla="*/ 0 h 1015"/>
                    <a:gd name="T120" fmla="*/ 0 w 427"/>
                    <a:gd name="T121" fmla="*/ 1015 h 1015"/>
                    <a:gd name="T122" fmla="*/ 0 w 427"/>
                    <a:gd name="T123" fmla="*/ 1015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7" h="1015">
                      <a:moveTo>
                        <a:pt x="0" y="1015"/>
                      </a:moveTo>
                      <a:lnTo>
                        <a:pt x="0" y="1015"/>
                      </a:lnTo>
                      <a:lnTo>
                        <a:pt x="25" y="1014"/>
                      </a:lnTo>
                      <a:lnTo>
                        <a:pt x="49" y="1011"/>
                      </a:lnTo>
                      <a:lnTo>
                        <a:pt x="73" y="1009"/>
                      </a:lnTo>
                      <a:lnTo>
                        <a:pt x="95" y="1004"/>
                      </a:lnTo>
                      <a:lnTo>
                        <a:pt x="115" y="998"/>
                      </a:lnTo>
                      <a:lnTo>
                        <a:pt x="136" y="992"/>
                      </a:lnTo>
                      <a:lnTo>
                        <a:pt x="155" y="984"/>
                      </a:lnTo>
                      <a:lnTo>
                        <a:pt x="173" y="974"/>
                      </a:lnTo>
                      <a:lnTo>
                        <a:pt x="189" y="963"/>
                      </a:lnTo>
                      <a:lnTo>
                        <a:pt x="205" y="951"/>
                      </a:lnTo>
                      <a:lnTo>
                        <a:pt x="219" y="938"/>
                      </a:lnTo>
                      <a:lnTo>
                        <a:pt x="233" y="922"/>
                      </a:lnTo>
                      <a:lnTo>
                        <a:pt x="245" y="905"/>
                      </a:lnTo>
                      <a:lnTo>
                        <a:pt x="257" y="888"/>
                      </a:lnTo>
                      <a:lnTo>
                        <a:pt x="268" y="869"/>
                      </a:lnTo>
                      <a:lnTo>
                        <a:pt x="277" y="848"/>
                      </a:lnTo>
                      <a:lnTo>
                        <a:pt x="277" y="848"/>
                      </a:lnTo>
                      <a:lnTo>
                        <a:pt x="297" y="800"/>
                      </a:lnTo>
                      <a:lnTo>
                        <a:pt x="321" y="739"/>
                      </a:lnTo>
                      <a:lnTo>
                        <a:pt x="346" y="671"/>
                      </a:lnTo>
                      <a:lnTo>
                        <a:pt x="370" y="596"/>
                      </a:lnTo>
                      <a:lnTo>
                        <a:pt x="382" y="558"/>
                      </a:lnTo>
                      <a:lnTo>
                        <a:pt x="393" y="519"/>
                      </a:lnTo>
                      <a:lnTo>
                        <a:pt x="402" y="481"/>
                      </a:lnTo>
                      <a:lnTo>
                        <a:pt x="410" y="442"/>
                      </a:lnTo>
                      <a:lnTo>
                        <a:pt x="417" y="404"/>
                      </a:lnTo>
                      <a:lnTo>
                        <a:pt x="422" y="367"/>
                      </a:lnTo>
                      <a:lnTo>
                        <a:pt x="426" y="330"/>
                      </a:lnTo>
                      <a:lnTo>
                        <a:pt x="427" y="296"/>
                      </a:lnTo>
                      <a:lnTo>
                        <a:pt x="427" y="296"/>
                      </a:lnTo>
                      <a:lnTo>
                        <a:pt x="427" y="279"/>
                      </a:lnTo>
                      <a:lnTo>
                        <a:pt x="425" y="262"/>
                      </a:lnTo>
                      <a:lnTo>
                        <a:pt x="422" y="247"/>
                      </a:lnTo>
                      <a:lnTo>
                        <a:pt x="419" y="231"/>
                      </a:lnTo>
                      <a:lnTo>
                        <a:pt x="414" y="216"/>
                      </a:lnTo>
                      <a:lnTo>
                        <a:pt x="408" y="202"/>
                      </a:lnTo>
                      <a:lnTo>
                        <a:pt x="401" y="187"/>
                      </a:lnTo>
                      <a:lnTo>
                        <a:pt x="393" y="173"/>
                      </a:lnTo>
                      <a:lnTo>
                        <a:pt x="384" y="160"/>
                      </a:lnTo>
                      <a:lnTo>
                        <a:pt x="375" y="147"/>
                      </a:lnTo>
                      <a:lnTo>
                        <a:pt x="364" y="135"/>
                      </a:lnTo>
                      <a:lnTo>
                        <a:pt x="353" y="123"/>
                      </a:lnTo>
                      <a:lnTo>
                        <a:pt x="341" y="111"/>
                      </a:lnTo>
                      <a:lnTo>
                        <a:pt x="328" y="101"/>
                      </a:lnTo>
                      <a:lnTo>
                        <a:pt x="315" y="90"/>
                      </a:lnTo>
                      <a:lnTo>
                        <a:pt x="301" y="80"/>
                      </a:lnTo>
                      <a:lnTo>
                        <a:pt x="286" y="71"/>
                      </a:lnTo>
                      <a:lnTo>
                        <a:pt x="270" y="61"/>
                      </a:lnTo>
                      <a:lnTo>
                        <a:pt x="253" y="53"/>
                      </a:lnTo>
                      <a:lnTo>
                        <a:pt x="237" y="46"/>
                      </a:lnTo>
                      <a:lnTo>
                        <a:pt x="220" y="39"/>
                      </a:lnTo>
                      <a:lnTo>
                        <a:pt x="202" y="32"/>
                      </a:lnTo>
                      <a:lnTo>
                        <a:pt x="164" y="20"/>
                      </a:lnTo>
                      <a:lnTo>
                        <a:pt x="125" y="11"/>
                      </a:lnTo>
                      <a:lnTo>
                        <a:pt x="85" y="4"/>
                      </a:lnTo>
                      <a:lnTo>
                        <a:pt x="43" y="1"/>
                      </a:lnTo>
                      <a:lnTo>
                        <a:pt x="0" y="0"/>
                      </a:lnTo>
                      <a:lnTo>
                        <a:pt x="0" y="0"/>
                      </a:lnTo>
                      <a:lnTo>
                        <a:pt x="0" y="1015"/>
                      </a:lnTo>
                      <a:lnTo>
                        <a:pt x="0" y="1015"/>
                      </a:lnTo>
                      <a:close/>
                    </a:path>
                  </a:pathLst>
                </a:custGeom>
                <a:solidFill>
                  <a:srgbClr val="148C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4" name="Freeform 331"/>
                <p:cNvSpPr>
                  <a:spLocks/>
                </p:cNvSpPr>
                <p:nvPr userDrawn="1"/>
              </p:nvSpPr>
              <p:spPr bwMode="auto">
                <a:xfrm>
                  <a:off x="12486821" y="850399"/>
                  <a:ext cx="187325" cy="377825"/>
                </a:xfrm>
                <a:custGeom>
                  <a:avLst/>
                  <a:gdLst>
                    <a:gd name="T0" fmla="*/ 0 w 238"/>
                    <a:gd name="T1" fmla="*/ 0 h 476"/>
                    <a:gd name="T2" fmla="*/ 0 w 238"/>
                    <a:gd name="T3" fmla="*/ 0 h 476"/>
                    <a:gd name="T4" fmla="*/ 12 w 238"/>
                    <a:gd name="T5" fmla="*/ 0 h 476"/>
                    <a:gd name="T6" fmla="*/ 24 w 238"/>
                    <a:gd name="T7" fmla="*/ 1 h 476"/>
                    <a:gd name="T8" fmla="*/ 36 w 238"/>
                    <a:gd name="T9" fmla="*/ 4 h 476"/>
                    <a:gd name="T10" fmla="*/ 48 w 238"/>
                    <a:gd name="T11" fmla="*/ 7 h 476"/>
                    <a:gd name="T12" fmla="*/ 60 w 238"/>
                    <a:gd name="T13" fmla="*/ 11 h 476"/>
                    <a:gd name="T14" fmla="*/ 70 w 238"/>
                    <a:gd name="T15" fmla="*/ 16 h 476"/>
                    <a:gd name="T16" fmla="*/ 81 w 238"/>
                    <a:gd name="T17" fmla="*/ 20 h 476"/>
                    <a:gd name="T18" fmla="*/ 93 w 238"/>
                    <a:gd name="T19" fmla="*/ 26 h 476"/>
                    <a:gd name="T20" fmla="*/ 113 w 238"/>
                    <a:gd name="T21" fmla="*/ 39 h 476"/>
                    <a:gd name="T22" fmla="*/ 133 w 238"/>
                    <a:gd name="T23" fmla="*/ 56 h 476"/>
                    <a:gd name="T24" fmla="*/ 151 w 238"/>
                    <a:gd name="T25" fmla="*/ 74 h 476"/>
                    <a:gd name="T26" fmla="*/ 168 w 238"/>
                    <a:gd name="T27" fmla="*/ 94 h 476"/>
                    <a:gd name="T28" fmla="*/ 183 w 238"/>
                    <a:gd name="T29" fmla="*/ 115 h 476"/>
                    <a:gd name="T30" fmla="*/ 198 w 238"/>
                    <a:gd name="T31" fmla="*/ 138 h 476"/>
                    <a:gd name="T32" fmla="*/ 209 w 238"/>
                    <a:gd name="T33" fmla="*/ 162 h 476"/>
                    <a:gd name="T34" fmla="*/ 219 w 238"/>
                    <a:gd name="T35" fmla="*/ 186 h 476"/>
                    <a:gd name="T36" fmla="*/ 227 w 238"/>
                    <a:gd name="T37" fmla="*/ 211 h 476"/>
                    <a:gd name="T38" fmla="*/ 233 w 238"/>
                    <a:gd name="T39" fmla="*/ 236 h 476"/>
                    <a:gd name="T40" fmla="*/ 237 w 238"/>
                    <a:gd name="T41" fmla="*/ 261 h 476"/>
                    <a:gd name="T42" fmla="*/ 238 w 238"/>
                    <a:gd name="T43" fmla="*/ 285 h 476"/>
                    <a:gd name="T44" fmla="*/ 238 w 238"/>
                    <a:gd name="T45" fmla="*/ 285 h 476"/>
                    <a:gd name="T46" fmla="*/ 237 w 238"/>
                    <a:gd name="T47" fmla="*/ 309 h 476"/>
                    <a:gd name="T48" fmla="*/ 233 w 238"/>
                    <a:gd name="T49" fmla="*/ 332 h 476"/>
                    <a:gd name="T50" fmla="*/ 227 w 238"/>
                    <a:gd name="T51" fmla="*/ 352 h 476"/>
                    <a:gd name="T52" fmla="*/ 219 w 238"/>
                    <a:gd name="T53" fmla="*/ 371 h 476"/>
                    <a:gd name="T54" fmla="*/ 209 w 238"/>
                    <a:gd name="T55" fmla="*/ 388 h 476"/>
                    <a:gd name="T56" fmla="*/ 198 w 238"/>
                    <a:gd name="T57" fmla="*/ 403 h 476"/>
                    <a:gd name="T58" fmla="*/ 183 w 238"/>
                    <a:gd name="T59" fmla="*/ 417 h 476"/>
                    <a:gd name="T60" fmla="*/ 168 w 238"/>
                    <a:gd name="T61" fmla="*/ 431 h 476"/>
                    <a:gd name="T62" fmla="*/ 151 w 238"/>
                    <a:gd name="T63" fmla="*/ 441 h 476"/>
                    <a:gd name="T64" fmla="*/ 133 w 238"/>
                    <a:gd name="T65" fmla="*/ 451 h 476"/>
                    <a:gd name="T66" fmla="*/ 113 w 238"/>
                    <a:gd name="T67" fmla="*/ 458 h 476"/>
                    <a:gd name="T68" fmla="*/ 93 w 238"/>
                    <a:gd name="T69" fmla="*/ 465 h 476"/>
                    <a:gd name="T70" fmla="*/ 70 w 238"/>
                    <a:gd name="T71" fmla="*/ 470 h 476"/>
                    <a:gd name="T72" fmla="*/ 48 w 238"/>
                    <a:gd name="T73" fmla="*/ 473 h 476"/>
                    <a:gd name="T74" fmla="*/ 24 w 238"/>
                    <a:gd name="T75" fmla="*/ 476 h 476"/>
                    <a:gd name="T76" fmla="*/ 0 w 238"/>
                    <a:gd name="T77" fmla="*/ 476 h 476"/>
                    <a:gd name="T78" fmla="*/ 0 w 238"/>
                    <a:gd name="T79"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8" h="476">
                      <a:moveTo>
                        <a:pt x="0" y="0"/>
                      </a:moveTo>
                      <a:lnTo>
                        <a:pt x="0" y="0"/>
                      </a:lnTo>
                      <a:lnTo>
                        <a:pt x="12" y="0"/>
                      </a:lnTo>
                      <a:lnTo>
                        <a:pt x="24" y="1"/>
                      </a:lnTo>
                      <a:lnTo>
                        <a:pt x="36" y="4"/>
                      </a:lnTo>
                      <a:lnTo>
                        <a:pt x="48" y="7"/>
                      </a:lnTo>
                      <a:lnTo>
                        <a:pt x="60" y="11"/>
                      </a:lnTo>
                      <a:lnTo>
                        <a:pt x="70" y="16"/>
                      </a:lnTo>
                      <a:lnTo>
                        <a:pt x="81" y="20"/>
                      </a:lnTo>
                      <a:lnTo>
                        <a:pt x="93" y="26"/>
                      </a:lnTo>
                      <a:lnTo>
                        <a:pt x="113" y="39"/>
                      </a:lnTo>
                      <a:lnTo>
                        <a:pt x="133" y="56"/>
                      </a:lnTo>
                      <a:lnTo>
                        <a:pt x="151" y="74"/>
                      </a:lnTo>
                      <a:lnTo>
                        <a:pt x="168" y="94"/>
                      </a:lnTo>
                      <a:lnTo>
                        <a:pt x="183" y="115"/>
                      </a:lnTo>
                      <a:lnTo>
                        <a:pt x="198" y="138"/>
                      </a:lnTo>
                      <a:lnTo>
                        <a:pt x="209" y="162"/>
                      </a:lnTo>
                      <a:lnTo>
                        <a:pt x="219" y="186"/>
                      </a:lnTo>
                      <a:lnTo>
                        <a:pt x="227" y="211"/>
                      </a:lnTo>
                      <a:lnTo>
                        <a:pt x="233" y="236"/>
                      </a:lnTo>
                      <a:lnTo>
                        <a:pt x="237" y="261"/>
                      </a:lnTo>
                      <a:lnTo>
                        <a:pt x="238" y="285"/>
                      </a:lnTo>
                      <a:lnTo>
                        <a:pt x="238" y="285"/>
                      </a:lnTo>
                      <a:lnTo>
                        <a:pt x="237" y="309"/>
                      </a:lnTo>
                      <a:lnTo>
                        <a:pt x="233" y="332"/>
                      </a:lnTo>
                      <a:lnTo>
                        <a:pt x="227" y="352"/>
                      </a:lnTo>
                      <a:lnTo>
                        <a:pt x="219" y="371"/>
                      </a:lnTo>
                      <a:lnTo>
                        <a:pt x="209" y="388"/>
                      </a:lnTo>
                      <a:lnTo>
                        <a:pt x="198" y="403"/>
                      </a:lnTo>
                      <a:lnTo>
                        <a:pt x="183" y="417"/>
                      </a:lnTo>
                      <a:lnTo>
                        <a:pt x="168" y="431"/>
                      </a:lnTo>
                      <a:lnTo>
                        <a:pt x="151" y="441"/>
                      </a:lnTo>
                      <a:lnTo>
                        <a:pt x="133" y="451"/>
                      </a:lnTo>
                      <a:lnTo>
                        <a:pt x="113" y="458"/>
                      </a:lnTo>
                      <a:lnTo>
                        <a:pt x="93" y="465"/>
                      </a:lnTo>
                      <a:lnTo>
                        <a:pt x="70" y="470"/>
                      </a:lnTo>
                      <a:lnTo>
                        <a:pt x="48" y="473"/>
                      </a:lnTo>
                      <a:lnTo>
                        <a:pt x="24" y="476"/>
                      </a:lnTo>
                      <a:lnTo>
                        <a:pt x="0" y="476"/>
                      </a:lnTo>
                      <a:lnTo>
                        <a:pt x="0" y="0"/>
                      </a:lnTo>
                      <a:close/>
                    </a:path>
                  </a:pathLst>
                </a:custGeom>
                <a:solidFill>
                  <a:srgbClr val="148C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5" name="Freeform 332"/>
                <p:cNvSpPr>
                  <a:spLocks/>
                </p:cNvSpPr>
                <p:nvPr userDrawn="1"/>
              </p:nvSpPr>
              <p:spPr bwMode="auto">
                <a:xfrm>
                  <a:off x="12550321" y="240799"/>
                  <a:ext cx="273050" cy="317500"/>
                </a:xfrm>
                <a:custGeom>
                  <a:avLst/>
                  <a:gdLst>
                    <a:gd name="T0" fmla="*/ 155 w 344"/>
                    <a:gd name="T1" fmla="*/ 50 h 400"/>
                    <a:gd name="T2" fmla="*/ 155 w 344"/>
                    <a:gd name="T3" fmla="*/ 50 h 400"/>
                    <a:gd name="T4" fmla="*/ 172 w 344"/>
                    <a:gd name="T5" fmla="*/ 39 h 400"/>
                    <a:gd name="T6" fmla="*/ 195 w 344"/>
                    <a:gd name="T7" fmla="*/ 29 h 400"/>
                    <a:gd name="T8" fmla="*/ 220 w 344"/>
                    <a:gd name="T9" fmla="*/ 18 h 400"/>
                    <a:gd name="T10" fmla="*/ 247 w 344"/>
                    <a:gd name="T11" fmla="*/ 10 h 400"/>
                    <a:gd name="T12" fmla="*/ 275 w 344"/>
                    <a:gd name="T13" fmla="*/ 4 h 400"/>
                    <a:gd name="T14" fmla="*/ 301 w 344"/>
                    <a:gd name="T15" fmla="*/ 0 h 400"/>
                    <a:gd name="T16" fmla="*/ 313 w 344"/>
                    <a:gd name="T17" fmla="*/ 0 h 400"/>
                    <a:gd name="T18" fmla="*/ 325 w 344"/>
                    <a:gd name="T19" fmla="*/ 0 h 400"/>
                    <a:gd name="T20" fmla="*/ 334 w 344"/>
                    <a:gd name="T21" fmla="*/ 1 h 400"/>
                    <a:gd name="T22" fmla="*/ 344 w 344"/>
                    <a:gd name="T23" fmla="*/ 3 h 400"/>
                    <a:gd name="T24" fmla="*/ 344 w 344"/>
                    <a:gd name="T25" fmla="*/ 3 h 400"/>
                    <a:gd name="T26" fmla="*/ 341 w 344"/>
                    <a:gd name="T27" fmla="*/ 28 h 400"/>
                    <a:gd name="T28" fmla="*/ 339 w 344"/>
                    <a:gd name="T29" fmla="*/ 53 h 400"/>
                    <a:gd name="T30" fmla="*/ 329 w 344"/>
                    <a:gd name="T31" fmla="*/ 102 h 400"/>
                    <a:gd name="T32" fmla="*/ 319 w 344"/>
                    <a:gd name="T33" fmla="*/ 154 h 400"/>
                    <a:gd name="T34" fmla="*/ 306 w 344"/>
                    <a:gd name="T35" fmla="*/ 206 h 400"/>
                    <a:gd name="T36" fmla="*/ 290 w 344"/>
                    <a:gd name="T37" fmla="*/ 257 h 400"/>
                    <a:gd name="T38" fmla="*/ 273 w 344"/>
                    <a:gd name="T39" fmla="*/ 307 h 400"/>
                    <a:gd name="T40" fmla="*/ 258 w 344"/>
                    <a:gd name="T41" fmla="*/ 354 h 400"/>
                    <a:gd name="T42" fmla="*/ 241 w 344"/>
                    <a:gd name="T43" fmla="*/ 400 h 400"/>
                    <a:gd name="T44" fmla="*/ 241 w 344"/>
                    <a:gd name="T45" fmla="*/ 400 h 400"/>
                    <a:gd name="T46" fmla="*/ 205 w 344"/>
                    <a:gd name="T47" fmla="*/ 397 h 400"/>
                    <a:gd name="T48" fmla="*/ 165 w 344"/>
                    <a:gd name="T49" fmla="*/ 391 h 400"/>
                    <a:gd name="T50" fmla="*/ 145 w 344"/>
                    <a:gd name="T51" fmla="*/ 388 h 400"/>
                    <a:gd name="T52" fmla="*/ 125 w 344"/>
                    <a:gd name="T53" fmla="*/ 383 h 400"/>
                    <a:gd name="T54" fmla="*/ 106 w 344"/>
                    <a:gd name="T55" fmla="*/ 377 h 400"/>
                    <a:gd name="T56" fmla="*/ 87 w 344"/>
                    <a:gd name="T57" fmla="*/ 370 h 400"/>
                    <a:gd name="T58" fmla="*/ 69 w 344"/>
                    <a:gd name="T59" fmla="*/ 362 h 400"/>
                    <a:gd name="T60" fmla="*/ 52 w 344"/>
                    <a:gd name="T61" fmla="*/ 352 h 400"/>
                    <a:gd name="T62" fmla="*/ 38 w 344"/>
                    <a:gd name="T63" fmla="*/ 341 h 400"/>
                    <a:gd name="T64" fmla="*/ 25 w 344"/>
                    <a:gd name="T65" fmla="*/ 328 h 400"/>
                    <a:gd name="T66" fmla="*/ 19 w 344"/>
                    <a:gd name="T67" fmla="*/ 322 h 400"/>
                    <a:gd name="T68" fmla="*/ 14 w 344"/>
                    <a:gd name="T69" fmla="*/ 315 h 400"/>
                    <a:gd name="T70" fmla="*/ 11 w 344"/>
                    <a:gd name="T71" fmla="*/ 307 h 400"/>
                    <a:gd name="T72" fmla="*/ 7 w 344"/>
                    <a:gd name="T73" fmla="*/ 300 h 400"/>
                    <a:gd name="T74" fmla="*/ 4 w 344"/>
                    <a:gd name="T75" fmla="*/ 291 h 400"/>
                    <a:gd name="T76" fmla="*/ 1 w 344"/>
                    <a:gd name="T77" fmla="*/ 282 h 400"/>
                    <a:gd name="T78" fmla="*/ 0 w 344"/>
                    <a:gd name="T79" fmla="*/ 272 h 400"/>
                    <a:gd name="T80" fmla="*/ 0 w 344"/>
                    <a:gd name="T81" fmla="*/ 263 h 400"/>
                    <a:gd name="T82" fmla="*/ 0 w 344"/>
                    <a:gd name="T83" fmla="*/ 263 h 400"/>
                    <a:gd name="T84" fmla="*/ 0 w 344"/>
                    <a:gd name="T85" fmla="*/ 245 h 400"/>
                    <a:gd name="T86" fmla="*/ 2 w 344"/>
                    <a:gd name="T87" fmla="*/ 228 h 400"/>
                    <a:gd name="T88" fmla="*/ 6 w 344"/>
                    <a:gd name="T89" fmla="*/ 213 h 400"/>
                    <a:gd name="T90" fmla="*/ 11 w 344"/>
                    <a:gd name="T91" fmla="*/ 199 h 400"/>
                    <a:gd name="T92" fmla="*/ 17 w 344"/>
                    <a:gd name="T93" fmla="*/ 184 h 400"/>
                    <a:gd name="T94" fmla="*/ 24 w 344"/>
                    <a:gd name="T95" fmla="*/ 171 h 400"/>
                    <a:gd name="T96" fmla="*/ 33 w 344"/>
                    <a:gd name="T97" fmla="*/ 158 h 400"/>
                    <a:gd name="T98" fmla="*/ 43 w 344"/>
                    <a:gd name="T99" fmla="*/ 146 h 400"/>
                    <a:gd name="T100" fmla="*/ 53 w 344"/>
                    <a:gd name="T101" fmla="*/ 133 h 400"/>
                    <a:gd name="T102" fmla="*/ 65 w 344"/>
                    <a:gd name="T103" fmla="*/ 121 h 400"/>
                    <a:gd name="T104" fmla="*/ 92 w 344"/>
                    <a:gd name="T105" fmla="*/ 99 h 400"/>
                    <a:gd name="T106" fmla="*/ 121 w 344"/>
                    <a:gd name="T107" fmla="*/ 75 h 400"/>
                    <a:gd name="T108" fmla="*/ 155 w 344"/>
                    <a:gd name="T109" fmla="*/ 50 h 400"/>
                    <a:gd name="T110" fmla="*/ 155 w 344"/>
                    <a:gd name="T111" fmla="*/ 5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4" h="400">
                      <a:moveTo>
                        <a:pt x="155" y="50"/>
                      </a:moveTo>
                      <a:lnTo>
                        <a:pt x="155" y="50"/>
                      </a:lnTo>
                      <a:lnTo>
                        <a:pt x="172" y="39"/>
                      </a:lnTo>
                      <a:lnTo>
                        <a:pt x="195" y="29"/>
                      </a:lnTo>
                      <a:lnTo>
                        <a:pt x="220" y="18"/>
                      </a:lnTo>
                      <a:lnTo>
                        <a:pt x="247" y="10"/>
                      </a:lnTo>
                      <a:lnTo>
                        <a:pt x="275" y="4"/>
                      </a:lnTo>
                      <a:lnTo>
                        <a:pt x="301" y="0"/>
                      </a:lnTo>
                      <a:lnTo>
                        <a:pt x="313" y="0"/>
                      </a:lnTo>
                      <a:lnTo>
                        <a:pt x="325" y="0"/>
                      </a:lnTo>
                      <a:lnTo>
                        <a:pt x="334" y="1"/>
                      </a:lnTo>
                      <a:lnTo>
                        <a:pt x="344" y="3"/>
                      </a:lnTo>
                      <a:lnTo>
                        <a:pt x="344" y="3"/>
                      </a:lnTo>
                      <a:lnTo>
                        <a:pt x="341" y="28"/>
                      </a:lnTo>
                      <a:lnTo>
                        <a:pt x="339" y="53"/>
                      </a:lnTo>
                      <a:lnTo>
                        <a:pt x="329" y="102"/>
                      </a:lnTo>
                      <a:lnTo>
                        <a:pt x="319" y="154"/>
                      </a:lnTo>
                      <a:lnTo>
                        <a:pt x="306" y="206"/>
                      </a:lnTo>
                      <a:lnTo>
                        <a:pt x="290" y="257"/>
                      </a:lnTo>
                      <a:lnTo>
                        <a:pt x="273" y="307"/>
                      </a:lnTo>
                      <a:lnTo>
                        <a:pt x="258" y="354"/>
                      </a:lnTo>
                      <a:lnTo>
                        <a:pt x="241" y="400"/>
                      </a:lnTo>
                      <a:lnTo>
                        <a:pt x="241" y="400"/>
                      </a:lnTo>
                      <a:lnTo>
                        <a:pt x="205" y="397"/>
                      </a:lnTo>
                      <a:lnTo>
                        <a:pt x="165" y="391"/>
                      </a:lnTo>
                      <a:lnTo>
                        <a:pt x="145" y="388"/>
                      </a:lnTo>
                      <a:lnTo>
                        <a:pt x="125" y="383"/>
                      </a:lnTo>
                      <a:lnTo>
                        <a:pt x="106" y="377"/>
                      </a:lnTo>
                      <a:lnTo>
                        <a:pt x="87" y="370"/>
                      </a:lnTo>
                      <a:lnTo>
                        <a:pt x="69" y="362"/>
                      </a:lnTo>
                      <a:lnTo>
                        <a:pt x="52" y="352"/>
                      </a:lnTo>
                      <a:lnTo>
                        <a:pt x="38" y="341"/>
                      </a:lnTo>
                      <a:lnTo>
                        <a:pt x="25" y="328"/>
                      </a:lnTo>
                      <a:lnTo>
                        <a:pt x="19" y="322"/>
                      </a:lnTo>
                      <a:lnTo>
                        <a:pt x="14" y="315"/>
                      </a:lnTo>
                      <a:lnTo>
                        <a:pt x="11" y="307"/>
                      </a:lnTo>
                      <a:lnTo>
                        <a:pt x="7" y="300"/>
                      </a:lnTo>
                      <a:lnTo>
                        <a:pt x="4" y="291"/>
                      </a:lnTo>
                      <a:lnTo>
                        <a:pt x="1" y="282"/>
                      </a:lnTo>
                      <a:lnTo>
                        <a:pt x="0" y="272"/>
                      </a:lnTo>
                      <a:lnTo>
                        <a:pt x="0" y="263"/>
                      </a:lnTo>
                      <a:lnTo>
                        <a:pt x="0" y="263"/>
                      </a:lnTo>
                      <a:lnTo>
                        <a:pt x="0" y="245"/>
                      </a:lnTo>
                      <a:lnTo>
                        <a:pt x="2" y="228"/>
                      </a:lnTo>
                      <a:lnTo>
                        <a:pt x="6" y="213"/>
                      </a:lnTo>
                      <a:lnTo>
                        <a:pt x="11" y="199"/>
                      </a:lnTo>
                      <a:lnTo>
                        <a:pt x="17" y="184"/>
                      </a:lnTo>
                      <a:lnTo>
                        <a:pt x="24" y="171"/>
                      </a:lnTo>
                      <a:lnTo>
                        <a:pt x="33" y="158"/>
                      </a:lnTo>
                      <a:lnTo>
                        <a:pt x="43" y="146"/>
                      </a:lnTo>
                      <a:lnTo>
                        <a:pt x="53" y="133"/>
                      </a:lnTo>
                      <a:lnTo>
                        <a:pt x="65" y="121"/>
                      </a:lnTo>
                      <a:lnTo>
                        <a:pt x="92" y="99"/>
                      </a:lnTo>
                      <a:lnTo>
                        <a:pt x="121" y="75"/>
                      </a:lnTo>
                      <a:lnTo>
                        <a:pt x="155" y="50"/>
                      </a:lnTo>
                      <a:lnTo>
                        <a:pt x="155" y="50"/>
                      </a:lnTo>
                      <a:close/>
                    </a:path>
                  </a:pathLst>
                </a:custGeom>
                <a:solidFill>
                  <a:srgbClr val="292D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6" name="Freeform 333"/>
                <p:cNvSpPr>
                  <a:spLocks/>
                </p:cNvSpPr>
                <p:nvPr userDrawn="1"/>
              </p:nvSpPr>
              <p:spPr bwMode="auto">
                <a:xfrm>
                  <a:off x="12547146" y="877386"/>
                  <a:ext cx="207963" cy="287338"/>
                </a:xfrm>
                <a:custGeom>
                  <a:avLst/>
                  <a:gdLst>
                    <a:gd name="T0" fmla="*/ 214 w 262"/>
                    <a:gd name="T1" fmla="*/ 361 h 361"/>
                    <a:gd name="T2" fmla="*/ 214 w 262"/>
                    <a:gd name="T3" fmla="*/ 361 h 361"/>
                    <a:gd name="T4" fmla="*/ 224 w 262"/>
                    <a:gd name="T5" fmla="*/ 361 h 361"/>
                    <a:gd name="T6" fmla="*/ 224 w 262"/>
                    <a:gd name="T7" fmla="*/ 361 h 361"/>
                    <a:gd name="T8" fmla="*/ 230 w 262"/>
                    <a:gd name="T9" fmla="*/ 359 h 361"/>
                    <a:gd name="T10" fmla="*/ 235 w 262"/>
                    <a:gd name="T11" fmla="*/ 355 h 361"/>
                    <a:gd name="T12" fmla="*/ 237 w 262"/>
                    <a:gd name="T13" fmla="*/ 350 h 361"/>
                    <a:gd name="T14" fmla="*/ 238 w 262"/>
                    <a:gd name="T15" fmla="*/ 343 h 361"/>
                    <a:gd name="T16" fmla="*/ 238 w 262"/>
                    <a:gd name="T17" fmla="*/ 343 h 361"/>
                    <a:gd name="T18" fmla="*/ 236 w 262"/>
                    <a:gd name="T19" fmla="*/ 337 h 361"/>
                    <a:gd name="T20" fmla="*/ 232 w 262"/>
                    <a:gd name="T21" fmla="*/ 333 h 361"/>
                    <a:gd name="T22" fmla="*/ 228 w 262"/>
                    <a:gd name="T23" fmla="*/ 330 h 361"/>
                    <a:gd name="T24" fmla="*/ 220 w 262"/>
                    <a:gd name="T25" fmla="*/ 329 h 361"/>
                    <a:gd name="T26" fmla="*/ 220 w 262"/>
                    <a:gd name="T27" fmla="*/ 329 h 361"/>
                    <a:gd name="T28" fmla="*/ 209 w 262"/>
                    <a:gd name="T29" fmla="*/ 329 h 361"/>
                    <a:gd name="T30" fmla="*/ 199 w 262"/>
                    <a:gd name="T31" fmla="*/ 327 h 361"/>
                    <a:gd name="T32" fmla="*/ 191 w 262"/>
                    <a:gd name="T33" fmla="*/ 323 h 361"/>
                    <a:gd name="T34" fmla="*/ 185 w 262"/>
                    <a:gd name="T35" fmla="*/ 318 h 361"/>
                    <a:gd name="T36" fmla="*/ 180 w 262"/>
                    <a:gd name="T37" fmla="*/ 312 h 361"/>
                    <a:gd name="T38" fmla="*/ 176 w 262"/>
                    <a:gd name="T39" fmla="*/ 306 h 361"/>
                    <a:gd name="T40" fmla="*/ 173 w 262"/>
                    <a:gd name="T41" fmla="*/ 297 h 361"/>
                    <a:gd name="T42" fmla="*/ 261 w 262"/>
                    <a:gd name="T43" fmla="*/ 128 h 361"/>
                    <a:gd name="T44" fmla="*/ 261 w 262"/>
                    <a:gd name="T45" fmla="*/ 128 h 361"/>
                    <a:gd name="T46" fmla="*/ 262 w 262"/>
                    <a:gd name="T47" fmla="*/ 121 h 361"/>
                    <a:gd name="T48" fmla="*/ 261 w 262"/>
                    <a:gd name="T49" fmla="*/ 115 h 361"/>
                    <a:gd name="T50" fmla="*/ 261 w 262"/>
                    <a:gd name="T51" fmla="*/ 115 h 361"/>
                    <a:gd name="T52" fmla="*/ 258 w 262"/>
                    <a:gd name="T53" fmla="*/ 109 h 361"/>
                    <a:gd name="T54" fmla="*/ 252 w 262"/>
                    <a:gd name="T55" fmla="*/ 105 h 361"/>
                    <a:gd name="T56" fmla="*/ 23 w 262"/>
                    <a:gd name="T57" fmla="*/ 1 h 361"/>
                    <a:gd name="T58" fmla="*/ 23 w 262"/>
                    <a:gd name="T59" fmla="*/ 1 h 361"/>
                    <a:gd name="T60" fmla="*/ 17 w 262"/>
                    <a:gd name="T61" fmla="*/ 0 h 361"/>
                    <a:gd name="T62" fmla="*/ 11 w 262"/>
                    <a:gd name="T63" fmla="*/ 1 h 361"/>
                    <a:gd name="T64" fmla="*/ 6 w 262"/>
                    <a:gd name="T65" fmla="*/ 3 h 361"/>
                    <a:gd name="T66" fmla="*/ 3 w 262"/>
                    <a:gd name="T67" fmla="*/ 9 h 361"/>
                    <a:gd name="T68" fmla="*/ 3 w 262"/>
                    <a:gd name="T69" fmla="*/ 9 h 361"/>
                    <a:gd name="T70" fmla="*/ 0 w 262"/>
                    <a:gd name="T71" fmla="*/ 15 h 361"/>
                    <a:gd name="T72" fmla="*/ 2 w 262"/>
                    <a:gd name="T73" fmla="*/ 21 h 361"/>
                    <a:gd name="T74" fmla="*/ 5 w 262"/>
                    <a:gd name="T75" fmla="*/ 26 h 361"/>
                    <a:gd name="T76" fmla="*/ 10 w 262"/>
                    <a:gd name="T77" fmla="*/ 29 h 361"/>
                    <a:gd name="T78" fmla="*/ 224 w 262"/>
                    <a:gd name="T79" fmla="*/ 128 h 361"/>
                    <a:gd name="T80" fmla="*/ 142 w 262"/>
                    <a:gd name="T81" fmla="*/ 287 h 361"/>
                    <a:gd name="T82" fmla="*/ 142 w 262"/>
                    <a:gd name="T83" fmla="*/ 287 h 361"/>
                    <a:gd name="T84" fmla="*/ 141 w 262"/>
                    <a:gd name="T85" fmla="*/ 291 h 361"/>
                    <a:gd name="T86" fmla="*/ 141 w 262"/>
                    <a:gd name="T87" fmla="*/ 296 h 361"/>
                    <a:gd name="T88" fmla="*/ 141 w 262"/>
                    <a:gd name="T89" fmla="*/ 296 h 361"/>
                    <a:gd name="T90" fmla="*/ 142 w 262"/>
                    <a:gd name="T91" fmla="*/ 305 h 361"/>
                    <a:gd name="T92" fmla="*/ 145 w 262"/>
                    <a:gd name="T93" fmla="*/ 316 h 361"/>
                    <a:gd name="T94" fmla="*/ 151 w 262"/>
                    <a:gd name="T95" fmla="*/ 327 h 361"/>
                    <a:gd name="T96" fmla="*/ 159 w 262"/>
                    <a:gd name="T97" fmla="*/ 337 h 361"/>
                    <a:gd name="T98" fmla="*/ 168 w 262"/>
                    <a:gd name="T99" fmla="*/ 347 h 361"/>
                    <a:gd name="T100" fmla="*/ 174 w 262"/>
                    <a:gd name="T101" fmla="*/ 352 h 361"/>
                    <a:gd name="T102" fmla="*/ 181 w 262"/>
                    <a:gd name="T103" fmla="*/ 354 h 361"/>
                    <a:gd name="T104" fmla="*/ 188 w 262"/>
                    <a:gd name="T105" fmla="*/ 357 h 361"/>
                    <a:gd name="T106" fmla="*/ 195 w 262"/>
                    <a:gd name="T107" fmla="*/ 360 h 361"/>
                    <a:gd name="T108" fmla="*/ 205 w 262"/>
                    <a:gd name="T109" fmla="*/ 361 h 361"/>
                    <a:gd name="T110" fmla="*/ 214 w 262"/>
                    <a:gd name="T111" fmla="*/ 361 h 361"/>
                    <a:gd name="T112" fmla="*/ 214 w 262"/>
                    <a:gd name="T113"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2" h="361">
                      <a:moveTo>
                        <a:pt x="214" y="361"/>
                      </a:moveTo>
                      <a:lnTo>
                        <a:pt x="214" y="361"/>
                      </a:lnTo>
                      <a:lnTo>
                        <a:pt x="224" y="361"/>
                      </a:lnTo>
                      <a:lnTo>
                        <a:pt x="224" y="361"/>
                      </a:lnTo>
                      <a:lnTo>
                        <a:pt x="230" y="359"/>
                      </a:lnTo>
                      <a:lnTo>
                        <a:pt x="235" y="355"/>
                      </a:lnTo>
                      <a:lnTo>
                        <a:pt x="237" y="350"/>
                      </a:lnTo>
                      <a:lnTo>
                        <a:pt x="238" y="343"/>
                      </a:lnTo>
                      <a:lnTo>
                        <a:pt x="238" y="343"/>
                      </a:lnTo>
                      <a:lnTo>
                        <a:pt x="236" y="337"/>
                      </a:lnTo>
                      <a:lnTo>
                        <a:pt x="232" y="333"/>
                      </a:lnTo>
                      <a:lnTo>
                        <a:pt x="228" y="330"/>
                      </a:lnTo>
                      <a:lnTo>
                        <a:pt x="220" y="329"/>
                      </a:lnTo>
                      <a:lnTo>
                        <a:pt x="220" y="329"/>
                      </a:lnTo>
                      <a:lnTo>
                        <a:pt x="209" y="329"/>
                      </a:lnTo>
                      <a:lnTo>
                        <a:pt x="199" y="327"/>
                      </a:lnTo>
                      <a:lnTo>
                        <a:pt x="191" y="323"/>
                      </a:lnTo>
                      <a:lnTo>
                        <a:pt x="185" y="318"/>
                      </a:lnTo>
                      <a:lnTo>
                        <a:pt x="180" y="312"/>
                      </a:lnTo>
                      <a:lnTo>
                        <a:pt x="176" y="306"/>
                      </a:lnTo>
                      <a:lnTo>
                        <a:pt x="173" y="297"/>
                      </a:lnTo>
                      <a:lnTo>
                        <a:pt x="261" y="128"/>
                      </a:lnTo>
                      <a:lnTo>
                        <a:pt x="261" y="128"/>
                      </a:lnTo>
                      <a:lnTo>
                        <a:pt x="262" y="121"/>
                      </a:lnTo>
                      <a:lnTo>
                        <a:pt x="261" y="115"/>
                      </a:lnTo>
                      <a:lnTo>
                        <a:pt x="261" y="115"/>
                      </a:lnTo>
                      <a:lnTo>
                        <a:pt x="258" y="109"/>
                      </a:lnTo>
                      <a:lnTo>
                        <a:pt x="252" y="105"/>
                      </a:lnTo>
                      <a:lnTo>
                        <a:pt x="23" y="1"/>
                      </a:lnTo>
                      <a:lnTo>
                        <a:pt x="23" y="1"/>
                      </a:lnTo>
                      <a:lnTo>
                        <a:pt x="17" y="0"/>
                      </a:lnTo>
                      <a:lnTo>
                        <a:pt x="11" y="1"/>
                      </a:lnTo>
                      <a:lnTo>
                        <a:pt x="6" y="3"/>
                      </a:lnTo>
                      <a:lnTo>
                        <a:pt x="3" y="9"/>
                      </a:lnTo>
                      <a:lnTo>
                        <a:pt x="3" y="9"/>
                      </a:lnTo>
                      <a:lnTo>
                        <a:pt x="0" y="15"/>
                      </a:lnTo>
                      <a:lnTo>
                        <a:pt x="2" y="21"/>
                      </a:lnTo>
                      <a:lnTo>
                        <a:pt x="5" y="26"/>
                      </a:lnTo>
                      <a:lnTo>
                        <a:pt x="10" y="29"/>
                      </a:lnTo>
                      <a:lnTo>
                        <a:pt x="224" y="128"/>
                      </a:lnTo>
                      <a:lnTo>
                        <a:pt x="142" y="287"/>
                      </a:lnTo>
                      <a:lnTo>
                        <a:pt x="142" y="287"/>
                      </a:lnTo>
                      <a:lnTo>
                        <a:pt x="141" y="291"/>
                      </a:lnTo>
                      <a:lnTo>
                        <a:pt x="141" y="296"/>
                      </a:lnTo>
                      <a:lnTo>
                        <a:pt x="141" y="296"/>
                      </a:lnTo>
                      <a:lnTo>
                        <a:pt x="142" y="305"/>
                      </a:lnTo>
                      <a:lnTo>
                        <a:pt x="145" y="316"/>
                      </a:lnTo>
                      <a:lnTo>
                        <a:pt x="151" y="327"/>
                      </a:lnTo>
                      <a:lnTo>
                        <a:pt x="159" y="337"/>
                      </a:lnTo>
                      <a:lnTo>
                        <a:pt x="168" y="347"/>
                      </a:lnTo>
                      <a:lnTo>
                        <a:pt x="174" y="352"/>
                      </a:lnTo>
                      <a:lnTo>
                        <a:pt x="181" y="354"/>
                      </a:lnTo>
                      <a:lnTo>
                        <a:pt x="188" y="357"/>
                      </a:lnTo>
                      <a:lnTo>
                        <a:pt x="195" y="360"/>
                      </a:lnTo>
                      <a:lnTo>
                        <a:pt x="205" y="361"/>
                      </a:lnTo>
                      <a:lnTo>
                        <a:pt x="214" y="361"/>
                      </a:lnTo>
                      <a:lnTo>
                        <a:pt x="214" y="361"/>
                      </a:lnTo>
                      <a:close/>
                    </a:path>
                  </a:pathLst>
                </a:custGeom>
                <a:solidFill>
                  <a:srgbClr val="148C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7" name="Freeform 334"/>
                <p:cNvSpPr>
                  <a:spLocks/>
                </p:cNvSpPr>
                <p:nvPr userDrawn="1"/>
              </p:nvSpPr>
              <p:spPr bwMode="auto">
                <a:xfrm>
                  <a:off x="12394746" y="648786"/>
                  <a:ext cx="182563" cy="63500"/>
                </a:xfrm>
                <a:custGeom>
                  <a:avLst/>
                  <a:gdLst>
                    <a:gd name="T0" fmla="*/ 114 w 228"/>
                    <a:gd name="T1" fmla="*/ 78 h 78"/>
                    <a:gd name="T2" fmla="*/ 76 w 228"/>
                    <a:gd name="T3" fmla="*/ 74 h 78"/>
                    <a:gd name="T4" fmla="*/ 46 w 228"/>
                    <a:gd name="T5" fmla="*/ 62 h 78"/>
                    <a:gd name="T6" fmla="*/ 21 w 228"/>
                    <a:gd name="T7" fmla="*/ 46 h 78"/>
                    <a:gd name="T8" fmla="*/ 5 w 228"/>
                    <a:gd name="T9" fmla="*/ 32 h 78"/>
                    <a:gd name="T10" fmla="*/ 2 w 228"/>
                    <a:gd name="T11" fmla="*/ 30 h 78"/>
                    <a:gd name="T12" fmla="*/ 0 w 228"/>
                    <a:gd name="T13" fmla="*/ 19 h 78"/>
                    <a:gd name="T14" fmla="*/ 2 w 228"/>
                    <a:gd name="T15" fmla="*/ 8 h 78"/>
                    <a:gd name="T16" fmla="*/ 5 w 228"/>
                    <a:gd name="T17" fmla="*/ 6 h 78"/>
                    <a:gd name="T18" fmla="*/ 11 w 228"/>
                    <a:gd name="T19" fmla="*/ 1 h 78"/>
                    <a:gd name="T20" fmla="*/ 25 w 228"/>
                    <a:gd name="T21" fmla="*/ 1 h 78"/>
                    <a:gd name="T22" fmla="*/ 31 w 228"/>
                    <a:gd name="T23" fmla="*/ 6 h 78"/>
                    <a:gd name="T24" fmla="*/ 44 w 228"/>
                    <a:gd name="T25" fmla="*/ 17 h 78"/>
                    <a:gd name="T26" fmla="*/ 63 w 228"/>
                    <a:gd name="T27" fmla="*/ 28 h 78"/>
                    <a:gd name="T28" fmla="*/ 86 w 228"/>
                    <a:gd name="T29" fmla="*/ 37 h 78"/>
                    <a:gd name="T30" fmla="*/ 114 w 228"/>
                    <a:gd name="T31" fmla="*/ 40 h 78"/>
                    <a:gd name="T32" fmla="*/ 131 w 228"/>
                    <a:gd name="T33" fmla="*/ 39 h 78"/>
                    <a:gd name="T34" fmla="*/ 159 w 228"/>
                    <a:gd name="T35" fmla="*/ 32 h 78"/>
                    <a:gd name="T36" fmla="*/ 180 w 228"/>
                    <a:gd name="T37" fmla="*/ 21 h 78"/>
                    <a:gd name="T38" fmla="*/ 195 w 228"/>
                    <a:gd name="T39" fmla="*/ 7 h 78"/>
                    <a:gd name="T40" fmla="*/ 197 w 228"/>
                    <a:gd name="T41" fmla="*/ 5 h 78"/>
                    <a:gd name="T42" fmla="*/ 207 w 228"/>
                    <a:gd name="T43" fmla="*/ 0 h 78"/>
                    <a:gd name="T44" fmla="*/ 218 w 228"/>
                    <a:gd name="T45" fmla="*/ 2 h 78"/>
                    <a:gd name="T46" fmla="*/ 221 w 228"/>
                    <a:gd name="T47" fmla="*/ 5 h 78"/>
                    <a:gd name="T48" fmla="*/ 226 w 228"/>
                    <a:gd name="T49" fmla="*/ 9 h 78"/>
                    <a:gd name="T50" fmla="*/ 227 w 228"/>
                    <a:gd name="T51" fmla="*/ 24 h 78"/>
                    <a:gd name="T52" fmla="*/ 224 w 228"/>
                    <a:gd name="T53" fmla="*/ 31 h 78"/>
                    <a:gd name="T54" fmla="*/ 214 w 228"/>
                    <a:gd name="T55" fmla="*/ 42 h 78"/>
                    <a:gd name="T56" fmla="*/ 190 w 228"/>
                    <a:gd name="T57" fmla="*/ 58 h 78"/>
                    <a:gd name="T58" fmla="*/ 162 w 228"/>
                    <a:gd name="T59" fmla="*/ 71 h 78"/>
                    <a:gd name="T60" fmla="*/ 131 w 228"/>
                    <a:gd name="T61" fmla="*/ 77 h 78"/>
                    <a:gd name="T62" fmla="*/ 114 w 228"/>
                    <a:gd name="T6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8" h="78">
                      <a:moveTo>
                        <a:pt x="114" y="78"/>
                      </a:moveTo>
                      <a:lnTo>
                        <a:pt x="114" y="78"/>
                      </a:lnTo>
                      <a:lnTo>
                        <a:pt x="94" y="77"/>
                      </a:lnTo>
                      <a:lnTo>
                        <a:pt x="76" y="74"/>
                      </a:lnTo>
                      <a:lnTo>
                        <a:pt x="61" y="68"/>
                      </a:lnTo>
                      <a:lnTo>
                        <a:pt x="46" y="62"/>
                      </a:lnTo>
                      <a:lnTo>
                        <a:pt x="33" y="55"/>
                      </a:lnTo>
                      <a:lnTo>
                        <a:pt x="21" y="46"/>
                      </a:lnTo>
                      <a:lnTo>
                        <a:pt x="13" y="39"/>
                      </a:lnTo>
                      <a:lnTo>
                        <a:pt x="5" y="32"/>
                      </a:lnTo>
                      <a:lnTo>
                        <a:pt x="5" y="32"/>
                      </a:lnTo>
                      <a:lnTo>
                        <a:pt x="2" y="30"/>
                      </a:lnTo>
                      <a:lnTo>
                        <a:pt x="1" y="26"/>
                      </a:lnTo>
                      <a:lnTo>
                        <a:pt x="0" y="19"/>
                      </a:lnTo>
                      <a:lnTo>
                        <a:pt x="1" y="12"/>
                      </a:lnTo>
                      <a:lnTo>
                        <a:pt x="2" y="8"/>
                      </a:lnTo>
                      <a:lnTo>
                        <a:pt x="5" y="6"/>
                      </a:lnTo>
                      <a:lnTo>
                        <a:pt x="5" y="6"/>
                      </a:lnTo>
                      <a:lnTo>
                        <a:pt x="7" y="4"/>
                      </a:lnTo>
                      <a:lnTo>
                        <a:pt x="11" y="1"/>
                      </a:lnTo>
                      <a:lnTo>
                        <a:pt x="18" y="0"/>
                      </a:lnTo>
                      <a:lnTo>
                        <a:pt x="25" y="1"/>
                      </a:lnTo>
                      <a:lnTo>
                        <a:pt x="29" y="4"/>
                      </a:lnTo>
                      <a:lnTo>
                        <a:pt x="31" y="6"/>
                      </a:lnTo>
                      <a:lnTo>
                        <a:pt x="31" y="6"/>
                      </a:lnTo>
                      <a:lnTo>
                        <a:pt x="44" y="17"/>
                      </a:lnTo>
                      <a:lnTo>
                        <a:pt x="52" y="23"/>
                      </a:lnTo>
                      <a:lnTo>
                        <a:pt x="63" y="28"/>
                      </a:lnTo>
                      <a:lnTo>
                        <a:pt x="74" y="33"/>
                      </a:lnTo>
                      <a:lnTo>
                        <a:pt x="86" y="37"/>
                      </a:lnTo>
                      <a:lnTo>
                        <a:pt x="99" y="39"/>
                      </a:lnTo>
                      <a:lnTo>
                        <a:pt x="114" y="40"/>
                      </a:lnTo>
                      <a:lnTo>
                        <a:pt x="114" y="40"/>
                      </a:lnTo>
                      <a:lnTo>
                        <a:pt x="131" y="39"/>
                      </a:lnTo>
                      <a:lnTo>
                        <a:pt x="146" y="37"/>
                      </a:lnTo>
                      <a:lnTo>
                        <a:pt x="159" y="32"/>
                      </a:lnTo>
                      <a:lnTo>
                        <a:pt x="170" y="27"/>
                      </a:lnTo>
                      <a:lnTo>
                        <a:pt x="180" y="21"/>
                      </a:lnTo>
                      <a:lnTo>
                        <a:pt x="187" y="15"/>
                      </a:lnTo>
                      <a:lnTo>
                        <a:pt x="195" y="7"/>
                      </a:lnTo>
                      <a:lnTo>
                        <a:pt x="195" y="7"/>
                      </a:lnTo>
                      <a:lnTo>
                        <a:pt x="197" y="5"/>
                      </a:lnTo>
                      <a:lnTo>
                        <a:pt x="200" y="2"/>
                      </a:lnTo>
                      <a:lnTo>
                        <a:pt x="207" y="0"/>
                      </a:lnTo>
                      <a:lnTo>
                        <a:pt x="214" y="1"/>
                      </a:lnTo>
                      <a:lnTo>
                        <a:pt x="218" y="2"/>
                      </a:lnTo>
                      <a:lnTo>
                        <a:pt x="221" y="5"/>
                      </a:lnTo>
                      <a:lnTo>
                        <a:pt x="221" y="5"/>
                      </a:lnTo>
                      <a:lnTo>
                        <a:pt x="224" y="7"/>
                      </a:lnTo>
                      <a:lnTo>
                        <a:pt x="226" y="9"/>
                      </a:lnTo>
                      <a:lnTo>
                        <a:pt x="228" y="17"/>
                      </a:lnTo>
                      <a:lnTo>
                        <a:pt x="227" y="24"/>
                      </a:lnTo>
                      <a:lnTo>
                        <a:pt x="226" y="27"/>
                      </a:lnTo>
                      <a:lnTo>
                        <a:pt x="224" y="31"/>
                      </a:lnTo>
                      <a:lnTo>
                        <a:pt x="224" y="31"/>
                      </a:lnTo>
                      <a:lnTo>
                        <a:pt x="214" y="42"/>
                      </a:lnTo>
                      <a:lnTo>
                        <a:pt x="203" y="51"/>
                      </a:lnTo>
                      <a:lnTo>
                        <a:pt x="190" y="58"/>
                      </a:lnTo>
                      <a:lnTo>
                        <a:pt x="177" y="65"/>
                      </a:lnTo>
                      <a:lnTo>
                        <a:pt x="162" y="71"/>
                      </a:lnTo>
                      <a:lnTo>
                        <a:pt x="146" y="75"/>
                      </a:lnTo>
                      <a:lnTo>
                        <a:pt x="131" y="77"/>
                      </a:lnTo>
                      <a:lnTo>
                        <a:pt x="114" y="78"/>
                      </a:lnTo>
                      <a:lnTo>
                        <a:pt x="114" y="78"/>
                      </a:lnTo>
                      <a:close/>
                    </a:path>
                  </a:pathLst>
                </a:custGeom>
                <a:solidFill>
                  <a:srgbClr val="292D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8" name="Freeform 335"/>
                <p:cNvSpPr>
                  <a:spLocks/>
                </p:cNvSpPr>
                <p:nvPr userDrawn="1"/>
              </p:nvSpPr>
              <p:spPr bwMode="auto">
                <a:xfrm>
                  <a:off x="12394746" y="936124"/>
                  <a:ext cx="68263" cy="66675"/>
                </a:xfrm>
                <a:custGeom>
                  <a:avLst/>
                  <a:gdLst>
                    <a:gd name="T0" fmla="*/ 43 w 86"/>
                    <a:gd name="T1" fmla="*/ 0 h 85"/>
                    <a:gd name="T2" fmla="*/ 43 w 86"/>
                    <a:gd name="T3" fmla="*/ 0 h 85"/>
                    <a:gd name="T4" fmla="*/ 34 w 86"/>
                    <a:gd name="T5" fmla="*/ 2 h 85"/>
                    <a:gd name="T6" fmla="*/ 26 w 86"/>
                    <a:gd name="T7" fmla="*/ 4 h 85"/>
                    <a:gd name="T8" fmla="*/ 19 w 86"/>
                    <a:gd name="T9" fmla="*/ 7 h 85"/>
                    <a:gd name="T10" fmla="*/ 13 w 86"/>
                    <a:gd name="T11" fmla="*/ 12 h 85"/>
                    <a:gd name="T12" fmla="*/ 7 w 86"/>
                    <a:gd name="T13" fmla="*/ 19 h 85"/>
                    <a:gd name="T14" fmla="*/ 4 w 86"/>
                    <a:gd name="T15" fmla="*/ 27 h 85"/>
                    <a:gd name="T16" fmla="*/ 1 w 86"/>
                    <a:gd name="T17" fmla="*/ 34 h 85"/>
                    <a:gd name="T18" fmla="*/ 0 w 86"/>
                    <a:gd name="T19" fmla="*/ 42 h 85"/>
                    <a:gd name="T20" fmla="*/ 0 w 86"/>
                    <a:gd name="T21" fmla="*/ 42 h 85"/>
                    <a:gd name="T22" fmla="*/ 1 w 86"/>
                    <a:gd name="T23" fmla="*/ 51 h 85"/>
                    <a:gd name="T24" fmla="*/ 4 w 86"/>
                    <a:gd name="T25" fmla="*/ 59 h 85"/>
                    <a:gd name="T26" fmla="*/ 7 w 86"/>
                    <a:gd name="T27" fmla="*/ 66 h 85"/>
                    <a:gd name="T28" fmla="*/ 13 w 86"/>
                    <a:gd name="T29" fmla="*/ 73 h 85"/>
                    <a:gd name="T30" fmla="*/ 19 w 86"/>
                    <a:gd name="T31" fmla="*/ 78 h 85"/>
                    <a:gd name="T32" fmla="*/ 26 w 86"/>
                    <a:gd name="T33" fmla="*/ 81 h 85"/>
                    <a:gd name="T34" fmla="*/ 34 w 86"/>
                    <a:gd name="T35" fmla="*/ 84 h 85"/>
                    <a:gd name="T36" fmla="*/ 43 w 86"/>
                    <a:gd name="T37" fmla="*/ 85 h 85"/>
                    <a:gd name="T38" fmla="*/ 43 w 86"/>
                    <a:gd name="T39" fmla="*/ 85 h 85"/>
                    <a:gd name="T40" fmla="*/ 51 w 86"/>
                    <a:gd name="T41" fmla="*/ 84 h 85"/>
                    <a:gd name="T42" fmla="*/ 59 w 86"/>
                    <a:gd name="T43" fmla="*/ 81 h 85"/>
                    <a:gd name="T44" fmla="*/ 67 w 86"/>
                    <a:gd name="T45" fmla="*/ 78 h 85"/>
                    <a:gd name="T46" fmla="*/ 73 w 86"/>
                    <a:gd name="T47" fmla="*/ 73 h 85"/>
                    <a:gd name="T48" fmla="*/ 77 w 86"/>
                    <a:gd name="T49" fmla="*/ 66 h 85"/>
                    <a:gd name="T50" fmla="*/ 82 w 86"/>
                    <a:gd name="T51" fmla="*/ 59 h 85"/>
                    <a:gd name="T52" fmla="*/ 84 w 86"/>
                    <a:gd name="T53" fmla="*/ 51 h 85"/>
                    <a:gd name="T54" fmla="*/ 86 w 86"/>
                    <a:gd name="T55" fmla="*/ 42 h 85"/>
                    <a:gd name="T56" fmla="*/ 86 w 86"/>
                    <a:gd name="T57" fmla="*/ 42 h 85"/>
                    <a:gd name="T58" fmla="*/ 84 w 86"/>
                    <a:gd name="T59" fmla="*/ 34 h 85"/>
                    <a:gd name="T60" fmla="*/ 82 w 86"/>
                    <a:gd name="T61" fmla="*/ 27 h 85"/>
                    <a:gd name="T62" fmla="*/ 77 w 86"/>
                    <a:gd name="T63" fmla="*/ 19 h 85"/>
                    <a:gd name="T64" fmla="*/ 73 w 86"/>
                    <a:gd name="T65" fmla="*/ 12 h 85"/>
                    <a:gd name="T66" fmla="*/ 67 w 86"/>
                    <a:gd name="T67" fmla="*/ 7 h 85"/>
                    <a:gd name="T68" fmla="*/ 59 w 86"/>
                    <a:gd name="T69" fmla="*/ 4 h 85"/>
                    <a:gd name="T70" fmla="*/ 51 w 86"/>
                    <a:gd name="T71" fmla="*/ 2 h 85"/>
                    <a:gd name="T72" fmla="*/ 43 w 86"/>
                    <a:gd name="T73"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6" h="85">
                      <a:moveTo>
                        <a:pt x="43" y="0"/>
                      </a:moveTo>
                      <a:lnTo>
                        <a:pt x="43" y="0"/>
                      </a:lnTo>
                      <a:lnTo>
                        <a:pt x="34" y="2"/>
                      </a:lnTo>
                      <a:lnTo>
                        <a:pt x="26" y="4"/>
                      </a:lnTo>
                      <a:lnTo>
                        <a:pt x="19" y="7"/>
                      </a:lnTo>
                      <a:lnTo>
                        <a:pt x="13" y="12"/>
                      </a:lnTo>
                      <a:lnTo>
                        <a:pt x="7" y="19"/>
                      </a:lnTo>
                      <a:lnTo>
                        <a:pt x="4" y="27"/>
                      </a:lnTo>
                      <a:lnTo>
                        <a:pt x="1" y="34"/>
                      </a:lnTo>
                      <a:lnTo>
                        <a:pt x="0" y="42"/>
                      </a:lnTo>
                      <a:lnTo>
                        <a:pt x="0" y="42"/>
                      </a:lnTo>
                      <a:lnTo>
                        <a:pt x="1" y="51"/>
                      </a:lnTo>
                      <a:lnTo>
                        <a:pt x="4" y="59"/>
                      </a:lnTo>
                      <a:lnTo>
                        <a:pt x="7" y="66"/>
                      </a:lnTo>
                      <a:lnTo>
                        <a:pt x="13" y="73"/>
                      </a:lnTo>
                      <a:lnTo>
                        <a:pt x="19" y="78"/>
                      </a:lnTo>
                      <a:lnTo>
                        <a:pt x="26" y="81"/>
                      </a:lnTo>
                      <a:lnTo>
                        <a:pt x="34" y="84"/>
                      </a:lnTo>
                      <a:lnTo>
                        <a:pt x="43" y="85"/>
                      </a:lnTo>
                      <a:lnTo>
                        <a:pt x="43" y="85"/>
                      </a:lnTo>
                      <a:lnTo>
                        <a:pt x="51" y="84"/>
                      </a:lnTo>
                      <a:lnTo>
                        <a:pt x="59" y="81"/>
                      </a:lnTo>
                      <a:lnTo>
                        <a:pt x="67" y="78"/>
                      </a:lnTo>
                      <a:lnTo>
                        <a:pt x="73" y="73"/>
                      </a:lnTo>
                      <a:lnTo>
                        <a:pt x="77" y="66"/>
                      </a:lnTo>
                      <a:lnTo>
                        <a:pt x="82" y="59"/>
                      </a:lnTo>
                      <a:lnTo>
                        <a:pt x="84" y="51"/>
                      </a:lnTo>
                      <a:lnTo>
                        <a:pt x="86" y="42"/>
                      </a:lnTo>
                      <a:lnTo>
                        <a:pt x="86" y="42"/>
                      </a:lnTo>
                      <a:lnTo>
                        <a:pt x="84" y="34"/>
                      </a:lnTo>
                      <a:lnTo>
                        <a:pt x="82" y="27"/>
                      </a:lnTo>
                      <a:lnTo>
                        <a:pt x="77" y="19"/>
                      </a:lnTo>
                      <a:lnTo>
                        <a:pt x="73" y="12"/>
                      </a:lnTo>
                      <a:lnTo>
                        <a:pt x="67" y="7"/>
                      </a:lnTo>
                      <a:lnTo>
                        <a:pt x="59" y="4"/>
                      </a:lnTo>
                      <a:lnTo>
                        <a:pt x="51" y="2"/>
                      </a:lnTo>
                      <a:lnTo>
                        <a:pt x="43" y="0"/>
                      </a:lnTo>
                      <a:close/>
                    </a:path>
                  </a:pathLst>
                </a:custGeom>
                <a:solidFill>
                  <a:srgbClr val="75D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9" name="Freeform 336"/>
                <p:cNvSpPr>
                  <a:spLocks/>
                </p:cNvSpPr>
                <p:nvPr userDrawn="1"/>
              </p:nvSpPr>
              <p:spPr bwMode="auto">
                <a:xfrm>
                  <a:off x="12394746" y="936124"/>
                  <a:ext cx="68263" cy="66675"/>
                </a:xfrm>
                <a:custGeom>
                  <a:avLst/>
                  <a:gdLst>
                    <a:gd name="T0" fmla="*/ 43 w 86"/>
                    <a:gd name="T1" fmla="*/ 0 h 85"/>
                    <a:gd name="T2" fmla="*/ 43 w 86"/>
                    <a:gd name="T3" fmla="*/ 0 h 85"/>
                    <a:gd name="T4" fmla="*/ 34 w 86"/>
                    <a:gd name="T5" fmla="*/ 2 h 85"/>
                    <a:gd name="T6" fmla="*/ 26 w 86"/>
                    <a:gd name="T7" fmla="*/ 4 h 85"/>
                    <a:gd name="T8" fmla="*/ 19 w 86"/>
                    <a:gd name="T9" fmla="*/ 7 h 85"/>
                    <a:gd name="T10" fmla="*/ 13 w 86"/>
                    <a:gd name="T11" fmla="*/ 12 h 85"/>
                    <a:gd name="T12" fmla="*/ 7 w 86"/>
                    <a:gd name="T13" fmla="*/ 19 h 85"/>
                    <a:gd name="T14" fmla="*/ 4 w 86"/>
                    <a:gd name="T15" fmla="*/ 27 h 85"/>
                    <a:gd name="T16" fmla="*/ 1 w 86"/>
                    <a:gd name="T17" fmla="*/ 34 h 85"/>
                    <a:gd name="T18" fmla="*/ 0 w 86"/>
                    <a:gd name="T19" fmla="*/ 42 h 85"/>
                    <a:gd name="T20" fmla="*/ 0 w 86"/>
                    <a:gd name="T21" fmla="*/ 42 h 85"/>
                    <a:gd name="T22" fmla="*/ 1 w 86"/>
                    <a:gd name="T23" fmla="*/ 51 h 85"/>
                    <a:gd name="T24" fmla="*/ 4 w 86"/>
                    <a:gd name="T25" fmla="*/ 59 h 85"/>
                    <a:gd name="T26" fmla="*/ 7 w 86"/>
                    <a:gd name="T27" fmla="*/ 66 h 85"/>
                    <a:gd name="T28" fmla="*/ 13 w 86"/>
                    <a:gd name="T29" fmla="*/ 73 h 85"/>
                    <a:gd name="T30" fmla="*/ 19 w 86"/>
                    <a:gd name="T31" fmla="*/ 78 h 85"/>
                    <a:gd name="T32" fmla="*/ 26 w 86"/>
                    <a:gd name="T33" fmla="*/ 81 h 85"/>
                    <a:gd name="T34" fmla="*/ 34 w 86"/>
                    <a:gd name="T35" fmla="*/ 84 h 85"/>
                    <a:gd name="T36" fmla="*/ 43 w 86"/>
                    <a:gd name="T37" fmla="*/ 85 h 85"/>
                    <a:gd name="T38" fmla="*/ 43 w 86"/>
                    <a:gd name="T39" fmla="*/ 85 h 85"/>
                    <a:gd name="T40" fmla="*/ 51 w 86"/>
                    <a:gd name="T41" fmla="*/ 84 h 85"/>
                    <a:gd name="T42" fmla="*/ 59 w 86"/>
                    <a:gd name="T43" fmla="*/ 81 h 85"/>
                    <a:gd name="T44" fmla="*/ 67 w 86"/>
                    <a:gd name="T45" fmla="*/ 78 h 85"/>
                    <a:gd name="T46" fmla="*/ 73 w 86"/>
                    <a:gd name="T47" fmla="*/ 73 h 85"/>
                    <a:gd name="T48" fmla="*/ 77 w 86"/>
                    <a:gd name="T49" fmla="*/ 66 h 85"/>
                    <a:gd name="T50" fmla="*/ 82 w 86"/>
                    <a:gd name="T51" fmla="*/ 59 h 85"/>
                    <a:gd name="T52" fmla="*/ 84 w 86"/>
                    <a:gd name="T53" fmla="*/ 51 h 85"/>
                    <a:gd name="T54" fmla="*/ 86 w 86"/>
                    <a:gd name="T55" fmla="*/ 42 h 85"/>
                    <a:gd name="T56" fmla="*/ 86 w 86"/>
                    <a:gd name="T57" fmla="*/ 42 h 85"/>
                    <a:gd name="T58" fmla="*/ 84 w 86"/>
                    <a:gd name="T59" fmla="*/ 34 h 85"/>
                    <a:gd name="T60" fmla="*/ 82 w 86"/>
                    <a:gd name="T61" fmla="*/ 27 h 85"/>
                    <a:gd name="T62" fmla="*/ 77 w 86"/>
                    <a:gd name="T63" fmla="*/ 19 h 85"/>
                    <a:gd name="T64" fmla="*/ 73 w 86"/>
                    <a:gd name="T65" fmla="*/ 12 h 85"/>
                    <a:gd name="T66" fmla="*/ 67 w 86"/>
                    <a:gd name="T67" fmla="*/ 7 h 85"/>
                    <a:gd name="T68" fmla="*/ 59 w 86"/>
                    <a:gd name="T69" fmla="*/ 4 h 85"/>
                    <a:gd name="T70" fmla="*/ 51 w 86"/>
                    <a:gd name="T71" fmla="*/ 2 h 85"/>
                    <a:gd name="T72" fmla="*/ 43 w 86"/>
                    <a:gd name="T73"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6" h="85">
                      <a:moveTo>
                        <a:pt x="43" y="0"/>
                      </a:moveTo>
                      <a:lnTo>
                        <a:pt x="43" y="0"/>
                      </a:lnTo>
                      <a:lnTo>
                        <a:pt x="34" y="2"/>
                      </a:lnTo>
                      <a:lnTo>
                        <a:pt x="26" y="4"/>
                      </a:lnTo>
                      <a:lnTo>
                        <a:pt x="19" y="7"/>
                      </a:lnTo>
                      <a:lnTo>
                        <a:pt x="13" y="12"/>
                      </a:lnTo>
                      <a:lnTo>
                        <a:pt x="7" y="19"/>
                      </a:lnTo>
                      <a:lnTo>
                        <a:pt x="4" y="27"/>
                      </a:lnTo>
                      <a:lnTo>
                        <a:pt x="1" y="34"/>
                      </a:lnTo>
                      <a:lnTo>
                        <a:pt x="0" y="42"/>
                      </a:lnTo>
                      <a:lnTo>
                        <a:pt x="0" y="42"/>
                      </a:lnTo>
                      <a:lnTo>
                        <a:pt x="1" y="51"/>
                      </a:lnTo>
                      <a:lnTo>
                        <a:pt x="4" y="59"/>
                      </a:lnTo>
                      <a:lnTo>
                        <a:pt x="7" y="66"/>
                      </a:lnTo>
                      <a:lnTo>
                        <a:pt x="13" y="73"/>
                      </a:lnTo>
                      <a:lnTo>
                        <a:pt x="19" y="78"/>
                      </a:lnTo>
                      <a:lnTo>
                        <a:pt x="26" y="81"/>
                      </a:lnTo>
                      <a:lnTo>
                        <a:pt x="34" y="84"/>
                      </a:lnTo>
                      <a:lnTo>
                        <a:pt x="43" y="85"/>
                      </a:lnTo>
                      <a:lnTo>
                        <a:pt x="43" y="85"/>
                      </a:lnTo>
                      <a:lnTo>
                        <a:pt x="51" y="84"/>
                      </a:lnTo>
                      <a:lnTo>
                        <a:pt x="59" y="81"/>
                      </a:lnTo>
                      <a:lnTo>
                        <a:pt x="67" y="78"/>
                      </a:lnTo>
                      <a:lnTo>
                        <a:pt x="73" y="73"/>
                      </a:lnTo>
                      <a:lnTo>
                        <a:pt x="77" y="66"/>
                      </a:lnTo>
                      <a:lnTo>
                        <a:pt x="82" y="59"/>
                      </a:lnTo>
                      <a:lnTo>
                        <a:pt x="84" y="51"/>
                      </a:lnTo>
                      <a:lnTo>
                        <a:pt x="86" y="42"/>
                      </a:lnTo>
                      <a:lnTo>
                        <a:pt x="86" y="42"/>
                      </a:lnTo>
                      <a:lnTo>
                        <a:pt x="84" y="34"/>
                      </a:lnTo>
                      <a:lnTo>
                        <a:pt x="82" y="27"/>
                      </a:lnTo>
                      <a:lnTo>
                        <a:pt x="77" y="19"/>
                      </a:lnTo>
                      <a:lnTo>
                        <a:pt x="73" y="12"/>
                      </a:lnTo>
                      <a:lnTo>
                        <a:pt x="67" y="7"/>
                      </a:lnTo>
                      <a:lnTo>
                        <a:pt x="59" y="4"/>
                      </a:lnTo>
                      <a:lnTo>
                        <a:pt x="51" y="2"/>
                      </a:lnTo>
                      <a:lnTo>
                        <a:pt x="4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0" name="Freeform 337"/>
                <p:cNvSpPr>
                  <a:spLocks/>
                </p:cNvSpPr>
                <p:nvPr userDrawn="1"/>
              </p:nvSpPr>
              <p:spPr bwMode="auto">
                <a:xfrm>
                  <a:off x="12356646" y="1039311"/>
                  <a:ext cx="106363" cy="106363"/>
                </a:xfrm>
                <a:custGeom>
                  <a:avLst/>
                  <a:gdLst>
                    <a:gd name="T0" fmla="*/ 67 w 133"/>
                    <a:gd name="T1" fmla="*/ 0 h 133"/>
                    <a:gd name="T2" fmla="*/ 67 w 133"/>
                    <a:gd name="T3" fmla="*/ 0 h 133"/>
                    <a:gd name="T4" fmla="*/ 54 w 133"/>
                    <a:gd name="T5" fmla="*/ 1 h 133"/>
                    <a:gd name="T6" fmla="*/ 41 w 133"/>
                    <a:gd name="T7" fmla="*/ 5 h 133"/>
                    <a:gd name="T8" fmla="*/ 29 w 133"/>
                    <a:gd name="T9" fmla="*/ 12 h 133"/>
                    <a:gd name="T10" fmla="*/ 19 w 133"/>
                    <a:gd name="T11" fmla="*/ 19 h 133"/>
                    <a:gd name="T12" fmla="*/ 11 w 133"/>
                    <a:gd name="T13" fmla="*/ 30 h 133"/>
                    <a:gd name="T14" fmla="*/ 5 w 133"/>
                    <a:gd name="T15" fmla="*/ 40 h 133"/>
                    <a:gd name="T16" fmla="*/ 1 w 133"/>
                    <a:gd name="T17" fmla="*/ 53 h 133"/>
                    <a:gd name="T18" fmla="*/ 0 w 133"/>
                    <a:gd name="T19" fmla="*/ 66 h 133"/>
                    <a:gd name="T20" fmla="*/ 0 w 133"/>
                    <a:gd name="T21" fmla="*/ 66 h 133"/>
                    <a:gd name="T22" fmla="*/ 1 w 133"/>
                    <a:gd name="T23" fmla="*/ 80 h 133"/>
                    <a:gd name="T24" fmla="*/ 5 w 133"/>
                    <a:gd name="T25" fmla="*/ 93 h 133"/>
                    <a:gd name="T26" fmla="*/ 11 w 133"/>
                    <a:gd name="T27" fmla="*/ 105 h 133"/>
                    <a:gd name="T28" fmla="*/ 19 w 133"/>
                    <a:gd name="T29" fmla="*/ 114 h 133"/>
                    <a:gd name="T30" fmla="*/ 29 w 133"/>
                    <a:gd name="T31" fmla="*/ 122 h 133"/>
                    <a:gd name="T32" fmla="*/ 41 w 133"/>
                    <a:gd name="T33" fmla="*/ 128 h 133"/>
                    <a:gd name="T34" fmla="*/ 54 w 133"/>
                    <a:gd name="T35" fmla="*/ 132 h 133"/>
                    <a:gd name="T36" fmla="*/ 67 w 133"/>
                    <a:gd name="T37" fmla="*/ 133 h 133"/>
                    <a:gd name="T38" fmla="*/ 67 w 133"/>
                    <a:gd name="T39" fmla="*/ 133 h 133"/>
                    <a:gd name="T40" fmla="*/ 80 w 133"/>
                    <a:gd name="T41" fmla="*/ 132 h 133"/>
                    <a:gd name="T42" fmla="*/ 93 w 133"/>
                    <a:gd name="T43" fmla="*/ 128 h 133"/>
                    <a:gd name="T44" fmla="*/ 104 w 133"/>
                    <a:gd name="T45" fmla="*/ 122 h 133"/>
                    <a:gd name="T46" fmla="*/ 114 w 133"/>
                    <a:gd name="T47" fmla="*/ 114 h 133"/>
                    <a:gd name="T48" fmla="*/ 122 w 133"/>
                    <a:gd name="T49" fmla="*/ 105 h 133"/>
                    <a:gd name="T50" fmla="*/ 129 w 133"/>
                    <a:gd name="T51" fmla="*/ 93 h 133"/>
                    <a:gd name="T52" fmla="*/ 132 w 133"/>
                    <a:gd name="T53" fmla="*/ 80 h 133"/>
                    <a:gd name="T54" fmla="*/ 133 w 133"/>
                    <a:gd name="T55" fmla="*/ 66 h 133"/>
                    <a:gd name="T56" fmla="*/ 133 w 133"/>
                    <a:gd name="T57" fmla="*/ 66 h 133"/>
                    <a:gd name="T58" fmla="*/ 132 w 133"/>
                    <a:gd name="T59" fmla="*/ 53 h 133"/>
                    <a:gd name="T60" fmla="*/ 129 w 133"/>
                    <a:gd name="T61" fmla="*/ 40 h 133"/>
                    <a:gd name="T62" fmla="*/ 122 w 133"/>
                    <a:gd name="T63" fmla="*/ 30 h 133"/>
                    <a:gd name="T64" fmla="*/ 114 w 133"/>
                    <a:gd name="T65" fmla="*/ 19 h 133"/>
                    <a:gd name="T66" fmla="*/ 104 w 133"/>
                    <a:gd name="T67" fmla="*/ 12 h 133"/>
                    <a:gd name="T68" fmla="*/ 93 w 133"/>
                    <a:gd name="T69" fmla="*/ 5 h 133"/>
                    <a:gd name="T70" fmla="*/ 80 w 133"/>
                    <a:gd name="T71" fmla="*/ 1 h 133"/>
                    <a:gd name="T72" fmla="*/ 67 w 133"/>
                    <a:gd name="T73"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3" h="133">
                      <a:moveTo>
                        <a:pt x="67" y="0"/>
                      </a:moveTo>
                      <a:lnTo>
                        <a:pt x="67" y="0"/>
                      </a:lnTo>
                      <a:lnTo>
                        <a:pt x="54" y="1"/>
                      </a:lnTo>
                      <a:lnTo>
                        <a:pt x="41" y="5"/>
                      </a:lnTo>
                      <a:lnTo>
                        <a:pt x="29" y="12"/>
                      </a:lnTo>
                      <a:lnTo>
                        <a:pt x="19" y="19"/>
                      </a:lnTo>
                      <a:lnTo>
                        <a:pt x="11" y="30"/>
                      </a:lnTo>
                      <a:lnTo>
                        <a:pt x="5" y="40"/>
                      </a:lnTo>
                      <a:lnTo>
                        <a:pt x="1" y="53"/>
                      </a:lnTo>
                      <a:lnTo>
                        <a:pt x="0" y="66"/>
                      </a:lnTo>
                      <a:lnTo>
                        <a:pt x="0" y="66"/>
                      </a:lnTo>
                      <a:lnTo>
                        <a:pt x="1" y="80"/>
                      </a:lnTo>
                      <a:lnTo>
                        <a:pt x="5" y="93"/>
                      </a:lnTo>
                      <a:lnTo>
                        <a:pt x="11" y="105"/>
                      </a:lnTo>
                      <a:lnTo>
                        <a:pt x="19" y="114"/>
                      </a:lnTo>
                      <a:lnTo>
                        <a:pt x="29" y="122"/>
                      </a:lnTo>
                      <a:lnTo>
                        <a:pt x="41" y="128"/>
                      </a:lnTo>
                      <a:lnTo>
                        <a:pt x="54" y="132"/>
                      </a:lnTo>
                      <a:lnTo>
                        <a:pt x="67" y="133"/>
                      </a:lnTo>
                      <a:lnTo>
                        <a:pt x="67" y="133"/>
                      </a:lnTo>
                      <a:lnTo>
                        <a:pt x="80" y="132"/>
                      </a:lnTo>
                      <a:lnTo>
                        <a:pt x="93" y="128"/>
                      </a:lnTo>
                      <a:lnTo>
                        <a:pt x="104" y="122"/>
                      </a:lnTo>
                      <a:lnTo>
                        <a:pt x="114" y="114"/>
                      </a:lnTo>
                      <a:lnTo>
                        <a:pt x="122" y="105"/>
                      </a:lnTo>
                      <a:lnTo>
                        <a:pt x="129" y="93"/>
                      </a:lnTo>
                      <a:lnTo>
                        <a:pt x="132" y="80"/>
                      </a:lnTo>
                      <a:lnTo>
                        <a:pt x="133" y="66"/>
                      </a:lnTo>
                      <a:lnTo>
                        <a:pt x="133" y="66"/>
                      </a:lnTo>
                      <a:lnTo>
                        <a:pt x="132" y="53"/>
                      </a:lnTo>
                      <a:lnTo>
                        <a:pt x="129" y="40"/>
                      </a:lnTo>
                      <a:lnTo>
                        <a:pt x="122" y="30"/>
                      </a:lnTo>
                      <a:lnTo>
                        <a:pt x="114" y="19"/>
                      </a:lnTo>
                      <a:lnTo>
                        <a:pt x="104" y="12"/>
                      </a:lnTo>
                      <a:lnTo>
                        <a:pt x="93" y="5"/>
                      </a:lnTo>
                      <a:lnTo>
                        <a:pt x="80" y="1"/>
                      </a:lnTo>
                      <a:lnTo>
                        <a:pt x="67" y="0"/>
                      </a:lnTo>
                      <a:close/>
                    </a:path>
                  </a:pathLst>
                </a:custGeom>
                <a:solidFill>
                  <a:srgbClr val="75D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1" name="Freeform 338"/>
                <p:cNvSpPr>
                  <a:spLocks/>
                </p:cNvSpPr>
                <p:nvPr userDrawn="1"/>
              </p:nvSpPr>
              <p:spPr bwMode="auto">
                <a:xfrm>
                  <a:off x="12356646" y="1039311"/>
                  <a:ext cx="106363" cy="106363"/>
                </a:xfrm>
                <a:custGeom>
                  <a:avLst/>
                  <a:gdLst>
                    <a:gd name="T0" fmla="*/ 67 w 133"/>
                    <a:gd name="T1" fmla="*/ 0 h 133"/>
                    <a:gd name="T2" fmla="*/ 67 w 133"/>
                    <a:gd name="T3" fmla="*/ 0 h 133"/>
                    <a:gd name="T4" fmla="*/ 54 w 133"/>
                    <a:gd name="T5" fmla="*/ 1 h 133"/>
                    <a:gd name="T6" fmla="*/ 41 w 133"/>
                    <a:gd name="T7" fmla="*/ 5 h 133"/>
                    <a:gd name="T8" fmla="*/ 29 w 133"/>
                    <a:gd name="T9" fmla="*/ 12 h 133"/>
                    <a:gd name="T10" fmla="*/ 19 w 133"/>
                    <a:gd name="T11" fmla="*/ 19 h 133"/>
                    <a:gd name="T12" fmla="*/ 11 w 133"/>
                    <a:gd name="T13" fmla="*/ 30 h 133"/>
                    <a:gd name="T14" fmla="*/ 5 w 133"/>
                    <a:gd name="T15" fmla="*/ 40 h 133"/>
                    <a:gd name="T16" fmla="*/ 1 w 133"/>
                    <a:gd name="T17" fmla="*/ 53 h 133"/>
                    <a:gd name="T18" fmla="*/ 0 w 133"/>
                    <a:gd name="T19" fmla="*/ 66 h 133"/>
                    <a:gd name="T20" fmla="*/ 0 w 133"/>
                    <a:gd name="T21" fmla="*/ 66 h 133"/>
                    <a:gd name="T22" fmla="*/ 1 w 133"/>
                    <a:gd name="T23" fmla="*/ 80 h 133"/>
                    <a:gd name="T24" fmla="*/ 5 w 133"/>
                    <a:gd name="T25" fmla="*/ 93 h 133"/>
                    <a:gd name="T26" fmla="*/ 11 w 133"/>
                    <a:gd name="T27" fmla="*/ 105 h 133"/>
                    <a:gd name="T28" fmla="*/ 19 w 133"/>
                    <a:gd name="T29" fmla="*/ 114 h 133"/>
                    <a:gd name="T30" fmla="*/ 29 w 133"/>
                    <a:gd name="T31" fmla="*/ 122 h 133"/>
                    <a:gd name="T32" fmla="*/ 41 w 133"/>
                    <a:gd name="T33" fmla="*/ 128 h 133"/>
                    <a:gd name="T34" fmla="*/ 54 w 133"/>
                    <a:gd name="T35" fmla="*/ 132 h 133"/>
                    <a:gd name="T36" fmla="*/ 67 w 133"/>
                    <a:gd name="T37" fmla="*/ 133 h 133"/>
                    <a:gd name="T38" fmla="*/ 67 w 133"/>
                    <a:gd name="T39" fmla="*/ 133 h 133"/>
                    <a:gd name="T40" fmla="*/ 80 w 133"/>
                    <a:gd name="T41" fmla="*/ 132 h 133"/>
                    <a:gd name="T42" fmla="*/ 93 w 133"/>
                    <a:gd name="T43" fmla="*/ 128 h 133"/>
                    <a:gd name="T44" fmla="*/ 104 w 133"/>
                    <a:gd name="T45" fmla="*/ 122 h 133"/>
                    <a:gd name="T46" fmla="*/ 114 w 133"/>
                    <a:gd name="T47" fmla="*/ 114 h 133"/>
                    <a:gd name="T48" fmla="*/ 122 w 133"/>
                    <a:gd name="T49" fmla="*/ 105 h 133"/>
                    <a:gd name="T50" fmla="*/ 129 w 133"/>
                    <a:gd name="T51" fmla="*/ 93 h 133"/>
                    <a:gd name="T52" fmla="*/ 132 w 133"/>
                    <a:gd name="T53" fmla="*/ 80 h 133"/>
                    <a:gd name="T54" fmla="*/ 133 w 133"/>
                    <a:gd name="T55" fmla="*/ 66 h 133"/>
                    <a:gd name="T56" fmla="*/ 133 w 133"/>
                    <a:gd name="T57" fmla="*/ 66 h 133"/>
                    <a:gd name="T58" fmla="*/ 132 w 133"/>
                    <a:gd name="T59" fmla="*/ 53 h 133"/>
                    <a:gd name="T60" fmla="*/ 129 w 133"/>
                    <a:gd name="T61" fmla="*/ 40 h 133"/>
                    <a:gd name="T62" fmla="*/ 122 w 133"/>
                    <a:gd name="T63" fmla="*/ 30 h 133"/>
                    <a:gd name="T64" fmla="*/ 114 w 133"/>
                    <a:gd name="T65" fmla="*/ 19 h 133"/>
                    <a:gd name="T66" fmla="*/ 104 w 133"/>
                    <a:gd name="T67" fmla="*/ 12 h 133"/>
                    <a:gd name="T68" fmla="*/ 93 w 133"/>
                    <a:gd name="T69" fmla="*/ 5 h 133"/>
                    <a:gd name="T70" fmla="*/ 80 w 133"/>
                    <a:gd name="T71" fmla="*/ 1 h 133"/>
                    <a:gd name="T72" fmla="*/ 67 w 133"/>
                    <a:gd name="T73"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3" h="133">
                      <a:moveTo>
                        <a:pt x="67" y="0"/>
                      </a:moveTo>
                      <a:lnTo>
                        <a:pt x="67" y="0"/>
                      </a:lnTo>
                      <a:lnTo>
                        <a:pt x="54" y="1"/>
                      </a:lnTo>
                      <a:lnTo>
                        <a:pt x="41" y="5"/>
                      </a:lnTo>
                      <a:lnTo>
                        <a:pt x="29" y="12"/>
                      </a:lnTo>
                      <a:lnTo>
                        <a:pt x="19" y="19"/>
                      </a:lnTo>
                      <a:lnTo>
                        <a:pt x="11" y="30"/>
                      </a:lnTo>
                      <a:lnTo>
                        <a:pt x="5" y="40"/>
                      </a:lnTo>
                      <a:lnTo>
                        <a:pt x="1" y="53"/>
                      </a:lnTo>
                      <a:lnTo>
                        <a:pt x="0" y="66"/>
                      </a:lnTo>
                      <a:lnTo>
                        <a:pt x="0" y="66"/>
                      </a:lnTo>
                      <a:lnTo>
                        <a:pt x="1" y="80"/>
                      </a:lnTo>
                      <a:lnTo>
                        <a:pt x="5" y="93"/>
                      </a:lnTo>
                      <a:lnTo>
                        <a:pt x="11" y="105"/>
                      </a:lnTo>
                      <a:lnTo>
                        <a:pt x="19" y="114"/>
                      </a:lnTo>
                      <a:lnTo>
                        <a:pt x="29" y="122"/>
                      </a:lnTo>
                      <a:lnTo>
                        <a:pt x="41" y="128"/>
                      </a:lnTo>
                      <a:lnTo>
                        <a:pt x="54" y="132"/>
                      </a:lnTo>
                      <a:lnTo>
                        <a:pt x="67" y="133"/>
                      </a:lnTo>
                      <a:lnTo>
                        <a:pt x="67" y="133"/>
                      </a:lnTo>
                      <a:lnTo>
                        <a:pt x="80" y="132"/>
                      </a:lnTo>
                      <a:lnTo>
                        <a:pt x="93" y="128"/>
                      </a:lnTo>
                      <a:lnTo>
                        <a:pt x="104" y="122"/>
                      </a:lnTo>
                      <a:lnTo>
                        <a:pt x="114" y="114"/>
                      </a:lnTo>
                      <a:lnTo>
                        <a:pt x="122" y="105"/>
                      </a:lnTo>
                      <a:lnTo>
                        <a:pt x="129" y="93"/>
                      </a:lnTo>
                      <a:lnTo>
                        <a:pt x="132" y="80"/>
                      </a:lnTo>
                      <a:lnTo>
                        <a:pt x="133" y="66"/>
                      </a:lnTo>
                      <a:lnTo>
                        <a:pt x="133" y="66"/>
                      </a:lnTo>
                      <a:lnTo>
                        <a:pt x="132" y="53"/>
                      </a:lnTo>
                      <a:lnTo>
                        <a:pt x="129" y="40"/>
                      </a:lnTo>
                      <a:lnTo>
                        <a:pt x="122" y="30"/>
                      </a:lnTo>
                      <a:lnTo>
                        <a:pt x="114" y="19"/>
                      </a:lnTo>
                      <a:lnTo>
                        <a:pt x="104" y="12"/>
                      </a:lnTo>
                      <a:lnTo>
                        <a:pt x="93" y="5"/>
                      </a:lnTo>
                      <a:lnTo>
                        <a:pt x="80" y="1"/>
                      </a:lnTo>
                      <a:lnTo>
                        <a:pt x="6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2" name="Freeform 339"/>
                <p:cNvSpPr>
                  <a:spLocks/>
                </p:cNvSpPr>
                <p:nvPr userDrawn="1"/>
              </p:nvSpPr>
              <p:spPr bwMode="auto">
                <a:xfrm>
                  <a:off x="12216946" y="305886"/>
                  <a:ext cx="103188" cy="104775"/>
                </a:xfrm>
                <a:custGeom>
                  <a:avLst/>
                  <a:gdLst>
                    <a:gd name="T0" fmla="*/ 131 w 131"/>
                    <a:gd name="T1" fmla="*/ 66 h 131"/>
                    <a:gd name="T2" fmla="*/ 131 w 131"/>
                    <a:gd name="T3" fmla="*/ 66 h 131"/>
                    <a:gd name="T4" fmla="*/ 130 w 131"/>
                    <a:gd name="T5" fmla="*/ 79 h 131"/>
                    <a:gd name="T6" fmla="*/ 126 w 131"/>
                    <a:gd name="T7" fmla="*/ 92 h 131"/>
                    <a:gd name="T8" fmla="*/ 120 w 131"/>
                    <a:gd name="T9" fmla="*/ 102 h 131"/>
                    <a:gd name="T10" fmla="*/ 112 w 131"/>
                    <a:gd name="T11" fmla="*/ 112 h 131"/>
                    <a:gd name="T12" fmla="*/ 102 w 131"/>
                    <a:gd name="T13" fmla="*/ 120 h 131"/>
                    <a:gd name="T14" fmla="*/ 90 w 131"/>
                    <a:gd name="T15" fmla="*/ 126 h 131"/>
                    <a:gd name="T16" fmla="*/ 79 w 131"/>
                    <a:gd name="T17" fmla="*/ 130 h 131"/>
                    <a:gd name="T18" fmla="*/ 65 w 131"/>
                    <a:gd name="T19" fmla="*/ 131 h 131"/>
                    <a:gd name="T20" fmla="*/ 65 w 131"/>
                    <a:gd name="T21" fmla="*/ 131 h 131"/>
                    <a:gd name="T22" fmla="*/ 52 w 131"/>
                    <a:gd name="T23" fmla="*/ 130 h 131"/>
                    <a:gd name="T24" fmla="*/ 40 w 131"/>
                    <a:gd name="T25" fmla="*/ 126 h 131"/>
                    <a:gd name="T26" fmla="*/ 29 w 131"/>
                    <a:gd name="T27" fmla="*/ 120 h 131"/>
                    <a:gd name="T28" fmla="*/ 19 w 131"/>
                    <a:gd name="T29" fmla="*/ 112 h 131"/>
                    <a:gd name="T30" fmla="*/ 12 w 131"/>
                    <a:gd name="T31" fmla="*/ 102 h 131"/>
                    <a:gd name="T32" fmla="*/ 5 w 131"/>
                    <a:gd name="T33" fmla="*/ 92 h 131"/>
                    <a:gd name="T34" fmla="*/ 1 w 131"/>
                    <a:gd name="T35" fmla="*/ 79 h 131"/>
                    <a:gd name="T36" fmla="*/ 0 w 131"/>
                    <a:gd name="T37" fmla="*/ 66 h 131"/>
                    <a:gd name="T38" fmla="*/ 0 w 131"/>
                    <a:gd name="T39" fmla="*/ 66 h 131"/>
                    <a:gd name="T40" fmla="*/ 1 w 131"/>
                    <a:gd name="T41" fmla="*/ 53 h 131"/>
                    <a:gd name="T42" fmla="*/ 5 w 131"/>
                    <a:gd name="T43" fmla="*/ 41 h 131"/>
                    <a:gd name="T44" fmla="*/ 12 w 131"/>
                    <a:gd name="T45" fmla="*/ 29 h 131"/>
                    <a:gd name="T46" fmla="*/ 19 w 131"/>
                    <a:gd name="T47" fmla="*/ 19 h 131"/>
                    <a:gd name="T48" fmla="*/ 29 w 131"/>
                    <a:gd name="T49" fmla="*/ 12 h 131"/>
                    <a:gd name="T50" fmla="*/ 40 w 131"/>
                    <a:gd name="T51" fmla="*/ 6 h 131"/>
                    <a:gd name="T52" fmla="*/ 52 w 131"/>
                    <a:gd name="T53" fmla="*/ 1 h 131"/>
                    <a:gd name="T54" fmla="*/ 65 w 131"/>
                    <a:gd name="T55" fmla="*/ 0 h 131"/>
                    <a:gd name="T56" fmla="*/ 65 w 131"/>
                    <a:gd name="T57" fmla="*/ 0 h 131"/>
                    <a:gd name="T58" fmla="*/ 79 w 131"/>
                    <a:gd name="T59" fmla="*/ 1 h 131"/>
                    <a:gd name="T60" fmla="*/ 90 w 131"/>
                    <a:gd name="T61" fmla="*/ 6 h 131"/>
                    <a:gd name="T62" fmla="*/ 102 w 131"/>
                    <a:gd name="T63" fmla="*/ 12 h 131"/>
                    <a:gd name="T64" fmla="*/ 112 w 131"/>
                    <a:gd name="T65" fmla="*/ 19 h 131"/>
                    <a:gd name="T66" fmla="*/ 120 w 131"/>
                    <a:gd name="T67" fmla="*/ 29 h 131"/>
                    <a:gd name="T68" fmla="*/ 126 w 131"/>
                    <a:gd name="T69" fmla="*/ 41 h 131"/>
                    <a:gd name="T70" fmla="*/ 130 w 131"/>
                    <a:gd name="T71" fmla="*/ 53 h 131"/>
                    <a:gd name="T72" fmla="*/ 131 w 131"/>
                    <a:gd name="T73" fmla="*/ 66 h 131"/>
                    <a:gd name="T74" fmla="*/ 131 w 131"/>
                    <a:gd name="T75" fmla="*/ 6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1" h="131">
                      <a:moveTo>
                        <a:pt x="131" y="66"/>
                      </a:moveTo>
                      <a:lnTo>
                        <a:pt x="131" y="66"/>
                      </a:lnTo>
                      <a:lnTo>
                        <a:pt x="130" y="79"/>
                      </a:lnTo>
                      <a:lnTo>
                        <a:pt x="126" y="92"/>
                      </a:lnTo>
                      <a:lnTo>
                        <a:pt x="120" y="102"/>
                      </a:lnTo>
                      <a:lnTo>
                        <a:pt x="112" y="112"/>
                      </a:lnTo>
                      <a:lnTo>
                        <a:pt x="102" y="120"/>
                      </a:lnTo>
                      <a:lnTo>
                        <a:pt x="90" y="126"/>
                      </a:lnTo>
                      <a:lnTo>
                        <a:pt x="79" y="130"/>
                      </a:lnTo>
                      <a:lnTo>
                        <a:pt x="65" y="131"/>
                      </a:lnTo>
                      <a:lnTo>
                        <a:pt x="65" y="131"/>
                      </a:lnTo>
                      <a:lnTo>
                        <a:pt x="52" y="130"/>
                      </a:lnTo>
                      <a:lnTo>
                        <a:pt x="40" y="126"/>
                      </a:lnTo>
                      <a:lnTo>
                        <a:pt x="29" y="120"/>
                      </a:lnTo>
                      <a:lnTo>
                        <a:pt x="19" y="112"/>
                      </a:lnTo>
                      <a:lnTo>
                        <a:pt x="12" y="102"/>
                      </a:lnTo>
                      <a:lnTo>
                        <a:pt x="5" y="92"/>
                      </a:lnTo>
                      <a:lnTo>
                        <a:pt x="1" y="79"/>
                      </a:lnTo>
                      <a:lnTo>
                        <a:pt x="0" y="66"/>
                      </a:lnTo>
                      <a:lnTo>
                        <a:pt x="0" y="66"/>
                      </a:lnTo>
                      <a:lnTo>
                        <a:pt x="1" y="53"/>
                      </a:lnTo>
                      <a:lnTo>
                        <a:pt x="5" y="41"/>
                      </a:lnTo>
                      <a:lnTo>
                        <a:pt x="12" y="29"/>
                      </a:lnTo>
                      <a:lnTo>
                        <a:pt x="19" y="19"/>
                      </a:lnTo>
                      <a:lnTo>
                        <a:pt x="29" y="12"/>
                      </a:lnTo>
                      <a:lnTo>
                        <a:pt x="40" y="6"/>
                      </a:lnTo>
                      <a:lnTo>
                        <a:pt x="52" y="1"/>
                      </a:lnTo>
                      <a:lnTo>
                        <a:pt x="65" y="0"/>
                      </a:lnTo>
                      <a:lnTo>
                        <a:pt x="65" y="0"/>
                      </a:lnTo>
                      <a:lnTo>
                        <a:pt x="79" y="1"/>
                      </a:lnTo>
                      <a:lnTo>
                        <a:pt x="90" y="6"/>
                      </a:lnTo>
                      <a:lnTo>
                        <a:pt x="102" y="12"/>
                      </a:lnTo>
                      <a:lnTo>
                        <a:pt x="112" y="19"/>
                      </a:lnTo>
                      <a:lnTo>
                        <a:pt x="120" y="29"/>
                      </a:lnTo>
                      <a:lnTo>
                        <a:pt x="126" y="41"/>
                      </a:lnTo>
                      <a:lnTo>
                        <a:pt x="130" y="53"/>
                      </a:lnTo>
                      <a:lnTo>
                        <a:pt x="131" y="66"/>
                      </a:lnTo>
                      <a:lnTo>
                        <a:pt x="131"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3" name="Freeform 340"/>
                <p:cNvSpPr>
                  <a:spLocks/>
                </p:cNvSpPr>
                <p:nvPr userDrawn="1"/>
              </p:nvSpPr>
              <p:spPr bwMode="auto">
                <a:xfrm>
                  <a:off x="12316958" y="431299"/>
                  <a:ext cx="39688" cy="39688"/>
                </a:xfrm>
                <a:custGeom>
                  <a:avLst/>
                  <a:gdLst>
                    <a:gd name="T0" fmla="*/ 51 w 51"/>
                    <a:gd name="T1" fmla="*/ 25 h 50"/>
                    <a:gd name="T2" fmla="*/ 51 w 51"/>
                    <a:gd name="T3" fmla="*/ 25 h 50"/>
                    <a:gd name="T4" fmla="*/ 50 w 51"/>
                    <a:gd name="T5" fmla="*/ 30 h 50"/>
                    <a:gd name="T6" fmla="*/ 49 w 51"/>
                    <a:gd name="T7" fmla="*/ 35 h 50"/>
                    <a:gd name="T8" fmla="*/ 46 w 51"/>
                    <a:gd name="T9" fmla="*/ 39 h 50"/>
                    <a:gd name="T10" fmla="*/ 43 w 51"/>
                    <a:gd name="T11" fmla="*/ 43 h 50"/>
                    <a:gd name="T12" fmla="*/ 39 w 51"/>
                    <a:gd name="T13" fmla="*/ 47 h 50"/>
                    <a:gd name="T14" fmla="*/ 36 w 51"/>
                    <a:gd name="T15" fmla="*/ 49 h 50"/>
                    <a:gd name="T16" fmla="*/ 31 w 51"/>
                    <a:gd name="T17" fmla="*/ 50 h 50"/>
                    <a:gd name="T18" fmla="*/ 25 w 51"/>
                    <a:gd name="T19" fmla="*/ 50 h 50"/>
                    <a:gd name="T20" fmla="*/ 25 w 51"/>
                    <a:gd name="T21" fmla="*/ 50 h 50"/>
                    <a:gd name="T22" fmla="*/ 20 w 51"/>
                    <a:gd name="T23" fmla="*/ 50 h 50"/>
                    <a:gd name="T24" fmla="*/ 16 w 51"/>
                    <a:gd name="T25" fmla="*/ 49 h 50"/>
                    <a:gd name="T26" fmla="*/ 11 w 51"/>
                    <a:gd name="T27" fmla="*/ 47 h 50"/>
                    <a:gd name="T28" fmla="*/ 7 w 51"/>
                    <a:gd name="T29" fmla="*/ 43 h 50"/>
                    <a:gd name="T30" fmla="*/ 5 w 51"/>
                    <a:gd name="T31" fmla="*/ 39 h 50"/>
                    <a:gd name="T32" fmla="*/ 2 w 51"/>
                    <a:gd name="T33" fmla="*/ 35 h 50"/>
                    <a:gd name="T34" fmla="*/ 0 w 51"/>
                    <a:gd name="T35" fmla="*/ 30 h 50"/>
                    <a:gd name="T36" fmla="*/ 0 w 51"/>
                    <a:gd name="T37" fmla="*/ 25 h 50"/>
                    <a:gd name="T38" fmla="*/ 0 w 51"/>
                    <a:gd name="T39" fmla="*/ 25 h 50"/>
                    <a:gd name="T40" fmla="*/ 0 w 51"/>
                    <a:gd name="T41" fmla="*/ 20 h 50"/>
                    <a:gd name="T42" fmla="*/ 2 w 51"/>
                    <a:gd name="T43" fmla="*/ 16 h 50"/>
                    <a:gd name="T44" fmla="*/ 5 w 51"/>
                    <a:gd name="T45" fmla="*/ 11 h 50"/>
                    <a:gd name="T46" fmla="*/ 7 w 51"/>
                    <a:gd name="T47" fmla="*/ 7 h 50"/>
                    <a:gd name="T48" fmla="*/ 11 w 51"/>
                    <a:gd name="T49" fmla="*/ 4 h 50"/>
                    <a:gd name="T50" fmla="*/ 16 w 51"/>
                    <a:gd name="T51" fmla="*/ 1 h 50"/>
                    <a:gd name="T52" fmla="*/ 20 w 51"/>
                    <a:gd name="T53" fmla="*/ 0 h 50"/>
                    <a:gd name="T54" fmla="*/ 25 w 51"/>
                    <a:gd name="T55" fmla="*/ 0 h 50"/>
                    <a:gd name="T56" fmla="*/ 25 w 51"/>
                    <a:gd name="T57" fmla="*/ 0 h 50"/>
                    <a:gd name="T58" fmla="*/ 31 w 51"/>
                    <a:gd name="T59" fmla="*/ 0 h 50"/>
                    <a:gd name="T60" fmla="*/ 36 w 51"/>
                    <a:gd name="T61" fmla="*/ 1 h 50"/>
                    <a:gd name="T62" fmla="*/ 39 w 51"/>
                    <a:gd name="T63" fmla="*/ 4 h 50"/>
                    <a:gd name="T64" fmla="*/ 43 w 51"/>
                    <a:gd name="T65" fmla="*/ 7 h 50"/>
                    <a:gd name="T66" fmla="*/ 46 w 51"/>
                    <a:gd name="T67" fmla="*/ 11 h 50"/>
                    <a:gd name="T68" fmla="*/ 49 w 51"/>
                    <a:gd name="T69" fmla="*/ 16 h 50"/>
                    <a:gd name="T70" fmla="*/ 50 w 51"/>
                    <a:gd name="T71" fmla="*/ 20 h 50"/>
                    <a:gd name="T72" fmla="*/ 51 w 51"/>
                    <a:gd name="T73" fmla="*/ 25 h 50"/>
                    <a:gd name="T74" fmla="*/ 51 w 51"/>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 h="50">
                      <a:moveTo>
                        <a:pt x="51" y="25"/>
                      </a:moveTo>
                      <a:lnTo>
                        <a:pt x="51" y="25"/>
                      </a:lnTo>
                      <a:lnTo>
                        <a:pt x="50" y="30"/>
                      </a:lnTo>
                      <a:lnTo>
                        <a:pt x="49" y="35"/>
                      </a:lnTo>
                      <a:lnTo>
                        <a:pt x="46" y="39"/>
                      </a:lnTo>
                      <a:lnTo>
                        <a:pt x="43" y="43"/>
                      </a:lnTo>
                      <a:lnTo>
                        <a:pt x="39" y="47"/>
                      </a:lnTo>
                      <a:lnTo>
                        <a:pt x="36" y="49"/>
                      </a:lnTo>
                      <a:lnTo>
                        <a:pt x="31" y="50"/>
                      </a:lnTo>
                      <a:lnTo>
                        <a:pt x="25" y="50"/>
                      </a:lnTo>
                      <a:lnTo>
                        <a:pt x="25" y="50"/>
                      </a:lnTo>
                      <a:lnTo>
                        <a:pt x="20" y="50"/>
                      </a:lnTo>
                      <a:lnTo>
                        <a:pt x="16" y="49"/>
                      </a:lnTo>
                      <a:lnTo>
                        <a:pt x="11" y="47"/>
                      </a:lnTo>
                      <a:lnTo>
                        <a:pt x="7" y="43"/>
                      </a:lnTo>
                      <a:lnTo>
                        <a:pt x="5" y="39"/>
                      </a:lnTo>
                      <a:lnTo>
                        <a:pt x="2" y="35"/>
                      </a:lnTo>
                      <a:lnTo>
                        <a:pt x="0" y="30"/>
                      </a:lnTo>
                      <a:lnTo>
                        <a:pt x="0" y="25"/>
                      </a:lnTo>
                      <a:lnTo>
                        <a:pt x="0" y="25"/>
                      </a:lnTo>
                      <a:lnTo>
                        <a:pt x="0" y="20"/>
                      </a:lnTo>
                      <a:lnTo>
                        <a:pt x="2" y="16"/>
                      </a:lnTo>
                      <a:lnTo>
                        <a:pt x="5" y="11"/>
                      </a:lnTo>
                      <a:lnTo>
                        <a:pt x="7" y="7"/>
                      </a:lnTo>
                      <a:lnTo>
                        <a:pt x="11" y="4"/>
                      </a:lnTo>
                      <a:lnTo>
                        <a:pt x="16" y="1"/>
                      </a:lnTo>
                      <a:lnTo>
                        <a:pt x="20" y="0"/>
                      </a:lnTo>
                      <a:lnTo>
                        <a:pt x="25" y="0"/>
                      </a:lnTo>
                      <a:lnTo>
                        <a:pt x="25" y="0"/>
                      </a:lnTo>
                      <a:lnTo>
                        <a:pt x="31" y="0"/>
                      </a:lnTo>
                      <a:lnTo>
                        <a:pt x="36" y="1"/>
                      </a:lnTo>
                      <a:lnTo>
                        <a:pt x="39" y="4"/>
                      </a:lnTo>
                      <a:lnTo>
                        <a:pt x="43" y="7"/>
                      </a:lnTo>
                      <a:lnTo>
                        <a:pt x="46" y="11"/>
                      </a:lnTo>
                      <a:lnTo>
                        <a:pt x="49" y="16"/>
                      </a:lnTo>
                      <a:lnTo>
                        <a:pt x="50" y="20"/>
                      </a:lnTo>
                      <a:lnTo>
                        <a:pt x="51" y="25"/>
                      </a:lnTo>
                      <a:lnTo>
                        <a:pt x="51"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4" name="Freeform 341"/>
                <p:cNvSpPr>
                  <a:spLocks/>
                </p:cNvSpPr>
                <p:nvPr userDrawn="1"/>
              </p:nvSpPr>
              <p:spPr bwMode="auto">
                <a:xfrm>
                  <a:off x="12674146" y="323349"/>
                  <a:ext cx="68263" cy="69850"/>
                </a:xfrm>
                <a:custGeom>
                  <a:avLst/>
                  <a:gdLst>
                    <a:gd name="T0" fmla="*/ 87 w 87"/>
                    <a:gd name="T1" fmla="*/ 43 h 87"/>
                    <a:gd name="T2" fmla="*/ 87 w 87"/>
                    <a:gd name="T3" fmla="*/ 43 h 87"/>
                    <a:gd name="T4" fmla="*/ 87 w 87"/>
                    <a:gd name="T5" fmla="*/ 52 h 87"/>
                    <a:gd name="T6" fmla="*/ 84 w 87"/>
                    <a:gd name="T7" fmla="*/ 59 h 87"/>
                    <a:gd name="T8" fmla="*/ 79 w 87"/>
                    <a:gd name="T9" fmla="*/ 68 h 87"/>
                    <a:gd name="T10" fmla="*/ 75 w 87"/>
                    <a:gd name="T11" fmla="*/ 74 h 87"/>
                    <a:gd name="T12" fmla="*/ 68 w 87"/>
                    <a:gd name="T13" fmla="*/ 79 h 87"/>
                    <a:gd name="T14" fmla="*/ 60 w 87"/>
                    <a:gd name="T15" fmla="*/ 83 h 87"/>
                    <a:gd name="T16" fmla="*/ 52 w 87"/>
                    <a:gd name="T17" fmla="*/ 85 h 87"/>
                    <a:gd name="T18" fmla="*/ 44 w 87"/>
                    <a:gd name="T19" fmla="*/ 87 h 87"/>
                    <a:gd name="T20" fmla="*/ 44 w 87"/>
                    <a:gd name="T21" fmla="*/ 87 h 87"/>
                    <a:gd name="T22" fmla="*/ 34 w 87"/>
                    <a:gd name="T23" fmla="*/ 85 h 87"/>
                    <a:gd name="T24" fmla="*/ 27 w 87"/>
                    <a:gd name="T25" fmla="*/ 83 h 87"/>
                    <a:gd name="T26" fmla="*/ 19 w 87"/>
                    <a:gd name="T27" fmla="*/ 79 h 87"/>
                    <a:gd name="T28" fmla="*/ 13 w 87"/>
                    <a:gd name="T29" fmla="*/ 74 h 87"/>
                    <a:gd name="T30" fmla="*/ 7 w 87"/>
                    <a:gd name="T31" fmla="*/ 68 h 87"/>
                    <a:gd name="T32" fmla="*/ 3 w 87"/>
                    <a:gd name="T33" fmla="*/ 59 h 87"/>
                    <a:gd name="T34" fmla="*/ 1 w 87"/>
                    <a:gd name="T35" fmla="*/ 52 h 87"/>
                    <a:gd name="T36" fmla="*/ 0 w 87"/>
                    <a:gd name="T37" fmla="*/ 43 h 87"/>
                    <a:gd name="T38" fmla="*/ 0 w 87"/>
                    <a:gd name="T39" fmla="*/ 43 h 87"/>
                    <a:gd name="T40" fmla="*/ 1 w 87"/>
                    <a:gd name="T41" fmla="*/ 34 h 87"/>
                    <a:gd name="T42" fmla="*/ 3 w 87"/>
                    <a:gd name="T43" fmla="*/ 26 h 87"/>
                    <a:gd name="T44" fmla="*/ 7 w 87"/>
                    <a:gd name="T45" fmla="*/ 19 h 87"/>
                    <a:gd name="T46" fmla="*/ 13 w 87"/>
                    <a:gd name="T47" fmla="*/ 12 h 87"/>
                    <a:gd name="T48" fmla="*/ 19 w 87"/>
                    <a:gd name="T49" fmla="*/ 7 h 87"/>
                    <a:gd name="T50" fmla="*/ 27 w 87"/>
                    <a:gd name="T51" fmla="*/ 2 h 87"/>
                    <a:gd name="T52" fmla="*/ 34 w 87"/>
                    <a:gd name="T53" fmla="*/ 0 h 87"/>
                    <a:gd name="T54" fmla="*/ 44 w 87"/>
                    <a:gd name="T55" fmla="*/ 0 h 87"/>
                    <a:gd name="T56" fmla="*/ 44 w 87"/>
                    <a:gd name="T57" fmla="*/ 0 h 87"/>
                    <a:gd name="T58" fmla="*/ 52 w 87"/>
                    <a:gd name="T59" fmla="*/ 0 h 87"/>
                    <a:gd name="T60" fmla="*/ 60 w 87"/>
                    <a:gd name="T61" fmla="*/ 2 h 87"/>
                    <a:gd name="T62" fmla="*/ 68 w 87"/>
                    <a:gd name="T63" fmla="*/ 7 h 87"/>
                    <a:gd name="T64" fmla="*/ 75 w 87"/>
                    <a:gd name="T65" fmla="*/ 12 h 87"/>
                    <a:gd name="T66" fmla="*/ 79 w 87"/>
                    <a:gd name="T67" fmla="*/ 19 h 87"/>
                    <a:gd name="T68" fmla="*/ 84 w 87"/>
                    <a:gd name="T69" fmla="*/ 26 h 87"/>
                    <a:gd name="T70" fmla="*/ 87 w 87"/>
                    <a:gd name="T71" fmla="*/ 34 h 87"/>
                    <a:gd name="T72" fmla="*/ 87 w 87"/>
                    <a:gd name="T73" fmla="*/ 43 h 87"/>
                    <a:gd name="T74" fmla="*/ 87 w 87"/>
                    <a:gd name="T75" fmla="*/ 43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7" h="87">
                      <a:moveTo>
                        <a:pt x="87" y="43"/>
                      </a:moveTo>
                      <a:lnTo>
                        <a:pt x="87" y="43"/>
                      </a:lnTo>
                      <a:lnTo>
                        <a:pt x="87" y="52"/>
                      </a:lnTo>
                      <a:lnTo>
                        <a:pt x="84" y="59"/>
                      </a:lnTo>
                      <a:lnTo>
                        <a:pt x="79" y="68"/>
                      </a:lnTo>
                      <a:lnTo>
                        <a:pt x="75" y="74"/>
                      </a:lnTo>
                      <a:lnTo>
                        <a:pt x="68" y="79"/>
                      </a:lnTo>
                      <a:lnTo>
                        <a:pt x="60" y="83"/>
                      </a:lnTo>
                      <a:lnTo>
                        <a:pt x="52" y="85"/>
                      </a:lnTo>
                      <a:lnTo>
                        <a:pt x="44" y="87"/>
                      </a:lnTo>
                      <a:lnTo>
                        <a:pt x="44" y="87"/>
                      </a:lnTo>
                      <a:lnTo>
                        <a:pt x="34" y="85"/>
                      </a:lnTo>
                      <a:lnTo>
                        <a:pt x="27" y="83"/>
                      </a:lnTo>
                      <a:lnTo>
                        <a:pt x="19" y="79"/>
                      </a:lnTo>
                      <a:lnTo>
                        <a:pt x="13" y="74"/>
                      </a:lnTo>
                      <a:lnTo>
                        <a:pt x="7" y="68"/>
                      </a:lnTo>
                      <a:lnTo>
                        <a:pt x="3" y="59"/>
                      </a:lnTo>
                      <a:lnTo>
                        <a:pt x="1" y="52"/>
                      </a:lnTo>
                      <a:lnTo>
                        <a:pt x="0" y="43"/>
                      </a:lnTo>
                      <a:lnTo>
                        <a:pt x="0" y="43"/>
                      </a:lnTo>
                      <a:lnTo>
                        <a:pt x="1" y="34"/>
                      </a:lnTo>
                      <a:lnTo>
                        <a:pt x="3" y="26"/>
                      </a:lnTo>
                      <a:lnTo>
                        <a:pt x="7" y="19"/>
                      </a:lnTo>
                      <a:lnTo>
                        <a:pt x="13" y="12"/>
                      </a:lnTo>
                      <a:lnTo>
                        <a:pt x="19" y="7"/>
                      </a:lnTo>
                      <a:lnTo>
                        <a:pt x="27" y="2"/>
                      </a:lnTo>
                      <a:lnTo>
                        <a:pt x="34" y="0"/>
                      </a:lnTo>
                      <a:lnTo>
                        <a:pt x="44" y="0"/>
                      </a:lnTo>
                      <a:lnTo>
                        <a:pt x="44" y="0"/>
                      </a:lnTo>
                      <a:lnTo>
                        <a:pt x="52" y="0"/>
                      </a:lnTo>
                      <a:lnTo>
                        <a:pt x="60" y="2"/>
                      </a:lnTo>
                      <a:lnTo>
                        <a:pt x="68" y="7"/>
                      </a:lnTo>
                      <a:lnTo>
                        <a:pt x="75" y="12"/>
                      </a:lnTo>
                      <a:lnTo>
                        <a:pt x="79" y="19"/>
                      </a:lnTo>
                      <a:lnTo>
                        <a:pt x="84" y="26"/>
                      </a:lnTo>
                      <a:lnTo>
                        <a:pt x="87" y="34"/>
                      </a:lnTo>
                      <a:lnTo>
                        <a:pt x="87" y="43"/>
                      </a:lnTo>
                      <a:lnTo>
                        <a:pt x="87"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7548" name="그룹 7547"/>
              <p:cNvGrpSpPr/>
              <p:nvPr userDrawn="1"/>
            </p:nvGrpSpPr>
            <p:grpSpPr>
              <a:xfrm>
                <a:off x="7113126" y="1331943"/>
                <a:ext cx="482488" cy="847424"/>
                <a:chOff x="9702346" y="3499936"/>
                <a:chExt cx="873125" cy="1533525"/>
              </a:xfrm>
            </p:grpSpPr>
            <p:sp>
              <p:nvSpPr>
                <p:cNvPr id="7495" name="Rectangle 342"/>
                <p:cNvSpPr>
                  <a:spLocks noChangeArrowheads="1"/>
                </p:cNvSpPr>
                <p:nvPr userDrawn="1"/>
              </p:nvSpPr>
              <p:spPr bwMode="auto">
                <a:xfrm>
                  <a:off x="10137321" y="3971424"/>
                  <a:ext cx="198438" cy="336550"/>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6" name="Rectangle 343"/>
                <p:cNvSpPr>
                  <a:spLocks noChangeArrowheads="1"/>
                </p:cNvSpPr>
                <p:nvPr userDrawn="1"/>
              </p:nvSpPr>
              <p:spPr bwMode="auto">
                <a:xfrm>
                  <a:off x="10137321" y="3971424"/>
                  <a:ext cx="198438"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7" name="Rectangle 344"/>
                <p:cNvSpPr>
                  <a:spLocks noChangeArrowheads="1"/>
                </p:cNvSpPr>
                <p:nvPr userDrawn="1"/>
              </p:nvSpPr>
              <p:spPr bwMode="auto">
                <a:xfrm>
                  <a:off x="9816646" y="3633286"/>
                  <a:ext cx="28575" cy="254000"/>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8" name="Freeform 345"/>
                <p:cNvSpPr>
                  <a:spLocks/>
                </p:cNvSpPr>
                <p:nvPr userDrawn="1"/>
              </p:nvSpPr>
              <p:spPr bwMode="auto">
                <a:xfrm>
                  <a:off x="9862683" y="3661861"/>
                  <a:ext cx="95250" cy="125413"/>
                </a:xfrm>
                <a:custGeom>
                  <a:avLst/>
                  <a:gdLst>
                    <a:gd name="T0" fmla="*/ 0 w 121"/>
                    <a:gd name="T1" fmla="*/ 122 h 158"/>
                    <a:gd name="T2" fmla="*/ 0 w 121"/>
                    <a:gd name="T3" fmla="*/ 158 h 158"/>
                    <a:gd name="T4" fmla="*/ 121 w 121"/>
                    <a:gd name="T5" fmla="*/ 158 h 158"/>
                    <a:gd name="T6" fmla="*/ 121 w 121"/>
                    <a:gd name="T7" fmla="*/ 122 h 158"/>
                    <a:gd name="T8" fmla="*/ 121 w 121"/>
                    <a:gd name="T9" fmla="*/ 0 h 158"/>
                    <a:gd name="T10" fmla="*/ 121 w 121"/>
                    <a:gd name="T11" fmla="*/ 0 h 158"/>
                    <a:gd name="T12" fmla="*/ 109 w 121"/>
                    <a:gd name="T13" fmla="*/ 1 h 158"/>
                    <a:gd name="T14" fmla="*/ 97 w 121"/>
                    <a:gd name="T15" fmla="*/ 2 h 158"/>
                    <a:gd name="T16" fmla="*/ 85 w 121"/>
                    <a:gd name="T17" fmla="*/ 6 h 158"/>
                    <a:gd name="T18" fmla="*/ 75 w 121"/>
                    <a:gd name="T19" fmla="*/ 9 h 158"/>
                    <a:gd name="T20" fmla="*/ 64 w 121"/>
                    <a:gd name="T21" fmla="*/ 15 h 158"/>
                    <a:gd name="T22" fmla="*/ 53 w 121"/>
                    <a:gd name="T23" fmla="*/ 21 h 158"/>
                    <a:gd name="T24" fmla="*/ 44 w 121"/>
                    <a:gd name="T25" fmla="*/ 28 h 158"/>
                    <a:gd name="T26" fmla="*/ 35 w 121"/>
                    <a:gd name="T27" fmla="*/ 35 h 158"/>
                    <a:gd name="T28" fmla="*/ 27 w 121"/>
                    <a:gd name="T29" fmla="*/ 45 h 158"/>
                    <a:gd name="T30" fmla="*/ 20 w 121"/>
                    <a:gd name="T31" fmla="*/ 53 h 158"/>
                    <a:gd name="T32" fmla="*/ 14 w 121"/>
                    <a:gd name="T33" fmla="*/ 64 h 158"/>
                    <a:gd name="T34" fmla="*/ 9 w 121"/>
                    <a:gd name="T35" fmla="*/ 75 h 158"/>
                    <a:gd name="T36" fmla="*/ 6 w 121"/>
                    <a:gd name="T37" fmla="*/ 85 h 158"/>
                    <a:gd name="T38" fmla="*/ 2 w 121"/>
                    <a:gd name="T39" fmla="*/ 97 h 158"/>
                    <a:gd name="T40" fmla="*/ 0 w 121"/>
                    <a:gd name="T41" fmla="*/ 109 h 158"/>
                    <a:gd name="T42" fmla="*/ 0 w 121"/>
                    <a:gd name="T43" fmla="*/ 122 h 158"/>
                    <a:gd name="T44" fmla="*/ 0 w 121"/>
                    <a:gd name="T45" fmla="*/ 12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158">
                      <a:moveTo>
                        <a:pt x="0" y="122"/>
                      </a:moveTo>
                      <a:lnTo>
                        <a:pt x="0" y="158"/>
                      </a:lnTo>
                      <a:lnTo>
                        <a:pt x="121" y="158"/>
                      </a:lnTo>
                      <a:lnTo>
                        <a:pt x="121" y="122"/>
                      </a:lnTo>
                      <a:lnTo>
                        <a:pt x="121" y="0"/>
                      </a:lnTo>
                      <a:lnTo>
                        <a:pt x="121" y="0"/>
                      </a:lnTo>
                      <a:lnTo>
                        <a:pt x="109" y="1"/>
                      </a:lnTo>
                      <a:lnTo>
                        <a:pt x="97" y="2"/>
                      </a:lnTo>
                      <a:lnTo>
                        <a:pt x="85" y="6"/>
                      </a:lnTo>
                      <a:lnTo>
                        <a:pt x="75" y="9"/>
                      </a:lnTo>
                      <a:lnTo>
                        <a:pt x="64" y="15"/>
                      </a:lnTo>
                      <a:lnTo>
                        <a:pt x="53" y="21"/>
                      </a:lnTo>
                      <a:lnTo>
                        <a:pt x="44" y="28"/>
                      </a:lnTo>
                      <a:lnTo>
                        <a:pt x="35" y="35"/>
                      </a:lnTo>
                      <a:lnTo>
                        <a:pt x="27" y="45"/>
                      </a:lnTo>
                      <a:lnTo>
                        <a:pt x="20" y="53"/>
                      </a:lnTo>
                      <a:lnTo>
                        <a:pt x="14" y="64"/>
                      </a:lnTo>
                      <a:lnTo>
                        <a:pt x="9" y="75"/>
                      </a:lnTo>
                      <a:lnTo>
                        <a:pt x="6" y="85"/>
                      </a:lnTo>
                      <a:lnTo>
                        <a:pt x="2" y="97"/>
                      </a:lnTo>
                      <a:lnTo>
                        <a:pt x="0" y="109"/>
                      </a:lnTo>
                      <a:lnTo>
                        <a:pt x="0" y="122"/>
                      </a:lnTo>
                      <a:lnTo>
                        <a:pt x="0" y="122"/>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9" name="Freeform 346"/>
                <p:cNvSpPr>
                  <a:spLocks/>
                </p:cNvSpPr>
                <p:nvPr userDrawn="1"/>
              </p:nvSpPr>
              <p:spPr bwMode="auto">
                <a:xfrm>
                  <a:off x="9797596" y="3804736"/>
                  <a:ext cx="95250" cy="166688"/>
                </a:xfrm>
                <a:custGeom>
                  <a:avLst/>
                  <a:gdLst>
                    <a:gd name="T0" fmla="*/ 0 w 121"/>
                    <a:gd name="T1" fmla="*/ 163 h 210"/>
                    <a:gd name="T2" fmla="*/ 0 w 121"/>
                    <a:gd name="T3" fmla="*/ 210 h 210"/>
                    <a:gd name="T4" fmla="*/ 121 w 121"/>
                    <a:gd name="T5" fmla="*/ 210 h 210"/>
                    <a:gd name="T6" fmla="*/ 121 w 121"/>
                    <a:gd name="T7" fmla="*/ 163 h 210"/>
                    <a:gd name="T8" fmla="*/ 121 w 121"/>
                    <a:gd name="T9" fmla="*/ 0 h 210"/>
                    <a:gd name="T10" fmla="*/ 121 w 121"/>
                    <a:gd name="T11" fmla="*/ 0 h 210"/>
                    <a:gd name="T12" fmla="*/ 109 w 121"/>
                    <a:gd name="T13" fmla="*/ 0 h 210"/>
                    <a:gd name="T14" fmla="*/ 97 w 121"/>
                    <a:gd name="T15" fmla="*/ 2 h 210"/>
                    <a:gd name="T16" fmla="*/ 85 w 121"/>
                    <a:gd name="T17" fmla="*/ 7 h 210"/>
                    <a:gd name="T18" fmla="*/ 73 w 121"/>
                    <a:gd name="T19" fmla="*/ 12 h 210"/>
                    <a:gd name="T20" fmla="*/ 63 w 121"/>
                    <a:gd name="T21" fmla="*/ 19 h 210"/>
                    <a:gd name="T22" fmla="*/ 53 w 121"/>
                    <a:gd name="T23" fmla="*/ 27 h 210"/>
                    <a:gd name="T24" fmla="*/ 44 w 121"/>
                    <a:gd name="T25" fmla="*/ 37 h 210"/>
                    <a:gd name="T26" fmla="*/ 35 w 121"/>
                    <a:gd name="T27" fmla="*/ 48 h 210"/>
                    <a:gd name="T28" fmla="*/ 27 w 121"/>
                    <a:gd name="T29" fmla="*/ 59 h 210"/>
                    <a:gd name="T30" fmla="*/ 20 w 121"/>
                    <a:gd name="T31" fmla="*/ 71 h 210"/>
                    <a:gd name="T32" fmla="*/ 14 w 121"/>
                    <a:gd name="T33" fmla="*/ 86 h 210"/>
                    <a:gd name="T34" fmla="*/ 9 w 121"/>
                    <a:gd name="T35" fmla="*/ 100 h 210"/>
                    <a:gd name="T36" fmla="*/ 4 w 121"/>
                    <a:gd name="T37" fmla="*/ 114 h 210"/>
                    <a:gd name="T38" fmla="*/ 2 w 121"/>
                    <a:gd name="T39" fmla="*/ 130 h 210"/>
                    <a:gd name="T40" fmla="*/ 0 w 121"/>
                    <a:gd name="T41" fmla="*/ 146 h 210"/>
                    <a:gd name="T42" fmla="*/ 0 w 121"/>
                    <a:gd name="T43" fmla="*/ 163 h 210"/>
                    <a:gd name="T44" fmla="*/ 0 w 121"/>
                    <a:gd name="T45" fmla="*/ 163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210">
                      <a:moveTo>
                        <a:pt x="0" y="163"/>
                      </a:moveTo>
                      <a:lnTo>
                        <a:pt x="0" y="210"/>
                      </a:lnTo>
                      <a:lnTo>
                        <a:pt x="121" y="210"/>
                      </a:lnTo>
                      <a:lnTo>
                        <a:pt x="121" y="163"/>
                      </a:lnTo>
                      <a:lnTo>
                        <a:pt x="121" y="0"/>
                      </a:lnTo>
                      <a:lnTo>
                        <a:pt x="121" y="0"/>
                      </a:lnTo>
                      <a:lnTo>
                        <a:pt x="109" y="0"/>
                      </a:lnTo>
                      <a:lnTo>
                        <a:pt x="97" y="2"/>
                      </a:lnTo>
                      <a:lnTo>
                        <a:pt x="85" y="7"/>
                      </a:lnTo>
                      <a:lnTo>
                        <a:pt x="73" y="12"/>
                      </a:lnTo>
                      <a:lnTo>
                        <a:pt x="63" y="19"/>
                      </a:lnTo>
                      <a:lnTo>
                        <a:pt x="53" y="27"/>
                      </a:lnTo>
                      <a:lnTo>
                        <a:pt x="44" y="37"/>
                      </a:lnTo>
                      <a:lnTo>
                        <a:pt x="35" y="48"/>
                      </a:lnTo>
                      <a:lnTo>
                        <a:pt x="27" y="59"/>
                      </a:lnTo>
                      <a:lnTo>
                        <a:pt x="20" y="71"/>
                      </a:lnTo>
                      <a:lnTo>
                        <a:pt x="14" y="86"/>
                      </a:lnTo>
                      <a:lnTo>
                        <a:pt x="9" y="100"/>
                      </a:lnTo>
                      <a:lnTo>
                        <a:pt x="4" y="114"/>
                      </a:lnTo>
                      <a:lnTo>
                        <a:pt x="2" y="130"/>
                      </a:lnTo>
                      <a:lnTo>
                        <a:pt x="0" y="146"/>
                      </a:lnTo>
                      <a:lnTo>
                        <a:pt x="0" y="163"/>
                      </a:lnTo>
                      <a:lnTo>
                        <a:pt x="0" y="163"/>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0" name="Rectangle 347"/>
                <p:cNvSpPr>
                  <a:spLocks noChangeArrowheads="1"/>
                </p:cNvSpPr>
                <p:nvPr userDrawn="1"/>
              </p:nvSpPr>
              <p:spPr bwMode="auto">
                <a:xfrm>
                  <a:off x="9862683" y="3787274"/>
                  <a:ext cx="95250" cy="184150"/>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1" name="Rectangle 348"/>
                <p:cNvSpPr>
                  <a:spLocks noChangeArrowheads="1"/>
                </p:cNvSpPr>
                <p:nvPr userDrawn="1"/>
              </p:nvSpPr>
              <p:spPr bwMode="auto">
                <a:xfrm>
                  <a:off x="9862683" y="3787274"/>
                  <a:ext cx="952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2" name="Freeform 349"/>
                <p:cNvSpPr>
                  <a:spLocks/>
                </p:cNvSpPr>
                <p:nvPr userDrawn="1"/>
              </p:nvSpPr>
              <p:spPr bwMode="auto">
                <a:xfrm>
                  <a:off x="9927771" y="4373061"/>
                  <a:ext cx="209550" cy="338138"/>
                </a:xfrm>
                <a:custGeom>
                  <a:avLst/>
                  <a:gdLst>
                    <a:gd name="T0" fmla="*/ 265 w 265"/>
                    <a:gd name="T1" fmla="*/ 0 h 427"/>
                    <a:gd name="T2" fmla="*/ 265 w 265"/>
                    <a:gd name="T3" fmla="*/ 203 h 427"/>
                    <a:gd name="T4" fmla="*/ 227 w 265"/>
                    <a:gd name="T5" fmla="*/ 427 h 427"/>
                    <a:gd name="T6" fmla="*/ 0 w 265"/>
                    <a:gd name="T7" fmla="*/ 427 h 427"/>
                    <a:gd name="T8" fmla="*/ 45 w 265"/>
                    <a:gd name="T9" fmla="*/ 0 h 427"/>
                    <a:gd name="T10" fmla="*/ 265 w 265"/>
                    <a:gd name="T11" fmla="*/ 0 h 427"/>
                  </a:gdLst>
                  <a:ahLst/>
                  <a:cxnLst>
                    <a:cxn ang="0">
                      <a:pos x="T0" y="T1"/>
                    </a:cxn>
                    <a:cxn ang="0">
                      <a:pos x="T2" y="T3"/>
                    </a:cxn>
                    <a:cxn ang="0">
                      <a:pos x="T4" y="T5"/>
                    </a:cxn>
                    <a:cxn ang="0">
                      <a:pos x="T6" y="T7"/>
                    </a:cxn>
                    <a:cxn ang="0">
                      <a:pos x="T8" y="T9"/>
                    </a:cxn>
                    <a:cxn ang="0">
                      <a:pos x="T10" y="T11"/>
                    </a:cxn>
                  </a:cxnLst>
                  <a:rect l="0" t="0" r="r" b="b"/>
                  <a:pathLst>
                    <a:path w="265" h="427">
                      <a:moveTo>
                        <a:pt x="265" y="0"/>
                      </a:moveTo>
                      <a:lnTo>
                        <a:pt x="265" y="203"/>
                      </a:lnTo>
                      <a:lnTo>
                        <a:pt x="227" y="427"/>
                      </a:lnTo>
                      <a:lnTo>
                        <a:pt x="0" y="427"/>
                      </a:lnTo>
                      <a:lnTo>
                        <a:pt x="45" y="0"/>
                      </a:lnTo>
                      <a:lnTo>
                        <a:pt x="2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3" name="Freeform 350"/>
                <p:cNvSpPr>
                  <a:spLocks/>
                </p:cNvSpPr>
                <p:nvPr userDrawn="1"/>
              </p:nvSpPr>
              <p:spPr bwMode="auto">
                <a:xfrm>
                  <a:off x="9927771" y="4373061"/>
                  <a:ext cx="209550" cy="338138"/>
                </a:xfrm>
                <a:custGeom>
                  <a:avLst/>
                  <a:gdLst>
                    <a:gd name="T0" fmla="*/ 265 w 265"/>
                    <a:gd name="T1" fmla="*/ 0 h 427"/>
                    <a:gd name="T2" fmla="*/ 265 w 265"/>
                    <a:gd name="T3" fmla="*/ 203 h 427"/>
                    <a:gd name="T4" fmla="*/ 227 w 265"/>
                    <a:gd name="T5" fmla="*/ 427 h 427"/>
                    <a:gd name="T6" fmla="*/ 0 w 265"/>
                    <a:gd name="T7" fmla="*/ 427 h 427"/>
                    <a:gd name="T8" fmla="*/ 45 w 265"/>
                    <a:gd name="T9" fmla="*/ 0 h 427"/>
                    <a:gd name="T10" fmla="*/ 265 w 265"/>
                    <a:gd name="T11" fmla="*/ 0 h 427"/>
                  </a:gdLst>
                  <a:ahLst/>
                  <a:cxnLst>
                    <a:cxn ang="0">
                      <a:pos x="T0" y="T1"/>
                    </a:cxn>
                    <a:cxn ang="0">
                      <a:pos x="T2" y="T3"/>
                    </a:cxn>
                    <a:cxn ang="0">
                      <a:pos x="T4" y="T5"/>
                    </a:cxn>
                    <a:cxn ang="0">
                      <a:pos x="T6" y="T7"/>
                    </a:cxn>
                    <a:cxn ang="0">
                      <a:pos x="T8" y="T9"/>
                    </a:cxn>
                    <a:cxn ang="0">
                      <a:pos x="T10" y="T11"/>
                    </a:cxn>
                  </a:cxnLst>
                  <a:rect l="0" t="0" r="r" b="b"/>
                  <a:pathLst>
                    <a:path w="265" h="427">
                      <a:moveTo>
                        <a:pt x="265" y="0"/>
                      </a:moveTo>
                      <a:lnTo>
                        <a:pt x="265" y="203"/>
                      </a:lnTo>
                      <a:lnTo>
                        <a:pt x="227" y="427"/>
                      </a:lnTo>
                      <a:lnTo>
                        <a:pt x="0" y="427"/>
                      </a:lnTo>
                      <a:lnTo>
                        <a:pt x="45" y="0"/>
                      </a:lnTo>
                      <a:lnTo>
                        <a:pt x="2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4" name="Rectangle 351"/>
                <p:cNvSpPr>
                  <a:spLocks noChangeArrowheads="1"/>
                </p:cNvSpPr>
                <p:nvPr userDrawn="1"/>
              </p:nvSpPr>
              <p:spPr bwMode="auto">
                <a:xfrm>
                  <a:off x="9945233" y="3582486"/>
                  <a:ext cx="385763" cy="3889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5" name="Rectangle 352"/>
                <p:cNvSpPr>
                  <a:spLocks noChangeArrowheads="1"/>
                </p:cNvSpPr>
                <p:nvPr userDrawn="1"/>
              </p:nvSpPr>
              <p:spPr bwMode="auto">
                <a:xfrm>
                  <a:off x="9945233" y="3582486"/>
                  <a:ext cx="385763" cy="388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6" name="Rectangle 353"/>
                <p:cNvSpPr>
                  <a:spLocks noChangeArrowheads="1"/>
                </p:cNvSpPr>
                <p:nvPr userDrawn="1"/>
              </p:nvSpPr>
              <p:spPr bwMode="auto">
                <a:xfrm>
                  <a:off x="10137321" y="3582486"/>
                  <a:ext cx="193675" cy="388938"/>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7" name="Rectangle 354"/>
                <p:cNvSpPr>
                  <a:spLocks noChangeArrowheads="1"/>
                </p:cNvSpPr>
                <p:nvPr userDrawn="1"/>
              </p:nvSpPr>
              <p:spPr bwMode="auto">
                <a:xfrm>
                  <a:off x="10137321" y="3582486"/>
                  <a:ext cx="193675" cy="388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8" name="Freeform 355"/>
                <p:cNvSpPr>
                  <a:spLocks/>
                </p:cNvSpPr>
                <p:nvPr userDrawn="1"/>
              </p:nvSpPr>
              <p:spPr bwMode="auto">
                <a:xfrm>
                  <a:off x="10137321" y="3612649"/>
                  <a:ext cx="165100" cy="165100"/>
                </a:xfrm>
                <a:custGeom>
                  <a:avLst/>
                  <a:gdLst>
                    <a:gd name="T0" fmla="*/ 207 w 207"/>
                    <a:gd name="T1" fmla="*/ 207 h 207"/>
                    <a:gd name="T2" fmla="*/ 207 w 207"/>
                    <a:gd name="T3" fmla="*/ 207 h 207"/>
                    <a:gd name="T4" fmla="*/ 206 w 207"/>
                    <a:gd name="T5" fmla="*/ 185 h 207"/>
                    <a:gd name="T6" fmla="*/ 202 w 207"/>
                    <a:gd name="T7" fmla="*/ 165 h 207"/>
                    <a:gd name="T8" fmla="*/ 197 w 207"/>
                    <a:gd name="T9" fmla="*/ 145 h 207"/>
                    <a:gd name="T10" fmla="*/ 190 w 207"/>
                    <a:gd name="T11" fmla="*/ 126 h 207"/>
                    <a:gd name="T12" fmla="*/ 182 w 207"/>
                    <a:gd name="T13" fmla="*/ 108 h 207"/>
                    <a:gd name="T14" fmla="*/ 171 w 207"/>
                    <a:gd name="T15" fmla="*/ 90 h 207"/>
                    <a:gd name="T16" fmla="*/ 159 w 207"/>
                    <a:gd name="T17" fmla="*/ 75 h 207"/>
                    <a:gd name="T18" fmla="*/ 146 w 207"/>
                    <a:gd name="T19" fmla="*/ 61 h 207"/>
                    <a:gd name="T20" fmla="*/ 132 w 207"/>
                    <a:gd name="T21" fmla="*/ 47 h 207"/>
                    <a:gd name="T22" fmla="*/ 115 w 207"/>
                    <a:gd name="T23" fmla="*/ 36 h 207"/>
                    <a:gd name="T24" fmla="*/ 98 w 207"/>
                    <a:gd name="T25" fmla="*/ 25 h 207"/>
                    <a:gd name="T26" fmla="*/ 81 w 207"/>
                    <a:gd name="T27" fmla="*/ 17 h 207"/>
                    <a:gd name="T28" fmla="*/ 62 w 207"/>
                    <a:gd name="T29" fmla="*/ 9 h 207"/>
                    <a:gd name="T30" fmla="*/ 41 w 207"/>
                    <a:gd name="T31" fmla="*/ 3 h 207"/>
                    <a:gd name="T32" fmla="*/ 21 w 207"/>
                    <a:gd name="T33" fmla="*/ 1 h 207"/>
                    <a:gd name="T34" fmla="*/ 0 w 207"/>
                    <a:gd name="T35" fmla="*/ 0 h 207"/>
                    <a:gd name="T36" fmla="*/ 0 w 207"/>
                    <a:gd name="T37" fmla="*/ 207 h 207"/>
                    <a:gd name="T38" fmla="*/ 207 w 207"/>
                    <a:gd name="T39" fmla="*/ 20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7" h="207">
                      <a:moveTo>
                        <a:pt x="207" y="207"/>
                      </a:moveTo>
                      <a:lnTo>
                        <a:pt x="207" y="207"/>
                      </a:lnTo>
                      <a:lnTo>
                        <a:pt x="206" y="185"/>
                      </a:lnTo>
                      <a:lnTo>
                        <a:pt x="202" y="165"/>
                      </a:lnTo>
                      <a:lnTo>
                        <a:pt x="197" y="145"/>
                      </a:lnTo>
                      <a:lnTo>
                        <a:pt x="190" y="126"/>
                      </a:lnTo>
                      <a:lnTo>
                        <a:pt x="182" y="108"/>
                      </a:lnTo>
                      <a:lnTo>
                        <a:pt x="171" y="90"/>
                      </a:lnTo>
                      <a:lnTo>
                        <a:pt x="159" y="75"/>
                      </a:lnTo>
                      <a:lnTo>
                        <a:pt x="146" y="61"/>
                      </a:lnTo>
                      <a:lnTo>
                        <a:pt x="132" y="47"/>
                      </a:lnTo>
                      <a:lnTo>
                        <a:pt x="115" y="36"/>
                      </a:lnTo>
                      <a:lnTo>
                        <a:pt x="98" y="25"/>
                      </a:lnTo>
                      <a:lnTo>
                        <a:pt x="81" y="17"/>
                      </a:lnTo>
                      <a:lnTo>
                        <a:pt x="62" y="9"/>
                      </a:lnTo>
                      <a:lnTo>
                        <a:pt x="41" y="3"/>
                      </a:lnTo>
                      <a:lnTo>
                        <a:pt x="21" y="1"/>
                      </a:lnTo>
                      <a:lnTo>
                        <a:pt x="0" y="0"/>
                      </a:lnTo>
                      <a:lnTo>
                        <a:pt x="0" y="207"/>
                      </a:lnTo>
                      <a:lnTo>
                        <a:pt x="207" y="207"/>
                      </a:lnTo>
                      <a:close/>
                    </a:path>
                  </a:pathLst>
                </a:custGeom>
                <a:solidFill>
                  <a:srgbClr val="1F23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9" name="Freeform 356"/>
                <p:cNvSpPr>
                  <a:spLocks/>
                </p:cNvSpPr>
                <p:nvPr userDrawn="1"/>
              </p:nvSpPr>
              <p:spPr bwMode="auto">
                <a:xfrm>
                  <a:off x="9975396" y="3612649"/>
                  <a:ext cx="161925" cy="165100"/>
                </a:xfrm>
                <a:custGeom>
                  <a:avLst/>
                  <a:gdLst>
                    <a:gd name="T0" fmla="*/ 206 w 206"/>
                    <a:gd name="T1" fmla="*/ 0 h 207"/>
                    <a:gd name="T2" fmla="*/ 206 w 206"/>
                    <a:gd name="T3" fmla="*/ 0 h 207"/>
                    <a:gd name="T4" fmla="*/ 184 w 206"/>
                    <a:gd name="T5" fmla="*/ 1 h 207"/>
                    <a:gd name="T6" fmla="*/ 164 w 206"/>
                    <a:gd name="T7" fmla="*/ 3 h 207"/>
                    <a:gd name="T8" fmla="*/ 145 w 206"/>
                    <a:gd name="T9" fmla="*/ 9 h 207"/>
                    <a:gd name="T10" fmla="*/ 126 w 206"/>
                    <a:gd name="T11" fmla="*/ 17 h 207"/>
                    <a:gd name="T12" fmla="*/ 108 w 206"/>
                    <a:gd name="T13" fmla="*/ 25 h 207"/>
                    <a:gd name="T14" fmla="*/ 90 w 206"/>
                    <a:gd name="T15" fmla="*/ 36 h 207"/>
                    <a:gd name="T16" fmla="*/ 75 w 206"/>
                    <a:gd name="T17" fmla="*/ 47 h 207"/>
                    <a:gd name="T18" fmla="*/ 61 w 206"/>
                    <a:gd name="T19" fmla="*/ 61 h 207"/>
                    <a:gd name="T20" fmla="*/ 46 w 206"/>
                    <a:gd name="T21" fmla="*/ 75 h 207"/>
                    <a:gd name="T22" fmla="*/ 35 w 206"/>
                    <a:gd name="T23" fmla="*/ 90 h 207"/>
                    <a:gd name="T24" fmla="*/ 25 w 206"/>
                    <a:gd name="T25" fmla="*/ 108 h 207"/>
                    <a:gd name="T26" fmla="*/ 16 w 206"/>
                    <a:gd name="T27" fmla="*/ 126 h 207"/>
                    <a:gd name="T28" fmla="*/ 8 w 206"/>
                    <a:gd name="T29" fmla="*/ 145 h 207"/>
                    <a:gd name="T30" fmla="*/ 4 w 206"/>
                    <a:gd name="T31" fmla="*/ 165 h 207"/>
                    <a:gd name="T32" fmla="*/ 1 w 206"/>
                    <a:gd name="T33" fmla="*/ 185 h 207"/>
                    <a:gd name="T34" fmla="*/ 0 w 206"/>
                    <a:gd name="T35" fmla="*/ 207 h 207"/>
                    <a:gd name="T36" fmla="*/ 206 w 206"/>
                    <a:gd name="T37" fmla="*/ 207 h 207"/>
                    <a:gd name="T38" fmla="*/ 206 w 206"/>
                    <a:gd name="T39"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6" h="207">
                      <a:moveTo>
                        <a:pt x="206" y="0"/>
                      </a:moveTo>
                      <a:lnTo>
                        <a:pt x="206" y="0"/>
                      </a:lnTo>
                      <a:lnTo>
                        <a:pt x="184" y="1"/>
                      </a:lnTo>
                      <a:lnTo>
                        <a:pt x="164" y="3"/>
                      </a:lnTo>
                      <a:lnTo>
                        <a:pt x="145" y="9"/>
                      </a:lnTo>
                      <a:lnTo>
                        <a:pt x="126" y="17"/>
                      </a:lnTo>
                      <a:lnTo>
                        <a:pt x="108" y="25"/>
                      </a:lnTo>
                      <a:lnTo>
                        <a:pt x="90" y="36"/>
                      </a:lnTo>
                      <a:lnTo>
                        <a:pt x="75" y="47"/>
                      </a:lnTo>
                      <a:lnTo>
                        <a:pt x="61" y="61"/>
                      </a:lnTo>
                      <a:lnTo>
                        <a:pt x="46" y="75"/>
                      </a:lnTo>
                      <a:lnTo>
                        <a:pt x="35" y="90"/>
                      </a:lnTo>
                      <a:lnTo>
                        <a:pt x="25" y="108"/>
                      </a:lnTo>
                      <a:lnTo>
                        <a:pt x="16" y="126"/>
                      </a:lnTo>
                      <a:lnTo>
                        <a:pt x="8" y="145"/>
                      </a:lnTo>
                      <a:lnTo>
                        <a:pt x="4" y="165"/>
                      </a:lnTo>
                      <a:lnTo>
                        <a:pt x="1" y="185"/>
                      </a:lnTo>
                      <a:lnTo>
                        <a:pt x="0" y="207"/>
                      </a:lnTo>
                      <a:lnTo>
                        <a:pt x="206" y="207"/>
                      </a:lnTo>
                      <a:lnTo>
                        <a:pt x="206" y="0"/>
                      </a:lnTo>
                      <a:close/>
                    </a:path>
                  </a:pathLst>
                </a:custGeom>
                <a:solidFill>
                  <a:srgbClr val="3338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0" name="Freeform 357"/>
                <p:cNvSpPr>
                  <a:spLocks/>
                </p:cNvSpPr>
                <p:nvPr userDrawn="1"/>
              </p:nvSpPr>
              <p:spPr bwMode="auto">
                <a:xfrm>
                  <a:off x="9975396" y="3777749"/>
                  <a:ext cx="161925" cy="163513"/>
                </a:xfrm>
                <a:custGeom>
                  <a:avLst/>
                  <a:gdLst>
                    <a:gd name="T0" fmla="*/ 0 w 206"/>
                    <a:gd name="T1" fmla="*/ 0 h 205"/>
                    <a:gd name="T2" fmla="*/ 0 w 206"/>
                    <a:gd name="T3" fmla="*/ 0 h 205"/>
                    <a:gd name="T4" fmla="*/ 1 w 206"/>
                    <a:gd name="T5" fmla="*/ 20 h 205"/>
                    <a:gd name="T6" fmla="*/ 4 w 206"/>
                    <a:gd name="T7" fmla="*/ 41 h 205"/>
                    <a:gd name="T8" fmla="*/ 8 w 206"/>
                    <a:gd name="T9" fmla="*/ 60 h 205"/>
                    <a:gd name="T10" fmla="*/ 16 w 206"/>
                    <a:gd name="T11" fmla="*/ 79 h 205"/>
                    <a:gd name="T12" fmla="*/ 25 w 206"/>
                    <a:gd name="T13" fmla="*/ 97 h 205"/>
                    <a:gd name="T14" fmla="*/ 35 w 206"/>
                    <a:gd name="T15" fmla="*/ 115 h 205"/>
                    <a:gd name="T16" fmla="*/ 46 w 206"/>
                    <a:gd name="T17" fmla="*/ 131 h 205"/>
                    <a:gd name="T18" fmla="*/ 61 w 206"/>
                    <a:gd name="T19" fmla="*/ 145 h 205"/>
                    <a:gd name="T20" fmla="*/ 75 w 206"/>
                    <a:gd name="T21" fmla="*/ 158 h 205"/>
                    <a:gd name="T22" fmla="*/ 90 w 206"/>
                    <a:gd name="T23" fmla="*/ 170 h 205"/>
                    <a:gd name="T24" fmla="*/ 108 w 206"/>
                    <a:gd name="T25" fmla="*/ 180 h 205"/>
                    <a:gd name="T26" fmla="*/ 126 w 206"/>
                    <a:gd name="T27" fmla="*/ 189 h 205"/>
                    <a:gd name="T28" fmla="*/ 145 w 206"/>
                    <a:gd name="T29" fmla="*/ 196 h 205"/>
                    <a:gd name="T30" fmla="*/ 164 w 206"/>
                    <a:gd name="T31" fmla="*/ 202 h 205"/>
                    <a:gd name="T32" fmla="*/ 184 w 206"/>
                    <a:gd name="T33" fmla="*/ 204 h 205"/>
                    <a:gd name="T34" fmla="*/ 206 w 206"/>
                    <a:gd name="T35" fmla="*/ 205 h 205"/>
                    <a:gd name="T36" fmla="*/ 206 w 206"/>
                    <a:gd name="T37" fmla="*/ 0 h 205"/>
                    <a:gd name="T38" fmla="*/ 0 w 206"/>
                    <a:gd name="T39"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6" h="205">
                      <a:moveTo>
                        <a:pt x="0" y="0"/>
                      </a:moveTo>
                      <a:lnTo>
                        <a:pt x="0" y="0"/>
                      </a:lnTo>
                      <a:lnTo>
                        <a:pt x="1" y="20"/>
                      </a:lnTo>
                      <a:lnTo>
                        <a:pt x="4" y="41"/>
                      </a:lnTo>
                      <a:lnTo>
                        <a:pt x="8" y="60"/>
                      </a:lnTo>
                      <a:lnTo>
                        <a:pt x="16" y="79"/>
                      </a:lnTo>
                      <a:lnTo>
                        <a:pt x="25" y="97"/>
                      </a:lnTo>
                      <a:lnTo>
                        <a:pt x="35" y="115"/>
                      </a:lnTo>
                      <a:lnTo>
                        <a:pt x="46" y="131"/>
                      </a:lnTo>
                      <a:lnTo>
                        <a:pt x="61" y="145"/>
                      </a:lnTo>
                      <a:lnTo>
                        <a:pt x="75" y="158"/>
                      </a:lnTo>
                      <a:lnTo>
                        <a:pt x="90" y="170"/>
                      </a:lnTo>
                      <a:lnTo>
                        <a:pt x="108" y="180"/>
                      </a:lnTo>
                      <a:lnTo>
                        <a:pt x="126" y="189"/>
                      </a:lnTo>
                      <a:lnTo>
                        <a:pt x="145" y="196"/>
                      </a:lnTo>
                      <a:lnTo>
                        <a:pt x="164" y="202"/>
                      </a:lnTo>
                      <a:lnTo>
                        <a:pt x="184" y="204"/>
                      </a:lnTo>
                      <a:lnTo>
                        <a:pt x="206" y="205"/>
                      </a:lnTo>
                      <a:lnTo>
                        <a:pt x="206" y="0"/>
                      </a:lnTo>
                      <a:lnTo>
                        <a:pt x="0" y="0"/>
                      </a:lnTo>
                      <a:close/>
                    </a:path>
                  </a:pathLst>
                </a:custGeom>
                <a:solidFill>
                  <a:srgbClr val="1F23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1" name="Freeform 358"/>
                <p:cNvSpPr>
                  <a:spLocks/>
                </p:cNvSpPr>
                <p:nvPr userDrawn="1"/>
              </p:nvSpPr>
              <p:spPr bwMode="auto">
                <a:xfrm>
                  <a:off x="10137321" y="3777749"/>
                  <a:ext cx="165100" cy="163513"/>
                </a:xfrm>
                <a:custGeom>
                  <a:avLst/>
                  <a:gdLst>
                    <a:gd name="T0" fmla="*/ 0 w 207"/>
                    <a:gd name="T1" fmla="*/ 0 h 205"/>
                    <a:gd name="T2" fmla="*/ 0 w 207"/>
                    <a:gd name="T3" fmla="*/ 205 h 205"/>
                    <a:gd name="T4" fmla="*/ 0 w 207"/>
                    <a:gd name="T5" fmla="*/ 205 h 205"/>
                    <a:gd name="T6" fmla="*/ 21 w 207"/>
                    <a:gd name="T7" fmla="*/ 204 h 205"/>
                    <a:gd name="T8" fmla="*/ 41 w 207"/>
                    <a:gd name="T9" fmla="*/ 202 h 205"/>
                    <a:gd name="T10" fmla="*/ 62 w 207"/>
                    <a:gd name="T11" fmla="*/ 196 h 205"/>
                    <a:gd name="T12" fmla="*/ 81 w 207"/>
                    <a:gd name="T13" fmla="*/ 189 h 205"/>
                    <a:gd name="T14" fmla="*/ 98 w 207"/>
                    <a:gd name="T15" fmla="*/ 180 h 205"/>
                    <a:gd name="T16" fmla="*/ 115 w 207"/>
                    <a:gd name="T17" fmla="*/ 170 h 205"/>
                    <a:gd name="T18" fmla="*/ 132 w 207"/>
                    <a:gd name="T19" fmla="*/ 158 h 205"/>
                    <a:gd name="T20" fmla="*/ 146 w 207"/>
                    <a:gd name="T21" fmla="*/ 145 h 205"/>
                    <a:gd name="T22" fmla="*/ 159 w 207"/>
                    <a:gd name="T23" fmla="*/ 131 h 205"/>
                    <a:gd name="T24" fmla="*/ 171 w 207"/>
                    <a:gd name="T25" fmla="*/ 115 h 205"/>
                    <a:gd name="T26" fmla="*/ 182 w 207"/>
                    <a:gd name="T27" fmla="*/ 97 h 205"/>
                    <a:gd name="T28" fmla="*/ 190 w 207"/>
                    <a:gd name="T29" fmla="*/ 79 h 205"/>
                    <a:gd name="T30" fmla="*/ 197 w 207"/>
                    <a:gd name="T31" fmla="*/ 60 h 205"/>
                    <a:gd name="T32" fmla="*/ 202 w 207"/>
                    <a:gd name="T33" fmla="*/ 41 h 205"/>
                    <a:gd name="T34" fmla="*/ 206 w 207"/>
                    <a:gd name="T35" fmla="*/ 20 h 205"/>
                    <a:gd name="T36" fmla="*/ 207 w 207"/>
                    <a:gd name="T37" fmla="*/ 0 h 205"/>
                    <a:gd name="T38" fmla="*/ 0 w 207"/>
                    <a:gd name="T39"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7" h="205">
                      <a:moveTo>
                        <a:pt x="0" y="0"/>
                      </a:moveTo>
                      <a:lnTo>
                        <a:pt x="0" y="205"/>
                      </a:lnTo>
                      <a:lnTo>
                        <a:pt x="0" y="205"/>
                      </a:lnTo>
                      <a:lnTo>
                        <a:pt x="21" y="204"/>
                      </a:lnTo>
                      <a:lnTo>
                        <a:pt x="41" y="202"/>
                      </a:lnTo>
                      <a:lnTo>
                        <a:pt x="62" y="196"/>
                      </a:lnTo>
                      <a:lnTo>
                        <a:pt x="81" y="189"/>
                      </a:lnTo>
                      <a:lnTo>
                        <a:pt x="98" y="180"/>
                      </a:lnTo>
                      <a:lnTo>
                        <a:pt x="115" y="170"/>
                      </a:lnTo>
                      <a:lnTo>
                        <a:pt x="132" y="158"/>
                      </a:lnTo>
                      <a:lnTo>
                        <a:pt x="146" y="145"/>
                      </a:lnTo>
                      <a:lnTo>
                        <a:pt x="159" y="131"/>
                      </a:lnTo>
                      <a:lnTo>
                        <a:pt x="171" y="115"/>
                      </a:lnTo>
                      <a:lnTo>
                        <a:pt x="182" y="97"/>
                      </a:lnTo>
                      <a:lnTo>
                        <a:pt x="190" y="79"/>
                      </a:lnTo>
                      <a:lnTo>
                        <a:pt x="197" y="60"/>
                      </a:lnTo>
                      <a:lnTo>
                        <a:pt x="202" y="41"/>
                      </a:lnTo>
                      <a:lnTo>
                        <a:pt x="206" y="20"/>
                      </a:lnTo>
                      <a:lnTo>
                        <a:pt x="207"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2" name="Rectangle 359"/>
                <p:cNvSpPr>
                  <a:spLocks noChangeArrowheads="1"/>
                </p:cNvSpPr>
                <p:nvPr userDrawn="1"/>
              </p:nvSpPr>
              <p:spPr bwMode="auto">
                <a:xfrm>
                  <a:off x="9940471" y="3971424"/>
                  <a:ext cx="196850" cy="3365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3" name="Rectangle 360"/>
                <p:cNvSpPr>
                  <a:spLocks noChangeArrowheads="1"/>
                </p:cNvSpPr>
                <p:nvPr userDrawn="1"/>
              </p:nvSpPr>
              <p:spPr bwMode="auto">
                <a:xfrm>
                  <a:off x="9940471" y="3971424"/>
                  <a:ext cx="1968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4" name="Freeform 361"/>
                <p:cNvSpPr>
                  <a:spLocks/>
                </p:cNvSpPr>
                <p:nvPr userDrawn="1"/>
              </p:nvSpPr>
              <p:spPr bwMode="auto">
                <a:xfrm>
                  <a:off x="9870621" y="3899986"/>
                  <a:ext cx="74613" cy="407988"/>
                </a:xfrm>
                <a:custGeom>
                  <a:avLst/>
                  <a:gdLst>
                    <a:gd name="T0" fmla="*/ 93 w 93"/>
                    <a:gd name="T1" fmla="*/ 515 h 515"/>
                    <a:gd name="T2" fmla="*/ 93 w 93"/>
                    <a:gd name="T3" fmla="*/ 93 h 515"/>
                    <a:gd name="T4" fmla="*/ 93 w 93"/>
                    <a:gd name="T5" fmla="*/ 93 h 515"/>
                    <a:gd name="T6" fmla="*/ 93 w 93"/>
                    <a:gd name="T7" fmla="*/ 83 h 515"/>
                    <a:gd name="T8" fmla="*/ 91 w 93"/>
                    <a:gd name="T9" fmla="*/ 74 h 515"/>
                    <a:gd name="T10" fmla="*/ 89 w 93"/>
                    <a:gd name="T11" fmla="*/ 65 h 515"/>
                    <a:gd name="T12" fmla="*/ 86 w 93"/>
                    <a:gd name="T13" fmla="*/ 56 h 515"/>
                    <a:gd name="T14" fmla="*/ 82 w 93"/>
                    <a:gd name="T15" fmla="*/ 49 h 515"/>
                    <a:gd name="T16" fmla="*/ 78 w 93"/>
                    <a:gd name="T17" fmla="*/ 41 h 515"/>
                    <a:gd name="T18" fmla="*/ 72 w 93"/>
                    <a:gd name="T19" fmla="*/ 33 h 515"/>
                    <a:gd name="T20" fmla="*/ 66 w 93"/>
                    <a:gd name="T21" fmla="*/ 27 h 515"/>
                    <a:gd name="T22" fmla="*/ 60 w 93"/>
                    <a:gd name="T23" fmla="*/ 21 h 515"/>
                    <a:gd name="T24" fmla="*/ 53 w 93"/>
                    <a:gd name="T25" fmla="*/ 16 h 515"/>
                    <a:gd name="T26" fmla="*/ 44 w 93"/>
                    <a:gd name="T27" fmla="*/ 11 h 515"/>
                    <a:gd name="T28" fmla="*/ 36 w 93"/>
                    <a:gd name="T29" fmla="*/ 7 h 515"/>
                    <a:gd name="T30" fmla="*/ 28 w 93"/>
                    <a:gd name="T31" fmla="*/ 4 h 515"/>
                    <a:gd name="T32" fmla="*/ 19 w 93"/>
                    <a:gd name="T33" fmla="*/ 1 h 515"/>
                    <a:gd name="T34" fmla="*/ 10 w 93"/>
                    <a:gd name="T35" fmla="*/ 0 h 515"/>
                    <a:gd name="T36" fmla="*/ 0 w 93"/>
                    <a:gd name="T37" fmla="*/ 0 h 515"/>
                    <a:gd name="T38" fmla="*/ 0 w 93"/>
                    <a:gd name="T39" fmla="*/ 515 h 515"/>
                    <a:gd name="T40" fmla="*/ 93 w 93"/>
                    <a:gd name="T41" fmla="*/ 515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515">
                      <a:moveTo>
                        <a:pt x="93" y="515"/>
                      </a:moveTo>
                      <a:lnTo>
                        <a:pt x="93" y="93"/>
                      </a:lnTo>
                      <a:lnTo>
                        <a:pt x="93" y="93"/>
                      </a:lnTo>
                      <a:lnTo>
                        <a:pt x="93" y="83"/>
                      </a:lnTo>
                      <a:lnTo>
                        <a:pt x="91" y="74"/>
                      </a:lnTo>
                      <a:lnTo>
                        <a:pt x="89" y="65"/>
                      </a:lnTo>
                      <a:lnTo>
                        <a:pt x="86" y="56"/>
                      </a:lnTo>
                      <a:lnTo>
                        <a:pt x="82" y="49"/>
                      </a:lnTo>
                      <a:lnTo>
                        <a:pt x="78" y="41"/>
                      </a:lnTo>
                      <a:lnTo>
                        <a:pt x="72" y="33"/>
                      </a:lnTo>
                      <a:lnTo>
                        <a:pt x="66" y="27"/>
                      </a:lnTo>
                      <a:lnTo>
                        <a:pt x="60" y="21"/>
                      </a:lnTo>
                      <a:lnTo>
                        <a:pt x="53" y="16"/>
                      </a:lnTo>
                      <a:lnTo>
                        <a:pt x="44" y="11"/>
                      </a:lnTo>
                      <a:lnTo>
                        <a:pt x="36" y="7"/>
                      </a:lnTo>
                      <a:lnTo>
                        <a:pt x="28" y="4"/>
                      </a:lnTo>
                      <a:lnTo>
                        <a:pt x="19" y="1"/>
                      </a:lnTo>
                      <a:lnTo>
                        <a:pt x="10" y="0"/>
                      </a:lnTo>
                      <a:lnTo>
                        <a:pt x="0" y="0"/>
                      </a:lnTo>
                      <a:lnTo>
                        <a:pt x="0" y="515"/>
                      </a:lnTo>
                      <a:lnTo>
                        <a:pt x="93" y="515"/>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5" name="Freeform 362"/>
                <p:cNvSpPr>
                  <a:spLocks/>
                </p:cNvSpPr>
                <p:nvPr userDrawn="1"/>
              </p:nvSpPr>
              <p:spPr bwMode="auto">
                <a:xfrm>
                  <a:off x="9870621" y="3899986"/>
                  <a:ext cx="74613" cy="407988"/>
                </a:xfrm>
                <a:custGeom>
                  <a:avLst/>
                  <a:gdLst>
                    <a:gd name="T0" fmla="*/ 93 w 93"/>
                    <a:gd name="T1" fmla="*/ 515 h 515"/>
                    <a:gd name="T2" fmla="*/ 93 w 93"/>
                    <a:gd name="T3" fmla="*/ 93 h 515"/>
                    <a:gd name="T4" fmla="*/ 93 w 93"/>
                    <a:gd name="T5" fmla="*/ 93 h 515"/>
                    <a:gd name="T6" fmla="*/ 93 w 93"/>
                    <a:gd name="T7" fmla="*/ 83 h 515"/>
                    <a:gd name="T8" fmla="*/ 91 w 93"/>
                    <a:gd name="T9" fmla="*/ 74 h 515"/>
                    <a:gd name="T10" fmla="*/ 89 w 93"/>
                    <a:gd name="T11" fmla="*/ 65 h 515"/>
                    <a:gd name="T12" fmla="*/ 86 w 93"/>
                    <a:gd name="T13" fmla="*/ 56 h 515"/>
                    <a:gd name="T14" fmla="*/ 82 w 93"/>
                    <a:gd name="T15" fmla="*/ 49 h 515"/>
                    <a:gd name="T16" fmla="*/ 78 w 93"/>
                    <a:gd name="T17" fmla="*/ 41 h 515"/>
                    <a:gd name="T18" fmla="*/ 72 w 93"/>
                    <a:gd name="T19" fmla="*/ 33 h 515"/>
                    <a:gd name="T20" fmla="*/ 66 w 93"/>
                    <a:gd name="T21" fmla="*/ 27 h 515"/>
                    <a:gd name="T22" fmla="*/ 60 w 93"/>
                    <a:gd name="T23" fmla="*/ 21 h 515"/>
                    <a:gd name="T24" fmla="*/ 53 w 93"/>
                    <a:gd name="T25" fmla="*/ 16 h 515"/>
                    <a:gd name="T26" fmla="*/ 44 w 93"/>
                    <a:gd name="T27" fmla="*/ 11 h 515"/>
                    <a:gd name="T28" fmla="*/ 36 w 93"/>
                    <a:gd name="T29" fmla="*/ 7 h 515"/>
                    <a:gd name="T30" fmla="*/ 28 w 93"/>
                    <a:gd name="T31" fmla="*/ 4 h 515"/>
                    <a:gd name="T32" fmla="*/ 19 w 93"/>
                    <a:gd name="T33" fmla="*/ 1 h 515"/>
                    <a:gd name="T34" fmla="*/ 10 w 93"/>
                    <a:gd name="T35" fmla="*/ 0 h 515"/>
                    <a:gd name="T36" fmla="*/ 0 w 93"/>
                    <a:gd name="T37" fmla="*/ 0 h 515"/>
                    <a:gd name="T38" fmla="*/ 0 w 93"/>
                    <a:gd name="T39" fmla="*/ 515 h 515"/>
                    <a:gd name="T40" fmla="*/ 93 w 93"/>
                    <a:gd name="T41" fmla="*/ 515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515">
                      <a:moveTo>
                        <a:pt x="93" y="515"/>
                      </a:moveTo>
                      <a:lnTo>
                        <a:pt x="93" y="93"/>
                      </a:lnTo>
                      <a:lnTo>
                        <a:pt x="93" y="93"/>
                      </a:lnTo>
                      <a:lnTo>
                        <a:pt x="93" y="83"/>
                      </a:lnTo>
                      <a:lnTo>
                        <a:pt x="91" y="74"/>
                      </a:lnTo>
                      <a:lnTo>
                        <a:pt x="89" y="65"/>
                      </a:lnTo>
                      <a:lnTo>
                        <a:pt x="86" y="56"/>
                      </a:lnTo>
                      <a:lnTo>
                        <a:pt x="82" y="49"/>
                      </a:lnTo>
                      <a:lnTo>
                        <a:pt x="78" y="41"/>
                      </a:lnTo>
                      <a:lnTo>
                        <a:pt x="72" y="33"/>
                      </a:lnTo>
                      <a:lnTo>
                        <a:pt x="66" y="27"/>
                      </a:lnTo>
                      <a:lnTo>
                        <a:pt x="60" y="21"/>
                      </a:lnTo>
                      <a:lnTo>
                        <a:pt x="53" y="16"/>
                      </a:lnTo>
                      <a:lnTo>
                        <a:pt x="44" y="11"/>
                      </a:lnTo>
                      <a:lnTo>
                        <a:pt x="36" y="7"/>
                      </a:lnTo>
                      <a:lnTo>
                        <a:pt x="28" y="4"/>
                      </a:lnTo>
                      <a:lnTo>
                        <a:pt x="19" y="1"/>
                      </a:lnTo>
                      <a:lnTo>
                        <a:pt x="10" y="0"/>
                      </a:lnTo>
                      <a:lnTo>
                        <a:pt x="0" y="0"/>
                      </a:lnTo>
                      <a:lnTo>
                        <a:pt x="0" y="515"/>
                      </a:lnTo>
                      <a:lnTo>
                        <a:pt x="93" y="5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6" name="Freeform 363"/>
                <p:cNvSpPr>
                  <a:spLocks/>
                </p:cNvSpPr>
                <p:nvPr userDrawn="1"/>
              </p:nvSpPr>
              <p:spPr bwMode="auto">
                <a:xfrm>
                  <a:off x="9797596" y="3899986"/>
                  <a:ext cx="73025" cy="407988"/>
                </a:xfrm>
                <a:custGeom>
                  <a:avLst/>
                  <a:gdLst>
                    <a:gd name="T0" fmla="*/ 92 w 92"/>
                    <a:gd name="T1" fmla="*/ 515 h 515"/>
                    <a:gd name="T2" fmla="*/ 92 w 92"/>
                    <a:gd name="T3" fmla="*/ 0 h 515"/>
                    <a:gd name="T4" fmla="*/ 92 w 92"/>
                    <a:gd name="T5" fmla="*/ 0 h 515"/>
                    <a:gd name="T6" fmla="*/ 83 w 92"/>
                    <a:gd name="T7" fmla="*/ 0 h 515"/>
                    <a:gd name="T8" fmla="*/ 73 w 92"/>
                    <a:gd name="T9" fmla="*/ 1 h 515"/>
                    <a:gd name="T10" fmla="*/ 65 w 92"/>
                    <a:gd name="T11" fmla="*/ 4 h 515"/>
                    <a:gd name="T12" fmla="*/ 55 w 92"/>
                    <a:gd name="T13" fmla="*/ 7 h 515"/>
                    <a:gd name="T14" fmla="*/ 48 w 92"/>
                    <a:gd name="T15" fmla="*/ 11 h 515"/>
                    <a:gd name="T16" fmla="*/ 40 w 92"/>
                    <a:gd name="T17" fmla="*/ 16 h 515"/>
                    <a:gd name="T18" fmla="*/ 33 w 92"/>
                    <a:gd name="T19" fmla="*/ 21 h 515"/>
                    <a:gd name="T20" fmla="*/ 27 w 92"/>
                    <a:gd name="T21" fmla="*/ 27 h 515"/>
                    <a:gd name="T22" fmla="*/ 21 w 92"/>
                    <a:gd name="T23" fmla="*/ 33 h 515"/>
                    <a:gd name="T24" fmla="*/ 15 w 92"/>
                    <a:gd name="T25" fmla="*/ 41 h 515"/>
                    <a:gd name="T26" fmla="*/ 10 w 92"/>
                    <a:gd name="T27" fmla="*/ 49 h 515"/>
                    <a:gd name="T28" fmla="*/ 7 w 92"/>
                    <a:gd name="T29" fmla="*/ 56 h 515"/>
                    <a:gd name="T30" fmla="*/ 3 w 92"/>
                    <a:gd name="T31" fmla="*/ 65 h 515"/>
                    <a:gd name="T32" fmla="*/ 1 w 92"/>
                    <a:gd name="T33" fmla="*/ 74 h 515"/>
                    <a:gd name="T34" fmla="*/ 0 w 92"/>
                    <a:gd name="T35" fmla="*/ 83 h 515"/>
                    <a:gd name="T36" fmla="*/ 0 w 92"/>
                    <a:gd name="T37" fmla="*/ 93 h 515"/>
                    <a:gd name="T38" fmla="*/ 0 w 92"/>
                    <a:gd name="T39" fmla="*/ 515 h 515"/>
                    <a:gd name="T40" fmla="*/ 92 w 92"/>
                    <a:gd name="T41" fmla="*/ 515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515">
                      <a:moveTo>
                        <a:pt x="92" y="515"/>
                      </a:moveTo>
                      <a:lnTo>
                        <a:pt x="92" y="0"/>
                      </a:lnTo>
                      <a:lnTo>
                        <a:pt x="92" y="0"/>
                      </a:lnTo>
                      <a:lnTo>
                        <a:pt x="83" y="0"/>
                      </a:lnTo>
                      <a:lnTo>
                        <a:pt x="73" y="1"/>
                      </a:lnTo>
                      <a:lnTo>
                        <a:pt x="65" y="4"/>
                      </a:lnTo>
                      <a:lnTo>
                        <a:pt x="55" y="7"/>
                      </a:lnTo>
                      <a:lnTo>
                        <a:pt x="48" y="11"/>
                      </a:lnTo>
                      <a:lnTo>
                        <a:pt x="40" y="16"/>
                      </a:lnTo>
                      <a:lnTo>
                        <a:pt x="33" y="21"/>
                      </a:lnTo>
                      <a:lnTo>
                        <a:pt x="27" y="27"/>
                      </a:lnTo>
                      <a:lnTo>
                        <a:pt x="21" y="33"/>
                      </a:lnTo>
                      <a:lnTo>
                        <a:pt x="15" y="41"/>
                      </a:lnTo>
                      <a:lnTo>
                        <a:pt x="10" y="49"/>
                      </a:lnTo>
                      <a:lnTo>
                        <a:pt x="7" y="56"/>
                      </a:lnTo>
                      <a:lnTo>
                        <a:pt x="3" y="65"/>
                      </a:lnTo>
                      <a:lnTo>
                        <a:pt x="1" y="74"/>
                      </a:lnTo>
                      <a:lnTo>
                        <a:pt x="0" y="83"/>
                      </a:lnTo>
                      <a:lnTo>
                        <a:pt x="0" y="93"/>
                      </a:lnTo>
                      <a:lnTo>
                        <a:pt x="0" y="515"/>
                      </a:lnTo>
                      <a:lnTo>
                        <a:pt x="92" y="5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7" name="Freeform 364"/>
                <p:cNvSpPr>
                  <a:spLocks/>
                </p:cNvSpPr>
                <p:nvPr userDrawn="1"/>
              </p:nvSpPr>
              <p:spPr bwMode="auto">
                <a:xfrm>
                  <a:off x="9797596" y="3899986"/>
                  <a:ext cx="73025" cy="407988"/>
                </a:xfrm>
                <a:custGeom>
                  <a:avLst/>
                  <a:gdLst>
                    <a:gd name="T0" fmla="*/ 92 w 92"/>
                    <a:gd name="T1" fmla="*/ 515 h 515"/>
                    <a:gd name="T2" fmla="*/ 92 w 92"/>
                    <a:gd name="T3" fmla="*/ 0 h 515"/>
                    <a:gd name="T4" fmla="*/ 92 w 92"/>
                    <a:gd name="T5" fmla="*/ 0 h 515"/>
                    <a:gd name="T6" fmla="*/ 83 w 92"/>
                    <a:gd name="T7" fmla="*/ 0 h 515"/>
                    <a:gd name="T8" fmla="*/ 73 w 92"/>
                    <a:gd name="T9" fmla="*/ 1 h 515"/>
                    <a:gd name="T10" fmla="*/ 65 w 92"/>
                    <a:gd name="T11" fmla="*/ 4 h 515"/>
                    <a:gd name="T12" fmla="*/ 55 w 92"/>
                    <a:gd name="T13" fmla="*/ 7 h 515"/>
                    <a:gd name="T14" fmla="*/ 48 w 92"/>
                    <a:gd name="T15" fmla="*/ 11 h 515"/>
                    <a:gd name="T16" fmla="*/ 40 w 92"/>
                    <a:gd name="T17" fmla="*/ 16 h 515"/>
                    <a:gd name="T18" fmla="*/ 33 w 92"/>
                    <a:gd name="T19" fmla="*/ 21 h 515"/>
                    <a:gd name="T20" fmla="*/ 27 w 92"/>
                    <a:gd name="T21" fmla="*/ 27 h 515"/>
                    <a:gd name="T22" fmla="*/ 21 w 92"/>
                    <a:gd name="T23" fmla="*/ 33 h 515"/>
                    <a:gd name="T24" fmla="*/ 15 w 92"/>
                    <a:gd name="T25" fmla="*/ 41 h 515"/>
                    <a:gd name="T26" fmla="*/ 10 w 92"/>
                    <a:gd name="T27" fmla="*/ 49 h 515"/>
                    <a:gd name="T28" fmla="*/ 7 w 92"/>
                    <a:gd name="T29" fmla="*/ 56 h 515"/>
                    <a:gd name="T30" fmla="*/ 3 w 92"/>
                    <a:gd name="T31" fmla="*/ 65 h 515"/>
                    <a:gd name="T32" fmla="*/ 1 w 92"/>
                    <a:gd name="T33" fmla="*/ 74 h 515"/>
                    <a:gd name="T34" fmla="*/ 0 w 92"/>
                    <a:gd name="T35" fmla="*/ 83 h 515"/>
                    <a:gd name="T36" fmla="*/ 0 w 92"/>
                    <a:gd name="T37" fmla="*/ 93 h 515"/>
                    <a:gd name="T38" fmla="*/ 0 w 92"/>
                    <a:gd name="T39" fmla="*/ 515 h 515"/>
                    <a:gd name="T40" fmla="*/ 92 w 92"/>
                    <a:gd name="T41" fmla="*/ 515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515">
                      <a:moveTo>
                        <a:pt x="92" y="515"/>
                      </a:moveTo>
                      <a:lnTo>
                        <a:pt x="92" y="0"/>
                      </a:lnTo>
                      <a:lnTo>
                        <a:pt x="92" y="0"/>
                      </a:lnTo>
                      <a:lnTo>
                        <a:pt x="83" y="0"/>
                      </a:lnTo>
                      <a:lnTo>
                        <a:pt x="73" y="1"/>
                      </a:lnTo>
                      <a:lnTo>
                        <a:pt x="65" y="4"/>
                      </a:lnTo>
                      <a:lnTo>
                        <a:pt x="55" y="7"/>
                      </a:lnTo>
                      <a:lnTo>
                        <a:pt x="48" y="11"/>
                      </a:lnTo>
                      <a:lnTo>
                        <a:pt x="40" y="16"/>
                      </a:lnTo>
                      <a:lnTo>
                        <a:pt x="33" y="21"/>
                      </a:lnTo>
                      <a:lnTo>
                        <a:pt x="27" y="27"/>
                      </a:lnTo>
                      <a:lnTo>
                        <a:pt x="21" y="33"/>
                      </a:lnTo>
                      <a:lnTo>
                        <a:pt x="15" y="41"/>
                      </a:lnTo>
                      <a:lnTo>
                        <a:pt x="10" y="49"/>
                      </a:lnTo>
                      <a:lnTo>
                        <a:pt x="7" y="56"/>
                      </a:lnTo>
                      <a:lnTo>
                        <a:pt x="3" y="65"/>
                      </a:lnTo>
                      <a:lnTo>
                        <a:pt x="1" y="74"/>
                      </a:lnTo>
                      <a:lnTo>
                        <a:pt x="0" y="83"/>
                      </a:lnTo>
                      <a:lnTo>
                        <a:pt x="0" y="93"/>
                      </a:lnTo>
                      <a:lnTo>
                        <a:pt x="0" y="515"/>
                      </a:lnTo>
                      <a:lnTo>
                        <a:pt x="92" y="5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8" name="Rectangle 365"/>
                <p:cNvSpPr>
                  <a:spLocks noChangeArrowheads="1"/>
                </p:cNvSpPr>
                <p:nvPr userDrawn="1"/>
              </p:nvSpPr>
              <p:spPr bwMode="auto">
                <a:xfrm>
                  <a:off x="9797596" y="4307974"/>
                  <a:ext cx="73025" cy="192088"/>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9" name="Rectangle 366"/>
                <p:cNvSpPr>
                  <a:spLocks noChangeArrowheads="1"/>
                </p:cNvSpPr>
                <p:nvPr userDrawn="1"/>
              </p:nvSpPr>
              <p:spPr bwMode="auto">
                <a:xfrm>
                  <a:off x="9797596" y="4307974"/>
                  <a:ext cx="73025" cy="1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0" name="Rectangle 367"/>
                <p:cNvSpPr>
                  <a:spLocks noChangeArrowheads="1"/>
                </p:cNvSpPr>
                <p:nvPr userDrawn="1"/>
              </p:nvSpPr>
              <p:spPr bwMode="auto">
                <a:xfrm>
                  <a:off x="9870621" y="4307974"/>
                  <a:ext cx="74613" cy="192088"/>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1" name="Rectangle 368"/>
                <p:cNvSpPr>
                  <a:spLocks noChangeArrowheads="1"/>
                </p:cNvSpPr>
                <p:nvPr userDrawn="1"/>
              </p:nvSpPr>
              <p:spPr bwMode="auto">
                <a:xfrm>
                  <a:off x="9870621" y="4307974"/>
                  <a:ext cx="74613" cy="1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2" name="Freeform 369"/>
                <p:cNvSpPr>
                  <a:spLocks/>
                </p:cNvSpPr>
                <p:nvPr userDrawn="1"/>
              </p:nvSpPr>
              <p:spPr bwMode="auto">
                <a:xfrm>
                  <a:off x="9870621" y="4434974"/>
                  <a:ext cx="100013" cy="100013"/>
                </a:xfrm>
                <a:custGeom>
                  <a:avLst/>
                  <a:gdLst>
                    <a:gd name="T0" fmla="*/ 126 w 126"/>
                    <a:gd name="T1" fmla="*/ 125 h 125"/>
                    <a:gd name="T2" fmla="*/ 126 w 126"/>
                    <a:gd name="T3" fmla="*/ 125 h 125"/>
                    <a:gd name="T4" fmla="*/ 125 w 126"/>
                    <a:gd name="T5" fmla="*/ 112 h 125"/>
                    <a:gd name="T6" fmla="*/ 123 w 126"/>
                    <a:gd name="T7" fmla="*/ 100 h 125"/>
                    <a:gd name="T8" fmla="*/ 120 w 126"/>
                    <a:gd name="T9" fmla="*/ 88 h 125"/>
                    <a:gd name="T10" fmla="*/ 116 w 126"/>
                    <a:gd name="T11" fmla="*/ 76 h 125"/>
                    <a:gd name="T12" fmla="*/ 111 w 126"/>
                    <a:gd name="T13" fmla="*/ 66 h 125"/>
                    <a:gd name="T14" fmla="*/ 105 w 126"/>
                    <a:gd name="T15" fmla="*/ 55 h 125"/>
                    <a:gd name="T16" fmla="*/ 97 w 126"/>
                    <a:gd name="T17" fmla="*/ 45 h 125"/>
                    <a:gd name="T18" fmla="*/ 89 w 126"/>
                    <a:gd name="T19" fmla="*/ 37 h 125"/>
                    <a:gd name="T20" fmla="*/ 80 w 126"/>
                    <a:gd name="T21" fmla="*/ 29 h 125"/>
                    <a:gd name="T22" fmla="*/ 70 w 126"/>
                    <a:gd name="T23" fmla="*/ 22 h 125"/>
                    <a:gd name="T24" fmla="*/ 60 w 126"/>
                    <a:gd name="T25" fmla="*/ 15 h 125"/>
                    <a:gd name="T26" fmla="*/ 49 w 126"/>
                    <a:gd name="T27" fmla="*/ 10 h 125"/>
                    <a:gd name="T28" fmla="*/ 37 w 126"/>
                    <a:gd name="T29" fmla="*/ 5 h 125"/>
                    <a:gd name="T30" fmla="*/ 25 w 126"/>
                    <a:gd name="T31" fmla="*/ 3 h 125"/>
                    <a:gd name="T32" fmla="*/ 13 w 126"/>
                    <a:gd name="T33" fmla="*/ 0 h 125"/>
                    <a:gd name="T34" fmla="*/ 0 w 126"/>
                    <a:gd name="T35" fmla="*/ 0 h 125"/>
                    <a:gd name="T36" fmla="*/ 0 w 126"/>
                    <a:gd name="T37" fmla="*/ 125 h 125"/>
                    <a:gd name="T38" fmla="*/ 126 w 126"/>
                    <a:gd name="T39"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 h="125">
                      <a:moveTo>
                        <a:pt x="126" y="125"/>
                      </a:moveTo>
                      <a:lnTo>
                        <a:pt x="126" y="125"/>
                      </a:lnTo>
                      <a:lnTo>
                        <a:pt x="125" y="112"/>
                      </a:lnTo>
                      <a:lnTo>
                        <a:pt x="123" y="100"/>
                      </a:lnTo>
                      <a:lnTo>
                        <a:pt x="120" y="88"/>
                      </a:lnTo>
                      <a:lnTo>
                        <a:pt x="116" y="76"/>
                      </a:lnTo>
                      <a:lnTo>
                        <a:pt x="111" y="66"/>
                      </a:lnTo>
                      <a:lnTo>
                        <a:pt x="105" y="55"/>
                      </a:lnTo>
                      <a:lnTo>
                        <a:pt x="97" y="45"/>
                      </a:lnTo>
                      <a:lnTo>
                        <a:pt x="89" y="37"/>
                      </a:lnTo>
                      <a:lnTo>
                        <a:pt x="80" y="29"/>
                      </a:lnTo>
                      <a:lnTo>
                        <a:pt x="70" y="22"/>
                      </a:lnTo>
                      <a:lnTo>
                        <a:pt x="60" y="15"/>
                      </a:lnTo>
                      <a:lnTo>
                        <a:pt x="49" y="10"/>
                      </a:lnTo>
                      <a:lnTo>
                        <a:pt x="37" y="5"/>
                      </a:lnTo>
                      <a:lnTo>
                        <a:pt x="25" y="3"/>
                      </a:lnTo>
                      <a:lnTo>
                        <a:pt x="13" y="0"/>
                      </a:lnTo>
                      <a:lnTo>
                        <a:pt x="0" y="0"/>
                      </a:lnTo>
                      <a:lnTo>
                        <a:pt x="0" y="125"/>
                      </a:lnTo>
                      <a:lnTo>
                        <a:pt x="126" y="125"/>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3" name="Freeform 370"/>
                <p:cNvSpPr>
                  <a:spLocks/>
                </p:cNvSpPr>
                <p:nvPr userDrawn="1"/>
              </p:nvSpPr>
              <p:spPr bwMode="auto">
                <a:xfrm>
                  <a:off x="9770608" y="4434974"/>
                  <a:ext cx="100013" cy="100013"/>
                </a:xfrm>
                <a:custGeom>
                  <a:avLst/>
                  <a:gdLst>
                    <a:gd name="T0" fmla="*/ 126 w 126"/>
                    <a:gd name="T1" fmla="*/ 0 h 125"/>
                    <a:gd name="T2" fmla="*/ 126 w 126"/>
                    <a:gd name="T3" fmla="*/ 0 h 125"/>
                    <a:gd name="T4" fmla="*/ 113 w 126"/>
                    <a:gd name="T5" fmla="*/ 0 h 125"/>
                    <a:gd name="T6" fmla="*/ 101 w 126"/>
                    <a:gd name="T7" fmla="*/ 3 h 125"/>
                    <a:gd name="T8" fmla="*/ 88 w 126"/>
                    <a:gd name="T9" fmla="*/ 5 h 125"/>
                    <a:gd name="T10" fmla="*/ 78 w 126"/>
                    <a:gd name="T11" fmla="*/ 10 h 125"/>
                    <a:gd name="T12" fmla="*/ 66 w 126"/>
                    <a:gd name="T13" fmla="*/ 15 h 125"/>
                    <a:gd name="T14" fmla="*/ 56 w 126"/>
                    <a:gd name="T15" fmla="*/ 22 h 125"/>
                    <a:gd name="T16" fmla="*/ 47 w 126"/>
                    <a:gd name="T17" fmla="*/ 29 h 125"/>
                    <a:gd name="T18" fmla="*/ 37 w 126"/>
                    <a:gd name="T19" fmla="*/ 37 h 125"/>
                    <a:gd name="T20" fmla="*/ 29 w 126"/>
                    <a:gd name="T21" fmla="*/ 45 h 125"/>
                    <a:gd name="T22" fmla="*/ 22 w 126"/>
                    <a:gd name="T23" fmla="*/ 55 h 125"/>
                    <a:gd name="T24" fmla="*/ 16 w 126"/>
                    <a:gd name="T25" fmla="*/ 66 h 125"/>
                    <a:gd name="T26" fmla="*/ 10 w 126"/>
                    <a:gd name="T27" fmla="*/ 76 h 125"/>
                    <a:gd name="T28" fmla="*/ 6 w 126"/>
                    <a:gd name="T29" fmla="*/ 88 h 125"/>
                    <a:gd name="T30" fmla="*/ 3 w 126"/>
                    <a:gd name="T31" fmla="*/ 100 h 125"/>
                    <a:gd name="T32" fmla="*/ 1 w 126"/>
                    <a:gd name="T33" fmla="*/ 112 h 125"/>
                    <a:gd name="T34" fmla="*/ 0 w 126"/>
                    <a:gd name="T35" fmla="*/ 125 h 125"/>
                    <a:gd name="T36" fmla="*/ 126 w 126"/>
                    <a:gd name="T37" fmla="*/ 125 h 125"/>
                    <a:gd name="T38" fmla="*/ 126 w 126"/>
                    <a:gd name="T39"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 h="125">
                      <a:moveTo>
                        <a:pt x="126" y="0"/>
                      </a:moveTo>
                      <a:lnTo>
                        <a:pt x="126" y="0"/>
                      </a:lnTo>
                      <a:lnTo>
                        <a:pt x="113" y="0"/>
                      </a:lnTo>
                      <a:lnTo>
                        <a:pt x="101" y="3"/>
                      </a:lnTo>
                      <a:lnTo>
                        <a:pt x="88" y="5"/>
                      </a:lnTo>
                      <a:lnTo>
                        <a:pt x="78" y="10"/>
                      </a:lnTo>
                      <a:lnTo>
                        <a:pt x="66" y="15"/>
                      </a:lnTo>
                      <a:lnTo>
                        <a:pt x="56" y="22"/>
                      </a:lnTo>
                      <a:lnTo>
                        <a:pt x="47" y="29"/>
                      </a:lnTo>
                      <a:lnTo>
                        <a:pt x="37" y="37"/>
                      </a:lnTo>
                      <a:lnTo>
                        <a:pt x="29" y="45"/>
                      </a:lnTo>
                      <a:lnTo>
                        <a:pt x="22" y="55"/>
                      </a:lnTo>
                      <a:lnTo>
                        <a:pt x="16" y="66"/>
                      </a:lnTo>
                      <a:lnTo>
                        <a:pt x="10" y="76"/>
                      </a:lnTo>
                      <a:lnTo>
                        <a:pt x="6" y="88"/>
                      </a:lnTo>
                      <a:lnTo>
                        <a:pt x="3" y="100"/>
                      </a:lnTo>
                      <a:lnTo>
                        <a:pt x="1" y="112"/>
                      </a:lnTo>
                      <a:lnTo>
                        <a:pt x="0" y="125"/>
                      </a:lnTo>
                      <a:lnTo>
                        <a:pt x="126" y="125"/>
                      </a:lnTo>
                      <a:lnTo>
                        <a:pt x="1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4" name="Freeform 371"/>
                <p:cNvSpPr>
                  <a:spLocks/>
                </p:cNvSpPr>
                <p:nvPr userDrawn="1"/>
              </p:nvSpPr>
              <p:spPr bwMode="auto">
                <a:xfrm>
                  <a:off x="9770608" y="4534986"/>
                  <a:ext cx="100013" cy="100013"/>
                </a:xfrm>
                <a:custGeom>
                  <a:avLst/>
                  <a:gdLst>
                    <a:gd name="T0" fmla="*/ 0 w 126"/>
                    <a:gd name="T1" fmla="*/ 0 h 126"/>
                    <a:gd name="T2" fmla="*/ 0 w 126"/>
                    <a:gd name="T3" fmla="*/ 0 h 126"/>
                    <a:gd name="T4" fmla="*/ 1 w 126"/>
                    <a:gd name="T5" fmla="*/ 13 h 126"/>
                    <a:gd name="T6" fmla="*/ 3 w 126"/>
                    <a:gd name="T7" fmla="*/ 26 h 126"/>
                    <a:gd name="T8" fmla="*/ 6 w 126"/>
                    <a:gd name="T9" fmla="*/ 38 h 126"/>
                    <a:gd name="T10" fmla="*/ 10 w 126"/>
                    <a:gd name="T11" fmla="*/ 49 h 126"/>
                    <a:gd name="T12" fmla="*/ 16 w 126"/>
                    <a:gd name="T13" fmla="*/ 61 h 126"/>
                    <a:gd name="T14" fmla="*/ 22 w 126"/>
                    <a:gd name="T15" fmla="*/ 70 h 126"/>
                    <a:gd name="T16" fmla="*/ 29 w 126"/>
                    <a:gd name="T17" fmla="*/ 81 h 126"/>
                    <a:gd name="T18" fmla="*/ 37 w 126"/>
                    <a:gd name="T19" fmla="*/ 89 h 126"/>
                    <a:gd name="T20" fmla="*/ 47 w 126"/>
                    <a:gd name="T21" fmla="*/ 98 h 126"/>
                    <a:gd name="T22" fmla="*/ 56 w 126"/>
                    <a:gd name="T23" fmla="*/ 105 h 126"/>
                    <a:gd name="T24" fmla="*/ 66 w 126"/>
                    <a:gd name="T25" fmla="*/ 111 h 126"/>
                    <a:gd name="T26" fmla="*/ 78 w 126"/>
                    <a:gd name="T27" fmla="*/ 117 h 126"/>
                    <a:gd name="T28" fmla="*/ 88 w 126"/>
                    <a:gd name="T29" fmla="*/ 120 h 126"/>
                    <a:gd name="T30" fmla="*/ 101 w 126"/>
                    <a:gd name="T31" fmla="*/ 124 h 126"/>
                    <a:gd name="T32" fmla="*/ 113 w 126"/>
                    <a:gd name="T33" fmla="*/ 125 h 126"/>
                    <a:gd name="T34" fmla="*/ 126 w 126"/>
                    <a:gd name="T35" fmla="*/ 126 h 126"/>
                    <a:gd name="T36" fmla="*/ 126 w 126"/>
                    <a:gd name="T37" fmla="*/ 0 h 126"/>
                    <a:gd name="T38" fmla="*/ 0 w 126"/>
                    <a:gd name="T3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 h="126">
                      <a:moveTo>
                        <a:pt x="0" y="0"/>
                      </a:moveTo>
                      <a:lnTo>
                        <a:pt x="0" y="0"/>
                      </a:lnTo>
                      <a:lnTo>
                        <a:pt x="1" y="13"/>
                      </a:lnTo>
                      <a:lnTo>
                        <a:pt x="3" y="26"/>
                      </a:lnTo>
                      <a:lnTo>
                        <a:pt x="6" y="38"/>
                      </a:lnTo>
                      <a:lnTo>
                        <a:pt x="10" y="49"/>
                      </a:lnTo>
                      <a:lnTo>
                        <a:pt x="16" y="61"/>
                      </a:lnTo>
                      <a:lnTo>
                        <a:pt x="22" y="70"/>
                      </a:lnTo>
                      <a:lnTo>
                        <a:pt x="29" y="81"/>
                      </a:lnTo>
                      <a:lnTo>
                        <a:pt x="37" y="89"/>
                      </a:lnTo>
                      <a:lnTo>
                        <a:pt x="47" y="98"/>
                      </a:lnTo>
                      <a:lnTo>
                        <a:pt x="56" y="105"/>
                      </a:lnTo>
                      <a:lnTo>
                        <a:pt x="66" y="111"/>
                      </a:lnTo>
                      <a:lnTo>
                        <a:pt x="78" y="117"/>
                      </a:lnTo>
                      <a:lnTo>
                        <a:pt x="88" y="120"/>
                      </a:lnTo>
                      <a:lnTo>
                        <a:pt x="101" y="124"/>
                      </a:lnTo>
                      <a:lnTo>
                        <a:pt x="113" y="125"/>
                      </a:lnTo>
                      <a:lnTo>
                        <a:pt x="126" y="126"/>
                      </a:lnTo>
                      <a:lnTo>
                        <a:pt x="126" y="0"/>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5" name="Freeform 372"/>
                <p:cNvSpPr>
                  <a:spLocks/>
                </p:cNvSpPr>
                <p:nvPr userDrawn="1"/>
              </p:nvSpPr>
              <p:spPr bwMode="auto">
                <a:xfrm>
                  <a:off x="9870621" y="4534986"/>
                  <a:ext cx="100013" cy="100013"/>
                </a:xfrm>
                <a:custGeom>
                  <a:avLst/>
                  <a:gdLst>
                    <a:gd name="T0" fmla="*/ 0 w 126"/>
                    <a:gd name="T1" fmla="*/ 0 h 126"/>
                    <a:gd name="T2" fmla="*/ 0 w 126"/>
                    <a:gd name="T3" fmla="*/ 126 h 126"/>
                    <a:gd name="T4" fmla="*/ 0 w 126"/>
                    <a:gd name="T5" fmla="*/ 126 h 126"/>
                    <a:gd name="T6" fmla="*/ 13 w 126"/>
                    <a:gd name="T7" fmla="*/ 125 h 126"/>
                    <a:gd name="T8" fmla="*/ 25 w 126"/>
                    <a:gd name="T9" fmla="*/ 124 h 126"/>
                    <a:gd name="T10" fmla="*/ 37 w 126"/>
                    <a:gd name="T11" fmla="*/ 120 h 126"/>
                    <a:gd name="T12" fmla="*/ 49 w 126"/>
                    <a:gd name="T13" fmla="*/ 117 h 126"/>
                    <a:gd name="T14" fmla="*/ 60 w 126"/>
                    <a:gd name="T15" fmla="*/ 111 h 126"/>
                    <a:gd name="T16" fmla="*/ 70 w 126"/>
                    <a:gd name="T17" fmla="*/ 105 h 126"/>
                    <a:gd name="T18" fmla="*/ 80 w 126"/>
                    <a:gd name="T19" fmla="*/ 98 h 126"/>
                    <a:gd name="T20" fmla="*/ 89 w 126"/>
                    <a:gd name="T21" fmla="*/ 89 h 126"/>
                    <a:gd name="T22" fmla="*/ 97 w 126"/>
                    <a:gd name="T23" fmla="*/ 81 h 126"/>
                    <a:gd name="T24" fmla="*/ 105 w 126"/>
                    <a:gd name="T25" fmla="*/ 70 h 126"/>
                    <a:gd name="T26" fmla="*/ 111 w 126"/>
                    <a:gd name="T27" fmla="*/ 61 h 126"/>
                    <a:gd name="T28" fmla="*/ 116 w 126"/>
                    <a:gd name="T29" fmla="*/ 49 h 126"/>
                    <a:gd name="T30" fmla="*/ 120 w 126"/>
                    <a:gd name="T31" fmla="*/ 38 h 126"/>
                    <a:gd name="T32" fmla="*/ 123 w 126"/>
                    <a:gd name="T33" fmla="*/ 26 h 126"/>
                    <a:gd name="T34" fmla="*/ 125 w 126"/>
                    <a:gd name="T35" fmla="*/ 13 h 126"/>
                    <a:gd name="T36" fmla="*/ 126 w 126"/>
                    <a:gd name="T37" fmla="*/ 0 h 126"/>
                    <a:gd name="T38" fmla="*/ 0 w 126"/>
                    <a:gd name="T3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 h="126">
                      <a:moveTo>
                        <a:pt x="0" y="0"/>
                      </a:moveTo>
                      <a:lnTo>
                        <a:pt x="0" y="126"/>
                      </a:lnTo>
                      <a:lnTo>
                        <a:pt x="0" y="126"/>
                      </a:lnTo>
                      <a:lnTo>
                        <a:pt x="13" y="125"/>
                      </a:lnTo>
                      <a:lnTo>
                        <a:pt x="25" y="124"/>
                      </a:lnTo>
                      <a:lnTo>
                        <a:pt x="37" y="120"/>
                      </a:lnTo>
                      <a:lnTo>
                        <a:pt x="49" y="117"/>
                      </a:lnTo>
                      <a:lnTo>
                        <a:pt x="60" y="111"/>
                      </a:lnTo>
                      <a:lnTo>
                        <a:pt x="70" y="105"/>
                      </a:lnTo>
                      <a:lnTo>
                        <a:pt x="80" y="98"/>
                      </a:lnTo>
                      <a:lnTo>
                        <a:pt x="89" y="89"/>
                      </a:lnTo>
                      <a:lnTo>
                        <a:pt x="97" y="81"/>
                      </a:lnTo>
                      <a:lnTo>
                        <a:pt x="105" y="70"/>
                      </a:lnTo>
                      <a:lnTo>
                        <a:pt x="111" y="61"/>
                      </a:lnTo>
                      <a:lnTo>
                        <a:pt x="116" y="49"/>
                      </a:lnTo>
                      <a:lnTo>
                        <a:pt x="120" y="38"/>
                      </a:lnTo>
                      <a:lnTo>
                        <a:pt x="123" y="26"/>
                      </a:lnTo>
                      <a:lnTo>
                        <a:pt x="125" y="13"/>
                      </a:lnTo>
                      <a:lnTo>
                        <a:pt x="126" y="0"/>
                      </a:lnTo>
                      <a:lnTo>
                        <a:pt x="0" y="0"/>
                      </a:lnTo>
                      <a:close/>
                    </a:path>
                  </a:pathLst>
                </a:custGeom>
                <a:solidFill>
                  <a:srgbClr val="A5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6" name="Rectangle 373"/>
                <p:cNvSpPr>
                  <a:spLocks noChangeArrowheads="1"/>
                </p:cNvSpPr>
                <p:nvPr userDrawn="1"/>
              </p:nvSpPr>
              <p:spPr bwMode="auto">
                <a:xfrm>
                  <a:off x="9945233" y="4039686"/>
                  <a:ext cx="125413" cy="100013"/>
                </a:xfrm>
                <a:prstGeom prst="rect">
                  <a:avLst/>
                </a:prstGeom>
                <a:solidFill>
                  <a:srgbClr val="3469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7" name="Rectangle 374"/>
                <p:cNvSpPr>
                  <a:spLocks noChangeArrowheads="1"/>
                </p:cNvSpPr>
                <p:nvPr userDrawn="1"/>
              </p:nvSpPr>
              <p:spPr bwMode="auto">
                <a:xfrm>
                  <a:off x="9945233" y="4139699"/>
                  <a:ext cx="125413" cy="10160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8" name="Freeform 375"/>
                <p:cNvSpPr>
                  <a:spLocks/>
                </p:cNvSpPr>
                <p:nvPr userDrawn="1"/>
              </p:nvSpPr>
              <p:spPr bwMode="auto">
                <a:xfrm>
                  <a:off x="9945233" y="4307974"/>
                  <a:ext cx="192088" cy="65088"/>
                </a:xfrm>
                <a:custGeom>
                  <a:avLst/>
                  <a:gdLst>
                    <a:gd name="T0" fmla="*/ 24 w 244"/>
                    <a:gd name="T1" fmla="*/ 82 h 82"/>
                    <a:gd name="T2" fmla="*/ 244 w 244"/>
                    <a:gd name="T3" fmla="*/ 82 h 82"/>
                    <a:gd name="T4" fmla="*/ 244 w 244"/>
                    <a:gd name="T5" fmla="*/ 0 h 82"/>
                    <a:gd name="T6" fmla="*/ 0 w 244"/>
                    <a:gd name="T7" fmla="*/ 0 h 82"/>
                    <a:gd name="T8" fmla="*/ 24 w 244"/>
                    <a:gd name="T9" fmla="*/ 82 h 82"/>
                  </a:gdLst>
                  <a:ahLst/>
                  <a:cxnLst>
                    <a:cxn ang="0">
                      <a:pos x="T0" y="T1"/>
                    </a:cxn>
                    <a:cxn ang="0">
                      <a:pos x="T2" y="T3"/>
                    </a:cxn>
                    <a:cxn ang="0">
                      <a:pos x="T4" y="T5"/>
                    </a:cxn>
                    <a:cxn ang="0">
                      <a:pos x="T6" y="T7"/>
                    </a:cxn>
                    <a:cxn ang="0">
                      <a:pos x="T8" y="T9"/>
                    </a:cxn>
                  </a:cxnLst>
                  <a:rect l="0" t="0" r="r" b="b"/>
                  <a:pathLst>
                    <a:path w="244" h="82">
                      <a:moveTo>
                        <a:pt x="24" y="82"/>
                      </a:moveTo>
                      <a:lnTo>
                        <a:pt x="244" y="82"/>
                      </a:lnTo>
                      <a:lnTo>
                        <a:pt x="244" y="0"/>
                      </a:lnTo>
                      <a:lnTo>
                        <a:pt x="0" y="0"/>
                      </a:lnTo>
                      <a:lnTo>
                        <a:pt x="24" y="82"/>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9" name="Freeform 376"/>
                <p:cNvSpPr>
                  <a:spLocks/>
                </p:cNvSpPr>
                <p:nvPr userDrawn="1"/>
              </p:nvSpPr>
              <p:spPr bwMode="auto">
                <a:xfrm>
                  <a:off x="9945233" y="4307974"/>
                  <a:ext cx="192088" cy="65088"/>
                </a:xfrm>
                <a:custGeom>
                  <a:avLst/>
                  <a:gdLst>
                    <a:gd name="T0" fmla="*/ 24 w 244"/>
                    <a:gd name="T1" fmla="*/ 82 h 82"/>
                    <a:gd name="T2" fmla="*/ 244 w 244"/>
                    <a:gd name="T3" fmla="*/ 82 h 82"/>
                    <a:gd name="T4" fmla="*/ 244 w 244"/>
                    <a:gd name="T5" fmla="*/ 0 h 82"/>
                    <a:gd name="T6" fmla="*/ 0 w 244"/>
                    <a:gd name="T7" fmla="*/ 0 h 82"/>
                    <a:gd name="T8" fmla="*/ 24 w 244"/>
                    <a:gd name="T9" fmla="*/ 82 h 82"/>
                  </a:gdLst>
                  <a:ahLst/>
                  <a:cxnLst>
                    <a:cxn ang="0">
                      <a:pos x="T0" y="T1"/>
                    </a:cxn>
                    <a:cxn ang="0">
                      <a:pos x="T2" y="T3"/>
                    </a:cxn>
                    <a:cxn ang="0">
                      <a:pos x="T4" y="T5"/>
                    </a:cxn>
                    <a:cxn ang="0">
                      <a:pos x="T6" y="T7"/>
                    </a:cxn>
                    <a:cxn ang="0">
                      <a:pos x="T8" y="T9"/>
                    </a:cxn>
                  </a:cxnLst>
                  <a:rect l="0" t="0" r="r" b="b"/>
                  <a:pathLst>
                    <a:path w="244" h="82">
                      <a:moveTo>
                        <a:pt x="24" y="82"/>
                      </a:moveTo>
                      <a:lnTo>
                        <a:pt x="244" y="82"/>
                      </a:lnTo>
                      <a:lnTo>
                        <a:pt x="244" y="0"/>
                      </a:lnTo>
                      <a:lnTo>
                        <a:pt x="0" y="0"/>
                      </a:lnTo>
                      <a:lnTo>
                        <a:pt x="24" y="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0" name="Freeform 377"/>
                <p:cNvSpPr>
                  <a:spLocks/>
                </p:cNvSpPr>
                <p:nvPr userDrawn="1"/>
              </p:nvSpPr>
              <p:spPr bwMode="auto">
                <a:xfrm>
                  <a:off x="9927771" y="4652461"/>
                  <a:ext cx="190500" cy="58738"/>
                </a:xfrm>
                <a:custGeom>
                  <a:avLst/>
                  <a:gdLst>
                    <a:gd name="T0" fmla="*/ 240 w 240"/>
                    <a:gd name="T1" fmla="*/ 0 h 74"/>
                    <a:gd name="T2" fmla="*/ 8 w 240"/>
                    <a:gd name="T3" fmla="*/ 0 h 74"/>
                    <a:gd name="T4" fmla="*/ 0 w 240"/>
                    <a:gd name="T5" fmla="*/ 74 h 74"/>
                    <a:gd name="T6" fmla="*/ 227 w 240"/>
                    <a:gd name="T7" fmla="*/ 74 h 74"/>
                    <a:gd name="T8" fmla="*/ 240 w 240"/>
                    <a:gd name="T9" fmla="*/ 0 h 74"/>
                  </a:gdLst>
                  <a:ahLst/>
                  <a:cxnLst>
                    <a:cxn ang="0">
                      <a:pos x="T0" y="T1"/>
                    </a:cxn>
                    <a:cxn ang="0">
                      <a:pos x="T2" y="T3"/>
                    </a:cxn>
                    <a:cxn ang="0">
                      <a:pos x="T4" y="T5"/>
                    </a:cxn>
                    <a:cxn ang="0">
                      <a:pos x="T6" y="T7"/>
                    </a:cxn>
                    <a:cxn ang="0">
                      <a:pos x="T8" y="T9"/>
                    </a:cxn>
                  </a:cxnLst>
                  <a:rect l="0" t="0" r="r" b="b"/>
                  <a:pathLst>
                    <a:path w="240" h="74">
                      <a:moveTo>
                        <a:pt x="240" y="0"/>
                      </a:moveTo>
                      <a:lnTo>
                        <a:pt x="8" y="0"/>
                      </a:lnTo>
                      <a:lnTo>
                        <a:pt x="0" y="74"/>
                      </a:lnTo>
                      <a:lnTo>
                        <a:pt x="227" y="74"/>
                      </a:lnTo>
                      <a:lnTo>
                        <a:pt x="240"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1" name="Freeform 378"/>
                <p:cNvSpPr>
                  <a:spLocks/>
                </p:cNvSpPr>
                <p:nvPr userDrawn="1"/>
              </p:nvSpPr>
              <p:spPr bwMode="auto">
                <a:xfrm>
                  <a:off x="9927771" y="4652461"/>
                  <a:ext cx="190500" cy="58738"/>
                </a:xfrm>
                <a:custGeom>
                  <a:avLst/>
                  <a:gdLst>
                    <a:gd name="T0" fmla="*/ 240 w 240"/>
                    <a:gd name="T1" fmla="*/ 0 h 74"/>
                    <a:gd name="T2" fmla="*/ 8 w 240"/>
                    <a:gd name="T3" fmla="*/ 0 h 74"/>
                    <a:gd name="T4" fmla="*/ 0 w 240"/>
                    <a:gd name="T5" fmla="*/ 74 h 74"/>
                    <a:gd name="T6" fmla="*/ 227 w 240"/>
                    <a:gd name="T7" fmla="*/ 74 h 74"/>
                    <a:gd name="T8" fmla="*/ 240 w 240"/>
                    <a:gd name="T9" fmla="*/ 0 h 74"/>
                  </a:gdLst>
                  <a:ahLst/>
                  <a:cxnLst>
                    <a:cxn ang="0">
                      <a:pos x="T0" y="T1"/>
                    </a:cxn>
                    <a:cxn ang="0">
                      <a:pos x="T2" y="T3"/>
                    </a:cxn>
                    <a:cxn ang="0">
                      <a:pos x="T4" y="T5"/>
                    </a:cxn>
                    <a:cxn ang="0">
                      <a:pos x="T6" y="T7"/>
                    </a:cxn>
                    <a:cxn ang="0">
                      <a:pos x="T8" y="T9"/>
                    </a:cxn>
                  </a:cxnLst>
                  <a:rect l="0" t="0" r="r" b="b"/>
                  <a:pathLst>
                    <a:path w="240" h="74">
                      <a:moveTo>
                        <a:pt x="240" y="0"/>
                      </a:moveTo>
                      <a:lnTo>
                        <a:pt x="8" y="0"/>
                      </a:lnTo>
                      <a:lnTo>
                        <a:pt x="0" y="74"/>
                      </a:lnTo>
                      <a:lnTo>
                        <a:pt x="227" y="74"/>
                      </a:lnTo>
                      <a:lnTo>
                        <a:pt x="2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2" name="Rectangle 379"/>
                <p:cNvSpPr>
                  <a:spLocks noChangeArrowheads="1"/>
                </p:cNvSpPr>
                <p:nvPr userDrawn="1"/>
              </p:nvSpPr>
              <p:spPr bwMode="auto">
                <a:xfrm>
                  <a:off x="9927771" y="4711199"/>
                  <a:ext cx="179388" cy="261938"/>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3" name="Freeform 380"/>
                <p:cNvSpPr>
                  <a:spLocks/>
                </p:cNvSpPr>
                <p:nvPr userDrawn="1"/>
              </p:nvSpPr>
              <p:spPr bwMode="auto">
                <a:xfrm>
                  <a:off x="9962696" y="4874711"/>
                  <a:ext cx="160338" cy="158750"/>
                </a:xfrm>
                <a:custGeom>
                  <a:avLst/>
                  <a:gdLst>
                    <a:gd name="T0" fmla="*/ 201 w 201"/>
                    <a:gd name="T1" fmla="*/ 201 h 201"/>
                    <a:gd name="T2" fmla="*/ 201 w 201"/>
                    <a:gd name="T3" fmla="*/ 201 h 201"/>
                    <a:gd name="T4" fmla="*/ 200 w 201"/>
                    <a:gd name="T5" fmla="*/ 181 h 201"/>
                    <a:gd name="T6" fmla="*/ 196 w 201"/>
                    <a:gd name="T7" fmla="*/ 161 h 201"/>
                    <a:gd name="T8" fmla="*/ 191 w 201"/>
                    <a:gd name="T9" fmla="*/ 142 h 201"/>
                    <a:gd name="T10" fmla="*/ 184 w 201"/>
                    <a:gd name="T11" fmla="*/ 123 h 201"/>
                    <a:gd name="T12" fmla="*/ 176 w 201"/>
                    <a:gd name="T13" fmla="*/ 105 h 201"/>
                    <a:gd name="T14" fmla="*/ 166 w 201"/>
                    <a:gd name="T15" fmla="*/ 88 h 201"/>
                    <a:gd name="T16" fmla="*/ 154 w 201"/>
                    <a:gd name="T17" fmla="*/ 73 h 201"/>
                    <a:gd name="T18" fmla="*/ 141 w 201"/>
                    <a:gd name="T19" fmla="*/ 58 h 201"/>
                    <a:gd name="T20" fmla="*/ 127 w 201"/>
                    <a:gd name="T21" fmla="*/ 46 h 201"/>
                    <a:gd name="T22" fmla="*/ 112 w 201"/>
                    <a:gd name="T23" fmla="*/ 35 h 201"/>
                    <a:gd name="T24" fmla="*/ 95 w 201"/>
                    <a:gd name="T25" fmla="*/ 24 h 201"/>
                    <a:gd name="T26" fmla="*/ 78 w 201"/>
                    <a:gd name="T27" fmla="*/ 16 h 201"/>
                    <a:gd name="T28" fmla="*/ 59 w 201"/>
                    <a:gd name="T29" fmla="*/ 10 h 201"/>
                    <a:gd name="T30" fmla="*/ 40 w 201"/>
                    <a:gd name="T31" fmla="*/ 4 h 201"/>
                    <a:gd name="T32" fmla="*/ 20 w 201"/>
                    <a:gd name="T33" fmla="*/ 1 h 201"/>
                    <a:gd name="T34" fmla="*/ 0 w 201"/>
                    <a:gd name="T35" fmla="*/ 0 h 201"/>
                    <a:gd name="T36" fmla="*/ 0 w 201"/>
                    <a:gd name="T37" fmla="*/ 201 h 201"/>
                    <a:gd name="T38" fmla="*/ 201 w 201"/>
                    <a:gd name="T39"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1" h="201">
                      <a:moveTo>
                        <a:pt x="201" y="201"/>
                      </a:moveTo>
                      <a:lnTo>
                        <a:pt x="201" y="201"/>
                      </a:lnTo>
                      <a:lnTo>
                        <a:pt x="200" y="181"/>
                      </a:lnTo>
                      <a:lnTo>
                        <a:pt x="196" y="161"/>
                      </a:lnTo>
                      <a:lnTo>
                        <a:pt x="191" y="142"/>
                      </a:lnTo>
                      <a:lnTo>
                        <a:pt x="184" y="123"/>
                      </a:lnTo>
                      <a:lnTo>
                        <a:pt x="176" y="105"/>
                      </a:lnTo>
                      <a:lnTo>
                        <a:pt x="166" y="88"/>
                      </a:lnTo>
                      <a:lnTo>
                        <a:pt x="154" y="73"/>
                      </a:lnTo>
                      <a:lnTo>
                        <a:pt x="141" y="58"/>
                      </a:lnTo>
                      <a:lnTo>
                        <a:pt x="127" y="46"/>
                      </a:lnTo>
                      <a:lnTo>
                        <a:pt x="112" y="35"/>
                      </a:lnTo>
                      <a:lnTo>
                        <a:pt x="95" y="24"/>
                      </a:lnTo>
                      <a:lnTo>
                        <a:pt x="78" y="16"/>
                      </a:lnTo>
                      <a:lnTo>
                        <a:pt x="59" y="10"/>
                      </a:lnTo>
                      <a:lnTo>
                        <a:pt x="40" y="4"/>
                      </a:lnTo>
                      <a:lnTo>
                        <a:pt x="20" y="1"/>
                      </a:lnTo>
                      <a:lnTo>
                        <a:pt x="0" y="0"/>
                      </a:lnTo>
                      <a:lnTo>
                        <a:pt x="0" y="201"/>
                      </a:lnTo>
                      <a:lnTo>
                        <a:pt x="201" y="201"/>
                      </a:lnTo>
                      <a:close/>
                    </a:path>
                  </a:pathLst>
                </a:custGeom>
                <a:solidFill>
                  <a:srgbClr val="A5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4" name="Freeform 381"/>
                <p:cNvSpPr>
                  <a:spLocks/>
                </p:cNvSpPr>
                <p:nvPr userDrawn="1"/>
              </p:nvSpPr>
              <p:spPr bwMode="auto">
                <a:xfrm>
                  <a:off x="9803946" y="4874711"/>
                  <a:ext cx="158750" cy="158750"/>
                </a:xfrm>
                <a:custGeom>
                  <a:avLst/>
                  <a:gdLst>
                    <a:gd name="T0" fmla="*/ 201 w 201"/>
                    <a:gd name="T1" fmla="*/ 0 h 201"/>
                    <a:gd name="T2" fmla="*/ 201 w 201"/>
                    <a:gd name="T3" fmla="*/ 0 h 201"/>
                    <a:gd name="T4" fmla="*/ 179 w 201"/>
                    <a:gd name="T5" fmla="*/ 1 h 201"/>
                    <a:gd name="T6" fmla="*/ 160 w 201"/>
                    <a:gd name="T7" fmla="*/ 4 h 201"/>
                    <a:gd name="T8" fmla="*/ 141 w 201"/>
                    <a:gd name="T9" fmla="*/ 10 h 201"/>
                    <a:gd name="T10" fmla="*/ 122 w 201"/>
                    <a:gd name="T11" fmla="*/ 16 h 201"/>
                    <a:gd name="T12" fmla="*/ 105 w 201"/>
                    <a:gd name="T13" fmla="*/ 24 h 201"/>
                    <a:gd name="T14" fmla="*/ 88 w 201"/>
                    <a:gd name="T15" fmla="*/ 35 h 201"/>
                    <a:gd name="T16" fmla="*/ 72 w 201"/>
                    <a:gd name="T17" fmla="*/ 46 h 201"/>
                    <a:gd name="T18" fmla="*/ 58 w 201"/>
                    <a:gd name="T19" fmla="*/ 58 h 201"/>
                    <a:gd name="T20" fmla="*/ 45 w 201"/>
                    <a:gd name="T21" fmla="*/ 73 h 201"/>
                    <a:gd name="T22" fmla="*/ 34 w 201"/>
                    <a:gd name="T23" fmla="*/ 88 h 201"/>
                    <a:gd name="T24" fmla="*/ 24 w 201"/>
                    <a:gd name="T25" fmla="*/ 105 h 201"/>
                    <a:gd name="T26" fmla="*/ 15 w 201"/>
                    <a:gd name="T27" fmla="*/ 123 h 201"/>
                    <a:gd name="T28" fmla="*/ 8 w 201"/>
                    <a:gd name="T29" fmla="*/ 142 h 201"/>
                    <a:gd name="T30" fmla="*/ 3 w 201"/>
                    <a:gd name="T31" fmla="*/ 161 h 201"/>
                    <a:gd name="T32" fmla="*/ 1 w 201"/>
                    <a:gd name="T33" fmla="*/ 181 h 201"/>
                    <a:gd name="T34" fmla="*/ 0 w 201"/>
                    <a:gd name="T35" fmla="*/ 201 h 201"/>
                    <a:gd name="T36" fmla="*/ 201 w 201"/>
                    <a:gd name="T37" fmla="*/ 201 h 201"/>
                    <a:gd name="T38" fmla="*/ 201 w 201"/>
                    <a:gd name="T39"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1" h="201">
                      <a:moveTo>
                        <a:pt x="201" y="0"/>
                      </a:moveTo>
                      <a:lnTo>
                        <a:pt x="201" y="0"/>
                      </a:lnTo>
                      <a:lnTo>
                        <a:pt x="179" y="1"/>
                      </a:lnTo>
                      <a:lnTo>
                        <a:pt x="160" y="4"/>
                      </a:lnTo>
                      <a:lnTo>
                        <a:pt x="141" y="10"/>
                      </a:lnTo>
                      <a:lnTo>
                        <a:pt x="122" y="16"/>
                      </a:lnTo>
                      <a:lnTo>
                        <a:pt x="105" y="24"/>
                      </a:lnTo>
                      <a:lnTo>
                        <a:pt x="88" y="35"/>
                      </a:lnTo>
                      <a:lnTo>
                        <a:pt x="72" y="46"/>
                      </a:lnTo>
                      <a:lnTo>
                        <a:pt x="58" y="58"/>
                      </a:lnTo>
                      <a:lnTo>
                        <a:pt x="45" y="73"/>
                      </a:lnTo>
                      <a:lnTo>
                        <a:pt x="34" y="88"/>
                      </a:lnTo>
                      <a:lnTo>
                        <a:pt x="24" y="105"/>
                      </a:lnTo>
                      <a:lnTo>
                        <a:pt x="15" y="123"/>
                      </a:lnTo>
                      <a:lnTo>
                        <a:pt x="8" y="142"/>
                      </a:lnTo>
                      <a:lnTo>
                        <a:pt x="3" y="161"/>
                      </a:lnTo>
                      <a:lnTo>
                        <a:pt x="1" y="181"/>
                      </a:lnTo>
                      <a:lnTo>
                        <a:pt x="0" y="201"/>
                      </a:lnTo>
                      <a:lnTo>
                        <a:pt x="201" y="201"/>
                      </a:lnTo>
                      <a:lnTo>
                        <a:pt x="20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5" name="Freeform 382"/>
                <p:cNvSpPr>
                  <a:spLocks/>
                </p:cNvSpPr>
                <p:nvPr userDrawn="1"/>
              </p:nvSpPr>
              <p:spPr bwMode="auto">
                <a:xfrm>
                  <a:off x="9702346" y="3499936"/>
                  <a:ext cx="173038" cy="133350"/>
                </a:xfrm>
                <a:custGeom>
                  <a:avLst/>
                  <a:gdLst>
                    <a:gd name="T0" fmla="*/ 218 w 218"/>
                    <a:gd name="T1" fmla="*/ 146 h 168"/>
                    <a:gd name="T2" fmla="*/ 218 w 218"/>
                    <a:gd name="T3" fmla="*/ 146 h 168"/>
                    <a:gd name="T4" fmla="*/ 218 w 218"/>
                    <a:gd name="T5" fmla="*/ 150 h 168"/>
                    <a:gd name="T6" fmla="*/ 217 w 218"/>
                    <a:gd name="T7" fmla="*/ 155 h 168"/>
                    <a:gd name="T8" fmla="*/ 215 w 218"/>
                    <a:gd name="T9" fmla="*/ 158 h 168"/>
                    <a:gd name="T10" fmla="*/ 212 w 218"/>
                    <a:gd name="T11" fmla="*/ 162 h 168"/>
                    <a:gd name="T12" fmla="*/ 209 w 218"/>
                    <a:gd name="T13" fmla="*/ 164 h 168"/>
                    <a:gd name="T14" fmla="*/ 205 w 218"/>
                    <a:gd name="T15" fmla="*/ 167 h 168"/>
                    <a:gd name="T16" fmla="*/ 201 w 218"/>
                    <a:gd name="T17" fmla="*/ 168 h 168"/>
                    <a:gd name="T18" fmla="*/ 197 w 218"/>
                    <a:gd name="T19" fmla="*/ 168 h 168"/>
                    <a:gd name="T20" fmla="*/ 22 w 218"/>
                    <a:gd name="T21" fmla="*/ 168 h 168"/>
                    <a:gd name="T22" fmla="*/ 22 w 218"/>
                    <a:gd name="T23" fmla="*/ 168 h 168"/>
                    <a:gd name="T24" fmla="*/ 17 w 218"/>
                    <a:gd name="T25" fmla="*/ 168 h 168"/>
                    <a:gd name="T26" fmla="*/ 14 w 218"/>
                    <a:gd name="T27" fmla="*/ 167 h 168"/>
                    <a:gd name="T28" fmla="*/ 10 w 218"/>
                    <a:gd name="T29" fmla="*/ 164 h 168"/>
                    <a:gd name="T30" fmla="*/ 6 w 218"/>
                    <a:gd name="T31" fmla="*/ 162 h 168"/>
                    <a:gd name="T32" fmla="*/ 4 w 218"/>
                    <a:gd name="T33" fmla="*/ 158 h 168"/>
                    <a:gd name="T34" fmla="*/ 2 w 218"/>
                    <a:gd name="T35" fmla="*/ 155 h 168"/>
                    <a:gd name="T36" fmla="*/ 0 w 218"/>
                    <a:gd name="T37" fmla="*/ 150 h 168"/>
                    <a:gd name="T38" fmla="*/ 0 w 218"/>
                    <a:gd name="T39" fmla="*/ 146 h 168"/>
                    <a:gd name="T40" fmla="*/ 0 w 218"/>
                    <a:gd name="T41" fmla="*/ 22 h 168"/>
                    <a:gd name="T42" fmla="*/ 0 w 218"/>
                    <a:gd name="T43" fmla="*/ 22 h 168"/>
                    <a:gd name="T44" fmla="*/ 0 w 218"/>
                    <a:gd name="T45" fmla="*/ 17 h 168"/>
                    <a:gd name="T46" fmla="*/ 2 w 218"/>
                    <a:gd name="T47" fmla="*/ 13 h 168"/>
                    <a:gd name="T48" fmla="*/ 4 w 218"/>
                    <a:gd name="T49" fmla="*/ 10 h 168"/>
                    <a:gd name="T50" fmla="*/ 6 w 218"/>
                    <a:gd name="T51" fmla="*/ 6 h 168"/>
                    <a:gd name="T52" fmla="*/ 10 w 218"/>
                    <a:gd name="T53" fmla="*/ 4 h 168"/>
                    <a:gd name="T54" fmla="*/ 14 w 218"/>
                    <a:gd name="T55" fmla="*/ 1 h 168"/>
                    <a:gd name="T56" fmla="*/ 17 w 218"/>
                    <a:gd name="T57" fmla="*/ 0 h 168"/>
                    <a:gd name="T58" fmla="*/ 22 w 218"/>
                    <a:gd name="T59" fmla="*/ 0 h 168"/>
                    <a:gd name="T60" fmla="*/ 197 w 218"/>
                    <a:gd name="T61" fmla="*/ 0 h 168"/>
                    <a:gd name="T62" fmla="*/ 197 w 218"/>
                    <a:gd name="T63" fmla="*/ 0 h 168"/>
                    <a:gd name="T64" fmla="*/ 201 w 218"/>
                    <a:gd name="T65" fmla="*/ 0 h 168"/>
                    <a:gd name="T66" fmla="*/ 205 w 218"/>
                    <a:gd name="T67" fmla="*/ 1 h 168"/>
                    <a:gd name="T68" fmla="*/ 209 w 218"/>
                    <a:gd name="T69" fmla="*/ 4 h 168"/>
                    <a:gd name="T70" fmla="*/ 212 w 218"/>
                    <a:gd name="T71" fmla="*/ 6 h 168"/>
                    <a:gd name="T72" fmla="*/ 215 w 218"/>
                    <a:gd name="T73" fmla="*/ 10 h 168"/>
                    <a:gd name="T74" fmla="*/ 217 w 218"/>
                    <a:gd name="T75" fmla="*/ 13 h 168"/>
                    <a:gd name="T76" fmla="*/ 218 w 218"/>
                    <a:gd name="T77" fmla="*/ 17 h 168"/>
                    <a:gd name="T78" fmla="*/ 218 w 218"/>
                    <a:gd name="T79" fmla="*/ 22 h 168"/>
                    <a:gd name="T80" fmla="*/ 218 w 218"/>
                    <a:gd name="T81" fmla="*/ 14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168">
                      <a:moveTo>
                        <a:pt x="218" y="146"/>
                      </a:moveTo>
                      <a:lnTo>
                        <a:pt x="218" y="146"/>
                      </a:lnTo>
                      <a:lnTo>
                        <a:pt x="218" y="150"/>
                      </a:lnTo>
                      <a:lnTo>
                        <a:pt x="217" y="155"/>
                      </a:lnTo>
                      <a:lnTo>
                        <a:pt x="215" y="158"/>
                      </a:lnTo>
                      <a:lnTo>
                        <a:pt x="212" y="162"/>
                      </a:lnTo>
                      <a:lnTo>
                        <a:pt x="209" y="164"/>
                      </a:lnTo>
                      <a:lnTo>
                        <a:pt x="205" y="167"/>
                      </a:lnTo>
                      <a:lnTo>
                        <a:pt x="201" y="168"/>
                      </a:lnTo>
                      <a:lnTo>
                        <a:pt x="197" y="168"/>
                      </a:lnTo>
                      <a:lnTo>
                        <a:pt x="22" y="168"/>
                      </a:lnTo>
                      <a:lnTo>
                        <a:pt x="22" y="168"/>
                      </a:lnTo>
                      <a:lnTo>
                        <a:pt x="17" y="168"/>
                      </a:lnTo>
                      <a:lnTo>
                        <a:pt x="14" y="167"/>
                      </a:lnTo>
                      <a:lnTo>
                        <a:pt x="10" y="164"/>
                      </a:lnTo>
                      <a:lnTo>
                        <a:pt x="6" y="162"/>
                      </a:lnTo>
                      <a:lnTo>
                        <a:pt x="4" y="158"/>
                      </a:lnTo>
                      <a:lnTo>
                        <a:pt x="2" y="155"/>
                      </a:lnTo>
                      <a:lnTo>
                        <a:pt x="0" y="150"/>
                      </a:lnTo>
                      <a:lnTo>
                        <a:pt x="0" y="146"/>
                      </a:lnTo>
                      <a:lnTo>
                        <a:pt x="0" y="22"/>
                      </a:lnTo>
                      <a:lnTo>
                        <a:pt x="0" y="22"/>
                      </a:lnTo>
                      <a:lnTo>
                        <a:pt x="0" y="17"/>
                      </a:lnTo>
                      <a:lnTo>
                        <a:pt x="2" y="13"/>
                      </a:lnTo>
                      <a:lnTo>
                        <a:pt x="4" y="10"/>
                      </a:lnTo>
                      <a:lnTo>
                        <a:pt x="6" y="6"/>
                      </a:lnTo>
                      <a:lnTo>
                        <a:pt x="10" y="4"/>
                      </a:lnTo>
                      <a:lnTo>
                        <a:pt x="14" y="1"/>
                      </a:lnTo>
                      <a:lnTo>
                        <a:pt x="17" y="0"/>
                      </a:lnTo>
                      <a:lnTo>
                        <a:pt x="22" y="0"/>
                      </a:lnTo>
                      <a:lnTo>
                        <a:pt x="197" y="0"/>
                      </a:lnTo>
                      <a:lnTo>
                        <a:pt x="197" y="0"/>
                      </a:lnTo>
                      <a:lnTo>
                        <a:pt x="201" y="0"/>
                      </a:lnTo>
                      <a:lnTo>
                        <a:pt x="205" y="1"/>
                      </a:lnTo>
                      <a:lnTo>
                        <a:pt x="209" y="4"/>
                      </a:lnTo>
                      <a:lnTo>
                        <a:pt x="212" y="6"/>
                      </a:lnTo>
                      <a:lnTo>
                        <a:pt x="215" y="10"/>
                      </a:lnTo>
                      <a:lnTo>
                        <a:pt x="217" y="13"/>
                      </a:lnTo>
                      <a:lnTo>
                        <a:pt x="218" y="17"/>
                      </a:lnTo>
                      <a:lnTo>
                        <a:pt x="218" y="22"/>
                      </a:lnTo>
                      <a:lnTo>
                        <a:pt x="218" y="1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6" name="Freeform 383"/>
                <p:cNvSpPr>
                  <a:spLocks/>
                </p:cNvSpPr>
                <p:nvPr userDrawn="1"/>
              </p:nvSpPr>
              <p:spPr bwMode="auto">
                <a:xfrm>
                  <a:off x="9702346" y="3499936"/>
                  <a:ext cx="173038" cy="133350"/>
                </a:xfrm>
                <a:custGeom>
                  <a:avLst/>
                  <a:gdLst>
                    <a:gd name="T0" fmla="*/ 218 w 218"/>
                    <a:gd name="T1" fmla="*/ 146 h 168"/>
                    <a:gd name="T2" fmla="*/ 218 w 218"/>
                    <a:gd name="T3" fmla="*/ 146 h 168"/>
                    <a:gd name="T4" fmla="*/ 218 w 218"/>
                    <a:gd name="T5" fmla="*/ 150 h 168"/>
                    <a:gd name="T6" fmla="*/ 217 w 218"/>
                    <a:gd name="T7" fmla="*/ 155 h 168"/>
                    <a:gd name="T8" fmla="*/ 215 w 218"/>
                    <a:gd name="T9" fmla="*/ 158 h 168"/>
                    <a:gd name="T10" fmla="*/ 212 w 218"/>
                    <a:gd name="T11" fmla="*/ 162 h 168"/>
                    <a:gd name="T12" fmla="*/ 209 w 218"/>
                    <a:gd name="T13" fmla="*/ 164 h 168"/>
                    <a:gd name="T14" fmla="*/ 205 w 218"/>
                    <a:gd name="T15" fmla="*/ 167 h 168"/>
                    <a:gd name="T16" fmla="*/ 201 w 218"/>
                    <a:gd name="T17" fmla="*/ 168 h 168"/>
                    <a:gd name="T18" fmla="*/ 197 w 218"/>
                    <a:gd name="T19" fmla="*/ 168 h 168"/>
                    <a:gd name="T20" fmla="*/ 22 w 218"/>
                    <a:gd name="T21" fmla="*/ 168 h 168"/>
                    <a:gd name="T22" fmla="*/ 22 w 218"/>
                    <a:gd name="T23" fmla="*/ 168 h 168"/>
                    <a:gd name="T24" fmla="*/ 17 w 218"/>
                    <a:gd name="T25" fmla="*/ 168 h 168"/>
                    <a:gd name="T26" fmla="*/ 14 w 218"/>
                    <a:gd name="T27" fmla="*/ 167 h 168"/>
                    <a:gd name="T28" fmla="*/ 10 w 218"/>
                    <a:gd name="T29" fmla="*/ 164 h 168"/>
                    <a:gd name="T30" fmla="*/ 6 w 218"/>
                    <a:gd name="T31" fmla="*/ 162 h 168"/>
                    <a:gd name="T32" fmla="*/ 4 w 218"/>
                    <a:gd name="T33" fmla="*/ 158 h 168"/>
                    <a:gd name="T34" fmla="*/ 2 w 218"/>
                    <a:gd name="T35" fmla="*/ 155 h 168"/>
                    <a:gd name="T36" fmla="*/ 0 w 218"/>
                    <a:gd name="T37" fmla="*/ 150 h 168"/>
                    <a:gd name="T38" fmla="*/ 0 w 218"/>
                    <a:gd name="T39" fmla="*/ 146 h 168"/>
                    <a:gd name="T40" fmla="*/ 0 w 218"/>
                    <a:gd name="T41" fmla="*/ 22 h 168"/>
                    <a:gd name="T42" fmla="*/ 0 w 218"/>
                    <a:gd name="T43" fmla="*/ 22 h 168"/>
                    <a:gd name="T44" fmla="*/ 0 w 218"/>
                    <a:gd name="T45" fmla="*/ 17 h 168"/>
                    <a:gd name="T46" fmla="*/ 2 w 218"/>
                    <a:gd name="T47" fmla="*/ 13 h 168"/>
                    <a:gd name="T48" fmla="*/ 4 w 218"/>
                    <a:gd name="T49" fmla="*/ 10 h 168"/>
                    <a:gd name="T50" fmla="*/ 6 w 218"/>
                    <a:gd name="T51" fmla="*/ 6 h 168"/>
                    <a:gd name="T52" fmla="*/ 10 w 218"/>
                    <a:gd name="T53" fmla="*/ 4 h 168"/>
                    <a:gd name="T54" fmla="*/ 14 w 218"/>
                    <a:gd name="T55" fmla="*/ 1 h 168"/>
                    <a:gd name="T56" fmla="*/ 17 w 218"/>
                    <a:gd name="T57" fmla="*/ 0 h 168"/>
                    <a:gd name="T58" fmla="*/ 22 w 218"/>
                    <a:gd name="T59" fmla="*/ 0 h 168"/>
                    <a:gd name="T60" fmla="*/ 197 w 218"/>
                    <a:gd name="T61" fmla="*/ 0 h 168"/>
                    <a:gd name="T62" fmla="*/ 197 w 218"/>
                    <a:gd name="T63" fmla="*/ 0 h 168"/>
                    <a:gd name="T64" fmla="*/ 201 w 218"/>
                    <a:gd name="T65" fmla="*/ 0 h 168"/>
                    <a:gd name="T66" fmla="*/ 205 w 218"/>
                    <a:gd name="T67" fmla="*/ 1 h 168"/>
                    <a:gd name="T68" fmla="*/ 209 w 218"/>
                    <a:gd name="T69" fmla="*/ 4 h 168"/>
                    <a:gd name="T70" fmla="*/ 212 w 218"/>
                    <a:gd name="T71" fmla="*/ 6 h 168"/>
                    <a:gd name="T72" fmla="*/ 215 w 218"/>
                    <a:gd name="T73" fmla="*/ 10 h 168"/>
                    <a:gd name="T74" fmla="*/ 217 w 218"/>
                    <a:gd name="T75" fmla="*/ 13 h 168"/>
                    <a:gd name="T76" fmla="*/ 218 w 218"/>
                    <a:gd name="T77" fmla="*/ 17 h 168"/>
                    <a:gd name="T78" fmla="*/ 218 w 218"/>
                    <a:gd name="T79" fmla="*/ 22 h 168"/>
                    <a:gd name="T80" fmla="*/ 218 w 218"/>
                    <a:gd name="T81" fmla="*/ 14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168">
                      <a:moveTo>
                        <a:pt x="218" y="146"/>
                      </a:moveTo>
                      <a:lnTo>
                        <a:pt x="218" y="146"/>
                      </a:lnTo>
                      <a:lnTo>
                        <a:pt x="218" y="150"/>
                      </a:lnTo>
                      <a:lnTo>
                        <a:pt x="217" y="155"/>
                      </a:lnTo>
                      <a:lnTo>
                        <a:pt x="215" y="158"/>
                      </a:lnTo>
                      <a:lnTo>
                        <a:pt x="212" y="162"/>
                      </a:lnTo>
                      <a:lnTo>
                        <a:pt x="209" y="164"/>
                      </a:lnTo>
                      <a:lnTo>
                        <a:pt x="205" y="167"/>
                      </a:lnTo>
                      <a:lnTo>
                        <a:pt x="201" y="168"/>
                      </a:lnTo>
                      <a:lnTo>
                        <a:pt x="197" y="168"/>
                      </a:lnTo>
                      <a:lnTo>
                        <a:pt x="22" y="168"/>
                      </a:lnTo>
                      <a:lnTo>
                        <a:pt x="22" y="168"/>
                      </a:lnTo>
                      <a:lnTo>
                        <a:pt x="17" y="168"/>
                      </a:lnTo>
                      <a:lnTo>
                        <a:pt x="14" y="167"/>
                      </a:lnTo>
                      <a:lnTo>
                        <a:pt x="10" y="164"/>
                      </a:lnTo>
                      <a:lnTo>
                        <a:pt x="6" y="162"/>
                      </a:lnTo>
                      <a:lnTo>
                        <a:pt x="4" y="158"/>
                      </a:lnTo>
                      <a:lnTo>
                        <a:pt x="2" y="155"/>
                      </a:lnTo>
                      <a:lnTo>
                        <a:pt x="0" y="150"/>
                      </a:lnTo>
                      <a:lnTo>
                        <a:pt x="0" y="146"/>
                      </a:lnTo>
                      <a:lnTo>
                        <a:pt x="0" y="22"/>
                      </a:lnTo>
                      <a:lnTo>
                        <a:pt x="0" y="22"/>
                      </a:lnTo>
                      <a:lnTo>
                        <a:pt x="0" y="17"/>
                      </a:lnTo>
                      <a:lnTo>
                        <a:pt x="2" y="13"/>
                      </a:lnTo>
                      <a:lnTo>
                        <a:pt x="4" y="10"/>
                      </a:lnTo>
                      <a:lnTo>
                        <a:pt x="6" y="6"/>
                      </a:lnTo>
                      <a:lnTo>
                        <a:pt x="10" y="4"/>
                      </a:lnTo>
                      <a:lnTo>
                        <a:pt x="14" y="1"/>
                      </a:lnTo>
                      <a:lnTo>
                        <a:pt x="17" y="0"/>
                      </a:lnTo>
                      <a:lnTo>
                        <a:pt x="22" y="0"/>
                      </a:lnTo>
                      <a:lnTo>
                        <a:pt x="197" y="0"/>
                      </a:lnTo>
                      <a:lnTo>
                        <a:pt x="197" y="0"/>
                      </a:lnTo>
                      <a:lnTo>
                        <a:pt x="201" y="0"/>
                      </a:lnTo>
                      <a:lnTo>
                        <a:pt x="205" y="1"/>
                      </a:lnTo>
                      <a:lnTo>
                        <a:pt x="209" y="4"/>
                      </a:lnTo>
                      <a:lnTo>
                        <a:pt x="212" y="6"/>
                      </a:lnTo>
                      <a:lnTo>
                        <a:pt x="215" y="10"/>
                      </a:lnTo>
                      <a:lnTo>
                        <a:pt x="217" y="13"/>
                      </a:lnTo>
                      <a:lnTo>
                        <a:pt x="218" y="17"/>
                      </a:lnTo>
                      <a:lnTo>
                        <a:pt x="218" y="22"/>
                      </a:lnTo>
                      <a:lnTo>
                        <a:pt x="218" y="1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7" name="Freeform 384"/>
                <p:cNvSpPr>
                  <a:spLocks/>
                </p:cNvSpPr>
                <p:nvPr userDrawn="1"/>
              </p:nvSpPr>
              <p:spPr bwMode="auto">
                <a:xfrm>
                  <a:off x="9713458" y="3523749"/>
                  <a:ext cx="87313" cy="84138"/>
                </a:xfrm>
                <a:custGeom>
                  <a:avLst/>
                  <a:gdLst>
                    <a:gd name="T0" fmla="*/ 55 w 108"/>
                    <a:gd name="T1" fmla="*/ 0 h 107"/>
                    <a:gd name="T2" fmla="*/ 55 w 108"/>
                    <a:gd name="T3" fmla="*/ 0 h 107"/>
                    <a:gd name="T4" fmla="*/ 43 w 108"/>
                    <a:gd name="T5" fmla="*/ 1 h 107"/>
                    <a:gd name="T6" fmla="*/ 33 w 108"/>
                    <a:gd name="T7" fmla="*/ 5 h 107"/>
                    <a:gd name="T8" fmla="*/ 24 w 108"/>
                    <a:gd name="T9" fmla="*/ 9 h 107"/>
                    <a:gd name="T10" fmla="*/ 17 w 108"/>
                    <a:gd name="T11" fmla="*/ 15 h 107"/>
                    <a:gd name="T12" fmla="*/ 9 w 108"/>
                    <a:gd name="T13" fmla="*/ 24 h 107"/>
                    <a:gd name="T14" fmla="*/ 5 w 108"/>
                    <a:gd name="T15" fmla="*/ 33 h 107"/>
                    <a:gd name="T16" fmla="*/ 1 w 108"/>
                    <a:gd name="T17" fmla="*/ 43 h 107"/>
                    <a:gd name="T18" fmla="*/ 0 w 108"/>
                    <a:gd name="T19" fmla="*/ 53 h 107"/>
                    <a:gd name="T20" fmla="*/ 0 w 108"/>
                    <a:gd name="T21" fmla="*/ 53 h 107"/>
                    <a:gd name="T22" fmla="*/ 1 w 108"/>
                    <a:gd name="T23" fmla="*/ 64 h 107"/>
                    <a:gd name="T24" fmla="*/ 5 w 108"/>
                    <a:gd name="T25" fmla="*/ 75 h 107"/>
                    <a:gd name="T26" fmla="*/ 9 w 108"/>
                    <a:gd name="T27" fmla="*/ 84 h 107"/>
                    <a:gd name="T28" fmla="*/ 17 w 108"/>
                    <a:gd name="T29" fmla="*/ 91 h 107"/>
                    <a:gd name="T30" fmla="*/ 24 w 108"/>
                    <a:gd name="T31" fmla="*/ 99 h 107"/>
                    <a:gd name="T32" fmla="*/ 33 w 108"/>
                    <a:gd name="T33" fmla="*/ 103 h 107"/>
                    <a:gd name="T34" fmla="*/ 43 w 108"/>
                    <a:gd name="T35" fmla="*/ 107 h 107"/>
                    <a:gd name="T36" fmla="*/ 55 w 108"/>
                    <a:gd name="T37" fmla="*/ 107 h 107"/>
                    <a:gd name="T38" fmla="*/ 55 w 108"/>
                    <a:gd name="T39" fmla="*/ 107 h 107"/>
                    <a:gd name="T40" fmla="*/ 65 w 108"/>
                    <a:gd name="T41" fmla="*/ 107 h 107"/>
                    <a:gd name="T42" fmla="*/ 75 w 108"/>
                    <a:gd name="T43" fmla="*/ 103 h 107"/>
                    <a:gd name="T44" fmla="*/ 84 w 108"/>
                    <a:gd name="T45" fmla="*/ 99 h 107"/>
                    <a:gd name="T46" fmla="*/ 91 w 108"/>
                    <a:gd name="T47" fmla="*/ 91 h 107"/>
                    <a:gd name="T48" fmla="*/ 99 w 108"/>
                    <a:gd name="T49" fmla="*/ 84 h 107"/>
                    <a:gd name="T50" fmla="*/ 103 w 108"/>
                    <a:gd name="T51" fmla="*/ 75 h 107"/>
                    <a:gd name="T52" fmla="*/ 107 w 108"/>
                    <a:gd name="T53" fmla="*/ 64 h 107"/>
                    <a:gd name="T54" fmla="*/ 108 w 108"/>
                    <a:gd name="T55" fmla="*/ 53 h 107"/>
                    <a:gd name="T56" fmla="*/ 108 w 108"/>
                    <a:gd name="T57" fmla="*/ 53 h 107"/>
                    <a:gd name="T58" fmla="*/ 107 w 108"/>
                    <a:gd name="T59" fmla="*/ 43 h 107"/>
                    <a:gd name="T60" fmla="*/ 103 w 108"/>
                    <a:gd name="T61" fmla="*/ 33 h 107"/>
                    <a:gd name="T62" fmla="*/ 99 w 108"/>
                    <a:gd name="T63" fmla="*/ 24 h 107"/>
                    <a:gd name="T64" fmla="*/ 91 w 108"/>
                    <a:gd name="T65" fmla="*/ 15 h 107"/>
                    <a:gd name="T66" fmla="*/ 84 w 108"/>
                    <a:gd name="T67" fmla="*/ 9 h 107"/>
                    <a:gd name="T68" fmla="*/ 75 w 108"/>
                    <a:gd name="T69" fmla="*/ 5 h 107"/>
                    <a:gd name="T70" fmla="*/ 65 w 108"/>
                    <a:gd name="T71" fmla="*/ 1 h 107"/>
                    <a:gd name="T72" fmla="*/ 55 w 108"/>
                    <a:gd name="T7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107">
                      <a:moveTo>
                        <a:pt x="55" y="0"/>
                      </a:moveTo>
                      <a:lnTo>
                        <a:pt x="55" y="0"/>
                      </a:lnTo>
                      <a:lnTo>
                        <a:pt x="43" y="1"/>
                      </a:lnTo>
                      <a:lnTo>
                        <a:pt x="33" y="5"/>
                      </a:lnTo>
                      <a:lnTo>
                        <a:pt x="24" y="9"/>
                      </a:lnTo>
                      <a:lnTo>
                        <a:pt x="17" y="15"/>
                      </a:lnTo>
                      <a:lnTo>
                        <a:pt x="9" y="24"/>
                      </a:lnTo>
                      <a:lnTo>
                        <a:pt x="5" y="33"/>
                      </a:lnTo>
                      <a:lnTo>
                        <a:pt x="1" y="43"/>
                      </a:lnTo>
                      <a:lnTo>
                        <a:pt x="0" y="53"/>
                      </a:lnTo>
                      <a:lnTo>
                        <a:pt x="0" y="53"/>
                      </a:lnTo>
                      <a:lnTo>
                        <a:pt x="1" y="64"/>
                      </a:lnTo>
                      <a:lnTo>
                        <a:pt x="5" y="75"/>
                      </a:lnTo>
                      <a:lnTo>
                        <a:pt x="9" y="84"/>
                      </a:lnTo>
                      <a:lnTo>
                        <a:pt x="17" y="91"/>
                      </a:lnTo>
                      <a:lnTo>
                        <a:pt x="24" y="99"/>
                      </a:lnTo>
                      <a:lnTo>
                        <a:pt x="33" y="103"/>
                      </a:lnTo>
                      <a:lnTo>
                        <a:pt x="43" y="107"/>
                      </a:lnTo>
                      <a:lnTo>
                        <a:pt x="55" y="107"/>
                      </a:lnTo>
                      <a:lnTo>
                        <a:pt x="55" y="107"/>
                      </a:lnTo>
                      <a:lnTo>
                        <a:pt x="65" y="107"/>
                      </a:lnTo>
                      <a:lnTo>
                        <a:pt x="75" y="103"/>
                      </a:lnTo>
                      <a:lnTo>
                        <a:pt x="84" y="99"/>
                      </a:lnTo>
                      <a:lnTo>
                        <a:pt x="91" y="91"/>
                      </a:lnTo>
                      <a:lnTo>
                        <a:pt x="99" y="84"/>
                      </a:lnTo>
                      <a:lnTo>
                        <a:pt x="103" y="75"/>
                      </a:lnTo>
                      <a:lnTo>
                        <a:pt x="107" y="64"/>
                      </a:lnTo>
                      <a:lnTo>
                        <a:pt x="108" y="53"/>
                      </a:lnTo>
                      <a:lnTo>
                        <a:pt x="108" y="53"/>
                      </a:lnTo>
                      <a:lnTo>
                        <a:pt x="107" y="43"/>
                      </a:lnTo>
                      <a:lnTo>
                        <a:pt x="103" y="33"/>
                      </a:lnTo>
                      <a:lnTo>
                        <a:pt x="99" y="24"/>
                      </a:lnTo>
                      <a:lnTo>
                        <a:pt x="91" y="15"/>
                      </a:lnTo>
                      <a:lnTo>
                        <a:pt x="84" y="9"/>
                      </a:lnTo>
                      <a:lnTo>
                        <a:pt x="75" y="5"/>
                      </a:lnTo>
                      <a:lnTo>
                        <a:pt x="65" y="1"/>
                      </a:lnTo>
                      <a:lnTo>
                        <a:pt x="55"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8" name="Freeform 385"/>
                <p:cNvSpPr>
                  <a:spLocks/>
                </p:cNvSpPr>
                <p:nvPr userDrawn="1"/>
              </p:nvSpPr>
              <p:spPr bwMode="auto">
                <a:xfrm>
                  <a:off x="9713458" y="3523749"/>
                  <a:ext cx="87313" cy="84138"/>
                </a:xfrm>
                <a:custGeom>
                  <a:avLst/>
                  <a:gdLst>
                    <a:gd name="T0" fmla="*/ 55 w 108"/>
                    <a:gd name="T1" fmla="*/ 0 h 107"/>
                    <a:gd name="T2" fmla="*/ 55 w 108"/>
                    <a:gd name="T3" fmla="*/ 0 h 107"/>
                    <a:gd name="T4" fmla="*/ 43 w 108"/>
                    <a:gd name="T5" fmla="*/ 1 h 107"/>
                    <a:gd name="T6" fmla="*/ 33 w 108"/>
                    <a:gd name="T7" fmla="*/ 5 h 107"/>
                    <a:gd name="T8" fmla="*/ 24 w 108"/>
                    <a:gd name="T9" fmla="*/ 9 h 107"/>
                    <a:gd name="T10" fmla="*/ 17 w 108"/>
                    <a:gd name="T11" fmla="*/ 15 h 107"/>
                    <a:gd name="T12" fmla="*/ 9 w 108"/>
                    <a:gd name="T13" fmla="*/ 24 h 107"/>
                    <a:gd name="T14" fmla="*/ 5 w 108"/>
                    <a:gd name="T15" fmla="*/ 33 h 107"/>
                    <a:gd name="T16" fmla="*/ 1 w 108"/>
                    <a:gd name="T17" fmla="*/ 43 h 107"/>
                    <a:gd name="T18" fmla="*/ 0 w 108"/>
                    <a:gd name="T19" fmla="*/ 53 h 107"/>
                    <a:gd name="T20" fmla="*/ 0 w 108"/>
                    <a:gd name="T21" fmla="*/ 53 h 107"/>
                    <a:gd name="T22" fmla="*/ 1 w 108"/>
                    <a:gd name="T23" fmla="*/ 64 h 107"/>
                    <a:gd name="T24" fmla="*/ 5 w 108"/>
                    <a:gd name="T25" fmla="*/ 75 h 107"/>
                    <a:gd name="T26" fmla="*/ 9 w 108"/>
                    <a:gd name="T27" fmla="*/ 84 h 107"/>
                    <a:gd name="T28" fmla="*/ 17 w 108"/>
                    <a:gd name="T29" fmla="*/ 91 h 107"/>
                    <a:gd name="T30" fmla="*/ 24 w 108"/>
                    <a:gd name="T31" fmla="*/ 99 h 107"/>
                    <a:gd name="T32" fmla="*/ 33 w 108"/>
                    <a:gd name="T33" fmla="*/ 103 h 107"/>
                    <a:gd name="T34" fmla="*/ 43 w 108"/>
                    <a:gd name="T35" fmla="*/ 107 h 107"/>
                    <a:gd name="T36" fmla="*/ 55 w 108"/>
                    <a:gd name="T37" fmla="*/ 107 h 107"/>
                    <a:gd name="T38" fmla="*/ 55 w 108"/>
                    <a:gd name="T39" fmla="*/ 107 h 107"/>
                    <a:gd name="T40" fmla="*/ 65 w 108"/>
                    <a:gd name="T41" fmla="*/ 107 h 107"/>
                    <a:gd name="T42" fmla="*/ 75 w 108"/>
                    <a:gd name="T43" fmla="*/ 103 h 107"/>
                    <a:gd name="T44" fmla="*/ 84 w 108"/>
                    <a:gd name="T45" fmla="*/ 99 h 107"/>
                    <a:gd name="T46" fmla="*/ 91 w 108"/>
                    <a:gd name="T47" fmla="*/ 91 h 107"/>
                    <a:gd name="T48" fmla="*/ 99 w 108"/>
                    <a:gd name="T49" fmla="*/ 84 h 107"/>
                    <a:gd name="T50" fmla="*/ 103 w 108"/>
                    <a:gd name="T51" fmla="*/ 75 h 107"/>
                    <a:gd name="T52" fmla="*/ 107 w 108"/>
                    <a:gd name="T53" fmla="*/ 64 h 107"/>
                    <a:gd name="T54" fmla="*/ 108 w 108"/>
                    <a:gd name="T55" fmla="*/ 53 h 107"/>
                    <a:gd name="T56" fmla="*/ 108 w 108"/>
                    <a:gd name="T57" fmla="*/ 53 h 107"/>
                    <a:gd name="T58" fmla="*/ 107 w 108"/>
                    <a:gd name="T59" fmla="*/ 43 h 107"/>
                    <a:gd name="T60" fmla="*/ 103 w 108"/>
                    <a:gd name="T61" fmla="*/ 33 h 107"/>
                    <a:gd name="T62" fmla="*/ 99 w 108"/>
                    <a:gd name="T63" fmla="*/ 24 h 107"/>
                    <a:gd name="T64" fmla="*/ 91 w 108"/>
                    <a:gd name="T65" fmla="*/ 15 h 107"/>
                    <a:gd name="T66" fmla="*/ 84 w 108"/>
                    <a:gd name="T67" fmla="*/ 9 h 107"/>
                    <a:gd name="T68" fmla="*/ 75 w 108"/>
                    <a:gd name="T69" fmla="*/ 5 h 107"/>
                    <a:gd name="T70" fmla="*/ 65 w 108"/>
                    <a:gd name="T71" fmla="*/ 1 h 107"/>
                    <a:gd name="T72" fmla="*/ 55 w 108"/>
                    <a:gd name="T7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107">
                      <a:moveTo>
                        <a:pt x="55" y="0"/>
                      </a:moveTo>
                      <a:lnTo>
                        <a:pt x="55" y="0"/>
                      </a:lnTo>
                      <a:lnTo>
                        <a:pt x="43" y="1"/>
                      </a:lnTo>
                      <a:lnTo>
                        <a:pt x="33" y="5"/>
                      </a:lnTo>
                      <a:lnTo>
                        <a:pt x="24" y="9"/>
                      </a:lnTo>
                      <a:lnTo>
                        <a:pt x="17" y="15"/>
                      </a:lnTo>
                      <a:lnTo>
                        <a:pt x="9" y="24"/>
                      </a:lnTo>
                      <a:lnTo>
                        <a:pt x="5" y="33"/>
                      </a:lnTo>
                      <a:lnTo>
                        <a:pt x="1" y="43"/>
                      </a:lnTo>
                      <a:lnTo>
                        <a:pt x="0" y="53"/>
                      </a:lnTo>
                      <a:lnTo>
                        <a:pt x="0" y="53"/>
                      </a:lnTo>
                      <a:lnTo>
                        <a:pt x="1" y="64"/>
                      </a:lnTo>
                      <a:lnTo>
                        <a:pt x="5" y="75"/>
                      </a:lnTo>
                      <a:lnTo>
                        <a:pt x="9" y="84"/>
                      </a:lnTo>
                      <a:lnTo>
                        <a:pt x="17" y="91"/>
                      </a:lnTo>
                      <a:lnTo>
                        <a:pt x="24" y="99"/>
                      </a:lnTo>
                      <a:lnTo>
                        <a:pt x="33" y="103"/>
                      </a:lnTo>
                      <a:lnTo>
                        <a:pt x="43" y="107"/>
                      </a:lnTo>
                      <a:lnTo>
                        <a:pt x="55" y="107"/>
                      </a:lnTo>
                      <a:lnTo>
                        <a:pt x="55" y="107"/>
                      </a:lnTo>
                      <a:lnTo>
                        <a:pt x="65" y="107"/>
                      </a:lnTo>
                      <a:lnTo>
                        <a:pt x="75" y="103"/>
                      </a:lnTo>
                      <a:lnTo>
                        <a:pt x="84" y="99"/>
                      </a:lnTo>
                      <a:lnTo>
                        <a:pt x="91" y="91"/>
                      </a:lnTo>
                      <a:lnTo>
                        <a:pt x="99" y="84"/>
                      </a:lnTo>
                      <a:lnTo>
                        <a:pt x="103" y="75"/>
                      </a:lnTo>
                      <a:lnTo>
                        <a:pt x="107" y="64"/>
                      </a:lnTo>
                      <a:lnTo>
                        <a:pt x="108" y="53"/>
                      </a:lnTo>
                      <a:lnTo>
                        <a:pt x="108" y="53"/>
                      </a:lnTo>
                      <a:lnTo>
                        <a:pt x="107" y="43"/>
                      </a:lnTo>
                      <a:lnTo>
                        <a:pt x="103" y="33"/>
                      </a:lnTo>
                      <a:lnTo>
                        <a:pt x="99" y="24"/>
                      </a:lnTo>
                      <a:lnTo>
                        <a:pt x="91" y="15"/>
                      </a:lnTo>
                      <a:lnTo>
                        <a:pt x="84" y="9"/>
                      </a:lnTo>
                      <a:lnTo>
                        <a:pt x="75" y="5"/>
                      </a:lnTo>
                      <a:lnTo>
                        <a:pt x="65" y="1"/>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9" name="Freeform 386"/>
                <p:cNvSpPr>
                  <a:spLocks/>
                </p:cNvSpPr>
                <p:nvPr userDrawn="1"/>
              </p:nvSpPr>
              <p:spPr bwMode="auto">
                <a:xfrm>
                  <a:off x="10181771" y="4020636"/>
                  <a:ext cx="39688" cy="55563"/>
                </a:xfrm>
                <a:custGeom>
                  <a:avLst/>
                  <a:gdLst>
                    <a:gd name="T0" fmla="*/ 49 w 49"/>
                    <a:gd name="T1" fmla="*/ 59 h 72"/>
                    <a:gd name="T2" fmla="*/ 49 w 49"/>
                    <a:gd name="T3" fmla="*/ 59 h 72"/>
                    <a:gd name="T4" fmla="*/ 48 w 49"/>
                    <a:gd name="T5" fmla="*/ 64 h 72"/>
                    <a:gd name="T6" fmla="*/ 46 w 49"/>
                    <a:gd name="T7" fmla="*/ 68 h 72"/>
                    <a:gd name="T8" fmla="*/ 41 w 49"/>
                    <a:gd name="T9" fmla="*/ 70 h 72"/>
                    <a:gd name="T10" fmla="*/ 36 w 49"/>
                    <a:gd name="T11" fmla="*/ 72 h 72"/>
                    <a:gd name="T12" fmla="*/ 11 w 49"/>
                    <a:gd name="T13" fmla="*/ 72 h 72"/>
                    <a:gd name="T14" fmla="*/ 11 w 49"/>
                    <a:gd name="T15" fmla="*/ 72 h 72"/>
                    <a:gd name="T16" fmla="*/ 7 w 49"/>
                    <a:gd name="T17" fmla="*/ 70 h 72"/>
                    <a:gd name="T18" fmla="*/ 3 w 49"/>
                    <a:gd name="T19" fmla="*/ 68 h 72"/>
                    <a:gd name="T20" fmla="*/ 0 w 49"/>
                    <a:gd name="T21" fmla="*/ 64 h 72"/>
                    <a:gd name="T22" fmla="*/ 0 w 49"/>
                    <a:gd name="T23" fmla="*/ 59 h 72"/>
                    <a:gd name="T24" fmla="*/ 0 w 49"/>
                    <a:gd name="T25" fmla="*/ 13 h 72"/>
                    <a:gd name="T26" fmla="*/ 0 w 49"/>
                    <a:gd name="T27" fmla="*/ 13 h 72"/>
                    <a:gd name="T28" fmla="*/ 0 w 49"/>
                    <a:gd name="T29" fmla="*/ 9 h 72"/>
                    <a:gd name="T30" fmla="*/ 3 w 49"/>
                    <a:gd name="T31" fmla="*/ 4 h 72"/>
                    <a:gd name="T32" fmla="*/ 7 w 49"/>
                    <a:gd name="T33" fmla="*/ 1 h 72"/>
                    <a:gd name="T34" fmla="*/ 11 w 49"/>
                    <a:gd name="T35" fmla="*/ 0 h 72"/>
                    <a:gd name="T36" fmla="*/ 36 w 49"/>
                    <a:gd name="T37" fmla="*/ 0 h 72"/>
                    <a:gd name="T38" fmla="*/ 36 w 49"/>
                    <a:gd name="T39" fmla="*/ 0 h 72"/>
                    <a:gd name="T40" fmla="*/ 41 w 49"/>
                    <a:gd name="T41" fmla="*/ 1 h 72"/>
                    <a:gd name="T42" fmla="*/ 46 w 49"/>
                    <a:gd name="T43" fmla="*/ 4 h 72"/>
                    <a:gd name="T44" fmla="*/ 48 w 49"/>
                    <a:gd name="T45" fmla="*/ 9 h 72"/>
                    <a:gd name="T46" fmla="*/ 49 w 49"/>
                    <a:gd name="T47" fmla="*/ 13 h 72"/>
                    <a:gd name="T48" fmla="*/ 49 w 49"/>
                    <a:gd name="T49" fmla="*/ 5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72">
                      <a:moveTo>
                        <a:pt x="49" y="59"/>
                      </a:moveTo>
                      <a:lnTo>
                        <a:pt x="49" y="59"/>
                      </a:lnTo>
                      <a:lnTo>
                        <a:pt x="48" y="64"/>
                      </a:lnTo>
                      <a:lnTo>
                        <a:pt x="46" y="68"/>
                      </a:lnTo>
                      <a:lnTo>
                        <a:pt x="41" y="70"/>
                      </a:lnTo>
                      <a:lnTo>
                        <a:pt x="36" y="72"/>
                      </a:lnTo>
                      <a:lnTo>
                        <a:pt x="11" y="72"/>
                      </a:lnTo>
                      <a:lnTo>
                        <a:pt x="11" y="72"/>
                      </a:lnTo>
                      <a:lnTo>
                        <a:pt x="7" y="70"/>
                      </a:lnTo>
                      <a:lnTo>
                        <a:pt x="3" y="68"/>
                      </a:lnTo>
                      <a:lnTo>
                        <a:pt x="0" y="64"/>
                      </a:lnTo>
                      <a:lnTo>
                        <a:pt x="0" y="59"/>
                      </a:lnTo>
                      <a:lnTo>
                        <a:pt x="0" y="13"/>
                      </a:lnTo>
                      <a:lnTo>
                        <a:pt x="0" y="13"/>
                      </a:lnTo>
                      <a:lnTo>
                        <a:pt x="0" y="9"/>
                      </a:lnTo>
                      <a:lnTo>
                        <a:pt x="3" y="4"/>
                      </a:lnTo>
                      <a:lnTo>
                        <a:pt x="7" y="1"/>
                      </a:lnTo>
                      <a:lnTo>
                        <a:pt x="11" y="0"/>
                      </a:lnTo>
                      <a:lnTo>
                        <a:pt x="36" y="0"/>
                      </a:lnTo>
                      <a:lnTo>
                        <a:pt x="36" y="0"/>
                      </a:lnTo>
                      <a:lnTo>
                        <a:pt x="41" y="1"/>
                      </a:lnTo>
                      <a:lnTo>
                        <a:pt x="46" y="4"/>
                      </a:lnTo>
                      <a:lnTo>
                        <a:pt x="48" y="9"/>
                      </a:lnTo>
                      <a:lnTo>
                        <a:pt x="49" y="13"/>
                      </a:lnTo>
                      <a:lnTo>
                        <a:pt x="49" y="59"/>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40" name="Freeform 387"/>
                <p:cNvSpPr>
                  <a:spLocks/>
                </p:cNvSpPr>
                <p:nvPr userDrawn="1"/>
              </p:nvSpPr>
              <p:spPr bwMode="auto">
                <a:xfrm>
                  <a:off x="10235746" y="4020636"/>
                  <a:ext cx="39688" cy="55563"/>
                </a:xfrm>
                <a:custGeom>
                  <a:avLst/>
                  <a:gdLst>
                    <a:gd name="T0" fmla="*/ 50 w 50"/>
                    <a:gd name="T1" fmla="*/ 59 h 72"/>
                    <a:gd name="T2" fmla="*/ 50 w 50"/>
                    <a:gd name="T3" fmla="*/ 59 h 72"/>
                    <a:gd name="T4" fmla="*/ 49 w 50"/>
                    <a:gd name="T5" fmla="*/ 64 h 72"/>
                    <a:gd name="T6" fmla="*/ 47 w 50"/>
                    <a:gd name="T7" fmla="*/ 68 h 72"/>
                    <a:gd name="T8" fmla="*/ 43 w 50"/>
                    <a:gd name="T9" fmla="*/ 70 h 72"/>
                    <a:gd name="T10" fmla="*/ 37 w 50"/>
                    <a:gd name="T11" fmla="*/ 72 h 72"/>
                    <a:gd name="T12" fmla="*/ 13 w 50"/>
                    <a:gd name="T13" fmla="*/ 72 h 72"/>
                    <a:gd name="T14" fmla="*/ 13 w 50"/>
                    <a:gd name="T15" fmla="*/ 72 h 72"/>
                    <a:gd name="T16" fmla="*/ 7 w 50"/>
                    <a:gd name="T17" fmla="*/ 70 h 72"/>
                    <a:gd name="T18" fmla="*/ 4 w 50"/>
                    <a:gd name="T19" fmla="*/ 68 h 72"/>
                    <a:gd name="T20" fmla="*/ 1 w 50"/>
                    <a:gd name="T21" fmla="*/ 64 h 72"/>
                    <a:gd name="T22" fmla="*/ 0 w 50"/>
                    <a:gd name="T23" fmla="*/ 59 h 72"/>
                    <a:gd name="T24" fmla="*/ 0 w 50"/>
                    <a:gd name="T25" fmla="*/ 13 h 72"/>
                    <a:gd name="T26" fmla="*/ 0 w 50"/>
                    <a:gd name="T27" fmla="*/ 13 h 72"/>
                    <a:gd name="T28" fmla="*/ 1 w 50"/>
                    <a:gd name="T29" fmla="*/ 9 h 72"/>
                    <a:gd name="T30" fmla="*/ 4 w 50"/>
                    <a:gd name="T31" fmla="*/ 4 h 72"/>
                    <a:gd name="T32" fmla="*/ 7 w 50"/>
                    <a:gd name="T33" fmla="*/ 1 h 72"/>
                    <a:gd name="T34" fmla="*/ 13 w 50"/>
                    <a:gd name="T35" fmla="*/ 0 h 72"/>
                    <a:gd name="T36" fmla="*/ 37 w 50"/>
                    <a:gd name="T37" fmla="*/ 0 h 72"/>
                    <a:gd name="T38" fmla="*/ 37 w 50"/>
                    <a:gd name="T39" fmla="*/ 0 h 72"/>
                    <a:gd name="T40" fmla="*/ 43 w 50"/>
                    <a:gd name="T41" fmla="*/ 1 h 72"/>
                    <a:gd name="T42" fmla="*/ 47 w 50"/>
                    <a:gd name="T43" fmla="*/ 4 h 72"/>
                    <a:gd name="T44" fmla="*/ 49 w 50"/>
                    <a:gd name="T45" fmla="*/ 9 h 72"/>
                    <a:gd name="T46" fmla="*/ 50 w 50"/>
                    <a:gd name="T47" fmla="*/ 13 h 72"/>
                    <a:gd name="T48" fmla="*/ 50 w 50"/>
                    <a:gd name="T49" fmla="*/ 5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72">
                      <a:moveTo>
                        <a:pt x="50" y="59"/>
                      </a:moveTo>
                      <a:lnTo>
                        <a:pt x="50" y="59"/>
                      </a:lnTo>
                      <a:lnTo>
                        <a:pt x="49" y="64"/>
                      </a:lnTo>
                      <a:lnTo>
                        <a:pt x="47" y="68"/>
                      </a:lnTo>
                      <a:lnTo>
                        <a:pt x="43" y="70"/>
                      </a:lnTo>
                      <a:lnTo>
                        <a:pt x="37" y="72"/>
                      </a:lnTo>
                      <a:lnTo>
                        <a:pt x="13" y="72"/>
                      </a:lnTo>
                      <a:lnTo>
                        <a:pt x="13" y="72"/>
                      </a:lnTo>
                      <a:lnTo>
                        <a:pt x="7" y="70"/>
                      </a:lnTo>
                      <a:lnTo>
                        <a:pt x="4" y="68"/>
                      </a:lnTo>
                      <a:lnTo>
                        <a:pt x="1" y="64"/>
                      </a:lnTo>
                      <a:lnTo>
                        <a:pt x="0" y="59"/>
                      </a:lnTo>
                      <a:lnTo>
                        <a:pt x="0" y="13"/>
                      </a:lnTo>
                      <a:lnTo>
                        <a:pt x="0" y="13"/>
                      </a:lnTo>
                      <a:lnTo>
                        <a:pt x="1" y="9"/>
                      </a:lnTo>
                      <a:lnTo>
                        <a:pt x="4" y="4"/>
                      </a:lnTo>
                      <a:lnTo>
                        <a:pt x="7" y="1"/>
                      </a:lnTo>
                      <a:lnTo>
                        <a:pt x="13" y="0"/>
                      </a:lnTo>
                      <a:lnTo>
                        <a:pt x="37" y="0"/>
                      </a:lnTo>
                      <a:lnTo>
                        <a:pt x="37" y="0"/>
                      </a:lnTo>
                      <a:lnTo>
                        <a:pt x="43" y="1"/>
                      </a:lnTo>
                      <a:lnTo>
                        <a:pt x="47" y="4"/>
                      </a:lnTo>
                      <a:lnTo>
                        <a:pt x="49" y="9"/>
                      </a:lnTo>
                      <a:lnTo>
                        <a:pt x="50" y="13"/>
                      </a:lnTo>
                      <a:lnTo>
                        <a:pt x="50" y="59"/>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41" name="Freeform 388"/>
                <p:cNvSpPr>
                  <a:spLocks/>
                </p:cNvSpPr>
                <p:nvPr userDrawn="1"/>
              </p:nvSpPr>
              <p:spPr bwMode="auto">
                <a:xfrm>
                  <a:off x="10181771" y="4107949"/>
                  <a:ext cx="88900" cy="165100"/>
                </a:xfrm>
                <a:custGeom>
                  <a:avLst/>
                  <a:gdLst>
                    <a:gd name="T0" fmla="*/ 42 w 111"/>
                    <a:gd name="T1" fmla="*/ 208 h 208"/>
                    <a:gd name="T2" fmla="*/ 42 w 111"/>
                    <a:gd name="T3" fmla="*/ 208 h 208"/>
                    <a:gd name="T4" fmla="*/ 34 w 111"/>
                    <a:gd name="T5" fmla="*/ 207 h 208"/>
                    <a:gd name="T6" fmla="*/ 26 w 111"/>
                    <a:gd name="T7" fmla="*/ 204 h 208"/>
                    <a:gd name="T8" fmla="*/ 19 w 111"/>
                    <a:gd name="T9" fmla="*/ 201 h 208"/>
                    <a:gd name="T10" fmla="*/ 11 w 111"/>
                    <a:gd name="T11" fmla="*/ 195 h 208"/>
                    <a:gd name="T12" fmla="*/ 7 w 111"/>
                    <a:gd name="T13" fmla="*/ 189 h 208"/>
                    <a:gd name="T14" fmla="*/ 2 w 111"/>
                    <a:gd name="T15" fmla="*/ 181 h 208"/>
                    <a:gd name="T16" fmla="*/ 0 w 111"/>
                    <a:gd name="T17" fmla="*/ 172 h 208"/>
                    <a:gd name="T18" fmla="*/ 0 w 111"/>
                    <a:gd name="T19" fmla="*/ 164 h 208"/>
                    <a:gd name="T20" fmla="*/ 0 w 111"/>
                    <a:gd name="T21" fmla="*/ 44 h 208"/>
                    <a:gd name="T22" fmla="*/ 0 w 111"/>
                    <a:gd name="T23" fmla="*/ 44 h 208"/>
                    <a:gd name="T24" fmla="*/ 0 w 111"/>
                    <a:gd name="T25" fmla="*/ 34 h 208"/>
                    <a:gd name="T26" fmla="*/ 2 w 111"/>
                    <a:gd name="T27" fmla="*/ 26 h 208"/>
                    <a:gd name="T28" fmla="*/ 7 w 111"/>
                    <a:gd name="T29" fmla="*/ 19 h 208"/>
                    <a:gd name="T30" fmla="*/ 11 w 111"/>
                    <a:gd name="T31" fmla="*/ 13 h 208"/>
                    <a:gd name="T32" fmla="*/ 19 w 111"/>
                    <a:gd name="T33" fmla="*/ 7 h 208"/>
                    <a:gd name="T34" fmla="*/ 26 w 111"/>
                    <a:gd name="T35" fmla="*/ 3 h 208"/>
                    <a:gd name="T36" fmla="*/ 34 w 111"/>
                    <a:gd name="T37" fmla="*/ 1 h 208"/>
                    <a:gd name="T38" fmla="*/ 42 w 111"/>
                    <a:gd name="T39" fmla="*/ 0 h 208"/>
                    <a:gd name="T40" fmla="*/ 67 w 111"/>
                    <a:gd name="T41" fmla="*/ 0 h 208"/>
                    <a:gd name="T42" fmla="*/ 67 w 111"/>
                    <a:gd name="T43" fmla="*/ 0 h 208"/>
                    <a:gd name="T44" fmla="*/ 76 w 111"/>
                    <a:gd name="T45" fmla="*/ 1 h 208"/>
                    <a:gd name="T46" fmla="*/ 84 w 111"/>
                    <a:gd name="T47" fmla="*/ 3 h 208"/>
                    <a:gd name="T48" fmla="*/ 92 w 111"/>
                    <a:gd name="T49" fmla="*/ 7 h 208"/>
                    <a:gd name="T50" fmla="*/ 98 w 111"/>
                    <a:gd name="T51" fmla="*/ 13 h 208"/>
                    <a:gd name="T52" fmla="*/ 104 w 111"/>
                    <a:gd name="T53" fmla="*/ 19 h 208"/>
                    <a:gd name="T54" fmla="*/ 108 w 111"/>
                    <a:gd name="T55" fmla="*/ 26 h 208"/>
                    <a:gd name="T56" fmla="*/ 110 w 111"/>
                    <a:gd name="T57" fmla="*/ 34 h 208"/>
                    <a:gd name="T58" fmla="*/ 111 w 111"/>
                    <a:gd name="T59" fmla="*/ 44 h 208"/>
                    <a:gd name="T60" fmla="*/ 111 w 111"/>
                    <a:gd name="T61" fmla="*/ 164 h 208"/>
                    <a:gd name="T62" fmla="*/ 111 w 111"/>
                    <a:gd name="T63" fmla="*/ 164 h 208"/>
                    <a:gd name="T64" fmla="*/ 110 w 111"/>
                    <a:gd name="T65" fmla="*/ 172 h 208"/>
                    <a:gd name="T66" fmla="*/ 108 w 111"/>
                    <a:gd name="T67" fmla="*/ 181 h 208"/>
                    <a:gd name="T68" fmla="*/ 104 w 111"/>
                    <a:gd name="T69" fmla="*/ 189 h 208"/>
                    <a:gd name="T70" fmla="*/ 98 w 111"/>
                    <a:gd name="T71" fmla="*/ 195 h 208"/>
                    <a:gd name="T72" fmla="*/ 92 w 111"/>
                    <a:gd name="T73" fmla="*/ 201 h 208"/>
                    <a:gd name="T74" fmla="*/ 84 w 111"/>
                    <a:gd name="T75" fmla="*/ 204 h 208"/>
                    <a:gd name="T76" fmla="*/ 76 w 111"/>
                    <a:gd name="T77" fmla="*/ 207 h 208"/>
                    <a:gd name="T78" fmla="*/ 67 w 111"/>
                    <a:gd name="T79" fmla="*/ 208 h 208"/>
                    <a:gd name="T80" fmla="*/ 42 w 111"/>
                    <a:gd name="T81"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1" h="208">
                      <a:moveTo>
                        <a:pt x="42" y="208"/>
                      </a:moveTo>
                      <a:lnTo>
                        <a:pt x="42" y="208"/>
                      </a:lnTo>
                      <a:lnTo>
                        <a:pt x="34" y="207"/>
                      </a:lnTo>
                      <a:lnTo>
                        <a:pt x="26" y="204"/>
                      </a:lnTo>
                      <a:lnTo>
                        <a:pt x="19" y="201"/>
                      </a:lnTo>
                      <a:lnTo>
                        <a:pt x="11" y="195"/>
                      </a:lnTo>
                      <a:lnTo>
                        <a:pt x="7" y="189"/>
                      </a:lnTo>
                      <a:lnTo>
                        <a:pt x="2" y="181"/>
                      </a:lnTo>
                      <a:lnTo>
                        <a:pt x="0" y="172"/>
                      </a:lnTo>
                      <a:lnTo>
                        <a:pt x="0" y="164"/>
                      </a:lnTo>
                      <a:lnTo>
                        <a:pt x="0" y="44"/>
                      </a:lnTo>
                      <a:lnTo>
                        <a:pt x="0" y="44"/>
                      </a:lnTo>
                      <a:lnTo>
                        <a:pt x="0" y="34"/>
                      </a:lnTo>
                      <a:lnTo>
                        <a:pt x="2" y="26"/>
                      </a:lnTo>
                      <a:lnTo>
                        <a:pt x="7" y="19"/>
                      </a:lnTo>
                      <a:lnTo>
                        <a:pt x="11" y="13"/>
                      </a:lnTo>
                      <a:lnTo>
                        <a:pt x="19" y="7"/>
                      </a:lnTo>
                      <a:lnTo>
                        <a:pt x="26" y="3"/>
                      </a:lnTo>
                      <a:lnTo>
                        <a:pt x="34" y="1"/>
                      </a:lnTo>
                      <a:lnTo>
                        <a:pt x="42" y="0"/>
                      </a:lnTo>
                      <a:lnTo>
                        <a:pt x="67" y="0"/>
                      </a:lnTo>
                      <a:lnTo>
                        <a:pt x="67" y="0"/>
                      </a:lnTo>
                      <a:lnTo>
                        <a:pt x="76" y="1"/>
                      </a:lnTo>
                      <a:lnTo>
                        <a:pt x="84" y="3"/>
                      </a:lnTo>
                      <a:lnTo>
                        <a:pt x="92" y="7"/>
                      </a:lnTo>
                      <a:lnTo>
                        <a:pt x="98" y="13"/>
                      </a:lnTo>
                      <a:lnTo>
                        <a:pt x="104" y="19"/>
                      </a:lnTo>
                      <a:lnTo>
                        <a:pt x="108" y="26"/>
                      </a:lnTo>
                      <a:lnTo>
                        <a:pt x="110" y="34"/>
                      </a:lnTo>
                      <a:lnTo>
                        <a:pt x="111" y="44"/>
                      </a:lnTo>
                      <a:lnTo>
                        <a:pt x="111" y="164"/>
                      </a:lnTo>
                      <a:lnTo>
                        <a:pt x="111" y="164"/>
                      </a:lnTo>
                      <a:lnTo>
                        <a:pt x="110" y="172"/>
                      </a:lnTo>
                      <a:lnTo>
                        <a:pt x="108" y="181"/>
                      </a:lnTo>
                      <a:lnTo>
                        <a:pt x="104" y="189"/>
                      </a:lnTo>
                      <a:lnTo>
                        <a:pt x="98" y="195"/>
                      </a:lnTo>
                      <a:lnTo>
                        <a:pt x="92" y="201"/>
                      </a:lnTo>
                      <a:lnTo>
                        <a:pt x="84" y="204"/>
                      </a:lnTo>
                      <a:lnTo>
                        <a:pt x="76" y="207"/>
                      </a:lnTo>
                      <a:lnTo>
                        <a:pt x="67" y="208"/>
                      </a:lnTo>
                      <a:lnTo>
                        <a:pt x="42" y="20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42" name="Freeform 389"/>
                <p:cNvSpPr>
                  <a:spLocks/>
                </p:cNvSpPr>
                <p:nvPr userDrawn="1"/>
              </p:nvSpPr>
              <p:spPr bwMode="auto">
                <a:xfrm>
                  <a:off x="10205583" y="4131761"/>
                  <a:ext cx="39688" cy="115888"/>
                </a:xfrm>
                <a:custGeom>
                  <a:avLst/>
                  <a:gdLst>
                    <a:gd name="T0" fmla="*/ 51 w 51"/>
                    <a:gd name="T1" fmla="*/ 133 h 146"/>
                    <a:gd name="T2" fmla="*/ 51 w 51"/>
                    <a:gd name="T3" fmla="*/ 133 h 146"/>
                    <a:gd name="T4" fmla="*/ 50 w 51"/>
                    <a:gd name="T5" fmla="*/ 138 h 146"/>
                    <a:gd name="T6" fmla="*/ 48 w 51"/>
                    <a:gd name="T7" fmla="*/ 142 h 146"/>
                    <a:gd name="T8" fmla="*/ 43 w 51"/>
                    <a:gd name="T9" fmla="*/ 145 h 146"/>
                    <a:gd name="T10" fmla="*/ 38 w 51"/>
                    <a:gd name="T11" fmla="*/ 146 h 146"/>
                    <a:gd name="T12" fmla="*/ 13 w 51"/>
                    <a:gd name="T13" fmla="*/ 146 h 146"/>
                    <a:gd name="T14" fmla="*/ 13 w 51"/>
                    <a:gd name="T15" fmla="*/ 146 h 146"/>
                    <a:gd name="T16" fmla="*/ 9 w 51"/>
                    <a:gd name="T17" fmla="*/ 145 h 146"/>
                    <a:gd name="T18" fmla="*/ 5 w 51"/>
                    <a:gd name="T19" fmla="*/ 142 h 146"/>
                    <a:gd name="T20" fmla="*/ 1 w 51"/>
                    <a:gd name="T21" fmla="*/ 138 h 146"/>
                    <a:gd name="T22" fmla="*/ 0 w 51"/>
                    <a:gd name="T23" fmla="*/ 133 h 146"/>
                    <a:gd name="T24" fmla="*/ 0 w 51"/>
                    <a:gd name="T25" fmla="*/ 13 h 146"/>
                    <a:gd name="T26" fmla="*/ 0 w 51"/>
                    <a:gd name="T27" fmla="*/ 13 h 146"/>
                    <a:gd name="T28" fmla="*/ 1 w 51"/>
                    <a:gd name="T29" fmla="*/ 7 h 146"/>
                    <a:gd name="T30" fmla="*/ 5 w 51"/>
                    <a:gd name="T31" fmla="*/ 3 h 146"/>
                    <a:gd name="T32" fmla="*/ 9 w 51"/>
                    <a:gd name="T33" fmla="*/ 1 h 146"/>
                    <a:gd name="T34" fmla="*/ 13 w 51"/>
                    <a:gd name="T35" fmla="*/ 0 h 146"/>
                    <a:gd name="T36" fmla="*/ 38 w 51"/>
                    <a:gd name="T37" fmla="*/ 0 h 146"/>
                    <a:gd name="T38" fmla="*/ 38 w 51"/>
                    <a:gd name="T39" fmla="*/ 0 h 146"/>
                    <a:gd name="T40" fmla="*/ 43 w 51"/>
                    <a:gd name="T41" fmla="*/ 1 h 146"/>
                    <a:gd name="T42" fmla="*/ 48 w 51"/>
                    <a:gd name="T43" fmla="*/ 3 h 146"/>
                    <a:gd name="T44" fmla="*/ 50 w 51"/>
                    <a:gd name="T45" fmla="*/ 7 h 146"/>
                    <a:gd name="T46" fmla="*/ 51 w 51"/>
                    <a:gd name="T47" fmla="*/ 13 h 146"/>
                    <a:gd name="T48" fmla="*/ 51 w 51"/>
                    <a:gd name="T49" fmla="*/ 133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 h="146">
                      <a:moveTo>
                        <a:pt x="51" y="133"/>
                      </a:moveTo>
                      <a:lnTo>
                        <a:pt x="51" y="133"/>
                      </a:lnTo>
                      <a:lnTo>
                        <a:pt x="50" y="138"/>
                      </a:lnTo>
                      <a:lnTo>
                        <a:pt x="48" y="142"/>
                      </a:lnTo>
                      <a:lnTo>
                        <a:pt x="43" y="145"/>
                      </a:lnTo>
                      <a:lnTo>
                        <a:pt x="38" y="146"/>
                      </a:lnTo>
                      <a:lnTo>
                        <a:pt x="13" y="146"/>
                      </a:lnTo>
                      <a:lnTo>
                        <a:pt x="13" y="146"/>
                      </a:lnTo>
                      <a:lnTo>
                        <a:pt x="9" y="145"/>
                      </a:lnTo>
                      <a:lnTo>
                        <a:pt x="5" y="142"/>
                      </a:lnTo>
                      <a:lnTo>
                        <a:pt x="1" y="138"/>
                      </a:lnTo>
                      <a:lnTo>
                        <a:pt x="0" y="133"/>
                      </a:lnTo>
                      <a:lnTo>
                        <a:pt x="0" y="13"/>
                      </a:lnTo>
                      <a:lnTo>
                        <a:pt x="0" y="13"/>
                      </a:lnTo>
                      <a:lnTo>
                        <a:pt x="1" y="7"/>
                      </a:lnTo>
                      <a:lnTo>
                        <a:pt x="5" y="3"/>
                      </a:lnTo>
                      <a:lnTo>
                        <a:pt x="9" y="1"/>
                      </a:lnTo>
                      <a:lnTo>
                        <a:pt x="13" y="0"/>
                      </a:lnTo>
                      <a:lnTo>
                        <a:pt x="38" y="0"/>
                      </a:lnTo>
                      <a:lnTo>
                        <a:pt x="38" y="0"/>
                      </a:lnTo>
                      <a:lnTo>
                        <a:pt x="43" y="1"/>
                      </a:lnTo>
                      <a:lnTo>
                        <a:pt x="48" y="3"/>
                      </a:lnTo>
                      <a:lnTo>
                        <a:pt x="50" y="7"/>
                      </a:lnTo>
                      <a:lnTo>
                        <a:pt x="51" y="13"/>
                      </a:lnTo>
                      <a:lnTo>
                        <a:pt x="51" y="133"/>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43" name="Freeform 390"/>
                <p:cNvSpPr>
                  <a:spLocks/>
                </p:cNvSpPr>
                <p:nvPr userDrawn="1"/>
              </p:nvSpPr>
              <p:spPr bwMode="auto">
                <a:xfrm>
                  <a:off x="10110333" y="3661861"/>
                  <a:ext cx="36513" cy="38100"/>
                </a:xfrm>
                <a:custGeom>
                  <a:avLst/>
                  <a:gdLst>
                    <a:gd name="T0" fmla="*/ 48 w 48"/>
                    <a:gd name="T1" fmla="*/ 23 h 47"/>
                    <a:gd name="T2" fmla="*/ 48 w 48"/>
                    <a:gd name="T3" fmla="*/ 23 h 47"/>
                    <a:gd name="T4" fmla="*/ 48 w 48"/>
                    <a:gd name="T5" fmla="*/ 28 h 47"/>
                    <a:gd name="T6" fmla="*/ 45 w 48"/>
                    <a:gd name="T7" fmla="*/ 33 h 47"/>
                    <a:gd name="T8" fmla="*/ 44 w 48"/>
                    <a:gd name="T9" fmla="*/ 37 h 47"/>
                    <a:gd name="T10" fmla="*/ 41 w 48"/>
                    <a:gd name="T11" fmla="*/ 40 h 47"/>
                    <a:gd name="T12" fmla="*/ 37 w 48"/>
                    <a:gd name="T13" fmla="*/ 44 h 47"/>
                    <a:gd name="T14" fmla="*/ 33 w 48"/>
                    <a:gd name="T15" fmla="*/ 46 h 47"/>
                    <a:gd name="T16" fmla="*/ 29 w 48"/>
                    <a:gd name="T17" fmla="*/ 47 h 47"/>
                    <a:gd name="T18" fmla="*/ 24 w 48"/>
                    <a:gd name="T19" fmla="*/ 47 h 47"/>
                    <a:gd name="T20" fmla="*/ 24 w 48"/>
                    <a:gd name="T21" fmla="*/ 47 h 47"/>
                    <a:gd name="T22" fmla="*/ 19 w 48"/>
                    <a:gd name="T23" fmla="*/ 47 h 47"/>
                    <a:gd name="T24" fmla="*/ 14 w 48"/>
                    <a:gd name="T25" fmla="*/ 46 h 47"/>
                    <a:gd name="T26" fmla="*/ 11 w 48"/>
                    <a:gd name="T27" fmla="*/ 44 h 47"/>
                    <a:gd name="T28" fmla="*/ 7 w 48"/>
                    <a:gd name="T29" fmla="*/ 40 h 47"/>
                    <a:gd name="T30" fmla="*/ 4 w 48"/>
                    <a:gd name="T31" fmla="*/ 37 h 47"/>
                    <a:gd name="T32" fmla="*/ 3 w 48"/>
                    <a:gd name="T33" fmla="*/ 33 h 47"/>
                    <a:gd name="T34" fmla="*/ 0 w 48"/>
                    <a:gd name="T35" fmla="*/ 28 h 47"/>
                    <a:gd name="T36" fmla="*/ 0 w 48"/>
                    <a:gd name="T37" fmla="*/ 23 h 47"/>
                    <a:gd name="T38" fmla="*/ 0 w 48"/>
                    <a:gd name="T39" fmla="*/ 23 h 47"/>
                    <a:gd name="T40" fmla="*/ 0 w 48"/>
                    <a:gd name="T41" fmla="*/ 19 h 47"/>
                    <a:gd name="T42" fmla="*/ 3 w 48"/>
                    <a:gd name="T43" fmla="*/ 14 h 47"/>
                    <a:gd name="T44" fmla="*/ 4 w 48"/>
                    <a:gd name="T45" fmla="*/ 10 h 47"/>
                    <a:gd name="T46" fmla="*/ 7 w 48"/>
                    <a:gd name="T47" fmla="*/ 7 h 47"/>
                    <a:gd name="T48" fmla="*/ 11 w 48"/>
                    <a:gd name="T49" fmla="*/ 4 h 47"/>
                    <a:gd name="T50" fmla="*/ 14 w 48"/>
                    <a:gd name="T51" fmla="*/ 2 h 47"/>
                    <a:gd name="T52" fmla="*/ 19 w 48"/>
                    <a:gd name="T53" fmla="*/ 1 h 47"/>
                    <a:gd name="T54" fmla="*/ 24 w 48"/>
                    <a:gd name="T55" fmla="*/ 0 h 47"/>
                    <a:gd name="T56" fmla="*/ 24 w 48"/>
                    <a:gd name="T57" fmla="*/ 0 h 47"/>
                    <a:gd name="T58" fmla="*/ 29 w 48"/>
                    <a:gd name="T59" fmla="*/ 1 h 47"/>
                    <a:gd name="T60" fmla="*/ 33 w 48"/>
                    <a:gd name="T61" fmla="*/ 2 h 47"/>
                    <a:gd name="T62" fmla="*/ 37 w 48"/>
                    <a:gd name="T63" fmla="*/ 4 h 47"/>
                    <a:gd name="T64" fmla="*/ 41 w 48"/>
                    <a:gd name="T65" fmla="*/ 7 h 47"/>
                    <a:gd name="T66" fmla="*/ 44 w 48"/>
                    <a:gd name="T67" fmla="*/ 10 h 47"/>
                    <a:gd name="T68" fmla="*/ 45 w 48"/>
                    <a:gd name="T69" fmla="*/ 14 h 47"/>
                    <a:gd name="T70" fmla="*/ 48 w 48"/>
                    <a:gd name="T71" fmla="*/ 19 h 47"/>
                    <a:gd name="T72" fmla="*/ 48 w 48"/>
                    <a:gd name="T73" fmla="*/ 23 h 47"/>
                    <a:gd name="T74" fmla="*/ 48 w 48"/>
                    <a:gd name="T7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 h="47">
                      <a:moveTo>
                        <a:pt x="48" y="23"/>
                      </a:moveTo>
                      <a:lnTo>
                        <a:pt x="48" y="23"/>
                      </a:lnTo>
                      <a:lnTo>
                        <a:pt x="48" y="28"/>
                      </a:lnTo>
                      <a:lnTo>
                        <a:pt x="45" y="33"/>
                      </a:lnTo>
                      <a:lnTo>
                        <a:pt x="44" y="37"/>
                      </a:lnTo>
                      <a:lnTo>
                        <a:pt x="41" y="40"/>
                      </a:lnTo>
                      <a:lnTo>
                        <a:pt x="37" y="44"/>
                      </a:lnTo>
                      <a:lnTo>
                        <a:pt x="33" y="46"/>
                      </a:lnTo>
                      <a:lnTo>
                        <a:pt x="29" y="47"/>
                      </a:lnTo>
                      <a:lnTo>
                        <a:pt x="24" y="47"/>
                      </a:lnTo>
                      <a:lnTo>
                        <a:pt x="24" y="47"/>
                      </a:lnTo>
                      <a:lnTo>
                        <a:pt x="19" y="47"/>
                      </a:lnTo>
                      <a:lnTo>
                        <a:pt x="14" y="46"/>
                      </a:lnTo>
                      <a:lnTo>
                        <a:pt x="11" y="44"/>
                      </a:lnTo>
                      <a:lnTo>
                        <a:pt x="7" y="40"/>
                      </a:lnTo>
                      <a:lnTo>
                        <a:pt x="4" y="37"/>
                      </a:lnTo>
                      <a:lnTo>
                        <a:pt x="3" y="33"/>
                      </a:lnTo>
                      <a:lnTo>
                        <a:pt x="0" y="28"/>
                      </a:lnTo>
                      <a:lnTo>
                        <a:pt x="0" y="23"/>
                      </a:lnTo>
                      <a:lnTo>
                        <a:pt x="0" y="23"/>
                      </a:lnTo>
                      <a:lnTo>
                        <a:pt x="0" y="19"/>
                      </a:lnTo>
                      <a:lnTo>
                        <a:pt x="3" y="14"/>
                      </a:lnTo>
                      <a:lnTo>
                        <a:pt x="4" y="10"/>
                      </a:lnTo>
                      <a:lnTo>
                        <a:pt x="7" y="7"/>
                      </a:lnTo>
                      <a:lnTo>
                        <a:pt x="11" y="4"/>
                      </a:lnTo>
                      <a:lnTo>
                        <a:pt x="14" y="2"/>
                      </a:lnTo>
                      <a:lnTo>
                        <a:pt x="19" y="1"/>
                      </a:lnTo>
                      <a:lnTo>
                        <a:pt x="24" y="0"/>
                      </a:lnTo>
                      <a:lnTo>
                        <a:pt x="24" y="0"/>
                      </a:lnTo>
                      <a:lnTo>
                        <a:pt x="29" y="1"/>
                      </a:lnTo>
                      <a:lnTo>
                        <a:pt x="33" y="2"/>
                      </a:lnTo>
                      <a:lnTo>
                        <a:pt x="37" y="4"/>
                      </a:lnTo>
                      <a:lnTo>
                        <a:pt x="41" y="7"/>
                      </a:lnTo>
                      <a:lnTo>
                        <a:pt x="44" y="10"/>
                      </a:lnTo>
                      <a:lnTo>
                        <a:pt x="45" y="14"/>
                      </a:lnTo>
                      <a:lnTo>
                        <a:pt x="48" y="19"/>
                      </a:lnTo>
                      <a:lnTo>
                        <a:pt x="48" y="23"/>
                      </a:lnTo>
                      <a:lnTo>
                        <a:pt x="48"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44" name="Freeform 391"/>
                <p:cNvSpPr>
                  <a:spLocks/>
                </p:cNvSpPr>
                <p:nvPr userDrawn="1"/>
              </p:nvSpPr>
              <p:spPr bwMode="auto">
                <a:xfrm>
                  <a:off x="10015083" y="3706311"/>
                  <a:ext cx="101600" cy="101600"/>
                </a:xfrm>
                <a:custGeom>
                  <a:avLst/>
                  <a:gdLst>
                    <a:gd name="T0" fmla="*/ 127 w 127"/>
                    <a:gd name="T1" fmla="*/ 64 h 128"/>
                    <a:gd name="T2" fmla="*/ 127 w 127"/>
                    <a:gd name="T3" fmla="*/ 64 h 128"/>
                    <a:gd name="T4" fmla="*/ 126 w 127"/>
                    <a:gd name="T5" fmla="*/ 77 h 128"/>
                    <a:gd name="T6" fmla="*/ 123 w 127"/>
                    <a:gd name="T7" fmla="*/ 89 h 128"/>
                    <a:gd name="T8" fmla="*/ 117 w 127"/>
                    <a:gd name="T9" fmla="*/ 99 h 128"/>
                    <a:gd name="T10" fmla="*/ 108 w 127"/>
                    <a:gd name="T11" fmla="*/ 109 h 128"/>
                    <a:gd name="T12" fmla="*/ 99 w 127"/>
                    <a:gd name="T13" fmla="*/ 116 h 128"/>
                    <a:gd name="T14" fmla="*/ 88 w 127"/>
                    <a:gd name="T15" fmla="*/ 122 h 128"/>
                    <a:gd name="T16" fmla="*/ 76 w 127"/>
                    <a:gd name="T17" fmla="*/ 126 h 128"/>
                    <a:gd name="T18" fmla="*/ 63 w 127"/>
                    <a:gd name="T19" fmla="*/ 128 h 128"/>
                    <a:gd name="T20" fmla="*/ 63 w 127"/>
                    <a:gd name="T21" fmla="*/ 128 h 128"/>
                    <a:gd name="T22" fmla="*/ 51 w 127"/>
                    <a:gd name="T23" fmla="*/ 126 h 128"/>
                    <a:gd name="T24" fmla="*/ 39 w 127"/>
                    <a:gd name="T25" fmla="*/ 122 h 128"/>
                    <a:gd name="T26" fmla="*/ 28 w 127"/>
                    <a:gd name="T27" fmla="*/ 116 h 128"/>
                    <a:gd name="T28" fmla="*/ 19 w 127"/>
                    <a:gd name="T29" fmla="*/ 109 h 128"/>
                    <a:gd name="T30" fmla="*/ 11 w 127"/>
                    <a:gd name="T31" fmla="*/ 99 h 128"/>
                    <a:gd name="T32" fmla="*/ 5 w 127"/>
                    <a:gd name="T33" fmla="*/ 89 h 128"/>
                    <a:gd name="T34" fmla="*/ 1 w 127"/>
                    <a:gd name="T35" fmla="*/ 77 h 128"/>
                    <a:gd name="T36" fmla="*/ 0 w 127"/>
                    <a:gd name="T37" fmla="*/ 64 h 128"/>
                    <a:gd name="T38" fmla="*/ 0 w 127"/>
                    <a:gd name="T39" fmla="*/ 64 h 128"/>
                    <a:gd name="T40" fmla="*/ 1 w 127"/>
                    <a:gd name="T41" fmla="*/ 51 h 128"/>
                    <a:gd name="T42" fmla="*/ 5 w 127"/>
                    <a:gd name="T43" fmla="*/ 39 h 128"/>
                    <a:gd name="T44" fmla="*/ 11 w 127"/>
                    <a:gd name="T45" fmla="*/ 28 h 128"/>
                    <a:gd name="T46" fmla="*/ 19 w 127"/>
                    <a:gd name="T47" fmla="*/ 19 h 128"/>
                    <a:gd name="T48" fmla="*/ 28 w 127"/>
                    <a:gd name="T49" fmla="*/ 10 h 128"/>
                    <a:gd name="T50" fmla="*/ 39 w 127"/>
                    <a:gd name="T51" fmla="*/ 6 h 128"/>
                    <a:gd name="T52" fmla="*/ 51 w 127"/>
                    <a:gd name="T53" fmla="*/ 1 h 128"/>
                    <a:gd name="T54" fmla="*/ 63 w 127"/>
                    <a:gd name="T55" fmla="*/ 0 h 128"/>
                    <a:gd name="T56" fmla="*/ 63 w 127"/>
                    <a:gd name="T57" fmla="*/ 0 h 128"/>
                    <a:gd name="T58" fmla="*/ 76 w 127"/>
                    <a:gd name="T59" fmla="*/ 1 h 128"/>
                    <a:gd name="T60" fmla="*/ 88 w 127"/>
                    <a:gd name="T61" fmla="*/ 6 h 128"/>
                    <a:gd name="T62" fmla="*/ 99 w 127"/>
                    <a:gd name="T63" fmla="*/ 10 h 128"/>
                    <a:gd name="T64" fmla="*/ 108 w 127"/>
                    <a:gd name="T65" fmla="*/ 19 h 128"/>
                    <a:gd name="T66" fmla="*/ 117 w 127"/>
                    <a:gd name="T67" fmla="*/ 28 h 128"/>
                    <a:gd name="T68" fmla="*/ 123 w 127"/>
                    <a:gd name="T69" fmla="*/ 39 h 128"/>
                    <a:gd name="T70" fmla="*/ 126 w 127"/>
                    <a:gd name="T71" fmla="*/ 51 h 128"/>
                    <a:gd name="T72" fmla="*/ 127 w 127"/>
                    <a:gd name="T73" fmla="*/ 64 h 128"/>
                    <a:gd name="T74" fmla="*/ 127 w 127"/>
                    <a:gd name="T7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7" h="128">
                      <a:moveTo>
                        <a:pt x="127" y="64"/>
                      </a:moveTo>
                      <a:lnTo>
                        <a:pt x="127" y="64"/>
                      </a:lnTo>
                      <a:lnTo>
                        <a:pt x="126" y="77"/>
                      </a:lnTo>
                      <a:lnTo>
                        <a:pt x="123" y="89"/>
                      </a:lnTo>
                      <a:lnTo>
                        <a:pt x="117" y="99"/>
                      </a:lnTo>
                      <a:lnTo>
                        <a:pt x="108" y="109"/>
                      </a:lnTo>
                      <a:lnTo>
                        <a:pt x="99" y="116"/>
                      </a:lnTo>
                      <a:lnTo>
                        <a:pt x="88" y="122"/>
                      </a:lnTo>
                      <a:lnTo>
                        <a:pt x="76" y="126"/>
                      </a:lnTo>
                      <a:lnTo>
                        <a:pt x="63" y="128"/>
                      </a:lnTo>
                      <a:lnTo>
                        <a:pt x="63" y="128"/>
                      </a:lnTo>
                      <a:lnTo>
                        <a:pt x="51" y="126"/>
                      </a:lnTo>
                      <a:lnTo>
                        <a:pt x="39" y="122"/>
                      </a:lnTo>
                      <a:lnTo>
                        <a:pt x="28" y="116"/>
                      </a:lnTo>
                      <a:lnTo>
                        <a:pt x="19" y="109"/>
                      </a:lnTo>
                      <a:lnTo>
                        <a:pt x="11" y="99"/>
                      </a:lnTo>
                      <a:lnTo>
                        <a:pt x="5" y="89"/>
                      </a:lnTo>
                      <a:lnTo>
                        <a:pt x="1" y="77"/>
                      </a:lnTo>
                      <a:lnTo>
                        <a:pt x="0" y="64"/>
                      </a:lnTo>
                      <a:lnTo>
                        <a:pt x="0" y="64"/>
                      </a:lnTo>
                      <a:lnTo>
                        <a:pt x="1" y="51"/>
                      </a:lnTo>
                      <a:lnTo>
                        <a:pt x="5" y="39"/>
                      </a:lnTo>
                      <a:lnTo>
                        <a:pt x="11" y="28"/>
                      </a:lnTo>
                      <a:lnTo>
                        <a:pt x="19" y="19"/>
                      </a:lnTo>
                      <a:lnTo>
                        <a:pt x="28" y="10"/>
                      </a:lnTo>
                      <a:lnTo>
                        <a:pt x="39" y="6"/>
                      </a:lnTo>
                      <a:lnTo>
                        <a:pt x="51" y="1"/>
                      </a:lnTo>
                      <a:lnTo>
                        <a:pt x="63" y="0"/>
                      </a:lnTo>
                      <a:lnTo>
                        <a:pt x="63" y="0"/>
                      </a:lnTo>
                      <a:lnTo>
                        <a:pt x="76" y="1"/>
                      </a:lnTo>
                      <a:lnTo>
                        <a:pt x="88" y="6"/>
                      </a:lnTo>
                      <a:lnTo>
                        <a:pt x="99" y="10"/>
                      </a:lnTo>
                      <a:lnTo>
                        <a:pt x="108" y="19"/>
                      </a:lnTo>
                      <a:lnTo>
                        <a:pt x="117" y="28"/>
                      </a:lnTo>
                      <a:lnTo>
                        <a:pt x="123" y="39"/>
                      </a:lnTo>
                      <a:lnTo>
                        <a:pt x="126" y="51"/>
                      </a:lnTo>
                      <a:lnTo>
                        <a:pt x="127" y="64"/>
                      </a:lnTo>
                      <a:lnTo>
                        <a:pt x="127"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45" name="Freeform 392"/>
                <p:cNvSpPr>
                  <a:spLocks/>
                </p:cNvSpPr>
                <p:nvPr userDrawn="1"/>
              </p:nvSpPr>
              <p:spPr bwMode="auto">
                <a:xfrm>
                  <a:off x="9797596" y="4307974"/>
                  <a:ext cx="73025" cy="31750"/>
                </a:xfrm>
                <a:custGeom>
                  <a:avLst/>
                  <a:gdLst>
                    <a:gd name="T0" fmla="*/ 92 w 92"/>
                    <a:gd name="T1" fmla="*/ 0 h 39"/>
                    <a:gd name="T2" fmla="*/ 92 w 92"/>
                    <a:gd name="T3" fmla="*/ 0 h 39"/>
                    <a:gd name="T4" fmla="*/ 0 w 92"/>
                    <a:gd name="T5" fmla="*/ 0 h 39"/>
                    <a:gd name="T6" fmla="*/ 0 w 92"/>
                    <a:gd name="T7" fmla="*/ 39 h 39"/>
                    <a:gd name="T8" fmla="*/ 92 w 92"/>
                    <a:gd name="T9" fmla="*/ 39 h 39"/>
                    <a:gd name="T10" fmla="*/ 92 w 92"/>
                    <a:gd name="T11" fmla="*/ 0 h 39"/>
                  </a:gdLst>
                  <a:ahLst/>
                  <a:cxnLst>
                    <a:cxn ang="0">
                      <a:pos x="T0" y="T1"/>
                    </a:cxn>
                    <a:cxn ang="0">
                      <a:pos x="T2" y="T3"/>
                    </a:cxn>
                    <a:cxn ang="0">
                      <a:pos x="T4" y="T5"/>
                    </a:cxn>
                    <a:cxn ang="0">
                      <a:pos x="T6" y="T7"/>
                    </a:cxn>
                    <a:cxn ang="0">
                      <a:pos x="T8" y="T9"/>
                    </a:cxn>
                    <a:cxn ang="0">
                      <a:pos x="T10" y="T11"/>
                    </a:cxn>
                  </a:cxnLst>
                  <a:rect l="0" t="0" r="r" b="b"/>
                  <a:pathLst>
                    <a:path w="92" h="39">
                      <a:moveTo>
                        <a:pt x="92" y="0"/>
                      </a:moveTo>
                      <a:lnTo>
                        <a:pt x="92" y="0"/>
                      </a:lnTo>
                      <a:lnTo>
                        <a:pt x="0" y="0"/>
                      </a:lnTo>
                      <a:lnTo>
                        <a:pt x="0" y="39"/>
                      </a:lnTo>
                      <a:lnTo>
                        <a:pt x="92" y="39"/>
                      </a:lnTo>
                      <a:lnTo>
                        <a:pt x="92" y="0"/>
                      </a:lnTo>
                      <a:close/>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46" name="Freeform 393"/>
                <p:cNvSpPr>
                  <a:spLocks/>
                </p:cNvSpPr>
                <p:nvPr userDrawn="1"/>
              </p:nvSpPr>
              <p:spPr bwMode="auto">
                <a:xfrm>
                  <a:off x="9797596" y="4307974"/>
                  <a:ext cx="73025" cy="31750"/>
                </a:xfrm>
                <a:custGeom>
                  <a:avLst/>
                  <a:gdLst>
                    <a:gd name="T0" fmla="*/ 92 w 92"/>
                    <a:gd name="T1" fmla="*/ 0 h 39"/>
                    <a:gd name="T2" fmla="*/ 92 w 92"/>
                    <a:gd name="T3" fmla="*/ 0 h 39"/>
                    <a:gd name="T4" fmla="*/ 0 w 92"/>
                    <a:gd name="T5" fmla="*/ 0 h 39"/>
                    <a:gd name="T6" fmla="*/ 0 w 92"/>
                    <a:gd name="T7" fmla="*/ 39 h 39"/>
                    <a:gd name="T8" fmla="*/ 92 w 92"/>
                    <a:gd name="T9" fmla="*/ 39 h 39"/>
                    <a:gd name="T10" fmla="*/ 92 w 92"/>
                    <a:gd name="T11" fmla="*/ 0 h 39"/>
                  </a:gdLst>
                  <a:ahLst/>
                  <a:cxnLst>
                    <a:cxn ang="0">
                      <a:pos x="T0" y="T1"/>
                    </a:cxn>
                    <a:cxn ang="0">
                      <a:pos x="T2" y="T3"/>
                    </a:cxn>
                    <a:cxn ang="0">
                      <a:pos x="T4" y="T5"/>
                    </a:cxn>
                    <a:cxn ang="0">
                      <a:pos x="T6" y="T7"/>
                    </a:cxn>
                    <a:cxn ang="0">
                      <a:pos x="T8" y="T9"/>
                    </a:cxn>
                    <a:cxn ang="0">
                      <a:pos x="T10" y="T11"/>
                    </a:cxn>
                  </a:cxnLst>
                  <a:rect l="0" t="0" r="r" b="b"/>
                  <a:pathLst>
                    <a:path w="92" h="39">
                      <a:moveTo>
                        <a:pt x="92" y="0"/>
                      </a:moveTo>
                      <a:lnTo>
                        <a:pt x="92" y="0"/>
                      </a:lnTo>
                      <a:lnTo>
                        <a:pt x="0" y="0"/>
                      </a:lnTo>
                      <a:lnTo>
                        <a:pt x="0" y="39"/>
                      </a:lnTo>
                      <a:lnTo>
                        <a:pt x="92" y="39"/>
                      </a:lnTo>
                      <a:lnTo>
                        <a:pt x="9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06" name="Rectangle 395"/>
                <p:cNvSpPr>
                  <a:spLocks noChangeArrowheads="1"/>
                </p:cNvSpPr>
                <p:nvPr userDrawn="1"/>
              </p:nvSpPr>
              <p:spPr bwMode="auto">
                <a:xfrm>
                  <a:off x="9870621" y="4307974"/>
                  <a:ext cx="74613" cy="31750"/>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07" name="Rectangle 396"/>
                <p:cNvSpPr>
                  <a:spLocks noChangeArrowheads="1"/>
                </p:cNvSpPr>
                <p:nvPr userDrawn="1"/>
              </p:nvSpPr>
              <p:spPr bwMode="auto">
                <a:xfrm>
                  <a:off x="9870621" y="4307974"/>
                  <a:ext cx="74613" cy="3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08" name="Freeform 397"/>
                <p:cNvSpPr>
                  <a:spLocks/>
                </p:cNvSpPr>
                <p:nvPr userDrawn="1"/>
              </p:nvSpPr>
              <p:spPr bwMode="auto">
                <a:xfrm>
                  <a:off x="9945233" y="3971424"/>
                  <a:ext cx="192088" cy="30163"/>
                </a:xfrm>
                <a:custGeom>
                  <a:avLst/>
                  <a:gdLst>
                    <a:gd name="T0" fmla="*/ 244 w 244"/>
                    <a:gd name="T1" fmla="*/ 0 h 40"/>
                    <a:gd name="T2" fmla="*/ 244 w 244"/>
                    <a:gd name="T3" fmla="*/ 0 h 40"/>
                    <a:gd name="T4" fmla="*/ 0 w 244"/>
                    <a:gd name="T5" fmla="*/ 0 h 40"/>
                    <a:gd name="T6" fmla="*/ 0 w 244"/>
                    <a:gd name="T7" fmla="*/ 40 h 40"/>
                    <a:gd name="T8" fmla="*/ 244 w 244"/>
                    <a:gd name="T9" fmla="*/ 40 h 40"/>
                    <a:gd name="T10" fmla="*/ 244 w 244"/>
                    <a:gd name="T11" fmla="*/ 0 h 40"/>
                  </a:gdLst>
                  <a:ahLst/>
                  <a:cxnLst>
                    <a:cxn ang="0">
                      <a:pos x="T0" y="T1"/>
                    </a:cxn>
                    <a:cxn ang="0">
                      <a:pos x="T2" y="T3"/>
                    </a:cxn>
                    <a:cxn ang="0">
                      <a:pos x="T4" y="T5"/>
                    </a:cxn>
                    <a:cxn ang="0">
                      <a:pos x="T6" y="T7"/>
                    </a:cxn>
                    <a:cxn ang="0">
                      <a:pos x="T8" y="T9"/>
                    </a:cxn>
                    <a:cxn ang="0">
                      <a:pos x="T10" y="T11"/>
                    </a:cxn>
                  </a:cxnLst>
                  <a:rect l="0" t="0" r="r" b="b"/>
                  <a:pathLst>
                    <a:path w="244" h="40">
                      <a:moveTo>
                        <a:pt x="244" y="0"/>
                      </a:moveTo>
                      <a:lnTo>
                        <a:pt x="244" y="0"/>
                      </a:lnTo>
                      <a:lnTo>
                        <a:pt x="0" y="0"/>
                      </a:lnTo>
                      <a:lnTo>
                        <a:pt x="0" y="40"/>
                      </a:lnTo>
                      <a:lnTo>
                        <a:pt x="244" y="40"/>
                      </a:lnTo>
                      <a:lnTo>
                        <a:pt x="244"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09" name="Freeform 398"/>
                <p:cNvSpPr>
                  <a:spLocks/>
                </p:cNvSpPr>
                <p:nvPr userDrawn="1"/>
              </p:nvSpPr>
              <p:spPr bwMode="auto">
                <a:xfrm>
                  <a:off x="9945233" y="3971424"/>
                  <a:ext cx="192088" cy="30163"/>
                </a:xfrm>
                <a:custGeom>
                  <a:avLst/>
                  <a:gdLst>
                    <a:gd name="T0" fmla="*/ 244 w 244"/>
                    <a:gd name="T1" fmla="*/ 0 h 40"/>
                    <a:gd name="T2" fmla="*/ 244 w 244"/>
                    <a:gd name="T3" fmla="*/ 0 h 40"/>
                    <a:gd name="T4" fmla="*/ 0 w 244"/>
                    <a:gd name="T5" fmla="*/ 0 h 40"/>
                    <a:gd name="T6" fmla="*/ 0 w 244"/>
                    <a:gd name="T7" fmla="*/ 40 h 40"/>
                    <a:gd name="T8" fmla="*/ 244 w 244"/>
                    <a:gd name="T9" fmla="*/ 40 h 40"/>
                    <a:gd name="T10" fmla="*/ 244 w 244"/>
                    <a:gd name="T11" fmla="*/ 0 h 40"/>
                  </a:gdLst>
                  <a:ahLst/>
                  <a:cxnLst>
                    <a:cxn ang="0">
                      <a:pos x="T0" y="T1"/>
                    </a:cxn>
                    <a:cxn ang="0">
                      <a:pos x="T2" y="T3"/>
                    </a:cxn>
                    <a:cxn ang="0">
                      <a:pos x="T4" y="T5"/>
                    </a:cxn>
                    <a:cxn ang="0">
                      <a:pos x="T6" y="T7"/>
                    </a:cxn>
                    <a:cxn ang="0">
                      <a:pos x="T8" y="T9"/>
                    </a:cxn>
                    <a:cxn ang="0">
                      <a:pos x="T10" y="T11"/>
                    </a:cxn>
                  </a:cxnLst>
                  <a:rect l="0" t="0" r="r" b="b"/>
                  <a:pathLst>
                    <a:path w="244" h="40">
                      <a:moveTo>
                        <a:pt x="244" y="0"/>
                      </a:moveTo>
                      <a:lnTo>
                        <a:pt x="244" y="0"/>
                      </a:lnTo>
                      <a:lnTo>
                        <a:pt x="0" y="0"/>
                      </a:lnTo>
                      <a:lnTo>
                        <a:pt x="0" y="40"/>
                      </a:lnTo>
                      <a:lnTo>
                        <a:pt x="244" y="40"/>
                      </a:lnTo>
                      <a:lnTo>
                        <a:pt x="2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10" name="Freeform 399"/>
                <p:cNvSpPr>
                  <a:spLocks/>
                </p:cNvSpPr>
                <p:nvPr userDrawn="1"/>
              </p:nvSpPr>
              <p:spPr bwMode="auto">
                <a:xfrm>
                  <a:off x="9722983" y="3531686"/>
                  <a:ext cx="68263" cy="69850"/>
                </a:xfrm>
                <a:custGeom>
                  <a:avLst/>
                  <a:gdLst>
                    <a:gd name="T0" fmla="*/ 86 w 86"/>
                    <a:gd name="T1" fmla="*/ 42 h 86"/>
                    <a:gd name="T2" fmla="*/ 86 w 86"/>
                    <a:gd name="T3" fmla="*/ 42 h 86"/>
                    <a:gd name="T4" fmla="*/ 85 w 86"/>
                    <a:gd name="T5" fmla="*/ 52 h 86"/>
                    <a:gd name="T6" fmla="*/ 83 w 86"/>
                    <a:gd name="T7" fmla="*/ 60 h 86"/>
                    <a:gd name="T8" fmla="*/ 79 w 86"/>
                    <a:gd name="T9" fmla="*/ 67 h 86"/>
                    <a:gd name="T10" fmla="*/ 73 w 86"/>
                    <a:gd name="T11" fmla="*/ 73 h 86"/>
                    <a:gd name="T12" fmla="*/ 67 w 86"/>
                    <a:gd name="T13" fmla="*/ 79 h 86"/>
                    <a:gd name="T14" fmla="*/ 60 w 86"/>
                    <a:gd name="T15" fmla="*/ 83 h 86"/>
                    <a:gd name="T16" fmla="*/ 52 w 86"/>
                    <a:gd name="T17" fmla="*/ 85 h 86"/>
                    <a:gd name="T18" fmla="*/ 44 w 86"/>
                    <a:gd name="T19" fmla="*/ 86 h 86"/>
                    <a:gd name="T20" fmla="*/ 44 w 86"/>
                    <a:gd name="T21" fmla="*/ 86 h 86"/>
                    <a:gd name="T22" fmla="*/ 34 w 86"/>
                    <a:gd name="T23" fmla="*/ 85 h 86"/>
                    <a:gd name="T24" fmla="*/ 26 w 86"/>
                    <a:gd name="T25" fmla="*/ 83 h 86"/>
                    <a:gd name="T26" fmla="*/ 19 w 86"/>
                    <a:gd name="T27" fmla="*/ 79 h 86"/>
                    <a:gd name="T28" fmla="*/ 13 w 86"/>
                    <a:gd name="T29" fmla="*/ 73 h 86"/>
                    <a:gd name="T30" fmla="*/ 7 w 86"/>
                    <a:gd name="T31" fmla="*/ 67 h 86"/>
                    <a:gd name="T32" fmla="*/ 3 w 86"/>
                    <a:gd name="T33" fmla="*/ 60 h 86"/>
                    <a:gd name="T34" fmla="*/ 1 w 86"/>
                    <a:gd name="T35" fmla="*/ 52 h 86"/>
                    <a:gd name="T36" fmla="*/ 0 w 86"/>
                    <a:gd name="T37" fmla="*/ 42 h 86"/>
                    <a:gd name="T38" fmla="*/ 0 w 86"/>
                    <a:gd name="T39" fmla="*/ 42 h 86"/>
                    <a:gd name="T40" fmla="*/ 1 w 86"/>
                    <a:gd name="T41" fmla="*/ 34 h 86"/>
                    <a:gd name="T42" fmla="*/ 3 w 86"/>
                    <a:gd name="T43" fmla="*/ 26 h 86"/>
                    <a:gd name="T44" fmla="*/ 7 w 86"/>
                    <a:gd name="T45" fmla="*/ 19 h 86"/>
                    <a:gd name="T46" fmla="*/ 13 w 86"/>
                    <a:gd name="T47" fmla="*/ 13 h 86"/>
                    <a:gd name="T48" fmla="*/ 19 w 86"/>
                    <a:gd name="T49" fmla="*/ 7 h 86"/>
                    <a:gd name="T50" fmla="*/ 26 w 86"/>
                    <a:gd name="T51" fmla="*/ 3 h 86"/>
                    <a:gd name="T52" fmla="*/ 34 w 86"/>
                    <a:gd name="T53" fmla="*/ 1 h 86"/>
                    <a:gd name="T54" fmla="*/ 44 w 86"/>
                    <a:gd name="T55" fmla="*/ 0 h 86"/>
                    <a:gd name="T56" fmla="*/ 44 w 86"/>
                    <a:gd name="T57" fmla="*/ 0 h 86"/>
                    <a:gd name="T58" fmla="*/ 52 w 86"/>
                    <a:gd name="T59" fmla="*/ 1 h 86"/>
                    <a:gd name="T60" fmla="*/ 60 w 86"/>
                    <a:gd name="T61" fmla="*/ 3 h 86"/>
                    <a:gd name="T62" fmla="*/ 67 w 86"/>
                    <a:gd name="T63" fmla="*/ 7 h 86"/>
                    <a:gd name="T64" fmla="*/ 73 w 86"/>
                    <a:gd name="T65" fmla="*/ 13 h 86"/>
                    <a:gd name="T66" fmla="*/ 79 w 86"/>
                    <a:gd name="T67" fmla="*/ 19 h 86"/>
                    <a:gd name="T68" fmla="*/ 83 w 86"/>
                    <a:gd name="T69" fmla="*/ 26 h 86"/>
                    <a:gd name="T70" fmla="*/ 85 w 86"/>
                    <a:gd name="T71" fmla="*/ 34 h 86"/>
                    <a:gd name="T72" fmla="*/ 86 w 86"/>
                    <a:gd name="T73" fmla="*/ 42 h 86"/>
                    <a:gd name="T74" fmla="*/ 86 w 86"/>
                    <a:gd name="T75" fmla="*/ 4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6" h="86">
                      <a:moveTo>
                        <a:pt x="86" y="42"/>
                      </a:moveTo>
                      <a:lnTo>
                        <a:pt x="86" y="42"/>
                      </a:lnTo>
                      <a:lnTo>
                        <a:pt x="85" y="52"/>
                      </a:lnTo>
                      <a:lnTo>
                        <a:pt x="83" y="60"/>
                      </a:lnTo>
                      <a:lnTo>
                        <a:pt x="79" y="67"/>
                      </a:lnTo>
                      <a:lnTo>
                        <a:pt x="73" y="73"/>
                      </a:lnTo>
                      <a:lnTo>
                        <a:pt x="67" y="79"/>
                      </a:lnTo>
                      <a:lnTo>
                        <a:pt x="60" y="83"/>
                      </a:lnTo>
                      <a:lnTo>
                        <a:pt x="52" y="85"/>
                      </a:lnTo>
                      <a:lnTo>
                        <a:pt x="44" y="86"/>
                      </a:lnTo>
                      <a:lnTo>
                        <a:pt x="44" y="86"/>
                      </a:lnTo>
                      <a:lnTo>
                        <a:pt x="34" y="85"/>
                      </a:lnTo>
                      <a:lnTo>
                        <a:pt x="26" y="83"/>
                      </a:lnTo>
                      <a:lnTo>
                        <a:pt x="19" y="79"/>
                      </a:lnTo>
                      <a:lnTo>
                        <a:pt x="13" y="73"/>
                      </a:lnTo>
                      <a:lnTo>
                        <a:pt x="7" y="67"/>
                      </a:lnTo>
                      <a:lnTo>
                        <a:pt x="3" y="60"/>
                      </a:lnTo>
                      <a:lnTo>
                        <a:pt x="1" y="52"/>
                      </a:lnTo>
                      <a:lnTo>
                        <a:pt x="0" y="42"/>
                      </a:lnTo>
                      <a:lnTo>
                        <a:pt x="0" y="42"/>
                      </a:lnTo>
                      <a:lnTo>
                        <a:pt x="1" y="34"/>
                      </a:lnTo>
                      <a:lnTo>
                        <a:pt x="3" y="26"/>
                      </a:lnTo>
                      <a:lnTo>
                        <a:pt x="7" y="19"/>
                      </a:lnTo>
                      <a:lnTo>
                        <a:pt x="13" y="13"/>
                      </a:lnTo>
                      <a:lnTo>
                        <a:pt x="19" y="7"/>
                      </a:lnTo>
                      <a:lnTo>
                        <a:pt x="26" y="3"/>
                      </a:lnTo>
                      <a:lnTo>
                        <a:pt x="34" y="1"/>
                      </a:lnTo>
                      <a:lnTo>
                        <a:pt x="44" y="0"/>
                      </a:lnTo>
                      <a:lnTo>
                        <a:pt x="44" y="0"/>
                      </a:lnTo>
                      <a:lnTo>
                        <a:pt x="52" y="1"/>
                      </a:lnTo>
                      <a:lnTo>
                        <a:pt x="60" y="3"/>
                      </a:lnTo>
                      <a:lnTo>
                        <a:pt x="67" y="7"/>
                      </a:lnTo>
                      <a:lnTo>
                        <a:pt x="73" y="13"/>
                      </a:lnTo>
                      <a:lnTo>
                        <a:pt x="79" y="19"/>
                      </a:lnTo>
                      <a:lnTo>
                        <a:pt x="83" y="26"/>
                      </a:lnTo>
                      <a:lnTo>
                        <a:pt x="85" y="34"/>
                      </a:lnTo>
                      <a:lnTo>
                        <a:pt x="86" y="42"/>
                      </a:lnTo>
                      <a:lnTo>
                        <a:pt x="86" y="42"/>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11" name="Freeform 400"/>
                <p:cNvSpPr>
                  <a:spLocks/>
                </p:cNvSpPr>
                <p:nvPr userDrawn="1"/>
              </p:nvSpPr>
              <p:spPr bwMode="auto">
                <a:xfrm>
                  <a:off x="9722983" y="3531686"/>
                  <a:ext cx="68263" cy="34925"/>
                </a:xfrm>
                <a:custGeom>
                  <a:avLst/>
                  <a:gdLst>
                    <a:gd name="T0" fmla="*/ 44 w 86"/>
                    <a:gd name="T1" fmla="*/ 0 h 42"/>
                    <a:gd name="T2" fmla="*/ 44 w 86"/>
                    <a:gd name="T3" fmla="*/ 0 h 42"/>
                    <a:gd name="T4" fmla="*/ 34 w 86"/>
                    <a:gd name="T5" fmla="*/ 1 h 42"/>
                    <a:gd name="T6" fmla="*/ 26 w 86"/>
                    <a:gd name="T7" fmla="*/ 3 h 42"/>
                    <a:gd name="T8" fmla="*/ 19 w 86"/>
                    <a:gd name="T9" fmla="*/ 7 h 42"/>
                    <a:gd name="T10" fmla="*/ 13 w 86"/>
                    <a:gd name="T11" fmla="*/ 13 h 42"/>
                    <a:gd name="T12" fmla="*/ 7 w 86"/>
                    <a:gd name="T13" fmla="*/ 19 h 42"/>
                    <a:gd name="T14" fmla="*/ 3 w 86"/>
                    <a:gd name="T15" fmla="*/ 26 h 42"/>
                    <a:gd name="T16" fmla="*/ 1 w 86"/>
                    <a:gd name="T17" fmla="*/ 34 h 42"/>
                    <a:gd name="T18" fmla="*/ 0 w 86"/>
                    <a:gd name="T19" fmla="*/ 42 h 42"/>
                    <a:gd name="T20" fmla="*/ 86 w 86"/>
                    <a:gd name="T21" fmla="*/ 42 h 42"/>
                    <a:gd name="T22" fmla="*/ 86 w 86"/>
                    <a:gd name="T23" fmla="*/ 42 h 42"/>
                    <a:gd name="T24" fmla="*/ 85 w 86"/>
                    <a:gd name="T25" fmla="*/ 34 h 42"/>
                    <a:gd name="T26" fmla="*/ 83 w 86"/>
                    <a:gd name="T27" fmla="*/ 26 h 42"/>
                    <a:gd name="T28" fmla="*/ 79 w 86"/>
                    <a:gd name="T29" fmla="*/ 19 h 42"/>
                    <a:gd name="T30" fmla="*/ 73 w 86"/>
                    <a:gd name="T31" fmla="*/ 13 h 42"/>
                    <a:gd name="T32" fmla="*/ 67 w 86"/>
                    <a:gd name="T33" fmla="*/ 7 h 42"/>
                    <a:gd name="T34" fmla="*/ 60 w 86"/>
                    <a:gd name="T35" fmla="*/ 3 h 42"/>
                    <a:gd name="T36" fmla="*/ 52 w 86"/>
                    <a:gd name="T37" fmla="*/ 1 h 42"/>
                    <a:gd name="T38" fmla="*/ 44 w 86"/>
                    <a:gd name="T39" fmla="*/ 0 h 42"/>
                    <a:gd name="T40" fmla="*/ 44 w 86"/>
                    <a:gd name="T4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6" h="42">
                      <a:moveTo>
                        <a:pt x="44" y="0"/>
                      </a:moveTo>
                      <a:lnTo>
                        <a:pt x="44" y="0"/>
                      </a:lnTo>
                      <a:lnTo>
                        <a:pt x="34" y="1"/>
                      </a:lnTo>
                      <a:lnTo>
                        <a:pt x="26" y="3"/>
                      </a:lnTo>
                      <a:lnTo>
                        <a:pt x="19" y="7"/>
                      </a:lnTo>
                      <a:lnTo>
                        <a:pt x="13" y="13"/>
                      </a:lnTo>
                      <a:lnTo>
                        <a:pt x="7" y="19"/>
                      </a:lnTo>
                      <a:lnTo>
                        <a:pt x="3" y="26"/>
                      </a:lnTo>
                      <a:lnTo>
                        <a:pt x="1" y="34"/>
                      </a:lnTo>
                      <a:lnTo>
                        <a:pt x="0" y="42"/>
                      </a:lnTo>
                      <a:lnTo>
                        <a:pt x="86" y="42"/>
                      </a:lnTo>
                      <a:lnTo>
                        <a:pt x="86" y="42"/>
                      </a:lnTo>
                      <a:lnTo>
                        <a:pt x="85" y="34"/>
                      </a:lnTo>
                      <a:lnTo>
                        <a:pt x="83" y="26"/>
                      </a:lnTo>
                      <a:lnTo>
                        <a:pt x="79" y="19"/>
                      </a:lnTo>
                      <a:lnTo>
                        <a:pt x="73" y="13"/>
                      </a:lnTo>
                      <a:lnTo>
                        <a:pt x="67" y="7"/>
                      </a:lnTo>
                      <a:lnTo>
                        <a:pt x="60" y="3"/>
                      </a:lnTo>
                      <a:lnTo>
                        <a:pt x="52" y="1"/>
                      </a:lnTo>
                      <a:lnTo>
                        <a:pt x="44" y="0"/>
                      </a:lnTo>
                      <a:lnTo>
                        <a:pt x="44"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76" name="Freeform 401"/>
                <p:cNvSpPr>
                  <a:spLocks/>
                </p:cNvSpPr>
                <p:nvPr userDrawn="1"/>
              </p:nvSpPr>
              <p:spPr bwMode="auto">
                <a:xfrm>
                  <a:off x="9826171" y="3523749"/>
                  <a:ext cx="36513" cy="36513"/>
                </a:xfrm>
                <a:custGeom>
                  <a:avLst/>
                  <a:gdLst>
                    <a:gd name="T0" fmla="*/ 24 w 47"/>
                    <a:gd name="T1" fmla="*/ 0 h 46"/>
                    <a:gd name="T2" fmla="*/ 24 w 47"/>
                    <a:gd name="T3" fmla="*/ 0 h 46"/>
                    <a:gd name="T4" fmla="*/ 19 w 47"/>
                    <a:gd name="T5" fmla="*/ 1 h 46"/>
                    <a:gd name="T6" fmla="*/ 15 w 47"/>
                    <a:gd name="T7" fmla="*/ 2 h 46"/>
                    <a:gd name="T8" fmla="*/ 11 w 47"/>
                    <a:gd name="T9" fmla="*/ 5 h 46"/>
                    <a:gd name="T10" fmla="*/ 7 w 47"/>
                    <a:gd name="T11" fmla="*/ 7 h 46"/>
                    <a:gd name="T12" fmla="*/ 5 w 47"/>
                    <a:gd name="T13" fmla="*/ 11 h 46"/>
                    <a:gd name="T14" fmla="*/ 3 w 47"/>
                    <a:gd name="T15" fmla="*/ 14 h 46"/>
                    <a:gd name="T16" fmla="*/ 1 w 47"/>
                    <a:gd name="T17" fmla="*/ 19 h 46"/>
                    <a:gd name="T18" fmla="*/ 0 w 47"/>
                    <a:gd name="T19" fmla="*/ 24 h 46"/>
                    <a:gd name="T20" fmla="*/ 0 w 47"/>
                    <a:gd name="T21" fmla="*/ 24 h 46"/>
                    <a:gd name="T22" fmla="*/ 1 w 47"/>
                    <a:gd name="T23" fmla="*/ 27 h 46"/>
                    <a:gd name="T24" fmla="*/ 3 w 47"/>
                    <a:gd name="T25" fmla="*/ 32 h 46"/>
                    <a:gd name="T26" fmla="*/ 5 w 47"/>
                    <a:gd name="T27" fmla="*/ 36 h 46"/>
                    <a:gd name="T28" fmla="*/ 7 w 47"/>
                    <a:gd name="T29" fmla="*/ 39 h 46"/>
                    <a:gd name="T30" fmla="*/ 11 w 47"/>
                    <a:gd name="T31" fmla="*/ 43 h 46"/>
                    <a:gd name="T32" fmla="*/ 15 w 47"/>
                    <a:gd name="T33" fmla="*/ 44 h 46"/>
                    <a:gd name="T34" fmla="*/ 19 w 47"/>
                    <a:gd name="T35" fmla="*/ 45 h 46"/>
                    <a:gd name="T36" fmla="*/ 24 w 47"/>
                    <a:gd name="T37" fmla="*/ 46 h 46"/>
                    <a:gd name="T38" fmla="*/ 24 w 47"/>
                    <a:gd name="T39" fmla="*/ 46 h 46"/>
                    <a:gd name="T40" fmla="*/ 29 w 47"/>
                    <a:gd name="T41" fmla="*/ 45 h 46"/>
                    <a:gd name="T42" fmla="*/ 32 w 47"/>
                    <a:gd name="T43" fmla="*/ 44 h 46"/>
                    <a:gd name="T44" fmla="*/ 36 w 47"/>
                    <a:gd name="T45" fmla="*/ 43 h 46"/>
                    <a:gd name="T46" fmla="*/ 39 w 47"/>
                    <a:gd name="T47" fmla="*/ 39 h 46"/>
                    <a:gd name="T48" fmla="*/ 43 w 47"/>
                    <a:gd name="T49" fmla="*/ 36 h 46"/>
                    <a:gd name="T50" fmla="*/ 44 w 47"/>
                    <a:gd name="T51" fmla="*/ 32 h 46"/>
                    <a:gd name="T52" fmla="*/ 47 w 47"/>
                    <a:gd name="T53" fmla="*/ 27 h 46"/>
                    <a:gd name="T54" fmla="*/ 47 w 47"/>
                    <a:gd name="T55" fmla="*/ 24 h 46"/>
                    <a:gd name="T56" fmla="*/ 47 w 47"/>
                    <a:gd name="T57" fmla="*/ 24 h 46"/>
                    <a:gd name="T58" fmla="*/ 47 w 47"/>
                    <a:gd name="T59" fmla="*/ 19 h 46"/>
                    <a:gd name="T60" fmla="*/ 44 w 47"/>
                    <a:gd name="T61" fmla="*/ 14 h 46"/>
                    <a:gd name="T62" fmla="*/ 43 w 47"/>
                    <a:gd name="T63" fmla="*/ 11 h 46"/>
                    <a:gd name="T64" fmla="*/ 39 w 47"/>
                    <a:gd name="T65" fmla="*/ 7 h 46"/>
                    <a:gd name="T66" fmla="*/ 36 w 47"/>
                    <a:gd name="T67" fmla="*/ 5 h 46"/>
                    <a:gd name="T68" fmla="*/ 32 w 47"/>
                    <a:gd name="T69" fmla="*/ 2 h 46"/>
                    <a:gd name="T70" fmla="*/ 29 w 47"/>
                    <a:gd name="T71" fmla="*/ 1 h 46"/>
                    <a:gd name="T72" fmla="*/ 24 w 47"/>
                    <a:gd name="T7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 h="46">
                      <a:moveTo>
                        <a:pt x="24" y="0"/>
                      </a:moveTo>
                      <a:lnTo>
                        <a:pt x="24" y="0"/>
                      </a:lnTo>
                      <a:lnTo>
                        <a:pt x="19" y="1"/>
                      </a:lnTo>
                      <a:lnTo>
                        <a:pt x="15" y="2"/>
                      </a:lnTo>
                      <a:lnTo>
                        <a:pt x="11" y="5"/>
                      </a:lnTo>
                      <a:lnTo>
                        <a:pt x="7" y="7"/>
                      </a:lnTo>
                      <a:lnTo>
                        <a:pt x="5" y="11"/>
                      </a:lnTo>
                      <a:lnTo>
                        <a:pt x="3" y="14"/>
                      </a:lnTo>
                      <a:lnTo>
                        <a:pt x="1" y="19"/>
                      </a:lnTo>
                      <a:lnTo>
                        <a:pt x="0" y="24"/>
                      </a:lnTo>
                      <a:lnTo>
                        <a:pt x="0" y="24"/>
                      </a:lnTo>
                      <a:lnTo>
                        <a:pt x="1" y="27"/>
                      </a:lnTo>
                      <a:lnTo>
                        <a:pt x="3" y="32"/>
                      </a:lnTo>
                      <a:lnTo>
                        <a:pt x="5" y="36"/>
                      </a:lnTo>
                      <a:lnTo>
                        <a:pt x="7" y="39"/>
                      </a:lnTo>
                      <a:lnTo>
                        <a:pt x="11" y="43"/>
                      </a:lnTo>
                      <a:lnTo>
                        <a:pt x="15" y="44"/>
                      </a:lnTo>
                      <a:lnTo>
                        <a:pt x="19" y="45"/>
                      </a:lnTo>
                      <a:lnTo>
                        <a:pt x="24" y="46"/>
                      </a:lnTo>
                      <a:lnTo>
                        <a:pt x="24" y="46"/>
                      </a:lnTo>
                      <a:lnTo>
                        <a:pt x="29" y="45"/>
                      </a:lnTo>
                      <a:lnTo>
                        <a:pt x="32" y="44"/>
                      </a:lnTo>
                      <a:lnTo>
                        <a:pt x="36" y="43"/>
                      </a:lnTo>
                      <a:lnTo>
                        <a:pt x="39" y="39"/>
                      </a:lnTo>
                      <a:lnTo>
                        <a:pt x="43" y="36"/>
                      </a:lnTo>
                      <a:lnTo>
                        <a:pt x="44" y="32"/>
                      </a:lnTo>
                      <a:lnTo>
                        <a:pt x="47" y="27"/>
                      </a:lnTo>
                      <a:lnTo>
                        <a:pt x="47" y="24"/>
                      </a:lnTo>
                      <a:lnTo>
                        <a:pt x="47" y="24"/>
                      </a:lnTo>
                      <a:lnTo>
                        <a:pt x="47" y="19"/>
                      </a:lnTo>
                      <a:lnTo>
                        <a:pt x="44" y="14"/>
                      </a:lnTo>
                      <a:lnTo>
                        <a:pt x="43" y="11"/>
                      </a:lnTo>
                      <a:lnTo>
                        <a:pt x="39" y="7"/>
                      </a:lnTo>
                      <a:lnTo>
                        <a:pt x="36" y="5"/>
                      </a:lnTo>
                      <a:lnTo>
                        <a:pt x="32" y="2"/>
                      </a:lnTo>
                      <a:lnTo>
                        <a:pt x="29" y="1"/>
                      </a:lnTo>
                      <a:lnTo>
                        <a:pt x="24"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77" name="Freeform 402"/>
                <p:cNvSpPr>
                  <a:spLocks/>
                </p:cNvSpPr>
                <p:nvPr userDrawn="1"/>
              </p:nvSpPr>
              <p:spPr bwMode="auto">
                <a:xfrm>
                  <a:off x="9826171" y="3523749"/>
                  <a:ext cx="36513" cy="36513"/>
                </a:xfrm>
                <a:custGeom>
                  <a:avLst/>
                  <a:gdLst>
                    <a:gd name="T0" fmla="*/ 24 w 47"/>
                    <a:gd name="T1" fmla="*/ 0 h 46"/>
                    <a:gd name="T2" fmla="*/ 24 w 47"/>
                    <a:gd name="T3" fmla="*/ 0 h 46"/>
                    <a:gd name="T4" fmla="*/ 19 w 47"/>
                    <a:gd name="T5" fmla="*/ 1 h 46"/>
                    <a:gd name="T6" fmla="*/ 15 w 47"/>
                    <a:gd name="T7" fmla="*/ 2 h 46"/>
                    <a:gd name="T8" fmla="*/ 11 w 47"/>
                    <a:gd name="T9" fmla="*/ 5 h 46"/>
                    <a:gd name="T10" fmla="*/ 7 w 47"/>
                    <a:gd name="T11" fmla="*/ 7 h 46"/>
                    <a:gd name="T12" fmla="*/ 5 w 47"/>
                    <a:gd name="T13" fmla="*/ 11 h 46"/>
                    <a:gd name="T14" fmla="*/ 3 w 47"/>
                    <a:gd name="T15" fmla="*/ 14 h 46"/>
                    <a:gd name="T16" fmla="*/ 1 w 47"/>
                    <a:gd name="T17" fmla="*/ 19 h 46"/>
                    <a:gd name="T18" fmla="*/ 0 w 47"/>
                    <a:gd name="T19" fmla="*/ 24 h 46"/>
                    <a:gd name="T20" fmla="*/ 0 w 47"/>
                    <a:gd name="T21" fmla="*/ 24 h 46"/>
                    <a:gd name="T22" fmla="*/ 1 w 47"/>
                    <a:gd name="T23" fmla="*/ 27 h 46"/>
                    <a:gd name="T24" fmla="*/ 3 w 47"/>
                    <a:gd name="T25" fmla="*/ 32 h 46"/>
                    <a:gd name="T26" fmla="*/ 5 w 47"/>
                    <a:gd name="T27" fmla="*/ 36 h 46"/>
                    <a:gd name="T28" fmla="*/ 7 w 47"/>
                    <a:gd name="T29" fmla="*/ 39 h 46"/>
                    <a:gd name="T30" fmla="*/ 11 w 47"/>
                    <a:gd name="T31" fmla="*/ 43 h 46"/>
                    <a:gd name="T32" fmla="*/ 15 w 47"/>
                    <a:gd name="T33" fmla="*/ 44 h 46"/>
                    <a:gd name="T34" fmla="*/ 19 w 47"/>
                    <a:gd name="T35" fmla="*/ 45 h 46"/>
                    <a:gd name="T36" fmla="*/ 24 w 47"/>
                    <a:gd name="T37" fmla="*/ 46 h 46"/>
                    <a:gd name="T38" fmla="*/ 24 w 47"/>
                    <a:gd name="T39" fmla="*/ 46 h 46"/>
                    <a:gd name="T40" fmla="*/ 29 w 47"/>
                    <a:gd name="T41" fmla="*/ 45 h 46"/>
                    <a:gd name="T42" fmla="*/ 32 w 47"/>
                    <a:gd name="T43" fmla="*/ 44 h 46"/>
                    <a:gd name="T44" fmla="*/ 36 w 47"/>
                    <a:gd name="T45" fmla="*/ 43 h 46"/>
                    <a:gd name="T46" fmla="*/ 39 w 47"/>
                    <a:gd name="T47" fmla="*/ 39 h 46"/>
                    <a:gd name="T48" fmla="*/ 43 w 47"/>
                    <a:gd name="T49" fmla="*/ 36 h 46"/>
                    <a:gd name="T50" fmla="*/ 44 w 47"/>
                    <a:gd name="T51" fmla="*/ 32 h 46"/>
                    <a:gd name="T52" fmla="*/ 47 w 47"/>
                    <a:gd name="T53" fmla="*/ 27 h 46"/>
                    <a:gd name="T54" fmla="*/ 47 w 47"/>
                    <a:gd name="T55" fmla="*/ 24 h 46"/>
                    <a:gd name="T56" fmla="*/ 47 w 47"/>
                    <a:gd name="T57" fmla="*/ 24 h 46"/>
                    <a:gd name="T58" fmla="*/ 47 w 47"/>
                    <a:gd name="T59" fmla="*/ 19 h 46"/>
                    <a:gd name="T60" fmla="*/ 44 w 47"/>
                    <a:gd name="T61" fmla="*/ 14 h 46"/>
                    <a:gd name="T62" fmla="*/ 43 w 47"/>
                    <a:gd name="T63" fmla="*/ 11 h 46"/>
                    <a:gd name="T64" fmla="*/ 39 w 47"/>
                    <a:gd name="T65" fmla="*/ 7 h 46"/>
                    <a:gd name="T66" fmla="*/ 36 w 47"/>
                    <a:gd name="T67" fmla="*/ 5 h 46"/>
                    <a:gd name="T68" fmla="*/ 32 w 47"/>
                    <a:gd name="T69" fmla="*/ 2 h 46"/>
                    <a:gd name="T70" fmla="*/ 29 w 47"/>
                    <a:gd name="T71" fmla="*/ 1 h 46"/>
                    <a:gd name="T72" fmla="*/ 24 w 47"/>
                    <a:gd name="T7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 h="46">
                      <a:moveTo>
                        <a:pt x="24" y="0"/>
                      </a:moveTo>
                      <a:lnTo>
                        <a:pt x="24" y="0"/>
                      </a:lnTo>
                      <a:lnTo>
                        <a:pt x="19" y="1"/>
                      </a:lnTo>
                      <a:lnTo>
                        <a:pt x="15" y="2"/>
                      </a:lnTo>
                      <a:lnTo>
                        <a:pt x="11" y="5"/>
                      </a:lnTo>
                      <a:lnTo>
                        <a:pt x="7" y="7"/>
                      </a:lnTo>
                      <a:lnTo>
                        <a:pt x="5" y="11"/>
                      </a:lnTo>
                      <a:lnTo>
                        <a:pt x="3" y="14"/>
                      </a:lnTo>
                      <a:lnTo>
                        <a:pt x="1" y="19"/>
                      </a:lnTo>
                      <a:lnTo>
                        <a:pt x="0" y="24"/>
                      </a:lnTo>
                      <a:lnTo>
                        <a:pt x="0" y="24"/>
                      </a:lnTo>
                      <a:lnTo>
                        <a:pt x="1" y="27"/>
                      </a:lnTo>
                      <a:lnTo>
                        <a:pt x="3" y="32"/>
                      </a:lnTo>
                      <a:lnTo>
                        <a:pt x="5" y="36"/>
                      </a:lnTo>
                      <a:lnTo>
                        <a:pt x="7" y="39"/>
                      </a:lnTo>
                      <a:lnTo>
                        <a:pt x="11" y="43"/>
                      </a:lnTo>
                      <a:lnTo>
                        <a:pt x="15" y="44"/>
                      </a:lnTo>
                      <a:lnTo>
                        <a:pt x="19" y="45"/>
                      </a:lnTo>
                      <a:lnTo>
                        <a:pt x="24" y="46"/>
                      </a:lnTo>
                      <a:lnTo>
                        <a:pt x="24" y="46"/>
                      </a:lnTo>
                      <a:lnTo>
                        <a:pt x="29" y="45"/>
                      </a:lnTo>
                      <a:lnTo>
                        <a:pt x="32" y="44"/>
                      </a:lnTo>
                      <a:lnTo>
                        <a:pt x="36" y="43"/>
                      </a:lnTo>
                      <a:lnTo>
                        <a:pt x="39" y="39"/>
                      </a:lnTo>
                      <a:lnTo>
                        <a:pt x="43" y="36"/>
                      </a:lnTo>
                      <a:lnTo>
                        <a:pt x="44" y="32"/>
                      </a:lnTo>
                      <a:lnTo>
                        <a:pt x="47" y="27"/>
                      </a:lnTo>
                      <a:lnTo>
                        <a:pt x="47" y="24"/>
                      </a:lnTo>
                      <a:lnTo>
                        <a:pt x="47" y="24"/>
                      </a:lnTo>
                      <a:lnTo>
                        <a:pt x="47" y="19"/>
                      </a:lnTo>
                      <a:lnTo>
                        <a:pt x="44" y="14"/>
                      </a:lnTo>
                      <a:lnTo>
                        <a:pt x="43" y="11"/>
                      </a:lnTo>
                      <a:lnTo>
                        <a:pt x="39" y="7"/>
                      </a:lnTo>
                      <a:lnTo>
                        <a:pt x="36" y="5"/>
                      </a:lnTo>
                      <a:lnTo>
                        <a:pt x="32" y="2"/>
                      </a:lnTo>
                      <a:lnTo>
                        <a:pt x="29" y="1"/>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78" name="Freeform 403"/>
                <p:cNvSpPr>
                  <a:spLocks/>
                </p:cNvSpPr>
                <p:nvPr userDrawn="1"/>
              </p:nvSpPr>
              <p:spPr bwMode="auto">
                <a:xfrm>
                  <a:off x="9826171" y="3572961"/>
                  <a:ext cx="36513" cy="34925"/>
                </a:xfrm>
                <a:custGeom>
                  <a:avLst/>
                  <a:gdLst>
                    <a:gd name="T0" fmla="*/ 24 w 47"/>
                    <a:gd name="T1" fmla="*/ 0 h 45"/>
                    <a:gd name="T2" fmla="*/ 24 w 47"/>
                    <a:gd name="T3" fmla="*/ 0 h 45"/>
                    <a:gd name="T4" fmla="*/ 19 w 47"/>
                    <a:gd name="T5" fmla="*/ 0 h 45"/>
                    <a:gd name="T6" fmla="*/ 15 w 47"/>
                    <a:gd name="T7" fmla="*/ 1 h 45"/>
                    <a:gd name="T8" fmla="*/ 11 w 47"/>
                    <a:gd name="T9" fmla="*/ 3 h 45"/>
                    <a:gd name="T10" fmla="*/ 7 w 47"/>
                    <a:gd name="T11" fmla="*/ 7 h 45"/>
                    <a:gd name="T12" fmla="*/ 5 w 47"/>
                    <a:gd name="T13" fmla="*/ 9 h 45"/>
                    <a:gd name="T14" fmla="*/ 3 w 47"/>
                    <a:gd name="T15" fmla="*/ 14 h 45"/>
                    <a:gd name="T16" fmla="*/ 1 w 47"/>
                    <a:gd name="T17" fmla="*/ 18 h 45"/>
                    <a:gd name="T18" fmla="*/ 0 w 47"/>
                    <a:gd name="T19" fmla="*/ 22 h 45"/>
                    <a:gd name="T20" fmla="*/ 0 w 47"/>
                    <a:gd name="T21" fmla="*/ 22 h 45"/>
                    <a:gd name="T22" fmla="*/ 1 w 47"/>
                    <a:gd name="T23" fmla="*/ 27 h 45"/>
                    <a:gd name="T24" fmla="*/ 3 w 47"/>
                    <a:gd name="T25" fmla="*/ 32 h 45"/>
                    <a:gd name="T26" fmla="*/ 5 w 47"/>
                    <a:gd name="T27" fmla="*/ 35 h 45"/>
                    <a:gd name="T28" fmla="*/ 7 w 47"/>
                    <a:gd name="T29" fmla="*/ 39 h 45"/>
                    <a:gd name="T30" fmla="*/ 11 w 47"/>
                    <a:gd name="T31" fmla="*/ 41 h 45"/>
                    <a:gd name="T32" fmla="*/ 15 w 47"/>
                    <a:gd name="T33" fmla="*/ 44 h 45"/>
                    <a:gd name="T34" fmla="*/ 19 w 47"/>
                    <a:gd name="T35" fmla="*/ 45 h 45"/>
                    <a:gd name="T36" fmla="*/ 24 w 47"/>
                    <a:gd name="T37" fmla="*/ 45 h 45"/>
                    <a:gd name="T38" fmla="*/ 24 w 47"/>
                    <a:gd name="T39" fmla="*/ 45 h 45"/>
                    <a:gd name="T40" fmla="*/ 29 w 47"/>
                    <a:gd name="T41" fmla="*/ 45 h 45"/>
                    <a:gd name="T42" fmla="*/ 32 w 47"/>
                    <a:gd name="T43" fmla="*/ 44 h 45"/>
                    <a:gd name="T44" fmla="*/ 36 w 47"/>
                    <a:gd name="T45" fmla="*/ 41 h 45"/>
                    <a:gd name="T46" fmla="*/ 39 w 47"/>
                    <a:gd name="T47" fmla="*/ 39 h 45"/>
                    <a:gd name="T48" fmla="*/ 43 w 47"/>
                    <a:gd name="T49" fmla="*/ 35 h 45"/>
                    <a:gd name="T50" fmla="*/ 44 w 47"/>
                    <a:gd name="T51" fmla="*/ 32 h 45"/>
                    <a:gd name="T52" fmla="*/ 47 w 47"/>
                    <a:gd name="T53" fmla="*/ 27 h 45"/>
                    <a:gd name="T54" fmla="*/ 47 w 47"/>
                    <a:gd name="T55" fmla="*/ 22 h 45"/>
                    <a:gd name="T56" fmla="*/ 47 w 47"/>
                    <a:gd name="T57" fmla="*/ 22 h 45"/>
                    <a:gd name="T58" fmla="*/ 47 w 47"/>
                    <a:gd name="T59" fmla="*/ 18 h 45"/>
                    <a:gd name="T60" fmla="*/ 44 w 47"/>
                    <a:gd name="T61" fmla="*/ 14 h 45"/>
                    <a:gd name="T62" fmla="*/ 43 w 47"/>
                    <a:gd name="T63" fmla="*/ 9 h 45"/>
                    <a:gd name="T64" fmla="*/ 39 w 47"/>
                    <a:gd name="T65" fmla="*/ 7 h 45"/>
                    <a:gd name="T66" fmla="*/ 36 w 47"/>
                    <a:gd name="T67" fmla="*/ 3 h 45"/>
                    <a:gd name="T68" fmla="*/ 32 w 47"/>
                    <a:gd name="T69" fmla="*/ 1 h 45"/>
                    <a:gd name="T70" fmla="*/ 29 w 47"/>
                    <a:gd name="T71" fmla="*/ 0 h 45"/>
                    <a:gd name="T72" fmla="*/ 24 w 47"/>
                    <a:gd name="T7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 h="45">
                      <a:moveTo>
                        <a:pt x="24" y="0"/>
                      </a:moveTo>
                      <a:lnTo>
                        <a:pt x="24" y="0"/>
                      </a:lnTo>
                      <a:lnTo>
                        <a:pt x="19" y="0"/>
                      </a:lnTo>
                      <a:lnTo>
                        <a:pt x="15" y="1"/>
                      </a:lnTo>
                      <a:lnTo>
                        <a:pt x="11" y="3"/>
                      </a:lnTo>
                      <a:lnTo>
                        <a:pt x="7" y="7"/>
                      </a:lnTo>
                      <a:lnTo>
                        <a:pt x="5" y="9"/>
                      </a:lnTo>
                      <a:lnTo>
                        <a:pt x="3" y="14"/>
                      </a:lnTo>
                      <a:lnTo>
                        <a:pt x="1" y="18"/>
                      </a:lnTo>
                      <a:lnTo>
                        <a:pt x="0" y="22"/>
                      </a:lnTo>
                      <a:lnTo>
                        <a:pt x="0" y="22"/>
                      </a:lnTo>
                      <a:lnTo>
                        <a:pt x="1" y="27"/>
                      </a:lnTo>
                      <a:lnTo>
                        <a:pt x="3" y="32"/>
                      </a:lnTo>
                      <a:lnTo>
                        <a:pt x="5" y="35"/>
                      </a:lnTo>
                      <a:lnTo>
                        <a:pt x="7" y="39"/>
                      </a:lnTo>
                      <a:lnTo>
                        <a:pt x="11" y="41"/>
                      </a:lnTo>
                      <a:lnTo>
                        <a:pt x="15" y="44"/>
                      </a:lnTo>
                      <a:lnTo>
                        <a:pt x="19" y="45"/>
                      </a:lnTo>
                      <a:lnTo>
                        <a:pt x="24" y="45"/>
                      </a:lnTo>
                      <a:lnTo>
                        <a:pt x="24" y="45"/>
                      </a:lnTo>
                      <a:lnTo>
                        <a:pt x="29" y="45"/>
                      </a:lnTo>
                      <a:lnTo>
                        <a:pt x="32" y="44"/>
                      </a:lnTo>
                      <a:lnTo>
                        <a:pt x="36" y="41"/>
                      </a:lnTo>
                      <a:lnTo>
                        <a:pt x="39" y="39"/>
                      </a:lnTo>
                      <a:lnTo>
                        <a:pt x="43" y="35"/>
                      </a:lnTo>
                      <a:lnTo>
                        <a:pt x="44" y="32"/>
                      </a:lnTo>
                      <a:lnTo>
                        <a:pt x="47" y="27"/>
                      </a:lnTo>
                      <a:lnTo>
                        <a:pt x="47" y="22"/>
                      </a:lnTo>
                      <a:lnTo>
                        <a:pt x="47" y="22"/>
                      </a:lnTo>
                      <a:lnTo>
                        <a:pt x="47" y="18"/>
                      </a:lnTo>
                      <a:lnTo>
                        <a:pt x="44" y="14"/>
                      </a:lnTo>
                      <a:lnTo>
                        <a:pt x="43" y="9"/>
                      </a:lnTo>
                      <a:lnTo>
                        <a:pt x="39" y="7"/>
                      </a:lnTo>
                      <a:lnTo>
                        <a:pt x="36" y="3"/>
                      </a:lnTo>
                      <a:lnTo>
                        <a:pt x="32" y="1"/>
                      </a:lnTo>
                      <a:lnTo>
                        <a:pt x="29" y="0"/>
                      </a:lnTo>
                      <a:lnTo>
                        <a:pt x="24"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79" name="Freeform 404"/>
                <p:cNvSpPr>
                  <a:spLocks/>
                </p:cNvSpPr>
                <p:nvPr userDrawn="1"/>
              </p:nvSpPr>
              <p:spPr bwMode="auto">
                <a:xfrm>
                  <a:off x="9826171" y="3572961"/>
                  <a:ext cx="36513" cy="34925"/>
                </a:xfrm>
                <a:custGeom>
                  <a:avLst/>
                  <a:gdLst>
                    <a:gd name="T0" fmla="*/ 24 w 47"/>
                    <a:gd name="T1" fmla="*/ 0 h 45"/>
                    <a:gd name="T2" fmla="*/ 24 w 47"/>
                    <a:gd name="T3" fmla="*/ 0 h 45"/>
                    <a:gd name="T4" fmla="*/ 19 w 47"/>
                    <a:gd name="T5" fmla="*/ 0 h 45"/>
                    <a:gd name="T6" fmla="*/ 15 w 47"/>
                    <a:gd name="T7" fmla="*/ 1 h 45"/>
                    <a:gd name="T8" fmla="*/ 11 w 47"/>
                    <a:gd name="T9" fmla="*/ 3 h 45"/>
                    <a:gd name="T10" fmla="*/ 7 w 47"/>
                    <a:gd name="T11" fmla="*/ 7 h 45"/>
                    <a:gd name="T12" fmla="*/ 5 w 47"/>
                    <a:gd name="T13" fmla="*/ 9 h 45"/>
                    <a:gd name="T14" fmla="*/ 3 w 47"/>
                    <a:gd name="T15" fmla="*/ 14 h 45"/>
                    <a:gd name="T16" fmla="*/ 1 w 47"/>
                    <a:gd name="T17" fmla="*/ 18 h 45"/>
                    <a:gd name="T18" fmla="*/ 0 w 47"/>
                    <a:gd name="T19" fmla="*/ 22 h 45"/>
                    <a:gd name="T20" fmla="*/ 0 w 47"/>
                    <a:gd name="T21" fmla="*/ 22 h 45"/>
                    <a:gd name="T22" fmla="*/ 1 w 47"/>
                    <a:gd name="T23" fmla="*/ 27 h 45"/>
                    <a:gd name="T24" fmla="*/ 3 w 47"/>
                    <a:gd name="T25" fmla="*/ 32 h 45"/>
                    <a:gd name="T26" fmla="*/ 5 w 47"/>
                    <a:gd name="T27" fmla="*/ 35 h 45"/>
                    <a:gd name="T28" fmla="*/ 7 w 47"/>
                    <a:gd name="T29" fmla="*/ 39 h 45"/>
                    <a:gd name="T30" fmla="*/ 11 w 47"/>
                    <a:gd name="T31" fmla="*/ 41 h 45"/>
                    <a:gd name="T32" fmla="*/ 15 w 47"/>
                    <a:gd name="T33" fmla="*/ 44 h 45"/>
                    <a:gd name="T34" fmla="*/ 19 w 47"/>
                    <a:gd name="T35" fmla="*/ 45 h 45"/>
                    <a:gd name="T36" fmla="*/ 24 w 47"/>
                    <a:gd name="T37" fmla="*/ 45 h 45"/>
                    <a:gd name="T38" fmla="*/ 24 w 47"/>
                    <a:gd name="T39" fmla="*/ 45 h 45"/>
                    <a:gd name="T40" fmla="*/ 29 w 47"/>
                    <a:gd name="T41" fmla="*/ 45 h 45"/>
                    <a:gd name="T42" fmla="*/ 32 w 47"/>
                    <a:gd name="T43" fmla="*/ 44 h 45"/>
                    <a:gd name="T44" fmla="*/ 36 w 47"/>
                    <a:gd name="T45" fmla="*/ 41 h 45"/>
                    <a:gd name="T46" fmla="*/ 39 w 47"/>
                    <a:gd name="T47" fmla="*/ 39 h 45"/>
                    <a:gd name="T48" fmla="*/ 43 w 47"/>
                    <a:gd name="T49" fmla="*/ 35 h 45"/>
                    <a:gd name="T50" fmla="*/ 44 w 47"/>
                    <a:gd name="T51" fmla="*/ 32 h 45"/>
                    <a:gd name="T52" fmla="*/ 47 w 47"/>
                    <a:gd name="T53" fmla="*/ 27 h 45"/>
                    <a:gd name="T54" fmla="*/ 47 w 47"/>
                    <a:gd name="T55" fmla="*/ 22 h 45"/>
                    <a:gd name="T56" fmla="*/ 47 w 47"/>
                    <a:gd name="T57" fmla="*/ 22 h 45"/>
                    <a:gd name="T58" fmla="*/ 47 w 47"/>
                    <a:gd name="T59" fmla="*/ 18 h 45"/>
                    <a:gd name="T60" fmla="*/ 44 w 47"/>
                    <a:gd name="T61" fmla="*/ 14 h 45"/>
                    <a:gd name="T62" fmla="*/ 43 w 47"/>
                    <a:gd name="T63" fmla="*/ 9 h 45"/>
                    <a:gd name="T64" fmla="*/ 39 w 47"/>
                    <a:gd name="T65" fmla="*/ 7 h 45"/>
                    <a:gd name="T66" fmla="*/ 36 w 47"/>
                    <a:gd name="T67" fmla="*/ 3 h 45"/>
                    <a:gd name="T68" fmla="*/ 32 w 47"/>
                    <a:gd name="T69" fmla="*/ 1 h 45"/>
                    <a:gd name="T70" fmla="*/ 29 w 47"/>
                    <a:gd name="T71" fmla="*/ 0 h 45"/>
                    <a:gd name="T72" fmla="*/ 24 w 47"/>
                    <a:gd name="T7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 h="45">
                      <a:moveTo>
                        <a:pt x="24" y="0"/>
                      </a:moveTo>
                      <a:lnTo>
                        <a:pt x="24" y="0"/>
                      </a:lnTo>
                      <a:lnTo>
                        <a:pt x="19" y="0"/>
                      </a:lnTo>
                      <a:lnTo>
                        <a:pt x="15" y="1"/>
                      </a:lnTo>
                      <a:lnTo>
                        <a:pt x="11" y="3"/>
                      </a:lnTo>
                      <a:lnTo>
                        <a:pt x="7" y="7"/>
                      </a:lnTo>
                      <a:lnTo>
                        <a:pt x="5" y="9"/>
                      </a:lnTo>
                      <a:lnTo>
                        <a:pt x="3" y="14"/>
                      </a:lnTo>
                      <a:lnTo>
                        <a:pt x="1" y="18"/>
                      </a:lnTo>
                      <a:lnTo>
                        <a:pt x="0" y="22"/>
                      </a:lnTo>
                      <a:lnTo>
                        <a:pt x="0" y="22"/>
                      </a:lnTo>
                      <a:lnTo>
                        <a:pt x="1" y="27"/>
                      </a:lnTo>
                      <a:lnTo>
                        <a:pt x="3" y="32"/>
                      </a:lnTo>
                      <a:lnTo>
                        <a:pt x="5" y="35"/>
                      </a:lnTo>
                      <a:lnTo>
                        <a:pt x="7" y="39"/>
                      </a:lnTo>
                      <a:lnTo>
                        <a:pt x="11" y="41"/>
                      </a:lnTo>
                      <a:lnTo>
                        <a:pt x="15" y="44"/>
                      </a:lnTo>
                      <a:lnTo>
                        <a:pt x="19" y="45"/>
                      </a:lnTo>
                      <a:lnTo>
                        <a:pt x="24" y="45"/>
                      </a:lnTo>
                      <a:lnTo>
                        <a:pt x="24" y="45"/>
                      </a:lnTo>
                      <a:lnTo>
                        <a:pt x="29" y="45"/>
                      </a:lnTo>
                      <a:lnTo>
                        <a:pt x="32" y="44"/>
                      </a:lnTo>
                      <a:lnTo>
                        <a:pt x="36" y="41"/>
                      </a:lnTo>
                      <a:lnTo>
                        <a:pt x="39" y="39"/>
                      </a:lnTo>
                      <a:lnTo>
                        <a:pt x="43" y="35"/>
                      </a:lnTo>
                      <a:lnTo>
                        <a:pt x="44" y="32"/>
                      </a:lnTo>
                      <a:lnTo>
                        <a:pt x="47" y="27"/>
                      </a:lnTo>
                      <a:lnTo>
                        <a:pt x="47" y="22"/>
                      </a:lnTo>
                      <a:lnTo>
                        <a:pt x="47" y="22"/>
                      </a:lnTo>
                      <a:lnTo>
                        <a:pt x="47" y="18"/>
                      </a:lnTo>
                      <a:lnTo>
                        <a:pt x="44" y="14"/>
                      </a:lnTo>
                      <a:lnTo>
                        <a:pt x="43" y="9"/>
                      </a:lnTo>
                      <a:lnTo>
                        <a:pt x="39" y="7"/>
                      </a:lnTo>
                      <a:lnTo>
                        <a:pt x="36" y="3"/>
                      </a:lnTo>
                      <a:lnTo>
                        <a:pt x="32" y="1"/>
                      </a:lnTo>
                      <a:lnTo>
                        <a:pt x="29" y="0"/>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0" name="Rectangle 405"/>
                <p:cNvSpPr>
                  <a:spLocks noChangeArrowheads="1"/>
                </p:cNvSpPr>
                <p:nvPr userDrawn="1"/>
              </p:nvSpPr>
              <p:spPr bwMode="auto">
                <a:xfrm>
                  <a:off x="10431008" y="3633286"/>
                  <a:ext cx="28575" cy="254000"/>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1" name="Freeform 406"/>
                <p:cNvSpPr>
                  <a:spLocks/>
                </p:cNvSpPr>
                <p:nvPr userDrawn="1"/>
              </p:nvSpPr>
              <p:spPr bwMode="auto">
                <a:xfrm>
                  <a:off x="10316708" y="3661861"/>
                  <a:ext cx="98425" cy="125413"/>
                </a:xfrm>
                <a:custGeom>
                  <a:avLst/>
                  <a:gdLst>
                    <a:gd name="T0" fmla="*/ 122 w 122"/>
                    <a:gd name="T1" fmla="*/ 122 h 158"/>
                    <a:gd name="T2" fmla="*/ 122 w 122"/>
                    <a:gd name="T3" fmla="*/ 158 h 158"/>
                    <a:gd name="T4" fmla="*/ 0 w 122"/>
                    <a:gd name="T5" fmla="*/ 158 h 158"/>
                    <a:gd name="T6" fmla="*/ 0 w 122"/>
                    <a:gd name="T7" fmla="*/ 122 h 158"/>
                    <a:gd name="T8" fmla="*/ 0 w 122"/>
                    <a:gd name="T9" fmla="*/ 0 h 158"/>
                    <a:gd name="T10" fmla="*/ 0 w 122"/>
                    <a:gd name="T11" fmla="*/ 0 h 158"/>
                    <a:gd name="T12" fmla="*/ 13 w 122"/>
                    <a:gd name="T13" fmla="*/ 1 h 158"/>
                    <a:gd name="T14" fmla="*/ 25 w 122"/>
                    <a:gd name="T15" fmla="*/ 2 h 158"/>
                    <a:gd name="T16" fmla="*/ 37 w 122"/>
                    <a:gd name="T17" fmla="*/ 6 h 158"/>
                    <a:gd name="T18" fmla="*/ 47 w 122"/>
                    <a:gd name="T19" fmla="*/ 9 h 158"/>
                    <a:gd name="T20" fmla="*/ 58 w 122"/>
                    <a:gd name="T21" fmla="*/ 15 h 158"/>
                    <a:gd name="T22" fmla="*/ 68 w 122"/>
                    <a:gd name="T23" fmla="*/ 21 h 158"/>
                    <a:gd name="T24" fmla="*/ 77 w 122"/>
                    <a:gd name="T25" fmla="*/ 28 h 158"/>
                    <a:gd name="T26" fmla="*/ 87 w 122"/>
                    <a:gd name="T27" fmla="*/ 35 h 158"/>
                    <a:gd name="T28" fmla="*/ 94 w 122"/>
                    <a:gd name="T29" fmla="*/ 45 h 158"/>
                    <a:gd name="T30" fmla="*/ 101 w 122"/>
                    <a:gd name="T31" fmla="*/ 53 h 158"/>
                    <a:gd name="T32" fmla="*/ 107 w 122"/>
                    <a:gd name="T33" fmla="*/ 64 h 158"/>
                    <a:gd name="T34" fmla="*/ 111 w 122"/>
                    <a:gd name="T35" fmla="*/ 75 h 158"/>
                    <a:gd name="T36" fmla="*/ 116 w 122"/>
                    <a:gd name="T37" fmla="*/ 85 h 158"/>
                    <a:gd name="T38" fmla="*/ 119 w 122"/>
                    <a:gd name="T39" fmla="*/ 97 h 158"/>
                    <a:gd name="T40" fmla="*/ 121 w 122"/>
                    <a:gd name="T41" fmla="*/ 109 h 158"/>
                    <a:gd name="T42" fmla="*/ 122 w 122"/>
                    <a:gd name="T43" fmla="*/ 122 h 158"/>
                    <a:gd name="T44" fmla="*/ 122 w 122"/>
                    <a:gd name="T45" fmla="*/ 12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2" h="158">
                      <a:moveTo>
                        <a:pt x="122" y="122"/>
                      </a:moveTo>
                      <a:lnTo>
                        <a:pt x="122" y="158"/>
                      </a:lnTo>
                      <a:lnTo>
                        <a:pt x="0" y="158"/>
                      </a:lnTo>
                      <a:lnTo>
                        <a:pt x="0" y="122"/>
                      </a:lnTo>
                      <a:lnTo>
                        <a:pt x="0" y="0"/>
                      </a:lnTo>
                      <a:lnTo>
                        <a:pt x="0" y="0"/>
                      </a:lnTo>
                      <a:lnTo>
                        <a:pt x="13" y="1"/>
                      </a:lnTo>
                      <a:lnTo>
                        <a:pt x="25" y="2"/>
                      </a:lnTo>
                      <a:lnTo>
                        <a:pt x="37" y="6"/>
                      </a:lnTo>
                      <a:lnTo>
                        <a:pt x="47" y="9"/>
                      </a:lnTo>
                      <a:lnTo>
                        <a:pt x="58" y="15"/>
                      </a:lnTo>
                      <a:lnTo>
                        <a:pt x="68" y="21"/>
                      </a:lnTo>
                      <a:lnTo>
                        <a:pt x="77" y="28"/>
                      </a:lnTo>
                      <a:lnTo>
                        <a:pt x="87" y="35"/>
                      </a:lnTo>
                      <a:lnTo>
                        <a:pt x="94" y="45"/>
                      </a:lnTo>
                      <a:lnTo>
                        <a:pt x="101" y="53"/>
                      </a:lnTo>
                      <a:lnTo>
                        <a:pt x="107" y="64"/>
                      </a:lnTo>
                      <a:lnTo>
                        <a:pt x="111" y="75"/>
                      </a:lnTo>
                      <a:lnTo>
                        <a:pt x="116" y="85"/>
                      </a:lnTo>
                      <a:lnTo>
                        <a:pt x="119" y="97"/>
                      </a:lnTo>
                      <a:lnTo>
                        <a:pt x="121" y="109"/>
                      </a:lnTo>
                      <a:lnTo>
                        <a:pt x="122" y="122"/>
                      </a:lnTo>
                      <a:lnTo>
                        <a:pt x="122" y="1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2" name="Freeform 407"/>
                <p:cNvSpPr>
                  <a:spLocks/>
                </p:cNvSpPr>
                <p:nvPr userDrawn="1"/>
              </p:nvSpPr>
              <p:spPr bwMode="auto">
                <a:xfrm>
                  <a:off x="10381796" y="3804736"/>
                  <a:ext cx="98425" cy="166688"/>
                </a:xfrm>
                <a:custGeom>
                  <a:avLst/>
                  <a:gdLst>
                    <a:gd name="T0" fmla="*/ 122 w 122"/>
                    <a:gd name="T1" fmla="*/ 163 h 210"/>
                    <a:gd name="T2" fmla="*/ 122 w 122"/>
                    <a:gd name="T3" fmla="*/ 210 h 210"/>
                    <a:gd name="T4" fmla="*/ 0 w 122"/>
                    <a:gd name="T5" fmla="*/ 210 h 210"/>
                    <a:gd name="T6" fmla="*/ 0 w 122"/>
                    <a:gd name="T7" fmla="*/ 163 h 210"/>
                    <a:gd name="T8" fmla="*/ 0 w 122"/>
                    <a:gd name="T9" fmla="*/ 0 h 210"/>
                    <a:gd name="T10" fmla="*/ 0 w 122"/>
                    <a:gd name="T11" fmla="*/ 0 h 210"/>
                    <a:gd name="T12" fmla="*/ 13 w 122"/>
                    <a:gd name="T13" fmla="*/ 0 h 210"/>
                    <a:gd name="T14" fmla="*/ 25 w 122"/>
                    <a:gd name="T15" fmla="*/ 2 h 210"/>
                    <a:gd name="T16" fmla="*/ 37 w 122"/>
                    <a:gd name="T17" fmla="*/ 7 h 210"/>
                    <a:gd name="T18" fmla="*/ 47 w 122"/>
                    <a:gd name="T19" fmla="*/ 12 h 210"/>
                    <a:gd name="T20" fmla="*/ 58 w 122"/>
                    <a:gd name="T21" fmla="*/ 19 h 210"/>
                    <a:gd name="T22" fmla="*/ 69 w 122"/>
                    <a:gd name="T23" fmla="*/ 27 h 210"/>
                    <a:gd name="T24" fmla="*/ 77 w 122"/>
                    <a:gd name="T25" fmla="*/ 37 h 210"/>
                    <a:gd name="T26" fmla="*/ 87 w 122"/>
                    <a:gd name="T27" fmla="*/ 48 h 210"/>
                    <a:gd name="T28" fmla="*/ 94 w 122"/>
                    <a:gd name="T29" fmla="*/ 59 h 210"/>
                    <a:gd name="T30" fmla="*/ 101 w 122"/>
                    <a:gd name="T31" fmla="*/ 71 h 210"/>
                    <a:gd name="T32" fmla="*/ 107 w 122"/>
                    <a:gd name="T33" fmla="*/ 86 h 210"/>
                    <a:gd name="T34" fmla="*/ 113 w 122"/>
                    <a:gd name="T35" fmla="*/ 100 h 210"/>
                    <a:gd name="T36" fmla="*/ 116 w 122"/>
                    <a:gd name="T37" fmla="*/ 114 h 210"/>
                    <a:gd name="T38" fmla="*/ 120 w 122"/>
                    <a:gd name="T39" fmla="*/ 130 h 210"/>
                    <a:gd name="T40" fmla="*/ 121 w 122"/>
                    <a:gd name="T41" fmla="*/ 146 h 210"/>
                    <a:gd name="T42" fmla="*/ 122 w 122"/>
                    <a:gd name="T43" fmla="*/ 163 h 210"/>
                    <a:gd name="T44" fmla="*/ 122 w 122"/>
                    <a:gd name="T45" fmla="*/ 163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2" h="210">
                      <a:moveTo>
                        <a:pt x="122" y="163"/>
                      </a:moveTo>
                      <a:lnTo>
                        <a:pt x="122" y="210"/>
                      </a:lnTo>
                      <a:lnTo>
                        <a:pt x="0" y="210"/>
                      </a:lnTo>
                      <a:lnTo>
                        <a:pt x="0" y="163"/>
                      </a:lnTo>
                      <a:lnTo>
                        <a:pt x="0" y="0"/>
                      </a:lnTo>
                      <a:lnTo>
                        <a:pt x="0" y="0"/>
                      </a:lnTo>
                      <a:lnTo>
                        <a:pt x="13" y="0"/>
                      </a:lnTo>
                      <a:lnTo>
                        <a:pt x="25" y="2"/>
                      </a:lnTo>
                      <a:lnTo>
                        <a:pt x="37" y="7"/>
                      </a:lnTo>
                      <a:lnTo>
                        <a:pt x="47" y="12"/>
                      </a:lnTo>
                      <a:lnTo>
                        <a:pt x="58" y="19"/>
                      </a:lnTo>
                      <a:lnTo>
                        <a:pt x="69" y="27"/>
                      </a:lnTo>
                      <a:lnTo>
                        <a:pt x="77" y="37"/>
                      </a:lnTo>
                      <a:lnTo>
                        <a:pt x="87" y="48"/>
                      </a:lnTo>
                      <a:lnTo>
                        <a:pt x="94" y="59"/>
                      </a:lnTo>
                      <a:lnTo>
                        <a:pt x="101" y="71"/>
                      </a:lnTo>
                      <a:lnTo>
                        <a:pt x="107" y="86"/>
                      </a:lnTo>
                      <a:lnTo>
                        <a:pt x="113" y="100"/>
                      </a:lnTo>
                      <a:lnTo>
                        <a:pt x="116" y="114"/>
                      </a:lnTo>
                      <a:lnTo>
                        <a:pt x="120" y="130"/>
                      </a:lnTo>
                      <a:lnTo>
                        <a:pt x="121" y="146"/>
                      </a:lnTo>
                      <a:lnTo>
                        <a:pt x="122" y="163"/>
                      </a:lnTo>
                      <a:lnTo>
                        <a:pt x="122" y="16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3" name="Rectangle 408"/>
                <p:cNvSpPr>
                  <a:spLocks noChangeArrowheads="1"/>
                </p:cNvSpPr>
                <p:nvPr userDrawn="1"/>
              </p:nvSpPr>
              <p:spPr bwMode="auto">
                <a:xfrm>
                  <a:off x="10316708" y="3787274"/>
                  <a:ext cx="98425" cy="184150"/>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4" name="Rectangle 409"/>
                <p:cNvSpPr>
                  <a:spLocks noChangeArrowheads="1"/>
                </p:cNvSpPr>
                <p:nvPr userDrawn="1"/>
              </p:nvSpPr>
              <p:spPr bwMode="auto">
                <a:xfrm>
                  <a:off x="10316708" y="3787274"/>
                  <a:ext cx="984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5" name="Freeform 410"/>
                <p:cNvSpPr>
                  <a:spLocks/>
                </p:cNvSpPr>
                <p:nvPr userDrawn="1"/>
              </p:nvSpPr>
              <p:spPr bwMode="auto">
                <a:xfrm>
                  <a:off x="10137321" y="4373061"/>
                  <a:ext cx="211138" cy="338138"/>
                </a:xfrm>
                <a:custGeom>
                  <a:avLst/>
                  <a:gdLst>
                    <a:gd name="T0" fmla="*/ 0 w 265"/>
                    <a:gd name="T1" fmla="*/ 0 h 427"/>
                    <a:gd name="T2" fmla="*/ 0 w 265"/>
                    <a:gd name="T3" fmla="*/ 203 h 427"/>
                    <a:gd name="T4" fmla="*/ 39 w 265"/>
                    <a:gd name="T5" fmla="*/ 427 h 427"/>
                    <a:gd name="T6" fmla="*/ 265 w 265"/>
                    <a:gd name="T7" fmla="*/ 427 h 427"/>
                    <a:gd name="T8" fmla="*/ 220 w 265"/>
                    <a:gd name="T9" fmla="*/ 0 h 427"/>
                    <a:gd name="T10" fmla="*/ 0 w 265"/>
                    <a:gd name="T11" fmla="*/ 0 h 427"/>
                  </a:gdLst>
                  <a:ahLst/>
                  <a:cxnLst>
                    <a:cxn ang="0">
                      <a:pos x="T0" y="T1"/>
                    </a:cxn>
                    <a:cxn ang="0">
                      <a:pos x="T2" y="T3"/>
                    </a:cxn>
                    <a:cxn ang="0">
                      <a:pos x="T4" y="T5"/>
                    </a:cxn>
                    <a:cxn ang="0">
                      <a:pos x="T6" y="T7"/>
                    </a:cxn>
                    <a:cxn ang="0">
                      <a:pos x="T8" y="T9"/>
                    </a:cxn>
                    <a:cxn ang="0">
                      <a:pos x="T10" y="T11"/>
                    </a:cxn>
                  </a:cxnLst>
                  <a:rect l="0" t="0" r="r" b="b"/>
                  <a:pathLst>
                    <a:path w="265" h="427">
                      <a:moveTo>
                        <a:pt x="0" y="0"/>
                      </a:moveTo>
                      <a:lnTo>
                        <a:pt x="0" y="203"/>
                      </a:lnTo>
                      <a:lnTo>
                        <a:pt x="39" y="427"/>
                      </a:lnTo>
                      <a:lnTo>
                        <a:pt x="265" y="427"/>
                      </a:lnTo>
                      <a:lnTo>
                        <a:pt x="220" y="0"/>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6" name="Freeform 411"/>
                <p:cNvSpPr>
                  <a:spLocks/>
                </p:cNvSpPr>
                <p:nvPr userDrawn="1"/>
              </p:nvSpPr>
              <p:spPr bwMode="auto">
                <a:xfrm>
                  <a:off x="10137321" y="4373061"/>
                  <a:ext cx="211138" cy="338138"/>
                </a:xfrm>
                <a:custGeom>
                  <a:avLst/>
                  <a:gdLst>
                    <a:gd name="T0" fmla="*/ 0 w 265"/>
                    <a:gd name="T1" fmla="*/ 0 h 427"/>
                    <a:gd name="T2" fmla="*/ 0 w 265"/>
                    <a:gd name="T3" fmla="*/ 203 h 427"/>
                    <a:gd name="T4" fmla="*/ 39 w 265"/>
                    <a:gd name="T5" fmla="*/ 427 h 427"/>
                    <a:gd name="T6" fmla="*/ 265 w 265"/>
                    <a:gd name="T7" fmla="*/ 427 h 427"/>
                    <a:gd name="T8" fmla="*/ 220 w 265"/>
                    <a:gd name="T9" fmla="*/ 0 h 427"/>
                    <a:gd name="T10" fmla="*/ 0 w 265"/>
                    <a:gd name="T11" fmla="*/ 0 h 427"/>
                  </a:gdLst>
                  <a:ahLst/>
                  <a:cxnLst>
                    <a:cxn ang="0">
                      <a:pos x="T0" y="T1"/>
                    </a:cxn>
                    <a:cxn ang="0">
                      <a:pos x="T2" y="T3"/>
                    </a:cxn>
                    <a:cxn ang="0">
                      <a:pos x="T4" y="T5"/>
                    </a:cxn>
                    <a:cxn ang="0">
                      <a:pos x="T6" y="T7"/>
                    </a:cxn>
                    <a:cxn ang="0">
                      <a:pos x="T8" y="T9"/>
                    </a:cxn>
                    <a:cxn ang="0">
                      <a:pos x="T10" y="T11"/>
                    </a:cxn>
                  </a:cxnLst>
                  <a:rect l="0" t="0" r="r" b="b"/>
                  <a:pathLst>
                    <a:path w="265" h="427">
                      <a:moveTo>
                        <a:pt x="0" y="0"/>
                      </a:moveTo>
                      <a:lnTo>
                        <a:pt x="0" y="203"/>
                      </a:lnTo>
                      <a:lnTo>
                        <a:pt x="39" y="427"/>
                      </a:lnTo>
                      <a:lnTo>
                        <a:pt x="265" y="427"/>
                      </a:lnTo>
                      <a:lnTo>
                        <a:pt x="22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7" name="Freeform 412"/>
                <p:cNvSpPr>
                  <a:spLocks/>
                </p:cNvSpPr>
                <p:nvPr userDrawn="1"/>
              </p:nvSpPr>
              <p:spPr bwMode="auto">
                <a:xfrm>
                  <a:off x="10405608" y="3899986"/>
                  <a:ext cx="74613" cy="407988"/>
                </a:xfrm>
                <a:custGeom>
                  <a:avLst/>
                  <a:gdLst>
                    <a:gd name="T0" fmla="*/ 93 w 93"/>
                    <a:gd name="T1" fmla="*/ 515 h 515"/>
                    <a:gd name="T2" fmla="*/ 93 w 93"/>
                    <a:gd name="T3" fmla="*/ 93 h 515"/>
                    <a:gd name="T4" fmla="*/ 93 w 93"/>
                    <a:gd name="T5" fmla="*/ 93 h 515"/>
                    <a:gd name="T6" fmla="*/ 92 w 93"/>
                    <a:gd name="T7" fmla="*/ 83 h 515"/>
                    <a:gd name="T8" fmla="*/ 91 w 93"/>
                    <a:gd name="T9" fmla="*/ 74 h 515"/>
                    <a:gd name="T10" fmla="*/ 88 w 93"/>
                    <a:gd name="T11" fmla="*/ 65 h 515"/>
                    <a:gd name="T12" fmla="*/ 86 w 93"/>
                    <a:gd name="T13" fmla="*/ 56 h 515"/>
                    <a:gd name="T14" fmla="*/ 81 w 93"/>
                    <a:gd name="T15" fmla="*/ 49 h 515"/>
                    <a:gd name="T16" fmla="*/ 77 w 93"/>
                    <a:gd name="T17" fmla="*/ 41 h 515"/>
                    <a:gd name="T18" fmla="*/ 72 w 93"/>
                    <a:gd name="T19" fmla="*/ 33 h 515"/>
                    <a:gd name="T20" fmla="*/ 66 w 93"/>
                    <a:gd name="T21" fmla="*/ 27 h 515"/>
                    <a:gd name="T22" fmla="*/ 59 w 93"/>
                    <a:gd name="T23" fmla="*/ 21 h 515"/>
                    <a:gd name="T24" fmla="*/ 52 w 93"/>
                    <a:gd name="T25" fmla="*/ 16 h 515"/>
                    <a:gd name="T26" fmla="*/ 44 w 93"/>
                    <a:gd name="T27" fmla="*/ 11 h 515"/>
                    <a:gd name="T28" fmla="*/ 36 w 93"/>
                    <a:gd name="T29" fmla="*/ 7 h 515"/>
                    <a:gd name="T30" fmla="*/ 28 w 93"/>
                    <a:gd name="T31" fmla="*/ 4 h 515"/>
                    <a:gd name="T32" fmla="*/ 18 w 93"/>
                    <a:gd name="T33" fmla="*/ 1 h 515"/>
                    <a:gd name="T34" fmla="*/ 10 w 93"/>
                    <a:gd name="T35" fmla="*/ 0 h 515"/>
                    <a:gd name="T36" fmla="*/ 0 w 93"/>
                    <a:gd name="T37" fmla="*/ 0 h 515"/>
                    <a:gd name="T38" fmla="*/ 0 w 93"/>
                    <a:gd name="T39" fmla="*/ 515 h 515"/>
                    <a:gd name="T40" fmla="*/ 93 w 93"/>
                    <a:gd name="T41" fmla="*/ 515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515">
                      <a:moveTo>
                        <a:pt x="93" y="515"/>
                      </a:moveTo>
                      <a:lnTo>
                        <a:pt x="93" y="93"/>
                      </a:lnTo>
                      <a:lnTo>
                        <a:pt x="93" y="93"/>
                      </a:lnTo>
                      <a:lnTo>
                        <a:pt x="92" y="83"/>
                      </a:lnTo>
                      <a:lnTo>
                        <a:pt x="91" y="74"/>
                      </a:lnTo>
                      <a:lnTo>
                        <a:pt x="88" y="65"/>
                      </a:lnTo>
                      <a:lnTo>
                        <a:pt x="86" y="56"/>
                      </a:lnTo>
                      <a:lnTo>
                        <a:pt x="81" y="49"/>
                      </a:lnTo>
                      <a:lnTo>
                        <a:pt x="77" y="41"/>
                      </a:lnTo>
                      <a:lnTo>
                        <a:pt x="72" y="33"/>
                      </a:lnTo>
                      <a:lnTo>
                        <a:pt x="66" y="27"/>
                      </a:lnTo>
                      <a:lnTo>
                        <a:pt x="59" y="21"/>
                      </a:lnTo>
                      <a:lnTo>
                        <a:pt x="52" y="16"/>
                      </a:lnTo>
                      <a:lnTo>
                        <a:pt x="44" y="11"/>
                      </a:lnTo>
                      <a:lnTo>
                        <a:pt x="36" y="7"/>
                      </a:lnTo>
                      <a:lnTo>
                        <a:pt x="28" y="4"/>
                      </a:lnTo>
                      <a:lnTo>
                        <a:pt x="18" y="1"/>
                      </a:lnTo>
                      <a:lnTo>
                        <a:pt x="10" y="0"/>
                      </a:lnTo>
                      <a:lnTo>
                        <a:pt x="0" y="0"/>
                      </a:lnTo>
                      <a:lnTo>
                        <a:pt x="0" y="515"/>
                      </a:lnTo>
                      <a:lnTo>
                        <a:pt x="93" y="515"/>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8" name="Freeform 413"/>
                <p:cNvSpPr>
                  <a:spLocks/>
                </p:cNvSpPr>
                <p:nvPr userDrawn="1"/>
              </p:nvSpPr>
              <p:spPr bwMode="auto">
                <a:xfrm>
                  <a:off x="10405608" y="3899986"/>
                  <a:ext cx="74613" cy="407988"/>
                </a:xfrm>
                <a:custGeom>
                  <a:avLst/>
                  <a:gdLst>
                    <a:gd name="T0" fmla="*/ 93 w 93"/>
                    <a:gd name="T1" fmla="*/ 515 h 515"/>
                    <a:gd name="T2" fmla="*/ 93 w 93"/>
                    <a:gd name="T3" fmla="*/ 93 h 515"/>
                    <a:gd name="T4" fmla="*/ 93 w 93"/>
                    <a:gd name="T5" fmla="*/ 93 h 515"/>
                    <a:gd name="T6" fmla="*/ 92 w 93"/>
                    <a:gd name="T7" fmla="*/ 83 h 515"/>
                    <a:gd name="T8" fmla="*/ 91 w 93"/>
                    <a:gd name="T9" fmla="*/ 74 h 515"/>
                    <a:gd name="T10" fmla="*/ 88 w 93"/>
                    <a:gd name="T11" fmla="*/ 65 h 515"/>
                    <a:gd name="T12" fmla="*/ 86 w 93"/>
                    <a:gd name="T13" fmla="*/ 56 h 515"/>
                    <a:gd name="T14" fmla="*/ 81 w 93"/>
                    <a:gd name="T15" fmla="*/ 49 h 515"/>
                    <a:gd name="T16" fmla="*/ 77 w 93"/>
                    <a:gd name="T17" fmla="*/ 41 h 515"/>
                    <a:gd name="T18" fmla="*/ 72 w 93"/>
                    <a:gd name="T19" fmla="*/ 33 h 515"/>
                    <a:gd name="T20" fmla="*/ 66 w 93"/>
                    <a:gd name="T21" fmla="*/ 27 h 515"/>
                    <a:gd name="T22" fmla="*/ 59 w 93"/>
                    <a:gd name="T23" fmla="*/ 21 h 515"/>
                    <a:gd name="T24" fmla="*/ 52 w 93"/>
                    <a:gd name="T25" fmla="*/ 16 h 515"/>
                    <a:gd name="T26" fmla="*/ 44 w 93"/>
                    <a:gd name="T27" fmla="*/ 11 h 515"/>
                    <a:gd name="T28" fmla="*/ 36 w 93"/>
                    <a:gd name="T29" fmla="*/ 7 h 515"/>
                    <a:gd name="T30" fmla="*/ 28 w 93"/>
                    <a:gd name="T31" fmla="*/ 4 h 515"/>
                    <a:gd name="T32" fmla="*/ 18 w 93"/>
                    <a:gd name="T33" fmla="*/ 1 h 515"/>
                    <a:gd name="T34" fmla="*/ 10 w 93"/>
                    <a:gd name="T35" fmla="*/ 0 h 515"/>
                    <a:gd name="T36" fmla="*/ 0 w 93"/>
                    <a:gd name="T37" fmla="*/ 0 h 515"/>
                    <a:gd name="T38" fmla="*/ 0 w 93"/>
                    <a:gd name="T39" fmla="*/ 515 h 515"/>
                    <a:gd name="T40" fmla="*/ 93 w 93"/>
                    <a:gd name="T41" fmla="*/ 515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515">
                      <a:moveTo>
                        <a:pt x="93" y="515"/>
                      </a:moveTo>
                      <a:lnTo>
                        <a:pt x="93" y="93"/>
                      </a:lnTo>
                      <a:lnTo>
                        <a:pt x="93" y="93"/>
                      </a:lnTo>
                      <a:lnTo>
                        <a:pt x="92" y="83"/>
                      </a:lnTo>
                      <a:lnTo>
                        <a:pt x="91" y="74"/>
                      </a:lnTo>
                      <a:lnTo>
                        <a:pt x="88" y="65"/>
                      </a:lnTo>
                      <a:lnTo>
                        <a:pt x="86" y="56"/>
                      </a:lnTo>
                      <a:lnTo>
                        <a:pt x="81" y="49"/>
                      </a:lnTo>
                      <a:lnTo>
                        <a:pt x="77" y="41"/>
                      </a:lnTo>
                      <a:lnTo>
                        <a:pt x="72" y="33"/>
                      </a:lnTo>
                      <a:lnTo>
                        <a:pt x="66" y="27"/>
                      </a:lnTo>
                      <a:lnTo>
                        <a:pt x="59" y="21"/>
                      </a:lnTo>
                      <a:lnTo>
                        <a:pt x="52" y="16"/>
                      </a:lnTo>
                      <a:lnTo>
                        <a:pt x="44" y="11"/>
                      </a:lnTo>
                      <a:lnTo>
                        <a:pt x="36" y="7"/>
                      </a:lnTo>
                      <a:lnTo>
                        <a:pt x="28" y="4"/>
                      </a:lnTo>
                      <a:lnTo>
                        <a:pt x="18" y="1"/>
                      </a:lnTo>
                      <a:lnTo>
                        <a:pt x="10" y="0"/>
                      </a:lnTo>
                      <a:lnTo>
                        <a:pt x="0" y="0"/>
                      </a:lnTo>
                      <a:lnTo>
                        <a:pt x="0" y="515"/>
                      </a:lnTo>
                      <a:lnTo>
                        <a:pt x="93" y="5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9" name="Freeform 414"/>
                <p:cNvSpPr>
                  <a:spLocks/>
                </p:cNvSpPr>
                <p:nvPr userDrawn="1"/>
              </p:nvSpPr>
              <p:spPr bwMode="auto">
                <a:xfrm>
                  <a:off x="10330996" y="3899986"/>
                  <a:ext cx="74613" cy="407988"/>
                </a:xfrm>
                <a:custGeom>
                  <a:avLst/>
                  <a:gdLst>
                    <a:gd name="T0" fmla="*/ 93 w 93"/>
                    <a:gd name="T1" fmla="*/ 515 h 515"/>
                    <a:gd name="T2" fmla="*/ 93 w 93"/>
                    <a:gd name="T3" fmla="*/ 0 h 515"/>
                    <a:gd name="T4" fmla="*/ 93 w 93"/>
                    <a:gd name="T5" fmla="*/ 0 h 515"/>
                    <a:gd name="T6" fmla="*/ 84 w 93"/>
                    <a:gd name="T7" fmla="*/ 0 h 515"/>
                    <a:gd name="T8" fmla="*/ 74 w 93"/>
                    <a:gd name="T9" fmla="*/ 1 h 515"/>
                    <a:gd name="T10" fmla="*/ 65 w 93"/>
                    <a:gd name="T11" fmla="*/ 4 h 515"/>
                    <a:gd name="T12" fmla="*/ 57 w 93"/>
                    <a:gd name="T13" fmla="*/ 7 h 515"/>
                    <a:gd name="T14" fmla="*/ 48 w 93"/>
                    <a:gd name="T15" fmla="*/ 11 h 515"/>
                    <a:gd name="T16" fmla="*/ 41 w 93"/>
                    <a:gd name="T17" fmla="*/ 16 h 515"/>
                    <a:gd name="T18" fmla="*/ 34 w 93"/>
                    <a:gd name="T19" fmla="*/ 21 h 515"/>
                    <a:gd name="T20" fmla="*/ 27 w 93"/>
                    <a:gd name="T21" fmla="*/ 27 h 515"/>
                    <a:gd name="T22" fmla="*/ 21 w 93"/>
                    <a:gd name="T23" fmla="*/ 33 h 515"/>
                    <a:gd name="T24" fmla="*/ 16 w 93"/>
                    <a:gd name="T25" fmla="*/ 41 h 515"/>
                    <a:gd name="T26" fmla="*/ 11 w 93"/>
                    <a:gd name="T27" fmla="*/ 49 h 515"/>
                    <a:gd name="T28" fmla="*/ 8 w 93"/>
                    <a:gd name="T29" fmla="*/ 56 h 515"/>
                    <a:gd name="T30" fmla="*/ 4 w 93"/>
                    <a:gd name="T31" fmla="*/ 65 h 515"/>
                    <a:gd name="T32" fmla="*/ 2 w 93"/>
                    <a:gd name="T33" fmla="*/ 74 h 515"/>
                    <a:gd name="T34" fmla="*/ 1 w 93"/>
                    <a:gd name="T35" fmla="*/ 83 h 515"/>
                    <a:gd name="T36" fmla="*/ 0 w 93"/>
                    <a:gd name="T37" fmla="*/ 93 h 515"/>
                    <a:gd name="T38" fmla="*/ 0 w 93"/>
                    <a:gd name="T39" fmla="*/ 515 h 515"/>
                    <a:gd name="T40" fmla="*/ 93 w 93"/>
                    <a:gd name="T41" fmla="*/ 515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515">
                      <a:moveTo>
                        <a:pt x="93" y="515"/>
                      </a:moveTo>
                      <a:lnTo>
                        <a:pt x="93" y="0"/>
                      </a:lnTo>
                      <a:lnTo>
                        <a:pt x="93" y="0"/>
                      </a:lnTo>
                      <a:lnTo>
                        <a:pt x="84" y="0"/>
                      </a:lnTo>
                      <a:lnTo>
                        <a:pt x="74" y="1"/>
                      </a:lnTo>
                      <a:lnTo>
                        <a:pt x="65" y="4"/>
                      </a:lnTo>
                      <a:lnTo>
                        <a:pt x="57" y="7"/>
                      </a:lnTo>
                      <a:lnTo>
                        <a:pt x="48" y="11"/>
                      </a:lnTo>
                      <a:lnTo>
                        <a:pt x="41" y="16"/>
                      </a:lnTo>
                      <a:lnTo>
                        <a:pt x="34" y="21"/>
                      </a:lnTo>
                      <a:lnTo>
                        <a:pt x="27" y="27"/>
                      </a:lnTo>
                      <a:lnTo>
                        <a:pt x="21" y="33"/>
                      </a:lnTo>
                      <a:lnTo>
                        <a:pt x="16" y="41"/>
                      </a:lnTo>
                      <a:lnTo>
                        <a:pt x="11" y="49"/>
                      </a:lnTo>
                      <a:lnTo>
                        <a:pt x="8" y="56"/>
                      </a:lnTo>
                      <a:lnTo>
                        <a:pt x="4" y="65"/>
                      </a:lnTo>
                      <a:lnTo>
                        <a:pt x="2" y="74"/>
                      </a:lnTo>
                      <a:lnTo>
                        <a:pt x="1" y="83"/>
                      </a:lnTo>
                      <a:lnTo>
                        <a:pt x="0" y="93"/>
                      </a:lnTo>
                      <a:lnTo>
                        <a:pt x="0" y="515"/>
                      </a:lnTo>
                      <a:lnTo>
                        <a:pt x="93" y="5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0" name="Freeform 415"/>
                <p:cNvSpPr>
                  <a:spLocks/>
                </p:cNvSpPr>
                <p:nvPr userDrawn="1"/>
              </p:nvSpPr>
              <p:spPr bwMode="auto">
                <a:xfrm>
                  <a:off x="10330996" y="3899986"/>
                  <a:ext cx="74613" cy="407988"/>
                </a:xfrm>
                <a:custGeom>
                  <a:avLst/>
                  <a:gdLst>
                    <a:gd name="T0" fmla="*/ 93 w 93"/>
                    <a:gd name="T1" fmla="*/ 515 h 515"/>
                    <a:gd name="T2" fmla="*/ 93 w 93"/>
                    <a:gd name="T3" fmla="*/ 0 h 515"/>
                    <a:gd name="T4" fmla="*/ 93 w 93"/>
                    <a:gd name="T5" fmla="*/ 0 h 515"/>
                    <a:gd name="T6" fmla="*/ 84 w 93"/>
                    <a:gd name="T7" fmla="*/ 0 h 515"/>
                    <a:gd name="T8" fmla="*/ 74 w 93"/>
                    <a:gd name="T9" fmla="*/ 1 h 515"/>
                    <a:gd name="T10" fmla="*/ 65 w 93"/>
                    <a:gd name="T11" fmla="*/ 4 h 515"/>
                    <a:gd name="T12" fmla="*/ 57 w 93"/>
                    <a:gd name="T13" fmla="*/ 7 h 515"/>
                    <a:gd name="T14" fmla="*/ 48 w 93"/>
                    <a:gd name="T15" fmla="*/ 11 h 515"/>
                    <a:gd name="T16" fmla="*/ 41 w 93"/>
                    <a:gd name="T17" fmla="*/ 16 h 515"/>
                    <a:gd name="T18" fmla="*/ 34 w 93"/>
                    <a:gd name="T19" fmla="*/ 21 h 515"/>
                    <a:gd name="T20" fmla="*/ 27 w 93"/>
                    <a:gd name="T21" fmla="*/ 27 h 515"/>
                    <a:gd name="T22" fmla="*/ 21 w 93"/>
                    <a:gd name="T23" fmla="*/ 33 h 515"/>
                    <a:gd name="T24" fmla="*/ 16 w 93"/>
                    <a:gd name="T25" fmla="*/ 41 h 515"/>
                    <a:gd name="T26" fmla="*/ 11 w 93"/>
                    <a:gd name="T27" fmla="*/ 49 h 515"/>
                    <a:gd name="T28" fmla="*/ 8 w 93"/>
                    <a:gd name="T29" fmla="*/ 56 h 515"/>
                    <a:gd name="T30" fmla="*/ 4 w 93"/>
                    <a:gd name="T31" fmla="*/ 65 h 515"/>
                    <a:gd name="T32" fmla="*/ 2 w 93"/>
                    <a:gd name="T33" fmla="*/ 74 h 515"/>
                    <a:gd name="T34" fmla="*/ 1 w 93"/>
                    <a:gd name="T35" fmla="*/ 83 h 515"/>
                    <a:gd name="T36" fmla="*/ 0 w 93"/>
                    <a:gd name="T37" fmla="*/ 93 h 515"/>
                    <a:gd name="T38" fmla="*/ 0 w 93"/>
                    <a:gd name="T39" fmla="*/ 515 h 515"/>
                    <a:gd name="T40" fmla="*/ 93 w 93"/>
                    <a:gd name="T41" fmla="*/ 515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515">
                      <a:moveTo>
                        <a:pt x="93" y="515"/>
                      </a:moveTo>
                      <a:lnTo>
                        <a:pt x="93" y="0"/>
                      </a:lnTo>
                      <a:lnTo>
                        <a:pt x="93" y="0"/>
                      </a:lnTo>
                      <a:lnTo>
                        <a:pt x="84" y="0"/>
                      </a:lnTo>
                      <a:lnTo>
                        <a:pt x="74" y="1"/>
                      </a:lnTo>
                      <a:lnTo>
                        <a:pt x="65" y="4"/>
                      </a:lnTo>
                      <a:lnTo>
                        <a:pt x="57" y="7"/>
                      </a:lnTo>
                      <a:lnTo>
                        <a:pt x="48" y="11"/>
                      </a:lnTo>
                      <a:lnTo>
                        <a:pt x="41" y="16"/>
                      </a:lnTo>
                      <a:lnTo>
                        <a:pt x="34" y="21"/>
                      </a:lnTo>
                      <a:lnTo>
                        <a:pt x="27" y="27"/>
                      </a:lnTo>
                      <a:lnTo>
                        <a:pt x="21" y="33"/>
                      </a:lnTo>
                      <a:lnTo>
                        <a:pt x="16" y="41"/>
                      </a:lnTo>
                      <a:lnTo>
                        <a:pt x="11" y="49"/>
                      </a:lnTo>
                      <a:lnTo>
                        <a:pt x="8" y="56"/>
                      </a:lnTo>
                      <a:lnTo>
                        <a:pt x="4" y="65"/>
                      </a:lnTo>
                      <a:lnTo>
                        <a:pt x="2" y="74"/>
                      </a:lnTo>
                      <a:lnTo>
                        <a:pt x="1" y="83"/>
                      </a:lnTo>
                      <a:lnTo>
                        <a:pt x="0" y="93"/>
                      </a:lnTo>
                      <a:lnTo>
                        <a:pt x="0" y="515"/>
                      </a:lnTo>
                      <a:lnTo>
                        <a:pt x="93" y="5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1" name="Rectangle 416"/>
                <p:cNvSpPr>
                  <a:spLocks noChangeArrowheads="1"/>
                </p:cNvSpPr>
                <p:nvPr userDrawn="1"/>
              </p:nvSpPr>
              <p:spPr bwMode="auto">
                <a:xfrm>
                  <a:off x="10330996" y="4307974"/>
                  <a:ext cx="74613" cy="192088"/>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2" name="Rectangle 417"/>
                <p:cNvSpPr>
                  <a:spLocks noChangeArrowheads="1"/>
                </p:cNvSpPr>
                <p:nvPr userDrawn="1"/>
              </p:nvSpPr>
              <p:spPr bwMode="auto">
                <a:xfrm>
                  <a:off x="10330996" y="4307974"/>
                  <a:ext cx="74613" cy="1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3" name="Rectangle 418"/>
                <p:cNvSpPr>
                  <a:spLocks noChangeArrowheads="1"/>
                </p:cNvSpPr>
                <p:nvPr userDrawn="1"/>
              </p:nvSpPr>
              <p:spPr bwMode="auto">
                <a:xfrm>
                  <a:off x="10405608" y="4307974"/>
                  <a:ext cx="74613" cy="192088"/>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4" name="Rectangle 419"/>
                <p:cNvSpPr>
                  <a:spLocks noChangeArrowheads="1"/>
                </p:cNvSpPr>
                <p:nvPr userDrawn="1"/>
              </p:nvSpPr>
              <p:spPr bwMode="auto">
                <a:xfrm>
                  <a:off x="10405608" y="4307974"/>
                  <a:ext cx="74613" cy="1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5" name="Freeform 420"/>
                <p:cNvSpPr>
                  <a:spLocks/>
                </p:cNvSpPr>
                <p:nvPr userDrawn="1"/>
              </p:nvSpPr>
              <p:spPr bwMode="auto">
                <a:xfrm>
                  <a:off x="10405608" y="4434974"/>
                  <a:ext cx="100013" cy="100013"/>
                </a:xfrm>
                <a:custGeom>
                  <a:avLst/>
                  <a:gdLst>
                    <a:gd name="T0" fmla="*/ 125 w 125"/>
                    <a:gd name="T1" fmla="*/ 125 h 125"/>
                    <a:gd name="T2" fmla="*/ 125 w 125"/>
                    <a:gd name="T3" fmla="*/ 125 h 125"/>
                    <a:gd name="T4" fmla="*/ 125 w 125"/>
                    <a:gd name="T5" fmla="*/ 112 h 125"/>
                    <a:gd name="T6" fmla="*/ 123 w 125"/>
                    <a:gd name="T7" fmla="*/ 100 h 125"/>
                    <a:gd name="T8" fmla="*/ 121 w 125"/>
                    <a:gd name="T9" fmla="*/ 88 h 125"/>
                    <a:gd name="T10" fmla="*/ 116 w 125"/>
                    <a:gd name="T11" fmla="*/ 76 h 125"/>
                    <a:gd name="T12" fmla="*/ 111 w 125"/>
                    <a:gd name="T13" fmla="*/ 66 h 125"/>
                    <a:gd name="T14" fmla="*/ 104 w 125"/>
                    <a:gd name="T15" fmla="*/ 55 h 125"/>
                    <a:gd name="T16" fmla="*/ 97 w 125"/>
                    <a:gd name="T17" fmla="*/ 45 h 125"/>
                    <a:gd name="T18" fmla="*/ 88 w 125"/>
                    <a:gd name="T19" fmla="*/ 37 h 125"/>
                    <a:gd name="T20" fmla="*/ 80 w 125"/>
                    <a:gd name="T21" fmla="*/ 29 h 125"/>
                    <a:gd name="T22" fmla="*/ 71 w 125"/>
                    <a:gd name="T23" fmla="*/ 22 h 125"/>
                    <a:gd name="T24" fmla="*/ 60 w 125"/>
                    <a:gd name="T25" fmla="*/ 15 h 125"/>
                    <a:gd name="T26" fmla="*/ 49 w 125"/>
                    <a:gd name="T27" fmla="*/ 10 h 125"/>
                    <a:gd name="T28" fmla="*/ 37 w 125"/>
                    <a:gd name="T29" fmla="*/ 5 h 125"/>
                    <a:gd name="T30" fmla="*/ 25 w 125"/>
                    <a:gd name="T31" fmla="*/ 3 h 125"/>
                    <a:gd name="T32" fmla="*/ 12 w 125"/>
                    <a:gd name="T33" fmla="*/ 0 h 125"/>
                    <a:gd name="T34" fmla="*/ 0 w 125"/>
                    <a:gd name="T35" fmla="*/ 0 h 125"/>
                    <a:gd name="T36" fmla="*/ 0 w 125"/>
                    <a:gd name="T37" fmla="*/ 125 h 125"/>
                    <a:gd name="T38" fmla="*/ 125 w 125"/>
                    <a:gd name="T39"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125">
                      <a:moveTo>
                        <a:pt x="125" y="125"/>
                      </a:moveTo>
                      <a:lnTo>
                        <a:pt x="125" y="125"/>
                      </a:lnTo>
                      <a:lnTo>
                        <a:pt x="125" y="112"/>
                      </a:lnTo>
                      <a:lnTo>
                        <a:pt x="123" y="100"/>
                      </a:lnTo>
                      <a:lnTo>
                        <a:pt x="121" y="88"/>
                      </a:lnTo>
                      <a:lnTo>
                        <a:pt x="116" y="76"/>
                      </a:lnTo>
                      <a:lnTo>
                        <a:pt x="111" y="66"/>
                      </a:lnTo>
                      <a:lnTo>
                        <a:pt x="104" y="55"/>
                      </a:lnTo>
                      <a:lnTo>
                        <a:pt x="97" y="45"/>
                      </a:lnTo>
                      <a:lnTo>
                        <a:pt x="88" y="37"/>
                      </a:lnTo>
                      <a:lnTo>
                        <a:pt x="80" y="29"/>
                      </a:lnTo>
                      <a:lnTo>
                        <a:pt x="71" y="22"/>
                      </a:lnTo>
                      <a:lnTo>
                        <a:pt x="60" y="15"/>
                      </a:lnTo>
                      <a:lnTo>
                        <a:pt x="49" y="10"/>
                      </a:lnTo>
                      <a:lnTo>
                        <a:pt x="37" y="5"/>
                      </a:lnTo>
                      <a:lnTo>
                        <a:pt x="25" y="3"/>
                      </a:lnTo>
                      <a:lnTo>
                        <a:pt x="12" y="0"/>
                      </a:lnTo>
                      <a:lnTo>
                        <a:pt x="0" y="0"/>
                      </a:lnTo>
                      <a:lnTo>
                        <a:pt x="0" y="125"/>
                      </a:lnTo>
                      <a:lnTo>
                        <a:pt x="125" y="125"/>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6" name="Freeform 421"/>
                <p:cNvSpPr>
                  <a:spLocks/>
                </p:cNvSpPr>
                <p:nvPr userDrawn="1"/>
              </p:nvSpPr>
              <p:spPr bwMode="auto">
                <a:xfrm>
                  <a:off x="10305596" y="4434974"/>
                  <a:ext cx="100013" cy="100013"/>
                </a:xfrm>
                <a:custGeom>
                  <a:avLst/>
                  <a:gdLst>
                    <a:gd name="T0" fmla="*/ 126 w 126"/>
                    <a:gd name="T1" fmla="*/ 0 h 125"/>
                    <a:gd name="T2" fmla="*/ 126 w 126"/>
                    <a:gd name="T3" fmla="*/ 0 h 125"/>
                    <a:gd name="T4" fmla="*/ 113 w 126"/>
                    <a:gd name="T5" fmla="*/ 0 h 125"/>
                    <a:gd name="T6" fmla="*/ 100 w 126"/>
                    <a:gd name="T7" fmla="*/ 3 h 125"/>
                    <a:gd name="T8" fmla="*/ 88 w 126"/>
                    <a:gd name="T9" fmla="*/ 5 h 125"/>
                    <a:gd name="T10" fmla="*/ 77 w 126"/>
                    <a:gd name="T11" fmla="*/ 10 h 125"/>
                    <a:gd name="T12" fmla="*/ 66 w 126"/>
                    <a:gd name="T13" fmla="*/ 15 h 125"/>
                    <a:gd name="T14" fmla="*/ 55 w 126"/>
                    <a:gd name="T15" fmla="*/ 22 h 125"/>
                    <a:gd name="T16" fmla="*/ 46 w 126"/>
                    <a:gd name="T17" fmla="*/ 29 h 125"/>
                    <a:gd name="T18" fmla="*/ 37 w 126"/>
                    <a:gd name="T19" fmla="*/ 37 h 125"/>
                    <a:gd name="T20" fmla="*/ 29 w 126"/>
                    <a:gd name="T21" fmla="*/ 45 h 125"/>
                    <a:gd name="T22" fmla="*/ 22 w 126"/>
                    <a:gd name="T23" fmla="*/ 55 h 125"/>
                    <a:gd name="T24" fmla="*/ 16 w 126"/>
                    <a:gd name="T25" fmla="*/ 66 h 125"/>
                    <a:gd name="T26" fmla="*/ 10 w 126"/>
                    <a:gd name="T27" fmla="*/ 76 h 125"/>
                    <a:gd name="T28" fmla="*/ 6 w 126"/>
                    <a:gd name="T29" fmla="*/ 88 h 125"/>
                    <a:gd name="T30" fmla="*/ 3 w 126"/>
                    <a:gd name="T31" fmla="*/ 100 h 125"/>
                    <a:gd name="T32" fmla="*/ 0 w 126"/>
                    <a:gd name="T33" fmla="*/ 112 h 125"/>
                    <a:gd name="T34" fmla="*/ 0 w 126"/>
                    <a:gd name="T35" fmla="*/ 125 h 125"/>
                    <a:gd name="T36" fmla="*/ 126 w 126"/>
                    <a:gd name="T37" fmla="*/ 125 h 125"/>
                    <a:gd name="T38" fmla="*/ 126 w 126"/>
                    <a:gd name="T39"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 h="125">
                      <a:moveTo>
                        <a:pt x="126" y="0"/>
                      </a:moveTo>
                      <a:lnTo>
                        <a:pt x="126" y="0"/>
                      </a:lnTo>
                      <a:lnTo>
                        <a:pt x="113" y="0"/>
                      </a:lnTo>
                      <a:lnTo>
                        <a:pt x="100" y="3"/>
                      </a:lnTo>
                      <a:lnTo>
                        <a:pt x="88" y="5"/>
                      </a:lnTo>
                      <a:lnTo>
                        <a:pt x="77" y="10"/>
                      </a:lnTo>
                      <a:lnTo>
                        <a:pt x="66" y="15"/>
                      </a:lnTo>
                      <a:lnTo>
                        <a:pt x="55" y="22"/>
                      </a:lnTo>
                      <a:lnTo>
                        <a:pt x="46" y="29"/>
                      </a:lnTo>
                      <a:lnTo>
                        <a:pt x="37" y="37"/>
                      </a:lnTo>
                      <a:lnTo>
                        <a:pt x="29" y="45"/>
                      </a:lnTo>
                      <a:lnTo>
                        <a:pt x="22" y="55"/>
                      </a:lnTo>
                      <a:lnTo>
                        <a:pt x="16" y="66"/>
                      </a:lnTo>
                      <a:lnTo>
                        <a:pt x="10" y="76"/>
                      </a:lnTo>
                      <a:lnTo>
                        <a:pt x="6" y="88"/>
                      </a:lnTo>
                      <a:lnTo>
                        <a:pt x="3" y="100"/>
                      </a:lnTo>
                      <a:lnTo>
                        <a:pt x="0" y="112"/>
                      </a:lnTo>
                      <a:lnTo>
                        <a:pt x="0" y="125"/>
                      </a:lnTo>
                      <a:lnTo>
                        <a:pt x="126" y="125"/>
                      </a:lnTo>
                      <a:lnTo>
                        <a:pt x="1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7" name="Freeform 422"/>
                <p:cNvSpPr>
                  <a:spLocks/>
                </p:cNvSpPr>
                <p:nvPr userDrawn="1"/>
              </p:nvSpPr>
              <p:spPr bwMode="auto">
                <a:xfrm>
                  <a:off x="10305596" y="4534986"/>
                  <a:ext cx="100013" cy="100013"/>
                </a:xfrm>
                <a:custGeom>
                  <a:avLst/>
                  <a:gdLst>
                    <a:gd name="T0" fmla="*/ 0 w 126"/>
                    <a:gd name="T1" fmla="*/ 0 h 126"/>
                    <a:gd name="T2" fmla="*/ 0 w 126"/>
                    <a:gd name="T3" fmla="*/ 0 h 126"/>
                    <a:gd name="T4" fmla="*/ 0 w 126"/>
                    <a:gd name="T5" fmla="*/ 13 h 126"/>
                    <a:gd name="T6" fmla="*/ 3 w 126"/>
                    <a:gd name="T7" fmla="*/ 26 h 126"/>
                    <a:gd name="T8" fmla="*/ 6 w 126"/>
                    <a:gd name="T9" fmla="*/ 38 h 126"/>
                    <a:gd name="T10" fmla="*/ 10 w 126"/>
                    <a:gd name="T11" fmla="*/ 49 h 126"/>
                    <a:gd name="T12" fmla="*/ 16 w 126"/>
                    <a:gd name="T13" fmla="*/ 61 h 126"/>
                    <a:gd name="T14" fmla="*/ 22 w 126"/>
                    <a:gd name="T15" fmla="*/ 70 h 126"/>
                    <a:gd name="T16" fmla="*/ 29 w 126"/>
                    <a:gd name="T17" fmla="*/ 81 h 126"/>
                    <a:gd name="T18" fmla="*/ 37 w 126"/>
                    <a:gd name="T19" fmla="*/ 89 h 126"/>
                    <a:gd name="T20" fmla="*/ 46 w 126"/>
                    <a:gd name="T21" fmla="*/ 98 h 126"/>
                    <a:gd name="T22" fmla="*/ 55 w 126"/>
                    <a:gd name="T23" fmla="*/ 105 h 126"/>
                    <a:gd name="T24" fmla="*/ 66 w 126"/>
                    <a:gd name="T25" fmla="*/ 111 h 126"/>
                    <a:gd name="T26" fmla="*/ 77 w 126"/>
                    <a:gd name="T27" fmla="*/ 117 h 126"/>
                    <a:gd name="T28" fmla="*/ 88 w 126"/>
                    <a:gd name="T29" fmla="*/ 120 h 126"/>
                    <a:gd name="T30" fmla="*/ 100 w 126"/>
                    <a:gd name="T31" fmla="*/ 124 h 126"/>
                    <a:gd name="T32" fmla="*/ 113 w 126"/>
                    <a:gd name="T33" fmla="*/ 125 h 126"/>
                    <a:gd name="T34" fmla="*/ 126 w 126"/>
                    <a:gd name="T35" fmla="*/ 126 h 126"/>
                    <a:gd name="T36" fmla="*/ 126 w 126"/>
                    <a:gd name="T37" fmla="*/ 0 h 126"/>
                    <a:gd name="T38" fmla="*/ 0 w 126"/>
                    <a:gd name="T3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 h="126">
                      <a:moveTo>
                        <a:pt x="0" y="0"/>
                      </a:moveTo>
                      <a:lnTo>
                        <a:pt x="0" y="0"/>
                      </a:lnTo>
                      <a:lnTo>
                        <a:pt x="0" y="13"/>
                      </a:lnTo>
                      <a:lnTo>
                        <a:pt x="3" y="26"/>
                      </a:lnTo>
                      <a:lnTo>
                        <a:pt x="6" y="38"/>
                      </a:lnTo>
                      <a:lnTo>
                        <a:pt x="10" y="49"/>
                      </a:lnTo>
                      <a:lnTo>
                        <a:pt x="16" y="61"/>
                      </a:lnTo>
                      <a:lnTo>
                        <a:pt x="22" y="70"/>
                      </a:lnTo>
                      <a:lnTo>
                        <a:pt x="29" y="81"/>
                      </a:lnTo>
                      <a:lnTo>
                        <a:pt x="37" y="89"/>
                      </a:lnTo>
                      <a:lnTo>
                        <a:pt x="46" y="98"/>
                      </a:lnTo>
                      <a:lnTo>
                        <a:pt x="55" y="105"/>
                      </a:lnTo>
                      <a:lnTo>
                        <a:pt x="66" y="111"/>
                      </a:lnTo>
                      <a:lnTo>
                        <a:pt x="77" y="117"/>
                      </a:lnTo>
                      <a:lnTo>
                        <a:pt x="88" y="120"/>
                      </a:lnTo>
                      <a:lnTo>
                        <a:pt x="100" y="124"/>
                      </a:lnTo>
                      <a:lnTo>
                        <a:pt x="113" y="125"/>
                      </a:lnTo>
                      <a:lnTo>
                        <a:pt x="126" y="126"/>
                      </a:lnTo>
                      <a:lnTo>
                        <a:pt x="126" y="0"/>
                      </a:lnTo>
                      <a:lnTo>
                        <a:pt x="0" y="0"/>
                      </a:lnTo>
                      <a:close/>
                    </a:path>
                  </a:pathLst>
                </a:custGeom>
                <a:solidFill>
                  <a:srgbClr val="A5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8" name="Freeform 423"/>
                <p:cNvSpPr>
                  <a:spLocks/>
                </p:cNvSpPr>
                <p:nvPr userDrawn="1"/>
              </p:nvSpPr>
              <p:spPr bwMode="auto">
                <a:xfrm>
                  <a:off x="10405608" y="4534986"/>
                  <a:ext cx="100013" cy="100013"/>
                </a:xfrm>
                <a:custGeom>
                  <a:avLst/>
                  <a:gdLst>
                    <a:gd name="T0" fmla="*/ 0 w 125"/>
                    <a:gd name="T1" fmla="*/ 0 h 126"/>
                    <a:gd name="T2" fmla="*/ 0 w 125"/>
                    <a:gd name="T3" fmla="*/ 126 h 126"/>
                    <a:gd name="T4" fmla="*/ 0 w 125"/>
                    <a:gd name="T5" fmla="*/ 126 h 126"/>
                    <a:gd name="T6" fmla="*/ 12 w 125"/>
                    <a:gd name="T7" fmla="*/ 125 h 126"/>
                    <a:gd name="T8" fmla="*/ 25 w 125"/>
                    <a:gd name="T9" fmla="*/ 124 h 126"/>
                    <a:gd name="T10" fmla="*/ 37 w 125"/>
                    <a:gd name="T11" fmla="*/ 120 h 126"/>
                    <a:gd name="T12" fmla="*/ 49 w 125"/>
                    <a:gd name="T13" fmla="*/ 117 h 126"/>
                    <a:gd name="T14" fmla="*/ 60 w 125"/>
                    <a:gd name="T15" fmla="*/ 111 h 126"/>
                    <a:gd name="T16" fmla="*/ 71 w 125"/>
                    <a:gd name="T17" fmla="*/ 105 h 126"/>
                    <a:gd name="T18" fmla="*/ 80 w 125"/>
                    <a:gd name="T19" fmla="*/ 98 h 126"/>
                    <a:gd name="T20" fmla="*/ 88 w 125"/>
                    <a:gd name="T21" fmla="*/ 89 h 126"/>
                    <a:gd name="T22" fmla="*/ 97 w 125"/>
                    <a:gd name="T23" fmla="*/ 81 h 126"/>
                    <a:gd name="T24" fmla="*/ 104 w 125"/>
                    <a:gd name="T25" fmla="*/ 70 h 126"/>
                    <a:gd name="T26" fmla="*/ 111 w 125"/>
                    <a:gd name="T27" fmla="*/ 61 h 126"/>
                    <a:gd name="T28" fmla="*/ 116 w 125"/>
                    <a:gd name="T29" fmla="*/ 49 h 126"/>
                    <a:gd name="T30" fmla="*/ 121 w 125"/>
                    <a:gd name="T31" fmla="*/ 38 h 126"/>
                    <a:gd name="T32" fmla="*/ 123 w 125"/>
                    <a:gd name="T33" fmla="*/ 26 h 126"/>
                    <a:gd name="T34" fmla="*/ 125 w 125"/>
                    <a:gd name="T35" fmla="*/ 13 h 126"/>
                    <a:gd name="T36" fmla="*/ 125 w 125"/>
                    <a:gd name="T37" fmla="*/ 0 h 126"/>
                    <a:gd name="T38" fmla="*/ 0 w 125"/>
                    <a:gd name="T3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126">
                      <a:moveTo>
                        <a:pt x="0" y="0"/>
                      </a:moveTo>
                      <a:lnTo>
                        <a:pt x="0" y="126"/>
                      </a:lnTo>
                      <a:lnTo>
                        <a:pt x="0" y="126"/>
                      </a:lnTo>
                      <a:lnTo>
                        <a:pt x="12" y="125"/>
                      </a:lnTo>
                      <a:lnTo>
                        <a:pt x="25" y="124"/>
                      </a:lnTo>
                      <a:lnTo>
                        <a:pt x="37" y="120"/>
                      </a:lnTo>
                      <a:lnTo>
                        <a:pt x="49" y="117"/>
                      </a:lnTo>
                      <a:lnTo>
                        <a:pt x="60" y="111"/>
                      </a:lnTo>
                      <a:lnTo>
                        <a:pt x="71" y="105"/>
                      </a:lnTo>
                      <a:lnTo>
                        <a:pt x="80" y="98"/>
                      </a:lnTo>
                      <a:lnTo>
                        <a:pt x="88" y="89"/>
                      </a:lnTo>
                      <a:lnTo>
                        <a:pt x="97" y="81"/>
                      </a:lnTo>
                      <a:lnTo>
                        <a:pt x="104" y="70"/>
                      </a:lnTo>
                      <a:lnTo>
                        <a:pt x="111" y="61"/>
                      </a:lnTo>
                      <a:lnTo>
                        <a:pt x="116" y="49"/>
                      </a:lnTo>
                      <a:lnTo>
                        <a:pt x="121" y="38"/>
                      </a:lnTo>
                      <a:lnTo>
                        <a:pt x="123" y="26"/>
                      </a:lnTo>
                      <a:lnTo>
                        <a:pt x="125" y="13"/>
                      </a:lnTo>
                      <a:lnTo>
                        <a:pt x="125" y="0"/>
                      </a:lnTo>
                      <a:lnTo>
                        <a:pt x="0" y="0"/>
                      </a:lnTo>
                      <a:close/>
                    </a:path>
                  </a:pathLst>
                </a:custGeom>
                <a:solidFill>
                  <a:srgbClr val="D6D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9" name="Freeform 424"/>
                <p:cNvSpPr>
                  <a:spLocks/>
                </p:cNvSpPr>
                <p:nvPr userDrawn="1"/>
              </p:nvSpPr>
              <p:spPr bwMode="auto">
                <a:xfrm>
                  <a:off x="10137321" y="4307974"/>
                  <a:ext cx="193675" cy="65088"/>
                </a:xfrm>
                <a:custGeom>
                  <a:avLst/>
                  <a:gdLst>
                    <a:gd name="T0" fmla="*/ 220 w 244"/>
                    <a:gd name="T1" fmla="*/ 82 h 82"/>
                    <a:gd name="T2" fmla="*/ 0 w 244"/>
                    <a:gd name="T3" fmla="*/ 82 h 82"/>
                    <a:gd name="T4" fmla="*/ 0 w 244"/>
                    <a:gd name="T5" fmla="*/ 0 h 82"/>
                    <a:gd name="T6" fmla="*/ 244 w 244"/>
                    <a:gd name="T7" fmla="*/ 0 h 82"/>
                    <a:gd name="T8" fmla="*/ 220 w 244"/>
                    <a:gd name="T9" fmla="*/ 82 h 82"/>
                  </a:gdLst>
                  <a:ahLst/>
                  <a:cxnLst>
                    <a:cxn ang="0">
                      <a:pos x="T0" y="T1"/>
                    </a:cxn>
                    <a:cxn ang="0">
                      <a:pos x="T2" y="T3"/>
                    </a:cxn>
                    <a:cxn ang="0">
                      <a:pos x="T4" y="T5"/>
                    </a:cxn>
                    <a:cxn ang="0">
                      <a:pos x="T6" y="T7"/>
                    </a:cxn>
                    <a:cxn ang="0">
                      <a:pos x="T8" y="T9"/>
                    </a:cxn>
                  </a:cxnLst>
                  <a:rect l="0" t="0" r="r" b="b"/>
                  <a:pathLst>
                    <a:path w="244" h="82">
                      <a:moveTo>
                        <a:pt x="220" y="82"/>
                      </a:moveTo>
                      <a:lnTo>
                        <a:pt x="0" y="82"/>
                      </a:lnTo>
                      <a:lnTo>
                        <a:pt x="0" y="0"/>
                      </a:lnTo>
                      <a:lnTo>
                        <a:pt x="244" y="0"/>
                      </a:lnTo>
                      <a:lnTo>
                        <a:pt x="220" y="82"/>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0" name="Freeform 425"/>
                <p:cNvSpPr>
                  <a:spLocks/>
                </p:cNvSpPr>
                <p:nvPr userDrawn="1"/>
              </p:nvSpPr>
              <p:spPr bwMode="auto">
                <a:xfrm>
                  <a:off x="10137321" y="4307974"/>
                  <a:ext cx="193675" cy="65088"/>
                </a:xfrm>
                <a:custGeom>
                  <a:avLst/>
                  <a:gdLst>
                    <a:gd name="T0" fmla="*/ 220 w 244"/>
                    <a:gd name="T1" fmla="*/ 82 h 82"/>
                    <a:gd name="T2" fmla="*/ 0 w 244"/>
                    <a:gd name="T3" fmla="*/ 82 h 82"/>
                    <a:gd name="T4" fmla="*/ 0 w 244"/>
                    <a:gd name="T5" fmla="*/ 0 h 82"/>
                    <a:gd name="T6" fmla="*/ 244 w 244"/>
                    <a:gd name="T7" fmla="*/ 0 h 82"/>
                    <a:gd name="T8" fmla="*/ 220 w 244"/>
                    <a:gd name="T9" fmla="*/ 82 h 82"/>
                  </a:gdLst>
                  <a:ahLst/>
                  <a:cxnLst>
                    <a:cxn ang="0">
                      <a:pos x="T0" y="T1"/>
                    </a:cxn>
                    <a:cxn ang="0">
                      <a:pos x="T2" y="T3"/>
                    </a:cxn>
                    <a:cxn ang="0">
                      <a:pos x="T4" y="T5"/>
                    </a:cxn>
                    <a:cxn ang="0">
                      <a:pos x="T6" y="T7"/>
                    </a:cxn>
                    <a:cxn ang="0">
                      <a:pos x="T8" y="T9"/>
                    </a:cxn>
                  </a:cxnLst>
                  <a:rect l="0" t="0" r="r" b="b"/>
                  <a:pathLst>
                    <a:path w="244" h="82">
                      <a:moveTo>
                        <a:pt x="220" y="82"/>
                      </a:moveTo>
                      <a:lnTo>
                        <a:pt x="0" y="82"/>
                      </a:lnTo>
                      <a:lnTo>
                        <a:pt x="0" y="0"/>
                      </a:lnTo>
                      <a:lnTo>
                        <a:pt x="244" y="0"/>
                      </a:lnTo>
                      <a:lnTo>
                        <a:pt x="220" y="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1" name="Freeform 426"/>
                <p:cNvSpPr>
                  <a:spLocks/>
                </p:cNvSpPr>
                <p:nvPr userDrawn="1"/>
              </p:nvSpPr>
              <p:spPr bwMode="auto">
                <a:xfrm>
                  <a:off x="10157958" y="4652461"/>
                  <a:ext cx="190500" cy="58738"/>
                </a:xfrm>
                <a:custGeom>
                  <a:avLst/>
                  <a:gdLst>
                    <a:gd name="T0" fmla="*/ 232 w 239"/>
                    <a:gd name="T1" fmla="*/ 0 h 74"/>
                    <a:gd name="T2" fmla="*/ 0 w 239"/>
                    <a:gd name="T3" fmla="*/ 0 h 74"/>
                    <a:gd name="T4" fmla="*/ 13 w 239"/>
                    <a:gd name="T5" fmla="*/ 74 h 74"/>
                    <a:gd name="T6" fmla="*/ 239 w 239"/>
                    <a:gd name="T7" fmla="*/ 74 h 74"/>
                    <a:gd name="T8" fmla="*/ 232 w 239"/>
                    <a:gd name="T9" fmla="*/ 0 h 74"/>
                  </a:gdLst>
                  <a:ahLst/>
                  <a:cxnLst>
                    <a:cxn ang="0">
                      <a:pos x="T0" y="T1"/>
                    </a:cxn>
                    <a:cxn ang="0">
                      <a:pos x="T2" y="T3"/>
                    </a:cxn>
                    <a:cxn ang="0">
                      <a:pos x="T4" y="T5"/>
                    </a:cxn>
                    <a:cxn ang="0">
                      <a:pos x="T6" y="T7"/>
                    </a:cxn>
                    <a:cxn ang="0">
                      <a:pos x="T8" y="T9"/>
                    </a:cxn>
                  </a:cxnLst>
                  <a:rect l="0" t="0" r="r" b="b"/>
                  <a:pathLst>
                    <a:path w="239" h="74">
                      <a:moveTo>
                        <a:pt x="232" y="0"/>
                      </a:moveTo>
                      <a:lnTo>
                        <a:pt x="0" y="0"/>
                      </a:lnTo>
                      <a:lnTo>
                        <a:pt x="13" y="74"/>
                      </a:lnTo>
                      <a:lnTo>
                        <a:pt x="239" y="74"/>
                      </a:lnTo>
                      <a:lnTo>
                        <a:pt x="232" y="0"/>
                      </a:lnTo>
                      <a:close/>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2" name="Freeform 427"/>
                <p:cNvSpPr>
                  <a:spLocks/>
                </p:cNvSpPr>
                <p:nvPr userDrawn="1"/>
              </p:nvSpPr>
              <p:spPr bwMode="auto">
                <a:xfrm>
                  <a:off x="10157958" y="4652461"/>
                  <a:ext cx="190500" cy="58738"/>
                </a:xfrm>
                <a:custGeom>
                  <a:avLst/>
                  <a:gdLst>
                    <a:gd name="T0" fmla="*/ 232 w 239"/>
                    <a:gd name="T1" fmla="*/ 0 h 74"/>
                    <a:gd name="T2" fmla="*/ 0 w 239"/>
                    <a:gd name="T3" fmla="*/ 0 h 74"/>
                    <a:gd name="T4" fmla="*/ 13 w 239"/>
                    <a:gd name="T5" fmla="*/ 74 h 74"/>
                    <a:gd name="T6" fmla="*/ 239 w 239"/>
                    <a:gd name="T7" fmla="*/ 74 h 74"/>
                    <a:gd name="T8" fmla="*/ 232 w 239"/>
                    <a:gd name="T9" fmla="*/ 0 h 74"/>
                  </a:gdLst>
                  <a:ahLst/>
                  <a:cxnLst>
                    <a:cxn ang="0">
                      <a:pos x="T0" y="T1"/>
                    </a:cxn>
                    <a:cxn ang="0">
                      <a:pos x="T2" y="T3"/>
                    </a:cxn>
                    <a:cxn ang="0">
                      <a:pos x="T4" y="T5"/>
                    </a:cxn>
                    <a:cxn ang="0">
                      <a:pos x="T6" y="T7"/>
                    </a:cxn>
                    <a:cxn ang="0">
                      <a:pos x="T8" y="T9"/>
                    </a:cxn>
                  </a:cxnLst>
                  <a:rect l="0" t="0" r="r" b="b"/>
                  <a:pathLst>
                    <a:path w="239" h="74">
                      <a:moveTo>
                        <a:pt x="232" y="0"/>
                      </a:moveTo>
                      <a:lnTo>
                        <a:pt x="0" y="0"/>
                      </a:lnTo>
                      <a:lnTo>
                        <a:pt x="13" y="74"/>
                      </a:lnTo>
                      <a:lnTo>
                        <a:pt x="239" y="74"/>
                      </a:lnTo>
                      <a:lnTo>
                        <a:pt x="2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3" name="Rectangle 428"/>
                <p:cNvSpPr>
                  <a:spLocks noChangeArrowheads="1"/>
                </p:cNvSpPr>
                <p:nvPr userDrawn="1"/>
              </p:nvSpPr>
              <p:spPr bwMode="auto">
                <a:xfrm>
                  <a:off x="10169071" y="4711199"/>
                  <a:ext cx="179388" cy="261938"/>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4" name="Freeform 429"/>
                <p:cNvSpPr>
                  <a:spLocks/>
                </p:cNvSpPr>
                <p:nvPr userDrawn="1"/>
              </p:nvSpPr>
              <p:spPr bwMode="auto">
                <a:xfrm>
                  <a:off x="10154783" y="4874711"/>
                  <a:ext cx="158750" cy="158750"/>
                </a:xfrm>
                <a:custGeom>
                  <a:avLst/>
                  <a:gdLst>
                    <a:gd name="T0" fmla="*/ 0 w 201"/>
                    <a:gd name="T1" fmla="*/ 201 h 201"/>
                    <a:gd name="T2" fmla="*/ 0 w 201"/>
                    <a:gd name="T3" fmla="*/ 201 h 201"/>
                    <a:gd name="T4" fmla="*/ 1 w 201"/>
                    <a:gd name="T5" fmla="*/ 181 h 201"/>
                    <a:gd name="T6" fmla="*/ 4 w 201"/>
                    <a:gd name="T7" fmla="*/ 161 h 201"/>
                    <a:gd name="T8" fmla="*/ 8 w 201"/>
                    <a:gd name="T9" fmla="*/ 142 h 201"/>
                    <a:gd name="T10" fmla="*/ 15 w 201"/>
                    <a:gd name="T11" fmla="*/ 123 h 201"/>
                    <a:gd name="T12" fmla="*/ 24 w 201"/>
                    <a:gd name="T13" fmla="*/ 105 h 201"/>
                    <a:gd name="T14" fmla="*/ 35 w 201"/>
                    <a:gd name="T15" fmla="*/ 88 h 201"/>
                    <a:gd name="T16" fmla="*/ 45 w 201"/>
                    <a:gd name="T17" fmla="*/ 73 h 201"/>
                    <a:gd name="T18" fmla="*/ 58 w 201"/>
                    <a:gd name="T19" fmla="*/ 58 h 201"/>
                    <a:gd name="T20" fmla="*/ 73 w 201"/>
                    <a:gd name="T21" fmla="*/ 46 h 201"/>
                    <a:gd name="T22" fmla="*/ 88 w 201"/>
                    <a:gd name="T23" fmla="*/ 35 h 201"/>
                    <a:gd name="T24" fmla="*/ 105 w 201"/>
                    <a:gd name="T25" fmla="*/ 24 h 201"/>
                    <a:gd name="T26" fmla="*/ 122 w 201"/>
                    <a:gd name="T27" fmla="*/ 16 h 201"/>
                    <a:gd name="T28" fmla="*/ 140 w 201"/>
                    <a:gd name="T29" fmla="*/ 10 h 201"/>
                    <a:gd name="T30" fmla="*/ 161 w 201"/>
                    <a:gd name="T31" fmla="*/ 4 h 201"/>
                    <a:gd name="T32" fmla="*/ 180 w 201"/>
                    <a:gd name="T33" fmla="*/ 1 h 201"/>
                    <a:gd name="T34" fmla="*/ 201 w 201"/>
                    <a:gd name="T35" fmla="*/ 0 h 201"/>
                    <a:gd name="T36" fmla="*/ 201 w 201"/>
                    <a:gd name="T37" fmla="*/ 201 h 201"/>
                    <a:gd name="T38" fmla="*/ 0 w 201"/>
                    <a:gd name="T39"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1" h="201">
                      <a:moveTo>
                        <a:pt x="0" y="201"/>
                      </a:moveTo>
                      <a:lnTo>
                        <a:pt x="0" y="201"/>
                      </a:lnTo>
                      <a:lnTo>
                        <a:pt x="1" y="181"/>
                      </a:lnTo>
                      <a:lnTo>
                        <a:pt x="4" y="161"/>
                      </a:lnTo>
                      <a:lnTo>
                        <a:pt x="8" y="142"/>
                      </a:lnTo>
                      <a:lnTo>
                        <a:pt x="15" y="123"/>
                      </a:lnTo>
                      <a:lnTo>
                        <a:pt x="24" y="105"/>
                      </a:lnTo>
                      <a:lnTo>
                        <a:pt x="35" y="88"/>
                      </a:lnTo>
                      <a:lnTo>
                        <a:pt x="45" y="73"/>
                      </a:lnTo>
                      <a:lnTo>
                        <a:pt x="58" y="58"/>
                      </a:lnTo>
                      <a:lnTo>
                        <a:pt x="73" y="46"/>
                      </a:lnTo>
                      <a:lnTo>
                        <a:pt x="88" y="35"/>
                      </a:lnTo>
                      <a:lnTo>
                        <a:pt x="105" y="24"/>
                      </a:lnTo>
                      <a:lnTo>
                        <a:pt x="122" y="16"/>
                      </a:lnTo>
                      <a:lnTo>
                        <a:pt x="140" y="10"/>
                      </a:lnTo>
                      <a:lnTo>
                        <a:pt x="161" y="4"/>
                      </a:lnTo>
                      <a:lnTo>
                        <a:pt x="180" y="1"/>
                      </a:lnTo>
                      <a:lnTo>
                        <a:pt x="201" y="0"/>
                      </a:lnTo>
                      <a:lnTo>
                        <a:pt x="201" y="201"/>
                      </a:lnTo>
                      <a:lnTo>
                        <a:pt x="0" y="20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5" name="Freeform 430"/>
                <p:cNvSpPr>
                  <a:spLocks/>
                </p:cNvSpPr>
                <p:nvPr userDrawn="1"/>
              </p:nvSpPr>
              <p:spPr bwMode="auto">
                <a:xfrm>
                  <a:off x="10313533" y="4874711"/>
                  <a:ext cx="158750" cy="158750"/>
                </a:xfrm>
                <a:custGeom>
                  <a:avLst/>
                  <a:gdLst>
                    <a:gd name="T0" fmla="*/ 0 w 201"/>
                    <a:gd name="T1" fmla="*/ 0 h 201"/>
                    <a:gd name="T2" fmla="*/ 0 w 201"/>
                    <a:gd name="T3" fmla="*/ 0 h 201"/>
                    <a:gd name="T4" fmla="*/ 20 w 201"/>
                    <a:gd name="T5" fmla="*/ 1 h 201"/>
                    <a:gd name="T6" fmla="*/ 40 w 201"/>
                    <a:gd name="T7" fmla="*/ 4 h 201"/>
                    <a:gd name="T8" fmla="*/ 59 w 201"/>
                    <a:gd name="T9" fmla="*/ 10 h 201"/>
                    <a:gd name="T10" fmla="*/ 77 w 201"/>
                    <a:gd name="T11" fmla="*/ 16 h 201"/>
                    <a:gd name="T12" fmla="*/ 95 w 201"/>
                    <a:gd name="T13" fmla="*/ 24 h 201"/>
                    <a:gd name="T14" fmla="*/ 112 w 201"/>
                    <a:gd name="T15" fmla="*/ 35 h 201"/>
                    <a:gd name="T16" fmla="*/ 127 w 201"/>
                    <a:gd name="T17" fmla="*/ 46 h 201"/>
                    <a:gd name="T18" fmla="*/ 141 w 201"/>
                    <a:gd name="T19" fmla="*/ 58 h 201"/>
                    <a:gd name="T20" fmla="*/ 155 w 201"/>
                    <a:gd name="T21" fmla="*/ 73 h 201"/>
                    <a:gd name="T22" fmla="*/ 166 w 201"/>
                    <a:gd name="T23" fmla="*/ 88 h 201"/>
                    <a:gd name="T24" fmla="*/ 176 w 201"/>
                    <a:gd name="T25" fmla="*/ 105 h 201"/>
                    <a:gd name="T26" fmla="*/ 184 w 201"/>
                    <a:gd name="T27" fmla="*/ 123 h 201"/>
                    <a:gd name="T28" fmla="*/ 191 w 201"/>
                    <a:gd name="T29" fmla="*/ 142 h 201"/>
                    <a:gd name="T30" fmla="*/ 196 w 201"/>
                    <a:gd name="T31" fmla="*/ 161 h 201"/>
                    <a:gd name="T32" fmla="*/ 200 w 201"/>
                    <a:gd name="T33" fmla="*/ 181 h 201"/>
                    <a:gd name="T34" fmla="*/ 201 w 201"/>
                    <a:gd name="T35" fmla="*/ 201 h 201"/>
                    <a:gd name="T36" fmla="*/ 0 w 201"/>
                    <a:gd name="T37" fmla="*/ 201 h 201"/>
                    <a:gd name="T38" fmla="*/ 0 w 201"/>
                    <a:gd name="T39"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1" h="201">
                      <a:moveTo>
                        <a:pt x="0" y="0"/>
                      </a:moveTo>
                      <a:lnTo>
                        <a:pt x="0" y="0"/>
                      </a:lnTo>
                      <a:lnTo>
                        <a:pt x="20" y="1"/>
                      </a:lnTo>
                      <a:lnTo>
                        <a:pt x="40" y="4"/>
                      </a:lnTo>
                      <a:lnTo>
                        <a:pt x="59" y="10"/>
                      </a:lnTo>
                      <a:lnTo>
                        <a:pt x="77" y="16"/>
                      </a:lnTo>
                      <a:lnTo>
                        <a:pt x="95" y="24"/>
                      </a:lnTo>
                      <a:lnTo>
                        <a:pt x="112" y="35"/>
                      </a:lnTo>
                      <a:lnTo>
                        <a:pt x="127" y="46"/>
                      </a:lnTo>
                      <a:lnTo>
                        <a:pt x="141" y="58"/>
                      </a:lnTo>
                      <a:lnTo>
                        <a:pt x="155" y="73"/>
                      </a:lnTo>
                      <a:lnTo>
                        <a:pt x="166" y="88"/>
                      </a:lnTo>
                      <a:lnTo>
                        <a:pt x="176" y="105"/>
                      </a:lnTo>
                      <a:lnTo>
                        <a:pt x="184" y="123"/>
                      </a:lnTo>
                      <a:lnTo>
                        <a:pt x="191" y="142"/>
                      </a:lnTo>
                      <a:lnTo>
                        <a:pt x="196" y="161"/>
                      </a:lnTo>
                      <a:lnTo>
                        <a:pt x="200" y="181"/>
                      </a:lnTo>
                      <a:lnTo>
                        <a:pt x="201" y="201"/>
                      </a:lnTo>
                      <a:lnTo>
                        <a:pt x="0" y="201"/>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6" name="Freeform 431"/>
                <p:cNvSpPr>
                  <a:spLocks/>
                </p:cNvSpPr>
                <p:nvPr userDrawn="1"/>
              </p:nvSpPr>
              <p:spPr bwMode="auto">
                <a:xfrm>
                  <a:off x="10400846" y="3499936"/>
                  <a:ext cx="174625" cy="133350"/>
                </a:xfrm>
                <a:custGeom>
                  <a:avLst/>
                  <a:gdLst>
                    <a:gd name="T0" fmla="*/ 0 w 218"/>
                    <a:gd name="T1" fmla="*/ 146 h 168"/>
                    <a:gd name="T2" fmla="*/ 0 w 218"/>
                    <a:gd name="T3" fmla="*/ 146 h 168"/>
                    <a:gd name="T4" fmla="*/ 0 w 218"/>
                    <a:gd name="T5" fmla="*/ 150 h 168"/>
                    <a:gd name="T6" fmla="*/ 1 w 218"/>
                    <a:gd name="T7" fmla="*/ 155 h 168"/>
                    <a:gd name="T8" fmla="*/ 3 w 218"/>
                    <a:gd name="T9" fmla="*/ 158 h 168"/>
                    <a:gd name="T10" fmla="*/ 5 w 218"/>
                    <a:gd name="T11" fmla="*/ 162 h 168"/>
                    <a:gd name="T12" fmla="*/ 9 w 218"/>
                    <a:gd name="T13" fmla="*/ 164 h 168"/>
                    <a:gd name="T14" fmla="*/ 13 w 218"/>
                    <a:gd name="T15" fmla="*/ 167 h 168"/>
                    <a:gd name="T16" fmla="*/ 17 w 218"/>
                    <a:gd name="T17" fmla="*/ 168 h 168"/>
                    <a:gd name="T18" fmla="*/ 21 w 218"/>
                    <a:gd name="T19" fmla="*/ 168 h 168"/>
                    <a:gd name="T20" fmla="*/ 196 w 218"/>
                    <a:gd name="T21" fmla="*/ 168 h 168"/>
                    <a:gd name="T22" fmla="*/ 196 w 218"/>
                    <a:gd name="T23" fmla="*/ 168 h 168"/>
                    <a:gd name="T24" fmla="*/ 200 w 218"/>
                    <a:gd name="T25" fmla="*/ 168 h 168"/>
                    <a:gd name="T26" fmla="*/ 205 w 218"/>
                    <a:gd name="T27" fmla="*/ 167 h 168"/>
                    <a:gd name="T28" fmla="*/ 209 w 218"/>
                    <a:gd name="T29" fmla="*/ 164 h 168"/>
                    <a:gd name="T30" fmla="*/ 211 w 218"/>
                    <a:gd name="T31" fmla="*/ 162 h 168"/>
                    <a:gd name="T32" fmla="*/ 215 w 218"/>
                    <a:gd name="T33" fmla="*/ 158 h 168"/>
                    <a:gd name="T34" fmla="*/ 216 w 218"/>
                    <a:gd name="T35" fmla="*/ 155 h 168"/>
                    <a:gd name="T36" fmla="*/ 217 w 218"/>
                    <a:gd name="T37" fmla="*/ 150 h 168"/>
                    <a:gd name="T38" fmla="*/ 218 w 218"/>
                    <a:gd name="T39" fmla="*/ 146 h 168"/>
                    <a:gd name="T40" fmla="*/ 218 w 218"/>
                    <a:gd name="T41" fmla="*/ 22 h 168"/>
                    <a:gd name="T42" fmla="*/ 218 w 218"/>
                    <a:gd name="T43" fmla="*/ 22 h 168"/>
                    <a:gd name="T44" fmla="*/ 217 w 218"/>
                    <a:gd name="T45" fmla="*/ 17 h 168"/>
                    <a:gd name="T46" fmla="*/ 216 w 218"/>
                    <a:gd name="T47" fmla="*/ 13 h 168"/>
                    <a:gd name="T48" fmla="*/ 215 w 218"/>
                    <a:gd name="T49" fmla="*/ 10 h 168"/>
                    <a:gd name="T50" fmla="*/ 211 w 218"/>
                    <a:gd name="T51" fmla="*/ 6 h 168"/>
                    <a:gd name="T52" fmla="*/ 209 w 218"/>
                    <a:gd name="T53" fmla="*/ 4 h 168"/>
                    <a:gd name="T54" fmla="*/ 205 w 218"/>
                    <a:gd name="T55" fmla="*/ 1 h 168"/>
                    <a:gd name="T56" fmla="*/ 200 w 218"/>
                    <a:gd name="T57" fmla="*/ 0 h 168"/>
                    <a:gd name="T58" fmla="*/ 196 w 218"/>
                    <a:gd name="T59" fmla="*/ 0 h 168"/>
                    <a:gd name="T60" fmla="*/ 21 w 218"/>
                    <a:gd name="T61" fmla="*/ 0 h 168"/>
                    <a:gd name="T62" fmla="*/ 21 w 218"/>
                    <a:gd name="T63" fmla="*/ 0 h 168"/>
                    <a:gd name="T64" fmla="*/ 17 w 218"/>
                    <a:gd name="T65" fmla="*/ 0 h 168"/>
                    <a:gd name="T66" fmla="*/ 13 w 218"/>
                    <a:gd name="T67" fmla="*/ 1 h 168"/>
                    <a:gd name="T68" fmla="*/ 9 w 218"/>
                    <a:gd name="T69" fmla="*/ 4 h 168"/>
                    <a:gd name="T70" fmla="*/ 5 w 218"/>
                    <a:gd name="T71" fmla="*/ 6 h 168"/>
                    <a:gd name="T72" fmla="*/ 3 w 218"/>
                    <a:gd name="T73" fmla="*/ 10 h 168"/>
                    <a:gd name="T74" fmla="*/ 1 w 218"/>
                    <a:gd name="T75" fmla="*/ 13 h 168"/>
                    <a:gd name="T76" fmla="*/ 0 w 218"/>
                    <a:gd name="T77" fmla="*/ 17 h 168"/>
                    <a:gd name="T78" fmla="*/ 0 w 218"/>
                    <a:gd name="T79" fmla="*/ 22 h 168"/>
                    <a:gd name="T80" fmla="*/ 0 w 218"/>
                    <a:gd name="T81" fmla="*/ 14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168">
                      <a:moveTo>
                        <a:pt x="0" y="146"/>
                      </a:moveTo>
                      <a:lnTo>
                        <a:pt x="0" y="146"/>
                      </a:lnTo>
                      <a:lnTo>
                        <a:pt x="0" y="150"/>
                      </a:lnTo>
                      <a:lnTo>
                        <a:pt x="1" y="155"/>
                      </a:lnTo>
                      <a:lnTo>
                        <a:pt x="3" y="158"/>
                      </a:lnTo>
                      <a:lnTo>
                        <a:pt x="5" y="162"/>
                      </a:lnTo>
                      <a:lnTo>
                        <a:pt x="9" y="164"/>
                      </a:lnTo>
                      <a:lnTo>
                        <a:pt x="13" y="167"/>
                      </a:lnTo>
                      <a:lnTo>
                        <a:pt x="17" y="168"/>
                      </a:lnTo>
                      <a:lnTo>
                        <a:pt x="21" y="168"/>
                      </a:lnTo>
                      <a:lnTo>
                        <a:pt x="196" y="168"/>
                      </a:lnTo>
                      <a:lnTo>
                        <a:pt x="196" y="168"/>
                      </a:lnTo>
                      <a:lnTo>
                        <a:pt x="200" y="168"/>
                      </a:lnTo>
                      <a:lnTo>
                        <a:pt x="205" y="167"/>
                      </a:lnTo>
                      <a:lnTo>
                        <a:pt x="209" y="164"/>
                      </a:lnTo>
                      <a:lnTo>
                        <a:pt x="211" y="162"/>
                      </a:lnTo>
                      <a:lnTo>
                        <a:pt x="215" y="158"/>
                      </a:lnTo>
                      <a:lnTo>
                        <a:pt x="216" y="155"/>
                      </a:lnTo>
                      <a:lnTo>
                        <a:pt x="217" y="150"/>
                      </a:lnTo>
                      <a:lnTo>
                        <a:pt x="218" y="146"/>
                      </a:lnTo>
                      <a:lnTo>
                        <a:pt x="218" y="22"/>
                      </a:lnTo>
                      <a:lnTo>
                        <a:pt x="218" y="22"/>
                      </a:lnTo>
                      <a:lnTo>
                        <a:pt x="217" y="17"/>
                      </a:lnTo>
                      <a:lnTo>
                        <a:pt x="216" y="13"/>
                      </a:lnTo>
                      <a:lnTo>
                        <a:pt x="215" y="10"/>
                      </a:lnTo>
                      <a:lnTo>
                        <a:pt x="211" y="6"/>
                      </a:lnTo>
                      <a:lnTo>
                        <a:pt x="209" y="4"/>
                      </a:lnTo>
                      <a:lnTo>
                        <a:pt x="205" y="1"/>
                      </a:lnTo>
                      <a:lnTo>
                        <a:pt x="200" y="0"/>
                      </a:lnTo>
                      <a:lnTo>
                        <a:pt x="196" y="0"/>
                      </a:lnTo>
                      <a:lnTo>
                        <a:pt x="21" y="0"/>
                      </a:lnTo>
                      <a:lnTo>
                        <a:pt x="21" y="0"/>
                      </a:lnTo>
                      <a:lnTo>
                        <a:pt x="17" y="0"/>
                      </a:lnTo>
                      <a:lnTo>
                        <a:pt x="13" y="1"/>
                      </a:lnTo>
                      <a:lnTo>
                        <a:pt x="9" y="4"/>
                      </a:lnTo>
                      <a:lnTo>
                        <a:pt x="5" y="6"/>
                      </a:lnTo>
                      <a:lnTo>
                        <a:pt x="3" y="10"/>
                      </a:lnTo>
                      <a:lnTo>
                        <a:pt x="1" y="13"/>
                      </a:lnTo>
                      <a:lnTo>
                        <a:pt x="0" y="17"/>
                      </a:lnTo>
                      <a:lnTo>
                        <a:pt x="0" y="22"/>
                      </a:lnTo>
                      <a:lnTo>
                        <a:pt x="0" y="1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7" name="Freeform 432"/>
                <p:cNvSpPr>
                  <a:spLocks/>
                </p:cNvSpPr>
                <p:nvPr userDrawn="1"/>
              </p:nvSpPr>
              <p:spPr bwMode="auto">
                <a:xfrm>
                  <a:off x="10400846" y="3499936"/>
                  <a:ext cx="174625" cy="133350"/>
                </a:xfrm>
                <a:custGeom>
                  <a:avLst/>
                  <a:gdLst>
                    <a:gd name="T0" fmla="*/ 0 w 218"/>
                    <a:gd name="T1" fmla="*/ 146 h 168"/>
                    <a:gd name="T2" fmla="*/ 0 w 218"/>
                    <a:gd name="T3" fmla="*/ 146 h 168"/>
                    <a:gd name="T4" fmla="*/ 0 w 218"/>
                    <a:gd name="T5" fmla="*/ 150 h 168"/>
                    <a:gd name="T6" fmla="*/ 1 w 218"/>
                    <a:gd name="T7" fmla="*/ 155 h 168"/>
                    <a:gd name="T8" fmla="*/ 3 w 218"/>
                    <a:gd name="T9" fmla="*/ 158 h 168"/>
                    <a:gd name="T10" fmla="*/ 5 w 218"/>
                    <a:gd name="T11" fmla="*/ 162 h 168"/>
                    <a:gd name="T12" fmla="*/ 9 w 218"/>
                    <a:gd name="T13" fmla="*/ 164 h 168"/>
                    <a:gd name="T14" fmla="*/ 13 w 218"/>
                    <a:gd name="T15" fmla="*/ 167 h 168"/>
                    <a:gd name="T16" fmla="*/ 17 w 218"/>
                    <a:gd name="T17" fmla="*/ 168 h 168"/>
                    <a:gd name="T18" fmla="*/ 21 w 218"/>
                    <a:gd name="T19" fmla="*/ 168 h 168"/>
                    <a:gd name="T20" fmla="*/ 196 w 218"/>
                    <a:gd name="T21" fmla="*/ 168 h 168"/>
                    <a:gd name="T22" fmla="*/ 196 w 218"/>
                    <a:gd name="T23" fmla="*/ 168 h 168"/>
                    <a:gd name="T24" fmla="*/ 200 w 218"/>
                    <a:gd name="T25" fmla="*/ 168 h 168"/>
                    <a:gd name="T26" fmla="*/ 205 w 218"/>
                    <a:gd name="T27" fmla="*/ 167 h 168"/>
                    <a:gd name="T28" fmla="*/ 209 w 218"/>
                    <a:gd name="T29" fmla="*/ 164 h 168"/>
                    <a:gd name="T30" fmla="*/ 211 w 218"/>
                    <a:gd name="T31" fmla="*/ 162 h 168"/>
                    <a:gd name="T32" fmla="*/ 215 w 218"/>
                    <a:gd name="T33" fmla="*/ 158 h 168"/>
                    <a:gd name="T34" fmla="*/ 216 w 218"/>
                    <a:gd name="T35" fmla="*/ 155 h 168"/>
                    <a:gd name="T36" fmla="*/ 217 w 218"/>
                    <a:gd name="T37" fmla="*/ 150 h 168"/>
                    <a:gd name="T38" fmla="*/ 218 w 218"/>
                    <a:gd name="T39" fmla="*/ 146 h 168"/>
                    <a:gd name="T40" fmla="*/ 218 w 218"/>
                    <a:gd name="T41" fmla="*/ 22 h 168"/>
                    <a:gd name="T42" fmla="*/ 218 w 218"/>
                    <a:gd name="T43" fmla="*/ 22 h 168"/>
                    <a:gd name="T44" fmla="*/ 217 w 218"/>
                    <a:gd name="T45" fmla="*/ 17 h 168"/>
                    <a:gd name="T46" fmla="*/ 216 w 218"/>
                    <a:gd name="T47" fmla="*/ 13 h 168"/>
                    <a:gd name="T48" fmla="*/ 215 w 218"/>
                    <a:gd name="T49" fmla="*/ 10 h 168"/>
                    <a:gd name="T50" fmla="*/ 211 w 218"/>
                    <a:gd name="T51" fmla="*/ 6 h 168"/>
                    <a:gd name="T52" fmla="*/ 209 w 218"/>
                    <a:gd name="T53" fmla="*/ 4 h 168"/>
                    <a:gd name="T54" fmla="*/ 205 w 218"/>
                    <a:gd name="T55" fmla="*/ 1 h 168"/>
                    <a:gd name="T56" fmla="*/ 200 w 218"/>
                    <a:gd name="T57" fmla="*/ 0 h 168"/>
                    <a:gd name="T58" fmla="*/ 196 w 218"/>
                    <a:gd name="T59" fmla="*/ 0 h 168"/>
                    <a:gd name="T60" fmla="*/ 21 w 218"/>
                    <a:gd name="T61" fmla="*/ 0 h 168"/>
                    <a:gd name="T62" fmla="*/ 21 w 218"/>
                    <a:gd name="T63" fmla="*/ 0 h 168"/>
                    <a:gd name="T64" fmla="*/ 17 w 218"/>
                    <a:gd name="T65" fmla="*/ 0 h 168"/>
                    <a:gd name="T66" fmla="*/ 13 w 218"/>
                    <a:gd name="T67" fmla="*/ 1 h 168"/>
                    <a:gd name="T68" fmla="*/ 9 w 218"/>
                    <a:gd name="T69" fmla="*/ 4 h 168"/>
                    <a:gd name="T70" fmla="*/ 5 w 218"/>
                    <a:gd name="T71" fmla="*/ 6 h 168"/>
                    <a:gd name="T72" fmla="*/ 3 w 218"/>
                    <a:gd name="T73" fmla="*/ 10 h 168"/>
                    <a:gd name="T74" fmla="*/ 1 w 218"/>
                    <a:gd name="T75" fmla="*/ 13 h 168"/>
                    <a:gd name="T76" fmla="*/ 0 w 218"/>
                    <a:gd name="T77" fmla="*/ 17 h 168"/>
                    <a:gd name="T78" fmla="*/ 0 w 218"/>
                    <a:gd name="T79" fmla="*/ 22 h 168"/>
                    <a:gd name="T80" fmla="*/ 0 w 218"/>
                    <a:gd name="T81" fmla="*/ 14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168">
                      <a:moveTo>
                        <a:pt x="0" y="146"/>
                      </a:moveTo>
                      <a:lnTo>
                        <a:pt x="0" y="146"/>
                      </a:lnTo>
                      <a:lnTo>
                        <a:pt x="0" y="150"/>
                      </a:lnTo>
                      <a:lnTo>
                        <a:pt x="1" y="155"/>
                      </a:lnTo>
                      <a:lnTo>
                        <a:pt x="3" y="158"/>
                      </a:lnTo>
                      <a:lnTo>
                        <a:pt x="5" y="162"/>
                      </a:lnTo>
                      <a:lnTo>
                        <a:pt x="9" y="164"/>
                      </a:lnTo>
                      <a:lnTo>
                        <a:pt x="13" y="167"/>
                      </a:lnTo>
                      <a:lnTo>
                        <a:pt x="17" y="168"/>
                      </a:lnTo>
                      <a:lnTo>
                        <a:pt x="21" y="168"/>
                      </a:lnTo>
                      <a:lnTo>
                        <a:pt x="196" y="168"/>
                      </a:lnTo>
                      <a:lnTo>
                        <a:pt x="196" y="168"/>
                      </a:lnTo>
                      <a:lnTo>
                        <a:pt x="200" y="168"/>
                      </a:lnTo>
                      <a:lnTo>
                        <a:pt x="205" y="167"/>
                      </a:lnTo>
                      <a:lnTo>
                        <a:pt x="209" y="164"/>
                      </a:lnTo>
                      <a:lnTo>
                        <a:pt x="211" y="162"/>
                      </a:lnTo>
                      <a:lnTo>
                        <a:pt x="215" y="158"/>
                      </a:lnTo>
                      <a:lnTo>
                        <a:pt x="216" y="155"/>
                      </a:lnTo>
                      <a:lnTo>
                        <a:pt x="217" y="150"/>
                      </a:lnTo>
                      <a:lnTo>
                        <a:pt x="218" y="146"/>
                      </a:lnTo>
                      <a:lnTo>
                        <a:pt x="218" y="22"/>
                      </a:lnTo>
                      <a:lnTo>
                        <a:pt x="218" y="22"/>
                      </a:lnTo>
                      <a:lnTo>
                        <a:pt x="217" y="17"/>
                      </a:lnTo>
                      <a:lnTo>
                        <a:pt x="216" y="13"/>
                      </a:lnTo>
                      <a:lnTo>
                        <a:pt x="215" y="10"/>
                      </a:lnTo>
                      <a:lnTo>
                        <a:pt x="211" y="6"/>
                      </a:lnTo>
                      <a:lnTo>
                        <a:pt x="209" y="4"/>
                      </a:lnTo>
                      <a:lnTo>
                        <a:pt x="205" y="1"/>
                      </a:lnTo>
                      <a:lnTo>
                        <a:pt x="200" y="0"/>
                      </a:lnTo>
                      <a:lnTo>
                        <a:pt x="196" y="0"/>
                      </a:lnTo>
                      <a:lnTo>
                        <a:pt x="21" y="0"/>
                      </a:lnTo>
                      <a:lnTo>
                        <a:pt x="21" y="0"/>
                      </a:lnTo>
                      <a:lnTo>
                        <a:pt x="17" y="0"/>
                      </a:lnTo>
                      <a:lnTo>
                        <a:pt x="13" y="1"/>
                      </a:lnTo>
                      <a:lnTo>
                        <a:pt x="9" y="4"/>
                      </a:lnTo>
                      <a:lnTo>
                        <a:pt x="5" y="6"/>
                      </a:lnTo>
                      <a:lnTo>
                        <a:pt x="3" y="10"/>
                      </a:lnTo>
                      <a:lnTo>
                        <a:pt x="1" y="13"/>
                      </a:lnTo>
                      <a:lnTo>
                        <a:pt x="0" y="17"/>
                      </a:lnTo>
                      <a:lnTo>
                        <a:pt x="0" y="22"/>
                      </a:lnTo>
                      <a:lnTo>
                        <a:pt x="0" y="1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8" name="Freeform 433"/>
                <p:cNvSpPr>
                  <a:spLocks/>
                </p:cNvSpPr>
                <p:nvPr userDrawn="1"/>
              </p:nvSpPr>
              <p:spPr bwMode="auto">
                <a:xfrm>
                  <a:off x="10330996" y="4307974"/>
                  <a:ext cx="74613" cy="31750"/>
                </a:xfrm>
                <a:custGeom>
                  <a:avLst/>
                  <a:gdLst>
                    <a:gd name="T0" fmla="*/ 93 w 93"/>
                    <a:gd name="T1" fmla="*/ 0 h 39"/>
                    <a:gd name="T2" fmla="*/ 93 w 93"/>
                    <a:gd name="T3" fmla="*/ 0 h 39"/>
                    <a:gd name="T4" fmla="*/ 0 w 93"/>
                    <a:gd name="T5" fmla="*/ 0 h 39"/>
                    <a:gd name="T6" fmla="*/ 0 w 93"/>
                    <a:gd name="T7" fmla="*/ 39 h 39"/>
                    <a:gd name="T8" fmla="*/ 93 w 93"/>
                    <a:gd name="T9" fmla="*/ 39 h 39"/>
                    <a:gd name="T10" fmla="*/ 93 w 93"/>
                    <a:gd name="T11" fmla="*/ 0 h 39"/>
                  </a:gdLst>
                  <a:ahLst/>
                  <a:cxnLst>
                    <a:cxn ang="0">
                      <a:pos x="T0" y="T1"/>
                    </a:cxn>
                    <a:cxn ang="0">
                      <a:pos x="T2" y="T3"/>
                    </a:cxn>
                    <a:cxn ang="0">
                      <a:pos x="T4" y="T5"/>
                    </a:cxn>
                    <a:cxn ang="0">
                      <a:pos x="T6" y="T7"/>
                    </a:cxn>
                    <a:cxn ang="0">
                      <a:pos x="T8" y="T9"/>
                    </a:cxn>
                    <a:cxn ang="0">
                      <a:pos x="T10" y="T11"/>
                    </a:cxn>
                  </a:cxnLst>
                  <a:rect l="0" t="0" r="r" b="b"/>
                  <a:pathLst>
                    <a:path w="93" h="39">
                      <a:moveTo>
                        <a:pt x="93" y="0"/>
                      </a:moveTo>
                      <a:lnTo>
                        <a:pt x="93" y="0"/>
                      </a:lnTo>
                      <a:lnTo>
                        <a:pt x="0" y="0"/>
                      </a:lnTo>
                      <a:lnTo>
                        <a:pt x="0" y="39"/>
                      </a:lnTo>
                      <a:lnTo>
                        <a:pt x="93" y="39"/>
                      </a:lnTo>
                      <a:lnTo>
                        <a:pt x="93" y="0"/>
                      </a:lnTo>
                      <a:close/>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9" name="Freeform 434"/>
                <p:cNvSpPr>
                  <a:spLocks/>
                </p:cNvSpPr>
                <p:nvPr userDrawn="1"/>
              </p:nvSpPr>
              <p:spPr bwMode="auto">
                <a:xfrm>
                  <a:off x="10330996" y="4307974"/>
                  <a:ext cx="74613" cy="31750"/>
                </a:xfrm>
                <a:custGeom>
                  <a:avLst/>
                  <a:gdLst>
                    <a:gd name="T0" fmla="*/ 93 w 93"/>
                    <a:gd name="T1" fmla="*/ 0 h 39"/>
                    <a:gd name="T2" fmla="*/ 93 w 93"/>
                    <a:gd name="T3" fmla="*/ 0 h 39"/>
                    <a:gd name="T4" fmla="*/ 0 w 93"/>
                    <a:gd name="T5" fmla="*/ 0 h 39"/>
                    <a:gd name="T6" fmla="*/ 0 w 93"/>
                    <a:gd name="T7" fmla="*/ 39 h 39"/>
                    <a:gd name="T8" fmla="*/ 93 w 93"/>
                    <a:gd name="T9" fmla="*/ 39 h 39"/>
                    <a:gd name="T10" fmla="*/ 93 w 93"/>
                    <a:gd name="T11" fmla="*/ 0 h 39"/>
                  </a:gdLst>
                  <a:ahLst/>
                  <a:cxnLst>
                    <a:cxn ang="0">
                      <a:pos x="T0" y="T1"/>
                    </a:cxn>
                    <a:cxn ang="0">
                      <a:pos x="T2" y="T3"/>
                    </a:cxn>
                    <a:cxn ang="0">
                      <a:pos x="T4" y="T5"/>
                    </a:cxn>
                    <a:cxn ang="0">
                      <a:pos x="T6" y="T7"/>
                    </a:cxn>
                    <a:cxn ang="0">
                      <a:pos x="T8" y="T9"/>
                    </a:cxn>
                    <a:cxn ang="0">
                      <a:pos x="T10" y="T11"/>
                    </a:cxn>
                  </a:cxnLst>
                  <a:rect l="0" t="0" r="r" b="b"/>
                  <a:pathLst>
                    <a:path w="93" h="39">
                      <a:moveTo>
                        <a:pt x="93" y="0"/>
                      </a:moveTo>
                      <a:lnTo>
                        <a:pt x="93" y="0"/>
                      </a:lnTo>
                      <a:lnTo>
                        <a:pt x="0" y="0"/>
                      </a:lnTo>
                      <a:lnTo>
                        <a:pt x="0" y="39"/>
                      </a:lnTo>
                      <a:lnTo>
                        <a:pt x="93" y="39"/>
                      </a:lnTo>
                      <a:lnTo>
                        <a:pt x="9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10" name="Rectangle 435"/>
                <p:cNvSpPr>
                  <a:spLocks noChangeArrowheads="1"/>
                </p:cNvSpPr>
                <p:nvPr userDrawn="1"/>
              </p:nvSpPr>
              <p:spPr bwMode="auto">
                <a:xfrm>
                  <a:off x="10405608" y="4307974"/>
                  <a:ext cx="74613" cy="31750"/>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85" name="Rectangle 436"/>
                <p:cNvSpPr>
                  <a:spLocks noChangeArrowheads="1"/>
                </p:cNvSpPr>
                <p:nvPr userDrawn="1"/>
              </p:nvSpPr>
              <p:spPr bwMode="auto">
                <a:xfrm>
                  <a:off x="10405608" y="4307974"/>
                  <a:ext cx="74613" cy="3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86" name="Freeform 437"/>
                <p:cNvSpPr>
                  <a:spLocks/>
                </p:cNvSpPr>
                <p:nvPr userDrawn="1"/>
              </p:nvSpPr>
              <p:spPr bwMode="auto">
                <a:xfrm>
                  <a:off x="10488158" y="3499936"/>
                  <a:ext cx="87313" cy="133350"/>
                </a:xfrm>
                <a:custGeom>
                  <a:avLst/>
                  <a:gdLst>
                    <a:gd name="T0" fmla="*/ 87 w 109"/>
                    <a:gd name="T1" fmla="*/ 0 h 168"/>
                    <a:gd name="T2" fmla="*/ 0 w 109"/>
                    <a:gd name="T3" fmla="*/ 0 h 168"/>
                    <a:gd name="T4" fmla="*/ 0 w 109"/>
                    <a:gd name="T5" fmla="*/ 168 h 168"/>
                    <a:gd name="T6" fmla="*/ 87 w 109"/>
                    <a:gd name="T7" fmla="*/ 168 h 168"/>
                    <a:gd name="T8" fmla="*/ 87 w 109"/>
                    <a:gd name="T9" fmla="*/ 168 h 168"/>
                    <a:gd name="T10" fmla="*/ 91 w 109"/>
                    <a:gd name="T11" fmla="*/ 168 h 168"/>
                    <a:gd name="T12" fmla="*/ 96 w 109"/>
                    <a:gd name="T13" fmla="*/ 167 h 168"/>
                    <a:gd name="T14" fmla="*/ 100 w 109"/>
                    <a:gd name="T15" fmla="*/ 164 h 168"/>
                    <a:gd name="T16" fmla="*/ 102 w 109"/>
                    <a:gd name="T17" fmla="*/ 162 h 168"/>
                    <a:gd name="T18" fmla="*/ 106 w 109"/>
                    <a:gd name="T19" fmla="*/ 158 h 168"/>
                    <a:gd name="T20" fmla="*/ 107 w 109"/>
                    <a:gd name="T21" fmla="*/ 155 h 168"/>
                    <a:gd name="T22" fmla="*/ 108 w 109"/>
                    <a:gd name="T23" fmla="*/ 150 h 168"/>
                    <a:gd name="T24" fmla="*/ 109 w 109"/>
                    <a:gd name="T25" fmla="*/ 146 h 168"/>
                    <a:gd name="T26" fmla="*/ 109 w 109"/>
                    <a:gd name="T27" fmla="*/ 22 h 168"/>
                    <a:gd name="T28" fmla="*/ 109 w 109"/>
                    <a:gd name="T29" fmla="*/ 22 h 168"/>
                    <a:gd name="T30" fmla="*/ 108 w 109"/>
                    <a:gd name="T31" fmla="*/ 17 h 168"/>
                    <a:gd name="T32" fmla="*/ 107 w 109"/>
                    <a:gd name="T33" fmla="*/ 13 h 168"/>
                    <a:gd name="T34" fmla="*/ 106 w 109"/>
                    <a:gd name="T35" fmla="*/ 10 h 168"/>
                    <a:gd name="T36" fmla="*/ 102 w 109"/>
                    <a:gd name="T37" fmla="*/ 6 h 168"/>
                    <a:gd name="T38" fmla="*/ 100 w 109"/>
                    <a:gd name="T39" fmla="*/ 4 h 168"/>
                    <a:gd name="T40" fmla="*/ 96 w 109"/>
                    <a:gd name="T41" fmla="*/ 1 h 168"/>
                    <a:gd name="T42" fmla="*/ 91 w 109"/>
                    <a:gd name="T43" fmla="*/ 0 h 168"/>
                    <a:gd name="T44" fmla="*/ 87 w 109"/>
                    <a:gd name="T4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168">
                      <a:moveTo>
                        <a:pt x="87" y="0"/>
                      </a:moveTo>
                      <a:lnTo>
                        <a:pt x="0" y="0"/>
                      </a:lnTo>
                      <a:lnTo>
                        <a:pt x="0" y="168"/>
                      </a:lnTo>
                      <a:lnTo>
                        <a:pt x="87" y="168"/>
                      </a:lnTo>
                      <a:lnTo>
                        <a:pt x="87" y="168"/>
                      </a:lnTo>
                      <a:lnTo>
                        <a:pt x="91" y="168"/>
                      </a:lnTo>
                      <a:lnTo>
                        <a:pt x="96" y="167"/>
                      </a:lnTo>
                      <a:lnTo>
                        <a:pt x="100" y="164"/>
                      </a:lnTo>
                      <a:lnTo>
                        <a:pt x="102" y="162"/>
                      </a:lnTo>
                      <a:lnTo>
                        <a:pt x="106" y="158"/>
                      </a:lnTo>
                      <a:lnTo>
                        <a:pt x="107" y="155"/>
                      </a:lnTo>
                      <a:lnTo>
                        <a:pt x="108" y="150"/>
                      </a:lnTo>
                      <a:lnTo>
                        <a:pt x="109" y="146"/>
                      </a:lnTo>
                      <a:lnTo>
                        <a:pt x="109" y="22"/>
                      </a:lnTo>
                      <a:lnTo>
                        <a:pt x="109" y="22"/>
                      </a:lnTo>
                      <a:lnTo>
                        <a:pt x="108" y="17"/>
                      </a:lnTo>
                      <a:lnTo>
                        <a:pt x="107" y="13"/>
                      </a:lnTo>
                      <a:lnTo>
                        <a:pt x="106" y="10"/>
                      </a:lnTo>
                      <a:lnTo>
                        <a:pt x="102" y="6"/>
                      </a:lnTo>
                      <a:lnTo>
                        <a:pt x="100" y="4"/>
                      </a:lnTo>
                      <a:lnTo>
                        <a:pt x="96" y="1"/>
                      </a:lnTo>
                      <a:lnTo>
                        <a:pt x="91" y="0"/>
                      </a:lnTo>
                      <a:lnTo>
                        <a:pt x="87"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87" name="Freeform 438"/>
                <p:cNvSpPr>
                  <a:spLocks/>
                </p:cNvSpPr>
                <p:nvPr userDrawn="1"/>
              </p:nvSpPr>
              <p:spPr bwMode="auto">
                <a:xfrm>
                  <a:off x="10488158" y="3499936"/>
                  <a:ext cx="87313" cy="133350"/>
                </a:xfrm>
                <a:custGeom>
                  <a:avLst/>
                  <a:gdLst>
                    <a:gd name="T0" fmla="*/ 87 w 109"/>
                    <a:gd name="T1" fmla="*/ 0 h 168"/>
                    <a:gd name="T2" fmla="*/ 0 w 109"/>
                    <a:gd name="T3" fmla="*/ 0 h 168"/>
                    <a:gd name="T4" fmla="*/ 0 w 109"/>
                    <a:gd name="T5" fmla="*/ 168 h 168"/>
                    <a:gd name="T6" fmla="*/ 87 w 109"/>
                    <a:gd name="T7" fmla="*/ 168 h 168"/>
                    <a:gd name="T8" fmla="*/ 87 w 109"/>
                    <a:gd name="T9" fmla="*/ 168 h 168"/>
                    <a:gd name="T10" fmla="*/ 91 w 109"/>
                    <a:gd name="T11" fmla="*/ 168 h 168"/>
                    <a:gd name="T12" fmla="*/ 96 w 109"/>
                    <a:gd name="T13" fmla="*/ 167 h 168"/>
                    <a:gd name="T14" fmla="*/ 100 w 109"/>
                    <a:gd name="T15" fmla="*/ 164 h 168"/>
                    <a:gd name="T16" fmla="*/ 102 w 109"/>
                    <a:gd name="T17" fmla="*/ 162 h 168"/>
                    <a:gd name="T18" fmla="*/ 106 w 109"/>
                    <a:gd name="T19" fmla="*/ 158 h 168"/>
                    <a:gd name="T20" fmla="*/ 107 w 109"/>
                    <a:gd name="T21" fmla="*/ 155 h 168"/>
                    <a:gd name="T22" fmla="*/ 108 w 109"/>
                    <a:gd name="T23" fmla="*/ 150 h 168"/>
                    <a:gd name="T24" fmla="*/ 109 w 109"/>
                    <a:gd name="T25" fmla="*/ 146 h 168"/>
                    <a:gd name="T26" fmla="*/ 109 w 109"/>
                    <a:gd name="T27" fmla="*/ 22 h 168"/>
                    <a:gd name="T28" fmla="*/ 109 w 109"/>
                    <a:gd name="T29" fmla="*/ 22 h 168"/>
                    <a:gd name="T30" fmla="*/ 108 w 109"/>
                    <a:gd name="T31" fmla="*/ 17 h 168"/>
                    <a:gd name="T32" fmla="*/ 107 w 109"/>
                    <a:gd name="T33" fmla="*/ 13 h 168"/>
                    <a:gd name="T34" fmla="*/ 106 w 109"/>
                    <a:gd name="T35" fmla="*/ 10 h 168"/>
                    <a:gd name="T36" fmla="*/ 102 w 109"/>
                    <a:gd name="T37" fmla="*/ 6 h 168"/>
                    <a:gd name="T38" fmla="*/ 100 w 109"/>
                    <a:gd name="T39" fmla="*/ 4 h 168"/>
                    <a:gd name="T40" fmla="*/ 96 w 109"/>
                    <a:gd name="T41" fmla="*/ 1 h 168"/>
                    <a:gd name="T42" fmla="*/ 91 w 109"/>
                    <a:gd name="T43" fmla="*/ 0 h 168"/>
                    <a:gd name="T44" fmla="*/ 87 w 109"/>
                    <a:gd name="T4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168">
                      <a:moveTo>
                        <a:pt x="87" y="0"/>
                      </a:moveTo>
                      <a:lnTo>
                        <a:pt x="0" y="0"/>
                      </a:lnTo>
                      <a:lnTo>
                        <a:pt x="0" y="168"/>
                      </a:lnTo>
                      <a:lnTo>
                        <a:pt x="87" y="168"/>
                      </a:lnTo>
                      <a:lnTo>
                        <a:pt x="87" y="168"/>
                      </a:lnTo>
                      <a:lnTo>
                        <a:pt x="91" y="168"/>
                      </a:lnTo>
                      <a:lnTo>
                        <a:pt x="96" y="167"/>
                      </a:lnTo>
                      <a:lnTo>
                        <a:pt x="100" y="164"/>
                      </a:lnTo>
                      <a:lnTo>
                        <a:pt x="102" y="162"/>
                      </a:lnTo>
                      <a:lnTo>
                        <a:pt x="106" y="158"/>
                      </a:lnTo>
                      <a:lnTo>
                        <a:pt x="107" y="155"/>
                      </a:lnTo>
                      <a:lnTo>
                        <a:pt x="108" y="150"/>
                      </a:lnTo>
                      <a:lnTo>
                        <a:pt x="109" y="146"/>
                      </a:lnTo>
                      <a:lnTo>
                        <a:pt x="109" y="22"/>
                      </a:lnTo>
                      <a:lnTo>
                        <a:pt x="109" y="22"/>
                      </a:lnTo>
                      <a:lnTo>
                        <a:pt x="108" y="17"/>
                      </a:lnTo>
                      <a:lnTo>
                        <a:pt x="107" y="13"/>
                      </a:lnTo>
                      <a:lnTo>
                        <a:pt x="106" y="10"/>
                      </a:lnTo>
                      <a:lnTo>
                        <a:pt x="102" y="6"/>
                      </a:lnTo>
                      <a:lnTo>
                        <a:pt x="100" y="4"/>
                      </a:lnTo>
                      <a:lnTo>
                        <a:pt x="96" y="1"/>
                      </a:lnTo>
                      <a:lnTo>
                        <a:pt x="91" y="0"/>
                      </a:lnTo>
                      <a:lnTo>
                        <a:pt x="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88" name="Freeform 439"/>
                <p:cNvSpPr>
                  <a:spLocks/>
                </p:cNvSpPr>
                <p:nvPr userDrawn="1"/>
              </p:nvSpPr>
              <p:spPr bwMode="auto">
                <a:xfrm>
                  <a:off x="10137321" y="3971424"/>
                  <a:ext cx="193675" cy="30163"/>
                </a:xfrm>
                <a:custGeom>
                  <a:avLst/>
                  <a:gdLst>
                    <a:gd name="T0" fmla="*/ 244 w 244"/>
                    <a:gd name="T1" fmla="*/ 0 h 40"/>
                    <a:gd name="T2" fmla="*/ 0 w 244"/>
                    <a:gd name="T3" fmla="*/ 0 h 40"/>
                    <a:gd name="T4" fmla="*/ 0 w 244"/>
                    <a:gd name="T5" fmla="*/ 40 h 40"/>
                    <a:gd name="T6" fmla="*/ 244 w 244"/>
                    <a:gd name="T7" fmla="*/ 40 h 40"/>
                    <a:gd name="T8" fmla="*/ 244 w 244"/>
                    <a:gd name="T9" fmla="*/ 3 h 40"/>
                    <a:gd name="T10" fmla="*/ 244 w 244"/>
                    <a:gd name="T11" fmla="*/ 3 h 40"/>
                    <a:gd name="T12" fmla="*/ 244 w 244"/>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244" h="40">
                      <a:moveTo>
                        <a:pt x="244" y="0"/>
                      </a:moveTo>
                      <a:lnTo>
                        <a:pt x="0" y="0"/>
                      </a:lnTo>
                      <a:lnTo>
                        <a:pt x="0" y="40"/>
                      </a:lnTo>
                      <a:lnTo>
                        <a:pt x="244" y="40"/>
                      </a:lnTo>
                      <a:lnTo>
                        <a:pt x="244" y="3"/>
                      </a:lnTo>
                      <a:lnTo>
                        <a:pt x="244" y="3"/>
                      </a:lnTo>
                      <a:lnTo>
                        <a:pt x="244" y="0"/>
                      </a:lnTo>
                      <a:close/>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89" name="Freeform 440"/>
                <p:cNvSpPr>
                  <a:spLocks/>
                </p:cNvSpPr>
                <p:nvPr userDrawn="1"/>
              </p:nvSpPr>
              <p:spPr bwMode="auto">
                <a:xfrm>
                  <a:off x="10137321" y="3971424"/>
                  <a:ext cx="193675" cy="30163"/>
                </a:xfrm>
                <a:custGeom>
                  <a:avLst/>
                  <a:gdLst>
                    <a:gd name="T0" fmla="*/ 244 w 244"/>
                    <a:gd name="T1" fmla="*/ 0 h 40"/>
                    <a:gd name="T2" fmla="*/ 0 w 244"/>
                    <a:gd name="T3" fmla="*/ 0 h 40"/>
                    <a:gd name="T4" fmla="*/ 0 w 244"/>
                    <a:gd name="T5" fmla="*/ 40 h 40"/>
                    <a:gd name="T6" fmla="*/ 244 w 244"/>
                    <a:gd name="T7" fmla="*/ 40 h 40"/>
                    <a:gd name="T8" fmla="*/ 244 w 244"/>
                    <a:gd name="T9" fmla="*/ 3 h 40"/>
                    <a:gd name="T10" fmla="*/ 244 w 244"/>
                    <a:gd name="T11" fmla="*/ 3 h 40"/>
                    <a:gd name="T12" fmla="*/ 244 w 244"/>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244" h="40">
                      <a:moveTo>
                        <a:pt x="244" y="0"/>
                      </a:moveTo>
                      <a:lnTo>
                        <a:pt x="0" y="0"/>
                      </a:lnTo>
                      <a:lnTo>
                        <a:pt x="0" y="40"/>
                      </a:lnTo>
                      <a:lnTo>
                        <a:pt x="244" y="40"/>
                      </a:lnTo>
                      <a:lnTo>
                        <a:pt x="244" y="3"/>
                      </a:lnTo>
                      <a:lnTo>
                        <a:pt x="244" y="3"/>
                      </a:lnTo>
                      <a:lnTo>
                        <a:pt x="2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0" name="Freeform 441"/>
                <p:cNvSpPr>
                  <a:spLocks/>
                </p:cNvSpPr>
                <p:nvPr userDrawn="1"/>
              </p:nvSpPr>
              <p:spPr bwMode="auto">
                <a:xfrm>
                  <a:off x="10137321" y="3971424"/>
                  <a:ext cx="193675" cy="0"/>
                </a:xfrm>
                <a:custGeom>
                  <a:avLst/>
                  <a:gdLst>
                    <a:gd name="T0" fmla="*/ 244 w 244"/>
                    <a:gd name="T1" fmla="*/ 226 w 244"/>
                    <a:gd name="T2" fmla="*/ 0 w 244"/>
                    <a:gd name="T3" fmla="*/ 244 w 244"/>
                  </a:gdLst>
                  <a:ahLst/>
                  <a:cxnLst>
                    <a:cxn ang="0">
                      <a:pos x="T0" y="0"/>
                    </a:cxn>
                    <a:cxn ang="0">
                      <a:pos x="T1" y="0"/>
                    </a:cxn>
                    <a:cxn ang="0">
                      <a:pos x="T2" y="0"/>
                    </a:cxn>
                    <a:cxn ang="0">
                      <a:pos x="T3" y="0"/>
                    </a:cxn>
                  </a:cxnLst>
                  <a:rect l="0" t="0" r="r" b="b"/>
                  <a:pathLst>
                    <a:path w="244">
                      <a:moveTo>
                        <a:pt x="244" y="0"/>
                      </a:moveTo>
                      <a:lnTo>
                        <a:pt x="226" y="0"/>
                      </a:lnTo>
                      <a:lnTo>
                        <a:pt x="0" y="0"/>
                      </a:lnTo>
                      <a:lnTo>
                        <a:pt x="244" y="0"/>
                      </a:lnTo>
                      <a:close/>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1" name="Freeform 442"/>
                <p:cNvSpPr>
                  <a:spLocks/>
                </p:cNvSpPr>
                <p:nvPr userDrawn="1"/>
              </p:nvSpPr>
              <p:spPr bwMode="auto">
                <a:xfrm>
                  <a:off x="10137321" y="3971424"/>
                  <a:ext cx="193675" cy="0"/>
                </a:xfrm>
                <a:custGeom>
                  <a:avLst/>
                  <a:gdLst>
                    <a:gd name="T0" fmla="*/ 244 w 244"/>
                    <a:gd name="T1" fmla="*/ 226 w 244"/>
                    <a:gd name="T2" fmla="*/ 0 w 244"/>
                    <a:gd name="T3" fmla="*/ 244 w 244"/>
                  </a:gdLst>
                  <a:ahLst/>
                  <a:cxnLst>
                    <a:cxn ang="0">
                      <a:pos x="T0" y="0"/>
                    </a:cxn>
                    <a:cxn ang="0">
                      <a:pos x="T1" y="0"/>
                    </a:cxn>
                    <a:cxn ang="0">
                      <a:pos x="T2" y="0"/>
                    </a:cxn>
                    <a:cxn ang="0">
                      <a:pos x="T3" y="0"/>
                    </a:cxn>
                  </a:cxnLst>
                  <a:rect l="0" t="0" r="r" b="b"/>
                  <a:pathLst>
                    <a:path w="244">
                      <a:moveTo>
                        <a:pt x="244" y="0"/>
                      </a:moveTo>
                      <a:lnTo>
                        <a:pt x="226" y="0"/>
                      </a:lnTo>
                      <a:lnTo>
                        <a:pt x="0" y="0"/>
                      </a:lnTo>
                      <a:lnTo>
                        <a:pt x="2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2" name="Freeform 443"/>
                <p:cNvSpPr>
                  <a:spLocks/>
                </p:cNvSpPr>
                <p:nvPr userDrawn="1"/>
              </p:nvSpPr>
              <p:spPr bwMode="auto">
                <a:xfrm>
                  <a:off x="10429421" y="3572961"/>
                  <a:ext cx="42863" cy="42863"/>
                </a:xfrm>
                <a:custGeom>
                  <a:avLst/>
                  <a:gdLst>
                    <a:gd name="T0" fmla="*/ 28 w 55"/>
                    <a:gd name="T1" fmla="*/ 0 h 54"/>
                    <a:gd name="T2" fmla="*/ 28 w 55"/>
                    <a:gd name="T3" fmla="*/ 0 h 54"/>
                    <a:gd name="T4" fmla="*/ 22 w 55"/>
                    <a:gd name="T5" fmla="*/ 1 h 54"/>
                    <a:gd name="T6" fmla="*/ 17 w 55"/>
                    <a:gd name="T7" fmla="*/ 2 h 54"/>
                    <a:gd name="T8" fmla="*/ 12 w 55"/>
                    <a:gd name="T9" fmla="*/ 5 h 54"/>
                    <a:gd name="T10" fmla="*/ 9 w 55"/>
                    <a:gd name="T11" fmla="*/ 8 h 54"/>
                    <a:gd name="T12" fmla="*/ 5 w 55"/>
                    <a:gd name="T13" fmla="*/ 13 h 54"/>
                    <a:gd name="T14" fmla="*/ 3 w 55"/>
                    <a:gd name="T15" fmla="*/ 16 h 54"/>
                    <a:gd name="T16" fmla="*/ 0 w 55"/>
                    <a:gd name="T17" fmla="*/ 22 h 54"/>
                    <a:gd name="T18" fmla="*/ 0 w 55"/>
                    <a:gd name="T19" fmla="*/ 27 h 54"/>
                    <a:gd name="T20" fmla="*/ 0 w 55"/>
                    <a:gd name="T21" fmla="*/ 27 h 54"/>
                    <a:gd name="T22" fmla="*/ 0 w 55"/>
                    <a:gd name="T23" fmla="*/ 33 h 54"/>
                    <a:gd name="T24" fmla="*/ 3 w 55"/>
                    <a:gd name="T25" fmla="*/ 38 h 54"/>
                    <a:gd name="T26" fmla="*/ 5 w 55"/>
                    <a:gd name="T27" fmla="*/ 43 h 54"/>
                    <a:gd name="T28" fmla="*/ 9 w 55"/>
                    <a:gd name="T29" fmla="*/ 47 h 54"/>
                    <a:gd name="T30" fmla="*/ 12 w 55"/>
                    <a:gd name="T31" fmla="*/ 51 h 54"/>
                    <a:gd name="T32" fmla="*/ 17 w 55"/>
                    <a:gd name="T33" fmla="*/ 53 h 54"/>
                    <a:gd name="T34" fmla="*/ 22 w 55"/>
                    <a:gd name="T35" fmla="*/ 54 h 54"/>
                    <a:gd name="T36" fmla="*/ 28 w 55"/>
                    <a:gd name="T37" fmla="*/ 54 h 54"/>
                    <a:gd name="T38" fmla="*/ 28 w 55"/>
                    <a:gd name="T39" fmla="*/ 54 h 54"/>
                    <a:gd name="T40" fmla="*/ 32 w 55"/>
                    <a:gd name="T41" fmla="*/ 54 h 54"/>
                    <a:gd name="T42" fmla="*/ 38 w 55"/>
                    <a:gd name="T43" fmla="*/ 53 h 54"/>
                    <a:gd name="T44" fmla="*/ 43 w 55"/>
                    <a:gd name="T45" fmla="*/ 51 h 54"/>
                    <a:gd name="T46" fmla="*/ 47 w 55"/>
                    <a:gd name="T47" fmla="*/ 47 h 54"/>
                    <a:gd name="T48" fmla="*/ 50 w 55"/>
                    <a:gd name="T49" fmla="*/ 43 h 54"/>
                    <a:gd name="T50" fmla="*/ 53 w 55"/>
                    <a:gd name="T51" fmla="*/ 38 h 54"/>
                    <a:gd name="T52" fmla="*/ 54 w 55"/>
                    <a:gd name="T53" fmla="*/ 33 h 54"/>
                    <a:gd name="T54" fmla="*/ 55 w 55"/>
                    <a:gd name="T55" fmla="*/ 27 h 54"/>
                    <a:gd name="T56" fmla="*/ 55 w 55"/>
                    <a:gd name="T57" fmla="*/ 27 h 54"/>
                    <a:gd name="T58" fmla="*/ 54 w 55"/>
                    <a:gd name="T59" fmla="*/ 22 h 54"/>
                    <a:gd name="T60" fmla="*/ 53 w 55"/>
                    <a:gd name="T61" fmla="*/ 16 h 54"/>
                    <a:gd name="T62" fmla="*/ 50 w 55"/>
                    <a:gd name="T63" fmla="*/ 13 h 54"/>
                    <a:gd name="T64" fmla="*/ 47 w 55"/>
                    <a:gd name="T65" fmla="*/ 8 h 54"/>
                    <a:gd name="T66" fmla="*/ 43 w 55"/>
                    <a:gd name="T67" fmla="*/ 5 h 54"/>
                    <a:gd name="T68" fmla="*/ 38 w 55"/>
                    <a:gd name="T69" fmla="*/ 2 h 54"/>
                    <a:gd name="T70" fmla="*/ 32 w 55"/>
                    <a:gd name="T71" fmla="*/ 1 h 54"/>
                    <a:gd name="T72" fmla="*/ 28 w 55"/>
                    <a:gd name="T7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4">
                      <a:moveTo>
                        <a:pt x="28" y="0"/>
                      </a:moveTo>
                      <a:lnTo>
                        <a:pt x="28" y="0"/>
                      </a:lnTo>
                      <a:lnTo>
                        <a:pt x="22" y="1"/>
                      </a:lnTo>
                      <a:lnTo>
                        <a:pt x="17" y="2"/>
                      </a:lnTo>
                      <a:lnTo>
                        <a:pt x="12" y="5"/>
                      </a:lnTo>
                      <a:lnTo>
                        <a:pt x="9" y="8"/>
                      </a:lnTo>
                      <a:lnTo>
                        <a:pt x="5" y="13"/>
                      </a:lnTo>
                      <a:lnTo>
                        <a:pt x="3" y="16"/>
                      </a:lnTo>
                      <a:lnTo>
                        <a:pt x="0" y="22"/>
                      </a:lnTo>
                      <a:lnTo>
                        <a:pt x="0" y="27"/>
                      </a:lnTo>
                      <a:lnTo>
                        <a:pt x="0" y="27"/>
                      </a:lnTo>
                      <a:lnTo>
                        <a:pt x="0" y="33"/>
                      </a:lnTo>
                      <a:lnTo>
                        <a:pt x="3" y="38"/>
                      </a:lnTo>
                      <a:lnTo>
                        <a:pt x="5" y="43"/>
                      </a:lnTo>
                      <a:lnTo>
                        <a:pt x="9" y="47"/>
                      </a:lnTo>
                      <a:lnTo>
                        <a:pt x="12" y="51"/>
                      </a:lnTo>
                      <a:lnTo>
                        <a:pt x="17" y="53"/>
                      </a:lnTo>
                      <a:lnTo>
                        <a:pt x="22" y="54"/>
                      </a:lnTo>
                      <a:lnTo>
                        <a:pt x="28" y="54"/>
                      </a:lnTo>
                      <a:lnTo>
                        <a:pt x="28" y="54"/>
                      </a:lnTo>
                      <a:lnTo>
                        <a:pt x="32" y="54"/>
                      </a:lnTo>
                      <a:lnTo>
                        <a:pt x="38" y="53"/>
                      </a:lnTo>
                      <a:lnTo>
                        <a:pt x="43" y="51"/>
                      </a:lnTo>
                      <a:lnTo>
                        <a:pt x="47" y="47"/>
                      </a:lnTo>
                      <a:lnTo>
                        <a:pt x="50" y="43"/>
                      </a:lnTo>
                      <a:lnTo>
                        <a:pt x="53" y="38"/>
                      </a:lnTo>
                      <a:lnTo>
                        <a:pt x="54" y="33"/>
                      </a:lnTo>
                      <a:lnTo>
                        <a:pt x="55" y="27"/>
                      </a:lnTo>
                      <a:lnTo>
                        <a:pt x="55" y="27"/>
                      </a:lnTo>
                      <a:lnTo>
                        <a:pt x="54" y="22"/>
                      </a:lnTo>
                      <a:lnTo>
                        <a:pt x="53" y="16"/>
                      </a:lnTo>
                      <a:lnTo>
                        <a:pt x="50" y="13"/>
                      </a:lnTo>
                      <a:lnTo>
                        <a:pt x="47" y="8"/>
                      </a:lnTo>
                      <a:lnTo>
                        <a:pt x="43" y="5"/>
                      </a:lnTo>
                      <a:lnTo>
                        <a:pt x="38" y="2"/>
                      </a:lnTo>
                      <a:lnTo>
                        <a:pt x="32" y="1"/>
                      </a:lnTo>
                      <a:lnTo>
                        <a:pt x="28"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3" name="Freeform 444"/>
                <p:cNvSpPr>
                  <a:spLocks/>
                </p:cNvSpPr>
                <p:nvPr userDrawn="1"/>
              </p:nvSpPr>
              <p:spPr bwMode="auto">
                <a:xfrm>
                  <a:off x="10429421" y="3572961"/>
                  <a:ext cx="42863" cy="42863"/>
                </a:xfrm>
                <a:custGeom>
                  <a:avLst/>
                  <a:gdLst>
                    <a:gd name="T0" fmla="*/ 28 w 55"/>
                    <a:gd name="T1" fmla="*/ 0 h 54"/>
                    <a:gd name="T2" fmla="*/ 28 w 55"/>
                    <a:gd name="T3" fmla="*/ 0 h 54"/>
                    <a:gd name="T4" fmla="*/ 22 w 55"/>
                    <a:gd name="T5" fmla="*/ 1 h 54"/>
                    <a:gd name="T6" fmla="*/ 17 w 55"/>
                    <a:gd name="T7" fmla="*/ 2 h 54"/>
                    <a:gd name="T8" fmla="*/ 12 w 55"/>
                    <a:gd name="T9" fmla="*/ 5 h 54"/>
                    <a:gd name="T10" fmla="*/ 9 w 55"/>
                    <a:gd name="T11" fmla="*/ 8 h 54"/>
                    <a:gd name="T12" fmla="*/ 5 w 55"/>
                    <a:gd name="T13" fmla="*/ 13 h 54"/>
                    <a:gd name="T14" fmla="*/ 3 w 55"/>
                    <a:gd name="T15" fmla="*/ 16 h 54"/>
                    <a:gd name="T16" fmla="*/ 0 w 55"/>
                    <a:gd name="T17" fmla="*/ 22 h 54"/>
                    <a:gd name="T18" fmla="*/ 0 w 55"/>
                    <a:gd name="T19" fmla="*/ 27 h 54"/>
                    <a:gd name="T20" fmla="*/ 0 w 55"/>
                    <a:gd name="T21" fmla="*/ 27 h 54"/>
                    <a:gd name="T22" fmla="*/ 0 w 55"/>
                    <a:gd name="T23" fmla="*/ 33 h 54"/>
                    <a:gd name="T24" fmla="*/ 3 w 55"/>
                    <a:gd name="T25" fmla="*/ 38 h 54"/>
                    <a:gd name="T26" fmla="*/ 5 w 55"/>
                    <a:gd name="T27" fmla="*/ 43 h 54"/>
                    <a:gd name="T28" fmla="*/ 9 w 55"/>
                    <a:gd name="T29" fmla="*/ 47 h 54"/>
                    <a:gd name="T30" fmla="*/ 12 w 55"/>
                    <a:gd name="T31" fmla="*/ 51 h 54"/>
                    <a:gd name="T32" fmla="*/ 17 w 55"/>
                    <a:gd name="T33" fmla="*/ 53 h 54"/>
                    <a:gd name="T34" fmla="*/ 22 w 55"/>
                    <a:gd name="T35" fmla="*/ 54 h 54"/>
                    <a:gd name="T36" fmla="*/ 28 w 55"/>
                    <a:gd name="T37" fmla="*/ 54 h 54"/>
                    <a:gd name="T38" fmla="*/ 28 w 55"/>
                    <a:gd name="T39" fmla="*/ 54 h 54"/>
                    <a:gd name="T40" fmla="*/ 32 w 55"/>
                    <a:gd name="T41" fmla="*/ 54 h 54"/>
                    <a:gd name="T42" fmla="*/ 38 w 55"/>
                    <a:gd name="T43" fmla="*/ 53 h 54"/>
                    <a:gd name="T44" fmla="*/ 43 w 55"/>
                    <a:gd name="T45" fmla="*/ 51 h 54"/>
                    <a:gd name="T46" fmla="*/ 47 w 55"/>
                    <a:gd name="T47" fmla="*/ 47 h 54"/>
                    <a:gd name="T48" fmla="*/ 50 w 55"/>
                    <a:gd name="T49" fmla="*/ 43 h 54"/>
                    <a:gd name="T50" fmla="*/ 53 w 55"/>
                    <a:gd name="T51" fmla="*/ 38 h 54"/>
                    <a:gd name="T52" fmla="*/ 54 w 55"/>
                    <a:gd name="T53" fmla="*/ 33 h 54"/>
                    <a:gd name="T54" fmla="*/ 55 w 55"/>
                    <a:gd name="T55" fmla="*/ 27 h 54"/>
                    <a:gd name="T56" fmla="*/ 55 w 55"/>
                    <a:gd name="T57" fmla="*/ 27 h 54"/>
                    <a:gd name="T58" fmla="*/ 54 w 55"/>
                    <a:gd name="T59" fmla="*/ 22 h 54"/>
                    <a:gd name="T60" fmla="*/ 53 w 55"/>
                    <a:gd name="T61" fmla="*/ 16 h 54"/>
                    <a:gd name="T62" fmla="*/ 50 w 55"/>
                    <a:gd name="T63" fmla="*/ 13 h 54"/>
                    <a:gd name="T64" fmla="*/ 47 w 55"/>
                    <a:gd name="T65" fmla="*/ 8 h 54"/>
                    <a:gd name="T66" fmla="*/ 43 w 55"/>
                    <a:gd name="T67" fmla="*/ 5 h 54"/>
                    <a:gd name="T68" fmla="*/ 38 w 55"/>
                    <a:gd name="T69" fmla="*/ 2 h 54"/>
                    <a:gd name="T70" fmla="*/ 32 w 55"/>
                    <a:gd name="T71" fmla="*/ 1 h 54"/>
                    <a:gd name="T72" fmla="*/ 28 w 55"/>
                    <a:gd name="T7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4">
                      <a:moveTo>
                        <a:pt x="28" y="0"/>
                      </a:moveTo>
                      <a:lnTo>
                        <a:pt x="28" y="0"/>
                      </a:lnTo>
                      <a:lnTo>
                        <a:pt x="22" y="1"/>
                      </a:lnTo>
                      <a:lnTo>
                        <a:pt x="17" y="2"/>
                      </a:lnTo>
                      <a:lnTo>
                        <a:pt x="12" y="5"/>
                      </a:lnTo>
                      <a:lnTo>
                        <a:pt x="9" y="8"/>
                      </a:lnTo>
                      <a:lnTo>
                        <a:pt x="5" y="13"/>
                      </a:lnTo>
                      <a:lnTo>
                        <a:pt x="3" y="16"/>
                      </a:lnTo>
                      <a:lnTo>
                        <a:pt x="0" y="22"/>
                      </a:lnTo>
                      <a:lnTo>
                        <a:pt x="0" y="27"/>
                      </a:lnTo>
                      <a:lnTo>
                        <a:pt x="0" y="27"/>
                      </a:lnTo>
                      <a:lnTo>
                        <a:pt x="0" y="33"/>
                      </a:lnTo>
                      <a:lnTo>
                        <a:pt x="3" y="38"/>
                      </a:lnTo>
                      <a:lnTo>
                        <a:pt x="5" y="43"/>
                      </a:lnTo>
                      <a:lnTo>
                        <a:pt x="9" y="47"/>
                      </a:lnTo>
                      <a:lnTo>
                        <a:pt x="12" y="51"/>
                      </a:lnTo>
                      <a:lnTo>
                        <a:pt x="17" y="53"/>
                      </a:lnTo>
                      <a:lnTo>
                        <a:pt x="22" y="54"/>
                      </a:lnTo>
                      <a:lnTo>
                        <a:pt x="28" y="54"/>
                      </a:lnTo>
                      <a:lnTo>
                        <a:pt x="28" y="54"/>
                      </a:lnTo>
                      <a:lnTo>
                        <a:pt x="32" y="54"/>
                      </a:lnTo>
                      <a:lnTo>
                        <a:pt x="38" y="53"/>
                      </a:lnTo>
                      <a:lnTo>
                        <a:pt x="43" y="51"/>
                      </a:lnTo>
                      <a:lnTo>
                        <a:pt x="47" y="47"/>
                      </a:lnTo>
                      <a:lnTo>
                        <a:pt x="50" y="43"/>
                      </a:lnTo>
                      <a:lnTo>
                        <a:pt x="53" y="38"/>
                      </a:lnTo>
                      <a:lnTo>
                        <a:pt x="54" y="33"/>
                      </a:lnTo>
                      <a:lnTo>
                        <a:pt x="55" y="27"/>
                      </a:lnTo>
                      <a:lnTo>
                        <a:pt x="55" y="27"/>
                      </a:lnTo>
                      <a:lnTo>
                        <a:pt x="54" y="22"/>
                      </a:lnTo>
                      <a:lnTo>
                        <a:pt x="53" y="16"/>
                      </a:lnTo>
                      <a:lnTo>
                        <a:pt x="50" y="13"/>
                      </a:lnTo>
                      <a:lnTo>
                        <a:pt x="47" y="8"/>
                      </a:lnTo>
                      <a:lnTo>
                        <a:pt x="43" y="5"/>
                      </a:lnTo>
                      <a:lnTo>
                        <a:pt x="38" y="2"/>
                      </a:lnTo>
                      <a:lnTo>
                        <a:pt x="32" y="1"/>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4" name="Freeform 445"/>
                <p:cNvSpPr>
                  <a:spLocks/>
                </p:cNvSpPr>
                <p:nvPr userDrawn="1"/>
              </p:nvSpPr>
              <p:spPr bwMode="auto">
                <a:xfrm>
                  <a:off x="10432596" y="3577724"/>
                  <a:ext cx="34925" cy="34925"/>
                </a:xfrm>
                <a:custGeom>
                  <a:avLst/>
                  <a:gdLst>
                    <a:gd name="T0" fmla="*/ 0 w 44"/>
                    <a:gd name="T1" fmla="*/ 21 h 44"/>
                    <a:gd name="T2" fmla="*/ 0 w 44"/>
                    <a:gd name="T3" fmla="*/ 21 h 44"/>
                    <a:gd name="T4" fmla="*/ 1 w 44"/>
                    <a:gd name="T5" fmla="*/ 26 h 44"/>
                    <a:gd name="T6" fmla="*/ 2 w 44"/>
                    <a:gd name="T7" fmla="*/ 31 h 44"/>
                    <a:gd name="T8" fmla="*/ 4 w 44"/>
                    <a:gd name="T9" fmla="*/ 34 h 44"/>
                    <a:gd name="T10" fmla="*/ 7 w 44"/>
                    <a:gd name="T11" fmla="*/ 38 h 44"/>
                    <a:gd name="T12" fmla="*/ 9 w 44"/>
                    <a:gd name="T13" fmla="*/ 40 h 44"/>
                    <a:gd name="T14" fmla="*/ 14 w 44"/>
                    <a:gd name="T15" fmla="*/ 43 h 44"/>
                    <a:gd name="T16" fmla="*/ 18 w 44"/>
                    <a:gd name="T17" fmla="*/ 44 h 44"/>
                    <a:gd name="T18" fmla="*/ 23 w 44"/>
                    <a:gd name="T19" fmla="*/ 44 h 44"/>
                    <a:gd name="T20" fmla="*/ 23 w 44"/>
                    <a:gd name="T21" fmla="*/ 44 h 44"/>
                    <a:gd name="T22" fmla="*/ 27 w 44"/>
                    <a:gd name="T23" fmla="*/ 44 h 44"/>
                    <a:gd name="T24" fmla="*/ 31 w 44"/>
                    <a:gd name="T25" fmla="*/ 43 h 44"/>
                    <a:gd name="T26" fmla="*/ 34 w 44"/>
                    <a:gd name="T27" fmla="*/ 40 h 44"/>
                    <a:gd name="T28" fmla="*/ 38 w 44"/>
                    <a:gd name="T29" fmla="*/ 38 h 44"/>
                    <a:gd name="T30" fmla="*/ 40 w 44"/>
                    <a:gd name="T31" fmla="*/ 34 h 44"/>
                    <a:gd name="T32" fmla="*/ 43 w 44"/>
                    <a:gd name="T33" fmla="*/ 31 h 44"/>
                    <a:gd name="T34" fmla="*/ 44 w 44"/>
                    <a:gd name="T35" fmla="*/ 26 h 44"/>
                    <a:gd name="T36" fmla="*/ 44 w 44"/>
                    <a:gd name="T37" fmla="*/ 21 h 44"/>
                    <a:gd name="T38" fmla="*/ 44 w 44"/>
                    <a:gd name="T39" fmla="*/ 21 h 44"/>
                    <a:gd name="T40" fmla="*/ 44 w 44"/>
                    <a:gd name="T41" fmla="*/ 18 h 44"/>
                    <a:gd name="T42" fmla="*/ 43 w 44"/>
                    <a:gd name="T43" fmla="*/ 13 h 44"/>
                    <a:gd name="T44" fmla="*/ 40 w 44"/>
                    <a:gd name="T45" fmla="*/ 9 h 44"/>
                    <a:gd name="T46" fmla="*/ 38 w 44"/>
                    <a:gd name="T47" fmla="*/ 6 h 44"/>
                    <a:gd name="T48" fmla="*/ 34 w 44"/>
                    <a:gd name="T49" fmla="*/ 3 h 44"/>
                    <a:gd name="T50" fmla="*/ 31 w 44"/>
                    <a:gd name="T51" fmla="*/ 1 h 44"/>
                    <a:gd name="T52" fmla="*/ 27 w 44"/>
                    <a:gd name="T53" fmla="*/ 0 h 44"/>
                    <a:gd name="T54" fmla="*/ 23 w 44"/>
                    <a:gd name="T55" fmla="*/ 0 h 44"/>
                    <a:gd name="T56" fmla="*/ 23 w 44"/>
                    <a:gd name="T57" fmla="*/ 0 h 44"/>
                    <a:gd name="T58" fmla="*/ 18 w 44"/>
                    <a:gd name="T59" fmla="*/ 0 h 44"/>
                    <a:gd name="T60" fmla="*/ 14 w 44"/>
                    <a:gd name="T61" fmla="*/ 1 h 44"/>
                    <a:gd name="T62" fmla="*/ 9 w 44"/>
                    <a:gd name="T63" fmla="*/ 3 h 44"/>
                    <a:gd name="T64" fmla="*/ 7 w 44"/>
                    <a:gd name="T65" fmla="*/ 6 h 44"/>
                    <a:gd name="T66" fmla="*/ 4 w 44"/>
                    <a:gd name="T67" fmla="*/ 9 h 44"/>
                    <a:gd name="T68" fmla="*/ 2 w 44"/>
                    <a:gd name="T69" fmla="*/ 13 h 44"/>
                    <a:gd name="T70" fmla="*/ 1 w 44"/>
                    <a:gd name="T71" fmla="*/ 18 h 44"/>
                    <a:gd name="T72" fmla="*/ 0 w 44"/>
                    <a:gd name="T73" fmla="*/ 21 h 44"/>
                    <a:gd name="T74" fmla="*/ 0 w 44"/>
                    <a:gd name="T75"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 h="44">
                      <a:moveTo>
                        <a:pt x="0" y="21"/>
                      </a:moveTo>
                      <a:lnTo>
                        <a:pt x="0" y="21"/>
                      </a:lnTo>
                      <a:lnTo>
                        <a:pt x="1" y="26"/>
                      </a:lnTo>
                      <a:lnTo>
                        <a:pt x="2" y="31"/>
                      </a:lnTo>
                      <a:lnTo>
                        <a:pt x="4" y="34"/>
                      </a:lnTo>
                      <a:lnTo>
                        <a:pt x="7" y="38"/>
                      </a:lnTo>
                      <a:lnTo>
                        <a:pt x="9" y="40"/>
                      </a:lnTo>
                      <a:lnTo>
                        <a:pt x="14" y="43"/>
                      </a:lnTo>
                      <a:lnTo>
                        <a:pt x="18" y="44"/>
                      </a:lnTo>
                      <a:lnTo>
                        <a:pt x="23" y="44"/>
                      </a:lnTo>
                      <a:lnTo>
                        <a:pt x="23" y="44"/>
                      </a:lnTo>
                      <a:lnTo>
                        <a:pt x="27" y="44"/>
                      </a:lnTo>
                      <a:lnTo>
                        <a:pt x="31" y="43"/>
                      </a:lnTo>
                      <a:lnTo>
                        <a:pt x="34" y="40"/>
                      </a:lnTo>
                      <a:lnTo>
                        <a:pt x="38" y="38"/>
                      </a:lnTo>
                      <a:lnTo>
                        <a:pt x="40" y="34"/>
                      </a:lnTo>
                      <a:lnTo>
                        <a:pt x="43" y="31"/>
                      </a:lnTo>
                      <a:lnTo>
                        <a:pt x="44" y="26"/>
                      </a:lnTo>
                      <a:lnTo>
                        <a:pt x="44" y="21"/>
                      </a:lnTo>
                      <a:lnTo>
                        <a:pt x="44" y="21"/>
                      </a:lnTo>
                      <a:lnTo>
                        <a:pt x="44" y="18"/>
                      </a:lnTo>
                      <a:lnTo>
                        <a:pt x="43" y="13"/>
                      </a:lnTo>
                      <a:lnTo>
                        <a:pt x="40" y="9"/>
                      </a:lnTo>
                      <a:lnTo>
                        <a:pt x="38" y="6"/>
                      </a:lnTo>
                      <a:lnTo>
                        <a:pt x="34" y="3"/>
                      </a:lnTo>
                      <a:lnTo>
                        <a:pt x="31" y="1"/>
                      </a:lnTo>
                      <a:lnTo>
                        <a:pt x="27" y="0"/>
                      </a:lnTo>
                      <a:lnTo>
                        <a:pt x="23" y="0"/>
                      </a:lnTo>
                      <a:lnTo>
                        <a:pt x="23" y="0"/>
                      </a:lnTo>
                      <a:lnTo>
                        <a:pt x="18" y="0"/>
                      </a:lnTo>
                      <a:lnTo>
                        <a:pt x="14" y="1"/>
                      </a:lnTo>
                      <a:lnTo>
                        <a:pt x="9" y="3"/>
                      </a:lnTo>
                      <a:lnTo>
                        <a:pt x="7" y="6"/>
                      </a:lnTo>
                      <a:lnTo>
                        <a:pt x="4" y="9"/>
                      </a:lnTo>
                      <a:lnTo>
                        <a:pt x="2" y="13"/>
                      </a:lnTo>
                      <a:lnTo>
                        <a:pt x="1" y="18"/>
                      </a:lnTo>
                      <a:lnTo>
                        <a:pt x="0" y="21"/>
                      </a:lnTo>
                      <a:lnTo>
                        <a:pt x="0" y="21"/>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5" name="Freeform 446"/>
                <p:cNvSpPr>
                  <a:spLocks/>
                </p:cNvSpPr>
                <p:nvPr userDrawn="1"/>
              </p:nvSpPr>
              <p:spPr bwMode="auto">
                <a:xfrm>
                  <a:off x="10432596" y="3577724"/>
                  <a:ext cx="34925" cy="17463"/>
                </a:xfrm>
                <a:custGeom>
                  <a:avLst/>
                  <a:gdLst>
                    <a:gd name="T0" fmla="*/ 23 w 44"/>
                    <a:gd name="T1" fmla="*/ 0 h 21"/>
                    <a:gd name="T2" fmla="*/ 23 w 44"/>
                    <a:gd name="T3" fmla="*/ 0 h 21"/>
                    <a:gd name="T4" fmla="*/ 27 w 44"/>
                    <a:gd name="T5" fmla="*/ 0 h 21"/>
                    <a:gd name="T6" fmla="*/ 31 w 44"/>
                    <a:gd name="T7" fmla="*/ 1 h 21"/>
                    <a:gd name="T8" fmla="*/ 34 w 44"/>
                    <a:gd name="T9" fmla="*/ 3 h 21"/>
                    <a:gd name="T10" fmla="*/ 38 w 44"/>
                    <a:gd name="T11" fmla="*/ 6 h 21"/>
                    <a:gd name="T12" fmla="*/ 40 w 44"/>
                    <a:gd name="T13" fmla="*/ 9 h 21"/>
                    <a:gd name="T14" fmla="*/ 43 w 44"/>
                    <a:gd name="T15" fmla="*/ 13 h 21"/>
                    <a:gd name="T16" fmla="*/ 44 w 44"/>
                    <a:gd name="T17" fmla="*/ 18 h 21"/>
                    <a:gd name="T18" fmla="*/ 44 w 44"/>
                    <a:gd name="T19" fmla="*/ 21 h 21"/>
                    <a:gd name="T20" fmla="*/ 0 w 44"/>
                    <a:gd name="T21" fmla="*/ 21 h 21"/>
                    <a:gd name="T22" fmla="*/ 0 w 44"/>
                    <a:gd name="T23" fmla="*/ 21 h 21"/>
                    <a:gd name="T24" fmla="*/ 1 w 44"/>
                    <a:gd name="T25" fmla="*/ 18 h 21"/>
                    <a:gd name="T26" fmla="*/ 2 w 44"/>
                    <a:gd name="T27" fmla="*/ 13 h 21"/>
                    <a:gd name="T28" fmla="*/ 4 w 44"/>
                    <a:gd name="T29" fmla="*/ 9 h 21"/>
                    <a:gd name="T30" fmla="*/ 7 w 44"/>
                    <a:gd name="T31" fmla="*/ 6 h 21"/>
                    <a:gd name="T32" fmla="*/ 9 w 44"/>
                    <a:gd name="T33" fmla="*/ 3 h 21"/>
                    <a:gd name="T34" fmla="*/ 14 w 44"/>
                    <a:gd name="T35" fmla="*/ 1 h 21"/>
                    <a:gd name="T36" fmla="*/ 18 w 44"/>
                    <a:gd name="T37" fmla="*/ 0 h 21"/>
                    <a:gd name="T38" fmla="*/ 23 w 44"/>
                    <a:gd name="T39" fmla="*/ 0 h 21"/>
                    <a:gd name="T40" fmla="*/ 23 w 44"/>
                    <a:gd name="T4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 h="21">
                      <a:moveTo>
                        <a:pt x="23" y="0"/>
                      </a:moveTo>
                      <a:lnTo>
                        <a:pt x="23" y="0"/>
                      </a:lnTo>
                      <a:lnTo>
                        <a:pt x="27" y="0"/>
                      </a:lnTo>
                      <a:lnTo>
                        <a:pt x="31" y="1"/>
                      </a:lnTo>
                      <a:lnTo>
                        <a:pt x="34" y="3"/>
                      </a:lnTo>
                      <a:lnTo>
                        <a:pt x="38" y="6"/>
                      </a:lnTo>
                      <a:lnTo>
                        <a:pt x="40" y="9"/>
                      </a:lnTo>
                      <a:lnTo>
                        <a:pt x="43" y="13"/>
                      </a:lnTo>
                      <a:lnTo>
                        <a:pt x="44" y="18"/>
                      </a:lnTo>
                      <a:lnTo>
                        <a:pt x="44" y="21"/>
                      </a:lnTo>
                      <a:lnTo>
                        <a:pt x="0" y="21"/>
                      </a:lnTo>
                      <a:lnTo>
                        <a:pt x="0" y="21"/>
                      </a:lnTo>
                      <a:lnTo>
                        <a:pt x="1" y="18"/>
                      </a:lnTo>
                      <a:lnTo>
                        <a:pt x="2" y="13"/>
                      </a:lnTo>
                      <a:lnTo>
                        <a:pt x="4" y="9"/>
                      </a:lnTo>
                      <a:lnTo>
                        <a:pt x="7" y="6"/>
                      </a:lnTo>
                      <a:lnTo>
                        <a:pt x="9" y="3"/>
                      </a:lnTo>
                      <a:lnTo>
                        <a:pt x="14" y="1"/>
                      </a:lnTo>
                      <a:lnTo>
                        <a:pt x="18" y="0"/>
                      </a:lnTo>
                      <a:lnTo>
                        <a:pt x="23" y="0"/>
                      </a:lnTo>
                      <a:lnTo>
                        <a:pt x="23"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6" name="Freeform 447"/>
                <p:cNvSpPr>
                  <a:spLocks/>
                </p:cNvSpPr>
                <p:nvPr userDrawn="1"/>
              </p:nvSpPr>
              <p:spPr bwMode="auto">
                <a:xfrm>
                  <a:off x="10429421" y="3515811"/>
                  <a:ext cx="42863" cy="44450"/>
                </a:xfrm>
                <a:custGeom>
                  <a:avLst/>
                  <a:gdLst>
                    <a:gd name="T0" fmla="*/ 28 w 55"/>
                    <a:gd name="T1" fmla="*/ 0 h 55"/>
                    <a:gd name="T2" fmla="*/ 28 w 55"/>
                    <a:gd name="T3" fmla="*/ 0 h 55"/>
                    <a:gd name="T4" fmla="*/ 22 w 55"/>
                    <a:gd name="T5" fmla="*/ 2 h 55"/>
                    <a:gd name="T6" fmla="*/ 17 w 55"/>
                    <a:gd name="T7" fmla="*/ 3 h 55"/>
                    <a:gd name="T8" fmla="*/ 12 w 55"/>
                    <a:gd name="T9" fmla="*/ 5 h 55"/>
                    <a:gd name="T10" fmla="*/ 9 w 55"/>
                    <a:gd name="T11" fmla="*/ 9 h 55"/>
                    <a:gd name="T12" fmla="*/ 5 w 55"/>
                    <a:gd name="T13" fmla="*/ 12 h 55"/>
                    <a:gd name="T14" fmla="*/ 3 w 55"/>
                    <a:gd name="T15" fmla="*/ 17 h 55"/>
                    <a:gd name="T16" fmla="*/ 0 w 55"/>
                    <a:gd name="T17" fmla="*/ 23 h 55"/>
                    <a:gd name="T18" fmla="*/ 0 w 55"/>
                    <a:gd name="T19" fmla="*/ 28 h 55"/>
                    <a:gd name="T20" fmla="*/ 0 w 55"/>
                    <a:gd name="T21" fmla="*/ 28 h 55"/>
                    <a:gd name="T22" fmla="*/ 0 w 55"/>
                    <a:gd name="T23" fmla="*/ 34 h 55"/>
                    <a:gd name="T24" fmla="*/ 3 w 55"/>
                    <a:gd name="T25" fmla="*/ 38 h 55"/>
                    <a:gd name="T26" fmla="*/ 5 w 55"/>
                    <a:gd name="T27" fmla="*/ 43 h 55"/>
                    <a:gd name="T28" fmla="*/ 9 w 55"/>
                    <a:gd name="T29" fmla="*/ 48 h 55"/>
                    <a:gd name="T30" fmla="*/ 12 w 55"/>
                    <a:gd name="T31" fmla="*/ 50 h 55"/>
                    <a:gd name="T32" fmla="*/ 17 w 55"/>
                    <a:gd name="T33" fmla="*/ 54 h 55"/>
                    <a:gd name="T34" fmla="*/ 22 w 55"/>
                    <a:gd name="T35" fmla="*/ 55 h 55"/>
                    <a:gd name="T36" fmla="*/ 28 w 55"/>
                    <a:gd name="T37" fmla="*/ 55 h 55"/>
                    <a:gd name="T38" fmla="*/ 28 w 55"/>
                    <a:gd name="T39" fmla="*/ 55 h 55"/>
                    <a:gd name="T40" fmla="*/ 32 w 55"/>
                    <a:gd name="T41" fmla="*/ 55 h 55"/>
                    <a:gd name="T42" fmla="*/ 38 w 55"/>
                    <a:gd name="T43" fmla="*/ 54 h 55"/>
                    <a:gd name="T44" fmla="*/ 43 w 55"/>
                    <a:gd name="T45" fmla="*/ 50 h 55"/>
                    <a:gd name="T46" fmla="*/ 47 w 55"/>
                    <a:gd name="T47" fmla="*/ 48 h 55"/>
                    <a:gd name="T48" fmla="*/ 50 w 55"/>
                    <a:gd name="T49" fmla="*/ 43 h 55"/>
                    <a:gd name="T50" fmla="*/ 53 w 55"/>
                    <a:gd name="T51" fmla="*/ 38 h 55"/>
                    <a:gd name="T52" fmla="*/ 54 w 55"/>
                    <a:gd name="T53" fmla="*/ 34 h 55"/>
                    <a:gd name="T54" fmla="*/ 55 w 55"/>
                    <a:gd name="T55" fmla="*/ 28 h 55"/>
                    <a:gd name="T56" fmla="*/ 55 w 55"/>
                    <a:gd name="T57" fmla="*/ 28 h 55"/>
                    <a:gd name="T58" fmla="*/ 54 w 55"/>
                    <a:gd name="T59" fmla="*/ 23 h 55"/>
                    <a:gd name="T60" fmla="*/ 53 w 55"/>
                    <a:gd name="T61" fmla="*/ 17 h 55"/>
                    <a:gd name="T62" fmla="*/ 50 w 55"/>
                    <a:gd name="T63" fmla="*/ 12 h 55"/>
                    <a:gd name="T64" fmla="*/ 47 w 55"/>
                    <a:gd name="T65" fmla="*/ 9 h 55"/>
                    <a:gd name="T66" fmla="*/ 43 w 55"/>
                    <a:gd name="T67" fmla="*/ 5 h 55"/>
                    <a:gd name="T68" fmla="*/ 38 w 55"/>
                    <a:gd name="T69" fmla="*/ 3 h 55"/>
                    <a:gd name="T70" fmla="*/ 32 w 55"/>
                    <a:gd name="T71" fmla="*/ 2 h 55"/>
                    <a:gd name="T72" fmla="*/ 28 w 55"/>
                    <a:gd name="T7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5">
                      <a:moveTo>
                        <a:pt x="28" y="0"/>
                      </a:moveTo>
                      <a:lnTo>
                        <a:pt x="28" y="0"/>
                      </a:lnTo>
                      <a:lnTo>
                        <a:pt x="22" y="2"/>
                      </a:lnTo>
                      <a:lnTo>
                        <a:pt x="17" y="3"/>
                      </a:lnTo>
                      <a:lnTo>
                        <a:pt x="12" y="5"/>
                      </a:lnTo>
                      <a:lnTo>
                        <a:pt x="9" y="9"/>
                      </a:lnTo>
                      <a:lnTo>
                        <a:pt x="5" y="12"/>
                      </a:lnTo>
                      <a:lnTo>
                        <a:pt x="3" y="17"/>
                      </a:lnTo>
                      <a:lnTo>
                        <a:pt x="0" y="23"/>
                      </a:lnTo>
                      <a:lnTo>
                        <a:pt x="0" y="28"/>
                      </a:lnTo>
                      <a:lnTo>
                        <a:pt x="0" y="28"/>
                      </a:lnTo>
                      <a:lnTo>
                        <a:pt x="0" y="34"/>
                      </a:lnTo>
                      <a:lnTo>
                        <a:pt x="3" y="38"/>
                      </a:lnTo>
                      <a:lnTo>
                        <a:pt x="5" y="43"/>
                      </a:lnTo>
                      <a:lnTo>
                        <a:pt x="9" y="48"/>
                      </a:lnTo>
                      <a:lnTo>
                        <a:pt x="12" y="50"/>
                      </a:lnTo>
                      <a:lnTo>
                        <a:pt x="17" y="54"/>
                      </a:lnTo>
                      <a:lnTo>
                        <a:pt x="22" y="55"/>
                      </a:lnTo>
                      <a:lnTo>
                        <a:pt x="28" y="55"/>
                      </a:lnTo>
                      <a:lnTo>
                        <a:pt x="28" y="55"/>
                      </a:lnTo>
                      <a:lnTo>
                        <a:pt x="32" y="55"/>
                      </a:lnTo>
                      <a:lnTo>
                        <a:pt x="38" y="54"/>
                      </a:lnTo>
                      <a:lnTo>
                        <a:pt x="43" y="50"/>
                      </a:lnTo>
                      <a:lnTo>
                        <a:pt x="47" y="48"/>
                      </a:lnTo>
                      <a:lnTo>
                        <a:pt x="50" y="43"/>
                      </a:lnTo>
                      <a:lnTo>
                        <a:pt x="53" y="38"/>
                      </a:lnTo>
                      <a:lnTo>
                        <a:pt x="54" y="34"/>
                      </a:lnTo>
                      <a:lnTo>
                        <a:pt x="55" y="28"/>
                      </a:lnTo>
                      <a:lnTo>
                        <a:pt x="55" y="28"/>
                      </a:lnTo>
                      <a:lnTo>
                        <a:pt x="54" y="23"/>
                      </a:lnTo>
                      <a:lnTo>
                        <a:pt x="53" y="17"/>
                      </a:lnTo>
                      <a:lnTo>
                        <a:pt x="50" y="12"/>
                      </a:lnTo>
                      <a:lnTo>
                        <a:pt x="47" y="9"/>
                      </a:lnTo>
                      <a:lnTo>
                        <a:pt x="43" y="5"/>
                      </a:lnTo>
                      <a:lnTo>
                        <a:pt x="38" y="3"/>
                      </a:lnTo>
                      <a:lnTo>
                        <a:pt x="32" y="2"/>
                      </a:lnTo>
                      <a:lnTo>
                        <a:pt x="28"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7" name="Freeform 448"/>
                <p:cNvSpPr>
                  <a:spLocks/>
                </p:cNvSpPr>
                <p:nvPr userDrawn="1"/>
              </p:nvSpPr>
              <p:spPr bwMode="auto">
                <a:xfrm>
                  <a:off x="10429421" y="3515811"/>
                  <a:ext cx="42863" cy="44450"/>
                </a:xfrm>
                <a:custGeom>
                  <a:avLst/>
                  <a:gdLst>
                    <a:gd name="T0" fmla="*/ 28 w 55"/>
                    <a:gd name="T1" fmla="*/ 0 h 55"/>
                    <a:gd name="T2" fmla="*/ 28 w 55"/>
                    <a:gd name="T3" fmla="*/ 0 h 55"/>
                    <a:gd name="T4" fmla="*/ 22 w 55"/>
                    <a:gd name="T5" fmla="*/ 2 h 55"/>
                    <a:gd name="T6" fmla="*/ 17 w 55"/>
                    <a:gd name="T7" fmla="*/ 3 h 55"/>
                    <a:gd name="T8" fmla="*/ 12 w 55"/>
                    <a:gd name="T9" fmla="*/ 5 h 55"/>
                    <a:gd name="T10" fmla="*/ 9 w 55"/>
                    <a:gd name="T11" fmla="*/ 9 h 55"/>
                    <a:gd name="T12" fmla="*/ 5 w 55"/>
                    <a:gd name="T13" fmla="*/ 12 h 55"/>
                    <a:gd name="T14" fmla="*/ 3 w 55"/>
                    <a:gd name="T15" fmla="*/ 17 h 55"/>
                    <a:gd name="T16" fmla="*/ 0 w 55"/>
                    <a:gd name="T17" fmla="*/ 23 h 55"/>
                    <a:gd name="T18" fmla="*/ 0 w 55"/>
                    <a:gd name="T19" fmla="*/ 28 h 55"/>
                    <a:gd name="T20" fmla="*/ 0 w 55"/>
                    <a:gd name="T21" fmla="*/ 28 h 55"/>
                    <a:gd name="T22" fmla="*/ 0 w 55"/>
                    <a:gd name="T23" fmla="*/ 34 h 55"/>
                    <a:gd name="T24" fmla="*/ 3 w 55"/>
                    <a:gd name="T25" fmla="*/ 38 h 55"/>
                    <a:gd name="T26" fmla="*/ 5 w 55"/>
                    <a:gd name="T27" fmla="*/ 43 h 55"/>
                    <a:gd name="T28" fmla="*/ 9 w 55"/>
                    <a:gd name="T29" fmla="*/ 48 h 55"/>
                    <a:gd name="T30" fmla="*/ 12 w 55"/>
                    <a:gd name="T31" fmla="*/ 50 h 55"/>
                    <a:gd name="T32" fmla="*/ 17 w 55"/>
                    <a:gd name="T33" fmla="*/ 54 h 55"/>
                    <a:gd name="T34" fmla="*/ 22 w 55"/>
                    <a:gd name="T35" fmla="*/ 55 h 55"/>
                    <a:gd name="T36" fmla="*/ 28 w 55"/>
                    <a:gd name="T37" fmla="*/ 55 h 55"/>
                    <a:gd name="T38" fmla="*/ 28 w 55"/>
                    <a:gd name="T39" fmla="*/ 55 h 55"/>
                    <a:gd name="T40" fmla="*/ 32 w 55"/>
                    <a:gd name="T41" fmla="*/ 55 h 55"/>
                    <a:gd name="T42" fmla="*/ 38 w 55"/>
                    <a:gd name="T43" fmla="*/ 54 h 55"/>
                    <a:gd name="T44" fmla="*/ 43 w 55"/>
                    <a:gd name="T45" fmla="*/ 50 h 55"/>
                    <a:gd name="T46" fmla="*/ 47 w 55"/>
                    <a:gd name="T47" fmla="*/ 48 h 55"/>
                    <a:gd name="T48" fmla="*/ 50 w 55"/>
                    <a:gd name="T49" fmla="*/ 43 h 55"/>
                    <a:gd name="T50" fmla="*/ 53 w 55"/>
                    <a:gd name="T51" fmla="*/ 38 h 55"/>
                    <a:gd name="T52" fmla="*/ 54 w 55"/>
                    <a:gd name="T53" fmla="*/ 34 h 55"/>
                    <a:gd name="T54" fmla="*/ 55 w 55"/>
                    <a:gd name="T55" fmla="*/ 28 h 55"/>
                    <a:gd name="T56" fmla="*/ 55 w 55"/>
                    <a:gd name="T57" fmla="*/ 28 h 55"/>
                    <a:gd name="T58" fmla="*/ 54 w 55"/>
                    <a:gd name="T59" fmla="*/ 23 h 55"/>
                    <a:gd name="T60" fmla="*/ 53 w 55"/>
                    <a:gd name="T61" fmla="*/ 17 h 55"/>
                    <a:gd name="T62" fmla="*/ 50 w 55"/>
                    <a:gd name="T63" fmla="*/ 12 h 55"/>
                    <a:gd name="T64" fmla="*/ 47 w 55"/>
                    <a:gd name="T65" fmla="*/ 9 h 55"/>
                    <a:gd name="T66" fmla="*/ 43 w 55"/>
                    <a:gd name="T67" fmla="*/ 5 h 55"/>
                    <a:gd name="T68" fmla="*/ 38 w 55"/>
                    <a:gd name="T69" fmla="*/ 3 h 55"/>
                    <a:gd name="T70" fmla="*/ 32 w 55"/>
                    <a:gd name="T71" fmla="*/ 2 h 55"/>
                    <a:gd name="T72" fmla="*/ 28 w 55"/>
                    <a:gd name="T7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5">
                      <a:moveTo>
                        <a:pt x="28" y="0"/>
                      </a:moveTo>
                      <a:lnTo>
                        <a:pt x="28" y="0"/>
                      </a:lnTo>
                      <a:lnTo>
                        <a:pt x="22" y="2"/>
                      </a:lnTo>
                      <a:lnTo>
                        <a:pt x="17" y="3"/>
                      </a:lnTo>
                      <a:lnTo>
                        <a:pt x="12" y="5"/>
                      </a:lnTo>
                      <a:lnTo>
                        <a:pt x="9" y="9"/>
                      </a:lnTo>
                      <a:lnTo>
                        <a:pt x="5" y="12"/>
                      </a:lnTo>
                      <a:lnTo>
                        <a:pt x="3" y="17"/>
                      </a:lnTo>
                      <a:lnTo>
                        <a:pt x="0" y="23"/>
                      </a:lnTo>
                      <a:lnTo>
                        <a:pt x="0" y="28"/>
                      </a:lnTo>
                      <a:lnTo>
                        <a:pt x="0" y="28"/>
                      </a:lnTo>
                      <a:lnTo>
                        <a:pt x="0" y="34"/>
                      </a:lnTo>
                      <a:lnTo>
                        <a:pt x="3" y="38"/>
                      </a:lnTo>
                      <a:lnTo>
                        <a:pt x="5" y="43"/>
                      </a:lnTo>
                      <a:lnTo>
                        <a:pt x="9" y="48"/>
                      </a:lnTo>
                      <a:lnTo>
                        <a:pt x="12" y="50"/>
                      </a:lnTo>
                      <a:lnTo>
                        <a:pt x="17" y="54"/>
                      </a:lnTo>
                      <a:lnTo>
                        <a:pt x="22" y="55"/>
                      </a:lnTo>
                      <a:lnTo>
                        <a:pt x="28" y="55"/>
                      </a:lnTo>
                      <a:lnTo>
                        <a:pt x="28" y="55"/>
                      </a:lnTo>
                      <a:lnTo>
                        <a:pt x="32" y="55"/>
                      </a:lnTo>
                      <a:lnTo>
                        <a:pt x="38" y="54"/>
                      </a:lnTo>
                      <a:lnTo>
                        <a:pt x="43" y="50"/>
                      </a:lnTo>
                      <a:lnTo>
                        <a:pt x="47" y="48"/>
                      </a:lnTo>
                      <a:lnTo>
                        <a:pt x="50" y="43"/>
                      </a:lnTo>
                      <a:lnTo>
                        <a:pt x="53" y="38"/>
                      </a:lnTo>
                      <a:lnTo>
                        <a:pt x="54" y="34"/>
                      </a:lnTo>
                      <a:lnTo>
                        <a:pt x="55" y="28"/>
                      </a:lnTo>
                      <a:lnTo>
                        <a:pt x="55" y="28"/>
                      </a:lnTo>
                      <a:lnTo>
                        <a:pt x="54" y="23"/>
                      </a:lnTo>
                      <a:lnTo>
                        <a:pt x="53" y="17"/>
                      </a:lnTo>
                      <a:lnTo>
                        <a:pt x="50" y="12"/>
                      </a:lnTo>
                      <a:lnTo>
                        <a:pt x="47" y="9"/>
                      </a:lnTo>
                      <a:lnTo>
                        <a:pt x="43" y="5"/>
                      </a:lnTo>
                      <a:lnTo>
                        <a:pt x="38" y="3"/>
                      </a:lnTo>
                      <a:lnTo>
                        <a:pt x="32" y="2"/>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8" name="Freeform 449"/>
                <p:cNvSpPr>
                  <a:spLocks/>
                </p:cNvSpPr>
                <p:nvPr userDrawn="1"/>
              </p:nvSpPr>
              <p:spPr bwMode="auto">
                <a:xfrm>
                  <a:off x="10432596" y="3520574"/>
                  <a:ext cx="34925" cy="34925"/>
                </a:xfrm>
                <a:custGeom>
                  <a:avLst/>
                  <a:gdLst>
                    <a:gd name="T0" fmla="*/ 0 w 44"/>
                    <a:gd name="T1" fmla="*/ 22 h 44"/>
                    <a:gd name="T2" fmla="*/ 0 w 44"/>
                    <a:gd name="T3" fmla="*/ 22 h 44"/>
                    <a:gd name="T4" fmla="*/ 1 w 44"/>
                    <a:gd name="T5" fmla="*/ 27 h 44"/>
                    <a:gd name="T6" fmla="*/ 2 w 44"/>
                    <a:gd name="T7" fmla="*/ 31 h 44"/>
                    <a:gd name="T8" fmla="*/ 4 w 44"/>
                    <a:gd name="T9" fmla="*/ 35 h 44"/>
                    <a:gd name="T10" fmla="*/ 7 w 44"/>
                    <a:gd name="T11" fmla="*/ 37 h 44"/>
                    <a:gd name="T12" fmla="*/ 9 w 44"/>
                    <a:gd name="T13" fmla="*/ 41 h 44"/>
                    <a:gd name="T14" fmla="*/ 14 w 44"/>
                    <a:gd name="T15" fmla="*/ 42 h 44"/>
                    <a:gd name="T16" fmla="*/ 18 w 44"/>
                    <a:gd name="T17" fmla="*/ 44 h 44"/>
                    <a:gd name="T18" fmla="*/ 23 w 44"/>
                    <a:gd name="T19" fmla="*/ 44 h 44"/>
                    <a:gd name="T20" fmla="*/ 23 w 44"/>
                    <a:gd name="T21" fmla="*/ 44 h 44"/>
                    <a:gd name="T22" fmla="*/ 27 w 44"/>
                    <a:gd name="T23" fmla="*/ 44 h 44"/>
                    <a:gd name="T24" fmla="*/ 31 w 44"/>
                    <a:gd name="T25" fmla="*/ 42 h 44"/>
                    <a:gd name="T26" fmla="*/ 34 w 44"/>
                    <a:gd name="T27" fmla="*/ 41 h 44"/>
                    <a:gd name="T28" fmla="*/ 38 w 44"/>
                    <a:gd name="T29" fmla="*/ 37 h 44"/>
                    <a:gd name="T30" fmla="*/ 40 w 44"/>
                    <a:gd name="T31" fmla="*/ 35 h 44"/>
                    <a:gd name="T32" fmla="*/ 43 w 44"/>
                    <a:gd name="T33" fmla="*/ 31 h 44"/>
                    <a:gd name="T34" fmla="*/ 44 w 44"/>
                    <a:gd name="T35" fmla="*/ 27 h 44"/>
                    <a:gd name="T36" fmla="*/ 44 w 44"/>
                    <a:gd name="T37" fmla="*/ 22 h 44"/>
                    <a:gd name="T38" fmla="*/ 44 w 44"/>
                    <a:gd name="T39" fmla="*/ 22 h 44"/>
                    <a:gd name="T40" fmla="*/ 44 w 44"/>
                    <a:gd name="T41" fmla="*/ 18 h 44"/>
                    <a:gd name="T42" fmla="*/ 43 w 44"/>
                    <a:gd name="T43" fmla="*/ 13 h 44"/>
                    <a:gd name="T44" fmla="*/ 40 w 44"/>
                    <a:gd name="T45" fmla="*/ 10 h 44"/>
                    <a:gd name="T46" fmla="*/ 38 w 44"/>
                    <a:gd name="T47" fmla="*/ 6 h 44"/>
                    <a:gd name="T48" fmla="*/ 34 w 44"/>
                    <a:gd name="T49" fmla="*/ 4 h 44"/>
                    <a:gd name="T50" fmla="*/ 31 w 44"/>
                    <a:gd name="T51" fmla="*/ 2 h 44"/>
                    <a:gd name="T52" fmla="*/ 27 w 44"/>
                    <a:gd name="T53" fmla="*/ 0 h 44"/>
                    <a:gd name="T54" fmla="*/ 23 w 44"/>
                    <a:gd name="T55" fmla="*/ 0 h 44"/>
                    <a:gd name="T56" fmla="*/ 23 w 44"/>
                    <a:gd name="T57" fmla="*/ 0 h 44"/>
                    <a:gd name="T58" fmla="*/ 18 w 44"/>
                    <a:gd name="T59" fmla="*/ 0 h 44"/>
                    <a:gd name="T60" fmla="*/ 14 w 44"/>
                    <a:gd name="T61" fmla="*/ 2 h 44"/>
                    <a:gd name="T62" fmla="*/ 9 w 44"/>
                    <a:gd name="T63" fmla="*/ 4 h 44"/>
                    <a:gd name="T64" fmla="*/ 7 w 44"/>
                    <a:gd name="T65" fmla="*/ 6 h 44"/>
                    <a:gd name="T66" fmla="*/ 4 w 44"/>
                    <a:gd name="T67" fmla="*/ 10 h 44"/>
                    <a:gd name="T68" fmla="*/ 2 w 44"/>
                    <a:gd name="T69" fmla="*/ 13 h 44"/>
                    <a:gd name="T70" fmla="*/ 1 w 44"/>
                    <a:gd name="T71" fmla="*/ 18 h 44"/>
                    <a:gd name="T72" fmla="*/ 0 w 44"/>
                    <a:gd name="T73" fmla="*/ 22 h 44"/>
                    <a:gd name="T74" fmla="*/ 0 w 44"/>
                    <a:gd name="T75"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 h="44">
                      <a:moveTo>
                        <a:pt x="0" y="22"/>
                      </a:moveTo>
                      <a:lnTo>
                        <a:pt x="0" y="22"/>
                      </a:lnTo>
                      <a:lnTo>
                        <a:pt x="1" y="27"/>
                      </a:lnTo>
                      <a:lnTo>
                        <a:pt x="2" y="31"/>
                      </a:lnTo>
                      <a:lnTo>
                        <a:pt x="4" y="35"/>
                      </a:lnTo>
                      <a:lnTo>
                        <a:pt x="7" y="37"/>
                      </a:lnTo>
                      <a:lnTo>
                        <a:pt x="9" y="41"/>
                      </a:lnTo>
                      <a:lnTo>
                        <a:pt x="14" y="42"/>
                      </a:lnTo>
                      <a:lnTo>
                        <a:pt x="18" y="44"/>
                      </a:lnTo>
                      <a:lnTo>
                        <a:pt x="23" y="44"/>
                      </a:lnTo>
                      <a:lnTo>
                        <a:pt x="23" y="44"/>
                      </a:lnTo>
                      <a:lnTo>
                        <a:pt x="27" y="44"/>
                      </a:lnTo>
                      <a:lnTo>
                        <a:pt x="31" y="42"/>
                      </a:lnTo>
                      <a:lnTo>
                        <a:pt x="34" y="41"/>
                      </a:lnTo>
                      <a:lnTo>
                        <a:pt x="38" y="37"/>
                      </a:lnTo>
                      <a:lnTo>
                        <a:pt x="40" y="35"/>
                      </a:lnTo>
                      <a:lnTo>
                        <a:pt x="43" y="31"/>
                      </a:lnTo>
                      <a:lnTo>
                        <a:pt x="44" y="27"/>
                      </a:lnTo>
                      <a:lnTo>
                        <a:pt x="44" y="22"/>
                      </a:lnTo>
                      <a:lnTo>
                        <a:pt x="44" y="22"/>
                      </a:lnTo>
                      <a:lnTo>
                        <a:pt x="44" y="18"/>
                      </a:lnTo>
                      <a:lnTo>
                        <a:pt x="43" y="13"/>
                      </a:lnTo>
                      <a:lnTo>
                        <a:pt x="40" y="10"/>
                      </a:lnTo>
                      <a:lnTo>
                        <a:pt x="38" y="6"/>
                      </a:lnTo>
                      <a:lnTo>
                        <a:pt x="34" y="4"/>
                      </a:lnTo>
                      <a:lnTo>
                        <a:pt x="31" y="2"/>
                      </a:lnTo>
                      <a:lnTo>
                        <a:pt x="27" y="0"/>
                      </a:lnTo>
                      <a:lnTo>
                        <a:pt x="23" y="0"/>
                      </a:lnTo>
                      <a:lnTo>
                        <a:pt x="23" y="0"/>
                      </a:lnTo>
                      <a:lnTo>
                        <a:pt x="18" y="0"/>
                      </a:lnTo>
                      <a:lnTo>
                        <a:pt x="14" y="2"/>
                      </a:lnTo>
                      <a:lnTo>
                        <a:pt x="9" y="4"/>
                      </a:lnTo>
                      <a:lnTo>
                        <a:pt x="7" y="6"/>
                      </a:lnTo>
                      <a:lnTo>
                        <a:pt x="4" y="10"/>
                      </a:lnTo>
                      <a:lnTo>
                        <a:pt x="2" y="13"/>
                      </a:lnTo>
                      <a:lnTo>
                        <a:pt x="1" y="18"/>
                      </a:lnTo>
                      <a:lnTo>
                        <a:pt x="0" y="22"/>
                      </a:lnTo>
                      <a:lnTo>
                        <a:pt x="0" y="22"/>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9" name="Freeform 450"/>
                <p:cNvSpPr>
                  <a:spLocks/>
                </p:cNvSpPr>
                <p:nvPr userDrawn="1"/>
              </p:nvSpPr>
              <p:spPr bwMode="auto">
                <a:xfrm>
                  <a:off x="10432596" y="3520574"/>
                  <a:ext cx="34925" cy="17463"/>
                </a:xfrm>
                <a:custGeom>
                  <a:avLst/>
                  <a:gdLst>
                    <a:gd name="T0" fmla="*/ 23 w 44"/>
                    <a:gd name="T1" fmla="*/ 0 h 22"/>
                    <a:gd name="T2" fmla="*/ 23 w 44"/>
                    <a:gd name="T3" fmla="*/ 0 h 22"/>
                    <a:gd name="T4" fmla="*/ 27 w 44"/>
                    <a:gd name="T5" fmla="*/ 0 h 22"/>
                    <a:gd name="T6" fmla="*/ 31 w 44"/>
                    <a:gd name="T7" fmla="*/ 2 h 22"/>
                    <a:gd name="T8" fmla="*/ 34 w 44"/>
                    <a:gd name="T9" fmla="*/ 4 h 22"/>
                    <a:gd name="T10" fmla="*/ 38 w 44"/>
                    <a:gd name="T11" fmla="*/ 6 h 22"/>
                    <a:gd name="T12" fmla="*/ 40 w 44"/>
                    <a:gd name="T13" fmla="*/ 10 h 22"/>
                    <a:gd name="T14" fmla="*/ 43 w 44"/>
                    <a:gd name="T15" fmla="*/ 13 h 22"/>
                    <a:gd name="T16" fmla="*/ 44 w 44"/>
                    <a:gd name="T17" fmla="*/ 18 h 22"/>
                    <a:gd name="T18" fmla="*/ 44 w 44"/>
                    <a:gd name="T19" fmla="*/ 22 h 22"/>
                    <a:gd name="T20" fmla="*/ 0 w 44"/>
                    <a:gd name="T21" fmla="*/ 22 h 22"/>
                    <a:gd name="T22" fmla="*/ 0 w 44"/>
                    <a:gd name="T23" fmla="*/ 22 h 22"/>
                    <a:gd name="T24" fmla="*/ 1 w 44"/>
                    <a:gd name="T25" fmla="*/ 18 h 22"/>
                    <a:gd name="T26" fmla="*/ 2 w 44"/>
                    <a:gd name="T27" fmla="*/ 13 h 22"/>
                    <a:gd name="T28" fmla="*/ 4 w 44"/>
                    <a:gd name="T29" fmla="*/ 10 h 22"/>
                    <a:gd name="T30" fmla="*/ 7 w 44"/>
                    <a:gd name="T31" fmla="*/ 6 h 22"/>
                    <a:gd name="T32" fmla="*/ 9 w 44"/>
                    <a:gd name="T33" fmla="*/ 4 h 22"/>
                    <a:gd name="T34" fmla="*/ 14 w 44"/>
                    <a:gd name="T35" fmla="*/ 2 h 22"/>
                    <a:gd name="T36" fmla="*/ 18 w 44"/>
                    <a:gd name="T37" fmla="*/ 0 h 22"/>
                    <a:gd name="T38" fmla="*/ 23 w 44"/>
                    <a:gd name="T39" fmla="*/ 0 h 22"/>
                    <a:gd name="T40" fmla="*/ 23 w 4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 h="22">
                      <a:moveTo>
                        <a:pt x="23" y="0"/>
                      </a:moveTo>
                      <a:lnTo>
                        <a:pt x="23" y="0"/>
                      </a:lnTo>
                      <a:lnTo>
                        <a:pt x="27" y="0"/>
                      </a:lnTo>
                      <a:lnTo>
                        <a:pt x="31" y="2"/>
                      </a:lnTo>
                      <a:lnTo>
                        <a:pt x="34" y="4"/>
                      </a:lnTo>
                      <a:lnTo>
                        <a:pt x="38" y="6"/>
                      </a:lnTo>
                      <a:lnTo>
                        <a:pt x="40" y="10"/>
                      </a:lnTo>
                      <a:lnTo>
                        <a:pt x="43" y="13"/>
                      </a:lnTo>
                      <a:lnTo>
                        <a:pt x="44" y="18"/>
                      </a:lnTo>
                      <a:lnTo>
                        <a:pt x="44" y="22"/>
                      </a:lnTo>
                      <a:lnTo>
                        <a:pt x="0" y="22"/>
                      </a:lnTo>
                      <a:lnTo>
                        <a:pt x="0" y="22"/>
                      </a:lnTo>
                      <a:lnTo>
                        <a:pt x="1" y="18"/>
                      </a:lnTo>
                      <a:lnTo>
                        <a:pt x="2" y="13"/>
                      </a:lnTo>
                      <a:lnTo>
                        <a:pt x="4" y="10"/>
                      </a:lnTo>
                      <a:lnTo>
                        <a:pt x="7" y="6"/>
                      </a:lnTo>
                      <a:lnTo>
                        <a:pt x="9" y="4"/>
                      </a:lnTo>
                      <a:lnTo>
                        <a:pt x="14" y="2"/>
                      </a:lnTo>
                      <a:lnTo>
                        <a:pt x="18" y="0"/>
                      </a:lnTo>
                      <a:lnTo>
                        <a:pt x="23" y="0"/>
                      </a:lnTo>
                      <a:lnTo>
                        <a:pt x="23"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0" name="Freeform 451"/>
                <p:cNvSpPr>
                  <a:spLocks/>
                </p:cNvSpPr>
                <p:nvPr userDrawn="1"/>
              </p:nvSpPr>
              <p:spPr bwMode="auto">
                <a:xfrm>
                  <a:off x="10502446" y="3572961"/>
                  <a:ext cx="44450" cy="42863"/>
                </a:xfrm>
                <a:custGeom>
                  <a:avLst/>
                  <a:gdLst>
                    <a:gd name="T0" fmla="*/ 27 w 55"/>
                    <a:gd name="T1" fmla="*/ 0 h 54"/>
                    <a:gd name="T2" fmla="*/ 27 w 55"/>
                    <a:gd name="T3" fmla="*/ 0 h 54"/>
                    <a:gd name="T4" fmla="*/ 21 w 55"/>
                    <a:gd name="T5" fmla="*/ 1 h 54"/>
                    <a:gd name="T6" fmla="*/ 17 w 55"/>
                    <a:gd name="T7" fmla="*/ 2 h 54"/>
                    <a:gd name="T8" fmla="*/ 12 w 55"/>
                    <a:gd name="T9" fmla="*/ 5 h 54"/>
                    <a:gd name="T10" fmla="*/ 8 w 55"/>
                    <a:gd name="T11" fmla="*/ 8 h 54"/>
                    <a:gd name="T12" fmla="*/ 5 w 55"/>
                    <a:gd name="T13" fmla="*/ 13 h 54"/>
                    <a:gd name="T14" fmla="*/ 2 w 55"/>
                    <a:gd name="T15" fmla="*/ 16 h 54"/>
                    <a:gd name="T16" fmla="*/ 0 w 55"/>
                    <a:gd name="T17" fmla="*/ 22 h 54"/>
                    <a:gd name="T18" fmla="*/ 0 w 55"/>
                    <a:gd name="T19" fmla="*/ 27 h 54"/>
                    <a:gd name="T20" fmla="*/ 0 w 55"/>
                    <a:gd name="T21" fmla="*/ 27 h 54"/>
                    <a:gd name="T22" fmla="*/ 0 w 55"/>
                    <a:gd name="T23" fmla="*/ 33 h 54"/>
                    <a:gd name="T24" fmla="*/ 2 w 55"/>
                    <a:gd name="T25" fmla="*/ 38 h 54"/>
                    <a:gd name="T26" fmla="*/ 5 w 55"/>
                    <a:gd name="T27" fmla="*/ 43 h 54"/>
                    <a:gd name="T28" fmla="*/ 8 w 55"/>
                    <a:gd name="T29" fmla="*/ 47 h 54"/>
                    <a:gd name="T30" fmla="*/ 12 w 55"/>
                    <a:gd name="T31" fmla="*/ 51 h 54"/>
                    <a:gd name="T32" fmla="*/ 17 w 55"/>
                    <a:gd name="T33" fmla="*/ 53 h 54"/>
                    <a:gd name="T34" fmla="*/ 21 w 55"/>
                    <a:gd name="T35" fmla="*/ 54 h 54"/>
                    <a:gd name="T36" fmla="*/ 27 w 55"/>
                    <a:gd name="T37" fmla="*/ 54 h 54"/>
                    <a:gd name="T38" fmla="*/ 27 w 55"/>
                    <a:gd name="T39" fmla="*/ 54 h 54"/>
                    <a:gd name="T40" fmla="*/ 33 w 55"/>
                    <a:gd name="T41" fmla="*/ 54 h 54"/>
                    <a:gd name="T42" fmla="*/ 38 w 55"/>
                    <a:gd name="T43" fmla="*/ 53 h 54"/>
                    <a:gd name="T44" fmla="*/ 43 w 55"/>
                    <a:gd name="T45" fmla="*/ 51 h 54"/>
                    <a:gd name="T46" fmla="*/ 46 w 55"/>
                    <a:gd name="T47" fmla="*/ 47 h 54"/>
                    <a:gd name="T48" fmla="*/ 50 w 55"/>
                    <a:gd name="T49" fmla="*/ 43 h 54"/>
                    <a:gd name="T50" fmla="*/ 52 w 55"/>
                    <a:gd name="T51" fmla="*/ 38 h 54"/>
                    <a:gd name="T52" fmla="*/ 55 w 55"/>
                    <a:gd name="T53" fmla="*/ 33 h 54"/>
                    <a:gd name="T54" fmla="*/ 55 w 55"/>
                    <a:gd name="T55" fmla="*/ 27 h 54"/>
                    <a:gd name="T56" fmla="*/ 55 w 55"/>
                    <a:gd name="T57" fmla="*/ 27 h 54"/>
                    <a:gd name="T58" fmla="*/ 55 w 55"/>
                    <a:gd name="T59" fmla="*/ 22 h 54"/>
                    <a:gd name="T60" fmla="*/ 52 w 55"/>
                    <a:gd name="T61" fmla="*/ 16 h 54"/>
                    <a:gd name="T62" fmla="*/ 50 w 55"/>
                    <a:gd name="T63" fmla="*/ 13 h 54"/>
                    <a:gd name="T64" fmla="*/ 46 w 55"/>
                    <a:gd name="T65" fmla="*/ 8 h 54"/>
                    <a:gd name="T66" fmla="*/ 43 w 55"/>
                    <a:gd name="T67" fmla="*/ 5 h 54"/>
                    <a:gd name="T68" fmla="*/ 38 w 55"/>
                    <a:gd name="T69" fmla="*/ 2 h 54"/>
                    <a:gd name="T70" fmla="*/ 33 w 55"/>
                    <a:gd name="T71" fmla="*/ 1 h 54"/>
                    <a:gd name="T72" fmla="*/ 27 w 55"/>
                    <a:gd name="T7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4">
                      <a:moveTo>
                        <a:pt x="27" y="0"/>
                      </a:moveTo>
                      <a:lnTo>
                        <a:pt x="27" y="0"/>
                      </a:lnTo>
                      <a:lnTo>
                        <a:pt x="21" y="1"/>
                      </a:lnTo>
                      <a:lnTo>
                        <a:pt x="17" y="2"/>
                      </a:lnTo>
                      <a:lnTo>
                        <a:pt x="12" y="5"/>
                      </a:lnTo>
                      <a:lnTo>
                        <a:pt x="8" y="8"/>
                      </a:lnTo>
                      <a:lnTo>
                        <a:pt x="5" y="13"/>
                      </a:lnTo>
                      <a:lnTo>
                        <a:pt x="2" y="16"/>
                      </a:lnTo>
                      <a:lnTo>
                        <a:pt x="0" y="22"/>
                      </a:lnTo>
                      <a:lnTo>
                        <a:pt x="0" y="27"/>
                      </a:lnTo>
                      <a:lnTo>
                        <a:pt x="0" y="27"/>
                      </a:lnTo>
                      <a:lnTo>
                        <a:pt x="0" y="33"/>
                      </a:lnTo>
                      <a:lnTo>
                        <a:pt x="2" y="38"/>
                      </a:lnTo>
                      <a:lnTo>
                        <a:pt x="5" y="43"/>
                      </a:lnTo>
                      <a:lnTo>
                        <a:pt x="8" y="47"/>
                      </a:lnTo>
                      <a:lnTo>
                        <a:pt x="12" y="51"/>
                      </a:lnTo>
                      <a:lnTo>
                        <a:pt x="17" y="53"/>
                      </a:lnTo>
                      <a:lnTo>
                        <a:pt x="21" y="54"/>
                      </a:lnTo>
                      <a:lnTo>
                        <a:pt x="27" y="54"/>
                      </a:lnTo>
                      <a:lnTo>
                        <a:pt x="27" y="54"/>
                      </a:lnTo>
                      <a:lnTo>
                        <a:pt x="33" y="54"/>
                      </a:lnTo>
                      <a:lnTo>
                        <a:pt x="38" y="53"/>
                      </a:lnTo>
                      <a:lnTo>
                        <a:pt x="43" y="51"/>
                      </a:lnTo>
                      <a:lnTo>
                        <a:pt x="46" y="47"/>
                      </a:lnTo>
                      <a:lnTo>
                        <a:pt x="50" y="43"/>
                      </a:lnTo>
                      <a:lnTo>
                        <a:pt x="52" y="38"/>
                      </a:lnTo>
                      <a:lnTo>
                        <a:pt x="55" y="33"/>
                      </a:lnTo>
                      <a:lnTo>
                        <a:pt x="55" y="27"/>
                      </a:lnTo>
                      <a:lnTo>
                        <a:pt x="55" y="27"/>
                      </a:lnTo>
                      <a:lnTo>
                        <a:pt x="55" y="22"/>
                      </a:lnTo>
                      <a:lnTo>
                        <a:pt x="52" y="16"/>
                      </a:lnTo>
                      <a:lnTo>
                        <a:pt x="50" y="13"/>
                      </a:lnTo>
                      <a:lnTo>
                        <a:pt x="46" y="8"/>
                      </a:lnTo>
                      <a:lnTo>
                        <a:pt x="43" y="5"/>
                      </a:lnTo>
                      <a:lnTo>
                        <a:pt x="38" y="2"/>
                      </a:lnTo>
                      <a:lnTo>
                        <a:pt x="33" y="1"/>
                      </a:lnTo>
                      <a:lnTo>
                        <a:pt x="27" y="0"/>
                      </a:lnTo>
                      <a:close/>
                    </a:path>
                  </a:pathLst>
                </a:custGeom>
                <a:solidFill>
                  <a:srgbClr val="8A8A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1" name="Freeform 452"/>
                <p:cNvSpPr>
                  <a:spLocks/>
                </p:cNvSpPr>
                <p:nvPr userDrawn="1"/>
              </p:nvSpPr>
              <p:spPr bwMode="auto">
                <a:xfrm>
                  <a:off x="10502446" y="3572961"/>
                  <a:ext cx="44450" cy="42863"/>
                </a:xfrm>
                <a:custGeom>
                  <a:avLst/>
                  <a:gdLst>
                    <a:gd name="T0" fmla="*/ 27 w 55"/>
                    <a:gd name="T1" fmla="*/ 0 h 54"/>
                    <a:gd name="T2" fmla="*/ 27 w 55"/>
                    <a:gd name="T3" fmla="*/ 0 h 54"/>
                    <a:gd name="T4" fmla="*/ 21 w 55"/>
                    <a:gd name="T5" fmla="*/ 1 h 54"/>
                    <a:gd name="T6" fmla="*/ 17 w 55"/>
                    <a:gd name="T7" fmla="*/ 2 h 54"/>
                    <a:gd name="T8" fmla="*/ 12 w 55"/>
                    <a:gd name="T9" fmla="*/ 5 h 54"/>
                    <a:gd name="T10" fmla="*/ 8 w 55"/>
                    <a:gd name="T11" fmla="*/ 8 h 54"/>
                    <a:gd name="T12" fmla="*/ 5 w 55"/>
                    <a:gd name="T13" fmla="*/ 13 h 54"/>
                    <a:gd name="T14" fmla="*/ 2 w 55"/>
                    <a:gd name="T15" fmla="*/ 16 h 54"/>
                    <a:gd name="T16" fmla="*/ 0 w 55"/>
                    <a:gd name="T17" fmla="*/ 22 h 54"/>
                    <a:gd name="T18" fmla="*/ 0 w 55"/>
                    <a:gd name="T19" fmla="*/ 27 h 54"/>
                    <a:gd name="T20" fmla="*/ 0 w 55"/>
                    <a:gd name="T21" fmla="*/ 27 h 54"/>
                    <a:gd name="T22" fmla="*/ 0 w 55"/>
                    <a:gd name="T23" fmla="*/ 33 h 54"/>
                    <a:gd name="T24" fmla="*/ 2 w 55"/>
                    <a:gd name="T25" fmla="*/ 38 h 54"/>
                    <a:gd name="T26" fmla="*/ 5 w 55"/>
                    <a:gd name="T27" fmla="*/ 43 h 54"/>
                    <a:gd name="T28" fmla="*/ 8 w 55"/>
                    <a:gd name="T29" fmla="*/ 47 h 54"/>
                    <a:gd name="T30" fmla="*/ 12 w 55"/>
                    <a:gd name="T31" fmla="*/ 51 h 54"/>
                    <a:gd name="T32" fmla="*/ 17 w 55"/>
                    <a:gd name="T33" fmla="*/ 53 h 54"/>
                    <a:gd name="T34" fmla="*/ 21 w 55"/>
                    <a:gd name="T35" fmla="*/ 54 h 54"/>
                    <a:gd name="T36" fmla="*/ 27 w 55"/>
                    <a:gd name="T37" fmla="*/ 54 h 54"/>
                    <a:gd name="T38" fmla="*/ 27 w 55"/>
                    <a:gd name="T39" fmla="*/ 54 h 54"/>
                    <a:gd name="T40" fmla="*/ 33 w 55"/>
                    <a:gd name="T41" fmla="*/ 54 h 54"/>
                    <a:gd name="T42" fmla="*/ 38 w 55"/>
                    <a:gd name="T43" fmla="*/ 53 h 54"/>
                    <a:gd name="T44" fmla="*/ 43 w 55"/>
                    <a:gd name="T45" fmla="*/ 51 h 54"/>
                    <a:gd name="T46" fmla="*/ 46 w 55"/>
                    <a:gd name="T47" fmla="*/ 47 h 54"/>
                    <a:gd name="T48" fmla="*/ 50 w 55"/>
                    <a:gd name="T49" fmla="*/ 43 h 54"/>
                    <a:gd name="T50" fmla="*/ 52 w 55"/>
                    <a:gd name="T51" fmla="*/ 38 h 54"/>
                    <a:gd name="T52" fmla="*/ 55 w 55"/>
                    <a:gd name="T53" fmla="*/ 33 h 54"/>
                    <a:gd name="T54" fmla="*/ 55 w 55"/>
                    <a:gd name="T55" fmla="*/ 27 h 54"/>
                    <a:gd name="T56" fmla="*/ 55 w 55"/>
                    <a:gd name="T57" fmla="*/ 27 h 54"/>
                    <a:gd name="T58" fmla="*/ 55 w 55"/>
                    <a:gd name="T59" fmla="*/ 22 h 54"/>
                    <a:gd name="T60" fmla="*/ 52 w 55"/>
                    <a:gd name="T61" fmla="*/ 16 h 54"/>
                    <a:gd name="T62" fmla="*/ 50 w 55"/>
                    <a:gd name="T63" fmla="*/ 13 h 54"/>
                    <a:gd name="T64" fmla="*/ 46 w 55"/>
                    <a:gd name="T65" fmla="*/ 8 h 54"/>
                    <a:gd name="T66" fmla="*/ 43 w 55"/>
                    <a:gd name="T67" fmla="*/ 5 h 54"/>
                    <a:gd name="T68" fmla="*/ 38 w 55"/>
                    <a:gd name="T69" fmla="*/ 2 h 54"/>
                    <a:gd name="T70" fmla="*/ 33 w 55"/>
                    <a:gd name="T71" fmla="*/ 1 h 54"/>
                    <a:gd name="T72" fmla="*/ 27 w 55"/>
                    <a:gd name="T7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4">
                      <a:moveTo>
                        <a:pt x="27" y="0"/>
                      </a:moveTo>
                      <a:lnTo>
                        <a:pt x="27" y="0"/>
                      </a:lnTo>
                      <a:lnTo>
                        <a:pt x="21" y="1"/>
                      </a:lnTo>
                      <a:lnTo>
                        <a:pt x="17" y="2"/>
                      </a:lnTo>
                      <a:lnTo>
                        <a:pt x="12" y="5"/>
                      </a:lnTo>
                      <a:lnTo>
                        <a:pt x="8" y="8"/>
                      </a:lnTo>
                      <a:lnTo>
                        <a:pt x="5" y="13"/>
                      </a:lnTo>
                      <a:lnTo>
                        <a:pt x="2" y="16"/>
                      </a:lnTo>
                      <a:lnTo>
                        <a:pt x="0" y="22"/>
                      </a:lnTo>
                      <a:lnTo>
                        <a:pt x="0" y="27"/>
                      </a:lnTo>
                      <a:lnTo>
                        <a:pt x="0" y="27"/>
                      </a:lnTo>
                      <a:lnTo>
                        <a:pt x="0" y="33"/>
                      </a:lnTo>
                      <a:lnTo>
                        <a:pt x="2" y="38"/>
                      </a:lnTo>
                      <a:lnTo>
                        <a:pt x="5" y="43"/>
                      </a:lnTo>
                      <a:lnTo>
                        <a:pt x="8" y="47"/>
                      </a:lnTo>
                      <a:lnTo>
                        <a:pt x="12" y="51"/>
                      </a:lnTo>
                      <a:lnTo>
                        <a:pt x="17" y="53"/>
                      </a:lnTo>
                      <a:lnTo>
                        <a:pt x="21" y="54"/>
                      </a:lnTo>
                      <a:lnTo>
                        <a:pt x="27" y="54"/>
                      </a:lnTo>
                      <a:lnTo>
                        <a:pt x="27" y="54"/>
                      </a:lnTo>
                      <a:lnTo>
                        <a:pt x="33" y="54"/>
                      </a:lnTo>
                      <a:lnTo>
                        <a:pt x="38" y="53"/>
                      </a:lnTo>
                      <a:lnTo>
                        <a:pt x="43" y="51"/>
                      </a:lnTo>
                      <a:lnTo>
                        <a:pt x="46" y="47"/>
                      </a:lnTo>
                      <a:lnTo>
                        <a:pt x="50" y="43"/>
                      </a:lnTo>
                      <a:lnTo>
                        <a:pt x="52" y="38"/>
                      </a:lnTo>
                      <a:lnTo>
                        <a:pt x="55" y="33"/>
                      </a:lnTo>
                      <a:lnTo>
                        <a:pt x="55" y="27"/>
                      </a:lnTo>
                      <a:lnTo>
                        <a:pt x="55" y="27"/>
                      </a:lnTo>
                      <a:lnTo>
                        <a:pt x="55" y="22"/>
                      </a:lnTo>
                      <a:lnTo>
                        <a:pt x="52" y="16"/>
                      </a:lnTo>
                      <a:lnTo>
                        <a:pt x="50" y="13"/>
                      </a:lnTo>
                      <a:lnTo>
                        <a:pt x="46" y="8"/>
                      </a:lnTo>
                      <a:lnTo>
                        <a:pt x="43" y="5"/>
                      </a:lnTo>
                      <a:lnTo>
                        <a:pt x="38" y="2"/>
                      </a:lnTo>
                      <a:lnTo>
                        <a:pt x="33" y="1"/>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2" name="Freeform 453"/>
                <p:cNvSpPr>
                  <a:spLocks/>
                </p:cNvSpPr>
                <p:nvPr userDrawn="1"/>
              </p:nvSpPr>
              <p:spPr bwMode="auto">
                <a:xfrm>
                  <a:off x="10507208" y="3577724"/>
                  <a:ext cx="34925" cy="34925"/>
                </a:xfrm>
                <a:custGeom>
                  <a:avLst/>
                  <a:gdLst>
                    <a:gd name="T0" fmla="*/ 0 w 45"/>
                    <a:gd name="T1" fmla="*/ 21 h 44"/>
                    <a:gd name="T2" fmla="*/ 0 w 45"/>
                    <a:gd name="T3" fmla="*/ 21 h 44"/>
                    <a:gd name="T4" fmla="*/ 1 w 45"/>
                    <a:gd name="T5" fmla="*/ 26 h 44"/>
                    <a:gd name="T6" fmla="*/ 2 w 45"/>
                    <a:gd name="T7" fmla="*/ 31 h 44"/>
                    <a:gd name="T8" fmla="*/ 4 w 45"/>
                    <a:gd name="T9" fmla="*/ 34 h 44"/>
                    <a:gd name="T10" fmla="*/ 7 w 45"/>
                    <a:gd name="T11" fmla="*/ 38 h 44"/>
                    <a:gd name="T12" fmla="*/ 10 w 45"/>
                    <a:gd name="T13" fmla="*/ 40 h 44"/>
                    <a:gd name="T14" fmla="*/ 14 w 45"/>
                    <a:gd name="T15" fmla="*/ 43 h 44"/>
                    <a:gd name="T16" fmla="*/ 18 w 45"/>
                    <a:gd name="T17" fmla="*/ 44 h 44"/>
                    <a:gd name="T18" fmla="*/ 22 w 45"/>
                    <a:gd name="T19" fmla="*/ 44 h 44"/>
                    <a:gd name="T20" fmla="*/ 22 w 45"/>
                    <a:gd name="T21" fmla="*/ 44 h 44"/>
                    <a:gd name="T22" fmla="*/ 27 w 45"/>
                    <a:gd name="T23" fmla="*/ 44 h 44"/>
                    <a:gd name="T24" fmla="*/ 31 w 45"/>
                    <a:gd name="T25" fmla="*/ 43 h 44"/>
                    <a:gd name="T26" fmla="*/ 34 w 45"/>
                    <a:gd name="T27" fmla="*/ 40 h 44"/>
                    <a:gd name="T28" fmla="*/ 38 w 45"/>
                    <a:gd name="T29" fmla="*/ 38 h 44"/>
                    <a:gd name="T30" fmla="*/ 40 w 45"/>
                    <a:gd name="T31" fmla="*/ 34 h 44"/>
                    <a:gd name="T32" fmla="*/ 43 w 45"/>
                    <a:gd name="T33" fmla="*/ 31 h 44"/>
                    <a:gd name="T34" fmla="*/ 44 w 45"/>
                    <a:gd name="T35" fmla="*/ 26 h 44"/>
                    <a:gd name="T36" fmla="*/ 45 w 45"/>
                    <a:gd name="T37" fmla="*/ 21 h 44"/>
                    <a:gd name="T38" fmla="*/ 45 w 45"/>
                    <a:gd name="T39" fmla="*/ 21 h 44"/>
                    <a:gd name="T40" fmla="*/ 44 w 45"/>
                    <a:gd name="T41" fmla="*/ 18 h 44"/>
                    <a:gd name="T42" fmla="*/ 43 w 45"/>
                    <a:gd name="T43" fmla="*/ 13 h 44"/>
                    <a:gd name="T44" fmla="*/ 40 w 45"/>
                    <a:gd name="T45" fmla="*/ 9 h 44"/>
                    <a:gd name="T46" fmla="*/ 38 w 45"/>
                    <a:gd name="T47" fmla="*/ 6 h 44"/>
                    <a:gd name="T48" fmla="*/ 34 w 45"/>
                    <a:gd name="T49" fmla="*/ 3 h 44"/>
                    <a:gd name="T50" fmla="*/ 31 w 45"/>
                    <a:gd name="T51" fmla="*/ 1 h 44"/>
                    <a:gd name="T52" fmla="*/ 27 w 45"/>
                    <a:gd name="T53" fmla="*/ 0 h 44"/>
                    <a:gd name="T54" fmla="*/ 22 w 45"/>
                    <a:gd name="T55" fmla="*/ 0 h 44"/>
                    <a:gd name="T56" fmla="*/ 22 w 45"/>
                    <a:gd name="T57" fmla="*/ 0 h 44"/>
                    <a:gd name="T58" fmla="*/ 18 w 45"/>
                    <a:gd name="T59" fmla="*/ 0 h 44"/>
                    <a:gd name="T60" fmla="*/ 14 w 45"/>
                    <a:gd name="T61" fmla="*/ 1 h 44"/>
                    <a:gd name="T62" fmla="*/ 10 w 45"/>
                    <a:gd name="T63" fmla="*/ 3 h 44"/>
                    <a:gd name="T64" fmla="*/ 7 w 45"/>
                    <a:gd name="T65" fmla="*/ 6 h 44"/>
                    <a:gd name="T66" fmla="*/ 4 w 45"/>
                    <a:gd name="T67" fmla="*/ 9 h 44"/>
                    <a:gd name="T68" fmla="*/ 2 w 45"/>
                    <a:gd name="T69" fmla="*/ 13 h 44"/>
                    <a:gd name="T70" fmla="*/ 1 w 45"/>
                    <a:gd name="T71" fmla="*/ 18 h 44"/>
                    <a:gd name="T72" fmla="*/ 0 w 45"/>
                    <a:gd name="T73" fmla="*/ 21 h 44"/>
                    <a:gd name="T74" fmla="*/ 0 w 45"/>
                    <a:gd name="T75"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44">
                      <a:moveTo>
                        <a:pt x="0" y="21"/>
                      </a:moveTo>
                      <a:lnTo>
                        <a:pt x="0" y="21"/>
                      </a:lnTo>
                      <a:lnTo>
                        <a:pt x="1" y="26"/>
                      </a:lnTo>
                      <a:lnTo>
                        <a:pt x="2" y="31"/>
                      </a:lnTo>
                      <a:lnTo>
                        <a:pt x="4" y="34"/>
                      </a:lnTo>
                      <a:lnTo>
                        <a:pt x="7" y="38"/>
                      </a:lnTo>
                      <a:lnTo>
                        <a:pt x="10" y="40"/>
                      </a:lnTo>
                      <a:lnTo>
                        <a:pt x="14" y="43"/>
                      </a:lnTo>
                      <a:lnTo>
                        <a:pt x="18" y="44"/>
                      </a:lnTo>
                      <a:lnTo>
                        <a:pt x="22" y="44"/>
                      </a:lnTo>
                      <a:lnTo>
                        <a:pt x="22" y="44"/>
                      </a:lnTo>
                      <a:lnTo>
                        <a:pt x="27" y="44"/>
                      </a:lnTo>
                      <a:lnTo>
                        <a:pt x="31" y="43"/>
                      </a:lnTo>
                      <a:lnTo>
                        <a:pt x="34" y="40"/>
                      </a:lnTo>
                      <a:lnTo>
                        <a:pt x="38" y="38"/>
                      </a:lnTo>
                      <a:lnTo>
                        <a:pt x="40" y="34"/>
                      </a:lnTo>
                      <a:lnTo>
                        <a:pt x="43" y="31"/>
                      </a:lnTo>
                      <a:lnTo>
                        <a:pt x="44" y="26"/>
                      </a:lnTo>
                      <a:lnTo>
                        <a:pt x="45" y="21"/>
                      </a:lnTo>
                      <a:lnTo>
                        <a:pt x="45" y="21"/>
                      </a:lnTo>
                      <a:lnTo>
                        <a:pt x="44" y="18"/>
                      </a:lnTo>
                      <a:lnTo>
                        <a:pt x="43" y="13"/>
                      </a:lnTo>
                      <a:lnTo>
                        <a:pt x="40" y="9"/>
                      </a:lnTo>
                      <a:lnTo>
                        <a:pt x="38" y="6"/>
                      </a:lnTo>
                      <a:lnTo>
                        <a:pt x="34" y="3"/>
                      </a:lnTo>
                      <a:lnTo>
                        <a:pt x="31" y="1"/>
                      </a:lnTo>
                      <a:lnTo>
                        <a:pt x="27" y="0"/>
                      </a:lnTo>
                      <a:lnTo>
                        <a:pt x="22" y="0"/>
                      </a:lnTo>
                      <a:lnTo>
                        <a:pt x="22" y="0"/>
                      </a:lnTo>
                      <a:lnTo>
                        <a:pt x="18" y="0"/>
                      </a:lnTo>
                      <a:lnTo>
                        <a:pt x="14" y="1"/>
                      </a:lnTo>
                      <a:lnTo>
                        <a:pt x="10" y="3"/>
                      </a:lnTo>
                      <a:lnTo>
                        <a:pt x="7" y="6"/>
                      </a:lnTo>
                      <a:lnTo>
                        <a:pt x="4" y="9"/>
                      </a:lnTo>
                      <a:lnTo>
                        <a:pt x="2" y="13"/>
                      </a:lnTo>
                      <a:lnTo>
                        <a:pt x="1" y="18"/>
                      </a:lnTo>
                      <a:lnTo>
                        <a:pt x="0" y="21"/>
                      </a:lnTo>
                      <a:lnTo>
                        <a:pt x="0" y="21"/>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3" name="Freeform 454"/>
                <p:cNvSpPr>
                  <a:spLocks/>
                </p:cNvSpPr>
                <p:nvPr userDrawn="1"/>
              </p:nvSpPr>
              <p:spPr bwMode="auto">
                <a:xfrm>
                  <a:off x="10507208" y="3577724"/>
                  <a:ext cx="34925" cy="17463"/>
                </a:xfrm>
                <a:custGeom>
                  <a:avLst/>
                  <a:gdLst>
                    <a:gd name="T0" fmla="*/ 22 w 45"/>
                    <a:gd name="T1" fmla="*/ 0 h 21"/>
                    <a:gd name="T2" fmla="*/ 22 w 45"/>
                    <a:gd name="T3" fmla="*/ 0 h 21"/>
                    <a:gd name="T4" fmla="*/ 27 w 45"/>
                    <a:gd name="T5" fmla="*/ 0 h 21"/>
                    <a:gd name="T6" fmla="*/ 31 w 45"/>
                    <a:gd name="T7" fmla="*/ 1 h 21"/>
                    <a:gd name="T8" fmla="*/ 34 w 45"/>
                    <a:gd name="T9" fmla="*/ 3 h 21"/>
                    <a:gd name="T10" fmla="*/ 38 w 45"/>
                    <a:gd name="T11" fmla="*/ 6 h 21"/>
                    <a:gd name="T12" fmla="*/ 40 w 45"/>
                    <a:gd name="T13" fmla="*/ 9 h 21"/>
                    <a:gd name="T14" fmla="*/ 43 w 45"/>
                    <a:gd name="T15" fmla="*/ 13 h 21"/>
                    <a:gd name="T16" fmla="*/ 44 w 45"/>
                    <a:gd name="T17" fmla="*/ 18 h 21"/>
                    <a:gd name="T18" fmla="*/ 45 w 45"/>
                    <a:gd name="T19" fmla="*/ 21 h 21"/>
                    <a:gd name="T20" fmla="*/ 0 w 45"/>
                    <a:gd name="T21" fmla="*/ 21 h 21"/>
                    <a:gd name="T22" fmla="*/ 0 w 45"/>
                    <a:gd name="T23" fmla="*/ 21 h 21"/>
                    <a:gd name="T24" fmla="*/ 1 w 45"/>
                    <a:gd name="T25" fmla="*/ 18 h 21"/>
                    <a:gd name="T26" fmla="*/ 2 w 45"/>
                    <a:gd name="T27" fmla="*/ 13 h 21"/>
                    <a:gd name="T28" fmla="*/ 4 w 45"/>
                    <a:gd name="T29" fmla="*/ 9 h 21"/>
                    <a:gd name="T30" fmla="*/ 7 w 45"/>
                    <a:gd name="T31" fmla="*/ 6 h 21"/>
                    <a:gd name="T32" fmla="*/ 10 w 45"/>
                    <a:gd name="T33" fmla="*/ 3 h 21"/>
                    <a:gd name="T34" fmla="*/ 14 w 45"/>
                    <a:gd name="T35" fmla="*/ 1 h 21"/>
                    <a:gd name="T36" fmla="*/ 18 w 45"/>
                    <a:gd name="T37" fmla="*/ 0 h 21"/>
                    <a:gd name="T38" fmla="*/ 22 w 45"/>
                    <a:gd name="T39" fmla="*/ 0 h 21"/>
                    <a:gd name="T40" fmla="*/ 22 w 45"/>
                    <a:gd name="T4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21">
                      <a:moveTo>
                        <a:pt x="22" y="0"/>
                      </a:moveTo>
                      <a:lnTo>
                        <a:pt x="22" y="0"/>
                      </a:lnTo>
                      <a:lnTo>
                        <a:pt x="27" y="0"/>
                      </a:lnTo>
                      <a:lnTo>
                        <a:pt x="31" y="1"/>
                      </a:lnTo>
                      <a:lnTo>
                        <a:pt x="34" y="3"/>
                      </a:lnTo>
                      <a:lnTo>
                        <a:pt x="38" y="6"/>
                      </a:lnTo>
                      <a:lnTo>
                        <a:pt x="40" y="9"/>
                      </a:lnTo>
                      <a:lnTo>
                        <a:pt x="43" y="13"/>
                      </a:lnTo>
                      <a:lnTo>
                        <a:pt x="44" y="18"/>
                      </a:lnTo>
                      <a:lnTo>
                        <a:pt x="45" y="21"/>
                      </a:lnTo>
                      <a:lnTo>
                        <a:pt x="0" y="21"/>
                      </a:lnTo>
                      <a:lnTo>
                        <a:pt x="0" y="21"/>
                      </a:lnTo>
                      <a:lnTo>
                        <a:pt x="1" y="18"/>
                      </a:lnTo>
                      <a:lnTo>
                        <a:pt x="2" y="13"/>
                      </a:lnTo>
                      <a:lnTo>
                        <a:pt x="4" y="9"/>
                      </a:lnTo>
                      <a:lnTo>
                        <a:pt x="7" y="6"/>
                      </a:lnTo>
                      <a:lnTo>
                        <a:pt x="10" y="3"/>
                      </a:lnTo>
                      <a:lnTo>
                        <a:pt x="14" y="1"/>
                      </a:lnTo>
                      <a:lnTo>
                        <a:pt x="18" y="0"/>
                      </a:lnTo>
                      <a:lnTo>
                        <a:pt x="22" y="0"/>
                      </a:lnTo>
                      <a:lnTo>
                        <a:pt x="22"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4" name="Freeform 455"/>
                <p:cNvSpPr>
                  <a:spLocks/>
                </p:cNvSpPr>
                <p:nvPr userDrawn="1"/>
              </p:nvSpPr>
              <p:spPr bwMode="auto">
                <a:xfrm>
                  <a:off x="10502446" y="3515811"/>
                  <a:ext cx="44450" cy="44450"/>
                </a:xfrm>
                <a:custGeom>
                  <a:avLst/>
                  <a:gdLst>
                    <a:gd name="T0" fmla="*/ 27 w 55"/>
                    <a:gd name="T1" fmla="*/ 0 h 55"/>
                    <a:gd name="T2" fmla="*/ 27 w 55"/>
                    <a:gd name="T3" fmla="*/ 0 h 55"/>
                    <a:gd name="T4" fmla="*/ 21 w 55"/>
                    <a:gd name="T5" fmla="*/ 2 h 55"/>
                    <a:gd name="T6" fmla="*/ 17 w 55"/>
                    <a:gd name="T7" fmla="*/ 3 h 55"/>
                    <a:gd name="T8" fmla="*/ 12 w 55"/>
                    <a:gd name="T9" fmla="*/ 5 h 55"/>
                    <a:gd name="T10" fmla="*/ 8 w 55"/>
                    <a:gd name="T11" fmla="*/ 9 h 55"/>
                    <a:gd name="T12" fmla="*/ 5 w 55"/>
                    <a:gd name="T13" fmla="*/ 12 h 55"/>
                    <a:gd name="T14" fmla="*/ 2 w 55"/>
                    <a:gd name="T15" fmla="*/ 17 h 55"/>
                    <a:gd name="T16" fmla="*/ 0 w 55"/>
                    <a:gd name="T17" fmla="*/ 23 h 55"/>
                    <a:gd name="T18" fmla="*/ 0 w 55"/>
                    <a:gd name="T19" fmla="*/ 28 h 55"/>
                    <a:gd name="T20" fmla="*/ 0 w 55"/>
                    <a:gd name="T21" fmla="*/ 28 h 55"/>
                    <a:gd name="T22" fmla="*/ 0 w 55"/>
                    <a:gd name="T23" fmla="*/ 34 h 55"/>
                    <a:gd name="T24" fmla="*/ 2 w 55"/>
                    <a:gd name="T25" fmla="*/ 38 h 55"/>
                    <a:gd name="T26" fmla="*/ 5 w 55"/>
                    <a:gd name="T27" fmla="*/ 43 h 55"/>
                    <a:gd name="T28" fmla="*/ 8 w 55"/>
                    <a:gd name="T29" fmla="*/ 48 h 55"/>
                    <a:gd name="T30" fmla="*/ 12 w 55"/>
                    <a:gd name="T31" fmla="*/ 50 h 55"/>
                    <a:gd name="T32" fmla="*/ 17 w 55"/>
                    <a:gd name="T33" fmla="*/ 54 h 55"/>
                    <a:gd name="T34" fmla="*/ 21 w 55"/>
                    <a:gd name="T35" fmla="*/ 55 h 55"/>
                    <a:gd name="T36" fmla="*/ 27 w 55"/>
                    <a:gd name="T37" fmla="*/ 55 h 55"/>
                    <a:gd name="T38" fmla="*/ 27 w 55"/>
                    <a:gd name="T39" fmla="*/ 55 h 55"/>
                    <a:gd name="T40" fmla="*/ 33 w 55"/>
                    <a:gd name="T41" fmla="*/ 55 h 55"/>
                    <a:gd name="T42" fmla="*/ 38 w 55"/>
                    <a:gd name="T43" fmla="*/ 54 h 55"/>
                    <a:gd name="T44" fmla="*/ 43 w 55"/>
                    <a:gd name="T45" fmla="*/ 50 h 55"/>
                    <a:gd name="T46" fmla="*/ 46 w 55"/>
                    <a:gd name="T47" fmla="*/ 48 h 55"/>
                    <a:gd name="T48" fmla="*/ 50 w 55"/>
                    <a:gd name="T49" fmla="*/ 43 h 55"/>
                    <a:gd name="T50" fmla="*/ 52 w 55"/>
                    <a:gd name="T51" fmla="*/ 38 h 55"/>
                    <a:gd name="T52" fmla="*/ 55 w 55"/>
                    <a:gd name="T53" fmla="*/ 34 h 55"/>
                    <a:gd name="T54" fmla="*/ 55 w 55"/>
                    <a:gd name="T55" fmla="*/ 28 h 55"/>
                    <a:gd name="T56" fmla="*/ 55 w 55"/>
                    <a:gd name="T57" fmla="*/ 28 h 55"/>
                    <a:gd name="T58" fmla="*/ 55 w 55"/>
                    <a:gd name="T59" fmla="*/ 23 h 55"/>
                    <a:gd name="T60" fmla="*/ 52 w 55"/>
                    <a:gd name="T61" fmla="*/ 17 h 55"/>
                    <a:gd name="T62" fmla="*/ 50 w 55"/>
                    <a:gd name="T63" fmla="*/ 12 h 55"/>
                    <a:gd name="T64" fmla="*/ 46 w 55"/>
                    <a:gd name="T65" fmla="*/ 9 h 55"/>
                    <a:gd name="T66" fmla="*/ 43 w 55"/>
                    <a:gd name="T67" fmla="*/ 5 h 55"/>
                    <a:gd name="T68" fmla="*/ 38 w 55"/>
                    <a:gd name="T69" fmla="*/ 3 h 55"/>
                    <a:gd name="T70" fmla="*/ 33 w 55"/>
                    <a:gd name="T71" fmla="*/ 2 h 55"/>
                    <a:gd name="T72" fmla="*/ 27 w 55"/>
                    <a:gd name="T7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5">
                      <a:moveTo>
                        <a:pt x="27" y="0"/>
                      </a:moveTo>
                      <a:lnTo>
                        <a:pt x="27" y="0"/>
                      </a:lnTo>
                      <a:lnTo>
                        <a:pt x="21" y="2"/>
                      </a:lnTo>
                      <a:lnTo>
                        <a:pt x="17" y="3"/>
                      </a:lnTo>
                      <a:lnTo>
                        <a:pt x="12" y="5"/>
                      </a:lnTo>
                      <a:lnTo>
                        <a:pt x="8" y="9"/>
                      </a:lnTo>
                      <a:lnTo>
                        <a:pt x="5" y="12"/>
                      </a:lnTo>
                      <a:lnTo>
                        <a:pt x="2" y="17"/>
                      </a:lnTo>
                      <a:lnTo>
                        <a:pt x="0" y="23"/>
                      </a:lnTo>
                      <a:lnTo>
                        <a:pt x="0" y="28"/>
                      </a:lnTo>
                      <a:lnTo>
                        <a:pt x="0" y="28"/>
                      </a:lnTo>
                      <a:lnTo>
                        <a:pt x="0" y="34"/>
                      </a:lnTo>
                      <a:lnTo>
                        <a:pt x="2" y="38"/>
                      </a:lnTo>
                      <a:lnTo>
                        <a:pt x="5" y="43"/>
                      </a:lnTo>
                      <a:lnTo>
                        <a:pt x="8" y="48"/>
                      </a:lnTo>
                      <a:lnTo>
                        <a:pt x="12" y="50"/>
                      </a:lnTo>
                      <a:lnTo>
                        <a:pt x="17" y="54"/>
                      </a:lnTo>
                      <a:lnTo>
                        <a:pt x="21" y="55"/>
                      </a:lnTo>
                      <a:lnTo>
                        <a:pt x="27" y="55"/>
                      </a:lnTo>
                      <a:lnTo>
                        <a:pt x="27" y="55"/>
                      </a:lnTo>
                      <a:lnTo>
                        <a:pt x="33" y="55"/>
                      </a:lnTo>
                      <a:lnTo>
                        <a:pt x="38" y="54"/>
                      </a:lnTo>
                      <a:lnTo>
                        <a:pt x="43" y="50"/>
                      </a:lnTo>
                      <a:lnTo>
                        <a:pt x="46" y="48"/>
                      </a:lnTo>
                      <a:lnTo>
                        <a:pt x="50" y="43"/>
                      </a:lnTo>
                      <a:lnTo>
                        <a:pt x="52" y="38"/>
                      </a:lnTo>
                      <a:lnTo>
                        <a:pt x="55" y="34"/>
                      </a:lnTo>
                      <a:lnTo>
                        <a:pt x="55" y="28"/>
                      </a:lnTo>
                      <a:lnTo>
                        <a:pt x="55" y="28"/>
                      </a:lnTo>
                      <a:lnTo>
                        <a:pt x="55" y="23"/>
                      </a:lnTo>
                      <a:lnTo>
                        <a:pt x="52" y="17"/>
                      </a:lnTo>
                      <a:lnTo>
                        <a:pt x="50" y="12"/>
                      </a:lnTo>
                      <a:lnTo>
                        <a:pt x="46" y="9"/>
                      </a:lnTo>
                      <a:lnTo>
                        <a:pt x="43" y="5"/>
                      </a:lnTo>
                      <a:lnTo>
                        <a:pt x="38" y="3"/>
                      </a:lnTo>
                      <a:lnTo>
                        <a:pt x="33" y="2"/>
                      </a:lnTo>
                      <a:lnTo>
                        <a:pt x="27" y="0"/>
                      </a:lnTo>
                      <a:close/>
                    </a:path>
                  </a:pathLst>
                </a:custGeom>
                <a:solidFill>
                  <a:srgbClr val="8A8A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5" name="Freeform 456"/>
                <p:cNvSpPr>
                  <a:spLocks/>
                </p:cNvSpPr>
                <p:nvPr userDrawn="1"/>
              </p:nvSpPr>
              <p:spPr bwMode="auto">
                <a:xfrm>
                  <a:off x="10502446" y="3515811"/>
                  <a:ext cx="44450" cy="44450"/>
                </a:xfrm>
                <a:custGeom>
                  <a:avLst/>
                  <a:gdLst>
                    <a:gd name="T0" fmla="*/ 27 w 55"/>
                    <a:gd name="T1" fmla="*/ 0 h 55"/>
                    <a:gd name="T2" fmla="*/ 27 w 55"/>
                    <a:gd name="T3" fmla="*/ 0 h 55"/>
                    <a:gd name="T4" fmla="*/ 21 w 55"/>
                    <a:gd name="T5" fmla="*/ 2 h 55"/>
                    <a:gd name="T6" fmla="*/ 17 w 55"/>
                    <a:gd name="T7" fmla="*/ 3 h 55"/>
                    <a:gd name="T8" fmla="*/ 12 w 55"/>
                    <a:gd name="T9" fmla="*/ 5 h 55"/>
                    <a:gd name="T10" fmla="*/ 8 w 55"/>
                    <a:gd name="T11" fmla="*/ 9 h 55"/>
                    <a:gd name="T12" fmla="*/ 5 w 55"/>
                    <a:gd name="T13" fmla="*/ 12 h 55"/>
                    <a:gd name="T14" fmla="*/ 2 w 55"/>
                    <a:gd name="T15" fmla="*/ 17 h 55"/>
                    <a:gd name="T16" fmla="*/ 0 w 55"/>
                    <a:gd name="T17" fmla="*/ 23 h 55"/>
                    <a:gd name="T18" fmla="*/ 0 w 55"/>
                    <a:gd name="T19" fmla="*/ 28 h 55"/>
                    <a:gd name="T20" fmla="*/ 0 w 55"/>
                    <a:gd name="T21" fmla="*/ 28 h 55"/>
                    <a:gd name="T22" fmla="*/ 0 w 55"/>
                    <a:gd name="T23" fmla="*/ 34 h 55"/>
                    <a:gd name="T24" fmla="*/ 2 w 55"/>
                    <a:gd name="T25" fmla="*/ 38 h 55"/>
                    <a:gd name="T26" fmla="*/ 5 w 55"/>
                    <a:gd name="T27" fmla="*/ 43 h 55"/>
                    <a:gd name="T28" fmla="*/ 8 w 55"/>
                    <a:gd name="T29" fmla="*/ 48 h 55"/>
                    <a:gd name="T30" fmla="*/ 12 w 55"/>
                    <a:gd name="T31" fmla="*/ 50 h 55"/>
                    <a:gd name="T32" fmla="*/ 17 w 55"/>
                    <a:gd name="T33" fmla="*/ 54 h 55"/>
                    <a:gd name="T34" fmla="*/ 21 w 55"/>
                    <a:gd name="T35" fmla="*/ 55 h 55"/>
                    <a:gd name="T36" fmla="*/ 27 w 55"/>
                    <a:gd name="T37" fmla="*/ 55 h 55"/>
                    <a:gd name="T38" fmla="*/ 27 w 55"/>
                    <a:gd name="T39" fmla="*/ 55 h 55"/>
                    <a:gd name="T40" fmla="*/ 33 w 55"/>
                    <a:gd name="T41" fmla="*/ 55 h 55"/>
                    <a:gd name="T42" fmla="*/ 38 w 55"/>
                    <a:gd name="T43" fmla="*/ 54 h 55"/>
                    <a:gd name="T44" fmla="*/ 43 w 55"/>
                    <a:gd name="T45" fmla="*/ 50 h 55"/>
                    <a:gd name="T46" fmla="*/ 46 w 55"/>
                    <a:gd name="T47" fmla="*/ 48 h 55"/>
                    <a:gd name="T48" fmla="*/ 50 w 55"/>
                    <a:gd name="T49" fmla="*/ 43 h 55"/>
                    <a:gd name="T50" fmla="*/ 52 w 55"/>
                    <a:gd name="T51" fmla="*/ 38 h 55"/>
                    <a:gd name="T52" fmla="*/ 55 w 55"/>
                    <a:gd name="T53" fmla="*/ 34 h 55"/>
                    <a:gd name="T54" fmla="*/ 55 w 55"/>
                    <a:gd name="T55" fmla="*/ 28 h 55"/>
                    <a:gd name="T56" fmla="*/ 55 w 55"/>
                    <a:gd name="T57" fmla="*/ 28 h 55"/>
                    <a:gd name="T58" fmla="*/ 55 w 55"/>
                    <a:gd name="T59" fmla="*/ 23 h 55"/>
                    <a:gd name="T60" fmla="*/ 52 w 55"/>
                    <a:gd name="T61" fmla="*/ 17 h 55"/>
                    <a:gd name="T62" fmla="*/ 50 w 55"/>
                    <a:gd name="T63" fmla="*/ 12 h 55"/>
                    <a:gd name="T64" fmla="*/ 46 w 55"/>
                    <a:gd name="T65" fmla="*/ 9 h 55"/>
                    <a:gd name="T66" fmla="*/ 43 w 55"/>
                    <a:gd name="T67" fmla="*/ 5 h 55"/>
                    <a:gd name="T68" fmla="*/ 38 w 55"/>
                    <a:gd name="T69" fmla="*/ 3 h 55"/>
                    <a:gd name="T70" fmla="*/ 33 w 55"/>
                    <a:gd name="T71" fmla="*/ 2 h 55"/>
                    <a:gd name="T72" fmla="*/ 27 w 55"/>
                    <a:gd name="T7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5">
                      <a:moveTo>
                        <a:pt x="27" y="0"/>
                      </a:moveTo>
                      <a:lnTo>
                        <a:pt x="27" y="0"/>
                      </a:lnTo>
                      <a:lnTo>
                        <a:pt x="21" y="2"/>
                      </a:lnTo>
                      <a:lnTo>
                        <a:pt x="17" y="3"/>
                      </a:lnTo>
                      <a:lnTo>
                        <a:pt x="12" y="5"/>
                      </a:lnTo>
                      <a:lnTo>
                        <a:pt x="8" y="9"/>
                      </a:lnTo>
                      <a:lnTo>
                        <a:pt x="5" y="12"/>
                      </a:lnTo>
                      <a:lnTo>
                        <a:pt x="2" y="17"/>
                      </a:lnTo>
                      <a:lnTo>
                        <a:pt x="0" y="23"/>
                      </a:lnTo>
                      <a:lnTo>
                        <a:pt x="0" y="28"/>
                      </a:lnTo>
                      <a:lnTo>
                        <a:pt x="0" y="28"/>
                      </a:lnTo>
                      <a:lnTo>
                        <a:pt x="0" y="34"/>
                      </a:lnTo>
                      <a:lnTo>
                        <a:pt x="2" y="38"/>
                      </a:lnTo>
                      <a:lnTo>
                        <a:pt x="5" y="43"/>
                      </a:lnTo>
                      <a:lnTo>
                        <a:pt x="8" y="48"/>
                      </a:lnTo>
                      <a:lnTo>
                        <a:pt x="12" y="50"/>
                      </a:lnTo>
                      <a:lnTo>
                        <a:pt x="17" y="54"/>
                      </a:lnTo>
                      <a:lnTo>
                        <a:pt x="21" y="55"/>
                      </a:lnTo>
                      <a:lnTo>
                        <a:pt x="27" y="55"/>
                      </a:lnTo>
                      <a:lnTo>
                        <a:pt x="27" y="55"/>
                      </a:lnTo>
                      <a:lnTo>
                        <a:pt x="33" y="55"/>
                      </a:lnTo>
                      <a:lnTo>
                        <a:pt x="38" y="54"/>
                      </a:lnTo>
                      <a:lnTo>
                        <a:pt x="43" y="50"/>
                      </a:lnTo>
                      <a:lnTo>
                        <a:pt x="46" y="48"/>
                      </a:lnTo>
                      <a:lnTo>
                        <a:pt x="50" y="43"/>
                      </a:lnTo>
                      <a:lnTo>
                        <a:pt x="52" y="38"/>
                      </a:lnTo>
                      <a:lnTo>
                        <a:pt x="55" y="34"/>
                      </a:lnTo>
                      <a:lnTo>
                        <a:pt x="55" y="28"/>
                      </a:lnTo>
                      <a:lnTo>
                        <a:pt x="55" y="28"/>
                      </a:lnTo>
                      <a:lnTo>
                        <a:pt x="55" y="23"/>
                      </a:lnTo>
                      <a:lnTo>
                        <a:pt x="52" y="17"/>
                      </a:lnTo>
                      <a:lnTo>
                        <a:pt x="50" y="12"/>
                      </a:lnTo>
                      <a:lnTo>
                        <a:pt x="46" y="9"/>
                      </a:lnTo>
                      <a:lnTo>
                        <a:pt x="43" y="5"/>
                      </a:lnTo>
                      <a:lnTo>
                        <a:pt x="38" y="3"/>
                      </a:lnTo>
                      <a:lnTo>
                        <a:pt x="33" y="2"/>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6" name="Freeform 457"/>
                <p:cNvSpPr>
                  <a:spLocks/>
                </p:cNvSpPr>
                <p:nvPr userDrawn="1"/>
              </p:nvSpPr>
              <p:spPr bwMode="auto">
                <a:xfrm>
                  <a:off x="10507208" y="3520574"/>
                  <a:ext cx="34925" cy="34925"/>
                </a:xfrm>
                <a:custGeom>
                  <a:avLst/>
                  <a:gdLst>
                    <a:gd name="T0" fmla="*/ 0 w 45"/>
                    <a:gd name="T1" fmla="*/ 22 h 44"/>
                    <a:gd name="T2" fmla="*/ 0 w 45"/>
                    <a:gd name="T3" fmla="*/ 22 h 44"/>
                    <a:gd name="T4" fmla="*/ 1 w 45"/>
                    <a:gd name="T5" fmla="*/ 27 h 44"/>
                    <a:gd name="T6" fmla="*/ 2 w 45"/>
                    <a:gd name="T7" fmla="*/ 31 h 44"/>
                    <a:gd name="T8" fmla="*/ 4 w 45"/>
                    <a:gd name="T9" fmla="*/ 35 h 44"/>
                    <a:gd name="T10" fmla="*/ 7 w 45"/>
                    <a:gd name="T11" fmla="*/ 37 h 44"/>
                    <a:gd name="T12" fmla="*/ 10 w 45"/>
                    <a:gd name="T13" fmla="*/ 41 h 44"/>
                    <a:gd name="T14" fmla="*/ 14 w 45"/>
                    <a:gd name="T15" fmla="*/ 42 h 44"/>
                    <a:gd name="T16" fmla="*/ 18 w 45"/>
                    <a:gd name="T17" fmla="*/ 44 h 44"/>
                    <a:gd name="T18" fmla="*/ 22 w 45"/>
                    <a:gd name="T19" fmla="*/ 44 h 44"/>
                    <a:gd name="T20" fmla="*/ 22 w 45"/>
                    <a:gd name="T21" fmla="*/ 44 h 44"/>
                    <a:gd name="T22" fmla="*/ 27 w 45"/>
                    <a:gd name="T23" fmla="*/ 44 h 44"/>
                    <a:gd name="T24" fmla="*/ 31 w 45"/>
                    <a:gd name="T25" fmla="*/ 42 h 44"/>
                    <a:gd name="T26" fmla="*/ 34 w 45"/>
                    <a:gd name="T27" fmla="*/ 41 h 44"/>
                    <a:gd name="T28" fmla="*/ 38 w 45"/>
                    <a:gd name="T29" fmla="*/ 37 h 44"/>
                    <a:gd name="T30" fmla="*/ 40 w 45"/>
                    <a:gd name="T31" fmla="*/ 35 h 44"/>
                    <a:gd name="T32" fmla="*/ 43 w 45"/>
                    <a:gd name="T33" fmla="*/ 31 h 44"/>
                    <a:gd name="T34" fmla="*/ 44 w 45"/>
                    <a:gd name="T35" fmla="*/ 27 h 44"/>
                    <a:gd name="T36" fmla="*/ 45 w 45"/>
                    <a:gd name="T37" fmla="*/ 22 h 44"/>
                    <a:gd name="T38" fmla="*/ 45 w 45"/>
                    <a:gd name="T39" fmla="*/ 22 h 44"/>
                    <a:gd name="T40" fmla="*/ 44 w 45"/>
                    <a:gd name="T41" fmla="*/ 18 h 44"/>
                    <a:gd name="T42" fmla="*/ 43 w 45"/>
                    <a:gd name="T43" fmla="*/ 13 h 44"/>
                    <a:gd name="T44" fmla="*/ 40 w 45"/>
                    <a:gd name="T45" fmla="*/ 10 h 44"/>
                    <a:gd name="T46" fmla="*/ 38 w 45"/>
                    <a:gd name="T47" fmla="*/ 6 h 44"/>
                    <a:gd name="T48" fmla="*/ 34 w 45"/>
                    <a:gd name="T49" fmla="*/ 4 h 44"/>
                    <a:gd name="T50" fmla="*/ 31 w 45"/>
                    <a:gd name="T51" fmla="*/ 2 h 44"/>
                    <a:gd name="T52" fmla="*/ 27 w 45"/>
                    <a:gd name="T53" fmla="*/ 0 h 44"/>
                    <a:gd name="T54" fmla="*/ 22 w 45"/>
                    <a:gd name="T55" fmla="*/ 0 h 44"/>
                    <a:gd name="T56" fmla="*/ 22 w 45"/>
                    <a:gd name="T57" fmla="*/ 0 h 44"/>
                    <a:gd name="T58" fmla="*/ 18 w 45"/>
                    <a:gd name="T59" fmla="*/ 0 h 44"/>
                    <a:gd name="T60" fmla="*/ 14 w 45"/>
                    <a:gd name="T61" fmla="*/ 2 h 44"/>
                    <a:gd name="T62" fmla="*/ 10 w 45"/>
                    <a:gd name="T63" fmla="*/ 4 h 44"/>
                    <a:gd name="T64" fmla="*/ 7 w 45"/>
                    <a:gd name="T65" fmla="*/ 6 h 44"/>
                    <a:gd name="T66" fmla="*/ 4 w 45"/>
                    <a:gd name="T67" fmla="*/ 10 h 44"/>
                    <a:gd name="T68" fmla="*/ 2 w 45"/>
                    <a:gd name="T69" fmla="*/ 13 h 44"/>
                    <a:gd name="T70" fmla="*/ 1 w 45"/>
                    <a:gd name="T71" fmla="*/ 18 h 44"/>
                    <a:gd name="T72" fmla="*/ 0 w 45"/>
                    <a:gd name="T73" fmla="*/ 22 h 44"/>
                    <a:gd name="T74" fmla="*/ 0 w 45"/>
                    <a:gd name="T75"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44">
                      <a:moveTo>
                        <a:pt x="0" y="22"/>
                      </a:moveTo>
                      <a:lnTo>
                        <a:pt x="0" y="22"/>
                      </a:lnTo>
                      <a:lnTo>
                        <a:pt x="1" y="27"/>
                      </a:lnTo>
                      <a:lnTo>
                        <a:pt x="2" y="31"/>
                      </a:lnTo>
                      <a:lnTo>
                        <a:pt x="4" y="35"/>
                      </a:lnTo>
                      <a:lnTo>
                        <a:pt x="7" y="37"/>
                      </a:lnTo>
                      <a:lnTo>
                        <a:pt x="10" y="41"/>
                      </a:lnTo>
                      <a:lnTo>
                        <a:pt x="14" y="42"/>
                      </a:lnTo>
                      <a:lnTo>
                        <a:pt x="18" y="44"/>
                      </a:lnTo>
                      <a:lnTo>
                        <a:pt x="22" y="44"/>
                      </a:lnTo>
                      <a:lnTo>
                        <a:pt x="22" y="44"/>
                      </a:lnTo>
                      <a:lnTo>
                        <a:pt x="27" y="44"/>
                      </a:lnTo>
                      <a:lnTo>
                        <a:pt x="31" y="42"/>
                      </a:lnTo>
                      <a:lnTo>
                        <a:pt x="34" y="41"/>
                      </a:lnTo>
                      <a:lnTo>
                        <a:pt x="38" y="37"/>
                      </a:lnTo>
                      <a:lnTo>
                        <a:pt x="40" y="35"/>
                      </a:lnTo>
                      <a:lnTo>
                        <a:pt x="43" y="31"/>
                      </a:lnTo>
                      <a:lnTo>
                        <a:pt x="44" y="27"/>
                      </a:lnTo>
                      <a:lnTo>
                        <a:pt x="45" y="22"/>
                      </a:lnTo>
                      <a:lnTo>
                        <a:pt x="45" y="22"/>
                      </a:lnTo>
                      <a:lnTo>
                        <a:pt x="44" y="18"/>
                      </a:lnTo>
                      <a:lnTo>
                        <a:pt x="43" y="13"/>
                      </a:lnTo>
                      <a:lnTo>
                        <a:pt x="40" y="10"/>
                      </a:lnTo>
                      <a:lnTo>
                        <a:pt x="38" y="6"/>
                      </a:lnTo>
                      <a:lnTo>
                        <a:pt x="34" y="4"/>
                      </a:lnTo>
                      <a:lnTo>
                        <a:pt x="31" y="2"/>
                      </a:lnTo>
                      <a:lnTo>
                        <a:pt x="27" y="0"/>
                      </a:lnTo>
                      <a:lnTo>
                        <a:pt x="22" y="0"/>
                      </a:lnTo>
                      <a:lnTo>
                        <a:pt x="22" y="0"/>
                      </a:lnTo>
                      <a:lnTo>
                        <a:pt x="18" y="0"/>
                      </a:lnTo>
                      <a:lnTo>
                        <a:pt x="14" y="2"/>
                      </a:lnTo>
                      <a:lnTo>
                        <a:pt x="10" y="4"/>
                      </a:lnTo>
                      <a:lnTo>
                        <a:pt x="7" y="6"/>
                      </a:lnTo>
                      <a:lnTo>
                        <a:pt x="4" y="10"/>
                      </a:lnTo>
                      <a:lnTo>
                        <a:pt x="2" y="13"/>
                      </a:lnTo>
                      <a:lnTo>
                        <a:pt x="1" y="18"/>
                      </a:lnTo>
                      <a:lnTo>
                        <a:pt x="0" y="22"/>
                      </a:lnTo>
                      <a:lnTo>
                        <a:pt x="0" y="22"/>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7" name="Freeform 458"/>
                <p:cNvSpPr>
                  <a:spLocks/>
                </p:cNvSpPr>
                <p:nvPr userDrawn="1"/>
              </p:nvSpPr>
              <p:spPr bwMode="auto">
                <a:xfrm>
                  <a:off x="10507208" y="3520574"/>
                  <a:ext cx="34925" cy="17463"/>
                </a:xfrm>
                <a:custGeom>
                  <a:avLst/>
                  <a:gdLst>
                    <a:gd name="T0" fmla="*/ 22 w 45"/>
                    <a:gd name="T1" fmla="*/ 0 h 22"/>
                    <a:gd name="T2" fmla="*/ 22 w 45"/>
                    <a:gd name="T3" fmla="*/ 0 h 22"/>
                    <a:gd name="T4" fmla="*/ 27 w 45"/>
                    <a:gd name="T5" fmla="*/ 0 h 22"/>
                    <a:gd name="T6" fmla="*/ 31 w 45"/>
                    <a:gd name="T7" fmla="*/ 2 h 22"/>
                    <a:gd name="T8" fmla="*/ 34 w 45"/>
                    <a:gd name="T9" fmla="*/ 4 h 22"/>
                    <a:gd name="T10" fmla="*/ 38 w 45"/>
                    <a:gd name="T11" fmla="*/ 6 h 22"/>
                    <a:gd name="T12" fmla="*/ 40 w 45"/>
                    <a:gd name="T13" fmla="*/ 10 h 22"/>
                    <a:gd name="T14" fmla="*/ 43 w 45"/>
                    <a:gd name="T15" fmla="*/ 13 h 22"/>
                    <a:gd name="T16" fmla="*/ 44 w 45"/>
                    <a:gd name="T17" fmla="*/ 18 h 22"/>
                    <a:gd name="T18" fmla="*/ 45 w 45"/>
                    <a:gd name="T19" fmla="*/ 22 h 22"/>
                    <a:gd name="T20" fmla="*/ 0 w 45"/>
                    <a:gd name="T21" fmla="*/ 22 h 22"/>
                    <a:gd name="T22" fmla="*/ 0 w 45"/>
                    <a:gd name="T23" fmla="*/ 22 h 22"/>
                    <a:gd name="T24" fmla="*/ 1 w 45"/>
                    <a:gd name="T25" fmla="*/ 18 h 22"/>
                    <a:gd name="T26" fmla="*/ 2 w 45"/>
                    <a:gd name="T27" fmla="*/ 13 h 22"/>
                    <a:gd name="T28" fmla="*/ 4 w 45"/>
                    <a:gd name="T29" fmla="*/ 10 h 22"/>
                    <a:gd name="T30" fmla="*/ 7 w 45"/>
                    <a:gd name="T31" fmla="*/ 6 h 22"/>
                    <a:gd name="T32" fmla="*/ 10 w 45"/>
                    <a:gd name="T33" fmla="*/ 4 h 22"/>
                    <a:gd name="T34" fmla="*/ 14 w 45"/>
                    <a:gd name="T35" fmla="*/ 2 h 22"/>
                    <a:gd name="T36" fmla="*/ 18 w 45"/>
                    <a:gd name="T37" fmla="*/ 0 h 22"/>
                    <a:gd name="T38" fmla="*/ 22 w 45"/>
                    <a:gd name="T39" fmla="*/ 0 h 22"/>
                    <a:gd name="T40" fmla="*/ 22 w 45"/>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22">
                      <a:moveTo>
                        <a:pt x="22" y="0"/>
                      </a:moveTo>
                      <a:lnTo>
                        <a:pt x="22" y="0"/>
                      </a:lnTo>
                      <a:lnTo>
                        <a:pt x="27" y="0"/>
                      </a:lnTo>
                      <a:lnTo>
                        <a:pt x="31" y="2"/>
                      </a:lnTo>
                      <a:lnTo>
                        <a:pt x="34" y="4"/>
                      </a:lnTo>
                      <a:lnTo>
                        <a:pt x="38" y="6"/>
                      </a:lnTo>
                      <a:lnTo>
                        <a:pt x="40" y="10"/>
                      </a:lnTo>
                      <a:lnTo>
                        <a:pt x="43" y="13"/>
                      </a:lnTo>
                      <a:lnTo>
                        <a:pt x="44" y="18"/>
                      </a:lnTo>
                      <a:lnTo>
                        <a:pt x="45" y="22"/>
                      </a:lnTo>
                      <a:lnTo>
                        <a:pt x="0" y="22"/>
                      </a:lnTo>
                      <a:lnTo>
                        <a:pt x="0" y="22"/>
                      </a:lnTo>
                      <a:lnTo>
                        <a:pt x="1" y="18"/>
                      </a:lnTo>
                      <a:lnTo>
                        <a:pt x="2" y="13"/>
                      </a:lnTo>
                      <a:lnTo>
                        <a:pt x="4" y="10"/>
                      </a:lnTo>
                      <a:lnTo>
                        <a:pt x="7" y="6"/>
                      </a:lnTo>
                      <a:lnTo>
                        <a:pt x="10" y="4"/>
                      </a:lnTo>
                      <a:lnTo>
                        <a:pt x="14" y="2"/>
                      </a:lnTo>
                      <a:lnTo>
                        <a:pt x="18" y="0"/>
                      </a:lnTo>
                      <a:lnTo>
                        <a:pt x="22" y="0"/>
                      </a:lnTo>
                      <a:lnTo>
                        <a:pt x="22"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8" name="Rectangle 459"/>
                <p:cNvSpPr>
                  <a:spLocks noChangeArrowheads="1"/>
                </p:cNvSpPr>
                <p:nvPr userDrawn="1"/>
              </p:nvSpPr>
              <p:spPr bwMode="auto">
                <a:xfrm>
                  <a:off x="10424658" y="4025399"/>
                  <a:ext cx="55563" cy="117475"/>
                </a:xfrm>
                <a:prstGeom prst="rect">
                  <a:avLst/>
                </a:prstGeom>
                <a:solidFill>
                  <a:srgbClr val="B1B1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9" name="Rectangle 460"/>
                <p:cNvSpPr>
                  <a:spLocks noChangeArrowheads="1"/>
                </p:cNvSpPr>
                <p:nvPr userDrawn="1"/>
              </p:nvSpPr>
              <p:spPr bwMode="auto">
                <a:xfrm>
                  <a:off x="10424658" y="4025399"/>
                  <a:ext cx="55563" cy="11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7551" name="그룹 7550"/>
              <p:cNvGrpSpPr/>
              <p:nvPr userDrawn="1"/>
            </p:nvGrpSpPr>
            <p:grpSpPr>
              <a:xfrm>
                <a:off x="6869446" y="1676614"/>
                <a:ext cx="300823" cy="502753"/>
                <a:chOff x="11064421" y="3372936"/>
                <a:chExt cx="922338" cy="1541463"/>
              </a:xfrm>
            </p:grpSpPr>
            <p:sp>
              <p:nvSpPr>
                <p:cNvPr id="870" name="Rectangle 245"/>
                <p:cNvSpPr>
                  <a:spLocks noChangeArrowheads="1"/>
                </p:cNvSpPr>
                <p:nvPr userDrawn="1"/>
              </p:nvSpPr>
              <p:spPr bwMode="auto">
                <a:xfrm>
                  <a:off x="11334296" y="3455486"/>
                  <a:ext cx="19050" cy="211138"/>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1" name="Rectangle 246"/>
                <p:cNvSpPr>
                  <a:spLocks noChangeArrowheads="1"/>
                </p:cNvSpPr>
                <p:nvPr userDrawn="1"/>
              </p:nvSpPr>
              <p:spPr bwMode="auto">
                <a:xfrm>
                  <a:off x="11697833" y="3455486"/>
                  <a:ext cx="19050" cy="211138"/>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2" name="Freeform 247"/>
                <p:cNvSpPr>
                  <a:spLocks/>
                </p:cNvSpPr>
                <p:nvPr userDrawn="1"/>
              </p:nvSpPr>
              <p:spPr bwMode="auto">
                <a:xfrm>
                  <a:off x="11162846" y="3752349"/>
                  <a:ext cx="236538" cy="182563"/>
                </a:xfrm>
                <a:custGeom>
                  <a:avLst/>
                  <a:gdLst>
                    <a:gd name="T0" fmla="*/ 299 w 299"/>
                    <a:gd name="T1" fmla="*/ 212 h 230"/>
                    <a:gd name="T2" fmla="*/ 299 w 299"/>
                    <a:gd name="T3" fmla="*/ 212 h 230"/>
                    <a:gd name="T4" fmla="*/ 297 w 299"/>
                    <a:gd name="T5" fmla="*/ 216 h 230"/>
                    <a:gd name="T6" fmla="*/ 296 w 299"/>
                    <a:gd name="T7" fmla="*/ 220 h 230"/>
                    <a:gd name="T8" fmla="*/ 293 w 299"/>
                    <a:gd name="T9" fmla="*/ 226 h 230"/>
                    <a:gd name="T10" fmla="*/ 287 w 299"/>
                    <a:gd name="T11" fmla="*/ 229 h 230"/>
                    <a:gd name="T12" fmla="*/ 283 w 299"/>
                    <a:gd name="T13" fmla="*/ 230 h 230"/>
                    <a:gd name="T14" fmla="*/ 280 w 299"/>
                    <a:gd name="T15" fmla="*/ 230 h 230"/>
                    <a:gd name="T16" fmla="*/ 18 w 299"/>
                    <a:gd name="T17" fmla="*/ 230 h 230"/>
                    <a:gd name="T18" fmla="*/ 18 w 299"/>
                    <a:gd name="T19" fmla="*/ 230 h 230"/>
                    <a:gd name="T20" fmla="*/ 14 w 299"/>
                    <a:gd name="T21" fmla="*/ 230 h 230"/>
                    <a:gd name="T22" fmla="*/ 11 w 299"/>
                    <a:gd name="T23" fmla="*/ 229 h 230"/>
                    <a:gd name="T24" fmla="*/ 5 w 299"/>
                    <a:gd name="T25" fmla="*/ 226 h 230"/>
                    <a:gd name="T26" fmla="*/ 1 w 299"/>
                    <a:gd name="T27" fmla="*/ 220 h 230"/>
                    <a:gd name="T28" fmla="*/ 0 w 299"/>
                    <a:gd name="T29" fmla="*/ 216 h 230"/>
                    <a:gd name="T30" fmla="*/ 0 w 299"/>
                    <a:gd name="T31" fmla="*/ 212 h 230"/>
                    <a:gd name="T32" fmla="*/ 0 w 299"/>
                    <a:gd name="T33" fmla="*/ 17 h 230"/>
                    <a:gd name="T34" fmla="*/ 0 w 299"/>
                    <a:gd name="T35" fmla="*/ 17 h 230"/>
                    <a:gd name="T36" fmla="*/ 0 w 299"/>
                    <a:gd name="T37" fmla="*/ 14 h 230"/>
                    <a:gd name="T38" fmla="*/ 1 w 299"/>
                    <a:gd name="T39" fmla="*/ 10 h 230"/>
                    <a:gd name="T40" fmla="*/ 5 w 299"/>
                    <a:gd name="T41" fmla="*/ 6 h 230"/>
                    <a:gd name="T42" fmla="*/ 11 w 299"/>
                    <a:gd name="T43" fmla="*/ 1 h 230"/>
                    <a:gd name="T44" fmla="*/ 14 w 299"/>
                    <a:gd name="T45" fmla="*/ 0 h 230"/>
                    <a:gd name="T46" fmla="*/ 18 w 299"/>
                    <a:gd name="T47" fmla="*/ 0 h 230"/>
                    <a:gd name="T48" fmla="*/ 280 w 299"/>
                    <a:gd name="T49" fmla="*/ 0 h 230"/>
                    <a:gd name="T50" fmla="*/ 280 w 299"/>
                    <a:gd name="T51" fmla="*/ 0 h 230"/>
                    <a:gd name="T52" fmla="*/ 283 w 299"/>
                    <a:gd name="T53" fmla="*/ 0 h 230"/>
                    <a:gd name="T54" fmla="*/ 287 w 299"/>
                    <a:gd name="T55" fmla="*/ 1 h 230"/>
                    <a:gd name="T56" fmla="*/ 293 w 299"/>
                    <a:gd name="T57" fmla="*/ 6 h 230"/>
                    <a:gd name="T58" fmla="*/ 296 w 299"/>
                    <a:gd name="T59" fmla="*/ 10 h 230"/>
                    <a:gd name="T60" fmla="*/ 297 w 299"/>
                    <a:gd name="T61" fmla="*/ 14 h 230"/>
                    <a:gd name="T62" fmla="*/ 299 w 299"/>
                    <a:gd name="T63" fmla="*/ 17 h 230"/>
                    <a:gd name="T64" fmla="*/ 299 w 299"/>
                    <a:gd name="T65" fmla="*/ 21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9" h="230">
                      <a:moveTo>
                        <a:pt x="299" y="212"/>
                      </a:moveTo>
                      <a:lnTo>
                        <a:pt x="299" y="212"/>
                      </a:lnTo>
                      <a:lnTo>
                        <a:pt x="297" y="216"/>
                      </a:lnTo>
                      <a:lnTo>
                        <a:pt x="296" y="220"/>
                      </a:lnTo>
                      <a:lnTo>
                        <a:pt x="293" y="226"/>
                      </a:lnTo>
                      <a:lnTo>
                        <a:pt x="287" y="229"/>
                      </a:lnTo>
                      <a:lnTo>
                        <a:pt x="283" y="230"/>
                      </a:lnTo>
                      <a:lnTo>
                        <a:pt x="280" y="230"/>
                      </a:lnTo>
                      <a:lnTo>
                        <a:pt x="18" y="230"/>
                      </a:lnTo>
                      <a:lnTo>
                        <a:pt x="18" y="230"/>
                      </a:lnTo>
                      <a:lnTo>
                        <a:pt x="14" y="230"/>
                      </a:lnTo>
                      <a:lnTo>
                        <a:pt x="11" y="229"/>
                      </a:lnTo>
                      <a:lnTo>
                        <a:pt x="5" y="226"/>
                      </a:lnTo>
                      <a:lnTo>
                        <a:pt x="1" y="220"/>
                      </a:lnTo>
                      <a:lnTo>
                        <a:pt x="0" y="216"/>
                      </a:lnTo>
                      <a:lnTo>
                        <a:pt x="0" y="212"/>
                      </a:lnTo>
                      <a:lnTo>
                        <a:pt x="0" y="17"/>
                      </a:lnTo>
                      <a:lnTo>
                        <a:pt x="0" y="17"/>
                      </a:lnTo>
                      <a:lnTo>
                        <a:pt x="0" y="14"/>
                      </a:lnTo>
                      <a:lnTo>
                        <a:pt x="1" y="10"/>
                      </a:lnTo>
                      <a:lnTo>
                        <a:pt x="5" y="6"/>
                      </a:lnTo>
                      <a:lnTo>
                        <a:pt x="11" y="1"/>
                      </a:lnTo>
                      <a:lnTo>
                        <a:pt x="14" y="0"/>
                      </a:lnTo>
                      <a:lnTo>
                        <a:pt x="18" y="0"/>
                      </a:lnTo>
                      <a:lnTo>
                        <a:pt x="280" y="0"/>
                      </a:lnTo>
                      <a:lnTo>
                        <a:pt x="280" y="0"/>
                      </a:lnTo>
                      <a:lnTo>
                        <a:pt x="283" y="0"/>
                      </a:lnTo>
                      <a:lnTo>
                        <a:pt x="287" y="1"/>
                      </a:lnTo>
                      <a:lnTo>
                        <a:pt x="293" y="6"/>
                      </a:lnTo>
                      <a:lnTo>
                        <a:pt x="296" y="10"/>
                      </a:lnTo>
                      <a:lnTo>
                        <a:pt x="297" y="14"/>
                      </a:lnTo>
                      <a:lnTo>
                        <a:pt x="299" y="17"/>
                      </a:lnTo>
                      <a:lnTo>
                        <a:pt x="299" y="212"/>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3" name="Freeform 248"/>
                <p:cNvSpPr>
                  <a:spLocks/>
                </p:cNvSpPr>
                <p:nvPr userDrawn="1"/>
              </p:nvSpPr>
              <p:spPr bwMode="auto">
                <a:xfrm>
                  <a:off x="11651796" y="3752349"/>
                  <a:ext cx="236538" cy="182563"/>
                </a:xfrm>
                <a:custGeom>
                  <a:avLst/>
                  <a:gdLst>
                    <a:gd name="T0" fmla="*/ 297 w 297"/>
                    <a:gd name="T1" fmla="*/ 212 h 230"/>
                    <a:gd name="T2" fmla="*/ 297 w 297"/>
                    <a:gd name="T3" fmla="*/ 212 h 230"/>
                    <a:gd name="T4" fmla="*/ 297 w 297"/>
                    <a:gd name="T5" fmla="*/ 216 h 230"/>
                    <a:gd name="T6" fmla="*/ 296 w 297"/>
                    <a:gd name="T7" fmla="*/ 220 h 230"/>
                    <a:gd name="T8" fmla="*/ 293 w 297"/>
                    <a:gd name="T9" fmla="*/ 226 h 230"/>
                    <a:gd name="T10" fmla="*/ 287 w 297"/>
                    <a:gd name="T11" fmla="*/ 229 h 230"/>
                    <a:gd name="T12" fmla="*/ 283 w 297"/>
                    <a:gd name="T13" fmla="*/ 230 h 230"/>
                    <a:gd name="T14" fmla="*/ 279 w 297"/>
                    <a:gd name="T15" fmla="*/ 230 h 230"/>
                    <a:gd name="T16" fmla="*/ 18 w 297"/>
                    <a:gd name="T17" fmla="*/ 230 h 230"/>
                    <a:gd name="T18" fmla="*/ 18 w 297"/>
                    <a:gd name="T19" fmla="*/ 230 h 230"/>
                    <a:gd name="T20" fmla="*/ 14 w 297"/>
                    <a:gd name="T21" fmla="*/ 230 h 230"/>
                    <a:gd name="T22" fmla="*/ 11 w 297"/>
                    <a:gd name="T23" fmla="*/ 229 h 230"/>
                    <a:gd name="T24" fmla="*/ 5 w 297"/>
                    <a:gd name="T25" fmla="*/ 226 h 230"/>
                    <a:gd name="T26" fmla="*/ 1 w 297"/>
                    <a:gd name="T27" fmla="*/ 220 h 230"/>
                    <a:gd name="T28" fmla="*/ 0 w 297"/>
                    <a:gd name="T29" fmla="*/ 216 h 230"/>
                    <a:gd name="T30" fmla="*/ 0 w 297"/>
                    <a:gd name="T31" fmla="*/ 212 h 230"/>
                    <a:gd name="T32" fmla="*/ 0 w 297"/>
                    <a:gd name="T33" fmla="*/ 17 h 230"/>
                    <a:gd name="T34" fmla="*/ 0 w 297"/>
                    <a:gd name="T35" fmla="*/ 17 h 230"/>
                    <a:gd name="T36" fmla="*/ 0 w 297"/>
                    <a:gd name="T37" fmla="*/ 14 h 230"/>
                    <a:gd name="T38" fmla="*/ 1 w 297"/>
                    <a:gd name="T39" fmla="*/ 10 h 230"/>
                    <a:gd name="T40" fmla="*/ 5 w 297"/>
                    <a:gd name="T41" fmla="*/ 6 h 230"/>
                    <a:gd name="T42" fmla="*/ 11 w 297"/>
                    <a:gd name="T43" fmla="*/ 1 h 230"/>
                    <a:gd name="T44" fmla="*/ 14 w 297"/>
                    <a:gd name="T45" fmla="*/ 0 h 230"/>
                    <a:gd name="T46" fmla="*/ 18 w 297"/>
                    <a:gd name="T47" fmla="*/ 0 h 230"/>
                    <a:gd name="T48" fmla="*/ 279 w 297"/>
                    <a:gd name="T49" fmla="*/ 0 h 230"/>
                    <a:gd name="T50" fmla="*/ 279 w 297"/>
                    <a:gd name="T51" fmla="*/ 0 h 230"/>
                    <a:gd name="T52" fmla="*/ 283 w 297"/>
                    <a:gd name="T53" fmla="*/ 0 h 230"/>
                    <a:gd name="T54" fmla="*/ 287 w 297"/>
                    <a:gd name="T55" fmla="*/ 1 h 230"/>
                    <a:gd name="T56" fmla="*/ 293 w 297"/>
                    <a:gd name="T57" fmla="*/ 6 h 230"/>
                    <a:gd name="T58" fmla="*/ 296 w 297"/>
                    <a:gd name="T59" fmla="*/ 10 h 230"/>
                    <a:gd name="T60" fmla="*/ 297 w 297"/>
                    <a:gd name="T61" fmla="*/ 14 h 230"/>
                    <a:gd name="T62" fmla="*/ 297 w 297"/>
                    <a:gd name="T63" fmla="*/ 17 h 230"/>
                    <a:gd name="T64" fmla="*/ 297 w 297"/>
                    <a:gd name="T65" fmla="*/ 21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7" h="230">
                      <a:moveTo>
                        <a:pt x="297" y="212"/>
                      </a:moveTo>
                      <a:lnTo>
                        <a:pt x="297" y="212"/>
                      </a:lnTo>
                      <a:lnTo>
                        <a:pt x="297" y="216"/>
                      </a:lnTo>
                      <a:lnTo>
                        <a:pt x="296" y="220"/>
                      </a:lnTo>
                      <a:lnTo>
                        <a:pt x="293" y="226"/>
                      </a:lnTo>
                      <a:lnTo>
                        <a:pt x="287" y="229"/>
                      </a:lnTo>
                      <a:lnTo>
                        <a:pt x="283" y="230"/>
                      </a:lnTo>
                      <a:lnTo>
                        <a:pt x="279" y="230"/>
                      </a:lnTo>
                      <a:lnTo>
                        <a:pt x="18" y="230"/>
                      </a:lnTo>
                      <a:lnTo>
                        <a:pt x="18" y="230"/>
                      </a:lnTo>
                      <a:lnTo>
                        <a:pt x="14" y="230"/>
                      </a:lnTo>
                      <a:lnTo>
                        <a:pt x="11" y="229"/>
                      </a:lnTo>
                      <a:lnTo>
                        <a:pt x="5" y="226"/>
                      </a:lnTo>
                      <a:lnTo>
                        <a:pt x="1" y="220"/>
                      </a:lnTo>
                      <a:lnTo>
                        <a:pt x="0" y="216"/>
                      </a:lnTo>
                      <a:lnTo>
                        <a:pt x="0" y="212"/>
                      </a:lnTo>
                      <a:lnTo>
                        <a:pt x="0" y="17"/>
                      </a:lnTo>
                      <a:lnTo>
                        <a:pt x="0" y="17"/>
                      </a:lnTo>
                      <a:lnTo>
                        <a:pt x="0" y="14"/>
                      </a:lnTo>
                      <a:lnTo>
                        <a:pt x="1" y="10"/>
                      </a:lnTo>
                      <a:lnTo>
                        <a:pt x="5" y="6"/>
                      </a:lnTo>
                      <a:lnTo>
                        <a:pt x="11" y="1"/>
                      </a:lnTo>
                      <a:lnTo>
                        <a:pt x="14" y="0"/>
                      </a:lnTo>
                      <a:lnTo>
                        <a:pt x="18" y="0"/>
                      </a:lnTo>
                      <a:lnTo>
                        <a:pt x="279" y="0"/>
                      </a:lnTo>
                      <a:lnTo>
                        <a:pt x="279" y="0"/>
                      </a:lnTo>
                      <a:lnTo>
                        <a:pt x="283" y="0"/>
                      </a:lnTo>
                      <a:lnTo>
                        <a:pt x="287" y="1"/>
                      </a:lnTo>
                      <a:lnTo>
                        <a:pt x="293" y="6"/>
                      </a:lnTo>
                      <a:lnTo>
                        <a:pt x="296" y="10"/>
                      </a:lnTo>
                      <a:lnTo>
                        <a:pt x="297" y="14"/>
                      </a:lnTo>
                      <a:lnTo>
                        <a:pt x="297" y="17"/>
                      </a:lnTo>
                      <a:lnTo>
                        <a:pt x="297" y="212"/>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4" name="Freeform 249"/>
                <p:cNvSpPr>
                  <a:spLocks/>
                </p:cNvSpPr>
                <p:nvPr userDrawn="1"/>
              </p:nvSpPr>
              <p:spPr bwMode="auto">
                <a:xfrm>
                  <a:off x="11226346" y="4606424"/>
                  <a:ext cx="77788" cy="307975"/>
                </a:xfrm>
                <a:custGeom>
                  <a:avLst/>
                  <a:gdLst>
                    <a:gd name="T0" fmla="*/ 0 w 98"/>
                    <a:gd name="T1" fmla="*/ 0 h 387"/>
                    <a:gd name="T2" fmla="*/ 0 w 98"/>
                    <a:gd name="T3" fmla="*/ 289 h 387"/>
                    <a:gd name="T4" fmla="*/ 0 w 98"/>
                    <a:gd name="T5" fmla="*/ 289 h 387"/>
                    <a:gd name="T6" fmla="*/ 1 w 98"/>
                    <a:gd name="T7" fmla="*/ 299 h 387"/>
                    <a:gd name="T8" fmla="*/ 2 w 98"/>
                    <a:gd name="T9" fmla="*/ 309 h 387"/>
                    <a:gd name="T10" fmla="*/ 5 w 98"/>
                    <a:gd name="T11" fmla="*/ 318 h 387"/>
                    <a:gd name="T12" fmla="*/ 8 w 98"/>
                    <a:gd name="T13" fmla="*/ 328 h 387"/>
                    <a:gd name="T14" fmla="*/ 12 w 98"/>
                    <a:gd name="T15" fmla="*/ 336 h 387"/>
                    <a:gd name="T16" fmla="*/ 16 w 98"/>
                    <a:gd name="T17" fmla="*/ 344 h 387"/>
                    <a:gd name="T18" fmla="*/ 22 w 98"/>
                    <a:gd name="T19" fmla="*/ 352 h 387"/>
                    <a:gd name="T20" fmla="*/ 28 w 98"/>
                    <a:gd name="T21" fmla="*/ 359 h 387"/>
                    <a:gd name="T22" fmla="*/ 35 w 98"/>
                    <a:gd name="T23" fmla="*/ 365 h 387"/>
                    <a:gd name="T24" fmla="*/ 44 w 98"/>
                    <a:gd name="T25" fmla="*/ 371 h 387"/>
                    <a:gd name="T26" fmla="*/ 51 w 98"/>
                    <a:gd name="T27" fmla="*/ 375 h 387"/>
                    <a:gd name="T28" fmla="*/ 60 w 98"/>
                    <a:gd name="T29" fmla="*/ 379 h 387"/>
                    <a:gd name="T30" fmla="*/ 69 w 98"/>
                    <a:gd name="T31" fmla="*/ 382 h 387"/>
                    <a:gd name="T32" fmla="*/ 78 w 98"/>
                    <a:gd name="T33" fmla="*/ 385 h 387"/>
                    <a:gd name="T34" fmla="*/ 88 w 98"/>
                    <a:gd name="T35" fmla="*/ 387 h 387"/>
                    <a:gd name="T36" fmla="*/ 98 w 98"/>
                    <a:gd name="T37" fmla="*/ 387 h 387"/>
                    <a:gd name="T38" fmla="*/ 98 w 98"/>
                    <a:gd name="T39" fmla="*/ 0 h 387"/>
                    <a:gd name="T40" fmla="*/ 0 w 98"/>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387">
                      <a:moveTo>
                        <a:pt x="0" y="0"/>
                      </a:moveTo>
                      <a:lnTo>
                        <a:pt x="0" y="289"/>
                      </a:lnTo>
                      <a:lnTo>
                        <a:pt x="0" y="289"/>
                      </a:lnTo>
                      <a:lnTo>
                        <a:pt x="1" y="299"/>
                      </a:lnTo>
                      <a:lnTo>
                        <a:pt x="2" y="309"/>
                      </a:lnTo>
                      <a:lnTo>
                        <a:pt x="5" y="318"/>
                      </a:lnTo>
                      <a:lnTo>
                        <a:pt x="8" y="328"/>
                      </a:lnTo>
                      <a:lnTo>
                        <a:pt x="12" y="336"/>
                      </a:lnTo>
                      <a:lnTo>
                        <a:pt x="16" y="344"/>
                      </a:lnTo>
                      <a:lnTo>
                        <a:pt x="22" y="352"/>
                      </a:lnTo>
                      <a:lnTo>
                        <a:pt x="28" y="359"/>
                      </a:lnTo>
                      <a:lnTo>
                        <a:pt x="35" y="365"/>
                      </a:lnTo>
                      <a:lnTo>
                        <a:pt x="44" y="371"/>
                      </a:lnTo>
                      <a:lnTo>
                        <a:pt x="51" y="375"/>
                      </a:lnTo>
                      <a:lnTo>
                        <a:pt x="60" y="379"/>
                      </a:lnTo>
                      <a:lnTo>
                        <a:pt x="69" y="382"/>
                      </a:lnTo>
                      <a:lnTo>
                        <a:pt x="78" y="385"/>
                      </a:lnTo>
                      <a:lnTo>
                        <a:pt x="88" y="387"/>
                      </a:lnTo>
                      <a:lnTo>
                        <a:pt x="98" y="387"/>
                      </a:lnTo>
                      <a:lnTo>
                        <a:pt x="98" y="0"/>
                      </a:lnTo>
                      <a:lnTo>
                        <a:pt x="0"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5" name="Freeform 250"/>
                <p:cNvSpPr>
                  <a:spLocks/>
                </p:cNvSpPr>
                <p:nvPr userDrawn="1"/>
              </p:nvSpPr>
              <p:spPr bwMode="auto">
                <a:xfrm>
                  <a:off x="11304133" y="4606424"/>
                  <a:ext cx="77788" cy="307975"/>
                </a:xfrm>
                <a:custGeom>
                  <a:avLst/>
                  <a:gdLst>
                    <a:gd name="T0" fmla="*/ 0 w 98"/>
                    <a:gd name="T1" fmla="*/ 0 h 387"/>
                    <a:gd name="T2" fmla="*/ 0 w 98"/>
                    <a:gd name="T3" fmla="*/ 387 h 387"/>
                    <a:gd name="T4" fmla="*/ 0 w 98"/>
                    <a:gd name="T5" fmla="*/ 387 h 387"/>
                    <a:gd name="T6" fmla="*/ 10 w 98"/>
                    <a:gd name="T7" fmla="*/ 387 h 387"/>
                    <a:gd name="T8" fmla="*/ 19 w 98"/>
                    <a:gd name="T9" fmla="*/ 385 h 387"/>
                    <a:gd name="T10" fmla="*/ 29 w 98"/>
                    <a:gd name="T11" fmla="*/ 382 h 387"/>
                    <a:gd name="T12" fmla="*/ 39 w 98"/>
                    <a:gd name="T13" fmla="*/ 379 h 387"/>
                    <a:gd name="T14" fmla="*/ 47 w 98"/>
                    <a:gd name="T15" fmla="*/ 375 h 387"/>
                    <a:gd name="T16" fmla="*/ 55 w 98"/>
                    <a:gd name="T17" fmla="*/ 371 h 387"/>
                    <a:gd name="T18" fmla="*/ 62 w 98"/>
                    <a:gd name="T19" fmla="*/ 365 h 387"/>
                    <a:gd name="T20" fmla="*/ 69 w 98"/>
                    <a:gd name="T21" fmla="*/ 359 h 387"/>
                    <a:gd name="T22" fmla="*/ 75 w 98"/>
                    <a:gd name="T23" fmla="*/ 352 h 387"/>
                    <a:gd name="T24" fmla="*/ 81 w 98"/>
                    <a:gd name="T25" fmla="*/ 344 h 387"/>
                    <a:gd name="T26" fmla="*/ 86 w 98"/>
                    <a:gd name="T27" fmla="*/ 336 h 387"/>
                    <a:gd name="T28" fmla="*/ 91 w 98"/>
                    <a:gd name="T29" fmla="*/ 328 h 387"/>
                    <a:gd name="T30" fmla="*/ 93 w 98"/>
                    <a:gd name="T31" fmla="*/ 318 h 387"/>
                    <a:gd name="T32" fmla="*/ 97 w 98"/>
                    <a:gd name="T33" fmla="*/ 309 h 387"/>
                    <a:gd name="T34" fmla="*/ 98 w 98"/>
                    <a:gd name="T35" fmla="*/ 299 h 387"/>
                    <a:gd name="T36" fmla="*/ 98 w 98"/>
                    <a:gd name="T37" fmla="*/ 289 h 387"/>
                    <a:gd name="T38" fmla="*/ 98 w 98"/>
                    <a:gd name="T39" fmla="*/ 0 h 387"/>
                    <a:gd name="T40" fmla="*/ 0 w 98"/>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387">
                      <a:moveTo>
                        <a:pt x="0" y="0"/>
                      </a:moveTo>
                      <a:lnTo>
                        <a:pt x="0" y="387"/>
                      </a:lnTo>
                      <a:lnTo>
                        <a:pt x="0" y="387"/>
                      </a:lnTo>
                      <a:lnTo>
                        <a:pt x="10" y="387"/>
                      </a:lnTo>
                      <a:lnTo>
                        <a:pt x="19" y="385"/>
                      </a:lnTo>
                      <a:lnTo>
                        <a:pt x="29" y="382"/>
                      </a:lnTo>
                      <a:lnTo>
                        <a:pt x="39" y="379"/>
                      </a:lnTo>
                      <a:lnTo>
                        <a:pt x="47" y="375"/>
                      </a:lnTo>
                      <a:lnTo>
                        <a:pt x="55" y="371"/>
                      </a:lnTo>
                      <a:lnTo>
                        <a:pt x="62" y="365"/>
                      </a:lnTo>
                      <a:lnTo>
                        <a:pt x="69" y="359"/>
                      </a:lnTo>
                      <a:lnTo>
                        <a:pt x="75" y="352"/>
                      </a:lnTo>
                      <a:lnTo>
                        <a:pt x="81" y="344"/>
                      </a:lnTo>
                      <a:lnTo>
                        <a:pt x="86" y="336"/>
                      </a:lnTo>
                      <a:lnTo>
                        <a:pt x="91" y="328"/>
                      </a:lnTo>
                      <a:lnTo>
                        <a:pt x="93" y="318"/>
                      </a:lnTo>
                      <a:lnTo>
                        <a:pt x="97" y="309"/>
                      </a:lnTo>
                      <a:lnTo>
                        <a:pt x="98" y="299"/>
                      </a:lnTo>
                      <a:lnTo>
                        <a:pt x="98" y="289"/>
                      </a:lnTo>
                      <a:lnTo>
                        <a:pt x="98" y="0"/>
                      </a:lnTo>
                      <a:lnTo>
                        <a:pt x="0"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6" name="Freeform 251"/>
                <p:cNvSpPr>
                  <a:spLocks/>
                </p:cNvSpPr>
                <p:nvPr userDrawn="1"/>
              </p:nvSpPr>
              <p:spPr bwMode="auto">
                <a:xfrm>
                  <a:off x="11304133" y="4606424"/>
                  <a:ext cx="77788" cy="307975"/>
                </a:xfrm>
                <a:custGeom>
                  <a:avLst/>
                  <a:gdLst>
                    <a:gd name="T0" fmla="*/ 0 w 98"/>
                    <a:gd name="T1" fmla="*/ 0 h 387"/>
                    <a:gd name="T2" fmla="*/ 0 w 98"/>
                    <a:gd name="T3" fmla="*/ 387 h 387"/>
                    <a:gd name="T4" fmla="*/ 0 w 98"/>
                    <a:gd name="T5" fmla="*/ 387 h 387"/>
                    <a:gd name="T6" fmla="*/ 10 w 98"/>
                    <a:gd name="T7" fmla="*/ 387 h 387"/>
                    <a:gd name="T8" fmla="*/ 19 w 98"/>
                    <a:gd name="T9" fmla="*/ 385 h 387"/>
                    <a:gd name="T10" fmla="*/ 29 w 98"/>
                    <a:gd name="T11" fmla="*/ 382 h 387"/>
                    <a:gd name="T12" fmla="*/ 39 w 98"/>
                    <a:gd name="T13" fmla="*/ 379 h 387"/>
                    <a:gd name="T14" fmla="*/ 47 w 98"/>
                    <a:gd name="T15" fmla="*/ 375 h 387"/>
                    <a:gd name="T16" fmla="*/ 55 w 98"/>
                    <a:gd name="T17" fmla="*/ 371 h 387"/>
                    <a:gd name="T18" fmla="*/ 62 w 98"/>
                    <a:gd name="T19" fmla="*/ 365 h 387"/>
                    <a:gd name="T20" fmla="*/ 69 w 98"/>
                    <a:gd name="T21" fmla="*/ 359 h 387"/>
                    <a:gd name="T22" fmla="*/ 75 w 98"/>
                    <a:gd name="T23" fmla="*/ 352 h 387"/>
                    <a:gd name="T24" fmla="*/ 81 w 98"/>
                    <a:gd name="T25" fmla="*/ 344 h 387"/>
                    <a:gd name="T26" fmla="*/ 86 w 98"/>
                    <a:gd name="T27" fmla="*/ 336 h 387"/>
                    <a:gd name="T28" fmla="*/ 91 w 98"/>
                    <a:gd name="T29" fmla="*/ 328 h 387"/>
                    <a:gd name="T30" fmla="*/ 93 w 98"/>
                    <a:gd name="T31" fmla="*/ 318 h 387"/>
                    <a:gd name="T32" fmla="*/ 97 w 98"/>
                    <a:gd name="T33" fmla="*/ 309 h 387"/>
                    <a:gd name="T34" fmla="*/ 98 w 98"/>
                    <a:gd name="T35" fmla="*/ 299 h 387"/>
                    <a:gd name="T36" fmla="*/ 98 w 98"/>
                    <a:gd name="T37" fmla="*/ 289 h 387"/>
                    <a:gd name="T38" fmla="*/ 98 w 98"/>
                    <a:gd name="T39" fmla="*/ 0 h 387"/>
                    <a:gd name="T40" fmla="*/ 0 w 98"/>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387">
                      <a:moveTo>
                        <a:pt x="0" y="0"/>
                      </a:moveTo>
                      <a:lnTo>
                        <a:pt x="0" y="387"/>
                      </a:lnTo>
                      <a:lnTo>
                        <a:pt x="0" y="387"/>
                      </a:lnTo>
                      <a:lnTo>
                        <a:pt x="10" y="387"/>
                      </a:lnTo>
                      <a:lnTo>
                        <a:pt x="19" y="385"/>
                      </a:lnTo>
                      <a:lnTo>
                        <a:pt x="29" y="382"/>
                      </a:lnTo>
                      <a:lnTo>
                        <a:pt x="39" y="379"/>
                      </a:lnTo>
                      <a:lnTo>
                        <a:pt x="47" y="375"/>
                      </a:lnTo>
                      <a:lnTo>
                        <a:pt x="55" y="371"/>
                      </a:lnTo>
                      <a:lnTo>
                        <a:pt x="62" y="365"/>
                      </a:lnTo>
                      <a:lnTo>
                        <a:pt x="69" y="359"/>
                      </a:lnTo>
                      <a:lnTo>
                        <a:pt x="75" y="352"/>
                      </a:lnTo>
                      <a:lnTo>
                        <a:pt x="81" y="344"/>
                      </a:lnTo>
                      <a:lnTo>
                        <a:pt x="86" y="336"/>
                      </a:lnTo>
                      <a:lnTo>
                        <a:pt x="91" y="328"/>
                      </a:lnTo>
                      <a:lnTo>
                        <a:pt x="93" y="318"/>
                      </a:lnTo>
                      <a:lnTo>
                        <a:pt x="97" y="309"/>
                      </a:lnTo>
                      <a:lnTo>
                        <a:pt x="98" y="299"/>
                      </a:lnTo>
                      <a:lnTo>
                        <a:pt x="98" y="289"/>
                      </a:lnTo>
                      <a:lnTo>
                        <a:pt x="9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7" name="Freeform 252"/>
                <p:cNvSpPr>
                  <a:spLocks/>
                </p:cNvSpPr>
                <p:nvPr userDrawn="1"/>
              </p:nvSpPr>
              <p:spPr bwMode="auto">
                <a:xfrm>
                  <a:off x="11669258" y="4606424"/>
                  <a:ext cx="77788" cy="307975"/>
                </a:xfrm>
                <a:custGeom>
                  <a:avLst/>
                  <a:gdLst>
                    <a:gd name="T0" fmla="*/ 0 w 99"/>
                    <a:gd name="T1" fmla="*/ 0 h 387"/>
                    <a:gd name="T2" fmla="*/ 0 w 99"/>
                    <a:gd name="T3" fmla="*/ 289 h 387"/>
                    <a:gd name="T4" fmla="*/ 0 w 99"/>
                    <a:gd name="T5" fmla="*/ 289 h 387"/>
                    <a:gd name="T6" fmla="*/ 0 w 99"/>
                    <a:gd name="T7" fmla="*/ 299 h 387"/>
                    <a:gd name="T8" fmla="*/ 3 w 99"/>
                    <a:gd name="T9" fmla="*/ 309 h 387"/>
                    <a:gd name="T10" fmla="*/ 5 w 99"/>
                    <a:gd name="T11" fmla="*/ 318 h 387"/>
                    <a:gd name="T12" fmla="*/ 8 w 99"/>
                    <a:gd name="T13" fmla="*/ 328 h 387"/>
                    <a:gd name="T14" fmla="*/ 12 w 99"/>
                    <a:gd name="T15" fmla="*/ 336 h 387"/>
                    <a:gd name="T16" fmla="*/ 17 w 99"/>
                    <a:gd name="T17" fmla="*/ 344 h 387"/>
                    <a:gd name="T18" fmla="*/ 23 w 99"/>
                    <a:gd name="T19" fmla="*/ 352 h 387"/>
                    <a:gd name="T20" fmla="*/ 29 w 99"/>
                    <a:gd name="T21" fmla="*/ 359 h 387"/>
                    <a:gd name="T22" fmla="*/ 36 w 99"/>
                    <a:gd name="T23" fmla="*/ 365 h 387"/>
                    <a:gd name="T24" fmla="*/ 43 w 99"/>
                    <a:gd name="T25" fmla="*/ 371 h 387"/>
                    <a:gd name="T26" fmla="*/ 52 w 99"/>
                    <a:gd name="T27" fmla="*/ 375 h 387"/>
                    <a:gd name="T28" fmla="*/ 60 w 99"/>
                    <a:gd name="T29" fmla="*/ 379 h 387"/>
                    <a:gd name="T30" fmla="*/ 69 w 99"/>
                    <a:gd name="T31" fmla="*/ 382 h 387"/>
                    <a:gd name="T32" fmla="*/ 79 w 99"/>
                    <a:gd name="T33" fmla="*/ 385 h 387"/>
                    <a:gd name="T34" fmla="*/ 88 w 99"/>
                    <a:gd name="T35" fmla="*/ 387 h 387"/>
                    <a:gd name="T36" fmla="*/ 99 w 99"/>
                    <a:gd name="T37" fmla="*/ 387 h 387"/>
                    <a:gd name="T38" fmla="*/ 99 w 99"/>
                    <a:gd name="T39" fmla="*/ 0 h 387"/>
                    <a:gd name="T40" fmla="*/ 0 w 99"/>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9" h="387">
                      <a:moveTo>
                        <a:pt x="0" y="0"/>
                      </a:moveTo>
                      <a:lnTo>
                        <a:pt x="0" y="289"/>
                      </a:lnTo>
                      <a:lnTo>
                        <a:pt x="0" y="289"/>
                      </a:lnTo>
                      <a:lnTo>
                        <a:pt x="0" y="299"/>
                      </a:lnTo>
                      <a:lnTo>
                        <a:pt x="3" y="309"/>
                      </a:lnTo>
                      <a:lnTo>
                        <a:pt x="5" y="318"/>
                      </a:lnTo>
                      <a:lnTo>
                        <a:pt x="8" y="328"/>
                      </a:lnTo>
                      <a:lnTo>
                        <a:pt x="12" y="336"/>
                      </a:lnTo>
                      <a:lnTo>
                        <a:pt x="17" y="344"/>
                      </a:lnTo>
                      <a:lnTo>
                        <a:pt x="23" y="352"/>
                      </a:lnTo>
                      <a:lnTo>
                        <a:pt x="29" y="359"/>
                      </a:lnTo>
                      <a:lnTo>
                        <a:pt x="36" y="365"/>
                      </a:lnTo>
                      <a:lnTo>
                        <a:pt x="43" y="371"/>
                      </a:lnTo>
                      <a:lnTo>
                        <a:pt x="52" y="375"/>
                      </a:lnTo>
                      <a:lnTo>
                        <a:pt x="60" y="379"/>
                      </a:lnTo>
                      <a:lnTo>
                        <a:pt x="69" y="382"/>
                      </a:lnTo>
                      <a:lnTo>
                        <a:pt x="79" y="385"/>
                      </a:lnTo>
                      <a:lnTo>
                        <a:pt x="88" y="387"/>
                      </a:lnTo>
                      <a:lnTo>
                        <a:pt x="99" y="387"/>
                      </a:lnTo>
                      <a:lnTo>
                        <a:pt x="99" y="0"/>
                      </a:lnTo>
                      <a:lnTo>
                        <a:pt x="0"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8" name="Freeform 253"/>
                <p:cNvSpPr>
                  <a:spLocks/>
                </p:cNvSpPr>
                <p:nvPr userDrawn="1"/>
              </p:nvSpPr>
              <p:spPr bwMode="auto">
                <a:xfrm>
                  <a:off x="11669258" y="4606424"/>
                  <a:ext cx="77788" cy="307975"/>
                </a:xfrm>
                <a:custGeom>
                  <a:avLst/>
                  <a:gdLst>
                    <a:gd name="T0" fmla="*/ 0 w 99"/>
                    <a:gd name="T1" fmla="*/ 0 h 387"/>
                    <a:gd name="T2" fmla="*/ 0 w 99"/>
                    <a:gd name="T3" fmla="*/ 289 h 387"/>
                    <a:gd name="T4" fmla="*/ 0 w 99"/>
                    <a:gd name="T5" fmla="*/ 289 h 387"/>
                    <a:gd name="T6" fmla="*/ 0 w 99"/>
                    <a:gd name="T7" fmla="*/ 299 h 387"/>
                    <a:gd name="T8" fmla="*/ 3 w 99"/>
                    <a:gd name="T9" fmla="*/ 309 h 387"/>
                    <a:gd name="T10" fmla="*/ 5 w 99"/>
                    <a:gd name="T11" fmla="*/ 318 h 387"/>
                    <a:gd name="T12" fmla="*/ 8 w 99"/>
                    <a:gd name="T13" fmla="*/ 328 h 387"/>
                    <a:gd name="T14" fmla="*/ 12 w 99"/>
                    <a:gd name="T15" fmla="*/ 336 h 387"/>
                    <a:gd name="T16" fmla="*/ 17 w 99"/>
                    <a:gd name="T17" fmla="*/ 344 h 387"/>
                    <a:gd name="T18" fmla="*/ 23 w 99"/>
                    <a:gd name="T19" fmla="*/ 352 h 387"/>
                    <a:gd name="T20" fmla="*/ 29 w 99"/>
                    <a:gd name="T21" fmla="*/ 359 h 387"/>
                    <a:gd name="T22" fmla="*/ 36 w 99"/>
                    <a:gd name="T23" fmla="*/ 365 h 387"/>
                    <a:gd name="T24" fmla="*/ 43 w 99"/>
                    <a:gd name="T25" fmla="*/ 371 h 387"/>
                    <a:gd name="T26" fmla="*/ 52 w 99"/>
                    <a:gd name="T27" fmla="*/ 375 h 387"/>
                    <a:gd name="T28" fmla="*/ 60 w 99"/>
                    <a:gd name="T29" fmla="*/ 379 h 387"/>
                    <a:gd name="T30" fmla="*/ 69 w 99"/>
                    <a:gd name="T31" fmla="*/ 382 h 387"/>
                    <a:gd name="T32" fmla="*/ 79 w 99"/>
                    <a:gd name="T33" fmla="*/ 385 h 387"/>
                    <a:gd name="T34" fmla="*/ 88 w 99"/>
                    <a:gd name="T35" fmla="*/ 387 h 387"/>
                    <a:gd name="T36" fmla="*/ 99 w 99"/>
                    <a:gd name="T37" fmla="*/ 387 h 387"/>
                    <a:gd name="T38" fmla="*/ 99 w 99"/>
                    <a:gd name="T39" fmla="*/ 0 h 387"/>
                    <a:gd name="T40" fmla="*/ 0 w 99"/>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9" h="387">
                      <a:moveTo>
                        <a:pt x="0" y="0"/>
                      </a:moveTo>
                      <a:lnTo>
                        <a:pt x="0" y="289"/>
                      </a:lnTo>
                      <a:lnTo>
                        <a:pt x="0" y="289"/>
                      </a:lnTo>
                      <a:lnTo>
                        <a:pt x="0" y="299"/>
                      </a:lnTo>
                      <a:lnTo>
                        <a:pt x="3" y="309"/>
                      </a:lnTo>
                      <a:lnTo>
                        <a:pt x="5" y="318"/>
                      </a:lnTo>
                      <a:lnTo>
                        <a:pt x="8" y="328"/>
                      </a:lnTo>
                      <a:lnTo>
                        <a:pt x="12" y="336"/>
                      </a:lnTo>
                      <a:lnTo>
                        <a:pt x="17" y="344"/>
                      </a:lnTo>
                      <a:lnTo>
                        <a:pt x="23" y="352"/>
                      </a:lnTo>
                      <a:lnTo>
                        <a:pt x="29" y="359"/>
                      </a:lnTo>
                      <a:lnTo>
                        <a:pt x="36" y="365"/>
                      </a:lnTo>
                      <a:lnTo>
                        <a:pt x="43" y="371"/>
                      </a:lnTo>
                      <a:lnTo>
                        <a:pt x="52" y="375"/>
                      </a:lnTo>
                      <a:lnTo>
                        <a:pt x="60" y="379"/>
                      </a:lnTo>
                      <a:lnTo>
                        <a:pt x="69" y="382"/>
                      </a:lnTo>
                      <a:lnTo>
                        <a:pt x="79" y="385"/>
                      </a:lnTo>
                      <a:lnTo>
                        <a:pt x="88" y="387"/>
                      </a:lnTo>
                      <a:lnTo>
                        <a:pt x="99" y="387"/>
                      </a:lnTo>
                      <a:lnTo>
                        <a:pt x="99"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9" name="Freeform 254"/>
                <p:cNvSpPr>
                  <a:spLocks/>
                </p:cNvSpPr>
                <p:nvPr userDrawn="1"/>
              </p:nvSpPr>
              <p:spPr bwMode="auto">
                <a:xfrm>
                  <a:off x="11747046" y="4606424"/>
                  <a:ext cx="77788" cy="307975"/>
                </a:xfrm>
                <a:custGeom>
                  <a:avLst/>
                  <a:gdLst>
                    <a:gd name="T0" fmla="*/ 0 w 98"/>
                    <a:gd name="T1" fmla="*/ 0 h 387"/>
                    <a:gd name="T2" fmla="*/ 0 w 98"/>
                    <a:gd name="T3" fmla="*/ 387 h 387"/>
                    <a:gd name="T4" fmla="*/ 0 w 98"/>
                    <a:gd name="T5" fmla="*/ 387 h 387"/>
                    <a:gd name="T6" fmla="*/ 10 w 98"/>
                    <a:gd name="T7" fmla="*/ 387 h 387"/>
                    <a:gd name="T8" fmla="*/ 19 w 98"/>
                    <a:gd name="T9" fmla="*/ 385 h 387"/>
                    <a:gd name="T10" fmla="*/ 29 w 98"/>
                    <a:gd name="T11" fmla="*/ 382 h 387"/>
                    <a:gd name="T12" fmla="*/ 38 w 98"/>
                    <a:gd name="T13" fmla="*/ 379 h 387"/>
                    <a:gd name="T14" fmla="*/ 46 w 98"/>
                    <a:gd name="T15" fmla="*/ 375 h 387"/>
                    <a:gd name="T16" fmla="*/ 55 w 98"/>
                    <a:gd name="T17" fmla="*/ 371 h 387"/>
                    <a:gd name="T18" fmla="*/ 62 w 98"/>
                    <a:gd name="T19" fmla="*/ 365 h 387"/>
                    <a:gd name="T20" fmla="*/ 69 w 98"/>
                    <a:gd name="T21" fmla="*/ 359 h 387"/>
                    <a:gd name="T22" fmla="*/ 75 w 98"/>
                    <a:gd name="T23" fmla="*/ 352 h 387"/>
                    <a:gd name="T24" fmla="*/ 81 w 98"/>
                    <a:gd name="T25" fmla="*/ 344 h 387"/>
                    <a:gd name="T26" fmla="*/ 86 w 98"/>
                    <a:gd name="T27" fmla="*/ 336 h 387"/>
                    <a:gd name="T28" fmla="*/ 90 w 98"/>
                    <a:gd name="T29" fmla="*/ 328 h 387"/>
                    <a:gd name="T30" fmla="*/ 93 w 98"/>
                    <a:gd name="T31" fmla="*/ 318 h 387"/>
                    <a:gd name="T32" fmla="*/ 95 w 98"/>
                    <a:gd name="T33" fmla="*/ 309 h 387"/>
                    <a:gd name="T34" fmla="*/ 98 w 98"/>
                    <a:gd name="T35" fmla="*/ 299 h 387"/>
                    <a:gd name="T36" fmla="*/ 98 w 98"/>
                    <a:gd name="T37" fmla="*/ 289 h 387"/>
                    <a:gd name="T38" fmla="*/ 98 w 98"/>
                    <a:gd name="T39" fmla="*/ 0 h 387"/>
                    <a:gd name="T40" fmla="*/ 0 w 98"/>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387">
                      <a:moveTo>
                        <a:pt x="0" y="0"/>
                      </a:moveTo>
                      <a:lnTo>
                        <a:pt x="0" y="387"/>
                      </a:lnTo>
                      <a:lnTo>
                        <a:pt x="0" y="387"/>
                      </a:lnTo>
                      <a:lnTo>
                        <a:pt x="10" y="387"/>
                      </a:lnTo>
                      <a:lnTo>
                        <a:pt x="19" y="385"/>
                      </a:lnTo>
                      <a:lnTo>
                        <a:pt x="29" y="382"/>
                      </a:lnTo>
                      <a:lnTo>
                        <a:pt x="38" y="379"/>
                      </a:lnTo>
                      <a:lnTo>
                        <a:pt x="46" y="375"/>
                      </a:lnTo>
                      <a:lnTo>
                        <a:pt x="55" y="371"/>
                      </a:lnTo>
                      <a:lnTo>
                        <a:pt x="62" y="365"/>
                      </a:lnTo>
                      <a:lnTo>
                        <a:pt x="69" y="359"/>
                      </a:lnTo>
                      <a:lnTo>
                        <a:pt x="75" y="352"/>
                      </a:lnTo>
                      <a:lnTo>
                        <a:pt x="81" y="344"/>
                      </a:lnTo>
                      <a:lnTo>
                        <a:pt x="86" y="336"/>
                      </a:lnTo>
                      <a:lnTo>
                        <a:pt x="90" y="328"/>
                      </a:lnTo>
                      <a:lnTo>
                        <a:pt x="93" y="318"/>
                      </a:lnTo>
                      <a:lnTo>
                        <a:pt x="95" y="309"/>
                      </a:lnTo>
                      <a:lnTo>
                        <a:pt x="98" y="299"/>
                      </a:lnTo>
                      <a:lnTo>
                        <a:pt x="98" y="289"/>
                      </a:lnTo>
                      <a:lnTo>
                        <a:pt x="98" y="0"/>
                      </a:lnTo>
                      <a:lnTo>
                        <a:pt x="0"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0" name="Freeform 255"/>
                <p:cNvSpPr>
                  <a:spLocks/>
                </p:cNvSpPr>
                <p:nvPr userDrawn="1"/>
              </p:nvSpPr>
              <p:spPr bwMode="auto">
                <a:xfrm>
                  <a:off x="11448596" y="4606424"/>
                  <a:ext cx="76200" cy="307975"/>
                </a:xfrm>
                <a:custGeom>
                  <a:avLst/>
                  <a:gdLst>
                    <a:gd name="T0" fmla="*/ 0 w 98"/>
                    <a:gd name="T1" fmla="*/ 0 h 387"/>
                    <a:gd name="T2" fmla="*/ 0 w 98"/>
                    <a:gd name="T3" fmla="*/ 289 h 387"/>
                    <a:gd name="T4" fmla="*/ 0 w 98"/>
                    <a:gd name="T5" fmla="*/ 289 h 387"/>
                    <a:gd name="T6" fmla="*/ 0 w 98"/>
                    <a:gd name="T7" fmla="*/ 299 h 387"/>
                    <a:gd name="T8" fmla="*/ 1 w 98"/>
                    <a:gd name="T9" fmla="*/ 309 h 387"/>
                    <a:gd name="T10" fmla="*/ 4 w 98"/>
                    <a:gd name="T11" fmla="*/ 318 h 387"/>
                    <a:gd name="T12" fmla="*/ 7 w 98"/>
                    <a:gd name="T13" fmla="*/ 328 h 387"/>
                    <a:gd name="T14" fmla="*/ 12 w 98"/>
                    <a:gd name="T15" fmla="*/ 336 h 387"/>
                    <a:gd name="T16" fmla="*/ 17 w 98"/>
                    <a:gd name="T17" fmla="*/ 344 h 387"/>
                    <a:gd name="T18" fmla="*/ 22 w 98"/>
                    <a:gd name="T19" fmla="*/ 352 h 387"/>
                    <a:gd name="T20" fmla="*/ 29 w 98"/>
                    <a:gd name="T21" fmla="*/ 359 h 387"/>
                    <a:gd name="T22" fmla="*/ 36 w 98"/>
                    <a:gd name="T23" fmla="*/ 365 h 387"/>
                    <a:gd name="T24" fmla="*/ 43 w 98"/>
                    <a:gd name="T25" fmla="*/ 371 h 387"/>
                    <a:gd name="T26" fmla="*/ 51 w 98"/>
                    <a:gd name="T27" fmla="*/ 375 h 387"/>
                    <a:gd name="T28" fmla="*/ 60 w 98"/>
                    <a:gd name="T29" fmla="*/ 379 h 387"/>
                    <a:gd name="T30" fmla="*/ 69 w 98"/>
                    <a:gd name="T31" fmla="*/ 382 h 387"/>
                    <a:gd name="T32" fmla="*/ 77 w 98"/>
                    <a:gd name="T33" fmla="*/ 385 h 387"/>
                    <a:gd name="T34" fmla="*/ 88 w 98"/>
                    <a:gd name="T35" fmla="*/ 387 h 387"/>
                    <a:gd name="T36" fmla="*/ 98 w 98"/>
                    <a:gd name="T37" fmla="*/ 387 h 387"/>
                    <a:gd name="T38" fmla="*/ 98 w 98"/>
                    <a:gd name="T39" fmla="*/ 0 h 387"/>
                    <a:gd name="T40" fmla="*/ 0 w 98"/>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387">
                      <a:moveTo>
                        <a:pt x="0" y="0"/>
                      </a:moveTo>
                      <a:lnTo>
                        <a:pt x="0" y="289"/>
                      </a:lnTo>
                      <a:lnTo>
                        <a:pt x="0" y="289"/>
                      </a:lnTo>
                      <a:lnTo>
                        <a:pt x="0" y="299"/>
                      </a:lnTo>
                      <a:lnTo>
                        <a:pt x="1" y="309"/>
                      </a:lnTo>
                      <a:lnTo>
                        <a:pt x="4" y="318"/>
                      </a:lnTo>
                      <a:lnTo>
                        <a:pt x="7" y="328"/>
                      </a:lnTo>
                      <a:lnTo>
                        <a:pt x="12" y="336"/>
                      </a:lnTo>
                      <a:lnTo>
                        <a:pt x="17" y="344"/>
                      </a:lnTo>
                      <a:lnTo>
                        <a:pt x="22" y="352"/>
                      </a:lnTo>
                      <a:lnTo>
                        <a:pt x="29" y="359"/>
                      </a:lnTo>
                      <a:lnTo>
                        <a:pt x="36" y="365"/>
                      </a:lnTo>
                      <a:lnTo>
                        <a:pt x="43" y="371"/>
                      </a:lnTo>
                      <a:lnTo>
                        <a:pt x="51" y="375"/>
                      </a:lnTo>
                      <a:lnTo>
                        <a:pt x="60" y="379"/>
                      </a:lnTo>
                      <a:lnTo>
                        <a:pt x="69" y="382"/>
                      </a:lnTo>
                      <a:lnTo>
                        <a:pt x="77" y="385"/>
                      </a:lnTo>
                      <a:lnTo>
                        <a:pt x="88" y="387"/>
                      </a:lnTo>
                      <a:lnTo>
                        <a:pt x="98" y="387"/>
                      </a:lnTo>
                      <a:lnTo>
                        <a:pt x="98" y="0"/>
                      </a:lnTo>
                      <a:lnTo>
                        <a:pt x="0"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1" name="Freeform 256"/>
                <p:cNvSpPr>
                  <a:spLocks/>
                </p:cNvSpPr>
                <p:nvPr userDrawn="1"/>
              </p:nvSpPr>
              <p:spPr bwMode="auto">
                <a:xfrm>
                  <a:off x="11448596" y="4606424"/>
                  <a:ext cx="76200" cy="307975"/>
                </a:xfrm>
                <a:custGeom>
                  <a:avLst/>
                  <a:gdLst>
                    <a:gd name="T0" fmla="*/ 0 w 98"/>
                    <a:gd name="T1" fmla="*/ 0 h 387"/>
                    <a:gd name="T2" fmla="*/ 0 w 98"/>
                    <a:gd name="T3" fmla="*/ 289 h 387"/>
                    <a:gd name="T4" fmla="*/ 0 w 98"/>
                    <a:gd name="T5" fmla="*/ 289 h 387"/>
                    <a:gd name="T6" fmla="*/ 0 w 98"/>
                    <a:gd name="T7" fmla="*/ 299 h 387"/>
                    <a:gd name="T8" fmla="*/ 1 w 98"/>
                    <a:gd name="T9" fmla="*/ 309 h 387"/>
                    <a:gd name="T10" fmla="*/ 4 w 98"/>
                    <a:gd name="T11" fmla="*/ 318 h 387"/>
                    <a:gd name="T12" fmla="*/ 7 w 98"/>
                    <a:gd name="T13" fmla="*/ 328 h 387"/>
                    <a:gd name="T14" fmla="*/ 12 w 98"/>
                    <a:gd name="T15" fmla="*/ 336 h 387"/>
                    <a:gd name="T16" fmla="*/ 17 w 98"/>
                    <a:gd name="T17" fmla="*/ 344 h 387"/>
                    <a:gd name="T18" fmla="*/ 22 w 98"/>
                    <a:gd name="T19" fmla="*/ 352 h 387"/>
                    <a:gd name="T20" fmla="*/ 29 w 98"/>
                    <a:gd name="T21" fmla="*/ 359 h 387"/>
                    <a:gd name="T22" fmla="*/ 36 w 98"/>
                    <a:gd name="T23" fmla="*/ 365 h 387"/>
                    <a:gd name="T24" fmla="*/ 43 w 98"/>
                    <a:gd name="T25" fmla="*/ 371 h 387"/>
                    <a:gd name="T26" fmla="*/ 51 w 98"/>
                    <a:gd name="T27" fmla="*/ 375 h 387"/>
                    <a:gd name="T28" fmla="*/ 60 w 98"/>
                    <a:gd name="T29" fmla="*/ 379 h 387"/>
                    <a:gd name="T30" fmla="*/ 69 w 98"/>
                    <a:gd name="T31" fmla="*/ 382 h 387"/>
                    <a:gd name="T32" fmla="*/ 77 w 98"/>
                    <a:gd name="T33" fmla="*/ 385 h 387"/>
                    <a:gd name="T34" fmla="*/ 88 w 98"/>
                    <a:gd name="T35" fmla="*/ 387 h 387"/>
                    <a:gd name="T36" fmla="*/ 98 w 98"/>
                    <a:gd name="T37" fmla="*/ 387 h 387"/>
                    <a:gd name="T38" fmla="*/ 98 w 98"/>
                    <a:gd name="T39" fmla="*/ 0 h 387"/>
                    <a:gd name="T40" fmla="*/ 0 w 98"/>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387">
                      <a:moveTo>
                        <a:pt x="0" y="0"/>
                      </a:moveTo>
                      <a:lnTo>
                        <a:pt x="0" y="289"/>
                      </a:lnTo>
                      <a:lnTo>
                        <a:pt x="0" y="289"/>
                      </a:lnTo>
                      <a:lnTo>
                        <a:pt x="0" y="299"/>
                      </a:lnTo>
                      <a:lnTo>
                        <a:pt x="1" y="309"/>
                      </a:lnTo>
                      <a:lnTo>
                        <a:pt x="4" y="318"/>
                      </a:lnTo>
                      <a:lnTo>
                        <a:pt x="7" y="328"/>
                      </a:lnTo>
                      <a:lnTo>
                        <a:pt x="12" y="336"/>
                      </a:lnTo>
                      <a:lnTo>
                        <a:pt x="17" y="344"/>
                      </a:lnTo>
                      <a:lnTo>
                        <a:pt x="22" y="352"/>
                      </a:lnTo>
                      <a:lnTo>
                        <a:pt x="29" y="359"/>
                      </a:lnTo>
                      <a:lnTo>
                        <a:pt x="36" y="365"/>
                      </a:lnTo>
                      <a:lnTo>
                        <a:pt x="43" y="371"/>
                      </a:lnTo>
                      <a:lnTo>
                        <a:pt x="51" y="375"/>
                      </a:lnTo>
                      <a:lnTo>
                        <a:pt x="60" y="379"/>
                      </a:lnTo>
                      <a:lnTo>
                        <a:pt x="69" y="382"/>
                      </a:lnTo>
                      <a:lnTo>
                        <a:pt x="77" y="385"/>
                      </a:lnTo>
                      <a:lnTo>
                        <a:pt x="88" y="387"/>
                      </a:lnTo>
                      <a:lnTo>
                        <a:pt x="98" y="387"/>
                      </a:lnTo>
                      <a:lnTo>
                        <a:pt x="9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2" name="Freeform 257"/>
                <p:cNvSpPr>
                  <a:spLocks/>
                </p:cNvSpPr>
                <p:nvPr userDrawn="1"/>
              </p:nvSpPr>
              <p:spPr bwMode="auto">
                <a:xfrm>
                  <a:off x="11524796" y="4606424"/>
                  <a:ext cx="79375" cy="307975"/>
                </a:xfrm>
                <a:custGeom>
                  <a:avLst/>
                  <a:gdLst>
                    <a:gd name="T0" fmla="*/ 0 w 98"/>
                    <a:gd name="T1" fmla="*/ 0 h 387"/>
                    <a:gd name="T2" fmla="*/ 0 w 98"/>
                    <a:gd name="T3" fmla="*/ 387 h 387"/>
                    <a:gd name="T4" fmla="*/ 0 w 98"/>
                    <a:gd name="T5" fmla="*/ 387 h 387"/>
                    <a:gd name="T6" fmla="*/ 10 w 98"/>
                    <a:gd name="T7" fmla="*/ 387 h 387"/>
                    <a:gd name="T8" fmla="*/ 20 w 98"/>
                    <a:gd name="T9" fmla="*/ 385 h 387"/>
                    <a:gd name="T10" fmla="*/ 29 w 98"/>
                    <a:gd name="T11" fmla="*/ 382 h 387"/>
                    <a:gd name="T12" fmla="*/ 38 w 98"/>
                    <a:gd name="T13" fmla="*/ 379 h 387"/>
                    <a:gd name="T14" fmla="*/ 46 w 98"/>
                    <a:gd name="T15" fmla="*/ 375 h 387"/>
                    <a:gd name="T16" fmla="*/ 54 w 98"/>
                    <a:gd name="T17" fmla="*/ 371 h 387"/>
                    <a:gd name="T18" fmla="*/ 63 w 98"/>
                    <a:gd name="T19" fmla="*/ 365 h 387"/>
                    <a:gd name="T20" fmla="*/ 69 w 98"/>
                    <a:gd name="T21" fmla="*/ 359 h 387"/>
                    <a:gd name="T22" fmla="*/ 76 w 98"/>
                    <a:gd name="T23" fmla="*/ 352 h 387"/>
                    <a:gd name="T24" fmla="*/ 81 w 98"/>
                    <a:gd name="T25" fmla="*/ 344 h 387"/>
                    <a:gd name="T26" fmla="*/ 86 w 98"/>
                    <a:gd name="T27" fmla="*/ 336 h 387"/>
                    <a:gd name="T28" fmla="*/ 90 w 98"/>
                    <a:gd name="T29" fmla="*/ 328 h 387"/>
                    <a:gd name="T30" fmla="*/ 94 w 98"/>
                    <a:gd name="T31" fmla="*/ 318 h 387"/>
                    <a:gd name="T32" fmla="*/ 96 w 98"/>
                    <a:gd name="T33" fmla="*/ 309 h 387"/>
                    <a:gd name="T34" fmla="*/ 97 w 98"/>
                    <a:gd name="T35" fmla="*/ 299 h 387"/>
                    <a:gd name="T36" fmla="*/ 98 w 98"/>
                    <a:gd name="T37" fmla="*/ 289 h 387"/>
                    <a:gd name="T38" fmla="*/ 98 w 98"/>
                    <a:gd name="T39" fmla="*/ 0 h 387"/>
                    <a:gd name="T40" fmla="*/ 0 w 98"/>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387">
                      <a:moveTo>
                        <a:pt x="0" y="0"/>
                      </a:moveTo>
                      <a:lnTo>
                        <a:pt x="0" y="387"/>
                      </a:lnTo>
                      <a:lnTo>
                        <a:pt x="0" y="387"/>
                      </a:lnTo>
                      <a:lnTo>
                        <a:pt x="10" y="387"/>
                      </a:lnTo>
                      <a:lnTo>
                        <a:pt x="20" y="385"/>
                      </a:lnTo>
                      <a:lnTo>
                        <a:pt x="29" y="382"/>
                      </a:lnTo>
                      <a:lnTo>
                        <a:pt x="38" y="379"/>
                      </a:lnTo>
                      <a:lnTo>
                        <a:pt x="46" y="375"/>
                      </a:lnTo>
                      <a:lnTo>
                        <a:pt x="54" y="371"/>
                      </a:lnTo>
                      <a:lnTo>
                        <a:pt x="63" y="365"/>
                      </a:lnTo>
                      <a:lnTo>
                        <a:pt x="69" y="359"/>
                      </a:lnTo>
                      <a:lnTo>
                        <a:pt x="76" y="352"/>
                      </a:lnTo>
                      <a:lnTo>
                        <a:pt x="81" y="344"/>
                      </a:lnTo>
                      <a:lnTo>
                        <a:pt x="86" y="336"/>
                      </a:lnTo>
                      <a:lnTo>
                        <a:pt x="90" y="328"/>
                      </a:lnTo>
                      <a:lnTo>
                        <a:pt x="94" y="318"/>
                      </a:lnTo>
                      <a:lnTo>
                        <a:pt x="96" y="309"/>
                      </a:lnTo>
                      <a:lnTo>
                        <a:pt x="97" y="299"/>
                      </a:lnTo>
                      <a:lnTo>
                        <a:pt x="98" y="289"/>
                      </a:lnTo>
                      <a:lnTo>
                        <a:pt x="98" y="0"/>
                      </a:lnTo>
                      <a:lnTo>
                        <a:pt x="0"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3" name="Freeform 258"/>
                <p:cNvSpPr>
                  <a:spLocks/>
                </p:cNvSpPr>
                <p:nvPr userDrawn="1"/>
              </p:nvSpPr>
              <p:spPr bwMode="auto">
                <a:xfrm>
                  <a:off x="11524796" y="4606424"/>
                  <a:ext cx="79375" cy="307975"/>
                </a:xfrm>
                <a:custGeom>
                  <a:avLst/>
                  <a:gdLst>
                    <a:gd name="T0" fmla="*/ 0 w 98"/>
                    <a:gd name="T1" fmla="*/ 0 h 387"/>
                    <a:gd name="T2" fmla="*/ 0 w 98"/>
                    <a:gd name="T3" fmla="*/ 387 h 387"/>
                    <a:gd name="T4" fmla="*/ 0 w 98"/>
                    <a:gd name="T5" fmla="*/ 387 h 387"/>
                    <a:gd name="T6" fmla="*/ 10 w 98"/>
                    <a:gd name="T7" fmla="*/ 387 h 387"/>
                    <a:gd name="T8" fmla="*/ 20 w 98"/>
                    <a:gd name="T9" fmla="*/ 385 h 387"/>
                    <a:gd name="T10" fmla="*/ 29 w 98"/>
                    <a:gd name="T11" fmla="*/ 382 h 387"/>
                    <a:gd name="T12" fmla="*/ 38 w 98"/>
                    <a:gd name="T13" fmla="*/ 379 h 387"/>
                    <a:gd name="T14" fmla="*/ 46 w 98"/>
                    <a:gd name="T15" fmla="*/ 375 h 387"/>
                    <a:gd name="T16" fmla="*/ 54 w 98"/>
                    <a:gd name="T17" fmla="*/ 371 h 387"/>
                    <a:gd name="T18" fmla="*/ 63 w 98"/>
                    <a:gd name="T19" fmla="*/ 365 h 387"/>
                    <a:gd name="T20" fmla="*/ 69 w 98"/>
                    <a:gd name="T21" fmla="*/ 359 h 387"/>
                    <a:gd name="T22" fmla="*/ 76 w 98"/>
                    <a:gd name="T23" fmla="*/ 352 h 387"/>
                    <a:gd name="T24" fmla="*/ 81 w 98"/>
                    <a:gd name="T25" fmla="*/ 344 h 387"/>
                    <a:gd name="T26" fmla="*/ 86 w 98"/>
                    <a:gd name="T27" fmla="*/ 336 h 387"/>
                    <a:gd name="T28" fmla="*/ 90 w 98"/>
                    <a:gd name="T29" fmla="*/ 328 h 387"/>
                    <a:gd name="T30" fmla="*/ 94 w 98"/>
                    <a:gd name="T31" fmla="*/ 318 h 387"/>
                    <a:gd name="T32" fmla="*/ 96 w 98"/>
                    <a:gd name="T33" fmla="*/ 309 h 387"/>
                    <a:gd name="T34" fmla="*/ 97 w 98"/>
                    <a:gd name="T35" fmla="*/ 299 h 387"/>
                    <a:gd name="T36" fmla="*/ 98 w 98"/>
                    <a:gd name="T37" fmla="*/ 289 h 387"/>
                    <a:gd name="T38" fmla="*/ 98 w 98"/>
                    <a:gd name="T39" fmla="*/ 0 h 387"/>
                    <a:gd name="T40" fmla="*/ 0 w 98"/>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387">
                      <a:moveTo>
                        <a:pt x="0" y="0"/>
                      </a:moveTo>
                      <a:lnTo>
                        <a:pt x="0" y="387"/>
                      </a:lnTo>
                      <a:lnTo>
                        <a:pt x="0" y="387"/>
                      </a:lnTo>
                      <a:lnTo>
                        <a:pt x="10" y="387"/>
                      </a:lnTo>
                      <a:lnTo>
                        <a:pt x="20" y="385"/>
                      </a:lnTo>
                      <a:lnTo>
                        <a:pt x="29" y="382"/>
                      </a:lnTo>
                      <a:lnTo>
                        <a:pt x="38" y="379"/>
                      </a:lnTo>
                      <a:lnTo>
                        <a:pt x="46" y="375"/>
                      </a:lnTo>
                      <a:lnTo>
                        <a:pt x="54" y="371"/>
                      </a:lnTo>
                      <a:lnTo>
                        <a:pt x="63" y="365"/>
                      </a:lnTo>
                      <a:lnTo>
                        <a:pt x="69" y="359"/>
                      </a:lnTo>
                      <a:lnTo>
                        <a:pt x="76" y="352"/>
                      </a:lnTo>
                      <a:lnTo>
                        <a:pt x="81" y="344"/>
                      </a:lnTo>
                      <a:lnTo>
                        <a:pt x="86" y="336"/>
                      </a:lnTo>
                      <a:lnTo>
                        <a:pt x="90" y="328"/>
                      </a:lnTo>
                      <a:lnTo>
                        <a:pt x="94" y="318"/>
                      </a:lnTo>
                      <a:lnTo>
                        <a:pt x="96" y="309"/>
                      </a:lnTo>
                      <a:lnTo>
                        <a:pt x="97" y="299"/>
                      </a:lnTo>
                      <a:lnTo>
                        <a:pt x="98" y="289"/>
                      </a:lnTo>
                      <a:lnTo>
                        <a:pt x="9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4" name="Freeform 259"/>
                <p:cNvSpPr>
                  <a:spLocks/>
                </p:cNvSpPr>
                <p:nvPr userDrawn="1"/>
              </p:nvSpPr>
              <p:spPr bwMode="auto">
                <a:xfrm>
                  <a:off x="11077121" y="4139699"/>
                  <a:ext cx="71438" cy="141288"/>
                </a:xfrm>
                <a:custGeom>
                  <a:avLst/>
                  <a:gdLst>
                    <a:gd name="T0" fmla="*/ 90 w 90"/>
                    <a:gd name="T1" fmla="*/ 0 h 180"/>
                    <a:gd name="T2" fmla="*/ 90 w 90"/>
                    <a:gd name="T3" fmla="*/ 0 h 180"/>
                    <a:gd name="T4" fmla="*/ 81 w 90"/>
                    <a:gd name="T5" fmla="*/ 0 h 180"/>
                    <a:gd name="T6" fmla="*/ 71 w 90"/>
                    <a:gd name="T7" fmla="*/ 1 h 180"/>
                    <a:gd name="T8" fmla="*/ 63 w 90"/>
                    <a:gd name="T9" fmla="*/ 4 h 180"/>
                    <a:gd name="T10" fmla="*/ 55 w 90"/>
                    <a:gd name="T11" fmla="*/ 7 h 180"/>
                    <a:gd name="T12" fmla="*/ 47 w 90"/>
                    <a:gd name="T13" fmla="*/ 11 h 180"/>
                    <a:gd name="T14" fmla="*/ 39 w 90"/>
                    <a:gd name="T15" fmla="*/ 14 h 180"/>
                    <a:gd name="T16" fmla="*/ 33 w 90"/>
                    <a:gd name="T17" fmla="*/ 20 h 180"/>
                    <a:gd name="T18" fmla="*/ 26 w 90"/>
                    <a:gd name="T19" fmla="*/ 26 h 180"/>
                    <a:gd name="T20" fmla="*/ 20 w 90"/>
                    <a:gd name="T21" fmla="*/ 32 h 180"/>
                    <a:gd name="T22" fmla="*/ 15 w 90"/>
                    <a:gd name="T23" fmla="*/ 39 h 180"/>
                    <a:gd name="T24" fmla="*/ 11 w 90"/>
                    <a:gd name="T25" fmla="*/ 46 h 180"/>
                    <a:gd name="T26" fmla="*/ 7 w 90"/>
                    <a:gd name="T27" fmla="*/ 55 h 180"/>
                    <a:gd name="T28" fmla="*/ 3 w 90"/>
                    <a:gd name="T29" fmla="*/ 63 h 180"/>
                    <a:gd name="T30" fmla="*/ 2 w 90"/>
                    <a:gd name="T31" fmla="*/ 71 h 180"/>
                    <a:gd name="T32" fmla="*/ 0 w 90"/>
                    <a:gd name="T33" fmla="*/ 81 h 180"/>
                    <a:gd name="T34" fmla="*/ 0 w 90"/>
                    <a:gd name="T35" fmla="*/ 89 h 180"/>
                    <a:gd name="T36" fmla="*/ 0 w 90"/>
                    <a:gd name="T37" fmla="*/ 89 h 180"/>
                    <a:gd name="T38" fmla="*/ 0 w 90"/>
                    <a:gd name="T39" fmla="*/ 99 h 180"/>
                    <a:gd name="T40" fmla="*/ 2 w 90"/>
                    <a:gd name="T41" fmla="*/ 107 h 180"/>
                    <a:gd name="T42" fmla="*/ 3 w 90"/>
                    <a:gd name="T43" fmla="*/ 117 h 180"/>
                    <a:gd name="T44" fmla="*/ 7 w 90"/>
                    <a:gd name="T45" fmla="*/ 125 h 180"/>
                    <a:gd name="T46" fmla="*/ 11 w 90"/>
                    <a:gd name="T47" fmla="*/ 132 h 180"/>
                    <a:gd name="T48" fmla="*/ 15 w 90"/>
                    <a:gd name="T49" fmla="*/ 140 h 180"/>
                    <a:gd name="T50" fmla="*/ 20 w 90"/>
                    <a:gd name="T51" fmla="*/ 146 h 180"/>
                    <a:gd name="T52" fmla="*/ 26 w 90"/>
                    <a:gd name="T53" fmla="*/ 153 h 180"/>
                    <a:gd name="T54" fmla="*/ 33 w 90"/>
                    <a:gd name="T55" fmla="*/ 159 h 180"/>
                    <a:gd name="T56" fmla="*/ 39 w 90"/>
                    <a:gd name="T57" fmla="*/ 164 h 180"/>
                    <a:gd name="T58" fmla="*/ 47 w 90"/>
                    <a:gd name="T59" fmla="*/ 169 h 180"/>
                    <a:gd name="T60" fmla="*/ 55 w 90"/>
                    <a:gd name="T61" fmla="*/ 172 h 180"/>
                    <a:gd name="T62" fmla="*/ 63 w 90"/>
                    <a:gd name="T63" fmla="*/ 175 h 180"/>
                    <a:gd name="T64" fmla="*/ 71 w 90"/>
                    <a:gd name="T65" fmla="*/ 177 h 180"/>
                    <a:gd name="T66" fmla="*/ 81 w 90"/>
                    <a:gd name="T67" fmla="*/ 180 h 180"/>
                    <a:gd name="T68" fmla="*/ 90 w 90"/>
                    <a:gd name="T69" fmla="*/ 180 h 180"/>
                    <a:gd name="T70" fmla="*/ 90 w 90"/>
                    <a:gd name="T7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180">
                      <a:moveTo>
                        <a:pt x="90" y="0"/>
                      </a:moveTo>
                      <a:lnTo>
                        <a:pt x="90" y="0"/>
                      </a:lnTo>
                      <a:lnTo>
                        <a:pt x="81" y="0"/>
                      </a:lnTo>
                      <a:lnTo>
                        <a:pt x="71" y="1"/>
                      </a:lnTo>
                      <a:lnTo>
                        <a:pt x="63" y="4"/>
                      </a:lnTo>
                      <a:lnTo>
                        <a:pt x="55" y="7"/>
                      </a:lnTo>
                      <a:lnTo>
                        <a:pt x="47" y="11"/>
                      </a:lnTo>
                      <a:lnTo>
                        <a:pt x="39" y="14"/>
                      </a:lnTo>
                      <a:lnTo>
                        <a:pt x="33" y="20"/>
                      </a:lnTo>
                      <a:lnTo>
                        <a:pt x="26" y="26"/>
                      </a:lnTo>
                      <a:lnTo>
                        <a:pt x="20" y="32"/>
                      </a:lnTo>
                      <a:lnTo>
                        <a:pt x="15" y="39"/>
                      </a:lnTo>
                      <a:lnTo>
                        <a:pt x="11" y="46"/>
                      </a:lnTo>
                      <a:lnTo>
                        <a:pt x="7" y="55"/>
                      </a:lnTo>
                      <a:lnTo>
                        <a:pt x="3" y="63"/>
                      </a:lnTo>
                      <a:lnTo>
                        <a:pt x="2" y="71"/>
                      </a:lnTo>
                      <a:lnTo>
                        <a:pt x="0" y="81"/>
                      </a:lnTo>
                      <a:lnTo>
                        <a:pt x="0" y="89"/>
                      </a:lnTo>
                      <a:lnTo>
                        <a:pt x="0" y="89"/>
                      </a:lnTo>
                      <a:lnTo>
                        <a:pt x="0" y="99"/>
                      </a:lnTo>
                      <a:lnTo>
                        <a:pt x="2" y="107"/>
                      </a:lnTo>
                      <a:lnTo>
                        <a:pt x="3" y="117"/>
                      </a:lnTo>
                      <a:lnTo>
                        <a:pt x="7" y="125"/>
                      </a:lnTo>
                      <a:lnTo>
                        <a:pt x="11" y="132"/>
                      </a:lnTo>
                      <a:lnTo>
                        <a:pt x="15" y="140"/>
                      </a:lnTo>
                      <a:lnTo>
                        <a:pt x="20" y="146"/>
                      </a:lnTo>
                      <a:lnTo>
                        <a:pt x="26" y="153"/>
                      </a:lnTo>
                      <a:lnTo>
                        <a:pt x="33" y="159"/>
                      </a:lnTo>
                      <a:lnTo>
                        <a:pt x="39" y="164"/>
                      </a:lnTo>
                      <a:lnTo>
                        <a:pt x="47" y="169"/>
                      </a:lnTo>
                      <a:lnTo>
                        <a:pt x="55" y="172"/>
                      </a:lnTo>
                      <a:lnTo>
                        <a:pt x="63" y="175"/>
                      </a:lnTo>
                      <a:lnTo>
                        <a:pt x="71" y="177"/>
                      </a:lnTo>
                      <a:lnTo>
                        <a:pt x="81" y="180"/>
                      </a:lnTo>
                      <a:lnTo>
                        <a:pt x="90" y="180"/>
                      </a:lnTo>
                      <a:lnTo>
                        <a:pt x="9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5" name="Rectangle 260"/>
                <p:cNvSpPr>
                  <a:spLocks noChangeArrowheads="1"/>
                </p:cNvSpPr>
                <p:nvPr userDrawn="1"/>
              </p:nvSpPr>
              <p:spPr bwMode="auto">
                <a:xfrm>
                  <a:off x="11524796" y="4025399"/>
                  <a:ext cx="300038" cy="100013"/>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6" name="Rectangle 261"/>
                <p:cNvSpPr>
                  <a:spLocks noChangeArrowheads="1"/>
                </p:cNvSpPr>
                <p:nvPr userDrawn="1"/>
              </p:nvSpPr>
              <p:spPr bwMode="auto">
                <a:xfrm>
                  <a:off x="11524796" y="3949199"/>
                  <a:ext cx="227013" cy="76200"/>
                </a:xfrm>
                <a:prstGeom prst="rect">
                  <a:avLst/>
                </a:prstGeom>
                <a:solidFill>
                  <a:srgbClr val="2A276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7" name="Rectangle 262"/>
                <p:cNvSpPr>
                  <a:spLocks noChangeArrowheads="1"/>
                </p:cNvSpPr>
                <p:nvPr userDrawn="1"/>
              </p:nvSpPr>
              <p:spPr bwMode="auto">
                <a:xfrm>
                  <a:off x="11226346" y="4025399"/>
                  <a:ext cx="298450" cy="100013"/>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8" name="Rectangle 263"/>
                <p:cNvSpPr>
                  <a:spLocks noChangeArrowheads="1"/>
                </p:cNvSpPr>
                <p:nvPr userDrawn="1"/>
              </p:nvSpPr>
              <p:spPr bwMode="auto">
                <a:xfrm>
                  <a:off x="11524796" y="4125411"/>
                  <a:ext cx="300038" cy="623888"/>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9" name="Rectangle 264"/>
                <p:cNvSpPr>
                  <a:spLocks noChangeArrowheads="1"/>
                </p:cNvSpPr>
                <p:nvPr userDrawn="1"/>
              </p:nvSpPr>
              <p:spPr bwMode="auto">
                <a:xfrm>
                  <a:off x="11524796" y="4125411"/>
                  <a:ext cx="300038" cy="62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0" name="Rectangle 265"/>
                <p:cNvSpPr>
                  <a:spLocks noChangeArrowheads="1"/>
                </p:cNvSpPr>
                <p:nvPr userDrawn="1"/>
              </p:nvSpPr>
              <p:spPr bwMode="auto">
                <a:xfrm>
                  <a:off x="11226346" y="4125411"/>
                  <a:ext cx="298450" cy="623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1" name="Rectangle 266"/>
                <p:cNvSpPr>
                  <a:spLocks noChangeArrowheads="1"/>
                </p:cNvSpPr>
                <p:nvPr userDrawn="1"/>
              </p:nvSpPr>
              <p:spPr bwMode="auto">
                <a:xfrm>
                  <a:off x="11226346" y="4125411"/>
                  <a:ext cx="298450" cy="62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2" name="Rectangle 267"/>
                <p:cNvSpPr>
                  <a:spLocks noChangeArrowheads="1"/>
                </p:cNvSpPr>
                <p:nvPr userDrawn="1"/>
              </p:nvSpPr>
              <p:spPr bwMode="auto">
                <a:xfrm>
                  <a:off x="11299371" y="3949199"/>
                  <a:ext cx="225425" cy="76200"/>
                </a:xfrm>
                <a:prstGeom prst="rect">
                  <a:avLst/>
                </a:prstGeom>
                <a:solidFill>
                  <a:srgbClr val="3A3A7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3" name="Freeform 268"/>
                <p:cNvSpPr>
                  <a:spLocks/>
                </p:cNvSpPr>
                <p:nvPr userDrawn="1"/>
              </p:nvSpPr>
              <p:spPr bwMode="auto">
                <a:xfrm>
                  <a:off x="11524796" y="3563436"/>
                  <a:ext cx="300038" cy="385763"/>
                </a:xfrm>
                <a:custGeom>
                  <a:avLst/>
                  <a:gdLst>
                    <a:gd name="T0" fmla="*/ 0 w 377"/>
                    <a:gd name="T1" fmla="*/ 0 h 486"/>
                    <a:gd name="T2" fmla="*/ 0 w 377"/>
                    <a:gd name="T3" fmla="*/ 377 h 486"/>
                    <a:gd name="T4" fmla="*/ 0 w 377"/>
                    <a:gd name="T5" fmla="*/ 486 h 486"/>
                    <a:gd name="T6" fmla="*/ 377 w 377"/>
                    <a:gd name="T7" fmla="*/ 486 h 486"/>
                    <a:gd name="T8" fmla="*/ 377 w 377"/>
                    <a:gd name="T9" fmla="*/ 377 h 486"/>
                    <a:gd name="T10" fmla="*/ 377 w 377"/>
                    <a:gd name="T11" fmla="*/ 377 h 486"/>
                    <a:gd name="T12" fmla="*/ 377 w 377"/>
                    <a:gd name="T13" fmla="*/ 357 h 486"/>
                    <a:gd name="T14" fmla="*/ 374 w 377"/>
                    <a:gd name="T15" fmla="*/ 338 h 486"/>
                    <a:gd name="T16" fmla="*/ 372 w 377"/>
                    <a:gd name="T17" fmla="*/ 318 h 486"/>
                    <a:gd name="T18" fmla="*/ 369 w 377"/>
                    <a:gd name="T19" fmla="*/ 301 h 486"/>
                    <a:gd name="T20" fmla="*/ 365 w 377"/>
                    <a:gd name="T21" fmla="*/ 282 h 486"/>
                    <a:gd name="T22" fmla="*/ 360 w 377"/>
                    <a:gd name="T23" fmla="*/ 264 h 486"/>
                    <a:gd name="T24" fmla="*/ 354 w 377"/>
                    <a:gd name="T25" fmla="*/ 247 h 486"/>
                    <a:gd name="T26" fmla="*/ 347 w 377"/>
                    <a:gd name="T27" fmla="*/ 229 h 486"/>
                    <a:gd name="T28" fmla="*/ 340 w 377"/>
                    <a:gd name="T29" fmla="*/ 213 h 486"/>
                    <a:gd name="T30" fmla="*/ 331 w 377"/>
                    <a:gd name="T31" fmla="*/ 197 h 486"/>
                    <a:gd name="T32" fmla="*/ 322 w 377"/>
                    <a:gd name="T33" fmla="*/ 181 h 486"/>
                    <a:gd name="T34" fmla="*/ 312 w 377"/>
                    <a:gd name="T35" fmla="*/ 165 h 486"/>
                    <a:gd name="T36" fmla="*/ 302 w 377"/>
                    <a:gd name="T37" fmla="*/ 151 h 486"/>
                    <a:gd name="T38" fmla="*/ 291 w 377"/>
                    <a:gd name="T39" fmla="*/ 137 h 486"/>
                    <a:gd name="T40" fmla="*/ 279 w 377"/>
                    <a:gd name="T41" fmla="*/ 124 h 486"/>
                    <a:gd name="T42" fmla="*/ 266 w 377"/>
                    <a:gd name="T43" fmla="*/ 110 h 486"/>
                    <a:gd name="T44" fmla="*/ 253 w 377"/>
                    <a:gd name="T45" fmla="*/ 97 h 486"/>
                    <a:gd name="T46" fmla="*/ 240 w 377"/>
                    <a:gd name="T47" fmla="*/ 85 h 486"/>
                    <a:gd name="T48" fmla="*/ 226 w 377"/>
                    <a:gd name="T49" fmla="*/ 75 h 486"/>
                    <a:gd name="T50" fmla="*/ 210 w 377"/>
                    <a:gd name="T51" fmla="*/ 64 h 486"/>
                    <a:gd name="T52" fmla="*/ 195 w 377"/>
                    <a:gd name="T53" fmla="*/ 55 h 486"/>
                    <a:gd name="T54" fmla="*/ 179 w 377"/>
                    <a:gd name="T55" fmla="*/ 45 h 486"/>
                    <a:gd name="T56" fmla="*/ 163 w 377"/>
                    <a:gd name="T57" fmla="*/ 37 h 486"/>
                    <a:gd name="T58" fmla="*/ 146 w 377"/>
                    <a:gd name="T59" fmla="*/ 30 h 486"/>
                    <a:gd name="T60" fmla="*/ 129 w 377"/>
                    <a:gd name="T61" fmla="*/ 22 h 486"/>
                    <a:gd name="T62" fmla="*/ 111 w 377"/>
                    <a:gd name="T63" fmla="*/ 17 h 486"/>
                    <a:gd name="T64" fmla="*/ 94 w 377"/>
                    <a:gd name="T65" fmla="*/ 12 h 486"/>
                    <a:gd name="T66" fmla="*/ 76 w 377"/>
                    <a:gd name="T67" fmla="*/ 7 h 486"/>
                    <a:gd name="T68" fmla="*/ 57 w 377"/>
                    <a:gd name="T69" fmla="*/ 3 h 486"/>
                    <a:gd name="T70" fmla="*/ 38 w 377"/>
                    <a:gd name="T71" fmla="*/ 1 h 486"/>
                    <a:gd name="T72" fmla="*/ 19 w 377"/>
                    <a:gd name="T73" fmla="*/ 0 h 486"/>
                    <a:gd name="T74" fmla="*/ 0 w 377"/>
                    <a:gd name="T75" fmla="*/ 0 h 486"/>
                    <a:gd name="T76" fmla="*/ 0 w 377"/>
                    <a:gd name="T77" fmla="*/ 0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7" h="486">
                      <a:moveTo>
                        <a:pt x="0" y="0"/>
                      </a:moveTo>
                      <a:lnTo>
                        <a:pt x="0" y="377"/>
                      </a:lnTo>
                      <a:lnTo>
                        <a:pt x="0" y="486"/>
                      </a:lnTo>
                      <a:lnTo>
                        <a:pt x="377" y="486"/>
                      </a:lnTo>
                      <a:lnTo>
                        <a:pt x="377" y="377"/>
                      </a:lnTo>
                      <a:lnTo>
                        <a:pt x="377" y="377"/>
                      </a:lnTo>
                      <a:lnTo>
                        <a:pt x="377" y="357"/>
                      </a:lnTo>
                      <a:lnTo>
                        <a:pt x="374" y="338"/>
                      </a:lnTo>
                      <a:lnTo>
                        <a:pt x="372" y="318"/>
                      </a:lnTo>
                      <a:lnTo>
                        <a:pt x="369" y="301"/>
                      </a:lnTo>
                      <a:lnTo>
                        <a:pt x="365" y="282"/>
                      </a:lnTo>
                      <a:lnTo>
                        <a:pt x="360" y="264"/>
                      </a:lnTo>
                      <a:lnTo>
                        <a:pt x="354" y="247"/>
                      </a:lnTo>
                      <a:lnTo>
                        <a:pt x="347" y="229"/>
                      </a:lnTo>
                      <a:lnTo>
                        <a:pt x="340" y="213"/>
                      </a:lnTo>
                      <a:lnTo>
                        <a:pt x="331" y="197"/>
                      </a:lnTo>
                      <a:lnTo>
                        <a:pt x="322" y="181"/>
                      </a:lnTo>
                      <a:lnTo>
                        <a:pt x="312" y="165"/>
                      </a:lnTo>
                      <a:lnTo>
                        <a:pt x="302" y="151"/>
                      </a:lnTo>
                      <a:lnTo>
                        <a:pt x="291" y="137"/>
                      </a:lnTo>
                      <a:lnTo>
                        <a:pt x="279" y="124"/>
                      </a:lnTo>
                      <a:lnTo>
                        <a:pt x="266" y="110"/>
                      </a:lnTo>
                      <a:lnTo>
                        <a:pt x="253" y="97"/>
                      </a:lnTo>
                      <a:lnTo>
                        <a:pt x="240" y="85"/>
                      </a:lnTo>
                      <a:lnTo>
                        <a:pt x="226" y="75"/>
                      </a:lnTo>
                      <a:lnTo>
                        <a:pt x="210" y="64"/>
                      </a:lnTo>
                      <a:lnTo>
                        <a:pt x="195" y="55"/>
                      </a:lnTo>
                      <a:lnTo>
                        <a:pt x="179" y="45"/>
                      </a:lnTo>
                      <a:lnTo>
                        <a:pt x="163" y="37"/>
                      </a:lnTo>
                      <a:lnTo>
                        <a:pt x="146" y="30"/>
                      </a:lnTo>
                      <a:lnTo>
                        <a:pt x="129" y="22"/>
                      </a:lnTo>
                      <a:lnTo>
                        <a:pt x="111" y="17"/>
                      </a:lnTo>
                      <a:lnTo>
                        <a:pt x="94" y="12"/>
                      </a:lnTo>
                      <a:lnTo>
                        <a:pt x="76" y="7"/>
                      </a:lnTo>
                      <a:lnTo>
                        <a:pt x="57" y="3"/>
                      </a:lnTo>
                      <a:lnTo>
                        <a:pt x="38" y="1"/>
                      </a:lnTo>
                      <a:lnTo>
                        <a:pt x="19" y="0"/>
                      </a:lnTo>
                      <a:lnTo>
                        <a:pt x="0" y="0"/>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4" name="Freeform 269"/>
                <p:cNvSpPr>
                  <a:spLocks/>
                </p:cNvSpPr>
                <p:nvPr userDrawn="1"/>
              </p:nvSpPr>
              <p:spPr bwMode="auto">
                <a:xfrm>
                  <a:off x="11226346" y="3563436"/>
                  <a:ext cx="298450" cy="385763"/>
                </a:xfrm>
                <a:custGeom>
                  <a:avLst/>
                  <a:gdLst>
                    <a:gd name="T0" fmla="*/ 0 w 377"/>
                    <a:gd name="T1" fmla="*/ 377 h 486"/>
                    <a:gd name="T2" fmla="*/ 0 w 377"/>
                    <a:gd name="T3" fmla="*/ 486 h 486"/>
                    <a:gd name="T4" fmla="*/ 377 w 377"/>
                    <a:gd name="T5" fmla="*/ 486 h 486"/>
                    <a:gd name="T6" fmla="*/ 377 w 377"/>
                    <a:gd name="T7" fmla="*/ 377 h 486"/>
                    <a:gd name="T8" fmla="*/ 377 w 377"/>
                    <a:gd name="T9" fmla="*/ 0 h 486"/>
                    <a:gd name="T10" fmla="*/ 377 w 377"/>
                    <a:gd name="T11" fmla="*/ 0 h 486"/>
                    <a:gd name="T12" fmla="*/ 358 w 377"/>
                    <a:gd name="T13" fmla="*/ 0 h 486"/>
                    <a:gd name="T14" fmla="*/ 339 w 377"/>
                    <a:gd name="T15" fmla="*/ 1 h 486"/>
                    <a:gd name="T16" fmla="*/ 320 w 377"/>
                    <a:gd name="T17" fmla="*/ 3 h 486"/>
                    <a:gd name="T18" fmla="*/ 301 w 377"/>
                    <a:gd name="T19" fmla="*/ 7 h 486"/>
                    <a:gd name="T20" fmla="*/ 283 w 377"/>
                    <a:gd name="T21" fmla="*/ 12 h 486"/>
                    <a:gd name="T22" fmla="*/ 265 w 377"/>
                    <a:gd name="T23" fmla="*/ 17 h 486"/>
                    <a:gd name="T24" fmla="*/ 247 w 377"/>
                    <a:gd name="T25" fmla="*/ 22 h 486"/>
                    <a:gd name="T26" fmla="*/ 230 w 377"/>
                    <a:gd name="T27" fmla="*/ 30 h 486"/>
                    <a:gd name="T28" fmla="*/ 214 w 377"/>
                    <a:gd name="T29" fmla="*/ 37 h 486"/>
                    <a:gd name="T30" fmla="*/ 197 w 377"/>
                    <a:gd name="T31" fmla="*/ 45 h 486"/>
                    <a:gd name="T32" fmla="*/ 182 w 377"/>
                    <a:gd name="T33" fmla="*/ 55 h 486"/>
                    <a:gd name="T34" fmla="*/ 166 w 377"/>
                    <a:gd name="T35" fmla="*/ 64 h 486"/>
                    <a:gd name="T36" fmla="*/ 151 w 377"/>
                    <a:gd name="T37" fmla="*/ 75 h 486"/>
                    <a:gd name="T38" fmla="*/ 138 w 377"/>
                    <a:gd name="T39" fmla="*/ 85 h 486"/>
                    <a:gd name="T40" fmla="*/ 123 w 377"/>
                    <a:gd name="T41" fmla="*/ 97 h 486"/>
                    <a:gd name="T42" fmla="*/ 110 w 377"/>
                    <a:gd name="T43" fmla="*/ 110 h 486"/>
                    <a:gd name="T44" fmla="*/ 98 w 377"/>
                    <a:gd name="T45" fmla="*/ 124 h 486"/>
                    <a:gd name="T46" fmla="*/ 87 w 377"/>
                    <a:gd name="T47" fmla="*/ 137 h 486"/>
                    <a:gd name="T48" fmla="*/ 75 w 377"/>
                    <a:gd name="T49" fmla="*/ 151 h 486"/>
                    <a:gd name="T50" fmla="*/ 64 w 377"/>
                    <a:gd name="T51" fmla="*/ 165 h 486"/>
                    <a:gd name="T52" fmla="*/ 54 w 377"/>
                    <a:gd name="T53" fmla="*/ 181 h 486"/>
                    <a:gd name="T54" fmla="*/ 45 w 377"/>
                    <a:gd name="T55" fmla="*/ 197 h 486"/>
                    <a:gd name="T56" fmla="*/ 37 w 377"/>
                    <a:gd name="T57" fmla="*/ 213 h 486"/>
                    <a:gd name="T58" fmla="*/ 29 w 377"/>
                    <a:gd name="T59" fmla="*/ 229 h 486"/>
                    <a:gd name="T60" fmla="*/ 22 w 377"/>
                    <a:gd name="T61" fmla="*/ 247 h 486"/>
                    <a:gd name="T62" fmla="*/ 16 w 377"/>
                    <a:gd name="T63" fmla="*/ 264 h 486"/>
                    <a:gd name="T64" fmla="*/ 12 w 377"/>
                    <a:gd name="T65" fmla="*/ 282 h 486"/>
                    <a:gd name="T66" fmla="*/ 8 w 377"/>
                    <a:gd name="T67" fmla="*/ 301 h 486"/>
                    <a:gd name="T68" fmla="*/ 5 w 377"/>
                    <a:gd name="T69" fmla="*/ 318 h 486"/>
                    <a:gd name="T70" fmla="*/ 2 w 377"/>
                    <a:gd name="T71" fmla="*/ 338 h 486"/>
                    <a:gd name="T72" fmla="*/ 1 w 377"/>
                    <a:gd name="T73" fmla="*/ 357 h 486"/>
                    <a:gd name="T74" fmla="*/ 0 w 377"/>
                    <a:gd name="T75" fmla="*/ 377 h 486"/>
                    <a:gd name="T76" fmla="*/ 0 w 377"/>
                    <a:gd name="T77" fmla="*/ 377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7" h="486">
                      <a:moveTo>
                        <a:pt x="0" y="377"/>
                      </a:moveTo>
                      <a:lnTo>
                        <a:pt x="0" y="486"/>
                      </a:lnTo>
                      <a:lnTo>
                        <a:pt x="377" y="486"/>
                      </a:lnTo>
                      <a:lnTo>
                        <a:pt x="377" y="377"/>
                      </a:lnTo>
                      <a:lnTo>
                        <a:pt x="377" y="0"/>
                      </a:lnTo>
                      <a:lnTo>
                        <a:pt x="377" y="0"/>
                      </a:lnTo>
                      <a:lnTo>
                        <a:pt x="358" y="0"/>
                      </a:lnTo>
                      <a:lnTo>
                        <a:pt x="339" y="1"/>
                      </a:lnTo>
                      <a:lnTo>
                        <a:pt x="320" y="3"/>
                      </a:lnTo>
                      <a:lnTo>
                        <a:pt x="301" y="7"/>
                      </a:lnTo>
                      <a:lnTo>
                        <a:pt x="283" y="12"/>
                      </a:lnTo>
                      <a:lnTo>
                        <a:pt x="265" y="17"/>
                      </a:lnTo>
                      <a:lnTo>
                        <a:pt x="247" y="22"/>
                      </a:lnTo>
                      <a:lnTo>
                        <a:pt x="230" y="30"/>
                      </a:lnTo>
                      <a:lnTo>
                        <a:pt x="214" y="37"/>
                      </a:lnTo>
                      <a:lnTo>
                        <a:pt x="197" y="45"/>
                      </a:lnTo>
                      <a:lnTo>
                        <a:pt x="182" y="55"/>
                      </a:lnTo>
                      <a:lnTo>
                        <a:pt x="166" y="64"/>
                      </a:lnTo>
                      <a:lnTo>
                        <a:pt x="151" y="75"/>
                      </a:lnTo>
                      <a:lnTo>
                        <a:pt x="138" y="85"/>
                      </a:lnTo>
                      <a:lnTo>
                        <a:pt x="123" y="97"/>
                      </a:lnTo>
                      <a:lnTo>
                        <a:pt x="110" y="110"/>
                      </a:lnTo>
                      <a:lnTo>
                        <a:pt x="98" y="124"/>
                      </a:lnTo>
                      <a:lnTo>
                        <a:pt x="87" y="137"/>
                      </a:lnTo>
                      <a:lnTo>
                        <a:pt x="75" y="151"/>
                      </a:lnTo>
                      <a:lnTo>
                        <a:pt x="64" y="165"/>
                      </a:lnTo>
                      <a:lnTo>
                        <a:pt x="54" y="181"/>
                      </a:lnTo>
                      <a:lnTo>
                        <a:pt x="45" y="197"/>
                      </a:lnTo>
                      <a:lnTo>
                        <a:pt x="37" y="213"/>
                      </a:lnTo>
                      <a:lnTo>
                        <a:pt x="29" y="229"/>
                      </a:lnTo>
                      <a:lnTo>
                        <a:pt x="22" y="247"/>
                      </a:lnTo>
                      <a:lnTo>
                        <a:pt x="16" y="264"/>
                      </a:lnTo>
                      <a:lnTo>
                        <a:pt x="12" y="282"/>
                      </a:lnTo>
                      <a:lnTo>
                        <a:pt x="8" y="301"/>
                      </a:lnTo>
                      <a:lnTo>
                        <a:pt x="5" y="318"/>
                      </a:lnTo>
                      <a:lnTo>
                        <a:pt x="2" y="338"/>
                      </a:lnTo>
                      <a:lnTo>
                        <a:pt x="1" y="357"/>
                      </a:lnTo>
                      <a:lnTo>
                        <a:pt x="0" y="377"/>
                      </a:lnTo>
                      <a:lnTo>
                        <a:pt x="0" y="3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pic>
              <p:nvPicPr>
                <p:cNvPr id="7438" name="Picture 270"/>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521621" y="4204786"/>
                  <a:ext cx="234950"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95" name="Freeform 271"/>
                <p:cNvSpPr>
                  <a:spLocks/>
                </p:cNvSpPr>
                <p:nvPr userDrawn="1"/>
              </p:nvSpPr>
              <p:spPr bwMode="auto">
                <a:xfrm>
                  <a:off x="11296196" y="4209549"/>
                  <a:ext cx="228600" cy="455613"/>
                </a:xfrm>
                <a:custGeom>
                  <a:avLst/>
                  <a:gdLst>
                    <a:gd name="T0" fmla="*/ 288 w 288"/>
                    <a:gd name="T1" fmla="*/ 0 h 574"/>
                    <a:gd name="T2" fmla="*/ 288 w 288"/>
                    <a:gd name="T3" fmla="*/ 0 h 574"/>
                    <a:gd name="T4" fmla="*/ 273 w 288"/>
                    <a:gd name="T5" fmla="*/ 0 h 574"/>
                    <a:gd name="T6" fmla="*/ 258 w 288"/>
                    <a:gd name="T7" fmla="*/ 1 h 574"/>
                    <a:gd name="T8" fmla="*/ 244 w 288"/>
                    <a:gd name="T9" fmla="*/ 3 h 574"/>
                    <a:gd name="T10" fmla="*/ 229 w 288"/>
                    <a:gd name="T11" fmla="*/ 6 h 574"/>
                    <a:gd name="T12" fmla="*/ 216 w 288"/>
                    <a:gd name="T13" fmla="*/ 9 h 574"/>
                    <a:gd name="T14" fmla="*/ 202 w 288"/>
                    <a:gd name="T15" fmla="*/ 12 h 574"/>
                    <a:gd name="T16" fmla="*/ 176 w 288"/>
                    <a:gd name="T17" fmla="*/ 23 h 574"/>
                    <a:gd name="T18" fmla="*/ 151 w 288"/>
                    <a:gd name="T19" fmla="*/ 35 h 574"/>
                    <a:gd name="T20" fmla="*/ 127 w 288"/>
                    <a:gd name="T21" fmla="*/ 49 h 574"/>
                    <a:gd name="T22" fmla="*/ 105 w 288"/>
                    <a:gd name="T23" fmla="*/ 66 h 574"/>
                    <a:gd name="T24" fmla="*/ 84 w 288"/>
                    <a:gd name="T25" fmla="*/ 83 h 574"/>
                    <a:gd name="T26" fmla="*/ 65 w 288"/>
                    <a:gd name="T27" fmla="*/ 105 h 574"/>
                    <a:gd name="T28" fmla="*/ 50 w 288"/>
                    <a:gd name="T29" fmla="*/ 126 h 574"/>
                    <a:gd name="T30" fmla="*/ 34 w 288"/>
                    <a:gd name="T31" fmla="*/ 150 h 574"/>
                    <a:gd name="T32" fmla="*/ 23 w 288"/>
                    <a:gd name="T33" fmla="*/ 175 h 574"/>
                    <a:gd name="T34" fmla="*/ 13 w 288"/>
                    <a:gd name="T35" fmla="*/ 202 h 574"/>
                    <a:gd name="T36" fmla="*/ 9 w 288"/>
                    <a:gd name="T37" fmla="*/ 215 h 574"/>
                    <a:gd name="T38" fmla="*/ 6 w 288"/>
                    <a:gd name="T39" fmla="*/ 230 h 574"/>
                    <a:gd name="T40" fmla="*/ 4 w 288"/>
                    <a:gd name="T41" fmla="*/ 244 h 574"/>
                    <a:gd name="T42" fmla="*/ 1 w 288"/>
                    <a:gd name="T43" fmla="*/ 258 h 574"/>
                    <a:gd name="T44" fmla="*/ 1 w 288"/>
                    <a:gd name="T45" fmla="*/ 272 h 574"/>
                    <a:gd name="T46" fmla="*/ 0 w 288"/>
                    <a:gd name="T47" fmla="*/ 287 h 574"/>
                    <a:gd name="T48" fmla="*/ 0 w 288"/>
                    <a:gd name="T49" fmla="*/ 287 h 574"/>
                    <a:gd name="T50" fmla="*/ 1 w 288"/>
                    <a:gd name="T51" fmla="*/ 302 h 574"/>
                    <a:gd name="T52" fmla="*/ 1 w 288"/>
                    <a:gd name="T53" fmla="*/ 316 h 574"/>
                    <a:gd name="T54" fmla="*/ 4 w 288"/>
                    <a:gd name="T55" fmla="*/ 331 h 574"/>
                    <a:gd name="T56" fmla="*/ 6 w 288"/>
                    <a:gd name="T57" fmla="*/ 345 h 574"/>
                    <a:gd name="T58" fmla="*/ 9 w 288"/>
                    <a:gd name="T59" fmla="*/ 359 h 574"/>
                    <a:gd name="T60" fmla="*/ 13 w 288"/>
                    <a:gd name="T61" fmla="*/ 372 h 574"/>
                    <a:gd name="T62" fmla="*/ 23 w 288"/>
                    <a:gd name="T63" fmla="*/ 400 h 574"/>
                    <a:gd name="T64" fmla="*/ 34 w 288"/>
                    <a:gd name="T65" fmla="*/ 425 h 574"/>
                    <a:gd name="T66" fmla="*/ 50 w 288"/>
                    <a:gd name="T67" fmla="*/ 448 h 574"/>
                    <a:gd name="T68" fmla="*/ 65 w 288"/>
                    <a:gd name="T69" fmla="*/ 470 h 574"/>
                    <a:gd name="T70" fmla="*/ 84 w 288"/>
                    <a:gd name="T71" fmla="*/ 490 h 574"/>
                    <a:gd name="T72" fmla="*/ 105 w 288"/>
                    <a:gd name="T73" fmla="*/ 509 h 574"/>
                    <a:gd name="T74" fmla="*/ 127 w 288"/>
                    <a:gd name="T75" fmla="*/ 526 h 574"/>
                    <a:gd name="T76" fmla="*/ 151 w 288"/>
                    <a:gd name="T77" fmla="*/ 540 h 574"/>
                    <a:gd name="T78" fmla="*/ 176 w 288"/>
                    <a:gd name="T79" fmla="*/ 552 h 574"/>
                    <a:gd name="T80" fmla="*/ 202 w 288"/>
                    <a:gd name="T81" fmla="*/ 561 h 574"/>
                    <a:gd name="T82" fmla="*/ 216 w 288"/>
                    <a:gd name="T83" fmla="*/ 566 h 574"/>
                    <a:gd name="T84" fmla="*/ 229 w 288"/>
                    <a:gd name="T85" fmla="*/ 568 h 574"/>
                    <a:gd name="T86" fmla="*/ 244 w 288"/>
                    <a:gd name="T87" fmla="*/ 572 h 574"/>
                    <a:gd name="T88" fmla="*/ 258 w 288"/>
                    <a:gd name="T89" fmla="*/ 573 h 574"/>
                    <a:gd name="T90" fmla="*/ 273 w 288"/>
                    <a:gd name="T91" fmla="*/ 574 h 574"/>
                    <a:gd name="T92" fmla="*/ 288 w 288"/>
                    <a:gd name="T93" fmla="*/ 574 h 574"/>
                    <a:gd name="T94" fmla="*/ 288 w 288"/>
                    <a:gd name="T95" fmla="*/ 0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8" h="574">
                      <a:moveTo>
                        <a:pt x="288" y="0"/>
                      </a:moveTo>
                      <a:lnTo>
                        <a:pt x="288" y="0"/>
                      </a:lnTo>
                      <a:lnTo>
                        <a:pt x="273" y="0"/>
                      </a:lnTo>
                      <a:lnTo>
                        <a:pt x="258" y="1"/>
                      </a:lnTo>
                      <a:lnTo>
                        <a:pt x="244" y="3"/>
                      </a:lnTo>
                      <a:lnTo>
                        <a:pt x="229" y="6"/>
                      </a:lnTo>
                      <a:lnTo>
                        <a:pt x="216" y="9"/>
                      </a:lnTo>
                      <a:lnTo>
                        <a:pt x="202" y="12"/>
                      </a:lnTo>
                      <a:lnTo>
                        <a:pt x="176" y="23"/>
                      </a:lnTo>
                      <a:lnTo>
                        <a:pt x="151" y="35"/>
                      </a:lnTo>
                      <a:lnTo>
                        <a:pt x="127" y="49"/>
                      </a:lnTo>
                      <a:lnTo>
                        <a:pt x="105" y="66"/>
                      </a:lnTo>
                      <a:lnTo>
                        <a:pt x="84" y="83"/>
                      </a:lnTo>
                      <a:lnTo>
                        <a:pt x="65" y="105"/>
                      </a:lnTo>
                      <a:lnTo>
                        <a:pt x="50" y="126"/>
                      </a:lnTo>
                      <a:lnTo>
                        <a:pt x="34" y="150"/>
                      </a:lnTo>
                      <a:lnTo>
                        <a:pt x="23" y="175"/>
                      </a:lnTo>
                      <a:lnTo>
                        <a:pt x="13" y="202"/>
                      </a:lnTo>
                      <a:lnTo>
                        <a:pt x="9" y="215"/>
                      </a:lnTo>
                      <a:lnTo>
                        <a:pt x="6" y="230"/>
                      </a:lnTo>
                      <a:lnTo>
                        <a:pt x="4" y="244"/>
                      </a:lnTo>
                      <a:lnTo>
                        <a:pt x="1" y="258"/>
                      </a:lnTo>
                      <a:lnTo>
                        <a:pt x="1" y="272"/>
                      </a:lnTo>
                      <a:lnTo>
                        <a:pt x="0" y="287"/>
                      </a:lnTo>
                      <a:lnTo>
                        <a:pt x="0" y="287"/>
                      </a:lnTo>
                      <a:lnTo>
                        <a:pt x="1" y="302"/>
                      </a:lnTo>
                      <a:lnTo>
                        <a:pt x="1" y="316"/>
                      </a:lnTo>
                      <a:lnTo>
                        <a:pt x="4" y="331"/>
                      </a:lnTo>
                      <a:lnTo>
                        <a:pt x="6" y="345"/>
                      </a:lnTo>
                      <a:lnTo>
                        <a:pt x="9" y="359"/>
                      </a:lnTo>
                      <a:lnTo>
                        <a:pt x="13" y="372"/>
                      </a:lnTo>
                      <a:lnTo>
                        <a:pt x="23" y="400"/>
                      </a:lnTo>
                      <a:lnTo>
                        <a:pt x="34" y="425"/>
                      </a:lnTo>
                      <a:lnTo>
                        <a:pt x="50" y="448"/>
                      </a:lnTo>
                      <a:lnTo>
                        <a:pt x="65" y="470"/>
                      </a:lnTo>
                      <a:lnTo>
                        <a:pt x="84" y="490"/>
                      </a:lnTo>
                      <a:lnTo>
                        <a:pt x="105" y="509"/>
                      </a:lnTo>
                      <a:lnTo>
                        <a:pt x="127" y="526"/>
                      </a:lnTo>
                      <a:lnTo>
                        <a:pt x="151" y="540"/>
                      </a:lnTo>
                      <a:lnTo>
                        <a:pt x="176" y="552"/>
                      </a:lnTo>
                      <a:lnTo>
                        <a:pt x="202" y="561"/>
                      </a:lnTo>
                      <a:lnTo>
                        <a:pt x="216" y="566"/>
                      </a:lnTo>
                      <a:lnTo>
                        <a:pt x="229" y="568"/>
                      </a:lnTo>
                      <a:lnTo>
                        <a:pt x="244" y="572"/>
                      </a:lnTo>
                      <a:lnTo>
                        <a:pt x="258" y="573"/>
                      </a:lnTo>
                      <a:lnTo>
                        <a:pt x="273" y="574"/>
                      </a:lnTo>
                      <a:lnTo>
                        <a:pt x="288" y="574"/>
                      </a:lnTo>
                      <a:lnTo>
                        <a:pt x="288"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24" name="Freeform 272"/>
                <p:cNvSpPr>
                  <a:spLocks/>
                </p:cNvSpPr>
                <p:nvPr userDrawn="1"/>
              </p:nvSpPr>
              <p:spPr bwMode="auto">
                <a:xfrm>
                  <a:off x="11296196" y="4209549"/>
                  <a:ext cx="228600" cy="455613"/>
                </a:xfrm>
                <a:custGeom>
                  <a:avLst/>
                  <a:gdLst>
                    <a:gd name="T0" fmla="*/ 288 w 288"/>
                    <a:gd name="T1" fmla="*/ 0 h 574"/>
                    <a:gd name="T2" fmla="*/ 288 w 288"/>
                    <a:gd name="T3" fmla="*/ 0 h 574"/>
                    <a:gd name="T4" fmla="*/ 273 w 288"/>
                    <a:gd name="T5" fmla="*/ 0 h 574"/>
                    <a:gd name="T6" fmla="*/ 258 w 288"/>
                    <a:gd name="T7" fmla="*/ 1 h 574"/>
                    <a:gd name="T8" fmla="*/ 244 w 288"/>
                    <a:gd name="T9" fmla="*/ 3 h 574"/>
                    <a:gd name="T10" fmla="*/ 229 w 288"/>
                    <a:gd name="T11" fmla="*/ 6 h 574"/>
                    <a:gd name="T12" fmla="*/ 216 w 288"/>
                    <a:gd name="T13" fmla="*/ 9 h 574"/>
                    <a:gd name="T14" fmla="*/ 202 w 288"/>
                    <a:gd name="T15" fmla="*/ 12 h 574"/>
                    <a:gd name="T16" fmla="*/ 176 w 288"/>
                    <a:gd name="T17" fmla="*/ 23 h 574"/>
                    <a:gd name="T18" fmla="*/ 151 w 288"/>
                    <a:gd name="T19" fmla="*/ 35 h 574"/>
                    <a:gd name="T20" fmla="*/ 127 w 288"/>
                    <a:gd name="T21" fmla="*/ 49 h 574"/>
                    <a:gd name="T22" fmla="*/ 105 w 288"/>
                    <a:gd name="T23" fmla="*/ 66 h 574"/>
                    <a:gd name="T24" fmla="*/ 84 w 288"/>
                    <a:gd name="T25" fmla="*/ 83 h 574"/>
                    <a:gd name="T26" fmla="*/ 65 w 288"/>
                    <a:gd name="T27" fmla="*/ 105 h 574"/>
                    <a:gd name="T28" fmla="*/ 50 w 288"/>
                    <a:gd name="T29" fmla="*/ 126 h 574"/>
                    <a:gd name="T30" fmla="*/ 34 w 288"/>
                    <a:gd name="T31" fmla="*/ 150 h 574"/>
                    <a:gd name="T32" fmla="*/ 23 w 288"/>
                    <a:gd name="T33" fmla="*/ 175 h 574"/>
                    <a:gd name="T34" fmla="*/ 13 w 288"/>
                    <a:gd name="T35" fmla="*/ 202 h 574"/>
                    <a:gd name="T36" fmla="*/ 9 w 288"/>
                    <a:gd name="T37" fmla="*/ 215 h 574"/>
                    <a:gd name="T38" fmla="*/ 6 w 288"/>
                    <a:gd name="T39" fmla="*/ 230 h 574"/>
                    <a:gd name="T40" fmla="*/ 4 w 288"/>
                    <a:gd name="T41" fmla="*/ 244 h 574"/>
                    <a:gd name="T42" fmla="*/ 1 w 288"/>
                    <a:gd name="T43" fmla="*/ 258 h 574"/>
                    <a:gd name="T44" fmla="*/ 1 w 288"/>
                    <a:gd name="T45" fmla="*/ 272 h 574"/>
                    <a:gd name="T46" fmla="*/ 0 w 288"/>
                    <a:gd name="T47" fmla="*/ 287 h 574"/>
                    <a:gd name="T48" fmla="*/ 0 w 288"/>
                    <a:gd name="T49" fmla="*/ 287 h 574"/>
                    <a:gd name="T50" fmla="*/ 1 w 288"/>
                    <a:gd name="T51" fmla="*/ 302 h 574"/>
                    <a:gd name="T52" fmla="*/ 1 w 288"/>
                    <a:gd name="T53" fmla="*/ 316 h 574"/>
                    <a:gd name="T54" fmla="*/ 4 w 288"/>
                    <a:gd name="T55" fmla="*/ 331 h 574"/>
                    <a:gd name="T56" fmla="*/ 6 w 288"/>
                    <a:gd name="T57" fmla="*/ 345 h 574"/>
                    <a:gd name="T58" fmla="*/ 9 w 288"/>
                    <a:gd name="T59" fmla="*/ 359 h 574"/>
                    <a:gd name="T60" fmla="*/ 13 w 288"/>
                    <a:gd name="T61" fmla="*/ 372 h 574"/>
                    <a:gd name="T62" fmla="*/ 23 w 288"/>
                    <a:gd name="T63" fmla="*/ 400 h 574"/>
                    <a:gd name="T64" fmla="*/ 34 w 288"/>
                    <a:gd name="T65" fmla="*/ 425 h 574"/>
                    <a:gd name="T66" fmla="*/ 50 w 288"/>
                    <a:gd name="T67" fmla="*/ 448 h 574"/>
                    <a:gd name="T68" fmla="*/ 65 w 288"/>
                    <a:gd name="T69" fmla="*/ 470 h 574"/>
                    <a:gd name="T70" fmla="*/ 84 w 288"/>
                    <a:gd name="T71" fmla="*/ 490 h 574"/>
                    <a:gd name="T72" fmla="*/ 105 w 288"/>
                    <a:gd name="T73" fmla="*/ 509 h 574"/>
                    <a:gd name="T74" fmla="*/ 127 w 288"/>
                    <a:gd name="T75" fmla="*/ 526 h 574"/>
                    <a:gd name="T76" fmla="*/ 151 w 288"/>
                    <a:gd name="T77" fmla="*/ 540 h 574"/>
                    <a:gd name="T78" fmla="*/ 176 w 288"/>
                    <a:gd name="T79" fmla="*/ 552 h 574"/>
                    <a:gd name="T80" fmla="*/ 202 w 288"/>
                    <a:gd name="T81" fmla="*/ 561 h 574"/>
                    <a:gd name="T82" fmla="*/ 216 w 288"/>
                    <a:gd name="T83" fmla="*/ 566 h 574"/>
                    <a:gd name="T84" fmla="*/ 229 w 288"/>
                    <a:gd name="T85" fmla="*/ 568 h 574"/>
                    <a:gd name="T86" fmla="*/ 244 w 288"/>
                    <a:gd name="T87" fmla="*/ 572 h 574"/>
                    <a:gd name="T88" fmla="*/ 258 w 288"/>
                    <a:gd name="T89" fmla="*/ 573 h 574"/>
                    <a:gd name="T90" fmla="*/ 273 w 288"/>
                    <a:gd name="T91" fmla="*/ 574 h 574"/>
                    <a:gd name="T92" fmla="*/ 288 w 288"/>
                    <a:gd name="T93" fmla="*/ 574 h 574"/>
                    <a:gd name="T94" fmla="*/ 288 w 288"/>
                    <a:gd name="T95" fmla="*/ 0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8" h="574">
                      <a:moveTo>
                        <a:pt x="288" y="0"/>
                      </a:moveTo>
                      <a:lnTo>
                        <a:pt x="288" y="0"/>
                      </a:lnTo>
                      <a:lnTo>
                        <a:pt x="273" y="0"/>
                      </a:lnTo>
                      <a:lnTo>
                        <a:pt x="258" y="1"/>
                      </a:lnTo>
                      <a:lnTo>
                        <a:pt x="244" y="3"/>
                      </a:lnTo>
                      <a:lnTo>
                        <a:pt x="229" y="6"/>
                      </a:lnTo>
                      <a:lnTo>
                        <a:pt x="216" y="9"/>
                      </a:lnTo>
                      <a:lnTo>
                        <a:pt x="202" y="12"/>
                      </a:lnTo>
                      <a:lnTo>
                        <a:pt x="176" y="23"/>
                      </a:lnTo>
                      <a:lnTo>
                        <a:pt x="151" y="35"/>
                      </a:lnTo>
                      <a:lnTo>
                        <a:pt x="127" y="49"/>
                      </a:lnTo>
                      <a:lnTo>
                        <a:pt x="105" y="66"/>
                      </a:lnTo>
                      <a:lnTo>
                        <a:pt x="84" y="83"/>
                      </a:lnTo>
                      <a:lnTo>
                        <a:pt x="65" y="105"/>
                      </a:lnTo>
                      <a:lnTo>
                        <a:pt x="50" y="126"/>
                      </a:lnTo>
                      <a:lnTo>
                        <a:pt x="34" y="150"/>
                      </a:lnTo>
                      <a:lnTo>
                        <a:pt x="23" y="175"/>
                      </a:lnTo>
                      <a:lnTo>
                        <a:pt x="13" y="202"/>
                      </a:lnTo>
                      <a:lnTo>
                        <a:pt x="9" y="215"/>
                      </a:lnTo>
                      <a:lnTo>
                        <a:pt x="6" y="230"/>
                      </a:lnTo>
                      <a:lnTo>
                        <a:pt x="4" y="244"/>
                      </a:lnTo>
                      <a:lnTo>
                        <a:pt x="1" y="258"/>
                      </a:lnTo>
                      <a:lnTo>
                        <a:pt x="1" y="272"/>
                      </a:lnTo>
                      <a:lnTo>
                        <a:pt x="0" y="287"/>
                      </a:lnTo>
                      <a:lnTo>
                        <a:pt x="0" y="287"/>
                      </a:lnTo>
                      <a:lnTo>
                        <a:pt x="1" y="302"/>
                      </a:lnTo>
                      <a:lnTo>
                        <a:pt x="1" y="316"/>
                      </a:lnTo>
                      <a:lnTo>
                        <a:pt x="4" y="331"/>
                      </a:lnTo>
                      <a:lnTo>
                        <a:pt x="6" y="345"/>
                      </a:lnTo>
                      <a:lnTo>
                        <a:pt x="9" y="359"/>
                      </a:lnTo>
                      <a:lnTo>
                        <a:pt x="13" y="372"/>
                      </a:lnTo>
                      <a:lnTo>
                        <a:pt x="23" y="400"/>
                      </a:lnTo>
                      <a:lnTo>
                        <a:pt x="34" y="425"/>
                      </a:lnTo>
                      <a:lnTo>
                        <a:pt x="50" y="448"/>
                      </a:lnTo>
                      <a:lnTo>
                        <a:pt x="65" y="470"/>
                      </a:lnTo>
                      <a:lnTo>
                        <a:pt x="84" y="490"/>
                      </a:lnTo>
                      <a:lnTo>
                        <a:pt x="105" y="509"/>
                      </a:lnTo>
                      <a:lnTo>
                        <a:pt x="127" y="526"/>
                      </a:lnTo>
                      <a:lnTo>
                        <a:pt x="151" y="540"/>
                      </a:lnTo>
                      <a:lnTo>
                        <a:pt x="176" y="552"/>
                      </a:lnTo>
                      <a:lnTo>
                        <a:pt x="202" y="561"/>
                      </a:lnTo>
                      <a:lnTo>
                        <a:pt x="216" y="566"/>
                      </a:lnTo>
                      <a:lnTo>
                        <a:pt x="229" y="568"/>
                      </a:lnTo>
                      <a:lnTo>
                        <a:pt x="244" y="572"/>
                      </a:lnTo>
                      <a:lnTo>
                        <a:pt x="258" y="573"/>
                      </a:lnTo>
                      <a:lnTo>
                        <a:pt x="273" y="574"/>
                      </a:lnTo>
                      <a:lnTo>
                        <a:pt x="288" y="574"/>
                      </a:lnTo>
                      <a:lnTo>
                        <a:pt x="28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25" name="Freeform 273"/>
                <p:cNvSpPr>
                  <a:spLocks/>
                </p:cNvSpPr>
                <p:nvPr userDrawn="1"/>
              </p:nvSpPr>
              <p:spPr bwMode="auto">
                <a:xfrm>
                  <a:off x="11524796" y="4271461"/>
                  <a:ext cx="168275" cy="165100"/>
                </a:xfrm>
                <a:custGeom>
                  <a:avLst/>
                  <a:gdLst>
                    <a:gd name="T0" fmla="*/ 210 w 210"/>
                    <a:gd name="T1" fmla="*/ 210 h 210"/>
                    <a:gd name="T2" fmla="*/ 210 w 210"/>
                    <a:gd name="T3" fmla="*/ 210 h 210"/>
                    <a:gd name="T4" fmla="*/ 209 w 210"/>
                    <a:gd name="T5" fmla="*/ 188 h 210"/>
                    <a:gd name="T6" fmla="*/ 205 w 210"/>
                    <a:gd name="T7" fmla="*/ 168 h 210"/>
                    <a:gd name="T8" fmla="*/ 201 w 210"/>
                    <a:gd name="T9" fmla="*/ 148 h 210"/>
                    <a:gd name="T10" fmla="*/ 194 w 210"/>
                    <a:gd name="T11" fmla="*/ 129 h 210"/>
                    <a:gd name="T12" fmla="*/ 184 w 210"/>
                    <a:gd name="T13" fmla="*/ 110 h 210"/>
                    <a:gd name="T14" fmla="*/ 174 w 210"/>
                    <a:gd name="T15" fmla="*/ 93 h 210"/>
                    <a:gd name="T16" fmla="*/ 161 w 210"/>
                    <a:gd name="T17" fmla="*/ 77 h 210"/>
                    <a:gd name="T18" fmla="*/ 148 w 210"/>
                    <a:gd name="T19" fmla="*/ 62 h 210"/>
                    <a:gd name="T20" fmla="*/ 133 w 210"/>
                    <a:gd name="T21" fmla="*/ 48 h 210"/>
                    <a:gd name="T22" fmla="*/ 117 w 210"/>
                    <a:gd name="T23" fmla="*/ 36 h 210"/>
                    <a:gd name="T24" fmla="*/ 100 w 210"/>
                    <a:gd name="T25" fmla="*/ 25 h 210"/>
                    <a:gd name="T26" fmla="*/ 82 w 210"/>
                    <a:gd name="T27" fmla="*/ 17 h 210"/>
                    <a:gd name="T28" fmla="*/ 63 w 210"/>
                    <a:gd name="T29" fmla="*/ 10 h 210"/>
                    <a:gd name="T30" fmla="*/ 43 w 210"/>
                    <a:gd name="T31" fmla="*/ 4 h 210"/>
                    <a:gd name="T32" fmla="*/ 21 w 210"/>
                    <a:gd name="T33" fmla="*/ 2 h 210"/>
                    <a:gd name="T34" fmla="*/ 0 w 210"/>
                    <a:gd name="T35" fmla="*/ 0 h 210"/>
                    <a:gd name="T36" fmla="*/ 0 w 210"/>
                    <a:gd name="T37" fmla="*/ 210 h 210"/>
                    <a:gd name="T38" fmla="*/ 210 w 210"/>
                    <a:gd name="T39"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0" h="210">
                      <a:moveTo>
                        <a:pt x="210" y="210"/>
                      </a:moveTo>
                      <a:lnTo>
                        <a:pt x="210" y="210"/>
                      </a:lnTo>
                      <a:lnTo>
                        <a:pt x="209" y="188"/>
                      </a:lnTo>
                      <a:lnTo>
                        <a:pt x="205" y="168"/>
                      </a:lnTo>
                      <a:lnTo>
                        <a:pt x="201" y="148"/>
                      </a:lnTo>
                      <a:lnTo>
                        <a:pt x="194" y="129"/>
                      </a:lnTo>
                      <a:lnTo>
                        <a:pt x="184" y="110"/>
                      </a:lnTo>
                      <a:lnTo>
                        <a:pt x="174" y="93"/>
                      </a:lnTo>
                      <a:lnTo>
                        <a:pt x="161" y="77"/>
                      </a:lnTo>
                      <a:lnTo>
                        <a:pt x="148" y="62"/>
                      </a:lnTo>
                      <a:lnTo>
                        <a:pt x="133" y="48"/>
                      </a:lnTo>
                      <a:lnTo>
                        <a:pt x="117" y="36"/>
                      </a:lnTo>
                      <a:lnTo>
                        <a:pt x="100" y="25"/>
                      </a:lnTo>
                      <a:lnTo>
                        <a:pt x="82" y="17"/>
                      </a:lnTo>
                      <a:lnTo>
                        <a:pt x="63" y="10"/>
                      </a:lnTo>
                      <a:lnTo>
                        <a:pt x="43" y="4"/>
                      </a:lnTo>
                      <a:lnTo>
                        <a:pt x="21" y="2"/>
                      </a:lnTo>
                      <a:lnTo>
                        <a:pt x="0" y="0"/>
                      </a:lnTo>
                      <a:lnTo>
                        <a:pt x="0" y="210"/>
                      </a:lnTo>
                      <a:lnTo>
                        <a:pt x="210" y="21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26" name="Freeform 274"/>
                <p:cNvSpPr>
                  <a:spLocks/>
                </p:cNvSpPr>
                <p:nvPr userDrawn="1"/>
              </p:nvSpPr>
              <p:spPr bwMode="auto">
                <a:xfrm>
                  <a:off x="11358108" y="4271461"/>
                  <a:ext cx="166688" cy="165100"/>
                </a:xfrm>
                <a:custGeom>
                  <a:avLst/>
                  <a:gdLst>
                    <a:gd name="T0" fmla="*/ 211 w 211"/>
                    <a:gd name="T1" fmla="*/ 0 h 210"/>
                    <a:gd name="T2" fmla="*/ 211 w 211"/>
                    <a:gd name="T3" fmla="*/ 0 h 210"/>
                    <a:gd name="T4" fmla="*/ 189 w 211"/>
                    <a:gd name="T5" fmla="*/ 2 h 210"/>
                    <a:gd name="T6" fmla="*/ 169 w 211"/>
                    <a:gd name="T7" fmla="*/ 4 h 210"/>
                    <a:gd name="T8" fmla="*/ 149 w 211"/>
                    <a:gd name="T9" fmla="*/ 10 h 210"/>
                    <a:gd name="T10" fmla="*/ 129 w 211"/>
                    <a:gd name="T11" fmla="*/ 17 h 210"/>
                    <a:gd name="T12" fmla="*/ 111 w 211"/>
                    <a:gd name="T13" fmla="*/ 25 h 210"/>
                    <a:gd name="T14" fmla="*/ 93 w 211"/>
                    <a:gd name="T15" fmla="*/ 36 h 210"/>
                    <a:gd name="T16" fmla="*/ 78 w 211"/>
                    <a:gd name="T17" fmla="*/ 48 h 210"/>
                    <a:gd name="T18" fmla="*/ 62 w 211"/>
                    <a:gd name="T19" fmla="*/ 62 h 210"/>
                    <a:gd name="T20" fmla="*/ 49 w 211"/>
                    <a:gd name="T21" fmla="*/ 77 h 210"/>
                    <a:gd name="T22" fmla="*/ 37 w 211"/>
                    <a:gd name="T23" fmla="*/ 93 h 210"/>
                    <a:gd name="T24" fmla="*/ 26 w 211"/>
                    <a:gd name="T25" fmla="*/ 110 h 210"/>
                    <a:gd name="T26" fmla="*/ 17 w 211"/>
                    <a:gd name="T27" fmla="*/ 129 h 210"/>
                    <a:gd name="T28" fmla="*/ 10 w 211"/>
                    <a:gd name="T29" fmla="*/ 148 h 210"/>
                    <a:gd name="T30" fmla="*/ 5 w 211"/>
                    <a:gd name="T31" fmla="*/ 168 h 210"/>
                    <a:gd name="T32" fmla="*/ 1 w 211"/>
                    <a:gd name="T33" fmla="*/ 188 h 210"/>
                    <a:gd name="T34" fmla="*/ 0 w 211"/>
                    <a:gd name="T35" fmla="*/ 210 h 210"/>
                    <a:gd name="T36" fmla="*/ 211 w 211"/>
                    <a:gd name="T37" fmla="*/ 210 h 210"/>
                    <a:gd name="T38" fmla="*/ 211 w 211"/>
                    <a:gd name="T3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1" h="210">
                      <a:moveTo>
                        <a:pt x="211" y="0"/>
                      </a:moveTo>
                      <a:lnTo>
                        <a:pt x="211" y="0"/>
                      </a:lnTo>
                      <a:lnTo>
                        <a:pt x="189" y="2"/>
                      </a:lnTo>
                      <a:lnTo>
                        <a:pt x="169" y="4"/>
                      </a:lnTo>
                      <a:lnTo>
                        <a:pt x="149" y="10"/>
                      </a:lnTo>
                      <a:lnTo>
                        <a:pt x="129" y="17"/>
                      </a:lnTo>
                      <a:lnTo>
                        <a:pt x="111" y="25"/>
                      </a:lnTo>
                      <a:lnTo>
                        <a:pt x="93" y="36"/>
                      </a:lnTo>
                      <a:lnTo>
                        <a:pt x="78" y="48"/>
                      </a:lnTo>
                      <a:lnTo>
                        <a:pt x="62" y="62"/>
                      </a:lnTo>
                      <a:lnTo>
                        <a:pt x="49" y="77"/>
                      </a:lnTo>
                      <a:lnTo>
                        <a:pt x="37" y="93"/>
                      </a:lnTo>
                      <a:lnTo>
                        <a:pt x="26" y="110"/>
                      </a:lnTo>
                      <a:lnTo>
                        <a:pt x="17" y="129"/>
                      </a:lnTo>
                      <a:lnTo>
                        <a:pt x="10" y="148"/>
                      </a:lnTo>
                      <a:lnTo>
                        <a:pt x="5" y="168"/>
                      </a:lnTo>
                      <a:lnTo>
                        <a:pt x="1" y="188"/>
                      </a:lnTo>
                      <a:lnTo>
                        <a:pt x="0" y="210"/>
                      </a:lnTo>
                      <a:lnTo>
                        <a:pt x="211" y="210"/>
                      </a:lnTo>
                      <a:lnTo>
                        <a:pt x="211"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27" name="Freeform 275"/>
                <p:cNvSpPr>
                  <a:spLocks/>
                </p:cNvSpPr>
                <p:nvPr userDrawn="1"/>
              </p:nvSpPr>
              <p:spPr bwMode="auto">
                <a:xfrm>
                  <a:off x="11358108" y="4436561"/>
                  <a:ext cx="166688" cy="168275"/>
                </a:xfrm>
                <a:custGeom>
                  <a:avLst/>
                  <a:gdLst>
                    <a:gd name="T0" fmla="*/ 0 w 211"/>
                    <a:gd name="T1" fmla="*/ 0 h 210"/>
                    <a:gd name="T2" fmla="*/ 0 w 211"/>
                    <a:gd name="T3" fmla="*/ 0 h 210"/>
                    <a:gd name="T4" fmla="*/ 1 w 211"/>
                    <a:gd name="T5" fmla="*/ 22 h 210"/>
                    <a:gd name="T6" fmla="*/ 5 w 211"/>
                    <a:gd name="T7" fmla="*/ 42 h 210"/>
                    <a:gd name="T8" fmla="*/ 10 w 211"/>
                    <a:gd name="T9" fmla="*/ 63 h 210"/>
                    <a:gd name="T10" fmla="*/ 17 w 211"/>
                    <a:gd name="T11" fmla="*/ 82 h 210"/>
                    <a:gd name="T12" fmla="*/ 26 w 211"/>
                    <a:gd name="T13" fmla="*/ 101 h 210"/>
                    <a:gd name="T14" fmla="*/ 37 w 211"/>
                    <a:gd name="T15" fmla="*/ 117 h 210"/>
                    <a:gd name="T16" fmla="*/ 49 w 211"/>
                    <a:gd name="T17" fmla="*/ 134 h 210"/>
                    <a:gd name="T18" fmla="*/ 62 w 211"/>
                    <a:gd name="T19" fmla="*/ 148 h 210"/>
                    <a:gd name="T20" fmla="*/ 78 w 211"/>
                    <a:gd name="T21" fmla="*/ 163 h 210"/>
                    <a:gd name="T22" fmla="*/ 93 w 211"/>
                    <a:gd name="T23" fmla="*/ 174 h 210"/>
                    <a:gd name="T24" fmla="*/ 111 w 211"/>
                    <a:gd name="T25" fmla="*/ 185 h 210"/>
                    <a:gd name="T26" fmla="*/ 129 w 211"/>
                    <a:gd name="T27" fmla="*/ 193 h 210"/>
                    <a:gd name="T28" fmla="*/ 149 w 211"/>
                    <a:gd name="T29" fmla="*/ 201 h 210"/>
                    <a:gd name="T30" fmla="*/ 169 w 211"/>
                    <a:gd name="T31" fmla="*/ 207 h 210"/>
                    <a:gd name="T32" fmla="*/ 189 w 211"/>
                    <a:gd name="T33" fmla="*/ 209 h 210"/>
                    <a:gd name="T34" fmla="*/ 211 w 211"/>
                    <a:gd name="T35" fmla="*/ 210 h 210"/>
                    <a:gd name="T36" fmla="*/ 211 w 211"/>
                    <a:gd name="T37" fmla="*/ 0 h 210"/>
                    <a:gd name="T38" fmla="*/ 0 w 211"/>
                    <a:gd name="T3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1" h="210">
                      <a:moveTo>
                        <a:pt x="0" y="0"/>
                      </a:moveTo>
                      <a:lnTo>
                        <a:pt x="0" y="0"/>
                      </a:lnTo>
                      <a:lnTo>
                        <a:pt x="1" y="22"/>
                      </a:lnTo>
                      <a:lnTo>
                        <a:pt x="5" y="42"/>
                      </a:lnTo>
                      <a:lnTo>
                        <a:pt x="10" y="63"/>
                      </a:lnTo>
                      <a:lnTo>
                        <a:pt x="17" y="82"/>
                      </a:lnTo>
                      <a:lnTo>
                        <a:pt x="26" y="101"/>
                      </a:lnTo>
                      <a:lnTo>
                        <a:pt x="37" y="117"/>
                      </a:lnTo>
                      <a:lnTo>
                        <a:pt x="49" y="134"/>
                      </a:lnTo>
                      <a:lnTo>
                        <a:pt x="62" y="148"/>
                      </a:lnTo>
                      <a:lnTo>
                        <a:pt x="78" y="163"/>
                      </a:lnTo>
                      <a:lnTo>
                        <a:pt x="93" y="174"/>
                      </a:lnTo>
                      <a:lnTo>
                        <a:pt x="111" y="185"/>
                      </a:lnTo>
                      <a:lnTo>
                        <a:pt x="129" y="193"/>
                      </a:lnTo>
                      <a:lnTo>
                        <a:pt x="149" y="201"/>
                      </a:lnTo>
                      <a:lnTo>
                        <a:pt x="169" y="207"/>
                      </a:lnTo>
                      <a:lnTo>
                        <a:pt x="189" y="209"/>
                      </a:lnTo>
                      <a:lnTo>
                        <a:pt x="211" y="210"/>
                      </a:lnTo>
                      <a:lnTo>
                        <a:pt x="211" y="0"/>
                      </a:lnTo>
                      <a:lnTo>
                        <a:pt x="0"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28" name="Freeform 276"/>
                <p:cNvSpPr>
                  <a:spLocks/>
                </p:cNvSpPr>
                <p:nvPr userDrawn="1"/>
              </p:nvSpPr>
              <p:spPr bwMode="auto">
                <a:xfrm>
                  <a:off x="11524796" y="4436561"/>
                  <a:ext cx="168275" cy="168275"/>
                </a:xfrm>
                <a:custGeom>
                  <a:avLst/>
                  <a:gdLst>
                    <a:gd name="T0" fmla="*/ 0 w 210"/>
                    <a:gd name="T1" fmla="*/ 0 h 210"/>
                    <a:gd name="T2" fmla="*/ 0 w 210"/>
                    <a:gd name="T3" fmla="*/ 210 h 210"/>
                    <a:gd name="T4" fmla="*/ 0 w 210"/>
                    <a:gd name="T5" fmla="*/ 210 h 210"/>
                    <a:gd name="T6" fmla="*/ 21 w 210"/>
                    <a:gd name="T7" fmla="*/ 209 h 210"/>
                    <a:gd name="T8" fmla="*/ 43 w 210"/>
                    <a:gd name="T9" fmla="*/ 207 h 210"/>
                    <a:gd name="T10" fmla="*/ 63 w 210"/>
                    <a:gd name="T11" fmla="*/ 201 h 210"/>
                    <a:gd name="T12" fmla="*/ 82 w 210"/>
                    <a:gd name="T13" fmla="*/ 193 h 210"/>
                    <a:gd name="T14" fmla="*/ 100 w 210"/>
                    <a:gd name="T15" fmla="*/ 185 h 210"/>
                    <a:gd name="T16" fmla="*/ 117 w 210"/>
                    <a:gd name="T17" fmla="*/ 174 h 210"/>
                    <a:gd name="T18" fmla="*/ 133 w 210"/>
                    <a:gd name="T19" fmla="*/ 163 h 210"/>
                    <a:gd name="T20" fmla="*/ 148 w 210"/>
                    <a:gd name="T21" fmla="*/ 148 h 210"/>
                    <a:gd name="T22" fmla="*/ 161 w 210"/>
                    <a:gd name="T23" fmla="*/ 134 h 210"/>
                    <a:gd name="T24" fmla="*/ 174 w 210"/>
                    <a:gd name="T25" fmla="*/ 117 h 210"/>
                    <a:gd name="T26" fmla="*/ 184 w 210"/>
                    <a:gd name="T27" fmla="*/ 101 h 210"/>
                    <a:gd name="T28" fmla="*/ 194 w 210"/>
                    <a:gd name="T29" fmla="*/ 82 h 210"/>
                    <a:gd name="T30" fmla="*/ 201 w 210"/>
                    <a:gd name="T31" fmla="*/ 63 h 210"/>
                    <a:gd name="T32" fmla="*/ 205 w 210"/>
                    <a:gd name="T33" fmla="*/ 42 h 210"/>
                    <a:gd name="T34" fmla="*/ 209 w 210"/>
                    <a:gd name="T35" fmla="*/ 22 h 210"/>
                    <a:gd name="T36" fmla="*/ 210 w 210"/>
                    <a:gd name="T37" fmla="*/ 0 h 210"/>
                    <a:gd name="T38" fmla="*/ 0 w 210"/>
                    <a:gd name="T3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0" h="210">
                      <a:moveTo>
                        <a:pt x="0" y="0"/>
                      </a:moveTo>
                      <a:lnTo>
                        <a:pt x="0" y="210"/>
                      </a:lnTo>
                      <a:lnTo>
                        <a:pt x="0" y="210"/>
                      </a:lnTo>
                      <a:lnTo>
                        <a:pt x="21" y="209"/>
                      </a:lnTo>
                      <a:lnTo>
                        <a:pt x="43" y="207"/>
                      </a:lnTo>
                      <a:lnTo>
                        <a:pt x="63" y="201"/>
                      </a:lnTo>
                      <a:lnTo>
                        <a:pt x="82" y="193"/>
                      </a:lnTo>
                      <a:lnTo>
                        <a:pt x="100" y="185"/>
                      </a:lnTo>
                      <a:lnTo>
                        <a:pt x="117" y="174"/>
                      </a:lnTo>
                      <a:lnTo>
                        <a:pt x="133" y="163"/>
                      </a:lnTo>
                      <a:lnTo>
                        <a:pt x="148" y="148"/>
                      </a:lnTo>
                      <a:lnTo>
                        <a:pt x="161" y="134"/>
                      </a:lnTo>
                      <a:lnTo>
                        <a:pt x="174" y="117"/>
                      </a:lnTo>
                      <a:lnTo>
                        <a:pt x="184" y="101"/>
                      </a:lnTo>
                      <a:lnTo>
                        <a:pt x="194" y="82"/>
                      </a:lnTo>
                      <a:lnTo>
                        <a:pt x="201" y="63"/>
                      </a:lnTo>
                      <a:lnTo>
                        <a:pt x="205" y="42"/>
                      </a:lnTo>
                      <a:lnTo>
                        <a:pt x="209" y="22"/>
                      </a:lnTo>
                      <a:lnTo>
                        <a:pt x="210" y="0"/>
                      </a:lnTo>
                      <a:lnTo>
                        <a:pt x="0" y="0"/>
                      </a:lnTo>
                      <a:close/>
                    </a:path>
                  </a:pathLst>
                </a:custGeom>
                <a:solidFill>
                  <a:srgbClr val="7F2D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29" name="Freeform 277"/>
                <p:cNvSpPr>
                  <a:spLocks/>
                </p:cNvSpPr>
                <p:nvPr userDrawn="1"/>
              </p:nvSpPr>
              <p:spPr bwMode="auto">
                <a:xfrm>
                  <a:off x="11148558" y="4096836"/>
                  <a:ext cx="77788" cy="508000"/>
                </a:xfrm>
                <a:custGeom>
                  <a:avLst/>
                  <a:gdLst>
                    <a:gd name="T0" fmla="*/ 98 w 98"/>
                    <a:gd name="T1" fmla="*/ 589 h 638"/>
                    <a:gd name="T2" fmla="*/ 98 w 98"/>
                    <a:gd name="T3" fmla="*/ 589 h 638"/>
                    <a:gd name="T4" fmla="*/ 97 w 98"/>
                    <a:gd name="T5" fmla="*/ 599 h 638"/>
                    <a:gd name="T6" fmla="*/ 94 w 98"/>
                    <a:gd name="T7" fmla="*/ 608 h 638"/>
                    <a:gd name="T8" fmla="*/ 89 w 98"/>
                    <a:gd name="T9" fmla="*/ 617 h 638"/>
                    <a:gd name="T10" fmla="*/ 84 w 98"/>
                    <a:gd name="T11" fmla="*/ 624 h 638"/>
                    <a:gd name="T12" fmla="*/ 76 w 98"/>
                    <a:gd name="T13" fmla="*/ 630 h 638"/>
                    <a:gd name="T14" fmla="*/ 68 w 98"/>
                    <a:gd name="T15" fmla="*/ 635 h 638"/>
                    <a:gd name="T16" fmla="*/ 59 w 98"/>
                    <a:gd name="T17" fmla="*/ 637 h 638"/>
                    <a:gd name="T18" fmla="*/ 49 w 98"/>
                    <a:gd name="T19" fmla="*/ 638 h 638"/>
                    <a:gd name="T20" fmla="*/ 49 w 98"/>
                    <a:gd name="T21" fmla="*/ 638 h 638"/>
                    <a:gd name="T22" fmla="*/ 40 w 98"/>
                    <a:gd name="T23" fmla="*/ 637 h 638"/>
                    <a:gd name="T24" fmla="*/ 30 w 98"/>
                    <a:gd name="T25" fmla="*/ 635 h 638"/>
                    <a:gd name="T26" fmla="*/ 22 w 98"/>
                    <a:gd name="T27" fmla="*/ 630 h 638"/>
                    <a:gd name="T28" fmla="*/ 15 w 98"/>
                    <a:gd name="T29" fmla="*/ 624 h 638"/>
                    <a:gd name="T30" fmla="*/ 9 w 98"/>
                    <a:gd name="T31" fmla="*/ 617 h 638"/>
                    <a:gd name="T32" fmla="*/ 4 w 98"/>
                    <a:gd name="T33" fmla="*/ 608 h 638"/>
                    <a:gd name="T34" fmla="*/ 1 w 98"/>
                    <a:gd name="T35" fmla="*/ 599 h 638"/>
                    <a:gd name="T36" fmla="*/ 0 w 98"/>
                    <a:gd name="T37" fmla="*/ 589 h 638"/>
                    <a:gd name="T38" fmla="*/ 0 w 98"/>
                    <a:gd name="T39" fmla="*/ 50 h 638"/>
                    <a:gd name="T40" fmla="*/ 0 w 98"/>
                    <a:gd name="T41" fmla="*/ 50 h 638"/>
                    <a:gd name="T42" fmla="*/ 1 w 98"/>
                    <a:gd name="T43" fmla="*/ 39 h 638"/>
                    <a:gd name="T44" fmla="*/ 4 w 98"/>
                    <a:gd name="T45" fmla="*/ 31 h 638"/>
                    <a:gd name="T46" fmla="*/ 9 w 98"/>
                    <a:gd name="T47" fmla="*/ 22 h 638"/>
                    <a:gd name="T48" fmla="*/ 15 w 98"/>
                    <a:gd name="T49" fmla="*/ 15 h 638"/>
                    <a:gd name="T50" fmla="*/ 22 w 98"/>
                    <a:gd name="T51" fmla="*/ 8 h 638"/>
                    <a:gd name="T52" fmla="*/ 30 w 98"/>
                    <a:gd name="T53" fmla="*/ 4 h 638"/>
                    <a:gd name="T54" fmla="*/ 40 w 98"/>
                    <a:gd name="T55" fmla="*/ 1 h 638"/>
                    <a:gd name="T56" fmla="*/ 49 w 98"/>
                    <a:gd name="T57" fmla="*/ 0 h 638"/>
                    <a:gd name="T58" fmla="*/ 49 w 98"/>
                    <a:gd name="T59" fmla="*/ 0 h 638"/>
                    <a:gd name="T60" fmla="*/ 59 w 98"/>
                    <a:gd name="T61" fmla="*/ 1 h 638"/>
                    <a:gd name="T62" fmla="*/ 68 w 98"/>
                    <a:gd name="T63" fmla="*/ 4 h 638"/>
                    <a:gd name="T64" fmla="*/ 76 w 98"/>
                    <a:gd name="T65" fmla="*/ 8 h 638"/>
                    <a:gd name="T66" fmla="*/ 84 w 98"/>
                    <a:gd name="T67" fmla="*/ 15 h 638"/>
                    <a:gd name="T68" fmla="*/ 89 w 98"/>
                    <a:gd name="T69" fmla="*/ 22 h 638"/>
                    <a:gd name="T70" fmla="*/ 94 w 98"/>
                    <a:gd name="T71" fmla="*/ 31 h 638"/>
                    <a:gd name="T72" fmla="*/ 97 w 98"/>
                    <a:gd name="T73" fmla="*/ 39 h 638"/>
                    <a:gd name="T74" fmla="*/ 98 w 98"/>
                    <a:gd name="T75" fmla="*/ 50 h 638"/>
                    <a:gd name="T76" fmla="*/ 98 w 98"/>
                    <a:gd name="T77" fmla="*/ 589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 h="638">
                      <a:moveTo>
                        <a:pt x="98" y="589"/>
                      </a:moveTo>
                      <a:lnTo>
                        <a:pt x="98" y="589"/>
                      </a:lnTo>
                      <a:lnTo>
                        <a:pt x="97" y="599"/>
                      </a:lnTo>
                      <a:lnTo>
                        <a:pt x="94" y="608"/>
                      </a:lnTo>
                      <a:lnTo>
                        <a:pt x="89" y="617"/>
                      </a:lnTo>
                      <a:lnTo>
                        <a:pt x="84" y="624"/>
                      </a:lnTo>
                      <a:lnTo>
                        <a:pt x="76" y="630"/>
                      </a:lnTo>
                      <a:lnTo>
                        <a:pt x="68" y="635"/>
                      </a:lnTo>
                      <a:lnTo>
                        <a:pt x="59" y="637"/>
                      </a:lnTo>
                      <a:lnTo>
                        <a:pt x="49" y="638"/>
                      </a:lnTo>
                      <a:lnTo>
                        <a:pt x="49" y="638"/>
                      </a:lnTo>
                      <a:lnTo>
                        <a:pt x="40" y="637"/>
                      </a:lnTo>
                      <a:lnTo>
                        <a:pt x="30" y="635"/>
                      </a:lnTo>
                      <a:lnTo>
                        <a:pt x="22" y="630"/>
                      </a:lnTo>
                      <a:lnTo>
                        <a:pt x="15" y="624"/>
                      </a:lnTo>
                      <a:lnTo>
                        <a:pt x="9" y="617"/>
                      </a:lnTo>
                      <a:lnTo>
                        <a:pt x="4" y="608"/>
                      </a:lnTo>
                      <a:lnTo>
                        <a:pt x="1" y="599"/>
                      </a:lnTo>
                      <a:lnTo>
                        <a:pt x="0" y="589"/>
                      </a:lnTo>
                      <a:lnTo>
                        <a:pt x="0" y="50"/>
                      </a:lnTo>
                      <a:lnTo>
                        <a:pt x="0" y="50"/>
                      </a:lnTo>
                      <a:lnTo>
                        <a:pt x="1" y="39"/>
                      </a:lnTo>
                      <a:lnTo>
                        <a:pt x="4" y="31"/>
                      </a:lnTo>
                      <a:lnTo>
                        <a:pt x="9" y="22"/>
                      </a:lnTo>
                      <a:lnTo>
                        <a:pt x="15" y="15"/>
                      </a:lnTo>
                      <a:lnTo>
                        <a:pt x="22" y="8"/>
                      </a:lnTo>
                      <a:lnTo>
                        <a:pt x="30" y="4"/>
                      </a:lnTo>
                      <a:lnTo>
                        <a:pt x="40" y="1"/>
                      </a:lnTo>
                      <a:lnTo>
                        <a:pt x="49" y="0"/>
                      </a:lnTo>
                      <a:lnTo>
                        <a:pt x="49" y="0"/>
                      </a:lnTo>
                      <a:lnTo>
                        <a:pt x="59" y="1"/>
                      </a:lnTo>
                      <a:lnTo>
                        <a:pt x="68" y="4"/>
                      </a:lnTo>
                      <a:lnTo>
                        <a:pt x="76" y="8"/>
                      </a:lnTo>
                      <a:lnTo>
                        <a:pt x="84" y="15"/>
                      </a:lnTo>
                      <a:lnTo>
                        <a:pt x="89" y="22"/>
                      </a:lnTo>
                      <a:lnTo>
                        <a:pt x="94" y="31"/>
                      </a:lnTo>
                      <a:lnTo>
                        <a:pt x="97" y="39"/>
                      </a:lnTo>
                      <a:lnTo>
                        <a:pt x="98" y="50"/>
                      </a:lnTo>
                      <a:lnTo>
                        <a:pt x="98" y="589"/>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0" name="Freeform 278"/>
                <p:cNvSpPr>
                  <a:spLocks/>
                </p:cNvSpPr>
                <p:nvPr userDrawn="1"/>
              </p:nvSpPr>
              <p:spPr bwMode="auto">
                <a:xfrm>
                  <a:off x="11064421" y="4547686"/>
                  <a:ext cx="246063" cy="153988"/>
                </a:xfrm>
                <a:custGeom>
                  <a:avLst/>
                  <a:gdLst>
                    <a:gd name="T0" fmla="*/ 270 w 310"/>
                    <a:gd name="T1" fmla="*/ 194 h 194"/>
                    <a:gd name="T2" fmla="*/ 255 w 310"/>
                    <a:gd name="T3" fmla="*/ 190 h 194"/>
                    <a:gd name="T4" fmla="*/ 243 w 310"/>
                    <a:gd name="T5" fmla="*/ 182 h 194"/>
                    <a:gd name="T6" fmla="*/ 235 w 310"/>
                    <a:gd name="T7" fmla="*/ 170 h 194"/>
                    <a:gd name="T8" fmla="*/ 232 w 310"/>
                    <a:gd name="T9" fmla="*/ 154 h 194"/>
                    <a:gd name="T10" fmla="*/ 231 w 310"/>
                    <a:gd name="T11" fmla="*/ 146 h 194"/>
                    <a:gd name="T12" fmla="*/ 229 w 310"/>
                    <a:gd name="T13" fmla="*/ 132 h 194"/>
                    <a:gd name="T14" fmla="*/ 223 w 310"/>
                    <a:gd name="T15" fmla="*/ 117 h 194"/>
                    <a:gd name="T16" fmla="*/ 210 w 310"/>
                    <a:gd name="T17" fmla="*/ 100 h 194"/>
                    <a:gd name="T18" fmla="*/ 192 w 310"/>
                    <a:gd name="T19" fmla="*/ 87 h 194"/>
                    <a:gd name="T20" fmla="*/ 178 w 310"/>
                    <a:gd name="T21" fmla="*/ 81 h 194"/>
                    <a:gd name="T22" fmla="*/ 163 w 310"/>
                    <a:gd name="T23" fmla="*/ 78 h 194"/>
                    <a:gd name="T24" fmla="*/ 155 w 310"/>
                    <a:gd name="T25" fmla="*/ 77 h 194"/>
                    <a:gd name="T26" fmla="*/ 140 w 310"/>
                    <a:gd name="T27" fmla="*/ 79 h 194"/>
                    <a:gd name="T28" fmla="*/ 125 w 310"/>
                    <a:gd name="T29" fmla="*/ 83 h 194"/>
                    <a:gd name="T30" fmla="*/ 112 w 310"/>
                    <a:gd name="T31" fmla="*/ 90 h 194"/>
                    <a:gd name="T32" fmla="*/ 91 w 310"/>
                    <a:gd name="T33" fmla="*/ 112 h 194"/>
                    <a:gd name="T34" fmla="*/ 84 w 310"/>
                    <a:gd name="T35" fmla="*/ 125 h 194"/>
                    <a:gd name="T36" fmla="*/ 80 w 310"/>
                    <a:gd name="T37" fmla="*/ 139 h 194"/>
                    <a:gd name="T38" fmla="*/ 78 w 310"/>
                    <a:gd name="T39" fmla="*/ 154 h 194"/>
                    <a:gd name="T40" fmla="*/ 78 w 310"/>
                    <a:gd name="T41" fmla="*/ 161 h 194"/>
                    <a:gd name="T42" fmla="*/ 72 w 310"/>
                    <a:gd name="T43" fmla="*/ 176 h 194"/>
                    <a:gd name="T44" fmla="*/ 61 w 310"/>
                    <a:gd name="T45" fmla="*/ 186 h 194"/>
                    <a:gd name="T46" fmla="*/ 47 w 310"/>
                    <a:gd name="T47" fmla="*/ 192 h 194"/>
                    <a:gd name="T48" fmla="*/ 40 w 310"/>
                    <a:gd name="T49" fmla="*/ 194 h 194"/>
                    <a:gd name="T50" fmla="*/ 24 w 310"/>
                    <a:gd name="T51" fmla="*/ 190 h 194"/>
                    <a:gd name="T52" fmla="*/ 12 w 310"/>
                    <a:gd name="T53" fmla="*/ 182 h 194"/>
                    <a:gd name="T54" fmla="*/ 4 w 310"/>
                    <a:gd name="T55" fmla="*/ 170 h 194"/>
                    <a:gd name="T56" fmla="*/ 0 w 310"/>
                    <a:gd name="T57" fmla="*/ 154 h 194"/>
                    <a:gd name="T58" fmla="*/ 2 w 310"/>
                    <a:gd name="T59" fmla="*/ 139 h 194"/>
                    <a:gd name="T60" fmla="*/ 8 w 310"/>
                    <a:gd name="T61" fmla="*/ 108 h 194"/>
                    <a:gd name="T62" fmla="*/ 19 w 310"/>
                    <a:gd name="T63" fmla="*/ 81 h 194"/>
                    <a:gd name="T64" fmla="*/ 36 w 310"/>
                    <a:gd name="T65" fmla="*/ 56 h 194"/>
                    <a:gd name="T66" fmla="*/ 56 w 310"/>
                    <a:gd name="T67" fmla="*/ 35 h 194"/>
                    <a:gd name="T68" fmla="*/ 81 w 310"/>
                    <a:gd name="T69" fmla="*/ 19 h 194"/>
                    <a:gd name="T70" fmla="*/ 109 w 310"/>
                    <a:gd name="T71" fmla="*/ 7 h 194"/>
                    <a:gd name="T72" fmla="*/ 140 w 310"/>
                    <a:gd name="T73" fmla="*/ 1 h 194"/>
                    <a:gd name="T74" fmla="*/ 155 w 310"/>
                    <a:gd name="T75" fmla="*/ 0 h 194"/>
                    <a:gd name="T76" fmla="*/ 186 w 310"/>
                    <a:gd name="T77" fmla="*/ 3 h 194"/>
                    <a:gd name="T78" fmla="*/ 214 w 310"/>
                    <a:gd name="T79" fmla="*/ 12 h 194"/>
                    <a:gd name="T80" fmla="*/ 241 w 310"/>
                    <a:gd name="T81" fmla="*/ 26 h 194"/>
                    <a:gd name="T82" fmla="*/ 264 w 310"/>
                    <a:gd name="T83" fmla="*/ 45 h 194"/>
                    <a:gd name="T84" fmla="*/ 283 w 310"/>
                    <a:gd name="T85" fmla="*/ 68 h 194"/>
                    <a:gd name="T86" fmla="*/ 298 w 310"/>
                    <a:gd name="T87" fmla="*/ 94 h 194"/>
                    <a:gd name="T88" fmla="*/ 306 w 310"/>
                    <a:gd name="T89" fmla="*/ 123 h 194"/>
                    <a:gd name="T90" fmla="*/ 310 w 310"/>
                    <a:gd name="T91" fmla="*/ 154 h 194"/>
                    <a:gd name="T92" fmla="*/ 308 w 310"/>
                    <a:gd name="T93" fmla="*/ 161 h 194"/>
                    <a:gd name="T94" fmla="*/ 302 w 310"/>
                    <a:gd name="T95" fmla="*/ 176 h 194"/>
                    <a:gd name="T96" fmla="*/ 292 w 310"/>
                    <a:gd name="T97" fmla="*/ 186 h 194"/>
                    <a:gd name="T98" fmla="*/ 279 w 310"/>
                    <a:gd name="T99" fmla="*/ 192 h 194"/>
                    <a:gd name="T100" fmla="*/ 270 w 310"/>
                    <a:gd name="T101"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0" h="194">
                      <a:moveTo>
                        <a:pt x="270" y="194"/>
                      </a:moveTo>
                      <a:lnTo>
                        <a:pt x="270" y="194"/>
                      </a:lnTo>
                      <a:lnTo>
                        <a:pt x="263" y="192"/>
                      </a:lnTo>
                      <a:lnTo>
                        <a:pt x="255" y="190"/>
                      </a:lnTo>
                      <a:lnTo>
                        <a:pt x="249" y="186"/>
                      </a:lnTo>
                      <a:lnTo>
                        <a:pt x="243" y="182"/>
                      </a:lnTo>
                      <a:lnTo>
                        <a:pt x="238" y="176"/>
                      </a:lnTo>
                      <a:lnTo>
                        <a:pt x="235" y="170"/>
                      </a:lnTo>
                      <a:lnTo>
                        <a:pt x="232" y="161"/>
                      </a:lnTo>
                      <a:lnTo>
                        <a:pt x="232" y="154"/>
                      </a:lnTo>
                      <a:lnTo>
                        <a:pt x="232" y="154"/>
                      </a:lnTo>
                      <a:lnTo>
                        <a:pt x="231" y="146"/>
                      </a:lnTo>
                      <a:lnTo>
                        <a:pt x="230" y="139"/>
                      </a:lnTo>
                      <a:lnTo>
                        <a:pt x="229" y="132"/>
                      </a:lnTo>
                      <a:lnTo>
                        <a:pt x="225" y="125"/>
                      </a:lnTo>
                      <a:lnTo>
                        <a:pt x="223" y="117"/>
                      </a:lnTo>
                      <a:lnTo>
                        <a:pt x="219" y="112"/>
                      </a:lnTo>
                      <a:lnTo>
                        <a:pt x="210" y="100"/>
                      </a:lnTo>
                      <a:lnTo>
                        <a:pt x="198" y="90"/>
                      </a:lnTo>
                      <a:lnTo>
                        <a:pt x="192" y="87"/>
                      </a:lnTo>
                      <a:lnTo>
                        <a:pt x="185" y="83"/>
                      </a:lnTo>
                      <a:lnTo>
                        <a:pt x="178" y="81"/>
                      </a:lnTo>
                      <a:lnTo>
                        <a:pt x="170" y="79"/>
                      </a:lnTo>
                      <a:lnTo>
                        <a:pt x="163" y="78"/>
                      </a:lnTo>
                      <a:lnTo>
                        <a:pt x="155" y="77"/>
                      </a:lnTo>
                      <a:lnTo>
                        <a:pt x="155" y="77"/>
                      </a:lnTo>
                      <a:lnTo>
                        <a:pt x="147" y="78"/>
                      </a:lnTo>
                      <a:lnTo>
                        <a:pt x="140" y="79"/>
                      </a:lnTo>
                      <a:lnTo>
                        <a:pt x="132" y="81"/>
                      </a:lnTo>
                      <a:lnTo>
                        <a:pt x="125" y="83"/>
                      </a:lnTo>
                      <a:lnTo>
                        <a:pt x="118" y="87"/>
                      </a:lnTo>
                      <a:lnTo>
                        <a:pt x="112" y="90"/>
                      </a:lnTo>
                      <a:lnTo>
                        <a:pt x="100" y="100"/>
                      </a:lnTo>
                      <a:lnTo>
                        <a:pt x="91" y="112"/>
                      </a:lnTo>
                      <a:lnTo>
                        <a:pt x="87" y="117"/>
                      </a:lnTo>
                      <a:lnTo>
                        <a:pt x="84" y="125"/>
                      </a:lnTo>
                      <a:lnTo>
                        <a:pt x="81" y="132"/>
                      </a:lnTo>
                      <a:lnTo>
                        <a:pt x="80" y="139"/>
                      </a:lnTo>
                      <a:lnTo>
                        <a:pt x="79" y="146"/>
                      </a:lnTo>
                      <a:lnTo>
                        <a:pt x="78" y="154"/>
                      </a:lnTo>
                      <a:lnTo>
                        <a:pt x="78" y="154"/>
                      </a:lnTo>
                      <a:lnTo>
                        <a:pt x="78" y="161"/>
                      </a:lnTo>
                      <a:lnTo>
                        <a:pt x="75" y="170"/>
                      </a:lnTo>
                      <a:lnTo>
                        <a:pt x="72" y="176"/>
                      </a:lnTo>
                      <a:lnTo>
                        <a:pt x="67" y="182"/>
                      </a:lnTo>
                      <a:lnTo>
                        <a:pt x="61" y="186"/>
                      </a:lnTo>
                      <a:lnTo>
                        <a:pt x="55" y="190"/>
                      </a:lnTo>
                      <a:lnTo>
                        <a:pt x="47" y="192"/>
                      </a:lnTo>
                      <a:lnTo>
                        <a:pt x="40" y="194"/>
                      </a:lnTo>
                      <a:lnTo>
                        <a:pt x="40" y="194"/>
                      </a:lnTo>
                      <a:lnTo>
                        <a:pt x="31" y="192"/>
                      </a:lnTo>
                      <a:lnTo>
                        <a:pt x="24" y="190"/>
                      </a:lnTo>
                      <a:lnTo>
                        <a:pt x="18" y="186"/>
                      </a:lnTo>
                      <a:lnTo>
                        <a:pt x="12" y="182"/>
                      </a:lnTo>
                      <a:lnTo>
                        <a:pt x="8" y="176"/>
                      </a:lnTo>
                      <a:lnTo>
                        <a:pt x="4" y="170"/>
                      </a:lnTo>
                      <a:lnTo>
                        <a:pt x="2" y="161"/>
                      </a:lnTo>
                      <a:lnTo>
                        <a:pt x="0" y="154"/>
                      </a:lnTo>
                      <a:lnTo>
                        <a:pt x="0" y="154"/>
                      </a:lnTo>
                      <a:lnTo>
                        <a:pt x="2" y="139"/>
                      </a:lnTo>
                      <a:lnTo>
                        <a:pt x="4" y="123"/>
                      </a:lnTo>
                      <a:lnTo>
                        <a:pt x="8" y="108"/>
                      </a:lnTo>
                      <a:lnTo>
                        <a:pt x="12" y="94"/>
                      </a:lnTo>
                      <a:lnTo>
                        <a:pt x="19" y="81"/>
                      </a:lnTo>
                      <a:lnTo>
                        <a:pt x="27" y="68"/>
                      </a:lnTo>
                      <a:lnTo>
                        <a:pt x="36" y="56"/>
                      </a:lnTo>
                      <a:lnTo>
                        <a:pt x="46" y="45"/>
                      </a:lnTo>
                      <a:lnTo>
                        <a:pt x="56" y="35"/>
                      </a:lnTo>
                      <a:lnTo>
                        <a:pt x="68" y="26"/>
                      </a:lnTo>
                      <a:lnTo>
                        <a:pt x="81" y="19"/>
                      </a:lnTo>
                      <a:lnTo>
                        <a:pt x="96" y="12"/>
                      </a:lnTo>
                      <a:lnTo>
                        <a:pt x="109" y="7"/>
                      </a:lnTo>
                      <a:lnTo>
                        <a:pt x="124" y="3"/>
                      </a:lnTo>
                      <a:lnTo>
                        <a:pt x="140" y="1"/>
                      </a:lnTo>
                      <a:lnTo>
                        <a:pt x="155" y="0"/>
                      </a:lnTo>
                      <a:lnTo>
                        <a:pt x="155" y="0"/>
                      </a:lnTo>
                      <a:lnTo>
                        <a:pt x="170" y="1"/>
                      </a:lnTo>
                      <a:lnTo>
                        <a:pt x="186" y="3"/>
                      </a:lnTo>
                      <a:lnTo>
                        <a:pt x="201" y="7"/>
                      </a:lnTo>
                      <a:lnTo>
                        <a:pt x="214" y="12"/>
                      </a:lnTo>
                      <a:lnTo>
                        <a:pt x="229" y="19"/>
                      </a:lnTo>
                      <a:lnTo>
                        <a:pt x="241" y="26"/>
                      </a:lnTo>
                      <a:lnTo>
                        <a:pt x="253" y="35"/>
                      </a:lnTo>
                      <a:lnTo>
                        <a:pt x="264" y="45"/>
                      </a:lnTo>
                      <a:lnTo>
                        <a:pt x="274" y="56"/>
                      </a:lnTo>
                      <a:lnTo>
                        <a:pt x="283" y="68"/>
                      </a:lnTo>
                      <a:lnTo>
                        <a:pt x="291" y="81"/>
                      </a:lnTo>
                      <a:lnTo>
                        <a:pt x="298" y="94"/>
                      </a:lnTo>
                      <a:lnTo>
                        <a:pt x="302" y="108"/>
                      </a:lnTo>
                      <a:lnTo>
                        <a:pt x="306" y="123"/>
                      </a:lnTo>
                      <a:lnTo>
                        <a:pt x="308" y="139"/>
                      </a:lnTo>
                      <a:lnTo>
                        <a:pt x="310" y="154"/>
                      </a:lnTo>
                      <a:lnTo>
                        <a:pt x="310" y="154"/>
                      </a:lnTo>
                      <a:lnTo>
                        <a:pt x="308" y="161"/>
                      </a:lnTo>
                      <a:lnTo>
                        <a:pt x="306" y="170"/>
                      </a:lnTo>
                      <a:lnTo>
                        <a:pt x="302" y="176"/>
                      </a:lnTo>
                      <a:lnTo>
                        <a:pt x="298" y="182"/>
                      </a:lnTo>
                      <a:lnTo>
                        <a:pt x="292" y="186"/>
                      </a:lnTo>
                      <a:lnTo>
                        <a:pt x="286" y="190"/>
                      </a:lnTo>
                      <a:lnTo>
                        <a:pt x="279" y="192"/>
                      </a:lnTo>
                      <a:lnTo>
                        <a:pt x="270" y="194"/>
                      </a:lnTo>
                      <a:lnTo>
                        <a:pt x="270" y="194"/>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1" name="Freeform 279"/>
                <p:cNvSpPr>
                  <a:spLocks/>
                </p:cNvSpPr>
                <p:nvPr userDrawn="1"/>
              </p:nvSpPr>
              <p:spPr bwMode="auto">
                <a:xfrm>
                  <a:off x="11902621" y="4139699"/>
                  <a:ext cx="71438" cy="141288"/>
                </a:xfrm>
                <a:custGeom>
                  <a:avLst/>
                  <a:gdLst>
                    <a:gd name="T0" fmla="*/ 0 w 91"/>
                    <a:gd name="T1" fmla="*/ 0 h 180"/>
                    <a:gd name="T2" fmla="*/ 0 w 91"/>
                    <a:gd name="T3" fmla="*/ 0 h 180"/>
                    <a:gd name="T4" fmla="*/ 10 w 91"/>
                    <a:gd name="T5" fmla="*/ 0 h 180"/>
                    <a:gd name="T6" fmla="*/ 18 w 91"/>
                    <a:gd name="T7" fmla="*/ 1 h 180"/>
                    <a:gd name="T8" fmla="*/ 28 w 91"/>
                    <a:gd name="T9" fmla="*/ 4 h 180"/>
                    <a:gd name="T10" fmla="*/ 36 w 91"/>
                    <a:gd name="T11" fmla="*/ 7 h 180"/>
                    <a:gd name="T12" fmla="*/ 43 w 91"/>
                    <a:gd name="T13" fmla="*/ 11 h 180"/>
                    <a:gd name="T14" fmla="*/ 50 w 91"/>
                    <a:gd name="T15" fmla="*/ 14 h 180"/>
                    <a:gd name="T16" fmla="*/ 57 w 91"/>
                    <a:gd name="T17" fmla="*/ 20 h 180"/>
                    <a:gd name="T18" fmla="*/ 65 w 91"/>
                    <a:gd name="T19" fmla="*/ 26 h 180"/>
                    <a:gd name="T20" fmla="*/ 70 w 91"/>
                    <a:gd name="T21" fmla="*/ 32 h 180"/>
                    <a:gd name="T22" fmla="*/ 75 w 91"/>
                    <a:gd name="T23" fmla="*/ 39 h 180"/>
                    <a:gd name="T24" fmla="*/ 80 w 91"/>
                    <a:gd name="T25" fmla="*/ 46 h 180"/>
                    <a:gd name="T26" fmla="*/ 84 w 91"/>
                    <a:gd name="T27" fmla="*/ 55 h 180"/>
                    <a:gd name="T28" fmla="*/ 86 w 91"/>
                    <a:gd name="T29" fmla="*/ 63 h 180"/>
                    <a:gd name="T30" fmla="*/ 88 w 91"/>
                    <a:gd name="T31" fmla="*/ 71 h 180"/>
                    <a:gd name="T32" fmla="*/ 89 w 91"/>
                    <a:gd name="T33" fmla="*/ 81 h 180"/>
                    <a:gd name="T34" fmla="*/ 91 w 91"/>
                    <a:gd name="T35" fmla="*/ 89 h 180"/>
                    <a:gd name="T36" fmla="*/ 91 w 91"/>
                    <a:gd name="T37" fmla="*/ 89 h 180"/>
                    <a:gd name="T38" fmla="*/ 89 w 91"/>
                    <a:gd name="T39" fmla="*/ 99 h 180"/>
                    <a:gd name="T40" fmla="*/ 88 w 91"/>
                    <a:gd name="T41" fmla="*/ 107 h 180"/>
                    <a:gd name="T42" fmla="*/ 86 w 91"/>
                    <a:gd name="T43" fmla="*/ 117 h 180"/>
                    <a:gd name="T44" fmla="*/ 84 w 91"/>
                    <a:gd name="T45" fmla="*/ 125 h 180"/>
                    <a:gd name="T46" fmla="*/ 80 w 91"/>
                    <a:gd name="T47" fmla="*/ 132 h 180"/>
                    <a:gd name="T48" fmla="*/ 75 w 91"/>
                    <a:gd name="T49" fmla="*/ 140 h 180"/>
                    <a:gd name="T50" fmla="*/ 70 w 91"/>
                    <a:gd name="T51" fmla="*/ 146 h 180"/>
                    <a:gd name="T52" fmla="*/ 65 w 91"/>
                    <a:gd name="T53" fmla="*/ 153 h 180"/>
                    <a:gd name="T54" fmla="*/ 57 w 91"/>
                    <a:gd name="T55" fmla="*/ 159 h 180"/>
                    <a:gd name="T56" fmla="*/ 50 w 91"/>
                    <a:gd name="T57" fmla="*/ 164 h 180"/>
                    <a:gd name="T58" fmla="*/ 43 w 91"/>
                    <a:gd name="T59" fmla="*/ 169 h 180"/>
                    <a:gd name="T60" fmla="*/ 36 w 91"/>
                    <a:gd name="T61" fmla="*/ 172 h 180"/>
                    <a:gd name="T62" fmla="*/ 28 w 91"/>
                    <a:gd name="T63" fmla="*/ 175 h 180"/>
                    <a:gd name="T64" fmla="*/ 18 w 91"/>
                    <a:gd name="T65" fmla="*/ 177 h 180"/>
                    <a:gd name="T66" fmla="*/ 10 w 91"/>
                    <a:gd name="T67" fmla="*/ 180 h 180"/>
                    <a:gd name="T68" fmla="*/ 0 w 91"/>
                    <a:gd name="T69" fmla="*/ 180 h 180"/>
                    <a:gd name="T70" fmla="*/ 0 w 91"/>
                    <a:gd name="T7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 h="180">
                      <a:moveTo>
                        <a:pt x="0" y="0"/>
                      </a:moveTo>
                      <a:lnTo>
                        <a:pt x="0" y="0"/>
                      </a:lnTo>
                      <a:lnTo>
                        <a:pt x="10" y="0"/>
                      </a:lnTo>
                      <a:lnTo>
                        <a:pt x="18" y="1"/>
                      </a:lnTo>
                      <a:lnTo>
                        <a:pt x="28" y="4"/>
                      </a:lnTo>
                      <a:lnTo>
                        <a:pt x="36" y="7"/>
                      </a:lnTo>
                      <a:lnTo>
                        <a:pt x="43" y="11"/>
                      </a:lnTo>
                      <a:lnTo>
                        <a:pt x="50" y="14"/>
                      </a:lnTo>
                      <a:lnTo>
                        <a:pt x="57" y="20"/>
                      </a:lnTo>
                      <a:lnTo>
                        <a:pt x="65" y="26"/>
                      </a:lnTo>
                      <a:lnTo>
                        <a:pt x="70" y="32"/>
                      </a:lnTo>
                      <a:lnTo>
                        <a:pt x="75" y="39"/>
                      </a:lnTo>
                      <a:lnTo>
                        <a:pt x="80" y="46"/>
                      </a:lnTo>
                      <a:lnTo>
                        <a:pt x="84" y="55"/>
                      </a:lnTo>
                      <a:lnTo>
                        <a:pt x="86" y="63"/>
                      </a:lnTo>
                      <a:lnTo>
                        <a:pt x="88" y="71"/>
                      </a:lnTo>
                      <a:lnTo>
                        <a:pt x="89" y="81"/>
                      </a:lnTo>
                      <a:lnTo>
                        <a:pt x="91" y="89"/>
                      </a:lnTo>
                      <a:lnTo>
                        <a:pt x="91" y="89"/>
                      </a:lnTo>
                      <a:lnTo>
                        <a:pt x="89" y="99"/>
                      </a:lnTo>
                      <a:lnTo>
                        <a:pt x="88" y="107"/>
                      </a:lnTo>
                      <a:lnTo>
                        <a:pt x="86" y="117"/>
                      </a:lnTo>
                      <a:lnTo>
                        <a:pt x="84" y="125"/>
                      </a:lnTo>
                      <a:lnTo>
                        <a:pt x="80" y="132"/>
                      </a:lnTo>
                      <a:lnTo>
                        <a:pt x="75" y="140"/>
                      </a:lnTo>
                      <a:lnTo>
                        <a:pt x="70" y="146"/>
                      </a:lnTo>
                      <a:lnTo>
                        <a:pt x="65" y="153"/>
                      </a:lnTo>
                      <a:lnTo>
                        <a:pt x="57" y="159"/>
                      </a:lnTo>
                      <a:lnTo>
                        <a:pt x="50" y="164"/>
                      </a:lnTo>
                      <a:lnTo>
                        <a:pt x="43" y="169"/>
                      </a:lnTo>
                      <a:lnTo>
                        <a:pt x="36" y="172"/>
                      </a:lnTo>
                      <a:lnTo>
                        <a:pt x="28" y="175"/>
                      </a:lnTo>
                      <a:lnTo>
                        <a:pt x="18" y="177"/>
                      </a:lnTo>
                      <a:lnTo>
                        <a:pt x="10" y="180"/>
                      </a:lnTo>
                      <a:lnTo>
                        <a:pt x="0" y="180"/>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2" name="Freeform 280"/>
                <p:cNvSpPr>
                  <a:spLocks/>
                </p:cNvSpPr>
                <p:nvPr userDrawn="1"/>
              </p:nvSpPr>
              <p:spPr bwMode="auto">
                <a:xfrm>
                  <a:off x="11824833" y="4096836"/>
                  <a:ext cx="77788" cy="508000"/>
                </a:xfrm>
                <a:custGeom>
                  <a:avLst/>
                  <a:gdLst>
                    <a:gd name="T0" fmla="*/ 0 w 97"/>
                    <a:gd name="T1" fmla="*/ 589 h 638"/>
                    <a:gd name="T2" fmla="*/ 0 w 97"/>
                    <a:gd name="T3" fmla="*/ 589 h 638"/>
                    <a:gd name="T4" fmla="*/ 1 w 97"/>
                    <a:gd name="T5" fmla="*/ 599 h 638"/>
                    <a:gd name="T6" fmla="*/ 3 w 97"/>
                    <a:gd name="T7" fmla="*/ 608 h 638"/>
                    <a:gd name="T8" fmla="*/ 8 w 97"/>
                    <a:gd name="T9" fmla="*/ 617 h 638"/>
                    <a:gd name="T10" fmla="*/ 14 w 97"/>
                    <a:gd name="T11" fmla="*/ 624 h 638"/>
                    <a:gd name="T12" fmla="*/ 21 w 97"/>
                    <a:gd name="T13" fmla="*/ 630 h 638"/>
                    <a:gd name="T14" fmla="*/ 30 w 97"/>
                    <a:gd name="T15" fmla="*/ 635 h 638"/>
                    <a:gd name="T16" fmla="*/ 39 w 97"/>
                    <a:gd name="T17" fmla="*/ 637 h 638"/>
                    <a:gd name="T18" fmla="*/ 49 w 97"/>
                    <a:gd name="T19" fmla="*/ 638 h 638"/>
                    <a:gd name="T20" fmla="*/ 49 w 97"/>
                    <a:gd name="T21" fmla="*/ 638 h 638"/>
                    <a:gd name="T22" fmla="*/ 58 w 97"/>
                    <a:gd name="T23" fmla="*/ 637 h 638"/>
                    <a:gd name="T24" fmla="*/ 68 w 97"/>
                    <a:gd name="T25" fmla="*/ 635 h 638"/>
                    <a:gd name="T26" fmla="*/ 76 w 97"/>
                    <a:gd name="T27" fmla="*/ 630 h 638"/>
                    <a:gd name="T28" fmla="*/ 83 w 97"/>
                    <a:gd name="T29" fmla="*/ 624 h 638"/>
                    <a:gd name="T30" fmla="*/ 89 w 97"/>
                    <a:gd name="T31" fmla="*/ 617 h 638"/>
                    <a:gd name="T32" fmla="*/ 94 w 97"/>
                    <a:gd name="T33" fmla="*/ 608 h 638"/>
                    <a:gd name="T34" fmla="*/ 96 w 97"/>
                    <a:gd name="T35" fmla="*/ 599 h 638"/>
                    <a:gd name="T36" fmla="*/ 97 w 97"/>
                    <a:gd name="T37" fmla="*/ 589 h 638"/>
                    <a:gd name="T38" fmla="*/ 97 w 97"/>
                    <a:gd name="T39" fmla="*/ 50 h 638"/>
                    <a:gd name="T40" fmla="*/ 97 w 97"/>
                    <a:gd name="T41" fmla="*/ 50 h 638"/>
                    <a:gd name="T42" fmla="*/ 96 w 97"/>
                    <a:gd name="T43" fmla="*/ 39 h 638"/>
                    <a:gd name="T44" fmla="*/ 94 w 97"/>
                    <a:gd name="T45" fmla="*/ 31 h 638"/>
                    <a:gd name="T46" fmla="*/ 89 w 97"/>
                    <a:gd name="T47" fmla="*/ 22 h 638"/>
                    <a:gd name="T48" fmla="*/ 83 w 97"/>
                    <a:gd name="T49" fmla="*/ 15 h 638"/>
                    <a:gd name="T50" fmla="*/ 76 w 97"/>
                    <a:gd name="T51" fmla="*/ 8 h 638"/>
                    <a:gd name="T52" fmla="*/ 68 w 97"/>
                    <a:gd name="T53" fmla="*/ 4 h 638"/>
                    <a:gd name="T54" fmla="*/ 58 w 97"/>
                    <a:gd name="T55" fmla="*/ 1 h 638"/>
                    <a:gd name="T56" fmla="*/ 49 w 97"/>
                    <a:gd name="T57" fmla="*/ 0 h 638"/>
                    <a:gd name="T58" fmla="*/ 49 w 97"/>
                    <a:gd name="T59" fmla="*/ 0 h 638"/>
                    <a:gd name="T60" fmla="*/ 39 w 97"/>
                    <a:gd name="T61" fmla="*/ 1 h 638"/>
                    <a:gd name="T62" fmla="*/ 30 w 97"/>
                    <a:gd name="T63" fmla="*/ 4 h 638"/>
                    <a:gd name="T64" fmla="*/ 21 w 97"/>
                    <a:gd name="T65" fmla="*/ 8 h 638"/>
                    <a:gd name="T66" fmla="*/ 14 w 97"/>
                    <a:gd name="T67" fmla="*/ 15 h 638"/>
                    <a:gd name="T68" fmla="*/ 8 w 97"/>
                    <a:gd name="T69" fmla="*/ 22 h 638"/>
                    <a:gd name="T70" fmla="*/ 3 w 97"/>
                    <a:gd name="T71" fmla="*/ 31 h 638"/>
                    <a:gd name="T72" fmla="*/ 1 w 97"/>
                    <a:gd name="T73" fmla="*/ 39 h 638"/>
                    <a:gd name="T74" fmla="*/ 0 w 97"/>
                    <a:gd name="T75" fmla="*/ 50 h 638"/>
                    <a:gd name="T76" fmla="*/ 0 w 97"/>
                    <a:gd name="T77" fmla="*/ 589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7" h="638">
                      <a:moveTo>
                        <a:pt x="0" y="589"/>
                      </a:moveTo>
                      <a:lnTo>
                        <a:pt x="0" y="589"/>
                      </a:lnTo>
                      <a:lnTo>
                        <a:pt x="1" y="599"/>
                      </a:lnTo>
                      <a:lnTo>
                        <a:pt x="3" y="608"/>
                      </a:lnTo>
                      <a:lnTo>
                        <a:pt x="8" y="617"/>
                      </a:lnTo>
                      <a:lnTo>
                        <a:pt x="14" y="624"/>
                      </a:lnTo>
                      <a:lnTo>
                        <a:pt x="21" y="630"/>
                      </a:lnTo>
                      <a:lnTo>
                        <a:pt x="30" y="635"/>
                      </a:lnTo>
                      <a:lnTo>
                        <a:pt x="39" y="637"/>
                      </a:lnTo>
                      <a:lnTo>
                        <a:pt x="49" y="638"/>
                      </a:lnTo>
                      <a:lnTo>
                        <a:pt x="49" y="638"/>
                      </a:lnTo>
                      <a:lnTo>
                        <a:pt x="58" y="637"/>
                      </a:lnTo>
                      <a:lnTo>
                        <a:pt x="68" y="635"/>
                      </a:lnTo>
                      <a:lnTo>
                        <a:pt x="76" y="630"/>
                      </a:lnTo>
                      <a:lnTo>
                        <a:pt x="83" y="624"/>
                      </a:lnTo>
                      <a:lnTo>
                        <a:pt x="89" y="617"/>
                      </a:lnTo>
                      <a:lnTo>
                        <a:pt x="94" y="608"/>
                      </a:lnTo>
                      <a:lnTo>
                        <a:pt x="96" y="599"/>
                      </a:lnTo>
                      <a:lnTo>
                        <a:pt x="97" y="589"/>
                      </a:lnTo>
                      <a:lnTo>
                        <a:pt x="97" y="50"/>
                      </a:lnTo>
                      <a:lnTo>
                        <a:pt x="97" y="50"/>
                      </a:lnTo>
                      <a:lnTo>
                        <a:pt x="96" y="39"/>
                      </a:lnTo>
                      <a:lnTo>
                        <a:pt x="94" y="31"/>
                      </a:lnTo>
                      <a:lnTo>
                        <a:pt x="89" y="22"/>
                      </a:lnTo>
                      <a:lnTo>
                        <a:pt x="83" y="15"/>
                      </a:lnTo>
                      <a:lnTo>
                        <a:pt x="76" y="8"/>
                      </a:lnTo>
                      <a:lnTo>
                        <a:pt x="68" y="4"/>
                      </a:lnTo>
                      <a:lnTo>
                        <a:pt x="58" y="1"/>
                      </a:lnTo>
                      <a:lnTo>
                        <a:pt x="49" y="0"/>
                      </a:lnTo>
                      <a:lnTo>
                        <a:pt x="49" y="0"/>
                      </a:lnTo>
                      <a:lnTo>
                        <a:pt x="39" y="1"/>
                      </a:lnTo>
                      <a:lnTo>
                        <a:pt x="30" y="4"/>
                      </a:lnTo>
                      <a:lnTo>
                        <a:pt x="21" y="8"/>
                      </a:lnTo>
                      <a:lnTo>
                        <a:pt x="14" y="15"/>
                      </a:lnTo>
                      <a:lnTo>
                        <a:pt x="8" y="22"/>
                      </a:lnTo>
                      <a:lnTo>
                        <a:pt x="3" y="31"/>
                      </a:lnTo>
                      <a:lnTo>
                        <a:pt x="1" y="39"/>
                      </a:lnTo>
                      <a:lnTo>
                        <a:pt x="0" y="50"/>
                      </a:lnTo>
                      <a:lnTo>
                        <a:pt x="0" y="589"/>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3" name="Freeform 281"/>
                <p:cNvSpPr>
                  <a:spLocks/>
                </p:cNvSpPr>
                <p:nvPr userDrawn="1"/>
              </p:nvSpPr>
              <p:spPr bwMode="auto">
                <a:xfrm>
                  <a:off x="11740696" y="4547686"/>
                  <a:ext cx="246063" cy="153988"/>
                </a:xfrm>
                <a:custGeom>
                  <a:avLst/>
                  <a:gdLst>
                    <a:gd name="T0" fmla="*/ 270 w 309"/>
                    <a:gd name="T1" fmla="*/ 194 h 194"/>
                    <a:gd name="T2" fmla="*/ 254 w 309"/>
                    <a:gd name="T3" fmla="*/ 190 h 194"/>
                    <a:gd name="T4" fmla="*/ 243 w 309"/>
                    <a:gd name="T5" fmla="*/ 182 h 194"/>
                    <a:gd name="T6" fmla="*/ 234 w 309"/>
                    <a:gd name="T7" fmla="*/ 170 h 194"/>
                    <a:gd name="T8" fmla="*/ 231 w 309"/>
                    <a:gd name="T9" fmla="*/ 154 h 194"/>
                    <a:gd name="T10" fmla="*/ 231 w 309"/>
                    <a:gd name="T11" fmla="*/ 146 h 194"/>
                    <a:gd name="T12" fmla="*/ 228 w 309"/>
                    <a:gd name="T13" fmla="*/ 132 h 194"/>
                    <a:gd name="T14" fmla="*/ 222 w 309"/>
                    <a:gd name="T15" fmla="*/ 117 h 194"/>
                    <a:gd name="T16" fmla="*/ 209 w 309"/>
                    <a:gd name="T17" fmla="*/ 100 h 194"/>
                    <a:gd name="T18" fmla="*/ 191 w 309"/>
                    <a:gd name="T19" fmla="*/ 87 h 194"/>
                    <a:gd name="T20" fmla="*/ 177 w 309"/>
                    <a:gd name="T21" fmla="*/ 81 h 194"/>
                    <a:gd name="T22" fmla="*/ 162 w 309"/>
                    <a:gd name="T23" fmla="*/ 78 h 194"/>
                    <a:gd name="T24" fmla="*/ 155 w 309"/>
                    <a:gd name="T25" fmla="*/ 77 h 194"/>
                    <a:gd name="T26" fmla="*/ 139 w 309"/>
                    <a:gd name="T27" fmla="*/ 79 h 194"/>
                    <a:gd name="T28" fmla="*/ 125 w 309"/>
                    <a:gd name="T29" fmla="*/ 83 h 194"/>
                    <a:gd name="T30" fmla="*/ 112 w 309"/>
                    <a:gd name="T31" fmla="*/ 90 h 194"/>
                    <a:gd name="T32" fmla="*/ 90 w 309"/>
                    <a:gd name="T33" fmla="*/ 112 h 194"/>
                    <a:gd name="T34" fmla="*/ 83 w 309"/>
                    <a:gd name="T35" fmla="*/ 125 h 194"/>
                    <a:gd name="T36" fmla="*/ 80 w 309"/>
                    <a:gd name="T37" fmla="*/ 139 h 194"/>
                    <a:gd name="T38" fmla="*/ 77 w 309"/>
                    <a:gd name="T39" fmla="*/ 154 h 194"/>
                    <a:gd name="T40" fmla="*/ 77 w 309"/>
                    <a:gd name="T41" fmla="*/ 161 h 194"/>
                    <a:gd name="T42" fmla="*/ 71 w 309"/>
                    <a:gd name="T43" fmla="*/ 176 h 194"/>
                    <a:gd name="T44" fmla="*/ 61 w 309"/>
                    <a:gd name="T45" fmla="*/ 186 h 194"/>
                    <a:gd name="T46" fmla="*/ 46 w 309"/>
                    <a:gd name="T47" fmla="*/ 192 h 194"/>
                    <a:gd name="T48" fmla="*/ 39 w 309"/>
                    <a:gd name="T49" fmla="*/ 194 h 194"/>
                    <a:gd name="T50" fmla="*/ 24 w 309"/>
                    <a:gd name="T51" fmla="*/ 190 h 194"/>
                    <a:gd name="T52" fmla="*/ 12 w 309"/>
                    <a:gd name="T53" fmla="*/ 182 h 194"/>
                    <a:gd name="T54" fmla="*/ 4 w 309"/>
                    <a:gd name="T55" fmla="*/ 170 h 194"/>
                    <a:gd name="T56" fmla="*/ 0 w 309"/>
                    <a:gd name="T57" fmla="*/ 154 h 194"/>
                    <a:gd name="T58" fmla="*/ 1 w 309"/>
                    <a:gd name="T59" fmla="*/ 139 h 194"/>
                    <a:gd name="T60" fmla="*/ 7 w 309"/>
                    <a:gd name="T61" fmla="*/ 108 h 194"/>
                    <a:gd name="T62" fmla="*/ 19 w 309"/>
                    <a:gd name="T63" fmla="*/ 81 h 194"/>
                    <a:gd name="T64" fmla="*/ 36 w 309"/>
                    <a:gd name="T65" fmla="*/ 56 h 194"/>
                    <a:gd name="T66" fmla="*/ 56 w 309"/>
                    <a:gd name="T67" fmla="*/ 35 h 194"/>
                    <a:gd name="T68" fmla="*/ 81 w 309"/>
                    <a:gd name="T69" fmla="*/ 19 h 194"/>
                    <a:gd name="T70" fmla="*/ 108 w 309"/>
                    <a:gd name="T71" fmla="*/ 7 h 194"/>
                    <a:gd name="T72" fmla="*/ 139 w 309"/>
                    <a:gd name="T73" fmla="*/ 1 h 194"/>
                    <a:gd name="T74" fmla="*/ 155 w 309"/>
                    <a:gd name="T75" fmla="*/ 0 h 194"/>
                    <a:gd name="T76" fmla="*/ 185 w 309"/>
                    <a:gd name="T77" fmla="*/ 3 h 194"/>
                    <a:gd name="T78" fmla="*/ 214 w 309"/>
                    <a:gd name="T79" fmla="*/ 12 h 194"/>
                    <a:gd name="T80" fmla="*/ 240 w 309"/>
                    <a:gd name="T81" fmla="*/ 26 h 194"/>
                    <a:gd name="T82" fmla="*/ 264 w 309"/>
                    <a:gd name="T83" fmla="*/ 45 h 194"/>
                    <a:gd name="T84" fmla="*/ 282 w 309"/>
                    <a:gd name="T85" fmla="*/ 68 h 194"/>
                    <a:gd name="T86" fmla="*/ 296 w 309"/>
                    <a:gd name="T87" fmla="*/ 94 h 194"/>
                    <a:gd name="T88" fmla="*/ 306 w 309"/>
                    <a:gd name="T89" fmla="*/ 123 h 194"/>
                    <a:gd name="T90" fmla="*/ 309 w 309"/>
                    <a:gd name="T91" fmla="*/ 154 h 194"/>
                    <a:gd name="T92" fmla="*/ 308 w 309"/>
                    <a:gd name="T93" fmla="*/ 161 h 194"/>
                    <a:gd name="T94" fmla="*/ 302 w 309"/>
                    <a:gd name="T95" fmla="*/ 176 h 194"/>
                    <a:gd name="T96" fmla="*/ 291 w 309"/>
                    <a:gd name="T97" fmla="*/ 186 h 194"/>
                    <a:gd name="T98" fmla="*/ 278 w 309"/>
                    <a:gd name="T99" fmla="*/ 192 h 194"/>
                    <a:gd name="T100" fmla="*/ 270 w 309"/>
                    <a:gd name="T101"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9" h="194">
                      <a:moveTo>
                        <a:pt x="270" y="194"/>
                      </a:moveTo>
                      <a:lnTo>
                        <a:pt x="270" y="194"/>
                      </a:lnTo>
                      <a:lnTo>
                        <a:pt x="263" y="192"/>
                      </a:lnTo>
                      <a:lnTo>
                        <a:pt x="254" y="190"/>
                      </a:lnTo>
                      <a:lnTo>
                        <a:pt x="248" y="186"/>
                      </a:lnTo>
                      <a:lnTo>
                        <a:pt x="243" y="182"/>
                      </a:lnTo>
                      <a:lnTo>
                        <a:pt x="238" y="176"/>
                      </a:lnTo>
                      <a:lnTo>
                        <a:pt x="234" y="170"/>
                      </a:lnTo>
                      <a:lnTo>
                        <a:pt x="232" y="161"/>
                      </a:lnTo>
                      <a:lnTo>
                        <a:pt x="231" y="154"/>
                      </a:lnTo>
                      <a:lnTo>
                        <a:pt x="231" y="154"/>
                      </a:lnTo>
                      <a:lnTo>
                        <a:pt x="231" y="146"/>
                      </a:lnTo>
                      <a:lnTo>
                        <a:pt x="229" y="139"/>
                      </a:lnTo>
                      <a:lnTo>
                        <a:pt x="228" y="132"/>
                      </a:lnTo>
                      <a:lnTo>
                        <a:pt x="225" y="125"/>
                      </a:lnTo>
                      <a:lnTo>
                        <a:pt x="222" y="117"/>
                      </a:lnTo>
                      <a:lnTo>
                        <a:pt x="218" y="112"/>
                      </a:lnTo>
                      <a:lnTo>
                        <a:pt x="209" y="100"/>
                      </a:lnTo>
                      <a:lnTo>
                        <a:pt x="197" y="90"/>
                      </a:lnTo>
                      <a:lnTo>
                        <a:pt x="191" y="87"/>
                      </a:lnTo>
                      <a:lnTo>
                        <a:pt x="184" y="83"/>
                      </a:lnTo>
                      <a:lnTo>
                        <a:pt x="177" y="81"/>
                      </a:lnTo>
                      <a:lnTo>
                        <a:pt x="170" y="79"/>
                      </a:lnTo>
                      <a:lnTo>
                        <a:pt x="162" y="78"/>
                      </a:lnTo>
                      <a:lnTo>
                        <a:pt x="155" y="77"/>
                      </a:lnTo>
                      <a:lnTo>
                        <a:pt x="155" y="77"/>
                      </a:lnTo>
                      <a:lnTo>
                        <a:pt x="146" y="78"/>
                      </a:lnTo>
                      <a:lnTo>
                        <a:pt x="139" y="79"/>
                      </a:lnTo>
                      <a:lnTo>
                        <a:pt x="132" y="81"/>
                      </a:lnTo>
                      <a:lnTo>
                        <a:pt x="125" y="83"/>
                      </a:lnTo>
                      <a:lnTo>
                        <a:pt x="118" y="87"/>
                      </a:lnTo>
                      <a:lnTo>
                        <a:pt x="112" y="90"/>
                      </a:lnTo>
                      <a:lnTo>
                        <a:pt x="100" y="100"/>
                      </a:lnTo>
                      <a:lnTo>
                        <a:pt x="90" y="112"/>
                      </a:lnTo>
                      <a:lnTo>
                        <a:pt x="87" y="117"/>
                      </a:lnTo>
                      <a:lnTo>
                        <a:pt x="83" y="125"/>
                      </a:lnTo>
                      <a:lnTo>
                        <a:pt x="81" y="132"/>
                      </a:lnTo>
                      <a:lnTo>
                        <a:pt x="80" y="139"/>
                      </a:lnTo>
                      <a:lnTo>
                        <a:pt x="78" y="146"/>
                      </a:lnTo>
                      <a:lnTo>
                        <a:pt x="77" y="154"/>
                      </a:lnTo>
                      <a:lnTo>
                        <a:pt x="77" y="154"/>
                      </a:lnTo>
                      <a:lnTo>
                        <a:pt x="77" y="161"/>
                      </a:lnTo>
                      <a:lnTo>
                        <a:pt x="75" y="170"/>
                      </a:lnTo>
                      <a:lnTo>
                        <a:pt x="71" y="176"/>
                      </a:lnTo>
                      <a:lnTo>
                        <a:pt x="67" y="182"/>
                      </a:lnTo>
                      <a:lnTo>
                        <a:pt x="61" y="186"/>
                      </a:lnTo>
                      <a:lnTo>
                        <a:pt x="53" y="190"/>
                      </a:lnTo>
                      <a:lnTo>
                        <a:pt x="46" y="192"/>
                      </a:lnTo>
                      <a:lnTo>
                        <a:pt x="39" y="194"/>
                      </a:lnTo>
                      <a:lnTo>
                        <a:pt x="39" y="194"/>
                      </a:lnTo>
                      <a:lnTo>
                        <a:pt x="31" y="192"/>
                      </a:lnTo>
                      <a:lnTo>
                        <a:pt x="24" y="190"/>
                      </a:lnTo>
                      <a:lnTo>
                        <a:pt x="18" y="186"/>
                      </a:lnTo>
                      <a:lnTo>
                        <a:pt x="12" y="182"/>
                      </a:lnTo>
                      <a:lnTo>
                        <a:pt x="7" y="176"/>
                      </a:lnTo>
                      <a:lnTo>
                        <a:pt x="4" y="170"/>
                      </a:lnTo>
                      <a:lnTo>
                        <a:pt x="1" y="161"/>
                      </a:lnTo>
                      <a:lnTo>
                        <a:pt x="0" y="154"/>
                      </a:lnTo>
                      <a:lnTo>
                        <a:pt x="0" y="154"/>
                      </a:lnTo>
                      <a:lnTo>
                        <a:pt x="1" y="139"/>
                      </a:lnTo>
                      <a:lnTo>
                        <a:pt x="4" y="123"/>
                      </a:lnTo>
                      <a:lnTo>
                        <a:pt x="7" y="108"/>
                      </a:lnTo>
                      <a:lnTo>
                        <a:pt x="12" y="94"/>
                      </a:lnTo>
                      <a:lnTo>
                        <a:pt x="19" y="81"/>
                      </a:lnTo>
                      <a:lnTo>
                        <a:pt x="26" y="68"/>
                      </a:lnTo>
                      <a:lnTo>
                        <a:pt x="36" y="56"/>
                      </a:lnTo>
                      <a:lnTo>
                        <a:pt x="45" y="45"/>
                      </a:lnTo>
                      <a:lnTo>
                        <a:pt x="56" y="35"/>
                      </a:lnTo>
                      <a:lnTo>
                        <a:pt x="68" y="26"/>
                      </a:lnTo>
                      <a:lnTo>
                        <a:pt x="81" y="19"/>
                      </a:lnTo>
                      <a:lnTo>
                        <a:pt x="94" y="12"/>
                      </a:lnTo>
                      <a:lnTo>
                        <a:pt x="108" y="7"/>
                      </a:lnTo>
                      <a:lnTo>
                        <a:pt x="124" y="3"/>
                      </a:lnTo>
                      <a:lnTo>
                        <a:pt x="139" y="1"/>
                      </a:lnTo>
                      <a:lnTo>
                        <a:pt x="155" y="0"/>
                      </a:lnTo>
                      <a:lnTo>
                        <a:pt x="155" y="0"/>
                      </a:lnTo>
                      <a:lnTo>
                        <a:pt x="170" y="1"/>
                      </a:lnTo>
                      <a:lnTo>
                        <a:pt x="185" y="3"/>
                      </a:lnTo>
                      <a:lnTo>
                        <a:pt x="200" y="7"/>
                      </a:lnTo>
                      <a:lnTo>
                        <a:pt x="214" y="12"/>
                      </a:lnTo>
                      <a:lnTo>
                        <a:pt x="228" y="19"/>
                      </a:lnTo>
                      <a:lnTo>
                        <a:pt x="240" y="26"/>
                      </a:lnTo>
                      <a:lnTo>
                        <a:pt x="252" y="35"/>
                      </a:lnTo>
                      <a:lnTo>
                        <a:pt x="264" y="45"/>
                      </a:lnTo>
                      <a:lnTo>
                        <a:pt x="273" y="56"/>
                      </a:lnTo>
                      <a:lnTo>
                        <a:pt x="282" y="68"/>
                      </a:lnTo>
                      <a:lnTo>
                        <a:pt x="290" y="81"/>
                      </a:lnTo>
                      <a:lnTo>
                        <a:pt x="296" y="94"/>
                      </a:lnTo>
                      <a:lnTo>
                        <a:pt x="302" y="108"/>
                      </a:lnTo>
                      <a:lnTo>
                        <a:pt x="306" y="123"/>
                      </a:lnTo>
                      <a:lnTo>
                        <a:pt x="308" y="139"/>
                      </a:lnTo>
                      <a:lnTo>
                        <a:pt x="309" y="154"/>
                      </a:lnTo>
                      <a:lnTo>
                        <a:pt x="309" y="154"/>
                      </a:lnTo>
                      <a:lnTo>
                        <a:pt x="308" y="161"/>
                      </a:lnTo>
                      <a:lnTo>
                        <a:pt x="306" y="170"/>
                      </a:lnTo>
                      <a:lnTo>
                        <a:pt x="302" y="176"/>
                      </a:lnTo>
                      <a:lnTo>
                        <a:pt x="297" y="182"/>
                      </a:lnTo>
                      <a:lnTo>
                        <a:pt x="291" y="186"/>
                      </a:lnTo>
                      <a:lnTo>
                        <a:pt x="285" y="190"/>
                      </a:lnTo>
                      <a:lnTo>
                        <a:pt x="278" y="192"/>
                      </a:lnTo>
                      <a:lnTo>
                        <a:pt x="270" y="194"/>
                      </a:lnTo>
                      <a:lnTo>
                        <a:pt x="270" y="194"/>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4" name="Freeform 282"/>
                <p:cNvSpPr>
                  <a:spLocks/>
                </p:cNvSpPr>
                <p:nvPr userDrawn="1"/>
              </p:nvSpPr>
              <p:spPr bwMode="auto">
                <a:xfrm>
                  <a:off x="11315246" y="3707899"/>
                  <a:ext cx="209550" cy="241300"/>
                </a:xfrm>
                <a:custGeom>
                  <a:avLst/>
                  <a:gdLst>
                    <a:gd name="T0" fmla="*/ 111 w 264"/>
                    <a:gd name="T1" fmla="*/ 0 h 304"/>
                    <a:gd name="T2" fmla="*/ 111 w 264"/>
                    <a:gd name="T3" fmla="*/ 0 h 304"/>
                    <a:gd name="T4" fmla="*/ 101 w 264"/>
                    <a:gd name="T5" fmla="*/ 0 h 304"/>
                    <a:gd name="T6" fmla="*/ 89 w 264"/>
                    <a:gd name="T7" fmla="*/ 2 h 304"/>
                    <a:gd name="T8" fmla="*/ 78 w 264"/>
                    <a:gd name="T9" fmla="*/ 5 h 304"/>
                    <a:gd name="T10" fmla="*/ 69 w 264"/>
                    <a:gd name="T11" fmla="*/ 8 h 304"/>
                    <a:gd name="T12" fmla="*/ 58 w 264"/>
                    <a:gd name="T13" fmla="*/ 13 h 304"/>
                    <a:gd name="T14" fmla="*/ 50 w 264"/>
                    <a:gd name="T15" fmla="*/ 19 h 304"/>
                    <a:gd name="T16" fmla="*/ 40 w 264"/>
                    <a:gd name="T17" fmla="*/ 25 h 304"/>
                    <a:gd name="T18" fmla="*/ 33 w 264"/>
                    <a:gd name="T19" fmla="*/ 32 h 304"/>
                    <a:gd name="T20" fmla="*/ 26 w 264"/>
                    <a:gd name="T21" fmla="*/ 40 h 304"/>
                    <a:gd name="T22" fmla="*/ 19 w 264"/>
                    <a:gd name="T23" fmla="*/ 49 h 304"/>
                    <a:gd name="T24" fmla="*/ 14 w 264"/>
                    <a:gd name="T25" fmla="*/ 58 h 304"/>
                    <a:gd name="T26" fmla="*/ 9 w 264"/>
                    <a:gd name="T27" fmla="*/ 68 h 304"/>
                    <a:gd name="T28" fmla="*/ 4 w 264"/>
                    <a:gd name="T29" fmla="*/ 78 h 304"/>
                    <a:gd name="T30" fmla="*/ 2 w 264"/>
                    <a:gd name="T31" fmla="*/ 89 h 304"/>
                    <a:gd name="T32" fmla="*/ 1 w 264"/>
                    <a:gd name="T33" fmla="*/ 100 h 304"/>
                    <a:gd name="T34" fmla="*/ 0 w 264"/>
                    <a:gd name="T35" fmla="*/ 112 h 304"/>
                    <a:gd name="T36" fmla="*/ 0 w 264"/>
                    <a:gd name="T37" fmla="*/ 304 h 304"/>
                    <a:gd name="T38" fmla="*/ 264 w 264"/>
                    <a:gd name="T39" fmla="*/ 304 h 304"/>
                    <a:gd name="T40" fmla="*/ 264 w 264"/>
                    <a:gd name="T41" fmla="*/ 195 h 304"/>
                    <a:gd name="T42" fmla="*/ 264 w 264"/>
                    <a:gd name="T43" fmla="*/ 0 h 304"/>
                    <a:gd name="T44" fmla="*/ 111 w 264"/>
                    <a:gd name="T45"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4" h="304">
                      <a:moveTo>
                        <a:pt x="111" y="0"/>
                      </a:moveTo>
                      <a:lnTo>
                        <a:pt x="111" y="0"/>
                      </a:lnTo>
                      <a:lnTo>
                        <a:pt x="101" y="0"/>
                      </a:lnTo>
                      <a:lnTo>
                        <a:pt x="89" y="2"/>
                      </a:lnTo>
                      <a:lnTo>
                        <a:pt x="78" y="5"/>
                      </a:lnTo>
                      <a:lnTo>
                        <a:pt x="69" y="8"/>
                      </a:lnTo>
                      <a:lnTo>
                        <a:pt x="58" y="13"/>
                      </a:lnTo>
                      <a:lnTo>
                        <a:pt x="50" y="19"/>
                      </a:lnTo>
                      <a:lnTo>
                        <a:pt x="40" y="25"/>
                      </a:lnTo>
                      <a:lnTo>
                        <a:pt x="33" y="32"/>
                      </a:lnTo>
                      <a:lnTo>
                        <a:pt x="26" y="40"/>
                      </a:lnTo>
                      <a:lnTo>
                        <a:pt x="19" y="49"/>
                      </a:lnTo>
                      <a:lnTo>
                        <a:pt x="14" y="58"/>
                      </a:lnTo>
                      <a:lnTo>
                        <a:pt x="9" y="68"/>
                      </a:lnTo>
                      <a:lnTo>
                        <a:pt x="4" y="78"/>
                      </a:lnTo>
                      <a:lnTo>
                        <a:pt x="2" y="89"/>
                      </a:lnTo>
                      <a:lnTo>
                        <a:pt x="1" y="100"/>
                      </a:lnTo>
                      <a:lnTo>
                        <a:pt x="0" y="112"/>
                      </a:lnTo>
                      <a:lnTo>
                        <a:pt x="0" y="304"/>
                      </a:lnTo>
                      <a:lnTo>
                        <a:pt x="264" y="304"/>
                      </a:lnTo>
                      <a:lnTo>
                        <a:pt x="264" y="195"/>
                      </a:lnTo>
                      <a:lnTo>
                        <a:pt x="264" y="0"/>
                      </a:lnTo>
                      <a:lnTo>
                        <a:pt x="111"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5" name="Freeform 283"/>
                <p:cNvSpPr>
                  <a:spLocks/>
                </p:cNvSpPr>
                <p:nvPr userDrawn="1"/>
              </p:nvSpPr>
              <p:spPr bwMode="auto">
                <a:xfrm>
                  <a:off x="11524796" y="3707899"/>
                  <a:ext cx="209550" cy="241300"/>
                </a:xfrm>
                <a:custGeom>
                  <a:avLst/>
                  <a:gdLst>
                    <a:gd name="T0" fmla="*/ 152 w 264"/>
                    <a:gd name="T1" fmla="*/ 0 h 304"/>
                    <a:gd name="T2" fmla="*/ 152 w 264"/>
                    <a:gd name="T3" fmla="*/ 0 h 304"/>
                    <a:gd name="T4" fmla="*/ 164 w 264"/>
                    <a:gd name="T5" fmla="*/ 0 h 304"/>
                    <a:gd name="T6" fmla="*/ 174 w 264"/>
                    <a:gd name="T7" fmla="*/ 2 h 304"/>
                    <a:gd name="T8" fmla="*/ 185 w 264"/>
                    <a:gd name="T9" fmla="*/ 5 h 304"/>
                    <a:gd name="T10" fmla="*/ 196 w 264"/>
                    <a:gd name="T11" fmla="*/ 8 h 304"/>
                    <a:gd name="T12" fmla="*/ 205 w 264"/>
                    <a:gd name="T13" fmla="*/ 13 h 304"/>
                    <a:gd name="T14" fmla="*/ 215 w 264"/>
                    <a:gd name="T15" fmla="*/ 19 h 304"/>
                    <a:gd name="T16" fmla="*/ 223 w 264"/>
                    <a:gd name="T17" fmla="*/ 25 h 304"/>
                    <a:gd name="T18" fmla="*/ 230 w 264"/>
                    <a:gd name="T19" fmla="*/ 32 h 304"/>
                    <a:gd name="T20" fmla="*/ 239 w 264"/>
                    <a:gd name="T21" fmla="*/ 40 h 304"/>
                    <a:gd name="T22" fmla="*/ 245 w 264"/>
                    <a:gd name="T23" fmla="*/ 49 h 304"/>
                    <a:gd name="T24" fmla="*/ 251 w 264"/>
                    <a:gd name="T25" fmla="*/ 58 h 304"/>
                    <a:gd name="T26" fmla="*/ 255 w 264"/>
                    <a:gd name="T27" fmla="*/ 68 h 304"/>
                    <a:gd name="T28" fmla="*/ 259 w 264"/>
                    <a:gd name="T29" fmla="*/ 78 h 304"/>
                    <a:gd name="T30" fmla="*/ 261 w 264"/>
                    <a:gd name="T31" fmla="*/ 89 h 304"/>
                    <a:gd name="T32" fmla="*/ 264 w 264"/>
                    <a:gd name="T33" fmla="*/ 100 h 304"/>
                    <a:gd name="T34" fmla="*/ 264 w 264"/>
                    <a:gd name="T35" fmla="*/ 112 h 304"/>
                    <a:gd name="T36" fmla="*/ 264 w 264"/>
                    <a:gd name="T37" fmla="*/ 304 h 304"/>
                    <a:gd name="T38" fmla="*/ 0 w 264"/>
                    <a:gd name="T39" fmla="*/ 304 h 304"/>
                    <a:gd name="T40" fmla="*/ 0 w 264"/>
                    <a:gd name="T41" fmla="*/ 195 h 304"/>
                    <a:gd name="T42" fmla="*/ 0 w 264"/>
                    <a:gd name="T43" fmla="*/ 0 h 304"/>
                    <a:gd name="T44" fmla="*/ 152 w 264"/>
                    <a:gd name="T45"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4" h="304">
                      <a:moveTo>
                        <a:pt x="152" y="0"/>
                      </a:moveTo>
                      <a:lnTo>
                        <a:pt x="152" y="0"/>
                      </a:lnTo>
                      <a:lnTo>
                        <a:pt x="164" y="0"/>
                      </a:lnTo>
                      <a:lnTo>
                        <a:pt x="174" y="2"/>
                      </a:lnTo>
                      <a:lnTo>
                        <a:pt x="185" y="5"/>
                      </a:lnTo>
                      <a:lnTo>
                        <a:pt x="196" y="8"/>
                      </a:lnTo>
                      <a:lnTo>
                        <a:pt x="205" y="13"/>
                      </a:lnTo>
                      <a:lnTo>
                        <a:pt x="215" y="19"/>
                      </a:lnTo>
                      <a:lnTo>
                        <a:pt x="223" y="25"/>
                      </a:lnTo>
                      <a:lnTo>
                        <a:pt x="230" y="32"/>
                      </a:lnTo>
                      <a:lnTo>
                        <a:pt x="239" y="40"/>
                      </a:lnTo>
                      <a:lnTo>
                        <a:pt x="245" y="49"/>
                      </a:lnTo>
                      <a:lnTo>
                        <a:pt x="251" y="58"/>
                      </a:lnTo>
                      <a:lnTo>
                        <a:pt x="255" y="68"/>
                      </a:lnTo>
                      <a:lnTo>
                        <a:pt x="259" y="78"/>
                      </a:lnTo>
                      <a:lnTo>
                        <a:pt x="261" y="89"/>
                      </a:lnTo>
                      <a:lnTo>
                        <a:pt x="264" y="100"/>
                      </a:lnTo>
                      <a:lnTo>
                        <a:pt x="264" y="112"/>
                      </a:lnTo>
                      <a:lnTo>
                        <a:pt x="264" y="304"/>
                      </a:lnTo>
                      <a:lnTo>
                        <a:pt x="0" y="304"/>
                      </a:lnTo>
                      <a:lnTo>
                        <a:pt x="0" y="195"/>
                      </a:lnTo>
                      <a:lnTo>
                        <a:pt x="0" y="0"/>
                      </a:lnTo>
                      <a:lnTo>
                        <a:pt x="152"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6" name="Freeform 284"/>
                <p:cNvSpPr>
                  <a:spLocks/>
                </p:cNvSpPr>
                <p:nvPr userDrawn="1"/>
              </p:nvSpPr>
              <p:spPr bwMode="auto">
                <a:xfrm>
                  <a:off x="11296196" y="3372936"/>
                  <a:ext cx="95250" cy="95250"/>
                </a:xfrm>
                <a:custGeom>
                  <a:avLst/>
                  <a:gdLst>
                    <a:gd name="T0" fmla="*/ 120 w 120"/>
                    <a:gd name="T1" fmla="*/ 59 h 119"/>
                    <a:gd name="T2" fmla="*/ 120 w 120"/>
                    <a:gd name="T3" fmla="*/ 59 h 119"/>
                    <a:gd name="T4" fmla="*/ 119 w 120"/>
                    <a:gd name="T5" fmla="*/ 71 h 119"/>
                    <a:gd name="T6" fmla="*/ 115 w 120"/>
                    <a:gd name="T7" fmla="*/ 83 h 119"/>
                    <a:gd name="T8" fmla="*/ 109 w 120"/>
                    <a:gd name="T9" fmla="*/ 93 h 119"/>
                    <a:gd name="T10" fmla="*/ 102 w 120"/>
                    <a:gd name="T11" fmla="*/ 102 h 119"/>
                    <a:gd name="T12" fmla="*/ 94 w 120"/>
                    <a:gd name="T13" fmla="*/ 109 h 119"/>
                    <a:gd name="T14" fmla="*/ 83 w 120"/>
                    <a:gd name="T15" fmla="*/ 114 h 119"/>
                    <a:gd name="T16" fmla="*/ 72 w 120"/>
                    <a:gd name="T17" fmla="*/ 118 h 119"/>
                    <a:gd name="T18" fmla="*/ 60 w 120"/>
                    <a:gd name="T19" fmla="*/ 119 h 119"/>
                    <a:gd name="T20" fmla="*/ 60 w 120"/>
                    <a:gd name="T21" fmla="*/ 119 h 119"/>
                    <a:gd name="T22" fmla="*/ 49 w 120"/>
                    <a:gd name="T23" fmla="*/ 118 h 119"/>
                    <a:gd name="T24" fmla="*/ 37 w 120"/>
                    <a:gd name="T25" fmla="*/ 114 h 119"/>
                    <a:gd name="T26" fmla="*/ 27 w 120"/>
                    <a:gd name="T27" fmla="*/ 109 h 119"/>
                    <a:gd name="T28" fmla="*/ 18 w 120"/>
                    <a:gd name="T29" fmla="*/ 102 h 119"/>
                    <a:gd name="T30" fmla="*/ 10 w 120"/>
                    <a:gd name="T31" fmla="*/ 93 h 119"/>
                    <a:gd name="T32" fmla="*/ 5 w 120"/>
                    <a:gd name="T33" fmla="*/ 83 h 119"/>
                    <a:gd name="T34" fmla="*/ 1 w 120"/>
                    <a:gd name="T35" fmla="*/ 71 h 119"/>
                    <a:gd name="T36" fmla="*/ 0 w 120"/>
                    <a:gd name="T37" fmla="*/ 59 h 119"/>
                    <a:gd name="T38" fmla="*/ 0 w 120"/>
                    <a:gd name="T39" fmla="*/ 59 h 119"/>
                    <a:gd name="T40" fmla="*/ 1 w 120"/>
                    <a:gd name="T41" fmla="*/ 47 h 119"/>
                    <a:gd name="T42" fmla="*/ 5 w 120"/>
                    <a:gd name="T43" fmla="*/ 37 h 119"/>
                    <a:gd name="T44" fmla="*/ 10 w 120"/>
                    <a:gd name="T45" fmla="*/ 26 h 119"/>
                    <a:gd name="T46" fmla="*/ 18 w 120"/>
                    <a:gd name="T47" fmla="*/ 18 h 119"/>
                    <a:gd name="T48" fmla="*/ 27 w 120"/>
                    <a:gd name="T49" fmla="*/ 9 h 119"/>
                    <a:gd name="T50" fmla="*/ 37 w 120"/>
                    <a:gd name="T51" fmla="*/ 5 h 119"/>
                    <a:gd name="T52" fmla="*/ 49 w 120"/>
                    <a:gd name="T53" fmla="*/ 1 h 119"/>
                    <a:gd name="T54" fmla="*/ 60 w 120"/>
                    <a:gd name="T55" fmla="*/ 0 h 119"/>
                    <a:gd name="T56" fmla="*/ 60 w 120"/>
                    <a:gd name="T57" fmla="*/ 0 h 119"/>
                    <a:gd name="T58" fmla="*/ 72 w 120"/>
                    <a:gd name="T59" fmla="*/ 1 h 119"/>
                    <a:gd name="T60" fmla="*/ 83 w 120"/>
                    <a:gd name="T61" fmla="*/ 5 h 119"/>
                    <a:gd name="T62" fmla="*/ 94 w 120"/>
                    <a:gd name="T63" fmla="*/ 9 h 119"/>
                    <a:gd name="T64" fmla="*/ 102 w 120"/>
                    <a:gd name="T65" fmla="*/ 18 h 119"/>
                    <a:gd name="T66" fmla="*/ 109 w 120"/>
                    <a:gd name="T67" fmla="*/ 26 h 119"/>
                    <a:gd name="T68" fmla="*/ 115 w 120"/>
                    <a:gd name="T69" fmla="*/ 37 h 119"/>
                    <a:gd name="T70" fmla="*/ 119 w 120"/>
                    <a:gd name="T71" fmla="*/ 47 h 119"/>
                    <a:gd name="T72" fmla="*/ 120 w 120"/>
                    <a:gd name="T73" fmla="*/ 59 h 119"/>
                    <a:gd name="T74" fmla="*/ 120 w 120"/>
                    <a:gd name="T75"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19">
                      <a:moveTo>
                        <a:pt x="120" y="59"/>
                      </a:moveTo>
                      <a:lnTo>
                        <a:pt x="120" y="59"/>
                      </a:lnTo>
                      <a:lnTo>
                        <a:pt x="119" y="71"/>
                      </a:lnTo>
                      <a:lnTo>
                        <a:pt x="115" y="83"/>
                      </a:lnTo>
                      <a:lnTo>
                        <a:pt x="109" y="93"/>
                      </a:lnTo>
                      <a:lnTo>
                        <a:pt x="102" y="102"/>
                      </a:lnTo>
                      <a:lnTo>
                        <a:pt x="94" y="109"/>
                      </a:lnTo>
                      <a:lnTo>
                        <a:pt x="83" y="114"/>
                      </a:lnTo>
                      <a:lnTo>
                        <a:pt x="72" y="118"/>
                      </a:lnTo>
                      <a:lnTo>
                        <a:pt x="60" y="119"/>
                      </a:lnTo>
                      <a:lnTo>
                        <a:pt x="60" y="119"/>
                      </a:lnTo>
                      <a:lnTo>
                        <a:pt x="49" y="118"/>
                      </a:lnTo>
                      <a:lnTo>
                        <a:pt x="37" y="114"/>
                      </a:lnTo>
                      <a:lnTo>
                        <a:pt x="27" y="109"/>
                      </a:lnTo>
                      <a:lnTo>
                        <a:pt x="18" y="102"/>
                      </a:lnTo>
                      <a:lnTo>
                        <a:pt x="10" y="93"/>
                      </a:lnTo>
                      <a:lnTo>
                        <a:pt x="5" y="83"/>
                      </a:lnTo>
                      <a:lnTo>
                        <a:pt x="1" y="71"/>
                      </a:lnTo>
                      <a:lnTo>
                        <a:pt x="0" y="59"/>
                      </a:lnTo>
                      <a:lnTo>
                        <a:pt x="0" y="59"/>
                      </a:lnTo>
                      <a:lnTo>
                        <a:pt x="1" y="47"/>
                      </a:lnTo>
                      <a:lnTo>
                        <a:pt x="5" y="37"/>
                      </a:lnTo>
                      <a:lnTo>
                        <a:pt x="10" y="26"/>
                      </a:lnTo>
                      <a:lnTo>
                        <a:pt x="18" y="18"/>
                      </a:lnTo>
                      <a:lnTo>
                        <a:pt x="27" y="9"/>
                      </a:lnTo>
                      <a:lnTo>
                        <a:pt x="37" y="5"/>
                      </a:lnTo>
                      <a:lnTo>
                        <a:pt x="49" y="1"/>
                      </a:lnTo>
                      <a:lnTo>
                        <a:pt x="60" y="0"/>
                      </a:lnTo>
                      <a:lnTo>
                        <a:pt x="60" y="0"/>
                      </a:lnTo>
                      <a:lnTo>
                        <a:pt x="72" y="1"/>
                      </a:lnTo>
                      <a:lnTo>
                        <a:pt x="83" y="5"/>
                      </a:lnTo>
                      <a:lnTo>
                        <a:pt x="94" y="9"/>
                      </a:lnTo>
                      <a:lnTo>
                        <a:pt x="102" y="18"/>
                      </a:lnTo>
                      <a:lnTo>
                        <a:pt x="109" y="26"/>
                      </a:lnTo>
                      <a:lnTo>
                        <a:pt x="115" y="37"/>
                      </a:lnTo>
                      <a:lnTo>
                        <a:pt x="119" y="47"/>
                      </a:lnTo>
                      <a:lnTo>
                        <a:pt x="120" y="59"/>
                      </a:lnTo>
                      <a:lnTo>
                        <a:pt x="120"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7" name="Freeform 285"/>
                <p:cNvSpPr>
                  <a:spLocks/>
                </p:cNvSpPr>
                <p:nvPr userDrawn="1"/>
              </p:nvSpPr>
              <p:spPr bwMode="auto">
                <a:xfrm>
                  <a:off x="11659733" y="3372936"/>
                  <a:ext cx="95250" cy="95250"/>
                </a:xfrm>
                <a:custGeom>
                  <a:avLst/>
                  <a:gdLst>
                    <a:gd name="T0" fmla="*/ 120 w 120"/>
                    <a:gd name="T1" fmla="*/ 59 h 119"/>
                    <a:gd name="T2" fmla="*/ 120 w 120"/>
                    <a:gd name="T3" fmla="*/ 59 h 119"/>
                    <a:gd name="T4" fmla="*/ 118 w 120"/>
                    <a:gd name="T5" fmla="*/ 71 h 119"/>
                    <a:gd name="T6" fmla="*/ 115 w 120"/>
                    <a:gd name="T7" fmla="*/ 83 h 119"/>
                    <a:gd name="T8" fmla="*/ 109 w 120"/>
                    <a:gd name="T9" fmla="*/ 93 h 119"/>
                    <a:gd name="T10" fmla="*/ 102 w 120"/>
                    <a:gd name="T11" fmla="*/ 102 h 119"/>
                    <a:gd name="T12" fmla="*/ 93 w 120"/>
                    <a:gd name="T13" fmla="*/ 109 h 119"/>
                    <a:gd name="T14" fmla="*/ 83 w 120"/>
                    <a:gd name="T15" fmla="*/ 114 h 119"/>
                    <a:gd name="T16" fmla="*/ 72 w 120"/>
                    <a:gd name="T17" fmla="*/ 118 h 119"/>
                    <a:gd name="T18" fmla="*/ 60 w 120"/>
                    <a:gd name="T19" fmla="*/ 119 h 119"/>
                    <a:gd name="T20" fmla="*/ 60 w 120"/>
                    <a:gd name="T21" fmla="*/ 119 h 119"/>
                    <a:gd name="T22" fmla="*/ 47 w 120"/>
                    <a:gd name="T23" fmla="*/ 118 h 119"/>
                    <a:gd name="T24" fmla="*/ 36 w 120"/>
                    <a:gd name="T25" fmla="*/ 114 h 119"/>
                    <a:gd name="T26" fmla="*/ 27 w 120"/>
                    <a:gd name="T27" fmla="*/ 109 h 119"/>
                    <a:gd name="T28" fmla="*/ 17 w 120"/>
                    <a:gd name="T29" fmla="*/ 102 h 119"/>
                    <a:gd name="T30" fmla="*/ 10 w 120"/>
                    <a:gd name="T31" fmla="*/ 93 h 119"/>
                    <a:gd name="T32" fmla="*/ 4 w 120"/>
                    <a:gd name="T33" fmla="*/ 83 h 119"/>
                    <a:gd name="T34" fmla="*/ 1 w 120"/>
                    <a:gd name="T35" fmla="*/ 71 h 119"/>
                    <a:gd name="T36" fmla="*/ 0 w 120"/>
                    <a:gd name="T37" fmla="*/ 59 h 119"/>
                    <a:gd name="T38" fmla="*/ 0 w 120"/>
                    <a:gd name="T39" fmla="*/ 59 h 119"/>
                    <a:gd name="T40" fmla="*/ 1 w 120"/>
                    <a:gd name="T41" fmla="*/ 47 h 119"/>
                    <a:gd name="T42" fmla="*/ 4 w 120"/>
                    <a:gd name="T43" fmla="*/ 37 h 119"/>
                    <a:gd name="T44" fmla="*/ 10 w 120"/>
                    <a:gd name="T45" fmla="*/ 26 h 119"/>
                    <a:gd name="T46" fmla="*/ 17 w 120"/>
                    <a:gd name="T47" fmla="*/ 18 h 119"/>
                    <a:gd name="T48" fmla="*/ 27 w 120"/>
                    <a:gd name="T49" fmla="*/ 9 h 119"/>
                    <a:gd name="T50" fmla="*/ 36 w 120"/>
                    <a:gd name="T51" fmla="*/ 5 h 119"/>
                    <a:gd name="T52" fmla="*/ 47 w 120"/>
                    <a:gd name="T53" fmla="*/ 1 h 119"/>
                    <a:gd name="T54" fmla="*/ 60 w 120"/>
                    <a:gd name="T55" fmla="*/ 0 h 119"/>
                    <a:gd name="T56" fmla="*/ 60 w 120"/>
                    <a:gd name="T57" fmla="*/ 0 h 119"/>
                    <a:gd name="T58" fmla="*/ 72 w 120"/>
                    <a:gd name="T59" fmla="*/ 1 h 119"/>
                    <a:gd name="T60" fmla="*/ 83 w 120"/>
                    <a:gd name="T61" fmla="*/ 5 h 119"/>
                    <a:gd name="T62" fmla="*/ 93 w 120"/>
                    <a:gd name="T63" fmla="*/ 9 h 119"/>
                    <a:gd name="T64" fmla="*/ 102 w 120"/>
                    <a:gd name="T65" fmla="*/ 18 h 119"/>
                    <a:gd name="T66" fmla="*/ 109 w 120"/>
                    <a:gd name="T67" fmla="*/ 26 h 119"/>
                    <a:gd name="T68" fmla="*/ 115 w 120"/>
                    <a:gd name="T69" fmla="*/ 37 h 119"/>
                    <a:gd name="T70" fmla="*/ 118 w 120"/>
                    <a:gd name="T71" fmla="*/ 47 h 119"/>
                    <a:gd name="T72" fmla="*/ 120 w 120"/>
                    <a:gd name="T73" fmla="*/ 59 h 119"/>
                    <a:gd name="T74" fmla="*/ 120 w 120"/>
                    <a:gd name="T75"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19">
                      <a:moveTo>
                        <a:pt x="120" y="59"/>
                      </a:moveTo>
                      <a:lnTo>
                        <a:pt x="120" y="59"/>
                      </a:lnTo>
                      <a:lnTo>
                        <a:pt x="118" y="71"/>
                      </a:lnTo>
                      <a:lnTo>
                        <a:pt x="115" y="83"/>
                      </a:lnTo>
                      <a:lnTo>
                        <a:pt x="109" y="93"/>
                      </a:lnTo>
                      <a:lnTo>
                        <a:pt x="102" y="102"/>
                      </a:lnTo>
                      <a:lnTo>
                        <a:pt x="93" y="109"/>
                      </a:lnTo>
                      <a:lnTo>
                        <a:pt x="83" y="114"/>
                      </a:lnTo>
                      <a:lnTo>
                        <a:pt x="72" y="118"/>
                      </a:lnTo>
                      <a:lnTo>
                        <a:pt x="60" y="119"/>
                      </a:lnTo>
                      <a:lnTo>
                        <a:pt x="60" y="119"/>
                      </a:lnTo>
                      <a:lnTo>
                        <a:pt x="47" y="118"/>
                      </a:lnTo>
                      <a:lnTo>
                        <a:pt x="36" y="114"/>
                      </a:lnTo>
                      <a:lnTo>
                        <a:pt x="27" y="109"/>
                      </a:lnTo>
                      <a:lnTo>
                        <a:pt x="17" y="102"/>
                      </a:lnTo>
                      <a:lnTo>
                        <a:pt x="10" y="93"/>
                      </a:lnTo>
                      <a:lnTo>
                        <a:pt x="4" y="83"/>
                      </a:lnTo>
                      <a:lnTo>
                        <a:pt x="1" y="71"/>
                      </a:lnTo>
                      <a:lnTo>
                        <a:pt x="0" y="59"/>
                      </a:lnTo>
                      <a:lnTo>
                        <a:pt x="0" y="59"/>
                      </a:lnTo>
                      <a:lnTo>
                        <a:pt x="1" y="47"/>
                      </a:lnTo>
                      <a:lnTo>
                        <a:pt x="4" y="37"/>
                      </a:lnTo>
                      <a:lnTo>
                        <a:pt x="10" y="26"/>
                      </a:lnTo>
                      <a:lnTo>
                        <a:pt x="17" y="18"/>
                      </a:lnTo>
                      <a:lnTo>
                        <a:pt x="27" y="9"/>
                      </a:lnTo>
                      <a:lnTo>
                        <a:pt x="36" y="5"/>
                      </a:lnTo>
                      <a:lnTo>
                        <a:pt x="47" y="1"/>
                      </a:lnTo>
                      <a:lnTo>
                        <a:pt x="60" y="0"/>
                      </a:lnTo>
                      <a:lnTo>
                        <a:pt x="60" y="0"/>
                      </a:lnTo>
                      <a:lnTo>
                        <a:pt x="72" y="1"/>
                      </a:lnTo>
                      <a:lnTo>
                        <a:pt x="83" y="5"/>
                      </a:lnTo>
                      <a:lnTo>
                        <a:pt x="93" y="9"/>
                      </a:lnTo>
                      <a:lnTo>
                        <a:pt x="102" y="18"/>
                      </a:lnTo>
                      <a:lnTo>
                        <a:pt x="109" y="26"/>
                      </a:lnTo>
                      <a:lnTo>
                        <a:pt x="115" y="37"/>
                      </a:lnTo>
                      <a:lnTo>
                        <a:pt x="118" y="47"/>
                      </a:lnTo>
                      <a:lnTo>
                        <a:pt x="120" y="59"/>
                      </a:lnTo>
                      <a:lnTo>
                        <a:pt x="120" y="59"/>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9" name="Freeform 286"/>
                <p:cNvSpPr>
                  <a:spLocks/>
                </p:cNvSpPr>
                <p:nvPr userDrawn="1"/>
              </p:nvSpPr>
              <p:spPr bwMode="auto">
                <a:xfrm>
                  <a:off x="11354933" y="3757111"/>
                  <a:ext cx="63500" cy="60325"/>
                </a:xfrm>
                <a:custGeom>
                  <a:avLst/>
                  <a:gdLst>
                    <a:gd name="T0" fmla="*/ 78 w 78"/>
                    <a:gd name="T1" fmla="*/ 38 h 77"/>
                    <a:gd name="T2" fmla="*/ 78 w 78"/>
                    <a:gd name="T3" fmla="*/ 38 h 77"/>
                    <a:gd name="T4" fmla="*/ 77 w 78"/>
                    <a:gd name="T5" fmla="*/ 46 h 77"/>
                    <a:gd name="T6" fmla="*/ 75 w 78"/>
                    <a:gd name="T7" fmla="*/ 53 h 77"/>
                    <a:gd name="T8" fmla="*/ 71 w 78"/>
                    <a:gd name="T9" fmla="*/ 60 h 77"/>
                    <a:gd name="T10" fmla="*/ 66 w 78"/>
                    <a:gd name="T11" fmla="*/ 66 h 77"/>
                    <a:gd name="T12" fmla="*/ 61 w 78"/>
                    <a:gd name="T13" fmla="*/ 71 h 77"/>
                    <a:gd name="T14" fmla="*/ 54 w 78"/>
                    <a:gd name="T15" fmla="*/ 74 h 77"/>
                    <a:gd name="T16" fmla="*/ 47 w 78"/>
                    <a:gd name="T17" fmla="*/ 77 h 77"/>
                    <a:gd name="T18" fmla="*/ 39 w 78"/>
                    <a:gd name="T19" fmla="*/ 77 h 77"/>
                    <a:gd name="T20" fmla="*/ 39 w 78"/>
                    <a:gd name="T21" fmla="*/ 77 h 77"/>
                    <a:gd name="T22" fmla="*/ 32 w 78"/>
                    <a:gd name="T23" fmla="*/ 77 h 77"/>
                    <a:gd name="T24" fmla="*/ 23 w 78"/>
                    <a:gd name="T25" fmla="*/ 74 h 77"/>
                    <a:gd name="T26" fmla="*/ 18 w 78"/>
                    <a:gd name="T27" fmla="*/ 71 h 77"/>
                    <a:gd name="T28" fmla="*/ 12 w 78"/>
                    <a:gd name="T29" fmla="*/ 66 h 77"/>
                    <a:gd name="T30" fmla="*/ 7 w 78"/>
                    <a:gd name="T31" fmla="*/ 60 h 77"/>
                    <a:gd name="T32" fmla="*/ 3 w 78"/>
                    <a:gd name="T33" fmla="*/ 53 h 77"/>
                    <a:gd name="T34" fmla="*/ 1 w 78"/>
                    <a:gd name="T35" fmla="*/ 46 h 77"/>
                    <a:gd name="T36" fmla="*/ 0 w 78"/>
                    <a:gd name="T37" fmla="*/ 38 h 77"/>
                    <a:gd name="T38" fmla="*/ 0 w 78"/>
                    <a:gd name="T39" fmla="*/ 38 h 77"/>
                    <a:gd name="T40" fmla="*/ 1 w 78"/>
                    <a:gd name="T41" fmla="*/ 30 h 77"/>
                    <a:gd name="T42" fmla="*/ 3 w 78"/>
                    <a:gd name="T43" fmla="*/ 23 h 77"/>
                    <a:gd name="T44" fmla="*/ 7 w 78"/>
                    <a:gd name="T45" fmla="*/ 16 h 77"/>
                    <a:gd name="T46" fmla="*/ 12 w 78"/>
                    <a:gd name="T47" fmla="*/ 10 h 77"/>
                    <a:gd name="T48" fmla="*/ 18 w 78"/>
                    <a:gd name="T49" fmla="*/ 6 h 77"/>
                    <a:gd name="T50" fmla="*/ 23 w 78"/>
                    <a:gd name="T51" fmla="*/ 2 h 77"/>
                    <a:gd name="T52" fmla="*/ 32 w 78"/>
                    <a:gd name="T53" fmla="*/ 0 h 77"/>
                    <a:gd name="T54" fmla="*/ 39 w 78"/>
                    <a:gd name="T55" fmla="*/ 0 h 77"/>
                    <a:gd name="T56" fmla="*/ 39 w 78"/>
                    <a:gd name="T57" fmla="*/ 0 h 77"/>
                    <a:gd name="T58" fmla="*/ 47 w 78"/>
                    <a:gd name="T59" fmla="*/ 0 h 77"/>
                    <a:gd name="T60" fmla="*/ 54 w 78"/>
                    <a:gd name="T61" fmla="*/ 2 h 77"/>
                    <a:gd name="T62" fmla="*/ 61 w 78"/>
                    <a:gd name="T63" fmla="*/ 6 h 77"/>
                    <a:gd name="T64" fmla="*/ 66 w 78"/>
                    <a:gd name="T65" fmla="*/ 10 h 77"/>
                    <a:gd name="T66" fmla="*/ 71 w 78"/>
                    <a:gd name="T67" fmla="*/ 16 h 77"/>
                    <a:gd name="T68" fmla="*/ 75 w 78"/>
                    <a:gd name="T69" fmla="*/ 23 h 77"/>
                    <a:gd name="T70" fmla="*/ 77 w 78"/>
                    <a:gd name="T71" fmla="*/ 30 h 77"/>
                    <a:gd name="T72" fmla="*/ 78 w 78"/>
                    <a:gd name="T73" fmla="*/ 38 h 77"/>
                    <a:gd name="T74" fmla="*/ 78 w 78"/>
                    <a:gd name="T75"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 h="77">
                      <a:moveTo>
                        <a:pt x="78" y="38"/>
                      </a:moveTo>
                      <a:lnTo>
                        <a:pt x="78" y="38"/>
                      </a:lnTo>
                      <a:lnTo>
                        <a:pt x="77" y="46"/>
                      </a:lnTo>
                      <a:lnTo>
                        <a:pt x="75" y="53"/>
                      </a:lnTo>
                      <a:lnTo>
                        <a:pt x="71" y="60"/>
                      </a:lnTo>
                      <a:lnTo>
                        <a:pt x="66" y="66"/>
                      </a:lnTo>
                      <a:lnTo>
                        <a:pt x="61" y="71"/>
                      </a:lnTo>
                      <a:lnTo>
                        <a:pt x="54" y="74"/>
                      </a:lnTo>
                      <a:lnTo>
                        <a:pt x="47" y="77"/>
                      </a:lnTo>
                      <a:lnTo>
                        <a:pt x="39" y="77"/>
                      </a:lnTo>
                      <a:lnTo>
                        <a:pt x="39" y="77"/>
                      </a:lnTo>
                      <a:lnTo>
                        <a:pt x="32" y="77"/>
                      </a:lnTo>
                      <a:lnTo>
                        <a:pt x="23" y="74"/>
                      </a:lnTo>
                      <a:lnTo>
                        <a:pt x="18" y="71"/>
                      </a:lnTo>
                      <a:lnTo>
                        <a:pt x="12" y="66"/>
                      </a:lnTo>
                      <a:lnTo>
                        <a:pt x="7" y="60"/>
                      </a:lnTo>
                      <a:lnTo>
                        <a:pt x="3" y="53"/>
                      </a:lnTo>
                      <a:lnTo>
                        <a:pt x="1" y="46"/>
                      </a:lnTo>
                      <a:lnTo>
                        <a:pt x="0" y="38"/>
                      </a:lnTo>
                      <a:lnTo>
                        <a:pt x="0" y="38"/>
                      </a:lnTo>
                      <a:lnTo>
                        <a:pt x="1" y="30"/>
                      </a:lnTo>
                      <a:lnTo>
                        <a:pt x="3" y="23"/>
                      </a:lnTo>
                      <a:lnTo>
                        <a:pt x="7" y="16"/>
                      </a:lnTo>
                      <a:lnTo>
                        <a:pt x="12" y="10"/>
                      </a:lnTo>
                      <a:lnTo>
                        <a:pt x="18" y="6"/>
                      </a:lnTo>
                      <a:lnTo>
                        <a:pt x="23" y="2"/>
                      </a:lnTo>
                      <a:lnTo>
                        <a:pt x="32" y="0"/>
                      </a:lnTo>
                      <a:lnTo>
                        <a:pt x="39" y="0"/>
                      </a:lnTo>
                      <a:lnTo>
                        <a:pt x="39" y="0"/>
                      </a:lnTo>
                      <a:lnTo>
                        <a:pt x="47" y="0"/>
                      </a:lnTo>
                      <a:lnTo>
                        <a:pt x="54" y="2"/>
                      </a:lnTo>
                      <a:lnTo>
                        <a:pt x="61" y="6"/>
                      </a:lnTo>
                      <a:lnTo>
                        <a:pt x="66" y="10"/>
                      </a:lnTo>
                      <a:lnTo>
                        <a:pt x="71" y="16"/>
                      </a:lnTo>
                      <a:lnTo>
                        <a:pt x="75" y="23"/>
                      </a:lnTo>
                      <a:lnTo>
                        <a:pt x="77" y="30"/>
                      </a:lnTo>
                      <a:lnTo>
                        <a:pt x="78" y="38"/>
                      </a:lnTo>
                      <a:lnTo>
                        <a:pt x="78" y="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0" name="Freeform 287"/>
                <p:cNvSpPr>
                  <a:spLocks/>
                </p:cNvSpPr>
                <p:nvPr userDrawn="1"/>
              </p:nvSpPr>
              <p:spPr bwMode="auto">
                <a:xfrm>
                  <a:off x="11454946" y="3738061"/>
                  <a:ext cx="106363" cy="104775"/>
                </a:xfrm>
                <a:custGeom>
                  <a:avLst/>
                  <a:gdLst>
                    <a:gd name="T0" fmla="*/ 133 w 133"/>
                    <a:gd name="T1" fmla="*/ 66 h 133"/>
                    <a:gd name="T2" fmla="*/ 133 w 133"/>
                    <a:gd name="T3" fmla="*/ 66 h 133"/>
                    <a:gd name="T4" fmla="*/ 132 w 133"/>
                    <a:gd name="T5" fmla="*/ 79 h 133"/>
                    <a:gd name="T6" fmla="*/ 128 w 133"/>
                    <a:gd name="T7" fmla="*/ 93 h 133"/>
                    <a:gd name="T8" fmla="*/ 122 w 133"/>
                    <a:gd name="T9" fmla="*/ 103 h 133"/>
                    <a:gd name="T10" fmla="*/ 114 w 133"/>
                    <a:gd name="T11" fmla="*/ 114 h 133"/>
                    <a:gd name="T12" fmla="*/ 104 w 133"/>
                    <a:gd name="T13" fmla="*/ 122 h 133"/>
                    <a:gd name="T14" fmla="*/ 92 w 133"/>
                    <a:gd name="T15" fmla="*/ 128 h 133"/>
                    <a:gd name="T16" fmla="*/ 81 w 133"/>
                    <a:gd name="T17" fmla="*/ 132 h 133"/>
                    <a:gd name="T18" fmla="*/ 66 w 133"/>
                    <a:gd name="T19" fmla="*/ 133 h 133"/>
                    <a:gd name="T20" fmla="*/ 66 w 133"/>
                    <a:gd name="T21" fmla="*/ 133 h 133"/>
                    <a:gd name="T22" fmla="*/ 53 w 133"/>
                    <a:gd name="T23" fmla="*/ 132 h 133"/>
                    <a:gd name="T24" fmla="*/ 40 w 133"/>
                    <a:gd name="T25" fmla="*/ 128 h 133"/>
                    <a:gd name="T26" fmla="*/ 29 w 133"/>
                    <a:gd name="T27" fmla="*/ 122 h 133"/>
                    <a:gd name="T28" fmla="*/ 20 w 133"/>
                    <a:gd name="T29" fmla="*/ 114 h 133"/>
                    <a:gd name="T30" fmla="*/ 12 w 133"/>
                    <a:gd name="T31" fmla="*/ 103 h 133"/>
                    <a:gd name="T32" fmla="*/ 6 w 133"/>
                    <a:gd name="T33" fmla="*/ 93 h 133"/>
                    <a:gd name="T34" fmla="*/ 1 w 133"/>
                    <a:gd name="T35" fmla="*/ 79 h 133"/>
                    <a:gd name="T36" fmla="*/ 0 w 133"/>
                    <a:gd name="T37" fmla="*/ 66 h 133"/>
                    <a:gd name="T38" fmla="*/ 0 w 133"/>
                    <a:gd name="T39" fmla="*/ 66 h 133"/>
                    <a:gd name="T40" fmla="*/ 1 w 133"/>
                    <a:gd name="T41" fmla="*/ 53 h 133"/>
                    <a:gd name="T42" fmla="*/ 6 w 133"/>
                    <a:gd name="T43" fmla="*/ 40 h 133"/>
                    <a:gd name="T44" fmla="*/ 12 w 133"/>
                    <a:gd name="T45" fmla="*/ 30 h 133"/>
                    <a:gd name="T46" fmla="*/ 20 w 133"/>
                    <a:gd name="T47" fmla="*/ 19 h 133"/>
                    <a:gd name="T48" fmla="*/ 29 w 133"/>
                    <a:gd name="T49" fmla="*/ 12 h 133"/>
                    <a:gd name="T50" fmla="*/ 40 w 133"/>
                    <a:gd name="T51" fmla="*/ 5 h 133"/>
                    <a:gd name="T52" fmla="*/ 53 w 133"/>
                    <a:gd name="T53" fmla="*/ 1 h 133"/>
                    <a:gd name="T54" fmla="*/ 66 w 133"/>
                    <a:gd name="T55" fmla="*/ 0 h 133"/>
                    <a:gd name="T56" fmla="*/ 66 w 133"/>
                    <a:gd name="T57" fmla="*/ 0 h 133"/>
                    <a:gd name="T58" fmla="*/ 81 w 133"/>
                    <a:gd name="T59" fmla="*/ 1 h 133"/>
                    <a:gd name="T60" fmla="*/ 92 w 133"/>
                    <a:gd name="T61" fmla="*/ 5 h 133"/>
                    <a:gd name="T62" fmla="*/ 104 w 133"/>
                    <a:gd name="T63" fmla="*/ 12 h 133"/>
                    <a:gd name="T64" fmla="*/ 114 w 133"/>
                    <a:gd name="T65" fmla="*/ 19 h 133"/>
                    <a:gd name="T66" fmla="*/ 122 w 133"/>
                    <a:gd name="T67" fmla="*/ 30 h 133"/>
                    <a:gd name="T68" fmla="*/ 128 w 133"/>
                    <a:gd name="T69" fmla="*/ 40 h 133"/>
                    <a:gd name="T70" fmla="*/ 132 w 133"/>
                    <a:gd name="T71" fmla="*/ 53 h 133"/>
                    <a:gd name="T72" fmla="*/ 133 w 133"/>
                    <a:gd name="T73" fmla="*/ 66 h 133"/>
                    <a:gd name="T74" fmla="*/ 133 w 133"/>
                    <a:gd name="T75" fmla="*/ 66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3" h="133">
                      <a:moveTo>
                        <a:pt x="133" y="66"/>
                      </a:moveTo>
                      <a:lnTo>
                        <a:pt x="133" y="66"/>
                      </a:lnTo>
                      <a:lnTo>
                        <a:pt x="132" y="79"/>
                      </a:lnTo>
                      <a:lnTo>
                        <a:pt x="128" y="93"/>
                      </a:lnTo>
                      <a:lnTo>
                        <a:pt x="122" y="103"/>
                      </a:lnTo>
                      <a:lnTo>
                        <a:pt x="114" y="114"/>
                      </a:lnTo>
                      <a:lnTo>
                        <a:pt x="104" y="122"/>
                      </a:lnTo>
                      <a:lnTo>
                        <a:pt x="92" y="128"/>
                      </a:lnTo>
                      <a:lnTo>
                        <a:pt x="81" y="132"/>
                      </a:lnTo>
                      <a:lnTo>
                        <a:pt x="66" y="133"/>
                      </a:lnTo>
                      <a:lnTo>
                        <a:pt x="66" y="133"/>
                      </a:lnTo>
                      <a:lnTo>
                        <a:pt x="53" y="132"/>
                      </a:lnTo>
                      <a:lnTo>
                        <a:pt x="40" y="128"/>
                      </a:lnTo>
                      <a:lnTo>
                        <a:pt x="29" y="122"/>
                      </a:lnTo>
                      <a:lnTo>
                        <a:pt x="20" y="114"/>
                      </a:lnTo>
                      <a:lnTo>
                        <a:pt x="12" y="103"/>
                      </a:lnTo>
                      <a:lnTo>
                        <a:pt x="6" y="93"/>
                      </a:lnTo>
                      <a:lnTo>
                        <a:pt x="1" y="79"/>
                      </a:lnTo>
                      <a:lnTo>
                        <a:pt x="0" y="66"/>
                      </a:lnTo>
                      <a:lnTo>
                        <a:pt x="0" y="66"/>
                      </a:lnTo>
                      <a:lnTo>
                        <a:pt x="1" y="53"/>
                      </a:lnTo>
                      <a:lnTo>
                        <a:pt x="6" y="40"/>
                      </a:lnTo>
                      <a:lnTo>
                        <a:pt x="12" y="30"/>
                      </a:lnTo>
                      <a:lnTo>
                        <a:pt x="20" y="19"/>
                      </a:lnTo>
                      <a:lnTo>
                        <a:pt x="29" y="12"/>
                      </a:lnTo>
                      <a:lnTo>
                        <a:pt x="40" y="5"/>
                      </a:lnTo>
                      <a:lnTo>
                        <a:pt x="53" y="1"/>
                      </a:lnTo>
                      <a:lnTo>
                        <a:pt x="66" y="0"/>
                      </a:lnTo>
                      <a:lnTo>
                        <a:pt x="66" y="0"/>
                      </a:lnTo>
                      <a:lnTo>
                        <a:pt x="81" y="1"/>
                      </a:lnTo>
                      <a:lnTo>
                        <a:pt x="92" y="5"/>
                      </a:lnTo>
                      <a:lnTo>
                        <a:pt x="104" y="12"/>
                      </a:lnTo>
                      <a:lnTo>
                        <a:pt x="114" y="19"/>
                      </a:lnTo>
                      <a:lnTo>
                        <a:pt x="122" y="30"/>
                      </a:lnTo>
                      <a:lnTo>
                        <a:pt x="128" y="40"/>
                      </a:lnTo>
                      <a:lnTo>
                        <a:pt x="132" y="53"/>
                      </a:lnTo>
                      <a:lnTo>
                        <a:pt x="133" y="66"/>
                      </a:lnTo>
                      <a:lnTo>
                        <a:pt x="133"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1079" name="그룹 1078"/>
              <p:cNvGrpSpPr/>
              <p:nvPr userDrawn="1"/>
            </p:nvGrpSpPr>
            <p:grpSpPr>
              <a:xfrm flipH="1">
                <a:off x="7458643" y="823747"/>
                <a:ext cx="331564" cy="289238"/>
                <a:chOff x="3459207" y="4846674"/>
                <a:chExt cx="373065" cy="325441"/>
              </a:xfrm>
            </p:grpSpPr>
            <p:sp>
              <p:nvSpPr>
                <p:cNvPr id="1080" name="Freeform 908"/>
                <p:cNvSpPr>
                  <a:spLocks/>
                </p:cNvSpPr>
                <p:nvPr/>
              </p:nvSpPr>
              <p:spPr bwMode="auto">
                <a:xfrm>
                  <a:off x="3525882" y="5059401"/>
                  <a:ext cx="49213" cy="47625"/>
                </a:xfrm>
                <a:custGeom>
                  <a:avLst/>
                  <a:gdLst>
                    <a:gd name="T0" fmla="*/ 79 w 157"/>
                    <a:gd name="T1" fmla="*/ 123 h 149"/>
                    <a:gd name="T2" fmla="*/ 126 w 157"/>
                    <a:gd name="T3" fmla="*/ 149 h 149"/>
                    <a:gd name="T4" fmla="*/ 118 w 157"/>
                    <a:gd name="T5" fmla="*/ 95 h 149"/>
                    <a:gd name="T6" fmla="*/ 157 w 157"/>
                    <a:gd name="T7" fmla="*/ 56 h 149"/>
                    <a:gd name="T8" fmla="*/ 102 w 157"/>
                    <a:gd name="T9" fmla="*/ 49 h 149"/>
                    <a:gd name="T10" fmla="*/ 79 w 157"/>
                    <a:gd name="T11" fmla="*/ 0 h 149"/>
                    <a:gd name="T12" fmla="*/ 54 w 157"/>
                    <a:gd name="T13" fmla="*/ 49 h 149"/>
                    <a:gd name="T14" fmla="*/ 0 w 157"/>
                    <a:gd name="T15" fmla="*/ 56 h 149"/>
                    <a:gd name="T16" fmla="*/ 39 w 157"/>
                    <a:gd name="T17" fmla="*/ 95 h 149"/>
                    <a:gd name="T18" fmla="*/ 30 w 157"/>
                    <a:gd name="T19" fmla="*/ 149 h 149"/>
                    <a:gd name="T20" fmla="*/ 79 w 157"/>
                    <a:gd name="T21" fmla="*/ 12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149">
                      <a:moveTo>
                        <a:pt x="79" y="123"/>
                      </a:moveTo>
                      <a:lnTo>
                        <a:pt x="126" y="149"/>
                      </a:lnTo>
                      <a:lnTo>
                        <a:pt x="118" y="95"/>
                      </a:lnTo>
                      <a:lnTo>
                        <a:pt x="157" y="56"/>
                      </a:lnTo>
                      <a:lnTo>
                        <a:pt x="102" y="49"/>
                      </a:lnTo>
                      <a:lnTo>
                        <a:pt x="79" y="0"/>
                      </a:lnTo>
                      <a:lnTo>
                        <a:pt x="54" y="49"/>
                      </a:lnTo>
                      <a:lnTo>
                        <a:pt x="0" y="56"/>
                      </a:lnTo>
                      <a:lnTo>
                        <a:pt x="39" y="95"/>
                      </a:lnTo>
                      <a:lnTo>
                        <a:pt x="30" y="149"/>
                      </a:lnTo>
                      <a:lnTo>
                        <a:pt x="79" y="12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1" name="Freeform 909"/>
                <p:cNvSpPr>
                  <a:spLocks/>
                </p:cNvSpPr>
                <p:nvPr/>
              </p:nvSpPr>
              <p:spPr bwMode="auto">
                <a:xfrm>
                  <a:off x="3698921" y="4846674"/>
                  <a:ext cx="38100" cy="36513"/>
                </a:xfrm>
                <a:custGeom>
                  <a:avLst/>
                  <a:gdLst>
                    <a:gd name="T0" fmla="*/ 61 w 121"/>
                    <a:gd name="T1" fmla="*/ 95 h 114"/>
                    <a:gd name="T2" fmla="*/ 98 w 121"/>
                    <a:gd name="T3" fmla="*/ 114 h 114"/>
                    <a:gd name="T4" fmla="*/ 91 w 121"/>
                    <a:gd name="T5" fmla="*/ 73 h 114"/>
                    <a:gd name="T6" fmla="*/ 121 w 121"/>
                    <a:gd name="T7" fmla="*/ 44 h 114"/>
                    <a:gd name="T8" fmla="*/ 80 w 121"/>
                    <a:gd name="T9" fmla="*/ 38 h 114"/>
                    <a:gd name="T10" fmla="*/ 61 w 121"/>
                    <a:gd name="T11" fmla="*/ 0 h 114"/>
                    <a:gd name="T12" fmla="*/ 42 w 121"/>
                    <a:gd name="T13" fmla="*/ 38 h 114"/>
                    <a:gd name="T14" fmla="*/ 0 w 121"/>
                    <a:gd name="T15" fmla="*/ 44 h 114"/>
                    <a:gd name="T16" fmla="*/ 31 w 121"/>
                    <a:gd name="T17" fmla="*/ 73 h 114"/>
                    <a:gd name="T18" fmla="*/ 24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1" y="73"/>
                      </a:lnTo>
                      <a:lnTo>
                        <a:pt x="121" y="44"/>
                      </a:lnTo>
                      <a:lnTo>
                        <a:pt x="80" y="38"/>
                      </a:lnTo>
                      <a:lnTo>
                        <a:pt x="61" y="0"/>
                      </a:lnTo>
                      <a:lnTo>
                        <a:pt x="42" y="38"/>
                      </a:lnTo>
                      <a:lnTo>
                        <a:pt x="0" y="44"/>
                      </a:lnTo>
                      <a:lnTo>
                        <a:pt x="31" y="73"/>
                      </a:lnTo>
                      <a:lnTo>
                        <a:pt x="24" y="114"/>
                      </a:lnTo>
                      <a:lnTo>
                        <a:pt x="61" y="95"/>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2" name="Freeform 910"/>
                <p:cNvSpPr>
                  <a:spLocks/>
                </p:cNvSpPr>
                <p:nvPr/>
              </p:nvSpPr>
              <p:spPr bwMode="auto">
                <a:xfrm>
                  <a:off x="3665583" y="5135602"/>
                  <a:ext cx="38100" cy="36513"/>
                </a:xfrm>
                <a:custGeom>
                  <a:avLst/>
                  <a:gdLst>
                    <a:gd name="T0" fmla="*/ 60 w 120"/>
                    <a:gd name="T1" fmla="*/ 95 h 114"/>
                    <a:gd name="T2" fmla="*/ 98 w 120"/>
                    <a:gd name="T3" fmla="*/ 114 h 114"/>
                    <a:gd name="T4" fmla="*/ 91 w 120"/>
                    <a:gd name="T5" fmla="*/ 73 h 114"/>
                    <a:gd name="T6" fmla="*/ 120 w 120"/>
                    <a:gd name="T7" fmla="*/ 43 h 114"/>
                    <a:gd name="T8" fmla="*/ 78 w 120"/>
                    <a:gd name="T9" fmla="*/ 37 h 114"/>
                    <a:gd name="T10" fmla="*/ 60 w 120"/>
                    <a:gd name="T11" fmla="*/ 0 h 114"/>
                    <a:gd name="T12" fmla="*/ 42 w 120"/>
                    <a:gd name="T13" fmla="*/ 37 h 114"/>
                    <a:gd name="T14" fmla="*/ 0 w 120"/>
                    <a:gd name="T15" fmla="*/ 43 h 114"/>
                    <a:gd name="T16" fmla="*/ 31 w 120"/>
                    <a:gd name="T17" fmla="*/ 73 h 114"/>
                    <a:gd name="T18" fmla="*/ 24 w 120"/>
                    <a:gd name="T19" fmla="*/ 114 h 114"/>
                    <a:gd name="T20" fmla="*/ 60 w 120"/>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 h="114">
                      <a:moveTo>
                        <a:pt x="60" y="95"/>
                      </a:moveTo>
                      <a:lnTo>
                        <a:pt x="98" y="114"/>
                      </a:lnTo>
                      <a:lnTo>
                        <a:pt x="91" y="73"/>
                      </a:lnTo>
                      <a:lnTo>
                        <a:pt x="120" y="43"/>
                      </a:lnTo>
                      <a:lnTo>
                        <a:pt x="78" y="37"/>
                      </a:lnTo>
                      <a:lnTo>
                        <a:pt x="60" y="0"/>
                      </a:lnTo>
                      <a:lnTo>
                        <a:pt x="42" y="37"/>
                      </a:lnTo>
                      <a:lnTo>
                        <a:pt x="0" y="43"/>
                      </a:lnTo>
                      <a:lnTo>
                        <a:pt x="31" y="73"/>
                      </a:lnTo>
                      <a:lnTo>
                        <a:pt x="24" y="114"/>
                      </a:lnTo>
                      <a:lnTo>
                        <a:pt x="60"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3" name="Freeform 911"/>
                <p:cNvSpPr>
                  <a:spLocks/>
                </p:cNvSpPr>
                <p:nvPr/>
              </p:nvSpPr>
              <p:spPr bwMode="auto">
                <a:xfrm>
                  <a:off x="3459207" y="4980026"/>
                  <a:ext cx="38100" cy="36513"/>
                </a:xfrm>
                <a:custGeom>
                  <a:avLst/>
                  <a:gdLst>
                    <a:gd name="T0" fmla="*/ 61 w 121"/>
                    <a:gd name="T1" fmla="*/ 95 h 114"/>
                    <a:gd name="T2" fmla="*/ 98 w 121"/>
                    <a:gd name="T3" fmla="*/ 114 h 114"/>
                    <a:gd name="T4" fmla="*/ 90 w 121"/>
                    <a:gd name="T5" fmla="*/ 73 h 114"/>
                    <a:gd name="T6" fmla="*/ 121 w 121"/>
                    <a:gd name="T7" fmla="*/ 44 h 114"/>
                    <a:gd name="T8" fmla="*/ 79 w 121"/>
                    <a:gd name="T9" fmla="*/ 38 h 114"/>
                    <a:gd name="T10" fmla="*/ 61 w 121"/>
                    <a:gd name="T11" fmla="*/ 0 h 114"/>
                    <a:gd name="T12" fmla="*/ 41 w 121"/>
                    <a:gd name="T13" fmla="*/ 38 h 114"/>
                    <a:gd name="T14" fmla="*/ 0 w 121"/>
                    <a:gd name="T15" fmla="*/ 44 h 114"/>
                    <a:gd name="T16" fmla="*/ 31 w 121"/>
                    <a:gd name="T17" fmla="*/ 73 h 114"/>
                    <a:gd name="T18" fmla="*/ 23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0" y="73"/>
                      </a:lnTo>
                      <a:lnTo>
                        <a:pt x="121" y="44"/>
                      </a:lnTo>
                      <a:lnTo>
                        <a:pt x="79" y="38"/>
                      </a:lnTo>
                      <a:lnTo>
                        <a:pt x="61" y="0"/>
                      </a:lnTo>
                      <a:lnTo>
                        <a:pt x="41" y="38"/>
                      </a:lnTo>
                      <a:lnTo>
                        <a:pt x="0" y="44"/>
                      </a:lnTo>
                      <a:lnTo>
                        <a:pt x="31" y="73"/>
                      </a:lnTo>
                      <a:lnTo>
                        <a:pt x="23" y="114"/>
                      </a:lnTo>
                      <a:lnTo>
                        <a:pt x="61"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4" name="Freeform 912"/>
                <p:cNvSpPr>
                  <a:spLocks/>
                </p:cNvSpPr>
                <p:nvPr/>
              </p:nvSpPr>
              <p:spPr bwMode="auto">
                <a:xfrm>
                  <a:off x="3575095" y="4935575"/>
                  <a:ext cx="128588" cy="127001"/>
                </a:xfrm>
                <a:custGeom>
                  <a:avLst/>
                  <a:gdLst>
                    <a:gd name="T0" fmla="*/ 272 w 401"/>
                    <a:gd name="T1" fmla="*/ 130 h 402"/>
                    <a:gd name="T2" fmla="*/ 401 w 401"/>
                    <a:gd name="T3" fmla="*/ 201 h 402"/>
                    <a:gd name="T4" fmla="*/ 272 w 401"/>
                    <a:gd name="T5" fmla="*/ 272 h 402"/>
                    <a:gd name="T6" fmla="*/ 201 w 401"/>
                    <a:gd name="T7" fmla="*/ 402 h 402"/>
                    <a:gd name="T8" fmla="*/ 129 w 401"/>
                    <a:gd name="T9" fmla="*/ 272 h 402"/>
                    <a:gd name="T10" fmla="*/ 0 w 401"/>
                    <a:gd name="T11" fmla="*/ 201 h 402"/>
                    <a:gd name="T12" fmla="*/ 129 w 401"/>
                    <a:gd name="T13" fmla="*/ 130 h 402"/>
                    <a:gd name="T14" fmla="*/ 201 w 401"/>
                    <a:gd name="T15" fmla="*/ 0 h 402"/>
                    <a:gd name="T16" fmla="*/ 272 w 401"/>
                    <a:gd name="T17" fmla="*/ 13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1" h="402">
                      <a:moveTo>
                        <a:pt x="272" y="130"/>
                      </a:moveTo>
                      <a:lnTo>
                        <a:pt x="401" y="201"/>
                      </a:lnTo>
                      <a:lnTo>
                        <a:pt x="272" y="272"/>
                      </a:lnTo>
                      <a:lnTo>
                        <a:pt x="201" y="402"/>
                      </a:lnTo>
                      <a:lnTo>
                        <a:pt x="129" y="272"/>
                      </a:lnTo>
                      <a:lnTo>
                        <a:pt x="0" y="201"/>
                      </a:lnTo>
                      <a:lnTo>
                        <a:pt x="129" y="130"/>
                      </a:lnTo>
                      <a:lnTo>
                        <a:pt x="201" y="0"/>
                      </a:lnTo>
                      <a:lnTo>
                        <a:pt x="27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5" name="Freeform 913"/>
                <p:cNvSpPr>
                  <a:spLocks/>
                </p:cNvSpPr>
                <p:nvPr/>
              </p:nvSpPr>
              <p:spPr bwMode="auto">
                <a:xfrm>
                  <a:off x="3771947" y="4975263"/>
                  <a:ext cx="60325" cy="58738"/>
                </a:xfrm>
                <a:custGeom>
                  <a:avLst/>
                  <a:gdLst>
                    <a:gd name="T0" fmla="*/ 126 w 186"/>
                    <a:gd name="T1" fmla="*/ 59 h 185"/>
                    <a:gd name="T2" fmla="*/ 186 w 186"/>
                    <a:gd name="T3" fmla="*/ 92 h 185"/>
                    <a:gd name="T4" fmla="*/ 126 w 186"/>
                    <a:gd name="T5" fmla="*/ 125 h 185"/>
                    <a:gd name="T6" fmla="*/ 93 w 186"/>
                    <a:gd name="T7" fmla="*/ 185 h 185"/>
                    <a:gd name="T8" fmla="*/ 60 w 186"/>
                    <a:gd name="T9" fmla="*/ 125 h 185"/>
                    <a:gd name="T10" fmla="*/ 0 w 186"/>
                    <a:gd name="T11" fmla="*/ 92 h 185"/>
                    <a:gd name="T12" fmla="*/ 60 w 186"/>
                    <a:gd name="T13" fmla="*/ 59 h 185"/>
                    <a:gd name="T14" fmla="*/ 93 w 186"/>
                    <a:gd name="T15" fmla="*/ 0 h 185"/>
                    <a:gd name="T16" fmla="*/ 126 w 186"/>
                    <a:gd name="T17" fmla="*/ 59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85">
                      <a:moveTo>
                        <a:pt x="126" y="59"/>
                      </a:moveTo>
                      <a:lnTo>
                        <a:pt x="186" y="92"/>
                      </a:lnTo>
                      <a:lnTo>
                        <a:pt x="126" y="125"/>
                      </a:lnTo>
                      <a:lnTo>
                        <a:pt x="93" y="185"/>
                      </a:lnTo>
                      <a:lnTo>
                        <a:pt x="60" y="125"/>
                      </a:lnTo>
                      <a:lnTo>
                        <a:pt x="0" y="92"/>
                      </a:lnTo>
                      <a:lnTo>
                        <a:pt x="60" y="59"/>
                      </a:lnTo>
                      <a:lnTo>
                        <a:pt x="93" y="0"/>
                      </a:lnTo>
                      <a:lnTo>
                        <a:pt x="126" y="59"/>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6" name="Freeform 914"/>
                <p:cNvSpPr>
                  <a:spLocks/>
                </p:cNvSpPr>
                <p:nvPr/>
              </p:nvSpPr>
              <p:spPr bwMode="auto">
                <a:xfrm>
                  <a:off x="3517945" y="4902237"/>
                  <a:ext cx="39688" cy="39688"/>
                </a:xfrm>
                <a:custGeom>
                  <a:avLst/>
                  <a:gdLst>
                    <a:gd name="T0" fmla="*/ 84 w 125"/>
                    <a:gd name="T1" fmla="*/ 40 h 124"/>
                    <a:gd name="T2" fmla="*/ 125 w 125"/>
                    <a:gd name="T3" fmla="*/ 62 h 124"/>
                    <a:gd name="T4" fmla="*/ 84 w 125"/>
                    <a:gd name="T5" fmla="*/ 84 h 124"/>
                    <a:gd name="T6" fmla="*/ 63 w 125"/>
                    <a:gd name="T7" fmla="*/ 124 h 124"/>
                    <a:gd name="T8" fmla="*/ 41 w 125"/>
                    <a:gd name="T9" fmla="*/ 84 h 124"/>
                    <a:gd name="T10" fmla="*/ 0 w 125"/>
                    <a:gd name="T11" fmla="*/ 62 h 124"/>
                    <a:gd name="T12" fmla="*/ 41 w 125"/>
                    <a:gd name="T13" fmla="*/ 40 h 124"/>
                    <a:gd name="T14" fmla="*/ 63 w 125"/>
                    <a:gd name="T15" fmla="*/ 0 h 124"/>
                    <a:gd name="T16" fmla="*/ 84 w 125"/>
                    <a:gd name="T17" fmla="*/ 4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124">
                      <a:moveTo>
                        <a:pt x="84" y="40"/>
                      </a:moveTo>
                      <a:lnTo>
                        <a:pt x="125" y="62"/>
                      </a:lnTo>
                      <a:lnTo>
                        <a:pt x="84" y="84"/>
                      </a:lnTo>
                      <a:lnTo>
                        <a:pt x="63" y="124"/>
                      </a:lnTo>
                      <a:lnTo>
                        <a:pt x="41" y="84"/>
                      </a:lnTo>
                      <a:lnTo>
                        <a:pt x="0" y="62"/>
                      </a:lnTo>
                      <a:lnTo>
                        <a:pt x="41" y="40"/>
                      </a:lnTo>
                      <a:lnTo>
                        <a:pt x="63" y="0"/>
                      </a:lnTo>
                      <a:lnTo>
                        <a:pt x="84"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7" name="Freeform 915"/>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8" name="Freeform 916"/>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9" name="Freeform 917"/>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0" name="Freeform 918"/>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1" name="Freeform 919"/>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2" name="Freeform 920"/>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3" name="Freeform 921"/>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4" name="Freeform 922"/>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5" name="Freeform 923"/>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6" name="Freeform 924"/>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7" name="Freeform 925"/>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8" name="Freeform 926"/>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1141" name="그룹 1140"/>
              <p:cNvGrpSpPr/>
              <p:nvPr userDrawn="1"/>
            </p:nvGrpSpPr>
            <p:grpSpPr>
              <a:xfrm rot="3600000">
                <a:off x="8435473" y="1240784"/>
                <a:ext cx="368751" cy="369285"/>
                <a:chOff x="-5705856" y="-3474720"/>
                <a:chExt cx="1609344" cy="1609344"/>
              </a:xfrm>
            </p:grpSpPr>
            <p:sp>
              <p:nvSpPr>
                <p:cNvPr id="1142" name="자유형 1141"/>
                <p:cNvSpPr/>
                <p:nvPr/>
              </p:nvSpPr>
              <p:spPr>
                <a:xfrm>
                  <a:off x="-4910328" y="-3474720"/>
                  <a:ext cx="237744" cy="1609344"/>
                </a:xfrm>
                <a:custGeom>
                  <a:avLst/>
                  <a:gdLst>
                    <a:gd name="connsiteX0" fmla="*/ 9144 w 237744"/>
                    <a:gd name="connsiteY0" fmla="*/ 0 h 1609344"/>
                    <a:gd name="connsiteX1" fmla="*/ 171313 w 237744"/>
                    <a:gd name="connsiteY1" fmla="*/ 16348 h 1609344"/>
                    <a:gd name="connsiteX2" fmla="*/ 237744 w 237744"/>
                    <a:gd name="connsiteY2" fmla="*/ 33429 h 1609344"/>
                    <a:gd name="connsiteX3" fmla="*/ 237744 w 237744"/>
                    <a:gd name="connsiteY3" fmla="*/ 1575915 h 1609344"/>
                    <a:gd name="connsiteX4" fmla="*/ 171313 w 237744"/>
                    <a:gd name="connsiteY4" fmla="*/ 1592996 h 1609344"/>
                    <a:gd name="connsiteX5" fmla="*/ 9144 w 237744"/>
                    <a:gd name="connsiteY5" fmla="*/ 1609344 h 1609344"/>
                    <a:gd name="connsiteX6" fmla="*/ 0 w 237744"/>
                    <a:gd name="connsiteY6" fmla="*/ 1608883 h 1609344"/>
                    <a:gd name="connsiteX7" fmla="*/ 0 w 237744"/>
                    <a:gd name="connsiteY7" fmla="*/ 462 h 1609344"/>
                    <a:gd name="connsiteX8" fmla="*/ 9144 w 237744"/>
                    <a:gd name="connsiteY8" fmla="*/ 0 h 1609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7744" h="1609344">
                      <a:moveTo>
                        <a:pt x="9144" y="0"/>
                      </a:moveTo>
                      <a:cubicBezTo>
                        <a:pt x="64695" y="0"/>
                        <a:pt x="118931" y="5629"/>
                        <a:pt x="171313" y="16348"/>
                      </a:cubicBezTo>
                      <a:lnTo>
                        <a:pt x="237744" y="33429"/>
                      </a:lnTo>
                      <a:lnTo>
                        <a:pt x="237744" y="1575915"/>
                      </a:lnTo>
                      <a:lnTo>
                        <a:pt x="171313" y="1592996"/>
                      </a:lnTo>
                      <a:cubicBezTo>
                        <a:pt x="118931" y="1603715"/>
                        <a:pt x="64695" y="1609344"/>
                        <a:pt x="9144" y="1609344"/>
                      </a:cubicBezTo>
                      <a:lnTo>
                        <a:pt x="0" y="1608883"/>
                      </a:lnTo>
                      <a:lnTo>
                        <a:pt x="0" y="462"/>
                      </a:lnTo>
                      <a:lnTo>
                        <a:pt x="9144"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143" name="자유형 1142"/>
                <p:cNvSpPr/>
                <p:nvPr/>
              </p:nvSpPr>
              <p:spPr>
                <a:xfrm>
                  <a:off x="-5705856" y="-3448343"/>
                  <a:ext cx="603504" cy="1556593"/>
                </a:xfrm>
                <a:custGeom>
                  <a:avLst/>
                  <a:gdLst>
                    <a:gd name="connsiteX0" fmla="*/ 603504 w 603504"/>
                    <a:gd name="connsiteY0" fmla="*/ 0 h 1556593"/>
                    <a:gd name="connsiteX1" fmla="*/ 603504 w 603504"/>
                    <a:gd name="connsiteY1" fmla="*/ 1556593 h 1556593"/>
                    <a:gd name="connsiteX2" fmla="*/ 565387 w 603504"/>
                    <a:gd name="connsiteY2" fmla="*/ 1546792 h 1556593"/>
                    <a:gd name="connsiteX3" fmla="*/ 0 w 603504"/>
                    <a:gd name="connsiteY3" fmla="*/ 778296 h 1556593"/>
                    <a:gd name="connsiteX4" fmla="*/ 565387 w 603504"/>
                    <a:gd name="connsiteY4" fmla="*/ 9800 h 1556593"/>
                    <a:gd name="connsiteX5" fmla="*/ 603504 w 603504"/>
                    <a:gd name="connsiteY5" fmla="*/ 0 h 1556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3504" h="1556593">
                      <a:moveTo>
                        <a:pt x="603504" y="0"/>
                      </a:moveTo>
                      <a:lnTo>
                        <a:pt x="603504" y="1556593"/>
                      </a:lnTo>
                      <a:lnTo>
                        <a:pt x="565387" y="1546792"/>
                      </a:lnTo>
                      <a:cubicBezTo>
                        <a:pt x="237830" y="1444911"/>
                        <a:pt x="0" y="1139378"/>
                        <a:pt x="0" y="778296"/>
                      </a:cubicBezTo>
                      <a:cubicBezTo>
                        <a:pt x="0" y="417215"/>
                        <a:pt x="237830" y="111681"/>
                        <a:pt x="565387" y="9800"/>
                      </a:cubicBezTo>
                      <a:lnTo>
                        <a:pt x="603504"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144" name="자유형 1143"/>
                <p:cNvSpPr/>
                <p:nvPr/>
              </p:nvSpPr>
              <p:spPr>
                <a:xfrm>
                  <a:off x="-4590288" y="-3412334"/>
                  <a:ext cx="493776" cy="1484572"/>
                </a:xfrm>
                <a:custGeom>
                  <a:avLst/>
                  <a:gdLst>
                    <a:gd name="connsiteX0" fmla="*/ 0 w 493776"/>
                    <a:gd name="connsiteY0" fmla="*/ 0 h 1484572"/>
                    <a:gd name="connsiteX1" fmla="*/ 2319 w 493776"/>
                    <a:gd name="connsiteY1" fmla="*/ 849 h 1484572"/>
                    <a:gd name="connsiteX2" fmla="*/ 493776 w 493776"/>
                    <a:gd name="connsiteY2" fmla="*/ 742286 h 1484572"/>
                    <a:gd name="connsiteX3" fmla="*/ 2319 w 493776"/>
                    <a:gd name="connsiteY3" fmla="*/ 1483723 h 1484572"/>
                    <a:gd name="connsiteX4" fmla="*/ 0 w 493776"/>
                    <a:gd name="connsiteY4" fmla="*/ 1484572 h 1484572"/>
                    <a:gd name="connsiteX5" fmla="*/ 0 w 493776"/>
                    <a:gd name="connsiteY5" fmla="*/ 0 h 1484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6" h="1484572">
                      <a:moveTo>
                        <a:pt x="0" y="0"/>
                      </a:moveTo>
                      <a:lnTo>
                        <a:pt x="2319" y="849"/>
                      </a:lnTo>
                      <a:cubicBezTo>
                        <a:pt x="291128" y="123005"/>
                        <a:pt x="493776" y="408980"/>
                        <a:pt x="493776" y="742286"/>
                      </a:cubicBezTo>
                      <a:cubicBezTo>
                        <a:pt x="493776" y="1075592"/>
                        <a:pt x="291128" y="1361567"/>
                        <a:pt x="2319" y="1483723"/>
                      </a:cubicBezTo>
                      <a:lnTo>
                        <a:pt x="0" y="1484572"/>
                      </a:lnTo>
                      <a:lnTo>
                        <a:pt x="0"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grpSp>
      </p:grpSp>
      <p:grpSp>
        <p:nvGrpSpPr>
          <p:cNvPr id="98" name="그룹 97"/>
          <p:cNvGrpSpPr/>
          <p:nvPr userDrawn="1"/>
        </p:nvGrpSpPr>
        <p:grpSpPr>
          <a:xfrm>
            <a:off x="52246" y="79592"/>
            <a:ext cx="11824809" cy="6969938"/>
            <a:chOff x="39184" y="55963"/>
            <a:chExt cx="8868607" cy="4900738"/>
          </a:xfrm>
        </p:grpSpPr>
        <p:sp>
          <p:nvSpPr>
            <p:cNvPr id="58" name="포인트가 4개인 별 57"/>
            <p:cNvSpPr/>
            <p:nvPr/>
          </p:nvSpPr>
          <p:spPr>
            <a:xfrm flipH="1">
              <a:off x="7571448" y="1352982"/>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9" name="포인트가 4개인 별 58"/>
            <p:cNvSpPr/>
            <p:nvPr/>
          </p:nvSpPr>
          <p:spPr>
            <a:xfrm flipH="1">
              <a:off x="7011019" y="4668010"/>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0" name="포인트가 4개인 별 59"/>
            <p:cNvSpPr/>
            <p:nvPr/>
          </p:nvSpPr>
          <p:spPr>
            <a:xfrm flipH="1">
              <a:off x="5137081" y="2412994"/>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 name="포인트가 4개인 별 60"/>
            <p:cNvSpPr/>
            <p:nvPr/>
          </p:nvSpPr>
          <p:spPr>
            <a:xfrm flipH="1">
              <a:off x="4636237" y="4859267"/>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2" name="포인트가 4개인 별 61"/>
            <p:cNvSpPr/>
            <p:nvPr/>
          </p:nvSpPr>
          <p:spPr>
            <a:xfrm flipH="1">
              <a:off x="1921656" y="1952039"/>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7" name="포인트가 4개인 별 66"/>
            <p:cNvSpPr/>
            <p:nvPr/>
          </p:nvSpPr>
          <p:spPr>
            <a:xfrm flipH="1">
              <a:off x="6774810" y="2771934"/>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8" name="포인트가 4개인 별 67"/>
            <p:cNvSpPr/>
            <p:nvPr/>
          </p:nvSpPr>
          <p:spPr>
            <a:xfrm flipH="1">
              <a:off x="4900872" y="516917"/>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9" name="포인트가 4개인 별 68"/>
            <p:cNvSpPr/>
            <p:nvPr/>
          </p:nvSpPr>
          <p:spPr>
            <a:xfrm flipH="1">
              <a:off x="4400028" y="2963191"/>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0" name="포인트가 4개인 별 69"/>
            <p:cNvSpPr/>
            <p:nvPr/>
          </p:nvSpPr>
          <p:spPr>
            <a:xfrm flipH="1">
              <a:off x="1685446" y="55963"/>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1" name="포인트가 4개인 별 70"/>
            <p:cNvSpPr/>
            <p:nvPr/>
          </p:nvSpPr>
          <p:spPr>
            <a:xfrm flipH="1">
              <a:off x="39184" y="4154105"/>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2" name="포인트가 4개인 별 71"/>
            <p:cNvSpPr/>
            <p:nvPr/>
          </p:nvSpPr>
          <p:spPr>
            <a:xfrm flipH="1">
              <a:off x="2456037" y="4170656"/>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3" name="포인트가 4개인 별 72"/>
            <p:cNvSpPr/>
            <p:nvPr/>
          </p:nvSpPr>
          <p:spPr>
            <a:xfrm flipH="1">
              <a:off x="5328240" y="4517024"/>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4" name="포인트가 4개인 별 73"/>
            <p:cNvSpPr/>
            <p:nvPr/>
          </p:nvSpPr>
          <p:spPr>
            <a:xfrm flipH="1">
              <a:off x="8077855" y="3154448"/>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5" name="포인트가 4개인 별 74"/>
            <p:cNvSpPr/>
            <p:nvPr/>
          </p:nvSpPr>
          <p:spPr>
            <a:xfrm flipH="1">
              <a:off x="311515" y="1809356"/>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85" name="포인트가 4개인 별 84"/>
            <p:cNvSpPr/>
            <p:nvPr/>
          </p:nvSpPr>
          <p:spPr>
            <a:xfrm flipH="1">
              <a:off x="817922" y="3610822"/>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86" name="포인트가 4개인 별 85"/>
            <p:cNvSpPr/>
            <p:nvPr/>
          </p:nvSpPr>
          <p:spPr>
            <a:xfrm flipH="1">
              <a:off x="8275976" y="2266241"/>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89" name="포인트가 4개인 별 88"/>
            <p:cNvSpPr/>
            <p:nvPr/>
          </p:nvSpPr>
          <p:spPr>
            <a:xfrm flipH="1">
              <a:off x="8039766" y="370164"/>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90" name="포인트가 4개인 별 89"/>
            <p:cNvSpPr/>
            <p:nvPr/>
          </p:nvSpPr>
          <p:spPr>
            <a:xfrm flipH="1">
              <a:off x="6393504" y="4468307"/>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91" name="포인트가 4개인 별 90"/>
            <p:cNvSpPr/>
            <p:nvPr/>
          </p:nvSpPr>
          <p:spPr>
            <a:xfrm flipH="1">
              <a:off x="8810357" y="4484858"/>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92" name="포인트가 4개인 별 91"/>
            <p:cNvSpPr/>
            <p:nvPr/>
          </p:nvSpPr>
          <p:spPr>
            <a:xfrm flipH="1">
              <a:off x="6665835" y="2123557"/>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95" name="포인트가 4개인 별 94"/>
            <p:cNvSpPr/>
            <p:nvPr/>
          </p:nvSpPr>
          <p:spPr>
            <a:xfrm flipH="1">
              <a:off x="5869197" y="3542509"/>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96" name="포인트가 4개인 별 95"/>
            <p:cNvSpPr/>
            <p:nvPr/>
          </p:nvSpPr>
          <p:spPr>
            <a:xfrm flipH="1">
              <a:off x="7172242" y="3925023"/>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7" name="포인트가 4개인 별 46"/>
            <p:cNvSpPr/>
            <p:nvPr userDrawn="1"/>
          </p:nvSpPr>
          <p:spPr>
            <a:xfrm rot="18840000" flipH="1">
              <a:off x="1603727" y="1246512"/>
              <a:ext cx="161344" cy="161344"/>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9" name="포인트가 5개인 별 48"/>
            <p:cNvSpPr/>
            <p:nvPr userDrawn="1"/>
          </p:nvSpPr>
          <p:spPr>
            <a:xfrm flipH="1">
              <a:off x="7108453" y="857994"/>
              <a:ext cx="111924" cy="111924"/>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1" name="포인트가 5개인 별 50"/>
            <p:cNvSpPr/>
            <p:nvPr userDrawn="1"/>
          </p:nvSpPr>
          <p:spPr>
            <a:xfrm rot="1740000" flipH="1">
              <a:off x="954169" y="3691391"/>
              <a:ext cx="111924" cy="111924"/>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3" name="포인트가 5개인 별 52"/>
            <p:cNvSpPr/>
            <p:nvPr userDrawn="1"/>
          </p:nvSpPr>
          <p:spPr>
            <a:xfrm flipH="1">
              <a:off x="2264025" y="885719"/>
              <a:ext cx="67042" cy="63460"/>
            </a:xfrm>
            <a:prstGeom prst="star5">
              <a:avLst>
                <a:gd name="adj" fmla="val 28797"/>
                <a:gd name="hf" fmla="val 105146"/>
                <a:gd name="vf" fmla="val 11055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6" name="포인트가 4개인 별 55"/>
            <p:cNvSpPr/>
            <p:nvPr userDrawn="1"/>
          </p:nvSpPr>
          <p:spPr>
            <a:xfrm flipH="1">
              <a:off x="3948227" y="3960734"/>
              <a:ext cx="161344" cy="161344"/>
            </a:xfrm>
            <a:prstGeom prst="star4">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7" name="포인트가 4개인 별 56"/>
            <p:cNvSpPr/>
            <p:nvPr userDrawn="1"/>
          </p:nvSpPr>
          <p:spPr>
            <a:xfrm flipH="1">
              <a:off x="4474777" y="1360583"/>
              <a:ext cx="161344" cy="161344"/>
            </a:xfrm>
            <a:prstGeom prst="star4">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sp>
        <p:nvSpPr>
          <p:cNvPr id="1138" name="자유형 1137"/>
          <p:cNvSpPr>
            <a:spLocks/>
          </p:cNvSpPr>
          <p:nvPr userDrawn="1"/>
        </p:nvSpPr>
        <p:spPr bwMode="auto">
          <a:xfrm rot="20844360">
            <a:off x="11956103" y="4439489"/>
            <a:ext cx="260468" cy="250290"/>
          </a:xfrm>
          <a:custGeom>
            <a:avLst/>
            <a:gdLst>
              <a:gd name="connsiteX0" fmla="*/ 195351 w 195351"/>
              <a:gd name="connsiteY0" fmla="*/ 14261 h 175985"/>
              <a:gd name="connsiteX1" fmla="*/ 159219 w 195351"/>
              <a:gd name="connsiteY1" fmla="*/ 175985 h 175985"/>
              <a:gd name="connsiteX2" fmla="*/ 123618 w 195351"/>
              <a:gd name="connsiteY2" fmla="*/ 169872 h 175985"/>
              <a:gd name="connsiteX3" fmla="*/ 24318 w 195351"/>
              <a:gd name="connsiteY3" fmla="*/ 154705 h 175985"/>
              <a:gd name="connsiteX4" fmla="*/ 14186 w 195351"/>
              <a:gd name="connsiteY4" fmla="*/ 76847 h 175985"/>
              <a:gd name="connsiteX5" fmla="*/ 0 w 195351"/>
              <a:gd name="connsiteY5" fmla="*/ 0 h 175985"/>
              <a:gd name="connsiteX6" fmla="*/ 130712 w 195351"/>
              <a:gd name="connsiteY6" fmla="*/ 9100 h 175985"/>
              <a:gd name="connsiteX7" fmla="*/ 195351 w 195351"/>
              <a:gd name="connsiteY7" fmla="*/ 14261 h 175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351" h="175985">
                <a:moveTo>
                  <a:pt x="195351" y="14261"/>
                </a:moveTo>
                <a:lnTo>
                  <a:pt x="159219" y="175985"/>
                </a:lnTo>
                <a:lnTo>
                  <a:pt x="123618" y="169872"/>
                </a:lnTo>
                <a:lnTo>
                  <a:pt x="24318" y="154705"/>
                </a:lnTo>
                <a:lnTo>
                  <a:pt x="14186" y="76847"/>
                </a:lnTo>
                <a:lnTo>
                  <a:pt x="0" y="0"/>
                </a:lnTo>
                <a:lnTo>
                  <a:pt x="130712" y="9100"/>
                </a:lnTo>
                <a:lnTo>
                  <a:pt x="195351" y="14261"/>
                </a:lnTo>
                <a:close/>
              </a:path>
            </a:pathLst>
          </a:custGeom>
          <a:solidFill>
            <a:srgbClr val="FFAF3B">
              <a:alpha val="20000"/>
            </a:srgbClr>
          </a:solidFill>
          <a:ln>
            <a:noFill/>
          </a:ln>
        </p:spPr>
        <p:txBody>
          <a:bodyPr vert="horz" wrap="square" lIns="121920" tIns="60960" rIns="121920" bIns="60960" numCol="1" anchor="t" anchorCtr="0" compatLnSpc="1">
            <a:prstTxWarp prst="textNoShape">
              <a:avLst/>
            </a:prstTxWarp>
            <a:noAutofit/>
          </a:bodyPr>
          <a:lstStyle/>
          <a:p>
            <a:endParaRPr lang="ko-KR" altLang="en-US" sz="2400"/>
          </a:p>
        </p:txBody>
      </p:sp>
      <p:grpSp>
        <p:nvGrpSpPr>
          <p:cNvPr id="7555" name="그룹 7554"/>
          <p:cNvGrpSpPr/>
          <p:nvPr userDrawn="1"/>
        </p:nvGrpSpPr>
        <p:grpSpPr>
          <a:xfrm>
            <a:off x="2436310" y="6779270"/>
            <a:ext cx="609215" cy="522540"/>
            <a:chOff x="1827232" y="3948019"/>
            <a:chExt cx="1460776" cy="1174637"/>
          </a:xfrm>
        </p:grpSpPr>
        <p:sp>
          <p:nvSpPr>
            <p:cNvPr id="1044" name="자유형 1043"/>
            <p:cNvSpPr>
              <a:spLocks/>
            </p:cNvSpPr>
            <p:nvPr/>
          </p:nvSpPr>
          <p:spPr bwMode="auto">
            <a:xfrm rot="2844967">
              <a:off x="1947051" y="4699770"/>
              <a:ext cx="303067" cy="542705"/>
            </a:xfrm>
            <a:custGeom>
              <a:avLst/>
              <a:gdLst>
                <a:gd name="connsiteX0" fmla="*/ 2767 w 303067"/>
                <a:gd name="connsiteY0" fmla="*/ 0 h 542705"/>
                <a:gd name="connsiteX1" fmla="*/ 280925 w 303067"/>
                <a:gd name="connsiteY1" fmla="*/ 0 h 542705"/>
                <a:gd name="connsiteX2" fmla="*/ 303067 w 303067"/>
                <a:gd name="connsiteY2" fmla="*/ 297431 h 542705"/>
                <a:gd name="connsiteX3" fmla="*/ 253248 w 303067"/>
                <a:gd name="connsiteY3" fmla="*/ 252322 h 542705"/>
                <a:gd name="connsiteX4" fmla="*/ 236777 w 303067"/>
                <a:gd name="connsiteY4" fmla="*/ 433345 h 542705"/>
                <a:gd name="connsiteX5" fmla="*/ 154335 w 303067"/>
                <a:gd name="connsiteY5" fmla="*/ 523050 h 542705"/>
                <a:gd name="connsiteX6" fmla="*/ 130083 w 303067"/>
                <a:gd name="connsiteY6" fmla="*/ 315755 h 542705"/>
                <a:gd name="connsiteX7" fmla="*/ 98254 w 303067"/>
                <a:gd name="connsiteY7" fmla="*/ 427116 h 542705"/>
                <a:gd name="connsiteX8" fmla="*/ 76112 w 303067"/>
                <a:gd name="connsiteY8" fmla="*/ 503235 h 542705"/>
                <a:gd name="connsiteX9" fmla="*/ 65041 w 303067"/>
                <a:gd name="connsiteY9" fmla="*/ 542705 h 542705"/>
                <a:gd name="connsiteX10" fmla="*/ 52587 w 303067"/>
                <a:gd name="connsiteY10" fmla="*/ 329852 h 542705"/>
                <a:gd name="connsiteX11" fmla="*/ 41515 w 303067"/>
                <a:gd name="connsiteY11" fmla="*/ 111361 h 542705"/>
                <a:gd name="connsiteX12" fmla="*/ 0 w 303067"/>
                <a:gd name="connsiteY12" fmla="*/ 133914 h 542705"/>
                <a:gd name="connsiteX13" fmla="*/ 2767 w 303067"/>
                <a:gd name="connsiteY13" fmla="*/ 0 h 542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067" h="542705">
                  <a:moveTo>
                    <a:pt x="2767" y="0"/>
                  </a:moveTo>
                  <a:lnTo>
                    <a:pt x="280925" y="0"/>
                  </a:lnTo>
                  <a:lnTo>
                    <a:pt x="303067" y="297431"/>
                  </a:lnTo>
                  <a:lnTo>
                    <a:pt x="253248" y="252322"/>
                  </a:lnTo>
                  <a:lnTo>
                    <a:pt x="236777" y="433345"/>
                  </a:lnTo>
                  <a:lnTo>
                    <a:pt x="154335" y="523050"/>
                  </a:lnTo>
                  <a:lnTo>
                    <a:pt x="130083" y="315755"/>
                  </a:lnTo>
                  <a:lnTo>
                    <a:pt x="98254" y="427116"/>
                  </a:lnTo>
                  <a:lnTo>
                    <a:pt x="76112" y="503235"/>
                  </a:lnTo>
                  <a:lnTo>
                    <a:pt x="65041" y="542705"/>
                  </a:lnTo>
                  <a:lnTo>
                    <a:pt x="52587" y="329852"/>
                  </a:lnTo>
                  <a:lnTo>
                    <a:pt x="41515" y="111361"/>
                  </a:lnTo>
                  <a:lnTo>
                    <a:pt x="0" y="133914"/>
                  </a:lnTo>
                  <a:lnTo>
                    <a:pt x="2767" y="0"/>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ko-KR" altLang="en-US" sz="2400"/>
            </a:p>
          </p:txBody>
        </p:sp>
        <p:sp>
          <p:nvSpPr>
            <p:cNvPr id="997" name="Freeform 487"/>
            <p:cNvSpPr>
              <a:spLocks/>
            </p:cNvSpPr>
            <p:nvPr/>
          </p:nvSpPr>
          <p:spPr bwMode="auto">
            <a:xfrm rot="2844967">
              <a:off x="2207165" y="4288451"/>
              <a:ext cx="232588" cy="281926"/>
            </a:xfrm>
            <a:custGeom>
              <a:avLst/>
              <a:gdLst>
                <a:gd name="T0" fmla="*/ 42 w 165"/>
                <a:gd name="T1" fmla="*/ 199 h 199"/>
                <a:gd name="T2" fmla="*/ 165 w 165"/>
                <a:gd name="T3" fmla="*/ 156 h 199"/>
                <a:gd name="T4" fmla="*/ 159 w 165"/>
                <a:gd name="T5" fmla="*/ 0 h 199"/>
                <a:gd name="T6" fmla="*/ 0 w 165"/>
                <a:gd name="T7" fmla="*/ 99 h 199"/>
                <a:gd name="T8" fmla="*/ 42 w 165"/>
                <a:gd name="T9" fmla="*/ 199 h 199"/>
              </a:gdLst>
              <a:ahLst/>
              <a:cxnLst>
                <a:cxn ang="0">
                  <a:pos x="T0" y="T1"/>
                </a:cxn>
                <a:cxn ang="0">
                  <a:pos x="T2" y="T3"/>
                </a:cxn>
                <a:cxn ang="0">
                  <a:pos x="T4" y="T5"/>
                </a:cxn>
                <a:cxn ang="0">
                  <a:pos x="T6" y="T7"/>
                </a:cxn>
                <a:cxn ang="0">
                  <a:pos x="T8" y="T9"/>
                </a:cxn>
              </a:cxnLst>
              <a:rect l="0" t="0" r="r" b="b"/>
              <a:pathLst>
                <a:path w="165" h="199">
                  <a:moveTo>
                    <a:pt x="42" y="199"/>
                  </a:moveTo>
                  <a:lnTo>
                    <a:pt x="165" y="156"/>
                  </a:lnTo>
                  <a:lnTo>
                    <a:pt x="159" y="0"/>
                  </a:lnTo>
                  <a:lnTo>
                    <a:pt x="0" y="99"/>
                  </a:lnTo>
                  <a:lnTo>
                    <a:pt x="42" y="1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8" name="Rectangle 488"/>
            <p:cNvSpPr>
              <a:spLocks noChangeArrowheads="1"/>
            </p:cNvSpPr>
            <p:nvPr/>
          </p:nvSpPr>
          <p:spPr bwMode="auto">
            <a:xfrm rot="2844967">
              <a:off x="3070368" y="3976130"/>
              <a:ext cx="14096" cy="162107"/>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9" name="Freeform 489"/>
            <p:cNvSpPr>
              <a:spLocks/>
            </p:cNvSpPr>
            <p:nvPr/>
          </p:nvSpPr>
          <p:spPr bwMode="auto">
            <a:xfrm rot="2844967">
              <a:off x="2123467" y="4727200"/>
              <a:ext cx="169153" cy="28192"/>
            </a:xfrm>
            <a:custGeom>
              <a:avLst/>
              <a:gdLst>
                <a:gd name="T0" fmla="*/ 0 w 120"/>
                <a:gd name="T1" fmla="*/ 0 h 20"/>
                <a:gd name="T2" fmla="*/ 0 w 120"/>
                <a:gd name="T3" fmla="*/ 0 h 20"/>
                <a:gd name="T4" fmla="*/ 0 w 120"/>
                <a:gd name="T5" fmla="*/ 3 h 20"/>
                <a:gd name="T6" fmla="*/ 3 w 120"/>
                <a:gd name="T7" fmla="*/ 4 h 20"/>
                <a:gd name="T8" fmla="*/ 9 w 120"/>
                <a:gd name="T9" fmla="*/ 8 h 20"/>
                <a:gd name="T10" fmla="*/ 20 w 120"/>
                <a:gd name="T11" fmla="*/ 11 h 20"/>
                <a:gd name="T12" fmla="*/ 34 w 120"/>
                <a:gd name="T13" fmla="*/ 15 h 20"/>
                <a:gd name="T14" fmla="*/ 53 w 120"/>
                <a:gd name="T15" fmla="*/ 17 h 20"/>
                <a:gd name="T16" fmla="*/ 73 w 120"/>
                <a:gd name="T17" fmla="*/ 19 h 20"/>
                <a:gd name="T18" fmla="*/ 95 w 120"/>
                <a:gd name="T19" fmla="*/ 20 h 20"/>
                <a:gd name="T20" fmla="*/ 120 w 120"/>
                <a:gd name="T21" fmla="*/ 20 h 20"/>
                <a:gd name="T22" fmla="*/ 120 w 120"/>
                <a:gd name="T23" fmla="*/ 0 h 20"/>
                <a:gd name="T24" fmla="*/ 0 w 120"/>
                <a:gd name="T2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0">
                  <a:moveTo>
                    <a:pt x="0" y="0"/>
                  </a:moveTo>
                  <a:lnTo>
                    <a:pt x="0" y="0"/>
                  </a:lnTo>
                  <a:lnTo>
                    <a:pt x="0" y="3"/>
                  </a:lnTo>
                  <a:lnTo>
                    <a:pt x="3" y="4"/>
                  </a:lnTo>
                  <a:lnTo>
                    <a:pt x="9" y="8"/>
                  </a:lnTo>
                  <a:lnTo>
                    <a:pt x="20" y="11"/>
                  </a:lnTo>
                  <a:lnTo>
                    <a:pt x="34" y="15"/>
                  </a:lnTo>
                  <a:lnTo>
                    <a:pt x="53" y="17"/>
                  </a:lnTo>
                  <a:lnTo>
                    <a:pt x="73" y="19"/>
                  </a:lnTo>
                  <a:lnTo>
                    <a:pt x="95" y="20"/>
                  </a:lnTo>
                  <a:lnTo>
                    <a:pt x="120" y="20"/>
                  </a:lnTo>
                  <a:lnTo>
                    <a:pt x="120" y="0"/>
                  </a:lnTo>
                  <a:lnTo>
                    <a:pt x="0"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0" name="Freeform 490"/>
            <p:cNvSpPr>
              <a:spLocks/>
            </p:cNvSpPr>
            <p:nvPr/>
          </p:nvSpPr>
          <p:spPr bwMode="auto">
            <a:xfrm rot="2844967">
              <a:off x="2531430" y="3813894"/>
              <a:ext cx="239633" cy="944446"/>
            </a:xfrm>
            <a:custGeom>
              <a:avLst/>
              <a:gdLst>
                <a:gd name="T0" fmla="*/ 173 w 173"/>
                <a:gd name="T1" fmla="*/ 0 h 669"/>
                <a:gd name="T2" fmla="*/ 173 w 173"/>
                <a:gd name="T3" fmla="*/ 669 h 669"/>
                <a:gd name="T4" fmla="*/ 70 w 173"/>
                <a:gd name="T5" fmla="*/ 669 h 669"/>
                <a:gd name="T6" fmla="*/ 70 w 173"/>
                <a:gd name="T7" fmla="*/ 669 h 669"/>
                <a:gd name="T8" fmla="*/ 67 w 173"/>
                <a:gd name="T9" fmla="*/ 665 h 669"/>
                <a:gd name="T10" fmla="*/ 59 w 173"/>
                <a:gd name="T11" fmla="*/ 651 h 669"/>
                <a:gd name="T12" fmla="*/ 47 w 173"/>
                <a:gd name="T13" fmla="*/ 629 h 669"/>
                <a:gd name="T14" fmla="*/ 35 w 173"/>
                <a:gd name="T15" fmla="*/ 599 h 669"/>
                <a:gd name="T16" fmla="*/ 28 w 173"/>
                <a:gd name="T17" fmla="*/ 580 h 669"/>
                <a:gd name="T18" fmla="*/ 22 w 173"/>
                <a:gd name="T19" fmla="*/ 560 h 669"/>
                <a:gd name="T20" fmla="*/ 15 w 173"/>
                <a:gd name="T21" fmla="*/ 538 h 669"/>
                <a:gd name="T22" fmla="*/ 11 w 173"/>
                <a:gd name="T23" fmla="*/ 513 h 669"/>
                <a:gd name="T24" fmla="*/ 6 w 173"/>
                <a:gd name="T25" fmla="*/ 487 h 669"/>
                <a:gd name="T26" fmla="*/ 2 w 173"/>
                <a:gd name="T27" fmla="*/ 458 h 669"/>
                <a:gd name="T28" fmla="*/ 1 w 173"/>
                <a:gd name="T29" fmla="*/ 429 h 669"/>
                <a:gd name="T30" fmla="*/ 0 w 173"/>
                <a:gd name="T31" fmla="*/ 398 h 669"/>
                <a:gd name="T32" fmla="*/ 0 w 173"/>
                <a:gd name="T33" fmla="*/ 398 h 669"/>
                <a:gd name="T34" fmla="*/ 0 w 173"/>
                <a:gd name="T35" fmla="*/ 382 h 669"/>
                <a:gd name="T36" fmla="*/ 1 w 173"/>
                <a:gd name="T37" fmla="*/ 365 h 669"/>
                <a:gd name="T38" fmla="*/ 6 w 173"/>
                <a:gd name="T39" fmla="*/ 330 h 669"/>
                <a:gd name="T40" fmla="*/ 13 w 173"/>
                <a:gd name="T41" fmla="*/ 296 h 669"/>
                <a:gd name="T42" fmla="*/ 22 w 173"/>
                <a:gd name="T43" fmla="*/ 262 h 669"/>
                <a:gd name="T44" fmla="*/ 34 w 173"/>
                <a:gd name="T45" fmla="*/ 229 h 669"/>
                <a:gd name="T46" fmla="*/ 46 w 173"/>
                <a:gd name="T47" fmla="*/ 196 h 669"/>
                <a:gd name="T48" fmla="*/ 59 w 173"/>
                <a:gd name="T49" fmla="*/ 165 h 669"/>
                <a:gd name="T50" fmla="*/ 74 w 173"/>
                <a:gd name="T51" fmla="*/ 134 h 669"/>
                <a:gd name="T52" fmla="*/ 89 w 173"/>
                <a:gd name="T53" fmla="*/ 106 h 669"/>
                <a:gd name="T54" fmla="*/ 103 w 173"/>
                <a:gd name="T55" fmla="*/ 81 h 669"/>
                <a:gd name="T56" fmla="*/ 118 w 173"/>
                <a:gd name="T57" fmla="*/ 57 h 669"/>
                <a:gd name="T58" fmla="*/ 133 w 173"/>
                <a:gd name="T59" fmla="*/ 38 h 669"/>
                <a:gd name="T60" fmla="*/ 145 w 173"/>
                <a:gd name="T61" fmla="*/ 22 h 669"/>
                <a:gd name="T62" fmla="*/ 156 w 173"/>
                <a:gd name="T63" fmla="*/ 11 h 669"/>
                <a:gd name="T64" fmla="*/ 165 w 173"/>
                <a:gd name="T65" fmla="*/ 4 h 669"/>
                <a:gd name="T66" fmla="*/ 169 w 173"/>
                <a:gd name="T67" fmla="*/ 1 h 669"/>
                <a:gd name="T68" fmla="*/ 173 w 173"/>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669">
                  <a:moveTo>
                    <a:pt x="173" y="0"/>
                  </a:moveTo>
                  <a:lnTo>
                    <a:pt x="173" y="669"/>
                  </a:lnTo>
                  <a:lnTo>
                    <a:pt x="70" y="669"/>
                  </a:lnTo>
                  <a:lnTo>
                    <a:pt x="70" y="669"/>
                  </a:lnTo>
                  <a:lnTo>
                    <a:pt x="67" y="665"/>
                  </a:lnTo>
                  <a:lnTo>
                    <a:pt x="59" y="651"/>
                  </a:lnTo>
                  <a:lnTo>
                    <a:pt x="47" y="629"/>
                  </a:lnTo>
                  <a:lnTo>
                    <a:pt x="35" y="599"/>
                  </a:lnTo>
                  <a:lnTo>
                    <a:pt x="28" y="580"/>
                  </a:lnTo>
                  <a:lnTo>
                    <a:pt x="22" y="560"/>
                  </a:lnTo>
                  <a:lnTo>
                    <a:pt x="15" y="538"/>
                  </a:lnTo>
                  <a:lnTo>
                    <a:pt x="11" y="513"/>
                  </a:lnTo>
                  <a:lnTo>
                    <a:pt x="6" y="487"/>
                  </a:lnTo>
                  <a:lnTo>
                    <a:pt x="2" y="458"/>
                  </a:lnTo>
                  <a:lnTo>
                    <a:pt x="1" y="429"/>
                  </a:lnTo>
                  <a:lnTo>
                    <a:pt x="0" y="398"/>
                  </a:lnTo>
                  <a:lnTo>
                    <a:pt x="0" y="398"/>
                  </a:lnTo>
                  <a:lnTo>
                    <a:pt x="0" y="382"/>
                  </a:lnTo>
                  <a:lnTo>
                    <a:pt x="1" y="365"/>
                  </a:lnTo>
                  <a:lnTo>
                    <a:pt x="6" y="330"/>
                  </a:lnTo>
                  <a:lnTo>
                    <a:pt x="13" y="296"/>
                  </a:lnTo>
                  <a:lnTo>
                    <a:pt x="22" y="262"/>
                  </a:lnTo>
                  <a:lnTo>
                    <a:pt x="34" y="229"/>
                  </a:lnTo>
                  <a:lnTo>
                    <a:pt x="46" y="196"/>
                  </a:lnTo>
                  <a:lnTo>
                    <a:pt x="59" y="165"/>
                  </a:lnTo>
                  <a:lnTo>
                    <a:pt x="74" y="134"/>
                  </a:lnTo>
                  <a:lnTo>
                    <a:pt x="89" y="106"/>
                  </a:lnTo>
                  <a:lnTo>
                    <a:pt x="103" y="81"/>
                  </a:lnTo>
                  <a:lnTo>
                    <a:pt x="118" y="57"/>
                  </a:lnTo>
                  <a:lnTo>
                    <a:pt x="133" y="38"/>
                  </a:lnTo>
                  <a:lnTo>
                    <a:pt x="145" y="22"/>
                  </a:lnTo>
                  <a:lnTo>
                    <a:pt x="156" y="11"/>
                  </a:lnTo>
                  <a:lnTo>
                    <a:pt x="165" y="4"/>
                  </a:lnTo>
                  <a:lnTo>
                    <a:pt x="169" y="1"/>
                  </a:lnTo>
                  <a:lnTo>
                    <a:pt x="17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1" name="Freeform 491"/>
            <p:cNvSpPr>
              <a:spLocks/>
            </p:cNvSpPr>
            <p:nvPr/>
          </p:nvSpPr>
          <p:spPr bwMode="auto">
            <a:xfrm rot="2844967">
              <a:off x="2531430" y="3813894"/>
              <a:ext cx="239633" cy="944446"/>
            </a:xfrm>
            <a:custGeom>
              <a:avLst/>
              <a:gdLst>
                <a:gd name="T0" fmla="*/ 173 w 173"/>
                <a:gd name="T1" fmla="*/ 0 h 669"/>
                <a:gd name="T2" fmla="*/ 173 w 173"/>
                <a:gd name="T3" fmla="*/ 669 h 669"/>
                <a:gd name="T4" fmla="*/ 70 w 173"/>
                <a:gd name="T5" fmla="*/ 669 h 669"/>
                <a:gd name="T6" fmla="*/ 70 w 173"/>
                <a:gd name="T7" fmla="*/ 669 h 669"/>
                <a:gd name="T8" fmla="*/ 67 w 173"/>
                <a:gd name="T9" fmla="*/ 665 h 669"/>
                <a:gd name="T10" fmla="*/ 59 w 173"/>
                <a:gd name="T11" fmla="*/ 651 h 669"/>
                <a:gd name="T12" fmla="*/ 47 w 173"/>
                <a:gd name="T13" fmla="*/ 629 h 669"/>
                <a:gd name="T14" fmla="*/ 35 w 173"/>
                <a:gd name="T15" fmla="*/ 599 h 669"/>
                <a:gd name="T16" fmla="*/ 28 w 173"/>
                <a:gd name="T17" fmla="*/ 580 h 669"/>
                <a:gd name="T18" fmla="*/ 22 w 173"/>
                <a:gd name="T19" fmla="*/ 560 h 669"/>
                <a:gd name="T20" fmla="*/ 15 w 173"/>
                <a:gd name="T21" fmla="*/ 538 h 669"/>
                <a:gd name="T22" fmla="*/ 11 w 173"/>
                <a:gd name="T23" fmla="*/ 513 h 669"/>
                <a:gd name="T24" fmla="*/ 6 w 173"/>
                <a:gd name="T25" fmla="*/ 487 h 669"/>
                <a:gd name="T26" fmla="*/ 2 w 173"/>
                <a:gd name="T27" fmla="*/ 458 h 669"/>
                <a:gd name="T28" fmla="*/ 1 w 173"/>
                <a:gd name="T29" fmla="*/ 429 h 669"/>
                <a:gd name="T30" fmla="*/ 0 w 173"/>
                <a:gd name="T31" fmla="*/ 398 h 669"/>
                <a:gd name="T32" fmla="*/ 0 w 173"/>
                <a:gd name="T33" fmla="*/ 398 h 669"/>
                <a:gd name="T34" fmla="*/ 0 w 173"/>
                <a:gd name="T35" fmla="*/ 382 h 669"/>
                <a:gd name="T36" fmla="*/ 1 w 173"/>
                <a:gd name="T37" fmla="*/ 365 h 669"/>
                <a:gd name="T38" fmla="*/ 6 w 173"/>
                <a:gd name="T39" fmla="*/ 330 h 669"/>
                <a:gd name="T40" fmla="*/ 13 w 173"/>
                <a:gd name="T41" fmla="*/ 296 h 669"/>
                <a:gd name="T42" fmla="*/ 22 w 173"/>
                <a:gd name="T43" fmla="*/ 262 h 669"/>
                <a:gd name="T44" fmla="*/ 34 w 173"/>
                <a:gd name="T45" fmla="*/ 229 h 669"/>
                <a:gd name="T46" fmla="*/ 46 w 173"/>
                <a:gd name="T47" fmla="*/ 196 h 669"/>
                <a:gd name="T48" fmla="*/ 59 w 173"/>
                <a:gd name="T49" fmla="*/ 165 h 669"/>
                <a:gd name="T50" fmla="*/ 74 w 173"/>
                <a:gd name="T51" fmla="*/ 134 h 669"/>
                <a:gd name="T52" fmla="*/ 89 w 173"/>
                <a:gd name="T53" fmla="*/ 106 h 669"/>
                <a:gd name="T54" fmla="*/ 103 w 173"/>
                <a:gd name="T55" fmla="*/ 81 h 669"/>
                <a:gd name="T56" fmla="*/ 118 w 173"/>
                <a:gd name="T57" fmla="*/ 57 h 669"/>
                <a:gd name="T58" fmla="*/ 133 w 173"/>
                <a:gd name="T59" fmla="*/ 38 h 669"/>
                <a:gd name="T60" fmla="*/ 145 w 173"/>
                <a:gd name="T61" fmla="*/ 22 h 669"/>
                <a:gd name="T62" fmla="*/ 156 w 173"/>
                <a:gd name="T63" fmla="*/ 11 h 669"/>
                <a:gd name="T64" fmla="*/ 165 w 173"/>
                <a:gd name="T65" fmla="*/ 4 h 669"/>
                <a:gd name="T66" fmla="*/ 169 w 173"/>
                <a:gd name="T67" fmla="*/ 1 h 669"/>
                <a:gd name="T68" fmla="*/ 173 w 173"/>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669">
                  <a:moveTo>
                    <a:pt x="173" y="0"/>
                  </a:moveTo>
                  <a:lnTo>
                    <a:pt x="173" y="669"/>
                  </a:lnTo>
                  <a:lnTo>
                    <a:pt x="70" y="669"/>
                  </a:lnTo>
                  <a:lnTo>
                    <a:pt x="70" y="669"/>
                  </a:lnTo>
                  <a:lnTo>
                    <a:pt x="67" y="665"/>
                  </a:lnTo>
                  <a:lnTo>
                    <a:pt x="59" y="651"/>
                  </a:lnTo>
                  <a:lnTo>
                    <a:pt x="47" y="629"/>
                  </a:lnTo>
                  <a:lnTo>
                    <a:pt x="35" y="599"/>
                  </a:lnTo>
                  <a:lnTo>
                    <a:pt x="28" y="580"/>
                  </a:lnTo>
                  <a:lnTo>
                    <a:pt x="22" y="560"/>
                  </a:lnTo>
                  <a:lnTo>
                    <a:pt x="15" y="538"/>
                  </a:lnTo>
                  <a:lnTo>
                    <a:pt x="11" y="513"/>
                  </a:lnTo>
                  <a:lnTo>
                    <a:pt x="6" y="487"/>
                  </a:lnTo>
                  <a:lnTo>
                    <a:pt x="2" y="458"/>
                  </a:lnTo>
                  <a:lnTo>
                    <a:pt x="1" y="429"/>
                  </a:lnTo>
                  <a:lnTo>
                    <a:pt x="0" y="398"/>
                  </a:lnTo>
                  <a:lnTo>
                    <a:pt x="0" y="398"/>
                  </a:lnTo>
                  <a:lnTo>
                    <a:pt x="0" y="382"/>
                  </a:lnTo>
                  <a:lnTo>
                    <a:pt x="1" y="365"/>
                  </a:lnTo>
                  <a:lnTo>
                    <a:pt x="6" y="330"/>
                  </a:lnTo>
                  <a:lnTo>
                    <a:pt x="13" y="296"/>
                  </a:lnTo>
                  <a:lnTo>
                    <a:pt x="22" y="262"/>
                  </a:lnTo>
                  <a:lnTo>
                    <a:pt x="34" y="229"/>
                  </a:lnTo>
                  <a:lnTo>
                    <a:pt x="46" y="196"/>
                  </a:lnTo>
                  <a:lnTo>
                    <a:pt x="59" y="165"/>
                  </a:lnTo>
                  <a:lnTo>
                    <a:pt x="74" y="134"/>
                  </a:lnTo>
                  <a:lnTo>
                    <a:pt x="89" y="106"/>
                  </a:lnTo>
                  <a:lnTo>
                    <a:pt x="103" y="81"/>
                  </a:lnTo>
                  <a:lnTo>
                    <a:pt x="118" y="57"/>
                  </a:lnTo>
                  <a:lnTo>
                    <a:pt x="133" y="38"/>
                  </a:lnTo>
                  <a:lnTo>
                    <a:pt x="145" y="22"/>
                  </a:lnTo>
                  <a:lnTo>
                    <a:pt x="156" y="11"/>
                  </a:lnTo>
                  <a:lnTo>
                    <a:pt x="165" y="4"/>
                  </a:lnTo>
                  <a:lnTo>
                    <a:pt x="169" y="1"/>
                  </a:lnTo>
                  <a:lnTo>
                    <a:pt x="17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2" name="Freeform 492"/>
            <p:cNvSpPr>
              <a:spLocks/>
            </p:cNvSpPr>
            <p:nvPr/>
          </p:nvSpPr>
          <p:spPr bwMode="auto">
            <a:xfrm rot="2844967">
              <a:off x="2909509" y="3979923"/>
              <a:ext cx="119819" cy="190299"/>
            </a:xfrm>
            <a:custGeom>
              <a:avLst/>
              <a:gdLst>
                <a:gd name="T0" fmla="*/ 0 w 88"/>
                <a:gd name="T1" fmla="*/ 113 h 132"/>
                <a:gd name="T2" fmla="*/ 0 w 88"/>
                <a:gd name="T3" fmla="*/ 113 h 132"/>
                <a:gd name="T4" fmla="*/ 19 w 88"/>
                <a:gd name="T5" fmla="*/ 121 h 132"/>
                <a:gd name="T6" fmla="*/ 41 w 88"/>
                <a:gd name="T7" fmla="*/ 127 h 132"/>
                <a:gd name="T8" fmla="*/ 65 w 88"/>
                <a:gd name="T9" fmla="*/ 131 h 132"/>
                <a:gd name="T10" fmla="*/ 88 w 88"/>
                <a:gd name="T11" fmla="*/ 132 h 132"/>
                <a:gd name="T12" fmla="*/ 88 w 88"/>
                <a:gd name="T13" fmla="*/ 0 h 132"/>
                <a:gd name="T14" fmla="*/ 88 w 88"/>
                <a:gd name="T15" fmla="*/ 0 h 132"/>
                <a:gd name="T16" fmla="*/ 85 w 88"/>
                <a:gd name="T17" fmla="*/ 1 h 132"/>
                <a:gd name="T18" fmla="*/ 82 w 88"/>
                <a:gd name="T19" fmla="*/ 3 h 132"/>
                <a:gd name="T20" fmla="*/ 73 w 88"/>
                <a:gd name="T21" fmla="*/ 9 h 132"/>
                <a:gd name="T22" fmla="*/ 63 w 88"/>
                <a:gd name="T23" fmla="*/ 18 h 132"/>
                <a:gd name="T24" fmla="*/ 52 w 88"/>
                <a:gd name="T25" fmla="*/ 32 h 132"/>
                <a:gd name="T26" fmla="*/ 40 w 88"/>
                <a:gd name="T27" fmla="*/ 49 h 132"/>
                <a:gd name="T28" fmla="*/ 27 w 88"/>
                <a:gd name="T29" fmla="*/ 67 h 132"/>
                <a:gd name="T30" fmla="*/ 13 w 88"/>
                <a:gd name="T31" fmla="*/ 89 h 132"/>
                <a:gd name="T32" fmla="*/ 0 w 88"/>
                <a:gd name="T33" fmla="*/ 113 h 132"/>
                <a:gd name="T34" fmla="*/ 0 w 88"/>
                <a:gd name="T35" fmla="*/ 11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132">
                  <a:moveTo>
                    <a:pt x="0" y="113"/>
                  </a:moveTo>
                  <a:lnTo>
                    <a:pt x="0" y="113"/>
                  </a:lnTo>
                  <a:lnTo>
                    <a:pt x="19" y="121"/>
                  </a:lnTo>
                  <a:lnTo>
                    <a:pt x="41" y="127"/>
                  </a:lnTo>
                  <a:lnTo>
                    <a:pt x="65" y="131"/>
                  </a:lnTo>
                  <a:lnTo>
                    <a:pt x="88" y="132"/>
                  </a:lnTo>
                  <a:lnTo>
                    <a:pt x="88" y="0"/>
                  </a:lnTo>
                  <a:lnTo>
                    <a:pt x="88" y="0"/>
                  </a:lnTo>
                  <a:lnTo>
                    <a:pt x="85" y="1"/>
                  </a:lnTo>
                  <a:lnTo>
                    <a:pt x="82" y="3"/>
                  </a:lnTo>
                  <a:lnTo>
                    <a:pt x="73" y="9"/>
                  </a:lnTo>
                  <a:lnTo>
                    <a:pt x="63" y="18"/>
                  </a:lnTo>
                  <a:lnTo>
                    <a:pt x="52" y="32"/>
                  </a:lnTo>
                  <a:lnTo>
                    <a:pt x="40" y="49"/>
                  </a:lnTo>
                  <a:lnTo>
                    <a:pt x="27" y="67"/>
                  </a:lnTo>
                  <a:lnTo>
                    <a:pt x="13" y="89"/>
                  </a:lnTo>
                  <a:lnTo>
                    <a:pt x="0" y="113"/>
                  </a:lnTo>
                  <a:lnTo>
                    <a:pt x="0" y="11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3" name="Freeform 493"/>
            <p:cNvSpPr>
              <a:spLocks/>
            </p:cNvSpPr>
            <p:nvPr/>
          </p:nvSpPr>
          <p:spPr bwMode="auto">
            <a:xfrm rot="2844967">
              <a:off x="2059911" y="4312130"/>
              <a:ext cx="169153" cy="324214"/>
            </a:xfrm>
            <a:custGeom>
              <a:avLst/>
              <a:gdLst>
                <a:gd name="T0" fmla="*/ 108 w 119"/>
                <a:gd name="T1" fmla="*/ 234 h 234"/>
                <a:gd name="T2" fmla="*/ 119 w 119"/>
                <a:gd name="T3" fmla="*/ 189 h 234"/>
                <a:gd name="T4" fmla="*/ 37 w 119"/>
                <a:gd name="T5" fmla="*/ 0 h 234"/>
                <a:gd name="T6" fmla="*/ 0 w 119"/>
                <a:gd name="T7" fmla="*/ 23 h 234"/>
                <a:gd name="T8" fmla="*/ 108 w 119"/>
                <a:gd name="T9" fmla="*/ 234 h 234"/>
              </a:gdLst>
              <a:ahLst/>
              <a:cxnLst>
                <a:cxn ang="0">
                  <a:pos x="T0" y="T1"/>
                </a:cxn>
                <a:cxn ang="0">
                  <a:pos x="T2" y="T3"/>
                </a:cxn>
                <a:cxn ang="0">
                  <a:pos x="T4" y="T5"/>
                </a:cxn>
                <a:cxn ang="0">
                  <a:pos x="T6" y="T7"/>
                </a:cxn>
                <a:cxn ang="0">
                  <a:pos x="T8" y="T9"/>
                </a:cxn>
              </a:cxnLst>
              <a:rect l="0" t="0" r="r" b="b"/>
              <a:pathLst>
                <a:path w="119" h="234">
                  <a:moveTo>
                    <a:pt x="108" y="234"/>
                  </a:moveTo>
                  <a:lnTo>
                    <a:pt x="119" y="189"/>
                  </a:lnTo>
                  <a:lnTo>
                    <a:pt x="37" y="0"/>
                  </a:lnTo>
                  <a:lnTo>
                    <a:pt x="0" y="23"/>
                  </a:lnTo>
                  <a:lnTo>
                    <a:pt x="108" y="234"/>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4" name="Freeform 494"/>
            <p:cNvSpPr>
              <a:spLocks/>
            </p:cNvSpPr>
            <p:nvPr/>
          </p:nvSpPr>
          <p:spPr bwMode="auto">
            <a:xfrm rot="2844967">
              <a:off x="2585168" y="4253334"/>
              <a:ext cx="119819" cy="239633"/>
            </a:xfrm>
            <a:custGeom>
              <a:avLst/>
              <a:gdLst>
                <a:gd name="T0" fmla="*/ 84 w 84"/>
                <a:gd name="T1" fmla="*/ 0 h 168"/>
                <a:gd name="T2" fmla="*/ 67 w 84"/>
                <a:gd name="T3" fmla="*/ 1 h 168"/>
                <a:gd name="T4" fmla="*/ 51 w 84"/>
                <a:gd name="T5" fmla="*/ 6 h 168"/>
                <a:gd name="T6" fmla="*/ 37 w 84"/>
                <a:gd name="T7" fmla="*/ 15 h 168"/>
                <a:gd name="T8" fmla="*/ 24 w 84"/>
                <a:gd name="T9" fmla="*/ 24 h 168"/>
                <a:gd name="T10" fmla="*/ 14 w 84"/>
                <a:gd name="T11" fmla="*/ 36 h 168"/>
                <a:gd name="T12" fmla="*/ 7 w 84"/>
                <a:gd name="T13" fmla="*/ 51 h 168"/>
                <a:gd name="T14" fmla="*/ 2 w 84"/>
                <a:gd name="T15" fmla="*/ 67 h 168"/>
                <a:gd name="T16" fmla="*/ 0 w 84"/>
                <a:gd name="T17" fmla="*/ 84 h 168"/>
                <a:gd name="T18" fmla="*/ 1 w 84"/>
                <a:gd name="T19" fmla="*/ 93 h 168"/>
                <a:gd name="T20" fmla="*/ 3 w 84"/>
                <a:gd name="T21" fmla="*/ 108 h 168"/>
                <a:gd name="T22" fmla="*/ 9 w 84"/>
                <a:gd name="T23" fmla="*/ 124 h 168"/>
                <a:gd name="T24" fmla="*/ 19 w 84"/>
                <a:gd name="T25" fmla="*/ 138 h 168"/>
                <a:gd name="T26" fmla="*/ 30 w 84"/>
                <a:gd name="T27" fmla="*/ 149 h 168"/>
                <a:gd name="T28" fmla="*/ 44 w 84"/>
                <a:gd name="T29" fmla="*/ 157 h 168"/>
                <a:gd name="T30" fmla="*/ 59 w 84"/>
                <a:gd name="T31" fmla="*/ 163 h 168"/>
                <a:gd name="T32" fmla="*/ 75 w 84"/>
                <a:gd name="T33" fmla="*/ 167 h 168"/>
                <a:gd name="T34" fmla="*/ 84 w 84"/>
                <a:gd name="T35" fmla="*/ 158 h 168"/>
                <a:gd name="T36" fmla="*/ 76 w 84"/>
                <a:gd name="T37" fmla="*/ 158 h 168"/>
                <a:gd name="T38" fmla="*/ 62 w 84"/>
                <a:gd name="T39" fmla="*/ 156 h 168"/>
                <a:gd name="T40" fmla="*/ 42 w 84"/>
                <a:gd name="T41" fmla="*/ 146 h 168"/>
                <a:gd name="T42" fmla="*/ 22 w 84"/>
                <a:gd name="T43" fmla="*/ 125 h 168"/>
                <a:gd name="T44" fmla="*/ 12 w 84"/>
                <a:gd name="T45" fmla="*/ 106 h 168"/>
                <a:gd name="T46" fmla="*/ 9 w 84"/>
                <a:gd name="T47" fmla="*/ 91 h 168"/>
                <a:gd name="T48" fmla="*/ 8 w 84"/>
                <a:gd name="T49" fmla="*/ 84 h 168"/>
                <a:gd name="T50" fmla="*/ 8 w 84"/>
                <a:gd name="T51" fmla="*/ 84 h 168"/>
                <a:gd name="T52" fmla="*/ 9 w 84"/>
                <a:gd name="T53" fmla="*/ 75 h 168"/>
                <a:gd name="T54" fmla="*/ 12 w 84"/>
                <a:gd name="T55" fmla="*/ 61 h 168"/>
                <a:gd name="T56" fmla="*/ 22 w 84"/>
                <a:gd name="T57" fmla="*/ 41 h 168"/>
                <a:gd name="T58" fmla="*/ 42 w 84"/>
                <a:gd name="T59" fmla="*/ 22 h 168"/>
                <a:gd name="T60" fmla="*/ 62 w 84"/>
                <a:gd name="T61" fmla="*/ 12 h 168"/>
                <a:gd name="T62" fmla="*/ 76 w 84"/>
                <a:gd name="T63" fmla="*/ 8 h 168"/>
                <a:gd name="T64" fmla="*/ 84 w 84"/>
                <a:gd name="T6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4" h="168">
                  <a:moveTo>
                    <a:pt x="84" y="0"/>
                  </a:moveTo>
                  <a:lnTo>
                    <a:pt x="84" y="0"/>
                  </a:lnTo>
                  <a:lnTo>
                    <a:pt x="75" y="0"/>
                  </a:lnTo>
                  <a:lnTo>
                    <a:pt x="67" y="1"/>
                  </a:lnTo>
                  <a:lnTo>
                    <a:pt x="59" y="4"/>
                  </a:lnTo>
                  <a:lnTo>
                    <a:pt x="51" y="6"/>
                  </a:lnTo>
                  <a:lnTo>
                    <a:pt x="44" y="10"/>
                  </a:lnTo>
                  <a:lnTo>
                    <a:pt x="37" y="15"/>
                  </a:lnTo>
                  <a:lnTo>
                    <a:pt x="30" y="19"/>
                  </a:lnTo>
                  <a:lnTo>
                    <a:pt x="24" y="24"/>
                  </a:lnTo>
                  <a:lnTo>
                    <a:pt x="19" y="30"/>
                  </a:lnTo>
                  <a:lnTo>
                    <a:pt x="14" y="36"/>
                  </a:lnTo>
                  <a:lnTo>
                    <a:pt x="9" y="44"/>
                  </a:lnTo>
                  <a:lnTo>
                    <a:pt x="7" y="51"/>
                  </a:lnTo>
                  <a:lnTo>
                    <a:pt x="3" y="58"/>
                  </a:lnTo>
                  <a:lnTo>
                    <a:pt x="2" y="67"/>
                  </a:lnTo>
                  <a:lnTo>
                    <a:pt x="1" y="75"/>
                  </a:lnTo>
                  <a:lnTo>
                    <a:pt x="0" y="84"/>
                  </a:lnTo>
                  <a:lnTo>
                    <a:pt x="0" y="84"/>
                  </a:lnTo>
                  <a:lnTo>
                    <a:pt x="1" y="93"/>
                  </a:lnTo>
                  <a:lnTo>
                    <a:pt x="2" y="101"/>
                  </a:lnTo>
                  <a:lnTo>
                    <a:pt x="3" y="108"/>
                  </a:lnTo>
                  <a:lnTo>
                    <a:pt x="7" y="117"/>
                  </a:lnTo>
                  <a:lnTo>
                    <a:pt x="9" y="124"/>
                  </a:lnTo>
                  <a:lnTo>
                    <a:pt x="14" y="130"/>
                  </a:lnTo>
                  <a:lnTo>
                    <a:pt x="19" y="138"/>
                  </a:lnTo>
                  <a:lnTo>
                    <a:pt x="24" y="143"/>
                  </a:lnTo>
                  <a:lnTo>
                    <a:pt x="30" y="149"/>
                  </a:lnTo>
                  <a:lnTo>
                    <a:pt x="37" y="154"/>
                  </a:lnTo>
                  <a:lnTo>
                    <a:pt x="44" y="157"/>
                  </a:lnTo>
                  <a:lnTo>
                    <a:pt x="51" y="161"/>
                  </a:lnTo>
                  <a:lnTo>
                    <a:pt x="59" y="163"/>
                  </a:lnTo>
                  <a:lnTo>
                    <a:pt x="67" y="166"/>
                  </a:lnTo>
                  <a:lnTo>
                    <a:pt x="75" y="167"/>
                  </a:lnTo>
                  <a:lnTo>
                    <a:pt x="84" y="168"/>
                  </a:lnTo>
                  <a:lnTo>
                    <a:pt x="84" y="158"/>
                  </a:lnTo>
                  <a:lnTo>
                    <a:pt x="84" y="158"/>
                  </a:lnTo>
                  <a:lnTo>
                    <a:pt x="76" y="158"/>
                  </a:lnTo>
                  <a:lnTo>
                    <a:pt x="69" y="157"/>
                  </a:lnTo>
                  <a:lnTo>
                    <a:pt x="62" y="156"/>
                  </a:lnTo>
                  <a:lnTo>
                    <a:pt x="54" y="152"/>
                  </a:lnTo>
                  <a:lnTo>
                    <a:pt x="42" y="146"/>
                  </a:lnTo>
                  <a:lnTo>
                    <a:pt x="30" y="136"/>
                  </a:lnTo>
                  <a:lnTo>
                    <a:pt x="22" y="125"/>
                  </a:lnTo>
                  <a:lnTo>
                    <a:pt x="14" y="113"/>
                  </a:lnTo>
                  <a:lnTo>
                    <a:pt x="12" y="106"/>
                  </a:lnTo>
                  <a:lnTo>
                    <a:pt x="11" y="99"/>
                  </a:lnTo>
                  <a:lnTo>
                    <a:pt x="9" y="91"/>
                  </a:lnTo>
                  <a:lnTo>
                    <a:pt x="8" y="84"/>
                  </a:lnTo>
                  <a:lnTo>
                    <a:pt x="8" y="84"/>
                  </a:lnTo>
                  <a:lnTo>
                    <a:pt x="8" y="84"/>
                  </a:lnTo>
                  <a:lnTo>
                    <a:pt x="8" y="84"/>
                  </a:lnTo>
                  <a:lnTo>
                    <a:pt x="8" y="84"/>
                  </a:lnTo>
                  <a:lnTo>
                    <a:pt x="9" y="75"/>
                  </a:lnTo>
                  <a:lnTo>
                    <a:pt x="11" y="68"/>
                  </a:lnTo>
                  <a:lnTo>
                    <a:pt x="12" y="61"/>
                  </a:lnTo>
                  <a:lnTo>
                    <a:pt x="14" y="55"/>
                  </a:lnTo>
                  <a:lnTo>
                    <a:pt x="22" y="41"/>
                  </a:lnTo>
                  <a:lnTo>
                    <a:pt x="30" y="30"/>
                  </a:lnTo>
                  <a:lnTo>
                    <a:pt x="42" y="22"/>
                  </a:lnTo>
                  <a:lnTo>
                    <a:pt x="54" y="15"/>
                  </a:lnTo>
                  <a:lnTo>
                    <a:pt x="62" y="12"/>
                  </a:lnTo>
                  <a:lnTo>
                    <a:pt x="69" y="10"/>
                  </a:lnTo>
                  <a:lnTo>
                    <a:pt x="76" y="8"/>
                  </a:lnTo>
                  <a:lnTo>
                    <a:pt x="84" y="8"/>
                  </a:lnTo>
                  <a:lnTo>
                    <a:pt x="84"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5" name="Freeform 495"/>
            <p:cNvSpPr>
              <a:spLocks/>
            </p:cNvSpPr>
            <p:nvPr/>
          </p:nvSpPr>
          <p:spPr bwMode="auto">
            <a:xfrm rot="2844967">
              <a:off x="2585168" y="4253334"/>
              <a:ext cx="119819" cy="239633"/>
            </a:xfrm>
            <a:custGeom>
              <a:avLst/>
              <a:gdLst>
                <a:gd name="T0" fmla="*/ 84 w 84"/>
                <a:gd name="T1" fmla="*/ 0 h 168"/>
                <a:gd name="T2" fmla="*/ 67 w 84"/>
                <a:gd name="T3" fmla="*/ 1 h 168"/>
                <a:gd name="T4" fmla="*/ 51 w 84"/>
                <a:gd name="T5" fmla="*/ 6 h 168"/>
                <a:gd name="T6" fmla="*/ 37 w 84"/>
                <a:gd name="T7" fmla="*/ 15 h 168"/>
                <a:gd name="T8" fmla="*/ 24 w 84"/>
                <a:gd name="T9" fmla="*/ 24 h 168"/>
                <a:gd name="T10" fmla="*/ 14 w 84"/>
                <a:gd name="T11" fmla="*/ 36 h 168"/>
                <a:gd name="T12" fmla="*/ 7 w 84"/>
                <a:gd name="T13" fmla="*/ 51 h 168"/>
                <a:gd name="T14" fmla="*/ 2 w 84"/>
                <a:gd name="T15" fmla="*/ 67 h 168"/>
                <a:gd name="T16" fmla="*/ 0 w 84"/>
                <a:gd name="T17" fmla="*/ 84 h 168"/>
                <a:gd name="T18" fmla="*/ 1 w 84"/>
                <a:gd name="T19" fmla="*/ 93 h 168"/>
                <a:gd name="T20" fmla="*/ 3 w 84"/>
                <a:gd name="T21" fmla="*/ 108 h 168"/>
                <a:gd name="T22" fmla="*/ 9 w 84"/>
                <a:gd name="T23" fmla="*/ 124 h 168"/>
                <a:gd name="T24" fmla="*/ 19 w 84"/>
                <a:gd name="T25" fmla="*/ 138 h 168"/>
                <a:gd name="T26" fmla="*/ 30 w 84"/>
                <a:gd name="T27" fmla="*/ 149 h 168"/>
                <a:gd name="T28" fmla="*/ 44 w 84"/>
                <a:gd name="T29" fmla="*/ 157 h 168"/>
                <a:gd name="T30" fmla="*/ 59 w 84"/>
                <a:gd name="T31" fmla="*/ 163 h 168"/>
                <a:gd name="T32" fmla="*/ 75 w 84"/>
                <a:gd name="T33" fmla="*/ 167 h 168"/>
                <a:gd name="T34" fmla="*/ 84 w 84"/>
                <a:gd name="T35" fmla="*/ 158 h 168"/>
                <a:gd name="T36" fmla="*/ 76 w 84"/>
                <a:gd name="T37" fmla="*/ 158 h 168"/>
                <a:gd name="T38" fmla="*/ 62 w 84"/>
                <a:gd name="T39" fmla="*/ 156 h 168"/>
                <a:gd name="T40" fmla="*/ 42 w 84"/>
                <a:gd name="T41" fmla="*/ 146 h 168"/>
                <a:gd name="T42" fmla="*/ 22 w 84"/>
                <a:gd name="T43" fmla="*/ 125 h 168"/>
                <a:gd name="T44" fmla="*/ 12 w 84"/>
                <a:gd name="T45" fmla="*/ 106 h 168"/>
                <a:gd name="T46" fmla="*/ 9 w 84"/>
                <a:gd name="T47" fmla="*/ 91 h 168"/>
                <a:gd name="T48" fmla="*/ 8 w 84"/>
                <a:gd name="T49" fmla="*/ 84 h 168"/>
                <a:gd name="T50" fmla="*/ 8 w 84"/>
                <a:gd name="T51" fmla="*/ 84 h 168"/>
                <a:gd name="T52" fmla="*/ 9 w 84"/>
                <a:gd name="T53" fmla="*/ 75 h 168"/>
                <a:gd name="T54" fmla="*/ 12 w 84"/>
                <a:gd name="T55" fmla="*/ 61 h 168"/>
                <a:gd name="T56" fmla="*/ 22 w 84"/>
                <a:gd name="T57" fmla="*/ 41 h 168"/>
                <a:gd name="T58" fmla="*/ 42 w 84"/>
                <a:gd name="T59" fmla="*/ 22 h 168"/>
                <a:gd name="T60" fmla="*/ 62 w 84"/>
                <a:gd name="T61" fmla="*/ 12 h 168"/>
                <a:gd name="T62" fmla="*/ 76 w 84"/>
                <a:gd name="T63" fmla="*/ 8 h 168"/>
                <a:gd name="T64" fmla="*/ 84 w 84"/>
                <a:gd name="T6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4" h="168">
                  <a:moveTo>
                    <a:pt x="84" y="0"/>
                  </a:moveTo>
                  <a:lnTo>
                    <a:pt x="84" y="0"/>
                  </a:lnTo>
                  <a:lnTo>
                    <a:pt x="75" y="0"/>
                  </a:lnTo>
                  <a:lnTo>
                    <a:pt x="67" y="1"/>
                  </a:lnTo>
                  <a:lnTo>
                    <a:pt x="59" y="4"/>
                  </a:lnTo>
                  <a:lnTo>
                    <a:pt x="51" y="6"/>
                  </a:lnTo>
                  <a:lnTo>
                    <a:pt x="44" y="10"/>
                  </a:lnTo>
                  <a:lnTo>
                    <a:pt x="37" y="15"/>
                  </a:lnTo>
                  <a:lnTo>
                    <a:pt x="30" y="19"/>
                  </a:lnTo>
                  <a:lnTo>
                    <a:pt x="24" y="24"/>
                  </a:lnTo>
                  <a:lnTo>
                    <a:pt x="19" y="30"/>
                  </a:lnTo>
                  <a:lnTo>
                    <a:pt x="14" y="36"/>
                  </a:lnTo>
                  <a:lnTo>
                    <a:pt x="9" y="44"/>
                  </a:lnTo>
                  <a:lnTo>
                    <a:pt x="7" y="51"/>
                  </a:lnTo>
                  <a:lnTo>
                    <a:pt x="3" y="58"/>
                  </a:lnTo>
                  <a:lnTo>
                    <a:pt x="2" y="67"/>
                  </a:lnTo>
                  <a:lnTo>
                    <a:pt x="1" y="75"/>
                  </a:lnTo>
                  <a:lnTo>
                    <a:pt x="0" y="84"/>
                  </a:lnTo>
                  <a:lnTo>
                    <a:pt x="0" y="84"/>
                  </a:lnTo>
                  <a:lnTo>
                    <a:pt x="1" y="93"/>
                  </a:lnTo>
                  <a:lnTo>
                    <a:pt x="2" y="101"/>
                  </a:lnTo>
                  <a:lnTo>
                    <a:pt x="3" y="108"/>
                  </a:lnTo>
                  <a:lnTo>
                    <a:pt x="7" y="117"/>
                  </a:lnTo>
                  <a:lnTo>
                    <a:pt x="9" y="124"/>
                  </a:lnTo>
                  <a:lnTo>
                    <a:pt x="14" y="130"/>
                  </a:lnTo>
                  <a:lnTo>
                    <a:pt x="19" y="138"/>
                  </a:lnTo>
                  <a:lnTo>
                    <a:pt x="24" y="143"/>
                  </a:lnTo>
                  <a:lnTo>
                    <a:pt x="30" y="149"/>
                  </a:lnTo>
                  <a:lnTo>
                    <a:pt x="37" y="154"/>
                  </a:lnTo>
                  <a:lnTo>
                    <a:pt x="44" y="157"/>
                  </a:lnTo>
                  <a:lnTo>
                    <a:pt x="51" y="161"/>
                  </a:lnTo>
                  <a:lnTo>
                    <a:pt x="59" y="163"/>
                  </a:lnTo>
                  <a:lnTo>
                    <a:pt x="67" y="166"/>
                  </a:lnTo>
                  <a:lnTo>
                    <a:pt x="75" y="167"/>
                  </a:lnTo>
                  <a:lnTo>
                    <a:pt x="84" y="168"/>
                  </a:lnTo>
                  <a:lnTo>
                    <a:pt x="84" y="158"/>
                  </a:lnTo>
                  <a:lnTo>
                    <a:pt x="84" y="158"/>
                  </a:lnTo>
                  <a:lnTo>
                    <a:pt x="76" y="158"/>
                  </a:lnTo>
                  <a:lnTo>
                    <a:pt x="69" y="157"/>
                  </a:lnTo>
                  <a:lnTo>
                    <a:pt x="62" y="156"/>
                  </a:lnTo>
                  <a:lnTo>
                    <a:pt x="54" y="152"/>
                  </a:lnTo>
                  <a:lnTo>
                    <a:pt x="42" y="146"/>
                  </a:lnTo>
                  <a:lnTo>
                    <a:pt x="30" y="136"/>
                  </a:lnTo>
                  <a:lnTo>
                    <a:pt x="22" y="125"/>
                  </a:lnTo>
                  <a:lnTo>
                    <a:pt x="14" y="113"/>
                  </a:lnTo>
                  <a:lnTo>
                    <a:pt x="12" y="106"/>
                  </a:lnTo>
                  <a:lnTo>
                    <a:pt x="11" y="99"/>
                  </a:lnTo>
                  <a:lnTo>
                    <a:pt x="9" y="91"/>
                  </a:lnTo>
                  <a:lnTo>
                    <a:pt x="8" y="84"/>
                  </a:lnTo>
                  <a:lnTo>
                    <a:pt x="8" y="84"/>
                  </a:lnTo>
                  <a:lnTo>
                    <a:pt x="8" y="84"/>
                  </a:lnTo>
                  <a:lnTo>
                    <a:pt x="8" y="84"/>
                  </a:lnTo>
                  <a:lnTo>
                    <a:pt x="8" y="84"/>
                  </a:lnTo>
                  <a:lnTo>
                    <a:pt x="9" y="75"/>
                  </a:lnTo>
                  <a:lnTo>
                    <a:pt x="11" y="68"/>
                  </a:lnTo>
                  <a:lnTo>
                    <a:pt x="12" y="61"/>
                  </a:lnTo>
                  <a:lnTo>
                    <a:pt x="14" y="55"/>
                  </a:lnTo>
                  <a:lnTo>
                    <a:pt x="22" y="41"/>
                  </a:lnTo>
                  <a:lnTo>
                    <a:pt x="30" y="30"/>
                  </a:lnTo>
                  <a:lnTo>
                    <a:pt x="42" y="22"/>
                  </a:lnTo>
                  <a:lnTo>
                    <a:pt x="54" y="15"/>
                  </a:lnTo>
                  <a:lnTo>
                    <a:pt x="62" y="12"/>
                  </a:lnTo>
                  <a:lnTo>
                    <a:pt x="69" y="10"/>
                  </a:lnTo>
                  <a:lnTo>
                    <a:pt x="76" y="8"/>
                  </a:lnTo>
                  <a:lnTo>
                    <a:pt x="84" y="8"/>
                  </a:lnTo>
                  <a:lnTo>
                    <a:pt x="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6" name="Freeform 496"/>
            <p:cNvSpPr>
              <a:spLocks/>
            </p:cNvSpPr>
            <p:nvPr/>
          </p:nvSpPr>
          <p:spPr bwMode="auto">
            <a:xfrm rot="2844967">
              <a:off x="2291560" y="4434513"/>
              <a:ext cx="225537" cy="176203"/>
            </a:xfrm>
            <a:custGeom>
              <a:avLst/>
              <a:gdLst>
                <a:gd name="T0" fmla="*/ 162 w 162"/>
                <a:gd name="T1" fmla="*/ 0 h 124"/>
                <a:gd name="T2" fmla="*/ 0 w 162"/>
                <a:gd name="T3" fmla="*/ 0 h 124"/>
                <a:gd name="T4" fmla="*/ 0 w 162"/>
                <a:gd name="T5" fmla="*/ 0 h 124"/>
                <a:gd name="T6" fmla="*/ 4 w 162"/>
                <a:gd name="T7" fmla="*/ 19 h 124"/>
                <a:gd name="T8" fmla="*/ 9 w 162"/>
                <a:gd name="T9" fmla="*/ 39 h 124"/>
                <a:gd name="T10" fmla="*/ 20 w 162"/>
                <a:gd name="T11" fmla="*/ 73 h 124"/>
                <a:gd name="T12" fmla="*/ 31 w 162"/>
                <a:gd name="T13" fmla="*/ 101 h 124"/>
                <a:gd name="T14" fmla="*/ 41 w 162"/>
                <a:gd name="T15" fmla="*/ 124 h 124"/>
                <a:gd name="T16" fmla="*/ 162 w 162"/>
                <a:gd name="T17" fmla="*/ 124 h 124"/>
                <a:gd name="T18" fmla="*/ 162 w 162"/>
                <a:gd name="T19"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 h="124">
                  <a:moveTo>
                    <a:pt x="162" y="0"/>
                  </a:moveTo>
                  <a:lnTo>
                    <a:pt x="0" y="0"/>
                  </a:lnTo>
                  <a:lnTo>
                    <a:pt x="0" y="0"/>
                  </a:lnTo>
                  <a:lnTo>
                    <a:pt x="4" y="19"/>
                  </a:lnTo>
                  <a:lnTo>
                    <a:pt x="9" y="39"/>
                  </a:lnTo>
                  <a:lnTo>
                    <a:pt x="20" y="73"/>
                  </a:lnTo>
                  <a:lnTo>
                    <a:pt x="31" y="101"/>
                  </a:lnTo>
                  <a:lnTo>
                    <a:pt x="41" y="124"/>
                  </a:lnTo>
                  <a:lnTo>
                    <a:pt x="162" y="124"/>
                  </a:lnTo>
                  <a:lnTo>
                    <a:pt x="162"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7" name="Freeform 497"/>
            <p:cNvSpPr>
              <a:spLocks/>
            </p:cNvSpPr>
            <p:nvPr/>
          </p:nvSpPr>
          <p:spPr bwMode="auto">
            <a:xfrm rot="2844967">
              <a:off x="2635905" y="4289710"/>
              <a:ext cx="105723" cy="105723"/>
            </a:xfrm>
            <a:custGeom>
              <a:avLst/>
              <a:gdLst>
                <a:gd name="T0" fmla="*/ 76 w 76"/>
                <a:gd name="T1" fmla="*/ 0 h 76"/>
                <a:gd name="T2" fmla="*/ 76 w 76"/>
                <a:gd name="T3" fmla="*/ 0 h 76"/>
                <a:gd name="T4" fmla="*/ 68 w 76"/>
                <a:gd name="T5" fmla="*/ 0 h 76"/>
                <a:gd name="T6" fmla="*/ 61 w 76"/>
                <a:gd name="T7" fmla="*/ 2 h 76"/>
                <a:gd name="T8" fmla="*/ 54 w 76"/>
                <a:gd name="T9" fmla="*/ 4 h 76"/>
                <a:gd name="T10" fmla="*/ 46 w 76"/>
                <a:gd name="T11" fmla="*/ 7 h 76"/>
                <a:gd name="T12" fmla="*/ 34 w 76"/>
                <a:gd name="T13" fmla="*/ 14 h 76"/>
                <a:gd name="T14" fmla="*/ 22 w 76"/>
                <a:gd name="T15" fmla="*/ 22 h 76"/>
                <a:gd name="T16" fmla="*/ 14 w 76"/>
                <a:gd name="T17" fmla="*/ 33 h 76"/>
                <a:gd name="T18" fmla="*/ 6 w 76"/>
                <a:gd name="T19" fmla="*/ 47 h 76"/>
                <a:gd name="T20" fmla="*/ 4 w 76"/>
                <a:gd name="T21" fmla="*/ 53 h 76"/>
                <a:gd name="T22" fmla="*/ 3 w 76"/>
                <a:gd name="T23" fmla="*/ 60 h 76"/>
                <a:gd name="T24" fmla="*/ 1 w 76"/>
                <a:gd name="T25" fmla="*/ 67 h 76"/>
                <a:gd name="T26" fmla="*/ 0 w 76"/>
                <a:gd name="T27" fmla="*/ 76 h 76"/>
                <a:gd name="T28" fmla="*/ 76 w 76"/>
                <a:gd name="T29" fmla="*/ 76 h 76"/>
                <a:gd name="T30" fmla="*/ 76 w 76"/>
                <a:gd name="T3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76">
                  <a:moveTo>
                    <a:pt x="76" y="0"/>
                  </a:moveTo>
                  <a:lnTo>
                    <a:pt x="76" y="0"/>
                  </a:lnTo>
                  <a:lnTo>
                    <a:pt x="68" y="0"/>
                  </a:lnTo>
                  <a:lnTo>
                    <a:pt x="61" y="2"/>
                  </a:lnTo>
                  <a:lnTo>
                    <a:pt x="54" y="4"/>
                  </a:lnTo>
                  <a:lnTo>
                    <a:pt x="46" y="7"/>
                  </a:lnTo>
                  <a:lnTo>
                    <a:pt x="34" y="14"/>
                  </a:lnTo>
                  <a:lnTo>
                    <a:pt x="22" y="22"/>
                  </a:lnTo>
                  <a:lnTo>
                    <a:pt x="14" y="33"/>
                  </a:lnTo>
                  <a:lnTo>
                    <a:pt x="6" y="47"/>
                  </a:lnTo>
                  <a:lnTo>
                    <a:pt x="4" y="53"/>
                  </a:lnTo>
                  <a:lnTo>
                    <a:pt x="3" y="60"/>
                  </a:lnTo>
                  <a:lnTo>
                    <a:pt x="1" y="67"/>
                  </a:lnTo>
                  <a:lnTo>
                    <a:pt x="0" y="76"/>
                  </a:lnTo>
                  <a:lnTo>
                    <a:pt x="76" y="76"/>
                  </a:lnTo>
                  <a:lnTo>
                    <a:pt x="76"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8" name="Freeform 498"/>
            <p:cNvSpPr>
              <a:spLocks/>
            </p:cNvSpPr>
            <p:nvPr/>
          </p:nvSpPr>
          <p:spPr bwMode="auto">
            <a:xfrm rot="2844967">
              <a:off x="2635905" y="4289710"/>
              <a:ext cx="105723" cy="105723"/>
            </a:xfrm>
            <a:custGeom>
              <a:avLst/>
              <a:gdLst>
                <a:gd name="T0" fmla="*/ 76 w 76"/>
                <a:gd name="T1" fmla="*/ 0 h 76"/>
                <a:gd name="T2" fmla="*/ 76 w 76"/>
                <a:gd name="T3" fmla="*/ 0 h 76"/>
                <a:gd name="T4" fmla="*/ 68 w 76"/>
                <a:gd name="T5" fmla="*/ 0 h 76"/>
                <a:gd name="T6" fmla="*/ 61 w 76"/>
                <a:gd name="T7" fmla="*/ 2 h 76"/>
                <a:gd name="T8" fmla="*/ 54 w 76"/>
                <a:gd name="T9" fmla="*/ 4 h 76"/>
                <a:gd name="T10" fmla="*/ 46 w 76"/>
                <a:gd name="T11" fmla="*/ 7 h 76"/>
                <a:gd name="T12" fmla="*/ 34 w 76"/>
                <a:gd name="T13" fmla="*/ 14 h 76"/>
                <a:gd name="T14" fmla="*/ 22 w 76"/>
                <a:gd name="T15" fmla="*/ 22 h 76"/>
                <a:gd name="T16" fmla="*/ 14 w 76"/>
                <a:gd name="T17" fmla="*/ 33 h 76"/>
                <a:gd name="T18" fmla="*/ 6 w 76"/>
                <a:gd name="T19" fmla="*/ 47 h 76"/>
                <a:gd name="T20" fmla="*/ 4 w 76"/>
                <a:gd name="T21" fmla="*/ 53 h 76"/>
                <a:gd name="T22" fmla="*/ 3 w 76"/>
                <a:gd name="T23" fmla="*/ 60 h 76"/>
                <a:gd name="T24" fmla="*/ 1 w 76"/>
                <a:gd name="T25" fmla="*/ 67 h 76"/>
                <a:gd name="T26" fmla="*/ 0 w 76"/>
                <a:gd name="T27" fmla="*/ 76 h 76"/>
                <a:gd name="T28" fmla="*/ 76 w 76"/>
                <a:gd name="T29" fmla="*/ 76 h 76"/>
                <a:gd name="T30" fmla="*/ 76 w 76"/>
                <a:gd name="T3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76">
                  <a:moveTo>
                    <a:pt x="76" y="0"/>
                  </a:moveTo>
                  <a:lnTo>
                    <a:pt x="76" y="0"/>
                  </a:lnTo>
                  <a:lnTo>
                    <a:pt x="68" y="0"/>
                  </a:lnTo>
                  <a:lnTo>
                    <a:pt x="61" y="2"/>
                  </a:lnTo>
                  <a:lnTo>
                    <a:pt x="54" y="4"/>
                  </a:lnTo>
                  <a:lnTo>
                    <a:pt x="46" y="7"/>
                  </a:lnTo>
                  <a:lnTo>
                    <a:pt x="34" y="14"/>
                  </a:lnTo>
                  <a:lnTo>
                    <a:pt x="22" y="22"/>
                  </a:lnTo>
                  <a:lnTo>
                    <a:pt x="14" y="33"/>
                  </a:lnTo>
                  <a:lnTo>
                    <a:pt x="6" y="47"/>
                  </a:lnTo>
                  <a:lnTo>
                    <a:pt x="4" y="53"/>
                  </a:lnTo>
                  <a:lnTo>
                    <a:pt x="3" y="60"/>
                  </a:lnTo>
                  <a:lnTo>
                    <a:pt x="1" y="67"/>
                  </a:lnTo>
                  <a:lnTo>
                    <a:pt x="0" y="76"/>
                  </a:lnTo>
                  <a:lnTo>
                    <a:pt x="76" y="76"/>
                  </a:lnTo>
                  <a:lnTo>
                    <a:pt x="7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9" name="Freeform 499"/>
            <p:cNvSpPr>
              <a:spLocks/>
            </p:cNvSpPr>
            <p:nvPr/>
          </p:nvSpPr>
          <p:spPr bwMode="auto">
            <a:xfrm rot="2844967">
              <a:off x="2558066" y="4361247"/>
              <a:ext cx="105723" cy="105723"/>
            </a:xfrm>
            <a:custGeom>
              <a:avLst/>
              <a:gdLst>
                <a:gd name="T0" fmla="*/ 0 w 76"/>
                <a:gd name="T1" fmla="*/ 0 h 74"/>
                <a:gd name="T2" fmla="*/ 0 w 76"/>
                <a:gd name="T3" fmla="*/ 0 h 74"/>
                <a:gd name="T4" fmla="*/ 1 w 76"/>
                <a:gd name="T5" fmla="*/ 7 h 74"/>
                <a:gd name="T6" fmla="*/ 3 w 76"/>
                <a:gd name="T7" fmla="*/ 15 h 74"/>
                <a:gd name="T8" fmla="*/ 4 w 76"/>
                <a:gd name="T9" fmla="*/ 22 h 74"/>
                <a:gd name="T10" fmla="*/ 6 w 76"/>
                <a:gd name="T11" fmla="*/ 29 h 74"/>
                <a:gd name="T12" fmla="*/ 14 w 76"/>
                <a:gd name="T13" fmla="*/ 41 h 74"/>
                <a:gd name="T14" fmla="*/ 22 w 76"/>
                <a:gd name="T15" fmla="*/ 52 h 74"/>
                <a:gd name="T16" fmla="*/ 34 w 76"/>
                <a:gd name="T17" fmla="*/ 62 h 74"/>
                <a:gd name="T18" fmla="*/ 46 w 76"/>
                <a:gd name="T19" fmla="*/ 68 h 74"/>
                <a:gd name="T20" fmla="*/ 54 w 76"/>
                <a:gd name="T21" fmla="*/ 72 h 74"/>
                <a:gd name="T22" fmla="*/ 61 w 76"/>
                <a:gd name="T23" fmla="*/ 73 h 74"/>
                <a:gd name="T24" fmla="*/ 68 w 76"/>
                <a:gd name="T25" fmla="*/ 74 h 74"/>
                <a:gd name="T26" fmla="*/ 76 w 76"/>
                <a:gd name="T27" fmla="*/ 74 h 74"/>
                <a:gd name="T28" fmla="*/ 76 w 76"/>
                <a:gd name="T29" fmla="*/ 0 h 74"/>
                <a:gd name="T30" fmla="*/ 0 w 76"/>
                <a:gd name="T3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74">
                  <a:moveTo>
                    <a:pt x="0" y="0"/>
                  </a:moveTo>
                  <a:lnTo>
                    <a:pt x="0" y="0"/>
                  </a:lnTo>
                  <a:lnTo>
                    <a:pt x="1" y="7"/>
                  </a:lnTo>
                  <a:lnTo>
                    <a:pt x="3" y="15"/>
                  </a:lnTo>
                  <a:lnTo>
                    <a:pt x="4" y="22"/>
                  </a:lnTo>
                  <a:lnTo>
                    <a:pt x="6" y="29"/>
                  </a:lnTo>
                  <a:lnTo>
                    <a:pt x="14" y="41"/>
                  </a:lnTo>
                  <a:lnTo>
                    <a:pt x="22" y="52"/>
                  </a:lnTo>
                  <a:lnTo>
                    <a:pt x="34" y="62"/>
                  </a:lnTo>
                  <a:lnTo>
                    <a:pt x="46" y="68"/>
                  </a:lnTo>
                  <a:lnTo>
                    <a:pt x="54" y="72"/>
                  </a:lnTo>
                  <a:lnTo>
                    <a:pt x="61" y="73"/>
                  </a:lnTo>
                  <a:lnTo>
                    <a:pt x="68" y="74"/>
                  </a:lnTo>
                  <a:lnTo>
                    <a:pt x="76" y="74"/>
                  </a:lnTo>
                  <a:lnTo>
                    <a:pt x="76" y="0"/>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0" name="Freeform 500"/>
            <p:cNvSpPr>
              <a:spLocks/>
            </p:cNvSpPr>
            <p:nvPr/>
          </p:nvSpPr>
          <p:spPr bwMode="auto">
            <a:xfrm rot="2844967">
              <a:off x="2558066" y="4361247"/>
              <a:ext cx="105723" cy="105723"/>
            </a:xfrm>
            <a:custGeom>
              <a:avLst/>
              <a:gdLst>
                <a:gd name="T0" fmla="*/ 0 w 76"/>
                <a:gd name="T1" fmla="*/ 0 h 74"/>
                <a:gd name="T2" fmla="*/ 0 w 76"/>
                <a:gd name="T3" fmla="*/ 0 h 74"/>
                <a:gd name="T4" fmla="*/ 1 w 76"/>
                <a:gd name="T5" fmla="*/ 7 h 74"/>
                <a:gd name="T6" fmla="*/ 3 w 76"/>
                <a:gd name="T7" fmla="*/ 15 h 74"/>
                <a:gd name="T8" fmla="*/ 4 w 76"/>
                <a:gd name="T9" fmla="*/ 22 h 74"/>
                <a:gd name="T10" fmla="*/ 6 w 76"/>
                <a:gd name="T11" fmla="*/ 29 h 74"/>
                <a:gd name="T12" fmla="*/ 14 w 76"/>
                <a:gd name="T13" fmla="*/ 41 h 74"/>
                <a:gd name="T14" fmla="*/ 22 w 76"/>
                <a:gd name="T15" fmla="*/ 52 h 74"/>
                <a:gd name="T16" fmla="*/ 34 w 76"/>
                <a:gd name="T17" fmla="*/ 62 h 74"/>
                <a:gd name="T18" fmla="*/ 46 w 76"/>
                <a:gd name="T19" fmla="*/ 68 h 74"/>
                <a:gd name="T20" fmla="*/ 54 w 76"/>
                <a:gd name="T21" fmla="*/ 72 h 74"/>
                <a:gd name="T22" fmla="*/ 61 w 76"/>
                <a:gd name="T23" fmla="*/ 73 h 74"/>
                <a:gd name="T24" fmla="*/ 68 w 76"/>
                <a:gd name="T25" fmla="*/ 74 h 74"/>
                <a:gd name="T26" fmla="*/ 76 w 76"/>
                <a:gd name="T27" fmla="*/ 74 h 74"/>
                <a:gd name="T28" fmla="*/ 76 w 76"/>
                <a:gd name="T29" fmla="*/ 0 h 74"/>
                <a:gd name="T30" fmla="*/ 0 w 76"/>
                <a:gd name="T3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74">
                  <a:moveTo>
                    <a:pt x="0" y="0"/>
                  </a:moveTo>
                  <a:lnTo>
                    <a:pt x="0" y="0"/>
                  </a:lnTo>
                  <a:lnTo>
                    <a:pt x="1" y="7"/>
                  </a:lnTo>
                  <a:lnTo>
                    <a:pt x="3" y="15"/>
                  </a:lnTo>
                  <a:lnTo>
                    <a:pt x="4" y="22"/>
                  </a:lnTo>
                  <a:lnTo>
                    <a:pt x="6" y="29"/>
                  </a:lnTo>
                  <a:lnTo>
                    <a:pt x="14" y="41"/>
                  </a:lnTo>
                  <a:lnTo>
                    <a:pt x="22" y="52"/>
                  </a:lnTo>
                  <a:lnTo>
                    <a:pt x="34" y="62"/>
                  </a:lnTo>
                  <a:lnTo>
                    <a:pt x="46" y="68"/>
                  </a:lnTo>
                  <a:lnTo>
                    <a:pt x="54" y="72"/>
                  </a:lnTo>
                  <a:lnTo>
                    <a:pt x="61" y="73"/>
                  </a:lnTo>
                  <a:lnTo>
                    <a:pt x="68" y="74"/>
                  </a:lnTo>
                  <a:lnTo>
                    <a:pt x="76" y="74"/>
                  </a:lnTo>
                  <a:lnTo>
                    <a:pt x="7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1" name="Freeform 501"/>
            <p:cNvSpPr>
              <a:spLocks/>
            </p:cNvSpPr>
            <p:nvPr/>
          </p:nvSpPr>
          <p:spPr bwMode="auto">
            <a:xfrm rot="2844967">
              <a:off x="2776305" y="4168112"/>
              <a:ext cx="77531" cy="155057"/>
            </a:xfrm>
            <a:custGeom>
              <a:avLst/>
              <a:gdLst>
                <a:gd name="T0" fmla="*/ 54 w 54"/>
                <a:gd name="T1" fmla="*/ 0 h 109"/>
                <a:gd name="T2" fmla="*/ 54 w 54"/>
                <a:gd name="T3" fmla="*/ 0 h 109"/>
                <a:gd name="T4" fmla="*/ 43 w 54"/>
                <a:gd name="T5" fmla="*/ 1 h 109"/>
                <a:gd name="T6" fmla="*/ 33 w 54"/>
                <a:gd name="T7" fmla="*/ 5 h 109"/>
                <a:gd name="T8" fmla="*/ 23 w 54"/>
                <a:gd name="T9" fmla="*/ 10 h 109"/>
                <a:gd name="T10" fmla="*/ 16 w 54"/>
                <a:gd name="T11" fmla="*/ 16 h 109"/>
                <a:gd name="T12" fmla="*/ 9 w 54"/>
                <a:gd name="T13" fmla="*/ 24 h 109"/>
                <a:gd name="T14" fmla="*/ 4 w 54"/>
                <a:gd name="T15" fmla="*/ 33 h 109"/>
                <a:gd name="T16" fmla="*/ 1 w 54"/>
                <a:gd name="T17" fmla="*/ 43 h 109"/>
                <a:gd name="T18" fmla="*/ 0 w 54"/>
                <a:gd name="T19" fmla="*/ 54 h 109"/>
                <a:gd name="T20" fmla="*/ 0 w 54"/>
                <a:gd name="T21" fmla="*/ 54 h 109"/>
                <a:gd name="T22" fmla="*/ 1 w 54"/>
                <a:gd name="T23" fmla="*/ 65 h 109"/>
                <a:gd name="T24" fmla="*/ 4 w 54"/>
                <a:gd name="T25" fmla="*/ 76 h 109"/>
                <a:gd name="T26" fmla="*/ 9 w 54"/>
                <a:gd name="T27" fmla="*/ 84 h 109"/>
                <a:gd name="T28" fmla="*/ 16 w 54"/>
                <a:gd name="T29" fmla="*/ 93 h 109"/>
                <a:gd name="T30" fmla="*/ 23 w 54"/>
                <a:gd name="T31" fmla="*/ 99 h 109"/>
                <a:gd name="T32" fmla="*/ 33 w 54"/>
                <a:gd name="T33" fmla="*/ 104 h 109"/>
                <a:gd name="T34" fmla="*/ 43 w 54"/>
                <a:gd name="T35" fmla="*/ 107 h 109"/>
                <a:gd name="T36" fmla="*/ 54 w 54"/>
                <a:gd name="T37" fmla="*/ 109 h 109"/>
                <a:gd name="T38" fmla="*/ 54 w 54"/>
                <a:gd name="T39" fmla="*/ 99 h 109"/>
                <a:gd name="T40" fmla="*/ 54 w 54"/>
                <a:gd name="T41" fmla="*/ 99 h 109"/>
                <a:gd name="T42" fmla="*/ 45 w 54"/>
                <a:gd name="T43" fmla="*/ 98 h 109"/>
                <a:gd name="T44" fmla="*/ 37 w 54"/>
                <a:gd name="T45" fmla="*/ 95 h 109"/>
                <a:gd name="T46" fmla="*/ 29 w 54"/>
                <a:gd name="T47" fmla="*/ 91 h 109"/>
                <a:gd name="T48" fmla="*/ 22 w 54"/>
                <a:gd name="T49" fmla="*/ 85 h 109"/>
                <a:gd name="T50" fmla="*/ 17 w 54"/>
                <a:gd name="T51" fmla="*/ 79 h 109"/>
                <a:gd name="T52" fmla="*/ 12 w 54"/>
                <a:gd name="T53" fmla="*/ 72 h 109"/>
                <a:gd name="T54" fmla="*/ 10 w 54"/>
                <a:gd name="T55" fmla="*/ 63 h 109"/>
                <a:gd name="T56" fmla="*/ 10 w 54"/>
                <a:gd name="T57" fmla="*/ 54 h 109"/>
                <a:gd name="T58" fmla="*/ 10 w 54"/>
                <a:gd name="T59" fmla="*/ 54 h 109"/>
                <a:gd name="T60" fmla="*/ 10 w 54"/>
                <a:gd name="T61" fmla="*/ 54 h 109"/>
                <a:gd name="T62" fmla="*/ 10 w 54"/>
                <a:gd name="T63" fmla="*/ 54 h 109"/>
                <a:gd name="T64" fmla="*/ 10 w 54"/>
                <a:gd name="T65" fmla="*/ 54 h 109"/>
                <a:gd name="T66" fmla="*/ 10 w 54"/>
                <a:gd name="T67" fmla="*/ 45 h 109"/>
                <a:gd name="T68" fmla="*/ 12 w 54"/>
                <a:gd name="T69" fmla="*/ 37 h 109"/>
                <a:gd name="T70" fmla="*/ 17 w 54"/>
                <a:gd name="T71" fmla="*/ 29 h 109"/>
                <a:gd name="T72" fmla="*/ 22 w 54"/>
                <a:gd name="T73" fmla="*/ 23 h 109"/>
                <a:gd name="T74" fmla="*/ 29 w 54"/>
                <a:gd name="T75" fmla="*/ 17 h 109"/>
                <a:gd name="T76" fmla="*/ 37 w 54"/>
                <a:gd name="T77" fmla="*/ 13 h 109"/>
                <a:gd name="T78" fmla="*/ 45 w 54"/>
                <a:gd name="T79" fmla="*/ 11 h 109"/>
                <a:gd name="T80" fmla="*/ 54 w 54"/>
                <a:gd name="T81" fmla="*/ 10 h 109"/>
                <a:gd name="T82" fmla="*/ 54 w 54"/>
                <a:gd name="T8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 h="109">
                  <a:moveTo>
                    <a:pt x="54" y="0"/>
                  </a:moveTo>
                  <a:lnTo>
                    <a:pt x="54" y="0"/>
                  </a:lnTo>
                  <a:lnTo>
                    <a:pt x="43" y="1"/>
                  </a:lnTo>
                  <a:lnTo>
                    <a:pt x="33" y="5"/>
                  </a:lnTo>
                  <a:lnTo>
                    <a:pt x="23" y="10"/>
                  </a:lnTo>
                  <a:lnTo>
                    <a:pt x="16" y="16"/>
                  </a:lnTo>
                  <a:lnTo>
                    <a:pt x="9" y="24"/>
                  </a:lnTo>
                  <a:lnTo>
                    <a:pt x="4" y="33"/>
                  </a:lnTo>
                  <a:lnTo>
                    <a:pt x="1" y="43"/>
                  </a:lnTo>
                  <a:lnTo>
                    <a:pt x="0" y="54"/>
                  </a:lnTo>
                  <a:lnTo>
                    <a:pt x="0" y="54"/>
                  </a:lnTo>
                  <a:lnTo>
                    <a:pt x="1" y="65"/>
                  </a:lnTo>
                  <a:lnTo>
                    <a:pt x="4" y="76"/>
                  </a:lnTo>
                  <a:lnTo>
                    <a:pt x="9" y="84"/>
                  </a:lnTo>
                  <a:lnTo>
                    <a:pt x="16" y="93"/>
                  </a:lnTo>
                  <a:lnTo>
                    <a:pt x="23" y="99"/>
                  </a:lnTo>
                  <a:lnTo>
                    <a:pt x="33" y="104"/>
                  </a:lnTo>
                  <a:lnTo>
                    <a:pt x="43" y="107"/>
                  </a:lnTo>
                  <a:lnTo>
                    <a:pt x="54" y="109"/>
                  </a:lnTo>
                  <a:lnTo>
                    <a:pt x="54" y="99"/>
                  </a:lnTo>
                  <a:lnTo>
                    <a:pt x="54" y="99"/>
                  </a:lnTo>
                  <a:lnTo>
                    <a:pt x="45" y="98"/>
                  </a:lnTo>
                  <a:lnTo>
                    <a:pt x="37" y="95"/>
                  </a:lnTo>
                  <a:lnTo>
                    <a:pt x="29" y="91"/>
                  </a:lnTo>
                  <a:lnTo>
                    <a:pt x="22" y="85"/>
                  </a:lnTo>
                  <a:lnTo>
                    <a:pt x="17" y="79"/>
                  </a:lnTo>
                  <a:lnTo>
                    <a:pt x="12" y="72"/>
                  </a:lnTo>
                  <a:lnTo>
                    <a:pt x="10" y="63"/>
                  </a:lnTo>
                  <a:lnTo>
                    <a:pt x="10" y="54"/>
                  </a:lnTo>
                  <a:lnTo>
                    <a:pt x="10" y="54"/>
                  </a:lnTo>
                  <a:lnTo>
                    <a:pt x="10" y="54"/>
                  </a:lnTo>
                  <a:lnTo>
                    <a:pt x="10" y="54"/>
                  </a:lnTo>
                  <a:lnTo>
                    <a:pt x="10" y="54"/>
                  </a:lnTo>
                  <a:lnTo>
                    <a:pt x="10" y="45"/>
                  </a:lnTo>
                  <a:lnTo>
                    <a:pt x="12" y="37"/>
                  </a:lnTo>
                  <a:lnTo>
                    <a:pt x="17" y="29"/>
                  </a:lnTo>
                  <a:lnTo>
                    <a:pt x="22" y="23"/>
                  </a:lnTo>
                  <a:lnTo>
                    <a:pt x="29" y="17"/>
                  </a:lnTo>
                  <a:lnTo>
                    <a:pt x="37" y="13"/>
                  </a:lnTo>
                  <a:lnTo>
                    <a:pt x="45" y="11"/>
                  </a:lnTo>
                  <a:lnTo>
                    <a:pt x="54" y="10"/>
                  </a:lnTo>
                  <a:lnTo>
                    <a:pt x="54"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2" name="Freeform 502"/>
            <p:cNvSpPr>
              <a:spLocks/>
            </p:cNvSpPr>
            <p:nvPr/>
          </p:nvSpPr>
          <p:spPr bwMode="auto">
            <a:xfrm rot="2844967">
              <a:off x="2776305" y="4168112"/>
              <a:ext cx="77531" cy="155057"/>
            </a:xfrm>
            <a:custGeom>
              <a:avLst/>
              <a:gdLst>
                <a:gd name="T0" fmla="*/ 54 w 54"/>
                <a:gd name="T1" fmla="*/ 0 h 109"/>
                <a:gd name="T2" fmla="*/ 54 w 54"/>
                <a:gd name="T3" fmla="*/ 0 h 109"/>
                <a:gd name="T4" fmla="*/ 43 w 54"/>
                <a:gd name="T5" fmla="*/ 1 h 109"/>
                <a:gd name="T6" fmla="*/ 33 w 54"/>
                <a:gd name="T7" fmla="*/ 5 h 109"/>
                <a:gd name="T8" fmla="*/ 23 w 54"/>
                <a:gd name="T9" fmla="*/ 10 h 109"/>
                <a:gd name="T10" fmla="*/ 16 w 54"/>
                <a:gd name="T11" fmla="*/ 16 h 109"/>
                <a:gd name="T12" fmla="*/ 9 w 54"/>
                <a:gd name="T13" fmla="*/ 24 h 109"/>
                <a:gd name="T14" fmla="*/ 4 w 54"/>
                <a:gd name="T15" fmla="*/ 33 h 109"/>
                <a:gd name="T16" fmla="*/ 1 w 54"/>
                <a:gd name="T17" fmla="*/ 43 h 109"/>
                <a:gd name="T18" fmla="*/ 0 w 54"/>
                <a:gd name="T19" fmla="*/ 54 h 109"/>
                <a:gd name="T20" fmla="*/ 0 w 54"/>
                <a:gd name="T21" fmla="*/ 54 h 109"/>
                <a:gd name="T22" fmla="*/ 1 w 54"/>
                <a:gd name="T23" fmla="*/ 65 h 109"/>
                <a:gd name="T24" fmla="*/ 4 w 54"/>
                <a:gd name="T25" fmla="*/ 76 h 109"/>
                <a:gd name="T26" fmla="*/ 9 w 54"/>
                <a:gd name="T27" fmla="*/ 84 h 109"/>
                <a:gd name="T28" fmla="*/ 16 w 54"/>
                <a:gd name="T29" fmla="*/ 93 h 109"/>
                <a:gd name="T30" fmla="*/ 23 w 54"/>
                <a:gd name="T31" fmla="*/ 99 h 109"/>
                <a:gd name="T32" fmla="*/ 33 w 54"/>
                <a:gd name="T33" fmla="*/ 104 h 109"/>
                <a:gd name="T34" fmla="*/ 43 w 54"/>
                <a:gd name="T35" fmla="*/ 107 h 109"/>
                <a:gd name="T36" fmla="*/ 54 w 54"/>
                <a:gd name="T37" fmla="*/ 109 h 109"/>
                <a:gd name="T38" fmla="*/ 54 w 54"/>
                <a:gd name="T39" fmla="*/ 99 h 109"/>
                <a:gd name="T40" fmla="*/ 54 w 54"/>
                <a:gd name="T41" fmla="*/ 99 h 109"/>
                <a:gd name="T42" fmla="*/ 45 w 54"/>
                <a:gd name="T43" fmla="*/ 98 h 109"/>
                <a:gd name="T44" fmla="*/ 37 w 54"/>
                <a:gd name="T45" fmla="*/ 95 h 109"/>
                <a:gd name="T46" fmla="*/ 29 w 54"/>
                <a:gd name="T47" fmla="*/ 91 h 109"/>
                <a:gd name="T48" fmla="*/ 22 w 54"/>
                <a:gd name="T49" fmla="*/ 85 h 109"/>
                <a:gd name="T50" fmla="*/ 17 w 54"/>
                <a:gd name="T51" fmla="*/ 79 h 109"/>
                <a:gd name="T52" fmla="*/ 12 w 54"/>
                <a:gd name="T53" fmla="*/ 72 h 109"/>
                <a:gd name="T54" fmla="*/ 10 w 54"/>
                <a:gd name="T55" fmla="*/ 63 h 109"/>
                <a:gd name="T56" fmla="*/ 10 w 54"/>
                <a:gd name="T57" fmla="*/ 54 h 109"/>
                <a:gd name="T58" fmla="*/ 10 w 54"/>
                <a:gd name="T59" fmla="*/ 54 h 109"/>
                <a:gd name="T60" fmla="*/ 10 w 54"/>
                <a:gd name="T61" fmla="*/ 54 h 109"/>
                <a:gd name="T62" fmla="*/ 10 w 54"/>
                <a:gd name="T63" fmla="*/ 54 h 109"/>
                <a:gd name="T64" fmla="*/ 10 w 54"/>
                <a:gd name="T65" fmla="*/ 54 h 109"/>
                <a:gd name="T66" fmla="*/ 10 w 54"/>
                <a:gd name="T67" fmla="*/ 45 h 109"/>
                <a:gd name="T68" fmla="*/ 12 w 54"/>
                <a:gd name="T69" fmla="*/ 37 h 109"/>
                <a:gd name="T70" fmla="*/ 17 w 54"/>
                <a:gd name="T71" fmla="*/ 29 h 109"/>
                <a:gd name="T72" fmla="*/ 22 w 54"/>
                <a:gd name="T73" fmla="*/ 23 h 109"/>
                <a:gd name="T74" fmla="*/ 29 w 54"/>
                <a:gd name="T75" fmla="*/ 17 h 109"/>
                <a:gd name="T76" fmla="*/ 37 w 54"/>
                <a:gd name="T77" fmla="*/ 13 h 109"/>
                <a:gd name="T78" fmla="*/ 45 w 54"/>
                <a:gd name="T79" fmla="*/ 11 h 109"/>
                <a:gd name="T80" fmla="*/ 54 w 54"/>
                <a:gd name="T81" fmla="*/ 10 h 109"/>
                <a:gd name="T82" fmla="*/ 54 w 54"/>
                <a:gd name="T8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 h="109">
                  <a:moveTo>
                    <a:pt x="54" y="0"/>
                  </a:moveTo>
                  <a:lnTo>
                    <a:pt x="54" y="0"/>
                  </a:lnTo>
                  <a:lnTo>
                    <a:pt x="43" y="1"/>
                  </a:lnTo>
                  <a:lnTo>
                    <a:pt x="33" y="5"/>
                  </a:lnTo>
                  <a:lnTo>
                    <a:pt x="23" y="10"/>
                  </a:lnTo>
                  <a:lnTo>
                    <a:pt x="16" y="16"/>
                  </a:lnTo>
                  <a:lnTo>
                    <a:pt x="9" y="24"/>
                  </a:lnTo>
                  <a:lnTo>
                    <a:pt x="4" y="33"/>
                  </a:lnTo>
                  <a:lnTo>
                    <a:pt x="1" y="43"/>
                  </a:lnTo>
                  <a:lnTo>
                    <a:pt x="0" y="54"/>
                  </a:lnTo>
                  <a:lnTo>
                    <a:pt x="0" y="54"/>
                  </a:lnTo>
                  <a:lnTo>
                    <a:pt x="1" y="65"/>
                  </a:lnTo>
                  <a:lnTo>
                    <a:pt x="4" y="76"/>
                  </a:lnTo>
                  <a:lnTo>
                    <a:pt x="9" y="84"/>
                  </a:lnTo>
                  <a:lnTo>
                    <a:pt x="16" y="93"/>
                  </a:lnTo>
                  <a:lnTo>
                    <a:pt x="23" y="99"/>
                  </a:lnTo>
                  <a:lnTo>
                    <a:pt x="33" y="104"/>
                  </a:lnTo>
                  <a:lnTo>
                    <a:pt x="43" y="107"/>
                  </a:lnTo>
                  <a:lnTo>
                    <a:pt x="54" y="109"/>
                  </a:lnTo>
                  <a:lnTo>
                    <a:pt x="54" y="99"/>
                  </a:lnTo>
                  <a:lnTo>
                    <a:pt x="54" y="99"/>
                  </a:lnTo>
                  <a:lnTo>
                    <a:pt x="45" y="98"/>
                  </a:lnTo>
                  <a:lnTo>
                    <a:pt x="37" y="95"/>
                  </a:lnTo>
                  <a:lnTo>
                    <a:pt x="29" y="91"/>
                  </a:lnTo>
                  <a:lnTo>
                    <a:pt x="22" y="85"/>
                  </a:lnTo>
                  <a:lnTo>
                    <a:pt x="17" y="79"/>
                  </a:lnTo>
                  <a:lnTo>
                    <a:pt x="12" y="72"/>
                  </a:lnTo>
                  <a:lnTo>
                    <a:pt x="10" y="63"/>
                  </a:lnTo>
                  <a:lnTo>
                    <a:pt x="10" y="54"/>
                  </a:lnTo>
                  <a:lnTo>
                    <a:pt x="10" y="54"/>
                  </a:lnTo>
                  <a:lnTo>
                    <a:pt x="10" y="54"/>
                  </a:lnTo>
                  <a:lnTo>
                    <a:pt x="10" y="54"/>
                  </a:lnTo>
                  <a:lnTo>
                    <a:pt x="10" y="54"/>
                  </a:lnTo>
                  <a:lnTo>
                    <a:pt x="10" y="45"/>
                  </a:lnTo>
                  <a:lnTo>
                    <a:pt x="12" y="37"/>
                  </a:lnTo>
                  <a:lnTo>
                    <a:pt x="17" y="29"/>
                  </a:lnTo>
                  <a:lnTo>
                    <a:pt x="22" y="23"/>
                  </a:lnTo>
                  <a:lnTo>
                    <a:pt x="29" y="17"/>
                  </a:lnTo>
                  <a:lnTo>
                    <a:pt x="37" y="13"/>
                  </a:lnTo>
                  <a:lnTo>
                    <a:pt x="45" y="11"/>
                  </a:lnTo>
                  <a:lnTo>
                    <a:pt x="54" y="1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3" name="Freeform 503"/>
            <p:cNvSpPr>
              <a:spLocks/>
            </p:cNvSpPr>
            <p:nvPr/>
          </p:nvSpPr>
          <p:spPr bwMode="auto">
            <a:xfrm rot="2844967">
              <a:off x="2811474" y="4197652"/>
              <a:ext cx="63435" cy="63435"/>
            </a:xfrm>
            <a:custGeom>
              <a:avLst/>
              <a:gdLst>
                <a:gd name="T0" fmla="*/ 44 w 44"/>
                <a:gd name="T1" fmla="*/ 0 h 44"/>
                <a:gd name="T2" fmla="*/ 44 w 44"/>
                <a:gd name="T3" fmla="*/ 0 h 44"/>
                <a:gd name="T4" fmla="*/ 35 w 44"/>
                <a:gd name="T5" fmla="*/ 1 h 44"/>
                <a:gd name="T6" fmla="*/ 27 w 44"/>
                <a:gd name="T7" fmla="*/ 3 h 44"/>
                <a:gd name="T8" fmla="*/ 19 w 44"/>
                <a:gd name="T9" fmla="*/ 7 h 44"/>
                <a:gd name="T10" fmla="*/ 12 w 44"/>
                <a:gd name="T11" fmla="*/ 13 h 44"/>
                <a:gd name="T12" fmla="*/ 7 w 44"/>
                <a:gd name="T13" fmla="*/ 19 h 44"/>
                <a:gd name="T14" fmla="*/ 2 w 44"/>
                <a:gd name="T15" fmla="*/ 27 h 44"/>
                <a:gd name="T16" fmla="*/ 0 w 44"/>
                <a:gd name="T17" fmla="*/ 35 h 44"/>
                <a:gd name="T18" fmla="*/ 0 w 44"/>
                <a:gd name="T19" fmla="*/ 44 h 44"/>
                <a:gd name="T20" fmla="*/ 44 w 44"/>
                <a:gd name="T21" fmla="*/ 44 h 44"/>
                <a:gd name="T22" fmla="*/ 44 w 44"/>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4">
                  <a:moveTo>
                    <a:pt x="44" y="0"/>
                  </a:moveTo>
                  <a:lnTo>
                    <a:pt x="44" y="0"/>
                  </a:lnTo>
                  <a:lnTo>
                    <a:pt x="35" y="1"/>
                  </a:lnTo>
                  <a:lnTo>
                    <a:pt x="27" y="3"/>
                  </a:lnTo>
                  <a:lnTo>
                    <a:pt x="19" y="7"/>
                  </a:lnTo>
                  <a:lnTo>
                    <a:pt x="12" y="13"/>
                  </a:lnTo>
                  <a:lnTo>
                    <a:pt x="7" y="19"/>
                  </a:lnTo>
                  <a:lnTo>
                    <a:pt x="2" y="27"/>
                  </a:lnTo>
                  <a:lnTo>
                    <a:pt x="0" y="35"/>
                  </a:lnTo>
                  <a:lnTo>
                    <a:pt x="0" y="44"/>
                  </a:lnTo>
                  <a:lnTo>
                    <a:pt x="44" y="44"/>
                  </a:lnTo>
                  <a:lnTo>
                    <a:pt x="44"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4" name="Freeform 504"/>
            <p:cNvSpPr>
              <a:spLocks/>
            </p:cNvSpPr>
            <p:nvPr/>
          </p:nvSpPr>
          <p:spPr bwMode="auto">
            <a:xfrm rot="2844967">
              <a:off x="2811474" y="4197652"/>
              <a:ext cx="63435" cy="63435"/>
            </a:xfrm>
            <a:custGeom>
              <a:avLst/>
              <a:gdLst>
                <a:gd name="T0" fmla="*/ 44 w 44"/>
                <a:gd name="T1" fmla="*/ 0 h 44"/>
                <a:gd name="T2" fmla="*/ 44 w 44"/>
                <a:gd name="T3" fmla="*/ 0 h 44"/>
                <a:gd name="T4" fmla="*/ 35 w 44"/>
                <a:gd name="T5" fmla="*/ 1 h 44"/>
                <a:gd name="T6" fmla="*/ 27 w 44"/>
                <a:gd name="T7" fmla="*/ 3 h 44"/>
                <a:gd name="T8" fmla="*/ 19 w 44"/>
                <a:gd name="T9" fmla="*/ 7 h 44"/>
                <a:gd name="T10" fmla="*/ 12 w 44"/>
                <a:gd name="T11" fmla="*/ 13 h 44"/>
                <a:gd name="T12" fmla="*/ 7 w 44"/>
                <a:gd name="T13" fmla="*/ 19 h 44"/>
                <a:gd name="T14" fmla="*/ 2 w 44"/>
                <a:gd name="T15" fmla="*/ 27 h 44"/>
                <a:gd name="T16" fmla="*/ 0 w 44"/>
                <a:gd name="T17" fmla="*/ 35 h 44"/>
                <a:gd name="T18" fmla="*/ 0 w 44"/>
                <a:gd name="T19" fmla="*/ 44 h 44"/>
                <a:gd name="T20" fmla="*/ 44 w 44"/>
                <a:gd name="T21" fmla="*/ 44 h 44"/>
                <a:gd name="T22" fmla="*/ 44 w 44"/>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4">
                  <a:moveTo>
                    <a:pt x="44" y="0"/>
                  </a:moveTo>
                  <a:lnTo>
                    <a:pt x="44" y="0"/>
                  </a:lnTo>
                  <a:lnTo>
                    <a:pt x="35" y="1"/>
                  </a:lnTo>
                  <a:lnTo>
                    <a:pt x="27" y="3"/>
                  </a:lnTo>
                  <a:lnTo>
                    <a:pt x="19" y="7"/>
                  </a:lnTo>
                  <a:lnTo>
                    <a:pt x="12" y="13"/>
                  </a:lnTo>
                  <a:lnTo>
                    <a:pt x="7" y="19"/>
                  </a:lnTo>
                  <a:lnTo>
                    <a:pt x="2" y="27"/>
                  </a:lnTo>
                  <a:lnTo>
                    <a:pt x="0" y="35"/>
                  </a:lnTo>
                  <a:lnTo>
                    <a:pt x="0" y="44"/>
                  </a:lnTo>
                  <a:lnTo>
                    <a:pt x="44" y="44"/>
                  </a:lnTo>
                  <a:lnTo>
                    <a:pt x="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5" name="Freeform 505"/>
            <p:cNvSpPr>
              <a:spLocks/>
            </p:cNvSpPr>
            <p:nvPr/>
          </p:nvSpPr>
          <p:spPr bwMode="auto">
            <a:xfrm rot="2844967">
              <a:off x="2764767" y="4240576"/>
              <a:ext cx="63435" cy="63435"/>
            </a:xfrm>
            <a:custGeom>
              <a:avLst/>
              <a:gdLst>
                <a:gd name="T0" fmla="*/ 0 w 44"/>
                <a:gd name="T1" fmla="*/ 0 h 45"/>
                <a:gd name="T2" fmla="*/ 0 w 44"/>
                <a:gd name="T3" fmla="*/ 0 h 45"/>
                <a:gd name="T4" fmla="*/ 0 w 44"/>
                <a:gd name="T5" fmla="*/ 9 h 45"/>
                <a:gd name="T6" fmla="*/ 2 w 44"/>
                <a:gd name="T7" fmla="*/ 18 h 45"/>
                <a:gd name="T8" fmla="*/ 7 w 44"/>
                <a:gd name="T9" fmla="*/ 25 h 45"/>
                <a:gd name="T10" fmla="*/ 12 w 44"/>
                <a:gd name="T11" fmla="*/ 31 h 45"/>
                <a:gd name="T12" fmla="*/ 19 w 44"/>
                <a:gd name="T13" fmla="*/ 37 h 45"/>
                <a:gd name="T14" fmla="*/ 27 w 44"/>
                <a:gd name="T15" fmla="*/ 41 h 45"/>
                <a:gd name="T16" fmla="*/ 35 w 44"/>
                <a:gd name="T17" fmla="*/ 44 h 45"/>
                <a:gd name="T18" fmla="*/ 44 w 44"/>
                <a:gd name="T19" fmla="*/ 45 h 45"/>
                <a:gd name="T20" fmla="*/ 44 w 44"/>
                <a:gd name="T21" fmla="*/ 0 h 45"/>
                <a:gd name="T22" fmla="*/ 0 w 44"/>
                <a:gd name="T2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5">
                  <a:moveTo>
                    <a:pt x="0" y="0"/>
                  </a:moveTo>
                  <a:lnTo>
                    <a:pt x="0" y="0"/>
                  </a:lnTo>
                  <a:lnTo>
                    <a:pt x="0" y="9"/>
                  </a:lnTo>
                  <a:lnTo>
                    <a:pt x="2" y="18"/>
                  </a:lnTo>
                  <a:lnTo>
                    <a:pt x="7" y="25"/>
                  </a:lnTo>
                  <a:lnTo>
                    <a:pt x="12" y="31"/>
                  </a:lnTo>
                  <a:lnTo>
                    <a:pt x="19" y="37"/>
                  </a:lnTo>
                  <a:lnTo>
                    <a:pt x="27" y="41"/>
                  </a:lnTo>
                  <a:lnTo>
                    <a:pt x="35" y="44"/>
                  </a:lnTo>
                  <a:lnTo>
                    <a:pt x="44" y="45"/>
                  </a:lnTo>
                  <a:lnTo>
                    <a:pt x="44" y="0"/>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6" name="Freeform 506"/>
            <p:cNvSpPr>
              <a:spLocks/>
            </p:cNvSpPr>
            <p:nvPr/>
          </p:nvSpPr>
          <p:spPr bwMode="auto">
            <a:xfrm rot="2844967">
              <a:off x="2764767" y="4240576"/>
              <a:ext cx="63435" cy="63435"/>
            </a:xfrm>
            <a:custGeom>
              <a:avLst/>
              <a:gdLst>
                <a:gd name="T0" fmla="*/ 0 w 44"/>
                <a:gd name="T1" fmla="*/ 0 h 45"/>
                <a:gd name="T2" fmla="*/ 0 w 44"/>
                <a:gd name="T3" fmla="*/ 0 h 45"/>
                <a:gd name="T4" fmla="*/ 0 w 44"/>
                <a:gd name="T5" fmla="*/ 9 h 45"/>
                <a:gd name="T6" fmla="*/ 2 w 44"/>
                <a:gd name="T7" fmla="*/ 18 h 45"/>
                <a:gd name="T8" fmla="*/ 7 w 44"/>
                <a:gd name="T9" fmla="*/ 25 h 45"/>
                <a:gd name="T10" fmla="*/ 12 w 44"/>
                <a:gd name="T11" fmla="*/ 31 h 45"/>
                <a:gd name="T12" fmla="*/ 19 w 44"/>
                <a:gd name="T13" fmla="*/ 37 h 45"/>
                <a:gd name="T14" fmla="*/ 27 w 44"/>
                <a:gd name="T15" fmla="*/ 41 h 45"/>
                <a:gd name="T16" fmla="*/ 35 w 44"/>
                <a:gd name="T17" fmla="*/ 44 h 45"/>
                <a:gd name="T18" fmla="*/ 44 w 44"/>
                <a:gd name="T19" fmla="*/ 45 h 45"/>
                <a:gd name="T20" fmla="*/ 44 w 44"/>
                <a:gd name="T21" fmla="*/ 0 h 45"/>
                <a:gd name="T22" fmla="*/ 0 w 44"/>
                <a:gd name="T2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5">
                  <a:moveTo>
                    <a:pt x="0" y="0"/>
                  </a:moveTo>
                  <a:lnTo>
                    <a:pt x="0" y="0"/>
                  </a:lnTo>
                  <a:lnTo>
                    <a:pt x="0" y="9"/>
                  </a:lnTo>
                  <a:lnTo>
                    <a:pt x="2" y="18"/>
                  </a:lnTo>
                  <a:lnTo>
                    <a:pt x="7" y="25"/>
                  </a:lnTo>
                  <a:lnTo>
                    <a:pt x="12" y="31"/>
                  </a:lnTo>
                  <a:lnTo>
                    <a:pt x="19" y="37"/>
                  </a:lnTo>
                  <a:lnTo>
                    <a:pt x="27" y="41"/>
                  </a:lnTo>
                  <a:lnTo>
                    <a:pt x="35" y="44"/>
                  </a:lnTo>
                  <a:lnTo>
                    <a:pt x="44" y="45"/>
                  </a:lnTo>
                  <a:lnTo>
                    <a:pt x="4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7" name="Rectangle 507"/>
            <p:cNvSpPr>
              <a:spLocks noChangeArrowheads="1"/>
            </p:cNvSpPr>
            <p:nvPr/>
          </p:nvSpPr>
          <p:spPr bwMode="auto">
            <a:xfrm rot="2844967">
              <a:off x="2243106" y="4631727"/>
              <a:ext cx="140961" cy="63435"/>
            </a:xfrm>
            <a:prstGeom prst="rect">
              <a:avLst/>
            </a:prstGeom>
            <a:solidFill>
              <a:srgbClr val="F8AB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8" name="Freeform 508"/>
            <p:cNvSpPr>
              <a:spLocks/>
            </p:cNvSpPr>
            <p:nvPr/>
          </p:nvSpPr>
          <p:spPr bwMode="auto">
            <a:xfrm rot="2844967">
              <a:off x="2164982" y="4660854"/>
              <a:ext cx="169153" cy="84576"/>
            </a:xfrm>
            <a:custGeom>
              <a:avLst/>
              <a:gdLst>
                <a:gd name="T0" fmla="*/ 0 w 121"/>
                <a:gd name="T1" fmla="*/ 59 h 59"/>
                <a:gd name="T2" fmla="*/ 121 w 121"/>
                <a:gd name="T3" fmla="*/ 59 h 59"/>
                <a:gd name="T4" fmla="*/ 121 w 121"/>
                <a:gd name="T5" fmla="*/ 0 h 59"/>
                <a:gd name="T6" fmla="*/ 18 w 121"/>
                <a:gd name="T7" fmla="*/ 0 h 59"/>
                <a:gd name="T8" fmla="*/ 0 w 121"/>
                <a:gd name="T9" fmla="*/ 59 h 59"/>
              </a:gdLst>
              <a:ahLst/>
              <a:cxnLst>
                <a:cxn ang="0">
                  <a:pos x="T0" y="T1"/>
                </a:cxn>
                <a:cxn ang="0">
                  <a:pos x="T2" y="T3"/>
                </a:cxn>
                <a:cxn ang="0">
                  <a:pos x="T4" y="T5"/>
                </a:cxn>
                <a:cxn ang="0">
                  <a:pos x="T6" y="T7"/>
                </a:cxn>
                <a:cxn ang="0">
                  <a:pos x="T8" y="T9"/>
                </a:cxn>
              </a:cxnLst>
              <a:rect l="0" t="0" r="r" b="b"/>
              <a:pathLst>
                <a:path w="121" h="59">
                  <a:moveTo>
                    <a:pt x="0" y="59"/>
                  </a:moveTo>
                  <a:lnTo>
                    <a:pt x="121" y="59"/>
                  </a:lnTo>
                  <a:lnTo>
                    <a:pt x="121" y="0"/>
                  </a:lnTo>
                  <a:lnTo>
                    <a:pt x="18" y="0"/>
                  </a:lnTo>
                  <a:lnTo>
                    <a:pt x="0"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9" name="Freeform 509"/>
            <p:cNvSpPr>
              <a:spLocks/>
            </p:cNvSpPr>
            <p:nvPr/>
          </p:nvSpPr>
          <p:spPr bwMode="auto">
            <a:xfrm rot="2844967">
              <a:off x="2390368" y="4452623"/>
              <a:ext cx="56384" cy="56384"/>
            </a:xfrm>
            <a:custGeom>
              <a:avLst/>
              <a:gdLst>
                <a:gd name="T0" fmla="*/ 38 w 38"/>
                <a:gd name="T1" fmla="*/ 19 h 37"/>
                <a:gd name="T2" fmla="*/ 38 w 38"/>
                <a:gd name="T3" fmla="*/ 19 h 37"/>
                <a:gd name="T4" fmla="*/ 37 w 38"/>
                <a:gd name="T5" fmla="*/ 22 h 37"/>
                <a:gd name="T6" fmla="*/ 35 w 38"/>
                <a:gd name="T7" fmla="*/ 26 h 37"/>
                <a:gd name="T8" fmla="*/ 32 w 38"/>
                <a:gd name="T9" fmla="*/ 32 h 37"/>
                <a:gd name="T10" fmla="*/ 26 w 38"/>
                <a:gd name="T11" fmla="*/ 36 h 37"/>
                <a:gd name="T12" fmla="*/ 22 w 38"/>
                <a:gd name="T13" fmla="*/ 37 h 37"/>
                <a:gd name="T14" fmla="*/ 18 w 38"/>
                <a:gd name="T15" fmla="*/ 37 h 37"/>
                <a:gd name="T16" fmla="*/ 18 w 38"/>
                <a:gd name="T17" fmla="*/ 37 h 37"/>
                <a:gd name="T18" fmla="*/ 15 w 38"/>
                <a:gd name="T19" fmla="*/ 37 h 37"/>
                <a:gd name="T20" fmla="*/ 11 w 38"/>
                <a:gd name="T21" fmla="*/ 36 h 37"/>
                <a:gd name="T22" fmla="*/ 5 w 38"/>
                <a:gd name="T23" fmla="*/ 32 h 37"/>
                <a:gd name="T24" fmla="*/ 1 w 38"/>
                <a:gd name="T25" fmla="*/ 26 h 37"/>
                <a:gd name="T26" fmla="*/ 0 w 38"/>
                <a:gd name="T27" fmla="*/ 22 h 37"/>
                <a:gd name="T28" fmla="*/ 0 w 38"/>
                <a:gd name="T29" fmla="*/ 19 h 37"/>
                <a:gd name="T30" fmla="*/ 0 w 38"/>
                <a:gd name="T31" fmla="*/ 19 h 37"/>
                <a:gd name="T32" fmla="*/ 0 w 38"/>
                <a:gd name="T33" fmla="*/ 15 h 37"/>
                <a:gd name="T34" fmla="*/ 1 w 38"/>
                <a:gd name="T35" fmla="*/ 11 h 37"/>
                <a:gd name="T36" fmla="*/ 5 w 38"/>
                <a:gd name="T37" fmla="*/ 5 h 37"/>
                <a:gd name="T38" fmla="*/ 11 w 38"/>
                <a:gd name="T39" fmla="*/ 2 h 37"/>
                <a:gd name="T40" fmla="*/ 15 w 38"/>
                <a:gd name="T41" fmla="*/ 0 h 37"/>
                <a:gd name="T42" fmla="*/ 18 w 38"/>
                <a:gd name="T43" fmla="*/ 0 h 37"/>
                <a:gd name="T44" fmla="*/ 18 w 38"/>
                <a:gd name="T45" fmla="*/ 0 h 37"/>
                <a:gd name="T46" fmla="*/ 22 w 38"/>
                <a:gd name="T47" fmla="*/ 0 h 37"/>
                <a:gd name="T48" fmla="*/ 26 w 38"/>
                <a:gd name="T49" fmla="*/ 2 h 37"/>
                <a:gd name="T50" fmla="*/ 32 w 38"/>
                <a:gd name="T51" fmla="*/ 5 h 37"/>
                <a:gd name="T52" fmla="*/ 35 w 38"/>
                <a:gd name="T53" fmla="*/ 11 h 37"/>
                <a:gd name="T54" fmla="*/ 37 w 38"/>
                <a:gd name="T55" fmla="*/ 15 h 37"/>
                <a:gd name="T56" fmla="*/ 38 w 38"/>
                <a:gd name="T57" fmla="*/ 19 h 37"/>
                <a:gd name="T58" fmla="*/ 38 w 38"/>
                <a:gd name="T59" fmla="*/ 1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 h="37">
                  <a:moveTo>
                    <a:pt x="38" y="19"/>
                  </a:moveTo>
                  <a:lnTo>
                    <a:pt x="38" y="19"/>
                  </a:lnTo>
                  <a:lnTo>
                    <a:pt x="37" y="22"/>
                  </a:lnTo>
                  <a:lnTo>
                    <a:pt x="35" y="26"/>
                  </a:lnTo>
                  <a:lnTo>
                    <a:pt x="32" y="32"/>
                  </a:lnTo>
                  <a:lnTo>
                    <a:pt x="26" y="36"/>
                  </a:lnTo>
                  <a:lnTo>
                    <a:pt x="22" y="37"/>
                  </a:lnTo>
                  <a:lnTo>
                    <a:pt x="18" y="37"/>
                  </a:lnTo>
                  <a:lnTo>
                    <a:pt x="18" y="37"/>
                  </a:lnTo>
                  <a:lnTo>
                    <a:pt x="15" y="37"/>
                  </a:lnTo>
                  <a:lnTo>
                    <a:pt x="11" y="36"/>
                  </a:lnTo>
                  <a:lnTo>
                    <a:pt x="5" y="32"/>
                  </a:lnTo>
                  <a:lnTo>
                    <a:pt x="1" y="26"/>
                  </a:lnTo>
                  <a:lnTo>
                    <a:pt x="0" y="22"/>
                  </a:lnTo>
                  <a:lnTo>
                    <a:pt x="0" y="19"/>
                  </a:lnTo>
                  <a:lnTo>
                    <a:pt x="0" y="19"/>
                  </a:lnTo>
                  <a:lnTo>
                    <a:pt x="0" y="15"/>
                  </a:lnTo>
                  <a:lnTo>
                    <a:pt x="1" y="11"/>
                  </a:lnTo>
                  <a:lnTo>
                    <a:pt x="5" y="5"/>
                  </a:lnTo>
                  <a:lnTo>
                    <a:pt x="11" y="2"/>
                  </a:lnTo>
                  <a:lnTo>
                    <a:pt x="15" y="0"/>
                  </a:lnTo>
                  <a:lnTo>
                    <a:pt x="18" y="0"/>
                  </a:lnTo>
                  <a:lnTo>
                    <a:pt x="18" y="0"/>
                  </a:lnTo>
                  <a:lnTo>
                    <a:pt x="22" y="0"/>
                  </a:lnTo>
                  <a:lnTo>
                    <a:pt x="26" y="2"/>
                  </a:lnTo>
                  <a:lnTo>
                    <a:pt x="32" y="5"/>
                  </a:lnTo>
                  <a:lnTo>
                    <a:pt x="35" y="11"/>
                  </a:lnTo>
                  <a:lnTo>
                    <a:pt x="37" y="15"/>
                  </a:lnTo>
                  <a:lnTo>
                    <a:pt x="38" y="19"/>
                  </a:lnTo>
                  <a:lnTo>
                    <a:pt x="38"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0" name="Freeform 510"/>
            <p:cNvSpPr>
              <a:spLocks/>
            </p:cNvSpPr>
            <p:nvPr/>
          </p:nvSpPr>
          <p:spPr bwMode="auto">
            <a:xfrm rot="2844967">
              <a:off x="2371035" y="4531470"/>
              <a:ext cx="77531" cy="77531"/>
            </a:xfrm>
            <a:custGeom>
              <a:avLst/>
              <a:gdLst>
                <a:gd name="T0" fmla="*/ 55 w 55"/>
                <a:gd name="T1" fmla="*/ 28 h 56"/>
                <a:gd name="T2" fmla="*/ 55 w 55"/>
                <a:gd name="T3" fmla="*/ 28 h 56"/>
                <a:gd name="T4" fmla="*/ 55 w 55"/>
                <a:gd name="T5" fmla="*/ 34 h 56"/>
                <a:gd name="T6" fmla="*/ 53 w 55"/>
                <a:gd name="T7" fmla="*/ 39 h 56"/>
                <a:gd name="T8" fmla="*/ 51 w 55"/>
                <a:gd name="T9" fmla="*/ 44 h 56"/>
                <a:gd name="T10" fmla="*/ 47 w 55"/>
                <a:gd name="T11" fmla="*/ 49 h 56"/>
                <a:gd name="T12" fmla="*/ 43 w 55"/>
                <a:gd name="T13" fmla="*/ 52 h 56"/>
                <a:gd name="T14" fmla="*/ 38 w 55"/>
                <a:gd name="T15" fmla="*/ 55 h 56"/>
                <a:gd name="T16" fmla="*/ 33 w 55"/>
                <a:gd name="T17" fmla="*/ 56 h 56"/>
                <a:gd name="T18" fmla="*/ 27 w 55"/>
                <a:gd name="T19" fmla="*/ 56 h 56"/>
                <a:gd name="T20" fmla="*/ 27 w 55"/>
                <a:gd name="T21" fmla="*/ 56 h 56"/>
                <a:gd name="T22" fmla="*/ 22 w 55"/>
                <a:gd name="T23" fmla="*/ 56 h 56"/>
                <a:gd name="T24" fmla="*/ 17 w 55"/>
                <a:gd name="T25" fmla="*/ 55 h 56"/>
                <a:gd name="T26" fmla="*/ 12 w 55"/>
                <a:gd name="T27" fmla="*/ 52 h 56"/>
                <a:gd name="T28" fmla="*/ 7 w 55"/>
                <a:gd name="T29" fmla="*/ 49 h 56"/>
                <a:gd name="T30" fmla="*/ 3 w 55"/>
                <a:gd name="T31" fmla="*/ 44 h 56"/>
                <a:gd name="T32" fmla="*/ 1 w 55"/>
                <a:gd name="T33" fmla="*/ 39 h 56"/>
                <a:gd name="T34" fmla="*/ 0 w 55"/>
                <a:gd name="T35" fmla="*/ 34 h 56"/>
                <a:gd name="T36" fmla="*/ 0 w 55"/>
                <a:gd name="T37" fmla="*/ 28 h 56"/>
                <a:gd name="T38" fmla="*/ 0 w 55"/>
                <a:gd name="T39" fmla="*/ 28 h 56"/>
                <a:gd name="T40" fmla="*/ 0 w 55"/>
                <a:gd name="T41" fmla="*/ 23 h 56"/>
                <a:gd name="T42" fmla="*/ 1 w 55"/>
                <a:gd name="T43" fmla="*/ 18 h 56"/>
                <a:gd name="T44" fmla="*/ 3 w 55"/>
                <a:gd name="T45" fmla="*/ 13 h 56"/>
                <a:gd name="T46" fmla="*/ 7 w 55"/>
                <a:gd name="T47" fmla="*/ 9 h 56"/>
                <a:gd name="T48" fmla="*/ 12 w 55"/>
                <a:gd name="T49" fmla="*/ 5 h 56"/>
                <a:gd name="T50" fmla="*/ 17 w 55"/>
                <a:gd name="T51" fmla="*/ 2 h 56"/>
                <a:gd name="T52" fmla="*/ 22 w 55"/>
                <a:gd name="T53" fmla="*/ 1 h 56"/>
                <a:gd name="T54" fmla="*/ 27 w 55"/>
                <a:gd name="T55" fmla="*/ 0 h 56"/>
                <a:gd name="T56" fmla="*/ 27 w 55"/>
                <a:gd name="T57" fmla="*/ 0 h 56"/>
                <a:gd name="T58" fmla="*/ 33 w 55"/>
                <a:gd name="T59" fmla="*/ 1 h 56"/>
                <a:gd name="T60" fmla="*/ 38 w 55"/>
                <a:gd name="T61" fmla="*/ 2 h 56"/>
                <a:gd name="T62" fmla="*/ 43 w 55"/>
                <a:gd name="T63" fmla="*/ 5 h 56"/>
                <a:gd name="T64" fmla="*/ 47 w 55"/>
                <a:gd name="T65" fmla="*/ 9 h 56"/>
                <a:gd name="T66" fmla="*/ 51 w 55"/>
                <a:gd name="T67" fmla="*/ 13 h 56"/>
                <a:gd name="T68" fmla="*/ 53 w 55"/>
                <a:gd name="T69" fmla="*/ 18 h 56"/>
                <a:gd name="T70" fmla="*/ 55 w 55"/>
                <a:gd name="T71" fmla="*/ 23 h 56"/>
                <a:gd name="T72" fmla="*/ 55 w 55"/>
                <a:gd name="T73" fmla="*/ 28 h 56"/>
                <a:gd name="T74" fmla="*/ 55 w 55"/>
                <a:gd name="T75"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6">
                  <a:moveTo>
                    <a:pt x="55" y="28"/>
                  </a:moveTo>
                  <a:lnTo>
                    <a:pt x="55" y="28"/>
                  </a:lnTo>
                  <a:lnTo>
                    <a:pt x="55" y="34"/>
                  </a:lnTo>
                  <a:lnTo>
                    <a:pt x="53" y="39"/>
                  </a:lnTo>
                  <a:lnTo>
                    <a:pt x="51" y="44"/>
                  </a:lnTo>
                  <a:lnTo>
                    <a:pt x="47" y="49"/>
                  </a:lnTo>
                  <a:lnTo>
                    <a:pt x="43" y="52"/>
                  </a:lnTo>
                  <a:lnTo>
                    <a:pt x="38" y="55"/>
                  </a:lnTo>
                  <a:lnTo>
                    <a:pt x="33" y="56"/>
                  </a:lnTo>
                  <a:lnTo>
                    <a:pt x="27" y="56"/>
                  </a:lnTo>
                  <a:lnTo>
                    <a:pt x="27" y="56"/>
                  </a:lnTo>
                  <a:lnTo>
                    <a:pt x="22" y="56"/>
                  </a:lnTo>
                  <a:lnTo>
                    <a:pt x="17" y="55"/>
                  </a:lnTo>
                  <a:lnTo>
                    <a:pt x="12" y="52"/>
                  </a:lnTo>
                  <a:lnTo>
                    <a:pt x="7" y="49"/>
                  </a:lnTo>
                  <a:lnTo>
                    <a:pt x="3" y="44"/>
                  </a:lnTo>
                  <a:lnTo>
                    <a:pt x="1" y="39"/>
                  </a:lnTo>
                  <a:lnTo>
                    <a:pt x="0" y="34"/>
                  </a:lnTo>
                  <a:lnTo>
                    <a:pt x="0" y="28"/>
                  </a:lnTo>
                  <a:lnTo>
                    <a:pt x="0" y="28"/>
                  </a:lnTo>
                  <a:lnTo>
                    <a:pt x="0" y="23"/>
                  </a:lnTo>
                  <a:lnTo>
                    <a:pt x="1" y="18"/>
                  </a:lnTo>
                  <a:lnTo>
                    <a:pt x="3" y="13"/>
                  </a:lnTo>
                  <a:lnTo>
                    <a:pt x="7" y="9"/>
                  </a:lnTo>
                  <a:lnTo>
                    <a:pt x="12" y="5"/>
                  </a:lnTo>
                  <a:lnTo>
                    <a:pt x="17" y="2"/>
                  </a:lnTo>
                  <a:lnTo>
                    <a:pt x="22" y="1"/>
                  </a:lnTo>
                  <a:lnTo>
                    <a:pt x="27" y="0"/>
                  </a:lnTo>
                  <a:lnTo>
                    <a:pt x="27" y="0"/>
                  </a:lnTo>
                  <a:lnTo>
                    <a:pt x="33" y="1"/>
                  </a:lnTo>
                  <a:lnTo>
                    <a:pt x="38" y="2"/>
                  </a:lnTo>
                  <a:lnTo>
                    <a:pt x="43" y="5"/>
                  </a:lnTo>
                  <a:lnTo>
                    <a:pt x="47" y="9"/>
                  </a:lnTo>
                  <a:lnTo>
                    <a:pt x="51" y="13"/>
                  </a:lnTo>
                  <a:lnTo>
                    <a:pt x="53" y="18"/>
                  </a:lnTo>
                  <a:lnTo>
                    <a:pt x="55" y="23"/>
                  </a:lnTo>
                  <a:lnTo>
                    <a:pt x="55" y="28"/>
                  </a:lnTo>
                  <a:lnTo>
                    <a:pt x="55"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1" name="Freeform 511"/>
            <p:cNvSpPr>
              <a:spLocks/>
            </p:cNvSpPr>
            <p:nvPr/>
          </p:nvSpPr>
          <p:spPr bwMode="auto">
            <a:xfrm rot="2844967">
              <a:off x="2531473" y="4641333"/>
              <a:ext cx="232588" cy="281926"/>
            </a:xfrm>
            <a:custGeom>
              <a:avLst/>
              <a:gdLst>
                <a:gd name="T0" fmla="*/ 123 w 164"/>
                <a:gd name="T1" fmla="*/ 199 h 199"/>
                <a:gd name="T2" fmla="*/ 0 w 164"/>
                <a:gd name="T3" fmla="*/ 156 h 199"/>
                <a:gd name="T4" fmla="*/ 6 w 164"/>
                <a:gd name="T5" fmla="*/ 0 h 199"/>
                <a:gd name="T6" fmla="*/ 164 w 164"/>
                <a:gd name="T7" fmla="*/ 99 h 199"/>
                <a:gd name="T8" fmla="*/ 123 w 164"/>
                <a:gd name="T9" fmla="*/ 199 h 199"/>
              </a:gdLst>
              <a:ahLst/>
              <a:cxnLst>
                <a:cxn ang="0">
                  <a:pos x="T0" y="T1"/>
                </a:cxn>
                <a:cxn ang="0">
                  <a:pos x="T2" y="T3"/>
                </a:cxn>
                <a:cxn ang="0">
                  <a:pos x="T4" y="T5"/>
                </a:cxn>
                <a:cxn ang="0">
                  <a:pos x="T6" y="T7"/>
                </a:cxn>
                <a:cxn ang="0">
                  <a:pos x="T8" y="T9"/>
                </a:cxn>
              </a:cxnLst>
              <a:rect l="0" t="0" r="r" b="b"/>
              <a:pathLst>
                <a:path w="164" h="199">
                  <a:moveTo>
                    <a:pt x="123" y="199"/>
                  </a:moveTo>
                  <a:lnTo>
                    <a:pt x="0" y="156"/>
                  </a:lnTo>
                  <a:lnTo>
                    <a:pt x="6" y="0"/>
                  </a:lnTo>
                  <a:lnTo>
                    <a:pt x="164" y="99"/>
                  </a:lnTo>
                  <a:lnTo>
                    <a:pt x="123" y="199"/>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2" name="Freeform 512"/>
            <p:cNvSpPr>
              <a:spLocks/>
            </p:cNvSpPr>
            <p:nvPr/>
          </p:nvSpPr>
          <p:spPr bwMode="auto">
            <a:xfrm rot="2844967">
              <a:off x="2237927" y="4851745"/>
              <a:ext cx="169153" cy="28192"/>
            </a:xfrm>
            <a:custGeom>
              <a:avLst/>
              <a:gdLst>
                <a:gd name="T0" fmla="*/ 119 w 119"/>
                <a:gd name="T1" fmla="*/ 0 h 20"/>
                <a:gd name="T2" fmla="*/ 119 w 119"/>
                <a:gd name="T3" fmla="*/ 0 h 20"/>
                <a:gd name="T4" fmla="*/ 119 w 119"/>
                <a:gd name="T5" fmla="*/ 3 h 20"/>
                <a:gd name="T6" fmla="*/ 117 w 119"/>
                <a:gd name="T7" fmla="*/ 4 h 20"/>
                <a:gd name="T8" fmla="*/ 111 w 119"/>
                <a:gd name="T9" fmla="*/ 8 h 20"/>
                <a:gd name="T10" fmla="*/ 100 w 119"/>
                <a:gd name="T11" fmla="*/ 11 h 20"/>
                <a:gd name="T12" fmla="*/ 85 w 119"/>
                <a:gd name="T13" fmla="*/ 15 h 20"/>
                <a:gd name="T14" fmla="*/ 67 w 119"/>
                <a:gd name="T15" fmla="*/ 17 h 20"/>
                <a:gd name="T16" fmla="*/ 46 w 119"/>
                <a:gd name="T17" fmla="*/ 19 h 20"/>
                <a:gd name="T18" fmla="*/ 24 w 119"/>
                <a:gd name="T19" fmla="*/ 20 h 20"/>
                <a:gd name="T20" fmla="*/ 0 w 119"/>
                <a:gd name="T21" fmla="*/ 20 h 20"/>
                <a:gd name="T22" fmla="*/ 0 w 119"/>
                <a:gd name="T23" fmla="*/ 0 h 20"/>
                <a:gd name="T24" fmla="*/ 119 w 119"/>
                <a:gd name="T2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9" h="20">
                  <a:moveTo>
                    <a:pt x="119" y="0"/>
                  </a:moveTo>
                  <a:lnTo>
                    <a:pt x="119" y="0"/>
                  </a:lnTo>
                  <a:lnTo>
                    <a:pt x="119" y="3"/>
                  </a:lnTo>
                  <a:lnTo>
                    <a:pt x="117" y="4"/>
                  </a:lnTo>
                  <a:lnTo>
                    <a:pt x="111" y="8"/>
                  </a:lnTo>
                  <a:lnTo>
                    <a:pt x="100" y="11"/>
                  </a:lnTo>
                  <a:lnTo>
                    <a:pt x="85" y="15"/>
                  </a:lnTo>
                  <a:lnTo>
                    <a:pt x="67" y="17"/>
                  </a:lnTo>
                  <a:lnTo>
                    <a:pt x="46" y="19"/>
                  </a:lnTo>
                  <a:lnTo>
                    <a:pt x="24" y="20"/>
                  </a:lnTo>
                  <a:lnTo>
                    <a:pt x="0" y="20"/>
                  </a:lnTo>
                  <a:lnTo>
                    <a:pt x="0" y="0"/>
                  </a:lnTo>
                  <a:lnTo>
                    <a:pt x="119"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3" name="Freeform 513"/>
            <p:cNvSpPr>
              <a:spLocks/>
            </p:cNvSpPr>
            <p:nvPr/>
          </p:nvSpPr>
          <p:spPr bwMode="auto">
            <a:xfrm rot="2844967">
              <a:off x="2692443" y="3992929"/>
              <a:ext cx="246684" cy="944446"/>
            </a:xfrm>
            <a:custGeom>
              <a:avLst/>
              <a:gdLst>
                <a:gd name="T0" fmla="*/ 0 w 173"/>
                <a:gd name="T1" fmla="*/ 0 h 669"/>
                <a:gd name="T2" fmla="*/ 0 w 173"/>
                <a:gd name="T3" fmla="*/ 669 h 669"/>
                <a:gd name="T4" fmla="*/ 102 w 173"/>
                <a:gd name="T5" fmla="*/ 669 h 669"/>
                <a:gd name="T6" fmla="*/ 102 w 173"/>
                <a:gd name="T7" fmla="*/ 669 h 669"/>
                <a:gd name="T8" fmla="*/ 106 w 173"/>
                <a:gd name="T9" fmla="*/ 665 h 669"/>
                <a:gd name="T10" fmla="*/ 113 w 173"/>
                <a:gd name="T11" fmla="*/ 651 h 669"/>
                <a:gd name="T12" fmla="*/ 125 w 173"/>
                <a:gd name="T13" fmla="*/ 629 h 669"/>
                <a:gd name="T14" fmla="*/ 137 w 173"/>
                <a:gd name="T15" fmla="*/ 599 h 669"/>
                <a:gd name="T16" fmla="*/ 145 w 173"/>
                <a:gd name="T17" fmla="*/ 580 h 669"/>
                <a:gd name="T18" fmla="*/ 151 w 173"/>
                <a:gd name="T19" fmla="*/ 560 h 669"/>
                <a:gd name="T20" fmla="*/ 157 w 173"/>
                <a:gd name="T21" fmla="*/ 538 h 669"/>
                <a:gd name="T22" fmla="*/ 162 w 173"/>
                <a:gd name="T23" fmla="*/ 513 h 669"/>
                <a:gd name="T24" fmla="*/ 167 w 173"/>
                <a:gd name="T25" fmla="*/ 487 h 669"/>
                <a:gd name="T26" fmla="*/ 170 w 173"/>
                <a:gd name="T27" fmla="*/ 458 h 669"/>
                <a:gd name="T28" fmla="*/ 172 w 173"/>
                <a:gd name="T29" fmla="*/ 429 h 669"/>
                <a:gd name="T30" fmla="*/ 173 w 173"/>
                <a:gd name="T31" fmla="*/ 398 h 669"/>
                <a:gd name="T32" fmla="*/ 173 w 173"/>
                <a:gd name="T33" fmla="*/ 398 h 669"/>
                <a:gd name="T34" fmla="*/ 173 w 173"/>
                <a:gd name="T35" fmla="*/ 382 h 669"/>
                <a:gd name="T36" fmla="*/ 172 w 173"/>
                <a:gd name="T37" fmla="*/ 365 h 669"/>
                <a:gd name="T38" fmla="*/ 167 w 173"/>
                <a:gd name="T39" fmla="*/ 330 h 669"/>
                <a:gd name="T40" fmla="*/ 159 w 173"/>
                <a:gd name="T41" fmla="*/ 296 h 669"/>
                <a:gd name="T42" fmla="*/ 151 w 173"/>
                <a:gd name="T43" fmla="*/ 262 h 669"/>
                <a:gd name="T44" fmla="*/ 139 w 173"/>
                <a:gd name="T45" fmla="*/ 229 h 669"/>
                <a:gd name="T46" fmla="*/ 127 w 173"/>
                <a:gd name="T47" fmla="*/ 196 h 669"/>
                <a:gd name="T48" fmla="*/ 113 w 173"/>
                <a:gd name="T49" fmla="*/ 165 h 669"/>
                <a:gd name="T50" fmla="*/ 98 w 173"/>
                <a:gd name="T51" fmla="*/ 134 h 669"/>
                <a:gd name="T52" fmla="*/ 84 w 173"/>
                <a:gd name="T53" fmla="*/ 106 h 669"/>
                <a:gd name="T54" fmla="*/ 69 w 173"/>
                <a:gd name="T55" fmla="*/ 81 h 669"/>
                <a:gd name="T56" fmla="*/ 55 w 173"/>
                <a:gd name="T57" fmla="*/ 57 h 669"/>
                <a:gd name="T58" fmla="*/ 40 w 173"/>
                <a:gd name="T59" fmla="*/ 38 h 669"/>
                <a:gd name="T60" fmla="*/ 28 w 173"/>
                <a:gd name="T61" fmla="*/ 22 h 669"/>
                <a:gd name="T62" fmla="*/ 17 w 173"/>
                <a:gd name="T63" fmla="*/ 11 h 669"/>
                <a:gd name="T64" fmla="*/ 7 w 173"/>
                <a:gd name="T65" fmla="*/ 4 h 669"/>
                <a:gd name="T66" fmla="*/ 3 w 173"/>
                <a:gd name="T67" fmla="*/ 1 h 669"/>
                <a:gd name="T68" fmla="*/ 0 w 173"/>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669">
                  <a:moveTo>
                    <a:pt x="0" y="0"/>
                  </a:moveTo>
                  <a:lnTo>
                    <a:pt x="0" y="669"/>
                  </a:lnTo>
                  <a:lnTo>
                    <a:pt x="102" y="669"/>
                  </a:lnTo>
                  <a:lnTo>
                    <a:pt x="102" y="669"/>
                  </a:lnTo>
                  <a:lnTo>
                    <a:pt x="106" y="665"/>
                  </a:lnTo>
                  <a:lnTo>
                    <a:pt x="113" y="651"/>
                  </a:lnTo>
                  <a:lnTo>
                    <a:pt x="125" y="629"/>
                  </a:lnTo>
                  <a:lnTo>
                    <a:pt x="137" y="599"/>
                  </a:lnTo>
                  <a:lnTo>
                    <a:pt x="145" y="580"/>
                  </a:lnTo>
                  <a:lnTo>
                    <a:pt x="151" y="560"/>
                  </a:lnTo>
                  <a:lnTo>
                    <a:pt x="157" y="538"/>
                  </a:lnTo>
                  <a:lnTo>
                    <a:pt x="162" y="513"/>
                  </a:lnTo>
                  <a:lnTo>
                    <a:pt x="167" y="487"/>
                  </a:lnTo>
                  <a:lnTo>
                    <a:pt x="170" y="458"/>
                  </a:lnTo>
                  <a:lnTo>
                    <a:pt x="172" y="429"/>
                  </a:lnTo>
                  <a:lnTo>
                    <a:pt x="173" y="398"/>
                  </a:lnTo>
                  <a:lnTo>
                    <a:pt x="173" y="398"/>
                  </a:lnTo>
                  <a:lnTo>
                    <a:pt x="173" y="382"/>
                  </a:lnTo>
                  <a:lnTo>
                    <a:pt x="172" y="365"/>
                  </a:lnTo>
                  <a:lnTo>
                    <a:pt x="167" y="330"/>
                  </a:lnTo>
                  <a:lnTo>
                    <a:pt x="159" y="296"/>
                  </a:lnTo>
                  <a:lnTo>
                    <a:pt x="151" y="262"/>
                  </a:lnTo>
                  <a:lnTo>
                    <a:pt x="139" y="229"/>
                  </a:lnTo>
                  <a:lnTo>
                    <a:pt x="127" y="196"/>
                  </a:lnTo>
                  <a:lnTo>
                    <a:pt x="113" y="165"/>
                  </a:lnTo>
                  <a:lnTo>
                    <a:pt x="98" y="134"/>
                  </a:lnTo>
                  <a:lnTo>
                    <a:pt x="84" y="106"/>
                  </a:lnTo>
                  <a:lnTo>
                    <a:pt x="69" y="81"/>
                  </a:lnTo>
                  <a:lnTo>
                    <a:pt x="55" y="57"/>
                  </a:lnTo>
                  <a:lnTo>
                    <a:pt x="40" y="38"/>
                  </a:lnTo>
                  <a:lnTo>
                    <a:pt x="28" y="22"/>
                  </a:lnTo>
                  <a:lnTo>
                    <a:pt x="17" y="11"/>
                  </a:lnTo>
                  <a:lnTo>
                    <a:pt x="7" y="4"/>
                  </a:lnTo>
                  <a:lnTo>
                    <a:pt x="3" y="1"/>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4" name="Freeform 514"/>
            <p:cNvSpPr>
              <a:spLocks/>
            </p:cNvSpPr>
            <p:nvPr/>
          </p:nvSpPr>
          <p:spPr bwMode="auto">
            <a:xfrm rot="2844967">
              <a:off x="2692443" y="3992929"/>
              <a:ext cx="246684" cy="944446"/>
            </a:xfrm>
            <a:custGeom>
              <a:avLst/>
              <a:gdLst>
                <a:gd name="T0" fmla="*/ 0 w 173"/>
                <a:gd name="T1" fmla="*/ 0 h 669"/>
                <a:gd name="T2" fmla="*/ 0 w 173"/>
                <a:gd name="T3" fmla="*/ 669 h 669"/>
                <a:gd name="T4" fmla="*/ 102 w 173"/>
                <a:gd name="T5" fmla="*/ 669 h 669"/>
                <a:gd name="T6" fmla="*/ 102 w 173"/>
                <a:gd name="T7" fmla="*/ 669 h 669"/>
                <a:gd name="T8" fmla="*/ 106 w 173"/>
                <a:gd name="T9" fmla="*/ 665 h 669"/>
                <a:gd name="T10" fmla="*/ 113 w 173"/>
                <a:gd name="T11" fmla="*/ 651 h 669"/>
                <a:gd name="T12" fmla="*/ 125 w 173"/>
                <a:gd name="T13" fmla="*/ 629 h 669"/>
                <a:gd name="T14" fmla="*/ 137 w 173"/>
                <a:gd name="T15" fmla="*/ 599 h 669"/>
                <a:gd name="T16" fmla="*/ 145 w 173"/>
                <a:gd name="T17" fmla="*/ 580 h 669"/>
                <a:gd name="T18" fmla="*/ 151 w 173"/>
                <a:gd name="T19" fmla="*/ 560 h 669"/>
                <a:gd name="T20" fmla="*/ 157 w 173"/>
                <a:gd name="T21" fmla="*/ 538 h 669"/>
                <a:gd name="T22" fmla="*/ 162 w 173"/>
                <a:gd name="T23" fmla="*/ 513 h 669"/>
                <a:gd name="T24" fmla="*/ 167 w 173"/>
                <a:gd name="T25" fmla="*/ 487 h 669"/>
                <a:gd name="T26" fmla="*/ 170 w 173"/>
                <a:gd name="T27" fmla="*/ 458 h 669"/>
                <a:gd name="T28" fmla="*/ 172 w 173"/>
                <a:gd name="T29" fmla="*/ 429 h 669"/>
                <a:gd name="T30" fmla="*/ 173 w 173"/>
                <a:gd name="T31" fmla="*/ 398 h 669"/>
                <a:gd name="T32" fmla="*/ 173 w 173"/>
                <a:gd name="T33" fmla="*/ 398 h 669"/>
                <a:gd name="T34" fmla="*/ 173 w 173"/>
                <a:gd name="T35" fmla="*/ 382 h 669"/>
                <a:gd name="T36" fmla="*/ 172 w 173"/>
                <a:gd name="T37" fmla="*/ 365 h 669"/>
                <a:gd name="T38" fmla="*/ 167 w 173"/>
                <a:gd name="T39" fmla="*/ 330 h 669"/>
                <a:gd name="T40" fmla="*/ 159 w 173"/>
                <a:gd name="T41" fmla="*/ 296 h 669"/>
                <a:gd name="T42" fmla="*/ 151 w 173"/>
                <a:gd name="T43" fmla="*/ 262 h 669"/>
                <a:gd name="T44" fmla="*/ 139 w 173"/>
                <a:gd name="T45" fmla="*/ 229 h 669"/>
                <a:gd name="T46" fmla="*/ 127 w 173"/>
                <a:gd name="T47" fmla="*/ 196 h 669"/>
                <a:gd name="T48" fmla="*/ 113 w 173"/>
                <a:gd name="T49" fmla="*/ 165 h 669"/>
                <a:gd name="T50" fmla="*/ 98 w 173"/>
                <a:gd name="T51" fmla="*/ 134 h 669"/>
                <a:gd name="T52" fmla="*/ 84 w 173"/>
                <a:gd name="T53" fmla="*/ 106 h 669"/>
                <a:gd name="T54" fmla="*/ 69 w 173"/>
                <a:gd name="T55" fmla="*/ 81 h 669"/>
                <a:gd name="T56" fmla="*/ 55 w 173"/>
                <a:gd name="T57" fmla="*/ 57 h 669"/>
                <a:gd name="T58" fmla="*/ 40 w 173"/>
                <a:gd name="T59" fmla="*/ 38 h 669"/>
                <a:gd name="T60" fmla="*/ 28 w 173"/>
                <a:gd name="T61" fmla="*/ 22 h 669"/>
                <a:gd name="T62" fmla="*/ 17 w 173"/>
                <a:gd name="T63" fmla="*/ 11 h 669"/>
                <a:gd name="T64" fmla="*/ 7 w 173"/>
                <a:gd name="T65" fmla="*/ 4 h 669"/>
                <a:gd name="T66" fmla="*/ 3 w 173"/>
                <a:gd name="T67" fmla="*/ 1 h 669"/>
                <a:gd name="T68" fmla="*/ 0 w 173"/>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669">
                  <a:moveTo>
                    <a:pt x="0" y="0"/>
                  </a:moveTo>
                  <a:lnTo>
                    <a:pt x="0" y="669"/>
                  </a:lnTo>
                  <a:lnTo>
                    <a:pt x="102" y="669"/>
                  </a:lnTo>
                  <a:lnTo>
                    <a:pt x="102" y="669"/>
                  </a:lnTo>
                  <a:lnTo>
                    <a:pt x="106" y="665"/>
                  </a:lnTo>
                  <a:lnTo>
                    <a:pt x="113" y="651"/>
                  </a:lnTo>
                  <a:lnTo>
                    <a:pt x="125" y="629"/>
                  </a:lnTo>
                  <a:lnTo>
                    <a:pt x="137" y="599"/>
                  </a:lnTo>
                  <a:lnTo>
                    <a:pt x="145" y="580"/>
                  </a:lnTo>
                  <a:lnTo>
                    <a:pt x="151" y="560"/>
                  </a:lnTo>
                  <a:lnTo>
                    <a:pt x="157" y="538"/>
                  </a:lnTo>
                  <a:lnTo>
                    <a:pt x="162" y="513"/>
                  </a:lnTo>
                  <a:lnTo>
                    <a:pt x="167" y="487"/>
                  </a:lnTo>
                  <a:lnTo>
                    <a:pt x="170" y="458"/>
                  </a:lnTo>
                  <a:lnTo>
                    <a:pt x="172" y="429"/>
                  </a:lnTo>
                  <a:lnTo>
                    <a:pt x="173" y="398"/>
                  </a:lnTo>
                  <a:lnTo>
                    <a:pt x="173" y="398"/>
                  </a:lnTo>
                  <a:lnTo>
                    <a:pt x="173" y="382"/>
                  </a:lnTo>
                  <a:lnTo>
                    <a:pt x="172" y="365"/>
                  </a:lnTo>
                  <a:lnTo>
                    <a:pt x="167" y="330"/>
                  </a:lnTo>
                  <a:lnTo>
                    <a:pt x="159" y="296"/>
                  </a:lnTo>
                  <a:lnTo>
                    <a:pt x="151" y="262"/>
                  </a:lnTo>
                  <a:lnTo>
                    <a:pt x="139" y="229"/>
                  </a:lnTo>
                  <a:lnTo>
                    <a:pt x="127" y="196"/>
                  </a:lnTo>
                  <a:lnTo>
                    <a:pt x="113" y="165"/>
                  </a:lnTo>
                  <a:lnTo>
                    <a:pt x="98" y="134"/>
                  </a:lnTo>
                  <a:lnTo>
                    <a:pt x="84" y="106"/>
                  </a:lnTo>
                  <a:lnTo>
                    <a:pt x="69" y="81"/>
                  </a:lnTo>
                  <a:lnTo>
                    <a:pt x="55" y="57"/>
                  </a:lnTo>
                  <a:lnTo>
                    <a:pt x="40" y="38"/>
                  </a:lnTo>
                  <a:lnTo>
                    <a:pt x="28" y="22"/>
                  </a:lnTo>
                  <a:lnTo>
                    <a:pt x="17" y="11"/>
                  </a:lnTo>
                  <a:lnTo>
                    <a:pt x="7" y="4"/>
                  </a:lnTo>
                  <a:lnTo>
                    <a:pt x="3"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5" name="Freeform 515"/>
            <p:cNvSpPr>
              <a:spLocks/>
            </p:cNvSpPr>
            <p:nvPr/>
          </p:nvSpPr>
          <p:spPr bwMode="auto">
            <a:xfrm rot="2844967">
              <a:off x="2989448" y="4070738"/>
              <a:ext cx="126865" cy="190299"/>
            </a:xfrm>
            <a:custGeom>
              <a:avLst/>
              <a:gdLst>
                <a:gd name="T0" fmla="*/ 88 w 88"/>
                <a:gd name="T1" fmla="*/ 113 h 132"/>
                <a:gd name="T2" fmla="*/ 88 w 88"/>
                <a:gd name="T3" fmla="*/ 113 h 132"/>
                <a:gd name="T4" fmla="*/ 68 w 88"/>
                <a:gd name="T5" fmla="*/ 121 h 132"/>
                <a:gd name="T6" fmla="*/ 46 w 88"/>
                <a:gd name="T7" fmla="*/ 127 h 132"/>
                <a:gd name="T8" fmla="*/ 23 w 88"/>
                <a:gd name="T9" fmla="*/ 131 h 132"/>
                <a:gd name="T10" fmla="*/ 0 w 88"/>
                <a:gd name="T11" fmla="*/ 132 h 132"/>
                <a:gd name="T12" fmla="*/ 0 w 88"/>
                <a:gd name="T13" fmla="*/ 0 h 132"/>
                <a:gd name="T14" fmla="*/ 0 w 88"/>
                <a:gd name="T15" fmla="*/ 0 h 132"/>
                <a:gd name="T16" fmla="*/ 2 w 88"/>
                <a:gd name="T17" fmla="*/ 1 h 132"/>
                <a:gd name="T18" fmla="*/ 6 w 88"/>
                <a:gd name="T19" fmla="*/ 3 h 132"/>
                <a:gd name="T20" fmla="*/ 14 w 88"/>
                <a:gd name="T21" fmla="*/ 9 h 132"/>
                <a:gd name="T22" fmla="*/ 24 w 88"/>
                <a:gd name="T23" fmla="*/ 18 h 132"/>
                <a:gd name="T24" fmla="*/ 35 w 88"/>
                <a:gd name="T25" fmla="*/ 32 h 132"/>
                <a:gd name="T26" fmla="*/ 47 w 88"/>
                <a:gd name="T27" fmla="*/ 49 h 132"/>
                <a:gd name="T28" fmla="*/ 61 w 88"/>
                <a:gd name="T29" fmla="*/ 67 h 132"/>
                <a:gd name="T30" fmla="*/ 74 w 88"/>
                <a:gd name="T31" fmla="*/ 89 h 132"/>
                <a:gd name="T32" fmla="*/ 88 w 88"/>
                <a:gd name="T33" fmla="*/ 113 h 132"/>
                <a:gd name="T34" fmla="*/ 88 w 88"/>
                <a:gd name="T35" fmla="*/ 11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132">
                  <a:moveTo>
                    <a:pt x="88" y="113"/>
                  </a:moveTo>
                  <a:lnTo>
                    <a:pt x="88" y="113"/>
                  </a:lnTo>
                  <a:lnTo>
                    <a:pt x="68" y="121"/>
                  </a:lnTo>
                  <a:lnTo>
                    <a:pt x="46" y="127"/>
                  </a:lnTo>
                  <a:lnTo>
                    <a:pt x="23" y="131"/>
                  </a:lnTo>
                  <a:lnTo>
                    <a:pt x="0" y="132"/>
                  </a:lnTo>
                  <a:lnTo>
                    <a:pt x="0" y="0"/>
                  </a:lnTo>
                  <a:lnTo>
                    <a:pt x="0" y="0"/>
                  </a:lnTo>
                  <a:lnTo>
                    <a:pt x="2" y="1"/>
                  </a:lnTo>
                  <a:lnTo>
                    <a:pt x="6" y="3"/>
                  </a:lnTo>
                  <a:lnTo>
                    <a:pt x="14" y="9"/>
                  </a:lnTo>
                  <a:lnTo>
                    <a:pt x="24" y="18"/>
                  </a:lnTo>
                  <a:lnTo>
                    <a:pt x="35" y="32"/>
                  </a:lnTo>
                  <a:lnTo>
                    <a:pt x="47" y="49"/>
                  </a:lnTo>
                  <a:lnTo>
                    <a:pt x="61" y="67"/>
                  </a:lnTo>
                  <a:lnTo>
                    <a:pt x="74" y="89"/>
                  </a:lnTo>
                  <a:lnTo>
                    <a:pt x="88" y="113"/>
                  </a:lnTo>
                  <a:lnTo>
                    <a:pt x="88" y="113"/>
                  </a:lnTo>
                  <a:close/>
                </a:path>
              </a:pathLst>
            </a:custGeom>
            <a:solidFill>
              <a:srgbClr val="FF6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6" name="Freeform 516"/>
            <p:cNvSpPr>
              <a:spLocks/>
            </p:cNvSpPr>
            <p:nvPr/>
          </p:nvSpPr>
          <p:spPr bwMode="auto">
            <a:xfrm rot="2844967">
              <a:off x="2498680" y="4789557"/>
              <a:ext cx="169153" cy="324214"/>
            </a:xfrm>
            <a:custGeom>
              <a:avLst/>
              <a:gdLst>
                <a:gd name="T0" fmla="*/ 11 w 120"/>
                <a:gd name="T1" fmla="*/ 234 h 234"/>
                <a:gd name="T2" fmla="*/ 0 w 120"/>
                <a:gd name="T3" fmla="*/ 189 h 234"/>
                <a:gd name="T4" fmla="*/ 82 w 120"/>
                <a:gd name="T5" fmla="*/ 0 h 234"/>
                <a:gd name="T6" fmla="*/ 120 w 120"/>
                <a:gd name="T7" fmla="*/ 23 h 234"/>
                <a:gd name="T8" fmla="*/ 11 w 120"/>
                <a:gd name="T9" fmla="*/ 234 h 234"/>
              </a:gdLst>
              <a:ahLst/>
              <a:cxnLst>
                <a:cxn ang="0">
                  <a:pos x="T0" y="T1"/>
                </a:cxn>
                <a:cxn ang="0">
                  <a:pos x="T2" y="T3"/>
                </a:cxn>
                <a:cxn ang="0">
                  <a:pos x="T4" y="T5"/>
                </a:cxn>
                <a:cxn ang="0">
                  <a:pos x="T6" y="T7"/>
                </a:cxn>
                <a:cxn ang="0">
                  <a:pos x="T8" y="T9"/>
                </a:cxn>
              </a:cxnLst>
              <a:rect l="0" t="0" r="r" b="b"/>
              <a:pathLst>
                <a:path w="120" h="234">
                  <a:moveTo>
                    <a:pt x="11" y="234"/>
                  </a:moveTo>
                  <a:lnTo>
                    <a:pt x="0" y="189"/>
                  </a:lnTo>
                  <a:lnTo>
                    <a:pt x="82" y="0"/>
                  </a:lnTo>
                  <a:lnTo>
                    <a:pt x="120" y="23"/>
                  </a:lnTo>
                  <a:lnTo>
                    <a:pt x="11" y="234"/>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7" name="Freeform 517"/>
            <p:cNvSpPr>
              <a:spLocks/>
            </p:cNvSpPr>
            <p:nvPr/>
          </p:nvSpPr>
          <p:spPr bwMode="auto">
            <a:xfrm rot="2844967">
              <a:off x="2666246" y="4341555"/>
              <a:ext cx="119819" cy="239633"/>
            </a:xfrm>
            <a:custGeom>
              <a:avLst/>
              <a:gdLst>
                <a:gd name="T0" fmla="*/ 0 w 84"/>
                <a:gd name="T1" fmla="*/ 0 h 168"/>
                <a:gd name="T2" fmla="*/ 0 w 84"/>
                <a:gd name="T3" fmla="*/ 168 h 168"/>
                <a:gd name="T4" fmla="*/ 0 w 84"/>
                <a:gd name="T5" fmla="*/ 168 h 168"/>
                <a:gd name="T6" fmla="*/ 8 w 84"/>
                <a:gd name="T7" fmla="*/ 167 h 168"/>
                <a:gd name="T8" fmla="*/ 17 w 84"/>
                <a:gd name="T9" fmla="*/ 166 h 168"/>
                <a:gd name="T10" fmla="*/ 24 w 84"/>
                <a:gd name="T11" fmla="*/ 163 h 168"/>
                <a:gd name="T12" fmla="*/ 33 w 84"/>
                <a:gd name="T13" fmla="*/ 161 h 168"/>
                <a:gd name="T14" fmla="*/ 40 w 84"/>
                <a:gd name="T15" fmla="*/ 157 h 168"/>
                <a:gd name="T16" fmla="*/ 47 w 84"/>
                <a:gd name="T17" fmla="*/ 154 h 168"/>
                <a:gd name="T18" fmla="*/ 53 w 84"/>
                <a:gd name="T19" fmla="*/ 149 h 168"/>
                <a:gd name="T20" fmla="*/ 59 w 84"/>
                <a:gd name="T21" fmla="*/ 143 h 168"/>
                <a:gd name="T22" fmla="*/ 64 w 84"/>
                <a:gd name="T23" fmla="*/ 138 h 168"/>
                <a:gd name="T24" fmla="*/ 69 w 84"/>
                <a:gd name="T25" fmla="*/ 130 h 168"/>
                <a:gd name="T26" fmla="*/ 74 w 84"/>
                <a:gd name="T27" fmla="*/ 124 h 168"/>
                <a:gd name="T28" fmla="*/ 77 w 84"/>
                <a:gd name="T29" fmla="*/ 117 h 168"/>
                <a:gd name="T30" fmla="*/ 80 w 84"/>
                <a:gd name="T31" fmla="*/ 108 h 168"/>
                <a:gd name="T32" fmla="*/ 81 w 84"/>
                <a:gd name="T33" fmla="*/ 101 h 168"/>
                <a:gd name="T34" fmla="*/ 84 w 84"/>
                <a:gd name="T35" fmla="*/ 93 h 168"/>
                <a:gd name="T36" fmla="*/ 84 w 84"/>
                <a:gd name="T37" fmla="*/ 84 h 168"/>
                <a:gd name="T38" fmla="*/ 84 w 84"/>
                <a:gd name="T39" fmla="*/ 84 h 168"/>
                <a:gd name="T40" fmla="*/ 84 w 84"/>
                <a:gd name="T41" fmla="*/ 75 h 168"/>
                <a:gd name="T42" fmla="*/ 81 w 84"/>
                <a:gd name="T43" fmla="*/ 67 h 168"/>
                <a:gd name="T44" fmla="*/ 80 w 84"/>
                <a:gd name="T45" fmla="*/ 58 h 168"/>
                <a:gd name="T46" fmla="*/ 77 w 84"/>
                <a:gd name="T47" fmla="*/ 51 h 168"/>
                <a:gd name="T48" fmla="*/ 74 w 84"/>
                <a:gd name="T49" fmla="*/ 44 h 168"/>
                <a:gd name="T50" fmla="*/ 69 w 84"/>
                <a:gd name="T51" fmla="*/ 36 h 168"/>
                <a:gd name="T52" fmla="*/ 64 w 84"/>
                <a:gd name="T53" fmla="*/ 30 h 168"/>
                <a:gd name="T54" fmla="*/ 59 w 84"/>
                <a:gd name="T55" fmla="*/ 24 h 168"/>
                <a:gd name="T56" fmla="*/ 53 w 84"/>
                <a:gd name="T57" fmla="*/ 19 h 168"/>
                <a:gd name="T58" fmla="*/ 47 w 84"/>
                <a:gd name="T59" fmla="*/ 15 h 168"/>
                <a:gd name="T60" fmla="*/ 40 w 84"/>
                <a:gd name="T61" fmla="*/ 10 h 168"/>
                <a:gd name="T62" fmla="*/ 33 w 84"/>
                <a:gd name="T63" fmla="*/ 6 h 168"/>
                <a:gd name="T64" fmla="*/ 24 w 84"/>
                <a:gd name="T65" fmla="*/ 4 h 168"/>
                <a:gd name="T66" fmla="*/ 17 w 84"/>
                <a:gd name="T67" fmla="*/ 1 h 168"/>
                <a:gd name="T68" fmla="*/ 8 w 84"/>
                <a:gd name="T69" fmla="*/ 0 h 168"/>
                <a:gd name="T70" fmla="*/ 0 w 84"/>
                <a:gd name="T7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4" h="168">
                  <a:moveTo>
                    <a:pt x="0" y="0"/>
                  </a:moveTo>
                  <a:lnTo>
                    <a:pt x="0" y="168"/>
                  </a:lnTo>
                  <a:lnTo>
                    <a:pt x="0" y="168"/>
                  </a:lnTo>
                  <a:lnTo>
                    <a:pt x="8" y="167"/>
                  </a:lnTo>
                  <a:lnTo>
                    <a:pt x="17" y="166"/>
                  </a:lnTo>
                  <a:lnTo>
                    <a:pt x="24" y="163"/>
                  </a:lnTo>
                  <a:lnTo>
                    <a:pt x="33" y="161"/>
                  </a:lnTo>
                  <a:lnTo>
                    <a:pt x="40" y="157"/>
                  </a:lnTo>
                  <a:lnTo>
                    <a:pt x="47" y="154"/>
                  </a:lnTo>
                  <a:lnTo>
                    <a:pt x="53" y="149"/>
                  </a:lnTo>
                  <a:lnTo>
                    <a:pt x="59" y="143"/>
                  </a:lnTo>
                  <a:lnTo>
                    <a:pt x="64" y="138"/>
                  </a:lnTo>
                  <a:lnTo>
                    <a:pt x="69" y="130"/>
                  </a:lnTo>
                  <a:lnTo>
                    <a:pt x="74" y="124"/>
                  </a:lnTo>
                  <a:lnTo>
                    <a:pt x="77" y="117"/>
                  </a:lnTo>
                  <a:lnTo>
                    <a:pt x="80" y="108"/>
                  </a:lnTo>
                  <a:lnTo>
                    <a:pt x="81" y="101"/>
                  </a:lnTo>
                  <a:lnTo>
                    <a:pt x="84" y="93"/>
                  </a:lnTo>
                  <a:lnTo>
                    <a:pt x="84" y="84"/>
                  </a:lnTo>
                  <a:lnTo>
                    <a:pt x="84" y="84"/>
                  </a:lnTo>
                  <a:lnTo>
                    <a:pt x="84" y="75"/>
                  </a:lnTo>
                  <a:lnTo>
                    <a:pt x="81" y="67"/>
                  </a:lnTo>
                  <a:lnTo>
                    <a:pt x="80" y="58"/>
                  </a:lnTo>
                  <a:lnTo>
                    <a:pt x="77" y="51"/>
                  </a:lnTo>
                  <a:lnTo>
                    <a:pt x="74" y="44"/>
                  </a:lnTo>
                  <a:lnTo>
                    <a:pt x="69" y="36"/>
                  </a:lnTo>
                  <a:lnTo>
                    <a:pt x="64" y="30"/>
                  </a:lnTo>
                  <a:lnTo>
                    <a:pt x="59" y="24"/>
                  </a:lnTo>
                  <a:lnTo>
                    <a:pt x="53" y="19"/>
                  </a:lnTo>
                  <a:lnTo>
                    <a:pt x="47" y="15"/>
                  </a:lnTo>
                  <a:lnTo>
                    <a:pt x="40" y="10"/>
                  </a:lnTo>
                  <a:lnTo>
                    <a:pt x="33" y="6"/>
                  </a:lnTo>
                  <a:lnTo>
                    <a:pt x="24" y="4"/>
                  </a:lnTo>
                  <a:lnTo>
                    <a:pt x="17" y="1"/>
                  </a:lnTo>
                  <a:lnTo>
                    <a:pt x="8" y="0"/>
                  </a:lnTo>
                  <a:lnTo>
                    <a:pt x="0" y="0"/>
                  </a:lnTo>
                  <a:close/>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8" name="Freeform 518"/>
            <p:cNvSpPr>
              <a:spLocks/>
            </p:cNvSpPr>
            <p:nvPr/>
          </p:nvSpPr>
          <p:spPr bwMode="auto">
            <a:xfrm rot="2844967">
              <a:off x="2666246" y="4341555"/>
              <a:ext cx="119819" cy="239633"/>
            </a:xfrm>
            <a:custGeom>
              <a:avLst/>
              <a:gdLst>
                <a:gd name="T0" fmla="*/ 0 w 84"/>
                <a:gd name="T1" fmla="*/ 0 h 168"/>
                <a:gd name="T2" fmla="*/ 0 w 84"/>
                <a:gd name="T3" fmla="*/ 168 h 168"/>
                <a:gd name="T4" fmla="*/ 0 w 84"/>
                <a:gd name="T5" fmla="*/ 168 h 168"/>
                <a:gd name="T6" fmla="*/ 8 w 84"/>
                <a:gd name="T7" fmla="*/ 167 h 168"/>
                <a:gd name="T8" fmla="*/ 17 w 84"/>
                <a:gd name="T9" fmla="*/ 166 h 168"/>
                <a:gd name="T10" fmla="*/ 24 w 84"/>
                <a:gd name="T11" fmla="*/ 163 h 168"/>
                <a:gd name="T12" fmla="*/ 33 w 84"/>
                <a:gd name="T13" fmla="*/ 161 h 168"/>
                <a:gd name="T14" fmla="*/ 40 w 84"/>
                <a:gd name="T15" fmla="*/ 157 h 168"/>
                <a:gd name="T16" fmla="*/ 47 w 84"/>
                <a:gd name="T17" fmla="*/ 154 h 168"/>
                <a:gd name="T18" fmla="*/ 53 w 84"/>
                <a:gd name="T19" fmla="*/ 149 h 168"/>
                <a:gd name="T20" fmla="*/ 59 w 84"/>
                <a:gd name="T21" fmla="*/ 143 h 168"/>
                <a:gd name="T22" fmla="*/ 64 w 84"/>
                <a:gd name="T23" fmla="*/ 138 h 168"/>
                <a:gd name="T24" fmla="*/ 69 w 84"/>
                <a:gd name="T25" fmla="*/ 130 h 168"/>
                <a:gd name="T26" fmla="*/ 74 w 84"/>
                <a:gd name="T27" fmla="*/ 124 h 168"/>
                <a:gd name="T28" fmla="*/ 77 w 84"/>
                <a:gd name="T29" fmla="*/ 117 h 168"/>
                <a:gd name="T30" fmla="*/ 80 w 84"/>
                <a:gd name="T31" fmla="*/ 108 h 168"/>
                <a:gd name="T32" fmla="*/ 81 w 84"/>
                <a:gd name="T33" fmla="*/ 101 h 168"/>
                <a:gd name="T34" fmla="*/ 84 w 84"/>
                <a:gd name="T35" fmla="*/ 93 h 168"/>
                <a:gd name="T36" fmla="*/ 84 w 84"/>
                <a:gd name="T37" fmla="*/ 84 h 168"/>
                <a:gd name="T38" fmla="*/ 84 w 84"/>
                <a:gd name="T39" fmla="*/ 84 h 168"/>
                <a:gd name="T40" fmla="*/ 84 w 84"/>
                <a:gd name="T41" fmla="*/ 75 h 168"/>
                <a:gd name="T42" fmla="*/ 81 w 84"/>
                <a:gd name="T43" fmla="*/ 67 h 168"/>
                <a:gd name="T44" fmla="*/ 80 w 84"/>
                <a:gd name="T45" fmla="*/ 58 h 168"/>
                <a:gd name="T46" fmla="*/ 77 w 84"/>
                <a:gd name="T47" fmla="*/ 51 h 168"/>
                <a:gd name="T48" fmla="*/ 74 w 84"/>
                <a:gd name="T49" fmla="*/ 44 h 168"/>
                <a:gd name="T50" fmla="*/ 69 w 84"/>
                <a:gd name="T51" fmla="*/ 36 h 168"/>
                <a:gd name="T52" fmla="*/ 64 w 84"/>
                <a:gd name="T53" fmla="*/ 30 h 168"/>
                <a:gd name="T54" fmla="*/ 59 w 84"/>
                <a:gd name="T55" fmla="*/ 24 h 168"/>
                <a:gd name="T56" fmla="*/ 53 w 84"/>
                <a:gd name="T57" fmla="*/ 19 h 168"/>
                <a:gd name="T58" fmla="*/ 47 w 84"/>
                <a:gd name="T59" fmla="*/ 15 h 168"/>
                <a:gd name="T60" fmla="*/ 40 w 84"/>
                <a:gd name="T61" fmla="*/ 10 h 168"/>
                <a:gd name="T62" fmla="*/ 33 w 84"/>
                <a:gd name="T63" fmla="*/ 6 h 168"/>
                <a:gd name="T64" fmla="*/ 24 w 84"/>
                <a:gd name="T65" fmla="*/ 4 h 168"/>
                <a:gd name="T66" fmla="*/ 17 w 84"/>
                <a:gd name="T67" fmla="*/ 1 h 168"/>
                <a:gd name="T68" fmla="*/ 8 w 84"/>
                <a:gd name="T69" fmla="*/ 0 h 168"/>
                <a:gd name="T70" fmla="*/ 0 w 84"/>
                <a:gd name="T7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4" h="168">
                  <a:moveTo>
                    <a:pt x="0" y="0"/>
                  </a:moveTo>
                  <a:lnTo>
                    <a:pt x="0" y="168"/>
                  </a:lnTo>
                  <a:lnTo>
                    <a:pt x="0" y="168"/>
                  </a:lnTo>
                  <a:lnTo>
                    <a:pt x="8" y="167"/>
                  </a:lnTo>
                  <a:lnTo>
                    <a:pt x="17" y="166"/>
                  </a:lnTo>
                  <a:lnTo>
                    <a:pt x="24" y="163"/>
                  </a:lnTo>
                  <a:lnTo>
                    <a:pt x="33" y="161"/>
                  </a:lnTo>
                  <a:lnTo>
                    <a:pt x="40" y="157"/>
                  </a:lnTo>
                  <a:lnTo>
                    <a:pt x="47" y="154"/>
                  </a:lnTo>
                  <a:lnTo>
                    <a:pt x="53" y="149"/>
                  </a:lnTo>
                  <a:lnTo>
                    <a:pt x="59" y="143"/>
                  </a:lnTo>
                  <a:lnTo>
                    <a:pt x="64" y="138"/>
                  </a:lnTo>
                  <a:lnTo>
                    <a:pt x="69" y="130"/>
                  </a:lnTo>
                  <a:lnTo>
                    <a:pt x="74" y="124"/>
                  </a:lnTo>
                  <a:lnTo>
                    <a:pt x="77" y="117"/>
                  </a:lnTo>
                  <a:lnTo>
                    <a:pt x="80" y="108"/>
                  </a:lnTo>
                  <a:lnTo>
                    <a:pt x="81" y="101"/>
                  </a:lnTo>
                  <a:lnTo>
                    <a:pt x="84" y="93"/>
                  </a:lnTo>
                  <a:lnTo>
                    <a:pt x="84" y="84"/>
                  </a:lnTo>
                  <a:lnTo>
                    <a:pt x="84" y="84"/>
                  </a:lnTo>
                  <a:lnTo>
                    <a:pt x="84" y="75"/>
                  </a:lnTo>
                  <a:lnTo>
                    <a:pt x="81" y="67"/>
                  </a:lnTo>
                  <a:lnTo>
                    <a:pt x="80" y="58"/>
                  </a:lnTo>
                  <a:lnTo>
                    <a:pt x="77" y="51"/>
                  </a:lnTo>
                  <a:lnTo>
                    <a:pt x="74" y="44"/>
                  </a:lnTo>
                  <a:lnTo>
                    <a:pt x="69" y="36"/>
                  </a:lnTo>
                  <a:lnTo>
                    <a:pt x="64" y="30"/>
                  </a:lnTo>
                  <a:lnTo>
                    <a:pt x="59" y="24"/>
                  </a:lnTo>
                  <a:lnTo>
                    <a:pt x="53" y="19"/>
                  </a:lnTo>
                  <a:lnTo>
                    <a:pt x="47" y="15"/>
                  </a:lnTo>
                  <a:lnTo>
                    <a:pt x="40" y="10"/>
                  </a:lnTo>
                  <a:lnTo>
                    <a:pt x="33" y="6"/>
                  </a:lnTo>
                  <a:lnTo>
                    <a:pt x="24" y="4"/>
                  </a:lnTo>
                  <a:lnTo>
                    <a:pt x="17" y="1"/>
                  </a:lnTo>
                  <a:lnTo>
                    <a:pt x="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9" name="Freeform 519"/>
            <p:cNvSpPr>
              <a:spLocks/>
            </p:cNvSpPr>
            <p:nvPr/>
          </p:nvSpPr>
          <p:spPr bwMode="auto">
            <a:xfrm rot="2844967">
              <a:off x="2443034" y="4603169"/>
              <a:ext cx="232588" cy="176203"/>
            </a:xfrm>
            <a:custGeom>
              <a:avLst/>
              <a:gdLst>
                <a:gd name="T0" fmla="*/ 0 w 162"/>
                <a:gd name="T1" fmla="*/ 0 h 124"/>
                <a:gd name="T2" fmla="*/ 162 w 162"/>
                <a:gd name="T3" fmla="*/ 0 h 124"/>
                <a:gd name="T4" fmla="*/ 162 w 162"/>
                <a:gd name="T5" fmla="*/ 0 h 124"/>
                <a:gd name="T6" fmla="*/ 157 w 162"/>
                <a:gd name="T7" fmla="*/ 19 h 124"/>
                <a:gd name="T8" fmla="*/ 152 w 162"/>
                <a:gd name="T9" fmla="*/ 39 h 124"/>
                <a:gd name="T10" fmla="*/ 141 w 162"/>
                <a:gd name="T11" fmla="*/ 73 h 124"/>
                <a:gd name="T12" fmla="*/ 130 w 162"/>
                <a:gd name="T13" fmla="*/ 101 h 124"/>
                <a:gd name="T14" fmla="*/ 120 w 162"/>
                <a:gd name="T15" fmla="*/ 124 h 124"/>
                <a:gd name="T16" fmla="*/ 0 w 162"/>
                <a:gd name="T17" fmla="*/ 124 h 124"/>
                <a:gd name="T18" fmla="*/ 0 w 162"/>
                <a:gd name="T19"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 h="124">
                  <a:moveTo>
                    <a:pt x="0" y="0"/>
                  </a:moveTo>
                  <a:lnTo>
                    <a:pt x="162" y="0"/>
                  </a:lnTo>
                  <a:lnTo>
                    <a:pt x="162" y="0"/>
                  </a:lnTo>
                  <a:lnTo>
                    <a:pt x="157" y="19"/>
                  </a:lnTo>
                  <a:lnTo>
                    <a:pt x="152" y="39"/>
                  </a:lnTo>
                  <a:lnTo>
                    <a:pt x="141" y="73"/>
                  </a:lnTo>
                  <a:lnTo>
                    <a:pt x="130" y="101"/>
                  </a:lnTo>
                  <a:lnTo>
                    <a:pt x="120" y="124"/>
                  </a:lnTo>
                  <a:lnTo>
                    <a:pt x="0" y="124"/>
                  </a:lnTo>
                  <a:lnTo>
                    <a:pt x="0"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0" name="Freeform 520"/>
            <p:cNvSpPr>
              <a:spLocks/>
            </p:cNvSpPr>
            <p:nvPr/>
          </p:nvSpPr>
          <p:spPr bwMode="auto">
            <a:xfrm rot="2844967">
              <a:off x="2707445" y="4367553"/>
              <a:ext cx="105723" cy="105723"/>
            </a:xfrm>
            <a:custGeom>
              <a:avLst/>
              <a:gdLst>
                <a:gd name="T0" fmla="*/ 0 w 75"/>
                <a:gd name="T1" fmla="*/ 0 h 76"/>
                <a:gd name="T2" fmla="*/ 0 w 75"/>
                <a:gd name="T3" fmla="*/ 0 h 76"/>
                <a:gd name="T4" fmla="*/ 7 w 75"/>
                <a:gd name="T5" fmla="*/ 0 h 76"/>
                <a:gd name="T6" fmla="*/ 14 w 75"/>
                <a:gd name="T7" fmla="*/ 2 h 76"/>
                <a:gd name="T8" fmla="*/ 22 w 75"/>
                <a:gd name="T9" fmla="*/ 4 h 76"/>
                <a:gd name="T10" fmla="*/ 29 w 75"/>
                <a:gd name="T11" fmla="*/ 7 h 76"/>
                <a:gd name="T12" fmla="*/ 41 w 75"/>
                <a:gd name="T13" fmla="*/ 14 h 76"/>
                <a:gd name="T14" fmla="*/ 53 w 75"/>
                <a:gd name="T15" fmla="*/ 22 h 76"/>
                <a:gd name="T16" fmla="*/ 62 w 75"/>
                <a:gd name="T17" fmla="*/ 33 h 76"/>
                <a:gd name="T18" fmla="*/ 69 w 75"/>
                <a:gd name="T19" fmla="*/ 47 h 76"/>
                <a:gd name="T20" fmla="*/ 72 w 75"/>
                <a:gd name="T21" fmla="*/ 53 h 76"/>
                <a:gd name="T22" fmla="*/ 73 w 75"/>
                <a:gd name="T23" fmla="*/ 60 h 76"/>
                <a:gd name="T24" fmla="*/ 74 w 75"/>
                <a:gd name="T25" fmla="*/ 67 h 76"/>
                <a:gd name="T26" fmla="*/ 75 w 75"/>
                <a:gd name="T27" fmla="*/ 76 h 76"/>
                <a:gd name="T28" fmla="*/ 0 w 75"/>
                <a:gd name="T29" fmla="*/ 76 h 76"/>
                <a:gd name="T30" fmla="*/ 0 w 75"/>
                <a:gd name="T3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 h="76">
                  <a:moveTo>
                    <a:pt x="0" y="0"/>
                  </a:moveTo>
                  <a:lnTo>
                    <a:pt x="0" y="0"/>
                  </a:lnTo>
                  <a:lnTo>
                    <a:pt x="7" y="0"/>
                  </a:lnTo>
                  <a:lnTo>
                    <a:pt x="14" y="2"/>
                  </a:lnTo>
                  <a:lnTo>
                    <a:pt x="22" y="4"/>
                  </a:lnTo>
                  <a:lnTo>
                    <a:pt x="29" y="7"/>
                  </a:lnTo>
                  <a:lnTo>
                    <a:pt x="41" y="14"/>
                  </a:lnTo>
                  <a:lnTo>
                    <a:pt x="53" y="22"/>
                  </a:lnTo>
                  <a:lnTo>
                    <a:pt x="62" y="33"/>
                  </a:lnTo>
                  <a:lnTo>
                    <a:pt x="69" y="47"/>
                  </a:lnTo>
                  <a:lnTo>
                    <a:pt x="72" y="53"/>
                  </a:lnTo>
                  <a:lnTo>
                    <a:pt x="73" y="60"/>
                  </a:lnTo>
                  <a:lnTo>
                    <a:pt x="74" y="67"/>
                  </a:lnTo>
                  <a:lnTo>
                    <a:pt x="75" y="76"/>
                  </a:lnTo>
                  <a:lnTo>
                    <a:pt x="0" y="76"/>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1" name="Freeform 521"/>
            <p:cNvSpPr>
              <a:spLocks/>
            </p:cNvSpPr>
            <p:nvPr/>
          </p:nvSpPr>
          <p:spPr bwMode="auto">
            <a:xfrm rot="2844967">
              <a:off x="2629605" y="4439089"/>
              <a:ext cx="105723" cy="105723"/>
            </a:xfrm>
            <a:custGeom>
              <a:avLst/>
              <a:gdLst>
                <a:gd name="T0" fmla="*/ 75 w 75"/>
                <a:gd name="T1" fmla="*/ 0 h 74"/>
                <a:gd name="T2" fmla="*/ 75 w 75"/>
                <a:gd name="T3" fmla="*/ 0 h 74"/>
                <a:gd name="T4" fmla="*/ 74 w 75"/>
                <a:gd name="T5" fmla="*/ 7 h 74"/>
                <a:gd name="T6" fmla="*/ 73 w 75"/>
                <a:gd name="T7" fmla="*/ 15 h 74"/>
                <a:gd name="T8" fmla="*/ 72 w 75"/>
                <a:gd name="T9" fmla="*/ 22 h 74"/>
                <a:gd name="T10" fmla="*/ 69 w 75"/>
                <a:gd name="T11" fmla="*/ 29 h 74"/>
                <a:gd name="T12" fmla="*/ 62 w 75"/>
                <a:gd name="T13" fmla="*/ 41 h 74"/>
                <a:gd name="T14" fmla="*/ 53 w 75"/>
                <a:gd name="T15" fmla="*/ 52 h 74"/>
                <a:gd name="T16" fmla="*/ 41 w 75"/>
                <a:gd name="T17" fmla="*/ 62 h 74"/>
                <a:gd name="T18" fmla="*/ 29 w 75"/>
                <a:gd name="T19" fmla="*/ 68 h 74"/>
                <a:gd name="T20" fmla="*/ 22 w 75"/>
                <a:gd name="T21" fmla="*/ 72 h 74"/>
                <a:gd name="T22" fmla="*/ 14 w 75"/>
                <a:gd name="T23" fmla="*/ 73 h 74"/>
                <a:gd name="T24" fmla="*/ 7 w 75"/>
                <a:gd name="T25" fmla="*/ 74 h 74"/>
                <a:gd name="T26" fmla="*/ 0 w 75"/>
                <a:gd name="T27" fmla="*/ 74 h 74"/>
                <a:gd name="T28" fmla="*/ 0 w 75"/>
                <a:gd name="T29" fmla="*/ 0 h 74"/>
                <a:gd name="T30" fmla="*/ 75 w 75"/>
                <a:gd name="T3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 h="74">
                  <a:moveTo>
                    <a:pt x="75" y="0"/>
                  </a:moveTo>
                  <a:lnTo>
                    <a:pt x="75" y="0"/>
                  </a:lnTo>
                  <a:lnTo>
                    <a:pt x="74" y="7"/>
                  </a:lnTo>
                  <a:lnTo>
                    <a:pt x="73" y="15"/>
                  </a:lnTo>
                  <a:lnTo>
                    <a:pt x="72" y="22"/>
                  </a:lnTo>
                  <a:lnTo>
                    <a:pt x="69" y="29"/>
                  </a:lnTo>
                  <a:lnTo>
                    <a:pt x="62" y="41"/>
                  </a:lnTo>
                  <a:lnTo>
                    <a:pt x="53" y="52"/>
                  </a:lnTo>
                  <a:lnTo>
                    <a:pt x="41" y="62"/>
                  </a:lnTo>
                  <a:lnTo>
                    <a:pt x="29" y="68"/>
                  </a:lnTo>
                  <a:lnTo>
                    <a:pt x="22" y="72"/>
                  </a:lnTo>
                  <a:lnTo>
                    <a:pt x="14" y="73"/>
                  </a:lnTo>
                  <a:lnTo>
                    <a:pt x="7" y="74"/>
                  </a:lnTo>
                  <a:lnTo>
                    <a:pt x="0" y="74"/>
                  </a:lnTo>
                  <a:lnTo>
                    <a:pt x="0" y="0"/>
                  </a:lnTo>
                  <a:lnTo>
                    <a:pt x="75" y="0"/>
                  </a:lnTo>
                  <a:close/>
                </a:path>
              </a:pathLst>
            </a:custGeom>
            <a:solidFill>
              <a:srgbClr val="2A5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2" name="Freeform 522"/>
            <p:cNvSpPr>
              <a:spLocks/>
            </p:cNvSpPr>
            <p:nvPr/>
          </p:nvSpPr>
          <p:spPr bwMode="auto">
            <a:xfrm rot="2844967">
              <a:off x="2828767" y="4225197"/>
              <a:ext cx="77531" cy="155057"/>
            </a:xfrm>
            <a:custGeom>
              <a:avLst/>
              <a:gdLst>
                <a:gd name="T0" fmla="*/ 0 w 53"/>
                <a:gd name="T1" fmla="*/ 0 h 109"/>
                <a:gd name="T2" fmla="*/ 0 w 53"/>
                <a:gd name="T3" fmla="*/ 109 h 109"/>
                <a:gd name="T4" fmla="*/ 0 w 53"/>
                <a:gd name="T5" fmla="*/ 109 h 109"/>
                <a:gd name="T6" fmla="*/ 11 w 53"/>
                <a:gd name="T7" fmla="*/ 107 h 109"/>
                <a:gd name="T8" fmla="*/ 20 w 53"/>
                <a:gd name="T9" fmla="*/ 104 h 109"/>
                <a:gd name="T10" fmla="*/ 30 w 53"/>
                <a:gd name="T11" fmla="*/ 99 h 109"/>
                <a:gd name="T12" fmla="*/ 38 w 53"/>
                <a:gd name="T13" fmla="*/ 93 h 109"/>
                <a:gd name="T14" fmla="*/ 45 w 53"/>
                <a:gd name="T15" fmla="*/ 84 h 109"/>
                <a:gd name="T16" fmla="*/ 50 w 53"/>
                <a:gd name="T17" fmla="*/ 76 h 109"/>
                <a:gd name="T18" fmla="*/ 52 w 53"/>
                <a:gd name="T19" fmla="*/ 65 h 109"/>
                <a:gd name="T20" fmla="*/ 53 w 53"/>
                <a:gd name="T21" fmla="*/ 54 h 109"/>
                <a:gd name="T22" fmla="*/ 53 w 53"/>
                <a:gd name="T23" fmla="*/ 54 h 109"/>
                <a:gd name="T24" fmla="*/ 52 w 53"/>
                <a:gd name="T25" fmla="*/ 43 h 109"/>
                <a:gd name="T26" fmla="*/ 50 w 53"/>
                <a:gd name="T27" fmla="*/ 33 h 109"/>
                <a:gd name="T28" fmla="*/ 45 w 53"/>
                <a:gd name="T29" fmla="*/ 24 h 109"/>
                <a:gd name="T30" fmla="*/ 38 w 53"/>
                <a:gd name="T31" fmla="*/ 16 h 109"/>
                <a:gd name="T32" fmla="*/ 30 w 53"/>
                <a:gd name="T33" fmla="*/ 10 h 109"/>
                <a:gd name="T34" fmla="*/ 20 w 53"/>
                <a:gd name="T35" fmla="*/ 5 h 109"/>
                <a:gd name="T36" fmla="*/ 11 w 53"/>
                <a:gd name="T37" fmla="*/ 1 h 109"/>
                <a:gd name="T38" fmla="*/ 0 w 53"/>
                <a:gd name="T3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109">
                  <a:moveTo>
                    <a:pt x="0" y="0"/>
                  </a:moveTo>
                  <a:lnTo>
                    <a:pt x="0" y="109"/>
                  </a:lnTo>
                  <a:lnTo>
                    <a:pt x="0" y="109"/>
                  </a:lnTo>
                  <a:lnTo>
                    <a:pt x="11" y="107"/>
                  </a:lnTo>
                  <a:lnTo>
                    <a:pt x="20" y="104"/>
                  </a:lnTo>
                  <a:lnTo>
                    <a:pt x="30" y="99"/>
                  </a:lnTo>
                  <a:lnTo>
                    <a:pt x="38" y="93"/>
                  </a:lnTo>
                  <a:lnTo>
                    <a:pt x="45" y="84"/>
                  </a:lnTo>
                  <a:lnTo>
                    <a:pt x="50" y="76"/>
                  </a:lnTo>
                  <a:lnTo>
                    <a:pt x="52" y="65"/>
                  </a:lnTo>
                  <a:lnTo>
                    <a:pt x="53" y="54"/>
                  </a:lnTo>
                  <a:lnTo>
                    <a:pt x="53" y="54"/>
                  </a:lnTo>
                  <a:lnTo>
                    <a:pt x="52" y="43"/>
                  </a:lnTo>
                  <a:lnTo>
                    <a:pt x="50" y="33"/>
                  </a:lnTo>
                  <a:lnTo>
                    <a:pt x="45" y="24"/>
                  </a:lnTo>
                  <a:lnTo>
                    <a:pt x="38" y="16"/>
                  </a:lnTo>
                  <a:lnTo>
                    <a:pt x="30" y="10"/>
                  </a:lnTo>
                  <a:lnTo>
                    <a:pt x="20" y="5"/>
                  </a:lnTo>
                  <a:lnTo>
                    <a:pt x="11" y="1"/>
                  </a:lnTo>
                  <a:lnTo>
                    <a:pt x="0" y="0"/>
                  </a:lnTo>
                  <a:close/>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3" name="Freeform 523"/>
            <p:cNvSpPr>
              <a:spLocks/>
            </p:cNvSpPr>
            <p:nvPr/>
          </p:nvSpPr>
          <p:spPr bwMode="auto">
            <a:xfrm rot="2844967">
              <a:off x="2828767" y="4225197"/>
              <a:ext cx="77531" cy="155057"/>
            </a:xfrm>
            <a:custGeom>
              <a:avLst/>
              <a:gdLst>
                <a:gd name="T0" fmla="*/ 0 w 53"/>
                <a:gd name="T1" fmla="*/ 0 h 109"/>
                <a:gd name="T2" fmla="*/ 0 w 53"/>
                <a:gd name="T3" fmla="*/ 109 h 109"/>
                <a:gd name="T4" fmla="*/ 0 w 53"/>
                <a:gd name="T5" fmla="*/ 109 h 109"/>
                <a:gd name="T6" fmla="*/ 11 w 53"/>
                <a:gd name="T7" fmla="*/ 107 h 109"/>
                <a:gd name="T8" fmla="*/ 20 w 53"/>
                <a:gd name="T9" fmla="*/ 104 h 109"/>
                <a:gd name="T10" fmla="*/ 30 w 53"/>
                <a:gd name="T11" fmla="*/ 99 h 109"/>
                <a:gd name="T12" fmla="*/ 38 w 53"/>
                <a:gd name="T13" fmla="*/ 93 h 109"/>
                <a:gd name="T14" fmla="*/ 45 w 53"/>
                <a:gd name="T15" fmla="*/ 84 h 109"/>
                <a:gd name="T16" fmla="*/ 50 w 53"/>
                <a:gd name="T17" fmla="*/ 76 h 109"/>
                <a:gd name="T18" fmla="*/ 52 w 53"/>
                <a:gd name="T19" fmla="*/ 65 h 109"/>
                <a:gd name="T20" fmla="*/ 53 w 53"/>
                <a:gd name="T21" fmla="*/ 54 h 109"/>
                <a:gd name="T22" fmla="*/ 53 w 53"/>
                <a:gd name="T23" fmla="*/ 54 h 109"/>
                <a:gd name="T24" fmla="*/ 52 w 53"/>
                <a:gd name="T25" fmla="*/ 43 h 109"/>
                <a:gd name="T26" fmla="*/ 50 w 53"/>
                <a:gd name="T27" fmla="*/ 33 h 109"/>
                <a:gd name="T28" fmla="*/ 45 w 53"/>
                <a:gd name="T29" fmla="*/ 24 h 109"/>
                <a:gd name="T30" fmla="*/ 38 w 53"/>
                <a:gd name="T31" fmla="*/ 16 h 109"/>
                <a:gd name="T32" fmla="*/ 30 w 53"/>
                <a:gd name="T33" fmla="*/ 10 h 109"/>
                <a:gd name="T34" fmla="*/ 20 w 53"/>
                <a:gd name="T35" fmla="*/ 5 h 109"/>
                <a:gd name="T36" fmla="*/ 11 w 53"/>
                <a:gd name="T37" fmla="*/ 1 h 109"/>
                <a:gd name="T38" fmla="*/ 0 w 53"/>
                <a:gd name="T3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109">
                  <a:moveTo>
                    <a:pt x="0" y="0"/>
                  </a:moveTo>
                  <a:lnTo>
                    <a:pt x="0" y="109"/>
                  </a:lnTo>
                  <a:lnTo>
                    <a:pt x="0" y="109"/>
                  </a:lnTo>
                  <a:lnTo>
                    <a:pt x="11" y="107"/>
                  </a:lnTo>
                  <a:lnTo>
                    <a:pt x="20" y="104"/>
                  </a:lnTo>
                  <a:lnTo>
                    <a:pt x="30" y="99"/>
                  </a:lnTo>
                  <a:lnTo>
                    <a:pt x="38" y="93"/>
                  </a:lnTo>
                  <a:lnTo>
                    <a:pt x="45" y="84"/>
                  </a:lnTo>
                  <a:lnTo>
                    <a:pt x="50" y="76"/>
                  </a:lnTo>
                  <a:lnTo>
                    <a:pt x="52" y="65"/>
                  </a:lnTo>
                  <a:lnTo>
                    <a:pt x="53" y="54"/>
                  </a:lnTo>
                  <a:lnTo>
                    <a:pt x="53" y="54"/>
                  </a:lnTo>
                  <a:lnTo>
                    <a:pt x="52" y="43"/>
                  </a:lnTo>
                  <a:lnTo>
                    <a:pt x="50" y="33"/>
                  </a:lnTo>
                  <a:lnTo>
                    <a:pt x="45" y="24"/>
                  </a:lnTo>
                  <a:lnTo>
                    <a:pt x="38" y="16"/>
                  </a:lnTo>
                  <a:lnTo>
                    <a:pt x="30" y="10"/>
                  </a:lnTo>
                  <a:lnTo>
                    <a:pt x="20" y="5"/>
                  </a:lnTo>
                  <a:lnTo>
                    <a:pt x="11"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4" name="Freeform 524"/>
            <p:cNvSpPr>
              <a:spLocks/>
            </p:cNvSpPr>
            <p:nvPr/>
          </p:nvSpPr>
          <p:spPr bwMode="auto">
            <a:xfrm rot="2844967">
              <a:off x="2854398" y="4244358"/>
              <a:ext cx="63435" cy="63435"/>
            </a:xfrm>
            <a:custGeom>
              <a:avLst/>
              <a:gdLst>
                <a:gd name="T0" fmla="*/ 0 w 44"/>
                <a:gd name="T1" fmla="*/ 0 h 44"/>
                <a:gd name="T2" fmla="*/ 0 w 44"/>
                <a:gd name="T3" fmla="*/ 0 h 44"/>
                <a:gd name="T4" fmla="*/ 8 w 44"/>
                <a:gd name="T5" fmla="*/ 1 h 44"/>
                <a:gd name="T6" fmla="*/ 17 w 44"/>
                <a:gd name="T7" fmla="*/ 3 h 44"/>
                <a:gd name="T8" fmla="*/ 24 w 44"/>
                <a:gd name="T9" fmla="*/ 7 h 44"/>
                <a:gd name="T10" fmla="*/ 31 w 44"/>
                <a:gd name="T11" fmla="*/ 13 h 44"/>
                <a:gd name="T12" fmla="*/ 36 w 44"/>
                <a:gd name="T13" fmla="*/ 19 h 44"/>
                <a:gd name="T14" fmla="*/ 41 w 44"/>
                <a:gd name="T15" fmla="*/ 27 h 44"/>
                <a:gd name="T16" fmla="*/ 44 w 44"/>
                <a:gd name="T17" fmla="*/ 35 h 44"/>
                <a:gd name="T18" fmla="*/ 44 w 44"/>
                <a:gd name="T19" fmla="*/ 44 h 44"/>
                <a:gd name="T20" fmla="*/ 0 w 44"/>
                <a:gd name="T21" fmla="*/ 44 h 44"/>
                <a:gd name="T22" fmla="*/ 0 w 44"/>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4">
                  <a:moveTo>
                    <a:pt x="0" y="0"/>
                  </a:moveTo>
                  <a:lnTo>
                    <a:pt x="0" y="0"/>
                  </a:lnTo>
                  <a:lnTo>
                    <a:pt x="8" y="1"/>
                  </a:lnTo>
                  <a:lnTo>
                    <a:pt x="17" y="3"/>
                  </a:lnTo>
                  <a:lnTo>
                    <a:pt x="24" y="7"/>
                  </a:lnTo>
                  <a:lnTo>
                    <a:pt x="31" y="13"/>
                  </a:lnTo>
                  <a:lnTo>
                    <a:pt x="36" y="19"/>
                  </a:lnTo>
                  <a:lnTo>
                    <a:pt x="41" y="27"/>
                  </a:lnTo>
                  <a:lnTo>
                    <a:pt x="44" y="35"/>
                  </a:lnTo>
                  <a:lnTo>
                    <a:pt x="44" y="44"/>
                  </a:lnTo>
                  <a:lnTo>
                    <a:pt x="0" y="44"/>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5" name="Freeform 525"/>
            <p:cNvSpPr>
              <a:spLocks/>
            </p:cNvSpPr>
            <p:nvPr/>
          </p:nvSpPr>
          <p:spPr bwMode="auto">
            <a:xfrm rot="2844967">
              <a:off x="2807692" y="4287282"/>
              <a:ext cx="63435" cy="63435"/>
            </a:xfrm>
            <a:custGeom>
              <a:avLst/>
              <a:gdLst>
                <a:gd name="T0" fmla="*/ 44 w 44"/>
                <a:gd name="T1" fmla="*/ 0 h 45"/>
                <a:gd name="T2" fmla="*/ 44 w 44"/>
                <a:gd name="T3" fmla="*/ 0 h 45"/>
                <a:gd name="T4" fmla="*/ 44 w 44"/>
                <a:gd name="T5" fmla="*/ 9 h 45"/>
                <a:gd name="T6" fmla="*/ 41 w 44"/>
                <a:gd name="T7" fmla="*/ 18 h 45"/>
                <a:gd name="T8" fmla="*/ 36 w 44"/>
                <a:gd name="T9" fmla="*/ 25 h 45"/>
                <a:gd name="T10" fmla="*/ 31 w 44"/>
                <a:gd name="T11" fmla="*/ 31 h 45"/>
                <a:gd name="T12" fmla="*/ 24 w 44"/>
                <a:gd name="T13" fmla="*/ 37 h 45"/>
                <a:gd name="T14" fmla="*/ 17 w 44"/>
                <a:gd name="T15" fmla="*/ 41 h 45"/>
                <a:gd name="T16" fmla="*/ 8 w 44"/>
                <a:gd name="T17" fmla="*/ 44 h 45"/>
                <a:gd name="T18" fmla="*/ 0 w 44"/>
                <a:gd name="T19" fmla="*/ 45 h 45"/>
                <a:gd name="T20" fmla="*/ 0 w 44"/>
                <a:gd name="T21" fmla="*/ 0 h 45"/>
                <a:gd name="T22" fmla="*/ 44 w 44"/>
                <a:gd name="T2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5">
                  <a:moveTo>
                    <a:pt x="44" y="0"/>
                  </a:moveTo>
                  <a:lnTo>
                    <a:pt x="44" y="0"/>
                  </a:lnTo>
                  <a:lnTo>
                    <a:pt x="44" y="9"/>
                  </a:lnTo>
                  <a:lnTo>
                    <a:pt x="41" y="18"/>
                  </a:lnTo>
                  <a:lnTo>
                    <a:pt x="36" y="25"/>
                  </a:lnTo>
                  <a:lnTo>
                    <a:pt x="31" y="31"/>
                  </a:lnTo>
                  <a:lnTo>
                    <a:pt x="24" y="37"/>
                  </a:lnTo>
                  <a:lnTo>
                    <a:pt x="17" y="41"/>
                  </a:lnTo>
                  <a:lnTo>
                    <a:pt x="8" y="44"/>
                  </a:lnTo>
                  <a:lnTo>
                    <a:pt x="0" y="45"/>
                  </a:lnTo>
                  <a:lnTo>
                    <a:pt x="0" y="0"/>
                  </a:lnTo>
                  <a:lnTo>
                    <a:pt x="44" y="0"/>
                  </a:lnTo>
                  <a:close/>
                </a:path>
              </a:pathLst>
            </a:custGeom>
            <a:solidFill>
              <a:srgbClr val="2A5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6" name="Rectangle 526"/>
            <p:cNvSpPr>
              <a:spLocks noChangeArrowheads="1"/>
            </p:cNvSpPr>
            <p:nvPr/>
          </p:nvSpPr>
          <p:spPr bwMode="auto">
            <a:xfrm rot="2844967">
              <a:off x="2337350" y="4738110"/>
              <a:ext cx="148011" cy="63435"/>
            </a:xfrm>
            <a:prstGeom prst="rect">
              <a:avLst/>
            </a:prstGeom>
            <a:solidFill>
              <a:srgbClr val="FF6A1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7" name="Freeform 527"/>
            <p:cNvSpPr>
              <a:spLocks/>
            </p:cNvSpPr>
            <p:nvPr/>
          </p:nvSpPr>
          <p:spPr bwMode="auto">
            <a:xfrm rot="2844967">
              <a:off x="2279442" y="4785399"/>
              <a:ext cx="169153" cy="84576"/>
            </a:xfrm>
            <a:custGeom>
              <a:avLst/>
              <a:gdLst>
                <a:gd name="T0" fmla="*/ 120 w 120"/>
                <a:gd name="T1" fmla="*/ 59 h 59"/>
                <a:gd name="T2" fmla="*/ 0 w 120"/>
                <a:gd name="T3" fmla="*/ 59 h 59"/>
                <a:gd name="T4" fmla="*/ 0 w 120"/>
                <a:gd name="T5" fmla="*/ 0 h 59"/>
                <a:gd name="T6" fmla="*/ 102 w 120"/>
                <a:gd name="T7" fmla="*/ 0 h 59"/>
                <a:gd name="T8" fmla="*/ 120 w 120"/>
                <a:gd name="T9" fmla="*/ 59 h 59"/>
              </a:gdLst>
              <a:ahLst/>
              <a:cxnLst>
                <a:cxn ang="0">
                  <a:pos x="T0" y="T1"/>
                </a:cxn>
                <a:cxn ang="0">
                  <a:pos x="T2" y="T3"/>
                </a:cxn>
                <a:cxn ang="0">
                  <a:pos x="T4" y="T5"/>
                </a:cxn>
                <a:cxn ang="0">
                  <a:pos x="T6" y="T7"/>
                </a:cxn>
                <a:cxn ang="0">
                  <a:pos x="T8" y="T9"/>
                </a:cxn>
              </a:cxnLst>
              <a:rect l="0" t="0" r="r" b="b"/>
              <a:pathLst>
                <a:path w="120" h="59">
                  <a:moveTo>
                    <a:pt x="120" y="59"/>
                  </a:moveTo>
                  <a:lnTo>
                    <a:pt x="0" y="59"/>
                  </a:lnTo>
                  <a:lnTo>
                    <a:pt x="0" y="0"/>
                  </a:lnTo>
                  <a:lnTo>
                    <a:pt x="102" y="0"/>
                  </a:lnTo>
                  <a:lnTo>
                    <a:pt x="120" y="59"/>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8" name="Freeform 528"/>
            <p:cNvSpPr>
              <a:spLocks/>
            </p:cNvSpPr>
            <p:nvPr/>
          </p:nvSpPr>
          <p:spPr bwMode="auto">
            <a:xfrm rot="2844967">
              <a:off x="3122614" y="3948019"/>
              <a:ext cx="70480" cy="70480"/>
            </a:xfrm>
            <a:custGeom>
              <a:avLst/>
              <a:gdLst>
                <a:gd name="T0" fmla="*/ 51 w 51"/>
                <a:gd name="T1" fmla="*/ 25 h 51"/>
                <a:gd name="T2" fmla="*/ 51 w 51"/>
                <a:gd name="T3" fmla="*/ 25 h 51"/>
                <a:gd name="T4" fmla="*/ 51 w 51"/>
                <a:gd name="T5" fmla="*/ 30 h 51"/>
                <a:gd name="T6" fmla="*/ 50 w 51"/>
                <a:gd name="T7" fmla="*/ 35 h 51"/>
                <a:gd name="T8" fmla="*/ 48 w 51"/>
                <a:gd name="T9" fmla="*/ 40 h 51"/>
                <a:gd name="T10" fmla="*/ 44 w 51"/>
                <a:gd name="T11" fmla="*/ 44 h 51"/>
                <a:gd name="T12" fmla="*/ 40 w 51"/>
                <a:gd name="T13" fmla="*/ 47 h 51"/>
                <a:gd name="T14" fmla="*/ 35 w 51"/>
                <a:gd name="T15" fmla="*/ 50 h 51"/>
                <a:gd name="T16" fmla="*/ 31 w 51"/>
                <a:gd name="T17" fmla="*/ 51 h 51"/>
                <a:gd name="T18" fmla="*/ 26 w 51"/>
                <a:gd name="T19" fmla="*/ 51 h 51"/>
                <a:gd name="T20" fmla="*/ 26 w 51"/>
                <a:gd name="T21" fmla="*/ 51 h 51"/>
                <a:gd name="T22" fmla="*/ 21 w 51"/>
                <a:gd name="T23" fmla="*/ 51 h 51"/>
                <a:gd name="T24" fmla="*/ 16 w 51"/>
                <a:gd name="T25" fmla="*/ 50 h 51"/>
                <a:gd name="T26" fmla="*/ 11 w 51"/>
                <a:gd name="T27" fmla="*/ 47 h 51"/>
                <a:gd name="T28" fmla="*/ 7 w 51"/>
                <a:gd name="T29" fmla="*/ 44 h 51"/>
                <a:gd name="T30" fmla="*/ 4 w 51"/>
                <a:gd name="T31" fmla="*/ 40 h 51"/>
                <a:gd name="T32" fmla="*/ 1 w 51"/>
                <a:gd name="T33" fmla="*/ 35 h 51"/>
                <a:gd name="T34" fmla="*/ 0 w 51"/>
                <a:gd name="T35" fmla="*/ 30 h 51"/>
                <a:gd name="T36" fmla="*/ 0 w 51"/>
                <a:gd name="T37" fmla="*/ 25 h 51"/>
                <a:gd name="T38" fmla="*/ 0 w 51"/>
                <a:gd name="T39" fmla="*/ 25 h 51"/>
                <a:gd name="T40" fmla="*/ 0 w 51"/>
                <a:gd name="T41" fmla="*/ 20 h 51"/>
                <a:gd name="T42" fmla="*/ 1 w 51"/>
                <a:gd name="T43" fmla="*/ 16 h 51"/>
                <a:gd name="T44" fmla="*/ 4 w 51"/>
                <a:gd name="T45" fmla="*/ 11 h 51"/>
                <a:gd name="T46" fmla="*/ 7 w 51"/>
                <a:gd name="T47" fmla="*/ 7 h 51"/>
                <a:gd name="T48" fmla="*/ 11 w 51"/>
                <a:gd name="T49" fmla="*/ 3 h 51"/>
                <a:gd name="T50" fmla="*/ 16 w 51"/>
                <a:gd name="T51" fmla="*/ 1 h 51"/>
                <a:gd name="T52" fmla="*/ 21 w 51"/>
                <a:gd name="T53" fmla="*/ 0 h 51"/>
                <a:gd name="T54" fmla="*/ 26 w 51"/>
                <a:gd name="T55" fmla="*/ 0 h 51"/>
                <a:gd name="T56" fmla="*/ 26 w 51"/>
                <a:gd name="T57" fmla="*/ 0 h 51"/>
                <a:gd name="T58" fmla="*/ 31 w 51"/>
                <a:gd name="T59" fmla="*/ 0 h 51"/>
                <a:gd name="T60" fmla="*/ 35 w 51"/>
                <a:gd name="T61" fmla="*/ 1 h 51"/>
                <a:gd name="T62" fmla="*/ 40 w 51"/>
                <a:gd name="T63" fmla="*/ 3 h 51"/>
                <a:gd name="T64" fmla="*/ 44 w 51"/>
                <a:gd name="T65" fmla="*/ 7 h 51"/>
                <a:gd name="T66" fmla="*/ 48 w 51"/>
                <a:gd name="T67" fmla="*/ 11 h 51"/>
                <a:gd name="T68" fmla="*/ 50 w 51"/>
                <a:gd name="T69" fmla="*/ 16 h 51"/>
                <a:gd name="T70" fmla="*/ 51 w 51"/>
                <a:gd name="T71" fmla="*/ 20 h 51"/>
                <a:gd name="T72" fmla="*/ 51 w 51"/>
                <a:gd name="T73" fmla="*/ 25 h 51"/>
                <a:gd name="T74" fmla="*/ 51 w 51"/>
                <a:gd name="T75"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 h="51">
                  <a:moveTo>
                    <a:pt x="51" y="25"/>
                  </a:moveTo>
                  <a:lnTo>
                    <a:pt x="51" y="25"/>
                  </a:lnTo>
                  <a:lnTo>
                    <a:pt x="51" y="30"/>
                  </a:lnTo>
                  <a:lnTo>
                    <a:pt x="50" y="35"/>
                  </a:lnTo>
                  <a:lnTo>
                    <a:pt x="48" y="40"/>
                  </a:lnTo>
                  <a:lnTo>
                    <a:pt x="44" y="44"/>
                  </a:lnTo>
                  <a:lnTo>
                    <a:pt x="40" y="47"/>
                  </a:lnTo>
                  <a:lnTo>
                    <a:pt x="35" y="50"/>
                  </a:lnTo>
                  <a:lnTo>
                    <a:pt x="31" y="51"/>
                  </a:lnTo>
                  <a:lnTo>
                    <a:pt x="26" y="51"/>
                  </a:lnTo>
                  <a:lnTo>
                    <a:pt x="26" y="51"/>
                  </a:lnTo>
                  <a:lnTo>
                    <a:pt x="21" y="51"/>
                  </a:lnTo>
                  <a:lnTo>
                    <a:pt x="16" y="50"/>
                  </a:lnTo>
                  <a:lnTo>
                    <a:pt x="11" y="47"/>
                  </a:lnTo>
                  <a:lnTo>
                    <a:pt x="7" y="44"/>
                  </a:lnTo>
                  <a:lnTo>
                    <a:pt x="4" y="40"/>
                  </a:lnTo>
                  <a:lnTo>
                    <a:pt x="1" y="35"/>
                  </a:lnTo>
                  <a:lnTo>
                    <a:pt x="0" y="30"/>
                  </a:lnTo>
                  <a:lnTo>
                    <a:pt x="0" y="25"/>
                  </a:lnTo>
                  <a:lnTo>
                    <a:pt x="0" y="25"/>
                  </a:lnTo>
                  <a:lnTo>
                    <a:pt x="0" y="20"/>
                  </a:lnTo>
                  <a:lnTo>
                    <a:pt x="1" y="16"/>
                  </a:lnTo>
                  <a:lnTo>
                    <a:pt x="4" y="11"/>
                  </a:lnTo>
                  <a:lnTo>
                    <a:pt x="7" y="7"/>
                  </a:lnTo>
                  <a:lnTo>
                    <a:pt x="11" y="3"/>
                  </a:lnTo>
                  <a:lnTo>
                    <a:pt x="16" y="1"/>
                  </a:lnTo>
                  <a:lnTo>
                    <a:pt x="21" y="0"/>
                  </a:lnTo>
                  <a:lnTo>
                    <a:pt x="26" y="0"/>
                  </a:lnTo>
                  <a:lnTo>
                    <a:pt x="26" y="0"/>
                  </a:lnTo>
                  <a:lnTo>
                    <a:pt x="31" y="0"/>
                  </a:lnTo>
                  <a:lnTo>
                    <a:pt x="35" y="1"/>
                  </a:lnTo>
                  <a:lnTo>
                    <a:pt x="40" y="3"/>
                  </a:lnTo>
                  <a:lnTo>
                    <a:pt x="44" y="7"/>
                  </a:lnTo>
                  <a:lnTo>
                    <a:pt x="48" y="11"/>
                  </a:lnTo>
                  <a:lnTo>
                    <a:pt x="50" y="16"/>
                  </a:lnTo>
                  <a:lnTo>
                    <a:pt x="51" y="20"/>
                  </a:lnTo>
                  <a:lnTo>
                    <a:pt x="51" y="25"/>
                  </a:lnTo>
                  <a:lnTo>
                    <a:pt x="51" y="25"/>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9" name="Freeform 529"/>
            <p:cNvSpPr>
              <a:spLocks/>
            </p:cNvSpPr>
            <p:nvPr/>
          </p:nvSpPr>
          <p:spPr bwMode="auto">
            <a:xfrm rot="2844967">
              <a:off x="3144178" y="3959204"/>
              <a:ext cx="28192" cy="28192"/>
            </a:xfrm>
            <a:custGeom>
              <a:avLst/>
              <a:gdLst>
                <a:gd name="T0" fmla="*/ 20 w 20"/>
                <a:gd name="T1" fmla="*/ 9 h 20"/>
                <a:gd name="T2" fmla="*/ 20 w 20"/>
                <a:gd name="T3" fmla="*/ 9 h 20"/>
                <a:gd name="T4" fmla="*/ 20 w 20"/>
                <a:gd name="T5" fmla="*/ 14 h 20"/>
                <a:gd name="T6" fmla="*/ 17 w 20"/>
                <a:gd name="T7" fmla="*/ 17 h 20"/>
                <a:gd name="T8" fmla="*/ 14 w 20"/>
                <a:gd name="T9" fmla="*/ 19 h 20"/>
                <a:gd name="T10" fmla="*/ 10 w 20"/>
                <a:gd name="T11" fmla="*/ 20 h 20"/>
                <a:gd name="T12" fmla="*/ 10 w 20"/>
                <a:gd name="T13" fmla="*/ 20 h 20"/>
                <a:gd name="T14" fmla="*/ 6 w 20"/>
                <a:gd name="T15" fmla="*/ 19 h 20"/>
                <a:gd name="T16" fmla="*/ 3 w 20"/>
                <a:gd name="T17" fmla="*/ 17 h 20"/>
                <a:gd name="T18" fmla="*/ 0 w 20"/>
                <a:gd name="T19" fmla="*/ 14 h 20"/>
                <a:gd name="T20" fmla="*/ 0 w 20"/>
                <a:gd name="T21" fmla="*/ 9 h 20"/>
                <a:gd name="T22" fmla="*/ 0 w 20"/>
                <a:gd name="T23" fmla="*/ 9 h 20"/>
                <a:gd name="T24" fmla="*/ 0 w 20"/>
                <a:gd name="T25" fmla="*/ 6 h 20"/>
                <a:gd name="T26" fmla="*/ 3 w 20"/>
                <a:gd name="T27" fmla="*/ 2 h 20"/>
                <a:gd name="T28" fmla="*/ 6 w 20"/>
                <a:gd name="T29" fmla="*/ 1 h 20"/>
                <a:gd name="T30" fmla="*/ 10 w 20"/>
                <a:gd name="T31" fmla="*/ 0 h 20"/>
                <a:gd name="T32" fmla="*/ 10 w 20"/>
                <a:gd name="T33" fmla="*/ 0 h 20"/>
                <a:gd name="T34" fmla="*/ 14 w 20"/>
                <a:gd name="T35" fmla="*/ 1 h 20"/>
                <a:gd name="T36" fmla="*/ 17 w 20"/>
                <a:gd name="T37" fmla="*/ 2 h 20"/>
                <a:gd name="T38" fmla="*/ 20 w 20"/>
                <a:gd name="T39" fmla="*/ 6 h 20"/>
                <a:gd name="T40" fmla="*/ 20 w 20"/>
                <a:gd name="T41" fmla="*/ 9 h 20"/>
                <a:gd name="T42" fmla="*/ 20 w 20"/>
                <a:gd name="T43" fmla="*/ 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20">
                  <a:moveTo>
                    <a:pt x="20" y="9"/>
                  </a:moveTo>
                  <a:lnTo>
                    <a:pt x="20" y="9"/>
                  </a:lnTo>
                  <a:lnTo>
                    <a:pt x="20" y="14"/>
                  </a:lnTo>
                  <a:lnTo>
                    <a:pt x="17" y="17"/>
                  </a:lnTo>
                  <a:lnTo>
                    <a:pt x="14" y="19"/>
                  </a:lnTo>
                  <a:lnTo>
                    <a:pt x="10" y="20"/>
                  </a:lnTo>
                  <a:lnTo>
                    <a:pt x="10" y="20"/>
                  </a:lnTo>
                  <a:lnTo>
                    <a:pt x="6" y="19"/>
                  </a:lnTo>
                  <a:lnTo>
                    <a:pt x="3" y="17"/>
                  </a:lnTo>
                  <a:lnTo>
                    <a:pt x="0" y="14"/>
                  </a:lnTo>
                  <a:lnTo>
                    <a:pt x="0" y="9"/>
                  </a:lnTo>
                  <a:lnTo>
                    <a:pt x="0" y="9"/>
                  </a:lnTo>
                  <a:lnTo>
                    <a:pt x="0" y="6"/>
                  </a:lnTo>
                  <a:lnTo>
                    <a:pt x="3" y="2"/>
                  </a:lnTo>
                  <a:lnTo>
                    <a:pt x="6" y="1"/>
                  </a:lnTo>
                  <a:lnTo>
                    <a:pt x="10" y="0"/>
                  </a:lnTo>
                  <a:lnTo>
                    <a:pt x="10" y="0"/>
                  </a:lnTo>
                  <a:lnTo>
                    <a:pt x="14" y="1"/>
                  </a:lnTo>
                  <a:lnTo>
                    <a:pt x="17" y="2"/>
                  </a:lnTo>
                  <a:lnTo>
                    <a:pt x="20" y="6"/>
                  </a:lnTo>
                  <a:lnTo>
                    <a:pt x="20" y="9"/>
                  </a:lnTo>
                  <a:lnTo>
                    <a:pt x="2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40" name="Freeform 530"/>
            <p:cNvSpPr>
              <a:spLocks/>
            </p:cNvSpPr>
            <p:nvPr/>
          </p:nvSpPr>
          <p:spPr bwMode="auto">
            <a:xfrm rot="2844967">
              <a:off x="2826906" y="4235717"/>
              <a:ext cx="35242" cy="42288"/>
            </a:xfrm>
            <a:custGeom>
              <a:avLst/>
              <a:gdLst>
                <a:gd name="T0" fmla="*/ 27 w 27"/>
                <a:gd name="T1" fmla="*/ 13 h 28"/>
                <a:gd name="T2" fmla="*/ 27 w 27"/>
                <a:gd name="T3" fmla="*/ 13 h 28"/>
                <a:gd name="T4" fmla="*/ 25 w 27"/>
                <a:gd name="T5" fmla="*/ 19 h 28"/>
                <a:gd name="T6" fmla="*/ 23 w 27"/>
                <a:gd name="T7" fmla="*/ 23 h 28"/>
                <a:gd name="T8" fmla="*/ 18 w 27"/>
                <a:gd name="T9" fmla="*/ 27 h 28"/>
                <a:gd name="T10" fmla="*/ 13 w 27"/>
                <a:gd name="T11" fmla="*/ 28 h 28"/>
                <a:gd name="T12" fmla="*/ 13 w 27"/>
                <a:gd name="T13" fmla="*/ 28 h 28"/>
                <a:gd name="T14" fmla="*/ 8 w 27"/>
                <a:gd name="T15" fmla="*/ 27 h 28"/>
                <a:gd name="T16" fmla="*/ 3 w 27"/>
                <a:gd name="T17" fmla="*/ 23 h 28"/>
                <a:gd name="T18" fmla="*/ 1 w 27"/>
                <a:gd name="T19" fmla="*/ 19 h 28"/>
                <a:gd name="T20" fmla="*/ 0 w 27"/>
                <a:gd name="T21" fmla="*/ 13 h 28"/>
                <a:gd name="T22" fmla="*/ 0 w 27"/>
                <a:gd name="T23" fmla="*/ 13 h 28"/>
                <a:gd name="T24" fmla="*/ 1 w 27"/>
                <a:gd name="T25" fmla="*/ 8 h 28"/>
                <a:gd name="T26" fmla="*/ 3 w 27"/>
                <a:gd name="T27" fmla="*/ 3 h 28"/>
                <a:gd name="T28" fmla="*/ 8 w 27"/>
                <a:gd name="T29" fmla="*/ 1 h 28"/>
                <a:gd name="T30" fmla="*/ 13 w 27"/>
                <a:gd name="T31" fmla="*/ 0 h 28"/>
                <a:gd name="T32" fmla="*/ 13 w 27"/>
                <a:gd name="T33" fmla="*/ 0 h 28"/>
                <a:gd name="T34" fmla="*/ 18 w 27"/>
                <a:gd name="T35" fmla="*/ 1 h 28"/>
                <a:gd name="T36" fmla="*/ 23 w 27"/>
                <a:gd name="T37" fmla="*/ 3 h 28"/>
                <a:gd name="T38" fmla="*/ 25 w 27"/>
                <a:gd name="T39" fmla="*/ 8 h 28"/>
                <a:gd name="T40" fmla="*/ 27 w 27"/>
                <a:gd name="T41" fmla="*/ 13 h 28"/>
                <a:gd name="T42" fmla="*/ 27 w 27"/>
                <a:gd name="T43" fmla="*/ 1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 h="28">
                  <a:moveTo>
                    <a:pt x="27" y="13"/>
                  </a:moveTo>
                  <a:lnTo>
                    <a:pt x="27" y="13"/>
                  </a:lnTo>
                  <a:lnTo>
                    <a:pt x="25" y="19"/>
                  </a:lnTo>
                  <a:lnTo>
                    <a:pt x="23" y="23"/>
                  </a:lnTo>
                  <a:lnTo>
                    <a:pt x="18" y="27"/>
                  </a:lnTo>
                  <a:lnTo>
                    <a:pt x="13" y="28"/>
                  </a:lnTo>
                  <a:lnTo>
                    <a:pt x="13" y="28"/>
                  </a:lnTo>
                  <a:lnTo>
                    <a:pt x="8" y="27"/>
                  </a:lnTo>
                  <a:lnTo>
                    <a:pt x="3" y="23"/>
                  </a:lnTo>
                  <a:lnTo>
                    <a:pt x="1" y="19"/>
                  </a:lnTo>
                  <a:lnTo>
                    <a:pt x="0" y="13"/>
                  </a:lnTo>
                  <a:lnTo>
                    <a:pt x="0" y="13"/>
                  </a:lnTo>
                  <a:lnTo>
                    <a:pt x="1" y="8"/>
                  </a:lnTo>
                  <a:lnTo>
                    <a:pt x="3" y="3"/>
                  </a:lnTo>
                  <a:lnTo>
                    <a:pt x="8" y="1"/>
                  </a:lnTo>
                  <a:lnTo>
                    <a:pt x="13" y="0"/>
                  </a:lnTo>
                  <a:lnTo>
                    <a:pt x="13" y="0"/>
                  </a:lnTo>
                  <a:lnTo>
                    <a:pt x="18" y="1"/>
                  </a:lnTo>
                  <a:lnTo>
                    <a:pt x="23" y="3"/>
                  </a:lnTo>
                  <a:lnTo>
                    <a:pt x="25" y="8"/>
                  </a:lnTo>
                  <a:lnTo>
                    <a:pt x="27" y="13"/>
                  </a:lnTo>
                  <a:lnTo>
                    <a:pt x="27"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41" name="Freeform 531"/>
            <p:cNvSpPr>
              <a:spLocks/>
            </p:cNvSpPr>
            <p:nvPr/>
          </p:nvSpPr>
          <p:spPr bwMode="auto">
            <a:xfrm rot="2844967">
              <a:off x="2657546" y="4354738"/>
              <a:ext cx="63435" cy="70480"/>
            </a:xfrm>
            <a:custGeom>
              <a:avLst/>
              <a:gdLst>
                <a:gd name="T0" fmla="*/ 47 w 47"/>
                <a:gd name="T1" fmla="*/ 23 h 47"/>
                <a:gd name="T2" fmla="*/ 47 w 47"/>
                <a:gd name="T3" fmla="*/ 23 h 47"/>
                <a:gd name="T4" fmla="*/ 46 w 47"/>
                <a:gd name="T5" fmla="*/ 28 h 47"/>
                <a:gd name="T6" fmla="*/ 45 w 47"/>
                <a:gd name="T7" fmla="*/ 33 h 47"/>
                <a:gd name="T8" fmla="*/ 43 w 47"/>
                <a:gd name="T9" fmla="*/ 37 h 47"/>
                <a:gd name="T10" fmla="*/ 40 w 47"/>
                <a:gd name="T11" fmla="*/ 40 h 47"/>
                <a:gd name="T12" fmla="*/ 37 w 47"/>
                <a:gd name="T13" fmla="*/ 43 h 47"/>
                <a:gd name="T14" fmla="*/ 33 w 47"/>
                <a:gd name="T15" fmla="*/ 45 h 47"/>
                <a:gd name="T16" fmla="*/ 28 w 47"/>
                <a:gd name="T17" fmla="*/ 47 h 47"/>
                <a:gd name="T18" fmla="*/ 23 w 47"/>
                <a:gd name="T19" fmla="*/ 47 h 47"/>
                <a:gd name="T20" fmla="*/ 23 w 47"/>
                <a:gd name="T21" fmla="*/ 47 h 47"/>
                <a:gd name="T22" fmla="*/ 19 w 47"/>
                <a:gd name="T23" fmla="*/ 47 h 47"/>
                <a:gd name="T24" fmla="*/ 15 w 47"/>
                <a:gd name="T25" fmla="*/ 45 h 47"/>
                <a:gd name="T26" fmla="*/ 11 w 47"/>
                <a:gd name="T27" fmla="*/ 43 h 47"/>
                <a:gd name="T28" fmla="*/ 7 w 47"/>
                <a:gd name="T29" fmla="*/ 40 h 47"/>
                <a:gd name="T30" fmla="*/ 4 w 47"/>
                <a:gd name="T31" fmla="*/ 37 h 47"/>
                <a:gd name="T32" fmla="*/ 2 w 47"/>
                <a:gd name="T33" fmla="*/ 33 h 47"/>
                <a:gd name="T34" fmla="*/ 1 w 47"/>
                <a:gd name="T35" fmla="*/ 28 h 47"/>
                <a:gd name="T36" fmla="*/ 0 w 47"/>
                <a:gd name="T37" fmla="*/ 23 h 47"/>
                <a:gd name="T38" fmla="*/ 0 w 47"/>
                <a:gd name="T39" fmla="*/ 23 h 47"/>
                <a:gd name="T40" fmla="*/ 1 w 47"/>
                <a:gd name="T41" fmla="*/ 19 h 47"/>
                <a:gd name="T42" fmla="*/ 2 w 47"/>
                <a:gd name="T43" fmla="*/ 15 h 47"/>
                <a:gd name="T44" fmla="*/ 4 w 47"/>
                <a:gd name="T45" fmla="*/ 10 h 47"/>
                <a:gd name="T46" fmla="*/ 7 w 47"/>
                <a:gd name="T47" fmla="*/ 8 h 47"/>
                <a:gd name="T48" fmla="*/ 11 w 47"/>
                <a:gd name="T49" fmla="*/ 4 h 47"/>
                <a:gd name="T50" fmla="*/ 15 w 47"/>
                <a:gd name="T51" fmla="*/ 1 h 47"/>
                <a:gd name="T52" fmla="*/ 19 w 47"/>
                <a:gd name="T53" fmla="*/ 0 h 47"/>
                <a:gd name="T54" fmla="*/ 23 w 47"/>
                <a:gd name="T55" fmla="*/ 0 h 47"/>
                <a:gd name="T56" fmla="*/ 23 w 47"/>
                <a:gd name="T57" fmla="*/ 0 h 47"/>
                <a:gd name="T58" fmla="*/ 28 w 47"/>
                <a:gd name="T59" fmla="*/ 0 h 47"/>
                <a:gd name="T60" fmla="*/ 33 w 47"/>
                <a:gd name="T61" fmla="*/ 1 h 47"/>
                <a:gd name="T62" fmla="*/ 37 w 47"/>
                <a:gd name="T63" fmla="*/ 4 h 47"/>
                <a:gd name="T64" fmla="*/ 40 w 47"/>
                <a:gd name="T65" fmla="*/ 8 h 47"/>
                <a:gd name="T66" fmla="*/ 43 w 47"/>
                <a:gd name="T67" fmla="*/ 10 h 47"/>
                <a:gd name="T68" fmla="*/ 45 w 47"/>
                <a:gd name="T69" fmla="*/ 15 h 47"/>
                <a:gd name="T70" fmla="*/ 46 w 47"/>
                <a:gd name="T71" fmla="*/ 19 h 47"/>
                <a:gd name="T72" fmla="*/ 47 w 47"/>
                <a:gd name="T73" fmla="*/ 23 h 47"/>
                <a:gd name="T74" fmla="*/ 47 w 47"/>
                <a:gd name="T7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 h="47">
                  <a:moveTo>
                    <a:pt x="47" y="23"/>
                  </a:moveTo>
                  <a:lnTo>
                    <a:pt x="47" y="23"/>
                  </a:lnTo>
                  <a:lnTo>
                    <a:pt x="46" y="28"/>
                  </a:lnTo>
                  <a:lnTo>
                    <a:pt x="45" y="33"/>
                  </a:lnTo>
                  <a:lnTo>
                    <a:pt x="43" y="37"/>
                  </a:lnTo>
                  <a:lnTo>
                    <a:pt x="40" y="40"/>
                  </a:lnTo>
                  <a:lnTo>
                    <a:pt x="37" y="43"/>
                  </a:lnTo>
                  <a:lnTo>
                    <a:pt x="33" y="45"/>
                  </a:lnTo>
                  <a:lnTo>
                    <a:pt x="28" y="47"/>
                  </a:lnTo>
                  <a:lnTo>
                    <a:pt x="23" y="47"/>
                  </a:lnTo>
                  <a:lnTo>
                    <a:pt x="23" y="47"/>
                  </a:lnTo>
                  <a:lnTo>
                    <a:pt x="19" y="47"/>
                  </a:lnTo>
                  <a:lnTo>
                    <a:pt x="15" y="45"/>
                  </a:lnTo>
                  <a:lnTo>
                    <a:pt x="11" y="43"/>
                  </a:lnTo>
                  <a:lnTo>
                    <a:pt x="7" y="40"/>
                  </a:lnTo>
                  <a:lnTo>
                    <a:pt x="4" y="37"/>
                  </a:lnTo>
                  <a:lnTo>
                    <a:pt x="2" y="33"/>
                  </a:lnTo>
                  <a:lnTo>
                    <a:pt x="1" y="28"/>
                  </a:lnTo>
                  <a:lnTo>
                    <a:pt x="0" y="23"/>
                  </a:lnTo>
                  <a:lnTo>
                    <a:pt x="0" y="23"/>
                  </a:lnTo>
                  <a:lnTo>
                    <a:pt x="1" y="19"/>
                  </a:lnTo>
                  <a:lnTo>
                    <a:pt x="2" y="15"/>
                  </a:lnTo>
                  <a:lnTo>
                    <a:pt x="4" y="10"/>
                  </a:lnTo>
                  <a:lnTo>
                    <a:pt x="7" y="8"/>
                  </a:lnTo>
                  <a:lnTo>
                    <a:pt x="11" y="4"/>
                  </a:lnTo>
                  <a:lnTo>
                    <a:pt x="15" y="1"/>
                  </a:lnTo>
                  <a:lnTo>
                    <a:pt x="19" y="0"/>
                  </a:lnTo>
                  <a:lnTo>
                    <a:pt x="23" y="0"/>
                  </a:lnTo>
                  <a:lnTo>
                    <a:pt x="23" y="0"/>
                  </a:lnTo>
                  <a:lnTo>
                    <a:pt x="28" y="0"/>
                  </a:lnTo>
                  <a:lnTo>
                    <a:pt x="33" y="1"/>
                  </a:lnTo>
                  <a:lnTo>
                    <a:pt x="37" y="4"/>
                  </a:lnTo>
                  <a:lnTo>
                    <a:pt x="40" y="8"/>
                  </a:lnTo>
                  <a:lnTo>
                    <a:pt x="43" y="10"/>
                  </a:lnTo>
                  <a:lnTo>
                    <a:pt x="45" y="15"/>
                  </a:lnTo>
                  <a:lnTo>
                    <a:pt x="46" y="19"/>
                  </a:lnTo>
                  <a:lnTo>
                    <a:pt x="47" y="23"/>
                  </a:lnTo>
                  <a:lnTo>
                    <a:pt x="47"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1048" name="그룹 1047"/>
          <p:cNvGrpSpPr/>
          <p:nvPr userDrawn="1"/>
        </p:nvGrpSpPr>
        <p:grpSpPr>
          <a:xfrm>
            <a:off x="10963244" y="144901"/>
            <a:ext cx="528587" cy="669922"/>
            <a:chOff x="1897095" y="3168671"/>
            <a:chExt cx="295277" cy="350840"/>
          </a:xfrm>
        </p:grpSpPr>
        <p:sp>
          <p:nvSpPr>
            <p:cNvPr id="1049" name="Freeform 587"/>
            <p:cNvSpPr>
              <a:spLocks/>
            </p:cNvSpPr>
            <p:nvPr/>
          </p:nvSpPr>
          <p:spPr bwMode="auto">
            <a:xfrm>
              <a:off x="1965358" y="3281384"/>
              <a:ext cx="227014" cy="238127"/>
            </a:xfrm>
            <a:custGeom>
              <a:avLst/>
              <a:gdLst>
                <a:gd name="T0" fmla="*/ 689 w 717"/>
                <a:gd name="T1" fmla="*/ 395 h 752"/>
                <a:gd name="T2" fmla="*/ 712 w 717"/>
                <a:gd name="T3" fmla="*/ 365 h 752"/>
                <a:gd name="T4" fmla="*/ 716 w 717"/>
                <a:gd name="T5" fmla="*/ 327 h 752"/>
                <a:gd name="T6" fmla="*/ 707 w 717"/>
                <a:gd name="T7" fmla="*/ 302 h 752"/>
                <a:gd name="T8" fmla="*/ 678 w 717"/>
                <a:gd name="T9" fmla="*/ 259 h 752"/>
                <a:gd name="T10" fmla="*/ 657 w 717"/>
                <a:gd name="T11" fmla="*/ 226 h 752"/>
                <a:gd name="T12" fmla="*/ 633 w 717"/>
                <a:gd name="T13" fmla="*/ 181 h 752"/>
                <a:gd name="T14" fmla="*/ 618 w 717"/>
                <a:gd name="T15" fmla="*/ 163 h 752"/>
                <a:gd name="T16" fmla="*/ 570 w 717"/>
                <a:gd name="T17" fmla="*/ 128 h 752"/>
                <a:gd name="T18" fmla="*/ 500 w 717"/>
                <a:gd name="T19" fmla="*/ 85 h 752"/>
                <a:gd name="T20" fmla="*/ 452 w 717"/>
                <a:gd name="T21" fmla="*/ 50 h 752"/>
                <a:gd name="T22" fmla="*/ 399 w 717"/>
                <a:gd name="T23" fmla="*/ 20 h 752"/>
                <a:gd name="T24" fmla="*/ 362 w 717"/>
                <a:gd name="T25" fmla="*/ 6 h 752"/>
                <a:gd name="T26" fmla="*/ 322 w 717"/>
                <a:gd name="T27" fmla="*/ 0 h 752"/>
                <a:gd name="T28" fmla="*/ 292 w 717"/>
                <a:gd name="T29" fmla="*/ 5 h 752"/>
                <a:gd name="T30" fmla="*/ 272 w 717"/>
                <a:gd name="T31" fmla="*/ 13 h 752"/>
                <a:gd name="T32" fmla="*/ 238 w 717"/>
                <a:gd name="T33" fmla="*/ 33 h 752"/>
                <a:gd name="T34" fmla="*/ 209 w 717"/>
                <a:gd name="T35" fmla="*/ 42 h 752"/>
                <a:gd name="T36" fmla="*/ 156 w 717"/>
                <a:gd name="T37" fmla="*/ 49 h 752"/>
                <a:gd name="T38" fmla="*/ 106 w 717"/>
                <a:gd name="T39" fmla="*/ 63 h 752"/>
                <a:gd name="T40" fmla="*/ 76 w 717"/>
                <a:gd name="T41" fmla="*/ 81 h 752"/>
                <a:gd name="T42" fmla="*/ 42 w 717"/>
                <a:gd name="T43" fmla="*/ 113 h 752"/>
                <a:gd name="T44" fmla="*/ 21 w 717"/>
                <a:gd name="T45" fmla="*/ 154 h 752"/>
                <a:gd name="T46" fmla="*/ 9 w 717"/>
                <a:gd name="T47" fmla="*/ 215 h 752"/>
                <a:gd name="T48" fmla="*/ 0 w 717"/>
                <a:gd name="T49" fmla="*/ 309 h 752"/>
                <a:gd name="T50" fmla="*/ 3 w 717"/>
                <a:gd name="T51" fmla="*/ 326 h 752"/>
                <a:gd name="T52" fmla="*/ 14 w 717"/>
                <a:gd name="T53" fmla="*/ 338 h 752"/>
                <a:gd name="T54" fmla="*/ 16 w 717"/>
                <a:gd name="T55" fmla="*/ 340 h 752"/>
                <a:gd name="T56" fmla="*/ 34 w 717"/>
                <a:gd name="T57" fmla="*/ 354 h 752"/>
                <a:gd name="T58" fmla="*/ 118 w 717"/>
                <a:gd name="T59" fmla="*/ 427 h 752"/>
                <a:gd name="T60" fmla="*/ 167 w 717"/>
                <a:gd name="T61" fmla="*/ 460 h 752"/>
                <a:gd name="T62" fmla="*/ 192 w 717"/>
                <a:gd name="T63" fmla="*/ 468 h 752"/>
                <a:gd name="T64" fmla="*/ 215 w 717"/>
                <a:gd name="T65" fmla="*/ 522 h 752"/>
                <a:gd name="T66" fmla="*/ 221 w 717"/>
                <a:gd name="T67" fmla="*/ 563 h 752"/>
                <a:gd name="T68" fmla="*/ 221 w 717"/>
                <a:gd name="T69" fmla="*/ 604 h 752"/>
                <a:gd name="T70" fmla="*/ 222 w 717"/>
                <a:gd name="T71" fmla="*/ 624 h 752"/>
                <a:gd name="T72" fmla="*/ 227 w 717"/>
                <a:gd name="T73" fmla="*/ 635 h 752"/>
                <a:gd name="T74" fmla="*/ 245 w 717"/>
                <a:gd name="T75" fmla="*/ 641 h 752"/>
                <a:gd name="T76" fmla="*/ 290 w 717"/>
                <a:gd name="T77" fmla="*/ 663 h 752"/>
                <a:gd name="T78" fmla="*/ 394 w 717"/>
                <a:gd name="T79" fmla="*/ 714 h 752"/>
                <a:gd name="T80" fmla="*/ 477 w 717"/>
                <a:gd name="T81" fmla="*/ 745 h 752"/>
                <a:gd name="T82" fmla="*/ 531 w 717"/>
                <a:gd name="T83" fmla="*/ 752 h 752"/>
                <a:gd name="T84" fmla="*/ 570 w 717"/>
                <a:gd name="T85" fmla="*/ 750 h 752"/>
                <a:gd name="T86" fmla="*/ 606 w 717"/>
                <a:gd name="T87" fmla="*/ 736 h 752"/>
                <a:gd name="T88" fmla="*/ 641 w 717"/>
                <a:gd name="T89" fmla="*/ 712 h 752"/>
                <a:gd name="T90" fmla="*/ 666 w 717"/>
                <a:gd name="T91" fmla="*/ 684 h 752"/>
                <a:gd name="T92" fmla="*/ 695 w 717"/>
                <a:gd name="T93" fmla="*/ 623 h 752"/>
                <a:gd name="T94" fmla="*/ 702 w 717"/>
                <a:gd name="T95" fmla="*/ 555 h 752"/>
                <a:gd name="T96" fmla="*/ 698 w 717"/>
                <a:gd name="T97" fmla="*/ 501 h 752"/>
                <a:gd name="T98" fmla="*/ 684 w 717"/>
                <a:gd name="T99" fmla="*/ 41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7" h="752">
                  <a:moveTo>
                    <a:pt x="679" y="405"/>
                  </a:moveTo>
                  <a:lnTo>
                    <a:pt x="679" y="405"/>
                  </a:lnTo>
                  <a:lnTo>
                    <a:pt x="689" y="395"/>
                  </a:lnTo>
                  <a:lnTo>
                    <a:pt x="699" y="385"/>
                  </a:lnTo>
                  <a:lnTo>
                    <a:pt x="706" y="376"/>
                  </a:lnTo>
                  <a:lnTo>
                    <a:pt x="712" y="365"/>
                  </a:lnTo>
                  <a:lnTo>
                    <a:pt x="716" y="354"/>
                  </a:lnTo>
                  <a:lnTo>
                    <a:pt x="717" y="341"/>
                  </a:lnTo>
                  <a:lnTo>
                    <a:pt x="716" y="327"/>
                  </a:lnTo>
                  <a:lnTo>
                    <a:pt x="711" y="312"/>
                  </a:lnTo>
                  <a:lnTo>
                    <a:pt x="711" y="312"/>
                  </a:lnTo>
                  <a:lnTo>
                    <a:pt x="707" y="302"/>
                  </a:lnTo>
                  <a:lnTo>
                    <a:pt x="701" y="294"/>
                  </a:lnTo>
                  <a:lnTo>
                    <a:pt x="690" y="276"/>
                  </a:lnTo>
                  <a:lnTo>
                    <a:pt x="678" y="259"/>
                  </a:lnTo>
                  <a:lnTo>
                    <a:pt x="666" y="241"/>
                  </a:lnTo>
                  <a:lnTo>
                    <a:pt x="666" y="241"/>
                  </a:lnTo>
                  <a:lnTo>
                    <a:pt x="657" y="226"/>
                  </a:lnTo>
                  <a:lnTo>
                    <a:pt x="650" y="211"/>
                  </a:lnTo>
                  <a:lnTo>
                    <a:pt x="641" y="195"/>
                  </a:lnTo>
                  <a:lnTo>
                    <a:pt x="633" y="181"/>
                  </a:lnTo>
                  <a:lnTo>
                    <a:pt x="633" y="181"/>
                  </a:lnTo>
                  <a:lnTo>
                    <a:pt x="626" y="172"/>
                  </a:lnTo>
                  <a:lnTo>
                    <a:pt x="618" y="163"/>
                  </a:lnTo>
                  <a:lnTo>
                    <a:pt x="604" y="150"/>
                  </a:lnTo>
                  <a:lnTo>
                    <a:pt x="587" y="139"/>
                  </a:lnTo>
                  <a:lnTo>
                    <a:pt x="570" y="128"/>
                  </a:lnTo>
                  <a:lnTo>
                    <a:pt x="534" y="109"/>
                  </a:lnTo>
                  <a:lnTo>
                    <a:pt x="517" y="98"/>
                  </a:lnTo>
                  <a:lnTo>
                    <a:pt x="500" y="85"/>
                  </a:lnTo>
                  <a:lnTo>
                    <a:pt x="500" y="85"/>
                  </a:lnTo>
                  <a:lnTo>
                    <a:pt x="468" y="61"/>
                  </a:lnTo>
                  <a:lnTo>
                    <a:pt x="452" y="50"/>
                  </a:lnTo>
                  <a:lnTo>
                    <a:pt x="435" y="38"/>
                  </a:lnTo>
                  <a:lnTo>
                    <a:pt x="417" y="28"/>
                  </a:lnTo>
                  <a:lnTo>
                    <a:pt x="399" y="20"/>
                  </a:lnTo>
                  <a:lnTo>
                    <a:pt x="381" y="12"/>
                  </a:lnTo>
                  <a:lnTo>
                    <a:pt x="362" y="6"/>
                  </a:lnTo>
                  <a:lnTo>
                    <a:pt x="362" y="6"/>
                  </a:lnTo>
                  <a:lnTo>
                    <a:pt x="342" y="3"/>
                  </a:lnTo>
                  <a:lnTo>
                    <a:pt x="332" y="1"/>
                  </a:lnTo>
                  <a:lnTo>
                    <a:pt x="322" y="0"/>
                  </a:lnTo>
                  <a:lnTo>
                    <a:pt x="312" y="1"/>
                  </a:lnTo>
                  <a:lnTo>
                    <a:pt x="301" y="3"/>
                  </a:lnTo>
                  <a:lnTo>
                    <a:pt x="292" y="5"/>
                  </a:lnTo>
                  <a:lnTo>
                    <a:pt x="282" y="9"/>
                  </a:lnTo>
                  <a:lnTo>
                    <a:pt x="282" y="9"/>
                  </a:lnTo>
                  <a:lnTo>
                    <a:pt x="272" y="13"/>
                  </a:lnTo>
                  <a:lnTo>
                    <a:pt x="262" y="18"/>
                  </a:lnTo>
                  <a:lnTo>
                    <a:pt x="246" y="28"/>
                  </a:lnTo>
                  <a:lnTo>
                    <a:pt x="238" y="33"/>
                  </a:lnTo>
                  <a:lnTo>
                    <a:pt x="229" y="37"/>
                  </a:lnTo>
                  <a:lnTo>
                    <a:pt x="220" y="39"/>
                  </a:lnTo>
                  <a:lnTo>
                    <a:pt x="209" y="42"/>
                  </a:lnTo>
                  <a:lnTo>
                    <a:pt x="209" y="42"/>
                  </a:lnTo>
                  <a:lnTo>
                    <a:pt x="173" y="45"/>
                  </a:lnTo>
                  <a:lnTo>
                    <a:pt x="156" y="49"/>
                  </a:lnTo>
                  <a:lnTo>
                    <a:pt x="139" y="53"/>
                  </a:lnTo>
                  <a:lnTo>
                    <a:pt x="123" y="57"/>
                  </a:lnTo>
                  <a:lnTo>
                    <a:pt x="106" y="63"/>
                  </a:lnTo>
                  <a:lnTo>
                    <a:pt x="92" y="71"/>
                  </a:lnTo>
                  <a:lnTo>
                    <a:pt x="76" y="81"/>
                  </a:lnTo>
                  <a:lnTo>
                    <a:pt x="76" y="81"/>
                  </a:lnTo>
                  <a:lnTo>
                    <a:pt x="62" y="90"/>
                  </a:lnTo>
                  <a:lnTo>
                    <a:pt x="51" y="101"/>
                  </a:lnTo>
                  <a:lnTo>
                    <a:pt x="42" y="113"/>
                  </a:lnTo>
                  <a:lnTo>
                    <a:pt x="33" y="126"/>
                  </a:lnTo>
                  <a:lnTo>
                    <a:pt x="26" y="140"/>
                  </a:lnTo>
                  <a:lnTo>
                    <a:pt x="21" y="154"/>
                  </a:lnTo>
                  <a:lnTo>
                    <a:pt x="16" y="168"/>
                  </a:lnTo>
                  <a:lnTo>
                    <a:pt x="14" y="184"/>
                  </a:lnTo>
                  <a:lnTo>
                    <a:pt x="9" y="215"/>
                  </a:lnTo>
                  <a:lnTo>
                    <a:pt x="5" y="246"/>
                  </a:lnTo>
                  <a:lnTo>
                    <a:pt x="4" y="278"/>
                  </a:lnTo>
                  <a:lnTo>
                    <a:pt x="0" y="309"/>
                  </a:lnTo>
                  <a:lnTo>
                    <a:pt x="0" y="309"/>
                  </a:lnTo>
                  <a:lnTo>
                    <a:pt x="0" y="318"/>
                  </a:lnTo>
                  <a:lnTo>
                    <a:pt x="3" y="326"/>
                  </a:lnTo>
                  <a:lnTo>
                    <a:pt x="8" y="333"/>
                  </a:lnTo>
                  <a:lnTo>
                    <a:pt x="14" y="338"/>
                  </a:lnTo>
                  <a:lnTo>
                    <a:pt x="14" y="338"/>
                  </a:lnTo>
                  <a:lnTo>
                    <a:pt x="16" y="340"/>
                  </a:lnTo>
                  <a:lnTo>
                    <a:pt x="16" y="340"/>
                  </a:lnTo>
                  <a:lnTo>
                    <a:pt x="16" y="340"/>
                  </a:lnTo>
                  <a:lnTo>
                    <a:pt x="21" y="343"/>
                  </a:lnTo>
                  <a:lnTo>
                    <a:pt x="21" y="343"/>
                  </a:lnTo>
                  <a:lnTo>
                    <a:pt x="34" y="354"/>
                  </a:lnTo>
                  <a:lnTo>
                    <a:pt x="51" y="368"/>
                  </a:lnTo>
                  <a:lnTo>
                    <a:pt x="94" y="407"/>
                  </a:lnTo>
                  <a:lnTo>
                    <a:pt x="118" y="427"/>
                  </a:lnTo>
                  <a:lnTo>
                    <a:pt x="143" y="445"/>
                  </a:lnTo>
                  <a:lnTo>
                    <a:pt x="155" y="452"/>
                  </a:lnTo>
                  <a:lnTo>
                    <a:pt x="167" y="460"/>
                  </a:lnTo>
                  <a:lnTo>
                    <a:pt x="179" y="465"/>
                  </a:lnTo>
                  <a:lnTo>
                    <a:pt x="192" y="468"/>
                  </a:lnTo>
                  <a:lnTo>
                    <a:pt x="192" y="468"/>
                  </a:lnTo>
                  <a:lnTo>
                    <a:pt x="200" y="485"/>
                  </a:lnTo>
                  <a:lnTo>
                    <a:pt x="209" y="502"/>
                  </a:lnTo>
                  <a:lnTo>
                    <a:pt x="215" y="522"/>
                  </a:lnTo>
                  <a:lnTo>
                    <a:pt x="218" y="541"/>
                  </a:lnTo>
                  <a:lnTo>
                    <a:pt x="218" y="541"/>
                  </a:lnTo>
                  <a:lnTo>
                    <a:pt x="221" y="563"/>
                  </a:lnTo>
                  <a:lnTo>
                    <a:pt x="222" y="584"/>
                  </a:lnTo>
                  <a:lnTo>
                    <a:pt x="222" y="584"/>
                  </a:lnTo>
                  <a:lnTo>
                    <a:pt x="221" y="604"/>
                  </a:lnTo>
                  <a:lnTo>
                    <a:pt x="221" y="613"/>
                  </a:lnTo>
                  <a:lnTo>
                    <a:pt x="222" y="624"/>
                  </a:lnTo>
                  <a:lnTo>
                    <a:pt x="222" y="624"/>
                  </a:lnTo>
                  <a:lnTo>
                    <a:pt x="223" y="628"/>
                  </a:lnTo>
                  <a:lnTo>
                    <a:pt x="225" y="632"/>
                  </a:lnTo>
                  <a:lnTo>
                    <a:pt x="227" y="635"/>
                  </a:lnTo>
                  <a:lnTo>
                    <a:pt x="231" y="638"/>
                  </a:lnTo>
                  <a:lnTo>
                    <a:pt x="237" y="640"/>
                  </a:lnTo>
                  <a:lnTo>
                    <a:pt x="245" y="641"/>
                  </a:lnTo>
                  <a:lnTo>
                    <a:pt x="245" y="641"/>
                  </a:lnTo>
                  <a:lnTo>
                    <a:pt x="267" y="652"/>
                  </a:lnTo>
                  <a:lnTo>
                    <a:pt x="290" y="663"/>
                  </a:lnTo>
                  <a:lnTo>
                    <a:pt x="342" y="689"/>
                  </a:lnTo>
                  <a:lnTo>
                    <a:pt x="367" y="702"/>
                  </a:lnTo>
                  <a:lnTo>
                    <a:pt x="394" y="714"/>
                  </a:lnTo>
                  <a:lnTo>
                    <a:pt x="422" y="727"/>
                  </a:lnTo>
                  <a:lnTo>
                    <a:pt x="449" y="736"/>
                  </a:lnTo>
                  <a:lnTo>
                    <a:pt x="477" y="745"/>
                  </a:lnTo>
                  <a:lnTo>
                    <a:pt x="504" y="750"/>
                  </a:lnTo>
                  <a:lnTo>
                    <a:pt x="517" y="752"/>
                  </a:lnTo>
                  <a:lnTo>
                    <a:pt x="531" y="752"/>
                  </a:lnTo>
                  <a:lnTo>
                    <a:pt x="544" y="752"/>
                  </a:lnTo>
                  <a:lnTo>
                    <a:pt x="557" y="752"/>
                  </a:lnTo>
                  <a:lnTo>
                    <a:pt x="570" y="750"/>
                  </a:lnTo>
                  <a:lnTo>
                    <a:pt x="582" y="746"/>
                  </a:lnTo>
                  <a:lnTo>
                    <a:pt x="595" y="743"/>
                  </a:lnTo>
                  <a:lnTo>
                    <a:pt x="606" y="736"/>
                  </a:lnTo>
                  <a:lnTo>
                    <a:pt x="618" y="730"/>
                  </a:lnTo>
                  <a:lnTo>
                    <a:pt x="630" y="722"/>
                  </a:lnTo>
                  <a:lnTo>
                    <a:pt x="641" y="712"/>
                  </a:lnTo>
                  <a:lnTo>
                    <a:pt x="652" y="701"/>
                  </a:lnTo>
                  <a:lnTo>
                    <a:pt x="652" y="701"/>
                  </a:lnTo>
                  <a:lnTo>
                    <a:pt x="666" y="684"/>
                  </a:lnTo>
                  <a:lnTo>
                    <a:pt x="678" y="664"/>
                  </a:lnTo>
                  <a:lnTo>
                    <a:pt x="688" y="644"/>
                  </a:lnTo>
                  <a:lnTo>
                    <a:pt x="695" y="623"/>
                  </a:lnTo>
                  <a:lnTo>
                    <a:pt x="700" y="601"/>
                  </a:lnTo>
                  <a:lnTo>
                    <a:pt x="702" y="578"/>
                  </a:lnTo>
                  <a:lnTo>
                    <a:pt x="702" y="555"/>
                  </a:lnTo>
                  <a:lnTo>
                    <a:pt x="701" y="533"/>
                  </a:lnTo>
                  <a:lnTo>
                    <a:pt x="701" y="533"/>
                  </a:lnTo>
                  <a:lnTo>
                    <a:pt x="698" y="501"/>
                  </a:lnTo>
                  <a:lnTo>
                    <a:pt x="694" y="468"/>
                  </a:lnTo>
                  <a:lnTo>
                    <a:pt x="688" y="437"/>
                  </a:lnTo>
                  <a:lnTo>
                    <a:pt x="684" y="419"/>
                  </a:lnTo>
                  <a:lnTo>
                    <a:pt x="679" y="405"/>
                  </a:lnTo>
                  <a:lnTo>
                    <a:pt x="679" y="405"/>
                  </a:lnTo>
                  <a:close/>
                </a:path>
              </a:pathLst>
            </a:custGeom>
            <a:solidFill>
              <a:srgbClr val="4F17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0" name="Freeform 588"/>
            <p:cNvSpPr>
              <a:spLocks/>
            </p:cNvSpPr>
            <p:nvPr/>
          </p:nvSpPr>
          <p:spPr bwMode="auto">
            <a:xfrm>
              <a:off x="1973295" y="3281384"/>
              <a:ext cx="219077" cy="165102"/>
            </a:xfrm>
            <a:custGeom>
              <a:avLst/>
              <a:gdLst>
                <a:gd name="T0" fmla="*/ 669 w 691"/>
                <a:gd name="T1" fmla="*/ 482 h 519"/>
                <a:gd name="T2" fmla="*/ 653 w 691"/>
                <a:gd name="T3" fmla="*/ 405 h 519"/>
                <a:gd name="T4" fmla="*/ 673 w 691"/>
                <a:gd name="T5" fmla="*/ 385 h 519"/>
                <a:gd name="T6" fmla="*/ 690 w 691"/>
                <a:gd name="T7" fmla="*/ 354 h 519"/>
                <a:gd name="T8" fmla="*/ 685 w 691"/>
                <a:gd name="T9" fmla="*/ 312 h 519"/>
                <a:gd name="T10" fmla="*/ 675 w 691"/>
                <a:gd name="T11" fmla="*/ 294 h 519"/>
                <a:gd name="T12" fmla="*/ 640 w 691"/>
                <a:gd name="T13" fmla="*/ 241 h 519"/>
                <a:gd name="T14" fmla="*/ 624 w 691"/>
                <a:gd name="T15" fmla="*/ 211 h 519"/>
                <a:gd name="T16" fmla="*/ 607 w 691"/>
                <a:gd name="T17" fmla="*/ 181 h 519"/>
                <a:gd name="T18" fmla="*/ 578 w 691"/>
                <a:gd name="T19" fmla="*/ 150 h 519"/>
                <a:gd name="T20" fmla="*/ 508 w 691"/>
                <a:gd name="T21" fmla="*/ 109 h 519"/>
                <a:gd name="T22" fmla="*/ 474 w 691"/>
                <a:gd name="T23" fmla="*/ 85 h 519"/>
                <a:gd name="T24" fmla="*/ 409 w 691"/>
                <a:gd name="T25" fmla="*/ 38 h 519"/>
                <a:gd name="T26" fmla="*/ 355 w 691"/>
                <a:gd name="T27" fmla="*/ 12 h 519"/>
                <a:gd name="T28" fmla="*/ 316 w 691"/>
                <a:gd name="T29" fmla="*/ 3 h 519"/>
                <a:gd name="T30" fmla="*/ 286 w 691"/>
                <a:gd name="T31" fmla="*/ 1 h 519"/>
                <a:gd name="T32" fmla="*/ 256 w 691"/>
                <a:gd name="T33" fmla="*/ 9 h 519"/>
                <a:gd name="T34" fmla="*/ 236 w 691"/>
                <a:gd name="T35" fmla="*/ 18 h 519"/>
                <a:gd name="T36" fmla="*/ 203 w 691"/>
                <a:gd name="T37" fmla="*/ 37 h 519"/>
                <a:gd name="T38" fmla="*/ 183 w 691"/>
                <a:gd name="T39" fmla="*/ 42 h 519"/>
                <a:gd name="T40" fmla="*/ 113 w 691"/>
                <a:gd name="T41" fmla="*/ 53 h 519"/>
                <a:gd name="T42" fmla="*/ 66 w 691"/>
                <a:gd name="T43" fmla="*/ 71 h 519"/>
                <a:gd name="T44" fmla="*/ 41 w 691"/>
                <a:gd name="T45" fmla="*/ 87 h 519"/>
                <a:gd name="T46" fmla="*/ 19 w 691"/>
                <a:gd name="T47" fmla="*/ 107 h 519"/>
                <a:gd name="T48" fmla="*/ 0 w 691"/>
                <a:gd name="T49" fmla="*/ 140 h 519"/>
                <a:gd name="T50" fmla="*/ 18 w 691"/>
                <a:gd name="T51" fmla="*/ 220 h 519"/>
                <a:gd name="T52" fmla="*/ 25 w 691"/>
                <a:gd name="T53" fmla="*/ 254 h 519"/>
                <a:gd name="T54" fmla="*/ 44 w 691"/>
                <a:gd name="T55" fmla="*/ 270 h 519"/>
                <a:gd name="T56" fmla="*/ 47 w 691"/>
                <a:gd name="T57" fmla="*/ 271 h 519"/>
                <a:gd name="T58" fmla="*/ 53 w 691"/>
                <a:gd name="T59" fmla="*/ 272 h 519"/>
                <a:gd name="T60" fmla="*/ 89 w 691"/>
                <a:gd name="T61" fmla="*/ 287 h 519"/>
                <a:gd name="T62" fmla="*/ 200 w 691"/>
                <a:gd name="T63" fmla="*/ 333 h 519"/>
                <a:gd name="T64" fmla="*/ 240 w 691"/>
                <a:gd name="T65" fmla="*/ 340 h 519"/>
                <a:gd name="T66" fmla="*/ 267 w 691"/>
                <a:gd name="T67" fmla="*/ 354 h 519"/>
                <a:gd name="T68" fmla="*/ 300 w 691"/>
                <a:gd name="T69" fmla="*/ 402 h 519"/>
                <a:gd name="T70" fmla="*/ 317 w 691"/>
                <a:gd name="T71" fmla="*/ 441 h 519"/>
                <a:gd name="T72" fmla="*/ 324 w 691"/>
                <a:gd name="T73" fmla="*/ 471 h 519"/>
                <a:gd name="T74" fmla="*/ 330 w 691"/>
                <a:gd name="T75" fmla="*/ 484 h 519"/>
                <a:gd name="T76" fmla="*/ 340 w 691"/>
                <a:gd name="T77" fmla="*/ 490 h 519"/>
                <a:gd name="T78" fmla="*/ 356 w 691"/>
                <a:gd name="T79" fmla="*/ 490 h 519"/>
                <a:gd name="T80" fmla="*/ 470 w 691"/>
                <a:gd name="T81" fmla="*/ 507 h 519"/>
                <a:gd name="T82" fmla="*/ 575 w 691"/>
                <a:gd name="T83" fmla="*/ 519 h 519"/>
                <a:gd name="T84" fmla="*/ 635 w 691"/>
                <a:gd name="T85" fmla="*/ 516 h 519"/>
                <a:gd name="T86" fmla="*/ 673 w 691"/>
                <a:gd name="T87" fmla="*/ 507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91" h="519">
                  <a:moveTo>
                    <a:pt x="673" y="507"/>
                  </a:moveTo>
                  <a:lnTo>
                    <a:pt x="673" y="507"/>
                  </a:lnTo>
                  <a:lnTo>
                    <a:pt x="669" y="482"/>
                  </a:lnTo>
                  <a:lnTo>
                    <a:pt x="665" y="455"/>
                  </a:lnTo>
                  <a:lnTo>
                    <a:pt x="661" y="429"/>
                  </a:lnTo>
                  <a:lnTo>
                    <a:pt x="653" y="405"/>
                  </a:lnTo>
                  <a:lnTo>
                    <a:pt x="653" y="405"/>
                  </a:lnTo>
                  <a:lnTo>
                    <a:pt x="663" y="395"/>
                  </a:lnTo>
                  <a:lnTo>
                    <a:pt x="673" y="385"/>
                  </a:lnTo>
                  <a:lnTo>
                    <a:pt x="680" y="376"/>
                  </a:lnTo>
                  <a:lnTo>
                    <a:pt x="686" y="365"/>
                  </a:lnTo>
                  <a:lnTo>
                    <a:pt x="690" y="354"/>
                  </a:lnTo>
                  <a:lnTo>
                    <a:pt x="691" y="341"/>
                  </a:lnTo>
                  <a:lnTo>
                    <a:pt x="690" y="327"/>
                  </a:lnTo>
                  <a:lnTo>
                    <a:pt x="685" y="312"/>
                  </a:lnTo>
                  <a:lnTo>
                    <a:pt x="685" y="312"/>
                  </a:lnTo>
                  <a:lnTo>
                    <a:pt x="681" y="302"/>
                  </a:lnTo>
                  <a:lnTo>
                    <a:pt x="675" y="294"/>
                  </a:lnTo>
                  <a:lnTo>
                    <a:pt x="664" y="276"/>
                  </a:lnTo>
                  <a:lnTo>
                    <a:pt x="652" y="259"/>
                  </a:lnTo>
                  <a:lnTo>
                    <a:pt x="640" y="241"/>
                  </a:lnTo>
                  <a:lnTo>
                    <a:pt x="640" y="241"/>
                  </a:lnTo>
                  <a:lnTo>
                    <a:pt x="631" y="226"/>
                  </a:lnTo>
                  <a:lnTo>
                    <a:pt x="624" y="211"/>
                  </a:lnTo>
                  <a:lnTo>
                    <a:pt x="615" y="195"/>
                  </a:lnTo>
                  <a:lnTo>
                    <a:pt x="607" y="181"/>
                  </a:lnTo>
                  <a:lnTo>
                    <a:pt x="607" y="181"/>
                  </a:lnTo>
                  <a:lnTo>
                    <a:pt x="600" y="172"/>
                  </a:lnTo>
                  <a:lnTo>
                    <a:pt x="592" y="163"/>
                  </a:lnTo>
                  <a:lnTo>
                    <a:pt x="578" y="150"/>
                  </a:lnTo>
                  <a:lnTo>
                    <a:pt x="561" y="139"/>
                  </a:lnTo>
                  <a:lnTo>
                    <a:pt x="544" y="128"/>
                  </a:lnTo>
                  <a:lnTo>
                    <a:pt x="508" y="109"/>
                  </a:lnTo>
                  <a:lnTo>
                    <a:pt x="491" y="98"/>
                  </a:lnTo>
                  <a:lnTo>
                    <a:pt x="474" y="85"/>
                  </a:lnTo>
                  <a:lnTo>
                    <a:pt x="474" y="85"/>
                  </a:lnTo>
                  <a:lnTo>
                    <a:pt x="442" y="61"/>
                  </a:lnTo>
                  <a:lnTo>
                    <a:pt x="426" y="50"/>
                  </a:lnTo>
                  <a:lnTo>
                    <a:pt x="409" y="38"/>
                  </a:lnTo>
                  <a:lnTo>
                    <a:pt x="391" y="28"/>
                  </a:lnTo>
                  <a:lnTo>
                    <a:pt x="373" y="20"/>
                  </a:lnTo>
                  <a:lnTo>
                    <a:pt x="355" y="12"/>
                  </a:lnTo>
                  <a:lnTo>
                    <a:pt x="336" y="6"/>
                  </a:lnTo>
                  <a:lnTo>
                    <a:pt x="336" y="6"/>
                  </a:lnTo>
                  <a:lnTo>
                    <a:pt x="316" y="3"/>
                  </a:lnTo>
                  <a:lnTo>
                    <a:pt x="306" y="1"/>
                  </a:lnTo>
                  <a:lnTo>
                    <a:pt x="296" y="0"/>
                  </a:lnTo>
                  <a:lnTo>
                    <a:pt x="286" y="1"/>
                  </a:lnTo>
                  <a:lnTo>
                    <a:pt x="275" y="3"/>
                  </a:lnTo>
                  <a:lnTo>
                    <a:pt x="266" y="5"/>
                  </a:lnTo>
                  <a:lnTo>
                    <a:pt x="256" y="9"/>
                  </a:lnTo>
                  <a:lnTo>
                    <a:pt x="256" y="9"/>
                  </a:lnTo>
                  <a:lnTo>
                    <a:pt x="246" y="13"/>
                  </a:lnTo>
                  <a:lnTo>
                    <a:pt x="236" y="18"/>
                  </a:lnTo>
                  <a:lnTo>
                    <a:pt x="220" y="28"/>
                  </a:lnTo>
                  <a:lnTo>
                    <a:pt x="212" y="33"/>
                  </a:lnTo>
                  <a:lnTo>
                    <a:pt x="203" y="37"/>
                  </a:lnTo>
                  <a:lnTo>
                    <a:pt x="194" y="39"/>
                  </a:lnTo>
                  <a:lnTo>
                    <a:pt x="183" y="42"/>
                  </a:lnTo>
                  <a:lnTo>
                    <a:pt x="183" y="42"/>
                  </a:lnTo>
                  <a:lnTo>
                    <a:pt x="147" y="45"/>
                  </a:lnTo>
                  <a:lnTo>
                    <a:pt x="130" y="49"/>
                  </a:lnTo>
                  <a:lnTo>
                    <a:pt x="113" y="53"/>
                  </a:lnTo>
                  <a:lnTo>
                    <a:pt x="97" y="57"/>
                  </a:lnTo>
                  <a:lnTo>
                    <a:pt x="80" y="63"/>
                  </a:lnTo>
                  <a:lnTo>
                    <a:pt x="66" y="71"/>
                  </a:lnTo>
                  <a:lnTo>
                    <a:pt x="50" y="81"/>
                  </a:lnTo>
                  <a:lnTo>
                    <a:pt x="50" y="81"/>
                  </a:lnTo>
                  <a:lnTo>
                    <a:pt x="41" y="87"/>
                  </a:lnTo>
                  <a:lnTo>
                    <a:pt x="33" y="93"/>
                  </a:lnTo>
                  <a:lnTo>
                    <a:pt x="27" y="100"/>
                  </a:lnTo>
                  <a:lnTo>
                    <a:pt x="19" y="107"/>
                  </a:lnTo>
                  <a:lnTo>
                    <a:pt x="8" y="123"/>
                  </a:lnTo>
                  <a:lnTo>
                    <a:pt x="0" y="140"/>
                  </a:lnTo>
                  <a:lnTo>
                    <a:pt x="0" y="140"/>
                  </a:lnTo>
                  <a:lnTo>
                    <a:pt x="5" y="167"/>
                  </a:lnTo>
                  <a:lnTo>
                    <a:pt x="11" y="194"/>
                  </a:lnTo>
                  <a:lnTo>
                    <a:pt x="18" y="220"/>
                  </a:lnTo>
                  <a:lnTo>
                    <a:pt x="23" y="245"/>
                  </a:lnTo>
                  <a:lnTo>
                    <a:pt x="23" y="245"/>
                  </a:lnTo>
                  <a:lnTo>
                    <a:pt x="25" y="254"/>
                  </a:lnTo>
                  <a:lnTo>
                    <a:pt x="30" y="261"/>
                  </a:lnTo>
                  <a:lnTo>
                    <a:pt x="36" y="266"/>
                  </a:lnTo>
                  <a:lnTo>
                    <a:pt x="44" y="270"/>
                  </a:lnTo>
                  <a:lnTo>
                    <a:pt x="44" y="270"/>
                  </a:lnTo>
                  <a:lnTo>
                    <a:pt x="47" y="271"/>
                  </a:lnTo>
                  <a:lnTo>
                    <a:pt x="47" y="271"/>
                  </a:lnTo>
                  <a:lnTo>
                    <a:pt x="47" y="271"/>
                  </a:lnTo>
                  <a:lnTo>
                    <a:pt x="47" y="271"/>
                  </a:lnTo>
                  <a:lnTo>
                    <a:pt x="53" y="272"/>
                  </a:lnTo>
                  <a:lnTo>
                    <a:pt x="53" y="272"/>
                  </a:lnTo>
                  <a:lnTo>
                    <a:pt x="68" y="278"/>
                  </a:lnTo>
                  <a:lnTo>
                    <a:pt x="89" y="287"/>
                  </a:lnTo>
                  <a:lnTo>
                    <a:pt x="141" y="311"/>
                  </a:lnTo>
                  <a:lnTo>
                    <a:pt x="170" y="323"/>
                  </a:lnTo>
                  <a:lnTo>
                    <a:pt x="200" y="333"/>
                  </a:lnTo>
                  <a:lnTo>
                    <a:pt x="213" y="337"/>
                  </a:lnTo>
                  <a:lnTo>
                    <a:pt x="228" y="339"/>
                  </a:lnTo>
                  <a:lnTo>
                    <a:pt x="240" y="340"/>
                  </a:lnTo>
                  <a:lnTo>
                    <a:pt x="252" y="340"/>
                  </a:lnTo>
                  <a:lnTo>
                    <a:pt x="252" y="340"/>
                  </a:lnTo>
                  <a:lnTo>
                    <a:pt x="267" y="354"/>
                  </a:lnTo>
                  <a:lnTo>
                    <a:pt x="279" y="368"/>
                  </a:lnTo>
                  <a:lnTo>
                    <a:pt x="290" y="384"/>
                  </a:lnTo>
                  <a:lnTo>
                    <a:pt x="300" y="402"/>
                  </a:lnTo>
                  <a:lnTo>
                    <a:pt x="300" y="402"/>
                  </a:lnTo>
                  <a:lnTo>
                    <a:pt x="309" y="422"/>
                  </a:lnTo>
                  <a:lnTo>
                    <a:pt x="317" y="441"/>
                  </a:lnTo>
                  <a:lnTo>
                    <a:pt x="317" y="441"/>
                  </a:lnTo>
                  <a:lnTo>
                    <a:pt x="322" y="461"/>
                  </a:lnTo>
                  <a:lnTo>
                    <a:pt x="324" y="471"/>
                  </a:lnTo>
                  <a:lnTo>
                    <a:pt x="328" y="479"/>
                  </a:lnTo>
                  <a:lnTo>
                    <a:pt x="328" y="479"/>
                  </a:lnTo>
                  <a:lnTo>
                    <a:pt x="330" y="484"/>
                  </a:lnTo>
                  <a:lnTo>
                    <a:pt x="334" y="487"/>
                  </a:lnTo>
                  <a:lnTo>
                    <a:pt x="336" y="489"/>
                  </a:lnTo>
                  <a:lnTo>
                    <a:pt x="340" y="490"/>
                  </a:lnTo>
                  <a:lnTo>
                    <a:pt x="347" y="491"/>
                  </a:lnTo>
                  <a:lnTo>
                    <a:pt x="356" y="490"/>
                  </a:lnTo>
                  <a:lnTo>
                    <a:pt x="356" y="490"/>
                  </a:lnTo>
                  <a:lnTo>
                    <a:pt x="391" y="494"/>
                  </a:lnTo>
                  <a:lnTo>
                    <a:pt x="429" y="501"/>
                  </a:lnTo>
                  <a:lnTo>
                    <a:pt x="470" y="507"/>
                  </a:lnTo>
                  <a:lnTo>
                    <a:pt x="512" y="515"/>
                  </a:lnTo>
                  <a:lnTo>
                    <a:pt x="554" y="518"/>
                  </a:lnTo>
                  <a:lnTo>
                    <a:pt x="575" y="519"/>
                  </a:lnTo>
                  <a:lnTo>
                    <a:pt x="596" y="519"/>
                  </a:lnTo>
                  <a:lnTo>
                    <a:pt x="615" y="518"/>
                  </a:lnTo>
                  <a:lnTo>
                    <a:pt x="635" y="516"/>
                  </a:lnTo>
                  <a:lnTo>
                    <a:pt x="654" y="512"/>
                  </a:lnTo>
                  <a:lnTo>
                    <a:pt x="673" y="507"/>
                  </a:lnTo>
                  <a:lnTo>
                    <a:pt x="673" y="507"/>
                  </a:lnTo>
                  <a:close/>
                </a:path>
              </a:pathLst>
            </a:custGeom>
            <a:solidFill>
              <a:srgbClr val="681F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1" name="Freeform 589"/>
            <p:cNvSpPr>
              <a:spLocks/>
            </p:cNvSpPr>
            <p:nvPr/>
          </p:nvSpPr>
          <p:spPr bwMode="auto">
            <a:xfrm>
              <a:off x="2098709" y="3376635"/>
              <a:ext cx="47625" cy="47625"/>
            </a:xfrm>
            <a:custGeom>
              <a:avLst/>
              <a:gdLst>
                <a:gd name="T0" fmla="*/ 0 w 149"/>
                <a:gd name="T1" fmla="*/ 75 h 149"/>
                <a:gd name="T2" fmla="*/ 0 w 149"/>
                <a:gd name="T3" fmla="*/ 75 h 149"/>
                <a:gd name="T4" fmla="*/ 0 w 149"/>
                <a:gd name="T5" fmla="*/ 82 h 149"/>
                <a:gd name="T6" fmla="*/ 1 w 149"/>
                <a:gd name="T7" fmla="*/ 89 h 149"/>
                <a:gd name="T8" fmla="*/ 6 w 149"/>
                <a:gd name="T9" fmla="*/ 104 h 149"/>
                <a:gd name="T10" fmla="*/ 12 w 149"/>
                <a:gd name="T11" fmla="*/ 116 h 149"/>
                <a:gd name="T12" fmla="*/ 22 w 149"/>
                <a:gd name="T13" fmla="*/ 127 h 149"/>
                <a:gd name="T14" fmla="*/ 33 w 149"/>
                <a:gd name="T15" fmla="*/ 136 h 149"/>
                <a:gd name="T16" fmla="*/ 45 w 149"/>
                <a:gd name="T17" fmla="*/ 143 h 149"/>
                <a:gd name="T18" fmla="*/ 52 w 149"/>
                <a:gd name="T19" fmla="*/ 145 h 149"/>
                <a:gd name="T20" fmla="*/ 60 w 149"/>
                <a:gd name="T21" fmla="*/ 148 h 149"/>
                <a:gd name="T22" fmla="*/ 67 w 149"/>
                <a:gd name="T23" fmla="*/ 149 h 149"/>
                <a:gd name="T24" fmla="*/ 74 w 149"/>
                <a:gd name="T25" fmla="*/ 149 h 149"/>
                <a:gd name="T26" fmla="*/ 74 w 149"/>
                <a:gd name="T27" fmla="*/ 149 h 149"/>
                <a:gd name="T28" fmla="*/ 82 w 149"/>
                <a:gd name="T29" fmla="*/ 149 h 149"/>
                <a:gd name="T30" fmla="*/ 89 w 149"/>
                <a:gd name="T31" fmla="*/ 148 h 149"/>
                <a:gd name="T32" fmla="*/ 96 w 149"/>
                <a:gd name="T33" fmla="*/ 145 h 149"/>
                <a:gd name="T34" fmla="*/ 102 w 149"/>
                <a:gd name="T35" fmla="*/ 143 h 149"/>
                <a:gd name="T36" fmla="*/ 116 w 149"/>
                <a:gd name="T37" fmla="*/ 136 h 149"/>
                <a:gd name="T38" fmla="*/ 127 w 149"/>
                <a:gd name="T39" fmla="*/ 127 h 149"/>
                <a:gd name="T40" fmla="*/ 135 w 149"/>
                <a:gd name="T41" fmla="*/ 116 h 149"/>
                <a:gd name="T42" fmla="*/ 143 w 149"/>
                <a:gd name="T43" fmla="*/ 104 h 149"/>
                <a:gd name="T44" fmla="*/ 146 w 149"/>
                <a:gd name="T45" fmla="*/ 89 h 149"/>
                <a:gd name="T46" fmla="*/ 148 w 149"/>
                <a:gd name="T47" fmla="*/ 82 h 149"/>
                <a:gd name="T48" fmla="*/ 149 w 149"/>
                <a:gd name="T49" fmla="*/ 75 h 149"/>
                <a:gd name="T50" fmla="*/ 149 w 149"/>
                <a:gd name="T51" fmla="*/ 75 h 149"/>
                <a:gd name="T52" fmla="*/ 148 w 149"/>
                <a:gd name="T53" fmla="*/ 67 h 149"/>
                <a:gd name="T54" fmla="*/ 146 w 149"/>
                <a:gd name="T55" fmla="*/ 60 h 149"/>
                <a:gd name="T56" fmla="*/ 145 w 149"/>
                <a:gd name="T57" fmla="*/ 53 h 149"/>
                <a:gd name="T58" fmla="*/ 143 w 149"/>
                <a:gd name="T59" fmla="*/ 46 h 149"/>
                <a:gd name="T60" fmla="*/ 135 w 149"/>
                <a:gd name="T61" fmla="*/ 33 h 149"/>
                <a:gd name="T62" fmla="*/ 127 w 149"/>
                <a:gd name="T63" fmla="*/ 22 h 149"/>
                <a:gd name="T64" fmla="*/ 116 w 149"/>
                <a:gd name="T65" fmla="*/ 14 h 149"/>
                <a:gd name="T66" fmla="*/ 102 w 149"/>
                <a:gd name="T67" fmla="*/ 7 h 149"/>
                <a:gd name="T68" fmla="*/ 96 w 149"/>
                <a:gd name="T69" fmla="*/ 4 h 149"/>
                <a:gd name="T70" fmla="*/ 89 w 149"/>
                <a:gd name="T71" fmla="*/ 2 h 149"/>
                <a:gd name="T72" fmla="*/ 82 w 149"/>
                <a:gd name="T73" fmla="*/ 0 h 149"/>
                <a:gd name="T74" fmla="*/ 74 w 149"/>
                <a:gd name="T75" fmla="*/ 0 h 149"/>
                <a:gd name="T76" fmla="*/ 74 w 149"/>
                <a:gd name="T77" fmla="*/ 0 h 149"/>
                <a:gd name="T78" fmla="*/ 67 w 149"/>
                <a:gd name="T79" fmla="*/ 0 h 149"/>
                <a:gd name="T80" fmla="*/ 60 w 149"/>
                <a:gd name="T81" fmla="*/ 2 h 149"/>
                <a:gd name="T82" fmla="*/ 52 w 149"/>
                <a:gd name="T83" fmla="*/ 4 h 149"/>
                <a:gd name="T84" fmla="*/ 45 w 149"/>
                <a:gd name="T85" fmla="*/ 7 h 149"/>
                <a:gd name="T86" fmla="*/ 33 w 149"/>
                <a:gd name="T87" fmla="*/ 14 h 149"/>
                <a:gd name="T88" fmla="*/ 22 w 149"/>
                <a:gd name="T89" fmla="*/ 22 h 149"/>
                <a:gd name="T90" fmla="*/ 12 w 149"/>
                <a:gd name="T91" fmla="*/ 33 h 149"/>
                <a:gd name="T92" fmla="*/ 6 w 149"/>
                <a:gd name="T93" fmla="*/ 46 h 149"/>
                <a:gd name="T94" fmla="*/ 4 w 149"/>
                <a:gd name="T95" fmla="*/ 53 h 149"/>
                <a:gd name="T96" fmla="*/ 1 w 149"/>
                <a:gd name="T97" fmla="*/ 60 h 149"/>
                <a:gd name="T98" fmla="*/ 0 w 149"/>
                <a:gd name="T99" fmla="*/ 67 h 149"/>
                <a:gd name="T100" fmla="*/ 0 w 149"/>
                <a:gd name="T101" fmla="*/ 75 h 149"/>
                <a:gd name="T102" fmla="*/ 0 w 149"/>
                <a:gd name="T103"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9" h="149">
                  <a:moveTo>
                    <a:pt x="0" y="75"/>
                  </a:moveTo>
                  <a:lnTo>
                    <a:pt x="0" y="75"/>
                  </a:lnTo>
                  <a:lnTo>
                    <a:pt x="0" y="82"/>
                  </a:lnTo>
                  <a:lnTo>
                    <a:pt x="1" y="89"/>
                  </a:lnTo>
                  <a:lnTo>
                    <a:pt x="6" y="104"/>
                  </a:lnTo>
                  <a:lnTo>
                    <a:pt x="12" y="116"/>
                  </a:lnTo>
                  <a:lnTo>
                    <a:pt x="22" y="127"/>
                  </a:lnTo>
                  <a:lnTo>
                    <a:pt x="33" y="136"/>
                  </a:lnTo>
                  <a:lnTo>
                    <a:pt x="45" y="143"/>
                  </a:lnTo>
                  <a:lnTo>
                    <a:pt x="52" y="145"/>
                  </a:lnTo>
                  <a:lnTo>
                    <a:pt x="60" y="148"/>
                  </a:lnTo>
                  <a:lnTo>
                    <a:pt x="67" y="149"/>
                  </a:lnTo>
                  <a:lnTo>
                    <a:pt x="74" y="149"/>
                  </a:lnTo>
                  <a:lnTo>
                    <a:pt x="74" y="149"/>
                  </a:lnTo>
                  <a:lnTo>
                    <a:pt x="82" y="149"/>
                  </a:lnTo>
                  <a:lnTo>
                    <a:pt x="89" y="148"/>
                  </a:lnTo>
                  <a:lnTo>
                    <a:pt x="96" y="145"/>
                  </a:lnTo>
                  <a:lnTo>
                    <a:pt x="102" y="143"/>
                  </a:lnTo>
                  <a:lnTo>
                    <a:pt x="116" y="136"/>
                  </a:lnTo>
                  <a:lnTo>
                    <a:pt x="127" y="127"/>
                  </a:lnTo>
                  <a:lnTo>
                    <a:pt x="135" y="116"/>
                  </a:lnTo>
                  <a:lnTo>
                    <a:pt x="143" y="104"/>
                  </a:lnTo>
                  <a:lnTo>
                    <a:pt x="146" y="89"/>
                  </a:lnTo>
                  <a:lnTo>
                    <a:pt x="148" y="82"/>
                  </a:lnTo>
                  <a:lnTo>
                    <a:pt x="149" y="75"/>
                  </a:lnTo>
                  <a:lnTo>
                    <a:pt x="149" y="75"/>
                  </a:lnTo>
                  <a:lnTo>
                    <a:pt x="148" y="67"/>
                  </a:lnTo>
                  <a:lnTo>
                    <a:pt x="146" y="60"/>
                  </a:lnTo>
                  <a:lnTo>
                    <a:pt x="145" y="53"/>
                  </a:lnTo>
                  <a:lnTo>
                    <a:pt x="143" y="46"/>
                  </a:lnTo>
                  <a:lnTo>
                    <a:pt x="135" y="33"/>
                  </a:lnTo>
                  <a:lnTo>
                    <a:pt x="127" y="22"/>
                  </a:lnTo>
                  <a:lnTo>
                    <a:pt x="116" y="14"/>
                  </a:lnTo>
                  <a:lnTo>
                    <a:pt x="102" y="7"/>
                  </a:lnTo>
                  <a:lnTo>
                    <a:pt x="96" y="4"/>
                  </a:lnTo>
                  <a:lnTo>
                    <a:pt x="89" y="2"/>
                  </a:lnTo>
                  <a:lnTo>
                    <a:pt x="82" y="0"/>
                  </a:lnTo>
                  <a:lnTo>
                    <a:pt x="74" y="0"/>
                  </a:lnTo>
                  <a:lnTo>
                    <a:pt x="74" y="0"/>
                  </a:lnTo>
                  <a:lnTo>
                    <a:pt x="67" y="0"/>
                  </a:lnTo>
                  <a:lnTo>
                    <a:pt x="60" y="2"/>
                  </a:lnTo>
                  <a:lnTo>
                    <a:pt x="52" y="4"/>
                  </a:lnTo>
                  <a:lnTo>
                    <a:pt x="45" y="7"/>
                  </a:lnTo>
                  <a:lnTo>
                    <a:pt x="33" y="14"/>
                  </a:lnTo>
                  <a:lnTo>
                    <a:pt x="22" y="22"/>
                  </a:lnTo>
                  <a:lnTo>
                    <a:pt x="12" y="33"/>
                  </a:lnTo>
                  <a:lnTo>
                    <a:pt x="6" y="46"/>
                  </a:lnTo>
                  <a:lnTo>
                    <a:pt x="4" y="53"/>
                  </a:lnTo>
                  <a:lnTo>
                    <a:pt x="1" y="60"/>
                  </a:lnTo>
                  <a:lnTo>
                    <a:pt x="0" y="67"/>
                  </a:lnTo>
                  <a:lnTo>
                    <a:pt x="0" y="75"/>
                  </a:lnTo>
                  <a:lnTo>
                    <a:pt x="0" y="75"/>
                  </a:lnTo>
                  <a:close/>
                </a:path>
              </a:pathLst>
            </a:custGeom>
            <a:solidFill>
              <a:srgbClr val="FF4F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2" name="Freeform 590"/>
            <p:cNvSpPr>
              <a:spLocks/>
            </p:cNvSpPr>
            <p:nvPr/>
          </p:nvSpPr>
          <p:spPr bwMode="auto">
            <a:xfrm>
              <a:off x="2059021" y="3324247"/>
              <a:ext cx="31750" cy="31750"/>
            </a:xfrm>
            <a:custGeom>
              <a:avLst/>
              <a:gdLst>
                <a:gd name="T0" fmla="*/ 0 w 102"/>
                <a:gd name="T1" fmla="*/ 51 h 102"/>
                <a:gd name="T2" fmla="*/ 0 w 102"/>
                <a:gd name="T3" fmla="*/ 51 h 102"/>
                <a:gd name="T4" fmla="*/ 1 w 102"/>
                <a:gd name="T5" fmla="*/ 61 h 102"/>
                <a:gd name="T6" fmla="*/ 5 w 102"/>
                <a:gd name="T7" fmla="*/ 71 h 102"/>
                <a:gd name="T8" fmla="*/ 9 w 102"/>
                <a:gd name="T9" fmla="*/ 79 h 102"/>
                <a:gd name="T10" fmla="*/ 16 w 102"/>
                <a:gd name="T11" fmla="*/ 87 h 102"/>
                <a:gd name="T12" fmla="*/ 23 w 102"/>
                <a:gd name="T13" fmla="*/ 94 h 102"/>
                <a:gd name="T14" fmla="*/ 32 w 102"/>
                <a:gd name="T15" fmla="*/ 97 h 102"/>
                <a:gd name="T16" fmla="*/ 41 w 102"/>
                <a:gd name="T17" fmla="*/ 101 h 102"/>
                <a:gd name="T18" fmla="*/ 51 w 102"/>
                <a:gd name="T19" fmla="*/ 102 h 102"/>
                <a:gd name="T20" fmla="*/ 51 w 102"/>
                <a:gd name="T21" fmla="*/ 102 h 102"/>
                <a:gd name="T22" fmla="*/ 62 w 102"/>
                <a:gd name="T23" fmla="*/ 101 h 102"/>
                <a:gd name="T24" fmla="*/ 72 w 102"/>
                <a:gd name="T25" fmla="*/ 97 h 102"/>
                <a:gd name="T26" fmla="*/ 80 w 102"/>
                <a:gd name="T27" fmla="*/ 94 h 102"/>
                <a:gd name="T28" fmla="*/ 88 w 102"/>
                <a:gd name="T29" fmla="*/ 87 h 102"/>
                <a:gd name="T30" fmla="*/ 94 w 102"/>
                <a:gd name="T31" fmla="*/ 79 h 102"/>
                <a:gd name="T32" fmla="*/ 99 w 102"/>
                <a:gd name="T33" fmla="*/ 71 h 102"/>
                <a:gd name="T34" fmla="*/ 101 w 102"/>
                <a:gd name="T35" fmla="*/ 61 h 102"/>
                <a:gd name="T36" fmla="*/ 102 w 102"/>
                <a:gd name="T37" fmla="*/ 51 h 102"/>
                <a:gd name="T38" fmla="*/ 102 w 102"/>
                <a:gd name="T39" fmla="*/ 51 h 102"/>
                <a:gd name="T40" fmla="*/ 101 w 102"/>
                <a:gd name="T41" fmla="*/ 40 h 102"/>
                <a:gd name="T42" fmla="*/ 99 w 102"/>
                <a:gd name="T43" fmla="*/ 30 h 102"/>
                <a:gd name="T44" fmla="*/ 94 w 102"/>
                <a:gd name="T45" fmla="*/ 22 h 102"/>
                <a:gd name="T46" fmla="*/ 88 w 102"/>
                <a:gd name="T47" fmla="*/ 15 h 102"/>
                <a:gd name="T48" fmla="*/ 80 w 102"/>
                <a:gd name="T49" fmla="*/ 8 h 102"/>
                <a:gd name="T50" fmla="*/ 72 w 102"/>
                <a:gd name="T51" fmla="*/ 4 h 102"/>
                <a:gd name="T52" fmla="*/ 62 w 102"/>
                <a:gd name="T53" fmla="*/ 1 h 102"/>
                <a:gd name="T54" fmla="*/ 51 w 102"/>
                <a:gd name="T55" fmla="*/ 0 h 102"/>
                <a:gd name="T56" fmla="*/ 51 w 102"/>
                <a:gd name="T57" fmla="*/ 0 h 102"/>
                <a:gd name="T58" fmla="*/ 41 w 102"/>
                <a:gd name="T59" fmla="*/ 1 h 102"/>
                <a:gd name="T60" fmla="*/ 32 w 102"/>
                <a:gd name="T61" fmla="*/ 4 h 102"/>
                <a:gd name="T62" fmla="*/ 23 w 102"/>
                <a:gd name="T63" fmla="*/ 8 h 102"/>
                <a:gd name="T64" fmla="*/ 16 w 102"/>
                <a:gd name="T65" fmla="*/ 15 h 102"/>
                <a:gd name="T66" fmla="*/ 9 w 102"/>
                <a:gd name="T67" fmla="*/ 22 h 102"/>
                <a:gd name="T68" fmla="*/ 5 w 102"/>
                <a:gd name="T69" fmla="*/ 30 h 102"/>
                <a:gd name="T70" fmla="*/ 1 w 102"/>
                <a:gd name="T71" fmla="*/ 40 h 102"/>
                <a:gd name="T72" fmla="*/ 0 w 102"/>
                <a:gd name="T73" fmla="*/ 51 h 102"/>
                <a:gd name="T74" fmla="*/ 0 w 102"/>
                <a:gd name="T75" fmla="*/ 5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2">
                  <a:moveTo>
                    <a:pt x="0" y="51"/>
                  </a:moveTo>
                  <a:lnTo>
                    <a:pt x="0" y="51"/>
                  </a:lnTo>
                  <a:lnTo>
                    <a:pt x="1" y="61"/>
                  </a:lnTo>
                  <a:lnTo>
                    <a:pt x="5" y="71"/>
                  </a:lnTo>
                  <a:lnTo>
                    <a:pt x="9" y="79"/>
                  </a:lnTo>
                  <a:lnTo>
                    <a:pt x="16" y="87"/>
                  </a:lnTo>
                  <a:lnTo>
                    <a:pt x="23" y="94"/>
                  </a:lnTo>
                  <a:lnTo>
                    <a:pt x="32" y="97"/>
                  </a:lnTo>
                  <a:lnTo>
                    <a:pt x="41" y="101"/>
                  </a:lnTo>
                  <a:lnTo>
                    <a:pt x="51" y="102"/>
                  </a:lnTo>
                  <a:lnTo>
                    <a:pt x="51" y="102"/>
                  </a:lnTo>
                  <a:lnTo>
                    <a:pt x="62" y="101"/>
                  </a:lnTo>
                  <a:lnTo>
                    <a:pt x="72" y="97"/>
                  </a:lnTo>
                  <a:lnTo>
                    <a:pt x="80" y="94"/>
                  </a:lnTo>
                  <a:lnTo>
                    <a:pt x="88" y="87"/>
                  </a:lnTo>
                  <a:lnTo>
                    <a:pt x="94" y="79"/>
                  </a:lnTo>
                  <a:lnTo>
                    <a:pt x="99" y="71"/>
                  </a:lnTo>
                  <a:lnTo>
                    <a:pt x="101" y="61"/>
                  </a:lnTo>
                  <a:lnTo>
                    <a:pt x="102" y="51"/>
                  </a:lnTo>
                  <a:lnTo>
                    <a:pt x="102" y="51"/>
                  </a:lnTo>
                  <a:lnTo>
                    <a:pt x="101" y="40"/>
                  </a:lnTo>
                  <a:lnTo>
                    <a:pt x="99" y="30"/>
                  </a:lnTo>
                  <a:lnTo>
                    <a:pt x="94" y="22"/>
                  </a:lnTo>
                  <a:lnTo>
                    <a:pt x="88" y="15"/>
                  </a:lnTo>
                  <a:lnTo>
                    <a:pt x="80" y="8"/>
                  </a:lnTo>
                  <a:lnTo>
                    <a:pt x="72" y="4"/>
                  </a:lnTo>
                  <a:lnTo>
                    <a:pt x="62" y="1"/>
                  </a:lnTo>
                  <a:lnTo>
                    <a:pt x="51" y="0"/>
                  </a:lnTo>
                  <a:lnTo>
                    <a:pt x="51" y="0"/>
                  </a:lnTo>
                  <a:lnTo>
                    <a:pt x="41" y="1"/>
                  </a:lnTo>
                  <a:lnTo>
                    <a:pt x="32" y="4"/>
                  </a:lnTo>
                  <a:lnTo>
                    <a:pt x="23" y="8"/>
                  </a:lnTo>
                  <a:lnTo>
                    <a:pt x="16" y="15"/>
                  </a:lnTo>
                  <a:lnTo>
                    <a:pt x="9" y="22"/>
                  </a:lnTo>
                  <a:lnTo>
                    <a:pt x="5" y="30"/>
                  </a:lnTo>
                  <a:lnTo>
                    <a:pt x="1" y="40"/>
                  </a:lnTo>
                  <a:lnTo>
                    <a:pt x="0" y="51"/>
                  </a:lnTo>
                  <a:lnTo>
                    <a:pt x="0" y="51"/>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3" name="Freeform 591"/>
            <p:cNvSpPr>
              <a:spLocks/>
            </p:cNvSpPr>
            <p:nvPr/>
          </p:nvSpPr>
          <p:spPr bwMode="auto">
            <a:xfrm>
              <a:off x="2073308" y="3454423"/>
              <a:ext cx="20638" cy="20638"/>
            </a:xfrm>
            <a:custGeom>
              <a:avLst/>
              <a:gdLst>
                <a:gd name="T0" fmla="*/ 0 w 67"/>
                <a:gd name="T1" fmla="*/ 34 h 68"/>
                <a:gd name="T2" fmla="*/ 0 w 67"/>
                <a:gd name="T3" fmla="*/ 34 h 68"/>
                <a:gd name="T4" fmla="*/ 0 w 67"/>
                <a:gd name="T5" fmla="*/ 41 h 68"/>
                <a:gd name="T6" fmla="*/ 2 w 67"/>
                <a:gd name="T7" fmla="*/ 47 h 68"/>
                <a:gd name="T8" fmla="*/ 5 w 67"/>
                <a:gd name="T9" fmla="*/ 53 h 68"/>
                <a:gd name="T10" fmla="*/ 10 w 67"/>
                <a:gd name="T11" fmla="*/ 58 h 68"/>
                <a:gd name="T12" fmla="*/ 15 w 67"/>
                <a:gd name="T13" fmla="*/ 63 h 68"/>
                <a:gd name="T14" fmla="*/ 21 w 67"/>
                <a:gd name="T15" fmla="*/ 65 h 68"/>
                <a:gd name="T16" fmla="*/ 27 w 67"/>
                <a:gd name="T17" fmla="*/ 68 h 68"/>
                <a:gd name="T18" fmla="*/ 33 w 67"/>
                <a:gd name="T19" fmla="*/ 68 h 68"/>
                <a:gd name="T20" fmla="*/ 33 w 67"/>
                <a:gd name="T21" fmla="*/ 68 h 68"/>
                <a:gd name="T22" fmla="*/ 40 w 67"/>
                <a:gd name="T23" fmla="*/ 68 h 68"/>
                <a:gd name="T24" fmla="*/ 46 w 67"/>
                <a:gd name="T25" fmla="*/ 65 h 68"/>
                <a:gd name="T26" fmla="*/ 52 w 67"/>
                <a:gd name="T27" fmla="*/ 63 h 68"/>
                <a:gd name="T28" fmla="*/ 57 w 67"/>
                <a:gd name="T29" fmla="*/ 58 h 68"/>
                <a:gd name="T30" fmla="*/ 62 w 67"/>
                <a:gd name="T31" fmla="*/ 53 h 68"/>
                <a:gd name="T32" fmla="*/ 65 w 67"/>
                <a:gd name="T33" fmla="*/ 47 h 68"/>
                <a:gd name="T34" fmla="*/ 67 w 67"/>
                <a:gd name="T35" fmla="*/ 41 h 68"/>
                <a:gd name="T36" fmla="*/ 67 w 67"/>
                <a:gd name="T37" fmla="*/ 34 h 68"/>
                <a:gd name="T38" fmla="*/ 67 w 67"/>
                <a:gd name="T39" fmla="*/ 34 h 68"/>
                <a:gd name="T40" fmla="*/ 67 w 67"/>
                <a:gd name="T41" fmla="*/ 28 h 68"/>
                <a:gd name="T42" fmla="*/ 65 w 67"/>
                <a:gd name="T43" fmla="*/ 22 h 68"/>
                <a:gd name="T44" fmla="*/ 62 w 67"/>
                <a:gd name="T45" fmla="*/ 15 h 68"/>
                <a:gd name="T46" fmla="*/ 57 w 67"/>
                <a:gd name="T47" fmla="*/ 11 h 68"/>
                <a:gd name="T48" fmla="*/ 52 w 67"/>
                <a:gd name="T49" fmla="*/ 6 h 68"/>
                <a:gd name="T50" fmla="*/ 46 w 67"/>
                <a:gd name="T51" fmla="*/ 3 h 68"/>
                <a:gd name="T52" fmla="*/ 40 w 67"/>
                <a:gd name="T53" fmla="*/ 1 h 68"/>
                <a:gd name="T54" fmla="*/ 33 w 67"/>
                <a:gd name="T55" fmla="*/ 0 h 68"/>
                <a:gd name="T56" fmla="*/ 33 w 67"/>
                <a:gd name="T57" fmla="*/ 0 h 68"/>
                <a:gd name="T58" fmla="*/ 27 w 67"/>
                <a:gd name="T59" fmla="*/ 1 h 68"/>
                <a:gd name="T60" fmla="*/ 21 w 67"/>
                <a:gd name="T61" fmla="*/ 3 h 68"/>
                <a:gd name="T62" fmla="*/ 15 w 67"/>
                <a:gd name="T63" fmla="*/ 6 h 68"/>
                <a:gd name="T64" fmla="*/ 10 w 67"/>
                <a:gd name="T65" fmla="*/ 11 h 68"/>
                <a:gd name="T66" fmla="*/ 5 w 67"/>
                <a:gd name="T67" fmla="*/ 15 h 68"/>
                <a:gd name="T68" fmla="*/ 2 w 67"/>
                <a:gd name="T69" fmla="*/ 22 h 68"/>
                <a:gd name="T70" fmla="*/ 0 w 67"/>
                <a:gd name="T71" fmla="*/ 28 h 68"/>
                <a:gd name="T72" fmla="*/ 0 w 67"/>
                <a:gd name="T73" fmla="*/ 34 h 68"/>
                <a:gd name="T74" fmla="*/ 0 w 67"/>
                <a:gd name="T7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68">
                  <a:moveTo>
                    <a:pt x="0" y="34"/>
                  </a:moveTo>
                  <a:lnTo>
                    <a:pt x="0" y="34"/>
                  </a:lnTo>
                  <a:lnTo>
                    <a:pt x="0" y="41"/>
                  </a:lnTo>
                  <a:lnTo>
                    <a:pt x="2" y="47"/>
                  </a:lnTo>
                  <a:lnTo>
                    <a:pt x="5" y="53"/>
                  </a:lnTo>
                  <a:lnTo>
                    <a:pt x="10" y="58"/>
                  </a:lnTo>
                  <a:lnTo>
                    <a:pt x="15" y="63"/>
                  </a:lnTo>
                  <a:lnTo>
                    <a:pt x="21" y="65"/>
                  </a:lnTo>
                  <a:lnTo>
                    <a:pt x="27" y="68"/>
                  </a:lnTo>
                  <a:lnTo>
                    <a:pt x="33" y="68"/>
                  </a:lnTo>
                  <a:lnTo>
                    <a:pt x="33" y="68"/>
                  </a:lnTo>
                  <a:lnTo>
                    <a:pt x="40" y="68"/>
                  </a:lnTo>
                  <a:lnTo>
                    <a:pt x="46" y="65"/>
                  </a:lnTo>
                  <a:lnTo>
                    <a:pt x="52" y="63"/>
                  </a:lnTo>
                  <a:lnTo>
                    <a:pt x="57" y="58"/>
                  </a:lnTo>
                  <a:lnTo>
                    <a:pt x="62" y="53"/>
                  </a:lnTo>
                  <a:lnTo>
                    <a:pt x="65" y="47"/>
                  </a:lnTo>
                  <a:lnTo>
                    <a:pt x="67" y="41"/>
                  </a:lnTo>
                  <a:lnTo>
                    <a:pt x="67" y="34"/>
                  </a:lnTo>
                  <a:lnTo>
                    <a:pt x="67" y="34"/>
                  </a:lnTo>
                  <a:lnTo>
                    <a:pt x="67" y="28"/>
                  </a:lnTo>
                  <a:lnTo>
                    <a:pt x="65" y="22"/>
                  </a:lnTo>
                  <a:lnTo>
                    <a:pt x="62" y="15"/>
                  </a:lnTo>
                  <a:lnTo>
                    <a:pt x="57" y="11"/>
                  </a:lnTo>
                  <a:lnTo>
                    <a:pt x="52" y="6"/>
                  </a:lnTo>
                  <a:lnTo>
                    <a:pt x="46" y="3"/>
                  </a:lnTo>
                  <a:lnTo>
                    <a:pt x="40" y="1"/>
                  </a:lnTo>
                  <a:lnTo>
                    <a:pt x="33" y="0"/>
                  </a:lnTo>
                  <a:lnTo>
                    <a:pt x="33" y="0"/>
                  </a:lnTo>
                  <a:lnTo>
                    <a:pt x="27" y="1"/>
                  </a:lnTo>
                  <a:lnTo>
                    <a:pt x="21" y="3"/>
                  </a:lnTo>
                  <a:lnTo>
                    <a:pt x="15" y="6"/>
                  </a:lnTo>
                  <a:lnTo>
                    <a:pt x="10" y="11"/>
                  </a:lnTo>
                  <a:lnTo>
                    <a:pt x="5" y="15"/>
                  </a:lnTo>
                  <a:lnTo>
                    <a:pt x="2" y="22"/>
                  </a:lnTo>
                  <a:lnTo>
                    <a:pt x="0" y="28"/>
                  </a:lnTo>
                  <a:lnTo>
                    <a:pt x="0" y="34"/>
                  </a:lnTo>
                  <a:lnTo>
                    <a:pt x="0" y="34"/>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4" name="Freeform 592"/>
            <p:cNvSpPr>
              <a:spLocks/>
            </p:cNvSpPr>
            <p:nvPr/>
          </p:nvSpPr>
          <p:spPr bwMode="auto">
            <a:xfrm>
              <a:off x="2001870" y="3340122"/>
              <a:ext cx="20638" cy="20638"/>
            </a:xfrm>
            <a:custGeom>
              <a:avLst/>
              <a:gdLst>
                <a:gd name="T0" fmla="*/ 0 w 68"/>
                <a:gd name="T1" fmla="*/ 34 h 68"/>
                <a:gd name="T2" fmla="*/ 0 w 68"/>
                <a:gd name="T3" fmla="*/ 34 h 68"/>
                <a:gd name="T4" fmla="*/ 1 w 68"/>
                <a:gd name="T5" fmla="*/ 40 h 68"/>
                <a:gd name="T6" fmla="*/ 2 w 68"/>
                <a:gd name="T7" fmla="*/ 46 h 68"/>
                <a:gd name="T8" fmla="*/ 6 w 68"/>
                <a:gd name="T9" fmla="*/ 53 h 68"/>
                <a:gd name="T10" fmla="*/ 9 w 68"/>
                <a:gd name="T11" fmla="*/ 57 h 68"/>
                <a:gd name="T12" fmla="*/ 15 w 68"/>
                <a:gd name="T13" fmla="*/ 62 h 68"/>
                <a:gd name="T14" fmla="*/ 20 w 68"/>
                <a:gd name="T15" fmla="*/ 65 h 68"/>
                <a:gd name="T16" fmla="*/ 28 w 68"/>
                <a:gd name="T17" fmla="*/ 67 h 68"/>
                <a:gd name="T18" fmla="*/ 34 w 68"/>
                <a:gd name="T19" fmla="*/ 68 h 68"/>
                <a:gd name="T20" fmla="*/ 34 w 68"/>
                <a:gd name="T21" fmla="*/ 68 h 68"/>
                <a:gd name="T22" fmla="*/ 41 w 68"/>
                <a:gd name="T23" fmla="*/ 67 h 68"/>
                <a:gd name="T24" fmla="*/ 47 w 68"/>
                <a:gd name="T25" fmla="*/ 65 h 68"/>
                <a:gd name="T26" fmla="*/ 53 w 68"/>
                <a:gd name="T27" fmla="*/ 62 h 68"/>
                <a:gd name="T28" fmla="*/ 58 w 68"/>
                <a:gd name="T29" fmla="*/ 57 h 68"/>
                <a:gd name="T30" fmla="*/ 62 w 68"/>
                <a:gd name="T31" fmla="*/ 53 h 68"/>
                <a:gd name="T32" fmla="*/ 65 w 68"/>
                <a:gd name="T33" fmla="*/ 46 h 68"/>
                <a:gd name="T34" fmla="*/ 67 w 68"/>
                <a:gd name="T35" fmla="*/ 40 h 68"/>
                <a:gd name="T36" fmla="*/ 68 w 68"/>
                <a:gd name="T37" fmla="*/ 34 h 68"/>
                <a:gd name="T38" fmla="*/ 68 w 68"/>
                <a:gd name="T39" fmla="*/ 34 h 68"/>
                <a:gd name="T40" fmla="*/ 67 w 68"/>
                <a:gd name="T41" fmla="*/ 27 h 68"/>
                <a:gd name="T42" fmla="*/ 65 w 68"/>
                <a:gd name="T43" fmla="*/ 21 h 68"/>
                <a:gd name="T44" fmla="*/ 62 w 68"/>
                <a:gd name="T45" fmla="*/ 15 h 68"/>
                <a:gd name="T46" fmla="*/ 58 w 68"/>
                <a:gd name="T47" fmla="*/ 10 h 68"/>
                <a:gd name="T48" fmla="*/ 53 w 68"/>
                <a:gd name="T49" fmla="*/ 5 h 68"/>
                <a:gd name="T50" fmla="*/ 47 w 68"/>
                <a:gd name="T51" fmla="*/ 3 h 68"/>
                <a:gd name="T52" fmla="*/ 41 w 68"/>
                <a:gd name="T53" fmla="*/ 0 h 68"/>
                <a:gd name="T54" fmla="*/ 34 w 68"/>
                <a:gd name="T55" fmla="*/ 0 h 68"/>
                <a:gd name="T56" fmla="*/ 34 w 68"/>
                <a:gd name="T57" fmla="*/ 0 h 68"/>
                <a:gd name="T58" fmla="*/ 28 w 68"/>
                <a:gd name="T59" fmla="*/ 0 h 68"/>
                <a:gd name="T60" fmla="*/ 20 w 68"/>
                <a:gd name="T61" fmla="*/ 3 h 68"/>
                <a:gd name="T62" fmla="*/ 15 w 68"/>
                <a:gd name="T63" fmla="*/ 5 h 68"/>
                <a:gd name="T64" fmla="*/ 9 w 68"/>
                <a:gd name="T65" fmla="*/ 10 h 68"/>
                <a:gd name="T66" fmla="*/ 6 w 68"/>
                <a:gd name="T67" fmla="*/ 15 h 68"/>
                <a:gd name="T68" fmla="*/ 2 w 68"/>
                <a:gd name="T69" fmla="*/ 21 h 68"/>
                <a:gd name="T70" fmla="*/ 1 w 68"/>
                <a:gd name="T71" fmla="*/ 27 h 68"/>
                <a:gd name="T72" fmla="*/ 0 w 68"/>
                <a:gd name="T73" fmla="*/ 34 h 68"/>
                <a:gd name="T74" fmla="*/ 0 w 68"/>
                <a:gd name="T7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8" h="68">
                  <a:moveTo>
                    <a:pt x="0" y="34"/>
                  </a:moveTo>
                  <a:lnTo>
                    <a:pt x="0" y="34"/>
                  </a:lnTo>
                  <a:lnTo>
                    <a:pt x="1" y="40"/>
                  </a:lnTo>
                  <a:lnTo>
                    <a:pt x="2" y="46"/>
                  </a:lnTo>
                  <a:lnTo>
                    <a:pt x="6" y="53"/>
                  </a:lnTo>
                  <a:lnTo>
                    <a:pt x="9" y="57"/>
                  </a:lnTo>
                  <a:lnTo>
                    <a:pt x="15" y="62"/>
                  </a:lnTo>
                  <a:lnTo>
                    <a:pt x="20" y="65"/>
                  </a:lnTo>
                  <a:lnTo>
                    <a:pt x="28" y="67"/>
                  </a:lnTo>
                  <a:lnTo>
                    <a:pt x="34" y="68"/>
                  </a:lnTo>
                  <a:lnTo>
                    <a:pt x="34" y="68"/>
                  </a:lnTo>
                  <a:lnTo>
                    <a:pt x="41" y="67"/>
                  </a:lnTo>
                  <a:lnTo>
                    <a:pt x="47" y="65"/>
                  </a:lnTo>
                  <a:lnTo>
                    <a:pt x="53" y="62"/>
                  </a:lnTo>
                  <a:lnTo>
                    <a:pt x="58" y="57"/>
                  </a:lnTo>
                  <a:lnTo>
                    <a:pt x="62" y="53"/>
                  </a:lnTo>
                  <a:lnTo>
                    <a:pt x="65" y="46"/>
                  </a:lnTo>
                  <a:lnTo>
                    <a:pt x="67" y="40"/>
                  </a:lnTo>
                  <a:lnTo>
                    <a:pt x="68" y="34"/>
                  </a:lnTo>
                  <a:lnTo>
                    <a:pt x="68" y="34"/>
                  </a:lnTo>
                  <a:lnTo>
                    <a:pt x="67" y="27"/>
                  </a:lnTo>
                  <a:lnTo>
                    <a:pt x="65" y="21"/>
                  </a:lnTo>
                  <a:lnTo>
                    <a:pt x="62" y="15"/>
                  </a:lnTo>
                  <a:lnTo>
                    <a:pt x="58" y="10"/>
                  </a:lnTo>
                  <a:lnTo>
                    <a:pt x="53" y="5"/>
                  </a:lnTo>
                  <a:lnTo>
                    <a:pt x="47" y="3"/>
                  </a:lnTo>
                  <a:lnTo>
                    <a:pt x="41" y="0"/>
                  </a:lnTo>
                  <a:lnTo>
                    <a:pt x="34" y="0"/>
                  </a:lnTo>
                  <a:lnTo>
                    <a:pt x="34" y="0"/>
                  </a:lnTo>
                  <a:lnTo>
                    <a:pt x="28" y="0"/>
                  </a:lnTo>
                  <a:lnTo>
                    <a:pt x="20" y="3"/>
                  </a:lnTo>
                  <a:lnTo>
                    <a:pt x="15" y="5"/>
                  </a:lnTo>
                  <a:lnTo>
                    <a:pt x="9" y="10"/>
                  </a:lnTo>
                  <a:lnTo>
                    <a:pt x="6" y="15"/>
                  </a:lnTo>
                  <a:lnTo>
                    <a:pt x="2" y="21"/>
                  </a:lnTo>
                  <a:lnTo>
                    <a:pt x="1" y="27"/>
                  </a:lnTo>
                  <a:lnTo>
                    <a:pt x="0" y="34"/>
                  </a:lnTo>
                  <a:lnTo>
                    <a:pt x="0" y="34"/>
                  </a:lnTo>
                  <a:close/>
                </a:path>
              </a:pathLst>
            </a:custGeom>
            <a:solidFill>
              <a:srgbClr val="FF4F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5" name="Freeform 593"/>
            <p:cNvSpPr>
              <a:spLocks/>
            </p:cNvSpPr>
            <p:nvPr/>
          </p:nvSpPr>
          <p:spPr bwMode="auto">
            <a:xfrm>
              <a:off x="2130459" y="3459186"/>
              <a:ext cx="17463" cy="15875"/>
            </a:xfrm>
            <a:custGeom>
              <a:avLst/>
              <a:gdLst>
                <a:gd name="T0" fmla="*/ 0 w 52"/>
                <a:gd name="T1" fmla="*/ 25 h 51"/>
                <a:gd name="T2" fmla="*/ 0 w 52"/>
                <a:gd name="T3" fmla="*/ 25 h 51"/>
                <a:gd name="T4" fmla="*/ 1 w 52"/>
                <a:gd name="T5" fmla="*/ 30 h 51"/>
                <a:gd name="T6" fmla="*/ 2 w 52"/>
                <a:gd name="T7" fmla="*/ 35 h 51"/>
                <a:gd name="T8" fmla="*/ 5 w 52"/>
                <a:gd name="T9" fmla="*/ 40 h 51"/>
                <a:gd name="T10" fmla="*/ 7 w 52"/>
                <a:gd name="T11" fmla="*/ 44 h 51"/>
                <a:gd name="T12" fmla="*/ 12 w 52"/>
                <a:gd name="T13" fmla="*/ 47 h 51"/>
                <a:gd name="T14" fmla="*/ 16 w 52"/>
                <a:gd name="T15" fmla="*/ 50 h 51"/>
                <a:gd name="T16" fmla="*/ 21 w 52"/>
                <a:gd name="T17" fmla="*/ 51 h 51"/>
                <a:gd name="T18" fmla="*/ 26 w 52"/>
                <a:gd name="T19" fmla="*/ 51 h 51"/>
                <a:gd name="T20" fmla="*/ 26 w 52"/>
                <a:gd name="T21" fmla="*/ 51 h 51"/>
                <a:gd name="T22" fmla="*/ 32 w 52"/>
                <a:gd name="T23" fmla="*/ 51 h 51"/>
                <a:gd name="T24" fmla="*/ 37 w 52"/>
                <a:gd name="T25" fmla="*/ 50 h 51"/>
                <a:gd name="T26" fmla="*/ 40 w 52"/>
                <a:gd name="T27" fmla="*/ 47 h 51"/>
                <a:gd name="T28" fmla="*/ 45 w 52"/>
                <a:gd name="T29" fmla="*/ 44 h 51"/>
                <a:gd name="T30" fmla="*/ 48 w 52"/>
                <a:gd name="T31" fmla="*/ 40 h 51"/>
                <a:gd name="T32" fmla="*/ 50 w 52"/>
                <a:gd name="T33" fmla="*/ 35 h 51"/>
                <a:gd name="T34" fmla="*/ 51 w 52"/>
                <a:gd name="T35" fmla="*/ 30 h 51"/>
                <a:gd name="T36" fmla="*/ 52 w 52"/>
                <a:gd name="T37" fmla="*/ 25 h 51"/>
                <a:gd name="T38" fmla="*/ 52 w 52"/>
                <a:gd name="T39" fmla="*/ 25 h 51"/>
                <a:gd name="T40" fmla="*/ 51 w 52"/>
                <a:gd name="T41" fmla="*/ 20 h 51"/>
                <a:gd name="T42" fmla="*/ 50 w 52"/>
                <a:gd name="T43" fmla="*/ 15 h 51"/>
                <a:gd name="T44" fmla="*/ 48 w 52"/>
                <a:gd name="T45" fmla="*/ 11 h 51"/>
                <a:gd name="T46" fmla="*/ 45 w 52"/>
                <a:gd name="T47" fmla="*/ 7 h 51"/>
                <a:gd name="T48" fmla="*/ 40 w 52"/>
                <a:gd name="T49" fmla="*/ 3 h 51"/>
                <a:gd name="T50" fmla="*/ 37 w 52"/>
                <a:gd name="T51" fmla="*/ 1 h 51"/>
                <a:gd name="T52" fmla="*/ 32 w 52"/>
                <a:gd name="T53" fmla="*/ 0 h 51"/>
                <a:gd name="T54" fmla="*/ 26 w 52"/>
                <a:gd name="T55" fmla="*/ 0 h 51"/>
                <a:gd name="T56" fmla="*/ 26 w 52"/>
                <a:gd name="T57" fmla="*/ 0 h 51"/>
                <a:gd name="T58" fmla="*/ 21 w 52"/>
                <a:gd name="T59" fmla="*/ 0 h 51"/>
                <a:gd name="T60" fmla="*/ 16 w 52"/>
                <a:gd name="T61" fmla="*/ 1 h 51"/>
                <a:gd name="T62" fmla="*/ 12 w 52"/>
                <a:gd name="T63" fmla="*/ 3 h 51"/>
                <a:gd name="T64" fmla="*/ 7 w 52"/>
                <a:gd name="T65" fmla="*/ 7 h 51"/>
                <a:gd name="T66" fmla="*/ 5 w 52"/>
                <a:gd name="T67" fmla="*/ 11 h 51"/>
                <a:gd name="T68" fmla="*/ 2 w 52"/>
                <a:gd name="T69" fmla="*/ 15 h 51"/>
                <a:gd name="T70" fmla="*/ 1 w 52"/>
                <a:gd name="T71" fmla="*/ 20 h 51"/>
                <a:gd name="T72" fmla="*/ 0 w 52"/>
                <a:gd name="T73" fmla="*/ 25 h 51"/>
                <a:gd name="T74" fmla="*/ 0 w 52"/>
                <a:gd name="T75"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51">
                  <a:moveTo>
                    <a:pt x="0" y="25"/>
                  </a:moveTo>
                  <a:lnTo>
                    <a:pt x="0" y="25"/>
                  </a:lnTo>
                  <a:lnTo>
                    <a:pt x="1" y="30"/>
                  </a:lnTo>
                  <a:lnTo>
                    <a:pt x="2" y="35"/>
                  </a:lnTo>
                  <a:lnTo>
                    <a:pt x="5" y="40"/>
                  </a:lnTo>
                  <a:lnTo>
                    <a:pt x="7" y="44"/>
                  </a:lnTo>
                  <a:lnTo>
                    <a:pt x="12" y="47"/>
                  </a:lnTo>
                  <a:lnTo>
                    <a:pt x="16" y="50"/>
                  </a:lnTo>
                  <a:lnTo>
                    <a:pt x="21" y="51"/>
                  </a:lnTo>
                  <a:lnTo>
                    <a:pt x="26" y="51"/>
                  </a:lnTo>
                  <a:lnTo>
                    <a:pt x="26" y="51"/>
                  </a:lnTo>
                  <a:lnTo>
                    <a:pt x="32" y="51"/>
                  </a:lnTo>
                  <a:lnTo>
                    <a:pt x="37" y="50"/>
                  </a:lnTo>
                  <a:lnTo>
                    <a:pt x="40" y="47"/>
                  </a:lnTo>
                  <a:lnTo>
                    <a:pt x="45" y="44"/>
                  </a:lnTo>
                  <a:lnTo>
                    <a:pt x="48" y="40"/>
                  </a:lnTo>
                  <a:lnTo>
                    <a:pt x="50" y="35"/>
                  </a:lnTo>
                  <a:lnTo>
                    <a:pt x="51" y="30"/>
                  </a:lnTo>
                  <a:lnTo>
                    <a:pt x="52" y="25"/>
                  </a:lnTo>
                  <a:lnTo>
                    <a:pt x="52" y="25"/>
                  </a:lnTo>
                  <a:lnTo>
                    <a:pt x="51" y="20"/>
                  </a:lnTo>
                  <a:lnTo>
                    <a:pt x="50" y="15"/>
                  </a:lnTo>
                  <a:lnTo>
                    <a:pt x="48" y="11"/>
                  </a:lnTo>
                  <a:lnTo>
                    <a:pt x="45" y="7"/>
                  </a:lnTo>
                  <a:lnTo>
                    <a:pt x="40" y="3"/>
                  </a:lnTo>
                  <a:lnTo>
                    <a:pt x="37" y="1"/>
                  </a:lnTo>
                  <a:lnTo>
                    <a:pt x="32" y="0"/>
                  </a:lnTo>
                  <a:lnTo>
                    <a:pt x="26" y="0"/>
                  </a:lnTo>
                  <a:lnTo>
                    <a:pt x="26" y="0"/>
                  </a:lnTo>
                  <a:lnTo>
                    <a:pt x="21" y="0"/>
                  </a:lnTo>
                  <a:lnTo>
                    <a:pt x="16" y="1"/>
                  </a:lnTo>
                  <a:lnTo>
                    <a:pt x="12" y="3"/>
                  </a:lnTo>
                  <a:lnTo>
                    <a:pt x="7" y="7"/>
                  </a:lnTo>
                  <a:lnTo>
                    <a:pt x="5" y="11"/>
                  </a:lnTo>
                  <a:lnTo>
                    <a:pt x="2" y="15"/>
                  </a:lnTo>
                  <a:lnTo>
                    <a:pt x="1" y="20"/>
                  </a:lnTo>
                  <a:lnTo>
                    <a:pt x="0" y="25"/>
                  </a:lnTo>
                  <a:lnTo>
                    <a:pt x="0" y="25"/>
                  </a:lnTo>
                  <a:close/>
                </a:path>
              </a:pathLst>
            </a:custGeom>
            <a:solidFill>
              <a:srgbClr val="FF4F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6" name="Freeform 594"/>
            <p:cNvSpPr>
              <a:spLocks/>
            </p:cNvSpPr>
            <p:nvPr/>
          </p:nvSpPr>
          <p:spPr bwMode="auto">
            <a:xfrm>
              <a:off x="1897095" y="3168671"/>
              <a:ext cx="87313" cy="100013"/>
            </a:xfrm>
            <a:custGeom>
              <a:avLst/>
              <a:gdLst>
                <a:gd name="T0" fmla="*/ 5 w 272"/>
                <a:gd name="T1" fmla="*/ 2 h 317"/>
                <a:gd name="T2" fmla="*/ 5 w 272"/>
                <a:gd name="T3" fmla="*/ 2 h 317"/>
                <a:gd name="T4" fmla="*/ 2 w 272"/>
                <a:gd name="T5" fmla="*/ 7 h 317"/>
                <a:gd name="T6" fmla="*/ 0 w 272"/>
                <a:gd name="T7" fmla="*/ 12 h 317"/>
                <a:gd name="T8" fmla="*/ 1 w 272"/>
                <a:gd name="T9" fmla="*/ 17 h 317"/>
                <a:gd name="T10" fmla="*/ 4 w 272"/>
                <a:gd name="T11" fmla="*/ 22 h 317"/>
                <a:gd name="T12" fmla="*/ 247 w 272"/>
                <a:gd name="T13" fmla="*/ 312 h 317"/>
                <a:gd name="T14" fmla="*/ 247 w 272"/>
                <a:gd name="T15" fmla="*/ 312 h 317"/>
                <a:gd name="T16" fmla="*/ 252 w 272"/>
                <a:gd name="T17" fmla="*/ 316 h 317"/>
                <a:gd name="T18" fmla="*/ 257 w 272"/>
                <a:gd name="T19" fmla="*/ 317 h 317"/>
                <a:gd name="T20" fmla="*/ 262 w 272"/>
                <a:gd name="T21" fmla="*/ 317 h 317"/>
                <a:gd name="T22" fmla="*/ 267 w 272"/>
                <a:gd name="T23" fmla="*/ 314 h 317"/>
                <a:gd name="T24" fmla="*/ 267 w 272"/>
                <a:gd name="T25" fmla="*/ 314 h 317"/>
                <a:gd name="T26" fmla="*/ 270 w 272"/>
                <a:gd name="T27" fmla="*/ 310 h 317"/>
                <a:gd name="T28" fmla="*/ 272 w 272"/>
                <a:gd name="T29" fmla="*/ 305 h 317"/>
                <a:gd name="T30" fmla="*/ 272 w 272"/>
                <a:gd name="T31" fmla="*/ 300 h 317"/>
                <a:gd name="T32" fmla="*/ 268 w 272"/>
                <a:gd name="T33" fmla="*/ 295 h 317"/>
                <a:gd name="T34" fmla="*/ 24 w 272"/>
                <a:gd name="T35" fmla="*/ 5 h 317"/>
                <a:gd name="T36" fmla="*/ 24 w 272"/>
                <a:gd name="T37" fmla="*/ 5 h 317"/>
                <a:gd name="T38" fmla="*/ 21 w 272"/>
                <a:gd name="T39" fmla="*/ 1 h 317"/>
                <a:gd name="T40" fmla="*/ 16 w 272"/>
                <a:gd name="T41" fmla="*/ 0 h 317"/>
                <a:gd name="T42" fmla="*/ 10 w 272"/>
                <a:gd name="T43" fmla="*/ 0 h 317"/>
                <a:gd name="T44" fmla="*/ 5 w 272"/>
                <a:gd name="T45" fmla="*/ 2 h 317"/>
                <a:gd name="T46" fmla="*/ 5 w 272"/>
                <a:gd name="T47" fmla="*/ 2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2" h="317">
                  <a:moveTo>
                    <a:pt x="5" y="2"/>
                  </a:moveTo>
                  <a:lnTo>
                    <a:pt x="5" y="2"/>
                  </a:lnTo>
                  <a:lnTo>
                    <a:pt x="2" y="7"/>
                  </a:lnTo>
                  <a:lnTo>
                    <a:pt x="0" y="12"/>
                  </a:lnTo>
                  <a:lnTo>
                    <a:pt x="1" y="17"/>
                  </a:lnTo>
                  <a:lnTo>
                    <a:pt x="4" y="22"/>
                  </a:lnTo>
                  <a:lnTo>
                    <a:pt x="247" y="312"/>
                  </a:lnTo>
                  <a:lnTo>
                    <a:pt x="247" y="312"/>
                  </a:lnTo>
                  <a:lnTo>
                    <a:pt x="252" y="316"/>
                  </a:lnTo>
                  <a:lnTo>
                    <a:pt x="257" y="317"/>
                  </a:lnTo>
                  <a:lnTo>
                    <a:pt x="262" y="317"/>
                  </a:lnTo>
                  <a:lnTo>
                    <a:pt x="267" y="314"/>
                  </a:lnTo>
                  <a:lnTo>
                    <a:pt x="267" y="314"/>
                  </a:lnTo>
                  <a:lnTo>
                    <a:pt x="270" y="310"/>
                  </a:lnTo>
                  <a:lnTo>
                    <a:pt x="272" y="305"/>
                  </a:lnTo>
                  <a:lnTo>
                    <a:pt x="272" y="300"/>
                  </a:lnTo>
                  <a:lnTo>
                    <a:pt x="268" y="295"/>
                  </a:lnTo>
                  <a:lnTo>
                    <a:pt x="24" y="5"/>
                  </a:lnTo>
                  <a:lnTo>
                    <a:pt x="24" y="5"/>
                  </a:lnTo>
                  <a:lnTo>
                    <a:pt x="21" y="1"/>
                  </a:lnTo>
                  <a:lnTo>
                    <a:pt x="16" y="0"/>
                  </a:lnTo>
                  <a:lnTo>
                    <a:pt x="10" y="0"/>
                  </a:lnTo>
                  <a:lnTo>
                    <a:pt x="5" y="2"/>
                  </a:lnTo>
                  <a:lnTo>
                    <a:pt x="5" y="2"/>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7" name="Freeform 595"/>
            <p:cNvSpPr>
              <a:spLocks/>
            </p:cNvSpPr>
            <p:nvPr/>
          </p:nvSpPr>
          <p:spPr bwMode="auto">
            <a:xfrm>
              <a:off x="1905032" y="3246459"/>
              <a:ext cx="41275" cy="47625"/>
            </a:xfrm>
            <a:custGeom>
              <a:avLst/>
              <a:gdLst>
                <a:gd name="T0" fmla="*/ 5 w 131"/>
                <a:gd name="T1" fmla="*/ 3 h 150"/>
                <a:gd name="T2" fmla="*/ 5 w 131"/>
                <a:gd name="T3" fmla="*/ 3 h 150"/>
                <a:gd name="T4" fmla="*/ 1 w 131"/>
                <a:gd name="T5" fmla="*/ 8 h 150"/>
                <a:gd name="T6" fmla="*/ 0 w 131"/>
                <a:gd name="T7" fmla="*/ 13 h 150"/>
                <a:gd name="T8" fmla="*/ 1 w 131"/>
                <a:gd name="T9" fmla="*/ 17 h 150"/>
                <a:gd name="T10" fmla="*/ 3 w 131"/>
                <a:gd name="T11" fmla="*/ 22 h 150"/>
                <a:gd name="T12" fmla="*/ 107 w 131"/>
                <a:gd name="T13" fmla="*/ 145 h 150"/>
                <a:gd name="T14" fmla="*/ 107 w 131"/>
                <a:gd name="T15" fmla="*/ 145 h 150"/>
                <a:gd name="T16" fmla="*/ 111 w 131"/>
                <a:gd name="T17" fmla="*/ 149 h 150"/>
                <a:gd name="T18" fmla="*/ 116 w 131"/>
                <a:gd name="T19" fmla="*/ 150 h 150"/>
                <a:gd name="T20" fmla="*/ 122 w 131"/>
                <a:gd name="T21" fmla="*/ 150 h 150"/>
                <a:gd name="T22" fmla="*/ 127 w 131"/>
                <a:gd name="T23" fmla="*/ 148 h 150"/>
                <a:gd name="T24" fmla="*/ 127 w 131"/>
                <a:gd name="T25" fmla="*/ 148 h 150"/>
                <a:gd name="T26" fmla="*/ 129 w 131"/>
                <a:gd name="T27" fmla="*/ 143 h 150"/>
                <a:gd name="T28" fmla="*/ 131 w 131"/>
                <a:gd name="T29" fmla="*/ 138 h 150"/>
                <a:gd name="T30" fmla="*/ 130 w 131"/>
                <a:gd name="T31" fmla="*/ 133 h 150"/>
                <a:gd name="T32" fmla="*/ 128 w 131"/>
                <a:gd name="T33" fmla="*/ 128 h 150"/>
                <a:gd name="T34" fmla="*/ 24 w 131"/>
                <a:gd name="T35" fmla="*/ 5 h 150"/>
                <a:gd name="T36" fmla="*/ 24 w 131"/>
                <a:gd name="T37" fmla="*/ 5 h 150"/>
                <a:gd name="T38" fmla="*/ 21 w 131"/>
                <a:gd name="T39" fmla="*/ 2 h 150"/>
                <a:gd name="T40" fmla="*/ 14 w 131"/>
                <a:gd name="T41" fmla="*/ 0 h 150"/>
                <a:gd name="T42" fmla="*/ 10 w 131"/>
                <a:gd name="T43" fmla="*/ 0 h 150"/>
                <a:gd name="T44" fmla="*/ 5 w 131"/>
                <a:gd name="T45" fmla="*/ 3 h 150"/>
                <a:gd name="T46" fmla="*/ 5 w 131"/>
                <a:gd name="T47" fmla="*/ 3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1" h="150">
                  <a:moveTo>
                    <a:pt x="5" y="3"/>
                  </a:moveTo>
                  <a:lnTo>
                    <a:pt x="5" y="3"/>
                  </a:lnTo>
                  <a:lnTo>
                    <a:pt x="1" y="8"/>
                  </a:lnTo>
                  <a:lnTo>
                    <a:pt x="0" y="13"/>
                  </a:lnTo>
                  <a:lnTo>
                    <a:pt x="1" y="17"/>
                  </a:lnTo>
                  <a:lnTo>
                    <a:pt x="3" y="22"/>
                  </a:lnTo>
                  <a:lnTo>
                    <a:pt x="107" y="145"/>
                  </a:lnTo>
                  <a:lnTo>
                    <a:pt x="107" y="145"/>
                  </a:lnTo>
                  <a:lnTo>
                    <a:pt x="111" y="149"/>
                  </a:lnTo>
                  <a:lnTo>
                    <a:pt x="116" y="150"/>
                  </a:lnTo>
                  <a:lnTo>
                    <a:pt x="122" y="150"/>
                  </a:lnTo>
                  <a:lnTo>
                    <a:pt x="127" y="148"/>
                  </a:lnTo>
                  <a:lnTo>
                    <a:pt x="127" y="148"/>
                  </a:lnTo>
                  <a:lnTo>
                    <a:pt x="129" y="143"/>
                  </a:lnTo>
                  <a:lnTo>
                    <a:pt x="131" y="138"/>
                  </a:lnTo>
                  <a:lnTo>
                    <a:pt x="130" y="133"/>
                  </a:lnTo>
                  <a:lnTo>
                    <a:pt x="128" y="128"/>
                  </a:lnTo>
                  <a:lnTo>
                    <a:pt x="24" y="5"/>
                  </a:lnTo>
                  <a:lnTo>
                    <a:pt x="24" y="5"/>
                  </a:lnTo>
                  <a:lnTo>
                    <a:pt x="21" y="2"/>
                  </a:lnTo>
                  <a:lnTo>
                    <a:pt x="14" y="0"/>
                  </a:lnTo>
                  <a:lnTo>
                    <a:pt x="10" y="0"/>
                  </a:lnTo>
                  <a:lnTo>
                    <a:pt x="5" y="3"/>
                  </a:lnTo>
                  <a:lnTo>
                    <a:pt x="5" y="3"/>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8" name="Freeform 596"/>
            <p:cNvSpPr>
              <a:spLocks/>
            </p:cNvSpPr>
            <p:nvPr/>
          </p:nvSpPr>
          <p:spPr bwMode="auto">
            <a:xfrm>
              <a:off x="1973295" y="3187721"/>
              <a:ext cx="42863" cy="47625"/>
            </a:xfrm>
            <a:custGeom>
              <a:avLst/>
              <a:gdLst>
                <a:gd name="T0" fmla="*/ 5 w 132"/>
                <a:gd name="T1" fmla="*/ 4 h 151"/>
                <a:gd name="T2" fmla="*/ 5 w 132"/>
                <a:gd name="T3" fmla="*/ 4 h 151"/>
                <a:gd name="T4" fmla="*/ 2 w 132"/>
                <a:gd name="T5" fmla="*/ 8 h 151"/>
                <a:gd name="T6" fmla="*/ 0 w 132"/>
                <a:gd name="T7" fmla="*/ 12 h 151"/>
                <a:gd name="T8" fmla="*/ 1 w 132"/>
                <a:gd name="T9" fmla="*/ 19 h 151"/>
                <a:gd name="T10" fmla="*/ 4 w 132"/>
                <a:gd name="T11" fmla="*/ 23 h 151"/>
                <a:gd name="T12" fmla="*/ 107 w 132"/>
                <a:gd name="T13" fmla="*/ 147 h 151"/>
                <a:gd name="T14" fmla="*/ 107 w 132"/>
                <a:gd name="T15" fmla="*/ 147 h 151"/>
                <a:gd name="T16" fmla="*/ 112 w 132"/>
                <a:gd name="T17" fmla="*/ 150 h 151"/>
                <a:gd name="T18" fmla="*/ 117 w 132"/>
                <a:gd name="T19" fmla="*/ 151 h 151"/>
                <a:gd name="T20" fmla="*/ 122 w 132"/>
                <a:gd name="T21" fmla="*/ 150 h 151"/>
                <a:gd name="T22" fmla="*/ 127 w 132"/>
                <a:gd name="T23" fmla="*/ 148 h 151"/>
                <a:gd name="T24" fmla="*/ 127 w 132"/>
                <a:gd name="T25" fmla="*/ 148 h 151"/>
                <a:gd name="T26" fmla="*/ 130 w 132"/>
                <a:gd name="T27" fmla="*/ 144 h 151"/>
                <a:gd name="T28" fmla="*/ 132 w 132"/>
                <a:gd name="T29" fmla="*/ 138 h 151"/>
                <a:gd name="T30" fmla="*/ 130 w 132"/>
                <a:gd name="T31" fmla="*/ 133 h 151"/>
                <a:gd name="T32" fmla="*/ 128 w 132"/>
                <a:gd name="T33" fmla="*/ 128 h 151"/>
                <a:gd name="T34" fmla="*/ 24 w 132"/>
                <a:gd name="T35" fmla="*/ 5 h 151"/>
                <a:gd name="T36" fmla="*/ 24 w 132"/>
                <a:gd name="T37" fmla="*/ 5 h 151"/>
                <a:gd name="T38" fmla="*/ 21 w 132"/>
                <a:gd name="T39" fmla="*/ 2 h 151"/>
                <a:gd name="T40" fmla="*/ 16 w 132"/>
                <a:gd name="T41" fmla="*/ 0 h 151"/>
                <a:gd name="T42" fmla="*/ 10 w 132"/>
                <a:gd name="T43" fmla="*/ 0 h 151"/>
                <a:gd name="T44" fmla="*/ 5 w 132"/>
                <a:gd name="T45" fmla="*/ 4 h 151"/>
                <a:gd name="T46" fmla="*/ 5 w 132"/>
                <a:gd name="T47" fmla="*/ 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51">
                  <a:moveTo>
                    <a:pt x="5" y="4"/>
                  </a:moveTo>
                  <a:lnTo>
                    <a:pt x="5" y="4"/>
                  </a:lnTo>
                  <a:lnTo>
                    <a:pt x="2" y="8"/>
                  </a:lnTo>
                  <a:lnTo>
                    <a:pt x="0" y="12"/>
                  </a:lnTo>
                  <a:lnTo>
                    <a:pt x="1" y="19"/>
                  </a:lnTo>
                  <a:lnTo>
                    <a:pt x="4" y="23"/>
                  </a:lnTo>
                  <a:lnTo>
                    <a:pt x="107" y="147"/>
                  </a:lnTo>
                  <a:lnTo>
                    <a:pt x="107" y="147"/>
                  </a:lnTo>
                  <a:lnTo>
                    <a:pt x="112" y="150"/>
                  </a:lnTo>
                  <a:lnTo>
                    <a:pt x="117" y="151"/>
                  </a:lnTo>
                  <a:lnTo>
                    <a:pt x="122" y="150"/>
                  </a:lnTo>
                  <a:lnTo>
                    <a:pt x="127" y="148"/>
                  </a:lnTo>
                  <a:lnTo>
                    <a:pt x="127" y="148"/>
                  </a:lnTo>
                  <a:lnTo>
                    <a:pt x="130" y="144"/>
                  </a:lnTo>
                  <a:lnTo>
                    <a:pt x="132" y="138"/>
                  </a:lnTo>
                  <a:lnTo>
                    <a:pt x="130" y="133"/>
                  </a:lnTo>
                  <a:lnTo>
                    <a:pt x="128" y="128"/>
                  </a:lnTo>
                  <a:lnTo>
                    <a:pt x="24" y="5"/>
                  </a:lnTo>
                  <a:lnTo>
                    <a:pt x="24" y="5"/>
                  </a:lnTo>
                  <a:lnTo>
                    <a:pt x="21" y="2"/>
                  </a:lnTo>
                  <a:lnTo>
                    <a:pt x="16" y="0"/>
                  </a:lnTo>
                  <a:lnTo>
                    <a:pt x="10" y="0"/>
                  </a:lnTo>
                  <a:lnTo>
                    <a:pt x="5" y="4"/>
                  </a:lnTo>
                  <a:lnTo>
                    <a:pt x="5" y="4"/>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1099" name="그룹 1098"/>
          <p:cNvGrpSpPr/>
          <p:nvPr userDrawn="1"/>
        </p:nvGrpSpPr>
        <p:grpSpPr>
          <a:xfrm>
            <a:off x="5852559" y="1379368"/>
            <a:ext cx="221373" cy="280565"/>
            <a:chOff x="1897095" y="3168671"/>
            <a:chExt cx="295277" cy="350840"/>
          </a:xfrm>
        </p:grpSpPr>
        <p:sp>
          <p:nvSpPr>
            <p:cNvPr id="1100" name="Freeform 587"/>
            <p:cNvSpPr>
              <a:spLocks/>
            </p:cNvSpPr>
            <p:nvPr/>
          </p:nvSpPr>
          <p:spPr bwMode="auto">
            <a:xfrm>
              <a:off x="1965358" y="3281384"/>
              <a:ext cx="227014" cy="238127"/>
            </a:xfrm>
            <a:custGeom>
              <a:avLst/>
              <a:gdLst>
                <a:gd name="T0" fmla="*/ 689 w 717"/>
                <a:gd name="T1" fmla="*/ 395 h 752"/>
                <a:gd name="T2" fmla="*/ 712 w 717"/>
                <a:gd name="T3" fmla="*/ 365 h 752"/>
                <a:gd name="T4" fmla="*/ 716 w 717"/>
                <a:gd name="T5" fmla="*/ 327 h 752"/>
                <a:gd name="T6" fmla="*/ 707 w 717"/>
                <a:gd name="T7" fmla="*/ 302 h 752"/>
                <a:gd name="T8" fmla="*/ 678 w 717"/>
                <a:gd name="T9" fmla="*/ 259 h 752"/>
                <a:gd name="T10" fmla="*/ 657 w 717"/>
                <a:gd name="T11" fmla="*/ 226 h 752"/>
                <a:gd name="T12" fmla="*/ 633 w 717"/>
                <a:gd name="T13" fmla="*/ 181 h 752"/>
                <a:gd name="T14" fmla="*/ 618 w 717"/>
                <a:gd name="T15" fmla="*/ 163 h 752"/>
                <a:gd name="T16" fmla="*/ 570 w 717"/>
                <a:gd name="T17" fmla="*/ 128 h 752"/>
                <a:gd name="T18" fmla="*/ 500 w 717"/>
                <a:gd name="T19" fmla="*/ 85 h 752"/>
                <a:gd name="T20" fmla="*/ 452 w 717"/>
                <a:gd name="T21" fmla="*/ 50 h 752"/>
                <a:gd name="T22" fmla="*/ 399 w 717"/>
                <a:gd name="T23" fmla="*/ 20 h 752"/>
                <a:gd name="T24" fmla="*/ 362 w 717"/>
                <a:gd name="T25" fmla="*/ 6 h 752"/>
                <a:gd name="T26" fmla="*/ 322 w 717"/>
                <a:gd name="T27" fmla="*/ 0 h 752"/>
                <a:gd name="T28" fmla="*/ 292 w 717"/>
                <a:gd name="T29" fmla="*/ 5 h 752"/>
                <a:gd name="T30" fmla="*/ 272 w 717"/>
                <a:gd name="T31" fmla="*/ 13 h 752"/>
                <a:gd name="T32" fmla="*/ 238 w 717"/>
                <a:gd name="T33" fmla="*/ 33 h 752"/>
                <a:gd name="T34" fmla="*/ 209 w 717"/>
                <a:gd name="T35" fmla="*/ 42 h 752"/>
                <a:gd name="T36" fmla="*/ 156 w 717"/>
                <a:gd name="T37" fmla="*/ 49 h 752"/>
                <a:gd name="T38" fmla="*/ 106 w 717"/>
                <a:gd name="T39" fmla="*/ 63 h 752"/>
                <a:gd name="T40" fmla="*/ 76 w 717"/>
                <a:gd name="T41" fmla="*/ 81 h 752"/>
                <a:gd name="T42" fmla="*/ 42 w 717"/>
                <a:gd name="T43" fmla="*/ 113 h 752"/>
                <a:gd name="T44" fmla="*/ 21 w 717"/>
                <a:gd name="T45" fmla="*/ 154 h 752"/>
                <a:gd name="T46" fmla="*/ 9 w 717"/>
                <a:gd name="T47" fmla="*/ 215 h 752"/>
                <a:gd name="T48" fmla="*/ 0 w 717"/>
                <a:gd name="T49" fmla="*/ 309 h 752"/>
                <a:gd name="T50" fmla="*/ 3 w 717"/>
                <a:gd name="T51" fmla="*/ 326 h 752"/>
                <a:gd name="T52" fmla="*/ 14 w 717"/>
                <a:gd name="T53" fmla="*/ 338 h 752"/>
                <a:gd name="T54" fmla="*/ 16 w 717"/>
                <a:gd name="T55" fmla="*/ 340 h 752"/>
                <a:gd name="T56" fmla="*/ 34 w 717"/>
                <a:gd name="T57" fmla="*/ 354 h 752"/>
                <a:gd name="T58" fmla="*/ 118 w 717"/>
                <a:gd name="T59" fmla="*/ 427 h 752"/>
                <a:gd name="T60" fmla="*/ 167 w 717"/>
                <a:gd name="T61" fmla="*/ 460 h 752"/>
                <a:gd name="T62" fmla="*/ 192 w 717"/>
                <a:gd name="T63" fmla="*/ 468 h 752"/>
                <a:gd name="T64" fmla="*/ 215 w 717"/>
                <a:gd name="T65" fmla="*/ 522 h 752"/>
                <a:gd name="T66" fmla="*/ 221 w 717"/>
                <a:gd name="T67" fmla="*/ 563 h 752"/>
                <a:gd name="T68" fmla="*/ 221 w 717"/>
                <a:gd name="T69" fmla="*/ 604 h 752"/>
                <a:gd name="T70" fmla="*/ 222 w 717"/>
                <a:gd name="T71" fmla="*/ 624 h 752"/>
                <a:gd name="T72" fmla="*/ 227 w 717"/>
                <a:gd name="T73" fmla="*/ 635 h 752"/>
                <a:gd name="T74" fmla="*/ 245 w 717"/>
                <a:gd name="T75" fmla="*/ 641 h 752"/>
                <a:gd name="T76" fmla="*/ 290 w 717"/>
                <a:gd name="T77" fmla="*/ 663 h 752"/>
                <a:gd name="T78" fmla="*/ 394 w 717"/>
                <a:gd name="T79" fmla="*/ 714 h 752"/>
                <a:gd name="T80" fmla="*/ 477 w 717"/>
                <a:gd name="T81" fmla="*/ 745 h 752"/>
                <a:gd name="T82" fmla="*/ 531 w 717"/>
                <a:gd name="T83" fmla="*/ 752 h 752"/>
                <a:gd name="T84" fmla="*/ 570 w 717"/>
                <a:gd name="T85" fmla="*/ 750 h 752"/>
                <a:gd name="T86" fmla="*/ 606 w 717"/>
                <a:gd name="T87" fmla="*/ 736 h 752"/>
                <a:gd name="T88" fmla="*/ 641 w 717"/>
                <a:gd name="T89" fmla="*/ 712 h 752"/>
                <a:gd name="T90" fmla="*/ 666 w 717"/>
                <a:gd name="T91" fmla="*/ 684 h 752"/>
                <a:gd name="T92" fmla="*/ 695 w 717"/>
                <a:gd name="T93" fmla="*/ 623 h 752"/>
                <a:gd name="T94" fmla="*/ 702 w 717"/>
                <a:gd name="T95" fmla="*/ 555 h 752"/>
                <a:gd name="T96" fmla="*/ 698 w 717"/>
                <a:gd name="T97" fmla="*/ 501 h 752"/>
                <a:gd name="T98" fmla="*/ 684 w 717"/>
                <a:gd name="T99" fmla="*/ 41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7" h="752">
                  <a:moveTo>
                    <a:pt x="679" y="405"/>
                  </a:moveTo>
                  <a:lnTo>
                    <a:pt x="679" y="405"/>
                  </a:lnTo>
                  <a:lnTo>
                    <a:pt x="689" y="395"/>
                  </a:lnTo>
                  <a:lnTo>
                    <a:pt x="699" y="385"/>
                  </a:lnTo>
                  <a:lnTo>
                    <a:pt x="706" y="376"/>
                  </a:lnTo>
                  <a:lnTo>
                    <a:pt x="712" y="365"/>
                  </a:lnTo>
                  <a:lnTo>
                    <a:pt x="716" y="354"/>
                  </a:lnTo>
                  <a:lnTo>
                    <a:pt x="717" y="341"/>
                  </a:lnTo>
                  <a:lnTo>
                    <a:pt x="716" y="327"/>
                  </a:lnTo>
                  <a:lnTo>
                    <a:pt x="711" y="312"/>
                  </a:lnTo>
                  <a:lnTo>
                    <a:pt x="711" y="312"/>
                  </a:lnTo>
                  <a:lnTo>
                    <a:pt x="707" y="302"/>
                  </a:lnTo>
                  <a:lnTo>
                    <a:pt x="701" y="294"/>
                  </a:lnTo>
                  <a:lnTo>
                    <a:pt x="690" y="276"/>
                  </a:lnTo>
                  <a:lnTo>
                    <a:pt x="678" y="259"/>
                  </a:lnTo>
                  <a:lnTo>
                    <a:pt x="666" y="241"/>
                  </a:lnTo>
                  <a:lnTo>
                    <a:pt x="666" y="241"/>
                  </a:lnTo>
                  <a:lnTo>
                    <a:pt x="657" y="226"/>
                  </a:lnTo>
                  <a:lnTo>
                    <a:pt x="650" y="211"/>
                  </a:lnTo>
                  <a:lnTo>
                    <a:pt x="641" y="195"/>
                  </a:lnTo>
                  <a:lnTo>
                    <a:pt x="633" y="181"/>
                  </a:lnTo>
                  <a:lnTo>
                    <a:pt x="633" y="181"/>
                  </a:lnTo>
                  <a:lnTo>
                    <a:pt x="626" y="172"/>
                  </a:lnTo>
                  <a:lnTo>
                    <a:pt x="618" y="163"/>
                  </a:lnTo>
                  <a:lnTo>
                    <a:pt x="604" y="150"/>
                  </a:lnTo>
                  <a:lnTo>
                    <a:pt x="587" y="139"/>
                  </a:lnTo>
                  <a:lnTo>
                    <a:pt x="570" y="128"/>
                  </a:lnTo>
                  <a:lnTo>
                    <a:pt x="534" y="109"/>
                  </a:lnTo>
                  <a:lnTo>
                    <a:pt x="517" y="98"/>
                  </a:lnTo>
                  <a:lnTo>
                    <a:pt x="500" y="85"/>
                  </a:lnTo>
                  <a:lnTo>
                    <a:pt x="500" y="85"/>
                  </a:lnTo>
                  <a:lnTo>
                    <a:pt x="468" y="61"/>
                  </a:lnTo>
                  <a:lnTo>
                    <a:pt x="452" y="50"/>
                  </a:lnTo>
                  <a:lnTo>
                    <a:pt x="435" y="38"/>
                  </a:lnTo>
                  <a:lnTo>
                    <a:pt x="417" y="28"/>
                  </a:lnTo>
                  <a:lnTo>
                    <a:pt x="399" y="20"/>
                  </a:lnTo>
                  <a:lnTo>
                    <a:pt x="381" y="12"/>
                  </a:lnTo>
                  <a:lnTo>
                    <a:pt x="362" y="6"/>
                  </a:lnTo>
                  <a:lnTo>
                    <a:pt x="362" y="6"/>
                  </a:lnTo>
                  <a:lnTo>
                    <a:pt x="342" y="3"/>
                  </a:lnTo>
                  <a:lnTo>
                    <a:pt x="332" y="1"/>
                  </a:lnTo>
                  <a:lnTo>
                    <a:pt x="322" y="0"/>
                  </a:lnTo>
                  <a:lnTo>
                    <a:pt x="312" y="1"/>
                  </a:lnTo>
                  <a:lnTo>
                    <a:pt x="301" y="3"/>
                  </a:lnTo>
                  <a:lnTo>
                    <a:pt x="292" y="5"/>
                  </a:lnTo>
                  <a:lnTo>
                    <a:pt x="282" y="9"/>
                  </a:lnTo>
                  <a:lnTo>
                    <a:pt x="282" y="9"/>
                  </a:lnTo>
                  <a:lnTo>
                    <a:pt x="272" y="13"/>
                  </a:lnTo>
                  <a:lnTo>
                    <a:pt x="262" y="18"/>
                  </a:lnTo>
                  <a:lnTo>
                    <a:pt x="246" y="28"/>
                  </a:lnTo>
                  <a:lnTo>
                    <a:pt x="238" y="33"/>
                  </a:lnTo>
                  <a:lnTo>
                    <a:pt x="229" y="37"/>
                  </a:lnTo>
                  <a:lnTo>
                    <a:pt x="220" y="39"/>
                  </a:lnTo>
                  <a:lnTo>
                    <a:pt x="209" y="42"/>
                  </a:lnTo>
                  <a:lnTo>
                    <a:pt x="209" y="42"/>
                  </a:lnTo>
                  <a:lnTo>
                    <a:pt x="173" y="45"/>
                  </a:lnTo>
                  <a:lnTo>
                    <a:pt x="156" y="49"/>
                  </a:lnTo>
                  <a:lnTo>
                    <a:pt x="139" y="53"/>
                  </a:lnTo>
                  <a:lnTo>
                    <a:pt x="123" y="57"/>
                  </a:lnTo>
                  <a:lnTo>
                    <a:pt x="106" y="63"/>
                  </a:lnTo>
                  <a:lnTo>
                    <a:pt x="92" y="71"/>
                  </a:lnTo>
                  <a:lnTo>
                    <a:pt x="76" y="81"/>
                  </a:lnTo>
                  <a:lnTo>
                    <a:pt x="76" y="81"/>
                  </a:lnTo>
                  <a:lnTo>
                    <a:pt x="62" y="90"/>
                  </a:lnTo>
                  <a:lnTo>
                    <a:pt x="51" y="101"/>
                  </a:lnTo>
                  <a:lnTo>
                    <a:pt x="42" y="113"/>
                  </a:lnTo>
                  <a:lnTo>
                    <a:pt x="33" y="126"/>
                  </a:lnTo>
                  <a:lnTo>
                    <a:pt x="26" y="140"/>
                  </a:lnTo>
                  <a:lnTo>
                    <a:pt x="21" y="154"/>
                  </a:lnTo>
                  <a:lnTo>
                    <a:pt x="16" y="168"/>
                  </a:lnTo>
                  <a:lnTo>
                    <a:pt x="14" y="184"/>
                  </a:lnTo>
                  <a:lnTo>
                    <a:pt x="9" y="215"/>
                  </a:lnTo>
                  <a:lnTo>
                    <a:pt x="5" y="246"/>
                  </a:lnTo>
                  <a:lnTo>
                    <a:pt x="4" y="278"/>
                  </a:lnTo>
                  <a:lnTo>
                    <a:pt x="0" y="309"/>
                  </a:lnTo>
                  <a:lnTo>
                    <a:pt x="0" y="309"/>
                  </a:lnTo>
                  <a:lnTo>
                    <a:pt x="0" y="318"/>
                  </a:lnTo>
                  <a:lnTo>
                    <a:pt x="3" y="326"/>
                  </a:lnTo>
                  <a:lnTo>
                    <a:pt x="8" y="333"/>
                  </a:lnTo>
                  <a:lnTo>
                    <a:pt x="14" y="338"/>
                  </a:lnTo>
                  <a:lnTo>
                    <a:pt x="14" y="338"/>
                  </a:lnTo>
                  <a:lnTo>
                    <a:pt x="16" y="340"/>
                  </a:lnTo>
                  <a:lnTo>
                    <a:pt x="16" y="340"/>
                  </a:lnTo>
                  <a:lnTo>
                    <a:pt x="16" y="340"/>
                  </a:lnTo>
                  <a:lnTo>
                    <a:pt x="21" y="343"/>
                  </a:lnTo>
                  <a:lnTo>
                    <a:pt x="21" y="343"/>
                  </a:lnTo>
                  <a:lnTo>
                    <a:pt x="34" y="354"/>
                  </a:lnTo>
                  <a:lnTo>
                    <a:pt x="51" y="368"/>
                  </a:lnTo>
                  <a:lnTo>
                    <a:pt x="94" y="407"/>
                  </a:lnTo>
                  <a:lnTo>
                    <a:pt x="118" y="427"/>
                  </a:lnTo>
                  <a:lnTo>
                    <a:pt x="143" y="445"/>
                  </a:lnTo>
                  <a:lnTo>
                    <a:pt x="155" y="452"/>
                  </a:lnTo>
                  <a:lnTo>
                    <a:pt x="167" y="460"/>
                  </a:lnTo>
                  <a:lnTo>
                    <a:pt x="179" y="465"/>
                  </a:lnTo>
                  <a:lnTo>
                    <a:pt x="192" y="468"/>
                  </a:lnTo>
                  <a:lnTo>
                    <a:pt x="192" y="468"/>
                  </a:lnTo>
                  <a:lnTo>
                    <a:pt x="200" y="485"/>
                  </a:lnTo>
                  <a:lnTo>
                    <a:pt x="209" y="502"/>
                  </a:lnTo>
                  <a:lnTo>
                    <a:pt x="215" y="522"/>
                  </a:lnTo>
                  <a:lnTo>
                    <a:pt x="218" y="541"/>
                  </a:lnTo>
                  <a:lnTo>
                    <a:pt x="218" y="541"/>
                  </a:lnTo>
                  <a:lnTo>
                    <a:pt x="221" y="563"/>
                  </a:lnTo>
                  <a:lnTo>
                    <a:pt x="222" y="584"/>
                  </a:lnTo>
                  <a:lnTo>
                    <a:pt x="222" y="584"/>
                  </a:lnTo>
                  <a:lnTo>
                    <a:pt x="221" y="604"/>
                  </a:lnTo>
                  <a:lnTo>
                    <a:pt x="221" y="613"/>
                  </a:lnTo>
                  <a:lnTo>
                    <a:pt x="222" y="624"/>
                  </a:lnTo>
                  <a:lnTo>
                    <a:pt x="222" y="624"/>
                  </a:lnTo>
                  <a:lnTo>
                    <a:pt x="223" y="628"/>
                  </a:lnTo>
                  <a:lnTo>
                    <a:pt x="225" y="632"/>
                  </a:lnTo>
                  <a:lnTo>
                    <a:pt x="227" y="635"/>
                  </a:lnTo>
                  <a:lnTo>
                    <a:pt x="231" y="638"/>
                  </a:lnTo>
                  <a:lnTo>
                    <a:pt x="237" y="640"/>
                  </a:lnTo>
                  <a:lnTo>
                    <a:pt x="245" y="641"/>
                  </a:lnTo>
                  <a:lnTo>
                    <a:pt x="245" y="641"/>
                  </a:lnTo>
                  <a:lnTo>
                    <a:pt x="267" y="652"/>
                  </a:lnTo>
                  <a:lnTo>
                    <a:pt x="290" y="663"/>
                  </a:lnTo>
                  <a:lnTo>
                    <a:pt x="342" y="689"/>
                  </a:lnTo>
                  <a:lnTo>
                    <a:pt x="367" y="702"/>
                  </a:lnTo>
                  <a:lnTo>
                    <a:pt x="394" y="714"/>
                  </a:lnTo>
                  <a:lnTo>
                    <a:pt x="422" y="727"/>
                  </a:lnTo>
                  <a:lnTo>
                    <a:pt x="449" y="736"/>
                  </a:lnTo>
                  <a:lnTo>
                    <a:pt x="477" y="745"/>
                  </a:lnTo>
                  <a:lnTo>
                    <a:pt x="504" y="750"/>
                  </a:lnTo>
                  <a:lnTo>
                    <a:pt x="517" y="752"/>
                  </a:lnTo>
                  <a:lnTo>
                    <a:pt x="531" y="752"/>
                  </a:lnTo>
                  <a:lnTo>
                    <a:pt x="544" y="752"/>
                  </a:lnTo>
                  <a:lnTo>
                    <a:pt x="557" y="752"/>
                  </a:lnTo>
                  <a:lnTo>
                    <a:pt x="570" y="750"/>
                  </a:lnTo>
                  <a:lnTo>
                    <a:pt x="582" y="746"/>
                  </a:lnTo>
                  <a:lnTo>
                    <a:pt x="595" y="743"/>
                  </a:lnTo>
                  <a:lnTo>
                    <a:pt x="606" y="736"/>
                  </a:lnTo>
                  <a:lnTo>
                    <a:pt x="618" y="730"/>
                  </a:lnTo>
                  <a:lnTo>
                    <a:pt x="630" y="722"/>
                  </a:lnTo>
                  <a:lnTo>
                    <a:pt x="641" y="712"/>
                  </a:lnTo>
                  <a:lnTo>
                    <a:pt x="652" y="701"/>
                  </a:lnTo>
                  <a:lnTo>
                    <a:pt x="652" y="701"/>
                  </a:lnTo>
                  <a:lnTo>
                    <a:pt x="666" y="684"/>
                  </a:lnTo>
                  <a:lnTo>
                    <a:pt x="678" y="664"/>
                  </a:lnTo>
                  <a:lnTo>
                    <a:pt x="688" y="644"/>
                  </a:lnTo>
                  <a:lnTo>
                    <a:pt x="695" y="623"/>
                  </a:lnTo>
                  <a:lnTo>
                    <a:pt x="700" y="601"/>
                  </a:lnTo>
                  <a:lnTo>
                    <a:pt x="702" y="578"/>
                  </a:lnTo>
                  <a:lnTo>
                    <a:pt x="702" y="555"/>
                  </a:lnTo>
                  <a:lnTo>
                    <a:pt x="701" y="533"/>
                  </a:lnTo>
                  <a:lnTo>
                    <a:pt x="701" y="533"/>
                  </a:lnTo>
                  <a:lnTo>
                    <a:pt x="698" y="501"/>
                  </a:lnTo>
                  <a:lnTo>
                    <a:pt x="694" y="468"/>
                  </a:lnTo>
                  <a:lnTo>
                    <a:pt x="688" y="437"/>
                  </a:lnTo>
                  <a:lnTo>
                    <a:pt x="684" y="419"/>
                  </a:lnTo>
                  <a:lnTo>
                    <a:pt x="679" y="405"/>
                  </a:lnTo>
                  <a:lnTo>
                    <a:pt x="679" y="405"/>
                  </a:lnTo>
                  <a:close/>
                </a:path>
              </a:pathLst>
            </a:custGeom>
            <a:solidFill>
              <a:srgbClr val="4F17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1" name="Freeform 588"/>
            <p:cNvSpPr>
              <a:spLocks/>
            </p:cNvSpPr>
            <p:nvPr/>
          </p:nvSpPr>
          <p:spPr bwMode="auto">
            <a:xfrm>
              <a:off x="1973295" y="3281384"/>
              <a:ext cx="219077" cy="165102"/>
            </a:xfrm>
            <a:custGeom>
              <a:avLst/>
              <a:gdLst>
                <a:gd name="T0" fmla="*/ 669 w 691"/>
                <a:gd name="T1" fmla="*/ 482 h 519"/>
                <a:gd name="T2" fmla="*/ 653 w 691"/>
                <a:gd name="T3" fmla="*/ 405 h 519"/>
                <a:gd name="T4" fmla="*/ 673 w 691"/>
                <a:gd name="T5" fmla="*/ 385 h 519"/>
                <a:gd name="T6" fmla="*/ 690 w 691"/>
                <a:gd name="T7" fmla="*/ 354 h 519"/>
                <a:gd name="T8" fmla="*/ 685 w 691"/>
                <a:gd name="T9" fmla="*/ 312 h 519"/>
                <a:gd name="T10" fmla="*/ 675 w 691"/>
                <a:gd name="T11" fmla="*/ 294 h 519"/>
                <a:gd name="T12" fmla="*/ 640 w 691"/>
                <a:gd name="T13" fmla="*/ 241 h 519"/>
                <a:gd name="T14" fmla="*/ 624 w 691"/>
                <a:gd name="T15" fmla="*/ 211 h 519"/>
                <a:gd name="T16" fmla="*/ 607 w 691"/>
                <a:gd name="T17" fmla="*/ 181 h 519"/>
                <a:gd name="T18" fmla="*/ 578 w 691"/>
                <a:gd name="T19" fmla="*/ 150 h 519"/>
                <a:gd name="T20" fmla="*/ 508 w 691"/>
                <a:gd name="T21" fmla="*/ 109 h 519"/>
                <a:gd name="T22" fmla="*/ 474 w 691"/>
                <a:gd name="T23" fmla="*/ 85 h 519"/>
                <a:gd name="T24" fmla="*/ 409 w 691"/>
                <a:gd name="T25" fmla="*/ 38 h 519"/>
                <a:gd name="T26" fmla="*/ 355 w 691"/>
                <a:gd name="T27" fmla="*/ 12 h 519"/>
                <a:gd name="T28" fmla="*/ 316 w 691"/>
                <a:gd name="T29" fmla="*/ 3 h 519"/>
                <a:gd name="T30" fmla="*/ 286 w 691"/>
                <a:gd name="T31" fmla="*/ 1 h 519"/>
                <a:gd name="T32" fmla="*/ 256 w 691"/>
                <a:gd name="T33" fmla="*/ 9 h 519"/>
                <a:gd name="T34" fmla="*/ 236 w 691"/>
                <a:gd name="T35" fmla="*/ 18 h 519"/>
                <a:gd name="T36" fmla="*/ 203 w 691"/>
                <a:gd name="T37" fmla="*/ 37 h 519"/>
                <a:gd name="T38" fmla="*/ 183 w 691"/>
                <a:gd name="T39" fmla="*/ 42 h 519"/>
                <a:gd name="T40" fmla="*/ 113 w 691"/>
                <a:gd name="T41" fmla="*/ 53 h 519"/>
                <a:gd name="T42" fmla="*/ 66 w 691"/>
                <a:gd name="T43" fmla="*/ 71 h 519"/>
                <a:gd name="T44" fmla="*/ 41 w 691"/>
                <a:gd name="T45" fmla="*/ 87 h 519"/>
                <a:gd name="T46" fmla="*/ 19 w 691"/>
                <a:gd name="T47" fmla="*/ 107 h 519"/>
                <a:gd name="T48" fmla="*/ 0 w 691"/>
                <a:gd name="T49" fmla="*/ 140 h 519"/>
                <a:gd name="T50" fmla="*/ 18 w 691"/>
                <a:gd name="T51" fmla="*/ 220 h 519"/>
                <a:gd name="T52" fmla="*/ 25 w 691"/>
                <a:gd name="T53" fmla="*/ 254 h 519"/>
                <a:gd name="T54" fmla="*/ 44 w 691"/>
                <a:gd name="T55" fmla="*/ 270 h 519"/>
                <a:gd name="T56" fmla="*/ 47 w 691"/>
                <a:gd name="T57" fmla="*/ 271 h 519"/>
                <a:gd name="T58" fmla="*/ 53 w 691"/>
                <a:gd name="T59" fmla="*/ 272 h 519"/>
                <a:gd name="T60" fmla="*/ 89 w 691"/>
                <a:gd name="T61" fmla="*/ 287 h 519"/>
                <a:gd name="T62" fmla="*/ 200 w 691"/>
                <a:gd name="T63" fmla="*/ 333 h 519"/>
                <a:gd name="T64" fmla="*/ 240 w 691"/>
                <a:gd name="T65" fmla="*/ 340 h 519"/>
                <a:gd name="T66" fmla="*/ 267 w 691"/>
                <a:gd name="T67" fmla="*/ 354 h 519"/>
                <a:gd name="T68" fmla="*/ 300 w 691"/>
                <a:gd name="T69" fmla="*/ 402 h 519"/>
                <a:gd name="T70" fmla="*/ 317 w 691"/>
                <a:gd name="T71" fmla="*/ 441 h 519"/>
                <a:gd name="T72" fmla="*/ 324 w 691"/>
                <a:gd name="T73" fmla="*/ 471 h 519"/>
                <a:gd name="T74" fmla="*/ 330 w 691"/>
                <a:gd name="T75" fmla="*/ 484 h 519"/>
                <a:gd name="T76" fmla="*/ 340 w 691"/>
                <a:gd name="T77" fmla="*/ 490 h 519"/>
                <a:gd name="T78" fmla="*/ 356 w 691"/>
                <a:gd name="T79" fmla="*/ 490 h 519"/>
                <a:gd name="T80" fmla="*/ 470 w 691"/>
                <a:gd name="T81" fmla="*/ 507 h 519"/>
                <a:gd name="T82" fmla="*/ 575 w 691"/>
                <a:gd name="T83" fmla="*/ 519 h 519"/>
                <a:gd name="T84" fmla="*/ 635 w 691"/>
                <a:gd name="T85" fmla="*/ 516 h 519"/>
                <a:gd name="T86" fmla="*/ 673 w 691"/>
                <a:gd name="T87" fmla="*/ 507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91" h="519">
                  <a:moveTo>
                    <a:pt x="673" y="507"/>
                  </a:moveTo>
                  <a:lnTo>
                    <a:pt x="673" y="507"/>
                  </a:lnTo>
                  <a:lnTo>
                    <a:pt x="669" y="482"/>
                  </a:lnTo>
                  <a:lnTo>
                    <a:pt x="665" y="455"/>
                  </a:lnTo>
                  <a:lnTo>
                    <a:pt x="661" y="429"/>
                  </a:lnTo>
                  <a:lnTo>
                    <a:pt x="653" y="405"/>
                  </a:lnTo>
                  <a:lnTo>
                    <a:pt x="653" y="405"/>
                  </a:lnTo>
                  <a:lnTo>
                    <a:pt x="663" y="395"/>
                  </a:lnTo>
                  <a:lnTo>
                    <a:pt x="673" y="385"/>
                  </a:lnTo>
                  <a:lnTo>
                    <a:pt x="680" y="376"/>
                  </a:lnTo>
                  <a:lnTo>
                    <a:pt x="686" y="365"/>
                  </a:lnTo>
                  <a:lnTo>
                    <a:pt x="690" y="354"/>
                  </a:lnTo>
                  <a:lnTo>
                    <a:pt x="691" y="341"/>
                  </a:lnTo>
                  <a:lnTo>
                    <a:pt x="690" y="327"/>
                  </a:lnTo>
                  <a:lnTo>
                    <a:pt x="685" y="312"/>
                  </a:lnTo>
                  <a:lnTo>
                    <a:pt x="685" y="312"/>
                  </a:lnTo>
                  <a:lnTo>
                    <a:pt x="681" y="302"/>
                  </a:lnTo>
                  <a:lnTo>
                    <a:pt x="675" y="294"/>
                  </a:lnTo>
                  <a:lnTo>
                    <a:pt x="664" y="276"/>
                  </a:lnTo>
                  <a:lnTo>
                    <a:pt x="652" y="259"/>
                  </a:lnTo>
                  <a:lnTo>
                    <a:pt x="640" y="241"/>
                  </a:lnTo>
                  <a:lnTo>
                    <a:pt x="640" y="241"/>
                  </a:lnTo>
                  <a:lnTo>
                    <a:pt x="631" y="226"/>
                  </a:lnTo>
                  <a:lnTo>
                    <a:pt x="624" y="211"/>
                  </a:lnTo>
                  <a:lnTo>
                    <a:pt x="615" y="195"/>
                  </a:lnTo>
                  <a:lnTo>
                    <a:pt x="607" y="181"/>
                  </a:lnTo>
                  <a:lnTo>
                    <a:pt x="607" y="181"/>
                  </a:lnTo>
                  <a:lnTo>
                    <a:pt x="600" y="172"/>
                  </a:lnTo>
                  <a:lnTo>
                    <a:pt x="592" y="163"/>
                  </a:lnTo>
                  <a:lnTo>
                    <a:pt x="578" y="150"/>
                  </a:lnTo>
                  <a:lnTo>
                    <a:pt x="561" y="139"/>
                  </a:lnTo>
                  <a:lnTo>
                    <a:pt x="544" y="128"/>
                  </a:lnTo>
                  <a:lnTo>
                    <a:pt x="508" y="109"/>
                  </a:lnTo>
                  <a:lnTo>
                    <a:pt x="491" y="98"/>
                  </a:lnTo>
                  <a:lnTo>
                    <a:pt x="474" y="85"/>
                  </a:lnTo>
                  <a:lnTo>
                    <a:pt x="474" y="85"/>
                  </a:lnTo>
                  <a:lnTo>
                    <a:pt x="442" y="61"/>
                  </a:lnTo>
                  <a:lnTo>
                    <a:pt x="426" y="50"/>
                  </a:lnTo>
                  <a:lnTo>
                    <a:pt x="409" y="38"/>
                  </a:lnTo>
                  <a:lnTo>
                    <a:pt x="391" y="28"/>
                  </a:lnTo>
                  <a:lnTo>
                    <a:pt x="373" y="20"/>
                  </a:lnTo>
                  <a:lnTo>
                    <a:pt x="355" y="12"/>
                  </a:lnTo>
                  <a:lnTo>
                    <a:pt x="336" y="6"/>
                  </a:lnTo>
                  <a:lnTo>
                    <a:pt x="336" y="6"/>
                  </a:lnTo>
                  <a:lnTo>
                    <a:pt x="316" y="3"/>
                  </a:lnTo>
                  <a:lnTo>
                    <a:pt x="306" y="1"/>
                  </a:lnTo>
                  <a:lnTo>
                    <a:pt x="296" y="0"/>
                  </a:lnTo>
                  <a:lnTo>
                    <a:pt x="286" y="1"/>
                  </a:lnTo>
                  <a:lnTo>
                    <a:pt x="275" y="3"/>
                  </a:lnTo>
                  <a:lnTo>
                    <a:pt x="266" y="5"/>
                  </a:lnTo>
                  <a:lnTo>
                    <a:pt x="256" y="9"/>
                  </a:lnTo>
                  <a:lnTo>
                    <a:pt x="256" y="9"/>
                  </a:lnTo>
                  <a:lnTo>
                    <a:pt x="246" y="13"/>
                  </a:lnTo>
                  <a:lnTo>
                    <a:pt x="236" y="18"/>
                  </a:lnTo>
                  <a:lnTo>
                    <a:pt x="220" y="28"/>
                  </a:lnTo>
                  <a:lnTo>
                    <a:pt x="212" y="33"/>
                  </a:lnTo>
                  <a:lnTo>
                    <a:pt x="203" y="37"/>
                  </a:lnTo>
                  <a:lnTo>
                    <a:pt x="194" y="39"/>
                  </a:lnTo>
                  <a:lnTo>
                    <a:pt x="183" y="42"/>
                  </a:lnTo>
                  <a:lnTo>
                    <a:pt x="183" y="42"/>
                  </a:lnTo>
                  <a:lnTo>
                    <a:pt x="147" y="45"/>
                  </a:lnTo>
                  <a:lnTo>
                    <a:pt x="130" y="49"/>
                  </a:lnTo>
                  <a:lnTo>
                    <a:pt x="113" y="53"/>
                  </a:lnTo>
                  <a:lnTo>
                    <a:pt x="97" y="57"/>
                  </a:lnTo>
                  <a:lnTo>
                    <a:pt x="80" y="63"/>
                  </a:lnTo>
                  <a:lnTo>
                    <a:pt x="66" y="71"/>
                  </a:lnTo>
                  <a:lnTo>
                    <a:pt x="50" y="81"/>
                  </a:lnTo>
                  <a:lnTo>
                    <a:pt x="50" y="81"/>
                  </a:lnTo>
                  <a:lnTo>
                    <a:pt x="41" y="87"/>
                  </a:lnTo>
                  <a:lnTo>
                    <a:pt x="33" y="93"/>
                  </a:lnTo>
                  <a:lnTo>
                    <a:pt x="27" y="100"/>
                  </a:lnTo>
                  <a:lnTo>
                    <a:pt x="19" y="107"/>
                  </a:lnTo>
                  <a:lnTo>
                    <a:pt x="8" y="123"/>
                  </a:lnTo>
                  <a:lnTo>
                    <a:pt x="0" y="140"/>
                  </a:lnTo>
                  <a:lnTo>
                    <a:pt x="0" y="140"/>
                  </a:lnTo>
                  <a:lnTo>
                    <a:pt x="5" y="167"/>
                  </a:lnTo>
                  <a:lnTo>
                    <a:pt x="11" y="194"/>
                  </a:lnTo>
                  <a:lnTo>
                    <a:pt x="18" y="220"/>
                  </a:lnTo>
                  <a:lnTo>
                    <a:pt x="23" y="245"/>
                  </a:lnTo>
                  <a:lnTo>
                    <a:pt x="23" y="245"/>
                  </a:lnTo>
                  <a:lnTo>
                    <a:pt x="25" y="254"/>
                  </a:lnTo>
                  <a:lnTo>
                    <a:pt x="30" y="261"/>
                  </a:lnTo>
                  <a:lnTo>
                    <a:pt x="36" y="266"/>
                  </a:lnTo>
                  <a:lnTo>
                    <a:pt x="44" y="270"/>
                  </a:lnTo>
                  <a:lnTo>
                    <a:pt x="44" y="270"/>
                  </a:lnTo>
                  <a:lnTo>
                    <a:pt x="47" y="271"/>
                  </a:lnTo>
                  <a:lnTo>
                    <a:pt x="47" y="271"/>
                  </a:lnTo>
                  <a:lnTo>
                    <a:pt x="47" y="271"/>
                  </a:lnTo>
                  <a:lnTo>
                    <a:pt x="47" y="271"/>
                  </a:lnTo>
                  <a:lnTo>
                    <a:pt x="53" y="272"/>
                  </a:lnTo>
                  <a:lnTo>
                    <a:pt x="53" y="272"/>
                  </a:lnTo>
                  <a:lnTo>
                    <a:pt x="68" y="278"/>
                  </a:lnTo>
                  <a:lnTo>
                    <a:pt x="89" y="287"/>
                  </a:lnTo>
                  <a:lnTo>
                    <a:pt x="141" y="311"/>
                  </a:lnTo>
                  <a:lnTo>
                    <a:pt x="170" y="323"/>
                  </a:lnTo>
                  <a:lnTo>
                    <a:pt x="200" y="333"/>
                  </a:lnTo>
                  <a:lnTo>
                    <a:pt x="213" y="337"/>
                  </a:lnTo>
                  <a:lnTo>
                    <a:pt x="228" y="339"/>
                  </a:lnTo>
                  <a:lnTo>
                    <a:pt x="240" y="340"/>
                  </a:lnTo>
                  <a:lnTo>
                    <a:pt x="252" y="340"/>
                  </a:lnTo>
                  <a:lnTo>
                    <a:pt x="252" y="340"/>
                  </a:lnTo>
                  <a:lnTo>
                    <a:pt x="267" y="354"/>
                  </a:lnTo>
                  <a:lnTo>
                    <a:pt x="279" y="368"/>
                  </a:lnTo>
                  <a:lnTo>
                    <a:pt x="290" y="384"/>
                  </a:lnTo>
                  <a:lnTo>
                    <a:pt x="300" y="402"/>
                  </a:lnTo>
                  <a:lnTo>
                    <a:pt x="300" y="402"/>
                  </a:lnTo>
                  <a:lnTo>
                    <a:pt x="309" y="422"/>
                  </a:lnTo>
                  <a:lnTo>
                    <a:pt x="317" y="441"/>
                  </a:lnTo>
                  <a:lnTo>
                    <a:pt x="317" y="441"/>
                  </a:lnTo>
                  <a:lnTo>
                    <a:pt x="322" y="461"/>
                  </a:lnTo>
                  <a:lnTo>
                    <a:pt x="324" y="471"/>
                  </a:lnTo>
                  <a:lnTo>
                    <a:pt x="328" y="479"/>
                  </a:lnTo>
                  <a:lnTo>
                    <a:pt x="328" y="479"/>
                  </a:lnTo>
                  <a:lnTo>
                    <a:pt x="330" y="484"/>
                  </a:lnTo>
                  <a:lnTo>
                    <a:pt x="334" y="487"/>
                  </a:lnTo>
                  <a:lnTo>
                    <a:pt x="336" y="489"/>
                  </a:lnTo>
                  <a:lnTo>
                    <a:pt x="340" y="490"/>
                  </a:lnTo>
                  <a:lnTo>
                    <a:pt x="347" y="491"/>
                  </a:lnTo>
                  <a:lnTo>
                    <a:pt x="356" y="490"/>
                  </a:lnTo>
                  <a:lnTo>
                    <a:pt x="356" y="490"/>
                  </a:lnTo>
                  <a:lnTo>
                    <a:pt x="391" y="494"/>
                  </a:lnTo>
                  <a:lnTo>
                    <a:pt x="429" y="501"/>
                  </a:lnTo>
                  <a:lnTo>
                    <a:pt x="470" y="507"/>
                  </a:lnTo>
                  <a:lnTo>
                    <a:pt x="512" y="515"/>
                  </a:lnTo>
                  <a:lnTo>
                    <a:pt x="554" y="518"/>
                  </a:lnTo>
                  <a:lnTo>
                    <a:pt x="575" y="519"/>
                  </a:lnTo>
                  <a:lnTo>
                    <a:pt x="596" y="519"/>
                  </a:lnTo>
                  <a:lnTo>
                    <a:pt x="615" y="518"/>
                  </a:lnTo>
                  <a:lnTo>
                    <a:pt x="635" y="516"/>
                  </a:lnTo>
                  <a:lnTo>
                    <a:pt x="654" y="512"/>
                  </a:lnTo>
                  <a:lnTo>
                    <a:pt x="673" y="507"/>
                  </a:lnTo>
                  <a:lnTo>
                    <a:pt x="673" y="507"/>
                  </a:lnTo>
                  <a:close/>
                </a:path>
              </a:pathLst>
            </a:custGeom>
            <a:solidFill>
              <a:srgbClr val="681F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2" name="Freeform 589"/>
            <p:cNvSpPr>
              <a:spLocks/>
            </p:cNvSpPr>
            <p:nvPr/>
          </p:nvSpPr>
          <p:spPr bwMode="auto">
            <a:xfrm>
              <a:off x="2098709" y="3376635"/>
              <a:ext cx="47625" cy="47625"/>
            </a:xfrm>
            <a:custGeom>
              <a:avLst/>
              <a:gdLst>
                <a:gd name="T0" fmla="*/ 0 w 149"/>
                <a:gd name="T1" fmla="*/ 75 h 149"/>
                <a:gd name="T2" fmla="*/ 0 w 149"/>
                <a:gd name="T3" fmla="*/ 75 h 149"/>
                <a:gd name="T4" fmla="*/ 0 w 149"/>
                <a:gd name="T5" fmla="*/ 82 h 149"/>
                <a:gd name="T6" fmla="*/ 1 w 149"/>
                <a:gd name="T7" fmla="*/ 89 h 149"/>
                <a:gd name="T8" fmla="*/ 6 w 149"/>
                <a:gd name="T9" fmla="*/ 104 h 149"/>
                <a:gd name="T10" fmla="*/ 12 w 149"/>
                <a:gd name="T11" fmla="*/ 116 h 149"/>
                <a:gd name="T12" fmla="*/ 22 w 149"/>
                <a:gd name="T13" fmla="*/ 127 h 149"/>
                <a:gd name="T14" fmla="*/ 33 w 149"/>
                <a:gd name="T15" fmla="*/ 136 h 149"/>
                <a:gd name="T16" fmla="*/ 45 w 149"/>
                <a:gd name="T17" fmla="*/ 143 h 149"/>
                <a:gd name="T18" fmla="*/ 52 w 149"/>
                <a:gd name="T19" fmla="*/ 145 h 149"/>
                <a:gd name="T20" fmla="*/ 60 w 149"/>
                <a:gd name="T21" fmla="*/ 148 h 149"/>
                <a:gd name="T22" fmla="*/ 67 w 149"/>
                <a:gd name="T23" fmla="*/ 149 h 149"/>
                <a:gd name="T24" fmla="*/ 74 w 149"/>
                <a:gd name="T25" fmla="*/ 149 h 149"/>
                <a:gd name="T26" fmla="*/ 74 w 149"/>
                <a:gd name="T27" fmla="*/ 149 h 149"/>
                <a:gd name="T28" fmla="*/ 82 w 149"/>
                <a:gd name="T29" fmla="*/ 149 h 149"/>
                <a:gd name="T30" fmla="*/ 89 w 149"/>
                <a:gd name="T31" fmla="*/ 148 h 149"/>
                <a:gd name="T32" fmla="*/ 96 w 149"/>
                <a:gd name="T33" fmla="*/ 145 h 149"/>
                <a:gd name="T34" fmla="*/ 102 w 149"/>
                <a:gd name="T35" fmla="*/ 143 h 149"/>
                <a:gd name="T36" fmla="*/ 116 w 149"/>
                <a:gd name="T37" fmla="*/ 136 h 149"/>
                <a:gd name="T38" fmla="*/ 127 w 149"/>
                <a:gd name="T39" fmla="*/ 127 h 149"/>
                <a:gd name="T40" fmla="*/ 135 w 149"/>
                <a:gd name="T41" fmla="*/ 116 h 149"/>
                <a:gd name="T42" fmla="*/ 143 w 149"/>
                <a:gd name="T43" fmla="*/ 104 h 149"/>
                <a:gd name="T44" fmla="*/ 146 w 149"/>
                <a:gd name="T45" fmla="*/ 89 h 149"/>
                <a:gd name="T46" fmla="*/ 148 w 149"/>
                <a:gd name="T47" fmla="*/ 82 h 149"/>
                <a:gd name="T48" fmla="*/ 149 w 149"/>
                <a:gd name="T49" fmla="*/ 75 h 149"/>
                <a:gd name="T50" fmla="*/ 149 w 149"/>
                <a:gd name="T51" fmla="*/ 75 h 149"/>
                <a:gd name="T52" fmla="*/ 148 w 149"/>
                <a:gd name="T53" fmla="*/ 67 h 149"/>
                <a:gd name="T54" fmla="*/ 146 w 149"/>
                <a:gd name="T55" fmla="*/ 60 h 149"/>
                <a:gd name="T56" fmla="*/ 145 w 149"/>
                <a:gd name="T57" fmla="*/ 53 h 149"/>
                <a:gd name="T58" fmla="*/ 143 w 149"/>
                <a:gd name="T59" fmla="*/ 46 h 149"/>
                <a:gd name="T60" fmla="*/ 135 w 149"/>
                <a:gd name="T61" fmla="*/ 33 h 149"/>
                <a:gd name="T62" fmla="*/ 127 w 149"/>
                <a:gd name="T63" fmla="*/ 22 h 149"/>
                <a:gd name="T64" fmla="*/ 116 w 149"/>
                <a:gd name="T65" fmla="*/ 14 h 149"/>
                <a:gd name="T66" fmla="*/ 102 w 149"/>
                <a:gd name="T67" fmla="*/ 7 h 149"/>
                <a:gd name="T68" fmla="*/ 96 w 149"/>
                <a:gd name="T69" fmla="*/ 4 h 149"/>
                <a:gd name="T70" fmla="*/ 89 w 149"/>
                <a:gd name="T71" fmla="*/ 2 h 149"/>
                <a:gd name="T72" fmla="*/ 82 w 149"/>
                <a:gd name="T73" fmla="*/ 0 h 149"/>
                <a:gd name="T74" fmla="*/ 74 w 149"/>
                <a:gd name="T75" fmla="*/ 0 h 149"/>
                <a:gd name="T76" fmla="*/ 74 w 149"/>
                <a:gd name="T77" fmla="*/ 0 h 149"/>
                <a:gd name="T78" fmla="*/ 67 w 149"/>
                <a:gd name="T79" fmla="*/ 0 h 149"/>
                <a:gd name="T80" fmla="*/ 60 w 149"/>
                <a:gd name="T81" fmla="*/ 2 h 149"/>
                <a:gd name="T82" fmla="*/ 52 w 149"/>
                <a:gd name="T83" fmla="*/ 4 h 149"/>
                <a:gd name="T84" fmla="*/ 45 w 149"/>
                <a:gd name="T85" fmla="*/ 7 h 149"/>
                <a:gd name="T86" fmla="*/ 33 w 149"/>
                <a:gd name="T87" fmla="*/ 14 h 149"/>
                <a:gd name="T88" fmla="*/ 22 w 149"/>
                <a:gd name="T89" fmla="*/ 22 h 149"/>
                <a:gd name="T90" fmla="*/ 12 w 149"/>
                <a:gd name="T91" fmla="*/ 33 h 149"/>
                <a:gd name="T92" fmla="*/ 6 w 149"/>
                <a:gd name="T93" fmla="*/ 46 h 149"/>
                <a:gd name="T94" fmla="*/ 4 w 149"/>
                <a:gd name="T95" fmla="*/ 53 h 149"/>
                <a:gd name="T96" fmla="*/ 1 w 149"/>
                <a:gd name="T97" fmla="*/ 60 h 149"/>
                <a:gd name="T98" fmla="*/ 0 w 149"/>
                <a:gd name="T99" fmla="*/ 67 h 149"/>
                <a:gd name="T100" fmla="*/ 0 w 149"/>
                <a:gd name="T101" fmla="*/ 75 h 149"/>
                <a:gd name="T102" fmla="*/ 0 w 149"/>
                <a:gd name="T103"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9" h="149">
                  <a:moveTo>
                    <a:pt x="0" y="75"/>
                  </a:moveTo>
                  <a:lnTo>
                    <a:pt x="0" y="75"/>
                  </a:lnTo>
                  <a:lnTo>
                    <a:pt x="0" y="82"/>
                  </a:lnTo>
                  <a:lnTo>
                    <a:pt x="1" y="89"/>
                  </a:lnTo>
                  <a:lnTo>
                    <a:pt x="6" y="104"/>
                  </a:lnTo>
                  <a:lnTo>
                    <a:pt x="12" y="116"/>
                  </a:lnTo>
                  <a:lnTo>
                    <a:pt x="22" y="127"/>
                  </a:lnTo>
                  <a:lnTo>
                    <a:pt x="33" y="136"/>
                  </a:lnTo>
                  <a:lnTo>
                    <a:pt x="45" y="143"/>
                  </a:lnTo>
                  <a:lnTo>
                    <a:pt x="52" y="145"/>
                  </a:lnTo>
                  <a:lnTo>
                    <a:pt x="60" y="148"/>
                  </a:lnTo>
                  <a:lnTo>
                    <a:pt x="67" y="149"/>
                  </a:lnTo>
                  <a:lnTo>
                    <a:pt x="74" y="149"/>
                  </a:lnTo>
                  <a:lnTo>
                    <a:pt x="74" y="149"/>
                  </a:lnTo>
                  <a:lnTo>
                    <a:pt x="82" y="149"/>
                  </a:lnTo>
                  <a:lnTo>
                    <a:pt x="89" y="148"/>
                  </a:lnTo>
                  <a:lnTo>
                    <a:pt x="96" y="145"/>
                  </a:lnTo>
                  <a:lnTo>
                    <a:pt x="102" y="143"/>
                  </a:lnTo>
                  <a:lnTo>
                    <a:pt x="116" y="136"/>
                  </a:lnTo>
                  <a:lnTo>
                    <a:pt x="127" y="127"/>
                  </a:lnTo>
                  <a:lnTo>
                    <a:pt x="135" y="116"/>
                  </a:lnTo>
                  <a:lnTo>
                    <a:pt x="143" y="104"/>
                  </a:lnTo>
                  <a:lnTo>
                    <a:pt x="146" y="89"/>
                  </a:lnTo>
                  <a:lnTo>
                    <a:pt x="148" y="82"/>
                  </a:lnTo>
                  <a:lnTo>
                    <a:pt x="149" y="75"/>
                  </a:lnTo>
                  <a:lnTo>
                    <a:pt x="149" y="75"/>
                  </a:lnTo>
                  <a:lnTo>
                    <a:pt x="148" y="67"/>
                  </a:lnTo>
                  <a:lnTo>
                    <a:pt x="146" y="60"/>
                  </a:lnTo>
                  <a:lnTo>
                    <a:pt x="145" y="53"/>
                  </a:lnTo>
                  <a:lnTo>
                    <a:pt x="143" y="46"/>
                  </a:lnTo>
                  <a:lnTo>
                    <a:pt x="135" y="33"/>
                  </a:lnTo>
                  <a:lnTo>
                    <a:pt x="127" y="22"/>
                  </a:lnTo>
                  <a:lnTo>
                    <a:pt x="116" y="14"/>
                  </a:lnTo>
                  <a:lnTo>
                    <a:pt x="102" y="7"/>
                  </a:lnTo>
                  <a:lnTo>
                    <a:pt x="96" y="4"/>
                  </a:lnTo>
                  <a:lnTo>
                    <a:pt x="89" y="2"/>
                  </a:lnTo>
                  <a:lnTo>
                    <a:pt x="82" y="0"/>
                  </a:lnTo>
                  <a:lnTo>
                    <a:pt x="74" y="0"/>
                  </a:lnTo>
                  <a:lnTo>
                    <a:pt x="74" y="0"/>
                  </a:lnTo>
                  <a:lnTo>
                    <a:pt x="67" y="0"/>
                  </a:lnTo>
                  <a:lnTo>
                    <a:pt x="60" y="2"/>
                  </a:lnTo>
                  <a:lnTo>
                    <a:pt x="52" y="4"/>
                  </a:lnTo>
                  <a:lnTo>
                    <a:pt x="45" y="7"/>
                  </a:lnTo>
                  <a:lnTo>
                    <a:pt x="33" y="14"/>
                  </a:lnTo>
                  <a:lnTo>
                    <a:pt x="22" y="22"/>
                  </a:lnTo>
                  <a:lnTo>
                    <a:pt x="12" y="33"/>
                  </a:lnTo>
                  <a:lnTo>
                    <a:pt x="6" y="46"/>
                  </a:lnTo>
                  <a:lnTo>
                    <a:pt x="4" y="53"/>
                  </a:lnTo>
                  <a:lnTo>
                    <a:pt x="1" y="60"/>
                  </a:lnTo>
                  <a:lnTo>
                    <a:pt x="0" y="67"/>
                  </a:lnTo>
                  <a:lnTo>
                    <a:pt x="0" y="75"/>
                  </a:lnTo>
                  <a:lnTo>
                    <a:pt x="0" y="75"/>
                  </a:lnTo>
                  <a:close/>
                </a:path>
              </a:pathLst>
            </a:custGeom>
            <a:solidFill>
              <a:srgbClr val="FF4F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3" name="Freeform 590"/>
            <p:cNvSpPr>
              <a:spLocks/>
            </p:cNvSpPr>
            <p:nvPr/>
          </p:nvSpPr>
          <p:spPr bwMode="auto">
            <a:xfrm>
              <a:off x="2059021" y="3324247"/>
              <a:ext cx="31750" cy="31750"/>
            </a:xfrm>
            <a:custGeom>
              <a:avLst/>
              <a:gdLst>
                <a:gd name="T0" fmla="*/ 0 w 102"/>
                <a:gd name="T1" fmla="*/ 51 h 102"/>
                <a:gd name="T2" fmla="*/ 0 w 102"/>
                <a:gd name="T3" fmla="*/ 51 h 102"/>
                <a:gd name="T4" fmla="*/ 1 w 102"/>
                <a:gd name="T5" fmla="*/ 61 h 102"/>
                <a:gd name="T6" fmla="*/ 5 w 102"/>
                <a:gd name="T7" fmla="*/ 71 h 102"/>
                <a:gd name="T8" fmla="*/ 9 w 102"/>
                <a:gd name="T9" fmla="*/ 79 h 102"/>
                <a:gd name="T10" fmla="*/ 16 w 102"/>
                <a:gd name="T11" fmla="*/ 87 h 102"/>
                <a:gd name="T12" fmla="*/ 23 w 102"/>
                <a:gd name="T13" fmla="*/ 94 h 102"/>
                <a:gd name="T14" fmla="*/ 32 w 102"/>
                <a:gd name="T15" fmla="*/ 97 h 102"/>
                <a:gd name="T16" fmla="*/ 41 w 102"/>
                <a:gd name="T17" fmla="*/ 101 h 102"/>
                <a:gd name="T18" fmla="*/ 51 w 102"/>
                <a:gd name="T19" fmla="*/ 102 h 102"/>
                <a:gd name="T20" fmla="*/ 51 w 102"/>
                <a:gd name="T21" fmla="*/ 102 h 102"/>
                <a:gd name="T22" fmla="*/ 62 w 102"/>
                <a:gd name="T23" fmla="*/ 101 h 102"/>
                <a:gd name="T24" fmla="*/ 72 w 102"/>
                <a:gd name="T25" fmla="*/ 97 h 102"/>
                <a:gd name="T26" fmla="*/ 80 w 102"/>
                <a:gd name="T27" fmla="*/ 94 h 102"/>
                <a:gd name="T28" fmla="*/ 88 w 102"/>
                <a:gd name="T29" fmla="*/ 87 h 102"/>
                <a:gd name="T30" fmla="*/ 94 w 102"/>
                <a:gd name="T31" fmla="*/ 79 h 102"/>
                <a:gd name="T32" fmla="*/ 99 w 102"/>
                <a:gd name="T33" fmla="*/ 71 h 102"/>
                <a:gd name="T34" fmla="*/ 101 w 102"/>
                <a:gd name="T35" fmla="*/ 61 h 102"/>
                <a:gd name="T36" fmla="*/ 102 w 102"/>
                <a:gd name="T37" fmla="*/ 51 h 102"/>
                <a:gd name="T38" fmla="*/ 102 w 102"/>
                <a:gd name="T39" fmla="*/ 51 h 102"/>
                <a:gd name="T40" fmla="*/ 101 w 102"/>
                <a:gd name="T41" fmla="*/ 40 h 102"/>
                <a:gd name="T42" fmla="*/ 99 w 102"/>
                <a:gd name="T43" fmla="*/ 30 h 102"/>
                <a:gd name="T44" fmla="*/ 94 w 102"/>
                <a:gd name="T45" fmla="*/ 22 h 102"/>
                <a:gd name="T46" fmla="*/ 88 w 102"/>
                <a:gd name="T47" fmla="*/ 15 h 102"/>
                <a:gd name="T48" fmla="*/ 80 w 102"/>
                <a:gd name="T49" fmla="*/ 8 h 102"/>
                <a:gd name="T50" fmla="*/ 72 w 102"/>
                <a:gd name="T51" fmla="*/ 4 h 102"/>
                <a:gd name="T52" fmla="*/ 62 w 102"/>
                <a:gd name="T53" fmla="*/ 1 h 102"/>
                <a:gd name="T54" fmla="*/ 51 w 102"/>
                <a:gd name="T55" fmla="*/ 0 h 102"/>
                <a:gd name="T56" fmla="*/ 51 w 102"/>
                <a:gd name="T57" fmla="*/ 0 h 102"/>
                <a:gd name="T58" fmla="*/ 41 w 102"/>
                <a:gd name="T59" fmla="*/ 1 h 102"/>
                <a:gd name="T60" fmla="*/ 32 w 102"/>
                <a:gd name="T61" fmla="*/ 4 h 102"/>
                <a:gd name="T62" fmla="*/ 23 w 102"/>
                <a:gd name="T63" fmla="*/ 8 h 102"/>
                <a:gd name="T64" fmla="*/ 16 w 102"/>
                <a:gd name="T65" fmla="*/ 15 h 102"/>
                <a:gd name="T66" fmla="*/ 9 w 102"/>
                <a:gd name="T67" fmla="*/ 22 h 102"/>
                <a:gd name="T68" fmla="*/ 5 w 102"/>
                <a:gd name="T69" fmla="*/ 30 h 102"/>
                <a:gd name="T70" fmla="*/ 1 w 102"/>
                <a:gd name="T71" fmla="*/ 40 h 102"/>
                <a:gd name="T72" fmla="*/ 0 w 102"/>
                <a:gd name="T73" fmla="*/ 51 h 102"/>
                <a:gd name="T74" fmla="*/ 0 w 102"/>
                <a:gd name="T75" fmla="*/ 5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2">
                  <a:moveTo>
                    <a:pt x="0" y="51"/>
                  </a:moveTo>
                  <a:lnTo>
                    <a:pt x="0" y="51"/>
                  </a:lnTo>
                  <a:lnTo>
                    <a:pt x="1" y="61"/>
                  </a:lnTo>
                  <a:lnTo>
                    <a:pt x="5" y="71"/>
                  </a:lnTo>
                  <a:lnTo>
                    <a:pt x="9" y="79"/>
                  </a:lnTo>
                  <a:lnTo>
                    <a:pt x="16" y="87"/>
                  </a:lnTo>
                  <a:lnTo>
                    <a:pt x="23" y="94"/>
                  </a:lnTo>
                  <a:lnTo>
                    <a:pt x="32" y="97"/>
                  </a:lnTo>
                  <a:lnTo>
                    <a:pt x="41" y="101"/>
                  </a:lnTo>
                  <a:lnTo>
                    <a:pt x="51" y="102"/>
                  </a:lnTo>
                  <a:lnTo>
                    <a:pt x="51" y="102"/>
                  </a:lnTo>
                  <a:lnTo>
                    <a:pt x="62" y="101"/>
                  </a:lnTo>
                  <a:lnTo>
                    <a:pt x="72" y="97"/>
                  </a:lnTo>
                  <a:lnTo>
                    <a:pt x="80" y="94"/>
                  </a:lnTo>
                  <a:lnTo>
                    <a:pt x="88" y="87"/>
                  </a:lnTo>
                  <a:lnTo>
                    <a:pt x="94" y="79"/>
                  </a:lnTo>
                  <a:lnTo>
                    <a:pt x="99" y="71"/>
                  </a:lnTo>
                  <a:lnTo>
                    <a:pt x="101" y="61"/>
                  </a:lnTo>
                  <a:lnTo>
                    <a:pt x="102" y="51"/>
                  </a:lnTo>
                  <a:lnTo>
                    <a:pt x="102" y="51"/>
                  </a:lnTo>
                  <a:lnTo>
                    <a:pt x="101" y="40"/>
                  </a:lnTo>
                  <a:lnTo>
                    <a:pt x="99" y="30"/>
                  </a:lnTo>
                  <a:lnTo>
                    <a:pt x="94" y="22"/>
                  </a:lnTo>
                  <a:lnTo>
                    <a:pt x="88" y="15"/>
                  </a:lnTo>
                  <a:lnTo>
                    <a:pt x="80" y="8"/>
                  </a:lnTo>
                  <a:lnTo>
                    <a:pt x="72" y="4"/>
                  </a:lnTo>
                  <a:lnTo>
                    <a:pt x="62" y="1"/>
                  </a:lnTo>
                  <a:lnTo>
                    <a:pt x="51" y="0"/>
                  </a:lnTo>
                  <a:lnTo>
                    <a:pt x="51" y="0"/>
                  </a:lnTo>
                  <a:lnTo>
                    <a:pt x="41" y="1"/>
                  </a:lnTo>
                  <a:lnTo>
                    <a:pt x="32" y="4"/>
                  </a:lnTo>
                  <a:lnTo>
                    <a:pt x="23" y="8"/>
                  </a:lnTo>
                  <a:lnTo>
                    <a:pt x="16" y="15"/>
                  </a:lnTo>
                  <a:lnTo>
                    <a:pt x="9" y="22"/>
                  </a:lnTo>
                  <a:lnTo>
                    <a:pt x="5" y="30"/>
                  </a:lnTo>
                  <a:lnTo>
                    <a:pt x="1" y="40"/>
                  </a:lnTo>
                  <a:lnTo>
                    <a:pt x="0" y="51"/>
                  </a:lnTo>
                  <a:lnTo>
                    <a:pt x="0" y="51"/>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4" name="Freeform 591"/>
            <p:cNvSpPr>
              <a:spLocks/>
            </p:cNvSpPr>
            <p:nvPr/>
          </p:nvSpPr>
          <p:spPr bwMode="auto">
            <a:xfrm>
              <a:off x="2073308" y="3454423"/>
              <a:ext cx="20638" cy="20638"/>
            </a:xfrm>
            <a:custGeom>
              <a:avLst/>
              <a:gdLst>
                <a:gd name="T0" fmla="*/ 0 w 67"/>
                <a:gd name="T1" fmla="*/ 34 h 68"/>
                <a:gd name="T2" fmla="*/ 0 w 67"/>
                <a:gd name="T3" fmla="*/ 34 h 68"/>
                <a:gd name="T4" fmla="*/ 0 w 67"/>
                <a:gd name="T5" fmla="*/ 41 h 68"/>
                <a:gd name="T6" fmla="*/ 2 w 67"/>
                <a:gd name="T7" fmla="*/ 47 h 68"/>
                <a:gd name="T8" fmla="*/ 5 w 67"/>
                <a:gd name="T9" fmla="*/ 53 h 68"/>
                <a:gd name="T10" fmla="*/ 10 w 67"/>
                <a:gd name="T11" fmla="*/ 58 h 68"/>
                <a:gd name="T12" fmla="*/ 15 w 67"/>
                <a:gd name="T13" fmla="*/ 63 h 68"/>
                <a:gd name="T14" fmla="*/ 21 w 67"/>
                <a:gd name="T15" fmla="*/ 65 h 68"/>
                <a:gd name="T16" fmla="*/ 27 w 67"/>
                <a:gd name="T17" fmla="*/ 68 h 68"/>
                <a:gd name="T18" fmla="*/ 33 w 67"/>
                <a:gd name="T19" fmla="*/ 68 h 68"/>
                <a:gd name="T20" fmla="*/ 33 w 67"/>
                <a:gd name="T21" fmla="*/ 68 h 68"/>
                <a:gd name="T22" fmla="*/ 40 w 67"/>
                <a:gd name="T23" fmla="*/ 68 h 68"/>
                <a:gd name="T24" fmla="*/ 46 w 67"/>
                <a:gd name="T25" fmla="*/ 65 h 68"/>
                <a:gd name="T26" fmla="*/ 52 w 67"/>
                <a:gd name="T27" fmla="*/ 63 h 68"/>
                <a:gd name="T28" fmla="*/ 57 w 67"/>
                <a:gd name="T29" fmla="*/ 58 h 68"/>
                <a:gd name="T30" fmla="*/ 62 w 67"/>
                <a:gd name="T31" fmla="*/ 53 h 68"/>
                <a:gd name="T32" fmla="*/ 65 w 67"/>
                <a:gd name="T33" fmla="*/ 47 h 68"/>
                <a:gd name="T34" fmla="*/ 67 w 67"/>
                <a:gd name="T35" fmla="*/ 41 h 68"/>
                <a:gd name="T36" fmla="*/ 67 w 67"/>
                <a:gd name="T37" fmla="*/ 34 h 68"/>
                <a:gd name="T38" fmla="*/ 67 w 67"/>
                <a:gd name="T39" fmla="*/ 34 h 68"/>
                <a:gd name="T40" fmla="*/ 67 w 67"/>
                <a:gd name="T41" fmla="*/ 28 h 68"/>
                <a:gd name="T42" fmla="*/ 65 w 67"/>
                <a:gd name="T43" fmla="*/ 22 h 68"/>
                <a:gd name="T44" fmla="*/ 62 w 67"/>
                <a:gd name="T45" fmla="*/ 15 h 68"/>
                <a:gd name="T46" fmla="*/ 57 w 67"/>
                <a:gd name="T47" fmla="*/ 11 h 68"/>
                <a:gd name="T48" fmla="*/ 52 w 67"/>
                <a:gd name="T49" fmla="*/ 6 h 68"/>
                <a:gd name="T50" fmla="*/ 46 w 67"/>
                <a:gd name="T51" fmla="*/ 3 h 68"/>
                <a:gd name="T52" fmla="*/ 40 w 67"/>
                <a:gd name="T53" fmla="*/ 1 h 68"/>
                <a:gd name="T54" fmla="*/ 33 w 67"/>
                <a:gd name="T55" fmla="*/ 0 h 68"/>
                <a:gd name="T56" fmla="*/ 33 w 67"/>
                <a:gd name="T57" fmla="*/ 0 h 68"/>
                <a:gd name="T58" fmla="*/ 27 w 67"/>
                <a:gd name="T59" fmla="*/ 1 h 68"/>
                <a:gd name="T60" fmla="*/ 21 w 67"/>
                <a:gd name="T61" fmla="*/ 3 h 68"/>
                <a:gd name="T62" fmla="*/ 15 w 67"/>
                <a:gd name="T63" fmla="*/ 6 h 68"/>
                <a:gd name="T64" fmla="*/ 10 w 67"/>
                <a:gd name="T65" fmla="*/ 11 h 68"/>
                <a:gd name="T66" fmla="*/ 5 w 67"/>
                <a:gd name="T67" fmla="*/ 15 h 68"/>
                <a:gd name="T68" fmla="*/ 2 w 67"/>
                <a:gd name="T69" fmla="*/ 22 h 68"/>
                <a:gd name="T70" fmla="*/ 0 w 67"/>
                <a:gd name="T71" fmla="*/ 28 h 68"/>
                <a:gd name="T72" fmla="*/ 0 w 67"/>
                <a:gd name="T73" fmla="*/ 34 h 68"/>
                <a:gd name="T74" fmla="*/ 0 w 67"/>
                <a:gd name="T7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68">
                  <a:moveTo>
                    <a:pt x="0" y="34"/>
                  </a:moveTo>
                  <a:lnTo>
                    <a:pt x="0" y="34"/>
                  </a:lnTo>
                  <a:lnTo>
                    <a:pt x="0" y="41"/>
                  </a:lnTo>
                  <a:lnTo>
                    <a:pt x="2" y="47"/>
                  </a:lnTo>
                  <a:lnTo>
                    <a:pt x="5" y="53"/>
                  </a:lnTo>
                  <a:lnTo>
                    <a:pt x="10" y="58"/>
                  </a:lnTo>
                  <a:lnTo>
                    <a:pt x="15" y="63"/>
                  </a:lnTo>
                  <a:lnTo>
                    <a:pt x="21" y="65"/>
                  </a:lnTo>
                  <a:lnTo>
                    <a:pt x="27" y="68"/>
                  </a:lnTo>
                  <a:lnTo>
                    <a:pt x="33" y="68"/>
                  </a:lnTo>
                  <a:lnTo>
                    <a:pt x="33" y="68"/>
                  </a:lnTo>
                  <a:lnTo>
                    <a:pt x="40" y="68"/>
                  </a:lnTo>
                  <a:lnTo>
                    <a:pt x="46" y="65"/>
                  </a:lnTo>
                  <a:lnTo>
                    <a:pt x="52" y="63"/>
                  </a:lnTo>
                  <a:lnTo>
                    <a:pt x="57" y="58"/>
                  </a:lnTo>
                  <a:lnTo>
                    <a:pt x="62" y="53"/>
                  </a:lnTo>
                  <a:lnTo>
                    <a:pt x="65" y="47"/>
                  </a:lnTo>
                  <a:lnTo>
                    <a:pt x="67" y="41"/>
                  </a:lnTo>
                  <a:lnTo>
                    <a:pt x="67" y="34"/>
                  </a:lnTo>
                  <a:lnTo>
                    <a:pt x="67" y="34"/>
                  </a:lnTo>
                  <a:lnTo>
                    <a:pt x="67" y="28"/>
                  </a:lnTo>
                  <a:lnTo>
                    <a:pt x="65" y="22"/>
                  </a:lnTo>
                  <a:lnTo>
                    <a:pt x="62" y="15"/>
                  </a:lnTo>
                  <a:lnTo>
                    <a:pt x="57" y="11"/>
                  </a:lnTo>
                  <a:lnTo>
                    <a:pt x="52" y="6"/>
                  </a:lnTo>
                  <a:lnTo>
                    <a:pt x="46" y="3"/>
                  </a:lnTo>
                  <a:lnTo>
                    <a:pt x="40" y="1"/>
                  </a:lnTo>
                  <a:lnTo>
                    <a:pt x="33" y="0"/>
                  </a:lnTo>
                  <a:lnTo>
                    <a:pt x="33" y="0"/>
                  </a:lnTo>
                  <a:lnTo>
                    <a:pt x="27" y="1"/>
                  </a:lnTo>
                  <a:lnTo>
                    <a:pt x="21" y="3"/>
                  </a:lnTo>
                  <a:lnTo>
                    <a:pt x="15" y="6"/>
                  </a:lnTo>
                  <a:lnTo>
                    <a:pt x="10" y="11"/>
                  </a:lnTo>
                  <a:lnTo>
                    <a:pt x="5" y="15"/>
                  </a:lnTo>
                  <a:lnTo>
                    <a:pt x="2" y="22"/>
                  </a:lnTo>
                  <a:lnTo>
                    <a:pt x="0" y="28"/>
                  </a:lnTo>
                  <a:lnTo>
                    <a:pt x="0" y="34"/>
                  </a:lnTo>
                  <a:lnTo>
                    <a:pt x="0" y="34"/>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5" name="Freeform 592"/>
            <p:cNvSpPr>
              <a:spLocks/>
            </p:cNvSpPr>
            <p:nvPr/>
          </p:nvSpPr>
          <p:spPr bwMode="auto">
            <a:xfrm>
              <a:off x="2001870" y="3340122"/>
              <a:ext cx="20638" cy="20638"/>
            </a:xfrm>
            <a:custGeom>
              <a:avLst/>
              <a:gdLst>
                <a:gd name="T0" fmla="*/ 0 w 68"/>
                <a:gd name="T1" fmla="*/ 34 h 68"/>
                <a:gd name="T2" fmla="*/ 0 w 68"/>
                <a:gd name="T3" fmla="*/ 34 h 68"/>
                <a:gd name="T4" fmla="*/ 1 w 68"/>
                <a:gd name="T5" fmla="*/ 40 h 68"/>
                <a:gd name="T6" fmla="*/ 2 w 68"/>
                <a:gd name="T7" fmla="*/ 46 h 68"/>
                <a:gd name="T8" fmla="*/ 6 w 68"/>
                <a:gd name="T9" fmla="*/ 53 h 68"/>
                <a:gd name="T10" fmla="*/ 9 w 68"/>
                <a:gd name="T11" fmla="*/ 57 h 68"/>
                <a:gd name="T12" fmla="*/ 15 w 68"/>
                <a:gd name="T13" fmla="*/ 62 h 68"/>
                <a:gd name="T14" fmla="*/ 20 w 68"/>
                <a:gd name="T15" fmla="*/ 65 h 68"/>
                <a:gd name="T16" fmla="*/ 28 w 68"/>
                <a:gd name="T17" fmla="*/ 67 h 68"/>
                <a:gd name="T18" fmla="*/ 34 w 68"/>
                <a:gd name="T19" fmla="*/ 68 h 68"/>
                <a:gd name="T20" fmla="*/ 34 w 68"/>
                <a:gd name="T21" fmla="*/ 68 h 68"/>
                <a:gd name="T22" fmla="*/ 41 w 68"/>
                <a:gd name="T23" fmla="*/ 67 h 68"/>
                <a:gd name="T24" fmla="*/ 47 w 68"/>
                <a:gd name="T25" fmla="*/ 65 h 68"/>
                <a:gd name="T26" fmla="*/ 53 w 68"/>
                <a:gd name="T27" fmla="*/ 62 h 68"/>
                <a:gd name="T28" fmla="*/ 58 w 68"/>
                <a:gd name="T29" fmla="*/ 57 h 68"/>
                <a:gd name="T30" fmla="*/ 62 w 68"/>
                <a:gd name="T31" fmla="*/ 53 h 68"/>
                <a:gd name="T32" fmla="*/ 65 w 68"/>
                <a:gd name="T33" fmla="*/ 46 h 68"/>
                <a:gd name="T34" fmla="*/ 67 w 68"/>
                <a:gd name="T35" fmla="*/ 40 h 68"/>
                <a:gd name="T36" fmla="*/ 68 w 68"/>
                <a:gd name="T37" fmla="*/ 34 h 68"/>
                <a:gd name="T38" fmla="*/ 68 w 68"/>
                <a:gd name="T39" fmla="*/ 34 h 68"/>
                <a:gd name="T40" fmla="*/ 67 w 68"/>
                <a:gd name="T41" fmla="*/ 27 h 68"/>
                <a:gd name="T42" fmla="*/ 65 w 68"/>
                <a:gd name="T43" fmla="*/ 21 h 68"/>
                <a:gd name="T44" fmla="*/ 62 w 68"/>
                <a:gd name="T45" fmla="*/ 15 h 68"/>
                <a:gd name="T46" fmla="*/ 58 w 68"/>
                <a:gd name="T47" fmla="*/ 10 h 68"/>
                <a:gd name="T48" fmla="*/ 53 w 68"/>
                <a:gd name="T49" fmla="*/ 5 h 68"/>
                <a:gd name="T50" fmla="*/ 47 w 68"/>
                <a:gd name="T51" fmla="*/ 3 h 68"/>
                <a:gd name="T52" fmla="*/ 41 w 68"/>
                <a:gd name="T53" fmla="*/ 0 h 68"/>
                <a:gd name="T54" fmla="*/ 34 w 68"/>
                <a:gd name="T55" fmla="*/ 0 h 68"/>
                <a:gd name="T56" fmla="*/ 34 w 68"/>
                <a:gd name="T57" fmla="*/ 0 h 68"/>
                <a:gd name="T58" fmla="*/ 28 w 68"/>
                <a:gd name="T59" fmla="*/ 0 h 68"/>
                <a:gd name="T60" fmla="*/ 20 w 68"/>
                <a:gd name="T61" fmla="*/ 3 h 68"/>
                <a:gd name="T62" fmla="*/ 15 w 68"/>
                <a:gd name="T63" fmla="*/ 5 h 68"/>
                <a:gd name="T64" fmla="*/ 9 w 68"/>
                <a:gd name="T65" fmla="*/ 10 h 68"/>
                <a:gd name="T66" fmla="*/ 6 w 68"/>
                <a:gd name="T67" fmla="*/ 15 h 68"/>
                <a:gd name="T68" fmla="*/ 2 w 68"/>
                <a:gd name="T69" fmla="*/ 21 h 68"/>
                <a:gd name="T70" fmla="*/ 1 w 68"/>
                <a:gd name="T71" fmla="*/ 27 h 68"/>
                <a:gd name="T72" fmla="*/ 0 w 68"/>
                <a:gd name="T73" fmla="*/ 34 h 68"/>
                <a:gd name="T74" fmla="*/ 0 w 68"/>
                <a:gd name="T7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8" h="68">
                  <a:moveTo>
                    <a:pt x="0" y="34"/>
                  </a:moveTo>
                  <a:lnTo>
                    <a:pt x="0" y="34"/>
                  </a:lnTo>
                  <a:lnTo>
                    <a:pt x="1" y="40"/>
                  </a:lnTo>
                  <a:lnTo>
                    <a:pt x="2" y="46"/>
                  </a:lnTo>
                  <a:lnTo>
                    <a:pt x="6" y="53"/>
                  </a:lnTo>
                  <a:lnTo>
                    <a:pt x="9" y="57"/>
                  </a:lnTo>
                  <a:lnTo>
                    <a:pt x="15" y="62"/>
                  </a:lnTo>
                  <a:lnTo>
                    <a:pt x="20" y="65"/>
                  </a:lnTo>
                  <a:lnTo>
                    <a:pt x="28" y="67"/>
                  </a:lnTo>
                  <a:lnTo>
                    <a:pt x="34" y="68"/>
                  </a:lnTo>
                  <a:lnTo>
                    <a:pt x="34" y="68"/>
                  </a:lnTo>
                  <a:lnTo>
                    <a:pt x="41" y="67"/>
                  </a:lnTo>
                  <a:lnTo>
                    <a:pt x="47" y="65"/>
                  </a:lnTo>
                  <a:lnTo>
                    <a:pt x="53" y="62"/>
                  </a:lnTo>
                  <a:lnTo>
                    <a:pt x="58" y="57"/>
                  </a:lnTo>
                  <a:lnTo>
                    <a:pt x="62" y="53"/>
                  </a:lnTo>
                  <a:lnTo>
                    <a:pt x="65" y="46"/>
                  </a:lnTo>
                  <a:lnTo>
                    <a:pt x="67" y="40"/>
                  </a:lnTo>
                  <a:lnTo>
                    <a:pt x="68" y="34"/>
                  </a:lnTo>
                  <a:lnTo>
                    <a:pt x="68" y="34"/>
                  </a:lnTo>
                  <a:lnTo>
                    <a:pt x="67" y="27"/>
                  </a:lnTo>
                  <a:lnTo>
                    <a:pt x="65" y="21"/>
                  </a:lnTo>
                  <a:lnTo>
                    <a:pt x="62" y="15"/>
                  </a:lnTo>
                  <a:lnTo>
                    <a:pt x="58" y="10"/>
                  </a:lnTo>
                  <a:lnTo>
                    <a:pt x="53" y="5"/>
                  </a:lnTo>
                  <a:lnTo>
                    <a:pt x="47" y="3"/>
                  </a:lnTo>
                  <a:lnTo>
                    <a:pt x="41" y="0"/>
                  </a:lnTo>
                  <a:lnTo>
                    <a:pt x="34" y="0"/>
                  </a:lnTo>
                  <a:lnTo>
                    <a:pt x="34" y="0"/>
                  </a:lnTo>
                  <a:lnTo>
                    <a:pt x="28" y="0"/>
                  </a:lnTo>
                  <a:lnTo>
                    <a:pt x="20" y="3"/>
                  </a:lnTo>
                  <a:lnTo>
                    <a:pt x="15" y="5"/>
                  </a:lnTo>
                  <a:lnTo>
                    <a:pt x="9" y="10"/>
                  </a:lnTo>
                  <a:lnTo>
                    <a:pt x="6" y="15"/>
                  </a:lnTo>
                  <a:lnTo>
                    <a:pt x="2" y="21"/>
                  </a:lnTo>
                  <a:lnTo>
                    <a:pt x="1" y="27"/>
                  </a:lnTo>
                  <a:lnTo>
                    <a:pt x="0" y="34"/>
                  </a:lnTo>
                  <a:lnTo>
                    <a:pt x="0" y="34"/>
                  </a:lnTo>
                  <a:close/>
                </a:path>
              </a:pathLst>
            </a:custGeom>
            <a:solidFill>
              <a:srgbClr val="FF4F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6" name="Freeform 593"/>
            <p:cNvSpPr>
              <a:spLocks/>
            </p:cNvSpPr>
            <p:nvPr/>
          </p:nvSpPr>
          <p:spPr bwMode="auto">
            <a:xfrm>
              <a:off x="2130459" y="3459186"/>
              <a:ext cx="17463" cy="15875"/>
            </a:xfrm>
            <a:custGeom>
              <a:avLst/>
              <a:gdLst>
                <a:gd name="T0" fmla="*/ 0 w 52"/>
                <a:gd name="T1" fmla="*/ 25 h 51"/>
                <a:gd name="T2" fmla="*/ 0 w 52"/>
                <a:gd name="T3" fmla="*/ 25 h 51"/>
                <a:gd name="T4" fmla="*/ 1 w 52"/>
                <a:gd name="T5" fmla="*/ 30 h 51"/>
                <a:gd name="T6" fmla="*/ 2 w 52"/>
                <a:gd name="T7" fmla="*/ 35 h 51"/>
                <a:gd name="T8" fmla="*/ 5 w 52"/>
                <a:gd name="T9" fmla="*/ 40 h 51"/>
                <a:gd name="T10" fmla="*/ 7 w 52"/>
                <a:gd name="T11" fmla="*/ 44 h 51"/>
                <a:gd name="T12" fmla="*/ 12 w 52"/>
                <a:gd name="T13" fmla="*/ 47 h 51"/>
                <a:gd name="T14" fmla="*/ 16 w 52"/>
                <a:gd name="T15" fmla="*/ 50 h 51"/>
                <a:gd name="T16" fmla="*/ 21 w 52"/>
                <a:gd name="T17" fmla="*/ 51 h 51"/>
                <a:gd name="T18" fmla="*/ 26 w 52"/>
                <a:gd name="T19" fmla="*/ 51 h 51"/>
                <a:gd name="T20" fmla="*/ 26 w 52"/>
                <a:gd name="T21" fmla="*/ 51 h 51"/>
                <a:gd name="T22" fmla="*/ 32 w 52"/>
                <a:gd name="T23" fmla="*/ 51 h 51"/>
                <a:gd name="T24" fmla="*/ 37 w 52"/>
                <a:gd name="T25" fmla="*/ 50 h 51"/>
                <a:gd name="T26" fmla="*/ 40 w 52"/>
                <a:gd name="T27" fmla="*/ 47 h 51"/>
                <a:gd name="T28" fmla="*/ 45 w 52"/>
                <a:gd name="T29" fmla="*/ 44 h 51"/>
                <a:gd name="T30" fmla="*/ 48 w 52"/>
                <a:gd name="T31" fmla="*/ 40 h 51"/>
                <a:gd name="T32" fmla="*/ 50 w 52"/>
                <a:gd name="T33" fmla="*/ 35 h 51"/>
                <a:gd name="T34" fmla="*/ 51 w 52"/>
                <a:gd name="T35" fmla="*/ 30 h 51"/>
                <a:gd name="T36" fmla="*/ 52 w 52"/>
                <a:gd name="T37" fmla="*/ 25 h 51"/>
                <a:gd name="T38" fmla="*/ 52 w 52"/>
                <a:gd name="T39" fmla="*/ 25 h 51"/>
                <a:gd name="T40" fmla="*/ 51 w 52"/>
                <a:gd name="T41" fmla="*/ 20 h 51"/>
                <a:gd name="T42" fmla="*/ 50 w 52"/>
                <a:gd name="T43" fmla="*/ 15 h 51"/>
                <a:gd name="T44" fmla="*/ 48 w 52"/>
                <a:gd name="T45" fmla="*/ 11 h 51"/>
                <a:gd name="T46" fmla="*/ 45 w 52"/>
                <a:gd name="T47" fmla="*/ 7 h 51"/>
                <a:gd name="T48" fmla="*/ 40 w 52"/>
                <a:gd name="T49" fmla="*/ 3 h 51"/>
                <a:gd name="T50" fmla="*/ 37 w 52"/>
                <a:gd name="T51" fmla="*/ 1 h 51"/>
                <a:gd name="T52" fmla="*/ 32 w 52"/>
                <a:gd name="T53" fmla="*/ 0 h 51"/>
                <a:gd name="T54" fmla="*/ 26 w 52"/>
                <a:gd name="T55" fmla="*/ 0 h 51"/>
                <a:gd name="T56" fmla="*/ 26 w 52"/>
                <a:gd name="T57" fmla="*/ 0 h 51"/>
                <a:gd name="T58" fmla="*/ 21 w 52"/>
                <a:gd name="T59" fmla="*/ 0 h 51"/>
                <a:gd name="T60" fmla="*/ 16 w 52"/>
                <a:gd name="T61" fmla="*/ 1 h 51"/>
                <a:gd name="T62" fmla="*/ 12 w 52"/>
                <a:gd name="T63" fmla="*/ 3 h 51"/>
                <a:gd name="T64" fmla="*/ 7 w 52"/>
                <a:gd name="T65" fmla="*/ 7 h 51"/>
                <a:gd name="T66" fmla="*/ 5 w 52"/>
                <a:gd name="T67" fmla="*/ 11 h 51"/>
                <a:gd name="T68" fmla="*/ 2 w 52"/>
                <a:gd name="T69" fmla="*/ 15 h 51"/>
                <a:gd name="T70" fmla="*/ 1 w 52"/>
                <a:gd name="T71" fmla="*/ 20 h 51"/>
                <a:gd name="T72" fmla="*/ 0 w 52"/>
                <a:gd name="T73" fmla="*/ 25 h 51"/>
                <a:gd name="T74" fmla="*/ 0 w 52"/>
                <a:gd name="T75"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51">
                  <a:moveTo>
                    <a:pt x="0" y="25"/>
                  </a:moveTo>
                  <a:lnTo>
                    <a:pt x="0" y="25"/>
                  </a:lnTo>
                  <a:lnTo>
                    <a:pt x="1" y="30"/>
                  </a:lnTo>
                  <a:lnTo>
                    <a:pt x="2" y="35"/>
                  </a:lnTo>
                  <a:lnTo>
                    <a:pt x="5" y="40"/>
                  </a:lnTo>
                  <a:lnTo>
                    <a:pt x="7" y="44"/>
                  </a:lnTo>
                  <a:lnTo>
                    <a:pt x="12" y="47"/>
                  </a:lnTo>
                  <a:lnTo>
                    <a:pt x="16" y="50"/>
                  </a:lnTo>
                  <a:lnTo>
                    <a:pt x="21" y="51"/>
                  </a:lnTo>
                  <a:lnTo>
                    <a:pt x="26" y="51"/>
                  </a:lnTo>
                  <a:lnTo>
                    <a:pt x="26" y="51"/>
                  </a:lnTo>
                  <a:lnTo>
                    <a:pt x="32" y="51"/>
                  </a:lnTo>
                  <a:lnTo>
                    <a:pt x="37" y="50"/>
                  </a:lnTo>
                  <a:lnTo>
                    <a:pt x="40" y="47"/>
                  </a:lnTo>
                  <a:lnTo>
                    <a:pt x="45" y="44"/>
                  </a:lnTo>
                  <a:lnTo>
                    <a:pt x="48" y="40"/>
                  </a:lnTo>
                  <a:lnTo>
                    <a:pt x="50" y="35"/>
                  </a:lnTo>
                  <a:lnTo>
                    <a:pt x="51" y="30"/>
                  </a:lnTo>
                  <a:lnTo>
                    <a:pt x="52" y="25"/>
                  </a:lnTo>
                  <a:lnTo>
                    <a:pt x="52" y="25"/>
                  </a:lnTo>
                  <a:lnTo>
                    <a:pt x="51" y="20"/>
                  </a:lnTo>
                  <a:lnTo>
                    <a:pt x="50" y="15"/>
                  </a:lnTo>
                  <a:lnTo>
                    <a:pt x="48" y="11"/>
                  </a:lnTo>
                  <a:lnTo>
                    <a:pt x="45" y="7"/>
                  </a:lnTo>
                  <a:lnTo>
                    <a:pt x="40" y="3"/>
                  </a:lnTo>
                  <a:lnTo>
                    <a:pt x="37" y="1"/>
                  </a:lnTo>
                  <a:lnTo>
                    <a:pt x="32" y="0"/>
                  </a:lnTo>
                  <a:lnTo>
                    <a:pt x="26" y="0"/>
                  </a:lnTo>
                  <a:lnTo>
                    <a:pt x="26" y="0"/>
                  </a:lnTo>
                  <a:lnTo>
                    <a:pt x="21" y="0"/>
                  </a:lnTo>
                  <a:lnTo>
                    <a:pt x="16" y="1"/>
                  </a:lnTo>
                  <a:lnTo>
                    <a:pt x="12" y="3"/>
                  </a:lnTo>
                  <a:lnTo>
                    <a:pt x="7" y="7"/>
                  </a:lnTo>
                  <a:lnTo>
                    <a:pt x="5" y="11"/>
                  </a:lnTo>
                  <a:lnTo>
                    <a:pt x="2" y="15"/>
                  </a:lnTo>
                  <a:lnTo>
                    <a:pt x="1" y="20"/>
                  </a:lnTo>
                  <a:lnTo>
                    <a:pt x="0" y="25"/>
                  </a:lnTo>
                  <a:lnTo>
                    <a:pt x="0" y="25"/>
                  </a:lnTo>
                  <a:close/>
                </a:path>
              </a:pathLst>
            </a:custGeom>
            <a:solidFill>
              <a:srgbClr val="FF4F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7" name="Freeform 594"/>
            <p:cNvSpPr>
              <a:spLocks/>
            </p:cNvSpPr>
            <p:nvPr/>
          </p:nvSpPr>
          <p:spPr bwMode="auto">
            <a:xfrm>
              <a:off x="1897095" y="3168671"/>
              <a:ext cx="87313" cy="100013"/>
            </a:xfrm>
            <a:custGeom>
              <a:avLst/>
              <a:gdLst>
                <a:gd name="T0" fmla="*/ 5 w 272"/>
                <a:gd name="T1" fmla="*/ 2 h 317"/>
                <a:gd name="T2" fmla="*/ 5 w 272"/>
                <a:gd name="T3" fmla="*/ 2 h 317"/>
                <a:gd name="T4" fmla="*/ 2 w 272"/>
                <a:gd name="T5" fmla="*/ 7 h 317"/>
                <a:gd name="T6" fmla="*/ 0 w 272"/>
                <a:gd name="T7" fmla="*/ 12 h 317"/>
                <a:gd name="T8" fmla="*/ 1 w 272"/>
                <a:gd name="T9" fmla="*/ 17 h 317"/>
                <a:gd name="T10" fmla="*/ 4 w 272"/>
                <a:gd name="T11" fmla="*/ 22 h 317"/>
                <a:gd name="T12" fmla="*/ 247 w 272"/>
                <a:gd name="T13" fmla="*/ 312 h 317"/>
                <a:gd name="T14" fmla="*/ 247 w 272"/>
                <a:gd name="T15" fmla="*/ 312 h 317"/>
                <a:gd name="T16" fmla="*/ 252 w 272"/>
                <a:gd name="T17" fmla="*/ 316 h 317"/>
                <a:gd name="T18" fmla="*/ 257 w 272"/>
                <a:gd name="T19" fmla="*/ 317 h 317"/>
                <a:gd name="T20" fmla="*/ 262 w 272"/>
                <a:gd name="T21" fmla="*/ 317 h 317"/>
                <a:gd name="T22" fmla="*/ 267 w 272"/>
                <a:gd name="T23" fmla="*/ 314 h 317"/>
                <a:gd name="T24" fmla="*/ 267 w 272"/>
                <a:gd name="T25" fmla="*/ 314 h 317"/>
                <a:gd name="T26" fmla="*/ 270 w 272"/>
                <a:gd name="T27" fmla="*/ 310 h 317"/>
                <a:gd name="T28" fmla="*/ 272 w 272"/>
                <a:gd name="T29" fmla="*/ 305 h 317"/>
                <a:gd name="T30" fmla="*/ 272 w 272"/>
                <a:gd name="T31" fmla="*/ 300 h 317"/>
                <a:gd name="T32" fmla="*/ 268 w 272"/>
                <a:gd name="T33" fmla="*/ 295 h 317"/>
                <a:gd name="T34" fmla="*/ 24 w 272"/>
                <a:gd name="T35" fmla="*/ 5 h 317"/>
                <a:gd name="T36" fmla="*/ 24 w 272"/>
                <a:gd name="T37" fmla="*/ 5 h 317"/>
                <a:gd name="T38" fmla="*/ 21 w 272"/>
                <a:gd name="T39" fmla="*/ 1 h 317"/>
                <a:gd name="T40" fmla="*/ 16 w 272"/>
                <a:gd name="T41" fmla="*/ 0 h 317"/>
                <a:gd name="T42" fmla="*/ 10 w 272"/>
                <a:gd name="T43" fmla="*/ 0 h 317"/>
                <a:gd name="T44" fmla="*/ 5 w 272"/>
                <a:gd name="T45" fmla="*/ 2 h 317"/>
                <a:gd name="T46" fmla="*/ 5 w 272"/>
                <a:gd name="T47" fmla="*/ 2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2" h="317">
                  <a:moveTo>
                    <a:pt x="5" y="2"/>
                  </a:moveTo>
                  <a:lnTo>
                    <a:pt x="5" y="2"/>
                  </a:lnTo>
                  <a:lnTo>
                    <a:pt x="2" y="7"/>
                  </a:lnTo>
                  <a:lnTo>
                    <a:pt x="0" y="12"/>
                  </a:lnTo>
                  <a:lnTo>
                    <a:pt x="1" y="17"/>
                  </a:lnTo>
                  <a:lnTo>
                    <a:pt x="4" y="22"/>
                  </a:lnTo>
                  <a:lnTo>
                    <a:pt x="247" y="312"/>
                  </a:lnTo>
                  <a:lnTo>
                    <a:pt x="247" y="312"/>
                  </a:lnTo>
                  <a:lnTo>
                    <a:pt x="252" y="316"/>
                  </a:lnTo>
                  <a:lnTo>
                    <a:pt x="257" y="317"/>
                  </a:lnTo>
                  <a:lnTo>
                    <a:pt x="262" y="317"/>
                  </a:lnTo>
                  <a:lnTo>
                    <a:pt x="267" y="314"/>
                  </a:lnTo>
                  <a:lnTo>
                    <a:pt x="267" y="314"/>
                  </a:lnTo>
                  <a:lnTo>
                    <a:pt x="270" y="310"/>
                  </a:lnTo>
                  <a:lnTo>
                    <a:pt x="272" y="305"/>
                  </a:lnTo>
                  <a:lnTo>
                    <a:pt x="272" y="300"/>
                  </a:lnTo>
                  <a:lnTo>
                    <a:pt x="268" y="295"/>
                  </a:lnTo>
                  <a:lnTo>
                    <a:pt x="24" y="5"/>
                  </a:lnTo>
                  <a:lnTo>
                    <a:pt x="24" y="5"/>
                  </a:lnTo>
                  <a:lnTo>
                    <a:pt x="21" y="1"/>
                  </a:lnTo>
                  <a:lnTo>
                    <a:pt x="16" y="0"/>
                  </a:lnTo>
                  <a:lnTo>
                    <a:pt x="10" y="0"/>
                  </a:lnTo>
                  <a:lnTo>
                    <a:pt x="5" y="2"/>
                  </a:lnTo>
                  <a:lnTo>
                    <a:pt x="5" y="2"/>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8" name="Freeform 595"/>
            <p:cNvSpPr>
              <a:spLocks/>
            </p:cNvSpPr>
            <p:nvPr/>
          </p:nvSpPr>
          <p:spPr bwMode="auto">
            <a:xfrm>
              <a:off x="1905032" y="3246459"/>
              <a:ext cx="41275" cy="47625"/>
            </a:xfrm>
            <a:custGeom>
              <a:avLst/>
              <a:gdLst>
                <a:gd name="T0" fmla="*/ 5 w 131"/>
                <a:gd name="T1" fmla="*/ 3 h 150"/>
                <a:gd name="T2" fmla="*/ 5 w 131"/>
                <a:gd name="T3" fmla="*/ 3 h 150"/>
                <a:gd name="T4" fmla="*/ 1 w 131"/>
                <a:gd name="T5" fmla="*/ 8 h 150"/>
                <a:gd name="T6" fmla="*/ 0 w 131"/>
                <a:gd name="T7" fmla="*/ 13 h 150"/>
                <a:gd name="T8" fmla="*/ 1 w 131"/>
                <a:gd name="T9" fmla="*/ 17 h 150"/>
                <a:gd name="T10" fmla="*/ 3 w 131"/>
                <a:gd name="T11" fmla="*/ 22 h 150"/>
                <a:gd name="T12" fmla="*/ 107 w 131"/>
                <a:gd name="T13" fmla="*/ 145 h 150"/>
                <a:gd name="T14" fmla="*/ 107 w 131"/>
                <a:gd name="T15" fmla="*/ 145 h 150"/>
                <a:gd name="T16" fmla="*/ 111 w 131"/>
                <a:gd name="T17" fmla="*/ 149 h 150"/>
                <a:gd name="T18" fmla="*/ 116 w 131"/>
                <a:gd name="T19" fmla="*/ 150 h 150"/>
                <a:gd name="T20" fmla="*/ 122 w 131"/>
                <a:gd name="T21" fmla="*/ 150 h 150"/>
                <a:gd name="T22" fmla="*/ 127 w 131"/>
                <a:gd name="T23" fmla="*/ 148 h 150"/>
                <a:gd name="T24" fmla="*/ 127 w 131"/>
                <a:gd name="T25" fmla="*/ 148 h 150"/>
                <a:gd name="T26" fmla="*/ 129 w 131"/>
                <a:gd name="T27" fmla="*/ 143 h 150"/>
                <a:gd name="T28" fmla="*/ 131 w 131"/>
                <a:gd name="T29" fmla="*/ 138 h 150"/>
                <a:gd name="T30" fmla="*/ 130 w 131"/>
                <a:gd name="T31" fmla="*/ 133 h 150"/>
                <a:gd name="T32" fmla="*/ 128 w 131"/>
                <a:gd name="T33" fmla="*/ 128 h 150"/>
                <a:gd name="T34" fmla="*/ 24 w 131"/>
                <a:gd name="T35" fmla="*/ 5 h 150"/>
                <a:gd name="T36" fmla="*/ 24 w 131"/>
                <a:gd name="T37" fmla="*/ 5 h 150"/>
                <a:gd name="T38" fmla="*/ 21 w 131"/>
                <a:gd name="T39" fmla="*/ 2 h 150"/>
                <a:gd name="T40" fmla="*/ 14 w 131"/>
                <a:gd name="T41" fmla="*/ 0 h 150"/>
                <a:gd name="T42" fmla="*/ 10 w 131"/>
                <a:gd name="T43" fmla="*/ 0 h 150"/>
                <a:gd name="T44" fmla="*/ 5 w 131"/>
                <a:gd name="T45" fmla="*/ 3 h 150"/>
                <a:gd name="T46" fmla="*/ 5 w 131"/>
                <a:gd name="T47" fmla="*/ 3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1" h="150">
                  <a:moveTo>
                    <a:pt x="5" y="3"/>
                  </a:moveTo>
                  <a:lnTo>
                    <a:pt x="5" y="3"/>
                  </a:lnTo>
                  <a:lnTo>
                    <a:pt x="1" y="8"/>
                  </a:lnTo>
                  <a:lnTo>
                    <a:pt x="0" y="13"/>
                  </a:lnTo>
                  <a:lnTo>
                    <a:pt x="1" y="17"/>
                  </a:lnTo>
                  <a:lnTo>
                    <a:pt x="3" y="22"/>
                  </a:lnTo>
                  <a:lnTo>
                    <a:pt x="107" y="145"/>
                  </a:lnTo>
                  <a:lnTo>
                    <a:pt x="107" y="145"/>
                  </a:lnTo>
                  <a:lnTo>
                    <a:pt x="111" y="149"/>
                  </a:lnTo>
                  <a:lnTo>
                    <a:pt x="116" y="150"/>
                  </a:lnTo>
                  <a:lnTo>
                    <a:pt x="122" y="150"/>
                  </a:lnTo>
                  <a:lnTo>
                    <a:pt x="127" y="148"/>
                  </a:lnTo>
                  <a:lnTo>
                    <a:pt x="127" y="148"/>
                  </a:lnTo>
                  <a:lnTo>
                    <a:pt x="129" y="143"/>
                  </a:lnTo>
                  <a:lnTo>
                    <a:pt x="131" y="138"/>
                  </a:lnTo>
                  <a:lnTo>
                    <a:pt x="130" y="133"/>
                  </a:lnTo>
                  <a:lnTo>
                    <a:pt x="128" y="128"/>
                  </a:lnTo>
                  <a:lnTo>
                    <a:pt x="24" y="5"/>
                  </a:lnTo>
                  <a:lnTo>
                    <a:pt x="24" y="5"/>
                  </a:lnTo>
                  <a:lnTo>
                    <a:pt x="21" y="2"/>
                  </a:lnTo>
                  <a:lnTo>
                    <a:pt x="14" y="0"/>
                  </a:lnTo>
                  <a:lnTo>
                    <a:pt x="10" y="0"/>
                  </a:lnTo>
                  <a:lnTo>
                    <a:pt x="5" y="3"/>
                  </a:lnTo>
                  <a:lnTo>
                    <a:pt x="5" y="3"/>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9" name="Freeform 596"/>
            <p:cNvSpPr>
              <a:spLocks/>
            </p:cNvSpPr>
            <p:nvPr/>
          </p:nvSpPr>
          <p:spPr bwMode="auto">
            <a:xfrm>
              <a:off x="1973295" y="3187721"/>
              <a:ext cx="42863" cy="47625"/>
            </a:xfrm>
            <a:custGeom>
              <a:avLst/>
              <a:gdLst>
                <a:gd name="T0" fmla="*/ 5 w 132"/>
                <a:gd name="T1" fmla="*/ 4 h 151"/>
                <a:gd name="T2" fmla="*/ 5 w 132"/>
                <a:gd name="T3" fmla="*/ 4 h 151"/>
                <a:gd name="T4" fmla="*/ 2 w 132"/>
                <a:gd name="T5" fmla="*/ 8 h 151"/>
                <a:gd name="T6" fmla="*/ 0 w 132"/>
                <a:gd name="T7" fmla="*/ 12 h 151"/>
                <a:gd name="T8" fmla="*/ 1 w 132"/>
                <a:gd name="T9" fmla="*/ 19 h 151"/>
                <a:gd name="T10" fmla="*/ 4 w 132"/>
                <a:gd name="T11" fmla="*/ 23 h 151"/>
                <a:gd name="T12" fmla="*/ 107 w 132"/>
                <a:gd name="T13" fmla="*/ 147 h 151"/>
                <a:gd name="T14" fmla="*/ 107 w 132"/>
                <a:gd name="T15" fmla="*/ 147 h 151"/>
                <a:gd name="T16" fmla="*/ 112 w 132"/>
                <a:gd name="T17" fmla="*/ 150 h 151"/>
                <a:gd name="T18" fmla="*/ 117 w 132"/>
                <a:gd name="T19" fmla="*/ 151 h 151"/>
                <a:gd name="T20" fmla="*/ 122 w 132"/>
                <a:gd name="T21" fmla="*/ 150 h 151"/>
                <a:gd name="T22" fmla="*/ 127 w 132"/>
                <a:gd name="T23" fmla="*/ 148 h 151"/>
                <a:gd name="T24" fmla="*/ 127 w 132"/>
                <a:gd name="T25" fmla="*/ 148 h 151"/>
                <a:gd name="T26" fmla="*/ 130 w 132"/>
                <a:gd name="T27" fmla="*/ 144 h 151"/>
                <a:gd name="T28" fmla="*/ 132 w 132"/>
                <a:gd name="T29" fmla="*/ 138 h 151"/>
                <a:gd name="T30" fmla="*/ 130 w 132"/>
                <a:gd name="T31" fmla="*/ 133 h 151"/>
                <a:gd name="T32" fmla="*/ 128 w 132"/>
                <a:gd name="T33" fmla="*/ 128 h 151"/>
                <a:gd name="T34" fmla="*/ 24 w 132"/>
                <a:gd name="T35" fmla="*/ 5 h 151"/>
                <a:gd name="T36" fmla="*/ 24 w 132"/>
                <a:gd name="T37" fmla="*/ 5 h 151"/>
                <a:gd name="T38" fmla="*/ 21 w 132"/>
                <a:gd name="T39" fmla="*/ 2 h 151"/>
                <a:gd name="T40" fmla="*/ 16 w 132"/>
                <a:gd name="T41" fmla="*/ 0 h 151"/>
                <a:gd name="T42" fmla="*/ 10 w 132"/>
                <a:gd name="T43" fmla="*/ 0 h 151"/>
                <a:gd name="T44" fmla="*/ 5 w 132"/>
                <a:gd name="T45" fmla="*/ 4 h 151"/>
                <a:gd name="T46" fmla="*/ 5 w 132"/>
                <a:gd name="T47" fmla="*/ 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51">
                  <a:moveTo>
                    <a:pt x="5" y="4"/>
                  </a:moveTo>
                  <a:lnTo>
                    <a:pt x="5" y="4"/>
                  </a:lnTo>
                  <a:lnTo>
                    <a:pt x="2" y="8"/>
                  </a:lnTo>
                  <a:lnTo>
                    <a:pt x="0" y="12"/>
                  </a:lnTo>
                  <a:lnTo>
                    <a:pt x="1" y="19"/>
                  </a:lnTo>
                  <a:lnTo>
                    <a:pt x="4" y="23"/>
                  </a:lnTo>
                  <a:lnTo>
                    <a:pt x="107" y="147"/>
                  </a:lnTo>
                  <a:lnTo>
                    <a:pt x="107" y="147"/>
                  </a:lnTo>
                  <a:lnTo>
                    <a:pt x="112" y="150"/>
                  </a:lnTo>
                  <a:lnTo>
                    <a:pt x="117" y="151"/>
                  </a:lnTo>
                  <a:lnTo>
                    <a:pt x="122" y="150"/>
                  </a:lnTo>
                  <a:lnTo>
                    <a:pt x="127" y="148"/>
                  </a:lnTo>
                  <a:lnTo>
                    <a:pt x="127" y="148"/>
                  </a:lnTo>
                  <a:lnTo>
                    <a:pt x="130" y="144"/>
                  </a:lnTo>
                  <a:lnTo>
                    <a:pt x="132" y="138"/>
                  </a:lnTo>
                  <a:lnTo>
                    <a:pt x="130" y="133"/>
                  </a:lnTo>
                  <a:lnTo>
                    <a:pt x="128" y="128"/>
                  </a:lnTo>
                  <a:lnTo>
                    <a:pt x="24" y="5"/>
                  </a:lnTo>
                  <a:lnTo>
                    <a:pt x="24" y="5"/>
                  </a:lnTo>
                  <a:lnTo>
                    <a:pt x="21" y="2"/>
                  </a:lnTo>
                  <a:lnTo>
                    <a:pt x="16" y="0"/>
                  </a:lnTo>
                  <a:lnTo>
                    <a:pt x="10" y="0"/>
                  </a:lnTo>
                  <a:lnTo>
                    <a:pt x="5" y="4"/>
                  </a:lnTo>
                  <a:lnTo>
                    <a:pt x="5" y="4"/>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sp>
        <p:nvSpPr>
          <p:cNvPr id="1110" name="텍스트 개체 틀 15"/>
          <p:cNvSpPr>
            <a:spLocks noGrp="1"/>
          </p:cNvSpPr>
          <p:nvPr userDrawn="1">
            <p:ph type="body" sz="quarter" idx="10" hasCustomPrompt="1"/>
          </p:nvPr>
        </p:nvSpPr>
        <p:spPr>
          <a:xfrm>
            <a:off x="642433" y="1910100"/>
            <a:ext cx="7009355" cy="569691"/>
          </a:xfrm>
          <a:prstGeom prst="rect">
            <a:avLst/>
          </a:prstGeom>
        </p:spPr>
        <p:txBody>
          <a:bodyPr lIns="0" tIns="0" rIns="0" bIns="0"/>
          <a:lstStyle>
            <a:lvl1pPr marL="0" indent="0" algn="l">
              <a:buNone/>
              <a:defRPr sz="4267" b="1" baseline="0">
                <a:solidFill>
                  <a:srgbClr val="F59E1D"/>
                </a:solidFill>
                <a:latin typeface="Tahoma" panose="020B0604030504040204" pitchFamily="34" charset="0"/>
                <a:cs typeface="Tahoma" panose="020B0604030504040204" pitchFamily="34" charset="0"/>
              </a:defRPr>
            </a:lvl1pPr>
          </a:lstStyle>
          <a:p>
            <a:pPr lvl="0"/>
            <a:r>
              <a:rPr lang="en-US" altLang="ko-KR"/>
              <a:t>Section Cover Slide2</a:t>
            </a:r>
            <a:endParaRPr lang="ko-KR" altLang="en-US"/>
          </a:p>
        </p:txBody>
      </p:sp>
      <p:sp>
        <p:nvSpPr>
          <p:cNvPr id="1111" name="텍스트 개체 틀 15"/>
          <p:cNvSpPr>
            <a:spLocks noGrp="1"/>
          </p:cNvSpPr>
          <p:nvPr userDrawn="1">
            <p:ph type="body" sz="quarter" idx="11" hasCustomPrompt="1"/>
          </p:nvPr>
        </p:nvSpPr>
        <p:spPr>
          <a:xfrm>
            <a:off x="642434" y="2755312"/>
            <a:ext cx="4841924" cy="387007"/>
          </a:xfrm>
          <a:prstGeom prst="rect">
            <a:avLst/>
          </a:prstGeom>
        </p:spPr>
        <p:txBody>
          <a:bodyPr lIns="0" tIns="0" rIns="0" bIns="0"/>
          <a:lstStyle>
            <a:lvl1pPr marL="0" indent="0" algn="l">
              <a:buNone/>
              <a:defRPr sz="2133" baseline="0">
                <a:solidFill>
                  <a:schemeClr val="bg1"/>
                </a:solidFill>
                <a:latin typeface="Tahoma" panose="020B0604030504040204" pitchFamily="34" charset="0"/>
                <a:cs typeface="Tahoma" panose="020B0604030504040204" pitchFamily="34" charset="0"/>
              </a:defRPr>
            </a:lvl1pPr>
          </a:lstStyle>
          <a:p>
            <a:pPr lvl="0"/>
            <a:r>
              <a:rPr lang="en-US" altLang="ko-KR"/>
              <a:t>Design inspiration For Presentation</a:t>
            </a:r>
            <a:endParaRPr lang="ko-KR" altLang="en-US"/>
          </a:p>
        </p:txBody>
      </p:sp>
      <p:grpSp>
        <p:nvGrpSpPr>
          <p:cNvPr id="1112" name="그룹 1111"/>
          <p:cNvGrpSpPr/>
          <p:nvPr userDrawn="1"/>
        </p:nvGrpSpPr>
        <p:grpSpPr>
          <a:xfrm>
            <a:off x="309699" y="1624472"/>
            <a:ext cx="442085" cy="411361"/>
            <a:chOff x="3459207" y="4846674"/>
            <a:chExt cx="373065" cy="325441"/>
          </a:xfrm>
        </p:grpSpPr>
        <p:sp>
          <p:nvSpPr>
            <p:cNvPr id="1113" name="Freeform 908"/>
            <p:cNvSpPr>
              <a:spLocks/>
            </p:cNvSpPr>
            <p:nvPr/>
          </p:nvSpPr>
          <p:spPr bwMode="auto">
            <a:xfrm>
              <a:off x="3525882" y="5059401"/>
              <a:ext cx="49213" cy="47625"/>
            </a:xfrm>
            <a:custGeom>
              <a:avLst/>
              <a:gdLst>
                <a:gd name="T0" fmla="*/ 79 w 157"/>
                <a:gd name="T1" fmla="*/ 123 h 149"/>
                <a:gd name="T2" fmla="*/ 126 w 157"/>
                <a:gd name="T3" fmla="*/ 149 h 149"/>
                <a:gd name="T4" fmla="*/ 118 w 157"/>
                <a:gd name="T5" fmla="*/ 95 h 149"/>
                <a:gd name="T6" fmla="*/ 157 w 157"/>
                <a:gd name="T7" fmla="*/ 56 h 149"/>
                <a:gd name="T8" fmla="*/ 102 w 157"/>
                <a:gd name="T9" fmla="*/ 49 h 149"/>
                <a:gd name="T10" fmla="*/ 79 w 157"/>
                <a:gd name="T11" fmla="*/ 0 h 149"/>
                <a:gd name="T12" fmla="*/ 54 w 157"/>
                <a:gd name="T13" fmla="*/ 49 h 149"/>
                <a:gd name="T14" fmla="*/ 0 w 157"/>
                <a:gd name="T15" fmla="*/ 56 h 149"/>
                <a:gd name="T16" fmla="*/ 39 w 157"/>
                <a:gd name="T17" fmla="*/ 95 h 149"/>
                <a:gd name="T18" fmla="*/ 30 w 157"/>
                <a:gd name="T19" fmla="*/ 149 h 149"/>
                <a:gd name="T20" fmla="*/ 79 w 157"/>
                <a:gd name="T21" fmla="*/ 12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149">
                  <a:moveTo>
                    <a:pt x="79" y="123"/>
                  </a:moveTo>
                  <a:lnTo>
                    <a:pt x="126" y="149"/>
                  </a:lnTo>
                  <a:lnTo>
                    <a:pt x="118" y="95"/>
                  </a:lnTo>
                  <a:lnTo>
                    <a:pt x="157" y="56"/>
                  </a:lnTo>
                  <a:lnTo>
                    <a:pt x="102" y="49"/>
                  </a:lnTo>
                  <a:lnTo>
                    <a:pt x="79" y="0"/>
                  </a:lnTo>
                  <a:lnTo>
                    <a:pt x="54" y="49"/>
                  </a:lnTo>
                  <a:lnTo>
                    <a:pt x="0" y="56"/>
                  </a:lnTo>
                  <a:lnTo>
                    <a:pt x="39" y="95"/>
                  </a:lnTo>
                  <a:lnTo>
                    <a:pt x="30" y="149"/>
                  </a:lnTo>
                  <a:lnTo>
                    <a:pt x="79" y="12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14" name="Freeform 909"/>
            <p:cNvSpPr>
              <a:spLocks/>
            </p:cNvSpPr>
            <p:nvPr/>
          </p:nvSpPr>
          <p:spPr bwMode="auto">
            <a:xfrm>
              <a:off x="3698921" y="4846674"/>
              <a:ext cx="38100" cy="36513"/>
            </a:xfrm>
            <a:custGeom>
              <a:avLst/>
              <a:gdLst>
                <a:gd name="T0" fmla="*/ 61 w 121"/>
                <a:gd name="T1" fmla="*/ 95 h 114"/>
                <a:gd name="T2" fmla="*/ 98 w 121"/>
                <a:gd name="T3" fmla="*/ 114 h 114"/>
                <a:gd name="T4" fmla="*/ 91 w 121"/>
                <a:gd name="T5" fmla="*/ 73 h 114"/>
                <a:gd name="T6" fmla="*/ 121 w 121"/>
                <a:gd name="T7" fmla="*/ 44 h 114"/>
                <a:gd name="T8" fmla="*/ 80 w 121"/>
                <a:gd name="T9" fmla="*/ 38 h 114"/>
                <a:gd name="T10" fmla="*/ 61 w 121"/>
                <a:gd name="T11" fmla="*/ 0 h 114"/>
                <a:gd name="T12" fmla="*/ 42 w 121"/>
                <a:gd name="T13" fmla="*/ 38 h 114"/>
                <a:gd name="T14" fmla="*/ 0 w 121"/>
                <a:gd name="T15" fmla="*/ 44 h 114"/>
                <a:gd name="T16" fmla="*/ 31 w 121"/>
                <a:gd name="T17" fmla="*/ 73 h 114"/>
                <a:gd name="T18" fmla="*/ 24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1" y="73"/>
                  </a:lnTo>
                  <a:lnTo>
                    <a:pt x="121" y="44"/>
                  </a:lnTo>
                  <a:lnTo>
                    <a:pt x="80" y="38"/>
                  </a:lnTo>
                  <a:lnTo>
                    <a:pt x="61" y="0"/>
                  </a:lnTo>
                  <a:lnTo>
                    <a:pt x="42" y="38"/>
                  </a:lnTo>
                  <a:lnTo>
                    <a:pt x="0" y="44"/>
                  </a:lnTo>
                  <a:lnTo>
                    <a:pt x="31" y="73"/>
                  </a:lnTo>
                  <a:lnTo>
                    <a:pt x="24" y="114"/>
                  </a:lnTo>
                  <a:lnTo>
                    <a:pt x="61" y="95"/>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15" name="Freeform 910"/>
            <p:cNvSpPr>
              <a:spLocks/>
            </p:cNvSpPr>
            <p:nvPr/>
          </p:nvSpPr>
          <p:spPr bwMode="auto">
            <a:xfrm>
              <a:off x="3665583" y="5135602"/>
              <a:ext cx="38100" cy="36513"/>
            </a:xfrm>
            <a:custGeom>
              <a:avLst/>
              <a:gdLst>
                <a:gd name="T0" fmla="*/ 60 w 120"/>
                <a:gd name="T1" fmla="*/ 95 h 114"/>
                <a:gd name="T2" fmla="*/ 98 w 120"/>
                <a:gd name="T3" fmla="*/ 114 h 114"/>
                <a:gd name="T4" fmla="*/ 91 w 120"/>
                <a:gd name="T5" fmla="*/ 73 h 114"/>
                <a:gd name="T6" fmla="*/ 120 w 120"/>
                <a:gd name="T7" fmla="*/ 43 h 114"/>
                <a:gd name="T8" fmla="*/ 78 w 120"/>
                <a:gd name="T9" fmla="*/ 37 h 114"/>
                <a:gd name="T10" fmla="*/ 60 w 120"/>
                <a:gd name="T11" fmla="*/ 0 h 114"/>
                <a:gd name="T12" fmla="*/ 42 w 120"/>
                <a:gd name="T13" fmla="*/ 37 h 114"/>
                <a:gd name="T14" fmla="*/ 0 w 120"/>
                <a:gd name="T15" fmla="*/ 43 h 114"/>
                <a:gd name="T16" fmla="*/ 31 w 120"/>
                <a:gd name="T17" fmla="*/ 73 h 114"/>
                <a:gd name="T18" fmla="*/ 24 w 120"/>
                <a:gd name="T19" fmla="*/ 114 h 114"/>
                <a:gd name="T20" fmla="*/ 60 w 120"/>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 h="114">
                  <a:moveTo>
                    <a:pt x="60" y="95"/>
                  </a:moveTo>
                  <a:lnTo>
                    <a:pt x="98" y="114"/>
                  </a:lnTo>
                  <a:lnTo>
                    <a:pt x="91" y="73"/>
                  </a:lnTo>
                  <a:lnTo>
                    <a:pt x="120" y="43"/>
                  </a:lnTo>
                  <a:lnTo>
                    <a:pt x="78" y="37"/>
                  </a:lnTo>
                  <a:lnTo>
                    <a:pt x="60" y="0"/>
                  </a:lnTo>
                  <a:lnTo>
                    <a:pt x="42" y="37"/>
                  </a:lnTo>
                  <a:lnTo>
                    <a:pt x="0" y="43"/>
                  </a:lnTo>
                  <a:lnTo>
                    <a:pt x="31" y="73"/>
                  </a:lnTo>
                  <a:lnTo>
                    <a:pt x="24" y="114"/>
                  </a:lnTo>
                  <a:lnTo>
                    <a:pt x="60"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16" name="Freeform 911"/>
            <p:cNvSpPr>
              <a:spLocks/>
            </p:cNvSpPr>
            <p:nvPr/>
          </p:nvSpPr>
          <p:spPr bwMode="auto">
            <a:xfrm>
              <a:off x="3459207" y="4980026"/>
              <a:ext cx="38100" cy="36513"/>
            </a:xfrm>
            <a:custGeom>
              <a:avLst/>
              <a:gdLst>
                <a:gd name="T0" fmla="*/ 61 w 121"/>
                <a:gd name="T1" fmla="*/ 95 h 114"/>
                <a:gd name="T2" fmla="*/ 98 w 121"/>
                <a:gd name="T3" fmla="*/ 114 h 114"/>
                <a:gd name="T4" fmla="*/ 90 w 121"/>
                <a:gd name="T5" fmla="*/ 73 h 114"/>
                <a:gd name="T6" fmla="*/ 121 w 121"/>
                <a:gd name="T7" fmla="*/ 44 h 114"/>
                <a:gd name="T8" fmla="*/ 79 w 121"/>
                <a:gd name="T9" fmla="*/ 38 h 114"/>
                <a:gd name="T10" fmla="*/ 61 w 121"/>
                <a:gd name="T11" fmla="*/ 0 h 114"/>
                <a:gd name="T12" fmla="*/ 41 w 121"/>
                <a:gd name="T13" fmla="*/ 38 h 114"/>
                <a:gd name="T14" fmla="*/ 0 w 121"/>
                <a:gd name="T15" fmla="*/ 44 h 114"/>
                <a:gd name="T16" fmla="*/ 31 w 121"/>
                <a:gd name="T17" fmla="*/ 73 h 114"/>
                <a:gd name="T18" fmla="*/ 23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0" y="73"/>
                  </a:lnTo>
                  <a:lnTo>
                    <a:pt x="121" y="44"/>
                  </a:lnTo>
                  <a:lnTo>
                    <a:pt x="79" y="38"/>
                  </a:lnTo>
                  <a:lnTo>
                    <a:pt x="61" y="0"/>
                  </a:lnTo>
                  <a:lnTo>
                    <a:pt x="41" y="38"/>
                  </a:lnTo>
                  <a:lnTo>
                    <a:pt x="0" y="44"/>
                  </a:lnTo>
                  <a:lnTo>
                    <a:pt x="31" y="73"/>
                  </a:lnTo>
                  <a:lnTo>
                    <a:pt x="23" y="114"/>
                  </a:lnTo>
                  <a:lnTo>
                    <a:pt x="61"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17" name="Freeform 912"/>
            <p:cNvSpPr>
              <a:spLocks/>
            </p:cNvSpPr>
            <p:nvPr/>
          </p:nvSpPr>
          <p:spPr bwMode="auto">
            <a:xfrm>
              <a:off x="3575095" y="4935575"/>
              <a:ext cx="128588" cy="127001"/>
            </a:xfrm>
            <a:custGeom>
              <a:avLst/>
              <a:gdLst>
                <a:gd name="T0" fmla="*/ 272 w 401"/>
                <a:gd name="T1" fmla="*/ 130 h 402"/>
                <a:gd name="T2" fmla="*/ 401 w 401"/>
                <a:gd name="T3" fmla="*/ 201 h 402"/>
                <a:gd name="T4" fmla="*/ 272 w 401"/>
                <a:gd name="T5" fmla="*/ 272 h 402"/>
                <a:gd name="T6" fmla="*/ 201 w 401"/>
                <a:gd name="T7" fmla="*/ 402 h 402"/>
                <a:gd name="T8" fmla="*/ 129 w 401"/>
                <a:gd name="T9" fmla="*/ 272 h 402"/>
                <a:gd name="T10" fmla="*/ 0 w 401"/>
                <a:gd name="T11" fmla="*/ 201 h 402"/>
                <a:gd name="T12" fmla="*/ 129 w 401"/>
                <a:gd name="T13" fmla="*/ 130 h 402"/>
                <a:gd name="T14" fmla="*/ 201 w 401"/>
                <a:gd name="T15" fmla="*/ 0 h 402"/>
                <a:gd name="T16" fmla="*/ 272 w 401"/>
                <a:gd name="T17" fmla="*/ 13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1" h="402">
                  <a:moveTo>
                    <a:pt x="272" y="130"/>
                  </a:moveTo>
                  <a:lnTo>
                    <a:pt x="401" y="201"/>
                  </a:lnTo>
                  <a:lnTo>
                    <a:pt x="272" y="272"/>
                  </a:lnTo>
                  <a:lnTo>
                    <a:pt x="201" y="402"/>
                  </a:lnTo>
                  <a:lnTo>
                    <a:pt x="129" y="272"/>
                  </a:lnTo>
                  <a:lnTo>
                    <a:pt x="0" y="201"/>
                  </a:lnTo>
                  <a:lnTo>
                    <a:pt x="129" y="130"/>
                  </a:lnTo>
                  <a:lnTo>
                    <a:pt x="201" y="0"/>
                  </a:lnTo>
                  <a:lnTo>
                    <a:pt x="27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18" name="Freeform 913"/>
            <p:cNvSpPr>
              <a:spLocks/>
            </p:cNvSpPr>
            <p:nvPr/>
          </p:nvSpPr>
          <p:spPr bwMode="auto">
            <a:xfrm>
              <a:off x="3771947" y="4975263"/>
              <a:ext cx="60325" cy="58738"/>
            </a:xfrm>
            <a:custGeom>
              <a:avLst/>
              <a:gdLst>
                <a:gd name="T0" fmla="*/ 126 w 186"/>
                <a:gd name="T1" fmla="*/ 59 h 185"/>
                <a:gd name="T2" fmla="*/ 186 w 186"/>
                <a:gd name="T3" fmla="*/ 92 h 185"/>
                <a:gd name="T4" fmla="*/ 126 w 186"/>
                <a:gd name="T5" fmla="*/ 125 h 185"/>
                <a:gd name="T6" fmla="*/ 93 w 186"/>
                <a:gd name="T7" fmla="*/ 185 h 185"/>
                <a:gd name="T8" fmla="*/ 60 w 186"/>
                <a:gd name="T9" fmla="*/ 125 h 185"/>
                <a:gd name="T10" fmla="*/ 0 w 186"/>
                <a:gd name="T11" fmla="*/ 92 h 185"/>
                <a:gd name="T12" fmla="*/ 60 w 186"/>
                <a:gd name="T13" fmla="*/ 59 h 185"/>
                <a:gd name="T14" fmla="*/ 93 w 186"/>
                <a:gd name="T15" fmla="*/ 0 h 185"/>
                <a:gd name="T16" fmla="*/ 126 w 186"/>
                <a:gd name="T17" fmla="*/ 59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85">
                  <a:moveTo>
                    <a:pt x="126" y="59"/>
                  </a:moveTo>
                  <a:lnTo>
                    <a:pt x="186" y="92"/>
                  </a:lnTo>
                  <a:lnTo>
                    <a:pt x="126" y="125"/>
                  </a:lnTo>
                  <a:lnTo>
                    <a:pt x="93" y="185"/>
                  </a:lnTo>
                  <a:lnTo>
                    <a:pt x="60" y="125"/>
                  </a:lnTo>
                  <a:lnTo>
                    <a:pt x="0" y="92"/>
                  </a:lnTo>
                  <a:lnTo>
                    <a:pt x="60" y="59"/>
                  </a:lnTo>
                  <a:lnTo>
                    <a:pt x="93" y="0"/>
                  </a:lnTo>
                  <a:lnTo>
                    <a:pt x="126" y="59"/>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19" name="Freeform 914"/>
            <p:cNvSpPr>
              <a:spLocks/>
            </p:cNvSpPr>
            <p:nvPr/>
          </p:nvSpPr>
          <p:spPr bwMode="auto">
            <a:xfrm>
              <a:off x="3517945" y="4902237"/>
              <a:ext cx="39688" cy="39688"/>
            </a:xfrm>
            <a:custGeom>
              <a:avLst/>
              <a:gdLst>
                <a:gd name="T0" fmla="*/ 84 w 125"/>
                <a:gd name="T1" fmla="*/ 40 h 124"/>
                <a:gd name="T2" fmla="*/ 125 w 125"/>
                <a:gd name="T3" fmla="*/ 62 h 124"/>
                <a:gd name="T4" fmla="*/ 84 w 125"/>
                <a:gd name="T5" fmla="*/ 84 h 124"/>
                <a:gd name="T6" fmla="*/ 63 w 125"/>
                <a:gd name="T7" fmla="*/ 124 h 124"/>
                <a:gd name="T8" fmla="*/ 41 w 125"/>
                <a:gd name="T9" fmla="*/ 84 h 124"/>
                <a:gd name="T10" fmla="*/ 0 w 125"/>
                <a:gd name="T11" fmla="*/ 62 h 124"/>
                <a:gd name="T12" fmla="*/ 41 w 125"/>
                <a:gd name="T13" fmla="*/ 40 h 124"/>
                <a:gd name="T14" fmla="*/ 63 w 125"/>
                <a:gd name="T15" fmla="*/ 0 h 124"/>
                <a:gd name="T16" fmla="*/ 84 w 125"/>
                <a:gd name="T17" fmla="*/ 4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124">
                  <a:moveTo>
                    <a:pt x="84" y="40"/>
                  </a:moveTo>
                  <a:lnTo>
                    <a:pt x="125" y="62"/>
                  </a:lnTo>
                  <a:lnTo>
                    <a:pt x="84" y="84"/>
                  </a:lnTo>
                  <a:lnTo>
                    <a:pt x="63" y="124"/>
                  </a:lnTo>
                  <a:lnTo>
                    <a:pt x="41" y="84"/>
                  </a:lnTo>
                  <a:lnTo>
                    <a:pt x="0" y="62"/>
                  </a:lnTo>
                  <a:lnTo>
                    <a:pt x="41" y="40"/>
                  </a:lnTo>
                  <a:lnTo>
                    <a:pt x="63" y="0"/>
                  </a:lnTo>
                  <a:lnTo>
                    <a:pt x="84"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0" name="Freeform 915"/>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1" name="Freeform 916"/>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2" name="Freeform 917"/>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3" name="Freeform 918"/>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4" name="Freeform 919"/>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5" name="Freeform 920"/>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6" name="Freeform 921"/>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7" name="Freeform 922"/>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8" name="Freeform 923"/>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9" name="Freeform 924"/>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30" name="Freeform 925"/>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31" name="Freeform 926"/>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spTree>
    <p:extLst>
      <p:ext uri="{BB962C8B-B14F-4D97-AF65-F5344CB8AC3E}">
        <p14:creationId xmlns:p14="http://schemas.microsoft.com/office/powerpoint/2010/main" val="3989746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Ending">
    <p:bg>
      <p:bgPr>
        <a:gradFill>
          <a:gsLst>
            <a:gs pos="0">
              <a:srgbClr val="0F1121"/>
            </a:gs>
            <a:gs pos="100000">
              <a:srgbClr val="0C191A"/>
            </a:gs>
          </a:gsLst>
          <a:lin ang="0" scaled="1"/>
        </a:gradFill>
        <a:effectLst/>
      </p:bgPr>
    </p:bg>
    <p:spTree>
      <p:nvGrpSpPr>
        <p:cNvPr id="1" name=""/>
        <p:cNvGrpSpPr/>
        <p:nvPr/>
      </p:nvGrpSpPr>
      <p:grpSpPr>
        <a:xfrm>
          <a:off x="0" y="0"/>
          <a:ext cx="0" cy="0"/>
          <a:chOff x="0" y="0"/>
          <a:chExt cx="0" cy="0"/>
        </a:xfrm>
      </p:grpSpPr>
      <p:grpSp>
        <p:nvGrpSpPr>
          <p:cNvPr id="549" name="그룹 548"/>
          <p:cNvGrpSpPr/>
          <p:nvPr userDrawn="1"/>
        </p:nvGrpSpPr>
        <p:grpSpPr>
          <a:xfrm>
            <a:off x="1756587" y="639218"/>
            <a:ext cx="8678827" cy="5115591"/>
            <a:chOff x="39184" y="55963"/>
            <a:chExt cx="8868607" cy="4900738"/>
          </a:xfrm>
        </p:grpSpPr>
        <p:sp>
          <p:nvSpPr>
            <p:cNvPr id="550" name="포인트가 4개인 별 549"/>
            <p:cNvSpPr/>
            <p:nvPr/>
          </p:nvSpPr>
          <p:spPr>
            <a:xfrm flipH="1">
              <a:off x="7571448" y="1352982"/>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51" name="포인트가 4개인 별 550"/>
            <p:cNvSpPr/>
            <p:nvPr/>
          </p:nvSpPr>
          <p:spPr>
            <a:xfrm flipH="1">
              <a:off x="7011019" y="4668010"/>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52" name="포인트가 4개인 별 551"/>
            <p:cNvSpPr/>
            <p:nvPr/>
          </p:nvSpPr>
          <p:spPr>
            <a:xfrm flipH="1">
              <a:off x="5137081" y="2412994"/>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53" name="포인트가 4개인 별 552"/>
            <p:cNvSpPr/>
            <p:nvPr/>
          </p:nvSpPr>
          <p:spPr>
            <a:xfrm flipH="1">
              <a:off x="4636237" y="4859267"/>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54" name="포인트가 4개인 별 553"/>
            <p:cNvSpPr/>
            <p:nvPr/>
          </p:nvSpPr>
          <p:spPr>
            <a:xfrm flipH="1">
              <a:off x="1921656" y="1952039"/>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55" name="포인트가 4개인 별 554"/>
            <p:cNvSpPr/>
            <p:nvPr/>
          </p:nvSpPr>
          <p:spPr>
            <a:xfrm flipH="1">
              <a:off x="6774810" y="2771934"/>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56" name="포인트가 4개인 별 555"/>
            <p:cNvSpPr/>
            <p:nvPr/>
          </p:nvSpPr>
          <p:spPr>
            <a:xfrm flipH="1">
              <a:off x="4900872" y="516917"/>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57" name="포인트가 4개인 별 556"/>
            <p:cNvSpPr/>
            <p:nvPr/>
          </p:nvSpPr>
          <p:spPr>
            <a:xfrm flipH="1">
              <a:off x="4400028" y="2963191"/>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58" name="포인트가 4개인 별 557"/>
            <p:cNvSpPr/>
            <p:nvPr/>
          </p:nvSpPr>
          <p:spPr>
            <a:xfrm flipH="1">
              <a:off x="1685446" y="55963"/>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59" name="포인트가 4개인 별 558"/>
            <p:cNvSpPr/>
            <p:nvPr/>
          </p:nvSpPr>
          <p:spPr>
            <a:xfrm flipH="1">
              <a:off x="39184" y="4154105"/>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60" name="포인트가 4개인 별 559"/>
            <p:cNvSpPr/>
            <p:nvPr/>
          </p:nvSpPr>
          <p:spPr>
            <a:xfrm flipH="1">
              <a:off x="2456037" y="4170656"/>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61" name="포인트가 4개인 별 560"/>
            <p:cNvSpPr/>
            <p:nvPr/>
          </p:nvSpPr>
          <p:spPr>
            <a:xfrm flipH="1">
              <a:off x="5328240" y="4517024"/>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62" name="포인트가 4개인 별 561"/>
            <p:cNvSpPr/>
            <p:nvPr/>
          </p:nvSpPr>
          <p:spPr>
            <a:xfrm flipH="1">
              <a:off x="8077855" y="3154448"/>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63" name="포인트가 4개인 별 562"/>
            <p:cNvSpPr/>
            <p:nvPr/>
          </p:nvSpPr>
          <p:spPr>
            <a:xfrm flipH="1">
              <a:off x="311515" y="1809356"/>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64" name="포인트가 4개인 별 563"/>
            <p:cNvSpPr/>
            <p:nvPr/>
          </p:nvSpPr>
          <p:spPr>
            <a:xfrm flipH="1">
              <a:off x="817922" y="3610822"/>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65" name="포인트가 4개인 별 564"/>
            <p:cNvSpPr/>
            <p:nvPr/>
          </p:nvSpPr>
          <p:spPr>
            <a:xfrm flipH="1">
              <a:off x="8275976" y="2266241"/>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66" name="포인트가 4개인 별 565"/>
            <p:cNvSpPr/>
            <p:nvPr/>
          </p:nvSpPr>
          <p:spPr>
            <a:xfrm flipH="1">
              <a:off x="8039766" y="370164"/>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67" name="포인트가 4개인 별 566"/>
            <p:cNvSpPr/>
            <p:nvPr/>
          </p:nvSpPr>
          <p:spPr>
            <a:xfrm flipH="1">
              <a:off x="6393504" y="4468307"/>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68" name="포인트가 4개인 별 567"/>
            <p:cNvSpPr/>
            <p:nvPr/>
          </p:nvSpPr>
          <p:spPr>
            <a:xfrm flipH="1">
              <a:off x="8810357" y="4484858"/>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69" name="포인트가 4개인 별 568"/>
            <p:cNvSpPr/>
            <p:nvPr/>
          </p:nvSpPr>
          <p:spPr>
            <a:xfrm flipH="1">
              <a:off x="6665835" y="2123557"/>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70" name="포인트가 4개인 별 569"/>
            <p:cNvSpPr/>
            <p:nvPr/>
          </p:nvSpPr>
          <p:spPr>
            <a:xfrm flipH="1">
              <a:off x="5869197" y="3542509"/>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71" name="포인트가 4개인 별 570"/>
            <p:cNvSpPr/>
            <p:nvPr/>
          </p:nvSpPr>
          <p:spPr>
            <a:xfrm flipH="1">
              <a:off x="7172242" y="3925023"/>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72" name="포인트가 4개인 별 571"/>
            <p:cNvSpPr/>
            <p:nvPr userDrawn="1"/>
          </p:nvSpPr>
          <p:spPr>
            <a:xfrm rot="18840000" flipH="1">
              <a:off x="1603727" y="1246512"/>
              <a:ext cx="161344" cy="161344"/>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73" name="포인트가 5개인 별 572"/>
            <p:cNvSpPr/>
            <p:nvPr userDrawn="1"/>
          </p:nvSpPr>
          <p:spPr>
            <a:xfrm flipH="1">
              <a:off x="7108453" y="857994"/>
              <a:ext cx="111924" cy="111924"/>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74" name="포인트가 5개인 별 573"/>
            <p:cNvSpPr/>
            <p:nvPr userDrawn="1"/>
          </p:nvSpPr>
          <p:spPr>
            <a:xfrm rot="1740000" flipH="1">
              <a:off x="954169" y="3691391"/>
              <a:ext cx="111924" cy="111924"/>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75" name="포인트가 5개인 별 574"/>
            <p:cNvSpPr/>
            <p:nvPr userDrawn="1"/>
          </p:nvSpPr>
          <p:spPr>
            <a:xfrm flipH="1">
              <a:off x="3635528" y="2245025"/>
              <a:ext cx="111924" cy="111924"/>
            </a:xfrm>
            <a:prstGeom prst="star5">
              <a:avLst>
                <a:gd name="adj" fmla="val 28797"/>
                <a:gd name="hf" fmla="val 105146"/>
                <a:gd name="vf" fmla="val 11055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1" name="포인트가 4개인 별 610"/>
            <p:cNvSpPr/>
            <p:nvPr userDrawn="1"/>
          </p:nvSpPr>
          <p:spPr>
            <a:xfrm flipH="1">
              <a:off x="3948227" y="3960734"/>
              <a:ext cx="161344" cy="161344"/>
            </a:xfrm>
            <a:prstGeom prst="star4">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2" name="포인트가 4개인 별 611"/>
            <p:cNvSpPr/>
            <p:nvPr userDrawn="1"/>
          </p:nvSpPr>
          <p:spPr>
            <a:xfrm flipH="1">
              <a:off x="5966631" y="1360583"/>
              <a:ext cx="161345" cy="161345"/>
            </a:xfrm>
            <a:prstGeom prst="star4">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grpSp>
        <p:nvGrpSpPr>
          <p:cNvPr id="454" name="그룹 453"/>
          <p:cNvGrpSpPr/>
          <p:nvPr userDrawn="1"/>
        </p:nvGrpSpPr>
        <p:grpSpPr>
          <a:xfrm flipH="1">
            <a:off x="5470328" y="1615762"/>
            <a:ext cx="1251344" cy="567016"/>
            <a:chOff x="1950385" y="-2744512"/>
            <a:chExt cx="4405128" cy="1871326"/>
          </a:xfrm>
        </p:grpSpPr>
        <p:grpSp>
          <p:nvGrpSpPr>
            <p:cNvPr id="455" name="그룹 454"/>
            <p:cNvGrpSpPr/>
            <p:nvPr userDrawn="1"/>
          </p:nvGrpSpPr>
          <p:grpSpPr>
            <a:xfrm>
              <a:off x="1950385" y="-2120377"/>
              <a:ext cx="1300742" cy="618078"/>
              <a:chOff x="853903" y="-2215743"/>
              <a:chExt cx="2078040" cy="987429"/>
            </a:xfrm>
          </p:grpSpPr>
          <p:sp>
            <p:nvSpPr>
              <p:cNvPr id="491" name="Freeform 5"/>
              <p:cNvSpPr>
                <a:spLocks/>
              </p:cNvSpPr>
              <p:nvPr userDrawn="1"/>
            </p:nvSpPr>
            <p:spPr bwMode="auto">
              <a:xfrm>
                <a:off x="853903" y="-2215743"/>
                <a:ext cx="2078040" cy="987429"/>
              </a:xfrm>
              <a:custGeom>
                <a:avLst/>
                <a:gdLst>
                  <a:gd name="T0" fmla="*/ 2619 w 2619"/>
                  <a:gd name="T1" fmla="*/ 622 h 1244"/>
                  <a:gd name="T2" fmla="*/ 2616 w 2619"/>
                  <a:gd name="T3" fmla="*/ 686 h 1244"/>
                  <a:gd name="T4" fmla="*/ 2609 w 2619"/>
                  <a:gd name="T5" fmla="*/ 748 h 1244"/>
                  <a:gd name="T6" fmla="*/ 2597 w 2619"/>
                  <a:gd name="T7" fmla="*/ 807 h 1244"/>
                  <a:gd name="T8" fmla="*/ 2579 w 2619"/>
                  <a:gd name="T9" fmla="*/ 864 h 1244"/>
                  <a:gd name="T10" fmla="*/ 2556 w 2619"/>
                  <a:gd name="T11" fmla="*/ 919 h 1244"/>
                  <a:gd name="T12" fmla="*/ 2525 w 2619"/>
                  <a:gd name="T13" fmla="*/ 970 h 1244"/>
                  <a:gd name="T14" fmla="*/ 2486 w 2619"/>
                  <a:gd name="T15" fmla="*/ 1018 h 1244"/>
                  <a:gd name="T16" fmla="*/ 2439 w 2619"/>
                  <a:gd name="T17" fmla="*/ 1062 h 1244"/>
                  <a:gd name="T18" fmla="*/ 2385 w 2619"/>
                  <a:gd name="T19" fmla="*/ 1102 h 1244"/>
                  <a:gd name="T20" fmla="*/ 2320 w 2619"/>
                  <a:gd name="T21" fmla="*/ 1138 h 1244"/>
                  <a:gd name="T22" fmla="*/ 2247 w 2619"/>
                  <a:gd name="T23" fmla="*/ 1169 h 1244"/>
                  <a:gd name="T24" fmla="*/ 2164 w 2619"/>
                  <a:gd name="T25" fmla="*/ 1195 h 1244"/>
                  <a:gd name="T26" fmla="*/ 2070 w 2619"/>
                  <a:gd name="T27" fmla="*/ 1216 h 1244"/>
                  <a:gd name="T28" fmla="*/ 1964 w 2619"/>
                  <a:gd name="T29" fmla="*/ 1232 h 1244"/>
                  <a:gd name="T30" fmla="*/ 1848 w 2619"/>
                  <a:gd name="T31" fmla="*/ 1241 h 1244"/>
                  <a:gd name="T32" fmla="*/ 1718 w 2619"/>
                  <a:gd name="T33" fmla="*/ 1244 h 1244"/>
                  <a:gd name="T34" fmla="*/ 1684 w 2619"/>
                  <a:gd name="T35" fmla="*/ 1244 h 1244"/>
                  <a:gd name="T36" fmla="*/ 1615 w 2619"/>
                  <a:gd name="T37" fmla="*/ 1240 h 1244"/>
                  <a:gd name="T38" fmla="*/ 1545 w 2619"/>
                  <a:gd name="T39" fmla="*/ 1233 h 1244"/>
                  <a:gd name="T40" fmla="*/ 1436 w 2619"/>
                  <a:gd name="T41" fmla="*/ 1217 h 1244"/>
                  <a:gd name="T42" fmla="*/ 1291 w 2619"/>
                  <a:gd name="T43" fmla="*/ 1187 h 1244"/>
                  <a:gd name="T44" fmla="*/ 1144 w 2619"/>
                  <a:gd name="T45" fmla="*/ 1147 h 1244"/>
                  <a:gd name="T46" fmla="*/ 999 w 2619"/>
                  <a:gd name="T47" fmla="*/ 1100 h 1244"/>
                  <a:gd name="T48" fmla="*/ 857 w 2619"/>
                  <a:gd name="T49" fmla="*/ 1047 h 1244"/>
                  <a:gd name="T50" fmla="*/ 719 w 2619"/>
                  <a:gd name="T51" fmla="*/ 992 h 1244"/>
                  <a:gd name="T52" fmla="*/ 588 w 2619"/>
                  <a:gd name="T53" fmla="*/ 933 h 1244"/>
                  <a:gd name="T54" fmla="*/ 466 w 2619"/>
                  <a:gd name="T55" fmla="*/ 875 h 1244"/>
                  <a:gd name="T56" fmla="*/ 253 w 2619"/>
                  <a:gd name="T57" fmla="*/ 767 h 1244"/>
                  <a:gd name="T58" fmla="*/ 96 w 2619"/>
                  <a:gd name="T59" fmla="*/ 680 h 1244"/>
                  <a:gd name="T60" fmla="*/ 0 w 2619"/>
                  <a:gd name="T61" fmla="*/ 622 h 1244"/>
                  <a:gd name="T62" fmla="*/ 44 w 2619"/>
                  <a:gd name="T63" fmla="*/ 596 h 1244"/>
                  <a:gd name="T64" fmla="*/ 166 w 2619"/>
                  <a:gd name="T65" fmla="*/ 526 h 1244"/>
                  <a:gd name="T66" fmla="*/ 353 w 2619"/>
                  <a:gd name="T67" fmla="*/ 426 h 1244"/>
                  <a:gd name="T68" fmla="*/ 525 w 2619"/>
                  <a:gd name="T69" fmla="*/ 340 h 1244"/>
                  <a:gd name="T70" fmla="*/ 652 w 2619"/>
                  <a:gd name="T71" fmla="*/ 282 h 1244"/>
                  <a:gd name="T72" fmla="*/ 787 w 2619"/>
                  <a:gd name="T73" fmla="*/ 225 h 1244"/>
                  <a:gd name="T74" fmla="*/ 928 w 2619"/>
                  <a:gd name="T75" fmla="*/ 170 h 1244"/>
                  <a:gd name="T76" fmla="*/ 1072 w 2619"/>
                  <a:gd name="T77" fmla="*/ 120 h 1244"/>
                  <a:gd name="T78" fmla="*/ 1218 w 2619"/>
                  <a:gd name="T79" fmla="*/ 76 h 1244"/>
                  <a:gd name="T80" fmla="*/ 1364 w 2619"/>
                  <a:gd name="T81" fmla="*/ 42 h 1244"/>
                  <a:gd name="T82" fmla="*/ 1509 w 2619"/>
                  <a:gd name="T83" fmla="*/ 16 h 1244"/>
                  <a:gd name="T84" fmla="*/ 1579 w 2619"/>
                  <a:gd name="T85" fmla="*/ 8 h 1244"/>
                  <a:gd name="T86" fmla="*/ 1649 w 2619"/>
                  <a:gd name="T87" fmla="*/ 3 h 1244"/>
                  <a:gd name="T88" fmla="*/ 1718 w 2619"/>
                  <a:gd name="T89" fmla="*/ 0 h 1244"/>
                  <a:gd name="T90" fmla="*/ 1785 w 2619"/>
                  <a:gd name="T91" fmla="*/ 2 h 1244"/>
                  <a:gd name="T92" fmla="*/ 1907 w 2619"/>
                  <a:gd name="T93" fmla="*/ 8 h 1244"/>
                  <a:gd name="T94" fmla="*/ 2019 w 2619"/>
                  <a:gd name="T95" fmla="*/ 21 h 1244"/>
                  <a:gd name="T96" fmla="*/ 2118 w 2619"/>
                  <a:gd name="T97" fmla="*/ 38 h 1244"/>
                  <a:gd name="T98" fmla="*/ 2206 w 2619"/>
                  <a:gd name="T99" fmla="*/ 62 h 1244"/>
                  <a:gd name="T100" fmla="*/ 2285 w 2619"/>
                  <a:gd name="T101" fmla="*/ 91 h 1244"/>
                  <a:gd name="T102" fmla="*/ 2354 w 2619"/>
                  <a:gd name="T103" fmla="*/ 124 h 1244"/>
                  <a:gd name="T104" fmla="*/ 2413 w 2619"/>
                  <a:gd name="T105" fmla="*/ 162 h 1244"/>
                  <a:gd name="T106" fmla="*/ 2464 w 2619"/>
                  <a:gd name="T107" fmla="*/ 205 h 1244"/>
                  <a:gd name="T108" fmla="*/ 2506 w 2619"/>
                  <a:gd name="T109" fmla="*/ 250 h 1244"/>
                  <a:gd name="T110" fmla="*/ 2540 w 2619"/>
                  <a:gd name="T111" fmla="*/ 300 h 1244"/>
                  <a:gd name="T112" fmla="*/ 2569 w 2619"/>
                  <a:gd name="T113" fmla="*/ 353 h 1244"/>
                  <a:gd name="T114" fmla="*/ 2589 w 2619"/>
                  <a:gd name="T115" fmla="*/ 409 h 1244"/>
                  <a:gd name="T116" fmla="*/ 2604 w 2619"/>
                  <a:gd name="T117" fmla="*/ 467 h 1244"/>
                  <a:gd name="T118" fmla="*/ 2614 w 2619"/>
                  <a:gd name="T119" fmla="*/ 528 h 1244"/>
                  <a:gd name="T120" fmla="*/ 2619 w 2619"/>
                  <a:gd name="T121" fmla="*/ 59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19" h="1244">
                    <a:moveTo>
                      <a:pt x="2619" y="622"/>
                    </a:moveTo>
                    <a:lnTo>
                      <a:pt x="2619" y="622"/>
                    </a:lnTo>
                    <a:lnTo>
                      <a:pt x="2619" y="654"/>
                    </a:lnTo>
                    <a:lnTo>
                      <a:pt x="2616" y="686"/>
                    </a:lnTo>
                    <a:lnTo>
                      <a:pt x="2614" y="717"/>
                    </a:lnTo>
                    <a:lnTo>
                      <a:pt x="2609" y="748"/>
                    </a:lnTo>
                    <a:lnTo>
                      <a:pt x="2604" y="778"/>
                    </a:lnTo>
                    <a:lnTo>
                      <a:pt x="2597" y="807"/>
                    </a:lnTo>
                    <a:lnTo>
                      <a:pt x="2589" y="836"/>
                    </a:lnTo>
                    <a:lnTo>
                      <a:pt x="2579" y="864"/>
                    </a:lnTo>
                    <a:lnTo>
                      <a:pt x="2569" y="892"/>
                    </a:lnTo>
                    <a:lnTo>
                      <a:pt x="2556" y="919"/>
                    </a:lnTo>
                    <a:lnTo>
                      <a:pt x="2540" y="945"/>
                    </a:lnTo>
                    <a:lnTo>
                      <a:pt x="2525" y="970"/>
                    </a:lnTo>
                    <a:lnTo>
                      <a:pt x="2506" y="994"/>
                    </a:lnTo>
                    <a:lnTo>
                      <a:pt x="2486" y="1018"/>
                    </a:lnTo>
                    <a:lnTo>
                      <a:pt x="2464" y="1040"/>
                    </a:lnTo>
                    <a:lnTo>
                      <a:pt x="2439" y="1062"/>
                    </a:lnTo>
                    <a:lnTo>
                      <a:pt x="2413" y="1083"/>
                    </a:lnTo>
                    <a:lnTo>
                      <a:pt x="2385" y="1102"/>
                    </a:lnTo>
                    <a:lnTo>
                      <a:pt x="2354" y="1121"/>
                    </a:lnTo>
                    <a:lnTo>
                      <a:pt x="2320" y="1138"/>
                    </a:lnTo>
                    <a:lnTo>
                      <a:pt x="2285" y="1154"/>
                    </a:lnTo>
                    <a:lnTo>
                      <a:pt x="2247" y="1169"/>
                    </a:lnTo>
                    <a:lnTo>
                      <a:pt x="2206" y="1183"/>
                    </a:lnTo>
                    <a:lnTo>
                      <a:pt x="2164" y="1195"/>
                    </a:lnTo>
                    <a:lnTo>
                      <a:pt x="2118" y="1207"/>
                    </a:lnTo>
                    <a:lnTo>
                      <a:pt x="2070" y="1216"/>
                    </a:lnTo>
                    <a:lnTo>
                      <a:pt x="2019" y="1225"/>
                    </a:lnTo>
                    <a:lnTo>
                      <a:pt x="1964" y="1232"/>
                    </a:lnTo>
                    <a:lnTo>
                      <a:pt x="1907" y="1236"/>
                    </a:lnTo>
                    <a:lnTo>
                      <a:pt x="1848" y="1241"/>
                    </a:lnTo>
                    <a:lnTo>
                      <a:pt x="1785" y="1244"/>
                    </a:lnTo>
                    <a:lnTo>
                      <a:pt x="1718" y="1244"/>
                    </a:lnTo>
                    <a:lnTo>
                      <a:pt x="1718" y="1244"/>
                    </a:lnTo>
                    <a:lnTo>
                      <a:pt x="1684" y="1244"/>
                    </a:lnTo>
                    <a:lnTo>
                      <a:pt x="1649" y="1242"/>
                    </a:lnTo>
                    <a:lnTo>
                      <a:pt x="1615" y="1240"/>
                    </a:lnTo>
                    <a:lnTo>
                      <a:pt x="1579" y="1238"/>
                    </a:lnTo>
                    <a:lnTo>
                      <a:pt x="1545" y="1233"/>
                    </a:lnTo>
                    <a:lnTo>
                      <a:pt x="1509" y="1229"/>
                    </a:lnTo>
                    <a:lnTo>
                      <a:pt x="1436" y="1217"/>
                    </a:lnTo>
                    <a:lnTo>
                      <a:pt x="1364" y="1203"/>
                    </a:lnTo>
                    <a:lnTo>
                      <a:pt x="1291" y="1187"/>
                    </a:lnTo>
                    <a:lnTo>
                      <a:pt x="1218" y="1168"/>
                    </a:lnTo>
                    <a:lnTo>
                      <a:pt x="1144" y="1147"/>
                    </a:lnTo>
                    <a:lnTo>
                      <a:pt x="1072" y="1125"/>
                    </a:lnTo>
                    <a:lnTo>
                      <a:pt x="999" y="1100"/>
                    </a:lnTo>
                    <a:lnTo>
                      <a:pt x="928" y="1075"/>
                    </a:lnTo>
                    <a:lnTo>
                      <a:pt x="857" y="1047"/>
                    </a:lnTo>
                    <a:lnTo>
                      <a:pt x="787" y="1020"/>
                    </a:lnTo>
                    <a:lnTo>
                      <a:pt x="719" y="992"/>
                    </a:lnTo>
                    <a:lnTo>
                      <a:pt x="652" y="962"/>
                    </a:lnTo>
                    <a:lnTo>
                      <a:pt x="588" y="933"/>
                    </a:lnTo>
                    <a:lnTo>
                      <a:pt x="525" y="904"/>
                    </a:lnTo>
                    <a:lnTo>
                      <a:pt x="466" y="875"/>
                    </a:lnTo>
                    <a:lnTo>
                      <a:pt x="353" y="819"/>
                    </a:lnTo>
                    <a:lnTo>
                      <a:pt x="253" y="767"/>
                    </a:lnTo>
                    <a:lnTo>
                      <a:pt x="166" y="719"/>
                    </a:lnTo>
                    <a:lnTo>
                      <a:pt x="96" y="680"/>
                    </a:lnTo>
                    <a:lnTo>
                      <a:pt x="44" y="649"/>
                    </a:lnTo>
                    <a:lnTo>
                      <a:pt x="0" y="622"/>
                    </a:lnTo>
                    <a:lnTo>
                      <a:pt x="0" y="622"/>
                    </a:lnTo>
                    <a:lnTo>
                      <a:pt x="44" y="596"/>
                    </a:lnTo>
                    <a:lnTo>
                      <a:pt x="96" y="565"/>
                    </a:lnTo>
                    <a:lnTo>
                      <a:pt x="166" y="526"/>
                    </a:lnTo>
                    <a:lnTo>
                      <a:pt x="253" y="478"/>
                    </a:lnTo>
                    <a:lnTo>
                      <a:pt x="353" y="426"/>
                    </a:lnTo>
                    <a:lnTo>
                      <a:pt x="466" y="370"/>
                    </a:lnTo>
                    <a:lnTo>
                      <a:pt x="525" y="340"/>
                    </a:lnTo>
                    <a:lnTo>
                      <a:pt x="588" y="312"/>
                    </a:lnTo>
                    <a:lnTo>
                      <a:pt x="652" y="282"/>
                    </a:lnTo>
                    <a:lnTo>
                      <a:pt x="719" y="254"/>
                    </a:lnTo>
                    <a:lnTo>
                      <a:pt x="787" y="225"/>
                    </a:lnTo>
                    <a:lnTo>
                      <a:pt x="857" y="198"/>
                    </a:lnTo>
                    <a:lnTo>
                      <a:pt x="928" y="170"/>
                    </a:lnTo>
                    <a:lnTo>
                      <a:pt x="999" y="145"/>
                    </a:lnTo>
                    <a:lnTo>
                      <a:pt x="1072" y="120"/>
                    </a:lnTo>
                    <a:lnTo>
                      <a:pt x="1144" y="98"/>
                    </a:lnTo>
                    <a:lnTo>
                      <a:pt x="1218" y="76"/>
                    </a:lnTo>
                    <a:lnTo>
                      <a:pt x="1291" y="59"/>
                    </a:lnTo>
                    <a:lnTo>
                      <a:pt x="1364" y="42"/>
                    </a:lnTo>
                    <a:lnTo>
                      <a:pt x="1436" y="28"/>
                    </a:lnTo>
                    <a:lnTo>
                      <a:pt x="1509" y="16"/>
                    </a:lnTo>
                    <a:lnTo>
                      <a:pt x="1545" y="11"/>
                    </a:lnTo>
                    <a:lnTo>
                      <a:pt x="1579" y="8"/>
                    </a:lnTo>
                    <a:lnTo>
                      <a:pt x="1615" y="5"/>
                    </a:lnTo>
                    <a:lnTo>
                      <a:pt x="1649" y="3"/>
                    </a:lnTo>
                    <a:lnTo>
                      <a:pt x="1684" y="2"/>
                    </a:lnTo>
                    <a:lnTo>
                      <a:pt x="1718" y="0"/>
                    </a:lnTo>
                    <a:lnTo>
                      <a:pt x="1718" y="0"/>
                    </a:lnTo>
                    <a:lnTo>
                      <a:pt x="1785" y="2"/>
                    </a:lnTo>
                    <a:lnTo>
                      <a:pt x="1848" y="4"/>
                    </a:lnTo>
                    <a:lnTo>
                      <a:pt x="1907" y="8"/>
                    </a:lnTo>
                    <a:lnTo>
                      <a:pt x="1964" y="13"/>
                    </a:lnTo>
                    <a:lnTo>
                      <a:pt x="2019" y="21"/>
                    </a:lnTo>
                    <a:lnTo>
                      <a:pt x="2070" y="29"/>
                    </a:lnTo>
                    <a:lnTo>
                      <a:pt x="2118" y="38"/>
                    </a:lnTo>
                    <a:lnTo>
                      <a:pt x="2164" y="49"/>
                    </a:lnTo>
                    <a:lnTo>
                      <a:pt x="2206" y="62"/>
                    </a:lnTo>
                    <a:lnTo>
                      <a:pt x="2247" y="75"/>
                    </a:lnTo>
                    <a:lnTo>
                      <a:pt x="2285" y="91"/>
                    </a:lnTo>
                    <a:lnTo>
                      <a:pt x="2320" y="107"/>
                    </a:lnTo>
                    <a:lnTo>
                      <a:pt x="2354" y="124"/>
                    </a:lnTo>
                    <a:lnTo>
                      <a:pt x="2385" y="143"/>
                    </a:lnTo>
                    <a:lnTo>
                      <a:pt x="2413" y="162"/>
                    </a:lnTo>
                    <a:lnTo>
                      <a:pt x="2439" y="183"/>
                    </a:lnTo>
                    <a:lnTo>
                      <a:pt x="2464" y="205"/>
                    </a:lnTo>
                    <a:lnTo>
                      <a:pt x="2486" y="227"/>
                    </a:lnTo>
                    <a:lnTo>
                      <a:pt x="2506" y="250"/>
                    </a:lnTo>
                    <a:lnTo>
                      <a:pt x="2525" y="275"/>
                    </a:lnTo>
                    <a:lnTo>
                      <a:pt x="2540" y="300"/>
                    </a:lnTo>
                    <a:lnTo>
                      <a:pt x="2556" y="326"/>
                    </a:lnTo>
                    <a:lnTo>
                      <a:pt x="2569" y="353"/>
                    </a:lnTo>
                    <a:lnTo>
                      <a:pt x="2579" y="381"/>
                    </a:lnTo>
                    <a:lnTo>
                      <a:pt x="2589" y="409"/>
                    </a:lnTo>
                    <a:lnTo>
                      <a:pt x="2597" y="438"/>
                    </a:lnTo>
                    <a:lnTo>
                      <a:pt x="2604" y="467"/>
                    </a:lnTo>
                    <a:lnTo>
                      <a:pt x="2609" y="497"/>
                    </a:lnTo>
                    <a:lnTo>
                      <a:pt x="2614" y="528"/>
                    </a:lnTo>
                    <a:lnTo>
                      <a:pt x="2616" y="559"/>
                    </a:lnTo>
                    <a:lnTo>
                      <a:pt x="2619" y="590"/>
                    </a:lnTo>
                    <a:lnTo>
                      <a:pt x="2619" y="622"/>
                    </a:lnTo>
                    <a:close/>
                  </a:path>
                </a:pathLst>
              </a:custGeom>
              <a:solidFill>
                <a:srgbClr val="F477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92" name="Freeform 6"/>
              <p:cNvSpPr>
                <a:spLocks/>
              </p:cNvSpPr>
              <p:nvPr userDrawn="1"/>
            </p:nvSpPr>
            <p:spPr bwMode="auto">
              <a:xfrm>
                <a:off x="853903" y="-2215743"/>
                <a:ext cx="2078040" cy="987429"/>
              </a:xfrm>
              <a:custGeom>
                <a:avLst/>
                <a:gdLst>
                  <a:gd name="T0" fmla="*/ 2619 w 2619"/>
                  <a:gd name="T1" fmla="*/ 622 h 1244"/>
                  <a:gd name="T2" fmla="*/ 2616 w 2619"/>
                  <a:gd name="T3" fmla="*/ 686 h 1244"/>
                  <a:gd name="T4" fmla="*/ 2609 w 2619"/>
                  <a:gd name="T5" fmla="*/ 748 h 1244"/>
                  <a:gd name="T6" fmla="*/ 2597 w 2619"/>
                  <a:gd name="T7" fmla="*/ 807 h 1244"/>
                  <a:gd name="T8" fmla="*/ 2579 w 2619"/>
                  <a:gd name="T9" fmla="*/ 864 h 1244"/>
                  <a:gd name="T10" fmla="*/ 2556 w 2619"/>
                  <a:gd name="T11" fmla="*/ 919 h 1244"/>
                  <a:gd name="T12" fmla="*/ 2525 w 2619"/>
                  <a:gd name="T13" fmla="*/ 970 h 1244"/>
                  <a:gd name="T14" fmla="*/ 2486 w 2619"/>
                  <a:gd name="T15" fmla="*/ 1018 h 1244"/>
                  <a:gd name="T16" fmla="*/ 2439 w 2619"/>
                  <a:gd name="T17" fmla="*/ 1062 h 1244"/>
                  <a:gd name="T18" fmla="*/ 2385 w 2619"/>
                  <a:gd name="T19" fmla="*/ 1102 h 1244"/>
                  <a:gd name="T20" fmla="*/ 2320 w 2619"/>
                  <a:gd name="T21" fmla="*/ 1138 h 1244"/>
                  <a:gd name="T22" fmla="*/ 2247 w 2619"/>
                  <a:gd name="T23" fmla="*/ 1169 h 1244"/>
                  <a:gd name="T24" fmla="*/ 2164 w 2619"/>
                  <a:gd name="T25" fmla="*/ 1195 h 1244"/>
                  <a:gd name="T26" fmla="*/ 2070 w 2619"/>
                  <a:gd name="T27" fmla="*/ 1216 h 1244"/>
                  <a:gd name="T28" fmla="*/ 1964 w 2619"/>
                  <a:gd name="T29" fmla="*/ 1232 h 1244"/>
                  <a:gd name="T30" fmla="*/ 1848 w 2619"/>
                  <a:gd name="T31" fmla="*/ 1241 h 1244"/>
                  <a:gd name="T32" fmla="*/ 1718 w 2619"/>
                  <a:gd name="T33" fmla="*/ 1244 h 1244"/>
                  <a:gd name="T34" fmla="*/ 1684 w 2619"/>
                  <a:gd name="T35" fmla="*/ 1244 h 1244"/>
                  <a:gd name="T36" fmla="*/ 1615 w 2619"/>
                  <a:gd name="T37" fmla="*/ 1240 h 1244"/>
                  <a:gd name="T38" fmla="*/ 1545 w 2619"/>
                  <a:gd name="T39" fmla="*/ 1233 h 1244"/>
                  <a:gd name="T40" fmla="*/ 1436 w 2619"/>
                  <a:gd name="T41" fmla="*/ 1217 h 1244"/>
                  <a:gd name="T42" fmla="*/ 1291 w 2619"/>
                  <a:gd name="T43" fmla="*/ 1187 h 1244"/>
                  <a:gd name="T44" fmla="*/ 1144 w 2619"/>
                  <a:gd name="T45" fmla="*/ 1147 h 1244"/>
                  <a:gd name="T46" fmla="*/ 999 w 2619"/>
                  <a:gd name="T47" fmla="*/ 1100 h 1244"/>
                  <a:gd name="T48" fmla="*/ 857 w 2619"/>
                  <a:gd name="T49" fmla="*/ 1047 h 1244"/>
                  <a:gd name="T50" fmla="*/ 719 w 2619"/>
                  <a:gd name="T51" fmla="*/ 992 h 1244"/>
                  <a:gd name="T52" fmla="*/ 588 w 2619"/>
                  <a:gd name="T53" fmla="*/ 933 h 1244"/>
                  <a:gd name="T54" fmla="*/ 466 w 2619"/>
                  <a:gd name="T55" fmla="*/ 875 h 1244"/>
                  <a:gd name="T56" fmla="*/ 253 w 2619"/>
                  <a:gd name="T57" fmla="*/ 767 h 1244"/>
                  <a:gd name="T58" fmla="*/ 96 w 2619"/>
                  <a:gd name="T59" fmla="*/ 680 h 1244"/>
                  <a:gd name="T60" fmla="*/ 0 w 2619"/>
                  <a:gd name="T61" fmla="*/ 622 h 1244"/>
                  <a:gd name="T62" fmla="*/ 44 w 2619"/>
                  <a:gd name="T63" fmla="*/ 596 h 1244"/>
                  <a:gd name="T64" fmla="*/ 166 w 2619"/>
                  <a:gd name="T65" fmla="*/ 526 h 1244"/>
                  <a:gd name="T66" fmla="*/ 353 w 2619"/>
                  <a:gd name="T67" fmla="*/ 426 h 1244"/>
                  <a:gd name="T68" fmla="*/ 525 w 2619"/>
                  <a:gd name="T69" fmla="*/ 340 h 1244"/>
                  <a:gd name="T70" fmla="*/ 652 w 2619"/>
                  <a:gd name="T71" fmla="*/ 282 h 1244"/>
                  <a:gd name="T72" fmla="*/ 787 w 2619"/>
                  <a:gd name="T73" fmla="*/ 225 h 1244"/>
                  <a:gd name="T74" fmla="*/ 928 w 2619"/>
                  <a:gd name="T75" fmla="*/ 170 h 1244"/>
                  <a:gd name="T76" fmla="*/ 1072 w 2619"/>
                  <a:gd name="T77" fmla="*/ 120 h 1244"/>
                  <a:gd name="T78" fmla="*/ 1218 w 2619"/>
                  <a:gd name="T79" fmla="*/ 76 h 1244"/>
                  <a:gd name="T80" fmla="*/ 1364 w 2619"/>
                  <a:gd name="T81" fmla="*/ 42 h 1244"/>
                  <a:gd name="T82" fmla="*/ 1509 w 2619"/>
                  <a:gd name="T83" fmla="*/ 16 h 1244"/>
                  <a:gd name="T84" fmla="*/ 1579 w 2619"/>
                  <a:gd name="T85" fmla="*/ 8 h 1244"/>
                  <a:gd name="T86" fmla="*/ 1649 w 2619"/>
                  <a:gd name="T87" fmla="*/ 3 h 1244"/>
                  <a:gd name="T88" fmla="*/ 1718 w 2619"/>
                  <a:gd name="T89" fmla="*/ 0 h 1244"/>
                  <a:gd name="T90" fmla="*/ 1785 w 2619"/>
                  <a:gd name="T91" fmla="*/ 2 h 1244"/>
                  <a:gd name="T92" fmla="*/ 1907 w 2619"/>
                  <a:gd name="T93" fmla="*/ 8 h 1244"/>
                  <a:gd name="T94" fmla="*/ 2019 w 2619"/>
                  <a:gd name="T95" fmla="*/ 21 h 1244"/>
                  <a:gd name="T96" fmla="*/ 2118 w 2619"/>
                  <a:gd name="T97" fmla="*/ 38 h 1244"/>
                  <a:gd name="T98" fmla="*/ 2206 w 2619"/>
                  <a:gd name="T99" fmla="*/ 62 h 1244"/>
                  <a:gd name="T100" fmla="*/ 2285 w 2619"/>
                  <a:gd name="T101" fmla="*/ 91 h 1244"/>
                  <a:gd name="T102" fmla="*/ 2354 w 2619"/>
                  <a:gd name="T103" fmla="*/ 124 h 1244"/>
                  <a:gd name="T104" fmla="*/ 2413 w 2619"/>
                  <a:gd name="T105" fmla="*/ 162 h 1244"/>
                  <a:gd name="T106" fmla="*/ 2464 w 2619"/>
                  <a:gd name="T107" fmla="*/ 205 h 1244"/>
                  <a:gd name="T108" fmla="*/ 2506 w 2619"/>
                  <a:gd name="T109" fmla="*/ 250 h 1244"/>
                  <a:gd name="T110" fmla="*/ 2540 w 2619"/>
                  <a:gd name="T111" fmla="*/ 300 h 1244"/>
                  <a:gd name="T112" fmla="*/ 2569 w 2619"/>
                  <a:gd name="T113" fmla="*/ 353 h 1244"/>
                  <a:gd name="T114" fmla="*/ 2589 w 2619"/>
                  <a:gd name="T115" fmla="*/ 409 h 1244"/>
                  <a:gd name="T116" fmla="*/ 2604 w 2619"/>
                  <a:gd name="T117" fmla="*/ 467 h 1244"/>
                  <a:gd name="T118" fmla="*/ 2614 w 2619"/>
                  <a:gd name="T119" fmla="*/ 528 h 1244"/>
                  <a:gd name="T120" fmla="*/ 2619 w 2619"/>
                  <a:gd name="T121" fmla="*/ 59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19" h="1244">
                    <a:moveTo>
                      <a:pt x="2619" y="622"/>
                    </a:moveTo>
                    <a:lnTo>
                      <a:pt x="2619" y="622"/>
                    </a:lnTo>
                    <a:lnTo>
                      <a:pt x="2619" y="654"/>
                    </a:lnTo>
                    <a:lnTo>
                      <a:pt x="2616" y="686"/>
                    </a:lnTo>
                    <a:lnTo>
                      <a:pt x="2614" y="717"/>
                    </a:lnTo>
                    <a:lnTo>
                      <a:pt x="2609" y="748"/>
                    </a:lnTo>
                    <a:lnTo>
                      <a:pt x="2604" y="778"/>
                    </a:lnTo>
                    <a:lnTo>
                      <a:pt x="2597" y="807"/>
                    </a:lnTo>
                    <a:lnTo>
                      <a:pt x="2589" y="836"/>
                    </a:lnTo>
                    <a:lnTo>
                      <a:pt x="2579" y="864"/>
                    </a:lnTo>
                    <a:lnTo>
                      <a:pt x="2569" y="892"/>
                    </a:lnTo>
                    <a:lnTo>
                      <a:pt x="2556" y="919"/>
                    </a:lnTo>
                    <a:lnTo>
                      <a:pt x="2540" y="945"/>
                    </a:lnTo>
                    <a:lnTo>
                      <a:pt x="2525" y="970"/>
                    </a:lnTo>
                    <a:lnTo>
                      <a:pt x="2506" y="994"/>
                    </a:lnTo>
                    <a:lnTo>
                      <a:pt x="2486" y="1018"/>
                    </a:lnTo>
                    <a:lnTo>
                      <a:pt x="2464" y="1040"/>
                    </a:lnTo>
                    <a:lnTo>
                      <a:pt x="2439" y="1062"/>
                    </a:lnTo>
                    <a:lnTo>
                      <a:pt x="2413" y="1083"/>
                    </a:lnTo>
                    <a:lnTo>
                      <a:pt x="2385" y="1102"/>
                    </a:lnTo>
                    <a:lnTo>
                      <a:pt x="2354" y="1121"/>
                    </a:lnTo>
                    <a:lnTo>
                      <a:pt x="2320" y="1138"/>
                    </a:lnTo>
                    <a:lnTo>
                      <a:pt x="2285" y="1154"/>
                    </a:lnTo>
                    <a:lnTo>
                      <a:pt x="2247" y="1169"/>
                    </a:lnTo>
                    <a:lnTo>
                      <a:pt x="2206" y="1183"/>
                    </a:lnTo>
                    <a:lnTo>
                      <a:pt x="2164" y="1195"/>
                    </a:lnTo>
                    <a:lnTo>
                      <a:pt x="2118" y="1207"/>
                    </a:lnTo>
                    <a:lnTo>
                      <a:pt x="2070" y="1216"/>
                    </a:lnTo>
                    <a:lnTo>
                      <a:pt x="2019" y="1225"/>
                    </a:lnTo>
                    <a:lnTo>
                      <a:pt x="1964" y="1232"/>
                    </a:lnTo>
                    <a:lnTo>
                      <a:pt x="1907" y="1236"/>
                    </a:lnTo>
                    <a:lnTo>
                      <a:pt x="1848" y="1241"/>
                    </a:lnTo>
                    <a:lnTo>
                      <a:pt x="1785" y="1244"/>
                    </a:lnTo>
                    <a:lnTo>
                      <a:pt x="1718" y="1244"/>
                    </a:lnTo>
                    <a:lnTo>
                      <a:pt x="1718" y="1244"/>
                    </a:lnTo>
                    <a:lnTo>
                      <a:pt x="1684" y="1244"/>
                    </a:lnTo>
                    <a:lnTo>
                      <a:pt x="1649" y="1242"/>
                    </a:lnTo>
                    <a:lnTo>
                      <a:pt x="1615" y="1240"/>
                    </a:lnTo>
                    <a:lnTo>
                      <a:pt x="1579" y="1238"/>
                    </a:lnTo>
                    <a:lnTo>
                      <a:pt x="1545" y="1233"/>
                    </a:lnTo>
                    <a:lnTo>
                      <a:pt x="1509" y="1229"/>
                    </a:lnTo>
                    <a:lnTo>
                      <a:pt x="1436" y="1217"/>
                    </a:lnTo>
                    <a:lnTo>
                      <a:pt x="1364" y="1203"/>
                    </a:lnTo>
                    <a:lnTo>
                      <a:pt x="1291" y="1187"/>
                    </a:lnTo>
                    <a:lnTo>
                      <a:pt x="1218" y="1168"/>
                    </a:lnTo>
                    <a:lnTo>
                      <a:pt x="1144" y="1147"/>
                    </a:lnTo>
                    <a:lnTo>
                      <a:pt x="1072" y="1125"/>
                    </a:lnTo>
                    <a:lnTo>
                      <a:pt x="999" y="1100"/>
                    </a:lnTo>
                    <a:lnTo>
                      <a:pt x="928" y="1075"/>
                    </a:lnTo>
                    <a:lnTo>
                      <a:pt x="857" y="1047"/>
                    </a:lnTo>
                    <a:lnTo>
                      <a:pt x="787" y="1020"/>
                    </a:lnTo>
                    <a:lnTo>
                      <a:pt x="719" y="992"/>
                    </a:lnTo>
                    <a:lnTo>
                      <a:pt x="652" y="962"/>
                    </a:lnTo>
                    <a:lnTo>
                      <a:pt x="588" y="933"/>
                    </a:lnTo>
                    <a:lnTo>
                      <a:pt x="525" y="904"/>
                    </a:lnTo>
                    <a:lnTo>
                      <a:pt x="466" y="875"/>
                    </a:lnTo>
                    <a:lnTo>
                      <a:pt x="353" y="819"/>
                    </a:lnTo>
                    <a:lnTo>
                      <a:pt x="253" y="767"/>
                    </a:lnTo>
                    <a:lnTo>
                      <a:pt x="166" y="719"/>
                    </a:lnTo>
                    <a:lnTo>
                      <a:pt x="96" y="680"/>
                    </a:lnTo>
                    <a:lnTo>
                      <a:pt x="44" y="649"/>
                    </a:lnTo>
                    <a:lnTo>
                      <a:pt x="0" y="622"/>
                    </a:lnTo>
                    <a:lnTo>
                      <a:pt x="0" y="622"/>
                    </a:lnTo>
                    <a:lnTo>
                      <a:pt x="44" y="596"/>
                    </a:lnTo>
                    <a:lnTo>
                      <a:pt x="96" y="565"/>
                    </a:lnTo>
                    <a:lnTo>
                      <a:pt x="166" y="526"/>
                    </a:lnTo>
                    <a:lnTo>
                      <a:pt x="253" y="478"/>
                    </a:lnTo>
                    <a:lnTo>
                      <a:pt x="353" y="426"/>
                    </a:lnTo>
                    <a:lnTo>
                      <a:pt x="466" y="370"/>
                    </a:lnTo>
                    <a:lnTo>
                      <a:pt x="525" y="340"/>
                    </a:lnTo>
                    <a:lnTo>
                      <a:pt x="588" y="312"/>
                    </a:lnTo>
                    <a:lnTo>
                      <a:pt x="652" y="282"/>
                    </a:lnTo>
                    <a:lnTo>
                      <a:pt x="719" y="254"/>
                    </a:lnTo>
                    <a:lnTo>
                      <a:pt x="787" y="225"/>
                    </a:lnTo>
                    <a:lnTo>
                      <a:pt x="857" y="198"/>
                    </a:lnTo>
                    <a:lnTo>
                      <a:pt x="928" y="170"/>
                    </a:lnTo>
                    <a:lnTo>
                      <a:pt x="999" y="145"/>
                    </a:lnTo>
                    <a:lnTo>
                      <a:pt x="1072" y="120"/>
                    </a:lnTo>
                    <a:lnTo>
                      <a:pt x="1144" y="98"/>
                    </a:lnTo>
                    <a:lnTo>
                      <a:pt x="1218" y="76"/>
                    </a:lnTo>
                    <a:lnTo>
                      <a:pt x="1291" y="59"/>
                    </a:lnTo>
                    <a:lnTo>
                      <a:pt x="1364" y="42"/>
                    </a:lnTo>
                    <a:lnTo>
                      <a:pt x="1436" y="28"/>
                    </a:lnTo>
                    <a:lnTo>
                      <a:pt x="1509" y="16"/>
                    </a:lnTo>
                    <a:lnTo>
                      <a:pt x="1545" y="11"/>
                    </a:lnTo>
                    <a:lnTo>
                      <a:pt x="1579" y="8"/>
                    </a:lnTo>
                    <a:lnTo>
                      <a:pt x="1615" y="5"/>
                    </a:lnTo>
                    <a:lnTo>
                      <a:pt x="1649" y="3"/>
                    </a:lnTo>
                    <a:lnTo>
                      <a:pt x="1684" y="2"/>
                    </a:lnTo>
                    <a:lnTo>
                      <a:pt x="1718" y="0"/>
                    </a:lnTo>
                    <a:lnTo>
                      <a:pt x="1718" y="0"/>
                    </a:lnTo>
                    <a:lnTo>
                      <a:pt x="1785" y="2"/>
                    </a:lnTo>
                    <a:lnTo>
                      <a:pt x="1848" y="4"/>
                    </a:lnTo>
                    <a:lnTo>
                      <a:pt x="1907" y="8"/>
                    </a:lnTo>
                    <a:lnTo>
                      <a:pt x="1964" y="13"/>
                    </a:lnTo>
                    <a:lnTo>
                      <a:pt x="2019" y="21"/>
                    </a:lnTo>
                    <a:lnTo>
                      <a:pt x="2070" y="29"/>
                    </a:lnTo>
                    <a:lnTo>
                      <a:pt x="2118" y="38"/>
                    </a:lnTo>
                    <a:lnTo>
                      <a:pt x="2164" y="49"/>
                    </a:lnTo>
                    <a:lnTo>
                      <a:pt x="2206" y="62"/>
                    </a:lnTo>
                    <a:lnTo>
                      <a:pt x="2247" y="75"/>
                    </a:lnTo>
                    <a:lnTo>
                      <a:pt x="2285" y="91"/>
                    </a:lnTo>
                    <a:lnTo>
                      <a:pt x="2320" y="107"/>
                    </a:lnTo>
                    <a:lnTo>
                      <a:pt x="2354" y="124"/>
                    </a:lnTo>
                    <a:lnTo>
                      <a:pt x="2385" y="143"/>
                    </a:lnTo>
                    <a:lnTo>
                      <a:pt x="2413" y="162"/>
                    </a:lnTo>
                    <a:lnTo>
                      <a:pt x="2439" y="183"/>
                    </a:lnTo>
                    <a:lnTo>
                      <a:pt x="2464" y="205"/>
                    </a:lnTo>
                    <a:lnTo>
                      <a:pt x="2486" y="227"/>
                    </a:lnTo>
                    <a:lnTo>
                      <a:pt x="2506" y="250"/>
                    </a:lnTo>
                    <a:lnTo>
                      <a:pt x="2525" y="275"/>
                    </a:lnTo>
                    <a:lnTo>
                      <a:pt x="2540" y="300"/>
                    </a:lnTo>
                    <a:lnTo>
                      <a:pt x="2556" y="326"/>
                    </a:lnTo>
                    <a:lnTo>
                      <a:pt x="2569" y="353"/>
                    </a:lnTo>
                    <a:lnTo>
                      <a:pt x="2579" y="381"/>
                    </a:lnTo>
                    <a:lnTo>
                      <a:pt x="2589" y="409"/>
                    </a:lnTo>
                    <a:lnTo>
                      <a:pt x="2597" y="438"/>
                    </a:lnTo>
                    <a:lnTo>
                      <a:pt x="2604" y="467"/>
                    </a:lnTo>
                    <a:lnTo>
                      <a:pt x="2609" y="497"/>
                    </a:lnTo>
                    <a:lnTo>
                      <a:pt x="2614" y="528"/>
                    </a:lnTo>
                    <a:lnTo>
                      <a:pt x="2616" y="559"/>
                    </a:lnTo>
                    <a:lnTo>
                      <a:pt x="2619" y="590"/>
                    </a:lnTo>
                    <a:lnTo>
                      <a:pt x="2619" y="6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93" name="Freeform 7"/>
              <p:cNvSpPr>
                <a:spLocks noEditPoints="1"/>
              </p:cNvSpPr>
              <p:nvPr userDrawn="1"/>
            </p:nvSpPr>
            <p:spPr bwMode="auto">
              <a:xfrm>
                <a:off x="2912893" y="-1876016"/>
                <a:ext cx="19050" cy="307976"/>
              </a:xfrm>
              <a:custGeom>
                <a:avLst/>
                <a:gdLst>
                  <a:gd name="T0" fmla="*/ 24 w 24"/>
                  <a:gd name="T1" fmla="*/ 195 h 390"/>
                  <a:gd name="T2" fmla="*/ 24 w 24"/>
                  <a:gd name="T3" fmla="*/ 195 h 390"/>
                  <a:gd name="T4" fmla="*/ 24 w 24"/>
                  <a:gd name="T5" fmla="*/ 195 h 390"/>
                  <a:gd name="T6" fmla="*/ 24 w 24"/>
                  <a:gd name="T7" fmla="*/ 235 h 390"/>
                  <a:gd name="T8" fmla="*/ 21 w 24"/>
                  <a:gd name="T9" fmla="*/ 273 h 390"/>
                  <a:gd name="T10" fmla="*/ 20 w 24"/>
                  <a:gd name="T11" fmla="*/ 291 h 390"/>
                  <a:gd name="T12" fmla="*/ 18 w 24"/>
                  <a:gd name="T13" fmla="*/ 310 h 390"/>
                  <a:gd name="T14" fmla="*/ 14 w 24"/>
                  <a:gd name="T15" fmla="*/ 327 h 390"/>
                  <a:gd name="T16" fmla="*/ 11 w 24"/>
                  <a:gd name="T17" fmla="*/ 344 h 390"/>
                  <a:gd name="T18" fmla="*/ 11 w 24"/>
                  <a:gd name="T19" fmla="*/ 344 h 390"/>
                  <a:gd name="T20" fmla="*/ 6 w 24"/>
                  <a:gd name="T21" fmla="*/ 367 h 390"/>
                  <a:gd name="T22" fmla="*/ 0 w 24"/>
                  <a:gd name="T23" fmla="*/ 390 h 390"/>
                  <a:gd name="T24" fmla="*/ 0 w 24"/>
                  <a:gd name="T25" fmla="*/ 390 h 390"/>
                  <a:gd name="T26" fmla="*/ 7 w 24"/>
                  <a:gd name="T27" fmla="*/ 369 h 390"/>
                  <a:gd name="T28" fmla="*/ 13 w 24"/>
                  <a:gd name="T29" fmla="*/ 346 h 390"/>
                  <a:gd name="T30" fmla="*/ 18 w 24"/>
                  <a:gd name="T31" fmla="*/ 323 h 390"/>
                  <a:gd name="T32" fmla="*/ 20 w 24"/>
                  <a:gd name="T33" fmla="*/ 298 h 390"/>
                  <a:gd name="T34" fmla="*/ 22 w 24"/>
                  <a:gd name="T35" fmla="*/ 275 h 390"/>
                  <a:gd name="T36" fmla="*/ 24 w 24"/>
                  <a:gd name="T37" fmla="*/ 248 h 390"/>
                  <a:gd name="T38" fmla="*/ 24 w 24"/>
                  <a:gd name="T39" fmla="*/ 195 h 390"/>
                  <a:gd name="T40" fmla="*/ 0 w 24"/>
                  <a:gd name="T41" fmla="*/ 0 h 390"/>
                  <a:gd name="T42" fmla="*/ 0 w 24"/>
                  <a:gd name="T43" fmla="*/ 0 h 390"/>
                  <a:gd name="T44" fmla="*/ 6 w 24"/>
                  <a:gd name="T45" fmla="*/ 24 h 390"/>
                  <a:gd name="T46" fmla="*/ 11 w 24"/>
                  <a:gd name="T47" fmla="*/ 46 h 390"/>
                  <a:gd name="T48" fmla="*/ 11 w 24"/>
                  <a:gd name="T49" fmla="*/ 46 h 390"/>
                  <a:gd name="T50" fmla="*/ 14 w 24"/>
                  <a:gd name="T51" fmla="*/ 64 h 390"/>
                  <a:gd name="T52" fmla="*/ 18 w 24"/>
                  <a:gd name="T53" fmla="*/ 81 h 390"/>
                  <a:gd name="T54" fmla="*/ 20 w 24"/>
                  <a:gd name="T55" fmla="*/ 99 h 390"/>
                  <a:gd name="T56" fmla="*/ 21 w 24"/>
                  <a:gd name="T57" fmla="*/ 118 h 390"/>
                  <a:gd name="T58" fmla="*/ 24 w 24"/>
                  <a:gd name="T59" fmla="*/ 156 h 390"/>
                  <a:gd name="T60" fmla="*/ 24 w 24"/>
                  <a:gd name="T61" fmla="*/ 195 h 390"/>
                  <a:gd name="T62" fmla="*/ 24 w 24"/>
                  <a:gd name="T63" fmla="*/ 195 h 390"/>
                  <a:gd name="T64" fmla="*/ 24 w 24"/>
                  <a:gd name="T65" fmla="*/ 143 h 390"/>
                  <a:gd name="T66" fmla="*/ 22 w 24"/>
                  <a:gd name="T67" fmla="*/ 117 h 390"/>
                  <a:gd name="T68" fmla="*/ 20 w 24"/>
                  <a:gd name="T69" fmla="*/ 92 h 390"/>
                  <a:gd name="T70" fmla="*/ 18 w 24"/>
                  <a:gd name="T71" fmla="*/ 68 h 390"/>
                  <a:gd name="T72" fmla="*/ 13 w 24"/>
                  <a:gd name="T73" fmla="*/ 44 h 390"/>
                  <a:gd name="T74" fmla="*/ 7 w 24"/>
                  <a:gd name="T75" fmla="*/ 23 h 390"/>
                  <a:gd name="T76" fmla="*/ 0 w 24"/>
                  <a:gd name="T77" fmla="*/ 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 h="390">
                    <a:moveTo>
                      <a:pt x="24" y="195"/>
                    </a:moveTo>
                    <a:lnTo>
                      <a:pt x="24" y="195"/>
                    </a:lnTo>
                    <a:lnTo>
                      <a:pt x="24" y="195"/>
                    </a:lnTo>
                    <a:lnTo>
                      <a:pt x="24" y="235"/>
                    </a:lnTo>
                    <a:lnTo>
                      <a:pt x="21" y="273"/>
                    </a:lnTo>
                    <a:lnTo>
                      <a:pt x="20" y="291"/>
                    </a:lnTo>
                    <a:lnTo>
                      <a:pt x="18" y="310"/>
                    </a:lnTo>
                    <a:lnTo>
                      <a:pt x="14" y="327"/>
                    </a:lnTo>
                    <a:lnTo>
                      <a:pt x="11" y="344"/>
                    </a:lnTo>
                    <a:lnTo>
                      <a:pt x="11" y="344"/>
                    </a:lnTo>
                    <a:lnTo>
                      <a:pt x="6" y="367"/>
                    </a:lnTo>
                    <a:lnTo>
                      <a:pt x="0" y="390"/>
                    </a:lnTo>
                    <a:lnTo>
                      <a:pt x="0" y="390"/>
                    </a:lnTo>
                    <a:lnTo>
                      <a:pt x="7" y="369"/>
                    </a:lnTo>
                    <a:lnTo>
                      <a:pt x="13" y="346"/>
                    </a:lnTo>
                    <a:lnTo>
                      <a:pt x="18" y="323"/>
                    </a:lnTo>
                    <a:lnTo>
                      <a:pt x="20" y="298"/>
                    </a:lnTo>
                    <a:lnTo>
                      <a:pt x="22" y="275"/>
                    </a:lnTo>
                    <a:lnTo>
                      <a:pt x="24" y="248"/>
                    </a:lnTo>
                    <a:lnTo>
                      <a:pt x="24" y="195"/>
                    </a:lnTo>
                    <a:close/>
                    <a:moveTo>
                      <a:pt x="0" y="0"/>
                    </a:moveTo>
                    <a:lnTo>
                      <a:pt x="0" y="0"/>
                    </a:lnTo>
                    <a:lnTo>
                      <a:pt x="6" y="24"/>
                    </a:lnTo>
                    <a:lnTo>
                      <a:pt x="11" y="46"/>
                    </a:lnTo>
                    <a:lnTo>
                      <a:pt x="11" y="46"/>
                    </a:lnTo>
                    <a:lnTo>
                      <a:pt x="14" y="64"/>
                    </a:lnTo>
                    <a:lnTo>
                      <a:pt x="18" y="81"/>
                    </a:lnTo>
                    <a:lnTo>
                      <a:pt x="20" y="99"/>
                    </a:lnTo>
                    <a:lnTo>
                      <a:pt x="21" y="118"/>
                    </a:lnTo>
                    <a:lnTo>
                      <a:pt x="24" y="156"/>
                    </a:lnTo>
                    <a:lnTo>
                      <a:pt x="24" y="195"/>
                    </a:lnTo>
                    <a:lnTo>
                      <a:pt x="24" y="195"/>
                    </a:lnTo>
                    <a:lnTo>
                      <a:pt x="24" y="143"/>
                    </a:lnTo>
                    <a:lnTo>
                      <a:pt x="22" y="117"/>
                    </a:lnTo>
                    <a:lnTo>
                      <a:pt x="20" y="92"/>
                    </a:lnTo>
                    <a:lnTo>
                      <a:pt x="18" y="68"/>
                    </a:lnTo>
                    <a:lnTo>
                      <a:pt x="13" y="44"/>
                    </a:lnTo>
                    <a:lnTo>
                      <a:pt x="7" y="23"/>
                    </a:lnTo>
                    <a:lnTo>
                      <a:pt x="0" y="0"/>
                    </a:lnTo>
                    <a:close/>
                  </a:path>
                </a:pathLst>
              </a:custGeom>
              <a:solidFill>
                <a:srgbClr val="F9B0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94" name="Freeform 8"/>
              <p:cNvSpPr>
                <a:spLocks/>
              </p:cNvSpPr>
              <p:nvPr userDrawn="1"/>
            </p:nvSpPr>
            <p:spPr bwMode="auto">
              <a:xfrm>
                <a:off x="2912893" y="-1722028"/>
                <a:ext cx="19050" cy="153988"/>
              </a:xfrm>
              <a:custGeom>
                <a:avLst/>
                <a:gdLst>
                  <a:gd name="T0" fmla="*/ 24 w 24"/>
                  <a:gd name="T1" fmla="*/ 0 h 195"/>
                  <a:gd name="T2" fmla="*/ 24 w 24"/>
                  <a:gd name="T3" fmla="*/ 0 h 195"/>
                  <a:gd name="T4" fmla="*/ 24 w 24"/>
                  <a:gd name="T5" fmla="*/ 0 h 195"/>
                  <a:gd name="T6" fmla="*/ 24 w 24"/>
                  <a:gd name="T7" fmla="*/ 40 h 195"/>
                  <a:gd name="T8" fmla="*/ 21 w 24"/>
                  <a:gd name="T9" fmla="*/ 78 h 195"/>
                  <a:gd name="T10" fmla="*/ 20 w 24"/>
                  <a:gd name="T11" fmla="*/ 96 h 195"/>
                  <a:gd name="T12" fmla="*/ 18 w 24"/>
                  <a:gd name="T13" fmla="*/ 115 h 195"/>
                  <a:gd name="T14" fmla="*/ 14 w 24"/>
                  <a:gd name="T15" fmla="*/ 132 h 195"/>
                  <a:gd name="T16" fmla="*/ 11 w 24"/>
                  <a:gd name="T17" fmla="*/ 149 h 195"/>
                  <a:gd name="T18" fmla="*/ 11 w 24"/>
                  <a:gd name="T19" fmla="*/ 149 h 195"/>
                  <a:gd name="T20" fmla="*/ 6 w 24"/>
                  <a:gd name="T21" fmla="*/ 172 h 195"/>
                  <a:gd name="T22" fmla="*/ 0 w 24"/>
                  <a:gd name="T23" fmla="*/ 195 h 195"/>
                  <a:gd name="T24" fmla="*/ 0 w 24"/>
                  <a:gd name="T25" fmla="*/ 195 h 195"/>
                  <a:gd name="T26" fmla="*/ 7 w 24"/>
                  <a:gd name="T27" fmla="*/ 174 h 195"/>
                  <a:gd name="T28" fmla="*/ 13 w 24"/>
                  <a:gd name="T29" fmla="*/ 151 h 195"/>
                  <a:gd name="T30" fmla="*/ 18 w 24"/>
                  <a:gd name="T31" fmla="*/ 128 h 195"/>
                  <a:gd name="T32" fmla="*/ 20 w 24"/>
                  <a:gd name="T33" fmla="*/ 103 h 195"/>
                  <a:gd name="T34" fmla="*/ 22 w 24"/>
                  <a:gd name="T35" fmla="*/ 80 h 195"/>
                  <a:gd name="T36" fmla="*/ 24 w 24"/>
                  <a:gd name="T37" fmla="*/ 53 h 195"/>
                  <a:gd name="T38" fmla="*/ 24 w 24"/>
                  <a:gd name="T39"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 h="195">
                    <a:moveTo>
                      <a:pt x="24" y="0"/>
                    </a:moveTo>
                    <a:lnTo>
                      <a:pt x="24" y="0"/>
                    </a:lnTo>
                    <a:lnTo>
                      <a:pt x="24" y="0"/>
                    </a:lnTo>
                    <a:lnTo>
                      <a:pt x="24" y="40"/>
                    </a:lnTo>
                    <a:lnTo>
                      <a:pt x="21" y="78"/>
                    </a:lnTo>
                    <a:lnTo>
                      <a:pt x="20" y="96"/>
                    </a:lnTo>
                    <a:lnTo>
                      <a:pt x="18" y="115"/>
                    </a:lnTo>
                    <a:lnTo>
                      <a:pt x="14" y="132"/>
                    </a:lnTo>
                    <a:lnTo>
                      <a:pt x="11" y="149"/>
                    </a:lnTo>
                    <a:lnTo>
                      <a:pt x="11" y="149"/>
                    </a:lnTo>
                    <a:lnTo>
                      <a:pt x="6" y="172"/>
                    </a:lnTo>
                    <a:lnTo>
                      <a:pt x="0" y="195"/>
                    </a:lnTo>
                    <a:lnTo>
                      <a:pt x="0" y="195"/>
                    </a:lnTo>
                    <a:lnTo>
                      <a:pt x="7" y="174"/>
                    </a:lnTo>
                    <a:lnTo>
                      <a:pt x="13" y="151"/>
                    </a:lnTo>
                    <a:lnTo>
                      <a:pt x="18" y="128"/>
                    </a:lnTo>
                    <a:lnTo>
                      <a:pt x="20" y="103"/>
                    </a:lnTo>
                    <a:lnTo>
                      <a:pt x="22" y="80"/>
                    </a:lnTo>
                    <a:lnTo>
                      <a:pt x="24" y="53"/>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95" name="Freeform 9"/>
              <p:cNvSpPr>
                <a:spLocks/>
              </p:cNvSpPr>
              <p:nvPr userDrawn="1"/>
            </p:nvSpPr>
            <p:spPr bwMode="auto">
              <a:xfrm>
                <a:off x="2912893" y="-1876016"/>
                <a:ext cx="19050" cy="153988"/>
              </a:xfrm>
              <a:custGeom>
                <a:avLst/>
                <a:gdLst>
                  <a:gd name="T0" fmla="*/ 0 w 24"/>
                  <a:gd name="T1" fmla="*/ 0 h 195"/>
                  <a:gd name="T2" fmla="*/ 0 w 24"/>
                  <a:gd name="T3" fmla="*/ 0 h 195"/>
                  <a:gd name="T4" fmla="*/ 6 w 24"/>
                  <a:gd name="T5" fmla="*/ 24 h 195"/>
                  <a:gd name="T6" fmla="*/ 11 w 24"/>
                  <a:gd name="T7" fmla="*/ 46 h 195"/>
                  <a:gd name="T8" fmla="*/ 11 w 24"/>
                  <a:gd name="T9" fmla="*/ 46 h 195"/>
                  <a:gd name="T10" fmla="*/ 14 w 24"/>
                  <a:gd name="T11" fmla="*/ 64 h 195"/>
                  <a:gd name="T12" fmla="*/ 18 w 24"/>
                  <a:gd name="T13" fmla="*/ 81 h 195"/>
                  <a:gd name="T14" fmla="*/ 20 w 24"/>
                  <a:gd name="T15" fmla="*/ 99 h 195"/>
                  <a:gd name="T16" fmla="*/ 21 w 24"/>
                  <a:gd name="T17" fmla="*/ 118 h 195"/>
                  <a:gd name="T18" fmla="*/ 24 w 24"/>
                  <a:gd name="T19" fmla="*/ 156 h 195"/>
                  <a:gd name="T20" fmla="*/ 24 w 24"/>
                  <a:gd name="T21" fmla="*/ 195 h 195"/>
                  <a:gd name="T22" fmla="*/ 24 w 24"/>
                  <a:gd name="T23" fmla="*/ 195 h 195"/>
                  <a:gd name="T24" fmla="*/ 24 w 24"/>
                  <a:gd name="T25" fmla="*/ 143 h 195"/>
                  <a:gd name="T26" fmla="*/ 22 w 24"/>
                  <a:gd name="T27" fmla="*/ 117 h 195"/>
                  <a:gd name="T28" fmla="*/ 20 w 24"/>
                  <a:gd name="T29" fmla="*/ 92 h 195"/>
                  <a:gd name="T30" fmla="*/ 18 w 24"/>
                  <a:gd name="T31" fmla="*/ 68 h 195"/>
                  <a:gd name="T32" fmla="*/ 13 w 24"/>
                  <a:gd name="T33" fmla="*/ 44 h 195"/>
                  <a:gd name="T34" fmla="*/ 7 w 24"/>
                  <a:gd name="T35" fmla="*/ 23 h 195"/>
                  <a:gd name="T36" fmla="*/ 0 w 24"/>
                  <a:gd name="T37"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 h="195">
                    <a:moveTo>
                      <a:pt x="0" y="0"/>
                    </a:moveTo>
                    <a:lnTo>
                      <a:pt x="0" y="0"/>
                    </a:lnTo>
                    <a:lnTo>
                      <a:pt x="6" y="24"/>
                    </a:lnTo>
                    <a:lnTo>
                      <a:pt x="11" y="46"/>
                    </a:lnTo>
                    <a:lnTo>
                      <a:pt x="11" y="46"/>
                    </a:lnTo>
                    <a:lnTo>
                      <a:pt x="14" y="64"/>
                    </a:lnTo>
                    <a:lnTo>
                      <a:pt x="18" y="81"/>
                    </a:lnTo>
                    <a:lnTo>
                      <a:pt x="20" y="99"/>
                    </a:lnTo>
                    <a:lnTo>
                      <a:pt x="21" y="118"/>
                    </a:lnTo>
                    <a:lnTo>
                      <a:pt x="24" y="156"/>
                    </a:lnTo>
                    <a:lnTo>
                      <a:pt x="24" y="195"/>
                    </a:lnTo>
                    <a:lnTo>
                      <a:pt x="24" y="195"/>
                    </a:lnTo>
                    <a:lnTo>
                      <a:pt x="24" y="143"/>
                    </a:lnTo>
                    <a:lnTo>
                      <a:pt x="22" y="117"/>
                    </a:lnTo>
                    <a:lnTo>
                      <a:pt x="20" y="92"/>
                    </a:lnTo>
                    <a:lnTo>
                      <a:pt x="18" y="68"/>
                    </a:lnTo>
                    <a:lnTo>
                      <a:pt x="13" y="44"/>
                    </a:lnTo>
                    <a:lnTo>
                      <a:pt x="7"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96" name="Freeform 10"/>
              <p:cNvSpPr>
                <a:spLocks/>
              </p:cNvSpPr>
              <p:nvPr userDrawn="1"/>
            </p:nvSpPr>
            <p:spPr bwMode="auto">
              <a:xfrm>
                <a:off x="1828629" y="-2001429"/>
                <a:ext cx="1093789" cy="558802"/>
              </a:xfrm>
              <a:custGeom>
                <a:avLst/>
                <a:gdLst>
                  <a:gd name="T0" fmla="*/ 934 w 1379"/>
                  <a:gd name="T1" fmla="*/ 1 h 704"/>
                  <a:gd name="T2" fmla="*/ 814 w 1379"/>
                  <a:gd name="T3" fmla="*/ 16 h 704"/>
                  <a:gd name="T4" fmla="*/ 689 w 1379"/>
                  <a:gd name="T5" fmla="*/ 44 h 704"/>
                  <a:gd name="T6" fmla="*/ 566 w 1379"/>
                  <a:gd name="T7" fmla="*/ 82 h 704"/>
                  <a:gd name="T8" fmla="*/ 408 w 1379"/>
                  <a:gd name="T9" fmla="*/ 144 h 704"/>
                  <a:gd name="T10" fmla="*/ 200 w 1379"/>
                  <a:gd name="T11" fmla="*/ 241 h 704"/>
                  <a:gd name="T12" fmla="*/ 25 w 1379"/>
                  <a:gd name="T13" fmla="*/ 338 h 704"/>
                  <a:gd name="T14" fmla="*/ 25 w 1379"/>
                  <a:gd name="T15" fmla="*/ 367 h 704"/>
                  <a:gd name="T16" fmla="*/ 200 w 1379"/>
                  <a:gd name="T17" fmla="*/ 464 h 704"/>
                  <a:gd name="T18" fmla="*/ 408 w 1379"/>
                  <a:gd name="T19" fmla="*/ 561 h 704"/>
                  <a:gd name="T20" fmla="*/ 566 w 1379"/>
                  <a:gd name="T21" fmla="*/ 623 h 704"/>
                  <a:gd name="T22" fmla="*/ 689 w 1379"/>
                  <a:gd name="T23" fmla="*/ 661 h 704"/>
                  <a:gd name="T24" fmla="*/ 814 w 1379"/>
                  <a:gd name="T25" fmla="*/ 690 h 704"/>
                  <a:gd name="T26" fmla="*/ 934 w 1379"/>
                  <a:gd name="T27" fmla="*/ 704 h 704"/>
                  <a:gd name="T28" fmla="*/ 1020 w 1379"/>
                  <a:gd name="T29" fmla="*/ 704 h 704"/>
                  <a:gd name="T30" fmla="*/ 1137 w 1379"/>
                  <a:gd name="T31" fmla="*/ 693 h 704"/>
                  <a:gd name="T32" fmla="*/ 1228 w 1379"/>
                  <a:gd name="T33" fmla="*/ 671 h 704"/>
                  <a:gd name="T34" fmla="*/ 1294 w 1379"/>
                  <a:gd name="T35" fmla="*/ 638 h 704"/>
                  <a:gd name="T36" fmla="*/ 1339 w 1379"/>
                  <a:gd name="T37" fmla="*/ 597 h 704"/>
                  <a:gd name="T38" fmla="*/ 1368 w 1379"/>
                  <a:gd name="T39" fmla="*/ 547 h 704"/>
                  <a:gd name="T40" fmla="*/ 1379 w 1379"/>
                  <a:gd name="T41" fmla="*/ 501 h 704"/>
                  <a:gd name="T42" fmla="*/ 1365 w 1379"/>
                  <a:gd name="T43" fmla="*/ 536 h 704"/>
                  <a:gd name="T44" fmla="*/ 1333 w 1379"/>
                  <a:gd name="T45" fmla="*/ 581 h 704"/>
                  <a:gd name="T46" fmla="*/ 1283 w 1379"/>
                  <a:gd name="T47" fmla="*/ 618 h 704"/>
                  <a:gd name="T48" fmla="*/ 1209 w 1379"/>
                  <a:gd name="T49" fmla="*/ 646 h 704"/>
                  <a:gd name="T50" fmla="*/ 1108 w 1379"/>
                  <a:gd name="T51" fmla="*/ 660 h 704"/>
                  <a:gd name="T52" fmla="*/ 1022 w 1379"/>
                  <a:gd name="T53" fmla="*/ 663 h 704"/>
                  <a:gd name="T54" fmla="*/ 918 w 1379"/>
                  <a:gd name="T55" fmla="*/ 655 h 704"/>
                  <a:gd name="T56" fmla="*/ 808 w 1379"/>
                  <a:gd name="T57" fmla="*/ 635 h 704"/>
                  <a:gd name="T58" fmla="*/ 699 w 1379"/>
                  <a:gd name="T59" fmla="*/ 604 h 704"/>
                  <a:gd name="T60" fmla="*/ 591 w 1379"/>
                  <a:gd name="T61" fmla="*/ 565 h 704"/>
                  <a:gd name="T62" fmla="*/ 395 w 1379"/>
                  <a:gd name="T63" fmla="*/ 479 h 704"/>
                  <a:gd name="T64" fmla="*/ 246 w 1379"/>
                  <a:gd name="T65" fmla="*/ 401 h 704"/>
                  <a:gd name="T66" fmla="*/ 163 w 1379"/>
                  <a:gd name="T67" fmla="*/ 352 h 704"/>
                  <a:gd name="T68" fmla="*/ 289 w 1379"/>
                  <a:gd name="T69" fmla="*/ 281 h 704"/>
                  <a:gd name="T70" fmla="*/ 457 w 1379"/>
                  <a:gd name="T71" fmla="*/ 197 h 704"/>
                  <a:gd name="T72" fmla="*/ 626 w 1379"/>
                  <a:gd name="T73" fmla="*/ 126 h 704"/>
                  <a:gd name="T74" fmla="*/ 735 w 1379"/>
                  <a:gd name="T75" fmla="*/ 91 h 704"/>
                  <a:gd name="T76" fmla="*/ 845 w 1379"/>
                  <a:gd name="T77" fmla="*/ 62 h 704"/>
                  <a:gd name="T78" fmla="*/ 952 w 1379"/>
                  <a:gd name="T79" fmla="*/ 45 h 704"/>
                  <a:gd name="T80" fmla="*/ 1022 w 1379"/>
                  <a:gd name="T81" fmla="*/ 42 h 704"/>
                  <a:gd name="T82" fmla="*/ 1144 w 1379"/>
                  <a:gd name="T83" fmla="*/ 48 h 704"/>
                  <a:gd name="T84" fmla="*/ 1237 w 1379"/>
                  <a:gd name="T85" fmla="*/ 68 h 704"/>
                  <a:gd name="T86" fmla="*/ 1303 w 1379"/>
                  <a:gd name="T87" fmla="*/ 98 h 704"/>
                  <a:gd name="T88" fmla="*/ 1346 w 1379"/>
                  <a:gd name="T89" fmla="*/ 138 h 704"/>
                  <a:gd name="T90" fmla="*/ 1373 w 1379"/>
                  <a:gd name="T91" fmla="*/ 187 h 704"/>
                  <a:gd name="T92" fmla="*/ 1374 w 1379"/>
                  <a:gd name="T93" fmla="*/ 181 h 704"/>
                  <a:gd name="T94" fmla="*/ 1360 w 1379"/>
                  <a:gd name="T95" fmla="*/ 140 h 704"/>
                  <a:gd name="T96" fmla="*/ 1326 w 1379"/>
                  <a:gd name="T97" fmla="*/ 93 h 704"/>
                  <a:gd name="T98" fmla="*/ 1274 w 1379"/>
                  <a:gd name="T99" fmla="*/ 55 h 704"/>
                  <a:gd name="T100" fmla="*/ 1202 w 1379"/>
                  <a:gd name="T101" fmla="*/ 25 h 704"/>
                  <a:gd name="T102" fmla="*/ 1102 w 1379"/>
                  <a:gd name="T103" fmla="*/ 7 h 704"/>
                  <a:gd name="T104" fmla="*/ 973 w 1379"/>
                  <a:gd name="T10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79" h="704">
                    <a:moveTo>
                      <a:pt x="973" y="0"/>
                    </a:moveTo>
                    <a:lnTo>
                      <a:pt x="973" y="0"/>
                    </a:lnTo>
                    <a:lnTo>
                      <a:pt x="934" y="1"/>
                    </a:lnTo>
                    <a:lnTo>
                      <a:pt x="895" y="5"/>
                    </a:lnTo>
                    <a:lnTo>
                      <a:pt x="855" y="10"/>
                    </a:lnTo>
                    <a:lnTo>
                      <a:pt x="814" y="16"/>
                    </a:lnTo>
                    <a:lnTo>
                      <a:pt x="773" y="24"/>
                    </a:lnTo>
                    <a:lnTo>
                      <a:pt x="731" y="33"/>
                    </a:lnTo>
                    <a:lnTo>
                      <a:pt x="689" y="44"/>
                    </a:lnTo>
                    <a:lnTo>
                      <a:pt x="648" y="56"/>
                    </a:lnTo>
                    <a:lnTo>
                      <a:pt x="607" y="68"/>
                    </a:lnTo>
                    <a:lnTo>
                      <a:pt x="566" y="82"/>
                    </a:lnTo>
                    <a:lnTo>
                      <a:pt x="525" y="96"/>
                    </a:lnTo>
                    <a:lnTo>
                      <a:pt x="485" y="112"/>
                    </a:lnTo>
                    <a:lnTo>
                      <a:pt x="408" y="144"/>
                    </a:lnTo>
                    <a:lnTo>
                      <a:pt x="333" y="176"/>
                    </a:lnTo>
                    <a:lnTo>
                      <a:pt x="264" y="209"/>
                    </a:lnTo>
                    <a:lnTo>
                      <a:pt x="200" y="241"/>
                    </a:lnTo>
                    <a:lnTo>
                      <a:pt x="144" y="271"/>
                    </a:lnTo>
                    <a:lnTo>
                      <a:pt x="95" y="297"/>
                    </a:lnTo>
                    <a:lnTo>
                      <a:pt x="25" y="338"/>
                    </a:lnTo>
                    <a:lnTo>
                      <a:pt x="0" y="352"/>
                    </a:lnTo>
                    <a:lnTo>
                      <a:pt x="0" y="352"/>
                    </a:lnTo>
                    <a:lnTo>
                      <a:pt x="25" y="367"/>
                    </a:lnTo>
                    <a:lnTo>
                      <a:pt x="95" y="408"/>
                    </a:lnTo>
                    <a:lnTo>
                      <a:pt x="144" y="434"/>
                    </a:lnTo>
                    <a:lnTo>
                      <a:pt x="200" y="464"/>
                    </a:lnTo>
                    <a:lnTo>
                      <a:pt x="264" y="496"/>
                    </a:lnTo>
                    <a:lnTo>
                      <a:pt x="333" y="528"/>
                    </a:lnTo>
                    <a:lnTo>
                      <a:pt x="408" y="561"/>
                    </a:lnTo>
                    <a:lnTo>
                      <a:pt x="485" y="593"/>
                    </a:lnTo>
                    <a:lnTo>
                      <a:pt x="525" y="609"/>
                    </a:lnTo>
                    <a:lnTo>
                      <a:pt x="566" y="623"/>
                    </a:lnTo>
                    <a:lnTo>
                      <a:pt x="607" y="636"/>
                    </a:lnTo>
                    <a:lnTo>
                      <a:pt x="648" y="649"/>
                    </a:lnTo>
                    <a:lnTo>
                      <a:pt x="689" y="661"/>
                    </a:lnTo>
                    <a:lnTo>
                      <a:pt x="731" y="672"/>
                    </a:lnTo>
                    <a:lnTo>
                      <a:pt x="773" y="681"/>
                    </a:lnTo>
                    <a:lnTo>
                      <a:pt x="814" y="690"/>
                    </a:lnTo>
                    <a:lnTo>
                      <a:pt x="855" y="695"/>
                    </a:lnTo>
                    <a:lnTo>
                      <a:pt x="895" y="700"/>
                    </a:lnTo>
                    <a:lnTo>
                      <a:pt x="934" y="704"/>
                    </a:lnTo>
                    <a:lnTo>
                      <a:pt x="973" y="704"/>
                    </a:lnTo>
                    <a:lnTo>
                      <a:pt x="973" y="704"/>
                    </a:lnTo>
                    <a:lnTo>
                      <a:pt x="1020" y="704"/>
                    </a:lnTo>
                    <a:lnTo>
                      <a:pt x="1063" y="701"/>
                    </a:lnTo>
                    <a:lnTo>
                      <a:pt x="1102" y="698"/>
                    </a:lnTo>
                    <a:lnTo>
                      <a:pt x="1137" y="693"/>
                    </a:lnTo>
                    <a:lnTo>
                      <a:pt x="1171" y="687"/>
                    </a:lnTo>
                    <a:lnTo>
                      <a:pt x="1202" y="680"/>
                    </a:lnTo>
                    <a:lnTo>
                      <a:pt x="1228" y="671"/>
                    </a:lnTo>
                    <a:lnTo>
                      <a:pt x="1253" y="661"/>
                    </a:lnTo>
                    <a:lnTo>
                      <a:pt x="1274" y="650"/>
                    </a:lnTo>
                    <a:lnTo>
                      <a:pt x="1294" y="638"/>
                    </a:lnTo>
                    <a:lnTo>
                      <a:pt x="1311" y="625"/>
                    </a:lnTo>
                    <a:lnTo>
                      <a:pt x="1326" y="612"/>
                    </a:lnTo>
                    <a:lnTo>
                      <a:pt x="1339" y="597"/>
                    </a:lnTo>
                    <a:lnTo>
                      <a:pt x="1350" y="581"/>
                    </a:lnTo>
                    <a:lnTo>
                      <a:pt x="1360" y="565"/>
                    </a:lnTo>
                    <a:lnTo>
                      <a:pt x="1368" y="547"/>
                    </a:lnTo>
                    <a:lnTo>
                      <a:pt x="1368" y="547"/>
                    </a:lnTo>
                    <a:lnTo>
                      <a:pt x="1374" y="524"/>
                    </a:lnTo>
                    <a:lnTo>
                      <a:pt x="1379" y="501"/>
                    </a:lnTo>
                    <a:lnTo>
                      <a:pt x="1379" y="501"/>
                    </a:lnTo>
                    <a:lnTo>
                      <a:pt x="1373" y="518"/>
                    </a:lnTo>
                    <a:lnTo>
                      <a:pt x="1365" y="536"/>
                    </a:lnTo>
                    <a:lnTo>
                      <a:pt x="1357" y="552"/>
                    </a:lnTo>
                    <a:lnTo>
                      <a:pt x="1346" y="567"/>
                    </a:lnTo>
                    <a:lnTo>
                      <a:pt x="1333" y="581"/>
                    </a:lnTo>
                    <a:lnTo>
                      <a:pt x="1319" y="594"/>
                    </a:lnTo>
                    <a:lnTo>
                      <a:pt x="1303" y="608"/>
                    </a:lnTo>
                    <a:lnTo>
                      <a:pt x="1283" y="618"/>
                    </a:lnTo>
                    <a:lnTo>
                      <a:pt x="1261" y="629"/>
                    </a:lnTo>
                    <a:lnTo>
                      <a:pt x="1237" y="637"/>
                    </a:lnTo>
                    <a:lnTo>
                      <a:pt x="1209" y="646"/>
                    </a:lnTo>
                    <a:lnTo>
                      <a:pt x="1179" y="652"/>
                    </a:lnTo>
                    <a:lnTo>
                      <a:pt x="1144" y="656"/>
                    </a:lnTo>
                    <a:lnTo>
                      <a:pt x="1108" y="660"/>
                    </a:lnTo>
                    <a:lnTo>
                      <a:pt x="1066" y="662"/>
                    </a:lnTo>
                    <a:lnTo>
                      <a:pt x="1022" y="663"/>
                    </a:lnTo>
                    <a:lnTo>
                      <a:pt x="1022" y="663"/>
                    </a:lnTo>
                    <a:lnTo>
                      <a:pt x="988" y="662"/>
                    </a:lnTo>
                    <a:lnTo>
                      <a:pt x="952" y="660"/>
                    </a:lnTo>
                    <a:lnTo>
                      <a:pt x="918" y="655"/>
                    </a:lnTo>
                    <a:lnTo>
                      <a:pt x="881" y="650"/>
                    </a:lnTo>
                    <a:lnTo>
                      <a:pt x="845" y="643"/>
                    </a:lnTo>
                    <a:lnTo>
                      <a:pt x="808" y="635"/>
                    </a:lnTo>
                    <a:lnTo>
                      <a:pt x="771" y="625"/>
                    </a:lnTo>
                    <a:lnTo>
                      <a:pt x="735" y="615"/>
                    </a:lnTo>
                    <a:lnTo>
                      <a:pt x="699" y="604"/>
                    </a:lnTo>
                    <a:lnTo>
                      <a:pt x="662" y="591"/>
                    </a:lnTo>
                    <a:lnTo>
                      <a:pt x="626" y="578"/>
                    </a:lnTo>
                    <a:lnTo>
                      <a:pt x="591" y="565"/>
                    </a:lnTo>
                    <a:lnTo>
                      <a:pt x="522" y="537"/>
                    </a:lnTo>
                    <a:lnTo>
                      <a:pt x="457" y="508"/>
                    </a:lnTo>
                    <a:lnTo>
                      <a:pt x="395" y="479"/>
                    </a:lnTo>
                    <a:lnTo>
                      <a:pt x="339" y="451"/>
                    </a:lnTo>
                    <a:lnTo>
                      <a:pt x="289" y="424"/>
                    </a:lnTo>
                    <a:lnTo>
                      <a:pt x="246" y="401"/>
                    </a:lnTo>
                    <a:lnTo>
                      <a:pt x="184" y="366"/>
                    </a:lnTo>
                    <a:lnTo>
                      <a:pt x="163" y="352"/>
                    </a:lnTo>
                    <a:lnTo>
                      <a:pt x="163" y="352"/>
                    </a:lnTo>
                    <a:lnTo>
                      <a:pt x="184" y="339"/>
                    </a:lnTo>
                    <a:lnTo>
                      <a:pt x="246" y="304"/>
                    </a:lnTo>
                    <a:lnTo>
                      <a:pt x="289" y="281"/>
                    </a:lnTo>
                    <a:lnTo>
                      <a:pt x="339" y="255"/>
                    </a:lnTo>
                    <a:lnTo>
                      <a:pt x="395" y="226"/>
                    </a:lnTo>
                    <a:lnTo>
                      <a:pt x="457" y="197"/>
                    </a:lnTo>
                    <a:lnTo>
                      <a:pt x="522" y="168"/>
                    </a:lnTo>
                    <a:lnTo>
                      <a:pt x="591" y="140"/>
                    </a:lnTo>
                    <a:lnTo>
                      <a:pt x="626" y="126"/>
                    </a:lnTo>
                    <a:lnTo>
                      <a:pt x="662" y="114"/>
                    </a:lnTo>
                    <a:lnTo>
                      <a:pt x="699" y="101"/>
                    </a:lnTo>
                    <a:lnTo>
                      <a:pt x="735" y="91"/>
                    </a:lnTo>
                    <a:lnTo>
                      <a:pt x="771" y="80"/>
                    </a:lnTo>
                    <a:lnTo>
                      <a:pt x="808" y="70"/>
                    </a:lnTo>
                    <a:lnTo>
                      <a:pt x="845" y="62"/>
                    </a:lnTo>
                    <a:lnTo>
                      <a:pt x="881" y="55"/>
                    </a:lnTo>
                    <a:lnTo>
                      <a:pt x="918" y="49"/>
                    </a:lnTo>
                    <a:lnTo>
                      <a:pt x="952" y="45"/>
                    </a:lnTo>
                    <a:lnTo>
                      <a:pt x="988" y="43"/>
                    </a:lnTo>
                    <a:lnTo>
                      <a:pt x="1022" y="42"/>
                    </a:lnTo>
                    <a:lnTo>
                      <a:pt x="1022" y="42"/>
                    </a:lnTo>
                    <a:lnTo>
                      <a:pt x="1066" y="43"/>
                    </a:lnTo>
                    <a:lnTo>
                      <a:pt x="1108" y="44"/>
                    </a:lnTo>
                    <a:lnTo>
                      <a:pt x="1144" y="48"/>
                    </a:lnTo>
                    <a:lnTo>
                      <a:pt x="1179" y="54"/>
                    </a:lnTo>
                    <a:lnTo>
                      <a:pt x="1209" y="60"/>
                    </a:lnTo>
                    <a:lnTo>
                      <a:pt x="1237" y="68"/>
                    </a:lnTo>
                    <a:lnTo>
                      <a:pt x="1261" y="76"/>
                    </a:lnTo>
                    <a:lnTo>
                      <a:pt x="1283" y="87"/>
                    </a:lnTo>
                    <a:lnTo>
                      <a:pt x="1303" y="98"/>
                    </a:lnTo>
                    <a:lnTo>
                      <a:pt x="1319" y="110"/>
                    </a:lnTo>
                    <a:lnTo>
                      <a:pt x="1333" y="124"/>
                    </a:lnTo>
                    <a:lnTo>
                      <a:pt x="1346" y="138"/>
                    </a:lnTo>
                    <a:lnTo>
                      <a:pt x="1357" y="154"/>
                    </a:lnTo>
                    <a:lnTo>
                      <a:pt x="1365" y="169"/>
                    </a:lnTo>
                    <a:lnTo>
                      <a:pt x="1373" y="187"/>
                    </a:lnTo>
                    <a:lnTo>
                      <a:pt x="1379" y="203"/>
                    </a:lnTo>
                    <a:lnTo>
                      <a:pt x="1379" y="203"/>
                    </a:lnTo>
                    <a:lnTo>
                      <a:pt x="1374" y="181"/>
                    </a:lnTo>
                    <a:lnTo>
                      <a:pt x="1368" y="157"/>
                    </a:lnTo>
                    <a:lnTo>
                      <a:pt x="1368" y="157"/>
                    </a:lnTo>
                    <a:lnTo>
                      <a:pt x="1360" y="140"/>
                    </a:lnTo>
                    <a:lnTo>
                      <a:pt x="1350" y="124"/>
                    </a:lnTo>
                    <a:lnTo>
                      <a:pt x="1339" y="108"/>
                    </a:lnTo>
                    <a:lnTo>
                      <a:pt x="1326" y="93"/>
                    </a:lnTo>
                    <a:lnTo>
                      <a:pt x="1311" y="80"/>
                    </a:lnTo>
                    <a:lnTo>
                      <a:pt x="1294" y="67"/>
                    </a:lnTo>
                    <a:lnTo>
                      <a:pt x="1274" y="55"/>
                    </a:lnTo>
                    <a:lnTo>
                      <a:pt x="1253" y="44"/>
                    </a:lnTo>
                    <a:lnTo>
                      <a:pt x="1228" y="33"/>
                    </a:lnTo>
                    <a:lnTo>
                      <a:pt x="1202" y="25"/>
                    </a:lnTo>
                    <a:lnTo>
                      <a:pt x="1171" y="18"/>
                    </a:lnTo>
                    <a:lnTo>
                      <a:pt x="1137" y="12"/>
                    </a:lnTo>
                    <a:lnTo>
                      <a:pt x="1102" y="7"/>
                    </a:lnTo>
                    <a:lnTo>
                      <a:pt x="1063" y="4"/>
                    </a:lnTo>
                    <a:lnTo>
                      <a:pt x="1020" y="1"/>
                    </a:lnTo>
                    <a:lnTo>
                      <a:pt x="973" y="0"/>
                    </a:lnTo>
                    <a:close/>
                  </a:path>
                </a:pathLst>
              </a:custGeom>
              <a:solidFill>
                <a:srgbClr val="F8A9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97" name="Freeform 11"/>
              <p:cNvSpPr>
                <a:spLocks/>
              </p:cNvSpPr>
              <p:nvPr userDrawn="1"/>
            </p:nvSpPr>
            <p:spPr bwMode="auto">
              <a:xfrm>
                <a:off x="1828629" y="-2001429"/>
                <a:ext cx="1093789" cy="558802"/>
              </a:xfrm>
              <a:custGeom>
                <a:avLst/>
                <a:gdLst>
                  <a:gd name="T0" fmla="*/ 934 w 1379"/>
                  <a:gd name="T1" fmla="*/ 1 h 704"/>
                  <a:gd name="T2" fmla="*/ 814 w 1379"/>
                  <a:gd name="T3" fmla="*/ 16 h 704"/>
                  <a:gd name="T4" fmla="*/ 689 w 1379"/>
                  <a:gd name="T5" fmla="*/ 44 h 704"/>
                  <a:gd name="T6" fmla="*/ 566 w 1379"/>
                  <a:gd name="T7" fmla="*/ 82 h 704"/>
                  <a:gd name="T8" fmla="*/ 408 w 1379"/>
                  <a:gd name="T9" fmla="*/ 144 h 704"/>
                  <a:gd name="T10" fmla="*/ 200 w 1379"/>
                  <a:gd name="T11" fmla="*/ 241 h 704"/>
                  <a:gd name="T12" fmla="*/ 25 w 1379"/>
                  <a:gd name="T13" fmla="*/ 338 h 704"/>
                  <a:gd name="T14" fmla="*/ 25 w 1379"/>
                  <a:gd name="T15" fmla="*/ 367 h 704"/>
                  <a:gd name="T16" fmla="*/ 200 w 1379"/>
                  <a:gd name="T17" fmla="*/ 464 h 704"/>
                  <a:gd name="T18" fmla="*/ 408 w 1379"/>
                  <a:gd name="T19" fmla="*/ 561 h 704"/>
                  <a:gd name="T20" fmla="*/ 566 w 1379"/>
                  <a:gd name="T21" fmla="*/ 623 h 704"/>
                  <a:gd name="T22" fmla="*/ 689 w 1379"/>
                  <a:gd name="T23" fmla="*/ 661 h 704"/>
                  <a:gd name="T24" fmla="*/ 814 w 1379"/>
                  <a:gd name="T25" fmla="*/ 690 h 704"/>
                  <a:gd name="T26" fmla="*/ 934 w 1379"/>
                  <a:gd name="T27" fmla="*/ 704 h 704"/>
                  <a:gd name="T28" fmla="*/ 1020 w 1379"/>
                  <a:gd name="T29" fmla="*/ 704 h 704"/>
                  <a:gd name="T30" fmla="*/ 1137 w 1379"/>
                  <a:gd name="T31" fmla="*/ 693 h 704"/>
                  <a:gd name="T32" fmla="*/ 1228 w 1379"/>
                  <a:gd name="T33" fmla="*/ 671 h 704"/>
                  <a:gd name="T34" fmla="*/ 1294 w 1379"/>
                  <a:gd name="T35" fmla="*/ 638 h 704"/>
                  <a:gd name="T36" fmla="*/ 1339 w 1379"/>
                  <a:gd name="T37" fmla="*/ 597 h 704"/>
                  <a:gd name="T38" fmla="*/ 1368 w 1379"/>
                  <a:gd name="T39" fmla="*/ 547 h 704"/>
                  <a:gd name="T40" fmla="*/ 1379 w 1379"/>
                  <a:gd name="T41" fmla="*/ 501 h 704"/>
                  <a:gd name="T42" fmla="*/ 1365 w 1379"/>
                  <a:gd name="T43" fmla="*/ 536 h 704"/>
                  <a:gd name="T44" fmla="*/ 1333 w 1379"/>
                  <a:gd name="T45" fmla="*/ 581 h 704"/>
                  <a:gd name="T46" fmla="*/ 1283 w 1379"/>
                  <a:gd name="T47" fmla="*/ 618 h 704"/>
                  <a:gd name="T48" fmla="*/ 1209 w 1379"/>
                  <a:gd name="T49" fmla="*/ 646 h 704"/>
                  <a:gd name="T50" fmla="*/ 1108 w 1379"/>
                  <a:gd name="T51" fmla="*/ 660 h 704"/>
                  <a:gd name="T52" fmla="*/ 1022 w 1379"/>
                  <a:gd name="T53" fmla="*/ 663 h 704"/>
                  <a:gd name="T54" fmla="*/ 918 w 1379"/>
                  <a:gd name="T55" fmla="*/ 655 h 704"/>
                  <a:gd name="T56" fmla="*/ 808 w 1379"/>
                  <a:gd name="T57" fmla="*/ 635 h 704"/>
                  <a:gd name="T58" fmla="*/ 699 w 1379"/>
                  <a:gd name="T59" fmla="*/ 604 h 704"/>
                  <a:gd name="T60" fmla="*/ 591 w 1379"/>
                  <a:gd name="T61" fmla="*/ 565 h 704"/>
                  <a:gd name="T62" fmla="*/ 395 w 1379"/>
                  <a:gd name="T63" fmla="*/ 479 h 704"/>
                  <a:gd name="T64" fmla="*/ 246 w 1379"/>
                  <a:gd name="T65" fmla="*/ 401 h 704"/>
                  <a:gd name="T66" fmla="*/ 163 w 1379"/>
                  <a:gd name="T67" fmla="*/ 352 h 704"/>
                  <a:gd name="T68" fmla="*/ 289 w 1379"/>
                  <a:gd name="T69" fmla="*/ 281 h 704"/>
                  <a:gd name="T70" fmla="*/ 457 w 1379"/>
                  <a:gd name="T71" fmla="*/ 197 h 704"/>
                  <a:gd name="T72" fmla="*/ 626 w 1379"/>
                  <a:gd name="T73" fmla="*/ 126 h 704"/>
                  <a:gd name="T74" fmla="*/ 735 w 1379"/>
                  <a:gd name="T75" fmla="*/ 91 h 704"/>
                  <a:gd name="T76" fmla="*/ 845 w 1379"/>
                  <a:gd name="T77" fmla="*/ 62 h 704"/>
                  <a:gd name="T78" fmla="*/ 952 w 1379"/>
                  <a:gd name="T79" fmla="*/ 45 h 704"/>
                  <a:gd name="T80" fmla="*/ 1022 w 1379"/>
                  <a:gd name="T81" fmla="*/ 42 h 704"/>
                  <a:gd name="T82" fmla="*/ 1144 w 1379"/>
                  <a:gd name="T83" fmla="*/ 48 h 704"/>
                  <a:gd name="T84" fmla="*/ 1237 w 1379"/>
                  <a:gd name="T85" fmla="*/ 68 h 704"/>
                  <a:gd name="T86" fmla="*/ 1303 w 1379"/>
                  <a:gd name="T87" fmla="*/ 98 h 704"/>
                  <a:gd name="T88" fmla="*/ 1346 w 1379"/>
                  <a:gd name="T89" fmla="*/ 138 h 704"/>
                  <a:gd name="T90" fmla="*/ 1373 w 1379"/>
                  <a:gd name="T91" fmla="*/ 187 h 704"/>
                  <a:gd name="T92" fmla="*/ 1374 w 1379"/>
                  <a:gd name="T93" fmla="*/ 181 h 704"/>
                  <a:gd name="T94" fmla="*/ 1360 w 1379"/>
                  <a:gd name="T95" fmla="*/ 140 h 704"/>
                  <a:gd name="T96" fmla="*/ 1326 w 1379"/>
                  <a:gd name="T97" fmla="*/ 93 h 704"/>
                  <a:gd name="T98" fmla="*/ 1274 w 1379"/>
                  <a:gd name="T99" fmla="*/ 55 h 704"/>
                  <a:gd name="T100" fmla="*/ 1202 w 1379"/>
                  <a:gd name="T101" fmla="*/ 25 h 704"/>
                  <a:gd name="T102" fmla="*/ 1102 w 1379"/>
                  <a:gd name="T103" fmla="*/ 7 h 704"/>
                  <a:gd name="T104" fmla="*/ 973 w 1379"/>
                  <a:gd name="T10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79" h="704">
                    <a:moveTo>
                      <a:pt x="973" y="0"/>
                    </a:moveTo>
                    <a:lnTo>
                      <a:pt x="973" y="0"/>
                    </a:lnTo>
                    <a:lnTo>
                      <a:pt x="934" y="1"/>
                    </a:lnTo>
                    <a:lnTo>
                      <a:pt x="895" y="5"/>
                    </a:lnTo>
                    <a:lnTo>
                      <a:pt x="855" y="10"/>
                    </a:lnTo>
                    <a:lnTo>
                      <a:pt x="814" y="16"/>
                    </a:lnTo>
                    <a:lnTo>
                      <a:pt x="773" y="24"/>
                    </a:lnTo>
                    <a:lnTo>
                      <a:pt x="731" y="33"/>
                    </a:lnTo>
                    <a:lnTo>
                      <a:pt x="689" y="44"/>
                    </a:lnTo>
                    <a:lnTo>
                      <a:pt x="648" y="56"/>
                    </a:lnTo>
                    <a:lnTo>
                      <a:pt x="607" y="68"/>
                    </a:lnTo>
                    <a:lnTo>
                      <a:pt x="566" y="82"/>
                    </a:lnTo>
                    <a:lnTo>
                      <a:pt x="525" y="96"/>
                    </a:lnTo>
                    <a:lnTo>
                      <a:pt x="485" y="112"/>
                    </a:lnTo>
                    <a:lnTo>
                      <a:pt x="408" y="144"/>
                    </a:lnTo>
                    <a:lnTo>
                      <a:pt x="333" y="176"/>
                    </a:lnTo>
                    <a:lnTo>
                      <a:pt x="264" y="209"/>
                    </a:lnTo>
                    <a:lnTo>
                      <a:pt x="200" y="241"/>
                    </a:lnTo>
                    <a:lnTo>
                      <a:pt x="144" y="271"/>
                    </a:lnTo>
                    <a:lnTo>
                      <a:pt x="95" y="297"/>
                    </a:lnTo>
                    <a:lnTo>
                      <a:pt x="25" y="338"/>
                    </a:lnTo>
                    <a:lnTo>
                      <a:pt x="0" y="352"/>
                    </a:lnTo>
                    <a:lnTo>
                      <a:pt x="0" y="352"/>
                    </a:lnTo>
                    <a:lnTo>
                      <a:pt x="25" y="367"/>
                    </a:lnTo>
                    <a:lnTo>
                      <a:pt x="95" y="408"/>
                    </a:lnTo>
                    <a:lnTo>
                      <a:pt x="144" y="434"/>
                    </a:lnTo>
                    <a:lnTo>
                      <a:pt x="200" y="464"/>
                    </a:lnTo>
                    <a:lnTo>
                      <a:pt x="264" y="496"/>
                    </a:lnTo>
                    <a:lnTo>
                      <a:pt x="333" y="528"/>
                    </a:lnTo>
                    <a:lnTo>
                      <a:pt x="408" y="561"/>
                    </a:lnTo>
                    <a:lnTo>
                      <a:pt x="485" y="593"/>
                    </a:lnTo>
                    <a:lnTo>
                      <a:pt x="525" y="609"/>
                    </a:lnTo>
                    <a:lnTo>
                      <a:pt x="566" y="623"/>
                    </a:lnTo>
                    <a:lnTo>
                      <a:pt x="607" y="636"/>
                    </a:lnTo>
                    <a:lnTo>
                      <a:pt x="648" y="649"/>
                    </a:lnTo>
                    <a:lnTo>
                      <a:pt x="689" y="661"/>
                    </a:lnTo>
                    <a:lnTo>
                      <a:pt x="731" y="672"/>
                    </a:lnTo>
                    <a:lnTo>
                      <a:pt x="773" y="681"/>
                    </a:lnTo>
                    <a:lnTo>
                      <a:pt x="814" y="690"/>
                    </a:lnTo>
                    <a:lnTo>
                      <a:pt x="855" y="695"/>
                    </a:lnTo>
                    <a:lnTo>
                      <a:pt x="895" y="700"/>
                    </a:lnTo>
                    <a:lnTo>
                      <a:pt x="934" y="704"/>
                    </a:lnTo>
                    <a:lnTo>
                      <a:pt x="973" y="704"/>
                    </a:lnTo>
                    <a:lnTo>
                      <a:pt x="973" y="704"/>
                    </a:lnTo>
                    <a:lnTo>
                      <a:pt x="1020" y="704"/>
                    </a:lnTo>
                    <a:lnTo>
                      <a:pt x="1063" y="701"/>
                    </a:lnTo>
                    <a:lnTo>
                      <a:pt x="1102" y="698"/>
                    </a:lnTo>
                    <a:lnTo>
                      <a:pt x="1137" y="693"/>
                    </a:lnTo>
                    <a:lnTo>
                      <a:pt x="1171" y="687"/>
                    </a:lnTo>
                    <a:lnTo>
                      <a:pt x="1202" y="680"/>
                    </a:lnTo>
                    <a:lnTo>
                      <a:pt x="1228" y="671"/>
                    </a:lnTo>
                    <a:lnTo>
                      <a:pt x="1253" y="661"/>
                    </a:lnTo>
                    <a:lnTo>
                      <a:pt x="1274" y="650"/>
                    </a:lnTo>
                    <a:lnTo>
                      <a:pt x="1294" y="638"/>
                    </a:lnTo>
                    <a:lnTo>
                      <a:pt x="1311" y="625"/>
                    </a:lnTo>
                    <a:lnTo>
                      <a:pt x="1326" y="612"/>
                    </a:lnTo>
                    <a:lnTo>
                      <a:pt x="1339" y="597"/>
                    </a:lnTo>
                    <a:lnTo>
                      <a:pt x="1350" y="581"/>
                    </a:lnTo>
                    <a:lnTo>
                      <a:pt x="1360" y="565"/>
                    </a:lnTo>
                    <a:lnTo>
                      <a:pt x="1368" y="547"/>
                    </a:lnTo>
                    <a:lnTo>
                      <a:pt x="1368" y="547"/>
                    </a:lnTo>
                    <a:lnTo>
                      <a:pt x="1374" y="524"/>
                    </a:lnTo>
                    <a:lnTo>
                      <a:pt x="1379" y="501"/>
                    </a:lnTo>
                    <a:lnTo>
                      <a:pt x="1379" y="501"/>
                    </a:lnTo>
                    <a:lnTo>
                      <a:pt x="1373" y="518"/>
                    </a:lnTo>
                    <a:lnTo>
                      <a:pt x="1365" y="536"/>
                    </a:lnTo>
                    <a:lnTo>
                      <a:pt x="1357" y="552"/>
                    </a:lnTo>
                    <a:lnTo>
                      <a:pt x="1346" y="567"/>
                    </a:lnTo>
                    <a:lnTo>
                      <a:pt x="1333" y="581"/>
                    </a:lnTo>
                    <a:lnTo>
                      <a:pt x="1319" y="594"/>
                    </a:lnTo>
                    <a:lnTo>
                      <a:pt x="1303" y="608"/>
                    </a:lnTo>
                    <a:lnTo>
                      <a:pt x="1283" y="618"/>
                    </a:lnTo>
                    <a:lnTo>
                      <a:pt x="1261" y="629"/>
                    </a:lnTo>
                    <a:lnTo>
                      <a:pt x="1237" y="637"/>
                    </a:lnTo>
                    <a:lnTo>
                      <a:pt x="1209" y="646"/>
                    </a:lnTo>
                    <a:lnTo>
                      <a:pt x="1179" y="652"/>
                    </a:lnTo>
                    <a:lnTo>
                      <a:pt x="1144" y="656"/>
                    </a:lnTo>
                    <a:lnTo>
                      <a:pt x="1108" y="660"/>
                    </a:lnTo>
                    <a:lnTo>
                      <a:pt x="1066" y="662"/>
                    </a:lnTo>
                    <a:lnTo>
                      <a:pt x="1022" y="663"/>
                    </a:lnTo>
                    <a:lnTo>
                      <a:pt x="1022" y="663"/>
                    </a:lnTo>
                    <a:lnTo>
                      <a:pt x="988" y="662"/>
                    </a:lnTo>
                    <a:lnTo>
                      <a:pt x="952" y="660"/>
                    </a:lnTo>
                    <a:lnTo>
                      <a:pt x="918" y="655"/>
                    </a:lnTo>
                    <a:lnTo>
                      <a:pt x="881" y="650"/>
                    </a:lnTo>
                    <a:lnTo>
                      <a:pt x="845" y="643"/>
                    </a:lnTo>
                    <a:lnTo>
                      <a:pt x="808" y="635"/>
                    </a:lnTo>
                    <a:lnTo>
                      <a:pt x="771" y="625"/>
                    </a:lnTo>
                    <a:lnTo>
                      <a:pt x="735" y="615"/>
                    </a:lnTo>
                    <a:lnTo>
                      <a:pt x="699" y="604"/>
                    </a:lnTo>
                    <a:lnTo>
                      <a:pt x="662" y="591"/>
                    </a:lnTo>
                    <a:lnTo>
                      <a:pt x="626" y="578"/>
                    </a:lnTo>
                    <a:lnTo>
                      <a:pt x="591" y="565"/>
                    </a:lnTo>
                    <a:lnTo>
                      <a:pt x="522" y="537"/>
                    </a:lnTo>
                    <a:lnTo>
                      <a:pt x="457" y="508"/>
                    </a:lnTo>
                    <a:lnTo>
                      <a:pt x="395" y="479"/>
                    </a:lnTo>
                    <a:lnTo>
                      <a:pt x="339" y="451"/>
                    </a:lnTo>
                    <a:lnTo>
                      <a:pt x="289" y="424"/>
                    </a:lnTo>
                    <a:lnTo>
                      <a:pt x="246" y="401"/>
                    </a:lnTo>
                    <a:lnTo>
                      <a:pt x="184" y="366"/>
                    </a:lnTo>
                    <a:lnTo>
                      <a:pt x="163" y="352"/>
                    </a:lnTo>
                    <a:lnTo>
                      <a:pt x="163" y="352"/>
                    </a:lnTo>
                    <a:lnTo>
                      <a:pt x="184" y="339"/>
                    </a:lnTo>
                    <a:lnTo>
                      <a:pt x="246" y="304"/>
                    </a:lnTo>
                    <a:lnTo>
                      <a:pt x="289" y="281"/>
                    </a:lnTo>
                    <a:lnTo>
                      <a:pt x="339" y="255"/>
                    </a:lnTo>
                    <a:lnTo>
                      <a:pt x="395" y="226"/>
                    </a:lnTo>
                    <a:lnTo>
                      <a:pt x="457" y="197"/>
                    </a:lnTo>
                    <a:lnTo>
                      <a:pt x="522" y="168"/>
                    </a:lnTo>
                    <a:lnTo>
                      <a:pt x="591" y="140"/>
                    </a:lnTo>
                    <a:lnTo>
                      <a:pt x="626" y="126"/>
                    </a:lnTo>
                    <a:lnTo>
                      <a:pt x="662" y="114"/>
                    </a:lnTo>
                    <a:lnTo>
                      <a:pt x="699" y="101"/>
                    </a:lnTo>
                    <a:lnTo>
                      <a:pt x="735" y="91"/>
                    </a:lnTo>
                    <a:lnTo>
                      <a:pt x="771" y="80"/>
                    </a:lnTo>
                    <a:lnTo>
                      <a:pt x="808" y="70"/>
                    </a:lnTo>
                    <a:lnTo>
                      <a:pt x="845" y="62"/>
                    </a:lnTo>
                    <a:lnTo>
                      <a:pt x="881" y="55"/>
                    </a:lnTo>
                    <a:lnTo>
                      <a:pt x="918" y="49"/>
                    </a:lnTo>
                    <a:lnTo>
                      <a:pt x="952" y="45"/>
                    </a:lnTo>
                    <a:lnTo>
                      <a:pt x="988" y="43"/>
                    </a:lnTo>
                    <a:lnTo>
                      <a:pt x="1022" y="42"/>
                    </a:lnTo>
                    <a:lnTo>
                      <a:pt x="1022" y="42"/>
                    </a:lnTo>
                    <a:lnTo>
                      <a:pt x="1066" y="43"/>
                    </a:lnTo>
                    <a:lnTo>
                      <a:pt x="1108" y="44"/>
                    </a:lnTo>
                    <a:lnTo>
                      <a:pt x="1144" y="48"/>
                    </a:lnTo>
                    <a:lnTo>
                      <a:pt x="1179" y="54"/>
                    </a:lnTo>
                    <a:lnTo>
                      <a:pt x="1209" y="60"/>
                    </a:lnTo>
                    <a:lnTo>
                      <a:pt x="1237" y="68"/>
                    </a:lnTo>
                    <a:lnTo>
                      <a:pt x="1261" y="76"/>
                    </a:lnTo>
                    <a:lnTo>
                      <a:pt x="1283" y="87"/>
                    </a:lnTo>
                    <a:lnTo>
                      <a:pt x="1303" y="98"/>
                    </a:lnTo>
                    <a:lnTo>
                      <a:pt x="1319" y="110"/>
                    </a:lnTo>
                    <a:lnTo>
                      <a:pt x="1333" y="124"/>
                    </a:lnTo>
                    <a:lnTo>
                      <a:pt x="1346" y="138"/>
                    </a:lnTo>
                    <a:lnTo>
                      <a:pt x="1357" y="154"/>
                    </a:lnTo>
                    <a:lnTo>
                      <a:pt x="1365" y="169"/>
                    </a:lnTo>
                    <a:lnTo>
                      <a:pt x="1373" y="187"/>
                    </a:lnTo>
                    <a:lnTo>
                      <a:pt x="1379" y="203"/>
                    </a:lnTo>
                    <a:lnTo>
                      <a:pt x="1379" y="203"/>
                    </a:lnTo>
                    <a:lnTo>
                      <a:pt x="1374" y="181"/>
                    </a:lnTo>
                    <a:lnTo>
                      <a:pt x="1368" y="157"/>
                    </a:lnTo>
                    <a:lnTo>
                      <a:pt x="1368" y="157"/>
                    </a:lnTo>
                    <a:lnTo>
                      <a:pt x="1360" y="140"/>
                    </a:lnTo>
                    <a:lnTo>
                      <a:pt x="1350" y="124"/>
                    </a:lnTo>
                    <a:lnTo>
                      <a:pt x="1339" y="108"/>
                    </a:lnTo>
                    <a:lnTo>
                      <a:pt x="1326" y="93"/>
                    </a:lnTo>
                    <a:lnTo>
                      <a:pt x="1311" y="80"/>
                    </a:lnTo>
                    <a:lnTo>
                      <a:pt x="1294" y="67"/>
                    </a:lnTo>
                    <a:lnTo>
                      <a:pt x="1274" y="55"/>
                    </a:lnTo>
                    <a:lnTo>
                      <a:pt x="1253" y="44"/>
                    </a:lnTo>
                    <a:lnTo>
                      <a:pt x="1228" y="33"/>
                    </a:lnTo>
                    <a:lnTo>
                      <a:pt x="1202" y="25"/>
                    </a:lnTo>
                    <a:lnTo>
                      <a:pt x="1171" y="18"/>
                    </a:lnTo>
                    <a:lnTo>
                      <a:pt x="1137" y="12"/>
                    </a:lnTo>
                    <a:lnTo>
                      <a:pt x="1102" y="7"/>
                    </a:lnTo>
                    <a:lnTo>
                      <a:pt x="1063" y="4"/>
                    </a:lnTo>
                    <a:lnTo>
                      <a:pt x="1020" y="1"/>
                    </a:lnTo>
                    <a:lnTo>
                      <a:pt x="97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98" name="Freeform 12"/>
              <p:cNvSpPr>
                <a:spLocks noEditPoints="1"/>
              </p:cNvSpPr>
              <p:nvPr userDrawn="1"/>
            </p:nvSpPr>
            <p:spPr bwMode="auto">
              <a:xfrm>
                <a:off x="2922418" y="-1839503"/>
                <a:ext cx="9525" cy="234951"/>
              </a:xfrm>
              <a:custGeom>
                <a:avLst/>
                <a:gdLst>
                  <a:gd name="T0" fmla="*/ 13 w 13"/>
                  <a:gd name="T1" fmla="*/ 149 h 298"/>
                  <a:gd name="T2" fmla="*/ 13 w 13"/>
                  <a:gd name="T3" fmla="*/ 149 h 298"/>
                  <a:gd name="T4" fmla="*/ 11 w 13"/>
                  <a:gd name="T5" fmla="*/ 187 h 298"/>
                  <a:gd name="T6" fmla="*/ 9 w 13"/>
                  <a:gd name="T7" fmla="*/ 225 h 298"/>
                  <a:gd name="T8" fmla="*/ 5 w 13"/>
                  <a:gd name="T9" fmla="*/ 262 h 298"/>
                  <a:gd name="T10" fmla="*/ 0 w 13"/>
                  <a:gd name="T11" fmla="*/ 298 h 298"/>
                  <a:gd name="T12" fmla="*/ 0 w 13"/>
                  <a:gd name="T13" fmla="*/ 298 h 298"/>
                  <a:gd name="T14" fmla="*/ 3 w 13"/>
                  <a:gd name="T15" fmla="*/ 281 h 298"/>
                  <a:gd name="T16" fmla="*/ 7 w 13"/>
                  <a:gd name="T17" fmla="*/ 264 h 298"/>
                  <a:gd name="T18" fmla="*/ 9 w 13"/>
                  <a:gd name="T19" fmla="*/ 245 h 298"/>
                  <a:gd name="T20" fmla="*/ 10 w 13"/>
                  <a:gd name="T21" fmla="*/ 227 h 298"/>
                  <a:gd name="T22" fmla="*/ 13 w 13"/>
                  <a:gd name="T23" fmla="*/ 189 h 298"/>
                  <a:gd name="T24" fmla="*/ 13 w 13"/>
                  <a:gd name="T25" fmla="*/ 149 h 298"/>
                  <a:gd name="T26" fmla="*/ 0 w 13"/>
                  <a:gd name="T27" fmla="*/ 0 h 298"/>
                  <a:gd name="T28" fmla="*/ 0 w 13"/>
                  <a:gd name="T29" fmla="*/ 0 h 298"/>
                  <a:gd name="T30" fmla="*/ 5 w 13"/>
                  <a:gd name="T31" fmla="*/ 37 h 298"/>
                  <a:gd name="T32" fmla="*/ 9 w 13"/>
                  <a:gd name="T33" fmla="*/ 74 h 298"/>
                  <a:gd name="T34" fmla="*/ 11 w 13"/>
                  <a:gd name="T35" fmla="*/ 111 h 298"/>
                  <a:gd name="T36" fmla="*/ 13 w 13"/>
                  <a:gd name="T37" fmla="*/ 149 h 298"/>
                  <a:gd name="T38" fmla="*/ 13 w 13"/>
                  <a:gd name="T39" fmla="*/ 149 h 298"/>
                  <a:gd name="T40" fmla="*/ 13 w 13"/>
                  <a:gd name="T41" fmla="*/ 149 h 298"/>
                  <a:gd name="T42" fmla="*/ 13 w 13"/>
                  <a:gd name="T43" fmla="*/ 149 h 298"/>
                  <a:gd name="T44" fmla="*/ 13 w 13"/>
                  <a:gd name="T45" fmla="*/ 110 h 298"/>
                  <a:gd name="T46" fmla="*/ 10 w 13"/>
                  <a:gd name="T47" fmla="*/ 72 h 298"/>
                  <a:gd name="T48" fmla="*/ 9 w 13"/>
                  <a:gd name="T49" fmla="*/ 53 h 298"/>
                  <a:gd name="T50" fmla="*/ 7 w 13"/>
                  <a:gd name="T51" fmla="*/ 35 h 298"/>
                  <a:gd name="T52" fmla="*/ 3 w 13"/>
                  <a:gd name="T53" fmla="*/ 18 h 298"/>
                  <a:gd name="T54" fmla="*/ 0 w 13"/>
                  <a:gd name="T55" fmla="*/ 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 h="298">
                    <a:moveTo>
                      <a:pt x="13" y="149"/>
                    </a:moveTo>
                    <a:lnTo>
                      <a:pt x="13" y="149"/>
                    </a:lnTo>
                    <a:lnTo>
                      <a:pt x="11" y="187"/>
                    </a:lnTo>
                    <a:lnTo>
                      <a:pt x="9" y="225"/>
                    </a:lnTo>
                    <a:lnTo>
                      <a:pt x="5" y="262"/>
                    </a:lnTo>
                    <a:lnTo>
                      <a:pt x="0" y="298"/>
                    </a:lnTo>
                    <a:lnTo>
                      <a:pt x="0" y="298"/>
                    </a:lnTo>
                    <a:lnTo>
                      <a:pt x="3" y="281"/>
                    </a:lnTo>
                    <a:lnTo>
                      <a:pt x="7" y="264"/>
                    </a:lnTo>
                    <a:lnTo>
                      <a:pt x="9" y="245"/>
                    </a:lnTo>
                    <a:lnTo>
                      <a:pt x="10" y="227"/>
                    </a:lnTo>
                    <a:lnTo>
                      <a:pt x="13" y="189"/>
                    </a:lnTo>
                    <a:lnTo>
                      <a:pt x="13" y="149"/>
                    </a:lnTo>
                    <a:close/>
                    <a:moveTo>
                      <a:pt x="0" y="0"/>
                    </a:moveTo>
                    <a:lnTo>
                      <a:pt x="0" y="0"/>
                    </a:lnTo>
                    <a:lnTo>
                      <a:pt x="5" y="37"/>
                    </a:lnTo>
                    <a:lnTo>
                      <a:pt x="9" y="74"/>
                    </a:lnTo>
                    <a:lnTo>
                      <a:pt x="11" y="111"/>
                    </a:lnTo>
                    <a:lnTo>
                      <a:pt x="13" y="149"/>
                    </a:lnTo>
                    <a:lnTo>
                      <a:pt x="13" y="149"/>
                    </a:lnTo>
                    <a:lnTo>
                      <a:pt x="13" y="149"/>
                    </a:lnTo>
                    <a:lnTo>
                      <a:pt x="13" y="149"/>
                    </a:lnTo>
                    <a:lnTo>
                      <a:pt x="13" y="110"/>
                    </a:lnTo>
                    <a:lnTo>
                      <a:pt x="10" y="72"/>
                    </a:lnTo>
                    <a:lnTo>
                      <a:pt x="9" y="53"/>
                    </a:lnTo>
                    <a:lnTo>
                      <a:pt x="7" y="35"/>
                    </a:lnTo>
                    <a:lnTo>
                      <a:pt x="3" y="18"/>
                    </a:lnTo>
                    <a:lnTo>
                      <a:pt x="0" y="0"/>
                    </a:lnTo>
                    <a:close/>
                  </a:path>
                </a:pathLst>
              </a:custGeom>
              <a:solidFill>
                <a:srgbClr val="FCC0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99" name="Freeform 13"/>
              <p:cNvSpPr>
                <a:spLocks/>
              </p:cNvSpPr>
              <p:nvPr userDrawn="1"/>
            </p:nvSpPr>
            <p:spPr bwMode="auto">
              <a:xfrm>
                <a:off x="2922418" y="-1722028"/>
                <a:ext cx="9525" cy="117475"/>
              </a:xfrm>
              <a:custGeom>
                <a:avLst/>
                <a:gdLst>
                  <a:gd name="T0" fmla="*/ 13 w 13"/>
                  <a:gd name="T1" fmla="*/ 0 h 149"/>
                  <a:gd name="T2" fmla="*/ 13 w 13"/>
                  <a:gd name="T3" fmla="*/ 0 h 149"/>
                  <a:gd name="T4" fmla="*/ 11 w 13"/>
                  <a:gd name="T5" fmla="*/ 38 h 149"/>
                  <a:gd name="T6" fmla="*/ 9 w 13"/>
                  <a:gd name="T7" fmla="*/ 76 h 149"/>
                  <a:gd name="T8" fmla="*/ 5 w 13"/>
                  <a:gd name="T9" fmla="*/ 113 h 149"/>
                  <a:gd name="T10" fmla="*/ 0 w 13"/>
                  <a:gd name="T11" fmla="*/ 149 h 149"/>
                  <a:gd name="T12" fmla="*/ 0 w 13"/>
                  <a:gd name="T13" fmla="*/ 149 h 149"/>
                  <a:gd name="T14" fmla="*/ 3 w 13"/>
                  <a:gd name="T15" fmla="*/ 132 h 149"/>
                  <a:gd name="T16" fmla="*/ 7 w 13"/>
                  <a:gd name="T17" fmla="*/ 115 h 149"/>
                  <a:gd name="T18" fmla="*/ 9 w 13"/>
                  <a:gd name="T19" fmla="*/ 96 h 149"/>
                  <a:gd name="T20" fmla="*/ 10 w 13"/>
                  <a:gd name="T21" fmla="*/ 78 h 149"/>
                  <a:gd name="T22" fmla="*/ 13 w 13"/>
                  <a:gd name="T23" fmla="*/ 40 h 149"/>
                  <a:gd name="T24" fmla="*/ 13 w 13"/>
                  <a:gd name="T25"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149">
                    <a:moveTo>
                      <a:pt x="13" y="0"/>
                    </a:moveTo>
                    <a:lnTo>
                      <a:pt x="13" y="0"/>
                    </a:lnTo>
                    <a:lnTo>
                      <a:pt x="11" y="38"/>
                    </a:lnTo>
                    <a:lnTo>
                      <a:pt x="9" y="76"/>
                    </a:lnTo>
                    <a:lnTo>
                      <a:pt x="5" y="113"/>
                    </a:lnTo>
                    <a:lnTo>
                      <a:pt x="0" y="149"/>
                    </a:lnTo>
                    <a:lnTo>
                      <a:pt x="0" y="149"/>
                    </a:lnTo>
                    <a:lnTo>
                      <a:pt x="3" y="132"/>
                    </a:lnTo>
                    <a:lnTo>
                      <a:pt x="7" y="115"/>
                    </a:lnTo>
                    <a:lnTo>
                      <a:pt x="9" y="96"/>
                    </a:lnTo>
                    <a:lnTo>
                      <a:pt x="10" y="78"/>
                    </a:lnTo>
                    <a:lnTo>
                      <a:pt x="13" y="40"/>
                    </a:lnTo>
                    <a:lnTo>
                      <a:pt x="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00" name="Freeform 14"/>
              <p:cNvSpPr>
                <a:spLocks/>
              </p:cNvSpPr>
              <p:nvPr userDrawn="1"/>
            </p:nvSpPr>
            <p:spPr bwMode="auto">
              <a:xfrm>
                <a:off x="2922418" y="-1839503"/>
                <a:ext cx="9525" cy="117475"/>
              </a:xfrm>
              <a:custGeom>
                <a:avLst/>
                <a:gdLst>
                  <a:gd name="T0" fmla="*/ 0 w 13"/>
                  <a:gd name="T1" fmla="*/ 0 h 149"/>
                  <a:gd name="T2" fmla="*/ 0 w 13"/>
                  <a:gd name="T3" fmla="*/ 0 h 149"/>
                  <a:gd name="T4" fmla="*/ 5 w 13"/>
                  <a:gd name="T5" fmla="*/ 37 h 149"/>
                  <a:gd name="T6" fmla="*/ 9 w 13"/>
                  <a:gd name="T7" fmla="*/ 74 h 149"/>
                  <a:gd name="T8" fmla="*/ 11 w 13"/>
                  <a:gd name="T9" fmla="*/ 111 h 149"/>
                  <a:gd name="T10" fmla="*/ 13 w 13"/>
                  <a:gd name="T11" fmla="*/ 149 h 149"/>
                  <a:gd name="T12" fmla="*/ 13 w 13"/>
                  <a:gd name="T13" fmla="*/ 149 h 149"/>
                  <a:gd name="T14" fmla="*/ 13 w 13"/>
                  <a:gd name="T15" fmla="*/ 149 h 149"/>
                  <a:gd name="T16" fmla="*/ 13 w 13"/>
                  <a:gd name="T17" fmla="*/ 149 h 149"/>
                  <a:gd name="T18" fmla="*/ 13 w 13"/>
                  <a:gd name="T19" fmla="*/ 110 h 149"/>
                  <a:gd name="T20" fmla="*/ 10 w 13"/>
                  <a:gd name="T21" fmla="*/ 72 h 149"/>
                  <a:gd name="T22" fmla="*/ 9 w 13"/>
                  <a:gd name="T23" fmla="*/ 53 h 149"/>
                  <a:gd name="T24" fmla="*/ 7 w 13"/>
                  <a:gd name="T25" fmla="*/ 35 h 149"/>
                  <a:gd name="T26" fmla="*/ 3 w 13"/>
                  <a:gd name="T27" fmla="*/ 18 h 149"/>
                  <a:gd name="T28" fmla="*/ 0 w 13"/>
                  <a:gd name="T2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149">
                    <a:moveTo>
                      <a:pt x="0" y="0"/>
                    </a:moveTo>
                    <a:lnTo>
                      <a:pt x="0" y="0"/>
                    </a:lnTo>
                    <a:lnTo>
                      <a:pt x="5" y="37"/>
                    </a:lnTo>
                    <a:lnTo>
                      <a:pt x="9" y="74"/>
                    </a:lnTo>
                    <a:lnTo>
                      <a:pt x="11" y="111"/>
                    </a:lnTo>
                    <a:lnTo>
                      <a:pt x="13" y="149"/>
                    </a:lnTo>
                    <a:lnTo>
                      <a:pt x="13" y="149"/>
                    </a:lnTo>
                    <a:lnTo>
                      <a:pt x="13" y="149"/>
                    </a:lnTo>
                    <a:lnTo>
                      <a:pt x="13" y="149"/>
                    </a:lnTo>
                    <a:lnTo>
                      <a:pt x="13" y="110"/>
                    </a:lnTo>
                    <a:lnTo>
                      <a:pt x="10" y="72"/>
                    </a:lnTo>
                    <a:lnTo>
                      <a:pt x="9" y="53"/>
                    </a:lnTo>
                    <a:lnTo>
                      <a:pt x="7" y="35"/>
                    </a:lnTo>
                    <a:lnTo>
                      <a:pt x="3" y="1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01" name="Freeform 15"/>
              <p:cNvSpPr>
                <a:spLocks/>
              </p:cNvSpPr>
              <p:nvPr userDrawn="1"/>
            </p:nvSpPr>
            <p:spPr bwMode="auto">
              <a:xfrm>
                <a:off x="1957217" y="-1968091"/>
                <a:ext cx="974726" cy="493715"/>
              </a:xfrm>
              <a:custGeom>
                <a:avLst/>
                <a:gdLst>
                  <a:gd name="T0" fmla="*/ 859 w 1229"/>
                  <a:gd name="T1" fmla="*/ 0 h 621"/>
                  <a:gd name="T2" fmla="*/ 789 w 1229"/>
                  <a:gd name="T3" fmla="*/ 3 h 621"/>
                  <a:gd name="T4" fmla="*/ 718 w 1229"/>
                  <a:gd name="T5" fmla="*/ 13 h 621"/>
                  <a:gd name="T6" fmla="*/ 645 w 1229"/>
                  <a:gd name="T7" fmla="*/ 28 h 621"/>
                  <a:gd name="T8" fmla="*/ 572 w 1229"/>
                  <a:gd name="T9" fmla="*/ 49 h 621"/>
                  <a:gd name="T10" fmla="*/ 499 w 1229"/>
                  <a:gd name="T11" fmla="*/ 72 h 621"/>
                  <a:gd name="T12" fmla="*/ 428 w 1229"/>
                  <a:gd name="T13" fmla="*/ 98 h 621"/>
                  <a:gd name="T14" fmla="*/ 294 w 1229"/>
                  <a:gd name="T15" fmla="*/ 155 h 621"/>
                  <a:gd name="T16" fmla="*/ 176 w 1229"/>
                  <a:gd name="T17" fmla="*/ 213 h 621"/>
                  <a:gd name="T18" fmla="*/ 83 w 1229"/>
                  <a:gd name="T19" fmla="*/ 262 h 621"/>
                  <a:gd name="T20" fmla="*/ 0 w 1229"/>
                  <a:gd name="T21" fmla="*/ 310 h 621"/>
                  <a:gd name="T22" fmla="*/ 21 w 1229"/>
                  <a:gd name="T23" fmla="*/ 324 h 621"/>
                  <a:gd name="T24" fmla="*/ 126 w 1229"/>
                  <a:gd name="T25" fmla="*/ 382 h 621"/>
                  <a:gd name="T26" fmla="*/ 232 w 1229"/>
                  <a:gd name="T27" fmla="*/ 437 h 621"/>
                  <a:gd name="T28" fmla="*/ 359 w 1229"/>
                  <a:gd name="T29" fmla="*/ 495 h 621"/>
                  <a:gd name="T30" fmla="*/ 463 w 1229"/>
                  <a:gd name="T31" fmla="*/ 536 h 621"/>
                  <a:gd name="T32" fmla="*/ 536 w 1229"/>
                  <a:gd name="T33" fmla="*/ 562 h 621"/>
                  <a:gd name="T34" fmla="*/ 608 w 1229"/>
                  <a:gd name="T35" fmla="*/ 583 h 621"/>
                  <a:gd name="T36" fmla="*/ 682 w 1229"/>
                  <a:gd name="T37" fmla="*/ 601 h 621"/>
                  <a:gd name="T38" fmla="*/ 755 w 1229"/>
                  <a:gd name="T39" fmla="*/ 613 h 621"/>
                  <a:gd name="T40" fmla="*/ 825 w 1229"/>
                  <a:gd name="T41" fmla="*/ 620 h 621"/>
                  <a:gd name="T42" fmla="*/ 859 w 1229"/>
                  <a:gd name="T43" fmla="*/ 621 h 621"/>
                  <a:gd name="T44" fmla="*/ 945 w 1229"/>
                  <a:gd name="T45" fmla="*/ 618 h 621"/>
                  <a:gd name="T46" fmla="*/ 1016 w 1229"/>
                  <a:gd name="T47" fmla="*/ 610 h 621"/>
                  <a:gd name="T48" fmla="*/ 1074 w 1229"/>
                  <a:gd name="T49" fmla="*/ 595 h 621"/>
                  <a:gd name="T50" fmla="*/ 1120 w 1229"/>
                  <a:gd name="T51" fmla="*/ 576 h 621"/>
                  <a:gd name="T52" fmla="*/ 1156 w 1229"/>
                  <a:gd name="T53" fmla="*/ 552 h 621"/>
                  <a:gd name="T54" fmla="*/ 1183 w 1229"/>
                  <a:gd name="T55" fmla="*/ 525 h 621"/>
                  <a:gd name="T56" fmla="*/ 1202 w 1229"/>
                  <a:gd name="T57" fmla="*/ 494 h 621"/>
                  <a:gd name="T58" fmla="*/ 1216 w 1229"/>
                  <a:gd name="T59" fmla="*/ 459 h 621"/>
                  <a:gd name="T60" fmla="*/ 1221 w 1229"/>
                  <a:gd name="T61" fmla="*/ 423 h 621"/>
                  <a:gd name="T62" fmla="*/ 1227 w 1229"/>
                  <a:gd name="T63" fmla="*/ 348 h 621"/>
                  <a:gd name="T64" fmla="*/ 1229 w 1229"/>
                  <a:gd name="T65" fmla="*/ 310 h 621"/>
                  <a:gd name="T66" fmla="*/ 1227 w 1229"/>
                  <a:gd name="T67" fmla="*/ 272 h 621"/>
                  <a:gd name="T68" fmla="*/ 1221 w 1229"/>
                  <a:gd name="T69" fmla="*/ 198 h 621"/>
                  <a:gd name="T70" fmla="*/ 1216 w 1229"/>
                  <a:gd name="T71" fmla="*/ 161 h 621"/>
                  <a:gd name="T72" fmla="*/ 1202 w 1229"/>
                  <a:gd name="T73" fmla="*/ 127 h 621"/>
                  <a:gd name="T74" fmla="*/ 1183 w 1229"/>
                  <a:gd name="T75" fmla="*/ 96 h 621"/>
                  <a:gd name="T76" fmla="*/ 1156 w 1229"/>
                  <a:gd name="T77" fmla="*/ 68 h 621"/>
                  <a:gd name="T78" fmla="*/ 1120 w 1229"/>
                  <a:gd name="T79" fmla="*/ 45 h 621"/>
                  <a:gd name="T80" fmla="*/ 1074 w 1229"/>
                  <a:gd name="T81" fmla="*/ 26 h 621"/>
                  <a:gd name="T82" fmla="*/ 1016 w 1229"/>
                  <a:gd name="T83" fmla="*/ 12 h 621"/>
                  <a:gd name="T84" fmla="*/ 945 w 1229"/>
                  <a:gd name="T85" fmla="*/ 2 h 621"/>
                  <a:gd name="T86" fmla="*/ 859 w 1229"/>
                  <a:gd name="T87" fmla="*/ 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29" h="621">
                    <a:moveTo>
                      <a:pt x="859" y="0"/>
                    </a:moveTo>
                    <a:lnTo>
                      <a:pt x="859" y="0"/>
                    </a:lnTo>
                    <a:lnTo>
                      <a:pt x="825" y="1"/>
                    </a:lnTo>
                    <a:lnTo>
                      <a:pt x="789" y="3"/>
                    </a:lnTo>
                    <a:lnTo>
                      <a:pt x="755" y="7"/>
                    </a:lnTo>
                    <a:lnTo>
                      <a:pt x="718" y="13"/>
                    </a:lnTo>
                    <a:lnTo>
                      <a:pt x="682" y="20"/>
                    </a:lnTo>
                    <a:lnTo>
                      <a:pt x="645" y="28"/>
                    </a:lnTo>
                    <a:lnTo>
                      <a:pt x="608" y="38"/>
                    </a:lnTo>
                    <a:lnTo>
                      <a:pt x="572" y="49"/>
                    </a:lnTo>
                    <a:lnTo>
                      <a:pt x="536" y="59"/>
                    </a:lnTo>
                    <a:lnTo>
                      <a:pt x="499" y="72"/>
                    </a:lnTo>
                    <a:lnTo>
                      <a:pt x="463" y="84"/>
                    </a:lnTo>
                    <a:lnTo>
                      <a:pt x="428" y="98"/>
                    </a:lnTo>
                    <a:lnTo>
                      <a:pt x="359" y="126"/>
                    </a:lnTo>
                    <a:lnTo>
                      <a:pt x="294" y="155"/>
                    </a:lnTo>
                    <a:lnTo>
                      <a:pt x="232" y="184"/>
                    </a:lnTo>
                    <a:lnTo>
                      <a:pt x="176" y="213"/>
                    </a:lnTo>
                    <a:lnTo>
                      <a:pt x="126" y="239"/>
                    </a:lnTo>
                    <a:lnTo>
                      <a:pt x="83" y="262"/>
                    </a:lnTo>
                    <a:lnTo>
                      <a:pt x="21" y="297"/>
                    </a:lnTo>
                    <a:lnTo>
                      <a:pt x="0" y="310"/>
                    </a:lnTo>
                    <a:lnTo>
                      <a:pt x="0" y="310"/>
                    </a:lnTo>
                    <a:lnTo>
                      <a:pt x="21" y="324"/>
                    </a:lnTo>
                    <a:lnTo>
                      <a:pt x="83" y="359"/>
                    </a:lnTo>
                    <a:lnTo>
                      <a:pt x="126" y="382"/>
                    </a:lnTo>
                    <a:lnTo>
                      <a:pt x="176" y="409"/>
                    </a:lnTo>
                    <a:lnTo>
                      <a:pt x="232" y="437"/>
                    </a:lnTo>
                    <a:lnTo>
                      <a:pt x="294" y="466"/>
                    </a:lnTo>
                    <a:lnTo>
                      <a:pt x="359" y="495"/>
                    </a:lnTo>
                    <a:lnTo>
                      <a:pt x="428" y="523"/>
                    </a:lnTo>
                    <a:lnTo>
                      <a:pt x="463" y="536"/>
                    </a:lnTo>
                    <a:lnTo>
                      <a:pt x="499" y="549"/>
                    </a:lnTo>
                    <a:lnTo>
                      <a:pt x="536" y="562"/>
                    </a:lnTo>
                    <a:lnTo>
                      <a:pt x="572" y="573"/>
                    </a:lnTo>
                    <a:lnTo>
                      <a:pt x="608" y="583"/>
                    </a:lnTo>
                    <a:lnTo>
                      <a:pt x="645" y="593"/>
                    </a:lnTo>
                    <a:lnTo>
                      <a:pt x="682" y="601"/>
                    </a:lnTo>
                    <a:lnTo>
                      <a:pt x="718" y="608"/>
                    </a:lnTo>
                    <a:lnTo>
                      <a:pt x="755" y="613"/>
                    </a:lnTo>
                    <a:lnTo>
                      <a:pt x="789" y="618"/>
                    </a:lnTo>
                    <a:lnTo>
                      <a:pt x="825" y="620"/>
                    </a:lnTo>
                    <a:lnTo>
                      <a:pt x="859" y="621"/>
                    </a:lnTo>
                    <a:lnTo>
                      <a:pt x="859" y="621"/>
                    </a:lnTo>
                    <a:lnTo>
                      <a:pt x="903" y="620"/>
                    </a:lnTo>
                    <a:lnTo>
                      <a:pt x="945" y="618"/>
                    </a:lnTo>
                    <a:lnTo>
                      <a:pt x="981" y="614"/>
                    </a:lnTo>
                    <a:lnTo>
                      <a:pt x="1016" y="610"/>
                    </a:lnTo>
                    <a:lnTo>
                      <a:pt x="1046" y="604"/>
                    </a:lnTo>
                    <a:lnTo>
                      <a:pt x="1074" y="595"/>
                    </a:lnTo>
                    <a:lnTo>
                      <a:pt x="1098" y="587"/>
                    </a:lnTo>
                    <a:lnTo>
                      <a:pt x="1120" y="576"/>
                    </a:lnTo>
                    <a:lnTo>
                      <a:pt x="1140" y="566"/>
                    </a:lnTo>
                    <a:lnTo>
                      <a:pt x="1156" y="552"/>
                    </a:lnTo>
                    <a:lnTo>
                      <a:pt x="1170" y="539"/>
                    </a:lnTo>
                    <a:lnTo>
                      <a:pt x="1183" y="525"/>
                    </a:lnTo>
                    <a:lnTo>
                      <a:pt x="1194" y="510"/>
                    </a:lnTo>
                    <a:lnTo>
                      <a:pt x="1202" y="494"/>
                    </a:lnTo>
                    <a:lnTo>
                      <a:pt x="1210" y="476"/>
                    </a:lnTo>
                    <a:lnTo>
                      <a:pt x="1216" y="459"/>
                    </a:lnTo>
                    <a:lnTo>
                      <a:pt x="1216" y="459"/>
                    </a:lnTo>
                    <a:lnTo>
                      <a:pt x="1221" y="423"/>
                    </a:lnTo>
                    <a:lnTo>
                      <a:pt x="1225" y="386"/>
                    </a:lnTo>
                    <a:lnTo>
                      <a:pt x="1227" y="348"/>
                    </a:lnTo>
                    <a:lnTo>
                      <a:pt x="1229" y="310"/>
                    </a:lnTo>
                    <a:lnTo>
                      <a:pt x="1229" y="310"/>
                    </a:lnTo>
                    <a:lnTo>
                      <a:pt x="1229" y="310"/>
                    </a:lnTo>
                    <a:lnTo>
                      <a:pt x="1227" y="272"/>
                    </a:lnTo>
                    <a:lnTo>
                      <a:pt x="1225" y="235"/>
                    </a:lnTo>
                    <a:lnTo>
                      <a:pt x="1221" y="198"/>
                    </a:lnTo>
                    <a:lnTo>
                      <a:pt x="1216" y="161"/>
                    </a:lnTo>
                    <a:lnTo>
                      <a:pt x="1216" y="161"/>
                    </a:lnTo>
                    <a:lnTo>
                      <a:pt x="1210" y="145"/>
                    </a:lnTo>
                    <a:lnTo>
                      <a:pt x="1202" y="127"/>
                    </a:lnTo>
                    <a:lnTo>
                      <a:pt x="1194" y="112"/>
                    </a:lnTo>
                    <a:lnTo>
                      <a:pt x="1183" y="96"/>
                    </a:lnTo>
                    <a:lnTo>
                      <a:pt x="1170" y="82"/>
                    </a:lnTo>
                    <a:lnTo>
                      <a:pt x="1156" y="68"/>
                    </a:lnTo>
                    <a:lnTo>
                      <a:pt x="1140" y="56"/>
                    </a:lnTo>
                    <a:lnTo>
                      <a:pt x="1120" y="45"/>
                    </a:lnTo>
                    <a:lnTo>
                      <a:pt x="1098" y="34"/>
                    </a:lnTo>
                    <a:lnTo>
                      <a:pt x="1074" y="26"/>
                    </a:lnTo>
                    <a:lnTo>
                      <a:pt x="1046" y="18"/>
                    </a:lnTo>
                    <a:lnTo>
                      <a:pt x="1016" y="12"/>
                    </a:lnTo>
                    <a:lnTo>
                      <a:pt x="981" y="6"/>
                    </a:lnTo>
                    <a:lnTo>
                      <a:pt x="945" y="2"/>
                    </a:lnTo>
                    <a:lnTo>
                      <a:pt x="903" y="1"/>
                    </a:lnTo>
                    <a:lnTo>
                      <a:pt x="859" y="0"/>
                    </a:lnTo>
                    <a:close/>
                  </a:path>
                </a:pathLst>
              </a:custGeom>
              <a:solidFill>
                <a:srgbClr val="FCBF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02" name="Freeform 16"/>
              <p:cNvSpPr>
                <a:spLocks/>
              </p:cNvSpPr>
              <p:nvPr userDrawn="1"/>
            </p:nvSpPr>
            <p:spPr bwMode="auto">
              <a:xfrm>
                <a:off x="1957217" y="-1968091"/>
                <a:ext cx="974726" cy="493715"/>
              </a:xfrm>
              <a:custGeom>
                <a:avLst/>
                <a:gdLst>
                  <a:gd name="T0" fmla="*/ 859 w 1229"/>
                  <a:gd name="T1" fmla="*/ 0 h 621"/>
                  <a:gd name="T2" fmla="*/ 789 w 1229"/>
                  <a:gd name="T3" fmla="*/ 3 h 621"/>
                  <a:gd name="T4" fmla="*/ 718 w 1229"/>
                  <a:gd name="T5" fmla="*/ 13 h 621"/>
                  <a:gd name="T6" fmla="*/ 645 w 1229"/>
                  <a:gd name="T7" fmla="*/ 28 h 621"/>
                  <a:gd name="T8" fmla="*/ 572 w 1229"/>
                  <a:gd name="T9" fmla="*/ 49 h 621"/>
                  <a:gd name="T10" fmla="*/ 499 w 1229"/>
                  <a:gd name="T11" fmla="*/ 72 h 621"/>
                  <a:gd name="T12" fmla="*/ 428 w 1229"/>
                  <a:gd name="T13" fmla="*/ 98 h 621"/>
                  <a:gd name="T14" fmla="*/ 294 w 1229"/>
                  <a:gd name="T15" fmla="*/ 155 h 621"/>
                  <a:gd name="T16" fmla="*/ 176 w 1229"/>
                  <a:gd name="T17" fmla="*/ 213 h 621"/>
                  <a:gd name="T18" fmla="*/ 83 w 1229"/>
                  <a:gd name="T19" fmla="*/ 262 h 621"/>
                  <a:gd name="T20" fmla="*/ 0 w 1229"/>
                  <a:gd name="T21" fmla="*/ 310 h 621"/>
                  <a:gd name="T22" fmla="*/ 21 w 1229"/>
                  <a:gd name="T23" fmla="*/ 324 h 621"/>
                  <a:gd name="T24" fmla="*/ 126 w 1229"/>
                  <a:gd name="T25" fmla="*/ 382 h 621"/>
                  <a:gd name="T26" fmla="*/ 232 w 1229"/>
                  <a:gd name="T27" fmla="*/ 437 h 621"/>
                  <a:gd name="T28" fmla="*/ 359 w 1229"/>
                  <a:gd name="T29" fmla="*/ 495 h 621"/>
                  <a:gd name="T30" fmla="*/ 463 w 1229"/>
                  <a:gd name="T31" fmla="*/ 536 h 621"/>
                  <a:gd name="T32" fmla="*/ 536 w 1229"/>
                  <a:gd name="T33" fmla="*/ 562 h 621"/>
                  <a:gd name="T34" fmla="*/ 608 w 1229"/>
                  <a:gd name="T35" fmla="*/ 583 h 621"/>
                  <a:gd name="T36" fmla="*/ 682 w 1229"/>
                  <a:gd name="T37" fmla="*/ 601 h 621"/>
                  <a:gd name="T38" fmla="*/ 755 w 1229"/>
                  <a:gd name="T39" fmla="*/ 613 h 621"/>
                  <a:gd name="T40" fmla="*/ 825 w 1229"/>
                  <a:gd name="T41" fmla="*/ 620 h 621"/>
                  <a:gd name="T42" fmla="*/ 859 w 1229"/>
                  <a:gd name="T43" fmla="*/ 621 h 621"/>
                  <a:gd name="T44" fmla="*/ 945 w 1229"/>
                  <a:gd name="T45" fmla="*/ 618 h 621"/>
                  <a:gd name="T46" fmla="*/ 1016 w 1229"/>
                  <a:gd name="T47" fmla="*/ 610 h 621"/>
                  <a:gd name="T48" fmla="*/ 1074 w 1229"/>
                  <a:gd name="T49" fmla="*/ 595 h 621"/>
                  <a:gd name="T50" fmla="*/ 1120 w 1229"/>
                  <a:gd name="T51" fmla="*/ 576 h 621"/>
                  <a:gd name="T52" fmla="*/ 1156 w 1229"/>
                  <a:gd name="T53" fmla="*/ 552 h 621"/>
                  <a:gd name="T54" fmla="*/ 1183 w 1229"/>
                  <a:gd name="T55" fmla="*/ 525 h 621"/>
                  <a:gd name="T56" fmla="*/ 1202 w 1229"/>
                  <a:gd name="T57" fmla="*/ 494 h 621"/>
                  <a:gd name="T58" fmla="*/ 1216 w 1229"/>
                  <a:gd name="T59" fmla="*/ 459 h 621"/>
                  <a:gd name="T60" fmla="*/ 1221 w 1229"/>
                  <a:gd name="T61" fmla="*/ 423 h 621"/>
                  <a:gd name="T62" fmla="*/ 1227 w 1229"/>
                  <a:gd name="T63" fmla="*/ 348 h 621"/>
                  <a:gd name="T64" fmla="*/ 1229 w 1229"/>
                  <a:gd name="T65" fmla="*/ 310 h 621"/>
                  <a:gd name="T66" fmla="*/ 1227 w 1229"/>
                  <a:gd name="T67" fmla="*/ 272 h 621"/>
                  <a:gd name="T68" fmla="*/ 1221 w 1229"/>
                  <a:gd name="T69" fmla="*/ 198 h 621"/>
                  <a:gd name="T70" fmla="*/ 1216 w 1229"/>
                  <a:gd name="T71" fmla="*/ 161 h 621"/>
                  <a:gd name="T72" fmla="*/ 1202 w 1229"/>
                  <a:gd name="T73" fmla="*/ 127 h 621"/>
                  <a:gd name="T74" fmla="*/ 1183 w 1229"/>
                  <a:gd name="T75" fmla="*/ 96 h 621"/>
                  <a:gd name="T76" fmla="*/ 1156 w 1229"/>
                  <a:gd name="T77" fmla="*/ 68 h 621"/>
                  <a:gd name="T78" fmla="*/ 1120 w 1229"/>
                  <a:gd name="T79" fmla="*/ 45 h 621"/>
                  <a:gd name="T80" fmla="*/ 1074 w 1229"/>
                  <a:gd name="T81" fmla="*/ 26 h 621"/>
                  <a:gd name="T82" fmla="*/ 1016 w 1229"/>
                  <a:gd name="T83" fmla="*/ 12 h 621"/>
                  <a:gd name="T84" fmla="*/ 945 w 1229"/>
                  <a:gd name="T85" fmla="*/ 2 h 621"/>
                  <a:gd name="T86" fmla="*/ 859 w 1229"/>
                  <a:gd name="T87" fmla="*/ 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29" h="621">
                    <a:moveTo>
                      <a:pt x="859" y="0"/>
                    </a:moveTo>
                    <a:lnTo>
                      <a:pt x="859" y="0"/>
                    </a:lnTo>
                    <a:lnTo>
                      <a:pt x="825" y="1"/>
                    </a:lnTo>
                    <a:lnTo>
                      <a:pt x="789" y="3"/>
                    </a:lnTo>
                    <a:lnTo>
                      <a:pt x="755" y="7"/>
                    </a:lnTo>
                    <a:lnTo>
                      <a:pt x="718" y="13"/>
                    </a:lnTo>
                    <a:lnTo>
                      <a:pt x="682" y="20"/>
                    </a:lnTo>
                    <a:lnTo>
                      <a:pt x="645" y="28"/>
                    </a:lnTo>
                    <a:lnTo>
                      <a:pt x="608" y="38"/>
                    </a:lnTo>
                    <a:lnTo>
                      <a:pt x="572" y="49"/>
                    </a:lnTo>
                    <a:lnTo>
                      <a:pt x="536" y="59"/>
                    </a:lnTo>
                    <a:lnTo>
                      <a:pt x="499" y="72"/>
                    </a:lnTo>
                    <a:lnTo>
                      <a:pt x="463" y="84"/>
                    </a:lnTo>
                    <a:lnTo>
                      <a:pt x="428" y="98"/>
                    </a:lnTo>
                    <a:lnTo>
                      <a:pt x="359" y="126"/>
                    </a:lnTo>
                    <a:lnTo>
                      <a:pt x="294" y="155"/>
                    </a:lnTo>
                    <a:lnTo>
                      <a:pt x="232" y="184"/>
                    </a:lnTo>
                    <a:lnTo>
                      <a:pt x="176" y="213"/>
                    </a:lnTo>
                    <a:lnTo>
                      <a:pt x="126" y="239"/>
                    </a:lnTo>
                    <a:lnTo>
                      <a:pt x="83" y="262"/>
                    </a:lnTo>
                    <a:lnTo>
                      <a:pt x="21" y="297"/>
                    </a:lnTo>
                    <a:lnTo>
                      <a:pt x="0" y="310"/>
                    </a:lnTo>
                    <a:lnTo>
                      <a:pt x="0" y="310"/>
                    </a:lnTo>
                    <a:lnTo>
                      <a:pt x="21" y="324"/>
                    </a:lnTo>
                    <a:lnTo>
                      <a:pt x="83" y="359"/>
                    </a:lnTo>
                    <a:lnTo>
                      <a:pt x="126" y="382"/>
                    </a:lnTo>
                    <a:lnTo>
                      <a:pt x="176" y="409"/>
                    </a:lnTo>
                    <a:lnTo>
                      <a:pt x="232" y="437"/>
                    </a:lnTo>
                    <a:lnTo>
                      <a:pt x="294" y="466"/>
                    </a:lnTo>
                    <a:lnTo>
                      <a:pt x="359" y="495"/>
                    </a:lnTo>
                    <a:lnTo>
                      <a:pt x="428" y="523"/>
                    </a:lnTo>
                    <a:lnTo>
                      <a:pt x="463" y="536"/>
                    </a:lnTo>
                    <a:lnTo>
                      <a:pt x="499" y="549"/>
                    </a:lnTo>
                    <a:lnTo>
                      <a:pt x="536" y="562"/>
                    </a:lnTo>
                    <a:lnTo>
                      <a:pt x="572" y="573"/>
                    </a:lnTo>
                    <a:lnTo>
                      <a:pt x="608" y="583"/>
                    </a:lnTo>
                    <a:lnTo>
                      <a:pt x="645" y="593"/>
                    </a:lnTo>
                    <a:lnTo>
                      <a:pt x="682" y="601"/>
                    </a:lnTo>
                    <a:lnTo>
                      <a:pt x="718" y="608"/>
                    </a:lnTo>
                    <a:lnTo>
                      <a:pt x="755" y="613"/>
                    </a:lnTo>
                    <a:lnTo>
                      <a:pt x="789" y="618"/>
                    </a:lnTo>
                    <a:lnTo>
                      <a:pt x="825" y="620"/>
                    </a:lnTo>
                    <a:lnTo>
                      <a:pt x="859" y="621"/>
                    </a:lnTo>
                    <a:lnTo>
                      <a:pt x="859" y="621"/>
                    </a:lnTo>
                    <a:lnTo>
                      <a:pt x="903" y="620"/>
                    </a:lnTo>
                    <a:lnTo>
                      <a:pt x="945" y="618"/>
                    </a:lnTo>
                    <a:lnTo>
                      <a:pt x="981" y="614"/>
                    </a:lnTo>
                    <a:lnTo>
                      <a:pt x="1016" y="610"/>
                    </a:lnTo>
                    <a:lnTo>
                      <a:pt x="1046" y="604"/>
                    </a:lnTo>
                    <a:lnTo>
                      <a:pt x="1074" y="595"/>
                    </a:lnTo>
                    <a:lnTo>
                      <a:pt x="1098" y="587"/>
                    </a:lnTo>
                    <a:lnTo>
                      <a:pt x="1120" y="576"/>
                    </a:lnTo>
                    <a:lnTo>
                      <a:pt x="1140" y="566"/>
                    </a:lnTo>
                    <a:lnTo>
                      <a:pt x="1156" y="552"/>
                    </a:lnTo>
                    <a:lnTo>
                      <a:pt x="1170" y="539"/>
                    </a:lnTo>
                    <a:lnTo>
                      <a:pt x="1183" y="525"/>
                    </a:lnTo>
                    <a:lnTo>
                      <a:pt x="1194" y="510"/>
                    </a:lnTo>
                    <a:lnTo>
                      <a:pt x="1202" y="494"/>
                    </a:lnTo>
                    <a:lnTo>
                      <a:pt x="1210" y="476"/>
                    </a:lnTo>
                    <a:lnTo>
                      <a:pt x="1216" y="459"/>
                    </a:lnTo>
                    <a:lnTo>
                      <a:pt x="1216" y="459"/>
                    </a:lnTo>
                    <a:lnTo>
                      <a:pt x="1221" y="423"/>
                    </a:lnTo>
                    <a:lnTo>
                      <a:pt x="1225" y="386"/>
                    </a:lnTo>
                    <a:lnTo>
                      <a:pt x="1227" y="348"/>
                    </a:lnTo>
                    <a:lnTo>
                      <a:pt x="1229" y="310"/>
                    </a:lnTo>
                    <a:lnTo>
                      <a:pt x="1229" y="310"/>
                    </a:lnTo>
                    <a:lnTo>
                      <a:pt x="1229" y="310"/>
                    </a:lnTo>
                    <a:lnTo>
                      <a:pt x="1227" y="272"/>
                    </a:lnTo>
                    <a:lnTo>
                      <a:pt x="1225" y="235"/>
                    </a:lnTo>
                    <a:lnTo>
                      <a:pt x="1221" y="198"/>
                    </a:lnTo>
                    <a:lnTo>
                      <a:pt x="1216" y="161"/>
                    </a:lnTo>
                    <a:lnTo>
                      <a:pt x="1216" y="161"/>
                    </a:lnTo>
                    <a:lnTo>
                      <a:pt x="1210" y="145"/>
                    </a:lnTo>
                    <a:lnTo>
                      <a:pt x="1202" y="127"/>
                    </a:lnTo>
                    <a:lnTo>
                      <a:pt x="1194" y="112"/>
                    </a:lnTo>
                    <a:lnTo>
                      <a:pt x="1183" y="96"/>
                    </a:lnTo>
                    <a:lnTo>
                      <a:pt x="1170" y="82"/>
                    </a:lnTo>
                    <a:lnTo>
                      <a:pt x="1156" y="68"/>
                    </a:lnTo>
                    <a:lnTo>
                      <a:pt x="1140" y="56"/>
                    </a:lnTo>
                    <a:lnTo>
                      <a:pt x="1120" y="45"/>
                    </a:lnTo>
                    <a:lnTo>
                      <a:pt x="1098" y="34"/>
                    </a:lnTo>
                    <a:lnTo>
                      <a:pt x="1074" y="26"/>
                    </a:lnTo>
                    <a:lnTo>
                      <a:pt x="1046" y="18"/>
                    </a:lnTo>
                    <a:lnTo>
                      <a:pt x="1016" y="12"/>
                    </a:lnTo>
                    <a:lnTo>
                      <a:pt x="981" y="6"/>
                    </a:lnTo>
                    <a:lnTo>
                      <a:pt x="945" y="2"/>
                    </a:lnTo>
                    <a:lnTo>
                      <a:pt x="903" y="1"/>
                    </a:lnTo>
                    <a:lnTo>
                      <a:pt x="8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456" name="그룹 455"/>
            <p:cNvGrpSpPr/>
            <p:nvPr userDrawn="1"/>
          </p:nvGrpSpPr>
          <p:grpSpPr>
            <a:xfrm>
              <a:off x="2869471" y="-2744512"/>
              <a:ext cx="3486042" cy="1871326"/>
              <a:chOff x="9143999" y="1785017"/>
              <a:chExt cx="2931167" cy="1573466"/>
            </a:xfrm>
          </p:grpSpPr>
          <p:grpSp>
            <p:nvGrpSpPr>
              <p:cNvPr id="457" name="그룹 456"/>
              <p:cNvGrpSpPr/>
              <p:nvPr/>
            </p:nvGrpSpPr>
            <p:grpSpPr>
              <a:xfrm>
                <a:off x="9144000" y="1785017"/>
                <a:ext cx="2931166" cy="1573466"/>
                <a:chOff x="0" y="117474"/>
                <a:chExt cx="9143997" cy="4908552"/>
              </a:xfrm>
            </p:grpSpPr>
            <p:sp>
              <p:nvSpPr>
                <p:cNvPr id="463" name="AutoShape 300"/>
                <p:cNvSpPr>
                  <a:spLocks noChangeAspect="1" noChangeArrowheads="1" noTextEdit="1"/>
                </p:cNvSpPr>
                <p:nvPr/>
              </p:nvSpPr>
              <p:spPr bwMode="auto">
                <a:xfrm>
                  <a:off x="0" y="117474"/>
                  <a:ext cx="9143997" cy="4908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4" name="Freeform 302"/>
                <p:cNvSpPr>
                  <a:spLocks noEditPoints="1"/>
                </p:cNvSpPr>
                <p:nvPr/>
              </p:nvSpPr>
              <p:spPr bwMode="auto">
                <a:xfrm>
                  <a:off x="2109788" y="930274"/>
                  <a:ext cx="6551610" cy="3279776"/>
                </a:xfrm>
                <a:custGeom>
                  <a:avLst/>
                  <a:gdLst>
                    <a:gd name="T0" fmla="*/ 6751 w 8255"/>
                    <a:gd name="T1" fmla="*/ 1014 h 4134"/>
                    <a:gd name="T2" fmla="*/ 6388 w 8255"/>
                    <a:gd name="T3" fmla="*/ 814 h 4134"/>
                    <a:gd name="T4" fmla="*/ 6091 w 8255"/>
                    <a:gd name="T5" fmla="*/ 666 h 4134"/>
                    <a:gd name="T6" fmla="*/ 5623 w 8255"/>
                    <a:gd name="T7" fmla="*/ 461 h 4134"/>
                    <a:gd name="T8" fmla="*/ 5127 w 8255"/>
                    <a:gd name="T9" fmla="*/ 281 h 4134"/>
                    <a:gd name="T10" fmla="*/ 4870 w 8255"/>
                    <a:gd name="T11" fmla="*/ 204 h 4134"/>
                    <a:gd name="T12" fmla="*/ 4609 w 8255"/>
                    <a:gd name="T13" fmla="*/ 137 h 4134"/>
                    <a:gd name="T14" fmla="*/ 4345 w 8255"/>
                    <a:gd name="T15" fmla="*/ 83 h 4134"/>
                    <a:gd name="T16" fmla="*/ 4076 w 8255"/>
                    <a:gd name="T17" fmla="*/ 40 h 4134"/>
                    <a:gd name="T18" fmla="*/ 3805 w 8255"/>
                    <a:gd name="T19" fmla="*/ 14 h 4134"/>
                    <a:gd name="T20" fmla="*/ 3590 w 8255"/>
                    <a:gd name="T21" fmla="*/ 2 h 4134"/>
                    <a:gd name="T22" fmla="*/ 3307 w 8255"/>
                    <a:gd name="T23" fmla="*/ 2 h 4134"/>
                    <a:gd name="T24" fmla="*/ 2849 w 8255"/>
                    <a:gd name="T25" fmla="*/ 20 h 4134"/>
                    <a:gd name="T26" fmla="*/ 2507 w 8255"/>
                    <a:gd name="T27" fmla="*/ 52 h 4134"/>
                    <a:gd name="T28" fmla="*/ 2004 w 8255"/>
                    <a:gd name="T29" fmla="*/ 121 h 4134"/>
                    <a:gd name="T30" fmla="*/ 1496 w 8255"/>
                    <a:gd name="T31" fmla="*/ 216 h 4134"/>
                    <a:gd name="T32" fmla="*/ 968 w 8255"/>
                    <a:gd name="T33" fmla="*/ 338 h 4134"/>
                    <a:gd name="T34" fmla="*/ 0 w 8255"/>
                    <a:gd name="T35" fmla="*/ 589 h 4134"/>
                    <a:gd name="T36" fmla="*/ 0 w 8255"/>
                    <a:gd name="T37" fmla="*/ 3525 h 4134"/>
                    <a:gd name="T38" fmla="*/ 966 w 8255"/>
                    <a:gd name="T39" fmla="*/ 3786 h 4134"/>
                    <a:gd name="T40" fmla="*/ 1488 w 8255"/>
                    <a:gd name="T41" fmla="*/ 3912 h 4134"/>
                    <a:gd name="T42" fmla="*/ 1992 w 8255"/>
                    <a:gd name="T43" fmla="*/ 4011 h 4134"/>
                    <a:gd name="T44" fmla="*/ 2499 w 8255"/>
                    <a:gd name="T45" fmla="*/ 4082 h 4134"/>
                    <a:gd name="T46" fmla="*/ 2849 w 8255"/>
                    <a:gd name="T47" fmla="*/ 4114 h 4134"/>
                    <a:gd name="T48" fmla="*/ 3309 w 8255"/>
                    <a:gd name="T49" fmla="*/ 4134 h 4134"/>
                    <a:gd name="T50" fmla="*/ 3590 w 8255"/>
                    <a:gd name="T51" fmla="*/ 4132 h 4134"/>
                    <a:gd name="T52" fmla="*/ 3803 w 8255"/>
                    <a:gd name="T53" fmla="*/ 4122 h 4134"/>
                    <a:gd name="T54" fmla="*/ 4072 w 8255"/>
                    <a:gd name="T55" fmla="*/ 4094 h 4134"/>
                    <a:gd name="T56" fmla="*/ 4337 w 8255"/>
                    <a:gd name="T57" fmla="*/ 4053 h 4134"/>
                    <a:gd name="T58" fmla="*/ 4600 w 8255"/>
                    <a:gd name="T59" fmla="*/ 3999 h 4134"/>
                    <a:gd name="T60" fmla="*/ 4856 w 8255"/>
                    <a:gd name="T61" fmla="*/ 3934 h 4134"/>
                    <a:gd name="T62" fmla="*/ 5277 w 8255"/>
                    <a:gd name="T63" fmla="*/ 3804 h 4134"/>
                    <a:gd name="T64" fmla="*/ 5759 w 8255"/>
                    <a:gd name="T65" fmla="*/ 3618 h 4134"/>
                    <a:gd name="T66" fmla="*/ 6214 w 8255"/>
                    <a:gd name="T67" fmla="*/ 3409 h 4134"/>
                    <a:gd name="T68" fmla="*/ 6492 w 8255"/>
                    <a:gd name="T69" fmla="*/ 3264 h 4134"/>
                    <a:gd name="T70" fmla="*/ 6872 w 8255"/>
                    <a:gd name="T71" fmla="*/ 3051 h 4134"/>
                    <a:gd name="T72" fmla="*/ 7172 w 8255"/>
                    <a:gd name="T73" fmla="*/ 2865 h 4134"/>
                    <a:gd name="T74" fmla="*/ 7565 w 8255"/>
                    <a:gd name="T75" fmla="*/ 2600 h 4134"/>
                    <a:gd name="T76" fmla="*/ 7879 w 8255"/>
                    <a:gd name="T77" fmla="*/ 2371 h 4134"/>
                    <a:gd name="T78" fmla="*/ 8158 w 8255"/>
                    <a:gd name="T79" fmla="*/ 2150 h 4134"/>
                    <a:gd name="T80" fmla="*/ 8255 w 8255"/>
                    <a:gd name="T81" fmla="*/ 2067 h 4134"/>
                    <a:gd name="T82" fmla="*/ 8037 w 8255"/>
                    <a:gd name="T83" fmla="*/ 1887 h 4134"/>
                    <a:gd name="T84" fmla="*/ 7780 w 8255"/>
                    <a:gd name="T85" fmla="*/ 1690 h 4134"/>
                    <a:gd name="T86" fmla="*/ 7439 w 8255"/>
                    <a:gd name="T87" fmla="*/ 1447 h 4134"/>
                    <a:gd name="T88" fmla="*/ 7020 w 8255"/>
                    <a:gd name="T89" fmla="*/ 1174 h 4134"/>
                    <a:gd name="T90" fmla="*/ 3062 w 8255"/>
                    <a:gd name="T91" fmla="*/ 3845 h 4134"/>
                    <a:gd name="T92" fmla="*/ 3118 w 8255"/>
                    <a:gd name="T93" fmla="*/ 3744 h 4134"/>
                    <a:gd name="T94" fmla="*/ 3195 w 8255"/>
                    <a:gd name="T95" fmla="*/ 3576 h 4134"/>
                    <a:gd name="T96" fmla="*/ 3264 w 8255"/>
                    <a:gd name="T97" fmla="*/ 3387 h 4134"/>
                    <a:gd name="T98" fmla="*/ 3264 w 8255"/>
                    <a:gd name="T99" fmla="*/ 3387 h 4134"/>
                    <a:gd name="T100" fmla="*/ 3195 w 8255"/>
                    <a:gd name="T101" fmla="*/ 3576 h 4134"/>
                    <a:gd name="T102" fmla="*/ 3118 w 8255"/>
                    <a:gd name="T103" fmla="*/ 3744 h 4134"/>
                    <a:gd name="T104" fmla="*/ 3062 w 8255"/>
                    <a:gd name="T105" fmla="*/ 3845 h 4134"/>
                    <a:gd name="T106" fmla="*/ 3242 w 8255"/>
                    <a:gd name="T107" fmla="*/ 682 h 4134"/>
                    <a:gd name="T108" fmla="*/ 3169 w 8255"/>
                    <a:gd name="T109" fmla="*/ 498 h 4134"/>
                    <a:gd name="T110" fmla="*/ 3090 w 8255"/>
                    <a:gd name="T111" fmla="*/ 338 h 4134"/>
                    <a:gd name="T112" fmla="*/ 3090 w 8255"/>
                    <a:gd name="T113" fmla="*/ 338 h 4134"/>
                    <a:gd name="T114" fmla="*/ 3169 w 8255"/>
                    <a:gd name="T115" fmla="*/ 498 h 4134"/>
                    <a:gd name="T116" fmla="*/ 3242 w 8255"/>
                    <a:gd name="T117" fmla="*/ 682 h 4134"/>
                    <a:gd name="T118" fmla="*/ 3264 w 8255"/>
                    <a:gd name="T119" fmla="*/ 749 h 4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255" h="4134">
                      <a:moveTo>
                        <a:pt x="6866" y="1081"/>
                      </a:moveTo>
                      <a:lnTo>
                        <a:pt x="6866" y="1081"/>
                      </a:lnTo>
                      <a:lnTo>
                        <a:pt x="6751" y="1014"/>
                      </a:lnTo>
                      <a:lnTo>
                        <a:pt x="6632" y="947"/>
                      </a:lnTo>
                      <a:lnTo>
                        <a:pt x="6512" y="880"/>
                      </a:lnTo>
                      <a:lnTo>
                        <a:pt x="6388" y="814"/>
                      </a:lnTo>
                      <a:lnTo>
                        <a:pt x="6388" y="814"/>
                      </a:lnTo>
                      <a:lnTo>
                        <a:pt x="6241" y="739"/>
                      </a:lnTo>
                      <a:lnTo>
                        <a:pt x="6091" y="666"/>
                      </a:lnTo>
                      <a:lnTo>
                        <a:pt x="5939" y="595"/>
                      </a:lnTo>
                      <a:lnTo>
                        <a:pt x="5783" y="528"/>
                      </a:lnTo>
                      <a:lnTo>
                        <a:pt x="5623" y="461"/>
                      </a:lnTo>
                      <a:lnTo>
                        <a:pt x="5461" y="398"/>
                      </a:lnTo>
                      <a:lnTo>
                        <a:pt x="5295" y="336"/>
                      </a:lnTo>
                      <a:lnTo>
                        <a:pt x="5127" y="281"/>
                      </a:lnTo>
                      <a:lnTo>
                        <a:pt x="5042" y="253"/>
                      </a:lnTo>
                      <a:lnTo>
                        <a:pt x="4957" y="228"/>
                      </a:lnTo>
                      <a:lnTo>
                        <a:pt x="4870" y="204"/>
                      </a:lnTo>
                      <a:lnTo>
                        <a:pt x="4783" y="180"/>
                      </a:lnTo>
                      <a:lnTo>
                        <a:pt x="4696" y="158"/>
                      </a:lnTo>
                      <a:lnTo>
                        <a:pt x="4609" y="137"/>
                      </a:lnTo>
                      <a:lnTo>
                        <a:pt x="4523" y="117"/>
                      </a:lnTo>
                      <a:lnTo>
                        <a:pt x="4434" y="99"/>
                      </a:lnTo>
                      <a:lnTo>
                        <a:pt x="4345" y="83"/>
                      </a:lnTo>
                      <a:lnTo>
                        <a:pt x="4256" y="68"/>
                      </a:lnTo>
                      <a:lnTo>
                        <a:pt x="4167" y="54"/>
                      </a:lnTo>
                      <a:lnTo>
                        <a:pt x="4076" y="40"/>
                      </a:lnTo>
                      <a:lnTo>
                        <a:pt x="3987" y="30"/>
                      </a:lnTo>
                      <a:lnTo>
                        <a:pt x="3896" y="20"/>
                      </a:lnTo>
                      <a:lnTo>
                        <a:pt x="3805" y="14"/>
                      </a:lnTo>
                      <a:lnTo>
                        <a:pt x="3714" y="8"/>
                      </a:lnTo>
                      <a:lnTo>
                        <a:pt x="3714" y="8"/>
                      </a:lnTo>
                      <a:lnTo>
                        <a:pt x="3590" y="2"/>
                      </a:lnTo>
                      <a:lnTo>
                        <a:pt x="3468" y="0"/>
                      </a:lnTo>
                      <a:lnTo>
                        <a:pt x="3468" y="0"/>
                      </a:lnTo>
                      <a:lnTo>
                        <a:pt x="3307" y="2"/>
                      </a:lnTo>
                      <a:lnTo>
                        <a:pt x="3153" y="6"/>
                      </a:lnTo>
                      <a:lnTo>
                        <a:pt x="2999" y="12"/>
                      </a:lnTo>
                      <a:lnTo>
                        <a:pt x="2849" y="20"/>
                      </a:lnTo>
                      <a:lnTo>
                        <a:pt x="2849" y="20"/>
                      </a:lnTo>
                      <a:lnTo>
                        <a:pt x="2677" y="34"/>
                      </a:lnTo>
                      <a:lnTo>
                        <a:pt x="2507" y="52"/>
                      </a:lnTo>
                      <a:lnTo>
                        <a:pt x="2337" y="72"/>
                      </a:lnTo>
                      <a:lnTo>
                        <a:pt x="2170" y="95"/>
                      </a:lnTo>
                      <a:lnTo>
                        <a:pt x="2004" y="121"/>
                      </a:lnTo>
                      <a:lnTo>
                        <a:pt x="1836" y="149"/>
                      </a:lnTo>
                      <a:lnTo>
                        <a:pt x="1666" y="182"/>
                      </a:lnTo>
                      <a:lnTo>
                        <a:pt x="1496" y="216"/>
                      </a:lnTo>
                      <a:lnTo>
                        <a:pt x="1324" y="253"/>
                      </a:lnTo>
                      <a:lnTo>
                        <a:pt x="1148" y="295"/>
                      </a:lnTo>
                      <a:lnTo>
                        <a:pt x="968" y="338"/>
                      </a:lnTo>
                      <a:lnTo>
                        <a:pt x="787" y="384"/>
                      </a:lnTo>
                      <a:lnTo>
                        <a:pt x="405" y="482"/>
                      </a:lnTo>
                      <a:lnTo>
                        <a:pt x="0" y="589"/>
                      </a:lnTo>
                      <a:lnTo>
                        <a:pt x="0" y="3525"/>
                      </a:lnTo>
                      <a:lnTo>
                        <a:pt x="0" y="3525"/>
                      </a:lnTo>
                      <a:lnTo>
                        <a:pt x="0" y="3525"/>
                      </a:lnTo>
                      <a:lnTo>
                        <a:pt x="407" y="3638"/>
                      </a:lnTo>
                      <a:lnTo>
                        <a:pt x="785" y="3738"/>
                      </a:lnTo>
                      <a:lnTo>
                        <a:pt x="966" y="3786"/>
                      </a:lnTo>
                      <a:lnTo>
                        <a:pt x="1144" y="3831"/>
                      </a:lnTo>
                      <a:lnTo>
                        <a:pt x="1316" y="3873"/>
                      </a:lnTo>
                      <a:lnTo>
                        <a:pt x="1488" y="3912"/>
                      </a:lnTo>
                      <a:lnTo>
                        <a:pt x="1656" y="3948"/>
                      </a:lnTo>
                      <a:lnTo>
                        <a:pt x="1824" y="3981"/>
                      </a:lnTo>
                      <a:lnTo>
                        <a:pt x="1992" y="4011"/>
                      </a:lnTo>
                      <a:lnTo>
                        <a:pt x="2160" y="4039"/>
                      </a:lnTo>
                      <a:lnTo>
                        <a:pt x="2328" y="4063"/>
                      </a:lnTo>
                      <a:lnTo>
                        <a:pt x="2499" y="4082"/>
                      </a:lnTo>
                      <a:lnTo>
                        <a:pt x="2673" y="4100"/>
                      </a:lnTo>
                      <a:lnTo>
                        <a:pt x="2849" y="4114"/>
                      </a:lnTo>
                      <a:lnTo>
                        <a:pt x="2849" y="4114"/>
                      </a:lnTo>
                      <a:lnTo>
                        <a:pt x="3001" y="4122"/>
                      </a:lnTo>
                      <a:lnTo>
                        <a:pt x="3153" y="4130"/>
                      </a:lnTo>
                      <a:lnTo>
                        <a:pt x="3309" y="4134"/>
                      </a:lnTo>
                      <a:lnTo>
                        <a:pt x="3468" y="4134"/>
                      </a:lnTo>
                      <a:lnTo>
                        <a:pt x="3468" y="4134"/>
                      </a:lnTo>
                      <a:lnTo>
                        <a:pt x="3590" y="4132"/>
                      </a:lnTo>
                      <a:lnTo>
                        <a:pt x="3714" y="4128"/>
                      </a:lnTo>
                      <a:lnTo>
                        <a:pt x="3714" y="4128"/>
                      </a:lnTo>
                      <a:lnTo>
                        <a:pt x="3803" y="4122"/>
                      </a:lnTo>
                      <a:lnTo>
                        <a:pt x="3894" y="4114"/>
                      </a:lnTo>
                      <a:lnTo>
                        <a:pt x="3983" y="4104"/>
                      </a:lnTo>
                      <a:lnTo>
                        <a:pt x="4072" y="4094"/>
                      </a:lnTo>
                      <a:lnTo>
                        <a:pt x="4161" y="4082"/>
                      </a:lnTo>
                      <a:lnTo>
                        <a:pt x="4250" y="4068"/>
                      </a:lnTo>
                      <a:lnTo>
                        <a:pt x="4337" y="4053"/>
                      </a:lnTo>
                      <a:lnTo>
                        <a:pt x="4426" y="4037"/>
                      </a:lnTo>
                      <a:lnTo>
                        <a:pt x="4513" y="4019"/>
                      </a:lnTo>
                      <a:lnTo>
                        <a:pt x="4600" y="3999"/>
                      </a:lnTo>
                      <a:lnTo>
                        <a:pt x="4685" y="3980"/>
                      </a:lnTo>
                      <a:lnTo>
                        <a:pt x="4771" y="3958"/>
                      </a:lnTo>
                      <a:lnTo>
                        <a:pt x="4856" y="3934"/>
                      </a:lnTo>
                      <a:lnTo>
                        <a:pt x="4941" y="3910"/>
                      </a:lnTo>
                      <a:lnTo>
                        <a:pt x="5111" y="3859"/>
                      </a:lnTo>
                      <a:lnTo>
                        <a:pt x="5277" y="3804"/>
                      </a:lnTo>
                      <a:lnTo>
                        <a:pt x="5439" y="3744"/>
                      </a:lnTo>
                      <a:lnTo>
                        <a:pt x="5601" y="3683"/>
                      </a:lnTo>
                      <a:lnTo>
                        <a:pt x="5759" y="3618"/>
                      </a:lnTo>
                      <a:lnTo>
                        <a:pt x="5913" y="3551"/>
                      </a:lnTo>
                      <a:lnTo>
                        <a:pt x="6065" y="3480"/>
                      </a:lnTo>
                      <a:lnTo>
                        <a:pt x="6214" y="3409"/>
                      </a:lnTo>
                      <a:lnTo>
                        <a:pt x="6360" y="3335"/>
                      </a:lnTo>
                      <a:lnTo>
                        <a:pt x="6360" y="3335"/>
                      </a:lnTo>
                      <a:lnTo>
                        <a:pt x="6492" y="3264"/>
                      </a:lnTo>
                      <a:lnTo>
                        <a:pt x="6623" y="3193"/>
                      </a:lnTo>
                      <a:lnTo>
                        <a:pt x="6749" y="3122"/>
                      </a:lnTo>
                      <a:lnTo>
                        <a:pt x="6872" y="3051"/>
                      </a:lnTo>
                      <a:lnTo>
                        <a:pt x="6872" y="3051"/>
                      </a:lnTo>
                      <a:lnTo>
                        <a:pt x="7026" y="2956"/>
                      </a:lnTo>
                      <a:lnTo>
                        <a:pt x="7172" y="2865"/>
                      </a:lnTo>
                      <a:lnTo>
                        <a:pt x="7310" y="2774"/>
                      </a:lnTo>
                      <a:lnTo>
                        <a:pt x="7443" y="2685"/>
                      </a:lnTo>
                      <a:lnTo>
                        <a:pt x="7565" y="2600"/>
                      </a:lnTo>
                      <a:lnTo>
                        <a:pt x="7678" y="2519"/>
                      </a:lnTo>
                      <a:lnTo>
                        <a:pt x="7782" y="2442"/>
                      </a:lnTo>
                      <a:lnTo>
                        <a:pt x="7879" y="2371"/>
                      </a:lnTo>
                      <a:lnTo>
                        <a:pt x="7964" y="2306"/>
                      </a:lnTo>
                      <a:lnTo>
                        <a:pt x="8039" y="2247"/>
                      </a:lnTo>
                      <a:lnTo>
                        <a:pt x="8158" y="2150"/>
                      </a:lnTo>
                      <a:lnTo>
                        <a:pt x="8231" y="2089"/>
                      </a:lnTo>
                      <a:lnTo>
                        <a:pt x="8255" y="2067"/>
                      </a:lnTo>
                      <a:lnTo>
                        <a:pt x="8255" y="2067"/>
                      </a:lnTo>
                      <a:lnTo>
                        <a:pt x="8229" y="2045"/>
                      </a:lnTo>
                      <a:lnTo>
                        <a:pt x="8156" y="1984"/>
                      </a:lnTo>
                      <a:lnTo>
                        <a:pt x="8037" y="1887"/>
                      </a:lnTo>
                      <a:lnTo>
                        <a:pt x="7962" y="1828"/>
                      </a:lnTo>
                      <a:lnTo>
                        <a:pt x="7877" y="1763"/>
                      </a:lnTo>
                      <a:lnTo>
                        <a:pt x="7780" y="1690"/>
                      </a:lnTo>
                      <a:lnTo>
                        <a:pt x="7676" y="1613"/>
                      </a:lnTo>
                      <a:lnTo>
                        <a:pt x="7561" y="1532"/>
                      </a:lnTo>
                      <a:lnTo>
                        <a:pt x="7439" y="1447"/>
                      </a:lnTo>
                      <a:lnTo>
                        <a:pt x="7308" y="1358"/>
                      </a:lnTo>
                      <a:lnTo>
                        <a:pt x="7168" y="1267"/>
                      </a:lnTo>
                      <a:lnTo>
                        <a:pt x="7020" y="1174"/>
                      </a:lnTo>
                      <a:lnTo>
                        <a:pt x="6866" y="1081"/>
                      </a:lnTo>
                      <a:lnTo>
                        <a:pt x="6866" y="1081"/>
                      </a:lnTo>
                      <a:close/>
                      <a:moveTo>
                        <a:pt x="3062" y="3845"/>
                      </a:moveTo>
                      <a:lnTo>
                        <a:pt x="3062" y="3845"/>
                      </a:lnTo>
                      <a:lnTo>
                        <a:pt x="3090" y="3796"/>
                      </a:lnTo>
                      <a:lnTo>
                        <a:pt x="3118" y="3744"/>
                      </a:lnTo>
                      <a:lnTo>
                        <a:pt x="3145" y="3691"/>
                      </a:lnTo>
                      <a:lnTo>
                        <a:pt x="3169" y="3636"/>
                      </a:lnTo>
                      <a:lnTo>
                        <a:pt x="3195" y="3576"/>
                      </a:lnTo>
                      <a:lnTo>
                        <a:pt x="3219" y="3515"/>
                      </a:lnTo>
                      <a:lnTo>
                        <a:pt x="3242" y="3452"/>
                      </a:lnTo>
                      <a:lnTo>
                        <a:pt x="3264" y="3387"/>
                      </a:lnTo>
                      <a:lnTo>
                        <a:pt x="3264" y="3387"/>
                      </a:lnTo>
                      <a:lnTo>
                        <a:pt x="3264" y="3387"/>
                      </a:lnTo>
                      <a:lnTo>
                        <a:pt x="3264" y="3387"/>
                      </a:lnTo>
                      <a:lnTo>
                        <a:pt x="3242" y="3452"/>
                      </a:lnTo>
                      <a:lnTo>
                        <a:pt x="3219" y="3515"/>
                      </a:lnTo>
                      <a:lnTo>
                        <a:pt x="3195" y="3576"/>
                      </a:lnTo>
                      <a:lnTo>
                        <a:pt x="3171" y="3636"/>
                      </a:lnTo>
                      <a:lnTo>
                        <a:pt x="3145" y="3691"/>
                      </a:lnTo>
                      <a:lnTo>
                        <a:pt x="3118" y="3744"/>
                      </a:lnTo>
                      <a:lnTo>
                        <a:pt x="3092" y="3796"/>
                      </a:lnTo>
                      <a:lnTo>
                        <a:pt x="3062" y="3845"/>
                      </a:lnTo>
                      <a:lnTo>
                        <a:pt x="3062" y="3845"/>
                      </a:lnTo>
                      <a:close/>
                      <a:moveTo>
                        <a:pt x="3264" y="749"/>
                      </a:moveTo>
                      <a:lnTo>
                        <a:pt x="3264" y="749"/>
                      </a:lnTo>
                      <a:lnTo>
                        <a:pt x="3242" y="682"/>
                      </a:lnTo>
                      <a:lnTo>
                        <a:pt x="3219" y="619"/>
                      </a:lnTo>
                      <a:lnTo>
                        <a:pt x="3195" y="558"/>
                      </a:lnTo>
                      <a:lnTo>
                        <a:pt x="3169" y="498"/>
                      </a:lnTo>
                      <a:lnTo>
                        <a:pt x="3144" y="443"/>
                      </a:lnTo>
                      <a:lnTo>
                        <a:pt x="3118" y="390"/>
                      </a:lnTo>
                      <a:lnTo>
                        <a:pt x="3090" y="338"/>
                      </a:lnTo>
                      <a:lnTo>
                        <a:pt x="3062" y="289"/>
                      </a:lnTo>
                      <a:lnTo>
                        <a:pt x="3062" y="289"/>
                      </a:lnTo>
                      <a:lnTo>
                        <a:pt x="3090" y="338"/>
                      </a:lnTo>
                      <a:lnTo>
                        <a:pt x="3118" y="390"/>
                      </a:lnTo>
                      <a:lnTo>
                        <a:pt x="3144" y="443"/>
                      </a:lnTo>
                      <a:lnTo>
                        <a:pt x="3169" y="498"/>
                      </a:lnTo>
                      <a:lnTo>
                        <a:pt x="3195" y="558"/>
                      </a:lnTo>
                      <a:lnTo>
                        <a:pt x="3219" y="619"/>
                      </a:lnTo>
                      <a:lnTo>
                        <a:pt x="3242" y="682"/>
                      </a:lnTo>
                      <a:lnTo>
                        <a:pt x="3264" y="749"/>
                      </a:lnTo>
                      <a:lnTo>
                        <a:pt x="3264" y="749"/>
                      </a:lnTo>
                      <a:lnTo>
                        <a:pt x="3264" y="749"/>
                      </a:lnTo>
                      <a:lnTo>
                        <a:pt x="3264" y="749"/>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5" name="Rectangle 303"/>
                <p:cNvSpPr>
                  <a:spLocks noChangeArrowheads="1"/>
                </p:cNvSpPr>
                <p:nvPr/>
              </p:nvSpPr>
              <p:spPr bwMode="auto">
                <a:xfrm>
                  <a:off x="8272459" y="2557462"/>
                  <a:ext cx="779464" cy="28575"/>
                </a:xfrm>
                <a:prstGeom prst="rect">
                  <a:avLst/>
                </a:prstGeom>
                <a:solidFill>
                  <a:srgbClr val="80828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6" name="Freeform 304"/>
                <p:cNvSpPr>
                  <a:spLocks/>
                </p:cNvSpPr>
                <p:nvPr/>
              </p:nvSpPr>
              <p:spPr bwMode="auto">
                <a:xfrm>
                  <a:off x="8956673" y="2479676"/>
                  <a:ext cx="187324" cy="185737"/>
                </a:xfrm>
                <a:custGeom>
                  <a:avLst/>
                  <a:gdLst>
                    <a:gd name="T0" fmla="*/ 118 w 235"/>
                    <a:gd name="T1" fmla="*/ 236 h 236"/>
                    <a:gd name="T2" fmla="*/ 118 w 235"/>
                    <a:gd name="T3" fmla="*/ 236 h 236"/>
                    <a:gd name="T4" fmla="*/ 107 w 235"/>
                    <a:gd name="T5" fmla="*/ 234 h 236"/>
                    <a:gd name="T6" fmla="*/ 95 w 235"/>
                    <a:gd name="T7" fmla="*/ 232 h 236"/>
                    <a:gd name="T8" fmla="*/ 71 w 235"/>
                    <a:gd name="T9" fmla="*/ 226 h 236"/>
                    <a:gd name="T10" fmla="*/ 51 w 235"/>
                    <a:gd name="T11" fmla="*/ 214 h 236"/>
                    <a:gd name="T12" fmla="*/ 35 w 235"/>
                    <a:gd name="T13" fmla="*/ 200 h 236"/>
                    <a:gd name="T14" fmla="*/ 20 w 235"/>
                    <a:gd name="T15" fmla="*/ 182 h 236"/>
                    <a:gd name="T16" fmla="*/ 10 w 235"/>
                    <a:gd name="T17" fmla="*/ 162 h 236"/>
                    <a:gd name="T18" fmla="*/ 2 w 235"/>
                    <a:gd name="T19" fmla="*/ 141 h 236"/>
                    <a:gd name="T20" fmla="*/ 0 w 235"/>
                    <a:gd name="T21" fmla="*/ 129 h 236"/>
                    <a:gd name="T22" fmla="*/ 0 w 235"/>
                    <a:gd name="T23" fmla="*/ 117 h 236"/>
                    <a:gd name="T24" fmla="*/ 0 w 235"/>
                    <a:gd name="T25" fmla="*/ 117 h 236"/>
                    <a:gd name="T26" fmla="*/ 0 w 235"/>
                    <a:gd name="T27" fmla="*/ 105 h 236"/>
                    <a:gd name="T28" fmla="*/ 2 w 235"/>
                    <a:gd name="T29" fmla="*/ 93 h 236"/>
                    <a:gd name="T30" fmla="*/ 10 w 235"/>
                    <a:gd name="T31" fmla="*/ 72 h 236"/>
                    <a:gd name="T32" fmla="*/ 20 w 235"/>
                    <a:gd name="T33" fmla="*/ 52 h 236"/>
                    <a:gd name="T34" fmla="*/ 35 w 235"/>
                    <a:gd name="T35" fmla="*/ 34 h 236"/>
                    <a:gd name="T36" fmla="*/ 51 w 235"/>
                    <a:gd name="T37" fmla="*/ 20 h 236"/>
                    <a:gd name="T38" fmla="*/ 71 w 235"/>
                    <a:gd name="T39" fmla="*/ 8 h 236"/>
                    <a:gd name="T40" fmla="*/ 95 w 235"/>
                    <a:gd name="T41" fmla="*/ 2 h 236"/>
                    <a:gd name="T42" fmla="*/ 107 w 235"/>
                    <a:gd name="T43" fmla="*/ 0 h 236"/>
                    <a:gd name="T44" fmla="*/ 118 w 235"/>
                    <a:gd name="T45" fmla="*/ 0 h 236"/>
                    <a:gd name="T46" fmla="*/ 118 w 235"/>
                    <a:gd name="T47" fmla="*/ 0 h 236"/>
                    <a:gd name="T48" fmla="*/ 130 w 235"/>
                    <a:gd name="T49" fmla="*/ 0 h 236"/>
                    <a:gd name="T50" fmla="*/ 142 w 235"/>
                    <a:gd name="T51" fmla="*/ 2 h 236"/>
                    <a:gd name="T52" fmla="*/ 164 w 235"/>
                    <a:gd name="T53" fmla="*/ 8 h 236"/>
                    <a:gd name="T54" fmla="*/ 184 w 235"/>
                    <a:gd name="T55" fmla="*/ 20 h 236"/>
                    <a:gd name="T56" fmla="*/ 201 w 235"/>
                    <a:gd name="T57" fmla="*/ 34 h 236"/>
                    <a:gd name="T58" fmla="*/ 215 w 235"/>
                    <a:gd name="T59" fmla="*/ 52 h 236"/>
                    <a:gd name="T60" fmla="*/ 227 w 235"/>
                    <a:gd name="T61" fmla="*/ 72 h 236"/>
                    <a:gd name="T62" fmla="*/ 233 w 235"/>
                    <a:gd name="T63" fmla="*/ 93 h 236"/>
                    <a:gd name="T64" fmla="*/ 235 w 235"/>
                    <a:gd name="T65" fmla="*/ 105 h 236"/>
                    <a:gd name="T66" fmla="*/ 235 w 235"/>
                    <a:gd name="T67" fmla="*/ 117 h 236"/>
                    <a:gd name="T68" fmla="*/ 235 w 235"/>
                    <a:gd name="T69" fmla="*/ 117 h 236"/>
                    <a:gd name="T70" fmla="*/ 235 w 235"/>
                    <a:gd name="T71" fmla="*/ 129 h 236"/>
                    <a:gd name="T72" fmla="*/ 233 w 235"/>
                    <a:gd name="T73" fmla="*/ 141 h 236"/>
                    <a:gd name="T74" fmla="*/ 227 w 235"/>
                    <a:gd name="T75" fmla="*/ 162 h 236"/>
                    <a:gd name="T76" fmla="*/ 215 w 235"/>
                    <a:gd name="T77" fmla="*/ 182 h 236"/>
                    <a:gd name="T78" fmla="*/ 201 w 235"/>
                    <a:gd name="T79" fmla="*/ 200 h 236"/>
                    <a:gd name="T80" fmla="*/ 184 w 235"/>
                    <a:gd name="T81" fmla="*/ 214 h 236"/>
                    <a:gd name="T82" fmla="*/ 164 w 235"/>
                    <a:gd name="T83" fmla="*/ 226 h 236"/>
                    <a:gd name="T84" fmla="*/ 142 w 235"/>
                    <a:gd name="T85" fmla="*/ 232 h 236"/>
                    <a:gd name="T86" fmla="*/ 130 w 235"/>
                    <a:gd name="T87" fmla="*/ 234 h 236"/>
                    <a:gd name="T88" fmla="*/ 118 w 235"/>
                    <a:gd name="T89" fmla="*/ 236 h 236"/>
                    <a:gd name="T90" fmla="*/ 118 w 235"/>
                    <a:gd name="T91"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5" h="236">
                      <a:moveTo>
                        <a:pt x="118" y="236"/>
                      </a:moveTo>
                      <a:lnTo>
                        <a:pt x="118" y="236"/>
                      </a:lnTo>
                      <a:lnTo>
                        <a:pt x="107" y="234"/>
                      </a:lnTo>
                      <a:lnTo>
                        <a:pt x="95" y="232"/>
                      </a:lnTo>
                      <a:lnTo>
                        <a:pt x="71" y="226"/>
                      </a:lnTo>
                      <a:lnTo>
                        <a:pt x="51" y="214"/>
                      </a:lnTo>
                      <a:lnTo>
                        <a:pt x="35" y="200"/>
                      </a:lnTo>
                      <a:lnTo>
                        <a:pt x="20" y="182"/>
                      </a:lnTo>
                      <a:lnTo>
                        <a:pt x="10" y="162"/>
                      </a:lnTo>
                      <a:lnTo>
                        <a:pt x="2" y="141"/>
                      </a:lnTo>
                      <a:lnTo>
                        <a:pt x="0" y="129"/>
                      </a:lnTo>
                      <a:lnTo>
                        <a:pt x="0" y="117"/>
                      </a:lnTo>
                      <a:lnTo>
                        <a:pt x="0" y="117"/>
                      </a:lnTo>
                      <a:lnTo>
                        <a:pt x="0" y="105"/>
                      </a:lnTo>
                      <a:lnTo>
                        <a:pt x="2" y="93"/>
                      </a:lnTo>
                      <a:lnTo>
                        <a:pt x="10" y="72"/>
                      </a:lnTo>
                      <a:lnTo>
                        <a:pt x="20" y="52"/>
                      </a:lnTo>
                      <a:lnTo>
                        <a:pt x="35" y="34"/>
                      </a:lnTo>
                      <a:lnTo>
                        <a:pt x="51" y="20"/>
                      </a:lnTo>
                      <a:lnTo>
                        <a:pt x="71" y="8"/>
                      </a:lnTo>
                      <a:lnTo>
                        <a:pt x="95" y="2"/>
                      </a:lnTo>
                      <a:lnTo>
                        <a:pt x="107" y="0"/>
                      </a:lnTo>
                      <a:lnTo>
                        <a:pt x="118" y="0"/>
                      </a:lnTo>
                      <a:lnTo>
                        <a:pt x="118" y="0"/>
                      </a:lnTo>
                      <a:lnTo>
                        <a:pt x="130" y="0"/>
                      </a:lnTo>
                      <a:lnTo>
                        <a:pt x="142" y="2"/>
                      </a:lnTo>
                      <a:lnTo>
                        <a:pt x="164" y="8"/>
                      </a:lnTo>
                      <a:lnTo>
                        <a:pt x="184" y="20"/>
                      </a:lnTo>
                      <a:lnTo>
                        <a:pt x="201" y="34"/>
                      </a:lnTo>
                      <a:lnTo>
                        <a:pt x="215" y="52"/>
                      </a:lnTo>
                      <a:lnTo>
                        <a:pt x="227" y="72"/>
                      </a:lnTo>
                      <a:lnTo>
                        <a:pt x="233" y="93"/>
                      </a:lnTo>
                      <a:lnTo>
                        <a:pt x="235" y="105"/>
                      </a:lnTo>
                      <a:lnTo>
                        <a:pt x="235" y="117"/>
                      </a:lnTo>
                      <a:lnTo>
                        <a:pt x="235" y="117"/>
                      </a:lnTo>
                      <a:lnTo>
                        <a:pt x="235" y="129"/>
                      </a:lnTo>
                      <a:lnTo>
                        <a:pt x="233" y="141"/>
                      </a:lnTo>
                      <a:lnTo>
                        <a:pt x="227" y="162"/>
                      </a:lnTo>
                      <a:lnTo>
                        <a:pt x="215" y="182"/>
                      </a:lnTo>
                      <a:lnTo>
                        <a:pt x="201" y="200"/>
                      </a:lnTo>
                      <a:lnTo>
                        <a:pt x="184" y="214"/>
                      </a:lnTo>
                      <a:lnTo>
                        <a:pt x="164" y="226"/>
                      </a:lnTo>
                      <a:lnTo>
                        <a:pt x="142" y="232"/>
                      </a:lnTo>
                      <a:lnTo>
                        <a:pt x="130" y="234"/>
                      </a:lnTo>
                      <a:lnTo>
                        <a:pt x="118" y="236"/>
                      </a:lnTo>
                      <a:lnTo>
                        <a:pt x="118" y="236"/>
                      </a:ln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7" name="Freeform 305"/>
                <p:cNvSpPr>
                  <a:spLocks/>
                </p:cNvSpPr>
                <p:nvPr/>
              </p:nvSpPr>
              <p:spPr bwMode="auto">
                <a:xfrm>
                  <a:off x="0" y="3390902"/>
                  <a:ext cx="3254374" cy="1635124"/>
                </a:xfrm>
                <a:custGeom>
                  <a:avLst/>
                  <a:gdLst>
                    <a:gd name="T0" fmla="*/ 4099 w 4099"/>
                    <a:gd name="T1" fmla="*/ 769 h 2061"/>
                    <a:gd name="T2" fmla="*/ 4099 w 4099"/>
                    <a:gd name="T3" fmla="*/ 769 h 2061"/>
                    <a:gd name="T4" fmla="*/ 4074 w 4099"/>
                    <a:gd name="T5" fmla="*/ 804 h 2061"/>
                    <a:gd name="T6" fmla="*/ 4001 w 4099"/>
                    <a:gd name="T7" fmla="*/ 905 h 2061"/>
                    <a:gd name="T8" fmla="*/ 3898 w 4099"/>
                    <a:gd name="T9" fmla="*/ 1055 h 2061"/>
                    <a:gd name="T10" fmla="*/ 3839 w 4099"/>
                    <a:gd name="T11" fmla="*/ 1146 h 2061"/>
                    <a:gd name="T12" fmla="*/ 3777 w 4099"/>
                    <a:gd name="T13" fmla="*/ 1243 h 2061"/>
                    <a:gd name="T14" fmla="*/ 3716 w 4099"/>
                    <a:gd name="T15" fmla="*/ 1344 h 2061"/>
                    <a:gd name="T16" fmla="*/ 3653 w 4099"/>
                    <a:gd name="T17" fmla="*/ 1451 h 2061"/>
                    <a:gd name="T18" fmla="*/ 3594 w 4099"/>
                    <a:gd name="T19" fmla="*/ 1557 h 2061"/>
                    <a:gd name="T20" fmla="*/ 3538 w 4099"/>
                    <a:gd name="T21" fmla="*/ 1666 h 2061"/>
                    <a:gd name="T22" fmla="*/ 3515 w 4099"/>
                    <a:gd name="T23" fmla="*/ 1719 h 2061"/>
                    <a:gd name="T24" fmla="*/ 3491 w 4099"/>
                    <a:gd name="T25" fmla="*/ 1771 h 2061"/>
                    <a:gd name="T26" fmla="*/ 3469 w 4099"/>
                    <a:gd name="T27" fmla="*/ 1822 h 2061"/>
                    <a:gd name="T28" fmla="*/ 3449 w 4099"/>
                    <a:gd name="T29" fmla="*/ 1873 h 2061"/>
                    <a:gd name="T30" fmla="*/ 3432 w 4099"/>
                    <a:gd name="T31" fmla="*/ 1923 h 2061"/>
                    <a:gd name="T32" fmla="*/ 3416 w 4099"/>
                    <a:gd name="T33" fmla="*/ 1970 h 2061"/>
                    <a:gd name="T34" fmla="*/ 3404 w 4099"/>
                    <a:gd name="T35" fmla="*/ 2018 h 2061"/>
                    <a:gd name="T36" fmla="*/ 3396 w 4099"/>
                    <a:gd name="T37" fmla="*/ 2061 h 2061"/>
                    <a:gd name="T38" fmla="*/ 0 w 4099"/>
                    <a:gd name="T39" fmla="*/ 1342 h 2061"/>
                    <a:gd name="T40" fmla="*/ 0 w 4099"/>
                    <a:gd name="T41" fmla="*/ 1113 h 2061"/>
                    <a:gd name="T42" fmla="*/ 0 w 4099"/>
                    <a:gd name="T43" fmla="*/ 1113 h 2061"/>
                    <a:gd name="T44" fmla="*/ 109 w 4099"/>
                    <a:gd name="T45" fmla="*/ 1123 h 2061"/>
                    <a:gd name="T46" fmla="*/ 231 w 4099"/>
                    <a:gd name="T47" fmla="*/ 1134 h 2061"/>
                    <a:gd name="T48" fmla="*/ 393 w 4099"/>
                    <a:gd name="T49" fmla="*/ 1144 h 2061"/>
                    <a:gd name="T50" fmla="*/ 486 w 4099"/>
                    <a:gd name="T51" fmla="*/ 1150 h 2061"/>
                    <a:gd name="T52" fmla="*/ 585 w 4099"/>
                    <a:gd name="T53" fmla="*/ 1154 h 2061"/>
                    <a:gd name="T54" fmla="*/ 691 w 4099"/>
                    <a:gd name="T55" fmla="*/ 1156 h 2061"/>
                    <a:gd name="T56" fmla="*/ 802 w 4099"/>
                    <a:gd name="T57" fmla="*/ 1158 h 2061"/>
                    <a:gd name="T58" fmla="*/ 917 w 4099"/>
                    <a:gd name="T59" fmla="*/ 1158 h 2061"/>
                    <a:gd name="T60" fmla="*/ 1035 w 4099"/>
                    <a:gd name="T61" fmla="*/ 1156 h 2061"/>
                    <a:gd name="T62" fmla="*/ 1158 w 4099"/>
                    <a:gd name="T63" fmla="*/ 1150 h 2061"/>
                    <a:gd name="T64" fmla="*/ 1280 w 4099"/>
                    <a:gd name="T65" fmla="*/ 1142 h 2061"/>
                    <a:gd name="T66" fmla="*/ 1403 w 4099"/>
                    <a:gd name="T67" fmla="*/ 1132 h 2061"/>
                    <a:gd name="T68" fmla="*/ 1527 w 4099"/>
                    <a:gd name="T69" fmla="*/ 1119 h 2061"/>
                    <a:gd name="T70" fmla="*/ 1650 w 4099"/>
                    <a:gd name="T71" fmla="*/ 1103 h 2061"/>
                    <a:gd name="T72" fmla="*/ 1770 w 4099"/>
                    <a:gd name="T73" fmla="*/ 1081 h 2061"/>
                    <a:gd name="T74" fmla="*/ 1831 w 4099"/>
                    <a:gd name="T75" fmla="*/ 1069 h 2061"/>
                    <a:gd name="T76" fmla="*/ 1891 w 4099"/>
                    <a:gd name="T77" fmla="*/ 1055 h 2061"/>
                    <a:gd name="T78" fmla="*/ 1948 w 4099"/>
                    <a:gd name="T79" fmla="*/ 1042 h 2061"/>
                    <a:gd name="T80" fmla="*/ 2005 w 4099"/>
                    <a:gd name="T81" fmla="*/ 1026 h 2061"/>
                    <a:gd name="T82" fmla="*/ 2061 w 4099"/>
                    <a:gd name="T83" fmla="*/ 1010 h 2061"/>
                    <a:gd name="T84" fmla="*/ 2116 w 4099"/>
                    <a:gd name="T85" fmla="*/ 992 h 2061"/>
                    <a:gd name="T86" fmla="*/ 2169 w 4099"/>
                    <a:gd name="T87" fmla="*/ 972 h 2061"/>
                    <a:gd name="T88" fmla="*/ 2223 w 4099"/>
                    <a:gd name="T89" fmla="*/ 953 h 2061"/>
                    <a:gd name="T90" fmla="*/ 2272 w 4099"/>
                    <a:gd name="T91" fmla="*/ 931 h 2061"/>
                    <a:gd name="T92" fmla="*/ 2321 w 4099"/>
                    <a:gd name="T93" fmla="*/ 907 h 2061"/>
                    <a:gd name="T94" fmla="*/ 2369 w 4099"/>
                    <a:gd name="T95" fmla="*/ 883 h 2061"/>
                    <a:gd name="T96" fmla="*/ 2414 w 4099"/>
                    <a:gd name="T97" fmla="*/ 858 h 2061"/>
                    <a:gd name="T98" fmla="*/ 2458 w 4099"/>
                    <a:gd name="T99" fmla="*/ 830 h 2061"/>
                    <a:gd name="T100" fmla="*/ 2499 w 4099"/>
                    <a:gd name="T101" fmla="*/ 800 h 2061"/>
                    <a:gd name="T102" fmla="*/ 2539 w 4099"/>
                    <a:gd name="T103" fmla="*/ 771 h 2061"/>
                    <a:gd name="T104" fmla="*/ 2576 w 4099"/>
                    <a:gd name="T105" fmla="*/ 737 h 2061"/>
                    <a:gd name="T106" fmla="*/ 2612 w 4099"/>
                    <a:gd name="T107" fmla="*/ 704 h 2061"/>
                    <a:gd name="T108" fmla="*/ 2643 w 4099"/>
                    <a:gd name="T109" fmla="*/ 668 h 2061"/>
                    <a:gd name="T110" fmla="*/ 2673 w 4099"/>
                    <a:gd name="T111" fmla="*/ 633 h 2061"/>
                    <a:gd name="T112" fmla="*/ 2701 w 4099"/>
                    <a:gd name="T113" fmla="*/ 593 h 2061"/>
                    <a:gd name="T114" fmla="*/ 2726 w 4099"/>
                    <a:gd name="T115" fmla="*/ 552 h 2061"/>
                    <a:gd name="T116" fmla="*/ 2748 w 4099"/>
                    <a:gd name="T117" fmla="*/ 510 h 2061"/>
                    <a:gd name="T118" fmla="*/ 2766 w 4099"/>
                    <a:gd name="T119" fmla="*/ 465 h 2061"/>
                    <a:gd name="T120" fmla="*/ 2782 w 4099"/>
                    <a:gd name="T121" fmla="*/ 419 h 2061"/>
                    <a:gd name="T122" fmla="*/ 3843 w 4099"/>
                    <a:gd name="T123" fmla="*/ 0 h 2061"/>
                    <a:gd name="T124" fmla="*/ 4099 w 4099"/>
                    <a:gd name="T125" fmla="*/ 769 h 20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99" h="2061">
                      <a:moveTo>
                        <a:pt x="4099" y="769"/>
                      </a:moveTo>
                      <a:lnTo>
                        <a:pt x="4099" y="769"/>
                      </a:lnTo>
                      <a:lnTo>
                        <a:pt x="4074" y="804"/>
                      </a:lnTo>
                      <a:lnTo>
                        <a:pt x="4001" y="905"/>
                      </a:lnTo>
                      <a:lnTo>
                        <a:pt x="3898" y="1055"/>
                      </a:lnTo>
                      <a:lnTo>
                        <a:pt x="3839" y="1146"/>
                      </a:lnTo>
                      <a:lnTo>
                        <a:pt x="3777" y="1243"/>
                      </a:lnTo>
                      <a:lnTo>
                        <a:pt x="3716" y="1344"/>
                      </a:lnTo>
                      <a:lnTo>
                        <a:pt x="3653" y="1451"/>
                      </a:lnTo>
                      <a:lnTo>
                        <a:pt x="3594" y="1557"/>
                      </a:lnTo>
                      <a:lnTo>
                        <a:pt x="3538" y="1666"/>
                      </a:lnTo>
                      <a:lnTo>
                        <a:pt x="3515" y="1719"/>
                      </a:lnTo>
                      <a:lnTo>
                        <a:pt x="3491" y="1771"/>
                      </a:lnTo>
                      <a:lnTo>
                        <a:pt x="3469" y="1822"/>
                      </a:lnTo>
                      <a:lnTo>
                        <a:pt x="3449" y="1873"/>
                      </a:lnTo>
                      <a:lnTo>
                        <a:pt x="3432" y="1923"/>
                      </a:lnTo>
                      <a:lnTo>
                        <a:pt x="3416" y="1970"/>
                      </a:lnTo>
                      <a:lnTo>
                        <a:pt x="3404" y="2018"/>
                      </a:lnTo>
                      <a:lnTo>
                        <a:pt x="3396" y="2061"/>
                      </a:lnTo>
                      <a:lnTo>
                        <a:pt x="0" y="1342"/>
                      </a:lnTo>
                      <a:lnTo>
                        <a:pt x="0" y="1113"/>
                      </a:lnTo>
                      <a:lnTo>
                        <a:pt x="0" y="1113"/>
                      </a:lnTo>
                      <a:lnTo>
                        <a:pt x="109" y="1123"/>
                      </a:lnTo>
                      <a:lnTo>
                        <a:pt x="231" y="1134"/>
                      </a:lnTo>
                      <a:lnTo>
                        <a:pt x="393" y="1144"/>
                      </a:lnTo>
                      <a:lnTo>
                        <a:pt x="486" y="1150"/>
                      </a:lnTo>
                      <a:lnTo>
                        <a:pt x="585" y="1154"/>
                      </a:lnTo>
                      <a:lnTo>
                        <a:pt x="691" y="1156"/>
                      </a:lnTo>
                      <a:lnTo>
                        <a:pt x="802" y="1158"/>
                      </a:lnTo>
                      <a:lnTo>
                        <a:pt x="917" y="1158"/>
                      </a:lnTo>
                      <a:lnTo>
                        <a:pt x="1035" y="1156"/>
                      </a:lnTo>
                      <a:lnTo>
                        <a:pt x="1158" y="1150"/>
                      </a:lnTo>
                      <a:lnTo>
                        <a:pt x="1280" y="1142"/>
                      </a:lnTo>
                      <a:lnTo>
                        <a:pt x="1403" y="1132"/>
                      </a:lnTo>
                      <a:lnTo>
                        <a:pt x="1527" y="1119"/>
                      </a:lnTo>
                      <a:lnTo>
                        <a:pt x="1650" y="1103"/>
                      </a:lnTo>
                      <a:lnTo>
                        <a:pt x="1770" y="1081"/>
                      </a:lnTo>
                      <a:lnTo>
                        <a:pt x="1831" y="1069"/>
                      </a:lnTo>
                      <a:lnTo>
                        <a:pt x="1891" y="1055"/>
                      </a:lnTo>
                      <a:lnTo>
                        <a:pt x="1948" y="1042"/>
                      </a:lnTo>
                      <a:lnTo>
                        <a:pt x="2005" y="1026"/>
                      </a:lnTo>
                      <a:lnTo>
                        <a:pt x="2061" y="1010"/>
                      </a:lnTo>
                      <a:lnTo>
                        <a:pt x="2116" y="992"/>
                      </a:lnTo>
                      <a:lnTo>
                        <a:pt x="2169" y="972"/>
                      </a:lnTo>
                      <a:lnTo>
                        <a:pt x="2223" y="953"/>
                      </a:lnTo>
                      <a:lnTo>
                        <a:pt x="2272" y="931"/>
                      </a:lnTo>
                      <a:lnTo>
                        <a:pt x="2321" y="907"/>
                      </a:lnTo>
                      <a:lnTo>
                        <a:pt x="2369" y="883"/>
                      </a:lnTo>
                      <a:lnTo>
                        <a:pt x="2414" y="858"/>
                      </a:lnTo>
                      <a:lnTo>
                        <a:pt x="2458" y="830"/>
                      </a:lnTo>
                      <a:lnTo>
                        <a:pt x="2499" y="800"/>
                      </a:lnTo>
                      <a:lnTo>
                        <a:pt x="2539" y="771"/>
                      </a:lnTo>
                      <a:lnTo>
                        <a:pt x="2576" y="737"/>
                      </a:lnTo>
                      <a:lnTo>
                        <a:pt x="2612" y="704"/>
                      </a:lnTo>
                      <a:lnTo>
                        <a:pt x="2643" y="668"/>
                      </a:lnTo>
                      <a:lnTo>
                        <a:pt x="2673" y="633"/>
                      </a:lnTo>
                      <a:lnTo>
                        <a:pt x="2701" y="593"/>
                      </a:lnTo>
                      <a:lnTo>
                        <a:pt x="2726" y="552"/>
                      </a:lnTo>
                      <a:lnTo>
                        <a:pt x="2748" y="510"/>
                      </a:lnTo>
                      <a:lnTo>
                        <a:pt x="2766" y="465"/>
                      </a:lnTo>
                      <a:lnTo>
                        <a:pt x="2782" y="419"/>
                      </a:lnTo>
                      <a:lnTo>
                        <a:pt x="3843" y="0"/>
                      </a:lnTo>
                      <a:lnTo>
                        <a:pt x="4099" y="769"/>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8" name="Freeform 306"/>
                <p:cNvSpPr>
                  <a:spLocks/>
                </p:cNvSpPr>
                <p:nvPr/>
              </p:nvSpPr>
              <p:spPr bwMode="auto">
                <a:xfrm>
                  <a:off x="2159000" y="3390902"/>
                  <a:ext cx="1095374" cy="757237"/>
                </a:xfrm>
                <a:custGeom>
                  <a:avLst/>
                  <a:gdLst>
                    <a:gd name="T0" fmla="*/ 1379 w 1379"/>
                    <a:gd name="T1" fmla="*/ 769 h 955"/>
                    <a:gd name="T2" fmla="*/ 1123 w 1379"/>
                    <a:gd name="T3" fmla="*/ 0 h 955"/>
                    <a:gd name="T4" fmla="*/ 62 w 1379"/>
                    <a:gd name="T5" fmla="*/ 419 h 955"/>
                    <a:gd name="T6" fmla="*/ 62 w 1379"/>
                    <a:gd name="T7" fmla="*/ 419 h 955"/>
                    <a:gd name="T8" fmla="*/ 50 w 1379"/>
                    <a:gd name="T9" fmla="*/ 457 h 955"/>
                    <a:gd name="T10" fmla="*/ 34 w 1379"/>
                    <a:gd name="T11" fmla="*/ 492 h 955"/>
                    <a:gd name="T12" fmla="*/ 18 w 1379"/>
                    <a:gd name="T13" fmla="*/ 528 h 955"/>
                    <a:gd name="T14" fmla="*/ 0 w 1379"/>
                    <a:gd name="T15" fmla="*/ 559 h 955"/>
                    <a:gd name="T16" fmla="*/ 0 w 1379"/>
                    <a:gd name="T17" fmla="*/ 559 h 955"/>
                    <a:gd name="T18" fmla="*/ 74 w 1379"/>
                    <a:gd name="T19" fmla="*/ 591 h 955"/>
                    <a:gd name="T20" fmla="*/ 149 w 1379"/>
                    <a:gd name="T21" fmla="*/ 621 h 955"/>
                    <a:gd name="T22" fmla="*/ 226 w 1379"/>
                    <a:gd name="T23" fmla="*/ 650 h 955"/>
                    <a:gd name="T24" fmla="*/ 305 w 1379"/>
                    <a:gd name="T25" fmla="*/ 680 h 955"/>
                    <a:gd name="T26" fmla="*/ 471 w 1379"/>
                    <a:gd name="T27" fmla="*/ 735 h 955"/>
                    <a:gd name="T28" fmla="*/ 637 w 1379"/>
                    <a:gd name="T29" fmla="*/ 789 h 955"/>
                    <a:gd name="T30" fmla="*/ 801 w 1379"/>
                    <a:gd name="T31" fmla="*/ 838 h 955"/>
                    <a:gd name="T32" fmla="*/ 961 w 1379"/>
                    <a:gd name="T33" fmla="*/ 881 h 955"/>
                    <a:gd name="T34" fmla="*/ 1111 w 1379"/>
                    <a:gd name="T35" fmla="*/ 921 h 955"/>
                    <a:gd name="T36" fmla="*/ 1247 w 1379"/>
                    <a:gd name="T37" fmla="*/ 955 h 955"/>
                    <a:gd name="T38" fmla="*/ 1247 w 1379"/>
                    <a:gd name="T39" fmla="*/ 955 h 955"/>
                    <a:gd name="T40" fmla="*/ 1342 w 1379"/>
                    <a:gd name="T41" fmla="*/ 818 h 955"/>
                    <a:gd name="T42" fmla="*/ 1379 w 1379"/>
                    <a:gd name="T43" fmla="*/ 769 h 955"/>
                    <a:gd name="T44" fmla="*/ 1379 w 1379"/>
                    <a:gd name="T45" fmla="*/ 769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79" h="955">
                      <a:moveTo>
                        <a:pt x="1379" y="769"/>
                      </a:moveTo>
                      <a:lnTo>
                        <a:pt x="1123" y="0"/>
                      </a:lnTo>
                      <a:lnTo>
                        <a:pt x="62" y="419"/>
                      </a:lnTo>
                      <a:lnTo>
                        <a:pt x="62" y="419"/>
                      </a:lnTo>
                      <a:lnTo>
                        <a:pt x="50" y="457"/>
                      </a:lnTo>
                      <a:lnTo>
                        <a:pt x="34" y="492"/>
                      </a:lnTo>
                      <a:lnTo>
                        <a:pt x="18" y="528"/>
                      </a:lnTo>
                      <a:lnTo>
                        <a:pt x="0" y="559"/>
                      </a:lnTo>
                      <a:lnTo>
                        <a:pt x="0" y="559"/>
                      </a:lnTo>
                      <a:lnTo>
                        <a:pt x="74" y="591"/>
                      </a:lnTo>
                      <a:lnTo>
                        <a:pt x="149" y="621"/>
                      </a:lnTo>
                      <a:lnTo>
                        <a:pt x="226" y="650"/>
                      </a:lnTo>
                      <a:lnTo>
                        <a:pt x="305" y="680"/>
                      </a:lnTo>
                      <a:lnTo>
                        <a:pt x="471" y="735"/>
                      </a:lnTo>
                      <a:lnTo>
                        <a:pt x="637" y="789"/>
                      </a:lnTo>
                      <a:lnTo>
                        <a:pt x="801" y="838"/>
                      </a:lnTo>
                      <a:lnTo>
                        <a:pt x="961" y="881"/>
                      </a:lnTo>
                      <a:lnTo>
                        <a:pt x="1111" y="921"/>
                      </a:lnTo>
                      <a:lnTo>
                        <a:pt x="1247" y="955"/>
                      </a:lnTo>
                      <a:lnTo>
                        <a:pt x="1247" y="955"/>
                      </a:lnTo>
                      <a:lnTo>
                        <a:pt x="1342" y="818"/>
                      </a:lnTo>
                      <a:lnTo>
                        <a:pt x="1379" y="769"/>
                      </a:lnTo>
                      <a:lnTo>
                        <a:pt x="1379" y="769"/>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69" name="Freeform 307"/>
                <p:cNvSpPr>
                  <a:spLocks/>
                </p:cNvSpPr>
                <p:nvPr/>
              </p:nvSpPr>
              <p:spPr bwMode="auto">
                <a:xfrm>
                  <a:off x="0" y="117474"/>
                  <a:ext cx="3254374" cy="1635124"/>
                </a:xfrm>
                <a:custGeom>
                  <a:avLst/>
                  <a:gdLst>
                    <a:gd name="T0" fmla="*/ 4099 w 4099"/>
                    <a:gd name="T1" fmla="*/ 1294 h 2061"/>
                    <a:gd name="T2" fmla="*/ 4099 w 4099"/>
                    <a:gd name="T3" fmla="*/ 1294 h 2061"/>
                    <a:gd name="T4" fmla="*/ 4074 w 4099"/>
                    <a:gd name="T5" fmla="*/ 1257 h 2061"/>
                    <a:gd name="T6" fmla="*/ 4001 w 4099"/>
                    <a:gd name="T7" fmla="*/ 1156 h 2061"/>
                    <a:gd name="T8" fmla="*/ 3898 w 4099"/>
                    <a:gd name="T9" fmla="*/ 1006 h 2061"/>
                    <a:gd name="T10" fmla="*/ 3839 w 4099"/>
                    <a:gd name="T11" fmla="*/ 915 h 2061"/>
                    <a:gd name="T12" fmla="*/ 3777 w 4099"/>
                    <a:gd name="T13" fmla="*/ 820 h 2061"/>
                    <a:gd name="T14" fmla="*/ 3716 w 4099"/>
                    <a:gd name="T15" fmla="*/ 717 h 2061"/>
                    <a:gd name="T16" fmla="*/ 3653 w 4099"/>
                    <a:gd name="T17" fmla="*/ 610 h 2061"/>
                    <a:gd name="T18" fmla="*/ 3594 w 4099"/>
                    <a:gd name="T19" fmla="*/ 504 h 2061"/>
                    <a:gd name="T20" fmla="*/ 3538 w 4099"/>
                    <a:gd name="T21" fmla="*/ 395 h 2061"/>
                    <a:gd name="T22" fmla="*/ 3515 w 4099"/>
                    <a:gd name="T23" fmla="*/ 344 h 2061"/>
                    <a:gd name="T24" fmla="*/ 3491 w 4099"/>
                    <a:gd name="T25" fmla="*/ 290 h 2061"/>
                    <a:gd name="T26" fmla="*/ 3469 w 4099"/>
                    <a:gd name="T27" fmla="*/ 239 h 2061"/>
                    <a:gd name="T28" fmla="*/ 3449 w 4099"/>
                    <a:gd name="T29" fmla="*/ 188 h 2061"/>
                    <a:gd name="T30" fmla="*/ 3432 w 4099"/>
                    <a:gd name="T31" fmla="*/ 138 h 2061"/>
                    <a:gd name="T32" fmla="*/ 3416 w 4099"/>
                    <a:gd name="T33" fmla="*/ 91 h 2061"/>
                    <a:gd name="T34" fmla="*/ 3404 w 4099"/>
                    <a:gd name="T35" fmla="*/ 43 h 2061"/>
                    <a:gd name="T36" fmla="*/ 3396 w 4099"/>
                    <a:gd name="T37" fmla="*/ 0 h 2061"/>
                    <a:gd name="T38" fmla="*/ 0 w 4099"/>
                    <a:gd name="T39" fmla="*/ 719 h 2061"/>
                    <a:gd name="T40" fmla="*/ 0 w 4099"/>
                    <a:gd name="T41" fmla="*/ 950 h 2061"/>
                    <a:gd name="T42" fmla="*/ 0 w 4099"/>
                    <a:gd name="T43" fmla="*/ 950 h 2061"/>
                    <a:gd name="T44" fmla="*/ 109 w 4099"/>
                    <a:gd name="T45" fmla="*/ 938 h 2061"/>
                    <a:gd name="T46" fmla="*/ 231 w 4099"/>
                    <a:gd name="T47" fmla="*/ 927 h 2061"/>
                    <a:gd name="T48" fmla="*/ 393 w 4099"/>
                    <a:gd name="T49" fmla="*/ 917 h 2061"/>
                    <a:gd name="T50" fmla="*/ 486 w 4099"/>
                    <a:gd name="T51" fmla="*/ 911 h 2061"/>
                    <a:gd name="T52" fmla="*/ 585 w 4099"/>
                    <a:gd name="T53" fmla="*/ 907 h 2061"/>
                    <a:gd name="T54" fmla="*/ 691 w 4099"/>
                    <a:gd name="T55" fmla="*/ 905 h 2061"/>
                    <a:gd name="T56" fmla="*/ 802 w 4099"/>
                    <a:gd name="T57" fmla="*/ 903 h 2061"/>
                    <a:gd name="T58" fmla="*/ 917 w 4099"/>
                    <a:gd name="T59" fmla="*/ 903 h 2061"/>
                    <a:gd name="T60" fmla="*/ 1035 w 4099"/>
                    <a:gd name="T61" fmla="*/ 907 h 2061"/>
                    <a:gd name="T62" fmla="*/ 1158 w 4099"/>
                    <a:gd name="T63" fmla="*/ 911 h 2061"/>
                    <a:gd name="T64" fmla="*/ 1280 w 4099"/>
                    <a:gd name="T65" fmla="*/ 919 h 2061"/>
                    <a:gd name="T66" fmla="*/ 1403 w 4099"/>
                    <a:gd name="T67" fmla="*/ 929 h 2061"/>
                    <a:gd name="T68" fmla="*/ 1527 w 4099"/>
                    <a:gd name="T69" fmla="*/ 942 h 2061"/>
                    <a:gd name="T70" fmla="*/ 1650 w 4099"/>
                    <a:gd name="T71" fmla="*/ 960 h 2061"/>
                    <a:gd name="T72" fmla="*/ 1770 w 4099"/>
                    <a:gd name="T73" fmla="*/ 980 h 2061"/>
                    <a:gd name="T74" fmla="*/ 1831 w 4099"/>
                    <a:gd name="T75" fmla="*/ 992 h 2061"/>
                    <a:gd name="T76" fmla="*/ 1891 w 4099"/>
                    <a:gd name="T77" fmla="*/ 1006 h 2061"/>
                    <a:gd name="T78" fmla="*/ 1948 w 4099"/>
                    <a:gd name="T79" fmla="*/ 1019 h 2061"/>
                    <a:gd name="T80" fmla="*/ 2005 w 4099"/>
                    <a:gd name="T81" fmla="*/ 1035 h 2061"/>
                    <a:gd name="T82" fmla="*/ 2061 w 4099"/>
                    <a:gd name="T83" fmla="*/ 1051 h 2061"/>
                    <a:gd name="T84" fmla="*/ 2116 w 4099"/>
                    <a:gd name="T85" fmla="*/ 1069 h 2061"/>
                    <a:gd name="T86" fmla="*/ 2169 w 4099"/>
                    <a:gd name="T87" fmla="*/ 1089 h 2061"/>
                    <a:gd name="T88" fmla="*/ 2223 w 4099"/>
                    <a:gd name="T89" fmla="*/ 1108 h 2061"/>
                    <a:gd name="T90" fmla="*/ 2272 w 4099"/>
                    <a:gd name="T91" fmla="*/ 1130 h 2061"/>
                    <a:gd name="T92" fmla="*/ 2321 w 4099"/>
                    <a:gd name="T93" fmla="*/ 1154 h 2061"/>
                    <a:gd name="T94" fmla="*/ 2369 w 4099"/>
                    <a:gd name="T95" fmla="*/ 1178 h 2061"/>
                    <a:gd name="T96" fmla="*/ 2414 w 4099"/>
                    <a:gd name="T97" fmla="*/ 1203 h 2061"/>
                    <a:gd name="T98" fmla="*/ 2458 w 4099"/>
                    <a:gd name="T99" fmla="*/ 1231 h 2061"/>
                    <a:gd name="T100" fmla="*/ 2499 w 4099"/>
                    <a:gd name="T101" fmla="*/ 1261 h 2061"/>
                    <a:gd name="T102" fmla="*/ 2539 w 4099"/>
                    <a:gd name="T103" fmla="*/ 1290 h 2061"/>
                    <a:gd name="T104" fmla="*/ 2576 w 4099"/>
                    <a:gd name="T105" fmla="*/ 1324 h 2061"/>
                    <a:gd name="T106" fmla="*/ 2612 w 4099"/>
                    <a:gd name="T107" fmla="*/ 1357 h 2061"/>
                    <a:gd name="T108" fmla="*/ 2643 w 4099"/>
                    <a:gd name="T109" fmla="*/ 1393 h 2061"/>
                    <a:gd name="T110" fmla="*/ 2673 w 4099"/>
                    <a:gd name="T111" fmla="*/ 1428 h 2061"/>
                    <a:gd name="T112" fmla="*/ 2701 w 4099"/>
                    <a:gd name="T113" fmla="*/ 1468 h 2061"/>
                    <a:gd name="T114" fmla="*/ 2726 w 4099"/>
                    <a:gd name="T115" fmla="*/ 1509 h 2061"/>
                    <a:gd name="T116" fmla="*/ 2748 w 4099"/>
                    <a:gd name="T117" fmla="*/ 1551 h 2061"/>
                    <a:gd name="T118" fmla="*/ 2766 w 4099"/>
                    <a:gd name="T119" fmla="*/ 1596 h 2061"/>
                    <a:gd name="T120" fmla="*/ 2782 w 4099"/>
                    <a:gd name="T121" fmla="*/ 1642 h 2061"/>
                    <a:gd name="T122" fmla="*/ 3843 w 4099"/>
                    <a:gd name="T123" fmla="*/ 2061 h 2061"/>
                    <a:gd name="T124" fmla="*/ 4099 w 4099"/>
                    <a:gd name="T125" fmla="*/ 1294 h 20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99" h="2061">
                      <a:moveTo>
                        <a:pt x="4099" y="1294"/>
                      </a:moveTo>
                      <a:lnTo>
                        <a:pt x="4099" y="1294"/>
                      </a:lnTo>
                      <a:lnTo>
                        <a:pt x="4074" y="1257"/>
                      </a:lnTo>
                      <a:lnTo>
                        <a:pt x="4001" y="1156"/>
                      </a:lnTo>
                      <a:lnTo>
                        <a:pt x="3898" y="1006"/>
                      </a:lnTo>
                      <a:lnTo>
                        <a:pt x="3839" y="915"/>
                      </a:lnTo>
                      <a:lnTo>
                        <a:pt x="3777" y="820"/>
                      </a:lnTo>
                      <a:lnTo>
                        <a:pt x="3716" y="717"/>
                      </a:lnTo>
                      <a:lnTo>
                        <a:pt x="3653" y="610"/>
                      </a:lnTo>
                      <a:lnTo>
                        <a:pt x="3594" y="504"/>
                      </a:lnTo>
                      <a:lnTo>
                        <a:pt x="3538" y="395"/>
                      </a:lnTo>
                      <a:lnTo>
                        <a:pt x="3515" y="344"/>
                      </a:lnTo>
                      <a:lnTo>
                        <a:pt x="3491" y="290"/>
                      </a:lnTo>
                      <a:lnTo>
                        <a:pt x="3469" y="239"/>
                      </a:lnTo>
                      <a:lnTo>
                        <a:pt x="3449" y="188"/>
                      </a:lnTo>
                      <a:lnTo>
                        <a:pt x="3432" y="138"/>
                      </a:lnTo>
                      <a:lnTo>
                        <a:pt x="3416" y="91"/>
                      </a:lnTo>
                      <a:lnTo>
                        <a:pt x="3404" y="43"/>
                      </a:lnTo>
                      <a:lnTo>
                        <a:pt x="3396" y="0"/>
                      </a:lnTo>
                      <a:lnTo>
                        <a:pt x="0" y="719"/>
                      </a:lnTo>
                      <a:lnTo>
                        <a:pt x="0" y="950"/>
                      </a:lnTo>
                      <a:lnTo>
                        <a:pt x="0" y="950"/>
                      </a:lnTo>
                      <a:lnTo>
                        <a:pt x="109" y="938"/>
                      </a:lnTo>
                      <a:lnTo>
                        <a:pt x="231" y="927"/>
                      </a:lnTo>
                      <a:lnTo>
                        <a:pt x="393" y="917"/>
                      </a:lnTo>
                      <a:lnTo>
                        <a:pt x="486" y="911"/>
                      </a:lnTo>
                      <a:lnTo>
                        <a:pt x="585" y="907"/>
                      </a:lnTo>
                      <a:lnTo>
                        <a:pt x="691" y="905"/>
                      </a:lnTo>
                      <a:lnTo>
                        <a:pt x="802" y="903"/>
                      </a:lnTo>
                      <a:lnTo>
                        <a:pt x="917" y="903"/>
                      </a:lnTo>
                      <a:lnTo>
                        <a:pt x="1035" y="907"/>
                      </a:lnTo>
                      <a:lnTo>
                        <a:pt x="1158" y="911"/>
                      </a:lnTo>
                      <a:lnTo>
                        <a:pt x="1280" y="919"/>
                      </a:lnTo>
                      <a:lnTo>
                        <a:pt x="1403" y="929"/>
                      </a:lnTo>
                      <a:lnTo>
                        <a:pt x="1527" y="942"/>
                      </a:lnTo>
                      <a:lnTo>
                        <a:pt x="1650" y="960"/>
                      </a:lnTo>
                      <a:lnTo>
                        <a:pt x="1770" y="980"/>
                      </a:lnTo>
                      <a:lnTo>
                        <a:pt x="1831" y="992"/>
                      </a:lnTo>
                      <a:lnTo>
                        <a:pt x="1891" y="1006"/>
                      </a:lnTo>
                      <a:lnTo>
                        <a:pt x="1948" y="1019"/>
                      </a:lnTo>
                      <a:lnTo>
                        <a:pt x="2005" y="1035"/>
                      </a:lnTo>
                      <a:lnTo>
                        <a:pt x="2061" y="1051"/>
                      </a:lnTo>
                      <a:lnTo>
                        <a:pt x="2116" y="1069"/>
                      </a:lnTo>
                      <a:lnTo>
                        <a:pt x="2169" y="1089"/>
                      </a:lnTo>
                      <a:lnTo>
                        <a:pt x="2223" y="1108"/>
                      </a:lnTo>
                      <a:lnTo>
                        <a:pt x="2272" y="1130"/>
                      </a:lnTo>
                      <a:lnTo>
                        <a:pt x="2321" y="1154"/>
                      </a:lnTo>
                      <a:lnTo>
                        <a:pt x="2369" y="1178"/>
                      </a:lnTo>
                      <a:lnTo>
                        <a:pt x="2414" y="1203"/>
                      </a:lnTo>
                      <a:lnTo>
                        <a:pt x="2458" y="1231"/>
                      </a:lnTo>
                      <a:lnTo>
                        <a:pt x="2499" y="1261"/>
                      </a:lnTo>
                      <a:lnTo>
                        <a:pt x="2539" y="1290"/>
                      </a:lnTo>
                      <a:lnTo>
                        <a:pt x="2576" y="1324"/>
                      </a:lnTo>
                      <a:lnTo>
                        <a:pt x="2612" y="1357"/>
                      </a:lnTo>
                      <a:lnTo>
                        <a:pt x="2643" y="1393"/>
                      </a:lnTo>
                      <a:lnTo>
                        <a:pt x="2673" y="1428"/>
                      </a:lnTo>
                      <a:lnTo>
                        <a:pt x="2701" y="1468"/>
                      </a:lnTo>
                      <a:lnTo>
                        <a:pt x="2726" y="1509"/>
                      </a:lnTo>
                      <a:lnTo>
                        <a:pt x="2748" y="1551"/>
                      </a:lnTo>
                      <a:lnTo>
                        <a:pt x="2766" y="1596"/>
                      </a:lnTo>
                      <a:lnTo>
                        <a:pt x="2782" y="1642"/>
                      </a:lnTo>
                      <a:lnTo>
                        <a:pt x="3843" y="2061"/>
                      </a:lnTo>
                      <a:lnTo>
                        <a:pt x="4099" y="1294"/>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0" name="Freeform 308"/>
                <p:cNvSpPr>
                  <a:spLocks/>
                </p:cNvSpPr>
                <p:nvPr/>
              </p:nvSpPr>
              <p:spPr bwMode="auto">
                <a:xfrm>
                  <a:off x="2159000" y="995361"/>
                  <a:ext cx="1095374" cy="757237"/>
                </a:xfrm>
                <a:custGeom>
                  <a:avLst/>
                  <a:gdLst>
                    <a:gd name="T0" fmla="*/ 1379 w 1379"/>
                    <a:gd name="T1" fmla="*/ 188 h 955"/>
                    <a:gd name="T2" fmla="*/ 1123 w 1379"/>
                    <a:gd name="T3" fmla="*/ 955 h 955"/>
                    <a:gd name="T4" fmla="*/ 62 w 1379"/>
                    <a:gd name="T5" fmla="*/ 536 h 955"/>
                    <a:gd name="T6" fmla="*/ 62 w 1379"/>
                    <a:gd name="T7" fmla="*/ 536 h 955"/>
                    <a:gd name="T8" fmla="*/ 50 w 1379"/>
                    <a:gd name="T9" fmla="*/ 498 h 955"/>
                    <a:gd name="T10" fmla="*/ 34 w 1379"/>
                    <a:gd name="T11" fmla="*/ 463 h 955"/>
                    <a:gd name="T12" fmla="*/ 18 w 1379"/>
                    <a:gd name="T13" fmla="*/ 429 h 955"/>
                    <a:gd name="T14" fmla="*/ 0 w 1379"/>
                    <a:gd name="T15" fmla="*/ 396 h 955"/>
                    <a:gd name="T16" fmla="*/ 0 w 1379"/>
                    <a:gd name="T17" fmla="*/ 396 h 955"/>
                    <a:gd name="T18" fmla="*/ 74 w 1379"/>
                    <a:gd name="T19" fmla="*/ 364 h 955"/>
                    <a:gd name="T20" fmla="*/ 149 w 1379"/>
                    <a:gd name="T21" fmla="*/ 334 h 955"/>
                    <a:gd name="T22" fmla="*/ 226 w 1379"/>
                    <a:gd name="T23" fmla="*/ 305 h 955"/>
                    <a:gd name="T24" fmla="*/ 305 w 1379"/>
                    <a:gd name="T25" fmla="*/ 275 h 955"/>
                    <a:gd name="T26" fmla="*/ 471 w 1379"/>
                    <a:gd name="T27" fmla="*/ 220 h 955"/>
                    <a:gd name="T28" fmla="*/ 637 w 1379"/>
                    <a:gd name="T29" fmla="*/ 166 h 955"/>
                    <a:gd name="T30" fmla="*/ 801 w 1379"/>
                    <a:gd name="T31" fmla="*/ 119 h 955"/>
                    <a:gd name="T32" fmla="*/ 961 w 1379"/>
                    <a:gd name="T33" fmla="*/ 74 h 955"/>
                    <a:gd name="T34" fmla="*/ 1111 w 1379"/>
                    <a:gd name="T35" fmla="*/ 34 h 955"/>
                    <a:gd name="T36" fmla="*/ 1247 w 1379"/>
                    <a:gd name="T37" fmla="*/ 0 h 955"/>
                    <a:gd name="T38" fmla="*/ 1247 w 1379"/>
                    <a:gd name="T39" fmla="*/ 0 h 955"/>
                    <a:gd name="T40" fmla="*/ 1342 w 1379"/>
                    <a:gd name="T41" fmla="*/ 137 h 955"/>
                    <a:gd name="T42" fmla="*/ 1379 w 1379"/>
                    <a:gd name="T43" fmla="*/ 188 h 955"/>
                    <a:gd name="T44" fmla="*/ 1379 w 1379"/>
                    <a:gd name="T45" fmla="*/ 188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79" h="955">
                      <a:moveTo>
                        <a:pt x="1379" y="188"/>
                      </a:moveTo>
                      <a:lnTo>
                        <a:pt x="1123" y="955"/>
                      </a:lnTo>
                      <a:lnTo>
                        <a:pt x="62" y="536"/>
                      </a:lnTo>
                      <a:lnTo>
                        <a:pt x="62" y="536"/>
                      </a:lnTo>
                      <a:lnTo>
                        <a:pt x="50" y="498"/>
                      </a:lnTo>
                      <a:lnTo>
                        <a:pt x="34" y="463"/>
                      </a:lnTo>
                      <a:lnTo>
                        <a:pt x="18" y="429"/>
                      </a:lnTo>
                      <a:lnTo>
                        <a:pt x="0" y="396"/>
                      </a:lnTo>
                      <a:lnTo>
                        <a:pt x="0" y="396"/>
                      </a:lnTo>
                      <a:lnTo>
                        <a:pt x="74" y="364"/>
                      </a:lnTo>
                      <a:lnTo>
                        <a:pt x="149" y="334"/>
                      </a:lnTo>
                      <a:lnTo>
                        <a:pt x="226" y="305"/>
                      </a:lnTo>
                      <a:lnTo>
                        <a:pt x="305" y="275"/>
                      </a:lnTo>
                      <a:lnTo>
                        <a:pt x="471" y="220"/>
                      </a:lnTo>
                      <a:lnTo>
                        <a:pt x="637" y="166"/>
                      </a:lnTo>
                      <a:lnTo>
                        <a:pt x="801" y="119"/>
                      </a:lnTo>
                      <a:lnTo>
                        <a:pt x="961" y="74"/>
                      </a:lnTo>
                      <a:lnTo>
                        <a:pt x="1111" y="34"/>
                      </a:lnTo>
                      <a:lnTo>
                        <a:pt x="1247" y="0"/>
                      </a:lnTo>
                      <a:lnTo>
                        <a:pt x="1247" y="0"/>
                      </a:lnTo>
                      <a:lnTo>
                        <a:pt x="1342" y="137"/>
                      </a:lnTo>
                      <a:lnTo>
                        <a:pt x="1379" y="188"/>
                      </a:lnTo>
                      <a:lnTo>
                        <a:pt x="1379" y="188"/>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1" name="Freeform 309"/>
                <p:cNvSpPr>
                  <a:spLocks/>
                </p:cNvSpPr>
                <p:nvPr/>
              </p:nvSpPr>
              <p:spPr bwMode="auto">
                <a:xfrm>
                  <a:off x="4370387" y="930274"/>
                  <a:ext cx="1033463" cy="1639888"/>
                </a:xfrm>
                <a:custGeom>
                  <a:avLst/>
                  <a:gdLst>
                    <a:gd name="T0" fmla="*/ 593 w 1302"/>
                    <a:gd name="T1" fmla="*/ 2067 h 2067"/>
                    <a:gd name="T2" fmla="*/ 593 w 1302"/>
                    <a:gd name="T3" fmla="*/ 2067 h 2067"/>
                    <a:gd name="T4" fmla="*/ 1302 w 1302"/>
                    <a:gd name="T5" fmla="*/ 2067 h 2067"/>
                    <a:gd name="T6" fmla="*/ 1302 w 1302"/>
                    <a:gd name="T7" fmla="*/ 2067 h 2067"/>
                    <a:gd name="T8" fmla="*/ 1302 w 1302"/>
                    <a:gd name="T9" fmla="*/ 2067 h 2067"/>
                    <a:gd name="T10" fmla="*/ 1300 w 1302"/>
                    <a:gd name="T11" fmla="*/ 1921 h 2067"/>
                    <a:gd name="T12" fmla="*/ 1292 w 1302"/>
                    <a:gd name="T13" fmla="*/ 1775 h 2067"/>
                    <a:gd name="T14" fmla="*/ 1282 w 1302"/>
                    <a:gd name="T15" fmla="*/ 1632 h 2067"/>
                    <a:gd name="T16" fmla="*/ 1267 w 1302"/>
                    <a:gd name="T17" fmla="*/ 1490 h 2067"/>
                    <a:gd name="T18" fmla="*/ 1249 w 1302"/>
                    <a:gd name="T19" fmla="*/ 1352 h 2067"/>
                    <a:gd name="T20" fmla="*/ 1227 w 1302"/>
                    <a:gd name="T21" fmla="*/ 1214 h 2067"/>
                    <a:gd name="T22" fmla="*/ 1201 w 1302"/>
                    <a:gd name="T23" fmla="*/ 1079 h 2067"/>
                    <a:gd name="T24" fmla="*/ 1174 w 1302"/>
                    <a:gd name="T25" fmla="*/ 949 h 2067"/>
                    <a:gd name="T26" fmla="*/ 1142 w 1302"/>
                    <a:gd name="T27" fmla="*/ 820 h 2067"/>
                    <a:gd name="T28" fmla="*/ 1108 w 1302"/>
                    <a:gd name="T29" fmla="*/ 694 h 2067"/>
                    <a:gd name="T30" fmla="*/ 1073 w 1302"/>
                    <a:gd name="T31" fmla="*/ 571 h 2067"/>
                    <a:gd name="T32" fmla="*/ 1035 w 1302"/>
                    <a:gd name="T33" fmla="*/ 451 h 2067"/>
                    <a:gd name="T34" fmla="*/ 996 w 1302"/>
                    <a:gd name="T35" fmla="*/ 334 h 2067"/>
                    <a:gd name="T36" fmla="*/ 952 w 1302"/>
                    <a:gd name="T37" fmla="*/ 222 h 2067"/>
                    <a:gd name="T38" fmla="*/ 911 w 1302"/>
                    <a:gd name="T39" fmla="*/ 113 h 2067"/>
                    <a:gd name="T40" fmla="*/ 865 w 1302"/>
                    <a:gd name="T41" fmla="*/ 8 h 2067"/>
                    <a:gd name="T42" fmla="*/ 865 w 1302"/>
                    <a:gd name="T43" fmla="*/ 8 h 2067"/>
                    <a:gd name="T44" fmla="*/ 741 w 1302"/>
                    <a:gd name="T45" fmla="*/ 2 h 2067"/>
                    <a:gd name="T46" fmla="*/ 619 w 1302"/>
                    <a:gd name="T47" fmla="*/ 0 h 2067"/>
                    <a:gd name="T48" fmla="*/ 619 w 1302"/>
                    <a:gd name="T49" fmla="*/ 0 h 2067"/>
                    <a:gd name="T50" fmla="*/ 458 w 1302"/>
                    <a:gd name="T51" fmla="*/ 2 h 2067"/>
                    <a:gd name="T52" fmla="*/ 304 w 1302"/>
                    <a:gd name="T53" fmla="*/ 6 h 2067"/>
                    <a:gd name="T54" fmla="*/ 150 w 1302"/>
                    <a:gd name="T55" fmla="*/ 12 h 2067"/>
                    <a:gd name="T56" fmla="*/ 0 w 1302"/>
                    <a:gd name="T57" fmla="*/ 20 h 2067"/>
                    <a:gd name="T58" fmla="*/ 0 w 1302"/>
                    <a:gd name="T59" fmla="*/ 20 h 2067"/>
                    <a:gd name="T60" fmla="*/ 32 w 1302"/>
                    <a:gd name="T61" fmla="*/ 50 h 2067"/>
                    <a:gd name="T62" fmla="*/ 61 w 1302"/>
                    <a:gd name="T63" fmla="*/ 81 h 2067"/>
                    <a:gd name="T64" fmla="*/ 91 w 1302"/>
                    <a:gd name="T65" fmla="*/ 113 h 2067"/>
                    <a:gd name="T66" fmla="*/ 119 w 1302"/>
                    <a:gd name="T67" fmla="*/ 151 h 2067"/>
                    <a:gd name="T68" fmla="*/ 148 w 1302"/>
                    <a:gd name="T69" fmla="*/ 188 h 2067"/>
                    <a:gd name="T70" fmla="*/ 176 w 1302"/>
                    <a:gd name="T71" fmla="*/ 228 h 2067"/>
                    <a:gd name="T72" fmla="*/ 204 w 1302"/>
                    <a:gd name="T73" fmla="*/ 271 h 2067"/>
                    <a:gd name="T74" fmla="*/ 229 w 1302"/>
                    <a:gd name="T75" fmla="*/ 317 h 2067"/>
                    <a:gd name="T76" fmla="*/ 255 w 1302"/>
                    <a:gd name="T77" fmla="*/ 364 h 2067"/>
                    <a:gd name="T78" fmla="*/ 281 w 1302"/>
                    <a:gd name="T79" fmla="*/ 413 h 2067"/>
                    <a:gd name="T80" fmla="*/ 306 w 1302"/>
                    <a:gd name="T81" fmla="*/ 465 h 2067"/>
                    <a:gd name="T82" fmla="*/ 330 w 1302"/>
                    <a:gd name="T83" fmla="*/ 520 h 2067"/>
                    <a:gd name="T84" fmla="*/ 354 w 1302"/>
                    <a:gd name="T85" fmla="*/ 575 h 2067"/>
                    <a:gd name="T86" fmla="*/ 376 w 1302"/>
                    <a:gd name="T87" fmla="*/ 635 h 2067"/>
                    <a:gd name="T88" fmla="*/ 397 w 1302"/>
                    <a:gd name="T89" fmla="*/ 696 h 2067"/>
                    <a:gd name="T90" fmla="*/ 419 w 1302"/>
                    <a:gd name="T91" fmla="*/ 759 h 2067"/>
                    <a:gd name="T92" fmla="*/ 439 w 1302"/>
                    <a:gd name="T93" fmla="*/ 824 h 2067"/>
                    <a:gd name="T94" fmla="*/ 457 w 1302"/>
                    <a:gd name="T95" fmla="*/ 891 h 2067"/>
                    <a:gd name="T96" fmla="*/ 474 w 1302"/>
                    <a:gd name="T97" fmla="*/ 963 h 2067"/>
                    <a:gd name="T98" fmla="*/ 490 w 1302"/>
                    <a:gd name="T99" fmla="*/ 1034 h 2067"/>
                    <a:gd name="T100" fmla="*/ 506 w 1302"/>
                    <a:gd name="T101" fmla="*/ 1109 h 2067"/>
                    <a:gd name="T102" fmla="*/ 522 w 1302"/>
                    <a:gd name="T103" fmla="*/ 1186 h 2067"/>
                    <a:gd name="T104" fmla="*/ 534 w 1302"/>
                    <a:gd name="T105" fmla="*/ 1263 h 2067"/>
                    <a:gd name="T106" fmla="*/ 545 w 1302"/>
                    <a:gd name="T107" fmla="*/ 1344 h 2067"/>
                    <a:gd name="T108" fmla="*/ 557 w 1302"/>
                    <a:gd name="T109" fmla="*/ 1427 h 2067"/>
                    <a:gd name="T110" fmla="*/ 567 w 1302"/>
                    <a:gd name="T111" fmla="*/ 1512 h 2067"/>
                    <a:gd name="T112" fmla="*/ 575 w 1302"/>
                    <a:gd name="T113" fmla="*/ 1599 h 2067"/>
                    <a:gd name="T114" fmla="*/ 581 w 1302"/>
                    <a:gd name="T115" fmla="*/ 1690 h 2067"/>
                    <a:gd name="T116" fmla="*/ 587 w 1302"/>
                    <a:gd name="T117" fmla="*/ 1781 h 2067"/>
                    <a:gd name="T118" fmla="*/ 591 w 1302"/>
                    <a:gd name="T119" fmla="*/ 1873 h 2067"/>
                    <a:gd name="T120" fmla="*/ 593 w 1302"/>
                    <a:gd name="T121" fmla="*/ 1970 h 2067"/>
                    <a:gd name="T122" fmla="*/ 593 w 1302"/>
                    <a:gd name="T123" fmla="*/ 2067 h 2067"/>
                    <a:gd name="T124" fmla="*/ 593 w 1302"/>
                    <a:gd name="T125" fmla="*/ 2067 h 2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02" h="2067">
                      <a:moveTo>
                        <a:pt x="593" y="2067"/>
                      </a:moveTo>
                      <a:lnTo>
                        <a:pt x="593" y="2067"/>
                      </a:lnTo>
                      <a:lnTo>
                        <a:pt x="1302" y="2067"/>
                      </a:lnTo>
                      <a:lnTo>
                        <a:pt x="1302" y="2067"/>
                      </a:lnTo>
                      <a:lnTo>
                        <a:pt x="1302" y="2067"/>
                      </a:lnTo>
                      <a:lnTo>
                        <a:pt x="1300" y="1921"/>
                      </a:lnTo>
                      <a:lnTo>
                        <a:pt x="1292" y="1775"/>
                      </a:lnTo>
                      <a:lnTo>
                        <a:pt x="1282" y="1632"/>
                      </a:lnTo>
                      <a:lnTo>
                        <a:pt x="1267" y="1490"/>
                      </a:lnTo>
                      <a:lnTo>
                        <a:pt x="1249" y="1352"/>
                      </a:lnTo>
                      <a:lnTo>
                        <a:pt x="1227" y="1214"/>
                      </a:lnTo>
                      <a:lnTo>
                        <a:pt x="1201" y="1079"/>
                      </a:lnTo>
                      <a:lnTo>
                        <a:pt x="1174" y="949"/>
                      </a:lnTo>
                      <a:lnTo>
                        <a:pt x="1142" y="820"/>
                      </a:lnTo>
                      <a:lnTo>
                        <a:pt x="1108" y="694"/>
                      </a:lnTo>
                      <a:lnTo>
                        <a:pt x="1073" y="571"/>
                      </a:lnTo>
                      <a:lnTo>
                        <a:pt x="1035" y="451"/>
                      </a:lnTo>
                      <a:lnTo>
                        <a:pt x="996" y="334"/>
                      </a:lnTo>
                      <a:lnTo>
                        <a:pt x="952" y="222"/>
                      </a:lnTo>
                      <a:lnTo>
                        <a:pt x="911" y="113"/>
                      </a:lnTo>
                      <a:lnTo>
                        <a:pt x="865" y="8"/>
                      </a:lnTo>
                      <a:lnTo>
                        <a:pt x="865" y="8"/>
                      </a:lnTo>
                      <a:lnTo>
                        <a:pt x="741" y="2"/>
                      </a:lnTo>
                      <a:lnTo>
                        <a:pt x="619" y="0"/>
                      </a:lnTo>
                      <a:lnTo>
                        <a:pt x="619" y="0"/>
                      </a:lnTo>
                      <a:lnTo>
                        <a:pt x="458" y="2"/>
                      </a:lnTo>
                      <a:lnTo>
                        <a:pt x="304" y="6"/>
                      </a:lnTo>
                      <a:lnTo>
                        <a:pt x="150" y="12"/>
                      </a:lnTo>
                      <a:lnTo>
                        <a:pt x="0" y="20"/>
                      </a:lnTo>
                      <a:lnTo>
                        <a:pt x="0" y="20"/>
                      </a:lnTo>
                      <a:lnTo>
                        <a:pt x="32" y="50"/>
                      </a:lnTo>
                      <a:lnTo>
                        <a:pt x="61" y="81"/>
                      </a:lnTo>
                      <a:lnTo>
                        <a:pt x="91" y="113"/>
                      </a:lnTo>
                      <a:lnTo>
                        <a:pt x="119" y="151"/>
                      </a:lnTo>
                      <a:lnTo>
                        <a:pt x="148" y="188"/>
                      </a:lnTo>
                      <a:lnTo>
                        <a:pt x="176" y="228"/>
                      </a:lnTo>
                      <a:lnTo>
                        <a:pt x="204" y="271"/>
                      </a:lnTo>
                      <a:lnTo>
                        <a:pt x="229" y="317"/>
                      </a:lnTo>
                      <a:lnTo>
                        <a:pt x="255" y="364"/>
                      </a:lnTo>
                      <a:lnTo>
                        <a:pt x="281" y="413"/>
                      </a:lnTo>
                      <a:lnTo>
                        <a:pt x="306" y="465"/>
                      </a:lnTo>
                      <a:lnTo>
                        <a:pt x="330" y="520"/>
                      </a:lnTo>
                      <a:lnTo>
                        <a:pt x="354" y="575"/>
                      </a:lnTo>
                      <a:lnTo>
                        <a:pt x="376" y="635"/>
                      </a:lnTo>
                      <a:lnTo>
                        <a:pt x="397" y="696"/>
                      </a:lnTo>
                      <a:lnTo>
                        <a:pt x="419" y="759"/>
                      </a:lnTo>
                      <a:lnTo>
                        <a:pt x="439" y="824"/>
                      </a:lnTo>
                      <a:lnTo>
                        <a:pt x="457" y="891"/>
                      </a:lnTo>
                      <a:lnTo>
                        <a:pt x="474" y="963"/>
                      </a:lnTo>
                      <a:lnTo>
                        <a:pt x="490" y="1034"/>
                      </a:lnTo>
                      <a:lnTo>
                        <a:pt x="506" y="1109"/>
                      </a:lnTo>
                      <a:lnTo>
                        <a:pt x="522" y="1186"/>
                      </a:lnTo>
                      <a:lnTo>
                        <a:pt x="534" y="1263"/>
                      </a:lnTo>
                      <a:lnTo>
                        <a:pt x="545" y="1344"/>
                      </a:lnTo>
                      <a:lnTo>
                        <a:pt x="557" y="1427"/>
                      </a:lnTo>
                      <a:lnTo>
                        <a:pt x="567" y="1512"/>
                      </a:lnTo>
                      <a:lnTo>
                        <a:pt x="575" y="1599"/>
                      </a:lnTo>
                      <a:lnTo>
                        <a:pt x="581" y="1690"/>
                      </a:lnTo>
                      <a:lnTo>
                        <a:pt x="587" y="1781"/>
                      </a:lnTo>
                      <a:lnTo>
                        <a:pt x="591" y="1873"/>
                      </a:lnTo>
                      <a:lnTo>
                        <a:pt x="593" y="1970"/>
                      </a:lnTo>
                      <a:lnTo>
                        <a:pt x="593" y="2067"/>
                      </a:lnTo>
                      <a:lnTo>
                        <a:pt x="593" y="2067"/>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2" name="Freeform 310"/>
                <p:cNvSpPr>
                  <a:spLocks/>
                </p:cNvSpPr>
                <p:nvPr/>
              </p:nvSpPr>
              <p:spPr bwMode="auto">
                <a:xfrm>
                  <a:off x="4370387" y="2570162"/>
                  <a:ext cx="1033463" cy="1639888"/>
                </a:xfrm>
                <a:custGeom>
                  <a:avLst/>
                  <a:gdLst>
                    <a:gd name="T0" fmla="*/ 865 w 1302"/>
                    <a:gd name="T1" fmla="*/ 2061 h 2067"/>
                    <a:gd name="T2" fmla="*/ 865 w 1302"/>
                    <a:gd name="T3" fmla="*/ 2061 h 2067"/>
                    <a:gd name="T4" fmla="*/ 911 w 1302"/>
                    <a:gd name="T5" fmla="*/ 1954 h 2067"/>
                    <a:gd name="T6" fmla="*/ 954 w 1302"/>
                    <a:gd name="T7" fmla="*/ 1845 h 2067"/>
                    <a:gd name="T8" fmla="*/ 996 w 1302"/>
                    <a:gd name="T9" fmla="*/ 1733 h 2067"/>
                    <a:gd name="T10" fmla="*/ 1035 w 1302"/>
                    <a:gd name="T11" fmla="*/ 1616 h 2067"/>
                    <a:gd name="T12" fmla="*/ 1073 w 1302"/>
                    <a:gd name="T13" fmla="*/ 1498 h 2067"/>
                    <a:gd name="T14" fmla="*/ 1108 w 1302"/>
                    <a:gd name="T15" fmla="*/ 1375 h 2067"/>
                    <a:gd name="T16" fmla="*/ 1142 w 1302"/>
                    <a:gd name="T17" fmla="*/ 1249 h 2067"/>
                    <a:gd name="T18" fmla="*/ 1174 w 1302"/>
                    <a:gd name="T19" fmla="*/ 1120 h 2067"/>
                    <a:gd name="T20" fmla="*/ 1201 w 1302"/>
                    <a:gd name="T21" fmla="*/ 988 h 2067"/>
                    <a:gd name="T22" fmla="*/ 1227 w 1302"/>
                    <a:gd name="T23" fmla="*/ 854 h 2067"/>
                    <a:gd name="T24" fmla="*/ 1249 w 1302"/>
                    <a:gd name="T25" fmla="*/ 717 h 2067"/>
                    <a:gd name="T26" fmla="*/ 1267 w 1302"/>
                    <a:gd name="T27" fmla="*/ 577 h 2067"/>
                    <a:gd name="T28" fmla="*/ 1282 w 1302"/>
                    <a:gd name="T29" fmla="*/ 437 h 2067"/>
                    <a:gd name="T30" fmla="*/ 1292 w 1302"/>
                    <a:gd name="T31" fmla="*/ 292 h 2067"/>
                    <a:gd name="T32" fmla="*/ 1300 w 1302"/>
                    <a:gd name="T33" fmla="*/ 148 h 2067"/>
                    <a:gd name="T34" fmla="*/ 1302 w 1302"/>
                    <a:gd name="T35" fmla="*/ 0 h 2067"/>
                    <a:gd name="T36" fmla="*/ 1302 w 1302"/>
                    <a:gd name="T37" fmla="*/ 0 h 2067"/>
                    <a:gd name="T38" fmla="*/ 593 w 1302"/>
                    <a:gd name="T39" fmla="*/ 0 h 2067"/>
                    <a:gd name="T40" fmla="*/ 593 w 1302"/>
                    <a:gd name="T41" fmla="*/ 0 h 2067"/>
                    <a:gd name="T42" fmla="*/ 593 w 1302"/>
                    <a:gd name="T43" fmla="*/ 0 h 2067"/>
                    <a:gd name="T44" fmla="*/ 593 w 1302"/>
                    <a:gd name="T45" fmla="*/ 99 h 2067"/>
                    <a:gd name="T46" fmla="*/ 591 w 1302"/>
                    <a:gd name="T47" fmla="*/ 194 h 2067"/>
                    <a:gd name="T48" fmla="*/ 587 w 1302"/>
                    <a:gd name="T49" fmla="*/ 287 h 2067"/>
                    <a:gd name="T50" fmla="*/ 581 w 1302"/>
                    <a:gd name="T51" fmla="*/ 379 h 2067"/>
                    <a:gd name="T52" fmla="*/ 575 w 1302"/>
                    <a:gd name="T53" fmla="*/ 468 h 2067"/>
                    <a:gd name="T54" fmla="*/ 567 w 1302"/>
                    <a:gd name="T55" fmla="*/ 555 h 2067"/>
                    <a:gd name="T56" fmla="*/ 557 w 1302"/>
                    <a:gd name="T57" fmla="*/ 640 h 2067"/>
                    <a:gd name="T58" fmla="*/ 545 w 1302"/>
                    <a:gd name="T59" fmla="*/ 723 h 2067"/>
                    <a:gd name="T60" fmla="*/ 534 w 1302"/>
                    <a:gd name="T61" fmla="*/ 804 h 2067"/>
                    <a:gd name="T62" fmla="*/ 522 w 1302"/>
                    <a:gd name="T63" fmla="*/ 883 h 2067"/>
                    <a:gd name="T64" fmla="*/ 506 w 1302"/>
                    <a:gd name="T65" fmla="*/ 960 h 2067"/>
                    <a:gd name="T66" fmla="*/ 490 w 1302"/>
                    <a:gd name="T67" fmla="*/ 1033 h 2067"/>
                    <a:gd name="T68" fmla="*/ 474 w 1302"/>
                    <a:gd name="T69" fmla="*/ 1106 h 2067"/>
                    <a:gd name="T70" fmla="*/ 457 w 1302"/>
                    <a:gd name="T71" fmla="*/ 1176 h 2067"/>
                    <a:gd name="T72" fmla="*/ 439 w 1302"/>
                    <a:gd name="T73" fmla="*/ 1243 h 2067"/>
                    <a:gd name="T74" fmla="*/ 419 w 1302"/>
                    <a:gd name="T75" fmla="*/ 1308 h 2067"/>
                    <a:gd name="T76" fmla="*/ 397 w 1302"/>
                    <a:gd name="T77" fmla="*/ 1371 h 2067"/>
                    <a:gd name="T78" fmla="*/ 376 w 1302"/>
                    <a:gd name="T79" fmla="*/ 1432 h 2067"/>
                    <a:gd name="T80" fmla="*/ 354 w 1302"/>
                    <a:gd name="T81" fmla="*/ 1492 h 2067"/>
                    <a:gd name="T82" fmla="*/ 330 w 1302"/>
                    <a:gd name="T83" fmla="*/ 1549 h 2067"/>
                    <a:gd name="T84" fmla="*/ 306 w 1302"/>
                    <a:gd name="T85" fmla="*/ 1602 h 2067"/>
                    <a:gd name="T86" fmla="*/ 281 w 1302"/>
                    <a:gd name="T87" fmla="*/ 1656 h 2067"/>
                    <a:gd name="T88" fmla="*/ 255 w 1302"/>
                    <a:gd name="T89" fmla="*/ 1705 h 2067"/>
                    <a:gd name="T90" fmla="*/ 229 w 1302"/>
                    <a:gd name="T91" fmla="*/ 1752 h 2067"/>
                    <a:gd name="T92" fmla="*/ 204 w 1302"/>
                    <a:gd name="T93" fmla="*/ 1796 h 2067"/>
                    <a:gd name="T94" fmla="*/ 176 w 1302"/>
                    <a:gd name="T95" fmla="*/ 1839 h 2067"/>
                    <a:gd name="T96" fmla="*/ 148 w 1302"/>
                    <a:gd name="T97" fmla="*/ 1881 h 2067"/>
                    <a:gd name="T98" fmla="*/ 119 w 1302"/>
                    <a:gd name="T99" fmla="*/ 1918 h 2067"/>
                    <a:gd name="T100" fmla="*/ 91 w 1302"/>
                    <a:gd name="T101" fmla="*/ 1954 h 2067"/>
                    <a:gd name="T102" fmla="*/ 61 w 1302"/>
                    <a:gd name="T103" fmla="*/ 1988 h 2067"/>
                    <a:gd name="T104" fmla="*/ 32 w 1302"/>
                    <a:gd name="T105" fmla="*/ 2017 h 2067"/>
                    <a:gd name="T106" fmla="*/ 0 w 1302"/>
                    <a:gd name="T107" fmla="*/ 2047 h 2067"/>
                    <a:gd name="T108" fmla="*/ 0 w 1302"/>
                    <a:gd name="T109" fmla="*/ 2047 h 2067"/>
                    <a:gd name="T110" fmla="*/ 152 w 1302"/>
                    <a:gd name="T111" fmla="*/ 2055 h 2067"/>
                    <a:gd name="T112" fmla="*/ 304 w 1302"/>
                    <a:gd name="T113" fmla="*/ 2063 h 2067"/>
                    <a:gd name="T114" fmla="*/ 460 w 1302"/>
                    <a:gd name="T115" fmla="*/ 2067 h 2067"/>
                    <a:gd name="T116" fmla="*/ 619 w 1302"/>
                    <a:gd name="T117" fmla="*/ 2067 h 2067"/>
                    <a:gd name="T118" fmla="*/ 619 w 1302"/>
                    <a:gd name="T119" fmla="*/ 2067 h 2067"/>
                    <a:gd name="T120" fmla="*/ 741 w 1302"/>
                    <a:gd name="T121" fmla="*/ 2065 h 2067"/>
                    <a:gd name="T122" fmla="*/ 865 w 1302"/>
                    <a:gd name="T123" fmla="*/ 2061 h 2067"/>
                    <a:gd name="T124" fmla="*/ 865 w 1302"/>
                    <a:gd name="T125" fmla="*/ 2061 h 2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02" h="2067">
                      <a:moveTo>
                        <a:pt x="865" y="2061"/>
                      </a:moveTo>
                      <a:lnTo>
                        <a:pt x="865" y="2061"/>
                      </a:lnTo>
                      <a:lnTo>
                        <a:pt x="911" y="1954"/>
                      </a:lnTo>
                      <a:lnTo>
                        <a:pt x="954" y="1845"/>
                      </a:lnTo>
                      <a:lnTo>
                        <a:pt x="996" y="1733"/>
                      </a:lnTo>
                      <a:lnTo>
                        <a:pt x="1035" y="1616"/>
                      </a:lnTo>
                      <a:lnTo>
                        <a:pt x="1073" y="1498"/>
                      </a:lnTo>
                      <a:lnTo>
                        <a:pt x="1108" y="1375"/>
                      </a:lnTo>
                      <a:lnTo>
                        <a:pt x="1142" y="1249"/>
                      </a:lnTo>
                      <a:lnTo>
                        <a:pt x="1174" y="1120"/>
                      </a:lnTo>
                      <a:lnTo>
                        <a:pt x="1201" y="988"/>
                      </a:lnTo>
                      <a:lnTo>
                        <a:pt x="1227" y="854"/>
                      </a:lnTo>
                      <a:lnTo>
                        <a:pt x="1249" y="717"/>
                      </a:lnTo>
                      <a:lnTo>
                        <a:pt x="1267" y="577"/>
                      </a:lnTo>
                      <a:lnTo>
                        <a:pt x="1282" y="437"/>
                      </a:lnTo>
                      <a:lnTo>
                        <a:pt x="1292" y="292"/>
                      </a:lnTo>
                      <a:lnTo>
                        <a:pt x="1300" y="148"/>
                      </a:lnTo>
                      <a:lnTo>
                        <a:pt x="1302" y="0"/>
                      </a:lnTo>
                      <a:lnTo>
                        <a:pt x="1302" y="0"/>
                      </a:lnTo>
                      <a:lnTo>
                        <a:pt x="593" y="0"/>
                      </a:lnTo>
                      <a:lnTo>
                        <a:pt x="593" y="0"/>
                      </a:lnTo>
                      <a:lnTo>
                        <a:pt x="593" y="0"/>
                      </a:lnTo>
                      <a:lnTo>
                        <a:pt x="593" y="99"/>
                      </a:lnTo>
                      <a:lnTo>
                        <a:pt x="591" y="194"/>
                      </a:lnTo>
                      <a:lnTo>
                        <a:pt x="587" y="287"/>
                      </a:lnTo>
                      <a:lnTo>
                        <a:pt x="581" y="379"/>
                      </a:lnTo>
                      <a:lnTo>
                        <a:pt x="575" y="468"/>
                      </a:lnTo>
                      <a:lnTo>
                        <a:pt x="567" y="555"/>
                      </a:lnTo>
                      <a:lnTo>
                        <a:pt x="557" y="640"/>
                      </a:lnTo>
                      <a:lnTo>
                        <a:pt x="545" y="723"/>
                      </a:lnTo>
                      <a:lnTo>
                        <a:pt x="534" y="804"/>
                      </a:lnTo>
                      <a:lnTo>
                        <a:pt x="522" y="883"/>
                      </a:lnTo>
                      <a:lnTo>
                        <a:pt x="506" y="960"/>
                      </a:lnTo>
                      <a:lnTo>
                        <a:pt x="490" y="1033"/>
                      </a:lnTo>
                      <a:lnTo>
                        <a:pt x="474" y="1106"/>
                      </a:lnTo>
                      <a:lnTo>
                        <a:pt x="457" y="1176"/>
                      </a:lnTo>
                      <a:lnTo>
                        <a:pt x="439" y="1243"/>
                      </a:lnTo>
                      <a:lnTo>
                        <a:pt x="419" y="1308"/>
                      </a:lnTo>
                      <a:lnTo>
                        <a:pt x="397" y="1371"/>
                      </a:lnTo>
                      <a:lnTo>
                        <a:pt x="376" y="1432"/>
                      </a:lnTo>
                      <a:lnTo>
                        <a:pt x="354" y="1492"/>
                      </a:lnTo>
                      <a:lnTo>
                        <a:pt x="330" y="1549"/>
                      </a:lnTo>
                      <a:lnTo>
                        <a:pt x="306" y="1602"/>
                      </a:lnTo>
                      <a:lnTo>
                        <a:pt x="281" y="1656"/>
                      </a:lnTo>
                      <a:lnTo>
                        <a:pt x="255" y="1705"/>
                      </a:lnTo>
                      <a:lnTo>
                        <a:pt x="229" y="1752"/>
                      </a:lnTo>
                      <a:lnTo>
                        <a:pt x="204" y="1796"/>
                      </a:lnTo>
                      <a:lnTo>
                        <a:pt x="176" y="1839"/>
                      </a:lnTo>
                      <a:lnTo>
                        <a:pt x="148" y="1881"/>
                      </a:lnTo>
                      <a:lnTo>
                        <a:pt x="119" y="1918"/>
                      </a:lnTo>
                      <a:lnTo>
                        <a:pt x="91" y="1954"/>
                      </a:lnTo>
                      <a:lnTo>
                        <a:pt x="61" y="1988"/>
                      </a:lnTo>
                      <a:lnTo>
                        <a:pt x="32" y="2017"/>
                      </a:lnTo>
                      <a:lnTo>
                        <a:pt x="0" y="2047"/>
                      </a:lnTo>
                      <a:lnTo>
                        <a:pt x="0" y="2047"/>
                      </a:lnTo>
                      <a:lnTo>
                        <a:pt x="152" y="2055"/>
                      </a:lnTo>
                      <a:lnTo>
                        <a:pt x="304" y="2063"/>
                      </a:lnTo>
                      <a:lnTo>
                        <a:pt x="460" y="2067"/>
                      </a:lnTo>
                      <a:lnTo>
                        <a:pt x="619" y="2067"/>
                      </a:lnTo>
                      <a:lnTo>
                        <a:pt x="619" y="2067"/>
                      </a:lnTo>
                      <a:lnTo>
                        <a:pt x="741" y="2065"/>
                      </a:lnTo>
                      <a:lnTo>
                        <a:pt x="865" y="2061"/>
                      </a:lnTo>
                      <a:lnTo>
                        <a:pt x="865" y="2061"/>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3" name="Freeform 311"/>
                <p:cNvSpPr>
                  <a:spLocks/>
                </p:cNvSpPr>
                <p:nvPr/>
              </p:nvSpPr>
              <p:spPr bwMode="auto">
                <a:xfrm>
                  <a:off x="7156450" y="1576389"/>
                  <a:ext cx="1504949" cy="2000250"/>
                </a:xfrm>
                <a:custGeom>
                  <a:avLst/>
                  <a:gdLst>
                    <a:gd name="T0" fmla="*/ 0 w 1895"/>
                    <a:gd name="T1" fmla="*/ 2521 h 2521"/>
                    <a:gd name="T2" fmla="*/ 263 w 1895"/>
                    <a:gd name="T3" fmla="*/ 2379 h 2521"/>
                    <a:gd name="T4" fmla="*/ 512 w 1895"/>
                    <a:gd name="T5" fmla="*/ 2237 h 2521"/>
                    <a:gd name="T6" fmla="*/ 666 w 1895"/>
                    <a:gd name="T7" fmla="*/ 2142 h 2521"/>
                    <a:gd name="T8" fmla="*/ 950 w 1895"/>
                    <a:gd name="T9" fmla="*/ 1960 h 2521"/>
                    <a:gd name="T10" fmla="*/ 1205 w 1895"/>
                    <a:gd name="T11" fmla="*/ 1786 h 2521"/>
                    <a:gd name="T12" fmla="*/ 1422 w 1895"/>
                    <a:gd name="T13" fmla="*/ 1628 h 2521"/>
                    <a:gd name="T14" fmla="*/ 1604 w 1895"/>
                    <a:gd name="T15" fmla="*/ 1492 h 2521"/>
                    <a:gd name="T16" fmla="*/ 1798 w 1895"/>
                    <a:gd name="T17" fmla="*/ 1336 h 2521"/>
                    <a:gd name="T18" fmla="*/ 1895 w 1895"/>
                    <a:gd name="T19" fmla="*/ 1253 h 2521"/>
                    <a:gd name="T20" fmla="*/ 1869 w 1895"/>
                    <a:gd name="T21" fmla="*/ 1231 h 2521"/>
                    <a:gd name="T22" fmla="*/ 1677 w 1895"/>
                    <a:gd name="T23" fmla="*/ 1073 h 2521"/>
                    <a:gd name="T24" fmla="*/ 1517 w 1895"/>
                    <a:gd name="T25" fmla="*/ 949 h 2521"/>
                    <a:gd name="T26" fmla="*/ 1316 w 1895"/>
                    <a:gd name="T27" fmla="*/ 799 h 2521"/>
                    <a:gd name="T28" fmla="*/ 1079 w 1895"/>
                    <a:gd name="T29" fmla="*/ 633 h 2521"/>
                    <a:gd name="T30" fmla="*/ 808 w 1895"/>
                    <a:gd name="T31" fmla="*/ 453 h 2521"/>
                    <a:gd name="T32" fmla="*/ 506 w 1895"/>
                    <a:gd name="T33" fmla="*/ 267 h 2521"/>
                    <a:gd name="T34" fmla="*/ 391 w 1895"/>
                    <a:gd name="T35" fmla="*/ 200 h 2521"/>
                    <a:gd name="T36" fmla="*/ 152 w 1895"/>
                    <a:gd name="T37" fmla="*/ 66 h 2521"/>
                    <a:gd name="T38" fmla="*/ 28 w 1895"/>
                    <a:gd name="T39" fmla="*/ 0 h 2521"/>
                    <a:gd name="T40" fmla="*/ 79 w 1895"/>
                    <a:gd name="T41" fmla="*/ 236 h 2521"/>
                    <a:gd name="T42" fmla="*/ 122 w 1895"/>
                    <a:gd name="T43" fmla="*/ 496 h 2521"/>
                    <a:gd name="T44" fmla="*/ 154 w 1895"/>
                    <a:gd name="T45" fmla="*/ 781 h 2521"/>
                    <a:gd name="T46" fmla="*/ 168 w 1895"/>
                    <a:gd name="T47" fmla="*/ 1010 h 2521"/>
                    <a:gd name="T48" fmla="*/ 172 w 1895"/>
                    <a:gd name="T49" fmla="*/ 1168 h 2521"/>
                    <a:gd name="T50" fmla="*/ 170 w 1895"/>
                    <a:gd name="T51" fmla="*/ 1334 h 2521"/>
                    <a:gd name="T52" fmla="*/ 162 w 1895"/>
                    <a:gd name="T53" fmla="*/ 1502 h 2521"/>
                    <a:gd name="T54" fmla="*/ 148 w 1895"/>
                    <a:gd name="T55" fmla="*/ 1678 h 2521"/>
                    <a:gd name="T56" fmla="*/ 128 w 1895"/>
                    <a:gd name="T57" fmla="*/ 1858 h 2521"/>
                    <a:gd name="T58" fmla="*/ 101 w 1895"/>
                    <a:gd name="T59" fmla="*/ 2041 h 2521"/>
                    <a:gd name="T60" fmla="*/ 65 w 1895"/>
                    <a:gd name="T61" fmla="*/ 2231 h 2521"/>
                    <a:gd name="T62" fmla="*/ 24 w 1895"/>
                    <a:gd name="T63" fmla="*/ 2423 h 2521"/>
                    <a:gd name="T64" fmla="*/ 0 w 1895"/>
                    <a:gd name="T65" fmla="*/ 2521 h 2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95" h="2521">
                      <a:moveTo>
                        <a:pt x="0" y="2521"/>
                      </a:moveTo>
                      <a:lnTo>
                        <a:pt x="0" y="2521"/>
                      </a:lnTo>
                      <a:lnTo>
                        <a:pt x="132" y="2450"/>
                      </a:lnTo>
                      <a:lnTo>
                        <a:pt x="263" y="2379"/>
                      </a:lnTo>
                      <a:lnTo>
                        <a:pt x="389" y="2308"/>
                      </a:lnTo>
                      <a:lnTo>
                        <a:pt x="512" y="2237"/>
                      </a:lnTo>
                      <a:lnTo>
                        <a:pt x="512" y="2237"/>
                      </a:lnTo>
                      <a:lnTo>
                        <a:pt x="666" y="2142"/>
                      </a:lnTo>
                      <a:lnTo>
                        <a:pt x="812" y="2051"/>
                      </a:lnTo>
                      <a:lnTo>
                        <a:pt x="950" y="1960"/>
                      </a:lnTo>
                      <a:lnTo>
                        <a:pt x="1083" y="1871"/>
                      </a:lnTo>
                      <a:lnTo>
                        <a:pt x="1205" y="1786"/>
                      </a:lnTo>
                      <a:lnTo>
                        <a:pt x="1318" y="1705"/>
                      </a:lnTo>
                      <a:lnTo>
                        <a:pt x="1422" y="1628"/>
                      </a:lnTo>
                      <a:lnTo>
                        <a:pt x="1519" y="1557"/>
                      </a:lnTo>
                      <a:lnTo>
                        <a:pt x="1604" y="1492"/>
                      </a:lnTo>
                      <a:lnTo>
                        <a:pt x="1679" y="1433"/>
                      </a:lnTo>
                      <a:lnTo>
                        <a:pt x="1798" y="1336"/>
                      </a:lnTo>
                      <a:lnTo>
                        <a:pt x="1871" y="1275"/>
                      </a:lnTo>
                      <a:lnTo>
                        <a:pt x="1895" y="1253"/>
                      </a:lnTo>
                      <a:lnTo>
                        <a:pt x="1895" y="1253"/>
                      </a:lnTo>
                      <a:lnTo>
                        <a:pt x="1869" y="1231"/>
                      </a:lnTo>
                      <a:lnTo>
                        <a:pt x="1796" y="1170"/>
                      </a:lnTo>
                      <a:lnTo>
                        <a:pt x="1677" y="1073"/>
                      </a:lnTo>
                      <a:lnTo>
                        <a:pt x="1602" y="1014"/>
                      </a:lnTo>
                      <a:lnTo>
                        <a:pt x="1517" y="949"/>
                      </a:lnTo>
                      <a:lnTo>
                        <a:pt x="1420" y="876"/>
                      </a:lnTo>
                      <a:lnTo>
                        <a:pt x="1316" y="799"/>
                      </a:lnTo>
                      <a:lnTo>
                        <a:pt x="1201" y="718"/>
                      </a:lnTo>
                      <a:lnTo>
                        <a:pt x="1079" y="633"/>
                      </a:lnTo>
                      <a:lnTo>
                        <a:pt x="948" y="544"/>
                      </a:lnTo>
                      <a:lnTo>
                        <a:pt x="808" y="453"/>
                      </a:lnTo>
                      <a:lnTo>
                        <a:pt x="660" y="360"/>
                      </a:lnTo>
                      <a:lnTo>
                        <a:pt x="506" y="267"/>
                      </a:lnTo>
                      <a:lnTo>
                        <a:pt x="506" y="267"/>
                      </a:lnTo>
                      <a:lnTo>
                        <a:pt x="391" y="200"/>
                      </a:lnTo>
                      <a:lnTo>
                        <a:pt x="272" y="133"/>
                      </a:lnTo>
                      <a:lnTo>
                        <a:pt x="152" y="66"/>
                      </a:lnTo>
                      <a:lnTo>
                        <a:pt x="28" y="0"/>
                      </a:lnTo>
                      <a:lnTo>
                        <a:pt x="28" y="0"/>
                      </a:lnTo>
                      <a:lnTo>
                        <a:pt x="55" y="115"/>
                      </a:lnTo>
                      <a:lnTo>
                        <a:pt x="79" y="236"/>
                      </a:lnTo>
                      <a:lnTo>
                        <a:pt x="103" y="362"/>
                      </a:lnTo>
                      <a:lnTo>
                        <a:pt x="122" y="496"/>
                      </a:lnTo>
                      <a:lnTo>
                        <a:pt x="140" y="635"/>
                      </a:lnTo>
                      <a:lnTo>
                        <a:pt x="154" y="781"/>
                      </a:lnTo>
                      <a:lnTo>
                        <a:pt x="164" y="931"/>
                      </a:lnTo>
                      <a:lnTo>
                        <a:pt x="168" y="1010"/>
                      </a:lnTo>
                      <a:lnTo>
                        <a:pt x="170" y="1089"/>
                      </a:lnTo>
                      <a:lnTo>
                        <a:pt x="172" y="1168"/>
                      </a:lnTo>
                      <a:lnTo>
                        <a:pt x="170" y="1251"/>
                      </a:lnTo>
                      <a:lnTo>
                        <a:pt x="170" y="1334"/>
                      </a:lnTo>
                      <a:lnTo>
                        <a:pt x="166" y="1417"/>
                      </a:lnTo>
                      <a:lnTo>
                        <a:pt x="162" y="1502"/>
                      </a:lnTo>
                      <a:lnTo>
                        <a:pt x="156" y="1589"/>
                      </a:lnTo>
                      <a:lnTo>
                        <a:pt x="148" y="1678"/>
                      </a:lnTo>
                      <a:lnTo>
                        <a:pt x="138" y="1767"/>
                      </a:lnTo>
                      <a:lnTo>
                        <a:pt x="128" y="1858"/>
                      </a:lnTo>
                      <a:lnTo>
                        <a:pt x="114" y="1948"/>
                      </a:lnTo>
                      <a:lnTo>
                        <a:pt x="101" y="2041"/>
                      </a:lnTo>
                      <a:lnTo>
                        <a:pt x="85" y="2136"/>
                      </a:lnTo>
                      <a:lnTo>
                        <a:pt x="65" y="2231"/>
                      </a:lnTo>
                      <a:lnTo>
                        <a:pt x="45" y="2326"/>
                      </a:lnTo>
                      <a:lnTo>
                        <a:pt x="24" y="2423"/>
                      </a:lnTo>
                      <a:lnTo>
                        <a:pt x="0" y="2521"/>
                      </a:lnTo>
                      <a:lnTo>
                        <a:pt x="0" y="2521"/>
                      </a:lnTo>
                      <a:close/>
                    </a:path>
                  </a:pathLst>
                </a:custGeom>
                <a:solidFill>
                  <a:srgbClr val="F1A7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4" name="Freeform 312"/>
                <p:cNvSpPr>
                  <a:spLocks/>
                </p:cNvSpPr>
                <p:nvPr/>
              </p:nvSpPr>
              <p:spPr bwMode="auto">
                <a:xfrm>
                  <a:off x="2109789" y="936625"/>
                  <a:ext cx="5183186" cy="3268665"/>
                </a:xfrm>
                <a:custGeom>
                  <a:avLst/>
                  <a:gdLst>
                    <a:gd name="T0" fmla="*/ 4135 w 6532"/>
                    <a:gd name="T1" fmla="*/ 2434 h 4120"/>
                    <a:gd name="T2" fmla="*/ 4072 w 6532"/>
                    <a:gd name="T3" fmla="*/ 2934 h 4120"/>
                    <a:gd name="T4" fmla="*/ 3967 w 6532"/>
                    <a:gd name="T5" fmla="*/ 3401 h 4120"/>
                    <a:gd name="T6" fmla="*/ 3831 w 6532"/>
                    <a:gd name="T7" fmla="*/ 3827 h 4120"/>
                    <a:gd name="T8" fmla="*/ 3714 w 6532"/>
                    <a:gd name="T9" fmla="*/ 4120 h 4120"/>
                    <a:gd name="T10" fmla="*/ 4072 w 6532"/>
                    <a:gd name="T11" fmla="*/ 4086 h 4120"/>
                    <a:gd name="T12" fmla="*/ 4426 w 6532"/>
                    <a:gd name="T13" fmla="*/ 4029 h 4120"/>
                    <a:gd name="T14" fmla="*/ 4771 w 6532"/>
                    <a:gd name="T15" fmla="*/ 3950 h 4120"/>
                    <a:gd name="T16" fmla="*/ 5277 w 6532"/>
                    <a:gd name="T17" fmla="*/ 3796 h 4120"/>
                    <a:gd name="T18" fmla="*/ 5913 w 6532"/>
                    <a:gd name="T19" fmla="*/ 3543 h 4120"/>
                    <a:gd name="T20" fmla="*/ 6360 w 6532"/>
                    <a:gd name="T21" fmla="*/ 3327 h 4120"/>
                    <a:gd name="T22" fmla="*/ 6445 w 6532"/>
                    <a:gd name="T23" fmla="*/ 2942 h 4120"/>
                    <a:gd name="T24" fmla="*/ 6498 w 6532"/>
                    <a:gd name="T25" fmla="*/ 2573 h 4120"/>
                    <a:gd name="T26" fmla="*/ 6526 w 6532"/>
                    <a:gd name="T27" fmla="*/ 2223 h 4120"/>
                    <a:gd name="T28" fmla="*/ 6530 w 6532"/>
                    <a:gd name="T29" fmla="*/ 1895 h 4120"/>
                    <a:gd name="T30" fmla="*/ 6500 w 6532"/>
                    <a:gd name="T31" fmla="*/ 1441 h 4120"/>
                    <a:gd name="T32" fmla="*/ 6415 w 6532"/>
                    <a:gd name="T33" fmla="*/ 921 h 4120"/>
                    <a:gd name="T34" fmla="*/ 6091 w 6532"/>
                    <a:gd name="T35" fmla="*/ 658 h 4120"/>
                    <a:gd name="T36" fmla="*/ 5461 w 6532"/>
                    <a:gd name="T37" fmla="*/ 390 h 4120"/>
                    <a:gd name="T38" fmla="*/ 4957 w 6532"/>
                    <a:gd name="T39" fmla="*/ 220 h 4120"/>
                    <a:gd name="T40" fmla="*/ 4609 w 6532"/>
                    <a:gd name="T41" fmla="*/ 129 h 4120"/>
                    <a:gd name="T42" fmla="*/ 4256 w 6532"/>
                    <a:gd name="T43" fmla="*/ 60 h 4120"/>
                    <a:gd name="T44" fmla="*/ 3896 w 6532"/>
                    <a:gd name="T45" fmla="*/ 12 h 4120"/>
                    <a:gd name="T46" fmla="*/ 3754 w 6532"/>
                    <a:gd name="T47" fmla="*/ 93 h 4120"/>
                    <a:gd name="T48" fmla="*/ 3902 w 6532"/>
                    <a:gd name="T49" fmla="*/ 498 h 4120"/>
                    <a:gd name="T50" fmla="*/ 4025 w 6532"/>
                    <a:gd name="T51" fmla="*/ 947 h 4120"/>
                    <a:gd name="T52" fmla="*/ 4110 w 6532"/>
                    <a:gd name="T53" fmla="*/ 1431 h 4120"/>
                    <a:gd name="T54" fmla="*/ 3436 w 6532"/>
                    <a:gd name="T55" fmla="*/ 1812 h 4120"/>
                    <a:gd name="T56" fmla="*/ 3420 w 6532"/>
                    <a:gd name="T57" fmla="*/ 1563 h 4120"/>
                    <a:gd name="T58" fmla="*/ 3383 w 6532"/>
                    <a:gd name="T59" fmla="*/ 1255 h 4120"/>
                    <a:gd name="T60" fmla="*/ 3327 w 6532"/>
                    <a:gd name="T61" fmla="*/ 976 h 4120"/>
                    <a:gd name="T62" fmla="*/ 3260 w 6532"/>
                    <a:gd name="T63" fmla="*/ 727 h 4120"/>
                    <a:gd name="T64" fmla="*/ 3177 w 6532"/>
                    <a:gd name="T65" fmla="*/ 508 h 4120"/>
                    <a:gd name="T66" fmla="*/ 3086 w 6532"/>
                    <a:gd name="T67" fmla="*/ 320 h 4120"/>
                    <a:gd name="T68" fmla="*/ 2985 w 6532"/>
                    <a:gd name="T69" fmla="*/ 164 h 4120"/>
                    <a:gd name="T70" fmla="*/ 2877 w 6532"/>
                    <a:gd name="T71" fmla="*/ 40 h 4120"/>
                    <a:gd name="T72" fmla="*/ 2507 w 6532"/>
                    <a:gd name="T73" fmla="*/ 44 h 4120"/>
                    <a:gd name="T74" fmla="*/ 1836 w 6532"/>
                    <a:gd name="T75" fmla="*/ 141 h 4120"/>
                    <a:gd name="T76" fmla="*/ 1148 w 6532"/>
                    <a:gd name="T77" fmla="*/ 287 h 4120"/>
                    <a:gd name="T78" fmla="*/ 0 w 6532"/>
                    <a:gd name="T79" fmla="*/ 581 h 4120"/>
                    <a:gd name="T80" fmla="*/ 407 w 6532"/>
                    <a:gd name="T81" fmla="*/ 3630 h 4120"/>
                    <a:gd name="T82" fmla="*/ 1316 w 6532"/>
                    <a:gd name="T83" fmla="*/ 3865 h 4120"/>
                    <a:gd name="T84" fmla="*/ 1992 w 6532"/>
                    <a:gd name="T85" fmla="*/ 4003 h 4120"/>
                    <a:gd name="T86" fmla="*/ 2673 w 6532"/>
                    <a:gd name="T87" fmla="*/ 4092 h 4120"/>
                    <a:gd name="T88" fmla="*/ 2904 w 6532"/>
                    <a:gd name="T89" fmla="*/ 4051 h 4120"/>
                    <a:gd name="T90" fmla="*/ 3011 w 6532"/>
                    <a:gd name="T91" fmla="*/ 3918 h 4120"/>
                    <a:gd name="T92" fmla="*/ 3110 w 6532"/>
                    <a:gd name="T93" fmla="*/ 3754 h 4120"/>
                    <a:gd name="T94" fmla="*/ 3199 w 6532"/>
                    <a:gd name="T95" fmla="*/ 3559 h 4120"/>
                    <a:gd name="T96" fmla="*/ 3278 w 6532"/>
                    <a:gd name="T97" fmla="*/ 3331 h 4120"/>
                    <a:gd name="T98" fmla="*/ 3343 w 6532"/>
                    <a:gd name="T99" fmla="*/ 3075 h 4120"/>
                    <a:gd name="T100" fmla="*/ 3394 w 6532"/>
                    <a:gd name="T101" fmla="*/ 2790 h 4120"/>
                    <a:gd name="T102" fmla="*/ 3426 w 6532"/>
                    <a:gd name="T103" fmla="*/ 2474 h 4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532" h="4120">
                      <a:moveTo>
                        <a:pt x="3436" y="2306"/>
                      </a:moveTo>
                      <a:lnTo>
                        <a:pt x="4143" y="2306"/>
                      </a:lnTo>
                      <a:lnTo>
                        <a:pt x="4143" y="2306"/>
                      </a:lnTo>
                      <a:lnTo>
                        <a:pt x="4135" y="2434"/>
                      </a:lnTo>
                      <a:lnTo>
                        <a:pt x="4123" y="2563"/>
                      </a:lnTo>
                      <a:lnTo>
                        <a:pt x="4110" y="2687"/>
                      </a:lnTo>
                      <a:lnTo>
                        <a:pt x="4092" y="2812"/>
                      </a:lnTo>
                      <a:lnTo>
                        <a:pt x="4072" y="2934"/>
                      </a:lnTo>
                      <a:lnTo>
                        <a:pt x="4048" y="3053"/>
                      </a:lnTo>
                      <a:lnTo>
                        <a:pt x="4025" y="3171"/>
                      </a:lnTo>
                      <a:lnTo>
                        <a:pt x="3997" y="3288"/>
                      </a:lnTo>
                      <a:lnTo>
                        <a:pt x="3967" y="3401"/>
                      </a:lnTo>
                      <a:lnTo>
                        <a:pt x="3936" y="3511"/>
                      </a:lnTo>
                      <a:lnTo>
                        <a:pt x="3902" y="3620"/>
                      </a:lnTo>
                      <a:lnTo>
                        <a:pt x="3867" y="3725"/>
                      </a:lnTo>
                      <a:lnTo>
                        <a:pt x="3831" y="3827"/>
                      </a:lnTo>
                      <a:lnTo>
                        <a:pt x="3793" y="3928"/>
                      </a:lnTo>
                      <a:lnTo>
                        <a:pt x="3754" y="4025"/>
                      </a:lnTo>
                      <a:lnTo>
                        <a:pt x="3714" y="4120"/>
                      </a:lnTo>
                      <a:lnTo>
                        <a:pt x="3714" y="4120"/>
                      </a:lnTo>
                      <a:lnTo>
                        <a:pt x="3803" y="4114"/>
                      </a:lnTo>
                      <a:lnTo>
                        <a:pt x="3894" y="4106"/>
                      </a:lnTo>
                      <a:lnTo>
                        <a:pt x="3983" y="4096"/>
                      </a:lnTo>
                      <a:lnTo>
                        <a:pt x="4072" y="4086"/>
                      </a:lnTo>
                      <a:lnTo>
                        <a:pt x="4161" y="4074"/>
                      </a:lnTo>
                      <a:lnTo>
                        <a:pt x="4250" y="4060"/>
                      </a:lnTo>
                      <a:lnTo>
                        <a:pt x="4337" y="4045"/>
                      </a:lnTo>
                      <a:lnTo>
                        <a:pt x="4426" y="4029"/>
                      </a:lnTo>
                      <a:lnTo>
                        <a:pt x="4513" y="4011"/>
                      </a:lnTo>
                      <a:lnTo>
                        <a:pt x="4600" y="3991"/>
                      </a:lnTo>
                      <a:lnTo>
                        <a:pt x="4685" y="3972"/>
                      </a:lnTo>
                      <a:lnTo>
                        <a:pt x="4771" y="3950"/>
                      </a:lnTo>
                      <a:lnTo>
                        <a:pt x="4856" y="3926"/>
                      </a:lnTo>
                      <a:lnTo>
                        <a:pt x="4941" y="3902"/>
                      </a:lnTo>
                      <a:lnTo>
                        <a:pt x="5111" y="3851"/>
                      </a:lnTo>
                      <a:lnTo>
                        <a:pt x="5277" y="3796"/>
                      </a:lnTo>
                      <a:lnTo>
                        <a:pt x="5439" y="3736"/>
                      </a:lnTo>
                      <a:lnTo>
                        <a:pt x="5601" y="3675"/>
                      </a:lnTo>
                      <a:lnTo>
                        <a:pt x="5759" y="3610"/>
                      </a:lnTo>
                      <a:lnTo>
                        <a:pt x="5913" y="3543"/>
                      </a:lnTo>
                      <a:lnTo>
                        <a:pt x="6065" y="3472"/>
                      </a:lnTo>
                      <a:lnTo>
                        <a:pt x="6214" y="3401"/>
                      </a:lnTo>
                      <a:lnTo>
                        <a:pt x="6360" y="3327"/>
                      </a:lnTo>
                      <a:lnTo>
                        <a:pt x="6360" y="3327"/>
                      </a:lnTo>
                      <a:lnTo>
                        <a:pt x="6384" y="3229"/>
                      </a:lnTo>
                      <a:lnTo>
                        <a:pt x="6405" y="3132"/>
                      </a:lnTo>
                      <a:lnTo>
                        <a:pt x="6425" y="3037"/>
                      </a:lnTo>
                      <a:lnTo>
                        <a:pt x="6445" y="2942"/>
                      </a:lnTo>
                      <a:lnTo>
                        <a:pt x="6461" y="2847"/>
                      </a:lnTo>
                      <a:lnTo>
                        <a:pt x="6474" y="2754"/>
                      </a:lnTo>
                      <a:lnTo>
                        <a:pt x="6488" y="2664"/>
                      </a:lnTo>
                      <a:lnTo>
                        <a:pt x="6498" y="2573"/>
                      </a:lnTo>
                      <a:lnTo>
                        <a:pt x="6508" y="2484"/>
                      </a:lnTo>
                      <a:lnTo>
                        <a:pt x="6516" y="2395"/>
                      </a:lnTo>
                      <a:lnTo>
                        <a:pt x="6522" y="2308"/>
                      </a:lnTo>
                      <a:lnTo>
                        <a:pt x="6526" y="2223"/>
                      </a:lnTo>
                      <a:lnTo>
                        <a:pt x="6530" y="2140"/>
                      </a:lnTo>
                      <a:lnTo>
                        <a:pt x="6530" y="2057"/>
                      </a:lnTo>
                      <a:lnTo>
                        <a:pt x="6532" y="1974"/>
                      </a:lnTo>
                      <a:lnTo>
                        <a:pt x="6530" y="1895"/>
                      </a:lnTo>
                      <a:lnTo>
                        <a:pt x="6528" y="1816"/>
                      </a:lnTo>
                      <a:lnTo>
                        <a:pt x="6524" y="1737"/>
                      </a:lnTo>
                      <a:lnTo>
                        <a:pt x="6514" y="1587"/>
                      </a:lnTo>
                      <a:lnTo>
                        <a:pt x="6500" y="1441"/>
                      </a:lnTo>
                      <a:lnTo>
                        <a:pt x="6482" y="1302"/>
                      </a:lnTo>
                      <a:lnTo>
                        <a:pt x="6463" y="1168"/>
                      </a:lnTo>
                      <a:lnTo>
                        <a:pt x="6439" y="1042"/>
                      </a:lnTo>
                      <a:lnTo>
                        <a:pt x="6415" y="921"/>
                      </a:lnTo>
                      <a:lnTo>
                        <a:pt x="6388" y="806"/>
                      </a:lnTo>
                      <a:lnTo>
                        <a:pt x="6388" y="806"/>
                      </a:lnTo>
                      <a:lnTo>
                        <a:pt x="6241" y="731"/>
                      </a:lnTo>
                      <a:lnTo>
                        <a:pt x="6091" y="658"/>
                      </a:lnTo>
                      <a:lnTo>
                        <a:pt x="5939" y="587"/>
                      </a:lnTo>
                      <a:lnTo>
                        <a:pt x="5783" y="520"/>
                      </a:lnTo>
                      <a:lnTo>
                        <a:pt x="5623" y="453"/>
                      </a:lnTo>
                      <a:lnTo>
                        <a:pt x="5461" y="390"/>
                      </a:lnTo>
                      <a:lnTo>
                        <a:pt x="5295" y="328"/>
                      </a:lnTo>
                      <a:lnTo>
                        <a:pt x="5127" y="273"/>
                      </a:lnTo>
                      <a:lnTo>
                        <a:pt x="5042" y="245"/>
                      </a:lnTo>
                      <a:lnTo>
                        <a:pt x="4957" y="220"/>
                      </a:lnTo>
                      <a:lnTo>
                        <a:pt x="4870" y="196"/>
                      </a:lnTo>
                      <a:lnTo>
                        <a:pt x="4783" y="172"/>
                      </a:lnTo>
                      <a:lnTo>
                        <a:pt x="4696" y="150"/>
                      </a:lnTo>
                      <a:lnTo>
                        <a:pt x="4609" y="129"/>
                      </a:lnTo>
                      <a:lnTo>
                        <a:pt x="4523" y="109"/>
                      </a:lnTo>
                      <a:lnTo>
                        <a:pt x="4434" y="91"/>
                      </a:lnTo>
                      <a:lnTo>
                        <a:pt x="4345" y="75"/>
                      </a:lnTo>
                      <a:lnTo>
                        <a:pt x="4256" y="60"/>
                      </a:lnTo>
                      <a:lnTo>
                        <a:pt x="4167" y="46"/>
                      </a:lnTo>
                      <a:lnTo>
                        <a:pt x="4076" y="32"/>
                      </a:lnTo>
                      <a:lnTo>
                        <a:pt x="3987" y="22"/>
                      </a:lnTo>
                      <a:lnTo>
                        <a:pt x="3896" y="12"/>
                      </a:lnTo>
                      <a:lnTo>
                        <a:pt x="3805" y="6"/>
                      </a:lnTo>
                      <a:lnTo>
                        <a:pt x="3714" y="0"/>
                      </a:lnTo>
                      <a:lnTo>
                        <a:pt x="3714" y="0"/>
                      </a:lnTo>
                      <a:lnTo>
                        <a:pt x="3754" y="93"/>
                      </a:lnTo>
                      <a:lnTo>
                        <a:pt x="3793" y="190"/>
                      </a:lnTo>
                      <a:lnTo>
                        <a:pt x="3831" y="291"/>
                      </a:lnTo>
                      <a:lnTo>
                        <a:pt x="3867" y="393"/>
                      </a:lnTo>
                      <a:lnTo>
                        <a:pt x="3902" y="498"/>
                      </a:lnTo>
                      <a:lnTo>
                        <a:pt x="3936" y="607"/>
                      </a:lnTo>
                      <a:lnTo>
                        <a:pt x="3967" y="718"/>
                      </a:lnTo>
                      <a:lnTo>
                        <a:pt x="3997" y="832"/>
                      </a:lnTo>
                      <a:lnTo>
                        <a:pt x="4025" y="947"/>
                      </a:lnTo>
                      <a:lnTo>
                        <a:pt x="4048" y="1065"/>
                      </a:lnTo>
                      <a:lnTo>
                        <a:pt x="4072" y="1186"/>
                      </a:lnTo>
                      <a:lnTo>
                        <a:pt x="4092" y="1306"/>
                      </a:lnTo>
                      <a:lnTo>
                        <a:pt x="4110" y="1431"/>
                      </a:lnTo>
                      <a:lnTo>
                        <a:pt x="4123" y="1555"/>
                      </a:lnTo>
                      <a:lnTo>
                        <a:pt x="4135" y="1684"/>
                      </a:lnTo>
                      <a:lnTo>
                        <a:pt x="4143" y="1812"/>
                      </a:lnTo>
                      <a:lnTo>
                        <a:pt x="3436" y="1812"/>
                      </a:lnTo>
                      <a:lnTo>
                        <a:pt x="3436" y="1812"/>
                      </a:lnTo>
                      <a:lnTo>
                        <a:pt x="3432" y="1727"/>
                      </a:lnTo>
                      <a:lnTo>
                        <a:pt x="3426" y="1644"/>
                      </a:lnTo>
                      <a:lnTo>
                        <a:pt x="3420" y="1563"/>
                      </a:lnTo>
                      <a:lnTo>
                        <a:pt x="3412" y="1484"/>
                      </a:lnTo>
                      <a:lnTo>
                        <a:pt x="3404" y="1405"/>
                      </a:lnTo>
                      <a:lnTo>
                        <a:pt x="3394" y="1330"/>
                      </a:lnTo>
                      <a:lnTo>
                        <a:pt x="3383" y="1255"/>
                      </a:lnTo>
                      <a:lnTo>
                        <a:pt x="3371" y="1184"/>
                      </a:lnTo>
                      <a:lnTo>
                        <a:pt x="3357" y="1113"/>
                      </a:lnTo>
                      <a:lnTo>
                        <a:pt x="3343" y="1044"/>
                      </a:lnTo>
                      <a:lnTo>
                        <a:pt x="3327" y="976"/>
                      </a:lnTo>
                      <a:lnTo>
                        <a:pt x="3311" y="911"/>
                      </a:lnTo>
                      <a:lnTo>
                        <a:pt x="3296" y="848"/>
                      </a:lnTo>
                      <a:lnTo>
                        <a:pt x="3278" y="787"/>
                      </a:lnTo>
                      <a:lnTo>
                        <a:pt x="3260" y="727"/>
                      </a:lnTo>
                      <a:lnTo>
                        <a:pt x="3240" y="670"/>
                      </a:lnTo>
                      <a:lnTo>
                        <a:pt x="3221" y="615"/>
                      </a:lnTo>
                      <a:lnTo>
                        <a:pt x="3199" y="561"/>
                      </a:lnTo>
                      <a:lnTo>
                        <a:pt x="3177" y="508"/>
                      </a:lnTo>
                      <a:lnTo>
                        <a:pt x="3155" y="459"/>
                      </a:lnTo>
                      <a:lnTo>
                        <a:pt x="3134" y="411"/>
                      </a:lnTo>
                      <a:lnTo>
                        <a:pt x="3110" y="366"/>
                      </a:lnTo>
                      <a:lnTo>
                        <a:pt x="3086" y="320"/>
                      </a:lnTo>
                      <a:lnTo>
                        <a:pt x="3061" y="279"/>
                      </a:lnTo>
                      <a:lnTo>
                        <a:pt x="3037" y="239"/>
                      </a:lnTo>
                      <a:lnTo>
                        <a:pt x="3011" y="200"/>
                      </a:lnTo>
                      <a:lnTo>
                        <a:pt x="2985" y="164"/>
                      </a:lnTo>
                      <a:lnTo>
                        <a:pt x="2958" y="131"/>
                      </a:lnTo>
                      <a:lnTo>
                        <a:pt x="2932" y="97"/>
                      </a:lnTo>
                      <a:lnTo>
                        <a:pt x="2904" y="67"/>
                      </a:lnTo>
                      <a:lnTo>
                        <a:pt x="2877" y="40"/>
                      </a:lnTo>
                      <a:lnTo>
                        <a:pt x="2849" y="12"/>
                      </a:lnTo>
                      <a:lnTo>
                        <a:pt x="2849" y="12"/>
                      </a:lnTo>
                      <a:lnTo>
                        <a:pt x="2677" y="26"/>
                      </a:lnTo>
                      <a:lnTo>
                        <a:pt x="2507" y="44"/>
                      </a:lnTo>
                      <a:lnTo>
                        <a:pt x="2337" y="64"/>
                      </a:lnTo>
                      <a:lnTo>
                        <a:pt x="2170" y="87"/>
                      </a:lnTo>
                      <a:lnTo>
                        <a:pt x="2004" y="113"/>
                      </a:lnTo>
                      <a:lnTo>
                        <a:pt x="1836" y="141"/>
                      </a:lnTo>
                      <a:lnTo>
                        <a:pt x="1666" y="174"/>
                      </a:lnTo>
                      <a:lnTo>
                        <a:pt x="1496" y="208"/>
                      </a:lnTo>
                      <a:lnTo>
                        <a:pt x="1324" y="245"/>
                      </a:lnTo>
                      <a:lnTo>
                        <a:pt x="1148" y="287"/>
                      </a:lnTo>
                      <a:lnTo>
                        <a:pt x="968" y="330"/>
                      </a:lnTo>
                      <a:lnTo>
                        <a:pt x="787" y="376"/>
                      </a:lnTo>
                      <a:lnTo>
                        <a:pt x="405" y="474"/>
                      </a:lnTo>
                      <a:lnTo>
                        <a:pt x="0" y="581"/>
                      </a:lnTo>
                      <a:lnTo>
                        <a:pt x="0" y="3517"/>
                      </a:lnTo>
                      <a:lnTo>
                        <a:pt x="0" y="3517"/>
                      </a:lnTo>
                      <a:lnTo>
                        <a:pt x="0" y="3517"/>
                      </a:lnTo>
                      <a:lnTo>
                        <a:pt x="407" y="3630"/>
                      </a:lnTo>
                      <a:lnTo>
                        <a:pt x="785" y="3730"/>
                      </a:lnTo>
                      <a:lnTo>
                        <a:pt x="966" y="3778"/>
                      </a:lnTo>
                      <a:lnTo>
                        <a:pt x="1144" y="3823"/>
                      </a:lnTo>
                      <a:lnTo>
                        <a:pt x="1316" y="3865"/>
                      </a:lnTo>
                      <a:lnTo>
                        <a:pt x="1488" y="3904"/>
                      </a:lnTo>
                      <a:lnTo>
                        <a:pt x="1656" y="3940"/>
                      </a:lnTo>
                      <a:lnTo>
                        <a:pt x="1824" y="3973"/>
                      </a:lnTo>
                      <a:lnTo>
                        <a:pt x="1992" y="4003"/>
                      </a:lnTo>
                      <a:lnTo>
                        <a:pt x="2160" y="4031"/>
                      </a:lnTo>
                      <a:lnTo>
                        <a:pt x="2328" y="4055"/>
                      </a:lnTo>
                      <a:lnTo>
                        <a:pt x="2499" y="4074"/>
                      </a:lnTo>
                      <a:lnTo>
                        <a:pt x="2673" y="4092"/>
                      </a:lnTo>
                      <a:lnTo>
                        <a:pt x="2849" y="4106"/>
                      </a:lnTo>
                      <a:lnTo>
                        <a:pt x="2849" y="4106"/>
                      </a:lnTo>
                      <a:lnTo>
                        <a:pt x="2877" y="4080"/>
                      </a:lnTo>
                      <a:lnTo>
                        <a:pt x="2904" y="4051"/>
                      </a:lnTo>
                      <a:lnTo>
                        <a:pt x="2932" y="4021"/>
                      </a:lnTo>
                      <a:lnTo>
                        <a:pt x="2958" y="3989"/>
                      </a:lnTo>
                      <a:lnTo>
                        <a:pt x="2985" y="3954"/>
                      </a:lnTo>
                      <a:lnTo>
                        <a:pt x="3011" y="3918"/>
                      </a:lnTo>
                      <a:lnTo>
                        <a:pt x="3037" y="3881"/>
                      </a:lnTo>
                      <a:lnTo>
                        <a:pt x="3061" y="3839"/>
                      </a:lnTo>
                      <a:lnTo>
                        <a:pt x="3086" y="3798"/>
                      </a:lnTo>
                      <a:lnTo>
                        <a:pt x="3110" y="3754"/>
                      </a:lnTo>
                      <a:lnTo>
                        <a:pt x="3134" y="3707"/>
                      </a:lnTo>
                      <a:lnTo>
                        <a:pt x="3155" y="3659"/>
                      </a:lnTo>
                      <a:lnTo>
                        <a:pt x="3177" y="3610"/>
                      </a:lnTo>
                      <a:lnTo>
                        <a:pt x="3199" y="3559"/>
                      </a:lnTo>
                      <a:lnTo>
                        <a:pt x="3221" y="3503"/>
                      </a:lnTo>
                      <a:lnTo>
                        <a:pt x="3240" y="3448"/>
                      </a:lnTo>
                      <a:lnTo>
                        <a:pt x="3260" y="3391"/>
                      </a:lnTo>
                      <a:lnTo>
                        <a:pt x="3278" y="3331"/>
                      </a:lnTo>
                      <a:lnTo>
                        <a:pt x="3296" y="3270"/>
                      </a:lnTo>
                      <a:lnTo>
                        <a:pt x="3311" y="3207"/>
                      </a:lnTo>
                      <a:lnTo>
                        <a:pt x="3327" y="3142"/>
                      </a:lnTo>
                      <a:lnTo>
                        <a:pt x="3343" y="3075"/>
                      </a:lnTo>
                      <a:lnTo>
                        <a:pt x="3357" y="3007"/>
                      </a:lnTo>
                      <a:lnTo>
                        <a:pt x="3371" y="2936"/>
                      </a:lnTo>
                      <a:lnTo>
                        <a:pt x="3383" y="2863"/>
                      </a:lnTo>
                      <a:lnTo>
                        <a:pt x="3394" y="2790"/>
                      </a:lnTo>
                      <a:lnTo>
                        <a:pt x="3404" y="2713"/>
                      </a:lnTo>
                      <a:lnTo>
                        <a:pt x="3412" y="2636"/>
                      </a:lnTo>
                      <a:lnTo>
                        <a:pt x="3420" y="2555"/>
                      </a:lnTo>
                      <a:lnTo>
                        <a:pt x="3426" y="2474"/>
                      </a:lnTo>
                      <a:lnTo>
                        <a:pt x="3432" y="2391"/>
                      </a:lnTo>
                      <a:lnTo>
                        <a:pt x="3436" y="2306"/>
                      </a:lnTo>
                      <a:lnTo>
                        <a:pt x="3436" y="2306"/>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5" name="Freeform 313"/>
                <p:cNvSpPr>
                  <a:spLocks/>
                </p:cNvSpPr>
                <p:nvPr/>
              </p:nvSpPr>
              <p:spPr bwMode="auto">
                <a:xfrm>
                  <a:off x="2035174" y="1395413"/>
                  <a:ext cx="185736" cy="2332039"/>
                </a:xfrm>
                <a:custGeom>
                  <a:avLst/>
                  <a:gdLst>
                    <a:gd name="T0" fmla="*/ 234 w 234"/>
                    <a:gd name="T1" fmla="*/ 1470 h 2938"/>
                    <a:gd name="T2" fmla="*/ 226 w 234"/>
                    <a:gd name="T3" fmla="*/ 897 h 2938"/>
                    <a:gd name="T4" fmla="*/ 216 w 234"/>
                    <a:gd name="T5" fmla="*/ 648 h 2938"/>
                    <a:gd name="T6" fmla="*/ 202 w 234"/>
                    <a:gd name="T7" fmla="*/ 431 h 2938"/>
                    <a:gd name="T8" fmla="*/ 182 w 234"/>
                    <a:gd name="T9" fmla="*/ 251 h 2938"/>
                    <a:gd name="T10" fmla="*/ 160 w 234"/>
                    <a:gd name="T11" fmla="*/ 115 h 2938"/>
                    <a:gd name="T12" fmla="*/ 139 w 234"/>
                    <a:gd name="T13" fmla="*/ 46 h 2938"/>
                    <a:gd name="T14" fmla="*/ 125 w 234"/>
                    <a:gd name="T15" fmla="*/ 16 h 2938"/>
                    <a:gd name="T16" fmla="*/ 107 w 234"/>
                    <a:gd name="T17" fmla="*/ 2 h 2938"/>
                    <a:gd name="T18" fmla="*/ 99 w 234"/>
                    <a:gd name="T19" fmla="*/ 0 h 2938"/>
                    <a:gd name="T20" fmla="*/ 83 w 234"/>
                    <a:gd name="T21" fmla="*/ 8 h 2938"/>
                    <a:gd name="T22" fmla="*/ 68 w 234"/>
                    <a:gd name="T23" fmla="*/ 30 h 2938"/>
                    <a:gd name="T24" fmla="*/ 56 w 234"/>
                    <a:gd name="T25" fmla="*/ 65 h 2938"/>
                    <a:gd name="T26" fmla="*/ 34 w 234"/>
                    <a:gd name="T27" fmla="*/ 176 h 2938"/>
                    <a:gd name="T28" fmla="*/ 20 w 234"/>
                    <a:gd name="T29" fmla="*/ 336 h 2938"/>
                    <a:gd name="T30" fmla="*/ 10 w 234"/>
                    <a:gd name="T31" fmla="*/ 534 h 2938"/>
                    <a:gd name="T32" fmla="*/ 2 w 234"/>
                    <a:gd name="T33" fmla="*/ 897 h 2938"/>
                    <a:gd name="T34" fmla="*/ 0 w 234"/>
                    <a:gd name="T35" fmla="*/ 1470 h 2938"/>
                    <a:gd name="T36" fmla="*/ 0 w 234"/>
                    <a:gd name="T37" fmla="*/ 1765 h 2938"/>
                    <a:gd name="T38" fmla="*/ 6 w 234"/>
                    <a:gd name="T39" fmla="*/ 2290 h 2938"/>
                    <a:gd name="T40" fmla="*/ 14 w 234"/>
                    <a:gd name="T41" fmla="*/ 2507 h 2938"/>
                    <a:gd name="T42" fmla="*/ 26 w 234"/>
                    <a:gd name="T43" fmla="*/ 2687 h 2938"/>
                    <a:gd name="T44" fmla="*/ 44 w 234"/>
                    <a:gd name="T45" fmla="*/ 2824 h 2938"/>
                    <a:gd name="T46" fmla="*/ 62 w 234"/>
                    <a:gd name="T47" fmla="*/ 2893 h 2938"/>
                    <a:gd name="T48" fmla="*/ 75 w 234"/>
                    <a:gd name="T49" fmla="*/ 2922 h 2938"/>
                    <a:gd name="T50" fmla="*/ 91 w 234"/>
                    <a:gd name="T51" fmla="*/ 2936 h 2938"/>
                    <a:gd name="T52" fmla="*/ 99 w 234"/>
                    <a:gd name="T53" fmla="*/ 2938 h 2938"/>
                    <a:gd name="T54" fmla="*/ 117 w 234"/>
                    <a:gd name="T55" fmla="*/ 2932 h 2938"/>
                    <a:gd name="T56" fmla="*/ 133 w 234"/>
                    <a:gd name="T57" fmla="*/ 2908 h 2938"/>
                    <a:gd name="T58" fmla="*/ 147 w 234"/>
                    <a:gd name="T59" fmla="*/ 2873 h 2938"/>
                    <a:gd name="T60" fmla="*/ 172 w 234"/>
                    <a:gd name="T61" fmla="*/ 2762 h 2938"/>
                    <a:gd name="T62" fmla="*/ 192 w 234"/>
                    <a:gd name="T63" fmla="*/ 2604 h 2938"/>
                    <a:gd name="T64" fmla="*/ 210 w 234"/>
                    <a:gd name="T65" fmla="*/ 2405 h 2938"/>
                    <a:gd name="T66" fmla="*/ 222 w 234"/>
                    <a:gd name="T67" fmla="*/ 2170 h 2938"/>
                    <a:gd name="T68" fmla="*/ 232 w 234"/>
                    <a:gd name="T69" fmla="*/ 1765 h 2938"/>
                    <a:gd name="T70" fmla="*/ 234 w 234"/>
                    <a:gd name="T71" fmla="*/ 1470 h 2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4" h="2938">
                      <a:moveTo>
                        <a:pt x="234" y="1470"/>
                      </a:moveTo>
                      <a:lnTo>
                        <a:pt x="234" y="1470"/>
                      </a:lnTo>
                      <a:lnTo>
                        <a:pt x="232" y="1174"/>
                      </a:lnTo>
                      <a:lnTo>
                        <a:pt x="226" y="897"/>
                      </a:lnTo>
                      <a:lnTo>
                        <a:pt x="222" y="769"/>
                      </a:lnTo>
                      <a:lnTo>
                        <a:pt x="216" y="648"/>
                      </a:lnTo>
                      <a:lnTo>
                        <a:pt x="210" y="534"/>
                      </a:lnTo>
                      <a:lnTo>
                        <a:pt x="202" y="431"/>
                      </a:lnTo>
                      <a:lnTo>
                        <a:pt x="192" y="336"/>
                      </a:lnTo>
                      <a:lnTo>
                        <a:pt x="182" y="251"/>
                      </a:lnTo>
                      <a:lnTo>
                        <a:pt x="172" y="176"/>
                      </a:lnTo>
                      <a:lnTo>
                        <a:pt x="160" y="115"/>
                      </a:lnTo>
                      <a:lnTo>
                        <a:pt x="147" y="65"/>
                      </a:lnTo>
                      <a:lnTo>
                        <a:pt x="139" y="46"/>
                      </a:lnTo>
                      <a:lnTo>
                        <a:pt x="133" y="30"/>
                      </a:lnTo>
                      <a:lnTo>
                        <a:pt x="125" y="16"/>
                      </a:lnTo>
                      <a:lnTo>
                        <a:pt x="117" y="8"/>
                      </a:lnTo>
                      <a:lnTo>
                        <a:pt x="107" y="2"/>
                      </a:lnTo>
                      <a:lnTo>
                        <a:pt x="99" y="0"/>
                      </a:lnTo>
                      <a:lnTo>
                        <a:pt x="99" y="0"/>
                      </a:lnTo>
                      <a:lnTo>
                        <a:pt x="91" y="2"/>
                      </a:lnTo>
                      <a:lnTo>
                        <a:pt x="83" y="8"/>
                      </a:lnTo>
                      <a:lnTo>
                        <a:pt x="75" y="16"/>
                      </a:lnTo>
                      <a:lnTo>
                        <a:pt x="68" y="30"/>
                      </a:lnTo>
                      <a:lnTo>
                        <a:pt x="62" y="46"/>
                      </a:lnTo>
                      <a:lnTo>
                        <a:pt x="56" y="65"/>
                      </a:lnTo>
                      <a:lnTo>
                        <a:pt x="44" y="115"/>
                      </a:lnTo>
                      <a:lnTo>
                        <a:pt x="34" y="176"/>
                      </a:lnTo>
                      <a:lnTo>
                        <a:pt x="26" y="251"/>
                      </a:lnTo>
                      <a:lnTo>
                        <a:pt x="20" y="336"/>
                      </a:lnTo>
                      <a:lnTo>
                        <a:pt x="14" y="431"/>
                      </a:lnTo>
                      <a:lnTo>
                        <a:pt x="10" y="534"/>
                      </a:lnTo>
                      <a:lnTo>
                        <a:pt x="6" y="648"/>
                      </a:lnTo>
                      <a:lnTo>
                        <a:pt x="2" y="897"/>
                      </a:lnTo>
                      <a:lnTo>
                        <a:pt x="0" y="1174"/>
                      </a:lnTo>
                      <a:lnTo>
                        <a:pt x="0" y="1470"/>
                      </a:lnTo>
                      <a:lnTo>
                        <a:pt x="0" y="1470"/>
                      </a:lnTo>
                      <a:lnTo>
                        <a:pt x="0" y="1765"/>
                      </a:lnTo>
                      <a:lnTo>
                        <a:pt x="2" y="2041"/>
                      </a:lnTo>
                      <a:lnTo>
                        <a:pt x="6" y="2290"/>
                      </a:lnTo>
                      <a:lnTo>
                        <a:pt x="10" y="2405"/>
                      </a:lnTo>
                      <a:lnTo>
                        <a:pt x="14" y="2507"/>
                      </a:lnTo>
                      <a:lnTo>
                        <a:pt x="20" y="2604"/>
                      </a:lnTo>
                      <a:lnTo>
                        <a:pt x="26" y="2687"/>
                      </a:lnTo>
                      <a:lnTo>
                        <a:pt x="34" y="2762"/>
                      </a:lnTo>
                      <a:lnTo>
                        <a:pt x="44" y="2824"/>
                      </a:lnTo>
                      <a:lnTo>
                        <a:pt x="56" y="2873"/>
                      </a:lnTo>
                      <a:lnTo>
                        <a:pt x="62" y="2893"/>
                      </a:lnTo>
                      <a:lnTo>
                        <a:pt x="68" y="2908"/>
                      </a:lnTo>
                      <a:lnTo>
                        <a:pt x="75" y="2922"/>
                      </a:lnTo>
                      <a:lnTo>
                        <a:pt x="83" y="2932"/>
                      </a:lnTo>
                      <a:lnTo>
                        <a:pt x="91" y="2936"/>
                      </a:lnTo>
                      <a:lnTo>
                        <a:pt x="99" y="2938"/>
                      </a:lnTo>
                      <a:lnTo>
                        <a:pt x="99" y="2938"/>
                      </a:lnTo>
                      <a:lnTo>
                        <a:pt x="107" y="2936"/>
                      </a:lnTo>
                      <a:lnTo>
                        <a:pt x="117" y="2932"/>
                      </a:lnTo>
                      <a:lnTo>
                        <a:pt x="125" y="2922"/>
                      </a:lnTo>
                      <a:lnTo>
                        <a:pt x="133" y="2908"/>
                      </a:lnTo>
                      <a:lnTo>
                        <a:pt x="139" y="2893"/>
                      </a:lnTo>
                      <a:lnTo>
                        <a:pt x="147" y="2873"/>
                      </a:lnTo>
                      <a:lnTo>
                        <a:pt x="160" y="2824"/>
                      </a:lnTo>
                      <a:lnTo>
                        <a:pt x="172" y="2762"/>
                      </a:lnTo>
                      <a:lnTo>
                        <a:pt x="182" y="2687"/>
                      </a:lnTo>
                      <a:lnTo>
                        <a:pt x="192" y="2604"/>
                      </a:lnTo>
                      <a:lnTo>
                        <a:pt x="202" y="2507"/>
                      </a:lnTo>
                      <a:lnTo>
                        <a:pt x="210" y="2405"/>
                      </a:lnTo>
                      <a:lnTo>
                        <a:pt x="216" y="2290"/>
                      </a:lnTo>
                      <a:lnTo>
                        <a:pt x="222" y="2170"/>
                      </a:lnTo>
                      <a:lnTo>
                        <a:pt x="226" y="2041"/>
                      </a:lnTo>
                      <a:lnTo>
                        <a:pt x="232" y="1765"/>
                      </a:lnTo>
                      <a:lnTo>
                        <a:pt x="234" y="1470"/>
                      </a:lnTo>
                      <a:lnTo>
                        <a:pt x="234" y="147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6" name="Freeform 314"/>
                <p:cNvSpPr>
                  <a:spLocks/>
                </p:cNvSpPr>
                <p:nvPr/>
              </p:nvSpPr>
              <p:spPr bwMode="auto">
                <a:xfrm>
                  <a:off x="4083049" y="1371601"/>
                  <a:ext cx="2398711" cy="2397126"/>
                </a:xfrm>
                <a:custGeom>
                  <a:avLst/>
                  <a:gdLst>
                    <a:gd name="T0" fmla="*/ 2 w 3020"/>
                    <a:gd name="T1" fmla="*/ 1432 h 3018"/>
                    <a:gd name="T2" fmla="*/ 31 w 3020"/>
                    <a:gd name="T3" fmla="*/ 1205 h 3018"/>
                    <a:gd name="T4" fmla="*/ 92 w 3020"/>
                    <a:gd name="T5" fmla="*/ 991 h 3018"/>
                    <a:gd name="T6" fmla="*/ 183 w 3020"/>
                    <a:gd name="T7" fmla="*/ 790 h 3018"/>
                    <a:gd name="T8" fmla="*/ 300 w 3020"/>
                    <a:gd name="T9" fmla="*/ 606 h 3018"/>
                    <a:gd name="T10" fmla="*/ 442 w 3020"/>
                    <a:gd name="T11" fmla="*/ 442 h 3018"/>
                    <a:gd name="T12" fmla="*/ 608 w 3020"/>
                    <a:gd name="T13" fmla="*/ 300 h 3018"/>
                    <a:gd name="T14" fmla="*/ 792 w 3020"/>
                    <a:gd name="T15" fmla="*/ 181 h 3018"/>
                    <a:gd name="T16" fmla="*/ 991 w 3020"/>
                    <a:gd name="T17" fmla="*/ 92 h 3018"/>
                    <a:gd name="T18" fmla="*/ 1207 w 3020"/>
                    <a:gd name="T19" fmla="*/ 31 h 3018"/>
                    <a:gd name="T20" fmla="*/ 1432 w 3020"/>
                    <a:gd name="T21" fmla="*/ 2 h 3018"/>
                    <a:gd name="T22" fmla="*/ 1588 w 3020"/>
                    <a:gd name="T23" fmla="*/ 2 h 3018"/>
                    <a:gd name="T24" fmla="*/ 1813 w 3020"/>
                    <a:gd name="T25" fmla="*/ 31 h 3018"/>
                    <a:gd name="T26" fmla="*/ 2029 w 3020"/>
                    <a:gd name="T27" fmla="*/ 92 h 3018"/>
                    <a:gd name="T28" fmla="*/ 2228 w 3020"/>
                    <a:gd name="T29" fmla="*/ 181 h 3018"/>
                    <a:gd name="T30" fmla="*/ 2412 w 3020"/>
                    <a:gd name="T31" fmla="*/ 300 h 3018"/>
                    <a:gd name="T32" fmla="*/ 2578 w 3020"/>
                    <a:gd name="T33" fmla="*/ 442 h 3018"/>
                    <a:gd name="T34" fmla="*/ 2720 w 3020"/>
                    <a:gd name="T35" fmla="*/ 606 h 3018"/>
                    <a:gd name="T36" fmla="*/ 2837 w 3020"/>
                    <a:gd name="T37" fmla="*/ 790 h 3018"/>
                    <a:gd name="T38" fmla="*/ 2927 w 3020"/>
                    <a:gd name="T39" fmla="*/ 991 h 3018"/>
                    <a:gd name="T40" fmla="*/ 2989 w 3020"/>
                    <a:gd name="T41" fmla="*/ 1205 h 3018"/>
                    <a:gd name="T42" fmla="*/ 3018 w 3020"/>
                    <a:gd name="T43" fmla="*/ 1432 h 3018"/>
                    <a:gd name="T44" fmla="*/ 3018 w 3020"/>
                    <a:gd name="T45" fmla="*/ 1586 h 3018"/>
                    <a:gd name="T46" fmla="*/ 2989 w 3020"/>
                    <a:gd name="T47" fmla="*/ 1813 h 3018"/>
                    <a:gd name="T48" fmla="*/ 2927 w 3020"/>
                    <a:gd name="T49" fmla="*/ 2029 h 3018"/>
                    <a:gd name="T50" fmla="*/ 2837 w 3020"/>
                    <a:gd name="T51" fmla="*/ 2228 h 3018"/>
                    <a:gd name="T52" fmla="*/ 2720 w 3020"/>
                    <a:gd name="T53" fmla="*/ 2412 h 3018"/>
                    <a:gd name="T54" fmla="*/ 2578 w 3020"/>
                    <a:gd name="T55" fmla="*/ 2576 h 3018"/>
                    <a:gd name="T56" fmla="*/ 2412 w 3020"/>
                    <a:gd name="T57" fmla="*/ 2718 h 3018"/>
                    <a:gd name="T58" fmla="*/ 2228 w 3020"/>
                    <a:gd name="T59" fmla="*/ 2837 h 3018"/>
                    <a:gd name="T60" fmla="*/ 2029 w 3020"/>
                    <a:gd name="T61" fmla="*/ 2928 h 3018"/>
                    <a:gd name="T62" fmla="*/ 1813 w 3020"/>
                    <a:gd name="T63" fmla="*/ 2989 h 3018"/>
                    <a:gd name="T64" fmla="*/ 1588 w 3020"/>
                    <a:gd name="T65" fmla="*/ 3016 h 3018"/>
                    <a:gd name="T66" fmla="*/ 1432 w 3020"/>
                    <a:gd name="T67" fmla="*/ 3016 h 3018"/>
                    <a:gd name="T68" fmla="*/ 1207 w 3020"/>
                    <a:gd name="T69" fmla="*/ 2989 h 3018"/>
                    <a:gd name="T70" fmla="*/ 991 w 3020"/>
                    <a:gd name="T71" fmla="*/ 2928 h 3018"/>
                    <a:gd name="T72" fmla="*/ 792 w 3020"/>
                    <a:gd name="T73" fmla="*/ 2837 h 3018"/>
                    <a:gd name="T74" fmla="*/ 608 w 3020"/>
                    <a:gd name="T75" fmla="*/ 2718 h 3018"/>
                    <a:gd name="T76" fmla="*/ 442 w 3020"/>
                    <a:gd name="T77" fmla="*/ 2576 h 3018"/>
                    <a:gd name="T78" fmla="*/ 300 w 3020"/>
                    <a:gd name="T79" fmla="*/ 2412 h 3018"/>
                    <a:gd name="T80" fmla="*/ 183 w 3020"/>
                    <a:gd name="T81" fmla="*/ 2228 h 3018"/>
                    <a:gd name="T82" fmla="*/ 92 w 3020"/>
                    <a:gd name="T83" fmla="*/ 2029 h 3018"/>
                    <a:gd name="T84" fmla="*/ 31 w 3020"/>
                    <a:gd name="T85" fmla="*/ 1813 h 3018"/>
                    <a:gd name="T86" fmla="*/ 2 w 3020"/>
                    <a:gd name="T87" fmla="*/ 1586 h 3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20" h="3018">
                      <a:moveTo>
                        <a:pt x="0" y="1509"/>
                      </a:moveTo>
                      <a:lnTo>
                        <a:pt x="0" y="1509"/>
                      </a:lnTo>
                      <a:lnTo>
                        <a:pt x="2" y="1432"/>
                      </a:lnTo>
                      <a:lnTo>
                        <a:pt x="7" y="1355"/>
                      </a:lnTo>
                      <a:lnTo>
                        <a:pt x="17" y="1280"/>
                      </a:lnTo>
                      <a:lnTo>
                        <a:pt x="31" y="1205"/>
                      </a:lnTo>
                      <a:lnTo>
                        <a:pt x="47" y="1132"/>
                      </a:lnTo>
                      <a:lnTo>
                        <a:pt x="69" y="1061"/>
                      </a:lnTo>
                      <a:lnTo>
                        <a:pt x="92" y="991"/>
                      </a:lnTo>
                      <a:lnTo>
                        <a:pt x="120" y="922"/>
                      </a:lnTo>
                      <a:lnTo>
                        <a:pt x="150" y="855"/>
                      </a:lnTo>
                      <a:lnTo>
                        <a:pt x="183" y="790"/>
                      </a:lnTo>
                      <a:lnTo>
                        <a:pt x="219" y="727"/>
                      </a:lnTo>
                      <a:lnTo>
                        <a:pt x="258" y="665"/>
                      </a:lnTo>
                      <a:lnTo>
                        <a:pt x="300" y="606"/>
                      </a:lnTo>
                      <a:lnTo>
                        <a:pt x="345" y="549"/>
                      </a:lnTo>
                      <a:lnTo>
                        <a:pt x="393" y="495"/>
                      </a:lnTo>
                      <a:lnTo>
                        <a:pt x="442" y="442"/>
                      </a:lnTo>
                      <a:lnTo>
                        <a:pt x="495" y="393"/>
                      </a:lnTo>
                      <a:lnTo>
                        <a:pt x="551" y="345"/>
                      </a:lnTo>
                      <a:lnTo>
                        <a:pt x="608" y="300"/>
                      </a:lnTo>
                      <a:lnTo>
                        <a:pt x="667" y="258"/>
                      </a:lnTo>
                      <a:lnTo>
                        <a:pt x="729" y="219"/>
                      </a:lnTo>
                      <a:lnTo>
                        <a:pt x="792" y="181"/>
                      </a:lnTo>
                      <a:lnTo>
                        <a:pt x="857" y="150"/>
                      </a:lnTo>
                      <a:lnTo>
                        <a:pt x="922" y="118"/>
                      </a:lnTo>
                      <a:lnTo>
                        <a:pt x="991" y="92"/>
                      </a:lnTo>
                      <a:lnTo>
                        <a:pt x="1062" y="67"/>
                      </a:lnTo>
                      <a:lnTo>
                        <a:pt x="1134" y="47"/>
                      </a:lnTo>
                      <a:lnTo>
                        <a:pt x="1207" y="31"/>
                      </a:lnTo>
                      <a:lnTo>
                        <a:pt x="1280" y="17"/>
                      </a:lnTo>
                      <a:lnTo>
                        <a:pt x="1357" y="7"/>
                      </a:lnTo>
                      <a:lnTo>
                        <a:pt x="1432" y="2"/>
                      </a:lnTo>
                      <a:lnTo>
                        <a:pt x="1511" y="0"/>
                      </a:lnTo>
                      <a:lnTo>
                        <a:pt x="1511" y="0"/>
                      </a:lnTo>
                      <a:lnTo>
                        <a:pt x="1588" y="2"/>
                      </a:lnTo>
                      <a:lnTo>
                        <a:pt x="1665" y="7"/>
                      </a:lnTo>
                      <a:lnTo>
                        <a:pt x="1740" y="17"/>
                      </a:lnTo>
                      <a:lnTo>
                        <a:pt x="1813" y="31"/>
                      </a:lnTo>
                      <a:lnTo>
                        <a:pt x="1886" y="47"/>
                      </a:lnTo>
                      <a:lnTo>
                        <a:pt x="1959" y="67"/>
                      </a:lnTo>
                      <a:lnTo>
                        <a:pt x="2029" y="92"/>
                      </a:lnTo>
                      <a:lnTo>
                        <a:pt x="2098" y="118"/>
                      </a:lnTo>
                      <a:lnTo>
                        <a:pt x="2165" y="150"/>
                      </a:lnTo>
                      <a:lnTo>
                        <a:pt x="2228" y="181"/>
                      </a:lnTo>
                      <a:lnTo>
                        <a:pt x="2291" y="219"/>
                      </a:lnTo>
                      <a:lnTo>
                        <a:pt x="2353" y="258"/>
                      </a:lnTo>
                      <a:lnTo>
                        <a:pt x="2412" y="300"/>
                      </a:lnTo>
                      <a:lnTo>
                        <a:pt x="2469" y="345"/>
                      </a:lnTo>
                      <a:lnTo>
                        <a:pt x="2524" y="393"/>
                      </a:lnTo>
                      <a:lnTo>
                        <a:pt x="2578" y="442"/>
                      </a:lnTo>
                      <a:lnTo>
                        <a:pt x="2627" y="495"/>
                      </a:lnTo>
                      <a:lnTo>
                        <a:pt x="2675" y="549"/>
                      </a:lnTo>
                      <a:lnTo>
                        <a:pt x="2720" y="606"/>
                      </a:lnTo>
                      <a:lnTo>
                        <a:pt x="2762" y="665"/>
                      </a:lnTo>
                      <a:lnTo>
                        <a:pt x="2801" y="727"/>
                      </a:lnTo>
                      <a:lnTo>
                        <a:pt x="2837" y="790"/>
                      </a:lnTo>
                      <a:lnTo>
                        <a:pt x="2870" y="855"/>
                      </a:lnTo>
                      <a:lnTo>
                        <a:pt x="2902" y="922"/>
                      </a:lnTo>
                      <a:lnTo>
                        <a:pt x="2927" y="991"/>
                      </a:lnTo>
                      <a:lnTo>
                        <a:pt x="2951" y="1061"/>
                      </a:lnTo>
                      <a:lnTo>
                        <a:pt x="2973" y="1132"/>
                      </a:lnTo>
                      <a:lnTo>
                        <a:pt x="2989" y="1205"/>
                      </a:lnTo>
                      <a:lnTo>
                        <a:pt x="3003" y="1280"/>
                      </a:lnTo>
                      <a:lnTo>
                        <a:pt x="3012" y="1355"/>
                      </a:lnTo>
                      <a:lnTo>
                        <a:pt x="3018" y="1432"/>
                      </a:lnTo>
                      <a:lnTo>
                        <a:pt x="3020" y="1509"/>
                      </a:lnTo>
                      <a:lnTo>
                        <a:pt x="3020" y="1509"/>
                      </a:lnTo>
                      <a:lnTo>
                        <a:pt x="3018" y="1586"/>
                      </a:lnTo>
                      <a:lnTo>
                        <a:pt x="3012" y="1663"/>
                      </a:lnTo>
                      <a:lnTo>
                        <a:pt x="3003" y="1738"/>
                      </a:lnTo>
                      <a:lnTo>
                        <a:pt x="2989" y="1813"/>
                      </a:lnTo>
                      <a:lnTo>
                        <a:pt x="2973" y="1886"/>
                      </a:lnTo>
                      <a:lnTo>
                        <a:pt x="2951" y="1958"/>
                      </a:lnTo>
                      <a:lnTo>
                        <a:pt x="2927" y="2029"/>
                      </a:lnTo>
                      <a:lnTo>
                        <a:pt x="2902" y="2096"/>
                      </a:lnTo>
                      <a:lnTo>
                        <a:pt x="2870" y="2163"/>
                      </a:lnTo>
                      <a:lnTo>
                        <a:pt x="2837" y="2228"/>
                      </a:lnTo>
                      <a:lnTo>
                        <a:pt x="2801" y="2291"/>
                      </a:lnTo>
                      <a:lnTo>
                        <a:pt x="2762" y="2353"/>
                      </a:lnTo>
                      <a:lnTo>
                        <a:pt x="2720" y="2412"/>
                      </a:lnTo>
                      <a:lnTo>
                        <a:pt x="2675" y="2469"/>
                      </a:lnTo>
                      <a:lnTo>
                        <a:pt x="2627" y="2525"/>
                      </a:lnTo>
                      <a:lnTo>
                        <a:pt x="2578" y="2576"/>
                      </a:lnTo>
                      <a:lnTo>
                        <a:pt x="2524" y="2627"/>
                      </a:lnTo>
                      <a:lnTo>
                        <a:pt x="2469" y="2675"/>
                      </a:lnTo>
                      <a:lnTo>
                        <a:pt x="2412" y="2718"/>
                      </a:lnTo>
                      <a:lnTo>
                        <a:pt x="2353" y="2762"/>
                      </a:lnTo>
                      <a:lnTo>
                        <a:pt x="2291" y="2801"/>
                      </a:lnTo>
                      <a:lnTo>
                        <a:pt x="2228" y="2837"/>
                      </a:lnTo>
                      <a:lnTo>
                        <a:pt x="2165" y="2870"/>
                      </a:lnTo>
                      <a:lnTo>
                        <a:pt x="2098" y="2900"/>
                      </a:lnTo>
                      <a:lnTo>
                        <a:pt x="2029" y="2928"/>
                      </a:lnTo>
                      <a:lnTo>
                        <a:pt x="1959" y="2951"/>
                      </a:lnTo>
                      <a:lnTo>
                        <a:pt x="1886" y="2971"/>
                      </a:lnTo>
                      <a:lnTo>
                        <a:pt x="1813" y="2989"/>
                      </a:lnTo>
                      <a:lnTo>
                        <a:pt x="1740" y="3003"/>
                      </a:lnTo>
                      <a:lnTo>
                        <a:pt x="1665" y="3011"/>
                      </a:lnTo>
                      <a:lnTo>
                        <a:pt x="1588" y="3016"/>
                      </a:lnTo>
                      <a:lnTo>
                        <a:pt x="1511" y="3018"/>
                      </a:lnTo>
                      <a:lnTo>
                        <a:pt x="1511" y="3018"/>
                      </a:lnTo>
                      <a:lnTo>
                        <a:pt x="1432" y="3016"/>
                      </a:lnTo>
                      <a:lnTo>
                        <a:pt x="1357" y="3011"/>
                      </a:lnTo>
                      <a:lnTo>
                        <a:pt x="1280" y="3003"/>
                      </a:lnTo>
                      <a:lnTo>
                        <a:pt x="1207" y="2989"/>
                      </a:lnTo>
                      <a:lnTo>
                        <a:pt x="1134" y="2971"/>
                      </a:lnTo>
                      <a:lnTo>
                        <a:pt x="1062" y="2951"/>
                      </a:lnTo>
                      <a:lnTo>
                        <a:pt x="991" y="2928"/>
                      </a:lnTo>
                      <a:lnTo>
                        <a:pt x="922" y="2900"/>
                      </a:lnTo>
                      <a:lnTo>
                        <a:pt x="857" y="2870"/>
                      </a:lnTo>
                      <a:lnTo>
                        <a:pt x="792" y="2837"/>
                      </a:lnTo>
                      <a:lnTo>
                        <a:pt x="729" y="2801"/>
                      </a:lnTo>
                      <a:lnTo>
                        <a:pt x="667" y="2762"/>
                      </a:lnTo>
                      <a:lnTo>
                        <a:pt x="608" y="2718"/>
                      </a:lnTo>
                      <a:lnTo>
                        <a:pt x="551" y="2675"/>
                      </a:lnTo>
                      <a:lnTo>
                        <a:pt x="495" y="2627"/>
                      </a:lnTo>
                      <a:lnTo>
                        <a:pt x="442" y="2576"/>
                      </a:lnTo>
                      <a:lnTo>
                        <a:pt x="393" y="2525"/>
                      </a:lnTo>
                      <a:lnTo>
                        <a:pt x="345" y="2469"/>
                      </a:lnTo>
                      <a:lnTo>
                        <a:pt x="300" y="2412"/>
                      </a:lnTo>
                      <a:lnTo>
                        <a:pt x="258" y="2353"/>
                      </a:lnTo>
                      <a:lnTo>
                        <a:pt x="219" y="2291"/>
                      </a:lnTo>
                      <a:lnTo>
                        <a:pt x="183" y="2228"/>
                      </a:lnTo>
                      <a:lnTo>
                        <a:pt x="150" y="2163"/>
                      </a:lnTo>
                      <a:lnTo>
                        <a:pt x="120" y="2096"/>
                      </a:lnTo>
                      <a:lnTo>
                        <a:pt x="92" y="2029"/>
                      </a:lnTo>
                      <a:lnTo>
                        <a:pt x="69" y="1958"/>
                      </a:lnTo>
                      <a:lnTo>
                        <a:pt x="47" y="1886"/>
                      </a:lnTo>
                      <a:lnTo>
                        <a:pt x="31" y="1813"/>
                      </a:lnTo>
                      <a:lnTo>
                        <a:pt x="17" y="1738"/>
                      </a:lnTo>
                      <a:lnTo>
                        <a:pt x="7" y="1663"/>
                      </a:lnTo>
                      <a:lnTo>
                        <a:pt x="2" y="1586"/>
                      </a:lnTo>
                      <a:lnTo>
                        <a:pt x="0" y="1509"/>
                      </a:lnTo>
                      <a:lnTo>
                        <a:pt x="0" y="1509"/>
                      </a:lnTo>
                      <a:close/>
                    </a:path>
                  </a:pathLst>
                </a:custGeom>
                <a:solidFill>
                  <a:srgbClr val="B7B7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7" name="Freeform 315"/>
                <p:cNvSpPr>
                  <a:spLocks/>
                </p:cNvSpPr>
                <p:nvPr/>
              </p:nvSpPr>
              <p:spPr bwMode="auto">
                <a:xfrm>
                  <a:off x="4186238" y="1474787"/>
                  <a:ext cx="2190751" cy="2190750"/>
                </a:xfrm>
                <a:custGeom>
                  <a:avLst/>
                  <a:gdLst>
                    <a:gd name="T0" fmla="*/ 1310 w 2760"/>
                    <a:gd name="T1" fmla="*/ 2758 h 2758"/>
                    <a:gd name="T2" fmla="*/ 1102 w 2760"/>
                    <a:gd name="T3" fmla="*/ 2730 h 2758"/>
                    <a:gd name="T4" fmla="*/ 905 w 2760"/>
                    <a:gd name="T5" fmla="*/ 2675 h 2758"/>
                    <a:gd name="T6" fmla="*/ 723 w 2760"/>
                    <a:gd name="T7" fmla="*/ 2592 h 2758"/>
                    <a:gd name="T8" fmla="*/ 555 w 2760"/>
                    <a:gd name="T9" fmla="*/ 2485 h 2758"/>
                    <a:gd name="T10" fmla="*/ 405 w 2760"/>
                    <a:gd name="T11" fmla="*/ 2355 h 2758"/>
                    <a:gd name="T12" fmla="*/ 275 w 2760"/>
                    <a:gd name="T13" fmla="*/ 2205 h 2758"/>
                    <a:gd name="T14" fmla="*/ 168 w 2760"/>
                    <a:gd name="T15" fmla="*/ 2037 h 2758"/>
                    <a:gd name="T16" fmla="*/ 85 w 2760"/>
                    <a:gd name="T17" fmla="*/ 1853 h 2758"/>
                    <a:gd name="T18" fmla="*/ 28 w 2760"/>
                    <a:gd name="T19" fmla="*/ 1658 h 2758"/>
                    <a:gd name="T20" fmla="*/ 2 w 2760"/>
                    <a:gd name="T21" fmla="*/ 1450 h 2758"/>
                    <a:gd name="T22" fmla="*/ 2 w 2760"/>
                    <a:gd name="T23" fmla="*/ 1308 h 2758"/>
                    <a:gd name="T24" fmla="*/ 28 w 2760"/>
                    <a:gd name="T25" fmla="*/ 1100 h 2758"/>
                    <a:gd name="T26" fmla="*/ 85 w 2760"/>
                    <a:gd name="T27" fmla="*/ 905 h 2758"/>
                    <a:gd name="T28" fmla="*/ 168 w 2760"/>
                    <a:gd name="T29" fmla="*/ 721 h 2758"/>
                    <a:gd name="T30" fmla="*/ 275 w 2760"/>
                    <a:gd name="T31" fmla="*/ 553 h 2758"/>
                    <a:gd name="T32" fmla="*/ 405 w 2760"/>
                    <a:gd name="T33" fmla="*/ 403 h 2758"/>
                    <a:gd name="T34" fmla="*/ 555 w 2760"/>
                    <a:gd name="T35" fmla="*/ 275 h 2758"/>
                    <a:gd name="T36" fmla="*/ 723 w 2760"/>
                    <a:gd name="T37" fmla="*/ 166 h 2758"/>
                    <a:gd name="T38" fmla="*/ 905 w 2760"/>
                    <a:gd name="T39" fmla="*/ 83 h 2758"/>
                    <a:gd name="T40" fmla="*/ 1102 w 2760"/>
                    <a:gd name="T41" fmla="*/ 28 h 2758"/>
                    <a:gd name="T42" fmla="*/ 1310 w 2760"/>
                    <a:gd name="T43" fmla="*/ 2 h 2758"/>
                    <a:gd name="T44" fmla="*/ 1450 w 2760"/>
                    <a:gd name="T45" fmla="*/ 2 h 2758"/>
                    <a:gd name="T46" fmla="*/ 1658 w 2760"/>
                    <a:gd name="T47" fmla="*/ 28 h 2758"/>
                    <a:gd name="T48" fmla="*/ 1855 w 2760"/>
                    <a:gd name="T49" fmla="*/ 83 h 2758"/>
                    <a:gd name="T50" fmla="*/ 2037 w 2760"/>
                    <a:gd name="T51" fmla="*/ 166 h 2758"/>
                    <a:gd name="T52" fmla="*/ 2205 w 2760"/>
                    <a:gd name="T53" fmla="*/ 275 h 2758"/>
                    <a:gd name="T54" fmla="*/ 2355 w 2760"/>
                    <a:gd name="T55" fmla="*/ 403 h 2758"/>
                    <a:gd name="T56" fmla="*/ 2485 w 2760"/>
                    <a:gd name="T57" fmla="*/ 553 h 2758"/>
                    <a:gd name="T58" fmla="*/ 2592 w 2760"/>
                    <a:gd name="T59" fmla="*/ 721 h 2758"/>
                    <a:gd name="T60" fmla="*/ 2675 w 2760"/>
                    <a:gd name="T61" fmla="*/ 905 h 2758"/>
                    <a:gd name="T62" fmla="*/ 2732 w 2760"/>
                    <a:gd name="T63" fmla="*/ 1100 h 2758"/>
                    <a:gd name="T64" fmla="*/ 2758 w 2760"/>
                    <a:gd name="T65" fmla="*/ 1308 h 2758"/>
                    <a:gd name="T66" fmla="*/ 2758 w 2760"/>
                    <a:gd name="T67" fmla="*/ 1450 h 2758"/>
                    <a:gd name="T68" fmla="*/ 2732 w 2760"/>
                    <a:gd name="T69" fmla="*/ 1658 h 2758"/>
                    <a:gd name="T70" fmla="*/ 2675 w 2760"/>
                    <a:gd name="T71" fmla="*/ 1853 h 2758"/>
                    <a:gd name="T72" fmla="*/ 2592 w 2760"/>
                    <a:gd name="T73" fmla="*/ 2037 h 2758"/>
                    <a:gd name="T74" fmla="*/ 2485 w 2760"/>
                    <a:gd name="T75" fmla="*/ 2205 h 2758"/>
                    <a:gd name="T76" fmla="*/ 2355 w 2760"/>
                    <a:gd name="T77" fmla="*/ 2355 h 2758"/>
                    <a:gd name="T78" fmla="*/ 2205 w 2760"/>
                    <a:gd name="T79" fmla="*/ 2485 h 2758"/>
                    <a:gd name="T80" fmla="*/ 2037 w 2760"/>
                    <a:gd name="T81" fmla="*/ 2592 h 2758"/>
                    <a:gd name="T82" fmla="*/ 1855 w 2760"/>
                    <a:gd name="T83" fmla="*/ 2675 h 2758"/>
                    <a:gd name="T84" fmla="*/ 1658 w 2760"/>
                    <a:gd name="T85" fmla="*/ 2730 h 2758"/>
                    <a:gd name="T86" fmla="*/ 1450 w 2760"/>
                    <a:gd name="T87" fmla="*/ 2758 h 2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60" h="2758">
                      <a:moveTo>
                        <a:pt x="1381" y="2758"/>
                      </a:moveTo>
                      <a:lnTo>
                        <a:pt x="1381" y="2758"/>
                      </a:lnTo>
                      <a:lnTo>
                        <a:pt x="1310" y="2758"/>
                      </a:lnTo>
                      <a:lnTo>
                        <a:pt x="1239" y="2752"/>
                      </a:lnTo>
                      <a:lnTo>
                        <a:pt x="1170" y="2742"/>
                      </a:lnTo>
                      <a:lnTo>
                        <a:pt x="1102" y="2730"/>
                      </a:lnTo>
                      <a:lnTo>
                        <a:pt x="1035" y="2715"/>
                      </a:lnTo>
                      <a:lnTo>
                        <a:pt x="970" y="2697"/>
                      </a:lnTo>
                      <a:lnTo>
                        <a:pt x="905" y="2675"/>
                      </a:lnTo>
                      <a:lnTo>
                        <a:pt x="844" y="2651"/>
                      </a:lnTo>
                      <a:lnTo>
                        <a:pt x="782" y="2624"/>
                      </a:lnTo>
                      <a:lnTo>
                        <a:pt x="723" y="2592"/>
                      </a:lnTo>
                      <a:lnTo>
                        <a:pt x="664" y="2559"/>
                      </a:lnTo>
                      <a:lnTo>
                        <a:pt x="608" y="2523"/>
                      </a:lnTo>
                      <a:lnTo>
                        <a:pt x="555" y="2485"/>
                      </a:lnTo>
                      <a:lnTo>
                        <a:pt x="502" y="2444"/>
                      </a:lnTo>
                      <a:lnTo>
                        <a:pt x="452" y="2400"/>
                      </a:lnTo>
                      <a:lnTo>
                        <a:pt x="405" y="2355"/>
                      </a:lnTo>
                      <a:lnTo>
                        <a:pt x="360" y="2308"/>
                      </a:lnTo>
                      <a:lnTo>
                        <a:pt x="316" y="2256"/>
                      </a:lnTo>
                      <a:lnTo>
                        <a:pt x="275" y="2205"/>
                      </a:lnTo>
                      <a:lnTo>
                        <a:pt x="237" y="2152"/>
                      </a:lnTo>
                      <a:lnTo>
                        <a:pt x="200" y="2094"/>
                      </a:lnTo>
                      <a:lnTo>
                        <a:pt x="168" y="2037"/>
                      </a:lnTo>
                      <a:lnTo>
                        <a:pt x="136" y="1978"/>
                      </a:lnTo>
                      <a:lnTo>
                        <a:pt x="109" y="1916"/>
                      </a:lnTo>
                      <a:lnTo>
                        <a:pt x="85" y="1853"/>
                      </a:lnTo>
                      <a:lnTo>
                        <a:pt x="63" y="1790"/>
                      </a:lnTo>
                      <a:lnTo>
                        <a:pt x="43" y="1725"/>
                      </a:lnTo>
                      <a:lnTo>
                        <a:pt x="28" y="1658"/>
                      </a:lnTo>
                      <a:lnTo>
                        <a:pt x="16" y="1590"/>
                      </a:lnTo>
                      <a:lnTo>
                        <a:pt x="8" y="1521"/>
                      </a:lnTo>
                      <a:lnTo>
                        <a:pt x="2" y="1450"/>
                      </a:lnTo>
                      <a:lnTo>
                        <a:pt x="0" y="1379"/>
                      </a:lnTo>
                      <a:lnTo>
                        <a:pt x="0" y="1379"/>
                      </a:lnTo>
                      <a:lnTo>
                        <a:pt x="2" y="1308"/>
                      </a:lnTo>
                      <a:lnTo>
                        <a:pt x="8" y="1239"/>
                      </a:lnTo>
                      <a:lnTo>
                        <a:pt x="16" y="1170"/>
                      </a:lnTo>
                      <a:lnTo>
                        <a:pt x="28" y="1100"/>
                      </a:lnTo>
                      <a:lnTo>
                        <a:pt x="43" y="1035"/>
                      </a:lnTo>
                      <a:lnTo>
                        <a:pt x="63" y="970"/>
                      </a:lnTo>
                      <a:lnTo>
                        <a:pt x="85" y="905"/>
                      </a:lnTo>
                      <a:lnTo>
                        <a:pt x="109" y="842"/>
                      </a:lnTo>
                      <a:lnTo>
                        <a:pt x="136" y="780"/>
                      </a:lnTo>
                      <a:lnTo>
                        <a:pt x="168" y="721"/>
                      </a:lnTo>
                      <a:lnTo>
                        <a:pt x="200" y="664"/>
                      </a:lnTo>
                      <a:lnTo>
                        <a:pt x="237" y="608"/>
                      </a:lnTo>
                      <a:lnTo>
                        <a:pt x="275" y="553"/>
                      </a:lnTo>
                      <a:lnTo>
                        <a:pt x="316" y="502"/>
                      </a:lnTo>
                      <a:lnTo>
                        <a:pt x="360" y="452"/>
                      </a:lnTo>
                      <a:lnTo>
                        <a:pt x="405" y="403"/>
                      </a:lnTo>
                      <a:lnTo>
                        <a:pt x="452" y="358"/>
                      </a:lnTo>
                      <a:lnTo>
                        <a:pt x="502" y="314"/>
                      </a:lnTo>
                      <a:lnTo>
                        <a:pt x="555" y="275"/>
                      </a:lnTo>
                      <a:lnTo>
                        <a:pt x="608" y="235"/>
                      </a:lnTo>
                      <a:lnTo>
                        <a:pt x="664" y="200"/>
                      </a:lnTo>
                      <a:lnTo>
                        <a:pt x="723" y="166"/>
                      </a:lnTo>
                      <a:lnTo>
                        <a:pt x="782" y="136"/>
                      </a:lnTo>
                      <a:lnTo>
                        <a:pt x="844" y="109"/>
                      </a:lnTo>
                      <a:lnTo>
                        <a:pt x="905" y="83"/>
                      </a:lnTo>
                      <a:lnTo>
                        <a:pt x="970" y="61"/>
                      </a:lnTo>
                      <a:lnTo>
                        <a:pt x="1035" y="43"/>
                      </a:lnTo>
                      <a:lnTo>
                        <a:pt x="1102" y="28"/>
                      </a:lnTo>
                      <a:lnTo>
                        <a:pt x="1170" y="16"/>
                      </a:lnTo>
                      <a:lnTo>
                        <a:pt x="1239" y="8"/>
                      </a:lnTo>
                      <a:lnTo>
                        <a:pt x="1310" y="2"/>
                      </a:lnTo>
                      <a:lnTo>
                        <a:pt x="1381" y="0"/>
                      </a:lnTo>
                      <a:lnTo>
                        <a:pt x="1381" y="0"/>
                      </a:lnTo>
                      <a:lnTo>
                        <a:pt x="1450" y="2"/>
                      </a:lnTo>
                      <a:lnTo>
                        <a:pt x="1521" y="8"/>
                      </a:lnTo>
                      <a:lnTo>
                        <a:pt x="1590" y="16"/>
                      </a:lnTo>
                      <a:lnTo>
                        <a:pt x="1658" y="28"/>
                      </a:lnTo>
                      <a:lnTo>
                        <a:pt x="1725" y="43"/>
                      </a:lnTo>
                      <a:lnTo>
                        <a:pt x="1790" y="61"/>
                      </a:lnTo>
                      <a:lnTo>
                        <a:pt x="1855" y="83"/>
                      </a:lnTo>
                      <a:lnTo>
                        <a:pt x="1916" y="109"/>
                      </a:lnTo>
                      <a:lnTo>
                        <a:pt x="1978" y="136"/>
                      </a:lnTo>
                      <a:lnTo>
                        <a:pt x="2037" y="166"/>
                      </a:lnTo>
                      <a:lnTo>
                        <a:pt x="2096" y="200"/>
                      </a:lnTo>
                      <a:lnTo>
                        <a:pt x="2151" y="235"/>
                      </a:lnTo>
                      <a:lnTo>
                        <a:pt x="2205" y="275"/>
                      </a:lnTo>
                      <a:lnTo>
                        <a:pt x="2258" y="314"/>
                      </a:lnTo>
                      <a:lnTo>
                        <a:pt x="2308" y="358"/>
                      </a:lnTo>
                      <a:lnTo>
                        <a:pt x="2355" y="403"/>
                      </a:lnTo>
                      <a:lnTo>
                        <a:pt x="2400" y="452"/>
                      </a:lnTo>
                      <a:lnTo>
                        <a:pt x="2444" y="502"/>
                      </a:lnTo>
                      <a:lnTo>
                        <a:pt x="2485" y="553"/>
                      </a:lnTo>
                      <a:lnTo>
                        <a:pt x="2525" y="608"/>
                      </a:lnTo>
                      <a:lnTo>
                        <a:pt x="2560" y="664"/>
                      </a:lnTo>
                      <a:lnTo>
                        <a:pt x="2592" y="721"/>
                      </a:lnTo>
                      <a:lnTo>
                        <a:pt x="2624" y="780"/>
                      </a:lnTo>
                      <a:lnTo>
                        <a:pt x="2651" y="842"/>
                      </a:lnTo>
                      <a:lnTo>
                        <a:pt x="2675" y="905"/>
                      </a:lnTo>
                      <a:lnTo>
                        <a:pt x="2697" y="970"/>
                      </a:lnTo>
                      <a:lnTo>
                        <a:pt x="2716" y="1035"/>
                      </a:lnTo>
                      <a:lnTo>
                        <a:pt x="2732" y="1100"/>
                      </a:lnTo>
                      <a:lnTo>
                        <a:pt x="2744" y="1170"/>
                      </a:lnTo>
                      <a:lnTo>
                        <a:pt x="2752" y="1239"/>
                      </a:lnTo>
                      <a:lnTo>
                        <a:pt x="2758" y="1308"/>
                      </a:lnTo>
                      <a:lnTo>
                        <a:pt x="2760" y="1379"/>
                      </a:lnTo>
                      <a:lnTo>
                        <a:pt x="2760" y="1379"/>
                      </a:lnTo>
                      <a:lnTo>
                        <a:pt x="2758" y="1450"/>
                      </a:lnTo>
                      <a:lnTo>
                        <a:pt x="2752" y="1521"/>
                      </a:lnTo>
                      <a:lnTo>
                        <a:pt x="2744" y="1590"/>
                      </a:lnTo>
                      <a:lnTo>
                        <a:pt x="2732" y="1658"/>
                      </a:lnTo>
                      <a:lnTo>
                        <a:pt x="2716" y="1725"/>
                      </a:lnTo>
                      <a:lnTo>
                        <a:pt x="2697" y="1790"/>
                      </a:lnTo>
                      <a:lnTo>
                        <a:pt x="2675" y="1853"/>
                      </a:lnTo>
                      <a:lnTo>
                        <a:pt x="2651" y="1916"/>
                      </a:lnTo>
                      <a:lnTo>
                        <a:pt x="2624" y="1978"/>
                      </a:lnTo>
                      <a:lnTo>
                        <a:pt x="2592" y="2037"/>
                      </a:lnTo>
                      <a:lnTo>
                        <a:pt x="2560" y="2094"/>
                      </a:lnTo>
                      <a:lnTo>
                        <a:pt x="2525" y="2152"/>
                      </a:lnTo>
                      <a:lnTo>
                        <a:pt x="2485" y="2205"/>
                      </a:lnTo>
                      <a:lnTo>
                        <a:pt x="2444" y="2256"/>
                      </a:lnTo>
                      <a:lnTo>
                        <a:pt x="2400" y="2308"/>
                      </a:lnTo>
                      <a:lnTo>
                        <a:pt x="2355" y="2355"/>
                      </a:lnTo>
                      <a:lnTo>
                        <a:pt x="2308" y="2400"/>
                      </a:lnTo>
                      <a:lnTo>
                        <a:pt x="2258" y="2444"/>
                      </a:lnTo>
                      <a:lnTo>
                        <a:pt x="2205" y="2485"/>
                      </a:lnTo>
                      <a:lnTo>
                        <a:pt x="2151" y="2523"/>
                      </a:lnTo>
                      <a:lnTo>
                        <a:pt x="2096" y="2559"/>
                      </a:lnTo>
                      <a:lnTo>
                        <a:pt x="2037" y="2592"/>
                      </a:lnTo>
                      <a:lnTo>
                        <a:pt x="1978" y="2624"/>
                      </a:lnTo>
                      <a:lnTo>
                        <a:pt x="1916" y="2651"/>
                      </a:lnTo>
                      <a:lnTo>
                        <a:pt x="1855" y="2675"/>
                      </a:lnTo>
                      <a:lnTo>
                        <a:pt x="1790" y="2697"/>
                      </a:lnTo>
                      <a:lnTo>
                        <a:pt x="1725" y="2715"/>
                      </a:lnTo>
                      <a:lnTo>
                        <a:pt x="1658" y="2730"/>
                      </a:lnTo>
                      <a:lnTo>
                        <a:pt x="1590" y="2742"/>
                      </a:lnTo>
                      <a:lnTo>
                        <a:pt x="1521" y="2752"/>
                      </a:lnTo>
                      <a:lnTo>
                        <a:pt x="1450" y="2758"/>
                      </a:lnTo>
                      <a:lnTo>
                        <a:pt x="1381" y="2758"/>
                      </a:lnTo>
                      <a:lnTo>
                        <a:pt x="1381" y="2758"/>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8" name="Freeform 316"/>
                <p:cNvSpPr>
                  <a:spLocks/>
                </p:cNvSpPr>
                <p:nvPr/>
              </p:nvSpPr>
              <p:spPr bwMode="auto">
                <a:xfrm>
                  <a:off x="4416423" y="1704974"/>
                  <a:ext cx="1731961" cy="1730375"/>
                </a:xfrm>
                <a:custGeom>
                  <a:avLst/>
                  <a:gdLst>
                    <a:gd name="T0" fmla="*/ 1036 w 2184"/>
                    <a:gd name="T1" fmla="*/ 2182 h 2182"/>
                    <a:gd name="T2" fmla="*/ 872 w 2184"/>
                    <a:gd name="T3" fmla="*/ 2160 h 2182"/>
                    <a:gd name="T4" fmla="*/ 718 w 2184"/>
                    <a:gd name="T5" fmla="*/ 2116 h 2182"/>
                    <a:gd name="T6" fmla="*/ 571 w 2184"/>
                    <a:gd name="T7" fmla="*/ 2051 h 2182"/>
                    <a:gd name="T8" fmla="*/ 439 w 2184"/>
                    <a:gd name="T9" fmla="*/ 1966 h 2182"/>
                    <a:gd name="T10" fmla="*/ 320 w 2184"/>
                    <a:gd name="T11" fmla="*/ 1864 h 2182"/>
                    <a:gd name="T12" fmla="*/ 218 w 2184"/>
                    <a:gd name="T13" fmla="*/ 1745 h 2182"/>
                    <a:gd name="T14" fmla="*/ 133 w 2184"/>
                    <a:gd name="T15" fmla="*/ 1611 h 2182"/>
                    <a:gd name="T16" fmla="*/ 68 w 2184"/>
                    <a:gd name="T17" fmla="*/ 1466 h 2182"/>
                    <a:gd name="T18" fmla="*/ 24 w 2184"/>
                    <a:gd name="T19" fmla="*/ 1310 h 2182"/>
                    <a:gd name="T20" fmla="*/ 2 w 2184"/>
                    <a:gd name="T21" fmla="*/ 1148 h 2182"/>
                    <a:gd name="T22" fmla="*/ 2 w 2184"/>
                    <a:gd name="T23" fmla="*/ 1036 h 2182"/>
                    <a:gd name="T24" fmla="*/ 24 w 2184"/>
                    <a:gd name="T25" fmla="*/ 872 h 2182"/>
                    <a:gd name="T26" fmla="*/ 68 w 2184"/>
                    <a:gd name="T27" fmla="*/ 716 h 2182"/>
                    <a:gd name="T28" fmla="*/ 133 w 2184"/>
                    <a:gd name="T29" fmla="*/ 571 h 2182"/>
                    <a:gd name="T30" fmla="*/ 218 w 2184"/>
                    <a:gd name="T31" fmla="*/ 439 h 2182"/>
                    <a:gd name="T32" fmla="*/ 320 w 2184"/>
                    <a:gd name="T33" fmla="*/ 320 h 2182"/>
                    <a:gd name="T34" fmla="*/ 439 w 2184"/>
                    <a:gd name="T35" fmla="*/ 218 h 2182"/>
                    <a:gd name="T36" fmla="*/ 571 w 2184"/>
                    <a:gd name="T37" fmla="*/ 133 h 2182"/>
                    <a:gd name="T38" fmla="*/ 718 w 2184"/>
                    <a:gd name="T39" fmla="*/ 68 h 2182"/>
                    <a:gd name="T40" fmla="*/ 872 w 2184"/>
                    <a:gd name="T41" fmla="*/ 22 h 2182"/>
                    <a:gd name="T42" fmla="*/ 1036 w 2184"/>
                    <a:gd name="T43" fmla="*/ 2 h 2182"/>
                    <a:gd name="T44" fmla="*/ 1148 w 2184"/>
                    <a:gd name="T45" fmla="*/ 2 h 2182"/>
                    <a:gd name="T46" fmla="*/ 1312 w 2184"/>
                    <a:gd name="T47" fmla="*/ 22 h 2182"/>
                    <a:gd name="T48" fmla="*/ 1466 w 2184"/>
                    <a:gd name="T49" fmla="*/ 68 h 2182"/>
                    <a:gd name="T50" fmla="*/ 1613 w 2184"/>
                    <a:gd name="T51" fmla="*/ 133 h 2182"/>
                    <a:gd name="T52" fmla="*/ 1745 w 2184"/>
                    <a:gd name="T53" fmla="*/ 218 h 2182"/>
                    <a:gd name="T54" fmla="*/ 1863 w 2184"/>
                    <a:gd name="T55" fmla="*/ 320 h 2182"/>
                    <a:gd name="T56" fmla="*/ 1966 w 2184"/>
                    <a:gd name="T57" fmla="*/ 439 h 2182"/>
                    <a:gd name="T58" fmla="*/ 2051 w 2184"/>
                    <a:gd name="T59" fmla="*/ 571 h 2182"/>
                    <a:gd name="T60" fmla="*/ 2116 w 2184"/>
                    <a:gd name="T61" fmla="*/ 716 h 2182"/>
                    <a:gd name="T62" fmla="*/ 2160 w 2184"/>
                    <a:gd name="T63" fmla="*/ 872 h 2182"/>
                    <a:gd name="T64" fmla="*/ 2182 w 2184"/>
                    <a:gd name="T65" fmla="*/ 1036 h 2182"/>
                    <a:gd name="T66" fmla="*/ 2182 w 2184"/>
                    <a:gd name="T67" fmla="*/ 1148 h 2182"/>
                    <a:gd name="T68" fmla="*/ 2160 w 2184"/>
                    <a:gd name="T69" fmla="*/ 1310 h 2182"/>
                    <a:gd name="T70" fmla="*/ 2116 w 2184"/>
                    <a:gd name="T71" fmla="*/ 1466 h 2182"/>
                    <a:gd name="T72" fmla="*/ 2051 w 2184"/>
                    <a:gd name="T73" fmla="*/ 1611 h 2182"/>
                    <a:gd name="T74" fmla="*/ 1966 w 2184"/>
                    <a:gd name="T75" fmla="*/ 1745 h 2182"/>
                    <a:gd name="T76" fmla="*/ 1863 w 2184"/>
                    <a:gd name="T77" fmla="*/ 1864 h 2182"/>
                    <a:gd name="T78" fmla="*/ 1745 w 2184"/>
                    <a:gd name="T79" fmla="*/ 1966 h 2182"/>
                    <a:gd name="T80" fmla="*/ 1613 w 2184"/>
                    <a:gd name="T81" fmla="*/ 2051 h 2182"/>
                    <a:gd name="T82" fmla="*/ 1466 w 2184"/>
                    <a:gd name="T83" fmla="*/ 2116 h 2182"/>
                    <a:gd name="T84" fmla="*/ 1312 w 2184"/>
                    <a:gd name="T85" fmla="*/ 2160 h 2182"/>
                    <a:gd name="T86" fmla="*/ 1148 w 2184"/>
                    <a:gd name="T87" fmla="*/ 2182 h 2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84" h="2182">
                      <a:moveTo>
                        <a:pt x="1093" y="2182"/>
                      </a:moveTo>
                      <a:lnTo>
                        <a:pt x="1093" y="2182"/>
                      </a:lnTo>
                      <a:lnTo>
                        <a:pt x="1036" y="2182"/>
                      </a:lnTo>
                      <a:lnTo>
                        <a:pt x="980" y="2178"/>
                      </a:lnTo>
                      <a:lnTo>
                        <a:pt x="925" y="2170"/>
                      </a:lnTo>
                      <a:lnTo>
                        <a:pt x="872" y="2160"/>
                      </a:lnTo>
                      <a:lnTo>
                        <a:pt x="820" y="2148"/>
                      </a:lnTo>
                      <a:lnTo>
                        <a:pt x="767" y="2134"/>
                      </a:lnTo>
                      <a:lnTo>
                        <a:pt x="718" y="2116"/>
                      </a:lnTo>
                      <a:lnTo>
                        <a:pt x="668" y="2097"/>
                      </a:lnTo>
                      <a:lnTo>
                        <a:pt x="619" y="2075"/>
                      </a:lnTo>
                      <a:lnTo>
                        <a:pt x="571" y="2051"/>
                      </a:lnTo>
                      <a:lnTo>
                        <a:pt x="526" y="2024"/>
                      </a:lnTo>
                      <a:lnTo>
                        <a:pt x="482" y="1996"/>
                      </a:lnTo>
                      <a:lnTo>
                        <a:pt x="439" y="1966"/>
                      </a:lnTo>
                      <a:lnTo>
                        <a:pt x="398" y="1933"/>
                      </a:lnTo>
                      <a:lnTo>
                        <a:pt x="358" y="1899"/>
                      </a:lnTo>
                      <a:lnTo>
                        <a:pt x="320" y="1864"/>
                      </a:lnTo>
                      <a:lnTo>
                        <a:pt x="285" y="1824"/>
                      </a:lnTo>
                      <a:lnTo>
                        <a:pt x="249" y="1785"/>
                      </a:lnTo>
                      <a:lnTo>
                        <a:pt x="218" y="1745"/>
                      </a:lnTo>
                      <a:lnTo>
                        <a:pt x="188" y="1702"/>
                      </a:lnTo>
                      <a:lnTo>
                        <a:pt x="158" y="1656"/>
                      </a:lnTo>
                      <a:lnTo>
                        <a:pt x="133" y="1611"/>
                      </a:lnTo>
                      <a:lnTo>
                        <a:pt x="109" y="1565"/>
                      </a:lnTo>
                      <a:lnTo>
                        <a:pt x="87" y="1516"/>
                      </a:lnTo>
                      <a:lnTo>
                        <a:pt x="68" y="1466"/>
                      </a:lnTo>
                      <a:lnTo>
                        <a:pt x="50" y="1415"/>
                      </a:lnTo>
                      <a:lnTo>
                        <a:pt x="36" y="1364"/>
                      </a:lnTo>
                      <a:lnTo>
                        <a:pt x="24" y="1310"/>
                      </a:lnTo>
                      <a:lnTo>
                        <a:pt x="14" y="1257"/>
                      </a:lnTo>
                      <a:lnTo>
                        <a:pt x="6" y="1204"/>
                      </a:lnTo>
                      <a:lnTo>
                        <a:pt x="2" y="1148"/>
                      </a:lnTo>
                      <a:lnTo>
                        <a:pt x="0" y="1091"/>
                      </a:lnTo>
                      <a:lnTo>
                        <a:pt x="0" y="1091"/>
                      </a:lnTo>
                      <a:lnTo>
                        <a:pt x="2" y="1036"/>
                      </a:lnTo>
                      <a:lnTo>
                        <a:pt x="6" y="980"/>
                      </a:lnTo>
                      <a:lnTo>
                        <a:pt x="14" y="925"/>
                      </a:lnTo>
                      <a:lnTo>
                        <a:pt x="24" y="872"/>
                      </a:lnTo>
                      <a:lnTo>
                        <a:pt x="36" y="818"/>
                      </a:lnTo>
                      <a:lnTo>
                        <a:pt x="50" y="767"/>
                      </a:lnTo>
                      <a:lnTo>
                        <a:pt x="68" y="716"/>
                      </a:lnTo>
                      <a:lnTo>
                        <a:pt x="87" y="666"/>
                      </a:lnTo>
                      <a:lnTo>
                        <a:pt x="109" y="619"/>
                      </a:lnTo>
                      <a:lnTo>
                        <a:pt x="133" y="571"/>
                      </a:lnTo>
                      <a:lnTo>
                        <a:pt x="158" y="526"/>
                      </a:lnTo>
                      <a:lnTo>
                        <a:pt x="188" y="481"/>
                      </a:lnTo>
                      <a:lnTo>
                        <a:pt x="218" y="439"/>
                      </a:lnTo>
                      <a:lnTo>
                        <a:pt x="249" y="398"/>
                      </a:lnTo>
                      <a:lnTo>
                        <a:pt x="285" y="358"/>
                      </a:lnTo>
                      <a:lnTo>
                        <a:pt x="320" y="320"/>
                      </a:lnTo>
                      <a:lnTo>
                        <a:pt x="358" y="283"/>
                      </a:lnTo>
                      <a:lnTo>
                        <a:pt x="398" y="249"/>
                      </a:lnTo>
                      <a:lnTo>
                        <a:pt x="439" y="218"/>
                      </a:lnTo>
                      <a:lnTo>
                        <a:pt x="482" y="186"/>
                      </a:lnTo>
                      <a:lnTo>
                        <a:pt x="526" y="158"/>
                      </a:lnTo>
                      <a:lnTo>
                        <a:pt x="571" y="133"/>
                      </a:lnTo>
                      <a:lnTo>
                        <a:pt x="619" y="107"/>
                      </a:lnTo>
                      <a:lnTo>
                        <a:pt x="668" y="85"/>
                      </a:lnTo>
                      <a:lnTo>
                        <a:pt x="718" y="68"/>
                      </a:lnTo>
                      <a:lnTo>
                        <a:pt x="767" y="50"/>
                      </a:lnTo>
                      <a:lnTo>
                        <a:pt x="820" y="34"/>
                      </a:lnTo>
                      <a:lnTo>
                        <a:pt x="872" y="22"/>
                      </a:lnTo>
                      <a:lnTo>
                        <a:pt x="925" y="12"/>
                      </a:lnTo>
                      <a:lnTo>
                        <a:pt x="980" y="6"/>
                      </a:lnTo>
                      <a:lnTo>
                        <a:pt x="1036" y="2"/>
                      </a:lnTo>
                      <a:lnTo>
                        <a:pt x="1093" y="0"/>
                      </a:lnTo>
                      <a:lnTo>
                        <a:pt x="1093" y="0"/>
                      </a:lnTo>
                      <a:lnTo>
                        <a:pt x="1148" y="2"/>
                      </a:lnTo>
                      <a:lnTo>
                        <a:pt x="1204" y="6"/>
                      </a:lnTo>
                      <a:lnTo>
                        <a:pt x="1259" y="12"/>
                      </a:lnTo>
                      <a:lnTo>
                        <a:pt x="1312" y="22"/>
                      </a:lnTo>
                      <a:lnTo>
                        <a:pt x="1366" y="34"/>
                      </a:lnTo>
                      <a:lnTo>
                        <a:pt x="1417" y="50"/>
                      </a:lnTo>
                      <a:lnTo>
                        <a:pt x="1466" y="68"/>
                      </a:lnTo>
                      <a:lnTo>
                        <a:pt x="1516" y="85"/>
                      </a:lnTo>
                      <a:lnTo>
                        <a:pt x="1565" y="107"/>
                      </a:lnTo>
                      <a:lnTo>
                        <a:pt x="1613" y="133"/>
                      </a:lnTo>
                      <a:lnTo>
                        <a:pt x="1658" y="158"/>
                      </a:lnTo>
                      <a:lnTo>
                        <a:pt x="1701" y="186"/>
                      </a:lnTo>
                      <a:lnTo>
                        <a:pt x="1745" y="218"/>
                      </a:lnTo>
                      <a:lnTo>
                        <a:pt x="1786" y="249"/>
                      </a:lnTo>
                      <a:lnTo>
                        <a:pt x="1826" y="283"/>
                      </a:lnTo>
                      <a:lnTo>
                        <a:pt x="1863" y="320"/>
                      </a:lnTo>
                      <a:lnTo>
                        <a:pt x="1899" y="358"/>
                      </a:lnTo>
                      <a:lnTo>
                        <a:pt x="1935" y="398"/>
                      </a:lnTo>
                      <a:lnTo>
                        <a:pt x="1966" y="439"/>
                      </a:lnTo>
                      <a:lnTo>
                        <a:pt x="1996" y="481"/>
                      </a:lnTo>
                      <a:lnTo>
                        <a:pt x="2025" y="526"/>
                      </a:lnTo>
                      <a:lnTo>
                        <a:pt x="2051" y="571"/>
                      </a:lnTo>
                      <a:lnTo>
                        <a:pt x="2075" y="619"/>
                      </a:lnTo>
                      <a:lnTo>
                        <a:pt x="2097" y="666"/>
                      </a:lnTo>
                      <a:lnTo>
                        <a:pt x="2116" y="716"/>
                      </a:lnTo>
                      <a:lnTo>
                        <a:pt x="2134" y="767"/>
                      </a:lnTo>
                      <a:lnTo>
                        <a:pt x="2148" y="818"/>
                      </a:lnTo>
                      <a:lnTo>
                        <a:pt x="2160" y="872"/>
                      </a:lnTo>
                      <a:lnTo>
                        <a:pt x="2170" y="925"/>
                      </a:lnTo>
                      <a:lnTo>
                        <a:pt x="2178" y="980"/>
                      </a:lnTo>
                      <a:lnTo>
                        <a:pt x="2182" y="1036"/>
                      </a:lnTo>
                      <a:lnTo>
                        <a:pt x="2184" y="1091"/>
                      </a:lnTo>
                      <a:lnTo>
                        <a:pt x="2184" y="1091"/>
                      </a:lnTo>
                      <a:lnTo>
                        <a:pt x="2182" y="1148"/>
                      </a:lnTo>
                      <a:lnTo>
                        <a:pt x="2178" y="1204"/>
                      </a:lnTo>
                      <a:lnTo>
                        <a:pt x="2170" y="1257"/>
                      </a:lnTo>
                      <a:lnTo>
                        <a:pt x="2160" y="1310"/>
                      </a:lnTo>
                      <a:lnTo>
                        <a:pt x="2148" y="1364"/>
                      </a:lnTo>
                      <a:lnTo>
                        <a:pt x="2134" y="1415"/>
                      </a:lnTo>
                      <a:lnTo>
                        <a:pt x="2116" y="1466"/>
                      </a:lnTo>
                      <a:lnTo>
                        <a:pt x="2097" y="1516"/>
                      </a:lnTo>
                      <a:lnTo>
                        <a:pt x="2075" y="1565"/>
                      </a:lnTo>
                      <a:lnTo>
                        <a:pt x="2051" y="1611"/>
                      </a:lnTo>
                      <a:lnTo>
                        <a:pt x="2025" y="1656"/>
                      </a:lnTo>
                      <a:lnTo>
                        <a:pt x="1996" y="1702"/>
                      </a:lnTo>
                      <a:lnTo>
                        <a:pt x="1966" y="1745"/>
                      </a:lnTo>
                      <a:lnTo>
                        <a:pt x="1935" y="1785"/>
                      </a:lnTo>
                      <a:lnTo>
                        <a:pt x="1899" y="1824"/>
                      </a:lnTo>
                      <a:lnTo>
                        <a:pt x="1863" y="1864"/>
                      </a:lnTo>
                      <a:lnTo>
                        <a:pt x="1826" y="1899"/>
                      </a:lnTo>
                      <a:lnTo>
                        <a:pt x="1786" y="1933"/>
                      </a:lnTo>
                      <a:lnTo>
                        <a:pt x="1745" y="1966"/>
                      </a:lnTo>
                      <a:lnTo>
                        <a:pt x="1701" y="1996"/>
                      </a:lnTo>
                      <a:lnTo>
                        <a:pt x="1658" y="2024"/>
                      </a:lnTo>
                      <a:lnTo>
                        <a:pt x="1613" y="2051"/>
                      </a:lnTo>
                      <a:lnTo>
                        <a:pt x="1565" y="2075"/>
                      </a:lnTo>
                      <a:lnTo>
                        <a:pt x="1516" y="2097"/>
                      </a:lnTo>
                      <a:lnTo>
                        <a:pt x="1466" y="2116"/>
                      </a:lnTo>
                      <a:lnTo>
                        <a:pt x="1417" y="2134"/>
                      </a:lnTo>
                      <a:lnTo>
                        <a:pt x="1366" y="2148"/>
                      </a:lnTo>
                      <a:lnTo>
                        <a:pt x="1312" y="2160"/>
                      </a:lnTo>
                      <a:lnTo>
                        <a:pt x="1259" y="2170"/>
                      </a:lnTo>
                      <a:lnTo>
                        <a:pt x="1204" y="2178"/>
                      </a:lnTo>
                      <a:lnTo>
                        <a:pt x="1148" y="2182"/>
                      </a:lnTo>
                      <a:lnTo>
                        <a:pt x="1093" y="2182"/>
                      </a:lnTo>
                      <a:lnTo>
                        <a:pt x="1093" y="2182"/>
                      </a:lnTo>
                      <a:close/>
                    </a:path>
                  </a:pathLst>
                </a:custGeom>
                <a:solidFill>
                  <a:srgbClr val="6DCF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79" name="Freeform 317"/>
                <p:cNvSpPr>
                  <a:spLocks/>
                </p:cNvSpPr>
                <p:nvPr/>
              </p:nvSpPr>
              <p:spPr bwMode="auto">
                <a:xfrm>
                  <a:off x="6221413" y="2527299"/>
                  <a:ext cx="84138" cy="85726"/>
                </a:xfrm>
                <a:custGeom>
                  <a:avLst/>
                  <a:gdLst>
                    <a:gd name="T0" fmla="*/ 54 w 107"/>
                    <a:gd name="T1" fmla="*/ 106 h 106"/>
                    <a:gd name="T2" fmla="*/ 54 w 107"/>
                    <a:gd name="T3" fmla="*/ 106 h 106"/>
                    <a:gd name="T4" fmla="*/ 44 w 107"/>
                    <a:gd name="T5" fmla="*/ 104 h 106"/>
                    <a:gd name="T6" fmla="*/ 34 w 107"/>
                    <a:gd name="T7" fmla="*/ 102 h 106"/>
                    <a:gd name="T8" fmla="*/ 24 w 107"/>
                    <a:gd name="T9" fmla="*/ 96 h 106"/>
                    <a:gd name="T10" fmla="*/ 16 w 107"/>
                    <a:gd name="T11" fmla="*/ 91 h 106"/>
                    <a:gd name="T12" fmla="*/ 10 w 107"/>
                    <a:gd name="T13" fmla="*/ 83 h 106"/>
                    <a:gd name="T14" fmla="*/ 4 w 107"/>
                    <a:gd name="T15" fmla="*/ 75 h 106"/>
                    <a:gd name="T16" fmla="*/ 2 w 107"/>
                    <a:gd name="T17" fmla="*/ 65 h 106"/>
                    <a:gd name="T18" fmla="*/ 0 w 107"/>
                    <a:gd name="T19" fmla="*/ 53 h 106"/>
                    <a:gd name="T20" fmla="*/ 0 w 107"/>
                    <a:gd name="T21" fmla="*/ 53 h 106"/>
                    <a:gd name="T22" fmla="*/ 2 w 107"/>
                    <a:gd name="T23" fmla="*/ 43 h 106"/>
                    <a:gd name="T24" fmla="*/ 4 w 107"/>
                    <a:gd name="T25" fmla="*/ 33 h 106"/>
                    <a:gd name="T26" fmla="*/ 10 w 107"/>
                    <a:gd name="T27" fmla="*/ 23 h 106"/>
                    <a:gd name="T28" fmla="*/ 16 w 107"/>
                    <a:gd name="T29" fmla="*/ 15 h 106"/>
                    <a:gd name="T30" fmla="*/ 24 w 107"/>
                    <a:gd name="T31" fmla="*/ 10 h 106"/>
                    <a:gd name="T32" fmla="*/ 34 w 107"/>
                    <a:gd name="T33" fmla="*/ 6 h 106"/>
                    <a:gd name="T34" fmla="*/ 44 w 107"/>
                    <a:gd name="T35" fmla="*/ 2 h 106"/>
                    <a:gd name="T36" fmla="*/ 54 w 107"/>
                    <a:gd name="T37" fmla="*/ 0 h 106"/>
                    <a:gd name="T38" fmla="*/ 54 w 107"/>
                    <a:gd name="T39" fmla="*/ 0 h 106"/>
                    <a:gd name="T40" fmla="*/ 64 w 107"/>
                    <a:gd name="T41" fmla="*/ 2 h 106"/>
                    <a:gd name="T42" fmla="*/ 73 w 107"/>
                    <a:gd name="T43" fmla="*/ 6 h 106"/>
                    <a:gd name="T44" fmla="*/ 83 w 107"/>
                    <a:gd name="T45" fmla="*/ 10 h 106"/>
                    <a:gd name="T46" fmla="*/ 91 w 107"/>
                    <a:gd name="T47" fmla="*/ 15 h 106"/>
                    <a:gd name="T48" fmla="*/ 97 w 107"/>
                    <a:gd name="T49" fmla="*/ 23 h 106"/>
                    <a:gd name="T50" fmla="*/ 103 w 107"/>
                    <a:gd name="T51" fmla="*/ 33 h 106"/>
                    <a:gd name="T52" fmla="*/ 105 w 107"/>
                    <a:gd name="T53" fmla="*/ 43 h 106"/>
                    <a:gd name="T54" fmla="*/ 107 w 107"/>
                    <a:gd name="T55" fmla="*/ 53 h 106"/>
                    <a:gd name="T56" fmla="*/ 107 w 107"/>
                    <a:gd name="T57" fmla="*/ 53 h 106"/>
                    <a:gd name="T58" fmla="*/ 105 w 107"/>
                    <a:gd name="T59" fmla="*/ 65 h 106"/>
                    <a:gd name="T60" fmla="*/ 103 w 107"/>
                    <a:gd name="T61" fmla="*/ 75 h 106"/>
                    <a:gd name="T62" fmla="*/ 97 w 107"/>
                    <a:gd name="T63" fmla="*/ 83 h 106"/>
                    <a:gd name="T64" fmla="*/ 91 w 107"/>
                    <a:gd name="T65" fmla="*/ 91 h 106"/>
                    <a:gd name="T66" fmla="*/ 83 w 107"/>
                    <a:gd name="T67" fmla="*/ 96 h 106"/>
                    <a:gd name="T68" fmla="*/ 73 w 107"/>
                    <a:gd name="T69" fmla="*/ 102 h 106"/>
                    <a:gd name="T70" fmla="*/ 64 w 107"/>
                    <a:gd name="T71" fmla="*/ 104 h 106"/>
                    <a:gd name="T72" fmla="*/ 54 w 107"/>
                    <a:gd name="T73" fmla="*/ 106 h 106"/>
                    <a:gd name="T74" fmla="*/ 54 w 107"/>
                    <a:gd name="T75"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6">
                      <a:moveTo>
                        <a:pt x="54" y="106"/>
                      </a:moveTo>
                      <a:lnTo>
                        <a:pt x="54" y="106"/>
                      </a:lnTo>
                      <a:lnTo>
                        <a:pt x="44" y="104"/>
                      </a:lnTo>
                      <a:lnTo>
                        <a:pt x="34" y="102"/>
                      </a:lnTo>
                      <a:lnTo>
                        <a:pt x="24" y="96"/>
                      </a:lnTo>
                      <a:lnTo>
                        <a:pt x="16" y="91"/>
                      </a:lnTo>
                      <a:lnTo>
                        <a:pt x="10" y="83"/>
                      </a:lnTo>
                      <a:lnTo>
                        <a:pt x="4" y="75"/>
                      </a:lnTo>
                      <a:lnTo>
                        <a:pt x="2" y="65"/>
                      </a:lnTo>
                      <a:lnTo>
                        <a:pt x="0" y="53"/>
                      </a:lnTo>
                      <a:lnTo>
                        <a:pt x="0" y="53"/>
                      </a:lnTo>
                      <a:lnTo>
                        <a:pt x="2" y="43"/>
                      </a:lnTo>
                      <a:lnTo>
                        <a:pt x="4" y="33"/>
                      </a:lnTo>
                      <a:lnTo>
                        <a:pt x="10" y="23"/>
                      </a:lnTo>
                      <a:lnTo>
                        <a:pt x="16" y="15"/>
                      </a:lnTo>
                      <a:lnTo>
                        <a:pt x="24" y="10"/>
                      </a:lnTo>
                      <a:lnTo>
                        <a:pt x="34" y="6"/>
                      </a:lnTo>
                      <a:lnTo>
                        <a:pt x="44" y="2"/>
                      </a:lnTo>
                      <a:lnTo>
                        <a:pt x="54" y="0"/>
                      </a:lnTo>
                      <a:lnTo>
                        <a:pt x="54" y="0"/>
                      </a:lnTo>
                      <a:lnTo>
                        <a:pt x="64" y="2"/>
                      </a:lnTo>
                      <a:lnTo>
                        <a:pt x="73" y="6"/>
                      </a:lnTo>
                      <a:lnTo>
                        <a:pt x="83" y="10"/>
                      </a:lnTo>
                      <a:lnTo>
                        <a:pt x="91" y="15"/>
                      </a:lnTo>
                      <a:lnTo>
                        <a:pt x="97" y="23"/>
                      </a:lnTo>
                      <a:lnTo>
                        <a:pt x="103" y="33"/>
                      </a:lnTo>
                      <a:lnTo>
                        <a:pt x="105" y="43"/>
                      </a:lnTo>
                      <a:lnTo>
                        <a:pt x="107" y="53"/>
                      </a:lnTo>
                      <a:lnTo>
                        <a:pt x="107" y="53"/>
                      </a:lnTo>
                      <a:lnTo>
                        <a:pt x="105" y="65"/>
                      </a:lnTo>
                      <a:lnTo>
                        <a:pt x="103" y="75"/>
                      </a:lnTo>
                      <a:lnTo>
                        <a:pt x="97" y="83"/>
                      </a:lnTo>
                      <a:lnTo>
                        <a:pt x="91" y="91"/>
                      </a:lnTo>
                      <a:lnTo>
                        <a:pt x="83" y="96"/>
                      </a:lnTo>
                      <a:lnTo>
                        <a:pt x="73" y="102"/>
                      </a:lnTo>
                      <a:lnTo>
                        <a:pt x="64" y="104"/>
                      </a:lnTo>
                      <a:lnTo>
                        <a:pt x="54" y="106"/>
                      </a:lnTo>
                      <a:lnTo>
                        <a:pt x="54" y="10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0" name="Freeform 318"/>
                <p:cNvSpPr>
                  <a:spLocks/>
                </p:cNvSpPr>
                <p:nvPr/>
              </p:nvSpPr>
              <p:spPr bwMode="auto">
                <a:xfrm>
                  <a:off x="4259261" y="2527299"/>
                  <a:ext cx="84138" cy="85726"/>
                </a:xfrm>
                <a:custGeom>
                  <a:avLst/>
                  <a:gdLst>
                    <a:gd name="T0" fmla="*/ 53 w 107"/>
                    <a:gd name="T1" fmla="*/ 106 h 106"/>
                    <a:gd name="T2" fmla="*/ 53 w 107"/>
                    <a:gd name="T3" fmla="*/ 106 h 106"/>
                    <a:gd name="T4" fmla="*/ 43 w 107"/>
                    <a:gd name="T5" fmla="*/ 104 h 106"/>
                    <a:gd name="T6" fmla="*/ 33 w 107"/>
                    <a:gd name="T7" fmla="*/ 102 h 106"/>
                    <a:gd name="T8" fmla="*/ 24 w 107"/>
                    <a:gd name="T9" fmla="*/ 96 h 106"/>
                    <a:gd name="T10" fmla="*/ 16 w 107"/>
                    <a:gd name="T11" fmla="*/ 91 h 106"/>
                    <a:gd name="T12" fmla="*/ 10 w 107"/>
                    <a:gd name="T13" fmla="*/ 83 h 106"/>
                    <a:gd name="T14" fmla="*/ 4 w 107"/>
                    <a:gd name="T15" fmla="*/ 75 h 106"/>
                    <a:gd name="T16" fmla="*/ 2 w 107"/>
                    <a:gd name="T17" fmla="*/ 65 h 106"/>
                    <a:gd name="T18" fmla="*/ 0 w 107"/>
                    <a:gd name="T19" fmla="*/ 53 h 106"/>
                    <a:gd name="T20" fmla="*/ 0 w 107"/>
                    <a:gd name="T21" fmla="*/ 53 h 106"/>
                    <a:gd name="T22" fmla="*/ 2 w 107"/>
                    <a:gd name="T23" fmla="*/ 43 h 106"/>
                    <a:gd name="T24" fmla="*/ 4 w 107"/>
                    <a:gd name="T25" fmla="*/ 33 h 106"/>
                    <a:gd name="T26" fmla="*/ 10 w 107"/>
                    <a:gd name="T27" fmla="*/ 23 h 106"/>
                    <a:gd name="T28" fmla="*/ 16 w 107"/>
                    <a:gd name="T29" fmla="*/ 15 h 106"/>
                    <a:gd name="T30" fmla="*/ 24 w 107"/>
                    <a:gd name="T31" fmla="*/ 10 h 106"/>
                    <a:gd name="T32" fmla="*/ 33 w 107"/>
                    <a:gd name="T33" fmla="*/ 6 h 106"/>
                    <a:gd name="T34" fmla="*/ 43 w 107"/>
                    <a:gd name="T35" fmla="*/ 2 h 106"/>
                    <a:gd name="T36" fmla="*/ 53 w 107"/>
                    <a:gd name="T37" fmla="*/ 0 h 106"/>
                    <a:gd name="T38" fmla="*/ 53 w 107"/>
                    <a:gd name="T39" fmla="*/ 0 h 106"/>
                    <a:gd name="T40" fmla="*/ 63 w 107"/>
                    <a:gd name="T41" fmla="*/ 2 h 106"/>
                    <a:gd name="T42" fmla="*/ 73 w 107"/>
                    <a:gd name="T43" fmla="*/ 6 h 106"/>
                    <a:gd name="T44" fmla="*/ 83 w 107"/>
                    <a:gd name="T45" fmla="*/ 10 h 106"/>
                    <a:gd name="T46" fmla="*/ 91 w 107"/>
                    <a:gd name="T47" fmla="*/ 15 h 106"/>
                    <a:gd name="T48" fmla="*/ 97 w 107"/>
                    <a:gd name="T49" fmla="*/ 23 h 106"/>
                    <a:gd name="T50" fmla="*/ 103 w 107"/>
                    <a:gd name="T51" fmla="*/ 33 h 106"/>
                    <a:gd name="T52" fmla="*/ 105 w 107"/>
                    <a:gd name="T53" fmla="*/ 43 h 106"/>
                    <a:gd name="T54" fmla="*/ 107 w 107"/>
                    <a:gd name="T55" fmla="*/ 53 h 106"/>
                    <a:gd name="T56" fmla="*/ 107 w 107"/>
                    <a:gd name="T57" fmla="*/ 53 h 106"/>
                    <a:gd name="T58" fmla="*/ 105 w 107"/>
                    <a:gd name="T59" fmla="*/ 65 h 106"/>
                    <a:gd name="T60" fmla="*/ 103 w 107"/>
                    <a:gd name="T61" fmla="*/ 75 h 106"/>
                    <a:gd name="T62" fmla="*/ 97 w 107"/>
                    <a:gd name="T63" fmla="*/ 83 h 106"/>
                    <a:gd name="T64" fmla="*/ 91 w 107"/>
                    <a:gd name="T65" fmla="*/ 91 h 106"/>
                    <a:gd name="T66" fmla="*/ 83 w 107"/>
                    <a:gd name="T67" fmla="*/ 96 h 106"/>
                    <a:gd name="T68" fmla="*/ 73 w 107"/>
                    <a:gd name="T69" fmla="*/ 102 h 106"/>
                    <a:gd name="T70" fmla="*/ 63 w 107"/>
                    <a:gd name="T71" fmla="*/ 104 h 106"/>
                    <a:gd name="T72" fmla="*/ 53 w 107"/>
                    <a:gd name="T73" fmla="*/ 106 h 106"/>
                    <a:gd name="T74" fmla="*/ 53 w 107"/>
                    <a:gd name="T75"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6">
                      <a:moveTo>
                        <a:pt x="53" y="106"/>
                      </a:moveTo>
                      <a:lnTo>
                        <a:pt x="53" y="106"/>
                      </a:lnTo>
                      <a:lnTo>
                        <a:pt x="43" y="104"/>
                      </a:lnTo>
                      <a:lnTo>
                        <a:pt x="33" y="102"/>
                      </a:lnTo>
                      <a:lnTo>
                        <a:pt x="24" y="96"/>
                      </a:lnTo>
                      <a:lnTo>
                        <a:pt x="16" y="91"/>
                      </a:lnTo>
                      <a:lnTo>
                        <a:pt x="10" y="83"/>
                      </a:lnTo>
                      <a:lnTo>
                        <a:pt x="4" y="75"/>
                      </a:lnTo>
                      <a:lnTo>
                        <a:pt x="2" y="65"/>
                      </a:lnTo>
                      <a:lnTo>
                        <a:pt x="0" y="53"/>
                      </a:lnTo>
                      <a:lnTo>
                        <a:pt x="0" y="53"/>
                      </a:lnTo>
                      <a:lnTo>
                        <a:pt x="2" y="43"/>
                      </a:lnTo>
                      <a:lnTo>
                        <a:pt x="4" y="33"/>
                      </a:lnTo>
                      <a:lnTo>
                        <a:pt x="10" y="23"/>
                      </a:lnTo>
                      <a:lnTo>
                        <a:pt x="16" y="15"/>
                      </a:lnTo>
                      <a:lnTo>
                        <a:pt x="24" y="10"/>
                      </a:lnTo>
                      <a:lnTo>
                        <a:pt x="33" y="6"/>
                      </a:lnTo>
                      <a:lnTo>
                        <a:pt x="43" y="2"/>
                      </a:lnTo>
                      <a:lnTo>
                        <a:pt x="53" y="0"/>
                      </a:lnTo>
                      <a:lnTo>
                        <a:pt x="53" y="0"/>
                      </a:lnTo>
                      <a:lnTo>
                        <a:pt x="63" y="2"/>
                      </a:lnTo>
                      <a:lnTo>
                        <a:pt x="73" y="6"/>
                      </a:lnTo>
                      <a:lnTo>
                        <a:pt x="83" y="10"/>
                      </a:lnTo>
                      <a:lnTo>
                        <a:pt x="91" y="15"/>
                      </a:lnTo>
                      <a:lnTo>
                        <a:pt x="97" y="23"/>
                      </a:lnTo>
                      <a:lnTo>
                        <a:pt x="103" y="33"/>
                      </a:lnTo>
                      <a:lnTo>
                        <a:pt x="105" y="43"/>
                      </a:lnTo>
                      <a:lnTo>
                        <a:pt x="107" y="53"/>
                      </a:lnTo>
                      <a:lnTo>
                        <a:pt x="107" y="53"/>
                      </a:lnTo>
                      <a:lnTo>
                        <a:pt x="105" y="65"/>
                      </a:lnTo>
                      <a:lnTo>
                        <a:pt x="103" y="75"/>
                      </a:lnTo>
                      <a:lnTo>
                        <a:pt x="97" y="83"/>
                      </a:lnTo>
                      <a:lnTo>
                        <a:pt x="91" y="91"/>
                      </a:lnTo>
                      <a:lnTo>
                        <a:pt x="83" y="96"/>
                      </a:lnTo>
                      <a:lnTo>
                        <a:pt x="73" y="102"/>
                      </a:lnTo>
                      <a:lnTo>
                        <a:pt x="63" y="104"/>
                      </a:lnTo>
                      <a:lnTo>
                        <a:pt x="53" y="106"/>
                      </a:lnTo>
                      <a:lnTo>
                        <a:pt x="53" y="10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1" name="Freeform 319"/>
                <p:cNvSpPr>
                  <a:spLocks/>
                </p:cNvSpPr>
                <p:nvPr/>
              </p:nvSpPr>
              <p:spPr bwMode="auto">
                <a:xfrm>
                  <a:off x="5934075" y="3222625"/>
                  <a:ext cx="84138" cy="82550"/>
                </a:xfrm>
                <a:custGeom>
                  <a:avLst/>
                  <a:gdLst>
                    <a:gd name="T0" fmla="*/ 16 w 107"/>
                    <a:gd name="T1" fmla="*/ 89 h 105"/>
                    <a:gd name="T2" fmla="*/ 16 w 107"/>
                    <a:gd name="T3" fmla="*/ 89 h 105"/>
                    <a:gd name="T4" fmla="*/ 8 w 107"/>
                    <a:gd name="T5" fmla="*/ 81 h 105"/>
                    <a:gd name="T6" fmla="*/ 4 w 107"/>
                    <a:gd name="T7" fmla="*/ 73 h 105"/>
                    <a:gd name="T8" fmla="*/ 2 w 107"/>
                    <a:gd name="T9" fmla="*/ 63 h 105"/>
                    <a:gd name="T10" fmla="*/ 0 w 107"/>
                    <a:gd name="T11" fmla="*/ 51 h 105"/>
                    <a:gd name="T12" fmla="*/ 2 w 107"/>
                    <a:gd name="T13" fmla="*/ 41 h 105"/>
                    <a:gd name="T14" fmla="*/ 4 w 107"/>
                    <a:gd name="T15" fmla="*/ 32 h 105"/>
                    <a:gd name="T16" fmla="*/ 8 w 107"/>
                    <a:gd name="T17" fmla="*/ 24 h 105"/>
                    <a:gd name="T18" fmla="*/ 16 w 107"/>
                    <a:gd name="T19" fmla="*/ 16 h 105"/>
                    <a:gd name="T20" fmla="*/ 16 w 107"/>
                    <a:gd name="T21" fmla="*/ 16 h 105"/>
                    <a:gd name="T22" fmla="*/ 24 w 107"/>
                    <a:gd name="T23" fmla="*/ 8 h 105"/>
                    <a:gd name="T24" fmla="*/ 33 w 107"/>
                    <a:gd name="T25" fmla="*/ 4 h 105"/>
                    <a:gd name="T26" fmla="*/ 43 w 107"/>
                    <a:gd name="T27" fmla="*/ 0 h 105"/>
                    <a:gd name="T28" fmla="*/ 53 w 107"/>
                    <a:gd name="T29" fmla="*/ 0 h 105"/>
                    <a:gd name="T30" fmla="*/ 63 w 107"/>
                    <a:gd name="T31" fmla="*/ 0 h 105"/>
                    <a:gd name="T32" fmla="*/ 73 w 107"/>
                    <a:gd name="T33" fmla="*/ 4 h 105"/>
                    <a:gd name="T34" fmla="*/ 83 w 107"/>
                    <a:gd name="T35" fmla="*/ 8 h 105"/>
                    <a:gd name="T36" fmla="*/ 91 w 107"/>
                    <a:gd name="T37" fmla="*/ 16 h 105"/>
                    <a:gd name="T38" fmla="*/ 91 w 107"/>
                    <a:gd name="T39" fmla="*/ 16 h 105"/>
                    <a:gd name="T40" fmla="*/ 97 w 107"/>
                    <a:gd name="T41" fmla="*/ 24 h 105"/>
                    <a:gd name="T42" fmla="*/ 103 w 107"/>
                    <a:gd name="T43" fmla="*/ 32 h 105"/>
                    <a:gd name="T44" fmla="*/ 105 w 107"/>
                    <a:gd name="T45" fmla="*/ 41 h 105"/>
                    <a:gd name="T46" fmla="*/ 107 w 107"/>
                    <a:gd name="T47" fmla="*/ 51 h 105"/>
                    <a:gd name="T48" fmla="*/ 105 w 107"/>
                    <a:gd name="T49" fmla="*/ 63 h 105"/>
                    <a:gd name="T50" fmla="*/ 103 w 107"/>
                    <a:gd name="T51" fmla="*/ 73 h 105"/>
                    <a:gd name="T52" fmla="*/ 97 w 107"/>
                    <a:gd name="T53" fmla="*/ 81 h 105"/>
                    <a:gd name="T54" fmla="*/ 91 w 107"/>
                    <a:gd name="T55" fmla="*/ 89 h 105"/>
                    <a:gd name="T56" fmla="*/ 91 w 107"/>
                    <a:gd name="T57" fmla="*/ 89 h 105"/>
                    <a:gd name="T58" fmla="*/ 83 w 107"/>
                    <a:gd name="T59" fmla="*/ 97 h 105"/>
                    <a:gd name="T60" fmla="*/ 73 w 107"/>
                    <a:gd name="T61" fmla="*/ 101 h 105"/>
                    <a:gd name="T62" fmla="*/ 63 w 107"/>
                    <a:gd name="T63" fmla="*/ 105 h 105"/>
                    <a:gd name="T64" fmla="*/ 53 w 107"/>
                    <a:gd name="T65" fmla="*/ 105 h 105"/>
                    <a:gd name="T66" fmla="*/ 43 w 107"/>
                    <a:gd name="T67" fmla="*/ 105 h 105"/>
                    <a:gd name="T68" fmla="*/ 33 w 107"/>
                    <a:gd name="T69" fmla="*/ 101 h 105"/>
                    <a:gd name="T70" fmla="*/ 24 w 107"/>
                    <a:gd name="T71" fmla="*/ 97 h 105"/>
                    <a:gd name="T72" fmla="*/ 16 w 107"/>
                    <a:gd name="T73" fmla="*/ 89 h 105"/>
                    <a:gd name="T74" fmla="*/ 16 w 107"/>
                    <a:gd name="T75" fmla="*/ 8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5">
                      <a:moveTo>
                        <a:pt x="16" y="89"/>
                      </a:moveTo>
                      <a:lnTo>
                        <a:pt x="16" y="89"/>
                      </a:lnTo>
                      <a:lnTo>
                        <a:pt x="8" y="81"/>
                      </a:lnTo>
                      <a:lnTo>
                        <a:pt x="4" y="73"/>
                      </a:lnTo>
                      <a:lnTo>
                        <a:pt x="2" y="63"/>
                      </a:lnTo>
                      <a:lnTo>
                        <a:pt x="0" y="51"/>
                      </a:lnTo>
                      <a:lnTo>
                        <a:pt x="2" y="41"/>
                      </a:lnTo>
                      <a:lnTo>
                        <a:pt x="4" y="32"/>
                      </a:lnTo>
                      <a:lnTo>
                        <a:pt x="8" y="24"/>
                      </a:lnTo>
                      <a:lnTo>
                        <a:pt x="16" y="16"/>
                      </a:lnTo>
                      <a:lnTo>
                        <a:pt x="16" y="16"/>
                      </a:lnTo>
                      <a:lnTo>
                        <a:pt x="24" y="8"/>
                      </a:lnTo>
                      <a:lnTo>
                        <a:pt x="33" y="4"/>
                      </a:lnTo>
                      <a:lnTo>
                        <a:pt x="43" y="0"/>
                      </a:lnTo>
                      <a:lnTo>
                        <a:pt x="53" y="0"/>
                      </a:lnTo>
                      <a:lnTo>
                        <a:pt x="63" y="0"/>
                      </a:lnTo>
                      <a:lnTo>
                        <a:pt x="73" y="4"/>
                      </a:lnTo>
                      <a:lnTo>
                        <a:pt x="83" y="8"/>
                      </a:lnTo>
                      <a:lnTo>
                        <a:pt x="91" y="16"/>
                      </a:lnTo>
                      <a:lnTo>
                        <a:pt x="91" y="16"/>
                      </a:lnTo>
                      <a:lnTo>
                        <a:pt x="97" y="24"/>
                      </a:lnTo>
                      <a:lnTo>
                        <a:pt x="103" y="32"/>
                      </a:lnTo>
                      <a:lnTo>
                        <a:pt x="105" y="41"/>
                      </a:lnTo>
                      <a:lnTo>
                        <a:pt x="107" y="51"/>
                      </a:lnTo>
                      <a:lnTo>
                        <a:pt x="105" y="63"/>
                      </a:lnTo>
                      <a:lnTo>
                        <a:pt x="103" y="73"/>
                      </a:lnTo>
                      <a:lnTo>
                        <a:pt x="97" y="81"/>
                      </a:lnTo>
                      <a:lnTo>
                        <a:pt x="91" y="89"/>
                      </a:lnTo>
                      <a:lnTo>
                        <a:pt x="91" y="89"/>
                      </a:lnTo>
                      <a:lnTo>
                        <a:pt x="83" y="97"/>
                      </a:lnTo>
                      <a:lnTo>
                        <a:pt x="73" y="101"/>
                      </a:lnTo>
                      <a:lnTo>
                        <a:pt x="63" y="105"/>
                      </a:lnTo>
                      <a:lnTo>
                        <a:pt x="53" y="105"/>
                      </a:lnTo>
                      <a:lnTo>
                        <a:pt x="43" y="105"/>
                      </a:lnTo>
                      <a:lnTo>
                        <a:pt x="33" y="101"/>
                      </a:lnTo>
                      <a:lnTo>
                        <a:pt x="24" y="97"/>
                      </a:lnTo>
                      <a:lnTo>
                        <a:pt x="16" y="89"/>
                      </a:lnTo>
                      <a:lnTo>
                        <a:pt x="16" y="89"/>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2" name="Freeform 320"/>
                <p:cNvSpPr>
                  <a:spLocks/>
                </p:cNvSpPr>
                <p:nvPr/>
              </p:nvSpPr>
              <p:spPr bwMode="auto">
                <a:xfrm>
                  <a:off x="4546599" y="1835148"/>
                  <a:ext cx="84138" cy="84138"/>
                </a:xfrm>
                <a:custGeom>
                  <a:avLst/>
                  <a:gdLst>
                    <a:gd name="T0" fmla="*/ 16 w 107"/>
                    <a:gd name="T1" fmla="*/ 91 h 107"/>
                    <a:gd name="T2" fmla="*/ 16 w 107"/>
                    <a:gd name="T3" fmla="*/ 91 h 107"/>
                    <a:gd name="T4" fmla="*/ 10 w 107"/>
                    <a:gd name="T5" fmla="*/ 83 h 107"/>
                    <a:gd name="T6" fmla="*/ 4 w 107"/>
                    <a:gd name="T7" fmla="*/ 74 h 107"/>
                    <a:gd name="T8" fmla="*/ 2 w 107"/>
                    <a:gd name="T9" fmla="*/ 64 h 107"/>
                    <a:gd name="T10" fmla="*/ 0 w 107"/>
                    <a:gd name="T11" fmla="*/ 54 h 107"/>
                    <a:gd name="T12" fmla="*/ 2 w 107"/>
                    <a:gd name="T13" fmla="*/ 44 h 107"/>
                    <a:gd name="T14" fmla="*/ 4 w 107"/>
                    <a:gd name="T15" fmla="*/ 34 h 107"/>
                    <a:gd name="T16" fmla="*/ 10 w 107"/>
                    <a:gd name="T17" fmla="*/ 24 h 107"/>
                    <a:gd name="T18" fmla="*/ 16 w 107"/>
                    <a:gd name="T19" fmla="*/ 16 h 107"/>
                    <a:gd name="T20" fmla="*/ 16 w 107"/>
                    <a:gd name="T21" fmla="*/ 16 h 107"/>
                    <a:gd name="T22" fmla="*/ 26 w 107"/>
                    <a:gd name="T23" fmla="*/ 10 h 107"/>
                    <a:gd name="T24" fmla="*/ 34 w 107"/>
                    <a:gd name="T25" fmla="*/ 4 h 107"/>
                    <a:gd name="T26" fmla="*/ 44 w 107"/>
                    <a:gd name="T27" fmla="*/ 2 h 107"/>
                    <a:gd name="T28" fmla="*/ 54 w 107"/>
                    <a:gd name="T29" fmla="*/ 0 h 107"/>
                    <a:gd name="T30" fmla="*/ 64 w 107"/>
                    <a:gd name="T31" fmla="*/ 2 h 107"/>
                    <a:gd name="T32" fmla="*/ 74 w 107"/>
                    <a:gd name="T33" fmla="*/ 4 h 107"/>
                    <a:gd name="T34" fmla="*/ 83 w 107"/>
                    <a:gd name="T35" fmla="*/ 10 h 107"/>
                    <a:gd name="T36" fmla="*/ 91 w 107"/>
                    <a:gd name="T37" fmla="*/ 16 h 107"/>
                    <a:gd name="T38" fmla="*/ 91 w 107"/>
                    <a:gd name="T39" fmla="*/ 16 h 107"/>
                    <a:gd name="T40" fmla="*/ 99 w 107"/>
                    <a:gd name="T41" fmla="*/ 24 h 107"/>
                    <a:gd name="T42" fmla="*/ 103 w 107"/>
                    <a:gd name="T43" fmla="*/ 34 h 107"/>
                    <a:gd name="T44" fmla="*/ 107 w 107"/>
                    <a:gd name="T45" fmla="*/ 44 h 107"/>
                    <a:gd name="T46" fmla="*/ 107 w 107"/>
                    <a:gd name="T47" fmla="*/ 54 h 107"/>
                    <a:gd name="T48" fmla="*/ 107 w 107"/>
                    <a:gd name="T49" fmla="*/ 64 h 107"/>
                    <a:gd name="T50" fmla="*/ 103 w 107"/>
                    <a:gd name="T51" fmla="*/ 74 h 107"/>
                    <a:gd name="T52" fmla="*/ 99 w 107"/>
                    <a:gd name="T53" fmla="*/ 83 h 107"/>
                    <a:gd name="T54" fmla="*/ 91 w 107"/>
                    <a:gd name="T55" fmla="*/ 91 h 107"/>
                    <a:gd name="T56" fmla="*/ 91 w 107"/>
                    <a:gd name="T57" fmla="*/ 91 h 107"/>
                    <a:gd name="T58" fmla="*/ 83 w 107"/>
                    <a:gd name="T59" fmla="*/ 97 h 107"/>
                    <a:gd name="T60" fmla="*/ 74 w 107"/>
                    <a:gd name="T61" fmla="*/ 103 h 107"/>
                    <a:gd name="T62" fmla="*/ 64 w 107"/>
                    <a:gd name="T63" fmla="*/ 105 h 107"/>
                    <a:gd name="T64" fmla="*/ 54 w 107"/>
                    <a:gd name="T65" fmla="*/ 107 h 107"/>
                    <a:gd name="T66" fmla="*/ 44 w 107"/>
                    <a:gd name="T67" fmla="*/ 105 h 107"/>
                    <a:gd name="T68" fmla="*/ 34 w 107"/>
                    <a:gd name="T69" fmla="*/ 103 h 107"/>
                    <a:gd name="T70" fmla="*/ 26 w 107"/>
                    <a:gd name="T71" fmla="*/ 97 h 107"/>
                    <a:gd name="T72" fmla="*/ 16 w 107"/>
                    <a:gd name="T73" fmla="*/ 91 h 107"/>
                    <a:gd name="T74" fmla="*/ 16 w 107"/>
                    <a:gd name="T75" fmla="*/ 9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7">
                      <a:moveTo>
                        <a:pt x="16" y="91"/>
                      </a:moveTo>
                      <a:lnTo>
                        <a:pt x="16" y="91"/>
                      </a:lnTo>
                      <a:lnTo>
                        <a:pt x="10" y="83"/>
                      </a:lnTo>
                      <a:lnTo>
                        <a:pt x="4" y="74"/>
                      </a:lnTo>
                      <a:lnTo>
                        <a:pt x="2" y="64"/>
                      </a:lnTo>
                      <a:lnTo>
                        <a:pt x="0" y="54"/>
                      </a:lnTo>
                      <a:lnTo>
                        <a:pt x="2" y="44"/>
                      </a:lnTo>
                      <a:lnTo>
                        <a:pt x="4" y="34"/>
                      </a:lnTo>
                      <a:lnTo>
                        <a:pt x="10" y="24"/>
                      </a:lnTo>
                      <a:lnTo>
                        <a:pt x="16" y="16"/>
                      </a:lnTo>
                      <a:lnTo>
                        <a:pt x="16" y="16"/>
                      </a:lnTo>
                      <a:lnTo>
                        <a:pt x="26" y="10"/>
                      </a:lnTo>
                      <a:lnTo>
                        <a:pt x="34" y="4"/>
                      </a:lnTo>
                      <a:lnTo>
                        <a:pt x="44" y="2"/>
                      </a:lnTo>
                      <a:lnTo>
                        <a:pt x="54" y="0"/>
                      </a:lnTo>
                      <a:lnTo>
                        <a:pt x="64" y="2"/>
                      </a:lnTo>
                      <a:lnTo>
                        <a:pt x="74" y="4"/>
                      </a:lnTo>
                      <a:lnTo>
                        <a:pt x="83" y="10"/>
                      </a:lnTo>
                      <a:lnTo>
                        <a:pt x="91" y="16"/>
                      </a:lnTo>
                      <a:lnTo>
                        <a:pt x="91" y="16"/>
                      </a:lnTo>
                      <a:lnTo>
                        <a:pt x="99" y="24"/>
                      </a:lnTo>
                      <a:lnTo>
                        <a:pt x="103" y="34"/>
                      </a:lnTo>
                      <a:lnTo>
                        <a:pt x="107" y="44"/>
                      </a:lnTo>
                      <a:lnTo>
                        <a:pt x="107" y="54"/>
                      </a:lnTo>
                      <a:lnTo>
                        <a:pt x="107" y="64"/>
                      </a:lnTo>
                      <a:lnTo>
                        <a:pt x="103" y="74"/>
                      </a:lnTo>
                      <a:lnTo>
                        <a:pt x="99" y="83"/>
                      </a:lnTo>
                      <a:lnTo>
                        <a:pt x="91" y="91"/>
                      </a:lnTo>
                      <a:lnTo>
                        <a:pt x="91" y="91"/>
                      </a:lnTo>
                      <a:lnTo>
                        <a:pt x="83" y="97"/>
                      </a:lnTo>
                      <a:lnTo>
                        <a:pt x="74" y="103"/>
                      </a:lnTo>
                      <a:lnTo>
                        <a:pt x="64" y="105"/>
                      </a:lnTo>
                      <a:lnTo>
                        <a:pt x="54" y="107"/>
                      </a:lnTo>
                      <a:lnTo>
                        <a:pt x="44" y="105"/>
                      </a:lnTo>
                      <a:lnTo>
                        <a:pt x="34" y="103"/>
                      </a:lnTo>
                      <a:lnTo>
                        <a:pt x="26" y="97"/>
                      </a:lnTo>
                      <a:lnTo>
                        <a:pt x="16" y="91"/>
                      </a:lnTo>
                      <a:lnTo>
                        <a:pt x="16" y="91"/>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3" name="Freeform 321"/>
                <p:cNvSpPr>
                  <a:spLocks/>
                </p:cNvSpPr>
                <p:nvPr/>
              </p:nvSpPr>
              <p:spPr bwMode="auto">
                <a:xfrm>
                  <a:off x="5934075" y="1835148"/>
                  <a:ext cx="84138" cy="84138"/>
                </a:xfrm>
                <a:custGeom>
                  <a:avLst/>
                  <a:gdLst>
                    <a:gd name="T0" fmla="*/ 16 w 107"/>
                    <a:gd name="T1" fmla="*/ 16 h 107"/>
                    <a:gd name="T2" fmla="*/ 16 w 107"/>
                    <a:gd name="T3" fmla="*/ 16 h 107"/>
                    <a:gd name="T4" fmla="*/ 8 w 107"/>
                    <a:gd name="T5" fmla="*/ 24 h 107"/>
                    <a:gd name="T6" fmla="*/ 4 w 107"/>
                    <a:gd name="T7" fmla="*/ 34 h 107"/>
                    <a:gd name="T8" fmla="*/ 2 w 107"/>
                    <a:gd name="T9" fmla="*/ 44 h 107"/>
                    <a:gd name="T10" fmla="*/ 0 w 107"/>
                    <a:gd name="T11" fmla="*/ 54 h 107"/>
                    <a:gd name="T12" fmla="*/ 2 w 107"/>
                    <a:gd name="T13" fmla="*/ 64 h 107"/>
                    <a:gd name="T14" fmla="*/ 4 w 107"/>
                    <a:gd name="T15" fmla="*/ 74 h 107"/>
                    <a:gd name="T16" fmla="*/ 8 w 107"/>
                    <a:gd name="T17" fmla="*/ 83 h 107"/>
                    <a:gd name="T18" fmla="*/ 16 w 107"/>
                    <a:gd name="T19" fmla="*/ 91 h 107"/>
                    <a:gd name="T20" fmla="*/ 16 w 107"/>
                    <a:gd name="T21" fmla="*/ 91 h 107"/>
                    <a:gd name="T22" fmla="*/ 24 w 107"/>
                    <a:gd name="T23" fmla="*/ 97 h 107"/>
                    <a:gd name="T24" fmla="*/ 33 w 107"/>
                    <a:gd name="T25" fmla="*/ 103 h 107"/>
                    <a:gd name="T26" fmla="*/ 43 w 107"/>
                    <a:gd name="T27" fmla="*/ 105 h 107"/>
                    <a:gd name="T28" fmla="*/ 53 w 107"/>
                    <a:gd name="T29" fmla="*/ 107 h 107"/>
                    <a:gd name="T30" fmla="*/ 63 w 107"/>
                    <a:gd name="T31" fmla="*/ 105 h 107"/>
                    <a:gd name="T32" fmla="*/ 73 w 107"/>
                    <a:gd name="T33" fmla="*/ 103 h 107"/>
                    <a:gd name="T34" fmla="*/ 83 w 107"/>
                    <a:gd name="T35" fmla="*/ 97 h 107"/>
                    <a:gd name="T36" fmla="*/ 91 w 107"/>
                    <a:gd name="T37" fmla="*/ 91 h 107"/>
                    <a:gd name="T38" fmla="*/ 91 w 107"/>
                    <a:gd name="T39" fmla="*/ 91 h 107"/>
                    <a:gd name="T40" fmla="*/ 97 w 107"/>
                    <a:gd name="T41" fmla="*/ 83 h 107"/>
                    <a:gd name="T42" fmla="*/ 103 w 107"/>
                    <a:gd name="T43" fmla="*/ 74 h 107"/>
                    <a:gd name="T44" fmla="*/ 105 w 107"/>
                    <a:gd name="T45" fmla="*/ 64 h 107"/>
                    <a:gd name="T46" fmla="*/ 107 w 107"/>
                    <a:gd name="T47" fmla="*/ 54 h 107"/>
                    <a:gd name="T48" fmla="*/ 105 w 107"/>
                    <a:gd name="T49" fmla="*/ 44 h 107"/>
                    <a:gd name="T50" fmla="*/ 103 w 107"/>
                    <a:gd name="T51" fmla="*/ 34 h 107"/>
                    <a:gd name="T52" fmla="*/ 97 w 107"/>
                    <a:gd name="T53" fmla="*/ 24 h 107"/>
                    <a:gd name="T54" fmla="*/ 91 w 107"/>
                    <a:gd name="T55" fmla="*/ 16 h 107"/>
                    <a:gd name="T56" fmla="*/ 91 w 107"/>
                    <a:gd name="T57" fmla="*/ 16 h 107"/>
                    <a:gd name="T58" fmla="*/ 83 w 107"/>
                    <a:gd name="T59" fmla="*/ 10 h 107"/>
                    <a:gd name="T60" fmla="*/ 73 w 107"/>
                    <a:gd name="T61" fmla="*/ 4 h 107"/>
                    <a:gd name="T62" fmla="*/ 63 w 107"/>
                    <a:gd name="T63" fmla="*/ 2 h 107"/>
                    <a:gd name="T64" fmla="*/ 53 w 107"/>
                    <a:gd name="T65" fmla="*/ 0 h 107"/>
                    <a:gd name="T66" fmla="*/ 43 w 107"/>
                    <a:gd name="T67" fmla="*/ 2 h 107"/>
                    <a:gd name="T68" fmla="*/ 33 w 107"/>
                    <a:gd name="T69" fmla="*/ 4 h 107"/>
                    <a:gd name="T70" fmla="*/ 24 w 107"/>
                    <a:gd name="T71" fmla="*/ 10 h 107"/>
                    <a:gd name="T72" fmla="*/ 16 w 107"/>
                    <a:gd name="T73" fmla="*/ 16 h 107"/>
                    <a:gd name="T74" fmla="*/ 16 w 107"/>
                    <a:gd name="T75" fmla="*/ 1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7">
                      <a:moveTo>
                        <a:pt x="16" y="16"/>
                      </a:moveTo>
                      <a:lnTo>
                        <a:pt x="16" y="16"/>
                      </a:lnTo>
                      <a:lnTo>
                        <a:pt x="8" y="24"/>
                      </a:lnTo>
                      <a:lnTo>
                        <a:pt x="4" y="34"/>
                      </a:lnTo>
                      <a:lnTo>
                        <a:pt x="2" y="44"/>
                      </a:lnTo>
                      <a:lnTo>
                        <a:pt x="0" y="54"/>
                      </a:lnTo>
                      <a:lnTo>
                        <a:pt x="2" y="64"/>
                      </a:lnTo>
                      <a:lnTo>
                        <a:pt x="4" y="74"/>
                      </a:lnTo>
                      <a:lnTo>
                        <a:pt x="8" y="83"/>
                      </a:lnTo>
                      <a:lnTo>
                        <a:pt x="16" y="91"/>
                      </a:lnTo>
                      <a:lnTo>
                        <a:pt x="16" y="91"/>
                      </a:lnTo>
                      <a:lnTo>
                        <a:pt x="24" y="97"/>
                      </a:lnTo>
                      <a:lnTo>
                        <a:pt x="33" y="103"/>
                      </a:lnTo>
                      <a:lnTo>
                        <a:pt x="43" y="105"/>
                      </a:lnTo>
                      <a:lnTo>
                        <a:pt x="53" y="107"/>
                      </a:lnTo>
                      <a:lnTo>
                        <a:pt x="63" y="105"/>
                      </a:lnTo>
                      <a:lnTo>
                        <a:pt x="73" y="103"/>
                      </a:lnTo>
                      <a:lnTo>
                        <a:pt x="83" y="97"/>
                      </a:lnTo>
                      <a:lnTo>
                        <a:pt x="91" y="91"/>
                      </a:lnTo>
                      <a:lnTo>
                        <a:pt x="91" y="91"/>
                      </a:lnTo>
                      <a:lnTo>
                        <a:pt x="97" y="83"/>
                      </a:lnTo>
                      <a:lnTo>
                        <a:pt x="103" y="74"/>
                      </a:lnTo>
                      <a:lnTo>
                        <a:pt x="105" y="64"/>
                      </a:lnTo>
                      <a:lnTo>
                        <a:pt x="107" y="54"/>
                      </a:lnTo>
                      <a:lnTo>
                        <a:pt x="105" y="44"/>
                      </a:lnTo>
                      <a:lnTo>
                        <a:pt x="103" y="34"/>
                      </a:lnTo>
                      <a:lnTo>
                        <a:pt x="97" y="24"/>
                      </a:lnTo>
                      <a:lnTo>
                        <a:pt x="91" y="16"/>
                      </a:lnTo>
                      <a:lnTo>
                        <a:pt x="91" y="16"/>
                      </a:lnTo>
                      <a:lnTo>
                        <a:pt x="83" y="10"/>
                      </a:lnTo>
                      <a:lnTo>
                        <a:pt x="73" y="4"/>
                      </a:lnTo>
                      <a:lnTo>
                        <a:pt x="63" y="2"/>
                      </a:lnTo>
                      <a:lnTo>
                        <a:pt x="53" y="0"/>
                      </a:lnTo>
                      <a:lnTo>
                        <a:pt x="43" y="2"/>
                      </a:lnTo>
                      <a:lnTo>
                        <a:pt x="33" y="4"/>
                      </a:lnTo>
                      <a:lnTo>
                        <a:pt x="24" y="10"/>
                      </a:lnTo>
                      <a:lnTo>
                        <a:pt x="16" y="16"/>
                      </a:lnTo>
                      <a:lnTo>
                        <a:pt x="16" y="1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4" name="Freeform 322"/>
                <p:cNvSpPr>
                  <a:spLocks/>
                </p:cNvSpPr>
                <p:nvPr/>
              </p:nvSpPr>
              <p:spPr bwMode="auto">
                <a:xfrm>
                  <a:off x="4546599" y="3222625"/>
                  <a:ext cx="84138" cy="82550"/>
                </a:xfrm>
                <a:custGeom>
                  <a:avLst/>
                  <a:gdLst>
                    <a:gd name="T0" fmla="*/ 16 w 107"/>
                    <a:gd name="T1" fmla="*/ 16 h 105"/>
                    <a:gd name="T2" fmla="*/ 16 w 107"/>
                    <a:gd name="T3" fmla="*/ 16 h 105"/>
                    <a:gd name="T4" fmla="*/ 10 w 107"/>
                    <a:gd name="T5" fmla="*/ 24 h 105"/>
                    <a:gd name="T6" fmla="*/ 4 w 107"/>
                    <a:gd name="T7" fmla="*/ 32 h 105"/>
                    <a:gd name="T8" fmla="*/ 2 w 107"/>
                    <a:gd name="T9" fmla="*/ 41 h 105"/>
                    <a:gd name="T10" fmla="*/ 0 w 107"/>
                    <a:gd name="T11" fmla="*/ 51 h 105"/>
                    <a:gd name="T12" fmla="*/ 2 w 107"/>
                    <a:gd name="T13" fmla="*/ 63 h 105"/>
                    <a:gd name="T14" fmla="*/ 4 w 107"/>
                    <a:gd name="T15" fmla="*/ 73 h 105"/>
                    <a:gd name="T16" fmla="*/ 10 w 107"/>
                    <a:gd name="T17" fmla="*/ 81 h 105"/>
                    <a:gd name="T18" fmla="*/ 16 w 107"/>
                    <a:gd name="T19" fmla="*/ 89 h 105"/>
                    <a:gd name="T20" fmla="*/ 16 w 107"/>
                    <a:gd name="T21" fmla="*/ 89 h 105"/>
                    <a:gd name="T22" fmla="*/ 26 w 107"/>
                    <a:gd name="T23" fmla="*/ 97 h 105"/>
                    <a:gd name="T24" fmla="*/ 34 w 107"/>
                    <a:gd name="T25" fmla="*/ 101 h 105"/>
                    <a:gd name="T26" fmla="*/ 44 w 107"/>
                    <a:gd name="T27" fmla="*/ 105 h 105"/>
                    <a:gd name="T28" fmla="*/ 54 w 107"/>
                    <a:gd name="T29" fmla="*/ 105 h 105"/>
                    <a:gd name="T30" fmla="*/ 64 w 107"/>
                    <a:gd name="T31" fmla="*/ 105 h 105"/>
                    <a:gd name="T32" fmla="*/ 74 w 107"/>
                    <a:gd name="T33" fmla="*/ 101 h 105"/>
                    <a:gd name="T34" fmla="*/ 83 w 107"/>
                    <a:gd name="T35" fmla="*/ 97 h 105"/>
                    <a:gd name="T36" fmla="*/ 91 w 107"/>
                    <a:gd name="T37" fmla="*/ 89 h 105"/>
                    <a:gd name="T38" fmla="*/ 91 w 107"/>
                    <a:gd name="T39" fmla="*/ 89 h 105"/>
                    <a:gd name="T40" fmla="*/ 99 w 107"/>
                    <a:gd name="T41" fmla="*/ 81 h 105"/>
                    <a:gd name="T42" fmla="*/ 103 w 107"/>
                    <a:gd name="T43" fmla="*/ 73 h 105"/>
                    <a:gd name="T44" fmla="*/ 107 w 107"/>
                    <a:gd name="T45" fmla="*/ 63 h 105"/>
                    <a:gd name="T46" fmla="*/ 107 w 107"/>
                    <a:gd name="T47" fmla="*/ 51 h 105"/>
                    <a:gd name="T48" fmla="*/ 107 w 107"/>
                    <a:gd name="T49" fmla="*/ 41 h 105"/>
                    <a:gd name="T50" fmla="*/ 103 w 107"/>
                    <a:gd name="T51" fmla="*/ 32 h 105"/>
                    <a:gd name="T52" fmla="*/ 99 w 107"/>
                    <a:gd name="T53" fmla="*/ 24 h 105"/>
                    <a:gd name="T54" fmla="*/ 91 w 107"/>
                    <a:gd name="T55" fmla="*/ 16 h 105"/>
                    <a:gd name="T56" fmla="*/ 91 w 107"/>
                    <a:gd name="T57" fmla="*/ 16 h 105"/>
                    <a:gd name="T58" fmla="*/ 83 w 107"/>
                    <a:gd name="T59" fmla="*/ 8 h 105"/>
                    <a:gd name="T60" fmla="*/ 74 w 107"/>
                    <a:gd name="T61" fmla="*/ 4 h 105"/>
                    <a:gd name="T62" fmla="*/ 64 w 107"/>
                    <a:gd name="T63" fmla="*/ 0 h 105"/>
                    <a:gd name="T64" fmla="*/ 54 w 107"/>
                    <a:gd name="T65" fmla="*/ 0 h 105"/>
                    <a:gd name="T66" fmla="*/ 44 w 107"/>
                    <a:gd name="T67" fmla="*/ 0 h 105"/>
                    <a:gd name="T68" fmla="*/ 34 w 107"/>
                    <a:gd name="T69" fmla="*/ 4 h 105"/>
                    <a:gd name="T70" fmla="*/ 26 w 107"/>
                    <a:gd name="T71" fmla="*/ 8 h 105"/>
                    <a:gd name="T72" fmla="*/ 16 w 107"/>
                    <a:gd name="T73" fmla="*/ 16 h 105"/>
                    <a:gd name="T74" fmla="*/ 16 w 107"/>
                    <a:gd name="T75" fmla="*/ 1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05">
                      <a:moveTo>
                        <a:pt x="16" y="16"/>
                      </a:moveTo>
                      <a:lnTo>
                        <a:pt x="16" y="16"/>
                      </a:lnTo>
                      <a:lnTo>
                        <a:pt x="10" y="24"/>
                      </a:lnTo>
                      <a:lnTo>
                        <a:pt x="4" y="32"/>
                      </a:lnTo>
                      <a:lnTo>
                        <a:pt x="2" y="41"/>
                      </a:lnTo>
                      <a:lnTo>
                        <a:pt x="0" y="51"/>
                      </a:lnTo>
                      <a:lnTo>
                        <a:pt x="2" y="63"/>
                      </a:lnTo>
                      <a:lnTo>
                        <a:pt x="4" y="73"/>
                      </a:lnTo>
                      <a:lnTo>
                        <a:pt x="10" y="81"/>
                      </a:lnTo>
                      <a:lnTo>
                        <a:pt x="16" y="89"/>
                      </a:lnTo>
                      <a:lnTo>
                        <a:pt x="16" y="89"/>
                      </a:lnTo>
                      <a:lnTo>
                        <a:pt x="26" y="97"/>
                      </a:lnTo>
                      <a:lnTo>
                        <a:pt x="34" y="101"/>
                      </a:lnTo>
                      <a:lnTo>
                        <a:pt x="44" y="105"/>
                      </a:lnTo>
                      <a:lnTo>
                        <a:pt x="54" y="105"/>
                      </a:lnTo>
                      <a:lnTo>
                        <a:pt x="64" y="105"/>
                      </a:lnTo>
                      <a:lnTo>
                        <a:pt x="74" y="101"/>
                      </a:lnTo>
                      <a:lnTo>
                        <a:pt x="83" y="97"/>
                      </a:lnTo>
                      <a:lnTo>
                        <a:pt x="91" y="89"/>
                      </a:lnTo>
                      <a:lnTo>
                        <a:pt x="91" y="89"/>
                      </a:lnTo>
                      <a:lnTo>
                        <a:pt x="99" y="81"/>
                      </a:lnTo>
                      <a:lnTo>
                        <a:pt x="103" y="73"/>
                      </a:lnTo>
                      <a:lnTo>
                        <a:pt x="107" y="63"/>
                      </a:lnTo>
                      <a:lnTo>
                        <a:pt x="107" y="51"/>
                      </a:lnTo>
                      <a:lnTo>
                        <a:pt x="107" y="41"/>
                      </a:lnTo>
                      <a:lnTo>
                        <a:pt x="103" y="32"/>
                      </a:lnTo>
                      <a:lnTo>
                        <a:pt x="99" y="24"/>
                      </a:lnTo>
                      <a:lnTo>
                        <a:pt x="91" y="16"/>
                      </a:lnTo>
                      <a:lnTo>
                        <a:pt x="91" y="16"/>
                      </a:lnTo>
                      <a:lnTo>
                        <a:pt x="83" y="8"/>
                      </a:lnTo>
                      <a:lnTo>
                        <a:pt x="74" y="4"/>
                      </a:lnTo>
                      <a:lnTo>
                        <a:pt x="64" y="0"/>
                      </a:lnTo>
                      <a:lnTo>
                        <a:pt x="54" y="0"/>
                      </a:lnTo>
                      <a:lnTo>
                        <a:pt x="44" y="0"/>
                      </a:lnTo>
                      <a:lnTo>
                        <a:pt x="34" y="4"/>
                      </a:lnTo>
                      <a:lnTo>
                        <a:pt x="26" y="8"/>
                      </a:lnTo>
                      <a:lnTo>
                        <a:pt x="16" y="16"/>
                      </a:lnTo>
                      <a:lnTo>
                        <a:pt x="16" y="1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5" name="Freeform 323"/>
                <p:cNvSpPr>
                  <a:spLocks/>
                </p:cNvSpPr>
                <p:nvPr/>
              </p:nvSpPr>
              <p:spPr bwMode="auto">
                <a:xfrm>
                  <a:off x="5240337" y="3509964"/>
                  <a:ext cx="84138" cy="82550"/>
                </a:xfrm>
                <a:custGeom>
                  <a:avLst/>
                  <a:gdLst>
                    <a:gd name="T0" fmla="*/ 0 w 104"/>
                    <a:gd name="T1" fmla="*/ 54 h 105"/>
                    <a:gd name="T2" fmla="*/ 0 w 104"/>
                    <a:gd name="T3" fmla="*/ 54 h 105"/>
                    <a:gd name="T4" fmla="*/ 0 w 104"/>
                    <a:gd name="T5" fmla="*/ 42 h 105"/>
                    <a:gd name="T6" fmla="*/ 4 w 104"/>
                    <a:gd name="T7" fmla="*/ 32 h 105"/>
                    <a:gd name="T8" fmla="*/ 8 w 104"/>
                    <a:gd name="T9" fmla="*/ 24 h 105"/>
                    <a:gd name="T10" fmla="*/ 15 w 104"/>
                    <a:gd name="T11" fmla="*/ 16 h 105"/>
                    <a:gd name="T12" fmla="*/ 23 w 104"/>
                    <a:gd name="T13" fmla="*/ 8 h 105"/>
                    <a:gd name="T14" fmla="*/ 31 w 104"/>
                    <a:gd name="T15" fmla="*/ 4 h 105"/>
                    <a:gd name="T16" fmla="*/ 41 w 104"/>
                    <a:gd name="T17" fmla="*/ 0 h 105"/>
                    <a:gd name="T18" fmla="*/ 53 w 104"/>
                    <a:gd name="T19" fmla="*/ 0 h 105"/>
                    <a:gd name="T20" fmla="*/ 53 w 104"/>
                    <a:gd name="T21" fmla="*/ 0 h 105"/>
                    <a:gd name="T22" fmla="*/ 63 w 104"/>
                    <a:gd name="T23" fmla="*/ 0 h 105"/>
                    <a:gd name="T24" fmla="*/ 73 w 104"/>
                    <a:gd name="T25" fmla="*/ 4 h 105"/>
                    <a:gd name="T26" fmla="*/ 81 w 104"/>
                    <a:gd name="T27" fmla="*/ 8 h 105"/>
                    <a:gd name="T28" fmla="*/ 89 w 104"/>
                    <a:gd name="T29" fmla="*/ 16 h 105"/>
                    <a:gd name="T30" fmla="*/ 96 w 104"/>
                    <a:gd name="T31" fmla="*/ 24 h 105"/>
                    <a:gd name="T32" fmla="*/ 100 w 104"/>
                    <a:gd name="T33" fmla="*/ 32 h 105"/>
                    <a:gd name="T34" fmla="*/ 104 w 104"/>
                    <a:gd name="T35" fmla="*/ 42 h 105"/>
                    <a:gd name="T36" fmla="*/ 104 w 104"/>
                    <a:gd name="T37" fmla="*/ 54 h 105"/>
                    <a:gd name="T38" fmla="*/ 104 w 104"/>
                    <a:gd name="T39" fmla="*/ 54 h 105"/>
                    <a:gd name="T40" fmla="*/ 104 w 104"/>
                    <a:gd name="T41" fmla="*/ 64 h 105"/>
                    <a:gd name="T42" fmla="*/ 100 w 104"/>
                    <a:gd name="T43" fmla="*/ 74 h 105"/>
                    <a:gd name="T44" fmla="*/ 96 w 104"/>
                    <a:gd name="T45" fmla="*/ 83 h 105"/>
                    <a:gd name="T46" fmla="*/ 89 w 104"/>
                    <a:gd name="T47" fmla="*/ 91 h 105"/>
                    <a:gd name="T48" fmla="*/ 81 w 104"/>
                    <a:gd name="T49" fmla="*/ 97 h 105"/>
                    <a:gd name="T50" fmla="*/ 73 w 104"/>
                    <a:gd name="T51" fmla="*/ 101 h 105"/>
                    <a:gd name="T52" fmla="*/ 63 w 104"/>
                    <a:gd name="T53" fmla="*/ 105 h 105"/>
                    <a:gd name="T54" fmla="*/ 53 w 104"/>
                    <a:gd name="T55" fmla="*/ 105 h 105"/>
                    <a:gd name="T56" fmla="*/ 53 w 104"/>
                    <a:gd name="T57" fmla="*/ 105 h 105"/>
                    <a:gd name="T58" fmla="*/ 41 w 104"/>
                    <a:gd name="T59" fmla="*/ 105 h 105"/>
                    <a:gd name="T60" fmla="*/ 31 w 104"/>
                    <a:gd name="T61" fmla="*/ 101 h 105"/>
                    <a:gd name="T62" fmla="*/ 23 w 104"/>
                    <a:gd name="T63" fmla="*/ 97 h 105"/>
                    <a:gd name="T64" fmla="*/ 15 w 104"/>
                    <a:gd name="T65" fmla="*/ 91 h 105"/>
                    <a:gd name="T66" fmla="*/ 8 w 104"/>
                    <a:gd name="T67" fmla="*/ 83 h 105"/>
                    <a:gd name="T68" fmla="*/ 4 w 104"/>
                    <a:gd name="T69" fmla="*/ 74 h 105"/>
                    <a:gd name="T70" fmla="*/ 0 w 104"/>
                    <a:gd name="T71" fmla="*/ 64 h 105"/>
                    <a:gd name="T72" fmla="*/ 0 w 104"/>
                    <a:gd name="T73" fmla="*/ 54 h 105"/>
                    <a:gd name="T74" fmla="*/ 0 w 104"/>
                    <a:gd name="T75" fmla="*/ 5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4" h="105">
                      <a:moveTo>
                        <a:pt x="0" y="54"/>
                      </a:moveTo>
                      <a:lnTo>
                        <a:pt x="0" y="54"/>
                      </a:lnTo>
                      <a:lnTo>
                        <a:pt x="0" y="42"/>
                      </a:lnTo>
                      <a:lnTo>
                        <a:pt x="4" y="32"/>
                      </a:lnTo>
                      <a:lnTo>
                        <a:pt x="8" y="24"/>
                      </a:lnTo>
                      <a:lnTo>
                        <a:pt x="15" y="16"/>
                      </a:lnTo>
                      <a:lnTo>
                        <a:pt x="23" y="8"/>
                      </a:lnTo>
                      <a:lnTo>
                        <a:pt x="31" y="4"/>
                      </a:lnTo>
                      <a:lnTo>
                        <a:pt x="41" y="0"/>
                      </a:lnTo>
                      <a:lnTo>
                        <a:pt x="53" y="0"/>
                      </a:lnTo>
                      <a:lnTo>
                        <a:pt x="53" y="0"/>
                      </a:lnTo>
                      <a:lnTo>
                        <a:pt x="63" y="0"/>
                      </a:lnTo>
                      <a:lnTo>
                        <a:pt x="73" y="4"/>
                      </a:lnTo>
                      <a:lnTo>
                        <a:pt x="81" y="8"/>
                      </a:lnTo>
                      <a:lnTo>
                        <a:pt x="89" y="16"/>
                      </a:lnTo>
                      <a:lnTo>
                        <a:pt x="96" y="24"/>
                      </a:lnTo>
                      <a:lnTo>
                        <a:pt x="100" y="32"/>
                      </a:lnTo>
                      <a:lnTo>
                        <a:pt x="104" y="42"/>
                      </a:lnTo>
                      <a:lnTo>
                        <a:pt x="104" y="54"/>
                      </a:lnTo>
                      <a:lnTo>
                        <a:pt x="104" y="54"/>
                      </a:lnTo>
                      <a:lnTo>
                        <a:pt x="104" y="64"/>
                      </a:lnTo>
                      <a:lnTo>
                        <a:pt x="100" y="74"/>
                      </a:lnTo>
                      <a:lnTo>
                        <a:pt x="96" y="83"/>
                      </a:lnTo>
                      <a:lnTo>
                        <a:pt x="89" y="91"/>
                      </a:lnTo>
                      <a:lnTo>
                        <a:pt x="81" y="97"/>
                      </a:lnTo>
                      <a:lnTo>
                        <a:pt x="73" y="101"/>
                      </a:lnTo>
                      <a:lnTo>
                        <a:pt x="63" y="105"/>
                      </a:lnTo>
                      <a:lnTo>
                        <a:pt x="53" y="105"/>
                      </a:lnTo>
                      <a:lnTo>
                        <a:pt x="53" y="105"/>
                      </a:lnTo>
                      <a:lnTo>
                        <a:pt x="41" y="105"/>
                      </a:lnTo>
                      <a:lnTo>
                        <a:pt x="31" y="101"/>
                      </a:lnTo>
                      <a:lnTo>
                        <a:pt x="23" y="97"/>
                      </a:lnTo>
                      <a:lnTo>
                        <a:pt x="15" y="91"/>
                      </a:lnTo>
                      <a:lnTo>
                        <a:pt x="8" y="83"/>
                      </a:lnTo>
                      <a:lnTo>
                        <a:pt x="4" y="74"/>
                      </a:lnTo>
                      <a:lnTo>
                        <a:pt x="0" y="64"/>
                      </a:lnTo>
                      <a:lnTo>
                        <a:pt x="0" y="54"/>
                      </a:lnTo>
                      <a:lnTo>
                        <a:pt x="0" y="54"/>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6" name="Freeform 324"/>
                <p:cNvSpPr>
                  <a:spLocks/>
                </p:cNvSpPr>
                <p:nvPr/>
              </p:nvSpPr>
              <p:spPr bwMode="auto">
                <a:xfrm>
                  <a:off x="5240337" y="1547813"/>
                  <a:ext cx="84138" cy="82550"/>
                </a:xfrm>
                <a:custGeom>
                  <a:avLst/>
                  <a:gdLst>
                    <a:gd name="T0" fmla="*/ 0 w 104"/>
                    <a:gd name="T1" fmla="*/ 53 h 105"/>
                    <a:gd name="T2" fmla="*/ 0 w 104"/>
                    <a:gd name="T3" fmla="*/ 53 h 105"/>
                    <a:gd name="T4" fmla="*/ 0 w 104"/>
                    <a:gd name="T5" fmla="*/ 41 h 105"/>
                    <a:gd name="T6" fmla="*/ 4 w 104"/>
                    <a:gd name="T7" fmla="*/ 31 h 105"/>
                    <a:gd name="T8" fmla="*/ 8 w 104"/>
                    <a:gd name="T9" fmla="*/ 24 h 105"/>
                    <a:gd name="T10" fmla="*/ 15 w 104"/>
                    <a:gd name="T11" fmla="*/ 16 h 105"/>
                    <a:gd name="T12" fmla="*/ 23 w 104"/>
                    <a:gd name="T13" fmla="*/ 10 h 105"/>
                    <a:gd name="T14" fmla="*/ 31 w 104"/>
                    <a:gd name="T15" fmla="*/ 4 h 105"/>
                    <a:gd name="T16" fmla="*/ 41 w 104"/>
                    <a:gd name="T17" fmla="*/ 0 h 105"/>
                    <a:gd name="T18" fmla="*/ 53 w 104"/>
                    <a:gd name="T19" fmla="*/ 0 h 105"/>
                    <a:gd name="T20" fmla="*/ 53 w 104"/>
                    <a:gd name="T21" fmla="*/ 0 h 105"/>
                    <a:gd name="T22" fmla="*/ 63 w 104"/>
                    <a:gd name="T23" fmla="*/ 0 h 105"/>
                    <a:gd name="T24" fmla="*/ 73 w 104"/>
                    <a:gd name="T25" fmla="*/ 4 h 105"/>
                    <a:gd name="T26" fmla="*/ 81 w 104"/>
                    <a:gd name="T27" fmla="*/ 10 h 105"/>
                    <a:gd name="T28" fmla="*/ 89 w 104"/>
                    <a:gd name="T29" fmla="*/ 16 h 105"/>
                    <a:gd name="T30" fmla="*/ 96 w 104"/>
                    <a:gd name="T31" fmla="*/ 24 h 105"/>
                    <a:gd name="T32" fmla="*/ 100 w 104"/>
                    <a:gd name="T33" fmla="*/ 31 h 105"/>
                    <a:gd name="T34" fmla="*/ 104 w 104"/>
                    <a:gd name="T35" fmla="*/ 41 h 105"/>
                    <a:gd name="T36" fmla="*/ 104 w 104"/>
                    <a:gd name="T37" fmla="*/ 53 h 105"/>
                    <a:gd name="T38" fmla="*/ 104 w 104"/>
                    <a:gd name="T39" fmla="*/ 53 h 105"/>
                    <a:gd name="T40" fmla="*/ 104 w 104"/>
                    <a:gd name="T41" fmla="*/ 63 h 105"/>
                    <a:gd name="T42" fmla="*/ 100 w 104"/>
                    <a:gd name="T43" fmla="*/ 73 h 105"/>
                    <a:gd name="T44" fmla="*/ 96 w 104"/>
                    <a:gd name="T45" fmla="*/ 83 h 105"/>
                    <a:gd name="T46" fmla="*/ 89 w 104"/>
                    <a:gd name="T47" fmla="*/ 91 h 105"/>
                    <a:gd name="T48" fmla="*/ 81 w 104"/>
                    <a:gd name="T49" fmla="*/ 97 h 105"/>
                    <a:gd name="T50" fmla="*/ 73 w 104"/>
                    <a:gd name="T51" fmla="*/ 101 h 105"/>
                    <a:gd name="T52" fmla="*/ 63 w 104"/>
                    <a:gd name="T53" fmla="*/ 105 h 105"/>
                    <a:gd name="T54" fmla="*/ 53 w 104"/>
                    <a:gd name="T55" fmla="*/ 105 h 105"/>
                    <a:gd name="T56" fmla="*/ 53 w 104"/>
                    <a:gd name="T57" fmla="*/ 105 h 105"/>
                    <a:gd name="T58" fmla="*/ 41 w 104"/>
                    <a:gd name="T59" fmla="*/ 105 h 105"/>
                    <a:gd name="T60" fmla="*/ 31 w 104"/>
                    <a:gd name="T61" fmla="*/ 101 h 105"/>
                    <a:gd name="T62" fmla="*/ 23 w 104"/>
                    <a:gd name="T63" fmla="*/ 97 h 105"/>
                    <a:gd name="T64" fmla="*/ 15 w 104"/>
                    <a:gd name="T65" fmla="*/ 91 h 105"/>
                    <a:gd name="T66" fmla="*/ 8 w 104"/>
                    <a:gd name="T67" fmla="*/ 83 h 105"/>
                    <a:gd name="T68" fmla="*/ 4 w 104"/>
                    <a:gd name="T69" fmla="*/ 73 h 105"/>
                    <a:gd name="T70" fmla="*/ 0 w 104"/>
                    <a:gd name="T71" fmla="*/ 63 h 105"/>
                    <a:gd name="T72" fmla="*/ 0 w 104"/>
                    <a:gd name="T73" fmla="*/ 53 h 105"/>
                    <a:gd name="T74" fmla="*/ 0 w 104"/>
                    <a:gd name="T75" fmla="*/ 5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4" h="105">
                      <a:moveTo>
                        <a:pt x="0" y="53"/>
                      </a:moveTo>
                      <a:lnTo>
                        <a:pt x="0" y="53"/>
                      </a:lnTo>
                      <a:lnTo>
                        <a:pt x="0" y="41"/>
                      </a:lnTo>
                      <a:lnTo>
                        <a:pt x="4" y="31"/>
                      </a:lnTo>
                      <a:lnTo>
                        <a:pt x="8" y="24"/>
                      </a:lnTo>
                      <a:lnTo>
                        <a:pt x="15" y="16"/>
                      </a:lnTo>
                      <a:lnTo>
                        <a:pt x="23" y="10"/>
                      </a:lnTo>
                      <a:lnTo>
                        <a:pt x="31" y="4"/>
                      </a:lnTo>
                      <a:lnTo>
                        <a:pt x="41" y="0"/>
                      </a:lnTo>
                      <a:lnTo>
                        <a:pt x="53" y="0"/>
                      </a:lnTo>
                      <a:lnTo>
                        <a:pt x="53" y="0"/>
                      </a:lnTo>
                      <a:lnTo>
                        <a:pt x="63" y="0"/>
                      </a:lnTo>
                      <a:lnTo>
                        <a:pt x="73" y="4"/>
                      </a:lnTo>
                      <a:lnTo>
                        <a:pt x="81" y="10"/>
                      </a:lnTo>
                      <a:lnTo>
                        <a:pt x="89" y="16"/>
                      </a:lnTo>
                      <a:lnTo>
                        <a:pt x="96" y="24"/>
                      </a:lnTo>
                      <a:lnTo>
                        <a:pt x="100" y="31"/>
                      </a:lnTo>
                      <a:lnTo>
                        <a:pt x="104" y="41"/>
                      </a:lnTo>
                      <a:lnTo>
                        <a:pt x="104" y="53"/>
                      </a:lnTo>
                      <a:lnTo>
                        <a:pt x="104" y="53"/>
                      </a:lnTo>
                      <a:lnTo>
                        <a:pt x="104" y="63"/>
                      </a:lnTo>
                      <a:lnTo>
                        <a:pt x="100" y="73"/>
                      </a:lnTo>
                      <a:lnTo>
                        <a:pt x="96" y="83"/>
                      </a:lnTo>
                      <a:lnTo>
                        <a:pt x="89" y="91"/>
                      </a:lnTo>
                      <a:lnTo>
                        <a:pt x="81" y="97"/>
                      </a:lnTo>
                      <a:lnTo>
                        <a:pt x="73" y="101"/>
                      </a:lnTo>
                      <a:lnTo>
                        <a:pt x="63" y="105"/>
                      </a:lnTo>
                      <a:lnTo>
                        <a:pt x="53" y="105"/>
                      </a:lnTo>
                      <a:lnTo>
                        <a:pt x="53" y="105"/>
                      </a:lnTo>
                      <a:lnTo>
                        <a:pt x="41" y="105"/>
                      </a:lnTo>
                      <a:lnTo>
                        <a:pt x="31" y="101"/>
                      </a:lnTo>
                      <a:lnTo>
                        <a:pt x="23" y="97"/>
                      </a:lnTo>
                      <a:lnTo>
                        <a:pt x="15" y="91"/>
                      </a:lnTo>
                      <a:lnTo>
                        <a:pt x="8" y="83"/>
                      </a:lnTo>
                      <a:lnTo>
                        <a:pt x="4" y="73"/>
                      </a:lnTo>
                      <a:lnTo>
                        <a:pt x="0" y="63"/>
                      </a:lnTo>
                      <a:lnTo>
                        <a:pt x="0" y="53"/>
                      </a:lnTo>
                      <a:lnTo>
                        <a:pt x="0" y="53"/>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7" name="Freeform 325"/>
                <p:cNvSpPr>
                  <a:spLocks/>
                </p:cNvSpPr>
                <p:nvPr/>
              </p:nvSpPr>
              <p:spPr bwMode="auto">
                <a:xfrm>
                  <a:off x="822324" y="1751013"/>
                  <a:ext cx="334961" cy="1641477"/>
                </a:xfrm>
                <a:custGeom>
                  <a:avLst/>
                  <a:gdLst>
                    <a:gd name="T0" fmla="*/ 0 w 423"/>
                    <a:gd name="T1" fmla="*/ 2066 h 2066"/>
                    <a:gd name="T2" fmla="*/ 0 w 423"/>
                    <a:gd name="T3" fmla="*/ 0 h 2066"/>
                    <a:gd name="T4" fmla="*/ 423 w 423"/>
                    <a:gd name="T5" fmla="*/ 25 h 2066"/>
                    <a:gd name="T6" fmla="*/ 423 w 423"/>
                    <a:gd name="T7" fmla="*/ 2041 h 2066"/>
                    <a:gd name="T8" fmla="*/ 0 w 423"/>
                    <a:gd name="T9" fmla="*/ 2066 h 2066"/>
                  </a:gdLst>
                  <a:ahLst/>
                  <a:cxnLst>
                    <a:cxn ang="0">
                      <a:pos x="T0" y="T1"/>
                    </a:cxn>
                    <a:cxn ang="0">
                      <a:pos x="T2" y="T3"/>
                    </a:cxn>
                    <a:cxn ang="0">
                      <a:pos x="T4" y="T5"/>
                    </a:cxn>
                    <a:cxn ang="0">
                      <a:pos x="T6" y="T7"/>
                    </a:cxn>
                    <a:cxn ang="0">
                      <a:pos x="T8" y="T9"/>
                    </a:cxn>
                  </a:cxnLst>
                  <a:rect l="0" t="0" r="r" b="b"/>
                  <a:pathLst>
                    <a:path w="423" h="2066">
                      <a:moveTo>
                        <a:pt x="0" y="2066"/>
                      </a:moveTo>
                      <a:lnTo>
                        <a:pt x="0" y="0"/>
                      </a:lnTo>
                      <a:lnTo>
                        <a:pt x="423" y="25"/>
                      </a:lnTo>
                      <a:lnTo>
                        <a:pt x="423" y="2041"/>
                      </a:lnTo>
                      <a:lnTo>
                        <a:pt x="0" y="2066"/>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8" name="Freeform 326"/>
                <p:cNvSpPr>
                  <a:spLocks/>
                </p:cNvSpPr>
                <p:nvPr/>
              </p:nvSpPr>
              <p:spPr bwMode="auto">
                <a:xfrm>
                  <a:off x="1157288" y="1924050"/>
                  <a:ext cx="1006475" cy="1295400"/>
                </a:xfrm>
                <a:custGeom>
                  <a:avLst/>
                  <a:gdLst>
                    <a:gd name="T0" fmla="*/ 1140 w 1268"/>
                    <a:gd name="T1" fmla="*/ 1425 h 1632"/>
                    <a:gd name="T2" fmla="*/ 1140 w 1268"/>
                    <a:gd name="T3" fmla="*/ 1425 h 1632"/>
                    <a:gd name="T4" fmla="*/ 1146 w 1268"/>
                    <a:gd name="T5" fmla="*/ 1425 h 1632"/>
                    <a:gd name="T6" fmla="*/ 1152 w 1268"/>
                    <a:gd name="T7" fmla="*/ 1423 h 1632"/>
                    <a:gd name="T8" fmla="*/ 1160 w 1268"/>
                    <a:gd name="T9" fmla="*/ 1419 h 1632"/>
                    <a:gd name="T10" fmla="*/ 1166 w 1268"/>
                    <a:gd name="T11" fmla="*/ 1413 h 1632"/>
                    <a:gd name="T12" fmla="*/ 1178 w 1268"/>
                    <a:gd name="T13" fmla="*/ 1397 h 1632"/>
                    <a:gd name="T14" fmla="*/ 1189 w 1268"/>
                    <a:gd name="T15" fmla="*/ 1377 h 1632"/>
                    <a:gd name="T16" fmla="*/ 1201 w 1268"/>
                    <a:gd name="T17" fmla="*/ 1351 h 1632"/>
                    <a:gd name="T18" fmla="*/ 1211 w 1268"/>
                    <a:gd name="T19" fmla="*/ 1322 h 1632"/>
                    <a:gd name="T20" fmla="*/ 1221 w 1268"/>
                    <a:gd name="T21" fmla="*/ 1286 h 1632"/>
                    <a:gd name="T22" fmla="*/ 1231 w 1268"/>
                    <a:gd name="T23" fmla="*/ 1247 h 1632"/>
                    <a:gd name="T24" fmla="*/ 1239 w 1268"/>
                    <a:gd name="T25" fmla="*/ 1203 h 1632"/>
                    <a:gd name="T26" fmla="*/ 1247 w 1268"/>
                    <a:gd name="T27" fmla="*/ 1156 h 1632"/>
                    <a:gd name="T28" fmla="*/ 1253 w 1268"/>
                    <a:gd name="T29" fmla="*/ 1106 h 1632"/>
                    <a:gd name="T30" fmla="*/ 1259 w 1268"/>
                    <a:gd name="T31" fmla="*/ 1053 h 1632"/>
                    <a:gd name="T32" fmla="*/ 1262 w 1268"/>
                    <a:gd name="T33" fmla="*/ 998 h 1632"/>
                    <a:gd name="T34" fmla="*/ 1266 w 1268"/>
                    <a:gd name="T35" fmla="*/ 938 h 1632"/>
                    <a:gd name="T36" fmla="*/ 1268 w 1268"/>
                    <a:gd name="T37" fmla="*/ 879 h 1632"/>
                    <a:gd name="T38" fmla="*/ 1268 w 1268"/>
                    <a:gd name="T39" fmla="*/ 816 h 1632"/>
                    <a:gd name="T40" fmla="*/ 1268 w 1268"/>
                    <a:gd name="T41" fmla="*/ 816 h 1632"/>
                    <a:gd name="T42" fmla="*/ 1268 w 1268"/>
                    <a:gd name="T43" fmla="*/ 755 h 1632"/>
                    <a:gd name="T44" fmla="*/ 1266 w 1268"/>
                    <a:gd name="T45" fmla="*/ 694 h 1632"/>
                    <a:gd name="T46" fmla="*/ 1262 w 1268"/>
                    <a:gd name="T47" fmla="*/ 634 h 1632"/>
                    <a:gd name="T48" fmla="*/ 1259 w 1268"/>
                    <a:gd name="T49" fmla="*/ 579 h 1632"/>
                    <a:gd name="T50" fmla="*/ 1253 w 1268"/>
                    <a:gd name="T51" fmla="*/ 526 h 1632"/>
                    <a:gd name="T52" fmla="*/ 1247 w 1268"/>
                    <a:gd name="T53" fmla="*/ 476 h 1632"/>
                    <a:gd name="T54" fmla="*/ 1239 w 1268"/>
                    <a:gd name="T55" fmla="*/ 429 h 1632"/>
                    <a:gd name="T56" fmla="*/ 1231 w 1268"/>
                    <a:gd name="T57" fmla="*/ 385 h 1632"/>
                    <a:gd name="T58" fmla="*/ 1221 w 1268"/>
                    <a:gd name="T59" fmla="*/ 346 h 1632"/>
                    <a:gd name="T60" fmla="*/ 1211 w 1268"/>
                    <a:gd name="T61" fmla="*/ 312 h 1632"/>
                    <a:gd name="T62" fmla="*/ 1201 w 1268"/>
                    <a:gd name="T63" fmla="*/ 281 h 1632"/>
                    <a:gd name="T64" fmla="*/ 1189 w 1268"/>
                    <a:gd name="T65" fmla="*/ 255 h 1632"/>
                    <a:gd name="T66" fmla="*/ 1178 w 1268"/>
                    <a:gd name="T67" fmla="*/ 235 h 1632"/>
                    <a:gd name="T68" fmla="*/ 1166 w 1268"/>
                    <a:gd name="T69" fmla="*/ 219 h 1632"/>
                    <a:gd name="T70" fmla="*/ 1160 w 1268"/>
                    <a:gd name="T71" fmla="*/ 215 h 1632"/>
                    <a:gd name="T72" fmla="*/ 1152 w 1268"/>
                    <a:gd name="T73" fmla="*/ 211 h 1632"/>
                    <a:gd name="T74" fmla="*/ 1146 w 1268"/>
                    <a:gd name="T75" fmla="*/ 207 h 1632"/>
                    <a:gd name="T76" fmla="*/ 1140 w 1268"/>
                    <a:gd name="T77" fmla="*/ 207 h 1632"/>
                    <a:gd name="T78" fmla="*/ 0 w 1268"/>
                    <a:gd name="T79" fmla="*/ 0 h 1632"/>
                    <a:gd name="T80" fmla="*/ 0 w 1268"/>
                    <a:gd name="T81" fmla="*/ 1632 h 1632"/>
                    <a:gd name="T82" fmla="*/ 1140 w 1268"/>
                    <a:gd name="T83" fmla="*/ 1425 h 1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68" h="1632">
                      <a:moveTo>
                        <a:pt x="1140" y="1425"/>
                      </a:moveTo>
                      <a:lnTo>
                        <a:pt x="1140" y="1425"/>
                      </a:lnTo>
                      <a:lnTo>
                        <a:pt x="1146" y="1425"/>
                      </a:lnTo>
                      <a:lnTo>
                        <a:pt x="1152" y="1423"/>
                      </a:lnTo>
                      <a:lnTo>
                        <a:pt x="1160" y="1419"/>
                      </a:lnTo>
                      <a:lnTo>
                        <a:pt x="1166" y="1413"/>
                      </a:lnTo>
                      <a:lnTo>
                        <a:pt x="1178" y="1397"/>
                      </a:lnTo>
                      <a:lnTo>
                        <a:pt x="1189" y="1377"/>
                      </a:lnTo>
                      <a:lnTo>
                        <a:pt x="1201" y="1351"/>
                      </a:lnTo>
                      <a:lnTo>
                        <a:pt x="1211" y="1322"/>
                      </a:lnTo>
                      <a:lnTo>
                        <a:pt x="1221" y="1286"/>
                      </a:lnTo>
                      <a:lnTo>
                        <a:pt x="1231" y="1247"/>
                      </a:lnTo>
                      <a:lnTo>
                        <a:pt x="1239" y="1203"/>
                      </a:lnTo>
                      <a:lnTo>
                        <a:pt x="1247" y="1156"/>
                      </a:lnTo>
                      <a:lnTo>
                        <a:pt x="1253" y="1106"/>
                      </a:lnTo>
                      <a:lnTo>
                        <a:pt x="1259" y="1053"/>
                      </a:lnTo>
                      <a:lnTo>
                        <a:pt x="1262" y="998"/>
                      </a:lnTo>
                      <a:lnTo>
                        <a:pt x="1266" y="938"/>
                      </a:lnTo>
                      <a:lnTo>
                        <a:pt x="1268" y="879"/>
                      </a:lnTo>
                      <a:lnTo>
                        <a:pt x="1268" y="816"/>
                      </a:lnTo>
                      <a:lnTo>
                        <a:pt x="1268" y="816"/>
                      </a:lnTo>
                      <a:lnTo>
                        <a:pt x="1268" y="755"/>
                      </a:lnTo>
                      <a:lnTo>
                        <a:pt x="1266" y="694"/>
                      </a:lnTo>
                      <a:lnTo>
                        <a:pt x="1262" y="634"/>
                      </a:lnTo>
                      <a:lnTo>
                        <a:pt x="1259" y="579"/>
                      </a:lnTo>
                      <a:lnTo>
                        <a:pt x="1253" y="526"/>
                      </a:lnTo>
                      <a:lnTo>
                        <a:pt x="1247" y="476"/>
                      </a:lnTo>
                      <a:lnTo>
                        <a:pt x="1239" y="429"/>
                      </a:lnTo>
                      <a:lnTo>
                        <a:pt x="1231" y="385"/>
                      </a:lnTo>
                      <a:lnTo>
                        <a:pt x="1221" y="346"/>
                      </a:lnTo>
                      <a:lnTo>
                        <a:pt x="1211" y="312"/>
                      </a:lnTo>
                      <a:lnTo>
                        <a:pt x="1201" y="281"/>
                      </a:lnTo>
                      <a:lnTo>
                        <a:pt x="1189" y="255"/>
                      </a:lnTo>
                      <a:lnTo>
                        <a:pt x="1178" y="235"/>
                      </a:lnTo>
                      <a:lnTo>
                        <a:pt x="1166" y="219"/>
                      </a:lnTo>
                      <a:lnTo>
                        <a:pt x="1160" y="215"/>
                      </a:lnTo>
                      <a:lnTo>
                        <a:pt x="1152" y="211"/>
                      </a:lnTo>
                      <a:lnTo>
                        <a:pt x="1146" y="207"/>
                      </a:lnTo>
                      <a:lnTo>
                        <a:pt x="1140" y="207"/>
                      </a:lnTo>
                      <a:lnTo>
                        <a:pt x="0" y="0"/>
                      </a:lnTo>
                      <a:lnTo>
                        <a:pt x="0" y="1632"/>
                      </a:lnTo>
                      <a:lnTo>
                        <a:pt x="1140" y="1425"/>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89" name="Rectangle 327"/>
                <p:cNvSpPr>
                  <a:spLocks noChangeArrowheads="1"/>
                </p:cNvSpPr>
                <p:nvPr/>
              </p:nvSpPr>
              <p:spPr bwMode="auto">
                <a:xfrm>
                  <a:off x="0" y="2478091"/>
                  <a:ext cx="3254374" cy="184149"/>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490" name="Rectangle 328"/>
                <p:cNvSpPr>
                  <a:spLocks noChangeArrowheads="1"/>
                </p:cNvSpPr>
                <p:nvPr/>
              </p:nvSpPr>
              <p:spPr bwMode="auto">
                <a:xfrm>
                  <a:off x="2159000" y="2478088"/>
                  <a:ext cx="1095374" cy="184149"/>
                </a:xfrm>
                <a:prstGeom prst="rect">
                  <a:avLst/>
                </a:prstGeom>
                <a:solidFill>
                  <a:srgbClr val="80828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458" name="그룹 457"/>
              <p:cNvGrpSpPr/>
              <p:nvPr/>
            </p:nvGrpSpPr>
            <p:grpSpPr>
              <a:xfrm rot="3600000">
                <a:off x="10560226" y="2293980"/>
                <a:ext cx="555540" cy="555540"/>
                <a:chOff x="-5705856" y="-3474720"/>
                <a:chExt cx="1609344" cy="1609344"/>
              </a:xfrm>
            </p:grpSpPr>
            <p:sp>
              <p:nvSpPr>
                <p:cNvPr id="460" name="자유형 459"/>
                <p:cNvSpPr/>
                <p:nvPr/>
              </p:nvSpPr>
              <p:spPr>
                <a:xfrm>
                  <a:off x="-4910328" y="-3474720"/>
                  <a:ext cx="237744" cy="1609344"/>
                </a:xfrm>
                <a:custGeom>
                  <a:avLst/>
                  <a:gdLst>
                    <a:gd name="connsiteX0" fmla="*/ 9144 w 237744"/>
                    <a:gd name="connsiteY0" fmla="*/ 0 h 1609344"/>
                    <a:gd name="connsiteX1" fmla="*/ 171313 w 237744"/>
                    <a:gd name="connsiteY1" fmla="*/ 16348 h 1609344"/>
                    <a:gd name="connsiteX2" fmla="*/ 237744 w 237744"/>
                    <a:gd name="connsiteY2" fmla="*/ 33429 h 1609344"/>
                    <a:gd name="connsiteX3" fmla="*/ 237744 w 237744"/>
                    <a:gd name="connsiteY3" fmla="*/ 1575915 h 1609344"/>
                    <a:gd name="connsiteX4" fmla="*/ 171313 w 237744"/>
                    <a:gd name="connsiteY4" fmla="*/ 1592996 h 1609344"/>
                    <a:gd name="connsiteX5" fmla="*/ 9144 w 237744"/>
                    <a:gd name="connsiteY5" fmla="*/ 1609344 h 1609344"/>
                    <a:gd name="connsiteX6" fmla="*/ 0 w 237744"/>
                    <a:gd name="connsiteY6" fmla="*/ 1608883 h 1609344"/>
                    <a:gd name="connsiteX7" fmla="*/ 0 w 237744"/>
                    <a:gd name="connsiteY7" fmla="*/ 462 h 1609344"/>
                    <a:gd name="connsiteX8" fmla="*/ 9144 w 237744"/>
                    <a:gd name="connsiteY8" fmla="*/ 0 h 1609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7744" h="1609344">
                      <a:moveTo>
                        <a:pt x="9144" y="0"/>
                      </a:moveTo>
                      <a:cubicBezTo>
                        <a:pt x="64695" y="0"/>
                        <a:pt x="118931" y="5629"/>
                        <a:pt x="171313" y="16348"/>
                      </a:cubicBezTo>
                      <a:lnTo>
                        <a:pt x="237744" y="33429"/>
                      </a:lnTo>
                      <a:lnTo>
                        <a:pt x="237744" y="1575915"/>
                      </a:lnTo>
                      <a:lnTo>
                        <a:pt x="171313" y="1592996"/>
                      </a:lnTo>
                      <a:cubicBezTo>
                        <a:pt x="118931" y="1603715"/>
                        <a:pt x="64695" y="1609344"/>
                        <a:pt x="9144" y="1609344"/>
                      </a:cubicBezTo>
                      <a:lnTo>
                        <a:pt x="0" y="1608883"/>
                      </a:lnTo>
                      <a:lnTo>
                        <a:pt x="0" y="462"/>
                      </a:lnTo>
                      <a:lnTo>
                        <a:pt x="9144"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61" name="자유형 460"/>
                <p:cNvSpPr/>
                <p:nvPr/>
              </p:nvSpPr>
              <p:spPr>
                <a:xfrm>
                  <a:off x="-5705856" y="-3448343"/>
                  <a:ext cx="603504" cy="1556593"/>
                </a:xfrm>
                <a:custGeom>
                  <a:avLst/>
                  <a:gdLst>
                    <a:gd name="connsiteX0" fmla="*/ 603504 w 603504"/>
                    <a:gd name="connsiteY0" fmla="*/ 0 h 1556593"/>
                    <a:gd name="connsiteX1" fmla="*/ 603504 w 603504"/>
                    <a:gd name="connsiteY1" fmla="*/ 1556593 h 1556593"/>
                    <a:gd name="connsiteX2" fmla="*/ 565387 w 603504"/>
                    <a:gd name="connsiteY2" fmla="*/ 1546792 h 1556593"/>
                    <a:gd name="connsiteX3" fmla="*/ 0 w 603504"/>
                    <a:gd name="connsiteY3" fmla="*/ 778296 h 1556593"/>
                    <a:gd name="connsiteX4" fmla="*/ 565387 w 603504"/>
                    <a:gd name="connsiteY4" fmla="*/ 9800 h 1556593"/>
                    <a:gd name="connsiteX5" fmla="*/ 603504 w 603504"/>
                    <a:gd name="connsiteY5" fmla="*/ 0 h 1556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3504" h="1556593">
                      <a:moveTo>
                        <a:pt x="603504" y="0"/>
                      </a:moveTo>
                      <a:lnTo>
                        <a:pt x="603504" y="1556593"/>
                      </a:lnTo>
                      <a:lnTo>
                        <a:pt x="565387" y="1546792"/>
                      </a:lnTo>
                      <a:cubicBezTo>
                        <a:pt x="237830" y="1444911"/>
                        <a:pt x="0" y="1139378"/>
                        <a:pt x="0" y="778296"/>
                      </a:cubicBezTo>
                      <a:cubicBezTo>
                        <a:pt x="0" y="417215"/>
                        <a:pt x="237830" y="111681"/>
                        <a:pt x="565387" y="9800"/>
                      </a:cubicBezTo>
                      <a:lnTo>
                        <a:pt x="603504"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62" name="자유형 461"/>
                <p:cNvSpPr/>
                <p:nvPr/>
              </p:nvSpPr>
              <p:spPr>
                <a:xfrm>
                  <a:off x="-4590288" y="-3412334"/>
                  <a:ext cx="493776" cy="1484572"/>
                </a:xfrm>
                <a:custGeom>
                  <a:avLst/>
                  <a:gdLst>
                    <a:gd name="connsiteX0" fmla="*/ 0 w 493776"/>
                    <a:gd name="connsiteY0" fmla="*/ 0 h 1484572"/>
                    <a:gd name="connsiteX1" fmla="*/ 2319 w 493776"/>
                    <a:gd name="connsiteY1" fmla="*/ 849 h 1484572"/>
                    <a:gd name="connsiteX2" fmla="*/ 493776 w 493776"/>
                    <a:gd name="connsiteY2" fmla="*/ 742286 h 1484572"/>
                    <a:gd name="connsiteX3" fmla="*/ 2319 w 493776"/>
                    <a:gd name="connsiteY3" fmla="*/ 1483723 h 1484572"/>
                    <a:gd name="connsiteX4" fmla="*/ 0 w 493776"/>
                    <a:gd name="connsiteY4" fmla="*/ 1484572 h 1484572"/>
                    <a:gd name="connsiteX5" fmla="*/ 0 w 493776"/>
                    <a:gd name="connsiteY5" fmla="*/ 0 h 1484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6" h="1484572">
                      <a:moveTo>
                        <a:pt x="0" y="0"/>
                      </a:moveTo>
                      <a:lnTo>
                        <a:pt x="2319" y="849"/>
                      </a:lnTo>
                      <a:cubicBezTo>
                        <a:pt x="291128" y="123005"/>
                        <a:pt x="493776" y="408980"/>
                        <a:pt x="493776" y="742286"/>
                      </a:cubicBezTo>
                      <a:cubicBezTo>
                        <a:pt x="493776" y="1075592"/>
                        <a:pt x="291128" y="1361567"/>
                        <a:pt x="2319" y="1483723"/>
                      </a:cubicBezTo>
                      <a:lnTo>
                        <a:pt x="0" y="1484572"/>
                      </a:lnTo>
                      <a:lnTo>
                        <a:pt x="0"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sp>
            <p:nvSpPr>
              <p:cNvPr id="459" name="자유형 458"/>
              <p:cNvSpPr/>
              <p:nvPr/>
            </p:nvSpPr>
            <p:spPr>
              <a:xfrm>
                <a:off x="9143999" y="2571242"/>
                <a:ext cx="2931167" cy="787241"/>
              </a:xfrm>
              <a:custGeom>
                <a:avLst/>
                <a:gdLst>
                  <a:gd name="connsiteX0" fmla="*/ 1445129 w 2931167"/>
                  <a:gd name="connsiteY0" fmla="*/ 468602 h 787241"/>
                  <a:gd name="connsiteX1" fmla="*/ 1442195 w 2931167"/>
                  <a:gd name="connsiteY1" fmla="*/ 472777 h 787241"/>
                  <a:gd name="connsiteX2" fmla="*/ 1435581 w 2931167"/>
                  <a:gd name="connsiteY2" fmla="*/ 481932 h 787241"/>
                  <a:gd name="connsiteX3" fmla="*/ 1428714 w 2931167"/>
                  <a:gd name="connsiteY3" fmla="*/ 490833 h 787241"/>
                  <a:gd name="connsiteX4" fmla="*/ 1422100 w 2931167"/>
                  <a:gd name="connsiteY4" fmla="*/ 498972 h 787241"/>
                  <a:gd name="connsiteX5" fmla="*/ 1414978 w 2931167"/>
                  <a:gd name="connsiteY5" fmla="*/ 506601 h 787241"/>
                  <a:gd name="connsiteX6" fmla="*/ 1408785 w 2931167"/>
                  <a:gd name="connsiteY6" fmla="*/ 513251 h 787241"/>
                  <a:gd name="connsiteX7" fmla="*/ 1409097 w 2931167"/>
                  <a:gd name="connsiteY7" fmla="*/ 512959 h 787241"/>
                  <a:gd name="connsiteX8" fmla="*/ 1416476 w 2931167"/>
                  <a:gd name="connsiteY8" fmla="*/ 505584 h 787241"/>
                  <a:gd name="connsiteX9" fmla="*/ 1424109 w 2931167"/>
                  <a:gd name="connsiteY9" fmla="*/ 496937 h 787241"/>
                  <a:gd name="connsiteX10" fmla="*/ 1431234 w 2931167"/>
                  <a:gd name="connsiteY10" fmla="*/ 487782 h 787241"/>
                  <a:gd name="connsiteX11" fmla="*/ 1438612 w 2931167"/>
                  <a:gd name="connsiteY11" fmla="*/ 478372 h 787241"/>
                  <a:gd name="connsiteX12" fmla="*/ 1458759 w 2931167"/>
                  <a:gd name="connsiteY12" fmla="*/ 446379 h 787241"/>
                  <a:gd name="connsiteX13" fmla="*/ 1454913 w 2931167"/>
                  <a:gd name="connsiteY13" fmla="*/ 452686 h 787241"/>
                  <a:gd name="connsiteX14" fmla="*/ 1450629 w 2931167"/>
                  <a:gd name="connsiteY14" fmla="*/ 460181 h 787241"/>
                  <a:gd name="connsiteX15" fmla="*/ 1452861 w 2931167"/>
                  <a:gd name="connsiteY15" fmla="*/ 456755 h 787241"/>
                  <a:gd name="connsiteX16" fmla="*/ 1472551 w 2931167"/>
                  <a:gd name="connsiteY16" fmla="*/ 420938 h 787241"/>
                  <a:gd name="connsiteX17" fmla="*/ 1472186 w 2931167"/>
                  <a:gd name="connsiteY17" fmla="*/ 421654 h 787241"/>
                  <a:gd name="connsiteX18" fmla="*/ 1472453 w 2931167"/>
                  <a:gd name="connsiteY18" fmla="*/ 421150 h 787241"/>
                  <a:gd name="connsiteX19" fmla="*/ 1669574 w 2931167"/>
                  <a:gd name="connsiteY19" fmla="*/ 394616 h 787241"/>
                  <a:gd name="connsiteX20" fmla="*/ 1668111 w 2931167"/>
                  <a:gd name="connsiteY20" fmla="*/ 399157 h 787241"/>
                  <a:gd name="connsiteX21" fmla="*/ 1668833 w 2931167"/>
                  <a:gd name="connsiteY21" fmla="*/ 396990 h 787241"/>
                  <a:gd name="connsiteX22" fmla="*/ 1494018 w 2931167"/>
                  <a:gd name="connsiteY22" fmla="*/ 371288 h 787241"/>
                  <a:gd name="connsiteX23" fmla="*/ 1490015 w 2931167"/>
                  <a:gd name="connsiteY23" fmla="*/ 381477 h 787241"/>
                  <a:gd name="connsiteX24" fmla="*/ 1484419 w 2931167"/>
                  <a:gd name="connsiteY24" fmla="*/ 394447 h 787241"/>
                  <a:gd name="connsiteX25" fmla="*/ 1478823 w 2931167"/>
                  <a:gd name="connsiteY25" fmla="*/ 406908 h 787241"/>
                  <a:gd name="connsiteX26" fmla="*/ 1474960 w 2931167"/>
                  <a:gd name="connsiteY26" fmla="*/ 415738 h 787241"/>
                  <a:gd name="connsiteX27" fmla="*/ 1478814 w 2931167"/>
                  <a:gd name="connsiteY27" fmla="*/ 407417 h 787241"/>
                  <a:gd name="connsiteX28" fmla="*/ 1484921 w 2931167"/>
                  <a:gd name="connsiteY28" fmla="*/ 393938 h 787241"/>
                  <a:gd name="connsiteX29" fmla="*/ 1491027 w 2931167"/>
                  <a:gd name="connsiteY29" fmla="*/ 379442 h 787241"/>
                  <a:gd name="connsiteX30" fmla="*/ 1698631 w 2931167"/>
                  <a:gd name="connsiteY30" fmla="*/ 289018 h 787241"/>
                  <a:gd name="connsiteX31" fmla="*/ 1691527 w 2931167"/>
                  <a:gd name="connsiteY31" fmla="*/ 317643 h 787241"/>
                  <a:gd name="connsiteX32" fmla="*/ 1682876 w 2931167"/>
                  <a:gd name="connsiteY32" fmla="*/ 349687 h 787241"/>
                  <a:gd name="connsiteX33" fmla="*/ 1675427 w 2931167"/>
                  <a:gd name="connsiteY33" fmla="*/ 375853 h 787241"/>
                  <a:gd name="connsiteX34" fmla="*/ 1677481 w 2931167"/>
                  <a:gd name="connsiteY34" fmla="*/ 369269 h 787241"/>
                  <a:gd name="connsiteX35" fmla="*/ 1685366 w 2931167"/>
                  <a:gd name="connsiteY35" fmla="*/ 341294 h 787241"/>
                  <a:gd name="connsiteX36" fmla="*/ 1692997 w 2931167"/>
                  <a:gd name="connsiteY36" fmla="*/ 312556 h 787241"/>
                  <a:gd name="connsiteX37" fmla="*/ 1700798 w 2931167"/>
                  <a:gd name="connsiteY37" fmla="*/ 279319 h 787241"/>
                  <a:gd name="connsiteX38" fmla="*/ 1699887 w 2931167"/>
                  <a:gd name="connsiteY38" fmla="*/ 283772 h 787241"/>
                  <a:gd name="connsiteX39" fmla="*/ 1700119 w 2931167"/>
                  <a:gd name="connsiteY39" fmla="*/ 282801 h 787241"/>
                  <a:gd name="connsiteX40" fmla="*/ 1525851 w 2931167"/>
                  <a:gd name="connsiteY40" fmla="*/ 261707 h 787241"/>
                  <a:gd name="connsiteX41" fmla="*/ 1522574 w 2931167"/>
                  <a:gd name="connsiteY41" fmla="*/ 275426 h 787241"/>
                  <a:gd name="connsiteX42" fmla="*/ 1518504 w 2931167"/>
                  <a:gd name="connsiteY42" fmla="*/ 291957 h 787241"/>
                  <a:gd name="connsiteX43" fmla="*/ 1514688 w 2931167"/>
                  <a:gd name="connsiteY43" fmla="*/ 307979 h 787241"/>
                  <a:gd name="connsiteX44" fmla="*/ 1510110 w 2931167"/>
                  <a:gd name="connsiteY44" fmla="*/ 323492 h 787241"/>
                  <a:gd name="connsiteX45" fmla="*/ 1506125 w 2931167"/>
                  <a:gd name="connsiteY45" fmla="*/ 336771 h 787241"/>
                  <a:gd name="connsiteX46" fmla="*/ 1507566 w 2931167"/>
                  <a:gd name="connsiteY46" fmla="*/ 332647 h 787241"/>
                  <a:gd name="connsiteX47" fmla="*/ 1512655 w 2931167"/>
                  <a:gd name="connsiteY47" fmla="*/ 316117 h 787241"/>
                  <a:gd name="connsiteX48" fmla="*/ 1517235 w 2931167"/>
                  <a:gd name="connsiteY48" fmla="*/ 299077 h 787241"/>
                  <a:gd name="connsiteX49" fmla="*/ 1521560 w 2931167"/>
                  <a:gd name="connsiteY49" fmla="*/ 281275 h 787241"/>
                  <a:gd name="connsiteX50" fmla="*/ 1525631 w 2931167"/>
                  <a:gd name="connsiteY50" fmla="*/ 262710 h 787241"/>
                  <a:gd name="connsiteX51" fmla="*/ 1536909 w 2931167"/>
                  <a:gd name="connsiteY51" fmla="*/ 203869 h 787241"/>
                  <a:gd name="connsiteX52" fmla="*/ 1536818 w 2931167"/>
                  <a:gd name="connsiteY52" fmla="*/ 204471 h 787241"/>
                  <a:gd name="connsiteX53" fmla="*/ 1533766 w 2931167"/>
                  <a:gd name="connsiteY53" fmla="*/ 223037 h 787241"/>
                  <a:gd name="connsiteX54" fmla="*/ 1530205 w 2931167"/>
                  <a:gd name="connsiteY54" fmla="*/ 241093 h 787241"/>
                  <a:gd name="connsiteX55" fmla="*/ 1527646 w 2931167"/>
                  <a:gd name="connsiteY55" fmla="*/ 253523 h 787241"/>
                  <a:gd name="connsiteX56" fmla="*/ 1529702 w 2931167"/>
                  <a:gd name="connsiteY56" fmla="*/ 244145 h 787241"/>
                  <a:gd name="connsiteX57" fmla="*/ 1533774 w 2931167"/>
                  <a:gd name="connsiteY57" fmla="*/ 224562 h 787241"/>
                  <a:gd name="connsiteX58" fmla="*/ 1536827 w 2931167"/>
                  <a:gd name="connsiteY58" fmla="*/ 204471 h 787241"/>
                  <a:gd name="connsiteX59" fmla="*/ 1722073 w 2931167"/>
                  <a:gd name="connsiteY59" fmla="*/ 156535 h 787241"/>
                  <a:gd name="connsiteX60" fmla="*/ 1721033 w 2931167"/>
                  <a:gd name="connsiteY60" fmla="*/ 164622 h 787241"/>
                  <a:gd name="connsiteX61" fmla="*/ 1721740 w 2931167"/>
                  <a:gd name="connsiteY61" fmla="*/ 159711 h 787241"/>
                  <a:gd name="connsiteX62" fmla="*/ 1550299 w 2931167"/>
                  <a:gd name="connsiteY62" fmla="*/ 62816 h 787241"/>
                  <a:gd name="connsiteX63" fmla="*/ 1549282 w 2931167"/>
                  <a:gd name="connsiteY63" fmla="*/ 84433 h 787241"/>
                  <a:gd name="connsiteX64" fmla="*/ 1547756 w 2931167"/>
                  <a:gd name="connsiteY64" fmla="*/ 105542 h 787241"/>
                  <a:gd name="connsiteX65" fmla="*/ 1546230 w 2931167"/>
                  <a:gd name="connsiteY65" fmla="*/ 126141 h 787241"/>
                  <a:gd name="connsiteX66" fmla="*/ 1544195 w 2931167"/>
                  <a:gd name="connsiteY66" fmla="*/ 146741 h 787241"/>
                  <a:gd name="connsiteX67" fmla="*/ 1542160 w 2931167"/>
                  <a:gd name="connsiteY67" fmla="*/ 166324 h 787241"/>
                  <a:gd name="connsiteX68" fmla="*/ 1542125 w 2931167"/>
                  <a:gd name="connsiteY68" fmla="*/ 166594 h 787241"/>
                  <a:gd name="connsiteX69" fmla="*/ 1542679 w 2931167"/>
                  <a:gd name="connsiteY69" fmla="*/ 162763 h 787241"/>
                  <a:gd name="connsiteX70" fmla="*/ 1545223 w 2931167"/>
                  <a:gd name="connsiteY70" fmla="*/ 141146 h 787241"/>
                  <a:gd name="connsiteX71" fmla="*/ 1547259 w 2931167"/>
                  <a:gd name="connsiteY71" fmla="*/ 119020 h 787241"/>
                  <a:gd name="connsiteX72" fmla="*/ 1548786 w 2931167"/>
                  <a:gd name="connsiteY72" fmla="*/ 96386 h 787241"/>
                  <a:gd name="connsiteX73" fmla="*/ 1550312 w 2931167"/>
                  <a:gd name="connsiteY73" fmla="*/ 72988 h 787241"/>
                  <a:gd name="connsiteX74" fmla="*/ 1550750 w 2931167"/>
                  <a:gd name="connsiteY74" fmla="*/ 62816 h 787241"/>
                  <a:gd name="connsiteX75" fmla="*/ 2337323 w 2931167"/>
                  <a:gd name="connsiteY75" fmla="*/ 0 h 787241"/>
                  <a:gd name="connsiteX76" fmla="*/ 2931167 w 2931167"/>
                  <a:gd name="connsiteY76" fmla="*/ 0 h 787241"/>
                  <a:gd name="connsiteX77" fmla="*/ 2931167 w 2931167"/>
                  <a:gd name="connsiteY77" fmla="*/ 510 h 787241"/>
                  <a:gd name="connsiteX78" fmla="*/ 2931167 w 2931167"/>
                  <a:gd name="connsiteY78" fmla="*/ 3538 h 787241"/>
                  <a:gd name="connsiteX79" fmla="*/ 2930656 w 2931167"/>
                  <a:gd name="connsiteY79" fmla="*/ 6565 h 787241"/>
                  <a:gd name="connsiteX80" fmla="*/ 2929123 w 2931167"/>
                  <a:gd name="connsiteY80" fmla="*/ 11863 h 787241"/>
                  <a:gd name="connsiteX81" fmla="*/ 2926057 w 2931167"/>
                  <a:gd name="connsiteY81" fmla="*/ 16909 h 787241"/>
                  <a:gd name="connsiteX82" fmla="*/ 2922479 w 2931167"/>
                  <a:gd name="connsiteY82" fmla="*/ 21450 h 787241"/>
                  <a:gd name="connsiteX83" fmla="*/ 2918135 w 2931167"/>
                  <a:gd name="connsiteY83" fmla="*/ 24982 h 787241"/>
                  <a:gd name="connsiteX84" fmla="*/ 2913025 w 2931167"/>
                  <a:gd name="connsiteY84" fmla="*/ 28009 h 787241"/>
                  <a:gd name="connsiteX85" fmla="*/ 2907403 w 2931167"/>
                  <a:gd name="connsiteY85" fmla="*/ 29523 h 787241"/>
                  <a:gd name="connsiteX86" fmla="*/ 2904337 w 2931167"/>
                  <a:gd name="connsiteY86" fmla="*/ 30027 h 787241"/>
                  <a:gd name="connsiteX87" fmla="*/ 2901271 w 2931167"/>
                  <a:gd name="connsiteY87" fmla="*/ 30532 h 787241"/>
                  <a:gd name="connsiteX88" fmla="*/ 2898460 w 2931167"/>
                  <a:gd name="connsiteY88" fmla="*/ 30027 h 787241"/>
                  <a:gd name="connsiteX89" fmla="*/ 2895394 w 2931167"/>
                  <a:gd name="connsiteY89" fmla="*/ 29523 h 787241"/>
                  <a:gd name="connsiteX90" fmla="*/ 2889261 w 2931167"/>
                  <a:gd name="connsiteY90" fmla="*/ 28009 h 787241"/>
                  <a:gd name="connsiteX91" fmla="*/ 2884151 w 2931167"/>
                  <a:gd name="connsiteY91" fmla="*/ 24982 h 787241"/>
                  <a:gd name="connsiteX92" fmla="*/ 2880062 w 2931167"/>
                  <a:gd name="connsiteY92" fmla="*/ 21450 h 787241"/>
                  <a:gd name="connsiteX93" fmla="*/ 2876229 w 2931167"/>
                  <a:gd name="connsiteY93" fmla="*/ 16909 h 787241"/>
                  <a:gd name="connsiteX94" fmla="*/ 2873674 w 2931167"/>
                  <a:gd name="connsiteY94" fmla="*/ 11863 h 787241"/>
                  <a:gd name="connsiteX95" fmla="*/ 2871630 w 2931167"/>
                  <a:gd name="connsiteY95" fmla="*/ 6565 h 787241"/>
                  <a:gd name="connsiteX96" fmla="*/ 2871381 w 2931167"/>
                  <a:gd name="connsiteY96" fmla="*/ 5088 h 787241"/>
                  <a:gd name="connsiteX97" fmla="*/ 2771049 w 2931167"/>
                  <a:gd name="connsiteY97" fmla="*/ 5088 h 787241"/>
                  <a:gd name="connsiteX98" fmla="*/ 2770356 w 2931167"/>
                  <a:gd name="connsiteY98" fmla="*/ 5723 h 787241"/>
                  <a:gd name="connsiteX99" fmla="*/ 2751772 w 2931167"/>
                  <a:gd name="connsiteY99" fmla="*/ 21238 h 787241"/>
                  <a:gd name="connsiteX100" fmla="*/ 2721478 w 2931167"/>
                  <a:gd name="connsiteY100" fmla="*/ 45909 h 787241"/>
                  <a:gd name="connsiteX101" fmla="*/ 2702384 w 2931167"/>
                  <a:gd name="connsiteY101" fmla="*/ 60915 h 787241"/>
                  <a:gd name="connsiteX102" fmla="*/ 2680746 w 2931167"/>
                  <a:gd name="connsiteY102" fmla="*/ 77447 h 787241"/>
                  <a:gd name="connsiteX103" fmla="*/ 2656052 w 2931167"/>
                  <a:gd name="connsiteY103" fmla="*/ 95505 h 787241"/>
                  <a:gd name="connsiteX104" fmla="*/ 2629576 w 2931167"/>
                  <a:gd name="connsiteY104" fmla="*/ 115089 h 787241"/>
                  <a:gd name="connsiteX105" fmla="*/ 2600809 w 2931167"/>
                  <a:gd name="connsiteY105" fmla="*/ 135691 h 787241"/>
                  <a:gd name="connsiteX106" fmla="*/ 2569750 w 2931167"/>
                  <a:gd name="connsiteY106" fmla="*/ 157310 h 787241"/>
                  <a:gd name="connsiteX107" fmla="*/ 2535892 w 2931167"/>
                  <a:gd name="connsiteY107" fmla="*/ 179946 h 787241"/>
                  <a:gd name="connsiteX108" fmla="*/ 2500760 w 2931167"/>
                  <a:gd name="connsiteY108" fmla="*/ 203091 h 787241"/>
                  <a:gd name="connsiteX109" fmla="*/ 2463592 w 2931167"/>
                  <a:gd name="connsiteY109" fmla="*/ 226236 h 787241"/>
                  <a:gd name="connsiteX110" fmla="*/ 2424388 w 2931167"/>
                  <a:gd name="connsiteY110" fmla="*/ 250398 h 787241"/>
                  <a:gd name="connsiteX111" fmla="*/ 2393075 w 2931167"/>
                  <a:gd name="connsiteY111" fmla="*/ 268457 h 787241"/>
                  <a:gd name="connsiteX112" fmla="*/ 2360998 w 2931167"/>
                  <a:gd name="connsiteY112" fmla="*/ 286515 h 787241"/>
                  <a:gd name="connsiteX113" fmla="*/ 2327649 w 2931167"/>
                  <a:gd name="connsiteY113" fmla="*/ 304573 h 787241"/>
                  <a:gd name="connsiteX114" fmla="*/ 2294045 w 2931167"/>
                  <a:gd name="connsiteY114" fmla="*/ 322631 h 787241"/>
                  <a:gd name="connsiteX115" fmla="*/ 2300155 w 2931167"/>
                  <a:gd name="connsiteY115" fmla="*/ 297706 h 787241"/>
                  <a:gd name="connsiteX116" fmla="*/ 2305501 w 2931167"/>
                  <a:gd name="connsiteY116" fmla="*/ 273035 h 787241"/>
                  <a:gd name="connsiteX117" fmla="*/ 2310592 w 2931167"/>
                  <a:gd name="connsiteY117" fmla="*/ 248872 h 787241"/>
                  <a:gd name="connsiteX118" fmla="*/ 2315684 w 2931167"/>
                  <a:gd name="connsiteY118" fmla="*/ 224710 h 787241"/>
                  <a:gd name="connsiteX119" fmla="*/ 2319757 w 2931167"/>
                  <a:gd name="connsiteY119" fmla="*/ 200548 h 787241"/>
                  <a:gd name="connsiteX120" fmla="*/ 2323067 w 2931167"/>
                  <a:gd name="connsiteY120" fmla="*/ 176894 h 787241"/>
                  <a:gd name="connsiteX121" fmla="*/ 2326631 w 2931167"/>
                  <a:gd name="connsiteY121" fmla="*/ 154003 h 787241"/>
                  <a:gd name="connsiteX122" fmla="*/ 2329176 w 2931167"/>
                  <a:gd name="connsiteY122" fmla="*/ 130858 h 787241"/>
                  <a:gd name="connsiteX123" fmla="*/ 2331722 w 2931167"/>
                  <a:gd name="connsiteY123" fmla="*/ 108222 h 787241"/>
                  <a:gd name="connsiteX124" fmla="*/ 2333759 w 2931167"/>
                  <a:gd name="connsiteY124" fmla="*/ 85586 h 787241"/>
                  <a:gd name="connsiteX125" fmla="*/ 2335286 w 2931167"/>
                  <a:gd name="connsiteY125" fmla="*/ 63458 h 787241"/>
                  <a:gd name="connsiteX126" fmla="*/ 2336305 w 2931167"/>
                  <a:gd name="connsiteY126" fmla="*/ 41839 h 787241"/>
                  <a:gd name="connsiteX127" fmla="*/ 2337323 w 2931167"/>
                  <a:gd name="connsiteY127" fmla="*/ 20729 h 787241"/>
                  <a:gd name="connsiteX128" fmla="*/ 0 w 2931167"/>
                  <a:gd name="connsiteY128" fmla="*/ 0 h 787241"/>
                  <a:gd name="connsiteX129" fmla="*/ 2337300 w 2931167"/>
                  <a:gd name="connsiteY129" fmla="*/ 0 h 787241"/>
                  <a:gd name="connsiteX130" fmla="*/ 2337300 w 2931167"/>
                  <a:gd name="connsiteY130" fmla="*/ 20599 h 787241"/>
                  <a:gd name="connsiteX131" fmla="*/ 2336283 w 2931167"/>
                  <a:gd name="connsiteY131" fmla="*/ 41708 h 787241"/>
                  <a:gd name="connsiteX132" fmla="*/ 2335265 w 2931167"/>
                  <a:gd name="connsiteY132" fmla="*/ 63325 h 787241"/>
                  <a:gd name="connsiteX133" fmla="*/ 2333739 w 2931167"/>
                  <a:gd name="connsiteY133" fmla="*/ 85451 h 787241"/>
                  <a:gd name="connsiteX134" fmla="*/ 2331704 w 2931167"/>
                  <a:gd name="connsiteY134" fmla="*/ 108085 h 787241"/>
                  <a:gd name="connsiteX135" fmla="*/ 2329161 w 2931167"/>
                  <a:gd name="connsiteY135" fmla="*/ 130719 h 787241"/>
                  <a:gd name="connsiteX136" fmla="*/ 2326617 w 2931167"/>
                  <a:gd name="connsiteY136" fmla="*/ 153862 h 787241"/>
                  <a:gd name="connsiteX137" fmla="*/ 2323056 w 2931167"/>
                  <a:gd name="connsiteY137" fmla="*/ 176751 h 787241"/>
                  <a:gd name="connsiteX138" fmla="*/ 2319749 w 2931167"/>
                  <a:gd name="connsiteY138" fmla="*/ 200402 h 787241"/>
                  <a:gd name="connsiteX139" fmla="*/ 2315679 w 2931167"/>
                  <a:gd name="connsiteY139" fmla="*/ 224562 h 787241"/>
                  <a:gd name="connsiteX140" fmla="*/ 2310592 w 2931167"/>
                  <a:gd name="connsiteY140" fmla="*/ 248723 h 787241"/>
                  <a:gd name="connsiteX141" fmla="*/ 2305505 w 2931167"/>
                  <a:gd name="connsiteY141" fmla="*/ 272883 h 787241"/>
                  <a:gd name="connsiteX142" fmla="*/ 2300163 w 2931167"/>
                  <a:gd name="connsiteY142" fmla="*/ 297552 h 787241"/>
                  <a:gd name="connsiteX143" fmla="*/ 2294058 w 2931167"/>
                  <a:gd name="connsiteY143" fmla="*/ 322475 h 787241"/>
                  <a:gd name="connsiteX144" fmla="*/ 2256921 w 2931167"/>
                  <a:gd name="connsiteY144" fmla="*/ 341294 h 787241"/>
                  <a:gd name="connsiteX145" fmla="*/ 2219021 w 2931167"/>
                  <a:gd name="connsiteY145" fmla="*/ 359351 h 787241"/>
                  <a:gd name="connsiteX146" fmla="*/ 2180358 w 2931167"/>
                  <a:gd name="connsiteY146" fmla="*/ 377408 h 787241"/>
                  <a:gd name="connsiteX147" fmla="*/ 2141186 w 2931167"/>
                  <a:gd name="connsiteY147" fmla="*/ 394447 h 787241"/>
                  <a:gd name="connsiteX148" fmla="*/ 2100996 w 2931167"/>
                  <a:gd name="connsiteY148" fmla="*/ 410978 h 787241"/>
                  <a:gd name="connsiteX149" fmla="*/ 2059790 w 2931167"/>
                  <a:gd name="connsiteY149" fmla="*/ 426491 h 787241"/>
                  <a:gd name="connsiteX150" fmla="*/ 2018583 w 2931167"/>
                  <a:gd name="connsiteY150" fmla="*/ 441750 h 787241"/>
                  <a:gd name="connsiteX151" fmla="*/ 1976358 w 2931167"/>
                  <a:gd name="connsiteY151" fmla="*/ 455737 h 787241"/>
                  <a:gd name="connsiteX152" fmla="*/ 1933116 w 2931167"/>
                  <a:gd name="connsiteY152" fmla="*/ 468708 h 787241"/>
                  <a:gd name="connsiteX153" fmla="*/ 1911496 w 2931167"/>
                  <a:gd name="connsiteY153" fmla="*/ 474811 h 787241"/>
                  <a:gd name="connsiteX154" fmla="*/ 1889875 w 2931167"/>
                  <a:gd name="connsiteY154" fmla="*/ 480915 h 787241"/>
                  <a:gd name="connsiteX155" fmla="*/ 1868000 w 2931167"/>
                  <a:gd name="connsiteY155" fmla="*/ 486510 h 787241"/>
                  <a:gd name="connsiteX156" fmla="*/ 1846378 w 2931167"/>
                  <a:gd name="connsiteY156" fmla="*/ 491342 h 787241"/>
                  <a:gd name="connsiteX157" fmla="*/ 1824249 w 2931167"/>
                  <a:gd name="connsiteY157" fmla="*/ 496428 h 787241"/>
                  <a:gd name="connsiteX158" fmla="*/ 1802119 w 2931167"/>
                  <a:gd name="connsiteY158" fmla="*/ 501006 h 787241"/>
                  <a:gd name="connsiteX159" fmla="*/ 1779481 w 2931167"/>
                  <a:gd name="connsiteY159" fmla="*/ 505075 h 787241"/>
                  <a:gd name="connsiteX160" fmla="*/ 1757351 w 2931167"/>
                  <a:gd name="connsiteY160" fmla="*/ 508890 h 787241"/>
                  <a:gd name="connsiteX161" fmla="*/ 1734713 w 2931167"/>
                  <a:gd name="connsiteY161" fmla="*/ 512450 h 787241"/>
                  <a:gd name="connsiteX162" fmla="*/ 1712075 w 2931167"/>
                  <a:gd name="connsiteY162" fmla="*/ 515502 h 787241"/>
                  <a:gd name="connsiteX163" fmla="*/ 1689436 w 2931167"/>
                  <a:gd name="connsiteY163" fmla="*/ 518045 h 787241"/>
                  <a:gd name="connsiteX164" fmla="*/ 1666798 w 2931167"/>
                  <a:gd name="connsiteY164" fmla="*/ 520589 h 787241"/>
                  <a:gd name="connsiteX165" fmla="*/ 1643651 w 2931167"/>
                  <a:gd name="connsiteY165" fmla="*/ 522623 h 787241"/>
                  <a:gd name="connsiteX166" fmla="*/ 1621048 w 2931167"/>
                  <a:gd name="connsiteY166" fmla="*/ 524147 h 787241"/>
                  <a:gd name="connsiteX167" fmla="*/ 1621047 w 2931167"/>
                  <a:gd name="connsiteY167" fmla="*/ 524149 h 787241"/>
                  <a:gd name="connsiteX168" fmla="*/ 1589496 w 2931167"/>
                  <a:gd name="connsiteY168" fmla="*/ 525166 h 787241"/>
                  <a:gd name="connsiteX169" fmla="*/ 1558454 w 2931167"/>
                  <a:gd name="connsiteY169" fmla="*/ 525675 h 787241"/>
                  <a:gd name="connsiteX170" fmla="*/ 1517998 w 2931167"/>
                  <a:gd name="connsiteY170" fmla="*/ 525675 h 787241"/>
                  <a:gd name="connsiteX171" fmla="*/ 1478305 w 2931167"/>
                  <a:gd name="connsiteY171" fmla="*/ 524658 h 787241"/>
                  <a:gd name="connsiteX172" fmla="*/ 1439630 w 2931167"/>
                  <a:gd name="connsiteY172" fmla="*/ 522623 h 787241"/>
                  <a:gd name="connsiteX173" fmla="*/ 1400955 w 2931167"/>
                  <a:gd name="connsiteY173" fmla="*/ 520589 h 787241"/>
                  <a:gd name="connsiteX174" fmla="*/ 1400958 w 2931167"/>
                  <a:gd name="connsiteY174" fmla="*/ 520586 h 787241"/>
                  <a:gd name="connsiteX175" fmla="*/ 1356220 w 2931167"/>
                  <a:gd name="connsiteY175" fmla="*/ 517028 h 787241"/>
                  <a:gd name="connsiteX176" fmla="*/ 1311961 w 2931167"/>
                  <a:gd name="connsiteY176" fmla="*/ 512450 h 787241"/>
                  <a:gd name="connsiteX177" fmla="*/ 1268464 w 2931167"/>
                  <a:gd name="connsiteY177" fmla="*/ 507618 h 787241"/>
                  <a:gd name="connsiteX178" fmla="*/ 1225731 w 2931167"/>
                  <a:gd name="connsiteY178" fmla="*/ 501515 h 787241"/>
                  <a:gd name="connsiteX179" fmla="*/ 1182998 w 2931167"/>
                  <a:gd name="connsiteY179" fmla="*/ 494394 h 787241"/>
                  <a:gd name="connsiteX180" fmla="*/ 1140265 w 2931167"/>
                  <a:gd name="connsiteY180" fmla="*/ 486764 h 787241"/>
                  <a:gd name="connsiteX181" fmla="*/ 1097532 w 2931167"/>
                  <a:gd name="connsiteY181" fmla="*/ 478372 h 787241"/>
                  <a:gd name="connsiteX182" fmla="*/ 1054799 w 2931167"/>
                  <a:gd name="connsiteY182" fmla="*/ 469216 h 787241"/>
                  <a:gd name="connsiteX183" fmla="*/ 1038334 w 2931167"/>
                  <a:gd name="connsiteY183" fmla="*/ 465484 h 787241"/>
                  <a:gd name="connsiteX184" fmla="*/ 1036847 w 2931167"/>
                  <a:gd name="connsiteY184" fmla="*/ 467564 h 787241"/>
                  <a:gd name="connsiteX185" fmla="*/ 1020004 w 2931167"/>
                  <a:gd name="connsiteY185" fmla="*/ 490851 h 787241"/>
                  <a:gd name="connsiteX186" fmla="*/ 1011990 w 2931167"/>
                  <a:gd name="connsiteY186" fmla="*/ 502387 h 787241"/>
                  <a:gd name="connsiteX187" fmla="*/ 992055 w 2931167"/>
                  <a:gd name="connsiteY187" fmla="*/ 531397 h 787241"/>
                  <a:gd name="connsiteX188" fmla="*/ 977039 w 2931167"/>
                  <a:gd name="connsiteY188" fmla="*/ 554540 h 787241"/>
                  <a:gd name="connsiteX189" fmla="*/ 961260 w 2931167"/>
                  <a:gd name="connsiteY189" fmla="*/ 579209 h 787241"/>
                  <a:gd name="connsiteX190" fmla="*/ 945735 w 2931167"/>
                  <a:gd name="connsiteY190" fmla="*/ 604895 h 787241"/>
                  <a:gd name="connsiteX191" fmla="*/ 929701 w 2931167"/>
                  <a:gd name="connsiteY191" fmla="*/ 632107 h 787241"/>
                  <a:gd name="connsiteX192" fmla="*/ 914686 w 2931167"/>
                  <a:gd name="connsiteY192" fmla="*/ 659065 h 787241"/>
                  <a:gd name="connsiteX193" fmla="*/ 900434 w 2931167"/>
                  <a:gd name="connsiteY193" fmla="*/ 686786 h 787241"/>
                  <a:gd name="connsiteX194" fmla="*/ 894580 w 2931167"/>
                  <a:gd name="connsiteY194" fmla="*/ 700264 h 787241"/>
                  <a:gd name="connsiteX195" fmla="*/ 888472 w 2931167"/>
                  <a:gd name="connsiteY195" fmla="*/ 713489 h 787241"/>
                  <a:gd name="connsiteX196" fmla="*/ 882873 w 2931167"/>
                  <a:gd name="connsiteY196" fmla="*/ 726459 h 787241"/>
                  <a:gd name="connsiteX197" fmla="*/ 877783 w 2931167"/>
                  <a:gd name="connsiteY197" fmla="*/ 739429 h 787241"/>
                  <a:gd name="connsiteX198" fmla="*/ 873456 w 2931167"/>
                  <a:gd name="connsiteY198" fmla="*/ 752145 h 787241"/>
                  <a:gd name="connsiteX199" fmla="*/ 869384 w 2931167"/>
                  <a:gd name="connsiteY199" fmla="*/ 764098 h 787241"/>
                  <a:gd name="connsiteX200" fmla="*/ 866330 w 2931167"/>
                  <a:gd name="connsiteY200" fmla="*/ 776305 h 787241"/>
                  <a:gd name="connsiteX201" fmla="*/ 864294 w 2931167"/>
                  <a:gd name="connsiteY201" fmla="*/ 787241 h 787241"/>
                  <a:gd name="connsiteX202" fmla="*/ 0 w 2931167"/>
                  <a:gd name="connsiteY202" fmla="*/ 604387 h 787241"/>
                  <a:gd name="connsiteX203" fmla="*/ 0 w 2931167"/>
                  <a:gd name="connsiteY203" fmla="*/ 546148 h 787241"/>
                  <a:gd name="connsiteX204" fmla="*/ 27741 w 2931167"/>
                  <a:gd name="connsiteY204" fmla="*/ 548691 h 787241"/>
                  <a:gd name="connsiteX205" fmla="*/ 58790 w 2931167"/>
                  <a:gd name="connsiteY205" fmla="*/ 551488 h 787241"/>
                  <a:gd name="connsiteX206" fmla="*/ 100020 w 2931167"/>
                  <a:gd name="connsiteY206" fmla="*/ 554032 h 787241"/>
                  <a:gd name="connsiteX207" fmla="*/ 123689 w 2931167"/>
                  <a:gd name="connsiteY207" fmla="*/ 555558 h 787241"/>
                  <a:gd name="connsiteX208" fmla="*/ 148885 w 2931167"/>
                  <a:gd name="connsiteY208" fmla="*/ 556575 h 787241"/>
                  <a:gd name="connsiteX209" fmla="*/ 175862 w 2931167"/>
                  <a:gd name="connsiteY209" fmla="*/ 557083 h 787241"/>
                  <a:gd name="connsiteX210" fmla="*/ 204112 w 2931167"/>
                  <a:gd name="connsiteY210" fmla="*/ 557592 h 787241"/>
                  <a:gd name="connsiteX211" fmla="*/ 233380 w 2931167"/>
                  <a:gd name="connsiteY211" fmla="*/ 557592 h 787241"/>
                  <a:gd name="connsiteX212" fmla="*/ 263411 w 2931167"/>
                  <a:gd name="connsiteY212" fmla="*/ 557083 h 787241"/>
                  <a:gd name="connsiteX213" fmla="*/ 294715 w 2931167"/>
                  <a:gd name="connsiteY213" fmla="*/ 555558 h 787241"/>
                  <a:gd name="connsiteX214" fmla="*/ 325765 w 2931167"/>
                  <a:gd name="connsiteY214" fmla="*/ 553523 h 787241"/>
                  <a:gd name="connsiteX215" fmla="*/ 357068 w 2931167"/>
                  <a:gd name="connsiteY215" fmla="*/ 550980 h 787241"/>
                  <a:gd name="connsiteX216" fmla="*/ 388627 w 2931167"/>
                  <a:gd name="connsiteY216" fmla="*/ 547674 h 787241"/>
                  <a:gd name="connsiteX217" fmla="*/ 419931 w 2931167"/>
                  <a:gd name="connsiteY217" fmla="*/ 543605 h 787241"/>
                  <a:gd name="connsiteX218" fmla="*/ 450471 w 2931167"/>
                  <a:gd name="connsiteY218" fmla="*/ 538010 h 787241"/>
                  <a:gd name="connsiteX219" fmla="*/ 465996 w 2931167"/>
                  <a:gd name="connsiteY219" fmla="*/ 534958 h 787241"/>
                  <a:gd name="connsiteX220" fmla="*/ 481266 w 2931167"/>
                  <a:gd name="connsiteY220" fmla="*/ 531397 h 787241"/>
                  <a:gd name="connsiteX221" fmla="*/ 495773 w 2931167"/>
                  <a:gd name="connsiteY221" fmla="*/ 528091 h 787241"/>
                  <a:gd name="connsiteX222" fmla="*/ 510280 w 2931167"/>
                  <a:gd name="connsiteY222" fmla="*/ 524022 h 787241"/>
                  <a:gd name="connsiteX223" fmla="*/ 524532 w 2931167"/>
                  <a:gd name="connsiteY223" fmla="*/ 519953 h 787241"/>
                  <a:gd name="connsiteX224" fmla="*/ 538530 w 2931167"/>
                  <a:gd name="connsiteY224" fmla="*/ 515375 h 787241"/>
                  <a:gd name="connsiteX225" fmla="*/ 552018 w 2931167"/>
                  <a:gd name="connsiteY225" fmla="*/ 510289 h 787241"/>
                  <a:gd name="connsiteX226" fmla="*/ 565761 w 2931167"/>
                  <a:gd name="connsiteY226" fmla="*/ 505457 h 787241"/>
                  <a:gd name="connsiteX227" fmla="*/ 578232 w 2931167"/>
                  <a:gd name="connsiteY227" fmla="*/ 499862 h 787241"/>
                  <a:gd name="connsiteX228" fmla="*/ 590703 w 2931167"/>
                  <a:gd name="connsiteY228" fmla="*/ 493758 h 787241"/>
                  <a:gd name="connsiteX229" fmla="*/ 602919 w 2931167"/>
                  <a:gd name="connsiteY229" fmla="*/ 487655 h 787241"/>
                  <a:gd name="connsiteX230" fmla="*/ 614372 w 2931167"/>
                  <a:gd name="connsiteY230" fmla="*/ 481297 h 787241"/>
                  <a:gd name="connsiteX231" fmla="*/ 625570 w 2931167"/>
                  <a:gd name="connsiteY231" fmla="*/ 474176 h 787241"/>
                  <a:gd name="connsiteX232" fmla="*/ 636004 w 2931167"/>
                  <a:gd name="connsiteY232" fmla="*/ 466546 h 787241"/>
                  <a:gd name="connsiteX233" fmla="*/ 646184 w 2931167"/>
                  <a:gd name="connsiteY233" fmla="*/ 459171 h 787241"/>
                  <a:gd name="connsiteX234" fmla="*/ 655601 w 2931167"/>
                  <a:gd name="connsiteY234" fmla="*/ 450524 h 787241"/>
                  <a:gd name="connsiteX235" fmla="*/ 664763 w 2931167"/>
                  <a:gd name="connsiteY235" fmla="*/ 442132 h 787241"/>
                  <a:gd name="connsiteX236" fmla="*/ 672653 w 2931167"/>
                  <a:gd name="connsiteY236" fmla="*/ 432976 h 787241"/>
                  <a:gd name="connsiteX237" fmla="*/ 680288 w 2931167"/>
                  <a:gd name="connsiteY237" fmla="*/ 424075 h 787241"/>
                  <a:gd name="connsiteX238" fmla="*/ 687414 w 2931167"/>
                  <a:gd name="connsiteY238" fmla="*/ 413902 h 787241"/>
                  <a:gd name="connsiteX239" fmla="*/ 692602 w 2931167"/>
                  <a:gd name="connsiteY239" fmla="*/ 405401 h 787241"/>
                  <a:gd name="connsiteX240" fmla="*/ 692081 w 2931167"/>
                  <a:gd name="connsiteY240" fmla="*/ 405176 h 787241"/>
                  <a:gd name="connsiteX241" fmla="*/ 696664 w 2931167"/>
                  <a:gd name="connsiteY241" fmla="*/ 397296 h 787241"/>
                  <a:gd name="connsiteX242" fmla="*/ 700738 w 2931167"/>
                  <a:gd name="connsiteY242" fmla="*/ 388146 h 787241"/>
                  <a:gd name="connsiteX243" fmla="*/ 704295 w 2931167"/>
                  <a:gd name="connsiteY243" fmla="*/ 380379 h 787241"/>
                  <a:gd name="connsiteX244" fmla="*/ 704871 w 2931167"/>
                  <a:gd name="connsiteY244" fmla="*/ 378725 h 787241"/>
                  <a:gd name="connsiteX245" fmla="*/ 676306 w 2931167"/>
                  <a:gd name="connsiteY245" fmla="*/ 370795 h 787241"/>
                  <a:gd name="connsiteX246" fmla="*/ 676306 w 2931167"/>
                  <a:gd name="connsiteY246" fmla="*/ 370657 h 787241"/>
                  <a:gd name="connsiteX247" fmla="*/ 675543 w 2931167"/>
                  <a:gd name="connsiteY247" fmla="*/ 370466 h 787241"/>
                  <a:gd name="connsiteX248" fmla="*/ 673508 w 2931167"/>
                  <a:gd name="connsiteY248" fmla="*/ 369448 h 787241"/>
                  <a:gd name="connsiteX249" fmla="*/ 671472 w 2931167"/>
                  <a:gd name="connsiteY249" fmla="*/ 366904 h 787241"/>
                  <a:gd name="connsiteX250" fmla="*/ 669691 w 2931167"/>
                  <a:gd name="connsiteY250" fmla="*/ 363342 h 787241"/>
                  <a:gd name="connsiteX251" fmla="*/ 668164 w 2931167"/>
                  <a:gd name="connsiteY251" fmla="*/ 359525 h 787241"/>
                  <a:gd name="connsiteX252" fmla="*/ 666638 w 2931167"/>
                  <a:gd name="connsiteY252" fmla="*/ 354436 h 787241"/>
                  <a:gd name="connsiteX253" fmla="*/ 663584 w 2931167"/>
                  <a:gd name="connsiteY253" fmla="*/ 341969 h 787241"/>
                  <a:gd name="connsiteX254" fmla="*/ 661040 w 2931167"/>
                  <a:gd name="connsiteY254" fmla="*/ 326193 h 787241"/>
                  <a:gd name="connsiteX255" fmla="*/ 659004 w 2931167"/>
                  <a:gd name="connsiteY255" fmla="*/ 307110 h 787241"/>
                  <a:gd name="connsiteX256" fmla="*/ 657478 w 2931167"/>
                  <a:gd name="connsiteY256" fmla="*/ 285992 h 787241"/>
                  <a:gd name="connsiteX257" fmla="*/ 655951 w 2931167"/>
                  <a:gd name="connsiteY257" fmla="*/ 261311 h 787241"/>
                  <a:gd name="connsiteX258" fmla="*/ 654933 w 2931167"/>
                  <a:gd name="connsiteY258" fmla="*/ 235358 h 787241"/>
                  <a:gd name="connsiteX259" fmla="*/ 653916 w 2931167"/>
                  <a:gd name="connsiteY259" fmla="*/ 206097 h 787241"/>
                  <a:gd name="connsiteX260" fmla="*/ 653126 w 2931167"/>
                  <a:gd name="connsiteY260" fmla="*/ 156900 h 787241"/>
                  <a:gd name="connsiteX261" fmla="*/ 370977 w 2931167"/>
                  <a:gd name="connsiteY261" fmla="*/ 208132 h 787241"/>
                  <a:gd name="connsiteX262" fmla="*/ 370977 w 2931167"/>
                  <a:gd name="connsiteY262" fmla="*/ 29514 h 787241"/>
                  <a:gd name="connsiteX263" fmla="*/ 370976 w 2931167"/>
                  <a:gd name="connsiteY263" fmla="*/ 29514 h 787241"/>
                  <a:gd name="connsiteX264" fmla="*/ 370976 w 2931167"/>
                  <a:gd name="connsiteY264" fmla="*/ 257234 h 787241"/>
                  <a:gd name="connsiteX265" fmla="*/ 263602 w 2931167"/>
                  <a:gd name="connsiteY265" fmla="*/ 263601 h 787241"/>
                  <a:gd name="connsiteX266" fmla="*/ 263602 w 2931167"/>
                  <a:gd name="connsiteY266" fmla="*/ 29514 h 787241"/>
                  <a:gd name="connsiteX267" fmla="*/ 0 w 2931167"/>
                  <a:gd name="connsiteY267" fmla="*/ 29514 h 787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Lst>
                <a:rect l="l" t="t" r="r" b="b"/>
                <a:pathLst>
                  <a:path w="2931167" h="787241">
                    <a:moveTo>
                      <a:pt x="1445129" y="468602"/>
                    </a:moveTo>
                    <a:lnTo>
                      <a:pt x="1442195" y="472777"/>
                    </a:lnTo>
                    <a:lnTo>
                      <a:pt x="1435581" y="481932"/>
                    </a:lnTo>
                    <a:lnTo>
                      <a:pt x="1428714" y="490833"/>
                    </a:lnTo>
                    <a:lnTo>
                      <a:pt x="1422100" y="498972"/>
                    </a:lnTo>
                    <a:lnTo>
                      <a:pt x="1414978" y="506601"/>
                    </a:lnTo>
                    <a:lnTo>
                      <a:pt x="1408785" y="513251"/>
                    </a:lnTo>
                    <a:lnTo>
                      <a:pt x="1409097" y="512959"/>
                    </a:lnTo>
                    <a:lnTo>
                      <a:pt x="1416476" y="505584"/>
                    </a:lnTo>
                    <a:lnTo>
                      <a:pt x="1424109" y="496937"/>
                    </a:lnTo>
                    <a:lnTo>
                      <a:pt x="1431234" y="487782"/>
                    </a:lnTo>
                    <a:lnTo>
                      <a:pt x="1438612" y="478372"/>
                    </a:lnTo>
                    <a:close/>
                    <a:moveTo>
                      <a:pt x="1458759" y="446379"/>
                    </a:moveTo>
                    <a:lnTo>
                      <a:pt x="1454913" y="452686"/>
                    </a:lnTo>
                    <a:lnTo>
                      <a:pt x="1450629" y="460181"/>
                    </a:lnTo>
                    <a:lnTo>
                      <a:pt x="1452861" y="456755"/>
                    </a:lnTo>
                    <a:close/>
                    <a:moveTo>
                      <a:pt x="1472551" y="420938"/>
                    </a:moveTo>
                    <a:lnTo>
                      <a:pt x="1472186" y="421654"/>
                    </a:lnTo>
                    <a:lnTo>
                      <a:pt x="1472453" y="421150"/>
                    </a:lnTo>
                    <a:close/>
                    <a:moveTo>
                      <a:pt x="1669574" y="394616"/>
                    </a:moveTo>
                    <a:lnTo>
                      <a:pt x="1668111" y="399157"/>
                    </a:lnTo>
                    <a:lnTo>
                      <a:pt x="1668833" y="396990"/>
                    </a:lnTo>
                    <a:close/>
                    <a:moveTo>
                      <a:pt x="1494018" y="371288"/>
                    </a:moveTo>
                    <a:lnTo>
                      <a:pt x="1490015" y="381477"/>
                    </a:lnTo>
                    <a:lnTo>
                      <a:pt x="1484419" y="394447"/>
                    </a:lnTo>
                    <a:lnTo>
                      <a:pt x="1478823" y="406908"/>
                    </a:lnTo>
                    <a:lnTo>
                      <a:pt x="1474960" y="415738"/>
                    </a:lnTo>
                    <a:lnTo>
                      <a:pt x="1478814" y="407417"/>
                    </a:lnTo>
                    <a:lnTo>
                      <a:pt x="1484921" y="393938"/>
                    </a:lnTo>
                    <a:lnTo>
                      <a:pt x="1491027" y="379442"/>
                    </a:lnTo>
                    <a:close/>
                    <a:moveTo>
                      <a:pt x="1698631" y="289018"/>
                    </a:moveTo>
                    <a:lnTo>
                      <a:pt x="1691527" y="317643"/>
                    </a:lnTo>
                    <a:lnTo>
                      <a:pt x="1682876" y="349687"/>
                    </a:lnTo>
                    <a:lnTo>
                      <a:pt x="1675427" y="375853"/>
                    </a:lnTo>
                    <a:lnTo>
                      <a:pt x="1677481" y="369269"/>
                    </a:lnTo>
                    <a:lnTo>
                      <a:pt x="1685366" y="341294"/>
                    </a:lnTo>
                    <a:lnTo>
                      <a:pt x="1692997" y="312556"/>
                    </a:lnTo>
                    <a:close/>
                    <a:moveTo>
                      <a:pt x="1700798" y="279319"/>
                    </a:moveTo>
                    <a:lnTo>
                      <a:pt x="1699887" y="283772"/>
                    </a:lnTo>
                    <a:lnTo>
                      <a:pt x="1700119" y="282801"/>
                    </a:lnTo>
                    <a:close/>
                    <a:moveTo>
                      <a:pt x="1525851" y="261707"/>
                    </a:moveTo>
                    <a:lnTo>
                      <a:pt x="1522574" y="275426"/>
                    </a:lnTo>
                    <a:lnTo>
                      <a:pt x="1518504" y="291957"/>
                    </a:lnTo>
                    <a:lnTo>
                      <a:pt x="1514688" y="307979"/>
                    </a:lnTo>
                    <a:lnTo>
                      <a:pt x="1510110" y="323492"/>
                    </a:lnTo>
                    <a:lnTo>
                      <a:pt x="1506125" y="336771"/>
                    </a:lnTo>
                    <a:lnTo>
                      <a:pt x="1507566" y="332647"/>
                    </a:lnTo>
                    <a:lnTo>
                      <a:pt x="1512655" y="316117"/>
                    </a:lnTo>
                    <a:lnTo>
                      <a:pt x="1517235" y="299077"/>
                    </a:lnTo>
                    <a:lnTo>
                      <a:pt x="1521560" y="281275"/>
                    </a:lnTo>
                    <a:lnTo>
                      <a:pt x="1525631" y="262710"/>
                    </a:lnTo>
                    <a:close/>
                    <a:moveTo>
                      <a:pt x="1536909" y="203869"/>
                    </a:moveTo>
                    <a:lnTo>
                      <a:pt x="1536818" y="204471"/>
                    </a:lnTo>
                    <a:lnTo>
                      <a:pt x="1533766" y="223037"/>
                    </a:lnTo>
                    <a:lnTo>
                      <a:pt x="1530205" y="241093"/>
                    </a:lnTo>
                    <a:lnTo>
                      <a:pt x="1527646" y="253523"/>
                    </a:lnTo>
                    <a:lnTo>
                      <a:pt x="1529702" y="244145"/>
                    </a:lnTo>
                    <a:lnTo>
                      <a:pt x="1533774" y="224562"/>
                    </a:lnTo>
                    <a:lnTo>
                      <a:pt x="1536827" y="204471"/>
                    </a:lnTo>
                    <a:close/>
                    <a:moveTo>
                      <a:pt x="1722073" y="156535"/>
                    </a:moveTo>
                    <a:lnTo>
                      <a:pt x="1721033" y="164622"/>
                    </a:lnTo>
                    <a:lnTo>
                      <a:pt x="1721740" y="159711"/>
                    </a:lnTo>
                    <a:close/>
                    <a:moveTo>
                      <a:pt x="1550299" y="62816"/>
                    </a:moveTo>
                    <a:lnTo>
                      <a:pt x="1549282" y="84433"/>
                    </a:lnTo>
                    <a:lnTo>
                      <a:pt x="1547756" y="105542"/>
                    </a:lnTo>
                    <a:lnTo>
                      <a:pt x="1546230" y="126141"/>
                    </a:lnTo>
                    <a:lnTo>
                      <a:pt x="1544195" y="146741"/>
                    </a:lnTo>
                    <a:lnTo>
                      <a:pt x="1542160" y="166324"/>
                    </a:lnTo>
                    <a:lnTo>
                      <a:pt x="1542125" y="166594"/>
                    </a:lnTo>
                    <a:lnTo>
                      <a:pt x="1542679" y="162763"/>
                    </a:lnTo>
                    <a:lnTo>
                      <a:pt x="1545223" y="141146"/>
                    </a:lnTo>
                    <a:lnTo>
                      <a:pt x="1547259" y="119020"/>
                    </a:lnTo>
                    <a:lnTo>
                      <a:pt x="1548786" y="96386"/>
                    </a:lnTo>
                    <a:lnTo>
                      <a:pt x="1550312" y="72988"/>
                    </a:lnTo>
                    <a:lnTo>
                      <a:pt x="1550750" y="62816"/>
                    </a:lnTo>
                    <a:close/>
                    <a:moveTo>
                      <a:pt x="2337323" y="0"/>
                    </a:moveTo>
                    <a:lnTo>
                      <a:pt x="2931167" y="0"/>
                    </a:lnTo>
                    <a:lnTo>
                      <a:pt x="2931167" y="510"/>
                    </a:lnTo>
                    <a:lnTo>
                      <a:pt x="2931167" y="3538"/>
                    </a:lnTo>
                    <a:lnTo>
                      <a:pt x="2930656" y="6565"/>
                    </a:lnTo>
                    <a:lnTo>
                      <a:pt x="2929123" y="11863"/>
                    </a:lnTo>
                    <a:lnTo>
                      <a:pt x="2926057" y="16909"/>
                    </a:lnTo>
                    <a:lnTo>
                      <a:pt x="2922479" y="21450"/>
                    </a:lnTo>
                    <a:lnTo>
                      <a:pt x="2918135" y="24982"/>
                    </a:lnTo>
                    <a:lnTo>
                      <a:pt x="2913025" y="28009"/>
                    </a:lnTo>
                    <a:lnTo>
                      <a:pt x="2907403" y="29523"/>
                    </a:lnTo>
                    <a:lnTo>
                      <a:pt x="2904337" y="30027"/>
                    </a:lnTo>
                    <a:lnTo>
                      <a:pt x="2901271" y="30532"/>
                    </a:lnTo>
                    <a:lnTo>
                      <a:pt x="2898460" y="30027"/>
                    </a:lnTo>
                    <a:lnTo>
                      <a:pt x="2895394" y="29523"/>
                    </a:lnTo>
                    <a:lnTo>
                      <a:pt x="2889261" y="28009"/>
                    </a:lnTo>
                    <a:lnTo>
                      <a:pt x="2884151" y="24982"/>
                    </a:lnTo>
                    <a:lnTo>
                      <a:pt x="2880062" y="21450"/>
                    </a:lnTo>
                    <a:lnTo>
                      <a:pt x="2876229" y="16909"/>
                    </a:lnTo>
                    <a:lnTo>
                      <a:pt x="2873674" y="11863"/>
                    </a:lnTo>
                    <a:lnTo>
                      <a:pt x="2871630" y="6565"/>
                    </a:lnTo>
                    <a:lnTo>
                      <a:pt x="2871381" y="5088"/>
                    </a:lnTo>
                    <a:lnTo>
                      <a:pt x="2771049" y="5088"/>
                    </a:lnTo>
                    <a:lnTo>
                      <a:pt x="2770356" y="5723"/>
                    </a:lnTo>
                    <a:lnTo>
                      <a:pt x="2751772" y="21238"/>
                    </a:lnTo>
                    <a:lnTo>
                      <a:pt x="2721478" y="45909"/>
                    </a:lnTo>
                    <a:lnTo>
                      <a:pt x="2702384" y="60915"/>
                    </a:lnTo>
                    <a:lnTo>
                      <a:pt x="2680746" y="77447"/>
                    </a:lnTo>
                    <a:lnTo>
                      <a:pt x="2656052" y="95505"/>
                    </a:lnTo>
                    <a:lnTo>
                      <a:pt x="2629576" y="115089"/>
                    </a:lnTo>
                    <a:lnTo>
                      <a:pt x="2600809" y="135691"/>
                    </a:lnTo>
                    <a:lnTo>
                      <a:pt x="2569750" y="157310"/>
                    </a:lnTo>
                    <a:lnTo>
                      <a:pt x="2535892" y="179946"/>
                    </a:lnTo>
                    <a:lnTo>
                      <a:pt x="2500760" y="203091"/>
                    </a:lnTo>
                    <a:lnTo>
                      <a:pt x="2463592" y="226236"/>
                    </a:lnTo>
                    <a:lnTo>
                      <a:pt x="2424388" y="250398"/>
                    </a:lnTo>
                    <a:lnTo>
                      <a:pt x="2393075" y="268457"/>
                    </a:lnTo>
                    <a:lnTo>
                      <a:pt x="2360998" y="286515"/>
                    </a:lnTo>
                    <a:lnTo>
                      <a:pt x="2327649" y="304573"/>
                    </a:lnTo>
                    <a:lnTo>
                      <a:pt x="2294045" y="322631"/>
                    </a:lnTo>
                    <a:lnTo>
                      <a:pt x="2300155" y="297706"/>
                    </a:lnTo>
                    <a:lnTo>
                      <a:pt x="2305501" y="273035"/>
                    </a:lnTo>
                    <a:lnTo>
                      <a:pt x="2310592" y="248872"/>
                    </a:lnTo>
                    <a:lnTo>
                      <a:pt x="2315684" y="224710"/>
                    </a:lnTo>
                    <a:lnTo>
                      <a:pt x="2319757" y="200548"/>
                    </a:lnTo>
                    <a:lnTo>
                      <a:pt x="2323067" y="176894"/>
                    </a:lnTo>
                    <a:lnTo>
                      <a:pt x="2326631" y="154003"/>
                    </a:lnTo>
                    <a:lnTo>
                      <a:pt x="2329176" y="130858"/>
                    </a:lnTo>
                    <a:lnTo>
                      <a:pt x="2331722" y="108222"/>
                    </a:lnTo>
                    <a:lnTo>
                      <a:pt x="2333759" y="85586"/>
                    </a:lnTo>
                    <a:lnTo>
                      <a:pt x="2335286" y="63458"/>
                    </a:lnTo>
                    <a:lnTo>
                      <a:pt x="2336305" y="41839"/>
                    </a:lnTo>
                    <a:lnTo>
                      <a:pt x="2337323" y="20729"/>
                    </a:lnTo>
                    <a:close/>
                    <a:moveTo>
                      <a:pt x="0" y="0"/>
                    </a:moveTo>
                    <a:lnTo>
                      <a:pt x="2337300" y="0"/>
                    </a:lnTo>
                    <a:lnTo>
                      <a:pt x="2337300" y="20599"/>
                    </a:lnTo>
                    <a:lnTo>
                      <a:pt x="2336283" y="41708"/>
                    </a:lnTo>
                    <a:lnTo>
                      <a:pt x="2335265" y="63325"/>
                    </a:lnTo>
                    <a:lnTo>
                      <a:pt x="2333739" y="85451"/>
                    </a:lnTo>
                    <a:lnTo>
                      <a:pt x="2331704" y="108085"/>
                    </a:lnTo>
                    <a:lnTo>
                      <a:pt x="2329161" y="130719"/>
                    </a:lnTo>
                    <a:lnTo>
                      <a:pt x="2326617" y="153862"/>
                    </a:lnTo>
                    <a:lnTo>
                      <a:pt x="2323056" y="176751"/>
                    </a:lnTo>
                    <a:lnTo>
                      <a:pt x="2319749" y="200402"/>
                    </a:lnTo>
                    <a:lnTo>
                      <a:pt x="2315679" y="224562"/>
                    </a:lnTo>
                    <a:lnTo>
                      <a:pt x="2310592" y="248723"/>
                    </a:lnTo>
                    <a:lnTo>
                      <a:pt x="2305505" y="272883"/>
                    </a:lnTo>
                    <a:lnTo>
                      <a:pt x="2300163" y="297552"/>
                    </a:lnTo>
                    <a:lnTo>
                      <a:pt x="2294058" y="322475"/>
                    </a:lnTo>
                    <a:lnTo>
                      <a:pt x="2256921" y="341294"/>
                    </a:lnTo>
                    <a:lnTo>
                      <a:pt x="2219021" y="359351"/>
                    </a:lnTo>
                    <a:lnTo>
                      <a:pt x="2180358" y="377408"/>
                    </a:lnTo>
                    <a:lnTo>
                      <a:pt x="2141186" y="394447"/>
                    </a:lnTo>
                    <a:lnTo>
                      <a:pt x="2100996" y="410978"/>
                    </a:lnTo>
                    <a:lnTo>
                      <a:pt x="2059790" y="426491"/>
                    </a:lnTo>
                    <a:lnTo>
                      <a:pt x="2018583" y="441750"/>
                    </a:lnTo>
                    <a:lnTo>
                      <a:pt x="1976358" y="455737"/>
                    </a:lnTo>
                    <a:lnTo>
                      <a:pt x="1933116" y="468708"/>
                    </a:lnTo>
                    <a:lnTo>
                      <a:pt x="1911496" y="474811"/>
                    </a:lnTo>
                    <a:lnTo>
                      <a:pt x="1889875" y="480915"/>
                    </a:lnTo>
                    <a:lnTo>
                      <a:pt x="1868000" y="486510"/>
                    </a:lnTo>
                    <a:lnTo>
                      <a:pt x="1846378" y="491342"/>
                    </a:lnTo>
                    <a:lnTo>
                      <a:pt x="1824249" y="496428"/>
                    </a:lnTo>
                    <a:lnTo>
                      <a:pt x="1802119" y="501006"/>
                    </a:lnTo>
                    <a:lnTo>
                      <a:pt x="1779481" y="505075"/>
                    </a:lnTo>
                    <a:lnTo>
                      <a:pt x="1757351" y="508890"/>
                    </a:lnTo>
                    <a:lnTo>
                      <a:pt x="1734713" y="512450"/>
                    </a:lnTo>
                    <a:lnTo>
                      <a:pt x="1712075" y="515502"/>
                    </a:lnTo>
                    <a:lnTo>
                      <a:pt x="1689436" y="518045"/>
                    </a:lnTo>
                    <a:lnTo>
                      <a:pt x="1666798" y="520589"/>
                    </a:lnTo>
                    <a:lnTo>
                      <a:pt x="1643651" y="522623"/>
                    </a:lnTo>
                    <a:lnTo>
                      <a:pt x="1621048" y="524147"/>
                    </a:lnTo>
                    <a:lnTo>
                      <a:pt x="1621047" y="524149"/>
                    </a:lnTo>
                    <a:lnTo>
                      <a:pt x="1589496" y="525166"/>
                    </a:lnTo>
                    <a:lnTo>
                      <a:pt x="1558454" y="525675"/>
                    </a:lnTo>
                    <a:lnTo>
                      <a:pt x="1517998" y="525675"/>
                    </a:lnTo>
                    <a:lnTo>
                      <a:pt x="1478305" y="524658"/>
                    </a:lnTo>
                    <a:lnTo>
                      <a:pt x="1439630" y="522623"/>
                    </a:lnTo>
                    <a:lnTo>
                      <a:pt x="1400955" y="520589"/>
                    </a:lnTo>
                    <a:lnTo>
                      <a:pt x="1400958" y="520586"/>
                    </a:lnTo>
                    <a:lnTo>
                      <a:pt x="1356220" y="517028"/>
                    </a:lnTo>
                    <a:lnTo>
                      <a:pt x="1311961" y="512450"/>
                    </a:lnTo>
                    <a:lnTo>
                      <a:pt x="1268464" y="507618"/>
                    </a:lnTo>
                    <a:lnTo>
                      <a:pt x="1225731" y="501515"/>
                    </a:lnTo>
                    <a:lnTo>
                      <a:pt x="1182998" y="494394"/>
                    </a:lnTo>
                    <a:lnTo>
                      <a:pt x="1140265" y="486764"/>
                    </a:lnTo>
                    <a:lnTo>
                      <a:pt x="1097532" y="478372"/>
                    </a:lnTo>
                    <a:lnTo>
                      <a:pt x="1054799" y="469216"/>
                    </a:lnTo>
                    <a:lnTo>
                      <a:pt x="1038334" y="465484"/>
                    </a:lnTo>
                    <a:lnTo>
                      <a:pt x="1036847" y="467564"/>
                    </a:lnTo>
                    <a:lnTo>
                      <a:pt x="1020004" y="490851"/>
                    </a:lnTo>
                    <a:lnTo>
                      <a:pt x="1011990" y="502387"/>
                    </a:lnTo>
                    <a:lnTo>
                      <a:pt x="992055" y="531397"/>
                    </a:lnTo>
                    <a:lnTo>
                      <a:pt x="977039" y="554540"/>
                    </a:lnTo>
                    <a:lnTo>
                      <a:pt x="961260" y="579209"/>
                    </a:lnTo>
                    <a:lnTo>
                      <a:pt x="945735" y="604895"/>
                    </a:lnTo>
                    <a:lnTo>
                      <a:pt x="929701" y="632107"/>
                    </a:lnTo>
                    <a:lnTo>
                      <a:pt x="914686" y="659065"/>
                    </a:lnTo>
                    <a:lnTo>
                      <a:pt x="900434" y="686786"/>
                    </a:lnTo>
                    <a:lnTo>
                      <a:pt x="894580" y="700264"/>
                    </a:lnTo>
                    <a:lnTo>
                      <a:pt x="888472" y="713489"/>
                    </a:lnTo>
                    <a:lnTo>
                      <a:pt x="882873" y="726459"/>
                    </a:lnTo>
                    <a:lnTo>
                      <a:pt x="877783" y="739429"/>
                    </a:lnTo>
                    <a:lnTo>
                      <a:pt x="873456" y="752145"/>
                    </a:lnTo>
                    <a:lnTo>
                      <a:pt x="869384" y="764098"/>
                    </a:lnTo>
                    <a:lnTo>
                      <a:pt x="866330" y="776305"/>
                    </a:lnTo>
                    <a:lnTo>
                      <a:pt x="864294" y="787241"/>
                    </a:lnTo>
                    <a:lnTo>
                      <a:pt x="0" y="604387"/>
                    </a:lnTo>
                    <a:lnTo>
                      <a:pt x="0" y="546148"/>
                    </a:lnTo>
                    <a:lnTo>
                      <a:pt x="27741" y="548691"/>
                    </a:lnTo>
                    <a:lnTo>
                      <a:pt x="58790" y="551488"/>
                    </a:lnTo>
                    <a:lnTo>
                      <a:pt x="100020" y="554032"/>
                    </a:lnTo>
                    <a:lnTo>
                      <a:pt x="123689" y="555558"/>
                    </a:lnTo>
                    <a:lnTo>
                      <a:pt x="148885" y="556575"/>
                    </a:lnTo>
                    <a:lnTo>
                      <a:pt x="175862" y="557083"/>
                    </a:lnTo>
                    <a:lnTo>
                      <a:pt x="204112" y="557592"/>
                    </a:lnTo>
                    <a:lnTo>
                      <a:pt x="233380" y="557592"/>
                    </a:lnTo>
                    <a:lnTo>
                      <a:pt x="263411" y="557083"/>
                    </a:lnTo>
                    <a:lnTo>
                      <a:pt x="294715" y="555558"/>
                    </a:lnTo>
                    <a:lnTo>
                      <a:pt x="325765" y="553523"/>
                    </a:lnTo>
                    <a:lnTo>
                      <a:pt x="357068" y="550980"/>
                    </a:lnTo>
                    <a:lnTo>
                      <a:pt x="388627" y="547674"/>
                    </a:lnTo>
                    <a:lnTo>
                      <a:pt x="419931" y="543605"/>
                    </a:lnTo>
                    <a:lnTo>
                      <a:pt x="450471" y="538010"/>
                    </a:lnTo>
                    <a:lnTo>
                      <a:pt x="465996" y="534958"/>
                    </a:lnTo>
                    <a:lnTo>
                      <a:pt x="481266" y="531397"/>
                    </a:lnTo>
                    <a:lnTo>
                      <a:pt x="495773" y="528091"/>
                    </a:lnTo>
                    <a:lnTo>
                      <a:pt x="510280" y="524022"/>
                    </a:lnTo>
                    <a:lnTo>
                      <a:pt x="524532" y="519953"/>
                    </a:lnTo>
                    <a:lnTo>
                      <a:pt x="538530" y="515375"/>
                    </a:lnTo>
                    <a:lnTo>
                      <a:pt x="552018" y="510289"/>
                    </a:lnTo>
                    <a:lnTo>
                      <a:pt x="565761" y="505457"/>
                    </a:lnTo>
                    <a:lnTo>
                      <a:pt x="578232" y="499862"/>
                    </a:lnTo>
                    <a:lnTo>
                      <a:pt x="590703" y="493758"/>
                    </a:lnTo>
                    <a:lnTo>
                      <a:pt x="602919" y="487655"/>
                    </a:lnTo>
                    <a:lnTo>
                      <a:pt x="614372" y="481297"/>
                    </a:lnTo>
                    <a:lnTo>
                      <a:pt x="625570" y="474176"/>
                    </a:lnTo>
                    <a:lnTo>
                      <a:pt x="636004" y="466546"/>
                    </a:lnTo>
                    <a:lnTo>
                      <a:pt x="646184" y="459171"/>
                    </a:lnTo>
                    <a:lnTo>
                      <a:pt x="655601" y="450524"/>
                    </a:lnTo>
                    <a:lnTo>
                      <a:pt x="664763" y="442132"/>
                    </a:lnTo>
                    <a:lnTo>
                      <a:pt x="672653" y="432976"/>
                    </a:lnTo>
                    <a:lnTo>
                      <a:pt x="680288" y="424075"/>
                    </a:lnTo>
                    <a:lnTo>
                      <a:pt x="687414" y="413902"/>
                    </a:lnTo>
                    <a:lnTo>
                      <a:pt x="692602" y="405401"/>
                    </a:lnTo>
                    <a:lnTo>
                      <a:pt x="692081" y="405176"/>
                    </a:lnTo>
                    <a:lnTo>
                      <a:pt x="696664" y="397296"/>
                    </a:lnTo>
                    <a:lnTo>
                      <a:pt x="700738" y="388146"/>
                    </a:lnTo>
                    <a:lnTo>
                      <a:pt x="704295" y="380379"/>
                    </a:lnTo>
                    <a:lnTo>
                      <a:pt x="704871" y="378725"/>
                    </a:lnTo>
                    <a:lnTo>
                      <a:pt x="676306" y="370795"/>
                    </a:lnTo>
                    <a:lnTo>
                      <a:pt x="676306" y="370657"/>
                    </a:lnTo>
                    <a:lnTo>
                      <a:pt x="675543" y="370466"/>
                    </a:lnTo>
                    <a:lnTo>
                      <a:pt x="673508" y="369448"/>
                    </a:lnTo>
                    <a:lnTo>
                      <a:pt x="671472" y="366904"/>
                    </a:lnTo>
                    <a:lnTo>
                      <a:pt x="669691" y="363342"/>
                    </a:lnTo>
                    <a:lnTo>
                      <a:pt x="668164" y="359525"/>
                    </a:lnTo>
                    <a:lnTo>
                      <a:pt x="666638" y="354436"/>
                    </a:lnTo>
                    <a:lnTo>
                      <a:pt x="663584" y="341969"/>
                    </a:lnTo>
                    <a:lnTo>
                      <a:pt x="661040" y="326193"/>
                    </a:lnTo>
                    <a:lnTo>
                      <a:pt x="659004" y="307110"/>
                    </a:lnTo>
                    <a:lnTo>
                      <a:pt x="657478" y="285992"/>
                    </a:lnTo>
                    <a:lnTo>
                      <a:pt x="655951" y="261311"/>
                    </a:lnTo>
                    <a:lnTo>
                      <a:pt x="654933" y="235358"/>
                    </a:lnTo>
                    <a:lnTo>
                      <a:pt x="653916" y="206097"/>
                    </a:lnTo>
                    <a:lnTo>
                      <a:pt x="653126" y="156900"/>
                    </a:lnTo>
                    <a:lnTo>
                      <a:pt x="370977" y="208132"/>
                    </a:lnTo>
                    <a:lnTo>
                      <a:pt x="370977" y="29514"/>
                    </a:lnTo>
                    <a:lnTo>
                      <a:pt x="370976" y="29514"/>
                    </a:lnTo>
                    <a:lnTo>
                      <a:pt x="370976" y="257234"/>
                    </a:lnTo>
                    <a:lnTo>
                      <a:pt x="263602" y="263601"/>
                    </a:lnTo>
                    <a:lnTo>
                      <a:pt x="263602" y="29514"/>
                    </a:lnTo>
                    <a:lnTo>
                      <a:pt x="0" y="29514"/>
                    </a:lnTo>
                    <a:close/>
                  </a:path>
                </a:pathLst>
              </a:custGeom>
              <a:solidFill>
                <a:schemeClr val="tx1">
                  <a:lumMod val="85000"/>
                  <a:lumOff val="1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grpSp>
      <p:grpSp>
        <p:nvGrpSpPr>
          <p:cNvPr id="613" name="그룹 612"/>
          <p:cNvGrpSpPr/>
          <p:nvPr userDrawn="1"/>
        </p:nvGrpSpPr>
        <p:grpSpPr>
          <a:xfrm rot="2849663">
            <a:off x="7904346" y="1040659"/>
            <a:ext cx="731884" cy="587753"/>
            <a:chOff x="2630525" y="2335225"/>
            <a:chExt cx="420690" cy="360366"/>
          </a:xfrm>
        </p:grpSpPr>
        <p:sp>
          <p:nvSpPr>
            <p:cNvPr id="614" name="Freeform 426"/>
            <p:cNvSpPr>
              <a:spLocks/>
            </p:cNvSpPr>
            <p:nvPr/>
          </p:nvSpPr>
          <p:spPr bwMode="auto">
            <a:xfrm>
              <a:off x="2813089" y="2532077"/>
              <a:ext cx="55563" cy="7938"/>
            </a:xfrm>
            <a:custGeom>
              <a:avLst/>
              <a:gdLst>
                <a:gd name="T0" fmla="*/ 22 w 177"/>
                <a:gd name="T1" fmla="*/ 22 h 22"/>
                <a:gd name="T2" fmla="*/ 155 w 177"/>
                <a:gd name="T3" fmla="*/ 22 h 22"/>
                <a:gd name="T4" fmla="*/ 155 w 177"/>
                <a:gd name="T5" fmla="*/ 22 h 22"/>
                <a:gd name="T6" fmla="*/ 160 w 177"/>
                <a:gd name="T7" fmla="*/ 21 h 22"/>
                <a:gd name="T8" fmla="*/ 163 w 177"/>
                <a:gd name="T9" fmla="*/ 20 h 22"/>
                <a:gd name="T10" fmla="*/ 167 w 177"/>
                <a:gd name="T11" fmla="*/ 17 h 22"/>
                <a:gd name="T12" fmla="*/ 171 w 177"/>
                <a:gd name="T13" fmla="*/ 15 h 22"/>
                <a:gd name="T14" fmla="*/ 173 w 177"/>
                <a:gd name="T15" fmla="*/ 13 h 22"/>
                <a:gd name="T16" fmla="*/ 175 w 177"/>
                <a:gd name="T17" fmla="*/ 9 h 22"/>
                <a:gd name="T18" fmla="*/ 177 w 177"/>
                <a:gd name="T19" fmla="*/ 4 h 22"/>
                <a:gd name="T20" fmla="*/ 177 w 177"/>
                <a:gd name="T21" fmla="*/ 0 h 22"/>
                <a:gd name="T22" fmla="*/ 0 w 177"/>
                <a:gd name="T23" fmla="*/ 0 h 22"/>
                <a:gd name="T24" fmla="*/ 0 w 177"/>
                <a:gd name="T25" fmla="*/ 0 h 22"/>
                <a:gd name="T26" fmla="*/ 0 w 177"/>
                <a:gd name="T27" fmla="*/ 4 h 22"/>
                <a:gd name="T28" fmla="*/ 1 w 177"/>
                <a:gd name="T29" fmla="*/ 9 h 22"/>
                <a:gd name="T30" fmla="*/ 4 w 177"/>
                <a:gd name="T31" fmla="*/ 13 h 22"/>
                <a:gd name="T32" fmla="*/ 6 w 177"/>
                <a:gd name="T33" fmla="*/ 15 h 22"/>
                <a:gd name="T34" fmla="*/ 10 w 177"/>
                <a:gd name="T35" fmla="*/ 17 h 22"/>
                <a:gd name="T36" fmla="*/ 13 w 177"/>
                <a:gd name="T37" fmla="*/ 20 h 22"/>
                <a:gd name="T38" fmla="*/ 17 w 177"/>
                <a:gd name="T39" fmla="*/ 21 h 22"/>
                <a:gd name="T40" fmla="*/ 22 w 177"/>
                <a:gd name="T41" fmla="*/ 22 h 22"/>
                <a:gd name="T42" fmla="*/ 22 w 177"/>
                <a:gd name="T4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7" h="22">
                  <a:moveTo>
                    <a:pt x="22" y="22"/>
                  </a:moveTo>
                  <a:lnTo>
                    <a:pt x="155" y="22"/>
                  </a:lnTo>
                  <a:lnTo>
                    <a:pt x="155" y="22"/>
                  </a:lnTo>
                  <a:lnTo>
                    <a:pt x="160" y="21"/>
                  </a:lnTo>
                  <a:lnTo>
                    <a:pt x="163" y="20"/>
                  </a:lnTo>
                  <a:lnTo>
                    <a:pt x="167" y="17"/>
                  </a:lnTo>
                  <a:lnTo>
                    <a:pt x="171" y="15"/>
                  </a:lnTo>
                  <a:lnTo>
                    <a:pt x="173" y="13"/>
                  </a:lnTo>
                  <a:lnTo>
                    <a:pt x="175" y="9"/>
                  </a:lnTo>
                  <a:lnTo>
                    <a:pt x="177" y="4"/>
                  </a:lnTo>
                  <a:lnTo>
                    <a:pt x="177" y="0"/>
                  </a:lnTo>
                  <a:lnTo>
                    <a:pt x="0" y="0"/>
                  </a:lnTo>
                  <a:lnTo>
                    <a:pt x="0" y="0"/>
                  </a:lnTo>
                  <a:lnTo>
                    <a:pt x="0" y="4"/>
                  </a:lnTo>
                  <a:lnTo>
                    <a:pt x="1" y="9"/>
                  </a:lnTo>
                  <a:lnTo>
                    <a:pt x="4" y="13"/>
                  </a:lnTo>
                  <a:lnTo>
                    <a:pt x="6" y="15"/>
                  </a:lnTo>
                  <a:lnTo>
                    <a:pt x="10" y="17"/>
                  </a:lnTo>
                  <a:lnTo>
                    <a:pt x="13" y="20"/>
                  </a:lnTo>
                  <a:lnTo>
                    <a:pt x="17" y="21"/>
                  </a:lnTo>
                  <a:lnTo>
                    <a:pt x="22" y="22"/>
                  </a:lnTo>
                  <a:lnTo>
                    <a:pt x="22" y="22"/>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15" name="Freeform 427"/>
            <p:cNvSpPr>
              <a:spLocks/>
            </p:cNvSpPr>
            <p:nvPr/>
          </p:nvSpPr>
          <p:spPr bwMode="auto">
            <a:xfrm>
              <a:off x="2813089" y="2525727"/>
              <a:ext cx="55563" cy="6350"/>
            </a:xfrm>
            <a:custGeom>
              <a:avLst/>
              <a:gdLst>
                <a:gd name="T0" fmla="*/ 177 w 177"/>
                <a:gd name="T1" fmla="*/ 22 h 22"/>
                <a:gd name="T2" fmla="*/ 177 w 177"/>
                <a:gd name="T3" fmla="*/ 22 h 22"/>
                <a:gd name="T4" fmla="*/ 177 w 177"/>
                <a:gd name="T5" fmla="*/ 17 h 22"/>
                <a:gd name="T6" fmla="*/ 175 w 177"/>
                <a:gd name="T7" fmla="*/ 14 h 22"/>
                <a:gd name="T8" fmla="*/ 173 w 177"/>
                <a:gd name="T9" fmla="*/ 9 h 22"/>
                <a:gd name="T10" fmla="*/ 171 w 177"/>
                <a:gd name="T11" fmla="*/ 7 h 22"/>
                <a:gd name="T12" fmla="*/ 167 w 177"/>
                <a:gd name="T13" fmla="*/ 4 h 22"/>
                <a:gd name="T14" fmla="*/ 163 w 177"/>
                <a:gd name="T15" fmla="*/ 2 h 22"/>
                <a:gd name="T16" fmla="*/ 160 w 177"/>
                <a:gd name="T17" fmla="*/ 0 h 22"/>
                <a:gd name="T18" fmla="*/ 155 w 177"/>
                <a:gd name="T19" fmla="*/ 0 h 22"/>
                <a:gd name="T20" fmla="*/ 22 w 177"/>
                <a:gd name="T21" fmla="*/ 0 h 22"/>
                <a:gd name="T22" fmla="*/ 22 w 177"/>
                <a:gd name="T23" fmla="*/ 0 h 22"/>
                <a:gd name="T24" fmla="*/ 17 w 177"/>
                <a:gd name="T25" fmla="*/ 0 h 22"/>
                <a:gd name="T26" fmla="*/ 13 w 177"/>
                <a:gd name="T27" fmla="*/ 2 h 22"/>
                <a:gd name="T28" fmla="*/ 10 w 177"/>
                <a:gd name="T29" fmla="*/ 4 h 22"/>
                <a:gd name="T30" fmla="*/ 6 w 177"/>
                <a:gd name="T31" fmla="*/ 7 h 22"/>
                <a:gd name="T32" fmla="*/ 4 w 177"/>
                <a:gd name="T33" fmla="*/ 9 h 22"/>
                <a:gd name="T34" fmla="*/ 1 w 177"/>
                <a:gd name="T35" fmla="*/ 14 h 22"/>
                <a:gd name="T36" fmla="*/ 0 w 177"/>
                <a:gd name="T37" fmla="*/ 17 h 22"/>
                <a:gd name="T38" fmla="*/ 0 w 177"/>
                <a:gd name="T39" fmla="*/ 22 h 22"/>
                <a:gd name="T40" fmla="*/ 177 w 177"/>
                <a:gd name="T4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7" h="22">
                  <a:moveTo>
                    <a:pt x="177" y="22"/>
                  </a:moveTo>
                  <a:lnTo>
                    <a:pt x="177" y="22"/>
                  </a:lnTo>
                  <a:lnTo>
                    <a:pt x="177" y="17"/>
                  </a:lnTo>
                  <a:lnTo>
                    <a:pt x="175" y="14"/>
                  </a:lnTo>
                  <a:lnTo>
                    <a:pt x="173" y="9"/>
                  </a:lnTo>
                  <a:lnTo>
                    <a:pt x="171" y="7"/>
                  </a:lnTo>
                  <a:lnTo>
                    <a:pt x="167" y="4"/>
                  </a:lnTo>
                  <a:lnTo>
                    <a:pt x="163" y="2"/>
                  </a:lnTo>
                  <a:lnTo>
                    <a:pt x="160" y="0"/>
                  </a:lnTo>
                  <a:lnTo>
                    <a:pt x="155" y="0"/>
                  </a:lnTo>
                  <a:lnTo>
                    <a:pt x="22" y="0"/>
                  </a:lnTo>
                  <a:lnTo>
                    <a:pt x="22" y="0"/>
                  </a:lnTo>
                  <a:lnTo>
                    <a:pt x="17" y="0"/>
                  </a:lnTo>
                  <a:lnTo>
                    <a:pt x="13" y="2"/>
                  </a:lnTo>
                  <a:lnTo>
                    <a:pt x="10" y="4"/>
                  </a:lnTo>
                  <a:lnTo>
                    <a:pt x="6" y="7"/>
                  </a:lnTo>
                  <a:lnTo>
                    <a:pt x="4" y="9"/>
                  </a:lnTo>
                  <a:lnTo>
                    <a:pt x="1" y="14"/>
                  </a:lnTo>
                  <a:lnTo>
                    <a:pt x="0" y="17"/>
                  </a:lnTo>
                  <a:lnTo>
                    <a:pt x="0" y="22"/>
                  </a:lnTo>
                  <a:lnTo>
                    <a:pt x="177" y="22"/>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16" name="Freeform 428"/>
            <p:cNvSpPr>
              <a:spLocks/>
            </p:cNvSpPr>
            <p:nvPr/>
          </p:nvSpPr>
          <p:spPr bwMode="auto">
            <a:xfrm>
              <a:off x="2822614" y="2673366"/>
              <a:ext cx="17463" cy="22225"/>
            </a:xfrm>
            <a:custGeom>
              <a:avLst/>
              <a:gdLst>
                <a:gd name="T0" fmla="*/ 56 w 56"/>
                <a:gd name="T1" fmla="*/ 73 h 73"/>
                <a:gd name="T2" fmla="*/ 56 w 56"/>
                <a:gd name="T3" fmla="*/ 17 h 73"/>
                <a:gd name="T4" fmla="*/ 56 w 56"/>
                <a:gd name="T5" fmla="*/ 0 h 73"/>
                <a:gd name="T6" fmla="*/ 0 w 56"/>
                <a:gd name="T7" fmla="*/ 0 h 73"/>
                <a:gd name="T8" fmla="*/ 0 w 56"/>
                <a:gd name="T9" fmla="*/ 17 h 73"/>
                <a:gd name="T10" fmla="*/ 0 w 56"/>
                <a:gd name="T11" fmla="*/ 17 h 73"/>
                <a:gd name="T12" fmla="*/ 1 w 56"/>
                <a:gd name="T13" fmla="*/ 28 h 73"/>
                <a:gd name="T14" fmla="*/ 3 w 56"/>
                <a:gd name="T15" fmla="*/ 39 h 73"/>
                <a:gd name="T16" fmla="*/ 9 w 56"/>
                <a:gd name="T17" fmla="*/ 48 h 73"/>
                <a:gd name="T18" fmla="*/ 15 w 56"/>
                <a:gd name="T19" fmla="*/ 57 h 73"/>
                <a:gd name="T20" fmla="*/ 24 w 56"/>
                <a:gd name="T21" fmla="*/ 63 h 73"/>
                <a:gd name="T22" fmla="*/ 34 w 56"/>
                <a:gd name="T23" fmla="*/ 69 h 73"/>
                <a:gd name="T24" fmla="*/ 45 w 56"/>
                <a:gd name="T25" fmla="*/ 73 h 73"/>
                <a:gd name="T26" fmla="*/ 56 w 56"/>
                <a:gd name="T27" fmla="*/ 73 h 73"/>
                <a:gd name="T28" fmla="*/ 56 w 56"/>
                <a:gd name="T29"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73">
                  <a:moveTo>
                    <a:pt x="56" y="73"/>
                  </a:moveTo>
                  <a:lnTo>
                    <a:pt x="56" y="17"/>
                  </a:lnTo>
                  <a:lnTo>
                    <a:pt x="56" y="0"/>
                  </a:lnTo>
                  <a:lnTo>
                    <a:pt x="0" y="0"/>
                  </a:lnTo>
                  <a:lnTo>
                    <a:pt x="0" y="17"/>
                  </a:lnTo>
                  <a:lnTo>
                    <a:pt x="0" y="17"/>
                  </a:lnTo>
                  <a:lnTo>
                    <a:pt x="1" y="28"/>
                  </a:lnTo>
                  <a:lnTo>
                    <a:pt x="3" y="39"/>
                  </a:lnTo>
                  <a:lnTo>
                    <a:pt x="9" y="48"/>
                  </a:lnTo>
                  <a:lnTo>
                    <a:pt x="15" y="57"/>
                  </a:lnTo>
                  <a:lnTo>
                    <a:pt x="24" y="63"/>
                  </a:lnTo>
                  <a:lnTo>
                    <a:pt x="34" y="69"/>
                  </a:lnTo>
                  <a:lnTo>
                    <a:pt x="45" y="73"/>
                  </a:lnTo>
                  <a:lnTo>
                    <a:pt x="56" y="73"/>
                  </a:lnTo>
                  <a:lnTo>
                    <a:pt x="56" y="73"/>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17" name="Freeform 429"/>
            <p:cNvSpPr>
              <a:spLocks/>
            </p:cNvSpPr>
            <p:nvPr/>
          </p:nvSpPr>
          <p:spPr bwMode="auto">
            <a:xfrm>
              <a:off x="2840077" y="2673366"/>
              <a:ext cx="19050" cy="22225"/>
            </a:xfrm>
            <a:custGeom>
              <a:avLst/>
              <a:gdLst>
                <a:gd name="T0" fmla="*/ 57 w 57"/>
                <a:gd name="T1" fmla="*/ 17 h 73"/>
                <a:gd name="T2" fmla="*/ 57 w 57"/>
                <a:gd name="T3" fmla="*/ 0 h 73"/>
                <a:gd name="T4" fmla="*/ 0 w 57"/>
                <a:gd name="T5" fmla="*/ 0 h 73"/>
                <a:gd name="T6" fmla="*/ 0 w 57"/>
                <a:gd name="T7" fmla="*/ 17 h 73"/>
                <a:gd name="T8" fmla="*/ 0 w 57"/>
                <a:gd name="T9" fmla="*/ 73 h 73"/>
                <a:gd name="T10" fmla="*/ 0 w 57"/>
                <a:gd name="T11" fmla="*/ 73 h 73"/>
                <a:gd name="T12" fmla="*/ 12 w 57"/>
                <a:gd name="T13" fmla="*/ 73 h 73"/>
                <a:gd name="T14" fmla="*/ 23 w 57"/>
                <a:gd name="T15" fmla="*/ 69 h 73"/>
                <a:gd name="T16" fmla="*/ 33 w 57"/>
                <a:gd name="T17" fmla="*/ 63 h 73"/>
                <a:gd name="T18" fmla="*/ 41 w 57"/>
                <a:gd name="T19" fmla="*/ 57 h 73"/>
                <a:gd name="T20" fmla="*/ 47 w 57"/>
                <a:gd name="T21" fmla="*/ 48 h 73"/>
                <a:gd name="T22" fmla="*/ 53 w 57"/>
                <a:gd name="T23" fmla="*/ 39 h 73"/>
                <a:gd name="T24" fmla="*/ 56 w 57"/>
                <a:gd name="T25" fmla="*/ 28 h 73"/>
                <a:gd name="T26" fmla="*/ 57 w 57"/>
                <a:gd name="T27" fmla="*/ 17 h 73"/>
                <a:gd name="T28" fmla="*/ 57 w 57"/>
                <a:gd name="T29" fmla="*/ 1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 h="73">
                  <a:moveTo>
                    <a:pt x="57" y="17"/>
                  </a:moveTo>
                  <a:lnTo>
                    <a:pt x="57" y="0"/>
                  </a:lnTo>
                  <a:lnTo>
                    <a:pt x="0" y="0"/>
                  </a:lnTo>
                  <a:lnTo>
                    <a:pt x="0" y="17"/>
                  </a:lnTo>
                  <a:lnTo>
                    <a:pt x="0" y="73"/>
                  </a:lnTo>
                  <a:lnTo>
                    <a:pt x="0" y="73"/>
                  </a:lnTo>
                  <a:lnTo>
                    <a:pt x="12" y="73"/>
                  </a:lnTo>
                  <a:lnTo>
                    <a:pt x="23" y="69"/>
                  </a:lnTo>
                  <a:lnTo>
                    <a:pt x="33" y="63"/>
                  </a:lnTo>
                  <a:lnTo>
                    <a:pt x="41" y="57"/>
                  </a:lnTo>
                  <a:lnTo>
                    <a:pt x="47" y="48"/>
                  </a:lnTo>
                  <a:lnTo>
                    <a:pt x="53" y="39"/>
                  </a:lnTo>
                  <a:lnTo>
                    <a:pt x="56" y="28"/>
                  </a:lnTo>
                  <a:lnTo>
                    <a:pt x="57" y="17"/>
                  </a:lnTo>
                  <a:lnTo>
                    <a:pt x="57" y="17"/>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18" name="Freeform 430"/>
            <p:cNvSpPr>
              <a:spLocks/>
            </p:cNvSpPr>
            <p:nvPr/>
          </p:nvSpPr>
          <p:spPr bwMode="auto">
            <a:xfrm>
              <a:off x="2840077" y="2627328"/>
              <a:ext cx="31750" cy="46038"/>
            </a:xfrm>
            <a:custGeom>
              <a:avLst/>
              <a:gdLst>
                <a:gd name="T0" fmla="*/ 56 w 96"/>
                <a:gd name="T1" fmla="*/ 142 h 142"/>
                <a:gd name="T2" fmla="*/ 56 w 96"/>
                <a:gd name="T3" fmla="*/ 142 h 142"/>
                <a:gd name="T4" fmla="*/ 64 w 96"/>
                <a:gd name="T5" fmla="*/ 140 h 142"/>
                <a:gd name="T6" fmla="*/ 72 w 96"/>
                <a:gd name="T7" fmla="*/ 138 h 142"/>
                <a:gd name="T8" fmla="*/ 78 w 96"/>
                <a:gd name="T9" fmla="*/ 134 h 142"/>
                <a:gd name="T10" fmla="*/ 84 w 96"/>
                <a:gd name="T11" fmla="*/ 129 h 142"/>
                <a:gd name="T12" fmla="*/ 89 w 96"/>
                <a:gd name="T13" fmla="*/ 123 h 142"/>
                <a:gd name="T14" fmla="*/ 92 w 96"/>
                <a:gd name="T15" fmla="*/ 116 h 142"/>
                <a:gd name="T16" fmla="*/ 95 w 96"/>
                <a:gd name="T17" fmla="*/ 109 h 142"/>
                <a:gd name="T18" fmla="*/ 96 w 96"/>
                <a:gd name="T19" fmla="*/ 101 h 142"/>
                <a:gd name="T20" fmla="*/ 96 w 96"/>
                <a:gd name="T21" fmla="*/ 0 h 142"/>
                <a:gd name="T22" fmla="*/ 0 w 96"/>
                <a:gd name="T23" fmla="*/ 0 h 142"/>
                <a:gd name="T24" fmla="*/ 0 w 96"/>
                <a:gd name="T25" fmla="*/ 71 h 142"/>
                <a:gd name="T26" fmla="*/ 0 w 96"/>
                <a:gd name="T27" fmla="*/ 142 h 142"/>
                <a:gd name="T28" fmla="*/ 56 w 96"/>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142">
                  <a:moveTo>
                    <a:pt x="56" y="142"/>
                  </a:moveTo>
                  <a:lnTo>
                    <a:pt x="56" y="142"/>
                  </a:lnTo>
                  <a:lnTo>
                    <a:pt x="64" y="140"/>
                  </a:lnTo>
                  <a:lnTo>
                    <a:pt x="72" y="138"/>
                  </a:lnTo>
                  <a:lnTo>
                    <a:pt x="78" y="134"/>
                  </a:lnTo>
                  <a:lnTo>
                    <a:pt x="84" y="129"/>
                  </a:lnTo>
                  <a:lnTo>
                    <a:pt x="89" y="123"/>
                  </a:lnTo>
                  <a:lnTo>
                    <a:pt x="92" y="116"/>
                  </a:lnTo>
                  <a:lnTo>
                    <a:pt x="95" y="109"/>
                  </a:lnTo>
                  <a:lnTo>
                    <a:pt x="96" y="101"/>
                  </a:lnTo>
                  <a:lnTo>
                    <a:pt x="96" y="0"/>
                  </a:lnTo>
                  <a:lnTo>
                    <a:pt x="0" y="0"/>
                  </a:lnTo>
                  <a:lnTo>
                    <a:pt x="0" y="71"/>
                  </a:lnTo>
                  <a:lnTo>
                    <a:pt x="0" y="142"/>
                  </a:lnTo>
                  <a:lnTo>
                    <a:pt x="56" y="142"/>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19" name="Freeform 431"/>
            <p:cNvSpPr>
              <a:spLocks/>
            </p:cNvSpPr>
            <p:nvPr/>
          </p:nvSpPr>
          <p:spPr bwMode="auto">
            <a:xfrm>
              <a:off x="2809914" y="2627328"/>
              <a:ext cx="30163" cy="46038"/>
            </a:xfrm>
            <a:custGeom>
              <a:avLst/>
              <a:gdLst>
                <a:gd name="T0" fmla="*/ 40 w 95"/>
                <a:gd name="T1" fmla="*/ 142 h 142"/>
                <a:gd name="T2" fmla="*/ 40 w 95"/>
                <a:gd name="T3" fmla="*/ 142 h 142"/>
                <a:gd name="T4" fmla="*/ 31 w 95"/>
                <a:gd name="T5" fmla="*/ 140 h 142"/>
                <a:gd name="T6" fmla="*/ 24 w 95"/>
                <a:gd name="T7" fmla="*/ 138 h 142"/>
                <a:gd name="T8" fmla="*/ 18 w 95"/>
                <a:gd name="T9" fmla="*/ 134 h 142"/>
                <a:gd name="T10" fmla="*/ 12 w 95"/>
                <a:gd name="T11" fmla="*/ 129 h 142"/>
                <a:gd name="T12" fmla="*/ 7 w 95"/>
                <a:gd name="T13" fmla="*/ 123 h 142"/>
                <a:gd name="T14" fmla="*/ 3 w 95"/>
                <a:gd name="T15" fmla="*/ 116 h 142"/>
                <a:gd name="T16" fmla="*/ 1 w 95"/>
                <a:gd name="T17" fmla="*/ 109 h 142"/>
                <a:gd name="T18" fmla="*/ 0 w 95"/>
                <a:gd name="T19" fmla="*/ 101 h 142"/>
                <a:gd name="T20" fmla="*/ 0 w 95"/>
                <a:gd name="T21" fmla="*/ 0 h 142"/>
                <a:gd name="T22" fmla="*/ 95 w 95"/>
                <a:gd name="T23" fmla="*/ 0 h 142"/>
                <a:gd name="T24" fmla="*/ 95 w 95"/>
                <a:gd name="T25" fmla="*/ 71 h 142"/>
                <a:gd name="T26" fmla="*/ 95 w 95"/>
                <a:gd name="T27" fmla="*/ 142 h 142"/>
                <a:gd name="T28" fmla="*/ 40 w 95"/>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40" y="142"/>
                  </a:moveTo>
                  <a:lnTo>
                    <a:pt x="40" y="142"/>
                  </a:lnTo>
                  <a:lnTo>
                    <a:pt x="31" y="140"/>
                  </a:lnTo>
                  <a:lnTo>
                    <a:pt x="24" y="138"/>
                  </a:lnTo>
                  <a:lnTo>
                    <a:pt x="18" y="134"/>
                  </a:lnTo>
                  <a:lnTo>
                    <a:pt x="12" y="129"/>
                  </a:lnTo>
                  <a:lnTo>
                    <a:pt x="7" y="123"/>
                  </a:lnTo>
                  <a:lnTo>
                    <a:pt x="3" y="116"/>
                  </a:lnTo>
                  <a:lnTo>
                    <a:pt x="1" y="109"/>
                  </a:lnTo>
                  <a:lnTo>
                    <a:pt x="0" y="101"/>
                  </a:lnTo>
                  <a:lnTo>
                    <a:pt x="0" y="0"/>
                  </a:lnTo>
                  <a:lnTo>
                    <a:pt x="95" y="0"/>
                  </a:lnTo>
                  <a:lnTo>
                    <a:pt x="95" y="71"/>
                  </a:lnTo>
                  <a:lnTo>
                    <a:pt x="95" y="142"/>
                  </a:lnTo>
                  <a:lnTo>
                    <a:pt x="40" y="1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0" name="Freeform 432"/>
            <p:cNvSpPr>
              <a:spLocks/>
            </p:cNvSpPr>
            <p:nvPr/>
          </p:nvSpPr>
          <p:spPr bwMode="auto">
            <a:xfrm>
              <a:off x="2800389" y="2573353"/>
              <a:ext cx="39688" cy="60326"/>
            </a:xfrm>
            <a:custGeom>
              <a:avLst/>
              <a:gdLst>
                <a:gd name="T0" fmla="*/ 53 w 127"/>
                <a:gd name="T1" fmla="*/ 0 h 190"/>
                <a:gd name="T2" fmla="*/ 53 w 127"/>
                <a:gd name="T3" fmla="*/ 0 h 190"/>
                <a:gd name="T4" fmla="*/ 43 w 127"/>
                <a:gd name="T5" fmla="*/ 1 h 190"/>
                <a:gd name="T6" fmla="*/ 33 w 127"/>
                <a:gd name="T7" fmla="*/ 5 h 190"/>
                <a:gd name="T8" fmla="*/ 23 w 127"/>
                <a:gd name="T9" fmla="*/ 10 h 190"/>
                <a:gd name="T10" fmla="*/ 16 w 127"/>
                <a:gd name="T11" fmla="*/ 16 h 190"/>
                <a:gd name="T12" fmla="*/ 8 w 127"/>
                <a:gd name="T13" fmla="*/ 25 h 190"/>
                <a:gd name="T14" fmla="*/ 4 w 127"/>
                <a:gd name="T15" fmla="*/ 34 h 190"/>
                <a:gd name="T16" fmla="*/ 1 w 127"/>
                <a:gd name="T17" fmla="*/ 44 h 190"/>
                <a:gd name="T18" fmla="*/ 0 w 127"/>
                <a:gd name="T19" fmla="*/ 55 h 190"/>
                <a:gd name="T20" fmla="*/ 0 w 127"/>
                <a:gd name="T21" fmla="*/ 190 h 190"/>
                <a:gd name="T22" fmla="*/ 127 w 127"/>
                <a:gd name="T23" fmla="*/ 190 h 190"/>
                <a:gd name="T24" fmla="*/ 127 w 127"/>
                <a:gd name="T25" fmla="*/ 95 h 190"/>
                <a:gd name="T26" fmla="*/ 127 w 127"/>
                <a:gd name="T27" fmla="*/ 0 h 190"/>
                <a:gd name="T28" fmla="*/ 53 w 127"/>
                <a:gd name="T29"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7" h="190">
                  <a:moveTo>
                    <a:pt x="53" y="0"/>
                  </a:moveTo>
                  <a:lnTo>
                    <a:pt x="53" y="0"/>
                  </a:lnTo>
                  <a:lnTo>
                    <a:pt x="43" y="1"/>
                  </a:lnTo>
                  <a:lnTo>
                    <a:pt x="33" y="5"/>
                  </a:lnTo>
                  <a:lnTo>
                    <a:pt x="23" y="10"/>
                  </a:lnTo>
                  <a:lnTo>
                    <a:pt x="16" y="16"/>
                  </a:lnTo>
                  <a:lnTo>
                    <a:pt x="8" y="25"/>
                  </a:lnTo>
                  <a:lnTo>
                    <a:pt x="4" y="34"/>
                  </a:lnTo>
                  <a:lnTo>
                    <a:pt x="1" y="44"/>
                  </a:lnTo>
                  <a:lnTo>
                    <a:pt x="0" y="55"/>
                  </a:lnTo>
                  <a:lnTo>
                    <a:pt x="0" y="190"/>
                  </a:lnTo>
                  <a:lnTo>
                    <a:pt x="127" y="190"/>
                  </a:lnTo>
                  <a:lnTo>
                    <a:pt x="127" y="95"/>
                  </a:lnTo>
                  <a:lnTo>
                    <a:pt x="127" y="0"/>
                  </a:lnTo>
                  <a:lnTo>
                    <a:pt x="5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1" name="Freeform 433"/>
            <p:cNvSpPr>
              <a:spLocks/>
            </p:cNvSpPr>
            <p:nvPr/>
          </p:nvSpPr>
          <p:spPr bwMode="auto">
            <a:xfrm>
              <a:off x="2840077" y="2573353"/>
              <a:ext cx="41275" cy="60326"/>
            </a:xfrm>
            <a:custGeom>
              <a:avLst/>
              <a:gdLst>
                <a:gd name="T0" fmla="*/ 74 w 128"/>
                <a:gd name="T1" fmla="*/ 0 h 190"/>
                <a:gd name="T2" fmla="*/ 74 w 128"/>
                <a:gd name="T3" fmla="*/ 0 h 190"/>
                <a:gd name="T4" fmla="*/ 85 w 128"/>
                <a:gd name="T5" fmla="*/ 1 h 190"/>
                <a:gd name="T6" fmla="*/ 95 w 128"/>
                <a:gd name="T7" fmla="*/ 5 h 190"/>
                <a:gd name="T8" fmla="*/ 104 w 128"/>
                <a:gd name="T9" fmla="*/ 10 h 190"/>
                <a:gd name="T10" fmla="*/ 112 w 128"/>
                <a:gd name="T11" fmla="*/ 16 h 190"/>
                <a:gd name="T12" fmla="*/ 119 w 128"/>
                <a:gd name="T13" fmla="*/ 25 h 190"/>
                <a:gd name="T14" fmla="*/ 124 w 128"/>
                <a:gd name="T15" fmla="*/ 34 h 190"/>
                <a:gd name="T16" fmla="*/ 126 w 128"/>
                <a:gd name="T17" fmla="*/ 44 h 190"/>
                <a:gd name="T18" fmla="*/ 128 w 128"/>
                <a:gd name="T19" fmla="*/ 55 h 190"/>
                <a:gd name="T20" fmla="*/ 128 w 128"/>
                <a:gd name="T21" fmla="*/ 190 h 190"/>
                <a:gd name="T22" fmla="*/ 0 w 128"/>
                <a:gd name="T23" fmla="*/ 190 h 190"/>
                <a:gd name="T24" fmla="*/ 0 w 128"/>
                <a:gd name="T25" fmla="*/ 95 h 190"/>
                <a:gd name="T26" fmla="*/ 0 w 128"/>
                <a:gd name="T27" fmla="*/ 0 h 190"/>
                <a:gd name="T28" fmla="*/ 74 w 128"/>
                <a:gd name="T29"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90">
                  <a:moveTo>
                    <a:pt x="74" y="0"/>
                  </a:moveTo>
                  <a:lnTo>
                    <a:pt x="74" y="0"/>
                  </a:lnTo>
                  <a:lnTo>
                    <a:pt x="85" y="1"/>
                  </a:lnTo>
                  <a:lnTo>
                    <a:pt x="95" y="5"/>
                  </a:lnTo>
                  <a:lnTo>
                    <a:pt x="104" y="10"/>
                  </a:lnTo>
                  <a:lnTo>
                    <a:pt x="112" y="16"/>
                  </a:lnTo>
                  <a:lnTo>
                    <a:pt x="119" y="25"/>
                  </a:lnTo>
                  <a:lnTo>
                    <a:pt x="124" y="34"/>
                  </a:lnTo>
                  <a:lnTo>
                    <a:pt x="126" y="44"/>
                  </a:lnTo>
                  <a:lnTo>
                    <a:pt x="128" y="55"/>
                  </a:lnTo>
                  <a:lnTo>
                    <a:pt x="128" y="190"/>
                  </a:lnTo>
                  <a:lnTo>
                    <a:pt x="0" y="190"/>
                  </a:lnTo>
                  <a:lnTo>
                    <a:pt x="0" y="95"/>
                  </a:lnTo>
                  <a:lnTo>
                    <a:pt x="0" y="0"/>
                  </a:lnTo>
                  <a:lnTo>
                    <a:pt x="74"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2" name="Freeform 434"/>
            <p:cNvSpPr>
              <a:spLocks/>
            </p:cNvSpPr>
            <p:nvPr/>
          </p:nvSpPr>
          <p:spPr bwMode="auto">
            <a:xfrm>
              <a:off x="2840077" y="2627328"/>
              <a:ext cx="49213" cy="28575"/>
            </a:xfrm>
            <a:custGeom>
              <a:avLst/>
              <a:gdLst>
                <a:gd name="T0" fmla="*/ 0 w 152"/>
                <a:gd name="T1" fmla="*/ 0 h 90"/>
                <a:gd name="T2" fmla="*/ 0 w 152"/>
                <a:gd name="T3" fmla="*/ 37 h 90"/>
                <a:gd name="T4" fmla="*/ 0 w 152"/>
                <a:gd name="T5" fmla="*/ 37 h 90"/>
                <a:gd name="T6" fmla="*/ 19 w 152"/>
                <a:gd name="T7" fmla="*/ 38 h 90"/>
                <a:gd name="T8" fmla="*/ 35 w 152"/>
                <a:gd name="T9" fmla="*/ 40 h 90"/>
                <a:gd name="T10" fmla="*/ 50 w 152"/>
                <a:gd name="T11" fmla="*/ 45 h 90"/>
                <a:gd name="T12" fmla="*/ 62 w 152"/>
                <a:gd name="T13" fmla="*/ 50 h 90"/>
                <a:gd name="T14" fmla="*/ 73 w 152"/>
                <a:gd name="T15" fmla="*/ 56 h 90"/>
                <a:gd name="T16" fmla="*/ 83 w 152"/>
                <a:gd name="T17" fmla="*/ 64 h 90"/>
                <a:gd name="T18" fmla="*/ 92 w 152"/>
                <a:gd name="T19" fmla="*/ 71 h 90"/>
                <a:gd name="T20" fmla="*/ 100 w 152"/>
                <a:gd name="T21" fmla="*/ 78 h 90"/>
                <a:gd name="T22" fmla="*/ 100 w 152"/>
                <a:gd name="T23" fmla="*/ 78 h 90"/>
                <a:gd name="T24" fmla="*/ 106 w 152"/>
                <a:gd name="T25" fmla="*/ 83 h 90"/>
                <a:gd name="T26" fmla="*/ 112 w 152"/>
                <a:gd name="T27" fmla="*/ 87 h 90"/>
                <a:gd name="T28" fmla="*/ 119 w 152"/>
                <a:gd name="T29" fmla="*/ 89 h 90"/>
                <a:gd name="T30" fmla="*/ 125 w 152"/>
                <a:gd name="T31" fmla="*/ 90 h 90"/>
                <a:gd name="T32" fmla="*/ 133 w 152"/>
                <a:gd name="T33" fmla="*/ 89 h 90"/>
                <a:gd name="T34" fmla="*/ 140 w 152"/>
                <a:gd name="T35" fmla="*/ 88 h 90"/>
                <a:gd name="T36" fmla="*/ 146 w 152"/>
                <a:gd name="T37" fmla="*/ 84 h 90"/>
                <a:gd name="T38" fmla="*/ 152 w 152"/>
                <a:gd name="T39" fmla="*/ 81 h 90"/>
                <a:gd name="T40" fmla="*/ 152 w 152"/>
                <a:gd name="T41" fmla="*/ 81 h 90"/>
                <a:gd name="T42" fmla="*/ 126 w 152"/>
                <a:gd name="T43" fmla="*/ 53 h 90"/>
                <a:gd name="T44" fmla="*/ 126 w 152"/>
                <a:gd name="T45" fmla="*/ 53 h 90"/>
                <a:gd name="T46" fmla="*/ 115 w 152"/>
                <a:gd name="T47" fmla="*/ 42 h 90"/>
                <a:gd name="T48" fmla="*/ 104 w 152"/>
                <a:gd name="T49" fmla="*/ 32 h 90"/>
                <a:gd name="T50" fmla="*/ 91 w 152"/>
                <a:gd name="T51" fmla="*/ 23 h 90"/>
                <a:gd name="T52" fmla="*/ 76 w 152"/>
                <a:gd name="T53" fmla="*/ 15 h 90"/>
                <a:gd name="T54" fmla="*/ 61 w 152"/>
                <a:gd name="T55" fmla="*/ 9 h 90"/>
                <a:gd name="T56" fmla="*/ 42 w 152"/>
                <a:gd name="T57" fmla="*/ 4 h 90"/>
                <a:gd name="T58" fmla="*/ 23 w 152"/>
                <a:gd name="T59" fmla="*/ 0 h 90"/>
                <a:gd name="T60" fmla="*/ 0 w 152"/>
                <a:gd name="T61" fmla="*/ 0 h 90"/>
                <a:gd name="T62" fmla="*/ 0 w 152"/>
                <a:gd name="T6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90">
                  <a:moveTo>
                    <a:pt x="0" y="0"/>
                  </a:moveTo>
                  <a:lnTo>
                    <a:pt x="0" y="37"/>
                  </a:lnTo>
                  <a:lnTo>
                    <a:pt x="0" y="37"/>
                  </a:lnTo>
                  <a:lnTo>
                    <a:pt x="19" y="38"/>
                  </a:lnTo>
                  <a:lnTo>
                    <a:pt x="35" y="40"/>
                  </a:lnTo>
                  <a:lnTo>
                    <a:pt x="50" y="45"/>
                  </a:lnTo>
                  <a:lnTo>
                    <a:pt x="62" y="50"/>
                  </a:lnTo>
                  <a:lnTo>
                    <a:pt x="73" y="56"/>
                  </a:lnTo>
                  <a:lnTo>
                    <a:pt x="83" y="64"/>
                  </a:lnTo>
                  <a:lnTo>
                    <a:pt x="92" y="71"/>
                  </a:lnTo>
                  <a:lnTo>
                    <a:pt x="100" y="78"/>
                  </a:lnTo>
                  <a:lnTo>
                    <a:pt x="100" y="78"/>
                  </a:lnTo>
                  <a:lnTo>
                    <a:pt x="106" y="83"/>
                  </a:lnTo>
                  <a:lnTo>
                    <a:pt x="112" y="87"/>
                  </a:lnTo>
                  <a:lnTo>
                    <a:pt x="119" y="89"/>
                  </a:lnTo>
                  <a:lnTo>
                    <a:pt x="125" y="90"/>
                  </a:lnTo>
                  <a:lnTo>
                    <a:pt x="133" y="89"/>
                  </a:lnTo>
                  <a:lnTo>
                    <a:pt x="140" y="88"/>
                  </a:lnTo>
                  <a:lnTo>
                    <a:pt x="146" y="84"/>
                  </a:lnTo>
                  <a:lnTo>
                    <a:pt x="152" y="81"/>
                  </a:lnTo>
                  <a:lnTo>
                    <a:pt x="152" y="81"/>
                  </a:lnTo>
                  <a:lnTo>
                    <a:pt x="126" y="53"/>
                  </a:lnTo>
                  <a:lnTo>
                    <a:pt x="126" y="53"/>
                  </a:lnTo>
                  <a:lnTo>
                    <a:pt x="115" y="42"/>
                  </a:lnTo>
                  <a:lnTo>
                    <a:pt x="104" y="32"/>
                  </a:lnTo>
                  <a:lnTo>
                    <a:pt x="91" y="23"/>
                  </a:lnTo>
                  <a:lnTo>
                    <a:pt x="76" y="15"/>
                  </a:lnTo>
                  <a:lnTo>
                    <a:pt x="61" y="9"/>
                  </a:lnTo>
                  <a:lnTo>
                    <a:pt x="42" y="4"/>
                  </a:lnTo>
                  <a:lnTo>
                    <a:pt x="23" y="0"/>
                  </a:lnTo>
                  <a:lnTo>
                    <a:pt x="0" y="0"/>
                  </a:lnTo>
                  <a:lnTo>
                    <a:pt x="0" y="0"/>
                  </a:lnTo>
                  <a:close/>
                </a:path>
              </a:pathLst>
            </a:custGeom>
            <a:solidFill>
              <a:srgbClr val="7F2D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3" name="Freeform 435"/>
            <p:cNvSpPr>
              <a:spLocks/>
            </p:cNvSpPr>
            <p:nvPr/>
          </p:nvSpPr>
          <p:spPr bwMode="auto">
            <a:xfrm>
              <a:off x="2840077" y="2616216"/>
              <a:ext cx="52388" cy="38100"/>
            </a:xfrm>
            <a:custGeom>
              <a:avLst/>
              <a:gdLst>
                <a:gd name="T0" fmla="*/ 0 w 164"/>
                <a:gd name="T1" fmla="*/ 38 h 119"/>
                <a:gd name="T2" fmla="*/ 0 w 164"/>
                <a:gd name="T3" fmla="*/ 38 h 119"/>
                <a:gd name="T4" fmla="*/ 23 w 164"/>
                <a:gd name="T5" fmla="*/ 38 h 119"/>
                <a:gd name="T6" fmla="*/ 42 w 164"/>
                <a:gd name="T7" fmla="*/ 42 h 119"/>
                <a:gd name="T8" fmla="*/ 61 w 164"/>
                <a:gd name="T9" fmla="*/ 47 h 119"/>
                <a:gd name="T10" fmla="*/ 76 w 164"/>
                <a:gd name="T11" fmla="*/ 53 h 119"/>
                <a:gd name="T12" fmla="*/ 91 w 164"/>
                <a:gd name="T13" fmla="*/ 61 h 119"/>
                <a:gd name="T14" fmla="*/ 104 w 164"/>
                <a:gd name="T15" fmla="*/ 70 h 119"/>
                <a:gd name="T16" fmla="*/ 115 w 164"/>
                <a:gd name="T17" fmla="*/ 80 h 119"/>
                <a:gd name="T18" fmla="*/ 126 w 164"/>
                <a:gd name="T19" fmla="*/ 91 h 119"/>
                <a:gd name="T20" fmla="*/ 126 w 164"/>
                <a:gd name="T21" fmla="*/ 91 h 119"/>
                <a:gd name="T22" fmla="*/ 152 w 164"/>
                <a:gd name="T23" fmla="*/ 119 h 119"/>
                <a:gd name="T24" fmla="*/ 153 w 164"/>
                <a:gd name="T25" fmla="*/ 118 h 119"/>
                <a:gd name="T26" fmla="*/ 153 w 164"/>
                <a:gd name="T27" fmla="*/ 118 h 119"/>
                <a:gd name="T28" fmla="*/ 158 w 164"/>
                <a:gd name="T29" fmla="*/ 111 h 119"/>
                <a:gd name="T30" fmla="*/ 162 w 164"/>
                <a:gd name="T31" fmla="*/ 105 h 119"/>
                <a:gd name="T32" fmla="*/ 164 w 164"/>
                <a:gd name="T33" fmla="*/ 98 h 119"/>
                <a:gd name="T34" fmla="*/ 164 w 164"/>
                <a:gd name="T35" fmla="*/ 91 h 119"/>
                <a:gd name="T36" fmla="*/ 164 w 164"/>
                <a:gd name="T37" fmla="*/ 91 h 119"/>
                <a:gd name="T38" fmla="*/ 164 w 164"/>
                <a:gd name="T39" fmla="*/ 83 h 119"/>
                <a:gd name="T40" fmla="*/ 162 w 164"/>
                <a:gd name="T41" fmla="*/ 77 h 119"/>
                <a:gd name="T42" fmla="*/ 158 w 164"/>
                <a:gd name="T43" fmla="*/ 70 h 119"/>
                <a:gd name="T44" fmla="*/ 154 w 164"/>
                <a:gd name="T45" fmla="*/ 65 h 119"/>
                <a:gd name="T46" fmla="*/ 154 w 164"/>
                <a:gd name="T47" fmla="*/ 65 h 119"/>
                <a:gd name="T48" fmla="*/ 144 w 164"/>
                <a:gd name="T49" fmla="*/ 54 h 119"/>
                <a:gd name="T50" fmla="*/ 130 w 164"/>
                <a:gd name="T51" fmla="*/ 43 h 119"/>
                <a:gd name="T52" fmla="*/ 115 w 164"/>
                <a:gd name="T53" fmla="*/ 32 h 119"/>
                <a:gd name="T54" fmla="*/ 98 w 164"/>
                <a:gd name="T55" fmla="*/ 22 h 119"/>
                <a:gd name="T56" fmla="*/ 78 w 164"/>
                <a:gd name="T57" fmla="*/ 13 h 119"/>
                <a:gd name="T58" fmla="*/ 67 w 164"/>
                <a:gd name="T59" fmla="*/ 9 h 119"/>
                <a:gd name="T60" fmla="*/ 56 w 164"/>
                <a:gd name="T61" fmla="*/ 7 h 119"/>
                <a:gd name="T62" fmla="*/ 42 w 164"/>
                <a:gd name="T63" fmla="*/ 4 h 119"/>
                <a:gd name="T64" fmla="*/ 29 w 164"/>
                <a:gd name="T65" fmla="*/ 2 h 119"/>
                <a:gd name="T66" fmla="*/ 15 w 164"/>
                <a:gd name="T67" fmla="*/ 0 h 119"/>
                <a:gd name="T68" fmla="*/ 0 w 164"/>
                <a:gd name="T69" fmla="*/ 0 h 119"/>
                <a:gd name="T70" fmla="*/ 0 w 164"/>
                <a:gd name="T71" fmla="*/ 3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119">
                  <a:moveTo>
                    <a:pt x="0" y="38"/>
                  </a:moveTo>
                  <a:lnTo>
                    <a:pt x="0" y="38"/>
                  </a:lnTo>
                  <a:lnTo>
                    <a:pt x="23" y="38"/>
                  </a:lnTo>
                  <a:lnTo>
                    <a:pt x="42" y="42"/>
                  </a:lnTo>
                  <a:lnTo>
                    <a:pt x="61" y="47"/>
                  </a:lnTo>
                  <a:lnTo>
                    <a:pt x="76" y="53"/>
                  </a:lnTo>
                  <a:lnTo>
                    <a:pt x="91" y="61"/>
                  </a:lnTo>
                  <a:lnTo>
                    <a:pt x="104" y="70"/>
                  </a:lnTo>
                  <a:lnTo>
                    <a:pt x="115" y="80"/>
                  </a:lnTo>
                  <a:lnTo>
                    <a:pt x="126" y="91"/>
                  </a:lnTo>
                  <a:lnTo>
                    <a:pt x="126" y="91"/>
                  </a:lnTo>
                  <a:lnTo>
                    <a:pt x="152" y="119"/>
                  </a:lnTo>
                  <a:lnTo>
                    <a:pt x="153" y="118"/>
                  </a:lnTo>
                  <a:lnTo>
                    <a:pt x="153" y="118"/>
                  </a:lnTo>
                  <a:lnTo>
                    <a:pt x="158" y="111"/>
                  </a:lnTo>
                  <a:lnTo>
                    <a:pt x="162" y="105"/>
                  </a:lnTo>
                  <a:lnTo>
                    <a:pt x="164" y="98"/>
                  </a:lnTo>
                  <a:lnTo>
                    <a:pt x="164" y="91"/>
                  </a:lnTo>
                  <a:lnTo>
                    <a:pt x="164" y="91"/>
                  </a:lnTo>
                  <a:lnTo>
                    <a:pt x="164" y="83"/>
                  </a:lnTo>
                  <a:lnTo>
                    <a:pt x="162" y="77"/>
                  </a:lnTo>
                  <a:lnTo>
                    <a:pt x="158" y="70"/>
                  </a:lnTo>
                  <a:lnTo>
                    <a:pt x="154" y="65"/>
                  </a:lnTo>
                  <a:lnTo>
                    <a:pt x="154" y="65"/>
                  </a:lnTo>
                  <a:lnTo>
                    <a:pt x="144" y="54"/>
                  </a:lnTo>
                  <a:lnTo>
                    <a:pt x="130" y="43"/>
                  </a:lnTo>
                  <a:lnTo>
                    <a:pt x="115" y="32"/>
                  </a:lnTo>
                  <a:lnTo>
                    <a:pt x="98" y="22"/>
                  </a:lnTo>
                  <a:lnTo>
                    <a:pt x="78" y="13"/>
                  </a:lnTo>
                  <a:lnTo>
                    <a:pt x="67" y="9"/>
                  </a:lnTo>
                  <a:lnTo>
                    <a:pt x="56" y="7"/>
                  </a:lnTo>
                  <a:lnTo>
                    <a:pt x="42" y="4"/>
                  </a:lnTo>
                  <a:lnTo>
                    <a:pt x="29" y="2"/>
                  </a:lnTo>
                  <a:lnTo>
                    <a:pt x="15" y="0"/>
                  </a:lnTo>
                  <a:lnTo>
                    <a:pt x="0" y="0"/>
                  </a:lnTo>
                  <a:lnTo>
                    <a:pt x="0" y="38"/>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4" name="Freeform 436"/>
            <p:cNvSpPr>
              <a:spLocks/>
            </p:cNvSpPr>
            <p:nvPr/>
          </p:nvSpPr>
          <p:spPr bwMode="auto">
            <a:xfrm>
              <a:off x="2792451" y="2627328"/>
              <a:ext cx="47625" cy="28575"/>
            </a:xfrm>
            <a:custGeom>
              <a:avLst/>
              <a:gdLst>
                <a:gd name="T0" fmla="*/ 152 w 152"/>
                <a:gd name="T1" fmla="*/ 0 h 90"/>
                <a:gd name="T2" fmla="*/ 152 w 152"/>
                <a:gd name="T3" fmla="*/ 37 h 90"/>
                <a:gd name="T4" fmla="*/ 152 w 152"/>
                <a:gd name="T5" fmla="*/ 37 h 90"/>
                <a:gd name="T6" fmla="*/ 133 w 152"/>
                <a:gd name="T7" fmla="*/ 38 h 90"/>
                <a:gd name="T8" fmla="*/ 118 w 152"/>
                <a:gd name="T9" fmla="*/ 40 h 90"/>
                <a:gd name="T10" fmla="*/ 103 w 152"/>
                <a:gd name="T11" fmla="*/ 45 h 90"/>
                <a:gd name="T12" fmla="*/ 91 w 152"/>
                <a:gd name="T13" fmla="*/ 50 h 90"/>
                <a:gd name="T14" fmla="*/ 80 w 152"/>
                <a:gd name="T15" fmla="*/ 56 h 90"/>
                <a:gd name="T16" fmla="*/ 70 w 152"/>
                <a:gd name="T17" fmla="*/ 64 h 90"/>
                <a:gd name="T18" fmla="*/ 60 w 152"/>
                <a:gd name="T19" fmla="*/ 71 h 90"/>
                <a:gd name="T20" fmla="*/ 53 w 152"/>
                <a:gd name="T21" fmla="*/ 78 h 90"/>
                <a:gd name="T22" fmla="*/ 53 w 152"/>
                <a:gd name="T23" fmla="*/ 78 h 90"/>
                <a:gd name="T24" fmla="*/ 47 w 152"/>
                <a:gd name="T25" fmla="*/ 83 h 90"/>
                <a:gd name="T26" fmla="*/ 41 w 152"/>
                <a:gd name="T27" fmla="*/ 87 h 90"/>
                <a:gd name="T28" fmla="*/ 33 w 152"/>
                <a:gd name="T29" fmla="*/ 89 h 90"/>
                <a:gd name="T30" fmla="*/ 27 w 152"/>
                <a:gd name="T31" fmla="*/ 90 h 90"/>
                <a:gd name="T32" fmla="*/ 20 w 152"/>
                <a:gd name="T33" fmla="*/ 89 h 90"/>
                <a:gd name="T34" fmla="*/ 13 w 152"/>
                <a:gd name="T35" fmla="*/ 88 h 90"/>
                <a:gd name="T36" fmla="*/ 7 w 152"/>
                <a:gd name="T37" fmla="*/ 84 h 90"/>
                <a:gd name="T38" fmla="*/ 0 w 152"/>
                <a:gd name="T39" fmla="*/ 81 h 90"/>
                <a:gd name="T40" fmla="*/ 0 w 152"/>
                <a:gd name="T41" fmla="*/ 81 h 90"/>
                <a:gd name="T42" fmla="*/ 26 w 152"/>
                <a:gd name="T43" fmla="*/ 53 h 90"/>
                <a:gd name="T44" fmla="*/ 26 w 152"/>
                <a:gd name="T45" fmla="*/ 53 h 90"/>
                <a:gd name="T46" fmla="*/ 37 w 152"/>
                <a:gd name="T47" fmla="*/ 42 h 90"/>
                <a:gd name="T48" fmla="*/ 48 w 152"/>
                <a:gd name="T49" fmla="*/ 32 h 90"/>
                <a:gd name="T50" fmla="*/ 61 w 152"/>
                <a:gd name="T51" fmla="*/ 23 h 90"/>
                <a:gd name="T52" fmla="*/ 76 w 152"/>
                <a:gd name="T53" fmla="*/ 15 h 90"/>
                <a:gd name="T54" fmla="*/ 92 w 152"/>
                <a:gd name="T55" fmla="*/ 9 h 90"/>
                <a:gd name="T56" fmla="*/ 110 w 152"/>
                <a:gd name="T57" fmla="*/ 4 h 90"/>
                <a:gd name="T58" fmla="*/ 130 w 152"/>
                <a:gd name="T59" fmla="*/ 0 h 90"/>
                <a:gd name="T60" fmla="*/ 152 w 152"/>
                <a:gd name="T61" fmla="*/ 0 h 90"/>
                <a:gd name="T62" fmla="*/ 152 w 152"/>
                <a:gd name="T6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90">
                  <a:moveTo>
                    <a:pt x="152" y="0"/>
                  </a:moveTo>
                  <a:lnTo>
                    <a:pt x="152" y="37"/>
                  </a:lnTo>
                  <a:lnTo>
                    <a:pt x="152" y="37"/>
                  </a:lnTo>
                  <a:lnTo>
                    <a:pt x="133" y="38"/>
                  </a:lnTo>
                  <a:lnTo>
                    <a:pt x="118" y="40"/>
                  </a:lnTo>
                  <a:lnTo>
                    <a:pt x="103" y="45"/>
                  </a:lnTo>
                  <a:lnTo>
                    <a:pt x="91" y="50"/>
                  </a:lnTo>
                  <a:lnTo>
                    <a:pt x="80" y="56"/>
                  </a:lnTo>
                  <a:lnTo>
                    <a:pt x="70" y="64"/>
                  </a:lnTo>
                  <a:lnTo>
                    <a:pt x="60" y="71"/>
                  </a:lnTo>
                  <a:lnTo>
                    <a:pt x="53" y="78"/>
                  </a:lnTo>
                  <a:lnTo>
                    <a:pt x="53" y="78"/>
                  </a:lnTo>
                  <a:lnTo>
                    <a:pt x="47" y="83"/>
                  </a:lnTo>
                  <a:lnTo>
                    <a:pt x="41" y="87"/>
                  </a:lnTo>
                  <a:lnTo>
                    <a:pt x="33" y="89"/>
                  </a:lnTo>
                  <a:lnTo>
                    <a:pt x="27" y="90"/>
                  </a:lnTo>
                  <a:lnTo>
                    <a:pt x="20" y="89"/>
                  </a:lnTo>
                  <a:lnTo>
                    <a:pt x="13" y="88"/>
                  </a:lnTo>
                  <a:lnTo>
                    <a:pt x="7" y="84"/>
                  </a:lnTo>
                  <a:lnTo>
                    <a:pt x="0" y="81"/>
                  </a:lnTo>
                  <a:lnTo>
                    <a:pt x="0" y="81"/>
                  </a:lnTo>
                  <a:lnTo>
                    <a:pt x="26" y="53"/>
                  </a:lnTo>
                  <a:lnTo>
                    <a:pt x="26" y="53"/>
                  </a:lnTo>
                  <a:lnTo>
                    <a:pt x="37" y="42"/>
                  </a:lnTo>
                  <a:lnTo>
                    <a:pt x="48" y="32"/>
                  </a:lnTo>
                  <a:lnTo>
                    <a:pt x="61" y="23"/>
                  </a:lnTo>
                  <a:lnTo>
                    <a:pt x="76" y="15"/>
                  </a:lnTo>
                  <a:lnTo>
                    <a:pt x="92" y="9"/>
                  </a:lnTo>
                  <a:lnTo>
                    <a:pt x="110" y="4"/>
                  </a:lnTo>
                  <a:lnTo>
                    <a:pt x="130" y="0"/>
                  </a:lnTo>
                  <a:lnTo>
                    <a:pt x="152" y="0"/>
                  </a:lnTo>
                  <a:lnTo>
                    <a:pt x="152"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5" name="Freeform 437"/>
            <p:cNvSpPr>
              <a:spLocks/>
            </p:cNvSpPr>
            <p:nvPr/>
          </p:nvSpPr>
          <p:spPr bwMode="auto">
            <a:xfrm>
              <a:off x="2789276" y="2616216"/>
              <a:ext cx="50800" cy="38100"/>
            </a:xfrm>
            <a:custGeom>
              <a:avLst/>
              <a:gdLst>
                <a:gd name="T0" fmla="*/ 164 w 164"/>
                <a:gd name="T1" fmla="*/ 38 h 119"/>
                <a:gd name="T2" fmla="*/ 164 w 164"/>
                <a:gd name="T3" fmla="*/ 38 h 119"/>
                <a:gd name="T4" fmla="*/ 142 w 164"/>
                <a:gd name="T5" fmla="*/ 38 h 119"/>
                <a:gd name="T6" fmla="*/ 122 w 164"/>
                <a:gd name="T7" fmla="*/ 42 h 119"/>
                <a:gd name="T8" fmla="*/ 104 w 164"/>
                <a:gd name="T9" fmla="*/ 47 h 119"/>
                <a:gd name="T10" fmla="*/ 88 w 164"/>
                <a:gd name="T11" fmla="*/ 53 h 119"/>
                <a:gd name="T12" fmla="*/ 73 w 164"/>
                <a:gd name="T13" fmla="*/ 61 h 119"/>
                <a:gd name="T14" fmla="*/ 60 w 164"/>
                <a:gd name="T15" fmla="*/ 70 h 119"/>
                <a:gd name="T16" fmla="*/ 49 w 164"/>
                <a:gd name="T17" fmla="*/ 80 h 119"/>
                <a:gd name="T18" fmla="*/ 38 w 164"/>
                <a:gd name="T19" fmla="*/ 91 h 119"/>
                <a:gd name="T20" fmla="*/ 38 w 164"/>
                <a:gd name="T21" fmla="*/ 91 h 119"/>
                <a:gd name="T22" fmla="*/ 12 w 164"/>
                <a:gd name="T23" fmla="*/ 119 h 119"/>
                <a:gd name="T24" fmla="*/ 11 w 164"/>
                <a:gd name="T25" fmla="*/ 118 h 119"/>
                <a:gd name="T26" fmla="*/ 11 w 164"/>
                <a:gd name="T27" fmla="*/ 118 h 119"/>
                <a:gd name="T28" fmla="*/ 6 w 164"/>
                <a:gd name="T29" fmla="*/ 111 h 119"/>
                <a:gd name="T30" fmla="*/ 3 w 164"/>
                <a:gd name="T31" fmla="*/ 105 h 119"/>
                <a:gd name="T32" fmla="*/ 0 w 164"/>
                <a:gd name="T33" fmla="*/ 98 h 119"/>
                <a:gd name="T34" fmla="*/ 0 w 164"/>
                <a:gd name="T35" fmla="*/ 91 h 119"/>
                <a:gd name="T36" fmla="*/ 0 w 164"/>
                <a:gd name="T37" fmla="*/ 91 h 119"/>
                <a:gd name="T38" fmla="*/ 0 w 164"/>
                <a:gd name="T39" fmla="*/ 83 h 119"/>
                <a:gd name="T40" fmla="*/ 3 w 164"/>
                <a:gd name="T41" fmla="*/ 77 h 119"/>
                <a:gd name="T42" fmla="*/ 6 w 164"/>
                <a:gd name="T43" fmla="*/ 70 h 119"/>
                <a:gd name="T44" fmla="*/ 10 w 164"/>
                <a:gd name="T45" fmla="*/ 65 h 119"/>
                <a:gd name="T46" fmla="*/ 10 w 164"/>
                <a:gd name="T47" fmla="*/ 65 h 119"/>
                <a:gd name="T48" fmla="*/ 21 w 164"/>
                <a:gd name="T49" fmla="*/ 54 h 119"/>
                <a:gd name="T50" fmla="*/ 34 w 164"/>
                <a:gd name="T51" fmla="*/ 43 h 119"/>
                <a:gd name="T52" fmla="*/ 49 w 164"/>
                <a:gd name="T53" fmla="*/ 32 h 119"/>
                <a:gd name="T54" fmla="*/ 66 w 164"/>
                <a:gd name="T55" fmla="*/ 22 h 119"/>
                <a:gd name="T56" fmla="*/ 87 w 164"/>
                <a:gd name="T57" fmla="*/ 13 h 119"/>
                <a:gd name="T58" fmla="*/ 98 w 164"/>
                <a:gd name="T59" fmla="*/ 9 h 119"/>
                <a:gd name="T60" fmla="*/ 109 w 164"/>
                <a:gd name="T61" fmla="*/ 7 h 119"/>
                <a:gd name="T62" fmla="*/ 122 w 164"/>
                <a:gd name="T63" fmla="*/ 4 h 119"/>
                <a:gd name="T64" fmla="*/ 136 w 164"/>
                <a:gd name="T65" fmla="*/ 2 h 119"/>
                <a:gd name="T66" fmla="*/ 149 w 164"/>
                <a:gd name="T67" fmla="*/ 0 h 119"/>
                <a:gd name="T68" fmla="*/ 164 w 164"/>
                <a:gd name="T69" fmla="*/ 0 h 119"/>
                <a:gd name="T70" fmla="*/ 164 w 164"/>
                <a:gd name="T71" fmla="*/ 3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119">
                  <a:moveTo>
                    <a:pt x="164" y="38"/>
                  </a:moveTo>
                  <a:lnTo>
                    <a:pt x="164" y="38"/>
                  </a:lnTo>
                  <a:lnTo>
                    <a:pt x="142" y="38"/>
                  </a:lnTo>
                  <a:lnTo>
                    <a:pt x="122" y="42"/>
                  </a:lnTo>
                  <a:lnTo>
                    <a:pt x="104" y="47"/>
                  </a:lnTo>
                  <a:lnTo>
                    <a:pt x="88" y="53"/>
                  </a:lnTo>
                  <a:lnTo>
                    <a:pt x="73" y="61"/>
                  </a:lnTo>
                  <a:lnTo>
                    <a:pt x="60" y="70"/>
                  </a:lnTo>
                  <a:lnTo>
                    <a:pt x="49" y="80"/>
                  </a:lnTo>
                  <a:lnTo>
                    <a:pt x="38" y="91"/>
                  </a:lnTo>
                  <a:lnTo>
                    <a:pt x="38" y="91"/>
                  </a:lnTo>
                  <a:lnTo>
                    <a:pt x="12" y="119"/>
                  </a:lnTo>
                  <a:lnTo>
                    <a:pt x="11" y="118"/>
                  </a:lnTo>
                  <a:lnTo>
                    <a:pt x="11" y="118"/>
                  </a:lnTo>
                  <a:lnTo>
                    <a:pt x="6" y="111"/>
                  </a:lnTo>
                  <a:lnTo>
                    <a:pt x="3" y="105"/>
                  </a:lnTo>
                  <a:lnTo>
                    <a:pt x="0" y="98"/>
                  </a:lnTo>
                  <a:lnTo>
                    <a:pt x="0" y="91"/>
                  </a:lnTo>
                  <a:lnTo>
                    <a:pt x="0" y="91"/>
                  </a:lnTo>
                  <a:lnTo>
                    <a:pt x="0" y="83"/>
                  </a:lnTo>
                  <a:lnTo>
                    <a:pt x="3" y="77"/>
                  </a:lnTo>
                  <a:lnTo>
                    <a:pt x="6" y="70"/>
                  </a:lnTo>
                  <a:lnTo>
                    <a:pt x="10" y="65"/>
                  </a:lnTo>
                  <a:lnTo>
                    <a:pt x="10" y="65"/>
                  </a:lnTo>
                  <a:lnTo>
                    <a:pt x="21" y="54"/>
                  </a:lnTo>
                  <a:lnTo>
                    <a:pt x="34" y="43"/>
                  </a:lnTo>
                  <a:lnTo>
                    <a:pt x="49" y="32"/>
                  </a:lnTo>
                  <a:lnTo>
                    <a:pt x="66" y="22"/>
                  </a:lnTo>
                  <a:lnTo>
                    <a:pt x="87" y="13"/>
                  </a:lnTo>
                  <a:lnTo>
                    <a:pt x="98" y="9"/>
                  </a:lnTo>
                  <a:lnTo>
                    <a:pt x="109" y="7"/>
                  </a:lnTo>
                  <a:lnTo>
                    <a:pt x="122" y="4"/>
                  </a:lnTo>
                  <a:lnTo>
                    <a:pt x="136" y="2"/>
                  </a:lnTo>
                  <a:lnTo>
                    <a:pt x="149" y="0"/>
                  </a:lnTo>
                  <a:lnTo>
                    <a:pt x="164" y="0"/>
                  </a:lnTo>
                  <a:lnTo>
                    <a:pt x="164" y="38"/>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6" name="Rectangle 438"/>
            <p:cNvSpPr>
              <a:spLocks noChangeArrowheads="1"/>
            </p:cNvSpPr>
            <p:nvPr/>
          </p:nvSpPr>
          <p:spPr bwMode="auto">
            <a:xfrm>
              <a:off x="2821026" y="2540015"/>
              <a:ext cx="19050" cy="33338"/>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7" name="Rectangle 439"/>
            <p:cNvSpPr>
              <a:spLocks noChangeArrowheads="1"/>
            </p:cNvSpPr>
            <p:nvPr/>
          </p:nvSpPr>
          <p:spPr bwMode="auto">
            <a:xfrm>
              <a:off x="2840077" y="2540015"/>
              <a:ext cx="20638" cy="33338"/>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8" name="Freeform 440"/>
            <p:cNvSpPr>
              <a:spLocks/>
            </p:cNvSpPr>
            <p:nvPr/>
          </p:nvSpPr>
          <p:spPr bwMode="auto">
            <a:xfrm>
              <a:off x="2813089" y="2492389"/>
              <a:ext cx="55563" cy="6350"/>
            </a:xfrm>
            <a:custGeom>
              <a:avLst/>
              <a:gdLst>
                <a:gd name="T0" fmla="*/ 155 w 177"/>
                <a:gd name="T1" fmla="*/ 0 h 22"/>
                <a:gd name="T2" fmla="*/ 22 w 177"/>
                <a:gd name="T3" fmla="*/ 0 h 22"/>
                <a:gd name="T4" fmla="*/ 22 w 177"/>
                <a:gd name="T5" fmla="*/ 0 h 22"/>
                <a:gd name="T6" fmla="*/ 17 w 177"/>
                <a:gd name="T7" fmla="*/ 2 h 22"/>
                <a:gd name="T8" fmla="*/ 13 w 177"/>
                <a:gd name="T9" fmla="*/ 3 h 22"/>
                <a:gd name="T10" fmla="*/ 10 w 177"/>
                <a:gd name="T11" fmla="*/ 4 h 22"/>
                <a:gd name="T12" fmla="*/ 6 w 177"/>
                <a:gd name="T13" fmla="*/ 6 h 22"/>
                <a:gd name="T14" fmla="*/ 4 w 177"/>
                <a:gd name="T15" fmla="*/ 10 h 22"/>
                <a:gd name="T16" fmla="*/ 1 w 177"/>
                <a:gd name="T17" fmla="*/ 14 h 22"/>
                <a:gd name="T18" fmla="*/ 0 w 177"/>
                <a:gd name="T19" fmla="*/ 19 h 22"/>
                <a:gd name="T20" fmla="*/ 0 w 177"/>
                <a:gd name="T21" fmla="*/ 22 h 22"/>
                <a:gd name="T22" fmla="*/ 177 w 177"/>
                <a:gd name="T23" fmla="*/ 22 h 22"/>
                <a:gd name="T24" fmla="*/ 177 w 177"/>
                <a:gd name="T25" fmla="*/ 22 h 22"/>
                <a:gd name="T26" fmla="*/ 177 w 177"/>
                <a:gd name="T27" fmla="*/ 19 h 22"/>
                <a:gd name="T28" fmla="*/ 175 w 177"/>
                <a:gd name="T29" fmla="*/ 14 h 22"/>
                <a:gd name="T30" fmla="*/ 173 w 177"/>
                <a:gd name="T31" fmla="*/ 10 h 22"/>
                <a:gd name="T32" fmla="*/ 171 w 177"/>
                <a:gd name="T33" fmla="*/ 6 h 22"/>
                <a:gd name="T34" fmla="*/ 167 w 177"/>
                <a:gd name="T35" fmla="*/ 4 h 22"/>
                <a:gd name="T36" fmla="*/ 163 w 177"/>
                <a:gd name="T37" fmla="*/ 3 h 22"/>
                <a:gd name="T38" fmla="*/ 160 w 177"/>
                <a:gd name="T39" fmla="*/ 2 h 22"/>
                <a:gd name="T40" fmla="*/ 155 w 177"/>
                <a:gd name="T41" fmla="*/ 0 h 22"/>
                <a:gd name="T42" fmla="*/ 155 w 177"/>
                <a:gd name="T4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7" h="22">
                  <a:moveTo>
                    <a:pt x="155" y="0"/>
                  </a:moveTo>
                  <a:lnTo>
                    <a:pt x="22" y="0"/>
                  </a:lnTo>
                  <a:lnTo>
                    <a:pt x="22" y="0"/>
                  </a:lnTo>
                  <a:lnTo>
                    <a:pt x="17" y="2"/>
                  </a:lnTo>
                  <a:lnTo>
                    <a:pt x="13" y="3"/>
                  </a:lnTo>
                  <a:lnTo>
                    <a:pt x="10" y="4"/>
                  </a:lnTo>
                  <a:lnTo>
                    <a:pt x="6" y="6"/>
                  </a:lnTo>
                  <a:lnTo>
                    <a:pt x="4" y="10"/>
                  </a:lnTo>
                  <a:lnTo>
                    <a:pt x="1" y="14"/>
                  </a:lnTo>
                  <a:lnTo>
                    <a:pt x="0" y="19"/>
                  </a:lnTo>
                  <a:lnTo>
                    <a:pt x="0" y="22"/>
                  </a:lnTo>
                  <a:lnTo>
                    <a:pt x="177" y="22"/>
                  </a:lnTo>
                  <a:lnTo>
                    <a:pt x="177" y="22"/>
                  </a:lnTo>
                  <a:lnTo>
                    <a:pt x="177" y="19"/>
                  </a:lnTo>
                  <a:lnTo>
                    <a:pt x="175" y="14"/>
                  </a:lnTo>
                  <a:lnTo>
                    <a:pt x="173" y="10"/>
                  </a:lnTo>
                  <a:lnTo>
                    <a:pt x="171" y="6"/>
                  </a:lnTo>
                  <a:lnTo>
                    <a:pt x="167" y="4"/>
                  </a:lnTo>
                  <a:lnTo>
                    <a:pt x="163" y="3"/>
                  </a:lnTo>
                  <a:lnTo>
                    <a:pt x="160" y="2"/>
                  </a:lnTo>
                  <a:lnTo>
                    <a:pt x="155" y="0"/>
                  </a:lnTo>
                  <a:lnTo>
                    <a:pt x="155"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9" name="Freeform 441"/>
            <p:cNvSpPr>
              <a:spLocks/>
            </p:cNvSpPr>
            <p:nvPr/>
          </p:nvSpPr>
          <p:spPr bwMode="auto">
            <a:xfrm>
              <a:off x="2813089" y="2498739"/>
              <a:ext cx="55563" cy="7938"/>
            </a:xfrm>
            <a:custGeom>
              <a:avLst/>
              <a:gdLst>
                <a:gd name="T0" fmla="*/ 0 w 177"/>
                <a:gd name="T1" fmla="*/ 0 h 22"/>
                <a:gd name="T2" fmla="*/ 0 w 177"/>
                <a:gd name="T3" fmla="*/ 0 h 22"/>
                <a:gd name="T4" fmla="*/ 0 w 177"/>
                <a:gd name="T5" fmla="*/ 5 h 22"/>
                <a:gd name="T6" fmla="*/ 1 w 177"/>
                <a:gd name="T7" fmla="*/ 9 h 22"/>
                <a:gd name="T8" fmla="*/ 4 w 177"/>
                <a:gd name="T9" fmla="*/ 12 h 22"/>
                <a:gd name="T10" fmla="*/ 6 w 177"/>
                <a:gd name="T11" fmla="*/ 16 h 22"/>
                <a:gd name="T12" fmla="*/ 10 w 177"/>
                <a:gd name="T13" fmla="*/ 19 h 22"/>
                <a:gd name="T14" fmla="*/ 13 w 177"/>
                <a:gd name="T15" fmla="*/ 21 h 22"/>
                <a:gd name="T16" fmla="*/ 17 w 177"/>
                <a:gd name="T17" fmla="*/ 22 h 22"/>
                <a:gd name="T18" fmla="*/ 22 w 177"/>
                <a:gd name="T19" fmla="*/ 22 h 22"/>
                <a:gd name="T20" fmla="*/ 155 w 177"/>
                <a:gd name="T21" fmla="*/ 22 h 22"/>
                <a:gd name="T22" fmla="*/ 155 w 177"/>
                <a:gd name="T23" fmla="*/ 22 h 22"/>
                <a:gd name="T24" fmla="*/ 160 w 177"/>
                <a:gd name="T25" fmla="*/ 22 h 22"/>
                <a:gd name="T26" fmla="*/ 163 w 177"/>
                <a:gd name="T27" fmla="*/ 21 h 22"/>
                <a:gd name="T28" fmla="*/ 167 w 177"/>
                <a:gd name="T29" fmla="*/ 19 h 22"/>
                <a:gd name="T30" fmla="*/ 171 w 177"/>
                <a:gd name="T31" fmla="*/ 16 h 22"/>
                <a:gd name="T32" fmla="*/ 173 w 177"/>
                <a:gd name="T33" fmla="*/ 12 h 22"/>
                <a:gd name="T34" fmla="*/ 175 w 177"/>
                <a:gd name="T35" fmla="*/ 9 h 22"/>
                <a:gd name="T36" fmla="*/ 177 w 177"/>
                <a:gd name="T37" fmla="*/ 5 h 22"/>
                <a:gd name="T38" fmla="*/ 177 w 177"/>
                <a:gd name="T39" fmla="*/ 0 h 22"/>
                <a:gd name="T40" fmla="*/ 0 w 177"/>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7" h="22">
                  <a:moveTo>
                    <a:pt x="0" y="0"/>
                  </a:moveTo>
                  <a:lnTo>
                    <a:pt x="0" y="0"/>
                  </a:lnTo>
                  <a:lnTo>
                    <a:pt x="0" y="5"/>
                  </a:lnTo>
                  <a:lnTo>
                    <a:pt x="1" y="9"/>
                  </a:lnTo>
                  <a:lnTo>
                    <a:pt x="4" y="12"/>
                  </a:lnTo>
                  <a:lnTo>
                    <a:pt x="6" y="16"/>
                  </a:lnTo>
                  <a:lnTo>
                    <a:pt x="10" y="19"/>
                  </a:lnTo>
                  <a:lnTo>
                    <a:pt x="13" y="21"/>
                  </a:lnTo>
                  <a:lnTo>
                    <a:pt x="17" y="22"/>
                  </a:lnTo>
                  <a:lnTo>
                    <a:pt x="22" y="22"/>
                  </a:lnTo>
                  <a:lnTo>
                    <a:pt x="155" y="22"/>
                  </a:lnTo>
                  <a:lnTo>
                    <a:pt x="155" y="22"/>
                  </a:lnTo>
                  <a:lnTo>
                    <a:pt x="160" y="22"/>
                  </a:lnTo>
                  <a:lnTo>
                    <a:pt x="163" y="21"/>
                  </a:lnTo>
                  <a:lnTo>
                    <a:pt x="167" y="19"/>
                  </a:lnTo>
                  <a:lnTo>
                    <a:pt x="171" y="16"/>
                  </a:lnTo>
                  <a:lnTo>
                    <a:pt x="173" y="12"/>
                  </a:lnTo>
                  <a:lnTo>
                    <a:pt x="175" y="9"/>
                  </a:lnTo>
                  <a:lnTo>
                    <a:pt x="177" y="5"/>
                  </a:lnTo>
                  <a:lnTo>
                    <a:pt x="177" y="0"/>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0" name="Freeform 442"/>
            <p:cNvSpPr>
              <a:spLocks/>
            </p:cNvSpPr>
            <p:nvPr/>
          </p:nvSpPr>
          <p:spPr bwMode="auto">
            <a:xfrm>
              <a:off x="2840077" y="2335225"/>
              <a:ext cx="19050" cy="23813"/>
            </a:xfrm>
            <a:custGeom>
              <a:avLst/>
              <a:gdLst>
                <a:gd name="T0" fmla="*/ 0 w 57"/>
                <a:gd name="T1" fmla="*/ 0 h 74"/>
                <a:gd name="T2" fmla="*/ 0 w 57"/>
                <a:gd name="T3" fmla="*/ 57 h 74"/>
                <a:gd name="T4" fmla="*/ 0 w 57"/>
                <a:gd name="T5" fmla="*/ 74 h 74"/>
                <a:gd name="T6" fmla="*/ 57 w 57"/>
                <a:gd name="T7" fmla="*/ 74 h 74"/>
                <a:gd name="T8" fmla="*/ 57 w 57"/>
                <a:gd name="T9" fmla="*/ 57 h 74"/>
                <a:gd name="T10" fmla="*/ 57 w 57"/>
                <a:gd name="T11" fmla="*/ 57 h 74"/>
                <a:gd name="T12" fmla="*/ 56 w 57"/>
                <a:gd name="T13" fmla="*/ 46 h 74"/>
                <a:gd name="T14" fmla="*/ 53 w 57"/>
                <a:gd name="T15" fmla="*/ 35 h 74"/>
                <a:gd name="T16" fmla="*/ 47 w 57"/>
                <a:gd name="T17" fmla="*/ 25 h 74"/>
                <a:gd name="T18" fmla="*/ 41 w 57"/>
                <a:gd name="T19" fmla="*/ 17 h 74"/>
                <a:gd name="T20" fmla="*/ 33 w 57"/>
                <a:gd name="T21" fmla="*/ 9 h 74"/>
                <a:gd name="T22" fmla="*/ 23 w 57"/>
                <a:gd name="T23" fmla="*/ 5 h 74"/>
                <a:gd name="T24" fmla="*/ 12 w 57"/>
                <a:gd name="T25" fmla="*/ 1 h 74"/>
                <a:gd name="T26" fmla="*/ 0 w 57"/>
                <a:gd name="T27" fmla="*/ 0 h 74"/>
                <a:gd name="T28" fmla="*/ 0 w 57"/>
                <a:gd name="T29"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 h="74">
                  <a:moveTo>
                    <a:pt x="0" y="0"/>
                  </a:moveTo>
                  <a:lnTo>
                    <a:pt x="0" y="57"/>
                  </a:lnTo>
                  <a:lnTo>
                    <a:pt x="0" y="74"/>
                  </a:lnTo>
                  <a:lnTo>
                    <a:pt x="57" y="74"/>
                  </a:lnTo>
                  <a:lnTo>
                    <a:pt x="57" y="57"/>
                  </a:lnTo>
                  <a:lnTo>
                    <a:pt x="57" y="57"/>
                  </a:lnTo>
                  <a:lnTo>
                    <a:pt x="56" y="46"/>
                  </a:lnTo>
                  <a:lnTo>
                    <a:pt x="53" y="35"/>
                  </a:lnTo>
                  <a:lnTo>
                    <a:pt x="47" y="25"/>
                  </a:lnTo>
                  <a:lnTo>
                    <a:pt x="41" y="17"/>
                  </a:lnTo>
                  <a:lnTo>
                    <a:pt x="33" y="9"/>
                  </a:lnTo>
                  <a:lnTo>
                    <a:pt x="23" y="5"/>
                  </a:lnTo>
                  <a:lnTo>
                    <a:pt x="12" y="1"/>
                  </a:lnTo>
                  <a:lnTo>
                    <a:pt x="0" y="0"/>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1" name="Freeform 443"/>
            <p:cNvSpPr>
              <a:spLocks/>
            </p:cNvSpPr>
            <p:nvPr/>
          </p:nvSpPr>
          <p:spPr bwMode="auto">
            <a:xfrm>
              <a:off x="2822614" y="2335225"/>
              <a:ext cx="17463" cy="23813"/>
            </a:xfrm>
            <a:custGeom>
              <a:avLst/>
              <a:gdLst>
                <a:gd name="T0" fmla="*/ 0 w 56"/>
                <a:gd name="T1" fmla="*/ 57 h 74"/>
                <a:gd name="T2" fmla="*/ 0 w 56"/>
                <a:gd name="T3" fmla="*/ 74 h 74"/>
                <a:gd name="T4" fmla="*/ 56 w 56"/>
                <a:gd name="T5" fmla="*/ 74 h 74"/>
                <a:gd name="T6" fmla="*/ 56 w 56"/>
                <a:gd name="T7" fmla="*/ 57 h 74"/>
                <a:gd name="T8" fmla="*/ 56 w 56"/>
                <a:gd name="T9" fmla="*/ 0 h 74"/>
                <a:gd name="T10" fmla="*/ 56 w 56"/>
                <a:gd name="T11" fmla="*/ 0 h 74"/>
                <a:gd name="T12" fmla="*/ 45 w 56"/>
                <a:gd name="T13" fmla="*/ 1 h 74"/>
                <a:gd name="T14" fmla="*/ 34 w 56"/>
                <a:gd name="T15" fmla="*/ 5 h 74"/>
                <a:gd name="T16" fmla="*/ 24 w 56"/>
                <a:gd name="T17" fmla="*/ 9 h 74"/>
                <a:gd name="T18" fmla="*/ 15 w 56"/>
                <a:gd name="T19" fmla="*/ 17 h 74"/>
                <a:gd name="T20" fmla="*/ 9 w 56"/>
                <a:gd name="T21" fmla="*/ 25 h 74"/>
                <a:gd name="T22" fmla="*/ 3 w 56"/>
                <a:gd name="T23" fmla="*/ 35 h 74"/>
                <a:gd name="T24" fmla="*/ 1 w 56"/>
                <a:gd name="T25" fmla="*/ 46 h 74"/>
                <a:gd name="T26" fmla="*/ 0 w 56"/>
                <a:gd name="T27" fmla="*/ 57 h 74"/>
                <a:gd name="T28" fmla="*/ 0 w 56"/>
                <a:gd name="T29" fmla="*/ 5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74">
                  <a:moveTo>
                    <a:pt x="0" y="57"/>
                  </a:moveTo>
                  <a:lnTo>
                    <a:pt x="0" y="74"/>
                  </a:lnTo>
                  <a:lnTo>
                    <a:pt x="56" y="74"/>
                  </a:lnTo>
                  <a:lnTo>
                    <a:pt x="56" y="57"/>
                  </a:lnTo>
                  <a:lnTo>
                    <a:pt x="56" y="0"/>
                  </a:lnTo>
                  <a:lnTo>
                    <a:pt x="56" y="0"/>
                  </a:lnTo>
                  <a:lnTo>
                    <a:pt x="45" y="1"/>
                  </a:lnTo>
                  <a:lnTo>
                    <a:pt x="34" y="5"/>
                  </a:lnTo>
                  <a:lnTo>
                    <a:pt x="24" y="9"/>
                  </a:lnTo>
                  <a:lnTo>
                    <a:pt x="15" y="17"/>
                  </a:lnTo>
                  <a:lnTo>
                    <a:pt x="9" y="25"/>
                  </a:lnTo>
                  <a:lnTo>
                    <a:pt x="3" y="35"/>
                  </a:lnTo>
                  <a:lnTo>
                    <a:pt x="1" y="46"/>
                  </a:lnTo>
                  <a:lnTo>
                    <a:pt x="0" y="57"/>
                  </a:lnTo>
                  <a:lnTo>
                    <a:pt x="0" y="57"/>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2" name="Freeform 444"/>
            <p:cNvSpPr>
              <a:spLocks/>
            </p:cNvSpPr>
            <p:nvPr/>
          </p:nvSpPr>
          <p:spPr bwMode="auto">
            <a:xfrm>
              <a:off x="2809914" y="2359038"/>
              <a:ext cx="30163" cy="44450"/>
            </a:xfrm>
            <a:custGeom>
              <a:avLst/>
              <a:gdLst>
                <a:gd name="T0" fmla="*/ 40 w 95"/>
                <a:gd name="T1" fmla="*/ 0 h 141"/>
                <a:gd name="T2" fmla="*/ 40 w 95"/>
                <a:gd name="T3" fmla="*/ 0 h 141"/>
                <a:gd name="T4" fmla="*/ 31 w 95"/>
                <a:gd name="T5" fmla="*/ 1 h 141"/>
                <a:gd name="T6" fmla="*/ 24 w 95"/>
                <a:gd name="T7" fmla="*/ 4 h 141"/>
                <a:gd name="T8" fmla="*/ 18 w 95"/>
                <a:gd name="T9" fmla="*/ 7 h 141"/>
                <a:gd name="T10" fmla="*/ 12 w 95"/>
                <a:gd name="T11" fmla="*/ 12 h 141"/>
                <a:gd name="T12" fmla="*/ 7 w 95"/>
                <a:gd name="T13" fmla="*/ 18 h 141"/>
                <a:gd name="T14" fmla="*/ 3 w 95"/>
                <a:gd name="T15" fmla="*/ 24 h 141"/>
                <a:gd name="T16" fmla="*/ 1 w 95"/>
                <a:gd name="T17" fmla="*/ 32 h 141"/>
                <a:gd name="T18" fmla="*/ 0 w 95"/>
                <a:gd name="T19" fmla="*/ 40 h 141"/>
                <a:gd name="T20" fmla="*/ 0 w 95"/>
                <a:gd name="T21" fmla="*/ 141 h 141"/>
                <a:gd name="T22" fmla="*/ 95 w 95"/>
                <a:gd name="T23" fmla="*/ 141 h 141"/>
                <a:gd name="T24" fmla="*/ 95 w 95"/>
                <a:gd name="T25" fmla="*/ 71 h 141"/>
                <a:gd name="T26" fmla="*/ 95 w 95"/>
                <a:gd name="T27" fmla="*/ 0 h 141"/>
                <a:gd name="T28" fmla="*/ 40 w 95"/>
                <a:gd name="T2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1">
                  <a:moveTo>
                    <a:pt x="40" y="0"/>
                  </a:moveTo>
                  <a:lnTo>
                    <a:pt x="40" y="0"/>
                  </a:lnTo>
                  <a:lnTo>
                    <a:pt x="31" y="1"/>
                  </a:lnTo>
                  <a:lnTo>
                    <a:pt x="24" y="4"/>
                  </a:lnTo>
                  <a:lnTo>
                    <a:pt x="18" y="7"/>
                  </a:lnTo>
                  <a:lnTo>
                    <a:pt x="12" y="12"/>
                  </a:lnTo>
                  <a:lnTo>
                    <a:pt x="7" y="18"/>
                  </a:lnTo>
                  <a:lnTo>
                    <a:pt x="3" y="24"/>
                  </a:lnTo>
                  <a:lnTo>
                    <a:pt x="1" y="32"/>
                  </a:lnTo>
                  <a:lnTo>
                    <a:pt x="0" y="40"/>
                  </a:lnTo>
                  <a:lnTo>
                    <a:pt x="0" y="141"/>
                  </a:lnTo>
                  <a:lnTo>
                    <a:pt x="95" y="141"/>
                  </a:lnTo>
                  <a:lnTo>
                    <a:pt x="95" y="71"/>
                  </a:lnTo>
                  <a:lnTo>
                    <a:pt x="95" y="0"/>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3" name="Freeform 445"/>
            <p:cNvSpPr>
              <a:spLocks/>
            </p:cNvSpPr>
            <p:nvPr/>
          </p:nvSpPr>
          <p:spPr bwMode="auto">
            <a:xfrm>
              <a:off x="2840077" y="2359038"/>
              <a:ext cx="31750" cy="44450"/>
            </a:xfrm>
            <a:custGeom>
              <a:avLst/>
              <a:gdLst>
                <a:gd name="T0" fmla="*/ 56 w 96"/>
                <a:gd name="T1" fmla="*/ 0 h 141"/>
                <a:gd name="T2" fmla="*/ 56 w 96"/>
                <a:gd name="T3" fmla="*/ 0 h 141"/>
                <a:gd name="T4" fmla="*/ 64 w 96"/>
                <a:gd name="T5" fmla="*/ 1 h 141"/>
                <a:gd name="T6" fmla="*/ 72 w 96"/>
                <a:gd name="T7" fmla="*/ 4 h 141"/>
                <a:gd name="T8" fmla="*/ 78 w 96"/>
                <a:gd name="T9" fmla="*/ 7 h 141"/>
                <a:gd name="T10" fmla="*/ 84 w 96"/>
                <a:gd name="T11" fmla="*/ 12 h 141"/>
                <a:gd name="T12" fmla="*/ 89 w 96"/>
                <a:gd name="T13" fmla="*/ 18 h 141"/>
                <a:gd name="T14" fmla="*/ 92 w 96"/>
                <a:gd name="T15" fmla="*/ 24 h 141"/>
                <a:gd name="T16" fmla="*/ 95 w 96"/>
                <a:gd name="T17" fmla="*/ 32 h 141"/>
                <a:gd name="T18" fmla="*/ 96 w 96"/>
                <a:gd name="T19" fmla="*/ 40 h 141"/>
                <a:gd name="T20" fmla="*/ 96 w 96"/>
                <a:gd name="T21" fmla="*/ 141 h 141"/>
                <a:gd name="T22" fmla="*/ 0 w 96"/>
                <a:gd name="T23" fmla="*/ 141 h 141"/>
                <a:gd name="T24" fmla="*/ 0 w 96"/>
                <a:gd name="T25" fmla="*/ 71 h 141"/>
                <a:gd name="T26" fmla="*/ 0 w 96"/>
                <a:gd name="T27" fmla="*/ 0 h 141"/>
                <a:gd name="T28" fmla="*/ 56 w 96"/>
                <a:gd name="T2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141">
                  <a:moveTo>
                    <a:pt x="56" y="0"/>
                  </a:moveTo>
                  <a:lnTo>
                    <a:pt x="56" y="0"/>
                  </a:lnTo>
                  <a:lnTo>
                    <a:pt x="64" y="1"/>
                  </a:lnTo>
                  <a:lnTo>
                    <a:pt x="72" y="4"/>
                  </a:lnTo>
                  <a:lnTo>
                    <a:pt x="78" y="7"/>
                  </a:lnTo>
                  <a:lnTo>
                    <a:pt x="84" y="12"/>
                  </a:lnTo>
                  <a:lnTo>
                    <a:pt x="89" y="18"/>
                  </a:lnTo>
                  <a:lnTo>
                    <a:pt x="92" y="24"/>
                  </a:lnTo>
                  <a:lnTo>
                    <a:pt x="95" y="32"/>
                  </a:lnTo>
                  <a:lnTo>
                    <a:pt x="96" y="40"/>
                  </a:lnTo>
                  <a:lnTo>
                    <a:pt x="96" y="141"/>
                  </a:lnTo>
                  <a:lnTo>
                    <a:pt x="0" y="141"/>
                  </a:lnTo>
                  <a:lnTo>
                    <a:pt x="0" y="71"/>
                  </a:lnTo>
                  <a:lnTo>
                    <a:pt x="0" y="0"/>
                  </a:lnTo>
                  <a:lnTo>
                    <a:pt x="56"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4" name="Freeform 446"/>
            <p:cNvSpPr>
              <a:spLocks/>
            </p:cNvSpPr>
            <p:nvPr/>
          </p:nvSpPr>
          <p:spPr bwMode="auto">
            <a:xfrm>
              <a:off x="2840077" y="2398726"/>
              <a:ext cx="41275" cy="60326"/>
            </a:xfrm>
            <a:custGeom>
              <a:avLst/>
              <a:gdLst>
                <a:gd name="T0" fmla="*/ 74 w 128"/>
                <a:gd name="T1" fmla="*/ 189 h 189"/>
                <a:gd name="T2" fmla="*/ 74 w 128"/>
                <a:gd name="T3" fmla="*/ 189 h 189"/>
                <a:gd name="T4" fmla="*/ 85 w 128"/>
                <a:gd name="T5" fmla="*/ 188 h 189"/>
                <a:gd name="T6" fmla="*/ 95 w 128"/>
                <a:gd name="T7" fmla="*/ 186 h 189"/>
                <a:gd name="T8" fmla="*/ 104 w 128"/>
                <a:gd name="T9" fmla="*/ 181 h 189"/>
                <a:gd name="T10" fmla="*/ 112 w 128"/>
                <a:gd name="T11" fmla="*/ 173 h 189"/>
                <a:gd name="T12" fmla="*/ 119 w 128"/>
                <a:gd name="T13" fmla="*/ 166 h 189"/>
                <a:gd name="T14" fmla="*/ 124 w 128"/>
                <a:gd name="T15" fmla="*/ 156 h 189"/>
                <a:gd name="T16" fmla="*/ 126 w 128"/>
                <a:gd name="T17" fmla="*/ 147 h 189"/>
                <a:gd name="T18" fmla="*/ 128 w 128"/>
                <a:gd name="T19" fmla="*/ 136 h 189"/>
                <a:gd name="T20" fmla="*/ 128 w 128"/>
                <a:gd name="T21" fmla="*/ 0 h 189"/>
                <a:gd name="T22" fmla="*/ 0 w 128"/>
                <a:gd name="T23" fmla="*/ 0 h 189"/>
                <a:gd name="T24" fmla="*/ 0 w 128"/>
                <a:gd name="T25" fmla="*/ 95 h 189"/>
                <a:gd name="T26" fmla="*/ 0 w 128"/>
                <a:gd name="T27" fmla="*/ 189 h 189"/>
                <a:gd name="T28" fmla="*/ 74 w 128"/>
                <a:gd name="T29"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89">
                  <a:moveTo>
                    <a:pt x="74" y="189"/>
                  </a:moveTo>
                  <a:lnTo>
                    <a:pt x="74" y="189"/>
                  </a:lnTo>
                  <a:lnTo>
                    <a:pt x="85" y="188"/>
                  </a:lnTo>
                  <a:lnTo>
                    <a:pt x="95" y="186"/>
                  </a:lnTo>
                  <a:lnTo>
                    <a:pt x="104" y="181"/>
                  </a:lnTo>
                  <a:lnTo>
                    <a:pt x="112" y="173"/>
                  </a:lnTo>
                  <a:lnTo>
                    <a:pt x="119" y="166"/>
                  </a:lnTo>
                  <a:lnTo>
                    <a:pt x="124" y="156"/>
                  </a:lnTo>
                  <a:lnTo>
                    <a:pt x="126" y="147"/>
                  </a:lnTo>
                  <a:lnTo>
                    <a:pt x="128" y="136"/>
                  </a:lnTo>
                  <a:lnTo>
                    <a:pt x="128" y="0"/>
                  </a:lnTo>
                  <a:lnTo>
                    <a:pt x="0" y="0"/>
                  </a:lnTo>
                  <a:lnTo>
                    <a:pt x="0" y="95"/>
                  </a:lnTo>
                  <a:lnTo>
                    <a:pt x="0" y="189"/>
                  </a:lnTo>
                  <a:lnTo>
                    <a:pt x="74" y="189"/>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5" name="Freeform 447"/>
            <p:cNvSpPr>
              <a:spLocks/>
            </p:cNvSpPr>
            <p:nvPr/>
          </p:nvSpPr>
          <p:spPr bwMode="auto">
            <a:xfrm>
              <a:off x="2800389" y="2398726"/>
              <a:ext cx="39688" cy="60326"/>
            </a:xfrm>
            <a:custGeom>
              <a:avLst/>
              <a:gdLst>
                <a:gd name="T0" fmla="*/ 53 w 127"/>
                <a:gd name="T1" fmla="*/ 189 h 189"/>
                <a:gd name="T2" fmla="*/ 53 w 127"/>
                <a:gd name="T3" fmla="*/ 189 h 189"/>
                <a:gd name="T4" fmla="*/ 43 w 127"/>
                <a:gd name="T5" fmla="*/ 188 h 189"/>
                <a:gd name="T6" fmla="*/ 33 w 127"/>
                <a:gd name="T7" fmla="*/ 186 h 189"/>
                <a:gd name="T8" fmla="*/ 23 w 127"/>
                <a:gd name="T9" fmla="*/ 181 h 189"/>
                <a:gd name="T10" fmla="*/ 16 w 127"/>
                <a:gd name="T11" fmla="*/ 173 h 189"/>
                <a:gd name="T12" fmla="*/ 8 w 127"/>
                <a:gd name="T13" fmla="*/ 166 h 189"/>
                <a:gd name="T14" fmla="*/ 4 w 127"/>
                <a:gd name="T15" fmla="*/ 156 h 189"/>
                <a:gd name="T16" fmla="*/ 1 w 127"/>
                <a:gd name="T17" fmla="*/ 147 h 189"/>
                <a:gd name="T18" fmla="*/ 0 w 127"/>
                <a:gd name="T19" fmla="*/ 136 h 189"/>
                <a:gd name="T20" fmla="*/ 0 w 127"/>
                <a:gd name="T21" fmla="*/ 0 h 189"/>
                <a:gd name="T22" fmla="*/ 127 w 127"/>
                <a:gd name="T23" fmla="*/ 0 h 189"/>
                <a:gd name="T24" fmla="*/ 127 w 127"/>
                <a:gd name="T25" fmla="*/ 95 h 189"/>
                <a:gd name="T26" fmla="*/ 127 w 127"/>
                <a:gd name="T27" fmla="*/ 189 h 189"/>
                <a:gd name="T28" fmla="*/ 53 w 127"/>
                <a:gd name="T29"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7" h="189">
                  <a:moveTo>
                    <a:pt x="53" y="189"/>
                  </a:moveTo>
                  <a:lnTo>
                    <a:pt x="53" y="189"/>
                  </a:lnTo>
                  <a:lnTo>
                    <a:pt x="43" y="188"/>
                  </a:lnTo>
                  <a:lnTo>
                    <a:pt x="33" y="186"/>
                  </a:lnTo>
                  <a:lnTo>
                    <a:pt x="23" y="181"/>
                  </a:lnTo>
                  <a:lnTo>
                    <a:pt x="16" y="173"/>
                  </a:lnTo>
                  <a:lnTo>
                    <a:pt x="8" y="166"/>
                  </a:lnTo>
                  <a:lnTo>
                    <a:pt x="4" y="156"/>
                  </a:lnTo>
                  <a:lnTo>
                    <a:pt x="1" y="147"/>
                  </a:lnTo>
                  <a:lnTo>
                    <a:pt x="0" y="136"/>
                  </a:lnTo>
                  <a:lnTo>
                    <a:pt x="0" y="0"/>
                  </a:lnTo>
                  <a:lnTo>
                    <a:pt x="127" y="0"/>
                  </a:lnTo>
                  <a:lnTo>
                    <a:pt x="127" y="95"/>
                  </a:lnTo>
                  <a:lnTo>
                    <a:pt x="127" y="189"/>
                  </a:lnTo>
                  <a:lnTo>
                    <a:pt x="53" y="1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6" name="Freeform 448"/>
            <p:cNvSpPr>
              <a:spLocks/>
            </p:cNvSpPr>
            <p:nvPr/>
          </p:nvSpPr>
          <p:spPr bwMode="auto">
            <a:xfrm>
              <a:off x="2792451" y="2374913"/>
              <a:ext cx="47625" cy="28575"/>
            </a:xfrm>
            <a:custGeom>
              <a:avLst/>
              <a:gdLst>
                <a:gd name="T0" fmla="*/ 152 w 152"/>
                <a:gd name="T1" fmla="*/ 90 h 90"/>
                <a:gd name="T2" fmla="*/ 152 w 152"/>
                <a:gd name="T3" fmla="*/ 53 h 90"/>
                <a:gd name="T4" fmla="*/ 152 w 152"/>
                <a:gd name="T5" fmla="*/ 53 h 90"/>
                <a:gd name="T6" fmla="*/ 133 w 152"/>
                <a:gd name="T7" fmla="*/ 53 h 90"/>
                <a:gd name="T8" fmla="*/ 118 w 152"/>
                <a:gd name="T9" fmla="*/ 49 h 90"/>
                <a:gd name="T10" fmla="*/ 103 w 152"/>
                <a:gd name="T11" fmla="*/ 45 h 90"/>
                <a:gd name="T12" fmla="*/ 91 w 152"/>
                <a:gd name="T13" fmla="*/ 40 h 90"/>
                <a:gd name="T14" fmla="*/ 80 w 152"/>
                <a:gd name="T15" fmla="*/ 34 h 90"/>
                <a:gd name="T16" fmla="*/ 70 w 152"/>
                <a:gd name="T17" fmla="*/ 27 h 90"/>
                <a:gd name="T18" fmla="*/ 60 w 152"/>
                <a:gd name="T19" fmla="*/ 20 h 90"/>
                <a:gd name="T20" fmla="*/ 53 w 152"/>
                <a:gd name="T21" fmla="*/ 11 h 90"/>
                <a:gd name="T22" fmla="*/ 53 w 152"/>
                <a:gd name="T23" fmla="*/ 11 h 90"/>
                <a:gd name="T24" fmla="*/ 47 w 152"/>
                <a:gd name="T25" fmla="*/ 6 h 90"/>
                <a:gd name="T26" fmla="*/ 41 w 152"/>
                <a:gd name="T27" fmla="*/ 3 h 90"/>
                <a:gd name="T28" fmla="*/ 33 w 152"/>
                <a:gd name="T29" fmla="*/ 1 h 90"/>
                <a:gd name="T30" fmla="*/ 27 w 152"/>
                <a:gd name="T31" fmla="*/ 0 h 90"/>
                <a:gd name="T32" fmla="*/ 20 w 152"/>
                <a:gd name="T33" fmla="*/ 0 h 90"/>
                <a:gd name="T34" fmla="*/ 13 w 152"/>
                <a:gd name="T35" fmla="*/ 3 h 90"/>
                <a:gd name="T36" fmla="*/ 7 w 152"/>
                <a:gd name="T37" fmla="*/ 5 h 90"/>
                <a:gd name="T38" fmla="*/ 0 w 152"/>
                <a:gd name="T39" fmla="*/ 10 h 90"/>
                <a:gd name="T40" fmla="*/ 0 w 152"/>
                <a:gd name="T41" fmla="*/ 10 h 90"/>
                <a:gd name="T42" fmla="*/ 26 w 152"/>
                <a:gd name="T43" fmla="*/ 38 h 90"/>
                <a:gd name="T44" fmla="*/ 26 w 152"/>
                <a:gd name="T45" fmla="*/ 38 h 90"/>
                <a:gd name="T46" fmla="*/ 37 w 152"/>
                <a:gd name="T47" fmla="*/ 49 h 90"/>
                <a:gd name="T48" fmla="*/ 48 w 152"/>
                <a:gd name="T49" fmla="*/ 59 h 90"/>
                <a:gd name="T50" fmla="*/ 61 w 152"/>
                <a:gd name="T51" fmla="*/ 67 h 90"/>
                <a:gd name="T52" fmla="*/ 76 w 152"/>
                <a:gd name="T53" fmla="*/ 76 h 90"/>
                <a:gd name="T54" fmla="*/ 92 w 152"/>
                <a:gd name="T55" fmla="*/ 82 h 90"/>
                <a:gd name="T56" fmla="*/ 110 w 152"/>
                <a:gd name="T57" fmla="*/ 87 h 90"/>
                <a:gd name="T58" fmla="*/ 130 w 152"/>
                <a:gd name="T59" fmla="*/ 89 h 90"/>
                <a:gd name="T60" fmla="*/ 152 w 152"/>
                <a:gd name="T61" fmla="*/ 90 h 90"/>
                <a:gd name="T62" fmla="*/ 152 w 152"/>
                <a:gd name="T63"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90">
                  <a:moveTo>
                    <a:pt x="152" y="90"/>
                  </a:moveTo>
                  <a:lnTo>
                    <a:pt x="152" y="53"/>
                  </a:lnTo>
                  <a:lnTo>
                    <a:pt x="152" y="53"/>
                  </a:lnTo>
                  <a:lnTo>
                    <a:pt x="133" y="53"/>
                  </a:lnTo>
                  <a:lnTo>
                    <a:pt x="118" y="49"/>
                  </a:lnTo>
                  <a:lnTo>
                    <a:pt x="103" y="45"/>
                  </a:lnTo>
                  <a:lnTo>
                    <a:pt x="91" y="40"/>
                  </a:lnTo>
                  <a:lnTo>
                    <a:pt x="80" y="34"/>
                  </a:lnTo>
                  <a:lnTo>
                    <a:pt x="70" y="27"/>
                  </a:lnTo>
                  <a:lnTo>
                    <a:pt x="60" y="20"/>
                  </a:lnTo>
                  <a:lnTo>
                    <a:pt x="53" y="11"/>
                  </a:lnTo>
                  <a:lnTo>
                    <a:pt x="53" y="11"/>
                  </a:lnTo>
                  <a:lnTo>
                    <a:pt x="47" y="6"/>
                  </a:lnTo>
                  <a:lnTo>
                    <a:pt x="41" y="3"/>
                  </a:lnTo>
                  <a:lnTo>
                    <a:pt x="33" y="1"/>
                  </a:lnTo>
                  <a:lnTo>
                    <a:pt x="27" y="0"/>
                  </a:lnTo>
                  <a:lnTo>
                    <a:pt x="20" y="0"/>
                  </a:lnTo>
                  <a:lnTo>
                    <a:pt x="13" y="3"/>
                  </a:lnTo>
                  <a:lnTo>
                    <a:pt x="7" y="5"/>
                  </a:lnTo>
                  <a:lnTo>
                    <a:pt x="0" y="10"/>
                  </a:lnTo>
                  <a:lnTo>
                    <a:pt x="0" y="10"/>
                  </a:lnTo>
                  <a:lnTo>
                    <a:pt x="26" y="38"/>
                  </a:lnTo>
                  <a:lnTo>
                    <a:pt x="26" y="38"/>
                  </a:lnTo>
                  <a:lnTo>
                    <a:pt x="37" y="49"/>
                  </a:lnTo>
                  <a:lnTo>
                    <a:pt x="48" y="59"/>
                  </a:lnTo>
                  <a:lnTo>
                    <a:pt x="61" y="67"/>
                  </a:lnTo>
                  <a:lnTo>
                    <a:pt x="76" y="76"/>
                  </a:lnTo>
                  <a:lnTo>
                    <a:pt x="92" y="82"/>
                  </a:lnTo>
                  <a:lnTo>
                    <a:pt x="110" y="87"/>
                  </a:lnTo>
                  <a:lnTo>
                    <a:pt x="130" y="89"/>
                  </a:lnTo>
                  <a:lnTo>
                    <a:pt x="152" y="90"/>
                  </a:lnTo>
                  <a:lnTo>
                    <a:pt x="152" y="9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7" name="Freeform 449"/>
            <p:cNvSpPr>
              <a:spLocks/>
            </p:cNvSpPr>
            <p:nvPr/>
          </p:nvSpPr>
          <p:spPr bwMode="auto">
            <a:xfrm>
              <a:off x="2789276" y="2378088"/>
              <a:ext cx="50800" cy="38100"/>
            </a:xfrm>
            <a:custGeom>
              <a:avLst/>
              <a:gdLst>
                <a:gd name="T0" fmla="*/ 164 w 164"/>
                <a:gd name="T1" fmla="*/ 80 h 118"/>
                <a:gd name="T2" fmla="*/ 164 w 164"/>
                <a:gd name="T3" fmla="*/ 80 h 118"/>
                <a:gd name="T4" fmla="*/ 142 w 164"/>
                <a:gd name="T5" fmla="*/ 79 h 118"/>
                <a:gd name="T6" fmla="*/ 122 w 164"/>
                <a:gd name="T7" fmla="*/ 77 h 118"/>
                <a:gd name="T8" fmla="*/ 104 w 164"/>
                <a:gd name="T9" fmla="*/ 72 h 118"/>
                <a:gd name="T10" fmla="*/ 88 w 164"/>
                <a:gd name="T11" fmla="*/ 66 h 118"/>
                <a:gd name="T12" fmla="*/ 73 w 164"/>
                <a:gd name="T13" fmla="*/ 57 h 118"/>
                <a:gd name="T14" fmla="*/ 60 w 164"/>
                <a:gd name="T15" fmla="*/ 49 h 118"/>
                <a:gd name="T16" fmla="*/ 49 w 164"/>
                <a:gd name="T17" fmla="*/ 39 h 118"/>
                <a:gd name="T18" fmla="*/ 38 w 164"/>
                <a:gd name="T19" fmla="*/ 28 h 118"/>
                <a:gd name="T20" fmla="*/ 38 w 164"/>
                <a:gd name="T21" fmla="*/ 28 h 118"/>
                <a:gd name="T22" fmla="*/ 12 w 164"/>
                <a:gd name="T23" fmla="*/ 0 h 118"/>
                <a:gd name="T24" fmla="*/ 11 w 164"/>
                <a:gd name="T25" fmla="*/ 1 h 118"/>
                <a:gd name="T26" fmla="*/ 11 w 164"/>
                <a:gd name="T27" fmla="*/ 1 h 118"/>
                <a:gd name="T28" fmla="*/ 6 w 164"/>
                <a:gd name="T29" fmla="*/ 6 h 118"/>
                <a:gd name="T30" fmla="*/ 3 w 164"/>
                <a:gd name="T31" fmla="*/ 13 h 118"/>
                <a:gd name="T32" fmla="*/ 0 w 164"/>
                <a:gd name="T33" fmla="*/ 21 h 118"/>
                <a:gd name="T34" fmla="*/ 0 w 164"/>
                <a:gd name="T35" fmla="*/ 28 h 118"/>
                <a:gd name="T36" fmla="*/ 0 w 164"/>
                <a:gd name="T37" fmla="*/ 28 h 118"/>
                <a:gd name="T38" fmla="*/ 0 w 164"/>
                <a:gd name="T39" fmla="*/ 35 h 118"/>
                <a:gd name="T40" fmla="*/ 3 w 164"/>
                <a:gd name="T41" fmla="*/ 41 h 118"/>
                <a:gd name="T42" fmla="*/ 6 w 164"/>
                <a:gd name="T43" fmla="*/ 47 h 118"/>
                <a:gd name="T44" fmla="*/ 10 w 164"/>
                <a:gd name="T45" fmla="*/ 54 h 118"/>
                <a:gd name="T46" fmla="*/ 10 w 164"/>
                <a:gd name="T47" fmla="*/ 54 h 118"/>
                <a:gd name="T48" fmla="*/ 21 w 164"/>
                <a:gd name="T49" fmla="*/ 65 h 118"/>
                <a:gd name="T50" fmla="*/ 34 w 164"/>
                <a:gd name="T51" fmla="*/ 76 h 118"/>
                <a:gd name="T52" fmla="*/ 49 w 164"/>
                <a:gd name="T53" fmla="*/ 87 h 118"/>
                <a:gd name="T54" fmla="*/ 66 w 164"/>
                <a:gd name="T55" fmla="*/ 96 h 118"/>
                <a:gd name="T56" fmla="*/ 87 w 164"/>
                <a:gd name="T57" fmla="*/ 105 h 118"/>
                <a:gd name="T58" fmla="*/ 98 w 164"/>
                <a:gd name="T59" fmla="*/ 108 h 118"/>
                <a:gd name="T60" fmla="*/ 109 w 164"/>
                <a:gd name="T61" fmla="*/ 112 h 118"/>
                <a:gd name="T62" fmla="*/ 122 w 164"/>
                <a:gd name="T63" fmla="*/ 115 h 118"/>
                <a:gd name="T64" fmla="*/ 136 w 164"/>
                <a:gd name="T65" fmla="*/ 117 h 118"/>
                <a:gd name="T66" fmla="*/ 149 w 164"/>
                <a:gd name="T67" fmla="*/ 118 h 118"/>
                <a:gd name="T68" fmla="*/ 164 w 164"/>
                <a:gd name="T69" fmla="*/ 118 h 118"/>
                <a:gd name="T70" fmla="*/ 164 w 164"/>
                <a:gd name="T71" fmla="*/ 8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118">
                  <a:moveTo>
                    <a:pt x="164" y="80"/>
                  </a:moveTo>
                  <a:lnTo>
                    <a:pt x="164" y="80"/>
                  </a:lnTo>
                  <a:lnTo>
                    <a:pt x="142" y="79"/>
                  </a:lnTo>
                  <a:lnTo>
                    <a:pt x="122" y="77"/>
                  </a:lnTo>
                  <a:lnTo>
                    <a:pt x="104" y="72"/>
                  </a:lnTo>
                  <a:lnTo>
                    <a:pt x="88" y="66"/>
                  </a:lnTo>
                  <a:lnTo>
                    <a:pt x="73" y="57"/>
                  </a:lnTo>
                  <a:lnTo>
                    <a:pt x="60" y="49"/>
                  </a:lnTo>
                  <a:lnTo>
                    <a:pt x="49" y="39"/>
                  </a:lnTo>
                  <a:lnTo>
                    <a:pt x="38" y="28"/>
                  </a:lnTo>
                  <a:lnTo>
                    <a:pt x="38" y="28"/>
                  </a:lnTo>
                  <a:lnTo>
                    <a:pt x="12" y="0"/>
                  </a:lnTo>
                  <a:lnTo>
                    <a:pt x="11" y="1"/>
                  </a:lnTo>
                  <a:lnTo>
                    <a:pt x="11" y="1"/>
                  </a:lnTo>
                  <a:lnTo>
                    <a:pt x="6" y="6"/>
                  </a:lnTo>
                  <a:lnTo>
                    <a:pt x="3" y="13"/>
                  </a:lnTo>
                  <a:lnTo>
                    <a:pt x="0" y="21"/>
                  </a:lnTo>
                  <a:lnTo>
                    <a:pt x="0" y="28"/>
                  </a:lnTo>
                  <a:lnTo>
                    <a:pt x="0" y="28"/>
                  </a:lnTo>
                  <a:lnTo>
                    <a:pt x="0" y="35"/>
                  </a:lnTo>
                  <a:lnTo>
                    <a:pt x="3" y="41"/>
                  </a:lnTo>
                  <a:lnTo>
                    <a:pt x="6" y="47"/>
                  </a:lnTo>
                  <a:lnTo>
                    <a:pt x="10" y="54"/>
                  </a:lnTo>
                  <a:lnTo>
                    <a:pt x="10" y="54"/>
                  </a:lnTo>
                  <a:lnTo>
                    <a:pt x="21" y="65"/>
                  </a:lnTo>
                  <a:lnTo>
                    <a:pt x="34" y="76"/>
                  </a:lnTo>
                  <a:lnTo>
                    <a:pt x="49" y="87"/>
                  </a:lnTo>
                  <a:lnTo>
                    <a:pt x="66" y="96"/>
                  </a:lnTo>
                  <a:lnTo>
                    <a:pt x="87" y="105"/>
                  </a:lnTo>
                  <a:lnTo>
                    <a:pt x="98" y="108"/>
                  </a:lnTo>
                  <a:lnTo>
                    <a:pt x="109" y="112"/>
                  </a:lnTo>
                  <a:lnTo>
                    <a:pt x="122" y="115"/>
                  </a:lnTo>
                  <a:lnTo>
                    <a:pt x="136" y="117"/>
                  </a:lnTo>
                  <a:lnTo>
                    <a:pt x="149" y="118"/>
                  </a:lnTo>
                  <a:lnTo>
                    <a:pt x="164" y="118"/>
                  </a:lnTo>
                  <a:lnTo>
                    <a:pt x="164" y="8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8" name="Freeform 450"/>
            <p:cNvSpPr>
              <a:spLocks/>
            </p:cNvSpPr>
            <p:nvPr/>
          </p:nvSpPr>
          <p:spPr bwMode="auto">
            <a:xfrm>
              <a:off x="2840077" y="2374913"/>
              <a:ext cx="49213" cy="28575"/>
            </a:xfrm>
            <a:custGeom>
              <a:avLst/>
              <a:gdLst>
                <a:gd name="T0" fmla="*/ 0 w 152"/>
                <a:gd name="T1" fmla="*/ 90 h 90"/>
                <a:gd name="T2" fmla="*/ 0 w 152"/>
                <a:gd name="T3" fmla="*/ 53 h 90"/>
                <a:gd name="T4" fmla="*/ 0 w 152"/>
                <a:gd name="T5" fmla="*/ 53 h 90"/>
                <a:gd name="T6" fmla="*/ 19 w 152"/>
                <a:gd name="T7" fmla="*/ 53 h 90"/>
                <a:gd name="T8" fmla="*/ 35 w 152"/>
                <a:gd name="T9" fmla="*/ 49 h 90"/>
                <a:gd name="T10" fmla="*/ 50 w 152"/>
                <a:gd name="T11" fmla="*/ 45 h 90"/>
                <a:gd name="T12" fmla="*/ 62 w 152"/>
                <a:gd name="T13" fmla="*/ 40 h 90"/>
                <a:gd name="T14" fmla="*/ 73 w 152"/>
                <a:gd name="T15" fmla="*/ 34 h 90"/>
                <a:gd name="T16" fmla="*/ 83 w 152"/>
                <a:gd name="T17" fmla="*/ 27 h 90"/>
                <a:gd name="T18" fmla="*/ 92 w 152"/>
                <a:gd name="T19" fmla="*/ 20 h 90"/>
                <a:gd name="T20" fmla="*/ 100 w 152"/>
                <a:gd name="T21" fmla="*/ 11 h 90"/>
                <a:gd name="T22" fmla="*/ 100 w 152"/>
                <a:gd name="T23" fmla="*/ 11 h 90"/>
                <a:gd name="T24" fmla="*/ 106 w 152"/>
                <a:gd name="T25" fmla="*/ 6 h 90"/>
                <a:gd name="T26" fmla="*/ 112 w 152"/>
                <a:gd name="T27" fmla="*/ 3 h 90"/>
                <a:gd name="T28" fmla="*/ 119 w 152"/>
                <a:gd name="T29" fmla="*/ 1 h 90"/>
                <a:gd name="T30" fmla="*/ 125 w 152"/>
                <a:gd name="T31" fmla="*/ 0 h 90"/>
                <a:gd name="T32" fmla="*/ 133 w 152"/>
                <a:gd name="T33" fmla="*/ 0 h 90"/>
                <a:gd name="T34" fmla="*/ 140 w 152"/>
                <a:gd name="T35" fmla="*/ 3 h 90"/>
                <a:gd name="T36" fmla="*/ 146 w 152"/>
                <a:gd name="T37" fmla="*/ 5 h 90"/>
                <a:gd name="T38" fmla="*/ 152 w 152"/>
                <a:gd name="T39" fmla="*/ 10 h 90"/>
                <a:gd name="T40" fmla="*/ 152 w 152"/>
                <a:gd name="T41" fmla="*/ 10 h 90"/>
                <a:gd name="T42" fmla="*/ 126 w 152"/>
                <a:gd name="T43" fmla="*/ 38 h 90"/>
                <a:gd name="T44" fmla="*/ 126 w 152"/>
                <a:gd name="T45" fmla="*/ 38 h 90"/>
                <a:gd name="T46" fmla="*/ 115 w 152"/>
                <a:gd name="T47" fmla="*/ 49 h 90"/>
                <a:gd name="T48" fmla="*/ 104 w 152"/>
                <a:gd name="T49" fmla="*/ 59 h 90"/>
                <a:gd name="T50" fmla="*/ 91 w 152"/>
                <a:gd name="T51" fmla="*/ 67 h 90"/>
                <a:gd name="T52" fmla="*/ 76 w 152"/>
                <a:gd name="T53" fmla="*/ 76 h 90"/>
                <a:gd name="T54" fmla="*/ 61 w 152"/>
                <a:gd name="T55" fmla="*/ 82 h 90"/>
                <a:gd name="T56" fmla="*/ 42 w 152"/>
                <a:gd name="T57" fmla="*/ 87 h 90"/>
                <a:gd name="T58" fmla="*/ 23 w 152"/>
                <a:gd name="T59" fmla="*/ 89 h 90"/>
                <a:gd name="T60" fmla="*/ 0 w 152"/>
                <a:gd name="T61" fmla="*/ 90 h 90"/>
                <a:gd name="T62" fmla="*/ 0 w 152"/>
                <a:gd name="T63"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90">
                  <a:moveTo>
                    <a:pt x="0" y="90"/>
                  </a:moveTo>
                  <a:lnTo>
                    <a:pt x="0" y="53"/>
                  </a:lnTo>
                  <a:lnTo>
                    <a:pt x="0" y="53"/>
                  </a:lnTo>
                  <a:lnTo>
                    <a:pt x="19" y="53"/>
                  </a:lnTo>
                  <a:lnTo>
                    <a:pt x="35" y="49"/>
                  </a:lnTo>
                  <a:lnTo>
                    <a:pt x="50" y="45"/>
                  </a:lnTo>
                  <a:lnTo>
                    <a:pt x="62" y="40"/>
                  </a:lnTo>
                  <a:lnTo>
                    <a:pt x="73" y="34"/>
                  </a:lnTo>
                  <a:lnTo>
                    <a:pt x="83" y="27"/>
                  </a:lnTo>
                  <a:lnTo>
                    <a:pt x="92" y="20"/>
                  </a:lnTo>
                  <a:lnTo>
                    <a:pt x="100" y="11"/>
                  </a:lnTo>
                  <a:lnTo>
                    <a:pt x="100" y="11"/>
                  </a:lnTo>
                  <a:lnTo>
                    <a:pt x="106" y="6"/>
                  </a:lnTo>
                  <a:lnTo>
                    <a:pt x="112" y="3"/>
                  </a:lnTo>
                  <a:lnTo>
                    <a:pt x="119" y="1"/>
                  </a:lnTo>
                  <a:lnTo>
                    <a:pt x="125" y="0"/>
                  </a:lnTo>
                  <a:lnTo>
                    <a:pt x="133" y="0"/>
                  </a:lnTo>
                  <a:lnTo>
                    <a:pt x="140" y="3"/>
                  </a:lnTo>
                  <a:lnTo>
                    <a:pt x="146" y="5"/>
                  </a:lnTo>
                  <a:lnTo>
                    <a:pt x="152" y="10"/>
                  </a:lnTo>
                  <a:lnTo>
                    <a:pt x="152" y="10"/>
                  </a:lnTo>
                  <a:lnTo>
                    <a:pt x="126" y="38"/>
                  </a:lnTo>
                  <a:lnTo>
                    <a:pt x="126" y="38"/>
                  </a:lnTo>
                  <a:lnTo>
                    <a:pt x="115" y="49"/>
                  </a:lnTo>
                  <a:lnTo>
                    <a:pt x="104" y="59"/>
                  </a:lnTo>
                  <a:lnTo>
                    <a:pt x="91" y="67"/>
                  </a:lnTo>
                  <a:lnTo>
                    <a:pt x="76" y="76"/>
                  </a:lnTo>
                  <a:lnTo>
                    <a:pt x="61" y="82"/>
                  </a:lnTo>
                  <a:lnTo>
                    <a:pt x="42" y="87"/>
                  </a:lnTo>
                  <a:lnTo>
                    <a:pt x="23" y="89"/>
                  </a:lnTo>
                  <a:lnTo>
                    <a:pt x="0" y="90"/>
                  </a:lnTo>
                  <a:lnTo>
                    <a:pt x="0" y="9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9" name="Freeform 451"/>
            <p:cNvSpPr>
              <a:spLocks/>
            </p:cNvSpPr>
            <p:nvPr/>
          </p:nvSpPr>
          <p:spPr bwMode="auto">
            <a:xfrm>
              <a:off x="2840077" y="2378088"/>
              <a:ext cx="52388" cy="38100"/>
            </a:xfrm>
            <a:custGeom>
              <a:avLst/>
              <a:gdLst>
                <a:gd name="T0" fmla="*/ 0 w 164"/>
                <a:gd name="T1" fmla="*/ 80 h 118"/>
                <a:gd name="T2" fmla="*/ 0 w 164"/>
                <a:gd name="T3" fmla="*/ 80 h 118"/>
                <a:gd name="T4" fmla="*/ 23 w 164"/>
                <a:gd name="T5" fmla="*/ 79 h 118"/>
                <a:gd name="T6" fmla="*/ 42 w 164"/>
                <a:gd name="T7" fmla="*/ 77 h 118"/>
                <a:gd name="T8" fmla="*/ 61 w 164"/>
                <a:gd name="T9" fmla="*/ 72 h 118"/>
                <a:gd name="T10" fmla="*/ 76 w 164"/>
                <a:gd name="T11" fmla="*/ 66 h 118"/>
                <a:gd name="T12" fmla="*/ 91 w 164"/>
                <a:gd name="T13" fmla="*/ 57 h 118"/>
                <a:gd name="T14" fmla="*/ 104 w 164"/>
                <a:gd name="T15" fmla="*/ 49 h 118"/>
                <a:gd name="T16" fmla="*/ 115 w 164"/>
                <a:gd name="T17" fmla="*/ 39 h 118"/>
                <a:gd name="T18" fmla="*/ 126 w 164"/>
                <a:gd name="T19" fmla="*/ 28 h 118"/>
                <a:gd name="T20" fmla="*/ 126 w 164"/>
                <a:gd name="T21" fmla="*/ 28 h 118"/>
                <a:gd name="T22" fmla="*/ 152 w 164"/>
                <a:gd name="T23" fmla="*/ 0 h 118"/>
                <a:gd name="T24" fmla="*/ 153 w 164"/>
                <a:gd name="T25" fmla="*/ 1 h 118"/>
                <a:gd name="T26" fmla="*/ 153 w 164"/>
                <a:gd name="T27" fmla="*/ 1 h 118"/>
                <a:gd name="T28" fmla="*/ 158 w 164"/>
                <a:gd name="T29" fmla="*/ 6 h 118"/>
                <a:gd name="T30" fmla="*/ 162 w 164"/>
                <a:gd name="T31" fmla="*/ 13 h 118"/>
                <a:gd name="T32" fmla="*/ 164 w 164"/>
                <a:gd name="T33" fmla="*/ 21 h 118"/>
                <a:gd name="T34" fmla="*/ 164 w 164"/>
                <a:gd name="T35" fmla="*/ 28 h 118"/>
                <a:gd name="T36" fmla="*/ 164 w 164"/>
                <a:gd name="T37" fmla="*/ 28 h 118"/>
                <a:gd name="T38" fmla="*/ 164 w 164"/>
                <a:gd name="T39" fmla="*/ 35 h 118"/>
                <a:gd name="T40" fmla="*/ 162 w 164"/>
                <a:gd name="T41" fmla="*/ 41 h 118"/>
                <a:gd name="T42" fmla="*/ 158 w 164"/>
                <a:gd name="T43" fmla="*/ 47 h 118"/>
                <a:gd name="T44" fmla="*/ 154 w 164"/>
                <a:gd name="T45" fmla="*/ 54 h 118"/>
                <a:gd name="T46" fmla="*/ 154 w 164"/>
                <a:gd name="T47" fmla="*/ 54 h 118"/>
                <a:gd name="T48" fmla="*/ 144 w 164"/>
                <a:gd name="T49" fmla="*/ 65 h 118"/>
                <a:gd name="T50" fmla="*/ 130 w 164"/>
                <a:gd name="T51" fmla="*/ 76 h 118"/>
                <a:gd name="T52" fmla="*/ 115 w 164"/>
                <a:gd name="T53" fmla="*/ 87 h 118"/>
                <a:gd name="T54" fmla="*/ 98 w 164"/>
                <a:gd name="T55" fmla="*/ 96 h 118"/>
                <a:gd name="T56" fmla="*/ 78 w 164"/>
                <a:gd name="T57" fmla="*/ 105 h 118"/>
                <a:gd name="T58" fmla="*/ 67 w 164"/>
                <a:gd name="T59" fmla="*/ 108 h 118"/>
                <a:gd name="T60" fmla="*/ 56 w 164"/>
                <a:gd name="T61" fmla="*/ 112 h 118"/>
                <a:gd name="T62" fmla="*/ 42 w 164"/>
                <a:gd name="T63" fmla="*/ 115 h 118"/>
                <a:gd name="T64" fmla="*/ 29 w 164"/>
                <a:gd name="T65" fmla="*/ 117 h 118"/>
                <a:gd name="T66" fmla="*/ 15 w 164"/>
                <a:gd name="T67" fmla="*/ 118 h 118"/>
                <a:gd name="T68" fmla="*/ 0 w 164"/>
                <a:gd name="T69" fmla="*/ 118 h 118"/>
                <a:gd name="T70" fmla="*/ 0 w 164"/>
                <a:gd name="T71" fmla="*/ 8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118">
                  <a:moveTo>
                    <a:pt x="0" y="80"/>
                  </a:moveTo>
                  <a:lnTo>
                    <a:pt x="0" y="80"/>
                  </a:lnTo>
                  <a:lnTo>
                    <a:pt x="23" y="79"/>
                  </a:lnTo>
                  <a:lnTo>
                    <a:pt x="42" y="77"/>
                  </a:lnTo>
                  <a:lnTo>
                    <a:pt x="61" y="72"/>
                  </a:lnTo>
                  <a:lnTo>
                    <a:pt x="76" y="66"/>
                  </a:lnTo>
                  <a:lnTo>
                    <a:pt x="91" y="57"/>
                  </a:lnTo>
                  <a:lnTo>
                    <a:pt x="104" y="49"/>
                  </a:lnTo>
                  <a:lnTo>
                    <a:pt x="115" y="39"/>
                  </a:lnTo>
                  <a:lnTo>
                    <a:pt x="126" y="28"/>
                  </a:lnTo>
                  <a:lnTo>
                    <a:pt x="126" y="28"/>
                  </a:lnTo>
                  <a:lnTo>
                    <a:pt x="152" y="0"/>
                  </a:lnTo>
                  <a:lnTo>
                    <a:pt x="153" y="1"/>
                  </a:lnTo>
                  <a:lnTo>
                    <a:pt x="153" y="1"/>
                  </a:lnTo>
                  <a:lnTo>
                    <a:pt x="158" y="6"/>
                  </a:lnTo>
                  <a:lnTo>
                    <a:pt x="162" y="13"/>
                  </a:lnTo>
                  <a:lnTo>
                    <a:pt x="164" y="21"/>
                  </a:lnTo>
                  <a:lnTo>
                    <a:pt x="164" y="28"/>
                  </a:lnTo>
                  <a:lnTo>
                    <a:pt x="164" y="28"/>
                  </a:lnTo>
                  <a:lnTo>
                    <a:pt x="164" y="35"/>
                  </a:lnTo>
                  <a:lnTo>
                    <a:pt x="162" y="41"/>
                  </a:lnTo>
                  <a:lnTo>
                    <a:pt x="158" y="47"/>
                  </a:lnTo>
                  <a:lnTo>
                    <a:pt x="154" y="54"/>
                  </a:lnTo>
                  <a:lnTo>
                    <a:pt x="154" y="54"/>
                  </a:lnTo>
                  <a:lnTo>
                    <a:pt x="144" y="65"/>
                  </a:lnTo>
                  <a:lnTo>
                    <a:pt x="130" y="76"/>
                  </a:lnTo>
                  <a:lnTo>
                    <a:pt x="115" y="87"/>
                  </a:lnTo>
                  <a:lnTo>
                    <a:pt x="98" y="96"/>
                  </a:lnTo>
                  <a:lnTo>
                    <a:pt x="78" y="105"/>
                  </a:lnTo>
                  <a:lnTo>
                    <a:pt x="67" y="108"/>
                  </a:lnTo>
                  <a:lnTo>
                    <a:pt x="56" y="112"/>
                  </a:lnTo>
                  <a:lnTo>
                    <a:pt x="42" y="115"/>
                  </a:lnTo>
                  <a:lnTo>
                    <a:pt x="29" y="117"/>
                  </a:lnTo>
                  <a:lnTo>
                    <a:pt x="15" y="118"/>
                  </a:lnTo>
                  <a:lnTo>
                    <a:pt x="0" y="118"/>
                  </a:lnTo>
                  <a:lnTo>
                    <a:pt x="0" y="80"/>
                  </a:lnTo>
                  <a:close/>
                </a:path>
              </a:pathLst>
            </a:custGeom>
            <a:solidFill>
              <a:srgbClr val="7F2D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0" name="Rectangle 452"/>
            <p:cNvSpPr>
              <a:spLocks noChangeArrowheads="1"/>
            </p:cNvSpPr>
            <p:nvPr/>
          </p:nvSpPr>
          <p:spPr bwMode="auto">
            <a:xfrm>
              <a:off x="2840077" y="2459052"/>
              <a:ext cx="20638" cy="33338"/>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1" name="Rectangle 453"/>
            <p:cNvSpPr>
              <a:spLocks noChangeArrowheads="1"/>
            </p:cNvSpPr>
            <p:nvPr/>
          </p:nvSpPr>
          <p:spPr bwMode="auto">
            <a:xfrm>
              <a:off x="2821026" y="2459052"/>
              <a:ext cx="19050" cy="33338"/>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2" name="Rectangle 454"/>
            <p:cNvSpPr>
              <a:spLocks noChangeArrowheads="1"/>
            </p:cNvSpPr>
            <p:nvPr/>
          </p:nvSpPr>
          <p:spPr bwMode="auto">
            <a:xfrm>
              <a:off x="2821026" y="2506677"/>
              <a:ext cx="19050" cy="190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3" name="Rectangle 455"/>
            <p:cNvSpPr>
              <a:spLocks noChangeArrowheads="1"/>
            </p:cNvSpPr>
            <p:nvPr/>
          </p:nvSpPr>
          <p:spPr bwMode="auto">
            <a:xfrm>
              <a:off x="2840077" y="2506677"/>
              <a:ext cx="20638" cy="19050"/>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4" name="Freeform 456"/>
            <p:cNvSpPr>
              <a:spLocks/>
            </p:cNvSpPr>
            <p:nvPr/>
          </p:nvSpPr>
          <p:spPr bwMode="auto">
            <a:xfrm>
              <a:off x="2892464" y="2459052"/>
              <a:ext cx="158751" cy="114301"/>
            </a:xfrm>
            <a:custGeom>
              <a:avLst/>
              <a:gdLst>
                <a:gd name="T0" fmla="*/ 476 w 499"/>
                <a:gd name="T1" fmla="*/ 0 h 361"/>
                <a:gd name="T2" fmla="*/ 476 w 499"/>
                <a:gd name="T3" fmla="*/ 0 h 361"/>
                <a:gd name="T4" fmla="*/ 481 w 499"/>
                <a:gd name="T5" fmla="*/ 2 h 361"/>
                <a:gd name="T6" fmla="*/ 486 w 499"/>
                <a:gd name="T7" fmla="*/ 3 h 361"/>
                <a:gd name="T8" fmla="*/ 489 w 499"/>
                <a:gd name="T9" fmla="*/ 5 h 361"/>
                <a:gd name="T10" fmla="*/ 493 w 499"/>
                <a:gd name="T11" fmla="*/ 8 h 361"/>
                <a:gd name="T12" fmla="*/ 495 w 499"/>
                <a:gd name="T13" fmla="*/ 11 h 361"/>
                <a:gd name="T14" fmla="*/ 498 w 499"/>
                <a:gd name="T15" fmla="*/ 15 h 361"/>
                <a:gd name="T16" fmla="*/ 499 w 499"/>
                <a:gd name="T17" fmla="*/ 20 h 361"/>
                <a:gd name="T18" fmla="*/ 499 w 499"/>
                <a:gd name="T19" fmla="*/ 25 h 361"/>
                <a:gd name="T20" fmla="*/ 499 w 499"/>
                <a:gd name="T21" fmla="*/ 338 h 361"/>
                <a:gd name="T22" fmla="*/ 499 w 499"/>
                <a:gd name="T23" fmla="*/ 338 h 361"/>
                <a:gd name="T24" fmla="*/ 499 w 499"/>
                <a:gd name="T25" fmla="*/ 343 h 361"/>
                <a:gd name="T26" fmla="*/ 498 w 499"/>
                <a:gd name="T27" fmla="*/ 348 h 361"/>
                <a:gd name="T28" fmla="*/ 495 w 499"/>
                <a:gd name="T29" fmla="*/ 351 h 361"/>
                <a:gd name="T30" fmla="*/ 493 w 499"/>
                <a:gd name="T31" fmla="*/ 355 h 361"/>
                <a:gd name="T32" fmla="*/ 489 w 499"/>
                <a:gd name="T33" fmla="*/ 357 h 361"/>
                <a:gd name="T34" fmla="*/ 486 w 499"/>
                <a:gd name="T35" fmla="*/ 360 h 361"/>
                <a:gd name="T36" fmla="*/ 481 w 499"/>
                <a:gd name="T37" fmla="*/ 361 h 361"/>
                <a:gd name="T38" fmla="*/ 476 w 499"/>
                <a:gd name="T39" fmla="*/ 361 h 361"/>
                <a:gd name="T40" fmla="*/ 24 w 499"/>
                <a:gd name="T41" fmla="*/ 361 h 361"/>
                <a:gd name="T42" fmla="*/ 24 w 499"/>
                <a:gd name="T43" fmla="*/ 361 h 361"/>
                <a:gd name="T44" fmla="*/ 19 w 499"/>
                <a:gd name="T45" fmla="*/ 361 h 361"/>
                <a:gd name="T46" fmla="*/ 15 w 499"/>
                <a:gd name="T47" fmla="*/ 360 h 361"/>
                <a:gd name="T48" fmla="*/ 10 w 499"/>
                <a:gd name="T49" fmla="*/ 357 h 361"/>
                <a:gd name="T50" fmla="*/ 8 w 499"/>
                <a:gd name="T51" fmla="*/ 355 h 361"/>
                <a:gd name="T52" fmla="*/ 4 w 499"/>
                <a:gd name="T53" fmla="*/ 351 h 361"/>
                <a:gd name="T54" fmla="*/ 2 w 499"/>
                <a:gd name="T55" fmla="*/ 348 h 361"/>
                <a:gd name="T56" fmla="*/ 0 w 499"/>
                <a:gd name="T57" fmla="*/ 343 h 361"/>
                <a:gd name="T58" fmla="*/ 0 w 499"/>
                <a:gd name="T59" fmla="*/ 338 h 361"/>
                <a:gd name="T60" fmla="*/ 0 w 499"/>
                <a:gd name="T61" fmla="*/ 25 h 361"/>
                <a:gd name="T62" fmla="*/ 0 w 499"/>
                <a:gd name="T63" fmla="*/ 25 h 361"/>
                <a:gd name="T64" fmla="*/ 0 w 499"/>
                <a:gd name="T65" fmla="*/ 20 h 361"/>
                <a:gd name="T66" fmla="*/ 2 w 499"/>
                <a:gd name="T67" fmla="*/ 15 h 361"/>
                <a:gd name="T68" fmla="*/ 4 w 499"/>
                <a:gd name="T69" fmla="*/ 11 h 361"/>
                <a:gd name="T70" fmla="*/ 8 w 499"/>
                <a:gd name="T71" fmla="*/ 8 h 361"/>
                <a:gd name="T72" fmla="*/ 10 w 499"/>
                <a:gd name="T73" fmla="*/ 5 h 361"/>
                <a:gd name="T74" fmla="*/ 15 w 499"/>
                <a:gd name="T75" fmla="*/ 3 h 361"/>
                <a:gd name="T76" fmla="*/ 19 w 499"/>
                <a:gd name="T77" fmla="*/ 2 h 361"/>
                <a:gd name="T78" fmla="*/ 24 w 499"/>
                <a:gd name="T79" fmla="*/ 0 h 361"/>
                <a:gd name="T80" fmla="*/ 476 w 499"/>
                <a:gd name="T81" fmla="*/ 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9" h="361">
                  <a:moveTo>
                    <a:pt x="476" y="0"/>
                  </a:moveTo>
                  <a:lnTo>
                    <a:pt x="476" y="0"/>
                  </a:lnTo>
                  <a:lnTo>
                    <a:pt x="481" y="2"/>
                  </a:lnTo>
                  <a:lnTo>
                    <a:pt x="486" y="3"/>
                  </a:lnTo>
                  <a:lnTo>
                    <a:pt x="489" y="5"/>
                  </a:lnTo>
                  <a:lnTo>
                    <a:pt x="493" y="8"/>
                  </a:lnTo>
                  <a:lnTo>
                    <a:pt x="495" y="11"/>
                  </a:lnTo>
                  <a:lnTo>
                    <a:pt x="498" y="15"/>
                  </a:lnTo>
                  <a:lnTo>
                    <a:pt x="499" y="20"/>
                  </a:lnTo>
                  <a:lnTo>
                    <a:pt x="499" y="25"/>
                  </a:lnTo>
                  <a:lnTo>
                    <a:pt x="499" y="338"/>
                  </a:lnTo>
                  <a:lnTo>
                    <a:pt x="499" y="338"/>
                  </a:lnTo>
                  <a:lnTo>
                    <a:pt x="499" y="343"/>
                  </a:lnTo>
                  <a:lnTo>
                    <a:pt x="498" y="348"/>
                  </a:lnTo>
                  <a:lnTo>
                    <a:pt x="495" y="351"/>
                  </a:lnTo>
                  <a:lnTo>
                    <a:pt x="493" y="355"/>
                  </a:lnTo>
                  <a:lnTo>
                    <a:pt x="489" y="357"/>
                  </a:lnTo>
                  <a:lnTo>
                    <a:pt x="486" y="360"/>
                  </a:lnTo>
                  <a:lnTo>
                    <a:pt x="481" y="361"/>
                  </a:lnTo>
                  <a:lnTo>
                    <a:pt x="476" y="361"/>
                  </a:lnTo>
                  <a:lnTo>
                    <a:pt x="24" y="361"/>
                  </a:lnTo>
                  <a:lnTo>
                    <a:pt x="24" y="361"/>
                  </a:lnTo>
                  <a:lnTo>
                    <a:pt x="19" y="361"/>
                  </a:lnTo>
                  <a:lnTo>
                    <a:pt x="15" y="360"/>
                  </a:lnTo>
                  <a:lnTo>
                    <a:pt x="10" y="357"/>
                  </a:lnTo>
                  <a:lnTo>
                    <a:pt x="8" y="355"/>
                  </a:lnTo>
                  <a:lnTo>
                    <a:pt x="4" y="351"/>
                  </a:lnTo>
                  <a:lnTo>
                    <a:pt x="2" y="348"/>
                  </a:lnTo>
                  <a:lnTo>
                    <a:pt x="0" y="343"/>
                  </a:lnTo>
                  <a:lnTo>
                    <a:pt x="0" y="338"/>
                  </a:lnTo>
                  <a:lnTo>
                    <a:pt x="0" y="25"/>
                  </a:lnTo>
                  <a:lnTo>
                    <a:pt x="0" y="25"/>
                  </a:lnTo>
                  <a:lnTo>
                    <a:pt x="0" y="20"/>
                  </a:lnTo>
                  <a:lnTo>
                    <a:pt x="2" y="15"/>
                  </a:lnTo>
                  <a:lnTo>
                    <a:pt x="4" y="11"/>
                  </a:lnTo>
                  <a:lnTo>
                    <a:pt x="8" y="8"/>
                  </a:lnTo>
                  <a:lnTo>
                    <a:pt x="10" y="5"/>
                  </a:lnTo>
                  <a:lnTo>
                    <a:pt x="15" y="3"/>
                  </a:lnTo>
                  <a:lnTo>
                    <a:pt x="19" y="2"/>
                  </a:lnTo>
                  <a:lnTo>
                    <a:pt x="24" y="0"/>
                  </a:lnTo>
                  <a:lnTo>
                    <a:pt x="4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5" name="Rectangle 457"/>
            <p:cNvSpPr>
              <a:spLocks noChangeArrowheads="1"/>
            </p:cNvSpPr>
            <p:nvPr/>
          </p:nvSpPr>
          <p:spPr bwMode="auto">
            <a:xfrm>
              <a:off x="2900402"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6" name="Rectangle 458"/>
            <p:cNvSpPr>
              <a:spLocks noChangeArrowheads="1"/>
            </p:cNvSpPr>
            <p:nvPr/>
          </p:nvSpPr>
          <p:spPr bwMode="auto">
            <a:xfrm>
              <a:off x="2900402"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7" name="Rectangle 459"/>
            <p:cNvSpPr>
              <a:spLocks noChangeArrowheads="1"/>
            </p:cNvSpPr>
            <p:nvPr/>
          </p:nvSpPr>
          <p:spPr bwMode="auto">
            <a:xfrm>
              <a:off x="2900402"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8" name="Rectangle 460"/>
            <p:cNvSpPr>
              <a:spLocks noChangeArrowheads="1"/>
            </p:cNvSpPr>
            <p:nvPr/>
          </p:nvSpPr>
          <p:spPr bwMode="auto">
            <a:xfrm>
              <a:off x="2938502"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9" name="Rectangle 461"/>
            <p:cNvSpPr>
              <a:spLocks noChangeArrowheads="1"/>
            </p:cNvSpPr>
            <p:nvPr/>
          </p:nvSpPr>
          <p:spPr bwMode="auto">
            <a:xfrm>
              <a:off x="2938502"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0" name="Rectangle 462"/>
            <p:cNvSpPr>
              <a:spLocks noChangeArrowheads="1"/>
            </p:cNvSpPr>
            <p:nvPr/>
          </p:nvSpPr>
          <p:spPr bwMode="auto">
            <a:xfrm>
              <a:off x="2938502"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1" name="Rectangle 463"/>
            <p:cNvSpPr>
              <a:spLocks noChangeArrowheads="1"/>
            </p:cNvSpPr>
            <p:nvPr/>
          </p:nvSpPr>
          <p:spPr bwMode="auto">
            <a:xfrm>
              <a:off x="2975015"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2" name="Rectangle 464"/>
            <p:cNvSpPr>
              <a:spLocks noChangeArrowheads="1"/>
            </p:cNvSpPr>
            <p:nvPr/>
          </p:nvSpPr>
          <p:spPr bwMode="auto">
            <a:xfrm>
              <a:off x="2975015"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3" name="Rectangle 465"/>
            <p:cNvSpPr>
              <a:spLocks noChangeArrowheads="1"/>
            </p:cNvSpPr>
            <p:nvPr/>
          </p:nvSpPr>
          <p:spPr bwMode="auto">
            <a:xfrm>
              <a:off x="2975015"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4" name="Rectangle 466"/>
            <p:cNvSpPr>
              <a:spLocks noChangeArrowheads="1"/>
            </p:cNvSpPr>
            <p:nvPr/>
          </p:nvSpPr>
          <p:spPr bwMode="auto">
            <a:xfrm>
              <a:off x="3013115"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5" name="Rectangle 467"/>
            <p:cNvSpPr>
              <a:spLocks noChangeArrowheads="1"/>
            </p:cNvSpPr>
            <p:nvPr/>
          </p:nvSpPr>
          <p:spPr bwMode="auto">
            <a:xfrm>
              <a:off x="3013115"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6" name="Rectangle 468"/>
            <p:cNvSpPr>
              <a:spLocks noChangeArrowheads="1"/>
            </p:cNvSpPr>
            <p:nvPr/>
          </p:nvSpPr>
          <p:spPr bwMode="auto">
            <a:xfrm>
              <a:off x="3013115"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7" name="Rectangle 469"/>
            <p:cNvSpPr>
              <a:spLocks noChangeArrowheads="1"/>
            </p:cNvSpPr>
            <p:nvPr/>
          </p:nvSpPr>
          <p:spPr bwMode="auto">
            <a:xfrm>
              <a:off x="2860714" y="2547952"/>
              <a:ext cx="31750" cy="7938"/>
            </a:xfrm>
            <a:prstGeom prst="rect">
              <a:avLst/>
            </a:prstGeom>
            <a:solidFill>
              <a:srgbClr val="7F2D2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8" name="Rectangle 470"/>
            <p:cNvSpPr>
              <a:spLocks noChangeArrowheads="1"/>
            </p:cNvSpPr>
            <p:nvPr/>
          </p:nvSpPr>
          <p:spPr bwMode="auto">
            <a:xfrm>
              <a:off x="2860714" y="2474927"/>
              <a:ext cx="31750" cy="9525"/>
            </a:xfrm>
            <a:prstGeom prst="rect">
              <a:avLst/>
            </a:prstGeom>
            <a:solidFill>
              <a:srgbClr val="7F2D2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59" name="Freeform 471"/>
            <p:cNvSpPr>
              <a:spLocks/>
            </p:cNvSpPr>
            <p:nvPr/>
          </p:nvSpPr>
          <p:spPr bwMode="auto">
            <a:xfrm>
              <a:off x="2630525" y="2459052"/>
              <a:ext cx="157164" cy="114301"/>
            </a:xfrm>
            <a:custGeom>
              <a:avLst/>
              <a:gdLst>
                <a:gd name="T0" fmla="*/ 24 w 499"/>
                <a:gd name="T1" fmla="*/ 361 h 361"/>
                <a:gd name="T2" fmla="*/ 24 w 499"/>
                <a:gd name="T3" fmla="*/ 361 h 361"/>
                <a:gd name="T4" fmla="*/ 19 w 499"/>
                <a:gd name="T5" fmla="*/ 361 h 361"/>
                <a:gd name="T6" fmla="*/ 14 w 499"/>
                <a:gd name="T7" fmla="*/ 360 h 361"/>
                <a:gd name="T8" fmla="*/ 10 w 499"/>
                <a:gd name="T9" fmla="*/ 357 h 361"/>
                <a:gd name="T10" fmla="*/ 7 w 499"/>
                <a:gd name="T11" fmla="*/ 355 h 361"/>
                <a:gd name="T12" fmla="*/ 4 w 499"/>
                <a:gd name="T13" fmla="*/ 351 h 361"/>
                <a:gd name="T14" fmla="*/ 2 w 499"/>
                <a:gd name="T15" fmla="*/ 348 h 361"/>
                <a:gd name="T16" fmla="*/ 0 w 499"/>
                <a:gd name="T17" fmla="*/ 343 h 361"/>
                <a:gd name="T18" fmla="*/ 0 w 499"/>
                <a:gd name="T19" fmla="*/ 338 h 361"/>
                <a:gd name="T20" fmla="*/ 0 w 499"/>
                <a:gd name="T21" fmla="*/ 25 h 361"/>
                <a:gd name="T22" fmla="*/ 0 w 499"/>
                <a:gd name="T23" fmla="*/ 25 h 361"/>
                <a:gd name="T24" fmla="*/ 0 w 499"/>
                <a:gd name="T25" fmla="*/ 20 h 361"/>
                <a:gd name="T26" fmla="*/ 2 w 499"/>
                <a:gd name="T27" fmla="*/ 15 h 361"/>
                <a:gd name="T28" fmla="*/ 4 w 499"/>
                <a:gd name="T29" fmla="*/ 11 h 361"/>
                <a:gd name="T30" fmla="*/ 7 w 499"/>
                <a:gd name="T31" fmla="*/ 8 h 361"/>
                <a:gd name="T32" fmla="*/ 10 w 499"/>
                <a:gd name="T33" fmla="*/ 5 h 361"/>
                <a:gd name="T34" fmla="*/ 14 w 499"/>
                <a:gd name="T35" fmla="*/ 3 h 361"/>
                <a:gd name="T36" fmla="*/ 19 w 499"/>
                <a:gd name="T37" fmla="*/ 2 h 361"/>
                <a:gd name="T38" fmla="*/ 24 w 499"/>
                <a:gd name="T39" fmla="*/ 0 h 361"/>
                <a:gd name="T40" fmla="*/ 476 w 499"/>
                <a:gd name="T41" fmla="*/ 0 h 361"/>
                <a:gd name="T42" fmla="*/ 476 w 499"/>
                <a:gd name="T43" fmla="*/ 0 h 361"/>
                <a:gd name="T44" fmla="*/ 481 w 499"/>
                <a:gd name="T45" fmla="*/ 2 h 361"/>
                <a:gd name="T46" fmla="*/ 484 w 499"/>
                <a:gd name="T47" fmla="*/ 3 h 361"/>
                <a:gd name="T48" fmla="*/ 489 w 499"/>
                <a:gd name="T49" fmla="*/ 5 h 361"/>
                <a:gd name="T50" fmla="*/ 492 w 499"/>
                <a:gd name="T51" fmla="*/ 8 h 361"/>
                <a:gd name="T52" fmla="*/ 495 w 499"/>
                <a:gd name="T53" fmla="*/ 11 h 361"/>
                <a:gd name="T54" fmla="*/ 498 w 499"/>
                <a:gd name="T55" fmla="*/ 15 h 361"/>
                <a:gd name="T56" fmla="*/ 499 w 499"/>
                <a:gd name="T57" fmla="*/ 20 h 361"/>
                <a:gd name="T58" fmla="*/ 499 w 499"/>
                <a:gd name="T59" fmla="*/ 25 h 361"/>
                <a:gd name="T60" fmla="*/ 499 w 499"/>
                <a:gd name="T61" fmla="*/ 338 h 361"/>
                <a:gd name="T62" fmla="*/ 499 w 499"/>
                <a:gd name="T63" fmla="*/ 338 h 361"/>
                <a:gd name="T64" fmla="*/ 499 w 499"/>
                <a:gd name="T65" fmla="*/ 343 h 361"/>
                <a:gd name="T66" fmla="*/ 498 w 499"/>
                <a:gd name="T67" fmla="*/ 348 h 361"/>
                <a:gd name="T68" fmla="*/ 495 w 499"/>
                <a:gd name="T69" fmla="*/ 351 h 361"/>
                <a:gd name="T70" fmla="*/ 492 w 499"/>
                <a:gd name="T71" fmla="*/ 355 h 361"/>
                <a:gd name="T72" fmla="*/ 489 w 499"/>
                <a:gd name="T73" fmla="*/ 357 h 361"/>
                <a:gd name="T74" fmla="*/ 484 w 499"/>
                <a:gd name="T75" fmla="*/ 360 h 361"/>
                <a:gd name="T76" fmla="*/ 481 w 499"/>
                <a:gd name="T77" fmla="*/ 361 h 361"/>
                <a:gd name="T78" fmla="*/ 476 w 499"/>
                <a:gd name="T79" fmla="*/ 361 h 361"/>
                <a:gd name="T80" fmla="*/ 24 w 499"/>
                <a:gd name="T81"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9" h="361">
                  <a:moveTo>
                    <a:pt x="24" y="361"/>
                  </a:moveTo>
                  <a:lnTo>
                    <a:pt x="24" y="361"/>
                  </a:lnTo>
                  <a:lnTo>
                    <a:pt x="19" y="361"/>
                  </a:lnTo>
                  <a:lnTo>
                    <a:pt x="14" y="360"/>
                  </a:lnTo>
                  <a:lnTo>
                    <a:pt x="10" y="357"/>
                  </a:lnTo>
                  <a:lnTo>
                    <a:pt x="7" y="355"/>
                  </a:lnTo>
                  <a:lnTo>
                    <a:pt x="4" y="351"/>
                  </a:lnTo>
                  <a:lnTo>
                    <a:pt x="2" y="348"/>
                  </a:lnTo>
                  <a:lnTo>
                    <a:pt x="0" y="343"/>
                  </a:lnTo>
                  <a:lnTo>
                    <a:pt x="0" y="338"/>
                  </a:lnTo>
                  <a:lnTo>
                    <a:pt x="0" y="25"/>
                  </a:lnTo>
                  <a:lnTo>
                    <a:pt x="0" y="25"/>
                  </a:lnTo>
                  <a:lnTo>
                    <a:pt x="0" y="20"/>
                  </a:lnTo>
                  <a:lnTo>
                    <a:pt x="2" y="15"/>
                  </a:lnTo>
                  <a:lnTo>
                    <a:pt x="4" y="11"/>
                  </a:lnTo>
                  <a:lnTo>
                    <a:pt x="7" y="8"/>
                  </a:lnTo>
                  <a:lnTo>
                    <a:pt x="10" y="5"/>
                  </a:lnTo>
                  <a:lnTo>
                    <a:pt x="14" y="3"/>
                  </a:lnTo>
                  <a:lnTo>
                    <a:pt x="19" y="2"/>
                  </a:lnTo>
                  <a:lnTo>
                    <a:pt x="24" y="0"/>
                  </a:lnTo>
                  <a:lnTo>
                    <a:pt x="476" y="0"/>
                  </a:lnTo>
                  <a:lnTo>
                    <a:pt x="476" y="0"/>
                  </a:lnTo>
                  <a:lnTo>
                    <a:pt x="481" y="2"/>
                  </a:lnTo>
                  <a:lnTo>
                    <a:pt x="484" y="3"/>
                  </a:lnTo>
                  <a:lnTo>
                    <a:pt x="489" y="5"/>
                  </a:lnTo>
                  <a:lnTo>
                    <a:pt x="492" y="8"/>
                  </a:lnTo>
                  <a:lnTo>
                    <a:pt x="495" y="11"/>
                  </a:lnTo>
                  <a:lnTo>
                    <a:pt x="498" y="15"/>
                  </a:lnTo>
                  <a:lnTo>
                    <a:pt x="499" y="20"/>
                  </a:lnTo>
                  <a:lnTo>
                    <a:pt x="499" y="25"/>
                  </a:lnTo>
                  <a:lnTo>
                    <a:pt x="499" y="338"/>
                  </a:lnTo>
                  <a:lnTo>
                    <a:pt x="499" y="338"/>
                  </a:lnTo>
                  <a:lnTo>
                    <a:pt x="499" y="343"/>
                  </a:lnTo>
                  <a:lnTo>
                    <a:pt x="498" y="348"/>
                  </a:lnTo>
                  <a:lnTo>
                    <a:pt x="495" y="351"/>
                  </a:lnTo>
                  <a:lnTo>
                    <a:pt x="492" y="355"/>
                  </a:lnTo>
                  <a:lnTo>
                    <a:pt x="489" y="357"/>
                  </a:lnTo>
                  <a:lnTo>
                    <a:pt x="484" y="360"/>
                  </a:lnTo>
                  <a:lnTo>
                    <a:pt x="481" y="361"/>
                  </a:lnTo>
                  <a:lnTo>
                    <a:pt x="476" y="361"/>
                  </a:lnTo>
                  <a:lnTo>
                    <a:pt x="24" y="3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0" name="Rectangle 472"/>
            <p:cNvSpPr>
              <a:spLocks noChangeArrowheads="1"/>
            </p:cNvSpPr>
            <p:nvPr/>
          </p:nvSpPr>
          <p:spPr bwMode="auto">
            <a:xfrm>
              <a:off x="2749588"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1" name="Rectangle 473"/>
            <p:cNvSpPr>
              <a:spLocks noChangeArrowheads="1"/>
            </p:cNvSpPr>
            <p:nvPr/>
          </p:nvSpPr>
          <p:spPr bwMode="auto">
            <a:xfrm>
              <a:off x="2749588"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2" name="Rectangle 474"/>
            <p:cNvSpPr>
              <a:spLocks noChangeArrowheads="1"/>
            </p:cNvSpPr>
            <p:nvPr/>
          </p:nvSpPr>
          <p:spPr bwMode="auto">
            <a:xfrm>
              <a:off x="2749588"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3" name="Rectangle 475"/>
            <p:cNvSpPr>
              <a:spLocks noChangeArrowheads="1"/>
            </p:cNvSpPr>
            <p:nvPr/>
          </p:nvSpPr>
          <p:spPr bwMode="auto">
            <a:xfrm>
              <a:off x="2711488"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4" name="Rectangle 476"/>
            <p:cNvSpPr>
              <a:spLocks noChangeArrowheads="1"/>
            </p:cNvSpPr>
            <p:nvPr/>
          </p:nvSpPr>
          <p:spPr bwMode="auto">
            <a:xfrm>
              <a:off x="2711488"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5" name="Rectangle 477"/>
            <p:cNvSpPr>
              <a:spLocks noChangeArrowheads="1"/>
            </p:cNvSpPr>
            <p:nvPr/>
          </p:nvSpPr>
          <p:spPr bwMode="auto">
            <a:xfrm>
              <a:off x="2711488"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6" name="Rectangle 478"/>
            <p:cNvSpPr>
              <a:spLocks noChangeArrowheads="1"/>
            </p:cNvSpPr>
            <p:nvPr/>
          </p:nvSpPr>
          <p:spPr bwMode="auto">
            <a:xfrm>
              <a:off x="2674975" y="2465402"/>
              <a:ext cx="30163"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7" name="Rectangle 479"/>
            <p:cNvSpPr>
              <a:spLocks noChangeArrowheads="1"/>
            </p:cNvSpPr>
            <p:nvPr/>
          </p:nvSpPr>
          <p:spPr bwMode="auto">
            <a:xfrm>
              <a:off x="2674975" y="2500327"/>
              <a:ext cx="30163"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8" name="Rectangle 480"/>
            <p:cNvSpPr>
              <a:spLocks noChangeArrowheads="1"/>
            </p:cNvSpPr>
            <p:nvPr/>
          </p:nvSpPr>
          <p:spPr bwMode="auto">
            <a:xfrm>
              <a:off x="2674975" y="2535252"/>
              <a:ext cx="30163"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69" name="Rectangle 481"/>
            <p:cNvSpPr>
              <a:spLocks noChangeArrowheads="1"/>
            </p:cNvSpPr>
            <p:nvPr/>
          </p:nvSpPr>
          <p:spPr bwMode="auto">
            <a:xfrm>
              <a:off x="2636875"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0" name="Rectangle 482"/>
            <p:cNvSpPr>
              <a:spLocks noChangeArrowheads="1"/>
            </p:cNvSpPr>
            <p:nvPr/>
          </p:nvSpPr>
          <p:spPr bwMode="auto">
            <a:xfrm>
              <a:off x="2636875"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1" name="Rectangle 483"/>
            <p:cNvSpPr>
              <a:spLocks noChangeArrowheads="1"/>
            </p:cNvSpPr>
            <p:nvPr/>
          </p:nvSpPr>
          <p:spPr bwMode="auto">
            <a:xfrm>
              <a:off x="2636875"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2" name="Rectangle 484"/>
            <p:cNvSpPr>
              <a:spLocks noChangeArrowheads="1"/>
            </p:cNvSpPr>
            <p:nvPr/>
          </p:nvSpPr>
          <p:spPr bwMode="auto">
            <a:xfrm>
              <a:off x="2787689" y="2474927"/>
              <a:ext cx="33338" cy="9525"/>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3" name="Rectangle 485"/>
            <p:cNvSpPr>
              <a:spLocks noChangeArrowheads="1"/>
            </p:cNvSpPr>
            <p:nvPr/>
          </p:nvSpPr>
          <p:spPr bwMode="auto">
            <a:xfrm>
              <a:off x="2787689" y="2547952"/>
              <a:ext cx="33338" cy="7938"/>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674" name="그룹 673"/>
          <p:cNvGrpSpPr/>
          <p:nvPr userDrawn="1"/>
        </p:nvGrpSpPr>
        <p:grpSpPr>
          <a:xfrm rot="1800000">
            <a:off x="3553367" y="5174677"/>
            <a:ext cx="245535" cy="659277"/>
            <a:chOff x="3543344" y="2284425"/>
            <a:chExt cx="184151" cy="463554"/>
          </a:xfrm>
        </p:grpSpPr>
        <p:sp>
          <p:nvSpPr>
            <p:cNvPr id="675" name="Freeform 486"/>
            <p:cNvSpPr>
              <a:spLocks/>
            </p:cNvSpPr>
            <p:nvPr/>
          </p:nvSpPr>
          <p:spPr bwMode="auto">
            <a:xfrm>
              <a:off x="3603670" y="2557477"/>
              <a:ext cx="68263" cy="190502"/>
            </a:xfrm>
            <a:custGeom>
              <a:avLst/>
              <a:gdLst>
                <a:gd name="T0" fmla="*/ 2 w 219"/>
                <a:gd name="T1" fmla="*/ 0 h 600"/>
                <a:gd name="T2" fmla="*/ 0 w 219"/>
                <a:gd name="T3" fmla="*/ 95 h 600"/>
                <a:gd name="T4" fmla="*/ 30 w 219"/>
                <a:gd name="T5" fmla="*/ 79 h 600"/>
                <a:gd name="T6" fmla="*/ 30 w 219"/>
                <a:gd name="T7" fmla="*/ 79 h 600"/>
                <a:gd name="T8" fmla="*/ 38 w 219"/>
                <a:gd name="T9" fmla="*/ 234 h 600"/>
                <a:gd name="T10" fmla="*/ 47 w 219"/>
                <a:gd name="T11" fmla="*/ 385 h 600"/>
                <a:gd name="T12" fmla="*/ 47 w 219"/>
                <a:gd name="T13" fmla="*/ 385 h 600"/>
                <a:gd name="T14" fmla="*/ 55 w 219"/>
                <a:gd name="T15" fmla="*/ 357 h 600"/>
                <a:gd name="T16" fmla="*/ 71 w 219"/>
                <a:gd name="T17" fmla="*/ 303 h 600"/>
                <a:gd name="T18" fmla="*/ 94 w 219"/>
                <a:gd name="T19" fmla="*/ 224 h 600"/>
                <a:gd name="T20" fmla="*/ 94 w 219"/>
                <a:gd name="T21" fmla="*/ 224 h 600"/>
                <a:gd name="T22" fmla="*/ 117 w 219"/>
                <a:gd name="T23" fmla="*/ 417 h 600"/>
                <a:gd name="T24" fmla="*/ 134 w 219"/>
                <a:gd name="T25" fmla="*/ 546 h 600"/>
                <a:gd name="T26" fmla="*/ 139 w 219"/>
                <a:gd name="T27" fmla="*/ 588 h 600"/>
                <a:gd name="T28" fmla="*/ 142 w 219"/>
                <a:gd name="T29" fmla="*/ 598 h 600"/>
                <a:gd name="T30" fmla="*/ 142 w 219"/>
                <a:gd name="T31" fmla="*/ 600 h 600"/>
                <a:gd name="T32" fmla="*/ 142 w 219"/>
                <a:gd name="T33" fmla="*/ 600 h 600"/>
                <a:gd name="T34" fmla="*/ 164 w 219"/>
                <a:gd name="T35" fmla="*/ 384 h 600"/>
                <a:gd name="T36" fmla="*/ 183 w 219"/>
                <a:gd name="T37" fmla="*/ 179 h 600"/>
                <a:gd name="T38" fmla="*/ 219 w 219"/>
                <a:gd name="T39" fmla="*/ 211 h 600"/>
                <a:gd name="T40" fmla="*/ 203 w 219"/>
                <a:gd name="T41" fmla="*/ 0 h 600"/>
                <a:gd name="T42" fmla="*/ 2 w 219"/>
                <a:gd name="T43"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9" h="600">
                  <a:moveTo>
                    <a:pt x="2" y="0"/>
                  </a:moveTo>
                  <a:lnTo>
                    <a:pt x="0" y="95"/>
                  </a:lnTo>
                  <a:lnTo>
                    <a:pt x="30" y="79"/>
                  </a:lnTo>
                  <a:lnTo>
                    <a:pt x="30" y="79"/>
                  </a:lnTo>
                  <a:lnTo>
                    <a:pt x="38" y="234"/>
                  </a:lnTo>
                  <a:lnTo>
                    <a:pt x="47" y="385"/>
                  </a:lnTo>
                  <a:lnTo>
                    <a:pt x="47" y="385"/>
                  </a:lnTo>
                  <a:lnTo>
                    <a:pt x="55" y="357"/>
                  </a:lnTo>
                  <a:lnTo>
                    <a:pt x="71" y="303"/>
                  </a:lnTo>
                  <a:lnTo>
                    <a:pt x="94" y="224"/>
                  </a:lnTo>
                  <a:lnTo>
                    <a:pt x="94" y="224"/>
                  </a:lnTo>
                  <a:lnTo>
                    <a:pt x="117" y="417"/>
                  </a:lnTo>
                  <a:lnTo>
                    <a:pt x="134" y="546"/>
                  </a:lnTo>
                  <a:lnTo>
                    <a:pt x="139" y="588"/>
                  </a:lnTo>
                  <a:lnTo>
                    <a:pt x="142" y="598"/>
                  </a:lnTo>
                  <a:lnTo>
                    <a:pt x="142" y="600"/>
                  </a:lnTo>
                  <a:lnTo>
                    <a:pt x="142" y="600"/>
                  </a:lnTo>
                  <a:lnTo>
                    <a:pt x="164" y="384"/>
                  </a:lnTo>
                  <a:lnTo>
                    <a:pt x="183" y="179"/>
                  </a:lnTo>
                  <a:lnTo>
                    <a:pt x="219" y="211"/>
                  </a:lnTo>
                  <a:lnTo>
                    <a:pt x="203" y="0"/>
                  </a:lnTo>
                  <a:lnTo>
                    <a:pt x="2" y="0"/>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6" name="Freeform 487"/>
            <p:cNvSpPr>
              <a:spLocks/>
            </p:cNvSpPr>
            <p:nvPr/>
          </p:nvSpPr>
          <p:spPr bwMode="auto">
            <a:xfrm>
              <a:off x="3556044" y="2466989"/>
              <a:ext cx="52388" cy="63501"/>
            </a:xfrm>
            <a:custGeom>
              <a:avLst/>
              <a:gdLst>
                <a:gd name="T0" fmla="*/ 42 w 165"/>
                <a:gd name="T1" fmla="*/ 199 h 199"/>
                <a:gd name="T2" fmla="*/ 165 w 165"/>
                <a:gd name="T3" fmla="*/ 156 h 199"/>
                <a:gd name="T4" fmla="*/ 159 w 165"/>
                <a:gd name="T5" fmla="*/ 0 h 199"/>
                <a:gd name="T6" fmla="*/ 0 w 165"/>
                <a:gd name="T7" fmla="*/ 99 h 199"/>
                <a:gd name="T8" fmla="*/ 42 w 165"/>
                <a:gd name="T9" fmla="*/ 199 h 199"/>
              </a:gdLst>
              <a:ahLst/>
              <a:cxnLst>
                <a:cxn ang="0">
                  <a:pos x="T0" y="T1"/>
                </a:cxn>
                <a:cxn ang="0">
                  <a:pos x="T2" y="T3"/>
                </a:cxn>
                <a:cxn ang="0">
                  <a:pos x="T4" y="T5"/>
                </a:cxn>
                <a:cxn ang="0">
                  <a:pos x="T6" y="T7"/>
                </a:cxn>
                <a:cxn ang="0">
                  <a:pos x="T8" y="T9"/>
                </a:cxn>
              </a:cxnLst>
              <a:rect l="0" t="0" r="r" b="b"/>
              <a:pathLst>
                <a:path w="165" h="199">
                  <a:moveTo>
                    <a:pt x="42" y="199"/>
                  </a:moveTo>
                  <a:lnTo>
                    <a:pt x="165" y="156"/>
                  </a:lnTo>
                  <a:lnTo>
                    <a:pt x="159" y="0"/>
                  </a:lnTo>
                  <a:lnTo>
                    <a:pt x="0" y="99"/>
                  </a:lnTo>
                  <a:lnTo>
                    <a:pt x="42" y="1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7" name="Rectangle 488"/>
            <p:cNvSpPr>
              <a:spLocks noChangeArrowheads="1"/>
            </p:cNvSpPr>
            <p:nvPr/>
          </p:nvSpPr>
          <p:spPr bwMode="auto">
            <a:xfrm>
              <a:off x="3633832" y="2298713"/>
              <a:ext cx="3175" cy="36513"/>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8" name="Freeform 489"/>
            <p:cNvSpPr>
              <a:spLocks/>
            </p:cNvSpPr>
            <p:nvPr/>
          </p:nvSpPr>
          <p:spPr bwMode="auto">
            <a:xfrm>
              <a:off x="3597320" y="2562240"/>
              <a:ext cx="38100" cy="6350"/>
            </a:xfrm>
            <a:custGeom>
              <a:avLst/>
              <a:gdLst>
                <a:gd name="T0" fmla="*/ 0 w 120"/>
                <a:gd name="T1" fmla="*/ 0 h 20"/>
                <a:gd name="T2" fmla="*/ 0 w 120"/>
                <a:gd name="T3" fmla="*/ 0 h 20"/>
                <a:gd name="T4" fmla="*/ 0 w 120"/>
                <a:gd name="T5" fmla="*/ 3 h 20"/>
                <a:gd name="T6" fmla="*/ 3 w 120"/>
                <a:gd name="T7" fmla="*/ 4 h 20"/>
                <a:gd name="T8" fmla="*/ 9 w 120"/>
                <a:gd name="T9" fmla="*/ 8 h 20"/>
                <a:gd name="T10" fmla="*/ 20 w 120"/>
                <a:gd name="T11" fmla="*/ 11 h 20"/>
                <a:gd name="T12" fmla="*/ 34 w 120"/>
                <a:gd name="T13" fmla="*/ 15 h 20"/>
                <a:gd name="T14" fmla="*/ 53 w 120"/>
                <a:gd name="T15" fmla="*/ 17 h 20"/>
                <a:gd name="T16" fmla="*/ 73 w 120"/>
                <a:gd name="T17" fmla="*/ 19 h 20"/>
                <a:gd name="T18" fmla="*/ 95 w 120"/>
                <a:gd name="T19" fmla="*/ 20 h 20"/>
                <a:gd name="T20" fmla="*/ 120 w 120"/>
                <a:gd name="T21" fmla="*/ 20 h 20"/>
                <a:gd name="T22" fmla="*/ 120 w 120"/>
                <a:gd name="T23" fmla="*/ 0 h 20"/>
                <a:gd name="T24" fmla="*/ 0 w 120"/>
                <a:gd name="T2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0">
                  <a:moveTo>
                    <a:pt x="0" y="0"/>
                  </a:moveTo>
                  <a:lnTo>
                    <a:pt x="0" y="0"/>
                  </a:lnTo>
                  <a:lnTo>
                    <a:pt x="0" y="3"/>
                  </a:lnTo>
                  <a:lnTo>
                    <a:pt x="3" y="4"/>
                  </a:lnTo>
                  <a:lnTo>
                    <a:pt x="9" y="8"/>
                  </a:lnTo>
                  <a:lnTo>
                    <a:pt x="20" y="11"/>
                  </a:lnTo>
                  <a:lnTo>
                    <a:pt x="34" y="15"/>
                  </a:lnTo>
                  <a:lnTo>
                    <a:pt x="53" y="17"/>
                  </a:lnTo>
                  <a:lnTo>
                    <a:pt x="73" y="19"/>
                  </a:lnTo>
                  <a:lnTo>
                    <a:pt x="95" y="20"/>
                  </a:lnTo>
                  <a:lnTo>
                    <a:pt x="120" y="20"/>
                  </a:lnTo>
                  <a:lnTo>
                    <a:pt x="120" y="0"/>
                  </a:lnTo>
                  <a:lnTo>
                    <a:pt x="0"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79" name="Freeform 490"/>
            <p:cNvSpPr>
              <a:spLocks/>
            </p:cNvSpPr>
            <p:nvPr/>
          </p:nvSpPr>
          <p:spPr bwMode="auto">
            <a:xfrm>
              <a:off x="3581445" y="2316175"/>
              <a:ext cx="53975" cy="212727"/>
            </a:xfrm>
            <a:custGeom>
              <a:avLst/>
              <a:gdLst>
                <a:gd name="T0" fmla="*/ 173 w 173"/>
                <a:gd name="T1" fmla="*/ 0 h 669"/>
                <a:gd name="T2" fmla="*/ 173 w 173"/>
                <a:gd name="T3" fmla="*/ 669 h 669"/>
                <a:gd name="T4" fmla="*/ 70 w 173"/>
                <a:gd name="T5" fmla="*/ 669 h 669"/>
                <a:gd name="T6" fmla="*/ 70 w 173"/>
                <a:gd name="T7" fmla="*/ 669 h 669"/>
                <a:gd name="T8" fmla="*/ 67 w 173"/>
                <a:gd name="T9" fmla="*/ 665 h 669"/>
                <a:gd name="T10" fmla="*/ 59 w 173"/>
                <a:gd name="T11" fmla="*/ 651 h 669"/>
                <a:gd name="T12" fmla="*/ 47 w 173"/>
                <a:gd name="T13" fmla="*/ 629 h 669"/>
                <a:gd name="T14" fmla="*/ 35 w 173"/>
                <a:gd name="T15" fmla="*/ 599 h 669"/>
                <a:gd name="T16" fmla="*/ 28 w 173"/>
                <a:gd name="T17" fmla="*/ 580 h 669"/>
                <a:gd name="T18" fmla="*/ 22 w 173"/>
                <a:gd name="T19" fmla="*/ 560 h 669"/>
                <a:gd name="T20" fmla="*/ 15 w 173"/>
                <a:gd name="T21" fmla="*/ 538 h 669"/>
                <a:gd name="T22" fmla="*/ 11 w 173"/>
                <a:gd name="T23" fmla="*/ 513 h 669"/>
                <a:gd name="T24" fmla="*/ 6 w 173"/>
                <a:gd name="T25" fmla="*/ 487 h 669"/>
                <a:gd name="T26" fmla="*/ 2 w 173"/>
                <a:gd name="T27" fmla="*/ 458 h 669"/>
                <a:gd name="T28" fmla="*/ 1 w 173"/>
                <a:gd name="T29" fmla="*/ 429 h 669"/>
                <a:gd name="T30" fmla="*/ 0 w 173"/>
                <a:gd name="T31" fmla="*/ 398 h 669"/>
                <a:gd name="T32" fmla="*/ 0 w 173"/>
                <a:gd name="T33" fmla="*/ 398 h 669"/>
                <a:gd name="T34" fmla="*/ 0 w 173"/>
                <a:gd name="T35" fmla="*/ 382 h 669"/>
                <a:gd name="T36" fmla="*/ 1 w 173"/>
                <a:gd name="T37" fmla="*/ 365 h 669"/>
                <a:gd name="T38" fmla="*/ 6 w 173"/>
                <a:gd name="T39" fmla="*/ 330 h 669"/>
                <a:gd name="T40" fmla="*/ 13 w 173"/>
                <a:gd name="T41" fmla="*/ 296 h 669"/>
                <a:gd name="T42" fmla="*/ 22 w 173"/>
                <a:gd name="T43" fmla="*/ 262 h 669"/>
                <a:gd name="T44" fmla="*/ 34 w 173"/>
                <a:gd name="T45" fmla="*/ 229 h 669"/>
                <a:gd name="T46" fmla="*/ 46 w 173"/>
                <a:gd name="T47" fmla="*/ 196 h 669"/>
                <a:gd name="T48" fmla="*/ 59 w 173"/>
                <a:gd name="T49" fmla="*/ 165 h 669"/>
                <a:gd name="T50" fmla="*/ 74 w 173"/>
                <a:gd name="T51" fmla="*/ 134 h 669"/>
                <a:gd name="T52" fmla="*/ 89 w 173"/>
                <a:gd name="T53" fmla="*/ 106 h 669"/>
                <a:gd name="T54" fmla="*/ 103 w 173"/>
                <a:gd name="T55" fmla="*/ 81 h 669"/>
                <a:gd name="T56" fmla="*/ 118 w 173"/>
                <a:gd name="T57" fmla="*/ 57 h 669"/>
                <a:gd name="T58" fmla="*/ 133 w 173"/>
                <a:gd name="T59" fmla="*/ 38 h 669"/>
                <a:gd name="T60" fmla="*/ 145 w 173"/>
                <a:gd name="T61" fmla="*/ 22 h 669"/>
                <a:gd name="T62" fmla="*/ 156 w 173"/>
                <a:gd name="T63" fmla="*/ 11 h 669"/>
                <a:gd name="T64" fmla="*/ 165 w 173"/>
                <a:gd name="T65" fmla="*/ 4 h 669"/>
                <a:gd name="T66" fmla="*/ 169 w 173"/>
                <a:gd name="T67" fmla="*/ 1 h 669"/>
                <a:gd name="T68" fmla="*/ 173 w 173"/>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669">
                  <a:moveTo>
                    <a:pt x="173" y="0"/>
                  </a:moveTo>
                  <a:lnTo>
                    <a:pt x="173" y="669"/>
                  </a:lnTo>
                  <a:lnTo>
                    <a:pt x="70" y="669"/>
                  </a:lnTo>
                  <a:lnTo>
                    <a:pt x="70" y="669"/>
                  </a:lnTo>
                  <a:lnTo>
                    <a:pt x="67" y="665"/>
                  </a:lnTo>
                  <a:lnTo>
                    <a:pt x="59" y="651"/>
                  </a:lnTo>
                  <a:lnTo>
                    <a:pt x="47" y="629"/>
                  </a:lnTo>
                  <a:lnTo>
                    <a:pt x="35" y="599"/>
                  </a:lnTo>
                  <a:lnTo>
                    <a:pt x="28" y="580"/>
                  </a:lnTo>
                  <a:lnTo>
                    <a:pt x="22" y="560"/>
                  </a:lnTo>
                  <a:lnTo>
                    <a:pt x="15" y="538"/>
                  </a:lnTo>
                  <a:lnTo>
                    <a:pt x="11" y="513"/>
                  </a:lnTo>
                  <a:lnTo>
                    <a:pt x="6" y="487"/>
                  </a:lnTo>
                  <a:lnTo>
                    <a:pt x="2" y="458"/>
                  </a:lnTo>
                  <a:lnTo>
                    <a:pt x="1" y="429"/>
                  </a:lnTo>
                  <a:lnTo>
                    <a:pt x="0" y="398"/>
                  </a:lnTo>
                  <a:lnTo>
                    <a:pt x="0" y="398"/>
                  </a:lnTo>
                  <a:lnTo>
                    <a:pt x="0" y="382"/>
                  </a:lnTo>
                  <a:lnTo>
                    <a:pt x="1" y="365"/>
                  </a:lnTo>
                  <a:lnTo>
                    <a:pt x="6" y="330"/>
                  </a:lnTo>
                  <a:lnTo>
                    <a:pt x="13" y="296"/>
                  </a:lnTo>
                  <a:lnTo>
                    <a:pt x="22" y="262"/>
                  </a:lnTo>
                  <a:lnTo>
                    <a:pt x="34" y="229"/>
                  </a:lnTo>
                  <a:lnTo>
                    <a:pt x="46" y="196"/>
                  </a:lnTo>
                  <a:lnTo>
                    <a:pt x="59" y="165"/>
                  </a:lnTo>
                  <a:lnTo>
                    <a:pt x="74" y="134"/>
                  </a:lnTo>
                  <a:lnTo>
                    <a:pt x="89" y="106"/>
                  </a:lnTo>
                  <a:lnTo>
                    <a:pt x="103" y="81"/>
                  </a:lnTo>
                  <a:lnTo>
                    <a:pt x="118" y="57"/>
                  </a:lnTo>
                  <a:lnTo>
                    <a:pt x="133" y="38"/>
                  </a:lnTo>
                  <a:lnTo>
                    <a:pt x="145" y="22"/>
                  </a:lnTo>
                  <a:lnTo>
                    <a:pt x="156" y="11"/>
                  </a:lnTo>
                  <a:lnTo>
                    <a:pt x="165" y="4"/>
                  </a:lnTo>
                  <a:lnTo>
                    <a:pt x="169" y="1"/>
                  </a:lnTo>
                  <a:lnTo>
                    <a:pt x="17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0" name="Freeform 491"/>
            <p:cNvSpPr>
              <a:spLocks/>
            </p:cNvSpPr>
            <p:nvPr/>
          </p:nvSpPr>
          <p:spPr bwMode="auto">
            <a:xfrm>
              <a:off x="3581445" y="2316175"/>
              <a:ext cx="53975" cy="212727"/>
            </a:xfrm>
            <a:custGeom>
              <a:avLst/>
              <a:gdLst>
                <a:gd name="T0" fmla="*/ 173 w 173"/>
                <a:gd name="T1" fmla="*/ 0 h 669"/>
                <a:gd name="T2" fmla="*/ 173 w 173"/>
                <a:gd name="T3" fmla="*/ 669 h 669"/>
                <a:gd name="T4" fmla="*/ 70 w 173"/>
                <a:gd name="T5" fmla="*/ 669 h 669"/>
                <a:gd name="T6" fmla="*/ 70 w 173"/>
                <a:gd name="T7" fmla="*/ 669 h 669"/>
                <a:gd name="T8" fmla="*/ 67 w 173"/>
                <a:gd name="T9" fmla="*/ 665 h 669"/>
                <a:gd name="T10" fmla="*/ 59 w 173"/>
                <a:gd name="T11" fmla="*/ 651 h 669"/>
                <a:gd name="T12" fmla="*/ 47 w 173"/>
                <a:gd name="T13" fmla="*/ 629 h 669"/>
                <a:gd name="T14" fmla="*/ 35 w 173"/>
                <a:gd name="T15" fmla="*/ 599 h 669"/>
                <a:gd name="T16" fmla="*/ 28 w 173"/>
                <a:gd name="T17" fmla="*/ 580 h 669"/>
                <a:gd name="T18" fmla="*/ 22 w 173"/>
                <a:gd name="T19" fmla="*/ 560 h 669"/>
                <a:gd name="T20" fmla="*/ 15 w 173"/>
                <a:gd name="T21" fmla="*/ 538 h 669"/>
                <a:gd name="T22" fmla="*/ 11 w 173"/>
                <a:gd name="T23" fmla="*/ 513 h 669"/>
                <a:gd name="T24" fmla="*/ 6 w 173"/>
                <a:gd name="T25" fmla="*/ 487 h 669"/>
                <a:gd name="T26" fmla="*/ 2 w 173"/>
                <a:gd name="T27" fmla="*/ 458 h 669"/>
                <a:gd name="T28" fmla="*/ 1 w 173"/>
                <a:gd name="T29" fmla="*/ 429 h 669"/>
                <a:gd name="T30" fmla="*/ 0 w 173"/>
                <a:gd name="T31" fmla="*/ 398 h 669"/>
                <a:gd name="T32" fmla="*/ 0 w 173"/>
                <a:gd name="T33" fmla="*/ 398 h 669"/>
                <a:gd name="T34" fmla="*/ 0 w 173"/>
                <a:gd name="T35" fmla="*/ 382 h 669"/>
                <a:gd name="T36" fmla="*/ 1 w 173"/>
                <a:gd name="T37" fmla="*/ 365 h 669"/>
                <a:gd name="T38" fmla="*/ 6 w 173"/>
                <a:gd name="T39" fmla="*/ 330 h 669"/>
                <a:gd name="T40" fmla="*/ 13 w 173"/>
                <a:gd name="T41" fmla="*/ 296 h 669"/>
                <a:gd name="T42" fmla="*/ 22 w 173"/>
                <a:gd name="T43" fmla="*/ 262 h 669"/>
                <a:gd name="T44" fmla="*/ 34 w 173"/>
                <a:gd name="T45" fmla="*/ 229 h 669"/>
                <a:gd name="T46" fmla="*/ 46 w 173"/>
                <a:gd name="T47" fmla="*/ 196 h 669"/>
                <a:gd name="T48" fmla="*/ 59 w 173"/>
                <a:gd name="T49" fmla="*/ 165 h 669"/>
                <a:gd name="T50" fmla="*/ 74 w 173"/>
                <a:gd name="T51" fmla="*/ 134 h 669"/>
                <a:gd name="T52" fmla="*/ 89 w 173"/>
                <a:gd name="T53" fmla="*/ 106 h 669"/>
                <a:gd name="T54" fmla="*/ 103 w 173"/>
                <a:gd name="T55" fmla="*/ 81 h 669"/>
                <a:gd name="T56" fmla="*/ 118 w 173"/>
                <a:gd name="T57" fmla="*/ 57 h 669"/>
                <a:gd name="T58" fmla="*/ 133 w 173"/>
                <a:gd name="T59" fmla="*/ 38 h 669"/>
                <a:gd name="T60" fmla="*/ 145 w 173"/>
                <a:gd name="T61" fmla="*/ 22 h 669"/>
                <a:gd name="T62" fmla="*/ 156 w 173"/>
                <a:gd name="T63" fmla="*/ 11 h 669"/>
                <a:gd name="T64" fmla="*/ 165 w 173"/>
                <a:gd name="T65" fmla="*/ 4 h 669"/>
                <a:gd name="T66" fmla="*/ 169 w 173"/>
                <a:gd name="T67" fmla="*/ 1 h 669"/>
                <a:gd name="T68" fmla="*/ 173 w 173"/>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669">
                  <a:moveTo>
                    <a:pt x="173" y="0"/>
                  </a:moveTo>
                  <a:lnTo>
                    <a:pt x="173" y="669"/>
                  </a:lnTo>
                  <a:lnTo>
                    <a:pt x="70" y="669"/>
                  </a:lnTo>
                  <a:lnTo>
                    <a:pt x="70" y="669"/>
                  </a:lnTo>
                  <a:lnTo>
                    <a:pt x="67" y="665"/>
                  </a:lnTo>
                  <a:lnTo>
                    <a:pt x="59" y="651"/>
                  </a:lnTo>
                  <a:lnTo>
                    <a:pt x="47" y="629"/>
                  </a:lnTo>
                  <a:lnTo>
                    <a:pt x="35" y="599"/>
                  </a:lnTo>
                  <a:lnTo>
                    <a:pt x="28" y="580"/>
                  </a:lnTo>
                  <a:lnTo>
                    <a:pt x="22" y="560"/>
                  </a:lnTo>
                  <a:lnTo>
                    <a:pt x="15" y="538"/>
                  </a:lnTo>
                  <a:lnTo>
                    <a:pt x="11" y="513"/>
                  </a:lnTo>
                  <a:lnTo>
                    <a:pt x="6" y="487"/>
                  </a:lnTo>
                  <a:lnTo>
                    <a:pt x="2" y="458"/>
                  </a:lnTo>
                  <a:lnTo>
                    <a:pt x="1" y="429"/>
                  </a:lnTo>
                  <a:lnTo>
                    <a:pt x="0" y="398"/>
                  </a:lnTo>
                  <a:lnTo>
                    <a:pt x="0" y="398"/>
                  </a:lnTo>
                  <a:lnTo>
                    <a:pt x="0" y="382"/>
                  </a:lnTo>
                  <a:lnTo>
                    <a:pt x="1" y="365"/>
                  </a:lnTo>
                  <a:lnTo>
                    <a:pt x="6" y="330"/>
                  </a:lnTo>
                  <a:lnTo>
                    <a:pt x="13" y="296"/>
                  </a:lnTo>
                  <a:lnTo>
                    <a:pt x="22" y="262"/>
                  </a:lnTo>
                  <a:lnTo>
                    <a:pt x="34" y="229"/>
                  </a:lnTo>
                  <a:lnTo>
                    <a:pt x="46" y="196"/>
                  </a:lnTo>
                  <a:lnTo>
                    <a:pt x="59" y="165"/>
                  </a:lnTo>
                  <a:lnTo>
                    <a:pt x="74" y="134"/>
                  </a:lnTo>
                  <a:lnTo>
                    <a:pt x="89" y="106"/>
                  </a:lnTo>
                  <a:lnTo>
                    <a:pt x="103" y="81"/>
                  </a:lnTo>
                  <a:lnTo>
                    <a:pt x="118" y="57"/>
                  </a:lnTo>
                  <a:lnTo>
                    <a:pt x="133" y="38"/>
                  </a:lnTo>
                  <a:lnTo>
                    <a:pt x="145" y="22"/>
                  </a:lnTo>
                  <a:lnTo>
                    <a:pt x="156" y="11"/>
                  </a:lnTo>
                  <a:lnTo>
                    <a:pt x="165" y="4"/>
                  </a:lnTo>
                  <a:lnTo>
                    <a:pt x="169" y="1"/>
                  </a:lnTo>
                  <a:lnTo>
                    <a:pt x="17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1" name="Freeform 492"/>
            <p:cNvSpPr>
              <a:spLocks/>
            </p:cNvSpPr>
            <p:nvPr/>
          </p:nvSpPr>
          <p:spPr bwMode="auto">
            <a:xfrm>
              <a:off x="3608432" y="2316175"/>
              <a:ext cx="26988" cy="42863"/>
            </a:xfrm>
            <a:custGeom>
              <a:avLst/>
              <a:gdLst>
                <a:gd name="T0" fmla="*/ 0 w 88"/>
                <a:gd name="T1" fmla="*/ 113 h 132"/>
                <a:gd name="T2" fmla="*/ 0 w 88"/>
                <a:gd name="T3" fmla="*/ 113 h 132"/>
                <a:gd name="T4" fmla="*/ 19 w 88"/>
                <a:gd name="T5" fmla="*/ 121 h 132"/>
                <a:gd name="T6" fmla="*/ 41 w 88"/>
                <a:gd name="T7" fmla="*/ 127 h 132"/>
                <a:gd name="T8" fmla="*/ 65 w 88"/>
                <a:gd name="T9" fmla="*/ 131 h 132"/>
                <a:gd name="T10" fmla="*/ 88 w 88"/>
                <a:gd name="T11" fmla="*/ 132 h 132"/>
                <a:gd name="T12" fmla="*/ 88 w 88"/>
                <a:gd name="T13" fmla="*/ 0 h 132"/>
                <a:gd name="T14" fmla="*/ 88 w 88"/>
                <a:gd name="T15" fmla="*/ 0 h 132"/>
                <a:gd name="T16" fmla="*/ 85 w 88"/>
                <a:gd name="T17" fmla="*/ 1 h 132"/>
                <a:gd name="T18" fmla="*/ 82 w 88"/>
                <a:gd name="T19" fmla="*/ 3 h 132"/>
                <a:gd name="T20" fmla="*/ 73 w 88"/>
                <a:gd name="T21" fmla="*/ 9 h 132"/>
                <a:gd name="T22" fmla="*/ 63 w 88"/>
                <a:gd name="T23" fmla="*/ 18 h 132"/>
                <a:gd name="T24" fmla="*/ 52 w 88"/>
                <a:gd name="T25" fmla="*/ 32 h 132"/>
                <a:gd name="T26" fmla="*/ 40 w 88"/>
                <a:gd name="T27" fmla="*/ 49 h 132"/>
                <a:gd name="T28" fmla="*/ 27 w 88"/>
                <a:gd name="T29" fmla="*/ 67 h 132"/>
                <a:gd name="T30" fmla="*/ 13 w 88"/>
                <a:gd name="T31" fmla="*/ 89 h 132"/>
                <a:gd name="T32" fmla="*/ 0 w 88"/>
                <a:gd name="T33" fmla="*/ 113 h 132"/>
                <a:gd name="T34" fmla="*/ 0 w 88"/>
                <a:gd name="T35" fmla="*/ 11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132">
                  <a:moveTo>
                    <a:pt x="0" y="113"/>
                  </a:moveTo>
                  <a:lnTo>
                    <a:pt x="0" y="113"/>
                  </a:lnTo>
                  <a:lnTo>
                    <a:pt x="19" y="121"/>
                  </a:lnTo>
                  <a:lnTo>
                    <a:pt x="41" y="127"/>
                  </a:lnTo>
                  <a:lnTo>
                    <a:pt x="65" y="131"/>
                  </a:lnTo>
                  <a:lnTo>
                    <a:pt x="88" y="132"/>
                  </a:lnTo>
                  <a:lnTo>
                    <a:pt x="88" y="0"/>
                  </a:lnTo>
                  <a:lnTo>
                    <a:pt x="88" y="0"/>
                  </a:lnTo>
                  <a:lnTo>
                    <a:pt x="85" y="1"/>
                  </a:lnTo>
                  <a:lnTo>
                    <a:pt x="82" y="3"/>
                  </a:lnTo>
                  <a:lnTo>
                    <a:pt x="73" y="9"/>
                  </a:lnTo>
                  <a:lnTo>
                    <a:pt x="63" y="18"/>
                  </a:lnTo>
                  <a:lnTo>
                    <a:pt x="52" y="32"/>
                  </a:lnTo>
                  <a:lnTo>
                    <a:pt x="40" y="49"/>
                  </a:lnTo>
                  <a:lnTo>
                    <a:pt x="27" y="67"/>
                  </a:lnTo>
                  <a:lnTo>
                    <a:pt x="13" y="89"/>
                  </a:lnTo>
                  <a:lnTo>
                    <a:pt x="0" y="113"/>
                  </a:lnTo>
                  <a:lnTo>
                    <a:pt x="0" y="11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2" name="Freeform 493"/>
            <p:cNvSpPr>
              <a:spLocks/>
            </p:cNvSpPr>
            <p:nvPr/>
          </p:nvSpPr>
          <p:spPr bwMode="auto">
            <a:xfrm>
              <a:off x="3543344" y="2498739"/>
              <a:ext cx="38100" cy="73026"/>
            </a:xfrm>
            <a:custGeom>
              <a:avLst/>
              <a:gdLst>
                <a:gd name="T0" fmla="*/ 108 w 119"/>
                <a:gd name="T1" fmla="*/ 234 h 234"/>
                <a:gd name="T2" fmla="*/ 119 w 119"/>
                <a:gd name="T3" fmla="*/ 189 h 234"/>
                <a:gd name="T4" fmla="*/ 37 w 119"/>
                <a:gd name="T5" fmla="*/ 0 h 234"/>
                <a:gd name="T6" fmla="*/ 0 w 119"/>
                <a:gd name="T7" fmla="*/ 23 h 234"/>
                <a:gd name="T8" fmla="*/ 108 w 119"/>
                <a:gd name="T9" fmla="*/ 234 h 234"/>
              </a:gdLst>
              <a:ahLst/>
              <a:cxnLst>
                <a:cxn ang="0">
                  <a:pos x="T0" y="T1"/>
                </a:cxn>
                <a:cxn ang="0">
                  <a:pos x="T2" y="T3"/>
                </a:cxn>
                <a:cxn ang="0">
                  <a:pos x="T4" y="T5"/>
                </a:cxn>
                <a:cxn ang="0">
                  <a:pos x="T6" y="T7"/>
                </a:cxn>
                <a:cxn ang="0">
                  <a:pos x="T8" y="T9"/>
                </a:cxn>
              </a:cxnLst>
              <a:rect l="0" t="0" r="r" b="b"/>
              <a:pathLst>
                <a:path w="119" h="234">
                  <a:moveTo>
                    <a:pt x="108" y="234"/>
                  </a:moveTo>
                  <a:lnTo>
                    <a:pt x="119" y="189"/>
                  </a:lnTo>
                  <a:lnTo>
                    <a:pt x="37" y="0"/>
                  </a:lnTo>
                  <a:lnTo>
                    <a:pt x="0" y="23"/>
                  </a:lnTo>
                  <a:lnTo>
                    <a:pt x="108" y="234"/>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3" name="Freeform 494"/>
            <p:cNvSpPr>
              <a:spLocks/>
            </p:cNvSpPr>
            <p:nvPr/>
          </p:nvSpPr>
          <p:spPr bwMode="auto">
            <a:xfrm>
              <a:off x="3608432" y="2409839"/>
              <a:ext cx="26988" cy="53975"/>
            </a:xfrm>
            <a:custGeom>
              <a:avLst/>
              <a:gdLst>
                <a:gd name="T0" fmla="*/ 84 w 84"/>
                <a:gd name="T1" fmla="*/ 0 h 168"/>
                <a:gd name="T2" fmla="*/ 67 w 84"/>
                <a:gd name="T3" fmla="*/ 1 h 168"/>
                <a:gd name="T4" fmla="*/ 51 w 84"/>
                <a:gd name="T5" fmla="*/ 6 h 168"/>
                <a:gd name="T6" fmla="*/ 37 w 84"/>
                <a:gd name="T7" fmla="*/ 15 h 168"/>
                <a:gd name="T8" fmla="*/ 24 w 84"/>
                <a:gd name="T9" fmla="*/ 24 h 168"/>
                <a:gd name="T10" fmla="*/ 14 w 84"/>
                <a:gd name="T11" fmla="*/ 36 h 168"/>
                <a:gd name="T12" fmla="*/ 7 w 84"/>
                <a:gd name="T13" fmla="*/ 51 h 168"/>
                <a:gd name="T14" fmla="*/ 2 w 84"/>
                <a:gd name="T15" fmla="*/ 67 h 168"/>
                <a:gd name="T16" fmla="*/ 0 w 84"/>
                <a:gd name="T17" fmla="*/ 84 h 168"/>
                <a:gd name="T18" fmla="*/ 1 w 84"/>
                <a:gd name="T19" fmla="*/ 93 h 168"/>
                <a:gd name="T20" fmla="*/ 3 w 84"/>
                <a:gd name="T21" fmla="*/ 108 h 168"/>
                <a:gd name="T22" fmla="*/ 9 w 84"/>
                <a:gd name="T23" fmla="*/ 124 h 168"/>
                <a:gd name="T24" fmla="*/ 19 w 84"/>
                <a:gd name="T25" fmla="*/ 138 h 168"/>
                <a:gd name="T26" fmla="*/ 30 w 84"/>
                <a:gd name="T27" fmla="*/ 149 h 168"/>
                <a:gd name="T28" fmla="*/ 44 w 84"/>
                <a:gd name="T29" fmla="*/ 157 h 168"/>
                <a:gd name="T30" fmla="*/ 59 w 84"/>
                <a:gd name="T31" fmla="*/ 163 h 168"/>
                <a:gd name="T32" fmla="*/ 75 w 84"/>
                <a:gd name="T33" fmla="*/ 167 h 168"/>
                <a:gd name="T34" fmla="*/ 84 w 84"/>
                <a:gd name="T35" fmla="*/ 158 h 168"/>
                <a:gd name="T36" fmla="*/ 76 w 84"/>
                <a:gd name="T37" fmla="*/ 158 h 168"/>
                <a:gd name="T38" fmla="*/ 62 w 84"/>
                <a:gd name="T39" fmla="*/ 156 h 168"/>
                <a:gd name="T40" fmla="*/ 42 w 84"/>
                <a:gd name="T41" fmla="*/ 146 h 168"/>
                <a:gd name="T42" fmla="*/ 22 w 84"/>
                <a:gd name="T43" fmla="*/ 125 h 168"/>
                <a:gd name="T44" fmla="*/ 12 w 84"/>
                <a:gd name="T45" fmla="*/ 106 h 168"/>
                <a:gd name="T46" fmla="*/ 9 w 84"/>
                <a:gd name="T47" fmla="*/ 91 h 168"/>
                <a:gd name="T48" fmla="*/ 8 w 84"/>
                <a:gd name="T49" fmla="*/ 84 h 168"/>
                <a:gd name="T50" fmla="*/ 8 w 84"/>
                <a:gd name="T51" fmla="*/ 84 h 168"/>
                <a:gd name="T52" fmla="*/ 9 w 84"/>
                <a:gd name="T53" fmla="*/ 75 h 168"/>
                <a:gd name="T54" fmla="*/ 12 w 84"/>
                <a:gd name="T55" fmla="*/ 61 h 168"/>
                <a:gd name="T56" fmla="*/ 22 w 84"/>
                <a:gd name="T57" fmla="*/ 41 h 168"/>
                <a:gd name="T58" fmla="*/ 42 w 84"/>
                <a:gd name="T59" fmla="*/ 22 h 168"/>
                <a:gd name="T60" fmla="*/ 62 w 84"/>
                <a:gd name="T61" fmla="*/ 12 h 168"/>
                <a:gd name="T62" fmla="*/ 76 w 84"/>
                <a:gd name="T63" fmla="*/ 8 h 168"/>
                <a:gd name="T64" fmla="*/ 84 w 84"/>
                <a:gd name="T6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4" h="168">
                  <a:moveTo>
                    <a:pt x="84" y="0"/>
                  </a:moveTo>
                  <a:lnTo>
                    <a:pt x="84" y="0"/>
                  </a:lnTo>
                  <a:lnTo>
                    <a:pt x="75" y="0"/>
                  </a:lnTo>
                  <a:lnTo>
                    <a:pt x="67" y="1"/>
                  </a:lnTo>
                  <a:lnTo>
                    <a:pt x="59" y="4"/>
                  </a:lnTo>
                  <a:lnTo>
                    <a:pt x="51" y="6"/>
                  </a:lnTo>
                  <a:lnTo>
                    <a:pt x="44" y="10"/>
                  </a:lnTo>
                  <a:lnTo>
                    <a:pt x="37" y="15"/>
                  </a:lnTo>
                  <a:lnTo>
                    <a:pt x="30" y="19"/>
                  </a:lnTo>
                  <a:lnTo>
                    <a:pt x="24" y="24"/>
                  </a:lnTo>
                  <a:lnTo>
                    <a:pt x="19" y="30"/>
                  </a:lnTo>
                  <a:lnTo>
                    <a:pt x="14" y="36"/>
                  </a:lnTo>
                  <a:lnTo>
                    <a:pt x="9" y="44"/>
                  </a:lnTo>
                  <a:lnTo>
                    <a:pt x="7" y="51"/>
                  </a:lnTo>
                  <a:lnTo>
                    <a:pt x="3" y="58"/>
                  </a:lnTo>
                  <a:lnTo>
                    <a:pt x="2" y="67"/>
                  </a:lnTo>
                  <a:lnTo>
                    <a:pt x="1" y="75"/>
                  </a:lnTo>
                  <a:lnTo>
                    <a:pt x="0" y="84"/>
                  </a:lnTo>
                  <a:lnTo>
                    <a:pt x="0" y="84"/>
                  </a:lnTo>
                  <a:lnTo>
                    <a:pt x="1" y="93"/>
                  </a:lnTo>
                  <a:lnTo>
                    <a:pt x="2" y="101"/>
                  </a:lnTo>
                  <a:lnTo>
                    <a:pt x="3" y="108"/>
                  </a:lnTo>
                  <a:lnTo>
                    <a:pt x="7" y="117"/>
                  </a:lnTo>
                  <a:lnTo>
                    <a:pt x="9" y="124"/>
                  </a:lnTo>
                  <a:lnTo>
                    <a:pt x="14" y="130"/>
                  </a:lnTo>
                  <a:lnTo>
                    <a:pt x="19" y="138"/>
                  </a:lnTo>
                  <a:lnTo>
                    <a:pt x="24" y="143"/>
                  </a:lnTo>
                  <a:lnTo>
                    <a:pt x="30" y="149"/>
                  </a:lnTo>
                  <a:lnTo>
                    <a:pt x="37" y="154"/>
                  </a:lnTo>
                  <a:lnTo>
                    <a:pt x="44" y="157"/>
                  </a:lnTo>
                  <a:lnTo>
                    <a:pt x="51" y="161"/>
                  </a:lnTo>
                  <a:lnTo>
                    <a:pt x="59" y="163"/>
                  </a:lnTo>
                  <a:lnTo>
                    <a:pt x="67" y="166"/>
                  </a:lnTo>
                  <a:lnTo>
                    <a:pt x="75" y="167"/>
                  </a:lnTo>
                  <a:lnTo>
                    <a:pt x="84" y="168"/>
                  </a:lnTo>
                  <a:lnTo>
                    <a:pt x="84" y="158"/>
                  </a:lnTo>
                  <a:lnTo>
                    <a:pt x="84" y="158"/>
                  </a:lnTo>
                  <a:lnTo>
                    <a:pt x="76" y="158"/>
                  </a:lnTo>
                  <a:lnTo>
                    <a:pt x="69" y="157"/>
                  </a:lnTo>
                  <a:lnTo>
                    <a:pt x="62" y="156"/>
                  </a:lnTo>
                  <a:lnTo>
                    <a:pt x="54" y="152"/>
                  </a:lnTo>
                  <a:lnTo>
                    <a:pt x="42" y="146"/>
                  </a:lnTo>
                  <a:lnTo>
                    <a:pt x="30" y="136"/>
                  </a:lnTo>
                  <a:lnTo>
                    <a:pt x="22" y="125"/>
                  </a:lnTo>
                  <a:lnTo>
                    <a:pt x="14" y="113"/>
                  </a:lnTo>
                  <a:lnTo>
                    <a:pt x="12" y="106"/>
                  </a:lnTo>
                  <a:lnTo>
                    <a:pt x="11" y="99"/>
                  </a:lnTo>
                  <a:lnTo>
                    <a:pt x="9" y="91"/>
                  </a:lnTo>
                  <a:lnTo>
                    <a:pt x="8" y="84"/>
                  </a:lnTo>
                  <a:lnTo>
                    <a:pt x="8" y="84"/>
                  </a:lnTo>
                  <a:lnTo>
                    <a:pt x="8" y="84"/>
                  </a:lnTo>
                  <a:lnTo>
                    <a:pt x="8" y="84"/>
                  </a:lnTo>
                  <a:lnTo>
                    <a:pt x="8" y="84"/>
                  </a:lnTo>
                  <a:lnTo>
                    <a:pt x="9" y="75"/>
                  </a:lnTo>
                  <a:lnTo>
                    <a:pt x="11" y="68"/>
                  </a:lnTo>
                  <a:lnTo>
                    <a:pt x="12" y="61"/>
                  </a:lnTo>
                  <a:lnTo>
                    <a:pt x="14" y="55"/>
                  </a:lnTo>
                  <a:lnTo>
                    <a:pt x="22" y="41"/>
                  </a:lnTo>
                  <a:lnTo>
                    <a:pt x="30" y="30"/>
                  </a:lnTo>
                  <a:lnTo>
                    <a:pt x="42" y="22"/>
                  </a:lnTo>
                  <a:lnTo>
                    <a:pt x="54" y="15"/>
                  </a:lnTo>
                  <a:lnTo>
                    <a:pt x="62" y="12"/>
                  </a:lnTo>
                  <a:lnTo>
                    <a:pt x="69" y="10"/>
                  </a:lnTo>
                  <a:lnTo>
                    <a:pt x="76" y="8"/>
                  </a:lnTo>
                  <a:lnTo>
                    <a:pt x="84" y="8"/>
                  </a:lnTo>
                  <a:lnTo>
                    <a:pt x="84"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4" name="Freeform 495"/>
            <p:cNvSpPr>
              <a:spLocks/>
            </p:cNvSpPr>
            <p:nvPr/>
          </p:nvSpPr>
          <p:spPr bwMode="auto">
            <a:xfrm>
              <a:off x="3608432" y="2409839"/>
              <a:ext cx="26988" cy="53975"/>
            </a:xfrm>
            <a:custGeom>
              <a:avLst/>
              <a:gdLst>
                <a:gd name="T0" fmla="*/ 84 w 84"/>
                <a:gd name="T1" fmla="*/ 0 h 168"/>
                <a:gd name="T2" fmla="*/ 67 w 84"/>
                <a:gd name="T3" fmla="*/ 1 h 168"/>
                <a:gd name="T4" fmla="*/ 51 w 84"/>
                <a:gd name="T5" fmla="*/ 6 h 168"/>
                <a:gd name="T6" fmla="*/ 37 w 84"/>
                <a:gd name="T7" fmla="*/ 15 h 168"/>
                <a:gd name="T8" fmla="*/ 24 w 84"/>
                <a:gd name="T9" fmla="*/ 24 h 168"/>
                <a:gd name="T10" fmla="*/ 14 w 84"/>
                <a:gd name="T11" fmla="*/ 36 h 168"/>
                <a:gd name="T12" fmla="*/ 7 w 84"/>
                <a:gd name="T13" fmla="*/ 51 h 168"/>
                <a:gd name="T14" fmla="*/ 2 w 84"/>
                <a:gd name="T15" fmla="*/ 67 h 168"/>
                <a:gd name="T16" fmla="*/ 0 w 84"/>
                <a:gd name="T17" fmla="*/ 84 h 168"/>
                <a:gd name="T18" fmla="*/ 1 w 84"/>
                <a:gd name="T19" fmla="*/ 93 h 168"/>
                <a:gd name="T20" fmla="*/ 3 w 84"/>
                <a:gd name="T21" fmla="*/ 108 h 168"/>
                <a:gd name="T22" fmla="*/ 9 w 84"/>
                <a:gd name="T23" fmla="*/ 124 h 168"/>
                <a:gd name="T24" fmla="*/ 19 w 84"/>
                <a:gd name="T25" fmla="*/ 138 h 168"/>
                <a:gd name="T26" fmla="*/ 30 w 84"/>
                <a:gd name="T27" fmla="*/ 149 h 168"/>
                <a:gd name="T28" fmla="*/ 44 w 84"/>
                <a:gd name="T29" fmla="*/ 157 h 168"/>
                <a:gd name="T30" fmla="*/ 59 w 84"/>
                <a:gd name="T31" fmla="*/ 163 h 168"/>
                <a:gd name="T32" fmla="*/ 75 w 84"/>
                <a:gd name="T33" fmla="*/ 167 h 168"/>
                <a:gd name="T34" fmla="*/ 84 w 84"/>
                <a:gd name="T35" fmla="*/ 158 h 168"/>
                <a:gd name="T36" fmla="*/ 76 w 84"/>
                <a:gd name="T37" fmla="*/ 158 h 168"/>
                <a:gd name="T38" fmla="*/ 62 w 84"/>
                <a:gd name="T39" fmla="*/ 156 h 168"/>
                <a:gd name="T40" fmla="*/ 42 w 84"/>
                <a:gd name="T41" fmla="*/ 146 h 168"/>
                <a:gd name="T42" fmla="*/ 22 w 84"/>
                <a:gd name="T43" fmla="*/ 125 h 168"/>
                <a:gd name="T44" fmla="*/ 12 w 84"/>
                <a:gd name="T45" fmla="*/ 106 h 168"/>
                <a:gd name="T46" fmla="*/ 9 w 84"/>
                <a:gd name="T47" fmla="*/ 91 h 168"/>
                <a:gd name="T48" fmla="*/ 8 w 84"/>
                <a:gd name="T49" fmla="*/ 84 h 168"/>
                <a:gd name="T50" fmla="*/ 8 w 84"/>
                <a:gd name="T51" fmla="*/ 84 h 168"/>
                <a:gd name="T52" fmla="*/ 9 w 84"/>
                <a:gd name="T53" fmla="*/ 75 h 168"/>
                <a:gd name="T54" fmla="*/ 12 w 84"/>
                <a:gd name="T55" fmla="*/ 61 h 168"/>
                <a:gd name="T56" fmla="*/ 22 w 84"/>
                <a:gd name="T57" fmla="*/ 41 h 168"/>
                <a:gd name="T58" fmla="*/ 42 w 84"/>
                <a:gd name="T59" fmla="*/ 22 h 168"/>
                <a:gd name="T60" fmla="*/ 62 w 84"/>
                <a:gd name="T61" fmla="*/ 12 h 168"/>
                <a:gd name="T62" fmla="*/ 76 w 84"/>
                <a:gd name="T63" fmla="*/ 8 h 168"/>
                <a:gd name="T64" fmla="*/ 84 w 84"/>
                <a:gd name="T6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4" h="168">
                  <a:moveTo>
                    <a:pt x="84" y="0"/>
                  </a:moveTo>
                  <a:lnTo>
                    <a:pt x="84" y="0"/>
                  </a:lnTo>
                  <a:lnTo>
                    <a:pt x="75" y="0"/>
                  </a:lnTo>
                  <a:lnTo>
                    <a:pt x="67" y="1"/>
                  </a:lnTo>
                  <a:lnTo>
                    <a:pt x="59" y="4"/>
                  </a:lnTo>
                  <a:lnTo>
                    <a:pt x="51" y="6"/>
                  </a:lnTo>
                  <a:lnTo>
                    <a:pt x="44" y="10"/>
                  </a:lnTo>
                  <a:lnTo>
                    <a:pt x="37" y="15"/>
                  </a:lnTo>
                  <a:lnTo>
                    <a:pt x="30" y="19"/>
                  </a:lnTo>
                  <a:lnTo>
                    <a:pt x="24" y="24"/>
                  </a:lnTo>
                  <a:lnTo>
                    <a:pt x="19" y="30"/>
                  </a:lnTo>
                  <a:lnTo>
                    <a:pt x="14" y="36"/>
                  </a:lnTo>
                  <a:lnTo>
                    <a:pt x="9" y="44"/>
                  </a:lnTo>
                  <a:lnTo>
                    <a:pt x="7" y="51"/>
                  </a:lnTo>
                  <a:lnTo>
                    <a:pt x="3" y="58"/>
                  </a:lnTo>
                  <a:lnTo>
                    <a:pt x="2" y="67"/>
                  </a:lnTo>
                  <a:lnTo>
                    <a:pt x="1" y="75"/>
                  </a:lnTo>
                  <a:lnTo>
                    <a:pt x="0" y="84"/>
                  </a:lnTo>
                  <a:lnTo>
                    <a:pt x="0" y="84"/>
                  </a:lnTo>
                  <a:lnTo>
                    <a:pt x="1" y="93"/>
                  </a:lnTo>
                  <a:lnTo>
                    <a:pt x="2" y="101"/>
                  </a:lnTo>
                  <a:lnTo>
                    <a:pt x="3" y="108"/>
                  </a:lnTo>
                  <a:lnTo>
                    <a:pt x="7" y="117"/>
                  </a:lnTo>
                  <a:lnTo>
                    <a:pt x="9" y="124"/>
                  </a:lnTo>
                  <a:lnTo>
                    <a:pt x="14" y="130"/>
                  </a:lnTo>
                  <a:lnTo>
                    <a:pt x="19" y="138"/>
                  </a:lnTo>
                  <a:lnTo>
                    <a:pt x="24" y="143"/>
                  </a:lnTo>
                  <a:lnTo>
                    <a:pt x="30" y="149"/>
                  </a:lnTo>
                  <a:lnTo>
                    <a:pt x="37" y="154"/>
                  </a:lnTo>
                  <a:lnTo>
                    <a:pt x="44" y="157"/>
                  </a:lnTo>
                  <a:lnTo>
                    <a:pt x="51" y="161"/>
                  </a:lnTo>
                  <a:lnTo>
                    <a:pt x="59" y="163"/>
                  </a:lnTo>
                  <a:lnTo>
                    <a:pt x="67" y="166"/>
                  </a:lnTo>
                  <a:lnTo>
                    <a:pt x="75" y="167"/>
                  </a:lnTo>
                  <a:lnTo>
                    <a:pt x="84" y="168"/>
                  </a:lnTo>
                  <a:lnTo>
                    <a:pt x="84" y="158"/>
                  </a:lnTo>
                  <a:lnTo>
                    <a:pt x="84" y="158"/>
                  </a:lnTo>
                  <a:lnTo>
                    <a:pt x="76" y="158"/>
                  </a:lnTo>
                  <a:lnTo>
                    <a:pt x="69" y="157"/>
                  </a:lnTo>
                  <a:lnTo>
                    <a:pt x="62" y="156"/>
                  </a:lnTo>
                  <a:lnTo>
                    <a:pt x="54" y="152"/>
                  </a:lnTo>
                  <a:lnTo>
                    <a:pt x="42" y="146"/>
                  </a:lnTo>
                  <a:lnTo>
                    <a:pt x="30" y="136"/>
                  </a:lnTo>
                  <a:lnTo>
                    <a:pt x="22" y="125"/>
                  </a:lnTo>
                  <a:lnTo>
                    <a:pt x="14" y="113"/>
                  </a:lnTo>
                  <a:lnTo>
                    <a:pt x="12" y="106"/>
                  </a:lnTo>
                  <a:lnTo>
                    <a:pt x="11" y="99"/>
                  </a:lnTo>
                  <a:lnTo>
                    <a:pt x="9" y="91"/>
                  </a:lnTo>
                  <a:lnTo>
                    <a:pt x="8" y="84"/>
                  </a:lnTo>
                  <a:lnTo>
                    <a:pt x="8" y="84"/>
                  </a:lnTo>
                  <a:lnTo>
                    <a:pt x="8" y="84"/>
                  </a:lnTo>
                  <a:lnTo>
                    <a:pt x="8" y="84"/>
                  </a:lnTo>
                  <a:lnTo>
                    <a:pt x="8" y="84"/>
                  </a:lnTo>
                  <a:lnTo>
                    <a:pt x="9" y="75"/>
                  </a:lnTo>
                  <a:lnTo>
                    <a:pt x="11" y="68"/>
                  </a:lnTo>
                  <a:lnTo>
                    <a:pt x="12" y="61"/>
                  </a:lnTo>
                  <a:lnTo>
                    <a:pt x="14" y="55"/>
                  </a:lnTo>
                  <a:lnTo>
                    <a:pt x="22" y="41"/>
                  </a:lnTo>
                  <a:lnTo>
                    <a:pt x="30" y="30"/>
                  </a:lnTo>
                  <a:lnTo>
                    <a:pt x="42" y="22"/>
                  </a:lnTo>
                  <a:lnTo>
                    <a:pt x="54" y="15"/>
                  </a:lnTo>
                  <a:lnTo>
                    <a:pt x="62" y="12"/>
                  </a:lnTo>
                  <a:lnTo>
                    <a:pt x="69" y="10"/>
                  </a:lnTo>
                  <a:lnTo>
                    <a:pt x="76" y="8"/>
                  </a:lnTo>
                  <a:lnTo>
                    <a:pt x="84" y="8"/>
                  </a:lnTo>
                  <a:lnTo>
                    <a:pt x="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5" name="Freeform 496"/>
            <p:cNvSpPr>
              <a:spLocks/>
            </p:cNvSpPr>
            <p:nvPr/>
          </p:nvSpPr>
          <p:spPr bwMode="auto">
            <a:xfrm>
              <a:off x="3584620" y="2479689"/>
              <a:ext cx="50800" cy="39688"/>
            </a:xfrm>
            <a:custGeom>
              <a:avLst/>
              <a:gdLst>
                <a:gd name="T0" fmla="*/ 162 w 162"/>
                <a:gd name="T1" fmla="*/ 0 h 124"/>
                <a:gd name="T2" fmla="*/ 0 w 162"/>
                <a:gd name="T3" fmla="*/ 0 h 124"/>
                <a:gd name="T4" fmla="*/ 0 w 162"/>
                <a:gd name="T5" fmla="*/ 0 h 124"/>
                <a:gd name="T6" fmla="*/ 4 w 162"/>
                <a:gd name="T7" fmla="*/ 19 h 124"/>
                <a:gd name="T8" fmla="*/ 9 w 162"/>
                <a:gd name="T9" fmla="*/ 39 h 124"/>
                <a:gd name="T10" fmla="*/ 20 w 162"/>
                <a:gd name="T11" fmla="*/ 73 h 124"/>
                <a:gd name="T12" fmla="*/ 31 w 162"/>
                <a:gd name="T13" fmla="*/ 101 h 124"/>
                <a:gd name="T14" fmla="*/ 41 w 162"/>
                <a:gd name="T15" fmla="*/ 124 h 124"/>
                <a:gd name="T16" fmla="*/ 162 w 162"/>
                <a:gd name="T17" fmla="*/ 124 h 124"/>
                <a:gd name="T18" fmla="*/ 162 w 162"/>
                <a:gd name="T19"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 h="124">
                  <a:moveTo>
                    <a:pt x="162" y="0"/>
                  </a:moveTo>
                  <a:lnTo>
                    <a:pt x="0" y="0"/>
                  </a:lnTo>
                  <a:lnTo>
                    <a:pt x="0" y="0"/>
                  </a:lnTo>
                  <a:lnTo>
                    <a:pt x="4" y="19"/>
                  </a:lnTo>
                  <a:lnTo>
                    <a:pt x="9" y="39"/>
                  </a:lnTo>
                  <a:lnTo>
                    <a:pt x="20" y="73"/>
                  </a:lnTo>
                  <a:lnTo>
                    <a:pt x="31" y="101"/>
                  </a:lnTo>
                  <a:lnTo>
                    <a:pt x="41" y="124"/>
                  </a:lnTo>
                  <a:lnTo>
                    <a:pt x="162" y="124"/>
                  </a:lnTo>
                  <a:lnTo>
                    <a:pt x="162"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6" name="Freeform 497"/>
            <p:cNvSpPr>
              <a:spLocks/>
            </p:cNvSpPr>
            <p:nvPr/>
          </p:nvSpPr>
          <p:spPr bwMode="auto">
            <a:xfrm>
              <a:off x="3611607" y="2413014"/>
              <a:ext cx="23813" cy="23813"/>
            </a:xfrm>
            <a:custGeom>
              <a:avLst/>
              <a:gdLst>
                <a:gd name="T0" fmla="*/ 76 w 76"/>
                <a:gd name="T1" fmla="*/ 0 h 76"/>
                <a:gd name="T2" fmla="*/ 76 w 76"/>
                <a:gd name="T3" fmla="*/ 0 h 76"/>
                <a:gd name="T4" fmla="*/ 68 w 76"/>
                <a:gd name="T5" fmla="*/ 0 h 76"/>
                <a:gd name="T6" fmla="*/ 61 w 76"/>
                <a:gd name="T7" fmla="*/ 2 h 76"/>
                <a:gd name="T8" fmla="*/ 54 w 76"/>
                <a:gd name="T9" fmla="*/ 4 h 76"/>
                <a:gd name="T10" fmla="*/ 46 w 76"/>
                <a:gd name="T11" fmla="*/ 7 h 76"/>
                <a:gd name="T12" fmla="*/ 34 w 76"/>
                <a:gd name="T13" fmla="*/ 14 h 76"/>
                <a:gd name="T14" fmla="*/ 22 w 76"/>
                <a:gd name="T15" fmla="*/ 22 h 76"/>
                <a:gd name="T16" fmla="*/ 14 w 76"/>
                <a:gd name="T17" fmla="*/ 33 h 76"/>
                <a:gd name="T18" fmla="*/ 6 w 76"/>
                <a:gd name="T19" fmla="*/ 47 h 76"/>
                <a:gd name="T20" fmla="*/ 4 w 76"/>
                <a:gd name="T21" fmla="*/ 53 h 76"/>
                <a:gd name="T22" fmla="*/ 3 w 76"/>
                <a:gd name="T23" fmla="*/ 60 h 76"/>
                <a:gd name="T24" fmla="*/ 1 w 76"/>
                <a:gd name="T25" fmla="*/ 67 h 76"/>
                <a:gd name="T26" fmla="*/ 0 w 76"/>
                <a:gd name="T27" fmla="*/ 76 h 76"/>
                <a:gd name="T28" fmla="*/ 76 w 76"/>
                <a:gd name="T29" fmla="*/ 76 h 76"/>
                <a:gd name="T30" fmla="*/ 76 w 76"/>
                <a:gd name="T3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76">
                  <a:moveTo>
                    <a:pt x="76" y="0"/>
                  </a:moveTo>
                  <a:lnTo>
                    <a:pt x="76" y="0"/>
                  </a:lnTo>
                  <a:lnTo>
                    <a:pt x="68" y="0"/>
                  </a:lnTo>
                  <a:lnTo>
                    <a:pt x="61" y="2"/>
                  </a:lnTo>
                  <a:lnTo>
                    <a:pt x="54" y="4"/>
                  </a:lnTo>
                  <a:lnTo>
                    <a:pt x="46" y="7"/>
                  </a:lnTo>
                  <a:lnTo>
                    <a:pt x="34" y="14"/>
                  </a:lnTo>
                  <a:lnTo>
                    <a:pt x="22" y="22"/>
                  </a:lnTo>
                  <a:lnTo>
                    <a:pt x="14" y="33"/>
                  </a:lnTo>
                  <a:lnTo>
                    <a:pt x="6" y="47"/>
                  </a:lnTo>
                  <a:lnTo>
                    <a:pt x="4" y="53"/>
                  </a:lnTo>
                  <a:lnTo>
                    <a:pt x="3" y="60"/>
                  </a:lnTo>
                  <a:lnTo>
                    <a:pt x="1" y="67"/>
                  </a:lnTo>
                  <a:lnTo>
                    <a:pt x="0" y="76"/>
                  </a:lnTo>
                  <a:lnTo>
                    <a:pt x="76" y="76"/>
                  </a:lnTo>
                  <a:lnTo>
                    <a:pt x="76"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7" name="Freeform 498"/>
            <p:cNvSpPr>
              <a:spLocks/>
            </p:cNvSpPr>
            <p:nvPr/>
          </p:nvSpPr>
          <p:spPr bwMode="auto">
            <a:xfrm>
              <a:off x="3611607" y="2413014"/>
              <a:ext cx="23813" cy="23813"/>
            </a:xfrm>
            <a:custGeom>
              <a:avLst/>
              <a:gdLst>
                <a:gd name="T0" fmla="*/ 76 w 76"/>
                <a:gd name="T1" fmla="*/ 0 h 76"/>
                <a:gd name="T2" fmla="*/ 76 w 76"/>
                <a:gd name="T3" fmla="*/ 0 h 76"/>
                <a:gd name="T4" fmla="*/ 68 w 76"/>
                <a:gd name="T5" fmla="*/ 0 h 76"/>
                <a:gd name="T6" fmla="*/ 61 w 76"/>
                <a:gd name="T7" fmla="*/ 2 h 76"/>
                <a:gd name="T8" fmla="*/ 54 w 76"/>
                <a:gd name="T9" fmla="*/ 4 h 76"/>
                <a:gd name="T10" fmla="*/ 46 w 76"/>
                <a:gd name="T11" fmla="*/ 7 h 76"/>
                <a:gd name="T12" fmla="*/ 34 w 76"/>
                <a:gd name="T13" fmla="*/ 14 h 76"/>
                <a:gd name="T14" fmla="*/ 22 w 76"/>
                <a:gd name="T15" fmla="*/ 22 h 76"/>
                <a:gd name="T16" fmla="*/ 14 w 76"/>
                <a:gd name="T17" fmla="*/ 33 h 76"/>
                <a:gd name="T18" fmla="*/ 6 w 76"/>
                <a:gd name="T19" fmla="*/ 47 h 76"/>
                <a:gd name="T20" fmla="*/ 4 w 76"/>
                <a:gd name="T21" fmla="*/ 53 h 76"/>
                <a:gd name="T22" fmla="*/ 3 w 76"/>
                <a:gd name="T23" fmla="*/ 60 h 76"/>
                <a:gd name="T24" fmla="*/ 1 w 76"/>
                <a:gd name="T25" fmla="*/ 67 h 76"/>
                <a:gd name="T26" fmla="*/ 0 w 76"/>
                <a:gd name="T27" fmla="*/ 76 h 76"/>
                <a:gd name="T28" fmla="*/ 76 w 76"/>
                <a:gd name="T29" fmla="*/ 76 h 76"/>
                <a:gd name="T30" fmla="*/ 76 w 76"/>
                <a:gd name="T3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76">
                  <a:moveTo>
                    <a:pt x="76" y="0"/>
                  </a:moveTo>
                  <a:lnTo>
                    <a:pt x="76" y="0"/>
                  </a:lnTo>
                  <a:lnTo>
                    <a:pt x="68" y="0"/>
                  </a:lnTo>
                  <a:lnTo>
                    <a:pt x="61" y="2"/>
                  </a:lnTo>
                  <a:lnTo>
                    <a:pt x="54" y="4"/>
                  </a:lnTo>
                  <a:lnTo>
                    <a:pt x="46" y="7"/>
                  </a:lnTo>
                  <a:lnTo>
                    <a:pt x="34" y="14"/>
                  </a:lnTo>
                  <a:lnTo>
                    <a:pt x="22" y="22"/>
                  </a:lnTo>
                  <a:lnTo>
                    <a:pt x="14" y="33"/>
                  </a:lnTo>
                  <a:lnTo>
                    <a:pt x="6" y="47"/>
                  </a:lnTo>
                  <a:lnTo>
                    <a:pt x="4" y="53"/>
                  </a:lnTo>
                  <a:lnTo>
                    <a:pt x="3" y="60"/>
                  </a:lnTo>
                  <a:lnTo>
                    <a:pt x="1" y="67"/>
                  </a:lnTo>
                  <a:lnTo>
                    <a:pt x="0" y="76"/>
                  </a:lnTo>
                  <a:lnTo>
                    <a:pt x="76" y="76"/>
                  </a:lnTo>
                  <a:lnTo>
                    <a:pt x="7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8" name="Freeform 499"/>
            <p:cNvSpPr>
              <a:spLocks/>
            </p:cNvSpPr>
            <p:nvPr/>
          </p:nvSpPr>
          <p:spPr bwMode="auto">
            <a:xfrm>
              <a:off x="3611607" y="2436826"/>
              <a:ext cx="23813" cy="23813"/>
            </a:xfrm>
            <a:custGeom>
              <a:avLst/>
              <a:gdLst>
                <a:gd name="T0" fmla="*/ 0 w 76"/>
                <a:gd name="T1" fmla="*/ 0 h 74"/>
                <a:gd name="T2" fmla="*/ 0 w 76"/>
                <a:gd name="T3" fmla="*/ 0 h 74"/>
                <a:gd name="T4" fmla="*/ 1 w 76"/>
                <a:gd name="T5" fmla="*/ 7 h 74"/>
                <a:gd name="T6" fmla="*/ 3 w 76"/>
                <a:gd name="T7" fmla="*/ 15 h 74"/>
                <a:gd name="T8" fmla="*/ 4 w 76"/>
                <a:gd name="T9" fmla="*/ 22 h 74"/>
                <a:gd name="T10" fmla="*/ 6 w 76"/>
                <a:gd name="T11" fmla="*/ 29 h 74"/>
                <a:gd name="T12" fmla="*/ 14 w 76"/>
                <a:gd name="T13" fmla="*/ 41 h 74"/>
                <a:gd name="T14" fmla="*/ 22 w 76"/>
                <a:gd name="T15" fmla="*/ 52 h 74"/>
                <a:gd name="T16" fmla="*/ 34 w 76"/>
                <a:gd name="T17" fmla="*/ 62 h 74"/>
                <a:gd name="T18" fmla="*/ 46 w 76"/>
                <a:gd name="T19" fmla="*/ 68 h 74"/>
                <a:gd name="T20" fmla="*/ 54 w 76"/>
                <a:gd name="T21" fmla="*/ 72 h 74"/>
                <a:gd name="T22" fmla="*/ 61 w 76"/>
                <a:gd name="T23" fmla="*/ 73 h 74"/>
                <a:gd name="T24" fmla="*/ 68 w 76"/>
                <a:gd name="T25" fmla="*/ 74 h 74"/>
                <a:gd name="T26" fmla="*/ 76 w 76"/>
                <a:gd name="T27" fmla="*/ 74 h 74"/>
                <a:gd name="T28" fmla="*/ 76 w 76"/>
                <a:gd name="T29" fmla="*/ 0 h 74"/>
                <a:gd name="T30" fmla="*/ 0 w 76"/>
                <a:gd name="T3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74">
                  <a:moveTo>
                    <a:pt x="0" y="0"/>
                  </a:moveTo>
                  <a:lnTo>
                    <a:pt x="0" y="0"/>
                  </a:lnTo>
                  <a:lnTo>
                    <a:pt x="1" y="7"/>
                  </a:lnTo>
                  <a:lnTo>
                    <a:pt x="3" y="15"/>
                  </a:lnTo>
                  <a:lnTo>
                    <a:pt x="4" y="22"/>
                  </a:lnTo>
                  <a:lnTo>
                    <a:pt x="6" y="29"/>
                  </a:lnTo>
                  <a:lnTo>
                    <a:pt x="14" y="41"/>
                  </a:lnTo>
                  <a:lnTo>
                    <a:pt x="22" y="52"/>
                  </a:lnTo>
                  <a:lnTo>
                    <a:pt x="34" y="62"/>
                  </a:lnTo>
                  <a:lnTo>
                    <a:pt x="46" y="68"/>
                  </a:lnTo>
                  <a:lnTo>
                    <a:pt x="54" y="72"/>
                  </a:lnTo>
                  <a:lnTo>
                    <a:pt x="61" y="73"/>
                  </a:lnTo>
                  <a:lnTo>
                    <a:pt x="68" y="74"/>
                  </a:lnTo>
                  <a:lnTo>
                    <a:pt x="76" y="74"/>
                  </a:lnTo>
                  <a:lnTo>
                    <a:pt x="76" y="0"/>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89" name="Freeform 500"/>
            <p:cNvSpPr>
              <a:spLocks/>
            </p:cNvSpPr>
            <p:nvPr/>
          </p:nvSpPr>
          <p:spPr bwMode="auto">
            <a:xfrm>
              <a:off x="3611607" y="2436826"/>
              <a:ext cx="23813" cy="23813"/>
            </a:xfrm>
            <a:custGeom>
              <a:avLst/>
              <a:gdLst>
                <a:gd name="T0" fmla="*/ 0 w 76"/>
                <a:gd name="T1" fmla="*/ 0 h 74"/>
                <a:gd name="T2" fmla="*/ 0 w 76"/>
                <a:gd name="T3" fmla="*/ 0 h 74"/>
                <a:gd name="T4" fmla="*/ 1 w 76"/>
                <a:gd name="T5" fmla="*/ 7 h 74"/>
                <a:gd name="T6" fmla="*/ 3 w 76"/>
                <a:gd name="T7" fmla="*/ 15 h 74"/>
                <a:gd name="T8" fmla="*/ 4 w 76"/>
                <a:gd name="T9" fmla="*/ 22 h 74"/>
                <a:gd name="T10" fmla="*/ 6 w 76"/>
                <a:gd name="T11" fmla="*/ 29 h 74"/>
                <a:gd name="T12" fmla="*/ 14 w 76"/>
                <a:gd name="T13" fmla="*/ 41 h 74"/>
                <a:gd name="T14" fmla="*/ 22 w 76"/>
                <a:gd name="T15" fmla="*/ 52 h 74"/>
                <a:gd name="T16" fmla="*/ 34 w 76"/>
                <a:gd name="T17" fmla="*/ 62 h 74"/>
                <a:gd name="T18" fmla="*/ 46 w 76"/>
                <a:gd name="T19" fmla="*/ 68 h 74"/>
                <a:gd name="T20" fmla="*/ 54 w 76"/>
                <a:gd name="T21" fmla="*/ 72 h 74"/>
                <a:gd name="T22" fmla="*/ 61 w 76"/>
                <a:gd name="T23" fmla="*/ 73 h 74"/>
                <a:gd name="T24" fmla="*/ 68 w 76"/>
                <a:gd name="T25" fmla="*/ 74 h 74"/>
                <a:gd name="T26" fmla="*/ 76 w 76"/>
                <a:gd name="T27" fmla="*/ 74 h 74"/>
                <a:gd name="T28" fmla="*/ 76 w 76"/>
                <a:gd name="T29" fmla="*/ 0 h 74"/>
                <a:gd name="T30" fmla="*/ 0 w 76"/>
                <a:gd name="T3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74">
                  <a:moveTo>
                    <a:pt x="0" y="0"/>
                  </a:moveTo>
                  <a:lnTo>
                    <a:pt x="0" y="0"/>
                  </a:lnTo>
                  <a:lnTo>
                    <a:pt x="1" y="7"/>
                  </a:lnTo>
                  <a:lnTo>
                    <a:pt x="3" y="15"/>
                  </a:lnTo>
                  <a:lnTo>
                    <a:pt x="4" y="22"/>
                  </a:lnTo>
                  <a:lnTo>
                    <a:pt x="6" y="29"/>
                  </a:lnTo>
                  <a:lnTo>
                    <a:pt x="14" y="41"/>
                  </a:lnTo>
                  <a:lnTo>
                    <a:pt x="22" y="52"/>
                  </a:lnTo>
                  <a:lnTo>
                    <a:pt x="34" y="62"/>
                  </a:lnTo>
                  <a:lnTo>
                    <a:pt x="46" y="68"/>
                  </a:lnTo>
                  <a:lnTo>
                    <a:pt x="54" y="72"/>
                  </a:lnTo>
                  <a:lnTo>
                    <a:pt x="61" y="73"/>
                  </a:lnTo>
                  <a:lnTo>
                    <a:pt x="68" y="74"/>
                  </a:lnTo>
                  <a:lnTo>
                    <a:pt x="76" y="74"/>
                  </a:lnTo>
                  <a:lnTo>
                    <a:pt x="7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0" name="Freeform 501"/>
            <p:cNvSpPr>
              <a:spLocks/>
            </p:cNvSpPr>
            <p:nvPr/>
          </p:nvSpPr>
          <p:spPr bwMode="auto">
            <a:xfrm>
              <a:off x="3617957" y="2371738"/>
              <a:ext cx="17463" cy="34925"/>
            </a:xfrm>
            <a:custGeom>
              <a:avLst/>
              <a:gdLst>
                <a:gd name="T0" fmla="*/ 54 w 54"/>
                <a:gd name="T1" fmla="*/ 0 h 109"/>
                <a:gd name="T2" fmla="*/ 54 w 54"/>
                <a:gd name="T3" fmla="*/ 0 h 109"/>
                <a:gd name="T4" fmla="*/ 43 w 54"/>
                <a:gd name="T5" fmla="*/ 1 h 109"/>
                <a:gd name="T6" fmla="*/ 33 w 54"/>
                <a:gd name="T7" fmla="*/ 5 h 109"/>
                <a:gd name="T8" fmla="*/ 23 w 54"/>
                <a:gd name="T9" fmla="*/ 10 h 109"/>
                <a:gd name="T10" fmla="*/ 16 w 54"/>
                <a:gd name="T11" fmla="*/ 16 h 109"/>
                <a:gd name="T12" fmla="*/ 9 w 54"/>
                <a:gd name="T13" fmla="*/ 24 h 109"/>
                <a:gd name="T14" fmla="*/ 4 w 54"/>
                <a:gd name="T15" fmla="*/ 33 h 109"/>
                <a:gd name="T16" fmla="*/ 1 w 54"/>
                <a:gd name="T17" fmla="*/ 43 h 109"/>
                <a:gd name="T18" fmla="*/ 0 w 54"/>
                <a:gd name="T19" fmla="*/ 54 h 109"/>
                <a:gd name="T20" fmla="*/ 0 w 54"/>
                <a:gd name="T21" fmla="*/ 54 h 109"/>
                <a:gd name="T22" fmla="*/ 1 w 54"/>
                <a:gd name="T23" fmla="*/ 65 h 109"/>
                <a:gd name="T24" fmla="*/ 4 w 54"/>
                <a:gd name="T25" fmla="*/ 76 h 109"/>
                <a:gd name="T26" fmla="*/ 9 w 54"/>
                <a:gd name="T27" fmla="*/ 84 h 109"/>
                <a:gd name="T28" fmla="*/ 16 w 54"/>
                <a:gd name="T29" fmla="*/ 93 h 109"/>
                <a:gd name="T30" fmla="*/ 23 w 54"/>
                <a:gd name="T31" fmla="*/ 99 h 109"/>
                <a:gd name="T32" fmla="*/ 33 w 54"/>
                <a:gd name="T33" fmla="*/ 104 h 109"/>
                <a:gd name="T34" fmla="*/ 43 w 54"/>
                <a:gd name="T35" fmla="*/ 107 h 109"/>
                <a:gd name="T36" fmla="*/ 54 w 54"/>
                <a:gd name="T37" fmla="*/ 109 h 109"/>
                <a:gd name="T38" fmla="*/ 54 w 54"/>
                <a:gd name="T39" fmla="*/ 99 h 109"/>
                <a:gd name="T40" fmla="*/ 54 w 54"/>
                <a:gd name="T41" fmla="*/ 99 h 109"/>
                <a:gd name="T42" fmla="*/ 45 w 54"/>
                <a:gd name="T43" fmla="*/ 98 h 109"/>
                <a:gd name="T44" fmla="*/ 37 w 54"/>
                <a:gd name="T45" fmla="*/ 95 h 109"/>
                <a:gd name="T46" fmla="*/ 29 w 54"/>
                <a:gd name="T47" fmla="*/ 91 h 109"/>
                <a:gd name="T48" fmla="*/ 22 w 54"/>
                <a:gd name="T49" fmla="*/ 85 h 109"/>
                <a:gd name="T50" fmla="*/ 17 w 54"/>
                <a:gd name="T51" fmla="*/ 79 h 109"/>
                <a:gd name="T52" fmla="*/ 12 w 54"/>
                <a:gd name="T53" fmla="*/ 72 h 109"/>
                <a:gd name="T54" fmla="*/ 10 w 54"/>
                <a:gd name="T55" fmla="*/ 63 h 109"/>
                <a:gd name="T56" fmla="*/ 10 w 54"/>
                <a:gd name="T57" fmla="*/ 54 h 109"/>
                <a:gd name="T58" fmla="*/ 10 w 54"/>
                <a:gd name="T59" fmla="*/ 54 h 109"/>
                <a:gd name="T60" fmla="*/ 10 w 54"/>
                <a:gd name="T61" fmla="*/ 54 h 109"/>
                <a:gd name="T62" fmla="*/ 10 w 54"/>
                <a:gd name="T63" fmla="*/ 54 h 109"/>
                <a:gd name="T64" fmla="*/ 10 w 54"/>
                <a:gd name="T65" fmla="*/ 54 h 109"/>
                <a:gd name="T66" fmla="*/ 10 w 54"/>
                <a:gd name="T67" fmla="*/ 45 h 109"/>
                <a:gd name="T68" fmla="*/ 12 w 54"/>
                <a:gd name="T69" fmla="*/ 37 h 109"/>
                <a:gd name="T70" fmla="*/ 17 w 54"/>
                <a:gd name="T71" fmla="*/ 29 h 109"/>
                <a:gd name="T72" fmla="*/ 22 w 54"/>
                <a:gd name="T73" fmla="*/ 23 h 109"/>
                <a:gd name="T74" fmla="*/ 29 w 54"/>
                <a:gd name="T75" fmla="*/ 17 h 109"/>
                <a:gd name="T76" fmla="*/ 37 w 54"/>
                <a:gd name="T77" fmla="*/ 13 h 109"/>
                <a:gd name="T78" fmla="*/ 45 w 54"/>
                <a:gd name="T79" fmla="*/ 11 h 109"/>
                <a:gd name="T80" fmla="*/ 54 w 54"/>
                <a:gd name="T81" fmla="*/ 10 h 109"/>
                <a:gd name="T82" fmla="*/ 54 w 54"/>
                <a:gd name="T8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 h="109">
                  <a:moveTo>
                    <a:pt x="54" y="0"/>
                  </a:moveTo>
                  <a:lnTo>
                    <a:pt x="54" y="0"/>
                  </a:lnTo>
                  <a:lnTo>
                    <a:pt x="43" y="1"/>
                  </a:lnTo>
                  <a:lnTo>
                    <a:pt x="33" y="5"/>
                  </a:lnTo>
                  <a:lnTo>
                    <a:pt x="23" y="10"/>
                  </a:lnTo>
                  <a:lnTo>
                    <a:pt x="16" y="16"/>
                  </a:lnTo>
                  <a:lnTo>
                    <a:pt x="9" y="24"/>
                  </a:lnTo>
                  <a:lnTo>
                    <a:pt x="4" y="33"/>
                  </a:lnTo>
                  <a:lnTo>
                    <a:pt x="1" y="43"/>
                  </a:lnTo>
                  <a:lnTo>
                    <a:pt x="0" y="54"/>
                  </a:lnTo>
                  <a:lnTo>
                    <a:pt x="0" y="54"/>
                  </a:lnTo>
                  <a:lnTo>
                    <a:pt x="1" y="65"/>
                  </a:lnTo>
                  <a:lnTo>
                    <a:pt x="4" y="76"/>
                  </a:lnTo>
                  <a:lnTo>
                    <a:pt x="9" y="84"/>
                  </a:lnTo>
                  <a:lnTo>
                    <a:pt x="16" y="93"/>
                  </a:lnTo>
                  <a:lnTo>
                    <a:pt x="23" y="99"/>
                  </a:lnTo>
                  <a:lnTo>
                    <a:pt x="33" y="104"/>
                  </a:lnTo>
                  <a:lnTo>
                    <a:pt x="43" y="107"/>
                  </a:lnTo>
                  <a:lnTo>
                    <a:pt x="54" y="109"/>
                  </a:lnTo>
                  <a:lnTo>
                    <a:pt x="54" y="99"/>
                  </a:lnTo>
                  <a:lnTo>
                    <a:pt x="54" y="99"/>
                  </a:lnTo>
                  <a:lnTo>
                    <a:pt x="45" y="98"/>
                  </a:lnTo>
                  <a:lnTo>
                    <a:pt x="37" y="95"/>
                  </a:lnTo>
                  <a:lnTo>
                    <a:pt x="29" y="91"/>
                  </a:lnTo>
                  <a:lnTo>
                    <a:pt x="22" y="85"/>
                  </a:lnTo>
                  <a:lnTo>
                    <a:pt x="17" y="79"/>
                  </a:lnTo>
                  <a:lnTo>
                    <a:pt x="12" y="72"/>
                  </a:lnTo>
                  <a:lnTo>
                    <a:pt x="10" y="63"/>
                  </a:lnTo>
                  <a:lnTo>
                    <a:pt x="10" y="54"/>
                  </a:lnTo>
                  <a:lnTo>
                    <a:pt x="10" y="54"/>
                  </a:lnTo>
                  <a:lnTo>
                    <a:pt x="10" y="54"/>
                  </a:lnTo>
                  <a:lnTo>
                    <a:pt x="10" y="54"/>
                  </a:lnTo>
                  <a:lnTo>
                    <a:pt x="10" y="54"/>
                  </a:lnTo>
                  <a:lnTo>
                    <a:pt x="10" y="45"/>
                  </a:lnTo>
                  <a:lnTo>
                    <a:pt x="12" y="37"/>
                  </a:lnTo>
                  <a:lnTo>
                    <a:pt x="17" y="29"/>
                  </a:lnTo>
                  <a:lnTo>
                    <a:pt x="22" y="23"/>
                  </a:lnTo>
                  <a:lnTo>
                    <a:pt x="29" y="17"/>
                  </a:lnTo>
                  <a:lnTo>
                    <a:pt x="37" y="13"/>
                  </a:lnTo>
                  <a:lnTo>
                    <a:pt x="45" y="11"/>
                  </a:lnTo>
                  <a:lnTo>
                    <a:pt x="54" y="10"/>
                  </a:lnTo>
                  <a:lnTo>
                    <a:pt x="54"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1" name="Freeform 502"/>
            <p:cNvSpPr>
              <a:spLocks/>
            </p:cNvSpPr>
            <p:nvPr/>
          </p:nvSpPr>
          <p:spPr bwMode="auto">
            <a:xfrm>
              <a:off x="3617957" y="2371738"/>
              <a:ext cx="17463" cy="34925"/>
            </a:xfrm>
            <a:custGeom>
              <a:avLst/>
              <a:gdLst>
                <a:gd name="T0" fmla="*/ 54 w 54"/>
                <a:gd name="T1" fmla="*/ 0 h 109"/>
                <a:gd name="T2" fmla="*/ 54 w 54"/>
                <a:gd name="T3" fmla="*/ 0 h 109"/>
                <a:gd name="T4" fmla="*/ 43 w 54"/>
                <a:gd name="T5" fmla="*/ 1 h 109"/>
                <a:gd name="T6" fmla="*/ 33 w 54"/>
                <a:gd name="T7" fmla="*/ 5 h 109"/>
                <a:gd name="T8" fmla="*/ 23 w 54"/>
                <a:gd name="T9" fmla="*/ 10 h 109"/>
                <a:gd name="T10" fmla="*/ 16 w 54"/>
                <a:gd name="T11" fmla="*/ 16 h 109"/>
                <a:gd name="T12" fmla="*/ 9 w 54"/>
                <a:gd name="T13" fmla="*/ 24 h 109"/>
                <a:gd name="T14" fmla="*/ 4 w 54"/>
                <a:gd name="T15" fmla="*/ 33 h 109"/>
                <a:gd name="T16" fmla="*/ 1 w 54"/>
                <a:gd name="T17" fmla="*/ 43 h 109"/>
                <a:gd name="T18" fmla="*/ 0 w 54"/>
                <a:gd name="T19" fmla="*/ 54 h 109"/>
                <a:gd name="T20" fmla="*/ 0 w 54"/>
                <a:gd name="T21" fmla="*/ 54 h 109"/>
                <a:gd name="T22" fmla="*/ 1 w 54"/>
                <a:gd name="T23" fmla="*/ 65 h 109"/>
                <a:gd name="T24" fmla="*/ 4 w 54"/>
                <a:gd name="T25" fmla="*/ 76 h 109"/>
                <a:gd name="T26" fmla="*/ 9 w 54"/>
                <a:gd name="T27" fmla="*/ 84 h 109"/>
                <a:gd name="T28" fmla="*/ 16 w 54"/>
                <a:gd name="T29" fmla="*/ 93 h 109"/>
                <a:gd name="T30" fmla="*/ 23 w 54"/>
                <a:gd name="T31" fmla="*/ 99 h 109"/>
                <a:gd name="T32" fmla="*/ 33 w 54"/>
                <a:gd name="T33" fmla="*/ 104 h 109"/>
                <a:gd name="T34" fmla="*/ 43 w 54"/>
                <a:gd name="T35" fmla="*/ 107 h 109"/>
                <a:gd name="T36" fmla="*/ 54 w 54"/>
                <a:gd name="T37" fmla="*/ 109 h 109"/>
                <a:gd name="T38" fmla="*/ 54 w 54"/>
                <a:gd name="T39" fmla="*/ 99 h 109"/>
                <a:gd name="T40" fmla="*/ 54 w 54"/>
                <a:gd name="T41" fmla="*/ 99 h 109"/>
                <a:gd name="T42" fmla="*/ 45 w 54"/>
                <a:gd name="T43" fmla="*/ 98 h 109"/>
                <a:gd name="T44" fmla="*/ 37 w 54"/>
                <a:gd name="T45" fmla="*/ 95 h 109"/>
                <a:gd name="T46" fmla="*/ 29 w 54"/>
                <a:gd name="T47" fmla="*/ 91 h 109"/>
                <a:gd name="T48" fmla="*/ 22 w 54"/>
                <a:gd name="T49" fmla="*/ 85 h 109"/>
                <a:gd name="T50" fmla="*/ 17 w 54"/>
                <a:gd name="T51" fmla="*/ 79 h 109"/>
                <a:gd name="T52" fmla="*/ 12 w 54"/>
                <a:gd name="T53" fmla="*/ 72 h 109"/>
                <a:gd name="T54" fmla="*/ 10 w 54"/>
                <a:gd name="T55" fmla="*/ 63 h 109"/>
                <a:gd name="T56" fmla="*/ 10 w 54"/>
                <a:gd name="T57" fmla="*/ 54 h 109"/>
                <a:gd name="T58" fmla="*/ 10 w 54"/>
                <a:gd name="T59" fmla="*/ 54 h 109"/>
                <a:gd name="T60" fmla="*/ 10 w 54"/>
                <a:gd name="T61" fmla="*/ 54 h 109"/>
                <a:gd name="T62" fmla="*/ 10 w 54"/>
                <a:gd name="T63" fmla="*/ 54 h 109"/>
                <a:gd name="T64" fmla="*/ 10 w 54"/>
                <a:gd name="T65" fmla="*/ 54 h 109"/>
                <a:gd name="T66" fmla="*/ 10 w 54"/>
                <a:gd name="T67" fmla="*/ 45 h 109"/>
                <a:gd name="T68" fmla="*/ 12 w 54"/>
                <a:gd name="T69" fmla="*/ 37 h 109"/>
                <a:gd name="T70" fmla="*/ 17 w 54"/>
                <a:gd name="T71" fmla="*/ 29 h 109"/>
                <a:gd name="T72" fmla="*/ 22 w 54"/>
                <a:gd name="T73" fmla="*/ 23 h 109"/>
                <a:gd name="T74" fmla="*/ 29 w 54"/>
                <a:gd name="T75" fmla="*/ 17 h 109"/>
                <a:gd name="T76" fmla="*/ 37 w 54"/>
                <a:gd name="T77" fmla="*/ 13 h 109"/>
                <a:gd name="T78" fmla="*/ 45 w 54"/>
                <a:gd name="T79" fmla="*/ 11 h 109"/>
                <a:gd name="T80" fmla="*/ 54 w 54"/>
                <a:gd name="T81" fmla="*/ 10 h 109"/>
                <a:gd name="T82" fmla="*/ 54 w 54"/>
                <a:gd name="T8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 h="109">
                  <a:moveTo>
                    <a:pt x="54" y="0"/>
                  </a:moveTo>
                  <a:lnTo>
                    <a:pt x="54" y="0"/>
                  </a:lnTo>
                  <a:lnTo>
                    <a:pt x="43" y="1"/>
                  </a:lnTo>
                  <a:lnTo>
                    <a:pt x="33" y="5"/>
                  </a:lnTo>
                  <a:lnTo>
                    <a:pt x="23" y="10"/>
                  </a:lnTo>
                  <a:lnTo>
                    <a:pt x="16" y="16"/>
                  </a:lnTo>
                  <a:lnTo>
                    <a:pt x="9" y="24"/>
                  </a:lnTo>
                  <a:lnTo>
                    <a:pt x="4" y="33"/>
                  </a:lnTo>
                  <a:lnTo>
                    <a:pt x="1" y="43"/>
                  </a:lnTo>
                  <a:lnTo>
                    <a:pt x="0" y="54"/>
                  </a:lnTo>
                  <a:lnTo>
                    <a:pt x="0" y="54"/>
                  </a:lnTo>
                  <a:lnTo>
                    <a:pt x="1" y="65"/>
                  </a:lnTo>
                  <a:lnTo>
                    <a:pt x="4" y="76"/>
                  </a:lnTo>
                  <a:lnTo>
                    <a:pt x="9" y="84"/>
                  </a:lnTo>
                  <a:lnTo>
                    <a:pt x="16" y="93"/>
                  </a:lnTo>
                  <a:lnTo>
                    <a:pt x="23" y="99"/>
                  </a:lnTo>
                  <a:lnTo>
                    <a:pt x="33" y="104"/>
                  </a:lnTo>
                  <a:lnTo>
                    <a:pt x="43" y="107"/>
                  </a:lnTo>
                  <a:lnTo>
                    <a:pt x="54" y="109"/>
                  </a:lnTo>
                  <a:lnTo>
                    <a:pt x="54" y="99"/>
                  </a:lnTo>
                  <a:lnTo>
                    <a:pt x="54" y="99"/>
                  </a:lnTo>
                  <a:lnTo>
                    <a:pt x="45" y="98"/>
                  </a:lnTo>
                  <a:lnTo>
                    <a:pt x="37" y="95"/>
                  </a:lnTo>
                  <a:lnTo>
                    <a:pt x="29" y="91"/>
                  </a:lnTo>
                  <a:lnTo>
                    <a:pt x="22" y="85"/>
                  </a:lnTo>
                  <a:lnTo>
                    <a:pt x="17" y="79"/>
                  </a:lnTo>
                  <a:lnTo>
                    <a:pt x="12" y="72"/>
                  </a:lnTo>
                  <a:lnTo>
                    <a:pt x="10" y="63"/>
                  </a:lnTo>
                  <a:lnTo>
                    <a:pt x="10" y="54"/>
                  </a:lnTo>
                  <a:lnTo>
                    <a:pt x="10" y="54"/>
                  </a:lnTo>
                  <a:lnTo>
                    <a:pt x="10" y="54"/>
                  </a:lnTo>
                  <a:lnTo>
                    <a:pt x="10" y="54"/>
                  </a:lnTo>
                  <a:lnTo>
                    <a:pt x="10" y="54"/>
                  </a:lnTo>
                  <a:lnTo>
                    <a:pt x="10" y="45"/>
                  </a:lnTo>
                  <a:lnTo>
                    <a:pt x="12" y="37"/>
                  </a:lnTo>
                  <a:lnTo>
                    <a:pt x="17" y="29"/>
                  </a:lnTo>
                  <a:lnTo>
                    <a:pt x="22" y="23"/>
                  </a:lnTo>
                  <a:lnTo>
                    <a:pt x="29" y="17"/>
                  </a:lnTo>
                  <a:lnTo>
                    <a:pt x="37" y="13"/>
                  </a:lnTo>
                  <a:lnTo>
                    <a:pt x="45" y="11"/>
                  </a:lnTo>
                  <a:lnTo>
                    <a:pt x="54" y="1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2" name="Freeform 503"/>
            <p:cNvSpPr>
              <a:spLocks/>
            </p:cNvSpPr>
            <p:nvPr/>
          </p:nvSpPr>
          <p:spPr bwMode="auto">
            <a:xfrm>
              <a:off x="3621132" y="2374913"/>
              <a:ext cx="14288" cy="14288"/>
            </a:xfrm>
            <a:custGeom>
              <a:avLst/>
              <a:gdLst>
                <a:gd name="T0" fmla="*/ 44 w 44"/>
                <a:gd name="T1" fmla="*/ 0 h 44"/>
                <a:gd name="T2" fmla="*/ 44 w 44"/>
                <a:gd name="T3" fmla="*/ 0 h 44"/>
                <a:gd name="T4" fmla="*/ 35 w 44"/>
                <a:gd name="T5" fmla="*/ 1 h 44"/>
                <a:gd name="T6" fmla="*/ 27 w 44"/>
                <a:gd name="T7" fmla="*/ 3 h 44"/>
                <a:gd name="T8" fmla="*/ 19 w 44"/>
                <a:gd name="T9" fmla="*/ 7 h 44"/>
                <a:gd name="T10" fmla="*/ 12 w 44"/>
                <a:gd name="T11" fmla="*/ 13 h 44"/>
                <a:gd name="T12" fmla="*/ 7 w 44"/>
                <a:gd name="T13" fmla="*/ 19 h 44"/>
                <a:gd name="T14" fmla="*/ 2 w 44"/>
                <a:gd name="T15" fmla="*/ 27 h 44"/>
                <a:gd name="T16" fmla="*/ 0 w 44"/>
                <a:gd name="T17" fmla="*/ 35 h 44"/>
                <a:gd name="T18" fmla="*/ 0 w 44"/>
                <a:gd name="T19" fmla="*/ 44 h 44"/>
                <a:gd name="T20" fmla="*/ 44 w 44"/>
                <a:gd name="T21" fmla="*/ 44 h 44"/>
                <a:gd name="T22" fmla="*/ 44 w 44"/>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4">
                  <a:moveTo>
                    <a:pt x="44" y="0"/>
                  </a:moveTo>
                  <a:lnTo>
                    <a:pt x="44" y="0"/>
                  </a:lnTo>
                  <a:lnTo>
                    <a:pt x="35" y="1"/>
                  </a:lnTo>
                  <a:lnTo>
                    <a:pt x="27" y="3"/>
                  </a:lnTo>
                  <a:lnTo>
                    <a:pt x="19" y="7"/>
                  </a:lnTo>
                  <a:lnTo>
                    <a:pt x="12" y="13"/>
                  </a:lnTo>
                  <a:lnTo>
                    <a:pt x="7" y="19"/>
                  </a:lnTo>
                  <a:lnTo>
                    <a:pt x="2" y="27"/>
                  </a:lnTo>
                  <a:lnTo>
                    <a:pt x="0" y="35"/>
                  </a:lnTo>
                  <a:lnTo>
                    <a:pt x="0" y="44"/>
                  </a:lnTo>
                  <a:lnTo>
                    <a:pt x="44" y="44"/>
                  </a:lnTo>
                  <a:lnTo>
                    <a:pt x="44"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3" name="Freeform 504"/>
            <p:cNvSpPr>
              <a:spLocks/>
            </p:cNvSpPr>
            <p:nvPr/>
          </p:nvSpPr>
          <p:spPr bwMode="auto">
            <a:xfrm>
              <a:off x="3621132" y="2374913"/>
              <a:ext cx="14288" cy="14288"/>
            </a:xfrm>
            <a:custGeom>
              <a:avLst/>
              <a:gdLst>
                <a:gd name="T0" fmla="*/ 44 w 44"/>
                <a:gd name="T1" fmla="*/ 0 h 44"/>
                <a:gd name="T2" fmla="*/ 44 w 44"/>
                <a:gd name="T3" fmla="*/ 0 h 44"/>
                <a:gd name="T4" fmla="*/ 35 w 44"/>
                <a:gd name="T5" fmla="*/ 1 h 44"/>
                <a:gd name="T6" fmla="*/ 27 w 44"/>
                <a:gd name="T7" fmla="*/ 3 h 44"/>
                <a:gd name="T8" fmla="*/ 19 w 44"/>
                <a:gd name="T9" fmla="*/ 7 h 44"/>
                <a:gd name="T10" fmla="*/ 12 w 44"/>
                <a:gd name="T11" fmla="*/ 13 h 44"/>
                <a:gd name="T12" fmla="*/ 7 w 44"/>
                <a:gd name="T13" fmla="*/ 19 h 44"/>
                <a:gd name="T14" fmla="*/ 2 w 44"/>
                <a:gd name="T15" fmla="*/ 27 h 44"/>
                <a:gd name="T16" fmla="*/ 0 w 44"/>
                <a:gd name="T17" fmla="*/ 35 h 44"/>
                <a:gd name="T18" fmla="*/ 0 w 44"/>
                <a:gd name="T19" fmla="*/ 44 h 44"/>
                <a:gd name="T20" fmla="*/ 44 w 44"/>
                <a:gd name="T21" fmla="*/ 44 h 44"/>
                <a:gd name="T22" fmla="*/ 44 w 44"/>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4">
                  <a:moveTo>
                    <a:pt x="44" y="0"/>
                  </a:moveTo>
                  <a:lnTo>
                    <a:pt x="44" y="0"/>
                  </a:lnTo>
                  <a:lnTo>
                    <a:pt x="35" y="1"/>
                  </a:lnTo>
                  <a:lnTo>
                    <a:pt x="27" y="3"/>
                  </a:lnTo>
                  <a:lnTo>
                    <a:pt x="19" y="7"/>
                  </a:lnTo>
                  <a:lnTo>
                    <a:pt x="12" y="13"/>
                  </a:lnTo>
                  <a:lnTo>
                    <a:pt x="7" y="19"/>
                  </a:lnTo>
                  <a:lnTo>
                    <a:pt x="2" y="27"/>
                  </a:lnTo>
                  <a:lnTo>
                    <a:pt x="0" y="35"/>
                  </a:lnTo>
                  <a:lnTo>
                    <a:pt x="0" y="44"/>
                  </a:lnTo>
                  <a:lnTo>
                    <a:pt x="44" y="44"/>
                  </a:lnTo>
                  <a:lnTo>
                    <a:pt x="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4" name="Freeform 505"/>
            <p:cNvSpPr>
              <a:spLocks/>
            </p:cNvSpPr>
            <p:nvPr/>
          </p:nvSpPr>
          <p:spPr bwMode="auto">
            <a:xfrm>
              <a:off x="3621132" y="2389201"/>
              <a:ext cx="14288" cy="14288"/>
            </a:xfrm>
            <a:custGeom>
              <a:avLst/>
              <a:gdLst>
                <a:gd name="T0" fmla="*/ 0 w 44"/>
                <a:gd name="T1" fmla="*/ 0 h 45"/>
                <a:gd name="T2" fmla="*/ 0 w 44"/>
                <a:gd name="T3" fmla="*/ 0 h 45"/>
                <a:gd name="T4" fmla="*/ 0 w 44"/>
                <a:gd name="T5" fmla="*/ 9 h 45"/>
                <a:gd name="T6" fmla="*/ 2 w 44"/>
                <a:gd name="T7" fmla="*/ 18 h 45"/>
                <a:gd name="T8" fmla="*/ 7 w 44"/>
                <a:gd name="T9" fmla="*/ 25 h 45"/>
                <a:gd name="T10" fmla="*/ 12 w 44"/>
                <a:gd name="T11" fmla="*/ 31 h 45"/>
                <a:gd name="T12" fmla="*/ 19 w 44"/>
                <a:gd name="T13" fmla="*/ 37 h 45"/>
                <a:gd name="T14" fmla="*/ 27 w 44"/>
                <a:gd name="T15" fmla="*/ 41 h 45"/>
                <a:gd name="T16" fmla="*/ 35 w 44"/>
                <a:gd name="T17" fmla="*/ 44 h 45"/>
                <a:gd name="T18" fmla="*/ 44 w 44"/>
                <a:gd name="T19" fmla="*/ 45 h 45"/>
                <a:gd name="T20" fmla="*/ 44 w 44"/>
                <a:gd name="T21" fmla="*/ 0 h 45"/>
                <a:gd name="T22" fmla="*/ 0 w 44"/>
                <a:gd name="T2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5">
                  <a:moveTo>
                    <a:pt x="0" y="0"/>
                  </a:moveTo>
                  <a:lnTo>
                    <a:pt x="0" y="0"/>
                  </a:lnTo>
                  <a:lnTo>
                    <a:pt x="0" y="9"/>
                  </a:lnTo>
                  <a:lnTo>
                    <a:pt x="2" y="18"/>
                  </a:lnTo>
                  <a:lnTo>
                    <a:pt x="7" y="25"/>
                  </a:lnTo>
                  <a:lnTo>
                    <a:pt x="12" y="31"/>
                  </a:lnTo>
                  <a:lnTo>
                    <a:pt x="19" y="37"/>
                  </a:lnTo>
                  <a:lnTo>
                    <a:pt x="27" y="41"/>
                  </a:lnTo>
                  <a:lnTo>
                    <a:pt x="35" y="44"/>
                  </a:lnTo>
                  <a:lnTo>
                    <a:pt x="44" y="45"/>
                  </a:lnTo>
                  <a:lnTo>
                    <a:pt x="44" y="0"/>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5" name="Freeform 506"/>
            <p:cNvSpPr>
              <a:spLocks/>
            </p:cNvSpPr>
            <p:nvPr/>
          </p:nvSpPr>
          <p:spPr bwMode="auto">
            <a:xfrm>
              <a:off x="3621132" y="2389201"/>
              <a:ext cx="14288" cy="14288"/>
            </a:xfrm>
            <a:custGeom>
              <a:avLst/>
              <a:gdLst>
                <a:gd name="T0" fmla="*/ 0 w 44"/>
                <a:gd name="T1" fmla="*/ 0 h 45"/>
                <a:gd name="T2" fmla="*/ 0 w 44"/>
                <a:gd name="T3" fmla="*/ 0 h 45"/>
                <a:gd name="T4" fmla="*/ 0 w 44"/>
                <a:gd name="T5" fmla="*/ 9 h 45"/>
                <a:gd name="T6" fmla="*/ 2 w 44"/>
                <a:gd name="T7" fmla="*/ 18 h 45"/>
                <a:gd name="T8" fmla="*/ 7 w 44"/>
                <a:gd name="T9" fmla="*/ 25 h 45"/>
                <a:gd name="T10" fmla="*/ 12 w 44"/>
                <a:gd name="T11" fmla="*/ 31 h 45"/>
                <a:gd name="T12" fmla="*/ 19 w 44"/>
                <a:gd name="T13" fmla="*/ 37 h 45"/>
                <a:gd name="T14" fmla="*/ 27 w 44"/>
                <a:gd name="T15" fmla="*/ 41 h 45"/>
                <a:gd name="T16" fmla="*/ 35 w 44"/>
                <a:gd name="T17" fmla="*/ 44 h 45"/>
                <a:gd name="T18" fmla="*/ 44 w 44"/>
                <a:gd name="T19" fmla="*/ 45 h 45"/>
                <a:gd name="T20" fmla="*/ 44 w 44"/>
                <a:gd name="T21" fmla="*/ 0 h 45"/>
                <a:gd name="T22" fmla="*/ 0 w 44"/>
                <a:gd name="T2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5">
                  <a:moveTo>
                    <a:pt x="0" y="0"/>
                  </a:moveTo>
                  <a:lnTo>
                    <a:pt x="0" y="0"/>
                  </a:lnTo>
                  <a:lnTo>
                    <a:pt x="0" y="9"/>
                  </a:lnTo>
                  <a:lnTo>
                    <a:pt x="2" y="18"/>
                  </a:lnTo>
                  <a:lnTo>
                    <a:pt x="7" y="25"/>
                  </a:lnTo>
                  <a:lnTo>
                    <a:pt x="12" y="31"/>
                  </a:lnTo>
                  <a:lnTo>
                    <a:pt x="19" y="37"/>
                  </a:lnTo>
                  <a:lnTo>
                    <a:pt x="27" y="41"/>
                  </a:lnTo>
                  <a:lnTo>
                    <a:pt x="35" y="44"/>
                  </a:lnTo>
                  <a:lnTo>
                    <a:pt x="44" y="45"/>
                  </a:lnTo>
                  <a:lnTo>
                    <a:pt x="4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6" name="Rectangle 507"/>
            <p:cNvSpPr>
              <a:spLocks noChangeArrowheads="1"/>
            </p:cNvSpPr>
            <p:nvPr/>
          </p:nvSpPr>
          <p:spPr bwMode="auto">
            <a:xfrm>
              <a:off x="3603670" y="2528902"/>
              <a:ext cx="31750" cy="14288"/>
            </a:xfrm>
            <a:prstGeom prst="rect">
              <a:avLst/>
            </a:prstGeom>
            <a:solidFill>
              <a:srgbClr val="F8AB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7" name="Freeform 508"/>
            <p:cNvSpPr>
              <a:spLocks/>
            </p:cNvSpPr>
            <p:nvPr/>
          </p:nvSpPr>
          <p:spPr bwMode="auto">
            <a:xfrm>
              <a:off x="3597320" y="2543190"/>
              <a:ext cx="38100" cy="19050"/>
            </a:xfrm>
            <a:custGeom>
              <a:avLst/>
              <a:gdLst>
                <a:gd name="T0" fmla="*/ 0 w 121"/>
                <a:gd name="T1" fmla="*/ 59 h 59"/>
                <a:gd name="T2" fmla="*/ 121 w 121"/>
                <a:gd name="T3" fmla="*/ 59 h 59"/>
                <a:gd name="T4" fmla="*/ 121 w 121"/>
                <a:gd name="T5" fmla="*/ 0 h 59"/>
                <a:gd name="T6" fmla="*/ 18 w 121"/>
                <a:gd name="T7" fmla="*/ 0 h 59"/>
                <a:gd name="T8" fmla="*/ 0 w 121"/>
                <a:gd name="T9" fmla="*/ 59 h 59"/>
              </a:gdLst>
              <a:ahLst/>
              <a:cxnLst>
                <a:cxn ang="0">
                  <a:pos x="T0" y="T1"/>
                </a:cxn>
                <a:cxn ang="0">
                  <a:pos x="T2" y="T3"/>
                </a:cxn>
                <a:cxn ang="0">
                  <a:pos x="T4" y="T5"/>
                </a:cxn>
                <a:cxn ang="0">
                  <a:pos x="T6" y="T7"/>
                </a:cxn>
                <a:cxn ang="0">
                  <a:pos x="T8" y="T9"/>
                </a:cxn>
              </a:cxnLst>
              <a:rect l="0" t="0" r="r" b="b"/>
              <a:pathLst>
                <a:path w="121" h="59">
                  <a:moveTo>
                    <a:pt x="0" y="59"/>
                  </a:moveTo>
                  <a:lnTo>
                    <a:pt x="121" y="59"/>
                  </a:lnTo>
                  <a:lnTo>
                    <a:pt x="121" y="0"/>
                  </a:lnTo>
                  <a:lnTo>
                    <a:pt x="18" y="0"/>
                  </a:lnTo>
                  <a:lnTo>
                    <a:pt x="0"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8" name="Freeform 509"/>
            <p:cNvSpPr>
              <a:spLocks/>
            </p:cNvSpPr>
            <p:nvPr/>
          </p:nvSpPr>
          <p:spPr bwMode="auto">
            <a:xfrm>
              <a:off x="3598907" y="2484452"/>
              <a:ext cx="12700" cy="12700"/>
            </a:xfrm>
            <a:custGeom>
              <a:avLst/>
              <a:gdLst>
                <a:gd name="T0" fmla="*/ 38 w 38"/>
                <a:gd name="T1" fmla="*/ 19 h 37"/>
                <a:gd name="T2" fmla="*/ 38 w 38"/>
                <a:gd name="T3" fmla="*/ 19 h 37"/>
                <a:gd name="T4" fmla="*/ 37 w 38"/>
                <a:gd name="T5" fmla="*/ 22 h 37"/>
                <a:gd name="T6" fmla="*/ 35 w 38"/>
                <a:gd name="T7" fmla="*/ 26 h 37"/>
                <a:gd name="T8" fmla="*/ 32 w 38"/>
                <a:gd name="T9" fmla="*/ 32 h 37"/>
                <a:gd name="T10" fmla="*/ 26 w 38"/>
                <a:gd name="T11" fmla="*/ 36 h 37"/>
                <a:gd name="T12" fmla="*/ 22 w 38"/>
                <a:gd name="T13" fmla="*/ 37 h 37"/>
                <a:gd name="T14" fmla="*/ 18 w 38"/>
                <a:gd name="T15" fmla="*/ 37 h 37"/>
                <a:gd name="T16" fmla="*/ 18 w 38"/>
                <a:gd name="T17" fmla="*/ 37 h 37"/>
                <a:gd name="T18" fmla="*/ 15 w 38"/>
                <a:gd name="T19" fmla="*/ 37 h 37"/>
                <a:gd name="T20" fmla="*/ 11 w 38"/>
                <a:gd name="T21" fmla="*/ 36 h 37"/>
                <a:gd name="T22" fmla="*/ 5 w 38"/>
                <a:gd name="T23" fmla="*/ 32 h 37"/>
                <a:gd name="T24" fmla="*/ 1 w 38"/>
                <a:gd name="T25" fmla="*/ 26 h 37"/>
                <a:gd name="T26" fmla="*/ 0 w 38"/>
                <a:gd name="T27" fmla="*/ 22 h 37"/>
                <a:gd name="T28" fmla="*/ 0 w 38"/>
                <a:gd name="T29" fmla="*/ 19 h 37"/>
                <a:gd name="T30" fmla="*/ 0 w 38"/>
                <a:gd name="T31" fmla="*/ 19 h 37"/>
                <a:gd name="T32" fmla="*/ 0 w 38"/>
                <a:gd name="T33" fmla="*/ 15 h 37"/>
                <a:gd name="T34" fmla="*/ 1 w 38"/>
                <a:gd name="T35" fmla="*/ 11 h 37"/>
                <a:gd name="T36" fmla="*/ 5 w 38"/>
                <a:gd name="T37" fmla="*/ 5 h 37"/>
                <a:gd name="T38" fmla="*/ 11 w 38"/>
                <a:gd name="T39" fmla="*/ 2 h 37"/>
                <a:gd name="T40" fmla="*/ 15 w 38"/>
                <a:gd name="T41" fmla="*/ 0 h 37"/>
                <a:gd name="T42" fmla="*/ 18 w 38"/>
                <a:gd name="T43" fmla="*/ 0 h 37"/>
                <a:gd name="T44" fmla="*/ 18 w 38"/>
                <a:gd name="T45" fmla="*/ 0 h 37"/>
                <a:gd name="T46" fmla="*/ 22 w 38"/>
                <a:gd name="T47" fmla="*/ 0 h 37"/>
                <a:gd name="T48" fmla="*/ 26 w 38"/>
                <a:gd name="T49" fmla="*/ 2 h 37"/>
                <a:gd name="T50" fmla="*/ 32 w 38"/>
                <a:gd name="T51" fmla="*/ 5 h 37"/>
                <a:gd name="T52" fmla="*/ 35 w 38"/>
                <a:gd name="T53" fmla="*/ 11 h 37"/>
                <a:gd name="T54" fmla="*/ 37 w 38"/>
                <a:gd name="T55" fmla="*/ 15 h 37"/>
                <a:gd name="T56" fmla="*/ 38 w 38"/>
                <a:gd name="T57" fmla="*/ 19 h 37"/>
                <a:gd name="T58" fmla="*/ 38 w 38"/>
                <a:gd name="T59" fmla="*/ 1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 h="37">
                  <a:moveTo>
                    <a:pt x="38" y="19"/>
                  </a:moveTo>
                  <a:lnTo>
                    <a:pt x="38" y="19"/>
                  </a:lnTo>
                  <a:lnTo>
                    <a:pt x="37" y="22"/>
                  </a:lnTo>
                  <a:lnTo>
                    <a:pt x="35" y="26"/>
                  </a:lnTo>
                  <a:lnTo>
                    <a:pt x="32" y="32"/>
                  </a:lnTo>
                  <a:lnTo>
                    <a:pt x="26" y="36"/>
                  </a:lnTo>
                  <a:lnTo>
                    <a:pt x="22" y="37"/>
                  </a:lnTo>
                  <a:lnTo>
                    <a:pt x="18" y="37"/>
                  </a:lnTo>
                  <a:lnTo>
                    <a:pt x="18" y="37"/>
                  </a:lnTo>
                  <a:lnTo>
                    <a:pt x="15" y="37"/>
                  </a:lnTo>
                  <a:lnTo>
                    <a:pt x="11" y="36"/>
                  </a:lnTo>
                  <a:lnTo>
                    <a:pt x="5" y="32"/>
                  </a:lnTo>
                  <a:lnTo>
                    <a:pt x="1" y="26"/>
                  </a:lnTo>
                  <a:lnTo>
                    <a:pt x="0" y="22"/>
                  </a:lnTo>
                  <a:lnTo>
                    <a:pt x="0" y="19"/>
                  </a:lnTo>
                  <a:lnTo>
                    <a:pt x="0" y="19"/>
                  </a:lnTo>
                  <a:lnTo>
                    <a:pt x="0" y="15"/>
                  </a:lnTo>
                  <a:lnTo>
                    <a:pt x="1" y="11"/>
                  </a:lnTo>
                  <a:lnTo>
                    <a:pt x="5" y="5"/>
                  </a:lnTo>
                  <a:lnTo>
                    <a:pt x="11" y="2"/>
                  </a:lnTo>
                  <a:lnTo>
                    <a:pt x="15" y="0"/>
                  </a:lnTo>
                  <a:lnTo>
                    <a:pt x="18" y="0"/>
                  </a:lnTo>
                  <a:lnTo>
                    <a:pt x="18" y="0"/>
                  </a:lnTo>
                  <a:lnTo>
                    <a:pt x="22" y="0"/>
                  </a:lnTo>
                  <a:lnTo>
                    <a:pt x="26" y="2"/>
                  </a:lnTo>
                  <a:lnTo>
                    <a:pt x="32" y="5"/>
                  </a:lnTo>
                  <a:lnTo>
                    <a:pt x="35" y="11"/>
                  </a:lnTo>
                  <a:lnTo>
                    <a:pt x="37" y="15"/>
                  </a:lnTo>
                  <a:lnTo>
                    <a:pt x="38" y="19"/>
                  </a:lnTo>
                  <a:lnTo>
                    <a:pt x="38"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99" name="Freeform 510"/>
            <p:cNvSpPr>
              <a:spLocks/>
            </p:cNvSpPr>
            <p:nvPr/>
          </p:nvSpPr>
          <p:spPr bwMode="auto">
            <a:xfrm>
              <a:off x="3610020" y="2497152"/>
              <a:ext cx="17463" cy="17463"/>
            </a:xfrm>
            <a:custGeom>
              <a:avLst/>
              <a:gdLst>
                <a:gd name="T0" fmla="*/ 55 w 55"/>
                <a:gd name="T1" fmla="*/ 28 h 56"/>
                <a:gd name="T2" fmla="*/ 55 w 55"/>
                <a:gd name="T3" fmla="*/ 28 h 56"/>
                <a:gd name="T4" fmla="*/ 55 w 55"/>
                <a:gd name="T5" fmla="*/ 34 h 56"/>
                <a:gd name="T6" fmla="*/ 53 w 55"/>
                <a:gd name="T7" fmla="*/ 39 h 56"/>
                <a:gd name="T8" fmla="*/ 51 w 55"/>
                <a:gd name="T9" fmla="*/ 44 h 56"/>
                <a:gd name="T10" fmla="*/ 47 w 55"/>
                <a:gd name="T11" fmla="*/ 49 h 56"/>
                <a:gd name="T12" fmla="*/ 43 w 55"/>
                <a:gd name="T13" fmla="*/ 52 h 56"/>
                <a:gd name="T14" fmla="*/ 38 w 55"/>
                <a:gd name="T15" fmla="*/ 55 h 56"/>
                <a:gd name="T16" fmla="*/ 33 w 55"/>
                <a:gd name="T17" fmla="*/ 56 h 56"/>
                <a:gd name="T18" fmla="*/ 27 w 55"/>
                <a:gd name="T19" fmla="*/ 56 h 56"/>
                <a:gd name="T20" fmla="*/ 27 w 55"/>
                <a:gd name="T21" fmla="*/ 56 h 56"/>
                <a:gd name="T22" fmla="*/ 22 w 55"/>
                <a:gd name="T23" fmla="*/ 56 h 56"/>
                <a:gd name="T24" fmla="*/ 17 w 55"/>
                <a:gd name="T25" fmla="*/ 55 h 56"/>
                <a:gd name="T26" fmla="*/ 12 w 55"/>
                <a:gd name="T27" fmla="*/ 52 h 56"/>
                <a:gd name="T28" fmla="*/ 7 w 55"/>
                <a:gd name="T29" fmla="*/ 49 h 56"/>
                <a:gd name="T30" fmla="*/ 3 w 55"/>
                <a:gd name="T31" fmla="*/ 44 h 56"/>
                <a:gd name="T32" fmla="*/ 1 w 55"/>
                <a:gd name="T33" fmla="*/ 39 h 56"/>
                <a:gd name="T34" fmla="*/ 0 w 55"/>
                <a:gd name="T35" fmla="*/ 34 h 56"/>
                <a:gd name="T36" fmla="*/ 0 w 55"/>
                <a:gd name="T37" fmla="*/ 28 h 56"/>
                <a:gd name="T38" fmla="*/ 0 w 55"/>
                <a:gd name="T39" fmla="*/ 28 h 56"/>
                <a:gd name="T40" fmla="*/ 0 w 55"/>
                <a:gd name="T41" fmla="*/ 23 h 56"/>
                <a:gd name="T42" fmla="*/ 1 w 55"/>
                <a:gd name="T43" fmla="*/ 18 h 56"/>
                <a:gd name="T44" fmla="*/ 3 w 55"/>
                <a:gd name="T45" fmla="*/ 13 h 56"/>
                <a:gd name="T46" fmla="*/ 7 w 55"/>
                <a:gd name="T47" fmla="*/ 9 h 56"/>
                <a:gd name="T48" fmla="*/ 12 w 55"/>
                <a:gd name="T49" fmla="*/ 5 h 56"/>
                <a:gd name="T50" fmla="*/ 17 w 55"/>
                <a:gd name="T51" fmla="*/ 2 h 56"/>
                <a:gd name="T52" fmla="*/ 22 w 55"/>
                <a:gd name="T53" fmla="*/ 1 h 56"/>
                <a:gd name="T54" fmla="*/ 27 w 55"/>
                <a:gd name="T55" fmla="*/ 0 h 56"/>
                <a:gd name="T56" fmla="*/ 27 w 55"/>
                <a:gd name="T57" fmla="*/ 0 h 56"/>
                <a:gd name="T58" fmla="*/ 33 w 55"/>
                <a:gd name="T59" fmla="*/ 1 h 56"/>
                <a:gd name="T60" fmla="*/ 38 w 55"/>
                <a:gd name="T61" fmla="*/ 2 h 56"/>
                <a:gd name="T62" fmla="*/ 43 w 55"/>
                <a:gd name="T63" fmla="*/ 5 h 56"/>
                <a:gd name="T64" fmla="*/ 47 w 55"/>
                <a:gd name="T65" fmla="*/ 9 h 56"/>
                <a:gd name="T66" fmla="*/ 51 w 55"/>
                <a:gd name="T67" fmla="*/ 13 h 56"/>
                <a:gd name="T68" fmla="*/ 53 w 55"/>
                <a:gd name="T69" fmla="*/ 18 h 56"/>
                <a:gd name="T70" fmla="*/ 55 w 55"/>
                <a:gd name="T71" fmla="*/ 23 h 56"/>
                <a:gd name="T72" fmla="*/ 55 w 55"/>
                <a:gd name="T73" fmla="*/ 28 h 56"/>
                <a:gd name="T74" fmla="*/ 55 w 55"/>
                <a:gd name="T75"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6">
                  <a:moveTo>
                    <a:pt x="55" y="28"/>
                  </a:moveTo>
                  <a:lnTo>
                    <a:pt x="55" y="28"/>
                  </a:lnTo>
                  <a:lnTo>
                    <a:pt x="55" y="34"/>
                  </a:lnTo>
                  <a:lnTo>
                    <a:pt x="53" y="39"/>
                  </a:lnTo>
                  <a:lnTo>
                    <a:pt x="51" y="44"/>
                  </a:lnTo>
                  <a:lnTo>
                    <a:pt x="47" y="49"/>
                  </a:lnTo>
                  <a:lnTo>
                    <a:pt x="43" y="52"/>
                  </a:lnTo>
                  <a:lnTo>
                    <a:pt x="38" y="55"/>
                  </a:lnTo>
                  <a:lnTo>
                    <a:pt x="33" y="56"/>
                  </a:lnTo>
                  <a:lnTo>
                    <a:pt x="27" y="56"/>
                  </a:lnTo>
                  <a:lnTo>
                    <a:pt x="27" y="56"/>
                  </a:lnTo>
                  <a:lnTo>
                    <a:pt x="22" y="56"/>
                  </a:lnTo>
                  <a:lnTo>
                    <a:pt x="17" y="55"/>
                  </a:lnTo>
                  <a:lnTo>
                    <a:pt x="12" y="52"/>
                  </a:lnTo>
                  <a:lnTo>
                    <a:pt x="7" y="49"/>
                  </a:lnTo>
                  <a:lnTo>
                    <a:pt x="3" y="44"/>
                  </a:lnTo>
                  <a:lnTo>
                    <a:pt x="1" y="39"/>
                  </a:lnTo>
                  <a:lnTo>
                    <a:pt x="0" y="34"/>
                  </a:lnTo>
                  <a:lnTo>
                    <a:pt x="0" y="28"/>
                  </a:lnTo>
                  <a:lnTo>
                    <a:pt x="0" y="28"/>
                  </a:lnTo>
                  <a:lnTo>
                    <a:pt x="0" y="23"/>
                  </a:lnTo>
                  <a:lnTo>
                    <a:pt x="1" y="18"/>
                  </a:lnTo>
                  <a:lnTo>
                    <a:pt x="3" y="13"/>
                  </a:lnTo>
                  <a:lnTo>
                    <a:pt x="7" y="9"/>
                  </a:lnTo>
                  <a:lnTo>
                    <a:pt x="12" y="5"/>
                  </a:lnTo>
                  <a:lnTo>
                    <a:pt x="17" y="2"/>
                  </a:lnTo>
                  <a:lnTo>
                    <a:pt x="22" y="1"/>
                  </a:lnTo>
                  <a:lnTo>
                    <a:pt x="27" y="0"/>
                  </a:lnTo>
                  <a:lnTo>
                    <a:pt x="27" y="0"/>
                  </a:lnTo>
                  <a:lnTo>
                    <a:pt x="33" y="1"/>
                  </a:lnTo>
                  <a:lnTo>
                    <a:pt x="38" y="2"/>
                  </a:lnTo>
                  <a:lnTo>
                    <a:pt x="43" y="5"/>
                  </a:lnTo>
                  <a:lnTo>
                    <a:pt x="47" y="9"/>
                  </a:lnTo>
                  <a:lnTo>
                    <a:pt x="51" y="13"/>
                  </a:lnTo>
                  <a:lnTo>
                    <a:pt x="53" y="18"/>
                  </a:lnTo>
                  <a:lnTo>
                    <a:pt x="55" y="23"/>
                  </a:lnTo>
                  <a:lnTo>
                    <a:pt x="55" y="28"/>
                  </a:lnTo>
                  <a:lnTo>
                    <a:pt x="55"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0" name="Freeform 511"/>
            <p:cNvSpPr>
              <a:spLocks/>
            </p:cNvSpPr>
            <p:nvPr/>
          </p:nvSpPr>
          <p:spPr bwMode="auto">
            <a:xfrm>
              <a:off x="3663995" y="2466989"/>
              <a:ext cx="52388" cy="63501"/>
            </a:xfrm>
            <a:custGeom>
              <a:avLst/>
              <a:gdLst>
                <a:gd name="T0" fmla="*/ 123 w 164"/>
                <a:gd name="T1" fmla="*/ 199 h 199"/>
                <a:gd name="T2" fmla="*/ 0 w 164"/>
                <a:gd name="T3" fmla="*/ 156 h 199"/>
                <a:gd name="T4" fmla="*/ 6 w 164"/>
                <a:gd name="T5" fmla="*/ 0 h 199"/>
                <a:gd name="T6" fmla="*/ 164 w 164"/>
                <a:gd name="T7" fmla="*/ 99 h 199"/>
                <a:gd name="T8" fmla="*/ 123 w 164"/>
                <a:gd name="T9" fmla="*/ 199 h 199"/>
              </a:gdLst>
              <a:ahLst/>
              <a:cxnLst>
                <a:cxn ang="0">
                  <a:pos x="T0" y="T1"/>
                </a:cxn>
                <a:cxn ang="0">
                  <a:pos x="T2" y="T3"/>
                </a:cxn>
                <a:cxn ang="0">
                  <a:pos x="T4" y="T5"/>
                </a:cxn>
                <a:cxn ang="0">
                  <a:pos x="T6" y="T7"/>
                </a:cxn>
                <a:cxn ang="0">
                  <a:pos x="T8" y="T9"/>
                </a:cxn>
              </a:cxnLst>
              <a:rect l="0" t="0" r="r" b="b"/>
              <a:pathLst>
                <a:path w="164" h="199">
                  <a:moveTo>
                    <a:pt x="123" y="199"/>
                  </a:moveTo>
                  <a:lnTo>
                    <a:pt x="0" y="156"/>
                  </a:lnTo>
                  <a:lnTo>
                    <a:pt x="6" y="0"/>
                  </a:lnTo>
                  <a:lnTo>
                    <a:pt x="164" y="99"/>
                  </a:lnTo>
                  <a:lnTo>
                    <a:pt x="123" y="199"/>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1" name="Freeform 512"/>
            <p:cNvSpPr>
              <a:spLocks/>
            </p:cNvSpPr>
            <p:nvPr/>
          </p:nvSpPr>
          <p:spPr bwMode="auto">
            <a:xfrm>
              <a:off x="3635420" y="2562240"/>
              <a:ext cx="38100" cy="6350"/>
            </a:xfrm>
            <a:custGeom>
              <a:avLst/>
              <a:gdLst>
                <a:gd name="T0" fmla="*/ 119 w 119"/>
                <a:gd name="T1" fmla="*/ 0 h 20"/>
                <a:gd name="T2" fmla="*/ 119 w 119"/>
                <a:gd name="T3" fmla="*/ 0 h 20"/>
                <a:gd name="T4" fmla="*/ 119 w 119"/>
                <a:gd name="T5" fmla="*/ 3 h 20"/>
                <a:gd name="T6" fmla="*/ 117 w 119"/>
                <a:gd name="T7" fmla="*/ 4 h 20"/>
                <a:gd name="T8" fmla="*/ 111 w 119"/>
                <a:gd name="T9" fmla="*/ 8 h 20"/>
                <a:gd name="T10" fmla="*/ 100 w 119"/>
                <a:gd name="T11" fmla="*/ 11 h 20"/>
                <a:gd name="T12" fmla="*/ 85 w 119"/>
                <a:gd name="T13" fmla="*/ 15 h 20"/>
                <a:gd name="T14" fmla="*/ 67 w 119"/>
                <a:gd name="T15" fmla="*/ 17 h 20"/>
                <a:gd name="T16" fmla="*/ 46 w 119"/>
                <a:gd name="T17" fmla="*/ 19 h 20"/>
                <a:gd name="T18" fmla="*/ 24 w 119"/>
                <a:gd name="T19" fmla="*/ 20 h 20"/>
                <a:gd name="T20" fmla="*/ 0 w 119"/>
                <a:gd name="T21" fmla="*/ 20 h 20"/>
                <a:gd name="T22" fmla="*/ 0 w 119"/>
                <a:gd name="T23" fmla="*/ 0 h 20"/>
                <a:gd name="T24" fmla="*/ 119 w 119"/>
                <a:gd name="T2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9" h="20">
                  <a:moveTo>
                    <a:pt x="119" y="0"/>
                  </a:moveTo>
                  <a:lnTo>
                    <a:pt x="119" y="0"/>
                  </a:lnTo>
                  <a:lnTo>
                    <a:pt x="119" y="3"/>
                  </a:lnTo>
                  <a:lnTo>
                    <a:pt x="117" y="4"/>
                  </a:lnTo>
                  <a:lnTo>
                    <a:pt x="111" y="8"/>
                  </a:lnTo>
                  <a:lnTo>
                    <a:pt x="100" y="11"/>
                  </a:lnTo>
                  <a:lnTo>
                    <a:pt x="85" y="15"/>
                  </a:lnTo>
                  <a:lnTo>
                    <a:pt x="67" y="17"/>
                  </a:lnTo>
                  <a:lnTo>
                    <a:pt x="46" y="19"/>
                  </a:lnTo>
                  <a:lnTo>
                    <a:pt x="24" y="20"/>
                  </a:lnTo>
                  <a:lnTo>
                    <a:pt x="0" y="20"/>
                  </a:lnTo>
                  <a:lnTo>
                    <a:pt x="0" y="0"/>
                  </a:lnTo>
                  <a:lnTo>
                    <a:pt x="119"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2" name="Freeform 513"/>
            <p:cNvSpPr>
              <a:spLocks/>
            </p:cNvSpPr>
            <p:nvPr/>
          </p:nvSpPr>
          <p:spPr bwMode="auto">
            <a:xfrm>
              <a:off x="3635420" y="2316175"/>
              <a:ext cx="55563" cy="212727"/>
            </a:xfrm>
            <a:custGeom>
              <a:avLst/>
              <a:gdLst>
                <a:gd name="T0" fmla="*/ 0 w 173"/>
                <a:gd name="T1" fmla="*/ 0 h 669"/>
                <a:gd name="T2" fmla="*/ 0 w 173"/>
                <a:gd name="T3" fmla="*/ 669 h 669"/>
                <a:gd name="T4" fmla="*/ 102 w 173"/>
                <a:gd name="T5" fmla="*/ 669 h 669"/>
                <a:gd name="T6" fmla="*/ 102 w 173"/>
                <a:gd name="T7" fmla="*/ 669 h 669"/>
                <a:gd name="T8" fmla="*/ 106 w 173"/>
                <a:gd name="T9" fmla="*/ 665 h 669"/>
                <a:gd name="T10" fmla="*/ 113 w 173"/>
                <a:gd name="T11" fmla="*/ 651 h 669"/>
                <a:gd name="T12" fmla="*/ 125 w 173"/>
                <a:gd name="T13" fmla="*/ 629 h 669"/>
                <a:gd name="T14" fmla="*/ 137 w 173"/>
                <a:gd name="T15" fmla="*/ 599 h 669"/>
                <a:gd name="T16" fmla="*/ 145 w 173"/>
                <a:gd name="T17" fmla="*/ 580 h 669"/>
                <a:gd name="T18" fmla="*/ 151 w 173"/>
                <a:gd name="T19" fmla="*/ 560 h 669"/>
                <a:gd name="T20" fmla="*/ 157 w 173"/>
                <a:gd name="T21" fmla="*/ 538 h 669"/>
                <a:gd name="T22" fmla="*/ 162 w 173"/>
                <a:gd name="T23" fmla="*/ 513 h 669"/>
                <a:gd name="T24" fmla="*/ 167 w 173"/>
                <a:gd name="T25" fmla="*/ 487 h 669"/>
                <a:gd name="T26" fmla="*/ 170 w 173"/>
                <a:gd name="T27" fmla="*/ 458 h 669"/>
                <a:gd name="T28" fmla="*/ 172 w 173"/>
                <a:gd name="T29" fmla="*/ 429 h 669"/>
                <a:gd name="T30" fmla="*/ 173 w 173"/>
                <a:gd name="T31" fmla="*/ 398 h 669"/>
                <a:gd name="T32" fmla="*/ 173 w 173"/>
                <a:gd name="T33" fmla="*/ 398 h 669"/>
                <a:gd name="T34" fmla="*/ 173 w 173"/>
                <a:gd name="T35" fmla="*/ 382 h 669"/>
                <a:gd name="T36" fmla="*/ 172 w 173"/>
                <a:gd name="T37" fmla="*/ 365 h 669"/>
                <a:gd name="T38" fmla="*/ 167 w 173"/>
                <a:gd name="T39" fmla="*/ 330 h 669"/>
                <a:gd name="T40" fmla="*/ 159 w 173"/>
                <a:gd name="T41" fmla="*/ 296 h 669"/>
                <a:gd name="T42" fmla="*/ 151 w 173"/>
                <a:gd name="T43" fmla="*/ 262 h 669"/>
                <a:gd name="T44" fmla="*/ 139 w 173"/>
                <a:gd name="T45" fmla="*/ 229 h 669"/>
                <a:gd name="T46" fmla="*/ 127 w 173"/>
                <a:gd name="T47" fmla="*/ 196 h 669"/>
                <a:gd name="T48" fmla="*/ 113 w 173"/>
                <a:gd name="T49" fmla="*/ 165 h 669"/>
                <a:gd name="T50" fmla="*/ 98 w 173"/>
                <a:gd name="T51" fmla="*/ 134 h 669"/>
                <a:gd name="T52" fmla="*/ 84 w 173"/>
                <a:gd name="T53" fmla="*/ 106 h 669"/>
                <a:gd name="T54" fmla="*/ 69 w 173"/>
                <a:gd name="T55" fmla="*/ 81 h 669"/>
                <a:gd name="T56" fmla="*/ 55 w 173"/>
                <a:gd name="T57" fmla="*/ 57 h 669"/>
                <a:gd name="T58" fmla="*/ 40 w 173"/>
                <a:gd name="T59" fmla="*/ 38 h 669"/>
                <a:gd name="T60" fmla="*/ 28 w 173"/>
                <a:gd name="T61" fmla="*/ 22 h 669"/>
                <a:gd name="T62" fmla="*/ 17 w 173"/>
                <a:gd name="T63" fmla="*/ 11 h 669"/>
                <a:gd name="T64" fmla="*/ 7 w 173"/>
                <a:gd name="T65" fmla="*/ 4 h 669"/>
                <a:gd name="T66" fmla="*/ 3 w 173"/>
                <a:gd name="T67" fmla="*/ 1 h 669"/>
                <a:gd name="T68" fmla="*/ 0 w 173"/>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669">
                  <a:moveTo>
                    <a:pt x="0" y="0"/>
                  </a:moveTo>
                  <a:lnTo>
                    <a:pt x="0" y="669"/>
                  </a:lnTo>
                  <a:lnTo>
                    <a:pt x="102" y="669"/>
                  </a:lnTo>
                  <a:lnTo>
                    <a:pt x="102" y="669"/>
                  </a:lnTo>
                  <a:lnTo>
                    <a:pt x="106" y="665"/>
                  </a:lnTo>
                  <a:lnTo>
                    <a:pt x="113" y="651"/>
                  </a:lnTo>
                  <a:lnTo>
                    <a:pt x="125" y="629"/>
                  </a:lnTo>
                  <a:lnTo>
                    <a:pt x="137" y="599"/>
                  </a:lnTo>
                  <a:lnTo>
                    <a:pt x="145" y="580"/>
                  </a:lnTo>
                  <a:lnTo>
                    <a:pt x="151" y="560"/>
                  </a:lnTo>
                  <a:lnTo>
                    <a:pt x="157" y="538"/>
                  </a:lnTo>
                  <a:lnTo>
                    <a:pt x="162" y="513"/>
                  </a:lnTo>
                  <a:lnTo>
                    <a:pt x="167" y="487"/>
                  </a:lnTo>
                  <a:lnTo>
                    <a:pt x="170" y="458"/>
                  </a:lnTo>
                  <a:lnTo>
                    <a:pt x="172" y="429"/>
                  </a:lnTo>
                  <a:lnTo>
                    <a:pt x="173" y="398"/>
                  </a:lnTo>
                  <a:lnTo>
                    <a:pt x="173" y="398"/>
                  </a:lnTo>
                  <a:lnTo>
                    <a:pt x="173" y="382"/>
                  </a:lnTo>
                  <a:lnTo>
                    <a:pt x="172" y="365"/>
                  </a:lnTo>
                  <a:lnTo>
                    <a:pt x="167" y="330"/>
                  </a:lnTo>
                  <a:lnTo>
                    <a:pt x="159" y="296"/>
                  </a:lnTo>
                  <a:lnTo>
                    <a:pt x="151" y="262"/>
                  </a:lnTo>
                  <a:lnTo>
                    <a:pt x="139" y="229"/>
                  </a:lnTo>
                  <a:lnTo>
                    <a:pt x="127" y="196"/>
                  </a:lnTo>
                  <a:lnTo>
                    <a:pt x="113" y="165"/>
                  </a:lnTo>
                  <a:lnTo>
                    <a:pt x="98" y="134"/>
                  </a:lnTo>
                  <a:lnTo>
                    <a:pt x="84" y="106"/>
                  </a:lnTo>
                  <a:lnTo>
                    <a:pt x="69" y="81"/>
                  </a:lnTo>
                  <a:lnTo>
                    <a:pt x="55" y="57"/>
                  </a:lnTo>
                  <a:lnTo>
                    <a:pt x="40" y="38"/>
                  </a:lnTo>
                  <a:lnTo>
                    <a:pt x="28" y="22"/>
                  </a:lnTo>
                  <a:lnTo>
                    <a:pt x="17" y="11"/>
                  </a:lnTo>
                  <a:lnTo>
                    <a:pt x="7" y="4"/>
                  </a:lnTo>
                  <a:lnTo>
                    <a:pt x="3" y="1"/>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3" name="Freeform 514"/>
            <p:cNvSpPr>
              <a:spLocks/>
            </p:cNvSpPr>
            <p:nvPr/>
          </p:nvSpPr>
          <p:spPr bwMode="auto">
            <a:xfrm>
              <a:off x="3635420" y="2316175"/>
              <a:ext cx="55563" cy="212727"/>
            </a:xfrm>
            <a:custGeom>
              <a:avLst/>
              <a:gdLst>
                <a:gd name="T0" fmla="*/ 0 w 173"/>
                <a:gd name="T1" fmla="*/ 0 h 669"/>
                <a:gd name="T2" fmla="*/ 0 w 173"/>
                <a:gd name="T3" fmla="*/ 669 h 669"/>
                <a:gd name="T4" fmla="*/ 102 w 173"/>
                <a:gd name="T5" fmla="*/ 669 h 669"/>
                <a:gd name="T6" fmla="*/ 102 w 173"/>
                <a:gd name="T7" fmla="*/ 669 h 669"/>
                <a:gd name="T8" fmla="*/ 106 w 173"/>
                <a:gd name="T9" fmla="*/ 665 h 669"/>
                <a:gd name="T10" fmla="*/ 113 w 173"/>
                <a:gd name="T11" fmla="*/ 651 h 669"/>
                <a:gd name="T12" fmla="*/ 125 w 173"/>
                <a:gd name="T13" fmla="*/ 629 h 669"/>
                <a:gd name="T14" fmla="*/ 137 w 173"/>
                <a:gd name="T15" fmla="*/ 599 h 669"/>
                <a:gd name="T16" fmla="*/ 145 w 173"/>
                <a:gd name="T17" fmla="*/ 580 h 669"/>
                <a:gd name="T18" fmla="*/ 151 w 173"/>
                <a:gd name="T19" fmla="*/ 560 h 669"/>
                <a:gd name="T20" fmla="*/ 157 w 173"/>
                <a:gd name="T21" fmla="*/ 538 h 669"/>
                <a:gd name="T22" fmla="*/ 162 w 173"/>
                <a:gd name="T23" fmla="*/ 513 h 669"/>
                <a:gd name="T24" fmla="*/ 167 w 173"/>
                <a:gd name="T25" fmla="*/ 487 h 669"/>
                <a:gd name="T26" fmla="*/ 170 w 173"/>
                <a:gd name="T27" fmla="*/ 458 h 669"/>
                <a:gd name="T28" fmla="*/ 172 w 173"/>
                <a:gd name="T29" fmla="*/ 429 h 669"/>
                <a:gd name="T30" fmla="*/ 173 w 173"/>
                <a:gd name="T31" fmla="*/ 398 h 669"/>
                <a:gd name="T32" fmla="*/ 173 w 173"/>
                <a:gd name="T33" fmla="*/ 398 h 669"/>
                <a:gd name="T34" fmla="*/ 173 w 173"/>
                <a:gd name="T35" fmla="*/ 382 h 669"/>
                <a:gd name="T36" fmla="*/ 172 w 173"/>
                <a:gd name="T37" fmla="*/ 365 h 669"/>
                <a:gd name="T38" fmla="*/ 167 w 173"/>
                <a:gd name="T39" fmla="*/ 330 h 669"/>
                <a:gd name="T40" fmla="*/ 159 w 173"/>
                <a:gd name="T41" fmla="*/ 296 h 669"/>
                <a:gd name="T42" fmla="*/ 151 w 173"/>
                <a:gd name="T43" fmla="*/ 262 h 669"/>
                <a:gd name="T44" fmla="*/ 139 w 173"/>
                <a:gd name="T45" fmla="*/ 229 h 669"/>
                <a:gd name="T46" fmla="*/ 127 w 173"/>
                <a:gd name="T47" fmla="*/ 196 h 669"/>
                <a:gd name="T48" fmla="*/ 113 w 173"/>
                <a:gd name="T49" fmla="*/ 165 h 669"/>
                <a:gd name="T50" fmla="*/ 98 w 173"/>
                <a:gd name="T51" fmla="*/ 134 h 669"/>
                <a:gd name="T52" fmla="*/ 84 w 173"/>
                <a:gd name="T53" fmla="*/ 106 h 669"/>
                <a:gd name="T54" fmla="*/ 69 w 173"/>
                <a:gd name="T55" fmla="*/ 81 h 669"/>
                <a:gd name="T56" fmla="*/ 55 w 173"/>
                <a:gd name="T57" fmla="*/ 57 h 669"/>
                <a:gd name="T58" fmla="*/ 40 w 173"/>
                <a:gd name="T59" fmla="*/ 38 h 669"/>
                <a:gd name="T60" fmla="*/ 28 w 173"/>
                <a:gd name="T61" fmla="*/ 22 h 669"/>
                <a:gd name="T62" fmla="*/ 17 w 173"/>
                <a:gd name="T63" fmla="*/ 11 h 669"/>
                <a:gd name="T64" fmla="*/ 7 w 173"/>
                <a:gd name="T65" fmla="*/ 4 h 669"/>
                <a:gd name="T66" fmla="*/ 3 w 173"/>
                <a:gd name="T67" fmla="*/ 1 h 669"/>
                <a:gd name="T68" fmla="*/ 0 w 173"/>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669">
                  <a:moveTo>
                    <a:pt x="0" y="0"/>
                  </a:moveTo>
                  <a:lnTo>
                    <a:pt x="0" y="669"/>
                  </a:lnTo>
                  <a:lnTo>
                    <a:pt x="102" y="669"/>
                  </a:lnTo>
                  <a:lnTo>
                    <a:pt x="102" y="669"/>
                  </a:lnTo>
                  <a:lnTo>
                    <a:pt x="106" y="665"/>
                  </a:lnTo>
                  <a:lnTo>
                    <a:pt x="113" y="651"/>
                  </a:lnTo>
                  <a:lnTo>
                    <a:pt x="125" y="629"/>
                  </a:lnTo>
                  <a:lnTo>
                    <a:pt x="137" y="599"/>
                  </a:lnTo>
                  <a:lnTo>
                    <a:pt x="145" y="580"/>
                  </a:lnTo>
                  <a:lnTo>
                    <a:pt x="151" y="560"/>
                  </a:lnTo>
                  <a:lnTo>
                    <a:pt x="157" y="538"/>
                  </a:lnTo>
                  <a:lnTo>
                    <a:pt x="162" y="513"/>
                  </a:lnTo>
                  <a:lnTo>
                    <a:pt x="167" y="487"/>
                  </a:lnTo>
                  <a:lnTo>
                    <a:pt x="170" y="458"/>
                  </a:lnTo>
                  <a:lnTo>
                    <a:pt x="172" y="429"/>
                  </a:lnTo>
                  <a:lnTo>
                    <a:pt x="173" y="398"/>
                  </a:lnTo>
                  <a:lnTo>
                    <a:pt x="173" y="398"/>
                  </a:lnTo>
                  <a:lnTo>
                    <a:pt x="173" y="382"/>
                  </a:lnTo>
                  <a:lnTo>
                    <a:pt x="172" y="365"/>
                  </a:lnTo>
                  <a:lnTo>
                    <a:pt x="167" y="330"/>
                  </a:lnTo>
                  <a:lnTo>
                    <a:pt x="159" y="296"/>
                  </a:lnTo>
                  <a:lnTo>
                    <a:pt x="151" y="262"/>
                  </a:lnTo>
                  <a:lnTo>
                    <a:pt x="139" y="229"/>
                  </a:lnTo>
                  <a:lnTo>
                    <a:pt x="127" y="196"/>
                  </a:lnTo>
                  <a:lnTo>
                    <a:pt x="113" y="165"/>
                  </a:lnTo>
                  <a:lnTo>
                    <a:pt x="98" y="134"/>
                  </a:lnTo>
                  <a:lnTo>
                    <a:pt x="84" y="106"/>
                  </a:lnTo>
                  <a:lnTo>
                    <a:pt x="69" y="81"/>
                  </a:lnTo>
                  <a:lnTo>
                    <a:pt x="55" y="57"/>
                  </a:lnTo>
                  <a:lnTo>
                    <a:pt x="40" y="38"/>
                  </a:lnTo>
                  <a:lnTo>
                    <a:pt x="28" y="22"/>
                  </a:lnTo>
                  <a:lnTo>
                    <a:pt x="17" y="11"/>
                  </a:lnTo>
                  <a:lnTo>
                    <a:pt x="7" y="4"/>
                  </a:lnTo>
                  <a:lnTo>
                    <a:pt x="3"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4" name="Freeform 515"/>
            <p:cNvSpPr>
              <a:spLocks/>
            </p:cNvSpPr>
            <p:nvPr/>
          </p:nvSpPr>
          <p:spPr bwMode="auto">
            <a:xfrm>
              <a:off x="3635420" y="2316175"/>
              <a:ext cx="28575" cy="42863"/>
            </a:xfrm>
            <a:custGeom>
              <a:avLst/>
              <a:gdLst>
                <a:gd name="T0" fmla="*/ 88 w 88"/>
                <a:gd name="T1" fmla="*/ 113 h 132"/>
                <a:gd name="T2" fmla="*/ 88 w 88"/>
                <a:gd name="T3" fmla="*/ 113 h 132"/>
                <a:gd name="T4" fmla="*/ 68 w 88"/>
                <a:gd name="T5" fmla="*/ 121 h 132"/>
                <a:gd name="T6" fmla="*/ 46 w 88"/>
                <a:gd name="T7" fmla="*/ 127 h 132"/>
                <a:gd name="T8" fmla="*/ 23 w 88"/>
                <a:gd name="T9" fmla="*/ 131 h 132"/>
                <a:gd name="T10" fmla="*/ 0 w 88"/>
                <a:gd name="T11" fmla="*/ 132 h 132"/>
                <a:gd name="T12" fmla="*/ 0 w 88"/>
                <a:gd name="T13" fmla="*/ 0 h 132"/>
                <a:gd name="T14" fmla="*/ 0 w 88"/>
                <a:gd name="T15" fmla="*/ 0 h 132"/>
                <a:gd name="T16" fmla="*/ 2 w 88"/>
                <a:gd name="T17" fmla="*/ 1 h 132"/>
                <a:gd name="T18" fmla="*/ 6 w 88"/>
                <a:gd name="T19" fmla="*/ 3 h 132"/>
                <a:gd name="T20" fmla="*/ 14 w 88"/>
                <a:gd name="T21" fmla="*/ 9 h 132"/>
                <a:gd name="T22" fmla="*/ 24 w 88"/>
                <a:gd name="T23" fmla="*/ 18 h 132"/>
                <a:gd name="T24" fmla="*/ 35 w 88"/>
                <a:gd name="T25" fmla="*/ 32 h 132"/>
                <a:gd name="T26" fmla="*/ 47 w 88"/>
                <a:gd name="T27" fmla="*/ 49 h 132"/>
                <a:gd name="T28" fmla="*/ 61 w 88"/>
                <a:gd name="T29" fmla="*/ 67 h 132"/>
                <a:gd name="T30" fmla="*/ 74 w 88"/>
                <a:gd name="T31" fmla="*/ 89 h 132"/>
                <a:gd name="T32" fmla="*/ 88 w 88"/>
                <a:gd name="T33" fmla="*/ 113 h 132"/>
                <a:gd name="T34" fmla="*/ 88 w 88"/>
                <a:gd name="T35" fmla="*/ 11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132">
                  <a:moveTo>
                    <a:pt x="88" y="113"/>
                  </a:moveTo>
                  <a:lnTo>
                    <a:pt x="88" y="113"/>
                  </a:lnTo>
                  <a:lnTo>
                    <a:pt x="68" y="121"/>
                  </a:lnTo>
                  <a:lnTo>
                    <a:pt x="46" y="127"/>
                  </a:lnTo>
                  <a:lnTo>
                    <a:pt x="23" y="131"/>
                  </a:lnTo>
                  <a:lnTo>
                    <a:pt x="0" y="132"/>
                  </a:lnTo>
                  <a:lnTo>
                    <a:pt x="0" y="0"/>
                  </a:lnTo>
                  <a:lnTo>
                    <a:pt x="0" y="0"/>
                  </a:lnTo>
                  <a:lnTo>
                    <a:pt x="2" y="1"/>
                  </a:lnTo>
                  <a:lnTo>
                    <a:pt x="6" y="3"/>
                  </a:lnTo>
                  <a:lnTo>
                    <a:pt x="14" y="9"/>
                  </a:lnTo>
                  <a:lnTo>
                    <a:pt x="24" y="18"/>
                  </a:lnTo>
                  <a:lnTo>
                    <a:pt x="35" y="32"/>
                  </a:lnTo>
                  <a:lnTo>
                    <a:pt x="47" y="49"/>
                  </a:lnTo>
                  <a:lnTo>
                    <a:pt x="61" y="67"/>
                  </a:lnTo>
                  <a:lnTo>
                    <a:pt x="74" y="89"/>
                  </a:lnTo>
                  <a:lnTo>
                    <a:pt x="88" y="113"/>
                  </a:lnTo>
                  <a:lnTo>
                    <a:pt x="88" y="113"/>
                  </a:lnTo>
                  <a:close/>
                </a:path>
              </a:pathLst>
            </a:custGeom>
            <a:solidFill>
              <a:srgbClr val="FF6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5" name="Freeform 516"/>
            <p:cNvSpPr>
              <a:spLocks/>
            </p:cNvSpPr>
            <p:nvPr/>
          </p:nvSpPr>
          <p:spPr bwMode="auto">
            <a:xfrm>
              <a:off x="3689395" y="2498739"/>
              <a:ext cx="38100" cy="73026"/>
            </a:xfrm>
            <a:custGeom>
              <a:avLst/>
              <a:gdLst>
                <a:gd name="T0" fmla="*/ 11 w 120"/>
                <a:gd name="T1" fmla="*/ 234 h 234"/>
                <a:gd name="T2" fmla="*/ 0 w 120"/>
                <a:gd name="T3" fmla="*/ 189 h 234"/>
                <a:gd name="T4" fmla="*/ 82 w 120"/>
                <a:gd name="T5" fmla="*/ 0 h 234"/>
                <a:gd name="T6" fmla="*/ 120 w 120"/>
                <a:gd name="T7" fmla="*/ 23 h 234"/>
                <a:gd name="T8" fmla="*/ 11 w 120"/>
                <a:gd name="T9" fmla="*/ 234 h 234"/>
              </a:gdLst>
              <a:ahLst/>
              <a:cxnLst>
                <a:cxn ang="0">
                  <a:pos x="T0" y="T1"/>
                </a:cxn>
                <a:cxn ang="0">
                  <a:pos x="T2" y="T3"/>
                </a:cxn>
                <a:cxn ang="0">
                  <a:pos x="T4" y="T5"/>
                </a:cxn>
                <a:cxn ang="0">
                  <a:pos x="T6" y="T7"/>
                </a:cxn>
                <a:cxn ang="0">
                  <a:pos x="T8" y="T9"/>
                </a:cxn>
              </a:cxnLst>
              <a:rect l="0" t="0" r="r" b="b"/>
              <a:pathLst>
                <a:path w="120" h="234">
                  <a:moveTo>
                    <a:pt x="11" y="234"/>
                  </a:moveTo>
                  <a:lnTo>
                    <a:pt x="0" y="189"/>
                  </a:lnTo>
                  <a:lnTo>
                    <a:pt x="82" y="0"/>
                  </a:lnTo>
                  <a:lnTo>
                    <a:pt x="120" y="23"/>
                  </a:lnTo>
                  <a:lnTo>
                    <a:pt x="11" y="234"/>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6" name="Freeform 517"/>
            <p:cNvSpPr>
              <a:spLocks/>
            </p:cNvSpPr>
            <p:nvPr/>
          </p:nvSpPr>
          <p:spPr bwMode="auto">
            <a:xfrm>
              <a:off x="3635420" y="2409839"/>
              <a:ext cx="26988" cy="53975"/>
            </a:xfrm>
            <a:custGeom>
              <a:avLst/>
              <a:gdLst>
                <a:gd name="T0" fmla="*/ 0 w 84"/>
                <a:gd name="T1" fmla="*/ 0 h 168"/>
                <a:gd name="T2" fmla="*/ 0 w 84"/>
                <a:gd name="T3" fmla="*/ 168 h 168"/>
                <a:gd name="T4" fmla="*/ 0 w 84"/>
                <a:gd name="T5" fmla="*/ 168 h 168"/>
                <a:gd name="T6" fmla="*/ 8 w 84"/>
                <a:gd name="T7" fmla="*/ 167 h 168"/>
                <a:gd name="T8" fmla="*/ 17 w 84"/>
                <a:gd name="T9" fmla="*/ 166 h 168"/>
                <a:gd name="T10" fmla="*/ 24 w 84"/>
                <a:gd name="T11" fmla="*/ 163 h 168"/>
                <a:gd name="T12" fmla="*/ 33 w 84"/>
                <a:gd name="T13" fmla="*/ 161 h 168"/>
                <a:gd name="T14" fmla="*/ 40 w 84"/>
                <a:gd name="T15" fmla="*/ 157 h 168"/>
                <a:gd name="T16" fmla="*/ 47 w 84"/>
                <a:gd name="T17" fmla="*/ 154 h 168"/>
                <a:gd name="T18" fmla="*/ 53 w 84"/>
                <a:gd name="T19" fmla="*/ 149 h 168"/>
                <a:gd name="T20" fmla="*/ 59 w 84"/>
                <a:gd name="T21" fmla="*/ 143 h 168"/>
                <a:gd name="T22" fmla="*/ 64 w 84"/>
                <a:gd name="T23" fmla="*/ 138 h 168"/>
                <a:gd name="T24" fmla="*/ 69 w 84"/>
                <a:gd name="T25" fmla="*/ 130 h 168"/>
                <a:gd name="T26" fmla="*/ 74 w 84"/>
                <a:gd name="T27" fmla="*/ 124 h 168"/>
                <a:gd name="T28" fmla="*/ 77 w 84"/>
                <a:gd name="T29" fmla="*/ 117 h 168"/>
                <a:gd name="T30" fmla="*/ 80 w 84"/>
                <a:gd name="T31" fmla="*/ 108 h 168"/>
                <a:gd name="T32" fmla="*/ 81 w 84"/>
                <a:gd name="T33" fmla="*/ 101 h 168"/>
                <a:gd name="T34" fmla="*/ 84 w 84"/>
                <a:gd name="T35" fmla="*/ 93 h 168"/>
                <a:gd name="T36" fmla="*/ 84 w 84"/>
                <a:gd name="T37" fmla="*/ 84 h 168"/>
                <a:gd name="T38" fmla="*/ 84 w 84"/>
                <a:gd name="T39" fmla="*/ 84 h 168"/>
                <a:gd name="T40" fmla="*/ 84 w 84"/>
                <a:gd name="T41" fmla="*/ 75 h 168"/>
                <a:gd name="T42" fmla="*/ 81 w 84"/>
                <a:gd name="T43" fmla="*/ 67 h 168"/>
                <a:gd name="T44" fmla="*/ 80 w 84"/>
                <a:gd name="T45" fmla="*/ 58 h 168"/>
                <a:gd name="T46" fmla="*/ 77 w 84"/>
                <a:gd name="T47" fmla="*/ 51 h 168"/>
                <a:gd name="T48" fmla="*/ 74 w 84"/>
                <a:gd name="T49" fmla="*/ 44 h 168"/>
                <a:gd name="T50" fmla="*/ 69 w 84"/>
                <a:gd name="T51" fmla="*/ 36 h 168"/>
                <a:gd name="T52" fmla="*/ 64 w 84"/>
                <a:gd name="T53" fmla="*/ 30 h 168"/>
                <a:gd name="T54" fmla="*/ 59 w 84"/>
                <a:gd name="T55" fmla="*/ 24 h 168"/>
                <a:gd name="T56" fmla="*/ 53 w 84"/>
                <a:gd name="T57" fmla="*/ 19 h 168"/>
                <a:gd name="T58" fmla="*/ 47 w 84"/>
                <a:gd name="T59" fmla="*/ 15 h 168"/>
                <a:gd name="T60" fmla="*/ 40 w 84"/>
                <a:gd name="T61" fmla="*/ 10 h 168"/>
                <a:gd name="T62" fmla="*/ 33 w 84"/>
                <a:gd name="T63" fmla="*/ 6 h 168"/>
                <a:gd name="T64" fmla="*/ 24 w 84"/>
                <a:gd name="T65" fmla="*/ 4 h 168"/>
                <a:gd name="T66" fmla="*/ 17 w 84"/>
                <a:gd name="T67" fmla="*/ 1 h 168"/>
                <a:gd name="T68" fmla="*/ 8 w 84"/>
                <a:gd name="T69" fmla="*/ 0 h 168"/>
                <a:gd name="T70" fmla="*/ 0 w 84"/>
                <a:gd name="T7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4" h="168">
                  <a:moveTo>
                    <a:pt x="0" y="0"/>
                  </a:moveTo>
                  <a:lnTo>
                    <a:pt x="0" y="168"/>
                  </a:lnTo>
                  <a:lnTo>
                    <a:pt x="0" y="168"/>
                  </a:lnTo>
                  <a:lnTo>
                    <a:pt x="8" y="167"/>
                  </a:lnTo>
                  <a:lnTo>
                    <a:pt x="17" y="166"/>
                  </a:lnTo>
                  <a:lnTo>
                    <a:pt x="24" y="163"/>
                  </a:lnTo>
                  <a:lnTo>
                    <a:pt x="33" y="161"/>
                  </a:lnTo>
                  <a:lnTo>
                    <a:pt x="40" y="157"/>
                  </a:lnTo>
                  <a:lnTo>
                    <a:pt x="47" y="154"/>
                  </a:lnTo>
                  <a:lnTo>
                    <a:pt x="53" y="149"/>
                  </a:lnTo>
                  <a:lnTo>
                    <a:pt x="59" y="143"/>
                  </a:lnTo>
                  <a:lnTo>
                    <a:pt x="64" y="138"/>
                  </a:lnTo>
                  <a:lnTo>
                    <a:pt x="69" y="130"/>
                  </a:lnTo>
                  <a:lnTo>
                    <a:pt x="74" y="124"/>
                  </a:lnTo>
                  <a:lnTo>
                    <a:pt x="77" y="117"/>
                  </a:lnTo>
                  <a:lnTo>
                    <a:pt x="80" y="108"/>
                  </a:lnTo>
                  <a:lnTo>
                    <a:pt x="81" y="101"/>
                  </a:lnTo>
                  <a:lnTo>
                    <a:pt x="84" y="93"/>
                  </a:lnTo>
                  <a:lnTo>
                    <a:pt x="84" y="84"/>
                  </a:lnTo>
                  <a:lnTo>
                    <a:pt x="84" y="84"/>
                  </a:lnTo>
                  <a:lnTo>
                    <a:pt x="84" y="75"/>
                  </a:lnTo>
                  <a:lnTo>
                    <a:pt x="81" y="67"/>
                  </a:lnTo>
                  <a:lnTo>
                    <a:pt x="80" y="58"/>
                  </a:lnTo>
                  <a:lnTo>
                    <a:pt x="77" y="51"/>
                  </a:lnTo>
                  <a:lnTo>
                    <a:pt x="74" y="44"/>
                  </a:lnTo>
                  <a:lnTo>
                    <a:pt x="69" y="36"/>
                  </a:lnTo>
                  <a:lnTo>
                    <a:pt x="64" y="30"/>
                  </a:lnTo>
                  <a:lnTo>
                    <a:pt x="59" y="24"/>
                  </a:lnTo>
                  <a:lnTo>
                    <a:pt x="53" y="19"/>
                  </a:lnTo>
                  <a:lnTo>
                    <a:pt x="47" y="15"/>
                  </a:lnTo>
                  <a:lnTo>
                    <a:pt x="40" y="10"/>
                  </a:lnTo>
                  <a:lnTo>
                    <a:pt x="33" y="6"/>
                  </a:lnTo>
                  <a:lnTo>
                    <a:pt x="24" y="4"/>
                  </a:lnTo>
                  <a:lnTo>
                    <a:pt x="17" y="1"/>
                  </a:lnTo>
                  <a:lnTo>
                    <a:pt x="8" y="0"/>
                  </a:lnTo>
                  <a:lnTo>
                    <a:pt x="0" y="0"/>
                  </a:lnTo>
                  <a:close/>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7" name="Freeform 518"/>
            <p:cNvSpPr>
              <a:spLocks/>
            </p:cNvSpPr>
            <p:nvPr/>
          </p:nvSpPr>
          <p:spPr bwMode="auto">
            <a:xfrm>
              <a:off x="3635420" y="2409839"/>
              <a:ext cx="26988" cy="53975"/>
            </a:xfrm>
            <a:custGeom>
              <a:avLst/>
              <a:gdLst>
                <a:gd name="T0" fmla="*/ 0 w 84"/>
                <a:gd name="T1" fmla="*/ 0 h 168"/>
                <a:gd name="T2" fmla="*/ 0 w 84"/>
                <a:gd name="T3" fmla="*/ 168 h 168"/>
                <a:gd name="T4" fmla="*/ 0 w 84"/>
                <a:gd name="T5" fmla="*/ 168 h 168"/>
                <a:gd name="T6" fmla="*/ 8 w 84"/>
                <a:gd name="T7" fmla="*/ 167 h 168"/>
                <a:gd name="T8" fmla="*/ 17 w 84"/>
                <a:gd name="T9" fmla="*/ 166 h 168"/>
                <a:gd name="T10" fmla="*/ 24 w 84"/>
                <a:gd name="T11" fmla="*/ 163 h 168"/>
                <a:gd name="T12" fmla="*/ 33 w 84"/>
                <a:gd name="T13" fmla="*/ 161 h 168"/>
                <a:gd name="T14" fmla="*/ 40 w 84"/>
                <a:gd name="T15" fmla="*/ 157 h 168"/>
                <a:gd name="T16" fmla="*/ 47 w 84"/>
                <a:gd name="T17" fmla="*/ 154 h 168"/>
                <a:gd name="T18" fmla="*/ 53 w 84"/>
                <a:gd name="T19" fmla="*/ 149 h 168"/>
                <a:gd name="T20" fmla="*/ 59 w 84"/>
                <a:gd name="T21" fmla="*/ 143 h 168"/>
                <a:gd name="T22" fmla="*/ 64 w 84"/>
                <a:gd name="T23" fmla="*/ 138 h 168"/>
                <a:gd name="T24" fmla="*/ 69 w 84"/>
                <a:gd name="T25" fmla="*/ 130 h 168"/>
                <a:gd name="T26" fmla="*/ 74 w 84"/>
                <a:gd name="T27" fmla="*/ 124 h 168"/>
                <a:gd name="T28" fmla="*/ 77 w 84"/>
                <a:gd name="T29" fmla="*/ 117 h 168"/>
                <a:gd name="T30" fmla="*/ 80 w 84"/>
                <a:gd name="T31" fmla="*/ 108 h 168"/>
                <a:gd name="T32" fmla="*/ 81 w 84"/>
                <a:gd name="T33" fmla="*/ 101 h 168"/>
                <a:gd name="T34" fmla="*/ 84 w 84"/>
                <a:gd name="T35" fmla="*/ 93 h 168"/>
                <a:gd name="T36" fmla="*/ 84 w 84"/>
                <a:gd name="T37" fmla="*/ 84 h 168"/>
                <a:gd name="T38" fmla="*/ 84 w 84"/>
                <a:gd name="T39" fmla="*/ 84 h 168"/>
                <a:gd name="T40" fmla="*/ 84 w 84"/>
                <a:gd name="T41" fmla="*/ 75 h 168"/>
                <a:gd name="T42" fmla="*/ 81 w 84"/>
                <a:gd name="T43" fmla="*/ 67 h 168"/>
                <a:gd name="T44" fmla="*/ 80 w 84"/>
                <a:gd name="T45" fmla="*/ 58 h 168"/>
                <a:gd name="T46" fmla="*/ 77 w 84"/>
                <a:gd name="T47" fmla="*/ 51 h 168"/>
                <a:gd name="T48" fmla="*/ 74 w 84"/>
                <a:gd name="T49" fmla="*/ 44 h 168"/>
                <a:gd name="T50" fmla="*/ 69 w 84"/>
                <a:gd name="T51" fmla="*/ 36 h 168"/>
                <a:gd name="T52" fmla="*/ 64 w 84"/>
                <a:gd name="T53" fmla="*/ 30 h 168"/>
                <a:gd name="T54" fmla="*/ 59 w 84"/>
                <a:gd name="T55" fmla="*/ 24 h 168"/>
                <a:gd name="T56" fmla="*/ 53 w 84"/>
                <a:gd name="T57" fmla="*/ 19 h 168"/>
                <a:gd name="T58" fmla="*/ 47 w 84"/>
                <a:gd name="T59" fmla="*/ 15 h 168"/>
                <a:gd name="T60" fmla="*/ 40 w 84"/>
                <a:gd name="T61" fmla="*/ 10 h 168"/>
                <a:gd name="T62" fmla="*/ 33 w 84"/>
                <a:gd name="T63" fmla="*/ 6 h 168"/>
                <a:gd name="T64" fmla="*/ 24 w 84"/>
                <a:gd name="T65" fmla="*/ 4 h 168"/>
                <a:gd name="T66" fmla="*/ 17 w 84"/>
                <a:gd name="T67" fmla="*/ 1 h 168"/>
                <a:gd name="T68" fmla="*/ 8 w 84"/>
                <a:gd name="T69" fmla="*/ 0 h 168"/>
                <a:gd name="T70" fmla="*/ 0 w 84"/>
                <a:gd name="T7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4" h="168">
                  <a:moveTo>
                    <a:pt x="0" y="0"/>
                  </a:moveTo>
                  <a:lnTo>
                    <a:pt x="0" y="168"/>
                  </a:lnTo>
                  <a:lnTo>
                    <a:pt x="0" y="168"/>
                  </a:lnTo>
                  <a:lnTo>
                    <a:pt x="8" y="167"/>
                  </a:lnTo>
                  <a:lnTo>
                    <a:pt x="17" y="166"/>
                  </a:lnTo>
                  <a:lnTo>
                    <a:pt x="24" y="163"/>
                  </a:lnTo>
                  <a:lnTo>
                    <a:pt x="33" y="161"/>
                  </a:lnTo>
                  <a:lnTo>
                    <a:pt x="40" y="157"/>
                  </a:lnTo>
                  <a:lnTo>
                    <a:pt x="47" y="154"/>
                  </a:lnTo>
                  <a:lnTo>
                    <a:pt x="53" y="149"/>
                  </a:lnTo>
                  <a:lnTo>
                    <a:pt x="59" y="143"/>
                  </a:lnTo>
                  <a:lnTo>
                    <a:pt x="64" y="138"/>
                  </a:lnTo>
                  <a:lnTo>
                    <a:pt x="69" y="130"/>
                  </a:lnTo>
                  <a:lnTo>
                    <a:pt x="74" y="124"/>
                  </a:lnTo>
                  <a:lnTo>
                    <a:pt x="77" y="117"/>
                  </a:lnTo>
                  <a:lnTo>
                    <a:pt x="80" y="108"/>
                  </a:lnTo>
                  <a:lnTo>
                    <a:pt x="81" y="101"/>
                  </a:lnTo>
                  <a:lnTo>
                    <a:pt x="84" y="93"/>
                  </a:lnTo>
                  <a:lnTo>
                    <a:pt x="84" y="84"/>
                  </a:lnTo>
                  <a:lnTo>
                    <a:pt x="84" y="84"/>
                  </a:lnTo>
                  <a:lnTo>
                    <a:pt x="84" y="75"/>
                  </a:lnTo>
                  <a:lnTo>
                    <a:pt x="81" y="67"/>
                  </a:lnTo>
                  <a:lnTo>
                    <a:pt x="80" y="58"/>
                  </a:lnTo>
                  <a:lnTo>
                    <a:pt x="77" y="51"/>
                  </a:lnTo>
                  <a:lnTo>
                    <a:pt x="74" y="44"/>
                  </a:lnTo>
                  <a:lnTo>
                    <a:pt x="69" y="36"/>
                  </a:lnTo>
                  <a:lnTo>
                    <a:pt x="64" y="30"/>
                  </a:lnTo>
                  <a:lnTo>
                    <a:pt x="59" y="24"/>
                  </a:lnTo>
                  <a:lnTo>
                    <a:pt x="53" y="19"/>
                  </a:lnTo>
                  <a:lnTo>
                    <a:pt x="47" y="15"/>
                  </a:lnTo>
                  <a:lnTo>
                    <a:pt x="40" y="10"/>
                  </a:lnTo>
                  <a:lnTo>
                    <a:pt x="33" y="6"/>
                  </a:lnTo>
                  <a:lnTo>
                    <a:pt x="24" y="4"/>
                  </a:lnTo>
                  <a:lnTo>
                    <a:pt x="17" y="1"/>
                  </a:lnTo>
                  <a:lnTo>
                    <a:pt x="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8" name="Freeform 519"/>
            <p:cNvSpPr>
              <a:spLocks/>
            </p:cNvSpPr>
            <p:nvPr/>
          </p:nvSpPr>
          <p:spPr bwMode="auto">
            <a:xfrm>
              <a:off x="3635420" y="2479689"/>
              <a:ext cx="52388" cy="39688"/>
            </a:xfrm>
            <a:custGeom>
              <a:avLst/>
              <a:gdLst>
                <a:gd name="T0" fmla="*/ 0 w 162"/>
                <a:gd name="T1" fmla="*/ 0 h 124"/>
                <a:gd name="T2" fmla="*/ 162 w 162"/>
                <a:gd name="T3" fmla="*/ 0 h 124"/>
                <a:gd name="T4" fmla="*/ 162 w 162"/>
                <a:gd name="T5" fmla="*/ 0 h 124"/>
                <a:gd name="T6" fmla="*/ 157 w 162"/>
                <a:gd name="T7" fmla="*/ 19 h 124"/>
                <a:gd name="T8" fmla="*/ 152 w 162"/>
                <a:gd name="T9" fmla="*/ 39 h 124"/>
                <a:gd name="T10" fmla="*/ 141 w 162"/>
                <a:gd name="T11" fmla="*/ 73 h 124"/>
                <a:gd name="T12" fmla="*/ 130 w 162"/>
                <a:gd name="T13" fmla="*/ 101 h 124"/>
                <a:gd name="T14" fmla="*/ 120 w 162"/>
                <a:gd name="T15" fmla="*/ 124 h 124"/>
                <a:gd name="T16" fmla="*/ 0 w 162"/>
                <a:gd name="T17" fmla="*/ 124 h 124"/>
                <a:gd name="T18" fmla="*/ 0 w 162"/>
                <a:gd name="T19"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 h="124">
                  <a:moveTo>
                    <a:pt x="0" y="0"/>
                  </a:moveTo>
                  <a:lnTo>
                    <a:pt x="162" y="0"/>
                  </a:lnTo>
                  <a:lnTo>
                    <a:pt x="162" y="0"/>
                  </a:lnTo>
                  <a:lnTo>
                    <a:pt x="157" y="19"/>
                  </a:lnTo>
                  <a:lnTo>
                    <a:pt x="152" y="39"/>
                  </a:lnTo>
                  <a:lnTo>
                    <a:pt x="141" y="73"/>
                  </a:lnTo>
                  <a:lnTo>
                    <a:pt x="130" y="101"/>
                  </a:lnTo>
                  <a:lnTo>
                    <a:pt x="120" y="124"/>
                  </a:lnTo>
                  <a:lnTo>
                    <a:pt x="0" y="124"/>
                  </a:lnTo>
                  <a:lnTo>
                    <a:pt x="0"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09" name="Freeform 520"/>
            <p:cNvSpPr>
              <a:spLocks/>
            </p:cNvSpPr>
            <p:nvPr/>
          </p:nvSpPr>
          <p:spPr bwMode="auto">
            <a:xfrm>
              <a:off x="3635420" y="2413014"/>
              <a:ext cx="23813" cy="23813"/>
            </a:xfrm>
            <a:custGeom>
              <a:avLst/>
              <a:gdLst>
                <a:gd name="T0" fmla="*/ 0 w 75"/>
                <a:gd name="T1" fmla="*/ 0 h 76"/>
                <a:gd name="T2" fmla="*/ 0 w 75"/>
                <a:gd name="T3" fmla="*/ 0 h 76"/>
                <a:gd name="T4" fmla="*/ 7 w 75"/>
                <a:gd name="T5" fmla="*/ 0 h 76"/>
                <a:gd name="T6" fmla="*/ 14 w 75"/>
                <a:gd name="T7" fmla="*/ 2 h 76"/>
                <a:gd name="T8" fmla="*/ 22 w 75"/>
                <a:gd name="T9" fmla="*/ 4 h 76"/>
                <a:gd name="T10" fmla="*/ 29 w 75"/>
                <a:gd name="T11" fmla="*/ 7 h 76"/>
                <a:gd name="T12" fmla="*/ 41 w 75"/>
                <a:gd name="T13" fmla="*/ 14 h 76"/>
                <a:gd name="T14" fmla="*/ 53 w 75"/>
                <a:gd name="T15" fmla="*/ 22 h 76"/>
                <a:gd name="T16" fmla="*/ 62 w 75"/>
                <a:gd name="T17" fmla="*/ 33 h 76"/>
                <a:gd name="T18" fmla="*/ 69 w 75"/>
                <a:gd name="T19" fmla="*/ 47 h 76"/>
                <a:gd name="T20" fmla="*/ 72 w 75"/>
                <a:gd name="T21" fmla="*/ 53 h 76"/>
                <a:gd name="T22" fmla="*/ 73 w 75"/>
                <a:gd name="T23" fmla="*/ 60 h 76"/>
                <a:gd name="T24" fmla="*/ 74 w 75"/>
                <a:gd name="T25" fmla="*/ 67 h 76"/>
                <a:gd name="T26" fmla="*/ 75 w 75"/>
                <a:gd name="T27" fmla="*/ 76 h 76"/>
                <a:gd name="T28" fmla="*/ 0 w 75"/>
                <a:gd name="T29" fmla="*/ 76 h 76"/>
                <a:gd name="T30" fmla="*/ 0 w 75"/>
                <a:gd name="T3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 h="76">
                  <a:moveTo>
                    <a:pt x="0" y="0"/>
                  </a:moveTo>
                  <a:lnTo>
                    <a:pt x="0" y="0"/>
                  </a:lnTo>
                  <a:lnTo>
                    <a:pt x="7" y="0"/>
                  </a:lnTo>
                  <a:lnTo>
                    <a:pt x="14" y="2"/>
                  </a:lnTo>
                  <a:lnTo>
                    <a:pt x="22" y="4"/>
                  </a:lnTo>
                  <a:lnTo>
                    <a:pt x="29" y="7"/>
                  </a:lnTo>
                  <a:lnTo>
                    <a:pt x="41" y="14"/>
                  </a:lnTo>
                  <a:lnTo>
                    <a:pt x="53" y="22"/>
                  </a:lnTo>
                  <a:lnTo>
                    <a:pt x="62" y="33"/>
                  </a:lnTo>
                  <a:lnTo>
                    <a:pt x="69" y="47"/>
                  </a:lnTo>
                  <a:lnTo>
                    <a:pt x="72" y="53"/>
                  </a:lnTo>
                  <a:lnTo>
                    <a:pt x="73" y="60"/>
                  </a:lnTo>
                  <a:lnTo>
                    <a:pt x="74" y="67"/>
                  </a:lnTo>
                  <a:lnTo>
                    <a:pt x="75" y="76"/>
                  </a:lnTo>
                  <a:lnTo>
                    <a:pt x="0" y="76"/>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0" name="Freeform 521"/>
            <p:cNvSpPr>
              <a:spLocks/>
            </p:cNvSpPr>
            <p:nvPr/>
          </p:nvSpPr>
          <p:spPr bwMode="auto">
            <a:xfrm>
              <a:off x="3635420" y="2436826"/>
              <a:ext cx="23813" cy="23813"/>
            </a:xfrm>
            <a:custGeom>
              <a:avLst/>
              <a:gdLst>
                <a:gd name="T0" fmla="*/ 75 w 75"/>
                <a:gd name="T1" fmla="*/ 0 h 74"/>
                <a:gd name="T2" fmla="*/ 75 w 75"/>
                <a:gd name="T3" fmla="*/ 0 h 74"/>
                <a:gd name="T4" fmla="*/ 74 w 75"/>
                <a:gd name="T5" fmla="*/ 7 h 74"/>
                <a:gd name="T6" fmla="*/ 73 w 75"/>
                <a:gd name="T7" fmla="*/ 15 h 74"/>
                <a:gd name="T8" fmla="*/ 72 w 75"/>
                <a:gd name="T9" fmla="*/ 22 h 74"/>
                <a:gd name="T10" fmla="*/ 69 w 75"/>
                <a:gd name="T11" fmla="*/ 29 h 74"/>
                <a:gd name="T12" fmla="*/ 62 w 75"/>
                <a:gd name="T13" fmla="*/ 41 h 74"/>
                <a:gd name="T14" fmla="*/ 53 w 75"/>
                <a:gd name="T15" fmla="*/ 52 h 74"/>
                <a:gd name="T16" fmla="*/ 41 w 75"/>
                <a:gd name="T17" fmla="*/ 62 h 74"/>
                <a:gd name="T18" fmla="*/ 29 w 75"/>
                <a:gd name="T19" fmla="*/ 68 h 74"/>
                <a:gd name="T20" fmla="*/ 22 w 75"/>
                <a:gd name="T21" fmla="*/ 72 h 74"/>
                <a:gd name="T22" fmla="*/ 14 w 75"/>
                <a:gd name="T23" fmla="*/ 73 h 74"/>
                <a:gd name="T24" fmla="*/ 7 w 75"/>
                <a:gd name="T25" fmla="*/ 74 h 74"/>
                <a:gd name="T26" fmla="*/ 0 w 75"/>
                <a:gd name="T27" fmla="*/ 74 h 74"/>
                <a:gd name="T28" fmla="*/ 0 w 75"/>
                <a:gd name="T29" fmla="*/ 0 h 74"/>
                <a:gd name="T30" fmla="*/ 75 w 75"/>
                <a:gd name="T3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 h="74">
                  <a:moveTo>
                    <a:pt x="75" y="0"/>
                  </a:moveTo>
                  <a:lnTo>
                    <a:pt x="75" y="0"/>
                  </a:lnTo>
                  <a:lnTo>
                    <a:pt x="74" y="7"/>
                  </a:lnTo>
                  <a:lnTo>
                    <a:pt x="73" y="15"/>
                  </a:lnTo>
                  <a:lnTo>
                    <a:pt x="72" y="22"/>
                  </a:lnTo>
                  <a:lnTo>
                    <a:pt x="69" y="29"/>
                  </a:lnTo>
                  <a:lnTo>
                    <a:pt x="62" y="41"/>
                  </a:lnTo>
                  <a:lnTo>
                    <a:pt x="53" y="52"/>
                  </a:lnTo>
                  <a:lnTo>
                    <a:pt x="41" y="62"/>
                  </a:lnTo>
                  <a:lnTo>
                    <a:pt x="29" y="68"/>
                  </a:lnTo>
                  <a:lnTo>
                    <a:pt x="22" y="72"/>
                  </a:lnTo>
                  <a:lnTo>
                    <a:pt x="14" y="73"/>
                  </a:lnTo>
                  <a:lnTo>
                    <a:pt x="7" y="74"/>
                  </a:lnTo>
                  <a:lnTo>
                    <a:pt x="0" y="74"/>
                  </a:lnTo>
                  <a:lnTo>
                    <a:pt x="0" y="0"/>
                  </a:lnTo>
                  <a:lnTo>
                    <a:pt x="75" y="0"/>
                  </a:lnTo>
                  <a:close/>
                </a:path>
              </a:pathLst>
            </a:custGeom>
            <a:solidFill>
              <a:srgbClr val="2A5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1" name="Freeform 522"/>
            <p:cNvSpPr>
              <a:spLocks/>
            </p:cNvSpPr>
            <p:nvPr/>
          </p:nvSpPr>
          <p:spPr bwMode="auto">
            <a:xfrm>
              <a:off x="3635420" y="2371738"/>
              <a:ext cx="17463" cy="34925"/>
            </a:xfrm>
            <a:custGeom>
              <a:avLst/>
              <a:gdLst>
                <a:gd name="T0" fmla="*/ 0 w 53"/>
                <a:gd name="T1" fmla="*/ 0 h 109"/>
                <a:gd name="T2" fmla="*/ 0 w 53"/>
                <a:gd name="T3" fmla="*/ 109 h 109"/>
                <a:gd name="T4" fmla="*/ 0 w 53"/>
                <a:gd name="T5" fmla="*/ 109 h 109"/>
                <a:gd name="T6" fmla="*/ 11 w 53"/>
                <a:gd name="T7" fmla="*/ 107 h 109"/>
                <a:gd name="T8" fmla="*/ 20 w 53"/>
                <a:gd name="T9" fmla="*/ 104 h 109"/>
                <a:gd name="T10" fmla="*/ 30 w 53"/>
                <a:gd name="T11" fmla="*/ 99 h 109"/>
                <a:gd name="T12" fmla="*/ 38 w 53"/>
                <a:gd name="T13" fmla="*/ 93 h 109"/>
                <a:gd name="T14" fmla="*/ 45 w 53"/>
                <a:gd name="T15" fmla="*/ 84 h 109"/>
                <a:gd name="T16" fmla="*/ 50 w 53"/>
                <a:gd name="T17" fmla="*/ 76 h 109"/>
                <a:gd name="T18" fmla="*/ 52 w 53"/>
                <a:gd name="T19" fmla="*/ 65 h 109"/>
                <a:gd name="T20" fmla="*/ 53 w 53"/>
                <a:gd name="T21" fmla="*/ 54 h 109"/>
                <a:gd name="T22" fmla="*/ 53 w 53"/>
                <a:gd name="T23" fmla="*/ 54 h 109"/>
                <a:gd name="T24" fmla="*/ 52 w 53"/>
                <a:gd name="T25" fmla="*/ 43 h 109"/>
                <a:gd name="T26" fmla="*/ 50 w 53"/>
                <a:gd name="T27" fmla="*/ 33 h 109"/>
                <a:gd name="T28" fmla="*/ 45 w 53"/>
                <a:gd name="T29" fmla="*/ 24 h 109"/>
                <a:gd name="T30" fmla="*/ 38 w 53"/>
                <a:gd name="T31" fmla="*/ 16 h 109"/>
                <a:gd name="T32" fmla="*/ 30 w 53"/>
                <a:gd name="T33" fmla="*/ 10 h 109"/>
                <a:gd name="T34" fmla="*/ 20 w 53"/>
                <a:gd name="T35" fmla="*/ 5 h 109"/>
                <a:gd name="T36" fmla="*/ 11 w 53"/>
                <a:gd name="T37" fmla="*/ 1 h 109"/>
                <a:gd name="T38" fmla="*/ 0 w 53"/>
                <a:gd name="T3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109">
                  <a:moveTo>
                    <a:pt x="0" y="0"/>
                  </a:moveTo>
                  <a:lnTo>
                    <a:pt x="0" y="109"/>
                  </a:lnTo>
                  <a:lnTo>
                    <a:pt x="0" y="109"/>
                  </a:lnTo>
                  <a:lnTo>
                    <a:pt x="11" y="107"/>
                  </a:lnTo>
                  <a:lnTo>
                    <a:pt x="20" y="104"/>
                  </a:lnTo>
                  <a:lnTo>
                    <a:pt x="30" y="99"/>
                  </a:lnTo>
                  <a:lnTo>
                    <a:pt x="38" y="93"/>
                  </a:lnTo>
                  <a:lnTo>
                    <a:pt x="45" y="84"/>
                  </a:lnTo>
                  <a:lnTo>
                    <a:pt x="50" y="76"/>
                  </a:lnTo>
                  <a:lnTo>
                    <a:pt x="52" y="65"/>
                  </a:lnTo>
                  <a:lnTo>
                    <a:pt x="53" y="54"/>
                  </a:lnTo>
                  <a:lnTo>
                    <a:pt x="53" y="54"/>
                  </a:lnTo>
                  <a:lnTo>
                    <a:pt x="52" y="43"/>
                  </a:lnTo>
                  <a:lnTo>
                    <a:pt x="50" y="33"/>
                  </a:lnTo>
                  <a:lnTo>
                    <a:pt x="45" y="24"/>
                  </a:lnTo>
                  <a:lnTo>
                    <a:pt x="38" y="16"/>
                  </a:lnTo>
                  <a:lnTo>
                    <a:pt x="30" y="10"/>
                  </a:lnTo>
                  <a:lnTo>
                    <a:pt x="20" y="5"/>
                  </a:lnTo>
                  <a:lnTo>
                    <a:pt x="11" y="1"/>
                  </a:lnTo>
                  <a:lnTo>
                    <a:pt x="0" y="0"/>
                  </a:lnTo>
                  <a:close/>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2" name="Freeform 523"/>
            <p:cNvSpPr>
              <a:spLocks/>
            </p:cNvSpPr>
            <p:nvPr/>
          </p:nvSpPr>
          <p:spPr bwMode="auto">
            <a:xfrm>
              <a:off x="3635420" y="2371738"/>
              <a:ext cx="17463" cy="34925"/>
            </a:xfrm>
            <a:custGeom>
              <a:avLst/>
              <a:gdLst>
                <a:gd name="T0" fmla="*/ 0 w 53"/>
                <a:gd name="T1" fmla="*/ 0 h 109"/>
                <a:gd name="T2" fmla="*/ 0 w 53"/>
                <a:gd name="T3" fmla="*/ 109 h 109"/>
                <a:gd name="T4" fmla="*/ 0 w 53"/>
                <a:gd name="T5" fmla="*/ 109 h 109"/>
                <a:gd name="T6" fmla="*/ 11 w 53"/>
                <a:gd name="T7" fmla="*/ 107 h 109"/>
                <a:gd name="T8" fmla="*/ 20 w 53"/>
                <a:gd name="T9" fmla="*/ 104 h 109"/>
                <a:gd name="T10" fmla="*/ 30 w 53"/>
                <a:gd name="T11" fmla="*/ 99 h 109"/>
                <a:gd name="T12" fmla="*/ 38 w 53"/>
                <a:gd name="T13" fmla="*/ 93 h 109"/>
                <a:gd name="T14" fmla="*/ 45 w 53"/>
                <a:gd name="T15" fmla="*/ 84 h 109"/>
                <a:gd name="T16" fmla="*/ 50 w 53"/>
                <a:gd name="T17" fmla="*/ 76 h 109"/>
                <a:gd name="T18" fmla="*/ 52 w 53"/>
                <a:gd name="T19" fmla="*/ 65 h 109"/>
                <a:gd name="T20" fmla="*/ 53 w 53"/>
                <a:gd name="T21" fmla="*/ 54 h 109"/>
                <a:gd name="T22" fmla="*/ 53 w 53"/>
                <a:gd name="T23" fmla="*/ 54 h 109"/>
                <a:gd name="T24" fmla="*/ 52 w 53"/>
                <a:gd name="T25" fmla="*/ 43 h 109"/>
                <a:gd name="T26" fmla="*/ 50 w 53"/>
                <a:gd name="T27" fmla="*/ 33 h 109"/>
                <a:gd name="T28" fmla="*/ 45 w 53"/>
                <a:gd name="T29" fmla="*/ 24 h 109"/>
                <a:gd name="T30" fmla="*/ 38 w 53"/>
                <a:gd name="T31" fmla="*/ 16 h 109"/>
                <a:gd name="T32" fmla="*/ 30 w 53"/>
                <a:gd name="T33" fmla="*/ 10 h 109"/>
                <a:gd name="T34" fmla="*/ 20 w 53"/>
                <a:gd name="T35" fmla="*/ 5 h 109"/>
                <a:gd name="T36" fmla="*/ 11 w 53"/>
                <a:gd name="T37" fmla="*/ 1 h 109"/>
                <a:gd name="T38" fmla="*/ 0 w 53"/>
                <a:gd name="T3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109">
                  <a:moveTo>
                    <a:pt x="0" y="0"/>
                  </a:moveTo>
                  <a:lnTo>
                    <a:pt x="0" y="109"/>
                  </a:lnTo>
                  <a:lnTo>
                    <a:pt x="0" y="109"/>
                  </a:lnTo>
                  <a:lnTo>
                    <a:pt x="11" y="107"/>
                  </a:lnTo>
                  <a:lnTo>
                    <a:pt x="20" y="104"/>
                  </a:lnTo>
                  <a:lnTo>
                    <a:pt x="30" y="99"/>
                  </a:lnTo>
                  <a:lnTo>
                    <a:pt x="38" y="93"/>
                  </a:lnTo>
                  <a:lnTo>
                    <a:pt x="45" y="84"/>
                  </a:lnTo>
                  <a:lnTo>
                    <a:pt x="50" y="76"/>
                  </a:lnTo>
                  <a:lnTo>
                    <a:pt x="52" y="65"/>
                  </a:lnTo>
                  <a:lnTo>
                    <a:pt x="53" y="54"/>
                  </a:lnTo>
                  <a:lnTo>
                    <a:pt x="53" y="54"/>
                  </a:lnTo>
                  <a:lnTo>
                    <a:pt x="52" y="43"/>
                  </a:lnTo>
                  <a:lnTo>
                    <a:pt x="50" y="33"/>
                  </a:lnTo>
                  <a:lnTo>
                    <a:pt x="45" y="24"/>
                  </a:lnTo>
                  <a:lnTo>
                    <a:pt x="38" y="16"/>
                  </a:lnTo>
                  <a:lnTo>
                    <a:pt x="30" y="10"/>
                  </a:lnTo>
                  <a:lnTo>
                    <a:pt x="20" y="5"/>
                  </a:lnTo>
                  <a:lnTo>
                    <a:pt x="11"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3" name="Freeform 524"/>
            <p:cNvSpPr>
              <a:spLocks/>
            </p:cNvSpPr>
            <p:nvPr/>
          </p:nvSpPr>
          <p:spPr bwMode="auto">
            <a:xfrm>
              <a:off x="3635420" y="2374913"/>
              <a:ext cx="14288" cy="14288"/>
            </a:xfrm>
            <a:custGeom>
              <a:avLst/>
              <a:gdLst>
                <a:gd name="T0" fmla="*/ 0 w 44"/>
                <a:gd name="T1" fmla="*/ 0 h 44"/>
                <a:gd name="T2" fmla="*/ 0 w 44"/>
                <a:gd name="T3" fmla="*/ 0 h 44"/>
                <a:gd name="T4" fmla="*/ 8 w 44"/>
                <a:gd name="T5" fmla="*/ 1 h 44"/>
                <a:gd name="T6" fmla="*/ 17 w 44"/>
                <a:gd name="T7" fmla="*/ 3 h 44"/>
                <a:gd name="T8" fmla="*/ 24 w 44"/>
                <a:gd name="T9" fmla="*/ 7 h 44"/>
                <a:gd name="T10" fmla="*/ 31 w 44"/>
                <a:gd name="T11" fmla="*/ 13 h 44"/>
                <a:gd name="T12" fmla="*/ 36 w 44"/>
                <a:gd name="T13" fmla="*/ 19 h 44"/>
                <a:gd name="T14" fmla="*/ 41 w 44"/>
                <a:gd name="T15" fmla="*/ 27 h 44"/>
                <a:gd name="T16" fmla="*/ 44 w 44"/>
                <a:gd name="T17" fmla="*/ 35 h 44"/>
                <a:gd name="T18" fmla="*/ 44 w 44"/>
                <a:gd name="T19" fmla="*/ 44 h 44"/>
                <a:gd name="T20" fmla="*/ 0 w 44"/>
                <a:gd name="T21" fmla="*/ 44 h 44"/>
                <a:gd name="T22" fmla="*/ 0 w 44"/>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4">
                  <a:moveTo>
                    <a:pt x="0" y="0"/>
                  </a:moveTo>
                  <a:lnTo>
                    <a:pt x="0" y="0"/>
                  </a:lnTo>
                  <a:lnTo>
                    <a:pt x="8" y="1"/>
                  </a:lnTo>
                  <a:lnTo>
                    <a:pt x="17" y="3"/>
                  </a:lnTo>
                  <a:lnTo>
                    <a:pt x="24" y="7"/>
                  </a:lnTo>
                  <a:lnTo>
                    <a:pt x="31" y="13"/>
                  </a:lnTo>
                  <a:lnTo>
                    <a:pt x="36" y="19"/>
                  </a:lnTo>
                  <a:lnTo>
                    <a:pt x="41" y="27"/>
                  </a:lnTo>
                  <a:lnTo>
                    <a:pt x="44" y="35"/>
                  </a:lnTo>
                  <a:lnTo>
                    <a:pt x="44" y="44"/>
                  </a:lnTo>
                  <a:lnTo>
                    <a:pt x="0" y="44"/>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4" name="Freeform 525"/>
            <p:cNvSpPr>
              <a:spLocks/>
            </p:cNvSpPr>
            <p:nvPr/>
          </p:nvSpPr>
          <p:spPr bwMode="auto">
            <a:xfrm>
              <a:off x="3635420" y="2389201"/>
              <a:ext cx="14288" cy="14288"/>
            </a:xfrm>
            <a:custGeom>
              <a:avLst/>
              <a:gdLst>
                <a:gd name="T0" fmla="*/ 44 w 44"/>
                <a:gd name="T1" fmla="*/ 0 h 45"/>
                <a:gd name="T2" fmla="*/ 44 w 44"/>
                <a:gd name="T3" fmla="*/ 0 h 45"/>
                <a:gd name="T4" fmla="*/ 44 w 44"/>
                <a:gd name="T5" fmla="*/ 9 h 45"/>
                <a:gd name="T6" fmla="*/ 41 w 44"/>
                <a:gd name="T7" fmla="*/ 18 h 45"/>
                <a:gd name="T8" fmla="*/ 36 w 44"/>
                <a:gd name="T9" fmla="*/ 25 h 45"/>
                <a:gd name="T10" fmla="*/ 31 w 44"/>
                <a:gd name="T11" fmla="*/ 31 h 45"/>
                <a:gd name="T12" fmla="*/ 24 w 44"/>
                <a:gd name="T13" fmla="*/ 37 h 45"/>
                <a:gd name="T14" fmla="*/ 17 w 44"/>
                <a:gd name="T15" fmla="*/ 41 h 45"/>
                <a:gd name="T16" fmla="*/ 8 w 44"/>
                <a:gd name="T17" fmla="*/ 44 h 45"/>
                <a:gd name="T18" fmla="*/ 0 w 44"/>
                <a:gd name="T19" fmla="*/ 45 h 45"/>
                <a:gd name="T20" fmla="*/ 0 w 44"/>
                <a:gd name="T21" fmla="*/ 0 h 45"/>
                <a:gd name="T22" fmla="*/ 44 w 44"/>
                <a:gd name="T2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5">
                  <a:moveTo>
                    <a:pt x="44" y="0"/>
                  </a:moveTo>
                  <a:lnTo>
                    <a:pt x="44" y="0"/>
                  </a:lnTo>
                  <a:lnTo>
                    <a:pt x="44" y="9"/>
                  </a:lnTo>
                  <a:lnTo>
                    <a:pt x="41" y="18"/>
                  </a:lnTo>
                  <a:lnTo>
                    <a:pt x="36" y="25"/>
                  </a:lnTo>
                  <a:lnTo>
                    <a:pt x="31" y="31"/>
                  </a:lnTo>
                  <a:lnTo>
                    <a:pt x="24" y="37"/>
                  </a:lnTo>
                  <a:lnTo>
                    <a:pt x="17" y="41"/>
                  </a:lnTo>
                  <a:lnTo>
                    <a:pt x="8" y="44"/>
                  </a:lnTo>
                  <a:lnTo>
                    <a:pt x="0" y="45"/>
                  </a:lnTo>
                  <a:lnTo>
                    <a:pt x="0" y="0"/>
                  </a:lnTo>
                  <a:lnTo>
                    <a:pt x="44" y="0"/>
                  </a:lnTo>
                  <a:close/>
                </a:path>
              </a:pathLst>
            </a:custGeom>
            <a:solidFill>
              <a:srgbClr val="2A5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5" name="Rectangle 526"/>
            <p:cNvSpPr>
              <a:spLocks noChangeArrowheads="1"/>
            </p:cNvSpPr>
            <p:nvPr/>
          </p:nvSpPr>
          <p:spPr bwMode="auto">
            <a:xfrm>
              <a:off x="3635420" y="2528902"/>
              <a:ext cx="33338" cy="14288"/>
            </a:xfrm>
            <a:prstGeom prst="rect">
              <a:avLst/>
            </a:prstGeom>
            <a:solidFill>
              <a:srgbClr val="FF6A1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6" name="Freeform 527"/>
            <p:cNvSpPr>
              <a:spLocks/>
            </p:cNvSpPr>
            <p:nvPr/>
          </p:nvSpPr>
          <p:spPr bwMode="auto">
            <a:xfrm>
              <a:off x="3635420" y="2543190"/>
              <a:ext cx="38100" cy="19050"/>
            </a:xfrm>
            <a:custGeom>
              <a:avLst/>
              <a:gdLst>
                <a:gd name="T0" fmla="*/ 120 w 120"/>
                <a:gd name="T1" fmla="*/ 59 h 59"/>
                <a:gd name="T2" fmla="*/ 0 w 120"/>
                <a:gd name="T3" fmla="*/ 59 h 59"/>
                <a:gd name="T4" fmla="*/ 0 w 120"/>
                <a:gd name="T5" fmla="*/ 0 h 59"/>
                <a:gd name="T6" fmla="*/ 102 w 120"/>
                <a:gd name="T7" fmla="*/ 0 h 59"/>
                <a:gd name="T8" fmla="*/ 120 w 120"/>
                <a:gd name="T9" fmla="*/ 59 h 59"/>
              </a:gdLst>
              <a:ahLst/>
              <a:cxnLst>
                <a:cxn ang="0">
                  <a:pos x="T0" y="T1"/>
                </a:cxn>
                <a:cxn ang="0">
                  <a:pos x="T2" y="T3"/>
                </a:cxn>
                <a:cxn ang="0">
                  <a:pos x="T4" y="T5"/>
                </a:cxn>
                <a:cxn ang="0">
                  <a:pos x="T6" y="T7"/>
                </a:cxn>
                <a:cxn ang="0">
                  <a:pos x="T8" y="T9"/>
                </a:cxn>
              </a:cxnLst>
              <a:rect l="0" t="0" r="r" b="b"/>
              <a:pathLst>
                <a:path w="120" h="59">
                  <a:moveTo>
                    <a:pt x="120" y="59"/>
                  </a:moveTo>
                  <a:lnTo>
                    <a:pt x="0" y="59"/>
                  </a:lnTo>
                  <a:lnTo>
                    <a:pt x="0" y="0"/>
                  </a:lnTo>
                  <a:lnTo>
                    <a:pt x="102" y="0"/>
                  </a:lnTo>
                  <a:lnTo>
                    <a:pt x="120" y="59"/>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7" name="Freeform 528"/>
            <p:cNvSpPr>
              <a:spLocks/>
            </p:cNvSpPr>
            <p:nvPr/>
          </p:nvSpPr>
          <p:spPr bwMode="auto">
            <a:xfrm>
              <a:off x="3627482" y="2284425"/>
              <a:ext cx="15875" cy="15875"/>
            </a:xfrm>
            <a:custGeom>
              <a:avLst/>
              <a:gdLst>
                <a:gd name="T0" fmla="*/ 51 w 51"/>
                <a:gd name="T1" fmla="*/ 25 h 51"/>
                <a:gd name="T2" fmla="*/ 51 w 51"/>
                <a:gd name="T3" fmla="*/ 25 h 51"/>
                <a:gd name="T4" fmla="*/ 51 w 51"/>
                <a:gd name="T5" fmla="*/ 30 h 51"/>
                <a:gd name="T6" fmla="*/ 50 w 51"/>
                <a:gd name="T7" fmla="*/ 35 h 51"/>
                <a:gd name="T8" fmla="*/ 48 w 51"/>
                <a:gd name="T9" fmla="*/ 40 h 51"/>
                <a:gd name="T10" fmla="*/ 44 w 51"/>
                <a:gd name="T11" fmla="*/ 44 h 51"/>
                <a:gd name="T12" fmla="*/ 40 w 51"/>
                <a:gd name="T13" fmla="*/ 47 h 51"/>
                <a:gd name="T14" fmla="*/ 35 w 51"/>
                <a:gd name="T15" fmla="*/ 50 h 51"/>
                <a:gd name="T16" fmla="*/ 31 w 51"/>
                <a:gd name="T17" fmla="*/ 51 h 51"/>
                <a:gd name="T18" fmla="*/ 26 w 51"/>
                <a:gd name="T19" fmla="*/ 51 h 51"/>
                <a:gd name="T20" fmla="*/ 26 w 51"/>
                <a:gd name="T21" fmla="*/ 51 h 51"/>
                <a:gd name="T22" fmla="*/ 21 w 51"/>
                <a:gd name="T23" fmla="*/ 51 h 51"/>
                <a:gd name="T24" fmla="*/ 16 w 51"/>
                <a:gd name="T25" fmla="*/ 50 h 51"/>
                <a:gd name="T26" fmla="*/ 11 w 51"/>
                <a:gd name="T27" fmla="*/ 47 h 51"/>
                <a:gd name="T28" fmla="*/ 7 w 51"/>
                <a:gd name="T29" fmla="*/ 44 h 51"/>
                <a:gd name="T30" fmla="*/ 4 w 51"/>
                <a:gd name="T31" fmla="*/ 40 h 51"/>
                <a:gd name="T32" fmla="*/ 1 w 51"/>
                <a:gd name="T33" fmla="*/ 35 h 51"/>
                <a:gd name="T34" fmla="*/ 0 w 51"/>
                <a:gd name="T35" fmla="*/ 30 h 51"/>
                <a:gd name="T36" fmla="*/ 0 w 51"/>
                <a:gd name="T37" fmla="*/ 25 h 51"/>
                <a:gd name="T38" fmla="*/ 0 w 51"/>
                <a:gd name="T39" fmla="*/ 25 h 51"/>
                <a:gd name="T40" fmla="*/ 0 w 51"/>
                <a:gd name="T41" fmla="*/ 20 h 51"/>
                <a:gd name="T42" fmla="*/ 1 w 51"/>
                <a:gd name="T43" fmla="*/ 16 h 51"/>
                <a:gd name="T44" fmla="*/ 4 w 51"/>
                <a:gd name="T45" fmla="*/ 11 h 51"/>
                <a:gd name="T46" fmla="*/ 7 w 51"/>
                <a:gd name="T47" fmla="*/ 7 h 51"/>
                <a:gd name="T48" fmla="*/ 11 w 51"/>
                <a:gd name="T49" fmla="*/ 3 h 51"/>
                <a:gd name="T50" fmla="*/ 16 w 51"/>
                <a:gd name="T51" fmla="*/ 1 h 51"/>
                <a:gd name="T52" fmla="*/ 21 w 51"/>
                <a:gd name="T53" fmla="*/ 0 h 51"/>
                <a:gd name="T54" fmla="*/ 26 w 51"/>
                <a:gd name="T55" fmla="*/ 0 h 51"/>
                <a:gd name="T56" fmla="*/ 26 w 51"/>
                <a:gd name="T57" fmla="*/ 0 h 51"/>
                <a:gd name="T58" fmla="*/ 31 w 51"/>
                <a:gd name="T59" fmla="*/ 0 h 51"/>
                <a:gd name="T60" fmla="*/ 35 w 51"/>
                <a:gd name="T61" fmla="*/ 1 h 51"/>
                <a:gd name="T62" fmla="*/ 40 w 51"/>
                <a:gd name="T63" fmla="*/ 3 h 51"/>
                <a:gd name="T64" fmla="*/ 44 w 51"/>
                <a:gd name="T65" fmla="*/ 7 h 51"/>
                <a:gd name="T66" fmla="*/ 48 w 51"/>
                <a:gd name="T67" fmla="*/ 11 h 51"/>
                <a:gd name="T68" fmla="*/ 50 w 51"/>
                <a:gd name="T69" fmla="*/ 16 h 51"/>
                <a:gd name="T70" fmla="*/ 51 w 51"/>
                <a:gd name="T71" fmla="*/ 20 h 51"/>
                <a:gd name="T72" fmla="*/ 51 w 51"/>
                <a:gd name="T73" fmla="*/ 25 h 51"/>
                <a:gd name="T74" fmla="*/ 51 w 51"/>
                <a:gd name="T75"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 h="51">
                  <a:moveTo>
                    <a:pt x="51" y="25"/>
                  </a:moveTo>
                  <a:lnTo>
                    <a:pt x="51" y="25"/>
                  </a:lnTo>
                  <a:lnTo>
                    <a:pt x="51" y="30"/>
                  </a:lnTo>
                  <a:lnTo>
                    <a:pt x="50" y="35"/>
                  </a:lnTo>
                  <a:lnTo>
                    <a:pt x="48" y="40"/>
                  </a:lnTo>
                  <a:lnTo>
                    <a:pt x="44" y="44"/>
                  </a:lnTo>
                  <a:lnTo>
                    <a:pt x="40" y="47"/>
                  </a:lnTo>
                  <a:lnTo>
                    <a:pt x="35" y="50"/>
                  </a:lnTo>
                  <a:lnTo>
                    <a:pt x="31" y="51"/>
                  </a:lnTo>
                  <a:lnTo>
                    <a:pt x="26" y="51"/>
                  </a:lnTo>
                  <a:lnTo>
                    <a:pt x="26" y="51"/>
                  </a:lnTo>
                  <a:lnTo>
                    <a:pt x="21" y="51"/>
                  </a:lnTo>
                  <a:lnTo>
                    <a:pt x="16" y="50"/>
                  </a:lnTo>
                  <a:lnTo>
                    <a:pt x="11" y="47"/>
                  </a:lnTo>
                  <a:lnTo>
                    <a:pt x="7" y="44"/>
                  </a:lnTo>
                  <a:lnTo>
                    <a:pt x="4" y="40"/>
                  </a:lnTo>
                  <a:lnTo>
                    <a:pt x="1" y="35"/>
                  </a:lnTo>
                  <a:lnTo>
                    <a:pt x="0" y="30"/>
                  </a:lnTo>
                  <a:lnTo>
                    <a:pt x="0" y="25"/>
                  </a:lnTo>
                  <a:lnTo>
                    <a:pt x="0" y="25"/>
                  </a:lnTo>
                  <a:lnTo>
                    <a:pt x="0" y="20"/>
                  </a:lnTo>
                  <a:lnTo>
                    <a:pt x="1" y="16"/>
                  </a:lnTo>
                  <a:lnTo>
                    <a:pt x="4" y="11"/>
                  </a:lnTo>
                  <a:lnTo>
                    <a:pt x="7" y="7"/>
                  </a:lnTo>
                  <a:lnTo>
                    <a:pt x="11" y="3"/>
                  </a:lnTo>
                  <a:lnTo>
                    <a:pt x="16" y="1"/>
                  </a:lnTo>
                  <a:lnTo>
                    <a:pt x="21" y="0"/>
                  </a:lnTo>
                  <a:lnTo>
                    <a:pt x="26" y="0"/>
                  </a:lnTo>
                  <a:lnTo>
                    <a:pt x="26" y="0"/>
                  </a:lnTo>
                  <a:lnTo>
                    <a:pt x="31" y="0"/>
                  </a:lnTo>
                  <a:lnTo>
                    <a:pt x="35" y="1"/>
                  </a:lnTo>
                  <a:lnTo>
                    <a:pt x="40" y="3"/>
                  </a:lnTo>
                  <a:lnTo>
                    <a:pt x="44" y="7"/>
                  </a:lnTo>
                  <a:lnTo>
                    <a:pt x="48" y="11"/>
                  </a:lnTo>
                  <a:lnTo>
                    <a:pt x="50" y="16"/>
                  </a:lnTo>
                  <a:lnTo>
                    <a:pt x="51" y="20"/>
                  </a:lnTo>
                  <a:lnTo>
                    <a:pt x="51" y="25"/>
                  </a:lnTo>
                  <a:lnTo>
                    <a:pt x="51" y="25"/>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8" name="Freeform 529"/>
            <p:cNvSpPr>
              <a:spLocks/>
            </p:cNvSpPr>
            <p:nvPr/>
          </p:nvSpPr>
          <p:spPr bwMode="auto">
            <a:xfrm>
              <a:off x="3630657" y="2287600"/>
              <a:ext cx="6350" cy="6350"/>
            </a:xfrm>
            <a:custGeom>
              <a:avLst/>
              <a:gdLst>
                <a:gd name="T0" fmla="*/ 20 w 20"/>
                <a:gd name="T1" fmla="*/ 9 h 20"/>
                <a:gd name="T2" fmla="*/ 20 w 20"/>
                <a:gd name="T3" fmla="*/ 9 h 20"/>
                <a:gd name="T4" fmla="*/ 20 w 20"/>
                <a:gd name="T5" fmla="*/ 14 h 20"/>
                <a:gd name="T6" fmla="*/ 17 w 20"/>
                <a:gd name="T7" fmla="*/ 17 h 20"/>
                <a:gd name="T8" fmla="*/ 14 w 20"/>
                <a:gd name="T9" fmla="*/ 19 h 20"/>
                <a:gd name="T10" fmla="*/ 10 w 20"/>
                <a:gd name="T11" fmla="*/ 20 h 20"/>
                <a:gd name="T12" fmla="*/ 10 w 20"/>
                <a:gd name="T13" fmla="*/ 20 h 20"/>
                <a:gd name="T14" fmla="*/ 6 w 20"/>
                <a:gd name="T15" fmla="*/ 19 h 20"/>
                <a:gd name="T16" fmla="*/ 3 w 20"/>
                <a:gd name="T17" fmla="*/ 17 h 20"/>
                <a:gd name="T18" fmla="*/ 0 w 20"/>
                <a:gd name="T19" fmla="*/ 14 h 20"/>
                <a:gd name="T20" fmla="*/ 0 w 20"/>
                <a:gd name="T21" fmla="*/ 9 h 20"/>
                <a:gd name="T22" fmla="*/ 0 w 20"/>
                <a:gd name="T23" fmla="*/ 9 h 20"/>
                <a:gd name="T24" fmla="*/ 0 w 20"/>
                <a:gd name="T25" fmla="*/ 6 h 20"/>
                <a:gd name="T26" fmla="*/ 3 w 20"/>
                <a:gd name="T27" fmla="*/ 2 h 20"/>
                <a:gd name="T28" fmla="*/ 6 w 20"/>
                <a:gd name="T29" fmla="*/ 1 h 20"/>
                <a:gd name="T30" fmla="*/ 10 w 20"/>
                <a:gd name="T31" fmla="*/ 0 h 20"/>
                <a:gd name="T32" fmla="*/ 10 w 20"/>
                <a:gd name="T33" fmla="*/ 0 h 20"/>
                <a:gd name="T34" fmla="*/ 14 w 20"/>
                <a:gd name="T35" fmla="*/ 1 h 20"/>
                <a:gd name="T36" fmla="*/ 17 w 20"/>
                <a:gd name="T37" fmla="*/ 2 h 20"/>
                <a:gd name="T38" fmla="*/ 20 w 20"/>
                <a:gd name="T39" fmla="*/ 6 h 20"/>
                <a:gd name="T40" fmla="*/ 20 w 20"/>
                <a:gd name="T41" fmla="*/ 9 h 20"/>
                <a:gd name="T42" fmla="*/ 20 w 20"/>
                <a:gd name="T43" fmla="*/ 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20">
                  <a:moveTo>
                    <a:pt x="20" y="9"/>
                  </a:moveTo>
                  <a:lnTo>
                    <a:pt x="20" y="9"/>
                  </a:lnTo>
                  <a:lnTo>
                    <a:pt x="20" y="14"/>
                  </a:lnTo>
                  <a:lnTo>
                    <a:pt x="17" y="17"/>
                  </a:lnTo>
                  <a:lnTo>
                    <a:pt x="14" y="19"/>
                  </a:lnTo>
                  <a:lnTo>
                    <a:pt x="10" y="20"/>
                  </a:lnTo>
                  <a:lnTo>
                    <a:pt x="10" y="20"/>
                  </a:lnTo>
                  <a:lnTo>
                    <a:pt x="6" y="19"/>
                  </a:lnTo>
                  <a:lnTo>
                    <a:pt x="3" y="17"/>
                  </a:lnTo>
                  <a:lnTo>
                    <a:pt x="0" y="14"/>
                  </a:lnTo>
                  <a:lnTo>
                    <a:pt x="0" y="9"/>
                  </a:lnTo>
                  <a:lnTo>
                    <a:pt x="0" y="9"/>
                  </a:lnTo>
                  <a:lnTo>
                    <a:pt x="0" y="6"/>
                  </a:lnTo>
                  <a:lnTo>
                    <a:pt x="3" y="2"/>
                  </a:lnTo>
                  <a:lnTo>
                    <a:pt x="6" y="1"/>
                  </a:lnTo>
                  <a:lnTo>
                    <a:pt x="10" y="0"/>
                  </a:lnTo>
                  <a:lnTo>
                    <a:pt x="10" y="0"/>
                  </a:lnTo>
                  <a:lnTo>
                    <a:pt x="14" y="1"/>
                  </a:lnTo>
                  <a:lnTo>
                    <a:pt x="17" y="2"/>
                  </a:lnTo>
                  <a:lnTo>
                    <a:pt x="20" y="6"/>
                  </a:lnTo>
                  <a:lnTo>
                    <a:pt x="20" y="9"/>
                  </a:lnTo>
                  <a:lnTo>
                    <a:pt x="2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19" name="Freeform 530"/>
            <p:cNvSpPr>
              <a:spLocks/>
            </p:cNvSpPr>
            <p:nvPr/>
          </p:nvSpPr>
          <p:spPr bwMode="auto">
            <a:xfrm>
              <a:off x="3629070" y="2381263"/>
              <a:ext cx="7938" cy="9525"/>
            </a:xfrm>
            <a:custGeom>
              <a:avLst/>
              <a:gdLst>
                <a:gd name="T0" fmla="*/ 27 w 27"/>
                <a:gd name="T1" fmla="*/ 13 h 28"/>
                <a:gd name="T2" fmla="*/ 27 w 27"/>
                <a:gd name="T3" fmla="*/ 13 h 28"/>
                <a:gd name="T4" fmla="*/ 25 w 27"/>
                <a:gd name="T5" fmla="*/ 19 h 28"/>
                <a:gd name="T6" fmla="*/ 23 w 27"/>
                <a:gd name="T7" fmla="*/ 23 h 28"/>
                <a:gd name="T8" fmla="*/ 18 w 27"/>
                <a:gd name="T9" fmla="*/ 27 h 28"/>
                <a:gd name="T10" fmla="*/ 13 w 27"/>
                <a:gd name="T11" fmla="*/ 28 h 28"/>
                <a:gd name="T12" fmla="*/ 13 w 27"/>
                <a:gd name="T13" fmla="*/ 28 h 28"/>
                <a:gd name="T14" fmla="*/ 8 w 27"/>
                <a:gd name="T15" fmla="*/ 27 h 28"/>
                <a:gd name="T16" fmla="*/ 3 w 27"/>
                <a:gd name="T17" fmla="*/ 23 h 28"/>
                <a:gd name="T18" fmla="*/ 1 w 27"/>
                <a:gd name="T19" fmla="*/ 19 h 28"/>
                <a:gd name="T20" fmla="*/ 0 w 27"/>
                <a:gd name="T21" fmla="*/ 13 h 28"/>
                <a:gd name="T22" fmla="*/ 0 w 27"/>
                <a:gd name="T23" fmla="*/ 13 h 28"/>
                <a:gd name="T24" fmla="*/ 1 w 27"/>
                <a:gd name="T25" fmla="*/ 8 h 28"/>
                <a:gd name="T26" fmla="*/ 3 w 27"/>
                <a:gd name="T27" fmla="*/ 3 h 28"/>
                <a:gd name="T28" fmla="*/ 8 w 27"/>
                <a:gd name="T29" fmla="*/ 1 h 28"/>
                <a:gd name="T30" fmla="*/ 13 w 27"/>
                <a:gd name="T31" fmla="*/ 0 h 28"/>
                <a:gd name="T32" fmla="*/ 13 w 27"/>
                <a:gd name="T33" fmla="*/ 0 h 28"/>
                <a:gd name="T34" fmla="*/ 18 w 27"/>
                <a:gd name="T35" fmla="*/ 1 h 28"/>
                <a:gd name="T36" fmla="*/ 23 w 27"/>
                <a:gd name="T37" fmla="*/ 3 h 28"/>
                <a:gd name="T38" fmla="*/ 25 w 27"/>
                <a:gd name="T39" fmla="*/ 8 h 28"/>
                <a:gd name="T40" fmla="*/ 27 w 27"/>
                <a:gd name="T41" fmla="*/ 13 h 28"/>
                <a:gd name="T42" fmla="*/ 27 w 27"/>
                <a:gd name="T43" fmla="*/ 1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 h="28">
                  <a:moveTo>
                    <a:pt x="27" y="13"/>
                  </a:moveTo>
                  <a:lnTo>
                    <a:pt x="27" y="13"/>
                  </a:lnTo>
                  <a:lnTo>
                    <a:pt x="25" y="19"/>
                  </a:lnTo>
                  <a:lnTo>
                    <a:pt x="23" y="23"/>
                  </a:lnTo>
                  <a:lnTo>
                    <a:pt x="18" y="27"/>
                  </a:lnTo>
                  <a:lnTo>
                    <a:pt x="13" y="28"/>
                  </a:lnTo>
                  <a:lnTo>
                    <a:pt x="13" y="28"/>
                  </a:lnTo>
                  <a:lnTo>
                    <a:pt x="8" y="27"/>
                  </a:lnTo>
                  <a:lnTo>
                    <a:pt x="3" y="23"/>
                  </a:lnTo>
                  <a:lnTo>
                    <a:pt x="1" y="19"/>
                  </a:lnTo>
                  <a:lnTo>
                    <a:pt x="0" y="13"/>
                  </a:lnTo>
                  <a:lnTo>
                    <a:pt x="0" y="13"/>
                  </a:lnTo>
                  <a:lnTo>
                    <a:pt x="1" y="8"/>
                  </a:lnTo>
                  <a:lnTo>
                    <a:pt x="3" y="3"/>
                  </a:lnTo>
                  <a:lnTo>
                    <a:pt x="8" y="1"/>
                  </a:lnTo>
                  <a:lnTo>
                    <a:pt x="13" y="0"/>
                  </a:lnTo>
                  <a:lnTo>
                    <a:pt x="13" y="0"/>
                  </a:lnTo>
                  <a:lnTo>
                    <a:pt x="18" y="1"/>
                  </a:lnTo>
                  <a:lnTo>
                    <a:pt x="23" y="3"/>
                  </a:lnTo>
                  <a:lnTo>
                    <a:pt x="25" y="8"/>
                  </a:lnTo>
                  <a:lnTo>
                    <a:pt x="27" y="13"/>
                  </a:lnTo>
                  <a:lnTo>
                    <a:pt x="27"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20" name="Freeform 531"/>
            <p:cNvSpPr>
              <a:spLocks/>
            </p:cNvSpPr>
            <p:nvPr/>
          </p:nvSpPr>
          <p:spPr bwMode="auto">
            <a:xfrm>
              <a:off x="3624307" y="2424126"/>
              <a:ext cx="14288" cy="15875"/>
            </a:xfrm>
            <a:custGeom>
              <a:avLst/>
              <a:gdLst>
                <a:gd name="T0" fmla="*/ 47 w 47"/>
                <a:gd name="T1" fmla="*/ 23 h 47"/>
                <a:gd name="T2" fmla="*/ 47 w 47"/>
                <a:gd name="T3" fmla="*/ 23 h 47"/>
                <a:gd name="T4" fmla="*/ 46 w 47"/>
                <a:gd name="T5" fmla="*/ 28 h 47"/>
                <a:gd name="T6" fmla="*/ 45 w 47"/>
                <a:gd name="T7" fmla="*/ 33 h 47"/>
                <a:gd name="T8" fmla="*/ 43 w 47"/>
                <a:gd name="T9" fmla="*/ 37 h 47"/>
                <a:gd name="T10" fmla="*/ 40 w 47"/>
                <a:gd name="T11" fmla="*/ 40 h 47"/>
                <a:gd name="T12" fmla="*/ 37 w 47"/>
                <a:gd name="T13" fmla="*/ 43 h 47"/>
                <a:gd name="T14" fmla="*/ 33 w 47"/>
                <a:gd name="T15" fmla="*/ 45 h 47"/>
                <a:gd name="T16" fmla="*/ 28 w 47"/>
                <a:gd name="T17" fmla="*/ 47 h 47"/>
                <a:gd name="T18" fmla="*/ 23 w 47"/>
                <a:gd name="T19" fmla="*/ 47 h 47"/>
                <a:gd name="T20" fmla="*/ 23 w 47"/>
                <a:gd name="T21" fmla="*/ 47 h 47"/>
                <a:gd name="T22" fmla="*/ 19 w 47"/>
                <a:gd name="T23" fmla="*/ 47 h 47"/>
                <a:gd name="T24" fmla="*/ 15 w 47"/>
                <a:gd name="T25" fmla="*/ 45 h 47"/>
                <a:gd name="T26" fmla="*/ 11 w 47"/>
                <a:gd name="T27" fmla="*/ 43 h 47"/>
                <a:gd name="T28" fmla="*/ 7 w 47"/>
                <a:gd name="T29" fmla="*/ 40 h 47"/>
                <a:gd name="T30" fmla="*/ 4 w 47"/>
                <a:gd name="T31" fmla="*/ 37 h 47"/>
                <a:gd name="T32" fmla="*/ 2 w 47"/>
                <a:gd name="T33" fmla="*/ 33 h 47"/>
                <a:gd name="T34" fmla="*/ 1 w 47"/>
                <a:gd name="T35" fmla="*/ 28 h 47"/>
                <a:gd name="T36" fmla="*/ 0 w 47"/>
                <a:gd name="T37" fmla="*/ 23 h 47"/>
                <a:gd name="T38" fmla="*/ 0 w 47"/>
                <a:gd name="T39" fmla="*/ 23 h 47"/>
                <a:gd name="T40" fmla="*/ 1 w 47"/>
                <a:gd name="T41" fmla="*/ 19 h 47"/>
                <a:gd name="T42" fmla="*/ 2 w 47"/>
                <a:gd name="T43" fmla="*/ 15 h 47"/>
                <a:gd name="T44" fmla="*/ 4 w 47"/>
                <a:gd name="T45" fmla="*/ 10 h 47"/>
                <a:gd name="T46" fmla="*/ 7 w 47"/>
                <a:gd name="T47" fmla="*/ 8 h 47"/>
                <a:gd name="T48" fmla="*/ 11 w 47"/>
                <a:gd name="T49" fmla="*/ 4 h 47"/>
                <a:gd name="T50" fmla="*/ 15 w 47"/>
                <a:gd name="T51" fmla="*/ 1 h 47"/>
                <a:gd name="T52" fmla="*/ 19 w 47"/>
                <a:gd name="T53" fmla="*/ 0 h 47"/>
                <a:gd name="T54" fmla="*/ 23 w 47"/>
                <a:gd name="T55" fmla="*/ 0 h 47"/>
                <a:gd name="T56" fmla="*/ 23 w 47"/>
                <a:gd name="T57" fmla="*/ 0 h 47"/>
                <a:gd name="T58" fmla="*/ 28 w 47"/>
                <a:gd name="T59" fmla="*/ 0 h 47"/>
                <a:gd name="T60" fmla="*/ 33 w 47"/>
                <a:gd name="T61" fmla="*/ 1 h 47"/>
                <a:gd name="T62" fmla="*/ 37 w 47"/>
                <a:gd name="T63" fmla="*/ 4 h 47"/>
                <a:gd name="T64" fmla="*/ 40 w 47"/>
                <a:gd name="T65" fmla="*/ 8 h 47"/>
                <a:gd name="T66" fmla="*/ 43 w 47"/>
                <a:gd name="T67" fmla="*/ 10 h 47"/>
                <a:gd name="T68" fmla="*/ 45 w 47"/>
                <a:gd name="T69" fmla="*/ 15 h 47"/>
                <a:gd name="T70" fmla="*/ 46 w 47"/>
                <a:gd name="T71" fmla="*/ 19 h 47"/>
                <a:gd name="T72" fmla="*/ 47 w 47"/>
                <a:gd name="T73" fmla="*/ 23 h 47"/>
                <a:gd name="T74" fmla="*/ 47 w 47"/>
                <a:gd name="T7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 h="47">
                  <a:moveTo>
                    <a:pt x="47" y="23"/>
                  </a:moveTo>
                  <a:lnTo>
                    <a:pt x="47" y="23"/>
                  </a:lnTo>
                  <a:lnTo>
                    <a:pt x="46" y="28"/>
                  </a:lnTo>
                  <a:lnTo>
                    <a:pt x="45" y="33"/>
                  </a:lnTo>
                  <a:lnTo>
                    <a:pt x="43" y="37"/>
                  </a:lnTo>
                  <a:lnTo>
                    <a:pt x="40" y="40"/>
                  </a:lnTo>
                  <a:lnTo>
                    <a:pt x="37" y="43"/>
                  </a:lnTo>
                  <a:lnTo>
                    <a:pt x="33" y="45"/>
                  </a:lnTo>
                  <a:lnTo>
                    <a:pt x="28" y="47"/>
                  </a:lnTo>
                  <a:lnTo>
                    <a:pt x="23" y="47"/>
                  </a:lnTo>
                  <a:lnTo>
                    <a:pt x="23" y="47"/>
                  </a:lnTo>
                  <a:lnTo>
                    <a:pt x="19" y="47"/>
                  </a:lnTo>
                  <a:lnTo>
                    <a:pt x="15" y="45"/>
                  </a:lnTo>
                  <a:lnTo>
                    <a:pt x="11" y="43"/>
                  </a:lnTo>
                  <a:lnTo>
                    <a:pt x="7" y="40"/>
                  </a:lnTo>
                  <a:lnTo>
                    <a:pt x="4" y="37"/>
                  </a:lnTo>
                  <a:lnTo>
                    <a:pt x="2" y="33"/>
                  </a:lnTo>
                  <a:lnTo>
                    <a:pt x="1" y="28"/>
                  </a:lnTo>
                  <a:lnTo>
                    <a:pt x="0" y="23"/>
                  </a:lnTo>
                  <a:lnTo>
                    <a:pt x="0" y="23"/>
                  </a:lnTo>
                  <a:lnTo>
                    <a:pt x="1" y="19"/>
                  </a:lnTo>
                  <a:lnTo>
                    <a:pt x="2" y="15"/>
                  </a:lnTo>
                  <a:lnTo>
                    <a:pt x="4" y="10"/>
                  </a:lnTo>
                  <a:lnTo>
                    <a:pt x="7" y="8"/>
                  </a:lnTo>
                  <a:lnTo>
                    <a:pt x="11" y="4"/>
                  </a:lnTo>
                  <a:lnTo>
                    <a:pt x="15" y="1"/>
                  </a:lnTo>
                  <a:lnTo>
                    <a:pt x="19" y="0"/>
                  </a:lnTo>
                  <a:lnTo>
                    <a:pt x="23" y="0"/>
                  </a:lnTo>
                  <a:lnTo>
                    <a:pt x="23" y="0"/>
                  </a:lnTo>
                  <a:lnTo>
                    <a:pt x="28" y="0"/>
                  </a:lnTo>
                  <a:lnTo>
                    <a:pt x="33" y="1"/>
                  </a:lnTo>
                  <a:lnTo>
                    <a:pt x="37" y="4"/>
                  </a:lnTo>
                  <a:lnTo>
                    <a:pt x="40" y="8"/>
                  </a:lnTo>
                  <a:lnTo>
                    <a:pt x="43" y="10"/>
                  </a:lnTo>
                  <a:lnTo>
                    <a:pt x="45" y="15"/>
                  </a:lnTo>
                  <a:lnTo>
                    <a:pt x="46" y="19"/>
                  </a:lnTo>
                  <a:lnTo>
                    <a:pt x="47" y="23"/>
                  </a:lnTo>
                  <a:lnTo>
                    <a:pt x="47"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721" name="그룹 720"/>
          <p:cNvGrpSpPr/>
          <p:nvPr userDrawn="1"/>
        </p:nvGrpSpPr>
        <p:grpSpPr>
          <a:xfrm rot="1800000">
            <a:off x="2596977" y="1964155"/>
            <a:ext cx="160139" cy="320235"/>
            <a:chOff x="3190875" y="1249363"/>
            <a:chExt cx="785813" cy="1473200"/>
          </a:xfrm>
        </p:grpSpPr>
        <p:sp>
          <p:nvSpPr>
            <p:cNvPr id="722" name="Freeform 306"/>
            <p:cNvSpPr>
              <a:spLocks/>
            </p:cNvSpPr>
            <p:nvPr/>
          </p:nvSpPr>
          <p:spPr bwMode="auto">
            <a:xfrm>
              <a:off x="3190875" y="1592263"/>
              <a:ext cx="785813" cy="787400"/>
            </a:xfrm>
            <a:custGeom>
              <a:avLst/>
              <a:gdLst>
                <a:gd name="T0" fmla="*/ 3387 w 3470"/>
                <a:gd name="T1" fmla="*/ 1212 h 3470"/>
                <a:gd name="T2" fmla="*/ 3286 w 3470"/>
                <a:gd name="T3" fmla="*/ 960 h 3470"/>
                <a:gd name="T4" fmla="*/ 3146 w 3470"/>
                <a:gd name="T5" fmla="*/ 729 h 3470"/>
                <a:gd name="T6" fmla="*/ 3012 w 3470"/>
                <a:gd name="T7" fmla="*/ 563 h 3470"/>
                <a:gd name="T8" fmla="*/ 2955 w 3470"/>
                <a:gd name="T9" fmla="*/ 505 h 3470"/>
                <a:gd name="T10" fmla="*/ 2920 w 3470"/>
                <a:gd name="T11" fmla="*/ 470 h 3470"/>
                <a:gd name="T12" fmla="*/ 2747 w 3470"/>
                <a:gd name="T13" fmla="*/ 328 h 3470"/>
                <a:gd name="T14" fmla="*/ 2619 w 3470"/>
                <a:gd name="T15" fmla="*/ 244 h 3470"/>
                <a:gd name="T16" fmla="*/ 2516 w 3470"/>
                <a:gd name="T17" fmla="*/ 186 h 3470"/>
                <a:gd name="T18" fmla="*/ 2351 w 3470"/>
                <a:gd name="T19" fmla="*/ 114 h 3470"/>
                <a:gd name="T20" fmla="*/ 2177 w 3470"/>
                <a:gd name="T21" fmla="*/ 59 h 3470"/>
                <a:gd name="T22" fmla="*/ 2040 w 3470"/>
                <a:gd name="T23" fmla="*/ 28 h 3470"/>
                <a:gd name="T24" fmla="*/ 1851 w 3470"/>
                <a:gd name="T25" fmla="*/ 3 h 3470"/>
                <a:gd name="T26" fmla="*/ 1690 w 3470"/>
                <a:gd name="T27" fmla="*/ 0 h 3470"/>
                <a:gd name="T28" fmla="*/ 1470 w 3470"/>
                <a:gd name="T29" fmla="*/ 20 h 3470"/>
                <a:gd name="T30" fmla="*/ 1260 w 3470"/>
                <a:gd name="T31" fmla="*/ 66 h 3470"/>
                <a:gd name="T32" fmla="*/ 1059 w 3470"/>
                <a:gd name="T33" fmla="*/ 136 h 3470"/>
                <a:gd name="T34" fmla="*/ 872 w 3470"/>
                <a:gd name="T35" fmla="*/ 229 h 3470"/>
                <a:gd name="T36" fmla="*/ 697 w 3470"/>
                <a:gd name="T37" fmla="*/ 344 h 3470"/>
                <a:gd name="T38" fmla="*/ 538 w 3470"/>
                <a:gd name="T39" fmla="*/ 479 h 3470"/>
                <a:gd name="T40" fmla="*/ 396 w 3470"/>
                <a:gd name="T41" fmla="*/ 631 h 3470"/>
                <a:gd name="T42" fmla="*/ 273 w 3470"/>
                <a:gd name="T43" fmla="*/ 799 h 3470"/>
                <a:gd name="T44" fmla="*/ 170 w 3470"/>
                <a:gd name="T45" fmla="*/ 982 h 3470"/>
                <a:gd name="T46" fmla="*/ 91 w 3470"/>
                <a:gd name="T47" fmla="*/ 1178 h 3470"/>
                <a:gd name="T48" fmla="*/ 35 w 3470"/>
                <a:gd name="T49" fmla="*/ 1385 h 3470"/>
                <a:gd name="T50" fmla="*/ 5 w 3470"/>
                <a:gd name="T51" fmla="*/ 1601 h 3470"/>
                <a:gd name="T52" fmla="*/ 0 w 3470"/>
                <a:gd name="T53" fmla="*/ 1779 h 3470"/>
                <a:gd name="T54" fmla="*/ 20 w 3470"/>
                <a:gd name="T55" fmla="*/ 1997 h 3470"/>
                <a:gd name="T56" fmla="*/ 65 w 3470"/>
                <a:gd name="T57" fmla="*/ 2208 h 3470"/>
                <a:gd name="T58" fmla="*/ 135 w 3470"/>
                <a:gd name="T59" fmla="*/ 2407 h 3470"/>
                <a:gd name="T60" fmla="*/ 228 w 3470"/>
                <a:gd name="T61" fmla="*/ 2595 h 3470"/>
                <a:gd name="T62" fmla="*/ 342 w 3470"/>
                <a:gd name="T63" fmla="*/ 2769 h 3470"/>
                <a:gd name="T64" fmla="*/ 476 w 3470"/>
                <a:gd name="T65" fmla="*/ 2928 h 3470"/>
                <a:gd name="T66" fmla="*/ 595 w 3470"/>
                <a:gd name="T67" fmla="*/ 3043 h 3470"/>
                <a:gd name="T68" fmla="*/ 761 w 3470"/>
                <a:gd name="T69" fmla="*/ 3171 h 3470"/>
                <a:gd name="T70" fmla="*/ 942 w 3470"/>
                <a:gd name="T71" fmla="*/ 3278 h 3470"/>
                <a:gd name="T72" fmla="*/ 1136 w 3470"/>
                <a:gd name="T73" fmla="*/ 3364 h 3470"/>
                <a:gd name="T74" fmla="*/ 1341 w 3470"/>
                <a:gd name="T75" fmla="*/ 3425 h 3470"/>
                <a:gd name="T76" fmla="*/ 1557 w 3470"/>
                <a:gd name="T77" fmla="*/ 3461 h 3470"/>
                <a:gd name="T78" fmla="*/ 1735 w 3470"/>
                <a:gd name="T79" fmla="*/ 3470 h 3470"/>
                <a:gd name="T80" fmla="*/ 1956 w 3470"/>
                <a:gd name="T81" fmla="*/ 3456 h 3470"/>
                <a:gd name="T82" fmla="*/ 2168 w 3470"/>
                <a:gd name="T83" fmla="*/ 3415 h 3470"/>
                <a:gd name="T84" fmla="*/ 2371 w 3470"/>
                <a:gd name="T85" fmla="*/ 3349 h 3470"/>
                <a:gd name="T86" fmla="*/ 2562 w 3470"/>
                <a:gd name="T87" fmla="*/ 3261 h 3470"/>
                <a:gd name="T88" fmla="*/ 2739 w 3470"/>
                <a:gd name="T89" fmla="*/ 3150 h 3470"/>
                <a:gd name="T90" fmla="*/ 2901 w 3470"/>
                <a:gd name="T91" fmla="*/ 3019 h 3470"/>
                <a:gd name="T92" fmla="*/ 3046 w 3470"/>
                <a:gd name="T93" fmla="*/ 2870 h 3470"/>
                <a:gd name="T94" fmla="*/ 3173 w 3470"/>
                <a:gd name="T95" fmla="*/ 2704 h 3470"/>
                <a:gd name="T96" fmla="*/ 3280 w 3470"/>
                <a:gd name="T97" fmla="*/ 2525 h 3470"/>
                <a:gd name="T98" fmla="*/ 3364 w 3470"/>
                <a:gd name="T99" fmla="*/ 2331 h 3470"/>
                <a:gd name="T100" fmla="*/ 3425 w 3470"/>
                <a:gd name="T101" fmla="*/ 2126 h 3470"/>
                <a:gd name="T102" fmla="*/ 3461 w 3470"/>
                <a:gd name="T103" fmla="*/ 1912 h 3470"/>
                <a:gd name="T104" fmla="*/ 3470 w 3470"/>
                <a:gd name="T105" fmla="*/ 1735 h 3470"/>
                <a:gd name="T106" fmla="*/ 3448 w 3470"/>
                <a:gd name="T107" fmla="*/ 1471 h 3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70" h="3470">
                  <a:moveTo>
                    <a:pt x="3417" y="1318"/>
                  </a:moveTo>
                  <a:lnTo>
                    <a:pt x="3417" y="1318"/>
                  </a:lnTo>
                  <a:lnTo>
                    <a:pt x="3417" y="1318"/>
                  </a:lnTo>
                  <a:lnTo>
                    <a:pt x="3403" y="1265"/>
                  </a:lnTo>
                  <a:lnTo>
                    <a:pt x="3387" y="1212"/>
                  </a:lnTo>
                  <a:lnTo>
                    <a:pt x="3370" y="1160"/>
                  </a:lnTo>
                  <a:lnTo>
                    <a:pt x="3351" y="1109"/>
                  </a:lnTo>
                  <a:lnTo>
                    <a:pt x="3331" y="1058"/>
                  </a:lnTo>
                  <a:lnTo>
                    <a:pt x="3309" y="1009"/>
                  </a:lnTo>
                  <a:lnTo>
                    <a:pt x="3286" y="960"/>
                  </a:lnTo>
                  <a:lnTo>
                    <a:pt x="3260" y="912"/>
                  </a:lnTo>
                  <a:lnTo>
                    <a:pt x="3234" y="865"/>
                  </a:lnTo>
                  <a:lnTo>
                    <a:pt x="3206" y="819"/>
                  </a:lnTo>
                  <a:lnTo>
                    <a:pt x="3178" y="774"/>
                  </a:lnTo>
                  <a:lnTo>
                    <a:pt x="3146" y="729"/>
                  </a:lnTo>
                  <a:lnTo>
                    <a:pt x="3114" y="686"/>
                  </a:lnTo>
                  <a:lnTo>
                    <a:pt x="3082" y="644"/>
                  </a:lnTo>
                  <a:lnTo>
                    <a:pt x="3047" y="603"/>
                  </a:lnTo>
                  <a:lnTo>
                    <a:pt x="3012" y="563"/>
                  </a:lnTo>
                  <a:lnTo>
                    <a:pt x="3012" y="563"/>
                  </a:lnTo>
                  <a:lnTo>
                    <a:pt x="3005" y="556"/>
                  </a:lnTo>
                  <a:lnTo>
                    <a:pt x="3005" y="556"/>
                  </a:lnTo>
                  <a:lnTo>
                    <a:pt x="2981" y="531"/>
                  </a:lnTo>
                  <a:lnTo>
                    <a:pt x="2955" y="505"/>
                  </a:lnTo>
                  <a:lnTo>
                    <a:pt x="2955" y="505"/>
                  </a:lnTo>
                  <a:lnTo>
                    <a:pt x="2939" y="488"/>
                  </a:lnTo>
                  <a:lnTo>
                    <a:pt x="2922" y="471"/>
                  </a:lnTo>
                  <a:lnTo>
                    <a:pt x="2922" y="471"/>
                  </a:lnTo>
                  <a:lnTo>
                    <a:pt x="2920" y="470"/>
                  </a:lnTo>
                  <a:lnTo>
                    <a:pt x="2920" y="470"/>
                  </a:lnTo>
                  <a:lnTo>
                    <a:pt x="2886" y="439"/>
                  </a:lnTo>
                  <a:lnTo>
                    <a:pt x="2853" y="410"/>
                  </a:lnTo>
                  <a:lnTo>
                    <a:pt x="2818" y="382"/>
                  </a:lnTo>
                  <a:lnTo>
                    <a:pt x="2783" y="355"/>
                  </a:lnTo>
                  <a:lnTo>
                    <a:pt x="2747" y="328"/>
                  </a:lnTo>
                  <a:lnTo>
                    <a:pt x="2710" y="302"/>
                  </a:lnTo>
                  <a:lnTo>
                    <a:pt x="2673" y="277"/>
                  </a:lnTo>
                  <a:lnTo>
                    <a:pt x="2635" y="253"/>
                  </a:lnTo>
                  <a:lnTo>
                    <a:pt x="2635" y="253"/>
                  </a:lnTo>
                  <a:lnTo>
                    <a:pt x="2619" y="244"/>
                  </a:lnTo>
                  <a:lnTo>
                    <a:pt x="2619" y="244"/>
                  </a:lnTo>
                  <a:lnTo>
                    <a:pt x="2569" y="215"/>
                  </a:lnTo>
                  <a:lnTo>
                    <a:pt x="2518" y="188"/>
                  </a:lnTo>
                  <a:lnTo>
                    <a:pt x="2518" y="188"/>
                  </a:lnTo>
                  <a:lnTo>
                    <a:pt x="2516" y="186"/>
                  </a:lnTo>
                  <a:lnTo>
                    <a:pt x="2516" y="186"/>
                  </a:lnTo>
                  <a:lnTo>
                    <a:pt x="2475" y="167"/>
                  </a:lnTo>
                  <a:lnTo>
                    <a:pt x="2434" y="148"/>
                  </a:lnTo>
                  <a:lnTo>
                    <a:pt x="2392" y="130"/>
                  </a:lnTo>
                  <a:lnTo>
                    <a:pt x="2351" y="114"/>
                  </a:lnTo>
                  <a:lnTo>
                    <a:pt x="2308" y="99"/>
                  </a:lnTo>
                  <a:lnTo>
                    <a:pt x="2265" y="84"/>
                  </a:lnTo>
                  <a:lnTo>
                    <a:pt x="2221" y="71"/>
                  </a:lnTo>
                  <a:lnTo>
                    <a:pt x="2177" y="59"/>
                  </a:lnTo>
                  <a:lnTo>
                    <a:pt x="2177" y="59"/>
                  </a:lnTo>
                  <a:lnTo>
                    <a:pt x="2154" y="53"/>
                  </a:lnTo>
                  <a:lnTo>
                    <a:pt x="2154" y="53"/>
                  </a:lnTo>
                  <a:lnTo>
                    <a:pt x="2098" y="39"/>
                  </a:lnTo>
                  <a:lnTo>
                    <a:pt x="2040" y="28"/>
                  </a:lnTo>
                  <a:lnTo>
                    <a:pt x="2040" y="28"/>
                  </a:lnTo>
                  <a:lnTo>
                    <a:pt x="2002" y="22"/>
                  </a:lnTo>
                  <a:lnTo>
                    <a:pt x="1965" y="16"/>
                  </a:lnTo>
                  <a:lnTo>
                    <a:pt x="1927" y="11"/>
                  </a:lnTo>
                  <a:lnTo>
                    <a:pt x="1889" y="7"/>
                  </a:lnTo>
                  <a:lnTo>
                    <a:pt x="1851" y="3"/>
                  </a:lnTo>
                  <a:lnTo>
                    <a:pt x="1812" y="1"/>
                  </a:lnTo>
                  <a:lnTo>
                    <a:pt x="1774" y="0"/>
                  </a:lnTo>
                  <a:lnTo>
                    <a:pt x="1735" y="0"/>
                  </a:lnTo>
                  <a:lnTo>
                    <a:pt x="1735" y="0"/>
                  </a:lnTo>
                  <a:lnTo>
                    <a:pt x="1690" y="0"/>
                  </a:lnTo>
                  <a:lnTo>
                    <a:pt x="1645" y="2"/>
                  </a:lnTo>
                  <a:lnTo>
                    <a:pt x="1601" y="5"/>
                  </a:lnTo>
                  <a:lnTo>
                    <a:pt x="1558" y="8"/>
                  </a:lnTo>
                  <a:lnTo>
                    <a:pt x="1514" y="14"/>
                  </a:lnTo>
                  <a:lnTo>
                    <a:pt x="1470" y="20"/>
                  </a:lnTo>
                  <a:lnTo>
                    <a:pt x="1428" y="26"/>
                  </a:lnTo>
                  <a:lnTo>
                    <a:pt x="1385" y="34"/>
                  </a:lnTo>
                  <a:lnTo>
                    <a:pt x="1342" y="44"/>
                  </a:lnTo>
                  <a:lnTo>
                    <a:pt x="1301" y="54"/>
                  </a:lnTo>
                  <a:lnTo>
                    <a:pt x="1260" y="66"/>
                  </a:lnTo>
                  <a:lnTo>
                    <a:pt x="1219" y="77"/>
                  </a:lnTo>
                  <a:lnTo>
                    <a:pt x="1178" y="91"/>
                  </a:lnTo>
                  <a:lnTo>
                    <a:pt x="1139" y="105"/>
                  </a:lnTo>
                  <a:lnTo>
                    <a:pt x="1098" y="120"/>
                  </a:lnTo>
                  <a:lnTo>
                    <a:pt x="1059" y="136"/>
                  </a:lnTo>
                  <a:lnTo>
                    <a:pt x="1021" y="153"/>
                  </a:lnTo>
                  <a:lnTo>
                    <a:pt x="982" y="170"/>
                  </a:lnTo>
                  <a:lnTo>
                    <a:pt x="945" y="190"/>
                  </a:lnTo>
                  <a:lnTo>
                    <a:pt x="907" y="209"/>
                  </a:lnTo>
                  <a:lnTo>
                    <a:pt x="872" y="229"/>
                  </a:lnTo>
                  <a:lnTo>
                    <a:pt x="835" y="251"/>
                  </a:lnTo>
                  <a:lnTo>
                    <a:pt x="800" y="273"/>
                  </a:lnTo>
                  <a:lnTo>
                    <a:pt x="765" y="296"/>
                  </a:lnTo>
                  <a:lnTo>
                    <a:pt x="730" y="320"/>
                  </a:lnTo>
                  <a:lnTo>
                    <a:pt x="697" y="344"/>
                  </a:lnTo>
                  <a:lnTo>
                    <a:pt x="663" y="370"/>
                  </a:lnTo>
                  <a:lnTo>
                    <a:pt x="631" y="396"/>
                  </a:lnTo>
                  <a:lnTo>
                    <a:pt x="600" y="422"/>
                  </a:lnTo>
                  <a:lnTo>
                    <a:pt x="568" y="450"/>
                  </a:lnTo>
                  <a:lnTo>
                    <a:pt x="538" y="479"/>
                  </a:lnTo>
                  <a:lnTo>
                    <a:pt x="508" y="508"/>
                  </a:lnTo>
                  <a:lnTo>
                    <a:pt x="479" y="538"/>
                  </a:lnTo>
                  <a:lnTo>
                    <a:pt x="450" y="568"/>
                  </a:lnTo>
                  <a:lnTo>
                    <a:pt x="423" y="599"/>
                  </a:lnTo>
                  <a:lnTo>
                    <a:pt x="396" y="631"/>
                  </a:lnTo>
                  <a:lnTo>
                    <a:pt x="370" y="663"/>
                  </a:lnTo>
                  <a:lnTo>
                    <a:pt x="344" y="696"/>
                  </a:lnTo>
                  <a:lnTo>
                    <a:pt x="320" y="730"/>
                  </a:lnTo>
                  <a:lnTo>
                    <a:pt x="296" y="764"/>
                  </a:lnTo>
                  <a:lnTo>
                    <a:pt x="273" y="799"/>
                  </a:lnTo>
                  <a:lnTo>
                    <a:pt x="251" y="835"/>
                  </a:lnTo>
                  <a:lnTo>
                    <a:pt x="229" y="872"/>
                  </a:lnTo>
                  <a:lnTo>
                    <a:pt x="210" y="907"/>
                  </a:lnTo>
                  <a:lnTo>
                    <a:pt x="190" y="945"/>
                  </a:lnTo>
                  <a:lnTo>
                    <a:pt x="170" y="982"/>
                  </a:lnTo>
                  <a:lnTo>
                    <a:pt x="153" y="1020"/>
                  </a:lnTo>
                  <a:lnTo>
                    <a:pt x="136" y="1059"/>
                  </a:lnTo>
                  <a:lnTo>
                    <a:pt x="120" y="1098"/>
                  </a:lnTo>
                  <a:lnTo>
                    <a:pt x="105" y="1139"/>
                  </a:lnTo>
                  <a:lnTo>
                    <a:pt x="91" y="1178"/>
                  </a:lnTo>
                  <a:lnTo>
                    <a:pt x="77" y="1219"/>
                  </a:lnTo>
                  <a:lnTo>
                    <a:pt x="66" y="1259"/>
                  </a:lnTo>
                  <a:lnTo>
                    <a:pt x="54" y="1301"/>
                  </a:lnTo>
                  <a:lnTo>
                    <a:pt x="44" y="1342"/>
                  </a:lnTo>
                  <a:lnTo>
                    <a:pt x="35" y="1385"/>
                  </a:lnTo>
                  <a:lnTo>
                    <a:pt x="27" y="1428"/>
                  </a:lnTo>
                  <a:lnTo>
                    <a:pt x="20" y="1470"/>
                  </a:lnTo>
                  <a:lnTo>
                    <a:pt x="14" y="1514"/>
                  </a:lnTo>
                  <a:lnTo>
                    <a:pt x="9" y="1558"/>
                  </a:lnTo>
                  <a:lnTo>
                    <a:pt x="5" y="1601"/>
                  </a:lnTo>
                  <a:lnTo>
                    <a:pt x="2" y="1645"/>
                  </a:lnTo>
                  <a:lnTo>
                    <a:pt x="0" y="1690"/>
                  </a:lnTo>
                  <a:lnTo>
                    <a:pt x="0" y="1735"/>
                  </a:lnTo>
                  <a:lnTo>
                    <a:pt x="0" y="1735"/>
                  </a:lnTo>
                  <a:lnTo>
                    <a:pt x="0" y="1779"/>
                  </a:lnTo>
                  <a:lnTo>
                    <a:pt x="2" y="1824"/>
                  </a:lnTo>
                  <a:lnTo>
                    <a:pt x="5" y="1867"/>
                  </a:lnTo>
                  <a:lnTo>
                    <a:pt x="8" y="1911"/>
                  </a:lnTo>
                  <a:lnTo>
                    <a:pt x="14" y="1955"/>
                  </a:lnTo>
                  <a:lnTo>
                    <a:pt x="20" y="1997"/>
                  </a:lnTo>
                  <a:lnTo>
                    <a:pt x="27" y="2040"/>
                  </a:lnTo>
                  <a:lnTo>
                    <a:pt x="35" y="2083"/>
                  </a:lnTo>
                  <a:lnTo>
                    <a:pt x="44" y="2125"/>
                  </a:lnTo>
                  <a:lnTo>
                    <a:pt x="54" y="2167"/>
                  </a:lnTo>
                  <a:lnTo>
                    <a:pt x="65" y="2208"/>
                  </a:lnTo>
                  <a:lnTo>
                    <a:pt x="77" y="2248"/>
                  </a:lnTo>
                  <a:lnTo>
                    <a:pt x="90" y="2289"/>
                  </a:lnTo>
                  <a:lnTo>
                    <a:pt x="105" y="2329"/>
                  </a:lnTo>
                  <a:lnTo>
                    <a:pt x="120" y="2368"/>
                  </a:lnTo>
                  <a:lnTo>
                    <a:pt x="135" y="2407"/>
                  </a:lnTo>
                  <a:lnTo>
                    <a:pt x="152" y="2445"/>
                  </a:lnTo>
                  <a:lnTo>
                    <a:pt x="169" y="2485"/>
                  </a:lnTo>
                  <a:lnTo>
                    <a:pt x="188" y="2521"/>
                  </a:lnTo>
                  <a:lnTo>
                    <a:pt x="207" y="2558"/>
                  </a:lnTo>
                  <a:lnTo>
                    <a:pt x="228" y="2595"/>
                  </a:lnTo>
                  <a:lnTo>
                    <a:pt x="249" y="2631"/>
                  </a:lnTo>
                  <a:lnTo>
                    <a:pt x="271" y="2666"/>
                  </a:lnTo>
                  <a:lnTo>
                    <a:pt x="294" y="2701"/>
                  </a:lnTo>
                  <a:lnTo>
                    <a:pt x="318" y="2736"/>
                  </a:lnTo>
                  <a:lnTo>
                    <a:pt x="342" y="2769"/>
                  </a:lnTo>
                  <a:lnTo>
                    <a:pt x="367" y="2802"/>
                  </a:lnTo>
                  <a:lnTo>
                    <a:pt x="393" y="2835"/>
                  </a:lnTo>
                  <a:lnTo>
                    <a:pt x="420" y="2866"/>
                  </a:lnTo>
                  <a:lnTo>
                    <a:pt x="447" y="2898"/>
                  </a:lnTo>
                  <a:lnTo>
                    <a:pt x="476" y="2928"/>
                  </a:lnTo>
                  <a:lnTo>
                    <a:pt x="504" y="2958"/>
                  </a:lnTo>
                  <a:lnTo>
                    <a:pt x="504" y="2958"/>
                  </a:lnTo>
                  <a:lnTo>
                    <a:pt x="534" y="2986"/>
                  </a:lnTo>
                  <a:lnTo>
                    <a:pt x="564" y="3015"/>
                  </a:lnTo>
                  <a:lnTo>
                    <a:pt x="595" y="3043"/>
                  </a:lnTo>
                  <a:lnTo>
                    <a:pt x="628" y="3071"/>
                  </a:lnTo>
                  <a:lnTo>
                    <a:pt x="660" y="3097"/>
                  </a:lnTo>
                  <a:lnTo>
                    <a:pt x="693" y="3122"/>
                  </a:lnTo>
                  <a:lnTo>
                    <a:pt x="727" y="3147"/>
                  </a:lnTo>
                  <a:lnTo>
                    <a:pt x="761" y="3171"/>
                  </a:lnTo>
                  <a:lnTo>
                    <a:pt x="797" y="3194"/>
                  </a:lnTo>
                  <a:lnTo>
                    <a:pt x="832" y="3217"/>
                  </a:lnTo>
                  <a:lnTo>
                    <a:pt x="868" y="3237"/>
                  </a:lnTo>
                  <a:lnTo>
                    <a:pt x="905" y="3258"/>
                  </a:lnTo>
                  <a:lnTo>
                    <a:pt x="942" y="3278"/>
                  </a:lnTo>
                  <a:lnTo>
                    <a:pt x="980" y="3297"/>
                  </a:lnTo>
                  <a:lnTo>
                    <a:pt x="1018" y="3315"/>
                  </a:lnTo>
                  <a:lnTo>
                    <a:pt x="1057" y="3332"/>
                  </a:lnTo>
                  <a:lnTo>
                    <a:pt x="1096" y="3348"/>
                  </a:lnTo>
                  <a:lnTo>
                    <a:pt x="1136" y="3364"/>
                  </a:lnTo>
                  <a:lnTo>
                    <a:pt x="1177" y="3378"/>
                  </a:lnTo>
                  <a:lnTo>
                    <a:pt x="1217" y="3391"/>
                  </a:lnTo>
                  <a:lnTo>
                    <a:pt x="1258" y="3403"/>
                  </a:lnTo>
                  <a:lnTo>
                    <a:pt x="1300" y="3415"/>
                  </a:lnTo>
                  <a:lnTo>
                    <a:pt x="1341" y="3425"/>
                  </a:lnTo>
                  <a:lnTo>
                    <a:pt x="1384" y="3434"/>
                  </a:lnTo>
                  <a:lnTo>
                    <a:pt x="1426" y="3442"/>
                  </a:lnTo>
                  <a:lnTo>
                    <a:pt x="1469" y="3449"/>
                  </a:lnTo>
                  <a:lnTo>
                    <a:pt x="1513" y="3456"/>
                  </a:lnTo>
                  <a:lnTo>
                    <a:pt x="1557" y="3461"/>
                  </a:lnTo>
                  <a:lnTo>
                    <a:pt x="1600" y="3464"/>
                  </a:lnTo>
                  <a:lnTo>
                    <a:pt x="1645" y="3468"/>
                  </a:lnTo>
                  <a:lnTo>
                    <a:pt x="1690" y="3469"/>
                  </a:lnTo>
                  <a:lnTo>
                    <a:pt x="1735" y="3470"/>
                  </a:lnTo>
                  <a:lnTo>
                    <a:pt x="1735" y="3470"/>
                  </a:lnTo>
                  <a:lnTo>
                    <a:pt x="1780" y="3469"/>
                  </a:lnTo>
                  <a:lnTo>
                    <a:pt x="1824" y="3468"/>
                  </a:lnTo>
                  <a:lnTo>
                    <a:pt x="1869" y="3464"/>
                  </a:lnTo>
                  <a:lnTo>
                    <a:pt x="1912" y="3461"/>
                  </a:lnTo>
                  <a:lnTo>
                    <a:pt x="1956" y="3456"/>
                  </a:lnTo>
                  <a:lnTo>
                    <a:pt x="1999" y="3449"/>
                  </a:lnTo>
                  <a:lnTo>
                    <a:pt x="2042" y="3442"/>
                  </a:lnTo>
                  <a:lnTo>
                    <a:pt x="2085" y="3434"/>
                  </a:lnTo>
                  <a:lnTo>
                    <a:pt x="2126" y="3425"/>
                  </a:lnTo>
                  <a:lnTo>
                    <a:pt x="2168" y="3415"/>
                  </a:lnTo>
                  <a:lnTo>
                    <a:pt x="2209" y="3404"/>
                  </a:lnTo>
                  <a:lnTo>
                    <a:pt x="2251" y="3392"/>
                  </a:lnTo>
                  <a:lnTo>
                    <a:pt x="2291" y="3379"/>
                  </a:lnTo>
                  <a:lnTo>
                    <a:pt x="2331" y="3364"/>
                  </a:lnTo>
                  <a:lnTo>
                    <a:pt x="2371" y="3349"/>
                  </a:lnTo>
                  <a:lnTo>
                    <a:pt x="2410" y="3333"/>
                  </a:lnTo>
                  <a:lnTo>
                    <a:pt x="2449" y="3317"/>
                  </a:lnTo>
                  <a:lnTo>
                    <a:pt x="2487" y="3298"/>
                  </a:lnTo>
                  <a:lnTo>
                    <a:pt x="2525" y="3280"/>
                  </a:lnTo>
                  <a:lnTo>
                    <a:pt x="2562" y="3261"/>
                  </a:lnTo>
                  <a:lnTo>
                    <a:pt x="2598" y="3240"/>
                  </a:lnTo>
                  <a:lnTo>
                    <a:pt x="2634" y="3219"/>
                  </a:lnTo>
                  <a:lnTo>
                    <a:pt x="2670" y="3196"/>
                  </a:lnTo>
                  <a:lnTo>
                    <a:pt x="2704" y="3173"/>
                  </a:lnTo>
                  <a:lnTo>
                    <a:pt x="2739" y="3150"/>
                  </a:lnTo>
                  <a:lnTo>
                    <a:pt x="2772" y="3125"/>
                  </a:lnTo>
                  <a:lnTo>
                    <a:pt x="2806" y="3099"/>
                  </a:lnTo>
                  <a:lnTo>
                    <a:pt x="2838" y="3074"/>
                  </a:lnTo>
                  <a:lnTo>
                    <a:pt x="2870" y="3046"/>
                  </a:lnTo>
                  <a:lnTo>
                    <a:pt x="2901" y="3019"/>
                  </a:lnTo>
                  <a:lnTo>
                    <a:pt x="2932" y="2991"/>
                  </a:lnTo>
                  <a:lnTo>
                    <a:pt x="2961" y="2961"/>
                  </a:lnTo>
                  <a:lnTo>
                    <a:pt x="2991" y="2932"/>
                  </a:lnTo>
                  <a:lnTo>
                    <a:pt x="3019" y="2901"/>
                  </a:lnTo>
                  <a:lnTo>
                    <a:pt x="3046" y="2870"/>
                  </a:lnTo>
                  <a:lnTo>
                    <a:pt x="3074" y="2838"/>
                  </a:lnTo>
                  <a:lnTo>
                    <a:pt x="3099" y="2806"/>
                  </a:lnTo>
                  <a:lnTo>
                    <a:pt x="3125" y="2772"/>
                  </a:lnTo>
                  <a:lnTo>
                    <a:pt x="3150" y="2739"/>
                  </a:lnTo>
                  <a:lnTo>
                    <a:pt x="3173" y="2704"/>
                  </a:lnTo>
                  <a:lnTo>
                    <a:pt x="3196" y="2670"/>
                  </a:lnTo>
                  <a:lnTo>
                    <a:pt x="3219" y="2634"/>
                  </a:lnTo>
                  <a:lnTo>
                    <a:pt x="3240" y="2598"/>
                  </a:lnTo>
                  <a:lnTo>
                    <a:pt x="3260" y="2562"/>
                  </a:lnTo>
                  <a:lnTo>
                    <a:pt x="3280" y="2525"/>
                  </a:lnTo>
                  <a:lnTo>
                    <a:pt x="3298" y="2487"/>
                  </a:lnTo>
                  <a:lnTo>
                    <a:pt x="3317" y="2449"/>
                  </a:lnTo>
                  <a:lnTo>
                    <a:pt x="3333" y="2410"/>
                  </a:lnTo>
                  <a:lnTo>
                    <a:pt x="3349" y="2371"/>
                  </a:lnTo>
                  <a:lnTo>
                    <a:pt x="3364" y="2331"/>
                  </a:lnTo>
                  <a:lnTo>
                    <a:pt x="3379" y="2291"/>
                  </a:lnTo>
                  <a:lnTo>
                    <a:pt x="3392" y="2251"/>
                  </a:lnTo>
                  <a:lnTo>
                    <a:pt x="3404" y="2209"/>
                  </a:lnTo>
                  <a:lnTo>
                    <a:pt x="3415" y="2168"/>
                  </a:lnTo>
                  <a:lnTo>
                    <a:pt x="3425" y="2126"/>
                  </a:lnTo>
                  <a:lnTo>
                    <a:pt x="3434" y="2084"/>
                  </a:lnTo>
                  <a:lnTo>
                    <a:pt x="3442" y="2041"/>
                  </a:lnTo>
                  <a:lnTo>
                    <a:pt x="3449" y="1999"/>
                  </a:lnTo>
                  <a:lnTo>
                    <a:pt x="3456" y="1956"/>
                  </a:lnTo>
                  <a:lnTo>
                    <a:pt x="3461" y="1912"/>
                  </a:lnTo>
                  <a:lnTo>
                    <a:pt x="3464" y="1869"/>
                  </a:lnTo>
                  <a:lnTo>
                    <a:pt x="3468" y="1824"/>
                  </a:lnTo>
                  <a:lnTo>
                    <a:pt x="3469" y="1780"/>
                  </a:lnTo>
                  <a:lnTo>
                    <a:pt x="3470" y="1735"/>
                  </a:lnTo>
                  <a:lnTo>
                    <a:pt x="3470" y="1735"/>
                  </a:lnTo>
                  <a:lnTo>
                    <a:pt x="3469" y="1681"/>
                  </a:lnTo>
                  <a:lnTo>
                    <a:pt x="3467" y="1628"/>
                  </a:lnTo>
                  <a:lnTo>
                    <a:pt x="3462" y="1575"/>
                  </a:lnTo>
                  <a:lnTo>
                    <a:pt x="3456" y="1523"/>
                  </a:lnTo>
                  <a:lnTo>
                    <a:pt x="3448" y="1471"/>
                  </a:lnTo>
                  <a:lnTo>
                    <a:pt x="3440" y="1420"/>
                  </a:lnTo>
                  <a:lnTo>
                    <a:pt x="3430" y="1369"/>
                  </a:lnTo>
                  <a:lnTo>
                    <a:pt x="3417" y="1318"/>
                  </a:lnTo>
                  <a:lnTo>
                    <a:pt x="3417" y="1318"/>
                  </a:lnTo>
                  <a:close/>
                </a:path>
              </a:pathLst>
            </a:custGeom>
            <a:solidFill>
              <a:srgbClr val="299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23" name="Freeform 307"/>
            <p:cNvSpPr>
              <a:spLocks/>
            </p:cNvSpPr>
            <p:nvPr/>
          </p:nvSpPr>
          <p:spPr bwMode="auto">
            <a:xfrm>
              <a:off x="3190875" y="1589088"/>
              <a:ext cx="461963" cy="669925"/>
            </a:xfrm>
            <a:custGeom>
              <a:avLst/>
              <a:gdLst>
                <a:gd name="T0" fmla="*/ 861 w 2040"/>
                <a:gd name="T1" fmla="*/ 1240 h 2958"/>
                <a:gd name="T2" fmla="*/ 874 w 2040"/>
                <a:gd name="T3" fmla="*/ 1117 h 2958"/>
                <a:gd name="T4" fmla="*/ 897 w 2040"/>
                <a:gd name="T5" fmla="*/ 997 h 2958"/>
                <a:gd name="T6" fmla="*/ 930 w 2040"/>
                <a:gd name="T7" fmla="*/ 883 h 2958"/>
                <a:gd name="T8" fmla="*/ 975 w 2040"/>
                <a:gd name="T9" fmla="*/ 772 h 2958"/>
                <a:gd name="T10" fmla="*/ 1091 w 2040"/>
                <a:gd name="T11" fmla="*/ 569 h 2958"/>
                <a:gd name="T12" fmla="*/ 1243 w 2040"/>
                <a:gd name="T13" fmla="*/ 390 h 2958"/>
                <a:gd name="T14" fmla="*/ 1424 w 2040"/>
                <a:gd name="T15" fmla="*/ 243 h 2958"/>
                <a:gd name="T16" fmla="*/ 1631 w 2040"/>
                <a:gd name="T17" fmla="*/ 129 h 2958"/>
                <a:gd name="T18" fmla="*/ 1742 w 2040"/>
                <a:gd name="T19" fmla="*/ 87 h 2958"/>
                <a:gd name="T20" fmla="*/ 1858 w 2040"/>
                <a:gd name="T21" fmla="*/ 55 h 2958"/>
                <a:gd name="T22" fmla="*/ 1978 w 2040"/>
                <a:gd name="T23" fmla="*/ 34 h 2958"/>
                <a:gd name="T24" fmla="*/ 2002 w 2040"/>
                <a:gd name="T25" fmla="*/ 22 h 2958"/>
                <a:gd name="T26" fmla="*/ 1851 w 2040"/>
                <a:gd name="T27" fmla="*/ 4 h 2958"/>
                <a:gd name="T28" fmla="*/ 1735 w 2040"/>
                <a:gd name="T29" fmla="*/ 0 h 2958"/>
                <a:gd name="T30" fmla="*/ 1558 w 2040"/>
                <a:gd name="T31" fmla="*/ 9 h 2958"/>
                <a:gd name="T32" fmla="*/ 1385 w 2040"/>
                <a:gd name="T33" fmla="*/ 36 h 2958"/>
                <a:gd name="T34" fmla="*/ 1219 w 2040"/>
                <a:gd name="T35" fmla="*/ 78 h 2958"/>
                <a:gd name="T36" fmla="*/ 1059 w 2040"/>
                <a:gd name="T37" fmla="*/ 136 h 2958"/>
                <a:gd name="T38" fmla="*/ 907 w 2040"/>
                <a:gd name="T39" fmla="*/ 209 h 2958"/>
                <a:gd name="T40" fmla="*/ 765 w 2040"/>
                <a:gd name="T41" fmla="*/ 296 h 2958"/>
                <a:gd name="T42" fmla="*/ 631 w 2040"/>
                <a:gd name="T43" fmla="*/ 396 h 2958"/>
                <a:gd name="T44" fmla="*/ 508 w 2040"/>
                <a:gd name="T45" fmla="*/ 508 h 2958"/>
                <a:gd name="T46" fmla="*/ 396 w 2040"/>
                <a:gd name="T47" fmla="*/ 631 h 2958"/>
                <a:gd name="T48" fmla="*/ 296 w 2040"/>
                <a:gd name="T49" fmla="*/ 764 h 2958"/>
                <a:gd name="T50" fmla="*/ 210 w 2040"/>
                <a:gd name="T51" fmla="*/ 908 h 2958"/>
                <a:gd name="T52" fmla="*/ 136 w 2040"/>
                <a:gd name="T53" fmla="*/ 1059 h 2958"/>
                <a:gd name="T54" fmla="*/ 77 w 2040"/>
                <a:gd name="T55" fmla="*/ 1219 h 2958"/>
                <a:gd name="T56" fmla="*/ 35 w 2040"/>
                <a:gd name="T57" fmla="*/ 1385 h 2958"/>
                <a:gd name="T58" fmla="*/ 9 w 2040"/>
                <a:gd name="T59" fmla="*/ 1558 h 2958"/>
                <a:gd name="T60" fmla="*/ 0 w 2040"/>
                <a:gd name="T61" fmla="*/ 1735 h 2958"/>
                <a:gd name="T62" fmla="*/ 5 w 2040"/>
                <a:gd name="T63" fmla="*/ 1868 h 2958"/>
                <a:gd name="T64" fmla="*/ 27 w 2040"/>
                <a:gd name="T65" fmla="*/ 2041 h 2958"/>
                <a:gd name="T66" fmla="*/ 65 w 2040"/>
                <a:gd name="T67" fmla="*/ 2208 h 2958"/>
                <a:gd name="T68" fmla="*/ 120 w 2040"/>
                <a:gd name="T69" fmla="*/ 2368 h 2958"/>
                <a:gd name="T70" fmla="*/ 188 w 2040"/>
                <a:gd name="T71" fmla="*/ 2521 h 2958"/>
                <a:gd name="T72" fmla="*/ 271 w 2040"/>
                <a:gd name="T73" fmla="*/ 2666 h 2958"/>
                <a:gd name="T74" fmla="*/ 367 w 2040"/>
                <a:gd name="T75" fmla="*/ 2802 h 2958"/>
                <a:gd name="T76" fmla="*/ 476 w 2040"/>
                <a:gd name="T77" fmla="*/ 2928 h 2958"/>
                <a:gd name="T78" fmla="*/ 1223 w 2040"/>
                <a:gd name="T79" fmla="*/ 2194 h 2958"/>
                <a:gd name="T80" fmla="*/ 1141 w 2040"/>
                <a:gd name="T81" fmla="*/ 2101 h 2958"/>
                <a:gd name="T82" fmla="*/ 1067 w 2040"/>
                <a:gd name="T83" fmla="*/ 2001 h 2958"/>
                <a:gd name="T84" fmla="*/ 1004 w 2040"/>
                <a:gd name="T85" fmla="*/ 1893 h 2958"/>
                <a:gd name="T86" fmla="*/ 951 w 2040"/>
                <a:gd name="T87" fmla="*/ 1777 h 2958"/>
                <a:gd name="T88" fmla="*/ 910 w 2040"/>
                <a:gd name="T89" fmla="*/ 1658 h 2958"/>
                <a:gd name="T90" fmla="*/ 881 w 2040"/>
                <a:gd name="T91" fmla="*/ 1532 h 2958"/>
                <a:gd name="T92" fmla="*/ 864 w 2040"/>
                <a:gd name="T93" fmla="*/ 1402 h 2958"/>
                <a:gd name="T94" fmla="*/ 860 w 2040"/>
                <a:gd name="T95" fmla="*/ 1302 h 2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40" h="2958">
                  <a:moveTo>
                    <a:pt x="860" y="1302"/>
                  </a:moveTo>
                  <a:lnTo>
                    <a:pt x="860" y="1302"/>
                  </a:lnTo>
                  <a:lnTo>
                    <a:pt x="860" y="1271"/>
                  </a:lnTo>
                  <a:lnTo>
                    <a:pt x="861" y="1240"/>
                  </a:lnTo>
                  <a:lnTo>
                    <a:pt x="864" y="1209"/>
                  </a:lnTo>
                  <a:lnTo>
                    <a:pt x="866" y="1178"/>
                  </a:lnTo>
                  <a:lnTo>
                    <a:pt x="869" y="1148"/>
                  </a:lnTo>
                  <a:lnTo>
                    <a:pt x="874" y="1117"/>
                  </a:lnTo>
                  <a:lnTo>
                    <a:pt x="878" y="1087"/>
                  </a:lnTo>
                  <a:lnTo>
                    <a:pt x="883" y="1057"/>
                  </a:lnTo>
                  <a:lnTo>
                    <a:pt x="890" y="1027"/>
                  </a:lnTo>
                  <a:lnTo>
                    <a:pt x="897" y="997"/>
                  </a:lnTo>
                  <a:lnTo>
                    <a:pt x="904" y="968"/>
                  </a:lnTo>
                  <a:lnTo>
                    <a:pt x="912" y="939"/>
                  </a:lnTo>
                  <a:lnTo>
                    <a:pt x="921" y="911"/>
                  </a:lnTo>
                  <a:lnTo>
                    <a:pt x="930" y="883"/>
                  </a:lnTo>
                  <a:lnTo>
                    <a:pt x="941" y="854"/>
                  </a:lnTo>
                  <a:lnTo>
                    <a:pt x="951" y="826"/>
                  </a:lnTo>
                  <a:lnTo>
                    <a:pt x="963" y="799"/>
                  </a:lnTo>
                  <a:lnTo>
                    <a:pt x="975" y="772"/>
                  </a:lnTo>
                  <a:lnTo>
                    <a:pt x="1001" y="719"/>
                  </a:lnTo>
                  <a:lnTo>
                    <a:pt x="1029" y="668"/>
                  </a:lnTo>
                  <a:lnTo>
                    <a:pt x="1059" y="617"/>
                  </a:lnTo>
                  <a:lnTo>
                    <a:pt x="1091" y="569"/>
                  </a:lnTo>
                  <a:lnTo>
                    <a:pt x="1127" y="521"/>
                  </a:lnTo>
                  <a:lnTo>
                    <a:pt x="1164" y="475"/>
                  </a:lnTo>
                  <a:lnTo>
                    <a:pt x="1202" y="432"/>
                  </a:lnTo>
                  <a:lnTo>
                    <a:pt x="1243" y="390"/>
                  </a:lnTo>
                  <a:lnTo>
                    <a:pt x="1286" y="350"/>
                  </a:lnTo>
                  <a:lnTo>
                    <a:pt x="1330" y="312"/>
                  </a:lnTo>
                  <a:lnTo>
                    <a:pt x="1377" y="276"/>
                  </a:lnTo>
                  <a:lnTo>
                    <a:pt x="1424" y="243"/>
                  </a:lnTo>
                  <a:lnTo>
                    <a:pt x="1474" y="211"/>
                  </a:lnTo>
                  <a:lnTo>
                    <a:pt x="1524" y="182"/>
                  </a:lnTo>
                  <a:lnTo>
                    <a:pt x="1577" y="154"/>
                  </a:lnTo>
                  <a:lnTo>
                    <a:pt x="1631" y="129"/>
                  </a:lnTo>
                  <a:lnTo>
                    <a:pt x="1658" y="118"/>
                  </a:lnTo>
                  <a:lnTo>
                    <a:pt x="1686" y="107"/>
                  </a:lnTo>
                  <a:lnTo>
                    <a:pt x="1714" y="97"/>
                  </a:lnTo>
                  <a:lnTo>
                    <a:pt x="1742" y="87"/>
                  </a:lnTo>
                  <a:lnTo>
                    <a:pt x="1771" y="78"/>
                  </a:lnTo>
                  <a:lnTo>
                    <a:pt x="1799" y="70"/>
                  </a:lnTo>
                  <a:lnTo>
                    <a:pt x="1829" y="62"/>
                  </a:lnTo>
                  <a:lnTo>
                    <a:pt x="1858" y="55"/>
                  </a:lnTo>
                  <a:lnTo>
                    <a:pt x="1888" y="49"/>
                  </a:lnTo>
                  <a:lnTo>
                    <a:pt x="1918" y="44"/>
                  </a:lnTo>
                  <a:lnTo>
                    <a:pt x="1948" y="39"/>
                  </a:lnTo>
                  <a:lnTo>
                    <a:pt x="1978" y="34"/>
                  </a:lnTo>
                  <a:lnTo>
                    <a:pt x="2009" y="31"/>
                  </a:lnTo>
                  <a:lnTo>
                    <a:pt x="2040" y="29"/>
                  </a:lnTo>
                  <a:lnTo>
                    <a:pt x="2040" y="29"/>
                  </a:lnTo>
                  <a:lnTo>
                    <a:pt x="2002" y="22"/>
                  </a:lnTo>
                  <a:lnTo>
                    <a:pt x="1965" y="16"/>
                  </a:lnTo>
                  <a:lnTo>
                    <a:pt x="1927" y="11"/>
                  </a:lnTo>
                  <a:lnTo>
                    <a:pt x="1889" y="8"/>
                  </a:lnTo>
                  <a:lnTo>
                    <a:pt x="1851" y="4"/>
                  </a:lnTo>
                  <a:lnTo>
                    <a:pt x="1812" y="2"/>
                  </a:lnTo>
                  <a:lnTo>
                    <a:pt x="1774" y="0"/>
                  </a:lnTo>
                  <a:lnTo>
                    <a:pt x="1735" y="0"/>
                  </a:lnTo>
                  <a:lnTo>
                    <a:pt x="1735" y="0"/>
                  </a:lnTo>
                  <a:lnTo>
                    <a:pt x="1690" y="0"/>
                  </a:lnTo>
                  <a:lnTo>
                    <a:pt x="1645" y="2"/>
                  </a:lnTo>
                  <a:lnTo>
                    <a:pt x="1601" y="4"/>
                  </a:lnTo>
                  <a:lnTo>
                    <a:pt x="1558" y="9"/>
                  </a:lnTo>
                  <a:lnTo>
                    <a:pt x="1514" y="14"/>
                  </a:lnTo>
                  <a:lnTo>
                    <a:pt x="1470" y="19"/>
                  </a:lnTo>
                  <a:lnTo>
                    <a:pt x="1428" y="27"/>
                  </a:lnTo>
                  <a:lnTo>
                    <a:pt x="1385" y="36"/>
                  </a:lnTo>
                  <a:lnTo>
                    <a:pt x="1342" y="45"/>
                  </a:lnTo>
                  <a:lnTo>
                    <a:pt x="1301" y="54"/>
                  </a:lnTo>
                  <a:lnTo>
                    <a:pt x="1260" y="65"/>
                  </a:lnTo>
                  <a:lnTo>
                    <a:pt x="1219" y="78"/>
                  </a:lnTo>
                  <a:lnTo>
                    <a:pt x="1178" y="91"/>
                  </a:lnTo>
                  <a:lnTo>
                    <a:pt x="1139" y="105"/>
                  </a:lnTo>
                  <a:lnTo>
                    <a:pt x="1098" y="121"/>
                  </a:lnTo>
                  <a:lnTo>
                    <a:pt x="1059" y="136"/>
                  </a:lnTo>
                  <a:lnTo>
                    <a:pt x="1021" y="153"/>
                  </a:lnTo>
                  <a:lnTo>
                    <a:pt x="982" y="171"/>
                  </a:lnTo>
                  <a:lnTo>
                    <a:pt x="945" y="190"/>
                  </a:lnTo>
                  <a:lnTo>
                    <a:pt x="907" y="209"/>
                  </a:lnTo>
                  <a:lnTo>
                    <a:pt x="872" y="230"/>
                  </a:lnTo>
                  <a:lnTo>
                    <a:pt x="835" y="251"/>
                  </a:lnTo>
                  <a:lnTo>
                    <a:pt x="800" y="273"/>
                  </a:lnTo>
                  <a:lnTo>
                    <a:pt x="765" y="296"/>
                  </a:lnTo>
                  <a:lnTo>
                    <a:pt x="730" y="320"/>
                  </a:lnTo>
                  <a:lnTo>
                    <a:pt x="697" y="344"/>
                  </a:lnTo>
                  <a:lnTo>
                    <a:pt x="663" y="369"/>
                  </a:lnTo>
                  <a:lnTo>
                    <a:pt x="631" y="396"/>
                  </a:lnTo>
                  <a:lnTo>
                    <a:pt x="600" y="422"/>
                  </a:lnTo>
                  <a:lnTo>
                    <a:pt x="568" y="451"/>
                  </a:lnTo>
                  <a:lnTo>
                    <a:pt x="538" y="479"/>
                  </a:lnTo>
                  <a:lnTo>
                    <a:pt x="508" y="508"/>
                  </a:lnTo>
                  <a:lnTo>
                    <a:pt x="479" y="537"/>
                  </a:lnTo>
                  <a:lnTo>
                    <a:pt x="450" y="569"/>
                  </a:lnTo>
                  <a:lnTo>
                    <a:pt x="423" y="600"/>
                  </a:lnTo>
                  <a:lnTo>
                    <a:pt x="396" y="631"/>
                  </a:lnTo>
                  <a:lnTo>
                    <a:pt x="370" y="664"/>
                  </a:lnTo>
                  <a:lnTo>
                    <a:pt x="344" y="696"/>
                  </a:lnTo>
                  <a:lnTo>
                    <a:pt x="320" y="731"/>
                  </a:lnTo>
                  <a:lnTo>
                    <a:pt x="296" y="764"/>
                  </a:lnTo>
                  <a:lnTo>
                    <a:pt x="273" y="800"/>
                  </a:lnTo>
                  <a:lnTo>
                    <a:pt x="251" y="836"/>
                  </a:lnTo>
                  <a:lnTo>
                    <a:pt x="229" y="871"/>
                  </a:lnTo>
                  <a:lnTo>
                    <a:pt x="210" y="908"/>
                  </a:lnTo>
                  <a:lnTo>
                    <a:pt x="190" y="945"/>
                  </a:lnTo>
                  <a:lnTo>
                    <a:pt x="170" y="983"/>
                  </a:lnTo>
                  <a:lnTo>
                    <a:pt x="153" y="1021"/>
                  </a:lnTo>
                  <a:lnTo>
                    <a:pt x="136" y="1059"/>
                  </a:lnTo>
                  <a:lnTo>
                    <a:pt x="120" y="1098"/>
                  </a:lnTo>
                  <a:lnTo>
                    <a:pt x="105" y="1138"/>
                  </a:lnTo>
                  <a:lnTo>
                    <a:pt x="91" y="1179"/>
                  </a:lnTo>
                  <a:lnTo>
                    <a:pt x="77" y="1219"/>
                  </a:lnTo>
                  <a:lnTo>
                    <a:pt x="66" y="1259"/>
                  </a:lnTo>
                  <a:lnTo>
                    <a:pt x="54" y="1301"/>
                  </a:lnTo>
                  <a:lnTo>
                    <a:pt x="44" y="1343"/>
                  </a:lnTo>
                  <a:lnTo>
                    <a:pt x="35" y="1385"/>
                  </a:lnTo>
                  <a:lnTo>
                    <a:pt x="27" y="1427"/>
                  </a:lnTo>
                  <a:lnTo>
                    <a:pt x="20" y="1471"/>
                  </a:lnTo>
                  <a:lnTo>
                    <a:pt x="14" y="1514"/>
                  </a:lnTo>
                  <a:lnTo>
                    <a:pt x="9" y="1558"/>
                  </a:lnTo>
                  <a:lnTo>
                    <a:pt x="5" y="1601"/>
                  </a:lnTo>
                  <a:lnTo>
                    <a:pt x="2" y="1645"/>
                  </a:lnTo>
                  <a:lnTo>
                    <a:pt x="0" y="1690"/>
                  </a:lnTo>
                  <a:lnTo>
                    <a:pt x="0" y="1735"/>
                  </a:lnTo>
                  <a:lnTo>
                    <a:pt x="0" y="1735"/>
                  </a:lnTo>
                  <a:lnTo>
                    <a:pt x="0" y="1780"/>
                  </a:lnTo>
                  <a:lnTo>
                    <a:pt x="2" y="1824"/>
                  </a:lnTo>
                  <a:lnTo>
                    <a:pt x="5" y="1868"/>
                  </a:lnTo>
                  <a:lnTo>
                    <a:pt x="8" y="1911"/>
                  </a:lnTo>
                  <a:lnTo>
                    <a:pt x="14" y="1955"/>
                  </a:lnTo>
                  <a:lnTo>
                    <a:pt x="20" y="1999"/>
                  </a:lnTo>
                  <a:lnTo>
                    <a:pt x="27" y="2041"/>
                  </a:lnTo>
                  <a:lnTo>
                    <a:pt x="35" y="2084"/>
                  </a:lnTo>
                  <a:lnTo>
                    <a:pt x="44" y="2125"/>
                  </a:lnTo>
                  <a:lnTo>
                    <a:pt x="54" y="2167"/>
                  </a:lnTo>
                  <a:lnTo>
                    <a:pt x="65" y="2208"/>
                  </a:lnTo>
                  <a:lnTo>
                    <a:pt x="77" y="2248"/>
                  </a:lnTo>
                  <a:lnTo>
                    <a:pt x="90" y="2289"/>
                  </a:lnTo>
                  <a:lnTo>
                    <a:pt x="105" y="2329"/>
                  </a:lnTo>
                  <a:lnTo>
                    <a:pt x="120" y="2368"/>
                  </a:lnTo>
                  <a:lnTo>
                    <a:pt x="135" y="2407"/>
                  </a:lnTo>
                  <a:lnTo>
                    <a:pt x="152" y="2446"/>
                  </a:lnTo>
                  <a:lnTo>
                    <a:pt x="169" y="2484"/>
                  </a:lnTo>
                  <a:lnTo>
                    <a:pt x="188" y="2521"/>
                  </a:lnTo>
                  <a:lnTo>
                    <a:pt x="207" y="2559"/>
                  </a:lnTo>
                  <a:lnTo>
                    <a:pt x="228" y="2595"/>
                  </a:lnTo>
                  <a:lnTo>
                    <a:pt x="249" y="2632"/>
                  </a:lnTo>
                  <a:lnTo>
                    <a:pt x="271" y="2666"/>
                  </a:lnTo>
                  <a:lnTo>
                    <a:pt x="294" y="2702"/>
                  </a:lnTo>
                  <a:lnTo>
                    <a:pt x="318" y="2735"/>
                  </a:lnTo>
                  <a:lnTo>
                    <a:pt x="342" y="2769"/>
                  </a:lnTo>
                  <a:lnTo>
                    <a:pt x="367" y="2802"/>
                  </a:lnTo>
                  <a:lnTo>
                    <a:pt x="393" y="2834"/>
                  </a:lnTo>
                  <a:lnTo>
                    <a:pt x="420" y="2867"/>
                  </a:lnTo>
                  <a:lnTo>
                    <a:pt x="447" y="2898"/>
                  </a:lnTo>
                  <a:lnTo>
                    <a:pt x="476" y="2928"/>
                  </a:lnTo>
                  <a:lnTo>
                    <a:pt x="504" y="2958"/>
                  </a:lnTo>
                  <a:lnTo>
                    <a:pt x="1246" y="2216"/>
                  </a:lnTo>
                  <a:lnTo>
                    <a:pt x="1246" y="2216"/>
                  </a:lnTo>
                  <a:lnTo>
                    <a:pt x="1223" y="2194"/>
                  </a:lnTo>
                  <a:lnTo>
                    <a:pt x="1202" y="2172"/>
                  </a:lnTo>
                  <a:lnTo>
                    <a:pt x="1181" y="2149"/>
                  </a:lnTo>
                  <a:lnTo>
                    <a:pt x="1161" y="2125"/>
                  </a:lnTo>
                  <a:lnTo>
                    <a:pt x="1141" y="2101"/>
                  </a:lnTo>
                  <a:lnTo>
                    <a:pt x="1121" y="2077"/>
                  </a:lnTo>
                  <a:lnTo>
                    <a:pt x="1103" y="2051"/>
                  </a:lnTo>
                  <a:lnTo>
                    <a:pt x="1085" y="2026"/>
                  </a:lnTo>
                  <a:lnTo>
                    <a:pt x="1067" y="2001"/>
                  </a:lnTo>
                  <a:lnTo>
                    <a:pt x="1050" y="1974"/>
                  </a:lnTo>
                  <a:lnTo>
                    <a:pt x="1034" y="1947"/>
                  </a:lnTo>
                  <a:lnTo>
                    <a:pt x="1019" y="1920"/>
                  </a:lnTo>
                  <a:lnTo>
                    <a:pt x="1004" y="1893"/>
                  </a:lnTo>
                  <a:lnTo>
                    <a:pt x="990" y="1864"/>
                  </a:lnTo>
                  <a:lnTo>
                    <a:pt x="976" y="1836"/>
                  </a:lnTo>
                  <a:lnTo>
                    <a:pt x="964" y="1807"/>
                  </a:lnTo>
                  <a:lnTo>
                    <a:pt x="951" y="1777"/>
                  </a:lnTo>
                  <a:lnTo>
                    <a:pt x="939" y="1749"/>
                  </a:lnTo>
                  <a:lnTo>
                    <a:pt x="929" y="1719"/>
                  </a:lnTo>
                  <a:lnTo>
                    <a:pt x="919" y="1688"/>
                  </a:lnTo>
                  <a:lnTo>
                    <a:pt x="910" y="1658"/>
                  </a:lnTo>
                  <a:lnTo>
                    <a:pt x="902" y="1627"/>
                  </a:lnTo>
                  <a:lnTo>
                    <a:pt x="893" y="1596"/>
                  </a:lnTo>
                  <a:lnTo>
                    <a:pt x="887" y="1563"/>
                  </a:lnTo>
                  <a:lnTo>
                    <a:pt x="881" y="1532"/>
                  </a:lnTo>
                  <a:lnTo>
                    <a:pt x="875" y="1500"/>
                  </a:lnTo>
                  <a:lnTo>
                    <a:pt x="870" y="1468"/>
                  </a:lnTo>
                  <a:lnTo>
                    <a:pt x="867" y="1436"/>
                  </a:lnTo>
                  <a:lnTo>
                    <a:pt x="864" y="1402"/>
                  </a:lnTo>
                  <a:lnTo>
                    <a:pt x="861" y="1369"/>
                  </a:lnTo>
                  <a:lnTo>
                    <a:pt x="860" y="1337"/>
                  </a:lnTo>
                  <a:lnTo>
                    <a:pt x="860" y="1302"/>
                  </a:lnTo>
                  <a:lnTo>
                    <a:pt x="860" y="1302"/>
                  </a:lnTo>
                  <a:close/>
                </a:path>
              </a:pathLst>
            </a:custGeom>
            <a:solidFill>
              <a:srgbClr val="299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24" name="Freeform 308"/>
            <p:cNvSpPr>
              <a:spLocks/>
            </p:cNvSpPr>
            <p:nvPr/>
          </p:nvSpPr>
          <p:spPr bwMode="auto">
            <a:xfrm>
              <a:off x="3386138" y="1595438"/>
              <a:ext cx="474663" cy="495300"/>
            </a:xfrm>
            <a:custGeom>
              <a:avLst/>
              <a:gdLst>
                <a:gd name="T0" fmla="*/ 0 w 2095"/>
                <a:gd name="T1" fmla="*/ 1273 h 2187"/>
                <a:gd name="T2" fmla="*/ 1 w 2095"/>
                <a:gd name="T3" fmla="*/ 1340 h 2187"/>
                <a:gd name="T4" fmla="*/ 7 w 2095"/>
                <a:gd name="T5" fmla="*/ 1407 h 2187"/>
                <a:gd name="T6" fmla="*/ 15 w 2095"/>
                <a:gd name="T7" fmla="*/ 1471 h 2187"/>
                <a:gd name="T8" fmla="*/ 27 w 2095"/>
                <a:gd name="T9" fmla="*/ 1534 h 2187"/>
                <a:gd name="T10" fmla="*/ 42 w 2095"/>
                <a:gd name="T11" fmla="*/ 1598 h 2187"/>
                <a:gd name="T12" fmla="*/ 59 w 2095"/>
                <a:gd name="T13" fmla="*/ 1659 h 2187"/>
                <a:gd name="T14" fmla="*/ 79 w 2095"/>
                <a:gd name="T15" fmla="*/ 1720 h 2187"/>
                <a:gd name="T16" fmla="*/ 104 w 2095"/>
                <a:gd name="T17" fmla="*/ 1778 h 2187"/>
                <a:gd name="T18" fmla="*/ 130 w 2095"/>
                <a:gd name="T19" fmla="*/ 1835 h 2187"/>
                <a:gd name="T20" fmla="*/ 159 w 2095"/>
                <a:gd name="T21" fmla="*/ 1891 h 2187"/>
                <a:gd name="T22" fmla="*/ 190 w 2095"/>
                <a:gd name="T23" fmla="*/ 1945 h 2187"/>
                <a:gd name="T24" fmla="*/ 225 w 2095"/>
                <a:gd name="T25" fmla="*/ 1997 h 2187"/>
                <a:gd name="T26" fmla="*/ 261 w 2095"/>
                <a:gd name="T27" fmla="*/ 2048 h 2187"/>
                <a:gd name="T28" fmla="*/ 301 w 2095"/>
                <a:gd name="T29" fmla="*/ 2096 h 2187"/>
                <a:gd name="T30" fmla="*/ 342 w 2095"/>
                <a:gd name="T31" fmla="*/ 2143 h 2187"/>
                <a:gd name="T32" fmla="*/ 386 w 2095"/>
                <a:gd name="T33" fmla="*/ 2187 h 2187"/>
                <a:gd name="T34" fmla="*/ 2095 w 2095"/>
                <a:gd name="T35" fmla="*/ 477 h 2187"/>
                <a:gd name="T36" fmla="*/ 2062 w 2095"/>
                <a:gd name="T37" fmla="*/ 443 h 2187"/>
                <a:gd name="T38" fmla="*/ 2060 w 2095"/>
                <a:gd name="T39" fmla="*/ 441 h 2187"/>
                <a:gd name="T40" fmla="*/ 2026 w 2095"/>
                <a:gd name="T41" fmla="*/ 411 h 2187"/>
                <a:gd name="T42" fmla="*/ 1958 w 2095"/>
                <a:gd name="T43" fmla="*/ 353 h 2187"/>
                <a:gd name="T44" fmla="*/ 1887 w 2095"/>
                <a:gd name="T45" fmla="*/ 299 h 2187"/>
                <a:gd name="T46" fmla="*/ 1813 w 2095"/>
                <a:gd name="T47" fmla="*/ 248 h 2187"/>
                <a:gd name="T48" fmla="*/ 1775 w 2095"/>
                <a:gd name="T49" fmla="*/ 225 h 2187"/>
                <a:gd name="T50" fmla="*/ 1759 w 2095"/>
                <a:gd name="T51" fmla="*/ 215 h 2187"/>
                <a:gd name="T52" fmla="*/ 1658 w 2095"/>
                <a:gd name="T53" fmla="*/ 160 h 2187"/>
                <a:gd name="T54" fmla="*/ 1656 w 2095"/>
                <a:gd name="T55" fmla="*/ 157 h 2187"/>
                <a:gd name="T56" fmla="*/ 1615 w 2095"/>
                <a:gd name="T57" fmla="*/ 138 h 2187"/>
                <a:gd name="T58" fmla="*/ 1532 w 2095"/>
                <a:gd name="T59" fmla="*/ 102 h 2187"/>
                <a:gd name="T60" fmla="*/ 1448 w 2095"/>
                <a:gd name="T61" fmla="*/ 70 h 2187"/>
                <a:gd name="T62" fmla="*/ 1361 w 2095"/>
                <a:gd name="T63" fmla="*/ 42 h 2187"/>
                <a:gd name="T64" fmla="*/ 1317 w 2095"/>
                <a:gd name="T65" fmla="*/ 30 h 2187"/>
                <a:gd name="T66" fmla="*/ 1294 w 2095"/>
                <a:gd name="T67" fmla="*/ 24 h 2187"/>
                <a:gd name="T68" fmla="*/ 1180 w 2095"/>
                <a:gd name="T69" fmla="*/ 0 h 2187"/>
                <a:gd name="T70" fmla="*/ 1149 w 2095"/>
                <a:gd name="T71" fmla="*/ 2 h 2187"/>
                <a:gd name="T72" fmla="*/ 1088 w 2095"/>
                <a:gd name="T73" fmla="*/ 10 h 2187"/>
                <a:gd name="T74" fmla="*/ 1028 w 2095"/>
                <a:gd name="T75" fmla="*/ 20 h 2187"/>
                <a:gd name="T76" fmla="*/ 969 w 2095"/>
                <a:gd name="T77" fmla="*/ 33 h 2187"/>
                <a:gd name="T78" fmla="*/ 911 w 2095"/>
                <a:gd name="T79" fmla="*/ 49 h 2187"/>
                <a:gd name="T80" fmla="*/ 854 w 2095"/>
                <a:gd name="T81" fmla="*/ 68 h 2187"/>
                <a:gd name="T82" fmla="*/ 798 w 2095"/>
                <a:gd name="T83" fmla="*/ 89 h 2187"/>
                <a:gd name="T84" fmla="*/ 717 w 2095"/>
                <a:gd name="T85" fmla="*/ 125 h 2187"/>
                <a:gd name="T86" fmla="*/ 614 w 2095"/>
                <a:gd name="T87" fmla="*/ 182 h 2187"/>
                <a:gd name="T88" fmla="*/ 517 w 2095"/>
                <a:gd name="T89" fmla="*/ 247 h 2187"/>
                <a:gd name="T90" fmla="*/ 426 w 2095"/>
                <a:gd name="T91" fmla="*/ 321 h 2187"/>
                <a:gd name="T92" fmla="*/ 342 w 2095"/>
                <a:gd name="T93" fmla="*/ 403 h 2187"/>
                <a:gd name="T94" fmla="*/ 267 w 2095"/>
                <a:gd name="T95" fmla="*/ 492 h 2187"/>
                <a:gd name="T96" fmla="*/ 199 w 2095"/>
                <a:gd name="T97" fmla="*/ 588 h 2187"/>
                <a:gd name="T98" fmla="*/ 141 w 2095"/>
                <a:gd name="T99" fmla="*/ 690 h 2187"/>
                <a:gd name="T100" fmla="*/ 103 w 2095"/>
                <a:gd name="T101" fmla="*/ 770 h 2187"/>
                <a:gd name="T102" fmla="*/ 81 w 2095"/>
                <a:gd name="T103" fmla="*/ 825 h 2187"/>
                <a:gd name="T104" fmla="*/ 61 w 2095"/>
                <a:gd name="T105" fmla="*/ 882 h 2187"/>
                <a:gd name="T106" fmla="*/ 44 w 2095"/>
                <a:gd name="T107" fmla="*/ 939 h 2187"/>
                <a:gd name="T108" fmla="*/ 30 w 2095"/>
                <a:gd name="T109" fmla="*/ 998 h 2187"/>
                <a:gd name="T110" fmla="*/ 18 w 2095"/>
                <a:gd name="T111" fmla="*/ 1058 h 2187"/>
                <a:gd name="T112" fmla="*/ 9 w 2095"/>
                <a:gd name="T113" fmla="*/ 1119 h 2187"/>
                <a:gd name="T114" fmla="*/ 4 w 2095"/>
                <a:gd name="T115" fmla="*/ 1180 h 2187"/>
                <a:gd name="T116" fmla="*/ 0 w 2095"/>
                <a:gd name="T117" fmla="*/ 1242 h 2187"/>
                <a:gd name="T118" fmla="*/ 0 w 2095"/>
                <a:gd name="T119" fmla="*/ 1273 h 2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5" h="2187">
                  <a:moveTo>
                    <a:pt x="0" y="1273"/>
                  </a:moveTo>
                  <a:lnTo>
                    <a:pt x="0" y="1273"/>
                  </a:lnTo>
                  <a:lnTo>
                    <a:pt x="0" y="1308"/>
                  </a:lnTo>
                  <a:lnTo>
                    <a:pt x="1" y="1340"/>
                  </a:lnTo>
                  <a:lnTo>
                    <a:pt x="4" y="1373"/>
                  </a:lnTo>
                  <a:lnTo>
                    <a:pt x="7" y="1407"/>
                  </a:lnTo>
                  <a:lnTo>
                    <a:pt x="10" y="1439"/>
                  </a:lnTo>
                  <a:lnTo>
                    <a:pt x="15" y="1471"/>
                  </a:lnTo>
                  <a:lnTo>
                    <a:pt x="21" y="1503"/>
                  </a:lnTo>
                  <a:lnTo>
                    <a:pt x="27" y="1534"/>
                  </a:lnTo>
                  <a:lnTo>
                    <a:pt x="33" y="1567"/>
                  </a:lnTo>
                  <a:lnTo>
                    <a:pt x="42" y="1598"/>
                  </a:lnTo>
                  <a:lnTo>
                    <a:pt x="50" y="1629"/>
                  </a:lnTo>
                  <a:lnTo>
                    <a:pt x="59" y="1659"/>
                  </a:lnTo>
                  <a:lnTo>
                    <a:pt x="69" y="1690"/>
                  </a:lnTo>
                  <a:lnTo>
                    <a:pt x="79" y="1720"/>
                  </a:lnTo>
                  <a:lnTo>
                    <a:pt x="91" y="1748"/>
                  </a:lnTo>
                  <a:lnTo>
                    <a:pt x="104" y="1778"/>
                  </a:lnTo>
                  <a:lnTo>
                    <a:pt x="116" y="1807"/>
                  </a:lnTo>
                  <a:lnTo>
                    <a:pt x="130" y="1835"/>
                  </a:lnTo>
                  <a:lnTo>
                    <a:pt x="144" y="1864"/>
                  </a:lnTo>
                  <a:lnTo>
                    <a:pt x="159" y="1891"/>
                  </a:lnTo>
                  <a:lnTo>
                    <a:pt x="174" y="1918"/>
                  </a:lnTo>
                  <a:lnTo>
                    <a:pt x="190" y="1945"/>
                  </a:lnTo>
                  <a:lnTo>
                    <a:pt x="207" y="1972"/>
                  </a:lnTo>
                  <a:lnTo>
                    <a:pt x="225" y="1997"/>
                  </a:lnTo>
                  <a:lnTo>
                    <a:pt x="243" y="2022"/>
                  </a:lnTo>
                  <a:lnTo>
                    <a:pt x="261" y="2048"/>
                  </a:lnTo>
                  <a:lnTo>
                    <a:pt x="281" y="2072"/>
                  </a:lnTo>
                  <a:lnTo>
                    <a:pt x="301" y="2096"/>
                  </a:lnTo>
                  <a:lnTo>
                    <a:pt x="321" y="2120"/>
                  </a:lnTo>
                  <a:lnTo>
                    <a:pt x="342" y="2143"/>
                  </a:lnTo>
                  <a:lnTo>
                    <a:pt x="363" y="2165"/>
                  </a:lnTo>
                  <a:lnTo>
                    <a:pt x="386" y="2187"/>
                  </a:lnTo>
                  <a:lnTo>
                    <a:pt x="2095" y="477"/>
                  </a:lnTo>
                  <a:lnTo>
                    <a:pt x="2095" y="477"/>
                  </a:lnTo>
                  <a:lnTo>
                    <a:pt x="2079" y="460"/>
                  </a:lnTo>
                  <a:lnTo>
                    <a:pt x="2062" y="443"/>
                  </a:lnTo>
                  <a:lnTo>
                    <a:pt x="2062" y="443"/>
                  </a:lnTo>
                  <a:lnTo>
                    <a:pt x="2060" y="441"/>
                  </a:lnTo>
                  <a:lnTo>
                    <a:pt x="2060" y="441"/>
                  </a:lnTo>
                  <a:lnTo>
                    <a:pt x="2026" y="411"/>
                  </a:lnTo>
                  <a:lnTo>
                    <a:pt x="1993" y="381"/>
                  </a:lnTo>
                  <a:lnTo>
                    <a:pt x="1958" y="353"/>
                  </a:lnTo>
                  <a:lnTo>
                    <a:pt x="1923" y="325"/>
                  </a:lnTo>
                  <a:lnTo>
                    <a:pt x="1887" y="299"/>
                  </a:lnTo>
                  <a:lnTo>
                    <a:pt x="1850" y="274"/>
                  </a:lnTo>
                  <a:lnTo>
                    <a:pt x="1813" y="248"/>
                  </a:lnTo>
                  <a:lnTo>
                    <a:pt x="1775" y="225"/>
                  </a:lnTo>
                  <a:lnTo>
                    <a:pt x="1775" y="225"/>
                  </a:lnTo>
                  <a:lnTo>
                    <a:pt x="1759" y="215"/>
                  </a:lnTo>
                  <a:lnTo>
                    <a:pt x="1759" y="215"/>
                  </a:lnTo>
                  <a:lnTo>
                    <a:pt x="1709" y="186"/>
                  </a:lnTo>
                  <a:lnTo>
                    <a:pt x="1658" y="160"/>
                  </a:lnTo>
                  <a:lnTo>
                    <a:pt x="1658" y="160"/>
                  </a:lnTo>
                  <a:lnTo>
                    <a:pt x="1656" y="157"/>
                  </a:lnTo>
                  <a:lnTo>
                    <a:pt x="1656" y="157"/>
                  </a:lnTo>
                  <a:lnTo>
                    <a:pt x="1615" y="138"/>
                  </a:lnTo>
                  <a:lnTo>
                    <a:pt x="1574" y="119"/>
                  </a:lnTo>
                  <a:lnTo>
                    <a:pt x="1532" y="102"/>
                  </a:lnTo>
                  <a:lnTo>
                    <a:pt x="1491" y="85"/>
                  </a:lnTo>
                  <a:lnTo>
                    <a:pt x="1448" y="70"/>
                  </a:lnTo>
                  <a:lnTo>
                    <a:pt x="1405" y="55"/>
                  </a:lnTo>
                  <a:lnTo>
                    <a:pt x="1361" y="42"/>
                  </a:lnTo>
                  <a:lnTo>
                    <a:pt x="1317" y="30"/>
                  </a:lnTo>
                  <a:lnTo>
                    <a:pt x="1317" y="30"/>
                  </a:lnTo>
                  <a:lnTo>
                    <a:pt x="1294" y="24"/>
                  </a:lnTo>
                  <a:lnTo>
                    <a:pt x="1294" y="24"/>
                  </a:lnTo>
                  <a:lnTo>
                    <a:pt x="1238" y="11"/>
                  </a:lnTo>
                  <a:lnTo>
                    <a:pt x="1180" y="0"/>
                  </a:lnTo>
                  <a:lnTo>
                    <a:pt x="1180" y="0"/>
                  </a:lnTo>
                  <a:lnTo>
                    <a:pt x="1149" y="2"/>
                  </a:lnTo>
                  <a:lnTo>
                    <a:pt x="1118" y="5"/>
                  </a:lnTo>
                  <a:lnTo>
                    <a:pt x="1088" y="10"/>
                  </a:lnTo>
                  <a:lnTo>
                    <a:pt x="1058" y="15"/>
                  </a:lnTo>
                  <a:lnTo>
                    <a:pt x="1028" y="20"/>
                  </a:lnTo>
                  <a:lnTo>
                    <a:pt x="998" y="26"/>
                  </a:lnTo>
                  <a:lnTo>
                    <a:pt x="969" y="33"/>
                  </a:lnTo>
                  <a:lnTo>
                    <a:pt x="939" y="41"/>
                  </a:lnTo>
                  <a:lnTo>
                    <a:pt x="911" y="49"/>
                  </a:lnTo>
                  <a:lnTo>
                    <a:pt x="882" y="58"/>
                  </a:lnTo>
                  <a:lnTo>
                    <a:pt x="854" y="68"/>
                  </a:lnTo>
                  <a:lnTo>
                    <a:pt x="826" y="78"/>
                  </a:lnTo>
                  <a:lnTo>
                    <a:pt x="798" y="89"/>
                  </a:lnTo>
                  <a:lnTo>
                    <a:pt x="771" y="100"/>
                  </a:lnTo>
                  <a:lnTo>
                    <a:pt x="717" y="125"/>
                  </a:lnTo>
                  <a:lnTo>
                    <a:pt x="664" y="153"/>
                  </a:lnTo>
                  <a:lnTo>
                    <a:pt x="614" y="182"/>
                  </a:lnTo>
                  <a:lnTo>
                    <a:pt x="564" y="214"/>
                  </a:lnTo>
                  <a:lnTo>
                    <a:pt x="517" y="247"/>
                  </a:lnTo>
                  <a:lnTo>
                    <a:pt x="470" y="283"/>
                  </a:lnTo>
                  <a:lnTo>
                    <a:pt x="426" y="321"/>
                  </a:lnTo>
                  <a:lnTo>
                    <a:pt x="383" y="361"/>
                  </a:lnTo>
                  <a:lnTo>
                    <a:pt x="342" y="403"/>
                  </a:lnTo>
                  <a:lnTo>
                    <a:pt x="304" y="446"/>
                  </a:lnTo>
                  <a:lnTo>
                    <a:pt x="267" y="492"/>
                  </a:lnTo>
                  <a:lnTo>
                    <a:pt x="231" y="540"/>
                  </a:lnTo>
                  <a:lnTo>
                    <a:pt x="199" y="588"/>
                  </a:lnTo>
                  <a:lnTo>
                    <a:pt x="169" y="639"/>
                  </a:lnTo>
                  <a:lnTo>
                    <a:pt x="141" y="690"/>
                  </a:lnTo>
                  <a:lnTo>
                    <a:pt x="115" y="743"/>
                  </a:lnTo>
                  <a:lnTo>
                    <a:pt x="103" y="770"/>
                  </a:lnTo>
                  <a:lnTo>
                    <a:pt x="91" y="797"/>
                  </a:lnTo>
                  <a:lnTo>
                    <a:pt x="81" y="825"/>
                  </a:lnTo>
                  <a:lnTo>
                    <a:pt x="70" y="854"/>
                  </a:lnTo>
                  <a:lnTo>
                    <a:pt x="61" y="882"/>
                  </a:lnTo>
                  <a:lnTo>
                    <a:pt x="52" y="910"/>
                  </a:lnTo>
                  <a:lnTo>
                    <a:pt x="44" y="939"/>
                  </a:lnTo>
                  <a:lnTo>
                    <a:pt x="37" y="968"/>
                  </a:lnTo>
                  <a:lnTo>
                    <a:pt x="30" y="998"/>
                  </a:lnTo>
                  <a:lnTo>
                    <a:pt x="23" y="1028"/>
                  </a:lnTo>
                  <a:lnTo>
                    <a:pt x="18" y="1058"/>
                  </a:lnTo>
                  <a:lnTo>
                    <a:pt x="14" y="1088"/>
                  </a:lnTo>
                  <a:lnTo>
                    <a:pt x="9" y="1119"/>
                  </a:lnTo>
                  <a:lnTo>
                    <a:pt x="6" y="1149"/>
                  </a:lnTo>
                  <a:lnTo>
                    <a:pt x="4" y="1180"/>
                  </a:lnTo>
                  <a:lnTo>
                    <a:pt x="1" y="1211"/>
                  </a:lnTo>
                  <a:lnTo>
                    <a:pt x="0" y="1242"/>
                  </a:lnTo>
                  <a:lnTo>
                    <a:pt x="0" y="1273"/>
                  </a:lnTo>
                  <a:lnTo>
                    <a:pt x="0" y="1273"/>
                  </a:lnTo>
                  <a:close/>
                </a:path>
              </a:pathLst>
            </a:custGeom>
            <a:solidFill>
              <a:srgbClr val="43CE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25" name="Freeform 309"/>
            <p:cNvSpPr>
              <a:spLocks/>
            </p:cNvSpPr>
            <p:nvPr/>
          </p:nvSpPr>
          <p:spPr bwMode="auto">
            <a:xfrm>
              <a:off x="3305175" y="1887538"/>
              <a:ext cx="671513" cy="488950"/>
            </a:xfrm>
            <a:custGeom>
              <a:avLst/>
              <a:gdLst>
                <a:gd name="T0" fmla="*/ 1320 w 2966"/>
                <a:gd name="T1" fmla="*/ 2150 h 2152"/>
                <a:gd name="T2" fmla="*/ 1495 w 2966"/>
                <a:gd name="T3" fmla="*/ 2132 h 2152"/>
                <a:gd name="T4" fmla="*/ 1664 w 2966"/>
                <a:gd name="T5" fmla="*/ 2098 h 2152"/>
                <a:gd name="T6" fmla="*/ 1827 w 2966"/>
                <a:gd name="T7" fmla="*/ 2047 h 2152"/>
                <a:gd name="T8" fmla="*/ 1983 w 2966"/>
                <a:gd name="T9" fmla="*/ 1982 h 2152"/>
                <a:gd name="T10" fmla="*/ 2130 w 2966"/>
                <a:gd name="T11" fmla="*/ 1901 h 2152"/>
                <a:gd name="T12" fmla="*/ 2268 w 2966"/>
                <a:gd name="T13" fmla="*/ 1808 h 2152"/>
                <a:gd name="T14" fmla="*/ 2397 w 2966"/>
                <a:gd name="T15" fmla="*/ 1702 h 2152"/>
                <a:gd name="T16" fmla="*/ 2515 w 2966"/>
                <a:gd name="T17" fmla="*/ 1583 h 2152"/>
                <a:gd name="T18" fmla="*/ 2621 w 2966"/>
                <a:gd name="T19" fmla="*/ 1455 h 2152"/>
                <a:gd name="T20" fmla="*/ 2715 w 2966"/>
                <a:gd name="T21" fmla="*/ 1317 h 2152"/>
                <a:gd name="T22" fmla="*/ 2794 w 2966"/>
                <a:gd name="T23" fmla="*/ 1169 h 2152"/>
                <a:gd name="T24" fmla="*/ 2860 w 2966"/>
                <a:gd name="T25" fmla="*/ 1013 h 2152"/>
                <a:gd name="T26" fmla="*/ 2911 w 2966"/>
                <a:gd name="T27" fmla="*/ 851 h 2152"/>
                <a:gd name="T28" fmla="*/ 2945 w 2966"/>
                <a:gd name="T29" fmla="*/ 682 h 2152"/>
                <a:gd name="T30" fmla="*/ 2964 w 2966"/>
                <a:gd name="T31" fmla="*/ 507 h 2152"/>
                <a:gd name="T32" fmla="*/ 2965 w 2966"/>
                <a:gd name="T33" fmla="*/ 363 h 2152"/>
                <a:gd name="T34" fmla="*/ 2944 w 2966"/>
                <a:gd name="T35" fmla="*/ 153 h 2152"/>
                <a:gd name="T36" fmla="*/ 2913 w 2966"/>
                <a:gd name="T37" fmla="*/ 0 h 2152"/>
                <a:gd name="T38" fmla="*/ 2905 w 2966"/>
                <a:gd name="T39" fmla="*/ 130 h 2152"/>
                <a:gd name="T40" fmla="*/ 2884 w 2966"/>
                <a:gd name="T41" fmla="*/ 256 h 2152"/>
                <a:gd name="T42" fmla="*/ 2852 w 2966"/>
                <a:gd name="T43" fmla="*/ 377 h 2152"/>
                <a:gd name="T44" fmla="*/ 2808 w 2966"/>
                <a:gd name="T45" fmla="*/ 493 h 2152"/>
                <a:gd name="T46" fmla="*/ 2754 w 2966"/>
                <a:gd name="T47" fmla="*/ 603 h 2152"/>
                <a:gd name="T48" fmla="*/ 2690 w 2966"/>
                <a:gd name="T49" fmla="*/ 707 h 2152"/>
                <a:gd name="T50" fmla="*/ 2616 w 2966"/>
                <a:gd name="T51" fmla="*/ 805 h 2152"/>
                <a:gd name="T52" fmla="*/ 2534 w 2966"/>
                <a:gd name="T53" fmla="*/ 895 h 2152"/>
                <a:gd name="T54" fmla="*/ 2443 w 2966"/>
                <a:gd name="T55" fmla="*/ 975 h 2152"/>
                <a:gd name="T56" fmla="*/ 2345 w 2966"/>
                <a:gd name="T57" fmla="*/ 1048 h 2152"/>
                <a:gd name="T58" fmla="*/ 2241 w 2966"/>
                <a:gd name="T59" fmla="*/ 1111 h 2152"/>
                <a:gd name="T60" fmla="*/ 2129 w 2966"/>
                <a:gd name="T61" fmla="*/ 1164 h 2152"/>
                <a:gd name="T62" fmla="*/ 2013 w 2966"/>
                <a:gd name="T63" fmla="*/ 1207 h 2152"/>
                <a:gd name="T64" fmla="*/ 1891 w 2966"/>
                <a:gd name="T65" fmla="*/ 1238 h 2152"/>
                <a:gd name="T66" fmla="*/ 1765 w 2966"/>
                <a:gd name="T67" fmla="*/ 1257 h 2152"/>
                <a:gd name="T68" fmla="*/ 1635 w 2966"/>
                <a:gd name="T69" fmla="*/ 1263 h 2152"/>
                <a:gd name="T70" fmla="*/ 1538 w 2966"/>
                <a:gd name="T71" fmla="*/ 1260 h 2152"/>
                <a:gd name="T72" fmla="*/ 1412 w 2966"/>
                <a:gd name="T73" fmla="*/ 1245 h 2152"/>
                <a:gd name="T74" fmla="*/ 1290 w 2966"/>
                <a:gd name="T75" fmla="*/ 1216 h 2152"/>
                <a:gd name="T76" fmla="*/ 1172 w 2966"/>
                <a:gd name="T77" fmla="*/ 1177 h 2152"/>
                <a:gd name="T78" fmla="*/ 1061 w 2966"/>
                <a:gd name="T79" fmla="*/ 1127 h 2152"/>
                <a:gd name="T80" fmla="*/ 955 w 2966"/>
                <a:gd name="T81" fmla="*/ 1067 h 2152"/>
                <a:gd name="T82" fmla="*/ 856 w 2966"/>
                <a:gd name="T83" fmla="*/ 998 h 2152"/>
                <a:gd name="T84" fmla="*/ 764 w 2966"/>
                <a:gd name="T85" fmla="*/ 920 h 2152"/>
                <a:gd name="T86" fmla="*/ 30 w 2966"/>
                <a:gd name="T87" fmla="*/ 1670 h 2152"/>
                <a:gd name="T88" fmla="*/ 156 w 2966"/>
                <a:gd name="T89" fmla="*/ 1779 h 2152"/>
                <a:gd name="T90" fmla="*/ 293 w 2966"/>
                <a:gd name="T91" fmla="*/ 1877 h 2152"/>
                <a:gd name="T92" fmla="*/ 438 w 2966"/>
                <a:gd name="T93" fmla="*/ 1961 h 2152"/>
                <a:gd name="T94" fmla="*/ 592 w 2966"/>
                <a:gd name="T95" fmla="*/ 2031 h 2152"/>
                <a:gd name="T96" fmla="*/ 754 w 2966"/>
                <a:gd name="T97" fmla="*/ 2085 h 2152"/>
                <a:gd name="T98" fmla="*/ 922 w 2966"/>
                <a:gd name="T99" fmla="*/ 2124 h 2152"/>
                <a:gd name="T100" fmla="*/ 1096 w 2966"/>
                <a:gd name="T101" fmla="*/ 2147 h 2152"/>
                <a:gd name="T102" fmla="*/ 1231 w 2966"/>
                <a:gd name="T103" fmla="*/ 2152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66" h="2152">
                  <a:moveTo>
                    <a:pt x="1231" y="2152"/>
                  </a:moveTo>
                  <a:lnTo>
                    <a:pt x="1231" y="2152"/>
                  </a:lnTo>
                  <a:lnTo>
                    <a:pt x="1276" y="2152"/>
                  </a:lnTo>
                  <a:lnTo>
                    <a:pt x="1320" y="2150"/>
                  </a:lnTo>
                  <a:lnTo>
                    <a:pt x="1365" y="2147"/>
                  </a:lnTo>
                  <a:lnTo>
                    <a:pt x="1408" y="2143"/>
                  </a:lnTo>
                  <a:lnTo>
                    <a:pt x="1452" y="2138"/>
                  </a:lnTo>
                  <a:lnTo>
                    <a:pt x="1495" y="2132"/>
                  </a:lnTo>
                  <a:lnTo>
                    <a:pt x="1538" y="2125"/>
                  </a:lnTo>
                  <a:lnTo>
                    <a:pt x="1581" y="2117"/>
                  </a:lnTo>
                  <a:lnTo>
                    <a:pt x="1622" y="2108"/>
                  </a:lnTo>
                  <a:lnTo>
                    <a:pt x="1664" y="2098"/>
                  </a:lnTo>
                  <a:lnTo>
                    <a:pt x="1705" y="2086"/>
                  </a:lnTo>
                  <a:lnTo>
                    <a:pt x="1747" y="2074"/>
                  </a:lnTo>
                  <a:lnTo>
                    <a:pt x="1787" y="2061"/>
                  </a:lnTo>
                  <a:lnTo>
                    <a:pt x="1827" y="2047"/>
                  </a:lnTo>
                  <a:lnTo>
                    <a:pt x="1867" y="2032"/>
                  </a:lnTo>
                  <a:lnTo>
                    <a:pt x="1906" y="2016"/>
                  </a:lnTo>
                  <a:lnTo>
                    <a:pt x="1945" y="1999"/>
                  </a:lnTo>
                  <a:lnTo>
                    <a:pt x="1983" y="1982"/>
                  </a:lnTo>
                  <a:lnTo>
                    <a:pt x="2021" y="1962"/>
                  </a:lnTo>
                  <a:lnTo>
                    <a:pt x="2058" y="1942"/>
                  </a:lnTo>
                  <a:lnTo>
                    <a:pt x="2094" y="1922"/>
                  </a:lnTo>
                  <a:lnTo>
                    <a:pt x="2130" y="1901"/>
                  </a:lnTo>
                  <a:lnTo>
                    <a:pt x="2166" y="1879"/>
                  </a:lnTo>
                  <a:lnTo>
                    <a:pt x="2200" y="1856"/>
                  </a:lnTo>
                  <a:lnTo>
                    <a:pt x="2235" y="1832"/>
                  </a:lnTo>
                  <a:lnTo>
                    <a:pt x="2268" y="1808"/>
                  </a:lnTo>
                  <a:lnTo>
                    <a:pt x="2302" y="1782"/>
                  </a:lnTo>
                  <a:lnTo>
                    <a:pt x="2334" y="1756"/>
                  </a:lnTo>
                  <a:lnTo>
                    <a:pt x="2366" y="1729"/>
                  </a:lnTo>
                  <a:lnTo>
                    <a:pt x="2397" y="1702"/>
                  </a:lnTo>
                  <a:lnTo>
                    <a:pt x="2428" y="1673"/>
                  </a:lnTo>
                  <a:lnTo>
                    <a:pt x="2457" y="1644"/>
                  </a:lnTo>
                  <a:lnTo>
                    <a:pt x="2487" y="1614"/>
                  </a:lnTo>
                  <a:lnTo>
                    <a:pt x="2515" y="1583"/>
                  </a:lnTo>
                  <a:lnTo>
                    <a:pt x="2542" y="1552"/>
                  </a:lnTo>
                  <a:lnTo>
                    <a:pt x="2570" y="1521"/>
                  </a:lnTo>
                  <a:lnTo>
                    <a:pt x="2595" y="1489"/>
                  </a:lnTo>
                  <a:lnTo>
                    <a:pt x="2621" y="1455"/>
                  </a:lnTo>
                  <a:lnTo>
                    <a:pt x="2646" y="1421"/>
                  </a:lnTo>
                  <a:lnTo>
                    <a:pt x="2669" y="1387"/>
                  </a:lnTo>
                  <a:lnTo>
                    <a:pt x="2692" y="1352"/>
                  </a:lnTo>
                  <a:lnTo>
                    <a:pt x="2715" y="1317"/>
                  </a:lnTo>
                  <a:lnTo>
                    <a:pt x="2736" y="1280"/>
                  </a:lnTo>
                  <a:lnTo>
                    <a:pt x="2756" y="1244"/>
                  </a:lnTo>
                  <a:lnTo>
                    <a:pt x="2776" y="1207"/>
                  </a:lnTo>
                  <a:lnTo>
                    <a:pt x="2794" y="1169"/>
                  </a:lnTo>
                  <a:lnTo>
                    <a:pt x="2813" y="1131"/>
                  </a:lnTo>
                  <a:lnTo>
                    <a:pt x="2829" y="1093"/>
                  </a:lnTo>
                  <a:lnTo>
                    <a:pt x="2845" y="1054"/>
                  </a:lnTo>
                  <a:lnTo>
                    <a:pt x="2860" y="1013"/>
                  </a:lnTo>
                  <a:lnTo>
                    <a:pt x="2875" y="973"/>
                  </a:lnTo>
                  <a:lnTo>
                    <a:pt x="2888" y="933"/>
                  </a:lnTo>
                  <a:lnTo>
                    <a:pt x="2900" y="892"/>
                  </a:lnTo>
                  <a:lnTo>
                    <a:pt x="2911" y="851"/>
                  </a:lnTo>
                  <a:lnTo>
                    <a:pt x="2921" y="808"/>
                  </a:lnTo>
                  <a:lnTo>
                    <a:pt x="2930" y="767"/>
                  </a:lnTo>
                  <a:lnTo>
                    <a:pt x="2938" y="724"/>
                  </a:lnTo>
                  <a:lnTo>
                    <a:pt x="2945" y="682"/>
                  </a:lnTo>
                  <a:lnTo>
                    <a:pt x="2952" y="638"/>
                  </a:lnTo>
                  <a:lnTo>
                    <a:pt x="2957" y="594"/>
                  </a:lnTo>
                  <a:lnTo>
                    <a:pt x="2960" y="550"/>
                  </a:lnTo>
                  <a:lnTo>
                    <a:pt x="2964" y="507"/>
                  </a:lnTo>
                  <a:lnTo>
                    <a:pt x="2965" y="462"/>
                  </a:lnTo>
                  <a:lnTo>
                    <a:pt x="2966" y="417"/>
                  </a:lnTo>
                  <a:lnTo>
                    <a:pt x="2966" y="417"/>
                  </a:lnTo>
                  <a:lnTo>
                    <a:pt x="2965" y="363"/>
                  </a:lnTo>
                  <a:lnTo>
                    <a:pt x="2963" y="310"/>
                  </a:lnTo>
                  <a:lnTo>
                    <a:pt x="2958" y="257"/>
                  </a:lnTo>
                  <a:lnTo>
                    <a:pt x="2952" y="205"/>
                  </a:lnTo>
                  <a:lnTo>
                    <a:pt x="2944" y="153"/>
                  </a:lnTo>
                  <a:lnTo>
                    <a:pt x="2936" y="101"/>
                  </a:lnTo>
                  <a:lnTo>
                    <a:pt x="2926" y="51"/>
                  </a:lnTo>
                  <a:lnTo>
                    <a:pt x="2913" y="0"/>
                  </a:lnTo>
                  <a:lnTo>
                    <a:pt x="2913" y="0"/>
                  </a:lnTo>
                  <a:lnTo>
                    <a:pt x="2913" y="33"/>
                  </a:lnTo>
                  <a:lnTo>
                    <a:pt x="2911" y="66"/>
                  </a:lnTo>
                  <a:lnTo>
                    <a:pt x="2908" y="98"/>
                  </a:lnTo>
                  <a:lnTo>
                    <a:pt x="2905" y="130"/>
                  </a:lnTo>
                  <a:lnTo>
                    <a:pt x="2902" y="161"/>
                  </a:lnTo>
                  <a:lnTo>
                    <a:pt x="2897" y="194"/>
                  </a:lnTo>
                  <a:lnTo>
                    <a:pt x="2891" y="225"/>
                  </a:lnTo>
                  <a:lnTo>
                    <a:pt x="2884" y="256"/>
                  </a:lnTo>
                  <a:lnTo>
                    <a:pt x="2877" y="287"/>
                  </a:lnTo>
                  <a:lnTo>
                    <a:pt x="2870" y="317"/>
                  </a:lnTo>
                  <a:lnTo>
                    <a:pt x="2861" y="347"/>
                  </a:lnTo>
                  <a:lnTo>
                    <a:pt x="2852" y="377"/>
                  </a:lnTo>
                  <a:lnTo>
                    <a:pt x="2843" y="407"/>
                  </a:lnTo>
                  <a:lnTo>
                    <a:pt x="2831" y="435"/>
                  </a:lnTo>
                  <a:lnTo>
                    <a:pt x="2821" y="464"/>
                  </a:lnTo>
                  <a:lnTo>
                    <a:pt x="2808" y="493"/>
                  </a:lnTo>
                  <a:lnTo>
                    <a:pt x="2796" y="520"/>
                  </a:lnTo>
                  <a:lnTo>
                    <a:pt x="2783" y="549"/>
                  </a:lnTo>
                  <a:lnTo>
                    <a:pt x="2769" y="576"/>
                  </a:lnTo>
                  <a:lnTo>
                    <a:pt x="2754" y="603"/>
                  </a:lnTo>
                  <a:lnTo>
                    <a:pt x="2739" y="630"/>
                  </a:lnTo>
                  <a:lnTo>
                    <a:pt x="2723" y="656"/>
                  </a:lnTo>
                  <a:lnTo>
                    <a:pt x="2707" y="682"/>
                  </a:lnTo>
                  <a:lnTo>
                    <a:pt x="2690" y="707"/>
                  </a:lnTo>
                  <a:lnTo>
                    <a:pt x="2672" y="732"/>
                  </a:lnTo>
                  <a:lnTo>
                    <a:pt x="2654" y="757"/>
                  </a:lnTo>
                  <a:lnTo>
                    <a:pt x="2636" y="781"/>
                  </a:lnTo>
                  <a:lnTo>
                    <a:pt x="2616" y="805"/>
                  </a:lnTo>
                  <a:lnTo>
                    <a:pt x="2596" y="828"/>
                  </a:lnTo>
                  <a:lnTo>
                    <a:pt x="2576" y="851"/>
                  </a:lnTo>
                  <a:lnTo>
                    <a:pt x="2555" y="873"/>
                  </a:lnTo>
                  <a:lnTo>
                    <a:pt x="2534" y="895"/>
                  </a:lnTo>
                  <a:lnTo>
                    <a:pt x="2512" y="915"/>
                  </a:lnTo>
                  <a:lnTo>
                    <a:pt x="2489" y="936"/>
                  </a:lnTo>
                  <a:lnTo>
                    <a:pt x="2466" y="956"/>
                  </a:lnTo>
                  <a:lnTo>
                    <a:pt x="2443" y="975"/>
                  </a:lnTo>
                  <a:lnTo>
                    <a:pt x="2419" y="995"/>
                  </a:lnTo>
                  <a:lnTo>
                    <a:pt x="2395" y="1013"/>
                  </a:lnTo>
                  <a:lnTo>
                    <a:pt x="2371" y="1031"/>
                  </a:lnTo>
                  <a:lnTo>
                    <a:pt x="2345" y="1048"/>
                  </a:lnTo>
                  <a:lnTo>
                    <a:pt x="2320" y="1065"/>
                  </a:lnTo>
                  <a:lnTo>
                    <a:pt x="2294" y="1081"/>
                  </a:lnTo>
                  <a:lnTo>
                    <a:pt x="2267" y="1096"/>
                  </a:lnTo>
                  <a:lnTo>
                    <a:pt x="2241" y="1111"/>
                  </a:lnTo>
                  <a:lnTo>
                    <a:pt x="2213" y="1126"/>
                  </a:lnTo>
                  <a:lnTo>
                    <a:pt x="2185" y="1140"/>
                  </a:lnTo>
                  <a:lnTo>
                    <a:pt x="2158" y="1153"/>
                  </a:lnTo>
                  <a:lnTo>
                    <a:pt x="2129" y="1164"/>
                  </a:lnTo>
                  <a:lnTo>
                    <a:pt x="2100" y="1177"/>
                  </a:lnTo>
                  <a:lnTo>
                    <a:pt x="2071" y="1187"/>
                  </a:lnTo>
                  <a:lnTo>
                    <a:pt x="2043" y="1197"/>
                  </a:lnTo>
                  <a:lnTo>
                    <a:pt x="2013" y="1207"/>
                  </a:lnTo>
                  <a:lnTo>
                    <a:pt x="1983" y="1216"/>
                  </a:lnTo>
                  <a:lnTo>
                    <a:pt x="1953" y="1224"/>
                  </a:lnTo>
                  <a:lnTo>
                    <a:pt x="1922" y="1231"/>
                  </a:lnTo>
                  <a:lnTo>
                    <a:pt x="1891" y="1238"/>
                  </a:lnTo>
                  <a:lnTo>
                    <a:pt x="1860" y="1244"/>
                  </a:lnTo>
                  <a:lnTo>
                    <a:pt x="1829" y="1249"/>
                  </a:lnTo>
                  <a:lnTo>
                    <a:pt x="1796" y="1254"/>
                  </a:lnTo>
                  <a:lnTo>
                    <a:pt x="1765" y="1257"/>
                  </a:lnTo>
                  <a:lnTo>
                    <a:pt x="1733" y="1260"/>
                  </a:lnTo>
                  <a:lnTo>
                    <a:pt x="1701" y="1262"/>
                  </a:lnTo>
                  <a:lnTo>
                    <a:pt x="1667" y="1263"/>
                  </a:lnTo>
                  <a:lnTo>
                    <a:pt x="1635" y="1263"/>
                  </a:lnTo>
                  <a:lnTo>
                    <a:pt x="1635" y="1263"/>
                  </a:lnTo>
                  <a:lnTo>
                    <a:pt x="1603" y="1263"/>
                  </a:lnTo>
                  <a:lnTo>
                    <a:pt x="1571" y="1262"/>
                  </a:lnTo>
                  <a:lnTo>
                    <a:pt x="1538" y="1260"/>
                  </a:lnTo>
                  <a:lnTo>
                    <a:pt x="1506" y="1257"/>
                  </a:lnTo>
                  <a:lnTo>
                    <a:pt x="1474" y="1254"/>
                  </a:lnTo>
                  <a:lnTo>
                    <a:pt x="1443" y="1249"/>
                  </a:lnTo>
                  <a:lnTo>
                    <a:pt x="1412" y="1245"/>
                  </a:lnTo>
                  <a:lnTo>
                    <a:pt x="1381" y="1239"/>
                  </a:lnTo>
                  <a:lnTo>
                    <a:pt x="1351" y="1232"/>
                  </a:lnTo>
                  <a:lnTo>
                    <a:pt x="1320" y="1224"/>
                  </a:lnTo>
                  <a:lnTo>
                    <a:pt x="1290" y="1216"/>
                  </a:lnTo>
                  <a:lnTo>
                    <a:pt x="1260" y="1208"/>
                  </a:lnTo>
                  <a:lnTo>
                    <a:pt x="1231" y="1199"/>
                  </a:lnTo>
                  <a:lnTo>
                    <a:pt x="1201" y="1188"/>
                  </a:lnTo>
                  <a:lnTo>
                    <a:pt x="1172" y="1177"/>
                  </a:lnTo>
                  <a:lnTo>
                    <a:pt x="1144" y="1165"/>
                  </a:lnTo>
                  <a:lnTo>
                    <a:pt x="1116" y="1154"/>
                  </a:lnTo>
                  <a:lnTo>
                    <a:pt x="1088" y="1141"/>
                  </a:lnTo>
                  <a:lnTo>
                    <a:pt x="1061" y="1127"/>
                  </a:lnTo>
                  <a:lnTo>
                    <a:pt x="1033" y="1113"/>
                  </a:lnTo>
                  <a:lnTo>
                    <a:pt x="1007" y="1098"/>
                  </a:lnTo>
                  <a:lnTo>
                    <a:pt x="980" y="1083"/>
                  </a:lnTo>
                  <a:lnTo>
                    <a:pt x="955" y="1067"/>
                  </a:lnTo>
                  <a:lnTo>
                    <a:pt x="929" y="1051"/>
                  </a:lnTo>
                  <a:lnTo>
                    <a:pt x="904" y="1034"/>
                  </a:lnTo>
                  <a:lnTo>
                    <a:pt x="880" y="1016"/>
                  </a:lnTo>
                  <a:lnTo>
                    <a:pt x="856" y="998"/>
                  </a:lnTo>
                  <a:lnTo>
                    <a:pt x="832" y="979"/>
                  </a:lnTo>
                  <a:lnTo>
                    <a:pt x="809" y="960"/>
                  </a:lnTo>
                  <a:lnTo>
                    <a:pt x="785" y="940"/>
                  </a:lnTo>
                  <a:lnTo>
                    <a:pt x="764" y="920"/>
                  </a:lnTo>
                  <a:lnTo>
                    <a:pt x="742" y="898"/>
                  </a:lnTo>
                  <a:lnTo>
                    <a:pt x="0" y="1640"/>
                  </a:lnTo>
                  <a:lnTo>
                    <a:pt x="0" y="1640"/>
                  </a:lnTo>
                  <a:lnTo>
                    <a:pt x="30" y="1670"/>
                  </a:lnTo>
                  <a:lnTo>
                    <a:pt x="60" y="1697"/>
                  </a:lnTo>
                  <a:lnTo>
                    <a:pt x="91" y="1726"/>
                  </a:lnTo>
                  <a:lnTo>
                    <a:pt x="124" y="1752"/>
                  </a:lnTo>
                  <a:lnTo>
                    <a:pt x="156" y="1779"/>
                  </a:lnTo>
                  <a:lnTo>
                    <a:pt x="189" y="1804"/>
                  </a:lnTo>
                  <a:lnTo>
                    <a:pt x="223" y="1830"/>
                  </a:lnTo>
                  <a:lnTo>
                    <a:pt x="257" y="1854"/>
                  </a:lnTo>
                  <a:lnTo>
                    <a:pt x="293" y="1877"/>
                  </a:lnTo>
                  <a:lnTo>
                    <a:pt x="328" y="1899"/>
                  </a:lnTo>
                  <a:lnTo>
                    <a:pt x="364" y="1921"/>
                  </a:lnTo>
                  <a:lnTo>
                    <a:pt x="401" y="1941"/>
                  </a:lnTo>
                  <a:lnTo>
                    <a:pt x="438" y="1961"/>
                  </a:lnTo>
                  <a:lnTo>
                    <a:pt x="476" y="1979"/>
                  </a:lnTo>
                  <a:lnTo>
                    <a:pt x="514" y="1998"/>
                  </a:lnTo>
                  <a:lnTo>
                    <a:pt x="553" y="2015"/>
                  </a:lnTo>
                  <a:lnTo>
                    <a:pt x="592" y="2031"/>
                  </a:lnTo>
                  <a:lnTo>
                    <a:pt x="632" y="2046"/>
                  </a:lnTo>
                  <a:lnTo>
                    <a:pt x="673" y="2060"/>
                  </a:lnTo>
                  <a:lnTo>
                    <a:pt x="713" y="2074"/>
                  </a:lnTo>
                  <a:lnTo>
                    <a:pt x="754" y="2085"/>
                  </a:lnTo>
                  <a:lnTo>
                    <a:pt x="796" y="2097"/>
                  </a:lnTo>
                  <a:lnTo>
                    <a:pt x="837" y="2107"/>
                  </a:lnTo>
                  <a:lnTo>
                    <a:pt x="880" y="2116"/>
                  </a:lnTo>
                  <a:lnTo>
                    <a:pt x="922" y="2124"/>
                  </a:lnTo>
                  <a:lnTo>
                    <a:pt x="965" y="2132"/>
                  </a:lnTo>
                  <a:lnTo>
                    <a:pt x="1009" y="2138"/>
                  </a:lnTo>
                  <a:lnTo>
                    <a:pt x="1053" y="2143"/>
                  </a:lnTo>
                  <a:lnTo>
                    <a:pt x="1096" y="2147"/>
                  </a:lnTo>
                  <a:lnTo>
                    <a:pt x="1141" y="2150"/>
                  </a:lnTo>
                  <a:lnTo>
                    <a:pt x="1186" y="2152"/>
                  </a:lnTo>
                  <a:lnTo>
                    <a:pt x="1231" y="2152"/>
                  </a:lnTo>
                  <a:lnTo>
                    <a:pt x="1231" y="2152"/>
                  </a:lnTo>
                  <a:close/>
                </a:path>
              </a:pathLst>
            </a:custGeom>
            <a:solidFill>
              <a:srgbClr val="1A81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26" name="Freeform 310"/>
            <p:cNvSpPr>
              <a:spLocks/>
            </p:cNvSpPr>
            <p:nvPr/>
          </p:nvSpPr>
          <p:spPr bwMode="auto">
            <a:xfrm>
              <a:off x="3473450" y="1703388"/>
              <a:ext cx="492125" cy="471488"/>
            </a:xfrm>
            <a:custGeom>
              <a:avLst/>
              <a:gdLst>
                <a:gd name="T0" fmla="*/ 0 w 2171"/>
                <a:gd name="T1" fmla="*/ 1710 h 2075"/>
                <a:gd name="T2" fmla="*/ 43 w 2171"/>
                <a:gd name="T3" fmla="*/ 1752 h 2075"/>
                <a:gd name="T4" fmla="*/ 90 w 2171"/>
                <a:gd name="T5" fmla="*/ 1791 h 2075"/>
                <a:gd name="T6" fmla="*/ 138 w 2171"/>
                <a:gd name="T7" fmla="*/ 1828 h 2075"/>
                <a:gd name="T8" fmla="*/ 187 w 2171"/>
                <a:gd name="T9" fmla="*/ 1863 h 2075"/>
                <a:gd name="T10" fmla="*/ 238 w 2171"/>
                <a:gd name="T11" fmla="*/ 1895 h 2075"/>
                <a:gd name="T12" fmla="*/ 291 w 2171"/>
                <a:gd name="T13" fmla="*/ 1925 h 2075"/>
                <a:gd name="T14" fmla="*/ 346 w 2171"/>
                <a:gd name="T15" fmla="*/ 1953 h 2075"/>
                <a:gd name="T16" fmla="*/ 402 w 2171"/>
                <a:gd name="T17" fmla="*/ 1977 h 2075"/>
                <a:gd name="T18" fmla="*/ 459 w 2171"/>
                <a:gd name="T19" fmla="*/ 2000 h 2075"/>
                <a:gd name="T20" fmla="*/ 518 w 2171"/>
                <a:gd name="T21" fmla="*/ 2020 h 2075"/>
                <a:gd name="T22" fmla="*/ 578 w 2171"/>
                <a:gd name="T23" fmla="*/ 2036 h 2075"/>
                <a:gd name="T24" fmla="*/ 639 w 2171"/>
                <a:gd name="T25" fmla="*/ 2051 h 2075"/>
                <a:gd name="T26" fmla="*/ 701 w 2171"/>
                <a:gd name="T27" fmla="*/ 2061 h 2075"/>
                <a:gd name="T28" fmla="*/ 764 w 2171"/>
                <a:gd name="T29" fmla="*/ 2069 h 2075"/>
                <a:gd name="T30" fmla="*/ 829 w 2171"/>
                <a:gd name="T31" fmla="*/ 2074 h 2075"/>
                <a:gd name="T32" fmla="*/ 893 w 2171"/>
                <a:gd name="T33" fmla="*/ 2075 h 2075"/>
                <a:gd name="T34" fmla="*/ 925 w 2171"/>
                <a:gd name="T35" fmla="*/ 2075 h 2075"/>
                <a:gd name="T36" fmla="*/ 991 w 2171"/>
                <a:gd name="T37" fmla="*/ 2072 h 2075"/>
                <a:gd name="T38" fmla="*/ 1054 w 2171"/>
                <a:gd name="T39" fmla="*/ 2066 h 2075"/>
                <a:gd name="T40" fmla="*/ 1118 w 2171"/>
                <a:gd name="T41" fmla="*/ 2056 h 2075"/>
                <a:gd name="T42" fmla="*/ 1180 w 2171"/>
                <a:gd name="T43" fmla="*/ 2043 h 2075"/>
                <a:gd name="T44" fmla="*/ 1241 w 2171"/>
                <a:gd name="T45" fmla="*/ 2028 h 2075"/>
                <a:gd name="T46" fmla="*/ 1301 w 2171"/>
                <a:gd name="T47" fmla="*/ 2009 h 2075"/>
                <a:gd name="T48" fmla="*/ 1358 w 2171"/>
                <a:gd name="T49" fmla="*/ 1989 h 2075"/>
                <a:gd name="T50" fmla="*/ 1416 w 2171"/>
                <a:gd name="T51" fmla="*/ 1965 h 2075"/>
                <a:gd name="T52" fmla="*/ 1471 w 2171"/>
                <a:gd name="T53" fmla="*/ 1938 h 2075"/>
                <a:gd name="T54" fmla="*/ 1525 w 2171"/>
                <a:gd name="T55" fmla="*/ 1908 h 2075"/>
                <a:gd name="T56" fmla="*/ 1578 w 2171"/>
                <a:gd name="T57" fmla="*/ 1877 h 2075"/>
                <a:gd name="T58" fmla="*/ 1629 w 2171"/>
                <a:gd name="T59" fmla="*/ 1843 h 2075"/>
                <a:gd name="T60" fmla="*/ 1677 w 2171"/>
                <a:gd name="T61" fmla="*/ 1807 h 2075"/>
                <a:gd name="T62" fmla="*/ 1724 w 2171"/>
                <a:gd name="T63" fmla="*/ 1768 h 2075"/>
                <a:gd name="T64" fmla="*/ 1770 w 2171"/>
                <a:gd name="T65" fmla="*/ 1727 h 2075"/>
                <a:gd name="T66" fmla="*/ 1813 w 2171"/>
                <a:gd name="T67" fmla="*/ 1685 h 2075"/>
                <a:gd name="T68" fmla="*/ 1854 w 2171"/>
                <a:gd name="T69" fmla="*/ 1640 h 2075"/>
                <a:gd name="T70" fmla="*/ 1894 w 2171"/>
                <a:gd name="T71" fmla="*/ 1593 h 2075"/>
                <a:gd name="T72" fmla="*/ 1930 w 2171"/>
                <a:gd name="T73" fmla="*/ 1544 h 2075"/>
                <a:gd name="T74" fmla="*/ 1965 w 2171"/>
                <a:gd name="T75" fmla="*/ 1494 h 2075"/>
                <a:gd name="T76" fmla="*/ 1997 w 2171"/>
                <a:gd name="T77" fmla="*/ 1442 h 2075"/>
                <a:gd name="T78" fmla="*/ 2027 w 2171"/>
                <a:gd name="T79" fmla="*/ 1388 h 2075"/>
                <a:gd name="T80" fmla="*/ 2054 w 2171"/>
                <a:gd name="T81" fmla="*/ 1332 h 2075"/>
                <a:gd name="T82" fmla="*/ 2079 w 2171"/>
                <a:gd name="T83" fmla="*/ 1276 h 2075"/>
                <a:gd name="T84" fmla="*/ 2101 w 2171"/>
                <a:gd name="T85" fmla="*/ 1219 h 2075"/>
                <a:gd name="T86" fmla="*/ 2119 w 2171"/>
                <a:gd name="T87" fmla="*/ 1159 h 2075"/>
                <a:gd name="T88" fmla="*/ 2135 w 2171"/>
                <a:gd name="T89" fmla="*/ 1099 h 2075"/>
                <a:gd name="T90" fmla="*/ 2149 w 2171"/>
                <a:gd name="T91" fmla="*/ 1037 h 2075"/>
                <a:gd name="T92" fmla="*/ 2160 w 2171"/>
                <a:gd name="T93" fmla="*/ 973 h 2075"/>
                <a:gd name="T94" fmla="*/ 2166 w 2171"/>
                <a:gd name="T95" fmla="*/ 910 h 2075"/>
                <a:gd name="T96" fmla="*/ 2171 w 2171"/>
                <a:gd name="T97" fmla="*/ 845 h 2075"/>
                <a:gd name="T98" fmla="*/ 2171 w 2171"/>
                <a:gd name="T99" fmla="*/ 812 h 2075"/>
                <a:gd name="T100" fmla="*/ 2157 w 2171"/>
                <a:gd name="T101" fmla="*/ 759 h 2075"/>
                <a:gd name="T102" fmla="*/ 2124 w 2171"/>
                <a:gd name="T103" fmla="*/ 654 h 2075"/>
                <a:gd name="T104" fmla="*/ 2085 w 2171"/>
                <a:gd name="T105" fmla="*/ 553 h 2075"/>
                <a:gd name="T106" fmla="*/ 2040 w 2171"/>
                <a:gd name="T107" fmla="*/ 454 h 2075"/>
                <a:gd name="T108" fmla="*/ 1988 w 2171"/>
                <a:gd name="T109" fmla="*/ 360 h 2075"/>
                <a:gd name="T110" fmla="*/ 1932 w 2171"/>
                <a:gd name="T111" fmla="*/ 268 h 2075"/>
                <a:gd name="T112" fmla="*/ 1868 w 2171"/>
                <a:gd name="T113" fmla="*/ 180 h 2075"/>
                <a:gd name="T114" fmla="*/ 1801 w 2171"/>
                <a:gd name="T115" fmla="*/ 97 h 2075"/>
                <a:gd name="T116" fmla="*/ 1766 w 2171"/>
                <a:gd name="T117" fmla="*/ 57 h 2075"/>
                <a:gd name="T118" fmla="*/ 1759 w 2171"/>
                <a:gd name="T119" fmla="*/ 50 h 2075"/>
                <a:gd name="T120" fmla="*/ 1709 w 2171"/>
                <a:gd name="T121" fmla="*/ 0 h 2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71" h="2075">
                  <a:moveTo>
                    <a:pt x="0" y="1710"/>
                  </a:moveTo>
                  <a:lnTo>
                    <a:pt x="0" y="1710"/>
                  </a:lnTo>
                  <a:lnTo>
                    <a:pt x="22" y="1732"/>
                  </a:lnTo>
                  <a:lnTo>
                    <a:pt x="43" y="1752"/>
                  </a:lnTo>
                  <a:lnTo>
                    <a:pt x="67" y="1772"/>
                  </a:lnTo>
                  <a:lnTo>
                    <a:pt x="90" y="1791"/>
                  </a:lnTo>
                  <a:lnTo>
                    <a:pt x="114" y="1810"/>
                  </a:lnTo>
                  <a:lnTo>
                    <a:pt x="138" y="1828"/>
                  </a:lnTo>
                  <a:lnTo>
                    <a:pt x="162" y="1846"/>
                  </a:lnTo>
                  <a:lnTo>
                    <a:pt x="187" y="1863"/>
                  </a:lnTo>
                  <a:lnTo>
                    <a:pt x="213" y="1879"/>
                  </a:lnTo>
                  <a:lnTo>
                    <a:pt x="238" y="1895"/>
                  </a:lnTo>
                  <a:lnTo>
                    <a:pt x="265" y="1910"/>
                  </a:lnTo>
                  <a:lnTo>
                    <a:pt x="291" y="1925"/>
                  </a:lnTo>
                  <a:lnTo>
                    <a:pt x="319" y="1939"/>
                  </a:lnTo>
                  <a:lnTo>
                    <a:pt x="346" y="1953"/>
                  </a:lnTo>
                  <a:lnTo>
                    <a:pt x="374" y="1966"/>
                  </a:lnTo>
                  <a:lnTo>
                    <a:pt x="402" y="1977"/>
                  </a:lnTo>
                  <a:lnTo>
                    <a:pt x="430" y="1989"/>
                  </a:lnTo>
                  <a:lnTo>
                    <a:pt x="459" y="2000"/>
                  </a:lnTo>
                  <a:lnTo>
                    <a:pt x="489" y="2011"/>
                  </a:lnTo>
                  <a:lnTo>
                    <a:pt x="518" y="2020"/>
                  </a:lnTo>
                  <a:lnTo>
                    <a:pt x="548" y="2028"/>
                  </a:lnTo>
                  <a:lnTo>
                    <a:pt x="578" y="2036"/>
                  </a:lnTo>
                  <a:lnTo>
                    <a:pt x="609" y="2044"/>
                  </a:lnTo>
                  <a:lnTo>
                    <a:pt x="639" y="2051"/>
                  </a:lnTo>
                  <a:lnTo>
                    <a:pt x="670" y="2057"/>
                  </a:lnTo>
                  <a:lnTo>
                    <a:pt x="701" y="2061"/>
                  </a:lnTo>
                  <a:lnTo>
                    <a:pt x="732" y="2066"/>
                  </a:lnTo>
                  <a:lnTo>
                    <a:pt x="764" y="2069"/>
                  </a:lnTo>
                  <a:lnTo>
                    <a:pt x="796" y="2072"/>
                  </a:lnTo>
                  <a:lnTo>
                    <a:pt x="829" y="2074"/>
                  </a:lnTo>
                  <a:lnTo>
                    <a:pt x="861" y="2075"/>
                  </a:lnTo>
                  <a:lnTo>
                    <a:pt x="893" y="2075"/>
                  </a:lnTo>
                  <a:lnTo>
                    <a:pt x="893" y="2075"/>
                  </a:lnTo>
                  <a:lnTo>
                    <a:pt x="925" y="2075"/>
                  </a:lnTo>
                  <a:lnTo>
                    <a:pt x="959" y="2074"/>
                  </a:lnTo>
                  <a:lnTo>
                    <a:pt x="991" y="2072"/>
                  </a:lnTo>
                  <a:lnTo>
                    <a:pt x="1023" y="2069"/>
                  </a:lnTo>
                  <a:lnTo>
                    <a:pt x="1054" y="2066"/>
                  </a:lnTo>
                  <a:lnTo>
                    <a:pt x="1087" y="2061"/>
                  </a:lnTo>
                  <a:lnTo>
                    <a:pt x="1118" y="2056"/>
                  </a:lnTo>
                  <a:lnTo>
                    <a:pt x="1149" y="2050"/>
                  </a:lnTo>
                  <a:lnTo>
                    <a:pt x="1180" y="2043"/>
                  </a:lnTo>
                  <a:lnTo>
                    <a:pt x="1211" y="2036"/>
                  </a:lnTo>
                  <a:lnTo>
                    <a:pt x="1241" y="2028"/>
                  </a:lnTo>
                  <a:lnTo>
                    <a:pt x="1271" y="2019"/>
                  </a:lnTo>
                  <a:lnTo>
                    <a:pt x="1301" y="2009"/>
                  </a:lnTo>
                  <a:lnTo>
                    <a:pt x="1329" y="1999"/>
                  </a:lnTo>
                  <a:lnTo>
                    <a:pt x="1358" y="1989"/>
                  </a:lnTo>
                  <a:lnTo>
                    <a:pt x="1387" y="1976"/>
                  </a:lnTo>
                  <a:lnTo>
                    <a:pt x="1416" y="1965"/>
                  </a:lnTo>
                  <a:lnTo>
                    <a:pt x="1443" y="1952"/>
                  </a:lnTo>
                  <a:lnTo>
                    <a:pt x="1471" y="1938"/>
                  </a:lnTo>
                  <a:lnTo>
                    <a:pt x="1499" y="1923"/>
                  </a:lnTo>
                  <a:lnTo>
                    <a:pt x="1525" y="1908"/>
                  </a:lnTo>
                  <a:lnTo>
                    <a:pt x="1552" y="1893"/>
                  </a:lnTo>
                  <a:lnTo>
                    <a:pt x="1578" y="1877"/>
                  </a:lnTo>
                  <a:lnTo>
                    <a:pt x="1603" y="1860"/>
                  </a:lnTo>
                  <a:lnTo>
                    <a:pt x="1629" y="1843"/>
                  </a:lnTo>
                  <a:lnTo>
                    <a:pt x="1653" y="1825"/>
                  </a:lnTo>
                  <a:lnTo>
                    <a:pt x="1677" y="1807"/>
                  </a:lnTo>
                  <a:lnTo>
                    <a:pt x="1701" y="1787"/>
                  </a:lnTo>
                  <a:lnTo>
                    <a:pt x="1724" y="1768"/>
                  </a:lnTo>
                  <a:lnTo>
                    <a:pt x="1747" y="1748"/>
                  </a:lnTo>
                  <a:lnTo>
                    <a:pt x="1770" y="1727"/>
                  </a:lnTo>
                  <a:lnTo>
                    <a:pt x="1792" y="1707"/>
                  </a:lnTo>
                  <a:lnTo>
                    <a:pt x="1813" y="1685"/>
                  </a:lnTo>
                  <a:lnTo>
                    <a:pt x="1834" y="1663"/>
                  </a:lnTo>
                  <a:lnTo>
                    <a:pt x="1854" y="1640"/>
                  </a:lnTo>
                  <a:lnTo>
                    <a:pt x="1874" y="1617"/>
                  </a:lnTo>
                  <a:lnTo>
                    <a:pt x="1894" y="1593"/>
                  </a:lnTo>
                  <a:lnTo>
                    <a:pt x="1912" y="1569"/>
                  </a:lnTo>
                  <a:lnTo>
                    <a:pt x="1930" y="1544"/>
                  </a:lnTo>
                  <a:lnTo>
                    <a:pt x="1948" y="1519"/>
                  </a:lnTo>
                  <a:lnTo>
                    <a:pt x="1965" y="1494"/>
                  </a:lnTo>
                  <a:lnTo>
                    <a:pt x="1981" y="1468"/>
                  </a:lnTo>
                  <a:lnTo>
                    <a:pt x="1997" y="1442"/>
                  </a:lnTo>
                  <a:lnTo>
                    <a:pt x="2012" y="1415"/>
                  </a:lnTo>
                  <a:lnTo>
                    <a:pt x="2027" y="1388"/>
                  </a:lnTo>
                  <a:lnTo>
                    <a:pt x="2041" y="1361"/>
                  </a:lnTo>
                  <a:lnTo>
                    <a:pt x="2054" y="1332"/>
                  </a:lnTo>
                  <a:lnTo>
                    <a:pt x="2066" y="1305"/>
                  </a:lnTo>
                  <a:lnTo>
                    <a:pt x="2079" y="1276"/>
                  </a:lnTo>
                  <a:lnTo>
                    <a:pt x="2089" y="1247"/>
                  </a:lnTo>
                  <a:lnTo>
                    <a:pt x="2101" y="1219"/>
                  </a:lnTo>
                  <a:lnTo>
                    <a:pt x="2110" y="1189"/>
                  </a:lnTo>
                  <a:lnTo>
                    <a:pt x="2119" y="1159"/>
                  </a:lnTo>
                  <a:lnTo>
                    <a:pt x="2128" y="1129"/>
                  </a:lnTo>
                  <a:lnTo>
                    <a:pt x="2135" y="1099"/>
                  </a:lnTo>
                  <a:lnTo>
                    <a:pt x="2142" y="1068"/>
                  </a:lnTo>
                  <a:lnTo>
                    <a:pt x="2149" y="1037"/>
                  </a:lnTo>
                  <a:lnTo>
                    <a:pt x="2155" y="1006"/>
                  </a:lnTo>
                  <a:lnTo>
                    <a:pt x="2160" y="973"/>
                  </a:lnTo>
                  <a:lnTo>
                    <a:pt x="2163" y="942"/>
                  </a:lnTo>
                  <a:lnTo>
                    <a:pt x="2166" y="910"/>
                  </a:lnTo>
                  <a:lnTo>
                    <a:pt x="2169" y="878"/>
                  </a:lnTo>
                  <a:lnTo>
                    <a:pt x="2171" y="845"/>
                  </a:lnTo>
                  <a:lnTo>
                    <a:pt x="2171" y="812"/>
                  </a:lnTo>
                  <a:lnTo>
                    <a:pt x="2171" y="812"/>
                  </a:lnTo>
                  <a:lnTo>
                    <a:pt x="2171" y="812"/>
                  </a:lnTo>
                  <a:lnTo>
                    <a:pt x="2157" y="759"/>
                  </a:lnTo>
                  <a:lnTo>
                    <a:pt x="2141" y="706"/>
                  </a:lnTo>
                  <a:lnTo>
                    <a:pt x="2124" y="654"/>
                  </a:lnTo>
                  <a:lnTo>
                    <a:pt x="2105" y="603"/>
                  </a:lnTo>
                  <a:lnTo>
                    <a:pt x="2085" y="553"/>
                  </a:lnTo>
                  <a:lnTo>
                    <a:pt x="2063" y="502"/>
                  </a:lnTo>
                  <a:lnTo>
                    <a:pt x="2040" y="454"/>
                  </a:lnTo>
                  <a:lnTo>
                    <a:pt x="2014" y="406"/>
                  </a:lnTo>
                  <a:lnTo>
                    <a:pt x="1988" y="360"/>
                  </a:lnTo>
                  <a:lnTo>
                    <a:pt x="1960" y="312"/>
                  </a:lnTo>
                  <a:lnTo>
                    <a:pt x="1932" y="268"/>
                  </a:lnTo>
                  <a:lnTo>
                    <a:pt x="1900" y="224"/>
                  </a:lnTo>
                  <a:lnTo>
                    <a:pt x="1868" y="180"/>
                  </a:lnTo>
                  <a:lnTo>
                    <a:pt x="1836" y="139"/>
                  </a:lnTo>
                  <a:lnTo>
                    <a:pt x="1801" y="97"/>
                  </a:lnTo>
                  <a:lnTo>
                    <a:pt x="1766" y="57"/>
                  </a:lnTo>
                  <a:lnTo>
                    <a:pt x="1766" y="57"/>
                  </a:lnTo>
                  <a:lnTo>
                    <a:pt x="1759" y="50"/>
                  </a:lnTo>
                  <a:lnTo>
                    <a:pt x="1759" y="50"/>
                  </a:lnTo>
                  <a:lnTo>
                    <a:pt x="1735" y="25"/>
                  </a:lnTo>
                  <a:lnTo>
                    <a:pt x="1709" y="0"/>
                  </a:lnTo>
                  <a:lnTo>
                    <a:pt x="0" y="1710"/>
                  </a:lnTo>
                  <a:close/>
                </a:path>
              </a:pathLst>
            </a:custGeom>
            <a:solidFill>
              <a:srgbClr val="299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27" name="Freeform 311"/>
            <p:cNvSpPr>
              <a:spLocks/>
            </p:cNvSpPr>
            <p:nvPr/>
          </p:nvSpPr>
          <p:spPr bwMode="auto">
            <a:xfrm>
              <a:off x="3309938" y="1249363"/>
              <a:ext cx="566738" cy="1473200"/>
            </a:xfrm>
            <a:custGeom>
              <a:avLst/>
              <a:gdLst>
                <a:gd name="T0" fmla="*/ 2406 w 2497"/>
                <a:gd name="T1" fmla="*/ 0 h 6502"/>
                <a:gd name="T2" fmla="*/ 2361 w 2497"/>
                <a:gd name="T3" fmla="*/ 12 h 6502"/>
                <a:gd name="T4" fmla="*/ 2251 w 2497"/>
                <a:gd name="T5" fmla="*/ 108 h 6502"/>
                <a:gd name="T6" fmla="*/ 2116 w 2497"/>
                <a:gd name="T7" fmla="*/ 289 h 6502"/>
                <a:gd name="T8" fmla="*/ 1959 w 2497"/>
                <a:gd name="T9" fmla="*/ 545 h 6502"/>
                <a:gd name="T10" fmla="*/ 1709 w 2497"/>
                <a:gd name="T11" fmla="*/ 1021 h 6502"/>
                <a:gd name="T12" fmla="*/ 1514 w 2497"/>
                <a:gd name="T13" fmla="*/ 1529 h 6502"/>
                <a:gd name="T14" fmla="*/ 1628 w 2497"/>
                <a:gd name="T15" fmla="*/ 1481 h 6502"/>
                <a:gd name="T16" fmla="*/ 1792 w 2497"/>
                <a:gd name="T17" fmla="*/ 1215 h 6502"/>
                <a:gd name="T18" fmla="*/ 1926 w 2497"/>
                <a:gd name="T19" fmla="*/ 1058 h 6502"/>
                <a:gd name="T20" fmla="*/ 1980 w 2497"/>
                <a:gd name="T21" fmla="*/ 1022 h 6502"/>
                <a:gd name="T22" fmla="*/ 2024 w 2497"/>
                <a:gd name="T23" fmla="*/ 1020 h 6502"/>
                <a:gd name="T24" fmla="*/ 2052 w 2497"/>
                <a:gd name="T25" fmla="*/ 1043 h 6502"/>
                <a:gd name="T26" fmla="*/ 2074 w 2497"/>
                <a:gd name="T27" fmla="*/ 1101 h 6502"/>
                <a:gd name="T28" fmla="*/ 2078 w 2497"/>
                <a:gd name="T29" fmla="*/ 1288 h 6502"/>
                <a:gd name="T30" fmla="*/ 2037 w 2497"/>
                <a:gd name="T31" fmla="*/ 1598 h 6502"/>
                <a:gd name="T32" fmla="*/ 1948 w 2497"/>
                <a:gd name="T33" fmla="*/ 2002 h 6502"/>
                <a:gd name="T34" fmla="*/ 1817 w 2497"/>
                <a:gd name="T35" fmla="*/ 2480 h 6502"/>
                <a:gd name="T36" fmla="*/ 1648 w 2497"/>
                <a:gd name="T37" fmla="*/ 3013 h 6502"/>
                <a:gd name="T38" fmla="*/ 1486 w 2497"/>
                <a:gd name="T39" fmla="*/ 3466 h 6502"/>
                <a:gd name="T40" fmla="*/ 1275 w 2497"/>
                <a:gd name="T41" fmla="*/ 4007 h 6502"/>
                <a:gd name="T42" fmla="*/ 1065 w 2497"/>
                <a:gd name="T43" fmla="*/ 4486 h 6502"/>
                <a:gd name="T44" fmla="*/ 867 w 2497"/>
                <a:gd name="T45" fmla="*/ 4888 h 6502"/>
                <a:gd name="T46" fmla="*/ 689 w 2497"/>
                <a:gd name="T47" fmla="*/ 5196 h 6502"/>
                <a:gd name="T48" fmla="*/ 540 w 2497"/>
                <a:gd name="T49" fmla="*/ 5392 h 6502"/>
                <a:gd name="T50" fmla="*/ 468 w 2497"/>
                <a:gd name="T51" fmla="*/ 5450 h 6502"/>
                <a:gd name="T52" fmla="*/ 419 w 2497"/>
                <a:gd name="T53" fmla="*/ 5462 h 6502"/>
                <a:gd name="T54" fmla="*/ 390 w 2497"/>
                <a:gd name="T55" fmla="*/ 5444 h 6502"/>
                <a:gd name="T56" fmla="*/ 366 w 2497"/>
                <a:gd name="T57" fmla="*/ 5395 h 6502"/>
                <a:gd name="T58" fmla="*/ 354 w 2497"/>
                <a:gd name="T59" fmla="*/ 5255 h 6502"/>
                <a:gd name="T60" fmla="*/ 381 w 2497"/>
                <a:gd name="T61" fmla="*/ 4985 h 6502"/>
                <a:gd name="T62" fmla="*/ 365 w 2497"/>
                <a:gd name="T63" fmla="*/ 4750 h 6502"/>
                <a:gd name="T64" fmla="*/ 214 w 2497"/>
                <a:gd name="T65" fmla="*/ 5084 h 6502"/>
                <a:gd name="T66" fmla="*/ 69 w 2497"/>
                <a:gd name="T67" fmla="*/ 5713 h 6502"/>
                <a:gd name="T68" fmla="*/ 19 w 2497"/>
                <a:gd name="T69" fmla="*/ 6025 h 6502"/>
                <a:gd name="T70" fmla="*/ 0 w 2497"/>
                <a:gd name="T71" fmla="*/ 6265 h 6502"/>
                <a:gd name="T72" fmla="*/ 16 w 2497"/>
                <a:gd name="T73" fmla="*/ 6426 h 6502"/>
                <a:gd name="T74" fmla="*/ 44 w 2497"/>
                <a:gd name="T75" fmla="*/ 6480 h 6502"/>
                <a:gd name="T76" fmla="*/ 69 w 2497"/>
                <a:gd name="T77" fmla="*/ 6499 h 6502"/>
                <a:gd name="T78" fmla="*/ 131 w 2497"/>
                <a:gd name="T79" fmla="*/ 6491 h 6502"/>
                <a:gd name="T80" fmla="*/ 209 w 2497"/>
                <a:gd name="T81" fmla="*/ 6433 h 6502"/>
                <a:gd name="T82" fmla="*/ 321 w 2497"/>
                <a:gd name="T83" fmla="*/ 6301 h 6502"/>
                <a:gd name="T84" fmla="*/ 548 w 2497"/>
                <a:gd name="T85" fmla="*/ 5942 h 6502"/>
                <a:gd name="T86" fmla="*/ 814 w 2497"/>
                <a:gd name="T87" fmla="*/ 5432 h 6502"/>
                <a:gd name="T88" fmla="*/ 1105 w 2497"/>
                <a:gd name="T89" fmla="*/ 4793 h 6502"/>
                <a:gd name="T90" fmla="*/ 1412 w 2497"/>
                <a:gd name="T91" fmla="*/ 4050 h 6502"/>
                <a:gd name="T92" fmla="*/ 1657 w 2497"/>
                <a:gd name="T93" fmla="*/ 3398 h 6502"/>
                <a:gd name="T94" fmla="*/ 1939 w 2497"/>
                <a:gd name="T95" fmla="*/ 2582 h 6502"/>
                <a:gd name="T96" fmla="*/ 2170 w 2497"/>
                <a:gd name="T97" fmla="*/ 1833 h 6502"/>
                <a:gd name="T98" fmla="*/ 2344 w 2497"/>
                <a:gd name="T99" fmla="*/ 1176 h 6502"/>
                <a:gd name="T100" fmla="*/ 2456 w 2497"/>
                <a:gd name="T101" fmla="*/ 640 h 6502"/>
                <a:gd name="T102" fmla="*/ 2497 w 2497"/>
                <a:gd name="T103" fmla="*/ 251 h 6502"/>
                <a:gd name="T104" fmla="*/ 2490 w 2497"/>
                <a:gd name="T105" fmla="*/ 119 h 6502"/>
                <a:gd name="T106" fmla="*/ 2464 w 2497"/>
                <a:gd name="T107" fmla="*/ 34 h 6502"/>
                <a:gd name="T108" fmla="*/ 2428 w 2497"/>
                <a:gd name="T109" fmla="*/ 3 h 6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97" h="6502">
                  <a:moveTo>
                    <a:pt x="2428" y="3"/>
                  </a:moveTo>
                  <a:lnTo>
                    <a:pt x="2428" y="3"/>
                  </a:lnTo>
                  <a:lnTo>
                    <a:pt x="2421" y="1"/>
                  </a:lnTo>
                  <a:lnTo>
                    <a:pt x="2413" y="0"/>
                  </a:lnTo>
                  <a:lnTo>
                    <a:pt x="2406" y="0"/>
                  </a:lnTo>
                  <a:lnTo>
                    <a:pt x="2397" y="0"/>
                  </a:lnTo>
                  <a:lnTo>
                    <a:pt x="2389" y="2"/>
                  </a:lnTo>
                  <a:lnTo>
                    <a:pt x="2380" y="4"/>
                  </a:lnTo>
                  <a:lnTo>
                    <a:pt x="2371" y="8"/>
                  </a:lnTo>
                  <a:lnTo>
                    <a:pt x="2361" y="12"/>
                  </a:lnTo>
                  <a:lnTo>
                    <a:pt x="2342" y="25"/>
                  </a:lnTo>
                  <a:lnTo>
                    <a:pt x="2321" y="40"/>
                  </a:lnTo>
                  <a:lnTo>
                    <a:pt x="2299" y="60"/>
                  </a:lnTo>
                  <a:lnTo>
                    <a:pt x="2275" y="83"/>
                  </a:lnTo>
                  <a:lnTo>
                    <a:pt x="2251" y="108"/>
                  </a:lnTo>
                  <a:lnTo>
                    <a:pt x="2227" y="138"/>
                  </a:lnTo>
                  <a:lnTo>
                    <a:pt x="2200" y="170"/>
                  </a:lnTo>
                  <a:lnTo>
                    <a:pt x="2173" y="207"/>
                  </a:lnTo>
                  <a:lnTo>
                    <a:pt x="2145" y="246"/>
                  </a:lnTo>
                  <a:lnTo>
                    <a:pt x="2116" y="289"/>
                  </a:lnTo>
                  <a:lnTo>
                    <a:pt x="2086" y="334"/>
                  </a:lnTo>
                  <a:lnTo>
                    <a:pt x="2055" y="382"/>
                  </a:lnTo>
                  <a:lnTo>
                    <a:pt x="2024" y="434"/>
                  </a:lnTo>
                  <a:lnTo>
                    <a:pt x="1991" y="488"/>
                  </a:lnTo>
                  <a:lnTo>
                    <a:pt x="1959" y="545"/>
                  </a:lnTo>
                  <a:lnTo>
                    <a:pt x="1924" y="605"/>
                  </a:lnTo>
                  <a:lnTo>
                    <a:pt x="1891" y="669"/>
                  </a:lnTo>
                  <a:lnTo>
                    <a:pt x="1855" y="734"/>
                  </a:lnTo>
                  <a:lnTo>
                    <a:pt x="1784" y="872"/>
                  </a:lnTo>
                  <a:lnTo>
                    <a:pt x="1709" y="1021"/>
                  </a:lnTo>
                  <a:lnTo>
                    <a:pt x="1633" y="1180"/>
                  </a:lnTo>
                  <a:lnTo>
                    <a:pt x="1554" y="1347"/>
                  </a:lnTo>
                  <a:lnTo>
                    <a:pt x="1475" y="1522"/>
                  </a:lnTo>
                  <a:lnTo>
                    <a:pt x="1475" y="1522"/>
                  </a:lnTo>
                  <a:lnTo>
                    <a:pt x="1514" y="1529"/>
                  </a:lnTo>
                  <a:lnTo>
                    <a:pt x="1514" y="1529"/>
                  </a:lnTo>
                  <a:lnTo>
                    <a:pt x="1553" y="1537"/>
                  </a:lnTo>
                  <a:lnTo>
                    <a:pt x="1592" y="1545"/>
                  </a:lnTo>
                  <a:lnTo>
                    <a:pt x="1592" y="1545"/>
                  </a:lnTo>
                  <a:lnTo>
                    <a:pt x="1628" y="1481"/>
                  </a:lnTo>
                  <a:lnTo>
                    <a:pt x="1663" y="1420"/>
                  </a:lnTo>
                  <a:lnTo>
                    <a:pt x="1696" y="1363"/>
                  </a:lnTo>
                  <a:lnTo>
                    <a:pt x="1729" y="1310"/>
                  </a:lnTo>
                  <a:lnTo>
                    <a:pt x="1760" y="1260"/>
                  </a:lnTo>
                  <a:lnTo>
                    <a:pt x="1792" y="1215"/>
                  </a:lnTo>
                  <a:lnTo>
                    <a:pt x="1820" y="1175"/>
                  </a:lnTo>
                  <a:lnTo>
                    <a:pt x="1849" y="1138"/>
                  </a:lnTo>
                  <a:lnTo>
                    <a:pt x="1876" y="1107"/>
                  </a:lnTo>
                  <a:lnTo>
                    <a:pt x="1902" y="1080"/>
                  </a:lnTo>
                  <a:lnTo>
                    <a:pt x="1926" y="1058"/>
                  </a:lnTo>
                  <a:lnTo>
                    <a:pt x="1938" y="1047"/>
                  </a:lnTo>
                  <a:lnTo>
                    <a:pt x="1948" y="1039"/>
                  </a:lnTo>
                  <a:lnTo>
                    <a:pt x="1960" y="1032"/>
                  </a:lnTo>
                  <a:lnTo>
                    <a:pt x="1970" y="1027"/>
                  </a:lnTo>
                  <a:lnTo>
                    <a:pt x="1980" y="1022"/>
                  </a:lnTo>
                  <a:lnTo>
                    <a:pt x="1990" y="1020"/>
                  </a:lnTo>
                  <a:lnTo>
                    <a:pt x="1999" y="1017"/>
                  </a:lnTo>
                  <a:lnTo>
                    <a:pt x="2008" y="1016"/>
                  </a:lnTo>
                  <a:lnTo>
                    <a:pt x="2016" y="1017"/>
                  </a:lnTo>
                  <a:lnTo>
                    <a:pt x="2024" y="1020"/>
                  </a:lnTo>
                  <a:lnTo>
                    <a:pt x="2024" y="1020"/>
                  </a:lnTo>
                  <a:lnTo>
                    <a:pt x="2031" y="1023"/>
                  </a:lnTo>
                  <a:lnTo>
                    <a:pt x="2039" y="1029"/>
                  </a:lnTo>
                  <a:lnTo>
                    <a:pt x="2045" y="1035"/>
                  </a:lnTo>
                  <a:lnTo>
                    <a:pt x="2052" y="1043"/>
                  </a:lnTo>
                  <a:lnTo>
                    <a:pt x="2056" y="1052"/>
                  </a:lnTo>
                  <a:lnTo>
                    <a:pt x="2062" y="1062"/>
                  </a:lnTo>
                  <a:lnTo>
                    <a:pt x="2066" y="1074"/>
                  </a:lnTo>
                  <a:lnTo>
                    <a:pt x="2070" y="1088"/>
                  </a:lnTo>
                  <a:lnTo>
                    <a:pt x="2074" y="1101"/>
                  </a:lnTo>
                  <a:lnTo>
                    <a:pt x="2076" y="1118"/>
                  </a:lnTo>
                  <a:lnTo>
                    <a:pt x="2079" y="1153"/>
                  </a:lnTo>
                  <a:lnTo>
                    <a:pt x="2082" y="1194"/>
                  </a:lnTo>
                  <a:lnTo>
                    <a:pt x="2082" y="1238"/>
                  </a:lnTo>
                  <a:lnTo>
                    <a:pt x="2078" y="1288"/>
                  </a:lnTo>
                  <a:lnTo>
                    <a:pt x="2075" y="1341"/>
                  </a:lnTo>
                  <a:lnTo>
                    <a:pt x="2068" y="1400"/>
                  </a:lnTo>
                  <a:lnTo>
                    <a:pt x="2060" y="1462"/>
                  </a:lnTo>
                  <a:lnTo>
                    <a:pt x="2049" y="1529"/>
                  </a:lnTo>
                  <a:lnTo>
                    <a:pt x="2037" y="1598"/>
                  </a:lnTo>
                  <a:lnTo>
                    <a:pt x="2023" y="1673"/>
                  </a:lnTo>
                  <a:lnTo>
                    <a:pt x="2007" y="1750"/>
                  </a:lnTo>
                  <a:lnTo>
                    <a:pt x="1990" y="1830"/>
                  </a:lnTo>
                  <a:lnTo>
                    <a:pt x="1970" y="1914"/>
                  </a:lnTo>
                  <a:lnTo>
                    <a:pt x="1948" y="2002"/>
                  </a:lnTo>
                  <a:lnTo>
                    <a:pt x="1925" y="2092"/>
                  </a:lnTo>
                  <a:lnTo>
                    <a:pt x="1901" y="2185"/>
                  </a:lnTo>
                  <a:lnTo>
                    <a:pt x="1874" y="2280"/>
                  </a:lnTo>
                  <a:lnTo>
                    <a:pt x="1847" y="2378"/>
                  </a:lnTo>
                  <a:lnTo>
                    <a:pt x="1817" y="2480"/>
                  </a:lnTo>
                  <a:lnTo>
                    <a:pt x="1786" y="2582"/>
                  </a:lnTo>
                  <a:lnTo>
                    <a:pt x="1754" y="2687"/>
                  </a:lnTo>
                  <a:lnTo>
                    <a:pt x="1720" y="2794"/>
                  </a:lnTo>
                  <a:lnTo>
                    <a:pt x="1684" y="2902"/>
                  </a:lnTo>
                  <a:lnTo>
                    <a:pt x="1648" y="3013"/>
                  </a:lnTo>
                  <a:lnTo>
                    <a:pt x="1609" y="3124"/>
                  </a:lnTo>
                  <a:lnTo>
                    <a:pt x="1569" y="3237"/>
                  </a:lnTo>
                  <a:lnTo>
                    <a:pt x="1528" y="3352"/>
                  </a:lnTo>
                  <a:lnTo>
                    <a:pt x="1528" y="3352"/>
                  </a:lnTo>
                  <a:lnTo>
                    <a:pt x="1486" y="3466"/>
                  </a:lnTo>
                  <a:lnTo>
                    <a:pt x="1444" y="3578"/>
                  </a:lnTo>
                  <a:lnTo>
                    <a:pt x="1401" y="3689"/>
                  </a:lnTo>
                  <a:lnTo>
                    <a:pt x="1359" y="3797"/>
                  </a:lnTo>
                  <a:lnTo>
                    <a:pt x="1317" y="3903"/>
                  </a:lnTo>
                  <a:lnTo>
                    <a:pt x="1275" y="4007"/>
                  </a:lnTo>
                  <a:lnTo>
                    <a:pt x="1232" y="4109"/>
                  </a:lnTo>
                  <a:lnTo>
                    <a:pt x="1189" y="4207"/>
                  </a:lnTo>
                  <a:lnTo>
                    <a:pt x="1148" y="4303"/>
                  </a:lnTo>
                  <a:lnTo>
                    <a:pt x="1107" y="4397"/>
                  </a:lnTo>
                  <a:lnTo>
                    <a:pt x="1065" y="4486"/>
                  </a:lnTo>
                  <a:lnTo>
                    <a:pt x="1024" y="4574"/>
                  </a:lnTo>
                  <a:lnTo>
                    <a:pt x="983" y="4658"/>
                  </a:lnTo>
                  <a:lnTo>
                    <a:pt x="944" y="4739"/>
                  </a:lnTo>
                  <a:lnTo>
                    <a:pt x="905" y="4816"/>
                  </a:lnTo>
                  <a:lnTo>
                    <a:pt x="867" y="4888"/>
                  </a:lnTo>
                  <a:lnTo>
                    <a:pt x="829" y="4958"/>
                  </a:lnTo>
                  <a:lnTo>
                    <a:pt x="793" y="5024"/>
                  </a:lnTo>
                  <a:lnTo>
                    <a:pt x="758" y="5085"/>
                  </a:lnTo>
                  <a:lnTo>
                    <a:pt x="723" y="5143"/>
                  </a:lnTo>
                  <a:lnTo>
                    <a:pt x="689" y="5196"/>
                  </a:lnTo>
                  <a:lnTo>
                    <a:pt x="656" y="5245"/>
                  </a:lnTo>
                  <a:lnTo>
                    <a:pt x="625" y="5289"/>
                  </a:lnTo>
                  <a:lnTo>
                    <a:pt x="595" y="5328"/>
                  </a:lnTo>
                  <a:lnTo>
                    <a:pt x="567" y="5363"/>
                  </a:lnTo>
                  <a:lnTo>
                    <a:pt x="540" y="5392"/>
                  </a:lnTo>
                  <a:lnTo>
                    <a:pt x="515" y="5417"/>
                  </a:lnTo>
                  <a:lnTo>
                    <a:pt x="502" y="5427"/>
                  </a:lnTo>
                  <a:lnTo>
                    <a:pt x="491" y="5436"/>
                  </a:lnTo>
                  <a:lnTo>
                    <a:pt x="479" y="5444"/>
                  </a:lnTo>
                  <a:lnTo>
                    <a:pt x="468" y="5450"/>
                  </a:lnTo>
                  <a:lnTo>
                    <a:pt x="457" y="5456"/>
                  </a:lnTo>
                  <a:lnTo>
                    <a:pt x="447" y="5459"/>
                  </a:lnTo>
                  <a:lnTo>
                    <a:pt x="438" y="5462"/>
                  </a:lnTo>
                  <a:lnTo>
                    <a:pt x="428" y="5462"/>
                  </a:lnTo>
                  <a:lnTo>
                    <a:pt x="419" y="5462"/>
                  </a:lnTo>
                  <a:lnTo>
                    <a:pt x="411" y="5459"/>
                  </a:lnTo>
                  <a:lnTo>
                    <a:pt x="411" y="5459"/>
                  </a:lnTo>
                  <a:lnTo>
                    <a:pt x="404" y="5456"/>
                  </a:lnTo>
                  <a:lnTo>
                    <a:pt x="397" y="5450"/>
                  </a:lnTo>
                  <a:lnTo>
                    <a:pt x="390" y="5444"/>
                  </a:lnTo>
                  <a:lnTo>
                    <a:pt x="385" y="5437"/>
                  </a:lnTo>
                  <a:lnTo>
                    <a:pt x="379" y="5428"/>
                  </a:lnTo>
                  <a:lnTo>
                    <a:pt x="374" y="5419"/>
                  </a:lnTo>
                  <a:lnTo>
                    <a:pt x="370" y="5407"/>
                  </a:lnTo>
                  <a:lnTo>
                    <a:pt x="366" y="5395"/>
                  </a:lnTo>
                  <a:lnTo>
                    <a:pt x="363" y="5382"/>
                  </a:lnTo>
                  <a:lnTo>
                    <a:pt x="361" y="5367"/>
                  </a:lnTo>
                  <a:lnTo>
                    <a:pt x="356" y="5334"/>
                  </a:lnTo>
                  <a:lnTo>
                    <a:pt x="354" y="5297"/>
                  </a:lnTo>
                  <a:lnTo>
                    <a:pt x="354" y="5255"/>
                  </a:lnTo>
                  <a:lnTo>
                    <a:pt x="356" y="5208"/>
                  </a:lnTo>
                  <a:lnTo>
                    <a:pt x="359" y="5159"/>
                  </a:lnTo>
                  <a:lnTo>
                    <a:pt x="364" y="5105"/>
                  </a:lnTo>
                  <a:lnTo>
                    <a:pt x="372" y="5046"/>
                  </a:lnTo>
                  <a:lnTo>
                    <a:pt x="381" y="4985"/>
                  </a:lnTo>
                  <a:lnTo>
                    <a:pt x="392" y="4919"/>
                  </a:lnTo>
                  <a:lnTo>
                    <a:pt x="404" y="4850"/>
                  </a:lnTo>
                  <a:lnTo>
                    <a:pt x="418" y="4778"/>
                  </a:lnTo>
                  <a:lnTo>
                    <a:pt x="418" y="4778"/>
                  </a:lnTo>
                  <a:lnTo>
                    <a:pt x="365" y="4750"/>
                  </a:lnTo>
                  <a:lnTo>
                    <a:pt x="339" y="4735"/>
                  </a:lnTo>
                  <a:lnTo>
                    <a:pt x="313" y="4720"/>
                  </a:lnTo>
                  <a:lnTo>
                    <a:pt x="313" y="4720"/>
                  </a:lnTo>
                  <a:lnTo>
                    <a:pt x="262" y="4905"/>
                  </a:lnTo>
                  <a:lnTo>
                    <a:pt x="214" y="5084"/>
                  </a:lnTo>
                  <a:lnTo>
                    <a:pt x="171" y="5254"/>
                  </a:lnTo>
                  <a:lnTo>
                    <a:pt x="133" y="5417"/>
                  </a:lnTo>
                  <a:lnTo>
                    <a:pt x="99" y="5569"/>
                  </a:lnTo>
                  <a:lnTo>
                    <a:pt x="83" y="5642"/>
                  </a:lnTo>
                  <a:lnTo>
                    <a:pt x="69" y="5713"/>
                  </a:lnTo>
                  <a:lnTo>
                    <a:pt x="57" y="5779"/>
                  </a:lnTo>
                  <a:lnTo>
                    <a:pt x="45" y="5845"/>
                  </a:lnTo>
                  <a:lnTo>
                    <a:pt x="36" y="5907"/>
                  </a:lnTo>
                  <a:lnTo>
                    <a:pt x="27" y="5967"/>
                  </a:lnTo>
                  <a:lnTo>
                    <a:pt x="19" y="6025"/>
                  </a:lnTo>
                  <a:lnTo>
                    <a:pt x="13" y="6079"/>
                  </a:lnTo>
                  <a:lnTo>
                    <a:pt x="7" y="6129"/>
                  </a:lnTo>
                  <a:lnTo>
                    <a:pt x="4" y="6178"/>
                  </a:lnTo>
                  <a:lnTo>
                    <a:pt x="1" y="6223"/>
                  </a:lnTo>
                  <a:lnTo>
                    <a:pt x="0" y="6265"/>
                  </a:lnTo>
                  <a:lnTo>
                    <a:pt x="1" y="6304"/>
                  </a:lnTo>
                  <a:lnTo>
                    <a:pt x="2" y="6339"/>
                  </a:lnTo>
                  <a:lnTo>
                    <a:pt x="6" y="6371"/>
                  </a:lnTo>
                  <a:lnTo>
                    <a:pt x="11" y="6401"/>
                  </a:lnTo>
                  <a:lnTo>
                    <a:pt x="16" y="6426"/>
                  </a:lnTo>
                  <a:lnTo>
                    <a:pt x="24" y="6448"/>
                  </a:lnTo>
                  <a:lnTo>
                    <a:pt x="29" y="6457"/>
                  </a:lnTo>
                  <a:lnTo>
                    <a:pt x="34" y="6466"/>
                  </a:lnTo>
                  <a:lnTo>
                    <a:pt x="38" y="6474"/>
                  </a:lnTo>
                  <a:lnTo>
                    <a:pt x="44" y="6480"/>
                  </a:lnTo>
                  <a:lnTo>
                    <a:pt x="50" y="6486"/>
                  </a:lnTo>
                  <a:lnTo>
                    <a:pt x="55" y="6492"/>
                  </a:lnTo>
                  <a:lnTo>
                    <a:pt x="62" y="6495"/>
                  </a:lnTo>
                  <a:lnTo>
                    <a:pt x="69" y="6499"/>
                  </a:lnTo>
                  <a:lnTo>
                    <a:pt x="69" y="6499"/>
                  </a:lnTo>
                  <a:lnTo>
                    <a:pt x="81" y="6501"/>
                  </a:lnTo>
                  <a:lnTo>
                    <a:pt x="92" y="6502"/>
                  </a:lnTo>
                  <a:lnTo>
                    <a:pt x="104" y="6500"/>
                  </a:lnTo>
                  <a:lnTo>
                    <a:pt x="118" y="6497"/>
                  </a:lnTo>
                  <a:lnTo>
                    <a:pt x="131" y="6491"/>
                  </a:lnTo>
                  <a:lnTo>
                    <a:pt x="145" y="6484"/>
                  </a:lnTo>
                  <a:lnTo>
                    <a:pt x="160" y="6474"/>
                  </a:lnTo>
                  <a:lnTo>
                    <a:pt x="175" y="6462"/>
                  </a:lnTo>
                  <a:lnTo>
                    <a:pt x="191" y="6449"/>
                  </a:lnTo>
                  <a:lnTo>
                    <a:pt x="209" y="6433"/>
                  </a:lnTo>
                  <a:lnTo>
                    <a:pt x="226" y="6416"/>
                  </a:lnTo>
                  <a:lnTo>
                    <a:pt x="244" y="6396"/>
                  </a:lnTo>
                  <a:lnTo>
                    <a:pt x="263" y="6376"/>
                  </a:lnTo>
                  <a:lnTo>
                    <a:pt x="281" y="6353"/>
                  </a:lnTo>
                  <a:lnTo>
                    <a:pt x="321" y="6301"/>
                  </a:lnTo>
                  <a:lnTo>
                    <a:pt x="363" y="6242"/>
                  </a:lnTo>
                  <a:lnTo>
                    <a:pt x="407" y="6178"/>
                  </a:lnTo>
                  <a:lnTo>
                    <a:pt x="451" y="6105"/>
                  </a:lnTo>
                  <a:lnTo>
                    <a:pt x="499" y="6027"/>
                  </a:lnTo>
                  <a:lnTo>
                    <a:pt x="548" y="5942"/>
                  </a:lnTo>
                  <a:lnTo>
                    <a:pt x="599" y="5851"/>
                  </a:lnTo>
                  <a:lnTo>
                    <a:pt x="651" y="5754"/>
                  </a:lnTo>
                  <a:lnTo>
                    <a:pt x="704" y="5653"/>
                  </a:lnTo>
                  <a:lnTo>
                    <a:pt x="758" y="5544"/>
                  </a:lnTo>
                  <a:lnTo>
                    <a:pt x="814" y="5432"/>
                  </a:lnTo>
                  <a:lnTo>
                    <a:pt x="871" y="5313"/>
                  </a:lnTo>
                  <a:lnTo>
                    <a:pt x="928" y="5190"/>
                  </a:lnTo>
                  <a:lnTo>
                    <a:pt x="987" y="5062"/>
                  </a:lnTo>
                  <a:lnTo>
                    <a:pt x="1046" y="4930"/>
                  </a:lnTo>
                  <a:lnTo>
                    <a:pt x="1105" y="4793"/>
                  </a:lnTo>
                  <a:lnTo>
                    <a:pt x="1166" y="4651"/>
                  </a:lnTo>
                  <a:lnTo>
                    <a:pt x="1226" y="4507"/>
                  </a:lnTo>
                  <a:lnTo>
                    <a:pt x="1288" y="4359"/>
                  </a:lnTo>
                  <a:lnTo>
                    <a:pt x="1349" y="4205"/>
                  </a:lnTo>
                  <a:lnTo>
                    <a:pt x="1412" y="4050"/>
                  </a:lnTo>
                  <a:lnTo>
                    <a:pt x="1473" y="3892"/>
                  </a:lnTo>
                  <a:lnTo>
                    <a:pt x="1535" y="3730"/>
                  </a:lnTo>
                  <a:lnTo>
                    <a:pt x="1596" y="3565"/>
                  </a:lnTo>
                  <a:lnTo>
                    <a:pt x="1657" y="3398"/>
                  </a:lnTo>
                  <a:lnTo>
                    <a:pt x="1657" y="3398"/>
                  </a:lnTo>
                  <a:lnTo>
                    <a:pt x="1717" y="3231"/>
                  </a:lnTo>
                  <a:lnTo>
                    <a:pt x="1775" y="3066"/>
                  </a:lnTo>
                  <a:lnTo>
                    <a:pt x="1832" y="2902"/>
                  </a:lnTo>
                  <a:lnTo>
                    <a:pt x="1887" y="2741"/>
                  </a:lnTo>
                  <a:lnTo>
                    <a:pt x="1939" y="2582"/>
                  </a:lnTo>
                  <a:lnTo>
                    <a:pt x="1990" y="2427"/>
                  </a:lnTo>
                  <a:lnTo>
                    <a:pt x="2038" y="2274"/>
                  </a:lnTo>
                  <a:lnTo>
                    <a:pt x="2084" y="2123"/>
                  </a:lnTo>
                  <a:lnTo>
                    <a:pt x="2128" y="1976"/>
                  </a:lnTo>
                  <a:lnTo>
                    <a:pt x="2170" y="1833"/>
                  </a:lnTo>
                  <a:lnTo>
                    <a:pt x="2209" y="1693"/>
                  </a:lnTo>
                  <a:lnTo>
                    <a:pt x="2247" y="1557"/>
                  </a:lnTo>
                  <a:lnTo>
                    <a:pt x="2282" y="1426"/>
                  </a:lnTo>
                  <a:lnTo>
                    <a:pt x="2314" y="1299"/>
                  </a:lnTo>
                  <a:lnTo>
                    <a:pt x="2344" y="1176"/>
                  </a:lnTo>
                  <a:lnTo>
                    <a:pt x="2372" y="1059"/>
                  </a:lnTo>
                  <a:lnTo>
                    <a:pt x="2397" y="946"/>
                  </a:lnTo>
                  <a:lnTo>
                    <a:pt x="2419" y="839"/>
                  </a:lnTo>
                  <a:lnTo>
                    <a:pt x="2439" y="736"/>
                  </a:lnTo>
                  <a:lnTo>
                    <a:pt x="2456" y="640"/>
                  </a:lnTo>
                  <a:lnTo>
                    <a:pt x="2470" y="550"/>
                  </a:lnTo>
                  <a:lnTo>
                    <a:pt x="2481" y="466"/>
                  </a:lnTo>
                  <a:lnTo>
                    <a:pt x="2489" y="388"/>
                  </a:lnTo>
                  <a:lnTo>
                    <a:pt x="2495" y="315"/>
                  </a:lnTo>
                  <a:lnTo>
                    <a:pt x="2497" y="251"/>
                  </a:lnTo>
                  <a:lnTo>
                    <a:pt x="2497" y="221"/>
                  </a:lnTo>
                  <a:lnTo>
                    <a:pt x="2497" y="193"/>
                  </a:lnTo>
                  <a:lnTo>
                    <a:pt x="2496" y="167"/>
                  </a:lnTo>
                  <a:lnTo>
                    <a:pt x="2494" y="142"/>
                  </a:lnTo>
                  <a:lnTo>
                    <a:pt x="2490" y="119"/>
                  </a:lnTo>
                  <a:lnTo>
                    <a:pt x="2487" y="99"/>
                  </a:lnTo>
                  <a:lnTo>
                    <a:pt x="2482" y="80"/>
                  </a:lnTo>
                  <a:lnTo>
                    <a:pt x="2478" y="63"/>
                  </a:lnTo>
                  <a:lnTo>
                    <a:pt x="2471" y="48"/>
                  </a:lnTo>
                  <a:lnTo>
                    <a:pt x="2464" y="34"/>
                  </a:lnTo>
                  <a:lnTo>
                    <a:pt x="2457" y="24"/>
                  </a:lnTo>
                  <a:lnTo>
                    <a:pt x="2448" y="15"/>
                  </a:lnTo>
                  <a:lnTo>
                    <a:pt x="2439" y="8"/>
                  </a:lnTo>
                  <a:lnTo>
                    <a:pt x="2428" y="3"/>
                  </a:lnTo>
                  <a:lnTo>
                    <a:pt x="2428"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sp>
        <p:nvSpPr>
          <p:cNvPr id="728" name="텍스트 개체 틀 25"/>
          <p:cNvSpPr>
            <a:spLocks noGrp="1"/>
          </p:cNvSpPr>
          <p:nvPr>
            <p:ph type="body" sz="quarter" idx="10" hasCustomPrompt="1"/>
          </p:nvPr>
        </p:nvSpPr>
        <p:spPr>
          <a:xfrm>
            <a:off x="3493559" y="2600862"/>
            <a:ext cx="5204884" cy="1036319"/>
          </a:xfrm>
          <a:prstGeom prst="rect">
            <a:avLst/>
          </a:prstGeom>
        </p:spPr>
        <p:txBody>
          <a:bodyPr/>
          <a:lstStyle>
            <a:lvl1pPr marL="0" indent="0" algn="ctr">
              <a:buNone/>
              <a:defRPr sz="4800" b="1" baseline="0">
                <a:solidFill>
                  <a:schemeClr val="bg1"/>
                </a:solidFill>
                <a:latin typeface="Tahoma" panose="020B0604030504040204" pitchFamily="34" charset="0"/>
                <a:cs typeface="Tahoma" panose="020B0604030504040204" pitchFamily="34" charset="0"/>
              </a:defRPr>
            </a:lvl1pPr>
          </a:lstStyle>
          <a:p>
            <a:pPr lvl="0"/>
            <a:r>
              <a:rPr lang="en-US" altLang="ko-KR"/>
              <a:t>Thank you</a:t>
            </a:r>
            <a:endParaRPr lang="ko-KR" altLang="en-US"/>
          </a:p>
        </p:txBody>
      </p:sp>
    </p:spTree>
    <p:extLst>
      <p:ext uri="{BB962C8B-B14F-4D97-AF65-F5344CB8AC3E}">
        <p14:creationId xmlns:p14="http://schemas.microsoft.com/office/powerpoint/2010/main" val="2551626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ourc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5582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C49EB39-EF37-47F2-B9E0-1B7969042B8C}" type="datetimeFigureOut">
              <a:rPr lang="en-US" smtClean="0"/>
              <a:pPr/>
              <a:t>1/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2278B2D-6E63-4C34-A92D-41B9C6C71597}" type="slidenum">
              <a:rPr lang="en-US" smtClean="0"/>
              <a:pPr/>
              <a:t>‹#›</a:t>
            </a:fld>
            <a:endParaRPr lang="en-US"/>
          </a:p>
        </p:txBody>
      </p:sp>
    </p:spTree>
    <p:extLst>
      <p:ext uri="{BB962C8B-B14F-4D97-AF65-F5344CB8AC3E}">
        <p14:creationId xmlns:p14="http://schemas.microsoft.com/office/powerpoint/2010/main" val="225695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sz="1688" kern="0">
              <a:solidFill>
                <a:sysClr val="windowText" lastClr="000000"/>
              </a:solidFill>
            </a:endParaRPr>
          </a:p>
        </p:txBody>
      </p:sp>
      <p:sp>
        <p:nvSpPr>
          <p:cNvPr id="3" name="Footer Placeholder 2"/>
          <p:cNvSpPr>
            <a:spLocks noGrp="1"/>
          </p:cNvSpPr>
          <p:nvPr>
            <p:ph type="ftr" sz="quarter" idx="11"/>
          </p:nvPr>
        </p:nvSpPr>
        <p:spPr/>
        <p:txBody>
          <a:bodyPr/>
          <a:lstStyle/>
          <a:p>
            <a:endParaRPr lang="en-US" sz="1688" kern="0">
              <a:solidFill>
                <a:sysClr val="windowText" lastClr="000000"/>
              </a:solidFill>
            </a:endParaRPr>
          </a:p>
        </p:txBody>
      </p:sp>
      <p:sp>
        <p:nvSpPr>
          <p:cNvPr id="4" name="Slide Number Placeholder 3"/>
          <p:cNvSpPr>
            <a:spLocks noGrp="1"/>
          </p:cNvSpPr>
          <p:nvPr>
            <p:ph type="sldNum" sz="quarter" idx="12"/>
          </p:nvPr>
        </p:nvSpPr>
        <p:spPr/>
        <p:txBody>
          <a:bodyPr/>
          <a:lstStyle/>
          <a:p>
            <a:fld id="{F22B9F7F-7880-4EBE-82BD-2E156DF91094}" type="slidenum">
              <a:rPr lang="en-US" sz="1688" kern="0" smtClean="0">
                <a:solidFill>
                  <a:sysClr val="windowText" lastClr="000000"/>
                </a:solidFill>
              </a:rPr>
              <a:pPr/>
              <a:t>‹#›</a:t>
            </a:fld>
            <a:endParaRPr lang="en-US" sz="1688" kern="0">
              <a:solidFill>
                <a:sysClr val="windowText" lastClr="000000"/>
              </a:solidFill>
            </a:endParaRPr>
          </a:p>
        </p:txBody>
      </p:sp>
    </p:spTree>
    <p:extLst>
      <p:ext uri="{BB962C8B-B14F-4D97-AF65-F5344CB8AC3E}">
        <p14:creationId xmlns:p14="http://schemas.microsoft.com/office/powerpoint/2010/main" val="110625708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Slide">
    <p:bg>
      <p:bgPr>
        <a:gradFill>
          <a:gsLst>
            <a:gs pos="0">
              <a:srgbClr val="0F1121"/>
            </a:gs>
            <a:gs pos="100000">
              <a:srgbClr val="152B2D"/>
            </a:gs>
          </a:gsLst>
          <a:lin ang="0" scaled="1"/>
        </a:gradFill>
        <a:effectLst/>
      </p:bgPr>
    </p:bg>
    <p:spTree>
      <p:nvGrpSpPr>
        <p:cNvPr id="1" name=""/>
        <p:cNvGrpSpPr/>
        <p:nvPr/>
      </p:nvGrpSpPr>
      <p:grpSpPr>
        <a:xfrm>
          <a:off x="0" y="0"/>
          <a:ext cx="0" cy="0"/>
          <a:chOff x="0" y="0"/>
          <a:chExt cx="0" cy="0"/>
        </a:xfrm>
      </p:grpSpPr>
      <p:sp>
        <p:nvSpPr>
          <p:cNvPr id="561" name="텍스트 개체 틀 45"/>
          <p:cNvSpPr>
            <a:spLocks noGrp="1"/>
          </p:cNvSpPr>
          <p:nvPr>
            <p:ph type="body" sz="quarter" idx="10" hasCustomPrompt="1"/>
          </p:nvPr>
        </p:nvSpPr>
        <p:spPr>
          <a:xfrm>
            <a:off x="702013" y="262792"/>
            <a:ext cx="4303480" cy="595048"/>
          </a:xfrm>
          <a:prstGeom prst="rect">
            <a:avLst/>
          </a:prstGeom>
        </p:spPr>
        <p:txBody>
          <a:bodyPr lIns="0" tIns="0" rIns="0" bIns="0"/>
          <a:lstStyle>
            <a:lvl1pPr marL="0" indent="0" algn="l">
              <a:buNone/>
              <a:defRPr sz="4267" b="1" baseline="0">
                <a:solidFill>
                  <a:srgbClr val="F59E1D"/>
                </a:solidFill>
                <a:latin typeface="Tahoma" panose="020B0604030504040204" pitchFamily="34" charset="0"/>
                <a:cs typeface="Tahoma" panose="020B0604030504040204" pitchFamily="34" charset="0"/>
              </a:defRPr>
            </a:lvl1pPr>
          </a:lstStyle>
          <a:p>
            <a:pPr lvl="0"/>
            <a:r>
              <a:rPr lang="en-US" altLang="ko-KR"/>
              <a:t>Contents title</a:t>
            </a:r>
            <a:endParaRPr lang="ko-KR" altLang="en-US"/>
          </a:p>
        </p:txBody>
      </p:sp>
      <p:sp>
        <p:nvSpPr>
          <p:cNvPr id="562" name="텍스트 개체 틀 3"/>
          <p:cNvSpPr>
            <a:spLocks noGrp="1"/>
          </p:cNvSpPr>
          <p:nvPr>
            <p:ph type="body" sz="quarter" idx="11" hasCustomPrompt="1"/>
          </p:nvPr>
        </p:nvSpPr>
        <p:spPr>
          <a:xfrm>
            <a:off x="702014" y="963944"/>
            <a:ext cx="3343449" cy="256212"/>
          </a:xfrm>
          <a:prstGeom prst="rect">
            <a:avLst/>
          </a:prstGeom>
        </p:spPr>
        <p:txBody>
          <a:bodyPr lIns="0" tIns="0" rIns="0" bIns="0"/>
          <a:lstStyle>
            <a:lvl1pPr marL="0" indent="0" algn="l">
              <a:buNone/>
              <a:defRPr sz="1600" b="0" baseline="0">
                <a:solidFill>
                  <a:schemeClr val="bg1"/>
                </a:solidFill>
                <a:latin typeface="Tahoma" panose="020B0604030504040204" pitchFamily="34" charset="0"/>
                <a:cs typeface="Tahoma" panose="020B0604030504040204" pitchFamily="34" charset="0"/>
              </a:defRPr>
            </a:lvl1pPr>
          </a:lstStyle>
          <a:p>
            <a:pPr lvl="0"/>
            <a:r>
              <a:rPr lang="en-US" altLang="ko-KR"/>
              <a:t>Design inspiration For presentation</a:t>
            </a:r>
            <a:endParaRPr lang="ko-KR" altLang="en-US"/>
          </a:p>
        </p:txBody>
      </p:sp>
      <p:sp>
        <p:nvSpPr>
          <p:cNvPr id="612" name="포인트가 4개인 별 611"/>
          <p:cNvSpPr/>
          <p:nvPr userDrawn="1"/>
        </p:nvSpPr>
        <p:spPr>
          <a:xfrm flipH="1">
            <a:off x="9451920" y="1106813"/>
            <a:ext cx="86960" cy="92757"/>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3" name="포인트가 4개인 별 612"/>
          <p:cNvSpPr/>
          <p:nvPr userDrawn="1"/>
        </p:nvSpPr>
        <p:spPr>
          <a:xfrm flipH="1">
            <a:off x="7855319" y="833451"/>
            <a:ext cx="86960" cy="92757"/>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4" name="포인트가 4개인 별 613"/>
          <p:cNvSpPr/>
          <p:nvPr userDrawn="1"/>
        </p:nvSpPr>
        <p:spPr>
          <a:xfrm flipH="1">
            <a:off x="4985545" y="394621"/>
            <a:ext cx="86960" cy="92757"/>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5" name="포인트가 4개인 별 614"/>
          <p:cNvSpPr/>
          <p:nvPr userDrawn="1"/>
        </p:nvSpPr>
        <p:spPr>
          <a:xfrm flipH="1">
            <a:off x="1375815" y="1267920"/>
            <a:ext cx="86960" cy="92757"/>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6" name="포인트가 4개인 별 615"/>
          <p:cNvSpPr/>
          <p:nvPr userDrawn="1"/>
        </p:nvSpPr>
        <p:spPr>
          <a:xfrm flipH="1">
            <a:off x="10656788" y="693742"/>
            <a:ext cx="86960" cy="92757"/>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7" name="포인트가 4개인 별 616"/>
          <p:cNvSpPr/>
          <p:nvPr userDrawn="1"/>
        </p:nvSpPr>
        <p:spPr>
          <a:xfrm rot="18840000" flipH="1">
            <a:off x="4907811" y="1127570"/>
            <a:ext cx="153600" cy="14400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8" name="포인트가 5개인 별 617"/>
          <p:cNvSpPr/>
          <p:nvPr userDrawn="1"/>
        </p:nvSpPr>
        <p:spPr>
          <a:xfrm flipH="1">
            <a:off x="9825590" y="617170"/>
            <a:ext cx="99892" cy="106551"/>
          </a:xfrm>
          <a:prstGeom prst="star5">
            <a:avLst>
              <a:gd name="adj" fmla="val 28797"/>
              <a:gd name="hf" fmla="val 105146"/>
              <a:gd name="vf" fmla="val 11055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21" name="포인트가 4개인 별 620"/>
          <p:cNvSpPr/>
          <p:nvPr userDrawn="1"/>
        </p:nvSpPr>
        <p:spPr>
          <a:xfrm flipH="1">
            <a:off x="7475028" y="421855"/>
            <a:ext cx="144000" cy="153600"/>
          </a:xfrm>
          <a:prstGeom prst="star4">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nvGrpSpPr>
          <p:cNvPr id="622" name="그룹 621"/>
          <p:cNvGrpSpPr/>
          <p:nvPr userDrawn="1"/>
        </p:nvGrpSpPr>
        <p:grpSpPr>
          <a:xfrm rot="19836734">
            <a:off x="6467435" y="555104"/>
            <a:ext cx="131592" cy="162527"/>
            <a:chOff x="4264075" y="4816511"/>
            <a:chExt cx="331791" cy="384179"/>
          </a:xfrm>
        </p:grpSpPr>
        <p:sp>
          <p:nvSpPr>
            <p:cNvPr id="623" name="Freeform 626"/>
            <p:cNvSpPr>
              <a:spLocks/>
            </p:cNvSpPr>
            <p:nvPr/>
          </p:nvSpPr>
          <p:spPr bwMode="auto">
            <a:xfrm>
              <a:off x="4556178" y="5127664"/>
              <a:ext cx="1588" cy="1588"/>
            </a:xfrm>
            <a:custGeom>
              <a:avLst/>
              <a:gdLst>
                <a:gd name="T0" fmla="*/ 2 w 2"/>
                <a:gd name="T1" fmla="*/ 3 h 3"/>
                <a:gd name="T2" fmla="*/ 2 w 2"/>
                <a:gd name="T3" fmla="*/ 3 h 3"/>
                <a:gd name="T4" fmla="*/ 0 w 2"/>
                <a:gd name="T5" fmla="*/ 0 h 3"/>
                <a:gd name="T6" fmla="*/ 0 w 2"/>
                <a:gd name="T7" fmla="*/ 0 h 3"/>
                <a:gd name="T8" fmla="*/ 2 w 2"/>
                <a:gd name="T9" fmla="*/ 3 h 3"/>
                <a:gd name="T10" fmla="*/ 2 w 2"/>
                <a:gd name="T11" fmla="*/ 3 h 3"/>
              </a:gdLst>
              <a:ahLst/>
              <a:cxnLst>
                <a:cxn ang="0">
                  <a:pos x="T0" y="T1"/>
                </a:cxn>
                <a:cxn ang="0">
                  <a:pos x="T2" y="T3"/>
                </a:cxn>
                <a:cxn ang="0">
                  <a:pos x="T4" y="T5"/>
                </a:cxn>
                <a:cxn ang="0">
                  <a:pos x="T6" y="T7"/>
                </a:cxn>
                <a:cxn ang="0">
                  <a:pos x="T8" y="T9"/>
                </a:cxn>
                <a:cxn ang="0">
                  <a:pos x="T10" y="T11"/>
                </a:cxn>
              </a:cxnLst>
              <a:rect l="0" t="0" r="r" b="b"/>
              <a:pathLst>
                <a:path w="2" h="3">
                  <a:moveTo>
                    <a:pt x="2" y="3"/>
                  </a:moveTo>
                  <a:lnTo>
                    <a:pt x="2" y="3"/>
                  </a:lnTo>
                  <a:lnTo>
                    <a:pt x="0" y="0"/>
                  </a:lnTo>
                  <a:lnTo>
                    <a:pt x="0" y="0"/>
                  </a:lnTo>
                  <a:lnTo>
                    <a:pt x="2" y="3"/>
                  </a:lnTo>
                  <a:lnTo>
                    <a:pt x="2" y="3"/>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4" name="Freeform 627"/>
            <p:cNvSpPr>
              <a:spLocks/>
            </p:cNvSpPr>
            <p:nvPr/>
          </p:nvSpPr>
          <p:spPr bwMode="auto">
            <a:xfrm>
              <a:off x="4535540" y="5116552"/>
              <a:ext cx="3175" cy="1588"/>
            </a:xfrm>
            <a:custGeom>
              <a:avLst/>
              <a:gdLst>
                <a:gd name="T0" fmla="*/ 0 w 10"/>
                <a:gd name="T1" fmla="*/ 0 h 3"/>
                <a:gd name="T2" fmla="*/ 0 w 10"/>
                <a:gd name="T3" fmla="*/ 0 h 3"/>
                <a:gd name="T4" fmla="*/ 10 w 10"/>
                <a:gd name="T5" fmla="*/ 3 h 3"/>
                <a:gd name="T6" fmla="*/ 10 w 10"/>
                <a:gd name="T7" fmla="*/ 3 h 3"/>
                <a:gd name="T8" fmla="*/ 0 w 10"/>
                <a:gd name="T9" fmla="*/ 0 h 3"/>
                <a:gd name="T10" fmla="*/ 0 w 10"/>
                <a:gd name="T11" fmla="*/ 0 h 3"/>
              </a:gdLst>
              <a:ahLst/>
              <a:cxnLst>
                <a:cxn ang="0">
                  <a:pos x="T0" y="T1"/>
                </a:cxn>
                <a:cxn ang="0">
                  <a:pos x="T2" y="T3"/>
                </a:cxn>
                <a:cxn ang="0">
                  <a:pos x="T4" y="T5"/>
                </a:cxn>
                <a:cxn ang="0">
                  <a:pos x="T6" y="T7"/>
                </a:cxn>
                <a:cxn ang="0">
                  <a:pos x="T8" y="T9"/>
                </a:cxn>
                <a:cxn ang="0">
                  <a:pos x="T10" y="T11"/>
                </a:cxn>
              </a:cxnLst>
              <a:rect l="0" t="0" r="r" b="b"/>
              <a:pathLst>
                <a:path w="10" h="3">
                  <a:moveTo>
                    <a:pt x="0" y="0"/>
                  </a:moveTo>
                  <a:lnTo>
                    <a:pt x="0" y="0"/>
                  </a:lnTo>
                  <a:lnTo>
                    <a:pt x="10" y="3"/>
                  </a:lnTo>
                  <a:lnTo>
                    <a:pt x="10" y="3"/>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5" name="Freeform 628"/>
            <p:cNvSpPr>
              <a:spLocks/>
            </p:cNvSpPr>
            <p:nvPr/>
          </p:nvSpPr>
          <p:spPr bwMode="auto">
            <a:xfrm>
              <a:off x="4546653" y="5121314"/>
              <a:ext cx="3175" cy="1588"/>
            </a:xfrm>
            <a:custGeom>
              <a:avLst/>
              <a:gdLst>
                <a:gd name="T0" fmla="*/ 0 w 9"/>
                <a:gd name="T1" fmla="*/ 0 h 5"/>
                <a:gd name="T2" fmla="*/ 0 w 9"/>
                <a:gd name="T3" fmla="*/ 0 h 5"/>
                <a:gd name="T4" fmla="*/ 9 w 9"/>
                <a:gd name="T5" fmla="*/ 5 h 5"/>
                <a:gd name="T6" fmla="*/ 9 w 9"/>
                <a:gd name="T7" fmla="*/ 5 h 5"/>
                <a:gd name="T8" fmla="*/ 0 w 9"/>
                <a:gd name="T9" fmla="*/ 0 h 5"/>
                <a:gd name="T10" fmla="*/ 0 w 9"/>
                <a:gd name="T11" fmla="*/ 0 h 5"/>
              </a:gdLst>
              <a:ahLst/>
              <a:cxnLst>
                <a:cxn ang="0">
                  <a:pos x="T0" y="T1"/>
                </a:cxn>
                <a:cxn ang="0">
                  <a:pos x="T2" y="T3"/>
                </a:cxn>
                <a:cxn ang="0">
                  <a:pos x="T4" y="T5"/>
                </a:cxn>
                <a:cxn ang="0">
                  <a:pos x="T6" y="T7"/>
                </a:cxn>
                <a:cxn ang="0">
                  <a:pos x="T8" y="T9"/>
                </a:cxn>
                <a:cxn ang="0">
                  <a:pos x="T10" y="T11"/>
                </a:cxn>
              </a:cxnLst>
              <a:rect l="0" t="0" r="r" b="b"/>
              <a:pathLst>
                <a:path w="9" h="5">
                  <a:moveTo>
                    <a:pt x="0" y="0"/>
                  </a:moveTo>
                  <a:lnTo>
                    <a:pt x="0" y="0"/>
                  </a:lnTo>
                  <a:lnTo>
                    <a:pt x="9" y="5"/>
                  </a:lnTo>
                  <a:lnTo>
                    <a:pt x="9" y="5"/>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6" name="Freeform 629"/>
            <p:cNvSpPr>
              <a:spLocks/>
            </p:cNvSpPr>
            <p:nvPr/>
          </p:nvSpPr>
          <p:spPr bwMode="auto">
            <a:xfrm>
              <a:off x="4538715" y="5118139"/>
              <a:ext cx="7938" cy="3175"/>
            </a:xfrm>
            <a:custGeom>
              <a:avLst/>
              <a:gdLst>
                <a:gd name="T0" fmla="*/ 0 w 25"/>
                <a:gd name="T1" fmla="*/ 0 h 9"/>
                <a:gd name="T2" fmla="*/ 0 w 25"/>
                <a:gd name="T3" fmla="*/ 0 h 9"/>
                <a:gd name="T4" fmla="*/ 13 w 25"/>
                <a:gd name="T5" fmla="*/ 5 h 9"/>
                <a:gd name="T6" fmla="*/ 25 w 25"/>
                <a:gd name="T7" fmla="*/ 9 h 9"/>
                <a:gd name="T8" fmla="*/ 25 w 25"/>
                <a:gd name="T9" fmla="*/ 9 h 9"/>
                <a:gd name="T10" fmla="*/ 13 w 25"/>
                <a:gd name="T11" fmla="*/ 5 h 9"/>
                <a:gd name="T12" fmla="*/ 0 w 25"/>
                <a:gd name="T13" fmla="*/ 0 h 9"/>
                <a:gd name="T14" fmla="*/ 0 w 25"/>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9">
                  <a:moveTo>
                    <a:pt x="0" y="0"/>
                  </a:moveTo>
                  <a:lnTo>
                    <a:pt x="0" y="0"/>
                  </a:lnTo>
                  <a:lnTo>
                    <a:pt x="13" y="5"/>
                  </a:lnTo>
                  <a:lnTo>
                    <a:pt x="25" y="9"/>
                  </a:lnTo>
                  <a:lnTo>
                    <a:pt x="25" y="9"/>
                  </a:lnTo>
                  <a:lnTo>
                    <a:pt x="13" y="5"/>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7" name="Freeform 630"/>
            <p:cNvSpPr>
              <a:spLocks/>
            </p:cNvSpPr>
            <p:nvPr/>
          </p:nvSpPr>
          <p:spPr bwMode="auto">
            <a:xfrm>
              <a:off x="4484740" y="5116552"/>
              <a:ext cx="50800" cy="71438"/>
            </a:xfrm>
            <a:custGeom>
              <a:avLst/>
              <a:gdLst>
                <a:gd name="T0" fmla="*/ 66 w 156"/>
                <a:gd name="T1" fmla="*/ 99 h 226"/>
                <a:gd name="T2" fmla="*/ 66 w 156"/>
                <a:gd name="T3" fmla="*/ 99 h 226"/>
                <a:gd name="T4" fmla="*/ 67 w 156"/>
                <a:gd name="T5" fmla="*/ 89 h 226"/>
                <a:gd name="T6" fmla="*/ 68 w 156"/>
                <a:gd name="T7" fmla="*/ 80 h 226"/>
                <a:gd name="T8" fmla="*/ 70 w 156"/>
                <a:gd name="T9" fmla="*/ 71 h 226"/>
                <a:gd name="T10" fmla="*/ 73 w 156"/>
                <a:gd name="T11" fmla="*/ 62 h 226"/>
                <a:gd name="T12" fmla="*/ 77 w 156"/>
                <a:gd name="T13" fmla="*/ 55 h 226"/>
                <a:gd name="T14" fmla="*/ 81 w 156"/>
                <a:gd name="T15" fmla="*/ 46 h 226"/>
                <a:gd name="T16" fmla="*/ 86 w 156"/>
                <a:gd name="T17" fmla="*/ 39 h 226"/>
                <a:gd name="T18" fmla="*/ 92 w 156"/>
                <a:gd name="T19" fmla="*/ 33 h 226"/>
                <a:gd name="T20" fmla="*/ 98 w 156"/>
                <a:gd name="T21" fmla="*/ 27 h 226"/>
                <a:gd name="T22" fmla="*/ 106 w 156"/>
                <a:gd name="T23" fmla="*/ 21 h 226"/>
                <a:gd name="T24" fmla="*/ 113 w 156"/>
                <a:gd name="T25" fmla="*/ 16 h 226"/>
                <a:gd name="T26" fmla="*/ 120 w 156"/>
                <a:gd name="T27" fmla="*/ 11 h 226"/>
                <a:gd name="T28" fmla="*/ 129 w 156"/>
                <a:gd name="T29" fmla="*/ 7 h 226"/>
                <a:gd name="T30" fmla="*/ 137 w 156"/>
                <a:gd name="T31" fmla="*/ 5 h 226"/>
                <a:gd name="T32" fmla="*/ 147 w 156"/>
                <a:gd name="T33" fmla="*/ 2 h 226"/>
                <a:gd name="T34" fmla="*/ 156 w 156"/>
                <a:gd name="T35" fmla="*/ 1 h 226"/>
                <a:gd name="T36" fmla="*/ 156 w 156"/>
                <a:gd name="T37" fmla="*/ 1 h 226"/>
                <a:gd name="T38" fmla="*/ 145 w 156"/>
                <a:gd name="T39" fmla="*/ 0 h 226"/>
                <a:gd name="T40" fmla="*/ 133 w 156"/>
                <a:gd name="T41" fmla="*/ 0 h 226"/>
                <a:gd name="T42" fmla="*/ 133 w 156"/>
                <a:gd name="T43" fmla="*/ 0 h 226"/>
                <a:gd name="T44" fmla="*/ 119 w 156"/>
                <a:gd name="T45" fmla="*/ 0 h 226"/>
                <a:gd name="T46" fmla="*/ 106 w 156"/>
                <a:gd name="T47" fmla="*/ 2 h 226"/>
                <a:gd name="T48" fmla="*/ 94 w 156"/>
                <a:gd name="T49" fmla="*/ 5 h 226"/>
                <a:gd name="T50" fmla="*/ 81 w 156"/>
                <a:gd name="T51" fmla="*/ 10 h 226"/>
                <a:gd name="T52" fmla="*/ 69 w 156"/>
                <a:gd name="T53" fmla="*/ 16 h 226"/>
                <a:gd name="T54" fmla="*/ 58 w 156"/>
                <a:gd name="T55" fmla="*/ 22 h 226"/>
                <a:gd name="T56" fmla="*/ 48 w 156"/>
                <a:gd name="T57" fmla="*/ 29 h 226"/>
                <a:gd name="T58" fmla="*/ 39 w 156"/>
                <a:gd name="T59" fmla="*/ 38 h 226"/>
                <a:gd name="T60" fmla="*/ 30 w 156"/>
                <a:gd name="T61" fmla="*/ 48 h 226"/>
                <a:gd name="T62" fmla="*/ 23 w 156"/>
                <a:gd name="T63" fmla="*/ 59 h 226"/>
                <a:gd name="T64" fmla="*/ 17 w 156"/>
                <a:gd name="T65" fmla="*/ 68 h 226"/>
                <a:gd name="T66" fmla="*/ 11 w 156"/>
                <a:gd name="T67" fmla="*/ 80 h 226"/>
                <a:gd name="T68" fmla="*/ 6 w 156"/>
                <a:gd name="T69" fmla="*/ 93 h 226"/>
                <a:gd name="T70" fmla="*/ 3 w 156"/>
                <a:gd name="T71" fmla="*/ 105 h 226"/>
                <a:gd name="T72" fmla="*/ 1 w 156"/>
                <a:gd name="T73" fmla="*/ 118 h 226"/>
                <a:gd name="T74" fmla="*/ 0 w 156"/>
                <a:gd name="T75" fmla="*/ 132 h 226"/>
                <a:gd name="T76" fmla="*/ 0 w 156"/>
                <a:gd name="T77" fmla="*/ 132 h 226"/>
                <a:gd name="T78" fmla="*/ 1 w 156"/>
                <a:gd name="T79" fmla="*/ 145 h 226"/>
                <a:gd name="T80" fmla="*/ 3 w 156"/>
                <a:gd name="T81" fmla="*/ 158 h 226"/>
                <a:gd name="T82" fmla="*/ 6 w 156"/>
                <a:gd name="T83" fmla="*/ 172 h 226"/>
                <a:gd name="T84" fmla="*/ 11 w 156"/>
                <a:gd name="T85" fmla="*/ 184 h 226"/>
                <a:gd name="T86" fmla="*/ 16 w 156"/>
                <a:gd name="T87" fmla="*/ 195 h 226"/>
                <a:gd name="T88" fmla="*/ 23 w 156"/>
                <a:gd name="T89" fmla="*/ 206 h 226"/>
                <a:gd name="T90" fmla="*/ 30 w 156"/>
                <a:gd name="T91" fmla="*/ 216 h 226"/>
                <a:gd name="T92" fmla="*/ 39 w 156"/>
                <a:gd name="T93" fmla="*/ 226 h 226"/>
                <a:gd name="T94" fmla="*/ 96 w 156"/>
                <a:gd name="T95" fmla="*/ 169 h 226"/>
                <a:gd name="T96" fmla="*/ 96 w 156"/>
                <a:gd name="T97" fmla="*/ 169 h 226"/>
                <a:gd name="T98" fmla="*/ 89 w 156"/>
                <a:gd name="T99" fmla="*/ 162 h 226"/>
                <a:gd name="T100" fmla="*/ 84 w 156"/>
                <a:gd name="T101" fmla="*/ 155 h 226"/>
                <a:gd name="T102" fmla="*/ 78 w 156"/>
                <a:gd name="T103" fmla="*/ 146 h 226"/>
                <a:gd name="T104" fmla="*/ 74 w 156"/>
                <a:gd name="T105" fmla="*/ 138 h 226"/>
                <a:gd name="T106" fmla="*/ 70 w 156"/>
                <a:gd name="T107" fmla="*/ 128 h 226"/>
                <a:gd name="T108" fmla="*/ 68 w 156"/>
                <a:gd name="T109" fmla="*/ 119 h 226"/>
                <a:gd name="T110" fmla="*/ 67 w 156"/>
                <a:gd name="T111" fmla="*/ 110 h 226"/>
                <a:gd name="T112" fmla="*/ 66 w 156"/>
                <a:gd name="T113" fmla="*/ 99 h 226"/>
                <a:gd name="T114" fmla="*/ 66 w 156"/>
                <a:gd name="T115" fmla="*/ 99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6" h="226">
                  <a:moveTo>
                    <a:pt x="66" y="99"/>
                  </a:moveTo>
                  <a:lnTo>
                    <a:pt x="66" y="99"/>
                  </a:lnTo>
                  <a:lnTo>
                    <a:pt x="67" y="89"/>
                  </a:lnTo>
                  <a:lnTo>
                    <a:pt x="68" y="80"/>
                  </a:lnTo>
                  <a:lnTo>
                    <a:pt x="70" y="71"/>
                  </a:lnTo>
                  <a:lnTo>
                    <a:pt x="73" y="62"/>
                  </a:lnTo>
                  <a:lnTo>
                    <a:pt x="77" y="55"/>
                  </a:lnTo>
                  <a:lnTo>
                    <a:pt x="81" y="46"/>
                  </a:lnTo>
                  <a:lnTo>
                    <a:pt x="86" y="39"/>
                  </a:lnTo>
                  <a:lnTo>
                    <a:pt x="92" y="33"/>
                  </a:lnTo>
                  <a:lnTo>
                    <a:pt x="98" y="27"/>
                  </a:lnTo>
                  <a:lnTo>
                    <a:pt x="106" y="21"/>
                  </a:lnTo>
                  <a:lnTo>
                    <a:pt x="113" y="16"/>
                  </a:lnTo>
                  <a:lnTo>
                    <a:pt x="120" y="11"/>
                  </a:lnTo>
                  <a:lnTo>
                    <a:pt x="129" y="7"/>
                  </a:lnTo>
                  <a:lnTo>
                    <a:pt x="137" y="5"/>
                  </a:lnTo>
                  <a:lnTo>
                    <a:pt x="147" y="2"/>
                  </a:lnTo>
                  <a:lnTo>
                    <a:pt x="156" y="1"/>
                  </a:lnTo>
                  <a:lnTo>
                    <a:pt x="156" y="1"/>
                  </a:lnTo>
                  <a:lnTo>
                    <a:pt x="145" y="0"/>
                  </a:lnTo>
                  <a:lnTo>
                    <a:pt x="133" y="0"/>
                  </a:lnTo>
                  <a:lnTo>
                    <a:pt x="133" y="0"/>
                  </a:lnTo>
                  <a:lnTo>
                    <a:pt x="119" y="0"/>
                  </a:lnTo>
                  <a:lnTo>
                    <a:pt x="106" y="2"/>
                  </a:lnTo>
                  <a:lnTo>
                    <a:pt x="94" y="5"/>
                  </a:lnTo>
                  <a:lnTo>
                    <a:pt x="81" y="10"/>
                  </a:lnTo>
                  <a:lnTo>
                    <a:pt x="69" y="16"/>
                  </a:lnTo>
                  <a:lnTo>
                    <a:pt x="58" y="22"/>
                  </a:lnTo>
                  <a:lnTo>
                    <a:pt x="48" y="29"/>
                  </a:lnTo>
                  <a:lnTo>
                    <a:pt x="39" y="38"/>
                  </a:lnTo>
                  <a:lnTo>
                    <a:pt x="30" y="48"/>
                  </a:lnTo>
                  <a:lnTo>
                    <a:pt x="23" y="59"/>
                  </a:lnTo>
                  <a:lnTo>
                    <a:pt x="17" y="68"/>
                  </a:lnTo>
                  <a:lnTo>
                    <a:pt x="11" y="80"/>
                  </a:lnTo>
                  <a:lnTo>
                    <a:pt x="6" y="93"/>
                  </a:lnTo>
                  <a:lnTo>
                    <a:pt x="3" y="105"/>
                  </a:lnTo>
                  <a:lnTo>
                    <a:pt x="1" y="118"/>
                  </a:lnTo>
                  <a:lnTo>
                    <a:pt x="0" y="132"/>
                  </a:lnTo>
                  <a:lnTo>
                    <a:pt x="0" y="132"/>
                  </a:lnTo>
                  <a:lnTo>
                    <a:pt x="1" y="145"/>
                  </a:lnTo>
                  <a:lnTo>
                    <a:pt x="3" y="158"/>
                  </a:lnTo>
                  <a:lnTo>
                    <a:pt x="6" y="172"/>
                  </a:lnTo>
                  <a:lnTo>
                    <a:pt x="11" y="184"/>
                  </a:lnTo>
                  <a:lnTo>
                    <a:pt x="16" y="195"/>
                  </a:lnTo>
                  <a:lnTo>
                    <a:pt x="23" y="206"/>
                  </a:lnTo>
                  <a:lnTo>
                    <a:pt x="30" y="216"/>
                  </a:lnTo>
                  <a:lnTo>
                    <a:pt x="39" y="226"/>
                  </a:lnTo>
                  <a:lnTo>
                    <a:pt x="96" y="169"/>
                  </a:lnTo>
                  <a:lnTo>
                    <a:pt x="96" y="169"/>
                  </a:lnTo>
                  <a:lnTo>
                    <a:pt x="89" y="162"/>
                  </a:lnTo>
                  <a:lnTo>
                    <a:pt x="84" y="155"/>
                  </a:lnTo>
                  <a:lnTo>
                    <a:pt x="78" y="146"/>
                  </a:lnTo>
                  <a:lnTo>
                    <a:pt x="74" y="138"/>
                  </a:lnTo>
                  <a:lnTo>
                    <a:pt x="70" y="128"/>
                  </a:lnTo>
                  <a:lnTo>
                    <a:pt x="68" y="119"/>
                  </a:lnTo>
                  <a:lnTo>
                    <a:pt x="67" y="110"/>
                  </a:lnTo>
                  <a:lnTo>
                    <a:pt x="66" y="99"/>
                  </a:lnTo>
                  <a:lnTo>
                    <a:pt x="66" y="99"/>
                  </a:lnTo>
                  <a:close/>
                </a:path>
              </a:pathLst>
            </a:custGeom>
            <a:solidFill>
              <a:srgbClr val="DD39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8" name="Freeform 631"/>
            <p:cNvSpPr>
              <a:spLocks/>
            </p:cNvSpPr>
            <p:nvPr/>
          </p:nvSpPr>
          <p:spPr bwMode="auto">
            <a:xfrm>
              <a:off x="4549828" y="5122902"/>
              <a:ext cx="6350" cy="4763"/>
            </a:xfrm>
            <a:custGeom>
              <a:avLst/>
              <a:gdLst>
                <a:gd name="T0" fmla="*/ 0 w 22"/>
                <a:gd name="T1" fmla="*/ 0 h 17"/>
                <a:gd name="T2" fmla="*/ 0 w 22"/>
                <a:gd name="T3" fmla="*/ 0 h 17"/>
                <a:gd name="T4" fmla="*/ 11 w 22"/>
                <a:gd name="T5" fmla="*/ 9 h 17"/>
                <a:gd name="T6" fmla="*/ 22 w 22"/>
                <a:gd name="T7" fmla="*/ 17 h 17"/>
                <a:gd name="T8" fmla="*/ 22 w 22"/>
                <a:gd name="T9" fmla="*/ 17 h 17"/>
                <a:gd name="T10" fmla="*/ 11 w 22"/>
                <a:gd name="T11" fmla="*/ 9 h 17"/>
                <a:gd name="T12" fmla="*/ 0 w 22"/>
                <a:gd name="T13" fmla="*/ 0 h 17"/>
                <a:gd name="T14" fmla="*/ 0 w 22"/>
                <a:gd name="T15" fmla="*/ 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7">
                  <a:moveTo>
                    <a:pt x="0" y="0"/>
                  </a:moveTo>
                  <a:lnTo>
                    <a:pt x="0" y="0"/>
                  </a:lnTo>
                  <a:lnTo>
                    <a:pt x="11" y="9"/>
                  </a:lnTo>
                  <a:lnTo>
                    <a:pt x="22" y="17"/>
                  </a:lnTo>
                  <a:lnTo>
                    <a:pt x="22" y="17"/>
                  </a:lnTo>
                  <a:lnTo>
                    <a:pt x="11" y="9"/>
                  </a:lnTo>
                  <a:lnTo>
                    <a:pt x="0"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29" name="Freeform 632"/>
            <p:cNvSpPr>
              <a:spLocks/>
            </p:cNvSpPr>
            <p:nvPr/>
          </p:nvSpPr>
          <p:spPr bwMode="auto">
            <a:xfrm>
              <a:off x="4546653" y="512131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0" name="Freeform 633"/>
            <p:cNvSpPr>
              <a:spLocks/>
            </p:cNvSpPr>
            <p:nvPr/>
          </p:nvSpPr>
          <p:spPr bwMode="auto">
            <a:xfrm>
              <a:off x="4549828" y="5122902"/>
              <a:ext cx="0" cy="0"/>
            </a:xfrm>
            <a:custGeom>
              <a:avLst/>
              <a:gdLst>
                <a:gd name="T0" fmla="*/ 0 w 1"/>
                <a:gd name="T1" fmla="*/ 1 w 1"/>
                <a:gd name="T2" fmla="*/ 0 w 1"/>
              </a:gdLst>
              <a:ahLst/>
              <a:cxnLst>
                <a:cxn ang="0">
                  <a:pos x="T0" y="0"/>
                </a:cxn>
                <a:cxn ang="0">
                  <a:pos x="T1" y="0"/>
                </a:cxn>
                <a:cxn ang="0">
                  <a:pos x="T2" y="0"/>
                </a:cxn>
              </a:cxnLst>
              <a:rect l="0" t="0" r="r" b="b"/>
              <a:pathLst>
                <a:path w="1">
                  <a:moveTo>
                    <a:pt x="0" y="0"/>
                  </a:moveTo>
                  <a:lnTo>
                    <a:pt x="1"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1" name="Freeform 634"/>
            <p:cNvSpPr>
              <a:spLocks/>
            </p:cNvSpPr>
            <p:nvPr/>
          </p:nvSpPr>
          <p:spPr bwMode="auto">
            <a:xfrm>
              <a:off x="4556178" y="512766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2" name="Line 635"/>
            <p:cNvSpPr>
              <a:spLocks noChangeShapeType="1"/>
            </p:cNvSpPr>
            <p:nvPr/>
          </p:nvSpPr>
          <p:spPr bwMode="auto">
            <a:xfrm>
              <a:off x="4535540" y="511655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3" name="Line 636"/>
            <p:cNvSpPr>
              <a:spLocks noChangeShapeType="1"/>
            </p:cNvSpPr>
            <p:nvPr/>
          </p:nvSpPr>
          <p:spPr bwMode="auto">
            <a:xfrm>
              <a:off x="4535540" y="511655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4" name="Freeform 637"/>
            <p:cNvSpPr>
              <a:spLocks/>
            </p:cNvSpPr>
            <p:nvPr/>
          </p:nvSpPr>
          <p:spPr bwMode="auto">
            <a:xfrm>
              <a:off x="4538715" y="5118139"/>
              <a:ext cx="0" cy="0"/>
            </a:xfrm>
            <a:custGeom>
              <a:avLst/>
              <a:gdLst>
                <a:gd name="T0" fmla="*/ 0 w 1"/>
                <a:gd name="T1" fmla="*/ 0 w 1"/>
                <a:gd name="T2" fmla="*/ 1 w 1"/>
                <a:gd name="T3" fmla="*/ 1 w 1"/>
                <a:gd name="T4" fmla="*/ 0 w 1"/>
                <a:gd name="T5" fmla="*/ 0 w 1"/>
              </a:gdLst>
              <a:ahLst/>
              <a:cxnLst>
                <a:cxn ang="0">
                  <a:pos x="T0" y="0"/>
                </a:cxn>
                <a:cxn ang="0">
                  <a:pos x="T1" y="0"/>
                </a:cxn>
                <a:cxn ang="0">
                  <a:pos x="T2" y="0"/>
                </a:cxn>
                <a:cxn ang="0">
                  <a:pos x="T3" y="0"/>
                </a:cxn>
                <a:cxn ang="0">
                  <a:pos x="T4" y="0"/>
                </a:cxn>
                <a:cxn ang="0">
                  <a:pos x="T5" y="0"/>
                </a:cxn>
              </a:cxnLst>
              <a:rect l="0" t="0" r="r" b="b"/>
              <a:pathLst>
                <a:path w="1">
                  <a:moveTo>
                    <a:pt x="0" y="0"/>
                  </a:moveTo>
                  <a:lnTo>
                    <a:pt x="0" y="0"/>
                  </a:lnTo>
                  <a:lnTo>
                    <a:pt x="1" y="0"/>
                  </a:lnTo>
                  <a:lnTo>
                    <a:pt x="1" y="0"/>
                  </a:ln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5" name="Freeform 638"/>
            <p:cNvSpPr>
              <a:spLocks/>
            </p:cNvSpPr>
            <p:nvPr/>
          </p:nvSpPr>
          <p:spPr bwMode="auto">
            <a:xfrm>
              <a:off x="4506965" y="5116552"/>
              <a:ext cx="50800" cy="53976"/>
            </a:xfrm>
            <a:custGeom>
              <a:avLst/>
              <a:gdLst>
                <a:gd name="T0" fmla="*/ 0 w 160"/>
                <a:gd name="T1" fmla="*/ 98 h 168"/>
                <a:gd name="T2" fmla="*/ 0 w 160"/>
                <a:gd name="T3" fmla="*/ 98 h 168"/>
                <a:gd name="T4" fmla="*/ 1 w 160"/>
                <a:gd name="T5" fmla="*/ 109 h 168"/>
                <a:gd name="T6" fmla="*/ 2 w 160"/>
                <a:gd name="T7" fmla="*/ 118 h 168"/>
                <a:gd name="T8" fmla="*/ 4 w 160"/>
                <a:gd name="T9" fmla="*/ 127 h 168"/>
                <a:gd name="T10" fmla="*/ 8 w 160"/>
                <a:gd name="T11" fmla="*/ 137 h 168"/>
                <a:gd name="T12" fmla="*/ 12 w 160"/>
                <a:gd name="T13" fmla="*/ 145 h 168"/>
                <a:gd name="T14" fmla="*/ 18 w 160"/>
                <a:gd name="T15" fmla="*/ 154 h 168"/>
                <a:gd name="T16" fmla="*/ 23 w 160"/>
                <a:gd name="T17" fmla="*/ 161 h 168"/>
                <a:gd name="T18" fmla="*/ 30 w 160"/>
                <a:gd name="T19" fmla="*/ 168 h 168"/>
                <a:gd name="T20" fmla="*/ 160 w 160"/>
                <a:gd name="T21" fmla="*/ 37 h 168"/>
                <a:gd name="T22" fmla="*/ 160 w 160"/>
                <a:gd name="T23" fmla="*/ 37 h 168"/>
                <a:gd name="T24" fmla="*/ 158 w 160"/>
                <a:gd name="T25" fmla="*/ 34 h 168"/>
                <a:gd name="T26" fmla="*/ 158 w 160"/>
                <a:gd name="T27" fmla="*/ 34 h 168"/>
                <a:gd name="T28" fmla="*/ 158 w 160"/>
                <a:gd name="T29" fmla="*/ 34 h 168"/>
                <a:gd name="T30" fmla="*/ 147 w 160"/>
                <a:gd name="T31" fmla="*/ 26 h 168"/>
                <a:gd name="T32" fmla="*/ 136 w 160"/>
                <a:gd name="T33" fmla="*/ 17 h 168"/>
                <a:gd name="T34" fmla="*/ 135 w 160"/>
                <a:gd name="T35" fmla="*/ 17 h 168"/>
                <a:gd name="T36" fmla="*/ 135 w 160"/>
                <a:gd name="T37" fmla="*/ 17 h 168"/>
                <a:gd name="T38" fmla="*/ 126 w 160"/>
                <a:gd name="T39" fmla="*/ 12 h 168"/>
                <a:gd name="T40" fmla="*/ 126 w 160"/>
                <a:gd name="T41" fmla="*/ 12 h 168"/>
                <a:gd name="T42" fmla="*/ 126 w 160"/>
                <a:gd name="T43" fmla="*/ 12 h 168"/>
                <a:gd name="T44" fmla="*/ 114 w 160"/>
                <a:gd name="T45" fmla="*/ 8 h 168"/>
                <a:gd name="T46" fmla="*/ 101 w 160"/>
                <a:gd name="T47" fmla="*/ 3 h 168"/>
                <a:gd name="T48" fmla="*/ 101 w 160"/>
                <a:gd name="T49" fmla="*/ 3 h 168"/>
                <a:gd name="T50" fmla="*/ 100 w 160"/>
                <a:gd name="T51" fmla="*/ 3 h 168"/>
                <a:gd name="T52" fmla="*/ 100 w 160"/>
                <a:gd name="T53" fmla="*/ 3 h 168"/>
                <a:gd name="T54" fmla="*/ 90 w 160"/>
                <a:gd name="T55" fmla="*/ 0 h 168"/>
                <a:gd name="T56" fmla="*/ 90 w 160"/>
                <a:gd name="T57" fmla="*/ 0 h 168"/>
                <a:gd name="T58" fmla="*/ 81 w 160"/>
                <a:gd name="T59" fmla="*/ 1 h 168"/>
                <a:gd name="T60" fmla="*/ 71 w 160"/>
                <a:gd name="T61" fmla="*/ 4 h 168"/>
                <a:gd name="T62" fmla="*/ 63 w 160"/>
                <a:gd name="T63" fmla="*/ 6 h 168"/>
                <a:gd name="T64" fmla="*/ 54 w 160"/>
                <a:gd name="T65" fmla="*/ 10 h 168"/>
                <a:gd name="T66" fmla="*/ 47 w 160"/>
                <a:gd name="T67" fmla="*/ 15 h 168"/>
                <a:gd name="T68" fmla="*/ 40 w 160"/>
                <a:gd name="T69" fmla="*/ 20 h 168"/>
                <a:gd name="T70" fmla="*/ 32 w 160"/>
                <a:gd name="T71" fmla="*/ 26 h 168"/>
                <a:gd name="T72" fmla="*/ 26 w 160"/>
                <a:gd name="T73" fmla="*/ 32 h 168"/>
                <a:gd name="T74" fmla="*/ 20 w 160"/>
                <a:gd name="T75" fmla="*/ 38 h 168"/>
                <a:gd name="T76" fmla="*/ 15 w 160"/>
                <a:gd name="T77" fmla="*/ 45 h 168"/>
                <a:gd name="T78" fmla="*/ 11 w 160"/>
                <a:gd name="T79" fmla="*/ 54 h 168"/>
                <a:gd name="T80" fmla="*/ 7 w 160"/>
                <a:gd name="T81" fmla="*/ 61 h 168"/>
                <a:gd name="T82" fmla="*/ 4 w 160"/>
                <a:gd name="T83" fmla="*/ 70 h 168"/>
                <a:gd name="T84" fmla="*/ 2 w 160"/>
                <a:gd name="T85" fmla="*/ 79 h 168"/>
                <a:gd name="T86" fmla="*/ 1 w 160"/>
                <a:gd name="T87" fmla="*/ 88 h 168"/>
                <a:gd name="T88" fmla="*/ 0 w 160"/>
                <a:gd name="T89" fmla="*/ 98 h 168"/>
                <a:gd name="T90" fmla="*/ 0 w 160"/>
                <a:gd name="T91" fmla="*/ 9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0" h="168">
                  <a:moveTo>
                    <a:pt x="0" y="98"/>
                  </a:moveTo>
                  <a:lnTo>
                    <a:pt x="0" y="98"/>
                  </a:lnTo>
                  <a:lnTo>
                    <a:pt x="1" y="109"/>
                  </a:lnTo>
                  <a:lnTo>
                    <a:pt x="2" y="118"/>
                  </a:lnTo>
                  <a:lnTo>
                    <a:pt x="4" y="127"/>
                  </a:lnTo>
                  <a:lnTo>
                    <a:pt x="8" y="137"/>
                  </a:lnTo>
                  <a:lnTo>
                    <a:pt x="12" y="145"/>
                  </a:lnTo>
                  <a:lnTo>
                    <a:pt x="18" y="154"/>
                  </a:lnTo>
                  <a:lnTo>
                    <a:pt x="23" y="161"/>
                  </a:lnTo>
                  <a:lnTo>
                    <a:pt x="30" y="168"/>
                  </a:lnTo>
                  <a:lnTo>
                    <a:pt x="160" y="37"/>
                  </a:lnTo>
                  <a:lnTo>
                    <a:pt x="160" y="37"/>
                  </a:lnTo>
                  <a:lnTo>
                    <a:pt x="158" y="34"/>
                  </a:lnTo>
                  <a:lnTo>
                    <a:pt x="158" y="34"/>
                  </a:lnTo>
                  <a:lnTo>
                    <a:pt x="158" y="34"/>
                  </a:lnTo>
                  <a:lnTo>
                    <a:pt x="147" y="26"/>
                  </a:lnTo>
                  <a:lnTo>
                    <a:pt x="136" y="17"/>
                  </a:lnTo>
                  <a:lnTo>
                    <a:pt x="135" y="17"/>
                  </a:lnTo>
                  <a:lnTo>
                    <a:pt x="135" y="17"/>
                  </a:lnTo>
                  <a:lnTo>
                    <a:pt x="126" y="12"/>
                  </a:lnTo>
                  <a:lnTo>
                    <a:pt x="126" y="12"/>
                  </a:lnTo>
                  <a:lnTo>
                    <a:pt x="126" y="12"/>
                  </a:lnTo>
                  <a:lnTo>
                    <a:pt x="114" y="8"/>
                  </a:lnTo>
                  <a:lnTo>
                    <a:pt x="101" y="3"/>
                  </a:lnTo>
                  <a:lnTo>
                    <a:pt x="101" y="3"/>
                  </a:lnTo>
                  <a:lnTo>
                    <a:pt x="100" y="3"/>
                  </a:lnTo>
                  <a:lnTo>
                    <a:pt x="100" y="3"/>
                  </a:lnTo>
                  <a:lnTo>
                    <a:pt x="90" y="0"/>
                  </a:lnTo>
                  <a:lnTo>
                    <a:pt x="90" y="0"/>
                  </a:lnTo>
                  <a:lnTo>
                    <a:pt x="81" y="1"/>
                  </a:lnTo>
                  <a:lnTo>
                    <a:pt x="71" y="4"/>
                  </a:lnTo>
                  <a:lnTo>
                    <a:pt x="63" y="6"/>
                  </a:lnTo>
                  <a:lnTo>
                    <a:pt x="54" y="10"/>
                  </a:lnTo>
                  <a:lnTo>
                    <a:pt x="47" y="15"/>
                  </a:lnTo>
                  <a:lnTo>
                    <a:pt x="40" y="20"/>
                  </a:lnTo>
                  <a:lnTo>
                    <a:pt x="32" y="26"/>
                  </a:lnTo>
                  <a:lnTo>
                    <a:pt x="26" y="32"/>
                  </a:lnTo>
                  <a:lnTo>
                    <a:pt x="20" y="38"/>
                  </a:lnTo>
                  <a:lnTo>
                    <a:pt x="15" y="45"/>
                  </a:lnTo>
                  <a:lnTo>
                    <a:pt x="11" y="54"/>
                  </a:lnTo>
                  <a:lnTo>
                    <a:pt x="7" y="61"/>
                  </a:lnTo>
                  <a:lnTo>
                    <a:pt x="4" y="70"/>
                  </a:lnTo>
                  <a:lnTo>
                    <a:pt x="2" y="79"/>
                  </a:lnTo>
                  <a:lnTo>
                    <a:pt x="1" y="88"/>
                  </a:lnTo>
                  <a:lnTo>
                    <a:pt x="0" y="98"/>
                  </a:lnTo>
                  <a:lnTo>
                    <a:pt x="0" y="98"/>
                  </a:lnTo>
                  <a:close/>
                </a:path>
              </a:pathLst>
            </a:custGeom>
            <a:solidFill>
              <a:srgbClr val="FF54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6" name="Freeform 639"/>
            <p:cNvSpPr>
              <a:spLocks/>
            </p:cNvSpPr>
            <p:nvPr/>
          </p:nvSpPr>
          <p:spPr bwMode="auto">
            <a:xfrm>
              <a:off x="4497440" y="5148302"/>
              <a:ext cx="71438" cy="52388"/>
            </a:xfrm>
            <a:custGeom>
              <a:avLst/>
              <a:gdLst>
                <a:gd name="T0" fmla="*/ 94 w 226"/>
                <a:gd name="T1" fmla="*/ 165 h 165"/>
                <a:gd name="T2" fmla="*/ 94 w 226"/>
                <a:gd name="T3" fmla="*/ 165 h 165"/>
                <a:gd name="T4" fmla="*/ 107 w 226"/>
                <a:gd name="T5" fmla="*/ 165 h 165"/>
                <a:gd name="T6" fmla="*/ 120 w 226"/>
                <a:gd name="T7" fmla="*/ 162 h 165"/>
                <a:gd name="T8" fmla="*/ 134 w 226"/>
                <a:gd name="T9" fmla="*/ 158 h 165"/>
                <a:gd name="T10" fmla="*/ 146 w 226"/>
                <a:gd name="T11" fmla="*/ 155 h 165"/>
                <a:gd name="T12" fmla="*/ 157 w 226"/>
                <a:gd name="T13" fmla="*/ 149 h 165"/>
                <a:gd name="T14" fmla="*/ 168 w 226"/>
                <a:gd name="T15" fmla="*/ 143 h 165"/>
                <a:gd name="T16" fmla="*/ 179 w 226"/>
                <a:gd name="T17" fmla="*/ 134 h 165"/>
                <a:gd name="T18" fmla="*/ 187 w 226"/>
                <a:gd name="T19" fmla="*/ 126 h 165"/>
                <a:gd name="T20" fmla="*/ 196 w 226"/>
                <a:gd name="T21" fmla="*/ 117 h 165"/>
                <a:gd name="T22" fmla="*/ 205 w 226"/>
                <a:gd name="T23" fmla="*/ 106 h 165"/>
                <a:gd name="T24" fmla="*/ 211 w 226"/>
                <a:gd name="T25" fmla="*/ 95 h 165"/>
                <a:gd name="T26" fmla="*/ 217 w 226"/>
                <a:gd name="T27" fmla="*/ 84 h 165"/>
                <a:gd name="T28" fmla="*/ 220 w 226"/>
                <a:gd name="T29" fmla="*/ 72 h 165"/>
                <a:gd name="T30" fmla="*/ 224 w 226"/>
                <a:gd name="T31" fmla="*/ 58 h 165"/>
                <a:gd name="T32" fmla="*/ 226 w 226"/>
                <a:gd name="T33" fmla="*/ 46 h 165"/>
                <a:gd name="T34" fmla="*/ 226 w 226"/>
                <a:gd name="T35" fmla="*/ 32 h 165"/>
                <a:gd name="T36" fmla="*/ 226 w 226"/>
                <a:gd name="T37" fmla="*/ 32 h 165"/>
                <a:gd name="T38" fmla="*/ 225 w 226"/>
                <a:gd name="T39" fmla="*/ 16 h 165"/>
                <a:gd name="T40" fmla="*/ 223 w 226"/>
                <a:gd name="T41" fmla="*/ 0 h 165"/>
                <a:gd name="T42" fmla="*/ 223 w 226"/>
                <a:gd name="T43" fmla="*/ 0 h 165"/>
                <a:gd name="T44" fmla="*/ 222 w 226"/>
                <a:gd name="T45" fmla="*/ 10 h 165"/>
                <a:gd name="T46" fmla="*/ 220 w 226"/>
                <a:gd name="T47" fmla="*/ 19 h 165"/>
                <a:gd name="T48" fmla="*/ 218 w 226"/>
                <a:gd name="T49" fmla="*/ 29 h 165"/>
                <a:gd name="T50" fmla="*/ 214 w 226"/>
                <a:gd name="T51" fmla="*/ 38 h 165"/>
                <a:gd name="T52" fmla="*/ 211 w 226"/>
                <a:gd name="T53" fmla="*/ 46 h 165"/>
                <a:gd name="T54" fmla="*/ 206 w 226"/>
                <a:gd name="T55" fmla="*/ 55 h 165"/>
                <a:gd name="T56" fmla="*/ 200 w 226"/>
                <a:gd name="T57" fmla="*/ 62 h 165"/>
                <a:gd name="T58" fmla="*/ 194 w 226"/>
                <a:gd name="T59" fmla="*/ 68 h 165"/>
                <a:gd name="T60" fmla="*/ 186 w 226"/>
                <a:gd name="T61" fmla="*/ 74 h 165"/>
                <a:gd name="T62" fmla="*/ 179 w 226"/>
                <a:gd name="T63" fmla="*/ 80 h 165"/>
                <a:gd name="T64" fmla="*/ 172 w 226"/>
                <a:gd name="T65" fmla="*/ 85 h 165"/>
                <a:gd name="T66" fmla="*/ 163 w 226"/>
                <a:gd name="T67" fmla="*/ 89 h 165"/>
                <a:gd name="T68" fmla="*/ 153 w 226"/>
                <a:gd name="T69" fmla="*/ 93 h 165"/>
                <a:gd name="T70" fmla="*/ 145 w 226"/>
                <a:gd name="T71" fmla="*/ 95 h 165"/>
                <a:gd name="T72" fmla="*/ 135 w 226"/>
                <a:gd name="T73" fmla="*/ 96 h 165"/>
                <a:gd name="T74" fmla="*/ 125 w 226"/>
                <a:gd name="T75" fmla="*/ 96 h 165"/>
                <a:gd name="T76" fmla="*/ 125 w 226"/>
                <a:gd name="T77" fmla="*/ 96 h 165"/>
                <a:gd name="T78" fmla="*/ 116 w 226"/>
                <a:gd name="T79" fmla="*/ 96 h 165"/>
                <a:gd name="T80" fmla="*/ 106 w 226"/>
                <a:gd name="T81" fmla="*/ 95 h 165"/>
                <a:gd name="T82" fmla="*/ 96 w 226"/>
                <a:gd name="T83" fmla="*/ 93 h 165"/>
                <a:gd name="T84" fmla="*/ 88 w 226"/>
                <a:gd name="T85" fmla="*/ 89 h 165"/>
                <a:gd name="T86" fmla="*/ 79 w 226"/>
                <a:gd name="T87" fmla="*/ 85 h 165"/>
                <a:gd name="T88" fmla="*/ 70 w 226"/>
                <a:gd name="T89" fmla="*/ 80 h 165"/>
                <a:gd name="T90" fmla="*/ 63 w 226"/>
                <a:gd name="T91" fmla="*/ 76 h 165"/>
                <a:gd name="T92" fmla="*/ 57 w 226"/>
                <a:gd name="T93" fmla="*/ 69 h 165"/>
                <a:gd name="T94" fmla="*/ 0 w 226"/>
                <a:gd name="T95" fmla="*/ 126 h 165"/>
                <a:gd name="T96" fmla="*/ 0 w 226"/>
                <a:gd name="T97" fmla="*/ 126 h 165"/>
                <a:gd name="T98" fmla="*/ 9 w 226"/>
                <a:gd name="T99" fmla="*/ 134 h 165"/>
                <a:gd name="T100" fmla="*/ 19 w 226"/>
                <a:gd name="T101" fmla="*/ 141 h 165"/>
                <a:gd name="T102" fmla="*/ 30 w 226"/>
                <a:gd name="T103" fmla="*/ 149 h 165"/>
                <a:gd name="T104" fmla="*/ 42 w 226"/>
                <a:gd name="T105" fmla="*/ 155 h 165"/>
                <a:gd name="T106" fmla="*/ 55 w 226"/>
                <a:gd name="T107" fmla="*/ 158 h 165"/>
                <a:gd name="T108" fmla="*/ 67 w 226"/>
                <a:gd name="T109" fmla="*/ 162 h 165"/>
                <a:gd name="T110" fmla="*/ 80 w 226"/>
                <a:gd name="T111" fmla="*/ 165 h 165"/>
                <a:gd name="T112" fmla="*/ 94 w 226"/>
                <a:gd name="T113" fmla="*/ 165 h 165"/>
                <a:gd name="T114" fmla="*/ 94 w 226"/>
                <a:gd name="T115"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6" h="165">
                  <a:moveTo>
                    <a:pt x="94" y="165"/>
                  </a:moveTo>
                  <a:lnTo>
                    <a:pt x="94" y="165"/>
                  </a:lnTo>
                  <a:lnTo>
                    <a:pt x="107" y="165"/>
                  </a:lnTo>
                  <a:lnTo>
                    <a:pt x="120" y="162"/>
                  </a:lnTo>
                  <a:lnTo>
                    <a:pt x="134" y="158"/>
                  </a:lnTo>
                  <a:lnTo>
                    <a:pt x="146" y="155"/>
                  </a:lnTo>
                  <a:lnTo>
                    <a:pt x="157" y="149"/>
                  </a:lnTo>
                  <a:lnTo>
                    <a:pt x="168" y="143"/>
                  </a:lnTo>
                  <a:lnTo>
                    <a:pt x="179" y="134"/>
                  </a:lnTo>
                  <a:lnTo>
                    <a:pt x="187" y="126"/>
                  </a:lnTo>
                  <a:lnTo>
                    <a:pt x="196" y="117"/>
                  </a:lnTo>
                  <a:lnTo>
                    <a:pt x="205" y="106"/>
                  </a:lnTo>
                  <a:lnTo>
                    <a:pt x="211" y="95"/>
                  </a:lnTo>
                  <a:lnTo>
                    <a:pt x="217" y="84"/>
                  </a:lnTo>
                  <a:lnTo>
                    <a:pt x="220" y="72"/>
                  </a:lnTo>
                  <a:lnTo>
                    <a:pt x="224" y="58"/>
                  </a:lnTo>
                  <a:lnTo>
                    <a:pt x="226" y="46"/>
                  </a:lnTo>
                  <a:lnTo>
                    <a:pt x="226" y="32"/>
                  </a:lnTo>
                  <a:lnTo>
                    <a:pt x="226" y="32"/>
                  </a:lnTo>
                  <a:lnTo>
                    <a:pt x="225" y="16"/>
                  </a:lnTo>
                  <a:lnTo>
                    <a:pt x="223" y="0"/>
                  </a:lnTo>
                  <a:lnTo>
                    <a:pt x="223" y="0"/>
                  </a:lnTo>
                  <a:lnTo>
                    <a:pt x="222" y="10"/>
                  </a:lnTo>
                  <a:lnTo>
                    <a:pt x="220" y="19"/>
                  </a:lnTo>
                  <a:lnTo>
                    <a:pt x="218" y="29"/>
                  </a:lnTo>
                  <a:lnTo>
                    <a:pt x="214" y="38"/>
                  </a:lnTo>
                  <a:lnTo>
                    <a:pt x="211" y="46"/>
                  </a:lnTo>
                  <a:lnTo>
                    <a:pt x="206" y="55"/>
                  </a:lnTo>
                  <a:lnTo>
                    <a:pt x="200" y="62"/>
                  </a:lnTo>
                  <a:lnTo>
                    <a:pt x="194" y="68"/>
                  </a:lnTo>
                  <a:lnTo>
                    <a:pt x="186" y="74"/>
                  </a:lnTo>
                  <a:lnTo>
                    <a:pt x="179" y="80"/>
                  </a:lnTo>
                  <a:lnTo>
                    <a:pt x="172" y="85"/>
                  </a:lnTo>
                  <a:lnTo>
                    <a:pt x="163" y="89"/>
                  </a:lnTo>
                  <a:lnTo>
                    <a:pt x="153" y="93"/>
                  </a:lnTo>
                  <a:lnTo>
                    <a:pt x="145" y="95"/>
                  </a:lnTo>
                  <a:lnTo>
                    <a:pt x="135" y="96"/>
                  </a:lnTo>
                  <a:lnTo>
                    <a:pt x="125" y="96"/>
                  </a:lnTo>
                  <a:lnTo>
                    <a:pt x="125" y="96"/>
                  </a:lnTo>
                  <a:lnTo>
                    <a:pt x="116" y="96"/>
                  </a:lnTo>
                  <a:lnTo>
                    <a:pt x="106" y="95"/>
                  </a:lnTo>
                  <a:lnTo>
                    <a:pt x="96" y="93"/>
                  </a:lnTo>
                  <a:lnTo>
                    <a:pt x="88" y="89"/>
                  </a:lnTo>
                  <a:lnTo>
                    <a:pt x="79" y="85"/>
                  </a:lnTo>
                  <a:lnTo>
                    <a:pt x="70" y="80"/>
                  </a:lnTo>
                  <a:lnTo>
                    <a:pt x="63" y="76"/>
                  </a:lnTo>
                  <a:lnTo>
                    <a:pt x="57" y="69"/>
                  </a:lnTo>
                  <a:lnTo>
                    <a:pt x="0" y="126"/>
                  </a:lnTo>
                  <a:lnTo>
                    <a:pt x="0" y="126"/>
                  </a:lnTo>
                  <a:lnTo>
                    <a:pt x="9" y="134"/>
                  </a:lnTo>
                  <a:lnTo>
                    <a:pt x="19" y="141"/>
                  </a:lnTo>
                  <a:lnTo>
                    <a:pt x="30" y="149"/>
                  </a:lnTo>
                  <a:lnTo>
                    <a:pt x="42" y="155"/>
                  </a:lnTo>
                  <a:lnTo>
                    <a:pt x="55" y="158"/>
                  </a:lnTo>
                  <a:lnTo>
                    <a:pt x="67" y="162"/>
                  </a:lnTo>
                  <a:lnTo>
                    <a:pt x="80" y="165"/>
                  </a:lnTo>
                  <a:lnTo>
                    <a:pt x="94" y="165"/>
                  </a:lnTo>
                  <a:lnTo>
                    <a:pt x="94" y="165"/>
                  </a:lnTo>
                  <a:close/>
                </a:path>
              </a:pathLst>
            </a:custGeom>
            <a:solidFill>
              <a:srgbClr val="AD26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7" name="Freeform 640"/>
            <p:cNvSpPr>
              <a:spLocks/>
            </p:cNvSpPr>
            <p:nvPr/>
          </p:nvSpPr>
          <p:spPr bwMode="auto">
            <a:xfrm>
              <a:off x="4557765" y="5130839"/>
              <a:ext cx="11113" cy="17463"/>
            </a:xfrm>
            <a:custGeom>
              <a:avLst/>
              <a:gdLst>
                <a:gd name="T0" fmla="*/ 0 w 32"/>
                <a:gd name="T1" fmla="*/ 0 h 57"/>
                <a:gd name="T2" fmla="*/ 0 w 32"/>
                <a:gd name="T3" fmla="*/ 0 h 57"/>
                <a:gd name="T4" fmla="*/ 11 w 32"/>
                <a:gd name="T5" fmla="*/ 12 h 57"/>
                <a:gd name="T6" fmla="*/ 20 w 32"/>
                <a:gd name="T7" fmla="*/ 26 h 57"/>
                <a:gd name="T8" fmla="*/ 27 w 32"/>
                <a:gd name="T9" fmla="*/ 41 h 57"/>
                <a:gd name="T10" fmla="*/ 32 w 32"/>
                <a:gd name="T11" fmla="*/ 57 h 57"/>
                <a:gd name="T12" fmla="*/ 32 w 32"/>
                <a:gd name="T13" fmla="*/ 57 h 57"/>
                <a:gd name="T14" fmla="*/ 27 w 32"/>
                <a:gd name="T15" fmla="*/ 41 h 57"/>
                <a:gd name="T16" fmla="*/ 20 w 32"/>
                <a:gd name="T17" fmla="*/ 26 h 57"/>
                <a:gd name="T18" fmla="*/ 11 w 32"/>
                <a:gd name="T19" fmla="*/ 12 h 57"/>
                <a:gd name="T20" fmla="*/ 0 w 32"/>
                <a:gd name="T21" fmla="*/ 0 h 57"/>
                <a:gd name="T22" fmla="*/ 0 w 32"/>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57">
                  <a:moveTo>
                    <a:pt x="0" y="0"/>
                  </a:moveTo>
                  <a:lnTo>
                    <a:pt x="0" y="0"/>
                  </a:lnTo>
                  <a:lnTo>
                    <a:pt x="11" y="12"/>
                  </a:lnTo>
                  <a:lnTo>
                    <a:pt x="20" y="26"/>
                  </a:lnTo>
                  <a:lnTo>
                    <a:pt x="27" y="41"/>
                  </a:lnTo>
                  <a:lnTo>
                    <a:pt x="32" y="57"/>
                  </a:lnTo>
                  <a:lnTo>
                    <a:pt x="32" y="57"/>
                  </a:lnTo>
                  <a:lnTo>
                    <a:pt x="27" y="41"/>
                  </a:lnTo>
                  <a:lnTo>
                    <a:pt x="20" y="26"/>
                  </a:lnTo>
                  <a:lnTo>
                    <a:pt x="11" y="12"/>
                  </a:ln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8" name="Freeform 641"/>
            <p:cNvSpPr>
              <a:spLocks/>
            </p:cNvSpPr>
            <p:nvPr/>
          </p:nvSpPr>
          <p:spPr bwMode="auto">
            <a:xfrm>
              <a:off x="4557765" y="5129252"/>
              <a:ext cx="0" cy="0"/>
            </a:xfrm>
            <a:custGeom>
              <a:avLst/>
              <a:gdLst>
                <a:gd name="T0" fmla="*/ 4 w 4"/>
                <a:gd name="T1" fmla="*/ 3 h 3"/>
                <a:gd name="T2" fmla="*/ 4 w 4"/>
                <a:gd name="T3" fmla="*/ 3 h 3"/>
                <a:gd name="T4" fmla="*/ 0 w 4"/>
                <a:gd name="T5" fmla="*/ 0 h 3"/>
                <a:gd name="T6" fmla="*/ 0 w 4"/>
                <a:gd name="T7" fmla="*/ 0 h 3"/>
                <a:gd name="T8" fmla="*/ 0 w 4"/>
                <a:gd name="T9" fmla="*/ 0 h 3"/>
                <a:gd name="T10" fmla="*/ 4 w 4"/>
                <a:gd name="T11" fmla="*/ 3 h 3"/>
                <a:gd name="T12" fmla="*/ 4 w 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4" y="3"/>
                  </a:moveTo>
                  <a:lnTo>
                    <a:pt x="4" y="3"/>
                  </a:lnTo>
                  <a:lnTo>
                    <a:pt x="0" y="0"/>
                  </a:lnTo>
                  <a:lnTo>
                    <a:pt x="0" y="0"/>
                  </a:lnTo>
                  <a:lnTo>
                    <a:pt x="0" y="0"/>
                  </a:lnTo>
                  <a:lnTo>
                    <a:pt x="4" y="3"/>
                  </a:lnTo>
                  <a:lnTo>
                    <a:pt x="4" y="3"/>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39" name="Freeform 642"/>
            <p:cNvSpPr>
              <a:spLocks/>
            </p:cNvSpPr>
            <p:nvPr/>
          </p:nvSpPr>
          <p:spPr bwMode="auto">
            <a:xfrm>
              <a:off x="4568878" y="514830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0" name="Freeform 643"/>
            <p:cNvSpPr>
              <a:spLocks/>
            </p:cNvSpPr>
            <p:nvPr/>
          </p:nvSpPr>
          <p:spPr bwMode="auto">
            <a:xfrm>
              <a:off x="4557765" y="5129252"/>
              <a:ext cx="0" cy="1588"/>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close/>
                </a:path>
              </a:pathLst>
            </a:custGeom>
            <a:solidFill>
              <a:srgbClr val="454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1" name="Freeform 644"/>
            <p:cNvSpPr>
              <a:spLocks/>
            </p:cNvSpPr>
            <p:nvPr/>
          </p:nvSpPr>
          <p:spPr bwMode="auto">
            <a:xfrm>
              <a:off x="4516490" y="5129252"/>
              <a:ext cx="52388" cy="49213"/>
            </a:xfrm>
            <a:custGeom>
              <a:avLst/>
              <a:gdLst>
                <a:gd name="T0" fmla="*/ 0 w 166"/>
                <a:gd name="T1" fmla="*/ 131 h 158"/>
                <a:gd name="T2" fmla="*/ 0 w 166"/>
                <a:gd name="T3" fmla="*/ 131 h 158"/>
                <a:gd name="T4" fmla="*/ 6 w 166"/>
                <a:gd name="T5" fmla="*/ 138 h 158"/>
                <a:gd name="T6" fmla="*/ 13 w 166"/>
                <a:gd name="T7" fmla="*/ 142 h 158"/>
                <a:gd name="T8" fmla="*/ 22 w 166"/>
                <a:gd name="T9" fmla="*/ 147 h 158"/>
                <a:gd name="T10" fmla="*/ 31 w 166"/>
                <a:gd name="T11" fmla="*/ 151 h 158"/>
                <a:gd name="T12" fmla="*/ 39 w 166"/>
                <a:gd name="T13" fmla="*/ 155 h 158"/>
                <a:gd name="T14" fmla="*/ 49 w 166"/>
                <a:gd name="T15" fmla="*/ 157 h 158"/>
                <a:gd name="T16" fmla="*/ 59 w 166"/>
                <a:gd name="T17" fmla="*/ 158 h 158"/>
                <a:gd name="T18" fmla="*/ 68 w 166"/>
                <a:gd name="T19" fmla="*/ 158 h 158"/>
                <a:gd name="T20" fmla="*/ 68 w 166"/>
                <a:gd name="T21" fmla="*/ 158 h 158"/>
                <a:gd name="T22" fmla="*/ 78 w 166"/>
                <a:gd name="T23" fmla="*/ 158 h 158"/>
                <a:gd name="T24" fmla="*/ 88 w 166"/>
                <a:gd name="T25" fmla="*/ 157 h 158"/>
                <a:gd name="T26" fmla="*/ 96 w 166"/>
                <a:gd name="T27" fmla="*/ 155 h 158"/>
                <a:gd name="T28" fmla="*/ 106 w 166"/>
                <a:gd name="T29" fmla="*/ 151 h 158"/>
                <a:gd name="T30" fmla="*/ 115 w 166"/>
                <a:gd name="T31" fmla="*/ 147 h 158"/>
                <a:gd name="T32" fmla="*/ 122 w 166"/>
                <a:gd name="T33" fmla="*/ 142 h 158"/>
                <a:gd name="T34" fmla="*/ 129 w 166"/>
                <a:gd name="T35" fmla="*/ 136 h 158"/>
                <a:gd name="T36" fmla="*/ 137 w 166"/>
                <a:gd name="T37" fmla="*/ 130 h 158"/>
                <a:gd name="T38" fmla="*/ 143 w 166"/>
                <a:gd name="T39" fmla="*/ 124 h 158"/>
                <a:gd name="T40" fmla="*/ 149 w 166"/>
                <a:gd name="T41" fmla="*/ 117 h 158"/>
                <a:gd name="T42" fmla="*/ 154 w 166"/>
                <a:gd name="T43" fmla="*/ 108 h 158"/>
                <a:gd name="T44" fmla="*/ 157 w 166"/>
                <a:gd name="T45" fmla="*/ 100 h 158"/>
                <a:gd name="T46" fmla="*/ 161 w 166"/>
                <a:gd name="T47" fmla="*/ 91 h 158"/>
                <a:gd name="T48" fmla="*/ 163 w 166"/>
                <a:gd name="T49" fmla="*/ 81 h 158"/>
                <a:gd name="T50" fmla="*/ 165 w 166"/>
                <a:gd name="T51" fmla="*/ 72 h 158"/>
                <a:gd name="T52" fmla="*/ 166 w 166"/>
                <a:gd name="T53" fmla="*/ 62 h 158"/>
                <a:gd name="T54" fmla="*/ 166 w 166"/>
                <a:gd name="T55" fmla="*/ 62 h 158"/>
                <a:gd name="T56" fmla="*/ 166 w 166"/>
                <a:gd name="T57" fmla="*/ 62 h 158"/>
                <a:gd name="T58" fmla="*/ 161 w 166"/>
                <a:gd name="T59" fmla="*/ 46 h 158"/>
                <a:gd name="T60" fmla="*/ 154 w 166"/>
                <a:gd name="T61" fmla="*/ 31 h 158"/>
                <a:gd name="T62" fmla="*/ 145 w 166"/>
                <a:gd name="T63" fmla="*/ 17 h 158"/>
                <a:gd name="T64" fmla="*/ 134 w 166"/>
                <a:gd name="T65" fmla="*/ 5 h 158"/>
                <a:gd name="T66" fmla="*/ 134 w 166"/>
                <a:gd name="T67" fmla="*/ 3 h 158"/>
                <a:gd name="T68" fmla="*/ 134 w 166"/>
                <a:gd name="T69" fmla="*/ 3 h 158"/>
                <a:gd name="T70" fmla="*/ 130 w 166"/>
                <a:gd name="T71" fmla="*/ 0 h 158"/>
                <a:gd name="T72" fmla="*/ 0 w 166"/>
                <a:gd name="T73" fmla="*/ 13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6" h="158">
                  <a:moveTo>
                    <a:pt x="0" y="131"/>
                  </a:moveTo>
                  <a:lnTo>
                    <a:pt x="0" y="131"/>
                  </a:lnTo>
                  <a:lnTo>
                    <a:pt x="6" y="138"/>
                  </a:lnTo>
                  <a:lnTo>
                    <a:pt x="13" y="142"/>
                  </a:lnTo>
                  <a:lnTo>
                    <a:pt x="22" y="147"/>
                  </a:lnTo>
                  <a:lnTo>
                    <a:pt x="31" y="151"/>
                  </a:lnTo>
                  <a:lnTo>
                    <a:pt x="39" y="155"/>
                  </a:lnTo>
                  <a:lnTo>
                    <a:pt x="49" y="157"/>
                  </a:lnTo>
                  <a:lnTo>
                    <a:pt x="59" y="158"/>
                  </a:lnTo>
                  <a:lnTo>
                    <a:pt x="68" y="158"/>
                  </a:lnTo>
                  <a:lnTo>
                    <a:pt x="68" y="158"/>
                  </a:lnTo>
                  <a:lnTo>
                    <a:pt x="78" y="158"/>
                  </a:lnTo>
                  <a:lnTo>
                    <a:pt x="88" y="157"/>
                  </a:lnTo>
                  <a:lnTo>
                    <a:pt x="96" y="155"/>
                  </a:lnTo>
                  <a:lnTo>
                    <a:pt x="106" y="151"/>
                  </a:lnTo>
                  <a:lnTo>
                    <a:pt x="115" y="147"/>
                  </a:lnTo>
                  <a:lnTo>
                    <a:pt x="122" y="142"/>
                  </a:lnTo>
                  <a:lnTo>
                    <a:pt x="129" y="136"/>
                  </a:lnTo>
                  <a:lnTo>
                    <a:pt x="137" y="130"/>
                  </a:lnTo>
                  <a:lnTo>
                    <a:pt x="143" y="124"/>
                  </a:lnTo>
                  <a:lnTo>
                    <a:pt x="149" y="117"/>
                  </a:lnTo>
                  <a:lnTo>
                    <a:pt x="154" y="108"/>
                  </a:lnTo>
                  <a:lnTo>
                    <a:pt x="157" y="100"/>
                  </a:lnTo>
                  <a:lnTo>
                    <a:pt x="161" y="91"/>
                  </a:lnTo>
                  <a:lnTo>
                    <a:pt x="163" y="81"/>
                  </a:lnTo>
                  <a:lnTo>
                    <a:pt x="165" y="72"/>
                  </a:lnTo>
                  <a:lnTo>
                    <a:pt x="166" y="62"/>
                  </a:lnTo>
                  <a:lnTo>
                    <a:pt x="166" y="62"/>
                  </a:lnTo>
                  <a:lnTo>
                    <a:pt x="166" y="62"/>
                  </a:lnTo>
                  <a:lnTo>
                    <a:pt x="161" y="46"/>
                  </a:lnTo>
                  <a:lnTo>
                    <a:pt x="154" y="31"/>
                  </a:lnTo>
                  <a:lnTo>
                    <a:pt x="145" y="17"/>
                  </a:lnTo>
                  <a:lnTo>
                    <a:pt x="134" y="5"/>
                  </a:lnTo>
                  <a:lnTo>
                    <a:pt x="134" y="3"/>
                  </a:lnTo>
                  <a:lnTo>
                    <a:pt x="134" y="3"/>
                  </a:lnTo>
                  <a:lnTo>
                    <a:pt x="130" y="0"/>
                  </a:lnTo>
                  <a:lnTo>
                    <a:pt x="0" y="131"/>
                  </a:lnTo>
                  <a:close/>
                </a:path>
              </a:pathLst>
            </a:custGeom>
            <a:solidFill>
              <a:srgbClr val="DD39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2" name="Freeform 645"/>
            <p:cNvSpPr>
              <a:spLocks/>
            </p:cNvSpPr>
            <p:nvPr/>
          </p:nvSpPr>
          <p:spPr bwMode="auto">
            <a:xfrm>
              <a:off x="4399014" y="4816511"/>
              <a:ext cx="120651" cy="303215"/>
            </a:xfrm>
            <a:custGeom>
              <a:avLst/>
              <a:gdLst>
                <a:gd name="T0" fmla="*/ 234 w 382"/>
                <a:gd name="T1" fmla="*/ 953 h 953"/>
                <a:gd name="T2" fmla="*/ 382 w 382"/>
                <a:gd name="T3" fmla="*/ 857 h 953"/>
                <a:gd name="T4" fmla="*/ 175 w 382"/>
                <a:gd name="T5" fmla="*/ 259 h 953"/>
                <a:gd name="T6" fmla="*/ 136 w 382"/>
                <a:gd name="T7" fmla="*/ 382 h 953"/>
                <a:gd name="T8" fmla="*/ 0 w 382"/>
                <a:gd name="T9" fmla="*/ 0 h 953"/>
                <a:gd name="T10" fmla="*/ 14 w 382"/>
                <a:gd name="T11" fmla="*/ 500 h 953"/>
                <a:gd name="T12" fmla="*/ 234 w 382"/>
                <a:gd name="T13" fmla="*/ 953 h 953"/>
              </a:gdLst>
              <a:ahLst/>
              <a:cxnLst>
                <a:cxn ang="0">
                  <a:pos x="T0" y="T1"/>
                </a:cxn>
                <a:cxn ang="0">
                  <a:pos x="T2" y="T3"/>
                </a:cxn>
                <a:cxn ang="0">
                  <a:pos x="T4" y="T5"/>
                </a:cxn>
                <a:cxn ang="0">
                  <a:pos x="T6" y="T7"/>
                </a:cxn>
                <a:cxn ang="0">
                  <a:pos x="T8" y="T9"/>
                </a:cxn>
                <a:cxn ang="0">
                  <a:pos x="T10" y="T11"/>
                </a:cxn>
                <a:cxn ang="0">
                  <a:pos x="T12" y="T13"/>
                </a:cxn>
              </a:cxnLst>
              <a:rect l="0" t="0" r="r" b="b"/>
              <a:pathLst>
                <a:path w="382" h="953">
                  <a:moveTo>
                    <a:pt x="234" y="953"/>
                  </a:moveTo>
                  <a:lnTo>
                    <a:pt x="382" y="857"/>
                  </a:lnTo>
                  <a:lnTo>
                    <a:pt x="175" y="259"/>
                  </a:lnTo>
                  <a:lnTo>
                    <a:pt x="136" y="382"/>
                  </a:lnTo>
                  <a:lnTo>
                    <a:pt x="0" y="0"/>
                  </a:lnTo>
                  <a:lnTo>
                    <a:pt x="14" y="500"/>
                  </a:lnTo>
                  <a:lnTo>
                    <a:pt x="234" y="95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3" name="Freeform 646"/>
            <p:cNvSpPr>
              <a:spLocks/>
            </p:cNvSpPr>
            <p:nvPr/>
          </p:nvSpPr>
          <p:spPr bwMode="auto">
            <a:xfrm>
              <a:off x="4264075" y="4840324"/>
              <a:ext cx="233364" cy="279403"/>
            </a:xfrm>
            <a:custGeom>
              <a:avLst/>
              <a:gdLst>
                <a:gd name="T0" fmla="*/ 657 w 735"/>
                <a:gd name="T1" fmla="*/ 882 h 882"/>
                <a:gd name="T2" fmla="*/ 735 w 735"/>
                <a:gd name="T3" fmla="*/ 833 h 882"/>
                <a:gd name="T4" fmla="*/ 491 w 735"/>
                <a:gd name="T5" fmla="*/ 276 h 882"/>
                <a:gd name="T6" fmla="*/ 458 w 735"/>
                <a:gd name="T7" fmla="*/ 337 h 882"/>
                <a:gd name="T8" fmla="*/ 369 w 735"/>
                <a:gd name="T9" fmla="*/ 213 h 882"/>
                <a:gd name="T10" fmla="*/ 357 w 735"/>
                <a:gd name="T11" fmla="*/ 290 h 882"/>
                <a:gd name="T12" fmla="*/ 0 w 735"/>
                <a:gd name="T13" fmla="*/ 0 h 882"/>
                <a:gd name="T14" fmla="*/ 214 w 735"/>
                <a:gd name="T15" fmla="*/ 420 h 882"/>
                <a:gd name="T16" fmla="*/ 92 w 735"/>
                <a:gd name="T17" fmla="*/ 365 h 882"/>
                <a:gd name="T18" fmla="*/ 657 w 735"/>
                <a:gd name="T19" fmla="*/ 882 h 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5" h="882">
                  <a:moveTo>
                    <a:pt x="657" y="882"/>
                  </a:moveTo>
                  <a:lnTo>
                    <a:pt x="735" y="833"/>
                  </a:lnTo>
                  <a:lnTo>
                    <a:pt x="491" y="276"/>
                  </a:lnTo>
                  <a:lnTo>
                    <a:pt x="458" y="337"/>
                  </a:lnTo>
                  <a:lnTo>
                    <a:pt x="369" y="213"/>
                  </a:lnTo>
                  <a:lnTo>
                    <a:pt x="357" y="290"/>
                  </a:lnTo>
                  <a:lnTo>
                    <a:pt x="0" y="0"/>
                  </a:lnTo>
                  <a:lnTo>
                    <a:pt x="214" y="420"/>
                  </a:lnTo>
                  <a:lnTo>
                    <a:pt x="92" y="365"/>
                  </a:lnTo>
                  <a:lnTo>
                    <a:pt x="657" y="8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4" name="Freeform 647"/>
            <p:cNvSpPr>
              <a:spLocks/>
            </p:cNvSpPr>
            <p:nvPr/>
          </p:nvSpPr>
          <p:spPr bwMode="auto">
            <a:xfrm>
              <a:off x="4553003" y="5059401"/>
              <a:ext cx="6350" cy="30163"/>
            </a:xfrm>
            <a:custGeom>
              <a:avLst/>
              <a:gdLst>
                <a:gd name="T0" fmla="*/ 23 w 23"/>
                <a:gd name="T1" fmla="*/ 82 h 94"/>
                <a:gd name="T2" fmla="*/ 23 w 23"/>
                <a:gd name="T3" fmla="*/ 82 h 94"/>
                <a:gd name="T4" fmla="*/ 22 w 23"/>
                <a:gd name="T5" fmla="*/ 87 h 94"/>
                <a:gd name="T6" fmla="*/ 19 w 23"/>
                <a:gd name="T7" fmla="*/ 91 h 94"/>
                <a:gd name="T8" fmla="*/ 16 w 23"/>
                <a:gd name="T9" fmla="*/ 93 h 94"/>
                <a:gd name="T10" fmla="*/ 12 w 23"/>
                <a:gd name="T11" fmla="*/ 94 h 94"/>
                <a:gd name="T12" fmla="*/ 12 w 23"/>
                <a:gd name="T13" fmla="*/ 94 h 94"/>
                <a:gd name="T14" fmla="*/ 7 w 23"/>
                <a:gd name="T15" fmla="*/ 93 h 94"/>
                <a:gd name="T16" fmla="*/ 4 w 23"/>
                <a:gd name="T17" fmla="*/ 91 h 94"/>
                <a:gd name="T18" fmla="*/ 1 w 23"/>
                <a:gd name="T19" fmla="*/ 87 h 94"/>
                <a:gd name="T20" fmla="*/ 0 w 23"/>
                <a:gd name="T21" fmla="*/ 82 h 94"/>
                <a:gd name="T22" fmla="*/ 0 w 23"/>
                <a:gd name="T23" fmla="*/ 11 h 94"/>
                <a:gd name="T24" fmla="*/ 0 w 23"/>
                <a:gd name="T25" fmla="*/ 11 h 94"/>
                <a:gd name="T26" fmla="*/ 1 w 23"/>
                <a:gd name="T27" fmla="*/ 8 h 94"/>
                <a:gd name="T28" fmla="*/ 4 w 23"/>
                <a:gd name="T29" fmla="*/ 4 h 94"/>
                <a:gd name="T30" fmla="*/ 7 w 23"/>
                <a:gd name="T31" fmla="*/ 2 h 94"/>
                <a:gd name="T32" fmla="*/ 12 w 23"/>
                <a:gd name="T33" fmla="*/ 0 h 94"/>
                <a:gd name="T34" fmla="*/ 12 w 23"/>
                <a:gd name="T35" fmla="*/ 0 h 94"/>
                <a:gd name="T36" fmla="*/ 16 w 23"/>
                <a:gd name="T37" fmla="*/ 2 h 94"/>
                <a:gd name="T38" fmla="*/ 19 w 23"/>
                <a:gd name="T39" fmla="*/ 4 h 94"/>
                <a:gd name="T40" fmla="*/ 22 w 23"/>
                <a:gd name="T41" fmla="*/ 8 h 94"/>
                <a:gd name="T42" fmla="*/ 23 w 23"/>
                <a:gd name="T43" fmla="*/ 11 h 94"/>
                <a:gd name="T44" fmla="*/ 23 w 23"/>
                <a:gd name="T45"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94">
                  <a:moveTo>
                    <a:pt x="23" y="82"/>
                  </a:moveTo>
                  <a:lnTo>
                    <a:pt x="23" y="82"/>
                  </a:lnTo>
                  <a:lnTo>
                    <a:pt x="22" y="87"/>
                  </a:lnTo>
                  <a:lnTo>
                    <a:pt x="19" y="91"/>
                  </a:lnTo>
                  <a:lnTo>
                    <a:pt x="16" y="93"/>
                  </a:lnTo>
                  <a:lnTo>
                    <a:pt x="12" y="94"/>
                  </a:lnTo>
                  <a:lnTo>
                    <a:pt x="12" y="94"/>
                  </a:lnTo>
                  <a:lnTo>
                    <a:pt x="7" y="93"/>
                  </a:lnTo>
                  <a:lnTo>
                    <a:pt x="4" y="91"/>
                  </a:lnTo>
                  <a:lnTo>
                    <a:pt x="1" y="87"/>
                  </a:lnTo>
                  <a:lnTo>
                    <a:pt x="0" y="82"/>
                  </a:lnTo>
                  <a:lnTo>
                    <a:pt x="0" y="11"/>
                  </a:lnTo>
                  <a:lnTo>
                    <a:pt x="0" y="11"/>
                  </a:lnTo>
                  <a:lnTo>
                    <a:pt x="1" y="8"/>
                  </a:lnTo>
                  <a:lnTo>
                    <a:pt x="4" y="4"/>
                  </a:lnTo>
                  <a:lnTo>
                    <a:pt x="7" y="2"/>
                  </a:lnTo>
                  <a:lnTo>
                    <a:pt x="12" y="0"/>
                  </a:lnTo>
                  <a:lnTo>
                    <a:pt x="12" y="0"/>
                  </a:lnTo>
                  <a:lnTo>
                    <a:pt x="16" y="2"/>
                  </a:lnTo>
                  <a:lnTo>
                    <a:pt x="19" y="4"/>
                  </a:lnTo>
                  <a:lnTo>
                    <a:pt x="22" y="8"/>
                  </a:lnTo>
                  <a:lnTo>
                    <a:pt x="23" y="11"/>
                  </a:lnTo>
                  <a:lnTo>
                    <a:pt x="23" y="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5" name="Freeform 648"/>
            <p:cNvSpPr>
              <a:spLocks/>
            </p:cNvSpPr>
            <p:nvPr/>
          </p:nvSpPr>
          <p:spPr bwMode="auto">
            <a:xfrm>
              <a:off x="4578403" y="5051464"/>
              <a:ext cx="17463" cy="44450"/>
            </a:xfrm>
            <a:custGeom>
              <a:avLst/>
              <a:gdLst>
                <a:gd name="T0" fmla="*/ 21 w 56"/>
                <a:gd name="T1" fmla="*/ 130 h 137"/>
                <a:gd name="T2" fmla="*/ 21 w 56"/>
                <a:gd name="T3" fmla="*/ 130 h 137"/>
                <a:gd name="T4" fmla="*/ 19 w 56"/>
                <a:gd name="T5" fmla="*/ 133 h 137"/>
                <a:gd name="T6" fmla="*/ 17 w 56"/>
                <a:gd name="T7" fmla="*/ 136 h 137"/>
                <a:gd name="T8" fmla="*/ 12 w 56"/>
                <a:gd name="T9" fmla="*/ 137 h 137"/>
                <a:gd name="T10" fmla="*/ 8 w 56"/>
                <a:gd name="T11" fmla="*/ 137 h 137"/>
                <a:gd name="T12" fmla="*/ 8 w 56"/>
                <a:gd name="T13" fmla="*/ 137 h 137"/>
                <a:gd name="T14" fmla="*/ 3 w 56"/>
                <a:gd name="T15" fmla="*/ 135 h 137"/>
                <a:gd name="T16" fmla="*/ 1 w 56"/>
                <a:gd name="T17" fmla="*/ 132 h 137"/>
                <a:gd name="T18" fmla="*/ 0 w 56"/>
                <a:gd name="T19" fmla="*/ 127 h 137"/>
                <a:gd name="T20" fmla="*/ 0 w 56"/>
                <a:gd name="T21" fmla="*/ 124 h 137"/>
                <a:gd name="T22" fmla="*/ 34 w 56"/>
                <a:gd name="T23" fmla="*/ 9 h 137"/>
                <a:gd name="T24" fmla="*/ 34 w 56"/>
                <a:gd name="T25" fmla="*/ 9 h 137"/>
                <a:gd name="T26" fmla="*/ 36 w 56"/>
                <a:gd name="T27" fmla="*/ 5 h 137"/>
                <a:gd name="T28" fmla="*/ 40 w 56"/>
                <a:gd name="T29" fmla="*/ 2 h 137"/>
                <a:gd name="T30" fmla="*/ 43 w 56"/>
                <a:gd name="T31" fmla="*/ 0 h 137"/>
                <a:gd name="T32" fmla="*/ 48 w 56"/>
                <a:gd name="T33" fmla="*/ 2 h 137"/>
                <a:gd name="T34" fmla="*/ 48 w 56"/>
                <a:gd name="T35" fmla="*/ 2 h 137"/>
                <a:gd name="T36" fmla="*/ 52 w 56"/>
                <a:gd name="T37" fmla="*/ 3 h 137"/>
                <a:gd name="T38" fmla="*/ 54 w 56"/>
                <a:gd name="T39" fmla="*/ 7 h 137"/>
                <a:gd name="T40" fmla="*/ 56 w 56"/>
                <a:gd name="T41" fmla="*/ 11 h 137"/>
                <a:gd name="T42" fmla="*/ 56 w 56"/>
                <a:gd name="T43" fmla="*/ 15 h 137"/>
                <a:gd name="T44" fmla="*/ 21 w 56"/>
                <a:gd name="T45" fmla="*/ 13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137">
                  <a:moveTo>
                    <a:pt x="21" y="130"/>
                  </a:moveTo>
                  <a:lnTo>
                    <a:pt x="21" y="130"/>
                  </a:lnTo>
                  <a:lnTo>
                    <a:pt x="19" y="133"/>
                  </a:lnTo>
                  <a:lnTo>
                    <a:pt x="17" y="136"/>
                  </a:lnTo>
                  <a:lnTo>
                    <a:pt x="12" y="137"/>
                  </a:lnTo>
                  <a:lnTo>
                    <a:pt x="8" y="137"/>
                  </a:lnTo>
                  <a:lnTo>
                    <a:pt x="8" y="137"/>
                  </a:lnTo>
                  <a:lnTo>
                    <a:pt x="3" y="135"/>
                  </a:lnTo>
                  <a:lnTo>
                    <a:pt x="1" y="132"/>
                  </a:lnTo>
                  <a:lnTo>
                    <a:pt x="0" y="127"/>
                  </a:lnTo>
                  <a:lnTo>
                    <a:pt x="0" y="124"/>
                  </a:lnTo>
                  <a:lnTo>
                    <a:pt x="34" y="9"/>
                  </a:lnTo>
                  <a:lnTo>
                    <a:pt x="34" y="9"/>
                  </a:lnTo>
                  <a:lnTo>
                    <a:pt x="36" y="5"/>
                  </a:lnTo>
                  <a:lnTo>
                    <a:pt x="40" y="2"/>
                  </a:lnTo>
                  <a:lnTo>
                    <a:pt x="43" y="0"/>
                  </a:lnTo>
                  <a:lnTo>
                    <a:pt x="48" y="2"/>
                  </a:lnTo>
                  <a:lnTo>
                    <a:pt x="48" y="2"/>
                  </a:lnTo>
                  <a:lnTo>
                    <a:pt x="52" y="3"/>
                  </a:lnTo>
                  <a:lnTo>
                    <a:pt x="54" y="7"/>
                  </a:lnTo>
                  <a:lnTo>
                    <a:pt x="56" y="11"/>
                  </a:lnTo>
                  <a:lnTo>
                    <a:pt x="56" y="15"/>
                  </a:lnTo>
                  <a:lnTo>
                    <a:pt x="21"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6" name="Freeform 649"/>
            <p:cNvSpPr>
              <a:spLocks/>
            </p:cNvSpPr>
            <p:nvPr/>
          </p:nvSpPr>
          <p:spPr bwMode="auto">
            <a:xfrm>
              <a:off x="4421239" y="5138777"/>
              <a:ext cx="28575" cy="14288"/>
            </a:xfrm>
            <a:custGeom>
              <a:avLst/>
              <a:gdLst>
                <a:gd name="T0" fmla="*/ 75 w 90"/>
                <a:gd name="T1" fmla="*/ 46 h 46"/>
                <a:gd name="T2" fmla="*/ 75 w 90"/>
                <a:gd name="T3" fmla="*/ 46 h 46"/>
                <a:gd name="T4" fmla="*/ 79 w 90"/>
                <a:gd name="T5" fmla="*/ 46 h 46"/>
                <a:gd name="T6" fmla="*/ 84 w 90"/>
                <a:gd name="T7" fmla="*/ 44 h 46"/>
                <a:gd name="T8" fmla="*/ 87 w 90"/>
                <a:gd name="T9" fmla="*/ 42 h 46"/>
                <a:gd name="T10" fmla="*/ 89 w 90"/>
                <a:gd name="T11" fmla="*/ 38 h 46"/>
                <a:gd name="T12" fmla="*/ 89 w 90"/>
                <a:gd name="T13" fmla="*/ 38 h 46"/>
                <a:gd name="T14" fmla="*/ 90 w 90"/>
                <a:gd name="T15" fmla="*/ 33 h 46"/>
                <a:gd name="T16" fmla="*/ 89 w 90"/>
                <a:gd name="T17" fmla="*/ 30 h 46"/>
                <a:gd name="T18" fmla="*/ 86 w 90"/>
                <a:gd name="T19" fmla="*/ 26 h 46"/>
                <a:gd name="T20" fmla="*/ 82 w 90"/>
                <a:gd name="T21" fmla="*/ 24 h 46"/>
                <a:gd name="T22" fmla="*/ 15 w 90"/>
                <a:gd name="T23" fmla="*/ 2 h 46"/>
                <a:gd name="T24" fmla="*/ 15 w 90"/>
                <a:gd name="T25" fmla="*/ 2 h 46"/>
                <a:gd name="T26" fmla="*/ 11 w 90"/>
                <a:gd name="T27" fmla="*/ 0 h 46"/>
                <a:gd name="T28" fmla="*/ 7 w 90"/>
                <a:gd name="T29" fmla="*/ 2 h 46"/>
                <a:gd name="T30" fmla="*/ 3 w 90"/>
                <a:gd name="T31" fmla="*/ 4 h 46"/>
                <a:gd name="T32" fmla="*/ 1 w 90"/>
                <a:gd name="T33" fmla="*/ 8 h 46"/>
                <a:gd name="T34" fmla="*/ 1 w 90"/>
                <a:gd name="T35" fmla="*/ 8 h 46"/>
                <a:gd name="T36" fmla="*/ 0 w 90"/>
                <a:gd name="T37" fmla="*/ 13 h 46"/>
                <a:gd name="T38" fmla="*/ 1 w 90"/>
                <a:gd name="T39" fmla="*/ 16 h 46"/>
                <a:gd name="T40" fmla="*/ 4 w 90"/>
                <a:gd name="T41" fmla="*/ 20 h 46"/>
                <a:gd name="T42" fmla="*/ 8 w 90"/>
                <a:gd name="T43" fmla="*/ 22 h 46"/>
                <a:gd name="T44" fmla="*/ 75 w 90"/>
                <a:gd name="T45"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0" h="46">
                  <a:moveTo>
                    <a:pt x="75" y="46"/>
                  </a:moveTo>
                  <a:lnTo>
                    <a:pt x="75" y="46"/>
                  </a:lnTo>
                  <a:lnTo>
                    <a:pt x="79" y="46"/>
                  </a:lnTo>
                  <a:lnTo>
                    <a:pt x="84" y="44"/>
                  </a:lnTo>
                  <a:lnTo>
                    <a:pt x="87" y="42"/>
                  </a:lnTo>
                  <a:lnTo>
                    <a:pt x="89" y="38"/>
                  </a:lnTo>
                  <a:lnTo>
                    <a:pt x="89" y="38"/>
                  </a:lnTo>
                  <a:lnTo>
                    <a:pt x="90" y="33"/>
                  </a:lnTo>
                  <a:lnTo>
                    <a:pt x="89" y="30"/>
                  </a:lnTo>
                  <a:lnTo>
                    <a:pt x="86" y="26"/>
                  </a:lnTo>
                  <a:lnTo>
                    <a:pt x="82" y="24"/>
                  </a:lnTo>
                  <a:lnTo>
                    <a:pt x="15" y="2"/>
                  </a:lnTo>
                  <a:lnTo>
                    <a:pt x="15" y="2"/>
                  </a:lnTo>
                  <a:lnTo>
                    <a:pt x="11" y="0"/>
                  </a:lnTo>
                  <a:lnTo>
                    <a:pt x="7" y="2"/>
                  </a:lnTo>
                  <a:lnTo>
                    <a:pt x="3" y="4"/>
                  </a:lnTo>
                  <a:lnTo>
                    <a:pt x="1" y="8"/>
                  </a:lnTo>
                  <a:lnTo>
                    <a:pt x="1" y="8"/>
                  </a:lnTo>
                  <a:lnTo>
                    <a:pt x="0" y="13"/>
                  </a:lnTo>
                  <a:lnTo>
                    <a:pt x="1" y="16"/>
                  </a:lnTo>
                  <a:lnTo>
                    <a:pt x="4" y="20"/>
                  </a:lnTo>
                  <a:lnTo>
                    <a:pt x="8" y="22"/>
                  </a:lnTo>
                  <a:lnTo>
                    <a:pt x="75"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7" name="Freeform 650"/>
            <p:cNvSpPr>
              <a:spLocks/>
            </p:cNvSpPr>
            <p:nvPr/>
          </p:nvSpPr>
          <p:spPr bwMode="auto">
            <a:xfrm>
              <a:off x="4403777" y="5172115"/>
              <a:ext cx="44450" cy="7938"/>
            </a:xfrm>
            <a:custGeom>
              <a:avLst/>
              <a:gdLst>
                <a:gd name="T0" fmla="*/ 130 w 142"/>
                <a:gd name="T1" fmla="*/ 27 h 27"/>
                <a:gd name="T2" fmla="*/ 130 w 142"/>
                <a:gd name="T3" fmla="*/ 27 h 27"/>
                <a:gd name="T4" fmla="*/ 135 w 142"/>
                <a:gd name="T5" fmla="*/ 25 h 27"/>
                <a:gd name="T6" fmla="*/ 138 w 142"/>
                <a:gd name="T7" fmla="*/ 24 h 27"/>
                <a:gd name="T8" fmla="*/ 141 w 142"/>
                <a:gd name="T9" fmla="*/ 21 h 27"/>
                <a:gd name="T10" fmla="*/ 142 w 142"/>
                <a:gd name="T11" fmla="*/ 16 h 27"/>
                <a:gd name="T12" fmla="*/ 142 w 142"/>
                <a:gd name="T13" fmla="*/ 16 h 27"/>
                <a:gd name="T14" fmla="*/ 141 w 142"/>
                <a:gd name="T15" fmla="*/ 11 h 27"/>
                <a:gd name="T16" fmla="*/ 138 w 142"/>
                <a:gd name="T17" fmla="*/ 7 h 27"/>
                <a:gd name="T18" fmla="*/ 135 w 142"/>
                <a:gd name="T19" fmla="*/ 5 h 27"/>
                <a:gd name="T20" fmla="*/ 131 w 142"/>
                <a:gd name="T21" fmla="*/ 4 h 27"/>
                <a:gd name="T22" fmla="*/ 11 w 142"/>
                <a:gd name="T23" fmla="*/ 0 h 27"/>
                <a:gd name="T24" fmla="*/ 11 w 142"/>
                <a:gd name="T25" fmla="*/ 0 h 27"/>
                <a:gd name="T26" fmla="*/ 8 w 142"/>
                <a:gd name="T27" fmla="*/ 0 h 27"/>
                <a:gd name="T28" fmla="*/ 4 w 142"/>
                <a:gd name="T29" fmla="*/ 2 h 27"/>
                <a:gd name="T30" fmla="*/ 0 w 142"/>
                <a:gd name="T31" fmla="*/ 6 h 27"/>
                <a:gd name="T32" fmla="*/ 0 w 142"/>
                <a:gd name="T33" fmla="*/ 11 h 27"/>
                <a:gd name="T34" fmla="*/ 0 w 142"/>
                <a:gd name="T35" fmla="*/ 11 h 27"/>
                <a:gd name="T36" fmla="*/ 0 w 142"/>
                <a:gd name="T37" fmla="*/ 15 h 27"/>
                <a:gd name="T38" fmla="*/ 3 w 142"/>
                <a:gd name="T39" fmla="*/ 18 h 27"/>
                <a:gd name="T40" fmla="*/ 7 w 142"/>
                <a:gd name="T41" fmla="*/ 22 h 27"/>
                <a:gd name="T42" fmla="*/ 10 w 142"/>
                <a:gd name="T43" fmla="*/ 22 h 27"/>
                <a:gd name="T44" fmla="*/ 130 w 142"/>
                <a:gd name="T45"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2" h="27">
                  <a:moveTo>
                    <a:pt x="130" y="27"/>
                  </a:moveTo>
                  <a:lnTo>
                    <a:pt x="130" y="27"/>
                  </a:lnTo>
                  <a:lnTo>
                    <a:pt x="135" y="25"/>
                  </a:lnTo>
                  <a:lnTo>
                    <a:pt x="138" y="24"/>
                  </a:lnTo>
                  <a:lnTo>
                    <a:pt x="141" y="21"/>
                  </a:lnTo>
                  <a:lnTo>
                    <a:pt x="142" y="16"/>
                  </a:lnTo>
                  <a:lnTo>
                    <a:pt x="142" y="16"/>
                  </a:lnTo>
                  <a:lnTo>
                    <a:pt x="141" y="11"/>
                  </a:lnTo>
                  <a:lnTo>
                    <a:pt x="138" y="7"/>
                  </a:lnTo>
                  <a:lnTo>
                    <a:pt x="135" y="5"/>
                  </a:lnTo>
                  <a:lnTo>
                    <a:pt x="131" y="4"/>
                  </a:lnTo>
                  <a:lnTo>
                    <a:pt x="11" y="0"/>
                  </a:lnTo>
                  <a:lnTo>
                    <a:pt x="11" y="0"/>
                  </a:lnTo>
                  <a:lnTo>
                    <a:pt x="8" y="0"/>
                  </a:lnTo>
                  <a:lnTo>
                    <a:pt x="4" y="2"/>
                  </a:lnTo>
                  <a:lnTo>
                    <a:pt x="0" y="6"/>
                  </a:lnTo>
                  <a:lnTo>
                    <a:pt x="0" y="11"/>
                  </a:lnTo>
                  <a:lnTo>
                    <a:pt x="0" y="11"/>
                  </a:lnTo>
                  <a:lnTo>
                    <a:pt x="0" y="15"/>
                  </a:lnTo>
                  <a:lnTo>
                    <a:pt x="3" y="18"/>
                  </a:lnTo>
                  <a:lnTo>
                    <a:pt x="7" y="22"/>
                  </a:lnTo>
                  <a:lnTo>
                    <a:pt x="10" y="22"/>
                  </a:lnTo>
                  <a:lnTo>
                    <a:pt x="130"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48" name="Freeform 651"/>
            <p:cNvSpPr>
              <a:spLocks/>
            </p:cNvSpPr>
            <p:nvPr/>
          </p:nvSpPr>
          <p:spPr bwMode="auto">
            <a:xfrm>
              <a:off x="4527602" y="5126077"/>
              <a:ext cx="25400" cy="23813"/>
            </a:xfrm>
            <a:custGeom>
              <a:avLst/>
              <a:gdLst>
                <a:gd name="T0" fmla="*/ 78 w 78"/>
                <a:gd name="T1" fmla="*/ 39 h 78"/>
                <a:gd name="T2" fmla="*/ 78 w 78"/>
                <a:gd name="T3" fmla="*/ 39 h 78"/>
                <a:gd name="T4" fmla="*/ 77 w 78"/>
                <a:gd name="T5" fmla="*/ 46 h 78"/>
                <a:gd name="T6" fmla="*/ 74 w 78"/>
                <a:gd name="T7" fmla="*/ 53 h 78"/>
                <a:gd name="T8" fmla="*/ 71 w 78"/>
                <a:gd name="T9" fmla="*/ 61 h 78"/>
                <a:gd name="T10" fmla="*/ 66 w 78"/>
                <a:gd name="T11" fmla="*/ 67 h 78"/>
                <a:gd name="T12" fmla="*/ 61 w 78"/>
                <a:gd name="T13" fmla="*/ 71 h 78"/>
                <a:gd name="T14" fmla="*/ 54 w 78"/>
                <a:gd name="T15" fmla="*/ 74 h 78"/>
                <a:gd name="T16" fmla="*/ 46 w 78"/>
                <a:gd name="T17" fmla="*/ 77 h 78"/>
                <a:gd name="T18" fmla="*/ 39 w 78"/>
                <a:gd name="T19" fmla="*/ 78 h 78"/>
                <a:gd name="T20" fmla="*/ 39 w 78"/>
                <a:gd name="T21" fmla="*/ 78 h 78"/>
                <a:gd name="T22" fmla="*/ 31 w 78"/>
                <a:gd name="T23" fmla="*/ 77 h 78"/>
                <a:gd name="T24" fmla="*/ 23 w 78"/>
                <a:gd name="T25" fmla="*/ 74 h 78"/>
                <a:gd name="T26" fmla="*/ 17 w 78"/>
                <a:gd name="T27" fmla="*/ 71 h 78"/>
                <a:gd name="T28" fmla="*/ 11 w 78"/>
                <a:gd name="T29" fmla="*/ 67 h 78"/>
                <a:gd name="T30" fmla="*/ 6 w 78"/>
                <a:gd name="T31" fmla="*/ 61 h 78"/>
                <a:gd name="T32" fmla="*/ 4 w 78"/>
                <a:gd name="T33" fmla="*/ 53 h 78"/>
                <a:gd name="T34" fmla="*/ 1 w 78"/>
                <a:gd name="T35" fmla="*/ 46 h 78"/>
                <a:gd name="T36" fmla="*/ 0 w 78"/>
                <a:gd name="T37" fmla="*/ 39 h 78"/>
                <a:gd name="T38" fmla="*/ 0 w 78"/>
                <a:gd name="T39" fmla="*/ 39 h 78"/>
                <a:gd name="T40" fmla="*/ 1 w 78"/>
                <a:gd name="T41" fmla="*/ 32 h 78"/>
                <a:gd name="T42" fmla="*/ 4 w 78"/>
                <a:gd name="T43" fmla="*/ 24 h 78"/>
                <a:gd name="T44" fmla="*/ 6 w 78"/>
                <a:gd name="T45" fmla="*/ 17 h 78"/>
                <a:gd name="T46" fmla="*/ 11 w 78"/>
                <a:gd name="T47" fmla="*/ 12 h 78"/>
                <a:gd name="T48" fmla="*/ 17 w 78"/>
                <a:gd name="T49" fmla="*/ 7 h 78"/>
                <a:gd name="T50" fmla="*/ 23 w 78"/>
                <a:gd name="T51" fmla="*/ 3 h 78"/>
                <a:gd name="T52" fmla="*/ 31 w 78"/>
                <a:gd name="T53" fmla="*/ 1 h 78"/>
                <a:gd name="T54" fmla="*/ 39 w 78"/>
                <a:gd name="T55" fmla="*/ 0 h 78"/>
                <a:gd name="T56" fmla="*/ 39 w 78"/>
                <a:gd name="T57" fmla="*/ 0 h 78"/>
                <a:gd name="T58" fmla="*/ 46 w 78"/>
                <a:gd name="T59" fmla="*/ 1 h 78"/>
                <a:gd name="T60" fmla="*/ 54 w 78"/>
                <a:gd name="T61" fmla="*/ 3 h 78"/>
                <a:gd name="T62" fmla="*/ 61 w 78"/>
                <a:gd name="T63" fmla="*/ 7 h 78"/>
                <a:gd name="T64" fmla="*/ 66 w 78"/>
                <a:gd name="T65" fmla="*/ 12 h 78"/>
                <a:gd name="T66" fmla="*/ 71 w 78"/>
                <a:gd name="T67" fmla="*/ 17 h 78"/>
                <a:gd name="T68" fmla="*/ 74 w 78"/>
                <a:gd name="T69" fmla="*/ 24 h 78"/>
                <a:gd name="T70" fmla="*/ 77 w 78"/>
                <a:gd name="T71" fmla="*/ 32 h 78"/>
                <a:gd name="T72" fmla="*/ 78 w 78"/>
                <a:gd name="T73" fmla="*/ 39 h 78"/>
                <a:gd name="T74" fmla="*/ 78 w 78"/>
                <a:gd name="T7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 h="78">
                  <a:moveTo>
                    <a:pt x="78" y="39"/>
                  </a:moveTo>
                  <a:lnTo>
                    <a:pt x="78" y="39"/>
                  </a:lnTo>
                  <a:lnTo>
                    <a:pt x="77" y="46"/>
                  </a:lnTo>
                  <a:lnTo>
                    <a:pt x="74" y="53"/>
                  </a:lnTo>
                  <a:lnTo>
                    <a:pt x="71" y="61"/>
                  </a:lnTo>
                  <a:lnTo>
                    <a:pt x="66" y="67"/>
                  </a:lnTo>
                  <a:lnTo>
                    <a:pt x="61" y="71"/>
                  </a:lnTo>
                  <a:lnTo>
                    <a:pt x="54" y="74"/>
                  </a:lnTo>
                  <a:lnTo>
                    <a:pt x="46" y="77"/>
                  </a:lnTo>
                  <a:lnTo>
                    <a:pt x="39" y="78"/>
                  </a:lnTo>
                  <a:lnTo>
                    <a:pt x="39" y="78"/>
                  </a:lnTo>
                  <a:lnTo>
                    <a:pt x="31" y="77"/>
                  </a:lnTo>
                  <a:lnTo>
                    <a:pt x="23" y="74"/>
                  </a:lnTo>
                  <a:lnTo>
                    <a:pt x="17" y="71"/>
                  </a:lnTo>
                  <a:lnTo>
                    <a:pt x="11" y="67"/>
                  </a:lnTo>
                  <a:lnTo>
                    <a:pt x="6" y="61"/>
                  </a:lnTo>
                  <a:lnTo>
                    <a:pt x="4" y="53"/>
                  </a:lnTo>
                  <a:lnTo>
                    <a:pt x="1" y="46"/>
                  </a:lnTo>
                  <a:lnTo>
                    <a:pt x="0" y="39"/>
                  </a:lnTo>
                  <a:lnTo>
                    <a:pt x="0" y="39"/>
                  </a:lnTo>
                  <a:lnTo>
                    <a:pt x="1" y="32"/>
                  </a:lnTo>
                  <a:lnTo>
                    <a:pt x="4" y="24"/>
                  </a:lnTo>
                  <a:lnTo>
                    <a:pt x="6" y="17"/>
                  </a:lnTo>
                  <a:lnTo>
                    <a:pt x="11" y="12"/>
                  </a:lnTo>
                  <a:lnTo>
                    <a:pt x="17" y="7"/>
                  </a:lnTo>
                  <a:lnTo>
                    <a:pt x="23" y="3"/>
                  </a:lnTo>
                  <a:lnTo>
                    <a:pt x="31" y="1"/>
                  </a:lnTo>
                  <a:lnTo>
                    <a:pt x="39" y="0"/>
                  </a:lnTo>
                  <a:lnTo>
                    <a:pt x="39" y="0"/>
                  </a:lnTo>
                  <a:lnTo>
                    <a:pt x="46" y="1"/>
                  </a:lnTo>
                  <a:lnTo>
                    <a:pt x="54" y="3"/>
                  </a:lnTo>
                  <a:lnTo>
                    <a:pt x="61" y="7"/>
                  </a:lnTo>
                  <a:lnTo>
                    <a:pt x="66" y="12"/>
                  </a:lnTo>
                  <a:lnTo>
                    <a:pt x="71" y="17"/>
                  </a:lnTo>
                  <a:lnTo>
                    <a:pt x="74" y="24"/>
                  </a:lnTo>
                  <a:lnTo>
                    <a:pt x="77" y="32"/>
                  </a:lnTo>
                  <a:lnTo>
                    <a:pt x="78" y="39"/>
                  </a:lnTo>
                  <a:lnTo>
                    <a:pt x="7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pic>
        <p:nvPicPr>
          <p:cNvPr id="6" name="그림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900000" flipH="1">
            <a:off x="11027998" y="688369"/>
            <a:ext cx="676889" cy="314532"/>
          </a:xfrm>
          <a:prstGeom prst="rect">
            <a:avLst/>
          </a:prstGeom>
        </p:spPr>
      </p:pic>
    </p:spTree>
    <p:extLst>
      <p:ext uri="{BB962C8B-B14F-4D97-AF65-F5344CB8AC3E}">
        <p14:creationId xmlns:p14="http://schemas.microsoft.com/office/powerpoint/2010/main" val="393893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847">
          <p15:clr>
            <a:srgbClr val="FBAE40"/>
          </p15:clr>
        </p15:guide>
        <p15:guide id="2" pos="2880">
          <p15:clr>
            <a:srgbClr val="FBAE40"/>
          </p15:clr>
        </p15:guide>
        <p15:guide id="3" orient="horz" pos="645">
          <p15:clr>
            <a:srgbClr val="FBAE40"/>
          </p15:clr>
        </p15:guide>
        <p15:guide id="4" orient="horz" pos="713">
          <p15:clr>
            <a:srgbClr val="FBAE40"/>
          </p15:clr>
        </p15:guide>
        <p15:guide id="5" orient="horz" pos="2890">
          <p15:clr>
            <a:srgbClr val="FBAE40"/>
          </p15:clr>
        </p15:guide>
        <p15:guide id="6" pos="5602">
          <p15:clr>
            <a:srgbClr val="FBAE40"/>
          </p15:clr>
        </p15:guide>
        <p15:guide id="7" pos="15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3" name="TextBox 7"/>
          <p:cNvSpPr txBox="1"/>
          <p:nvPr userDrawn="1"/>
        </p:nvSpPr>
        <p:spPr bwMode="white">
          <a:xfrm>
            <a:off x="4244628" y="7009999"/>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325583650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Section2">
    <p:bg>
      <p:bgPr>
        <a:gradFill>
          <a:gsLst>
            <a:gs pos="0">
              <a:srgbClr val="0F1121"/>
            </a:gs>
            <a:gs pos="100000">
              <a:srgbClr val="0C191A"/>
            </a:gs>
          </a:gsLst>
          <a:lin ang="0" scaled="1"/>
        </a:gradFill>
        <a:effectLst/>
      </p:bgPr>
    </p:bg>
    <p:spTree>
      <p:nvGrpSpPr>
        <p:cNvPr id="1" name=""/>
        <p:cNvGrpSpPr/>
        <p:nvPr/>
      </p:nvGrpSpPr>
      <p:grpSpPr>
        <a:xfrm>
          <a:off x="0" y="0"/>
          <a:ext cx="0" cy="0"/>
          <a:chOff x="0" y="0"/>
          <a:chExt cx="0" cy="0"/>
        </a:xfrm>
      </p:grpSpPr>
      <p:grpSp>
        <p:nvGrpSpPr>
          <p:cNvPr id="7560" name="그룹 7559"/>
          <p:cNvGrpSpPr/>
          <p:nvPr userDrawn="1"/>
        </p:nvGrpSpPr>
        <p:grpSpPr>
          <a:xfrm>
            <a:off x="3092183" y="617402"/>
            <a:ext cx="9208287" cy="7292561"/>
            <a:chOff x="2319137" y="434111"/>
            <a:chExt cx="6906215" cy="5127582"/>
          </a:xfrm>
        </p:grpSpPr>
        <p:sp>
          <p:nvSpPr>
            <p:cNvPr id="747" name="자유형 746"/>
            <p:cNvSpPr>
              <a:spLocks/>
            </p:cNvSpPr>
            <p:nvPr userDrawn="1"/>
          </p:nvSpPr>
          <p:spPr bwMode="auto">
            <a:xfrm rot="20844360">
              <a:off x="4500321" y="1767295"/>
              <a:ext cx="4559714" cy="3794398"/>
            </a:xfrm>
            <a:custGeom>
              <a:avLst/>
              <a:gdLst>
                <a:gd name="connsiteX0" fmla="*/ 2830447 w 4559714"/>
                <a:gd name="connsiteY0" fmla="*/ 68979 h 3794398"/>
                <a:gd name="connsiteX1" fmla="*/ 2860838 w 4559714"/>
                <a:gd name="connsiteY1" fmla="*/ 77094 h 3794398"/>
                <a:gd name="connsiteX2" fmla="*/ 2919594 w 4559714"/>
                <a:gd name="connsiteY2" fmla="*/ 93324 h 3794398"/>
                <a:gd name="connsiteX3" fmla="*/ 2976325 w 4559714"/>
                <a:gd name="connsiteY3" fmla="*/ 111584 h 3794398"/>
                <a:gd name="connsiteX4" fmla="*/ 3033056 w 4559714"/>
                <a:gd name="connsiteY4" fmla="*/ 129843 h 3794398"/>
                <a:gd name="connsiteX5" fmla="*/ 3089786 w 4559714"/>
                <a:gd name="connsiteY5" fmla="*/ 151145 h 3794398"/>
                <a:gd name="connsiteX6" fmla="*/ 3144491 w 4559714"/>
                <a:gd name="connsiteY6" fmla="*/ 171433 h 3794398"/>
                <a:gd name="connsiteX7" fmla="*/ 3199195 w 4559714"/>
                <a:gd name="connsiteY7" fmla="*/ 194764 h 3794398"/>
                <a:gd name="connsiteX8" fmla="*/ 3252886 w 4559714"/>
                <a:gd name="connsiteY8" fmla="*/ 220124 h 3794398"/>
                <a:gd name="connsiteX9" fmla="*/ 3305565 w 4559714"/>
                <a:gd name="connsiteY9" fmla="*/ 245483 h 3794398"/>
                <a:gd name="connsiteX10" fmla="*/ 3308604 w 4559714"/>
                <a:gd name="connsiteY10" fmla="*/ 247513 h 3794398"/>
                <a:gd name="connsiteX11" fmla="*/ 3342035 w 4559714"/>
                <a:gd name="connsiteY11" fmla="*/ 265771 h 3794398"/>
                <a:gd name="connsiteX12" fmla="*/ 3376477 w 4559714"/>
                <a:gd name="connsiteY12" fmla="*/ 283016 h 3794398"/>
                <a:gd name="connsiteX13" fmla="*/ 3441313 w 4559714"/>
                <a:gd name="connsiteY13" fmla="*/ 321563 h 3794398"/>
                <a:gd name="connsiteX14" fmla="*/ 3463600 w 4559714"/>
                <a:gd name="connsiteY14" fmla="*/ 333736 h 3794398"/>
                <a:gd name="connsiteX15" fmla="*/ 3512226 w 4559714"/>
                <a:gd name="connsiteY15" fmla="*/ 366196 h 3794398"/>
                <a:gd name="connsiteX16" fmla="*/ 3561866 w 4559714"/>
                <a:gd name="connsiteY16" fmla="*/ 398657 h 3794398"/>
                <a:gd name="connsiteX17" fmla="*/ 3610492 w 4559714"/>
                <a:gd name="connsiteY17" fmla="*/ 431117 h 3794398"/>
                <a:gd name="connsiteX18" fmla="*/ 3657092 w 4559714"/>
                <a:gd name="connsiteY18" fmla="*/ 466621 h 3794398"/>
                <a:gd name="connsiteX19" fmla="*/ 3703692 w 4559714"/>
                <a:gd name="connsiteY19" fmla="*/ 502125 h 3794398"/>
                <a:gd name="connsiteX20" fmla="*/ 3749279 w 4559714"/>
                <a:gd name="connsiteY20" fmla="*/ 539658 h 3794398"/>
                <a:gd name="connsiteX21" fmla="*/ 3792839 w 4559714"/>
                <a:gd name="connsiteY21" fmla="*/ 578205 h 3794398"/>
                <a:gd name="connsiteX22" fmla="*/ 3837413 w 4559714"/>
                <a:gd name="connsiteY22" fmla="*/ 617766 h 3794398"/>
                <a:gd name="connsiteX23" fmla="*/ 3839440 w 4559714"/>
                <a:gd name="connsiteY23" fmla="*/ 620810 h 3794398"/>
                <a:gd name="connsiteX24" fmla="*/ 3862739 w 4559714"/>
                <a:gd name="connsiteY24" fmla="*/ 644140 h 3794398"/>
                <a:gd name="connsiteX25" fmla="*/ 3885027 w 4559714"/>
                <a:gd name="connsiteY25" fmla="*/ 665443 h 3794398"/>
                <a:gd name="connsiteX26" fmla="*/ 3917444 w 4559714"/>
                <a:gd name="connsiteY26" fmla="*/ 698918 h 3794398"/>
                <a:gd name="connsiteX27" fmla="*/ 3948849 w 4559714"/>
                <a:gd name="connsiteY27" fmla="*/ 731378 h 3794398"/>
                <a:gd name="connsiteX28" fmla="*/ 3957965 w 4559714"/>
                <a:gd name="connsiteY28" fmla="*/ 740508 h 3794398"/>
                <a:gd name="connsiteX29" fmla="*/ 4004566 w 4559714"/>
                <a:gd name="connsiteY29" fmla="*/ 793257 h 3794398"/>
                <a:gd name="connsiteX30" fmla="*/ 4050153 w 4559714"/>
                <a:gd name="connsiteY30" fmla="*/ 848034 h 3794398"/>
                <a:gd name="connsiteX31" fmla="*/ 4093714 w 4559714"/>
                <a:gd name="connsiteY31" fmla="*/ 902812 h 3794398"/>
                <a:gd name="connsiteX32" fmla="*/ 4135249 w 4559714"/>
                <a:gd name="connsiteY32" fmla="*/ 960632 h 3794398"/>
                <a:gd name="connsiteX33" fmla="*/ 4174757 w 4559714"/>
                <a:gd name="connsiteY33" fmla="*/ 1018452 h 3794398"/>
                <a:gd name="connsiteX34" fmla="*/ 4213253 w 4559714"/>
                <a:gd name="connsiteY34" fmla="*/ 1078302 h 3794398"/>
                <a:gd name="connsiteX35" fmla="*/ 4249723 w 4559714"/>
                <a:gd name="connsiteY35" fmla="*/ 1139165 h 3794398"/>
                <a:gd name="connsiteX36" fmla="*/ 4285180 w 4559714"/>
                <a:gd name="connsiteY36" fmla="*/ 1201044 h 3794398"/>
                <a:gd name="connsiteX37" fmla="*/ 4317597 w 4559714"/>
                <a:gd name="connsiteY37" fmla="*/ 1263935 h 3794398"/>
                <a:gd name="connsiteX38" fmla="*/ 4349001 w 4559714"/>
                <a:gd name="connsiteY38" fmla="*/ 1327842 h 3794398"/>
                <a:gd name="connsiteX39" fmla="*/ 4377367 w 4559714"/>
                <a:gd name="connsiteY39" fmla="*/ 1393779 h 3794398"/>
                <a:gd name="connsiteX40" fmla="*/ 4403705 w 4559714"/>
                <a:gd name="connsiteY40" fmla="*/ 1459714 h 3794398"/>
                <a:gd name="connsiteX41" fmla="*/ 4429031 w 4559714"/>
                <a:gd name="connsiteY41" fmla="*/ 1526664 h 3794398"/>
                <a:gd name="connsiteX42" fmla="*/ 4451318 w 4559714"/>
                <a:gd name="connsiteY42" fmla="*/ 1595643 h 3794398"/>
                <a:gd name="connsiteX43" fmla="*/ 4472592 w 4559714"/>
                <a:gd name="connsiteY43" fmla="*/ 1664621 h 3794398"/>
                <a:gd name="connsiteX44" fmla="*/ 4490827 w 4559714"/>
                <a:gd name="connsiteY44" fmla="*/ 1734614 h 3794398"/>
                <a:gd name="connsiteX45" fmla="*/ 4490827 w 4559714"/>
                <a:gd name="connsiteY45" fmla="*/ 1735629 h 3794398"/>
                <a:gd name="connsiteX46" fmla="*/ 4506023 w 4559714"/>
                <a:gd name="connsiteY46" fmla="*/ 1800550 h 3794398"/>
                <a:gd name="connsiteX47" fmla="*/ 4520205 w 4559714"/>
                <a:gd name="connsiteY47" fmla="*/ 1868515 h 3794398"/>
                <a:gd name="connsiteX48" fmla="*/ 4532362 w 4559714"/>
                <a:gd name="connsiteY48" fmla="*/ 1935465 h 3794398"/>
                <a:gd name="connsiteX49" fmla="*/ 4541479 w 4559714"/>
                <a:gd name="connsiteY49" fmla="*/ 2004444 h 3794398"/>
                <a:gd name="connsiteX50" fmla="*/ 4549584 w 4559714"/>
                <a:gd name="connsiteY50" fmla="*/ 2073423 h 3794398"/>
                <a:gd name="connsiteX51" fmla="*/ 4555662 w 4559714"/>
                <a:gd name="connsiteY51" fmla="*/ 2142402 h 3794398"/>
                <a:gd name="connsiteX52" fmla="*/ 4558702 w 4559714"/>
                <a:gd name="connsiteY52" fmla="*/ 2212394 h 3794398"/>
                <a:gd name="connsiteX53" fmla="*/ 4559714 w 4559714"/>
                <a:gd name="connsiteY53" fmla="*/ 2283403 h 3794398"/>
                <a:gd name="connsiteX54" fmla="*/ 4558702 w 4559714"/>
                <a:gd name="connsiteY54" fmla="*/ 2342237 h 3794398"/>
                <a:gd name="connsiteX55" fmla="*/ 4556675 w 4559714"/>
                <a:gd name="connsiteY55" fmla="*/ 2400058 h 3794398"/>
                <a:gd name="connsiteX56" fmla="*/ 4552623 w 4559714"/>
                <a:gd name="connsiteY56" fmla="*/ 2458893 h 3794398"/>
                <a:gd name="connsiteX57" fmla="*/ 4548571 w 4559714"/>
                <a:gd name="connsiteY57" fmla="*/ 2516714 h 3794398"/>
                <a:gd name="connsiteX58" fmla="*/ 4541479 w 4559714"/>
                <a:gd name="connsiteY58" fmla="*/ 2574533 h 3794398"/>
                <a:gd name="connsiteX59" fmla="*/ 4534389 w 4559714"/>
                <a:gd name="connsiteY59" fmla="*/ 2630326 h 3794398"/>
                <a:gd name="connsiteX60" fmla="*/ 4524258 w 4559714"/>
                <a:gd name="connsiteY60" fmla="*/ 2687132 h 3794398"/>
                <a:gd name="connsiteX61" fmla="*/ 4513114 w 4559714"/>
                <a:gd name="connsiteY61" fmla="*/ 2743937 h 3794398"/>
                <a:gd name="connsiteX62" fmla="*/ 4501971 w 4559714"/>
                <a:gd name="connsiteY62" fmla="*/ 2798715 h 3794398"/>
                <a:gd name="connsiteX63" fmla="*/ 4487788 w 4559714"/>
                <a:gd name="connsiteY63" fmla="*/ 2853492 h 3794398"/>
                <a:gd name="connsiteX64" fmla="*/ 4473605 w 4559714"/>
                <a:gd name="connsiteY64" fmla="*/ 2908269 h 3794398"/>
                <a:gd name="connsiteX65" fmla="*/ 4457397 w 4559714"/>
                <a:gd name="connsiteY65" fmla="*/ 2962032 h 3794398"/>
                <a:gd name="connsiteX66" fmla="*/ 4440175 w 4559714"/>
                <a:gd name="connsiteY66" fmla="*/ 3015795 h 3794398"/>
                <a:gd name="connsiteX67" fmla="*/ 4420927 w 4559714"/>
                <a:gd name="connsiteY67" fmla="*/ 3068543 h 3794398"/>
                <a:gd name="connsiteX68" fmla="*/ 4401679 w 4559714"/>
                <a:gd name="connsiteY68" fmla="*/ 3120278 h 3794398"/>
                <a:gd name="connsiteX69" fmla="*/ 4380405 w 4559714"/>
                <a:gd name="connsiteY69" fmla="*/ 3172012 h 3794398"/>
                <a:gd name="connsiteX70" fmla="*/ 4358119 w 4559714"/>
                <a:gd name="connsiteY70" fmla="*/ 3222732 h 3794398"/>
                <a:gd name="connsiteX71" fmla="*/ 4334818 w 4559714"/>
                <a:gd name="connsiteY71" fmla="*/ 3272437 h 3794398"/>
                <a:gd name="connsiteX72" fmla="*/ 4310505 w 4559714"/>
                <a:gd name="connsiteY72" fmla="*/ 3323157 h 3794398"/>
                <a:gd name="connsiteX73" fmla="*/ 4285179 w 4559714"/>
                <a:gd name="connsiteY73" fmla="*/ 3371847 h 3794398"/>
                <a:gd name="connsiteX74" fmla="*/ 4257827 w 4559714"/>
                <a:gd name="connsiteY74" fmla="*/ 3419524 h 3794398"/>
                <a:gd name="connsiteX75" fmla="*/ 4230474 w 4559714"/>
                <a:gd name="connsiteY75" fmla="*/ 3466186 h 3794398"/>
                <a:gd name="connsiteX76" fmla="*/ 4201096 w 4559714"/>
                <a:gd name="connsiteY76" fmla="*/ 3512848 h 3794398"/>
                <a:gd name="connsiteX77" fmla="*/ 4170705 w 4559714"/>
                <a:gd name="connsiteY77" fmla="*/ 3559510 h 3794398"/>
                <a:gd name="connsiteX78" fmla="*/ 4139300 w 4559714"/>
                <a:gd name="connsiteY78" fmla="*/ 3604144 h 3794398"/>
                <a:gd name="connsiteX79" fmla="*/ 4107896 w 4559714"/>
                <a:gd name="connsiteY79" fmla="*/ 3648777 h 3794398"/>
                <a:gd name="connsiteX80" fmla="*/ 4073453 w 4559714"/>
                <a:gd name="connsiteY80" fmla="*/ 3693411 h 3794398"/>
                <a:gd name="connsiteX81" fmla="*/ 4040022 w 4559714"/>
                <a:gd name="connsiteY81" fmla="*/ 3735001 h 3794398"/>
                <a:gd name="connsiteX82" fmla="*/ 4003552 w 4559714"/>
                <a:gd name="connsiteY82" fmla="*/ 3777606 h 3794398"/>
                <a:gd name="connsiteX83" fmla="*/ 3988460 w 4559714"/>
                <a:gd name="connsiteY83" fmla="*/ 3794398 h 3794398"/>
                <a:gd name="connsiteX84" fmla="*/ 91028 w 4559714"/>
                <a:gd name="connsiteY84" fmla="*/ 2923647 h 3794398"/>
                <a:gd name="connsiteX85" fmla="*/ 86108 w 4559714"/>
                <a:gd name="connsiteY85" fmla="*/ 2906241 h 3794398"/>
                <a:gd name="connsiteX86" fmla="*/ 70912 w 4559714"/>
                <a:gd name="connsiteY86" fmla="*/ 2851463 h 3794398"/>
                <a:gd name="connsiteX87" fmla="*/ 57742 w 4559714"/>
                <a:gd name="connsiteY87" fmla="*/ 2795671 h 3794398"/>
                <a:gd name="connsiteX88" fmla="*/ 45587 w 4559714"/>
                <a:gd name="connsiteY88" fmla="*/ 2740894 h 3794398"/>
                <a:gd name="connsiteX89" fmla="*/ 34442 w 4559714"/>
                <a:gd name="connsiteY89" fmla="*/ 2685103 h 3794398"/>
                <a:gd name="connsiteX90" fmla="*/ 25326 w 4559714"/>
                <a:gd name="connsiteY90" fmla="*/ 2629311 h 3794398"/>
                <a:gd name="connsiteX91" fmla="*/ 17221 w 4559714"/>
                <a:gd name="connsiteY91" fmla="*/ 2573519 h 3794398"/>
                <a:gd name="connsiteX92" fmla="*/ 11143 w 4559714"/>
                <a:gd name="connsiteY92" fmla="*/ 2515699 h 3794398"/>
                <a:gd name="connsiteX93" fmla="*/ 7090 w 4559714"/>
                <a:gd name="connsiteY93" fmla="*/ 2457878 h 3794398"/>
                <a:gd name="connsiteX94" fmla="*/ 2026 w 4559714"/>
                <a:gd name="connsiteY94" fmla="*/ 2400057 h 3794398"/>
                <a:gd name="connsiteX95" fmla="*/ 1013 w 4559714"/>
                <a:gd name="connsiteY95" fmla="*/ 2342237 h 3794398"/>
                <a:gd name="connsiteX96" fmla="*/ 0 w 4559714"/>
                <a:gd name="connsiteY96" fmla="*/ 2283403 h 3794398"/>
                <a:gd name="connsiteX97" fmla="*/ 1013 w 4559714"/>
                <a:gd name="connsiteY97" fmla="*/ 2223554 h 3794398"/>
                <a:gd name="connsiteX98" fmla="*/ 2025 w 4559714"/>
                <a:gd name="connsiteY98" fmla="*/ 2165732 h 3794398"/>
                <a:gd name="connsiteX99" fmla="*/ 7090 w 4559714"/>
                <a:gd name="connsiteY99" fmla="*/ 2106898 h 3794398"/>
                <a:gd name="connsiteX100" fmla="*/ 11143 w 4559714"/>
                <a:gd name="connsiteY100" fmla="*/ 2050092 h 3794398"/>
                <a:gd name="connsiteX101" fmla="*/ 18234 w 4559714"/>
                <a:gd name="connsiteY101" fmla="*/ 1992271 h 3794398"/>
                <a:gd name="connsiteX102" fmla="*/ 25326 w 4559714"/>
                <a:gd name="connsiteY102" fmla="*/ 1935465 h 3794398"/>
                <a:gd name="connsiteX103" fmla="*/ 34443 w 4559714"/>
                <a:gd name="connsiteY103" fmla="*/ 1879673 h 3794398"/>
                <a:gd name="connsiteX104" fmla="*/ 46600 w 4559714"/>
                <a:gd name="connsiteY104" fmla="*/ 1822867 h 3794398"/>
                <a:gd name="connsiteX105" fmla="*/ 57743 w 4559714"/>
                <a:gd name="connsiteY105" fmla="*/ 1767075 h 3794398"/>
                <a:gd name="connsiteX106" fmla="*/ 70912 w 4559714"/>
                <a:gd name="connsiteY106" fmla="*/ 1712299 h 3794398"/>
                <a:gd name="connsiteX107" fmla="*/ 86108 w 4559714"/>
                <a:gd name="connsiteY107" fmla="*/ 1657521 h 3794398"/>
                <a:gd name="connsiteX108" fmla="*/ 102317 w 4559714"/>
                <a:gd name="connsiteY108" fmla="*/ 1603758 h 3794398"/>
                <a:gd name="connsiteX109" fmla="*/ 119539 w 4559714"/>
                <a:gd name="connsiteY109" fmla="*/ 1551009 h 3794398"/>
                <a:gd name="connsiteX110" fmla="*/ 138786 w 4559714"/>
                <a:gd name="connsiteY110" fmla="*/ 1497247 h 3794398"/>
                <a:gd name="connsiteX111" fmla="*/ 158034 w 4559714"/>
                <a:gd name="connsiteY111" fmla="*/ 1445513 h 3794398"/>
                <a:gd name="connsiteX112" fmla="*/ 179308 w 4559714"/>
                <a:gd name="connsiteY112" fmla="*/ 1394793 h 3794398"/>
                <a:gd name="connsiteX113" fmla="*/ 201595 w 4559714"/>
                <a:gd name="connsiteY113" fmla="*/ 1343059 h 3794398"/>
                <a:gd name="connsiteX114" fmla="*/ 224895 w 4559714"/>
                <a:gd name="connsiteY114" fmla="*/ 1293353 h 3794398"/>
                <a:gd name="connsiteX115" fmla="*/ 249208 w 4559714"/>
                <a:gd name="connsiteY115" fmla="*/ 1243647 h 3794398"/>
                <a:gd name="connsiteX116" fmla="*/ 275547 w 4559714"/>
                <a:gd name="connsiteY116" fmla="*/ 1194957 h 3794398"/>
                <a:gd name="connsiteX117" fmla="*/ 301887 w 4559714"/>
                <a:gd name="connsiteY117" fmla="*/ 1147280 h 3794398"/>
                <a:gd name="connsiteX118" fmla="*/ 330252 w 4559714"/>
                <a:gd name="connsiteY118" fmla="*/ 1099604 h 3794398"/>
                <a:gd name="connsiteX119" fmla="*/ 358617 w 4559714"/>
                <a:gd name="connsiteY119" fmla="*/ 1051927 h 3794398"/>
                <a:gd name="connsiteX120" fmla="*/ 389008 w 4559714"/>
                <a:gd name="connsiteY120" fmla="*/ 1007294 h 3794398"/>
                <a:gd name="connsiteX121" fmla="*/ 420413 w 4559714"/>
                <a:gd name="connsiteY121" fmla="*/ 961646 h 3794398"/>
                <a:gd name="connsiteX122" fmla="*/ 452830 w 4559714"/>
                <a:gd name="connsiteY122" fmla="*/ 917012 h 3794398"/>
                <a:gd name="connsiteX123" fmla="*/ 486261 w 4559714"/>
                <a:gd name="connsiteY123" fmla="*/ 873394 h 3794398"/>
                <a:gd name="connsiteX124" fmla="*/ 519691 w 4559714"/>
                <a:gd name="connsiteY124" fmla="*/ 830789 h 3794398"/>
                <a:gd name="connsiteX125" fmla="*/ 556161 w 4559714"/>
                <a:gd name="connsiteY125" fmla="*/ 788185 h 3794398"/>
                <a:gd name="connsiteX126" fmla="*/ 592631 w 4559714"/>
                <a:gd name="connsiteY126" fmla="*/ 747609 h 3794398"/>
                <a:gd name="connsiteX127" fmla="*/ 630113 w 4559714"/>
                <a:gd name="connsiteY127" fmla="*/ 708048 h 3794398"/>
                <a:gd name="connsiteX128" fmla="*/ 668609 w 4559714"/>
                <a:gd name="connsiteY128" fmla="*/ 668486 h 3794398"/>
                <a:gd name="connsiteX129" fmla="*/ 707104 w 4559714"/>
                <a:gd name="connsiteY129" fmla="*/ 630954 h 3794398"/>
                <a:gd name="connsiteX130" fmla="*/ 746613 w 4559714"/>
                <a:gd name="connsiteY130" fmla="*/ 593420 h 3794398"/>
                <a:gd name="connsiteX131" fmla="*/ 788148 w 4559714"/>
                <a:gd name="connsiteY131" fmla="*/ 555889 h 3794398"/>
                <a:gd name="connsiteX132" fmla="*/ 828670 w 4559714"/>
                <a:gd name="connsiteY132" fmla="*/ 521399 h 3794398"/>
                <a:gd name="connsiteX133" fmla="*/ 872231 w 4559714"/>
                <a:gd name="connsiteY133" fmla="*/ 486910 h 3794398"/>
                <a:gd name="connsiteX134" fmla="*/ 915792 w 4559714"/>
                <a:gd name="connsiteY134" fmla="*/ 453434 h 3794398"/>
                <a:gd name="connsiteX135" fmla="*/ 959353 w 4559714"/>
                <a:gd name="connsiteY135" fmla="*/ 420974 h 3794398"/>
                <a:gd name="connsiteX136" fmla="*/ 1004940 w 4559714"/>
                <a:gd name="connsiteY136" fmla="*/ 390542 h 3794398"/>
                <a:gd name="connsiteX137" fmla="*/ 1050526 w 4559714"/>
                <a:gd name="connsiteY137" fmla="*/ 360110 h 3794398"/>
                <a:gd name="connsiteX138" fmla="*/ 1097127 w 4559714"/>
                <a:gd name="connsiteY138" fmla="*/ 330692 h 3794398"/>
                <a:gd name="connsiteX139" fmla="*/ 1144740 w 4559714"/>
                <a:gd name="connsiteY139" fmla="*/ 302290 h 3794398"/>
                <a:gd name="connsiteX140" fmla="*/ 1193366 w 4559714"/>
                <a:gd name="connsiteY140" fmla="*/ 275916 h 3794398"/>
                <a:gd name="connsiteX141" fmla="*/ 1241993 w 4559714"/>
                <a:gd name="connsiteY141" fmla="*/ 250556 h 3794398"/>
                <a:gd name="connsiteX142" fmla="*/ 1290618 w 4559714"/>
                <a:gd name="connsiteY142" fmla="*/ 224182 h 3794398"/>
                <a:gd name="connsiteX143" fmla="*/ 1341271 w 4559714"/>
                <a:gd name="connsiteY143" fmla="*/ 200851 h 3794398"/>
                <a:gd name="connsiteX144" fmla="*/ 1391923 w 4559714"/>
                <a:gd name="connsiteY144" fmla="*/ 178534 h 3794398"/>
                <a:gd name="connsiteX145" fmla="*/ 1443588 w 4559714"/>
                <a:gd name="connsiteY145" fmla="*/ 158246 h 3794398"/>
                <a:gd name="connsiteX146" fmla="*/ 1496266 w 4559714"/>
                <a:gd name="connsiteY146" fmla="*/ 137958 h 3794398"/>
                <a:gd name="connsiteX147" fmla="*/ 1548945 w 4559714"/>
                <a:gd name="connsiteY147" fmla="*/ 119699 h 3794398"/>
                <a:gd name="connsiteX148" fmla="*/ 1602636 w 4559714"/>
                <a:gd name="connsiteY148" fmla="*/ 102454 h 3794398"/>
                <a:gd name="connsiteX149" fmla="*/ 1656328 w 4559714"/>
                <a:gd name="connsiteY149" fmla="*/ 86224 h 3794398"/>
                <a:gd name="connsiteX150" fmla="*/ 1710019 w 4559714"/>
                <a:gd name="connsiteY150" fmla="*/ 71008 h 3794398"/>
                <a:gd name="connsiteX151" fmla="*/ 1764724 w 4559714"/>
                <a:gd name="connsiteY151" fmla="*/ 58835 h 3794398"/>
                <a:gd name="connsiteX152" fmla="*/ 1820441 w 4559714"/>
                <a:gd name="connsiteY152" fmla="*/ 45648 h 3794398"/>
                <a:gd name="connsiteX153" fmla="*/ 1876158 w 4559714"/>
                <a:gd name="connsiteY153" fmla="*/ 35504 h 3794398"/>
                <a:gd name="connsiteX154" fmla="*/ 1932889 w 4559714"/>
                <a:gd name="connsiteY154" fmla="*/ 25360 h 3794398"/>
                <a:gd name="connsiteX155" fmla="*/ 1989619 w 4559714"/>
                <a:gd name="connsiteY155" fmla="*/ 17245 h 3794398"/>
                <a:gd name="connsiteX156" fmla="*/ 2046350 w 4559714"/>
                <a:gd name="connsiteY156" fmla="*/ 12173 h 3794398"/>
                <a:gd name="connsiteX157" fmla="*/ 2105107 w 4559714"/>
                <a:gd name="connsiteY157" fmla="*/ 6086 h 3794398"/>
                <a:gd name="connsiteX158" fmla="*/ 2161837 w 4559714"/>
                <a:gd name="connsiteY158" fmla="*/ 2029 h 3794398"/>
                <a:gd name="connsiteX159" fmla="*/ 2221607 w 4559714"/>
                <a:gd name="connsiteY159" fmla="*/ 1 h 3794398"/>
                <a:gd name="connsiteX160" fmla="*/ 2280364 w 4559714"/>
                <a:gd name="connsiteY160" fmla="*/ 0 h 3794398"/>
                <a:gd name="connsiteX161" fmla="*/ 2331015 w 4559714"/>
                <a:gd name="connsiteY161" fmla="*/ 0 h 3794398"/>
                <a:gd name="connsiteX162" fmla="*/ 2382681 w 4559714"/>
                <a:gd name="connsiteY162" fmla="*/ 2029 h 3794398"/>
                <a:gd name="connsiteX163" fmla="*/ 2432320 w 4559714"/>
                <a:gd name="connsiteY163" fmla="*/ 6086 h 3794398"/>
                <a:gd name="connsiteX164" fmla="*/ 2482972 w 4559714"/>
                <a:gd name="connsiteY164" fmla="*/ 9130 h 3794398"/>
                <a:gd name="connsiteX165" fmla="*/ 2532611 w 4559714"/>
                <a:gd name="connsiteY165" fmla="*/ 15216 h 3794398"/>
                <a:gd name="connsiteX166" fmla="*/ 2582250 w 4559714"/>
                <a:gd name="connsiteY166" fmla="*/ 21302 h 3794398"/>
                <a:gd name="connsiteX167" fmla="*/ 2631890 w 4559714"/>
                <a:gd name="connsiteY167" fmla="*/ 29418 h 3794398"/>
                <a:gd name="connsiteX168" fmla="*/ 2681529 w 4559714"/>
                <a:gd name="connsiteY168" fmla="*/ 37533 h 3794398"/>
                <a:gd name="connsiteX169" fmla="*/ 2717998 w 4559714"/>
                <a:gd name="connsiteY169" fmla="*/ 44633 h 3794398"/>
                <a:gd name="connsiteX170" fmla="*/ 2755482 w 4559714"/>
                <a:gd name="connsiteY170" fmla="*/ 52748 h 3794398"/>
                <a:gd name="connsiteX171" fmla="*/ 2830447 w 4559714"/>
                <a:gd name="connsiteY171" fmla="*/ 68979 h 3794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4559714" h="3794398">
                  <a:moveTo>
                    <a:pt x="2830447" y="68979"/>
                  </a:moveTo>
                  <a:lnTo>
                    <a:pt x="2860838" y="77094"/>
                  </a:lnTo>
                  <a:lnTo>
                    <a:pt x="2919594" y="93324"/>
                  </a:lnTo>
                  <a:lnTo>
                    <a:pt x="2976325" y="111584"/>
                  </a:lnTo>
                  <a:lnTo>
                    <a:pt x="3033056" y="129843"/>
                  </a:lnTo>
                  <a:lnTo>
                    <a:pt x="3089786" y="151145"/>
                  </a:lnTo>
                  <a:lnTo>
                    <a:pt x="3144491" y="171433"/>
                  </a:lnTo>
                  <a:lnTo>
                    <a:pt x="3199195" y="194764"/>
                  </a:lnTo>
                  <a:lnTo>
                    <a:pt x="3252886" y="220124"/>
                  </a:lnTo>
                  <a:lnTo>
                    <a:pt x="3305565" y="245483"/>
                  </a:lnTo>
                  <a:lnTo>
                    <a:pt x="3308604" y="247513"/>
                  </a:lnTo>
                  <a:lnTo>
                    <a:pt x="3342035" y="265771"/>
                  </a:lnTo>
                  <a:lnTo>
                    <a:pt x="3376477" y="283016"/>
                  </a:lnTo>
                  <a:lnTo>
                    <a:pt x="3441313" y="321563"/>
                  </a:lnTo>
                  <a:lnTo>
                    <a:pt x="3463600" y="333736"/>
                  </a:lnTo>
                  <a:lnTo>
                    <a:pt x="3512226" y="366196"/>
                  </a:lnTo>
                  <a:lnTo>
                    <a:pt x="3561866" y="398657"/>
                  </a:lnTo>
                  <a:lnTo>
                    <a:pt x="3610492" y="431117"/>
                  </a:lnTo>
                  <a:lnTo>
                    <a:pt x="3657092" y="466621"/>
                  </a:lnTo>
                  <a:lnTo>
                    <a:pt x="3703692" y="502125"/>
                  </a:lnTo>
                  <a:lnTo>
                    <a:pt x="3749279" y="539658"/>
                  </a:lnTo>
                  <a:lnTo>
                    <a:pt x="3792839" y="578205"/>
                  </a:lnTo>
                  <a:lnTo>
                    <a:pt x="3837413" y="617766"/>
                  </a:lnTo>
                  <a:lnTo>
                    <a:pt x="3839440" y="620810"/>
                  </a:lnTo>
                  <a:lnTo>
                    <a:pt x="3862739" y="644140"/>
                  </a:lnTo>
                  <a:lnTo>
                    <a:pt x="3885027" y="665443"/>
                  </a:lnTo>
                  <a:lnTo>
                    <a:pt x="3917444" y="698918"/>
                  </a:lnTo>
                  <a:lnTo>
                    <a:pt x="3948849" y="731378"/>
                  </a:lnTo>
                  <a:lnTo>
                    <a:pt x="3957965" y="740508"/>
                  </a:lnTo>
                  <a:lnTo>
                    <a:pt x="4004566" y="793257"/>
                  </a:lnTo>
                  <a:lnTo>
                    <a:pt x="4050153" y="848034"/>
                  </a:lnTo>
                  <a:lnTo>
                    <a:pt x="4093714" y="902812"/>
                  </a:lnTo>
                  <a:lnTo>
                    <a:pt x="4135249" y="960632"/>
                  </a:lnTo>
                  <a:lnTo>
                    <a:pt x="4174757" y="1018452"/>
                  </a:lnTo>
                  <a:lnTo>
                    <a:pt x="4213253" y="1078302"/>
                  </a:lnTo>
                  <a:lnTo>
                    <a:pt x="4249723" y="1139165"/>
                  </a:lnTo>
                  <a:lnTo>
                    <a:pt x="4285180" y="1201044"/>
                  </a:lnTo>
                  <a:lnTo>
                    <a:pt x="4317597" y="1263935"/>
                  </a:lnTo>
                  <a:lnTo>
                    <a:pt x="4349001" y="1327842"/>
                  </a:lnTo>
                  <a:lnTo>
                    <a:pt x="4377367" y="1393779"/>
                  </a:lnTo>
                  <a:lnTo>
                    <a:pt x="4403705" y="1459714"/>
                  </a:lnTo>
                  <a:lnTo>
                    <a:pt x="4429031" y="1526664"/>
                  </a:lnTo>
                  <a:lnTo>
                    <a:pt x="4451318" y="1595643"/>
                  </a:lnTo>
                  <a:lnTo>
                    <a:pt x="4472592" y="1664621"/>
                  </a:lnTo>
                  <a:lnTo>
                    <a:pt x="4490827" y="1734614"/>
                  </a:lnTo>
                  <a:lnTo>
                    <a:pt x="4490827" y="1735629"/>
                  </a:lnTo>
                  <a:lnTo>
                    <a:pt x="4506023" y="1800550"/>
                  </a:lnTo>
                  <a:lnTo>
                    <a:pt x="4520205" y="1868515"/>
                  </a:lnTo>
                  <a:lnTo>
                    <a:pt x="4532362" y="1935465"/>
                  </a:lnTo>
                  <a:lnTo>
                    <a:pt x="4541479" y="2004444"/>
                  </a:lnTo>
                  <a:lnTo>
                    <a:pt x="4549584" y="2073423"/>
                  </a:lnTo>
                  <a:lnTo>
                    <a:pt x="4555662" y="2142402"/>
                  </a:lnTo>
                  <a:lnTo>
                    <a:pt x="4558702" y="2212394"/>
                  </a:lnTo>
                  <a:lnTo>
                    <a:pt x="4559714" y="2283403"/>
                  </a:lnTo>
                  <a:lnTo>
                    <a:pt x="4558702" y="2342237"/>
                  </a:lnTo>
                  <a:lnTo>
                    <a:pt x="4556675" y="2400058"/>
                  </a:lnTo>
                  <a:lnTo>
                    <a:pt x="4552623" y="2458893"/>
                  </a:lnTo>
                  <a:lnTo>
                    <a:pt x="4548571" y="2516714"/>
                  </a:lnTo>
                  <a:lnTo>
                    <a:pt x="4541479" y="2574533"/>
                  </a:lnTo>
                  <a:lnTo>
                    <a:pt x="4534389" y="2630326"/>
                  </a:lnTo>
                  <a:lnTo>
                    <a:pt x="4524258" y="2687132"/>
                  </a:lnTo>
                  <a:lnTo>
                    <a:pt x="4513114" y="2743937"/>
                  </a:lnTo>
                  <a:lnTo>
                    <a:pt x="4501971" y="2798715"/>
                  </a:lnTo>
                  <a:lnTo>
                    <a:pt x="4487788" y="2853492"/>
                  </a:lnTo>
                  <a:lnTo>
                    <a:pt x="4473605" y="2908269"/>
                  </a:lnTo>
                  <a:lnTo>
                    <a:pt x="4457397" y="2962032"/>
                  </a:lnTo>
                  <a:lnTo>
                    <a:pt x="4440175" y="3015795"/>
                  </a:lnTo>
                  <a:lnTo>
                    <a:pt x="4420927" y="3068543"/>
                  </a:lnTo>
                  <a:lnTo>
                    <a:pt x="4401679" y="3120278"/>
                  </a:lnTo>
                  <a:lnTo>
                    <a:pt x="4380405" y="3172012"/>
                  </a:lnTo>
                  <a:lnTo>
                    <a:pt x="4358119" y="3222732"/>
                  </a:lnTo>
                  <a:lnTo>
                    <a:pt x="4334818" y="3272437"/>
                  </a:lnTo>
                  <a:lnTo>
                    <a:pt x="4310505" y="3323157"/>
                  </a:lnTo>
                  <a:lnTo>
                    <a:pt x="4285179" y="3371847"/>
                  </a:lnTo>
                  <a:lnTo>
                    <a:pt x="4257827" y="3419524"/>
                  </a:lnTo>
                  <a:lnTo>
                    <a:pt x="4230474" y="3466186"/>
                  </a:lnTo>
                  <a:lnTo>
                    <a:pt x="4201096" y="3512848"/>
                  </a:lnTo>
                  <a:lnTo>
                    <a:pt x="4170705" y="3559510"/>
                  </a:lnTo>
                  <a:lnTo>
                    <a:pt x="4139300" y="3604144"/>
                  </a:lnTo>
                  <a:lnTo>
                    <a:pt x="4107896" y="3648777"/>
                  </a:lnTo>
                  <a:lnTo>
                    <a:pt x="4073453" y="3693411"/>
                  </a:lnTo>
                  <a:lnTo>
                    <a:pt x="4040022" y="3735001"/>
                  </a:lnTo>
                  <a:lnTo>
                    <a:pt x="4003552" y="3777606"/>
                  </a:lnTo>
                  <a:lnTo>
                    <a:pt x="3988460" y="3794398"/>
                  </a:lnTo>
                  <a:lnTo>
                    <a:pt x="91028" y="2923647"/>
                  </a:lnTo>
                  <a:lnTo>
                    <a:pt x="86108" y="2906241"/>
                  </a:lnTo>
                  <a:lnTo>
                    <a:pt x="70912" y="2851463"/>
                  </a:lnTo>
                  <a:lnTo>
                    <a:pt x="57742" y="2795671"/>
                  </a:lnTo>
                  <a:lnTo>
                    <a:pt x="45587" y="2740894"/>
                  </a:lnTo>
                  <a:lnTo>
                    <a:pt x="34442" y="2685103"/>
                  </a:lnTo>
                  <a:lnTo>
                    <a:pt x="25326" y="2629311"/>
                  </a:lnTo>
                  <a:lnTo>
                    <a:pt x="17221" y="2573519"/>
                  </a:lnTo>
                  <a:lnTo>
                    <a:pt x="11143" y="2515699"/>
                  </a:lnTo>
                  <a:lnTo>
                    <a:pt x="7090" y="2457878"/>
                  </a:lnTo>
                  <a:lnTo>
                    <a:pt x="2026" y="2400057"/>
                  </a:lnTo>
                  <a:lnTo>
                    <a:pt x="1013" y="2342237"/>
                  </a:lnTo>
                  <a:lnTo>
                    <a:pt x="0" y="2283403"/>
                  </a:lnTo>
                  <a:lnTo>
                    <a:pt x="1013" y="2223554"/>
                  </a:lnTo>
                  <a:lnTo>
                    <a:pt x="2025" y="2165732"/>
                  </a:lnTo>
                  <a:lnTo>
                    <a:pt x="7090" y="2106898"/>
                  </a:lnTo>
                  <a:lnTo>
                    <a:pt x="11143" y="2050092"/>
                  </a:lnTo>
                  <a:lnTo>
                    <a:pt x="18234" y="1992271"/>
                  </a:lnTo>
                  <a:lnTo>
                    <a:pt x="25326" y="1935465"/>
                  </a:lnTo>
                  <a:lnTo>
                    <a:pt x="34443" y="1879673"/>
                  </a:lnTo>
                  <a:lnTo>
                    <a:pt x="46600" y="1822867"/>
                  </a:lnTo>
                  <a:lnTo>
                    <a:pt x="57743" y="1767075"/>
                  </a:lnTo>
                  <a:lnTo>
                    <a:pt x="70912" y="1712299"/>
                  </a:lnTo>
                  <a:lnTo>
                    <a:pt x="86108" y="1657521"/>
                  </a:lnTo>
                  <a:lnTo>
                    <a:pt x="102317" y="1603758"/>
                  </a:lnTo>
                  <a:lnTo>
                    <a:pt x="119539" y="1551009"/>
                  </a:lnTo>
                  <a:lnTo>
                    <a:pt x="138786" y="1497247"/>
                  </a:lnTo>
                  <a:lnTo>
                    <a:pt x="158034" y="1445513"/>
                  </a:lnTo>
                  <a:lnTo>
                    <a:pt x="179308" y="1394793"/>
                  </a:lnTo>
                  <a:lnTo>
                    <a:pt x="201595" y="1343059"/>
                  </a:lnTo>
                  <a:lnTo>
                    <a:pt x="224895" y="1293353"/>
                  </a:lnTo>
                  <a:lnTo>
                    <a:pt x="249208" y="1243647"/>
                  </a:lnTo>
                  <a:lnTo>
                    <a:pt x="275547" y="1194957"/>
                  </a:lnTo>
                  <a:lnTo>
                    <a:pt x="301887" y="1147280"/>
                  </a:lnTo>
                  <a:lnTo>
                    <a:pt x="330252" y="1099604"/>
                  </a:lnTo>
                  <a:lnTo>
                    <a:pt x="358617" y="1051927"/>
                  </a:lnTo>
                  <a:lnTo>
                    <a:pt x="389008" y="1007294"/>
                  </a:lnTo>
                  <a:lnTo>
                    <a:pt x="420413" y="961646"/>
                  </a:lnTo>
                  <a:lnTo>
                    <a:pt x="452830" y="917012"/>
                  </a:lnTo>
                  <a:lnTo>
                    <a:pt x="486261" y="873394"/>
                  </a:lnTo>
                  <a:lnTo>
                    <a:pt x="519691" y="830789"/>
                  </a:lnTo>
                  <a:lnTo>
                    <a:pt x="556161" y="788185"/>
                  </a:lnTo>
                  <a:lnTo>
                    <a:pt x="592631" y="747609"/>
                  </a:lnTo>
                  <a:lnTo>
                    <a:pt x="630113" y="708048"/>
                  </a:lnTo>
                  <a:lnTo>
                    <a:pt x="668609" y="668486"/>
                  </a:lnTo>
                  <a:lnTo>
                    <a:pt x="707104" y="630954"/>
                  </a:lnTo>
                  <a:lnTo>
                    <a:pt x="746613" y="593420"/>
                  </a:lnTo>
                  <a:lnTo>
                    <a:pt x="788148" y="555889"/>
                  </a:lnTo>
                  <a:lnTo>
                    <a:pt x="828670" y="521399"/>
                  </a:lnTo>
                  <a:lnTo>
                    <a:pt x="872231" y="486910"/>
                  </a:lnTo>
                  <a:lnTo>
                    <a:pt x="915792" y="453434"/>
                  </a:lnTo>
                  <a:lnTo>
                    <a:pt x="959353" y="420974"/>
                  </a:lnTo>
                  <a:lnTo>
                    <a:pt x="1004940" y="390542"/>
                  </a:lnTo>
                  <a:lnTo>
                    <a:pt x="1050526" y="360110"/>
                  </a:lnTo>
                  <a:lnTo>
                    <a:pt x="1097127" y="330692"/>
                  </a:lnTo>
                  <a:lnTo>
                    <a:pt x="1144740" y="302290"/>
                  </a:lnTo>
                  <a:lnTo>
                    <a:pt x="1193366" y="275916"/>
                  </a:lnTo>
                  <a:lnTo>
                    <a:pt x="1241993" y="250556"/>
                  </a:lnTo>
                  <a:lnTo>
                    <a:pt x="1290618" y="224182"/>
                  </a:lnTo>
                  <a:lnTo>
                    <a:pt x="1341271" y="200851"/>
                  </a:lnTo>
                  <a:lnTo>
                    <a:pt x="1391923" y="178534"/>
                  </a:lnTo>
                  <a:lnTo>
                    <a:pt x="1443588" y="158246"/>
                  </a:lnTo>
                  <a:lnTo>
                    <a:pt x="1496266" y="137958"/>
                  </a:lnTo>
                  <a:lnTo>
                    <a:pt x="1548945" y="119699"/>
                  </a:lnTo>
                  <a:lnTo>
                    <a:pt x="1602636" y="102454"/>
                  </a:lnTo>
                  <a:lnTo>
                    <a:pt x="1656328" y="86224"/>
                  </a:lnTo>
                  <a:lnTo>
                    <a:pt x="1710019" y="71008"/>
                  </a:lnTo>
                  <a:lnTo>
                    <a:pt x="1764724" y="58835"/>
                  </a:lnTo>
                  <a:lnTo>
                    <a:pt x="1820441" y="45648"/>
                  </a:lnTo>
                  <a:lnTo>
                    <a:pt x="1876158" y="35504"/>
                  </a:lnTo>
                  <a:lnTo>
                    <a:pt x="1932889" y="25360"/>
                  </a:lnTo>
                  <a:lnTo>
                    <a:pt x="1989619" y="17245"/>
                  </a:lnTo>
                  <a:lnTo>
                    <a:pt x="2046350" y="12173"/>
                  </a:lnTo>
                  <a:lnTo>
                    <a:pt x="2105107" y="6086"/>
                  </a:lnTo>
                  <a:lnTo>
                    <a:pt x="2161837" y="2029"/>
                  </a:lnTo>
                  <a:lnTo>
                    <a:pt x="2221607" y="1"/>
                  </a:lnTo>
                  <a:lnTo>
                    <a:pt x="2280364" y="0"/>
                  </a:lnTo>
                  <a:lnTo>
                    <a:pt x="2331015" y="0"/>
                  </a:lnTo>
                  <a:lnTo>
                    <a:pt x="2382681" y="2029"/>
                  </a:lnTo>
                  <a:lnTo>
                    <a:pt x="2432320" y="6086"/>
                  </a:lnTo>
                  <a:lnTo>
                    <a:pt x="2482972" y="9130"/>
                  </a:lnTo>
                  <a:lnTo>
                    <a:pt x="2532611" y="15216"/>
                  </a:lnTo>
                  <a:lnTo>
                    <a:pt x="2582250" y="21302"/>
                  </a:lnTo>
                  <a:lnTo>
                    <a:pt x="2631890" y="29418"/>
                  </a:lnTo>
                  <a:lnTo>
                    <a:pt x="2681529" y="37533"/>
                  </a:lnTo>
                  <a:lnTo>
                    <a:pt x="2717998" y="44633"/>
                  </a:lnTo>
                  <a:lnTo>
                    <a:pt x="2755482" y="52748"/>
                  </a:lnTo>
                  <a:lnTo>
                    <a:pt x="2830447" y="68979"/>
                  </a:lnTo>
                  <a:close/>
                </a:path>
              </a:pathLst>
            </a:custGeom>
            <a:solidFill>
              <a:srgbClr val="7F89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ko-KR" altLang="en-US" sz="2400"/>
            </a:p>
          </p:txBody>
        </p:sp>
        <p:grpSp>
          <p:nvGrpSpPr>
            <p:cNvPr id="7559" name="그룹 7558"/>
            <p:cNvGrpSpPr/>
            <p:nvPr userDrawn="1"/>
          </p:nvGrpSpPr>
          <p:grpSpPr>
            <a:xfrm>
              <a:off x="2319137" y="434111"/>
              <a:ext cx="6906215" cy="4959707"/>
              <a:chOff x="2319137" y="434111"/>
              <a:chExt cx="6906215" cy="4959707"/>
            </a:xfrm>
          </p:grpSpPr>
          <p:grpSp>
            <p:nvGrpSpPr>
              <p:cNvPr id="7550" name="그룹 7549"/>
              <p:cNvGrpSpPr/>
              <p:nvPr userDrawn="1"/>
            </p:nvGrpSpPr>
            <p:grpSpPr>
              <a:xfrm rot="20006978">
                <a:off x="5018916" y="1378960"/>
                <a:ext cx="1409920" cy="773182"/>
                <a:chOff x="9449933" y="-110039"/>
                <a:chExt cx="1574800" cy="863600"/>
              </a:xfrm>
            </p:grpSpPr>
            <p:sp>
              <p:nvSpPr>
                <p:cNvPr id="810" name="Freeform 194"/>
                <p:cNvSpPr>
                  <a:spLocks/>
                </p:cNvSpPr>
                <p:nvPr userDrawn="1"/>
              </p:nvSpPr>
              <p:spPr bwMode="auto">
                <a:xfrm>
                  <a:off x="9611858" y="556711"/>
                  <a:ext cx="161925" cy="117475"/>
                </a:xfrm>
                <a:custGeom>
                  <a:avLst/>
                  <a:gdLst>
                    <a:gd name="T0" fmla="*/ 13 w 203"/>
                    <a:gd name="T1" fmla="*/ 148 h 148"/>
                    <a:gd name="T2" fmla="*/ 0 w 203"/>
                    <a:gd name="T3" fmla="*/ 130 h 148"/>
                    <a:gd name="T4" fmla="*/ 190 w 203"/>
                    <a:gd name="T5" fmla="*/ 0 h 148"/>
                    <a:gd name="T6" fmla="*/ 203 w 203"/>
                    <a:gd name="T7" fmla="*/ 18 h 148"/>
                    <a:gd name="T8" fmla="*/ 13 w 203"/>
                    <a:gd name="T9" fmla="*/ 148 h 148"/>
                  </a:gdLst>
                  <a:ahLst/>
                  <a:cxnLst>
                    <a:cxn ang="0">
                      <a:pos x="T0" y="T1"/>
                    </a:cxn>
                    <a:cxn ang="0">
                      <a:pos x="T2" y="T3"/>
                    </a:cxn>
                    <a:cxn ang="0">
                      <a:pos x="T4" y="T5"/>
                    </a:cxn>
                    <a:cxn ang="0">
                      <a:pos x="T6" y="T7"/>
                    </a:cxn>
                    <a:cxn ang="0">
                      <a:pos x="T8" y="T9"/>
                    </a:cxn>
                  </a:cxnLst>
                  <a:rect l="0" t="0" r="r" b="b"/>
                  <a:pathLst>
                    <a:path w="203" h="148">
                      <a:moveTo>
                        <a:pt x="13" y="148"/>
                      </a:moveTo>
                      <a:lnTo>
                        <a:pt x="0" y="130"/>
                      </a:lnTo>
                      <a:lnTo>
                        <a:pt x="190" y="0"/>
                      </a:lnTo>
                      <a:lnTo>
                        <a:pt x="203" y="18"/>
                      </a:lnTo>
                      <a:lnTo>
                        <a:pt x="13" y="148"/>
                      </a:lnTo>
                      <a:close/>
                    </a:path>
                  </a:pathLst>
                </a:custGeom>
                <a:solidFill>
                  <a:srgbClr val="3ABA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1" name="Freeform 195"/>
                <p:cNvSpPr>
                  <a:spLocks/>
                </p:cNvSpPr>
                <p:nvPr userDrawn="1"/>
              </p:nvSpPr>
              <p:spPr bwMode="auto">
                <a:xfrm>
                  <a:off x="9572171" y="623386"/>
                  <a:ext cx="87313" cy="87313"/>
                </a:xfrm>
                <a:custGeom>
                  <a:avLst/>
                  <a:gdLst>
                    <a:gd name="T0" fmla="*/ 111 w 111"/>
                    <a:gd name="T1" fmla="*/ 56 h 110"/>
                    <a:gd name="T2" fmla="*/ 111 w 111"/>
                    <a:gd name="T3" fmla="*/ 56 h 110"/>
                    <a:gd name="T4" fmla="*/ 110 w 111"/>
                    <a:gd name="T5" fmla="*/ 66 h 110"/>
                    <a:gd name="T6" fmla="*/ 106 w 111"/>
                    <a:gd name="T7" fmla="*/ 77 h 110"/>
                    <a:gd name="T8" fmla="*/ 101 w 111"/>
                    <a:gd name="T9" fmla="*/ 86 h 110"/>
                    <a:gd name="T10" fmla="*/ 94 w 111"/>
                    <a:gd name="T11" fmla="*/ 94 h 110"/>
                    <a:gd name="T12" fmla="*/ 86 w 111"/>
                    <a:gd name="T13" fmla="*/ 101 h 110"/>
                    <a:gd name="T14" fmla="*/ 76 w 111"/>
                    <a:gd name="T15" fmla="*/ 105 h 110"/>
                    <a:gd name="T16" fmla="*/ 67 w 111"/>
                    <a:gd name="T17" fmla="*/ 109 h 110"/>
                    <a:gd name="T18" fmla="*/ 55 w 111"/>
                    <a:gd name="T19" fmla="*/ 110 h 110"/>
                    <a:gd name="T20" fmla="*/ 55 w 111"/>
                    <a:gd name="T21" fmla="*/ 110 h 110"/>
                    <a:gd name="T22" fmla="*/ 44 w 111"/>
                    <a:gd name="T23" fmla="*/ 109 h 110"/>
                    <a:gd name="T24" fmla="*/ 34 w 111"/>
                    <a:gd name="T25" fmla="*/ 105 h 110"/>
                    <a:gd name="T26" fmla="*/ 24 w 111"/>
                    <a:gd name="T27" fmla="*/ 101 h 110"/>
                    <a:gd name="T28" fmla="*/ 17 w 111"/>
                    <a:gd name="T29" fmla="*/ 94 h 110"/>
                    <a:gd name="T30" fmla="*/ 10 w 111"/>
                    <a:gd name="T31" fmla="*/ 86 h 110"/>
                    <a:gd name="T32" fmla="*/ 5 w 111"/>
                    <a:gd name="T33" fmla="*/ 77 h 110"/>
                    <a:gd name="T34" fmla="*/ 2 w 111"/>
                    <a:gd name="T35" fmla="*/ 66 h 110"/>
                    <a:gd name="T36" fmla="*/ 0 w 111"/>
                    <a:gd name="T37" fmla="*/ 56 h 110"/>
                    <a:gd name="T38" fmla="*/ 0 w 111"/>
                    <a:gd name="T39" fmla="*/ 56 h 110"/>
                    <a:gd name="T40" fmla="*/ 2 w 111"/>
                    <a:gd name="T41" fmla="*/ 44 h 110"/>
                    <a:gd name="T42" fmla="*/ 5 w 111"/>
                    <a:gd name="T43" fmla="*/ 34 h 110"/>
                    <a:gd name="T44" fmla="*/ 10 w 111"/>
                    <a:gd name="T45" fmla="*/ 25 h 110"/>
                    <a:gd name="T46" fmla="*/ 17 w 111"/>
                    <a:gd name="T47" fmla="*/ 16 h 110"/>
                    <a:gd name="T48" fmla="*/ 24 w 111"/>
                    <a:gd name="T49" fmla="*/ 9 h 110"/>
                    <a:gd name="T50" fmla="*/ 34 w 111"/>
                    <a:gd name="T51" fmla="*/ 4 h 110"/>
                    <a:gd name="T52" fmla="*/ 44 w 111"/>
                    <a:gd name="T53" fmla="*/ 1 h 110"/>
                    <a:gd name="T54" fmla="*/ 55 w 111"/>
                    <a:gd name="T55" fmla="*/ 0 h 110"/>
                    <a:gd name="T56" fmla="*/ 55 w 111"/>
                    <a:gd name="T57" fmla="*/ 0 h 110"/>
                    <a:gd name="T58" fmla="*/ 67 w 111"/>
                    <a:gd name="T59" fmla="*/ 1 h 110"/>
                    <a:gd name="T60" fmla="*/ 76 w 111"/>
                    <a:gd name="T61" fmla="*/ 4 h 110"/>
                    <a:gd name="T62" fmla="*/ 86 w 111"/>
                    <a:gd name="T63" fmla="*/ 9 h 110"/>
                    <a:gd name="T64" fmla="*/ 94 w 111"/>
                    <a:gd name="T65" fmla="*/ 16 h 110"/>
                    <a:gd name="T66" fmla="*/ 101 w 111"/>
                    <a:gd name="T67" fmla="*/ 25 h 110"/>
                    <a:gd name="T68" fmla="*/ 106 w 111"/>
                    <a:gd name="T69" fmla="*/ 34 h 110"/>
                    <a:gd name="T70" fmla="*/ 110 w 111"/>
                    <a:gd name="T71" fmla="*/ 44 h 110"/>
                    <a:gd name="T72" fmla="*/ 111 w 111"/>
                    <a:gd name="T73" fmla="*/ 56 h 110"/>
                    <a:gd name="T74" fmla="*/ 111 w 111"/>
                    <a:gd name="T75" fmla="*/ 56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1" h="110">
                      <a:moveTo>
                        <a:pt x="111" y="56"/>
                      </a:moveTo>
                      <a:lnTo>
                        <a:pt x="111" y="56"/>
                      </a:lnTo>
                      <a:lnTo>
                        <a:pt x="110" y="66"/>
                      </a:lnTo>
                      <a:lnTo>
                        <a:pt x="106" y="77"/>
                      </a:lnTo>
                      <a:lnTo>
                        <a:pt x="101" y="86"/>
                      </a:lnTo>
                      <a:lnTo>
                        <a:pt x="94" y="94"/>
                      </a:lnTo>
                      <a:lnTo>
                        <a:pt x="86" y="101"/>
                      </a:lnTo>
                      <a:lnTo>
                        <a:pt x="76" y="105"/>
                      </a:lnTo>
                      <a:lnTo>
                        <a:pt x="67" y="109"/>
                      </a:lnTo>
                      <a:lnTo>
                        <a:pt x="55" y="110"/>
                      </a:lnTo>
                      <a:lnTo>
                        <a:pt x="55" y="110"/>
                      </a:lnTo>
                      <a:lnTo>
                        <a:pt x="44" y="109"/>
                      </a:lnTo>
                      <a:lnTo>
                        <a:pt x="34" y="105"/>
                      </a:lnTo>
                      <a:lnTo>
                        <a:pt x="24" y="101"/>
                      </a:lnTo>
                      <a:lnTo>
                        <a:pt x="17" y="94"/>
                      </a:lnTo>
                      <a:lnTo>
                        <a:pt x="10" y="86"/>
                      </a:lnTo>
                      <a:lnTo>
                        <a:pt x="5" y="77"/>
                      </a:lnTo>
                      <a:lnTo>
                        <a:pt x="2" y="66"/>
                      </a:lnTo>
                      <a:lnTo>
                        <a:pt x="0" y="56"/>
                      </a:lnTo>
                      <a:lnTo>
                        <a:pt x="0" y="56"/>
                      </a:lnTo>
                      <a:lnTo>
                        <a:pt x="2" y="44"/>
                      </a:lnTo>
                      <a:lnTo>
                        <a:pt x="5" y="34"/>
                      </a:lnTo>
                      <a:lnTo>
                        <a:pt x="10" y="25"/>
                      </a:lnTo>
                      <a:lnTo>
                        <a:pt x="17" y="16"/>
                      </a:lnTo>
                      <a:lnTo>
                        <a:pt x="24" y="9"/>
                      </a:lnTo>
                      <a:lnTo>
                        <a:pt x="34" y="4"/>
                      </a:lnTo>
                      <a:lnTo>
                        <a:pt x="44" y="1"/>
                      </a:lnTo>
                      <a:lnTo>
                        <a:pt x="55" y="0"/>
                      </a:lnTo>
                      <a:lnTo>
                        <a:pt x="55" y="0"/>
                      </a:lnTo>
                      <a:lnTo>
                        <a:pt x="67" y="1"/>
                      </a:lnTo>
                      <a:lnTo>
                        <a:pt x="76" y="4"/>
                      </a:lnTo>
                      <a:lnTo>
                        <a:pt x="86" y="9"/>
                      </a:lnTo>
                      <a:lnTo>
                        <a:pt x="94" y="16"/>
                      </a:lnTo>
                      <a:lnTo>
                        <a:pt x="101" y="25"/>
                      </a:lnTo>
                      <a:lnTo>
                        <a:pt x="106" y="34"/>
                      </a:lnTo>
                      <a:lnTo>
                        <a:pt x="110" y="44"/>
                      </a:lnTo>
                      <a:lnTo>
                        <a:pt x="111" y="56"/>
                      </a:lnTo>
                      <a:lnTo>
                        <a:pt x="111" y="56"/>
                      </a:lnTo>
                      <a:close/>
                    </a:path>
                  </a:pathLst>
                </a:custGeom>
                <a:solidFill>
                  <a:srgbClr val="3ABA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2" name="Freeform 196"/>
                <p:cNvSpPr>
                  <a:spLocks/>
                </p:cNvSpPr>
                <p:nvPr userDrawn="1"/>
              </p:nvSpPr>
              <p:spPr bwMode="auto">
                <a:xfrm>
                  <a:off x="9586458" y="639261"/>
                  <a:ext cx="41275" cy="42863"/>
                </a:xfrm>
                <a:custGeom>
                  <a:avLst/>
                  <a:gdLst>
                    <a:gd name="T0" fmla="*/ 53 w 53"/>
                    <a:gd name="T1" fmla="*/ 27 h 53"/>
                    <a:gd name="T2" fmla="*/ 53 w 53"/>
                    <a:gd name="T3" fmla="*/ 27 h 53"/>
                    <a:gd name="T4" fmla="*/ 51 w 53"/>
                    <a:gd name="T5" fmla="*/ 32 h 53"/>
                    <a:gd name="T6" fmla="*/ 50 w 53"/>
                    <a:gd name="T7" fmla="*/ 37 h 53"/>
                    <a:gd name="T8" fmla="*/ 48 w 53"/>
                    <a:gd name="T9" fmla="*/ 41 h 53"/>
                    <a:gd name="T10" fmla="*/ 44 w 53"/>
                    <a:gd name="T11" fmla="*/ 45 h 53"/>
                    <a:gd name="T12" fmla="*/ 41 w 53"/>
                    <a:gd name="T13" fmla="*/ 49 h 53"/>
                    <a:gd name="T14" fmla="*/ 36 w 53"/>
                    <a:gd name="T15" fmla="*/ 51 h 53"/>
                    <a:gd name="T16" fmla="*/ 31 w 53"/>
                    <a:gd name="T17" fmla="*/ 52 h 53"/>
                    <a:gd name="T18" fmla="*/ 26 w 53"/>
                    <a:gd name="T19" fmla="*/ 53 h 53"/>
                    <a:gd name="T20" fmla="*/ 26 w 53"/>
                    <a:gd name="T21" fmla="*/ 53 h 53"/>
                    <a:gd name="T22" fmla="*/ 20 w 53"/>
                    <a:gd name="T23" fmla="*/ 52 h 53"/>
                    <a:gd name="T24" fmla="*/ 16 w 53"/>
                    <a:gd name="T25" fmla="*/ 51 h 53"/>
                    <a:gd name="T26" fmla="*/ 11 w 53"/>
                    <a:gd name="T27" fmla="*/ 49 h 53"/>
                    <a:gd name="T28" fmla="*/ 7 w 53"/>
                    <a:gd name="T29" fmla="*/ 45 h 53"/>
                    <a:gd name="T30" fmla="*/ 4 w 53"/>
                    <a:gd name="T31" fmla="*/ 41 h 53"/>
                    <a:gd name="T32" fmla="*/ 1 w 53"/>
                    <a:gd name="T33" fmla="*/ 37 h 53"/>
                    <a:gd name="T34" fmla="*/ 0 w 53"/>
                    <a:gd name="T35" fmla="*/ 32 h 53"/>
                    <a:gd name="T36" fmla="*/ 0 w 53"/>
                    <a:gd name="T37" fmla="*/ 27 h 53"/>
                    <a:gd name="T38" fmla="*/ 0 w 53"/>
                    <a:gd name="T39" fmla="*/ 27 h 53"/>
                    <a:gd name="T40" fmla="*/ 0 w 53"/>
                    <a:gd name="T41" fmla="*/ 21 h 53"/>
                    <a:gd name="T42" fmla="*/ 1 w 53"/>
                    <a:gd name="T43" fmla="*/ 17 h 53"/>
                    <a:gd name="T44" fmla="*/ 4 w 53"/>
                    <a:gd name="T45" fmla="*/ 12 h 53"/>
                    <a:gd name="T46" fmla="*/ 7 w 53"/>
                    <a:gd name="T47" fmla="*/ 8 h 53"/>
                    <a:gd name="T48" fmla="*/ 11 w 53"/>
                    <a:gd name="T49" fmla="*/ 5 h 53"/>
                    <a:gd name="T50" fmla="*/ 16 w 53"/>
                    <a:gd name="T51" fmla="*/ 2 h 53"/>
                    <a:gd name="T52" fmla="*/ 20 w 53"/>
                    <a:gd name="T53" fmla="*/ 1 h 53"/>
                    <a:gd name="T54" fmla="*/ 26 w 53"/>
                    <a:gd name="T55" fmla="*/ 0 h 53"/>
                    <a:gd name="T56" fmla="*/ 26 w 53"/>
                    <a:gd name="T57" fmla="*/ 0 h 53"/>
                    <a:gd name="T58" fmla="*/ 31 w 53"/>
                    <a:gd name="T59" fmla="*/ 1 h 53"/>
                    <a:gd name="T60" fmla="*/ 36 w 53"/>
                    <a:gd name="T61" fmla="*/ 2 h 53"/>
                    <a:gd name="T62" fmla="*/ 41 w 53"/>
                    <a:gd name="T63" fmla="*/ 5 h 53"/>
                    <a:gd name="T64" fmla="*/ 44 w 53"/>
                    <a:gd name="T65" fmla="*/ 8 h 53"/>
                    <a:gd name="T66" fmla="*/ 48 w 53"/>
                    <a:gd name="T67" fmla="*/ 12 h 53"/>
                    <a:gd name="T68" fmla="*/ 50 w 53"/>
                    <a:gd name="T69" fmla="*/ 17 h 53"/>
                    <a:gd name="T70" fmla="*/ 51 w 53"/>
                    <a:gd name="T71" fmla="*/ 21 h 53"/>
                    <a:gd name="T72" fmla="*/ 53 w 53"/>
                    <a:gd name="T73" fmla="*/ 27 h 53"/>
                    <a:gd name="T74" fmla="*/ 53 w 53"/>
                    <a:gd name="T75"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53">
                      <a:moveTo>
                        <a:pt x="53" y="27"/>
                      </a:moveTo>
                      <a:lnTo>
                        <a:pt x="53" y="27"/>
                      </a:lnTo>
                      <a:lnTo>
                        <a:pt x="51" y="32"/>
                      </a:lnTo>
                      <a:lnTo>
                        <a:pt x="50" y="37"/>
                      </a:lnTo>
                      <a:lnTo>
                        <a:pt x="48" y="41"/>
                      </a:lnTo>
                      <a:lnTo>
                        <a:pt x="44" y="45"/>
                      </a:lnTo>
                      <a:lnTo>
                        <a:pt x="41" y="49"/>
                      </a:lnTo>
                      <a:lnTo>
                        <a:pt x="36" y="51"/>
                      </a:lnTo>
                      <a:lnTo>
                        <a:pt x="31" y="52"/>
                      </a:lnTo>
                      <a:lnTo>
                        <a:pt x="26" y="53"/>
                      </a:lnTo>
                      <a:lnTo>
                        <a:pt x="26" y="53"/>
                      </a:lnTo>
                      <a:lnTo>
                        <a:pt x="20" y="52"/>
                      </a:lnTo>
                      <a:lnTo>
                        <a:pt x="16" y="51"/>
                      </a:lnTo>
                      <a:lnTo>
                        <a:pt x="11" y="49"/>
                      </a:lnTo>
                      <a:lnTo>
                        <a:pt x="7" y="45"/>
                      </a:lnTo>
                      <a:lnTo>
                        <a:pt x="4" y="41"/>
                      </a:lnTo>
                      <a:lnTo>
                        <a:pt x="1" y="37"/>
                      </a:lnTo>
                      <a:lnTo>
                        <a:pt x="0" y="32"/>
                      </a:lnTo>
                      <a:lnTo>
                        <a:pt x="0" y="27"/>
                      </a:lnTo>
                      <a:lnTo>
                        <a:pt x="0" y="27"/>
                      </a:lnTo>
                      <a:lnTo>
                        <a:pt x="0" y="21"/>
                      </a:lnTo>
                      <a:lnTo>
                        <a:pt x="1" y="17"/>
                      </a:lnTo>
                      <a:lnTo>
                        <a:pt x="4" y="12"/>
                      </a:lnTo>
                      <a:lnTo>
                        <a:pt x="7" y="8"/>
                      </a:lnTo>
                      <a:lnTo>
                        <a:pt x="11" y="5"/>
                      </a:lnTo>
                      <a:lnTo>
                        <a:pt x="16" y="2"/>
                      </a:lnTo>
                      <a:lnTo>
                        <a:pt x="20" y="1"/>
                      </a:lnTo>
                      <a:lnTo>
                        <a:pt x="26" y="0"/>
                      </a:lnTo>
                      <a:lnTo>
                        <a:pt x="26" y="0"/>
                      </a:lnTo>
                      <a:lnTo>
                        <a:pt x="31" y="1"/>
                      </a:lnTo>
                      <a:lnTo>
                        <a:pt x="36" y="2"/>
                      </a:lnTo>
                      <a:lnTo>
                        <a:pt x="41" y="5"/>
                      </a:lnTo>
                      <a:lnTo>
                        <a:pt x="44" y="8"/>
                      </a:lnTo>
                      <a:lnTo>
                        <a:pt x="48" y="12"/>
                      </a:lnTo>
                      <a:lnTo>
                        <a:pt x="50" y="17"/>
                      </a:lnTo>
                      <a:lnTo>
                        <a:pt x="51" y="21"/>
                      </a:lnTo>
                      <a:lnTo>
                        <a:pt x="53" y="27"/>
                      </a:lnTo>
                      <a:lnTo>
                        <a:pt x="5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3" name="Rectangle 197"/>
                <p:cNvSpPr>
                  <a:spLocks noChangeArrowheads="1"/>
                </p:cNvSpPr>
                <p:nvPr userDrawn="1"/>
              </p:nvSpPr>
              <p:spPr bwMode="auto">
                <a:xfrm>
                  <a:off x="10227808" y="-30664"/>
                  <a:ext cx="17463" cy="115888"/>
                </a:xfrm>
                <a:prstGeom prst="rect">
                  <a:avLst/>
                </a:prstGeom>
                <a:solidFill>
                  <a:srgbClr val="3ABA7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4" name="Freeform 198"/>
                <p:cNvSpPr>
                  <a:spLocks/>
                </p:cNvSpPr>
                <p:nvPr userDrawn="1"/>
              </p:nvSpPr>
              <p:spPr bwMode="auto">
                <a:xfrm>
                  <a:off x="9743621" y="167774"/>
                  <a:ext cx="493713" cy="71438"/>
                </a:xfrm>
                <a:custGeom>
                  <a:avLst/>
                  <a:gdLst>
                    <a:gd name="T0" fmla="*/ 622 w 622"/>
                    <a:gd name="T1" fmla="*/ 0 h 89"/>
                    <a:gd name="T2" fmla="*/ 90 w 622"/>
                    <a:gd name="T3" fmla="*/ 0 h 89"/>
                    <a:gd name="T4" fmla="*/ 90 w 622"/>
                    <a:gd name="T5" fmla="*/ 0 h 89"/>
                    <a:gd name="T6" fmla="*/ 81 w 622"/>
                    <a:gd name="T7" fmla="*/ 0 h 89"/>
                    <a:gd name="T8" fmla="*/ 71 w 622"/>
                    <a:gd name="T9" fmla="*/ 2 h 89"/>
                    <a:gd name="T10" fmla="*/ 63 w 622"/>
                    <a:gd name="T11" fmla="*/ 3 h 89"/>
                    <a:gd name="T12" fmla="*/ 54 w 622"/>
                    <a:gd name="T13" fmla="*/ 7 h 89"/>
                    <a:gd name="T14" fmla="*/ 47 w 622"/>
                    <a:gd name="T15" fmla="*/ 10 h 89"/>
                    <a:gd name="T16" fmla="*/ 40 w 622"/>
                    <a:gd name="T17" fmla="*/ 15 h 89"/>
                    <a:gd name="T18" fmla="*/ 33 w 622"/>
                    <a:gd name="T19" fmla="*/ 20 h 89"/>
                    <a:gd name="T20" fmla="*/ 26 w 622"/>
                    <a:gd name="T21" fmla="*/ 26 h 89"/>
                    <a:gd name="T22" fmla="*/ 20 w 622"/>
                    <a:gd name="T23" fmla="*/ 32 h 89"/>
                    <a:gd name="T24" fmla="*/ 15 w 622"/>
                    <a:gd name="T25" fmla="*/ 39 h 89"/>
                    <a:gd name="T26" fmla="*/ 10 w 622"/>
                    <a:gd name="T27" fmla="*/ 47 h 89"/>
                    <a:gd name="T28" fmla="*/ 7 w 622"/>
                    <a:gd name="T29" fmla="*/ 54 h 89"/>
                    <a:gd name="T30" fmla="*/ 5 w 622"/>
                    <a:gd name="T31" fmla="*/ 63 h 89"/>
                    <a:gd name="T32" fmla="*/ 2 w 622"/>
                    <a:gd name="T33" fmla="*/ 71 h 89"/>
                    <a:gd name="T34" fmla="*/ 1 w 622"/>
                    <a:gd name="T35" fmla="*/ 81 h 89"/>
                    <a:gd name="T36" fmla="*/ 0 w 622"/>
                    <a:gd name="T37" fmla="*/ 89 h 89"/>
                    <a:gd name="T38" fmla="*/ 622 w 622"/>
                    <a:gd name="T39" fmla="*/ 89 h 89"/>
                    <a:gd name="T40" fmla="*/ 622 w 622"/>
                    <a:gd name="T4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2" h="89">
                      <a:moveTo>
                        <a:pt x="622" y="0"/>
                      </a:moveTo>
                      <a:lnTo>
                        <a:pt x="90" y="0"/>
                      </a:lnTo>
                      <a:lnTo>
                        <a:pt x="90" y="0"/>
                      </a:lnTo>
                      <a:lnTo>
                        <a:pt x="81" y="0"/>
                      </a:lnTo>
                      <a:lnTo>
                        <a:pt x="71" y="2"/>
                      </a:lnTo>
                      <a:lnTo>
                        <a:pt x="63" y="3"/>
                      </a:lnTo>
                      <a:lnTo>
                        <a:pt x="54" y="7"/>
                      </a:lnTo>
                      <a:lnTo>
                        <a:pt x="47" y="10"/>
                      </a:lnTo>
                      <a:lnTo>
                        <a:pt x="40" y="15"/>
                      </a:lnTo>
                      <a:lnTo>
                        <a:pt x="33" y="20"/>
                      </a:lnTo>
                      <a:lnTo>
                        <a:pt x="26" y="26"/>
                      </a:lnTo>
                      <a:lnTo>
                        <a:pt x="20" y="32"/>
                      </a:lnTo>
                      <a:lnTo>
                        <a:pt x="15" y="39"/>
                      </a:lnTo>
                      <a:lnTo>
                        <a:pt x="10" y="47"/>
                      </a:lnTo>
                      <a:lnTo>
                        <a:pt x="7" y="54"/>
                      </a:lnTo>
                      <a:lnTo>
                        <a:pt x="5" y="63"/>
                      </a:lnTo>
                      <a:lnTo>
                        <a:pt x="2" y="71"/>
                      </a:lnTo>
                      <a:lnTo>
                        <a:pt x="1" y="81"/>
                      </a:lnTo>
                      <a:lnTo>
                        <a:pt x="0" y="89"/>
                      </a:lnTo>
                      <a:lnTo>
                        <a:pt x="622" y="89"/>
                      </a:lnTo>
                      <a:lnTo>
                        <a:pt x="622"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5" name="Freeform 199"/>
                <p:cNvSpPr>
                  <a:spLocks/>
                </p:cNvSpPr>
                <p:nvPr userDrawn="1"/>
              </p:nvSpPr>
              <p:spPr bwMode="auto">
                <a:xfrm>
                  <a:off x="9743621" y="239211"/>
                  <a:ext cx="493713" cy="71438"/>
                </a:xfrm>
                <a:custGeom>
                  <a:avLst/>
                  <a:gdLst>
                    <a:gd name="T0" fmla="*/ 622 w 622"/>
                    <a:gd name="T1" fmla="*/ 0 h 90"/>
                    <a:gd name="T2" fmla="*/ 0 w 622"/>
                    <a:gd name="T3" fmla="*/ 0 h 90"/>
                    <a:gd name="T4" fmla="*/ 0 w 622"/>
                    <a:gd name="T5" fmla="*/ 0 h 90"/>
                    <a:gd name="T6" fmla="*/ 1 w 622"/>
                    <a:gd name="T7" fmla="*/ 9 h 90"/>
                    <a:gd name="T8" fmla="*/ 2 w 622"/>
                    <a:gd name="T9" fmla="*/ 19 h 90"/>
                    <a:gd name="T10" fmla="*/ 5 w 622"/>
                    <a:gd name="T11" fmla="*/ 27 h 90"/>
                    <a:gd name="T12" fmla="*/ 7 w 622"/>
                    <a:gd name="T13" fmla="*/ 36 h 90"/>
                    <a:gd name="T14" fmla="*/ 10 w 622"/>
                    <a:gd name="T15" fmla="*/ 43 h 90"/>
                    <a:gd name="T16" fmla="*/ 15 w 622"/>
                    <a:gd name="T17" fmla="*/ 51 h 90"/>
                    <a:gd name="T18" fmla="*/ 20 w 622"/>
                    <a:gd name="T19" fmla="*/ 57 h 90"/>
                    <a:gd name="T20" fmla="*/ 26 w 622"/>
                    <a:gd name="T21" fmla="*/ 64 h 90"/>
                    <a:gd name="T22" fmla="*/ 33 w 622"/>
                    <a:gd name="T23" fmla="*/ 70 h 90"/>
                    <a:gd name="T24" fmla="*/ 40 w 622"/>
                    <a:gd name="T25" fmla="*/ 75 h 90"/>
                    <a:gd name="T26" fmla="*/ 47 w 622"/>
                    <a:gd name="T27" fmla="*/ 79 h 90"/>
                    <a:gd name="T28" fmla="*/ 54 w 622"/>
                    <a:gd name="T29" fmla="*/ 83 h 90"/>
                    <a:gd name="T30" fmla="*/ 63 w 622"/>
                    <a:gd name="T31" fmla="*/ 85 h 90"/>
                    <a:gd name="T32" fmla="*/ 71 w 622"/>
                    <a:gd name="T33" fmla="*/ 88 h 90"/>
                    <a:gd name="T34" fmla="*/ 81 w 622"/>
                    <a:gd name="T35" fmla="*/ 89 h 90"/>
                    <a:gd name="T36" fmla="*/ 90 w 622"/>
                    <a:gd name="T37" fmla="*/ 90 h 90"/>
                    <a:gd name="T38" fmla="*/ 622 w 622"/>
                    <a:gd name="T39" fmla="*/ 90 h 90"/>
                    <a:gd name="T40" fmla="*/ 622 w 622"/>
                    <a:gd name="T4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2" h="90">
                      <a:moveTo>
                        <a:pt x="622" y="0"/>
                      </a:moveTo>
                      <a:lnTo>
                        <a:pt x="0" y="0"/>
                      </a:lnTo>
                      <a:lnTo>
                        <a:pt x="0" y="0"/>
                      </a:lnTo>
                      <a:lnTo>
                        <a:pt x="1" y="9"/>
                      </a:lnTo>
                      <a:lnTo>
                        <a:pt x="2" y="19"/>
                      </a:lnTo>
                      <a:lnTo>
                        <a:pt x="5" y="27"/>
                      </a:lnTo>
                      <a:lnTo>
                        <a:pt x="7" y="36"/>
                      </a:lnTo>
                      <a:lnTo>
                        <a:pt x="10" y="43"/>
                      </a:lnTo>
                      <a:lnTo>
                        <a:pt x="15" y="51"/>
                      </a:lnTo>
                      <a:lnTo>
                        <a:pt x="20" y="57"/>
                      </a:lnTo>
                      <a:lnTo>
                        <a:pt x="26" y="64"/>
                      </a:lnTo>
                      <a:lnTo>
                        <a:pt x="33" y="70"/>
                      </a:lnTo>
                      <a:lnTo>
                        <a:pt x="40" y="75"/>
                      </a:lnTo>
                      <a:lnTo>
                        <a:pt x="47" y="79"/>
                      </a:lnTo>
                      <a:lnTo>
                        <a:pt x="54" y="83"/>
                      </a:lnTo>
                      <a:lnTo>
                        <a:pt x="63" y="85"/>
                      </a:lnTo>
                      <a:lnTo>
                        <a:pt x="71" y="88"/>
                      </a:lnTo>
                      <a:lnTo>
                        <a:pt x="81" y="89"/>
                      </a:lnTo>
                      <a:lnTo>
                        <a:pt x="90" y="90"/>
                      </a:lnTo>
                      <a:lnTo>
                        <a:pt x="622" y="90"/>
                      </a:lnTo>
                      <a:lnTo>
                        <a:pt x="622"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6" name="Freeform 200"/>
                <p:cNvSpPr>
                  <a:spLocks/>
                </p:cNvSpPr>
                <p:nvPr userDrawn="1"/>
              </p:nvSpPr>
              <p:spPr bwMode="auto">
                <a:xfrm>
                  <a:off x="9743621" y="239211"/>
                  <a:ext cx="493713" cy="71438"/>
                </a:xfrm>
                <a:custGeom>
                  <a:avLst/>
                  <a:gdLst>
                    <a:gd name="T0" fmla="*/ 622 w 622"/>
                    <a:gd name="T1" fmla="*/ 0 h 90"/>
                    <a:gd name="T2" fmla="*/ 0 w 622"/>
                    <a:gd name="T3" fmla="*/ 0 h 90"/>
                    <a:gd name="T4" fmla="*/ 0 w 622"/>
                    <a:gd name="T5" fmla="*/ 0 h 90"/>
                    <a:gd name="T6" fmla="*/ 1 w 622"/>
                    <a:gd name="T7" fmla="*/ 9 h 90"/>
                    <a:gd name="T8" fmla="*/ 2 w 622"/>
                    <a:gd name="T9" fmla="*/ 19 h 90"/>
                    <a:gd name="T10" fmla="*/ 5 w 622"/>
                    <a:gd name="T11" fmla="*/ 27 h 90"/>
                    <a:gd name="T12" fmla="*/ 7 w 622"/>
                    <a:gd name="T13" fmla="*/ 36 h 90"/>
                    <a:gd name="T14" fmla="*/ 10 w 622"/>
                    <a:gd name="T15" fmla="*/ 43 h 90"/>
                    <a:gd name="T16" fmla="*/ 15 w 622"/>
                    <a:gd name="T17" fmla="*/ 51 h 90"/>
                    <a:gd name="T18" fmla="*/ 20 w 622"/>
                    <a:gd name="T19" fmla="*/ 57 h 90"/>
                    <a:gd name="T20" fmla="*/ 26 w 622"/>
                    <a:gd name="T21" fmla="*/ 64 h 90"/>
                    <a:gd name="T22" fmla="*/ 33 w 622"/>
                    <a:gd name="T23" fmla="*/ 70 h 90"/>
                    <a:gd name="T24" fmla="*/ 40 w 622"/>
                    <a:gd name="T25" fmla="*/ 75 h 90"/>
                    <a:gd name="T26" fmla="*/ 47 w 622"/>
                    <a:gd name="T27" fmla="*/ 79 h 90"/>
                    <a:gd name="T28" fmla="*/ 54 w 622"/>
                    <a:gd name="T29" fmla="*/ 83 h 90"/>
                    <a:gd name="T30" fmla="*/ 63 w 622"/>
                    <a:gd name="T31" fmla="*/ 85 h 90"/>
                    <a:gd name="T32" fmla="*/ 71 w 622"/>
                    <a:gd name="T33" fmla="*/ 88 h 90"/>
                    <a:gd name="T34" fmla="*/ 81 w 622"/>
                    <a:gd name="T35" fmla="*/ 89 h 90"/>
                    <a:gd name="T36" fmla="*/ 90 w 622"/>
                    <a:gd name="T37" fmla="*/ 90 h 90"/>
                    <a:gd name="T38" fmla="*/ 622 w 622"/>
                    <a:gd name="T39" fmla="*/ 90 h 90"/>
                    <a:gd name="T40" fmla="*/ 622 w 622"/>
                    <a:gd name="T4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2" h="90">
                      <a:moveTo>
                        <a:pt x="622" y="0"/>
                      </a:moveTo>
                      <a:lnTo>
                        <a:pt x="0" y="0"/>
                      </a:lnTo>
                      <a:lnTo>
                        <a:pt x="0" y="0"/>
                      </a:lnTo>
                      <a:lnTo>
                        <a:pt x="1" y="9"/>
                      </a:lnTo>
                      <a:lnTo>
                        <a:pt x="2" y="19"/>
                      </a:lnTo>
                      <a:lnTo>
                        <a:pt x="5" y="27"/>
                      </a:lnTo>
                      <a:lnTo>
                        <a:pt x="7" y="36"/>
                      </a:lnTo>
                      <a:lnTo>
                        <a:pt x="10" y="43"/>
                      </a:lnTo>
                      <a:lnTo>
                        <a:pt x="15" y="51"/>
                      </a:lnTo>
                      <a:lnTo>
                        <a:pt x="20" y="57"/>
                      </a:lnTo>
                      <a:lnTo>
                        <a:pt x="26" y="64"/>
                      </a:lnTo>
                      <a:lnTo>
                        <a:pt x="33" y="70"/>
                      </a:lnTo>
                      <a:lnTo>
                        <a:pt x="40" y="75"/>
                      </a:lnTo>
                      <a:lnTo>
                        <a:pt x="47" y="79"/>
                      </a:lnTo>
                      <a:lnTo>
                        <a:pt x="54" y="83"/>
                      </a:lnTo>
                      <a:lnTo>
                        <a:pt x="63" y="85"/>
                      </a:lnTo>
                      <a:lnTo>
                        <a:pt x="71" y="88"/>
                      </a:lnTo>
                      <a:lnTo>
                        <a:pt x="81" y="89"/>
                      </a:lnTo>
                      <a:lnTo>
                        <a:pt x="90" y="90"/>
                      </a:lnTo>
                      <a:lnTo>
                        <a:pt x="622" y="90"/>
                      </a:lnTo>
                      <a:lnTo>
                        <a:pt x="6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7" name="Freeform 201"/>
                <p:cNvSpPr>
                  <a:spLocks/>
                </p:cNvSpPr>
                <p:nvPr userDrawn="1"/>
              </p:nvSpPr>
              <p:spPr bwMode="auto">
                <a:xfrm>
                  <a:off x="9913483" y="85224"/>
                  <a:ext cx="323850" cy="82550"/>
                </a:xfrm>
                <a:custGeom>
                  <a:avLst/>
                  <a:gdLst>
                    <a:gd name="T0" fmla="*/ 408 w 408"/>
                    <a:gd name="T1" fmla="*/ 0 h 105"/>
                    <a:gd name="T2" fmla="*/ 408 w 408"/>
                    <a:gd name="T3" fmla="*/ 0 h 105"/>
                    <a:gd name="T4" fmla="*/ 366 w 408"/>
                    <a:gd name="T5" fmla="*/ 1 h 105"/>
                    <a:gd name="T6" fmla="*/ 326 w 408"/>
                    <a:gd name="T7" fmla="*/ 2 h 105"/>
                    <a:gd name="T8" fmla="*/ 286 w 408"/>
                    <a:gd name="T9" fmla="*/ 5 h 105"/>
                    <a:gd name="T10" fmla="*/ 250 w 408"/>
                    <a:gd name="T11" fmla="*/ 8 h 105"/>
                    <a:gd name="T12" fmla="*/ 214 w 408"/>
                    <a:gd name="T13" fmla="*/ 13 h 105"/>
                    <a:gd name="T14" fmla="*/ 181 w 408"/>
                    <a:gd name="T15" fmla="*/ 18 h 105"/>
                    <a:gd name="T16" fmla="*/ 148 w 408"/>
                    <a:gd name="T17" fmla="*/ 24 h 105"/>
                    <a:gd name="T18" fmla="*/ 120 w 408"/>
                    <a:gd name="T19" fmla="*/ 31 h 105"/>
                    <a:gd name="T20" fmla="*/ 94 w 408"/>
                    <a:gd name="T21" fmla="*/ 38 h 105"/>
                    <a:gd name="T22" fmla="*/ 70 w 408"/>
                    <a:gd name="T23" fmla="*/ 46 h 105"/>
                    <a:gd name="T24" fmla="*/ 50 w 408"/>
                    <a:gd name="T25" fmla="*/ 55 h 105"/>
                    <a:gd name="T26" fmla="*/ 32 w 408"/>
                    <a:gd name="T27" fmla="*/ 64 h 105"/>
                    <a:gd name="T28" fmla="*/ 19 w 408"/>
                    <a:gd name="T29" fmla="*/ 74 h 105"/>
                    <a:gd name="T30" fmla="*/ 13 w 408"/>
                    <a:gd name="T31" fmla="*/ 79 h 105"/>
                    <a:gd name="T32" fmla="*/ 8 w 408"/>
                    <a:gd name="T33" fmla="*/ 83 h 105"/>
                    <a:gd name="T34" fmla="*/ 5 w 408"/>
                    <a:gd name="T35" fmla="*/ 89 h 105"/>
                    <a:gd name="T36" fmla="*/ 2 w 408"/>
                    <a:gd name="T37" fmla="*/ 94 h 105"/>
                    <a:gd name="T38" fmla="*/ 1 w 408"/>
                    <a:gd name="T39" fmla="*/ 100 h 105"/>
                    <a:gd name="T40" fmla="*/ 0 w 408"/>
                    <a:gd name="T41" fmla="*/ 105 h 105"/>
                    <a:gd name="T42" fmla="*/ 408 w 408"/>
                    <a:gd name="T43" fmla="*/ 105 h 105"/>
                    <a:gd name="T44" fmla="*/ 408 w 408"/>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8" h="105">
                      <a:moveTo>
                        <a:pt x="408" y="0"/>
                      </a:moveTo>
                      <a:lnTo>
                        <a:pt x="408" y="0"/>
                      </a:lnTo>
                      <a:lnTo>
                        <a:pt x="366" y="1"/>
                      </a:lnTo>
                      <a:lnTo>
                        <a:pt x="326" y="2"/>
                      </a:lnTo>
                      <a:lnTo>
                        <a:pt x="286" y="5"/>
                      </a:lnTo>
                      <a:lnTo>
                        <a:pt x="250" y="8"/>
                      </a:lnTo>
                      <a:lnTo>
                        <a:pt x="214" y="13"/>
                      </a:lnTo>
                      <a:lnTo>
                        <a:pt x="181" y="18"/>
                      </a:lnTo>
                      <a:lnTo>
                        <a:pt x="148" y="24"/>
                      </a:lnTo>
                      <a:lnTo>
                        <a:pt x="120" y="31"/>
                      </a:lnTo>
                      <a:lnTo>
                        <a:pt x="94" y="38"/>
                      </a:lnTo>
                      <a:lnTo>
                        <a:pt x="70" y="46"/>
                      </a:lnTo>
                      <a:lnTo>
                        <a:pt x="50" y="55"/>
                      </a:lnTo>
                      <a:lnTo>
                        <a:pt x="32" y="64"/>
                      </a:lnTo>
                      <a:lnTo>
                        <a:pt x="19" y="74"/>
                      </a:lnTo>
                      <a:lnTo>
                        <a:pt x="13" y="79"/>
                      </a:lnTo>
                      <a:lnTo>
                        <a:pt x="8" y="83"/>
                      </a:lnTo>
                      <a:lnTo>
                        <a:pt x="5" y="89"/>
                      </a:lnTo>
                      <a:lnTo>
                        <a:pt x="2" y="94"/>
                      </a:lnTo>
                      <a:lnTo>
                        <a:pt x="1" y="100"/>
                      </a:lnTo>
                      <a:lnTo>
                        <a:pt x="0" y="105"/>
                      </a:lnTo>
                      <a:lnTo>
                        <a:pt x="408" y="105"/>
                      </a:lnTo>
                      <a:lnTo>
                        <a:pt x="408" y="0"/>
                      </a:lnTo>
                      <a:close/>
                    </a:path>
                  </a:pathLst>
                </a:custGeom>
                <a:solidFill>
                  <a:srgbClr val="3ABA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8" name="Freeform 202"/>
                <p:cNvSpPr>
                  <a:spLocks/>
                </p:cNvSpPr>
                <p:nvPr userDrawn="1"/>
              </p:nvSpPr>
              <p:spPr bwMode="auto">
                <a:xfrm>
                  <a:off x="9669008" y="493211"/>
                  <a:ext cx="568325" cy="260350"/>
                </a:xfrm>
                <a:custGeom>
                  <a:avLst/>
                  <a:gdLst>
                    <a:gd name="T0" fmla="*/ 0 w 716"/>
                    <a:gd name="T1" fmla="*/ 0 h 328"/>
                    <a:gd name="T2" fmla="*/ 0 w 716"/>
                    <a:gd name="T3" fmla="*/ 0 h 328"/>
                    <a:gd name="T4" fmla="*/ 1 w 716"/>
                    <a:gd name="T5" fmla="*/ 16 h 328"/>
                    <a:gd name="T6" fmla="*/ 3 w 716"/>
                    <a:gd name="T7" fmla="*/ 33 h 328"/>
                    <a:gd name="T8" fmla="*/ 8 w 716"/>
                    <a:gd name="T9" fmla="*/ 50 h 328"/>
                    <a:gd name="T10" fmla="*/ 14 w 716"/>
                    <a:gd name="T11" fmla="*/ 66 h 328"/>
                    <a:gd name="T12" fmla="*/ 22 w 716"/>
                    <a:gd name="T13" fmla="*/ 82 h 328"/>
                    <a:gd name="T14" fmla="*/ 32 w 716"/>
                    <a:gd name="T15" fmla="*/ 97 h 328"/>
                    <a:gd name="T16" fmla="*/ 43 w 716"/>
                    <a:gd name="T17" fmla="*/ 113 h 328"/>
                    <a:gd name="T18" fmla="*/ 56 w 716"/>
                    <a:gd name="T19" fmla="*/ 128 h 328"/>
                    <a:gd name="T20" fmla="*/ 70 w 716"/>
                    <a:gd name="T21" fmla="*/ 142 h 328"/>
                    <a:gd name="T22" fmla="*/ 87 w 716"/>
                    <a:gd name="T23" fmla="*/ 157 h 328"/>
                    <a:gd name="T24" fmla="*/ 103 w 716"/>
                    <a:gd name="T25" fmla="*/ 170 h 328"/>
                    <a:gd name="T26" fmla="*/ 122 w 716"/>
                    <a:gd name="T27" fmla="*/ 184 h 328"/>
                    <a:gd name="T28" fmla="*/ 143 w 716"/>
                    <a:gd name="T29" fmla="*/ 196 h 328"/>
                    <a:gd name="T30" fmla="*/ 163 w 716"/>
                    <a:gd name="T31" fmla="*/ 209 h 328"/>
                    <a:gd name="T32" fmla="*/ 185 w 716"/>
                    <a:gd name="T33" fmla="*/ 221 h 328"/>
                    <a:gd name="T34" fmla="*/ 209 w 716"/>
                    <a:gd name="T35" fmla="*/ 231 h 328"/>
                    <a:gd name="T36" fmla="*/ 234 w 716"/>
                    <a:gd name="T37" fmla="*/ 243 h 328"/>
                    <a:gd name="T38" fmla="*/ 260 w 716"/>
                    <a:gd name="T39" fmla="*/ 253 h 328"/>
                    <a:gd name="T40" fmla="*/ 288 w 716"/>
                    <a:gd name="T41" fmla="*/ 264 h 328"/>
                    <a:gd name="T42" fmla="*/ 315 w 716"/>
                    <a:gd name="T43" fmla="*/ 272 h 328"/>
                    <a:gd name="T44" fmla="*/ 345 w 716"/>
                    <a:gd name="T45" fmla="*/ 280 h 328"/>
                    <a:gd name="T46" fmla="*/ 374 w 716"/>
                    <a:gd name="T47" fmla="*/ 288 h 328"/>
                    <a:gd name="T48" fmla="*/ 405 w 716"/>
                    <a:gd name="T49" fmla="*/ 296 h 328"/>
                    <a:gd name="T50" fmla="*/ 437 w 716"/>
                    <a:gd name="T51" fmla="*/ 303 h 328"/>
                    <a:gd name="T52" fmla="*/ 470 w 716"/>
                    <a:gd name="T53" fmla="*/ 309 h 328"/>
                    <a:gd name="T54" fmla="*/ 503 w 716"/>
                    <a:gd name="T55" fmla="*/ 313 h 328"/>
                    <a:gd name="T56" fmla="*/ 537 w 716"/>
                    <a:gd name="T57" fmla="*/ 318 h 328"/>
                    <a:gd name="T58" fmla="*/ 572 w 716"/>
                    <a:gd name="T59" fmla="*/ 322 h 328"/>
                    <a:gd name="T60" fmla="*/ 606 w 716"/>
                    <a:gd name="T61" fmla="*/ 324 h 328"/>
                    <a:gd name="T62" fmla="*/ 643 w 716"/>
                    <a:gd name="T63" fmla="*/ 327 h 328"/>
                    <a:gd name="T64" fmla="*/ 679 w 716"/>
                    <a:gd name="T65" fmla="*/ 328 h 328"/>
                    <a:gd name="T66" fmla="*/ 716 w 716"/>
                    <a:gd name="T67" fmla="*/ 328 h 328"/>
                    <a:gd name="T68" fmla="*/ 716 w 716"/>
                    <a:gd name="T69" fmla="*/ 0 h 328"/>
                    <a:gd name="T70" fmla="*/ 0 w 716"/>
                    <a:gd name="T71"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16" h="328">
                      <a:moveTo>
                        <a:pt x="0" y="0"/>
                      </a:moveTo>
                      <a:lnTo>
                        <a:pt x="0" y="0"/>
                      </a:lnTo>
                      <a:lnTo>
                        <a:pt x="1" y="16"/>
                      </a:lnTo>
                      <a:lnTo>
                        <a:pt x="3" y="33"/>
                      </a:lnTo>
                      <a:lnTo>
                        <a:pt x="8" y="50"/>
                      </a:lnTo>
                      <a:lnTo>
                        <a:pt x="14" y="66"/>
                      </a:lnTo>
                      <a:lnTo>
                        <a:pt x="22" y="82"/>
                      </a:lnTo>
                      <a:lnTo>
                        <a:pt x="32" y="97"/>
                      </a:lnTo>
                      <a:lnTo>
                        <a:pt x="43" y="113"/>
                      </a:lnTo>
                      <a:lnTo>
                        <a:pt x="56" y="128"/>
                      </a:lnTo>
                      <a:lnTo>
                        <a:pt x="70" y="142"/>
                      </a:lnTo>
                      <a:lnTo>
                        <a:pt x="87" y="157"/>
                      </a:lnTo>
                      <a:lnTo>
                        <a:pt x="103" y="170"/>
                      </a:lnTo>
                      <a:lnTo>
                        <a:pt x="122" y="184"/>
                      </a:lnTo>
                      <a:lnTo>
                        <a:pt x="143" y="196"/>
                      </a:lnTo>
                      <a:lnTo>
                        <a:pt x="163" y="209"/>
                      </a:lnTo>
                      <a:lnTo>
                        <a:pt x="185" y="221"/>
                      </a:lnTo>
                      <a:lnTo>
                        <a:pt x="209" y="231"/>
                      </a:lnTo>
                      <a:lnTo>
                        <a:pt x="234" y="243"/>
                      </a:lnTo>
                      <a:lnTo>
                        <a:pt x="260" y="253"/>
                      </a:lnTo>
                      <a:lnTo>
                        <a:pt x="288" y="264"/>
                      </a:lnTo>
                      <a:lnTo>
                        <a:pt x="315" y="272"/>
                      </a:lnTo>
                      <a:lnTo>
                        <a:pt x="345" y="280"/>
                      </a:lnTo>
                      <a:lnTo>
                        <a:pt x="374" y="288"/>
                      </a:lnTo>
                      <a:lnTo>
                        <a:pt x="405" y="296"/>
                      </a:lnTo>
                      <a:lnTo>
                        <a:pt x="437" y="303"/>
                      </a:lnTo>
                      <a:lnTo>
                        <a:pt x="470" y="309"/>
                      </a:lnTo>
                      <a:lnTo>
                        <a:pt x="503" y="313"/>
                      </a:lnTo>
                      <a:lnTo>
                        <a:pt x="537" y="318"/>
                      </a:lnTo>
                      <a:lnTo>
                        <a:pt x="572" y="322"/>
                      </a:lnTo>
                      <a:lnTo>
                        <a:pt x="606" y="324"/>
                      </a:lnTo>
                      <a:lnTo>
                        <a:pt x="643" y="327"/>
                      </a:lnTo>
                      <a:lnTo>
                        <a:pt x="679" y="328"/>
                      </a:lnTo>
                      <a:lnTo>
                        <a:pt x="716" y="328"/>
                      </a:lnTo>
                      <a:lnTo>
                        <a:pt x="716" y="0"/>
                      </a:lnTo>
                      <a:lnTo>
                        <a:pt x="0"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19" name="Freeform 203"/>
                <p:cNvSpPr>
                  <a:spLocks/>
                </p:cNvSpPr>
                <p:nvPr userDrawn="1"/>
              </p:nvSpPr>
              <p:spPr bwMode="auto">
                <a:xfrm>
                  <a:off x="9669008" y="493211"/>
                  <a:ext cx="568325" cy="260350"/>
                </a:xfrm>
                <a:custGeom>
                  <a:avLst/>
                  <a:gdLst>
                    <a:gd name="T0" fmla="*/ 0 w 716"/>
                    <a:gd name="T1" fmla="*/ 0 h 328"/>
                    <a:gd name="T2" fmla="*/ 0 w 716"/>
                    <a:gd name="T3" fmla="*/ 0 h 328"/>
                    <a:gd name="T4" fmla="*/ 1 w 716"/>
                    <a:gd name="T5" fmla="*/ 16 h 328"/>
                    <a:gd name="T6" fmla="*/ 3 w 716"/>
                    <a:gd name="T7" fmla="*/ 33 h 328"/>
                    <a:gd name="T8" fmla="*/ 8 w 716"/>
                    <a:gd name="T9" fmla="*/ 50 h 328"/>
                    <a:gd name="T10" fmla="*/ 14 w 716"/>
                    <a:gd name="T11" fmla="*/ 66 h 328"/>
                    <a:gd name="T12" fmla="*/ 22 w 716"/>
                    <a:gd name="T13" fmla="*/ 82 h 328"/>
                    <a:gd name="T14" fmla="*/ 32 w 716"/>
                    <a:gd name="T15" fmla="*/ 97 h 328"/>
                    <a:gd name="T16" fmla="*/ 43 w 716"/>
                    <a:gd name="T17" fmla="*/ 113 h 328"/>
                    <a:gd name="T18" fmla="*/ 56 w 716"/>
                    <a:gd name="T19" fmla="*/ 128 h 328"/>
                    <a:gd name="T20" fmla="*/ 70 w 716"/>
                    <a:gd name="T21" fmla="*/ 142 h 328"/>
                    <a:gd name="T22" fmla="*/ 87 w 716"/>
                    <a:gd name="T23" fmla="*/ 157 h 328"/>
                    <a:gd name="T24" fmla="*/ 103 w 716"/>
                    <a:gd name="T25" fmla="*/ 170 h 328"/>
                    <a:gd name="T26" fmla="*/ 122 w 716"/>
                    <a:gd name="T27" fmla="*/ 184 h 328"/>
                    <a:gd name="T28" fmla="*/ 143 w 716"/>
                    <a:gd name="T29" fmla="*/ 196 h 328"/>
                    <a:gd name="T30" fmla="*/ 163 w 716"/>
                    <a:gd name="T31" fmla="*/ 209 h 328"/>
                    <a:gd name="T32" fmla="*/ 185 w 716"/>
                    <a:gd name="T33" fmla="*/ 221 h 328"/>
                    <a:gd name="T34" fmla="*/ 209 w 716"/>
                    <a:gd name="T35" fmla="*/ 231 h 328"/>
                    <a:gd name="T36" fmla="*/ 234 w 716"/>
                    <a:gd name="T37" fmla="*/ 243 h 328"/>
                    <a:gd name="T38" fmla="*/ 260 w 716"/>
                    <a:gd name="T39" fmla="*/ 253 h 328"/>
                    <a:gd name="T40" fmla="*/ 288 w 716"/>
                    <a:gd name="T41" fmla="*/ 264 h 328"/>
                    <a:gd name="T42" fmla="*/ 315 w 716"/>
                    <a:gd name="T43" fmla="*/ 272 h 328"/>
                    <a:gd name="T44" fmla="*/ 345 w 716"/>
                    <a:gd name="T45" fmla="*/ 280 h 328"/>
                    <a:gd name="T46" fmla="*/ 374 w 716"/>
                    <a:gd name="T47" fmla="*/ 288 h 328"/>
                    <a:gd name="T48" fmla="*/ 405 w 716"/>
                    <a:gd name="T49" fmla="*/ 296 h 328"/>
                    <a:gd name="T50" fmla="*/ 437 w 716"/>
                    <a:gd name="T51" fmla="*/ 303 h 328"/>
                    <a:gd name="T52" fmla="*/ 470 w 716"/>
                    <a:gd name="T53" fmla="*/ 309 h 328"/>
                    <a:gd name="T54" fmla="*/ 503 w 716"/>
                    <a:gd name="T55" fmla="*/ 313 h 328"/>
                    <a:gd name="T56" fmla="*/ 537 w 716"/>
                    <a:gd name="T57" fmla="*/ 318 h 328"/>
                    <a:gd name="T58" fmla="*/ 572 w 716"/>
                    <a:gd name="T59" fmla="*/ 322 h 328"/>
                    <a:gd name="T60" fmla="*/ 606 w 716"/>
                    <a:gd name="T61" fmla="*/ 324 h 328"/>
                    <a:gd name="T62" fmla="*/ 643 w 716"/>
                    <a:gd name="T63" fmla="*/ 327 h 328"/>
                    <a:gd name="T64" fmla="*/ 679 w 716"/>
                    <a:gd name="T65" fmla="*/ 328 h 328"/>
                    <a:gd name="T66" fmla="*/ 716 w 716"/>
                    <a:gd name="T67" fmla="*/ 328 h 328"/>
                    <a:gd name="T68" fmla="*/ 716 w 716"/>
                    <a:gd name="T69" fmla="*/ 0 h 328"/>
                    <a:gd name="T70" fmla="*/ 0 w 716"/>
                    <a:gd name="T71"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16" h="328">
                      <a:moveTo>
                        <a:pt x="0" y="0"/>
                      </a:moveTo>
                      <a:lnTo>
                        <a:pt x="0" y="0"/>
                      </a:lnTo>
                      <a:lnTo>
                        <a:pt x="1" y="16"/>
                      </a:lnTo>
                      <a:lnTo>
                        <a:pt x="3" y="33"/>
                      </a:lnTo>
                      <a:lnTo>
                        <a:pt x="8" y="50"/>
                      </a:lnTo>
                      <a:lnTo>
                        <a:pt x="14" y="66"/>
                      </a:lnTo>
                      <a:lnTo>
                        <a:pt x="22" y="82"/>
                      </a:lnTo>
                      <a:lnTo>
                        <a:pt x="32" y="97"/>
                      </a:lnTo>
                      <a:lnTo>
                        <a:pt x="43" y="113"/>
                      </a:lnTo>
                      <a:lnTo>
                        <a:pt x="56" y="128"/>
                      </a:lnTo>
                      <a:lnTo>
                        <a:pt x="70" y="142"/>
                      </a:lnTo>
                      <a:lnTo>
                        <a:pt x="87" y="157"/>
                      </a:lnTo>
                      <a:lnTo>
                        <a:pt x="103" y="170"/>
                      </a:lnTo>
                      <a:lnTo>
                        <a:pt x="122" y="184"/>
                      </a:lnTo>
                      <a:lnTo>
                        <a:pt x="143" y="196"/>
                      </a:lnTo>
                      <a:lnTo>
                        <a:pt x="163" y="209"/>
                      </a:lnTo>
                      <a:lnTo>
                        <a:pt x="185" y="221"/>
                      </a:lnTo>
                      <a:lnTo>
                        <a:pt x="209" y="231"/>
                      </a:lnTo>
                      <a:lnTo>
                        <a:pt x="234" y="243"/>
                      </a:lnTo>
                      <a:lnTo>
                        <a:pt x="260" y="253"/>
                      </a:lnTo>
                      <a:lnTo>
                        <a:pt x="288" y="264"/>
                      </a:lnTo>
                      <a:lnTo>
                        <a:pt x="315" y="272"/>
                      </a:lnTo>
                      <a:lnTo>
                        <a:pt x="345" y="280"/>
                      </a:lnTo>
                      <a:lnTo>
                        <a:pt x="374" y="288"/>
                      </a:lnTo>
                      <a:lnTo>
                        <a:pt x="405" y="296"/>
                      </a:lnTo>
                      <a:lnTo>
                        <a:pt x="437" y="303"/>
                      </a:lnTo>
                      <a:lnTo>
                        <a:pt x="470" y="309"/>
                      </a:lnTo>
                      <a:lnTo>
                        <a:pt x="503" y="313"/>
                      </a:lnTo>
                      <a:lnTo>
                        <a:pt x="537" y="318"/>
                      </a:lnTo>
                      <a:lnTo>
                        <a:pt x="572" y="322"/>
                      </a:lnTo>
                      <a:lnTo>
                        <a:pt x="606" y="324"/>
                      </a:lnTo>
                      <a:lnTo>
                        <a:pt x="643" y="327"/>
                      </a:lnTo>
                      <a:lnTo>
                        <a:pt x="679" y="328"/>
                      </a:lnTo>
                      <a:lnTo>
                        <a:pt x="716" y="328"/>
                      </a:lnTo>
                      <a:lnTo>
                        <a:pt x="71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0" name="Freeform 204"/>
                <p:cNvSpPr>
                  <a:spLocks/>
                </p:cNvSpPr>
                <p:nvPr userDrawn="1"/>
              </p:nvSpPr>
              <p:spPr bwMode="auto">
                <a:xfrm>
                  <a:off x="9449933" y="310649"/>
                  <a:ext cx="787400" cy="182563"/>
                </a:xfrm>
                <a:custGeom>
                  <a:avLst/>
                  <a:gdLst>
                    <a:gd name="T0" fmla="*/ 0 w 992"/>
                    <a:gd name="T1" fmla="*/ 230 h 230"/>
                    <a:gd name="T2" fmla="*/ 992 w 992"/>
                    <a:gd name="T3" fmla="*/ 230 h 230"/>
                    <a:gd name="T4" fmla="*/ 992 w 992"/>
                    <a:gd name="T5" fmla="*/ 0 h 230"/>
                    <a:gd name="T6" fmla="*/ 460 w 992"/>
                    <a:gd name="T7" fmla="*/ 0 h 230"/>
                    <a:gd name="T8" fmla="*/ 0 w 992"/>
                    <a:gd name="T9" fmla="*/ 230 h 230"/>
                  </a:gdLst>
                  <a:ahLst/>
                  <a:cxnLst>
                    <a:cxn ang="0">
                      <a:pos x="T0" y="T1"/>
                    </a:cxn>
                    <a:cxn ang="0">
                      <a:pos x="T2" y="T3"/>
                    </a:cxn>
                    <a:cxn ang="0">
                      <a:pos x="T4" y="T5"/>
                    </a:cxn>
                    <a:cxn ang="0">
                      <a:pos x="T6" y="T7"/>
                    </a:cxn>
                    <a:cxn ang="0">
                      <a:pos x="T8" y="T9"/>
                    </a:cxn>
                  </a:cxnLst>
                  <a:rect l="0" t="0" r="r" b="b"/>
                  <a:pathLst>
                    <a:path w="992" h="230">
                      <a:moveTo>
                        <a:pt x="0" y="230"/>
                      </a:moveTo>
                      <a:lnTo>
                        <a:pt x="992" y="230"/>
                      </a:lnTo>
                      <a:lnTo>
                        <a:pt x="992" y="0"/>
                      </a:lnTo>
                      <a:lnTo>
                        <a:pt x="460" y="0"/>
                      </a:lnTo>
                      <a:lnTo>
                        <a:pt x="0" y="230"/>
                      </a:lnTo>
                      <a:close/>
                    </a:path>
                  </a:pathLst>
                </a:custGeom>
                <a:solidFill>
                  <a:srgbClr val="3ABA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1" name="Freeform 205"/>
                <p:cNvSpPr>
                  <a:spLocks/>
                </p:cNvSpPr>
                <p:nvPr userDrawn="1"/>
              </p:nvSpPr>
              <p:spPr bwMode="auto">
                <a:xfrm>
                  <a:off x="9449933" y="310649"/>
                  <a:ext cx="787400" cy="182563"/>
                </a:xfrm>
                <a:custGeom>
                  <a:avLst/>
                  <a:gdLst>
                    <a:gd name="T0" fmla="*/ 0 w 992"/>
                    <a:gd name="T1" fmla="*/ 230 h 230"/>
                    <a:gd name="T2" fmla="*/ 992 w 992"/>
                    <a:gd name="T3" fmla="*/ 230 h 230"/>
                    <a:gd name="T4" fmla="*/ 992 w 992"/>
                    <a:gd name="T5" fmla="*/ 0 h 230"/>
                    <a:gd name="T6" fmla="*/ 460 w 992"/>
                    <a:gd name="T7" fmla="*/ 0 h 230"/>
                    <a:gd name="T8" fmla="*/ 0 w 992"/>
                    <a:gd name="T9" fmla="*/ 230 h 230"/>
                  </a:gdLst>
                  <a:ahLst/>
                  <a:cxnLst>
                    <a:cxn ang="0">
                      <a:pos x="T0" y="T1"/>
                    </a:cxn>
                    <a:cxn ang="0">
                      <a:pos x="T2" y="T3"/>
                    </a:cxn>
                    <a:cxn ang="0">
                      <a:pos x="T4" y="T5"/>
                    </a:cxn>
                    <a:cxn ang="0">
                      <a:pos x="T6" y="T7"/>
                    </a:cxn>
                    <a:cxn ang="0">
                      <a:pos x="T8" y="T9"/>
                    </a:cxn>
                  </a:cxnLst>
                  <a:rect l="0" t="0" r="r" b="b"/>
                  <a:pathLst>
                    <a:path w="992" h="230">
                      <a:moveTo>
                        <a:pt x="0" y="230"/>
                      </a:moveTo>
                      <a:lnTo>
                        <a:pt x="992" y="230"/>
                      </a:lnTo>
                      <a:lnTo>
                        <a:pt x="992" y="0"/>
                      </a:lnTo>
                      <a:lnTo>
                        <a:pt x="460" y="0"/>
                      </a:lnTo>
                      <a:lnTo>
                        <a:pt x="0" y="23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2" name="Freeform 206"/>
                <p:cNvSpPr>
                  <a:spLocks/>
                </p:cNvSpPr>
                <p:nvPr userDrawn="1"/>
              </p:nvSpPr>
              <p:spPr bwMode="auto">
                <a:xfrm>
                  <a:off x="10192883" y="-110039"/>
                  <a:ext cx="88900" cy="87313"/>
                </a:xfrm>
                <a:custGeom>
                  <a:avLst/>
                  <a:gdLst>
                    <a:gd name="T0" fmla="*/ 111 w 111"/>
                    <a:gd name="T1" fmla="*/ 56 h 111"/>
                    <a:gd name="T2" fmla="*/ 111 w 111"/>
                    <a:gd name="T3" fmla="*/ 56 h 111"/>
                    <a:gd name="T4" fmla="*/ 109 w 111"/>
                    <a:gd name="T5" fmla="*/ 67 h 111"/>
                    <a:gd name="T6" fmla="*/ 106 w 111"/>
                    <a:gd name="T7" fmla="*/ 77 h 111"/>
                    <a:gd name="T8" fmla="*/ 101 w 111"/>
                    <a:gd name="T9" fmla="*/ 86 h 111"/>
                    <a:gd name="T10" fmla="*/ 94 w 111"/>
                    <a:gd name="T11" fmla="*/ 94 h 111"/>
                    <a:gd name="T12" fmla="*/ 86 w 111"/>
                    <a:gd name="T13" fmla="*/ 101 h 111"/>
                    <a:gd name="T14" fmla="*/ 76 w 111"/>
                    <a:gd name="T15" fmla="*/ 106 h 111"/>
                    <a:gd name="T16" fmla="*/ 65 w 111"/>
                    <a:gd name="T17" fmla="*/ 109 h 111"/>
                    <a:gd name="T18" fmla="*/ 55 w 111"/>
                    <a:gd name="T19" fmla="*/ 111 h 111"/>
                    <a:gd name="T20" fmla="*/ 55 w 111"/>
                    <a:gd name="T21" fmla="*/ 111 h 111"/>
                    <a:gd name="T22" fmla="*/ 44 w 111"/>
                    <a:gd name="T23" fmla="*/ 109 h 111"/>
                    <a:gd name="T24" fmla="*/ 33 w 111"/>
                    <a:gd name="T25" fmla="*/ 106 h 111"/>
                    <a:gd name="T26" fmla="*/ 24 w 111"/>
                    <a:gd name="T27" fmla="*/ 101 h 111"/>
                    <a:gd name="T28" fmla="*/ 15 w 111"/>
                    <a:gd name="T29" fmla="*/ 94 h 111"/>
                    <a:gd name="T30" fmla="*/ 9 w 111"/>
                    <a:gd name="T31" fmla="*/ 86 h 111"/>
                    <a:gd name="T32" fmla="*/ 4 w 111"/>
                    <a:gd name="T33" fmla="*/ 77 h 111"/>
                    <a:gd name="T34" fmla="*/ 1 w 111"/>
                    <a:gd name="T35" fmla="*/ 67 h 111"/>
                    <a:gd name="T36" fmla="*/ 0 w 111"/>
                    <a:gd name="T37" fmla="*/ 56 h 111"/>
                    <a:gd name="T38" fmla="*/ 0 w 111"/>
                    <a:gd name="T39" fmla="*/ 56 h 111"/>
                    <a:gd name="T40" fmla="*/ 1 w 111"/>
                    <a:gd name="T41" fmla="*/ 44 h 111"/>
                    <a:gd name="T42" fmla="*/ 4 w 111"/>
                    <a:gd name="T43" fmla="*/ 33 h 111"/>
                    <a:gd name="T44" fmla="*/ 9 w 111"/>
                    <a:gd name="T45" fmla="*/ 25 h 111"/>
                    <a:gd name="T46" fmla="*/ 15 w 111"/>
                    <a:gd name="T47" fmla="*/ 17 h 111"/>
                    <a:gd name="T48" fmla="*/ 24 w 111"/>
                    <a:gd name="T49" fmla="*/ 10 h 111"/>
                    <a:gd name="T50" fmla="*/ 33 w 111"/>
                    <a:gd name="T51" fmla="*/ 5 h 111"/>
                    <a:gd name="T52" fmla="*/ 44 w 111"/>
                    <a:gd name="T53" fmla="*/ 1 h 111"/>
                    <a:gd name="T54" fmla="*/ 55 w 111"/>
                    <a:gd name="T55" fmla="*/ 0 h 111"/>
                    <a:gd name="T56" fmla="*/ 55 w 111"/>
                    <a:gd name="T57" fmla="*/ 0 h 111"/>
                    <a:gd name="T58" fmla="*/ 65 w 111"/>
                    <a:gd name="T59" fmla="*/ 1 h 111"/>
                    <a:gd name="T60" fmla="*/ 76 w 111"/>
                    <a:gd name="T61" fmla="*/ 5 h 111"/>
                    <a:gd name="T62" fmla="*/ 86 w 111"/>
                    <a:gd name="T63" fmla="*/ 10 h 111"/>
                    <a:gd name="T64" fmla="*/ 94 w 111"/>
                    <a:gd name="T65" fmla="*/ 17 h 111"/>
                    <a:gd name="T66" fmla="*/ 101 w 111"/>
                    <a:gd name="T67" fmla="*/ 25 h 111"/>
                    <a:gd name="T68" fmla="*/ 106 w 111"/>
                    <a:gd name="T69" fmla="*/ 33 h 111"/>
                    <a:gd name="T70" fmla="*/ 109 w 111"/>
                    <a:gd name="T71" fmla="*/ 44 h 111"/>
                    <a:gd name="T72" fmla="*/ 111 w 111"/>
                    <a:gd name="T73" fmla="*/ 56 h 111"/>
                    <a:gd name="T74" fmla="*/ 111 w 111"/>
                    <a:gd name="T75" fmla="*/ 56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1" h="111">
                      <a:moveTo>
                        <a:pt x="111" y="56"/>
                      </a:moveTo>
                      <a:lnTo>
                        <a:pt x="111" y="56"/>
                      </a:lnTo>
                      <a:lnTo>
                        <a:pt x="109" y="67"/>
                      </a:lnTo>
                      <a:lnTo>
                        <a:pt x="106" y="77"/>
                      </a:lnTo>
                      <a:lnTo>
                        <a:pt x="101" y="86"/>
                      </a:lnTo>
                      <a:lnTo>
                        <a:pt x="94" y="94"/>
                      </a:lnTo>
                      <a:lnTo>
                        <a:pt x="86" y="101"/>
                      </a:lnTo>
                      <a:lnTo>
                        <a:pt x="76" y="106"/>
                      </a:lnTo>
                      <a:lnTo>
                        <a:pt x="65" y="109"/>
                      </a:lnTo>
                      <a:lnTo>
                        <a:pt x="55" y="111"/>
                      </a:lnTo>
                      <a:lnTo>
                        <a:pt x="55" y="111"/>
                      </a:lnTo>
                      <a:lnTo>
                        <a:pt x="44" y="109"/>
                      </a:lnTo>
                      <a:lnTo>
                        <a:pt x="33" y="106"/>
                      </a:lnTo>
                      <a:lnTo>
                        <a:pt x="24" y="101"/>
                      </a:lnTo>
                      <a:lnTo>
                        <a:pt x="15" y="94"/>
                      </a:lnTo>
                      <a:lnTo>
                        <a:pt x="9" y="86"/>
                      </a:lnTo>
                      <a:lnTo>
                        <a:pt x="4" y="77"/>
                      </a:lnTo>
                      <a:lnTo>
                        <a:pt x="1" y="67"/>
                      </a:lnTo>
                      <a:lnTo>
                        <a:pt x="0" y="56"/>
                      </a:lnTo>
                      <a:lnTo>
                        <a:pt x="0" y="56"/>
                      </a:lnTo>
                      <a:lnTo>
                        <a:pt x="1" y="44"/>
                      </a:lnTo>
                      <a:lnTo>
                        <a:pt x="4" y="33"/>
                      </a:lnTo>
                      <a:lnTo>
                        <a:pt x="9" y="25"/>
                      </a:lnTo>
                      <a:lnTo>
                        <a:pt x="15" y="17"/>
                      </a:lnTo>
                      <a:lnTo>
                        <a:pt x="24" y="10"/>
                      </a:lnTo>
                      <a:lnTo>
                        <a:pt x="33" y="5"/>
                      </a:lnTo>
                      <a:lnTo>
                        <a:pt x="44" y="1"/>
                      </a:lnTo>
                      <a:lnTo>
                        <a:pt x="55" y="0"/>
                      </a:lnTo>
                      <a:lnTo>
                        <a:pt x="55" y="0"/>
                      </a:lnTo>
                      <a:lnTo>
                        <a:pt x="65" y="1"/>
                      </a:lnTo>
                      <a:lnTo>
                        <a:pt x="76" y="5"/>
                      </a:lnTo>
                      <a:lnTo>
                        <a:pt x="86" y="10"/>
                      </a:lnTo>
                      <a:lnTo>
                        <a:pt x="94" y="17"/>
                      </a:lnTo>
                      <a:lnTo>
                        <a:pt x="101" y="25"/>
                      </a:lnTo>
                      <a:lnTo>
                        <a:pt x="106" y="33"/>
                      </a:lnTo>
                      <a:lnTo>
                        <a:pt x="109" y="44"/>
                      </a:lnTo>
                      <a:lnTo>
                        <a:pt x="111" y="56"/>
                      </a:lnTo>
                      <a:lnTo>
                        <a:pt x="111" y="56"/>
                      </a:lnTo>
                      <a:close/>
                    </a:path>
                  </a:pathLst>
                </a:custGeom>
                <a:solidFill>
                  <a:srgbClr val="3ABA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3" name="Freeform 207"/>
                <p:cNvSpPr>
                  <a:spLocks/>
                </p:cNvSpPr>
                <p:nvPr userDrawn="1"/>
              </p:nvSpPr>
              <p:spPr bwMode="auto">
                <a:xfrm>
                  <a:off x="10207171" y="-94164"/>
                  <a:ext cx="41275" cy="42863"/>
                </a:xfrm>
                <a:custGeom>
                  <a:avLst/>
                  <a:gdLst>
                    <a:gd name="T0" fmla="*/ 52 w 52"/>
                    <a:gd name="T1" fmla="*/ 26 h 54"/>
                    <a:gd name="T2" fmla="*/ 52 w 52"/>
                    <a:gd name="T3" fmla="*/ 26 h 54"/>
                    <a:gd name="T4" fmla="*/ 52 w 52"/>
                    <a:gd name="T5" fmla="*/ 32 h 54"/>
                    <a:gd name="T6" fmla="*/ 51 w 52"/>
                    <a:gd name="T7" fmla="*/ 37 h 54"/>
                    <a:gd name="T8" fmla="*/ 48 w 52"/>
                    <a:gd name="T9" fmla="*/ 42 h 54"/>
                    <a:gd name="T10" fmla="*/ 45 w 52"/>
                    <a:gd name="T11" fmla="*/ 45 h 54"/>
                    <a:gd name="T12" fmla="*/ 41 w 52"/>
                    <a:gd name="T13" fmla="*/ 49 h 54"/>
                    <a:gd name="T14" fmla="*/ 36 w 52"/>
                    <a:gd name="T15" fmla="*/ 51 h 54"/>
                    <a:gd name="T16" fmla="*/ 32 w 52"/>
                    <a:gd name="T17" fmla="*/ 53 h 54"/>
                    <a:gd name="T18" fmla="*/ 26 w 52"/>
                    <a:gd name="T19" fmla="*/ 54 h 54"/>
                    <a:gd name="T20" fmla="*/ 26 w 52"/>
                    <a:gd name="T21" fmla="*/ 54 h 54"/>
                    <a:gd name="T22" fmla="*/ 21 w 52"/>
                    <a:gd name="T23" fmla="*/ 53 h 54"/>
                    <a:gd name="T24" fmla="*/ 16 w 52"/>
                    <a:gd name="T25" fmla="*/ 51 h 54"/>
                    <a:gd name="T26" fmla="*/ 11 w 52"/>
                    <a:gd name="T27" fmla="*/ 49 h 54"/>
                    <a:gd name="T28" fmla="*/ 8 w 52"/>
                    <a:gd name="T29" fmla="*/ 45 h 54"/>
                    <a:gd name="T30" fmla="*/ 4 w 52"/>
                    <a:gd name="T31" fmla="*/ 42 h 54"/>
                    <a:gd name="T32" fmla="*/ 2 w 52"/>
                    <a:gd name="T33" fmla="*/ 37 h 54"/>
                    <a:gd name="T34" fmla="*/ 1 w 52"/>
                    <a:gd name="T35" fmla="*/ 32 h 54"/>
                    <a:gd name="T36" fmla="*/ 0 w 52"/>
                    <a:gd name="T37" fmla="*/ 26 h 54"/>
                    <a:gd name="T38" fmla="*/ 0 w 52"/>
                    <a:gd name="T39" fmla="*/ 26 h 54"/>
                    <a:gd name="T40" fmla="*/ 1 w 52"/>
                    <a:gd name="T41" fmla="*/ 22 h 54"/>
                    <a:gd name="T42" fmla="*/ 2 w 52"/>
                    <a:gd name="T43" fmla="*/ 17 h 54"/>
                    <a:gd name="T44" fmla="*/ 4 w 52"/>
                    <a:gd name="T45" fmla="*/ 12 h 54"/>
                    <a:gd name="T46" fmla="*/ 8 w 52"/>
                    <a:gd name="T47" fmla="*/ 9 h 54"/>
                    <a:gd name="T48" fmla="*/ 11 w 52"/>
                    <a:gd name="T49" fmla="*/ 5 h 54"/>
                    <a:gd name="T50" fmla="*/ 16 w 52"/>
                    <a:gd name="T51" fmla="*/ 3 h 54"/>
                    <a:gd name="T52" fmla="*/ 21 w 52"/>
                    <a:gd name="T53" fmla="*/ 1 h 54"/>
                    <a:gd name="T54" fmla="*/ 26 w 52"/>
                    <a:gd name="T55" fmla="*/ 0 h 54"/>
                    <a:gd name="T56" fmla="*/ 26 w 52"/>
                    <a:gd name="T57" fmla="*/ 0 h 54"/>
                    <a:gd name="T58" fmla="*/ 32 w 52"/>
                    <a:gd name="T59" fmla="*/ 1 h 54"/>
                    <a:gd name="T60" fmla="*/ 36 w 52"/>
                    <a:gd name="T61" fmla="*/ 3 h 54"/>
                    <a:gd name="T62" fmla="*/ 41 w 52"/>
                    <a:gd name="T63" fmla="*/ 5 h 54"/>
                    <a:gd name="T64" fmla="*/ 45 w 52"/>
                    <a:gd name="T65" fmla="*/ 9 h 54"/>
                    <a:gd name="T66" fmla="*/ 48 w 52"/>
                    <a:gd name="T67" fmla="*/ 12 h 54"/>
                    <a:gd name="T68" fmla="*/ 51 w 52"/>
                    <a:gd name="T69" fmla="*/ 17 h 54"/>
                    <a:gd name="T70" fmla="*/ 52 w 52"/>
                    <a:gd name="T71" fmla="*/ 22 h 54"/>
                    <a:gd name="T72" fmla="*/ 52 w 52"/>
                    <a:gd name="T73" fmla="*/ 26 h 54"/>
                    <a:gd name="T74" fmla="*/ 52 w 5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54">
                      <a:moveTo>
                        <a:pt x="52" y="26"/>
                      </a:moveTo>
                      <a:lnTo>
                        <a:pt x="52" y="26"/>
                      </a:lnTo>
                      <a:lnTo>
                        <a:pt x="52" y="32"/>
                      </a:lnTo>
                      <a:lnTo>
                        <a:pt x="51" y="37"/>
                      </a:lnTo>
                      <a:lnTo>
                        <a:pt x="48" y="42"/>
                      </a:lnTo>
                      <a:lnTo>
                        <a:pt x="45" y="45"/>
                      </a:lnTo>
                      <a:lnTo>
                        <a:pt x="41" y="49"/>
                      </a:lnTo>
                      <a:lnTo>
                        <a:pt x="36" y="51"/>
                      </a:lnTo>
                      <a:lnTo>
                        <a:pt x="32" y="53"/>
                      </a:lnTo>
                      <a:lnTo>
                        <a:pt x="26" y="54"/>
                      </a:lnTo>
                      <a:lnTo>
                        <a:pt x="26" y="54"/>
                      </a:lnTo>
                      <a:lnTo>
                        <a:pt x="21" y="53"/>
                      </a:lnTo>
                      <a:lnTo>
                        <a:pt x="16" y="51"/>
                      </a:lnTo>
                      <a:lnTo>
                        <a:pt x="11" y="49"/>
                      </a:lnTo>
                      <a:lnTo>
                        <a:pt x="8" y="45"/>
                      </a:lnTo>
                      <a:lnTo>
                        <a:pt x="4" y="42"/>
                      </a:lnTo>
                      <a:lnTo>
                        <a:pt x="2" y="37"/>
                      </a:lnTo>
                      <a:lnTo>
                        <a:pt x="1" y="32"/>
                      </a:lnTo>
                      <a:lnTo>
                        <a:pt x="0" y="26"/>
                      </a:lnTo>
                      <a:lnTo>
                        <a:pt x="0" y="26"/>
                      </a:lnTo>
                      <a:lnTo>
                        <a:pt x="1" y="22"/>
                      </a:lnTo>
                      <a:lnTo>
                        <a:pt x="2" y="17"/>
                      </a:lnTo>
                      <a:lnTo>
                        <a:pt x="4" y="12"/>
                      </a:lnTo>
                      <a:lnTo>
                        <a:pt x="8" y="9"/>
                      </a:lnTo>
                      <a:lnTo>
                        <a:pt x="11" y="5"/>
                      </a:lnTo>
                      <a:lnTo>
                        <a:pt x="16" y="3"/>
                      </a:lnTo>
                      <a:lnTo>
                        <a:pt x="21" y="1"/>
                      </a:lnTo>
                      <a:lnTo>
                        <a:pt x="26" y="0"/>
                      </a:lnTo>
                      <a:lnTo>
                        <a:pt x="26" y="0"/>
                      </a:lnTo>
                      <a:lnTo>
                        <a:pt x="32" y="1"/>
                      </a:lnTo>
                      <a:lnTo>
                        <a:pt x="36" y="3"/>
                      </a:lnTo>
                      <a:lnTo>
                        <a:pt x="41" y="5"/>
                      </a:lnTo>
                      <a:lnTo>
                        <a:pt x="45" y="9"/>
                      </a:lnTo>
                      <a:lnTo>
                        <a:pt x="48" y="12"/>
                      </a:lnTo>
                      <a:lnTo>
                        <a:pt x="51" y="17"/>
                      </a:lnTo>
                      <a:lnTo>
                        <a:pt x="52" y="22"/>
                      </a:lnTo>
                      <a:lnTo>
                        <a:pt x="52" y="26"/>
                      </a:lnTo>
                      <a:lnTo>
                        <a:pt x="52"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4" name="Freeform 208"/>
                <p:cNvSpPr>
                  <a:spLocks/>
                </p:cNvSpPr>
                <p:nvPr userDrawn="1"/>
              </p:nvSpPr>
              <p:spPr bwMode="auto">
                <a:xfrm>
                  <a:off x="9949996" y="363036"/>
                  <a:ext cx="80963" cy="80963"/>
                </a:xfrm>
                <a:custGeom>
                  <a:avLst/>
                  <a:gdLst>
                    <a:gd name="T0" fmla="*/ 101 w 101"/>
                    <a:gd name="T1" fmla="*/ 50 h 101"/>
                    <a:gd name="T2" fmla="*/ 101 w 101"/>
                    <a:gd name="T3" fmla="*/ 50 h 101"/>
                    <a:gd name="T4" fmla="*/ 100 w 101"/>
                    <a:gd name="T5" fmla="*/ 60 h 101"/>
                    <a:gd name="T6" fmla="*/ 98 w 101"/>
                    <a:gd name="T7" fmla="*/ 70 h 101"/>
                    <a:gd name="T8" fmla="*/ 93 w 101"/>
                    <a:gd name="T9" fmla="*/ 78 h 101"/>
                    <a:gd name="T10" fmla="*/ 87 w 101"/>
                    <a:gd name="T11" fmla="*/ 87 h 101"/>
                    <a:gd name="T12" fmla="*/ 80 w 101"/>
                    <a:gd name="T13" fmla="*/ 92 h 101"/>
                    <a:gd name="T14" fmla="*/ 70 w 101"/>
                    <a:gd name="T15" fmla="*/ 97 h 101"/>
                    <a:gd name="T16" fmla="*/ 61 w 101"/>
                    <a:gd name="T17" fmla="*/ 100 h 101"/>
                    <a:gd name="T18" fmla="*/ 51 w 101"/>
                    <a:gd name="T19" fmla="*/ 101 h 101"/>
                    <a:gd name="T20" fmla="*/ 51 w 101"/>
                    <a:gd name="T21" fmla="*/ 101 h 101"/>
                    <a:gd name="T22" fmla="*/ 41 w 101"/>
                    <a:gd name="T23" fmla="*/ 100 h 101"/>
                    <a:gd name="T24" fmla="*/ 31 w 101"/>
                    <a:gd name="T25" fmla="*/ 97 h 101"/>
                    <a:gd name="T26" fmla="*/ 23 w 101"/>
                    <a:gd name="T27" fmla="*/ 92 h 101"/>
                    <a:gd name="T28" fmla="*/ 16 w 101"/>
                    <a:gd name="T29" fmla="*/ 87 h 101"/>
                    <a:gd name="T30" fmla="*/ 9 w 101"/>
                    <a:gd name="T31" fmla="*/ 78 h 101"/>
                    <a:gd name="T32" fmla="*/ 4 w 101"/>
                    <a:gd name="T33" fmla="*/ 70 h 101"/>
                    <a:gd name="T34" fmla="*/ 1 w 101"/>
                    <a:gd name="T35" fmla="*/ 60 h 101"/>
                    <a:gd name="T36" fmla="*/ 0 w 101"/>
                    <a:gd name="T37" fmla="*/ 50 h 101"/>
                    <a:gd name="T38" fmla="*/ 0 w 101"/>
                    <a:gd name="T39" fmla="*/ 50 h 101"/>
                    <a:gd name="T40" fmla="*/ 1 w 101"/>
                    <a:gd name="T41" fmla="*/ 40 h 101"/>
                    <a:gd name="T42" fmla="*/ 4 w 101"/>
                    <a:gd name="T43" fmla="*/ 31 h 101"/>
                    <a:gd name="T44" fmla="*/ 9 w 101"/>
                    <a:gd name="T45" fmla="*/ 22 h 101"/>
                    <a:gd name="T46" fmla="*/ 16 w 101"/>
                    <a:gd name="T47" fmla="*/ 14 h 101"/>
                    <a:gd name="T48" fmla="*/ 23 w 101"/>
                    <a:gd name="T49" fmla="*/ 8 h 101"/>
                    <a:gd name="T50" fmla="*/ 31 w 101"/>
                    <a:gd name="T51" fmla="*/ 3 h 101"/>
                    <a:gd name="T52" fmla="*/ 41 w 101"/>
                    <a:gd name="T53" fmla="*/ 1 h 101"/>
                    <a:gd name="T54" fmla="*/ 51 w 101"/>
                    <a:gd name="T55" fmla="*/ 0 h 101"/>
                    <a:gd name="T56" fmla="*/ 51 w 101"/>
                    <a:gd name="T57" fmla="*/ 0 h 101"/>
                    <a:gd name="T58" fmla="*/ 61 w 101"/>
                    <a:gd name="T59" fmla="*/ 1 h 101"/>
                    <a:gd name="T60" fmla="*/ 70 w 101"/>
                    <a:gd name="T61" fmla="*/ 3 h 101"/>
                    <a:gd name="T62" fmla="*/ 80 w 101"/>
                    <a:gd name="T63" fmla="*/ 8 h 101"/>
                    <a:gd name="T64" fmla="*/ 87 w 101"/>
                    <a:gd name="T65" fmla="*/ 14 h 101"/>
                    <a:gd name="T66" fmla="*/ 93 w 101"/>
                    <a:gd name="T67" fmla="*/ 22 h 101"/>
                    <a:gd name="T68" fmla="*/ 98 w 101"/>
                    <a:gd name="T69" fmla="*/ 31 h 101"/>
                    <a:gd name="T70" fmla="*/ 100 w 101"/>
                    <a:gd name="T71" fmla="*/ 40 h 101"/>
                    <a:gd name="T72" fmla="*/ 101 w 101"/>
                    <a:gd name="T73" fmla="*/ 50 h 101"/>
                    <a:gd name="T74" fmla="*/ 101 w 101"/>
                    <a:gd name="T7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1" h="101">
                      <a:moveTo>
                        <a:pt x="101" y="50"/>
                      </a:moveTo>
                      <a:lnTo>
                        <a:pt x="101" y="50"/>
                      </a:lnTo>
                      <a:lnTo>
                        <a:pt x="100" y="60"/>
                      </a:lnTo>
                      <a:lnTo>
                        <a:pt x="98" y="70"/>
                      </a:lnTo>
                      <a:lnTo>
                        <a:pt x="93" y="78"/>
                      </a:lnTo>
                      <a:lnTo>
                        <a:pt x="87" y="87"/>
                      </a:lnTo>
                      <a:lnTo>
                        <a:pt x="80" y="92"/>
                      </a:lnTo>
                      <a:lnTo>
                        <a:pt x="70" y="97"/>
                      </a:lnTo>
                      <a:lnTo>
                        <a:pt x="61" y="100"/>
                      </a:lnTo>
                      <a:lnTo>
                        <a:pt x="51" y="101"/>
                      </a:lnTo>
                      <a:lnTo>
                        <a:pt x="51" y="101"/>
                      </a:lnTo>
                      <a:lnTo>
                        <a:pt x="41" y="100"/>
                      </a:lnTo>
                      <a:lnTo>
                        <a:pt x="31" y="97"/>
                      </a:lnTo>
                      <a:lnTo>
                        <a:pt x="23" y="92"/>
                      </a:lnTo>
                      <a:lnTo>
                        <a:pt x="16" y="87"/>
                      </a:lnTo>
                      <a:lnTo>
                        <a:pt x="9" y="78"/>
                      </a:lnTo>
                      <a:lnTo>
                        <a:pt x="4" y="70"/>
                      </a:lnTo>
                      <a:lnTo>
                        <a:pt x="1" y="60"/>
                      </a:lnTo>
                      <a:lnTo>
                        <a:pt x="0" y="50"/>
                      </a:lnTo>
                      <a:lnTo>
                        <a:pt x="0" y="50"/>
                      </a:lnTo>
                      <a:lnTo>
                        <a:pt x="1" y="40"/>
                      </a:lnTo>
                      <a:lnTo>
                        <a:pt x="4" y="31"/>
                      </a:lnTo>
                      <a:lnTo>
                        <a:pt x="9" y="22"/>
                      </a:lnTo>
                      <a:lnTo>
                        <a:pt x="16" y="14"/>
                      </a:lnTo>
                      <a:lnTo>
                        <a:pt x="23" y="8"/>
                      </a:lnTo>
                      <a:lnTo>
                        <a:pt x="31" y="3"/>
                      </a:lnTo>
                      <a:lnTo>
                        <a:pt x="41" y="1"/>
                      </a:lnTo>
                      <a:lnTo>
                        <a:pt x="51" y="0"/>
                      </a:lnTo>
                      <a:lnTo>
                        <a:pt x="51" y="0"/>
                      </a:lnTo>
                      <a:lnTo>
                        <a:pt x="61" y="1"/>
                      </a:lnTo>
                      <a:lnTo>
                        <a:pt x="70" y="3"/>
                      </a:lnTo>
                      <a:lnTo>
                        <a:pt x="80" y="8"/>
                      </a:lnTo>
                      <a:lnTo>
                        <a:pt x="87" y="14"/>
                      </a:lnTo>
                      <a:lnTo>
                        <a:pt x="93" y="22"/>
                      </a:lnTo>
                      <a:lnTo>
                        <a:pt x="98" y="31"/>
                      </a:lnTo>
                      <a:lnTo>
                        <a:pt x="100" y="40"/>
                      </a:lnTo>
                      <a:lnTo>
                        <a:pt x="101" y="50"/>
                      </a:lnTo>
                      <a:lnTo>
                        <a:pt x="101"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5" name="Freeform 209"/>
                <p:cNvSpPr>
                  <a:spLocks/>
                </p:cNvSpPr>
                <p:nvPr userDrawn="1"/>
              </p:nvSpPr>
              <p:spPr bwMode="auto">
                <a:xfrm>
                  <a:off x="10110333" y="363036"/>
                  <a:ext cx="79375" cy="80963"/>
                </a:xfrm>
                <a:custGeom>
                  <a:avLst/>
                  <a:gdLst>
                    <a:gd name="T0" fmla="*/ 101 w 101"/>
                    <a:gd name="T1" fmla="*/ 50 h 101"/>
                    <a:gd name="T2" fmla="*/ 101 w 101"/>
                    <a:gd name="T3" fmla="*/ 50 h 101"/>
                    <a:gd name="T4" fmla="*/ 100 w 101"/>
                    <a:gd name="T5" fmla="*/ 60 h 101"/>
                    <a:gd name="T6" fmla="*/ 98 w 101"/>
                    <a:gd name="T7" fmla="*/ 70 h 101"/>
                    <a:gd name="T8" fmla="*/ 93 w 101"/>
                    <a:gd name="T9" fmla="*/ 78 h 101"/>
                    <a:gd name="T10" fmla="*/ 87 w 101"/>
                    <a:gd name="T11" fmla="*/ 87 h 101"/>
                    <a:gd name="T12" fmla="*/ 79 w 101"/>
                    <a:gd name="T13" fmla="*/ 92 h 101"/>
                    <a:gd name="T14" fmla="*/ 70 w 101"/>
                    <a:gd name="T15" fmla="*/ 97 h 101"/>
                    <a:gd name="T16" fmla="*/ 61 w 101"/>
                    <a:gd name="T17" fmla="*/ 100 h 101"/>
                    <a:gd name="T18" fmla="*/ 51 w 101"/>
                    <a:gd name="T19" fmla="*/ 101 h 101"/>
                    <a:gd name="T20" fmla="*/ 51 w 101"/>
                    <a:gd name="T21" fmla="*/ 101 h 101"/>
                    <a:gd name="T22" fmla="*/ 41 w 101"/>
                    <a:gd name="T23" fmla="*/ 100 h 101"/>
                    <a:gd name="T24" fmla="*/ 31 w 101"/>
                    <a:gd name="T25" fmla="*/ 97 h 101"/>
                    <a:gd name="T26" fmla="*/ 23 w 101"/>
                    <a:gd name="T27" fmla="*/ 92 h 101"/>
                    <a:gd name="T28" fmla="*/ 16 w 101"/>
                    <a:gd name="T29" fmla="*/ 87 h 101"/>
                    <a:gd name="T30" fmla="*/ 8 w 101"/>
                    <a:gd name="T31" fmla="*/ 78 h 101"/>
                    <a:gd name="T32" fmla="*/ 4 w 101"/>
                    <a:gd name="T33" fmla="*/ 70 h 101"/>
                    <a:gd name="T34" fmla="*/ 1 w 101"/>
                    <a:gd name="T35" fmla="*/ 60 h 101"/>
                    <a:gd name="T36" fmla="*/ 0 w 101"/>
                    <a:gd name="T37" fmla="*/ 50 h 101"/>
                    <a:gd name="T38" fmla="*/ 0 w 101"/>
                    <a:gd name="T39" fmla="*/ 50 h 101"/>
                    <a:gd name="T40" fmla="*/ 1 w 101"/>
                    <a:gd name="T41" fmla="*/ 40 h 101"/>
                    <a:gd name="T42" fmla="*/ 4 w 101"/>
                    <a:gd name="T43" fmla="*/ 31 h 101"/>
                    <a:gd name="T44" fmla="*/ 8 w 101"/>
                    <a:gd name="T45" fmla="*/ 22 h 101"/>
                    <a:gd name="T46" fmla="*/ 16 w 101"/>
                    <a:gd name="T47" fmla="*/ 14 h 101"/>
                    <a:gd name="T48" fmla="*/ 23 w 101"/>
                    <a:gd name="T49" fmla="*/ 8 h 101"/>
                    <a:gd name="T50" fmla="*/ 31 w 101"/>
                    <a:gd name="T51" fmla="*/ 3 h 101"/>
                    <a:gd name="T52" fmla="*/ 41 w 101"/>
                    <a:gd name="T53" fmla="*/ 1 h 101"/>
                    <a:gd name="T54" fmla="*/ 51 w 101"/>
                    <a:gd name="T55" fmla="*/ 0 h 101"/>
                    <a:gd name="T56" fmla="*/ 51 w 101"/>
                    <a:gd name="T57" fmla="*/ 0 h 101"/>
                    <a:gd name="T58" fmla="*/ 61 w 101"/>
                    <a:gd name="T59" fmla="*/ 1 h 101"/>
                    <a:gd name="T60" fmla="*/ 70 w 101"/>
                    <a:gd name="T61" fmla="*/ 3 h 101"/>
                    <a:gd name="T62" fmla="*/ 79 w 101"/>
                    <a:gd name="T63" fmla="*/ 8 h 101"/>
                    <a:gd name="T64" fmla="*/ 87 w 101"/>
                    <a:gd name="T65" fmla="*/ 14 h 101"/>
                    <a:gd name="T66" fmla="*/ 93 w 101"/>
                    <a:gd name="T67" fmla="*/ 22 h 101"/>
                    <a:gd name="T68" fmla="*/ 98 w 101"/>
                    <a:gd name="T69" fmla="*/ 31 h 101"/>
                    <a:gd name="T70" fmla="*/ 100 w 101"/>
                    <a:gd name="T71" fmla="*/ 40 h 101"/>
                    <a:gd name="T72" fmla="*/ 101 w 101"/>
                    <a:gd name="T73" fmla="*/ 50 h 101"/>
                    <a:gd name="T74" fmla="*/ 101 w 101"/>
                    <a:gd name="T7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1" h="101">
                      <a:moveTo>
                        <a:pt x="101" y="50"/>
                      </a:moveTo>
                      <a:lnTo>
                        <a:pt x="101" y="50"/>
                      </a:lnTo>
                      <a:lnTo>
                        <a:pt x="100" y="60"/>
                      </a:lnTo>
                      <a:lnTo>
                        <a:pt x="98" y="70"/>
                      </a:lnTo>
                      <a:lnTo>
                        <a:pt x="93" y="78"/>
                      </a:lnTo>
                      <a:lnTo>
                        <a:pt x="87" y="87"/>
                      </a:lnTo>
                      <a:lnTo>
                        <a:pt x="79" y="92"/>
                      </a:lnTo>
                      <a:lnTo>
                        <a:pt x="70" y="97"/>
                      </a:lnTo>
                      <a:lnTo>
                        <a:pt x="61" y="100"/>
                      </a:lnTo>
                      <a:lnTo>
                        <a:pt x="51" y="101"/>
                      </a:lnTo>
                      <a:lnTo>
                        <a:pt x="51" y="101"/>
                      </a:lnTo>
                      <a:lnTo>
                        <a:pt x="41" y="100"/>
                      </a:lnTo>
                      <a:lnTo>
                        <a:pt x="31" y="97"/>
                      </a:lnTo>
                      <a:lnTo>
                        <a:pt x="23" y="92"/>
                      </a:lnTo>
                      <a:lnTo>
                        <a:pt x="16" y="87"/>
                      </a:lnTo>
                      <a:lnTo>
                        <a:pt x="8" y="78"/>
                      </a:lnTo>
                      <a:lnTo>
                        <a:pt x="4" y="70"/>
                      </a:lnTo>
                      <a:lnTo>
                        <a:pt x="1" y="60"/>
                      </a:lnTo>
                      <a:lnTo>
                        <a:pt x="0" y="50"/>
                      </a:lnTo>
                      <a:lnTo>
                        <a:pt x="0" y="50"/>
                      </a:lnTo>
                      <a:lnTo>
                        <a:pt x="1" y="40"/>
                      </a:lnTo>
                      <a:lnTo>
                        <a:pt x="4" y="31"/>
                      </a:lnTo>
                      <a:lnTo>
                        <a:pt x="8" y="22"/>
                      </a:lnTo>
                      <a:lnTo>
                        <a:pt x="16" y="14"/>
                      </a:lnTo>
                      <a:lnTo>
                        <a:pt x="23" y="8"/>
                      </a:lnTo>
                      <a:lnTo>
                        <a:pt x="31" y="3"/>
                      </a:lnTo>
                      <a:lnTo>
                        <a:pt x="41" y="1"/>
                      </a:lnTo>
                      <a:lnTo>
                        <a:pt x="51" y="0"/>
                      </a:lnTo>
                      <a:lnTo>
                        <a:pt x="51" y="0"/>
                      </a:lnTo>
                      <a:lnTo>
                        <a:pt x="61" y="1"/>
                      </a:lnTo>
                      <a:lnTo>
                        <a:pt x="70" y="3"/>
                      </a:lnTo>
                      <a:lnTo>
                        <a:pt x="79" y="8"/>
                      </a:lnTo>
                      <a:lnTo>
                        <a:pt x="87" y="14"/>
                      </a:lnTo>
                      <a:lnTo>
                        <a:pt x="93" y="22"/>
                      </a:lnTo>
                      <a:lnTo>
                        <a:pt x="98" y="31"/>
                      </a:lnTo>
                      <a:lnTo>
                        <a:pt x="100" y="40"/>
                      </a:lnTo>
                      <a:lnTo>
                        <a:pt x="101" y="50"/>
                      </a:lnTo>
                      <a:lnTo>
                        <a:pt x="101"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6" name="Freeform 210"/>
                <p:cNvSpPr>
                  <a:spLocks/>
                </p:cNvSpPr>
                <p:nvPr userDrawn="1"/>
              </p:nvSpPr>
              <p:spPr bwMode="auto">
                <a:xfrm>
                  <a:off x="10048421" y="661486"/>
                  <a:ext cx="188913" cy="92075"/>
                </a:xfrm>
                <a:custGeom>
                  <a:avLst/>
                  <a:gdLst>
                    <a:gd name="T0" fmla="*/ 0 w 238"/>
                    <a:gd name="T1" fmla="*/ 99 h 117"/>
                    <a:gd name="T2" fmla="*/ 0 w 238"/>
                    <a:gd name="T3" fmla="*/ 99 h 117"/>
                    <a:gd name="T4" fmla="*/ 57 w 238"/>
                    <a:gd name="T5" fmla="*/ 106 h 117"/>
                    <a:gd name="T6" fmla="*/ 115 w 238"/>
                    <a:gd name="T7" fmla="*/ 112 h 117"/>
                    <a:gd name="T8" fmla="*/ 176 w 238"/>
                    <a:gd name="T9" fmla="*/ 116 h 117"/>
                    <a:gd name="T10" fmla="*/ 238 w 238"/>
                    <a:gd name="T11" fmla="*/ 117 h 117"/>
                    <a:gd name="T12" fmla="*/ 238 w 238"/>
                    <a:gd name="T13" fmla="*/ 0 h 117"/>
                    <a:gd name="T14" fmla="*/ 238 w 238"/>
                    <a:gd name="T15" fmla="*/ 0 h 117"/>
                    <a:gd name="T16" fmla="*/ 219 w 238"/>
                    <a:gd name="T17" fmla="*/ 0 h 117"/>
                    <a:gd name="T18" fmla="*/ 201 w 238"/>
                    <a:gd name="T19" fmla="*/ 1 h 117"/>
                    <a:gd name="T20" fmla="*/ 182 w 238"/>
                    <a:gd name="T21" fmla="*/ 4 h 117"/>
                    <a:gd name="T22" fmla="*/ 164 w 238"/>
                    <a:gd name="T23" fmla="*/ 7 h 117"/>
                    <a:gd name="T24" fmla="*/ 147 w 238"/>
                    <a:gd name="T25" fmla="*/ 11 h 117"/>
                    <a:gd name="T26" fmla="*/ 131 w 238"/>
                    <a:gd name="T27" fmla="*/ 16 h 117"/>
                    <a:gd name="T28" fmla="*/ 114 w 238"/>
                    <a:gd name="T29" fmla="*/ 20 h 117"/>
                    <a:gd name="T30" fmla="*/ 99 w 238"/>
                    <a:gd name="T31" fmla="*/ 28 h 117"/>
                    <a:gd name="T32" fmla="*/ 83 w 238"/>
                    <a:gd name="T33" fmla="*/ 34 h 117"/>
                    <a:gd name="T34" fmla="*/ 69 w 238"/>
                    <a:gd name="T35" fmla="*/ 42 h 117"/>
                    <a:gd name="T36" fmla="*/ 56 w 238"/>
                    <a:gd name="T37" fmla="*/ 49 h 117"/>
                    <a:gd name="T38" fmla="*/ 43 w 238"/>
                    <a:gd name="T39" fmla="*/ 58 h 117"/>
                    <a:gd name="T40" fmla="*/ 31 w 238"/>
                    <a:gd name="T41" fmla="*/ 68 h 117"/>
                    <a:gd name="T42" fmla="*/ 20 w 238"/>
                    <a:gd name="T43" fmla="*/ 77 h 117"/>
                    <a:gd name="T44" fmla="*/ 9 w 238"/>
                    <a:gd name="T45" fmla="*/ 88 h 117"/>
                    <a:gd name="T46" fmla="*/ 0 w 238"/>
                    <a:gd name="T47" fmla="*/ 99 h 117"/>
                    <a:gd name="T48" fmla="*/ 0 w 238"/>
                    <a:gd name="T49" fmla="*/ 9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8" h="117">
                      <a:moveTo>
                        <a:pt x="0" y="99"/>
                      </a:moveTo>
                      <a:lnTo>
                        <a:pt x="0" y="99"/>
                      </a:lnTo>
                      <a:lnTo>
                        <a:pt x="57" y="106"/>
                      </a:lnTo>
                      <a:lnTo>
                        <a:pt x="115" y="112"/>
                      </a:lnTo>
                      <a:lnTo>
                        <a:pt x="176" y="116"/>
                      </a:lnTo>
                      <a:lnTo>
                        <a:pt x="238" y="117"/>
                      </a:lnTo>
                      <a:lnTo>
                        <a:pt x="238" y="0"/>
                      </a:lnTo>
                      <a:lnTo>
                        <a:pt x="238" y="0"/>
                      </a:lnTo>
                      <a:lnTo>
                        <a:pt x="219" y="0"/>
                      </a:lnTo>
                      <a:lnTo>
                        <a:pt x="201" y="1"/>
                      </a:lnTo>
                      <a:lnTo>
                        <a:pt x="182" y="4"/>
                      </a:lnTo>
                      <a:lnTo>
                        <a:pt x="164" y="7"/>
                      </a:lnTo>
                      <a:lnTo>
                        <a:pt x="147" y="11"/>
                      </a:lnTo>
                      <a:lnTo>
                        <a:pt x="131" y="16"/>
                      </a:lnTo>
                      <a:lnTo>
                        <a:pt x="114" y="20"/>
                      </a:lnTo>
                      <a:lnTo>
                        <a:pt x="99" y="28"/>
                      </a:lnTo>
                      <a:lnTo>
                        <a:pt x="83" y="34"/>
                      </a:lnTo>
                      <a:lnTo>
                        <a:pt x="69" y="42"/>
                      </a:lnTo>
                      <a:lnTo>
                        <a:pt x="56" y="49"/>
                      </a:lnTo>
                      <a:lnTo>
                        <a:pt x="43" y="58"/>
                      </a:lnTo>
                      <a:lnTo>
                        <a:pt x="31" y="68"/>
                      </a:lnTo>
                      <a:lnTo>
                        <a:pt x="20" y="77"/>
                      </a:lnTo>
                      <a:lnTo>
                        <a:pt x="9" y="88"/>
                      </a:lnTo>
                      <a:lnTo>
                        <a:pt x="0" y="99"/>
                      </a:lnTo>
                      <a:lnTo>
                        <a:pt x="0" y="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7" name="Freeform 211"/>
                <p:cNvSpPr>
                  <a:spLocks/>
                </p:cNvSpPr>
                <p:nvPr userDrawn="1"/>
              </p:nvSpPr>
              <p:spPr bwMode="auto">
                <a:xfrm>
                  <a:off x="10700883" y="556711"/>
                  <a:ext cx="160338" cy="117475"/>
                </a:xfrm>
                <a:custGeom>
                  <a:avLst/>
                  <a:gdLst>
                    <a:gd name="T0" fmla="*/ 191 w 204"/>
                    <a:gd name="T1" fmla="*/ 148 h 148"/>
                    <a:gd name="T2" fmla="*/ 204 w 204"/>
                    <a:gd name="T3" fmla="*/ 130 h 148"/>
                    <a:gd name="T4" fmla="*/ 14 w 204"/>
                    <a:gd name="T5" fmla="*/ 0 h 148"/>
                    <a:gd name="T6" fmla="*/ 0 w 204"/>
                    <a:gd name="T7" fmla="*/ 18 h 148"/>
                    <a:gd name="T8" fmla="*/ 191 w 204"/>
                    <a:gd name="T9" fmla="*/ 148 h 148"/>
                  </a:gdLst>
                  <a:ahLst/>
                  <a:cxnLst>
                    <a:cxn ang="0">
                      <a:pos x="T0" y="T1"/>
                    </a:cxn>
                    <a:cxn ang="0">
                      <a:pos x="T2" y="T3"/>
                    </a:cxn>
                    <a:cxn ang="0">
                      <a:pos x="T4" y="T5"/>
                    </a:cxn>
                    <a:cxn ang="0">
                      <a:pos x="T6" y="T7"/>
                    </a:cxn>
                    <a:cxn ang="0">
                      <a:pos x="T8" y="T9"/>
                    </a:cxn>
                  </a:cxnLst>
                  <a:rect l="0" t="0" r="r" b="b"/>
                  <a:pathLst>
                    <a:path w="204" h="148">
                      <a:moveTo>
                        <a:pt x="191" y="148"/>
                      </a:moveTo>
                      <a:lnTo>
                        <a:pt x="204" y="130"/>
                      </a:lnTo>
                      <a:lnTo>
                        <a:pt x="14" y="0"/>
                      </a:lnTo>
                      <a:lnTo>
                        <a:pt x="0" y="18"/>
                      </a:lnTo>
                      <a:lnTo>
                        <a:pt x="191" y="148"/>
                      </a:lnTo>
                      <a:close/>
                    </a:path>
                  </a:pathLst>
                </a:custGeom>
                <a:solidFill>
                  <a:srgbClr val="009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8" name="Freeform 212"/>
                <p:cNvSpPr>
                  <a:spLocks/>
                </p:cNvSpPr>
                <p:nvPr userDrawn="1"/>
              </p:nvSpPr>
              <p:spPr bwMode="auto">
                <a:xfrm>
                  <a:off x="10237333" y="167774"/>
                  <a:ext cx="493713" cy="71438"/>
                </a:xfrm>
                <a:custGeom>
                  <a:avLst/>
                  <a:gdLst>
                    <a:gd name="T0" fmla="*/ 0 w 622"/>
                    <a:gd name="T1" fmla="*/ 0 h 89"/>
                    <a:gd name="T2" fmla="*/ 532 w 622"/>
                    <a:gd name="T3" fmla="*/ 0 h 89"/>
                    <a:gd name="T4" fmla="*/ 532 w 622"/>
                    <a:gd name="T5" fmla="*/ 0 h 89"/>
                    <a:gd name="T6" fmla="*/ 541 w 622"/>
                    <a:gd name="T7" fmla="*/ 0 h 89"/>
                    <a:gd name="T8" fmla="*/ 550 w 622"/>
                    <a:gd name="T9" fmla="*/ 2 h 89"/>
                    <a:gd name="T10" fmla="*/ 559 w 622"/>
                    <a:gd name="T11" fmla="*/ 3 h 89"/>
                    <a:gd name="T12" fmla="*/ 567 w 622"/>
                    <a:gd name="T13" fmla="*/ 7 h 89"/>
                    <a:gd name="T14" fmla="*/ 575 w 622"/>
                    <a:gd name="T15" fmla="*/ 10 h 89"/>
                    <a:gd name="T16" fmla="*/ 582 w 622"/>
                    <a:gd name="T17" fmla="*/ 15 h 89"/>
                    <a:gd name="T18" fmla="*/ 589 w 622"/>
                    <a:gd name="T19" fmla="*/ 20 h 89"/>
                    <a:gd name="T20" fmla="*/ 595 w 622"/>
                    <a:gd name="T21" fmla="*/ 26 h 89"/>
                    <a:gd name="T22" fmla="*/ 601 w 622"/>
                    <a:gd name="T23" fmla="*/ 32 h 89"/>
                    <a:gd name="T24" fmla="*/ 606 w 622"/>
                    <a:gd name="T25" fmla="*/ 39 h 89"/>
                    <a:gd name="T26" fmla="*/ 611 w 622"/>
                    <a:gd name="T27" fmla="*/ 47 h 89"/>
                    <a:gd name="T28" fmla="*/ 614 w 622"/>
                    <a:gd name="T29" fmla="*/ 54 h 89"/>
                    <a:gd name="T30" fmla="*/ 618 w 622"/>
                    <a:gd name="T31" fmla="*/ 63 h 89"/>
                    <a:gd name="T32" fmla="*/ 619 w 622"/>
                    <a:gd name="T33" fmla="*/ 71 h 89"/>
                    <a:gd name="T34" fmla="*/ 622 w 622"/>
                    <a:gd name="T35" fmla="*/ 81 h 89"/>
                    <a:gd name="T36" fmla="*/ 622 w 622"/>
                    <a:gd name="T37" fmla="*/ 89 h 89"/>
                    <a:gd name="T38" fmla="*/ 0 w 622"/>
                    <a:gd name="T39" fmla="*/ 89 h 89"/>
                    <a:gd name="T40" fmla="*/ 0 w 622"/>
                    <a:gd name="T4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2" h="89">
                      <a:moveTo>
                        <a:pt x="0" y="0"/>
                      </a:moveTo>
                      <a:lnTo>
                        <a:pt x="532" y="0"/>
                      </a:lnTo>
                      <a:lnTo>
                        <a:pt x="532" y="0"/>
                      </a:lnTo>
                      <a:lnTo>
                        <a:pt x="541" y="0"/>
                      </a:lnTo>
                      <a:lnTo>
                        <a:pt x="550" y="2"/>
                      </a:lnTo>
                      <a:lnTo>
                        <a:pt x="559" y="3"/>
                      </a:lnTo>
                      <a:lnTo>
                        <a:pt x="567" y="7"/>
                      </a:lnTo>
                      <a:lnTo>
                        <a:pt x="575" y="10"/>
                      </a:lnTo>
                      <a:lnTo>
                        <a:pt x="582" y="15"/>
                      </a:lnTo>
                      <a:lnTo>
                        <a:pt x="589" y="20"/>
                      </a:lnTo>
                      <a:lnTo>
                        <a:pt x="595" y="26"/>
                      </a:lnTo>
                      <a:lnTo>
                        <a:pt x="601" y="32"/>
                      </a:lnTo>
                      <a:lnTo>
                        <a:pt x="606" y="39"/>
                      </a:lnTo>
                      <a:lnTo>
                        <a:pt x="611" y="47"/>
                      </a:lnTo>
                      <a:lnTo>
                        <a:pt x="614" y="54"/>
                      </a:lnTo>
                      <a:lnTo>
                        <a:pt x="618" y="63"/>
                      </a:lnTo>
                      <a:lnTo>
                        <a:pt x="619" y="71"/>
                      </a:lnTo>
                      <a:lnTo>
                        <a:pt x="622" y="81"/>
                      </a:lnTo>
                      <a:lnTo>
                        <a:pt x="622" y="89"/>
                      </a:lnTo>
                      <a:lnTo>
                        <a:pt x="0" y="89"/>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29" name="Freeform 213"/>
                <p:cNvSpPr>
                  <a:spLocks/>
                </p:cNvSpPr>
                <p:nvPr userDrawn="1"/>
              </p:nvSpPr>
              <p:spPr bwMode="auto">
                <a:xfrm>
                  <a:off x="10237333" y="239211"/>
                  <a:ext cx="493713" cy="71438"/>
                </a:xfrm>
                <a:custGeom>
                  <a:avLst/>
                  <a:gdLst>
                    <a:gd name="T0" fmla="*/ 0 w 622"/>
                    <a:gd name="T1" fmla="*/ 0 h 90"/>
                    <a:gd name="T2" fmla="*/ 622 w 622"/>
                    <a:gd name="T3" fmla="*/ 0 h 90"/>
                    <a:gd name="T4" fmla="*/ 622 w 622"/>
                    <a:gd name="T5" fmla="*/ 0 h 90"/>
                    <a:gd name="T6" fmla="*/ 622 w 622"/>
                    <a:gd name="T7" fmla="*/ 9 h 90"/>
                    <a:gd name="T8" fmla="*/ 619 w 622"/>
                    <a:gd name="T9" fmla="*/ 19 h 90"/>
                    <a:gd name="T10" fmla="*/ 618 w 622"/>
                    <a:gd name="T11" fmla="*/ 27 h 90"/>
                    <a:gd name="T12" fmla="*/ 614 w 622"/>
                    <a:gd name="T13" fmla="*/ 36 h 90"/>
                    <a:gd name="T14" fmla="*/ 611 w 622"/>
                    <a:gd name="T15" fmla="*/ 43 h 90"/>
                    <a:gd name="T16" fmla="*/ 606 w 622"/>
                    <a:gd name="T17" fmla="*/ 51 h 90"/>
                    <a:gd name="T18" fmla="*/ 601 w 622"/>
                    <a:gd name="T19" fmla="*/ 57 h 90"/>
                    <a:gd name="T20" fmla="*/ 595 w 622"/>
                    <a:gd name="T21" fmla="*/ 64 h 90"/>
                    <a:gd name="T22" fmla="*/ 589 w 622"/>
                    <a:gd name="T23" fmla="*/ 70 h 90"/>
                    <a:gd name="T24" fmla="*/ 582 w 622"/>
                    <a:gd name="T25" fmla="*/ 75 h 90"/>
                    <a:gd name="T26" fmla="*/ 575 w 622"/>
                    <a:gd name="T27" fmla="*/ 79 h 90"/>
                    <a:gd name="T28" fmla="*/ 567 w 622"/>
                    <a:gd name="T29" fmla="*/ 83 h 90"/>
                    <a:gd name="T30" fmla="*/ 559 w 622"/>
                    <a:gd name="T31" fmla="*/ 85 h 90"/>
                    <a:gd name="T32" fmla="*/ 550 w 622"/>
                    <a:gd name="T33" fmla="*/ 88 h 90"/>
                    <a:gd name="T34" fmla="*/ 541 w 622"/>
                    <a:gd name="T35" fmla="*/ 89 h 90"/>
                    <a:gd name="T36" fmla="*/ 532 w 622"/>
                    <a:gd name="T37" fmla="*/ 90 h 90"/>
                    <a:gd name="T38" fmla="*/ 0 w 622"/>
                    <a:gd name="T39" fmla="*/ 90 h 90"/>
                    <a:gd name="T40" fmla="*/ 0 w 622"/>
                    <a:gd name="T4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2" h="90">
                      <a:moveTo>
                        <a:pt x="0" y="0"/>
                      </a:moveTo>
                      <a:lnTo>
                        <a:pt x="622" y="0"/>
                      </a:lnTo>
                      <a:lnTo>
                        <a:pt x="622" y="0"/>
                      </a:lnTo>
                      <a:lnTo>
                        <a:pt x="622" y="9"/>
                      </a:lnTo>
                      <a:lnTo>
                        <a:pt x="619" y="19"/>
                      </a:lnTo>
                      <a:lnTo>
                        <a:pt x="618" y="27"/>
                      </a:lnTo>
                      <a:lnTo>
                        <a:pt x="614" y="36"/>
                      </a:lnTo>
                      <a:lnTo>
                        <a:pt x="611" y="43"/>
                      </a:lnTo>
                      <a:lnTo>
                        <a:pt x="606" y="51"/>
                      </a:lnTo>
                      <a:lnTo>
                        <a:pt x="601" y="57"/>
                      </a:lnTo>
                      <a:lnTo>
                        <a:pt x="595" y="64"/>
                      </a:lnTo>
                      <a:lnTo>
                        <a:pt x="589" y="70"/>
                      </a:lnTo>
                      <a:lnTo>
                        <a:pt x="582" y="75"/>
                      </a:lnTo>
                      <a:lnTo>
                        <a:pt x="575" y="79"/>
                      </a:lnTo>
                      <a:lnTo>
                        <a:pt x="567" y="83"/>
                      </a:lnTo>
                      <a:lnTo>
                        <a:pt x="559" y="85"/>
                      </a:lnTo>
                      <a:lnTo>
                        <a:pt x="550" y="88"/>
                      </a:lnTo>
                      <a:lnTo>
                        <a:pt x="541" y="89"/>
                      </a:lnTo>
                      <a:lnTo>
                        <a:pt x="532" y="90"/>
                      </a:lnTo>
                      <a:lnTo>
                        <a:pt x="0" y="90"/>
                      </a:lnTo>
                      <a:lnTo>
                        <a:pt x="0" y="0"/>
                      </a:lnTo>
                      <a:close/>
                    </a:path>
                  </a:pathLst>
                </a:custGeom>
                <a:solidFill>
                  <a:srgbClr val="275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0" name="Freeform 214"/>
                <p:cNvSpPr>
                  <a:spLocks/>
                </p:cNvSpPr>
                <p:nvPr userDrawn="1"/>
              </p:nvSpPr>
              <p:spPr bwMode="auto">
                <a:xfrm>
                  <a:off x="10237333" y="239211"/>
                  <a:ext cx="493713" cy="71438"/>
                </a:xfrm>
                <a:custGeom>
                  <a:avLst/>
                  <a:gdLst>
                    <a:gd name="T0" fmla="*/ 0 w 622"/>
                    <a:gd name="T1" fmla="*/ 0 h 90"/>
                    <a:gd name="T2" fmla="*/ 622 w 622"/>
                    <a:gd name="T3" fmla="*/ 0 h 90"/>
                    <a:gd name="T4" fmla="*/ 622 w 622"/>
                    <a:gd name="T5" fmla="*/ 0 h 90"/>
                    <a:gd name="T6" fmla="*/ 622 w 622"/>
                    <a:gd name="T7" fmla="*/ 9 h 90"/>
                    <a:gd name="T8" fmla="*/ 619 w 622"/>
                    <a:gd name="T9" fmla="*/ 19 h 90"/>
                    <a:gd name="T10" fmla="*/ 618 w 622"/>
                    <a:gd name="T11" fmla="*/ 27 h 90"/>
                    <a:gd name="T12" fmla="*/ 614 w 622"/>
                    <a:gd name="T13" fmla="*/ 36 h 90"/>
                    <a:gd name="T14" fmla="*/ 611 w 622"/>
                    <a:gd name="T15" fmla="*/ 43 h 90"/>
                    <a:gd name="T16" fmla="*/ 606 w 622"/>
                    <a:gd name="T17" fmla="*/ 51 h 90"/>
                    <a:gd name="T18" fmla="*/ 601 w 622"/>
                    <a:gd name="T19" fmla="*/ 57 h 90"/>
                    <a:gd name="T20" fmla="*/ 595 w 622"/>
                    <a:gd name="T21" fmla="*/ 64 h 90"/>
                    <a:gd name="T22" fmla="*/ 589 w 622"/>
                    <a:gd name="T23" fmla="*/ 70 h 90"/>
                    <a:gd name="T24" fmla="*/ 582 w 622"/>
                    <a:gd name="T25" fmla="*/ 75 h 90"/>
                    <a:gd name="T26" fmla="*/ 575 w 622"/>
                    <a:gd name="T27" fmla="*/ 79 h 90"/>
                    <a:gd name="T28" fmla="*/ 567 w 622"/>
                    <a:gd name="T29" fmla="*/ 83 h 90"/>
                    <a:gd name="T30" fmla="*/ 559 w 622"/>
                    <a:gd name="T31" fmla="*/ 85 h 90"/>
                    <a:gd name="T32" fmla="*/ 550 w 622"/>
                    <a:gd name="T33" fmla="*/ 88 h 90"/>
                    <a:gd name="T34" fmla="*/ 541 w 622"/>
                    <a:gd name="T35" fmla="*/ 89 h 90"/>
                    <a:gd name="T36" fmla="*/ 532 w 622"/>
                    <a:gd name="T37" fmla="*/ 90 h 90"/>
                    <a:gd name="T38" fmla="*/ 0 w 622"/>
                    <a:gd name="T39" fmla="*/ 90 h 90"/>
                    <a:gd name="T40" fmla="*/ 0 w 622"/>
                    <a:gd name="T4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2" h="90">
                      <a:moveTo>
                        <a:pt x="0" y="0"/>
                      </a:moveTo>
                      <a:lnTo>
                        <a:pt x="622" y="0"/>
                      </a:lnTo>
                      <a:lnTo>
                        <a:pt x="622" y="0"/>
                      </a:lnTo>
                      <a:lnTo>
                        <a:pt x="622" y="9"/>
                      </a:lnTo>
                      <a:lnTo>
                        <a:pt x="619" y="19"/>
                      </a:lnTo>
                      <a:lnTo>
                        <a:pt x="618" y="27"/>
                      </a:lnTo>
                      <a:lnTo>
                        <a:pt x="614" y="36"/>
                      </a:lnTo>
                      <a:lnTo>
                        <a:pt x="611" y="43"/>
                      </a:lnTo>
                      <a:lnTo>
                        <a:pt x="606" y="51"/>
                      </a:lnTo>
                      <a:lnTo>
                        <a:pt x="601" y="57"/>
                      </a:lnTo>
                      <a:lnTo>
                        <a:pt x="595" y="64"/>
                      </a:lnTo>
                      <a:lnTo>
                        <a:pt x="589" y="70"/>
                      </a:lnTo>
                      <a:lnTo>
                        <a:pt x="582" y="75"/>
                      </a:lnTo>
                      <a:lnTo>
                        <a:pt x="575" y="79"/>
                      </a:lnTo>
                      <a:lnTo>
                        <a:pt x="567" y="83"/>
                      </a:lnTo>
                      <a:lnTo>
                        <a:pt x="559" y="85"/>
                      </a:lnTo>
                      <a:lnTo>
                        <a:pt x="550" y="88"/>
                      </a:lnTo>
                      <a:lnTo>
                        <a:pt x="541" y="89"/>
                      </a:lnTo>
                      <a:lnTo>
                        <a:pt x="532" y="90"/>
                      </a:lnTo>
                      <a:lnTo>
                        <a:pt x="0" y="9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1" name="Freeform 215"/>
                <p:cNvSpPr>
                  <a:spLocks/>
                </p:cNvSpPr>
                <p:nvPr userDrawn="1"/>
              </p:nvSpPr>
              <p:spPr bwMode="auto">
                <a:xfrm>
                  <a:off x="10237333" y="85224"/>
                  <a:ext cx="323850" cy="82550"/>
                </a:xfrm>
                <a:custGeom>
                  <a:avLst/>
                  <a:gdLst>
                    <a:gd name="T0" fmla="*/ 0 w 407"/>
                    <a:gd name="T1" fmla="*/ 0 h 105"/>
                    <a:gd name="T2" fmla="*/ 0 w 407"/>
                    <a:gd name="T3" fmla="*/ 0 h 105"/>
                    <a:gd name="T4" fmla="*/ 41 w 407"/>
                    <a:gd name="T5" fmla="*/ 1 h 105"/>
                    <a:gd name="T6" fmla="*/ 82 w 407"/>
                    <a:gd name="T7" fmla="*/ 2 h 105"/>
                    <a:gd name="T8" fmla="*/ 121 w 407"/>
                    <a:gd name="T9" fmla="*/ 5 h 105"/>
                    <a:gd name="T10" fmla="*/ 158 w 407"/>
                    <a:gd name="T11" fmla="*/ 8 h 105"/>
                    <a:gd name="T12" fmla="*/ 193 w 407"/>
                    <a:gd name="T13" fmla="*/ 13 h 105"/>
                    <a:gd name="T14" fmla="*/ 228 w 407"/>
                    <a:gd name="T15" fmla="*/ 18 h 105"/>
                    <a:gd name="T16" fmla="*/ 259 w 407"/>
                    <a:gd name="T17" fmla="*/ 24 h 105"/>
                    <a:gd name="T18" fmla="*/ 287 w 407"/>
                    <a:gd name="T19" fmla="*/ 31 h 105"/>
                    <a:gd name="T20" fmla="*/ 314 w 407"/>
                    <a:gd name="T21" fmla="*/ 38 h 105"/>
                    <a:gd name="T22" fmla="*/ 337 w 407"/>
                    <a:gd name="T23" fmla="*/ 46 h 105"/>
                    <a:gd name="T24" fmla="*/ 358 w 407"/>
                    <a:gd name="T25" fmla="*/ 55 h 105"/>
                    <a:gd name="T26" fmla="*/ 375 w 407"/>
                    <a:gd name="T27" fmla="*/ 64 h 105"/>
                    <a:gd name="T28" fmla="*/ 388 w 407"/>
                    <a:gd name="T29" fmla="*/ 74 h 105"/>
                    <a:gd name="T30" fmla="*/ 394 w 407"/>
                    <a:gd name="T31" fmla="*/ 79 h 105"/>
                    <a:gd name="T32" fmla="*/ 399 w 407"/>
                    <a:gd name="T33" fmla="*/ 83 h 105"/>
                    <a:gd name="T34" fmla="*/ 403 w 407"/>
                    <a:gd name="T35" fmla="*/ 89 h 105"/>
                    <a:gd name="T36" fmla="*/ 405 w 407"/>
                    <a:gd name="T37" fmla="*/ 94 h 105"/>
                    <a:gd name="T38" fmla="*/ 406 w 407"/>
                    <a:gd name="T39" fmla="*/ 100 h 105"/>
                    <a:gd name="T40" fmla="*/ 407 w 407"/>
                    <a:gd name="T41" fmla="*/ 105 h 105"/>
                    <a:gd name="T42" fmla="*/ 0 w 407"/>
                    <a:gd name="T43" fmla="*/ 105 h 105"/>
                    <a:gd name="T44" fmla="*/ 0 w 407"/>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7" h="105">
                      <a:moveTo>
                        <a:pt x="0" y="0"/>
                      </a:moveTo>
                      <a:lnTo>
                        <a:pt x="0" y="0"/>
                      </a:lnTo>
                      <a:lnTo>
                        <a:pt x="41" y="1"/>
                      </a:lnTo>
                      <a:lnTo>
                        <a:pt x="82" y="2"/>
                      </a:lnTo>
                      <a:lnTo>
                        <a:pt x="121" y="5"/>
                      </a:lnTo>
                      <a:lnTo>
                        <a:pt x="158" y="8"/>
                      </a:lnTo>
                      <a:lnTo>
                        <a:pt x="193" y="13"/>
                      </a:lnTo>
                      <a:lnTo>
                        <a:pt x="228" y="18"/>
                      </a:lnTo>
                      <a:lnTo>
                        <a:pt x="259" y="24"/>
                      </a:lnTo>
                      <a:lnTo>
                        <a:pt x="287" y="31"/>
                      </a:lnTo>
                      <a:lnTo>
                        <a:pt x="314" y="38"/>
                      </a:lnTo>
                      <a:lnTo>
                        <a:pt x="337" y="46"/>
                      </a:lnTo>
                      <a:lnTo>
                        <a:pt x="358" y="55"/>
                      </a:lnTo>
                      <a:lnTo>
                        <a:pt x="375" y="64"/>
                      </a:lnTo>
                      <a:lnTo>
                        <a:pt x="388" y="74"/>
                      </a:lnTo>
                      <a:lnTo>
                        <a:pt x="394" y="79"/>
                      </a:lnTo>
                      <a:lnTo>
                        <a:pt x="399" y="83"/>
                      </a:lnTo>
                      <a:lnTo>
                        <a:pt x="403" y="89"/>
                      </a:lnTo>
                      <a:lnTo>
                        <a:pt x="405" y="94"/>
                      </a:lnTo>
                      <a:lnTo>
                        <a:pt x="406" y="100"/>
                      </a:lnTo>
                      <a:lnTo>
                        <a:pt x="407" y="105"/>
                      </a:lnTo>
                      <a:lnTo>
                        <a:pt x="0" y="105"/>
                      </a:lnTo>
                      <a:lnTo>
                        <a:pt x="0" y="0"/>
                      </a:lnTo>
                      <a:close/>
                    </a:path>
                  </a:pathLst>
                </a:custGeom>
                <a:solidFill>
                  <a:srgbClr val="009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2" name="Freeform 216"/>
                <p:cNvSpPr>
                  <a:spLocks/>
                </p:cNvSpPr>
                <p:nvPr userDrawn="1"/>
              </p:nvSpPr>
              <p:spPr bwMode="auto">
                <a:xfrm>
                  <a:off x="10237333" y="493211"/>
                  <a:ext cx="568325" cy="260350"/>
                </a:xfrm>
                <a:custGeom>
                  <a:avLst/>
                  <a:gdLst>
                    <a:gd name="T0" fmla="*/ 715 w 715"/>
                    <a:gd name="T1" fmla="*/ 0 h 328"/>
                    <a:gd name="T2" fmla="*/ 715 w 715"/>
                    <a:gd name="T3" fmla="*/ 0 h 328"/>
                    <a:gd name="T4" fmla="*/ 715 w 715"/>
                    <a:gd name="T5" fmla="*/ 16 h 328"/>
                    <a:gd name="T6" fmla="*/ 712 w 715"/>
                    <a:gd name="T7" fmla="*/ 33 h 328"/>
                    <a:gd name="T8" fmla="*/ 707 w 715"/>
                    <a:gd name="T9" fmla="*/ 50 h 328"/>
                    <a:gd name="T10" fmla="*/ 701 w 715"/>
                    <a:gd name="T11" fmla="*/ 66 h 328"/>
                    <a:gd name="T12" fmla="*/ 693 w 715"/>
                    <a:gd name="T13" fmla="*/ 82 h 328"/>
                    <a:gd name="T14" fmla="*/ 683 w 715"/>
                    <a:gd name="T15" fmla="*/ 97 h 328"/>
                    <a:gd name="T16" fmla="*/ 673 w 715"/>
                    <a:gd name="T17" fmla="*/ 113 h 328"/>
                    <a:gd name="T18" fmla="*/ 660 w 715"/>
                    <a:gd name="T19" fmla="*/ 128 h 328"/>
                    <a:gd name="T20" fmla="*/ 645 w 715"/>
                    <a:gd name="T21" fmla="*/ 142 h 328"/>
                    <a:gd name="T22" fmla="*/ 630 w 715"/>
                    <a:gd name="T23" fmla="*/ 157 h 328"/>
                    <a:gd name="T24" fmla="*/ 612 w 715"/>
                    <a:gd name="T25" fmla="*/ 170 h 328"/>
                    <a:gd name="T26" fmla="*/ 593 w 715"/>
                    <a:gd name="T27" fmla="*/ 184 h 328"/>
                    <a:gd name="T28" fmla="*/ 574 w 715"/>
                    <a:gd name="T29" fmla="*/ 196 h 328"/>
                    <a:gd name="T30" fmla="*/ 553 w 715"/>
                    <a:gd name="T31" fmla="*/ 209 h 328"/>
                    <a:gd name="T32" fmla="*/ 530 w 715"/>
                    <a:gd name="T33" fmla="*/ 221 h 328"/>
                    <a:gd name="T34" fmla="*/ 506 w 715"/>
                    <a:gd name="T35" fmla="*/ 231 h 328"/>
                    <a:gd name="T36" fmla="*/ 481 w 715"/>
                    <a:gd name="T37" fmla="*/ 243 h 328"/>
                    <a:gd name="T38" fmla="*/ 455 w 715"/>
                    <a:gd name="T39" fmla="*/ 253 h 328"/>
                    <a:gd name="T40" fmla="*/ 428 w 715"/>
                    <a:gd name="T41" fmla="*/ 264 h 328"/>
                    <a:gd name="T42" fmla="*/ 400 w 715"/>
                    <a:gd name="T43" fmla="*/ 272 h 328"/>
                    <a:gd name="T44" fmla="*/ 371 w 715"/>
                    <a:gd name="T45" fmla="*/ 280 h 328"/>
                    <a:gd name="T46" fmla="*/ 341 w 715"/>
                    <a:gd name="T47" fmla="*/ 288 h 328"/>
                    <a:gd name="T48" fmla="*/ 310 w 715"/>
                    <a:gd name="T49" fmla="*/ 296 h 328"/>
                    <a:gd name="T50" fmla="*/ 279 w 715"/>
                    <a:gd name="T51" fmla="*/ 303 h 328"/>
                    <a:gd name="T52" fmla="*/ 246 w 715"/>
                    <a:gd name="T53" fmla="*/ 309 h 328"/>
                    <a:gd name="T54" fmla="*/ 212 w 715"/>
                    <a:gd name="T55" fmla="*/ 313 h 328"/>
                    <a:gd name="T56" fmla="*/ 179 w 715"/>
                    <a:gd name="T57" fmla="*/ 318 h 328"/>
                    <a:gd name="T58" fmla="*/ 144 w 715"/>
                    <a:gd name="T59" fmla="*/ 322 h 328"/>
                    <a:gd name="T60" fmla="*/ 109 w 715"/>
                    <a:gd name="T61" fmla="*/ 324 h 328"/>
                    <a:gd name="T62" fmla="*/ 73 w 715"/>
                    <a:gd name="T63" fmla="*/ 327 h 328"/>
                    <a:gd name="T64" fmla="*/ 37 w 715"/>
                    <a:gd name="T65" fmla="*/ 328 h 328"/>
                    <a:gd name="T66" fmla="*/ 0 w 715"/>
                    <a:gd name="T67" fmla="*/ 328 h 328"/>
                    <a:gd name="T68" fmla="*/ 0 w 715"/>
                    <a:gd name="T69" fmla="*/ 0 h 328"/>
                    <a:gd name="T70" fmla="*/ 715 w 715"/>
                    <a:gd name="T71"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15" h="328">
                      <a:moveTo>
                        <a:pt x="715" y="0"/>
                      </a:moveTo>
                      <a:lnTo>
                        <a:pt x="715" y="0"/>
                      </a:lnTo>
                      <a:lnTo>
                        <a:pt x="715" y="16"/>
                      </a:lnTo>
                      <a:lnTo>
                        <a:pt x="712" y="33"/>
                      </a:lnTo>
                      <a:lnTo>
                        <a:pt x="707" y="50"/>
                      </a:lnTo>
                      <a:lnTo>
                        <a:pt x="701" y="66"/>
                      </a:lnTo>
                      <a:lnTo>
                        <a:pt x="693" y="82"/>
                      </a:lnTo>
                      <a:lnTo>
                        <a:pt x="683" y="97"/>
                      </a:lnTo>
                      <a:lnTo>
                        <a:pt x="673" y="113"/>
                      </a:lnTo>
                      <a:lnTo>
                        <a:pt x="660" y="128"/>
                      </a:lnTo>
                      <a:lnTo>
                        <a:pt x="645" y="142"/>
                      </a:lnTo>
                      <a:lnTo>
                        <a:pt x="630" y="157"/>
                      </a:lnTo>
                      <a:lnTo>
                        <a:pt x="612" y="170"/>
                      </a:lnTo>
                      <a:lnTo>
                        <a:pt x="593" y="184"/>
                      </a:lnTo>
                      <a:lnTo>
                        <a:pt x="574" y="196"/>
                      </a:lnTo>
                      <a:lnTo>
                        <a:pt x="553" y="209"/>
                      </a:lnTo>
                      <a:lnTo>
                        <a:pt x="530" y="221"/>
                      </a:lnTo>
                      <a:lnTo>
                        <a:pt x="506" y="231"/>
                      </a:lnTo>
                      <a:lnTo>
                        <a:pt x="481" y="243"/>
                      </a:lnTo>
                      <a:lnTo>
                        <a:pt x="455" y="253"/>
                      </a:lnTo>
                      <a:lnTo>
                        <a:pt x="428" y="264"/>
                      </a:lnTo>
                      <a:lnTo>
                        <a:pt x="400" y="272"/>
                      </a:lnTo>
                      <a:lnTo>
                        <a:pt x="371" y="280"/>
                      </a:lnTo>
                      <a:lnTo>
                        <a:pt x="341" y="288"/>
                      </a:lnTo>
                      <a:lnTo>
                        <a:pt x="310" y="296"/>
                      </a:lnTo>
                      <a:lnTo>
                        <a:pt x="279" y="303"/>
                      </a:lnTo>
                      <a:lnTo>
                        <a:pt x="246" y="309"/>
                      </a:lnTo>
                      <a:lnTo>
                        <a:pt x="212" y="313"/>
                      </a:lnTo>
                      <a:lnTo>
                        <a:pt x="179" y="318"/>
                      </a:lnTo>
                      <a:lnTo>
                        <a:pt x="144" y="322"/>
                      </a:lnTo>
                      <a:lnTo>
                        <a:pt x="109" y="324"/>
                      </a:lnTo>
                      <a:lnTo>
                        <a:pt x="73" y="327"/>
                      </a:lnTo>
                      <a:lnTo>
                        <a:pt x="37" y="328"/>
                      </a:lnTo>
                      <a:lnTo>
                        <a:pt x="0" y="328"/>
                      </a:lnTo>
                      <a:lnTo>
                        <a:pt x="0" y="0"/>
                      </a:lnTo>
                      <a:lnTo>
                        <a:pt x="715"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3" name="Freeform 217"/>
                <p:cNvSpPr>
                  <a:spLocks/>
                </p:cNvSpPr>
                <p:nvPr userDrawn="1"/>
              </p:nvSpPr>
              <p:spPr bwMode="auto">
                <a:xfrm>
                  <a:off x="10237333" y="493211"/>
                  <a:ext cx="568325" cy="260350"/>
                </a:xfrm>
                <a:custGeom>
                  <a:avLst/>
                  <a:gdLst>
                    <a:gd name="T0" fmla="*/ 715 w 715"/>
                    <a:gd name="T1" fmla="*/ 0 h 328"/>
                    <a:gd name="T2" fmla="*/ 715 w 715"/>
                    <a:gd name="T3" fmla="*/ 0 h 328"/>
                    <a:gd name="T4" fmla="*/ 715 w 715"/>
                    <a:gd name="T5" fmla="*/ 16 h 328"/>
                    <a:gd name="T6" fmla="*/ 712 w 715"/>
                    <a:gd name="T7" fmla="*/ 33 h 328"/>
                    <a:gd name="T8" fmla="*/ 707 w 715"/>
                    <a:gd name="T9" fmla="*/ 50 h 328"/>
                    <a:gd name="T10" fmla="*/ 701 w 715"/>
                    <a:gd name="T11" fmla="*/ 66 h 328"/>
                    <a:gd name="T12" fmla="*/ 693 w 715"/>
                    <a:gd name="T13" fmla="*/ 82 h 328"/>
                    <a:gd name="T14" fmla="*/ 683 w 715"/>
                    <a:gd name="T15" fmla="*/ 97 h 328"/>
                    <a:gd name="T16" fmla="*/ 673 w 715"/>
                    <a:gd name="T17" fmla="*/ 113 h 328"/>
                    <a:gd name="T18" fmla="*/ 660 w 715"/>
                    <a:gd name="T19" fmla="*/ 128 h 328"/>
                    <a:gd name="T20" fmla="*/ 645 w 715"/>
                    <a:gd name="T21" fmla="*/ 142 h 328"/>
                    <a:gd name="T22" fmla="*/ 630 w 715"/>
                    <a:gd name="T23" fmla="*/ 157 h 328"/>
                    <a:gd name="T24" fmla="*/ 612 w 715"/>
                    <a:gd name="T25" fmla="*/ 170 h 328"/>
                    <a:gd name="T26" fmla="*/ 593 w 715"/>
                    <a:gd name="T27" fmla="*/ 184 h 328"/>
                    <a:gd name="T28" fmla="*/ 574 w 715"/>
                    <a:gd name="T29" fmla="*/ 196 h 328"/>
                    <a:gd name="T30" fmla="*/ 553 w 715"/>
                    <a:gd name="T31" fmla="*/ 209 h 328"/>
                    <a:gd name="T32" fmla="*/ 530 w 715"/>
                    <a:gd name="T33" fmla="*/ 221 h 328"/>
                    <a:gd name="T34" fmla="*/ 506 w 715"/>
                    <a:gd name="T35" fmla="*/ 231 h 328"/>
                    <a:gd name="T36" fmla="*/ 481 w 715"/>
                    <a:gd name="T37" fmla="*/ 243 h 328"/>
                    <a:gd name="T38" fmla="*/ 455 w 715"/>
                    <a:gd name="T39" fmla="*/ 253 h 328"/>
                    <a:gd name="T40" fmla="*/ 428 w 715"/>
                    <a:gd name="T41" fmla="*/ 264 h 328"/>
                    <a:gd name="T42" fmla="*/ 400 w 715"/>
                    <a:gd name="T43" fmla="*/ 272 h 328"/>
                    <a:gd name="T44" fmla="*/ 371 w 715"/>
                    <a:gd name="T45" fmla="*/ 280 h 328"/>
                    <a:gd name="T46" fmla="*/ 341 w 715"/>
                    <a:gd name="T47" fmla="*/ 288 h 328"/>
                    <a:gd name="T48" fmla="*/ 310 w 715"/>
                    <a:gd name="T49" fmla="*/ 296 h 328"/>
                    <a:gd name="T50" fmla="*/ 279 w 715"/>
                    <a:gd name="T51" fmla="*/ 303 h 328"/>
                    <a:gd name="T52" fmla="*/ 246 w 715"/>
                    <a:gd name="T53" fmla="*/ 309 h 328"/>
                    <a:gd name="T54" fmla="*/ 212 w 715"/>
                    <a:gd name="T55" fmla="*/ 313 h 328"/>
                    <a:gd name="T56" fmla="*/ 179 w 715"/>
                    <a:gd name="T57" fmla="*/ 318 h 328"/>
                    <a:gd name="T58" fmla="*/ 144 w 715"/>
                    <a:gd name="T59" fmla="*/ 322 h 328"/>
                    <a:gd name="T60" fmla="*/ 109 w 715"/>
                    <a:gd name="T61" fmla="*/ 324 h 328"/>
                    <a:gd name="T62" fmla="*/ 73 w 715"/>
                    <a:gd name="T63" fmla="*/ 327 h 328"/>
                    <a:gd name="T64" fmla="*/ 37 w 715"/>
                    <a:gd name="T65" fmla="*/ 328 h 328"/>
                    <a:gd name="T66" fmla="*/ 0 w 715"/>
                    <a:gd name="T67" fmla="*/ 328 h 328"/>
                    <a:gd name="T68" fmla="*/ 0 w 715"/>
                    <a:gd name="T69" fmla="*/ 0 h 328"/>
                    <a:gd name="T70" fmla="*/ 715 w 715"/>
                    <a:gd name="T71"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15" h="328">
                      <a:moveTo>
                        <a:pt x="715" y="0"/>
                      </a:moveTo>
                      <a:lnTo>
                        <a:pt x="715" y="0"/>
                      </a:lnTo>
                      <a:lnTo>
                        <a:pt x="715" y="16"/>
                      </a:lnTo>
                      <a:lnTo>
                        <a:pt x="712" y="33"/>
                      </a:lnTo>
                      <a:lnTo>
                        <a:pt x="707" y="50"/>
                      </a:lnTo>
                      <a:lnTo>
                        <a:pt x="701" y="66"/>
                      </a:lnTo>
                      <a:lnTo>
                        <a:pt x="693" y="82"/>
                      </a:lnTo>
                      <a:lnTo>
                        <a:pt x="683" y="97"/>
                      </a:lnTo>
                      <a:lnTo>
                        <a:pt x="673" y="113"/>
                      </a:lnTo>
                      <a:lnTo>
                        <a:pt x="660" y="128"/>
                      </a:lnTo>
                      <a:lnTo>
                        <a:pt x="645" y="142"/>
                      </a:lnTo>
                      <a:lnTo>
                        <a:pt x="630" y="157"/>
                      </a:lnTo>
                      <a:lnTo>
                        <a:pt x="612" y="170"/>
                      </a:lnTo>
                      <a:lnTo>
                        <a:pt x="593" y="184"/>
                      </a:lnTo>
                      <a:lnTo>
                        <a:pt x="574" y="196"/>
                      </a:lnTo>
                      <a:lnTo>
                        <a:pt x="553" y="209"/>
                      </a:lnTo>
                      <a:lnTo>
                        <a:pt x="530" y="221"/>
                      </a:lnTo>
                      <a:lnTo>
                        <a:pt x="506" y="231"/>
                      </a:lnTo>
                      <a:lnTo>
                        <a:pt x="481" y="243"/>
                      </a:lnTo>
                      <a:lnTo>
                        <a:pt x="455" y="253"/>
                      </a:lnTo>
                      <a:lnTo>
                        <a:pt x="428" y="264"/>
                      </a:lnTo>
                      <a:lnTo>
                        <a:pt x="400" y="272"/>
                      </a:lnTo>
                      <a:lnTo>
                        <a:pt x="371" y="280"/>
                      </a:lnTo>
                      <a:lnTo>
                        <a:pt x="341" y="288"/>
                      </a:lnTo>
                      <a:lnTo>
                        <a:pt x="310" y="296"/>
                      </a:lnTo>
                      <a:lnTo>
                        <a:pt x="279" y="303"/>
                      </a:lnTo>
                      <a:lnTo>
                        <a:pt x="246" y="309"/>
                      </a:lnTo>
                      <a:lnTo>
                        <a:pt x="212" y="313"/>
                      </a:lnTo>
                      <a:lnTo>
                        <a:pt x="179" y="318"/>
                      </a:lnTo>
                      <a:lnTo>
                        <a:pt x="144" y="322"/>
                      </a:lnTo>
                      <a:lnTo>
                        <a:pt x="109" y="324"/>
                      </a:lnTo>
                      <a:lnTo>
                        <a:pt x="73" y="327"/>
                      </a:lnTo>
                      <a:lnTo>
                        <a:pt x="37" y="328"/>
                      </a:lnTo>
                      <a:lnTo>
                        <a:pt x="0" y="328"/>
                      </a:lnTo>
                      <a:lnTo>
                        <a:pt x="0" y="0"/>
                      </a:lnTo>
                      <a:lnTo>
                        <a:pt x="71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4" name="Freeform 218"/>
                <p:cNvSpPr>
                  <a:spLocks/>
                </p:cNvSpPr>
                <p:nvPr userDrawn="1"/>
              </p:nvSpPr>
              <p:spPr bwMode="auto">
                <a:xfrm>
                  <a:off x="10237333" y="310649"/>
                  <a:ext cx="787400" cy="182563"/>
                </a:xfrm>
                <a:custGeom>
                  <a:avLst/>
                  <a:gdLst>
                    <a:gd name="T0" fmla="*/ 991 w 991"/>
                    <a:gd name="T1" fmla="*/ 230 h 230"/>
                    <a:gd name="T2" fmla="*/ 0 w 991"/>
                    <a:gd name="T3" fmla="*/ 230 h 230"/>
                    <a:gd name="T4" fmla="*/ 0 w 991"/>
                    <a:gd name="T5" fmla="*/ 0 h 230"/>
                    <a:gd name="T6" fmla="*/ 532 w 991"/>
                    <a:gd name="T7" fmla="*/ 0 h 230"/>
                    <a:gd name="T8" fmla="*/ 991 w 991"/>
                    <a:gd name="T9" fmla="*/ 230 h 230"/>
                  </a:gdLst>
                  <a:ahLst/>
                  <a:cxnLst>
                    <a:cxn ang="0">
                      <a:pos x="T0" y="T1"/>
                    </a:cxn>
                    <a:cxn ang="0">
                      <a:pos x="T2" y="T3"/>
                    </a:cxn>
                    <a:cxn ang="0">
                      <a:pos x="T4" y="T5"/>
                    </a:cxn>
                    <a:cxn ang="0">
                      <a:pos x="T6" y="T7"/>
                    </a:cxn>
                    <a:cxn ang="0">
                      <a:pos x="T8" y="T9"/>
                    </a:cxn>
                  </a:cxnLst>
                  <a:rect l="0" t="0" r="r" b="b"/>
                  <a:pathLst>
                    <a:path w="991" h="230">
                      <a:moveTo>
                        <a:pt x="991" y="230"/>
                      </a:moveTo>
                      <a:lnTo>
                        <a:pt x="0" y="230"/>
                      </a:lnTo>
                      <a:lnTo>
                        <a:pt x="0" y="0"/>
                      </a:lnTo>
                      <a:lnTo>
                        <a:pt x="532" y="0"/>
                      </a:lnTo>
                      <a:lnTo>
                        <a:pt x="991" y="230"/>
                      </a:lnTo>
                      <a:close/>
                    </a:path>
                  </a:pathLst>
                </a:custGeom>
                <a:solidFill>
                  <a:srgbClr val="009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5" name="Freeform 219"/>
                <p:cNvSpPr>
                  <a:spLocks/>
                </p:cNvSpPr>
                <p:nvPr userDrawn="1"/>
              </p:nvSpPr>
              <p:spPr bwMode="auto">
                <a:xfrm>
                  <a:off x="10237333" y="310649"/>
                  <a:ext cx="787400" cy="182563"/>
                </a:xfrm>
                <a:custGeom>
                  <a:avLst/>
                  <a:gdLst>
                    <a:gd name="T0" fmla="*/ 991 w 991"/>
                    <a:gd name="T1" fmla="*/ 230 h 230"/>
                    <a:gd name="T2" fmla="*/ 0 w 991"/>
                    <a:gd name="T3" fmla="*/ 230 h 230"/>
                    <a:gd name="T4" fmla="*/ 0 w 991"/>
                    <a:gd name="T5" fmla="*/ 0 h 230"/>
                    <a:gd name="T6" fmla="*/ 532 w 991"/>
                    <a:gd name="T7" fmla="*/ 0 h 230"/>
                    <a:gd name="T8" fmla="*/ 991 w 991"/>
                    <a:gd name="T9" fmla="*/ 230 h 230"/>
                  </a:gdLst>
                  <a:ahLst/>
                  <a:cxnLst>
                    <a:cxn ang="0">
                      <a:pos x="T0" y="T1"/>
                    </a:cxn>
                    <a:cxn ang="0">
                      <a:pos x="T2" y="T3"/>
                    </a:cxn>
                    <a:cxn ang="0">
                      <a:pos x="T4" y="T5"/>
                    </a:cxn>
                    <a:cxn ang="0">
                      <a:pos x="T6" y="T7"/>
                    </a:cxn>
                    <a:cxn ang="0">
                      <a:pos x="T8" y="T9"/>
                    </a:cxn>
                  </a:cxnLst>
                  <a:rect l="0" t="0" r="r" b="b"/>
                  <a:pathLst>
                    <a:path w="991" h="230">
                      <a:moveTo>
                        <a:pt x="991" y="230"/>
                      </a:moveTo>
                      <a:lnTo>
                        <a:pt x="0" y="230"/>
                      </a:lnTo>
                      <a:lnTo>
                        <a:pt x="0" y="0"/>
                      </a:lnTo>
                      <a:lnTo>
                        <a:pt x="532" y="0"/>
                      </a:lnTo>
                      <a:lnTo>
                        <a:pt x="991" y="23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6" name="Freeform 220"/>
                <p:cNvSpPr>
                  <a:spLocks/>
                </p:cNvSpPr>
                <p:nvPr userDrawn="1"/>
              </p:nvSpPr>
              <p:spPr bwMode="auto">
                <a:xfrm>
                  <a:off x="10815183" y="623386"/>
                  <a:ext cx="87313" cy="87313"/>
                </a:xfrm>
                <a:custGeom>
                  <a:avLst/>
                  <a:gdLst>
                    <a:gd name="T0" fmla="*/ 0 w 111"/>
                    <a:gd name="T1" fmla="*/ 56 h 110"/>
                    <a:gd name="T2" fmla="*/ 0 w 111"/>
                    <a:gd name="T3" fmla="*/ 56 h 110"/>
                    <a:gd name="T4" fmla="*/ 2 w 111"/>
                    <a:gd name="T5" fmla="*/ 66 h 110"/>
                    <a:gd name="T6" fmla="*/ 5 w 111"/>
                    <a:gd name="T7" fmla="*/ 77 h 110"/>
                    <a:gd name="T8" fmla="*/ 10 w 111"/>
                    <a:gd name="T9" fmla="*/ 86 h 110"/>
                    <a:gd name="T10" fmla="*/ 17 w 111"/>
                    <a:gd name="T11" fmla="*/ 94 h 110"/>
                    <a:gd name="T12" fmla="*/ 25 w 111"/>
                    <a:gd name="T13" fmla="*/ 101 h 110"/>
                    <a:gd name="T14" fmla="*/ 35 w 111"/>
                    <a:gd name="T15" fmla="*/ 105 h 110"/>
                    <a:gd name="T16" fmla="*/ 44 w 111"/>
                    <a:gd name="T17" fmla="*/ 109 h 110"/>
                    <a:gd name="T18" fmla="*/ 56 w 111"/>
                    <a:gd name="T19" fmla="*/ 110 h 110"/>
                    <a:gd name="T20" fmla="*/ 56 w 111"/>
                    <a:gd name="T21" fmla="*/ 110 h 110"/>
                    <a:gd name="T22" fmla="*/ 67 w 111"/>
                    <a:gd name="T23" fmla="*/ 109 h 110"/>
                    <a:gd name="T24" fmla="*/ 78 w 111"/>
                    <a:gd name="T25" fmla="*/ 105 h 110"/>
                    <a:gd name="T26" fmla="*/ 87 w 111"/>
                    <a:gd name="T27" fmla="*/ 101 h 110"/>
                    <a:gd name="T28" fmla="*/ 95 w 111"/>
                    <a:gd name="T29" fmla="*/ 94 h 110"/>
                    <a:gd name="T30" fmla="*/ 101 w 111"/>
                    <a:gd name="T31" fmla="*/ 86 h 110"/>
                    <a:gd name="T32" fmla="*/ 107 w 111"/>
                    <a:gd name="T33" fmla="*/ 77 h 110"/>
                    <a:gd name="T34" fmla="*/ 110 w 111"/>
                    <a:gd name="T35" fmla="*/ 66 h 110"/>
                    <a:gd name="T36" fmla="*/ 111 w 111"/>
                    <a:gd name="T37" fmla="*/ 56 h 110"/>
                    <a:gd name="T38" fmla="*/ 111 w 111"/>
                    <a:gd name="T39" fmla="*/ 56 h 110"/>
                    <a:gd name="T40" fmla="*/ 110 w 111"/>
                    <a:gd name="T41" fmla="*/ 44 h 110"/>
                    <a:gd name="T42" fmla="*/ 107 w 111"/>
                    <a:gd name="T43" fmla="*/ 34 h 110"/>
                    <a:gd name="T44" fmla="*/ 101 w 111"/>
                    <a:gd name="T45" fmla="*/ 25 h 110"/>
                    <a:gd name="T46" fmla="*/ 95 w 111"/>
                    <a:gd name="T47" fmla="*/ 16 h 110"/>
                    <a:gd name="T48" fmla="*/ 87 w 111"/>
                    <a:gd name="T49" fmla="*/ 9 h 110"/>
                    <a:gd name="T50" fmla="*/ 78 w 111"/>
                    <a:gd name="T51" fmla="*/ 4 h 110"/>
                    <a:gd name="T52" fmla="*/ 67 w 111"/>
                    <a:gd name="T53" fmla="*/ 1 h 110"/>
                    <a:gd name="T54" fmla="*/ 56 w 111"/>
                    <a:gd name="T55" fmla="*/ 0 h 110"/>
                    <a:gd name="T56" fmla="*/ 56 w 111"/>
                    <a:gd name="T57" fmla="*/ 0 h 110"/>
                    <a:gd name="T58" fmla="*/ 44 w 111"/>
                    <a:gd name="T59" fmla="*/ 1 h 110"/>
                    <a:gd name="T60" fmla="*/ 35 w 111"/>
                    <a:gd name="T61" fmla="*/ 4 h 110"/>
                    <a:gd name="T62" fmla="*/ 25 w 111"/>
                    <a:gd name="T63" fmla="*/ 9 h 110"/>
                    <a:gd name="T64" fmla="*/ 17 w 111"/>
                    <a:gd name="T65" fmla="*/ 16 h 110"/>
                    <a:gd name="T66" fmla="*/ 10 w 111"/>
                    <a:gd name="T67" fmla="*/ 25 h 110"/>
                    <a:gd name="T68" fmla="*/ 5 w 111"/>
                    <a:gd name="T69" fmla="*/ 34 h 110"/>
                    <a:gd name="T70" fmla="*/ 2 w 111"/>
                    <a:gd name="T71" fmla="*/ 44 h 110"/>
                    <a:gd name="T72" fmla="*/ 0 w 111"/>
                    <a:gd name="T73" fmla="*/ 56 h 110"/>
                    <a:gd name="T74" fmla="*/ 0 w 111"/>
                    <a:gd name="T75" fmla="*/ 56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1" h="110">
                      <a:moveTo>
                        <a:pt x="0" y="56"/>
                      </a:moveTo>
                      <a:lnTo>
                        <a:pt x="0" y="56"/>
                      </a:lnTo>
                      <a:lnTo>
                        <a:pt x="2" y="66"/>
                      </a:lnTo>
                      <a:lnTo>
                        <a:pt x="5" y="77"/>
                      </a:lnTo>
                      <a:lnTo>
                        <a:pt x="10" y="86"/>
                      </a:lnTo>
                      <a:lnTo>
                        <a:pt x="17" y="94"/>
                      </a:lnTo>
                      <a:lnTo>
                        <a:pt x="25" y="101"/>
                      </a:lnTo>
                      <a:lnTo>
                        <a:pt x="35" y="105"/>
                      </a:lnTo>
                      <a:lnTo>
                        <a:pt x="44" y="109"/>
                      </a:lnTo>
                      <a:lnTo>
                        <a:pt x="56" y="110"/>
                      </a:lnTo>
                      <a:lnTo>
                        <a:pt x="56" y="110"/>
                      </a:lnTo>
                      <a:lnTo>
                        <a:pt x="67" y="109"/>
                      </a:lnTo>
                      <a:lnTo>
                        <a:pt x="78" y="105"/>
                      </a:lnTo>
                      <a:lnTo>
                        <a:pt x="87" y="101"/>
                      </a:lnTo>
                      <a:lnTo>
                        <a:pt x="95" y="94"/>
                      </a:lnTo>
                      <a:lnTo>
                        <a:pt x="101" y="86"/>
                      </a:lnTo>
                      <a:lnTo>
                        <a:pt x="107" y="77"/>
                      </a:lnTo>
                      <a:lnTo>
                        <a:pt x="110" y="66"/>
                      </a:lnTo>
                      <a:lnTo>
                        <a:pt x="111" y="56"/>
                      </a:lnTo>
                      <a:lnTo>
                        <a:pt x="111" y="56"/>
                      </a:lnTo>
                      <a:lnTo>
                        <a:pt x="110" y="44"/>
                      </a:lnTo>
                      <a:lnTo>
                        <a:pt x="107" y="34"/>
                      </a:lnTo>
                      <a:lnTo>
                        <a:pt x="101" y="25"/>
                      </a:lnTo>
                      <a:lnTo>
                        <a:pt x="95" y="16"/>
                      </a:lnTo>
                      <a:lnTo>
                        <a:pt x="87" y="9"/>
                      </a:lnTo>
                      <a:lnTo>
                        <a:pt x="78" y="4"/>
                      </a:lnTo>
                      <a:lnTo>
                        <a:pt x="67" y="1"/>
                      </a:lnTo>
                      <a:lnTo>
                        <a:pt x="56" y="0"/>
                      </a:lnTo>
                      <a:lnTo>
                        <a:pt x="56" y="0"/>
                      </a:lnTo>
                      <a:lnTo>
                        <a:pt x="44" y="1"/>
                      </a:lnTo>
                      <a:lnTo>
                        <a:pt x="35" y="4"/>
                      </a:lnTo>
                      <a:lnTo>
                        <a:pt x="25" y="9"/>
                      </a:lnTo>
                      <a:lnTo>
                        <a:pt x="17" y="16"/>
                      </a:lnTo>
                      <a:lnTo>
                        <a:pt x="10" y="25"/>
                      </a:lnTo>
                      <a:lnTo>
                        <a:pt x="5" y="34"/>
                      </a:lnTo>
                      <a:lnTo>
                        <a:pt x="2" y="44"/>
                      </a:lnTo>
                      <a:lnTo>
                        <a:pt x="0" y="56"/>
                      </a:lnTo>
                      <a:lnTo>
                        <a:pt x="0" y="56"/>
                      </a:lnTo>
                      <a:close/>
                    </a:path>
                  </a:pathLst>
                </a:custGeom>
                <a:solidFill>
                  <a:srgbClr val="009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7" name="Freeform 221"/>
                <p:cNvSpPr>
                  <a:spLocks/>
                </p:cNvSpPr>
                <p:nvPr userDrawn="1"/>
              </p:nvSpPr>
              <p:spPr bwMode="auto">
                <a:xfrm>
                  <a:off x="10846933" y="639261"/>
                  <a:ext cx="42863" cy="42863"/>
                </a:xfrm>
                <a:custGeom>
                  <a:avLst/>
                  <a:gdLst>
                    <a:gd name="T0" fmla="*/ 0 w 52"/>
                    <a:gd name="T1" fmla="*/ 27 h 53"/>
                    <a:gd name="T2" fmla="*/ 0 w 52"/>
                    <a:gd name="T3" fmla="*/ 27 h 53"/>
                    <a:gd name="T4" fmla="*/ 0 w 52"/>
                    <a:gd name="T5" fmla="*/ 32 h 53"/>
                    <a:gd name="T6" fmla="*/ 1 w 52"/>
                    <a:gd name="T7" fmla="*/ 37 h 53"/>
                    <a:gd name="T8" fmla="*/ 4 w 52"/>
                    <a:gd name="T9" fmla="*/ 41 h 53"/>
                    <a:gd name="T10" fmla="*/ 7 w 52"/>
                    <a:gd name="T11" fmla="*/ 45 h 53"/>
                    <a:gd name="T12" fmla="*/ 11 w 52"/>
                    <a:gd name="T13" fmla="*/ 49 h 53"/>
                    <a:gd name="T14" fmla="*/ 15 w 52"/>
                    <a:gd name="T15" fmla="*/ 51 h 53"/>
                    <a:gd name="T16" fmla="*/ 20 w 52"/>
                    <a:gd name="T17" fmla="*/ 52 h 53"/>
                    <a:gd name="T18" fmla="*/ 26 w 52"/>
                    <a:gd name="T19" fmla="*/ 53 h 53"/>
                    <a:gd name="T20" fmla="*/ 26 w 52"/>
                    <a:gd name="T21" fmla="*/ 53 h 53"/>
                    <a:gd name="T22" fmla="*/ 31 w 52"/>
                    <a:gd name="T23" fmla="*/ 52 h 53"/>
                    <a:gd name="T24" fmla="*/ 36 w 52"/>
                    <a:gd name="T25" fmla="*/ 51 h 53"/>
                    <a:gd name="T26" fmla="*/ 40 w 52"/>
                    <a:gd name="T27" fmla="*/ 49 h 53"/>
                    <a:gd name="T28" fmla="*/ 44 w 52"/>
                    <a:gd name="T29" fmla="*/ 45 h 53"/>
                    <a:gd name="T30" fmla="*/ 48 w 52"/>
                    <a:gd name="T31" fmla="*/ 41 h 53"/>
                    <a:gd name="T32" fmla="*/ 50 w 52"/>
                    <a:gd name="T33" fmla="*/ 37 h 53"/>
                    <a:gd name="T34" fmla="*/ 51 w 52"/>
                    <a:gd name="T35" fmla="*/ 32 h 53"/>
                    <a:gd name="T36" fmla="*/ 52 w 52"/>
                    <a:gd name="T37" fmla="*/ 27 h 53"/>
                    <a:gd name="T38" fmla="*/ 52 w 52"/>
                    <a:gd name="T39" fmla="*/ 27 h 53"/>
                    <a:gd name="T40" fmla="*/ 51 w 52"/>
                    <a:gd name="T41" fmla="*/ 21 h 53"/>
                    <a:gd name="T42" fmla="*/ 50 w 52"/>
                    <a:gd name="T43" fmla="*/ 17 h 53"/>
                    <a:gd name="T44" fmla="*/ 48 w 52"/>
                    <a:gd name="T45" fmla="*/ 12 h 53"/>
                    <a:gd name="T46" fmla="*/ 44 w 52"/>
                    <a:gd name="T47" fmla="*/ 8 h 53"/>
                    <a:gd name="T48" fmla="*/ 40 w 52"/>
                    <a:gd name="T49" fmla="*/ 5 h 53"/>
                    <a:gd name="T50" fmla="*/ 36 w 52"/>
                    <a:gd name="T51" fmla="*/ 2 h 53"/>
                    <a:gd name="T52" fmla="*/ 31 w 52"/>
                    <a:gd name="T53" fmla="*/ 1 h 53"/>
                    <a:gd name="T54" fmla="*/ 26 w 52"/>
                    <a:gd name="T55" fmla="*/ 0 h 53"/>
                    <a:gd name="T56" fmla="*/ 26 w 52"/>
                    <a:gd name="T57" fmla="*/ 0 h 53"/>
                    <a:gd name="T58" fmla="*/ 20 w 52"/>
                    <a:gd name="T59" fmla="*/ 1 h 53"/>
                    <a:gd name="T60" fmla="*/ 15 w 52"/>
                    <a:gd name="T61" fmla="*/ 2 h 53"/>
                    <a:gd name="T62" fmla="*/ 11 w 52"/>
                    <a:gd name="T63" fmla="*/ 5 h 53"/>
                    <a:gd name="T64" fmla="*/ 7 w 52"/>
                    <a:gd name="T65" fmla="*/ 8 h 53"/>
                    <a:gd name="T66" fmla="*/ 4 w 52"/>
                    <a:gd name="T67" fmla="*/ 12 h 53"/>
                    <a:gd name="T68" fmla="*/ 1 w 52"/>
                    <a:gd name="T69" fmla="*/ 17 h 53"/>
                    <a:gd name="T70" fmla="*/ 0 w 52"/>
                    <a:gd name="T71" fmla="*/ 21 h 53"/>
                    <a:gd name="T72" fmla="*/ 0 w 52"/>
                    <a:gd name="T73" fmla="*/ 27 h 53"/>
                    <a:gd name="T74" fmla="*/ 0 w 52"/>
                    <a:gd name="T75"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53">
                      <a:moveTo>
                        <a:pt x="0" y="27"/>
                      </a:moveTo>
                      <a:lnTo>
                        <a:pt x="0" y="27"/>
                      </a:lnTo>
                      <a:lnTo>
                        <a:pt x="0" y="32"/>
                      </a:lnTo>
                      <a:lnTo>
                        <a:pt x="1" y="37"/>
                      </a:lnTo>
                      <a:lnTo>
                        <a:pt x="4" y="41"/>
                      </a:lnTo>
                      <a:lnTo>
                        <a:pt x="7" y="45"/>
                      </a:lnTo>
                      <a:lnTo>
                        <a:pt x="11" y="49"/>
                      </a:lnTo>
                      <a:lnTo>
                        <a:pt x="15" y="51"/>
                      </a:lnTo>
                      <a:lnTo>
                        <a:pt x="20" y="52"/>
                      </a:lnTo>
                      <a:lnTo>
                        <a:pt x="26" y="53"/>
                      </a:lnTo>
                      <a:lnTo>
                        <a:pt x="26" y="53"/>
                      </a:lnTo>
                      <a:lnTo>
                        <a:pt x="31" y="52"/>
                      </a:lnTo>
                      <a:lnTo>
                        <a:pt x="36" y="51"/>
                      </a:lnTo>
                      <a:lnTo>
                        <a:pt x="40" y="49"/>
                      </a:lnTo>
                      <a:lnTo>
                        <a:pt x="44" y="45"/>
                      </a:lnTo>
                      <a:lnTo>
                        <a:pt x="48" y="41"/>
                      </a:lnTo>
                      <a:lnTo>
                        <a:pt x="50" y="37"/>
                      </a:lnTo>
                      <a:lnTo>
                        <a:pt x="51" y="32"/>
                      </a:lnTo>
                      <a:lnTo>
                        <a:pt x="52" y="27"/>
                      </a:lnTo>
                      <a:lnTo>
                        <a:pt x="52" y="27"/>
                      </a:lnTo>
                      <a:lnTo>
                        <a:pt x="51" y="21"/>
                      </a:lnTo>
                      <a:lnTo>
                        <a:pt x="50" y="17"/>
                      </a:lnTo>
                      <a:lnTo>
                        <a:pt x="48" y="12"/>
                      </a:lnTo>
                      <a:lnTo>
                        <a:pt x="44" y="8"/>
                      </a:lnTo>
                      <a:lnTo>
                        <a:pt x="40" y="5"/>
                      </a:lnTo>
                      <a:lnTo>
                        <a:pt x="36" y="2"/>
                      </a:lnTo>
                      <a:lnTo>
                        <a:pt x="31" y="1"/>
                      </a:lnTo>
                      <a:lnTo>
                        <a:pt x="26" y="0"/>
                      </a:lnTo>
                      <a:lnTo>
                        <a:pt x="26" y="0"/>
                      </a:lnTo>
                      <a:lnTo>
                        <a:pt x="20" y="1"/>
                      </a:lnTo>
                      <a:lnTo>
                        <a:pt x="15" y="2"/>
                      </a:lnTo>
                      <a:lnTo>
                        <a:pt x="11" y="5"/>
                      </a:lnTo>
                      <a:lnTo>
                        <a:pt x="7" y="8"/>
                      </a:lnTo>
                      <a:lnTo>
                        <a:pt x="4" y="12"/>
                      </a:lnTo>
                      <a:lnTo>
                        <a:pt x="1" y="17"/>
                      </a:lnTo>
                      <a:lnTo>
                        <a:pt x="0" y="21"/>
                      </a:lnTo>
                      <a:lnTo>
                        <a:pt x="0" y="27"/>
                      </a:lnTo>
                      <a:lnTo>
                        <a:pt x="0"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8" name="Freeform 222"/>
                <p:cNvSpPr>
                  <a:spLocks/>
                </p:cNvSpPr>
                <p:nvPr userDrawn="1"/>
              </p:nvSpPr>
              <p:spPr bwMode="auto">
                <a:xfrm>
                  <a:off x="10604046" y="363036"/>
                  <a:ext cx="79375" cy="80963"/>
                </a:xfrm>
                <a:custGeom>
                  <a:avLst/>
                  <a:gdLst>
                    <a:gd name="T0" fmla="*/ 0 w 101"/>
                    <a:gd name="T1" fmla="*/ 50 h 101"/>
                    <a:gd name="T2" fmla="*/ 0 w 101"/>
                    <a:gd name="T3" fmla="*/ 50 h 101"/>
                    <a:gd name="T4" fmla="*/ 1 w 101"/>
                    <a:gd name="T5" fmla="*/ 60 h 101"/>
                    <a:gd name="T6" fmla="*/ 4 w 101"/>
                    <a:gd name="T7" fmla="*/ 70 h 101"/>
                    <a:gd name="T8" fmla="*/ 8 w 101"/>
                    <a:gd name="T9" fmla="*/ 78 h 101"/>
                    <a:gd name="T10" fmla="*/ 14 w 101"/>
                    <a:gd name="T11" fmla="*/ 87 h 101"/>
                    <a:gd name="T12" fmla="*/ 23 w 101"/>
                    <a:gd name="T13" fmla="*/ 92 h 101"/>
                    <a:gd name="T14" fmla="*/ 31 w 101"/>
                    <a:gd name="T15" fmla="*/ 97 h 101"/>
                    <a:gd name="T16" fmla="*/ 40 w 101"/>
                    <a:gd name="T17" fmla="*/ 100 h 101"/>
                    <a:gd name="T18" fmla="*/ 50 w 101"/>
                    <a:gd name="T19" fmla="*/ 101 h 101"/>
                    <a:gd name="T20" fmla="*/ 50 w 101"/>
                    <a:gd name="T21" fmla="*/ 101 h 101"/>
                    <a:gd name="T22" fmla="*/ 61 w 101"/>
                    <a:gd name="T23" fmla="*/ 100 h 101"/>
                    <a:gd name="T24" fmla="*/ 70 w 101"/>
                    <a:gd name="T25" fmla="*/ 97 h 101"/>
                    <a:gd name="T26" fmla="*/ 78 w 101"/>
                    <a:gd name="T27" fmla="*/ 92 h 101"/>
                    <a:gd name="T28" fmla="*/ 87 w 101"/>
                    <a:gd name="T29" fmla="*/ 87 h 101"/>
                    <a:gd name="T30" fmla="*/ 93 w 101"/>
                    <a:gd name="T31" fmla="*/ 78 h 101"/>
                    <a:gd name="T32" fmla="*/ 98 w 101"/>
                    <a:gd name="T33" fmla="*/ 70 h 101"/>
                    <a:gd name="T34" fmla="*/ 100 w 101"/>
                    <a:gd name="T35" fmla="*/ 60 h 101"/>
                    <a:gd name="T36" fmla="*/ 101 w 101"/>
                    <a:gd name="T37" fmla="*/ 50 h 101"/>
                    <a:gd name="T38" fmla="*/ 101 w 101"/>
                    <a:gd name="T39" fmla="*/ 50 h 101"/>
                    <a:gd name="T40" fmla="*/ 100 w 101"/>
                    <a:gd name="T41" fmla="*/ 40 h 101"/>
                    <a:gd name="T42" fmla="*/ 98 w 101"/>
                    <a:gd name="T43" fmla="*/ 31 h 101"/>
                    <a:gd name="T44" fmla="*/ 93 w 101"/>
                    <a:gd name="T45" fmla="*/ 22 h 101"/>
                    <a:gd name="T46" fmla="*/ 87 w 101"/>
                    <a:gd name="T47" fmla="*/ 14 h 101"/>
                    <a:gd name="T48" fmla="*/ 78 w 101"/>
                    <a:gd name="T49" fmla="*/ 8 h 101"/>
                    <a:gd name="T50" fmla="*/ 70 w 101"/>
                    <a:gd name="T51" fmla="*/ 3 h 101"/>
                    <a:gd name="T52" fmla="*/ 61 w 101"/>
                    <a:gd name="T53" fmla="*/ 1 h 101"/>
                    <a:gd name="T54" fmla="*/ 50 w 101"/>
                    <a:gd name="T55" fmla="*/ 0 h 101"/>
                    <a:gd name="T56" fmla="*/ 50 w 101"/>
                    <a:gd name="T57" fmla="*/ 0 h 101"/>
                    <a:gd name="T58" fmla="*/ 40 w 101"/>
                    <a:gd name="T59" fmla="*/ 1 h 101"/>
                    <a:gd name="T60" fmla="*/ 31 w 101"/>
                    <a:gd name="T61" fmla="*/ 3 h 101"/>
                    <a:gd name="T62" fmla="*/ 23 w 101"/>
                    <a:gd name="T63" fmla="*/ 8 h 101"/>
                    <a:gd name="T64" fmla="*/ 14 w 101"/>
                    <a:gd name="T65" fmla="*/ 14 h 101"/>
                    <a:gd name="T66" fmla="*/ 8 w 101"/>
                    <a:gd name="T67" fmla="*/ 22 h 101"/>
                    <a:gd name="T68" fmla="*/ 4 w 101"/>
                    <a:gd name="T69" fmla="*/ 31 h 101"/>
                    <a:gd name="T70" fmla="*/ 1 w 101"/>
                    <a:gd name="T71" fmla="*/ 40 h 101"/>
                    <a:gd name="T72" fmla="*/ 0 w 101"/>
                    <a:gd name="T73" fmla="*/ 50 h 101"/>
                    <a:gd name="T74" fmla="*/ 0 w 101"/>
                    <a:gd name="T7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1" h="101">
                      <a:moveTo>
                        <a:pt x="0" y="50"/>
                      </a:moveTo>
                      <a:lnTo>
                        <a:pt x="0" y="50"/>
                      </a:lnTo>
                      <a:lnTo>
                        <a:pt x="1" y="60"/>
                      </a:lnTo>
                      <a:lnTo>
                        <a:pt x="4" y="70"/>
                      </a:lnTo>
                      <a:lnTo>
                        <a:pt x="8" y="78"/>
                      </a:lnTo>
                      <a:lnTo>
                        <a:pt x="14" y="87"/>
                      </a:lnTo>
                      <a:lnTo>
                        <a:pt x="23" y="92"/>
                      </a:lnTo>
                      <a:lnTo>
                        <a:pt x="31" y="97"/>
                      </a:lnTo>
                      <a:lnTo>
                        <a:pt x="40" y="100"/>
                      </a:lnTo>
                      <a:lnTo>
                        <a:pt x="50" y="101"/>
                      </a:lnTo>
                      <a:lnTo>
                        <a:pt x="50" y="101"/>
                      </a:lnTo>
                      <a:lnTo>
                        <a:pt x="61" y="100"/>
                      </a:lnTo>
                      <a:lnTo>
                        <a:pt x="70" y="97"/>
                      </a:lnTo>
                      <a:lnTo>
                        <a:pt x="78" y="92"/>
                      </a:lnTo>
                      <a:lnTo>
                        <a:pt x="87" y="87"/>
                      </a:lnTo>
                      <a:lnTo>
                        <a:pt x="93" y="78"/>
                      </a:lnTo>
                      <a:lnTo>
                        <a:pt x="98" y="70"/>
                      </a:lnTo>
                      <a:lnTo>
                        <a:pt x="100" y="60"/>
                      </a:lnTo>
                      <a:lnTo>
                        <a:pt x="101" y="50"/>
                      </a:lnTo>
                      <a:lnTo>
                        <a:pt x="101" y="50"/>
                      </a:lnTo>
                      <a:lnTo>
                        <a:pt x="100" y="40"/>
                      </a:lnTo>
                      <a:lnTo>
                        <a:pt x="98" y="31"/>
                      </a:lnTo>
                      <a:lnTo>
                        <a:pt x="93" y="22"/>
                      </a:lnTo>
                      <a:lnTo>
                        <a:pt x="87" y="14"/>
                      </a:lnTo>
                      <a:lnTo>
                        <a:pt x="78" y="8"/>
                      </a:lnTo>
                      <a:lnTo>
                        <a:pt x="70" y="3"/>
                      </a:lnTo>
                      <a:lnTo>
                        <a:pt x="61" y="1"/>
                      </a:lnTo>
                      <a:lnTo>
                        <a:pt x="50" y="0"/>
                      </a:lnTo>
                      <a:lnTo>
                        <a:pt x="50" y="0"/>
                      </a:lnTo>
                      <a:lnTo>
                        <a:pt x="40" y="1"/>
                      </a:lnTo>
                      <a:lnTo>
                        <a:pt x="31" y="3"/>
                      </a:lnTo>
                      <a:lnTo>
                        <a:pt x="23" y="8"/>
                      </a:lnTo>
                      <a:lnTo>
                        <a:pt x="14" y="14"/>
                      </a:lnTo>
                      <a:lnTo>
                        <a:pt x="8" y="22"/>
                      </a:lnTo>
                      <a:lnTo>
                        <a:pt x="4" y="31"/>
                      </a:lnTo>
                      <a:lnTo>
                        <a:pt x="1" y="40"/>
                      </a:lnTo>
                      <a:lnTo>
                        <a:pt x="0" y="50"/>
                      </a:lnTo>
                      <a:lnTo>
                        <a:pt x="0" y="50"/>
                      </a:lnTo>
                      <a:close/>
                    </a:path>
                  </a:pathLst>
                </a:custGeom>
                <a:solidFill>
                  <a:srgbClr val="D0D5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39" name="Freeform 223"/>
                <p:cNvSpPr>
                  <a:spLocks/>
                </p:cNvSpPr>
                <p:nvPr userDrawn="1"/>
              </p:nvSpPr>
              <p:spPr bwMode="auto">
                <a:xfrm>
                  <a:off x="10443708" y="363036"/>
                  <a:ext cx="80963" cy="80963"/>
                </a:xfrm>
                <a:custGeom>
                  <a:avLst/>
                  <a:gdLst>
                    <a:gd name="T0" fmla="*/ 0 w 101"/>
                    <a:gd name="T1" fmla="*/ 50 h 101"/>
                    <a:gd name="T2" fmla="*/ 0 w 101"/>
                    <a:gd name="T3" fmla="*/ 50 h 101"/>
                    <a:gd name="T4" fmla="*/ 1 w 101"/>
                    <a:gd name="T5" fmla="*/ 60 h 101"/>
                    <a:gd name="T6" fmla="*/ 4 w 101"/>
                    <a:gd name="T7" fmla="*/ 70 h 101"/>
                    <a:gd name="T8" fmla="*/ 8 w 101"/>
                    <a:gd name="T9" fmla="*/ 78 h 101"/>
                    <a:gd name="T10" fmla="*/ 14 w 101"/>
                    <a:gd name="T11" fmla="*/ 87 h 101"/>
                    <a:gd name="T12" fmla="*/ 23 w 101"/>
                    <a:gd name="T13" fmla="*/ 92 h 101"/>
                    <a:gd name="T14" fmla="*/ 31 w 101"/>
                    <a:gd name="T15" fmla="*/ 97 h 101"/>
                    <a:gd name="T16" fmla="*/ 40 w 101"/>
                    <a:gd name="T17" fmla="*/ 100 h 101"/>
                    <a:gd name="T18" fmla="*/ 51 w 101"/>
                    <a:gd name="T19" fmla="*/ 101 h 101"/>
                    <a:gd name="T20" fmla="*/ 51 w 101"/>
                    <a:gd name="T21" fmla="*/ 101 h 101"/>
                    <a:gd name="T22" fmla="*/ 61 w 101"/>
                    <a:gd name="T23" fmla="*/ 100 h 101"/>
                    <a:gd name="T24" fmla="*/ 70 w 101"/>
                    <a:gd name="T25" fmla="*/ 97 h 101"/>
                    <a:gd name="T26" fmla="*/ 79 w 101"/>
                    <a:gd name="T27" fmla="*/ 92 h 101"/>
                    <a:gd name="T28" fmla="*/ 87 w 101"/>
                    <a:gd name="T29" fmla="*/ 87 h 101"/>
                    <a:gd name="T30" fmla="*/ 93 w 101"/>
                    <a:gd name="T31" fmla="*/ 78 h 101"/>
                    <a:gd name="T32" fmla="*/ 98 w 101"/>
                    <a:gd name="T33" fmla="*/ 70 h 101"/>
                    <a:gd name="T34" fmla="*/ 100 w 101"/>
                    <a:gd name="T35" fmla="*/ 60 h 101"/>
                    <a:gd name="T36" fmla="*/ 101 w 101"/>
                    <a:gd name="T37" fmla="*/ 50 h 101"/>
                    <a:gd name="T38" fmla="*/ 101 w 101"/>
                    <a:gd name="T39" fmla="*/ 50 h 101"/>
                    <a:gd name="T40" fmla="*/ 100 w 101"/>
                    <a:gd name="T41" fmla="*/ 40 h 101"/>
                    <a:gd name="T42" fmla="*/ 98 w 101"/>
                    <a:gd name="T43" fmla="*/ 31 h 101"/>
                    <a:gd name="T44" fmla="*/ 93 w 101"/>
                    <a:gd name="T45" fmla="*/ 22 h 101"/>
                    <a:gd name="T46" fmla="*/ 87 w 101"/>
                    <a:gd name="T47" fmla="*/ 14 h 101"/>
                    <a:gd name="T48" fmla="*/ 79 w 101"/>
                    <a:gd name="T49" fmla="*/ 8 h 101"/>
                    <a:gd name="T50" fmla="*/ 70 w 101"/>
                    <a:gd name="T51" fmla="*/ 3 h 101"/>
                    <a:gd name="T52" fmla="*/ 61 w 101"/>
                    <a:gd name="T53" fmla="*/ 1 h 101"/>
                    <a:gd name="T54" fmla="*/ 51 w 101"/>
                    <a:gd name="T55" fmla="*/ 0 h 101"/>
                    <a:gd name="T56" fmla="*/ 51 w 101"/>
                    <a:gd name="T57" fmla="*/ 0 h 101"/>
                    <a:gd name="T58" fmla="*/ 40 w 101"/>
                    <a:gd name="T59" fmla="*/ 1 h 101"/>
                    <a:gd name="T60" fmla="*/ 31 w 101"/>
                    <a:gd name="T61" fmla="*/ 3 h 101"/>
                    <a:gd name="T62" fmla="*/ 23 w 101"/>
                    <a:gd name="T63" fmla="*/ 8 h 101"/>
                    <a:gd name="T64" fmla="*/ 14 w 101"/>
                    <a:gd name="T65" fmla="*/ 14 h 101"/>
                    <a:gd name="T66" fmla="*/ 8 w 101"/>
                    <a:gd name="T67" fmla="*/ 22 h 101"/>
                    <a:gd name="T68" fmla="*/ 4 w 101"/>
                    <a:gd name="T69" fmla="*/ 31 h 101"/>
                    <a:gd name="T70" fmla="*/ 1 w 101"/>
                    <a:gd name="T71" fmla="*/ 40 h 101"/>
                    <a:gd name="T72" fmla="*/ 0 w 101"/>
                    <a:gd name="T73" fmla="*/ 50 h 101"/>
                    <a:gd name="T74" fmla="*/ 0 w 101"/>
                    <a:gd name="T7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1" h="101">
                      <a:moveTo>
                        <a:pt x="0" y="50"/>
                      </a:moveTo>
                      <a:lnTo>
                        <a:pt x="0" y="50"/>
                      </a:lnTo>
                      <a:lnTo>
                        <a:pt x="1" y="60"/>
                      </a:lnTo>
                      <a:lnTo>
                        <a:pt x="4" y="70"/>
                      </a:lnTo>
                      <a:lnTo>
                        <a:pt x="8" y="78"/>
                      </a:lnTo>
                      <a:lnTo>
                        <a:pt x="14" y="87"/>
                      </a:lnTo>
                      <a:lnTo>
                        <a:pt x="23" y="92"/>
                      </a:lnTo>
                      <a:lnTo>
                        <a:pt x="31" y="97"/>
                      </a:lnTo>
                      <a:lnTo>
                        <a:pt x="40" y="100"/>
                      </a:lnTo>
                      <a:lnTo>
                        <a:pt x="51" y="101"/>
                      </a:lnTo>
                      <a:lnTo>
                        <a:pt x="51" y="101"/>
                      </a:lnTo>
                      <a:lnTo>
                        <a:pt x="61" y="100"/>
                      </a:lnTo>
                      <a:lnTo>
                        <a:pt x="70" y="97"/>
                      </a:lnTo>
                      <a:lnTo>
                        <a:pt x="79" y="92"/>
                      </a:lnTo>
                      <a:lnTo>
                        <a:pt x="87" y="87"/>
                      </a:lnTo>
                      <a:lnTo>
                        <a:pt x="93" y="78"/>
                      </a:lnTo>
                      <a:lnTo>
                        <a:pt x="98" y="70"/>
                      </a:lnTo>
                      <a:lnTo>
                        <a:pt x="100" y="60"/>
                      </a:lnTo>
                      <a:lnTo>
                        <a:pt x="101" y="50"/>
                      </a:lnTo>
                      <a:lnTo>
                        <a:pt x="101" y="50"/>
                      </a:lnTo>
                      <a:lnTo>
                        <a:pt x="100" y="40"/>
                      </a:lnTo>
                      <a:lnTo>
                        <a:pt x="98" y="31"/>
                      </a:lnTo>
                      <a:lnTo>
                        <a:pt x="93" y="22"/>
                      </a:lnTo>
                      <a:lnTo>
                        <a:pt x="87" y="14"/>
                      </a:lnTo>
                      <a:lnTo>
                        <a:pt x="79" y="8"/>
                      </a:lnTo>
                      <a:lnTo>
                        <a:pt x="70" y="3"/>
                      </a:lnTo>
                      <a:lnTo>
                        <a:pt x="61" y="1"/>
                      </a:lnTo>
                      <a:lnTo>
                        <a:pt x="51" y="0"/>
                      </a:lnTo>
                      <a:lnTo>
                        <a:pt x="51" y="0"/>
                      </a:lnTo>
                      <a:lnTo>
                        <a:pt x="40" y="1"/>
                      </a:lnTo>
                      <a:lnTo>
                        <a:pt x="31" y="3"/>
                      </a:lnTo>
                      <a:lnTo>
                        <a:pt x="23" y="8"/>
                      </a:lnTo>
                      <a:lnTo>
                        <a:pt x="14" y="14"/>
                      </a:lnTo>
                      <a:lnTo>
                        <a:pt x="8" y="22"/>
                      </a:lnTo>
                      <a:lnTo>
                        <a:pt x="4" y="31"/>
                      </a:lnTo>
                      <a:lnTo>
                        <a:pt x="1" y="40"/>
                      </a:lnTo>
                      <a:lnTo>
                        <a:pt x="0" y="50"/>
                      </a:lnTo>
                      <a:lnTo>
                        <a:pt x="0" y="50"/>
                      </a:lnTo>
                      <a:close/>
                    </a:path>
                  </a:pathLst>
                </a:custGeom>
                <a:solidFill>
                  <a:srgbClr val="D0D5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0" name="Freeform 224"/>
                <p:cNvSpPr>
                  <a:spLocks/>
                </p:cNvSpPr>
                <p:nvPr userDrawn="1"/>
              </p:nvSpPr>
              <p:spPr bwMode="auto">
                <a:xfrm>
                  <a:off x="10284958" y="363036"/>
                  <a:ext cx="79375" cy="80963"/>
                </a:xfrm>
                <a:custGeom>
                  <a:avLst/>
                  <a:gdLst>
                    <a:gd name="T0" fmla="*/ 0 w 101"/>
                    <a:gd name="T1" fmla="*/ 50 h 101"/>
                    <a:gd name="T2" fmla="*/ 0 w 101"/>
                    <a:gd name="T3" fmla="*/ 50 h 101"/>
                    <a:gd name="T4" fmla="*/ 1 w 101"/>
                    <a:gd name="T5" fmla="*/ 60 h 101"/>
                    <a:gd name="T6" fmla="*/ 4 w 101"/>
                    <a:gd name="T7" fmla="*/ 70 h 101"/>
                    <a:gd name="T8" fmla="*/ 8 w 101"/>
                    <a:gd name="T9" fmla="*/ 78 h 101"/>
                    <a:gd name="T10" fmla="*/ 14 w 101"/>
                    <a:gd name="T11" fmla="*/ 87 h 101"/>
                    <a:gd name="T12" fmla="*/ 23 w 101"/>
                    <a:gd name="T13" fmla="*/ 92 h 101"/>
                    <a:gd name="T14" fmla="*/ 31 w 101"/>
                    <a:gd name="T15" fmla="*/ 97 h 101"/>
                    <a:gd name="T16" fmla="*/ 41 w 101"/>
                    <a:gd name="T17" fmla="*/ 100 h 101"/>
                    <a:gd name="T18" fmla="*/ 51 w 101"/>
                    <a:gd name="T19" fmla="*/ 101 h 101"/>
                    <a:gd name="T20" fmla="*/ 51 w 101"/>
                    <a:gd name="T21" fmla="*/ 101 h 101"/>
                    <a:gd name="T22" fmla="*/ 61 w 101"/>
                    <a:gd name="T23" fmla="*/ 100 h 101"/>
                    <a:gd name="T24" fmla="*/ 70 w 101"/>
                    <a:gd name="T25" fmla="*/ 97 h 101"/>
                    <a:gd name="T26" fmla="*/ 79 w 101"/>
                    <a:gd name="T27" fmla="*/ 92 h 101"/>
                    <a:gd name="T28" fmla="*/ 87 w 101"/>
                    <a:gd name="T29" fmla="*/ 87 h 101"/>
                    <a:gd name="T30" fmla="*/ 93 w 101"/>
                    <a:gd name="T31" fmla="*/ 78 h 101"/>
                    <a:gd name="T32" fmla="*/ 98 w 101"/>
                    <a:gd name="T33" fmla="*/ 70 h 101"/>
                    <a:gd name="T34" fmla="*/ 100 w 101"/>
                    <a:gd name="T35" fmla="*/ 60 h 101"/>
                    <a:gd name="T36" fmla="*/ 101 w 101"/>
                    <a:gd name="T37" fmla="*/ 50 h 101"/>
                    <a:gd name="T38" fmla="*/ 101 w 101"/>
                    <a:gd name="T39" fmla="*/ 50 h 101"/>
                    <a:gd name="T40" fmla="*/ 100 w 101"/>
                    <a:gd name="T41" fmla="*/ 40 h 101"/>
                    <a:gd name="T42" fmla="*/ 98 w 101"/>
                    <a:gd name="T43" fmla="*/ 31 h 101"/>
                    <a:gd name="T44" fmla="*/ 93 w 101"/>
                    <a:gd name="T45" fmla="*/ 22 h 101"/>
                    <a:gd name="T46" fmla="*/ 87 w 101"/>
                    <a:gd name="T47" fmla="*/ 14 h 101"/>
                    <a:gd name="T48" fmla="*/ 79 w 101"/>
                    <a:gd name="T49" fmla="*/ 8 h 101"/>
                    <a:gd name="T50" fmla="*/ 70 w 101"/>
                    <a:gd name="T51" fmla="*/ 3 h 101"/>
                    <a:gd name="T52" fmla="*/ 61 w 101"/>
                    <a:gd name="T53" fmla="*/ 1 h 101"/>
                    <a:gd name="T54" fmla="*/ 51 w 101"/>
                    <a:gd name="T55" fmla="*/ 0 h 101"/>
                    <a:gd name="T56" fmla="*/ 51 w 101"/>
                    <a:gd name="T57" fmla="*/ 0 h 101"/>
                    <a:gd name="T58" fmla="*/ 41 w 101"/>
                    <a:gd name="T59" fmla="*/ 1 h 101"/>
                    <a:gd name="T60" fmla="*/ 31 w 101"/>
                    <a:gd name="T61" fmla="*/ 3 h 101"/>
                    <a:gd name="T62" fmla="*/ 23 w 101"/>
                    <a:gd name="T63" fmla="*/ 8 h 101"/>
                    <a:gd name="T64" fmla="*/ 14 w 101"/>
                    <a:gd name="T65" fmla="*/ 14 h 101"/>
                    <a:gd name="T66" fmla="*/ 8 w 101"/>
                    <a:gd name="T67" fmla="*/ 22 h 101"/>
                    <a:gd name="T68" fmla="*/ 4 w 101"/>
                    <a:gd name="T69" fmla="*/ 31 h 101"/>
                    <a:gd name="T70" fmla="*/ 1 w 101"/>
                    <a:gd name="T71" fmla="*/ 40 h 101"/>
                    <a:gd name="T72" fmla="*/ 0 w 101"/>
                    <a:gd name="T73" fmla="*/ 50 h 101"/>
                    <a:gd name="T74" fmla="*/ 0 w 101"/>
                    <a:gd name="T7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1" h="101">
                      <a:moveTo>
                        <a:pt x="0" y="50"/>
                      </a:moveTo>
                      <a:lnTo>
                        <a:pt x="0" y="50"/>
                      </a:lnTo>
                      <a:lnTo>
                        <a:pt x="1" y="60"/>
                      </a:lnTo>
                      <a:lnTo>
                        <a:pt x="4" y="70"/>
                      </a:lnTo>
                      <a:lnTo>
                        <a:pt x="8" y="78"/>
                      </a:lnTo>
                      <a:lnTo>
                        <a:pt x="14" y="87"/>
                      </a:lnTo>
                      <a:lnTo>
                        <a:pt x="23" y="92"/>
                      </a:lnTo>
                      <a:lnTo>
                        <a:pt x="31" y="97"/>
                      </a:lnTo>
                      <a:lnTo>
                        <a:pt x="41" y="100"/>
                      </a:lnTo>
                      <a:lnTo>
                        <a:pt x="51" y="101"/>
                      </a:lnTo>
                      <a:lnTo>
                        <a:pt x="51" y="101"/>
                      </a:lnTo>
                      <a:lnTo>
                        <a:pt x="61" y="100"/>
                      </a:lnTo>
                      <a:lnTo>
                        <a:pt x="70" y="97"/>
                      </a:lnTo>
                      <a:lnTo>
                        <a:pt x="79" y="92"/>
                      </a:lnTo>
                      <a:lnTo>
                        <a:pt x="87" y="87"/>
                      </a:lnTo>
                      <a:lnTo>
                        <a:pt x="93" y="78"/>
                      </a:lnTo>
                      <a:lnTo>
                        <a:pt x="98" y="70"/>
                      </a:lnTo>
                      <a:lnTo>
                        <a:pt x="100" y="60"/>
                      </a:lnTo>
                      <a:lnTo>
                        <a:pt x="101" y="50"/>
                      </a:lnTo>
                      <a:lnTo>
                        <a:pt x="101" y="50"/>
                      </a:lnTo>
                      <a:lnTo>
                        <a:pt x="100" y="40"/>
                      </a:lnTo>
                      <a:lnTo>
                        <a:pt x="98" y="31"/>
                      </a:lnTo>
                      <a:lnTo>
                        <a:pt x="93" y="22"/>
                      </a:lnTo>
                      <a:lnTo>
                        <a:pt x="87" y="14"/>
                      </a:lnTo>
                      <a:lnTo>
                        <a:pt x="79" y="8"/>
                      </a:lnTo>
                      <a:lnTo>
                        <a:pt x="70" y="3"/>
                      </a:lnTo>
                      <a:lnTo>
                        <a:pt x="61" y="1"/>
                      </a:lnTo>
                      <a:lnTo>
                        <a:pt x="51" y="0"/>
                      </a:lnTo>
                      <a:lnTo>
                        <a:pt x="51" y="0"/>
                      </a:lnTo>
                      <a:lnTo>
                        <a:pt x="41" y="1"/>
                      </a:lnTo>
                      <a:lnTo>
                        <a:pt x="31" y="3"/>
                      </a:lnTo>
                      <a:lnTo>
                        <a:pt x="23" y="8"/>
                      </a:lnTo>
                      <a:lnTo>
                        <a:pt x="14" y="14"/>
                      </a:lnTo>
                      <a:lnTo>
                        <a:pt x="8" y="22"/>
                      </a:lnTo>
                      <a:lnTo>
                        <a:pt x="4" y="31"/>
                      </a:lnTo>
                      <a:lnTo>
                        <a:pt x="1" y="40"/>
                      </a:lnTo>
                      <a:lnTo>
                        <a:pt x="0" y="50"/>
                      </a:lnTo>
                      <a:lnTo>
                        <a:pt x="0" y="50"/>
                      </a:lnTo>
                      <a:close/>
                    </a:path>
                  </a:pathLst>
                </a:custGeom>
                <a:solidFill>
                  <a:srgbClr val="D0D5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1" name="Freeform 225"/>
                <p:cNvSpPr>
                  <a:spLocks/>
                </p:cNvSpPr>
                <p:nvPr userDrawn="1"/>
              </p:nvSpPr>
              <p:spPr bwMode="auto">
                <a:xfrm>
                  <a:off x="10237333" y="661486"/>
                  <a:ext cx="188913" cy="92075"/>
                </a:xfrm>
                <a:custGeom>
                  <a:avLst/>
                  <a:gdLst>
                    <a:gd name="T0" fmla="*/ 237 w 237"/>
                    <a:gd name="T1" fmla="*/ 99 h 117"/>
                    <a:gd name="T2" fmla="*/ 237 w 237"/>
                    <a:gd name="T3" fmla="*/ 99 h 117"/>
                    <a:gd name="T4" fmla="*/ 180 w 237"/>
                    <a:gd name="T5" fmla="*/ 106 h 117"/>
                    <a:gd name="T6" fmla="*/ 122 w 237"/>
                    <a:gd name="T7" fmla="*/ 112 h 117"/>
                    <a:gd name="T8" fmla="*/ 61 w 237"/>
                    <a:gd name="T9" fmla="*/ 116 h 117"/>
                    <a:gd name="T10" fmla="*/ 0 w 237"/>
                    <a:gd name="T11" fmla="*/ 117 h 117"/>
                    <a:gd name="T12" fmla="*/ 0 w 237"/>
                    <a:gd name="T13" fmla="*/ 0 h 117"/>
                    <a:gd name="T14" fmla="*/ 0 w 237"/>
                    <a:gd name="T15" fmla="*/ 0 h 117"/>
                    <a:gd name="T16" fmla="*/ 19 w 237"/>
                    <a:gd name="T17" fmla="*/ 0 h 117"/>
                    <a:gd name="T18" fmla="*/ 38 w 237"/>
                    <a:gd name="T19" fmla="*/ 1 h 117"/>
                    <a:gd name="T20" fmla="*/ 56 w 237"/>
                    <a:gd name="T21" fmla="*/ 4 h 117"/>
                    <a:gd name="T22" fmla="*/ 73 w 237"/>
                    <a:gd name="T23" fmla="*/ 7 h 117"/>
                    <a:gd name="T24" fmla="*/ 91 w 237"/>
                    <a:gd name="T25" fmla="*/ 11 h 117"/>
                    <a:gd name="T26" fmla="*/ 108 w 237"/>
                    <a:gd name="T27" fmla="*/ 16 h 117"/>
                    <a:gd name="T28" fmla="*/ 123 w 237"/>
                    <a:gd name="T29" fmla="*/ 20 h 117"/>
                    <a:gd name="T30" fmla="*/ 139 w 237"/>
                    <a:gd name="T31" fmla="*/ 28 h 117"/>
                    <a:gd name="T32" fmla="*/ 154 w 237"/>
                    <a:gd name="T33" fmla="*/ 34 h 117"/>
                    <a:gd name="T34" fmla="*/ 169 w 237"/>
                    <a:gd name="T35" fmla="*/ 42 h 117"/>
                    <a:gd name="T36" fmla="*/ 182 w 237"/>
                    <a:gd name="T37" fmla="*/ 49 h 117"/>
                    <a:gd name="T38" fmla="*/ 195 w 237"/>
                    <a:gd name="T39" fmla="*/ 58 h 117"/>
                    <a:gd name="T40" fmla="*/ 207 w 237"/>
                    <a:gd name="T41" fmla="*/ 68 h 117"/>
                    <a:gd name="T42" fmla="*/ 218 w 237"/>
                    <a:gd name="T43" fmla="*/ 77 h 117"/>
                    <a:gd name="T44" fmla="*/ 228 w 237"/>
                    <a:gd name="T45" fmla="*/ 88 h 117"/>
                    <a:gd name="T46" fmla="*/ 237 w 237"/>
                    <a:gd name="T47" fmla="*/ 99 h 117"/>
                    <a:gd name="T48" fmla="*/ 237 w 237"/>
                    <a:gd name="T49" fmla="*/ 9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7" h="117">
                      <a:moveTo>
                        <a:pt x="237" y="99"/>
                      </a:moveTo>
                      <a:lnTo>
                        <a:pt x="237" y="99"/>
                      </a:lnTo>
                      <a:lnTo>
                        <a:pt x="180" y="106"/>
                      </a:lnTo>
                      <a:lnTo>
                        <a:pt x="122" y="112"/>
                      </a:lnTo>
                      <a:lnTo>
                        <a:pt x="61" y="116"/>
                      </a:lnTo>
                      <a:lnTo>
                        <a:pt x="0" y="117"/>
                      </a:lnTo>
                      <a:lnTo>
                        <a:pt x="0" y="0"/>
                      </a:lnTo>
                      <a:lnTo>
                        <a:pt x="0" y="0"/>
                      </a:lnTo>
                      <a:lnTo>
                        <a:pt x="19" y="0"/>
                      </a:lnTo>
                      <a:lnTo>
                        <a:pt x="38" y="1"/>
                      </a:lnTo>
                      <a:lnTo>
                        <a:pt x="56" y="4"/>
                      </a:lnTo>
                      <a:lnTo>
                        <a:pt x="73" y="7"/>
                      </a:lnTo>
                      <a:lnTo>
                        <a:pt x="91" y="11"/>
                      </a:lnTo>
                      <a:lnTo>
                        <a:pt x="108" y="16"/>
                      </a:lnTo>
                      <a:lnTo>
                        <a:pt x="123" y="20"/>
                      </a:lnTo>
                      <a:lnTo>
                        <a:pt x="139" y="28"/>
                      </a:lnTo>
                      <a:lnTo>
                        <a:pt x="154" y="34"/>
                      </a:lnTo>
                      <a:lnTo>
                        <a:pt x="169" y="42"/>
                      </a:lnTo>
                      <a:lnTo>
                        <a:pt x="182" y="49"/>
                      </a:lnTo>
                      <a:lnTo>
                        <a:pt x="195" y="58"/>
                      </a:lnTo>
                      <a:lnTo>
                        <a:pt x="207" y="68"/>
                      </a:lnTo>
                      <a:lnTo>
                        <a:pt x="218" y="77"/>
                      </a:lnTo>
                      <a:lnTo>
                        <a:pt x="228" y="88"/>
                      </a:lnTo>
                      <a:lnTo>
                        <a:pt x="237" y="99"/>
                      </a:lnTo>
                      <a:lnTo>
                        <a:pt x="237" y="99"/>
                      </a:lnTo>
                      <a:close/>
                    </a:path>
                  </a:pathLst>
                </a:custGeom>
                <a:solidFill>
                  <a:srgbClr val="D0D5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2" name="Freeform 226"/>
                <p:cNvSpPr>
                  <a:spLocks/>
                </p:cNvSpPr>
                <p:nvPr userDrawn="1"/>
              </p:nvSpPr>
              <p:spPr bwMode="auto">
                <a:xfrm>
                  <a:off x="9772196" y="310649"/>
                  <a:ext cx="42863" cy="20638"/>
                </a:xfrm>
                <a:custGeom>
                  <a:avLst/>
                  <a:gdLst>
                    <a:gd name="T0" fmla="*/ 55 w 55"/>
                    <a:gd name="T1" fmla="*/ 0 h 26"/>
                    <a:gd name="T2" fmla="*/ 0 w 55"/>
                    <a:gd name="T3" fmla="*/ 26 h 26"/>
                    <a:gd name="T4" fmla="*/ 0 w 55"/>
                    <a:gd name="T5" fmla="*/ 26 h 26"/>
                    <a:gd name="T6" fmla="*/ 55 w 55"/>
                    <a:gd name="T7" fmla="*/ 0 h 26"/>
                    <a:gd name="T8" fmla="*/ 55 w 55"/>
                    <a:gd name="T9" fmla="*/ 0 h 26"/>
                  </a:gdLst>
                  <a:ahLst/>
                  <a:cxnLst>
                    <a:cxn ang="0">
                      <a:pos x="T0" y="T1"/>
                    </a:cxn>
                    <a:cxn ang="0">
                      <a:pos x="T2" y="T3"/>
                    </a:cxn>
                    <a:cxn ang="0">
                      <a:pos x="T4" y="T5"/>
                    </a:cxn>
                    <a:cxn ang="0">
                      <a:pos x="T6" y="T7"/>
                    </a:cxn>
                    <a:cxn ang="0">
                      <a:pos x="T8" y="T9"/>
                    </a:cxn>
                  </a:cxnLst>
                  <a:rect l="0" t="0" r="r" b="b"/>
                  <a:pathLst>
                    <a:path w="55" h="26">
                      <a:moveTo>
                        <a:pt x="55" y="0"/>
                      </a:moveTo>
                      <a:lnTo>
                        <a:pt x="0" y="26"/>
                      </a:lnTo>
                      <a:lnTo>
                        <a:pt x="0" y="26"/>
                      </a:lnTo>
                      <a:lnTo>
                        <a:pt x="55" y="0"/>
                      </a:lnTo>
                      <a:lnTo>
                        <a:pt x="55"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3" name="Freeform 227"/>
                <p:cNvSpPr>
                  <a:spLocks/>
                </p:cNvSpPr>
                <p:nvPr userDrawn="1"/>
              </p:nvSpPr>
              <p:spPr bwMode="auto">
                <a:xfrm>
                  <a:off x="9772196" y="310649"/>
                  <a:ext cx="42863" cy="20638"/>
                </a:xfrm>
                <a:custGeom>
                  <a:avLst/>
                  <a:gdLst>
                    <a:gd name="T0" fmla="*/ 55 w 55"/>
                    <a:gd name="T1" fmla="*/ 0 h 26"/>
                    <a:gd name="T2" fmla="*/ 0 w 55"/>
                    <a:gd name="T3" fmla="*/ 26 h 26"/>
                    <a:gd name="T4" fmla="*/ 0 w 55"/>
                    <a:gd name="T5" fmla="*/ 26 h 26"/>
                    <a:gd name="T6" fmla="*/ 55 w 55"/>
                    <a:gd name="T7" fmla="*/ 0 h 26"/>
                    <a:gd name="T8" fmla="*/ 55 w 55"/>
                    <a:gd name="T9" fmla="*/ 0 h 26"/>
                  </a:gdLst>
                  <a:ahLst/>
                  <a:cxnLst>
                    <a:cxn ang="0">
                      <a:pos x="T0" y="T1"/>
                    </a:cxn>
                    <a:cxn ang="0">
                      <a:pos x="T2" y="T3"/>
                    </a:cxn>
                    <a:cxn ang="0">
                      <a:pos x="T4" y="T5"/>
                    </a:cxn>
                    <a:cxn ang="0">
                      <a:pos x="T6" y="T7"/>
                    </a:cxn>
                    <a:cxn ang="0">
                      <a:pos x="T8" y="T9"/>
                    </a:cxn>
                  </a:cxnLst>
                  <a:rect l="0" t="0" r="r" b="b"/>
                  <a:pathLst>
                    <a:path w="55" h="26">
                      <a:moveTo>
                        <a:pt x="55" y="0"/>
                      </a:moveTo>
                      <a:lnTo>
                        <a:pt x="0" y="26"/>
                      </a:lnTo>
                      <a:lnTo>
                        <a:pt x="0" y="26"/>
                      </a:lnTo>
                      <a:lnTo>
                        <a:pt x="55" y="0"/>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4" name="Freeform 228"/>
                <p:cNvSpPr>
                  <a:spLocks/>
                </p:cNvSpPr>
                <p:nvPr userDrawn="1"/>
              </p:nvSpPr>
              <p:spPr bwMode="auto">
                <a:xfrm>
                  <a:off x="9772196" y="310649"/>
                  <a:ext cx="465138" cy="20638"/>
                </a:xfrm>
                <a:custGeom>
                  <a:avLst/>
                  <a:gdLst>
                    <a:gd name="T0" fmla="*/ 587 w 587"/>
                    <a:gd name="T1" fmla="*/ 0 h 26"/>
                    <a:gd name="T2" fmla="*/ 55 w 587"/>
                    <a:gd name="T3" fmla="*/ 0 h 26"/>
                    <a:gd name="T4" fmla="*/ 0 w 587"/>
                    <a:gd name="T5" fmla="*/ 26 h 26"/>
                    <a:gd name="T6" fmla="*/ 587 w 587"/>
                    <a:gd name="T7" fmla="*/ 26 h 26"/>
                    <a:gd name="T8" fmla="*/ 587 w 587"/>
                    <a:gd name="T9" fmla="*/ 0 h 26"/>
                  </a:gdLst>
                  <a:ahLst/>
                  <a:cxnLst>
                    <a:cxn ang="0">
                      <a:pos x="T0" y="T1"/>
                    </a:cxn>
                    <a:cxn ang="0">
                      <a:pos x="T2" y="T3"/>
                    </a:cxn>
                    <a:cxn ang="0">
                      <a:pos x="T4" y="T5"/>
                    </a:cxn>
                    <a:cxn ang="0">
                      <a:pos x="T6" y="T7"/>
                    </a:cxn>
                    <a:cxn ang="0">
                      <a:pos x="T8" y="T9"/>
                    </a:cxn>
                  </a:cxnLst>
                  <a:rect l="0" t="0" r="r" b="b"/>
                  <a:pathLst>
                    <a:path w="587" h="26">
                      <a:moveTo>
                        <a:pt x="587" y="0"/>
                      </a:moveTo>
                      <a:lnTo>
                        <a:pt x="55" y="0"/>
                      </a:lnTo>
                      <a:lnTo>
                        <a:pt x="0" y="26"/>
                      </a:lnTo>
                      <a:lnTo>
                        <a:pt x="587" y="26"/>
                      </a:lnTo>
                      <a:lnTo>
                        <a:pt x="587" y="0"/>
                      </a:lnTo>
                      <a:close/>
                    </a:path>
                  </a:pathLst>
                </a:custGeom>
                <a:solidFill>
                  <a:srgbClr val="2E95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5" name="Freeform 229"/>
                <p:cNvSpPr>
                  <a:spLocks/>
                </p:cNvSpPr>
                <p:nvPr userDrawn="1"/>
              </p:nvSpPr>
              <p:spPr bwMode="auto">
                <a:xfrm>
                  <a:off x="9772196" y="310649"/>
                  <a:ext cx="465138" cy="20638"/>
                </a:xfrm>
                <a:custGeom>
                  <a:avLst/>
                  <a:gdLst>
                    <a:gd name="T0" fmla="*/ 587 w 587"/>
                    <a:gd name="T1" fmla="*/ 0 h 26"/>
                    <a:gd name="T2" fmla="*/ 55 w 587"/>
                    <a:gd name="T3" fmla="*/ 0 h 26"/>
                    <a:gd name="T4" fmla="*/ 0 w 587"/>
                    <a:gd name="T5" fmla="*/ 26 h 26"/>
                    <a:gd name="T6" fmla="*/ 587 w 587"/>
                    <a:gd name="T7" fmla="*/ 26 h 26"/>
                    <a:gd name="T8" fmla="*/ 587 w 587"/>
                    <a:gd name="T9" fmla="*/ 0 h 26"/>
                  </a:gdLst>
                  <a:ahLst/>
                  <a:cxnLst>
                    <a:cxn ang="0">
                      <a:pos x="T0" y="T1"/>
                    </a:cxn>
                    <a:cxn ang="0">
                      <a:pos x="T2" y="T3"/>
                    </a:cxn>
                    <a:cxn ang="0">
                      <a:pos x="T4" y="T5"/>
                    </a:cxn>
                    <a:cxn ang="0">
                      <a:pos x="T6" y="T7"/>
                    </a:cxn>
                    <a:cxn ang="0">
                      <a:pos x="T8" y="T9"/>
                    </a:cxn>
                  </a:cxnLst>
                  <a:rect l="0" t="0" r="r" b="b"/>
                  <a:pathLst>
                    <a:path w="587" h="26">
                      <a:moveTo>
                        <a:pt x="587" y="0"/>
                      </a:moveTo>
                      <a:lnTo>
                        <a:pt x="55" y="0"/>
                      </a:lnTo>
                      <a:lnTo>
                        <a:pt x="0" y="26"/>
                      </a:lnTo>
                      <a:lnTo>
                        <a:pt x="587" y="26"/>
                      </a:lnTo>
                      <a:lnTo>
                        <a:pt x="5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6" name="Freeform 230"/>
                <p:cNvSpPr>
                  <a:spLocks/>
                </p:cNvSpPr>
                <p:nvPr userDrawn="1"/>
              </p:nvSpPr>
              <p:spPr bwMode="auto">
                <a:xfrm>
                  <a:off x="10237333" y="310649"/>
                  <a:ext cx="0" cy="20638"/>
                </a:xfrm>
                <a:custGeom>
                  <a:avLst/>
                  <a:gdLst>
                    <a:gd name="T0" fmla="*/ 0 h 26"/>
                    <a:gd name="T1" fmla="*/ 0 h 26"/>
                    <a:gd name="T2" fmla="*/ 0 h 26"/>
                    <a:gd name="T3" fmla="*/ 26 h 26"/>
                    <a:gd name="T4" fmla="*/ 26 h 26"/>
                    <a:gd name="T5" fmla="*/ 0 h 26"/>
                  </a:gdLst>
                  <a:ahLst/>
                  <a:cxnLst>
                    <a:cxn ang="0">
                      <a:pos x="0" y="T0"/>
                    </a:cxn>
                    <a:cxn ang="0">
                      <a:pos x="0" y="T1"/>
                    </a:cxn>
                    <a:cxn ang="0">
                      <a:pos x="0" y="T2"/>
                    </a:cxn>
                    <a:cxn ang="0">
                      <a:pos x="0" y="T3"/>
                    </a:cxn>
                    <a:cxn ang="0">
                      <a:pos x="0" y="T4"/>
                    </a:cxn>
                    <a:cxn ang="0">
                      <a:pos x="0" y="T5"/>
                    </a:cxn>
                  </a:cxnLst>
                  <a:rect l="0" t="0" r="r" b="b"/>
                  <a:pathLst>
                    <a:path h="26">
                      <a:moveTo>
                        <a:pt x="0" y="0"/>
                      </a:moveTo>
                      <a:lnTo>
                        <a:pt x="0" y="0"/>
                      </a:lnTo>
                      <a:lnTo>
                        <a:pt x="0" y="0"/>
                      </a:lnTo>
                      <a:lnTo>
                        <a:pt x="0" y="26"/>
                      </a:lnTo>
                      <a:lnTo>
                        <a:pt x="0" y="26"/>
                      </a:lnTo>
                      <a:lnTo>
                        <a:pt x="0" y="0"/>
                      </a:lnTo>
                      <a:close/>
                    </a:path>
                  </a:pathLst>
                </a:custGeom>
                <a:solidFill>
                  <a:srgbClr val="2E95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7" name="Freeform 231"/>
                <p:cNvSpPr>
                  <a:spLocks/>
                </p:cNvSpPr>
                <p:nvPr userDrawn="1"/>
              </p:nvSpPr>
              <p:spPr bwMode="auto">
                <a:xfrm>
                  <a:off x="10237333" y="310649"/>
                  <a:ext cx="0" cy="20638"/>
                </a:xfrm>
                <a:custGeom>
                  <a:avLst/>
                  <a:gdLst>
                    <a:gd name="T0" fmla="*/ 0 h 26"/>
                    <a:gd name="T1" fmla="*/ 0 h 26"/>
                    <a:gd name="T2" fmla="*/ 0 h 26"/>
                    <a:gd name="T3" fmla="*/ 26 h 26"/>
                    <a:gd name="T4" fmla="*/ 26 h 26"/>
                    <a:gd name="T5" fmla="*/ 0 h 26"/>
                  </a:gdLst>
                  <a:ahLst/>
                  <a:cxnLst>
                    <a:cxn ang="0">
                      <a:pos x="0" y="T0"/>
                    </a:cxn>
                    <a:cxn ang="0">
                      <a:pos x="0" y="T1"/>
                    </a:cxn>
                    <a:cxn ang="0">
                      <a:pos x="0" y="T2"/>
                    </a:cxn>
                    <a:cxn ang="0">
                      <a:pos x="0" y="T3"/>
                    </a:cxn>
                    <a:cxn ang="0">
                      <a:pos x="0" y="T4"/>
                    </a:cxn>
                    <a:cxn ang="0">
                      <a:pos x="0" y="T5"/>
                    </a:cxn>
                  </a:cxnLst>
                  <a:rect l="0" t="0" r="r" b="b"/>
                  <a:pathLst>
                    <a:path h="26">
                      <a:moveTo>
                        <a:pt x="0" y="0"/>
                      </a:moveTo>
                      <a:lnTo>
                        <a:pt x="0" y="0"/>
                      </a:lnTo>
                      <a:lnTo>
                        <a:pt x="0" y="0"/>
                      </a:lnTo>
                      <a:lnTo>
                        <a:pt x="0" y="26"/>
                      </a:lnTo>
                      <a:lnTo>
                        <a:pt x="0" y="2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8" name="Freeform 232"/>
                <p:cNvSpPr>
                  <a:spLocks/>
                </p:cNvSpPr>
                <p:nvPr userDrawn="1"/>
              </p:nvSpPr>
              <p:spPr bwMode="auto">
                <a:xfrm>
                  <a:off x="10237333" y="310649"/>
                  <a:ext cx="463550" cy="20638"/>
                </a:xfrm>
                <a:custGeom>
                  <a:avLst/>
                  <a:gdLst>
                    <a:gd name="T0" fmla="*/ 531 w 585"/>
                    <a:gd name="T1" fmla="*/ 0 h 26"/>
                    <a:gd name="T2" fmla="*/ 0 w 585"/>
                    <a:gd name="T3" fmla="*/ 0 h 26"/>
                    <a:gd name="T4" fmla="*/ 0 w 585"/>
                    <a:gd name="T5" fmla="*/ 26 h 26"/>
                    <a:gd name="T6" fmla="*/ 585 w 585"/>
                    <a:gd name="T7" fmla="*/ 26 h 26"/>
                    <a:gd name="T8" fmla="*/ 531 w 585"/>
                    <a:gd name="T9" fmla="*/ 0 h 26"/>
                  </a:gdLst>
                  <a:ahLst/>
                  <a:cxnLst>
                    <a:cxn ang="0">
                      <a:pos x="T0" y="T1"/>
                    </a:cxn>
                    <a:cxn ang="0">
                      <a:pos x="T2" y="T3"/>
                    </a:cxn>
                    <a:cxn ang="0">
                      <a:pos x="T4" y="T5"/>
                    </a:cxn>
                    <a:cxn ang="0">
                      <a:pos x="T6" y="T7"/>
                    </a:cxn>
                    <a:cxn ang="0">
                      <a:pos x="T8" y="T9"/>
                    </a:cxn>
                  </a:cxnLst>
                  <a:rect l="0" t="0" r="r" b="b"/>
                  <a:pathLst>
                    <a:path w="585" h="26">
                      <a:moveTo>
                        <a:pt x="531" y="0"/>
                      </a:moveTo>
                      <a:lnTo>
                        <a:pt x="0" y="0"/>
                      </a:lnTo>
                      <a:lnTo>
                        <a:pt x="0" y="26"/>
                      </a:lnTo>
                      <a:lnTo>
                        <a:pt x="585" y="26"/>
                      </a:lnTo>
                      <a:lnTo>
                        <a:pt x="531" y="0"/>
                      </a:lnTo>
                      <a:close/>
                    </a:path>
                  </a:pathLst>
                </a:custGeom>
                <a:solidFill>
                  <a:srgbClr val="0078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49" name="Freeform 233"/>
                <p:cNvSpPr>
                  <a:spLocks/>
                </p:cNvSpPr>
                <p:nvPr userDrawn="1"/>
              </p:nvSpPr>
              <p:spPr bwMode="auto">
                <a:xfrm>
                  <a:off x="10237333" y="310649"/>
                  <a:ext cx="463550" cy="20638"/>
                </a:xfrm>
                <a:custGeom>
                  <a:avLst/>
                  <a:gdLst>
                    <a:gd name="T0" fmla="*/ 531 w 585"/>
                    <a:gd name="T1" fmla="*/ 0 h 26"/>
                    <a:gd name="T2" fmla="*/ 0 w 585"/>
                    <a:gd name="T3" fmla="*/ 0 h 26"/>
                    <a:gd name="T4" fmla="*/ 0 w 585"/>
                    <a:gd name="T5" fmla="*/ 26 h 26"/>
                    <a:gd name="T6" fmla="*/ 585 w 585"/>
                    <a:gd name="T7" fmla="*/ 26 h 26"/>
                    <a:gd name="T8" fmla="*/ 531 w 585"/>
                    <a:gd name="T9" fmla="*/ 0 h 26"/>
                  </a:gdLst>
                  <a:ahLst/>
                  <a:cxnLst>
                    <a:cxn ang="0">
                      <a:pos x="T0" y="T1"/>
                    </a:cxn>
                    <a:cxn ang="0">
                      <a:pos x="T2" y="T3"/>
                    </a:cxn>
                    <a:cxn ang="0">
                      <a:pos x="T4" y="T5"/>
                    </a:cxn>
                    <a:cxn ang="0">
                      <a:pos x="T6" y="T7"/>
                    </a:cxn>
                    <a:cxn ang="0">
                      <a:pos x="T8" y="T9"/>
                    </a:cxn>
                  </a:cxnLst>
                  <a:rect l="0" t="0" r="r" b="b"/>
                  <a:pathLst>
                    <a:path w="585" h="26">
                      <a:moveTo>
                        <a:pt x="531" y="0"/>
                      </a:moveTo>
                      <a:lnTo>
                        <a:pt x="0" y="0"/>
                      </a:lnTo>
                      <a:lnTo>
                        <a:pt x="0" y="26"/>
                      </a:lnTo>
                      <a:lnTo>
                        <a:pt x="585" y="26"/>
                      </a:lnTo>
                      <a:lnTo>
                        <a:pt x="5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52" name="Freeform 234"/>
                <p:cNvSpPr>
                  <a:spLocks/>
                </p:cNvSpPr>
                <p:nvPr userDrawn="1"/>
              </p:nvSpPr>
              <p:spPr bwMode="auto">
                <a:xfrm>
                  <a:off x="9888083" y="218574"/>
                  <a:ext cx="696913" cy="39688"/>
                </a:xfrm>
                <a:custGeom>
                  <a:avLst/>
                  <a:gdLst>
                    <a:gd name="T0" fmla="*/ 877 w 877"/>
                    <a:gd name="T1" fmla="*/ 25 h 50"/>
                    <a:gd name="T2" fmla="*/ 877 w 877"/>
                    <a:gd name="T3" fmla="*/ 25 h 50"/>
                    <a:gd name="T4" fmla="*/ 877 w 877"/>
                    <a:gd name="T5" fmla="*/ 31 h 50"/>
                    <a:gd name="T6" fmla="*/ 875 w 877"/>
                    <a:gd name="T7" fmla="*/ 36 h 50"/>
                    <a:gd name="T8" fmla="*/ 873 w 877"/>
                    <a:gd name="T9" fmla="*/ 39 h 50"/>
                    <a:gd name="T10" fmla="*/ 870 w 877"/>
                    <a:gd name="T11" fmla="*/ 43 h 50"/>
                    <a:gd name="T12" fmla="*/ 867 w 877"/>
                    <a:gd name="T13" fmla="*/ 46 h 50"/>
                    <a:gd name="T14" fmla="*/ 862 w 877"/>
                    <a:gd name="T15" fmla="*/ 49 h 50"/>
                    <a:gd name="T16" fmla="*/ 857 w 877"/>
                    <a:gd name="T17" fmla="*/ 50 h 50"/>
                    <a:gd name="T18" fmla="*/ 852 w 877"/>
                    <a:gd name="T19" fmla="*/ 50 h 50"/>
                    <a:gd name="T20" fmla="*/ 25 w 877"/>
                    <a:gd name="T21" fmla="*/ 50 h 50"/>
                    <a:gd name="T22" fmla="*/ 25 w 877"/>
                    <a:gd name="T23" fmla="*/ 50 h 50"/>
                    <a:gd name="T24" fmla="*/ 20 w 877"/>
                    <a:gd name="T25" fmla="*/ 50 h 50"/>
                    <a:gd name="T26" fmla="*/ 15 w 877"/>
                    <a:gd name="T27" fmla="*/ 49 h 50"/>
                    <a:gd name="T28" fmla="*/ 12 w 877"/>
                    <a:gd name="T29" fmla="*/ 46 h 50"/>
                    <a:gd name="T30" fmla="*/ 7 w 877"/>
                    <a:gd name="T31" fmla="*/ 43 h 50"/>
                    <a:gd name="T32" fmla="*/ 5 w 877"/>
                    <a:gd name="T33" fmla="*/ 39 h 50"/>
                    <a:gd name="T34" fmla="*/ 2 w 877"/>
                    <a:gd name="T35" fmla="*/ 36 h 50"/>
                    <a:gd name="T36" fmla="*/ 1 w 877"/>
                    <a:gd name="T37" fmla="*/ 31 h 50"/>
                    <a:gd name="T38" fmla="*/ 0 w 877"/>
                    <a:gd name="T39" fmla="*/ 25 h 50"/>
                    <a:gd name="T40" fmla="*/ 0 w 877"/>
                    <a:gd name="T41" fmla="*/ 25 h 50"/>
                    <a:gd name="T42" fmla="*/ 1 w 877"/>
                    <a:gd name="T43" fmla="*/ 20 h 50"/>
                    <a:gd name="T44" fmla="*/ 2 w 877"/>
                    <a:gd name="T45" fmla="*/ 15 h 50"/>
                    <a:gd name="T46" fmla="*/ 5 w 877"/>
                    <a:gd name="T47" fmla="*/ 12 h 50"/>
                    <a:gd name="T48" fmla="*/ 7 w 877"/>
                    <a:gd name="T49" fmla="*/ 8 h 50"/>
                    <a:gd name="T50" fmla="*/ 12 w 877"/>
                    <a:gd name="T51" fmla="*/ 5 h 50"/>
                    <a:gd name="T52" fmla="*/ 15 w 877"/>
                    <a:gd name="T53" fmla="*/ 2 h 50"/>
                    <a:gd name="T54" fmla="*/ 20 w 877"/>
                    <a:gd name="T55" fmla="*/ 1 h 50"/>
                    <a:gd name="T56" fmla="*/ 25 w 877"/>
                    <a:gd name="T57" fmla="*/ 0 h 50"/>
                    <a:gd name="T58" fmla="*/ 852 w 877"/>
                    <a:gd name="T59" fmla="*/ 0 h 50"/>
                    <a:gd name="T60" fmla="*/ 852 w 877"/>
                    <a:gd name="T61" fmla="*/ 0 h 50"/>
                    <a:gd name="T62" fmla="*/ 857 w 877"/>
                    <a:gd name="T63" fmla="*/ 1 h 50"/>
                    <a:gd name="T64" fmla="*/ 862 w 877"/>
                    <a:gd name="T65" fmla="*/ 2 h 50"/>
                    <a:gd name="T66" fmla="*/ 867 w 877"/>
                    <a:gd name="T67" fmla="*/ 5 h 50"/>
                    <a:gd name="T68" fmla="*/ 870 w 877"/>
                    <a:gd name="T69" fmla="*/ 8 h 50"/>
                    <a:gd name="T70" fmla="*/ 873 w 877"/>
                    <a:gd name="T71" fmla="*/ 12 h 50"/>
                    <a:gd name="T72" fmla="*/ 875 w 877"/>
                    <a:gd name="T73" fmla="*/ 15 h 50"/>
                    <a:gd name="T74" fmla="*/ 877 w 877"/>
                    <a:gd name="T75" fmla="*/ 20 h 50"/>
                    <a:gd name="T76" fmla="*/ 877 w 877"/>
                    <a:gd name="T77" fmla="*/ 25 h 50"/>
                    <a:gd name="T78" fmla="*/ 877 w 877"/>
                    <a:gd name="T79"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77" h="50">
                      <a:moveTo>
                        <a:pt x="877" y="25"/>
                      </a:moveTo>
                      <a:lnTo>
                        <a:pt x="877" y="25"/>
                      </a:lnTo>
                      <a:lnTo>
                        <a:pt x="877" y="31"/>
                      </a:lnTo>
                      <a:lnTo>
                        <a:pt x="875" y="36"/>
                      </a:lnTo>
                      <a:lnTo>
                        <a:pt x="873" y="39"/>
                      </a:lnTo>
                      <a:lnTo>
                        <a:pt x="870" y="43"/>
                      </a:lnTo>
                      <a:lnTo>
                        <a:pt x="867" y="46"/>
                      </a:lnTo>
                      <a:lnTo>
                        <a:pt x="862" y="49"/>
                      </a:lnTo>
                      <a:lnTo>
                        <a:pt x="857" y="50"/>
                      </a:lnTo>
                      <a:lnTo>
                        <a:pt x="852" y="50"/>
                      </a:lnTo>
                      <a:lnTo>
                        <a:pt x="25" y="50"/>
                      </a:lnTo>
                      <a:lnTo>
                        <a:pt x="25" y="50"/>
                      </a:lnTo>
                      <a:lnTo>
                        <a:pt x="20" y="50"/>
                      </a:lnTo>
                      <a:lnTo>
                        <a:pt x="15" y="49"/>
                      </a:lnTo>
                      <a:lnTo>
                        <a:pt x="12" y="46"/>
                      </a:lnTo>
                      <a:lnTo>
                        <a:pt x="7" y="43"/>
                      </a:lnTo>
                      <a:lnTo>
                        <a:pt x="5" y="39"/>
                      </a:lnTo>
                      <a:lnTo>
                        <a:pt x="2" y="36"/>
                      </a:lnTo>
                      <a:lnTo>
                        <a:pt x="1" y="31"/>
                      </a:lnTo>
                      <a:lnTo>
                        <a:pt x="0" y="25"/>
                      </a:lnTo>
                      <a:lnTo>
                        <a:pt x="0" y="25"/>
                      </a:lnTo>
                      <a:lnTo>
                        <a:pt x="1" y="20"/>
                      </a:lnTo>
                      <a:lnTo>
                        <a:pt x="2" y="15"/>
                      </a:lnTo>
                      <a:lnTo>
                        <a:pt x="5" y="12"/>
                      </a:lnTo>
                      <a:lnTo>
                        <a:pt x="7" y="8"/>
                      </a:lnTo>
                      <a:lnTo>
                        <a:pt x="12" y="5"/>
                      </a:lnTo>
                      <a:lnTo>
                        <a:pt x="15" y="2"/>
                      </a:lnTo>
                      <a:lnTo>
                        <a:pt x="20" y="1"/>
                      </a:lnTo>
                      <a:lnTo>
                        <a:pt x="25" y="0"/>
                      </a:lnTo>
                      <a:lnTo>
                        <a:pt x="852" y="0"/>
                      </a:lnTo>
                      <a:lnTo>
                        <a:pt x="852" y="0"/>
                      </a:lnTo>
                      <a:lnTo>
                        <a:pt x="857" y="1"/>
                      </a:lnTo>
                      <a:lnTo>
                        <a:pt x="862" y="2"/>
                      </a:lnTo>
                      <a:lnTo>
                        <a:pt x="867" y="5"/>
                      </a:lnTo>
                      <a:lnTo>
                        <a:pt x="870" y="8"/>
                      </a:lnTo>
                      <a:lnTo>
                        <a:pt x="873" y="12"/>
                      </a:lnTo>
                      <a:lnTo>
                        <a:pt x="875" y="15"/>
                      </a:lnTo>
                      <a:lnTo>
                        <a:pt x="877" y="20"/>
                      </a:lnTo>
                      <a:lnTo>
                        <a:pt x="877" y="25"/>
                      </a:lnTo>
                      <a:lnTo>
                        <a:pt x="877"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53" name="Freeform 235"/>
                <p:cNvSpPr>
                  <a:spLocks noEditPoints="1"/>
                </p:cNvSpPr>
                <p:nvPr userDrawn="1"/>
              </p:nvSpPr>
              <p:spPr bwMode="auto">
                <a:xfrm>
                  <a:off x="9669008" y="493211"/>
                  <a:ext cx="0" cy="1588"/>
                </a:xfrm>
                <a:custGeom>
                  <a:avLst/>
                  <a:gdLst>
                    <a:gd name="T0" fmla="*/ 1 h 1"/>
                    <a:gd name="T1" fmla="*/ 1 h 1"/>
                    <a:gd name="T2" fmla="*/ 1 h 1"/>
                    <a:gd name="T3" fmla="*/ 1 h 1"/>
                    <a:gd name="T4" fmla="*/ 1 h 1"/>
                    <a:gd name="T5" fmla="*/ 0 h 1"/>
                    <a:gd name="T6" fmla="*/ 0 h 1"/>
                    <a:gd name="T7" fmla="*/ 0 h 1"/>
                    <a:gd name="T8" fmla="*/ 0 h 1"/>
                    <a:gd name="T9" fmla="*/ 0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1">
                      <a:moveTo>
                        <a:pt x="0" y="1"/>
                      </a:moveTo>
                      <a:lnTo>
                        <a:pt x="0" y="1"/>
                      </a:lnTo>
                      <a:lnTo>
                        <a:pt x="0" y="1"/>
                      </a:lnTo>
                      <a:lnTo>
                        <a:pt x="0" y="1"/>
                      </a:lnTo>
                      <a:lnTo>
                        <a:pt x="0" y="1"/>
                      </a:lnTo>
                      <a:close/>
                      <a:moveTo>
                        <a:pt x="0" y="0"/>
                      </a:moveTo>
                      <a:lnTo>
                        <a:pt x="0" y="0"/>
                      </a:lnTo>
                      <a:lnTo>
                        <a:pt x="0" y="0"/>
                      </a:lnTo>
                      <a:lnTo>
                        <a:pt x="0" y="0"/>
                      </a:lnTo>
                      <a:lnTo>
                        <a:pt x="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59" name="Rectangle 236"/>
                <p:cNvSpPr>
                  <a:spLocks noChangeArrowheads="1"/>
                </p:cNvSpPr>
                <p:nvPr userDrawn="1"/>
              </p:nvSpPr>
              <p:spPr bwMode="auto">
                <a:xfrm>
                  <a:off x="9669008" y="494799"/>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0" name="Rectangle 237"/>
                <p:cNvSpPr>
                  <a:spLocks noChangeArrowheads="1"/>
                </p:cNvSpPr>
                <p:nvPr userDrawn="1"/>
              </p:nvSpPr>
              <p:spPr bwMode="auto">
                <a:xfrm>
                  <a:off x="9669008" y="493211"/>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1" name="Freeform 238"/>
                <p:cNvSpPr>
                  <a:spLocks/>
                </p:cNvSpPr>
                <p:nvPr userDrawn="1"/>
              </p:nvSpPr>
              <p:spPr bwMode="auto">
                <a:xfrm>
                  <a:off x="9669008" y="493211"/>
                  <a:ext cx="568325" cy="39688"/>
                </a:xfrm>
                <a:custGeom>
                  <a:avLst/>
                  <a:gdLst>
                    <a:gd name="T0" fmla="*/ 716 w 716"/>
                    <a:gd name="T1" fmla="*/ 0 h 50"/>
                    <a:gd name="T2" fmla="*/ 0 w 716"/>
                    <a:gd name="T3" fmla="*/ 0 h 50"/>
                    <a:gd name="T4" fmla="*/ 0 w 716"/>
                    <a:gd name="T5" fmla="*/ 0 h 50"/>
                    <a:gd name="T6" fmla="*/ 0 w 716"/>
                    <a:gd name="T7" fmla="*/ 1 h 50"/>
                    <a:gd name="T8" fmla="*/ 0 w 716"/>
                    <a:gd name="T9" fmla="*/ 1 h 50"/>
                    <a:gd name="T10" fmla="*/ 0 w 716"/>
                    <a:gd name="T11" fmla="*/ 1 h 50"/>
                    <a:gd name="T12" fmla="*/ 0 w 716"/>
                    <a:gd name="T13" fmla="*/ 1 h 50"/>
                    <a:gd name="T14" fmla="*/ 0 w 716"/>
                    <a:gd name="T15" fmla="*/ 2 h 50"/>
                    <a:gd name="T16" fmla="*/ 0 w 716"/>
                    <a:gd name="T17" fmla="*/ 2 h 50"/>
                    <a:gd name="T18" fmla="*/ 0 w 716"/>
                    <a:gd name="T19" fmla="*/ 2 h 50"/>
                    <a:gd name="T20" fmla="*/ 0 w 716"/>
                    <a:gd name="T21" fmla="*/ 2 h 50"/>
                    <a:gd name="T22" fmla="*/ 0 w 716"/>
                    <a:gd name="T23" fmla="*/ 14 h 50"/>
                    <a:gd name="T24" fmla="*/ 2 w 716"/>
                    <a:gd name="T25" fmla="*/ 26 h 50"/>
                    <a:gd name="T26" fmla="*/ 5 w 716"/>
                    <a:gd name="T27" fmla="*/ 38 h 50"/>
                    <a:gd name="T28" fmla="*/ 8 w 716"/>
                    <a:gd name="T29" fmla="*/ 50 h 50"/>
                    <a:gd name="T30" fmla="*/ 716 w 716"/>
                    <a:gd name="T31" fmla="*/ 50 h 50"/>
                    <a:gd name="T32" fmla="*/ 716 w 716"/>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6" h="50">
                      <a:moveTo>
                        <a:pt x="716" y="0"/>
                      </a:moveTo>
                      <a:lnTo>
                        <a:pt x="0" y="0"/>
                      </a:lnTo>
                      <a:lnTo>
                        <a:pt x="0" y="0"/>
                      </a:lnTo>
                      <a:lnTo>
                        <a:pt x="0" y="1"/>
                      </a:lnTo>
                      <a:lnTo>
                        <a:pt x="0" y="1"/>
                      </a:lnTo>
                      <a:lnTo>
                        <a:pt x="0" y="1"/>
                      </a:lnTo>
                      <a:lnTo>
                        <a:pt x="0" y="1"/>
                      </a:lnTo>
                      <a:lnTo>
                        <a:pt x="0" y="2"/>
                      </a:lnTo>
                      <a:lnTo>
                        <a:pt x="0" y="2"/>
                      </a:lnTo>
                      <a:lnTo>
                        <a:pt x="0" y="2"/>
                      </a:lnTo>
                      <a:lnTo>
                        <a:pt x="0" y="2"/>
                      </a:lnTo>
                      <a:lnTo>
                        <a:pt x="0" y="14"/>
                      </a:lnTo>
                      <a:lnTo>
                        <a:pt x="2" y="26"/>
                      </a:lnTo>
                      <a:lnTo>
                        <a:pt x="5" y="38"/>
                      </a:lnTo>
                      <a:lnTo>
                        <a:pt x="8" y="50"/>
                      </a:lnTo>
                      <a:lnTo>
                        <a:pt x="716" y="50"/>
                      </a:lnTo>
                      <a:lnTo>
                        <a:pt x="716" y="0"/>
                      </a:lnTo>
                      <a:close/>
                    </a:path>
                  </a:pathLst>
                </a:custGeom>
                <a:solidFill>
                  <a:srgbClr val="4685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3" name="Freeform 239"/>
                <p:cNvSpPr>
                  <a:spLocks/>
                </p:cNvSpPr>
                <p:nvPr userDrawn="1"/>
              </p:nvSpPr>
              <p:spPr bwMode="auto">
                <a:xfrm>
                  <a:off x="9669008" y="493211"/>
                  <a:ext cx="568325" cy="39688"/>
                </a:xfrm>
                <a:custGeom>
                  <a:avLst/>
                  <a:gdLst>
                    <a:gd name="T0" fmla="*/ 716 w 716"/>
                    <a:gd name="T1" fmla="*/ 0 h 50"/>
                    <a:gd name="T2" fmla="*/ 0 w 716"/>
                    <a:gd name="T3" fmla="*/ 0 h 50"/>
                    <a:gd name="T4" fmla="*/ 0 w 716"/>
                    <a:gd name="T5" fmla="*/ 0 h 50"/>
                    <a:gd name="T6" fmla="*/ 0 w 716"/>
                    <a:gd name="T7" fmla="*/ 1 h 50"/>
                    <a:gd name="T8" fmla="*/ 0 w 716"/>
                    <a:gd name="T9" fmla="*/ 1 h 50"/>
                    <a:gd name="T10" fmla="*/ 0 w 716"/>
                    <a:gd name="T11" fmla="*/ 1 h 50"/>
                    <a:gd name="T12" fmla="*/ 0 w 716"/>
                    <a:gd name="T13" fmla="*/ 1 h 50"/>
                    <a:gd name="T14" fmla="*/ 0 w 716"/>
                    <a:gd name="T15" fmla="*/ 2 h 50"/>
                    <a:gd name="T16" fmla="*/ 0 w 716"/>
                    <a:gd name="T17" fmla="*/ 2 h 50"/>
                    <a:gd name="T18" fmla="*/ 0 w 716"/>
                    <a:gd name="T19" fmla="*/ 2 h 50"/>
                    <a:gd name="T20" fmla="*/ 0 w 716"/>
                    <a:gd name="T21" fmla="*/ 2 h 50"/>
                    <a:gd name="T22" fmla="*/ 0 w 716"/>
                    <a:gd name="T23" fmla="*/ 14 h 50"/>
                    <a:gd name="T24" fmla="*/ 2 w 716"/>
                    <a:gd name="T25" fmla="*/ 26 h 50"/>
                    <a:gd name="T26" fmla="*/ 5 w 716"/>
                    <a:gd name="T27" fmla="*/ 38 h 50"/>
                    <a:gd name="T28" fmla="*/ 8 w 716"/>
                    <a:gd name="T29" fmla="*/ 50 h 50"/>
                    <a:gd name="T30" fmla="*/ 716 w 716"/>
                    <a:gd name="T31" fmla="*/ 50 h 50"/>
                    <a:gd name="T32" fmla="*/ 716 w 716"/>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6" h="50">
                      <a:moveTo>
                        <a:pt x="716" y="0"/>
                      </a:moveTo>
                      <a:lnTo>
                        <a:pt x="0" y="0"/>
                      </a:lnTo>
                      <a:lnTo>
                        <a:pt x="0" y="0"/>
                      </a:lnTo>
                      <a:lnTo>
                        <a:pt x="0" y="1"/>
                      </a:lnTo>
                      <a:lnTo>
                        <a:pt x="0" y="1"/>
                      </a:lnTo>
                      <a:lnTo>
                        <a:pt x="0" y="1"/>
                      </a:lnTo>
                      <a:lnTo>
                        <a:pt x="0" y="1"/>
                      </a:lnTo>
                      <a:lnTo>
                        <a:pt x="0" y="2"/>
                      </a:lnTo>
                      <a:lnTo>
                        <a:pt x="0" y="2"/>
                      </a:lnTo>
                      <a:lnTo>
                        <a:pt x="0" y="2"/>
                      </a:lnTo>
                      <a:lnTo>
                        <a:pt x="0" y="2"/>
                      </a:lnTo>
                      <a:lnTo>
                        <a:pt x="0" y="14"/>
                      </a:lnTo>
                      <a:lnTo>
                        <a:pt x="2" y="26"/>
                      </a:lnTo>
                      <a:lnTo>
                        <a:pt x="5" y="38"/>
                      </a:lnTo>
                      <a:lnTo>
                        <a:pt x="8" y="50"/>
                      </a:lnTo>
                      <a:lnTo>
                        <a:pt x="716" y="50"/>
                      </a:lnTo>
                      <a:lnTo>
                        <a:pt x="7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5" name="Rectangle 240"/>
                <p:cNvSpPr>
                  <a:spLocks noChangeArrowheads="1"/>
                </p:cNvSpPr>
                <p:nvPr userDrawn="1"/>
              </p:nvSpPr>
              <p:spPr bwMode="auto">
                <a:xfrm>
                  <a:off x="10805658" y="493211"/>
                  <a:ext cx="1588" cy="1588"/>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6" name="Rectangle 241"/>
                <p:cNvSpPr>
                  <a:spLocks noChangeArrowheads="1"/>
                </p:cNvSpPr>
                <p:nvPr userDrawn="1"/>
              </p:nvSpPr>
              <p:spPr bwMode="auto">
                <a:xfrm>
                  <a:off x="10805658" y="493211"/>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7" name="Freeform 242"/>
                <p:cNvSpPr>
                  <a:spLocks/>
                </p:cNvSpPr>
                <p:nvPr userDrawn="1"/>
              </p:nvSpPr>
              <p:spPr bwMode="auto">
                <a:xfrm>
                  <a:off x="10237333" y="493211"/>
                  <a:ext cx="568325" cy="39688"/>
                </a:xfrm>
                <a:custGeom>
                  <a:avLst/>
                  <a:gdLst>
                    <a:gd name="T0" fmla="*/ 715 w 715"/>
                    <a:gd name="T1" fmla="*/ 0 h 50"/>
                    <a:gd name="T2" fmla="*/ 0 w 715"/>
                    <a:gd name="T3" fmla="*/ 0 h 50"/>
                    <a:gd name="T4" fmla="*/ 0 w 715"/>
                    <a:gd name="T5" fmla="*/ 50 h 50"/>
                    <a:gd name="T6" fmla="*/ 708 w 715"/>
                    <a:gd name="T7" fmla="*/ 50 h 50"/>
                    <a:gd name="T8" fmla="*/ 708 w 715"/>
                    <a:gd name="T9" fmla="*/ 50 h 50"/>
                    <a:gd name="T10" fmla="*/ 711 w 715"/>
                    <a:gd name="T11" fmla="*/ 38 h 50"/>
                    <a:gd name="T12" fmla="*/ 714 w 715"/>
                    <a:gd name="T13" fmla="*/ 25 h 50"/>
                    <a:gd name="T14" fmla="*/ 715 w 715"/>
                    <a:gd name="T15" fmla="*/ 13 h 50"/>
                    <a:gd name="T16" fmla="*/ 715 w 715"/>
                    <a:gd name="T17" fmla="*/ 1 h 50"/>
                    <a:gd name="T18" fmla="*/ 715 w 715"/>
                    <a:gd name="T19" fmla="*/ 1 h 50"/>
                    <a:gd name="T20" fmla="*/ 715 w 715"/>
                    <a:gd name="T21" fmla="*/ 1 h 50"/>
                    <a:gd name="T22" fmla="*/ 715 w 715"/>
                    <a:gd name="T23" fmla="*/ 1 h 50"/>
                    <a:gd name="T24" fmla="*/ 715 w 715"/>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5" h="50">
                      <a:moveTo>
                        <a:pt x="715" y="0"/>
                      </a:moveTo>
                      <a:lnTo>
                        <a:pt x="0" y="0"/>
                      </a:lnTo>
                      <a:lnTo>
                        <a:pt x="0" y="50"/>
                      </a:lnTo>
                      <a:lnTo>
                        <a:pt x="708" y="50"/>
                      </a:lnTo>
                      <a:lnTo>
                        <a:pt x="708" y="50"/>
                      </a:lnTo>
                      <a:lnTo>
                        <a:pt x="711" y="38"/>
                      </a:lnTo>
                      <a:lnTo>
                        <a:pt x="714" y="25"/>
                      </a:lnTo>
                      <a:lnTo>
                        <a:pt x="715" y="13"/>
                      </a:lnTo>
                      <a:lnTo>
                        <a:pt x="715" y="1"/>
                      </a:lnTo>
                      <a:lnTo>
                        <a:pt x="715" y="1"/>
                      </a:lnTo>
                      <a:lnTo>
                        <a:pt x="715" y="1"/>
                      </a:lnTo>
                      <a:lnTo>
                        <a:pt x="715" y="1"/>
                      </a:lnTo>
                      <a:lnTo>
                        <a:pt x="715" y="0"/>
                      </a:lnTo>
                      <a:close/>
                    </a:path>
                  </a:pathLst>
                </a:custGeom>
                <a:solidFill>
                  <a:srgbClr val="2A54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8" name="Freeform 243"/>
                <p:cNvSpPr>
                  <a:spLocks/>
                </p:cNvSpPr>
                <p:nvPr userDrawn="1"/>
              </p:nvSpPr>
              <p:spPr bwMode="auto">
                <a:xfrm>
                  <a:off x="10237333" y="493211"/>
                  <a:ext cx="568325" cy="39688"/>
                </a:xfrm>
                <a:custGeom>
                  <a:avLst/>
                  <a:gdLst>
                    <a:gd name="T0" fmla="*/ 715 w 715"/>
                    <a:gd name="T1" fmla="*/ 0 h 50"/>
                    <a:gd name="T2" fmla="*/ 0 w 715"/>
                    <a:gd name="T3" fmla="*/ 0 h 50"/>
                    <a:gd name="T4" fmla="*/ 0 w 715"/>
                    <a:gd name="T5" fmla="*/ 50 h 50"/>
                    <a:gd name="T6" fmla="*/ 708 w 715"/>
                    <a:gd name="T7" fmla="*/ 50 h 50"/>
                    <a:gd name="T8" fmla="*/ 708 w 715"/>
                    <a:gd name="T9" fmla="*/ 50 h 50"/>
                    <a:gd name="T10" fmla="*/ 711 w 715"/>
                    <a:gd name="T11" fmla="*/ 38 h 50"/>
                    <a:gd name="T12" fmla="*/ 714 w 715"/>
                    <a:gd name="T13" fmla="*/ 25 h 50"/>
                    <a:gd name="T14" fmla="*/ 715 w 715"/>
                    <a:gd name="T15" fmla="*/ 13 h 50"/>
                    <a:gd name="T16" fmla="*/ 715 w 715"/>
                    <a:gd name="T17" fmla="*/ 1 h 50"/>
                    <a:gd name="T18" fmla="*/ 715 w 715"/>
                    <a:gd name="T19" fmla="*/ 1 h 50"/>
                    <a:gd name="T20" fmla="*/ 715 w 715"/>
                    <a:gd name="T21" fmla="*/ 1 h 50"/>
                    <a:gd name="T22" fmla="*/ 715 w 715"/>
                    <a:gd name="T23" fmla="*/ 1 h 50"/>
                    <a:gd name="T24" fmla="*/ 715 w 715"/>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5" h="50">
                      <a:moveTo>
                        <a:pt x="715" y="0"/>
                      </a:moveTo>
                      <a:lnTo>
                        <a:pt x="0" y="0"/>
                      </a:lnTo>
                      <a:lnTo>
                        <a:pt x="0" y="50"/>
                      </a:lnTo>
                      <a:lnTo>
                        <a:pt x="708" y="50"/>
                      </a:lnTo>
                      <a:lnTo>
                        <a:pt x="708" y="50"/>
                      </a:lnTo>
                      <a:lnTo>
                        <a:pt x="711" y="38"/>
                      </a:lnTo>
                      <a:lnTo>
                        <a:pt x="714" y="25"/>
                      </a:lnTo>
                      <a:lnTo>
                        <a:pt x="715" y="13"/>
                      </a:lnTo>
                      <a:lnTo>
                        <a:pt x="715" y="1"/>
                      </a:lnTo>
                      <a:lnTo>
                        <a:pt x="715" y="1"/>
                      </a:lnTo>
                      <a:lnTo>
                        <a:pt x="715" y="1"/>
                      </a:lnTo>
                      <a:lnTo>
                        <a:pt x="715" y="1"/>
                      </a:lnTo>
                      <a:lnTo>
                        <a:pt x="71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69" name="Freeform 244"/>
                <p:cNvSpPr>
                  <a:spLocks/>
                </p:cNvSpPr>
                <p:nvPr userDrawn="1"/>
              </p:nvSpPr>
              <p:spPr bwMode="auto">
                <a:xfrm>
                  <a:off x="9791246" y="363036"/>
                  <a:ext cx="79375" cy="80963"/>
                </a:xfrm>
                <a:custGeom>
                  <a:avLst/>
                  <a:gdLst>
                    <a:gd name="T0" fmla="*/ 101 w 101"/>
                    <a:gd name="T1" fmla="*/ 50 h 101"/>
                    <a:gd name="T2" fmla="*/ 101 w 101"/>
                    <a:gd name="T3" fmla="*/ 50 h 101"/>
                    <a:gd name="T4" fmla="*/ 101 w 101"/>
                    <a:gd name="T5" fmla="*/ 60 h 101"/>
                    <a:gd name="T6" fmla="*/ 98 w 101"/>
                    <a:gd name="T7" fmla="*/ 70 h 101"/>
                    <a:gd name="T8" fmla="*/ 93 w 101"/>
                    <a:gd name="T9" fmla="*/ 78 h 101"/>
                    <a:gd name="T10" fmla="*/ 87 w 101"/>
                    <a:gd name="T11" fmla="*/ 87 h 101"/>
                    <a:gd name="T12" fmla="*/ 80 w 101"/>
                    <a:gd name="T13" fmla="*/ 92 h 101"/>
                    <a:gd name="T14" fmla="*/ 70 w 101"/>
                    <a:gd name="T15" fmla="*/ 97 h 101"/>
                    <a:gd name="T16" fmla="*/ 61 w 101"/>
                    <a:gd name="T17" fmla="*/ 100 h 101"/>
                    <a:gd name="T18" fmla="*/ 51 w 101"/>
                    <a:gd name="T19" fmla="*/ 101 h 101"/>
                    <a:gd name="T20" fmla="*/ 51 w 101"/>
                    <a:gd name="T21" fmla="*/ 101 h 101"/>
                    <a:gd name="T22" fmla="*/ 41 w 101"/>
                    <a:gd name="T23" fmla="*/ 100 h 101"/>
                    <a:gd name="T24" fmla="*/ 31 w 101"/>
                    <a:gd name="T25" fmla="*/ 97 h 101"/>
                    <a:gd name="T26" fmla="*/ 23 w 101"/>
                    <a:gd name="T27" fmla="*/ 92 h 101"/>
                    <a:gd name="T28" fmla="*/ 16 w 101"/>
                    <a:gd name="T29" fmla="*/ 87 h 101"/>
                    <a:gd name="T30" fmla="*/ 9 w 101"/>
                    <a:gd name="T31" fmla="*/ 78 h 101"/>
                    <a:gd name="T32" fmla="*/ 4 w 101"/>
                    <a:gd name="T33" fmla="*/ 70 h 101"/>
                    <a:gd name="T34" fmla="*/ 1 w 101"/>
                    <a:gd name="T35" fmla="*/ 60 h 101"/>
                    <a:gd name="T36" fmla="*/ 0 w 101"/>
                    <a:gd name="T37" fmla="*/ 50 h 101"/>
                    <a:gd name="T38" fmla="*/ 0 w 101"/>
                    <a:gd name="T39" fmla="*/ 50 h 101"/>
                    <a:gd name="T40" fmla="*/ 1 w 101"/>
                    <a:gd name="T41" fmla="*/ 40 h 101"/>
                    <a:gd name="T42" fmla="*/ 4 w 101"/>
                    <a:gd name="T43" fmla="*/ 31 h 101"/>
                    <a:gd name="T44" fmla="*/ 9 w 101"/>
                    <a:gd name="T45" fmla="*/ 22 h 101"/>
                    <a:gd name="T46" fmla="*/ 16 w 101"/>
                    <a:gd name="T47" fmla="*/ 14 h 101"/>
                    <a:gd name="T48" fmla="*/ 23 w 101"/>
                    <a:gd name="T49" fmla="*/ 8 h 101"/>
                    <a:gd name="T50" fmla="*/ 31 w 101"/>
                    <a:gd name="T51" fmla="*/ 3 h 101"/>
                    <a:gd name="T52" fmla="*/ 41 w 101"/>
                    <a:gd name="T53" fmla="*/ 1 h 101"/>
                    <a:gd name="T54" fmla="*/ 51 w 101"/>
                    <a:gd name="T55" fmla="*/ 0 h 101"/>
                    <a:gd name="T56" fmla="*/ 51 w 101"/>
                    <a:gd name="T57" fmla="*/ 0 h 101"/>
                    <a:gd name="T58" fmla="*/ 61 w 101"/>
                    <a:gd name="T59" fmla="*/ 1 h 101"/>
                    <a:gd name="T60" fmla="*/ 70 w 101"/>
                    <a:gd name="T61" fmla="*/ 3 h 101"/>
                    <a:gd name="T62" fmla="*/ 80 w 101"/>
                    <a:gd name="T63" fmla="*/ 8 h 101"/>
                    <a:gd name="T64" fmla="*/ 87 w 101"/>
                    <a:gd name="T65" fmla="*/ 14 h 101"/>
                    <a:gd name="T66" fmla="*/ 93 w 101"/>
                    <a:gd name="T67" fmla="*/ 22 h 101"/>
                    <a:gd name="T68" fmla="*/ 98 w 101"/>
                    <a:gd name="T69" fmla="*/ 31 h 101"/>
                    <a:gd name="T70" fmla="*/ 101 w 101"/>
                    <a:gd name="T71" fmla="*/ 40 h 101"/>
                    <a:gd name="T72" fmla="*/ 101 w 101"/>
                    <a:gd name="T73" fmla="*/ 50 h 101"/>
                    <a:gd name="T74" fmla="*/ 101 w 101"/>
                    <a:gd name="T7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1" h="101">
                      <a:moveTo>
                        <a:pt x="101" y="50"/>
                      </a:moveTo>
                      <a:lnTo>
                        <a:pt x="101" y="50"/>
                      </a:lnTo>
                      <a:lnTo>
                        <a:pt x="101" y="60"/>
                      </a:lnTo>
                      <a:lnTo>
                        <a:pt x="98" y="70"/>
                      </a:lnTo>
                      <a:lnTo>
                        <a:pt x="93" y="78"/>
                      </a:lnTo>
                      <a:lnTo>
                        <a:pt x="87" y="87"/>
                      </a:lnTo>
                      <a:lnTo>
                        <a:pt x="80" y="92"/>
                      </a:lnTo>
                      <a:lnTo>
                        <a:pt x="70" y="97"/>
                      </a:lnTo>
                      <a:lnTo>
                        <a:pt x="61" y="100"/>
                      </a:lnTo>
                      <a:lnTo>
                        <a:pt x="51" y="101"/>
                      </a:lnTo>
                      <a:lnTo>
                        <a:pt x="51" y="101"/>
                      </a:lnTo>
                      <a:lnTo>
                        <a:pt x="41" y="100"/>
                      </a:lnTo>
                      <a:lnTo>
                        <a:pt x="31" y="97"/>
                      </a:lnTo>
                      <a:lnTo>
                        <a:pt x="23" y="92"/>
                      </a:lnTo>
                      <a:lnTo>
                        <a:pt x="16" y="87"/>
                      </a:lnTo>
                      <a:lnTo>
                        <a:pt x="9" y="78"/>
                      </a:lnTo>
                      <a:lnTo>
                        <a:pt x="4" y="70"/>
                      </a:lnTo>
                      <a:lnTo>
                        <a:pt x="1" y="60"/>
                      </a:lnTo>
                      <a:lnTo>
                        <a:pt x="0" y="50"/>
                      </a:lnTo>
                      <a:lnTo>
                        <a:pt x="0" y="50"/>
                      </a:lnTo>
                      <a:lnTo>
                        <a:pt x="1" y="40"/>
                      </a:lnTo>
                      <a:lnTo>
                        <a:pt x="4" y="31"/>
                      </a:lnTo>
                      <a:lnTo>
                        <a:pt x="9" y="22"/>
                      </a:lnTo>
                      <a:lnTo>
                        <a:pt x="16" y="14"/>
                      </a:lnTo>
                      <a:lnTo>
                        <a:pt x="23" y="8"/>
                      </a:lnTo>
                      <a:lnTo>
                        <a:pt x="31" y="3"/>
                      </a:lnTo>
                      <a:lnTo>
                        <a:pt x="41" y="1"/>
                      </a:lnTo>
                      <a:lnTo>
                        <a:pt x="51" y="0"/>
                      </a:lnTo>
                      <a:lnTo>
                        <a:pt x="51" y="0"/>
                      </a:lnTo>
                      <a:lnTo>
                        <a:pt x="61" y="1"/>
                      </a:lnTo>
                      <a:lnTo>
                        <a:pt x="70" y="3"/>
                      </a:lnTo>
                      <a:lnTo>
                        <a:pt x="80" y="8"/>
                      </a:lnTo>
                      <a:lnTo>
                        <a:pt x="87" y="14"/>
                      </a:lnTo>
                      <a:lnTo>
                        <a:pt x="93" y="22"/>
                      </a:lnTo>
                      <a:lnTo>
                        <a:pt x="98" y="31"/>
                      </a:lnTo>
                      <a:lnTo>
                        <a:pt x="101" y="40"/>
                      </a:lnTo>
                      <a:lnTo>
                        <a:pt x="101" y="50"/>
                      </a:lnTo>
                      <a:lnTo>
                        <a:pt x="101"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962" name="그룹 961"/>
              <p:cNvGrpSpPr/>
              <p:nvPr userDrawn="1"/>
            </p:nvGrpSpPr>
            <p:grpSpPr>
              <a:xfrm rot="2062520" flipH="1">
                <a:off x="7549630" y="434111"/>
                <a:ext cx="1550425" cy="1943052"/>
                <a:chOff x="184048" y="1047274"/>
                <a:chExt cx="2873312" cy="3600945"/>
              </a:xfrm>
            </p:grpSpPr>
            <p:grpSp>
              <p:nvGrpSpPr>
                <p:cNvPr id="963" name="그룹 962"/>
                <p:cNvGrpSpPr/>
                <p:nvPr userDrawn="1"/>
              </p:nvGrpSpPr>
              <p:grpSpPr>
                <a:xfrm>
                  <a:off x="184048" y="1047274"/>
                  <a:ext cx="2873312" cy="3600945"/>
                  <a:chOff x="-2515452" y="-2739643"/>
                  <a:chExt cx="3798888" cy="4760913"/>
                </a:xfrm>
              </p:grpSpPr>
              <p:sp>
                <p:nvSpPr>
                  <p:cNvPr id="965" name="Freeform 5"/>
                  <p:cNvSpPr>
                    <a:spLocks/>
                  </p:cNvSpPr>
                  <p:nvPr userDrawn="1"/>
                </p:nvSpPr>
                <p:spPr bwMode="auto">
                  <a:xfrm>
                    <a:off x="-754914" y="382970"/>
                    <a:ext cx="2038350" cy="1638300"/>
                  </a:xfrm>
                  <a:custGeom>
                    <a:avLst/>
                    <a:gdLst>
                      <a:gd name="T0" fmla="*/ 2528 w 2569"/>
                      <a:gd name="T1" fmla="*/ 2064 h 2064"/>
                      <a:gd name="T2" fmla="*/ 2569 w 2569"/>
                      <a:gd name="T3" fmla="*/ 2064 h 2064"/>
                      <a:gd name="T4" fmla="*/ 2569 w 2569"/>
                      <a:gd name="T5" fmla="*/ 1742 h 2064"/>
                      <a:gd name="T6" fmla="*/ 2569 w 2569"/>
                      <a:gd name="T7" fmla="*/ 1742 h 2064"/>
                      <a:gd name="T8" fmla="*/ 2568 w 2569"/>
                      <a:gd name="T9" fmla="*/ 1725 h 2064"/>
                      <a:gd name="T10" fmla="*/ 2566 w 2569"/>
                      <a:gd name="T11" fmla="*/ 1708 h 2064"/>
                      <a:gd name="T12" fmla="*/ 2562 w 2569"/>
                      <a:gd name="T13" fmla="*/ 1692 h 2064"/>
                      <a:gd name="T14" fmla="*/ 2557 w 2569"/>
                      <a:gd name="T15" fmla="*/ 1677 h 2064"/>
                      <a:gd name="T16" fmla="*/ 2551 w 2569"/>
                      <a:gd name="T17" fmla="*/ 1663 h 2064"/>
                      <a:gd name="T18" fmla="*/ 2544 w 2569"/>
                      <a:gd name="T19" fmla="*/ 1649 h 2064"/>
                      <a:gd name="T20" fmla="*/ 2537 w 2569"/>
                      <a:gd name="T21" fmla="*/ 1637 h 2064"/>
                      <a:gd name="T22" fmla="*/ 2530 w 2569"/>
                      <a:gd name="T23" fmla="*/ 1626 h 2064"/>
                      <a:gd name="T24" fmla="*/ 2522 w 2569"/>
                      <a:gd name="T25" fmla="*/ 1616 h 2064"/>
                      <a:gd name="T26" fmla="*/ 2514 w 2569"/>
                      <a:gd name="T27" fmla="*/ 1606 h 2064"/>
                      <a:gd name="T28" fmla="*/ 2500 w 2569"/>
                      <a:gd name="T29" fmla="*/ 1591 h 2064"/>
                      <a:gd name="T30" fmla="*/ 2488 w 2569"/>
                      <a:gd name="T31" fmla="*/ 1580 h 2064"/>
                      <a:gd name="T32" fmla="*/ 2479 w 2569"/>
                      <a:gd name="T33" fmla="*/ 1573 h 2064"/>
                      <a:gd name="T34" fmla="*/ 335 w 2569"/>
                      <a:gd name="T35" fmla="*/ 0 h 2064"/>
                      <a:gd name="T36" fmla="*/ 0 w 2569"/>
                      <a:gd name="T37" fmla="*/ 0 h 2064"/>
                      <a:gd name="T38" fmla="*/ 19 w 2569"/>
                      <a:gd name="T39" fmla="*/ 87 h 2064"/>
                      <a:gd name="T40" fmla="*/ 2528 w 2569"/>
                      <a:gd name="T41" fmla="*/ 2064 h 2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9" h="2064">
                        <a:moveTo>
                          <a:pt x="2528" y="2064"/>
                        </a:moveTo>
                        <a:lnTo>
                          <a:pt x="2569" y="2064"/>
                        </a:lnTo>
                        <a:lnTo>
                          <a:pt x="2569" y="1742"/>
                        </a:lnTo>
                        <a:lnTo>
                          <a:pt x="2569" y="1742"/>
                        </a:lnTo>
                        <a:lnTo>
                          <a:pt x="2568" y="1725"/>
                        </a:lnTo>
                        <a:lnTo>
                          <a:pt x="2566" y="1708"/>
                        </a:lnTo>
                        <a:lnTo>
                          <a:pt x="2562" y="1692"/>
                        </a:lnTo>
                        <a:lnTo>
                          <a:pt x="2557" y="1677"/>
                        </a:lnTo>
                        <a:lnTo>
                          <a:pt x="2551" y="1663"/>
                        </a:lnTo>
                        <a:lnTo>
                          <a:pt x="2544" y="1649"/>
                        </a:lnTo>
                        <a:lnTo>
                          <a:pt x="2537" y="1637"/>
                        </a:lnTo>
                        <a:lnTo>
                          <a:pt x="2530" y="1626"/>
                        </a:lnTo>
                        <a:lnTo>
                          <a:pt x="2522" y="1616"/>
                        </a:lnTo>
                        <a:lnTo>
                          <a:pt x="2514" y="1606"/>
                        </a:lnTo>
                        <a:lnTo>
                          <a:pt x="2500" y="1591"/>
                        </a:lnTo>
                        <a:lnTo>
                          <a:pt x="2488" y="1580"/>
                        </a:lnTo>
                        <a:lnTo>
                          <a:pt x="2479" y="1573"/>
                        </a:lnTo>
                        <a:lnTo>
                          <a:pt x="335" y="0"/>
                        </a:lnTo>
                        <a:lnTo>
                          <a:pt x="0" y="0"/>
                        </a:lnTo>
                        <a:lnTo>
                          <a:pt x="19" y="87"/>
                        </a:lnTo>
                        <a:lnTo>
                          <a:pt x="2528" y="2064"/>
                        </a:lnTo>
                        <a:close/>
                      </a:path>
                    </a:pathLst>
                  </a:custGeom>
                  <a:solidFill>
                    <a:srgbClr val="E0E1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6" name="Freeform 6"/>
                  <p:cNvSpPr>
                    <a:spLocks/>
                  </p:cNvSpPr>
                  <p:nvPr userDrawn="1"/>
                </p:nvSpPr>
                <p:spPr bwMode="auto">
                  <a:xfrm>
                    <a:off x="-713639" y="414720"/>
                    <a:ext cx="1965325" cy="1606550"/>
                  </a:xfrm>
                  <a:custGeom>
                    <a:avLst/>
                    <a:gdLst>
                      <a:gd name="T0" fmla="*/ 2403 w 2476"/>
                      <a:gd name="T1" fmla="*/ 1565 h 2023"/>
                      <a:gd name="T2" fmla="*/ 269 w 2476"/>
                      <a:gd name="T3" fmla="*/ 0 h 2023"/>
                      <a:gd name="T4" fmla="*/ 0 w 2476"/>
                      <a:gd name="T5" fmla="*/ 0 h 2023"/>
                      <a:gd name="T6" fmla="*/ 119 w 2476"/>
                      <a:gd name="T7" fmla="*/ 566 h 2023"/>
                      <a:gd name="T8" fmla="*/ 2019 w 2476"/>
                      <a:gd name="T9" fmla="*/ 2023 h 2023"/>
                      <a:gd name="T10" fmla="*/ 2476 w 2476"/>
                      <a:gd name="T11" fmla="*/ 2023 h 2023"/>
                      <a:gd name="T12" fmla="*/ 2476 w 2476"/>
                      <a:gd name="T13" fmla="*/ 1701 h 2023"/>
                      <a:gd name="T14" fmla="*/ 2476 w 2476"/>
                      <a:gd name="T15" fmla="*/ 1701 h 2023"/>
                      <a:gd name="T16" fmla="*/ 2475 w 2476"/>
                      <a:gd name="T17" fmla="*/ 1687 h 2023"/>
                      <a:gd name="T18" fmla="*/ 2473 w 2476"/>
                      <a:gd name="T19" fmla="*/ 1673 h 2023"/>
                      <a:gd name="T20" fmla="*/ 2470 w 2476"/>
                      <a:gd name="T21" fmla="*/ 1661 h 2023"/>
                      <a:gd name="T22" fmla="*/ 2465 w 2476"/>
                      <a:gd name="T23" fmla="*/ 1649 h 2023"/>
                      <a:gd name="T24" fmla="*/ 2461 w 2476"/>
                      <a:gd name="T25" fmla="*/ 1637 h 2023"/>
                      <a:gd name="T26" fmla="*/ 2456 w 2476"/>
                      <a:gd name="T27" fmla="*/ 1627 h 2023"/>
                      <a:gd name="T28" fmla="*/ 2450 w 2476"/>
                      <a:gd name="T29" fmla="*/ 1617 h 2023"/>
                      <a:gd name="T30" fmla="*/ 2444 w 2476"/>
                      <a:gd name="T31" fmla="*/ 1607 h 2023"/>
                      <a:gd name="T32" fmla="*/ 2430 w 2476"/>
                      <a:gd name="T33" fmla="*/ 1592 h 2023"/>
                      <a:gd name="T34" fmla="*/ 2419 w 2476"/>
                      <a:gd name="T35" fmla="*/ 1580 h 2023"/>
                      <a:gd name="T36" fmla="*/ 2409 w 2476"/>
                      <a:gd name="T37" fmla="*/ 1570 h 2023"/>
                      <a:gd name="T38" fmla="*/ 2403 w 2476"/>
                      <a:gd name="T39" fmla="*/ 1565 h 2023"/>
                      <a:gd name="T40" fmla="*/ 2403 w 2476"/>
                      <a:gd name="T41" fmla="*/ 1565 h 2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76" h="2023">
                        <a:moveTo>
                          <a:pt x="2403" y="1565"/>
                        </a:moveTo>
                        <a:lnTo>
                          <a:pt x="269" y="0"/>
                        </a:lnTo>
                        <a:lnTo>
                          <a:pt x="0" y="0"/>
                        </a:lnTo>
                        <a:lnTo>
                          <a:pt x="119" y="566"/>
                        </a:lnTo>
                        <a:lnTo>
                          <a:pt x="2019" y="2023"/>
                        </a:lnTo>
                        <a:lnTo>
                          <a:pt x="2476" y="2023"/>
                        </a:lnTo>
                        <a:lnTo>
                          <a:pt x="2476" y="1701"/>
                        </a:lnTo>
                        <a:lnTo>
                          <a:pt x="2476" y="1701"/>
                        </a:lnTo>
                        <a:lnTo>
                          <a:pt x="2475" y="1687"/>
                        </a:lnTo>
                        <a:lnTo>
                          <a:pt x="2473" y="1673"/>
                        </a:lnTo>
                        <a:lnTo>
                          <a:pt x="2470" y="1661"/>
                        </a:lnTo>
                        <a:lnTo>
                          <a:pt x="2465" y="1649"/>
                        </a:lnTo>
                        <a:lnTo>
                          <a:pt x="2461" y="1637"/>
                        </a:lnTo>
                        <a:lnTo>
                          <a:pt x="2456" y="1627"/>
                        </a:lnTo>
                        <a:lnTo>
                          <a:pt x="2450" y="1617"/>
                        </a:lnTo>
                        <a:lnTo>
                          <a:pt x="2444" y="1607"/>
                        </a:lnTo>
                        <a:lnTo>
                          <a:pt x="2430" y="1592"/>
                        </a:lnTo>
                        <a:lnTo>
                          <a:pt x="2419" y="1580"/>
                        </a:lnTo>
                        <a:lnTo>
                          <a:pt x="2409" y="1570"/>
                        </a:lnTo>
                        <a:lnTo>
                          <a:pt x="2403" y="1565"/>
                        </a:lnTo>
                        <a:lnTo>
                          <a:pt x="2403" y="1565"/>
                        </a:lnTo>
                        <a:close/>
                      </a:path>
                    </a:pathLst>
                  </a:custGeom>
                  <a:solidFill>
                    <a:srgbClr val="ABAD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7" name="Freeform 19"/>
                  <p:cNvSpPr>
                    <a:spLocks noEditPoints="1"/>
                  </p:cNvSpPr>
                  <p:nvPr userDrawn="1"/>
                </p:nvSpPr>
                <p:spPr bwMode="auto">
                  <a:xfrm>
                    <a:off x="-2091589" y="-2488818"/>
                    <a:ext cx="1708150" cy="3411538"/>
                  </a:xfrm>
                  <a:custGeom>
                    <a:avLst/>
                    <a:gdLst>
                      <a:gd name="T0" fmla="*/ 528 w 2152"/>
                      <a:gd name="T1" fmla="*/ 783 h 4297"/>
                      <a:gd name="T2" fmla="*/ 424 w 2152"/>
                      <a:gd name="T3" fmla="*/ 972 h 4297"/>
                      <a:gd name="T4" fmla="*/ 347 w 2152"/>
                      <a:gd name="T5" fmla="*/ 1126 h 4297"/>
                      <a:gd name="T6" fmla="*/ 240 w 2152"/>
                      <a:gd name="T7" fmla="*/ 1370 h 4297"/>
                      <a:gd name="T8" fmla="*/ 146 w 2152"/>
                      <a:gd name="T9" fmla="*/ 1628 h 4297"/>
                      <a:gd name="T10" fmla="*/ 106 w 2152"/>
                      <a:gd name="T11" fmla="*/ 1762 h 4297"/>
                      <a:gd name="T12" fmla="*/ 71 w 2152"/>
                      <a:gd name="T13" fmla="*/ 1898 h 4297"/>
                      <a:gd name="T14" fmla="*/ 44 w 2152"/>
                      <a:gd name="T15" fmla="*/ 2035 h 4297"/>
                      <a:gd name="T16" fmla="*/ 21 w 2152"/>
                      <a:gd name="T17" fmla="*/ 2175 h 4297"/>
                      <a:gd name="T18" fmla="*/ 8 w 2152"/>
                      <a:gd name="T19" fmla="*/ 2316 h 4297"/>
                      <a:gd name="T20" fmla="*/ 1 w 2152"/>
                      <a:gd name="T21" fmla="*/ 2428 h 4297"/>
                      <a:gd name="T22" fmla="*/ 1 w 2152"/>
                      <a:gd name="T23" fmla="*/ 2576 h 4297"/>
                      <a:gd name="T24" fmla="*/ 11 w 2152"/>
                      <a:gd name="T25" fmla="*/ 2814 h 4297"/>
                      <a:gd name="T26" fmla="*/ 27 w 2152"/>
                      <a:gd name="T27" fmla="*/ 2992 h 4297"/>
                      <a:gd name="T28" fmla="*/ 63 w 2152"/>
                      <a:gd name="T29" fmla="*/ 3255 h 4297"/>
                      <a:gd name="T30" fmla="*/ 112 w 2152"/>
                      <a:gd name="T31" fmla="*/ 3519 h 4297"/>
                      <a:gd name="T32" fmla="*/ 176 w 2152"/>
                      <a:gd name="T33" fmla="*/ 3793 h 4297"/>
                      <a:gd name="T34" fmla="*/ 307 w 2152"/>
                      <a:gd name="T35" fmla="*/ 4297 h 4297"/>
                      <a:gd name="T36" fmla="*/ 1835 w 2152"/>
                      <a:gd name="T37" fmla="*/ 4297 h 4297"/>
                      <a:gd name="T38" fmla="*/ 1971 w 2152"/>
                      <a:gd name="T39" fmla="*/ 3794 h 4297"/>
                      <a:gd name="T40" fmla="*/ 2037 w 2152"/>
                      <a:gd name="T41" fmla="*/ 3523 h 4297"/>
                      <a:gd name="T42" fmla="*/ 2089 w 2152"/>
                      <a:gd name="T43" fmla="*/ 3261 h 4297"/>
                      <a:gd name="T44" fmla="*/ 2126 w 2152"/>
                      <a:gd name="T45" fmla="*/ 2996 h 4297"/>
                      <a:gd name="T46" fmla="*/ 2142 w 2152"/>
                      <a:gd name="T47" fmla="*/ 2814 h 4297"/>
                      <a:gd name="T48" fmla="*/ 2152 w 2152"/>
                      <a:gd name="T49" fmla="*/ 2576 h 4297"/>
                      <a:gd name="T50" fmla="*/ 2151 w 2152"/>
                      <a:gd name="T51" fmla="*/ 2428 h 4297"/>
                      <a:gd name="T52" fmla="*/ 2146 w 2152"/>
                      <a:gd name="T53" fmla="*/ 2317 h 4297"/>
                      <a:gd name="T54" fmla="*/ 2132 w 2152"/>
                      <a:gd name="T55" fmla="*/ 2177 h 4297"/>
                      <a:gd name="T56" fmla="*/ 2110 w 2152"/>
                      <a:gd name="T57" fmla="*/ 2040 h 4297"/>
                      <a:gd name="T58" fmla="*/ 2082 w 2152"/>
                      <a:gd name="T59" fmla="*/ 1903 h 4297"/>
                      <a:gd name="T60" fmla="*/ 2048 w 2152"/>
                      <a:gd name="T61" fmla="*/ 1769 h 4297"/>
                      <a:gd name="T62" fmla="*/ 1981 w 2152"/>
                      <a:gd name="T63" fmla="*/ 1551 h 4297"/>
                      <a:gd name="T64" fmla="*/ 1884 w 2152"/>
                      <a:gd name="T65" fmla="*/ 1299 h 4297"/>
                      <a:gd name="T66" fmla="*/ 1775 w 2152"/>
                      <a:gd name="T67" fmla="*/ 1062 h 4297"/>
                      <a:gd name="T68" fmla="*/ 1700 w 2152"/>
                      <a:gd name="T69" fmla="*/ 917 h 4297"/>
                      <a:gd name="T70" fmla="*/ 1589 w 2152"/>
                      <a:gd name="T71" fmla="*/ 720 h 4297"/>
                      <a:gd name="T72" fmla="*/ 1492 w 2152"/>
                      <a:gd name="T73" fmla="*/ 564 h 4297"/>
                      <a:gd name="T74" fmla="*/ 1354 w 2152"/>
                      <a:gd name="T75" fmla="*/ 359 h 4297"/>
                      <a:gd name="T76" fmla="*/ 1235 w 2152"/>
                      <a:gd name="T77" fmla="*/ 196 h 4297"/>
                      <a:gd name="T78" fmla="*/ 1120 w 2152"/>
                      <a:gd name="T79" fmla="*/ 51 h 4297"/>
                      <a:gd name="T80" fmla="*/ 1076 w 2152"/>
                      <a:gd name="T81" fmla="*/ 0 h 4297"/>
                      <a:gd name="T82" fmla="*/ 983 w 2152"/>
                      <a:gd name="T83" fmla="*/ 113 h 4297"/>
                      <a:gd name="T84" fmla="*/ 880 w 2152"/>
                      <a:gd name="T85" fmla="*/ 247 h 4297"/>
                      <a:gd name="T86" fmla="*/ 753 w 2152"/>
                      <a:gd name="T87" fmla="*/ 425 h 4297"/>
                      <a:gd name="T88" fmla="*/ 611 w 2152"/>
                      <a:gd name="T89" fmla="*/ 643 h 4297"/>
                      <a:gd name="T90" fmla="*/ 2002 w 2152"/>
                      <a:gd name="T91" fmla="*/ 2703 h 4297"/>
                      <a:gd name="T92" fmla="*/ 1950 w 2152"/>
                      <a:gd name="T93" fmla="*/ 2674 h 4297"/>
                      <a:gd name="T94" fmla="*/ 1862 w 2152"/>
                      <a:gd name="T95" fmla="*/ 2634 h 4297"/>
                      <a:gd name="T96" fmla="*/ 1763 w 2152"/>
                      <a:gd name="T97" fmla="*/ 2598 h 4297"/>
                      <a:gd name="T98" fmla="*/ 1797 w 2152"/>
                      <a:gd name="T99" fmla="*/ 2609 h 4297"/>
                      <a:gd name="T100" fmla="*/ 1893 w 2152"/>
                      <a:gd name="T101" fmla="*/ 2648 h 4297"/>
                      <a:gd name="T102" fmla="*/ 1976 w 2152"/>
                      <a:gd name="T103" fmla="*/ 2689 h 4297"/>
                      <a:gd name="T104" fmla="*/ 390 w 2152"/>
                      <a:gd name="T105" fmla="*/ 2598 h 4297"/>
                      <a:gd name="T106" fmla="*/ 322 w 2152"/>
                      <a:gd name="T107" fmla="*/ 2622 h 4297"/>
                      <a:gd name="T108" fmla="*/ 231 w 2152"/>
                      <a:gd name="T109" fmla="*/ 2661 h 4297"/>
                      <a:gd name="T110" fmla="*/ 151 w 2152"/>
                      <a:gd name="T111" fmla="*/ 2703 h 4297"/>
                      <a:gd name="T112" fmla="*/ 203 w 2152"/>
                      <a:gd name="T113" fmla="*/ 2674 h 4297"/>
                      <a:gd name="T114" fmla="*/ 290 w 2152"/>
                      <a:gd name="T115" fmla="*/ 2634 h 4297"/>
                      <a:gd name="T116" fmla="*/ 390 w 2152"/>
                      <a:gd name="T117" fmla="*/ 2598 h 4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52" h="4297">
                        <a:moveTo>
                          <a:pt x="563" y="723"/>
                        </a:moveTo>
                        <a:lnTo>
                          <a:pt x="563" y="723"/>
                        </a:lnTo>
                        <a:lnTo>
                          <a:pt x="528" y="783"/>
                        </a:lnTo>
                        <a:lnTo>
                          <a:pt x="493" y="844"/>
                        </a:lnTo>
                        <a:lnTo>
                          <a:pt x="458" y="907"/>
                        </a:lnTo>
                        <a:lnTo>
                          <a:pt x="424" y="972"/>
                        </a:lnTo>
                        <a:lnTo>
                          <a:pt x="424" y="972"/>
                        </a:lnTo>
                        <a:lnTo>
                          <a:pt x="385" y="1048"/>
                        </a:lnTo>
                        <a:lnTo>
                          <a:pt x="347" y="1126"/>
                        </a:lnTo>
                        <a:lnTo>
                          <a:pt x="310" y="1205"/>
                        </a:lnTo>
                        <a:lnTo>
                          <a:pt x="275" y="1287"/>
                        </a:lnTo>
                        <a:lnTo>
                          <a:pt x="240" y="1370"/>
                        </a:lnTo>
                        <a:lnTo>
                          <a:pt x="207" y="1454"/>
                        </a:lnTo>
                        <a:lnTo>
                          <a:pt x="175" y="1541"/>
                        </a:lnTo>
                        <a:lnTo>
                          <a:pt x="146" y="1628"/>
                        </a:lnTo>
                        <a:lnTo>
                          <a:pt x="132" y="1672"/>
                        </a:lnTo>
                        <a:lnTo>
                          <a:pt x="119" y="1717"/>
                        </a:lnTo>
                        <a:lnTo>
                          <a:pt x="106" y="1762"/>
                        </a:lnTo>
                        <a:lnTo>
                          <a:pt x="94" y="1807"/>
                        </a:lnTo>
                        <a:lnTo>
                          <a:pt x="83" y="1852"/>
                        </a:lnTo>
                        <a:lnTo>
                          <a:pt x="71" y="1898"/>
                        </a:lnTo>
                        <a:lnTo>
                          <a:pt x="61" y="1943"/>
                        </a:lnTo>
                        <a:lnTo>
                          <a:pt x="52" y="1989"/>
                        </a:lnTo>
                        <a:lnTo>
                          <a:pt x="44" y="2035"/>
                        </a:lnTo>
                        <a:lnTo>
                          <a:pt x="35" y="2082"/>
                        </a:lnTo>
                        <a:lnTo>
                          <a:pt x="28" y="2128"/>
                        </a:lnTo>
                        <a:lnTo>
                          <a:pt x="21" y="2175"/>
                        </a:lnTo>
                        <a:lnTo>
                          <a:pt x="16" y="2223"/>
                        </a:lnTo>
                        <a:lnTo>
                          <a:pt x="11" y="2269"/>
                        </a:lnTo>
                        <a:lnTo>
                          <a:pt x="8" y="2316"/>
                        </a:lnTo>
                        <a:lnTo>
                          <a:pt x="4" y="2364"/>
                        </a:lnTo>
                        <a:lnTo>
                          <a:pt x="4" y="2364"/>
                        </a:lnTo>
                        <a:lnTo>
                          <a:pt x="1" y="2428"/>
                        </a:lnTo>
                        <a:lnTo>
                          <a:pt x="0" y="2492"/>
                        </a:lnTo>
                        <a:lnTo>
                          <a:pt x="0" y="2492"/>
                        </a:lnTo>
                        <a:lnTo>
                          <a:pt x="1" y="2576"/>
                        </a:lnTo>
                        <a:lnTo>
                          <a:pt x="3" y="2657"/>
                        </a:lnTo>
                        <a:lnTo>
                          <a:pt x="6" y="2736"/>
                        </a:lnTo>
                        <a:lnTo>
                          <a:pt x="11" y="2814"/>
                        </a:lnTo>
                        <a:lnTo>
                          <a:pt x="11" y="2814"/>
                        </a:lnTo>
                        <a:lnTo>
                          <a:pt x="18" y="2904"/>
                        </a:lnTo>
                        <a:lnTo>
                          <a:pt x="27" y="2992"/>
                        </a:lnTo>
                        <a:lnTo>
                          <a:pt x="37" y="3081"/>
                        </a:lnTo>
                        <a:lnTo>
                          <a:pt x="50" y="3168"/>
                        </a:lnTo>
                        <a:lnTo>
                          <a:pt x="63" y="3255"/>
                        </a:lnTo>
                        <a:lnTo>
                          <a:pt x="77" y="3343"/>
                        </a:lnTo>
                        <a:lnTo>
                          <a:pt x="95" y="3430"/>
                        </a:lnTo>
                        <a:lnTo>
                          <a:pt x="112" y="3519"/>
                        </a:lnTo>
                        <a:lnTo>
                          <a:pt x="132" y="3608"/>
                        </a:lnTo>
                        <a:lnTo>
                          <a:pt x="154" y="3700"/>
                        </a:lnTo>
                        <a:lnTo>
                          <a:pt x="176" y="3793"/>
                        </a:lnTo>
                        <a:lnTo>
                          <a:pt x="200" y="3888"/>
                        </a:lnTo>
                        <a:lnTo>
                          <a:pt x="251" y="4087"/>
                        </a:lnTo>
                        <a:lnTo>
                          <a:pt x="307" y="4297"/>
                        </a:lnTo>
                        <a:lnTo>
                          <a:pt x="1835" y="4297"/>
                        </a:lnTo>
                        <a:lnTo>
                          <a:pt x="1835" y="4297"/>
                        </a:lnTo>
                        <a:lnTo>
                          <a:pt x="1835" y="4297"/>
                        </a:lnTo>
                        <a:lnTo>
                          <a:pt x="1894" y="4087"/>
                        </a:lnTo>
                        <a:lnTo>
                          <a:pt x="1947" y="3889"/>
                        </a:lnTo>
                        <a:lnTo>
                          <a:pt x="1971" y="3794"/>
                        </a:lnTo>
                        <a:lnTo>
                          <a:pt x="1995" y="3702"/>
                        </a:lnTo>
                        <a:lnTo>
                          <a:pt x="2017" y="3612"/>
                        </a:lnTo>
                        <a:lnTo>
                          <a:pt x="2037" y="3523"/>
                        </a:lnTo>
                        <a:lnTo>
                          <a:pt x="2056" y="3435"/>
                        </a:lnTo>
                        <a:lnTo>
                          <a:pt x="2073" y="3348"/>
                        </a:lnTo>
                        <a:lnTo>
                          <a:pt x="2089" y="3261"/>
                        </a:lnTo>
                        <a:lnTo>
                          <a:pt x="2103" y="3173"/>
                        </a:lnTo>
                        <a:lnTo>
                          <a:pt x="2115" y="3086"/>
                        </a:lnTo>
                        <a:lnTo>
                          <a:pt x="2126" y="2996"/>
                        </a:lnTo>
                        <a:lnTo>
                          <a:pt x="2135" y="2906"/>
                        </a:lnTo>
                        <a:lnTo>
                          <a:pt x="2142" y="2814"/>
                        </a:lnTo>
                        <a:lnTo>
                          <a:pt x="2142" y="2814"/>
                        </a:lnTo>
                        <a:lnTo>
                          <a:pt x="2146" y="2736"/>
                        </a:lnTo>
                        <a:lnTo>
                          <a:pt x="2150" y="2656"/>
                        </a:lnTo>
                        <a:lnTo>
                          <a:pt x="2152" y="2576"/>
                        </a:lnTo>
                        <a:lnTo>
                          <a:pt x="2152" y="2492"/>
                        </a:lnTo>
                        <a:lnTo>
                          <a:pt x="2152" y="2492"/>
                        </a:lnTo>
                        <a:lnTo>
                          <a:pt x="2151" y="2428"/>
                        </a:lnTo>
                        <a:lnTo>
                          <a:pt x="2149" y="2364"/>
                        </a:lnTo>
                        <a:lnTo>
                          <a:pt x="2149" y="2364"/>
                        </a:lnTo>
                        <a:lnTo>
                          <a:pt x="2146" y="2317"/>
                        </a:lnTo>
                        <a:lnTo>
                          <a:pt x="2142" y="2270"/>
                        </a:lnTo>
                        <a:lnTo>
                          <a:pt x="2137" y="2224"/>
                        </a:lnTo>
                        <a:lnTo>
                          <a:pt x="2132" y="2177"/>
                        </a:lnTo>
                        <a:lnTo>
                          <a:pt x="2126" y="2131"/>
                        </a:lnTo>
                        <a:lnTo>
                          <a:pt x="2118" y="2086"/>
                        </a:lnTo>
                        <a:lnTo>
                          <a:pt x="2110" y="2040"/>
                        </a:lnTo>
                        <a:lnTo>
                          <a:pt x="2102" y="1994"/>
                        </a:lnTo>
                        <a:lnTo>
                          <a:pt x="2093" y="1948"/>
                        </a:lnTo>
                        <a:lnTo>
                          <a:pt x="2082" y="1903"/>
                        </a:lnTo>
                        <a:lnTo>
                          <a:pt x="2072" y="1859"/>
                        </a:lnTo>
                        <a:lnTo>
                          <a:pt x="2061" y="1813"/>
                        </a:lnTo>
                        <a:lnTo>
                          <a:pt x="2048" y="1769"/>
                        </a:lnTo>
                        <a:lnTo>
                          <a:pt x="2036" y="1725"/>
                        </a:lnTo>
                        <a:lnTo>
                          <a:pt x="2009" y="1637"/>
                        </a:lnTo>
                        <a:lnTo>
                          <a:pt x="1981" y="1551"/>
                        </a:lnTo>
                        <a:lnTo>
                          <a:pt x="1950" y="1466"/>
                        </a:lnTo>
                        <a:lnTo>
                          <a:pt x="1918" y="1381"/>
                        </a:lnTo>
                        <a:lnTo>
                          <a:pt x="1884" y="1299"/>
                        </a:lnTo>
                        <a:lnTo>
                          <a:pt x="1849" y="1219"/>
                        </a:lnTo>
                        <a:lnTo>
                          <a:pt x="1812" y="1140"/>
                        </a:lnTo>
                        <a:lnTo>
                          <a:pt x="1775" y="1062"/>
                        </a:lnTo>
                        <a:lnTo>
                          <a:pt x="1737" y="987"/>
                        </a:lnTo>
                        <a:lnTo>
                          <a:pt x="1737" y="987"/>
                        </a:lnTo>
                        <a:lnTo>
                          <a:pt x="1700" y="917"/>
                        </a:lnTo>
                        <a:lnTo>
                          <a:pt x="1663" y="849"/>
                        </a:lnTo>
                        <a:lnTo>
                          <a:pt x="1626" y="784"/>
                        </a:lnTo>
                        <a:lnTo>
                          <a:pt x="1589" y="720"/>
                        </a:lnTo>
                        <a:lnTo>
                          <a:pt x="1589" y="720"/>
                        </a:lnTo>
                        <a:lnTo>
                          <a:pt x="1539" y="640"/>
                        </a:lnTo>
                        <a:lnTo>
                          <a:pt x="1492" y="564"/>
                        </a:lnTo>
                        <a:lnTo>
                          <a:pt x="1445" y="492"/>
                        </a:lnTo>
                        <a:lnTo>
                          <a:pt x="1398" y="423"/>
                        </a:lnTo>
                        <a:lnTo>
                          <a:pt x="1354" y="359"/>
                        </a:lnTo>
                        <a:lnTo>
                          <a:pt x="1312" y="300"/>
                        </a:lnTo>
                        <a:lnTo>
                          <a:pt x="1272" y="246"/>
                        </a:lnTo>
                        <a:lnTo>
                          <a:pt x="1235" y="196"/>
                        </a:lnTo>
                        <a:lnTo>
                          <a:pt x="1201" y="151"/>
                        </a:lnTo>
                        <a:lnTo>
                          <a:pt x="1170" y="112"/>
                        </a:lnTo>
                        <a:lnTo>
                          <a:pt x="1120" y="51"/>
                        </a:lnTo>
                        <a:lnTo>
                          <a:pt x="1088" y="13"/>
                        </a:lnTo>
                        <a:lnTo>
                          <a:pt x="1076" y="0"/>
                        </a:lnTo>
                        <a:lnTo>
                          <a:pt x="1076" y="0"/>
                        </a:lnTo>
                        <a:lnTo>
                          <a:pt x="1065" y="13"/>
                        </a:lnTo>
                        <a:lnTo>
                          <a:pt x="1033" y="51"/>
                        </a:lnTo>
                        <a:lnTo>
                          <a:pt x="983" y="113"/>
                        </a:lnTo>
                        <a:lnTo>
                          <a:pt x="952" y="152"/>
                        </a:lnTo>
                        <a:lnTo>
                          <a:pt x="918" y="196"/>
                        </a:lnTo>
                        <a:lnTo>
                          <a:pt x="880" y="247"/>
                        </a:lnTo>
                        <a:lnTo>
                          <a:pt x="840" y="301"/>
                        </a:lnTo>
                        <a:lnTo>
                          <a:pt x="798" y="361"/>
                        </a:lnTo>
                        <a:lnTo>
                          <a:pt x="753" y="425"/>
                        </a:lnTo>
                        <a:lnTo>
                          <a:pt x="707" y="494"/>
                        </a:lnTo>
                        <a:lnTo>
                          <a:pt x="660" y="566"/>
                        </a:lnTo>
                        <a:lnTo>
                          <a:pt x="611" y="643"/>
                        </a:lnTo>
                        <a:lnTo>
                          <a:pt x="563" y="723"/>
                        </a:lnTo>
                        <a:lnTo>
                          <a:pt x="563" y="723"/>
                        </a:lnTo>
                        <a:close/>
                        <a:moveTo>
                          <a:pt x="2002" y="2703"/>
                        </a:moveTo>
                        <a:lnTo>
                          <a:pt x="2002" y="2703"/>
                        </a:lnTo>
                        <a:lnTo>
                          <a:pt x="1976" y="2689"/>
                        </a:lnTo>
                        <a:lnTo>
                          <a:pt x="1950" y="2674"/>
                        </a:lnTo>
                        <a:lnTo>
                          <a:pt x="1922" y="2661"/>
                        </a:lnTo>
                        <a:lnTo>
                          <a:pt x="1893" y="2648"/>
                        </a:lnTo>
                        <a:lnTo>
                          <a:pt x="1862" y="2634"/>
                        </a:lnTo>
                        <a:lnTo>
                          <a:pt x="1830" y="2622"/>
                        </a:lnTo>
                        <a:lnTo>
                          <a:pt x="1797" y="2611"/>
                        </a:lnTo>
                        <a:lnTo>
                          <a:pt x="1763" y="2598"/>
                        </a:lnTo>
                        <a:lnTo>
                          <a:pt x="1763" y="2598"/>
                        </a:lnTo>
                        <a:lnTo>
                          <a:pt x="1763" y="2598"/>
                        </a:lnTo>
                        <a:lnTo>
                          <a:pt x="1797" y="2609"/>
                        </a:lnTo>
                        <a:lnTo>
                          <a:pt x="1830" y="2622"/>
                        </a:lnTo>
                        <a:lnTo>
                          <a:pt x="1862" y="2634"/>
                        </a:lnTo>
                        <a:lnTo>
                          <a:pt x="1893" y="2648"/>
                        </a:lnTo>
                        <a:lnTo>
                          <a:pt x="1922" y="2661"/>
                        </a:lnTo>
                        <a:lnTo>
                          <a:pt x="1950" y="2674"/>
                        </a:lnTo>
                        <a:lnTo>
                          <a:pt x="1976" y="2689"/>
                        </a:lnTo>
                        <a:lnTo>
                          <a:pt x="2002" y="2703"/>
                        </a:lnTo>
                        <a:lnTo>
                          <a:pt x="2002" y="2703"/>
                        </a:lnTo>
                        <a:close/>
                        <a:moveTo>
                          <a:pt x="390" y="2598"/>
                        </a:moveTo>
                        <a:lnTo>
                          <a:pt x="390" y="2598"/>
                        </a:lnTo>
                        <a:lnTo>
                          <a:pt x="355" y="2611"/>
                        </a:lnTo>
                        <a:lnTo>
                          <a:pt x="322" y="2622"/>
                        </a:lnTo>
                        <a:lnTo>
                          <a:pt x="290" y="2634"/>
                        </a:lnTo>
                        <a:lnTo>
                          <a:pt x="260" y="2648"/>
                        </a:lnTo>
                        <a:lnTo>
                          <a:pt x="231" y="2661"/>
                        </a:lnTo>
                        <a:lnTo>
                          <a:pt x="203" y="2674"/>
                        </a:lnTo>
                        <a:lnTo>
                          <a:pt x="176" y="2689"/>
                        </a:lnTo>
                        <a:lnTo>
                          <a:pt x="151" y="2703"/>
                        </a:lnTo>
                        <a:lnTo>
                          <a:pt x="151" y="2703"/>
                        </a:lnTo>
                        <a:lnTo>
                          <a:pt x="176" y="2689"/>
                        </a:lnTo>
                        <a:lnTo>
                          <a:pt x="203" y="2674"/>
                        </a:lnTo>
                        <a:lnTo>
                          <a:pt x="231" y="2661"/>
                        </a:lnTo>
                        <a:lnTo>
                          <a:pt x="260" y="2648"/>
                        </a:lnTo>
                        <a:lnTo>
                          <a:pt x="290" y="2634"/>
                        </a:lnTo>
                        <a:lnTo>
                          <a:pt x="322" y="2622"/>
                        </a:lnTo>
                        <a:lnTo>
                          <a:pt x="355" y="2609"/>
                        </a:lnTo>
                        <a:lnTo>
                          <a:pt x="390" y="2598"/>
                        </a:lnTo>
                        <a:lnTo>
                          <a:pt x="390" y="2598"/>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8" name="Rectangle 20"/>
                  <p:cNvSpPr>
                    <a:spLocks noChangeArrowheads="1"/>
                  </p:cNvSpPr>
                  <p:nvPr userDrawn="1"/>
                </p:nvSpPr>
                <p:spPr bwMode="auto">
                  <a:xfrm>
                    <a:off x="-1243864" y="-2692018"/>
                    <a:ext cx="14288" cy="406400"/>
                  </a:xfrm>
                  <a:prstGeom prst="rect">
                    <a:avLst/>
                  </a:prstGeom>
                  <a:solidFill>
                    <a:srgbClr val="80828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69" name="Freeform 21"/>
                  <p:cNvSpPr>
                    <a:spLocks/>
                  </p:cNvSpPr>
                  <p:nvPr userDrawn="1"/>
                </p:nvSpPr>
                <p:spPr bwMode="auto">
                  <a:xfrm>
                    <a:off x="-1285139" y="-2739643"/>
                    <a:ext cx="96838" cy="96838"/>
                  </a:xfrm>
                  <a:custGeom>
                    <a:avLst/>
                    <a:gdLst>
                      <a:gd name="T0" fmla="*/ 122 w 122"/>
                      <a:gd name="T1" fmla="*/ 61 h 122"/>
                      <a:gd name="T2" fmla="*/ 122 w 122"/>
                      <a:gd name="T3" fmla="*/ 61 h 122"/>
                      <a:gd name="T4" fmla="*/ 121 w 122"/>
                      <a:gd name="T5" fmla="*/ 68 h 122"/>
                      <a:gd name="T6" fmla="*/ 120 w 122"/>
                      <a:gd name="T7" fmla="*/ 73 h 122"/>
                      <a:gd name="T8" fmla="*/ 117 w 122"/>
                      <a:gd name="T9" fmla="*/ 85 h 122"/>
                      <a:gd name="T10" fmla="*/ 111 w 122"/>
                      <a:gd name="T11" fmla="*/ 96 h 122"/>
                      <a:gd name="T12" fmla="*/ 104 w 122"/>
                      <a:gd name="T13" fmla="*/ 105 h 122"/>
                      <a:gd name="T14" fmla="*/ 94 w 122"/>
                      <a:gd name="T15" fmla="*/ 112 h 122"/>
                      <a:gd name="T16" fmla="*/ 84 w 122"/>
                      <a:gd name="T17" fmla="*/ 117 h 122"/>
                      <a:gd name="T18" fmla="*/ 73 w 122"/>
                      <a:gd name="T19" fmla="*/ 121 h 122"/>
                      <a:gd name="T20" fmla="*/ 67 w 122"/>
                      <a:gd name="T21" fmla="*/ 122 h 122"/>
                      <a:gd name="T22" fmla="*/ 60 w 122"/>
                      <a:gd name="T23" fmla="*/ 122 h 122"/>
                      <a:gd name="T24" fmla="*/ 60 w 122"/>
                      <a:gd name="T25" fmla="*/ 122 h 122"/>
                      <a:gd name="T26" fmla="*/ 54 w 122"/>
                      <a:gd name="T27" fmla="*/ 122 h 122"/>
                      <a:gd name="T28" fmla="*/ 48 w 122"/>
                      <a:gd name="T29" fmla="*/ 121 h 122"/>
                      <a:gd name="T30" fmla="*/ 37 w 122"/>
                      <a:gd name="T31" fmla="*/ 117 h 122"/>
                      <a:gd name="T32" fmla="*/ 26 w 122"/>
                      <a:gd name="T33" fmla="*/ 112 h 122"/>
                      <a:gd name="T34" fmla="*/ 17 w 122"/>
                      <a:gd name="T35" fmla="*/ 105 h 122"/>
                      <a:gd name="T36" fmla="*/ 10 w 122"/>
                      <a:gd name="T37" fmla="*/ 96 h 122"/>
                      <a:gd name="T38" fmla="*/ 4 w 122"/>
                      <a:gd name="T39" fmla="*/ 85 h 122"/>
                      <a:gd name="T40" fmla="*/ 1 w 122"/>
                      <a:gd name="T41" fmla="*/ 73 h 122"/>
                      <a:gd name="T42" fmla="*/ 0 w 122"/>
                      <a:gd name="T43" fmla="*/ 68 h 122"/>
                      <a:gd name="T44" fmla="*/ 0 w 122"/>
                      <a:gd name="T45" fmla="*/ 61 h 122"/>
                      <a:gd name="T46" fmla="*/ 0 w 122"/>
                      <a:gd name="T47" fmla="*/ 61 h 122"/>
                      <a:gd name="T48" fmla="*/ 0 w 122"/>
                      <a:gd name="T49" fmla="*/ 55 h 122"/>
                      <a:gd name="T50" fmla="*/ 1 w 122"/>
                      <a:gd name="T51" fmla="*/ 48 h 122"/>
                      <a:gd name="T52" fmla="*/ 4 w 122"/>
                      <a:gd name="T53" fmla="*/ 37 h 122"/>
                      <a:gd name="T54" fmla="*/ 10 w 122"/>
                      <a:gd name="T55" fmla="*/ 27 h 122"/>
                      <a:gd name="T56" fmla="*/ 17 w 122"/>
                      <a:gd name="T57" fmla="*/ 17 h 122"/>
                      <a:gd name="T58" fmla="*/ 26 w 122"/>
                      <a:gd name="T59" fmla="*/ 10 h 122"/>
                      <a:gd name="T60" fmla="*/ 37 w 122"/>
                      <a:gd name="T61" fmla="*/ 5 h 122"/>
                      <a:gd name="T62" fmla="*/ 48 w 122"/>
                      <a:gd name="T63" fmla="*/ 1 h 122"/>
                      <a:gd name="T64" fmla="*/ 54 w 122"/>
                      <a:gd name="T65" fmla="*/ 0 h 122"/>
                      <a:gd name="T66" fmla="*/ 60 w 122"/>
                      <a:gd name="T67" fmla="*/ 0 h 122"/>
                      <a:gd name="T68" fmla="*/ 60 w 122"/>
                      <a:gd name="T69" fmla="*/ 0 h 122"/>
                      <a:gd name="T70" fmla="*/ 67 w 122"/>
                      <a:gd name="T71" fmla="*/ 0 h 122"/>
                      <a:gd name="T72" fmla="*/ 73 w 122"/>
                      <a:gd name="T73" fmla="*/ 1 h 122"/>
                      <a:gd name="T74" fmla="*/ 84 w 122"/>
                      <a:gd name="T75" fmla="*/ 5 h 122"/>
                      <a:gd name="T76" fmla="*/ 94 w 122"/>
                      <a:gd name="T77" fmla="*/ 10 h 122"/>
                      <a:gd name="T78" fmla="*/ 104 w 122"/>
                      <a:gd name="T79" fmla="*/ 17 h 122"/>
                      <a:gd name="T80" fmla="*/ 111 w 122"/>
                      <a:gd name="T81" fmla="*/ 27 h 122"/>
                      <a:gd name="T82" fmla="*/ 117 w 122"/>
                      <a:gd name="T83" fmla="*/ 37 h 122"/>
                      <a:gd name="T84" fmla="*/ 120 w 122"/>
                      <a:gd name="T85" fmla="*/ 48 h 122"/>
                      <a:gd name="T86" fmla="*/ 121 w 122"/>
                      <a:gd name="T87" fmla="*/ 55 h 122"/>
                      <a:gd name="T88" fmla="*/ 122 w 122"/>
                      <a:gd name="T89" fmla="*/ 61 h 122"/>
                      <a:gd name="T90" fmla="*/ 122 w 122"/>
                      <a:gd name="T91" fmla="*/ 6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 h="122">
                        <a:moveTo>
                          <a:pt x="122" y="61"/>
                        </a:moveTo>
                        <a:lnTo>
                          <a:pt x="122" y="61"/>
                        </a:lnTo>
                        <a:lnTo>
                          <a:pt x="121" y="68"/>
                        </a:lnTo>
                        <a:lnTo>
                          <a:pt x="120" y="73"/>
                        </a:lnTo>
                        <a:lnTo>
                          <a:pt x="117" y="85"/>
                        </a:lnTo>
                        <a:lnTo>
                          <a:pt x="111" y="96"/>
                        </a:lnTo>
                        <a:lnTo>
                          <a:pt x="104" y="105"/>
                        </a:lnTo>
                        <a:lnTo>
                          <a:pt x="94" y="112"/>
                        </a:lnTo>
                        <a:lnTo>
                          <a:pt x="84" y="117"/>
                        </a:lnTo>
                        <a:lnTo>
                          <a:pt x="73" y="121"/>
                        </a:lnTo>
                        <a:lnTo>
                          <a:pt x="67" y="122"/>
                        </a:lnTo>
                        <a:lnTo>
                          <a:pt x="60" y="122"/>
                        </a:lnTo>
                        <a:lnTo>
                          <a:pt x="60" y="122"/>
                        </a:lnTo>
                        <a:lnTo>
                          <a:pt x="54" y="122"/>
                        </a:lnTo>
                        <a:lnTo>
                          <a:pt x="48" y="121"/>
                        </a:lnTo>
                        <a:lnTo>
                          <a:pt x="37" y="117"/>
                        </a:lnTo>
                        <a:lnTo>
                          <a:pt x="26" y="112"/>
                        </a:lnTo>
                        <a:lnTo>
                          <a:pt x="17" y="105"/>
                        </a:lnTo>
                        <a:lnTo>
                          <a:pt x="10" y="96"/>
                        </a:lnTo>
                        <a:lnTo>
                          <a:pt x="4" y="85"/>
                        </a:lnTo>
                        <a:lnTo>
                          <a:pt x="1" y="73"/>
                        </a:lnTo>
                        <a:lnTo>
                          <a:pt x="0" y="68"/>
                        </a:lnTo>
                        <a:lnTo>
                          <a:pt x="0" y="61"/>
                        </a:lnTo>
                        <a:lnTo>
                          <a:pt x="0" y="61"/>
                        </a:lnTo>
                        <a:lnTo>
                          <a:pt x="0" y="55"/>
                        </a:lnTo>
                        <a:lnTo>
                          <a:pt x="1" y="48"/>
                        </a:lnTo>
                        <a:lnTo>
                          <a:pt x="4" y="37"/>
                        </a:lnTo>
                        <a:lnTo>
                          <a:pt x="10" y="27"/>
                        </a:lnTo>
                        <a:lnTo>
                          <a:pt x="17" y="17"/>
                        </a:lnTo>
                        <a:lnTo>
                          <a:pt x="26" y="10"/>
                        </a:lnTo>
                        <a:lnTo>
                          <a:pt x="37" y="5"/>
                        </a:lnTo>
                        <a:lnTo>
                          <a:pt x="48" y="1"/>
                        </a:lnTo>
                        <a:lnTo>
                          <a:pt x="54" y="0"/>
                        </a:lnTo>
                        <a:lnTo>
                          <a:pt x="60" y="0"/>
                        </a:lnTo>
                        <a:lnTo>
                          <a:pt x="60" y="0"/>
                        </a:lnTo>
                        <a:lnTo>
                          <a:pt x="67" y="0"/>
                        </a:lnTo>
                        <a:lnTo>
                          <a:pt x="73" y="1"/>
                        </a:lnTo>
                        <a:lnTo>
                          <a:pt x="84" y="5"/>
                        </a:lnTo>
                        <a:lnTo>
                          <a:pt x="94" y="10"/>
                        </a:lnTo>
                        <a:lnTo>
                          <a:pt x="104" y="17"/>
                        </a:lnTo>
                        <a:lnTo>
                          <a:pt x="111" y="27"/>
                        </a:lnTo>
                        <a:lnTo>
                          <a:pt x="117" y="37"/>
                        </a:lnTo>
                        <a:lnTo>
                          <a:pt x="120" y="48"/>
                        </a:lnTo>
                        <a:lnTo>
                          <a:pt x="121" y="55"/>
                        </a:lnTo>
                        <a:lnTo>
                          <a:pt x="122" y="61"/>
                        </a:lnTo>
                        <a:lnTo>
                          <a:pt x="122" y="61"/>
                        </a:ln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0" name="Freeform 22"/>
                  <p:cNvSpPr>
                    <a:spLocks/>
                  </p:cNvSpPr>
                  <p:nvPr userDrawn="1"/>
                </p:nvSpPr>
                <p:spPr bwMode="auto">
                  <a:xfrm>
                    <a:off x="-810477" y="327407"/>
                    <a:ext cx="850900" cy="1693863"/>
                  </a:xfrm>
                  <a:custGeom>
                    <a:avLst/>
                    <a:gdLst>
                      <a:gd name="T0" fmla="*/ 400 w 1073"/>
                      <a:gd name="T1" fmla="*/ 0 h 2134"/>
                      <a:gd name="T2" fmla="*/ 400 w 1073"/>
                      <a:gd name="T3" fmla="*/ 0 h 2134"/>
                      <a:gd name="T4" fmla="*/ 419 w 1073"/>
                      <a:gd name="T5" fmla="*/ 14 h 2134"/>
                      <a:gd name="T6" fmla="*/ 471 w 1073"/>
                      <a:gd name="T7" fmla="*/ 51 h 2134"/>
                      <a:gd name="T8" fmla="*/ 550 w 1073"/>
                      <a:gd name="T9" fmla="*/ 104 h 2134"/>
                      <a:gd name="T10" fmla="*/ 597 w 1073"/>
                      <a:gd name="T11" fmla="*/ 135 h 2134"/>
                      <a:gd name="T12" fmla="*/ 647 w 1073"/>
                      <a:gd name="T13" fmla="*/ 167 h 2134"/>
                      <a:gd name="T14" fmla="*/ 700 w 1073"/>
                      <a:gd name="T15" fmla="*/ 200 h 2134"/>
                      <a:gd name="T16" fmla="*/ 755 w 1073"/>
                      <a:gd name="T17" fmla="*/ 232 h 2134"/>
                      <a:gd name="T18" fmla="*/ 811 w 1073"/>
                      <a:gd name="T19" fmla="*/ 263 h 2134"/>
                      <a:gd name="T20" fmla="*/ 867 w 1073"/>
                      <a:gd name="T21" fmla="*/ 292 h 2134"/>
                      <a:gd name="T22" fmla="*/ 895 w 1073"/>
                      <a:gd name="T23" fmla="*/ 304 h 2134"/>
                      <a:gd name="T24" fmla="*/ 922 w 1073"/>
                      <a:gd name="T25" fmla="*/ 317 h 2134"/>
                      <a:gd name="T26" fmla="*/ 949 w 1073"/>
                      <a:gd name="T27" fmla="*/ 329 h 2134"/>
                      <a:gd name="T28" fmla="*/ 975 w 1073"/>
                      <a:gd name="T29" fmla="*/ 339 h 2134"/>
                      <a:gd name="T30" fmla="*/ 1001 w 1073"/>
                      <a:gd name="T31" fmla="*/ 347 h 2134"/>
                      <a:gd name="T32" fmla="*/ 1026 w 1073"/>
                      <a:gd name="T33" fmla="*/ 355 h 2134"/>
                      <a:gd name="T34" fmla="*/ 1051 w 1073"/>
                      <a:gd name="T35" fmla="*/ 362 h 2134"/>
                      <a:gd name="T36" fmla="*/ 1073 w 1073"/>
                      <a:gd name="T37" fmla="*/ 367 h 2134"/>
                      <a:gd name="T38" fmla="*/ 699 w 1073"/>
                      <a:gd name="T39" fmla="*/ 2134 h 2134"/>
                      <a:gd name="T40" fmla="*/ 579 w 1073"/>
                      <a:gd name="T41" fmla="*/ 2134 h 2134"/>
                      <a:gd name="T42" fmla="*/ 579 w 1073"/>
                      <a:gd name="T43" fmla="*/ 2134 h 2134"/>
                      <a:gd name="T44" fmla="*/ 585 w 1073"/>
                      <a:gd name="T45" fmla="*/ 2078 h 2134"/>
                      <a:gd name="T46" fmla="*/ 591 w 1073"/>
                      <a:gd name="T47" fmla="*/ 2014 h 2134"/>
                      <a:gd name="T48" fmla="*/ 596 w 1073"/>
                      <a:gd name="T49" fmla="*/ 1929 h 2134"/>
                      <a:gd name="T50" fmla="*/ 599 w 1073"/>
                      <a:gd name="T51" fmla="*/ 1881 h 2134"/>
                      <a:gd name="T52" fmla="*/ 601 w 1073"/>
                      <a:gd name="T53" fmla="*/ 1830 h 2134"/>
                      <a:gd name="T54" fmla="*/ 602 w 1073"/>
                      <a:gd name="T55" fmla="*/ 1774 h 2134"/>
                      <a:gd name="T56" fmla="*/ 603 w 1073"/>
                      <a:gd name="T57" fmla="*/ 1716 h 2134"/>
                      <a:gd name="T58" fmla="*/ 603 w 1073"/>
                      <a:gd name="T59" fmla="*/ 1657 h 2134"/>
                      <a:gd name="T60" fmla="*/ 602 w 1073"/>
                      <a:gd name="T61" fmla="*/ 1595 h 2134"/>
                      <a:gd name="T62" fmla="*/ 599 w 1073"/>
                      <a:gd name="T63" fmla="*/ 1532 h 2134"/>
                      <a:gd name="T64" fmla="*/ 595 w 1073"/>
                      <a:gd name="T65" fmla="*/ 1467 h 2134"/>
                      <a:gd name="T66" fmla="*/ 590 w 1073"/>
                      <a:gd name="T67" fmla="*/ 1404 h 2134"/>
                      <a:gd name="T68" fmla="*/ 583 w 1073"/>
                      <a:gd name="T69" fmla="*/ 1339 h 2134"/>
                      <a:gd name="T70" fmla="*/ 574 w 1073"/>
                      <a:gd name="T71" fmla="*/ 1275 h 2134"/>
                      <a:gd name="T72" fmla="*/ 563 w 1073"/>
                      <a:gd name="T73" fmla="*/ 1212 h 2134"/>
                      <a:gd name="T74" fmla="*/ 557 w 1073"/>
                      <a:gd name="T75" fmla="*/ 1180 h 2134"/>
                      <a:gd name="T76" fmla="*/ 550 w 1073"/>
                      <a:gd name="T77" fmla="*/ 1151 h 2134"/>
                      <a:gd name="T78" fmla="*/ 542 w 1073"/>
                      <a:gd name="T79" fmla="*/ 1120 h 2134"/>
                      <a:gd name="T80" fmla="*/ 534 w 1073"/>
                      <a:gd name="T81" fmla="*/ 1090 h 2134"/>
                      <a:gd name="T82" fmla="*/ 526 w 1073"/>
                      <a:gd name="T83" fmla="*/ 1061 h 2134"/>
                      <a:gd name="T84" fmla="*/ 517 w 1073"/>
                      <a:gd name="T85" fmla="*/ 1032 h 2134"/>
                      <a:gd name="T86" fmla="*/ 506 w 1073"/>
                      <a:gd name="T87" fmla="*/ 1005 h 2134"/>
                      <a:gd name="T88" fmla="*/ 496 w 1073"/>
                      <a:gd name="T89" fmla="*/ 978 h 2134"/>
                      <a:gd name="T90" fmla="*/ 485 w 1073"/>
                      <a:gd name="T91" fmla="*/ 951 h 2134"/>
                      <a:gd name="T92" fmla="*/ 472 w 1073"/>
                      <a:gd name="T93" fmla="*/ 925 h 2134"/>
                      <a:gd name="T94" fmla="*/ 460 w 1073"/>
                      <a:gd name="T95" fmla="*/ 901 h 2134"/>
                      <a:gd name="T96" fmla="*/ 447 w 1073"/>
                      <a:gd name="T97" fmla="*/ 877 h 2134"/>
                      <a:gd name="T98" fmla="*/ 432 w 1073"/>
                      <a:gd name="T99" fmla="*/ 854 h 2134"/>
                      <a:gd name="T100" fmla="*/ 417 w 1073"/>
                      <a:gd name="T101" fmla="*/ 833 h 2134"/>
                      <a:gd name="T102" fmla="*/ 401 w 1073"/>
                      <a:gd name="T103" fmla="*/ 812 h 2134"/>
                      <a:gd name="T104" fmla="*/ 384 w 1073"/>
                      <a:gd name="T105" fmla="*/ 793 h 2134"/>
                      <a:gd name="T106" fmla="*/ 367 w 1073"/>
                      <a:gd name="T107" fmla="*/ 774 h 2134"/>
                      <a:gd name="T108" fmla="*/ 348 w 1073"/>
                      <a:gd name="T109" fmla="*/ 758 h 2134"/>
                      <a:gd name="T110" fmla="*/ 329 w 1073"/>
                      <a:gd name="T111" fmla="*/ 742 h 2134"/>
                      <a:gd name="T112" fmla="*/ 309 w 1073"/>
                      <a:gd name="T113" fmla="*/ 728 h 2134"/>
                      <a:gd name="T114" fmla="*/ 287 w 1073"/>
                      <a:gd name="T115" fmla="*/ 716 h 2134"/>
                      <a:gd name="T116" fmla="*/ 266 w 1073"/>
                      <a:gd name="T117" fmla="*/ 704 h 2134"/>
                      <a:gd name="T118" fmla="*/ 242 w 1073"/>
                      <a:gd name="T119" fmla="*/ 694 h 2134"/>
                      <a:gd name="T120" fmla="*/ 218 w 1073"/>
                      <a:gd name="T121" fmla="*/ 686 h 2134"/>
                      <a:gd name="T122" fmla="*/ 0 w 1073"/>
                      <a:gd name="T123" fmla="*/ 133 h 2134"/>
                      <a:gd name="T124" fmla="*/ 400 w 1073"/>
                      <a:gd name="T125" fmla="*/ 0 h 2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73" h="2134">
                        <a:moveTo>
                          <a:pt x="400" y="0"/>
                        </a:moveTo>
                        <a:lnTo>
                          <a:pt x="400" y="0"/>
                        </a:lnTo>
                        <a:lnTo>
                          <a:pt x="419" y="14"/>
                        </a:lnTo>
                        <a:lnTo>
                          <a:pt x="471" y="51"/>
                        </a:lnTo>
                        <a:lnTo>
                          <a:pt x="550" y="104"/>
                        </a:lnTo>
                        <a:lnTo>
                          <a:pt x="597" y="135"/>
                        </a:lnTo>
                        <a:lnTo>
                          <a:pt x="647" y="167"/>
                        </a:lnTo>
                        <a:lnTo>
                          <a:pt x="700" y="200"/>
                        </a:lnTo>
                        <a:lnTo>
                          <a:pt x="755" y="232"/>
                        </a:lnTo>
                        <a:lnTo>
                          <a:pt x="811" y="263"/>
                        </a:lnTo>
                        <a:lnTo>
                          <a:pt x="867" y="292"/>
                        </a:lnTo>
                        <a:lnTo>
                          <a:pt x="895" y="304"/>
                        </a:lnTo>
                        <a:lnTo>
                          <a:pt x="922" y="317"/>
                        </a:lnTo>
                        <a:lnTo>
                          <a:pt x="949" y="329"/>
                        </a:lnTo>
                        <a:lnTo>
                          <a:pt x="975" y="339"/>
                        </a:lnTo>
                        <a:lnTo>
                          <a:pt x="1001" y="347"/>
                        </a:lnTo>
                        <a:lnTo>
                          <a:pt x="1026" y="355"/>
                        </a:lnTo>
                        <a:lnTo>
                          <a:pt x="1051" y="362"/>
                        </a:lnTo>
                        <a:lnTo>
                          <a:pt x="1073" y="367"/>
                        </a:lnTo>
                        <a:lnTo>
                          <a:pt x="699" y="2134"/>
                        </a:lnTo>
                        <a:lnTo>
                          <a:pt x="579" y="2134"/>
                        </a:lnTo>
                        <a:lnTo>
                          <a:pt x="579" y="2134"/>
                        </a:lnTo>
                        <a:lnTo>
                          <a:pt x="585" y="2078"/>
                        </a:lnTo>
                        <a:lnTo>
                          <a:pt x="591" y="2014"/>
                        </a:lnTo>
                        <a:lnTo>
                          <a:pt x="596" y="1929"/>
                        </a:lnTo>
                        <a:lnTo>
                          <a:pt x="599" y="1881"/>
                        </a:lnTo>
                        <a:lnTo>
                          <a:pt x="601" y="1830"/>
                        </a:lnTo>
                        <a:lnTo>
                          <a:pt x="602" y="1774"/>
                        </a:lnTo>
                        <a:lnTo>
                          <a:pt x="603" y="1716"/>
                        </a:lnTo>
                        <a:lnTo>
                          <a:pt x="603" y="1657"/>
                        </a:lnTo>
                        <a:lnTo>
                          <a:pt x="602" y="1595"/>
                        </a:lnTo>
                        <a:lnTo>
                          <a:pt x="599" y="1532"/>
                        </a:lnTo>
                        <a:lnTo>
                          <a:pt x="595" y="1467"/>
                        </a:lnTo>
                        <a:lnTo>
                          <a:pt x="590" y="1404"/>
                        </a:lnTo>
                        <a:lnTo>
                          <a:pt x="583" y="1339"/>
                        </a:lnTo>
                        <a:lnTo>
                          <a:pt x="574" y="1275"/>
                        </a:lnTo>
                        <a:lnTo>
                          <a:pt x="563" y="1212"/>
                        </a:lnTo>
                        <a:lnTo>
                          <a:pt x="557" y="1180"/>
                        </a:lnTo>
                        <a:lnTo>
                          <a:pt x="550" y="1151"/>
                        </a:lnTo>
                        <a:lnTo>
                          <a:pt x="542" y="1120"/>
                        </a:lnTo>
                        <a:lnTo>
                          <a:pt x="534" y="1090"/>
                        </a:lnTo>
                        <a:lnTo>
                          <a:pt x="526" y="1061"/>
                        </a:lnTo>
                        <a:lnTo>
                          <a:pt x="517" y="1032"/>
                        </a:lnTo>
                        <a:lnTo>
                          <a:pt x="506" y="1005"/>
                        </a:lnTo>
                        <a:lnTo>
                          <a:pt x="496" y="978"/>
                        </a:lnTo>
                        <a:lnTo>
                          <a:pt x="485" y="951"/>
                        </a:lnTo>
                        <a:lnTo>
                          <a:pt x="472" y="925"/>
                        </a:lnTo>
                        <a:lnTo>
                          <a:pt x="460" y="901"/>
                        </a:lnTo>
                        <a:lnTo>
                          <a:pt x="447" y="877"/>
                        </a:lnTo>
                        <a:lnTo>
                          <a:pt x="432" y="854"/>
                        </a:lnTo>
                        <a:lnTo>
                          <a:pt x="417" y="833"/>
                        </a:lnTo>
                        <a:lnTo>
                          <a:pt x="401" y="812"/>
                        </a:lnTo>
                        <a:lnTo>
                          <a:pt x="384" y="793"/>
                        </a:lnTo>
                        <a:lnTo>
                          <a:pt x="367" y="774"/>
                        </a:lnTo>
                        <a:lnTo>
                          <a:pt x="348" y="758"/>
                        </a:lnTo>
                        <a:lnTo>
                          <a:pt x="329" y="742"/>
                        </a:lnTo>
                        <a:lnTo>
                          <a:pt x="309" y="728"/>
                        </a:lnTo>
                        <a:lnTo>
                          <a:pt x="287" y="716"/>
                        </a:lnTo>
                        <a:lnTo>
                          <a:pt x="266" y="704"/>
                        </a:lnTo>
                        <a:lnTo>
                          <a:pt x="242" y="694"/>
                        </a:lnTo>
                        <a:lnTo>
                          <a:pt x="218" y="686"/>
                        </a:lnTo>
                        <a:lnTo>
                          <a:pt x="0" y="133"/>
                        </a:lnTo>
                        <a:lnTo>
                          <a:pt x="400" y="0"/>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1" name="Freeform 23"/>
                  <p:cNvSpPr>
                    <a:spLocks/>
                  </p:cNvSpPr>
                  <p:nvPr userDrawn="1"/>
                </p:nvSpPr>
                <p:spPr bwMode="auto">
                  <a:xfrm>
                    <a:off x="-810477" y="327407"/>
                    <a:ext cx="393700" cy="569913"/>
                  </a:xfrm>
                  <a:custGeom>
                    <a:avLst/>
                    <a:gdLst>
                      <a:gd name="T0" fmla="*/ 400 w 497"/>
                      <a:gd name="T1" fmla="*/ 0 h 718"/>
                      <a:gd name="T2" fmla="*/ 0 w 497"/>
                      <a:gd name="T3" fmla="*/ 133 h 718"/>
                      <a:gd name="T4" fmla="*/ 218 w 497"/>
                      <a:gd name="T5" fmla="*/ 686 h 718"/>
                      <a:gd name="T6" fmla="*/ 218 w 497"/>
                      <a:gd name="T7" fmla="*/ 686 h 718"/>
                      <a:gd name="T8" fmla="*/ 238 w 497"/>
                      <a:gd name="T9" fmla="*/ 693 h 718"/>
                      <a:gd name="T10" fmla="*/ 256 w 497"/>
                      <a:gd name="T11" fmla="*/ 700 h 718"/>
                      <a:gd name="T12" fmla="*/ 274 w 497"/>
                      <a:gd name="T13" fmla="*/ 708 h 718"/>
                      <a:gd name="T14" fmla="*/ 291 w 497"/>
                      <a:gd name="T15" fmla="*/ 718 h 718"/>
                      <a:gd name="T16" fmla="*/ 291 w 497"/>
                      <a:gd name="T17" fmla="*/ 718 h 718"/>
                      <a:gd name="T18" fmla="*/ 308 w 497"/>
                      <a:gd name="T19" fmla="*/ 680 h 718"/>
                      <a:gd name="T20" fmla="*/ 323 w 497"/>
                      <a:gd name="T21" fmla="*/ 640 h 718"/>
                      <a:gd name="T22" fmla="*/ 339 w 497"/>
                      <a:gd name="T23" fmla="*/ 600 h 718"/>
                      <a:gd name="T24" fmla="*/ 354 w 497"/>
                      <a:gd name="T25" fmla="*/ 559 h 718"/>
                      <a:gd name="T26" fmla="*/ 383 w 497"/>
                      <a:gd name="T27" fmla="*/ 474 h 718"/>
                      <a:gd name="T28" fmla="*/ 411 w 497"/>
                      <a:gd name="T29" fmla="*/ 386 h 718"/>
                      <a:gd name="T30" fmla="*/ 435 w 497"/>
                      <a:gd name="T31" fmla="*/ 301 h 718"/>
                      <a:gd name="T32" fmla="*/ 459 w 497"/>
                      <a:gd name="T33" fmla="*/ 218 h 718"/>
                      <a:gd name="T34" fmla="*/ 480 w 497"/>
                      <a:gd name="T35" fmla="*/ 139 h 718"/>
                      <a:gd name="T36" fmla="*/ 497 w 497"/>
                      <a:gd name="T37" fmla="*/ 68 h 718"/>
                      <a:gd name="T38" fmla="*/ 497 w 497"/>
                      <a:gd name="T39" fmla="*/ 68 h 718"/>
                      <a:gd name="T40" fmla="*/ 426 w 497"/>
                      <a:gd name="T41" fmla="*/ 19 h 718"/>
                      <a:gd name="T42" fmla="*/ 400 w 497"/>
                      <a:gd name="T43" fmla="*/ 0 h 718"/>
                      <a:gd name="T44" fmla="*/ 400 w 497"/>
                      <a:gd name="T45"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97" h="718">
                        <a:moveTo>
                          <a:pt x="400" y="0"/>
                        </a:moveTo>
                        <a:lnTo>
                          <a:pt x="0" y="133"/>
                        </a:lnTo>
                        <a:lnTo>
                          <a:pt x="218" y="686"/>
                        </a:lnTo>
                        <a:lnTo>
                          <a:pt x="218" y="686"/>
                        </a:lnTo>
                        <a:lnTo>
                          <a:pt x="238" y="693"/>
                        </a:lnTo>
                        <a:lnTo>
                          <a:pt x="256" y="700"/>
                        </a:lnTo>
                        <a:lnTo>
                          <a:pt x="274" y="708"/>
                        </a:lnTo>
                        <a:lnTo>
                          <a:pt x="291" y="718"/>
                        </a:lnTo>
                        <a:lnTo>
                          <a:pt x="291" y="718"/>
                        </a:lnTo>
                        <a:lnTo>
                          <a:pt x="308" y="680"/>
                        </a:lnTo>
                        <a:lnTo>
                          <a:pt x="323" y="640"/>
                        </a:lnTo>
                        <a:lnTo>
                          <a:pt x="339" y="600"/>
                        </a:lnTo>
                        <a:lnTo>
                          <a:pt x="354" y="559"/>
                        </a:lnTo>
                        <a:lnTo>
                          <a:pt x="383" y="474"/>
                        </a:lnTo>
                        <a:lnTo>
                          <a:pt x="411" y="386"/>
                        </a:lnTo>
                        <a:lnTo>
                          <a:pt x="435" y="301"/>
                        </a:lnTo>
                        <a:lnTo>
                          <a:pt x="459" y="218"/>
                        </a:lnTo>
                        <a:lnTo>
                          <a:pt x="480" y="139"/>
                        </a:lnTo>
                        <a:lnTo>
                          <a:pt x="497" y="68"/>
                        </a:lnTo>
                        <a:lnTo>
                          <a:pt x="497" y="68"/>
                        </a:lnTo>
                        <a:lnTo>
                          <a:pt x="426" y="19"/>
                        </a:lnTo>
                        <a:lnTo>
                          <a:pt x="400" y="0"/>
                        </a:lnTo>
                        <a:lnTo>
                          <a:pt x="400" y="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2" name="Freeform 24"/>
                  <p:cNvSpPr>
                    <a:spLocks/>
                  </p:cNvSpPr>
                  <p:nvPr userDrawn="1"/>
                </p:nvSpPr>
                <p:spPr bwMode="auto">
                  <a:xfrm>
                    <a:off x="-2515452" y="327407"/>
                    <a:ext cx="852488" cy="1693863"/>
                  </a:xfrm>
                  <a:custGeom>
                    <a:avLst/>
                    <a:gdLst>
                      <a:gd name="T0" fmla="*/ 674 w 1073"/>
                      <a:gd name="T1" fmla="*/ 0 h 2134"/>
                      <a:gd name="T2" fmla="*/ 674 w 1073"/>
                      <a:gd name="T3" fmla="*/ 0 h 2134"/>
                      <a:gd name="T4" fmla="*/ 655 w 1073"/>
                      <a:gd name="T5" fmla="*/ 14 h 2134"/>
                      <a:gd name="T6" fmla="*/ 602 w 1073"/>
                      <a:gd name="T7" fmla="*/ 51 h 2134"/>
                      <a:gd name="T8" fmla="*/ 524 w 1073"/>
                      <a:gd name="T9" fmla="*/ 104 h 2134"/>
                      <a:gd name="T10" fmla="*/ 477 w 1073"/>
                      <a:gd name="T11" fmla="*/ 135 h 2134"/>
                      <a:gd name="T12" fmla="*/ 427 w 1073"/>
                      <a:gd name="T13" fmla="*/ 167 h 2134"/>
                      <a:gd name="T14" fmla="*/ 374 w 1073"/>
                      <a:gd name="T15" fmla="*/ 200 h 2134"/>
                      <a:gd name="T16" fmla="*/ 318 w 1073"/>
                      <a:gd name="T17" fmla="*/ 232 h 2134"/>
                      <a:gd name="T18" fmla="*/ 263 w 1073"/>
                      <a:gd name="T19" fmla="*/ 263 h 2134"/>
                      <a:gd name="T20" fmla="*/ 206 w 1073"/>
                      <a:gd name="T21" fmla="*/ 292 h 2134"/>
                      <a:gd name="T22" fmla="*/ 179 w 1073"/>
                      <a:gd name="T23" fmla="*/ 304 h 2134"/>
                      <a:gd name="T24" fmla="*/ 152 w 1073"/>
                      <a:gd name="T25" fmla="*/ 317 h 2134"/>
                      <a:gd name="T26" fmla="*/ 125 w 1073"/>
                      <a:gd name="T27" fmla="*/ 329 h 2134"/>
                      <a:gd name="T28" fmla="*/ 98 w 1073"/>
                      <a:gd name="T29" fmla="*/ 339 h 2134"/>
                      <a:gd name="T30" fmla="*/ 72 w 1073"/>
                      <a:gd name="T31" fmla="*/ 347 h 2134"/>
                      <a:gd name="T32" fmla="*/ 48 w 1073"/>
                      <a:gd name="T33" fmla="*/ 355 h 2134"/>
                      <a:gd name="T34" fmla="*/ 23 w 1073"/>
                      <a:gd name="T35" fmla="*/ 362 h 2134"/>
                      <a:gd name="T36" fmla="*/ 0 w 1073"/>
                      <a:gd name="T37" fmla="*/ 367 h 2134"/>
                      <a:gd name="T38" fmla="*/ 375 w 1073"/>
                      <a:gd name="T39" fmla="*/ 2134 h 2134"/>
                      <a:gd name="T40" fmla="*/ 495 w 1073"/>
                      <a:gd name="T41" fmla="*/ 2134 h 2134"/>
                      <a:gd name="T42" fmla="*/ 495 w 1073"/>
                      <a:gd name="T43" fmla="*/ 2134 h 2134"/>
                      <a:gd name="T44" fmla="*/ 489 w 1073"/>
                      <a:gd name="T45" fmla="*/ 2078 h 2134"/>
                      <a:gd name="T46" fmla="*/ 483 w 1073"/>
                      <a:gd name="T47" fmla="*/ 2014 h 2134"/>
                      <a:gd name="T48" fmla="*/ 478 w 1073"/>
                      <a:gd name="T49" fmla="*/ 1929 h 2134"/>
                      <a:gd name="T50" fmla="*/ 475 w 1073"/>
                      <a:gd name="T51" fmla="*/ 1881 h 2134"/>
                      <a:gd name="T52" fmla="*/ 473 w 1073"/>
                      <a:gd name="T53" fmla="*/ 1830 h 2134"/>
                      <a:gd name="T54" fmla="*/ 472 w 1073"/>
                      <a:gd name="T55" fmla="*/ 1774 h 2134"/>
                      <a:gd name="T56" fmla="*/ 471 w 1073"/>
                      <a:gd name="T57" fmla="*/ 1716 h 2134"/>
                      <a:gd name="T58" fmla="*/ 471 w 1073"/>
                      <a:gd name="T59" fmla="*/ 1657 h 2134"/>
                      <a:gd name="T60" fmla="*/ 473 w 1073"/>
                      <a:gd name="T61" fmla="*/ 1595 h 2134"/>
                      <a:gd name="T62" fmla="*/ 475 w 1073"/>
                      <a:gd name="T63" fmla="*/ 1532 h 2134"/>
                      <a:gd name="T64" fmla="*/ 479 w 1073"/>
                      <a:gd name="T65" fmla="*/ 1467 h 2134"/>
                      <a:gd name="T66" fmla="*/ 484 w 1073"/>
                      <a:gd name="T67" fmla="*/ 1404 h 2134"/>
                      <a:gd name="T68" fmla="*/ 491 w 1073"/>
                      <a:gd name="T69" fmla="*/ 1339 h 2134"/>
                      <a:gd name="T70" fmla="*/ 500 w 1073"/>
                      <a:gd name="T71" fmla="*/ 1275 h 2134"/>
                      <a:gd name="T72" fmla="*/ 511 w 1073"/>
                      <a:gd name="T73" fmla="*/ 1212 h 2134"/>
                      <a:gd name="T74" fmla="*/ 517 w 1073"/>
                      <a:gd name="T75" fmla="*/ 1180 h 2134"/>
                      <a:gd name="T76" fmla="*/ 524 w 1073"/>
                      <a:gd name="T77" fmla="*/ 1151 h 2134"/>
                      <a:gd name="T78" fmla="*/ 531 w 1073"/>
                      <a:gd name="T79" fmla="*/ 1120 h 2134"/>
                      <a:gd name="T80" fmla="*/ 539 w 1073"/>
                      <a:gd name="T81" fmla="*/ 1090 h 2134"/>
                      <a:gd name="T82" fmla="*/ 548 w 1073"/>
                      <a:gd name="T83" fmla="*/ 1061 h 2134"/>
                      <a:gd name="T84" fmla="*/ 557 w 1073"/>
                      <a:gd name="T85" fmla="*/ 1032 h 2134"/>
                      <a:gd name="T86" fmla="*/ 567 w 1073"/>
                      <a:gd name="T87" fmla="*/ 1005 h 2134"/>
                      <a:gd name="T88" fmla="*/ 578 w 1073"/>
                      <a:gd name="T89" fmla="*/ 978 h 2134"/>
                      <a:gd name="T90" fmla="*/ 589 w 1073"/>
                      <a:gd name="T91" fmla="*/ 951 h 2134"/>
                      <a:gd name="T92" fmla="*/ 601 w 1073"/>
                      <a:gd name="T93" fmla="*/ 925 h 2134"/>
                      <a:gd name="T94" fmla="*/ 614 w 1073"/>
                      <a:gd name="T95" fmla="*/ 901 h 2134"/>
                      <a:gd name="T96" fmla="*/ 627 w 1073"/>
                      <a:gd name="T97" fmla="*/ 877 h 2134"/>
                      <a:gd name="T98" fmla="*/ 641 w 1073"/>
                      <a:gd name="T99" fmla="*/ 854 h 2134"/>
                      <a:gd name="T100" fmla="*/ 657 w 1073"/>
                      <a:gd name="T101" fmla="*/ 833 h 2134"/>
                      <a:gd name="T102" fmla="*/ 672 w 1073"/>
                      <a:gd name="T103" fmla="*/ 812 h 2134"/>
                      <a:gd name="T104" fmla="*/ 690 w 1073"/>
                      <a:gd name="T105" fmla="*/ 793 h 2134"/>
                      <a:gd name="T106" fmla="*/ 707 w 1073"/>
                      <a:gd name="T107" fmla="*/ 774 h 2134"/>
                      <a:gd name="T108" fmla="*/ 726 w 1073"/>
                      <a:gd name="T109" fmla="*/ 758 h 2134"/>
                      <a:gd name="T110" fmla="*/ 744 w 1073"/>
                      <a:gd name="T111" fmla="*/ 742 h 2134"/>
                      <a:gd name="T112" fmla="*/ 765 w 1073"/>
                      <a:gd name="T113" fmla="*/ 728 h 2134"/>
                      <a:gd name="T114" fmla="*/ 786 w 1073"/>
                      <a:gd name="T115" fmla="*/ 716 h 2134"/>
                      <a:gd name="T116" fmla="*/ 808 w 1073"/>
                      <a:gd name="T117" fmla="*/ 704 h 2134"/>
                      <a:gd name="T118" fmla="*/ 832 w 1073"/>
                      <a:gd name="T119" fmla="*/ 694 h 2134"/>
                      <a:gd name="T120" fmla="*/ 855 w 1073"/>
                      <a:gd name="T121" fmla="*/ 686 h 2134"/>
                      <a:gd name="T122" fmla="*/ 1073 w 1073"/>
                      <a:gd name="T123" fmla="*/ 133 h 2134"/>
                      <a:gd name="T124" fmla="*/ 674 w 1073"/>
                      <a:gd name="T125" fmla="*/ 0 h 2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73" h="2134">
                        <a:moveTo>
                          <a:pt x="674" y="0"/>
                        </a:moveTo>
                        <a:lnTo>
                          <a:pt x="674" y="0"/>
                        </a:lnTo>
                        <a:lnTo>
                          <a:pt x="655" y="14"/>
                        </a:lnTo>
                        <a:lnTo>
                          <a:pt x="602" y="51"/>
                        </a:lnTo>
                        <a:lnTo>
                          <a:pt x="524" y="104"/>
                        </a:lnTo>
                        <a:lnTo>
                          <a:pt x="477" y="135"/>
                        </a:lnTo>
                        <a:lnTo>
                          <a:pt x="427" y="167"/>
                        </a:lnTo>
                        <a:lnTo>
                          <a:pt x="374" y="200"/>
                        </a:lnTo>
                        <a:lnTo>
                          <a:pt x="318" y="232"/>
                        </a:lnTo>
                        <a:lnTo>
                          <a:pt x="263" y="263"/>
                        </a:lnTo>
                        <a:lnTo>
                          <a:pt x="206" y="292"/>
                        </a:lnTo>
                        <a:lnTo>
                          <a:pt x="179" y="304"/>
                        </a:lnTo>
                        <a:lnTo>
                          <a:pt x="152" y="317"/>
                        </a:lnTo>
                        <a:lnTo>
                          <a:pt x="125" y="329"/>
                        </a:lnTo>
                        <a:lnTo>
                          <a:pt x="98" y="339"/>
                        </a:lnTo>
                        <a:lnTo>
                          <a:pt x="72" y="347"/>
                        </a:lnTo>
                        <a:lnTo>
                          <a:pt x="48" y="355"/>
                        </a:lnTo>
                        <a:lnTo>
                          <a:pt x="23" y="362"/>
                        </a:lnTo>
                        <a:lnTo>
                          <a:pt x="0" y="367"/>
                        </a:lnTo>
                        <a:lnTo>
                          <a:pt x="375" y="2134"/>
                        </a:lnTo>
                        <a:lnTo>
                          <a:pt x="495" y="2134"/>
                        </a:lnTo>
                        <a:lnTo>
                          <a:pt x="495" y="2134"/>
                        </a:lnTo>
                        <a:lnTo>
                          <a:pt x="489" y="2078"/>
                        </a:lnTo>
                        <a:lnTo>
                          <a:pt x="483" y="2014"/>
                        </a:lnTo>
                        <a:lnTo>
                          <a:pt x="478" y="1929"/>
                        </a:lnTo>
                        <a:lnTo>
                          <a:pt x="475" y="1881"/>
                        </a:lnTo>
                        <a:lnTo>
                          <a:pt x="473" y="1830"/>
                        </a:lnTo>
                        <a:lnTo>
                          <a:pt x="472" y="1774"/>
                        </a:lnTo>
                        <a:lnTo>
                          <a:pt x="471" y="1716"/>
                        </a:lnTo>
                        <a:lnTo>
                          <a:pt x="471" y="1657"/>
                        </a:lnTo>
                        <a:lnTo>
                          <a:pt x="473" y="1595"/>
                        </a:lnTo>
                        <a:lnTo>
                          <a:pt x="475" y="1532"/>
                        </a:lnTo>
                        <a:lnTo>
                          <a:pt x="479" y="1467"/>
                        </a:lnTo>
                        <a:lnTo>
                          <a:pt x="484" y="1404"/>
                        </a:lnTo>
                        <a:lnTo>
                          <a:pt x="491" y="1339"/>
                        </a:lnTo>
                        <a:lnTo>
                          <a:pt x="500" y="1275"/>
                        </a:lnTo>
                        <a:lnTo>
                          <a:pt x="511" y="1212"/>
                        </a:lnTo>
                        <a:lnTo>
                          <a:pt x="517" y="1180"/>
                        </a:lnTo>
                        <a:lnTo>
                          <a:pt x="524" y="1151"/>
                        </a:lnTo>
                        <a:lnTo>
                          <a:pt x="531" y="1120"/>
                        </a:lnTo>
                        <a:lnTo>
                          <a:pt x="539" y="1090"/>
                        </a:lnTo>
                        <a:lnTo>
                          <a:pt x="548" y="1061"/>
                        </a:lnTo>
                        <a:lnTo>
                          <a:pt x="557" y="1032"/>
                        </a:lnTo>
                        <a:lnTo>
                          <a:pt x="567" y="1005"/>
                        </a:lnTo>
                        <a:lnTo>
                          <a:pt x="578" y="978"/>
                        </a:lnTo>
                        <a:lnTo>
                          <a:pt x="589" y="951"/>
                        </a:lnTo>
                        <a:lnTo>
                          <a:pt x="601" y="925"/>
                        </a:lnTo>
                        <a:lnTo>
                          <a:pt x="614" y="901"/>
                        </a:lnTo>
                        <a:lnTo>
                          <a:pt x="627" y="877"/>
                        </a:lnTo>
                        <a:lnTo>
                          <a:pt x="641" y="854"/>
                        </a:lnTo>
                        <a:lnTo>
                          <a:pt x="657" y="833"/>
                        </a:lnTo>
                        <a:lnTo>
                          <a:pt x="672" y="812"/>
                        </a:lnTo>
                        <a:lnTo>
                          <a:pt x="690" y="793"/>
                        </a:lnTo>
                        <a:lnTo>
                          <a:pt x="707" y="774"/>
                        </a:lnTo>
                        <a:lnTo>
                          <a:pt x="726" y="758"/>
                        </a:lnTo>
                        <a:lnTo>
                          <a:pt x="744" y="742"/>
                        </a:lnTo>
                        <a:lnTo>
                          <a:pt x="765" y="728"/>
                        </a:lnTo>
                        <a:lnTo>
                          <a:pt x="786" y="716"/>
                        </a:lnTo>
                        <a:lnTo>
                          <a:pt x="808" y="704"/>
                        </a:lnTo>
                        <a:lnTo>
                          <a:pt x="832" y="694"/>
                        </a:lnTo>
                        <a:lnTo>
                          <a:pt x="855" y="686"/>
                        </a:lnTo>
                        <a:lnTo>
                          <a:pt x="1073" y="133"/>
                        </a:lnTo>
                        <a:lnTo>
                          <a:pt x="674" y="0"/>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3" name="Freeform 25"/>
                  <p:cNvSpPr>
                    <a:spLocks/>
                  </p:cNvSpPr>
                  <p:nvPr userDrawn="1"/>
                </p:nvSpPr>
                <p:spPr bwMode="auto">
                  <a:xfrm>
                    <a:off x="-2058252" y="327407"/>
                    <a:ext cx="395288" cy="569913"/>
                  </a:xfrm>
                  <a:custGeom>
                    <a:avLst/>
                    <a:gdLst>
                      <a:gd name="T0" fmla="*/ 97 w 496"/>
                      <a:gd name="T1" fmla="*/ 0 h 718"/>
                      <a:gd name="T2" fmla="*/ 496 w 496"/>
                      <a:gd name="T3" fmla="*/ 133 h 718"/>
                      <a:gd name="T4" fmla="*/ 278 w 496"/>
                      <a:gd name="T5" fmla="*/ 686 h 718"/>
                      <a:gd name="T6" fmla="*/ 278 w 496"/>
                      <a:gd name="T7" fmla="*/ 686 h 718"/>
                      <a:gd name="T8" fmla="*/ 259 w 496"/>
                      <a:gd name="T9" fmla="*/ 693 h 718"/>
                      <a:gd name="T10" fmla="*/ 240 w 496"/>
                      <a:gd name="T11" fmla="*/ 700 h 718"/>
                      <a:gd name="T12" fmla="*/ 223 w 496"/>
                      <a:gd name="T13" fmla="*/ 708 h 718"/>
                      <a:gd name="T14" fmla="*/ 205 w 496"/>
                      <a:gd name="T15" fmla="*/ 718 h 718"/>
                      <a:gd name="T16" fmla="*/ 205 w 496"/>
                      <a:gd name="T17" fmla="*/ 718 h 718"/>
                      <a:gd name="T18" fmla="*/ 189 w 496"/>
                      <a:gd name="T19" fmla="*/ 680 h 718"/>
                      <a:gd name="T20" fmla="*/ 173 w 496"/>
                      <a:gd name="T21" fmla="*/ 640 h 718"/>
                      <a:gd name="T22" fmla="*/ 158 w 496"/>
                      <a:gd name="T23" fmla="*/ 600 h 718"/>
                      <a:gd name="T24" fmla="*/ 143 w 496"/>
                      <a:gd name="T25" fmla="*/ 559 h 718"/>
                      <a:gd name="T26" fmla="*/ 114 w 496"/>
                      <a:gd name="T27" fmla="*/ 474 h 718"/>
                      <a:gd name="T28" fmla="*/ 86 w 496"/>
                      <a:gd name="T29" fmla="*/ 386 h 718"/>
                      <a:gd name="T30" fmla="*/ 61 w 496"/>
                      <a:gd name="T31" fmla="*/ 301 h 718"/>
                      <a:gd name="T32" fmla="*/ 38 w 496"/>
                      <a:gd name="T33" fmla="*/ 218 h 718"/>
                      <a:gd name="T34" fmla="*/ 17 w 496"/>
                      <a:gd name="T35" fmla="*/ 139 h 718"/>
                      <a:gd name="T36" fmla="*/ 0 w 496"/>
                      <a:gd name="T37" fmla="*/ 68 h 718"/>
                      <a:gd name="T38" fmla="*/ 0 w 496"/>
                      <a:gd name="T39" fmla="*/ 68 h 718"/>
                      <a:gd name="T40" fmla="*/ 71 w 496"/>
                      <a:gd name="T41" fmla="*/ 19 h 718"/>
                      <a:gd name="T42" fmla="*/ 97 w 496"/>
                      <a:gd name="T43" fmla="*/ 0 h 718"/>
                      <a:gd name="T44" fmla="*/ 97 w 496"/>
                      <a:gd name="T45"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96" h="718">
                        <a:moveTo>
                          <a:pt x="97" y="0"/>
                        </a:moveTo>
                        <a:lnTo>
                          <a:pt x="496" y="133"/>
                        </a:lnTo>
                        <a:lnTo>
                          <a:pt x="278" y="686"/>
                        </a:lnTo>
                        <a:lnTo>
                          <a:pt x="278" y="686"/>
                        </a:lnTo>
                        <a:lnTo>
                          <a:pt x="259" y="693"/>
                        </a:lnTo>
                        <a:lnTo>
                          <a:pt x="240" y="700"/>
                        </a:lnTo>
                        <a:lnTo>
                          <a:pt x="223" y="708"/>
                        </a:lnTo>
                        <a:lnTo>
                          <a:pt x="205" y="718"/>
                        </a:lnTo>
                        <a:lnTo>
                          <a:pt x="205" y="718"/>
                        </a:lnTo>
                        <a:lnTo>
                          <a:pt x="189" y="680"/>
                        </a:lnTo>
                        <a:lnTo>
                          <a:pt x="173" y="640"/>
                        </a:lnTo>
                        <a:lnTo>
                          <a:pt x="158" y="600"/>
                        </a:lnTo>
                        <a:lnTo>
                          <a:pt x="143" y="559"/>
                        </a:lnTo>
                        <a:lnTo>
                          <a:pt x="114" y="474"/>
                        </a:lnTo>
                        <a:lnTo>
                          <a:pt x="86" y="386"/>
                        </a:lnTo>
                        <a:lnTo>
                          <a:pt x="61" y="301"/>
                        </a:lnTo>
                        <a:lnTo>
                          <a:pt x="38" y="218"/>
                        </a:lnTo>
                        <a:lnTo>
                          <a:pt x="17" y="139"/>
                        </a:lnTo>
                        <a:lnTo>
                          <a:pt x="0" y="68"/>
                        </a:lnTo>
                        <a:lnTo>
                          <a:pt x="0" y="68"/>
                        </a:lnTo>
                        <a:lnTo>
                          <a:pt x="71" y="19"/>
                        </a:lnTo>
                        <a:lnTo>
                          <a:pt x="97" y="0"/>
                        </a:lnTo>
                        <a:lnTo>
                          <a:pt x="97" y="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4" name="Freeform 26"/>
                  <p:cNvSpPr>
                    <a:spLocks/>
                  </p:cNvSpPr>
                  <p:nvPr userDrawn="1"/>
                </p:nvSpPr>
                <p:spPr bwMode="auto">
                  <a:xfrm>
                    <a:off x="-2091589" y="-791780"/>
                    <a:ext cx="854075" cy="538163"/>
                  </a:xfrm>
                  <a:custGeom>
                    <a:avLst/>
                    <a:gdLst>
                      <a:gd name="T0" fmla="*/ 1076 w 1076"/>
                      <a:gd name="T1" fmla="*/ 370 h 678"/>
                      <a:gd name="T2" fmla="*/ 1076 w 1076"/>
                      <a:gd name="T3" fmla="*/ 370 h 678"/>
                      <a:gd name="T4" fmla="*/ 1076 w 1076"/>
                      <a:gd name="T5" fmla="*/ 0 h 678"/>
                      <a:gd name="T6" fmla="*/ 1076 w 1076"/>
                      <a:gd name="T7" fmla="*/ 0 h 678"/>
                      <a:gd name="T8" fmla="*/ 1076 w 1076"/>
                      <a:gd name="T9" fmla="*/ 0 h 678"/>
                      <a:gd name="T10" fmla="*/ 1000 w 1076"/>
                      <a:gd name="T11" fmla="*/ 2 h 678"/>
                      <a:gd name="T12" fmla="*/ 924 w 1076"/>
                      <a:gd name="T13" fmla="*/ 5 h 678"/>
                      <a:gd name="T14" fmla="*/ 850 w 1076"/>
                      <a:gd name="T15" fmla="*/ 11 h 678"/>
                      <a:gd name="T16" fmla="*/ 776 w 1076"/>
                      <a:gd name="T17" fmla="*/ 19 h 678"/>
                      <a:gd name="T18" fmla="*/ 704 w 1076"/>
                      <a:gd name="T19" fmla="*/ 28 h 678"/>
                      <a:gd name="T20" fmla="*/ 632 w 1076"/>
                      <a:gd name="T21" fmla="*/ 39 h 678"/>
                      <a:gd name="T22" fmla="*/ 562 w 1076"/>
                      <a:gd name="T23" fmla="*/ 53 h 678"/>
                      <a:gd name="T24" fmla="*/ 494 w 1076"/>
                      <a:gd name="T25" fmla="*/ 67 h 678"/>
                      <a:gd name="T26" fmla="*/ 427 w 1076"/>
                      <a:gd name="T27" fmla="*/ 84 h 678"/>
                      <a:gd name="T28" fmla="*/ 361 w 1076"/>
                      <a:gd name="T29" fmla="*/ 101 h 678"/>
                      <a:gd name="T30" fmla="*/ 298 w 1076"/>
                      <a:gd name="T31" fmla="*/ 120 h 678"/>
                      <a:gd name="T32" fmla="*/ 235 w 1076"/>
                      <a:gd name="T33" fmla="*/ 139 h 678"/>
                      <a:gd name="T34" fmla="*/ 174 w 1076"/>
                      <a:gd name="T35" fmla="*/ 161 h 678"/>
                      <a:gd name="T36" fmla="*/ 116 w 1076"/>
                      <a:gd name="T37" fmla="*/ 182 h 678"/>
                      <a:gd name="T38" fmla="*/ 59 w 1076"/>
                      <a:gd name="T39" fmla="*/ 205 h 678"/>
                      <a:gd name="T40" fmla="*/ 4 w 1076"/>
                      <a:gd name="T41" fmla="*/ 228 h 678"/>
                      <a:gd name="T42" fmla="*/ 4 w 1076"/>
                      <a:gd name="T43" fmla="*/ 228 h 678"/>
                      <a:gd name="T44" fmla="*/ 1 w 1076"/>
                      <a:gd name="T45" fmla="*/ 292 h 678"/>
                      <a:gd name="T46" fmla="*/ 0 w 1076"/>
                      <a:gd name="T47" fmla="*/ 356 h 678"/>
                      <a:gd name="T48" fmla="*/ 0 w 1076"/>
                      <a:gd name="T49" fmla="*/ 356 h 678"/>
                      <a:gd name="T50" fmla="*/ 1 w 1076"/>
                      <a:gd name="T51" fmla="*/ 440 h 678"/>
                      <a:gd name="T52" fmla="*/ 3 w 1076"/>
                      <a:gd name="T53" fmla="*/ 521 h 678"/>
                      <a:gd name="T54" fmla="*/ 6 w 1076"/>
                      <a:gd name="T55" fmla="*/ 600 h 678"/>
                      <a:gd name="T56" fmla="*/ 11 w 1076"/>
                      <a:gd name="T57" fmla="*/ 678 h 678"/>
                      <a:gd name="T58" fmla="*/ 11 w 1076"/>
                      <a:gd name="T59" fmla="*/ 678 h 678"/>
                      <a:gd name="T60" fmla="*/ 26 w 1076"/>
                      <a:gd name="T61" fmla="*/ 662 h 678"/>
                      <a:gd name="T62" fmla="*/ 43 w 1076"/>
                      <a:gd name="T63" fmla="*/ 646 h 678"/>
                      <a:gd name="T64" fmla="*/ 59 w 1076"/>
                      <a:gd name="T65" fmla="*/ 632 h 678"/>
                      <a:gd name="T66" fmla="*/ 79 w 1076"/>
                      <a:gd name="T67" fmla="*/ 616 h 678"/>
                      <a:gd name="T68" fmla="*/ 98 w 1076"/>
                      <a:gd name="T69" fmla="*/ 602 h 678"/>
                      <a:gd name="T70" fmla="*/ 119 w 1076"/>
                      <a:gd name="T71" fmla="*/ 587 h 678"/>
                      <a:gd name="T72" fmla="*/ 141 w 1076"/>
                      <a:gd name="T73" fmla="*/ 573 h 678"/>
                      <a:gd name="T74" fmla="*/ 165 w 1076"/>
                      <a:gd name="T75" fmla="*/ 559 h 678"/>
                      <a:gd name="T76" fmla="*/ 190 w 1076"/>
                      <a:gd name="T77" fmla="*/ 545 h 678"/>
                      <a:gd name="T78" fmla="*/ 215 w 1076"/>
                      <a:gd name="T79" fmla="*/ 532 h 678"/>
                      <a:gd name="T80" fmla="*/ 242 w 1076"/>
                      <a:gd name="T81" fmla="*/ 519 h 678"/>
                      <a:gd name="T82" fmla="*/ 271 w 1076"/>
                      <a:gd name="T83" fmla="*/ 506 h 678"/>
                      <a:gd name="T84" fmla="*/ 300 w 1076"/>
                      <a:gd name="T85" fmla="*/ 494 h 678"/>
                      <a:gd name="T86" fmla="*/ 331 w 1076"/>
                      <a:gd name="T87" fmla="*/ 483 h 678"/>
                      <a:gd name="T88" fmla="*/ 362 w 1076"/>
                      <a:gd name="T89" fmla="*/ 471 h 678"/>
                      <a:gd name="T90" fmla="*/ 395 w 1076"/>
                      <a:gd name="T91" fmla="*/ 461 h 678"/>
                      <a:gd name="T92" fmla="*/ 429 w 1076"/>
                      <a:gd name="T93" fmla="*/ 451 h 678"/>
                      <a:gd name="T94" fmla="*/ 464 w 1076"/>
                      <a:gd name="T95" fmla="*/ 441 h 678"/>
                      <a:gd name="T96" fmla="*/ 501 w 1076"/>
                      <a:gd name="T97" fmla="*/ 431 h 678"/>
                      <a:gd name="T98" fmla="*/ 538 w 1076"/>
                      <a:gd name="T99" fmla="*/ 423 h 678"/>
                      <a:gd name="T100" fmla="*/ 577 w 1076"/>
                      <a:gd name="T101" fmla="*/ 415 h 678"/>
                      <a:gd name="T102" fmla="*/ 618 w 1076"/>
                      <a:gd name="T103" fmla="*/ 408 h 678"/>
                      <a:gd name="T104" fmla="*/ 658 w 1076"/>
                      <a:gd name="T105" fmla="*/ 400 h 678"/>
                      <a:gd name="T106" fmla="*/ 700 w 1076"/>
                      <a:gd name="T107" fmla="*/ 394 h 678"/>
                      <a:gd name="T108" fmla="*/ 743 w 1076"/>
                      <a:gd name="T109" fmla="*/ 388 h 678"/>
                      <a:gd name="T110" fmla="*/ 787 w 1076"/>
                      <a:gd name="T111" fmla="*/ 383 h 678"/>
                      <a:gd name="T112" fmla="*/ 833 w 1076"/>
                      <a:gd name="T113" fmla="*/ 379 h 678"/>
                      <a:gd name="T114" fmla="*/ 880 w 1076"/>
                      <a:gd name="T115" fmla="*/ 376 h 678"/>
                      <a:gd name="T116" fmla="*/ 927 w 1076"/>
                      <a:gd name="T117" fmla="*/ 373 h 678"/>
                      <a:gd name="T118" fmla="*/ 975 w 1076"/>
                      <a:gd name="T119" fmla="*/ 371 h 678"/>
                      <a:gd name="T120" fmla="*/ 1026 w 1076"/>
                      <a:gd name="T121" fmla="*/ 370 h 678"/>
                      <a:gd name="T122" fmla="*/ 1076 w 1076"/>
                      <a:gd name="T123" fmla="*/ 370 h 678"/>
                      <a:gd name="T124" fmla="*/ 1076 w 1076"/>
                      <a:gd name="T125" fmla="*/ 370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76" h="678">
                        <a:moveTo>
                          <a:pt x="1076" y="370"/>
                        </a:moveTo>
                        <a:lnTo>
                          <a:pt x="1076" y="370"/>
                        </a:lnTo>
                        <a:lnTo>
                          <a:pt x="1076" y="0"/>
                        </a:lnTo>
                        <a:lnTo>
                          <a:pt x="1076" y="0"/>
                        </a:lnTo>
                        <a:lnTo>
                          <a:pt x="1076" y="0"/>
                        </a:lnTo>
                        <a:lnTo>
                          <a:pt x="1000" y="2"/>
                        </a:lnTo>
                        <a:lnTo>
                          <a:pt x="924" y="5"/>
                        </a:lnTo>
                        <a:lnTo>
                          <a:pt x="850" y="11"/>
                        </a:lnTo>
                        <a:lnTo>
                          <a:pt x="776" y="19"/>
                        </a:lnTo>
                        <a:lnTo>
                          <a:pt x="704" y="28"/>
                        </a:lnTo>
                        <a:lnTo>
                          <a:pt x="632" y="39"/>
                        </a:lnTo>
                        <a:lnTo>
                          <a:pt x="562" y="53"/>
                        </a:lnTo>
                        <a:lnTo>
                          <a:pt x="494" y="67"/>
                        </a:lnTo>
                        <a:lnTo>
                          <a:pt x="427" y="84"/>
                        </a:lnTo>
                        <a:lnTo>
                          <a:pt x="361" y="101"/>
                        </a:lnTo>
                        <a:lnTo>
                          <a:pt x="298" y="120"/>
                        </a:lnTo>
                        <a:lnTo>
                          <a:pt x="235" y="139"/>
                        </a:lnTo>
                        <a:lnTo>
                          <a:pt x="174" y="161"/>
                        </a:lnTo>
                        <a:lnTo>
                          <a:pt x="116" y="182"/>
                        </a:lnTo>
                        <a:lnTo>
                          <a:pt x="59" y="205"/>
                        </a:lnTo>
                        <a:lnTo>
                          <a:pt x="4" y="228"/>
                        </a:lnTo>
                        <a:lnTo>
                          <a:pt x="4" y="228"/>
                        </a:lnTo>
                        <a:lnTo>
                          <a:pt x="1" y="292"/>
                        </a:lnTo>
                        <a:lnTo>
                          <a:pt x="0" y="356"/>
                        </a:lnTo>
                        <a:lnTo>
                          <a:pt x="0" y="356"/>
                        </a:lnTo>
                        <a:lnTo>
                          <a:pt x="1" y="440"/>
                        </a:lnTo>
                        <a:lnTo>
                          <a:pt x="3" y="521"/>
                        </a:lnTo>
                        <a:lnTo>
                          <a:pt x="6" y="600"/>
                        </a:lnTo>
                        <a:lnTo>
                          <a:pt x="11" y="678"/>
                        </a:lnTo>
                        <a:lnTo>
                          <a:pt x="11" y="678"/>
                        </a:lnTo>
                        <a:lnTo>
                          <a:pt x="26" y="662"/>
                        </a:lnTo>
                        <a:lnTo>
                          <a:pt x="43" y="646"/>
                        </a:lnTo>
                        <a:lnTo>
                          <a:pt x="59" y="632"/>
                        </a:lnTo>
                        <a:lnTo>
                          <a:pt x="79" y="616"/>
                        </a:lnTo>
                        <a:lnTo>
                          <a:pt x="98" y="602"/>
                        </a:lnTo>
                        <a:lnTo>
                          <a:pt x="119" y="587"/>
                        </a:lnTo>
                        <a:lnTo>
                          <a:pt x="141" y="573"/>
                        </a:lnTo>
                        <a:lnTo>
                          <a:pt x="165" y="559"/>
                        </a:lnTo>
                        <a:lnTo>
                          <a:pt x="190" y="545"/>
                        </a:lnTo>
                        <a:lnTo>
                          <a:pt x="215" y="532"/>
                        </a:lnTo>
                        <a:lnTo>
                          <a:pt x="242" y="519"/>
                        </a:lnTo>
                        <a:lnTo>
                          <a:pt x="271" y="506"/>
                        </a:lnTo>
                        <a:lnTo>
                          <a:pt x="300" y="494"/>
                        </a:lnTo>
                        <a:lnTo>
                          <a:pt x="331" y="483"/>
                        </a:lnTo>
                        <a:lnTo>
                          <a:pt x="362" y="471"/>
                        </a:lnTo>
                        <a:lnTo>
                          <a:pt x="395" y="461"/>
                        </a:lnTo>
                        <a:lnTo>
                          <a:pt x="429" y="451"/>
                        </a:lnTo>
                        <a:lnTo>
                          <a:pt x="464" y="441"/>
                        </a:lnTo>
                        <a:lnTo>
                          <a:pt x="501" y="431"/>
                        </a:lnTo>
                        <a:lnTo>
                          <a:pt x="538" y="423"/>
                        </a:lnTo>
                        <a:lnTo>
                          <a:pt x="577" y="415"/>
                        </a:lnTo>
                        <a:lnTo>
                          <a:pt x="618" y="408"/>
                        </a:lnTo>
                        <a:lnTo>
                          <a:pt x="658" y="400"/>
                        </a:lnTo>
                        <a:lnTo>
                          <a:pt x="700" y="394"/>
                        </a:lnTo>
                        <a:lnTo>
                          <a:pt x="743" y="388"/>
                        </a:lnTo>
                        <a:lnTo>
                          <a:pt x="787" y="383"/>
                        </a:lnTo>
                        <a:lnTo>
                          <a:pt x="833" y="379"/>
                        </a:lnTo>
                        <a:lnTo>
                          <a:pt x="880" y="376"/>
                        </a:lnTo>
                        <a:lnTo>
                          <a:pt x="927" y="373"/>
                        </a:lnTo>
                        <a:lnTo>
                          <a:pt x="975" y="371"/>
                        </a:lnTo>
                        <a:lnTo>
                          <a:pt x="1026" y="370"/>
                        </a:lnTo>
                        <a:lnTo>
                          <a:pt x="1076" y="370"/>
                        </a:lnTo>
                        <a:lnTo>
                          <a:pt x="1076" y="370"/>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5" name="Freeform 27"/>
                  <p:cNvSpPr>
                    <a:spLocks/>
                  </p:cNvSpPr>
                  <p:nvPr userDrawn="1"/>
                </p:nvSpPr>
                <p:spPr bwMode="auto">
                  <a:xfrm>
                    <a:off x="-1237514" y="-791780"/>
                    <a:ext cx="854075" cy="538163"/>
                  </a:xfrm>
                  <a:custGeom>
                    <a:avLst/>
                    <a:gdLst>
                      <a:gd name="T0" fmla="*/ 1073 w 1076"/>
                      <a:gd name="T1" fmla="*/ 228 h 678"/>
                      <a:gd name="T2" fmla="*/ 1073 w 1076"/>
                      <a:gd name="T3" fmla="*/ 228 h 678"/>
                      <a:gd name="T4" fmla="*/ 1018 w 1076"/>
                      <a:gd name="T5" fmla="*/ 204 h 678"/>
                      <a:gd name="T6" fmla="*/ 961 w 1076"/>
                      <a:gd name="T7" fmla="*/ 182 h 678"/>
                      <a:gd name="T8" fmla="*/ 902 w 1076"/>
                      <a:gd name="T9" fmla="*/ 160 h 678"/>
                      <a:gd name="T10" fmla="*/ 842 w 1076"/>
                      <a:gd name="T11" fmla="*/ 139 h 678"/>
                      <a:gd name="T12" fmla="*/ 780 w 1076"/>
                      <a:gd name="T13" fmla="*/ 120 h 678"/>
                      <a:gd name="T14" fmla="*/ 715 w 1076"/>
                      <a:gd name="T15" fmla="*/ 101 h 678"/>
                      <a:gd name="T16" fmla="*/ 650 w 1076"/>
                      <a:gd name="T17" fmla="*/ 84 h 678"/>
                      <a:gd name="T18" fmla="*/ 584 w 1076"/>
                      <a:gd name="T19" fmla="*/ 67 h 678"/>
                      <a:gd name="T20" fmla="*/ 515 w 1076"/>
                      <a:gd name="T21" fmla="*/ 53 h 678"/>
                      <a:gd name="T22" fmla="*/ 445 w 1076"/>
                      <a:gd name="T23" fmla="*/ 39 h 678"/>
                      <a:gd name="T24" fmla="*/ 374 w 1076"/>
                      <a:gd name="T25" fmla="*/ 28 h 678"/>
                      <a:gd name="T26" fmla="*/ 301 w 1076"/>
                      <a:gd name="T27" fmla="*/ 19 h 678"/>
                      <a:gd name="T28" fmla="*/ 228 w 1076"/>
                      <a:gd name="T29" fmla="*/ 11 h 678"/>
                      <a:gd name="T30" fmla="*/ 153 w 1076"/>
                      <a:gd name="T31" fmla="*/ 5 h 678"/>
                      <a:gd name="T32" fmla="*/ 77 w 1076"/>
                      <a:gd name="T33" fmla="*/ 2 h 678"/>
                      <a:gd name="T34" fmla="*/ 0 w 1076"/>
                      <a:gd name="T35" fmla="*/ 0 h 678"/>
                      <a:gd name="T36" fmla="*/ 0 w 1076"/>
                      <a:gd name="T37" fmla="*/ 0 h 678"/>
                      <a:gd name="T38" fmla="*/ 0 w 1076"/>
                      <a:gd name="T39" fmla="*/ 370 h 678"/>
                      <a:gd name="T40" fmla="*/ 0 w 1076"/>
                      <a:gd name="T41" fmla="*/ 370 h 678"/>
                      <a:gd name="T42" fmla="*/ 0 w 1076"/>
                      <a:gd name="T43" fmla="*/ 370 h 678"/>
                      <a:gd name="T44" fmla="*/ 52 w 1076"/>
                      <a:gd name="T45" fmla="*/ 370 h 678"/>
                      <a:gd name="T46" fmla="*/ 101 w 1076"/>
                      <a:gd name="T47" fmla="*/ 371 h 678"/>
                      <a:gd name="T48" fmla="*/ 149 w 1076"/>
                      <a:gd name="T49" fmla="*/ 373 h 678"/>
                      <a:gd name="T50" fmla="*/ 198 w 1076"/>
                      <a:gd name="T51" fmla="*/ 376 h 678"/>
                      <a:gd name="T52" fmla="*/ 244 w 1076"/>
                      <a:gd name="T53" fmla="*/ 379 h 678"/>
                      <a:gd name="T54" fmla="*/ 289 w 1076"/>
                      <a:gd name="T55" fmla="*/ 383 h 678"/>
                      <a:gd name="T56" fmla="*/ 334 w 1076"/>
                      <a:gd name="T57" fmla="*/ 388 h 678"/>
                      <a:gd name="T58" fmla="*/ 377 w 1076"/>
                      <a:gd name="T59" fmla="*/ 394 h 678"/>
                      <a:gd name="T60" fmla="*/ 419 w 1076"/>
                      <a:gd name="T61" fmla="*/ 400 h 678"/>
                      <a:gd name="T62" fmla="*/ 460 w 1076"/>
                      <a:gd name="T63" fmla="*/ 407 h 678"/>
                      <a:gd name="T64" fmla="*/ 500 w 1076"/>
                      <a:gd name="T65" fmla="*/ 415 h 678"/>
                      <a:gd name="T66" fmla="*/ 538 w 1076"/>
                      <a:gd name="T67" fmla="*/ 423 h 678"/>
                      <a:gd name="T68" fmla="*/ 576 w 1076"/>
                      <a:gd name="T69" fmla="*/ 431 h 678"/>
                      <a:gd name="T70" fmla="*/ 612 w 1076"/>
                      <a:gd name="T71" fmla="*/ 441 h 678"/>
                      <a:gd name="T72" fmla="*/ 647 w 1076"/>
                      <a:gd name="T73" fmla="*/ 451 h 678"/>
                      <a:gd name="T74" fmla="*/ 681 w 1076"/>
                      <a:gd name="T75" fmla="*/ 461 h 678"/>
                      <a:gd name="T76" fmla="*/ 714 w 1076"/>
                      <a:gd name="T77" fmla="*/ 471 h 678"/>
                      <a:gd name="T78" fmla="*/ 746 w 1076"/>
                      <a:gd name="T79" fmla="*/ 483 h 678"/>
                      <a:gd name="T80" fmla="*/ 777 w 1076"/>
                      <a:gd name="T81" fmla="*/ 494 h 678"/>
                      <a:gd name="T82" fmla="*/ 807 w 1076"/>
                      <a:gd name="T83" fmla="*/ 506 h 678"/>
                      <a:gd name="T84" fmla="*/ 835 w 1076"/>
                      <a:gd name="T85" fmla="*/ 519 h 678"/>
                      <a:gd name="T86" fmla="*/ 862 w 1076"/>
                      <a:gd name="T87" fmla="*/ 532 h 678"/>
                      <a:gd name="T88" fmla="*/ 888 w 1076"/>
                      <a:gd name="T89" fmla="*/ 545 h 678"/>
                      <a:gd name="T90" fmla="*/ 913 w 1076"/>
                      <a:gd name="T91" fmla="*/ 559 h 678"/>
                      <a:gd name="T92" fmla="*/ 935 w 1076"/>
                      <a:gd name="T93" fmla="*/ 573 h 678"/>
                      <a:gd name="T94" fmla="*/ 958 w 1076"/>
                      <a:gd name="T95" fmla="*/ 587 h 678"/>
                      <a:gd name="T96" fmla="*/ 980 w 1076"/>
                      <a:gd name="T97" fmla="*/ 602 h 678"/>
                      <a:gd name="T98" fmla="*/ 999 w 1076"/>
                      <a:gd name="T99" fmla="*/ 616 h 678"/>
                      <a:gd name="T100" fmla="*/ 1018 w 1076"/>
                      <a:gd name="T101" fmla="*/ 632 h 678"/>
                      <a:gd name="T102" fmla="*/ 1035 w 1076"/>
                      <a:gd name="T103" fmla="*/ 646 h 678"/>
                      <a:gd name="T104" fmla="*/ 1051 w 1076"/>
                      <a:gd name="T105" fmla="*/ 662 h 678"/>
                      <a:gd name="T106" fmla="*/ 1066 w 1076"/>
                      <a:gd name="T107" fmla="*/ 678 h 678"/>
                      <a:gd name="T108" fmla="*/ 1066 w 1076"/>
                      <a:gd name="T109" fmla="*/ 678 h 678"/>
                      <a:gd name="T110" fmla="*/ 1070 w 1076"/>
                      <a:gd name="T111" fmla="*/ 600 h 678"/>
                      <a:gd name="T112" fmla="*/ 1074 w 1076"/>
                      <a:gd name="T113" fmla="*/ 520 h 678"/>
                      <a:gd name="T114" fmla="*/ 1076 w 1076"/>
                      <a:gd name="T115" fmla="*/ 440 h 678"/>
                      <a:gd name="T116" fmla="*/ 1076 w 1076"/>
                      <a:gd name="T117" fmla="*/ 356 h 678"/>
                      <a:gd name="T118" fmla="*/ 1076 w 1076"/>
                      <a:gd name="T119" fmla="*/ 356 h 678"/>
                      <a:gd name="T120" fmla="*/ 1075 w 1076"/>
                      <a:gd name="T121" fmla="*/ 292 h 678"/>
                      <a:gd name="T122" fmla="*/ 1073 w 1076"/>
                      <a:gd name="T123" fmla="*/ 228 h 678"/>
                      <a:gd name="T124" fmla="*/ 1073 w 1076"/>
                      <a:gd name="T125" fmla="*/ 228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76" h="678">
                        <a:moveTo>
                          <a:pt x="1073" y="228"/>
                        </a:moveTo>
                        <a:lnTo>
                          <a:pt x="1073" y="228"/>
                        </a:lnTo>
                        <a:lnTo>
                          <a:pt x="1018" y="204"/>
                        </a:lnTo>
                        <a:lnTo>
                          <a:pt x="961" y="182"/>
                        </a:lnTo>
                        <a:lnTo>
                          <a:pt x="902" y="160"/>
                        </a:lnTo>
                        <a:lnTo>
                          <a:pt x="842" y="139"/>
                        </a:lnTo>
                        <a:lnTo>
                          <a:pt x="780" y="120"/>
                        </a:lnTo>
                        <a:lnTo>
                          <a:pt x="715" y="101"/>
                        </a:lnTo>
                        <a:lnTo>
                          <a:pt x="650" y="84"/>
                        </a:lnTo>
                        <a:lnTo>
                          <a:pt x="584" y="67"/>
                        </a:lnTo>
                        <a:lnTo>
                          <a:pt x="515" y="53"/>
                        </a:lnTo>
                        <a:lnTo>
                          <a:pt x="445" y="39"/>
                        </a:lnTo>
                        <a:lnTo>
                          <a:pt x="374" y="28"/>
                        </a:lnTo>
                        <a:lnTo>
                          <a:pt x="301" y="19"/>
                        </a:lnTo>
                        <a:lnTo>
                          <a:pt x="228" y="11"/>
                        </a:lnTo>
                        <a:lnTo>
                          <a:pt x="153" y="5"/>
                        </a:lnTo>
                        <a:lnTo>
                          <a:pt x="77" y="2"/>
                        </a:lnTo>
                        <a:lnTo>
                          <a:pt x="0" y="0"/>
                        </a:lnTo>
                        <a:lnTo>
                          <a:pt x="0" y="0"/>
                        </a:lnTo>
                        <a:lnTo>
                          <a:pt x="0" y="370"/>
                        </a:lnTo>
                        <a:lnTo>
                          <a:pt x="0" y="370"/>
                        </a:lnTo>
                        <a:lnTo>
                          <a:pt x="0" y="370"/>
                        </a:lnTo>
                        <a:lnTo>
                          <a:pt x="52" y="370"/>
                        </a:lnTo>
                        <a:lnTo>
                          <a:pt x="101" y="371"/>
                        </a:lnTo>
                        <a:lnTo>
                          <a:pt x="149" y="373"/>
                        </a:lnTo>
                        <a:lnTo>
                          <a:pt x="198" y="376"/>
                        </a:lnTo>
                        <a:lnTo>
                          <a:pt x="244" y="379"/>
                        </a:lnTo>
                        <a:lnTo>
                          <a:pt x="289" y="383"/>
                        </a:lnTo>
                        <a:lnTo>
                          <a:pt x="334" y="388"/>
                        </a:lnTo>
                        <a:lnTo>
                          <a:pt x="377" y="394"/>
                        </a:lnTo>
                        <a:lnTo>
                          <a:pt x="419" y="400"/>
                        </a:lnTo>
                        <a:lnTo>
                          <a:pt x="460" y="407"/>
                        </a:lnTo>
                        <a:lnTo>
                          <a:pt x="500" y="415"/>
                        </a:lnTo>
                        <a:lnTo>
                          <a:pt x="538" y="423"/>
                        </a:lnTo>
                        <a:lnTo>
                          <a:pt x="576" y="431"/>
                        </a:lnTo>
                        <a:lnTo>
                          <a:pt x="612" y="441"/>
                        </a:lnTo>
                        <a:lnTo>
                          <a:pt x="647" y="451"/>
                        </a:lnTo>
                        <a:lnTo>
                          <a:pt x="681" y="461"/>
                        </a:lnTo>
                        <a:lnTo>
                          <a:pt x="714" y="471"/>
                        </a:lnTo>
                        <a:lnTo>
                          <a:pt x="746" y="483"/>
                        </a:lnTo>
                        <a:lnTo>
                          <a:pt x="777" y="494"/>
                        </a:lnTo>
                        <a:lnTo>
                          <a:pt x="807" y="506"/>
                        </a:lnTo>
                        <a:lnTo>
                          <a:pt x="835" y="519"/>
                        </a:lnTo>
                        <a:lnTo>
                          <a:pt x="862" y="532"/>
                        </a:lnTo>
                        <a:lnTo>
                          <a:pt x="888" y="545"/>
                        </a:lnTo>
                        <a:lnTo>
                          <a:pt x="913" y="559"/>
                        </a:lnTo>
                        <a:lnTo>
                          <a:pt x="935" y="573"/>
                        </a:lnTo>
                        <a:lnTo>
                          <a:pt x="958" y="587"/>
                        </a:lnTo>
                        <a:lnTo>
                          <a:pt x="980" y="602"/>
                        </a:lnTo>
                        <a:lnTo>
                          <a:pt x="999" y="616"/>
                        </a:lnTo>
                        <a:lnTo>
                          <a:pt x="1018" y="632"/>
                        </a:lnTo>
                        <a:lnTo>
                          <a:pt x="1035" y="646"/>
                        </a:lnTo>
                        <a:lnTo>
                          <a:pt x="1051" y="662"/>
                        </a:lnTo>
                        <a:lnTo>
                          <a:pt x="1066" y="678"/>
                        </a:lnTo>
                        <a:lnTo>
                          <a:pt x="1066" y="678"/>
                        </a:lnTo>
                        <a:lnTo>
                          <a:pt x="1070" y="600"/>
                        </a:lnTo>
                        <a:lnTo>
                          <a:pt x="1074" y="520"/>
                        </a:lnTo>
                        <a:lnTo>
                          <a:pt x="1076" y="440"/>
                        </a:lnTo>
                        <a:lnTo>
                          <a:pt x="1076" y="356"/>
                        </a:lnTo>
                        <a:lnTo>
                          <a:pt x="1076" y="356"/>
                        </a:lnTo>
                        <a:lnTo>
                          <a:pt x="1075" y="292"/>
                        </a:lnTo>
                        <a:lnTo>
                          <a:pt x="1073" y="228"/>
                        </a:lnTo>
                        <a:lnTo>
                          <a:pt x="1073" y="228"/>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6" name="Freeform 28"/>
                  <p:cNvSpPr>
                    <a:spLocks/>
                  </p:cNvSpPr>
                  <p:nvPr userDrawn="1"/>
                </p:nvSpPr>
                <p:spPr bwMode="auto">
                  <a:xfrm>
                    <a:off x="-1755039" y="-2488818"/>
                    <a:ext cx="1041400" cy="784225"/>
                  </a:xfrm>
                  <a:custGeom>
                    <a:avLst/>
                    <a:gdLst>
                      <a:gd name="T0" fmla="*/ 1313 w 1313"/>
                      <a:gd name="T1" fmla="*/ 986 h 986"/>
                      <a:gd name="T2" fmla="*/ 1239 w 1313"/>
                      <a:gd name="T3" fmla="*/ 849 h 986"/>
                      <a:gd name="T4" fmla="*/ 1165 w 1313"/>
                      <a:gd name="T5" fmla="*/ 720 h 986"/>
                      <a:gd name="T6" fmla="*/ 1115 w 1313"/>
                      <a:gd name="T7" fmla="*/ 640 h 986"/>
                      <a:gd name="T8" fmla="*/ 1021 w 1313"/>
                      <a:gd name="T9" fmla="*/ 492 h 986"/>
                      <a:gd name="T10" fmla="*/ 930 w 1313"/>
                      <a:gd name="T11" fmla="*/ 359 h 986"/>
                      <a:gd name="T12" fmla="*/ 848 w 1313"/>
                      <a:gd name="T13" fmla="*/ 246 h 986"/>
                      <a:gd name="T14" fmla="*/ 777 w 1313"/>
                      <a:gd name="T15" fmla="*/ 151 h 986"/>
                      <a:gd name="T16" fmla="*/ 696 w 1313"/>
                      <a:gd name="T17" fmla="*/ 51 h 986"/>
                      <a:gd name="T18" fmla="*/ 652 w 1313"/>
                      <a:gd name="T19" fmla="*/ 0 h 986"/>
                      <a:gd name="T20" fmla="*/ 641 w 1313"/>
                      <a:gd name="T21" fmla="*/ 13 h 986"/>
                      <a:gd name="T22" fmla="*/ 559 w 1313"/>
                      <a:gd name="T23" fmla="*/ 113 h 986"/>
                      <a:gd name="T24" fmla="*/ 494 w 1313"/>
                      <a:gd name="T25" fmla="*/ 196 h 986"/>
                      <a:gd name="T26" fmla="*/ 416 w 1313"/>
                      <a:gd name="T27" fmla="*/ 301 h 986"/>
                      <a:gd name="T28" fmla="*/ 329 w 1313"/>
                      <a:gd name="T29" fmla="*/ 425 h 986"/>
                      <a:gd name="T30" fmla="*/ 236 w 1313"/>
                      <a:gd name="T31" fmla="*/ 566 h 986"/>
                      <a:gd name="T32" fmla="*/ 139 w 1313"/>
                      <a:gd name="T33" fmla="*/ 723 h 986"/>
                      <a:gd name="T34" fmla="*/ 104 w 1313"/>
                      <a:gd name="T35" fmla="*/ 783 h 986"/>
                      <a:gd name="T36" fmla="*/ 34 w 1313"/>
                      <a:gd name="T37" fmla="*/ 907 h 986"/>
                      <a:gd name="T38" fmla="*/ 0 w 1313"/>
                      <a:gd name="T39" fmla="*/ 972 h 986"/>
                      <a:gd name="T40" fmla="*/ 123 w 1313"/>
                      <a:gd name="T41" fmla="*/ 945 h 986"/>
                      <a:gd name="T42" fmla="*/ 258 w 1313"/>
                      <a:gd name="T43" fmla="*/ 923 h 986"/>
                      <a:gd name="T44" fmla="*/ 406 w 1313"/>
                      <a:gd name="T45" fmla="*/ 906 h 986"/>
                      <a:gd name="T46" fmla="*/ 526 w 1313"/>
                      <a:gd name="T47" fmla="*/ 899 h 986"/>
                      <a:gd name="T48" fmla="*/ 608 w 1313"/>
                      <a:gd name="T49" fmla="*/ 898 h 986"/>
                      <a:gd name="T50" fmla="*/ 694 w 1313"/>
                      <a:gd name="T51" fmla="*/ 899 h 986"/>
                      <a:gd name="T52" fmla="*/ 782 w 1313"/>
                      <a:gd name="T53" fmla="*/ 902 h 986"/>
                      <a:gd name="T54" fmla="*/ 873 w 1313"/>
                      <a:gd name="T55" fmla="*/ 909 h 986"/>
                      <a:gd name="T56" fmla="*/ 967 w 1313"/>
                      <a:gd name="T57" fmla="*/ 920 h 986"/>
                      <a:gd name="T58" fmla="*/ 1063 w 1313"/>
                      <a:gd name="T59" fmla="*/ 934 h 986"/>
                      <a:gd name="T60" fmla="*/ 1161 w 1313"/>
                      <a:gd name="T61" fmla="*/ 952 h 986"/>
                      <a:gd name="T62" fmla="*/ 1261 w 1313"/>
                      <a:gd name="T63" fmla="*/ 974 h 986"/>
                      <a:gd name="T64" fmla="*/ 1313 w 1313"/>
                      <a:gd name="T65" fmla="*/ 986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13" h="986">
                        <a:moveTo>
                          <a:pt x="1313" y="986"/>
                        </a:moveTo>
                        <a:lnTo>
                          <a:pt x="1313" y="986"/>
                        </a:lnTo>
                        <a:lnTo>
                          <a:pt x="1276" y="917"/>
                        </a:lnTo>
                        <a:lnTo>
                          <a:pt x="1239" y="849"/>
                        </a:lnTo>
                        <a:lnTo>
                          <a:pt x="1202" y="784"/>
                        </a:lnTo>
                        <a:lnTo>
                          <a:pt x="1165" y="720"/>
                        </a:lnTo>
                        <a:lnTo>
                          <a:pt x="1165" y="720"/>
                        </a:lnTo>
                        <a:lnTo>
                          <a:pt x="1115" y="640"/>
                        </a:lnTo>
                        <a:lnTo>
                          <a:pt x="1068" y="564"/>
                        </a:lnTo>
                        <a:lnTo>
                          <a:pt x="1021" y="492"/>
                        </a:lnTo>
                        <a:lnTo>
                          <a:pt x="974" y="423"/>
                        </a:lnTo>
                        <a:lnTo>
                          <a:pt x="930" y="359"/>
                        </a:lnTo>
                        <a:lnTo>
                          <a:pt x="888" y="300"/>
                        </a:lnTo>
                        <a:lnTo>
                          <a:pt x="848" y="246"/>
                        </a:lnTo>
                        <a:lnTo>
                          <a:pt x="811" y="196"/>
                        </a:lnTo>
                        <a:lnTo>
                          <a:pt x="777" y="151"/>
                        </a:lnTo>
                        <a:lnTo>
                          <a:pt x="746" y="112"/>
                        </a:lnTo>
                        <a:lnTo>
                          <a:pt x="696" y="51"/>
                        </a:lnTo>
                        <a:lnTo>
                          <a:pt x="664" y="13"/>
                        </a:lnTo>
                        <a:lnTo>
                          <a:pt x="652" y="0"/>
                        </a:lnTo>
                        <a:lnTo>
                          <a:pt x="652" y="0"/>
                        </a:lnTo>
                        <a:lnTo>
                          <a:pt x="641" y="13"/>
                        </a:lnTo>
                        <a:lnTo>
                          <a:pt x="609" y="51"/>
                        </a:lnTo>
                        <a:lnTo>
                          <a:pt x="559" y="113"/>
                        </a:lnTo>
                        <a:lnTo>
                          <a:pt x="528" y="152"/>
                        </a:lnTo>
                        <a:lnTo>
                          <a:pt x="494" y="196"/>
                        </a:lnTo>
                        <a:lnTo>
                          <a:pt x="456" y="247"/>
                        </a:lnTo>
                        <a:lnTo>
                          <a:pt x="416" y="301"/>
                        </a:lnTo>
                        <a:lnTo>
                          <a:pt x="374" y="361"/>
                        </a:lnTo>
                        <a:lnTo>
                          <a:pt x="329" y="425"/>
                        </a:lnTo>
                        <a:lnTo>
                          <a:pt x="283" y="494"/>
                        </a:lnTo>
                        <a:lnTo>
                          <a:pt x="236" y="566"/>
                        </a:lnTo>
                        <a:lnTo>
                          <a:pt x="187" y="643"/>
                        </a:lnTo>
                        <a:lnTo>
                          <a:pt x="139" y="723"/>
                        </a:lnTo>
                        <a:lnTo>
                          <a:pt x="139" y="723"/>
                        </a:lnTo>
                        <a:lnTo>
                          <a:pt x="104" y="783"/>
                        </a:lnTo>
                        <a:lnTo>
                          <a:pt x="69" y="844"/>
                        </a:lnTo>
                        <a:lnTo>
                          <a:pt x="34" y="907"/>
                        </a:lnTo>
                        <a:lnTo>
                          <a:pt x="0" y="972"/>
                        </a:lnTo>
                        <a:lnTo>
                          <a:pt x="0" y="972"/>
                        </a:lnTo>
                        <a:lnTo>
                          <a:pt x="60" y="957"/>
                        </a:lnTo>
                        <a:lnTo>
                          <a:pt x="123" y="945"/>
                        </a:lnTo>
                        <a:lnTo>
                          <a:pt x="188" y="933"/>
                        </a:lnTo>
                        <a:lnTo>
                          <a:pt x="258" y="923"/>
                        </a:lnTo>
                        <a:lnTo>
                          <a:pt x="330" y="913"/>
                        </a:lnTo>
                        <a:lnTo>
                          <a:pt x="406" y="906"/>
                        </a:lnTo>
                        <a:lnTo>
                          <a:pt x="485" y="901"/>
                        </a:lnTo>
                        <a:lnTo>
                          <a:pt x="526" y="899"/>
                        </a:lnTo>
                        <a:lnTo>
                          <a:pt x="567" y="898"/>
                        </a:lnTo>
                        <a:lnTo>
                          <a:pt x="608" y="898"/>
                        </a:lnTo>
                        <a:lnTo>
                          <a:pt x="651" y="898"/>
                        </a:lnTo>
                        <a:lnTo>
                          <a:pt x="694" y="899"/>
                        </a:lnTo>
                        <a:lnTo>
                          <a:pt x="738" y="900"/>
                        </a:lnTo>
                        <a:lnTo>
                          <a:pt x="782" y="902"/>
                        </a:lnTo>
                        <a:lnTo>
                          <a:pt x="827" y="905"/>
                        </a:lnTo>
                        <a:lnTo>
                          <a:pt x="873" y="909"/>
                        </a:lnTo>
                        <a:lnTo>
                          <a:pt x="920" y="914"/>
                        </a:lnTo>
                        <a:lnTo>
                          <a:pt x="967" y="920"/>
                        </a:lnTo>
                        <a:lnTo>
                          <a:pt x="1014" y="927"/>
                        </a:lnTo>
                        <a:lnTo>
                          <a:pt x="1063" y="934"/>
                        </a:lnTo>
                        <a:lnTo>
                          <a:pt x="1112" y="943"/>
                        </a:lnTo>
                        <a:lnTo>
                          <a:pt x="1161" y="952"/>
                        </a:lnTo>
                        <a:lnTo>
                          <a:pt x="1211" y="963"/>
                        </a:lnTo>
                        <a:lnTo>
                          <a:pt x="1261" y="974"/>
                        </a:lnTo>
                        <a:lnTo>
                          <a:pt x="1313" y="986"/>
                        </a:lnTo>
                        <a:lnTo>
                          <a:pt x="1313" y="986"/>
                        </a:lnTo>
                        <a:close/>
                      </a:path>
                    </a:pathLst>
                  </a:custGeom>
                  <a:solidFill>
                    <a:srgbClr val="F1A7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7" name="Freeform 29"/>
                  <p:cNvSpPr>
                    <a:spLocks/>
                  </p:cNvSpPr>
                  <p:nvPr userDrawn="1"/>
                </p:nvSpPr>
                <p:spPr bwMode="auto">
                  <a:xfrm>
                    <a:off x="-2088414" y="-1776030"/>
                    <a:ext cx="1701800" cy="2698750"/>
                  </a:xfrm>
                  <a:custGeom>
                    <a:avLst/>
                    <a:gdLst>
                      <a:gd name="T0" fmla="*/ 1268 w 2145"/>
                      <a:gd name="T1" fmla="*/ 1247 h 3399"/>
                      <a:gd name="T2" fmla="*/ 1528 w 2145"/>
                      <a:gd name="T3" fmla="*/ 1279 h 3399"/>
                      <a:gd name="T4" fmla="*/ 1771 w 2145"/>
                      <a:gd name="T5" fmla="*/ 1334 h 3399"/>
                      <a:gd name="T6" fmla="*/ 1993 w 2145"/>
                      <a:gd name="T7" fmla="*/ 1405 h 3399"/>
                      <a:gd name="T8" fmla="*/ 2145 w 2145"/>
                      <a:gd name="T9" fmla="*/ 1466 h 3399"/>
                      <a:gd name="T10" fmla="*/ 2128 w 2145"/>
                      <a:gd name="T11" fmla="*/ 1279 h 3399"/>
                      <a:gd name="T12" fmla="*/ 2098 w 2145"/>
                      <a:gd name="T13" fmla="*/ 1096 h 3399"/>
                      <a:gd name="T14" fmla="*/ 2057 w 2145"/>
                      <a:gd name="T15" fmla="*/ 915 h 3399"/>
                      <a:gd name="T16" fmla="*/ 1977 w 2145"/>
                      <a:gd name="T17" fmla="*/ 652 h 3399"/>
                      <a:gd name="T18" fmla="*/ 1845 w 2145"/>
                      <a:gd name="T19" fmla="*/ 321 h 3399"/>
                      <a:gd name="T20" fmla="*/ 1733 w 2145"/>
                      <a:gd name="T21" fmla="*/ 88 h 3399"/>
                      <a:gd name="T22" fmla="*/ 1532 w 2145"/>
                      <a:gd name="T23" fmla="*/ 45 h 3399"/>
                      <a:gd name="T24" fmla="*/ 1340 w 2145"/>
                      <a:gd name="T25" fmla="*/ 16 h 3399"/>
                      <a:gd name="T26" fmla="*/ 1158 w 2145"/>
                      <a:gd name="T27" fmla="*/ 2 h 3399"/>
                      <a:gd name="T28" fmla="*/ 987 w 2145"/>
                      <a:gd name="T29" fmla="*/ 0 h 3399"/>
                      <a:gd name="T30" fmla="*/ 750 w 2145"/>
                      <a:gd name="T31" fmla="*/ 15 h 3399"/>
                      <a:gd name="T32" fmla="*/ 480 w 2145"/>
                      <a:gd name="T33" fmla="*/ 59 h 3399"/>
                      <a:gd name="T34" fmla="*/ 343 w 2145"/>
                      <a:gd name="T35" fmla="*/ 228 h 3399"/>
                      <a:gd name="T36" fmla="*/ 203 w 2145"/>
                      <a:gd name="T37" fmla="*/ 556 h 3399"/>
                      <a:gd name="T38" fmla="*/ 115 w 2145"/>
                      <a:gd name="T39" fmla="*/ 819 h 3399"/>
                      <a:gd name="T40" fmla="*/ 67 w 2145"/>
                      <a:gd name="T41" fmla="*/ 1000 h 3399"/>
                      <a:gd name="T42" fmla="*/ 31 w 2145"/>
                      <a:gd name="T43" fmla="*/ 1184 h 3399"/>
                      <a:gd name="T44" fmla="*/ 7 w 2145"/>
                      <a:gd name="T45" fmla="*/ 1371 h 3399"/>
                      <a:gd name="T46" fmla="*/ 49 w 2145"/>
                      <a:gd name="T47" fmla="*/ 1445 h 3399"/>
                      <a:gd name="T48" fmla="*/ 260 w 2145"/>
                      <a:gd name="T49" fmla="*/ 1368 h 3399"/>
                      <a:gd name="T50" fmla="*/ 493 w 2145"/>
                      <a:gd name="T51" fmla="*/ 1304 h 3399"/>
                      <a:gd name="T52" fmla="*/ 745 w 2145"/>
                      <a:gd name="T53" fmla="*/ 1260 h 3399"/>
                      <a:gd name="T54" fmla="*/ 944 w 2145"/>
                      <a:gd name="T55" fmla="*/ 1611 h 3399"/>
                      <a:gd name="T56" fmla="*/ 814 w 2145"/>
                      <a:gd name="T57" fmla="*/ 1619 h 3399"/>
                      <a:gd name="T58" fmla="*/ 654 w 2145"/>
                      <a:gd name="T59" fmla="*/ 1638 h 3399"/>
                      <a:gd name="T60" fmla="*/ 509 w 2145"/>
                      <a:gd name="T61" fmla="*/ 1667 h 3399"/>
                      <a:gd name="T62" fmla="*/ 379 w 2145"/>
                      <a:gd name="T63" fmla="*/ 1703 h 3399"/>
                      <a:gd name="T64" fmla="*/ 265 w 2145"/>
                      <a:gd name="T65" fmla="*/ 1745 h 3399"/>
                      <a:gd name="T66" fmla="*/ 167 w 2145"/>
                      <a:gd name="T67" fmla="*/ 1793 h 3399"/>
                      <a:gd name="T68" fmla="*/ 86 w 2145"/>
                      <a:gd name="T69" fmla="*/ 1845 h 3399"/>
                      <a:gd name="T70" fmla="*/ 21 w 2145"/>
                      <a:gd name="T71" fmla="*/ 1902 h 3399"/>
                      <a:gd name="T72" fmla="*/ 23 w 2145"/>
                      <a:gd name="T73" fmla="*/ 2094 h 3399"/>
                      <a:gd name="T74" fmla="*/ 73 w 2145"/>
                      <a:gd name="T75" fmla="*/ 2445 h 3399"/>
                      <a:gd name="T76" fmla="*/ 150 w 2145"/>
                      <a:gd name="T77" fmla="*/ 2802 h 3399"/>
                      <a:gd name="T78" fmla="*/ 303 w 2145"/>
                      <a:gd name="T79" fmla="*/ 3399 h 3399"/>
                      <a:gd name="T80" fmla="*/ 1890 w 2145"/>
                      <a:gd name="T81" fmla="*/ 3189 h 3399"/>
                      <a:gd name="T82" fmla="*/ 2013 w 2145"/>
                      <a:gd name="T83" fmla="*/ 2714 h 3399"/>
                      <a:gd name="T84" fmla="*/ 2085 w 2145"/>
                      <a:gd name="T85" fmla="*/ 2363 h 3399"/>
                      <a:gd name="T86" fmla="*/ 2131 w 2145"/>
                      <a:gd name="T87" fmla="*/ 2008 h 3399"/>
                      <a:gd name="T88" fmla="*/ 2109 w 2145"/>
                      <a:gd name="T89" fmla="*/ 1887 h 3399"/>
                      <a:gd name="T90" fmla="*/ 2040 w 2145"/>
                      <a:gd name="T91" fmla="*/ 1832 h 3399"/>
                      <a:gd name="T92" fmla="*/ 1955 w 2145"/>
                      <a:gd name="T93" fmla="*/ 1780 h 3399"/>
                      <a:gd name="T94" fmla="*/ 1853 w 2145"/>
                      <a:gd name="T95" fmla="*/ 1734 h 3399"/>
                      <a:gd name="T96" fmla="*/ 1735 w 2145"/>
                      <a:gd name="T97" fmla="*/ 1693 h 3399"/>
                      <a:gd name="T98" fmla="*/ 1601 w 2145"/>
                      <a:gd name="T99" fmla="*/ 1659 h 3399"/>
                      <a:gd name="T100" fmla="*/ 1453 w 2145"/>
                      <a:gd name="T101" fmla="*/ 1633 h 3399"/>
                      <a:gd name="T102" fmla="*/ 1288 w 2145"/>
                      <a:gd name="T103" fmla="*/ 1616 h 3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45" h="3399">
                        <a:moveTo>
                          <a:pt x="1201" y="1611"/>
                        </a:moveTo>
                        <a:lnTo>
                          <a:pt x="1201" y="1242"/>
                        </a:lnTo>
                        <a:lnTo>
                          <a:pt x="1201" y="1242"/>
                        </a:lnTo>
                        <a:lnTo>
                          <a:pt x="1268" y="1247"/>
                        </a:lnTo>
                        <a:lnTo>
                          <a:pt x="1335" y="1253"/>
                        </a:lnTo>
                        <a:lnTo>
                          <a:pt x="1399" y="1260"/>
                        </a:lnTo>
                        <a:lnTo>
                          <a:pt x="1464" y="1269"/>
                        </a:lnTo>
                        <a:lnTo>
                          <a:pt x="1528" y="1279"/>
                        </a:lnTo>
                        <a:lnTo>
                          <a:pt x="1590" y="1292"/>
                        </a:lnTo>
                        <a:lnTo>
                          <a:pt x="1651" y="1304"/>
                        </a:lnTo>
                        <a:lnTo>
                          <a:pt x="1712" y="1319"/>
                        </a:lnTo>
                        <a:lnTo>
                          <a:pt x="1771" y="1334"/>
                        </a:lnTo>
                        <a:lnTo>
                          <a:pt x="1828" y="1350"/>
                        </a:lnTo>
                        <a:lnTo>
                          <a:pt x="1885" y="1368"/>
                        </a:lnTo>
                        <a:lnTo>
                          <a:pt x="1939" y="1386"/>
                        </a:lnTo>
                        <a:lnTo>
                          <a:pt x="1993" y="1405"/>
                        </a:lnTo>
                        <a:lnTo>
                          <a:pt x="2045" y="1424"/>
                        </a:lnTo>
                        <a:lnTo>
                          <a:pt x="2096" y="1445"/>
                        </a:lnTo>
                        <a:lnTo>
                          <a:pt x="2145" y="1466"/>
                        </a:lnTo>
                        <a:lnTo>
                          <a:pt x="2145" y="1466"/>
                        </a:lnTo>
                        <a:lnTo>
                          <a:pt x="2142" y="1419"/>
                        </a:lnTo>
                        <a:lnTo>
                          <a:pt x="2138" y="1372"/>
                        </a:lnTo>
                        <a:lnTo>
                          <a:pt x="2133" y="1326"/>
                        </a:lnTo>
                        <a:lnTo>
                          <a:pt x="2128" y="1279"/>
                        </a:lnTo>
                        <a:lnTo>
                          <a:pt x="2122" y="1233"/>
                        </a:lnTo>
                        <a:lnTo>
                          <a:pt x="2114" y="1188"/>
                        </a:lnTo>
                        <a:lnTo>
                          <a:pt x="2106" y="1142"/>
                        </a:lnTo>
                        <a:lnTo>
                          <a:pt x="2098" y="1096"/>
                        </a:lnTo>
                        <a:lnTo>
                          <a:pt x="2089" y="1050"/>
                        </a:lnTo>
                        <a:lnTo>
                          <a:pt x="2078" y="1005"/>
                        </a:lnTo>
                        <a:lnTo>
                          <a:pt x="2068" y="961"/>
                        </a:lnTo>
                        <a:lnTo>
                          <a:pt x="2057" y="915"/>
                        </a:lnTo>
                        <a:lnTo>
                          <a:pt x="2044" y="871"/>
                        </a:lnTo>
                        <a:lnTo>
                          <a:pt x="2032" y="827"/>
                        </a:lnTo>
                        <a:lnTo>
                          <a:pt x="2005" y="739"/>
                        </a:lnTo>
                        <a:lnTo>
                          <a:pt x="1977" y="652"/>
                        </a:lnTo>
                        <a:lnTo>
                          <a:pt x="1946" y="568"/>
                        </a:lnTo>
                        <a:lnTo>
                          <a:pt x="1914" y="483"/>
                        </a:lnTo>
                        <a:lnTo>
                          <a:pt x="1880" y="401"/>
                        </a:lnTo>
                        <a:lnTo>
                          <a:pt x="1845" y="321"/>
                        </a:lnTo>
                        <a:lnTo>
                          <a:pt x="1808" y="242"/>
                        </a:lnTo>
                        <a:lnTo>
                          <a:pt x="1771" y="164"/>
                        </a:lnTo>
                        <a:lnTo>
                          <a:pt x="1733" y="88"/>
                        </a:lnTo>
                        <a:lnTo>
                          <a:pt x="1733" y="88"/>
                        </a:lnTo>
                        <a:lnTo>
                          <a:pt x="1681" y="76"/>
                        </a:lnTo>
                        <a:lnTo>
                          <a:pt x="1631" y="65"/>
                        </a:lnTo>
                        <a:lnTo>
                          <a:pt x="1581" y="54"/>
                        </a:lnTo>
                        <a:lnTo>
                          <a:pt x="1532" y="45"/>
                        </a:lnTo>
                        <a:lnTo>
                          <a:pt x="1483" y="36"/>
                        </a:lnTo>
                        <a:lnTo>
                          <a:pt x="1434" y="29"/>
                        </a:lnTo>
                        <a:lnTo>
                          <a:pt x="1387" y="22"/>
                        </a:lnTo>
                        <a:lnTo>
                          <a:pt x="1340" y="16"/>
                        </a:lnTo>
                        <a:lnTo>
                          <a:pt x="1293" y="11"/>
                        </a:lnTo>
                        <a:lnTo>
                          <a:pt x="1247" y="7"/>
                        </a:lnTo>
                        <a:lnTo>
                          <a:pt x="1202" y="4"/>
                        </a:lnTo>
                        <a:lnTo>
                          <a:pt x="1158" y="2"/>
                        </a:lnTo>
                        <a:lnTo>
                          <a:pt x="1114" y="1"/>
                        </a:lnTo>
                        <a:lnTo>
                          <a:pt x="1071" y="0"/>
                        </a:lnTo>
                        <a:lnTo>
                          <a:pt x="1028" y="0"/>
                        </a:lnTo>
                        <a:lnTo>
                          <a:pt x="987" y="0"/>
                        </a:lnTo>
                        <a:lnTo>
                          <a:pt x="946" y="1"/>
                        </a:lnTo>
                        <a:lnTo>
                          <a:pt x="905" y="3"/>
                        </a:lnTo>
                        <a:lnTo>
                          <a:pt x="826" y="8"/>
                        </a:lnTo>
                        <a:lnTo>
                          <a:pt x="750" y="15"/>
                        </a:lnTo>
                        <a:lnTo>
                          <a:pt x="678" y="25"/>
                        </a:lnTo>
                        <a:lnTo>
                          <a:pt x="608" y="35"/>
                        </a:lnTo>
                        <a:lnTo>
                          <a:pt x="543" y="47"/>
                        </a:lnTo>
                        <a:lnTo>
                          <a:pt x="480" y="59"/>
                        </a:lnTo>
                        <a:lnTo>
                          <a:pt x="420" y="74"/>
                        </a:lnTo>
                        <a:lnTo>
                          <a:pt x="420" y="74"/>
                        </a:lnTo>
                        <a:lnTo>
                          <a:pt x="381" y="150"/>
                        </a:lnTo>
                        <a:lnTo>
                          <a:pt x="343" y="228"/>
                        </a:lnTo>
                        <a:lnTo>
                          <a:pt x="306" y="307"/>
                        </a:lnTo>
                        <a:lnTo>
                          <a:pt x="271" y="389"/>
                        </a:lnTo>
                        <a:lnTo>
                          <a:pt x="236" y="472"/>
                        </a:lnTo>
                        <a:lnTo>
                          <a:pt x="203" y="556"/>
                        </a:lnTo>
                        <a:lnTo>
                          <a:pt x="171" y="643"/>
                        </a:lnTo>
                        <a:lnTo>
                          <a:pt x="142" y="730"/>
                        </a:lnTo>
                        <a:lnTo>
                          <a:pt x="128" y="774"/>
                        </a:lnTo>
                        <a:lnTo>
                          <a:pt x="115" y="819"/>
                        </a:lnTo>
                        <a:lnTo>
                          <a:pt x="102" y="864"/>
                        </a:lnTo>
                        <a:lnTo>
                          <a:pt x="90" y="909"/>
                        </a:lnTo>
                        <a:lnTo>
                          <a:pt x="79" y="954"/>
                        </a:lnTo>
                        <a:lnTo>
                          <a:pt x="67" y="1000"/>
                        </a:lnTo>
                        <a:lnTo>
                          <a:pt x="57" y="1045"/>
                        </a:lnTo>
                        <a:lnTo>
                          <a:pt x="48" y="1091"/>
                        </a:lnTo>
                        <a:lnTo>
                          <a:pt x="40" y="1137"/>
                        </a:lnTo>
                        <a:lnTo>
                          <a:pt x="31" y="1184"/>
                        </a:lnTo>
                        <a:lnTo>
                          <a:pt x="24" y="1230"/>
                        </a:lnTo>
                        <a:lnTo>
                          <a:pt x="17" y="1277"/>
                        </a:lnTo>
                        <a:lnTo>
                          <a:pt x="12" y="1325"/>
                        </a:lnTo>
                        <a:lnTo>
                          <a:pt x="7" y="1371"/>
                        </a:lnTo>
                        <a:lnTo>
                          <a:pt x="4" y="1418"/>
                        </a:lnTo>
                        <a:lnTo>
                          <a:pt x="0" y="1466"/>
                        </a:lnTo>
                        <a:lnTo>
                          <a:pt x="0" y="1466"/>
                        </a:lnTo>
                        <a:lnTo>
                          <a:pt x="49" y="1445"/>
                        </a:lnTo>
                        <a:lnTo>
                          <a:pt x="99" y="1424"/>
                        </a:lnTo>
                        <a:lnTo>
                          <a:pt x="152" y="1405"/>
                        </a:lnTo>
                        <a:lnTo>
                          <a:pt x="205" y="1386"/>
                        </a:lnTo>
                        <a:lnTo>
                          <a:pt x="260" y="1368"/>
                        </a:lnTo>
                        <a:lnTo>
                          <a:pt x="316" y="1350"/>
                        </a:lnTo>
                        <a:lnTo>
                          <a:pt x="374" y="1334"/>
                        </a:lnTo>
                        <a:lnTo>
                          <a:pt x="434" y="1319"/>
                        </a:lnTo>
                        <a:lnTo>
                          <a:pt x="493" y="1304"/>
                        </a:lnTo>
                        <a:lnTo>
                          <a:pt x="555" y="1292"/>
                        </a:lnTo>
                        <a:lnTo>
                          <a:pt x="618" y="1279"/>
                        </a:lnTo>
                        <a:lnTo>
                          <a:pt x="680" y="1269"/>
                        </a:lnTo>
                        <a:lnTo>
                          <a:pt x="745" y="1260"/>
                        </a:lnTo>
                        <a:lnTo>
                          <a:pt x="810" y="1253"/>
                        </a:lnTo>
                        <a:lnTo>
                          <a:pt x="877" y="1247"/>
                        </a:lnTo>
                        <a:lnTo>
                          <a:pt x="944" y="1242"/>
                        </a:lnTo>
                        <a:lnTo>
                          <a:pt x="944" y="1611"/>
                        </a:lnTo>
                        <a:lnTo>
                          <a:pt x="944" y="1611"/>
                        </a:lnTo>
                        <a:lnTo>
                          <a:pt x="899" y="1613"/>
                        </a:lnTo>
                        <a:lnTo>
                          <a:pt x="856" y="1616"/>
                        </a:lnTo>
                        <a:lnTo>
                          <a:pt x="814" y="1619"/>
                        </a:lnTo>
                        <a:lnTo>
                          <a:pt x="773" y="1623"/>
                        </a:lnTo>
                        <a:lnTo>
                          <a:pt x="732" y="1627"/>
                        </a:lnTo>
                        <a:lnTo>
                          <a:pt x="693" y="1633"/>
                        </a:lnTo>
                        <a:lnTo>
                          <a:pt x="654" y="1638"/>
                        </a:lnTo>
                        <a:lnTo>
                          <a:pt x="617" y="1645"/>
                        </a:lnTo>
                        <a:lnTo>
                          <a:pt x="580" y="1652"/>
                        </a:lnTo>
                        <a:lnTo>
                          <a:pt x="544" y="1659"/>
                        </a:lnTo>
                        <a:lnTo>
                          <a:pt x="509" y="1667"/>
                        </a:lnTo>
                        <a:lnTo>
                          <a:pt x="475" y="1675"/>
                        </a:lnTo>
                        <a:lnTo>
                          <a:pt x="442" y="1684"/>
                        </a:lnTo>
                        <a:lnTo>
                          <a:pt x="410" y="1693"/>
                        </a:lnTo>
                        <a:lnTo>
                          <a:pt x="379" y="1703"/>
                        </a:lnTo>
                        <a:lnTo>
                          <a:pt x="349" y="1713"/>
                        </a:lnTo>
                        <a:lnTo>
                          <a:pt x="320" y="1723"/>
                        </a:lnTo>
                        <a:lnTo>
                          <a:pt x="293" y="1734"/>
                        </a:lnTo>
                        <a:lnTo>
                          <a:pt x="265" y="1745"/>
                        </a:lnTo>
                        <a:lnTo>
                          <a:pt x="239" y="1757"/>
                        </a:lnTo>
                        <a:lnTo>
                          <a:pt x="214" y="1769"/>
                        </a:lnTo>
                        <a:lnTo>
                          <a:pt x="191" y="1780"/>
                        </a:lnTo>
                        <a:lnTo>
                          <a:pt x="167" y="1793"/>
                        </a:lnTo>
                        <a:lnTo>
                          <a:pt x="145" y="1806"/>
                        </a:lnTo>
                        <a:lnTo>
                          <a:pt x="125" y="1818"/>
                        </a:lnTo>
                        <a:lnTo>
                          <a:pt x="104" y="1832"/>
                        </a:lnTo>
                        <a:lnTo>
                          <a:pt x="86" y="1845"/>
                        </a:lnTo>
                        <a:lnTo>
                          <a:pt x="68" y="1860"/>
                        </a:lnTo>
                        <a:lnTo>
                          <a:pt x="51" y="1873"/>
                        </a:lnTo>
                        <a:lnTo>
                          <a:pt x="35" y="1887"/>
                        </a:lnTo>
                        <a:lnTo>
                          <a:pt x="21" y="1902"/>
                        </a:lnTo>
                        <a:lnTo>
                          <a:pt x="7" y="1916"/>
                        </a:lnTo>
                        <a:lnTo>
                          <a:pt x="7" y="1916"/>
                        </a:lnTo>
                        <a:lnTo>
                          <a:pt x="14" y="2006"/>
                        </a:lnTo>
                        <a:lnTo>
                          <a:pt x="23" y="2094"/>
                        </a:lnTo>
                        <a:lnTo>
                          <a:pt x="33" y="2183"/>
                        </a:lnTo>
                        <a:lnTo>
                          <a:pt x="46" y="2270"/>
                        </a:lnTo>
                        <a:lnTo>
                          <a:pt x="59" y="2357"/>
                        </a:lnTo>
                        <a:lnTo>
                          <a:pt x="73" y="2445"/>
                        </a:lnTo>
                        <a:lnTo>
                          <a:pt x="91" y="2532"/>
                        </a:lnTo>
                        <a:lnTo>
                          <a:pt x="108" y="2621"/>
                        </a:lnTo>
                        <a:lnTo>
                          <a:pt x="128" y="2710"/>
                        </a:lnTo>
                        <a:lnTo>
                          <a:pt x="150" y="2802"/>
                        </a:lnTo>
                        <a:lnTo>
                          <a:pt x="172" y="2895"/>
                        </a:lnTo>
                        <a:lnTo>
                          <a:pt x="196" y="2990"/>
                        </a:lnTo>
                        <a:lnTo>
                          <a:pt x="247" y="3189"/>
                        </a:lnTo>
                        <a:lnTo>
                          <a:pt x="303" y="3399"/>
                        </a:lnTo>
                        <a:lnTo>
                          <a:pt x="1831" y="3399"/>
                        </a:lnTo>
                        <a:lnTo>
                          <a:pt x="1831" y="3399"/>
                        </a:lnTo>
                        <a:lnTo>
                          <a:pt x="1831" y="3399"/>
                        </a:lnTo>
                        <a:lnTo>
                          <a:pt x="1890" y="3189"/>
                        </a:lnTo>
                        <a:lnTo>
                          <a:pt x="1943" y="2991"/>
                        </a:lnTo>
                        <a:lnTo>
                          <a:pt x="1967" y="2896"/>
                        </a:lnTo>
                        <a:lnTo>
                          <a:pt x="1991" y="2804"/>
                        </a:lnTo>
                        <a:lnTo>
                          <a:pt x="2013" y="2714"/>
                        </a:lnTo>
                        <a:lnTo>
                          <a:pt x="2033" y="2625"/>
                        </a:lnTo>
                        <a:lnTo>
                          <a:pt x="2052" y="2537"/>
                        </a:lnTo>
                        <a:lnTo>
                          <a:pt x="2069" y="2450"/>
                        </a:lnTo>
                        <a:lnTo>
                          <a:pt x="2085" y="2363"/>
                        </a:lnTo>
                        <a:lnTo>
                          <a:pt x="2099" y="2275"/>
                        </a:lnTo>
                        <a:lnTo>
                          <a:pt x="2111" y="2188"/>
                        </a:lnTo>
                        <a:lnTo>
                          <a:pt x="2122" y="2098"/>
                        </a:lnTo>
                        <a:lnTo>
                          <a:pt x="2131" y="2008"/>
                        </a:lnTo>
                        <a:lnTo>
                          <a:pt x="2138" y="1916"/>
                        </a:lnTo>
                        <a:lnTo>
                          <a:pt x="2138" y="1916"/>
                        </a:lnTo>
                        <a:lnTo>
                          <a:pt x="2125" y="1902"/>
                        </a:lnTo>
                        <a:lnTo>
                          <a:pt x="2109" y="1887"/>
                        </a:lnTo>
                        <a:lnTo>
                          <a:pt x="2094" y="1873"/>
                        </a:lnTo>
                        <a:lnTo>
                          <a:pt x="2077" y="1860"/>
                        </a:lnTo>
                        <a:lnTo>
                          <a:pt x="2059" y="1845"/>
                        </a:lnTo>
                        <a:lnTo>
                          <a:pt x="2040" y="1832"/>
                        </a:lnTo>
                        <a:lnTo>
                          <a:pt x="2021" y="1818"/>
                        </a:lnTo>
                        <a:lnTo>
                          <a:pt x="1999" y="1806"/>
                        </a:lnTo>
                        <a:lnTo>
                          <a:pt x="1978" y="1793"/>
                        </a:lnTo>
                        <a:lnTo>
                          <a:pt x="1955" y="1780"/>
                        </a:lnTo>
                        <a:lnTo>
                          <a:pt x="1930" y="1769"/>
                        </a:lnTo>
                        <a:lnTo>
                          <a:pt x="1906" y="1757"/>
                        </a:lnTo>
                        <a:lnTo>
                          <a:pt x="1880" y="1745"/>
                        </a:lnTo>
                        <a:lnTo>
                          <a:pt x="1853" y="1734"/>
                        </a:lnTo>
                        <a:lnTo>
                          <a:pt x="1824" y="1723"/>
                        </a:lnTo>
                        <a:lnTo>
                          <a:pt x="1795" y="1713"/>
                        </a:lnTo>
                        <a:lnTo>
                          <a:pt x="1766" y="1703"/>
                        </a:lnTo>
                        <a:lnTo>
                          <a:pt x="1735" y="1693"/>
                        </a:lnTo>
                        <a:lnTo>
                          <a:pt x="1703" y="1684"/>
                        </a:lnTo>
                        <a:lnTo>
                          <a:pt x="1670" y="1675"/>
                        </a:lnTo>
                        <a:lnTo>
                          <a:pt x="1636" y="1667"/>
                        </a:lnTo>
                        <a:lnTo>
                          <a:pt x="1601" y="1659"/>
                        </a:lnTo>
                        <a:lnTo>
                          <a:pt x="1566" y="1652"/>
                        </a:lnTo>
                        <a:lnTo>
                          <a:pt x="1529" y="1645"/>
                        </a:lnTo>
                        <a:lnTo>
                          <a:pt x="1491" y="1638"/>
                        </a:lnTo>
                        <a:lnTo>
                          <a:pt x="1453" y="1633"/>
                        </a:lnTo>
                        <a:lnTo>
                          <a:pt x="1413" y="1627"/>
                        </a:lnTo>
                        <a:lnTo>
                          <a:pt x="1373" y="1623"/>
                        </a:lnTo>
                        <a:lnTo>
                          <a:pt x="1331" y="1619"/>
                        </a:lnTo>
                        <a:lnTo>
                          <a:pt x="1288" y="1616"/>
                        </a:lnTo>
                        <a:lnTo>
                          <a:pt x="1245" y="1613"/>
                        </a:lnTo>
                        <a:lnTo>
                          <a:pt x="1201" y="1611"/>
                        </a:lnTo>
                        <a:lnTo>
                          <a:pt x="1201" y="1611"/>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8" name="Freeform 30"/>
                  <p:cNvSpPr>
                    <a:spLocks/>
                  </p:cNvSpPr>
                  <p:nvPr userDrawn="1"/>
                </p:nvSpPr>
                <p:spPr bwMode="auto">
                  <a:xfrm>
                    <a:off x="-1850289" y="865570"/>
                    <a:ext cx="1214438" cy="95250"/>
                  </a:xfrm>
                  <a:custGeom>
                    <a:avLst/>
                    <a:gdLst>
                      <a:gd name="T0" fmla="*/ 765 w 1529"/>
                      <a:gd name="T1" fmla="*/ 0 h 122"/>
                      <a:gd name="T2" fmla="*/ 467 w 1529"/>
                      <a:gd name="T3" fmla="*/ 5 h 122"/>
                      <a:gd name="T4" fmla="*/ 337 w 1529"/>
                      <a:gd name="T5" fmla="*/ 10 h 122"/>
                      <a:gd name="T6" fmla="*/ 224 w 1529"/>
                      <a:gd name="T7" fmla="*/ 17 h 122"/>
                      <a:gd name="T8" fmla="*/ 130 w 1529"/>
                      <a:gd name="T9" fmla="*/ 27 h 122"/>
                      <a:gd name="T10" fmla="*/ 60 w 1529"/>
                      <a:gd name="T11" fmla="*/ 39 h 122"/>
                      <a:gd name="T12" fmla="*/ 23 w 1529"/>
                      <a:gd name="T13" fmla="*/ 50 h 122"/>
                      <a:gd name="T14" fmla="*/ 8 w 1529"/>
                      <a:gd name="T15" fmla="*/ 58 h 122"/>
                      <a:gd name="T16" fmla="*/ 1 w 1529"/>
                      <a:gd name="T17" fmla="*/ 66 h 122"/>
                      <a:gd name="T18" fmla="*/ 0 w 1529"/>
                      <a:gd name="T19" fmla="*/ 70 h 122"/>
                      <a:gd name="T20" fmla="*/ 4 w 1529"/>
                      <a:gd name="T21" fmla="*/ 80 h 122"/>
                      <a:gd name="T22" fmla="*/ 15 w 1529"/>
                      <a:gd name="T23" fmla="*/ 87 h 122"/>
                      <a:gd name="T24" fmla="*/ 34 w 1529"/>
                      <a:gd name="T25" fmla="*/ 93 h 122"/>
                      <a:gd name="T26" fmla="*/ 91 w 1529"/>
                      <a:gd name="T27" fmla="*/ 104 h 122"/>
                      <a:gd name="T28" fmla="*/ 175 w 1529"/>
                      <a:gd name="T29" fmla="*/ 112 h 122"/>
                      <a:gd name="T30" fmla="*/ 278 w 1529"/>
                      <a:gd name="T31" fmla="*/ 117 h 122"/>
                      <a:gd name="T32" fmla="*/ 467 w 1529"/>
                      <a:gd name="T33" fmla="*/ 121 h 122"/>
                      <a:gd name="T34" fmla="*/ 765 w 1529"/>
                      <a:gd name="T35" fmla="*/ 122 h 122"/>
                      <a:gd name="T36" fmla="*/ 918 w 1529"/>
                      <a:gd name="T37" fmla="*/ 122 h 122"/>
                      <a:gd name="T38" fmla="*/ 1192 w 1529"/>
                      <a:gd name="T39" fmla="*/ 119 h 122"/>
                      <a:gd name="T40" fmla="*/ 1305 w 1529"/>
                      <a:gd name="T41" fmla="*/ 115 h 122"/>
                      <a:gd name="T42" fmla="*/ 1399 w 1529"/>
                      <a:gd name="T43" fmla="*/ 108 h 122"/>
                      <a:gd name="T44" fmla="*/ 1470 w 1529"/>
                      <a:gd name="T45" fmla="*/ 99 h 122"/>
                      <a:gd name="T46" fmla="*/ 1506 w 1529"/>
                      <a:gd name="T47" fmla="*/ 90 h 122"/>
                      <a:gd name="T48" fmla="*/ 1521 w 1529"/>
                      <a:gd name="T49" fmla="*/ 83 h 122"/>
                      <a:gd name="T50" fmla="*/ 1528 w 1529"/>
                      <a:gd name="T51" fmla="*/ 76 h 122"/>
                      <a:gd name="T52" fmla="*/ 1529 w 1529"/>
                      <a:gd name="T53" fmla="*/ 70 h 122"/>
                      <a:gd name="T54" fmla="*/ 1526 w 1529"/>
                      <a:gd name="T55" fmla="*/ 62 h 122"/>
                      <a:gd name="T56" fmla="*/ 1514 w 1529"/>
                      <a:gd name="T57" fmla="*/ 54 h 122"/>
                      <a:gd name="T58" fmla="*/ 1496 w 1529"/>
                      <a:gd name="T59" fmla="*/ 46 h 122"/>
                      <a:gd name="T60" fmla="*/ 1438 w 1529"/>
                      <a:gd name="T61" fmla="*/ 32 h 122"/>
                      <a:gd name="T62" fmla="*/ 1356 w 1529"/>
                      <a:gd name="T63" fmla="*/ 22 h 122"/>
                      <a:gd name="T64" fmla="*/ 1252 w 1529"/>
                      <a:gd name="T65" fmla="*/ 13 h 122"/>
                      <a:gd name="T66" fmla="*/ 1129 w 1529"/>
                      <a:gd name="T67" fmla="*/ 7 h 122"/>
                      <a:gd name="T68" fmla="*/ 918 w 1529"/>
                      <a:gd name="T69" fmla="*/ 1 h 122"/>
                      <a:gd name="T70" fmla="*/ 765 w 1529"/>
                      <a:gd name="T71"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29" h="122">
                        <a:moveTo>
                          <a:pt x="765" y="0"/>
                        </a:moveTo>
                        <a:lnTo>
                          <a:pt x="765" y="0"/>
                        </a:lnTo>
                        <a:lnTo>
                          <a:pt x="611" y="1"/>
                        </a:lnTo>
                        <a:lnTo>
                          <a:pt x="467" y="5"/>
                        </a:lnTo>
                        <a:lnTo>
                          <a:pt x="400" y="7"/>
                        </a:lnTo>
                        <a:lnTo>
                          <a:pt x="337" y="10"/>
                        </a:lnTo>
                        <a:lnTo>
                          <a:pt x="278" y="13"/>
                        </a:lnTo>
                        <a:lnTo>
                          <a:pt x="224" y="17"/>
                        </a:lnTo>
                        <a:lnTo>
                          <a:pt x="175" y="22"/>
                        </a:lnTo>
                        <a:lnTo>
                          <a:pt x="130" y="27"/>
                        </a:lnTo>
                        <a:lnTo>
                          <a:pt x="91" y="32"/>
                        </a:lnTo>
                        <a:lnTo>
                          <a:pt x="60" y="39"/>
                        </a:lnTo>
                        <a:lnTo>
                          <a:pt x="34" y="46"/>
                        </a:lnTo>
                        <a:lnTo>
                          <a:pt x="23" y="50"/>
                        </a:lnTo>
                        <a:lnTo>
                          <a:pt x="15" y="54"/>
                        </a:lnTo>
                        <a:lnTo>
                          <a:pt x="8" y="58"/>
                        </a:lnTo>
                        <a:lnTo>
                          <a:pt x="4" y="62"/>
                        </a:lnTo>
                        <a:lnTo>
                          <a:pt x="1" y="66"/>
                        </a:lnTo>
                        <a:lnTo>
                          <a:pt x="0" y="70"/>
                        </a:lnTo>
                        <a:lnTo>
                          <a:pt x="0" y="70"/>
                        </a:lnTo>
                        <a:lnTo>
                          <a:pt x="1" y="76"/>
                        </a:lnTo>
                        <a:lnTo>
                          <a:pt x="4" y="80"/>
                        </a:lnTo>
                        <a:lnTo>
                          <a:pt x="8" y="83"/>
                        </a:lnTo>
                        <a:lnTo>
                          <a:pt x="15" y="87"/>
                        </a:lnTo>
                        <a:lnTo>
                          <a:pt x="23" y="90"/>
                        </a:lnTo>
                        <a:lnTo>
                          <a:pt x="34" y="93"/>
                        </a:lnTo>
                        <a:lnTo>
                          <a:pt x="60" y="99"/>
                        </a:lnTo>
                        <a:lnTo>
                          <a:pt x="91" y="104"/>
                        </a:lnTo>
                        <a:lnTo>
                          <a:pt x="130" y="108"/>
                        </a:lnTo>
                        <a:lnTo>
                          <a:pt x="175" y="112"/>
                        </a:lnTo>
                        <a:lnTo>
                          <a:pt x="224" y="115"/>
                        </a:lnTo>
                        <a:lnTo>
                          <a:pt x="278" y="117"/>
                        </a:lnTo>
                        <a:lnTo>
                          <a:pt x="337" y="119"/>
                        </a:lnTo>
                        <a:lnTo>
                          <a:pt x="467" y="121"/>
                        </a:lnTo>
                        <a:lnTo>
                          <a:pt x="611" y="122"/>
                        </a:lnTo>
                        <a:lnTo>
                          <a:pt x="765" y="122"/>
                        </a:lnTo>
                        <a:lnTo>
                          <a:pt x="765" y="122"/>
                        </a:lnTo>
                        <a:lnTo>
                          <a:pt x="918" y="122"/>
                        </a:lnTo>
                        <a:lnTo>
                          <a:pt x="1062" y="121"/>
                        </a:lnTo>
                        <a:lnTo>
                          <a:pt x="1192" y="119"/>
                        </a:lnTo>
                        <a:lnTo>
                          <a:pt x="1252" y="117"/>
                        </a:lnTo>
                        <a:lnTo>
                          <a:pt x="1305" y="115"/>
                        </a:lnTo>
                        <a:lnTo>
                          <a:pt x="1356" y="112"/>
                        </a:lnTo>
                        <a:lnTo>
                          <a:pt x="1399" y="108"/>
                        </a:lnTo>
                        <a:lnTo>
                          <a:pt x="1438" y="104"/>
                        </a:lnTo>
                        <a:lnTo>
                          <a:pt x="1470" y="99"/>
                        </a:lnTo>
                        <a:lnTo>
                          <a:pt x="1496" y="93"/>
                        </a:lnTo>
                        <a:lnTo>
                          <a:pt x="1506" y="90"/>
                        </a:lnTo>
                        <a:lnTo>
                          <a:pt x="1514" y="87"/>
                        </a:lnTo>
                        <a:lnTo>
                          <a:pt x="1521" y="83"/>
                        </a:lnTo>
                        <a:lnTo>
                          <a:pt x="1526" y="80"/>
                        </a:lnTo>
                        <a:lnTo>
                          <a:pt x="1528" y="76"/>
                        </a:lnTo>
                        <a:lnTo>
                          <a:pt x="1529" y="70"/>
                        </a:lnTo>
                        <a:lnTo>
                          <a:pt x="1529" y="70"/>
                        </a:lnTo>
                        <a:lnTo>
                          <a:pt x="1528" y="66"/>
                        </a:lnTo>
                        <a:lnTo>
                          <a:pt x="1526" y="62"/>
                        </a:lnTo>
                        <a:lnTo>
                          <a:pt x="1521" y="58"/>
                        </a:lnTo>
                        <a:lnTo>
                          <a:pt x="1514" y="54"/>
                        </a:lnTo>
                        <a:lnTo>
                          <a:pt x="1506" y="50"/>
                        </a:lnTo>
                        <a:lnTo>
                          <a:pt x="1496" y="46"/>
                        </a:lnTo>
                        <a:lnTo>
                          <a:pt x="1470" y="39"/>
                        </a:lnTo>
                        <a:lnTo>
                          <a:pt x="1438" y="32"/>
                        </a:lnTo>
                        <a:lnTo>
                          <a:pt x="1399" y="27"/>
                        </a:lnTo>
                        <a:lnTo>
                          <a:pt x="1356" y="22"/>
                        </a:lnTo>
                        <a:lnTo>
                          <a:pt x="1305" y="17"/>
                        </a:lnTo>
                        <a:lnTo>
                          <a:pt x="1252" y="13"/>
                        </a:lnTo>
                        <a:lnTo>
                          <a:pt x="1192" y="10"/>
                        </a:lnTo>
                        <a:lnTo>
                          <a:pt x="1129" y="7"/>
                        </a:lnTo>
                        <a:lnTo>
                          <a:pt x="1062" y="5"/>
                        </a:lnTo>
                        <a:lnTo>
                          <a:pt x="918" y="1"/>
                        </a:lnTo>
                        <a:lnTo>
                          <a:pt x="765" y="0"/>
                        </a:lnTo>
                        <a:lnTo>
                          <a:pt x="765" y="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79" name="Freeform 31"/>
                  <p:cNvSpPr>
                    <a:spLocks/>
                  </p:cNvSpPr>
                  <p:nvPr userDrawn="1"/>
                </p:nvSpPr>
                <p:spPr bwMode="auto">
                  <a:xfrm>
                    <a:off x="-1861402" y="-1353755"/>
                    <a:ext cx="1247775" cy="1249363"/>
                  </a:xfrm>
                  <a:custGeom>
                    <a:avLst/>
                    <a:gdLst>
                      <a:gd name="T0" fmla="*/ 746 w 1572"/>
                      <a:gd name="T1" fmla="*/ 1571 h 1572"/>
                      <a:gd name="T2" fmla="*/ 628 w 1572"/>
                      <a:gd name="T3" fmla="*/ 1556 h 1572"/>
                      <a:gd name="T4" fmla="*/ 517 w 1572"/>
                      <a:gd name="T5" fmla="*/ 1524 h 1572"/>
                      <a:gd name="T6" fmla="*/ 412 w 1572"/>
                      <a:gd name="T7" fmla="*/ 1477 h 1572"/>
                      <a:gd name="T8" fmla="*/ 316 w 1572"/>
                      <a:gd name="T9" fmla="*/ 1416 h 1572"/>
                      <a:gd name="T10" fmla="*/ 231 w 1572"/>
                      <a:gd name="T11" fmla="*/ 1342 h 1572"/>
                      <a:gd name="T12" fmla="*/ 157 w 1572"/>
                      <a:gd name="T13" fmla="*/ 1256 h 1572"/>
                      <a:gd name="T14" fmla="*/ 95 w 1572"/>
                      <a:gd name="T15" fmla="*/ 1161 h 1572"/>
                      <a:gd name="T16" fmla="*/ 49 w 1572"/>
                      <a:gd name="T17" fmla="*/ 1056 h 1572"/>
                      <a:gd name="T18" fmla="*/ 17 w 1572"/>
                      <a:gd name="T19" fmla="*/ 944 h 1572"/>
                      <a:gd name="T20" fmla="*/ 1 w 1572"/>
                      <a:gd name="T21" fmla="*/ 827 h 1572"/>
                      <a:gd name="T22" fmla="*/ 1 w 1572"/>
                      <a:gd name="T23" fmla="*/ 745 h 1572"/>
                      <a:gd name="T24" fmla="*/ 17 w 1572"/>
                      <a:gd name="T25" fmla="*/ 628 h 1572"/>
                      <a:gd name="T26" fmla="*/ 49 w 1572"/>
                      <a:gd name="T27" fmla="*/ 516 h 1572"/>
                      <a:gd name="T28" fmla="*/ 95 w 1572"/>
                      <a:gd name="T29" fmla="*/ 412 h 1572"/>
                      <a:gd name="T30" fmla="*/ 157 w 1572"/>
                      <a:gd name="T31" fmla="*/ 316 h 1572"/>
                      <a:gd name="T32" fmla="*/ 231 w 1572"/>
                      <a:gd name="T33" fmla="*/ 231 h 1572"/>
                      <a:gd name="T34" fmla="*/ 316 w 1572"/>
                      <a:gd name="T35" fmla="*/ 156 h 1572"/>
                      <a:gd name="T36" fmla="*/ 412 w 1572"/>
                      <a:gd name="T37" fmla="*/ 95 h 1572"/>
                      <a:gd name="T38" fmla="*/ 517 w 1572"/>
                      <a:gd name="T39" fmla="*/ 48 h 1572"/>
                      <a:gd name="T40" fmla="*/ 628 w 1572"/>
                      <a:gd name="T41" fmla="*/ 16 h 1572"/>
                      <a:gd name="T42" fmla="*/ 746 w 1572"/>
                      <a:gd name="T43" fmla="*/ 1 h 1572"/>
                      <a:gd name="T44" fmla="*/ 826 w 1572"/>
                      <a:gd name="T45" fmla="*/ 1 h 1572"/>
                      <a:gd name="T46" fmla="*/ 945 w 1572"/>
                      <a:gd name="T47" fmla="*/ 16 h 1572"/>
                      <a:gd name="T48" fmla="*/ 1057 w 1572"/>
                      <a:gd name="T49" fmla="*/ 48 h 1572"/>
                      <a:gd name="T50" fmla="*/ 1161 w 1572"/>
                      <a:gd name="T51" fmla="*/ 95 h 1572"/>
                      <a:gd name="T52" fmla="*/ 1256 w 1572"/>
                      <a:gd name="T53" fmla="*/ 156 h 1572"/>
                      <a:gd name="T54" fmla="*/ 1342 w 1572"/>
                      <a:gd name="T55" fmla="*/ 231 h 1572"/>
                      <a:gd name="T56" fmla="*/ 1416 w 1572"/>
                      <a:gd name="T57" fmla="*/ 316 h 1572"/>
                      <a:gd name="T58" fmla="*/ 1478 w 1572"/>
                      <a:gd name="T59" fmla="*/ 412 h 1572"/>
                      <a:gd name="T60" fmla="*/ 1525 w 1572"/>
                      <a:gd name="T61" fmla="*/ 516 h 1572"/>
                      <a:gd name="T62" fmla="*/ 1557 w 1572"/>
                      <a:gd name="T63" fmla="*/ 628 h 1572"/>
                      <a:gd name="T64" fmla="*/ 1571 w 1572"/>
                      <a:gd name="T65" fmla="*/ 745 h 1572"/>
                      <a:gd name="T66" fmla="*/ 1571 w 1572"/>
                      <a:gd name="T67" fmla="*/ 827 h 1572"/>
                      <a:gd name="T68" fmla="*/ 1557 w 1572"/>
                      <a:gd name="T69" fmla="*/ 944 h 1572"/>
                      <a:gd name="T70" fmla="*/ 1525 w 1572"/>
                      <a:gd name="T71" fmla="*/ 1056 h 1572"/>
                      <a:gd name="T72" fmla="*/ 1478 w 1572"/>
                      <a:gd name="T73" fmla="*/ 1161 h 1572"/>
                      <a:gd name="T74" fmla="*/ 1416 w 1572"/>
                      <a:gd name="T75" fmla="*/ 1256 h 1572"/>
                      <a:gd name="T76" fmla="*/ 1342 w 1572"/>
                      <a:gd name="T77" fmla="*/ 1342 h 1572"/>
                      <a:gd name="T78" fmla="*/ 1256 w 1572"/>
                      <a:gd name="T79" fmla="*/ 1416 h 1572"/>
                      <a:gd name="T80" fmla="*/ 1161 w 1572"/>
                      <a:gd name="T81" fmla="*/ 1477 h 1572"/>
                      <a:gd name="T82" fmla="*/ 1057 w 1572"/>
                      <a:gd name="T83" fmla="*/ 1524 h 1572"/>
                      <a:gd name="T84" fmla="*/ 945 w 1572"/>
                      <a:gd name="T85" fmla="*/ 1556 h 1572"/>
                      <a:gd name="T86" fmla="*/ 826 w 1572"/>
                      <a:gd name="T87" fmla="*/ 1571 h 1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72" h="1572">
                        <a:moveTo>
                          <a:pt x="786" y="1572"/>
                        </a:moveTo>
                        <a:lnTo>
                          <a:pt x="786" y="1572"/>
                        </a:lnTo>
                        <a:lnTo>
                          <a:pt x="746" y="1571"/>
                        </a:lnTo>
                        <a:lnTo>
                          <a:pt x="706" y="1568"/>
                        </a:lnTo>
                        <a:lnTo>
                          <a:pt x="667" y="1563"/>
                        </a:lnTo>
                        <a:lnTo>
                          <a:pt x="628" y="1556"/>
                        </a:lnTo>
                        <a:lnTo>
                          <a:pt x="590" y="1548"/>
                        </a:lnTo>
                        <a:lnTo>
                          <a:pt x="553" y="1536"/>
                        </a:lnTo>
                        <a:lnTo>
                          <a:pt x="517" y="1524"/>
                        </a:lnTo>
                        <a:lnTo>
                          <a:pt x="481" y="1511"/>
                        </a:lnTo>
                        <a:lnTo>
                          <a:pt x="446" y="1494"/>
                        </a:lnTo>
                        <a:lnTo>
                          <a:pt x="412" y="1477"/>
                        </a:lnTo>
                        <a:lnTo>
                          <a:pt x="379" y="1458"/>
                        </a:lnTo>
                        <a:lnTo>
                          <a:pt x="347" y="1438"/>
                        </a:lnTo>
                        <a:lnTo>
                          <a:pt x="316" y="1416"/>
                        </a:lnTo>
                        <a:lnTo>
                          <a:pt x="286" y="1392"/>
                        </a:lnTo>
                        <a:lnTo>
                          <a:pt x="259" y="1368"/>
                        </a:lnTo>
                        <a:lnTo>
                          <a:pt x="231" y="1342"/>
                        </a:lnTo>
                        <a:lnTo>
                          <a:pt x="205" y="1314"/>
                        </a:lnTo>
                        <a:lnTo>
                          <a:pt x="180" y="1285"/>
                        </a:lnTo>
                        <a:lnTo>
                          <a:pt x="157" y="1256"/>
                        </a:lnTo>
                        <a:lnTo>
                          <a:pt x="135" y="1226"/>
                        </a:lnTo>
                        <a:lnTo>
                          <a:pt x="115" y="1194"/>
                        </a:lnTo>
                        <a:lnTo>
                          <a:pt x="95" y="1161"/>
                        </a:lnTo>
                        <a:lnTo>
                          <a:pt x="79" y="1127"/>
                        </a:lnTo>
                        <a:lnTo>
                          <a:pt x="62" y="1092"/>
                        </a:lnTo>
                        <a:lnTo>
                          <a:pt x="49" y="1056"/>
                        </a:lnTo>
                        <a:lnTo>
                          <a:pt x="35" y="1020"/>
                        </a:lnTo>
                        <a:lnTo>
                          <a:pt x="25" y="982"/>
                        </a:lnTo>
                        <a:lnTo>
                          <a:pt x="17" y="944"/>
                        </a:lnTo>
                        <a:lnTo>
                          <a:pt x="10" y="906"/>
                        </a:lnTo>
                        <a:lnTo>
                          <a:pt x="5" y="867"/>
                        </a:lnTo>
                        <a:lnTo>
                          <a:pt x="1" y="827"/>
                        </a:lnTo>
                        <a:lnTo>
                          <a:pt x="0" y="787"/>
                        </a:lnTo>
                        <a:lnTo>
                          <a:pt x="0" y="787"/>
                        </a:lnTo>
                        <a:lnTo>
                          <a:pt x="1" y="745"/>
                        </a:lnTo>
                        <a:lnTo>
                          <a:pt x="5" y="706"/>
                        </a:lnTo>
                        <a:lnTo>
                          <a:pt x="10" y="666"/>
                        </a:lnTo>
                        <a:lnTo>
                          <a:pt x="17" y="628"/>
                        </a:lnTo>
                        <a:lnTo>
                          <a:pt x="25" y="590"/>
                        </a:lnTo>
                        <a:lnTo>
                          <a:pt x="35" y="553"/>
                        </a:lnTo>
                        <a:lnTo>
                          <a:pt x="49" y="516"/>
                        </a:lnTo>
                        <a:lnTo>
                          <a:pt x="62" y="480"/>
                        </a:lnTo>
                        <a:lnTo>
                          <a:pt x="79" y="446"/>
                        </a:lnTo>
                        <a:lnTo>
                          <a:pt x="95" y="412"/>
                        </a:lnTo>
                        <a:lnTo>
                          <a:pt x="115" y="379"/>
                        </a:lnTo>
                        <a:lnTo>
                          <a:pt x="135" y="347"/>
                        </a:lnTo>
                        <a:lnTo>
                          <a:pt x="157" y="316"/>
                        </a:lnTo>
                        <a:lnTo>
                          <a:pt x="180" y="287"/>
                        </a:lnTo>
                        <a:lnTo>
                          <a:pt x="205" y="258"/>
                        </a:lnTo>
                        <a:lnTo>
                          <a:pt x="231" y="231"/>
                        </a:lnTo>
                        <a:lnTo>
                          <a:pt x="259" y="204"/>
                        </a:lnTo>
                        <a:lnTo>
                          <a:pt x="286" y="180"/>
                        </a:lnTo>
                        <a:lnTo>
                          <a:pt x="316" y="156"/>
                        </a:lnTo>
                        <a:lnTo>
                          <a:pt x="347" y="134"/>
                        </a:lnTo>
                        <a:lnTo>
                          <a:pt x="379" y="114"/>
                        </a:lnTo>
                        <a:lnTo>
                          <a:pt x="412" y="95"/>
                        </a:lnTo>
                        <a:lnTo>
                          <a:pt x="446" y="78"/>
                        </a:lnTo>
                        <a:lnTo>
                          <a:pt x="481" y="62"/>
                        </a:lnTo>
                        <a:lnTo>
                          <a:pt x="517" y="48"/>
                        </a:lnTo>
                        <a:lnTo>
                          <a:pt x="553" y="36"/>
                        </a:lnTo>
                        <a:lnTo>
                          <a:pt x="590" y="25"/>
                        </a:lnTo>
                        <a:lnTo>
                          <a:pt x="628" y="16"/>
                        </a:lnTo>
                        <a:lnTo>
                          <a:pt x="667" y="9"/>
                        </a:lnTo>
                        <a:lnTo>
                          <a:pt x="706" y="4"/>
                        </a:lnTo>
                        <a:lnTo>
                          <a:pt x="746" y="1"/>
                        </a:lnTo>
                        <a:lnTo>
                          <a:pt x="786" y="0"/>
                        </a:lnTo>
                        <a:lnTo>
                          <a:pt x="786" y="0"/>
                        </a:lnTo>
                        <a:lnTo>
                          <a:pt x="826" y="1"/>
                        </a:lnTo>
                        <a:lnTo>
                          <a:pt x="867" y="4"/>
                        </a:lnTo>
                        <a:lnTo>
                          <a:pt x="906" y="9"/>
                        </a:lnTo>
                        <a:lnTo>
                          <a:pt x="945" y="16"/>
                        </a:lnTo>
                        <a:lnTo>
                          <a:pt x="983" y="25"/>
                        </a:lnTo>
                        <a:lnTo>
                          <a:pt x="1020" y="36"/>
                        </a:lnTo>
                        <a:lnTo>
                          <a:pt x="1057" y="48"/>
                        </a:lnTo>
                        <a:lnTo>
                          <a:pt x="1092" y="62"/>
                        </a:lnTo>
                        <a:lnTo>
                          <a:pt x="1127" y="78"/>
                        </a:lnTo>
                        <a:lnTo>
                          <a:pt x="1161" y="95"/>
                        </a:lnTo>
                        <a:lnTo>
                          <a:pt x="1194" y="114"/>
                        </a:lnTo>
                        <a:lnTo>
                          <a:pt x="1226" y="134"/>
                        </a:lnTo>
                        <a:lnTo>
                          <a:pt x="1256" y="156"/>
                        </a:lnTo>
                        <a:lnTo>
                          <a:pt x="1286" y="180"/>
                        </a:lnTo>
                        <a:lnTo>
                          <a:pt x="1315" y="204"/>
                        </a:lnTo>
                        <a:lnTo>
                          <a:pt x="1342" y="231"/>
                        </a:lnTo>
                        <a:lnTo>
                          <a:pt x="1369" y="258"/>
                        </a:lnTo>
                        <a:lnTo>
                          <a:pt x="1393" y="287"/>
                        </a:lnTo>
                        <a:lnTo>
                          <a:pt x="1416" y="316"/>
                        </a:lnTo>
                        <a:lnTo>
                          <a:pt x="1438" y="347"/>
                        </a:lnTo>
                        <a:lnTo>
                          <a:pt x="1459" y="379"/>
                        </a:lnTo>
                        <a:lnTo>
                          <a:pt x="1478" y="412"/>
                        </a:lnTo>
                        <a:lnTo>
                          <a:pt x="1495" y="446"/>
                        </a:lnTo>
                        <a:lnTo>
                          <a:pt x="1510" y="480"/>
                        </a:lnTo>
                        <a:lnTo>
                          <a:pt x="1525" y="516"/>
                        </a:lnTo>
                        <a:lnTo>
                          <a:pt x="1537" y="553"/>
                        </a:lnTo>
                        <a:lnTo>
                          <a:pt x="1548" y="590"/>
                        </a:lnTo>
                        <a:lnTo>
                          <a:pt x="1557" y="628"/>
                        </a:lnTo>
                        <a:lnTo>
                          <a:pt x="1564" y="666"/>
                        </a:lnTo>
                        <a:lnTo>
                          <a:pt x="1568" y="706"/>
                        </a:lnTo>
                        <a:lnTo>
                          <a:pt x="1571" y="745"/>
                        </a:lnTo>
                        <a:lnTo>
                          <a:pt x="1572" y="787"/>
                        </a:lnTo>
                        <a:lnTo>
                          <a:pt x="1572" y="787"/>
                        </a:lnTo>
                        <a:lnTo>
                          <a:pt x="1571" y="827"/>
                        </a:lnTo>
                        <a:lnTo>
                          <a:pt x="1568" y="867"/>
                        </a:lnTo>
                        <a:lnTo>
                          <a:pt x="1564" y="906"/>
                        </a:lnTo>
                        <a:lnTo>
                          <a:pt x="1557" y="944"/>
                        </a:lnTo>
                        <a:lnTo>
                          <a:pt x="1548" y="982"/>
                        </a:lnTo>
                        <a:lnTo>
                          <a:pt x="1537" y="1020"/>
                        </a:lnTo>
                        <a:lnTo>
                          <a:pt x="1525" y="1056"/>
                        </a:lnTo>
                        <a:lnTo>
                          <a:pt x="1510" y="1092"/>
                        </a:lnTo>
                        <a:lnTo>
                          <a:pt x="1495" y="1127"/>
                        </a:lnTo>
                        <a:lnTo>
                          <a:pt x="1478" y="1161"/>
                        </a:lnTo>
                        <a:lnTo>
                          <a:pt x="1459" y="1194"/>
                        </a:lnTo>
                        <a:lnTo>
                          <a:pt x="1438" y="1226"/>
                        </a:lnTo>
                        <a:lnTo>
                          <a:pt x="1416" y="1256"/>
                        </a:lnTo>
                        <a:lnTo>
                          <a:pt x="1393" y="1285"/>
                        </a:lnTo>
                        <a:lnTo>
                          <a:pt x="1369" y="1314"/>
                        </a:lnTo>
                        <a:lnTo>
                          <a:pt x="1342" y="1342"/>
                        </a:lnTo>
                        <a:lnTo>
                          <a:pt x="1315" y="1368"/>
                        </a:lnTo>
                        <a:lnTo>
                          <a:pt x="1286" y="1392"/>
                        </a:lnTo>
                        <a:lnTo>
                          <a:pt x="1256" y="1416"/>
                        </a:lnTo>
                        <a:lnTo>
                          <a:pt x="1226" y="1438"/>
                        </a:lnTo>
                        <a:lnTo>
                          <a:pt x="1194" y="1458"/>
                        </a:lnTo>
                        <a:lnTo>
                          <a:pt x="1161" y="1477"/>
                        </a:lnTo>
                        <a:lnTo>
                          <a:pt x="1127" y="1494"/>
                        </a:lnTo>
                        <a:lnTo>
                          <a:pt x="1092" y="1511"/>
                        </a:lnTo>
                        <a:lnTo>
                          <a:pt x="1057" y="1524"/>
                        </a:lnTo>
                        <a:lnTo>
                          <a:pt x="1020" y="1536"/>
                        </a:lnTo>
                        <a:lnTo>
                          <a:pt x="983" y="1548"/>
                        </a:lnTo>
                        <a:lnTo>
                          <a:pt x="945" y="1556"/>
                        </a:lnTo>
                        <a:lnTo>
                          <a:pt x="906" y="1563"/>
                        </a:lnTo>
                        <a:lnTo>
                          <a:pt x="867" y="1568"/>
                        </a:lnTo>
                        <a:lnTo>
                          <a:pt x="826" y="1571"/>
                        </a:lnTo>
                        <a:lnTo>
                          <a:pt x="786" y="1572"/>
                        </a:lnTo>
                        <a:lnTo>
                          <a:pt x="786" y="1572"/>
                        </a:lnTo>
                        <a:close/>
                      </a:path>
                    </a:pathLst>
                  </a:custGeom>
                  <a:solidFill>
                    <a:srgbClr val="B7B7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0" name="Freeform 32"/>
                  <p:cNvSpPr>
                    <a:spLocks/>
                  </p:cNvSpPr>
                  <p:nvPr userDrawn="1"/>
                </p:nvSpPr>
                <p:spPr bwMode="auto">
                  <a:xfrm>
                    <a:off x="-1807427" y="-1299780"/>
                    <a:ext cx="1139825" cy="1141413"/>
                  </a:xfrm>
                  <a:custGeom>
                    <a:avLst/>
                    <a:gdLst>
                      <a:gd name="T0" fmla="*/ 1436 w 1436"/>
                      <a:gd name="T1" fmla="*/ 756 h 1437"/>
                      <a:gd name="T2" fmla="*/ 1422 w 1436"/>
                      <a:gd name="T3" fmla="*/ 863 h 1437"/>
                      <a:gd name="T4" fmla="*/ 1393 w 1436"/>
                      <a:gd name="T5" fmla="*/ 965 h 1437"/>
                      <a:gd name="T6" fmla="*/ 1350 w 1436"/>
                      <a:gd name="T7" fmla="*/ 1060 h 1437"/>
                      <a:gd name="T8" fmla="*/ 1294 w 1436"/>
                      <a:gd name="T9" fmla="*/ 1147 h 1437"/>
                      <a:gd name="T10" fmla="*/ 1226 w 1436"/>
                      <a:gd name="T11" fmla="*/ 1226 h 1437"/>
                      <a:gd name="T12" fmla="*/ 1148 w 1436"/>
                      <a:gd name="T13" fmla="*/ 1294 h 1437"/>
                      <a:gd name="T14" fmla="*/ 1061 w 1436"/>
                      <a:gd name="T15" fmla="*/ 1350 h 1437"/>
                      <a:gd name="T16" fmla="*/ 965 w 1436"/>
                      <a:gd name="T17" fmla="*/ 1392 h 1437"/>
                      <a:gd name="T18" fmla="*/ 863 w 1436"/>
                      <a:gd name="T19" fmla="*/ 1422 h 1437"/>
                      <a:gd name="T20" fmla="*/ 755 w 1436"/>
                      <a:gd name="T21" fmla="*/ 1436 h 1437"/>
                      <a:gd name="T22" fmla="*/ 681 w 1436"/>
                      <a:gd name="T23" fmla="*/ 1436 h 1437"/>
                      <a:gd name="T24" fmla="*/ 573 w 1436"/>
                      <a:gd name="T25" fmla="*/ 1422 h 1437"/>
                      <a:gd name="T26" fmla="*/ 471 w 1436"/>
                      <a:gd name="T27" fmla="*/ 1392 h 1437"/>
                      <a:gd name="T28" fmla="*/ 376 w 1436"/>
                      <a:gd name="T29" fmla="*/ 1350 h 1437"/>
                      <a:gd name="T30" fmla="*/ 288 w 1436"/>
                      <a:gd name="T31" fmla="*/ 1294 h 1437"/>
                      <a:gd name="T32" fmla="*/ 210 w 1436"/>
                      <a:gd name="T33" fmla="*/ 1226 h 1437"/>
                      <a:gd name="T34" fmla="*/ 143 w 1436"/>
                      <a:gd name="T35" fmla="*/ 1147 h 1437"/>
                      <a:gd name="T36" fmla="*/ 87 w 1436"/>
                      <a:gd name="T37" fmla="*/ 1060 h 1437"/>
                      <a:gd name="T38" fmla="*/ 44 w 1436"/>
                      <a:gd name="T39" fmla="*/ 965 h 1437"/>
                      <a:gd name="T40" fmla="*/ 15 w 1436"/>
                      <a:gd name="T41" fmla="*/ 863 h 1437"/>
                      <a:gd name="T42" fmla="*/ 1 w 1436"/>
                      <a:gd name="T43" fmla="*/ 756 h 1437"/>
                      <a:gd name="T44" fmla="*/ 1 w 1436"/>
                      <a:gd name="T45" fmla="*/ 682 h 1437"/>
                      <a:gd name="T46" fmla="*/ 15 w 1436"/>
                      <a:gd name="T47" fmla="*/ 574 h 1437"/>
                      <a:gd name="T48" fmla="*/ 44 w 1436"/>
                      <a:gd name="T49" fmla="*/ 472 h 1437"/>
                      <a:gd name="T50" fmla="*/ 87 w 1436"/>
                      <a:gd name="T51" fmla="*/ 376 h 1437"/>
                      <a:gd name="T52" fmla="*/ 143 w 1436"/>
                      <a:gd name="T53" fmla="*/ 289 h 1437"/>
                      <a:gd name="T54" fmla="*/ 210 w 1436"/>
                      <a:gd name="T55" fmla="*/ 210 h 1437"/>
                      <a:gd name="T56" fmla="*/ 288 w 1436"/>
                      <a:gd name="T57" fmla="*/ 143 h 1437"/>
                      <a:gd name="T58" fmla="*/ 376 w 1436"/>
                      <a:gd name="T59" fmla="*/ 87 h 1437"/>
                      <a:gd name="T60" fmla="*/ 471 w 1436"/>
                      <a:gd name="T61" fmla="*/ 44 h 1437"/>
                      <a:gd name="T62" fmla="*/ 573 w 1436"/>
                      <a:gd name="T63" fmla="*/ 15 h 1437"/>
                      <a:gd name="T64" fmla="*/ 681 w 1436"/>
                      <a:gd name="T65" fmla="*/ 1 h 1437"/>
                      <a:gd name="T66" fmla="*/ 755 w 1436"/>
                      <a:gd name="T67" fmla="*/ 1 h 1437"/>
                      <a:gd name="T68" fmla="*/ 863 w 1436"/>
                      <a:gd name="T69" fmla="*/ 15 h 1437"/>
                      <a:gd name="T70" fmla="*/ 965 w 1436"/>
                      <a:gd name="T71" fmla="*/ 44 h 1437"/>
                      <a:gd name="T72" fmla="*/ 1061 w 1436"/>
                      <a:gd name="T73" fmla="*/ 87 h 1437"/>
                      <a:gd name="T74" fmla="*/ 1148 w 1436"/>
                      <a:gd name="T75" fmla="*/ 143 h 1437"/>
                      <a:gd name="T76" fmla="*/ 1226 w 1436"/>
                      <a:gd name="T77" fmla="*/ 210 h 1437"/>
                      <a:gd name="T78" fmla="*/ 1294 w 1436"/>
                      <a:gd name="T79" fmla="*/ 289 h 1437"/>
                      <a:gd name="T80" fmla="*/ 1350 w 1436"/>
                      <a:gd name="T81" fmla="*/ 376 h 1437"/>
                      <a:gd name="T82" fmla="*/ 1393 w 1436"/>
                      <a:gd name="T83" fmla="*/ 472 h 1437"/>
                      <a:gd name="T84" fmla="*/ 1422 w 1436"/>
                      <a:gd name="T85" fmla="*/ 574 h 1437"/>
                      <a:gd name="T86" fmla="*/ 1436 w 1436"/>
                      <a:gd name="T87" fmla="*/ 682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36" h="1437">
                        <a:moveTo>
                          <a:pt x="1436" y="719"/>
                        </a:moveTo>
                        <a:lnTo>
                          <a:pt x="1436" y="719"/>
                        </a:lnTo>
                        <a:lnTo>
                          <a:pt x="1436" y="756"/>
                        </a:lnTo>
                        <a:lnTo>
                          <a:pt x="1433" y="792"/>
                        </a:lnTo>
                        <a:lnTo>
                          <a:pt x="1428" y="828"/>
                        </a:lnTo>
                        <a:lnTo>
                          <a:pt x="1422" y="863"/>
                        </a:lnTo>
                        <a:lnTo>
                          <a:pt x="1414" y="898"/>
                        </a:lnTo>
                        <a:lnTo>
                          <a:pt x="1404" y="931"/>
                        </a:lnTo>
                        <a:lnTo>
                          <a:pt x="1393" y="965"/>
                        </a:lnTo>
                        <a:lnTo>
                          <a:pt x="1381" y="997"/>
                        </a:lnTo>
                        <a:lnTo>
                          <a:pt x="1366" y="1029"/>
                        </a:lnTo>
                        <a:lnTo>
                          <a:pt x="1350" y="1060"/>
                        </a:lnTo>
                        <a:lnTo>
                          <a:pt x="1332" y="1091"/>
                        </a:lnTo>
                        <a:lnTo>
                          <a:pt x="1314" y="1120"/>
                        </a:lnTo>
                        <a:lnTo>
                          <a:pt x="1294" y="1147"/>
                        </a:lnTo>
                        <a:lnTo>
                          <a:pt x="1273" y="1175"/>
                        </a:lnTo>
                        <a:lnTo>
                          <a:pt x="1250" y="1201"/>
                        </a:lnTo>
                        <a:lnTo>
                          <a:pt x="1226" y="1226"/>
                        </a:lnTo>
                        <a:lnTo>
                          <a:pt x="1202" y="1249"/>
                        </a:lnTo>
                        <a:lnTo>
                          <a:pt x="1175" y="1272"/>
                        </a:lnTo>
                        <a:lnTo>
                          <a:pt x="1148" y="1294"/>
                        </a:lnTo>
                        <a:lnTo>
                          <a:pt x="1121" y="1314"/>
                        </a:lnTo>
                        <a:lnTo>
                          <a:pt x="1091" y="1333"/>
                        </a:lnTo>
                        <a:lnTo>
                          <a:pt x="1061" y="1350"/>
                        </a:lnTo>
                        <a:lnTo>
                          <a:pt x="1030" y="1366"/>
                        </a:lnTo>
                        <a:lnTo>
                          <a:pt x="998" y="1380"/>
                        </a:lnTo>
                        <a:lnTo>
                          <a:pt x="965" y="1392"/>
                        </a:lnTo>
                        <a:lnTo>
                          <a:pt x="932" y="1404"/>
                        </a:lnTo>
                        <a:lnTo>
                          <a:pt x="898" y="1414"/>
                        </a:lnTo>
                        <a:lnTo>
                          <a:pt x="863" y="1422"/>
                        </a:lnTo>
                        <a:lnTo>
                          <a:pt x="828" y="1428"/>
                        </a:lnTo>
                        <a:lnTo>
                          <a:pt x="792" y="1432"/>
                        </a:lnTo>
                        <a:lnTo>
                          <a:pt x="755" y="1436"/>
                        </a:lnTo>
                        <a:lnTo>
                          <a:pt x="718" y="1437"/>
                        </a:lnTo>
                        <a:lnTo>
                          <a:pt x="718" y="1437"/>
                        </a:lnTo>
                        <a:lnTo>
                          <a:pt x="681" y="1436"/>
                        </a:lnTo>
                        <a:lnTo>
                          <a:pt x="645" y="1432"/>
                        </a:lnTo>
                        <a:lnTo>
                          <a:pt x="609" y="1428"/>
                        </a:lnTo>
                        <a:lnTo>
                          <a:pt x="573" y="1422"/>
                        </a:lnTo>
                        <a:lnTo>
                          <a:pt x="539" y="1414"/>
                        </a:lnTo>
                        <a:lnTo>
                          <a:pt x="505" y="1404"/>
                        </a:lnTo>
                        <a:lnTo>
                          <a:pt x="471" y="1392"/>
                        </a:lnTo>
                        <a:lnTo>
                          <a:pt x="439" y="1380"/>
                        </a:lnTo>
                        <a:lnTo>
                          <a:pt x="407" y="1366"/>
                        </a:lnTo>
                        <a:lnTo>
                          <a:pt x="376" y="1350"/>
                        </a:lnTo>
                        <a:lnTo>
                          <a:pt x="346" y="1333"/>
                        </a:lnTo>
                        <a:lnTo>
                          <a:pt x="317" y="1314"/>
                        </a:lnTo>
                        <a:lnTo>
                          <a:pt x="288" y="1294"/>
                        </a:lnTo>
                        <a:lnTo>
                          <a:pt x="262" y="1272"/>
                        </a:lnTo>
                        <a:lnTo>
                          <a:pt x="236" y="1249"/>
                        </a:lnTo>
                        <a:lnTo>
                          <a:pt x="210" y="1226"/>
                        </a:lnTo>
                        <a:lnTo>
                          <a:pt x="186" y="1201"/>
                        </a:lnTo>
                        <a:lnTo>
                          <a:pt x="164" y="1175"/>
                        </a:lnTo>
                        <a:lnTo>
                          <a:pt x="143" y="1147"/>
                        </a:lnTo>
                        <a:lnTo>
                          <a:pt x="123" y="1120"/>
                        </a:lnTo>
                        <a:lnTo>
                          <a:pt x="104" y="1091"/>
                        </a:lnTo>
                        <a:lnTo>
                          <a:pt x="87" y="1060"/>
                        </a:lnTo>
                        <a:lnTo>
                          <a:pt x="71" y="1029"/>
                        </a:lnTo>
                        <a:lnTo>
                          <a:pt x="57" y="997"/>
                        </a:lnTo>
                        <a:lnTo>
                          <a:pt x="44" y="965"/>
                        </a:lnTo>
                        <a:lnTo>
                          <a:pt x="32" y="931"/>
                        </a:lnTo>
                        <a:lnTo>
                          <a:pt x="23" y="898"/>
                        </a:lnTo>
                        <a:lnTo>
                          <a:pt x="15" y="863"/>
                        </a:lnTo>
                        <a:lnTo>
                          <a:pt x="9" y="828"/>
                        </a:lnTo>
                        <a:lnTo>
                          <a:pt x="4" y="792"/>
                        </a:lnTo>
                        <a:lnTo>
                          <a:pt x="1" y="756"/>
                        </a:lnTo>
                        <a:lnTo>
                          <a:pt x="0" y="719"/>
                        </a:lnTo>
                        <a:lnTo>
                          <a:pt x="0" y="719"/>
                        </a:lnTo>
                        <a:lnTo>
                          <a:pt x="1" y="682"/>
                        </a:lnTo>
                        <a:lnTo>
                          <a:pt x="4" y="644"/>
                        </a:lnTo>
                        <a:lnTo>
                          <a:pt x="9" y="608"/>
                        </a:lnTo>
                        <a:lnTo>
                          <a:pt x="15" y="574"/>
                        </a:lnTo>
                        <a:lnTo>
                          <a:pt x="23" y="539"/>
                        </a:lnTo>
                        <a:lnTo>
                          <a:pt x="32" y="505"/>
                        </a:lnTo>
                        <a:lnTo>
                          <a:pt x="44" y="472"/>
                        </a:lnTo>
                        <a:lnTo>
                          <a:pt x="57" y="439"/>
                        </a:lnTo>
                        <a:lnTo>
                          <a:pt x="71" y="407"/>
                        </a:lnTo>
                        <a:lnTo>
                          <a:pt x="87" y="376"/>
                        </a:lnTo>
                        <a:lnTo>
                          <a:pt x="104" y="346"/>
                        </a:lnTo>
                        <a:lnTo>
                          <a:pt x="123" y="316"/>
                        </a:lnTo>
                        <a:lnTo>
                          <a:pt x="143" y="289"/>
                        </a:lnTo>
                        <a:lnTo>
                          <a:pt x="164" y="261"/>
                        </a:lnTo>
                        <a:lnTo>
                          <a:pt x="186" y="235"/>
                        </a:lnTo>
                        <a:lnTo>
                          <a:pt x="210" y="210"/>
                        </a:lnTo>
                        <a:lnTo>
                          <a:pt x="236" y="187"/>
                        </a:lnTo>
                        <a:lnTo>
                          <a:pt x="262" y="164"/>
                        </a:lnTo>
                        <a:lnTo>
                          <a:pt x="288" y="143"/>
                        </a:lnTo>
                        <a:lnTo>
                          <a:pt x="317" y="123"/>
                        </a:lnTo>
                        <a:lnTo>
                          <a:pt x="346" y="103"/>
                        </a:lnTo>
                        <a:lnTo>
                          <a:pt x="376" y="87"/>
                        </a:lnTo>
                        <a:lnTo>
                          <a:pt x="407" y="70"/>
                        </a:lnTo>
                        <a:lnTo>
                          <a:pt x="439" y="56"/>
                        </a:lnTo>
                        <a:lnTo>
                          <a:pt x="471" y="44"/>
                        </a:lnTo>
                        <a:lnTo>
                          <a:pt x="505" y="32"/>
                        </a:lnTo>
                        <a:lnTo>
                          <a:pt x="539" y="22"/>
                        </a:lnTo>
                        <a:lnTo>
                          <a:pt x="573" y="15"/>
                        </a:lnTo>
                        <a:lnTo>
                          <a:pt x="609" y="8"/>
                        </a:lnTo>
                        <a:lnTo>
                          <a:pt x="645" y="4"/>
                        </a:lnTo>
                        <a:lnTo>
                          <a:pt x="681" y="1"/>
                        </a:lnTo>
                        <a:lnTo>
                          <a:pt x="718" y="0"/>
                        </a:lnTo>
                        <a:lnTo>
                          <a:pt x="718" y="0"/>
                        </a:lnTo>
                        <a:lnTo>
                          <a:pt x="755" y="1"/>
                        </a:lnTo>
                        <a:lnTo>
                          <a:pt x="792" y="4"/>
                        </a:lnTo>
                        <a:lnTo>
                          <a:pt x="828" y="8"/>
                        </a:lnTo>
                        <a:lnTo>
                          <a:pt x="863" y="15"/>
                        </a:lnTo>
                        <a:lnTo>
                          <a:pt x="898" y="22"/>
                        </a:lnTo>
                        <a:lnTo>
                          <a:pt x="932" y="32"/>
                        </a:lnTo>
                        <a:lnTo>
                          <a:pt x="965" y="44"/>
                        </a:lnTo>
                        <a:lnTo>
                          <a:pt x="998" y="56"/>
                        </a:lnTo>
                        <a:lnTo>
                          <a:pt x="1030" y="70"/>
                        </a:lnTo>
                        <a:lnTo>
                          <a:pt x="1061" y="87"/>
                        </a:lnTo>
                        <a:lnTo>
                          <a:pt x="1091" y="103"/>
                        </a:lnTo>
                        <a:lnTo>
                          <a:pt x="1121" y="123"/>
                        </a:lnTo>
                        <a:lnTo>
                          <a:pt x="1148" y="143"/>
                        </a:lnTo>
                        <a:lnTo>
                          <a:pt x="1175" y="164"/>
                        </a:lnTo>
                        <a:lnTo>
                          <a:pt x="1202" y="187"/>
                        </a:lnTo>
                        <a:lnTo>
                          <a:pt x="1226" y="210"/>
                        </a:lnTo>
                        <a:lnTo>
                          <a:pt x="1250" y="235"/>
                        </a:lnTo>
                        <a:lnTo>
                          <a:pt x="1273" y="261"/>
                        </a:lnTo>
                        <a:lnTo>
                          <a:pt x="1294" y="289"/>
                        </a:lnTo>
                        <a:lnTo>
                          <a:pt x="1314" y="316"/>
                        </a:lnTo>
                        <a:lnTo>
                          <a:pt x="1332" y="346"/>
                        </a:lnTo>
                        <a:lnTo>
                          <a:pt x="1350" y="376"/>
                        </a:lnTo>
                        <a:lnTo>
                          <a:pt x="1366" y="407"/>
                        </a:lnTo>
                        <a:lnTo>
                          <a:pt x="1381" y="439"/>
                        </a:lnTo>
                        <a:lnTo>
                          <a:pt x="1393" y="472"/>
                        </a:lnTo>
                        <a:lnTo>
                          <a:pt x="1404" y="505"/>
                        </a:lnTo>
                        <a:lnTo>
                          <a:pt x="1414" y="539"/>
                        </a:lnTo>
                        <a:lnTo>
                          <a:pt x="1422" y="574"/>
                        </a:lnTo>
                        <a:lnTo>
                          <a:pt x="1428" y="608"/>
                        </a:lnTo>
                        <a:lnTo>
                          <a:pt x="1433" y="644"/>
                        </a:lnTo>
                        <a:lnTo>
                          <a:pt x="1436" y="682"/>
                        </a:lnTo>
                        <a:lnTo>
                          <a:pt x="1436" y="719"/>
                        </a:lnTo>
                        <a:lnTo>
                          <a:pt x="1436" y="719"/>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1" name="Freeform 33"/>
                  <p:cNvSpPr>
                    <a:spLocks/>
                  </p:cNvSpPr>
                  <p:nvPr userDrawn="1"/>
                </p:nvSpPr>
                <p:spPr bwMode="auto">
                  <a:xfrm>
                    <a:off x="-1688364" y="-1180718"/>
                    <a:ext cx="901700" cy="903288"/>
                  </a:xfrm>
                  <a:custGeom>
                    <a:avLst/>
                    <a:gdLst>
                      <a:gd name="T0" fmla="*/ 1136 w 1136"/>
                      <a:gd name="T1" fmla="*/ 597 h 1136"/>
                      <a:gd name="T2" fmla="*/ 1125 w 1136"/>
                      <a:gd name="T3" fmla="*/ 683 h 1136"/>
                      <a:gd name="T4" fmla="*/ 1102 w 1136"/>
                      <a:gd name="T5" fmla="*/ 763 h 1136"/>
                      <a:gd name="T6" fmla="*/ 1068 w 1136"/>
                      <a:gd name="T7" fmla="*/ 839 h 1136"/>
                      <a:gd name="T8" fmla="*/ 1024 w 1136"/>
                      <a:gd name="T9" fmla="*/ 908 h 1136"/>
                      <a:gd name="T10" fmla="*/ 971 w 1136"/>
                      <a:gd name="T11" fmla="*/ 970 h 1136"/>
                      <a:gd name="T12" fmla="*/ 909 w 1136"/>
                      <a:gd name="T13" fmla="*/ 1023 h 1136"/>
                      <a:gd name="T14" fmla="*/ 839 w 1136"/>
                      <a:gd name="T15" fmla="*/ 1067 h 1136"/>
                      <a:gd name="T16" fmla="*/ 764 w 1136"/>
                      <a:gd name="T17" fmla="*/ 1101 h 1136"/>
                      <a:gd name="T18" fmla="*/ 682 w 1136"/>
                      <a:gd name="T19" fmla="*/ 1125 h 1136"/>
                      <a:gd name="T20" fmla="*/ 598 w 1136"/>
                      <a:gd name="T21" fmla="*/ 1135 h 1136"/>
                      <a:gd name="T22" fmla="*/ 540 w 1136"/>
                      <a:gd name="T23" fmla="*/ 1135 h 1136"/>
                      <a:gd name="T24" fmla="*/ 454 w 1136"/>
                      <a:gd name="T25" fmla="*/ 1125 h 1136"/>
                      <a:gd name="T26" fmla="*/ 373 w 1136"/>
                      <a:gd name="T27" fmla="*/ 1101 h 1136"/>
                      <a:gd name="T28" fmla="*/ 298 w 1136"/>
                      <a:gd name="T29" fmla="*/ 1067 h 1136"/>
                      <a:gd name="T30" fmla="*/ 229 w 1136"/>
                      <a:gd name="T31" fmla="*/ 1023 h 1136"/>
                      <a:gd name="T32" fmla="*/ 167 w 1136"/>
                      <a:gd name="T33" fmla="*/ 970 h 1136"/>
                      <a:gd name="T34" fmla="*/ 114 w 1136"/>
                      <a:gd name="T35" fmla="*/ 908 h 1136"/>
                      <a:gd name="T36" fmla="*/ 69 w 1136"/>
                      <a:gd name="T37" fmla="*/ 839 h 1136"/>
                      <a:gd name="T38" fmla="*/ 35 w 1136"/>
                      <a:gd name="T39" fmla="*/ 763 h 1136"/>
                      <a:gd name="T40" fmla="*/ 12 w 1136"/>
                      <a:gd name="T41" fmla="*/ 683 h 1136"/>
                      <a:gd name="T42" fmla="*/ 2 w 1136"/>
                      <a:gd name="T43" fmla="*/ 597 h 1136"/>
                      <a:gd name="T44" fmla="*/ 2 w 1136"/>
                      <a:gd name="T45" fmla="*/ 539 h 1136"/>
                      <a:gd name="T46" fmla="*/ 12 w 1136"/>
                      <a:gd name="T47" fmla="*/ 453 h 1136"/>
                      <a:gd name="T48" fmla="*/ 35 w 1136"/>
                      <a:gd name="T49" fmla="*/ 373 h 1136"/>
                      <a:gd name="T50" fmla="*/ 69 w 1136"/>
                      <a:gd name="T51" fmla="*/ 297 h 1136"/>
                      <a:gd name="T52" fmla="*/ 114 w 1136"/>
                      <a:gd name="T53" fmla="*/ 228 h 1136"/>
                      <a:gd name="T54" fmla="*/ 167 w 1136"/>
                      <a:gd name="T55" fmla="*/ 166 h 1136"/>
                      <a:gd name="T56" fmla="*/ 229 w 1136"/>
                      <a:gd name="T57" fmla="*/ 113 h 1136"/>
                      <a:gd name="T58" fmla="*/ 298 w 1136"/>
                      <a:gd name="T59" fmla="*/ 69 h 1136"/>
                      <a:gd name="T60" fmla="*/ 373 w 1136"/>
                      <a:gd name="T61" fmla="*/ 35 h 1136"/>
                      <a:gd name="T62" fmla="*/ 454 w 1136"/>
                      <a:gd name="T63" fmla="*/ 12 h 1136"/>
                      <a:gd name="T64" fmla="*/ 540 w 1136"/>
                      <a:gd name="T65" fmla="*/ 1 h 1136"/>
                      <a:gd name="T66" fmla="*/ 598 w 1136"/>
                      <a:gd name="T67" fmla="*/ 1 h 1136"/>
                      <a:gd name="T68" fmla="*/ 682 w 1136"/>
                      <a:gd name="T69" fmla="*/ 12 h 1136"/>
                      <a:gd name="T70" fmla="*/ 764 w 1136"/>
                      <a:gd name="T71" fmla="*/ 35 h 1136"/>
                      <a:gd name="T72" fmla="*/ 839 w 1136"/>
                      <a:gd name="T73" fmla="*/ 69 h 1136"/>
                      <a:gd name="T74" fmla="*/ 909 w 1136"/>
                      <a:gd name="T75" fmla="*/ 113 h 1136"/>
                      <a:gd name="T76" fmla="*/ 971 w 1136"/>
                      <a:gd name="T77" fmla="*/ 166 h 1136"/>
                      <a:gd name="T78" fmla="*/ 1024 w 1136"/>
                      <a:gd name="T79" fmla="*/ 228 h 1136"/>
                      <a:gd name="T80" fmla="*/ 1068 w 1136"/>
                      <a:gd name="T81" fmla="*/ 297 h 1136"/>
                      <a:gd name="T82" fmla="*/ 1102 w 1136"/>
                      <a:gd name="T83" fmla="*/ 373 h 1136"/>
                      <a:gd name="T84" fmla="*/ 1125 w 1136"/>
                      <a:gd name="T85" fmla="*/ 453 h 1136"/>
                      <a:gd name="T86" fmla="*/ 1136 w 1136"/>
                      <a:gd name="T87" fmla="*/ 539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36" h="1136">
                        <a:moveTo>
                          <a:pt x="1136" y="569"/>
                        </a:moveTo>
                        <a:lnTo>
                          <a:pt x="1136" y="569"/>
                        </a:lnTo>
                        <a:lnTo>
                          <a:pt x="1136" y="597"/>
                        </a:lnTo>
                        <a:lnTo>
                          <a:pt x="1134" y="626"/>
                        </a:lnTo>
                        <a:lnTo>
                          <a:pt x="1130" y="655"/>
                        </a:lnTo>
                        <a:lnTo>
                          <a:pt x="1125" y="683"/>
                        </a:lnTo>
                        <a:lnTo>
                          <a:pt x="1119" y="710"/>
                        </a:lnTo>
                        <a:lnTo>
                          <a:pt x="1111" y="737"/>
                        </a:lnTo>
                        <a:lnTo>
                          <a:pt x="1102" y="763"/>
                        </a:lnTo>
                        <a:lnTo>
                          <a:pt x="1092" y="790"/>
                        </a:lnTo>
                        <a:lnTo>
                          <a:pt x="1081" y="814"/>
                        </a:lnTo>
                        <a:lnTo>
                          <a:pt x="1068" y="839"/>
                        </a:lnTo>
                        <a:lnTo>
                          <a:pt x="1054" y="863"/>
                        </a:lnTo>
                        <a:lnTo>
                          <a:pt x="1039" y="885"/>
                        </a:lnTo>
                        <a:lnTo>
                          <a:pt x="1024" y="908"/>
                        </a:lnTo>
                        <a:lnTo>
                          <a:pt x="1007" y="930"/>
                        </a:lnTo>
                        <a:lnTo>
                          <a:pt x="989" y="950"/>
                        </a:lnTo>
                        <a:lnTo>
                          <a:pt x="971" y="970"/>
                        </a:lnTo>
                        <a:lnTo>
                          <a:pt x="950" y="988"/>
                        </a:lnTo>
                        <a:lnTo>
                          <a:pt x="929" y="1007"/>
                        </a:lnTo>
                        <a:lnTo>
                          <a:pt x="909" y="1023"/>
                        </a:lnTo>
                        <a:lnTo>
                          <a:pt x="886" y="1039"/>
                        </a:lnTo>
                        <a:lnTo>
                          <a:pt x="863" y="1054"/>
                        </a:lnTo>
                        <a:lnTo>
                          <a:pt x="839" y="1067"/>
                        </a:lnTo>
                        <a:lnTo>
                          <a:pt x="815" y="1080"/>
                        </a:lnTo>
                        <a:lnTo>
                          <a:pt x="789" y="1091"/>
                        </a:lnTo>
                        <a:lnTo>
                          <a:pt x="764" y="1101"/>
                        </a:lnTo>
                        <a:lnTo>
                          <a:pt x="737" y="1111"/>
                        </a:lnTo>
                        <a:lnTo>
                          <a:pt x="710" y="1118"/>
                        </a:lnTo>
                        <a:lnTo>
                          <a:pt x="682" y="1125"/>
                        </a:lnTo>
                        <a:lnTo>
                          <a:pt x="655" y="1129"/>
                        </a:lnTo>
                        <a:lnTo>
                          <a:pt x="627" y="1133"/>
                        </a:lnTo>
                        <a:lnTo>
                          <a:pt x="598" y="1135"/>
                        </a:lnTo>
                        <a:lnTo>
                          <a:pt x="568" y="1136"/>
                        </a:lnTo>
                        <a:lnTo>
                          <a:pt x="568" y="1136"/>
                        </a:lnTo>
                        <a:lnTo>
                          <a:pt x="540" y="1135"/>
                        </a:lnTo>
                        <a:lnTo>
                          <a:pt x="511" y="1133"/>
                        </a:lnTo>
                        <a:lnTo>
                          <a:pt x="482" y="1129"/>
                        </a:lnTo>
                        <a:lnTo>
                          <a:pt x="454" y="1125"/>
                        </a:lnTo>
                        <a:lnTo>
                          <a:pt x="426" y="1118"/>
                        </a:lnTo>
                        <a:lnTo>
                          <a:pt x="400" y="1111"/>
                        </a:lnTo>
                        <a:lnTo>
                          <a:pt x="373" y="1101"/>
                        </a:lnTo>
                        <a:lnTo>
                          <a:pt x="347" y="1091"/>
                        </a:lnTo>
                        <a:lnTo>
                          <a:pt x="322" y="1080"/>
                        </a:lnTo>
                        <a:lnTo>
                          <a:pt x="298" y="1067"/>
                        </a:lnTo>
                        <a:lnTo>
                          <a:pt x="274" y="1054"/>
                        </a:lnTo>
                        <a:lnTo>
                          <a:pt x="250" y="1039"/>
                        </a:lnTo>
                        <a:lnTo>
                          <a:pt x="229" y="1023"/>
                        </a:lnTo>
                        <a:lnTo>
                          <a:pt x="207" y="1007"/>
                        </a:lnTo>
                        <a:lnTo>
                          <a:pt x="187" y="988"/>
                        </a:lnTo>
                        <a:lnTo>
                          <a:pt x="167" y="970"/>
                        </a:lnTo>
                        <a:lnTo>
                          <a:pt x="148" y="950"/>
                        </a:lnTo>
                        <a:lnTo>
                          <a:pt x="130" y="930"/>
                        </a:lnTo>
                        <a:lnTo>
                          <a:pt x="114" y="908"/>
                        </a:lnTo>
                        <a:lnTo>
                          <a:pt x="97" y="885"/>
                        </a:lnTo>
                        <a:lnTo>
                          <a:pt x="83" y="863"/>
                        </a:lnTo>
                        <a:lnTo>
                          <a:pt x="69" y="839"/>
                        </a:lnTo>
                        <a:lnTo>
                          <a:pt x="56" y="814"/>
                        </a:lnTo>
                        <a:lnTo>
                          <a:pt x="45" y="790"/>
                        </a:lnTo>
                        <a:lnTo>
                          <a:pt x="35" y="763"/>
                        </a:lnTo>
                        <a:lnTo>
                          <a:pt x="26" y="737"/>
                        </a:lnTo>
                        <a:lnTo>
                          <a:pt x="18" y="710"/>
                        </a:lnTo>
                        <a:lnTo>
                          <a:pt x="12" y="683"/>
                        </a:lnTo>
                        <a:lnTo>
                          <a:pt x="7" y="655"/>
                        </a:lnTo>
                        <a:lnTo>
                          <a:pt x="4" y="626"/>
                        </a:lnTo>
                        <a:lnTo>
                          <a:pt x="2" y="597"/>
                        </a:lnTo>
                        <a:lnTo>
                          <a:pt x="0" y="569"/>
                        </a:lnTo>
                        <a:lnTo>
                          <a:pt x="0" y="569"/>
                        </a:lnTo>
                        <a:lnTo>
                          <a:pt x="2" y="539"/>
                        </a:lnTo>
                        <a:lnTo>
                          <a:pt x="4" y="510"/>
                        </a:lnTo>
                        <a:lnTo>
                          <a:pt x="7" y="482"/>
                        </a:lnTo>
                        <a:lnTo>
                          <a:pt x="12" y="453"/>
                        </a:lnTo>
                        <a:lnTo>
                          <a:pt x="18" y="427"/>
                        </a:lnTo>
                        <a:lnTo>
                          <a:pt x="26" y="399"/>
                        </a:lnTo>
                        <a:lnTo>
                          <a:pt x="35" y="373"/>
                        </a:lnTo>
                        <a:lnTo>
                          <a:pt x="45" y="347"/>
                        </a:lnTo>
                        <a:lnTo>
                          <a:pt x="56" y="322"/>
                        </a:lnTo>
                        <a:lnTo>
                          <a:pt x="69" y="297"/>
                        </a:lnTo>
                        <a:lnTo>
                          <a:pt x="83" y="273"/>
                        </a:lnTo>
                        <a:lnTo>
                          <a:pt x="97" y="251"/>
                        </a:lnTo>
                        <a:lnTo>
                          <a:pt x="114" y="228"/>
                        </a:lnTo>
                        <a:lnTo>
                          <a:pt x="130" y="206"/>
                        </a:lnTo>
                        <a:lnTo>
                          <a:pt x="148" y="186"/>
                        </a:lnTo>
                        <a:lnTo>
                          <a:pt x="167" y="166"/>
                        </a:lnTo>
                        <a:lnTo>
                          <a:pt x="187" y="148"/>
                        </a:lnTo>
                        <a:lnTo>
                          <a:pt x="207" y="130"/>
                        </a:lnTo>
                        <a:lnTo>
                          <a:pt x="229" y="113"/>
                        </a:lnTo>
                        <a:lnTo>
                          <a:pt x="250" y="97"/>
                        </a:lnTo>
                        <a:lnTo>
                          <a:pt x="274" y="82"/>
                        </a:lnTo>
                        <a:lnTo>
                          <a:pt x="298" y="69"/>
                        </a:lnTo>
                        <a:lnTo>
                          <a:pt x="322" y="56"/>
                        </a:lnTo>
                        <a:lnTo>
                          <a:pt x="347" y="45"/>
                        </a:lnTo>
                        <a:lnTo>
                          <a:pt x="373" y="35"/>
                        </a:lnTo>
                        <a:lnTo>
                          <a:pt x="400" y="25"/>
                        </a:lnTo>
                        <a:lnTo>
                          <a:pt x="426" y="18"/>
                        </a:lnTo>
                        <a:lnTo>
                          <a:pt x="454" y="12"/>
                        </a:lnTo>
                        <a:lnTo>
                          <a:pt x="482" y="7"/>
                        </a:lnTo>
                        <a:lnTo>
                          <a:pt x="511" y="3"/>
                        </a:lnTo>
                        <a:lnTo>
                          <a:pt x="540" y="1"/>
                        </a:lnTo>
                        <a:lnTo>
                          <a:pt x="568" y="0"/>
                        </a:lnTo>
                        <a:lnTo>
                          <a:pt x="568" y="0"/>
                        </a:lnTo>
                        <a:lnTo>
                          <a:pt x="598" y="1"/>
                        </a:lnTo>
                        <a:lnTo>
                          <a:pt x="627" y="3"/>
                        </a:lnTo>
                        <a:lnTo>
                          <a:pt x="655" y="7"/>
                        </a:lnTo>
                        <a:lnTo>
                          <a:pt x="682" y="12"/>
                        </a:lnTo>
                        <a:lnTo>
                          <a:pt x="710" y="18"/>
                        </a:lnTo>
                        <a:lnTo>
                          <a:pt x="737" y="25"/>
                        </a:lnTo>
                        <a:lnTo>
                          <a:pt x="764" y="35"/>
                        </a:lnTo>
                        <a:lnTo>
                          <a:pt x="789" y="45"/>
                        </a:lnTo>
                        <a:lnTo>
                          <a:pt x="815" y="56"/>
                        </a:lnTo>
                        <a:lnTo>
                          <a:pt x="839" y="69"/>
                        </a:lnTo>
                        <a:lnTo>
                          <a:pt x="863" y="82"/>
                        </a:lnTo>
                        <a:lnTo>
                          <a:pt x="886" y="97"/>
                        </a:lnTo>
                        <a:lnTo>
                          <a:pt x="909" y="113"/>
                        </a:lnTo>
                        <a:lnTo>
                          <a:pt x="929" y="130"/>
                        </a:lnTo>
                        <a:lnTo>
                          <a:pt x="950" y="148"/>
                        </a:lnTo>
                        <a:lnTo>
                          <a:pt x="971" y="166"/>
                        </a:lnTo>
                        <a:lnTo>
                          <a:pt x="989" y="186"/>
                        </a:lnTo>
                        <a:lnTo>
                          <a:pt x="1007" y="206"/>
                        </a:lnTo>
                        <a:lnTo>
                          <a:pt x="1024" y="228"/>
                        </a:lnTo>
                        <a:lnTo>
                          <a:pt x="1039" y="251"/>
                        </a:lnTo>
                        <a:lnTo>
                          <a:pt x="1054" y="273"/>
                        </a:lnTo>
                        <a:lnTo>
                          <a:pt x="1068" y="297"/>
                        </a:lnTo>
                        <a:lnTo>
                          <a:pt x="1081" y="322"/>
                        </a:lnTo>
                        <a:lnTo>
                          <a:pt x="1092" y="347"/>
                        </a:lnTo>
                        <a:lnTo>
                          <a:pt x="1102" y="373"/>
                        </a:lnTo>
                        <a:lnTo>
                          <a:pt x="1111" y="399"/>
                        </a:lnTo>
                        <a:lnTo>
                          <a:pt x="1119" y="427"/>
                        </a:lnTo>
                        <a:lnTo>
                          <a:pt x="1125" y="453"/>
                        </a:lnTo>
                        <a:lnTo>
                          <a:pt x="1130" y="482"/>
                        </a:lnTo>
                        <a:lnTo>
                          <a:pt x="1134" y="510"/>
                        </a:lnTo>
                        <a:lnTo>
                          <a:pt x="1136" y="539"/>
                        </a:lnTo>
                        <a:lnTo>
                          <a:pt x="1136" y="569"/>
                        </a:lnTo>
                        <a:lnTo>
                          <a:pt x="1136" y="569"/>
                        </a:lnTo>
                        <a:close/>
                      </a:path>
                    </a:pathLst>
                  </a:custGeom>
                  <a:solidFill>
                    <a:srgbClr val="6DCF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2" name="Freeform 34"/>
                  <p:cNvSpPr>
                    <a:spLocks/>
                  </p:cNvSpPr>
                  <p:nvPr userDrawn="1"/>
                </p:nvSpPr>
                <p:spPr bwMode="auto">
                  <a:xfrm>
                    <a:off x="-1259739" y="-1261680"/>
                    <a:ext cx="44450" cy="44450"/>
                  </a:xfrm>
                  <a:custGeom>
                    <a:avLst/>
                    <a:gdLst>
                      <a:gd name="T0" fmla="*/ 55 w 55"/>
                      <a:gd name="T1" fmla="*/ 28 h 55"/>
                      <a:gd name="T2" fmla="*/ 55 w 55"/>
                      <a:gd name="T3" fmla="*/ 28 h 55"/>
                      <a:gd name="T4" fmla="*/ 54 w 55"/>
                      <a:gd name="T5" fmla="*/ 33 h 55"/>
                      <a:gd name="T6" fmla="*/ 53 w 55"/>
                      <a:gd name="T7" fmla="*/ 39 h 55"/>
                      <a:gd name="T8" fmla="*/ 50 w 55"/>
                      <a:gd name="T9" fmla="*/ 43 h 55"/>
                      <a:gd name="T10" fmla="*/ 47 w 55"/>
                      <a:gd name="T11" fmla="*/ 47 h 55"/>
                      <a:gd name="T12" fmla="*/ 43 w 55"/>
                      <a:gd name="T13" fmla="*/ 50 h 55"/>
                      <a:gd name="T14" fmla="*/ 39 w 55"/>
                      <a:gd name="T15" fmla="*/ 53 h 55"/>
                      <a:gd name="T16" fmla="*/ 33 w 55"/>
                      <a:gd name="T17" fmla="*/ 54 h 55"/>
                      <a:gd name="T18" fmla="*/ 27 w 55"/>
                      <a:gd name="T19" fmla="*/ 55 h 55"/>
                      <a:gd name="T20" fmla="*/ 27 w 55"/>
                      <a:gd name="T21" fmla="*/ 55 h 55"/>
                      <a:gd name="T22" fmla="*/ 22 w 55"/>
                      <a:gd name="T23" fmla="*/ 54 h 55"/>
                      <a:gd name="T24" fmla="*/ 17 w 55"/>
                      <a:gd name="T25" fmla="*/ 53 h 55"/>
                      <a:gd name="T26" fmla="*/ 12 w 55"/>
                      <a:gd name="T27" fmla="*/ 50 h 55"/>
                      <a:gd name="T28" fmla="*/ 8 w 55"/>
                      <a:gd name="T29" fmla="*/ 47 h 55"/>
                      <a:gd name="T30" fmla="*/ 5 w 55"/>
                      <a:gd name="T31" fmla="*/ 43 h 55"/>
                      <a:gd name="T32" fmla="*/ 3 w 55"/>
                      <a:gd name="T33" fmla="*/ 39 h 55"/>
                      <a:gd name="T34" fmla="*/ 1 w 55"/>
                      <a:gd name="T35" fmla="*/ 33 h 55"/>
                      <a:gd name="T36" fmla="*/ 0 w 55"/>
                      <a:gd name="T37" fmla="*/ 28 h 55"/>
                      <a:gd name="T38" fmla="*/ 0 w 55"/>
                      <a:gd name="T39" fmla="*/ 28 h 55"/>
                      <a:gd name="T40" fmla="*/ 1 w 55"/>
                      <a:gd name="T41" fmla="*/ 22 h 55"/>
                      <a:gd name="T42" fmla="*/ 3 w 55"/>
                      <a:gd name="T43" fmla="*/ 17 h 55"/>
                      <a:gd name="T44" fmla="*/ 5 w 55"/>
                      <a:gd name="T45" fmla="*/ 12 h 55"/>
                      <a:gd name="T46" fmla="*/ 8 w 55"/>
                      <a:gd name="T47" fmla="*/ 8 h 55"/>
                      <a:gd name="T48" fmla="*/ 12 w 55"/>
                      <a:gd name="T49" fmla="*/ 5 h 55"/>
                      <a:gd name="T50" fmla="*/ 17 w 55"/>
                      <a:gd name="T51" fmla="*/ 2 h 55"/>
                      <a:gd name="T52" fmla="*/ 22 w 55"/>
                      <a:gd name="T53" fmla="*/ 1 h 55"/>
                      <a:gd name="T54" fmla="*/ 27 w 55"/>
                      <a:gd name="T55" fmla="*/ 0 h 55"/>
                      <a:gd name="T56" fmla="*/ 27 w 55"/>
                      <a:gd name="T57" fmla="*/ 0 h 55"/>
                      <a:gd name="T58" fmla="*/ 33 w 55"/>
                      <a:gd name="T59" fmla="*/ 1 h 55"/>
                      <a:gd name="T60" fmla="*/ 39 w 55"/>
                      <a:gd name="T61" fmla="*/ 2 h 55"/>
                      <a:gd name="T62" fmla="*/ 43 w 55"/>
                      <a:gd name="T63" fmla="*/ 5 h 55"/>
                      <a:gd name="T64" fmla="*/ 47 w 55"/>
                      <a:gd name="T65" fmla="*/ 8 h 55"/>
                      <a:gd name="T66" fmla="*/ 50 w 55"/>
                      <a:gd name="T67" fmla="*/ 12 h 55"/>
                      <a:gd name="T68" fmla="*/ 53 w 55"/>
                      <a:gd name="T69" fmla="*/ 17 h 55"/>
                      <a:gd name="T70" fmla="*/ 54 w 55"/>
                      <a:gd name="T71" fmla="*/ 22 h 55"/>
                      <a:gd name="T72" fmla="*/ 55 w 55"/>
                      <a:gd name="T73" fmla="*/ 28 h 55"/>
                      <a:gd name="T74" fmla="*/ 55 w 55"/>
                      <a:gd name="T75"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5">
                        <a:moveTo>
                          <a:pt x="55" y="28"/>
                        </a:moveTo>
                        <a:lnTo>
                          <a:pt x="55" y="28"/>
                        </a:lnTo>
                        <a:lnTo>
                          <a:pt x="54" y="33"/>
                        </a:lnTo>
                        <a:lnTo>
                          <a:pt x="53" y="39"/>
                        </a:lnTo>
                        <a:lnTo>
                          <a:pt x="50" y="43"/>
                        </a:lnTo>
                        <a:lnTo>
                          <a:pt x="47" y="47"/>
                        </a:lnTo>
                        <a:lnTo>
                          <a:pt x="43" y="50"/>
                        </a:lnTo>
                        <a:lnTo>
                          <a:pt x="39" y="53"/>
                        </a:lnTo>
                        <a:lnTo>
                          <a:pt x="33" y="54"/>
                        </a:lnTo>
                        <a:lnTo>
                          <a:pt x="27" y="55"/>
                        </a:lnTo>
                        <a:lnTo>
                          <a:pt x="27" y="55"/>
                        </a:lnTo>
                        <a:lnTo>
                          <a:pt x="22" y="54"/>
                        </a:lnTo>
                        <a:lnTo>
                          <a:pt x="17" y="53"/>
                        </a:lnTo>
                        <a:lnTo>
                          <a:pt x="12" y="50"/>
                        </a:lnTo>
                        <a:lnTo>
                          <a:pt x="8" y="47"/>
                        </a:lnTo>
                        <a:lnTo>
                          <a:pt x="5" y="43"/>
                        </a:lnTo>
                        <a:lnTo>
                          <a:pt x="3" y="39"/>
                        </a:lnTo>
                        <a:lnTo>
                          <a:pt x="1" y="33"/>
                        </a:lnTo>
                        <a:lnTo>
                          <a:pt x="0" y="28"/>
                        </a:lnTo>
                        <a:lnTo>
                          <a:pt x="0" y="28"/>
                        </a:lnTo>
                        <a:lnTo>
                          <a:pt x="1" y="22"/>
                        </a:lnTo>
                        <a:lnTo>
                          <a:pt x="3" y="17"/>
                        </a:lnTo>
                        <a:lnTo>
                          <a:pt x="5" y="12"/>
                        </a:lnTo>
                        <a:lnTo>
                          <a:pt x="8" y="8"/>
                        </a:lnTo>
                        <a:lnTo>
                          <a:pt x="12" y="5"/>
                        </a:lnTo>
                        <a:lnTo>
                          <a:pt x="17" y="2"/>
                        </a:lnTo>
                        <a:lnTo>
                          <a:pt x="22" y="1"/>
                        </a:lnTo>
                        <a:lnTo>
                          <a:pt x="27" y="0"/>
                        </a:lnTo>
                        <a:lnTo>
                          <a:pt x="27" y="0"/>
                        </a:lnTo>
                        <a:lnTo>
                          <a:pt x="33" y="1"/>
                        </a:lnTo>
                        <a:lnTo>
                          <a:pt x="39" y="2"/>
                        </a:lnTo>
                        <a:lnTo>
                          <a:pt x="43" y="5"/>
                        </a:lnTo>
                        <a:lnTo>
                          <a:pt x="47" y="8"/>
                        </a:lnTo>
                        <a:lnTo>
                          <a:pt x="50" y="12"/>
                        </a:lnTo>
                        <a:lnTo>
                          <a:pt x="53" y="17"/>
                        </a:lnTo>
                        <a:lnTo>
                          <a:pt x="54" y="22"/>
                        </a:lnTo>
                        <a:lnTo>
                          <a:pt x="55" y="28"/>
                        </a:lnTo>
                        <a:lnTo>
                          <a:pt x="55" y="28"/>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3" name="Freeform 35"/>
                  <p:cNvSpPr>
                    <a:spLocks/>
                  </p:cNvSpPr>
                  <p:nvPr userDrawn="1"/>
                </p:nvSpPr>
                <p:spPr bwMode="auto">
                  <a:xfrm>
                    <a:off x="-1259739" y="-240918"/>
                    <a:ext cx="44450" cy="44450"/>
                  </a:xfrm>
                  <a:custGeom>
                    <a:avLst/>
                    <a:gdLst>
                      <a:gd name="T0" fmla="*/ 55 w 55"/>
                      <a:gd name="T1" fmla="*/ 27 h 55"/>
                      <a:gd name="T2" fmla="*/ 55 w 55"/>
                      <a:gd name="T3" fmla="*/ 27 h 55"/>
                      <a:gd name="T4" fmla="*/ 54 w 55"/>
                      <a:gd name="T5" fmla="*/ 33 h 55"/>
                      <a:gd name="T6" fmla="*/ 53 w 55"/>
                      <a:gd name="T7" fmla="*/ 38 h 55"/>
                      <a:gd name="T8" fmla="*/ 50 w 55"/>
                      <a:gd name="T9" fmla="*/ 43 h 55"/>
                      <a:gd name="T10" fmla="*/ 47 w 55"/>
                      <a:gd name="T11" fmla="*/ 47 h 55"/>
                      <a:gd name="T12" fmla="*/ 43 w 55"/>
                      <a:gd name="T13" fmla="*/ 50 h 55"/>
                      <a:gd name="T14" fmla="*/ 39 w 55"/>
                      <a:gd name="T15" fmla="*/ 53 h 55"/>
                      <a:gd name="T16" fmla="*/ 33 w 55"/>
                      <a:gd name="T17" fmla="*/ 54 h 55"/>
                      <a:gd name="T18" fmla="*/ 27 w 55"/>
                      <a:gd name="T19" fmla="*/ 55 h 55"/>
                      <a:gd name="T20" fmla="*/ 27 w 55"/>
                      <a:gd name="T21" fmla="*/ 55 h 55"/>
                      <a:gd name="T22" fmla="*/ 22 w 55"/>
                      <a:gd name="T23" fmla="*/ 54 h 55"/>
                      <a:gd name="T24" fmla="*/ 17 w 55"/>
                      <a:gd name="T25" fmla="*/ 53 h 55"/>
                      <a:gd name="T26" fmla="*/ 12 w 55"/>
                      <a:gd name="T27" fmla="*/ 50 h 55"/>
                      <a:gd name="T28" fmla="*/ 8 w 55"/>
                      <a:gd name="T29" fmla="*/ 47 h 55"/>
                      <a:gd name="T30" fmla="*/ 5 w 55"/>
                      <a:gd name="T31" fmla="*/ 43 h 55"/>
                      <a:gd name="T32" fmla="*/ 3 w 55"/>
                      <a:gd name="T33" fmla="*/ 38 h 55"/>
                      <a:gd name="T34" fmla="*/ 1 w 55"/>
                      <a:gd name="T35" fmla="*/ 33 h 55"/>
                      <a:gd name="T36" fmla="*/ 0 w 55"/>
                      <a:gd name="T37" fmla="*/ 27 h 55"/>
                      <a:gd name="T38" fmla="*/ 0 w 55"/>
                      <a:gd name="T39" fmla="*/ 27 h 55"/>
                      <a:gd name="T40" fmla="*/ 1 w 55"/>
                      <a:gd name="T41" fmla="*/ 22 h 55"/>
                      <a:gd name="T42" fmla="*/ 3 w 55"/>
                      <a:gd name="T43" fmla="*/ 17 h 55"/>
                      <a:gd name="T44" fmla="*/ 5 w 55"/>
                      <a:gd name="T45" fmla="*/ 12 h 55"/>
                      <a:gd name="T46" fmla="*/ 8 w 55"/>
                      <a:gd name="T47" fmla="*/ 8 h 55"/>
                      <a:gd name="T48" fmla="*/ 12 w 55"/>
                      <a:gd name="T49" fmla="*/ 5 h 55"/>
                      <a:gd name="T50" fmla="*/ 17 w 55"/>
                      <a:gd name="T51" fmla="*/ 2 h 55"/>
                      <a:gd name="T52" fmla="*/ 22 w 55"/>
                      <a:gd name="T53" fmla="*/ 1 h 55"/>
                      <a:gd name="T54" fmla="*/ 27 w 55"/>
                      <a:gd name="T55" fmla="*/ 0 h 55"/>
                      <a:gd name="T56" fmla="*/ 27 w 55"/>
                      <a:gd name="T57" fmla="*/ 0 h 55"/>
                      <a:gd name="T58" fmla="*/ 33 w 55"/>
                      <a:gd name="T59" fmla="*/ 1 h 55"/>
                      <a:gd name="T60" fmla="*/ 39 w 55"/>
                      <a:gd name="T61" fmla="*/ 2 h 55"/>
                      <a:gd name="T62" fmla="*/ 43 w 55"/>
                      <a:gd name="T63" fmla="*/ 5 h 55"/>
                      <a:gd name="T64" fmla="*/ 47 w 55"/>
                      <a:gd name="T65" fmla="*/ 8 h 55"/>
                      <a:gd name="T66" fmla="*/ 50 w 55"/>
                      <a:gd name="T67" fmla="*/ 12 h 55"/>
                      <a:gd name="T68" fmla="*/ 53 w 55"/>
                      <a:gd name="T69" fmla="*/ 17 h 55"/>
                      <a:gd name="T70" fmla="*/ 54 w 55"/>
                      <a:gd name="T71" fmla="*/ 22 h 55"/>
                      <a:gd name="T72" fmla="*/ 55 w 55"/>
                      <a:gd name="T73" fmla="*/ 27 h 55"/>
                      <a:gd name="T74" fmla="*/ 55 w 55"/>
                      <a:gd name="T75"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5">
                        <a:moveTo>
                          <a:pt x="55" y="27"/>
                        </a:moveTo>
                        <a:lnTo>
                          <a:pt x="55" y="27"/>
                        </a:lnTo>
                        <a:lnTo>
                          <a:pt x="54" y="33"/>
                        </a:lnTo>
                        <a:lnTo>
                          <a:pt x="53" y="38"/>
                        </a:lnTo>
                        <a:lnTo>
                          <a:pt x="50" y="43"/>
                        </a:lnTo>
                        <a:lnTo>
                          <a:pt x="47" y="47"/>
                        </a:lnTo>
                        <a:lnTo>
                          <a:pt x="43" y="50"/>
                        </a:lnTo>
                        <a:lnTo>
                          <a:pt x="39" y="53"/>
                        </a:lnTo>
                        <a:lnTo>
                          <a:pt x="33" y="54"/>
                        </a:lnTo>
                        <a:lnTo>
                          <a:pt x="27" y="55"/>
                        </a:lnTo>
                        <a:lnTo>
                          <a:pt x="27" y="55"/>
                        </a:lnTo>
                        <a:lnTo>
                          <a:pt x="22" y="54"/>
                        </a:lnTo>
                        <a:lnTo>
                          <a:pt x="17" y="53"/>
                        </a:lnTo>
                        <a:lnTo>
                          <a:pt x="12" y="50"/>
                        </a:lnTo>
                        <a:lnTo>
                          <a:pt x="8" y="47"/>
                        </a:lnTo>
                        <a:lnTo>
                          <a:pt x="5" y="43"/>
                        </a:lnTo>
                        <a:lnTo>
                          <a:pt x="3" y="38"/>
                        </a:lnTo>
                        <a:lnTo>
                          <a:pt x="1" y="33"/>
                        </a:lnTo>
                        <a:lnTo>
                          <a:pt x="0" y="27"/>
                        </a:lnTo>
                        <a:lnTo>
                          <a:pt x="0" y="27"/>
                        </a:lnTo>
                        <a:lnTo>
                          <a:pt x="1" y="22"/>
                        </a:lnTo>
                        <a:lnTo>
                          <a:pt x="3" y="17"/>
                        </a:lnTo>
                        <a:lnTo>
                          <a:pt x="5" y="12"/>
                        </a:lnTo>
                        <a:lnTo>
                          <a:pt x="8" y="8"/>
                        </a:lnTo>
                        <a:lnTo>
                          <a:pt x="12" y="5"/>
                        </a:lnTo>
                        <a:lnTo>
                          <a:pt x="17" y="2"/>
                        </a:lnTo>
                        <a:lnTo>
                          <a:pt x="22" y="1"/>
                        </a:lnTo>
                        <a:lnTo>
                          <a:pt x="27" y="0"/>
                        </a:lnTo>
                        <a:lnTo>
                          <a:pt x="27" y="0"/>
                        </a:lnTo>
                        <a:lnTo>
                          <a:pt x="33" y="1"/>
                        </a:lnTo>
                        <a:lnTo>
                          <a:pt x="39" y="2"/>
                        </a:lnTo>
                        <a:lnTo>
                          <a:pt x="43" y="5"/>
                        </a:lnTo>
                        <a:lnTo>
                          <a:pt x="47" y="8"/>
                        </a:lnTo>
                        <a:lnTo>
                          <a:pt x="50" y="12"/>
                        </a:lnTo>
                        <a:lnTo>
                          <a:pt x="53" y="17"/>
                        </a:lnTo>
                        <a:lnTo>
                          <a:pt x="54" y="22"/>
                        </a:lnTo>
                        <a:lnTo>
                          <a:pt x="55" y="27"/>
                        </a:lnTo>
                        <a:lnTo>
                          <a:pt x="55" y="27"/>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4" name="Freeform 36"/>
                  <p:cNvSpPr>
                    <a:spLocks/>
                  </p:cNvSpPr>
                  <p:nvPr userDrawn="1"/>
                </p:nvSpPr>
                <p:spPr bwMode="auto">
                  <a:xfrm>
                    <a:off x="-897789" y="-1110868"/>
                    <a:ext cx="42863" cy="42863"/>
                  </a:xfrm>
                  <a:custGeom>
                    <a:avLst/>
                    <a:gdLst>
                      <a:gd name="T0" fmla="*/ 47 w 55"/>
                      <a:gd name="T1" fmla="*/ 46 h 55"/>
                      <a:gd name="T2" fmla="*/ 47 w 55"/>
                      <a:gd name="T3" fmla="*/ 46 h 55"/>
                      <a:gd name="T4" fmla="*/ 42 w 55"/>
                      <a:gd name="T5" fmla="*/ 51 h 55"/>
                      <a:gd name="T6" fmla="*/ 38 w 55"/>
                      <a:gd name="T7" fmla="*/ 53 h 55"/>
                      <a:gd name="T8" fmla="*/ 33 w 55"/>
                      <a:gd name="T9" fmla="*/ 55 h 55"/>
                      <a:gd name="T10" fmla="*/ 27 w 55"/>
                      <a:gd name="T11" fmla="*/ 55 h 55"/>
                      <a:gd name="T12" fmla="*/ 22 w 55"/>
                      <a:gd name="T13" fmla="*/ 55 h 55"/>
                      <a:gd name="T14" fmla="*/ 17 w 55"/>
                      <a:gd name="T15" fmla="*/ 53 h 55"/>
                      <a:gd name="T16" fmla="*/ 13 w 55"/>
                      <a:gd name="T17" fmla="*/ 51 h 55"/>
                      <a:gd name="T18" fmla="*/ 8 w 55"/>
                      <a:gd name="T19" fmla="*/ 46 h 55"/>
                      <a:gd name="T20" fmla="*/ 8 w 55"/>
                      <a:gd name="T21" fmla="*/ 46 h 55"/>
                      <a:gd name="T22" fmla="*/ 4 w 55"/>
                      <a:gd name="T23" fmla="*/ 42 h 55"/>
                      <a:gd name="T24" fmla="*/ 2 w 55"/>
                      <a:gd name="T25" fmla="*/ 37 h 55"/>
                      <a:gd name="T26" fmla="*/ 0 w 55"/>
                      <a:gd name="T27" fmla="*/ 32 h 55"/>
                      <a:gd name="T28" fmla="*/ 0 w 55"/>
                      <a:gd name="T29" fmla="*/ 27 h 55"/>
                      <a:gd name="T30" fmla="*/ 0 w 55"/>
                      <a:gd name="T31" fmla="*/ 22 h 55"/>
                      <a:gd name="T32" fmla="*/ 2 w 55"/>
                      <a:gd name="T33" fmla="*/ 17 h 55"/>
                      <a:gd name="T34" fmla="*/ 4 w 55"/>
                      <a:gd name="T35" fmla="*/ 12 h 55"/>
                      <a:gd name="T36" fmla="*/ 8 w 55"/>
                      <a:gd name="T37" fmla="*/ 7 h 55"/>
                      <a:gd name="T38" fmla="*/ 8 w 55"/>
                      <a:gd name="T39" fmla="*/ 7 h 55"/>
                      <a:gd name="T40" fmla="*/ 13 w 55"/>
                      <a:gd name="T41" fmla="*/ 4 h 55"/>
                      <a:gd name="T42" fmla="*/ 17 w 55"/>
                      <a:gd name="T43" fmla="*/ 1 h 55"/>
                      <a:gd name="T44" fmla="*/ 22 w 55"/>
                      <a:gd name="T45" fmla="*/ 0 h 55"/>
                      <a:gd name="T46" fmla="*/ 27 w 55"/>
                      <a:gd name="T47" fmla="*/ 0 h 55"/>
                      <a:gd name="T48" fmla="*/ 33 w 55"/>
                      <a:gd name="T49" fmla="*/ 0 h 55"/>
                      <a:gd name="T50" fmla="*/ 38 w 55"/>
                      <a:gd name="T51" fmla="*/ 1 h 55"/>
                      <a:gd name="T52" fmla="*/ 42 w 55"/>
                      <a:gd name="T53" fmla="*/ 4 h 55"/>
                      <a:gd name="T54" fmla="*/ 47 w 55"/>
                      <a:gd name="T55" fmla="*/ 7 h 55"/>
                      <a:gd name="T56" fmla="*/ 47 w 55"/>
                      <a:gd name="T57" fmla="*/ 7 h 55"/>
                      <a:gd name="T58" fmla="*/ 51 w 55"/>
                      <a:gd name="T59" fmla="*/ 12 h 55"/>
                      <a:gd name="T60" fmla="*/ 53 w 55"/>
                      <a:gd name="T61" fmla="*/ 17 h 55"/>
                      <a:gd name="T62" fmla="*/ 55 w 55"/>
                      <a:gd name="T63" fmla="*/ 22 h 55"/>
                      <a:gd name="T64" fmla="*/ 55 w 55"/>
                      <a:gd name="T65" fmla="*/ 27 h 55"/>
                      <a:gd name="T66" fmla="*/ 55 w 55"/>
                      <a:gd name="T67" fmla="*/ 32 h 55"/>
                      <a:gd name="T68" fmla="*/ 53 w 55"/>
                      <a:gd name="T69" fmla="*/ 37 h 55"/>
                      <a:gd name="T70" fmla="*/ 51 w 55"/>
                      <a:gd name="T71" fmla="*/ 42 h 55"/>
                      <a:gd name="T72" fmla="*/ 47 w 55"/>
                      <a:gd name="T73" fmla="*/ 46 h 55"/>
                      <a:gd name="T74" fmla="*/ 47 w 55"/>
                      <a:gd name="T75" fmla="*/ 4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5">
                        <a:moveTo>
                          <a:pt x="47" y="46"/>
                        </a:moveTo>
                        <a:lnTo>
                          <a:pt x="47" y="46"/>
                        </a:lnTo>
                        <a:lnTo>
                          <a:pt x="42" y="51"/>
                        </a:lnTo>
                        <a:lnTo>
                          <a:pt x="38" y="53"/>
                        </a:lnTo>
                        <a:lnTo>
                          <a:pt x="33" y="55"/>
                        </a:lnTo>
                        <a:lnTo>
                          <a:pt x="27" y="55"/>
                        </a:lnTo>
                        <a:lnTo>
                          <a:pt x="22" y="55"/>
                        </a:lnTo>
                        <a:lnTo>
                          <a:pt x="17" y="53"/>
                        </a:lnTo>
                        <a:lnTo>
                          <a:pt x="13" y="51"/>
                        </a:lnTo>
                        <a:lnTo>
                          <a:pt x="8" y="46"/>
                        </a:lnTo>
                        <a:lnTo>
                          <a:pt x="8" y="46"/>
                        </a:lnTo>
                        <a:lnTo>
                          <a:pt x="4" y="42"/>
                        </a:lnTo>
                        <a:lnTo>
                          <a:pt x="2" y="37"/>
                        </a:lnTo>
                        <a:lnTo>
                          <a:pt x="0" y="32"/>
                        </a:lnTo>
                        <a:lnTo>
                          <a:pt x="0" y="27"/>
                        </a:lnTo>
                        <a:lnTo>
                          <a:pt x="0" y="22"/>
                        </a:lnTo>
                        <a:lnTo>
                          <a:pt x="2" y="17"/>
                        </a:lnTo>
                        <a:lnTo>
                          <a:pt x="4" y="12"/>
                        </a:lnTo>
                        <a:lnTo>
                          <a:pt x="8" y="7"/>
                        </a:lnTo>
                        <a:lnTo>
                          <a:pt x="8" y="7"/>
                        </a:lnTo>
                        <a:lnTo>
                          <a:pt x="13" y="4"/>
                        </a:lnTo>
                        <a:lnTo>
                          <a:pt x="17" y="1"/>
                        </a:lnTo>
                        <a:lnTo>
                          <a:pt x="22" y="0"/>
                        </a:lnTo>
                        <a:lnTo>
                          <a:pt x="27" y="0"/>
                        </a:lnTo>
                        <a:lnTo>
                          <a:pt x="33" y="0"/>
                        </a:lnTo>
                        <a:lnTo>
                          <a:pt x="38" y="1"/>
                        </a:lnTo>
                        <a:lnTo>
                          <a:pt x="42" y="4"/>
                        </a:lnTo>
                        <a:lnTo>
                          <a:pt x="47" y="7"/>
                        </a:lnTo>
                        <a:lnTo>
                          <a:pt x="47" y="7"/>
                        </a:lnTo>
                        <a:lnTo>
                          <a:pt x="51" y="12"/>
                        </a:lnTo>
                        <a:lnTo>
                          <a:pt x="53" y="17"/>
                        </a:lnTo>
                        <a:lnTo>
                          <a:pt x="55" y="22"/>
                        </a:lnTo>
                        <a:lnTo>
                          <a:pt x="55" y="27"/>
                        </a:lnTo>
                        <a:lnTo>
                          <a:pt x="55" y="32"/>
                        </a:lnTo>
                        <a:lnTo>
                          <a:pt x="53" y="37"/>
                        </a:lnTo>
                        <a:lnTo>
                          <a:pt x="51" y="42"/>
                        </a:lnTo>
                        <a:lnTo>
                          <a:pt x="47" y="46"/>
                        </a:lnTo>
                        <a:lnTo>
                          <a:pt x="47" y="4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5" name="Freeform 37"/>
                  <p:cNvSpPr>
                    <a:spLocks/>
                  </p:cNvSpPr>
                  <p:nvPr userDrawn="1"/>
                </p:nvSpPr>
                <p:spPr bwMode="auto">
                  <a:xfrm>
                    <a:off x="-1621689" y="-390143"/>
                    <a:ext cx="44450" cy="44450"/>
                  </a:xfrm>
                  <a:custGeom>
                    <a:avLst/>
                    <a:gdLst>
                      <a:gd name="T0" fmla="*/ 47 w 55"/>
                      <a:gd name="T1" fmla="*/ 48 h 56"/>
                      <a:gd name="T2" fmla="*/ 47 w 55"/>
                      <a:gd name="T3" fmla="*/ 48 h 56"/>
                      <a:gd name="T4" fmla="*/ 43 w 55"/>
                      <a:gd name="T5" fmla="*/ 51 h 56"/>
                      <a:gd name="T6" fmla="*/ 38 w 55"/>
                      <a:gd name="T7" fmla="*/ 54 h 56"/>
                      <a:gd name="T8" fmla="*/ 33 w 55"/>
                      <a:gd name="T9" fmla="*/ 55 h 56"/>
                      <a:gd name="T10" fmla="*/ 28 w 55"/>
                      <a:gd name="T11" fmla="*/ 56 h 56"/>
                      <a:gd name="T12" fmla="*/ 22 w 55"/>
                      <a:gd name="T13" fmla="*/ 55 h 56"/>
                      <a:gd name="T14" fmla="*/ 17 w 55"/>
                      <a:gd name="T15" fmla="*/ 54 h 56"/>
                      <a:gd name="T16" fmla="*/ 12 w 55"/>
                      <a:gd name="T17" fmla="*/ 51 h 56"/>
                      <a:gd name="T18" fmla="*/ 8 w 55"/>
                      <a:gd name="T19" fmla="*/ 48 h 56"/>
                      <a:gd name="T20" fmla="*/ 8 w 55"/>
                      <a:gd name="T21" fmla="*/ 48 h 56"/>
                      <a:gd name="T22" fmla="*/ 5 w 55"/>
                      <a:gd name="T23" fmla="*/ 44 h 56"/>
                      <a:gd name="T24" fmla="*/ 2 w 55"/>
                      <a:gd name="T25" fmla="*/ 38 h 56"/>
                      <a:gd name="T26" fmla="*/ 1 w 55"/>
                      <a:gd name="T27" fmla="*/ 33 h 56"/>
                      <a:gd name="T28" fmla="*/ 0 w 55"/>
                      <a:gd name="T29" fmla="*/ 28 h 56"/>
                      <a:gd name="T30" fmla="*/ 1 w 55"/>
                      <a:gd name="T31" fmla="*/ 23 h 56"/>
                      <a:gd name="T32" fmla="*/ 2 w 55"/>
                      <a:gd name="T33" fmla="*/ 18 h 56"/>
                      <a:gd name="T34" fmla="*/ 5 w 55"/>
                      <a:gd name="T35" fmla="*/ 13 h 56"/>
                      <a:gd name="T36" fmla="*/ 8 w 55"/>
                      <a:gd name="T37" fmla="*/ 9 h 56"/>
                      <a:gd name="T38" fmla="*/ 8 w 55"/>
                      <a:gd name="T39" fmla="*/ 9 h 56"/>
                      <a:gd name="T40" fmla="*/ 12 w 55"/>
                      <a:gd name="T41" fmla="*/ 6 h 56"/>
                      <a:gd name="T42" fmla="*/ 17 w 55"/>
                      <a:gd name="T43" fmla="*/ 2 h 56"/>
                      <a:gd name="T44" fmla="*/ 22 w 55"/>
                      <a:gd name="T45" fmla="*/ 1 h 56"/>
                      <a:gd name="T46" fmla="*/ 28 w 55"/>
                      <a:gd name="T47" fmla="*/ 0 h 56"/>
                      <a:gd name="T48" fmla="*/ 33 w 55"/>
                      <a:gd name="T49" fmla="*/ 1 h 56"/>
                      <a:gd name="T50" fmla="*/ 38 w 55"/>
                      <a:gd name="T51" fmla="*/ 2 h 56"/>
                      <a:gd name="T52" fmla="*/ 43 w 55"/>
                      <a:gd name="T53" fmla="*/ 6 h 56"/>
                      <a:gd name="T54" fmla="*/ 47 w 55"/>
                      <a:gd name="T55" fmla="*/ 9 h 56"/>
                      <a:gd name="T56" fmla="*/ 47 w 55"/>
                      <a:gd name="T57" fmla="*/ 9 h 56"/>
                      <a:gd name="T58" fmla="*/ 50 w 55"/>
                      <a:gd name="T59" fmla="*/ 13 h 56"/>
                      <a:gd name="T60" fmla="*/ 53 w 55"/>
                      <a:gd name="T61" fmla="*/ 18 h 56"/>
                      <a:gd name="T62" fmla="*/ 54 w 55"/>
                      <a:gd name="T63" fmla="*/ 23 h 56"/>
                      <a:gd name="T64" fmla="*/ 55 w 55"/>
                      <a:gd name="T65" fmla="*/ 28 h 56"/>
                      <a:gd name="T66" fmla="*/ 54 w 55"/>
                      <a:gd name="T67" fmla="*/ 33 h 56"/>
                      <a:gd name="T68" fmla="*/ 53 w 55"/>
                      <a:gd name="T69" fmla="*/ 38 h 56"/>
                      <a:gd name="T70" fmla="*/ 50 w 55"/>
                      <a:gd name="T71" fmla="*/ 44 h 56"/>
                      <a:gd name="T72" fmla="*/ 47 w 55"/>
                      <a:gd name="T73" fmla="*/ 48 h 56"/>
                      <a:gd name="T74" fmla="*/ 47 w 55"/>
                      <a:gd name="T75"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6">
                        <a:moveTo>
                          <a:pt x="47" y="48"/>
                        </a:moveTo>
                        <a:lnTo>
                          <a:pt x="47" y="48"/>
                        </a:lnTo>
                        <a:lnTo>
                          <a:pt x="43" y="51"/>
                        </a:lnTo>
                        <a:lnTo>
                          <a:pt x="38" y="54"/>
                        </a:lnTo>
                        <a:lnTo>
                          <a:pt x="33" y="55"/>
                        </a:lnTo>
                        <a:lnTo>
                          <a:pt x="28" y="56"/>
                        </a:lnTo>
                        <a:lnTo>
                          <a:pt x="22" y="55"/>
                        </a:lnTo>
                        <a:lnTo>
                          <a:pt x="17" y="54"/>
                        </a:lnTo>
                        <a:lnTo>
                          <a:pt x="12" y="51"/>
                        </a:lnTo>
                        <a:lnTo>
                          <a:pt x="8" y="48"/>
                        </a:lnTo>
                        <a:lnTo>
                          <a:pt x="8" y="48"/>
                        </a:lnTo>
                        <a:lnTo>
                          <a:pt x="5" y="44"/>
                        </a:lnTo>
                        <a:lnTo>
                          <a:pt x="2" y="38"/>
                        </a:lnTo>
                        <a:lnTo>
                          <a:pt x="1" y="33"/>
                        </a:lnTo>
                        <a:lnTo>
                          <a:pt x="0" y="28"/>
                        </a:lnTo>
                        <a:lnTo>
                          <a:pt x="1" y="23"/>
                        </a:lnTo>
                        <a:lnTo>
                          <a:pt x="2" y="18"/>
                        </a:lnTo>
                        <a:lnTo>
                          <a:pt x="5" y="13"/>
                        </a:lnTo>
                        <a:lnTo>
                          <a:pt x="8" y="9"/>
                        </a:lnTo>
                        <a:lnTo>
                          <a:pt x="8" y="9"/>
                        </a:lnTo>
                        <a:lnTo>
                          <a:pt x="12" y="6"/>
                        </a:lnTo>
                        <a:lnTo>
                          <a:pt x="17" y="2"/>
                        </a:lnTo>
                        <a:lnTo>
                          <a:pt x="22" y="1"/>
                        </a:lnTo>
                        <a:lnTo>
                          <a:pt x="28" y="0"/>
                        </a:lnTo>
                        <a:lnTo>
                          <a:pt x="33" y="1"/>
                        </a:lnTo>
                        <a:lnTo>
                          <a:pt x="38" y="2"/>
                        </a:lnTo>
                        <a:lnTo>
                          <a:pt x="43" y="6"/>
                        </a:lnTo>
                        <a:lnTo>
                          <a:pt x="47" y="9"/>
                        </a:lnTo>
                        <a:lnTo>
                          <a:pt x="47" y="9"/>
                        </a:lnTo>
                        <a:lnTo>
                          <a:pt x="50" y="13"/>
                        </a:lnTo>
                        <a:lnTo>
                          <a:pt x="53" y="18"/>
                        </a:lnTo>
                        <a:lnTo>
                          <a:pt x="54" y="23"/>
                        </a:lnTo>
                        <a:lnTo>
                          <a:pt x="55" y="28"/>
                        </a:lnTo>
                        <a:lnTo>
                          <a:pt x="54" y="33"/>
                        </a:lnTo>
                        <a:lnTo>
                          <a:pt x="53" y="38"/>
                        </a:lnTo>
                        <a:lnTo>
                          <a:pt x="50" y="44"/>
                        </a:lnTo>
                        <a:lnTo>
                          <a:pt x="47" y="48"/>
                        </a:lnTo>
                        <a:lnTo>
                          <a:pt x="47" y="48"/>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6" name="Freeform 38"/>
                  <p:cNvSpPr>
                    <a:spLocks/>
                  </p:cNvSpPr>
                  <p:nvPr userDrawn="1"/>
                </p:nvSpPr>
                <p:spPr bwMode="auto">
                  <a:xfrm>
                    <a:off x="-1621689" y="-1110868"/>
                    <a:ext cx="44450" cy="42863"/>
                  </a:xfrm>
                  <a:custGeom>
                    <a:avLst/>
                    <a:gdLst>
                      <a:gd name="T0" fmla="*/ 8 w 55"/>
                      <a:gd name="T1" fmla="*/ 46 h 55"/>
                      <a:gd name="T2" fmla="*/ 8 w 55"/>
                      <a:gd name="T3" fmla="*/ 46 h 55"/>
                      <a:gd name="T4" fmla="*/ 12 w 55"/>
                      <a:gd name="T5" fmla="*/ 51 h 55"/>
                      <a:gd name="T6" fmla="*/ 17 w 55"/>
                      <a:gd name="T7" fmla="*/ 53 h 55"/>
                      <a:gd name="T8" fmla="*/ 22 w 55"/>
                      <a:gd name="T9" fmla="*/ 55 h 55"/>
                      <a:gd name="T10" fmla="*/ 28 w 55"/>
                      <a:gd name="T11" fmla="*/ 55 h 55"/>
                      <a:gd name="T12" fmla="*/ 33 w 55"/>
                      <a:gd name="T13" fmla="*/ 55 h 55"/>
                      <a:gd name="T14" fmla="*/ 38 w 55"/>
                      <a:gd name="T15" fmla="*/ 53 h 55"/>
                      <a:gd name="T16" fmla="*/ 43 w 55"/>
                      <a:gd name="T17" fmla="*/ 51 h 55"/>
                      <a:gd name="T18" fmla="*/ 47 w 55"/>
                      <a:gd name="T19" fmla="*/ 46 h 55"/>
                      <a:gd name="T20" fmla="*/ 47 w 55"/>
                      <a:gd name="T21" fmla="*/ 46 h 55"/>
                      <a:gd name="T22" fmla="*/ 50 w 55"/>
                      <a:gd name="T23" fmla="*/ 42 h 55"/>
                      <a:gd name="T24" fmla="*/ 53 w 55"/>
                      <a:gd name="T25" fmla="*/ 37 h 55"/>
                      <a:gd name="T26" fmla="*/ 54 w 55"/>
                      <a:gd name="T27" fmla="*/ 32 h 55"/>
                      <a:gd name="T28" fmla="*/ 55 w 55"/>
                      <a:gd name="T29" fmla="*/ 27 h 55"/>
                      <a:gd name="T30" fmla="*/ 54 w 55"/>
                      <a:gd name="T31" fmla="*/ 22 h 55"/>
                      <a:gd name="T32" fmla="*/ 53 w 55"/>
                      <a:gd name="T33" fmla="*/ 17 h 55"/>
                      <a:gd name="T34" fmla="*/ 50 w 55"/>
                      <a:gd name="T35" fmla="*/ 12 h 55"/>
                      <a:gd name="T36" fmla="*/ 47 w 55"/>
                      <a:gd name="T37" fmla="*/ 7 h 55"/>
                      <a:gd name="T38" fmla="*/ 47 w 55"/>
                      <a:gd name="T39" fmla="*/ 7 h 55"/>
                      <a:gd name="T40" fmla="*/ 43 w 55"/>
                      <a:gd name="T41" fmla="*/ 4 h 55"/>
                      <a:gd name="T42" fmla="*/ 38 w 55"/>
                      <a:gd name="T43" fmla="*/ 1 h 55"/>
                      <a:gd name="T44" fmla="*/ 33 w 55"/>
                      <a:gd name="T45" fmla="*/ 0 h 55"/>
                      <a:gd name="T46" fmla="*/ 28 w 55"/>
                      <a:gd name="T47" fmla="*/ 0 h 55"/>
                      <a:gd name="T48" fmla="*/ 22 w 55"/>
                      <a:gd name="T49" fmla="*/ 0 h 55"/>
                      <a:gd name="T50" fmla="*/ 17 w 55"/>
                      <a:gd name="T51" fmla="*/ 1 h 55"/>
                      <a:gd name="T52" fmla="*/ 12 w 55"/>
                      <a:gd name="T53" fmla="*/ 4 h 55"/>
                      <a:gd name="T54" fmla="*/ 8 w 55"/>
                      <a:gd name="T55" fmla="*/ 7 h 55"/>
                      <a:gd name="T56" fmla="*/ 8 w 55"/>
                      <a:gd name="T57" fmla="*/ 7 h 55"/>
                      <a:gd name="T58" fmla="*/ 5 w 55"/>
                      <a:gd name="T59" fmla="*/ 12 h 55"/>
                      <a:gd name="T60" fmla="*/ 2 w 55"/>
                      <a:gd name="T61" fmla="*/ 17 h 55"/>
                      <a:gd name="T62" fmla="*/ 1 w 55"/>
                      <a:gd name="T63" fmla="*/ 22 h 55"/>
                      <a:gd name="T64" fmla="*/ 0 w 55"/>
                      <a:gd name="T65" fmla="*/ 27 h 55"/>
                      <a:gd name="T66" fmla="*/ 1 w 55"/>
                      <a:gd name="T67" fmla="*/ 32 h 55"/>
                      <a:gd name="T68" fmla="*/ 2 w 55"/>
                      <a:gd name="T69" fmla="*/ 37 h 55"/>
                      <a:gd name="T70" fmla="*/ 5 w 55"/>
                      <a:gd name="T71" fmla="*/ 42 h 55"/>
                      <a:gd name="T72" fmla="*/ 8 w 55"/>
                      <a:gd name="T73" fmla="*/ 46 h 55"/>
                      <a:gd name="T74" fmla="*/ 8 w 55"/>
                      <a:gd name="T75" fmla="*/ 4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5">
                        <a:moveTo>
                          <a:pt x="8" y="46"/>
                        </a:moveTo>
                        <a:lnTo>
                          <a:pt x="8" y="46"/>
                        </a:lnTo>
                        <a:lnTo>
                          <a:pt x="12" y="51"/>
                        </a:lnTo>
                        <a:lnTo>
                          <a:pt x="17" y="53"/>
                        </a:lnTo>
                        <a:lnTo>
                          <a:pt x="22" y="55"/>
                        </a:lnTo>
                        <a:lnTo>
                          <a:pt x="28" y="55"/>
                        </a:lnTo>
                        <a:lnTo>
                          <a:pt x="33" y="55"/>
                        </a:lnTo>
                        <a:lnTo>
                          <a:pt x="38" y="53"/>
                        </a:lnTo>
                        <a:lnTo>
                          <a:pt x="43" y="51"/>
                        </a:lnTo>
                        <a:lnTo>
                          <a:pt x="47" y="46"/>
                        </a:lnTo>
                        <a:lnTo>
                          <a:pt x="47" y="46"/>
                        </a:lnTo>
                        <a:lnTo>
                          <a:pt x="50" y="42"/>
                        </a:lnTo>
                        <a:lnTo>
                          <a:pt x="53" y="37"/>
                        </a:lnTo>
                        <a:lnTo>
                          <a:pt x="54" y="32"/>
                        </a:lnTo>
                        <a:lnTo>
                          <a:pt x="55" y="27"/>
                        </a:lnTo>
                        <a:lnTo>
                          <a:pt x="54" y="22"/>
                        </a:lnTo>
                        <a:lnTo>
                          <a:pt x="53" y="17"/>
                        </a:lnTo>
                        <a:lnTo>
                          <a:pt x="50" y="12"/>
                        </a:lnTo>
                        <a:lnTo>
                          <a:pt x="47" y="7"/>
                        </a:lnTo>
                        <a:lnTo>
                          <a:pt x="47" y="7"/>
                        </a:lnTo>
                        <a:lnTo>
                          <a:pt x="43" y="4"/>
                        </a:lnTo>
                        <a:lnTo>
                          <a:pt x="38" y="1"/>
                        </a:lnTo>
                        <a:lnTo>
                          <a:pt x="33" y="0"/>
                        </a:lnTo>
                        <a:lnTo>
                          <a:pt x="28" y="0"/>
                        </a:lnTo>
                        <a:lnTo>
                          <a:pt x="22" y="0"/>
                        </a:lnTo>
                        <a:lnTo>
                          <a:pt x="17" y="1"/>
                        </a:lnTo>
                        <a:lnTo>
                          <a:pt x="12" y="4"/>
                        </a:lnTo>
                        <a:lnTo>
                          <a:pt x="8" y="7"/>
                        </a:lnTo>
                        <a:lnTo>
                          <a:pt x="8" y="7"/>
                        </a:lnTo>
                        <a:lnTo>
                          <a:pt x="5" y="12"/>
                        </a:lnTo>
                        <a:lnTo>
                          <a:pt x="2" y="17"/>
                        </a:lnTo>
                        <a:lnTo>
                          <a:pt x="1" y="22"/>
                        </a:lnTo>
                        <a:lnTo>
                          <a:pt x="0" y="27"/>
                        </a:lnTo>
                        <a:lnTo>
                          <a:pt x="1" y="32"/>
                        </a:lnTo>
                        <a:lnTo>
                          <a:pt x="2" y="37"/>
                        </a:lnTo>
                        <a:lnTo>
                          <a:pt x="5" y="42"/>
                        </a:lnTo>
                        <a:lnTo>
                          <a:pt x="8" y="46"/>
                        </a:lnTo>
                        <a:lnTo>
                          <a:pt x="8" y="4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7" name="Freeform 39"/>
                  <p:cNvSpPr>
                    <a:spLocks/>
                  </p:cNvSpPr>
                  <p:nvPr userDrawn="1"/>
                </p:nvSpPr>
                <p:spPr bwMode="auto">
                  <a:xfrm>
                    <a:off x="-897789" y="-390143"/>
                    <a:ext cx="42863" cy="44450"/>
                  </a:xfrm>
                  <a:custGeom>
                    <a:avLst/>
                    <a:gdLst>
                      <a:gd name="T0" fmla="*/ 8 w 55"/>
                      <a:gd name="T1" fmla="*/ 48 h 56"/>
                      <a:gd name="T2" fmla="*/ 8 w 55"/>
                      <a:gd name="T3" fmla="*/ 48 h 56"/>
                      <a:gd name="T4" fmla="*/ 13 w 55"/>
                      <a:gd name="T5" fmla="*/ 51 h 56"/>
                      <a:gd name="T6" fmla="*/ 17 w 55"/>
                      <a:gd name="T7" fmla="*/ 54 h 56"/>
                      <a:gd name="T8" fmla="*/ 22 w 55"/>
                      <a:gd name="T9" fmla="*/ 55 h 56"/>
                      <a:gd name="T10" fmla="*/ 27 w 55"/>
                      <a:gd name="T11" fmla="*/ 56 h 56"/>
                      <a:gd name="T12" fmla="*/ 33 w 55"/>
                      <a:gd name="T13" fmla="*/ 55 h 56"/>
                      <a:gd name="T14" fmla="*/ 38 w 55"/>
                      <a:gd name="T15" fmla="*/ 54 h 56"/>
                      <a:gd name="T16" fmla="*/ 42 w 55"/>
                      <a:gd name="T17" fmla="*/ 51 h 56"/>
                      <a:gd name="T18" fmla="*/ 47 w 55"/>
                      <a:gd name="T19" fmla="*/ 48 h 56"/>
                      <a:gd name="T20" fmla="*/ 47 w 55"/>
                      <a:gd name="T21" fmla="*/ 48 h 56"/>
                      <a:gd name="T22" fmla="*/ 51 w 55"/>
                      <a:gd name="T23" fmla="*/ 44 h 56"/>
                      <a:gd name="T24" fmla="*/ 53 w 55"/>
                      <a:gd name="T25" fmla="*/ 38 h 56"/>
                      <a:gd name="T26" fmla="*/ 55 w 55"/>
                      <a:gd name="T27" fmla="*/ 33 h 56"/>
                      <a:gd name="T28" fmla="*/ 55 w 55"/>
                      <a:gd name="T29" fmla="*/ 28 h 56"/>
                      <a:gd name="T30" fmla="*/ 55 w 55"/>
                      <a:gd name="T31" fmla="*/ 23 h 56"/>
                      <a:gd name="T32" fmla="*/ 53 w 55"/>
                      <a:gd name="T33" fmla="*/ 18 h 56"/>
                      <a:gd name="T34" fmla="*/ 51 w 55"/>
                      <a:gd name="T35" fmla="*/ 13 h 56"/>
                      <a:gd name="T36" fmla="*/ 47 w 55"/>
                      <a:gd name="T37" fmla="*/ 9 h 56"/>
                      <a:gd name="T38" fmla="*/ 47 w 55"/>
                      <a:gd name="T39" fmla="*/ 9 h 56"/>
                      <a:gd name="T40" fmla="*/ 42 w 55"/>
                      <a:gd name="T41" fmla="*/ 6 h 56"/>
                      <a:gd name="T42" fmla="*/ 38 w 55"/>
                      <a:gd name="T43" fmla="*/ 2 h 56"/>
                      <a:gd name="T44" fmla="*/ 33 w 55"/>
                      <a:gd name="T45" fmla="*/ 1 h 56"/>
                      <a:gd name="T46" fmla="*/ 27 w 55"/>
                      <a:gd name="T47" fmla="*/ 0 h 56"/>
                      <a:gd name="T48" fmla="*/ 22 w 55"/>
                      <a:gd name="T49" fmla="*/ 1 h 56"/>
                      <a:gd name="T50" fmla="*/ 17 w 55"/>
                      <a:gd name="T51" fmla="*/ 2 h 56"/>
                      <a:gd name="T52" fmla="*/ 13 w 55"/>
                      <a:gd name="T53" fmla="*/ 6 h 56"/>
                      <a:gd name="T54" fmla="*/ 8 w 55"/>
                      <a:gd name="T55" fmla="*/ 9 h 56"/>
                      <a:gd name="T56" fmla="*/ 8 w 55"/>
                      <a:gd name="T57" fmla="*/ 9 h 56"/>
                      <a:gd name="T58" fmla="*/ 4 w 55"/>
                      <a:gd name="T59" fmla="*/ 13 h 56"/>
                      <a:gd name="T60" fmla="*/ 2 w 55"/>
                      <a:gd name="T61" fmla="*/ 18 h 56"/>
                      <a:gd name="T62" fmla="*/ 0 w 55"/>
                      <a:gd name="T63" fmla="*/ 23 h 56"/>
                      <a:gd name="T64" fmla="*/ 0 w 55"/>
                      <a:gd name="T65" fmla="*/ 28 h 56"/>
                      <a:gd name="T66" fmla="*/ 0 w 55"/>
                      <a:gd name="T67" fmla="*/ 33 h 56"/>
                      <a:gd name="T68" fmla="*/ 2 w 55"/>
                      <a:gd name="T69" fmla="*/ 38 h 56"/>
                      <a:gd name="T70" fmla="*/ 4 w 55"/>
                      <a:gd name="T71" fmla="*/ 44 h 56"/>
                      <a:gd name="T72" fmla="*/ 8 w 55"/>
                      <a:gd name="T73" fmla="*/ 48 h 56"/>
                      <a:gd name="T74" fmla="*/ 8 w 55"/>
                      <a:gd name="T75"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6">
                        <a:moveTo>
                          <a:pt x="8" y="48"/>
                        </a:moveTo>
                        <a:lnTo>
                          <a:pt x="8" y="48"/>
                        </a:lnTo>
                        <a:lnTo>
                          <a:pt x="13" y="51"/>
                        </a:lnTo>
                        <a:lnTo>
                          <a:pt x="17" y="54"/>
                        </a:lnTo>
                        <a:lnTo>
                          <a:pt x="22" y="55"/>
                        </a:lnTo>
                        <a:lnTo>
                          <a:pt x="27" y="56"/>
                        </a:lnTo>
                        <a:lnTo>
                          <a:pt x="33" y="55"/>
                        </a:lnTo>
                        <a:lnTo>
                          <a:pt x="38" y="54"/>
                        </a:lnTo>
                        <a:lnTo>
                          <a:pt x="42" y="51"/>
                        </a:lnTo>
                        <a:lnTo>
                          <a:pt x="47" y="48"/>
                        </a:lnTo>
                        <a:lnTo>
                          <a:pt x="47" y="48"/>
                        </a:lnTo>
                        <a:lnTo>
                          <a:pt x="51" y="44"/>
                        </a:lnTo>
                        <a:lnTo>
                          <a:pt x="53" y="38"/>
                        </a:lnTo>
                        <a:lnTo>
                          <a:pt x="55" y="33"/>
                        </a:lnTo>
                        <a:lnTo>
                          <a:pt x="55" y="28"/>
                        </a:lnTo>
                        <a:lnTo>
                          <a:pt x="55" y="23"/>
                        </a:lnTo>
                        <a:lnTo>
                          <a:pt x="53" y="18"/>
                        </a:lnTo>
                        <a:lnTo>
                          <a:pt x="51" y="13"/>
                        </a:lnTo>
                        <a:lnTo>
                          <a:pt x="47" y="9"/>
                        </a:lnTo>
                        <a:lnTo>
                          <a:pt x="47" y="9"/>
                        </a:lnTo>
                        <a:lnTo>
                          <a:pt x="42" y="6"/>
                        </a:lnTo>
                        <a:lnTo>
                          <a:pt x="38" y="2"/>
                        </a:lnTo>
                        <a:lnTo>
                          <a:pt x="33" y="1"/>
                        </a:lnTo>
                        <a:lnTo>
                          <a:pt x="27" y="0"/>
                        </a:lnTo>
                        <a:lnTo>
                          <a:pt x="22" y="1"/>
                        </a:lnTo>
                        <a:lnTo>
                          <a:pt x="17" y="2"/>
                        </a:lnTo>
                        <a:lnTo>
                          <a:pt x="13" y="6"/>
                        </a:lnTo>
                        <a:lnTo>
                          <a:pt x="8" y="9"/>
                        </a:lnTo>
                        <a:lnTo>
                          <a:pt x="8" y="9"/>
                        </a:lnTo>
                        <a:lnTo>
                          <a:pt x="4" y="13"/>
                        </a:lnTo>
                        <a:lnTo>
                          <a:pt x="2" y="18"/>
                        </a:lnTo>
                        <a:lnTo>
                          <a:pt x="0" y="23"/>
                        </a:lnTo>
                        <a:lnTo>
                          <a:pt x="0" y="28"/>
                        </a:lnTo>
                        <a:lnTo>
                          <a:pt x="0" y="33"/>
                        </a:lnTo>
                        <a:lnTo>
                          <a:pt x="2" y="38"/>
                        </a:lnTo>
                        <a:lnTo>
                          <a:pt x="4" y="44"/>
                        </a:lnTo>
                        <a:lnTo>
                          <a:pt x="8" y="48"/>
                        </a:lnTo>
                        <a:lnTo>
                          <a:pt x="8" y="48"/>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8" name="Freeform 40"/>
                  <p:cNvSpPr>
                    <a:spLocks/>
                  </p:cNvSpPr>
                  <p:nvPr userDrawn="1"/>
                </p:nvSpPr>
                <p:spPr bwMode="auto">
                  <a:xfrm>
                    <a:off x="-748564" y="-750505"/>
                    <a:ext cx="42863" cy="42863"/>
                  </a:xfrm>
                  <a:custGeom>
                    <a:avLst/>
                    <a:gdLst>
                      <a:gd name="T0" fmla="*/ 28 w 55"/>
                      <a:gd name="T1" fmla="*/ 54 h 54"/>
                      <a:gd name="T2" fmla="*/ 28 w 55"/>
                      <a:gd name="T3" fmla="*/ 54 h 54"/>
                      <a:gd name="T4" fmla="*/ 22 w 55"/>
                      <a:gd name="T5" fmla="*/ 54 h 54"/>
                      <a:gd name="T6" fmla="*/ 17 w 55"/>
                      <a:gd name="T7" fmla="*/ 52 h 54"/>
                      <a:gd name="T8" fmla="*/ 13 w 55"/>
                      <a:gd name="T9" fmla="*/ 50 h 54"/>
                      <a:gd name="T10" fmla="*/ 9 w 55"/>
                      <a:gd name="T11" fmla="*/ 47 h 54"/>
                      <a:gd name="T12" fmla="*/ 5 w 55"/>
                      <a:gd name="T13" fmla="*/ 43 h 54"/>
                      <a:gd name="T14" fmla="*/ 3 w 55"/>
                      <a:gd name="T15" fmla="*/ 38 h 54"/>
                      <a:gd name="T16" fmla="*/ 0 w 55"/>
                      <a:gd name="T17" fmla="*/ 33 h 54"/>
                      <a:gd name="T18" fmla="*/ 0 w 55"/>
                      <a:gd name="T19" fmla="*/ 28 h 54"/>
                      <a:gd name="T20" fmla="*/ 0 w 55"/>
                      <a:gd name="T21" fmla="*/ 28 h 54"/>
                      <a:gd name="T22" fmla="*/ 0 w 55"/>
                      <a:gd name="T23" fmla="*/ 21 h 54"/>
                      <a:gd name="T24" fmla="*/ 3 w 55"/>
                      <a:gd name="T25" fmla="*/ 16 h 54"/>
                      <a:gd name="T26" fmla="*/ 5 w 55"/>
                      <a:gd name="T27" fmla="*/ 12 h 54"/>
                      <a:gd name="T28" fmla="*/ 9 w 55"/>
                      <a:gd name="T29" fmla="*/ 8 h 54"/>
                      <a:gd name="T30" fmla="*/ 13 w 55"/>
                      <a:gd name="T31" fmla="*/ 4 h 54"/>
                      <a:gd name="T32" fmla="*/ 17 w 55"/>
                      <a:gd name="T33" fmla="*/ 2 h 54"/>
                      <a:gd name="T34" fmla="*/ 22 w 55"/>
                      <a:gd name="T35" fmla="*/ 0 h 54"/>
                      <a:gd name="T36" fmla="*/ 28 w 55"/>
                      <a:gd name="T37" fmla="*/ 0 h 54"/>
                      <a:gd name="T38" fmla="*/ 28 w 55"/>
                      <a:gd name="T39" fmla="*/ 0 h 54"/>
                      <a:gd name="T40" fmla="*/ 33 w 55"/>
                      <a:gd name="T41" fmla="*/ 0 h 54"/>
                      <a:gd name="T42" fmla="*/ 39 w 55"/>
                      <a:gd name="T43" fmla="*/ 2 h 54"/>
                      <a:gd name="T44" fmla="*/ 44 w 55"/>
                      <a:gd name="T45" fmla="*/ 4 h 54"/>
                      <a:gd name="T46" fmla="*/ 48 w 55"/>
                      <a:gd name="T47" fmla="*/ 8 h 54"/>
                      <a:gd name="T48" fmla="*/ 51 w 55"/>
                      <a:gd name="T49" fmla="*/ 12 h 54"/>
                      <a:gd name="T50" fmla="*/ 53 w 55"/>
                      <a:gd name="T51" fmla="*/ 16 h 54"/>
                      <a:gd name="T52" fmla="*/ 55 w 55"/>
                      <a:gd name="T53" fmla="*/ 21 h 54"/>
                      <a:gd name="T54" fmla="*/ 55 w 55"/>
                      <a:gd name="T55" fmla="*/ 28 h 54"/>
                      <a:gd name="T56" fmla="*/ 55 w 55"/>
                      <a:gd name="T57" fmla="*/ 28 h 54"/>
                      <a:gd name="T58" fmla="*/ 55 w 55"/>
                      <a:gd name="T59" fmla="*/ 33 h 54"/>
                      <a:gd name="T60" fmla="*/ 53 w 55"/>
                      <a:gd name="T61" fmla="*/ 38 h 54"/>
                      <a:gd name="T62" fmla="*/ 51 w 55"/>
                      <a:gd name="T63" fmla="*/ 43 h 54"/>
                      <a:gd name="T64" fmla="*/ 48 w 55"/>
                      <a:gd name="T65" fmla="*/ 47 h 54"/>
                      <a:gd name="T66" fmla="*/ 44 w 55"/>
                      <a:gd name="T67" fmla="*/ 50 h 54"/>
                      <a:gd name="T68" fmla="*/ 39 w 55"/>
                      <a:gd name="T69" fmla="*/ 52 h 54"/>
                      <a:gd name="T70" fmla="*/ 33 w 55"/>
                      <a:gd name="T71" fmla="*/ 54 h 54"/>
                      <a:gd name="T72" fmla="*/ 28 w 55"/>
                      <a:gd name="T73" fmla="*/ 54 h 54"/>
                      <a:gd name="T74" fmla="*/ 28 w 55"/>
                      <a:gd name="T7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4">
                        <a:moveTo>
                          <a:pt x="28" y="54"/>
                        </a:moveTo>
                        <a:lnTo>
                          <a:pt x="28" y="54"/>
                        </a:lnTo>
                        <a:lnTo>
                          <a:pt x="22" y="54"/>
                        </a:lnTo>
                        <a:lnTo>
                          <a:pt x="17" y="52"/>
                        </a:lnTo>
                        <a:lnTo>
                          <a:pt x="13" y="50"/>
                        </a:lnTo>
                        <a:lnTo>
                          <a:pt x="9" y="47"/>
                        </a:lnTo>
                        <a:lnTo>
                          <a:pt x="5" y="43"/>
                        </a:lnTo>
                        <a:lnTo>
                          <a:pt x="3" y="38"/>
                        </a:lnTo>
                        <a:lnTo>
                          <a:pt x="0" y="33"/>
                        </a:lnTo>
                        <a:lnTo>
                          <a:pt x="0" y="28"/>
                        </a:lnTo>
                        <a:lnTo>
                          <a:pt x="0" y="28"/>
                        </a:lnTo>
                        <a:lnTo>
                          <a:pt x="0" y="21"/>
                        </a:lnTo>
                        <a:lnTo>
                          <a:pt x="3" y="16"/>
                        </a:lnTo>
                        <a:lnTo>
                          <a:pt x="5" y="12"/>
                        </a:lnTo>
                        <a:lnTo>
                          <a:pt x="9" y="8"/>
                        </a:lnTo>
                        <a:lnTo>
                          <a:pt x="13" y="4"/>
                        </a:lnTo>
                        <a:lnTo>
                          <a:pt x="17" y="2"/>
                        </a:lnTo>
                        <a:lnTo>
                          <a:pt x="22" y="0"/>
                        </a:lnTo>
                        <a:lnTo>
                          <a:pt x="28" y="0"/>
                        </a:lnTo>
                        <a:lnTo>
                          <a:pt x="28" y="0"/>
                        </a:lnTo>
                        <a:lnTo>
                          <a:pt x="33" y="0"/>
                        </a:lnTo>
                        <a:lnTo>
                          <a:pt x="39" y="2"/>
                        </a:lnTo>
                        <a:lnTo>
                          <a:pt x="44" y="4"/>
                        </a:lnTo>
                        <a:lnTo>
                          <a:pt x="48" y="8"/>
                        </a:lnTo>
                        <a:lnTo>
                          <a:pt x="51" y="12"/>
                        </a:lnTo>
                        <a:lnTo>
                          <a:pt x="53" y="16"/>
                        </a:lnTo>
                        <a:lnTo>
                          <a:pt x="55" y="21"/>
                        </a:lnTo>
                        <a:lnTo>
                          <a:pt x="55" y="28"/>
                        </a:lnTo>
                        <a:lnTo>
                          <a:pt x="55" y="28"/>
                        </a:lnTo>
                        <a:lnTo>
                          <a:pt x="55" y="33"/>
                        </a:lnTo>
                        <a:lnTo>
                          <a:pt x="53" y="38"/>
                        </a:lnTo>
                        <a:lnTo>
                          <a:pt x="51" y="43"/>
                        </a:lnTo>
                        <a:lnTo>
                          <a:pt x="48" y="47"/>
                        </a:lnTo>
                        <a:lnTo>
                          <a:pt x="44" y="50"/>
                        </a:lnTo>
                        <a:lnTo>
                          <a:pt x="39" y="52"/>
                        </a:lnTo>
                        <a:lnTo>
                          <a:pt x="33" y="54"/>
                        </a:lnTo>
                        <a:lnTo>
                          <a:pt x="28" y="54"/>
                        </a:lnTo>
                        <a:lnTo>
                          <a:pt x="28" y="54"/>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89" name="Freeform 41"/>
                  <p:cNvSpPr>
                    <a:spLocks/>
                  </p:cNvSpPr>
                  <p:nvPr userDrawn="1"/>
                </p:nvSpPr>
                <p:spPr bwMode="auto">
                  <a:xfrm>
                    <a:off x="-1770914" y="-750505"/>
                    <a:ext cx="44450" cy="42863"/>
                  </a:xfrm>
                  <a:custGeom>
                    <a:avLst/>
                    <a:gdLst>
                      <a:gd name="T0" fmla="*/ 27 w 54"/>
                      <a:gd name="T1" fmla="*/ 54 h 54"/>
                      <a:gd name="T2" fmla="*/ 27 w 54"/>
                      <a:gd name="T3" fmla="*/ 54 h 54"/>
                      <a:gd name="T4" fmla="*/ 21 w 54"/>
                      <a:gd name="T5" fmla="*/ 54 h 54"/>
                      <a:gd name="T6" fmla="*/ 16 w 54"/>
                      <a:gd name="T7" fmla="*/ 52 h 54"/>
                      <a:gd name="T8" fmla="*/ 12 w 54"/>
                      <a:gd name="T9" fmla="*/ 50 h 54"/>
                      <a:gd name="T10" fmla="*/ 8 w 54"/>
                      <a:gd name="T11" fmla="*/ 47 h 54"/>
                      <a:gd name="T12" fmla="*/ 5 w 54"/>
                      <a:gd name="T13" fmla="*/ 43 h 54"/>
                      <a:gd name="T14" fmla="*/ 2 w 54"/>
                      <a:gd name="T15" fmla="*/ 38 h 54"/>
                      <a:gd name="T16" fmla="*/ 0 w 54"/>
                      <a:gd name="T17" fmla="*/ 33 h 54"/>
                      <a:gd name="T18" fmla="*/ 0 w 54"/>
                      <a:gd name="T19" fmla="*/ 28 h 54"/>
                      <a:gd name="T20" fmla="*/ 0 w 54"/>
                      <a:gd name="T21" fmla="*/ 28 h 54"/>
                      <a:gd name="T22" fmla="*/ 0 w 54"/>
                      <a:gd name="T23" fmla="*/ 21 h 54"/>
                      <a:gd name="T24" fmla="*/ 2 w 54"/>
                      <a:gd name="T25" fmla="*/ 16 h 54"/>
                      <a:gd name="T26" fmla="*/ 5 w 54"/>
                      <a:gd name="T27" fmla="*/ 12 h 54"/>
                      <a:gd name="T28" fmla="*/ 8 w 54"/>
                      <a:gd name="T29" fmla="*/ 8 h 54"/>
                      <a:gd name="T30" fmla="*/ 12 w 54"/>
                      <a:gd name="T31" fmla="*/ 4 h 54"/>
                      <a:gd name="T32" fmla="*/ 16 w 54"/>
                      <a:gd name="T33" fmla="*/ 2 h 54"/>
                      <a:gd name="T34" fmla="*/ 21 w 54"/>
                      <a:gd name="T35" fmla="*/ 0 h 54"/>
                      <a:gd name="T36" fmla="*/ 27 w 54"/>
                      <a:gd name="T37" fmla="*/ 0 h 54"/>
                      <a:gd name="T38" fmla="*/ 27 w 54"/>
                      <a:gd name="T39" fmla="*/ 0 h 54"/>
                      <a:gd name="T40" fmla="*/ 33 w 54"/>
                      <a:gd name="T41" fmla="*/ 0 h 54"/>
                      <a:gd name="T42" fmla="*/ 38 w 54"/>
                      <a:gd name="T43" fmla="*/ 2 h 54"/>
                      <a:gd name="T44" fmla="*/ 43 w 54"/>
                      <a:gd name="T45" fmla="*/ 4 h 54"/>
                      <a:gd name="T46" fmla="*/ 47 w 54"/>
                      <a:gd name="T47" fmla="*/ 8 h 54"/>
                      <a:gd name="T48" fmla="*/ 50 w 54"/>
                      <a:gd name="T49" fmla="*/ 12 h 54"/>
                      <a:gd name="T50" fmla="*/ 52 w 54"/>
                      <a:gd name="T51" fmla="*/ 16 h 54"/>
                      <a:gd name="T52" fmla="*/ 54 w 54"/>
                      <a:gd name="T53" fmla="*/ 21 h 54"/>
                      <a:gd name="T54" fmla="*/ 54 w 54"/>
                      <a:gd name="T55" fmla="*/ 28 h 54"/>
                      <a:gd name="T56" fmla="*/ 54 w 54"/>
                      <a:gd name="T57" fmla="*/ 28 h 54"/>
                      <a:gd name="T58" fmla="*/ 54 w 54"/>
                      <a:gd name="T59" fmla="*/ 33 h 54"/>
                      <a:gd name="T60" fmla="*/ 52 w 54"/>
                      <a:gd name="T61" fmla="*/ 38 h 54"/>
                      <a:gd name="T62" fmla="*/ 50 w 54"/>
                      <a:gd name="T63" fmla="*/ 43 h 54"/>
                      <a:gd name="T64" fmla="*/ 47 w 54"/>
                      <a:gd name="T65" fmla="*/ 47 h 54"/>
                      <a:gd name="T66" fmla="*/ 43 w 54"/>
                      <a:gd name="T67" fmla="*/ 50 h 54"/>
                      <a:gd name="T68" fmla="*/ 38 w 54"/>
                      <a:gd name="T69" fmla="*/ 52 h 54"/>
                      <a:gd name="T70" fmla="*/ 33 w 54"/>
                      <a:gd name="T71" fmla="*/ 54 h 54"/>
                      <a:gd name="T72" fmla="*/ 27 w 54"/>
                      <a:gd name="T73" fmla="*/ 54 h 54"/>
                      <a:gd name="T74" fmla="*/ 27 w 54"/>
                      <a:gd name="T7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 h="54">
                        <a:moveTo>
                          <a:pt x="27" y="54"/>
                        </a:moveTo>
                        <a:lnTo>
                          <a:pt x="27" y="54"/>
                        </a:lnTo>
                        <a:lnTo>
                          <a:pt x="21" y="54"/>
                        </a:lnTo>
                        <a:lnTo>
                          <a:pt x="16" y="52"/>
                        </a:lnTo>
                        <a:lnTo>
                          <a:pt x="12" y="50"/>
                        </a:lnTo>
                        <a:lnTo>
                          <a:pt x="8" y="47"/>
                        </a:lnTo>
                        <a:lnTo>
                          <a:pt x="5" y="43"/>
                        </a:lnTo>
                        <a:lnTo>
                          <a:pt x="2" y="38"/>
                        </a:lnTo>
                        <a:lnTo>
                          <a:pt x="0" y="33"/>
                        </a:lnTo>
                        <a:lnTo>
                          <a:pt x="0" y="28"/>
                        </a:lnTo>
                        <a:lnTo>
                          <a:pt x="0" y="28"/>
                        </a:lnTo>
                        <a:lnTo>
                          <a:pt x="0" y="21"/>
                        </a:lnTo>
                        <a:lnTo>
                          <a:pt x="2" y="16"/>
                        </a:lnTo>
                        <a:lnTo>
                          <a:pt x="5" y="12"/>
                        </a:lnTo>
                        <a:lnTo>
                          <a:pt x="8" y="8"/>
                        </a:lnTo>
                        <a:lnTo>
                          <a:pt x="12" y="4"/>
                        </a:lnTo>
                        <a:lnTo>
                          <a:pt x="16" y="2"/>
                        </a:lnTo>
                        <a:lnTo>
                          <a:pt x="21" y="0"/>
                        </a:lnTo>
                        <a:lnTo>
                          <a:pt x="27" y="0"/>
                        </a:lnTo>
                        <a:lnTo>
                          <a:pt x="27" y="0"/>
                        </a:lnTo>
                        <a:lnTo>
                          <a:pt x="33" y="0"/>
                        </a:lnTo>
                        <a:lnTo>
                          <a:pt x="38" y="2"/>
                        </a:lnTo>
                        <a:lnTo>
                          <a:pt x="43" y="4"/>
                        </a:lnTo>
                        <a:lnTo>
                          <a:pt x="47" y="8"/>
                        </a:lnTo>
                        <a:lnTo>
                          <a:pt x="50" y="12"/>
                        </a:lnTo>
                        <a:lnTo>
                          <a:pt x="52" y="16"/>
                        </a:lnTo>
                        <a:lnTo>
                          <a:pt x="54" y="21"/>
                        </a:lnTo>
                        <a:lnTo>
                          <a:pt x="54" y="28"/>
                        </a:lnTo>
                        <a:lnTo>
                          <a:pt x="54" y="28"/>
                        </a:lnTo>
                        <a:lnTo>
                          <a:pt x="54" y="33"/>
                        </a:lnTo>
                        <a:lnTo>
                          <a:pt x="52" y="38"/>
                        </a:lnTo>
                        <a:lnTo>
                          <a:pt x="50" y="43"/>
                        </a:lnTo>
                        <a:lnTo>
                          <a:pt x="47" y="47"/>
                        </a:lnTo>
                        <a:lnTo>
                          <a:pt x="43" y="50"/>
                        </a:lnTo>
                        <a:lnTo>
                          <a:pt x="38" y="52"/>
                        </a:lnTo>
                        <a:lnTo>
                          <a:pt x="33" y="54"/>
                        </a:lnTo>
                        <a:lnTo>
                          <a:pt x="27" y="54"/>
                        </a:lnTo>
                        <a:lnTo>
                          <a:pt x="27" y="54"/>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0" name="Freeform 42"/>
                  <p:cNvSpPr>
                    <a:spLocks/>
                  </p:cNvSpPr>
                  <p:nvPr userDrawn="1"/>
                </p:nvSpPr>
                <p:spPr bwMode="auto">
                  <a:xfrm>
                    <a:off x="-1664552" y="1418020"/>
                    <a:ext cx="854075" cy="174625"/>
                  </a:xfrm>
                  <a:custGeom>
                    <a:avLst/>
                    <a:gdLst>
                      <a:gd name="T0" fmla="*/ 1076 w 1076"/>
                      <a:gd name="T1" fmla="*/ 220 h 220"/>
                      <a:gd name="T2" fmla="*/ 0 w 1076"/>
                      <a:gd name="T3" fmla="*/ 220 h 220"/>
                      <a:gd name="T4" fmla="*/ 14 w 1076"/>
                      <a:gd name="T5" fmla="*/ 0 h 220"/>
                      <a:gd name="T6" fmla="*/ 1063 w 1076"/>
                      <a:gd name="T7" fmla="*/ 0 h 220"/>
                      <a:gd name="T8" fmla="*/ 1076 w 1076"/>
                      <a:gd name="T9" fmla="*/ 220 h 220"/>
                    </a:gdLst>
                    <a:ahLst/>
                    <a:cxnLst>
                      <a:cxn ang="0">
                        <a:pos x="T0" y="T1"/>
                      </a:cxn>
                      <a:cxn ang="0">
                        <a:pos x="T2" y="T3"/>
                      </a:cxn>
                      <a:cxn ang="0">
                        <a:pos x="T4" y="T5"/>
                      </a:cxn>
                      <a:cxn ang="0">
                        <a:pos x="T6" y="T7"/>
                      </a:cxn>
                      <a:cxn ang="0">
                        <a:pos x="T8" y="T9"/>
                      </a:cxn>
                    </a:cxnLst>
                    <a:rect l="0" t="0" r="r" b="b"/>
                    <a:pathLst>
                      <a:path w="1076" h="220">
                        <a:moveTo>
                          <a:pt x="1076" y="220"/>
                        </a:moveTo>
                        <a:lnTo>
                          <a:pt x="0" y="220"/>
                        </a:lnTo>
                        <a:lnTo>
                          <a:pt x="14" y="0"/>
                        </a:lnTo>
                        <a:lnTo>
                          <a:pt x="1063" y="0"/>
                        </a:lnTo>
                        <a:lnTo>
                          <a:pt x="1076" y="220"/>
                        </a:lnTo>
                        <a:close/>
                      </a:path>
                    </a:pathLst>
                  </a:custGeom>
                  <a:solidFill>
                    <a:srgbClr val="F2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1" name="Freeform 43"/>
                  <p:cNvSpPr>
                    <a:spLocks/>
                  </p:cNvSpPr>
                  <p:nvPr userDrawn="1"/>
                </p:nvSpPr>
                <p:spPr bwMode="auto">
                  <a:xfrm>
                    <a:off x="-1574064" y="894145"/>
                    <a:ext cx="674688" cy="523875"/>
                  </a:xfrm>
                  <a:custGeom>
                    <a:avLst/>
                    <a:gdLst>
                      <a:gd name="T0" fmla="*/ 742 w 850"/>
                      <a:gd name="T1" fmla="*/ 67 h 661"/>
                      <a:gd name="T2" fmla="*/ 742 w 850"/>
                      <a:gd name="T3" fmla="*/ 67 h 661"/>
                      <a:gd name="T4" fmla="*/ 742 w 850"/>
                      <a:gd name="T5" fmla="*/ 64 h 661"/>
                      <a:gd name="T6" fmla="*/ 741 w 850"/>
                      <a:gd name="T7" fmla="*/ 61 h 661"/>
                      <a:gd name="T8" fmla="*/ 739 w 850"/>
                      <a:gd name="T9" fmla="*/ 58 h 661"/>
                      <a:gd name="T10" fmla="*/ 736 w 850"/>
                      <a:gd name="T11" fmla="*/ 54 h 661"/>
                      <a:gd name="T12" fmla="*/ 728 w 850"/>
                      <a:gd name="T13" fmla="*/ 48 h 661"/>
                      <a:gd name="T14" fmla="*/ 717 w 850"/>
                      <a:gd name="T15" fmla="*/ 42 h 661"/>
                      <a:gd name="T16" fmla="*/ 704 w 850"/>
                      <a:gd name="T17" fmla="*/ 35 h 661"/>
                      <a:gd name="T18" fmla="*/ 689 w 850"/>
                      <a:gd name="T19" fmla="*/ 30 h 661"/>
                      <a:gd name="T20" fmla="*/ 670 w 850"/>
                      <a:gd name="T21" fmla="*/ 25 h 661"/>
                      <a:gd name="T22" fmla="*/ 650 w 850"/>
                      <a:gd name="T23" fmla="*/ 20 h 661"/>
                      <a:gd name="T24" fmla="*/ 627 w 850"/>
                      <a:gd name="T25" fmla="*/ 16 h 661"/>
                      <a:gd name="T26" fmla="*/ 602 w 850"/>
                      <a:gd name="T27" fmla="*/ 12 h 661"/>
                      <a:gd name="T28" fmla="*/ 577 w 850"/>
                      <a:gd name="T29" fmla="*/ 9 h 661"/>
                      <a:gd name="T30" fmla="*/ 549 w 850"/>
                      <a:gd name="T31" fmla="*/ 6 h 661"/>
                      <a:gd name="T32" fmla="*/ 520 w 850"/>
                      <a:gd name="T33" fmla="*/ 4 h 661"/>
                      <a:gd name="T34" fmla="*/ 489 w 850"/>
                      <a:gd name="T35" fmla="*/ 2 h 661"/>
                      <a:gd name="T36" fmla="*/ 458 w 850"/>
                      <a:gd name="T37" fmla="*/ 0 h 661"/>
                      <a:gd name="T38" fmla="*/ 425 w 850"/>
                      <a:gd name="T39" fmla="*/ 0 h 661"/>
                      <a:gd name="T40" fmla="*/ 425 w 850"/>
                      <a:gd name="T41" fmla="*/ 0 h 661"/>
                      <a:gd name="T42" fmla="*/ 393 w 850"/>
                      <a:gd name="T43" fmla="*/ 0 h 661"/>
                      <a:gd name="T44" fmla="*/ 362 w 850"/>
                      <a:gd name="T45" fmla="*/ 2 h 661"/>
                      <a:gd name="T46" fmla="*/ 331 w 850"/>
                      <a:gd name="T47" fmla="*/ 4 h 661"/>
                      <a:gd name="T48" fmla="*/ 302 w 850"/>
                      <a:gd name="T49" fmla="*/ 6 h 661"/>
                      <a:gd name="T50" fmla="*/ 274 w 850"/>
                      <a:gd name="T51" fmla="*/ 9 h 661"/>
                      <a:gd name="T52" fmla="*/ 248 w 850"/>
                      <a:gd name="T53" fmla="*/ 12 h 661"/>
                      <a:gd name="T54" fmla="*/ 224 w 850"/>
                      <a:gd name="T55" fmla="*/ 16 h 661"/>
                      <a:gd name="T56" fmla="*/ 201 w 850"/>
                      <a:gd name="T57" fmla="*/ 20 h 661"/>
                      <a:gd name="T58" fmla="*/ 181 w 850"/>
                      <a:gd name="T59" fmla="*/ 25 h 661"/>
                      <a:gd name="T60" fmla="*/ 163 w 850"/>
                      <a:gd name="T61" fmla="*/ 30 h 661"/>
                      <a:gd name="T62" fmla="*/ 147 w 850"/>
                      <a:gd name="T63" fmla="*/ 35 h 661"/>
                      <a:gd name="T64" fmla="*/ 133 w 850"/>
                      <a:gd name="T65" fmla="*/ 42 h 661"/>
                      <a:gd name="T66" fmla="*/ 123 w 850"/>
                      <a:gd name="T67" fmla="*/ 48 h 661"/>
                      <a:gd name="T68" fmla="*/ 115 w 850"/>
                      <a:gd name="T69" fmla="*/ 54 h 661"/>
                      <a:gd name="T70" fmla="*/ 113 w 850"/>
                      <a:gd name="T71" fmla="*/ 58 h 661"/>
                      <a:gd name="T72" fmla="*/ 111 w 850"/>
                      <a:gd name="T73" fmla="*/ 61 h 661"/>
                      <a:gd name="T74" fmla="*/ 109 w 850"/>
                      <a:gd name="T75" fmla="*/ 64 h 661"/>
                      <a:gd name="T76" fmla="*/ 109 w 850"/>
                      <a:gd name="T77" fmla="*/ 67 h 661"/>
                      <a:gd name="T78" fmla="*/ 0 w 850"/>
                      <a:gd name="T79" fmla="*/ 661 h 661"/>
                      <a:gd name="T80" fmla="*/ 850 w 850"/>
                      <a:gd name="T81" fmla="*/ 661 h 661"/>
                      <a:gd name="T82" fmla="*/ 742 w 850"/>
                      <a:gd name="T83" fmla="*/ 67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50" h="661">
                        <a:moveTo>
                          <a:pt x="742" y="67"/>
                        </a:moveTo>
                        <a:lnTo>
                          <a:pt x="742" y="67"/>
                        </a:lnTo>
                        <a:lnTo>
                          <a:pt x="742" y="64"/>
                        </a:lnTo>
                        <a:lnTo>
                          <a:pt x="741" y="61"/>
                        </a:lnTo>
                        <a:lnTo>
                          <a:pt x="739" y="58"/>
                        </a:lnTo>
                        <a:lnTo>
                          <a:pt x="736" y="54"/>
                        </a:lnTo>
                        <a:lnTo>
                          <a:pt x="728" y="48"/>
                        </a:lnTo>
                        <a:lnTo>
                          <a:pt x="717" y="42"/>
                        </a:lnTo>
                        <a:lnTo>
                          <a:pt x="704" y="35"/>
                        </a:lnTo>
                        <a:lnTo>
                          <a:pt x="689" y="30"/>
                        </a:lnTo>
                        <a:lnTo>
                          <a:pt x="670" y="25"/>
                        </a:lnTo>
                        <a:lnTo>
                          <a:pt x="650" y="20"/>
                        </a:lnTo>
                        <a:lnTo>
                          <a:pt x="627" y="16"/>
                        </a:lnTo>
                        <a:lnTo>
                          <a:pt x="602" y="12"/>
                        </a:lnTo>
                        <a:lnTo>
                          <a:pt x="577" y="9"/>
                        </a:lnTo>
                        <a:lnTo>
                          <a:pt x="549" y="6"/>
                        </a:lnTo>
                        <a:lnTo>
                          <a:pt x="520" y="4"/>
                        </a:lnTo>
                        <a:lnTo>
                          <a:pt x="489" y="2"/>
                        </a:lnTo>
                        <a:lnTo>
                          <a:pt x="458" y="0"/>
                        </a:lnTo>
                        <a:lnTo>
                          <a:pt x="425" y="0"/>
                        </a:lnTo>
                        <a:lnTo>
                          <a:pt x="425" y="0"/>
                        </a:lnTo>
                        <a:lnTo>
                          <a:pt x="393" y="0"/>
                        </a:lnTo>
                        <a:lnTo>
                          <a:pt x="362" y="2"/>
                        </a:lnTo>
                        <a:lnTo>
                          <a:pt x="331" y="4"/>
                        </a:lnTo>
                        <a:lnTo>
                          <a:pt x="302" y="6"/>
                        </a:lnTo>
                        <a:lnTo>
                          <a:pt x="274" y="9"/>
                        </a:lnTo>
                        <a:lnTo>
                          <a:pt x="248" y="12"/>
                        </a:lnTo>
                        <a:lnTo>
                          <a:pt x="224" y="16"/>
                        </a:lnTo>
                        <a:lnTo>
                          <a:pt x="201" y="20"/>
                        </a:lnTo>
                        <a:lnTo>
                          <a:pt x="181" y="25"/>
                        </a:lnTo>
                        <a:lnTo>
                          <a:pt x="163" y="30"/>
                        </a:lnTo>
                        <a:lnTo>
                          <a:pt x="147" y="35"/>
                        </a:lnTo>
                        <a:lnTo>
                          <a:pt x="133" y="42"/>
                        </a:lnTo>
                        <a:lnTo>
                          <a:pt x="123" y="48"/>
                        </a:lnTo>
                        <a:lnTo>
                          <a:pt x="115" y="54"/>
                        </a:lnTo>
                        <a:lnTo>
                          <a:pt x="113" y="58"/>
                        </a:lnTo>
                        <a:lnTo>
                          <a:pt x="111" y="61"/>
                        </a:lnTo>
                        <a:lnTo>
                          <a:pt x="109" y="64"/>
                        </a:lnTo>
                        <a:lnTo>
                          <a:pt x="109" y="67"/>
                        </a:lnTo>
                        <a:lnTo>
                          <a:pt x="0" y="661"/>
                        </a:lnTo>
                        <a:lnTo>
                          <a:pt x="850" y="661"/>
                        </a:lnTo>
                        <a:lnTo>
                          <a:pt x="742" y="67"/>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2" name="Rectangle 44"/>
                  <p:cNvSpPr>
                    <a:spLocks noChangeArrowheads="1"/>
                  </p:cNvSpPr>
                  <p:nvPr userDrawn="1"/>
                </p:nvSpPr>
                <p:spPr bwMode="auto">
                  <a:xfrm>
                    <a:off x="-1286727" y="327407"/>
                    <a:ext cx="96838" cy="1693863"/>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3" name="Rectangle 45"/>
                  <p:cNvSpPr>
                    <a:spLocks noChangeArrowheads="1"/>
                  </p:cNvSpPr>
                  <p:nvPr userDrawn="1"/>
                </p:nvSpPr>
                <p:spPr bwMode="auto">
                  <a:xfrm>
                    <a:off x="-1286727" y="327407"/>
                    <a:ext cx="96838" cy="569913"/>
                  </a:xfrm>
                  <a:prstGeom prst="rect">
                    <a:avLst/>
                  </a:prstGeom>
                  <a:solidFill>
                    <a:srgbClr val="80828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4" name="Freeform 47"/>
                  <p:cNvSpPr>
                    <a:spLocks/>
                  </p:cNvSpPr>
                  <p:nvPr userDrawn="1"/>
                </p:nvSpPr>
                <p:spPr bwMode="auto">
                  <a:xfrm>
                    <a:off x="-635852" y="-336168"/>
                    <a:ext cx="735013" cy="463550"/>
                  </a:xfrm>
                  <a:custGeom>
                    <a:avLst/>
                    <a:gdLst>
                      <a:gd name="T0" fmla="*/ 0 w 926"/>
                      <a:gd name="T1" fmla="*/ 530 h 585"/>
                      <a:gd name="T2" fmla="*/ 40 w 926"/>
                      <a:gd name="T3" fmla="*/ 585 h 585"/>
                      <a:gd name="T4" fmla="*/ 40 w 926"/>
                      <a:gd name="T5" fmla="*/ 585 h 585"/>
                      <a:gd name="T6" fmla="*/ 88 w 926"/>
                      <a:gd name="T7" fmla="*/ 551 h 585"/>
                      <a:gd name="T8" fmla="*/ 137 w 926"/>
                      <a:gd name="T9" fmla="*/ 518 h 585"/>
                      <a:gd name="T10" fmla="*/ 237 w 926"/>
                      <a:gd name="T11" fmla="*/ 453 h 585"/>
                      <a:gd name="T12" fmla="*/ 340 w 926"/>
                      <a:gd name="T13" fmla="*/ 388 h 585"/>
                      <a:gd name="T14" fmla="*/ 448 w 926"/>
                      <a:gd name="T15" fmla="*/ 323 h 585"/>
                      <a:gd name="T16" fmla="*/ 559 w 926"/>
                      <a:gd name="T17" fmla="*/ 257 h 585"/>
                      <a:gd name="T18" fmla="*/ 675 w 926"/>
                      <a:gd name="T19" fmla="*/ 191 h 585"/>
                      <a:gd name="T20" fmla="*/ 926 w 926"/>
                      <a:gd name="T21" fmla="*/ 48 h 585"/>
                      <a:gd name="T22" fmla="*/ 878 w 926"/>
                      <a:gd name="T23" fmla="*/ 0 h 585"/>
                      <a:gd name="T24" fmla="*/ 878 w 926"/>
                      <a:gd name="T25" fmla="*/ 0 h 585"/>
                      <a:gd name="T26" fmla="*/ 878 w 926"/>
                      <a:gd name="T27" fmla="*/ 0 h 585"/>
                      <a:gd name="T28" fmla="*/ 631 w 926"/>
                      <a:gd name="T29" fmla="*/ 140 h 585"/>
                      <a:gd name="T30" fmla="*/ 515 w 926"/>
                      <a:gd name="T31" fmla="*/ 207 h 585"/>
                      <a:gd name="T32" fmla="*/ 405 w 926"/>
                      <a:gd name="T33" fmla="*/ 272 h 585"/>
                      <a:gd name="T34" fmla="*/ 299 w 926"/>
                      <a:gd name="T35" fmla="*/ 336 h 585"/>
                      <a:gd name="T36" fmla="*/ 197 w 926"/>
                      <a:gd name="T37" fmla="*/ 399 h 585"/>
                      <a:gd name="T38" fmla="*/ 97 w 926"/>
                      <a:gd name="T39" fmla="*/ 464 h 585"/>
                      <a:gd name="T40" fmla="*/ 49 w 926"/>
                      <a:gd name="T41" fmla="*/ 497 h 585"/>
                      <a:gd name="T42" fmla="*/ 0 w 926"/>
                      <a:gd name="T43" fmla="*/ 530 h 585"/>
                      <a:gd name="T44" fmla="*/ 0 w 926"/>
                      <a:gd name="T45" fmla="*/ 53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26" h="585">
                        <a:moveTo>
                          <a:pt x="0" y="530"/>
                        </a:moveTo>
                        <a:lnTo>
                          <a:pt x="40" y="585"/>
                        </a:lnTo>
                        <a:lnTo>
                          <a:pt x="40" y="585"/>
                        </a:lnTo>
                        <a:lnTo>
                          <a:pt x="88" y="551"/>
                        </a:lnTo>
                        <a:lnTo>
                          <a:pt x="137" y="518"/>
                        </a:lnTo>
                        <a:lnTo>
                          <a:pt x="237" y="453"/>
                        </a:lnTo>
                        <a:lnTo>
                          <a:pt x="340" y="388"/>
                        </a:lnTo>
                        <a:lnTo>
                          <a:pt x="448" y="323"/>
                        </a:lnTo>
                        <a:lnTo>
                          <a:pt x="559" y="257"/>
                        </a:lnTo>
                        <a:lnTo>
                          <a:pt x="675" y="191"/>
                        </a:lnTo>
                        <a:lnTo>
                          <a:pt x="926" y="48"/>
                        </a:lnTo>
                        <a:lnTo>
                          <a:pt x="878" y="0"/>
                        </a:lnTo>
                        <a:lnTo>
                          <a:pt x="878" y="0"/>
                        </a:lnTo>
                        <a:lnTo>
                          <a:pt x="878" y="0"/>
                        </a:lnTo>
                        <a:lnTo>
                          <a:pt x="631" y="140"/>
                        </a:lnTo>
                        <a:lnTo>
                          <a:pt x="515" y="207"/>
                        </a:lnTo>
                        <a:lnTo>
                          <a:pt x="405" y="272"/>
                        </a:lnTo>
                        <a:lnTo>
                          <a:pt x="299" y="336"/>
                        </a:lnTo>
                        <a:lnTo>
                          <a:pt x="197" y="399"/>
                        </a:lnTo>
                        <a:lnTo>
                          <a:pt x="97" y="464"/>
                        </a:lnTo>
                        <a:lnTo>
                          <a:pt x="49" y="497"/>
                        </a:lnTo>
                        <a:lnTo>
                          <a:pt x="0" y="530"/>
                        </a:lnTo>
                        <a:lnTo>
                          <a:pt x="0" y="530"/>
                        </a:lnTo>
                        <a:close/>
                      </a:path>
                    </a:pathLst>
                  </a:custGeom>
                  <a:solidFill>
                    <a:srgbClr val="F792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sp>
              <p:nvSpPr>
                <p:cNvPr id="964" name="자유형 963"/>
                <p:cNvSpPr>
                  <a:spLocks/>
                </p:cNvSpPr>
                <p:nvPr userDrawn="1"/>
              </p:nvSpPr>
              <p:spPr bwMode="auto">
                <a:xfrm>
                  <a:off x="1137898" y="1236986"/>
                  <a:ext cx="1919462" cy="3411233"/>
                </a:xfrm>
                <a:custGeom>
                  <a:avLst/>
                  <a:gdLst>
                    <a:gd name="connsiteX0" fmla="*/ 12427 w 1919462"/>
                    <a:gd name="connsiteY0" fmla="*/ 0 h 3411233"/>
                    <a:gd name="connsiteX1" fmla="*/ 19626 w 1919462"/>
                    <a:gd name="connsiteY1" fmla="*/ 7821 h 3411233"/>
                    <a:gd name="connsiteX2" fmla="*/ 38823 w 1919462"/>
                    <a:gd name="connsiteY2" fmla="*/ 30681 h 3411233"/>
                    <a:gd name="connsiteX3" fmla="*/ 68818 w 1919462"/>
                    <a:gd name="connsiteY3" fmla="*/ 67377 h 3411233"/>
                    <a:gd name="connsiteX4" fmla="*/ 87415 w 1919462"/>
                    <a:gd name="connsiteY4" fmla="*/ 90838 h 3411233"/>
                    <a:gd name="connsiteX5" fmla="*/ 107811 w 1919462"/>
                    <a:gd name="connsiteY5" fmla="*/ 117909 h 3411233"/>
                    <a:gd name="connsiteX6" fmla="*/ 130007 w 1919462"/>
                    <a:gd name="connsiteY6" fmla="*/ 147988 h 3411233"/>
                    <a:gd name="connsiteX7" fmla="*/ 154003 w 1919462"/>
                    <a:gd name="connsiteY7" fmla="*/ 180473 h 3411233"/>
                    <a:gd name="connsiteX8" fmla="*/ 179199 w 1919462"/>
                    <a:gd name="connsiteY8" fmla="*/ 215966 h 3411233"/>
                    <a:gd name="connsiteX9" fmla="*/ 205595 w 1919462"/>
                    <a:gd name="connsiteY9" fmla="*/ 254466 h 3411233"/>
                    <a:gd name="connsiteX10" fmla="*/ 233790 w 1919462"/>
                    <a:gd name="connsiteY10" fmla="*/ 295975 h 3411233"/>
                    <a:gd name="connsiteX11" fmla="*/ 261986 w 1919462"/>
                    <a:gd name="connsiteY11" fmla="*/ 339289 h 3411233"/>
                    <a:gd name="connsiteX12" fmla="*/ 290181 w 1919462"/>
                    <a:gd name="connsiteY12" fmla="*/ 385008 h 3411233"/>
                    <a:gd name="connsiteX13" fmla="*/ 320176 w 1919462"/>
                    <a:gd name="connsiteY13" fmla="*/ 433134 h 3411233"/>
                    <a:gd name="connsiteX14" fmla="*/ 342372 w 1919462"/>
                    <a:gd name="connsiteY14" fmla="*/ 471635 h 3411233"/>
                    <a:gd name="connsiteX15" fmla="*/ 364568 w 1919462"/>
                    <a:gd name="connsiteY15" fmla="*/ 510737 h 3411233"/>
                    <a:gd name="connsiteX16" fmla="*/ 386765 w 1919462"/>
                    <a:gd name="connsiteY16" fmla="*/ 551644 h 3411233"/>
                    <a:gd name="connsiteX17" fmla="*/ 408222 w 1919462"/>
                    <a:gd name="connsiteY17" fmla="*/ 591771 h 3411233"/>
                    <a:gd name="connsiteX18" fmla="*/ 409077 w 1919462"/>
                    <a:gd name="connsiteY18" fmla="*/ 591968 h 3411233"/>
                    <a:gd name="connsiteX19" fmla="*/ 431880 w 1919462"/>
                    <a:gd name="connsiteY19" fmla="*/ 637609 h 3411233"/>
                    <a:gd name="connsiteX20" fmla="*/ 454083 w 1919462"/>
                    <a:gd name="connsiteY20" fmla="*/ 684450 h 3411233"/>
                    <a:gd name="connsiteX21" fmla="*/ 476286 w 1919462"/>
                    <a:gd name="connsiteY21" fmla="*/ 731893 h 3411233"/>
                    <a:gd name="connsiteX22" fmla="*/ 497288 w 1919462"/>
                    <a:gd name="connsiteY22" fmla="*/ 779935 h 3411233"/>
                    <a:gd name="connsiteX23" fmla="*/ 517691 w 1919462"/>
                    <a:gd name="connsiteY23" fmla="*/ 829179 h 3411233"/>
                    <a:gd name="connsiteX24" fmla="*/ 536894 w 1919462"/>
                    <a:gd name="connsiteY24" fmla="*/ 880225 h 3411233"/>
                    <a:gd name="connsiteX25" fmla="*/ 555496 w 1919462"/>
                    <a:gd name="connsiteY25" fmla="*/ 930669 h 3411233"/>
                    <a:gd name="connsiteX26" fmla="*/ 572298 w 1919462"/>
                    <a:gd name="connsiteY26" fmla="*/ 982916 h 3411233"/>
                    <a:gd name="connsiteX27" fmla="*/ 588500 w 1919462"/>
                    <a:gd name="connsiteY27" fmla="*/ 1035763 h 3411233"/>
                    <a:gd name="connsiteX28" fmla="*/ 595701 w 1919462"/>
                    <a:gd name="connsiteY28" fmla="*/ 1062186 h 3411233"/>
                    <a:gd name="connsiteX29" fmla="*/ 603502 w 1919462"/>
                    <a:gd name="connsiteY29" fmla="*/ 1088610 h 3411233"/>
                    <a:gd name="connsiteX30" fmla="*/ 610103 w 1919462"/>
                    <a:gd name="connsiteY30" fmla="*/ 1116235 h 3411233"/>
                    <a:gd name="connsiteX31" fmla="*/ 616104 w 1919462"/>
                    <a:gd name="connsiteY31" fmla="*/ 1142658 h 3411233"/>
                    <a:gd name="connsiteX32" fmla="*/ 622705 w 1919462"/>
                    <a:gd name="connsiteY32" fmla="*/ 1169682 h 3411233"/>
                    <a:gd name="connsiteX33" fmla="*/ 628105 w 1919462"/>
                    <a:gd name="connsiteY33" fmla="*/ 1197307 h 3411233"/>
                    <a:gd name="connsiteX34" fmla="*/ 632906 w 1919462"/>
                    <a:gd name="connsiteY34" fmla="*/ 1224931 h 3411233"/>
                    <a:gd name="connsiteX35" fmla="*/ 637707 w 1919462"/>
                    <a:gd name="connsiteY35" fmla="*/ 1252556 h 3411233"/>
                    <a:gd name="connsiteX36" fmla="*/ 642507 w 1919462"/>
                    <a:gd name="connsiteY36" fmla="*/ 1279580 h 3411233"/>
                    <a:gd name="connsiteX37" fmla="*/ 646108 w 1919462"/>
                    <a:gd name="connsiteY37" fmla="*/ 1307204 h 3411233"/>
                    <a:gd name="connsiteX38" fmla="*/ 649108 w 1919462"/>
                    <a:gd name="connsiteY38" fmla="*/ 1335430 h 3411233"/>
                    <a:gd name="connsiteX39" fmla="*/ 652109 w 1919462"/>
                    <a:gd name="connsiteY39" fmla="*/ 1363054 h 3411233"/>
                    <a:gd name="connsiteX40" fmla="*/ 654509 w 1919462"/>
                    <a:gd name="connsiteY40" fmla="*/ 1391279 h 3411233"/>
                    <a:gd name="connsiteX41" fmla="*/ 656309 w 1919462"/>
                    <a:gd name="connsiteY41" fmla="*/ 1419504 h 3411233"/>
                    <a:gd name="connsiteX42" fmla="*/ 626905 w 1919462"/>
                    <a:gd name="connsiteY42" fmla="*/ 1406893 h 3411233"/>
                    <a:gd name="connsiteX43" fmla="*/ 596301 w 1919462"/>
                    <a:gd name="connsiteY43" fmla="*/ 1394282 h 3411233"/>
                    <a:gd name="connsiteX44" fmla="*/ 565097 w 1919462"/>
                    <a:gd name="connsiteY44" fmla="*/ 1382872 h 3411233"/>
                    <a:gd name="connsiteX45" fmla="*/ 532693 w 1919462"/>
                    <a:gd name="connsiteY45" fmla="*/ 1371462 h 3411233"/>
                    <a:gd name="connsiteX46" fmla="*/ 500289 w 1919462"/>
                    <a:gd name="connsiteY46" fmla="*/ 1360652 h 3411233"/>
                    <a:gd name="connsiteX47" fmla="*/ 466084 w 1919462"/>
                    <a:gd name="connsiteY47" fmla="*/ 1349842 h 3411233"/>
                    <a:gd name="connsiteX48" fmla="*/ 431880 w 1919462"/>
                    <a:gd name="connsiteY48" fmla="*/ 1340234 h 3411233"/>
                    <a:gd name="connsiteX49" fmla="*/ 396475 w 1919462"/>
                    <a:gd name="connsiteY49" fmla="*/ 1331226 h 3411233"/>
                    <a:gd name="connsiteX50" fmla="*/ 359871 w 1919462"/>
                    <a:gd name="connsiteY50" fmla="*/ 1322218 h 3411233"/>
                    <a:gd name="connsiteX51" fmla="*/ 323266 w 1919462"/>
                    <a:gd name="connsiteY51" fmla="*/ 1315011 h 3411233"/>
                    <a:gd name="connsiteX52" fmla="*/ 286061 w 1919462"/>
                    <a:gd name="connsiteY52" fmla="*/ 1307204 h 3411233"/>
                    <a:gd name="connsiteX53" fmla="*/ 247656 w 1919462"/>
                    <a:gd name="connsiteY53" fmla="*/ 1301199 h 3411233"/>
                    <a:gd name="connsiteX54" fmla="*/ 208651 w 1919462"/>
                    <a:gd name="connsiteY54" fmla="*/ 1295794 h 3411233"/>
                    <a:gd name="connsiteX55" fmla="*/ 170246 w 1919462"/>
                    <a:gd name="connsiteY55" fmla="*/ 1291591 h 3411233"/>
                    <a:gd name="connsiteX56" fmla="*/ 130041 w 1919462"/>
                    <a:gd name="connsiteY56" fmla="*/ 1287987 h 3411233"/>
                    <a:gd name="connsiteX57" fmla="*/ 89836 w 1919462"/>
                    <a:gd name="connsiteY57" fmla="*/ 1284985 h 3411233"/>
                    <a:gd name="connsiteX58" fmla="*/ 89836 w 1919462"/>
                    <a:gd name="connsiteY58" fmla="*/ 1285985 h 3411233"/>
                    <a:gd name="connsiteX59" fmla="*/ 104580 w 1919462"/>
                    <a:gd name="connsiteY59" fmla="*/ 1286567 h 3411233"/>
                    <a:gd name="connsiteX60" fmla="*/ 149607 w 1919462"/>
                    <a:gd name="connsiteY60" fmla="*/ 1290169 h 3411233"/>
                    <a:gd name="connsiteX61" fmla="*/ 193433 w 1919462"/>
                    <a:gd name="connsiteY61" fmla="*/ 1294972 h 3411233"/>
                    <a:gd name="connsiteX62" fmla="*/ 237259 w 1919462"/>
                    <a:gd name="connsiteY62" fmla="*/ 1300375 h 3411233"/>
                    <a:gd name="connsiteX63" fmla="*/ 279884 w 1919462"/>
                    <a:gd name="connsiteY63" fmla="*/ 1306979 h 3411233"/>
                    <a:gd name="connsiteX64" fmla="*/ 321909 w 1919462"/>
                    <a:gd name="connsiteY64" fmla="*/ 1315384 h 3411233"/>
                    <a:gd name="connsiteX65" fmla="*/ 363334 w 1919462"/>
                    <a:gd name="connsiteY65" fmla="*/ 1323789 h 3411233"/>
                    <a:gd name="connsiteX66" fmla="*/ 402958 w 1919462"/>
                    <a:gd name="connsiteY66" fmla="*/ 1333995 h 3411233"/>
                    <a:gd name="connsiteX67" fmla="*/ 441981 w 1919462"/>
                    <a:gd name="connsiteY67" fmla="*/ 1344201 h 3411233"/>
                    <a:gd name="connsiteX68" fmla="*/ 481004 w 1919462"/>
                    <a:gd name="connsiteY68" fmla="*/ 1355608 h 3411233"/>
                    <a:gd name="connsiteX69" fmla="*/ 518226 w 1919462"/>
                    <a:gd name="connsiteY69" fmla="*/ 1367015 h 3411233"/>
                    <a:gd name="connsiteX70" fmla="*/ 554248 w 1919462"/>
                    <a:gd name="connsiteY70" fmla="*/ 1379622 h 3411233"/>
                    <a:gd name="connsiteX71" fmla="*/ 589669 w 1919462"/>
                    <a:gd name="connsiteY71" fmla="*/ 1392830 h 3411233"/>
                    <a:gd name="connsiteX72" fmla="*/ 623889 w 1919462"/>
                    <a:gd name="connsiteY72" fmla="*/ 1406038 h 3411233"/>
                    <a:gd name="connsiteX73" fmla="*/ 656909 w 1919462"/>
                    <a:gd name="connsiteY73" fmla="*/ 1420447 h 3411233"/>
                    <a:gd name="connsiteX74" fmla="*/ 658110 w 1919462"/>
                    <a:gd name="connsiteY74" fmla="*/ 1458870 h 3411233"/>
                    <a:gd name="connsiteX75" fmla="*/ 658710 w 1919462"/>
                    <a:gd name="connsiteY75" fmla="*/ 1497293 h 3411233"/>
                    <a:gd name="connsiteX76" fmla="*/ 658710 w 1919462"/>
                    <a:gd name="connsiteY76" fmla="*/ 1547723 h 3411233"/>
                    <a:gd name="connsiteX77" fmla="*/ 657509 w 1919462"/>
                    <a:gd name="connsiteY77" fmla="*/ 1595752 h 3411233"/>
                    <a:gd name="connsiteX78" fmla="*/ 655108 w 1919462"/>
                    <a:gd name="connsiteY78" fmla="*/ 1643780 h 3411233"/>
                    <a:gd name="connsiteX79" fmla="*/ 652707 w 1919462"/>
                    <a:gd name="connsiteY79" fmla="*/ 1690608 h 3411233"/>
                    <a:gd name="connsiteX80" fmla="*/ 652093 w 1919462"/>
                    <a:gd name="connsiteY80" fmla="*/ 1689953 h 3411233"/>
                    <a:gd name="connsiteX81" fmla="*/ 647908 w 1919462"/>
                    <a:gd name="connsiteY81" fmla="*/ 1744994 h 3411233"/>
                    <a:gd name="connsiteX82" fmla="*/ 642507 w 1919462"/>
                    <a:gd name="connsiteY82" fmla="*/ 1799042 h 3411233"/>
                    <a:gd name="connsiteX83" fmla="*/ 638088 w 1919462"/>
                    <a:gd name="connsiteY83" fmla="*/ 1835228 h 3411233"/>
                    <a:gd name="connsiteX84" fmla="*/ 647303 w 1919462"/>
                    <a:gd name="connsiteY84" fmla="*/ 1829546 h 3411233"/>
                    <a:gd name="connsiteX85" fmla="*/ 710941 w 1919462"/>
                    <a:gd name="connsiteY85" fmla="*/ 1791188 h 3411233"/>
                    <a:gd name="connsiteX86" fmla="*/ 776981 w 1919462"/>
                    <a:gd name="connsiteY86" fmla="*/ 1752232 h 3411233"/>
                    <a:gd name="connsiteX87" fmla="*/ 846622 w 1919462"/>
                    <a:gd name="connsiteY87" fmla="*/ 1712077 h 3411233"/>
                    <a:gd name="connsiteX88" fmla="*/ 994911 w 1919462"/>
                    <a:gd name="connsiteY88" fmla="*/ 1628170 h 3411233"/>
                    <a:gd name="connsiteX89" fmla="*/ 1023728 w 1919462"/>
                    <a:gd name="connsiteY89" fmla="*/ 1656938 h 3411233"/>
                    <a:gd name="connsiteX90" fmla="*/ 873038 w 1919462"/>
                    <a:gd name="connsiteY90" fmla="*/ 1742642 h 3411233"/>
                    <a:gd name="connsiteX91" fmla="*/ 803396 w 1919462"/>
                    <a:gd name="connsiteY91" fmla="*/ 1782198 h 3411233"/>
                    <a:gd name="connsiteX92" fmla="*/ 736757 w 1919462"/>
                    <a:gd name="connsiteY92" fmla="*/ 1821754 h 3411233"/>
                    <a:gd name="connsiteX93" fmla="*/ 671918 w 1919462"/>
                    <a:gd name="connsiteY93" fmla="*/ 1860711 h 3411233"/>
                    <a:gd name="connsiteX94" fmla="*/ 631332 w 1919462"/>
                    <a:gd name="connsiteY94" fmla="*/ 1886280 h 3411233"/>
                    <a:gd name="connsiteX95" fmla="*/ 628705 w 1919462"/>
                    <a:gd name="connsiteY95" fmla="*/ 1905337 h 3411233"/>
                    <a:gd name="connsiteX96" fmla="*/ 620304 w 1919462"/>
                    <a:gd name="connsiteY96" fmla="*/ 1958184 h 3411233"/>
                    <a:gd name="connsiteX97" fmla="*/ 610703 w 1919462"/>
                    <a:gd name="connsiteY97" fmla="*/ 2010430 h 3411233"/>
                    <a:gd name="connsiteX98" fmla="*/ 600502 w 1919462"/>
                    <a:gd name="connsiteY98" fmla="*/ 2062677 h 3411233"/>
                    <a:gd name="connsiteX99" fmla="*/ 589100 w 1919462"/>
                    <a:gd name="connsiteY99" fmla="*/ 2115524 h 3411233"/>
                    <a:gd name="connsiteX100" fmla="*/ 584385 w 1919462"/>
                    <a:gd name="connsiteY100" fmla="*/ 2136522 h 3411233"/>
                    <a:gd name="connsiteX101" fmla="*/ 587032 w 1919462"/>
                    <a:gd name="connsiteY101" fmla="*/ 2138474 h 3411233"/>
                    <a:gd name="connsiteX102" fmla="*/ 618222 w 1919462"/>
                    <a:gd name="connsiteY102" fmla="*/ 2160687 h 3411233"/>
                    <a:gd name="connsiteX103" fmla="*/ 665606 w 1919462"/>
                    <a:gd name="connsiteY103" fmla="*/ 2192506 h 3411233"/>
                    <a:gd name="connsiteX104" fmla="*/ 693796 w 1919462"/>
                    <a:gd name="connsiteY104" fmla="*/ 2211117 h 3411233"/>
                    <a:gd name="connsiteX105" fmla="*/ 723786 w 1919462"/>
                    <a:gd name="connsiteY105" fmla="*/ 2230329 h 3411233"/>
                    <a:gd name="connsiteX106" fmla="*/ 755576 w 1919462"/>
                    <a:gd name="connsiteY106" fmla="*/ 2250141 h 3411233"/>
                    <a:gd name="connsiteX107" fmla="*/ 788564 w 1919462"/>
                    <a:gd name="connsiteY107" fmla="*/ 2269352 h 3411233"/>
                    <a:gd name="connsiteX108" fmla="*/ 822153 w 1919462"/>
                    <a:gd name="connsiteY108" fmla="*/ 2287963 h 3411233"/>
                    <a:gd name="connsiteX109" fmla="*/ 855742 w 1919462"/>
                    <a:gd name="connsiteY109" fmla="*/ 2305374 h 3411233"/>
                    <a:gd name="connsiteX110" fmla="*/ 872536 w 1919462"/>
                    <a:gd name="connsiteY110" fmla="*/ 2312578 h 3411233"/>
                    <a:gd name="connsiteX111" fmla="*/ 888731 w 1919462"/>
                    <a:gd name="connsiteY111" fmla="*/ 2320382 h 3411233"/>
                    <a:gd name="connsiteX112" fmla="*/ 904925 w 1919462"/>
                    <a:gd name="connsiteY112" fmla="*/ 2327587 h 3411233"/>
                    <a:gd name="connsiteX113" fmla="*/ 920520 w 1919462"/>
                    <a:gd name="connsiteY113" fmla="*/ 2333590 h 3411233"/>
                    <a:gd name="connsiteX114" fmla="*/ 936115 w 1919462"/>
                    <a:gd name="connsiteY114" fmla="*/ 2338393 h 3411233"/>
                    <a:gd name="connsiteX115" fmla="*/ 951110 w 1919462"/>
                    <a:gd name="connsiteY115" fmla="*/ 2343196 h 3411233"/>
                    <a:gd name="connsiteX116" fmla="*/ 966105 w 1919462"/>
                    <a:gd name="connsiteY116" fmla="*/ 2347399 h 3411233"/>
                    <a:gd name="connsiteX117" fmla="*/ 979300 w 1919462"/>
                    <a:gd name="connsiteY117" fmla="*/ 2350400 h 3411233"/>
                    <a:gd name="connsiteX118" fmla="*/ 958129 w 1919462"/>
                    <a:gd name="connsiteY118" fmla="*/ 2450519 h 3411233"/>
                    <a:gd name="connsiteX119" fmla="*/ 1865451 w 1919462"/>
                    <a:gd name="connsiteY119" fmla="*/ 3116458 h 3411233"/>
                    <a:gd name="connsiteX120" fmla="*/ 1870852 w 1919462"/>
                    <a:gd name="connsiteY120" fmla="*/ 3120660 h 3411233"/>
                    <a:gd name="connsiteX121" fmla="*/ 1878054 w 1919462"/>
                    <a:gd name="connsiteY121" fmla="*/ 3127264 h 3411233"/>
                    <a:gd name="connsiteX122" fmla="*/ 1886455 w 1919462"/>
                    <a:gd name="connsiteY122" fmla="*/ 3136269 h 3411233"/>
                    <a:gd name="connsiteX123" fmla="*/ 1891256 w 1919462"/>
                    <a:gd name="connsiteY123" fmla="*/ 3142273 h 3411233"/>
                    <a:gd name="connsiteX124" fmla="*/ 1896057 w 1919462"/>
                    <a:gd name="connsiteY124" fmla="*/ 3148277 h 3411233"/>
                    <a:gd name="connsiteX125" fmla="*/ 1900258 w 1919462"/>
                    <a:gd name="connsiteY125" fmla="*/ 3154881 h 3411233"/>
                    <a:gd name="connsiteX126" fmla="*/ 1904459 w 1919462"/>
                    <a:gd name="connsiteY126" fmla="*/ 3162085 h 3411233"/>
                    <a:gd name="connsiteX127" fmla="*/ 1908660 w 1919462"/>
                    <a:gd name="connsiteY127" fmla="*/ 3170490 h 3411233"/>
                    <a:gd name="connsiteX128" fmla="*/ 1912261 w 1919462"/>
                    <a:gd name="connsiteY128" fmla="*/ 3178895 h 3411233"/>
                    <a:gd name="connsiteX129" fmla="*/ 1915261 w 1919462"/>
                    <a:gd name="connsiteY129" fmla="*/ 3187900 h 3411233"/>
                    <a:gd name="connsiteX130" fmla="*/ 1917662 w 1919462"/>
                    <a:gd name="connsiteY130" fmla="*/ 3197506 h 3411233"/>
                    <a:gd name="connsiteX131" fmla="*/ 1918862 w 1919462"/>
                    <a:gd name="connsiteY131" fmla="*/ 3207712 h 3411233"/>
                    <a:gd name="connsiteX132" fmla="*/ 1919462 w 1919462"/>
                    <a:gd name="connsiteY132" fmla="*/ 3217918 h 3411233"/>
                    <a:gd name="connsiteX133" fmla="*/ 1919462 w 1919462"/>
                    <a:gd name="connsiteY133" fmla="*/ 3411233 h 3411233"/>
                    <a:gd name="connsiteX134" fmla="*/ 1894857 w 1919462"/>
                    <a:gd name="connsiteY134" fmla="*/ 3411233 h 3411233"/>
                    <a:gd name="connsiteX135" fmla="*/ 1894856 w 1919462"/>
                    <a:gd name="connsiteY135" fmla="*/ 3411232 h 3411233"/>
                    <a:gd name="connsiteX136" fmla="*/ 1621083 w 1919462"/>
                    <a:gd name="connsiteY136" fmla="*/ 3411232 h 3411233"/>
                    <a:gd name="connsiteX137" fmla="*/ 875876 w 1919462"/>
                    <a:gd name="connsiteY137" fmla="*/ 2839494 h 3411233"/>
                    <a:gd name="connsiteX138" fmla="*/ 754976 w 1919462"/>
                    <a:gd name="connsiteY138" fmla="*/ 3411232 h 3411233"/>
                    <a:gd name="connsiteX139" fmla="*/ 683000 w 1919462"/>
                    <a:gd name="connsiteY139" fmla="*/ 3411232 h 3411233"/>
                    <a:gd name="connsiteX140" fmla="*/ 686599 w 1919462"/>
                    <a:gd name="connsiteY140" fmla="*/ 3377612 h 3411233"/>
                    <a:gd name="connsiteX141" fmla="*/ 690198 w 1919462"/>
                    <a:gd name="connsiteY141" fmla="*/ 3339189 h 3411233"/>
                    <a:gd name="connsiteX142" fmla="*/ 693197 w 1919462"/>
                    <a:gd name="connsiteY142" fmla="*/ 3288159 h 3411233"/>
                    <a:gd name="connsiteX143" fmla="*/ 694996 w 1919462"/>
                    <a:gd name="connsiteY143" fmla="*/ 3259342 h 3411233"/>
                    <a:gd name="connsiteX144" fmla="*/ 696196 w 1919462"/>
                    <a:gd name="connsiteY144" fmla="*/ 3228723 h 3411233"/>
                    <a:gd name="connsiteX145" fmla="*/ 696795 w 1919462"/>
                    <a:gd name="connsiteY145" fmla="*/ 3195103 h 3411233"/>
                    <a:gd name="connsiteX146" fmla="*/ 697395 w 1919462"/>
                    <a:gd name="connsiteY146" fmla="*/ 3160283 h 3411233"/>
                    <a:gd name="connsiteX147" fmla="*/ 697395 w 1919462"/>
                    <a:gd name="connsiteY147" fmla="*/ 3124862 h 3411233"/>
                    <a:gd name="connsiteX148" fmla="*/ 696795 w 1919462"/>
                    <a:gd name="connsiteY148" fmla="*/ 3087640 h 3411233"/>
                    <a:gd name="connsiteX149" fmla="*/ 694996 w 1919462"/>
                    <a:gd name="connsiteY149" fmla="*/ 3049817 h 3411233"/>
                    <a:gd name="connsiteX150" fmla="*/ 692597 w 1919462"/>
                    <a:gd name="connsiteY150" fmla="*/ 3010794 h 3411233"/>
                    <a:gd name="connsiteX151" fmla="*/ 689598 w 1919462"/>
                    <a:gd name="connsiteY151" fmla="*/ 2972971 h 3411233"/>
                    <a:gd name="connsiteX152" fmla="*/ 685399 w 1919462"/>
                    <a:gd name="connsiteY152" fmla="*/ 2933948 h 3411233"/>
                    <a:gd name="connsiteX153" fmla="*/ 680001 w 1919462"/>
                    <a:gd name="connsiteY153" fmla="*/ 2895525 h 3411233"/>
                    <a:gd name="connsiteX154" fmla="*/ 673403 w 1919462"/>
                    <a:gd name="connsiteY154" fmla="*/ 2857703 h 3411233"/>
                    <a:gd name="connsiteX155" fmla="*/ 669804 w 1919462"/>
                    <a:gd name="connsiteY155" fmla="*/ 2838491 h 3411233"/>
                    <a:gd name="connsiteX156" fmla="*/ 665606 w 1919462"/>
                    <a:gd name="connsiteY156" fmla="*/ 2821081 h 3411233"/>
                    <a:gd name="connsiteX157" fmla="*/ 660807 w 1919462"/>
                    <a:gd name="connsiteY157" fmla="*/ 2802470 h 3411233"/>
                    <a:gd name="connsiteX158" fmla="*/ 656009 w 1919462"/>
                    <a:gd name="connsiteY158" fmla="*/ 2784459 h 3411233"/>
                    <a:gd name="connsiteX159" fmla="*/ 651211 w 1919462"/>
                    <a:gd name="connsiteY159" fmla="*/ 2767049 h 3411233"/>
                    <a:gd name="connsiteX160" fmla="*/ 645813 w 1919462"/>
                    <a:gd name="connsiteY160" fmla="*/ 2749638 h 3411233"/>
                    <a:gd name="connsiteX161" fmla="*/ 639215 w 1919462"/>
                    <a:gd name="connsiteY161" fmla="*/ 2733428 h 3411233"/>
                    <a:gd name="connsiteX162" fmla="*/ 633217 w 1919462"/>
                    <a:gd name="connsiteY162" fmla="*/ 2717219 h 3411233"/>
                    <a:gd name="connsiteX163" fmla="*/ 626619 w 1919462"/>
                    <a:gd name="connsiteY163" fmla="*/ 2701009 h 3411233"/>
                    <a:gd name="connsiteX164" fmla="*/ 618822 w 1919462"/>
                    <a:gd name="connsiteY164" fmla="*/ 2685400 h 3411233"/>
                    <a:gd name="connsiteX165" fmla="*/ 611624 w 1919462"/>
                    <a:gd name="connsiteY165" fmla="*/ 2670991 h 3411233"/>
                    <a:gd name="connsiteX166" fmla="*/ 603827 w 1919462"/>
                    <a:gd name="connsiteY166" fmla="*/ 2656583 h 3411233"/>
                    <a:gd name="connsiteX167" fmla="*/ 594830 w 1919462"/>
                    <a:gd name="connsiteY167" fmla="*/ 2642774 h 3411233"/>
                    <a:gd name="connsiteX168" fmla="*/ 585833 w 1919462"/>
                    <a:gd name="connsiteY168" fmla="*/ 2630167 h 3411233"/>
                    <a:gd name="connsiteX169" fmla="*/ 576236 w 1919462"/>
                    <a:gd name="connsiteY169" fmla="*/ 2617559 h 3411233"/>
                    <a:gd name="connsiteX170" fmla="*/ 566039 w 1919462"/>
                    <a:gd name="connsiteY170" fmla="*/ 2606153 h 3411233"/>
                    <a:gd name="connsiteX171" fmla="*/ 555843 w 1919462"/>
                    <a:gd name="connsiteY171" fmla="*/ 2594746 h 3411233"/>
                    <a:gd name="connsiteX172" fmla="*/ 545421 w 1919462"/>
                    <a:gd name="connsiteY172" fmla="*/ 2585961 h 3411233"/>
                    <a:gd name="connsiteX173" fmla="*/ 520433 w 1919462"/>
                    <a:gd name="connsiteY173" fmla="*/ 2566790 h 3411233"/>
                    <a:gd name="connsiteX174" fmla="*/ 507859 w 1919462"/>
                    <a:gd name="connsiteY174" fmla="*/ 2559925 h 3411233"/>
                    <a:gd name="connsiteX175" fmla="*/ 495263 w 1919462"/>
                    <a:gd name="connsiteY175" fmla="*/ 2552721 h 3411233"/>
                    <a:gd name="connsiteX176" fmla="*/ 480868 w 1919462"/>
                    <a:gd name="connsiteY176" fmla="*/ 2546717 h 3411233"/>
                    <a:gd name="connsiteX177" fmla="*/ 477627 w 1919462"/>
                    <a:gd name="connsiteY177" fmla="*/ 2545636 h 3411233"/>
                    <a:gd name="connsiteX178" fmla="*/ 467885 w 1919462"/>
                    <a:gd name="connsiteY178" fmla="*/ 2580337 h 3411233"/>
                    <a:gd name="connsiteX179" fmla="*/ 467478 w 1919462"/>
                    <a:gd name="connsiteY179" fmla="*/ 2580337 h 3411233"/>
                    <a:gd name="connsiteX180" fmla="*/ 467197 w 1919462"/>
                    <a:gd name="connsiteY180" fmla="*/ 2581991 h 3411233"/>
                    <a:gd name="connsiteX181" fmla="*/ 465996 w 1919462"/>
                    <a:gd name="connsiteY181" fmla="*/ 2584353 h 3411233"/>
                    <a:gd name="connsiteX182" fmla="*/ 462992 w 1919462"/>
                    <a:gd name="connsiteY182" fmla="*/ 2586125 h 3411233"/>
                    <a:gd name="connsiteX183" fmla="*/ 458787 w 1919462"/>
                    <a:gd name="connsiteY183" fmla="*/ 2588487 h 3411233"/>
                    <a:gd name="connsiteX184" fmla="*/ 453981 w 1919462"/>
                    <a:gd name="connsiteY184" fmla="*/ 2590259 h 3411233"/>
                    <a:gd name="connsiteX185" fmla="*/ 447973 w 1919462"/>
                    <a:gd name="connsiteY185" fmla="*/ 2592030 h 3411233"/>
                    <a:gd name="connsiteX186" fmla="*/ 432354 w 1919462"/>
                    <a:gd name="connsiteY186" fmla="*/ 2595573 h 3411233"/>
                    <a:gd name="connsiteX187" fmla="*/ 413130 w 1919462"/>
                    <a:gd name="connsiteY187" fmla="*/ 2598526 h 3411233"/>
                    <a:gd name="connsiteX188" fmla="*/ 389700 w 1919462"/>
                    <a:gd name="connsiteY188" fmla="*/ 2600888 h 3411233"/>
                    <a:gd name="connsiteX189" fmla="*/ 363868 w 1919462"/>
                    <a:gd name="connsiteY189" fmla="*/ 2603250 h 3411233"/>
                    <a:gd name="connsiteX190" fmla="*/ 333230 w 1919462"/>
                    <a:gd name="connsiteY190" fmla="*/ 2605022 h 3411233"/>
                    <a:gd name="connsiteX191" fmla="*/ 301390 w 1919462"/>
                    <a:gd name="connsiteY191" fmla="*/ 2606203 h 3411233"/>
                    <a:gd name="connsiteX192" fmla="*/ 265345 w 1919462"/>
                    <a:gd name="connsiteY192" fmla="*/ 2607384 h 3411233"/>
                    <a:gd name="connsiteX193" fmla="*/ 205351 w 1919462"/>
                    <a:gd name="connsiteY193" fmla="*/ 2608291 h 3411233"/>
                    <a:gd name="connsiteX194" fmla="*/ 268478 w 1919462"/>
                    <a:gd name="connsiteY194" fmla="*/ 2954960 h 3411233"/>
                    <a:gd name="connsiteX195" fmla="*/ 327912 w 1919462"/>
                    <a:gd name="connsiteY195" fmla="*/ 2954960 h 3411233"/>
                    <a:gd name="connsiteX196" fmla="*/ 335717 w 1919462"/>
                    <a:gd name="connsiteY196" fmla="*/ 3087039 h 3411233"/>
                    <a:gd name="connsiteX197" fmla="*/ 48747 w 1919462"/>
                    <a:gd name="connsiteY197" fmla="*/ 3087039 h 3411233"/>
                    <a:gd name="connsiteX198" fmla="*/ 48747 w 1919462"/>
                    <a:gd name="connsiteY198" fmla="*/ 3411232 h 3411233"/>
                    <a:gd name="connsiteX199" fmla="*/ 0 w 1919462"/>
                    <a:gd name="connsiteY199" fmla="*/ 3411232 h 3411233"/>
                    <a:gd name="connsiteX200" fmla="*/ 0 w 1919462"/>
                    <a:gd name="connsiteY200" fmla="*/ 14761 h 3411233"/>
                    <a:gd name="connsiteX201" fmla="*/ 5828 w 1919462"/>
                    <a:gd name="connsiteY201" fmla="*/ 7821 h 3411233"/>
                    <a:gd name="connsiteX202" fmla="*/ 12427 w 1919462"/>
                    <a:gd name="connsiteY202" fmla="*/ 0 h 3411233"/>
                    <a:gd name="connsiteX203" fmla="*/ 610326 w 1919462"/>
                    <a:gd name="connsiteY203" fmla="*/ 1651797 h 3411233"/>
                    <a:gd name="connsiteX204" fmla="*/ 615504 w 1919462"/>
                    <a:gd name="connsiteY204" fmla="*/ 1656115 h 3411233"/>
                    <a:gd name="connsiteX205" fmla="*/ 617909 w 1919462"/>
                    <a:gd name="connsiteY205" fmla="*/ 1657956 h 3411233"/>
                    <a:gd name="connsiteX206" fmla="*/ 612483 w 1919462"/>
                    <a:gd name="connsiteY206" fmla="*/ 1653386 h 3411233"/>
                    <a:gd name="connsiteX207" fmla="*/ 610326 w 1919462"/>
                    <a:gd name="connsiteY207" fmla="*/ 1651797 h 3411233"/>
                    <a:gd name="connsiteX208" fmla="*/ 630820 w 1919462"/>
                    <a:gd name="connsiteY208" fmla="*/ 1668699 h 3411233"/>
                    <a:gd name="connsiteX209" fmla="*/ 634706 w 1919462"/>
                    <a:gd name="connsiteY209" fmla="*/ 1672329 h 3411233"/>
                    <a:gd name="connsiteX210" fmla="*/ 639912 w 1919462"/>
                    <a:gd name="connsiteY210" fmla="*/ 1677213 h 3411233"/>
                    <a:gd name="connsiteX211" fmla="*/ 634095 w 1919462"/>
                    <a:gd name="connsiteY211" fmla="*/ 1671397 h 3411233"/>
                    <a:gd name="connsiteX212" fmla="*/ 630820 w 1919462"/>
                    <a:gd name="connsiteY212" fmla="*/ 1668699 h 3411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1919462" h="3411233">
                      <a:moveTo>
                        <a:pt x="12427" y="0"/>
                      </a:moveTo>
                      <a:lnTo>
                        <a:pt x="19626" y="7821"/>
                      </a:lnTo>
                      <a:lnTo>
                        <a:pt x="38823" y="30681"/>
                      </a:lnTo>
                      <a:lnTo>
                        <a:pt x="68818" y="67377"/>
                      </a:lnTo>
                      <a:lnTo>
                        <a:pt x="87415" y="90838"/>
                      </a:lnTo>
                      <a:lnTo>
                        <a:pt x="107811" y="117909"/>
                      </a:lnTo>
                      <a:lnTo>
                        <a:pt x="130007" y="147988"/>
                      </a:lnTo>
                      <a:lnTo>
                        <a:pt x="154003" y="180473"/>
                      </a:lnTo>
                      <a:lnTo>
                        <a:pt x="179199" y="215966"/>
                      </a:lnTo>
                      <a:lnTo>
                        <a:pt x="205595" y="254466"/>
                      </a:lnTo>
                      <a:lnTo>
                        <a:pt x="233790" y="295975"/>
                      </a:lnTo>
                      <a:lnTo>
                        <a:pt x="261986" y="339289"/>
                      </a:lnTo>
                      <a:lnTo>
                        <a:pt x="290181" y="385008"/>
                      </a:lnTo>
                      <a:lnTo>
                        <a:pt x="320176" y="433134"/>
                      </a:lnTo>
                      <a:lnTo>
                        <a:pt x="342372" y="471635"/>
                      </a:lnTo>
                      <a:lnTo>
                        <a:pt x="364568" y="510737"/>
                      </a:lnTo>
                      <a:lnTo>
                        <a:pt x="386765" y="551644"/>
                      </a:lnTo>
                      <a:lnTo>
                        <a:pt x="408222" y="591771"/>
                      </a:lnTo>
                      <a:lnTo>
                        <a:pt x="409077" y="591968"/>
                      </a:lnTo>
                      <a:lnTo>
                        <a:pt x="431880" y="637609"/>
                      </a:lnTo>
                      <a:lnTo>
                        <a:pt x="454083" y="684450"/>
                      </a:lnTo>
                      <a:lnTo>
                        <a:pt x="476286" y="731893"/>
                      </a:lnTo>
                      <a:lnTo>
                        <a:pt x="497288" y="779935"/>
                      </a:lnTo>
                      <a:lnTo>
                        <a:pt x="517691" y="829179"/>
                      </a:lnTo>
                      <a:lnTo>
                        <a:pt x="536894" y="880225"/>
                      </a:lnTo>
                      <a:lnTo>
                        <a:pt x="555496" y="930669"/>
                      </a:lnTo>
                      <a:lnTo>
                        <a:pt x="572298" y="982916"/>
                      </a:lnTo>
                      <a:lnTo>
                        <a:pt x="588500" y="1035763"/>
                      </a:lnTo>
                      <a:lnTo>
                        <a:pt x="595701" y="1062186"/>
                      </a:lnTo>
                      <a:lnTo>
                        <a:pt x="603502" y="1088610"/>
                      </a:lnTo>
                      <a:lnTo>
                        <a:pt x="610103" y="1116235"/>
                      </a:lnTo>
                      <a:lnTo>
                        <a:pt x="616104" y="1142658"/>
                      </a:lnTo>
                      <a:lnTo>
                        <a:pt x="622705" y="1169682"/>
                      </a:lnTo>
                      <a:lnTo>
                        <a:pt x="628105" y="1197307"/>
                      </a:lnTo>
                      <a:lnTo>
                        <a:pt x="632906" y="1224931"/>
                      </a:lnTo>
                      <a:lnTo>
                        <a:pt x="637707" y="1252556"/>
                      </a:lnTo>
                      <a:lnTo>
                        <a:pt x="642507" y="1279580"/>
                      </a:lnTo>
                      <a:lnTo>
                        <a:pt x="646108" y="1307204"/>
                      </a:lnTo>
                      <a:lnTo>
                        <a:pt x="649108" y="1335430"/>
                      </a:lnTo>
                      <a:lnTo>
                        <a:pt x="652109" y="1363054"/>
                      </a:lnTo>
                      <a:lnTo>
                        <a:pt x="654509" y="1391279"/>
                      </a:lnTo>
                      <a:lnTo>
                        <a:pt x="656309" y="1419504"/>
                      </a:lnTo>
                      <a:lnTo>
                        <a:pt x="626905" y="1406893"/>
                      </a:lnTo>
                      <a:lnTo>
                        <a:pt x="596301" y="1394282"/>
                      </a:lnTo>
                      <a:lnTo>
                        <a:pt x="565097" y="1382872"/>
                      </a:lnTo>
                      <a:lnTo>
                        <a:pt x="532693" y="1371462"/>
                      </a:lnTo>
                      <a:lnTo>
                        <a:pt x="500289" y="1360652"/>
                      </a:lnTo>
                      <a:lnTo>
                        <a:pt x="466084" y="1349842"/>
                      </a:lnTo>
                      <a:lnTo>
                        <a:pt x="431880" y="1340234"/>
                      </a:lnTo>
                      <a:lnTo>
                        <a:pt x="396475" y="1331226"/>
                      </a:lnTo>
                      <a:lnTo>
                        <a:pt x="359871" y="1322218"/>
                      </a:lnTo>
                      <a:lnTo>
                        <a:pt x="323266" y="1315011"/>
                      </a:lnTo>
                      <a:lnTo>
                        <a:pt x="286061" y="1307204"/>
                      </a:lnTo>
                      <a:lnTo>
                        <a:pt x="247656" y="1301199"/>
                      </a:lnTo>
                      <a:lnTo>
                        <a:pt x="208651" y="1295794"/>
                      </a:lnTo>
                      <a:lnTo>
                        <a:pt x="170246" y="1291591"/>
                      </a:lnTo>
                      <a:lnTo>
                        <a:pt x="130041" y="1287987"/>
                      </a:lnTo>
                      <a:lnTo>
                        <a:pt x="89836" y="1284985"/>
                      </a:lnTo>
                      <a:lnTo>
                        <a:pt x="89836" y="1285985"/>
                      </a:lnTo>
                      <a:lnTo>
                        <a:pt x="104580" y="1286567"/>
                      </a:lnTo>
                      <a:lnTo>
                        <a:pt x="149607" y="1290169"/>
                      </a:lnTo>
                      <a:lnTo>
                        <a:pt x="193433" y="1294972"/>
                      </a:lnTo>
                      <a:lnTo>
                        <a:pt x="237259" y="1300375"/>
                      </a:lnTo>
                      <a:lnTo>
                        <a:pt x="279884" y="1306979"/>
                      </a:lnTo>
                      <a:lnTo>
                        <a:pt x="321909" y="1315384"/>
                      </a:lnTo>
                      <a:lnTo>
                        <a:pt x="363334" y="1323789"/>
                      </a:lnTo>
                      <a:lnTo>
                        <a:pt x="402958" y="1333995"/>
                      </a:lnTo>
                      <a:lnTo>
                        <a:pt x="441981" y="1344201"/>
                      </a:lnTo>
                      <a:lnTo>
                        <a:pt x="481004" y="1355608"/>
                      </a:lnTo>
                      <a:lnTo>
                        <a:pt x="518226" y="1367015"/>
                      </a:lnTo>
                      <a:lnTo>
                        <a:pt x="554248" y="1379622"/>
                      </a:lnTo>
                      <a:lnTo>
                        <a:pt x="589669" y="1392830"/>
                      </a:lnTo>
                      <a:lnTo>
                        <a:pt x="623889" y="1406038"/>
                      </a:lnTo>
                      <a:lnTo>
                        <a:pt x="656909" y="1420447"/>
                      </a:lnTo>
                      <a:lnTo>
                        <a:pt x="658110" y="1458870"/>
                      </a:lnTo>
                      <a:lnTo>
                        <a:pt x="658710" y="1497293"/>
                      </a:lnTo>
                      <a:lnTo>
                        <a:pt x="658710" y="1547723"/>
                      </a:lnTo>
                      <a:lnTo>
                        <a:pt x="657509" y="1595752"/>
                      </a:lnTo>
                      <a:lnTo>
                        <a:pt x="655108" y="1643780"/>
                      </a:lnTo>
                      <a:lnTo>
                        <a:pt x="652707" y="1690608"/>
                      </a:lnTo>
                      <a:lnTo>
                        <a:pt x="652093" y="1689953"/>
                      </a:lnTo>
                      <a:lnTo>
                        <a:pt x="647908" y="1744994"/>
                      </a:lnTo>
                      <a:lnTo>
                        <a:pt x="642507" y="1799042"/>
                      </a:lnTo>
                      <a:lnTo>
                        <a:pt x="638088" y="1835228"/>
                      </a:lnTo>
                      <a:lnTo>
                        <a:pt x="647303" y="1829546"/>
                      </a:lnTo>
                      <a:lnTo>
                        <a:pt x="710941" y="1791188"/>
                      </a:lnTo>
                      <a:lnTo>
                        <a:pt x="776981" y="1752232"/>
                      </a:lnTo>
                      <a:lnTo>
                        <a:pt x="846622" y="1712077"/>
                      </a:lnTo>
                      <a:lnTo>
                        <a:pt x="994911" y="1628170"/>
                      </a:lnTo>
                      <a:lnTo>
                        <a:pt x="1023728" y="1656938"/>
                      </a:lnTo>
                      <a:lnTo>
                        <a:pt x="873038" y="1742642"/>
                      </a:lnTo>
                      <a:lnTo>
                        <a:pt x="803396" y="1782198"/>
                      </a:lnTo>
                      <a:lnTo>
                        <a:pt x="736757" y="1821754"/>
                      </a:lnTo>
                      <a:lnTo>
                        <a:pt x="671918" y="1860711"/>
                      </a:lnTo>
                      <a:lnTo>
                        <a:pt x="631332" y="1886280"/>
                      </a:lnTo>
                      <a:lnTo>
                        <a:pt x="628705" y="1905337"/>
                      </a:lnTo>
                      <a:lnTo>
                        <a:pt x="620304" y="1958184"/>
                      </a:lnTo>
                      <a:lnTo>
                        <a:pt x="610703" y="2010430"/>
                      </a:lnTo>
                      <a:lnTo>
                        <a:pt x="600502" y="2062677"/>
                      </a:lnTo>
                      <a:lnTo>
                        <a:pt x="589100" y="2115524"/>
                      </a:lnTo>
                      <a:lnTo>
                        <a:pt x="584385" y="2136522"/>
                      </a:lnTo>
                      <a:lnTo>
                        <a:pt x="587032" y="2138474"/>
                      </a:lnTo>
                      <a:lnTo>
                        <a:pt x="618222" y="2160687"/>
                      </a:lnTo>
                      <a:lnTo>
                        <a:pt x="665606" y="2192506"/>
                      </a:lnTo>
                      <a:lnTo>
                        <a:pt x="693796" y="2211117"/>
                      </a:lnTo>
                      <a:lnTo>
                        <a:pt x="723786" y="2230329"/>
                      </a:lnTo>
                      <a:lnTo>
                        <a:pt x="755576" y="2250141"/>
                      </a:lnTo>
                      <a:lnTo>
                        <a:pt x="788564" y="2269352"/>
                      </a:lnTo>
                      <a:lnTo>
                        <a:pt x="822153" y="2287963"/>
                      </a:lnTo>
                      <a:lnTo>
                        <a:pt x="855742" y="2305374"/>
                      </a:lnTo>
                      <a:lnTo>
                        <a:pt x="872536" y="2312578"/>
                      </a:lnTo>
                      <a:lnTo>
                        <a:pt x="888731" y="2320382"/>
                      </a:lnTo>
                      <a:lnTo>
                        <a:pt x="904925" y="2327587"/>
                      </a:lnTo>
                      <a:lnTo>
                        <a:pt x="920520" y="2333590"/>
                      </a:lnTo>
                      <a:lnTo>
                        <a:pt x="936115" y="2338393"/>
                      </a:lnTo>
                      <a:lnTo>
                        <a:pt x="951110" y="2343196"/>
                      </a:lnTo>
                      <a:lnTo>
                        <a:pt x="966105" y="2347399"/>
                      </a:lnTo>
                      <a:lnTo>
                        <a:pt x="979300" y="2350400"/>
                      </a:lnTo>
                      <a:lnTo>
                        <a:pt x="958129" y="2450519"/>
                      </a:lnTo>
                      <a:lnTo>
                        <a:pt x="1865451" y="3116458"/>
                      </a:lnTo>
                      <a:lnTo>
                        <a:pt x="1870852" y="3120660"/>
                      </a:lnTo>
                      <a:lnTo>
                        <a:pt x="1878054" y="3127264"/>
                      </a:lnTo>
                      <a:lnTo>
                        <a:pt x="1886455" y="3136269"/>
                      </a:lnTo>
                      <a:lnTo>
                        <a:pt x="1891256" y="3142273"/>
                      </a:lnTo>
                      <a:lnTo>
                        <a:pt x="1896057" y="3148277"/>
                      </a:lnTo>
                      <a:lnTo>
                        <a:pt x="1900258" y="3154881"/>
                      </a:lnTo>
                      <a:lnTo>
                        <a:pt x="1904459" y="3162085"/>
                      </a:lnTo>
                      <a:lnTo>
                        <a:pt x="1908660" y="3170490"/>
                      </a:lnTo>
                      <a:lnTo>
                        <a:pt x="1912261" y="3178895"/>
                      </a:lnTo>
                      <a:lnTo>
                        <a:pt x="1915261" y="3187900"/>
                      </a:lnTo>
                      <a:lnTo>
                        <a:pt x="1917662" y="3197506"/>
                      </a:lnTo>
                      <a:lnTo>
                        <a:pt x="1918862" y="3207712"/>
                      </a:lnTo>
                      <a:lnTo>
                        <a:pt x="1919462" y="3217918"/>
                      </a:lnTo>
                      <a:lnTo>
                        <a:pt x="1919462" y="3411233"/>
                      </a:lnTo>
                      <a:lnTo>
                        <a:pt x="1894857" y="3411233"/>
                      </a:lnTo>
                      <a:lnTo>
                        <a:pt x="1894856" y="3411232"/>
                      </a:lnTo>
                      <a:lnTo>
                        <a:pt x="1621083" y="3411232"/>
                      </a:lnTo>
                      <a:lnTo>
                        <a:pt x="875876" y="2839494"/>
                      </a:lnTo>
                      <a:lnTo>
                        <a:pt x="754976" y="3411232"/>
                      </a:lnTo>
                      <a:lnTo>
                        <a:pt x="683000" y="3411232"/>
                      </a:lnTo>
                      <a:lnTo>
                        <a:pt x="686599" y="3377612"/>
                      </a:lnTo>
                      <a:lnTo>
                        <a:pt x="690198" y="3339189"/>
                      </a:lnTo>
                      <a:lnTo>
                        <a:pt x="693197" y="3288159"/>
                      </a:lnTo>
                      <a:lnTo>
                        <a:pt x="694996" y="3259342"/>
                      </a:lnTo>
                      <a:lnTo>
                        <a:pt x="696196" y="3228723"/>
                      </a:lnTo>
                      <a:lnTo>
                        <a:pt x="696795" y="3195103"/>
                      </a:lnTo>
                      <a:lnTo>
                        <a:pt x="697395" y="3160283"/>
                      </a:lnTo>
                      <a:lnTo>
                        <a:pt x="697395" y="3124862"/>
                      </a:lnTo>
                      <a:lnTo>
                        <a:pt x="696795" y="3087640"/>
                      </a:lnTo>
                      <a:lnTo>
                        <a:pt x="694996" y="3049817"/>
                      </a:lnTo>
                      <a:lnTo>
                        <a:pt x="692597" y="3010794"/>
                      </a:lnTo>
                      <a:lnTo>
                        <a:pt x="689598" y="2972971"/>
                      </a:lnTo>
                      <a:lnTo>
                        <a:pt x="685399" y="2933948"/>
                      </a:lnTo>
                      <a:lnTo>
                        <a:pt x="680001" y="2895525"/>
                      </a:lnTo>
                      <a:lnTo>
                        <a:pt x="673403" y="2857703"/>
                      </a:lnTo>
                      <a:lnTo>
                        <a:pt x="669804" y="2838491"/>
                      </a:lnTo>
                      <a:lnTo>
                        <a:pt x="665606" y="2821081"/>
                      </a:lnTo>
                      <a:lnTo>
                        <a:pt x="660807" y="2802470"/>
                      </a:lnTo>
                      <a:lnTo>
                        <a:pt x="656009" y="2784459"/>
                      </a:lnTo>
                      <a:lnTo>
                        <a:pt x="651211" y="2767049"/>
                      </a:lnTo>
                      <a:lnTo>
                        <a:pt x="645813" y="2749638"/>
                      </a:lnTo>
                      <a:lnTo>
                        <a:pt x="639215" y="2733428"/>
                      </a:lnTo>
                      <a:lnTo>
                        <a:pt x="633217" y="2717219"/>
                      </a:lnTo>
                      <a:lnTo>
                        <a:pt x="626619" y="2701009"/>
                      </a:lnTo>
                      <a:lnTo>
                        <a:pt x="618822" y="2685400"/>
                      </a:lnTo>
                      <a:lnTo>
                        <a:pt x="611624" y="2670991"/>
                      </a:lnTo>
                      <a:lnTo>
                        <a:pt x="603827" y="2656583"/>
                      </a:lnTo>
                      <a:lnTo>
                        <a:pt x="594830" y="2642774"/>
                      </a:lnTo>
                      <a:lnTo>
                        <a:pt x="585833" y="2630167"/>
                      </a:lnTo>
                      <a:lnTo>
                        <a:pt x="576236" y="2617559"/>
                      </a:lnTo>
                      <a:lnTo>
                        <a:pt x="566039" y="2606153"/>
                      </a:lnTo>
                      <a:lnTo>
                        <a:pt x="555843" y="2594746"/>
                      </a:lnTo>
                      <a:lnTo>
                        <a:pt x="545421" y="2585961"/>
                      </a:lnTo>
                      <a:lnTo>
                        <a:pt x="520433" y="2566790"/>
                      </a:lnTo>
                      <a:lnTo>
                        <a:pt x="507859" y="2559925"/>
                      </a:lnTo>
                      <a:lnTo>
                        <a:pt x="495263" y="2552721"/>
                      </a:lnTo>
                      <a:lnTo>
                        <a:pt x="480868" y="2546717"/>
                      </a:lnTo>
                      <a:lnTo>
                        <a:pt x="477627" y="2545636"/>
                      </a:lnTo>
                      <a:lnTo>
                        <a:pt x="467885" y="2580337"/>
                      </a:lnTo>
                      <a:lnTo>
                        <a:pt x="467478" y="2580337"/>
                      </a:lnTo>
                      <a:lnTo>
                        <a:pt x="467197" y="2581991"/>
                      </a:lnTo>
                      <a:lnTo>
                        <a:pt x="465996" y="2584353"/>
                      </a:lnTo>
                      <a:lnTo>
                        <a:pt x="462992" y="2586125"/>
                      </a:lnTo>
                      <a:lnTo>
                        <a:pt x="458787" y="2588487"/>
                      </a:lnTo>
                      <a:lnTo>
                        <a:pt x="453981" y="2590259"/>
                      </a:lnTo>
                      <a:lnTo>
                        <a:pt x="447973" y="2592030"/>
                      </a:lnTo>
                      <a:lnTo>
                        <a:pt x="432354" y="2595573"/>
                      </a:lnTo>
                      <a:lnTo>
                        <a:pt x="413130" y="2598526"/>
                      </a:lnTo>
                      <a:lnTo>
                        <a:pt x="389700" y="2600888"/>
                      </a:lnTo>
                      <a:lnTo>
                        <a:pt x="363868" y="2603250"/>
                      </a:lnTo>
                      <a:lnTo>
                        <a:pt x="333230" y="2605022"/>
                      </a:lnTo>
                      <a:lnTo>
                        <a:pt x="301390" y="2606203"/>
                      </a:lnTo>
                      <a:lnTo>
                        <a:pt x="265345" y="2607384"/>
                      </a:lnTo>
                      <a:lnTo>
                        <a:pt x="205351" y="2608291"/>
                      </a:lnTo>
                      <a:lnTo>
                        <a:pt x="268478" y="2954960"/>
                      </a:lnTo>
                      <a:lnTo>
                        <a:pt x="327912" y="2954960"/>
                      </a:lnTo>
                      <a:lnTo>
                        <a:pt x="335717" y="3087039"/>
                      </a:lnTo>
                      <a:lnTo>
                        <a:pt x="48747" y="3087039"/>
                      </a:lnTo>
                      <a:lnTo>
                        <a:pt x="48747" y="3411232"/>
                      </a:lnTo>
                      <a:lnTo>
                        <a:pt x="0" y="3411232"/>
                      </a:lnTo>
                      <a:lnTo>
                        <a:pt x="0" y="14761"/>
                      </a:lnTo>
                      <a:lnTo>
                        <a:pt x="5828" y="7821"/>
                      </a:lnTo>
                      <a:lnTo>
                        <a:pt x="12427" y="0"/>
                      </a:lnTo>
                      <a:close/>
                      <a:moveTo>
                        <a:pt x="610326" y="1651797"/>
                      </a:moveTo>
                      <a:lnTo>
                        <a:pt x="615504" y="1656115"/>
                      </a:lnTo>
                      <a:lnTo>
                        <a:pt x="617909" y="1657956"/>
                      </a:lnTo>
                      <a:lnTo>
                        <a:pt x="612483" y="1653386"/>
                      </a:lnTo>
                      <a:lnTo>
                        <a:pt x="610326" y="1651797"/>
                      </a:lnTo>
                      <a:close/>
                      <a:moveTo>
                        <a:pt x="630820" y="1668699"/>
                      </a:moveTo>
                      <a:lnTo>
                        <a:pt x="634706" y="1672329"/>
                      </a:lnTo>
                      <a:lnTo>
                        <a:pt x="639912" y="1677213"/>
                      </a:lnTo>
                      <a:lnTo>
                        <a:pt x="634095" y="1671397"/>
                      </a:lnTo>
                      <a:lnTo>
                        <a:pt x="630820" y="1668699"/>
                      </a:lnTo>
                      <a:close/>
                    </a:path>
                  </a:pathLst>
                </a:custGeom>
                <a:solidFill>
                  <a:schemeClr val="tx1">
                    <a:lumMod val="85000"/>
                    <a:lumOff val="15000"/>
                    <a:alpha val="10000"/>
                  </a:schemeClr>
                </a:solidFill>
                <a:ln>
                  <a:noFill/>
                </a:ln>
              </p:spPr>
              <p:txBody>
                <a:bodyPr vert="horz" wrap="square" lIns="91440" tIns="45720" rIns="91440" bIns="45720" numCol="1" anchor="t" anchorCtr="0" compatLnSpc="1">
                  <a:prstTxWarp prst="textNoShape">
                    <a:avLst/>
                  </a:prstTxWarp>
                  <a:noAutofit/>
                </a:bodyPr>
                <a:lstStyle/>
                <a:p>
                  <a:endParaRPr lang="ko-KR" altLang="en-US" sz="2400"/>
                </a:p>
              </p:txBody>
            </p:sp>
          </p:grpSp>
          <p:sp>
            <p:nvSpPr>
              <p:cNvPr id="780" name="자유형 779"/>
              <p:cNvSpPr>
                <a:spLocks/>
              </p:cNvSpPr>
              <p:nvPr userDrawn="1"/>
            </p:nvSpPr>
            <p:spPr bwMode="auto">
              <a:xfrm rot="20844360">
                <a:off x="4456681" y="1979268"/>
                <a:ext cx="2680515" cy="3204114"/>
              </a:xfrm>
              <a:custGeom>
                <a:avLst/>
                <a:gdLst>
                  <a:gd name="connsiteX0" fmla="*/ 2680515 w 2680515"/>
                  <a:gd name="connsiteY0" fmla="*/ 37483 h 3204114"/>
                  <a:gd name="connsiteX1" fmla="*/ 2640009 w 2680515"/>
                  <a:gd name="connsiteY1" fmla="*/ 40522 h 3204114"/>
                  <a:gd name="connsiteX2" fmla="*/ 2600515 w 2680515"/>
                  <a:gd name="connsiteY2" fmla="*/ 45587 h 3204114"/>
                  <a:gd name="connsiteX3" fmla="*/ 2558996 w 2680515"/>
                  <a:gd name="connsiteY3" fmla="*/ 50652 h 3204114"/>
                  <a:gd name="connsiteX4" fmla="*/ 2519502 w 2680515"/>
                  <a:gd name="connsiteY4" fmla="*/ 57743 h 3204114"/>
                  <a:gd name="connsiteX5" fmla="*/ 2481021 w 2680515"/>
                  <a:gd name="connsiteY5" fmla="*/ 63822 h 3204114"/>
                  <a:gd name="connsiteX6" fmla="*/ 2441527 w 2680515"/>
                  <a:gd name="connsiteY6" fmla="*/ 72939 h 3204114"/>
                  <a:gd name="connsiteX7" fmla="*/ 2403046 w 2680515"/>
                  <a:gd name="connsiteY7" fmla="*/ 82057 h 3204114"/>
                  <a:gd name="connsiteX8" fmla="*/ 2364565 w 2680515"/>
                  <a:gd name="connsiteY8" fmla="*/ 92187 h 3204114"/>
                  <a:gd name="connsiteX9" fmla="*/ 2327096 w 2680515"/>
                  <a:gd name="connsiteY9" fmla="*/ 102317 h 3204114"/>
                  <a:gd name="connsiteX10" fmla="*/ 2290641 w 2680515"/>
                  <a:gd name="connsiteY10" fmla="*/ 114474 h 3204114"/>
                  <a:gd name="connsiteX11" fmla="*/ 2253172 w 2680515"/>
                  <a:gd name="connsiteY11" fmla="*/ 127644 h 3204114"/>
                  <a:gd name="connsiteX12" fmla="*/ 2215703 w 2680515"/>
                  <a:gd name="connsiteY12" fmla="*/ 139800 h 3204114"/>
                  <a:gd name="connsiteX13" fmla="*/ 2179248 w 2680515"/>
                  <a:gd name="connsiteY13" fmla="*/ 154996 h 3204114"/>
                  <a:gd name="connsiteX14" fmla="*/ 2142793 w 2680515"/>
                  <a:gd name="connsiteY14" fmla="*/ 170192 h 3204114"/>
                  <a:gd name="connsiteX15" fmla="*/ 2108362 w 2680515"/>
                  <a:gd name="connsiteY15" fmla="*/ 185387 h 3204114"/>
                  <a:gd name="connsiteX16" fmla="*/ 2071906 w 2680515"/>
                  <a:gd name="connsiteY16" fmla="*/ 202609 h 3204114"/>
                  <a:gd name="connsiteX17" fmla="*/ 2038488 w 2680515"/>
                  <a:gd name="connsiteY17" fmla="*/ 220844 h 3204114"/>
                  <a:gd name="connsiteX18" fmla="*/ 2003045 w 2680515"/>
                  <a:gd name="connsiteY18" fmla="*/ 238066 h 3204114"/>
                  <a:gd name="connsiteX19" fmla="*/ 1970639 w 2680515"/>
                  <a:gd name="connsiteY19" fmla="*/ 256300 h 3204114"/>
                  <a:gd name="connsiteX20" fmla="*/ 1937221 w 2680515"/>
                  <a:gd name="connsiteY20" fmla="*/ 276561 h 3204114"/>
                  <a:gd name="connsiteX21" fmla="*/ 1903804 w 2680515"/>
                  <a:gd name="connsiteY21" fmla="*/ 297835 h 3204114"/>
                  <a:gd name="connsiteX22" fmla="*/ 1871398 w 2680515"/>
                  <a:gd name="connsiteY22" fmla="*/ 318096 h 3204114"/>
                  <a:gd name="connsiteX23" fmla="*/ 1840007 w 2680515"/>
                  <a:gd name="connsiteY23" fmla="*/ 340383 h 3204114"/>
                  <a:gd name="connsiteX24" fmla="*/ 1808614 w 2680515"/>
                  <a:gd name="connsiteY24" fmla="*/ 362670 h 3204114"/>
                  <a:gd name="connsiteX25" fmla="*/ 1778234 w 2680515"/>
                  <a:gd name="connsiteY25" fmla="*/ 385970 h 3204114"/>
                  <a:gd name="connsiteX26" fmla="*/ 1747854 w 2680515"/>
                  <a:gd name="connsiteY26" fmla="*/ 410284 h 3204114"/>
                  <a:gd name="connsiteX27" fmla="*/ 1718487 w 2680515"/>
                  <a:gd name="connsiteY27" fmla="*/ 435610 h 3204114"/>
                  <a:gd name="connsiteX28" fmla="*/ 1690132 w 2680515"/>
                  <a:gd name="connsiteY28" fmla="*/ 460936 h 3204114"/>
                  <a:gd name="connsiteX29" fmla="*/ 1661778 w 2680515"/>
                  <a:gd name="connsiteY29" fmla="*/ 486261 h 3204114"/>
                  <a:gd name="connsiteX30" fmla="*/ 1633423 w 2680515"/>
                  <a:gd name="connsiteY30" fmla="*/ 513614 h 3204114"/>
                  <a:gd name="connsiteX31" fmla="*/ 1607094 w 2680515"/>
                  <a:gd name="connsiteY31" fmla="*/ 539953 h 3204114"/>
                  <a:gd name="connsiteX32" fmla="*/ 1579753 w 2680515"/>
                  <a:gd name="connsiteY32" fmla="*/ 568318 h 3204114"/>
                  <a:gd name="connsiteX33" fmla="*/ 1554436 w 2680515"/>
                  <a:gd name="connsiteY33" fmla="*/ 595670 h 3204114"/>
                  <a:gd name="connsiteX34" fmla="*/ 1529119 w 2680515"/>
                  <a:gd name="connsiteY34" fmla="*/ 625049 h 3204114"/>
                  <a:gd name="connsiteX35" fmla="*/ 1504815 w 2680515"/>
                  <a:gd name="connsiteY35" fmla="*/ 654427 h 3204114"/>
                  <a:gd name="connsiteX36" fmla="*/ 1481524 w 2680515"/>
                  <a:gd name="connsiteY36" fmla="*/ 684818 h 3204114"/>
                  <a:gd name="connsiteX37" fmla="*/ 1458232 w 2680515"/>
                  <a:gd name="connsiteY37" fmla="*/ 715210 h 3204114"/>
                  <a:gd name="connsiteX38" fmla="*/ 1435954 w 2680515"/>
                  <a:gd name="connsiteY38" fmla="*/ 746614 h 3204114"/>
                  <a:gd name="connsiteX39" fmla="*/ 1413676 w 2680515"/>
                  <a:gd name="connsiteY39" fmla="*/ 778018 h 3204114"/>
                  <a:gd name="connsiteX40" fmla="*/ 1392409 w 2680515"/>
                  <a:gd name="connsiteY40" fmla="*/ 810436 h 3204114"/>
                  <a:gd name="connsiteX41" fmla="*/ 1372157 w 2680515"/>
                  <a:gd name="connsiteY41" fmla="*/ 843866 h 3204114"/>
                  <a:gd name="connsiteX42" fmla="*/ 1352916 w 2680515"/>
                  <a:gd name="connsiteY42" fmla="*/ 877296 h 3204114"/>
                  <a:gd name="connsiteX43" fmla="*/ 1332662 w 2680515"/>
                  <a:gd name="connsiteY43" fmla="*/ 910727 h 3204114"/>
                  <a:gd name="connsiteX44" fmla="*/ 1315447 w 2680515"/>
                  <a:gd name="connsiteY44" fmla="*/ 945171 h 3204114"/>
                  <a:gd name="connsiteX45" fmla="*/ 1298233 w 2680515"/>
                  <a:gd name="connsiteY45" fmla="*/ 979614 h 3204114"/>
                  <a:gd name="connsiteX46" fmla="*/ 1282030 w 2680515"/>
                  <a:gd name="connsiteY46" fmla="*/ 1015070 h 3204114"/>
                  <a:gd name="connsiteX47" fmla="*/ 1265827 w 2680515"/>
                  <a:gd name="connsiteY47" fmla="*/ 1049514 h 3204114"/>
                  <a:gd name="connsiteX48" fmla="*/ 1251650 w 2680515"/>
                  <a:gd name="connsiteY48" fmla="*/ 1085983 h 3204114"/>
                  <a:gd name="connsiteX49" fmla="*/ 1236460 w 2680515"/>
                  <a:gd name="connsiteY49" fmla="*/ 1123466 h 3204114"/>
                  <a:gd name="connsiteX50" fmla="*/ 1223295 w 2680515"/>
                  <a:gd name="connsiteY50" fmla="*/ 1159936 h 3204114"/>
                  <a:gd name="connsiteX51" fmla="*/ 1210131 w 2680515"/>
                  <a:gd name="connsiteY51" fmla="*/ 1196405 h 3204114"/>
                  <a:gd name="connsiteX52" fmla="*/ 1198992 w 2680515"/>
                  <a:gd name="connsiteY52" fmla="*/ 1233888 h 3204114"/>
                  <a:gd name="connsiteX53" fmla="*/ 1188865 w 2680515"/>
                  <a:gd name="connsiteY53" fmla="*/ 1272383 h 3204114"/>
                  <a:gd name="connsiteX54" fmla="*/ 1178738 w 2680515"/>
                  <a:gd name="connsiteY54" fmla="*/ 1310880 h 3204114"/>
                  <a:gd name="connsiteX55" fmla="*/ 1169624 w 2680515"/>
                  <a:gd name="connsiteY55" fmla="*/ 1349376 h 3204114"/>
                  <a:gd name="connsiteX56" fmla="*/ 1161523 w 2680515"/>
                  <a:gd name="connsiteY56" fmla="*/ 1387870 h 3204114"/>
                  <a:gd name="connsiteX57" fmla="*/ 1154435 w 2680515"/>
                  <a:gd name="connsiteY57" fmla="*/ 1427380 h 3204114"/>
                  <a:gd name="connsiteX58" fmla="*/ 1147346 w 2680515"/>
                  <a:gd name="connsiteY58" fmla="*/ 1467902 h 3204114"/>
                  <a:gd name="connsiteX59" fmla="*/ 1143295 w 2680515"/>
                  <a:gd name="connsiteY59" fmla="*/ 1507410 h 3204114"/>
                  <a:gd name="connsiteX60" fmla="*/ 1138231 w 2680515"/>
                  <a:gd name="connsiteY60" fmla="*/ 1547932 h 3204114"/>
                  <a:gd name="connsiteX61" fmla="*/ 1135194 w 2680515"/>
                  <a:gd name="connsiteY61" fmla="*/ 1588454 h 3204114"/>
                  <a:gd name="connsiteX62" fmla="*/ 1132156 w 2680515"/>
                  <a:gd name="connsiteY62" fmla="*/ 1629989 h 3204114"/>
                  <a:gd name="connsiteX63" fmla="*/ 1131143 w 2680515"/>
                  <a:gd name="connsiteY63" fmla="*/ 1670510 h 3204114"/>
                  <a:gd name="connsiteX64" fmla="*/ 1130131 w 2680515"/>
                  <a:gd name="connsiteY64" fmla="*/ 1711032 h 3204114"/>
                  <a:gd name="connsiteX65" fmla="*/ 1131143 w 2680515"/>
                  <a:gd name="connsiteY65" fmla="*/ 1755606 h 3204114"/>
                  <a:gd name="connsiteX66" fmla="*/ 1132156 w 2680515"/>
                  <a:gd name="connsiteY66" fmla="*/ 1800180 h 3204114"/>
                  <a:gd name="connsiteX67" fmla="*/ 1136206 w 2680515"/>
                  <a:gd name="connsiteY67" fmla="*/ 1842727 h 3204114"/>
                  <a:gd name="connsiteX68" fmla="*/ 1139244 w 2680515"/>
                  <a:gd name="connsiteY68" fmla="*/ 1886289 h 3204114"/>
                  <a:gd name="connsiteX69" fmla="*/ 1144308 w 2680515"/>
                  <a:gd name="connsiteY69" fmla="*/ 1928837 h 3204114"/>
                  <a:gd name="connsiteX70" fmla="*/ 1150384 w 2680515"/>
                  <a:gd name="connsiteY70" fmla="*/ 1971384 h 3204114"/>
                  <a:gd name="connsiteX71" fmla="*/ 1158485 w 2680515"/>
                  <a:gd name="connsiteY71" fmla="*/ 2012919 h 3204114"/>
                  <a:gd name="connsiteX72" fmla="*/ 1166586 w 2680515"/>
                  <a:gd name="connsiteY72" fmla="*/ 2055467 h 3204114"/>
                  <a:gd name="connsiteX73" fmla="*/ 1174688 w 2680515"/>
                  <a:gd name="connsiteY73" fmla="*/ 2095989 h 3204114"/>
                  <a:gd name="connsiteX74" fmla="*/ 1184814 w 2680515"/>
                  <a:gd name="connsiteY74" fmla="*/ 2138536 h 3204114"/>
                  <a:gd name="connsiteX75" fmla="*/ 1196966 w 2680515"/>
                  <a:gd name="connsiteY75" fmla="*/ 2178046 h 3204114"/>
                  <a:gd name="connsiteX76" fmla="*/ 1208106 w 2680515"/>
                  <a:gd name="connsiteY76" fmla="*/ 2218567 h 3204114"/>
                  <a:gd name="connsiteX77" fmla="*/ 1221270 w 2680515"/>
                  <a:gd name="connsiteY77" fmla="*/ 2258076 h 3204114"/>
                  <a:gd name="connsiteX78" fmla="*/ 1236460 w 2680515"/>
                  <a:gd name="connsiteY78" fmla="*/ 2297585 h 3204114"/>
                  <a:gd name="connsiteX79" fmla="*/ 1250637 w 2680515"/>
                  <a:gd name="connsiteY79" fmla="*/ 2336080 h 3204114"/>
                  <a:gd name="connsiteX80" fmla="*/ 1266839 w 2680515"/>
                  <a:gd name="connsiteY80" fmla="*/ 2374576 h 3204114"/>
                  <a:gd name="connsiteX81" fmla="*/ 1284055 w 2680515"/>
                  <a:gd name="connsiteY81" fmla="*/ 2412059 h 3204114"/>
                  <a:gd name="connsiteX82" fmla="*/ 1301270 w 2680515"/>
                  <a:gd name="connsiteY82" fmla="*/ 2449541 h 3204114"/>
                  <a:gd name="connsiteX83" fmla="*/ 1320510 w 2680515"/>
                  <a:gd name="connsiteY83" fmla="*/ 2487024 h 3204114"/>
                  <a:gd name="connsiteX84" fmla="*/ 1339751 w 2680515"/>
                  <a:gd name="connsiteY84" fmla="*/ 2522481 h 3204114"/>
                  <a:gd name="connsiteX85" fmla="*/ 1360005 w 2680515"/>
                  <a:gd name="connsiteY85" fmla="*/ 2558950 h 3204114"/>
                  <a:gd name="connsiteX86" fmla="*/ 1381270 w 2680515"/>
                  <a:gd name="connsiteY86" fmla="*/ 2594407 h 3204114"/>
                  <a:gd name="connsiteX87" fmla="*/ 1402536 w 2680515"/>
                  <a:gd name="connsiteY87" fmla="*/ 2628851 h 3204114"/>
                  <a:gd name="connsiteX88" fmla="*/ 1425827 w 2680515"/>
                  <a:gd name="connsiteY88" fmla="*/ 2663294 h 3204114"/>
                  <a:gd name="connsiteX89" fmla="*/ 1449119 w 2680515"/>
                  <a:gd name="connsiteY89" fmla="*/ 2696725 h 3204114"/>
                  <a:gd name="connsiteX90" fmla="*/ 1474435 w 2680515"/>
                  <a:gd name="connsiteY90" fmla="*/ 2729142 h 3204114"/>
                  <a:gd name="connsiteX91" fmla="*/ 1499752 w 2680515"/>
                  <a:gd name="connsiteY91" fmla="*/ 2761559 h 3204114"/>
                  <a:gd name="connsiteX92" fmla="*/ 1525068 w 2680515"/>
                  <a:gd name="connsiteY92" fmla="*/ 2793977 h 3204114"/>
                  <a:gd name="connsiteX93" fmla="*/ 1552410 w 2680515"/>
                  <a:gd name="connsiteY93" fmla="*/ 2824368 h 3204114"/>
                  <a:gd name="connsiteX94" fmla="*/ 1579753 w 2680515"/>
                  <a:gd name="connsiteY94" fmla="*/ 2853746 h 3204114"/>
                  <a:gd name="connsiteX95" fmla="*/ 1608107 w 2680515"/>
                  <a:gd name="connsiteY95" fmla="*/ 2884138 h 3204114"/>
                  <a:gd name="connsiteX96" fmla="*/ 1637474 w 2680515"/>
                  <a:gd name="connsiteY96" fmla="*/ 2913516 h 3204114"/>
                  <a:gd name="connsiteX97" fmla="*/ 1346381 w 2680515"/>
                  <a:gd name="connsiteY97" fmla="*/ 3204114 h 3204114"/>
                  <a:gd name="connsiteX98" fmla="*/ 93249 w 2680515"/>
                  <a:gd name="connsiteY98" fmla="*/ 2924143 h 3204114"/>
                  <a:gd name="connsiteX99" fmla="*/ 87089 w 2680515"/>
                  <a:gd name="connsiteY99" fmla="*/ 2902372 h 3204114"/>
                  <a:gd name="connsiteX100" fmla="*/ 71899 w 2680515"/>
                  <a:gd name="connsiteY100" fmla="*/ 2847668 h 3204114"/>
                  <a:gd name="connsiteX101" fmla="*/ 58734 w 2680515"/>
                  <a:gd name="connsiteY101" fmla="*/ 2791951 h 3204114"/>
                  <a:gd name="connsiteX102" fmla="*/ 46583 w 2680515"/>
                  <a:gd name="connsiteY102" fmla="*/ 2737246 h 3204114"/>
                  <a:gd name="connsiteX103" fmla="*/ 35443 w 2680515"/>
                  <a:gd name="connsiteY103" fmla="*/ 2681529 h 3204114"/>
                  <a:gd name="connsiteX104" fmla="*/ 26330 w 2680515"/>
                  <a:gd name="connsiteY104" fmla="*/ 2625811 h 3204114"/>
                  <a:gd name="connsiteX105" fmla="*/ 19241 w 2680515"/>
                  <a:gd name="connsiteY105" fmla="*/ 2570094 h 3204114"/>
                  <a:gd name="connsiteX106" fmla="*/ 12152 w 2680515"/>
                  <a:gd name="connsiteY106" fmla="*/ 2512350 h 3204114"/>
                  <a:gd name="connsiteX107" fmla="*/ 7089 w 2680515"/>
                  <a:gd name="connsiteY107" fmla="*/ 2454607 h 3204114"/>
                  <a:gd name="connsiteX108" fmla="*/ 4051 w 2680515"/>
                  <a:gd name="connsiteY108" fmla="*/ 2396863 h 3204114"/>
                  <a:gd name="connsiteX109" fmla="*/ 2025 w 2680515"/>
                  <a:gd name="connsiteY109" fmla="*/ 2339120 h 3204114"/>
                  <a:gd name="connsiteX110" fmla="*/ 0 w 2680515"/>
                  <a:gd name="connsiteY110" fmla="*/ 2280364 h 3204114"/>
                  <a:gd name="connsiteX111" fmla="*/ 2026 w 2680515"/>
                  <a:gd name="connsiteY111" fmla="*/ 2220593 h 3204114"/>
                  <a:gd name="connsiteX112" fmla="*/ 4051 w 2680515"/>
                  <a:gd name="connsiteY112" fmla="*/ 2162850 h 3204114"/>
                  <a:gd name="connsiteX113" fmla="*/ 7089 w 2680515"/>
                  <a:gd name="connsiteY113" fmla="*/ 2104093 h 3204114"/>
                  <a:gd name="connsiteX114" fmla="*/ 12152 w 2680515"/>
                  <a:gd name="connsiteY114" fmla="*/ 2047363 h 3204114"/>
                  <a:gd name="connsiteX115" fmla="*/ 19241 w 2680515"/>
                  <a:gd name="connsiteY115" fmla="*/ 1989619 h 3204114"/>
                  <a:gd name="connsiteX116" fmla="*/ 27343 w 2680515"/>
                  <a:gd name="connsiteY116" fmla="*/ 1932889 h 3204114"/>
                  <a:gd name="connsiteX117" fmla="*/ 36456 w 2680515"/>
                  <a:gd name="connsiteY117" fmla="*/ 1877172 h 3204114"/>
                  <a:gd name="connsiteX118" fmla="*/ 46583 w 2680515"/>
                  <a:gd name="connsiteY118" fmla="*/ 1820441 h 3204114"/>
                  <a:gd name="connsiteX119" fmla="*/ 58735 w 2680515"/>
                  <a:gd name="connsiteY119" fmla="*/ 1764724 h 3204114"/>
                  <a:gd name="connsiteX120" fmla="*/ 72912 w 2680515"/>
                  <a:gd name="connsiteY120" fmla="*/ 1710019 h 3204114"/>
                  <a:gd name="connsiteX121" fmla="*/ 87089 w 2680515"/>
                  <a:gd name="connsiteY121" fmla="*/ 1655315 h 3204114"/>
                  <a:gd name="connsiteX122" fmla="*/ 103291 w 2680515"/>
                  <a:gd name="connsiteY122" fmla="*/ 1601624 h 3204114"/>
                  <a:gd name="connsiteX123" fmla="*/ 120507 w 2680515"/>
                  <a:gd name="connsiteY123" fmla="*/ 1548945 h 3204114"/>
                  <a:gd name="connsiteX124" fmla="*/ 138735 w 2680515"/>
                  <a:gd name="connsiteY124" fmla="*/ 1495253 h 3204114"/>
                  <a:gd name="connsiteX125" fmla="*/ 158989 w 2680515"/>
                  <a:gd name="connsiteY125" fmla="*/ 1443588 h 3204114"/>
                  <a:gd name="connsiteX126" fmla="*/ 180253 w 2680515"/>
                  <a:gd name="connsiteY126" fmla="*/ 1392936 h 3204114"/>
                  <a:gd name="connsiteX127" fmla="*/ 202533 w 2680515"/>
                  <a:gd name="connsiteY127" fmla="*/ 1341271 h 3204114"/>
                  <a:gd name="connsiteX128" fmla="*/ 225823 w 2680515"/>
                  <a:gd name="connsiteY128" fmla="*/ 1291632 h 3204114"/>
                  <a:gd name="connsiteX129" fmla="*/ 250127 w 2680515"/>
                  <a:gd name="connsiteY129" fmla="*/ 1241993 h 3204114"/>
                  <a:gd name="connsiteX130" fmla="*/ 275444 w 2680515"/>
                  <a:gd name="connsiteY130" fmla="*/ 1193366 h 3204114"/>
                  <a:gd name="connsiteX131" fmla="*/ 302786 w 2680515"/>
                  <a:gd name="connsiteY131" fmla="*/ 1145753 h 3204114"/>
                  <a:gd name="connsiteX132" fmla="*/ 330128 w 2680515"/>
                  <a:gd name="connsiteY132" fmla="*/ 1098140 h 3204114"/>
                  <a:gd name="connsiteX133" fmla="*/ 359495 w 2680515"/>
                  <a:gd name="connsiteY133" fmla="*/ 1050527 h 3204114"/>
                  <a:gd name="connsiteX134" fmla="*/ 389875 w 2680515"/>
                  <a:gd name="connsiteY134" fmla="*/ 1005954 h 3204114"/>
                  <a:gd name="connsiteX135" fmla="*/ 421267 w 2680515"/>
                  <a:gd name="connsiteY135" fmla="*/ 960366 h 3204114"/>
                  <a:gd name="connsiteX136" fmla="*/ 453673 w 2680515"/>
                  <a:gd name="connsiteY136" fmla="*/ 915793 h 3204114"/>
                  <a:gd name="connsiteX137" fmla="*/ 487090 w 2680515"/>
                  <a:gd name="connsiteY137" fmla="*/ 872231 h 3204114"/>
                  <a:gd name="connsiteX138" fmla="*/ 521521 w 2680515"/>
                  <a:gd name="connsiteY138" fmla="*/ 829684 h 3204114"/>
                  <a:gd name="connsiteX139" fmla="*/ 556964 w 2680515"/>
                  <a:gd name="connsiteY139" fmla="*/ 787136 h 3204114"/>
                  <a:gd name="connsiteX140" fmla="*/ 592407 w 2680515"/>
                  <a:gd name="connsiteY140" fmla="*/ 746614 h 3204114"/>
                  <a:gd name="connsiteX141" fmla="*/ 629876 w 2680515"/>
                  <a:gd name="connsiteY141" fmla="*/ 707105 h 3204114"/>
                  <a:gd name="connsiteX142" fmla="*/ 668356 w 2680515"/>
                  <a:gd name="connsiteY142" fmla="*/ 667596 h 3204114"/>
                  <a:gd name="connsiteX143" fmla="*/ 706838 w 2680515"/>
                  <a:gd name="connsiteY143" fmla="*/ 630114 h 3204114"/>
                  <a:gd name="connsiteX144" fmla="*/ 747344 w 2680515"/>
                  <a:gd name="connsiteY144" fmla="*/ 592631 h 3204114"/>
                  <a:gd name="connsiteX145" fmla="*/ 788864 w 2680515"/>
                  <a:gd name="connsiteY145" fmla="*/ 555149 h 3204114"/>
                  <a:gd name="connsiteX146" fmla="*/ 830383 w 2680515"/>
                  <a:gd name="connsiteY146" fmla="*/ 520705 h 3204114"/>
                  <a:gd name="connsiteX147" fmla="*/ 872914 w 2680515"/>
                  <a:gd name="connsiteY147" fmla="*/ 486262 h 3204114"/>
                  <a:gd name="connsiteX148" fmla="*/ 915446 w 2680515"/>
                  <a:gd name="connsiteY148" fmla="*/ 452831 h 3204114"/>
                  <a:gd name="connsiteX149" fmla="*/ 960003 w 2680515"/>
                  <a:gd name="connsiteY149" fmla="*/ 420414 h 3204114"/>
                  <a:gd name="connsiteX150" fmla="*/ 1005573 w 2680515"/>
                  <a:gd name="connsiteY150" fmla="*/ 390022 h 3204114"/>
                  <a:gd name="connsiteX151" fmla="*/ 1051142 w 2680515"/>
                  <a:gd name="connsiteY151" fmla="*/ 359631 h 3204114"/>
                  <a:gd name="connsiteX152" fmla="*/ 1097725 w 2680515"/>
                  <a:gd name="connsiteY152" fmla="*/ 330252 h 3204114"/>
                  <a:gd name="connsiteX153" fmla="*/ 1145321 w 2680515"/>
                  <a:gd name="connsiteY153" fmla="*/ 301888 h 3204114"/>
                  <a:gd name="connsiteX154" fmla="*/ 1192916 w 2680515"/>
                  <a:gd name="connsiteY154" fmla="*/ 275548 h 3204114"/>
                  <a:gd name="connsiteX155" fmla="*/ 1242536 w 2680515"/>
                  <a:gd name="connsiteY155" fmla="*/ 250222 h 3204114"/>
                  <a:gd name="connsiteX156" fmla="*/ 1292156 w 2680515"/>
                  <a:gd name="connsiteY156" fmla="*/ 223883 h 3204114"/>
                  <a:gd name="connsiteX157" fmla="*/ 1342789 w 2680515"/>
                  <a:gd name="connsiteY157" fmla="*/ 200583 h 3204114"/>
                  <a:gd name="connsiteX158" fmla="*/ 1392410 w 2680515"/>
                  <a:gd name="connsiteY158" fmla="*/ 178296 h 3204114"/>
                  <a:gd name="connsiteX159" fmla="*/ 1444055 w 2680515"/>
                  <a:gd name="connsiteY159" fmla="*/ 158035 h 3204114"/>
                  <a:gd name="connsiteX160" fmla="*/ 1496714 w 2680515"/>
                  <a:gd name="connsiteY160" fmla="*/ 137774 h 3204114"/>
                  <a:gd name="connsiteX161" fmla="*/ 1548360 w 2680515"/>
                  <a:gd name="connsiteY161" fmla="*/ 119539 h 3204114"/>
                  <a:gd name="connsiteX162" fmla="*/ 1602031 w 2680515"/>
                  <a:gd name="connsiteY162" fmla="*/ 102317 h 3204114"/>
                  <a:gd name="connsiteX163" fmla="*/ 1655701 w 2680515"/>
                  <a:gd name="connsiteY163" fmla="*/ 86109 h 3204114"/>
                  <a:gd name="connsiteX164" fmla="*/ 1710385 w 2680515"/>
                  <a:gd name="connsiteY164" fmla="*/ 70913 h 3204114"/>
                  <a:gd name="connsiteX165" fmla="*/ 1765070 w 2680515"/>
                  <a:gd name="connsiteY165" fmla="*/ 58756 h 3204114"/>
                  <a:gd name="connsiteX166" fmla="*/ 1820765 w 2680515"/>
                  <a:gd name="connsiteY166" fmla="*/ 45587 h 3204114"/>
                  <a:gd name="connsiteX167" fmla="*/ 1876462 w 2680515"/>
                  <a:gd name="connsiteY167" fmla="*/ 35457 h 3204114"/>
                  <a:gd name="connsiteX168" fmla="*/ 1932158 w 2680515"/>
                  <a:gd name="connsiteY168" fmla="*/ 25326 h 3204114"/>
                  <a:gd name="connsiteX169" fmla="*/ 1988868 w 2680515"/>
                  <a:gd name="connsiteY169" fmla="*/ 17222 h 3204114"/>
                  <a:gd name="connsiteX170" fmla="*/ 2046589 w 2680515"/>
                  <a:gd name="connsiteY170" fmla="*/ 12157 h 3204114"/>
                  <a:gd name="connsiteX171" fmla="*/ 2104311 w 2680515"/>
                  <a:gd name="connsiteY171" fmla="*/ 6078 h 3204114"/>
                  <a:gd name="connsiteX172" fmla="*/ 2163046 w 2680515"/>
                  <a:gd name="connsiteY172" fmla="*/ 2027 h 3204114"/>
                  <a:gd name="connsiteX173" fmla="*/ 2221780 w 2680515"/>
                  <a:gd name="connsiteY173" fmla="*/ 0 h 3204114"/>
                  <a:gd name="connsiteX174" fmla="*/ 2279502 w 2680515"/>
                  <a:gd name="connsiteY174" fmla="*/ 0 h 3204114"/>
                  <a:gd name="connsiteX175" fmla="*/ 2331147 w 2680515"/>
                  <a:gd name="connsiteY175" fmla="*/ 0 h 3204114"/>
                  <a:gd name="connsiteX176" fmla="*/ 2381780 w 2680515"/>
                  <a:gd name="connsiteY176" fmla="*/ 2026 h 3204114"/>
                  <a:gd name="connsiteX177" fmla="*/ 2432413 w 2680515"/>
                  <a:gd name="connsiteY177" fmla="*/ 6078 h 3204114"/>
                  <a:gd name="connsiteX178" fmla="*/ 2482034 w 2680515"/>
                  <a:gd name="connsiteY178" fmla="*/ 9118 h 3204114"/>
                  <a:gd name="connsiteX179" fmla="*/ 2532667 w 2680515"/>
                  <a:gd name="connsiteY179" fmla="*/ 15196 h 3204114"/>
                  <a:gd name="connsiteX180" fmla="*/ 2582287 w 2680515"/>
                  <a:gd name="connsiteY180" fmla="*/ 21274 h 3204114"/>
                  <a:gd name="connsiteX181" fmla="*/ 2631908 w 2680515"/>
                  <a:gd name="connsiteY181" fmla="*/ 29379 h 3204114"/>
                  <a:gd name="connsiteX182" fmla="*/ 2680515 w 2680515"/>
                  <a:gd name="connsiteY182" fmla="*/ 37483 h 3204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Lst>
                <a:rect l="l" t="t" r="r" b="b"/>
                <a:pathLst>
                  <a:path w="2680515" h="3204114">
                    <a:moveTo>
                      <a:pt x="2680515" y="37483"/>
                    </a:moveTo>
                    <a:lnTo>
                      <a:pt x="2640009" y="40522"/>
                    </a:lnTo>
                    <a:lnTo>
                      <a:pt x="2600515" y="45587"/>
                    </a:lnTo>
                    <a:lnTo>
                      <a:pt x="2558996" y="50652"/>
                    </a:lnTo>
                    <a:lnTo>
                      <a:pt x="2519502" y="57743"/>
                    </a:lnTo>
                    <a:lnTo>
                      <a:pt x="2481021" y="63822"/>
                    </a:lnTo>
                    <a:lnTo>
                      <a:pt x="2441527" y="72939"/>
                    </a:lnTo>
                    <a:lnTo>
                      <a:pt x="2403046" y="82057"/>
                    </a:lnTo>
                    <a:lnTo>
                      <a:pt x="2364565" y="92187"/>
                    </a:lnTo>
                    <a:lnTo>
                      <a:pt x="2327096" y="102317"/>
                    </a:lnTo>
                    <a:lnTo>
                      <a:pt x="2290641" y="114474"/>
                    </a:lnTo>
                    <a:lnTo>
                      <a:pt x="2253172" y="127644"/>
                    </a:lnTo>
                    <a:lnTo>
                      <a:pt x="2215703" y="139800"/>
                    </a:lnTo>
                    <a:lnTo>
                      <a:pt x="2179248" y="154996"/>
                    </a:lnTo>
                    <a:lnTo>
                      <a:pt x="2142793" y="170192"/>
                    </a:lnTo>
                    <a:lnTo>
                      <a:pt x="2108362" y="185387"/>
                    </a:lnTo>
                    <a:lnTo>
                      <a:pt x="2071906" y="202609"/>
                    </a:lnTo>
                    <a:lnTo>
                      <a:pt x="2038488" y="220844"/>
                    </a:lnTo>
                    <a:lnTo>
                      <a:pt x="2003045" y="238066"/>
                    </a:lnTo>
                    <a:lnTo>
                      <a:pt x="1970639" y="256300"/>
                    </a:lnTo>
                    <a:lnTo>
                      <a:pt x="1937221" y="276561"/>
                    </a:lnTo>
                    <a:lnTo>
                      <a:pt x="1903804" y="297835"/>
                    </a:lnTo>
                    <a:lnTo>
                      <a:pt x="1871398" y="318096"/>
                    </a:lnTo>
                    <a:lnTo>
                      <a:pt x="1840007" y="340383"/>
                    </a:lnTo>
                    <a:lnTo>
                      <a:pt x="1808614" y="362670"/>
                    </a:lnTo>
                    <a:lnTo>
                      <a:pt x="1778234" y="385970"/>
                    </a:lnTo>
                    <a:lnTo>
                      <a:pt x="1747854" y="410284"/>
                    </a:lnTo>
                    <a:lnTo>
                      <a:pt x="1718487" y="435610"/>
                    </a:lnTo>
                    <a:lnTo>
                      <a:pt x="1690132" y="460936"/>
                    </a:lnTo>
                    <a:lnTo>
                      <a:pt x="1661778" y="486261"/>
                    </a:lnTo>
                    <a:lnTo>
                      <a:pt x="1633423" y="513614"/>
                    </a:lnTo>
                    <a:lnTo>
                      <a:pt x="1607094" y="539953"/>
                    </a:lnTo>
                    <a:lnTo>
                      <a:pt x="1579753" y="568318"/>
                    </a:lnTo>
                    <a:lnTo>
                      <a:pt x="1554436" y="595670"/>
                    </a:lnTo>
                    <a:lnTo>
                      <a:pt x="1529119" y="625049"/>
                    </a:lnTo>
                    <a:lnTo>
                      <a:pt x="1504815" y="654427"/>
                    </a:lnTo>
                    <a:lnTo>
                      <a:pt x="1481524" y="684818"/>
                    </a:lnTo>
                    <a:lnTo>
                      <a:pt x="1458232" y="715210"/>
                    </a:lnTo>
                    <a:lnTo>
                      <a:pt x="1435954" y="746614"/>
                    </a:lnTo>
                    <a:lnTo>
                      <a:pt x="1413676" y="778018"/>
                    </a:lnTo>
                    <a:lnTo>
                      <a:pt x="1392409" y="810436"/>
                    </a:lnTo>
                    <a:lnTo>
                      <a:pt x="1372157" y="843866"/>
                    </a:lnTo>
                    <a:lnTo>
                      <a:pt x="1352916" y="877296"/>
                    </a:lnTo>
                    <a:lnTo>
                      <a:pt x="1332662" y="910727"/>
                    </a:lnTo>
                    <a:lnTo>
                      <a:pt x="1315447" y="945171"/>
                    </a:lnTo>
                    <a:lnTo>
                      <a:pt x="1298233" y="979614"/>
                    </a:lnTo>
                    <a:lnTo>
                      <a:pt x="1282030" y="1015070"/>
                    </a:lnTo>
                    <a:lnTo>
                      <a:pt x="1265827" y="1049514"/>
                    </a:lnTo>
                    <a:lnTo>
                      <a:pt x="1251650" y="1085983"/>
                    </a:lnTo>
                    <a:lnTo>
                      <a:pt x="1236460" y="1123466"/>
                    </a:lnTo>
                    <a:lnTo>
                      <a:pt x="1223295" y="1159936"/>
                    </a:lnTo>
                    <a:lnTo>
                      <a:pt x="1210131" y="1196405"/>
                    </a:lnTo>
                    <a:lnTo>
                      <a:pt x="1198992" y="1233888"/>
                    </a:lnTo>
                    <a:lnTo>
                      <a:pt x="1188865" y="1272383"/>
                    </a:lnTo>
                    <a:lnTo>
                      <a:pt x="1178738" y="1310880"/>
                    </a:lnTo>
                    <a:lnTo>
                      <a:pt x="1169624" y="1349376"/>
                    </a:lnTo>
                    <a:lnTo>
                      <a:pt x="1161523" y="1387870"/>
                    </a:lnTo>
                    <a:lnTo>
                      <a:pt x="1154435" y="1427380"/>
                    </a:lnTo>
                    <a:lnTo>
                      <a:pt x="1147346" y="1467902"/>
                    </a:lnTo>
                    <a:lnTo>
                      <a:pt x="1143295" y="1507410"/>
                    </a:lnTo>
                    <a:lnTo>
                      <a:pt x="1138231" y="1547932"/>
                    </a:lnTo>
                    <a:lnTo>
                      <a:pt x="1135194" y="1588454"/>
                    </a:lnTo>
                    <a:lnTo>
                      <a:pt x="1132156" y="1629989"/>
                    </a:lnTo>
                    <a:lnTo>
                      <a:pt x="1131143" y="1670510"/>
                    </a:lnTo>
                    <a:lnTo>
                      <a:pt x="1130131" y="1711032"/>
                    </a:lnTo>
                    <a:lnTo>
                      <a:pt x="1131143" y="1755606"/>
                    </a:lnTo>
                    <a:lnTo>
                      <a:pt x="1132156" y="1800180"/>
                    </a:lnTo>
                    <a:lnTo>
                      <a:pt x="1136206" y="1842727"/>
                    </a:lnTo>
                    <a:lnTo>
                      <a:pt x="1139244" y="1886289"/>
                    </a:lnTo>
                    <a:lnTo>
                      <a:pt x="1144308" y="1928837"/>
                    </a:lnTo>
                    <a:lnTo>
                      <a:pt x="1150384" y="1971384"/>
                    </a:lnTo>
                    <a:lnTo>
                      <a:pt x="1158485" y="2012919"/>
                    </a:lnTo>
                    <a:lnTo>
                      <a:pt x="1166586" y="2055467"/>
                    </a:lnTo>
                    <a:lnTo>
                      <a:pt x="1174688" y="2095989"/>
                    </a:lnTo>
                    <a:lnTo>
                      <a:pt x="1184814" y="2138536"/>
                    </a:lnTo>
                    <a:lnTo>
                      <a:pt x="1196966" y="2178046"/>
                    </a:lnTo>
                    <a:lnTo>
                      <a:pt x="1208106" y="2218567"/>
                    </a:lnTo>
                    <a:lnTo>
                      <a:pt x="1221270" y="2258076"/>
                    </a:lnTo>
                    <a:lnTo>
                      <a:pt x="1236460" y="2297585"/>
                    </a:lnTo>
                    <a:lnTo>
                      <a:pt x="1250637" y="2336080"/>
                    </a:lnTo>
                    <a:lnTo>
                      <a:pt x="1266839" y="2374576"/>
                    </a:lnTo>
                    <a:lnTo>
                      <a:pt x="1284055" y="2412059"/>
                    </a:lnTo>
                    <a:lnTo>
                      <a:pt x="1301270" y="2449541"/>
                    </a:lnTo>
                    <a:lnTo>
                      <a:pt x="1320510" y="2487024"/>
                    </a:lnTo>
                    <a:lnTo>
                      <a:pt x="1339751" y="2522481"/>
                    </a:lnTo>
                    <a:lnTo>
                      <a:pt x="1360005" y="2558950"/>
                    </a:lnTo>
                    <a:lnTo>
                      <a:pt x="1381270" y="2594407"/>
                    </a:lnTo>
                    <a:lnTo>
                      <a:pt x="1402536" y="2628851"/>
                    </a:lnTo>
                    <a:lnTo>
                      <a:pt x="1425827" y="2663294"/>
                    </a:lnTo>
                    <a:lnTo>
                      <a:pt x="1449119" y="2696725"/>
                    </a:lnTo>
                    <a:lnTo>
                      <a:pt x="1474435" y="2729142"/>
                    </a:lnTo>
                    <a:lnTo>
                      <a:pt x="1499752" y="2761559"/>
                    </a:lnTo>
                    <a:lnTo>
                      <a:pt x="1525068" y="2793977"/>
                    </a:lnTo>
                    <a:lnTo>
                      <a:pt x="1552410" y="2824368"/>
                    </a:lnTo>
                    <a:lnTo>
                      <a:pt x="1579753" y="2853746"/>
                    </a:lnTo>
                    <a:lnTo>
                      <a:pt x="1608107" y="2884138"/>
                    </a:lnTo>
                    <a:lnTo>
                      <a:pt x="1637474" y="2913516"/>
                    </a:lnTo>
                    <a:lnTo>
                      <a:pt x="1346381" y="3204114"/>
                    </a:lnTo>
                    <a:lnTo>
                      <a:pt x="93249" y="2924143"/>
                    </a:lnTo>
                    <a:lnTo>
                      <a:pt x="87089" y="2902372"/>
                    </a:lnTo>
                    <a:lnTo>
                      <a:pt x="71899" y="2847668"/>
                    </a:lnTo>
                    <a:lnTo>
                      <a:pt x="58734" y="2791951"/>
                    </a:lnTo>
                    <a:lnTo>
                      <a:pt x="46583" y="2737246"/>
                    </a:lnTo>
                    <a:lnTo>
                      <a:pt x="35443" y="2681529"/>
                    </a:lnTo>
                    <a:lnTo>
                      <a:pt x="26330" y="2625811"/>
                    </a:lnTo>
                    <a:lnTo>
                      <a:pt x="19241" y="2570094"/>
                    </a:lnTo>
                    <a:lnTo>
                      <a:pt x="12152" y="2512350"/>
                    </a:lnTo>
                    <a:lnTo>
                      <a:pt x="7089" y="2454607"/>
                    </a:lnTo>
                    <a:lnTo>
                      <a:pt x="4051" y="2396863"/>
                    </a:lnTo>
                    <a:lnTo>
                      <a:pt x="2025" y="2339120"/>
                    </a:lnTo>
                    <a:lnTo>
                      <a:pt x="0" y="2280364"/>
                    </a:lnTo>
                    <a:lnTo>
                      <a:pt x="2026" y="2220593"/>
                    </a:lnTo>
                    <a:lnTo>
                      <a:pt x="4051" y="2162850"/>
                    </a:lnTo>
                    <a:lnTo>
                      <a:pt x="7089" y="2104093"/>
                    </a:lnTo>
                    <a:lnTo>
                      <a:pt x="12152" y="2047363"/>
                    </a:lnTo>
                    <a:lnTo>
                      <a:pt x="19241" y="1989619"/>
                    </a:lnTo>
                    <a:lnTo>
                      <a:pt x="27343" y="1932889"/>
                    </a:lnTo>
                    <a:lnTo>
                      <a:pt x="36456" y="1877172"/>
                    </a:lnTo>
                    <a:lnTo>
                      <a:pt x="46583" y="1820441"/>
                    </a:lnTo>
                    <a:lnTo>
                      <a:pt x="58735" y="1764724"/>
                    </a:lnTo>
                    <a:lnTo>
                      <a:pt x="72912" y="1710019"/>
                    </a:lnTo>
                    <a:lnTo>
                      <a:pt x="87089" y="1655315"/>
                    </a:lnTo>
                    <a:lnTo>
                      <a:pt x="103291" y="1601624"/>
                    </a:lnTo>
                    <a:lnTo>
                      <a:pt x="120507" y="1548945"/>
                    </a:lnTo>
                    <a:lnTo>
                      <a:pt x="138735" y="1495253"/>
                    </a:lnTo>
                    <a:lnTo>
                      <a:pt x="158989" y="1443588"/>
                    </a:lnTo>
                    <a:lnTo>
                      <a:pt x="180253" y="1392936"/>
                    </a:lnTo>
                    <a:lnTo>
                      <a:pt x="202533" y="1341271"/>
                    </a:lnTo>
                    <a:lnTo>
                      <a:pt x="225823" y="1291632"/>
                    </a:lnTo>
                    <a:lnTo>
                      <a:pt x="250127" y="1241993"/>
                    </a:lnTo>
                    <a:lnTo>
                      <a:pt x="275444" y="1193366"/>
                    </a:lnTo>
                    <a:lnTo>
                      <a:pt x="302786" y="1145753"/>
                    </a:lnTo>
                    <a:lnTo>
                      <a:pt x="330128" y="1098140"/>
                    </a:lnTo>
                    <a:lnTo>
                      <a:pt x="359495" y="1050527"/>
                    </a:lnTo>
                    <a:lnTo>
                      <a:pt x="389875" y="1005954"/>
                    </a:lnTo>
                    <a:lnTo>
                      <a:pt x="421267" y="960366"/>
                    </a:lnTo>
                    <a:lnTo>
                      <a:pt x="453673" y="915793"/>
                    </a:lnTo>
                    <a:lnTo>
                      <a:pt x="487090" y="872231"/>
                    </a:lnTo>
                    <a:lnTo>
                      <a:pt x="521521" y="829684"/>
                    </a:lnTo>
                    <a:lnTo>
                      <a:pt x="556964" y="787136"/>
                    </a:lnTo>
                    <a:lnTo>
                      <a:pt x="592407" y="746614"/>
                    </a:lnTo>
                    <a:lnTo>
                      <a:pt x="629876" y="707105"/>
                    </a:lnTo>
                    <a:lnTo>
                      <a:pt x="668356" y="667596"/>
                    </a:lnTo>
                    <a:lnTo>
                      <a:pt x="706838" y="630114"/>
                    </a:lnTo>
                    <a:lnTo>
                      <a:pt x="747344" y="592631"/>
                    </a:lnTo>
                    <a:lnTo>
                      <a:pt x="788864" y="555149"/>
                    </a:lnTo>
                    <a:lnTo>
                      <a:pt x="830383" y="520705"/>
                    </a:lnTo>
                    <a:lnTo>
                      <a:pt x="872914" y="486262"/>
                    </a:lnTo>
                    <a:lnTo>
                      <a:pt x="915446" y="452831"/>
                    </a:lnTo>
                    <a:lnTo>
                      <a:pt x="960003" y="420414"/>
                    </a:lnTo>
                    <a:lnTo>
                      <a:pt x="1005573" y="390022"/>
                    </a:lnTo>
                    <a:lnTo>
                      <a:pt x="1051142" y="359631"/>
                    </a:lnTo>
                    <a:lnTo>
                      <a:pt x="1097725" y="330252"/>
                    </a:lnTo>
                    <a:lnTo>
                      <a:pt x="1145321" y="301888"/>
                    </a:lnTo>
                    <a:lnTo>
                      <a:pt x="1192916" y="275548"/>
                    </a:lnTo>
                    <a:lnTo>
                      <a:pt x="1242536" y="250222"/>
                    </a:lnTo>
                    <a:lnTo>
                      <a:pt x="1292156" y="223883"/>
                    </a:lnTo>
                    <a:lnTo>
                      <a:pt x="1342789" y="200583"/>
                    </a:lnTo>
                    <a:lnTo>
                      <a:pt x="1392410" y="178296"/>
                    </a:lnTo>
                    <a:lnTo>
                      <a:pt x="1444055" y="158035"/>
                    </a:lnTo>
                    <a:lnTo>
                      <a:pt x="1496714" y="137774"/>
                    </a:lnTo>
                    <a:lnTo>
                      <a:pt x="1548360" y="119539"/>
                    </a:lnTo>
                    <a:lnTo>
                      <a:pt x="1602031" y="102317"/>
                    </a:lnTo>
                    <a:lnTo>
                      <a:pt x="1655701" y="86109"/>
                    </a:lnTo>
                    <a:lnTo>
                      <a:pt x="1710385" y="70913"/>
                    </a:lnTo>
                    <a:lnTo>
                      <a:pt x="1765070" y="58756"/>
                    </a:lnTo>
                    <a:lnTo>
                      <a:pt x="1820765" y="45587"/>
                    </a:lnTo>
                    <a:lnTo>
                      <a:pt x="1876462" y="35457"/>
                    </a:lnTo>
                    <a:lnTo>
                      <a:pt x="1932158" y="25326"/>
                    </a:lnTo>
                    <a:lnTo>
                      <a:pt x="1988868" y="17222"/>
                    </a:lnTo>
                    <a:lnTo>
                      <a:pt x="2046589" y="12157"/>
                    </a:lnTo>
                    <a:lnTo>
                      <a:pt x="2104311" y="6078"/>
                    </a:lnTo>
                    <a:lnTo>
                      <a:pt x="2163046" y="2027"/>
                    </a:lnTo>
                    <a:lnTo>
                      <a:pt x="2221780" y="0"/>
                    </a:lnTo>
                    <a:lnTo>
                      <a:pt x="2279502" y="0"/>
                    </a:lnTo>
                    <a:lnTo>
                      <a:pt x="2331147" y="0"/>
                    </a:lnTo>
                    <a:lnTo>
                      <a:pt x="2381780" y="2026"/>
                    </a:lnTo>
                    <a:lnTo>
                      <a:pt x="2432413" y="6078"/>
                    </a:lnTo>
                    <a:lnTo>
                      <a:pt x="2482034" y="9118"/>
                    </a:lnTo>
                    <a:lnTo>
                      <a:pt x="2532667" y="15196"/>
                    </a:lnTo>
                    <a:lnTo>
                      <a:pt x="2582287" y="21274"/>
                    </a:lnTo>
                    <a:lnTo>
                      <a:pt x="2631908" y="29379"/>
                    </a:lnTo>
                    <a:lnTo>
                      <a:pt x="2680515" y="37483"/>
                    </a:lnTo>
                    <a:close/>
                  </a:path>
                </a:pathLst>
              </a:custGeom>
              <a:solidFill>
                <a:srgbClr val="B3C1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ko-KR" altLang="en-US" sz="2400"/>
              </a:p>
            </p:txBody>
          </p:sp>
          <p:sp>
            <p:nvSpPr>
              <p:cNvPr id="117" name="Freeform 88"/>
              <p:cNvSpPr>
                <a:spLocks/>
              </p:cNvSpPr>
              <p:nvPr userDrawn="1"/>
            </p:nvSpPr>
            <p:spPr bwMode="auto">
              <a:xfrm rot="20844360">
                <a:off x="5523308" y="1771212"/>
                <a:ext cx="2751428" cy="2871983"/>
              </a:xfrm>
              <a:custGeom>
                <a:avLst/>
                <a:gdLst>
                  <a:gd name="T0" fmla="*/ 1 w 2719"/>
                  <a:gd name="T1" fmla="*/ 1696 h 2839"/>
                  <a:gd name="T2" fmla="*/ 9 w 2719"/>
                  <a:gd name="T3" fmla="*/ 1825 h 2839"/>
                  <a:gd name="T4" fmla="*/ 28 w 2719"/>
                  <a:gd name="T5" fmla="*/ 1950 h 2839"/>
                  <a:gd name="T6" fmla="*/ 54 w 2719"/>
                  <a:gd name="T7" fmla="*/ 2074 h 2839"/>
                  <a:gd name="T8" fmla="*/ 90 w 2719"/>
                  <a:gd name="T9" fmla="*/ 2192 h 2839"/>
                  <a:gd name="T10" fmla="*/ 135 w 2719"/>
                  <a:gd name="T11" fmla="*/ 2307 h 2839"/>
                  <a:gd name="T12" fmla="*/ 188 w 2719"/>
                  <a:gd name="T13" fmla="*/ 2418 h 2839"/>
                  <a:gd name="T14" fmla="*/ 248 w 2719"/>
                  <a:gd name="T15" fmla="*/ 2524 h 2839"/>
                  <a:gd name="T16" fmla="*/ 315 w 2719"/>
                  <a:gd name="T17" fmla="*/ 2625 h 2839"/>
                  <a:gd name="T18" fmla="*/ 390 w 2719"/>
                  <a:gd name="T19" fmla="*/ 2721 h 2839"/>
                  <a:gd name="T20" fmla="*/ 472 w 2719"/>
                  <a:gd name="T21" fmla="*/ 2810 h 2839"/>
                  <a:gd name="T22" fmla="*/ 2719 w 2719"/>
                  <a:gd name="T23" fmla="*/ 619 h 2839"/>
                  <a:gd name="T24" fmla="*/ 2674 w 2719"/>
                  <a:gd name="T25" fmla="*/ 575 h 2839"/>
                  <a:gd name="T26" fmla="*/ 2630 w 2719"/>
                  <a:gd name="T27" fmla="*/ 533 h 2839"/>
                  <a:gd name="T28" fmla="*/ 2495 w 2719"/>
                  <a:gd name="T29" fmla="*/ 423 h 2839"/>
                  <a:gd name="T30" fmla="*/ 2353 w 2719"/>
                  <a:gd name="T31" fmla="*/ 324 h 2839"/>
                  <a:gd name="T32" fmla="*/ 2282 w 2719"/>
                  <a:gd name="T33" fmla="*/ 280 h 2839"/>
                  <a:gd name="T34" fmla="*/ 2184 w 2719"/>
                  <a:gd name="T35" fmla="*/ 225 h 2839"/>
                  <a:gd name="T36" fmla="*/ 2148 w 2719"/>
                  <a:gd name="T37" fmla="*/ 205 h 2839"/>
                  <a:gd name="T38" fmla="*/ 2042 w 2719"/>
                  <a:gd name="T39" fmla="*/ 155 h 2839"/>
                  <a:gd name="T40" fmla="*/ 1879 w 2719"/>
                  <a:gd name="T41" fmla="*/ 91 h 2839"/>
                  <a:gd name="T42" fmla="*/ 1710 w 2719"/>
                  <a:gd name="T43" fmla="*/ 39 h 2839"/>
                  <a:gd name="T44" fmla="*/ 1679 w 2719"/>
                  <a:gd name="T45" fmla="*/ 31 h 2839"/>
                  <a:gd name="T46" fmla="*/ 1531 w 2719"/>
                  <a:gd name="T47" fmla="*/ 0 h 2839"/>
                  <a:gd name="T48" fmla="*/ 1452 w 2719"/>
                  <a:gd name="T49" fmla="*/ 8 h 2839"/>
                  <a:gd name="T50" fmla="*/ 1334 w 2719"/>
                  <a:gd name="T51" fmla="*/ 26 h 2839"/>
                  <a:gd name="T52" fmla="*/ 1219 w 2719"/>
                  <a:gd name="T53" fmla="*/ 54 h 2839"/>
                  <a:gd name="T54" fmla="*/ 1109 w 2719"/>
                  <a:gd name="T55" fmla="*/ 89 h 2839"/>
                  <a:gd name="T56" fmla="*/ 1000 w 2719"/>
                  <a:gd name="T57" fmla="*/ 131 h 2839"/>
                  <a:gd name="T58" fmla="*/ 897 w 2719"/>
                  <a:gd name="T59" fmla="*/ 181 h 2839"/>
                  <a:gd name="T60" fmla="*/ 797 w 2719"/>
                  <a:gd name="T61" fmla="*/ 236 h 2839"/>
                  <a:gd name="T62" fmla="*/ 701 w 2719"/>
                  <a:gd name="T63" fmla="*/ 299 h 2839"/>
                  <a:gd name="T64" fmla="*/ 610 w 2719"/>
                  <a:gd name="T65" fmla="*/ 368 h 2839"/>
                  <a:gd name="T66" fmla="*/ 525 w 2719"/>
                  <a:gd name="T67" fmla="*/ 443 h 2839"/>
                  <a:gd name="T68" fmla="*/ 444 w 2719"/>
                  <a:gd name="T69" fmla="*/ 524 h 2839"/>
                  <a:gd name="T70" fmla="*/ 370 w 2719"/>
                  <a:gd name="T71" fmla="*/ 609 h 2839"/>
                  <a:gd name="T72" fmla="*/ 302 w 2719"/>
                  <a:gd name="T73" fmla="*/ 700 h 2839"/>
                  <a:gd name="T74" fmla="*/ 239 w 2719"/>
                  <a:gd name="T75" fmla="*/ 796 h 2839"/>
                  <a:gd name="T76" fmla="*/ 183 w 2719"/>
                  <a:gd name="T77" fmla="*/ 896 h 2839"/>
                  <a:gd name="T78" fmla="*/ 134 w 2719"/>
                  <a:gd name="T79" fmla="*/ 999 h 2839"/>
                  <a:gd name="T80" fmla="*/ 92 w 2719"/>
                  <a:gd name="T81" fmla="*/ 1108 h 2839"/>
                  <a:gd name="T82" fmla="*/ 58 w 2719"/>
                  <a:gd name="T83" fmla="*/ 1219 h 2839"/>
                  <a:gd name="T84" fmla="*/ 31 w 2719"/>
                  <a:gd name="T85" fmla="*/ 1333 h 2839"/>
                  <a:gd name="T86" fmla="*/ 13 w 2719"/>
                  <a:gd name="T87" fmla="*/ 1451 h 2839"/>
                  <a:gd name="T88" fmla="*/ 2 w 2719"/>
                  <a:gd name="T89" fmla="*/ 1572 h 2839"/>
                  <a:gd name="T90" fmla="*/ 0 w 2719"/>
                  <a:gd name="T91" fmla="*/ 1652 h 2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19" h="2839">
                    <a:moveTo>
                      <a:pt x="0" y="1652"/>
                    </a:moveTo>
                    <a:lnTo>
                      <a:pt x="0" y="1652"/>
                    </a:lnTo>
                    <a:lnTo>
                      <a:pt x="1" y="1696"/>
                    </a:lnTo>
                    <a:lnTo>
                      <a:pt x="2" y="1740"/>
                    </a:lnTo>
                    <a:lnTo>
                      <a:pt x="6" y="1782"/>
                    </a:lnTo>
                    <a:lnTo>
                      <a:pt x="9" y="1825"/>
                    </a:lnTo>
                    <a:lnTo>
                      <a:pt x="14" y="1867"/>
                    </a:lnTo>
                    <a:lnTo>
                      <a:pt x="20" y="1909"/>
                    </a:lnTo>
                    <a:lnTo>
                      <a:pt x="28" y="1950"/>
                    </a:lnTo>
                    <a:lnTo>
                      <a:pt x="36" y="1992"/>
                    </a:lnTo>
                    <a:lnTo>
                      <a:pt x="44" y="2032"/>
                    </a:lnTo>
                    <a:lnTo>
                      <a:pt x="54" y="2074"/>
                    </a:lnTo>
                    <a:lnTo>
                      <a:pt x="66" y="2113"/>
                    </a:lnTo>
                    <a:lnTo>
                      <a:pt x="77" y="2153"/>
                    </a:lnTo>
                    <a:lnTo>
                      <a:pt x="90" y="2192"/>
                    </a:lnTo>
                    <a:lnTo>
                      <a:pt x="105" y="2231"/>
                    </a:lnTo>
                    <a:lnTo>
                      <a:pt x="119" y="2269"/>
                    </a:lnTo>
                    <a:lnTo>
                      <a:pt x="135" y="2307"/>
                    </a:lnTo>
                    <a:lnTo>
                      <a:pt x="152" y="2344"/>
                    </a:lnTo>
                    <a:lnTo>
                      <a:pt x="169" y="2381"/>
                    </a:lnTo>
                    <a:lnTo>
                      <a:pt x="188" y="2418"/>
                    </a:lnTo>
                    <a:lnTo>
                      <a:pt x="207" y="2453"/>
                    </a:lnTo>
                    <a:lnTo>
                      <a:pt x="227" y="2489"/>
                    </a:lnTo>
                    <a:lnTo>
                      <a:pt x="248" y="2524"/>
                    </a:lnTo>
                    <a:lnTo>
                      <a:pt x="269" y="2558"/>
                    </a:lnTo>
                    <a:lnTo>
                      <a:pt x="292" y="2592"/>
                    </a:lnTo>
                    <a:lnTo>
                      <a:pt x="315" y="2625"/>
                    </a:lnTo>
                    <a:lnTo>
                      <a:pt x="340" y="2657"/>
                    </a:lnTo>
                    <a:lnTo>
                      <a:pt x="365" y="2689"/>
                    </a:lnTo>
                    <a:lnTo>
                      <a:pt x="390" y="2721"/>
                    </a:lnTo>
                    <a:lnTo>
                      <a:pt x="417" y="2751"/>
                    </a:lnTo>
                    <a:lnTo>
                      <a:pt x="444" y="2780"/>
                    </a:lnTo>
                    <a:lnTo>
                      <a:pt x="472" y="2810"/>
                    </a:lnTo>
                    <a:lnTo>
                      <a:pt x="501" y="2839"/>
                    </a:lnTo>
                    <a:lnTo>
                      <a:pt x="2719" y="619"/>
                    </a:lnTo>
                    <a:lnTo>
                      <a:pt x="2719" y="619"/>
                    </a:lnTo>
                    <a:lnTo>
                      <a:pt x="2697" y="598"/>
                    </a:lnTo>
                    <a:lnTo>
                      <a:pt x="2674" y="575"/>
                    </a:lnTo>
                    <a:lnTo>
                      <a:pt x="2674" y="575"/>
                    </a:lnTo>
                    <a:lnTo>
                      <a:pt x="2672" y="572"/>
                    </a:lnTo>
                    <a:lnTo>
                      <a:pt x="2672" y="572"/>
                    </a:lnTo>
                    <a:lnTo>
                      <a:pt x="2630" y="533"/>
                    </a:lnTo>
                    <a:lnTo>
                      <a:pt x="2586" y="495"/>
                    </a:lnTo>
                    <a:lnTo>
                      <a:pt x="2541" y="458"/>
                    </a:lnTo>
                    <a:lnTo>
                      <a:pt x="2495" y="423"/>
                    </a:lnTo>
                    <a:lnTo>
                      <a:pt x="2449" y="388"/>
                    </a:lnTo>
                    <a:lnTo>
                      <a:pt x="2402" y="356"/>
                    </a:lnTo>
                    <a:lnTo>
                      <a:pt x="2353" y="324"/>
                    </a:lnTo>
                    <a:lnTo>
                      <a:pt x="2304" y="292"/>
                    </a:lnTo>
                    <a:lnTo>
                      <a:pt x="2304" y="292"/>
                    </a:lnTo>
                    <a:lnTo>
                      <a:pt x="2282" y="280"/>
                    </a:lnTo>
                    <a:lnTo>
                      <a:pt x="2282" y="280"/>
                    </a:lnTo>
                    <a:lnTo>
                      <a:pt x="2217" y="242"/>
                    </a:lnTo>
                    <a:lnTo>
                      <a:pt x="2184" y="225"/>
                    </a:lnTo>
                    <a:lnTo>
                      <a:pt x="2152" y="207"/>
                    </a:lnTo>
                    <a:lnTo>
                      <a:pt x="2152" y="207"/>
                    </a:lnTo>
                    <a:lnTo>
                      <a:pt x="2148" y="205"/>
                    </a:lnTo>
                    <a:lnTo>
                      <a:pt x="2148" y="205"/>
                    </a:lnTo>
                    <a:lnTo>
                      <a:pt x="2095" y="180"/>
                    </a:lnTo>
                    <a:lnTo>
                      <a:pt x="2042" y="155"/>
                    </a:lnTo>
                    <a:lnTo>
                      <a:pt x="1988" y="132"/>
                    </a:lnTo>
                    <a:lnTo>
                      <a:pt x="1934" y="112"/>
                    </a:lnTo>
                    <a:lnTo>
                      <a:pt x="1879" y="91"/>
                    </a:lnTo>
                    <a:lnTo>
                      <a:pt x="1822" y="73"/>
                    </a:lnTo>
                    <a:lnTo>
                      <a:pt x="1766" y="55"/>
                    </a:lnTo>
                    <a:lnTo>
                      <a:pt x="1710" y="39"/>
                    </a:lnTo>
                    <a:lnTo>
                      <a:pt x="1710" y="39"/>
                    </a:lnTo>
                    <a:lnTo>
                      <a:pt x="1679" y="31"/>
                    </a:lnTo>
                    <a:lnTo>
                      <a:pt x="1679" y="31"/>
                    </a:lnTo>
                    <a:lnTo>
                      <a:pt x="1606" y="15"/>
                    </a:lnTo>
                    <a:lnTo>
                      <a:pt x="1568" y="7"/>
                    </a:lnTo>
                    <a:lnTo>
                      <a:pt x="1531" y="0"/>
                    </a:lnTo>
                    <a:lnTo>
                      <a:pt x="1531" y="0"/>
                    </a:lnTo>
                    <a:lnTo>
                      <a:pt x="1491" y="3"/>
                    </a:lnTo>
                    <a:lnTo>
                      <a:pt x="1452" y="8"/>
                    </a:lnTo>
                    <a:lnTo>
                      <a:pt x="1411" y="13"/>
                    </a:lnTo>
                    <a:lnTo>
                      <a:pt x="1372" y="20"/>
                    </a:lnTo>
                    <a:lnTo>
                      <a:pt x="1334" y="26"/>
                    </a:lnTo>
                    <a:lnTo>
                      <a:pt x="1295" y="35"/>
                    </a:lnTo>
                    <a:lnTo>
                      <a:pt x="1257" y="44"/>
                    </a:lnTo>
                    <a:lnTo>
                      <a:pt x="1219" y="54"/>
                    </a:lnTo>
                    <a:lnTo>
                      <a:pt x="1182" y="64"/>
                    </a:lnTo>
                    <a:lnTo>
                      <a:pt x="1146" y="76"/>
                    </a:lnTo>
                    <a:lnTo>
                      <a:pt x="1109" y="89"/>
                    </a:lnTo>
                    <a:lnTo>
                      <a:pt x="1072" y="101"/>
                    </a:lnTo>
                    <a:lnTo>
                      <a:pt x="1036" y="116"/>
                    </a:lnTo>
                    <a:lnTo>
                      <a:pt x="1000" y="131"/>
                    </a:lnTo>
                    <a:lnTo>
                      <a:pt x="966" y="146"/>
                    </a:lnTo>
                    <a:lnTo>
                      <a:pt x="930" y="163"/>
                    </a:lnTo>
                    <a:lnTo>
                      <a:pt x="897" y="181"/>
                    </a:lnTo>
                    <a:lnTo>
                      <a:pt x="862" y="198"/>
                    </a:lnTo>
                    <a:lnTo>
                      <a:pt x="830" y="216"/>
                    </a:lnTo>
                    <a:lnTo>
                      <a:pt x="797" y="236"/>
                    </a:lnTo>
                    <a:lnTo>
                      <a:pt x="764" y="257"/>
                    </a:lnTo>
                    <a:lnTo>
                      <a:pt x="732" y="277"/>
                    </a:lnTo>
                    <a:lnTo>
                      <a:pt x="701" y="299"/>
                    </a:lnTo>
                    <a:lnTo>
                      <a:pt x="670" y="321"/>
                    </a:lnTo>
                    <a:lnTo>
                      <a:pt x="640" y="344"/>
                    </a:lnTo>
                    <a:lnTo>
                      <a:pt x="610" y="368"/>
                    </a:lnTo>
                    <a:lnTo>
                      <a:pt x="581" y="393"/>
                    </a:lnTo>
                    <a:lnTo>
                      <a:pt x="553" y="418"/>
                    </a:lnTo>
                    <a:lnTo>
                      <a:pt x="525" y="443"/>
                    </a:lnTo>
                    <a:lnTo>
                      <a:pt x="497" y="470"/>
                    </a:lnTo>
                    <a:lnTo>
                      <a:pt x="471" y="496"/>
                    </a:lnTo>
                    <a:lnTo>
                      <a:pt x="444" y="524"/>
                    </a:lnTo>
                    <a:lnTo>
                      <a:pt x="419" y="551"/>
                    </a:lnTo>
                    <a:lnTo>
                      <a:pt x="394" y="580"/>
                    </a:lnTo>
                    <a:lnTo>
                      <a:pt x="370" y="609"/>
                    </a:lnTo>
                    <a:lnTo>
                      <a:pt x="347" y="639"/>
                    </a:lnTo>
                    <a:lnTo>
                      <a:pt x="324" y="669"/>
                    </a:lnTo>
                    <a:lnTo>
                      <a:pt x="302" y="700"/>
                    </a:lnTo>
                    <a:lnTo>
                      <a:pt x="280" y="731"/>
                    </a:lnTo>
                    <a:lnTo>
                      <a:pt x="259" y="763"/>
                    </a:lnTo>
                    <a:lnTo>
                      <a:pt x="239" y="796"/>
                    </a:lnTo>
                    <a:lnTo>
                      <a:pt x="220" y="829"/>
                    </a:lnTo>
                    <a:lnTo>
                      <a:pt x="200" y="862"/>
                    </a:lnTo>
                    <a:lnTo>
                      <a:pt x="183" y="896"/>
                    </a:lnTo>
                    <a:lnTo>
                      <a:pt x="166" y="930"/>
                    </a:lnTo>
                    <a:lnTo>
                      <a:pt x="150" y="965"/>
                    </a:lnTo>
                    <a:lnTo>
                      <a:pt x="134" y="999"/>
                    </a:lnTo>
                    <a:lnTo>
                      <a:pt x="120" y="1035"/>
                    </a:lnTo>
                    <a:lnTo>
                      <a:pt x="105" y="1072"/>
                    </a:lnTo>
                    <a:lnTo>
                      <a:pt x="92" y="1108"/>
                    </a:lnTo>
                    <a:lnTo>
                      <a:pt x="79" y="1144"/>
                    </a:lnTo>
                    <a:lnTo>
                      <a:pt x="68" y="1181"/>
                    </a:lnTo>
                    <a:lnTo>
                      <a:pt x="58" y="1219"/>
                    </a:lnTo>
                    <a:lnTo>
                      <a:pt x="48" y="1257"/>
                    </a:lnTo>
                    <a:lnTo>
                      <a:pt x="39" y="1295"/>
                    </a:lnTo>
                    <a:lnTo>
                      <a:pt x="31" y="1333"/>
                    </a:lnTo>
                    <a:lnTo>
                      <a:pt x="24" y="1372"/>
                    </a:lnTo>
                    <a:lnTo>
                      <a:pt x="17" y="1412"/>
                    </a:lnTo>
                    <a:lnTo>
                      <a:pt x="13" y="1451"/>
                    </a:lnTo>
                    <a:lnTo>
                      <a:pt x="8" y="1491"/>
                    </a:lnTo>
                    <a:lnTo>
                      <a:pt x="5" y="1531"/>
                    </a:lnTo>
                    <a:lnTo>
                      <a:pt x="2" y="1572"/>
                    </a:lnTo>
                    <a:lnTo>
                      <a:pt x="1" y="1612"/>
                    </a:lnTo>
                    <a:lnTo>
                      <a:pt x="0" y="1652"/>
                    </a:lnTo>
                    <a:lnTo>
                      <a:pt x="0" y="1652"/>
                    </a:lnTo>
                    <a:close/>
                  </a:path>
                </a:pathLst>
              </a:custGeom>
              <a:solidFill>
                <a:srgbClr val="D2E0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1" name="자유형 740"/>
              <p:cNvSpPr>
                <a:spLocks/>
              </p:cNvSpPr>
              <p:nvPr userDrawn="1"/>
            </p:nvSpPr>
            <p:spPr bwMode="auto">
              <a:xfrm rot="20844360">
                <a:off x="6013741" y="3336795"/>
                <a:ext cx="3211611" cy="2057023"/>
              </a:xfrm>
              <a:custGeom>
                <a:avLst/>
                <a:gdLst>
                  <a:gd name="connsiteX0" fmla="*/ 3142670 w 3211611"/>
                  <a:gd name="connsiteY0" fmla="*/ 0 h 2057023"/>
                  <a:gd name="connsiteX1" fmla="*/ 3157877 w 3211611"/>
                  <a:gd name="connsiteY1" fmla="*/ 64880 h 2057023"/>
                  <a:gd name="connsiteX2" fmla="*/ 3172072 w 3211611"/>
                  <a:gd name="connsiteY2" fmla="*/ 132804 h 2057023"/>
                  <a:gd name="connsiteX3" fmla="*/ 3183223 w 3211611"/>
                  <a:gd name="connsiteY3" fmla="*/ 199712 h 2057023"/>
                  <a:gd name="connsiteX4" fmla="*/ 3194376 w 3211611"/>
                  <a:gd name="connsiteY4" fmla="*/ 268648 h 2057023"/>
                  <a:gd name="connsiteX5" fmla="*/ 3201472 w 3211611"/>
                  <a:gd name="connsiteY5" fmla="*/ 337585 h 2057023"/>
                  <a:gd name="connsiteX6" fmla="*/ 3206542 w 3211611"/>
                  <a:gd name="connsiteY6" fmla="*/ 406521 h 2057023"/>
                  <a:gd name="connsiteX7" fmla="*/ 3210597 w 3211611"/>
                  <a:gd name="connsiteY7" fmla="*/ 476471 h 2057023"/>
                  <a:gd name="connsiteX8" fmla="*/ 3211611 w 3211611"/>
                  <a:gd name="connsiteY8" fmla="*/ 547436 h 2057023"/>
                  <a:gd name="connsiteX9" fmla="*/ 3211611 w 3211611"/>
                  <a:gd name="connsiteY9" fmla="*/ 606234 h 2057023"/>
                  <a:gd name="connsiteX10" fmla="*/ 3209584 w 3211611"/>
                  <a:gd name="connsiteY10" fmla="*/ 664019 h 2057023"/>
                  <a:gd name="connsiteX11" fmla="*/ 3205529 w 3211611"/>
                  <a:gd name="connsiteY11" fmla="*/ 722818 h 2057023"/>
                  <a:gd name="connsiteX12" fmla="*/ 3199445 w 3211611"/>
                  <a:gd name="connsiteY12" fmla="*/ 780602 h 2057023"/>
                  <a:gd name="connsiteX13" fmla="*/ 3194376 w 3211611"/>
                  <a:gd name="connsiteY13" fmla="*/ 838388 h 2057023"/>
                  <a:gd name="connsiteX14" fmla="*/ 3186266 w 3211611"/>
                  <a:gd name="connsiteY14" fmla="*/ 894146 h 2057023"/>
                  <a:gd name="connsiteX15" fmla="*/ 3176127 w 3211611"/>
                  <a:gd name="connsiteY15" fmla="*/ 950916 h 2057023"/>
                  <a:gd name="connsiteX16" fmla="*/ 3165989 w 3211611"/>
                  <a:gd name="connsiteY16" fmla="*/ 1007687 h 2057023"/>
                  <a:gd name="connsiteX17" fmla="*/ 3152809 w 3211611"/>
                  <a:gd name="connsiteY17" fmla="*/ 1062431 h 2057023"/>
                  <a:gd name="connsiteX18" fmla="*/ 3140642 w 3211611"/>
                  <a:gd name="connsiteY18" fmla="*/ 1117175 h 2057023"/>
                  <a:gd name="connsiteX19" fmla="*/ 3125435 w 3211611"/>
                  <a:gd name="connsiteY19" fmla="*/ 1171918 h 2057023"/>
                  <a:gd name="connsiteX20" fmla="*/ 3109213 w 3211611"/>
                  <a:gd name="connsiteY20" fmla="*/ 1225648 h 2057023"/>
                  <a:gd name="connsiteX21" fmla="*/ 3091979 w 3211611"/>
                  <a:gd name="connsiteY21" fmla="*/ 1279378 h 2057023"/>
                  <a:gd name="connsiteX22" fmla="*/ 3073729 w 3211611"/>
                  <a:gd name="connsiteY22" fmla="*/ 1332094 h 2057023"/>
                  <a:gd name="connsiteX23" fmla="*/ 3053453 w 3211611"/>
                  <a:gd name="connsiteY23" fmla="*/ 1383797 h 2057023"/>
                  <a:gd name="connsiteX24" fmla="*/ 3033176 w 3211611"/>
                  <a:gd name="connsiteY24" fmla="*/ 1435499 h 2057023"/>
                  <a:gd name="connsiteX25" fmla="*/ 3010872 w 3211611"/>
                  <a:gd name="connsiteY25" fmla="*/ 1486187 h 2057023"/>
                  <a:gd name="connsiteX26" fmla="*/ 2986540 w 3211611"/>
                  <a:gd name="connsiteY26" fmla="*/ 1535862 h 2057023"/>
                  <a:gd name="connsiteX27" fmla="*/ 2962208 w 3211611"/>
                  <a:gd name="connsiteY27" fmla="*/ 1586551 h 2057023"/>
                  <a:gd name="connsiteX28" fmla="*/ 2935849 w 3211611"/>
                  <a:gd name="connsiteY28" fmla="*/ 1635212 h 2057023"/>
                  <a:gd name="connsiteX29" fmla="*/ 2909488 w 3211611"/>
                  <a:gd name="connsiteY29" fmla="*/ 1682860 h 2057023"/>
                  <a:gd name="connsiteX30" fmla="*/ 2881101 w 3211611"/>
                  <a:gd name="connsiteY30" fmla="*/ 1729493 h 2057023"/>
                  <a:gd name="connsiteX31" fmla="*/ 2851700 w 3211611"/>
                  <a:gd name="connsiteY31" fmla="*/ 1776126 h 2057023"/>
                  <a:gd name="connsiteX32" fmla="*/ 2821285 w 3211611"/>
                  <a:gd name="connsiteY32" fmla="*/ 1822760 h 2057023"/>
                  <a:gd name="connsiteX33" fmla="*/ 2790870 w 3211611"/>
                  <a:gd name="connsiteY33" fmla="*/ 1867365 h 2057023"/>
                  <a:gd name="connsiteX34" fmla="*/ 2758427 w 3211611"/>
                  <a:gd name="connsiteY34" fmla="*/ 1911972 h 2057023"/>
                  <a:gd name="connsiteX35" fmla="*/ 2724971 w 3211611"/>
                  <a:gd name="connsiteY35" fmla="*/ 1956577 h 2057023"/>
                  <a:gd name="connsiteX36" fmla="*/ 2690500 w 3211611"/>
                  <a:gd name="connsiteY36" fmla="*/ 1998142 h 2057023"/>
                  <a:gd name="connsiteX37" fmla="*/ 2655016 w 3211611"/>
                  <a:gd name="connsiteY37" fmla="*/ 2040721 h 2057023"/>
                  <a:gd name="connsiteX38" fmla="*/ 2640342 w 3211611"/>
                  <a:gd name="connsiteY38" fmla="*/ 2057023 h 2057023"/>
                  <a:gd name="connsiteX39" fmla="*/ 0 w 3211611"/>
                  <a:gd name="connsiteY39" fmla="*/ 1467127 h 2057023"/>
                  <a:gd name="connsiteX40" fmla="*/ 286698 w 3211611"/>
                  <a:gd name="connsiteY40" fmla="*/ 1181043 h 2057023"/>
                  <a:gd name="connsiteX41" fmla="*/ 314073 w 3211611"/>
                  <a:gd name="connsiteY41" fmla="*/ 1208414 h 2057023"/>
                  <a:gd name="connsiteX42" fmla="*/ 343474 w 3211611"/>
                  <a:gd name="connsiteY42" fmla="*/ 1234772 h 2057023"/>
                  <a:gd name="connsiteX43" fmla="*/ 373889 w 3211611"/>
                  <a:gd name="connsiteY43" fmla="*/ 1260117 h 2057023"/>
                  <a:gd name="connsiteX44" fmla="*/ 404304 w 3211611"/>
                  <a:gd name="connsiteY44" fmla="*/ 1286474 h 2057023"/>
                  <a:gd name="connsiteX45" fmla="*/ 435733 w 3211611"/>
                  <a:gd name="connsiteY45" fmla="*/ 1310806 h 2057023"/>
                  <a:gd name="connsiteX46" fmla="*/ 467162 w 3211611"/>
                  <a:gd name="connsiteY46" fmla="*/ 1335136 h 2057023"/>
                  <a:gd name="connsiteX47" fmla="*/ 499604 w 3211611"/>
                  <a:gd name="connsiteY47" fmla="*/ 1358453 h 2057023"/>
                  <a:gd name="connsiteX48" fmla="*/ 533060 w 3211611"/>
                  <a:gd name="connsiteY48" fmla="*/ 1380755 h 2057023"/>
                  <a:gd name="connsiteX49" fmla="*/ 566517 w 3211611"/>
                  <a:gd name="connsiteY49" fmla="*/ 1403059 h 2057023"/>
                  <a:gd name="connsiteX50" fmla="*/ 599973 w 3211611"/>
                  <a:gd name="connsiteY50" fmla="*/ 1424348 h 2057023"/>
                  <a:gd name="connsiteX51" fmla="*/ 635458 w 3211611"/>
                  <a:gd name="connsiteY51" fmla="*/ 1443609 h 2057023"/>
                  <a:gd name="connsiteX52" fmla="*/ 670942 w 3211611"/>
                  <a:gd name="connsiteY52" fmla="*/ 1462871 h 2057023"/>
                  <a:gd name="connsiteX53" fmla="*/ 705413 w 3211611"/>
                  <a:gd name="connsiteY53" fmla="*/ 1481119 h 2057023"/>
                  <a:gd name="connsiteX54" fmla="*/ 741910 w 3211611"/>
                  <a:gd name="connsiteY54" fmla="*/ 1498353 h 2057023"/>
                  <a:gd name="connsiteX55" fmla="*/ 779422 w 3211611"/>
                  <a:gd name="connsiteY55" fmla="*/ 1516601 h 2057023"/>
                  <a:gd name="connsiteX56" fmla="*/ 814907 w 3211611"/>
                  <a:gd name="connsiteY56" fmla="*/ 1531808 h 2057023"/>
                  <a:gd name="connsiteX57" fmla="*/ 853433 w 3211611"/>
                  <a:gd name="connsiteY57" fmla="*/ 1547014 h 2057023"/>
                  <a:gd name="connsiteX58" fmla="*/ 890944 w 3211611"/>
                  <a:gd name="connsiteY58" fmla="*/ 1562221 h 2057023"/>
                  <a:gd name="connsiteX59" fmla="*/ 929470 w 3211611"/>
                  <a:gd name="connsiteY59" fmla="*/ 1574385 h 2057023"/>
                  <a:gd name="connsiteX60" fmla="*/ 967995 w 3211611"/>
                  <a:gd name="connsiteY60" fmla="*/ 1587565 h 2057023"/>
                  <a:gd name="connsiteX61" fmla="*/ 1007535 w 3211611"/>
                  <a:gd name="connsiteY61" fmla="*/ 1598716 h 2057023"/>
                  <a:gd name="connsiteX62" fmla="*/ 1047075 w 3211611"/>
                  <a:gd name="connsiteY62" fmla="*/ 1609868 h 2057023"/>
                  <a:gd name="connsiteX63" fmla="*/ 1087628 w 3211611"/>
                  <a:gd name="connsiteY63" fmla="*/ 1618992 h 2057023"/>
                  <a:gd name="connsiteX64" fmla="*/ 1127168 w 3211611"/>
                  <a:gd name="connsiteY64" fmla="*/ 1627102 h 2057023"/>
                  <a:gd name="connsiteX65" fmla="*/ 1167722 w 3211611"/>
                  <a:gd name="connsiteY65" fmla="*/ 1635213 h 2057023"/>
                  <a:gd name="connsiteX66" fmla="*/ 1208274 w 3211611"/>
                  <a:gd name="connsiteY66" fmla="*/ 1642308 h 2057023"/>
                  <a:gd name="connsiteX67" fmla="*/ 1250855 w 3211611"/>
                  <a:gd name="connsiteY67" fmla="*/ 1648391 h 2057023"/>
                  <a:gd name="connsiteX68" fmla="*/ 1292422 w 3211611"/>
                  <a:gd name="connsiteY68" fmla="*/ 1652446 h 2057023"/>
                  <a:gd name="connsiteX69" fmla="*/ 1332976 w 3211611"/>
                  <a:gd name="connsiteY69" fmla="*/ 1656501 h 2057023"/>
                  <a:gd name="connsiteX70" fmla="*/ 1376571 w 3211611"/>
                  <a:gd name="connsiteY70" fmla="*/ 1658528 h 2057023"/>
                  <a:gd name="connsiteX71" fmla="*/ 1419152 w 3211611"/>
                  <a:gd name="connsiteY71" fmla="*/ 1659542 h 2057023"/>
                  <a:gd name="connsiteX72" fmla="*/ 1461733 w 3211611"/>
                  <a:gd name="connsiteY72" fmla="*/ 1660556 h 2057023"/>
                  <a:gd name="connsiteX73" fmla="*/ 1505327 w 3211611"/>
                  <a:gd name="connsiteY73" fmla="*/ 1659543 h 2057023"/>
                  <a:gd name="connsiteX74" fmla="*/ 1546896 w 3211611"/>
                  <a:gd name="connsiteY74" fmla="*/ 1658529 h 2057023"/>
                  <a:gd name="connsiteX75" fmla="*/ 1590490 w 3211611"/>
                  <a:gd name="connsiteY75" fmla="*/ 1656502 h 2057023"/>
                  <a:gd name="connsiteX76" fmla="*/ 1632057 w 3211611"/>
                  <a:gd name="connsiteY76" fmla="*/ 1652446 h 2057023"/>
                  <a:gd name="connsiteX77" fmla="*/ 1674639 w 3211611"/>
                  <a:gd name="connsiteY77" fmla="*/ 1647377 h 2057023"/>
                  <a:gd name="connsiteX78" fmla="*/ 1716205 w 3211611"/>
                  <a:gd name="connsiteY78" fmla="*/ 1641295 h 2057023"/>
                  <a:gd name="connsiteX79" fmla="*/ 1756759 w 3211611"/>
                  <a:gd name="connsiteY79" fmla="*/ 1635212 h 2057023"/>
                  <a:gd name="connsiteX80" fmla="*/ 1798326 w 3211611"/>
                  <a:gd name="connsiteY80" fmla="*/ 1627102 h 2057023"/>
                  <a:gd name="connsiteX81" fmla="*/ 1838880 w 3211611"/>
                  <a:gd name="connsiteY81" fmla="*/ 1617978 h 2057023"/>
                  <a:gd name="connsiteX82" fmla="*/ 1878420 w 3211611"/>
                  <a:gd name="connsiteY82" fmla="*/ 1608854 h 2057023"/>
                  <a:gd name="connsiteX83" fmla="*/ 1917958 w 3211611"/>
                  <a:gd name="connsiteY83" fmla="*/ 1597702 h 2057023"/>
                  <a:gd name="connsiteX84" fmla="*/ 1957498 w 3211611"/>
                  <a:gd name="connsiteY84" fmla="*/ 1586551 h 2057023"/>
                  <a:gd name="connsiteX85" fmla="*/ 1998052 w 3211611"/>
                  <a:gd name="connsiteY85" fmla="*/ 1573372 h 2057023"/>
                  <a:gd name="connsiteX86" fmla="*/ 2036577 w 3211611"/>
                  <a:gd name="connsiteY86" fmla="*/ 1560193 h 2057023"/>
                  <a:gd name="connsiteX87" fmla="*/ 2073076 w 3211611"/>
                  <a:gd name="connsiteY87" fmla="*/ 1544986 h 2057023"/>
                  <a:gd name="connsiteX88" fmla="*/ 2111601 w 3211611"/>
                  <a:gd name="connsiteY88" fmla="*/ 1529780 h 2057023"/>
                  <a:gd name="connsiteX89" fmla="*/ 2149113 w 3211611"/>
                  <a:gd name="connsiteY89" fmla="*/ 1513559 h 2057023"/>
                  <a:gd name="connsiteX90" fmla="*/ 2185611 w 3211611"/>
                  <a:gd name="connsiteY90" fmla="*/ 1497339 h 2057023"/>
                  <a:gd name="connsiteX91" fmla="*/ 2222108 w 3211611"/>
                  <a:gd name="connsiteY91" fmla="*/ 1479091 h 2057023"/>
                  <a:gd name="connsiteX92" fmla="*/ 2257593 w 3211611"/>
                  <a:gd name="connsiteY92" fmla="*/ 1459830 h 2057023"/>
                  <a:gd name="connsiteX93" fmla="*/ 2293078 w 3211611"/>
                  <a:gd name="connsiteY93" fmla="*/ 1441582 h 2057023"/>
                  <a:gd name="connsiteX94" fmla="*/ 2327548 w 3211611"/>
                  <a:gd name="connsiteY94" fmla="*/ 1420292 h 2057023"/>
                  <a:gd name="connsiteX95" fmla="*/ 2362018 w 3211611"/>
                  <a:gd name="connsiteY95" fmla="*/ 1399003 h 2057023"/>
                  <a:gd name="connsiteX96" fmla="*/ 2395475 w 3211611"/>
                  <a:gd name="connsiteY96" fmla="*/ 1377715 h 2057023"/>
                  <a:gd name="connsiteX97" fmla="*/ 2427918 w 3211611"/>
                  <a:gd name="connsiteY97" fmla="*/ 1355411 h 2057023"/>
                  <a:gd name="connsiteX98" fmla="*/ 2461374 w 3211611"/>
                  <a:gd name="connsiteY98" fmla="*/ 1332095 h 2057023"/>
                  <a:gd name="connsiteX99" fmla="*/ 2493816 w 3211611"/>
                  <a:gd name="connsiteY99" fmla="*/ 1307764 h 2057023"/>
                  <a:gd name="connsiteX100" fmla="*/ 2525246 w 3211611"/>
                  <a:gd name="connsiteY100" fmla="*/ 1281406 h 2057023"/>
                  <a:gd name="connsiteX101" fmla="*/ 2555660 w 3211611"/>
                  <a:gd name="connsiteY101" fmla="*/ 1256062 h 2057023"/>
                  <a:gd name="connsiteX102" fmla="*/ 2586075 w 3211611"/>
                  <a:gd name="connsiteY102" fmla="*/ 1230718 h 2057023"/>
                  <a:gd name="connsiteX103" fmla="*/ 2615476 w 3211611"/>
                  <a:gd name="connsiteY103" fmla="*/ 1202332 h 2057023"/>
                  <a:gd name="connsiteX104" fmla="*/ 2643864 w 3211611"/>
                  <a:gd name="connsiteY104" fmla="*/ 1174960 h 2057023"/>
                  <a:gd name="connsiteX105" fmla="*/ 2672251 w 3211611"/>
                  <a:gd name="connsiteY105" fmla="*/ 1146574 h 2057023"/>
                  <a:gd name="connsiteX106" fmla="*/ 2698611 w 3211611"/>
                  <a:gd name="connsiteY106" fmla="*/ 1117175 h 2057023"/>
                  <a:gd name="connsiteX107" fmla="*/ 2725985 w 3211611"/>
                  <a:gd name="connsiteY107" fmla="*/ 1087775 h 2057023"/>
                  <a:gd name="connsiteX108" fmla="*/ 2751330 w 3211611"/>
                  <a:gd name="connsiteY108" fmla="*/ 1057362 h 2057023"/>
                  <a:gd name="connsiteX109" fmla="*/ 2777690 w 3211611"/>
                  <a:gd name="connsiteY109" fmla="*/ 1025935 h 2057023"/>
                  <a:gd name="connsiteX110" fmla="*/ 2802022 w 3211611"/>
                  <a:gd name="connsiteY110" fmla="*/ 994509 h 2057023"/>
                  <a:gd name="connsiteX111" fmla="*/ 2826354 w 3211611"/>
                  <a:gd name="connsiteY111" fmla="*/ 962067 h 2057023"/>
                  <a:gd name="connsiteX112" fmla="*/ 2848658 w 3211611"/>
                  <a:gd name="connsiteY112" fmla="*/ 928614 h 2057023"/>
                  <a:gd name="connsiteX113" fmla="*/ 2871977 w 3211611"/>
                  <a:gd name="connsiteY113" fmla="*/ 895159 h 2057023"/>
                  <a:gd name="connsiteX114" fmla="*/ 2893267 w 3211611"/>
                  <a:gd name="connsiteY114" fmla="*/ 861704 h 2057023"/>
                  <a:gd name="connsiteX115" fmla="*/ 2913544 w 3211611"/>
                  <a:gd name="connsiteY115" fmla="*/ 827236 h 2057023"/>
                  <a:gd name="connsiteX116" fmla="*/ 2933820 w 3211611"/>
                  <a:gd name="connsiteY116" fmla="*/ 792768 h 2057023"/>
                  <a:gd name="connsiteX117" fmla="*/ 2952070 w 3211611"/>
                  <a:gd name="connsiteY117" fmla="*/ 756272 h 2057023"/>
                  <a:gd name="connsiteX118" fmla="*/ 2971333 w 3211611"/>
                  <a:gd name="connsiteY118" fmla="*/ 719777 h 2057023"/>
                  <a:gd name="connsiteX119" fmla="*/ 2988568 w 3211611"/>
                  <a:gd name="connsiteY119" fmla="*/ 684294 h 2057023"/>
                  <a:gd name="connsiteX120" fmla="*/ 3004789 w 3211611"/>
                  <a:gd name="connsiteY120" fmla="*/ 646785 h 2057023"/>
                  <a:gd name="connsiteX121" fmla="*/ 3021011 w 3211611"/>
                  <a:gd name="connsiteY121" fmla="*/ 609275 h 2057023"/>
                  <a:gd name="connsiteX122" fmla="*/ 3035204 w 3211611"/>
                  <a:gd name="connsiteY122" fmla="*/ 571766 h 2057023"/>
                  <a:gd name="connsiteX123" fmla="*/ 3049397 w 3211611"/>
                  <a:gd name="connsiteY123" fmla="*/ 533242 h 2057023"/>
                  <a:gd name="connsiteX124" fmla="*/ 3062577 w 3211611"/>
                  <a:gd name="connsiteY124" fmla="*/ 493706 h 2057023"/>
                  <a:gd name="connsiteX125" fmla="*/ 3074743 w 3211611"/>
                  <a:gd name="connsiteY125" fmla="*/ 455183 h 2057023"/>
                  <a:gd name="connsiteX126" fmla="*/ 3085895 w 3211611"/>
                  <a:gd name="connsiteY126" fmla="*/ 415645 h 2057023"/>
                  <a:gd name="connsiteX127" fmla="*/ 3096034 w 3211611"/>
                  <a:gd name="connsiteY127" fmla="*/ 375095 h 2057023"/>
                  <a:gd name="connsiteX128" fmla="*/ 3105158 w 3211611"/>
                  <a:gd name="connsiteY128" fmla="*/ 334544 h 2057023"/>
                  <a:gd name="connsiteX129" fmla="*/ 3113269 w 3211611"/>
                  <a:gd name="connsiteY129" fmla="*/ 293993 h 2057023"/>
                  <a:gd name="connsiteX130" fmla="*/ 3120366 w 3211611"/>
                  <a:gd name="connsiteY130" fmla="*/ 253442 h 2057023"/>
                  <a:gd name="connsiteX131" fmla="*/ 3127463 w 3211611"/>
                  <a:gd name="connsiteY131" fmla="*/ 210863 h 2057023"/>
                  <a:gd name="connsiteX132" fmla="*/ 3132532 w 3211611"/>
                  <a:gd name="connsiteY132" fmla="*/ 169298 h 2057023"/>
                  <a:gd name="connsiteX133" fmla="*/ 3136587 w 3211611"/>
                  <a:gd name="connsiteY133" fmla="*/ 127735 h 2057023"/>
                  <a:gd name="connsiteX134" fmla="*/ 3139628 w 3211611"/>
                  <a:gd name="connsiteY134" fmla="*/ 85156 h 2057023"/>
                  <a:gd name="connsiteX135" fmla="*/ 3141657 w 3211611"/>
                  <a:gd name="connsiteY135" fmla="*/ 41564 h 2057023"/>
                  <a:gd name="connsiteX136" fmla="*/ 3142670 w 3211611"/>
                  <a:gd name="connsiteY136" fmla="*/ 0 h 2057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3211611" h="2057023">
                    <a:moveTo>
                      <a:pt x="3142670" y="0"/>
                    </a:moveTo>
                    <a:lnTo>
                      <a:pt x="3157877" y="64880"/>
                    </a:lnTo>
                    <a:lnTo>
                      <a:pt x="3172072" y="132804"/>
                    </a:lnTo>
                    <a:lnTo>
                      <a:pt x="3183223" y="199712"/>
                    </a:lnTo>
                    <a:lnTo>
                      <a:pt x="3194376" y="268648"/>
                    </a:lnTo>
                    <a:lnTo>
                      <a:pt x="3201472" y="337585"/>
                    </a:lnTo>
                    <a:lnTo>
                      <a:pt x="3206542" y="406521"/>
                    </a:lnTo>
                    <a:lnTo>
                      <a:pt x="3210597" y="476471"/>
                    </a:lnTo>
                    <a:lnTo>
                      <a:pt x="3211611" y="547436"/>
                    </a:lnTo>
                    <a:lnTo>
                      <a:pt x="3211611" y="606234"/>
                    </a:lnTo>
                    <a:lnTo>
                      <a:pt x="3209584" y="664019"/>
                    </a:lnTo>
                    <a:lnTo>
                      <a:pt x="3205529" y="722818"/>
                    </a:lnTo>
                    <a:lnTo>
                      <a:pt x="3199445" y="780602"/>
                    </a:lnTo>
                    <a:lnTo>
                      <a:pt x="3194376" y="838388"/>
                    </a:lnTo>
                    <a:lnTo>
                      <a:pt x="3186266" y="894146"/>
                    </a:lnTo>
                    <a:lnTo>
                      <a:pt x="3176127" y="950916"/>
                    </a:lnTo>
                    <a:lnTo>
                      <a:pt x="3165989" y="1007687"/>
                    </a:lnTo>
                    <a:lnTo>
                      <a:pt x="3152809" y="1062431"/>
                    </a:lnTo>
                    <a:lnTo>
                      <a:pt x="3140642" y="1117175"/>
                    </a:lnTo>
                    <a:lnTo>
                      <a:pt x="3125435" y="1171918"/>
                    </a:lnTo>
                    <a:lnTo>
                      <a:pt x="3109213" y="1225648"/>
                    </a:lnTo>
                    <a:lnTo>
                      <a:pt x="3091979" y="1279378"/>
                    </a:lnTo>
                    <a:lnTo>
                      <a:pt x="3073729" y="1332094"/>
                    </a:lnTo>
                    <a:lnTo>
                      <a:pt x="3053453" y="1383797"/>
                    </a:lnTo>
                    <a:lnTo>
                      <a:pt x="3033176" y="1435499"/>
                    </a:lnTo>
                    <a:lnTo>
                      <a:pt x="3010872" y="1486187"/>
                    </a:lnTo>
                    <a:lnTo>
                      <a:pt x="2986540" y="1535862"/>
                    </a:lnTo>
                    <a:lnTo>
                      <a:pt x="2962208" y="1586551"/>
                    </a:lnTo>
                    <a:lnTo>
                      <a:pt x="2935849" y="1635212"/>
                    </a:lnTo>
                    <a:lnTo>
                      <a:pt x="2909488" y="1682860"/>
                    </a:lnTo>
                    <a:lnTo>
                      <a:pt x="2881101" y="1729493"/>
                    </a:lnTo>
                    <a:lnTo>
                      <a:pt x="2851700" y="1776126"/>
                    </a:lnTo>
                    <a:lnTo>
                      <a:pt x="2821285" y="1822760"/>
                    </a:lnTo>
                    <a:lnTo>
                      <a:pt x="2790870" y="1867365"/>
                    </a:lnTo>
                    <a:lnTo>
                      <a:pt x="2758427" y="1911972"/>
                    </a:lnTo>
                    <a:lnTo>
                      <a:pt x="2724971" y="1956577"/>
                    </a:lnTo>
                    <a:lnTo>
                      <a:pt x="2690500" y="1998142"/>
                    </a:lnTo>
                    <a:lnTo>
                      <a:pt x="2655016" y="2040721"/>
                    </a:lnTo>
                    <a:lnTo>
                      <a:pt x="2640342" y="2057023"/>
                    </a:lnTo>
                    <a:lnTo>
                      <a:pt x="0" y="1467127"/>
                    </a:lnTo>
                    <a:lnTo>
                      <a:pt x="286698" y="1181043"/>
                    </a:lnTo>
                    <a:lnTo>
                      <a:pt x="314073" y="1208414"/>
                    </a:lnTo>
                    <a:lnTo>
                      <a:pt x="343474" y="1234772"/>
                    </a:lnTo>
                    <a:lnTo>
                      <a:pt x="373889" y="1260117"/>
                    </a:lnTo>
                    <a:lnTo>
                      <a:pt x="404304" y="1286474"/>
                    </a:lnTo>
                    <a:lnTo>
                      <a:pt x="435733" y="1310806"/>
                    </a:lnTo>
                    <a:lnTo>
                      <a:pt x="467162" y="1335136"/>
                    </a:lnTo>
                    <a:lnTo>
                      <a:pt x="499604" y="1358453"/>
                    </a:lnTo>
                    <a:lnTo>
                      <a:pt x="533060" y="1380755"/>
                    </a:lnTo>
                    <a:lnTo>
                      <a:pt x="566517" y="1403059"/>
                    </a:lnTo>
                    <a:lnTo>
                      <a:pt x="599973" y="1424348"/>
                    </a:lnTo>
                    <a:lnTo>
                      <a:pt x="635458" y="1443609"/>
                    </a:lnTo>
                    <a:lnTo>
                      <a:pt x="670942" y="1462871"/>
                    </a:lnTo>
                    <a:lnTo>
                      <a:pt x="705413" y="1481119"/>
                    </a:lnTo>
                    <a:lnTo>
                      <a:pt x="741910" y="1498353"/>
                    </a:lnTo>
                    <a:lnTo>
                      <a:pt x="779422" y="1516601"/>
                    </a:lnTo>
                    <a:lnTo>
                      <a:pt x="814907" y="1531808"/>
                    </a:lnTo>
                    <a:lnTo>
                      <a:pt x="853433" y="1547014"/>
                    </a:lnTo>
                    <a:lnTo>
                      <a:pt x="890944" y="1562221"/>
                    </a:lnTo>
                    <a:lnTo>
                      <a:pt x="929470" y="1574385"/>
                    </a:lnTo>
                    <a:lnTo>
                      <a:pt x="967995" y="1587565"/>
                    </a:lnTo>
                    <a:lnTo>
                      <a:pt x="1007535" y="1598716"/>
                    </a:lnTo>
                    <a:lnTo>
                      <a:pt x="1047075" y="1609868"/>
                    </a:lnTo>
                    <a:lnTo>
                      <a:pt x="1087628" y="1618992"/>
                    </a:lnTo>
                    <a:lnTo>
                      <a:pt x="1127168" y="1627102"/>
                    </a:lnTo>
                    <a:lnTo>
                      <a:pt x="1167722" y="1635213"/>
                    </a:lnTo>
                    <a:lnTo>
                      <a:pt x="1208274" y="1642308"/>
                    </a:lnTo>
                    <a:lnTo>
                      <a:pt x="1250855" y="1648391"/>
                    </a:lnTo>
                    <a:lnTo>
                      <a:pt x="1292422" y="1652446"/>
                    </a:lnTo>
                    <a:lnTo>
                      <a:pt x="1332976" y="1656501"/>
                    </a:lnTo>
                    <a:lnTo>
                      <a:pt x="1376571" y="1658528"/>
                    </a:lnTo>
                    <a:lnTo>
                      <a:pt x="1419152" y="1659542"/>
                    </a:lnTo>
                    <a:lnTo>
                      <a:pt x="1461733" y="1660556"/>
                    </a:lnTo>
                    <a:lnTo>
                      <a:pt x="1505327" y="1659543"/>
                    </a:lnTo>
                    <a:lnTo>
                      <a:pt x="1546896" y="1658529"/>
                    </a:lnTo>
                    <a:lnTo>
                      <a:pt x="1590490" y="1656502"/>
                    </a:lnTo>
                    <a:lnTo>
                      <a:pt x="1632057" y="1652446"/>
                    </a:lnTo>
                    <a:lnTo>
                      <a:pt x="1674639" y="1647377"/>
                    </a:lnTo>
                    <a:lnTo>
                      <a:pt x="1716205" y="1641295"/>
                    </a:lnTo>
                    <a:lnTo>
                      <a:pt x="1756759" y="1635212"/>
                    </a:lnTo>
                    <a:lnTo>
                      <a:pt x="1798326" y="1627102"/>
                    </a:lnTo>
                    <a:lnTo>
                      <a:pt x="1838880" y="1617978"/>
                    </a:lnTo>
                    <a:lnTo>
                      <a:pt x="1878420" y="1608854"/>
                    </a:lnTo>
                    <a:lnTo>
                      <a:pt x="1917958" y="1597702"/>
                    </a:lnTo>
                    <a:lnTo>
                      <a:pt x="1957498" y="1586551"/>
                    </a:lnTo>
                    <a:lnTo>
                      <a:pt x="1998052" y="1573372"/>
                    </a:lnTo>
                    <a:lnTo>
                      <a:pt x="2036577" y="1560193"/>
                    </a:lnTo>
                    <a:lnTo>
                      <a:pt x="2073076" y="1544986"/>
                    </a:lnTo>
                    <a:lnTo>
                      <a:pt x="2111601" y="1529780"/>
                    </a:lnTo>
                    <a:lnTo>
                      <a:pt x="2149113" y="1513559"/>
                    </a:lnTo>
                    <a:lnTo>
                      <a:pt x="2185611" y="1497339"/>
                    </a:lnTo>
                    <a:lnTo>
                      <a:pt x="2222108" y="1479091"/>
                    </a:lnTo>
                    <a:lnTo>
                      <a:pt x="2257593" y="1459830"/>
                    </a:lnTo>
                    <a:lnTo>
                      <a:pt x="2293078" y="1441582"/>
                    </a:lnTo>
                    <a:lnTo>
                      <a:pt x="2327548" y="1420292"/>
                    </a:lnTo>
                    <a:lnTo>
                      <a:pt x="2362018" y="1399003"/>
                    </a:lnTo>
                    <a:lnTo>
                      <a:pt x="2395475" y="1377715"/>
                    </a:lnTo>
                    <a:lnTo>
                      <a:pt x="2427918" y="1355411"/>
                    </a:lnTo>
                    <a:lnTo>
                      <a:pt x="2461374" y="1332095"/>
                    </a:lnTo>
                    <a:lnTo>
                      <a:pt x="2493816" y="1307764"/>
                    </a:lnTo>
                    <a:lnTo>
                      <a:pt x="2525246" y="1281406"/>
                    </a:lnTo>
                    <a:lnTo>
                      <a:pt x="2555660" y="1256062"/>
                    </a:lnTo>
                    <a:lnTo>
                      <a:pt x="2586075" y="1230718"/>
                    </a:lnTo>
                    <a:lnTo>
                      <a:pt x="2615476" y="1202332"/>
                    </a:lnTo>
                    <a:lnTo>
                      <a:pt x="2643864" y="1174960"/>
                    </a:lnTo>
                    <a:lnTo>
                      <a:pt x="2672251" y="1146574"/>
                    </a:lnTo>
                    <a:lnTo>
                      <a:pt x="2698611" y="1117175"/>
                    </a:lnTo>
                    <a:lnTo>
                      <a:pt x="2725985" y="1087775"/>
                    </a:lnTo>
                    <a:lnTo>
                      <a:pt x="2751330" y="1057362"/>
                    </a:lnTo>
                    <a:lnTo>
                      <a:pt x="2777690" y="1025935"/>
                    </a:lnTo>
                    <a:lnTo>
                      <a:pt x="2802022" y="994509"/>
                    </a:lnTo>
                    <a:lnTo>
                      <a:pt x="2826354" y="962067"/>
                    </a:lnTo>
                    <a:lnTo>
                      <a:pt x="2848658" y="928614"/>
                    </a:lnTo>
                    <a:lnTo>
                      <a:pt x="2871977" y="895159"/>
                    </a:lnTo>
                    <a:lnTo>
                      <a:pt x="2893267" y="861704"/>
                    </a:lnTo>
                    <a:lnTo>
                      <a:pt x="2913544" y="827236"/>
                    </a:lnTo>
                    <a:lnTo>
                      <a:pt x="2933820" y="792768"/>
                    </a:lnTo>
                    <a:lnTo>
                      <a:pt x="2952070" y="756272"/>
                    </a:lnTo>
                    <a:lnTo>
                      <a:pt x="2971333" y="719777"/>
                    </a:lnTo>
                    <a:lnTo>
                      <a:pt x="2988568" y="684294"/>
                    </a:lnTo>
                    <a:lnTo>
                      <a:pt x="3004789" y="646785"/>
                    </a:lnTo>
                    <a:lnTo>
                      <a:pt x="3021011" y="609275"/>
                    </a:lnTo>
                    <a:lnTo>
                      <a:pt x="3035204" y="571766"/>
                    </a:lnTo>
                    <a:lnTo>
                      <a:pt x="3049397" y="533242"/>
                    </a:lnTo>
                    <a:lnTo>
                      <a:pt x="3062577" y="493706"/>
                    </a:lnTo>
                    <a:lnTo>
                      <a:pt x="3074743" y="455183"/>
                    </a:lnTo>
                    <a:lnTo>
                      <a:pt x="3085895" y="415645"/>
                    </a:lnTo>
                    <a:lnTo>
                      <a:pt x="3096034" y="375095"/>
                    </a:lnTo>
                    <a:lnTo>
                      <a:pt x="3105158" y="334544"/>
                    </a:lnTo>
                    <a:lnTo>
                      <a:pt x="3113269" y="293993"/>
                    </a:lnTo>
                    <a:lnTo>
                      <a:pt x="3120366" y="253442"/>
                    </a:lnTo>
                    <a:lnTo>
                      <a:pt x="3127463" y="210863"/>
                    </a:lnTo>
                    <a:lnTo>
                      <a:pt x="3132532" y="169298"/>
                    </a:lnTo>
                    <a:lnTo>
                      <a:pt x="3136587" y="127735"/>
                    </a:lnTo>
                    <a:lnTo>
                      <a:pt x="3139628" y="85156"/>
                    </a:lnTo>
                    <a:lnTo>
                      <a:pt x="3141657" y="41564"/>
                    </a:lnTo>
                    <a:lnTo>
                      <a:pt x="3142670" y="0"/>
                    </a:lnTo>
                    <a:close/>
                  </a:path>
                </a:pathLst>
              </a:custGeom>
              <a:solidFill>
                <a:srgbClr val="7F89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ko-KR" altLang="en-US" sz="2400"/>
              </a:p>
            </p:txBody>
          </p:sp>
          <p:sp>
            <p:nvSpPr>
              <p:cNvPr id="119" name="Freeform 90"/>
              <p:cNvSpPr>
                <a:spLocks/>
              </p:cNvSpPr>
              <p:nvPr userDrawn="1"/>
            </p:nvSpPr>
            <p:spPr bwMode="auto">
              <a:xfrm rot="20844360">
                <a:off x="6135030" y="2259789"/>
                <a:ext cx="2850707" cy="2730157"/>
              </a:xfrm>
              <a:custGeom>
                <a:avLst/>
                <a:gdLst>
                  <a:gd name="T0" fmla="*/ 0 w 2817"/>
                  <a:gd name="T1" fmla="*/ 2220 h 2693"/>
                  <a:gd name="T2" fmla="*/ 56 w 2817"/>
                  <a:gd name="T3" fmla="*/ 2273 h 2693"/>
                  <a:gd name="T4" fmla="*/ 116 w 2817"/>
                  <a:gd name="T5" fmla="*/ 2324 h 2693"/>
                  <a:gd name="T6" fmla="*/ 178 w 2817"/>
                  <a:gd name="T7" fmla="*/ 2372 h 2693"/>
                  <a:gd name="T8" fmla="*/ 243 w 2817"/>
                  <a:gd name="T9" fmla="*/ 2417 h 2693"/>
                  <a:gd name="T10" fmla="*/ 309 w 2817"/>
                  <a:gd name="T11" fmla="*/ 2460 h 2693"/>
                  <a:gd name="T12" fmla="*/ 379 w 2817"/>
                  <a:gd name="T13" fmla="*/ 2498 h 2693"/>
                  <a:gd name="T14" fmla="*/ 449 w 2817"/>
                  <a:gd name="T15" fmla="*/ 2533 h 2693"/>
                  <a:gd name="T16" fmla="*/ 521 w 2817"/>
                  <a:gd name="T17" fmla="*/ 2566 h 2693"/>
                  <a:gd name="T18" fmla="*/ 596 w 2817"/>
                  <a:gd name="T19" fmla="*/ 2596 h 2693"/>
                  <a:gd name="T20" fmla="*/ 672 w 2817"/>
                  <a:gd name="T21" fmla="*/ 2621 h 2693"/>
                  <a:gd name="T22" fmla="*/ 750 w 2817"/>
                  <a:gd name="T23" fmla="*/ 2643 h 2693"/>
                  <a:gd name="T24" fmla="*/ 829 w 2817"/>
                  <a:gd name="T25" fmla="*/ 2660 h 2693"/>
                  <a:gd name="T26" fmla="*/ 909 w 2817"/>
                  <a:gd name="T27" fmla="*/ 2675 h 2693"/>
                  <a:gd name="T28" fmla="*/ 992 w 2817"/>
                  <a:gd name="T29" fmla="*/ 2685 h 2693"/>
                  <a:gd name="T30" fmla="*/ 1075 w 2817"/>
                  <a:gd name="T31" fmla="*/ 2691 h 2693"/>
                  <a:gd name="T32" fmla="*/ 1159 w 2817"/>
                  <a:gd name="T33" fmla="*/ 2693 h 2693"/>
                  <a:gd name="T34" fmla="*/ 1202 w 2817"/>
                  <a:gd name="T35" fmla="*/ 2692 h 2693"/>
                  <a:gd name="T36" fmla="*/ 1286 w 2817"/>
                  <a:gd name="T37" fmla="*/ 2689 h 2693"/>
                  <a:gd name="T38" fmla="*/ 1369 w 2817"/>
                  <a:gd name="T39" fmla="*/ 2680 h 2693"/>
                  <a:gd name="T40" fmla="*/ 1450 w 2817"/>
                  <a:gd name="T41" fmla="*/ 2668 h 2693"/>
                  <a:gd name="T42" fmla="*/ 1531 w 2817"/>
                  <a:gd name="T43" fmla="*/ 2651 h 2693"/>
                  <a:gd name="T44" fmla="*/ 1609 w 2817"/>
                  <a:gd name="T45" fmla="*/ 2631 h 2693"/>
                  <a:gd name="T46" fmla="*/ 1688 w 2817"/>
                  <a:gd name="T47" fmla="*/ 2607 h 2693"/>
                  <a:gd name="T48" fmla="*/ 1762 w 2817"/>
                  <a:gd name="T49" fmla="*/ 2579 h 2693"/>
                  <a:gd name="T50" fmla="*/ 1837 w 2817"/>
                  <a:gd name="T51" fmla="*/ 2548 h 2693"/>
                  <a:gd name="T52" fmla="*/ 1909 w 2817"/>
                  <a:gd name="T53" fmla="*/ 2514 h 2693"/>
                  <a:gd name="T54" fmla="*/ 1979 w 2817"/>
                  <a:gd name="T55" fmla="*/ 2477 h 2693"/>
                  <a:gd name="T56" fmla="*/ 2047 w 2817"/>
                  <a:gd name="T57" fmla="*/ 2435 h 2693"/>
                  <a:gd name="T58" fmla="*/ 2112 w 2817"/>
                  <a:gd name="T59" fmla="*/ 2392 h 2693"/>
                  <a:gd name="T60" fmla="*/ 2177 w 2817"/>
                  <a:gd name="T61" fmla="*/ 2345 h 2693"/>
                  <a:gd name="T62" fmla="*/ 2238 w 2817"/>
                  <a:gd name="T63" fmla="*/ 2294 h 2693"/>
                  <a:gd name="T64" fmla="*/ 2297 w 2817"/>
                  <a:gd name="T65" fmla="*/ 2241 h 2693"/>
                  <a:gd name="T66" fmla="*/ 2353 w 2817"/>
                  <a:gd name="T67" fmla="*/ 2186 h 2693"/>
                  <a:gd name="T68" fmla="*/ 2406 w 2817"/>
                  <a:gd name="T69" fmla="*/ 2128 h 2693"/>
                  <a:gd name="T70" fmla="*/ 2457 w 2817"/>
                  <a:gd name="T71" fmla="*/ 2067 h 2693"/>
                  <a:gd name="T72" fmla="*/ 2505 w 2817"/>
                  <a:gd name="T73" fmla="*/ 2004 h 2693"/>
                  <a:gd name="T74" fmla="*/ 2550 w 2817"/>
                  <a:gd name="T75" fmla="*/ 1938 h 2693"/>
                  <a:gd name="T76" fmla="*/ 2591 w 2817"/>
                  <a:gd name="T77" fmla="*/ 1871 h 2693"/>
                  <a:gd name="T78" fmla="*/ 2629 w 2817"/>
                  <a:gd name="T79" fmla="*/ 1801 h 2693"/>
                  <a:gd name="T80" fmla="*/ 2665 w 2817"/>
                  <a:gd name="T81" fmla="*/ 1730 h 2693"/>
                  <a:gd name="T82" fmla="*/ 2697 w 2817"/>
                  <a:gd name="T83" fmla="*/ 1656 h 2693"/>
                  <a:gd name="T84" fmla="*/ 2725 w 2817"/>
                  <a:gd name="T85" fmla="*/ 1581 h 2693"/>
                  <a:gd name="T86" fmla="*/ 2750 w 2817"/>
                  <a:gd name="T87" fmla="*/ 1504 h 2693"/>
                  <a:gd name="T88" fmla="*/ 2771 w 2817"/>
                  <a:gd name="T89" fmla="*/ 1425 h 2693"/>
                  <a:gd name="T90" fmla="*/ 2788 w 2817"/>
                  <a:gd name="T91" fmla="*/ 1345 h 2693"/>
                  <a:gd name="T92" fmla="*/ 2802 w 2817"/>
                  <a:gd name="T93" fmla="*/ 1263 h 2693"/>
                  <a:gd name="T94" fmla="*/ 2811 w 2817"/>
                  <a:gd name="T95" fmla="*/ 1181 h 2693"/>
                  <a:gd name="T96" fmla="*/ 2816 w 2817"/>
                  <a:gd name="T97" fmla="*/ 1096 h 2693"/>
                  <a:gd name="T98" fmla="*/ 2817 w 2817"/>
                  <a:gd name="T99" fmla="*/ 1054 h 2693"/>
                  <a:gd name="T100" fmla="*/ 2799 w 2817"/>
                  <a:gd name="T101" fmla="*/ 985 h 2693"/>
                  <a:gd name="T102" fmla="*/ 2756 w 2817"/>
                  <a:gd name="T103" fmla="*/ 849 h 2693"/>
                  <a:gd name="T104" fmla="*/ 2705 w 2817"/>
                  <a:gd name="T105" fmla="*/ 718 h 2693"/>
                  <a:gd name="T106" fmla="*/ 2645 w 2817"/>
                  <a:gd name="T107" fmla="*/ 590 h 2693"/>
                  <a:gd name="T108" fmla="*/ 2580 w 2817"/>
                  <a:gd name="T109" fmla="*/ 467 h 2693"/>
                  <a:gd name="T110" fmla="*/ 2505 w 2817"/>
                  <a:gd name="T111" fmla="*/ 348 h 2693"/>
                  <a:gd name="T112" fmla="*/ 2424 w 2817"/>
                  <a:gd name="T113" fmla="*/ 234 h 2693"/>
                  <a:gd name="T114" fmla="*/ 2337 w 2817"/>
                  <a:gd name="T115" fmla="*/ 126 h 2693"/>
                  <a:gd name="T116" fmla="*/ 2291 w 2817"/>
                  <a:gd name="T117" fmla="*/ 74 h 2693"/>
                  <a:gd name="T118" fmla="*/ 2283 w 2817"/>
                  <a:gd name="T119" fmla="*/ 65 h 2693"/>
                  <a:gd name="T120" fmla="*/ 2218 w 2817"/>
                  <a:gd name="T121" fmla="*/ 0 h 2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17" h="2693">
                    <a:moveTo>
                      <a:pt x="0" y="2220"/>
                    </a:moveTo>
                    <a:lnTo>
                      <a:pt x="0" y="2220"/>
                    </a:lnTo>
                    <a:lnTo>
                      <a:pt x="27" y="2247"/>
                    </a:lnTo>
                    <a:lnTo>
                      <a:pt x="56" y="2273"/>
                    </a:lnTo>
                    <a:lnTo>
                      <a:pt x="86" y="2298"/>
                    </a:lnTo>
                    <a:lnTo>
                      <a:pt x="116" y="2324"/>
                    </a:lnTo>
                    <a:lnTo>
                      <a:pt x="147" y="2348"/>
                    </a:lnTo>
                    <a:lnTo>
                      <a:pt x="178" y="2372"/>
                    </a:lnTo>
                    <a:lnTo>
                      <a:pt x="210" y="2395"/>
                    </a:lnTo>
                    <a:lnTo>
                      <a:pt x="243" y="2417"/>
                    </a:lnTo>
                    <a:lnTo>
                      <a:pt x="276" y="2439"/>
                    </a:lnTo>
                    <a:lnTo>
                      <a:pt x="309" y="2460"/>
                    </a:lnTo>
                    <a:lnTo>
                      <a:pt x="344" y="2479"/>
                    </a:lnTo>
                    <a:lnTo>
                      <a:pt x="379" y="2498"/>
                    </a:lnTo>
                    <a:lnTo>
                      <a:pt x="413" y="2516"/>
                    </a:lnTo>
                    <a:lnTo>
                      <a:pt x="449" y="2533"/>
                    </a:lnTo>
                    <a:lnTo>
                      <a:pt x="486" y="2551"/>
                    </a:lnTo>
                    <a:lnTo>
                      <a:pt x="521" y="2566"/>
                    </a:lnTo>
                    <a:lnTo>
                      <a:pt x="559" y="2581"/>
                    </a:lnTo>
                    <a:lnTo>
                      <a:pt x="596" y="2596"/>
                    </a:lnTo>
                    <a:lnTo>
                      <a:pt x="634" y="2608"/>
                    </a:lnTo>
                    <a:lnTo>
                      <a:pt x="672" y="2621"/>
                    </a:lnTo>
                    <a:lnTo>
                      <a:pt x="711" y="2632"/>
                    </a:lnTo>
                    <a:lnTo>
                      <a:pt x="750" y="2643"/>
                    </a:lnTo>
                    <a:lnTo>
                      <a:pt x="790" y="2652"/>
                    </a:lnTo>
                    <a:lnTo>
                      <a:pt x="829" y="2660"/>
                    </a:lnTo>
                    <a:lnTo>
                      <a:pt x="869" y="2668"/>
                    </a:lnTo>
                    <a:lnTo>
                      <a:pt x="909" y="2675"/>
                    </a:lnTo>
                    <a:lnTo>
                      <a:pt x="951" y="2681"/>
                    </a:lnTo>
                    <a:lnTo>
                      <a:pt x="992" y="2685"/>
                    </a:lnTo>
                    <a:lnTo>
                      <a:pt x="1032" y="2689"/>
                    </a:lnTo>
                    <a:lnTo>
                      <a:pt x="1075" y="2691"/>
                    </a:lnTo>
                    <a:lnTo>
                      <a:pt x="1117" y="2692"/>
                    </a:lnTo>
                    <a:lnTo>
                      <a:pt x="1159" y="2693"/>
                    </a:lnTo>
                    <a:lnTo>
                      <a:pt x="1159" y="2693"/>
                    </a:lnTo>
                    <a:lnTo>
                      <a:pt x="1202" y="2692"/>
                    </a:lnTo>
                    <a:lnTo>
                      <a:pt x="1243" y="2691"/>
                    </a:lnTo>
                    <a:lnTo>
                      <a:pt x="1286" y="2689"/>
                    </a:lnTo>
                    <a:lnTo>
                      <a:pt x="1327" y="2685"/>
                    </a:lnTo>
                    <a:lnTo>
                      <a:pt x="1369" y="2680"/>
                    </a:lnTo>
                    <a:lnTo>
                      <a:pt x="1410" y="2674"/>
                    </a:lnTo>
                    <a:lnTo>
                      <a:pt x="1450" y="2668"/>
                    </a:lnTo>
                    <a:lnTo>
                      <a:pt x="1491" y="2660"/>
                    </a:lnTo>
                    <a:lnTo>
                      <a:pt x="1531" y="2651"/>
                    </a:lnTo>
                    <a:lnTo>
                      <a:pt x="1570" y="2642"/>
                    </a:lnTo>
                    <a:lnTo>
                      <a:pt x="1609" y="2631"/>
                    </a:lnTo>
                    <a:lnTo>
                      <a:pt x="1648" y="2620"/>
                    </a:lnTo>
                    <a:lnTo>
                      <a:pt x="1688" y="2607"/>
                    </a:lnTo>
                    <a:lnTo>
                      <a:pt x="1726" y="2594"/>
                    </a:lnTo>
                    <a:lnTo>
                      <a:pt x="1762" y="2579"/>
                    </a:lnTo>
                    <a:lnTo>
                      <a:pt x="1800" y="2564"/>
                    </a:lnTo>
                    <a:lnTo>
                      <a:pt x="1837" y="2548"/>
                    </a:lnTo>
                    <a:lnTo>
                      <a:pt x="1873" y="2532"/>
                    </a:lnTo>
                    <a:lnTo>
                      <a:pt x="1909" y="2514"/>
                    </a:lnTo>
                    <a:lnTo>
                      <a:pt x="1944" y="2495"/>
                    </a:lnTo>
                    <a:lnTo>
                      <a:pt x="1979" y="2477"/>
                    </a:lnTo>
                    <a:lnTo>
                      <a:pt x="2013" y="2456"/>
                    </a:lnTo>
                    <a:lnTo>
                      <a:pt x="2047" y="2435"/>
                    </a:lnTo>
                    <a:lnTo>
                      <a:pt x="2080" y="2414"/>
                    </a:lnTo>
                    <a:lnTo>
                      <a:pt x="2112" y="2392"/>
                    </a:lnTo>
                    <a:lnTo>
                      <a:pt x="2145" y="2369"/>
                    </a:lnTo>
                    <a:lnTo>
                      <a:pt x="2177" y="2345"/>
                    </a:lnTo>
                    <a:lnTo>
                      <a:pt x="2208" y="2319"/>
                    </a:lnTo>
                    <a:lnTo>
                      <a:pt x="2238" y="2294"/>
                    </a:lnTo>
                    <a:lnTo>
                      <a:pt x="2268" y="2269"/>
                    </a:lnTo>
                    <a:lnTo>
                      <a:pt x="2297" y="2241"/>
                    </a:lnTo>
                    <a:lnTo>
                      <a:pt x="2325" y="2214"/>
                    </a:lnTo>
                    <a:lnTo>
                      <a:pt x="2353" y="2186"/>
                    </a:lnTo>
                    <a:lnTo>
                      <a:pt x="2379" y="2157"/>
                    </a:lnTo>
                    <a:lnTo>
                      <a:pt x="2406" y="2128"/>
                    </a:lnTo>
                    <a:lnTo>
                      <a:pt x="2431" y="2098"/>
                    </a:lnTo>
                    <a:lnTo>
                      <a:pt x="2457" y="2067"/>
                    </a:lnTo>
                    <a:lnTo>
                      <a:pt x="2481" y="2036"/>
                    </a:lnTo>
                    <a:lnTo>
                      <a:pt x="2505" y="2004"/>
                    </a:lnTo>
                    <a:lnTo>
                      <a:pt x="2527" y="1971"/>
                    </a:lnTo>
                    <a:lnTo>
                      <a:pt x="2550" y="1938"/>
                    </a:lnTo>
                    <a:lnTo>
                      <a:pt x="2571" y="1905"/>
                    </a:lnTo>
                    <a:lnTo>
                      <a:pt x="2591" y="1871"/>
                    </a:lnTo>
                    <a:lnTo>
                      <a:pt x="2611" y="1837"/>
                    </a:lnTo>
                    <a:lnTo>
                      <a:pt x="2629" y="1801"/>
                    </a:lnTo>
                    <a:lnTo>
                      <a:pt x="2648" y="1765"/>
                    </a:lnTo>
                    <a:lnTo>
                      <a:pt x="2665" y="1730"/>
                    </a:lnTo>
                    <a:lnTo>
                      <a:pt x="2681" y="1693"/>
                    </a:lnTo>
                    <a:lnTo>
                      <a:pt x="2697" y="1656"/>
                    </a:lnTo>
                    <a:lnTo>
                      <a:pt x="2711" y="1619"/>
                    </a:lnTo>
                    <a:lnTo>
                      <a:pt x="2725" y="1581"/>
                    </a:lnTo>
                    <a:lnTo>
                      <a:pt x="2738" y="1542"/>
                    </a:lnTo>
                    <a:lnTo>
                      <a:pt x="2750" y="1504"/>
                    </a:lnTo>
                    <a:lnTo>
                      <a:pt x="2761" y="1465"/>
                    </a:lnTo>
                    <a:lnTo>
                      <a:pt x="2771" y="1425"/>
                    </a:lnTo>
                    <a:lnTo>
                      <a:pt x="2780" y="1385"/>
                    </a:lnTo>
                    <a:lnTo>
                      <a:pt x="2788" y="1345"/>
                    </a:lnTo>
                    <a:lnTo>
                      <a:pt x="2795" y="1305"/>
                    </a:lnTo>
                    <a:lnTo>
                      <a:pt x="2802" y="1263"/>
                    </a:lnTo>
                    <a:lnTo>
                      <a:pt x="2807" y="1222"/>
                    </a:lnTo>
                    <a:lnTo>
                      <a:pt x="2811" y="1181"/>
                    </a:lnTo>
                    <a:lnTo>
                      <a:pt x="2814" y="1139"/>
                    </a:lnTo>
                    <a:lnTo>
                      <a:pt x="2816" y="1096"/>
                    </a:lnTo>
                    <a:lnTo>
                      <a:pt x="2817" y="1055"/>
                    </a:lnTo>
                    <a:lnTo>
                      <a:pt x="2817" y="1054"/>
                    </a:lnTo>
                    <a:lnTo>
                      <a:pt x="2817" y="1054"/>
                    </a:lnTo>
                    <a:lnTo>
                      <a:pt x="2799" y="985"/>
                    </a:lnTo>
                    <a:lnTo>
                      <a:pt x="2779" y="917"/>
                    </a:lnTo>
                    <a:lnTo>
                      <a:pt x="2756" y="849"/>
                    </a:lnTo>
                    <a:lnTo>
                      <a:pt x="2732" y="783"/>
                    </a:lnTo>
                    <a:lnTo>
                      <a:pt x="2705" y="718"/>
                    </a:lnTo>
                    <a:lnTo>
                      <a:pt x="2677" y="653"/>
                    </a:lnTo>
                    <a:lnTo>
                      <a:pt x="2645" y="590"/>
                    </a:lnTo>
                    <a:lnTo>
                      <a:pt x="2613" y="528"/>
                    </a:lnTo>
                    <a:lnTo>
                      <a:pt x="2580" y="467"/>
                    </a:lnTo>
                    <a:lnTo>
                      <a:pt x="2543" y="407"/>
                    </a:lnTo>
                    <a:lnTo>
                      <a:pt x="2505" y="348"/>
                    </a:lnTo>
                    <a:lnTo>
                      <a:pt x="2466" y="291"/>
                    </a:lnTo>
                    <a:lnTo>
                      <a:pt x="2424" y="234"/>
                    </a:lnTo>
                    <a:lnTo>
                      <a:pt x="2382" y="180"/>
                    </a:lnTo>
                    <a:lnTo>
                      <a:pt x="2337" y="126"/>
                    </a:lnTo>
                    <a:lnTo>
                      <a:pt x="2291" y="74"/>
                    </a:lnTo>
                    <a:lnTo>
                      <a:pt x="2291" y="74"/>
                    </a:lnTo>
                    <a:lnTo>
                      <a:pt x="2283" y="65"/>
                    </a:lnTo>
                    <a:lnTo>
                      <a:pt x="2283" y="65"/>
                    </a:lnTo>
                    <a:lnTo>
                      <a:pt x="2251" y="33"/>
                    </a:lnTo>
                    <a:lnTo>
                      <a:pt x="2218" y="0"/>
                    </a:lnTo>
                    <a:lnTo>
                      <a:pt x="0" y="2220"/>
                    </a:lnTo>
                    <a:close/>
                  </a:path>
                </a:pathLst>
              </a:custGeom>
              <a:solidFill>
                <a:srgbClr val="B3C1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20" name="Freeform 91"/>
              <p:cNvSpPr>
                <a:spLocks/>
              </p:cNvSpPr>
              <p:nvPr userDrawn="1"/>
            </p:nvSpPr>
            <p:spPr bwMode="auto">
              <a:xfrm rot="20844360">
                <a:off x="6025041" y="3599934"/>
                <a:ext cx="1560088" cy="390024"/>
              </a:xfrm>
              <a:custGeom>
                <a:avLst/>
                <a:gdLst>
                  <a:gd name="T0" fmla="*/ 1538 w 1538"/>
                  <a:gd name="T1" fmla="*/ 193 h 388"/>
                  <a:gd name="T2" fmla="*/ 1534 w 1538"/>
                  <a:gd name="T3" fmla="*/ 232 h 388"/>
                  <a:gd name="T4" fmla="*/ 1523 w 1538"/>
                  <a:gd name="T5" fmla="*/ 269 h 388"/>
                  <a:gd name="T6" fmla="*/ 1504 w 1538"/>
                  <a:gd name="T7" fmla="*/ 303 h 388"/>
                  <a:gd name="T8" fmla="*/ 1481 w 1538"/>
                  <a:gd name="T9" fmla="*/ 331 h 388"/>
                  <a:gd name="T10" fmla="*/ 1452 w 1538"/>
                  <a:gd name="T11" fmla="*/ 354 h 388"/>
                  <a:gd name="T12" fmla="*/ 1419 w 1538"/>
                  <a:gd name="T13" fmla="*/ 373 h 388"/>
                  <a:gd name="T14" fmla="*/ 1382 w 1538"/>
                  <a:gd name="T15" fmla="*/ 384 h 388"/>
                  <a:gd name="T16" fmla="*/ 1343 w 1538"/>
                  <a:gd name="T17" fmla="*/ 388 h 388"/>
                  <a:gd name="T18" fmla="*/ 193 w 1538"/>
                  <a:gd name="T19" fmla="*/ 388 h 388"/>
                  <a:gd name="T20" fmla="*/ 154 w 1538"/>
                  <a:gd name="T21" fmla="*/ 384 h 388"/>
                  <a:gd name="T22" fmla="*/ 118 w 1538"/>
                  <a:gd name="T23" fmla="*/ 373 h 388"/>
                  <a:gd name="T24" fmla="*/ 85 w 1538"/>
                  <a:gd name="T25" fmla="*/ 354 h 388"/>
                  <a:gd name="T26" fmla="*/ 56 w 1538"/>
                  <a:gd name="T27" fmla="*/ 331 h 388"/>
                  <a:gd name="T28" fmla="*/ 33 w 1538"/>
                  <a:gd name="T29" fmla="*/ 303 h 388"/>
                  <a:gd name="T30" fmla="*/ 15 w 1538"/>
                  <a:gd name="T31" fmla="*/ 269 h 388"/>
                  <a:gd name="T32" fmla="*/ 3 w 1538"/>
                  <a:gd name="T33" fmla="*/ 232 h 388"/>
                  <a:gd name="T34" fmla="*/ 0 w 1538"/>
                  <a:gd name="T35" fmla="*/ 193 h 388"/>
                  <a:gd name="T36" fmla="*/ 1 w 1538"/>
                  <a:gd name="T37" fmla="*/ 174 h 388"/>
                  <a:gd name="T38" fmla="*/ 8 w 1538"/>
                  <a:gd name="T39" fmla="*/ 136 h 388"/>
                  <a:gd name="T40" fmla="*/ 23 w 1538"/>
                  <a:gd name="T41" fmla="*/ 101 h 388"/>
                  <a:gd name="T42" fmla="*/ 43 w 1538"/>
                  <a:gd name="T43" fmla="*/ 70 h 388"/>
                  <a:gd name="T44" fmla="*/ 70 w 1538"/>
                  <a:gd name="T45" fmla="*/ 44 h 388"/>
                  <a:gd name="T46" fmla="*/ 101 w 1538"/>
                  <a:gd name="T47" fmla="*/ 23 h 388"/>
                  <a:gd name="T48" fmla="*/ 135 w 1538"/>
                  <a:gd name="T49" fmla="*/ 8 h 388"/>
                  <a:gd name="T50" fmla="*/ 173 w 1538"/>
                  <a:gd name="T51" fmla="*/ 1 h 388"/>
                  <a:gd name="T52" fmla="*/ 1343 w 1538"/>
                  <a:gd name="T53" fmla="*/ 0 h 388"/>
                  <a:gd name="T54" fmla="*/ 1364 w 1538"/>
                  <a:gd name="T55" fmla="*/ 1 h 388"/>
                  <a:gd name="T56" fmla="*/ 1402 w 1538"/>
                  <a:gd name="T57" fmla="*/ 8 h 388"/>
                  <a:gd name="T58" fmla="*/ 1436 w 1538"/>
                  <a:gd name="T59" fmla="*/ 23 h 388"/>
                  <a:gd name="T60" fmla="*/ 1467 w 1538"/>
                  <a:gd name="T61" fmla="*/ 44 h 388"/>
                  <a:gd name="T62" fmla="*/ 1494 w 1538"/>
                  <a:gd name="T63" fmla="*/ 70 h 388"/>
                  <a:gd name="T64" fmla="*/ 1515 w 1538"/>
                  <a:gd name="T65" fmla="*/ 101 h 388"/>
                  <a:gd name="T66" fmla="*/ 1528 w 1538"/>
                  <a:gd name="T67" fmla="*/ 136 h 388"/>
                  <a:gd name="T68" fmla="*/ 1537 w 1538"/>
                  <a:gd name="T69" fmla="*/ 174 h 388"/>
                  <a:gd name="T70" fmla="*/ 1538 w 1538"/>
                  <a:gd name="T71" fmla="*/ 19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38" h="388">
                    <a:moveTo>
                      <a:pt x="1538" y="193"/>
                    </a:moveTo>
                    <a:lnTo>
                      <a:pt x="1538" y="193"/>
                    </a:lnTo>
                    <a:lnTo>
                      <a:pt x="1537" y="214"/>
                    </a:lnTo>
                    <a:lnTo>
                      <a:pt x="1534" y="232"/>
                    </a:lnTo>
                    <a:lnTo>
                      <a:pt x="1528" y="252"/>
                    </a:lnTo>
                    <a:lnTo>
                      <a:pt x="1523" y="269"/>
                    </a:lnTo>
                    <a:lnTo>
                      <a:pt x="1515" y="287"/>
                    </a:lnTo>
                    <a:lnTo>
                      <a:pt x="1504" y="303"/>
                    </a:lnTo>
                    <a:lnTo>
                      <a:pt x="1494" y="318"/>
                    </a:lnTo>
                    <a:lnTo>
                      <a:pt x="1481" y="331"/>
                    </a:lnTo>
                    <a:lnTo>
                      <a:pt x="1467" y="343"/>
                    </a:lnTo>
                    <a:lnTo>
                      <a:pt x="1452" y="354"/>
                    </a:lnTo>
                    <a:lnTo>
                      <a:pt x="1436" y="365"/>
                    </a:lnTo>
                    <a:lnTo>
                      <a:pt x="1419" y="373"/>
                    </a:lnTo>
                    <a:lnTo>
                      <a:pt x="1402" y="379"/>
                    </a:lnTo>
                    <a:lnTo>
                      <a:pt x="1382" y="384"/>
                    </a:lnTo>
                    <a:lnTo>
                      <a:pt x="1364" y="387"/>
                    </a:lnTo>
                    <a:lnTo>
                      <a:pt x="1343" y="388"/>
                    </a:lnTo>
                    <a:lnTo>
                      <a:pt x="193" y="388"/>
                    </a:lnTo>
                    <a:lnTo>
                      <a:pt x="193" y="388"/>
                    </a:lnTo>
                    <a:lnTo>
                      <a:pt x="173" y="387"/>
                    </a:lnTo>
                    <a:lnTo>
                      <a:pt x="154" y="384"/>
                    </a:lnTo>
                    <a:lnTo>
                      <a:pt x="135" y="379"/>
                    </a:lnTo>
                    <a:lnTo>
                      <a:pt x="118" y="373"/>
                    </a:lnTo>
                    <a:lnTo>
                      <a:pt x="101" y="365"/>
                    </a:lnTo>
                    <a:lnTo>
                      <a:pt x="85" y="354"/>
                    </a:lnTo>
                    <a:lnTo>
                      <a:pt x="70" y="343"/>
                    </a:lnTo>
                    <a:lnTo>
                      <a:pt x="56" y="331"/>
                    </a:lnTo>
                    <a:lnTo>
                      <a:pt x="43" y="318"/>
                    </a:lnTo>
                    <a:lnTo>
                      <a:pt x="33" y="303"/>
                    </a:lnTo>
                    <a:lnTo>
                      <a:pt x="23" y="287"/>
                    </a:lnTo>
                    <a:lnTo>
                      <a:pt x="15" y="269"/>
                    </a:lnTo>
                    <a:lnTo>
                      <a:pt x="8" y="252"/>
                    </a:lnTo>
                    <a:lnTo>
                      <a:pt x="3" y="232"/>
                    </a:lnTo>
                    <a:lnTo>
                      <a:pt x="1" y="214"/>
                    </a:lnTo>
                    <a:lnTo>
                      <a:pt x="0" y="193"/>
                    </a:lnTo>
                    <a:lnTo>
                      <a:pt x="0" y="193"/>
                    </a:lnTo>
                    <a:lnTo>
                      <a:pt x="1" y="174"/>
                    </a:lnTo>
                    <a:lnTo>
                      <a:pt x="3" y="154"/>
                    </a:lnTo>
                    <a:lnTo>
                      <a:pt x="8" y="136"/>
                    </a:lnTo>
                    <a:lnTo>
                      <a:pt x="15" y="118"/>
                    </a:lnTo>
                    <a:lnTo>
                      <a:pt x="23" y="101"/>
                    </a:lnTo>
                    <a:lnTo>
                      <a:pt x="33" y="85"/>
                    </a:lnTo>
                    <a:lnTo>
                      <a:pt x="43" y="70"/>
                    </a:lnTo>
                    <a:lnTo>
                      <a:pt x="56" y="56"/>
                    </a:lnTo>
                    <a:lnTo>
                      <a:pt x="70" y="44"/>
                    </a:lnTo>
                    <a:lnTo>
                      <a:pt x="85" y="33"/>
                    </a:lnTo>
                    <a:lnTo>
                      <a:pt x="101" y="23"/>
                    </a:lnTo>
                    <a:lnTo>
                      <a:pt x="118" y="15"/>
                    </a:lnTo>
                    <a:lnTo>
                      <a:pt x="135" y="8"/>
                    </a:lnTo>
                    <a:lnTo>
                      <a:pt x="154" y="3"/>
                    </a:lnTo>
                    <a:lnTo>
                      <a:pt x="173" y="1"/>
                    </a:lnTo>
                    <a:lnTo>
                      <a:pt x="193" y="0"/>
                    </a:lnTo>
                    <a:lnTo>
                      <a:pt x="1343" y="0"/>
                    </a:lnTo>
                    <a:lnTo>
                      <a:pt x="1343" y="0"/>
                    </a:lnTo>
                    <a:lnTo>
                      <a:pt x="1364" y="1"/>
                    </a:lnTo>
                    <a:lnTo>
                      <a:pt x="1382" y="3"/>
                    </a:lnTo>
                    <a:lnTo>
                      <a:pt x="1402" y="8"/>
                    </a:lnTo>
                    <a:lnTo>
                      <a:pt x="1419" y="15"/>
                    </a:lnTo>
                    <a:lnTo>
                      <a:pt x="1436" y="23"/>
                    </a:lnTo>
                    <a:lnTo>
                      <a:pt x="1452" y="33"/>
                    </a:lnTo>
                    <a:lnTo>
                      <a:pt x="1467" y="44"/>
                    </a:lnTo>
                    <a:lnTo>
                      <a:pt x="1481" y="56"/>
                    </a:lnTo>
                    <a:lnTo>
                      <a:pt x="1494" y="70"/>
                    </a:lnTo>
                    <a:lnTo>
                      <a:pt x="1504" y="85"/>
                    </a:lnTo>
                    <a:lnTo>
                      <a:pt x="1515" y="101"/>
                    </a:lnTo>
                    <a:lnTo>
                      <a:pt x="1523" y="118"/>
                    </a:lnTo>
                    <a:lnTo>
                      <a:pt x="1528" y="136"/>
                    </a:lnTo>
                    <a:lnTo>
                      <a:pt x="1534" y="154"/>
                    </a:lnTo>
                    <a:lnTo>
                      <a:pt x="1537" y="174"/>
                    </a:lnTo>
                    <a:lnTo>
                      <a:pt x="1538" y="193"/>
                    </a:lnTo>
                    <a:lnTo>
                      <a:pt x="1538" y="193"/>
                    </a:lnTo>
                    <a:close/>
                  </a:path>
                </a:pathLst>
              </a:custGeom>
              <a:solidFill>
                <a:srgbClr val="B3C1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21" name="Freeform 92"/>
              <p:cNvSpPr>
                <a:spLocks/>
              </p:cNvSpPr>
              <p:nvPr userDrawn="1"/>
            </p:nvSpPr>
            <p:spPr bwMode="auto">
              <a:xfrm rot="20844360">
                <a:off x="6882728" y="2885803"/>
                <a:ext cx="1354442" cy="347476"/>
              </a:xfrm>
              <a:custGeom>
                <a:avLst/>
                <a:gdLst>
                  <a:gd name="T0" fmla="*/ 1332 w 1332"/>
                  <a:gd name="T1" fmla="*/ 169 h 337"/>
                  <a:gd name="T2" fmla="*/ 1328 w 1332"/>
                  <a:gd name="T3" fmla="*/ 202 h 337"/>
                  <a:gd name="T4" fmla="*/ 1318 w 1332"/>
                  <a:gd name="T5" fmla="*/ 233 h 337"/>
                  <a:gd name="T6" fmla="*/ 1303 w 1332"/>
                  <a:gd name="T7" fmla="*/ 262 h 337"/>
                  <a:gd name="T8" fmla="*/ 1282 w 1332"/>
                  <a:gd name="T9" fmla="*/ 287 h 337"/>
                  <a:gd name="T10" fmla="*/ 1258 w 1332"/>
                  <a:gd name="T11" fmla="*/ 308 h 337"/>
                  <a:gd name="T12" fmla="*/ 1229 w 1332"/>
                  <a:gd name="T13" fmla="*/ 323 h 337"/>
                  <a:gd name="T14" fmla="*/ 1197 w 1332"/>
                  <a:gd name="T15" fmla="*/ 333 h 337"/>
                  <a:gd name="T16" fmla="*/ 1164 w 1332"/>
                  <a:gd name="T17" fmla="*/ 337 h 337"/>
                  <a:gd name="T18" fmla="*/ 168 w 1332"/>
                  <a:gd name="T19" fmla="*/ 337 h 337"/>
                  <a:gd name="T20" fmla="*/ 134 w 1332"/>
                  <a:gd name="T21" fmla="*/ 333 h 337"/>
                  <a:gd name="T22" fmla="*/ 102 w 1332"/>
                  <a:gd name="T23" fmla="*/ 323 h 337"/>
                  <a:gd name="T24" fmla="*/ 73 w 1332"/>
                  <a:gd name="T25" fmla="*/ 308 h 337"/>
                  <a:gd name="T26" fmla="*/ 49 w 1332"/>
                  <a:gd name="T27" fmla="*/ 287 h 337"/>
                  <a:gd name="T28" fmla="*/ 28 w 1332"/>
                  <a:gd name="T29" fmla="*/ 262 h 337"/>
                  <a:gd name="T30" fmla="*/ 13 w 1332"/>
                  <a:gd name="T31" fmla="*/ 233 h 337"/>
                  <a:gd name="T32" fmla="*/ 3 w 1332"/>
                  <a:gd name="T33" fmla="*/ 202 h 337"/>
                  <a:gd name="T34" fmla="*/ 0 w 1332"/>
                  <a:gd name="T35" fmla="*/ 169 h 337"/>
                  <a:gd name="T36" fmla="*/ 1 w 1332"/>
                  <a:gd name="T37" fmla="*/ 151 h 337"/>
                  <a:gd name="T38" fmla="*/ 8 w 1332"/>
                  <a:gd name="T39" fmla="*/ 118 h 337"/>
                  <a:gd name="T40" fmla="*/ 20 w 1332"/>
                  <a:gd name="T41" fmla="*/ 88 h 337"/>
                  <a:gd name="T42" fmla="*/ 38 w 1332"/>
                  <a:gd name="T43" fmla="*/ 62 h 337"/>
                  <a:gd name="T44" fmla="*/ 61 w 1332"/>
                  <a:gd name="T45" fmla="*/ 38 h 337"/>
                  <a:gd name="T46" fmla="*/ 88 w 1332"/>
                  <a:gd name="T47" fmla="*/ 20 h 337"/>
                  <a:gd name="T48" fmla="*/ 118 w 1332"/>
                  <a:gd name="T49" fmla="*/ 7 h 337"/>
                  <a:gd name="T50" fmla="*/ 150 w 1332"/>
                  <a:gd name="T51" fmla="*/ 2 h 337"/>
                  <a:gd name="T52" fmla="*/ 1164 w 1332"/>
                  <a:gd name="T53" fmla="*/ 0 h 337"/>
                  <a:gd name="T54" fmla="*/ 1181 w 1332"/>
                  <a:gd name="T55" fmla="*/ 2 h 337"/>
                  <a:gd name="T56" fmla="*/ 1213 w 1332"/>
                  <a:gd name="T57" fmla="*/ 7 h 337"/>
                  <a:gd name="T58" fmla="*/ 1244 w 1332"/>
                  <a:gd name="T59" fmla="*/ 20 h 337"/>
                  <a:gd name="T60" fmla="*/ 1271 w 1332"/>
                  <a:gd name="T61" fmla="*/ 38 h 337"/>
                  <a:gd name="T62" fmla="*/ 1294 w 1332"/>
                  <a:gd name="T63" fmla="*/ 62 h 337"/>
                  <a:gd name="T64" fmla="*/ 1311 w 1332"/>
                  <a:gd name="T65" fmla="*/ 88 h 337"/>
                  <a:gd name="T66" fmla="*/ 1324 w 1332"/>
                  <a:gd name="T67" fmla="*/ 118 h 337"/>
                  <a:gd name="T68" fmla="*/ 1331 w 1332"/>
                  <a:gd name="T69" fmla="*/ 151 h 337"/>
                  <a:gd name="T70" fmla="*/ 1332 w 1332"/>
                  <a:gd name="T71" fmla="*/ 169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32" h="337">
                    <a:moveTo>
                      <a:pt x="1332" y="169"/>
                    </a:moveTo>
                    <a:lnTo>
                      <a:pt x="1332" y="169"/>
                    </a:lnTo>
                    <a:lnTo>
                      <a:pt x="1331" y="186"/>
                    </a:lnTo>
                    <a:lnTo>
                      <a:pt x="1328" y="202"/>
                    </a:lnTo>
                    <a:lnTo>
                      <a:pt x="1324" y="218"/>
                    </a:lnTo>
                    <a:lnTo>
                      <a:pt x="1318" y="233"/>
                    </a:lnTo>
                    <a:lnTo>
                      <a:pt x="1311" y="248"/>
                    </a:lnTo>
                    <a:lnTo>
                      <a:pt x="1303" y="262"/>
                    </a:lnTo>
                    <a:lnTo>
                      <a:pt x="1294" y="275"/>
                    </a:lnTo>
                    <a:lnTo>
                      <a:pt x="1282" y="287"/>
                    </a:lnTo>
                    <a:lnTo>
                      <a:pt x="1271" y="298"/>
                    </a:lnTo>
                    <a:lnTo>
                      <a:pt x="1258" y="308"/>
                    </a:lnTo>
                    <a:lnTo>
                      <a:pt x="1244" y="316"/>
                    </a:lnTo>
                    <a:lnTo>
                      <a:pt x="1229" y="323"/>
                    </a:lnTo>
                    <a:lnTo>
                      <a:pt x="1213" y="329"/>
                    </a:lnTo>
                    <a:lnTo>
                      <a:pt x="1197" y="333"/>
                    </a:lnTo>
                    <a:lnTo>
                      <a:pt x="1181" y="336"/>
                    </a:lnTo>
                    <a:lnTo>
                      <a:pt x="1164" y="337"/>
                    </a:lnTo>
                    <a:lnTo>
                      <a:pt x="168" y="337"/>
                    </a:lnTo>
                    <a:lnTo>
                      <a:pt x="168" y="337"/>
                    </a:lnTo>
                    <a:lnTo>
                      <a:pt x="150" y="336"/>
                    </a:lnTo>
                    <a:lnTo>
                      <a:pt x="134" y="333"/>
                    </a:lnTo>
                    <a:lnTo>
                      <a:pt x="118" y="329"/>
                    </a:lnTo>
                    <a:lnTo>
                      <a:pt x="102" y="323"/>
                    </a:lnTo>
                    <a:lnTo>
                      <a:pt x="88" y="316"/>
                    </a:lnTo>
                    <a:lnTo>
                      <a:pt x="73" y="308"/>
                    </a:lnTo>
                    <a:lnTo>
                      <a:pt x="61" y="298"/>
                    </a:lnTo>
                    <a:lnTo>
                      <a:pt x="49" y="287"/>
                    </a:lnTo>
                    <a:lnTo>
                      <a:pt x="38" y="275"/>
                    </a:lnTo>
                    <a:lnTo>
                      <a:pt x="28" y="262"/>
                    </a:lnTo>
                    <a:lnTo>
                      <a:pt x="20" y="248"/>
                    </a:lnTo>
                    <a:lnTo>
                      <a:pt x="13" y="233"/>
                    </a:lnTo>
                    <a:lnTo>
                      <a:pt x="8" y="218"/>
                    </a:lnTo>
                    <a:lnTo>
                      <a:pt x="3" y="202"/>
                    </a:lnTo>
                    <a:lnTo>
                      <a:pt x="1" y="186"/>
                    </a:lnTo>
                    <a:lnTo>
                      <a:pt x="0" y="169"/>
                    </a:lnTo>
                    <a:lnTo>
                      <a:pt x="0" y="169"/>
                    </a:lnTo>
                    <a:lnTo>
                      <a:pt x="1" y="151"/>
                    </a:lnTo>
                    <a:lnTo>
                      <a:pt x="3" y="134"/>
                    </a:lnTo>
                    <a:lnTo>
                      <a:pt x="8" y="118"/>
                    </a:lnTo>
                    <a:lnTo>
                      <a:pt x="13" y="103"/>
                    </a:lnTo>
                    <a:lnTo>
                      <a:pt x="20" y="88"/>
                    </a:lnTo>
                    <a:lnTo>
                      <a:pt x="28" y="74"/>
                    </a:lnTo>
                    <a:lnTo>
                      <a:pt x="38" y="62"/>
                    </a:lnTo>
                    <a:lnTo>
                      <a:pt x="49" y="49"/>
                    </a:lnTo>
                    <a:lnTo>
                      <a:pt x="61" y="38"/>
                    </a:lnTo>
                    <a:lnTo>
                      <a:pt x="73" y="29"/>
                    </a:lnTo>
                    <a:lnTo>
                      <a:pt x="88" y="20"/>
                    </a:lnTo>
                    <a:lnTo>
                      <a:pt x="102" y="13"/>
                    </a:lnTo>
                    <a:lnTo>
                      <a:pt x="118" y="7"/>
                    </a:lnTo>
                    <a:lnTo>
                      <a:pt x="134" y="4"/>
                    </a:lnTo>
                    <a:lnTo>
                      <a:pt x="150" y="2"/>
                    </a:lnTo>
                    <a:lnTo>
                      <a:pt x="168" y="0"/>
                    </a:lnTo>
                    <a:lnTo>
                      <a:pt x="1164" y="0"/>
                    </a:lnTo>
                    <a:lnTo>
                      <a:pt x="1164" y="0"/>
                    </a:lnTo>
                    <a:lnTo>
                      <a:pt x="1181" y="2"/>
                    </a:lnTo>
                    <a:lnTo>
                      <a:pt x="1197" y="4"/>
                    </a:lnTo>
                    <a:lnTo>
                      <a:pt x="1213" y="7"/>
                    </a:lnTo>
                    <a:lnTo>
                      <a:pt x="1229" y="13"/>
                    </a:lnTo>
                    <a:lnTo>
                      <a:pt x="1244" y="20"/>
                    </a:lnTo>
                    <a:lnTo>
                      <a:pt x="1258" y="29"/>
                    </a:lnTo>
                    <a:lnTo>
                      <a:pt x="1271" y="38"/>
                    </a:lnTo>
                    <a:lnTo>
                      <a:pt x="1282" y="49"/>
                    </a:lnTo>
                    <a:lnTo>
                      <a:pt x="1294" y="62"/>
                    </a:lnTo>
                    <a:lnTo>
                      <a:pt x="1303" y="74"/>
                    </a:lnTo>
                    <a:lnTo>
                      <a:pt x="1311" y="88"/>
                    </a:lnTo>
                    <a:lnTo>
                      <a:pt x="1318" y="103"/>
                    </a:lnTo>
                    <a:lnTo>
                      <a:pt x="1324" y="118"/>
                    </a:lnTo>
                    <a:lnTo>
                      <a:pt x="1328" y="134"/>
                    </a:lnTo>
                    <a:lnTo>
                      <a:pt x="1331" y="151"/>
                    </a:lnTo>
                    <a:lnTo>
                      <a:pt x="1332" y="169"/>
                    </a:lnTo>
                    <a:lnTo>
                      <a:pt x="1332" y="169"/>
                    </a:lnTo>
                    <a:close/>
                  </a:path>
                </a:pathLst>
              </a:custGeom>
              <a:solidFill>
                <a:srgbClr val="D2E0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22" name="Freeform 93"/>
              <p:cNvSpPr>
                <a:spLocks/>
              </p:cNvSpPr>
              <p:nvPr userDrawn="1"/>
            </p:nvSpPr>
            <p:spPr bwMode="auto">
              <a:xfrm rot="20844360">
                <a:off x="4965430" y="3182717"/>
                <a:ext cx="1560088" cy="390024"/>
              </a:xfrm>
              <a:custGeom>
                <a:avLst/>
                <a:gdLst>
                  <a:gd name="T0" fmla="*/ 1539 w 1539"/>
                  <a:gd name="T1" fmla="*/ 195 h 388"/>
                  <a:gd name="T2" fmla="*/ 1535 w 1539"/>
                  <a:gd name="T3" fmla="*/ 234 h 388"/>
                  <a:gd name="T4" fmla="*/ 1523 w 1539"/>
                  <a:gd name="T5" fmla="*/ 270 h 388"/>
                  <a:gd name="T6" fmla="*/ 1506 w 1539"/>
                  <a:gd name="T7" fmla="*/ 303 h 388"/>
                  <a:gd name="T8" fmla="*/ 1482 w 1539"/>
                  <a:gd name="T9" fmla="*/ 332 h 388"/>
                  <a:gd name="T10" fmla="*/ 1453 w 1539"/>
                  <a:gd name="T11" fmla="*/ 356 h 388"/>
                  <a:gd name="T12" fmla="*/ 1421 w 1539"/>
                  <a:gd name="T13" fmla="*/ 373 h 388"/>
                  <a:gd name="T14" fmla="*/ 1384 w 1539"/>
                  <a:gd name="T15" fmla="*/ 385 h 388"/>
                  <a:gd name="T16" fmla="*/ 1345 w 1539"/>
                  <a:gd name="T17" fmla="*/ 388 h 388"/>
                  <a:gd name="T18" fmla="*/ 195 w 1539"/>
                  <a:gd name="T19" fmla="*/ 388 h 388"/>
                  <a:gd name="T20" fmla="*/ 156 w 1539"/>
                  <a:gd name="T21" fmla="*/ 385 h 388"/>
                  <a:gd name="T22" fmla="*/ 119 w 1539"/>
                  <a:gd name="T23" fmla="*/ 373 h 388"/>
                  <a:gd name="T24" fmla="*/ 87 w 1539"/>
                  <a:gd name="T25" fmla="*/ 356 h 388"/>
                  <a:gd name="T26" fmla="*/ 58 w 1539"/>
                  <a:gd name="T27" fmla="*/ 332 h 388"/>
                  <a:gd name="T28" fmla="*/ 34 w 1539"/>
                  <a:gd name="T29" fmla="*/ 303 h 388"/>
                  <a:gd name="T30" fmla="*/ 16 w 1539"/>
                  <a:gd name="T31" fmla="*/ 270 h 388"/>
                  <a:gd name="T32" fmla="*/ 5 w 1539"/>
                  <a:gd name="T33" fmla="*/ 234 h 388"/>
                  <a:gd name="T34" fmla="*/ 0 w 1539"/>
                  <a:gd name="T35" fmla="*/ 195 h 388"/>
                  <a:gd name="T36" fmla="*/ 1 w 1539"/>
                  <a:gd name="T37" fmla="*/ 175 h 388"/>
                  <a:gd name="T38" fmla="*/ 9 w 1539"/>
                  <a:gd name="T39" fmla="*/ 137 h 388"/>
                  <a:gd name="T40" fmla="*/ 24 w 1539"/>
                  <a:gd name="T41" fmla="*/ 101 h 388"/>
                  <a:gd name="T42" fmla="*/ 45 w 1539"/>
                  <a:gd name="T43" fmla="*/ 71 h 388"/>
                  <a:gd name="T44" fmla="*/ 72 w 1539"/>
                  <a:gd name="T45" fmla="*/ 45 h 388"/>
                  <a:gd name="T46" fmla="*/ 103 w 1539"/>
                  <a:gd name="T47" fmla="*/ 24 h 388"/>
                  <a:gd name="T48" fmla="*/ 137 w 1539"/>
                  <a:gd name="T49" fmla="*/ 9 h 388"/>
                  <a:gd name="T50" fmla="*/ 175 w 1539"/>
                  <a:gd name="T51" fmla="*/ 1 h 388"/>
                  <a:gd name="T52" fmla="*/ 1345 w 1539"/>
                  <a:gd name="T53" fmla="*/ 0 h 388"/>
                  <a:gd name="T54" fmla="*/ 1364 w 1539"/>
                  <a:gd name="T55" fmla="*/ 1 h 388"/>
                  <a:gd name="T56" fmla="*/ 1402 w 1539"/>
                  <a:gd name="T57" fmla="*/ 9 h 388"/>
                  <a:gd name="T58" fmla="*/ 1437 w 1539"/>
                  <a:gd name="T59" fmla="*/ 24 h 388"/>
                  <a:gd name="T60" fmla="*/ 1468 w 1539"/>
                  <a:gd name="T61" fmla="*/ 45 h 388"/>
                  <a:gd name="T62" fmla="*/ 1495 w 1539"/>
                  <a:gd name="T63" fmla="*/ 71 h 388"/>
                  <a:gd name="T64" fmla="*/ 1515 w 1539"/>
                  <a:gd name="T65" fmla="*/ 101 h 388"/>
                  <a:gd name="T66" fmla="*/ 1530 w 1539"/>
                  <a:gd name="T67" fmla="*/ 137 h 388"/>
                  <a:gd name="T68" fmla="*/ 1538 w 1539"/>
                  <a:gd name="T69" fmla="*/ 175 h 388"/>
                  <a:gd name="T70" fmla="*/ 1539 w 1539"/>
                  <a:gd name="T71"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39" h="388">
                    <a:moveTo>
                      <a:pt x="1539" y="195"/>
                    </a:moveTo>
                    <a:lnTo>
                      <a:pt x="1539" y="195"/>
                    </a:lnTo>
                    <a:lnTo>
                      <a:pt x="1538" y="214"/>
                    </a:lnTo>
                    <a:lnTo>
                      <a:pt x="1535" y="234"/>
                    </a:lnTo>
                    <a:lnTo>
                      <a:pt x="1530" y="252"/>
                    </a:lnTo>
                    <a:lnTo>
                      <a:pt x="1523" y="270"/>
                    </a:lnTo>
                    <a:lnTo>
                      <a:pt x="1515" y="287"/>
                    </a:lnTo>
                    <a:lnTo>
                      <a:pt x="1506" y="303"/>
                    </a:lnTo>
                    <a:lnTo>
                      <a:pt x="1495" y="318"/>
                    </a:lnTo>
                    <a:lnTo>
                      <a:pt x="1482" y="332"/>
                    </a:lnTo>
                    <a:lnTo>
                      <a:pt x="1468" y="344"/>
                    </a:lnTo>
                    <a:lnTo>
                      <a:pt x="1453" y="356"/>
                    </a:lnTo>
                    <a:lnTo>
                      <a:pt x="1437" y="365"/>
                    </a:lnTo>
                    <a:lnTo>
                      <a:pt x="1421" y="373"/>
                    </a:lnTo>
                    <a:lnTo>
                      <a:pt x="1402" y="380"/>
                    </a:lnTo>
                    <a:lnTo>
                      <a:pt x="1384" y="385"/>
                    </a:lnTo>
                    <a:lnTo>
                      <a:pt x="1364" y="388"/>
                    </a:lnTo>
                    <a:lnTo>
                      <a:pt x="1345" y="388"/>
                    </a:lnTo>
                    <a:lnTo>
                      <a:pt x="195" y="388"/>
                    </a:lnTo>
                    <a:lnTo>
                      <a:pt x="195" y="388"/>
                    </a:lnTo>
                    <a:lnTo>
                      <a:pt x="175" y="388"/>
                    </a:lnTo>
                    <a:lnTo>
                      <a:pt x="156" y="385"/>
                    </a:lnTo>
                    <a:lnTo>
                      <a:pt x="137" y="380"/>
                    </a:lnTo>
                    <a:lnTo>
                      <a:pt x="119" y="373"/>
                    </a:lnTo>
                    <a:lnTo>
                      <a:pt x="103" y="365"/>
                    </a:lnTo>
                    <a:lnTo>
                      <a:pt x="87" y="356"/>
                    </a:lnTo>
                    <a:lnTo>
                      <a:pt x="72" y="344"/>
                    </a:lnTo>
                    <a:lnTo>
                      <a:pt x="58" y="332"/>
                    </a:lnTo>
                    <a:lnTo>
                      <a:pt x="45" y="318"/>
                    </a:lnTo>
                    <a:lnTo>
                      <a:pt x="34" y="303"/>
                    </a:lnTo>
                    <a:lnTo>
                      <a:pt x="24" y="287"/>
                    </a:lnTo>
                    <a:lnTo>
                      <a:pt x="16" y="270"/>
                    </a:lnTo>
                    <a:lnTo>
                      <a:pt x="9" y="252"/>
                    </a:lnTo>
                    <a:lnTo>
                      <a:pt x="5" y="234"/>
                    </a:lnTo>
                    <a:lnTo>
                      <a:pt x="1" y="214"/>
                    </a:lnTo>
                    <a:lnTo>
                      <a:pt x="0" y="195"/>
                    </a:lnTo>
                    <a:lnTo>
                      <a:pt x="0" y="195"/>
                    </a:lnTo>
                    <a:lnTo>
                      <a:pt x="1" y="175"/>
                    </a:lnTo>
                    <a:lnTo>
                      <a:pt x="5" y="156"/>
                    </a:lnTo>
                    <a:lnTo>
                      <a:pt x="9" y="137"/>
                    </a:lnTo>
                    <a:lnTo>
                      <a:pt x="16" y="119"/>
                    </a:lnTo>
                    <a:lnTo>
                      <a:pt x="24" y="101"/>
                    </a:lnTo>
                    <a:lnTo>
                      <a:pt x="34" y="86"/>
                    </a:lnTo>
                    <a:lnTo>
                      <a:pt x="45" y="71"/>
                    </a:lnTo>
                    <a:lnTo>
                      <a:pt x="58" y="58"/>
                    </a:lnTo>
                    <a:lnTo>
                      <a:pt x="72" y="45"/>
                    </a:lnTo>
                    <a:lnTo>
                      <a:pt x="87" y="33"/>
                    </a:lnTo>
                    <a:lnTo>
                      <a:pt x="103" y="24"/>
                    </a:lnTo>
                    <a:lnTo>
                      <a:pt x="119" y="16"/>
                    </a:lnTo>
                    <a:lnTo>
                      <a:pt x="137" y="9"/>
                    </a:lnTo>
                    <a:lnTo>
                      <a:pt x="156" y="5"/>
                    </a:lnTo>
                    <a:lnTo>
                      <a:pt x="175" y="1"/>
                    </a:lnTo>
                    <a:lnTo>
                      <a:pt x="195" y="0"/>
                    </a:lnTo>
                    <a:lnTo>
                      <a:pt x="1345" y="0"/>
                    </a:lnTo>
                    <a:lnTo>
                      <a:pt x="1345" y="0"/>
                    </a:lnTo>
                    <a:lnTo>
                      <a:pt x="1364" y="1"/>
                    </a:lnTo>
                    <a:lnTo>
                      <a:pt x="1384" y="5"/>
                    </a:lnTo>
                    <a:lnTo>
                      <a:pt x="1402" y="9"/>
                    </a:lnTo>
                    <a:lnTo>
                      <a:pt x="1421" y="16"/>
                    </a:lnTo>
                    <a:lnTo>
                      <a:pt x="1437" y="24"/>
                    </a:lnTo>
                    <a:lnTo>
                      <a:pt x="1453" y="33"/>
                    </a:lnTo>
                    <a:lnTo>
                      <a:pt x="1468" y="45"/>
                    </a:lnTo>
                    <a:lnTo>
                      <a:pt x="1482" y="58"/>
                    </a:lnTo>
                    <a:lnTo>
                      <a:pt x="1495" y="71"/>
                    </a:lnTo>
                    <a:lnTo>
                      <a:pt x="1506" y="86"/>
                    </a:lnTo>
                    <a:lnTo>
                      <a:pt x="1515" y="101"/>
                    </a:lnTo>
                    <a:lnTo>
                      <a:pt x="1523" y="119"/>
                    </a:lnTo>
                    <a:lnTo>
                      <a:pt x="1530" y="137"/>
                    </a:lnTo>
                    <a:lnTo>
                      <a:pt x="1535" y="156"/>
                    </a:lnTo>
                    <a:lnTo>
                      <a:pt x="1538" y="175"/>
                    </a:lnTo>
                    <a:lnTo>
                      <a:pt x="1539" y="195"/>
                    </a:lnTo>
                    <a:lnTo>
                      <a:pt x="1539" y="195"/>
                    </a:lnTo>
                    <a:close/>
                  </a:path>
                </a:pathLst>
              </a:custGeom>
              <a:solidFill>
                <a:srgbClr val="7F89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35" name="자유형 1134"/>
              <p:cNvSpPr>
                <a:spLocks/>
              </p:cNvSpPr>
              <p:nvPr userDrawn="1"/>
            </p:nvSpPr>
            <p:spPr bwMode="auto">
              <a:xfrm rot="20844360">
                <a:off x="2319137" y="3873483"/>
                <a:ext cx="6859213" cy="1077879"/>
              </a:xfrm>
              <a:custGeom>
                <a:avLst/>
                <a:gdLst>
                  <a:gd name="connsiteX0" fmla="*/ 6859213 w 6859213"/>
                  <a:gd name="connsiteY0" fmla="*/ 759856 h 1077879"/>
                  <a:gd name="connsiteX1" fmla="*/ 6803920 w 6859213"/>
                  <a:gd name="connsiteY1" fmla="*/ 1007346 h 1077879"/>
                  <a:gd name="connsiteX2" fmla="*/ 6779777 w 6859213"/>
                  <a:gd name="connsiteY2" fmla="*/ 1009121 h 1077879"/>
                  <a:gd name="connsiteX3" fmla="*/ 6582190 w 6859213"/>
                  <a:gd name="connsiteY3" fmla="*/ 1020244 h 1077879"/>
                  <a:gd name="connsiteX4" fmla="*/ 6378523 w 6859213"/>
                  <a:gd name="connsiteY4" fmla="*/ 1032377 h 1077879"/>
                  <a:gd name="connsiteX5" fmla="*/ 6169790 w 6859213"/>
                  <a:gd name="connsiteY5" fmla="*/ 1042489 h 1077879"/>
                  <a:gd name="connsiteX6" fmla="*/ 5957004 w 6859213"/>
                  <a:gd name="connsiteY6" fmla="*/ 1051589 h 1077879"/>
                  <a:gd name="connsiteX7" fmla="*/ 5739151 w 6859213"/>
                  <a:gd name="connsiteY7" fmla="*/ 1059678 h 1077879"/>
                  <a:gd name="connsiteX8" fmla="*/ 5517247 w 6859213"/>
                  <a:gd name="connsiteY8" fmla="*/ 1065745 h 1077879"/>
                  <a:gd name="connsiteX9" fmla="*/ 5290275 w 6859213"/>
                  <a:gd name="connsiteY9" fmla="*/ 1071812 h 1077879"/>
                  <a:gd name="connsiteX10" fmla="*/ 5060261 w 6859213"/>
                  <a:gd name="connsiteY10" fmla="*/ 1074845 h 1077879"/>
                  <a:gd name="connsiteX11" fmla="*/ 4828224 w 6859213"/>
                  <a:gd name="connsiteY11" fmla="*/ 1077879 h 1077879"/>
                  <a:gd name="connsiteX12" fmla="*/ 4592131 w 6859213"/>
                  <a:gd name="connsiteY12" fmla="*/ 1077879 h 1077879"/>
                  <a:gd name="connsiteX13" fmla="*/ 4355027 w 6859213"/>
                  <a:gd name="connsiteY13" fmla="*/ 1077878 h 1077879"/>
                  <a:gd name="connsiteX14" fmla="*/ 4122989 w 6859213"/>
                  <a:gd name="connsiteY14" fmla="*/ 1074846 h 1077879"/>
                  <a:gd name="connsiteX15" fmla="*/ 3892976 w 6859213"/>
                  <a:gd name="connsiteY15" fmla="*/ 1071811 h 1077879"/>
                  <a:gd name="connsiteX16" fmla="*/ 3667017 w 6859213"/>
                  <a:gd name="connsiteY16" fmla="*/ 1065745 h 1077879"/>
                  <a:gd name="connsiteX17" fmla="*/ 3444100 w 6859213"/>
                  <a:gd name="connsiteY17" fmla="*/ 1059678 h 1077879"/>
                  <a:gd name="connsiteX18" fmla="*/ 3227259 w 6859213"/>
                  <a:gd name="connsiteY18" fmla="*/ 1051589 h 1077879"/>
                  <a:gd name="connsiteX19" fmla="*/ 3013459 w 6859213"/>
                  <a:gd name="connsiteY19" fmla="*/ 1042488 h 1077879"/>
                  <a:gd name="connsiteX20" fmla="*/ 2804728 w 6859213"/>
                  <a:gd name="connsiteY20" fmla="*/ 1032378 h 1077879"/>
                  <a:gd name="connsiteX21" fmla="*/ 2602072 w 6859213"/>
                  <a:gd name="connsiteY21" fmla="*/ 1020244 h 1077879"/>
                  <a:gd name="connsiteX22" fmla="*/ 2403472 w 6859213"/>
                  <a:gd name="connsiteY22" fmla="*/ 1009121 h 1077879"/>
                  <a:gd name="connsiteX23" fmla="*/ 2210953 w 6859213"/>
                  <a:gd name="connsiteY23" fmla="*/ 994965 h 1077879"/>
                  <a:gd name="connsiteX24" fmla="*/ 2064484 w 6859213"/>
                  <a:gd name="connsiteY24" fmla="*/ 983049 h 1077879"/>
                  <a:gd name="connsiteX25" fmla="*/ 3071 w 6859213"/>
                  <a:gd name="connsiteY25" fmla="*/ 522496 h 1077879"/>
                  <a:gd name="connsiteX26" fmla="*/ 1013 w 6859213"/>
                  <a:gd name="connsiteY26" fmla="*/ 517705 h 1077879"/>
                  <a:gd name="connsiteX27" fmla="*/ 0 w 6859213"/>
                  <a:gd name="connsiteY27" fmla="*/ 509616 h 1077879"/>
                  <a:gd name="connsiteX28" fmla="*/ 0 w 6859213"/>
                  <a:gd name="connsiteY28" fmla="*/ 502538 h 1077879"/>
                  <a:gd name="connsiteX29" fmla="*/ 0 w 6859213"/>
                  <a:gd name="connsiteY29" fmla="*/ 492427 h 1077879"/>
                  <a:gd name="connsiteX30" fmla="*/ 3041 w 6859213"/>
                  <a:gd name="connsiteY30" fmla="*/ 481303 h 1077879"/>
                  <a:gd name="connsiteX31" fmla="*/ 6080 w 6859213"/>
                  <a:gd name="connsiteY31" fmla="*/ 472204 h 1077879"/>
                  <a:gd name="connsiteX32" fmla="*/ 11146 w 6859213"/>
                  <a:gd name="connsiteY32" fmla="*/ 462092 h 1077879"/>
                  <a:gd name="connsiteX33" fmla="*/ 17226 w 6859213"/>
                  <a:gd name="connsiteY33" fmla="*/ 451980 h 1077879"/>
                  <a:gd name="connsiteX34" fmla="*/ 24319 w 6859213"/>
                  <a:gd name="connsiteY34" fmla="*/ 441870 h 1077879"/>
                  <a:gd name="connsiteX35" fmla="*/ 34451 w 6859213"/>
                  <a:gd name="connsiteY35" fmla="*/ 432769 h 1077879"/>
                  <a:gd name="connsiteX36" fmla="*/ 43570 w 6859213"/>
                  <a:gd name="connsiteY36" fmla="*/ 421647 h 1077879"/>
                  <a:gd name="connsiteX37" fmla="*/ 54717 w 6859213"/>
                  <a:gd name="connsiteY37" fmla="*/ 412546 h 1077879"/>
                  <a:gd name="connsiteX38" fmla="*/ 67889 w 6859213"/>
                  <a:gd name="connsiteY38" fmla="*/ 403446 h 1077879"/>
                  <a:gd name="connsiteX39" fmla="*/ 82075 w 6859213"/>
                  <a:gd name="connsiteY39" fmla="*/ 393334 h 1077879"/>
                  <a:gd name="connsiteX40" fmla="*/ 97275 w 6859213"/>
                  <a:gd name="connsiteY40" fmla="*/ 383222 h 1077879"/>
                  <a:gd name="connsiteX41" fmla="*/ 130712 w 6859213"/>
                  <a:gd name="connsiteY41" fmla="*/ 365023 h 1077879"/>
                  <a:gd name="connsiteX42" fmla="*/ 170230 w 6859213"/>
                  <a:gd name="connsiteY42" fmla="*/ 346822 h 1077879"/>
                  <a:gd name="connsiteX43" fmla="*/ 213800 w 6859213"/>
                  <a:gd name="connsiteY43" fmla="*/ 327610 h 1077879"/>
                  <a:gd name="connsiteX44" fmla="*/ 262437 w 6859213"/>
                  <a:gd name="connsiteY44" fmla="*/ 309409 h 1077879"/>
                  <a:gd name="connsiteX45" fmla="*/ 316140 w 6859213"/>
                  <a:gd name="connsiteY45" fmla="*/ 292220 h 1077879"/>
                  <a:gd name="connsiteX46" fmla="*/ 374909 w 6859213"/>
                  <a:gd name="connsiteY46" fmla="*/ 274019 h 1077879"/>
                  <a:gd name="connsiteX47" fmla="*/ 436719 w 6859213"/>
                  <a:gd name="connsiteY47" fmla="*/ 256830 h 1077879"/>
                  <a:gd name="connsiteX48" fmla="*/ 502581 w 6859213"/>
                  <a:gd name="connsiteY48" fmla="*/ 239642 h 1077879"/>
                  <a:gd name="connsiteX49" fmla="*/ 574523 w 6859213"/>
                  <a:gd name="connsiteY49" fmla="*/ 223462 h 1077879"/>
                  <a:gd name="connsiteX50" fmla="*/ 649505 w 6859213"/>
                  <a:gd name="connsiteY50" fmla="*/ 206272 h 1077879"/>
                  <a:gd name="connsiteX51" fmla="*/ 729553 w 6859213"/>
                  <a:gd name="connsiteY51" fmla="*/ 190095 h 1077879"/>
                  <a:gd name="connsiteX52" fmla="*/ 812642 w 6859213"/>
                  <a:gd name="connsiteY52" fmla="*/ 174928 h 1077879"/>
                  <a:gd name="connsiteX53" fmla="*/ 899782 w 6859213"/>
                  <a:gd name="connsiteY53" fmla="*/ 159760 h 1077879"/>
                  <a:gd name="connsiteX54" fmla="*/ 991990 w 6859213"/>
                  <a:gd name="connsiteY54" fmla="*/ 144593 h 1077879"/>
                  <a:gd name="connsiteX55" fmla="*/ 1086223 w 6859213"/>
                  <a:gd name="connsiteY55" fmla="*/ 129426 h 1077879"/>
                  <a:gd name="connsiteX56" fmla="*/ 1184510 w 6859213"/>
                  <a:gd name="connsiteY56" fmla="*/ 116281 h 1077879"/>
                  <a:gd name="connsiteX57" fmla="*/ 1286851 w 6859213"/>
                  <a:gd name="connsiteY57" fmla="*/ 103137 h 1077879"/>
                  <a:gd name="connsiteX58" fmla="*/ 1393244 w 6859213"/>
                  <a:gd name="connsiteY58" fmla="*/ 88980 h 1077879"/>
                  <a:gd name="connsiteX59" fmla="*/ 1501663 w 6859213"/>
                  <a:gd name="connsiteY59" fmla="*/ 76848 h 1077879"/>
                  <a:gd name="connsiteX60" fmla="*/ 1613123 w 6859213"/>
                  <a:gd name="connsiteY60" fmla="*/ 63701 h 1077879"/>
                  <a:gd name="connsiteX61" fmla="*/ 1728635 w 6859213"/>
                  <a:gd name="connsiteY61" fmla="*/ 51568 h 1077879"/>
                  <a:gd name="connsiteX62" fmla="*/ 1848201 w 6859213"/>
                  <a:gd name="connsiteY62" fmla="*/ 40445 h 1077879"/>
                  <a:gd name="connsiteX63" fmla="*/ 1969794 w 6859213"/>
                  <a:gd name="connsiteY63" fmla="*/ 29323 h 1077879"/>
                  <a:gd name="connsiteX64" fmla="*/ 2094425 w 6859213"/>
                  <a:gd name="connsiteY64" fmla="*/ 19211 h 1077879"/>
                  <a:gd name="connsiteX65" fmla="*/ 2221084 w 6859213"/>
                  <a:gd name="connsiteY65" fmla="*/ 9100 h 1077879"/>
                  <a:gd name="connsiteX66" fmla="*/ 2351797 w 6859213"/>
                  <a:gd name="connsiteY66" fmla="*/ 0 h 1077879"/>
                  <a:gd name="connsiteX67" fmla="*/ 2339637 w 6859213"/>
                  <a:gd name="connsiteY67" fmla="*/ 76846 h 1077879"/>
                  <a:gd name="connsiteX68" fmla="*/ 2333558 w 6859213"/>
                  <a:gd name="connsiteY68" fmla="*/ 116282 h 1077879"/>
                  <a:gd name="connsiteX69" fmla="*/ 2327478 w 6859213"/>
                  <a:gd name="connsiteY69" fmla="*/ 154705 h 1077879"/>
                  <a:gd name="connsiteX70" fmla="*/ 2229191 w 6859213"/>
                  <a:gd name="connsiteY70" fmla="*/ 169872 h 1077879"/>
                  <a:gd name="connsiteX71" fmla="*/ 2134957 w 6859213"/>
                  <a:gd name="connsiteY71" fmla="*/ 186050 h 1077879"/>
                  <a:gd name="connsiteX72" fmla="*/ 2046801 w 6859213"/>
                  <a:gd name="connsiteY72" fmla="*/ 202228 h 1077879"/>
                  <a:gd name="connsiteX73" fmla="*/ 1963715 w 6859213"/>
                  <a:gd name="connsiteY73" fmla="*/ 218406 h 1077879"/>
                  <a:gd name="connsiteX74" fmla="*/ 1885692 w 6859213"/>
                  <a:gd name="connsiteY74" fmla="*/ 235596 h 1077879"/>
                  <a:gd name="connsiteX75" fmla="*/ 1813751 w 6859213"/>
                  <a:gd name="connsiteY75" fmla="*/ 254808 h 1077879"/>
                  <a:gd name="connsiteX76" fmla="*/ 1747887 w 6859213"/>
                  <a:gd name="connsiteY76" fmla="*/ 273008 h 1077879"/>
                  <a:gd name="connsiteX77" fmla="*/ 1688105 w 6859213"/>
                  <a:gd name="connsiteY77" fmla="*/ 292220 h 1077879"/>
                  <a:gd name="connsiteX78" fmla="*/ 1634402 w 6859213"/>
                  <a:gd name="connsiteY78" fmla="*/ 311431 h 1077879"/>
                  <a:gd name="connsiteX79" fmla="*/ 1610084 w 6859213"/>
                  <a:gd name="connsiteY79" fmla="*/ 320532 h 1077879"/>
                  <a:gd name="connsiteX80" fmla="*/ 1587791 w 6859213"/>
                  <a:gd name="connsiteY80" fmla="*/ 331655 h 1077879"/>
                  <a:gd name="connsiteX81" fmla="*/ 1566514 w 6859213"/>
                  <a:gd name="connsiteY81" fmla="*/ 340756 h 1077879"/>
                  <a:gd name="connsiteX82" fmla="*/ 1547261 w 6859213"/>
                  <a:gd name="connsiteY82" fmla="*/ 350866 h 1077879"/>
                  <a:gd name="connsiteX83" fmla="*/ 1530035 w 6859213"/>
                  <a:gd name="connsiteY83" fmla="*/ 361989 h 1077879"/>
                  <a:gd name="connsiteX84" fmla="*/ 1514836 w 6859213"/>
                  <a:gd name="connsiteY84" fmla="*/ 372100 h 1077879"/>
                  <a:gd name="connsiteX85" fmla="*/ 1500651 w 6859213"/>
                  <a:gd name="connsiteY85" fmla="*/ 382212 h 1077879"/>
                  <a:gd name="connsiteX86" fmla="*/ 1488491 w 6859213"/>
                  <a:gd name="connsiteY86" fmla="*/ 393334 h 1077879"/>
                  <a:gd name="connsiteX87" fmla="*/ 1478360 w 6859213"/>
                  <a:gd name="connsiteY87" fmla="*/ 403446 h 1077879"/>
                  <a:gd name="connsiteX88" fmla="*/ 1469239 w 6859213"/>
                  <a:gd name="connsiteY88" fmla="*/ 413557 h 1077879"/>
                  <a:gd name="connsiteX89" fmla="*/ 1463159 w 6859213"/>
                  <a:gd name="connsiteY89" fmla="*/ 424680 h 1077879"/>
                  <a:gd name="connsiteX90" fmla="*/ 1457080 w 6859213"/>
                  <a:gd name="connsiteY90" fmla="*/ 435802 h 1077879"/>
                  <a:gd name="connsiteX91" fmla="*/ 1455053 w 6859213"/>
                  <a:gd name="connsiteY91" fmla="*/ 446925 h 1077879"/>
                  <a:gd name="connsiteX92" fmla="*/ 1454040 w 6859213"/>
                  <a:gd name="connsiteY92" fmla="*/ 458048 h 1077879"/>
                  <a:gd name="connsiteX93" fmla="*/ 1455053 w 6859213"/>
                  <a:gd name="connsiteY93" fmla="*/ 469170 h 1077879"/>
                  <a:gd name="connsiteX94" fmla="*/ 1458093 w 6859213"/>
                  <a:gd name="connsiteY94" fmla="*/ 480294 h 1077879"/>
                  <a:gd name="connsiteX95" fmla="*/ 1463160 w 6859213"/>
                  <a:gd name="connsiteY95" fmla="*/ 492427 h 1077879"/>
                  <a:gd name="connsiteX96" fmla="*/ 1470252 w 6859213"/>
                  <a:gd name="connsiteY96" fmla="*/ 502538 h 1077879"/>
                  <a:gd name="connsiteX97" fmla="*/ 1479373 w 6859213"/>
                  <a:gd name="connsiteY97" fmla="*/ 513660 h 1077879"/>
                  <a:gd name="connsiteX98" fmla="*/ 1489504 w 6859213"/>
                  <a:gd name="connsiteY98" fmla="*/ 524783 h 1077879"/>
                  <a:gd name="connsiteX99" fmla="*/ 1502677 w 6859213"/>
                  <a:gd name="connsiteY99" fmla="*/ 534895 h 1077879"/>
                  <a:gd name="connsiteX100" fmla="*/ 1517876 w 6859213"/>
                  <a:gd name="connsiteY100" fmla="*/ 545006 h 1077879"/>
                  <a:gd name="connsiteX101" fmla="*/ 1534088 w 6859213"/>
                  <a:gd name="connsiteY101" fmla="*/ 557140 h 1077879"/>
                  <a:gd name="connsiteX102" fmla="*/ 1553341 w 6859213"/>
                  <a:gd name="connsiteY102" fmla="*/ 567251 h 1077879"/>
                  <a:gd name="connsiteX103" fmla="*/ 1572592 w 6859213"/>
                  <a:gd name="connsiteY103" fmla="*/ 578374 h 1077879"/>
                  <a:gd name="connsiteX104" fmla="*/ 1594884 w 6859213"/>
                  <a:gd name="connsiteY104" fmla="*/ 587474 h 1077879"/>
                  <a:gd name="connsiteX105" fmla="*/ 1618190 w 6859213"/>
                  <a:gd name="connsiteY105" fmla="*/ 597586 h 1077879"/>
                  <a:gd name="connsiteX106" fmla="*/ 1643521 w 6859213"/>
                  <a:gd name="connsiteY106" fmla="*/ 608708 h 1077879"/>
                  <a:gd name="connsiteX107" fmla="*/ 1700264 w 6859213"/>
                  <a:gd name="connsiteY107" fmla="*/ 627920 h 1077879"/>
                  <a:gd name="connsiteX108" fmla="*/ 1763086 w 6859213"/>
                  <a:gd name="connsiteY108" fmla="*/ 648142 h 1077879"/>
                  <a:gd name="connsiteX109" fmla="*/ 1833002 w 6859213"/>
                  <a:gd name="connsiteY109" fmla="*/ 666344 h 1077879"/>
                  <a:gd name="connsiteX110" fmla="*/ 1908998 w 6859213"/>
                  <a:gd name="connsiteY110" fmla="*/ 685555 h 1077879"/>
                  <a:gd name="connsiteX111" fmla="*/ 1989046 w 6859213"/>
                  <a:gd name="connsiteY111" fmla="*/ 702745 h 1077879"/>
                  <a:gd name="connsiteX112" fmla="*/ 2076186 w 6859213"/>
                  <a:gd name="connsiteY112" fmla="*/ 719933 h 1077879"/>
                  <a:gd name="connsiteX113" fmla="*/ 2170420 w 6859213"/>
                  <a:gd name="connsiteY113" fmla="*/ 736112 h 1077879"/>
                  <a:gd name="connsiteX114" fmla="*/ 2268709 w 6859213"/>
                  <a:gd name="connsiteY114" fmla="*/ 751279 h 1077879"/>
                  <a:gd name="connsiteX115" fmla="*/ 2373074 w 6859213"/>
                  <a:gd name="connsiteY115" fmla="*/ 767457 h 1077879"/>
                  <a:gd name="connsiteX116" fmla="*/ 2481495 w 6859213"/>
                  <a:gd name="connsiteY116" fmla="*/ 781613 h 1077879"/>
                  <a:gd name="connsiteX117" fmla="*/ 2595995 w 6859213"/>
                  <a:gd name="connsiteY117" fmla="*/ 795769 h 1077879"/>
                  <a:gd name="connsiteX118" fmla="*/ 2714545 w 6859213"/>
                  <a:gd name="connsiteY118" fmla="*/ 808915 h 1077879"/>
                  <a:gd name="connsiteX119" fmla="*/ 2837152 w 6859213"/>
                  <a:gd name="connsiteY119" fmla="*/ 820037 h 1077879"/>
                  <a:gd name="connsiteX120" fmla="*/ 2964824 w 6859213"/>
                  <a:gd name="connsiteY120" fmla="*/ 832171 h 1077879"/>
                  <a:gd name="connsiteX121" fmla="*/ 3096549 w 6859213"/>
                  <a:gd name="connsiteY121" fmla="*/ 842282 h 1077879"/>
                  <a:gd name="connsiteX122" fmla="*/ 3231313 w 6859213"/>
                  <a:gd name="connsiteY122" fmla="*/ 852393 h 1077879"/>
                  <a:gd name="connsiteX123" fmla="*/ 3370130 w 6859213"/>
                  <a:gd name="connsiteY123" fmla="*/ 861494 h 1077879"/>
                  <a:gd name="connsiteX124" fmla="*/ 3513002 w 6859213"/>
                  <a:gd name="connsiteY124" fmla="*/ 869584 h 1077879"/>
                  <a:gd name="connsiteX125" fmla="*/ 3658913 w 6859213"/>
                  <a:gd name="connsiteY125" fmla="*/ 875650 h 1077879"/>
                  <a:gd name="connsiteX126" fmla="*/ 3807863 w 6859213"/>
                  <a:gd name="connsiteY126" fmla="*/ 881717 h 1077879"/>
                  <a:gd name="connsiteX127" fmla="*/ 3959852 w 6859213"/>
                  <a:gd name="connsiteY127" fmla="*/ 886773 h 1077879"/>
                  <a:gd name="connsiteX128" fmla="*/ 4113869 w 6859213"/>
                  <a:gd name="connsiteY128" fmla="*/ 889806 h 1077879"/>
                  <a:gd name="connsiteX129" fmla="*/ 4270927 w 6859213"/>
                  <a:gd name="connsiteY129" fmla="*/ 893850 h 1077879"/>
                  <a:gd name="connsiteX130" fmla="*/ 4431022 w 6859213"/>
                  <a:gd name="connsiteY130" fmla="*/ 894862 h 1077879"/>
                  <a:gd name="connsiteX131" fmla="*/ 4592131 w 6859213"/>
                  <a:gd name="connsiteY131" fmla="*/ 895873 h 1077879"/>
                  <a:gd name="connsiteX132" fmla="*/ 4752228 w 6859213"/>
                  <a:gd name="connsiteY132" fmla="*/ 894862 h 1077879"/>
                  <a:gd name="connsiteX133" fmla="*/ 4912325 w 6859213"/>
                  <a:gd name="connsiteY133" fmla="*/ 893850 h 1077879"/>
                  <a:gd name="connsiteX134" fmla="*/ 5070394 w 6859213"/>
                  <a:gd name="connsiteY134" fmla="*/ 889806 h 1077879"/>
                  <a:gd name="connsiteX135" fmla="*/ 5224411 w 6859213"/>
                  <a:gd name="connsiteY135" fmla="*/ 886773 h 1077879"/>
                  <a:gd name="connsiteX136" fmla="*/ 5375389 w 6859213"/>
                  <a:gd name="connsiteY136" fmla="*/ 881717 h 1077879"/>
                  <a:gd name="connsiteX137" fmla="*/ 5525351 w 6859213"/>
                  <a:gd name="connsiteY137" fmla="*/ 875649 h 1077879"/>
                  <a:gd name="connsiteX138" fmla="*/ 5671263 w 6859213"/>
                  <a:gd name="connsiteY138" fmla="*/ 869583 h 1077879"/>
                  <a:gd name="connsiteX139" fmla="*/ 5813120 w 6859213"/>
                  <a:gd name="connsiteY139" fmla="*/ 861494 h 1077879"/>
                  <a:gd name="connsiteX140" fmla="*/ 5951939 w 6859213"/>
                  <a:gd name="connsiteY140" fmla="*/ 852393 h 1077879"/>
                  <a:gd name="connsiteX141" fmla="*/ 6087716 w 6859213"/>
                  <a:gd name="connsiteY141" fmla="*/ 842282 h 1077879"/>
                  <a:gd name="connsiteX142" fmla="*/ 6219439 w 6859213"/>
                  <a:gd name="connsiteY142" fmla="*/ 832171 h 1077879"/>
                  <a:gd name="connsiteX143" fmla="*/ 6346099 w 6859213"/>
                  <a:gd name="connsiteY143" fmla="*/ 820037 h 1077879"/>
                  <a:gd name="connsiteX144" fmla="*/ 6468705 w 6859213"/>
                  <a:gd name="connsiteY144" fmla="*/ 808914 h 1077879"/>
                  <a:gd name="connsiteX145" fmla="*/ 6587256 w 6859213"/>
                  <a:gd name="connsiteY145" fmla="*/ 795769 h 1077879"/>
                  <a:gd name="connsiteX146" fmla="*/ 6701757 w 6859213"/>
                  <a:gd name="connsiteY146" fmla="*/ 781613 h 1077879"/>
                  <a:gd name="connsiteX147" fmla="*/ 6810175 w 6859213"/>
                  <a:gd name="connsiteY147" fmla="*/ 767457 h 1077879"/>
                  <a:gd name="connsiteX148" fmla="*/ 6859213 w 6859213"/>
                  <a:gd name="connsiteY148" fmla="*/ 759856 h 107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Lst>
                <a:rect l="l" t="t" r="r" b="b"/>
                <a:pathLst>
                  <a:path w="6859213" h="1077879">
                    <a:moveTo>
                      <a:pt x="6859213" y="759856"/>
                    </a:moveTo>
                    <a:lnTo>
                      <a:pt x="6803920" y="1007346"/>
                    </a:lnTo>
                    <a:lnTo>
                      <a:pt x="6779777" y="1009121"/>
                    </a:lnTo>
                    <a:lnTo>
                      <a:pt x="6582190" y="1020244"/>
                    </a:lnTo>
                    <a:lnTo>
                      <a:pt x="6378523" y="1032377"/>
                    </a:lnTo>
                    <a:lnTo>
                      <a:pt x="6169790" y="1042489"/>
                    </a:lnTo>
                    <a:lnTo>
                      <a:pt x="5957004" y="1051589"/>
                    </a:lnTo>
                    <a:lnTo>
                      <a:pt x="5739151" y="1059678"/>
                    </a:lnTo>
                    <a:lnTo>
                      <a:pt x="5517247" y="1065745"/>
                    </a:lnTo>
                    <a:lnTo>
                      <a:pt x="5290275" y="1071812"/>
                    </a:lnTo>
                    <a:lnTo>
                      <a:pt x="5060261" y="1074845"/>
                    </a:lnTo>
                    <a:lnTo>
                      <a:pt x="4828224" y="1077879"/>
                    </a:lnTo>
                    <a:lnTo>
                      <a:pt x="4592131" y="1077879"/>
                    </a:lnTo>
                    <a:lnTo>
                      <a:pt x="4355027" y="1077878"/>
                    </a:lnTo>
                    <a:lnTo>
                      <a:pt x="4122989" y="1074846"/>
                    </a:lnTo>
                    <a:lnTo>
                      <a:pt x="3892976" y="1071811"/>
                    </a:lnTo>
                    <a:lnTo>
                      <a:pt x="3667017" y="1065745"/>
                    </a:lnTo>
                    <a:lnTo>
                      <a:pt x="3444100" y="1059678"/>
                    </a:lnTo>
                    <a:lnTo>
                      <a:pt x="3227259" y="1051589"/>
                    </a:lnTo>
                    <a:lnTo>
                      <a:pt x="3013459" y="1042488"/>
                    </a:lnTo>
                    <a:lnTo>
                      <a:pt x="2804728" y="1032378"/>
                    </a:lnTo>
                    <a:lnTo>
                      <a:pt x="2602072" y="1020244"/>
                    </a:lnTo>
                    <a:lnTo>
                      <a:pt x="2403472" y="1009121"/>
                    </a:lnTo>
                    <a:lnTo>
                      <a:pt x="2210953" y="994965"/>
                    </a:lnTo>
                    <a:lnTo>
                      <a:pt x="2064484" y="983049"/>
                    </a:lnTo>
                    <a:lnTo>
                      <a:pt x="3071" y="522496"/>
                    </a:lnTo>
                    <a:lnTo>
                      <a:pt x="1013" y="517705"/>
                    </a:lnTo>
                    <a:lnTo>
                      <a:pt x="0" y="509616"/>
                    </a:lnTo>
                    <a:lnTo>
                      <a:pt x="0" y="502538"/>
                    </a:lnTo>
                    <a:lnTo>
                      <a:pt x="0" y="492427"/>
                    </a:lnTo>
                    <a:lnTo>
                      <a:pt x="3041" y="481303"/>
                    </a:lnTo>
                    <a:lnTo>
                      <a:pt x="6080" y="472204"/>
                    </a:lnTo>
                    <a:lnTo>
                      <a:pt x="11146" y="462092"/>
                    </a:lnTo>
                    <a:lnTo>
                      <a:pt x="17226" y="451980"/>
                    </a:lnTo>
                    <a:lnTo>
                      <a:pt x="24319" y="441870"/>
                    </a:lnTo>
                    <a:lnTo>
                      <a:pt x="34451" y="432769"/>
                    </a:lnTo>
                    <a:lnTo>
                      <a:pt x="43570" y="421647"/>
                    </a:lnTo>
                    <a:lnTo>
                      <a:pt x="54717" y="412546"/>
                    </a:lnTo>
                    <a:lnTo>
                      <a:pt x="67889" y="403446"/>
                    </a:lnTo>
                    <a:lnTo>
                      <a:pt x="82075" y="393334"/>
                    </a:lnTo>
                    <a:lnTo>
                      <a:pt x="97275" y="383222"/>
                    </a:lnTo>
                    <a:lnTo>
                      <a:pt x="130712" y="365023"/>
                    </a:lnTo>
                    <a:lnTo>
                      <a:pt x="170230" y="346822"/>
                    </a:lnTo>
                    <a:lnTo>
                      <a:pt x="213800" y="327610"/>
                    </a:lnTo>
                    <a:lnTo>
                      <a:pt x="262437" y="309409"/>
                    </a:lnTo>
                    <a:lnTo>
                      <a:pt x="316140" y="292220"/>
                    </a:lnTo>
                    <a:lnTo>
                      <a:pt x="374909" y="274019"/>
                    </a:lnTo>
                    <a:lnTo>
                      <a:pt x="436719" y="256830"/>
                    </a:lnTo>
                    <a:lnTo>
                      <a:pt x="502581" y="239642"/>
                    </a:lnTo>
                    <a:lnTo>
                      <a:pt x="574523" y="223462"/>
                    </a:lnTo>
                    <a:lnTo>
                      <a:pt x="649505" y="206272"/>
                    </a:lnTo>
                    <a:lnTo>
                      <a:pt x="729553" y="190095"/>
                    </a:lnTo>
                    <a:lnTo>
                      <a:pt x="812642" y="174928"/>
                    </a:lnTo>
                    <a:lnTo>
                      <a:pt x="899782" y="159760"/>
                    </a:lnTo>
                    <a:lnTo>
                      <a:pt x="991990" y="144593"/>
                    </a:lnTo>
                    <a:lnTo>
                      <a:pt x="1086223" y="129426"/>
                    </a:lnTo>
                    <a:lnTo>
                      <a:pt x="1184510" y="116281"/>
                    </a:lnTo>
                    <a:lnTo>
                      <a:pt x="1286851" y="103137"/>
                    </a:lnTo>
                    <a:lnTo>
                      <a:pt x="1393244" y="88980"/>
                    </a:lnTo>
                    <a:lnTo>
                      <a:pt x="1501663" y="76848"/>
                    </a:lnTo>
                    <a:lnTo>
                      <a:pt x="1613123" y="63701"/>
                    </a:lnTo>
                    <a:lnTo>
                      <a:pt x="1728635" y="51568"/>
                    </a:lnTo>
                    <a:lnTo>
                      <a:pt x="1848201" y="40445"/>
                    </a:lnTo>
                    <a:lnTo>
                      <a:pt x="1969794" y="29323"/>
                    </a:lnTo>
                    <a:lnTo>
                      <a:pt x="2094425" y="19211"/>
                    </a:lnTo>
                    <a:lnTo>
                      <a:pt x="2221084" y="9100"/>
                    </a:lnTo>
                    <a:lnTo>
                      <a:pt x="2351797" y="0"/>
                    </a:lnTo>
                    <a:lnTo>
                      <a:pt x="2339637" y="76846"/>
                    </a:lnTo>
                    <a:lnTo>
                      <a:pt x="2333558" y="116282"/>
                    </a:lnTo>
                    <a:lnTo>
                      <a:pt x="2327478" y="154705"/>
                    </a:lnTo>
                    <a:lnTo>
                      <a:pt x="2229191" y="169872"/>
                    </a:lnTo>
                    <a:lnTo>
                      <a:pt x="2134957" y="186050"/>
                    </a:lnTo>
                    <a:lnTo>
                      <a:pt x="2046801" y="202228"/>
                    </a:lnTo>
                    <a:lnTo>
                      <a:pt x="1963715" y="218406"/>
                    </a:lnTo>
                    <a:lnTo>
                      <a:pt x="1885692" y="235596"/>
                    </a:lnTo>
                    <a:lnTo>
                      <a:pt x="1813751" y="254808"/>
                    </a:lnTo>
                    <a:lnTo>
                      <a:pt x="1747887" y="273008"/>
                    </a:lnTo>
                    <a:lnTo>
                      <a:pt x="1688105" y="292220"/>
                    </a:lnTo>
                    <a:lnTo>
                      <a:pt x="1634402" y="311431"/>
                    </a:lnTo>
                    <a:lnTo>
                      <a:pt x="1610084" y="320532"/>
                    </a:lnTo>
                    <a:lnTo>
                      <a:pt x="1587791" y="331655"/>
                    </a:lnTo>
                    <a:lnTo>
                      <a:pt x="1566514" y="340756"/>
                    </a:lnTo>
                    <a:lnTo>
                      <a:pt x="1547261" y="350866"/>
                    </a:lnTo>
                    <a:lnTo>
                      <a:pt x="1530035" y="361989"/>
                    </a:lnTo>
                    <a:lnTo>
                      <a:pt x="1514836" y="372100"/>
                    </a:lnTo>
                    <a:lnTo>
                      <a:pt x="1500651" y="382212"/>
                    </a:lnTo>
                    <a:lnTo>
                      <a:pt x="1488491" y="393334"/>
                    </a:lnTo>
                    <a:lnTo>
                      <a:pt x="1478360" y="403446"/>
                    </a:lnTo>
                    <a:lnTo>
                      <a:pt x="1469239" y="413557"/>
                    </a:lnTo>
                    <a:lnTo>
                      <a:pt x="1463159" y="424680"/>
                    </a:lnTo>
                    <a:lnTo>
                      <a:pt x="1457080" y="435802"/>
                    </a:lnTo>
                    <a:lnTo>
                      <a:pt x="1455053" y="446925"/>
                    </a:lnTo>
                    <a:lnTo>
                      <a:pt x="1454040" y="458048"/>
                    </a:lnTo>
                    <a:lnTo>
                      <a:pt x="1455053" y="469170"/>
                    </a:lnTo>
                    <a:lnTo>
                      <a:pt x="1458093" y="480294"/>
                    </a:lnTo>
                    <a:lnTo>
                      <a:pt x="1463160" y="492427"/>
                    </a:lnTo>
                    <a:lnTo>
                      <a:pt x="1470252" y="502538"/>
                    </a:lnTo>
                    <a:lnTo>
                      <a:pt x="1479373" y="513660"/>
                    </a:lnTo>
                    <a:lnTo>
                      <a:pt x="1489504" y="524783"/>
                    </a:lnTo>
                    <a:lnTo>
                      <a:pt x="1502677" y="534895"/>
                    </a:lnTo>
                    <a:lnTo>
                      <a:pt x="1517876" y="545006"/>
                    </a:lnTo>
                    <a:lnTo>
                      <a:pt x="1534088" y="557140"/>
                    </a:lnTo>
                    <a:lnTo>
                      <a:pt x="1553341" y="567251"/>
                    </a:lnTo>
                    <a:lnTo>
                      <a:pt x="1572592" y="578374"/>
                    </a:lnTo>
                    <a:lnTo>
                      <a:pt x="1594884" y="587474"/>
                    </a:lnTo>
                    <a:lnTo>
                      <a:pt x="1618190" y="597586"/>
                    </a:lnTo>
                    <a:lnTo>
                      <a:pt x="1643521" y="608708"/>
                    </a:lnTo>
                    <a:lnTo>
                      <a:pt x="1700264" y="627920"/>
                    </a:lnTo>
                    <a:lnTo>
                      <a:pt x="1763086" y="648142"/>
                    </a:lnTo>
                    <a:lnTo>
                      <a:pt x="1833002" y="666344"/>
                    </a:lnTo>
                    <a:lnTo>
                      <a:pt x="1908998" y="685555"/>
                    </a:lnTo>
                    <a:lnTo>
                      <a:pt x="1989046" y="702745"/>
                    </a:lnTo>
                    <a:lnTo>
                      <a:pt x="2076186" y="719933"/>
                    </a:lnTo>
                    <a:lnTo>
                      <a:pt x="2170420" y="736112"/>
                    </a:lnTo>
                    <a:lnTo>
                      <a:pt x="2268709" y="751279"/>
                    </a:lnTo>
                    <a:lnTo>
                      <a:pt x="2373074" y="767457"/>
                    </a:lnTo>
                    <a:lnTo>
                      <a:pt x="2481495" y="781613"/>
                    </a:lnTo>
                    <a:lnTo>
                      <a:pt x="2595995" y="795769"/>
                    </a:lnTo>
                    <a:lnTo>
                      <a:pt x="2714545" y="808915"/>
                    </a:lnTo>
                    <a:lnTo>
                      <a:pt x="2837152" y="820037"/>
                    </a:lnTo>
                    <a:lnTo>
                      <a:pt x="2964824" y="832171"/>
                    </a:lnTo>
                    <a:lnTo>
                      <a:pt x="3096549" y="842282"/>
                    </a:lnTo>
                    <a:lnTo>
                      <a:pt x="3231313" y="852393"/>
                    </a:lnTo>
                    <a:lnTo>
                      <a:pt x="3370130" y="861494"/>
                    </a:lnTo>
                    <a:lnTo>
                      <a:pt x="3513002" y="869584"/>
                    </a:lnTo>
                    <a:lnTo>
                      <a:pt x="3658913" y="875650"/>
                    </a:lnTo>
                    <a:lnTo>
                      <a:pt x="3807863" y="881717"/>
                    </a:lnTo>
                    <a:lnTo>
                      <a:pt x="3959852" y="886773"/>
                    </a:lnTo>
                    <a:lnTo>
                      <a:pt x="4113869" y="889806"/>
                    </a:lnTo>
                    <a:lnTo>
                      <a:pt x="4270927" y="893850"/>
                    </a:lnTo>
                    <a:lnTo>
                      <a:pt x="4431022" y="894862"/>
                    </a:lnTo>
                    <a:lnTo>
                      <a:pt x="4592131" y="895873"/>
                    </a:lnTo>
                    <a:lnTo>
                      <a:pt x="4752228" y="894862"/>
                    </a:lnTo>
                    <a:lnTo>
                      <a:pt x="4912325" y="893850"/>
                    </a:lnTo>
                    <a:lnTo>
                      <a:pt x="5070394" y="889806"/>
                    </a:lnTo>
                    <a:lnTo>
                      <a:pt x="5224411" y="886773"/>
                    </a:lnTo>
                    <a:lnTo>
                      <a:pt x="5375389" y="881717"/>
                    </a:lnTo>
                    <a:lnTo>
                      <a:pt x="5525351" y="875649"/>
                    </a:lnTo>
                    <a:lnTo>
                      <a:pt x="5671263" y="869583"/>
                    </a:lnTo>
                    <a:lnTo>
                      <a:pt x="5813120" y="861494"/>
                    </a:lnTo>
                    <a:lnTo>
                      <a:pt x="5951939" y="852393"/>
                    </a:lnTo>
                    <a:lnTo>
                      <a:pt x="6087716" y="842282"/>
                    </a:lnTo>
                    <a:lnTo>
                      <a:pt x="6219439" y="832171"/>
                    </a:lnTo>
                    <a:lnTo>
                      <a:pt x="6346099" y="820037"/>
                    </a:lnTo>
                    <a:lnTo>
                      <a:pt x="6468705" y="808914"/>
                    </a:lnTo>
                    <a:lnTo>
                      <a:pt x="6587256" y="795769"/>
                    </a:lnTo>
                    <a:lnTo>
                      <a:pt x="6701757" y="781613"/>
                    </a:lnTo>
                    <a:lnTo>
                      <a:pt x="6810175" y="767457"/>
                    </a:lnTo>
                    <a:lnTo>
                      <a:pt x="6859213" y="759856"/>
                    </a:lnTo>
                    <a:close/>
                  </a:path>
                </a:pathLst>
              </a:custGeom>
              <a:solidFill>
                <a:srgbClr val="FFAF3B">
                  <a:alpha val="30000"/>
                </a:srgbClr>
              </a:solidFill>
              <a:ln>
                <a:noFill/>
              </a:ln>
            </p:spPr>
            <p:txBody>
              <a:bodyPr vert="horz" wrap="square" lIns="91440" tIns="45720" rIns="91440" bIns="45720" numCol="1" anchor="t" anchorCtr="0" compatLnSpc="1">
                <a:prstTxWarp prst="textNoShape">
                  <a:avLst/>
                </a:prstTxWarp>
                <a:noAutofit/>
              </a:bodyPr>
              <a:lstStyle/>
              <a:p>
                <a:endParaRPr lang="ko-KR" altLang="en-US" sz="2400"/>
              </a:p>
            </p:txBody>
          </p:sp>
          <p:grpSp>
            <p:nvGrpSpPr>
              <p:cNvPr id="7552" name="그룹 7551"/>
              <p:cNvGrpSpPr/>
              <p:nvPr userDrawn="1"/>
            </p:nvGrpSpPr>
            <p:grpSpPr>
              <a:xfrm>
                <a:off x="6379654" y="764935"/>
                <a:ext cx="1219814" cy="1671041"/>
                <a:chOff x="10759621" y="732924"/>
                <a:chExt cx="1677988" cy="2298700"/>
              </a:xfrm>
            </p:grpSpPr>
            <p:sp>
              <p:nvSpPr>
                <p:cNvPr id="7441" name="Freeform 288"/>
                <p:cNvSpPr>
                  <a:spLocks/>
                </p:cNvSpPr>
                <p:nvPr userDrawn="1"/>
              </p:nvSpPr>
              <p:spPr bwMode="auto">
                <a:xfrm>
                  <a:off x="10889796" y="1763211"/>
                  <a:ext cx="187325" cy="179388"/>
                </a:xfrm>
                <a:custGeom>
                  <a:avLst/>
                  <a:gdLst>
                    <a:gd name="T0" fmla="*/ 118 w 236"/>
                    <a:gd name="T1" fmla="*/ 187 h 225"/>
                    <a:gd name="T2" fmla="*/ 192 w 236"/>
                    <a:gd name="T3" fmla="*/ 225 h 225"/>
                    <a:gd name="T4" fmla="*/ 178 w 236"/>
                    <a:gd name="T5" fmla="*/ 144 h 225"/>
                    <a:gd name="T6" fmla="*/ 236 w 236"/>
                    <a:gd name="T7" fmla="*/ 87 h 225"/>
                    <a:gd name="T8" fmla="*/ 155 w 236"/>
                    <a:gd name="T9" fmla="*/ 75 h 225"/>
                    <a:gd name="T10" fmla="*/ 118 w 236"/>
                    <a:gd name="T11" fmla="*/ 0 h 225"/>
                    <a:gd name="T12" fmla="*/ 83 w 236"/>
                    <a:gd name="T13" fmla="*/ 75 h 225"/>
                    <a:gd name="T14" fmla="*/ 0 w 236"/>
                    <a:gd name="T15" fmla="*/ 87 h 225"/>
                    <a:gd name="T16" fmla="*/ 60 w 236"/>
                    <a:gd name="T17" fmla="*/ 144 h 225"/>
                    <a:gd name="T18" fmla="*/ 46 w 236"/>
                    <a:gd name="T19" fmla="*/ 225 h 225"/>
                    <a:gd name="T20" fmla="*/ 118 w 236"/>
                    <a:gd name="T21" fmla="*/ 187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6" h="225">
                      <a:moveTo>
                        <a:pt x="118" y="187"/>
                      </a:moveTo>
                      <a:lnTo>
                        <a:pt x="192" y="225"/>
                      </a:lnTo>
                      <a:lnTo>
                        <a:pt x="178" y="144"/>
                      </a:lnTo>
                      <a:lnTo>
                        <a:pt x="236" y="87"/>
                      </a:lnTo>
                      <a:lnTo>
                        <a:pt x="155" y="75"/>
                      </a:lnTo>
                      <a:lnTo>
                        <a:pt x="118" y="0"/>
                      </a:lnTo>
                      <a:lnTo>
                        <a:pt x="83" y="75"/>
                      </a:lnTo>
                      <a:lnTo>
                        <a:pt x="0" y="87"/>
                      </a:lnTo>
                      <a:lnTo>
                        <a:pt x="60" y="144"/>
                      </a:lnTo>
                      <a:lnTo>
                        <a:pt x="46" y="225"/>
                      </a:lnTo>
                      <a:lnTo>
                        <a:pt x="118" y="187"/>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2" name="Freeform 289"/>
                <p:cNvSpPr>
                  <a:spLocks/>
                </p:cNvSpPr>
                <p:nvPr userDrawn="1"/>
              </p:nvSpPr>
              <p:spPr bwMode="auto">
                <a:xfrm>
                  <a:off x="11664496" y="1147261"/>
                  <a:ext cx="144463" cy="134938"/>
                </a:xfrm>
                <a:custGeom>
                  <a:avLst/>
                  <a:gdLst>
                    <a:gd name="T0" fmla="*/ 90 w 180"/>
                    <a:gd name="T1" fmla="*/ 143 h 172"/>
                    <a:gd name="T2" fmla="*/ 146 w 180"/>
                    <a:gd name="T3" fmla="*/ 172 h 172"/>
                    <a:gd name="T4" fmla="*/ 135 w 180"/>
                    <a:gd name="T5" fmla="*/ 110 h 172"/>
                    <a:gd name="T6" fmla="*/ 180 w 180"/>
                    <a:gd name="T7" fmla="*/ 66 h 172"/>
                    <a:gd name="T8" fmla="*/ 119 w 180"/>
                    <a:gd name="T9" fmla="*/ 56 h 172"/>
                    <a:gd name="T10" fmla="*/ 90 w 180"/>
                    <a:gd name="T11" fmla="*/ 0 h 172"/>
                    <a:gd name="T12" fmla="*/ 63 w 180"/>
                    <a:gd name="T13" fmla="*/ 56 h 172"/>
                    <a:gd name="T14" fmla="*/ 0 w 180"/>
                    <a:gd name="T15" fmla="*/ 66 h 172"/>
                    <a:gd name="T16" fmla="*/ 45 w 180"/>
                    <a:gd name="T17" fmla="*/ 110 h 172"/>
                    <a:gd name="T18" fmla="*/ 34 w 180"/>
                    <a:gd name="T19" fmla="*/ 172 h 172"/>
                    <a:gd name="T20" fmla="*/ 90 w 180"/>
                    <a:gd name="T21" fmla="*/ 14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 h="172">
                      <a:moveTo>
                        <a:pt x="90" y="143"/>
                      </a:moveTo>
                      <a:lnTo>
                        <a:pt x="146" y="172"/>
                      </a:lnTo>
                      <a:lnTo>
                        <a:pt x="135" y="110"/>
                      </a:lnTo>
                      <a:lnTo>
                        <a:pt x="180" y="66"/>
                      </a:lnTo>
                      <a:lnTo>
                        <a:pt x="119" y="56"/>
                      </a:lnTo>
                      <a:lnTo>
                        <a:pt x="90" y="0"/>
                      </a:lnTo>
                      <a:lnTo>
                        <a:pt x="63" y="56"/>
                      </a:lnTo>
                      <a:lnTo>
                        <a:pt x="0" y="66"/>
                      </a:lnTo>
                      <a:lnTo>
                        <a:pt x="45" y="110"/>
                      </a:lnTo>
                      <a:lnTo>
                        <a:pt x="34" y="172"/>
                      </a:lnTo>
                      <a:lnTo>
                        <a:pt x="90" y="14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3" name="Freeform 290"/>
                <p:cNvSpPr>
                  <a:spLocks/>
                </p:cNvSpPr>
                <p:nvPr userDrawn="1"/>
              </p:nvSpPr>
              <p:spPr bwMode="auto">
                <a:xfrm>
                  <a:off x="12002633" y="2112461"/>
                  <a:ext cx="144463" cy="134938"/>
                </a:xfrm>
                <a:custGeom>
                  <a:avLst/>
                  <a:gdLst>
                    <a:gd name="T0" fmla="*/ 91 w 181"/>
                    <a:gd name="T1" fmla="*/ 141 h 171"/>
                    <a:gd name="T2" fmla="*/ 147 w 181"/>
                    <a:gd name="T3" fmla="*/ 171 h 171"/>
                    <a:gd name="T4" fmla="*/ 136 w 181"/>
                    <a:gd name="T5" fmla="*/ 109 h 171"/>
                    <a:gd name="T6" fmla="*/ 181 w 181"/>
                    <a:gd name="T7" fmla="*/ 65 h 171"/>
                    <a:gd name="T8" fmla="*/ 119 w 181"/>
                    <a:gd name="T9" fmla="*/ 55 h 171"/>
                    <a:gd name="T10" fmla="*/ 91 w 181"/>
                    <a:gd name="T11" fmla="*/ 0 h 171"/>
                    <a:gd name="T12" fmla="*/ 63 w 181"/>
                    <a:gd name="T13" fmla="*/ 55 h 171"/>
                    <a:gd name="T14" fmla="*/ 0 w 181"/>
                    <a:gd name="T15" fmla="*/ 65 h 171"/>
                    <a:gd name="T16" fmla="*/ 46 w 181"/>
                    <a:gd name="T17" fmla="*/ 109 h 171"/>
                    <a:gd name="T18" fmla="*/ 35 w 181"/>
                    <a:gd name="T19" fmla="*/ 171 h 171"/>
                    <a:gd name="T20" fmla="*/ 91 w 181"/>
                    <a:gd name="T21" fmla="*/ 14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1" h="171">
                      <a:moveTo>
                        <a:pt x="91" y="141"/>
                      </a:moveTo>
                      <a:lnTo>
                        <a:pt x="147" y="171"/>
                      </a:lnTo>
                      <a:lnTo>
                        <a:pt x="136" y="109"/>
                      </a:lnTo>
                      <a:lnTo>
                        <a:pt x="181" y="65"/>
                      </a:lnTo>
                      <a:lnTo>
                        <a:pt x="119" y="55"/>
                      </a:lnTo>
                      <a:lnTo>
                        <a:pt x="91" y="0"/>
                      </a:lnTo>
                      <a:lnTo>
                        <a:pt x="63" y="55"/>
                      </a:lnTo>
                      <a:lnTo>
                        <a:pt x="0" y="65"/>
                      </a:lnTo>
                      <a:lnTo>
                        <a:pt x="46" y="109"/>
                      </a:lnTo>
                      <a:lnTo>
                        <a:pt x="35" y="171"/>
                      </a:lnTo>
                      <a:lnTo>
                        <a:pt x="91" y="141"/>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4" name="Freeform 291"/>
                <p:cNvSpPr>
                  <a:spLocks/>
                </p:cNvSpPr>
                <p:nvPr userDrawn="1"/>
              </p:nvSpPr>
              <p:spPr bwMode="auto">
                <a:xfrm>
                  <a:off x="11413671" y="732924"/>
                  <a:ext cx="31750" cy="1660525"/>
                </a:xfrm>
                <a:custGeom>
                  <a:avLst/>
                  <a:gdLst>
                    <a:gd name="T0" fmla="*/ 0 w 41"/>
                    <a:gd name="T1" fmla="*/ 40 h 2091"/>
                    <a:gd name="T2" fmla="*/ 0 w 41"/>
                    <a:gd name="T3" fmla="*/ 2050 h 2091"/>
                    <a:gd name="T4" fmla="*/ 0 w 41"/>
                    <a:gd name="T5" fmla="*/ 2050 h 2091"/>
                    <a:gd name="T6" fmla="*/ 2 w 41"/>
                    <a:gd name="T7" fmla="*/ 2059 h 2091"/>
                    <a:gd name="T8" fmla="*/ 4 w 41"/>
                    <a:gd name="T9" fmla="*/ 2066 h 2091"/>
                    <a:gd name="T10" fmla="*/ 8 w 41"/>
                    <a:gd name="T11" fmla="*/ 2073 h 2091"/>
                    <a:gd name="T12" fmla="*/ 12 w 41"/>
                    <a:gd name="T13" fmla="*/ 2079 h 2091"/>
                    <a:gd name="T14" fmla="*/ 18 w 41"/>
                    <a:gd name="T15" fmla="*/ 2084 h 2091"/>
                    <a:gd name="T16" fmla="*/ 25 w 41"/>
                    <a:gd name="T17" fmla="*/ 2087 h 2091"/>
                    <a:gd name="T18" fmla="*/ 32 w 41"/>
                    <a:gd name="T19" fmla="*/ 2090 h 2091"/>
                    <a:gd name="T20" fmla="*/ 41 w 41"/>
                    <a:gd name="T21" fmla="*/ 2091 h 2091"/>
                    <a:gd name="T22" fmla="*/ 41 w 41"/>
                    <a:gd name="T23" fmla="*/ 0 h 2091"/>
                    <a:gd name="T24" fmla="*/ 41 w 41"/>
                    <a:gd name="T25" fmla="*/ 0 h 2091"/>
                    <a:gd name="T26" fmla="*/ 32 w 41"/>
                    <a:gd name="T27" fmla="*/ 1 h 2091"/>
                    <a:gd name="T28" fmla="*/ 25 w 41"/>
                    <a:gd name="T29" fmla="*/ 3 h 2091"/>
                    <a:gd name="T30" fmla="*/ 18 w 41"/>
                    <a:gd name="T31" fmla="*/ 7 h 2091"/>
                    <a:gd name="T32" fmla="*/ 12 w 41"/>
                    <a:gd name="T33" fmla="*/ 12 h 2091"/>
                    <a:gd name="T34" fmla="*/ 8 w 41"/>
                    <a:gd name="T35" fmla="*/ 18 h 2091"/>
                    <a:gd name="T36" fmla="*/ 4 w 41"/>
                    <a:gd name="T37" fmla="*/ 24 h 2091"/>
                    <a:gd name="T38" fmla="*/ 2 w 41"/>
                    <a:gd name="T39" fmla="*/ 32 h 2091"/>
                    <a:gd name="T40" fmla="*/ 0 w 41"/>
                    <a:gd name="T41" fmla="*/ 40 h 2091"/>
                    <a:gd name="T42" fmla="*/ 0 w 41"/>
                    <a:gd name="T43" fmla="*/ 40 h 20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2091">
                      <a:moveTo>
                        <a:pt x="0" y="40"/>
                      </a:moveTo>
                      <a:lnTo>
                        <a:pt x="0" y="2050"/>
                      </a:lnTo>
                      <a:lnTo>
                        <a:pt x="0" y="2050"/>
                      </a:lnTo>
                      <a:lnTo>
                        <a:pt x="2" y="2059"/>
                      </a:lnTo>
                      <a:lnTo>
                        <a:pt x="4" y="2066"/>
                      </a:lnTo>
                      <a:lnTo>
                        <a:pt x="8" y="2073"/>
                      </a:lnTo>
                      <a:lnTo>
                        <a:pt x="12" y="2079"/>
                      </a:lnTo>
                      <a:lnTo>
                        <a:pt x="18" y="2084"/>
                      </a:lnTo>
                      <a:lnTo>
                        <a:pt x="25" y="2087"/>
                      </a:lnTo>
                      <a:lnTo>
                        <a:pt x="32" y="2090"/>
                      </a:lnTo>
                      <a:lnTo>
                        <a:pt x="41" y="2091"/>
                      </a:lnTo>
                      <a:lnTo>
                        <a:pt x="41" y="0"/>
                      </a:lnTo>
                      <a:lnTo>
                        <a:pt x="41" y="0"/>
                      </a:lnTo>
                      <a:lnTo>
                        <a:pt x="32" y="1"/>
                      </a:lnTo>
                      <a:lnTo>
                        <a:pt x="25" y="3"/>
                      </a:lnTo>
                      <a:lnTo>
                        <a:pt x="18" y="7"/>
                      </a:lnTo>
                      <a:lnTo>
                        <a:pt x="12" y="12"/>
                      </a:lnTo>
                      <a:lnTo>
                        <a:pt x="8" y="18"/>
                      </a:lnTo>
                      <a:lnTo>
                        <a:pt x="4" y="24"/>
                      </a:lnTo>
                      <a:lnTo>
                        <a:pt x="2" y="32"/>
                      </a:lnTo>
                      <a:lnTo>
                        <a:pt x="0" y="40"/>
                      </a:lnTo>
                      <a:lnTo>
                        <a:pt x="0"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5" name="Freeform 292"/>
                <p:cNvSpPr>
                  <a:spLocks/>
                </p:cNvSpPr>
                <p:nvPr userDrawn="1"/>
              </p:nvSpPr>
              <p:spPr bwMode="auto">
                <a:xfrm>
                  <a:off x="11445421" y="732924"/>
                  <a:ext cx="33338" cy="1660525"/>
                </a:xfrm>
                <a:custGeom>
                  <a:avLst/>
                  <a:gdLst>
                    <a:gd name="T0" fmla="*/ 0 w 40"/>
                    <a:gd name="T1" fmla="*/ 2091 h 2091"/>
                    <a:gd name="T2" fmla="*/ 0 w 40"/>
                    <a:gd name="T3" fmla="*/ 2091 h 2091"/>
                    <a:gd name="T4" fmla="*/ 8 w 40"/>
                    <a:gd name="T5" fmla="*/ 2090 h 2091"/>
                    <a:gd name="T6" fmla="*/ 15 w 40"/>
                    <a:gd name="T7" fmla="*/ 2087 h 2091"/>
                    <a:gd name="T8" fmla="*/ 22 w 40"/>
                    <a:gd name="T9" fmla="*/ 2084 h 2091"/>
                    <a:gd name="T10" fmla="*/ 28 w 40"/>
                    <a:gd name="T11" fmla="*/ 2079 h 2091"/>
                    <a:gd name="T12" fmla="*/ 33 w 40"/>
                    <a:gd name="T13" fmla="*/ 2073 h 2091"/>
                    <a:gd name="T14" fmla="*/ 37 w 40"/>
                    <a:gd name="T15" fmla="*/ 2066 h 2091"/>
                    <a:gd name="T16" fmla="*/ 39 w 40"/>
                    <a:gd name="T17" fmla="*/ 2059 h 2091"/>
                    <a:gd name="T18" fmla="*/ 40 w 40"/>
                    <a:gd name="T19" fmla="*/ 2050 h 2091"/>
                    <a:gd name="T20" fmla="*/ 40 w 40"/>
                    <a:gd name="T21" fmla="*/ 40 h 2091"/>
                    <a:gd name="T22" fmla="*/ 40 w 40"/>
                    <a:gd name="T23" fmla="*/ 40 h 2091"/>
                    <a:gd name="T24" fmla="*/ 39 w 40"/>
                    <a:gd name="T25" fmla="*/ 32 h 2091"/>
                    <a:gd name="T26" fmla="*/ 37 w 40"/>
                    <a:gd name="T27" fmla="*/ 24 h 2091"/>
                    <a:gd name="T28" fmla="*/ 33 w 40"/>
                    <a:gd name="T29" fmla="*/ 18 h 2091"/>
                    <a:gd name="T30" fmla="*/ 28 w 40"/>
                    <a:gd name="T31" fmla="*/ 12 h 2091"/>
                    <a:gd name="T32" fmla="*/ 22 w 40"/>
                    <a:gd name="T33" fmla="*/ 7 h 2091"/>
                    <a:gd name="T34" fmla="*/ 15 w 40"/>
                    <a:gd name="T35" fmla="*/ 3 h 2091"/>
                    <a:gd name="T36" fmla="*/ 8 w 40"/>
                    <a:gd name="T37" fmla="*/ 1 h 2091"/>
                    <a:gd name="T38" fmla="*/ 0 w 40"/>
                    <a:gd name="T39" fmla="*/ 0 h 2091"/>
                    <a:gd name="T40" fmla="*/ 0 w 40"/>
                    <a:gd name="T41" fmla="*/ 2091 h 20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2091">
                      <a:moveTo>
                        <a:pt x="0" y="2091"/>
                      </a:moveTo>
                      <a:lnTo>
                        <a:pt x="0" y="2091"/>
                      </a:lnTo>
                      <a:lnTo>
                        <a:pt x="8" y="2090"/>
                      </a:lnTo>
                      <a:lnTo>
                        <a:pt x="15" y="2087"/>
                      </a:lnTo>
                      <a:lnTo>
                        <a:pt x="22" y="2084"/>
                      </a:lnTo>
                      <a:lnTo>
                        <a:pt x="28" y="2079"/>
                      </a:lnTo>
                      <a:lnTo>
                        <a:pt x="33" y="2073"/>
                      </a:lnTo>
                      <a:lnTo>
                        <a:pt x="37" y="2066"/>
                      </a:lnTo>
                      <a:lnTo>
                        <a:pt x="39" y="2059"/>
                      </a:lnTo>
                      <a:lnTo>
                        <a:pt x="40" y="2050"/>
                      </a:lnTo>
                      <a:lnTo>
                        <a:pt x="40" y="40"/>
                      </a:lnTo>
                      <a:lnTo>
                        <a:pt x="40" y="40"/>
                      </a:lnTo>
                      <a:lnTo>
                        <a:pt x="39" y="32"/>
                      </a:lnTo>
                      <a:lnTo>
                        <a:pt x="37" y="24"/>
                      </a:lnTo>
                      <a:lnTo>
                        <a:pt x="33" y="18"/>
                      </a:lnTo>
                      <a:lnTo>
                        <a:pt x="28" y="12"/>
                      </a:lnTo>
                      <a:lnTo>
                        <a:pt x="22" y="7"/>
                      </a:lnTo>
                      <a:lnTo>
                        <a:pt x="15" y="3"/>
                      </a:lnTo>
                      <a:lnTo>
                        <a:pt x="8" y="1"/>
                      </a:lnTo>
                      <a:lnTo>
                        <a:pt x="0" y="0"/>
                      </a:lnTo>
                      <a:lnTo>
                        <a:pt x="0" y="2091"/>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6" name="Freeform 293"/>
                <p:cNvSpPr>
                  <a:spLocks/>
                </p:cNvSpPr>
                <p:nvPr userDrawn="1"/>
              </p:nvSpPr>
              <p:spPr bwMode="auto">
                <a:xfrm>
                  <a:off x="11445421" y="2315661"/>
                  <a:ext cx="152400" cy="193675"/>
                </a:xfrm>
                <a:custGeom>
                  <a:avLst/>
                  <a:gdLst>
                    <a:gd name="T0" fmla="*/ 0 w 190"/>
                    <a:gd name="T1" fmla="*/ 0 h 245"/>
                    <a:gd name="T2" fmla="*/ 0 w 190"/>
                    <a:gd name="T3" fmla="*/ 189 h 245"/>
                    <a:gd name="T4" fmla="*/ 0 w 190"/>
                    <a:gd name="T5" fmla="*/ 245 h 245"/>
                    <a:gd name="T6" fmla="*/ 190 w 190"/>
                    <a:gd name="T7" fmla="*/ 245 h 245"/>
                    <a:gd name="T8" fmla="*/ 190 w 190"/>
                    <a:gd name="T9" fmla="*/ 189 h 245"/>
                    <a:gd name="T10" fmla="*/ 190 w 190"/>
                    <a:gd name="T11" fmla="*/ 189 h 245"/>
                    <a:gd name="T12" fmla="*/ 189 w 190"/>
                    <a:gd name="T13" fmla="*/ 170 h 245"/>
                    <a:gd name="T14" fmla="*/ 185 w 190"/>
                    <a:gd name="T15" fmla="*/ 151 h 245"/>
                    <a:gd name="T16" fmla="*/ 181 w 190"/>
                    <a:gd name="T17" fmla="*/ 133 h 245"/>
                    <a:gd name="T18" fmla="*/ 175 w 190"/>
                    <a:gd name="T19" fmla="*/ 115 h 245"/>
                    <a:gd name="T20" fmla="*/ 166 w 190"/>
                    <a:gd name="T21" fmla="*/ 99 h 245"/>
                    <a:gd name="T22" fmla="*/ 157 w 190"/>
                    <a:gd name="T23" fmla="*/ 83 h 245"/>
                    <a:gd name="T24" fmla="*/ 146 w 190"/>
                    <a:gd name="T25" fmla="*/ 69 h 245"/>
                    <a:gd name="T26" fmla="*/ 134 w 190"/>
                    <a:gd name="T27" fmla="*/ 55 h 245"/>
                    <a:gd name="T28" fmla="*/ 121 w 190"/>
                    <a:gd name="T29" fmla="*/ 43 h 245"/>
                    <a:gd name="T30" fmla="*/ 106 w 190"/>
                    <a:gd name="T31" fmla="*/ 32 h 245"/>
                    <a:gd name="T32" fmla="*/ 90 w 190"/>
                    <a:gd name="T33" fmla="*/ 23 h 245"/>
                    <a:gd name="T34" fmla="*/ 74 w 190"/>
                    <a:gd name="T35" fmla="*/ 14 h 245"/>
                    <a:gd name="T36" fmla="*/ 57 w 190"/>
                    <a:gd name="T37" fmla="*/ 8 h 245"/>
                    <a:gd name="T38" fmla="*/ 38 w 190"/>
                    <a:gd name="T39" fmla="*/ 4 h 245"/>
                    <a:gd name="T40" fmla="*/ 19 w 190"/>
                    <a:gd name="T41" fmla="*/ 0 h 245"/>
                    <a:gd name="T42" fmla="*/ 0 w 190"/>
                    <a:gd name="T43"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0" h="245">
                      <a:moveTo>
                        <a:pt x="0" y="0"/>
                      </a:moveTo>
                      <a:lnTo>
                        <a:pt x="0" y="189"/>
                      </a:lnTo>
                      <a:lnTo>
                        <a:pt x="0" y="245"/>
                      </a:lnTo>
                      <a:lnTo>
                        <a:pt x="190" y="245"/>
                      </a:lnTo>
                      <a:lnTo>
                        <a:pt x="190" y="189"/>
                      </a:lnTo>
                      <a:lnTo>
                        <a:pt x="190" y="189"/>
                      </a:lnTo>
                      <a:lnTo>
                        <a:pt x="189" y="170"/>
                      </a:lnTo>
                      <a:lnTo>
                        <a:pt x="185" y="151"/>
                      </a:lnTo>
                      <a:lnTo>
                        <a:pt x="181" y="133"/>
                      </a:lnTo>
                      <a:lnTo>
                        <a:pt x="175" y="115"/>
                      </a:lnTo>
                      <a:lnTo>
                        <a:pt x="166" y="99"/>
                      </a:lnTo>
                      <a:lnTo>
                        <a:pt x="157" y="83"/>
                      </a:lnTo>
                      <a:lnTo>
                        <a:pt x="146" y="69"/>
                      </a:lnTo>
                      <a:lnTo>
                        <a:pt x="134" y="55"/>
                      </a:lnTo>
                      <a:lnTo>
                        <a:pt x="121" y="43"/>
                      </a:lnTo>
                      <a:lnTo>
                        <a:pt x="106" y="32"/>
                      </a:lnTo>
                      <a:lnTo>
                        <a:pt x="90" y="23"/>
                      </a:lnTo>
                      <a:lnTo>
                        <a:pt x="74" y="14"/>
                      </a:lnTo>
                      <a:lnTo>
                        <a:pt x="57" y="8"/>
                      </a:lnTo>
                      <a:lnTo>
                        <a:pt x="38" y="4"/>
                      </a:lnTo>
                      <a:lnTo>
                        <a:pt x="19" y="0"/>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7" name="Freeform 294"/>
                <p:cNvSpPr>
                  <a:spLocks/>
                </p:cNvSpPr>
                <p:nvPr userDrawn="1"/>
              </p:nvSpPr>
              <p:spPr bwMode="auto">
                <a:xfrm>
                  <a:off x="11445421" y="2315661"/>
                  <a:ext cx="152400" cy="193675"/>
                </a:xfrm>
                <a:custGeom>
                  <a:avLst/>
                  <a:gdLst>
                    <a:gd name="T0" fmla="*/ 0 w 190"/>
                    <a:gd name="T1" fmla="*/ 0 h 245"/>
                    <a:gd name="T2" fmla="*/ 0 w 190"/>
                    <a:gd name="T3" fmla="*/ 189 h 245"/>
                    <a:gd name="T4" fmla="*/ 0 w 190"/>
                    <a:gd name="T5" fmla="*/ 245 h 245"/>
                    <a:gd name="T6" fmla="*/ 190 w 190"/>
                    <a:gd name="T7" fmla="*/ 245 h 245"/>
                    <a:gd name="T8" fmla="*/ 190 w 190"/>
                    <a:gd name="T9" fmla="*/ 189 h 245"/>
                    <a:gd name="T10" fmla="*/ 190 w 190"/>
                    <a:gd name="T11" fmla="*/ 189 h 245"/>
                    <a:gd name="T12" fmla="*/ 189 w 190"/>
                    <a:gd name="T13" fmla="*/ 170 h 245"/>
                    <a:gd name="T14" fmla="*/ 185 w 190"/>
                    <a:gd name="T15" fmla="*/ 151 h 245"/>
                    <a:gd name="T16" fmla="*/ 181 w 190"/>
                    <a:gd name="T17" fmla="*/ 133 h 245"/>
                    <a:gd name="T18" fmla="*/ 175 w 190"/>
                    <a:gd name="T19" fmla="*/ 115 h 245"/>
                    <a:gd name="T20" fmla="*/ 166 w 190"/>
                    <a:gd name="T21" fmla="*/ 99 h 245"/>
                    <a:gd name="T22" fmla="*/ 157 w 190"/>
                    <a:gd name="T23" fmla="*/ 83 h 245"/>
                    <a:gd name="T24" fmla="*/ 146 w 190"/>
                    <a:gd name="T25" fmla="*/ 69 h 245"/>
                    <a:gd name="T26" fmla="*/ 134 w 190"/>
                    <a:gd name="T27" fmla="*/ 55 h 245"/>
                    <a:gd name="T28" fmla="*/ 121 w 190"/>
                    <a:gd name="T29" fmla="*/ 43 h 245"/>
                    <a:gd name="T30" fmla="*/ 106 w 190"/>
                    <a:gd name="T31" fmla="*/ 32 h 245"/>
                    <a:gd name="T32" fmla="*/ 90 w 190"/>
                    <a:gd name="T33" fmla="*/ 23 h 245"/>
                    <a:gd name="T34" fmla="*/ 74 w 190"/>
                    <a:gd name="T35" fmla="*/ 14 h 245"/>
                    <a:gd name="T36" fmla="*/ 57 w 190"/>
                    <a:gd name="T37" fmla="*/ 8 h 245"/>
                    <a:gd name="T38" fmla="*/ 38 w 190"/>
                    <a:gd name="T39" fmla="*/ 4 h 245"/>
                    <a:gd name="T40" fmla="*/ 19 w 190"/>
                    <a:gd name="T41" fmla="*/ 0 h 245"/>
                    <a:gd name="T42" fmla="*/ 0 w 190"/>
                    <a:gd name="T43"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0" h="245">
                      <a:moveTo>
                        <a:pt x="0" y="0"/>
                      </a:moveTo>
                      <a:lnTo>
                        <a:pt x="0" y="189"/>
                      </a:lnTo>
                      <a:lnTo>
                        <a:pt x="0" y="245"/>
                      </a:lnTo>
                      <a:lnTo>
                        <a:pt x="190" y="245"/>
                      </a:lnTo>
                      <a:lnTo>
                        <a:pt x="190" y="189"/>
                      </a:lnTo>
                      <a:lnTo>
                        <a:pt x="190" y="189"/>
                      </a:lnTo>
                      <a:lnTo>
                        <a:pt x="189" y="170"/>
                      </a:lnTo>
                      <a:lnTo>
                        <a:pt x="185" y="151"/>
                      </a:lnTo>
                      <a:lnTo>
                        <a:pt x="181" y="133"/>
                      </a:lnTo>
                      <a:lnTo>
                        <a:pt x="175" y="115"/>
                      </a:lnTo>
                      <a:lnTo>
                        <a:pt x="166" y="99"/>
                      </a:lnTo>
                      <a:lnTo>
                        <a:pt x="157" y="83"/>
                      </a:lnTo>
                      <a:lnTo>
                        <a:pt x="146" y="69"/>
                      </a:lnTo>
                      <a:lnTo>
                        <a:pt x="134" y="55"/>
                      </a:lnTo>
                      <a:lnTo>
                        <a:pt x="121" y="43"/>
                      </a:lnTo>
                      <a:lnTo>
                        <a:pt x="106" y="32"/>
                      </a:lnTo>
                      <a:lnTo>
                        <a:pt x="90" y="23"/>
                      </a:lnTo>
                      <a:lnTo>
                        <a:pt x="74" y="14"/>
                      </a:lnTo>
                      <a:lnTo>
                        <a:pt x="57" y="8"/>
                      </a:lnTo>
                      <a:lnTo>
                        <a:pt x="38" y="4"/>
                      </a:lnTo>
                      <a:lnTo>
                        <a:pt x="19"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8" name="Freeform 295"/>
                <p:cNvSpPr>
                  <a:spLocks/>
                </p:cNvSpPr>
                <p:nvPr userDrawn="1"/>
              </p:nvSpPr>
              <p:spPr bwMode="auto">
                <a:xfrm>
                  <a:off x="11296196" y="2315661"/>
                  <a:ext cx="149225" cy="193675"/>
                </a:xfrm>
                <a:custGeom>
                  <a:avLst/>
                  <a:gdLst>
                    <a:gd name="T0" fmla="*/ 0 w 189"/>
                    <a:gd name="T1" fmla="*/ 189 h 245"/>
                    <a:gd name="T2" fmla="*/ 0 w 189"/>
                    <a:gd name="T3" fmla="*/ 245 h 245"/>
                    <a:gd name="T4" fmla="*/ 189 w 189"/>
                    <a:gd name="T5" fmla="*/ 245 h 245"/>
                    <a:gd name="T6" fmla="*/ 189 w 189"/>
                    <a:gd name="T7" fmla="*/ 189 h 245"/>
                    <a:gd name="T8" fmla="*/ 189 w 189"/>
                    <a:gd name="T9" fmla="*/ 0 h 245"/>
                    <a:gd name="T10" fmla="*/ 189 w 189"/>
                    <a:gd name="T11" fmla="*/ 0 h 245"/>
                    <a:gd name="T12" fmla="*/ 170 w 189"/>
                    <a:gd name="T13" fmla="*/ 0 h 245"/>
                    <a:gd name="T14" fmla="*/ 151 w 189"/>
                    <a:gd name="T15" fmla="*/ 4 h 245"/>
                    <a:gd name="T16" fmla="*/ 133 w 189"/>
                    <a:gd name="T17" fmla="*/ 8 h 245"/>
                    <a:gd name="T18" fmla="*/ 115 w 189"/>
                    <a:gd name="T19" fmla="*/ 14 h 245"/>
                    <a:gd name="T20" fmla="*/ 98 w 189"/>
                    <a:gd name="T21" fmla="*/ 23 h 245"/>
                    <a:gd name="T22" fmla="*/ 83 w 189"/>
                    <a:gd name="T23" fmla="*/ 32 h 245"/>
                    <a:gd name="T24" fmla="*/ 69 w 189"/>
                    <a:gd name="T25" fmla="*/ 43 h 245"/>
                    <a:gd name="T26" fmla="*/ 54 w 189"/>
                    <a:gd name="T27" fmla="*/ 55 h 245"/>
                    <a:gd name="T28" fmla="*/ 43 w 189"/>
                    <a:gd name="T29" fmla="*/ 69 h 245"/>
                    <a:gd name="T30" fmla="*/ 32 w 189"/>
                    <a:gd name="T31" fmla="*/ 83 h 245"/>
                    <a:gd name="T32" fmla="*/ 22 w 189"/>
                    <a:gd name="T33" fmla="*/ 99 h 245"/>
                    <a:gd name="T34" fmla="*/ 14 w 189"/>
                    <a:gd name="T35" fmla="*/ 115 h 245"/>
                    <a:gd name="T36" fmla="*/ 8 w 189"/>
                    <a:gd name="T37" fmla="*/ 133 h 245"/>
                    <a:gd name="T38" fmla="*/ 3 w 189"/>
                    <a:gd name="T39" fmla="*/ 151 h 245"/>
                    <a:gd name="T40" fmla="*/ 1 w 189"/>
                    <a:gd name="T41" fmla="*/ 170 h 245"/>
                    <a:gd name="T42" fmla="*/ 0 w 189"/>
                    <a:gd name="T43" fmla="*/ 189 h 245"/>
                    <a:gd name="T44" fmla="*/ 0 w 189"/>
                    <a:gd name="T45" fmla="*/ 189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245">
                      <a:moveTo>
                        <a:pt x="0" y="189"/>
                      </a:moveTo>
                      <a:lnTo>
                        <a:pt x="0" y="245"/>
                      </a:lnTo>
                      <a:lnTo>
                        <a:pt x="189" y="245"/>
                      </a:lnTo>
                      <a:lnTo>
                        <a:pt x="189" y="189"/>
                      </a:lnTo>
                      <a:lnTo>
                        <a:pt x="189" y="0"/>
                      </a:lnTo>
                      <a:lnTo>
                        <a:pt x="189" y="0"/>
                      </a:lnTo>
                      <a:lnTo>
                        <a:pt x="170" y="0"/>
                      </a:lnTo>
                      <a:lnTo>
                        <a:pt x="151" y="4"/>
                      </a:lnTo>
                      <a:lnTo>
                        <a:pt x="133" y="8"/>
                      </a:lnTo>
                      <a:lnTo>
                        <a:pt x="115" y="14"/>
                      </a:lnTo>
                      <a:lnTo>
                        <a:pt x="98" y="23"/>
                      </a:lnTo>
                      <a:lnTo>
                        <a:pt x="83" y="32"/>
                      </a:lnTo>
                      <a:lnTo>
                        <a:pt x="69" y="43"/>
                      </a:lnTo>
                      <a:lnTo>
                        <a:pt x="54" y="55"/>
                      </a:lnTo>
                      <a:lnTo>
                        <a:pt x="43" y="69"/>
                      </a:lnTo>
                      <a:lnTo>
                        <a:pt x="32" y="83"/>
                      </a:lnTo>
                      <a:lnTo>
                        <a:pt x="22" y="99"/>
                      </a:lnTo>
                      <a:lnTo>
                        <a:pt x="14" y="115"/>
                      </a:lnTo>
                      <a:lnTo>
                        <a:pt x="8" y="133"/>
                      </a:lnTo>
                      <a:lnTo>
                        <a:pt x="3" y="151"/>
                      </a:lnTo>
                      <a:lnTo>
                        <a:pt x="1" y="170"/>
                      </a:lnTo>
                      <a:lnTo>
                        <a:pt x="0" y="189"/>
                      </a:lnTo>
                      <a:lnTo>
                        <a:pt x="0" y="189"/>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9" name="Rectangle 296"/>
                <p:cNvSpPr>
                  <a:spLocks noChangeArrowheads="1"/>
                </p:cNvSpPr>
                <p:nvPr userDrawn="1"/>
              </p:nvSpPr>
              <p:spPr bwMode="auto">
                <a:xfrm>
                  <a:off x="11478758" y="828174"/>
                  <a:ext cx="604838" cy="422275"/>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50" name="Freeform 297"/>
                <p:cNvSpPr>
                  <a:spLocks/>
                </p:cNvSpPr>
                <p:nvPr userDrawn="1"/>
              </p:nvSpPr>
              <p:spPr bwMode="auto">
                <a:xfrm>
                  <a:off x="11478758" y="828174"/>
                  <a:ext cx="604838" cy="422275"/>
                </a:xfrm>
                <a:custGeom>
                  <a:avLst/>
                  <a:gdLst>
                    <a:gd name="T0" fmla="*/ 762 w 762"/>
                    <a:gd name="T1" fmla="*/ 0 h 532"/>
                    <a:gd name="T2" fmla="*/ 0 w 762"/>
                    <a:gd name="T3" fmla="*/ 532 h 532"/>
                    <a:gd name="T4" fmla="*/ 762 w 762"/>
                    <a:gd name="T5" fmla="*/ 532 h 532"/>
                    <a:gd name="T6" fmla="*/ 762 w 762"/>
                    <a:gd name="T7" fmla="*/ 0 h 532"/>
                  </a:gdLst>
                  <a:ahLst/>
                  <a:cxnLst>
                    <a:cxn ang="0">
                      <a:pos x="T0" y="T1"/>
                    </a:cxn>
                    <a:cxn ang="0">
                      <a:pos x="T2" y="T3"/>
                    </a:cxn>
                    <a:cxn ang="0">
                      <a:pos x="T4" y="T5"/>
                    </a:cxn>
                    <a:cxn ang="0">
                      <a:pos x="T6" y="T7"/>
                    </a:cxn>
                  </a:cxnLst>
                  <a:rect l="0" t="0" r="r" b="b"/>
                  <a:pathLst>
                    <a:path w="762" h="532">
                      <a:moveTo>
                        <a:pt x="762" y="0"/>
                      </a:moveTo>
                      <a:lnTo>
                        <a:pt x="0" y="532"/>
                      </a:lnTo>
                      <a:lnTo>
                        <a:pt x="762" y="532"/>
                      </a:lnTo>
                      <a:lnTo>
                        <a:pt x="762"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51" name="Freeform 298"/>
                <p:cNvSpPr>
                  <a:spLocks/>
                </p:cNvSpPr>
                <p:nvPr userDrawn="1"/>
              </p:nvSpPr>
              <p:spPr bwMode="auto">
                <a:xfrm>
                  <a:off x="11575596" y="891674"/>
                  <a:ext cx="101600" cy="100013"/>
                </a:xfrm>
                <a:custGeom>
                  <a:avLst/>
                  <a:gdLst>
                    <a:gd name="T0" fmla="*/ 127 w 127"/>
                    <a:gd name="T1" fmla="*/ 63 h 127"/>
                    <a:gd name="T2" fmla="*/ 127 w 127"/>
                    <a:gd name="T3" fmla="*/ 63 h 127"/>
                    <a:gd name="T4" fmla="*/ 126 w 127"/>
                    <a:gd name="T5" fmla="*/ 76 h 127"/>
                    <a:gd name="T6" fmla="*/ 122 w 127"/>
                    <a:gd name="T7" fmla="*/ 88 h 127"/>
                    <a:gd name="T8" fmla="*/ 116 w 127"/>
                    <a:gd name="T9" fmla="*/ 99 h 127"/>
                    <a:gd name="T10" fmla="*/ 109 w 127"/>
                    <a:gd name="T11" fmla="*/ 108 h 127"/>
                    <a:gd name="T12" fmla="*/ 100 w 127"/>
                    <a:gd name="T13" fmla="*/ 117 h 127"/>
                    <a:gd name="T14" fmla="*/ 89 w 127"/>
                    <a:gd name="T15" fmla="*/ 123 h 127"/>
                    <a:gd name="T16" fmla="*/ 77 w 127"/>
                    <a:gd name="T17" fmla="*/ 126 h 127"/>
                    <a:gd name="T18" fmla="*/ 64 w 127"/>
                    <a:gd name="T19" fmla="*/ 127 h 127"/>
                    <a:gd name="T20" fmla="*/ 64 w 127"/>
                    <a:gd name="T21" fmla="*/ 127 h 127"/>
                    <a:gd name="T22" fmla="*/ 51 w 127"/>
                    <a:gd name="T23" fmla="*/ 126 h 127"/>
                    <a:gd name="T24" fmla="*/ 39 w 127"/>
                    <a:gd name="T25" fmla="*/ 123 h 127"/>
                    <a:gd name="T26" fmla="*/ 28 w 127"/>
                    <a:gd name="T27" fmla="*/ 117 h 127"/>
                    <a:gd name="T28" fmla="*/ 19 w 127"/>
                    <a:gd name="T29" fmla="*/ 108 h 127"/>
                    <a:gd name="T30" fmla="*/ 11 w 127"/>
                    <a:gd name="T31" fmla="*/ 99 h 127"/>
                    <a:gd name="T32" fmla="*/ 5 w 127"/>
                    <a:gd name="T33" fmla="*/ 88 h 127"/>
                    <a:gd name="T34" fmla="*/ 1 w 127"/>
                    <a:gd name="T35" fmla="*/ 76 h 127"/>
                    <a:gd name="T36" fmla="*/ 0 w 127"/>
                    <a:gd name="T37" fmla="*/ 63 h 127"/>
                    <a:gd name="T38" fmla="*/ 0 w 127"/>
                    <a:gd name="T39" fmla="*/ 63 h 127"/>
                    <a:gd name="T40" fmla="*/ 1 w 127"/>
                    <a:gd name="T41" fmla="*/ 51 h 127"/>
                    <a:gd name="T42" fmla="*/ 5 w 127"/>
                    <a:gd name="T43" fmla="*/ 38 h 127"/>
                    <a:gd name="T44" fmla="*/ 11 w 127"/>
                    <a:gd name="T45" fmla="*/ 28 h 127"/>
                    <a:gd name="T46" fmla="*/ 19 w 127"/>
                    <a:gd name="T47" fmla="*/ 18 h 127"/>
                    <a:gd name="T48" fmla="*/ 28 w 127"/>
                    <a:gd name="T49" fmla="*/ 11 h 127"/>
                    <a:gd name="T50" fmla="*/ 39 w 127"/>
                    <a:gd name="T51" fmla="*/ 5 h 127"/>
                    <a:gd name="T52" fmla="*/ 51 w 127"/>
                    <a:gd name="T53" fmla="*/ 1 h 127"/>
                    <a:gd name="T54" fmla="*/ 64 w 127"/>
                    <a:gd name="T55" fmla="*/ 0 h 127"/>
                    <a:gd name="T56" fmla="*/ 64 w 127"/>
                    <a:gd name="T57" fmla="*/ 0 h 127"/>
                    <a:gd name="T58" fmla="*/ 77 w 127"/>
                    <a:gd name="T59" fmla="*/ 1 h 127"/>
                    <a:gd name="T60" fmla="*/ 89 w 127"/>
                    <a:gd name="T61" fmla="*/ 5 h 127"/>
                    <a:gd name="T62" fmla="*/ 100 w 127"/>
                    <a:gd name="T63" fmla="*/ 11 h 127"/>
                    <a:gd name="T64" fmla="*/ 109 w 127"/>
                    <a:gd name="T65" fmla="*/ 18 h 127"/>
                    <a:gd name="T66" fmla="*/ 116 w 127"/>
                    <a:gd name="T67" fmla="*/ 28 h 127"/>
                    <a:gd name="T68" fmla="*/ 122 w 127"/>
                    <a:gd name="T69" fmla="*/ 38 h 127"/>
                    <a:gd name="T70" fmla="*/ 126 w 127"/>
                    <a:gd name="T71" fmla="*/ 51 h 127"/>
                    <a:gd name="T72" fmla="*/ 127 w 127"/>
                    <a:gd name="T73" fmla="*/ 63 h 127"/>
                    <a:gd name="T74" fmla="*/ 127 w 127"/>
                    <a:gd name="T75" fmla="*/ 6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7" h="127">
                      <a:moveTo>
                        <a:pt x="127" y="63"/>
                      </a:moveTo>
                      <a:lnTo>
                        <a:pt x="127" y="63"/>
                      </a:lnTo>
                      <a:lnTo>
                        <a:pt x="126" y="76"/>
                      </a:lnTo>
                      <a:lnTo>
                        <a:pt x="122" y="88"/>
                      </a:lnTo>
                      <a:lnTo>
                        <a:pt x="116" y="99"/>
                      </a:lnTo>
                      <a:lnTo>
                        <a:pt x="109" y="108"/>
                      </a:lnTo>
                      <a:lnTo>
                        <a:pt x="100" y="117"/>
                      </a:lnTo>
                      <a:lnTo>
                        <a:pt x="89" y="123"/>
                      </a:lnTo>
                      <a:lnTo>
                        <a:pt x="77" y="126"/>
                      </a:lnTo>
                      <a:lnTo>
                        <a:pt x="64" y="127"/>
                      </a:lnTo>
                      <a:lnTo>
                        <a:pt x="64" y="127"/>
                      </a:lnTo>
                      <a:lnTo>
                        <a:pt x="51" y="126"/>
                      </a:lnTo>
                      <a:lnTo>
                        <a:pt x="39" y="123"/>
                      </a:lnTo>
                      <a:lnTo>
                        <a:pt x="28" y="117"/>
                      </a:lnTo>
                      <a:lnTo>
                        <a:pt x="19" y="108"/>
                      </a:lnTo>
                      <a:lnTo>
                        <a:pt x="11" y="99"/>
                      </a:lnTo>
                      <a:lnTo>
                        <a:pt x="5" y="88"/>
                      </a:lnTo>
                      <a:lnTo>
                        <a:pt x="1" y="76"/>
                      </a:lnTo>
                      <a:lnTo>
                        <a:pt x="0" y="63"/>
                      </a:lnTo>
                      <a:lnTo>
                        <a:pt x="0" y="63"/>
                      </a:lnTo>
                      <a:lnTo>
                        <a:pt x="1" y="51"/>
                      </a:lnTo>
                      <a:lnTo>
                        <a:pt x="5" y="38"/>
                      </a:lnTo>
                      <a:lnTo>
                        <a:pt x="11" y="28"/>
                      </a:lnTo>
                      <a:lnTo>
                        <a:pt x="19" y="18"/>
                      </a:lnTo>
                      <a:lnTo>
                        <a:pt x="28" y="11"/>
                      </a:lnTo>
                      <a:lnTo>
                        <a:pt x="39" y="5"/>
                      </a:lnTo>
                      <a:lnTo>
                        <a:pt x="51" y="1"/>
                      </a:lnTo>
                      <a:lnTo>
                        <a:pt x="64" y="0"/>
                      </a:lnTo>
                      <a:lnTo>
                        <a:pt x="64" y="0"/>
                      </a:lnTo>
                      <a:lnTo>
                        <a:pt x="77" y="1"/>
                      </a:lnTo>
                      <a:lnTo>
                        <a:pt x="89" y="5"/>
                      </a:lnTo>
                      <a:lnTo>
                        <a:pt x="100" y="11"/>
                      </a:lnTo>
                      <a:lnTo>
                        <a:pt x="109" y="18"/>
                      </a:lnTo>
                      <a:lnTo>
                        <a:pt x="116" y="28"/>
                      </a:lnTo>
                      <a:lnTo>
                        <a:pt x="122" y="38"/>
                      </a:lnTo>
                      <a:lnTo>
                        <a:pt x="126" y="51"/>
                      </a:lnTo>
                      <a:lnTo>
                        <a:pt x="127" y="63"/>
                      </a:lnTo>
                      <a:lnTo>
                        <a:pt x="127" y="6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52" name="Freeform 299"/>
                <p:cNvSpPr>
                  <a:spLocks/>
                </p:cNvSpPr>
                <p:nvPr userDrawn="1"/>
              </p:nvSpPr>
              <p:spPr bwMode="auto">
                <a:xfrm>
                  <a:off x="11715296" y="872624"/>
                  <a:ext cx="165100" cy="166688"/>
                </a:xfrm>
                <a:custGeom>
                  <a:avLst/>
                  <a:gdLst>
                    <a:gd name="T0" fmla="*/ 209 w 209"/>
                    <a:gd name="T1" fmla="*/ 105 h 210"/>
                    <a:gd name="T2" fmla="*/ 207 w 209"/>
                    <a:gd name="T3" fmla="*/ 126 h 210"/>
                    <a:gd name="T4" fmla="*/ 201 w 209"/>
                    <a:gd name="T5" fmla="*/ 146 h 210"/>
                    <a:gd name="T6" fmla="*/ 191 w 209"/>
                    <a:gd name="T7" fmla="*/ 164 h 210"/>
                    <a:gd name="T8" fmla="*/ 178 w 209"/>
                    <a:gd name="T9" fmla="*/ 179 h 210"/>
                    <a:gd name="T10" fmla="*/ 163 w 209"/>
                    <a:gd name="T11" fmla="*/ 192 h 210"/>
                    <a:gd name="T12" fmla="*/ 145 w 209"/>
                    <a:gd name="T13" fmla="*/ 202 h 210"/>
                    <a:gd name="T14" fmla="*/ 126 w 209"/>
                    <a:gd name="T15" fmla="*/ 208 h 210"/>
                    <a:gd name="T16" fmla="*/ 104 w 209"/>
                    <a:gd name="T17" fmla="*/ 210 h 210"/>
                    <a:gd name="T18" fmla="*/ 94 w 209"/>
                    <a:gd name="T19" fmla="*/ 210 h 210"/>
                    <a:gd name="T20" fmla="*/ 73 w 209"/>
                    <a:gd name="T21" fmla="*/ 205 h 210"/>
                    <a:gd name="T22" fmla="*/ 54 w 209"/>
                    <a:gd name="T23" fmla="*/ 197 h 210"/>
                    <a:gd name="T24" fmla="*/ 38 w 209"/>
                    <a:gd name="T25" fmla="*/ 186 h 210"/>
                    <a:gd name="T26" fmla="*/ 23 w 209"/>
                    <a:gd name="T27" fmla="*/ 172 h 210"/>
                    <a:gd name="T28" fmla="*/ 12 w 209"/>
                    <a:gd name="T29" fmla="*/ 155 h 210"/>
                    <a:gd name="T30" fmla="*/ 4 w 209"/>
                    <a:gd name="T31" fmla="*/ 136 h 210"/>
                    <a:gd name="T32" fmla="*/ 0 w 209"/>
                    <a:gd name="T33" fmla="*/ 116 h 210"/>
                    <a:gd name="T34" fmla="*/ 0 w 209"/>
                    <a:gd name="T35" fmla="*/ 105 h 210"/>
                    <a:gd name="T36" fmla="*/ 1 w 209"/>
                    <a:gd name="T37" fmla="*/ 84 h 210"/>
                    <a:gd name="T38" fmla="*/ 7 w 209"/>
                    <a:gd name="T39" fmla="*/ 64 h 210"/>
                    <a:gd name="T40" fmla="*/ 18 w 209"/>
                    <a:gd name="T41" fmla="*/ 46 h 210"/>
                    <a:gd name="T42" fmla="*/ 29 w 209"/>
                    <a:gd name="T43" fmla="*/ 30 h 210"/>
                    <a:gd name="T44" fmla="*/ 45 w 209"/>
                    <a:gd name="T45" fmla="*/ 17 h 210"/>
                    <a:gd name="T46" fmla="*/ 63 w 209"/>
                    <a:gd name="T47" fmla="*/ 8 h 210"/>
                    <a:gd name="T48" fmla="*/ 83 w 209"/>
                    <a:gd name="T49" fmla="*/ 2 h 210"/>
                    <a:gd name="T50" fmla="*/ 104 w 209"/>
                    <a:gd name="T51" fmla="*/ 0 h 210"/>
                    <a:gd name="T52" fmla="*/ 115 w 209"/>
                    <a:gd name="T53" fmla="*/ 1 h 210"/>
                    <a:gd name="T54" fmla="*/ 135 w 209"/>
                    <a:gd name="T55" fmla="*/ 4 h 210"/>
                    <a:gd name="T56" fmla="*/ 154 w 209"/>
                    <a:gd name="T57" fmla="*/ 13 h 210"/>
                    <a:gd name="T58" fmla="*/ 171 w 209"/>
                    <a:gd name="T59" fmla="*/ 24 h 210"/>
                    <a:gd name="T60" fmla="*/ 185 w 209"/>
                    <a:gd name="T61" fmla="*/ 38 h 210"/>
                    <a:gd name="T62" fmla="*/ 197 w 209"/>
                    <a:gd name="T63" fmla="*/ 55 h 210"/>
                    <a:gd name="T64" fmla="*/ 204 w 209"/>
                    <a:gd name="T65" fmla="*/ 73 h 210"/>
                    <a:gd name="T66" fmla="*/ 209 w 209"/>
                    <a:gd name="T67" fmla="*/ 95 h 210"/>
                    <a:gd name="T68" fmla="*/ 209 w 209"/>
                    <a:gd name="T69"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9" h="210">
                      <a:moveTo>
                        <a:pt x="209" y="105"/>
                      </a:moveTo>
                      <a:lnTo>
                        <a:pt x="209" y="105"/>
                      </a:lnTo>
                      <a:lnTo>
                        <a:pt x="209" y="116"/>
                      </a:lnTo>
                      <a:lnTo>
                        <a:pt x="207" y="126"/>
                      </a:lnTo>
                      <a:lnTo>
                        <a:pt x="204" y="136"/>
                      </a:lnTo>
                      <a:lnTo>
                        <a:pt x="201" y="146"/>
                      </a:lnTo>
                      <a:lnTo>
                        <a:pt x="197" y="155"/>
                      </a:lnTo>
                      <a:lnTo>
                        <a:pt x="191" y="164"/>
                      </a:lnTo>
                      <a:lnTo>
                        <a:pt x="185" y="172"/>
                      </a:lnTo>
                      <a:lnTo>
                        <a:pt x="178" y="179"/>
                      </a:lnTo>
                      <a:lnTo>
                        <a:pt x="171" y="186"/>
                      </a:lnTo>
                      <a:lnTo>
                        <a:pt x="163" y="192"/>
                      </a:lnTo>
                      <a:lnTo>
                        <a:pt x="154" y="197"/>
                      </a:lnTo>
                      <a:lnTo>
                        <a:pt x="145" y="202"/>
                      </a:lnTo>
                      <a:lnTo>
                        <a:pt x="135" y="205"/>
                      </a:lnTo>
                      <a:lnTo>
                        <a:pt x="126" y="208"/>
                      </a:lnTo>
                      <a:lnTo>
                        <a:pt x="115" y="210"/>
                      </a:lnTo>
                      <a:lnTo>
                        <a:pt x="104" y="210"/>
                      </a:lnTo>
                      <a:lnTo>
                        <a:pt x="104" y="210"/>
                      </a:lnTo>
                      <a:lnTo>
                        <a:pt x="94" y="210"/>
                      </a:lnTo>
                      <a:lnTo>
                        <a:pt x="83" y="208"/>
                      </a:lnTo>
                      <a:lnTo>
                        <a:pt x="73" y="205"/>
                      </a:lnTo>
                      <a:lnTo>
                        <a:pt x="63" y="202"/>
                      </a:lnTo>
                      <a:lnTo>
                        <a:pt x="54" y="197"/>
                      </a:lnTo>
                      <a:lnTo>
                        <a:pt x="45" y="192"/>
                      </a:lnTo>
                      <a:lnTo>
                        <a:pt x="38" y="186"/>
                      </a:lnTo>
                      <a:lnTo>
                        <a:pt x="29" y="179"/>
                      </a:lnTo>
                      <a:lnTo>
                        <a:pt x="23" y="172"/>
                      </a:lnTo>
                      <a:lnTo>
                        <a:pt x="18" y="164"/>
                      </a:lnTo>
                      <a:lnTo>
                        <a:pt x="12" y="155"/>
                      </a:lnTo>
                      <a:lnTo>
                        <a:pt x="7" y="146"/>
                      </a:lnTo>
                      <a:lnTo>
                        <a:pt x="4" y="136"/>
                      </a:lnTo>
                      <a:lnTo>
                        <a:pt x="1" y="126"/>
                      </a:lnTo>
                      <a:lnTo>
                        <a:pt x="0" y="116"/>
                      </a:lnTo>
                      <a:lnTo>
                        <a:pt x="0" y="105"/>
                      </a:lnTo>
                      <a:lnTo>
                        <a:pt x="0" y="105"/>
                      </a:lnTo>
                      <a:lnTo>
                        <a:pt x="0" y="95"/>
                      </a:lnTo>
                      <a:lnTo>
                        <a:pt x="1" y="84"/>
                      </a:lnTo>
                      <a:lnTo>
                        <a:pt x="4" y="73"/>
                      </a:lnTo>
                      <a:lnTo>
                        <a:pt x="7" y="64"/>
                      </a:lnTo>
                      <a:lnTo>
                        <a:pt x="12" y="55"/>
                      </a:lnTo>
                      <a:lnTo>
                        <a:pt x="18" y="46"/>
                      </a:lnTo>
                      <a:lnTo>
                        <a:pt x="23" y="38"/>
                      </a:lnTo>
                      <a:lnTo>
                        <a:pt x="29" y="30"/>
                      </a:lnTo>
                      <a:lnTo>
                        <a:pt x="38" y="24"/>
                      </a:lnTo>
                      <a:lnTo>
                        <a:pt x="45" y="17"/>
                      </a:lnTo>
                      <a:lnTo>
                        <a:pt x="54" y="13"/>
                      </a:lnTo>
                      <a:lnTo>
                        <a:pt x="63" y="8"/>
                      </a:lnTo>
                      <a:lnTo>
                        <a:pt x="73" y="4"/>
                      </a:lnTo>
                      <a:lnTo>
                        <a:pt x="83" y="2"/>
                      </a:lnTo>
                      <a:lnTo>
                        <a:pt x="94" y="1"/>
                      </a:lnTo>
                      <a:lnTo>
                        <a:pt x="104" y="0"/>
                      </a:lnTo>
                      <a:lnTo>
                        <a:pt x="104" y="0"/>
                      </a:lnTo>
                      <a:lnTo>
                        <a:pt x="115" y="1"/>
                      </a:lnTo>
                      <a:lnTo>
                        <a:pt x="126" y="2"/>
                      </a:lnTo>
                      <a:lnTo>
                        <a:pt x="135" y="4"/>
                      </a:lnTo>
                      <a:lnTo>
                        <a:pt x="145" y="8"/>
                      </a:lnTo>
                      <a:lnTo>
                        <a:pt x="154" y="13"/>
                      </a:lnTo>
                      <a:lnTo>
                        <a:pt x="163" y="17"/>
                      </a:lnTo>
                      <a:lnTo>
                        <a:pt x="171" y="24"/>
                      </a:lnTo>
                      <a:lnTo>
                        <a:pt x="178" y="30"/>
                      </a:lnTo>
                      <a:lnTo>
                        <a:pt x="185" y="38"/>
                      </a:lnTo>
                      <a:lnTo>
                        <a:pt x="191" y="46"/>
                      </a:lnTo>
                      <a:lnTo>
                        <a:pt x="197" y="55"/>
                      </a:lnTo>
                      <a:lnTo>
                        <a:pt x="201" y="64"/>
                      </a:lnTo>
                      <a:lnTo>
                        <a:pt x="204" y="73"/>
                      </a:lnTo>
                      <a:lnTo>
                        <a:pt x="207" y="84"/>
                      </a:lnTo>
                      <a:lnTo>
                        <a:pt x="209" y="95"/>
                      </a:lnTo>
                      <a:lnTo>
                        <a:pt x="209" y="105"/>
                      </a:lnTo>
                      <a:lnTo>
                        <a:pt x="209" y="1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53" name="Freeform 300"/>
                <p:cNvSpPr>
                  <a:spLocks/>
                </p:cNvSpPr>
                <p:nvPr userDrawn="1"/>
              </p:nvSpPr>
              <p:spPr bwMode="auto">
                <a:xfrm>
                  <a:off x="10759621" y="2431549"/>
                  <a:ext cx="1677988" cy="598488"/>
                </a:xfrm>
                <a:custGeom>
                  <a:avLst/>
                  <a:gdLst>
                    <a:gd name="T0" fmla="*/ 2115 w 2115"/>
                    <a:gd name="T1" fmla="*/ 225 h 753"/>
                    <a:gd name="T2" fmla="*/ 2000 w 2115"/>
                    <a:gd name="T3" fmla="*/ 174 h 753"/>
                    <a:gd name="T4" fmla="*/ 1878 w 2115"/>
                    <a:gd name="T5" fmla="*/ 129 h 753"/>
                    <a:gd name="T6" fmla="*/ 1752 w 2115"/>
                    <a:gd name="T7" fmla="*/ 91 h 753"/>
                    <a:gd name="T8" fmla="*/ 1621 w 2115"/>
                    <a:gd name="T9" fmla="*/ 59 h 753"/>
                    <a:gd name="T10" fmla="*/ 1485 w 2115"/>
                    <a:gd name="T11" fmla="*/ 33 h 753"/>
                    <a:gd name="T12" fmla="*/ 1346 w 2115"/>
                    <a:gd name="T13" fmla="*/ 14 h 753"/>
                    <a:gd name="T14" fmla="*/ 1204 w 2115"/>
                    <a:gd name="T15" fmla="*/ 3 h 753"/>
                    <a:gd name="T16" fmla="*/ 1058 w 2115"/>
                    <a:gd name="T17" fmla="*/ 0 h 753"/>
                    <a:gd name="T18" fmla="*/ 985 w 2115"/>
                    <a:gd name="T19" fmla="*/ 0 h 753"/>
                    <a:gd name="T20" fmla="*/ 841 w 2115"/>
                    <a:gd name="T21" fmla="*/ 8 h 753"/>
                    <a:gd name="T22" fmla="*/ 699 w 2115"/>
                    <a:gd name="T23" fmla="*/ 22 h 753"/>
                    <a:gd name="T24" fmla="*/ 563 w 2115"/>
                    <a:gd name="T25" fmla="*/ 45 h 753"/>
                    <a:gd name="T26" fmla="*/ 429 w 2115"/>
                    <a:gd name="T27" fmla="*/ 74 h 753"/>
                    <a:gd name="T28" fmla="*/ 301 w 2115"/>
                    <a:gd name="T29" fmla="*/ 109 h 753"/>
                    <a:gd name="T30" fmla="*/ 176 w 2115"/>
                    <a:gd name="T31" fmla="*/ 152 h 753"/>
                    <a:gd name="T32" fmla="*/ 57 w 2115"/>
                    <a:gd name="T33" fmla="*/ 199 h 753"/>
                    <a:gd name="T34" fmla="*/ 0 w 2115"/>
                    <a:gd name="T35" fmla="*/ 225 h 753"/>
                    <a:gd name="T36" fmla="*/ 48 w 2115"/>
                    <a:gd name="T37" fmla="*/ 284 h 753"/>
                    <a:gd name="T38" fmla="*/ 98 w 2115"/>
                    <a:gd name="T39" fmla="*/ 340 h 753"/>
                    <a:gd name="T40" fmla="*/ 150 w 2115"/>
                    <a:gd name="T41" fmla="*/ 393 h 753"/>
                    <a:gd name="T42" fmla="*/ 207 w 2115"/>
                    <a:gd name="T43" fmla="*/ 443 h 753"/>
                    <a:gd name="T44" fmla="*/ 265 w 2115"/>
                    <a:gd name="T45" fmla="*/ 489 h 753"/>
                    <a:gd name="T46" fmla="*/ 327 w 2115"/>
                    <a:gd name="T47" fmla="*/ 533 h 753"/>
                    <a:gd name="T48" fmla="*/ 391 w 2115"/>
                    <a:gd name="T49" fmla="*/ 573 h 753"/>
                    <a:gd name="T50" fmla="*/ 458 w 2115"/>
                    <a:gd name="T51" fmla="*/ 609 h 753"/>
                    <a:gd name="T52" fmla="*/ 526 w 2115"/>
                    <a:gd name="T53" fmla="*/ 641 h 753"/>
                    <a:gd name="T54" fmla="*/ 597 w 2115"/>
                    <a:gd name="T55" fmla="*/ 670 h 753"/>
                    <a:gd name="T56" fmla="*/ 670 w 2115"/>
                    <a:gd name="T57" fmla="*/ 695 h 753"/>
                    <a:gd name="T58" fmla="*/ 745 w 2115"/>
                    <a:gd name="T59" fmla="*/ 715 h 753"/>
                    <a:gd name="T60" fmla="*/ 821 w 2115"/>
                    <a:gd name="T61" fmla="*/ 732 h 753"/>
                    <a:gd name="T62" fmla="*/ 898 w 2115"/>
                    <a:gd name="T63" fmla="*/ 744 h 753"/>
                    <a:gd name="T64" fmla="*/ 978 w 2115"/>
                    <a:gd name="T65" fmla="*/ 751 h 753"/>
                    <a:gd name="T66" fmla="*/ 1058 w 2115"/>
                    <a:gd name="T67" fmla="*/ 753 h 753"/>
                    <a:gd name="T68" fmla="*/ 1099 w 2115"/>
                    <a:gd name="T69" fmla="*/ 752 h 753"/>
                    <a:gd name="T70" fmla="*/ 1179 w 2115"/>
                    <a:gd name="T71" fmla="*/ 747 h 753"/>
                    <a:gd name="T72" fmla="*/ 1257 w 2115"/>
                    <a:gd name="T73" fmla="*/ 738 h 753"/>
                    <a:gd name="T74" fmla="*/ 1334 w 2115"/>
                    <a:gd name="T75" fmla="*/ 725 h 753"/>
                    <a:gd name="T76" fmla="*/ 1409 w 2115"/>
                    <a:gd name="T77" fmla="*/ 706 h 753"/>
                    <a:gd name="T78" fmla="*/ 1483 w 2115"/>
                    <a:gd name="T79" fmla="*/ 683 h 753"/>
                    <a:gd name="T80" fmla="*/ 1554 w 2115"/>
                    <a:gd name="T81" fmla="*/ 657 h 753"/>
                    <a:gd name="T82" fmla="*/ 1624 w 2115"/>
                    <a:gd name="T83" fmla="*/ 626 h 753"/>
                    <a:gd name="T84" fmla="*/ 1692 w 2115"/>
                    <a:gd name="T85" fmla="*/ 592 h 753"/>
                    <a:gd name="T86" fmla="*/ 1758 w 2115"/>
                    <a:gd name="T87" fmla="*/ 554 h 753"/>
                    <a:gd name="T88" fmla="*/ 1821 w 2115"/>
                    <a:gd name="T89" fmla="*/ 512 h 753"/>
                    <a:gd name="T90" fmla="*/ 1880 w 2115"/>
                    <a:gd name="T91" fmla="*/ 467 h 753"/>
                    <a:gd name="T92" fmla="*/ 1938 w 2115"/>
                    <a:gd name="T93" fmla="*/ 418 h 753"/>
                    <a:gd name="T94" fmla="*/ 1993 w 2115"/>
                    <a:gd name="T95" fmla="*/ 367 h 753"/>
                    <a:gd name="T96" fmla="*/ 2044 w 2115"/>
                    <a:gd name="T97" fmla="*/ 312 h 753"/>
                    <a:gd name="T98" fmla="*/ 2093 w 2115"/>
                    <a:gd name="T99" fmla="*/ 255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15" h="753">
                      <a:moveTo>
                        <a:pt x="2115" y="225"/>
                      </a:moveTo>
                      <a:lnTo>
                        <a:pt x="2115" y="225"/>
                      </a:lnTo>
                      <a:lnTo>
                        <a:pt x="2058" y="199"/>
                      </a:lnTo>
                      <a:lnTo>
                        <a:pt x="2000" y="174"/>
                      </a:lnTo>
                      <a:lnTo>
                        <a:pt x="1940" y="152"/>
                      </a:lnTo>
                      <a:lnTo>
                        <a:pt x="1878" y="129"/>
                      </a:lnTo>
                      <a:lnTo>
                        <a:pt x="1816" y="109"/>
                      </a:lnTo>
                      <a:lnTo>
                        <a:pt x="1752" y="91"/>
                      </a:lnTo>
                      <a:lnTo>
                        <a:pt x="1686" y="74"/>
                      </a:lnTo>
                      <a:lnTo>
                        <a:pt x="1621" y="59"/>
                      </a:lnTo>
                      <a:lnTo>
                        <a:pt x="1553" y="45"/>
                      </a:lnTo>
                      <a:lnTo>
                        <a:pt x="1485" y="33"/>
                      </a:lnTo>
                      <a:lnTo>
                        <a:pt x="1416" y="22"/>
                      </a:lnTo>
                      <a:lnTo>
                        <a:pt x="1346" y="14"/>
                      </a:lnTo>
                      <a:lnTo>
                        <a:pt x="1275" y="8"/>
                      </a:lnTo>
                      <a:lnTo>
                        <a:pt x="1204" y="3"/>
                      </a:lnTo>
                      <a:lnTo>
                        <a:pt x="1131" y="0"/>
                      </a:lnTo>
                      <a:lnTo>
                        <a:pt x="1058" y="0"/>
                      </a:lnTo>
                      <a:lnTo>
                        <a:pt x="1058" y="0"/>
                      </a:lnTo>
                      <a:lnTo>
                        <a:pt x="985" y="0"/>
                      </a:lnTo>
                      <a:lnTo>
                        <a:pt x="912" y="3"/>
                      </a:lnTo>
                      <a:lnTo>
                        <a:pt x="841" y="8"/>
                      </a:lnTo>
                      <a:lnTo>
                        <a:pt x="770" y="14"/>
                      </a:lnTo>
                      <a:lnTo>
                        <a:pt x="699" y="22"/>
                      </a:lnTo>
                      <a:lnTo>
                        <a:pt x="630" y="33"/>
                      </a:lnTo>
                      <a:lnTo>
                        <a:pt x="563" y="45"/>
                      </a:lnTo>
                      <a:lnTo>
                        <a:pt x="496" y="59"/>
                      </a:lnTo>
                      <a:lnTo>
                        <a:pt x="429" y="74"/>
                      </a:lnTo>
                      <a:lnTo>
                        <a:pt x="364" y="91"/>
                      </a:lnTo>
                      <a:lnTo>
                        <a:pt x="301" y="109"/>
                      </a:lnTo>
                      <a:lnTo>
                        <a:pt x="238" y="129"/>
                      </a:lnTo>
                      <a:lnTo>
                        <a:pt x="176" y="152"/>
                      </a:lnTo>
                      <a:lnTo>
                        <a:pt x="117" y="174"/>
                      </a:lnTo>
                      <a:lnTo>
                        <a:pt x="57" y="199"/>
                      </a:lnTo>
                      <a:lnTo>
                        <a:pt x="0" y="225"/>
                      </a:lnTo>
                      <a:lnTo>
                        <a:pt x="0" y="225"/>
                      </a:lnTo>
                      <a:lnTo>
                        <a:pt x="24" y="255"/>
                      </a:lnTo>
                      <a:lnTo>
                        <a:pt x="48" y="284"/>
                      </a:lnTo>
                      <a:lnTo>
                        <a:pt x="72" y="312"/>
                      </a:lnTo>
                      <a:lnTo>
                        <a:pt x="98" y="340"/>
                      </a:lnTo>
                      <a:lnTo>
                        <a:pt x="124" y="367"/>
                      </a:lnTo>
                      <a:lnTo>
                        <a:pt x="150" y="393"/>
                      </a:lnTo>
                      <a:lnTo>
                        <a:pt x="179" y="418"/>
                      </a:lnTo>
                      <a:lnTo>
                        <a:pt x="207" y="443"/>
                      </a:lnTo>
                      <a:lnTo>
                        <a:pt x="236" y="467"/>
                      </a:lnTo>
                      <a:lnTo>
                        <a:pt x="265" y="489"/>
                      </a:lnTo>
                      <a:lnTo>
                        <a:pt x="296" y="512"/>
                      </a:lnTo>
                      <a:lnTo>
                        <a:pt x="327" y="533"/>
                      </a:lnTo>
                      <a:lnTo>
                        <a:pt x="359" y="554"/>
                      </a:lnTo>
                      <a:lnTo>
                        <a:pt x="391" y="573"/>
                      </a:lnTo>
                      <a:lnTo>
                        <a:pt x="425" y="592"/>
                      </a:lnTo>
                      <a:lnTo>
                        <a:pt x="458" y="609"/>
                      </a:lnTo>
                      <a:lnTo>
                        <a:pt x="491" y="626"/>
                      </a:lnTo>
                      <a:lnTo>
                        <a:pt x="526" y="641"/>
                      </a:lnTo>
                      <a:lnTo>
                        <a:pt x="561" y="657"/>
                      </a:lnTo>
                      <a:lnTo>
                        <a:pt x="597" y="670"/>
                      </a:lnTo>
                      <a:lnTo>
                        <a:pt x="633" y="683"/>
                      </a:lnTo>
                      <a:lnTo>
                        <a:pt x="670" y="695"/>
                      </a:lnTo>
                      <a:lnTo>
                        <a:pt x="706" y="706"/>
                      </a:lnTo>
                      <a:lnTo>
                        <a:pt x="745" y="715"/>
                      </a:lnTo>
                      <a:lnTo>
                        <a:pt x="783" y="725"/>
                      </a:lnTo>
                      <a:lnTo>
                        <a:pt x="821" y="732"/>
                      </a:lnTo>
                      <a:lnTo>
                        <a:pt x="860" y="738"/>
                      </a:lnTo>
                      <a:lnTo>
                        <a:pt x="898" y="744"/>
                      </a:lnTo>
                      <a:lnTo>
                        <a:pt x="938" y="747"/>
                      </a:lnTo>
                      <a:lnTo>
                        <a:pt x="978" y="751"/>
                      </a:lnTo>
                      <a:lnTo>
                        <a:pt x="1018" y="752"/>
                      </a:lnTo>
                      <a:lnTo>
                        <a:pt x="1058" y="753"/>
                      </a:lnTo>
                      <a:lnTo>
                        <a:pt x="1058" y="753"/>
                      </a:lnTo>
                      <a:lnTo>
                        <a:pt x="1099" y="752"/>
                      </a:lnTo>
                      <a:lnTo>
                        <a:pt x="1138" y="751"/>
                      </a:lnTo>
                      <a:lnTo>
                        <a:pt x="1179" y="747"/>
                      </a:lnTo>
                      <a:lnTo>
                        <a:pt x="1218" y="744"/>
                      </a:lnTo>
                      <a:lnTo>
                        <a:pt x="1257" y="738"/>
                      </a:lnTo>
                      <a:lnTo>
                        <a:pt x="1295" y="732"/>
                      </a:lnTo>
                      <a:lnTo>
                        <a:pt x="1334" y="725"/>
                      </a:lnTo>
                      <a:lnTo>
                        <a:pt x="1372" y="715"/>
                      </a:lnTo>
                      <a:lnTo>
                        <a:pt x="1409" y="706"/>
                      </a:lnTo>
                      <a:lnTo>
                        <a:pt x="1446" y="695"/>
                      </a:lnTo>
                      <a:lnTo>
                        <a:pt x="1483" y="683"/>
                      </a:lnTo>
                      <a:lnTo>
                        <a:pt x="1519" y="670"/>
                      </a:lnTo>
                      <a:lnTo>
                        <a:pt x="1554" y="657"/>
                      </a:lnTo>
                      <a:lnTo>
                        <a:pt x="1590" y="641"/>
                      </a:lnTo>
                      <a:lnTo>
                        <a:pt x="1624" y="626"/>
                      </a:lnTo>
                      <a:lnTo>
                        <a:pt x="1659" y="609"/>
                      </a:lnTo>
                      <a:lnTo>
                        <a:pt x="1692" y="592"/>
                      </a:lnTo>
                      <a:lnTo>
                        <a:pt x="1725" y="573"/>
                      </a:lnTo>
                      <a:lnTo>
                        <a:pt x="1758" y="554"/>
                      </a:lnTo>
                      <a:lnTo>
                        <a:pt x="1789" y="533"/>
                      </a:lnTo>
                      <a:lnTo>
                        <a:pt x="1821" y="512"/>
                      </a:lnTo>
                      <a:lnTo>
                        <a:pt x="1850" y="489"/>
                      </a:lnTo>
                      <a:lnTo>
                        <a:pt x="1880" y="467"/>
                      </a:lnTo>
                      <a:lnTo>
                        <a:pt x="1910" y="443"/>
                      </a:lnTo>
                      <a:lnTo>
                        <a:pt x="1938" y="418"/>
                      </a:lnTo>
                      <a:lnTo>
                        <a:pt x="1966" y="393"/>
                      </a:lnTo>
                      <a:lnTo>
                        <a:pt x="1993" y="367"/>
                      </a:lnTo>
                      <a:lnTo>
                        <a:pt x="2019" y="340"/>
                      </a:lnTo>
                      <a:lnTo>
                        <a:pt x="2044" y="312"/>
                      </a:lnTo>
                      <a:lnTo>
                        <a:pt x="2069" y="284"/>
                      </a:lnTo>
                      <a:lnTo>
                        <a:pt x="2093" y="255"/>
                      </a:lnTo>
                      <a:lnTo>
                        <a:pt x="2115" y="225"/>
                      </a:lnTo>
                      <a:close/>
                    </a:path>
                  </a:pathLst>
                </a:custGeom>
                <a:solidFill>
                  <a:srgbClr val="D2E0B6"/>
                </a:solidFill>
                <a:ln>
                  <a:noFill/>
                </a:ln>
              </p:spPr>
              <p:txBody>
                <a:bodyPr vert="horz" wrap="square" lIns="91440" tIns="45720" rIns="91440" bIns="45720" numCol="1" anchor="t" anchorCtr="0" compatLnSpc="1">
                  <a:prstTxWarp prst="textNoShape">
                    <a:avLst/>
                  </a:prstTxWarp>
                </a:bodyPr>
                <a:lstStyle/>
                <a:p>
                  <a:endParaRPr lang="ko-KR" altLang="en-US" sz="2400"/>
                </a:p>
              </p:txBody>
            </p:sp>
            <p:sp>
              <p:nvSpPr>
                <p:cNvPr id="7454" name="Freeform 301"/>
                <p:cNvSpPr>
                  <a:spLocks/>
                </p:cNvSpPr>
                <p:nvPr userDrawn="1"/>
              </p:nvSpPr>
              <p:spPr bwMode="auto">
                <a:xfrm>
                  <a:off x="10759621" y="2431549"/>
                  <a:ext cx="1677988" cy="598488"/>
                </a:xfrm>
                <a:custGeom>
                  <a:avLst/>
                  <a:gdLst>
                    <a:gd name="T0" fmla="*/ 2115 w 2115"/>
                    <a:gd name="T1" fmla="*/ 225 h 753"/>
                    <a:gd name="T2" fmla="*/ 2000 w 2115"/>
                    <a:gd name="T3" fmla="*/ 174 h 753"/>
                    <a:gd name="T4" fmla="*/ 1878 w 2115"/>
                    <a:gd name="T5" fmla="*/ 129 h 753"/>
                    <a:gd name="T6" fmla="*/ 1752 w 2115"/>
                    <a:gd name="T7" fmla="*/ 91 h 753"/>
                    <a:gd name="T8" fmla="*/ 1621 w 2115"/>
                    <a:gd name="T9" fmla="*/ 59 h 753"/>
                    <a:gd name="T10" fmla="*/ 1485 w 2115"/>
                    <a:gd name="T11" fmla="*/ 33 h 753"/>
                    <a:gd name="T12" fmla="*/ 1346 w 2115"/>
                    <a:gd name="T13" fmla="*/ 14 h 753"/>
                    <a:gd name="T14" fmla="*/ 1204 w 2115"/>
                    <a:gd name="T15" fmla="*/ 3 h 753"/>
                    <a:gd name="T16" fmla="*/ 1058 w 2115"/>
                    <a:gd name="T17" fmla="*/ 0 h 753"/>
                    <a:gd name="T18" fmla="*/ 985 w 2115"/>
                    <a:gd name="T19" fmla="*/ 0 h 753"/>
                    <a:gd name="T20" fmla="*/ 841 w 2115"/>
                    <a:gd name="T21" fmla="*/ 8 h 753"/>
                    <a:gd name="T22" fmla="*/ 699 w 2115"/>
                    <a:gd name="T23" fmla="*/ 22 h 753"/>
                    <a:gd name="T24" fmla="*/ 563 w 2115"/>
                    <a:gd name="T25" fmla="*/ 45 h 753"/>
                    <a:gd name="T26" fmla="*/ 429 w 2115"/>
                    <a:gd name="T27" fmla="*/ 74 h 753"/>
                    <a:gd name="T28" fmla="*/ 301 w 2115"/>
                    <a:gd name="T29" fmla="*/ 109 h 753"/>
                    <a:gd name="T30" fmla="*/ 176 w 2115"/>
                    <a:gd name="T31" fmla="*/ 152 h 753"/>
                    <a:gd name="T32" fmla="*/ 57 w 2115"/>
                    <a:gd name="T33" fmla="*/ 199 h 753"/>
                    <a:gd name="T34" fmla="*/ 0 w 2115"/>
                    <a:gd name="T35" fmla="*/ 225 h 753"/>
                    <a:gd name="T36" fmla="*/ 48 w 2115"/>
                    <a:gd name="T37" fmla="*/ 284 h 753"/>
                    <a:gd name="T38" fmla="*/ 98 w 2115"/>
                    <a:gd name="T39" fmla="*/ 340 h 753"/>
                    <a:gd name="T40" fmla="*/ 150 w 2115"/>
                    <a:gd name="T41" fmla="*/ 393 h 753"/>
                    <a:gd name="T42" fmla="*/ 207 w 2115"/>
                    <a:gd name="T43" fmla="*/ 443 h 753"/>
                    <a:gd name="T44" fmla="*/ 265 w 2115"/>
                    <a:gd name="T45" fmla="*/ 489 h 753"/>
                    <a:gd name="T46" fmla="*/ 327 w 2115"/>
                    <a:gd name="T47" fmla="*/ 533 h 753"/>
                    <a:gd name="T48" fmla="*/ 391 w 2115"/>
                    <a:gd name="T49" fmla="*/ 573 h 753"/>
                    <a:gd name="T50" fmla="*/ 458 w 2115"/>
                    <a:gd name="T51" fmla="*/ 609 h 753"/>
                    <a:gd name="T52" fmla="*/ 526 w 2115"/>
                    <a:gd name="T53" fmla="*/ 641 h 753"/>
                    <a:gd name="T54" fmla="*/ 597 w 2115"/>
                    <a:gd name="T55" fmla="*/ 670 h 753"/>
                    <a:gd name="T56" fmla="*/ 670 w 2115"/>
                    <a:gd name="T57" fmla="*/ 695 h 753"/>
                    <a:gd name="T58" fmla="*/ 745 w 2115"/>
                    <a:gd name="T59" fmla="*/ 715 h 753"/>
                    <a:gd name="T60" fmla="*/ 821 w 2115"/>
                    <a:gd name="T61" fmla="*/ 732 h 753"/>
                    <a:gd name="T62" fmla="*/ 898 w 2115"/>
                    <a:gd name="T63" fmla="*/ 744 h 753"/>
                    <a:gd name="T64" fmla="*/ 978 w 2115"/>
                    <a:gd name="T65" fmla="*/ 751 h 753"/>
                    <a:gd name="T66" fmla="*/ 1058 w 2115"/>
                    <a:gd name="T67" fmla="*/ 753 h 753"/>
                    <a:gd name="T68" fmla="*/ 1099 w 2115"/>
                    <a:gd name="T69" fmla="*/ 752 h 753"/>
                    <a:gd name="T70" fmla="*/ 1179 w 2115"/>
                    <a:gd name="T71" fmla="*/ 747 h 753"/>
                    <a:gd name="T72" fmla="*/ 1257 w 2115"/>
                    <a:gd name="T73" fmla="*/ 738 h 753"/>
                    <a:gd name="T74" fmla="*/ 1334 w 2115"/>
                    <a:gd name="T75" fmla="*/ 725 h 753"/>
                    <a:gd name="T76" fmla="*/ 1409 w 2115"/>
                    <a:gd name="T77" fmla="*/ 706 h 753"/>
                    <a:gd name="T78" fmla="*/ 1483 w 2115"/>
                    <a:gd name="T79" fmla="*/ 683 h 753"/>
                    <a:gd name="T80" fmla="*/ 1554 w 2115"/>
                    <a:gd name="T81" fmla="*/ 657 h 753"/>
                    <a:gd name="T82" fmla="*/ 1624 w 2115"/>
                    <a:gd name="T83" fmla="*/ 626 h 753"/>
                    <a:gd name="T84" fmla="*/ 1692 w 2115"/>
                    <a:gd name="T85" fmla="*/ 592 h 753"/>
                    <a:gd name="T86" fmla="*/ 1758 w 2115"/>
                    <a:gd name="T87" fmla="*/ 554 h 753"/>
                    <a:gd name="T88" fmla="*/ 1821 w 2115"/>
                    <a:gd name="T89" fmla="*/ 512 h 753"/>
                    <a:gd name="T90" fmla="*/ 1880 w 2115"/>
                    <a:gd name="T91" fmla="*/ 467 h 753"/>
                    <a:gd name="T92" fmla="*/ 1938 w 2115"/>
                    <a:gd name="T93" fmla="*/ 418 h 753"/>
                    <a:gd name="T94" fmla="*/ 1993 w 2115"/>
                    <a:gd name="T95" fmla="*/ 367 h 753"/>
                    <a:gd name="T96" fmla="*/ 2044 w 2115"/>
                    <a:gd name="T97" fmla="*/ 312 h 753"/>
                    <a:gd name="T98" fmla="*/ 2093 w 2115"/>
                    <a:gd name="T99" fmla="*/ 255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15" h="753">
                      <a:moveTo>
                        <a:pt x="2115" y="225"/>
                      </a:moveTo>
                      <a:lnTo>
                        <a:pt x="2115" y="225"/>
                      </a:lnTo>
                      <a:lnTo>
                        <a:pt x="2058" y="199"/>
                      </a:lnTo>
                      <a:lnTo>
                        <a:pt x="2000" y="174"/>
                      </a:lnTo>
                      <a:lnTo>
                        <a:pt x="1940" y="152"/>
                      </a:lnTo>
                      <a:lnTo>
                        <a:pt x="1878" y="129"/>
                      </a:lnTo>
                      <a:lnTo>
                        <a:pt x="1816" y="109"/>
                      </a:lnTo>
                      <a:lnTo>
                        <a:pt x="1752" y="91"/>
                      </a:lnTo>
                      <a:lnTo>
                        <a:pt x="1686" y="74"/>
                      </a:lnTo>
                      <a:lnTo>
                        <a:pt x="1621" y="59"/>
                      </a:lnTo>
                      <a:lnTo>
                        <a:pt x="1553" y="45"/>
                      </a:lnTo>
                      <a:lnTo>
                        <a:pt x="1485" y="33"/>
                      </a:lnTo>
                      <a:lnTo>
                        <a:pt x="1416" y="22"/>
                      </a:lnTo>
                      <a:lnTo>
                        <a:pt x="1346" y="14"/>
                      </a:lnTo>
                      <a:lnTo>
                        <a:pt x="1275" y="8"/>
                      </a:lnTo>
                      <a:lnTo>
                        <a:pt x="1204" y="3"/>
                      </a:lnTo>
                      <a:lnTo>
                        <a:pt x="1131" y="0"/>
                      </a:lnTo>
                      <a:lnTo>
                        <a:pt x="1058" y="0"/>
                      </a:lnTo>
                      <a:lnTo>
                        <a:pt x="1058" y="0"/>
                      </a:lnTo>
                      <a:lnTo>
                        <a:pt x="985" y="0"/>
                      </a:lnTo>
                      <a:lnTo>
                        <a:pt x="912" y="3"/>
                      </a:lnTo>
                      <a:lnTo>
                        <a:pt x="841" y="8"/>
                      </a:lnTo>
                      <a:lnTo>
                        <a:pt x="770" y="14"/>
                      </a:lnTo>
                      <a:lnTo>
                        <a:pt x="699" y="22"/>
                      </a:lnTo>
                      <a:lnTo>
                        <a:pt x="630" y="33"/>
                      </a:lnTo>
                      <a:lnTo>
                        <a:pt x="563" y="45"/>
                      </a:lnTo>
                      <a:lnTo>
                        <a:pt x="496" y="59"/>
                      </a:lnTo>
                      <a:lnTo>
                        <a:pt x="429" y="74"/>
                      </a:lnTo>
                      <a:lnTo>
                        <a:pt x="364" y="91"/>
                      </a:lnTo>
                      <a:lnTo>
                        <a:pt x="301" y="109"/>
                      </a:lnTo>
                      <a:lnTo>
                        <a:pt x="238" y="129"/>
                      </a:lnTo>
                      <a:lnTo>
                        <a:pt x="176" y="152"/>
                      </a:lnTo>
                      <a:lnTo>
                        <a:pt x="117" y="174"/>
                      </a:lnTo>
                      <a:lnTo>
                        <a:pt x="57" y="199"/>
                      </a:lnTo>
                      <a:lnTo>
                        <a:pt x="0" y="225"/>
                      </a:lnTo>
                      <a:lnTo>
                        <a:pt x="0" y="225"/>
                      </a:lnTo>
                      <a:lnTo>
                        <a:pt x="24" y="255"/>
                      </a:lnTo>
                      <a:lnTo>
                        <a:pt x="48" y="284"/>
                      </a:lnTo>
                      <a:lnTo>
                        <a:pt x="72" y="312"/>
                      </a:lnTo>
                      <a:lnTo>
                        <a:pt x="98" y="340"/>
                      </a:lnTo>
                      <a:lnTo>
                        <a:pt x="124" y="367"/>
                      </a:lnTo>
                      <a:lnTo>
                        <a:pt x="150" y="393"/>
                      </a:lnTo>
                      <a:lnTo>
                        <a:pt x="179" y="418"/>
                      </a:lnTo>
                      <a:lnTo>
                        <a:pt x="207" y="443"/>
                      </a:lnTo>
                      <a:lnTo>
                        <a:pt x="236" y="467"/>
                      </a:lnTo>
                      <a:lnTo>
                        <a:pt x="265" y="489"/>
                      </a:lnTo>
                      <a:lnTo>
                        <a:pt x="296" y="512"/>
                      </a:lnTo>
                      <a:lnTo>
                        <a:pt x="327" y="533"/>
                      </a:lnTo>
                      <a:lnTo>
                        <a:pt x="359" y="554"/>
                      </a:lnTo>
                      <a:lnTo>
                        <a:pt x="391" y="573"/>
                      </a:lnTo>
                      <a:lnTo>
                        <a:pt x="425" y="592"/>
                      </a:lnTo>
                      <a:lnTo>
                        <a:pt x="458" y="609"/>
                      </a:lnTo>
                      <a:lnTo>
                        <a:pt x="491" y="626"/>
                      </a:lnTo>
                      <a:lnTo>
                        <a:pt x="526" y="641"/>
                      </a:lnTo>
                      <a:lnTo>
                        <a:pt x="561" y="657"/>
                      </a:lnTo>
                      <a:lnTo>
                        <a:pt x="597" y="670"/>
                      </a:lnTo>
                      <a:lnTo>
                        <a:pt x="633" y="683"/>
                      </a:lnTo>
                      <a:lnTo>
                        <a:pt x="670" y="695"/>
                      </a:lnTo>
                      <a:lnTo>
                        <a:pt x="706" y="706"/>
                      </a:lnTo>
                      <a:lnTo>
                        <a:pt x="745" y="715"/>
                      </a:lnTo>
                      <a:lnTo>
                        <a:pt x="783" y="725"/>
                      </a:lnTo>
                      <a:lnTo>
                        <a:pt x="821" y="732"/>
                      </a:lnTo>
                      <a:lnTo>
                        <a:pt x="860" y="738"/>
                      </a:lnTo>
                      <a:lnTo>
                        <a:pt x="898" y="744"/>
                      </a:lnTo>
                      <a:lnTo>
                        <a:pt x="938" y="747"/>
                      </a:lnTo>
                      <a:lnTo>
                        <a:pt x="978" y="751"/>
                      </a:lnTo>
                      <a:lnTo>
                        <a:pt x="1018" y="752"/>
                      </a:lnTo>
                      <a:lnTo>
                        <a:pt x="1058" y="753"/>
                      </a:lnTo>
                      <a:lnTo>
                        <a:pt x="1058" y="753"/>
                      </a:lnTo>
                      <a:lnTo>
                        <a:pt x="1099" y="752"/>
                      </a:lnTo>
                      <a:lnTo>
                        <a:pt x="1138" y="751"/>
                      </a:lnTo>
                      <a:lnTo>
                        <a:pt x="1179" y="747"/>
                      </a:lnTo>
                      <a:lnTo>
                        <a:pt x="1218" y="744"/>
                      </a:lnTo>
                      <a:lnTo>
                        <a:pt x="1257" y="738"/>
                      </a:lnTo>
                      <a:lnTo>
                        <a:pt x="1295" y="732"/>
                      </a:lnTo>
                      <a:lnTo>
                        <a:pt x="1334" y="725"/>
                      </a:lnTo>
                      <a:lnTo>
                        <a:pt x="1372" y="715"/>
                      </a:lnTo>
                      <a:lnTo>
                        <a:pt x="1409" y="706"/>
                      </a:lnTo>
                      <a:lnTo>
                        <a:pt x="1446" y="695"/>
                      </a:lnTo>
                      <a:lnTo>
                        <a:pt x="1483" y="683"/>
                      </a:lnTo>
                      <a:lnTo>
                        <a:pt x="1519" y="670"/>
                      </a:lnTo>
                      <a:lnTo>
                        <a:pt x="1554" y="657"/>
                      </a:lnTo>
                      <a:lnTo>
                        <a:pt x="1590" y="641"/>
                      </a:lnTo>
                      <a:lnTo>
                        <a:pt x="1624" y="626"/>
                      </a:lnTo>
                      <a:lnTo>
                        <a:pt x="1659" y="609"/>
                      </a:lnTo>
                      <a:lnTo>
                        <a:pt x="1692" y="592"/>
                      </a:lnTo>
                      <a:lnTo>
                        <a:pt x="1725" y="573"/>
                      </a:lnTo>
                      <a:lnTo>
                        <a:pt x="1758" y="554"/>
                      </a:lnTo>
                      <a:lnTo>
                        <a:pt x="1789" y="533"/>
                      </a:lnTo>
                      <a:lnTo>
                        <a:pt x="1821" y="512"/>
                      </a:lnTo>
                      <a:lnTo>
                        <a:pt x="1850" y="489"/>
                      </a:lnTo>
                      <a:lnTo>
                        <a:pt x="1880" y="467"/>
                      </a:lnTo>
                      <a:lnTo>
                        <a:pt x="1910" y="443"/>
                      </a:lnTo>
                      <a:lnTo>
                        <a:pt x="1938" y="418"/>
                      </a:lnTo>
                      <a:lnTo>
                        <a:pt x="1966" y="393"/>
                      </a:lnTo>
                      <a:lnTo>
                        <a:pt x="1993" y="367"/>
                      </a:lnTo>
                      <a:lnTo>
                        <a:pt x="2019" y="340"/>
                      </a:lnTo>
                      <a:lnTo>
                        <a:pt x="2044" y="312"/>
                      </a:lnTo>
                      <a:lnTo>
                        <a:pt x="2069" y="284"/>
                      </a:lnTo>
                      <a:lnTo>
                        <a:pt x="2093" y="255"/>
                      </a:lnTo>
                      <a:lnTo>
                        <a:pt x="2115" y="22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55" name="Freeform 302"/>
                <p:cNvSpPr>
                  <a:spLocks/>
                </p:cNvSpPr>
                <p:nvPr userDrawn="1"/>
              </p:nvSpPr>
              <p:spPr bwMode="auto">
                <a:xfrm>
                  <a:off x="11326358" y="2509336"/>
                  <a:ext cx="398463" cy="257175"/>
                </a:xfrm>
                <a:custGeom>
                  <a:avLst/>
                  <a:gdLst>
                    <a:gd name="T0" fmla="*/ 251 w 503"/>
                    <a:gd name="T1" fmla="*/ 0 h 325"/>
                    <a:gd name="T2" fmla="*/ 201 w 503"/>
                    <a:gd name="T3" fmla="*/ 2 h 325"/>
                    <a:gd name="T4" fmla="*/ 153 w 503"/>
                    <a:gd name="T5" fmla="*/ 12 h 325"/>
                    <a:gd name="T6" fmla="*/ 110 w 503"/>
                    <a:gd name="T7" fmla="*/ 27 h 325"/>
                    <a:gd name="T8" fmla="*/ 74 w 503"/>
                    <a:gd name="T9" fmla="*/ 48 h 325"/>
                    <a:gd name="T10" fmla="*/ 43 w 503"/>
                    <a:gd name="T11" fmla="*/ 71 h 325"/>
                    <a:gd name="T12" fmla="*/ 20 w 503"/>
                    <a:gd name="T13" fmla="*/ 99 h 325"/>
                    <a:gd name="T14" fmla="*/ 5 w 503"/>
                    <a:gd name="T15" fmla="*/ 130 h 325"/>
                    <a:gd name="T16" fmla="*/ 0 w 503"/>
                    <a:gd name="T17" fmla="*/ 162 h 325"/>
                    <a:gd name="T18" fmla="*/ 1 w 503"/>
                    <a:gd name="T19" fmla="*/ 178 h 325"/>
                    <a:gd name="T20" fmla="*/ 12 w 503"/>
                    <a:gd name="T21" fmla="*/ 210 h 325"/>
                    <a:gd name="T22" fmla="*/ 31 w 503"/>
                    <a:gd name="T23" fmla="*/ 239 h 325"/>
                    <a:gd name="T24" fmla="*/ 57 w 503"/>
                    <a:gd name="T25" fmla="*/ 265 h 325"/>
                    <a:gd name="T26" fmla="*/ 91 w 503"/>
                    <a:gd name="T27" fmla="*/ 288 h 325"/>
                    <a:gd name="T28" fmla="*/ 132 w 503"/>
                    <a:gd name="T29" fmla="*/ 304 h 325"/>
                    <a:gd name="T30" fmla="*/ 177 w 503"/>
                    <a:gd name="T31" fmla="*/ 317 h 325"/>
                    <a:gd name="T32" fmla="*/ 226 w 503"/>
                    <a:gd name="T33" fmla="*/ 323 h 325"/>
                    <a:gd name="T34" fmla="*/ 251 w 503"/>
                    <a:gd name="T35" fmla="*/ 325 h 325"/>
                    <a:gd name="T36" fmla="*/ 302 w 503"/>
                    <a:gd name="T37" fmla="*/ 321 h 325"/>
                    <a:gd name="T38" fmla="*/ 349 w 503"/>
                    <a:gd name="T39" fmla="*/ 311 h 325"/>
                    <a:gd name="T40" fmla="*/ 392 w 503"/>
                    <a:gd name="T41" fmla="*/ 296 h 325"/>
                    <a:gd name="T42" fmla="*/ 429 w 503"/>
                    <a:gd name="T43" fmla="*/ 277 h 325"/>
                    <a:gd name="T44" fmla="*/ 460 w 503"/>
                    <a:gd name="T45" fmla="*/ 253 h 325"/>
                    <a:gd name="T46" fmla="*/ 483 w 503"/>
                    <a:gd name="T47" fmla="*/ 225 h 325"/>
                    <a:gd name="T48" fmla="*/ 497 w 503"/>
                    <a:gd name="T49" fmla="*/ 195 h 325"/>
                    <a:gd name="T50" fmla="*/ 503 w 503"/>
                    <a:gd name="T51" fmla="*/ 162 h 325"/>
                    <a:gd name="T52" fmla="*/ 502 w 503"/>
                    <a:gd name="T53" fmla="*/ 145 h 325"/>
                    <a:gd name="T54" fmla="*/ 491 w 503"/>
                    <a:gd name="T55" fmla="*/ 114 h 325"/>
                    <a:gd name="T56" fmla="*/ 472 w 503"/>
                    <a:gd name="T57" fmla="*/ 84 h 325"/>
                    <a:gd name="T58" fmla="*/ 445 w 503"/>
                    <a:gd name="T59" fmla="*/ 58 h 325"/>
                    <a:gd name="T60" fmla="*/ 411 w 503"/>
                    <a:gd name="T61" fmla="*/ 37 h 325"/>
                    <a:gd name="T62" fmla="*/ 371 w 503"/>
                    <a:gd name="T63" fmla="*/ 19 h 325"/>
                    <a:gd name="T64" fmla="*/ 326 w 503"/>
                    <a:gd name="T65" fmla="*/ 7 h 325"/>
                    <a:gd name="T66" fmla="*/ 277 w 503"/>
                    <a:gd name="T67" fmla="*/ 0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3" h="325">
                      <a:moveTo>
                        <a:pt x="251" y="0"/>
                      </a:moveTo>
                      <a:lnTo>
                        <a:pt x="251" y="0"/>
                      </a:lnTo>
                      <a:lnTo>
                        <a:pt x="226" y="0"/>
                      </a:lnTo>
                      <a:lnTo>
                        <a:pt x="201" y="2"/>
                      </a:lnTo>
                      <a:lnTo>
                        <a:pt x="177" y="7"/>
                      </a:lnTo>
                      <a:lnTo>
                        <a:pt x="153" y="12"/>
                      </a:lnTo>
                      <a:lnTo>
                        <a:pt x="132" y="19"/>
                      </a:lnTo>
                      <a:lnTo>
                        <a:pt x="110" y="27"/>
                      </a:lnTo>
                      <a:lnTo>
                        <a:pt x="91" y="37"/>
                      </a:lnTo>
                      <a:lnTo>
                        <a:pt x="74" y="48"/>
                      </a:lnTo>
                      <a:lnTo>
                        <a:pt x="57" y="58"/>
                      </a:lnTo>
                      <a:lnTo>
                        <a:pt x="43" y="71"/>
                      </a:lnTo>
                      <a:lnTo>
                        <a:pt x="31" y="84"/>
                      </a:lnTo>
                      <a:lnTo>
                        <a:pt x="20" y="99"/>
                      </a:lnTo>
                      <a:lnTo>
                        <a:pt x="12" y="114"/>
                      </a:lnTo>
                      <a:lnTo>
                        <a:pt x="5" y="130"/>
                      </a:lnTo>
                      <a:lnTo>
                        <a:pt x="1" y="145"/>
                      </a:lnTo>
                      <a:lnTo>
                        <a:pt x="0" y="162"/>
                      </a:lnTo>
                      <a:lnTo>
                        <a:pt x="0" y="162"/>
                      </a:lnTo>
                      <a:lnTo>
                        <a:pt x="1" y="178"/>
                      </a:lnTo>
                      <a:lnTo>
                        <a:pt x="5" y="195"/>
                      </a:lnTo>
                      <a:lnTo>
                        <a:pt x="12" y="210"/>
                      </a:lnTo>
                      <a:lnTo>
                        <a:pt x="20" y="225"/>
                      </a:lnTo>
                      <a:lnTo>
                        <a:pt x="31" y="239"/>
                      </a:lnTo>
                      <a:lnTo>
                        <a:pt x="43" y="253"/>
                      </a:lnTo>
                      <a:lnTo>
                        <a:pt x="57" y="265"/>
                      </a:lnTo>
                      <a:lnTo>
                        <a:pt x="74" y="277"/>
                      </a:lnTo>
                      <a:lnTo>
                        <a:pt x="91" y="288"/>
                      </a:lnTo>
                      <a:lnTo>
                        <a:pt x="110" y="296"/>
                      </a:lnTo>
                      <a:lnTo>
                        <a:pt x="132" y="304"/>
                      </a:lnTo>
                      <a:lnTo>
                        <a:pt x="153" y="311"/>
                      </a:lnTo>
                      <a:lnTo>
                        <a:pt x="177" y="317"/>
                      </a:lnTo>
                      <a:lnTo>
                        <a:pt x="201" y="321"/>
                      </a:lnTo>
                      <a:lnTo>
                        <a:pt x="226" y="323"/>
                      </a:lnTo>
                      <a:lnTo>
                        <a:pt x="251" y="325"/>
                      </a:lnTo>
                      <a:lnTo>
                        <a:pt x="251" y="325"/>
                      </a:lnTo>
                      <a:lnTo>
                        <a:pt x="277" y="323"/>
                      </a:lnTo>
                      <a:lnTo>
                        <a:pt x="302" y="321"/>
                      </a:lnTo>
                      <a:lnTo>
                        <a:pt x="326" y="317"/>
                      </a:lnTo>
                      <a:lnTo>
                        <a:pt x="349" y="311"/>
                      </a:lnTo>
                      <a:lnTo>
                        <a:pt x="371" y="304"/>
                      </a:lnTo>
                      <a:lnTo>
                        <a:pt x="392" y="296"/>
                      </a:lnTo>
                      <a:lnTo>
                        <a:pt x="411" y="288"/>
                      </a:lnTo>
                      <a:lnTo>
                        <a:pt x="429" y="277"/>
                      </a:lnTo>
                      <a:lnTo>
                        <a:pt x="445" y="265"/>
                      </a:lnTo>
                      <a:lnTo>
                        <a:pt x="460" y="253"/>
                      </a:lnTo>
                      <a:lnTo>
                        <a:pt x="472" y="239"/>
                      </a:lnTo>
                      <a:lnTo>
                        <a:pt x="483" y="225"/>
                      </a:lnTo>
                      <a:lnTo>
                        <a:pt x="491" y="210"/>
                      </a:lnTo>
                      <a:lnTo>
                        <a:pt x="497" y="195"/>
                      </a:lnTo>
                      <a:lnTo>
                        <a:pt x="502" y="178"/>
                      </a:lnTo>
                      <a:lnTo>
                        <a:pt x="503" y="162"/>
                      </a:lnTo>
                      <a:lnTo>
                        <a:pt x="503" y="162"/>
                      </a:lnTo>
                      <a:lnTo>
                        <a:pt x="502" y="145"/>
                      </a:lnTo>
                      <a:lnTo>
                        <a:pt x="497" y="130"/>
                      </a:lnTo>
                      <a:lnTo>
                        <a:pt x="491" y="114"/>
                      </a:lnTo>
                      <a:lnTo>
                        <a:pt x="483" y="99"/>
                      </a:lnTo>
                      <a:lnTo>
                        <a:pt x="472" y="84"/>
                      </a:lnTo>
                      <a:lnTo>
                        <a:pt x="460" y="71"/>
                      </a:lnTo>
                      <a:lnTo>
                        <a:pt x="445" y="58"/>
                      </a:lnTo>
                      <a:lnTo>
                        <a:pt x="429" y="48"/>
                      </a:lnTo>
                      <a:lnTo>
                        <a:pt x="411" y="37"/>
                      </a:lnTo>
                      <a:lnTo>
                        <a:pt x="392" y="27"/>
                      </a:lnTo>
                      <a:lnTo>
                        <a:pt x="371" y="19"/>
                      </a:lnTo>
                      <a:lnTo>
                        <a:pt x="349" y="12"/>
                      </a:lnTo>
                      <a:lnTo>
                        <a:pt x="326" y="7"/>
                      </a:lnTo>
                      <a:lnTo>
                        <a:pt x="302" y="2"/>
                      </a:lnTo>
                      <a:lnTo>
                        <a:pt x="277" y="0"/>
                      </a:lnTo>
                      <a:lnTo>
                        <a:pt x="251" y="0"/>
                      </a:lnTo>
                      <a:close/>
                    </a:path>
                  </a:pathLst>
                </a:custGeom>
                <a:solidFill>
                  <a:srgbClr val="C2CF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56" name="Freeform 303"/>
                <p:cNvSpPr>
                  <a:spLocks/>
                </p:cNvSpPr>
                <p:nvPr userDrawn="1"/>
              </p:nvSpPr>
              <p:spPr bwMode="auto">
                <a:xfrm>
                  <a:off x="11326358" y="2509336"/>
                  <a:ext cx="398463" cy="257175"/>
                </a:xfrm>
                <a:custGeom>
                  <a:avLst/>
                  <a:gdLst>
                    <a:gd name="T0" fmla="*/ 251 w 503"/>
                    <a:gd name="T1" fmla="*/ 0 h 325"/>
                    <a:gd name="T2" fmla="*/ 201 w 503"/>
                    <a:gd name="T3" fmla="*/ 2 h 325"/>
                    <a:gd name="T4" fmla="*/ 153 w 503"/>
                    <a:gd name="T5" fmla="*/ 12 h 325"/>
                    <a:gd name="T6" fmla="*/ 110 w 503"/>
                    <a:gd name="T7" fmla="*/ 27 h 325"/>
                    <a:gd name="T8" fmla="*/ 74 w 503"/>
                    <a:gd name="T9" fmla="*/ 48 h 325"/>
                    <a:gd name="T10" fmla="*/ 43 w 503"/>
                    <a:gd name="T11" fmla="*/ 71 h 325"/>
                    <a:gd name="T12" fmla="*/ 20 w 503"/>
                    <a:gd name="T13" fmla="*/ 99 h 325"/>
                    <a:gd name="T14" fmla="*/ 5 w 503"/>
                    <a:gd name="T15" fmla="*/ 130 h 325"/>
                    <a:gd name="T16" fmla="*/ 0 w 503"/>
                    <a:gd name="T17" fmla="*/ 162 h 325"/>
                    <a:gd name="T18" fmla="*/ 1 w 503"/>
                    <a:gd name="T19" fmla="*/ 178 h 325"/>
                    <a:gd name="T20" fmla="*/ 12 w 503"/>
                    <a:gd name="T21" fmla="*/ 210 h 325"/>
                    <a:gd name="T22" fmla="*/ 31 w 503"/>
                    <a:gd name="T23" fmla="*/ 239 h 325"/>
                    <a:gd name="T24" fmla="*/ 57 w 503"/>
                    <a:gd name="T25" fmla="*/ 265 h 325"/>
                    <a:gd name="T26" fmla="*/ 91 w 503"/>
                    <a:gd name="T27" fmla="*/ 288 h 325"/>
                    <a:gd name="T28" fmla="*/ 132 w 503"/>
                    <a:gd name="T29" fmla="*/ 304 h 325"/>
                    <a:gd name="T30" fmla="*/ 177 w 503"/>
                    <a:gd name="T31" fmla="*/ 317 h 325"/>
                    <a:gd name="T32" fmla="*/ 226 w 503"/>
                    <a:gd name="T33" fmla="*/ 323 h 325"/>
                    <a:gd name="T34" fmla="*/ 251 w 503"/>
                    <a:gd name="T35" fmla="*/ 325 h 325"/>
                    <a:gd name="T36" fmla="*/ 302 w 503"/>
                    <a:gd name="T37" fmla="*/ 321 h 325"/>
                    <a:gd name="T38" fmla="*/ 349 w 503"/>
                    <a:gd name="T39" fmla="*/ 311 h 325"/>
                    <a:gd name="T40" fmla="*/ 392 w 503"/>
                    <a:gd name="T41" fmla="*/ 296 h 325"/>
                    <a:gd name="T42" fmla="*/ 429 w 503"/>
                    <a:gd name="T43" fmla="*/ 277 h 325"/>
                    <a:gd name="T44" fmla="*/ 460 w 503"/>
                    <a:gd name="T45" fmla="*/ 253 h 325"/>
                    <a:gd name="T46" fmla="*/ 483 w 503"/>
                    <a:gd name="T47" fmla="*/ 225 h 325"/>
                    <a:gd name="T48" fmla="*/ 497 w 503"/>
                    <a:gd name="T49" fmla="*/ 195 h 325"/>
                    <a:gd name="T50" fmla="*/ 503 w 503"/>
                    <a:gd name="T51" fmla="*/ 162 h 325"/>
                    <a:gd name="T52" fmla="*/ 502 w 503"/>
                    <a:gd name="T53" fmla="*/ 145 h 325"/>
                    <a:gd name="T54" fmla="*/ 491 w 503"/>
                    <a:gd name="T55" fmla="*/ 114 h 325"/>
                    <a:gd name="T56" fmla="*/ 472 w 503"/>
                    <a:gd name="T57" fmla="*/ 84 h 325"/>
                    <a:gd name="T58" fmla="*/ 445 w 503"/>
                    <a:gd name="T59" fmla="*/ 58 h 325"/>
                    <a:gd name="T60" fmla="*/ 411 w 503"/>
                    <a:gd name="T61" fmla="*/ 37 h 325"/>
                    <a:gd name="T62" fmla="*/ 371 w 503"/>
                    <a:gd name="T63" fmla="*/ 19 h 325"/>
                    <a:gd name="T64" fmla="*/ 326 w 503"/>
                    <a:gd name="T65" fmla="*/ 7 h 325"/>
                    <a:gd name="T66" fmla="*/ 277 w 503"/>
                    <a:gd name="T67" fmla="*/ 0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3" h="325">
                      <a:moveTo>
                        <a:pt x="251" y="0"/>
                      </a:moveTo>
                      <a:lnTo>
                        <a:pt x="251" y="0"/>
                      </a:lnTo>
                      <a:lnTo>
                        <a:pt x="226" y="0"/>
                      </a:lnTo>
                      <a:lnTo>
                        <a:pt x="201" y="2"/>
                      </a:lnTo>
                      <a:lnTo>
                        <a:pt x="177" y="7"/>
                      </a:lnTo>
                      <a:lnTo>
                        <a:pt x="153" y="12"/>
                      </a:lnTo>
                      <a:lnTo>
                        <a:pt x="132" y="19"/>
                      </a:lnTo>
                      <a:lnTo>
                        <a:pt x="110" y="27"/>
                      </a:lnTo>
                      <a:lnTo>
                        <a:pt x="91" y="37"/>
                      </a:lnTo>
                      <a:lnTo>
                        <a:pt x="74" y="48"/>
                      </a:lnTo>
                      <a:lnTo>
                        <a:pt x="57" y="58"/>
                      </a:lnTo>
                      <a:lnTo>
                        <a:pt x="43" y="71"/>
                      </a:lnTo>
                      <a:lnTo>
                        <a:pt x="31" y="84"/>
                      </a:lnTo>
                      <a:lnTo>
                        <a:pt x="20" y="99"/>
                      </a:lnTo>
                      <a:lnTo>
                        <a:pt x="12" y="114"/>
                      </a:lnTo>
                      <a:lnTo>
                        <a:pt x="5" y="130"/>
                      </a:lnTo>
                      <a:lnTo>
                        <a:pt x="1" y="145"/>
                      </a:lnTo>
                      <a:lnTo>
                        <a:pt x="0" y="162"/>
                      </a:lnTo>
                      <a:lnTo>
                        <a:pt x="0" y="162"/>
                      </a:lnTo>
                      <a:lnTo>
                        <a:pt x="1" y="178"/>
                      </a:lnTo>
                      <a:lnTo>
                        <a:pt x="5" y="195"/>
                      </a:lnTo>
                      <a:lnTo>
                        <a:pt x="12" y="210"/>
                      </a:lnTo>
                      <a:lnTo>
                        <a:pt x="20" y="225"/>
                      </a:lnTo>
                      <a:lnTo>
                        <a:pt x="31" y="239"/>
                      </a:lnTo>
                      <a:lnTo>
                        <a:pt x="43" y="253"/>
                      </a:lnTo>
                      <a:lnTo>
                        <a:pt x="57" y="265"/>
                      </a:lnTo>
                      <a:lnTo>
                        <a:pt x="74" y="277"/>
                      </a:lnTo>
                      <a:lnTo>
                        <a:pt x="91" y="288"/>
                      </a:lnTo>
                      <a:lnTo>
                        <a:pt x="110" y="296"/>
                      </a:lnTo>
                      <a:lnTo>
                        <a:pt x="132" y="304"/>
                      </a:lnTo>
                      <a:lnTo>
                        <a:pt x="153" y="311"/>
                      </a:lnTo>
                      <a:lnTo>
                        <a:pt x="177" y="317"/>
                      </a:lnTo>
                      <a:lnTo>
                        <a:pt x="201" y="321"/>
                      </a:lnTo>
                      <a:lnTo>
                        <a:pt x="226" y="323"/>
                      </a:lnTo>
                      <a:lnTo>
                        <a:pt x="251" y="325"/>
                      </a:lnTo>
                      <a:lnTo>
                        <a:pt x="251" y="325"/>
                      </a:lnTo>
                      <a:lnTo>
                        <a:pt x="277" y="323"/>
                      </a:lnTo>
                      <a:lnTo>
                        <a:pt x="302" y="321"/>
                      </a:lnTo>
                      <a:lnTo>
                        <a:pt x="326" y="317"/>
                      </a:lnTo>
                      <a:lnTo>
                        <a:pt x="349" y="311"/>
                      </a:lnTo>
                      <a:lnTo>
                        <a:pt x="371" y="304"/>
                      </a:lnTo>
                      <a:lnTo>
                        <a:pt x="392" y="296"/>
                      </a:lnTo>
                      <a:lnTo>
                        <a:pt x="411" y="288"/>
                      </a:lnTo>
                      <a:lnTo>
                        <a:pt x="429" y="277"/>
                      </a:lnTo>
                      <a:lnTo>
                        <a:pt x="445" y="265"/>
                      </a:lnTo>
                      <a:lnTo>
                        <a:pt x="460" y="253"/>
                      </a:lnTo>
                      <a:lnTo>
                        <a:pt x="472" y="239"/>
                      </a:lnTo>
                      <a:lnTo>
                        <a:pt x="483" y="225"/>
                      </a:lnTo>
                      <a:lnTo>
                        <a:pt x="491" y="210"/>
                      </a:lnTo>
                      <a:lnTo>
                        <a:pt x="497" y="195"/>
                      </a:lnTo>
                      <a:lnTo>
                        <a:pt x="502" y="178"/>
                      </a:lnTo>
                      <a:lnTo>
                        <a:pt x="503" y="162"/>
                      </a:lnTo>
                      <a:lnTo>
                        <a:pt x="503" y="162"/>
                      </a:lnTo>
                      <a:lnTo>
                        <a:pt x="502" y="145"/>
                      </a:lnTo>
                      <a:lnTo>
                        <a:pt x="497" y="130"/>
                      </a:lnTo>
                      <a:lnTo>
                        <a:pt x="491" y="114"/>
                      </a:lnTo>
                      <a:lnTo>
                        <a:pt x="483" y="99"/>
                      </a:lnTo>
                      <a:lnTo>
                        <a:pt x="472" y="84"/>
                      </a:lnTo>
                      <a:lnTo>
                        <a:pt x="460" y="71"/>
                      </a:lnTo>
                      <a:lnTo>
                        <a:pt x="445" y="58"/>
                      </a:lnTo>
                      <a:lnTo>
                        <a:pt x="429" y="48"/>
                      </a:lnTo>
                      <a:lnTo>
                        <a:pt x="411" y="37"/>
                      </a:lnTo>
                      <a:lnTo>
                        <a:pt x="392" y="27"/>
                      </a:lnTo>
                      <a:lnTo>
                        <a:pt x="371" y="19"/>
                      </a:lnTo>
                      <a:lnTo>
                        <a:pt x="349" y="12"/>
                      </a:lnTo>
                      <a:lnTo>
                        <a:pt x="326" y="7"/>
                      </a:lnTo>
                      <a:lnTo>
                        <a:pt x="302" y="2"/>
                      </a:lnTo>
                      <a:lnTo>
                        <a:pt x="277" y="0"/>
                      </a:lnTo>
                      <a:lnTo>
                        <a:pt x="25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58" name="Freeform 305"/>
                <p:cNvSpPr>
                  <a:spLocks/>
                </p:cNvSpPr>
                <p:nvPr userDrawn="1"/>
              </p:nvSpPr>
              <p:spPr bwMode="auto">
                <a:xfrm>
                  <a:off x="10859633" y="2691899"/>
                  <a:ext cx="276225" cy="203200"/>
                </a:xfrm>
                <a:custGeom>
                  <a:avLst/>
                  <a:gdLst>
                    <a:gd name="T0" fmla="*/ 167 w 349"/>
                    <a:gd name="T1" fmla="*/ 0 h 255"/>
                    <a:gd name="T2" fmla="*/ 167 w 349"/>
                    <a:gd name="T3" fmla="*/ 0 h 255"/>
                    <a:gd name="T4" fmla="*/ 139 w 349"/>
                    <a:gd name="T5" fmla="*/ 1 h 255"/>
                    <a:gd name="T6" fmla="*/ 112 w 349"/>
                    <a:gd name="T7" fmla="*/ 4 h 255"/>
                    <a:gd name="T8" fmla="*/ 83 w 349"/>
                    <a:gd name="T9" fmla="*/ 10 h 255"/>
                    <a:gd name="T10" fmla="*/ 55 w 349"/>
                    <a:gd name="T11" fmla="*/ 19 h 255"/>
                    <a:gd name="T12" fmla="*/ 55 w 349"/>
                    <a:gd name="T13" fmla="*/ 19 h 255"/>
                    <a:gd name="T14" fmla="*/ 28 w 349"/>
                    <a:gd name="T15" fmla="*/ 28 h 255"/>
                    <a:gd name="T16" fmla="*/ 0 w 349"/>
                    <a:gd name="T17" fmla="*/ 41 h 255"/>
                    <a:gd name="T18" fmla="*/ 0 w 349"/>
                    <a:gd name="T19" fmla="*/ 41 h 255"/>
                    <a:gd name="T20" fmla="*/ 32 w 349"/>
                    <a:gd name="T21" fmla="*/ 71 h 255"/>
                    <a:gd name="T22" fmla="*/ 66 w 349"/>
                    <a:gd name="T23" fmla="*/ 101 h 255"/>
                    <a:gd name="T24" fmla="*/ 99 w 349"/>
                    <a:gd name="T25" fmla="*/ 129 h 255"/>
                    <a:gd name="T26" fmla="*/ 135 w 349"/>
                    <a:gd name="T27" fmla="*/ 157 h 255"/>
                    <a:gd name="T28" fmla="*/ 170 w 349"/>
                    <a:gd name="T29" fmla="*/ 184 h 255"/>
                    <a:gd name="T30" fmla="*/ 207 w 349"/>
                    <a:gd name="T31" fmla="*/ 209 h 255"/>
                    <a:gd name="T32" fmla="*/ 245 w 349"/>
                    <a:gd name="T33" fmla="*/ 233 h 255"/>
                    <a:gd name="T34" fmla="*/ 283 w 349"/>
                    <a:gd name="T35" fmla="*/ 255 h 255"/>
                    <a:gd name="T36" fmla="*/ 283 w 349"/>
                    <a:gd name="T37" fmla="*/ 255 h 255"/>
                    <a:gd name="T38" fmla="*/ 301 w 349"/>
                    <a:gd name="T39" fmla="*/ 236 h 255"/>
                    <a:gd name="T40" fmla="*/ 318 w 349"/>
                    <a:gd name="T41" fmla="*/ 217 h 255"/>
                    <a:gd name="T42" fmla="*/ 330 w 349"/>
                    <a:gd name="T43" fmla="*/ 197 h 255"/>
                    <a:gd name="T44" fmla="*/ 336 w 349"/>
                    <a:gd name="T45" fmla="*/ 187 h 255"/>
                    <a:gd name="T46" fmla="*/ 339 w 349"/>
                    <a:gd name="T47" fmla="*/ 177 h 255"/>
                    <a:gd name="T48" fmla="*/ 343 w 349"/>
                    <a:gd name="T49" fmla="*/ 167 h 255"/>
                    <a:gd name="T50" fmla="*/ 346 w 349"/>
                    <a:gd name="T51" fmla="*/ 157 h 255"/>
                    <a:gd name="T52" fmla="*/ 347 w 349"/>
                    <a:gd name="T53" fmla="*/ 146 h 255"/>
                    <a:gd name="T54" fmla="*/ 349 w 349"/>
                    <a:gd name="T55" fmla="*/ 136 h 255"/>
                    <a:gd name="T56" fmla="*/ 349 w 349"/>
                    <a:gd name="T57" fmla="*/ 126 h 255"/>
                    <a:gd name="T58" fmla="*/ 349 w 349"/>
                    <a:gd name="T59" fmla="*/ 116 h 255"/>
                    <a:gd name="T60" fmla="*/ 346 w 349"/>
                    <a:gd name="T61" fmla="*/ 105 h 255"/>
                    <a:gd name="T62" fmla="*/ 344 w 349"/>
                    <a:gd name="T63" fmla="*/ 96 h 255"/>
                    <a:gd name="T64" fmla="*/ 344 w 349"/>
                    <a:gd name="T65" fmla="*/ 96 h 255"/>
                    <a:gd name="T66" fmla="*/ 340 w 349"/>
                    <a:gd name="T67" fmla="*/ 85 h 255"/>
                    <a:gd name="T68" fmla="*/ 334 w 349"/>
                    <a:gd name="T69" fmla="*/ 75 h 255"/>
                    <a:gd name="T70" fmla="*/ 328 w 349"/>
                    <a:gd name="T71" fmla="*/ 65 h 255"/>
                    <a:gd name="T72" fmla="*/ 320 w 349"/>
                    <a:gd name="T73" fmla="*/ 56 h 255"/>
                    <a:gd name="T74" fmla="*/ 312 w 349"/>
                    <a:gd name="T75" fmla="*/ 47 h 255"/>
                    <a:gd name="T76" fmla="*/ 302 w 349"/>
                    <a:gd name="T77" fmla="*/ 39 h 255"/>
                    <a:gd name="T78" fmla="*/ 292 w 349"/>
                    <a:gd name="T79" fmla="*/ 32 h 255"/>
                    <a:gd name="T80" fmla="*/ 281 w 349"/>
                    <a:gd name="T81" fmla="*/ 26 h 255"/>
                    <a:gd name="T82" fmla="*/ 269 w 349"/>
                    <a:gd name="T83" fmla="*/ 20 h 255"/>
                    <a:gd name="T84" fmla="*/ 256 w 349"/>
                    <a:gd name="T85" fmla="*/ 15 h 255"/>
                    <a:gd name="T86" fmla="*/ 243 w 349"/>
                    <a:gd name="T87" fmla="*/ 10 h 255"/>
                    <a:gd name="T88" fmla="*/ 229 w 349"/>
                    <a:gd name="T89" fmla="*/ 7 h 255"/>
                    <a:gd name="T90" fmla="*/ 214 w 349"/>
                    <a:gd name="T91" fmla="*/ 4 h 255"/>
                    <a:gd name="T92" fmla="*/ 199 w 349"/>
                    <a:gd name="T93" fmla="*/ 2 h 255"/>
                    <a:gd name="T94" fmla="*/ 183 w 349"/>
                    <a:gd name="T95" fmla="*/ 1 h 255"/>
                    <a:gd name="T96" fmla="*/ 167 w 349"/>
                    <a:gd name="T97"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9" h="255">
                      <a:moveTo>
                        <a:pt x="167" y="0"/>
                      </a:moveTo>
                      <a:lnTo>
                        <a:pt x="167" y="0"/>
                      </a:lnTo>
                      <a:lnTo>
                        <a:pt x="139" y="1"/>
                      </a:lnTo>
                      <a:lnTo>
                        <a:pt x="112" y="4"/>
                      </a:lnTo>
                      <a:lnTo>
                        <a:pt x="83" y="10"/>
                      </a:lnTo>
                      <a:lnTo>
                        <a:pt x="55" y="19"/>
                      </a:lnTo>
                      <a:lnTo>
                        <a:pt x="55" y="19"/>
                      </a:lnTo>
                      <a:lnTo>
                        <a:pt x="28" y="28"/>
                      </a:lnTo>
                      <a:lnTo>
                        <a:pt x="0" y="41"/>
                      </a:lnTo>
                      <a:lnTo>
                        <a:pt x="0" y="41"/>
                      </a:lnTo>
                      <a:lnTo>
                        <a:pt x="32" y="71"/>
                      </a:lnTo>
                      <a:lnTo>
                        <a:pt x="66" y="101"/>
                      </a:lnTo>
                      <a:lnTo>
                        <a:pt x="99" y="129"/>
                      </a:lnTo>
                      <a:lnTo>
                        <a:pt x="135" y="157"/>
                      </a:lnTo>
                      <a:lnTo>
                        <a:pt x="170" y="184"/>
                      </a:lnTo>
                      <a:lnTo>
                        <a:pt x="207" y="209"/>
                      </a:lnTo>
                      <a:lnTo>
                        <a:pt x="245" y="233"/>
                      </a:lnTo>
                      <a:lnTo>
                        <a:pt x="283" y="255"/>
                      </a:lnTo>
                      <a:lnTo>
                        <a:pt x="283" y="255"/>
                      </a:lnTo>
                      <a:lnTo>
                        <a:pt x="301" y="236"/>
                      </a:lnTo>
                      <a:lnTo>
                        <a:pt x="318" y="217"/>
                      </a:lnTo>
                      <a:lnTo>
                        <a:pt x="330" y="197"/>
                      </a:lnTo>
                      <a:lnTo>
                        <a:pt x="336" y="187"/>
                      </a:lnTo>
                      <a:lnTo>
                        <a:pt x="339" y="177"/>
                      </a:lnTo>
                      <a:lnTo>
                        <a:pt x="343" y="167"/>
                      </a:lnTo>
                      <a:lnTo>
                        <a:pt x="346" y="157"/>
                      </a:lnTo>
                      <a:lnTo>
                        <a:pt x="347" y="146"/>
                      </a:lnTo>
                      <a:lnTo>
                        <a:pt x="349" y="136"/>
                      </a:lnTo>
                      <a:lnTo>
                        <a:pt x="349" y="126"/>
                      </a:lnTo>
                      <a:lnTo>
                        <a:pt x="349" y="116"/>
                      </a:lnTo>
                      <a:lnTo>
                        <a:pt x="346" y="105"/>
                      </a:lnTo>
                      <a:lnTo>
                        <a:pt x="344" y="96"/>
                      </a:lnTo>
                      <a:lnTo>
                        <a:pt x="344" y="96"/>
                      </a:lnTo>
                      <a:lnTo>
                        <a:pt x="340" y="85"/>
                      </a:lnTo>
                      <a:lnTo>
                        <a:pt x="334" y="75"/>
                      </a:lnTo>
                      <a:lnTo>
                        <a:pt x="328" y="65"/>
                      </a:lnTo>
                      <a:lnTo>
                        <a:pt x="320" y="56"/>
                      </a:lnTo>
                      <a:lnTo>
                        <a:pt x="312" y="47"/>
                      </a:lnTo>
                      <a:lnTo>
                        <a:pt x="302" y="39"/>
                      </a:lnTo>
                      <a:lnTo>
                        <a:pt x="292" y="32"/>
                      </a:lnTo>
                      <a:lnTo>
                        <a:pt x="281" y="26"/>
                      </a:lnTo>
                      <a:lnTo>
                        <a:pt x="269" y="20"/>
                      </a:lnTo>
                      <a:lnTo>
                        <a:pt x="256" y="15"/>
                      </a:lnTo>
                      <a:lnTo>
                        <a:pt x="243" y="10"/>
                      </a:lnTo>
                      <a:lnTo>
                        <a:pt x="229" y="7"/>
                      </a:lnTo>
                      <a:lnTo>
                        <a:pt x="214" y="4"/>
                      </a:lnTo>
                      <a:lnTo>
                        <a:pt x="199" y="2"/>
                      </a:lnTo>
                      <a:lnTo>
                        <a:pt x="183" y="1"/>
                      </a:lnTo>
                      <a:lnTo>
                        <a:pt x="16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60" name="Freeform 307"/>
                <p:cNvSpPr>
                  <a:spLocks/>
                </p:cNvSpPr>
                <p:nvPr userDrawn="1"/>
              </p:nvSpPr>
              <p:spPr bwMode="auto">
                <a:xfrm>
                  <a:off x="11881983" y="2625224"/>
                  <a:ext cx="484188" cy="322263"/>
                </a:xfrm>
                <a:custGeom>
                  <a:avLst/>
                  <a:gdLst>
                    <a:gd name="T0" fmla="*/ 297 w 610"/>
                    <a:gd name="T1" fmla="*/ 0 h 407"/>
                    <a:gd name="T2" fmla="*/ 243 w 610"/>
                    <a:gd name="T3" fmla="*/ 3 h 407"/>
                    <a:gd name="T4" fmla="*/ 190 w 610"/>
                    <a:gd name="T5" fmla="*/ 11 h 407"/>
                    <a:gd name="T6" fmla="*/ 144 w 610"/>
                    <a:gd name="T7" fmla="*/ 25 h 407"/>
                    <a:gd name="T8" fmla="*/ 101 w 610"/>
                    <a:gd name="T9" fmla="*/ 43 h 407"/>
                    <a:gd name="T10" fmla="*/ 66 w 610"/>
                    <a:gd name="T11" fmla="*/ 67 h 407"/>
                    <a:gd name="T12" fmla="*/ 37 w 610"/>
                    <a:gd name="T13" fmla="*/ 94 h 407"/>
                    <a:gd name="T14" fmla="*/ 16 w 610"/>
                    <a:gd name="T15" fmla="*/ 126 h 407"/>
                    <a:gd name="T16" fmla="*/ 4 w 610"/>
                    <a:gd name="T17" fmla="*/ 162 h 407"/>
                    <a:gd name="T18" fmla="*/ 0 w 610"/>
                    <a:gd name="T19" fmla="*/ 179 h 407"/>
                    <a:gd name="T20" fmla="*/ 1 w 610"/>
                    <a:gd name="T21" fmla="*/ 212 h 407"/>
                    <a:gd name="T22" fmla="*/ 8 w 610"/>
                    <a:gd name="T23" fmla="*/ 245 h 407"/>
                    <a:gd name="T24" fmla="*/ 23 w 610"/>
                    <a:gd name="T25" fmla="*/ 277 h 407"/>
                    <a:gd name="T26" fmla="*/ 43 w 610"/>
                    <a:gd name="T27" fmla="*/ 309 h 407"/>
                    <a:gd name="T28" fmla="*/ 69 w 610"/>
                    <a:gd name="T29" fmla="*/ 339 h 407"/>
                    <a:gd name="T30" fmla="*/ 100 w 610"/>
                    <a:gd name="T31" fmla="*/ 368 h 407"/>
                    <a:gd name="T32" fmla="*/ 137 w 610"/>
                    <a:gd name="T33" fmla="*/ 394 h 407"/>
                    <a:gd name="T34" fmla="*/ 156 w 610"/>
                    <a:gd name="T35" fmla="*/ 407 h 407"/>
                    <a:gd name="T36" fmla="*/ 220 w 610"/>
                    <a:gd name="T37" fmla="*/ 377 h 407"/>
                    <a:gd name="T38" fmla="*/ 282 w 610"/>
                    <a:gd name="T39" fmla="*/ 345 h 407"/>
                    <a:gd name="T40" fmla="*/ 343 w 610"/>
                    <a:gd name="T41" fmla="*/ 311 h 407"/>
                    <a:gd name="T42" fmla="*/ 401 w 610"/>
                    <a:gd name="T43" fmla="*/ 271 h 407"/>
                    <a:gd name="T44" fmla="*/ 457 w 610"/>
                    <a:gd name="T45" fmla="*/ 231 h 407"/>
                    <a:gd name="T46" fmla="*/ 510 w 610"/>
                    <a:gd name="T47" fmla="*/ 187 h 407"/>
                    <a:gd name="T48" fmla="*/ 561 w 610"/>
                    <a:gd name="T49" fmla="*/ 139 h 407"/>
                    <a:gd name="T50" fmla="*/ 610 w 610"/>
                    <a:gd name="T51" fmla="*/ 91 h 407"/>
                    <a:gd name="T52" fmla="*/ 590 w 610"/>
                    <a:gd name="T53" fmla="*/ 78 h 407"/>
                    <a:gd name="T54" fmla="*/ 546 w 610"/>
                    <a:gd name="T55" fmla="*/ 55 h 407"/>
                    <a:gd name="T56" fmla="*/ 500 w 610"/>
                    <a:gd name="T57" fmla="*/ 36 h 407"/>
                    <a:gd name="T58" fmla="*/ 448 w 610"/>
                    <a:gd name="T59" fmla="*/ 19 h 407"/>
                    <a:gd name="T60" fmla="*/ 422 w 610"/>
                    <a:gd name="T61" fmla="*/ 13 h 407"/>
                    <a:gd name="T62" fmla="*/ 358 w 610"/>
                    <a:gd name="T63" fmla="*/ 3 h 407"/>
                    <a:gd name="T64" fmla="*/ 297 w 610"/>
                    <a:gd name="T65" fmla="*/ 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10" h="407">
                      <a:moveTo>
                        <a:pt x="297" y="0"/>
                      </a:moveTo>
                      <a:lnTo>
                        <a:pt x="297" y="0"/>
                      </a:lnTo>
                      <a:lnTo>
                        <a:pt x="269" y="0"/>
                      </a:lnTo>
                      <a:lnTo>
                        <a:pt x="243" y="3"/>
                      </a:lnTo>
                      <a:lnTo>
                        <a:pt x="217" y="6"/>
                      </a:lnTo>
                      <a:lnTo>
                        <a:pt x="190" y="11"/>
                      </a:lnTo>
                      <a:lnTo>
                        <a:pt x="167" y="17"/>
                      </a:lnTo>
                      <a:lnTo>
                        <a:pt x="144" y="25"/>
                      </a:lnTo>
                      <a:lnTo>
                        <a:pt x="121" y="34"/>
                      </a:lnTo>
                      <a:lnTo>
                        <a:pt x="101" y="43"/>
                      </a:lnTo>
                      <a:lnTo>
                        <a:pt x="83" y="55"/>
                      </a:lnTo>
                      <a:lnTo>
                        <a:pt x="66" y="67"/>
                      </a:lnTo>
                      <a:lnTo>
                        <a:pt x="50" y="80"/>
                      </a:lnTo>
                      <a:lnTo>
                        <a:pt x="37" y="94"/>
                      </a:lnTo>
                      <a:lnTo>
                        <a:pt x="25" y="110"/>
                      </a:lnTo>
                      <a:lnTo>
                        <a:pt x="16" y="126"/>
                      </a:lnTo>
                      <a:lnTo>
                        <a:pt x="8" y="144"/>
                      </a:lnTo>
                      <a:lnTo>
                        <a:pt x="4" y="162"/>
                      </a:lnTo>
                      <a:lnTo>
                        <a:pt x="4" y="162"/>
                      </a:lnTo>
                      <a:lnTo>
                        <a:pt x="0" y="179"/>
                      </a:lnTo>
                      <a:lnTo>
                        <a:pt x="0" y="195"/>
                      </a:lnTo>
                      <a:lnTo>
                        <a:pt x="1" y="212"/>
                      </a:lnTo>
                      <a:lnTo>
                        <a:pt x="4" y="228"/>
                      </a:lnTo>
                      <a:lnTo>
                        <a:pt x="8" y="245"/>
                      </a:lnTo>
                      <a:lnTo>
                        <a:pt x="14" y="261"/>
                      </a:lnTo>
                      <a:lnTo>
                        <a:pt x="23" y="277"/>
                      </a:lnTo>
                      <a:lnTo>
                        <a:pt x="32" y="293"/>
                      </a:lnTo>
                      <a:lnTo>
                        <a:pt x="43" y="309"/>
                      </a:lnTo>
                      <a:lnTo>
                        <a:pt x="55" y="325"/>
                      </a:lnTo>
                      <a:lnTo>
                        <a:pt x="69" y="339"/>
                      </a:lnTo>
                      <a:lnTo>
                        <a:pt x="83" y="353"/>
                      </a:lnTo>
                      <a:lnTo>
                        <a:pt x="100" y="368"/>
                      </a:lnTo>
                      <a:lnTo>
                        <a:pt x="118" y="381"/>
                      </a:lnTo>
                      <a:lnTo>
                        <a:pt x="137" y="394"/>
                      </a:lnTo>
                      <a:lnTo>
                        <a:pt x="156" y="407"/>
                      </a:lnTo>
                      <a:lnTo>
                        <a:pt x="156" y="407"/>
                      </a:lnTo>
                      <a:lnTo>
                        <a:pt x="188" y="393"/>
                      </a:lnTo>
                      <a:lnTo>
                        <a:pt x="220" y="377"/>
                      </a:lnTo>
                      <a:lnTo>
                        <a:pt x="251" y="362"/>
                      </a:lnTo>
                      <a:lnTo>
                        <a:pt x="282" y="345"/>
                      </a:lnTo>
                      <a:lnTo>
                        <a:pt x="313" y="328"/>
                      </a:lnTo>
                      <a:lnTo>
                        <a:pt x="343" y="311"/>
                      </a:lnTo>
                      <a:lnTo>
                        <a:pt x="371" y="292"/>
                      </a:lnTo>
                      <a:lnTo>
                        <a:pt x="401" y="271"/>
                      </a:lnTo>
                      <a:lnTo>
                        <a:pt x="428" y="251"/>
                      </a:lnTo>
                      <a:lnTo>
                        <a:pt x="457" y="231"/>
                      </a:lnTo>
                      <a:lnTo>
                        <a:pt x="483" y="208"/>
                      </a:lnTo>
                      <a:lnTo>
                        <a:pt x="510" y="187"/>
                      </a:lnTo>
                      <a:lnTo>
                        <a:pt x="535" y="163"/>
                      </a:lnTo>
                      <a:lnTo>
                        <a:pt x="561" y="139"/>
                      </a:lnTo>
                      <a:lnTo>
                        <a:pt x="585" y="116"/>
                      </a:lnTo>
                      <a:lnTo>
                        <a:pt x="610" y="91"/>
                      </a:lnTo>
                      <a:lnTo>
                        <a:pt x="610" y="91"/>
                      </a:lnTo>
                      <a:lnTo>
                        <a:pt x="590" y="78"/>
                      </a:lnTo>
                      <a:lnTo>
                        <a:pt x="569" y="66"/>
                      </a:lnTo>
                      <a:lnTo>
                        <a:pt x="546" y="55"/>
                      </a:lnTo>
                      <a:lnTo>
                        <a:pt x="523" y="45"/>
                      </a:lnTo>
                      <a:lnTo>
                        <a:pt x="500" y="36"/>
                      </a:lnTo>
                      <a:lnTo>
                        <a:pt x="475" y="28"/>
                      </a:lnTo>
                      <a:lnTo>
                        <a:pt x="448" y="19"/>
                      </a:lnTo>
                      <a:lnTo>
                        <a:pt x="422" y="13"/>
                      </a:lnTo>
                      <a:lnTo>
                        <a:pt x="422" y="13"/>
                      </a:lnTo>
                      <a:lnTo>
                        <a:pt x="390" y="7"/>
                      </a:lnTo>
                      <a:lnTo>
                        <a:pt x="358" y="3"/>
                      </a:lnTo>
                      <a:lnTo>
                        <a:pt x="327" y="0"/>
                      </a:lnTo>
                      <a:lnTo>
                        <a:pt x="29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61" name="Freeform 308"/>
                <p:cNvSpPr>
                  <a:spLocks noEditPoints="1"/>
                </p:cNvSpPr>
                <p:nvPr userDrawn="1"/>
              </p:nvSpPr>
              <p:spPr bwMode="auto">
                <a:xfrm>
                  <a:off x="11597821" y="3030036"/>
                  <a:ext cx="3175" cy="0"/>
                </a:xfrm>
                <a:custGeom>
                  <a:avLst/>
                  <a:gdLst>
                    <a:gd name="T0" fmla="*/ 0 w 5"/>
                    <a:gd name="T1" fmla="*/ 0 w 5"/>
                    <a:gd name="T2" fmla="*/ 2 w 5"/>
                    <a:gd name="T3" fmla="*/ 2 w 5"/>
                    <a:gd name="T4" fmla="*/ 0 w 5"/>
                    <a:gd name="T5" fmla="*/ 5 w 5"/>
                    <a:gd name="T6" fmla="*/ 5 w 5"/>
                    <a:gd name="T7" fmla="*/ 2 w 5"/>
                    <a:gd name="T8" fmla="*/ 2 w 5"/>
                    <a:gd name="T9" fmla="*/ 5 w 5"/>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5">
                      <a:moveTo>
                        <a:pt x="0" y="0"/>
                      </a:moveTo>
                      <a:lnTo>
                        <a:pt x="0" y="0"/>
                      </a:lnTo>
                      <a:lnTo>
                        <a:pt x="2" y="0"/>
                      </a:lnTo>
                      <a:lnTo>
                        <a:pt x="2" y="0"/>
                      </a:lnTo>
                      <a:lnTo>
                        <a:pt x="0" y="0"/>
                      </a:lnTo>
                      <a:close/>
                      <a:moveTo>
                        <a:pt x="5" y="0"/>
                      </a:moveTo>
                      <a:lnTo>
                        <a:pt x="5" y="0"/>
                      </a:lnTo>
                      <a:lnTo>
                        <a:pt x="2" y="0"/>
                      </a:lnTo>
                      <a:lnTo>
                        <a:pt x="2" y="0"/>
                      </a:lnTo>
                      <a:lnTo>
                        <a:pt x="5" y="0"/>
                      </a:lnTo>
                      <a:close/>
                    </a:path>
                  </a:pathLst>
                </a:custGeom>
                <a:solidFill>
                  <a:srgbClr val="EBE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62" name="Rectangle 309"/>
                <p:cNvSpPr>
                  <a:spLocks noChangeArrowheads="1"/>
                </p:cNvSpPr>
                <p:nvPr userDrawn="1"/>
              </p:nvSpPr>
              <p:spPr bwMode="auto">
                <a:xfrm>
                  <a:off x="11597821" y="3030036"/>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63" name="Rectangle 310"/>
                <p:cNvSpPr>
                  <a:spLocks noChangeArrowheads="1"/>
                </p:cNvSpPr>
                <p:nvPr userDrawn="1"/>
              </p:nvSpPr>
              <p:spPr bwMode="auto">
                <a:xfrm>
                  <a:off x="11599408" y="3030036"/>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65" name="Freeform 312"/>
                <p:cNvSpPr>
                  <a:spLocks/>
                </p:cNvSpPr>
                <p:nvPr userDrawn="1"/>
              </p:nvSpPr>
              <p:spPr bwMode="auto">
                <a:xfrm>
                  <a:off x="11366046" y="2918911"/>
                  <a:ext cx="477838" cy="111125"/>
                </a:xfrm>
                <a:custGeom>
                  <a:avLst/>
                  <a:gdLst>
                    <a:gd name="T0" fmla="*/ 270 w 602"/>
                    <a:gd name="T1" fmla="*/ 0 h 140"/>
                    <a:gd name="T2" fmla="*/ 270 w 602"/>
                    <a:gd name="T3" fmla="*/ 0 h 140"/>
                    <a:gd name="T4" fmla="*/ 247 w 602"/>
                    <a:gd name="T5" fmla="*/ 0 h 140"/>
                    <a:gd name="T6" fmla="*/ 225 w 602"/>
                    <a:gd name="T7" fmla="*/ 1 h 140"/>
                    <a:gd name="T8" fmla="*/ 203 w 602"/>
                    <a:gd name="T9" fmla="*/ 4 h 140"/>
                    <a:gd name="T10" fmla="*/ 183 w 602"/>
                    <a:gd name="T11" fmla="*/ 7 h 140"/>
                    <a:gd name="T12" fmla="*/ 163 w 602"/>
                    <a:gd name="T13" fmla="*/ 11 h 140"/>
                    <a:gd name="T14" fmla="*/ 144 w 602"/>
                    <a:gd name="T15" fmla="*/ 15 h 140"/>
                    <a:gd name="T16" fmla="*/ 125 w 602"/>
                    <a:gd name="T17" fmla="*/ 21 h 140"/>
                    <a:gd name="T18" fmla="*/ 107 w 602"/>
                    <a:gd name="T19" fmla="*/ 28 h 140"/>
                    <a:gd name="T20" fmla="*/ 90 w 602"/>
                    <a:gd name="T21" fmla="*/ 36 h 140"/>
                    <a:gd name="T22" fmla="*/ 74 w 602"/>
                    <a:gd name="T23" fmla="*/ 44 h 140"/>
                    <a:gd name="T24" fmla="*/ 58 w 602"/>
                    <a:gd name="T25" fmla="*/ 52 h 140"/>
                    <a:gd name="T26" fmla="*/ 45 w 602"/>
                    <a:gd name="T27" fmla="*/ 62 h 140"/>
                    <a:gd name="T28" fmla="*/ 32 w 602"/>
                    <a:gd name="T29" fmla="*/ 72 h 140"/>
                    <a:gd name="T30" fmla="*/ 20 w 602"/>
                    <a:gd name="T31" fmla="*/ 83 h 140"/>
                    <a:gd name="T32" fmla="*/ 9 w 602"/>
                    <a:gd name="T33" fmla="*/ 95 h 140"/>
                    <a:gd name="T34" fmla="*/ 0 w 602"/>
                    <a:gd name="T35" fmla="*/ 107 h 140"/>
                    <a:gd name="T36" fmla="*/ 0 w 602"/>
                    <a:gd name="T37" fmla="*/ 107 h 140"/>
                    <a:gd name="T38" fmla="*/ 34 w 602"/>
                    <a:gd name="T39" fmla="*/ 114 h 140"/>
                    <a:gd name="T40" fmla="*/ 70 w 602"/>
                    <a:gd name="T41" fmla="*/ 121 h 140"/>
                    <a:gd name="T42" fmla="*/ 106 w 602"/>
                    <a:gd name="T43" fmla="*/ 127 h 140"/>
                    <a:gd name="T44" fmla="*/ 143 w 602"/>
                    <a:gd name="T45" fmla="*/ 132 h 140"/>
                    <a:gd name="T46" fmla="*/ 178 w 602"/>
                    <a:gd name="T47" fmla="*/ 135 h 140"/>
                    <a:gd name="T48" fmla="*/ 215 w 602"/>
                    <a:gd name="T49" fmla="*/ 138 h 140"/>
                    <a:gd name="T50" fmla="*/ 252 w 602"/>
                    <a:gd name="T51" fmla="*/ 139 h 140"/>
                    <a:gd name="T52" fmla="*/ 290 w 602"/>
                    <a:gd name="T53" fmla="*/ 140 h 140"/>
                    <a:gd name="T54" fmla="*/ 290 w 602"/>
                    <a:gd name="T55" fmla="*/ 140 h 140"/>
                    <a:gd name="T56" fmla="*/ 292 w 602"/>
                    <a:gd name="T57" fmla="*/ 140 h 140"/>
                    <a:gd name="T58" fmla="*/ 292 w 602"/>
                    <a:gd name="T59" fmla="*/ 140 h 140"/>
                    <a:gd name="T60" fmla="*/ 292 w 602"/>
                    <a:gd name="T61" fmla="*/ 140 h 140"/>
                    <a:gd name="T62" fmla="*/ 292 w 602"/>
                    <a:gd name="T63" fmla="*/ 140 h 140"/>
                    <a:gd name="T64" fmla="*/ 295 w 602"/>
                    <a:gd name="T65" fmla="*/ 140 h 140"/>
                    <a:gd name="T66" fmla="*/ 295 w 602"/>
                    <a:gd name="T67" fmla="*/ 140 h 140"/>
                    <a:gd name="T68" fmla="*/ 334 w 602"/>
                    <a:gd name="T69" fmla="*/ 139 h 140"/>
                    <a:gd name="T70" fmla="*/ 373 w 602"/>
                    <a:gd name="T71" fmla="*/ 138 h 140"/>
                    <a:gd name="T72" fmla="*/ 413 w 602"/>
                    <a:gd name="T73" fmla="*/ 134 h 140"/>
                    <a:gd name="T74" fmla="*/ 451 w 602"/>
                    <a:gd name="T75" fmla="*/ 131 h 140"/>
                    <a:gd name="T76" fmla="*/ 489 w 602"/>
                    <a:gd name="T77" fmla="*/ 126 h 140"/>
                    <a:gd name="T78" fmla="*/ 527 w 602"/>
                    <a:gd name="T79" fmla="*/ 119 h 140"/>
                    <a:gd name="T80" fmla="*/ 564 w 602"/>
                    <a:gd name="T81" fmla="*/ 112 h 140"/>
                    <a:gd name="T82" fmla="*/ 602 w 602"/>
                    <a:gd name="T83" fmla="*/ 103 h 140"/>
                    <a:gd name="T84" fmla="*/ 602 w 602"/>
                    <a:gd name="T85" fmla="*/ 103 h 140"/>
                    <a:gd name="T86" fmla="*/ 580 w 602"/>
                    <a:gd name="T87" fmla="*/ 89 h 140"/>
                    <a:gd name="T88" fmla="*/ 556 w 602"/>
                    <a:gd name="T89" fmla="*/ 75 h 140"/>
                    <a:gd name="T90" fmla="*/ 533 w 602"/>
                    <a:gd name="T91" fmla="*/ 62 h 140"/>
                    <a:gd name="T92" fmla="*/ 508 w 602"/>
                    <a:gd name="T93" fmla="*/ 50 h 140"/>
                    <a:gd name="T94" fmla="*/ 480 w 602"/>
                    <a:gd name="T95" fmla="*/ 39 h 140"/>
                    <a:gd name="T96" fmla="*/ 453 w 602"/>
                    <a:gd name="T97" fmla="*/ 28 h 140"/>
                    <a:gd name="T98" fmla="*/ 423 w 602"/>
                    <a:gd name="T99" fmla="*/ 20 h 140"/>
                    <a:gd name="T100" fmla="*/ 394 w 602"/>
                    <a:gd name="T101" fmla="*/ 13 h 140"/>
                    <a:gd name="T102" fmla="*/ 394 w 602"/>
                    <a:gd name="T103" fmla="*/ 13 h 140"/>
                    <a:gd name="T104" fmla="*/ 361 w 602"/>
                    <a:gd name="T105" fmla="*/ 7 h 140"/>
                    <a:gd name="T106" fmla="*/ 330 w 602"/>
                    <a:gd name="T107" fmla="*/ 4 h 140"/>
                    <a:gd name="T108" fmla="*/ 300 w 602"/>
                    <a:gd name="T109" fmla="*/ 0 h 140"/>
                    <a:gd name="T110" fmla="*/ 270 w 602"/>
                    <a:gd name="T111"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02" h="140">
                      <a:moveTo>
                        <a:pt x="270" y="0"/>
                      </a:moveTo>
                      <a:lnTo>
                        <a:pt x="270" y="0"/>
                      </a:lnTo>
                      <a:lnTo>
                        <a:pt x="247" y="0"/>
                      </a:lnTo>
                      <a:lnTo>
                        <a:pt x="225" y="1"/>
                      </a:lnTo>
                      <a:lnTo>
                        <a:pt x="203" y="4"/>
                      </a:lnTo>
                      <a:lnTo>
                        <a:pt x="183" y="7"/>
                      </a:lnTo>
                      <a:lnTo>
                        <a:pt x="163" y="11"/>
                      </a:lnTo>
                      <a:lnTo>
                        <a:pt x="144" y="15"/>
                      </a:lnTo>
                      <a:lnTo>
                        <a:pt x="125" y="21"/>
                      </a:lnTo>
                      <a:lnTo>
                        <a:pt x="107" y="28"/>
                      </a:lnTo>
                      <a:lnTo>
                        <a:pt x="90" y="36"/>
                      </a:lnTo>
                      <a:lnTo>
                        <a:pt x="74" y="44"/>
                      </a:lnTo>
                      <a:lnTo>
                        <a:pt x="58" y="52"/>
                      </a:lnTo>
                      <a:lnTo>
                        <a:pt x="45" y="62"/>
                      </a:lnTo>
                      <a:lnTo>
                        <a:pt x="32" y="72"/>
                      </a:lnTo>
                      <a:lnTo>
                        <a:pt x="20" y="83"/>
                      </a:lnTo>
                      <a:lnTo>
                        <a:pt x="9" y="95"/>
                      </a:lnTo>
                      <a:lnTo>
                        <a:pt x="0" y="107"/>
                      </a:lnTo>
                      <a:lnTo>
                        <a:pt x="0" y="107"/>
                      </a:lnTo>
                      <a:lnTo>
                        <a:pt x="34" y="114"/>
                      </a:lnTo>
                      <a:lnTo>
                        <a:pt x="70" y="121"/>
                      </a:lnTo>
                      <a:lnTo>
                        <a:pt x="106" y="127"/>
                      </a:lnTo>
                      <a:lnTo>
                        <a:pt x="143" y="132"/>
                      </a:lnTo>
                      <a:lnTo>
                        <a:pt x="178" y="135"/>
                      </a:lnTo>
                      <a:lnTo>
                        <a:pt x="215" y="138"/>
                      </a:lnTo>
                      <a:lnTo>
                        <a:pt x="252" y="139"/>
                      </a:lnTo>
                      <a:lnTo>
                        <a:pt x="290" y="140"/>
                      </a:lnTo>
                      <a:lnTo>
                        <a:pt x="290" y="140"/>
                      </a:lnTo>
                      <a:lnTo>
                        <a:pt x="292" y="140"/>
                      </a:lnTo>
                      <a:lnTo>
                        <a:pt x="292" y="140"/>
                      </a:lnTo>
                      <a:lnTo>
                        <a:pt x="292" y="140"/>
                      </a:lnTo>
                      <a:lnTo>
                        <a:pt x="292" y="140"/>
                      </a:lnTo>
                      <a:lnTo>
                        <a:pt x="295" y="140"/>
                      </a:lnTo>
                      <a:lnTo>
                        <a:pt x="295" y="140"/>
                      </a:lnTo>
                      <a:lnTo>
                        <a:pt x="334" y="139"/>
                      </a:lnTo>
                      <a:lnTo>
                        <a:pt x="373" y="138"/>
                      </a:lnTo>
                      <a:lnTo>
                        <a:pt x="413" y="134"/>
                      </a:lnTo>
                      <a:lnTo>
                        <a:pt x="451" y="131"/>
                      </a:lnTo>
                      <a:lnTo>
                        <a:pt x="489" y="126"/>
                      </a:lnTo>
                      <a:lnTo>
                        <a:pt x="527" y="119"/>
                      </a:lnTo>
                      <a:lnTo>
                        <a:pt x="564" y="112"/>
                      </a:lnTo>
                      <a:lnTo>
                        <a:pt x="602" y="103"/>
                      </a:lnTo>
                      <a:lnTo>
                        <a:pt x="602" y="103"/>
                      </a:lnTo>
                      <a:lnTo>
                        <a:pt x="580" y="89"/>
                      </a:lnTo>
                      <a:lnTo>
                        <a:pt x="556" y="75"/>
                      </a:lnTo>
                      <a:lnTo>
                        <a:pt x="533" y="62"/>
                      </a:lnTo>
                      <a:lnTo>
                        <a:pt x="508" y="50"/>
                      </a:lnTo>
                      <a:lnTo>
                        <a:pt x="480" y="39"/>
                      </a:lnTo>
                      <a:lnTo>
                        <a:pt x="453" y="28"/>
                      </a:lnTo>
                      <a:lnTo>
                        <a:pt x="423" y="20"/>
                      </a:lnTo>
                      <a:lnTo>
                        <a:pt x="394" y="13"/>
                      </a:lnTo>
                      <a:lnTo>
                        <a:pt x="394" y="13"/>
                      </a:lnTo>
                      <a:lnTo>
                        <a:pt x="361" y="7"/>
                      </a:lnTo>
                      <a:lnTo>
                        <a:pt x="330" y="4"/>
                      </a:lnTo>
                      <a:lnTo>
                        <a:pt x="300" y="0"/>
                      </a:lnTo>
                      <a:lnTo>
                        <a:pt x="27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66" name="Freeform 313"/>
                <p:cNvSpPr>
                  <a:spLocks/>
                </p:cNvSpPr>
                <p:nvPr userDrawn="1"/>
              </p:nvSpPr>
              <p:spPr bwMode="auto">
                <a:xfrm>
                  <a:off x="11764508" y="2509336"/>
                  <a:ext cx="117475" cy="92075"/>
                </a:xfrm>
                <a:custGeom>
                  <a:avLst/>
                  <a:gdLst>
                    <a:gd name="T0" fmla="*/ 74 w 148"/>
                    <a:gd name="T1" fmla="*/ 0 h 117"/>
                    <a:gd name="T2" fmla="*/ 74 w 148"/>
                    <a:gd name="T3" fmla="*/ 0 h 117"/>
                    <a:gd name="T4" fmla="*/ 59 w 148"/>
                    <a:gd name="T5" fmla="*/ 1 h 117"/>
                    <a:gd name="T6" fmla="*/ 45 w 148"/>
                    <a:gd name="T7" fmla="*/ 5 h 117"/>
                    <a:gd name="T8" fmla="*/ 33 w 148"/>
                    <a:gd name="T9" fmla="*/ 10 h 117"/>
                    <a:gd name="T10" fmla="*/ 22 w 148"/>
                    <a:gd name="T11" fmla="*/ 17 h 117"/>
                    <a:gd name="T12" fmla="*/ 13 w 148"/>
                    <a:gd name="T13" fmla="*/ 25 h 117"/>
                    <a:gd name="T14" fmla="*/ 5 w 148"/>
                    <a:gd name="T15" fmla="*/ 36 h 117"/>
                    <a:gd name="T16" fmla="*/ 2 w 148"/>
                    <a:gd name="T17" fmla="*/ 46 h 117"/>
                    <a:gd name="T18" fmla="*/ 1 w 148"/>
                    <a:gd name="T19" fmla="*/ 52 h 117"/>
                    <a:gd name="T20" fmla="*/ 0 w 148"/>
                    <a:gd name="T21" fmla="*/ 58 h 117"/>
                    <a:gd name="T22" fmla="*/ 0 w 148"/>
                    <a:gd name="T23" fmla="*/ 58 h 117"/>
                    <a:gd name="T24" fmla="*/ 1 w 148"/>
                    <a:gd name="T25" fmla="*/ 64 h 117"/>
                    <a:gd name="T26" fmla="*/ 2 w 148"/>
                    <a:gd name="T27" fmla="*/ 70 h 117"/>
                    <a:gd name="T28" fmla="*/ 5 w 148"/>
                    <a:gd name="T29" fmla="*/ 81 h 117"/>
                    <a:gd name="T30" fmla="*/ 13 w 148"/>
                    <a:gd name="T31" fmla="*/ 92 h 117"/>
                    <a:gd name="T32" fmla="*/ 22 w 148"/>
                    <a:gd name="T33" fmla="*/ 100 h 117"/>
                    <a:gd name="T34" fmla="*/ 33 w 148"/>
                    <a:gd name="T35" fmla="*/ 107 h 117"/>
                    <a:gd name="T36" fmla="*/ 45 w 148"/>
                    <a:gd name="T37" fmla="*/ 112 h 117"/>
                    <a:gd name="T38" fmla="*/ 59 w 148"/>
                    <a:gd name="T39" fmla="*/ 115 h 117"/>
                    <a:gd name="T40" fmla="*/ 74 w 148"/>
                    <a:gd name="T41" fmla="*/ 117 h 117"/>
                    <a:gd name="T42" fmla="*/ 74 w 148"/>
                    <a:gd name="T43" fmla="*/ 117 h 117"/>
                    <a:gd name="T44" fmla="*/ 89 w 148"/>
                    <a:gd name="T45" fmla="*/ 115 h 117"/>
                    <a:gd name="T46" fmla="*/ 103 w 148"/>
                    <a:gd name="T47" fmla="*/ 112 h 117"/>
                    <a:gd name="T48" fmla="*/ 115 w 148"/>
                    <a:gd name="T49" fmla="*/ 107 h 117"/>
                    <a:gd name="T50" fmla="*/ 127 w 148"/>
                    <a:gd name="T51" fmla="*/ 100 h 117"/>
                    <a:gd name="T52" fmla="*/ 135 w 148"/>
                    <a:gd name="T53" fmla="*/ 92 h 117"/>
                    <a:gd name="T54" fmla="*/ 142 w 148"/>
                    <a:gd name="T55" fmla="*/ 81 h 117"/>
                    <a:gd name="T56" fmla="*/ 146 w 148"/>
                    <a:gd name="T57" fmla="*/ 70 h 117"/>
                    <a:gd name="T58" fmla="*/ 147 w 148"/>
                    <a:gd name="T59" fmla="*/ 64 h 117"/>
                    <a:gd name="T60" fmla="*/ 148 w 148"/>
                    <a:gd name="T61" fmla="*/ 58 h 117"/>
                    <a:gd name="T62" fmla="*/ 148 w 148"/>
                    <a:gd name="T63" fmla="*/ 58 h 117"/>
                    <a:gd name="T64" fmla="*/ 147 w 148"/>
                    <a:gd name="T65" fmla="*/ 52 h 117"/>
                    <a:gd name="T66" fmla="*/ 146 w 148"/>
                    <a:gd name="T67" fmla="*/ 46 h 117"/>
                    <a:gd name="T68" fmla="*/ 142 w 148"/>
                    <a:gd name="T69" fmla="*/ 36 h 117"/>
                    <a:gd name="T70" fmla="*/ 135 w 148"/>
                    <a:gd name="T71" fmla="*/ 25 h 117"/>
                    <a:gd name="T72" fmla="*/ 127 w 148"/>
                    <a:gd name="T73" fmla="*/ 17 h 117"/>
                    <a:gd name="T74" fmla="*/ 115 w 148"/>
                    <a:gd name="T75" fmla="*/ 10 h 117"/>
                    <a:gd name="T76" fmla="*/ 103 w 148"/>
                    <a:gd name="T77" fmla="*/ 5 h 117"/>
                    <a:gd name="T78" fmla="*/ 89 w 148"/>
                    <a:gd name="T79" fmla="*/ 1 h 117"/>
                    <a:gd name="T80" fmla="*/ 74 w 148"/>
                    <a:gd name="T81"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8" h="117">
                      <a:moveTo>
                        <a:pt x="74" y="0"/>
                      </a:moveTo>
                      <a:lnTo>
                        <a:pt x="74" y="0"/>
                      </a:lnTo>
                      <a:lnTo>
                        <a:pt x="59" y="1"/>
                      </a:lnTo>
                      <a:lnTo>
                        <a:pt x="45" y="5"/>
                      </a:lnTo>
                      <a:lnTo>
                        <a:pt x="33" y="10"/>
                      </a:lnTo>
                      <a:lnTo>
                        <a:pt x="22" y="17"/>
                      </a:lnTo>
                      <a:lnTo>
                        <a:pt x="13" y="25"/>
                      </a:lnTo>
                      <a:lnTo>
                        <a:pt x="5" y="36"/>
                      </a:lnTo>
                      <a:lnTo>
                        <a:pt x="2" y="46"/>
                      </a:lnTo>
                      <a:lnTo>
                        <a:pt x="1" y="52"/>
                      </a:lnTo>
                      <a:lnTo>
                        <a:pt x="0" y="58"/>
                      </a:lnTo>
                      <a:lnTo>
                        <a:pt x="0" y="58"/>
                      </a:lnTo>
                      <a:lnTo>
                        <a:pt x="1" y="64"/>
                      </a:lnTo>
                      <a:lnTo>
                        <a:pt x="2" y="70"/>
                      </a:lnTo>
                      <a:lnTo>
                        <a:pt x="5" y="81"/>
                      </a:lnTo>
                      <a:lnTo>
                        <a:pt x="13" y="92"/>
                      </a:lnTo>
                      <a:lnTo>
                        <a:pt x="22" y="100"/>
                      </a:lnTo>
                      <a:lnTo>
                        <a:pt x="33" y="107"/>
                      </a:lnTo>
                      <a:lnTo>
                        <a:pt x="45" y="112"/>
                      </a:lnTo>
                      <a:lnTo>
                        <a:pt x="59" y="115"/>
                      </a:lnTo>
                      <a:lnTo>
                        <a:pt x="74" y="117"/>
                      </a:lnTo>
                      <a:lnTo>
                        <a:pt x="74" y="117"/>
                      </a:lnTo>
                      <a:lnTo>
                        <a:pt x="89" y="115"/>
                      </a:lnTo>
                      <a:lnTo>
                        <a:pt x="103" y="112"/>
                      </a:lnTo>
                      <a:lnTo>
                        <a:pt x="115" y="107"/>
                      </a:lnTo>
                      <a:lnTo>
                        <a:pt x="127" y="100"/>
                      </a:lnTo>
                      <a:lnTo>
                        <a:pt x="135" y="92"/>
                      </a:lnTo>
                      <a:lnTo>
                        <a:pt x="142" y="81"/>
                      </a:lnTo>
                      <a:lnTo>
                        <a:pt x="146" y="70"/>
                      </a:lnTo>
                      <a:lnTo>
                        <a:pt x="147" y="64"/>
                      </a:lnTo>
                      <a:lnTo>
                        <a:pt x="148" y="58"/>
                      </a:lnTo>
                      <a:lnTo>
                        <a:pt x="148" y="58"/>
                      </a:lnTo>
                      <a:lnTo>
                        <a:pt x="147" y="52"/>
                      </a:lnTo>
                      <a:lnTo>
                        <a:pt x="146" y="46"/>
                      </a:lnTo>
                      <a:lnTo>
                        <a:pt x="142" y="36"/>
                      </a:lnTo>
                      <a:lnTo>
                        <a:pt x="135" y="25"/>
                      </a:lnTo>
                      <a:lnTo>
                        <a:pt x="127" y="17"/>
                      </a:lnTo>
                      <a:lnTo>
                        <a:pt x="115" y="10"/>
                      </a:lnTo>
                      <a:lnTo>
                        <a:pt x="103" y="5"/>
                      </a:lnTo>
                      <a:lnTo>
                        <a:pt x="89" y="1"/>
                      </a:lnTo>
                      <a:lnTo>
                        <a:pt x="74" y="0"/>
                      </a:lnTo>
                      <a:close/>
                    </a:path>
                  </a:pathLst>
                </a:custGeom>
                <a:solidFill>
                  <a:srgbClr val="B1BE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67" name="Freeform 314"/>
                <p:cNvSpPr>
                  <a:spLocks/>
                </p:cNvSpPr>
                <p:nvPr userDrawn="1"/>
              </p:nvSpPr>
              <p:spPr bwMode="auto">
                <a:xfrm>
                  <a:off x="11764508" y="2509336"/>
                  <a:ext cx="117475" cy="92075"/>
                </a:xfrm>
                <a:custGeom>
                  <a:avLst/>
                  <a:gdLst>
                    <a:gd name="T0" fmla="*/ 74 w 148"/>
                    <a:gd name="T1" fmla="*/ 0 h 117"/>
                    <a:gd name="T2" fmla="*/ 74 w 148"/>
                    <a:gd name="T3" fmla="*/ 0 h 117"/>
                    <a:gd name="T4" fmla="*/ 59 w 148"/>
                    <a:gd name="T5" fmla="*/ 1 h 117"/>
                    <a:gd name="T6" fmla="*/ 45 w 148"/>
                    <a:gd name="T7" fmla="*/ 5 h 117"/>
                    <a:gd name="T8" fmla="*/ 33 w 148"/>
                    <a:gd name="T9" fmla="*/ 10 h 117"/>
                    <a:gd name="T10" fmla="*/ 22 w 148"/>
                    <a:gd name="T11" fmla="*/ 17 h 117"/>
                    <a:gd name="T12" fmla="*/ 13 w 148"/>
                    <a:gd name="T13" fmla="*/ 25 h 117"/>
                    <a:gd name="T14" fmla="*/ 5 w 148"/>
                    <a:gd name="T15" fmla="*/ 36 h 117"/>
                    <a:gd name="T16" fmla="*/ 2 w 148"/>
                    <a:gd name="T17" fmla="*/ 46 h 117"/>
                    <a:gd name="T18" fmla="*/ 1 w 148"/>
                    <a:gd name="T19" fmla="*/ 52 h 117"/>
                    <a:gd name="T20" fmla="*/ 0 w 148"/>
                    <a:gd name="T21" fmla="*/ 58 h 117"/>
                    <a:gd name="T22" fmla="*/ 0 w 148"/>
                    <a:gd name="T23" fmla="*/ 58 h 117"/>
                    <a:gd name="T24" fmla="*/ 1 w 148"/>
                    <a:gd name="T25" fmla="*/ 64 h 117"/>
                    <a:gd name="T26" fmla="*/ 2 w 148"/>
                    <a:gd name="T27" fmla="*/ 70 h 117"/>
                    <a:gd name="T28" fmla="*/ 5 w 148"/>
                    <a:gd name="T29" fmla="*/ 81 h 117"/>
                    <a:gd name="T30" fmla="*/ 13 w 148"/>
                    <a:gd name="T31" fmla="*/ 92 h 117"/>
                    <a:gd name="T32" fmla="*/ 22 w 148"/>
                    <a:gd name="T33" fmla="*/ 100 h 117"/>
                    <a:gd name="T34" fmla="*/ 33 w 148"/>
                    <a:gd name="T35" fmla="*/ 107 h 117"/>
                    <a:gd name="T36" fmla="*/ 45 w 148"/>
                    <a:gd name="T37" fmla="*/ 112 h 117"/>
                    <a:gd name="T38" fmla="*/ 59 w 148"/>
                    <a:gd name="T39" fmla="*/ 115 h 117"/>
                    <a:gd name="T40" fmla="*/ 74 w 148"/>
                    <a:gd name="T41" fmla="*/ 117 h 117"/>
                    <a:gd name="T42" fmla="*/ 74 w 148"/>
                    <a:gd name="T43" fmla="*/ 117 h 117"/>
                    <a:gd name="T44" fmla="*/ 89 w 148"/>
                    <a:gd name="T45" fmla="*/ 115 h 117"/>
                    <a:gd name="T46" fmla="*/ 103 w 148"/>
                    <a:gd name="T47" fmla="*/ 112 h 117"/>
                    <a:gd name="T48" fmla="*/ 115 w 148"/>
                    <a:gd name="T49" fmla="*/ 107 h 117"/>
                    <a:gd name="T50" fmla="*/ 127 w 148"/>
                    <a:gd name="T51" fmla="*/ 100 h 117"/>
                    <a:gd name="T52" fmla="*/ 135 w 148"/>
                    <a:gd name="T53" fmla="*/ 92 h 117"/>
                    <a:gd name="T54" fmla="*/ 142 w 148"/>
                    <a:gd name="T55" fmla="*/ 81 h 117"/>
                    <a:gd name="T56" fmla="*/ 146 w 148"/>
                    <a:gd name="T57" fmla="*/ 70 h 117"/>
                    <a:gd name="T58" fmla="*/ 147 w 148"/>
                    <a:gd name="T59" fmla="*/ 64 h 117"/>
                    <a:gd name="T60" fmla="*/ 148 w 148"/>
                    <a:gd name="T61" fmla="*/ 58 h 117"/>
                    <a:gd name="T62" fmla="*/ 148 w 148"/>
                    <a:gd name="T63" fmla="*/ 58 h 117"/>
                    <a:gd name="T64" fmla="*/ 147 w 148"/>
                    <a:gd name="T65" fmla="*/ 52 h 117"/>
                    <a:gd name="T66" fmla="*/ 146 w 148"/>
                    <a:gd name="T67" fmla="*/ 46 h 117"/>
                    <a:gd name="T68" fmla="*/ 142 w 148"/>
                    <a:gd name="T69" fmla="*/ 36 h 117"/>
                    <a:gd name="T70" fmla="*/ 135 w 148"/>
                    <a:gd name="T71" fmla="*/ 25 h 117"/>
                    <a:gd name="T72" fmla="*/ 127 w 148"/>
                    <a:gd name="T73" fmla="*/ 17 h 117"/>
                    <a:gd name="T74" fmla="*/ 115 w 148"/>
                    <a:gd name="T75" fmla="*/ 10 h 117"/>
                    <a:gd name="T76" fmla="*/ 103 w 148"/>
                    <a:gd name="T77" fmla="*/ 5 h 117"/>
                    <a:gd name="T78" fmla="*/ 89 w 148"/>
                    <a:gd name="T79" fmla="*/ 1 h 117"/>
                    <a:gd name="T80" fmla="*/ 74 w 148"/>
                    <a:gd name="T81"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8" h="117">
                      <a:moveTo>
                        <a:pt x="74" y="0"/>
                      </a:moveTo>
                      <a:lnTo>
                        <a:pt x="74" y="0"/>
                      </a:lnTo>
                      <a:lnTo>
                        <a:pt x="59" y="1"/>
                      </a:lnTo>
                      <a:lnTo>
                        <a:pt x="45" y="5"/>
                      </a:lnTo>
                      <a:lnTo>
                        <a:pt x="33" y="10"/>
                      </a:lnTo>
                      <a:lnTo>
                        <a:pt x="22" y="17"/>
                      </a:lnTo>
                      <a:lnTo>
                        <a:pt x="13" y="25"/>
                      </a:lnTo>
                      <a:lnTo>
                        <a:pt x="5" y="36"/>
                      </a:lnTo>
                      <a:lnTo>
                        <a:pt x="2" y="46"/>
                      </a:lnTo>
                      <a:lnTo>
                        <a:pt x="1" y="52"/>
                      </a:lnTo>
                      <a:lnTo>
                        <a:pt x="0" y="58"/>
                      </a:lnTo>
                      <a:lnTo>
                        <a:pt x="0" y="58"/>
                      </a:lnTo>
                      <a:lnTo>
                        <a:pt x="1" y="64"/>
                      </a:lnTo>
                      <a:lnTo>
                        <a:pt x="2" y="70"/>
                      </a:lnTo>
                      <a:lnTo>
                        <a:pt x="5" y="81"/>
                      </a:lnTo>
                      <a:lnTo>
                        <a:pt x="13" y="92"/>
                      </a:lnTo>
                      <a:lnTo>
                        <a:pt x="22" y="100"/>
                      </a:lnTo>
                      <a:lnTo>
                        <a:pt x="33" y="107"/>
                      </a:lnTo>
                      <a:lnTo>
                        <a:pt x="45" y="112"/>
                      </a:lnTo>
                      <a:lnTo>
                        <a:pt x="59" y="115"/>
                      </a:lnTo>
                      <a:lnTo>
                        <a:pt x="74" y="117"/>
                      </a:lnTo>
                      <a:lnTo>
                        <a:pt x="74" y="117"/>
                      </a:lnTo>
                      <a:lnTo>
                        <a:pt x="89" y="115"/>
                      </a:lnTo>
                      <a:lnTo>
                        <a:pt x="103" y="112"/>
                      </a:lnTo>
                      <a:lnTo>
                        <a:pt x="115" y="107"/>
                      </a:lnTo>
                      <a:lnTo>
                        <a:pt x="127" y="100"/>
                      </a:lnTo>
                      <a:lnTo>
                        <a:pt x="135" y="92"/>
                      </a:lnTo>
                      <a:lnTo>
                        <a:pt x="142" y="81"/>
                      </a:lnTo>
                      <a:lnTo>
                        <a:pt x="146" y="70"/>
                      </a:lnTo>
                      <a:lnTo>
                        <a:pt x="147" y="64"/>
                      </a:lnTo>
                      <a:lnTo>
                        <a:pt x="148" y="58"/>
                      </a:lnTo>
                      <a:lnTo>
                        <a:pt x="148" y="58"/>
                      </a:lnTo>
                      <a:lnTo>
                        <a:pt x="147" y="52"/>
                      </a:lnTo>
                      <a:lnTo>
                        <a:pt x="146" y="46"/>
                      </a:lnTo>
                      <a:lnTo>
                        <a:pt x="142" y="36"/>
                      </a:lnTo>
                      <a:lnTo>
                        <a:pt x="135" y="25"/>
                      </a:lnTo>
                      <a:lnTo>
                        <a:pt x="127" y="17"/>
                      </a:lnTo>
                      <a:lnTo>
                        <a:pt x="115" y="10"/>
                      </a:lnTo>
                      <a:lnTo>
                        <a:pt x="103" y="5"/>
                      </a:lnTo>
                      <a:lnTo>
                        <a:pt x="89" y="1"/>
                      </a:lnTo>
                      <a:lnTo>
                        <a:pt x="7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69" name="Freeform 316"/>
                <p:cNvSpPr>
                  <a:spLocks/>
                </p:cNvSpPr>
                <p:nvPr userDrawn="1"/>
              </p:nvSpPr>
              <p:spPr bwMode="auto">
                <a:xfrm>
                  <a:off x="11169196" y="2795086"/>
                  <a:ext cx="171450" cy="131763"/>
                </a:xfrm>
                <a:custGeom>
                  <a:avLst/>
                  <a:gdLst>
                    <a:gd name="T0" fmla="*/ 125 w 216"/>
                    <a:gd name="T1" fmla="*/ 0 h 166"/>
                    <a:gd name="T2" fmla="*/ 125 w 216"/>
                    <a:gd name="T3" fmla="*/ 0 h 166"/>
                    <a:gd name="T4" fmla="*/ 106 w 216"/>
                    <a:gd name="T5" fmla="*/ 1 h 166"/>
                    <a:gd name="T6" fmla="*/ 86 w 216"/>
                    <a:gd name="T7" fmla="*/ 5 h 166"/>
                    <a:gd name="T8" fmla="*/ 86 w 216"/>
                    <a:gd name="T9" fmla="*/ 5 h 166"/>
                    <a:gd name="T10" fmla="*/ 75 w 216"/>
                    <a:gd name="T11" fmla="*/ 8 h 166"/>
                    <a:gd name="T12" fmla="*/ 66 w 216"/>
                    <a:gd name="T13" fmla="*/ 13 h 166"/>
                    <a:gd name="T14" fmla="*/ 56 w 216"/>
                    <a:gd name="T15" fmla="*/ 18 h 166"/>
                    <a:gd name="T16" fmla="*/ 47 w 216"/>
                    <a:gd name="T17" fmla="*/ 23 h 166"/>
                    <a:gd name="T18" fmla="*/ 38 w 216"/>
                    <a:gd name="T19" fmla="*/ 29 h 166"/>
                    <a:gd name="T20" fmla="*/ 31 w 216"/>
                    <a:gd name="T21" fmla="*/ 35 h 166"/>
                    <a:gd name="T22" fmla="*/ 24 w 216"/>
                    <a:gd name="T23" fmla="*/ 42 h 166"/>
                    <a:gd name="T24" fmla="*/ 18 w 216"/>
                    <a:gd name="T25" fmla="*/ 49 h 166"/>
                    <a:gd name="T26" fmla="*/ 14 w 216"/>
                    <a:gd name="T27" fmla="*/ 56 h 166"/>
                    <a:gd name="T28" fmla="*/ 9 w 216"/>
                    <a:gd name="T29" fmla="*/ 64 h 166"/>
                    <a:gd name="T30" fmla="*/ 5 w 216"/>
                    <a:gd name="T31" fmla="*/ 73 h 166"/>
                    <a:gd name="T32" fmla="*/ 3 w 216"/>
                    <a:gd name="T33" fmla="*/ 80 h 166"/>
                    <a:gd name="T34" fmla="*/ 2 w 216"/>
                    <a:gd name="T35" fmla="*/ 88 h 166"/>
                    <a:gd name="T36" fmla="*/ 0 w 216"/>
                    <a:gd name="T37" fmla="*/ 96 h 166"/>
                    <a:gd name="T38" fmla="*/ 2 w 216"/>
                    <a:gd name="T39" fmla="*/ 105 h 166"/>
                    <a:gd name="T40" fmla="*/ 3 w 216"/>
                    <a:gd name="T41" fmla="*/ 113 h 166"/>
                    <a:gd name="T42" fmla="*/ 3 w 216"/>
                    <a:gd name="T43" fmla="*/ 113 h 166"/>
                    <a:gd name="T44" fmla="*/ 8 w 216"/>
                    <a:gd name="T45" fmla="*/ 125 h 166"/>
                    <a:gd name="T46" fmla="*/ 15 w 216"/>
                    <a:gd name="T47" fmla="*/ 134 h 166"/>
                    <a:gd name="T48" fmla="*/ 24 w 216"/>
                    <a:gd name="T49" fmla="*/ 144 h 166"/>
                    <a:gd name="T50" fmla="*/ 35 w 216"/>
                    <a:gd name="T51" fmla="*/ 152 h 166"/>
                    <a:gd name="T52" fmla="*/ 47 w 216"/>
                    <a:gd name="T53" fmla="*/ 158 h 166"/>
                    <a:gd name="T54" fmla="*/ 61 w 216"/>
                    <a:gd name="T55" fmla="*/ 163 h 166"/>
                    <a:gd name="T56" fmla="*/ 75 w 216"/>
                    <a:gd name="T57" fmla="*/ 165 h 166"/>
                    <a:gd name="T58" fmla="*/ 91 w 216"/>
                    <a:gd name="T59" fmla="*/ 166 h 166"/>
                    <a:gd name="T60" fmla="*/ 91 w 216"/>
                    <a:gd name="T61" fmla="*/ 166 h 166"/>
                    <a:gd name="T62" fmla="*/ 111 w 216"/>
                    <a:gd name="T63" fmla="*/ 164 h 166"/>
                    <a:gd name="T64" fmla="*/ 130 w 216"/>
                    <a:gd name="T65" fmla="*/ 161 h 166"/>
                    <a:gd name="T66" fmla="*/ 130 w 216"/>
                    <a:gd name="T67" fmla="*/ 161 h 166"/>
                    <a:gd name="T68" fmla="*/ 141 w 216"/>
                    <a:gd name="T69" fmla="*/ 157 h 166"/>
                    <a:gd name="T70" fmla="*/ 151 w 216"/>
                    <a:gd name="T71" fmla="*/ 153 h 166"/>
                    <a:gd name="T72" fmla="*/ 161 w 216"/>
                    <a:gd name="T73" fmla="*/ 149 h 166"/>
                    <a:gd name="T74" fmla="*/ 169 w 216"/>
                    <a:gd name="T75" fmla="*/ 143 h 166"/>
                    <a:gd name="T76" fmla="*/ 178 w 216"/>
                    <a:gd name="T77" fmla="*/ 137 h 166"/>
                    <a:gd name="T78" fmla="*/ 186 w 216"/>
                    <a:gd name="T79" fmla="*/ 131 h 166"/>
                    <a:gd name="T80" fmla="*/ 192 w 216"/>
                    <a:gd name="T81" fmla="*/ 124 h 166"/>
                    <a:gd name="T82" fmla="*/ 198 w 216"/>
                    <a:gd name="T83" fmla="*/ 117 h 166"/>
                    <a:gd name="T84" fmla="*/ 204 w 216"/>
                    <a:gd name="T85" fmla="*/ 109 h 166"/>
                    <a:gd name="T86" fmla="*/ 207 w 216"/>
                    <a:gd name="T87" fmla="*/ 101 h 166"/>
                    <a:gd name="T88" fmla="*/ 211 w 216"/>
                    <a:gd name="T89" fmla="*/ 94 h 166"/>
                    <a:gd name="T90" fmla="*/ 213 w 216"/>
                    <a:gd name="T91" fmla="*/ 86 h 166"/>
                    <a:gd name="T92" fmla="*/ 216 w 216"/>
                    <a:gd name="T93" fmla="*/ 77 h 166"/>
                    <a:gd name="T94" fmla="*/ 216 w 216"/>
                    <a:gd name="T95" fmla="*/ 69 h 166"/>
                    <a:gd name="T96" fmla="*/ 216 w 216"/>
                    <a:gd name="T97" fmla="*/ 61 h 166"/>
                    <a:gd name="T98" fmla="*/ 213 w 216"/>
                    <a:gd name="T99" fmla="*/ 52 h 166"/>
                    <a:gd name="T100" fmla="*/ 213 w 216"/>
                    <a:gd name="T101" fmla="*/ 52 h 166"/>
                    <a:gd name="T102" fmla="*/ 209 w 216"/>
                    <a:gd name="T103" fmla="*/ 42 h 166"/>
                    <a:gd name="T104" fmla="*/ 201 w 216"/>
                    <a:gd name="T105" fmla="*/ 31 h 166"/>
                    <a:gd name="T106" fmla="*/ 193 w 216"/>
                    <a:gd name="T107" fmla="*/ 21 h 166"/>
                    <a:gd name="T108" fmla="*/ 182 w 216"/>
                    <a:gd name="T109" fmla="*/ 14 h 166"/>
                    <a:gd name="T110" fmla="*/ 169 w 216"/>
                    <a:gd name="T111" fmla="*/ 7 h 166"/>
                    <a:gd name="T112" fmla="*/ 156 w 216"/>
                    <a:gd name="T113" fmla="*/ 4 h 166"/>
                    <a:gd name="T114" fmla="*/ 141 w 216"/>
                    <a:gd name="T115" fmla="*/ 0 h 166"/>
                    <a:gd name="T116" fmla="*/ 125 w 216"/>
                    <a:gd name="T11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6" h="166">
                      <a:moveTo>
                        <a:pt x="125" y="0"/>
                      </a:moveTo>
                      <a:lnTo>
                        <a:pt x="125" y="0"/>
                      </a:lnTo>
                      <a:lnTo>
                        <a:pt x="106" y="1"/>
                      </a:lnTo>
                      <a:lnTo>
                        <a:pt x="86" y="5"/>
                      </a:lnTo>
                      <a:lnTo>
                        <a:pt x="86" y="5"/>
                      </a:lnTo>
                      <a:lnTo>
                        <a:pt x="75" y="8"/>
                      </a:lnTo>
                      <a:lnTo>
                        <a:pt x="66" y="13"/>
                      </a:lnTo>
                      <a:lnTo>
                        <a:pt x="56" y="18"/>
                      </a:lnTo>
                      <a:lnTo>
                        <a:pt x="47" y="23"/>
                      </a:lnTo>
                      <a:lnTo>
                        <a:pt x="38" y="29"/>
                      </a:lnTo>
                      <a:lnTo>
                        <a:pt x="31" y="35"/>
                      </a:lnTo>
                      <a:lnTo>
                        <a:pt x="24" y="42"/>
                      </a:lnTo>
                      <a:lnTo>
                        <a:pt x="18" y="49"/>
                      </a:lnTo>
                      <a:lnTo>
                        <a:pt x="14" y="56"/>
                      </a:lnTo>
                      <a:lnTo>
                        <a:pt x="9" y="64"/>
                      </a:lnTo>
                      <a:lnTo>
                        <a:pt x="5" y="73"/>
                      </a:lnTo>
                      <a:lnTo>
                        <a:pt x="3" y="80"/>
                      </a:lnTo>
                      <a:lnTo>
                        <a:pt x="2" y="88"/>
                      </a:lnTo>
                      <a:lnTo>
                        <a:pt x="0" y="96"/>
                      </a:lnTo>
                      <a:lnTo>
                        <a:pt x="2" y="105"/>
                      </a:lnTo>
                      <a:lnTo>
                        <a:pt x="3" y="113"/>
                      </a:lnTo>
                      <a:lnTo>
                        <a:pt x="3" y="113"/>
                      </a:lnTo>
                      <a:lnTo>
                        <a:pt x="8" y="125"/>
                      </a:lnTo>
                      <a:lnTo>
                        <a:pt x="15" y="134"/>
                      </a:lnTo>
                      <a:lnTo>
                        <a:pt x="24" y="144"/>
                      </a:lnTo>
                      <a:lnTo>
                        <a:pt x="35" y="152"/>
                      </a:lnTo>
                      <a:lnTo>
                        <a:pt x="47" y="158"/>
                      </a:lnTo>
                      <a:lnTo>
                        <a:pt x="61" y="163"/>
                      </a:lnTo>
                      <a:lnTo>
                        <a:pt x="75" y="165"/>
                      </a:lnTo>
                      <a:lnTo>
                        <a:pt x="91" y="166"/>
                      </a:lnTo>
                      <a:lnTo>
                        <a:pt x="91" y="166"/>
                      </a:lnTo>
                      <a:lnTo>
                        <a:pt x="111" y="164"/>
                      </a:lnTo>
                      <a:lnTo>
                        <a:pt x="130" y="161"/>
                      </a:lnTo>
                      <a:lnTo>
                        <a:pt x="130" y="161"/>
                      </a:lnTo>
                      <a:lnTo>
                        <a:pt x="141" y="157"/>
                      </a:lnTo>
                      <a:lnTo>
                        <a:pt x="151" y="153"/>
                      </a:lnTo>
                      <a:lnTo>
                        <a:pt x="161" y="149"/>
                      </a:lnTo>
                      <a:lnTo>
                        <a:pt x="169" y="143"/>
                      </a:lnTo>
                      <a:lnTo>
                        <a:pt x="178" y="137"/>
                      </a:lnTo>
                      <a:lnTo>
                        <a:pt x="186" y="131"/>
                      </a:lnTo>
                      <a:lnTo>
                        <a:pt x="192" y="124"/>
                      </a:lnTo>
                      <a:lnTo>
                        <a:pt x="198" y="117"/>
                      </a:lnTo>
                      <a:lnTo>
                        <a:pt x="204" y="109"/>
                      </a:lnTo>
                      <a:lnTo>
                        <a:pt x="207" y="101"/>
                      </a:lnTo>
                      <a:lnTo>
                        <a:pt x="211" y="94"/>
                      </a:lnTo>
                      <a:lnTo>
                        <a:pt x="213" y="86"/>
                      </a:lnTo>
                      <a:lnTo>
                        <a:pt x="216" y="77"/>
                      </a:lnTo>
                      <a:lnTo>
                        <a:pt x="216" y="69"/>
                      </a:lnTo>
                      <a:lnTo>
                        <a:pt x="216" y="61"/>
                      </a:lnTo>
                      <a:lnTo>
                        <a:pt x="213" y="52"/>
                      </a:lnTo>
                      <a:lnTo>
                        <a:pt x="213" y="52"/>
                      </a:lnTo>
                      <a:lnTo>
                        <a:pt x="209" y="42"/>
                      </a:lnTo>
                      <a:lnTo>
                        <a:pt x="201" y="31"/>
                      </a:lnTo>
                      <a:lnTo>
                        <a:pt x="193" y="21"/>
                      </a:lnTo>
                      <a:lnTo>
                        <a:pt x="182" y="14"/>
                      </a:lnTo>
                      <a:lnTo>
                        <a:pt x="169" y="7"/>
                      </a:lnTo>
                      <a:lnTo>
                        <a:pt x="156" y="4"/>
                      </a:lnTo>
                      <a:lnTo>
                        <a:pt x="141" y="0"/>
                      </a:lnTo>
                      <a:lnTo>
                        <a:pt x="1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7547" name="그룹 7546"/>
              <p:cNvGrpSpPr/>
              <p:nvPr userDrawn="1"/>
            </p:nvGrpSpPr>
            <p:grpSpPr>
              <a:xfrm>
                <a:off x="6301722" y="1363524"/>
                <a:ext cx="374586" cy="815843"/>
                <a:chOff x="12147096" y="-27489"/>
                <a:chExt cx="677863" cy="1476376"/>
              </a:xfrm>
            </p:grpSpPr>
            <p:sp>
              <p:nvSpPr>
                <p:cNvPr id="7470" name="Freeform 317"/>
                <p:cNvSpPr>
                  <a:spLocks/>
                </p:cNvSpPr>
                <p:nvPr userDrawn="1"/>
              </p:nvSpPr>
              <p:spPr bwMode="auto">
                <a:xfrm>
                  <a:off x="12356646" y="1167899"/>
                  <a:ext cx="73025" cy="252413"/>
                </a:xfrm>
                <a:custGeom>
                  <a:avLst/>
                  <a:gdLst>
                    <a:gd name="T0" fmla="*/ 44 w 92"/>
                    <a:gd name="T1" fmla="*/ 318 h 318"/>
                    <a:gd name="T2" fmla="*/ 0 w 92"/>
                    <a:gd name="T3" fmla="*/ 318 h 318"/>
                    <a:gd name="T4" fmla="*/ 0 w 92"/>
                    <a:gd name="T5" fmla="*/ 0 h 318"/>
                    <a:gd name="T6" fmla="*/ 92 w 92"/>
                    <a:gd name="T7" fmla="*/ 0 h 318"/>
                    <a:gd name="T8" fmla="*/ 44 w 92"/>
                    <a:gd name="T9" fmla="*/ 318 h 318"/>
                  </a:gdLst>
                  <a:ahLst/>
                  <a:cxnLst>
                    <a:cxn ang="0">
                      <a:pos x="T0" y="T1"/>
                    </a:cxn>
                    <a:cxn ang="0">
                      <a:pos x="T2" y="T3"/>
                    </a:cxn>
                    <a:cxn ang="0">
                      <a:pos x="T4" y="T5"/>
                    </a:cxn>
                    <a:cxn ang="0">
                      <a:pos x="T6" y="T7"/>
                    </a:cxn>
                    <a:cxn ang="0">
                      <a:pos x="T8" y="T9"/>
                    </a:cxn>
                  </a:cxnLst>
                  <a:rect l="0" t="0" r="r" b="b"/>
                  <a:pathLst>
                    <a:path w="92" h="318">
                      <a:moveTo>
                        <a:pt x="44" y="318"/>
                      </a:moveTo>
                      <a:lnTo>
                        <a:pt x="0" y="318"/>
                      </a:lnTo>
                      <a:lnTo>
                        <a:pt x="0" y="0"/>
                      </a:lnTo>
                      <a:lnTo>
                        <a:pt x="92" y="0"/>
                      </a:lnTo>
                      <a:lnTo>
                        <a:pt x="44" y="318"/>
                      </a:lnTo>
                      <a:close/>
                    </a:path>
                  </a:pathLst>
                </a:custGeom>
                <a:solidFill>
                  <a:srgbClr val="148C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1" name="Freeform 318"/>
                <p:cNvSpPr>
                  <a:spLocks/>
                </p:cNvSpPr>
                <p:nvPr userDrawn="1"/>
              </p:nvSpPr>
              <p:spPr bwMode="auto">
                <a:xfrm>
                  <a:off x="12340771" y="1371099"/>
                  <a:ext cx="77788" cy="77788"/>
                </a:xfrm>
                <a:custGeom>
                  <a:avLst/>
                  <a:gdLst>
                    <a:gd name="T0" fmla="*/ 98 w 98"/>
                    <a:gd name="T1" fmla="*/ 98 h 98"/>
                    <a:gd name="T2" fmla="*/ 98 w 98"/>
                    <a:gd name="T3" fmla="*/ 98 h 98"/>
                    <a:gd name="T4" fmla="*/ 98 w 98"/>
                    <a:gd name="T5" fmla="*/ 88 h 98"/>
                    <a:gd name="T6" fmla="*/ 96 w 98"/>
                    <a:gd name="T7" fmla="*/ 79 h 98"/>
                    <a:gd name="T8" fmla="*/ 94 w 98"/>
                    <a:gd name="T9" fmla="*/ 69 h 98"/>
                    <a:gd name="T10" fmla="*/ 90 w 98"/>
                    <a:gd name="T11" fmla="*/ 60 h 98"/>
                    <a:gd name="T12" fmla="*/ 86 w 98"/>
                    <a:gd name="T13" fmla="*/ 51 h 98"/>
                    <a:gd name="T14" fmla="*/ 81 w 98"/>
                    <a:gd name="T15" fmla="*/ 43 h 98"/>
                    <a:gd name="T16" fmla="*/ 76 w 98"/>
                    <a:gd name="T17" fmla="*/ 36 h 98"/>
                    <a:gd name="T18" fmla="*/ 69 w 98"/>
                    <a:gd name="T19" fmla="*/ 29 h 98"/>
                    <a:gd name="T20" fmla="*/ 62 w 98"/>
                    <a:gd name="T21" fmla="*/ 23 h 98"/>
                    <a:gd name="T22" fmla="*/ 55 w 98"/>
                    <a:gd name="T23" fmla="*/ 17 h 98"/>
                    <a:gd name="T24" fmla="*/ 46 w 98"/>
                    <a:gd name="T25" fmla="*/ 12 h 98"/>
                    <a:gd name="T26" fmla="*/ 38 w 98"/>
                    <a:gd name="T27" fmla="*/ 9 h 98"/>
                    <a:gd name="T28" fmla="*/ 30 w 98"/>
                    <a:gd name="T29" fmla="*/ 5 h 98"/>
                    <a:gd name="T30" fmla="*/ 20 w 98"/>
                    <a:gd name="T31" fmla="*/ 3 h 98"/>
                    <a:gd name="T32" fmla="*/ 11 w 98"/>
                    <a:gd name="T33" fmla="*/ 2 h 98"/>
                    <a:gd name="T34" fmla="*/ 0 w 98"/>
                    <a:gd name="T35" fmla="*/ 0 h 98"/>
                    <a:gd name="T36" fmla="*/ 0 w 98"/>
                    <a:gd name="T37" fmla="*/ 98 h 98"/>
                    <a:gd name="T38" fmla="*/ 98 w 98"/>
                    <a:gd name="T39"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8" h="98">
                      <a:moveTo>
                        <a:pt x="98" y="98"/>
                      </a:moveTo>
                      <a:lnTo>
                        <a:pt x="98" y="98"/>
                      </a:lnTo>
                      <a:lnTo>
                        <a:pt x="98" y="88"/>
                      </a:lnTo>
                      <a:lnTo>
                        <a:pt x="96" y="79"/>
                      </a:lnTo>
                      <a:lnTo>
                        <a:pt x="94" y="69"/>
                      </a:lnTo>
                      <a:lnTo>
                        <a:pt x="90" y="60"/>
                      </a:lnTo>
                      <a:lnTo>
                        <a:pt x="86" y="51"/>
                      </a:lnTo>
                      <a:lnTo>
                        <a:pt x="81" y="43"/>
                      </a:lnTo>
                      <a:lnTo>
                        <a:pt x="76" y="36"/>
                      </a:lnTo>
                      <a:lnTo>
                        <a:pt x="69" y="29"/>
                      </a:lnTo>
                      <a:lnTo>
                        <a:pt x="62" y="23"/>
                      </a:lnTo>
                      <a:lnTo>
                        <a:pt x="55" y="17"/>
                      </a:lnTo>
                      <a:lnTo>
                        <a:pt x="46" y="12"/>
                      </a:lnTo>
                      <a:lnTo>
                        <a:pt x="38" y="9"/>
                      </a:lnTo>
                      <a:lnTo>
                        <a:pt x="30" y="5"/>
                      </a:lnTo>
                      <a:lnTo>
                        <a:pt x="20" y="3"/>
                      </a:lnTo>
                      <a:lnTo>
                        <a:pt x="11" y="2"/>
                      </a:lnTo>
                      <a:lnTo>
                        <a:pt x="0" y="0"/>
                      </a:lnTo>
                      <a:lnTo>
                        <a:pt x="0" y="98"/>
                      </a:lnTo>
                      <a:lnTo>
                        <a:pt x="98" y="98"/>
                      </a:lnTo>
                      <a:close/>
                    </a:path>
                  </a:pathLst>
                </a:custGeom>
                <a:solidFill>
                  <a:srgbClr val="177A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2" name="Freeform 319"/>
                <p:cNvSpPr>
                  <a:spLocks/>
                </p:cNvSpPr>
                <p:nvPr userDrawn="1"/>
              </p:nvSpPr>
              <p:spPr bwMode="auto">
                <a:xfrm>
                  <a:off x="12262983" y="1371099"/>
                  <a:ext cx="77788" cy="77788"/>
                </a:xfrm>
                <a:custGeom>
                  <a:avLst/>
                  <a:gdLst>
                    <a:gd name="T0" fmla="*/ 97 w 97"/>
                    <a:gd name="T1" fmla="*/ 0 h 98"/>
                    <a:gd name="T2" fmla="*/ 97 w 97"/>
                    <a:gd name="T3" fmla="*/ 0 h 98"/>
                    <a:gd name="T4" fmla="*/ 88 w 97"/>
                    <a:gd name="T5" fmla="*/ 2 h 98"/>
                    <a:gd name="T6" fmla="*/ 78 w 97"/>
                    <a:gd name="T7" fmla="*/ 3 h 98"/>
                    <a:gd name="T8" fmla="*/ 68 w 97"/>
                    <a:gd name="T9" fmla="*/ 5 h 98"/>
                    <a:gd name="T10" fmla="*/ 59 w 97"/>
                    <a:gd name="T11" fmla="*/ 9 h 98"/>
                    <a:gd name="T12" fmla="*/ 51 w 97"/>
                    <a:gd name="T13" fmla="*/ 12 h 98"/>
                    <a:gd name="T14" fmla="*/ 42 w 97"/>
                    <a:gd name="T15" fmla="*/ 17 h 98"/>
                    <a:gd name="T16" fmla="*/ 35 w 97"/>
                    <a:gd name="T17" fmla="*/ 23 h 98"/>
                    <a:gd name="T18" fmla="*/ 28 w 97"/>
                    <a:gd name="T19" fmla="*/ 29 h 98"/>
                    <a:gd name="T20" fmla="*/ 22 w 97"/>
                    <a:gd name="T21" fmla="*/ 36 h 98"/>
                    <a:gd name="T22" fmla="*/ 16 w 97"/>
                    <a:gd name="T23" fmla="*/ 43 h 98"/>
                    <a:gd name="T24" fmla="*/ 11 w 97"/>
                    <a:gd name="T25" fmla="*/ 51 h 98"/>
                    <a:gd name="T26" fmla="*/ 7 w 97"/>
                    <a:gd name="T27" fmla="*/ 60 h 98"/>
                    <a:gd name="T28" fmla="*/ 3 w 97"/>
                    <a:gd name="T29" fmla="*/ 69 h 98"/>
                    <a:gd name="T30" fmla="*/ 1 w 97"/>
                    <a:gd name="T31" fmla="*/ 79 h 98"/>
                    <a:gd name="T32" fmla="*/ 0 w 97"/>
                    <a:gd name="T33" fmla="*/ 88 h 98"/>
                    <a:gd name="T34" fmla="*/ 0 w 97"/>
                    <a:gd name="T35" fmla="*/ 98 h 98"/>
                    <a:gd name="T36" fmla="*/ 97 w 97"/>
                    <a:gd name="T37" fmla="*/ 98 h 98"/>
                    <a:gd name="T38" fmla="*/ 97 w 97"/>
                    <a:gd name="T39"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7" h="98">
                      <a:moveTo>
                        <a:pt x="97" y="0"/>
                      </a:moveTo>
                      <a:lnTo>
                        <a:pt x="97" y="0"/>
                      </a:lnTo>
                      <a:lnTo>
                        <a:pt x="88" y="2"/>
                      </a:lnTo>
                      <a:lnTo>
                        <a:pt x="78" y="3"/>
                      </a:lnTo>
                      <a:lnTo>
                        <a:pt x="68" y="5"/>
                      </a:lnTo>
                      <a:lnTo>
                        <a:pt x="59" y="9"/>
                      </a:lnTo>
                      <a:lnTo>
                        <a:pt x="51" y="12"/>
                      </a:lnTo>
                      <a:lnTo>
                        <a:pt x="42" y="17"/>
                      </a:lnTo>
                      <a:lnTo>
                        <a:pt x="35" y="23"/>
                      </a:lnTo>
                      <a:lnTo>
                        <a:pt x="28" y="29"/>
                      </a:lnTo>
                      <a:lnTo>
                        <a:pt x="22" y="36"/>
                      </a:lnTo>
                      <a:lnTo>
                        <a:pt x="16" y="43"/>
                      </a:lnTo>
                      <a:lnTo>
                        <a:pt x="11" y="51"/>
                      </a:lnTo>
                      <a:lnTo>
                        <a:pt x="7" y="60"/>
                      </a:lnTo>
                      <a:lnTo>
                        <a:pt x="3" y="69"/>
                      </a:lnTo>
                      <a:lnTo>
                        <a:pt x="1" y="79"/>
                      </a:lnTo>
                      <a:lnTo>
                        <a:pt x="0" y="88"/>
                      </a:lnTo>
                      <a:lnTo>
                        <a:pt x="0" y="98"/>
                      </a:lnTo>
                      <a:lnTo>
                        <a:pt x="97" y="98"/>
                      </a:lnTo>
                      <a:lnTo>
                        <a:pt x="97" y="0"/>
                      </a:lnTo>
                      <a:close/>
                    </a:path>
                  </a:pathLst>
                </a:custGeom>
                <a:solidFill>
                  <a:srgbClr val="39B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3" name="Freeform 320"/>
                <p:cNvSpPr>
                  <a:spLocks/>
                </p:cNvSpPr>
                <p:nvPr userDrawn="1"/>
              </p:nvSpPr>
              <p:spPr bwMode="auto">
                <a:xfrm>
                  <a:off x="12451896" y="759911"/>
                  <a:ext cx="34925" cy="112713"/>
                </a:xfrm>
                <a:custGeom>
                  <a:avLst/>
                  <a:gdLst>
                    <a:gd name="T0" fmla="*/ 0 w 44"/>
                    <a:gd name="T1" fmla="*/ 143 h 143"/>
                    <a:gd name="T2" fmla="*/ 44 w 44"/>
                    <a:gd name="T3" fmla="*/ 143 h 143"/>
                    <a:gd name="T4" fmla="*/ 44 w 44"/>
                    <a:gd name="T5" fmla="*/ 0 h 143"/>
                    <a:gd name="T6" fmla="*/ 5 w 44"/>
                    <a:gd name="T7" fmla="*/ 0 h 143"/>
                    <a:gd name="T8" fmla="*/ 0 w 44"/>
                    <a:gd name="T9" fmla="*/ 143 h 143"/>
                  </a:gdLst>
                  <a:ahLst/>
                  <a:cxnLst>
                    <a:cxn ang="0">
                      <a:pos x="T0" y="T1"/>
                    </a:cxn>
                    <a:cxn ang="0">
                      <a:pos x="T2" y="T3"/>
                    </a:cxn>
                    <a:cxn ang="0">
                      <a:pos x="T4" y="T5"/>
                    </a:cxn>
                    <a:cxn ang="0">
                      <a:pos x="T6" y="T7"/>
                    </a:cxn>
                    <a:cxn ang="0">
                      <a:pos x="T8" y="T9"/>
                    </a:cxn>
                  </a:cxnLst>
                  <a:rect l="0" t="0" r="r" b="b"/>
                  <a:pathLst>
                    <a:path w="44" h="143">
                      <a:moveTo>
                        <a:pt x="0" y="143"/>
                      </a:moveTo>
                      <a:lnTo>
                        <a:pt x="44" y="143"/>
                      </a:lnTo>
                      <a:lnTo>
                        <a:pt x="44" y="0"/>
                      </a:lnTo>
                      <a:lnTo>
                        <a:pt x="5" y="0"/>
                      </a:lnTo>
                      <a:lnTo>
                        <a:pt x="0" y="143"/>
                      </a:lnTo>
                      <a:close/>
                    </a:path>
                  </a:pathLst>
                </a:custGeom>
                <a:solidFill>
                  <a:srgbClr val="148C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4" name="Freeform 321"/>
                <p:cNvSpPr>
                  <a:spLocks/>
                </p:cNvSpPr>
                <p:nvPr userDrawn="1"/>
              </p:nvSpPr>
              <p:spPr bwMode="auto">
                <a:xfrm>
                  <a:off x="12147096" y="-27489"/>
                  <a:ext cx="339725" cy="806450"/>
                </a:xfrm>
                <a:custGeom>
                  <a:avLst/>
                  <a:gdLst>
                    <a:gd name="T0" fmla="*/ 428 w 428"/>
                    <a:gd name="T1" fmla="*/ 1015 h 1015"/>
                    <a:gd name="T2" fmla="*/ 428 w 428"/>
                    <a:gd name="T3" fmla="*/ 1015 h 1015"/>
                    <a:gd name="T4" fmla="*/ 402 w 428"/>
                    <a:gd name="T5" fmla="*/ 1014 h 1015"/>
                    <a:gd name="T6" fmla="*/ 378 w 428"/>
                    <a:gd name="T7" fmla="*/ 1011 h 1015"/>
                    <a:gd name="T8" fmla="*/ 354 w 428"/>
                    <a:gd name="T9" fmla="*/ 1009 h 1015"/>
                    <a:gd name="T10" fmla="*/ 333 w 428"/>
                    <a:gd name="T11" fmla="*/ 1004 h 1015"/>
                    <a:gd name="T12" fmla="*/ 312 w 428"/>
                    <a:gd name="T13" fmla="*/ 998 h 1015"/>
                    <a:gd name="T14" fmla="*/ 291 w 428"/>
                    <a:gd name="T15" fmla="*/ 992 h 1015"/>
                    <a:gd name="T16" fmla="*/ 274 w 428"/>
                    <a:gd name="T17" fmla="*/ 984 h 1015"/>
                    <a:gd name="T18" fmla="*/ 256 w 428"/>
                    <a:gd name="T19" fmla="*/ 974 h 1015"/>
                    <a:gd name="T20" fmla="*/ 239 w 428"/>
                    <a:gd name="T21" fmla="*/ 963 h 1015"/>
                    <a:gd name="T22" fmla="*/ 222 w 428"/>
                    <a:gd name="T23" fmla="*/ 951 h 1015"/>
                    <a:gd name="T24" fmla="*/ 208 w 428"/>
                    <a:gd name="T25" fmla="*/ 938 h 1015"/>
                    <a:gd name="T26" fmla="*/ 195 w 428"/>
                    <a:gd name="T27" fmla="*/ 922 h 1015"/>
                    <a:gd name="T28" fmla="*/ 182 w 428"/>
                    <a:gd name="T29" fmla="*/ 905 h 1015"/>
                    <a:gd name="T30" fmla="*/ 170 w 428"/>
                    <a:gd name="T31" fmla="*/ 888 h 1015"/>
                    <a:gd name="T32" fmla="*/ 159 w 428"/>
                    <a:gd name="T33" fmla="*/ 869 h 1015"/>
                    <a:gd name="T34" fmla="*/ 150 w 428"/>
                    <a:gd name="T35" fmla="*/ 848 h 1015"/>
                    <a:gd name="T36" fmla="*/ 150 w 428"/>
                    <a:gd name="T37" fmla="*/ 848 h 1015"/>
                    <a:gd name="T38" fmla="*/ 130 w 428"/>
                    <a:gd name="T39" fmla="*/ 800 h 1015"/>
                    <a:gd name="T40" fmla="*/ 106 w 428"/>
                    <a:gd name="T41" fmla="*/ 739 h 1015"/>
                    <a:gd name="T42" fmla="*/ 81 w 428"/>
                    <a:gd name="T43" fmla="*/ 671 h 1015"/>
                    <a:gd name="T44" fmla="*/ 57 w 428"/>
                    <a:gd name="T45" fmla="*/ 596 h 1015"/>
                    <a:gd name="T46" fmla="*/ 45 w 428"/>
                    <a:gd name="T47" fmla="*/ 558 h 1015"/>
                    <a:gd name="T48" fmla="*/ 35 w 428"/>
                    <a:gd name="T49" fmla="*/ 519 h 1015"/>
                    <a:gd name="T50" fmla="*/ 25 w 428"/>
                    <a:gd name="T51" fmla="*/ 481 h 1015"/>
                    <a:gd name="T52" fmla="*/ 17 w 428"/>
                    <a:gd name="T53" fmla="*/ 442 h 1015"/>
                    <a:gd name="T54" fmla="*/ 10 w 428"/>
                    <a:gd name="T55" fmla="*/ 404 h 1015"/>
                    <a:gd name="T56" fmla="*/ 5 w 428"/>
                    <a:gd name="T57" fmla="*/ 367 h 1015"/>
                    <a:gd name="T58" fmla="*/ 1 w 428"/>
                    <a:gd name="T59" fmla="*/ 330 h 1015"/>
                    <a:gd name="T60" fmla="*/ 0 w 428"/>
                    <a:gd name="T61" fmla="*/ 296 h 1015"/>
                    <a:gd name="T62" fmla="*/ 0 w 428"/>
                    <a:gd name="T63" fmla="*/ 296 h 1015"/>
                    <a:gd name="T64" fmla="*/ 1 w 428"/>
                    <a:gd name="T65" fmla="*/ 279 h 1015"/>
                    <a:gd name="T66" fmla="*/ 2 w 428"/>
                    <a:gd name="T67" fmla="*/ 262 h 1015"/>
                    <a:gd name="T68" fmla="*/ 5 w 428"/>
                    <a:gd name="T69" fmla="*/ 247 h 1015"/>
                    <a:gd name="T70" fmla="*/ 10 w 428"/>
                    <a:gd name="T71" fmla="*/ 231 h 1015"/>
                    <a:gd name="T72" fmla="*/ 14 w 428"/>
                    <a:gd name="T73" fmla="*/ 216 h 1015"/>
                    <a:gd name="T74" fmla="*/ 20 w 428"/>
                    <a:gd name="T75" fmla="*/ 202 h 1015"/>
                    <a:gd name="T76" fmla="*/ 26 w 428"/>
                    <a:gd name="T77" fmla="*/ 187 h 1015"/>
                    <a:gd name="T78" fmla="*/ 35 w 428"/>
                    <a:gd name="T79" fmla="*/ 173 h 1015"/>
                    <a:gd name="T80" fmla="*/ 43 w 428"/>
                    <a:gd name="T81" fmla="*/ 160 h 1015"/>
                    <a:gd name="T82" fmla="*/ 52 w 428"/>
                    <a:gd name="T83" fmla="*/ 147 h 1015"/>
                    <a:gd name="T84" fmla="*/ 63 w 428"/>
                    <a:gd name="T85" fmla="*/ 135 h 1015"/>
                    <a:gd name="T86" fmla="*/ 74 w 428"/>
                    <a:gd name="T87" fmla="*/ 123 h 1015"/>
                    <a:gd name="T88" fmla="*/ 86 w 428"/>
                    <a:gd name="T89" fmla="*/ 111 h 1015"/>
                    <a:gd name="T90" fmla="*/ 99 w 428"/>
                    <a:gd name="T91" fmla="*/ 101 h 1015"/>
                    <a:gd name="T92" fmla="*/ 113 w 428"/>
                    <a:gd name="T93" fmla="*/ 90 h 1015"/>
                    <a:gd name="T94" fmla="*/ 127 w 428"/>
                    <a:gd name="T95" fmla="*/ 80 h 1015"/>
                    <a:gd name="T96" fmla="*/ 142 w 428"/>
                    <a:gd name="T97" fmla="*/ 71 h 1015"/>
                    <a:gd name="T98" fmla="*/ 157 w 428"/>
                    <a:gd name="T99" fmla="*/ 61 h 1015"/>
                    <a:gd name="T100" fmla="*/ 174 w 428"/>
                    <a:gd name="T101" fmla="*/ 53 h 1015"/>
                    <a:gd name="T102" fmla="*/ 190 w 428"/>
                    <a:gd name="T103" fmla="*/ 46 h 1015"/>
                    <a:gd name="T104" fmla="*/ 208 w 428"/>
                    <a:gd name="T105" fmla="*/ 39 h 1015"/>
                    <a:gd name="T106" fmla="*/ 226 w 428"/>
                    <a:gd name="T107" fmla="*/ 32 h 1015"/>
                    <a:gd name="T108" fmla="*/ 263 w 428"/>
                    <a:gd name="T109" fmla="*/ 20 h 1015"/>
                    <a:gd name="T110" fmla="*/ 302 w 428"/>
                    <a:gd name="T111" fmla="*/ 11 h 1015"/>
                    <a:gd name="T112" fmla="*/ 343 w 428"/>
                    <a:gd name="T113" fmla="*/ 4 h 1015"/>
                    <a:gd name="T114" fmla="*/ 384 w 428"/>
                    <a:gd name="T115" fmla="*/ 1 h 1015"/>
                    <a:gd name="T116" fmla="*/ 428 w 428"/>
                    <a:gd name="T117" fmla="*/ 0 h 1015"/>
                    <a:gd name="T118" fmla="*/ 428 w 428"/>
                    <a:gd name="T119" fmla="*/ 0 h 1015"/>
                    <a:gd name="T120" fmla="*/ 428 w 428"/>
                    <a:gd name="T121" fmla="*/ 1015 h 1015"/>
                    <a:gd name="T122" fmla="*/ 428 w 428"/>
                    <a:gd name="T123" fmla="*/ 1015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8" h="1015">
                      <a:moveTo>
                        <a:pt x="428" y="1015"/>
                      </a:moveTo>
                      <a:lnTo>
                        <a:pt x="428" y="1015"/>
                      </a:lnTo>
                      <a:lnTo>
                        <a:pt x="402" y="1014"/>
                      </a:lnTo>
                      <a:lnTo>
                        <a:pt x="378" y="1011"/>
                      </a:lnTo>
                      <a:lnTo>
                        <a:pt x="354" y="1009"/>
                      </a:lnTo>
                      <a:lnTo>
                        <a:pt x="333" y="1004"/>
                      </a:lnTo>
                      <a:lnTo>
                        <a:pt x="312" y="998"/>
                      </a:lnTo>
                      <a:lnTo>
                        <a:pt x="291" y="992"/>
                      </a:lnTo>
                      <a:lnTo>
                        <a:pt x="274" y="984"/>
                      </a:lnTo>
                      <a:lnTo>
                        <a:pt x="256" y="974"/>
                      </a:lnTo>
                      <a:lnTo>
                        <a:pt x="239" y="963"/>
                      </a:lnTo>
                      <a:lnTo>
                        <a:pt x="222" y="951"/>
                      </a:lnTo>
                      <a:lnTo>
                        <a:pt x="208" y="938"/>
                      </a:lnTo>
                      <a:lnTo>
                        <a:pt x="195" y="922"/>
                      </a:lnTo>
                      <a:lnTo>
                        <a:pt x="182" y="905"/>
                      </a:lnTo>
                      <a:lnTo>
                        <a:pt x="170" y="888"/>
                      </a:lnTo>
                      <a:lnTo>
                        <a:pt x="159" y="869"/>
                      </a:lnTo>
                      <a:lnTo>
                        <a:pt x="150" y="848"/>
                      </a:lnTo>
                      <a:lnTo>
                        <a:pt x="150" y="848"/>
                      </a:lnTo>
                      <a:lnTo>
                        <a:pt x="130" y="800"/>
                      </a:lnTo>
                      <a:lnTo>
                        <a:pt x="106" y="739"/>
                      </a:lnTo>
                      <a:lnTo>
                        <a:pt x="81" y="671"/>
                      </a:lnTo>
                      <a:lnTo>
                        <a:pt x="57" y="596"/>
                      </a:lnTo>
                      <a:lnTo>
                        <a:pt x="45" y="558"/>
                      </a:lnTo>
                      <a:lnTo>
                        <a:pt x="35" y="519"/>
                      </a:lnTo>
                      <a:lnTo>
                        <a:pt x="25" y="481"/>
                      </a:lnTo>
                      <a:lnTo>
                        <a:pt x="17" y="442"/>
                      </a:lnTo>
                      <a:lnTo>
                        <a:pt x="10" y="404"/>
                      </a:lnTo>
                      <a:lnTo>
                        <a:pt x="5" y="367"/>
                      </a:lnTo>
                      <a:lnTo>
                        <a:pt x="1" y="330"/>
                      </a:lnTo>
                      <a:lnTo>
                        <a:pt x="0" y="296"/>
                      </a:lnTo>
                      <a:lnTo>
                        <a:pt x="0" y="296"/>
                      </a:lnTo>
                      <a:lnTo>
                        <a:pt x="1" y="279"/>
                      </a:lnTo>
                      <a:lnTo>
                        <a:pt x="2" y="262"/>
                      </a:lnTo>
                      <a:lnTo>
                        <a:pt x="5" y="247"/>
                      </a:lnTo>
                      <a:lnTo>
                        <a:pt x="10" y="231"/>
                      </a:lnTo>
                      <a:lnTo>
                        <a:pt x="14" y="216"/>
                      </a:lnTo>
                      <a:lnTo>
                        <a:pt x="20" y="202"/>
                      </a:lnTo>
                      <a:lnTo>
                        <a:pt x="26" y="187"/>
                      </a:lnTo>
                      <a:lnTo>
                        <a:pt x="35" y="173"/>
                      </a:lnTo>
                      <a:lnTo>
                        <a:pt x="43" y="160"/>
                      </a:lnTo>
                      <a:lnTo>
                        <a:pt x="52" y="147"/>
                      </a:lnTo>
                      <a:lnTo>
                        <a:pt x="63" y="135"/>
                      </a:lnTo>
                      <a:lnTo>
                        <a:pt x="74" y="123"/>
                      </a:lnTo>
                      <a:lnTo>
                        <a:pt x="86" y="111"/>
                      </a:lnTo>
                      <a:lnTo>
                        <a:pt x="99" y="101"/>
                      </a:lnTo>
                      <a:lnTo>
                        <a:pt x="113" y="90"/>
                      </a:lnTo>
                      <a:lnTo>
                        <a:pt x="127" y="80"/>
                      </a:lnTo>
                      <a:lnTo>
                        <a:pt x="142" y="71"/>
                      </a:lnTo>
                      <a:lnTo>
                        <a:pt x="157" y="61"/>
                      </a:lnTo>
                      <a:lnTo>
                        <a:pt x="174" y="53"/>
                      </a:lnTo>
                      <a:lnTo>
                        <a:pt x="190" y="46"/>
                      </a:lnTo>
                      <a:lnTo>
                        <a:pt x="208" y="39"/>
                      </a:lnTo>
                      <a:lnTo>
                        <a:pt x="226" y="32"/>
                      </a:lnTo>
                      <a:lnTo>
                        <a:pt x="263" y="20"/>
                      </a:lnTo>
                      <a:lnTo>
                        <a:pt x="302" y="11"/>
                      </a:lnTo>
                      <a:lnTo>
                        <a:pt x="343" y="4"/>
                      </a:lnTo>
                      <a:lnTo>
                        <a:pt x="384" y="1"/>
                      </a:lnTo>
                      <a:lnTo>
                        <a:pt x="428" y="0"/>
                      </a:lnTo>
                      <a:lnTo>
                        <a:pt x="428" y="0"/>
                      </a:lnTo>
                      <a:lnTo>
                        <a:pt x="428" y="1015"/>
                      </a:lnTo>
                      <a:lnTo>
                        <a:pt x="428" y="1015"/>
                      </a:lnTo>
                      <a:close/>
                    </a:path>
                  </a:pathLst>
                </a:custGeom>
                <a:solidFill>
                  <a:srgbClr val="39B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5" name="Freeform 322"/>
                <p:cNvSpPr>
                  <a:spLocks/>
                </p:cNvSpPr>
                <p:nvPr userDrawn="1"/>
              </p:nvSpPr>
              <p:spPr bwMode="auto">
                <a:xfrm>
                  <a:off x="12296321" y="850399"/>
                  <a:ext cx="190500" cy="377825"/>
                </a:xfrm>
                <a:custGeom>
                  <a:avLst/>
                  <a:gdLst>
                    <a:gd name="T0" fmla="*/ 239 w 239"/>
                    <a:gd name="T1" fmla="*/ 0 h 476"/>
                    <a:gd name="T2" fmla="*/ 239 w 239"/>
                    <a:gd name="T3" fmla="*/ 0 h 476"/>
                    <a:gd name="T4" fmla="*/ 226 w 239"/>
                    <a:gd name="T5" fmla="*/ 0 h 476"/>
                    <a:gd name="T6" fmla="*/ 214 w 239"/>
                    <a:gd name="T7" fmla="*/ 1 h 476"/>
                    <a:gd name="T8" fmla="*/ 202 w 239"/>
                    <a:gd name="T9" fmla="*/ 4 h 476"/>
                    <a:gd name="T10" fmla="*/ 190 w 239"/>
                    <a:gd name="T11" fmla="*/ 7 h 476"/>
                    <a:gd name="T12" fmla="*/ 180 w 239"/>
                    <a:gd name="T13" fmla="*/ 11 h 476"/>
                    <a:gd name="T14" fmla="*/ 168 w 239"/>
                    <a:gd name="T15" fmla="*/ 16 h 476"/>
                    <a:gd name="T16" fmla="*/ 157 w 239"/>
                    <a:gd name="T17" fmla="*/ 20 h 476"/>
                    <a:gd name="T18" fmla="*/ 146 w 239"/>
                    <a:gd name="T19" fmla="*/ 26 h 476"/>
                    <a:gd name="T20" fmla="*/ 125 w 239"/>
                    <a:gd name="T21" fmla="*/ 39 h 476"/>
                    <a:gd name="T22" fmla="*/ 106 w 239"/>
                    <a:gd name="T23" fmla="*/ 56 h 476"/>
                    <a:gd name="T24" fmla="*/ 87 w 239"/>
                    <a:gd name="T25" fmla="*/ 74 h 476"/>
                    <a:gd name="T26" fmla="*/ 70 w 239"/>
                    <a:gd name="T27" fmla="*/ 94 h 476"/>
                    <a:gd name="T28" fmla="*/ 55 w 239"/>
                    <a:gd name="T29" fmla="*/ 115 h 476"/>
                    <a:gd name="T30" fmla="*/ 42 w 239"/>
                    <a:gd name="T31" fmla="*/ 138 h 476"/>
                    <a:gd name="T32" fmla="*/ 30 w 239"/>
                    <a:gd name="T33" fmla="*/ 162 h 476"/>
                    <a:gd name="T34" fmla="*/ 19 w 239"/>
                    <a:gd name="T35" fmla="*/ 186 h 476"/>
                    <a:gd name="T36" fmla="*/ 11 w 239"/>
                    <a:gd name="T37" fmla="*/ 211 h 476"/>
                    <a:gd name="T38" fmla="*/ 6 w 239"/>
                    <a:gd name="T39" fmla="*/ 236 h 476"/>
                    <a:gd name="T40" fmla="*/ 3 w 239"/>
                    <a:gd name="T41" fmla="*/ 261 h 476"/>
                    <a:gd name="T42" fmla="*/ 0 w 239"/>
                    <a:gd name="T43" fmla="*/ 285 h 476"/>
                    <a:gd name="T44" fmla="*/ 0 w 239"/>
                    <a:gd name="T45" fmla="*/ 285 h 476"/>
                    <a:gd name="T46" fmla="*/ 3 w 239"/>
                    <a:gd name="T47" fmla="*/ 309 h 476"/>
                    <a:gd name="T48" fmla="*/ 6 w 239"/>
                    <a:gd name="T49" fmla="*/ 332 h 476"/>
                    <a:gd name="T50" fmla="*/ 11 w 239"/>
                    <a:gd name="T51" fmla="*/ 352 h 476"/>
                    <a:gd name="T52" fmla="*/ 19 w 239"/>
                    <a:gd name="T53" fmla="*/ 371 h 476"/>
                    <a:gd name="T54" fmla="*/ 30 w 239"/>
                    <a:gd name="T55" fmla="*/ 388 h 476"/>
                    <a:gd name="T56" fmla="*/ 42 w 239"/>
                    <a:gd name="T57" fmla="*/ 403 h 476"/>
                    <a:gd name="T58" fmla="*/ 55 w 239"/>
                    <a:gd name="T59" fmla="*/ 417 h 476"/>
                    <a:gd name="T60" fmla="*/ 70 w 239"/>
                    <a:gd name="T61" fmla="*/ 431 h 476"/>
                    <a:gd name="T62" fmla="*/ 87 w 239"/>
                    <a:gd name="T63" fmla="*/ 441 h 476"/>
                    <a:gd name="T64" fmla="*/ 106 w 239"/>
                    <a:gd name="T65" fmla="*/ 451 h 476"/>
                    <a:gd name="T66" fmla="*/ 125 w 239"/>
                    <a:gd name="T67" fmla="*/ 458 h 476"/>
                    <a:gd name="T68" fmla="*/ 146 w 239"/>
                    <a:gd name="T69" fmla="*/ 465 h 476"/>
                    <a:gd name="T70" fmla="*/ 168 w 239"/>
                    <a:gd name="T71" fmla="*/ 470 h 476"/>
                    <a:gd name="T72" fmla="*/ 190 w 239"/>
                    <a:gd name="T73" fmla="*/ 473 h 476"/>
                    <a:gd name="T74" fmla="*/ 214 w 239"/>
                    <a:gd name="T75" fmla="*/ 476 h 476"/>
                    <a:gd name="T76" fmla="*/ 239 w 239"/>
                    <a:gd name="T77" fmla="*/ 476 h 476"/>
                    <a:gd name="T78" fmla="*/ 239 w 239"/>
                    <a:gd name="T79"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9" h="476">
                      <a:moveTo>
                        <a:pt x="239" y="0"/>
                      </a:moveTo>
                      <a:lnTo>
                        <a:pt x="239" y="0"/>
                      </a:lnTo>
                      <a:lnTo>
                        <a:pt x="226" y="0"/>
                      </a:lnTo>
                      <a:lnTo>
                        <a:pt x="214" y="1"/>
                      </a:lnTo>
                      <a:lnTo>
                        <a:pt x="202" y="4"/>
                      </a:lnTo>
                      <a:lnTo>
                        <a:pt x="190" y="7"/>
                      </a:lnTo>
                      <a:lnTo>
                        <a:pt x="180" y="11"/>
                      </a:lnTo>
                      <a:lnTo>
                        <a:pt x="168" y="16"/>
                      </a:lnTo>
                      <a:lnTo>
                        <a:pt x="157" y="20"/>
                      </a:lnTo>
                      <a:lnTo>
                        <a:pt x="146" y="26"/>
                      </a:lnTo>
                      <a:lnTo>
                        <a:pt x="125" y="39"/>
                      </a:lnTo>
                      <a:lnTo>
                        <a:pt x="106" y="56"/>
                      </a:lnTo>
                      <a:lnTo>
                        <a:pt x="87" y="74"/>
                      </a:lnTo>
                      <a:lnTo>
                        <a:pt x="70" y="94"/>
                      </a:lnTo>
                      <a:lnTo>
                        <a:pt x="55" y="115"/>
                      </a:lnTo>
                      <a:lnTo>
                        <a:pt x="42" y="138"/>
                      </a:lnTo>
                      <a:lnTo>
                        <a:pt x="30" y="162"/>
                      </a:lnTo>
                      <a:lnTo>
                        <a:pt x="19" y="186"/>
                      </a:lnTo>
                      <a:lnTo>
                        <a:pt x="11" y="211"/>
                      </a:lnTo>
                      <a:lnTo>
                        <a:pt x="6" y="236"/>
                      </a:lnTo>
                      <a:lnTo>
                        <a:pt x="3" y="261"/>
                      </a:lnTo>
                      <a:lnTo>
                        <a:pt x="0" y="285"/>
                      </a:lnTo>
                      <a:lnTo>
                        <a:pt x="0" y="285"/>
                      </a:lnTo>
                      <a:lnTo>
                        <a:pt x="3" y="309"/>
                      </a:lnTo>
                      <a:lnTo>
                        <a:pt x="6" y="332"/>
                      </a:lnTo>
                      <a:lnTo>
                        <a:pt x="11" y="352"/>
                      </a:lnTo>
                      <a:lnTo>
                        <a:pt x="19" y="371"/>
                      </a:lnTo>
                      <a:lnTo>
                        <a:pt x="30" y="388"/>
                      </a:lnTo>
                      <a:lnTo>
                        <a:pt x="42" y="403"/>
                      </a:lnTo>
                      <a:lnTo>
                        <a:pt x="55" y="417"/>
                      </a:lnTo>
                      <a:lnTo>
                        <a:pt x="70" y="431"/>
                      </a:lnTo>
                      <a:lnTo>
                        <a:pt x="87" y="441"/>
                      </a:lnTo>
                      <a:lnTo>
                        <a:pt x="106" y="451"/>
                      </a:lnTo>
                      <a:lnTo>
                        <a:pt x="125" y="458"/>
                      </a:lnTo>
                      <a:lnTo>
                        <a:pt x="146" y="465"/>
                      </a:lnTo>
                      <a:lnTo>
                        <a:pt x="168" y="470"/>
                      </a:lnTo>
                      <a:lnTo>
                        <a:pt x="190" y="473"/>
                      </a:lnTo>
                      <a:lnTo>
                        <a:pt x="214" y="476"/>
                      </a:lnTo>
                      <a:lnTo>
                        <a:pt x="239" y="476"/>
                      </a:lnTo>
                      <a:lnTo>
                        <a:pt x="239" y="0"/>
                      </a:lnTo>
                      <a:close/>
                    </a:path>
                  </a:pathLst>
                </a:custGeom>
                <a:solidFill>
                  <a:srgbClr val="39B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6" name="Freeform 323"/>
                <p:cNvSpPr>
                  <a:spLocks/>
                </p:cNvSpPr>
                <p:nvPr userDrawn="1"/>
              </p:nvSpPr>
              <p:spPr bwMode="auto">
                <a:xfrm>
                  <a:off x="12296321" y="850399"/>
                  <a:ext cx="190500" cy="377825"/>
                </a:xfrm>
                <a:custGeom>
                  <a:avLst/>
                  <a:gdLst>
                    <a:gd name="T0" fmla="*/ 239 w 239"/>
                    <a:gd name="T1" fmla="*/ 0 h 476"/>
                    <a:gd name="T2" fmla="*/ 239 w 239"/>
                    <a:gd name="T3" fmla="*/ 0 h 476"/>
                    <a:gd name="T4" fmla="*/ 226 w 239"/>
                    <a:gd name="T5" fmla="*/ 0 h 476"/>
                    <a:gd name="T6" fmla="*/ 214 w 239"/>
                    <a:gd name="T7" fmla="*/ 1 h 476"/>
                    <a:gd name="T8" fmla="*/ 202 w 239"/>
                    <a:gd name="T9" fmla="*/ 4 h 476"/>
                    <a:gd name="T10" fmla="*/ 190 w 239"/>
                    <a:gd name="T11" fmla="*/ 7 h 476"/>
                    <a:gd name="T12" fmla="*/ 180 w 239"/>
                    <a:gd name="T13" fmla="*/ 11 h 476"/>
                    <a:gd name="T14" fmla="*/ 168 w 239"/>
                    <a:gd name="T15" fmla="*/ 16 h 476"/>
                    <a:gd name="T16" fmla="*/ 157 w 239"/>
                    <a:gd name="T17" fmla="*/ 20 h 476"/>
                    <a:gd name="T18" fmla="*/ 146 w 239"/>
                    <a:gd name="T19" fmla="*/ 26 h 476"/>
                    <a:gd name="T20" fmla="*/ 125 w 239"/>
                    <a:gd name="T21" fmla="*/ 39 h 476"/>
                    <a:gd name="T22" fmla="*/ 106 w 239"/>
                    <a:gd name="T23" fmla="*/ 56 h 476"/>
                    <a:gd name="T24" fmla="*/ 87 w 239"/>
                    <a:gd name="T25" fmla="*/ 74 h 476"/>
                    <a:gd name="T26" fmla="*/ 70 w 239"/>
                    <a:gd name="T27" fmla="*/ 94 h 476"/>
                    <a:gd name="T28" fmla="*/ 55 w 239"/>
                    <a:gd name="T29" fmla="*/ 115 h 476"/>
                    <a:gd name="T30" fmla="*/ 42 w 239"/>
                    <a:gd name="T31" fmla="*/ 138 h 476"/>
                    <a:gd name="T32" fmla="*/ 30 w 239"/>
                    <a:gd name="T33" fmla="*/ 162 h 476"/>
                    <a:gd name="T34" fmla="*/ 19 w 239"/>
                    <a:gd name="T35" fmla="*/ 186 h 476"/>
                    <a:gd name="T36" fmla="*/ 11 w 239"/>
                    <a:gd name="T37" fmla="*/ 211 h 476"/>
                    <a:gd name="T38" fmla="*/ 6 w 239"/>
                    <a:gd name="T39" fmla="*/ 236 h 476"/>
                    <a:gd name="T40" fmla="*/ 3 w 239"/>
                    <a:gd name="T41" fmla="*/ 261 h 476"/>
                    <a:gd name="T42" fmla="*/ 0 w 239"/>
                    <a:gd name="T43" fmla="*/ 285 h 476"/>
                    <a:gd name="T44" fmla="*/ 0 w 239"/>
                    <a:gd name="T45" fmla="*/ 285 h 476"/>
                    <a:gd name="T46" fmla="*/ 3 w 239"/>
                    <a:gd name="T47" fmla="*/ 309 h 476"/>
                    <a:gd name="T48" fmla="*/ 6 w 239"/>
                    <a:gd name="T49" fmla="*/ 332 h 476"/>
                    <a:gd name="T50" fmla="*/ 11 w 239"/>
                    <a:gd name="T51" fmla="*/ 352 h 476"/>
                    <a:gd name="T52" fmla="*/ 19 w 239"/>
                    <a:gd name="T53" fmla="*/ 371 h 476"/>
                    <a:gd name="T54" fmla="*/ 30 w 239"/>
                    <a:gd name="T55" fmla="*/ 388 h 476"/>
                    <a:gd name="T56" fmla="*/ 42 w 239"/>
                    <a:gd name="T57" fmla="*/ 403 h 476"/>
                    <a:gd name="T58" fmla="*/ 55 w 239"/>
                    <a:gd name="T59" fmla="*/ 417 h 476"/>
                    <a:gd name="T60" fmla="*/ 70 w 239"/>
                    <a:gd name="T61" fmla="*/ 431 h 476"/>
                    <a:gd name="T62" fmla="*/ 87 w 239"/>
                    <a:gd name="T63" fmla="*/ 441 h 476"/>
                    <a:gd name="T64" fmla="*/ 106 w 239"/>
                    <a:gd name="T65" fmla="*/ 451 h 476"/>
                    <a:gd name="T66" fmla="*/ 125 w 239"/>
                    <a:gd name="T67" fmla="*/ 458 h 476"/>
                    <a:gd name="T68" fmla="*/ 146 w 239"/>
                    <a:gd name="T69" fmla="*/ 465 h 476"/>
                    <a:gd name="T70" fmla="*/ 168 w 239"/>
                    <a:gd name="T71" fmla="*/ 470 h 476"/>
                    <a:gd name="T72" fmla="*/ 190 w 239"/>
                    <a:gd name="T73" fmla="*/ 473 h 476"/>
                    <a:gd name="T74" fmla="*/ 214 w 239"/>
                    <a:gd name="T75" fmla="*/ 476 h 476"/>
                    <a:gd name="T76" fmla="*/ 239 w 239"/>
                    <a:gd name="T77" fmla="*/ 476 h 476"/>
                    <a:gd name="T78" fmla="*/ 239 w 239"/>
                    <a:gd name="T79"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9" h="476">
                      <a:moveTo>
                        <a:pt x="239" y="0"/>
                      </a:moveTo>
                      <a:lnTo>
                        <a:pt x="239" y="0"/>
                      </a:lnTo>
                      <a:lnTo>
                        <a:pt x="226" y="0"/>
                      </a:lnTo>
                      <a:lnTo>
                        <a:pt x="214" y="1"/>
                      </a:lnTo>
                      <a:lnTo>
                        <a:pt x="202" y="4"/>
                      </a:lnTo>
                      <a:lnTo>
                        <a:pt x="190" y="7"/>
                      </a:lnTo>
                      <a:lnTo>
                        <a:pt x="180" y="11"/>
                      </a:lnTo>
                      <a:lnTo>
                        <a:pt x="168" y="16"/>
                      </a:lnTo>
                      <a:lnTo>
                        <a:pt x="157" y="20"/>
                      </a:lnTo>
                      <a:lnTo>
                        <a:pt x="146" y="26"/>
                      </a:lnTo>
                      <a:lnTo>
                        <a:pt x="125" y="39"/>
                      </a:lnTo>
                      <a:lnTo>
                        <a:pt x="106" y="56"/>
                      </a:lnTo>
                      <a:lnTo>
                        <a:pt x="87" y="74"/>
                      </a:lnTo>
                      <a:lnTo>
                        <a:pt x="70" y="94"/>
                      </a:lnTo>
                      <a:lnTo>
                        <a:pt x="55" y="115"/>
                      </a:lnTo>
                      <a:lnTo>
                        <a:pt x="42" y="138"/>
                      </a:lnTo>
                      <a:lnTo>
                        <a:pt x="30" y="162"/>
                      </a:lnTo>
                      <a:lnTo>
                        <a:pt x="19" y="186"/>
                      </a:lnTo>
                      <a:lnTo>
                        <a:pt x="11" y="211"/>
                      </a:lnTo>
                      <a:lnTo>
                        <a:pt x="6" y="236"/>
                      </a:lnTo>
                      <a:lnTo>
                        <a:pt x="3" y="261"/>
                      </a:lnTo>
                      <a:lnTo>
                        <a:pt x="0" y="285"/>
                      </a:lnTo>
                      <a:lnTo>
                        <a:pt x="0" y="285"/>
                      </a:lnTo>
                      <a:lnTo>
                        <a:pt x="3" y="309"/>
                      </a:lnTo>
                      <a:lnTo>
                        <a:pt x="6" y="332"/>
                      </a:lnTo>
                      <a:lnTo>
                        <a:pt x="11" y="352"/>
                      </a:lnTo>
                      <a:lnTo>
                        <a:pt x="19" y="371"/>
                      </a:lnTo>
                      <a:lnTo>
                        <a:pt x="30" y="388"/>
                      </a:lnTo>
                      <a:lnTo>
                        <a:pt x="42" y="403"/>
                      </a:lnTo>
                      <a:lnTo>
                        <a:pt x="55" y="417"/>
                      </a:lnTo>
                      <a:lnTo>
                        <a:pt x="70" y="431"/>
                      </a:lnTo>
                      <a:lnTo>
                        <a:pt x="87" y="441"/>
                      </a:lnTo>
                      <a:lnTo>
                        <a:pt x="106" y="451"/>
                      </a:lnTo>
                      <a:lnTo>
                        <a:pt x="125" y="458"/>
                      </a:lnTo>
                      <a:lnTo>
                        <a:pt x="146" y="465"/>
                      </a:lnTo>
                      <a:lnTo>
                        <a:pt x="168" y="470"/>
                      </a:lnTo>
                      <a:lnTo>
                        <a:pt x="190" y="473"/>
                      </a:lnTo>
                      <a:lnTo>
                        <a:pt x="214" y="476"/>
                      </a:lnTo>
                      <a:lnTo>
                        <a:pt x="239" y="476"/>
                      </a:lnTo>
                      <a:lnTo>
                        <a:pt x="23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7" name="Freeform 324"/>
                <p:cNvSpPr>
                  <a:spLocks/>
                </p:cNvSpPr>
                <p:nvPr userDrawn="1"/>
              </p:nvSpPr>
              <p:spPr bwMode="auto">
                <a:xfrm>
                  <a:off x="12148683" y="240799"/>
                  <a:ext cx="273050" cy="317500"/>
                </a:xfrm>
                <a:custGeom>
                  <a:avLst/>
                  <a:gdLst>
                    <a:gd name="T0" fmla="*/ 190 w 344"/>
                    <a:gd name="T1" fmla="*/ 50 h 400"/>
                    <a:gd name="T2" fmla="*/ 190 w 344"/>
                    <a:gd name="T3" fmla="*/ 50 h 400"/>
                    <a:gd name="T4" fmla="*/ 172 w 344"/>
                    <a:gd name="T5" fmla="*/ 39 h 400"/>
                    <a:gd name="T6" fmla="*/ 150 w 344"/>
                    <a:gd name="T7" fmla="*/ 29 h 400"/>
                    <a:gd name="T8" fmla="*/ 124 w 344"/>
                    <a:gd name="T9" fmla="*/ 18 h 400"/>
                    <a:gd name="T10" fmla="*/ 98 w 344"/>
                    <a:gd name="T11" fmla="*/ 10 h 400"/>
                    <a:gd name="T12" fmla="*/ 71 w 344"/>
                    <a:gd name="T13" fmla="*/ 4 h 400"/>
                    <a:gd name="T14" fmla="*/ 44 w 344"/>
                    <a:gd name="T15" fmla="*/ 0 h 400"/>
                    <a:gd name="T16" fmla="*/ 31 w 344"/>
                    <a:gd name="T17" fmla="*/ 0 h 400"/>
                    <a:gd name="T18" fmla="*/ 21 w 344"/>
                    <a:gd name="T19" fmla="*/ 0 h 400"/>
                    <a:gd name="T20" fmla="*/ 10 w 344"/>
                    <a:gd name="T21" fmla="*/ 1 h 400"/>
                    <a:gd name="T22" fmla="*/ 0 w 344"/>
                    <a:gd name="T23" fmla="*/ 3 h 400"/>
                    <a:gd name="T24" fmla="*/ 0 w 344"/>
                    <a:gd name="T25" fmla="*/ 3 h 400"/>
                    <a:gd name="T26" fmla="*/ 3 w 344"/>
                    <a:gd name="T27" fmla="*/ 28 h 400"/>
                    <a:gd name="T28" fmla="*/ 6 w 344"/>
                    <a:gd name="T29" fmla="*/ 53 h 400"/>
                    <a:gd name="T30" fmla="*/ 15 w 344"/>
                    <a:gd name="T31" fmla="*/ 102 h 400"/>
                    <a:gd name="T32" fmla="*/ 25 w 344"/>
                    <a:gd name="T33" fmla="*/ 154 h 400"/>
                    <a:gd name="T34" fmla="*/ 40 w 344"/>
                    <a:gd name="T35" fmla="*/ 206 h 400"/>
                    <a:gd name="T36" fmla="*/ 54 w 344"/>
                    <a:gd name="T37" fmla="*/ 257 h 400"/>
                    <a:gd name="T38" fmla="*/ 71 w 344"/>
                    <a:gd name="T39" fmla="*/ 307 h 400"/>
                    <a:gd name="T40" fmla="*/ 87 w 344"/>
                    <a:gd name="T41" fmla="*/ 354 h 400"/>
                    <a:gd name="T42" fmla="*/ 104 w 344"/>
                    <a:gd name="T43" fmla="*/ 400 h 400"/>
                    <a:gd name="T44" fmla="*/ 104 w 344"/>
                    <a:gd name="T45" fmla="*/ 400 h 400"/>
                    <a:gd name="T46" fmla="*/ 140 w 344"/>
                    <a:gd name="T47" fmla="*/ 397 h 400"/>
                    <a:gd name="T48" fmla="*/ 179 w 344"/>
                    <a:gd name="T49" fmla="*/ 391 h 400"/>
                    <a:gd name="T50" fmla="*/ 199 w 344"/>
                    <a:gd name="T51" fmla="*/ 388 h 400"/>
                    <a:gd name="T52" fmla="*/ 219 w 344"/>
                    <a:gd name="T53" fmla="*/ 383 h 400"/>
                    <a:gd name="T54" fmla="*/ 238 w 344"/>
                    <a:gd name="T55" fmla="*/ 377 h 400"/>
                    <a:gd name="T56" fmla="*/ 257 w 344"/>
                    <a:gd name="T57" fmla="*/ 370 h 400"/>
                    <a:gd name="T58" fmla="*/ 275 w 344"/>
                    <a:gd name="T59" fmla="*/ 362 h 400"/>
                    <a:gd name="T60" fmla="*/ 292 w 344"/>
                    <a:gd name="T61" fmla="*/ 352 h 400"/>
                    <a:gd name="T62" fmla="*/ 307 w 344"/>
                    <a:gd name="T63" fmla="*/ 341 h 400"/>
                    <a:gd name="T64" fmla="*/ 319 w 344"/>
                    <a:gd name="T65" fmla="*/ 328 h 400"/>
                    <a:gd name="T66" fmla="*/ 325 w 344"/>
                    <a:gd name="T67" fmla="*/ 322 h 400"/>
                    <a:gd name="T68" fmla="*/ 330 w 344"/>
                    <a:gd name="T69" fmla="*/ 315 h 400"/>
                    <a:gd name="T70" fmla="*/ 335 w 344"/>
                    <a:gd name="T71" fmla="*/ 307 h 400"/>
                    <a:gd name="T72" fmla="*/ 338 w 344"/>
                    <a:gd name="T73" fmla="*/ 300 h 400"/>
                    <a:gd name="T74" fmla="*/ 341 w 344"/>
                    <a:gd name="T75" fmla="*/ 291 h 400"/>
                    <a:gd name="T76" fmla="*/ 343 w 344"/>
                    <a:gd name="T77" fmla="*/ 282 h 400"/>
                    <a:gd name="T78" fmla="*/ 344 w 344"/>
                    <a:gd name="T79" fmla="*/ 272 h 400"/>
                    <a:gd name="T80" fmla="*/ 344 w 344"/>
                    <a:gd name="T81" fmla="*/ 263 h 400"/>
                    <a:gd name="T82" fmla="*/ 344 w 344"/>
                    <a:gd name="T83" fmla="*/ 263 h 400"/>
                    <a:gd name="T84" fmla="*/ 344 w 344"/>
                    <a:gd name="T85" fmla="*/ 245 h 400"/>
                    <a:gd name="T86" fmla="*/ 342 w 344"/>
                    <a:gd name="T87" fmla="*/ 228 h 400"/>
                    <a:gd name="T88" fmla="*/ 338 w 344"/>
                    <a:gd name="T89" fmla="*/ 213 h 400"/>
                    <a:gd name="T90" fmla="*/ 333 w 344"/>
                    <a:gd name="T91" fmla="*/ 199 h 400"/>
                    <a:gd name="T92" fmla="*/ 327 w 344"/>
                    <a:gd name="T93" fmla="*/ 184 h 400"/>
                    <a:gd name="T94" fmla="*/ 320 w 344"/>
                    <a:gd name="T95" fmla="*/ 171 h 400"/>
                    <a:gd name="T96" fmla="*/ 312 w 344"/>
                    <a:gd name="T97" fmla="*/ 158 h 400"/>
                    <a:gd name="T98" fmla="*/ 302 w 344"/>
                    <a:gd name="T99" fmla="*/ 146 h 400"/>
                    <a:gd name="T100" fmla="*/ 292 w 344"/>
                    <a:gd name="T101" fmla="*/ 133 h 400"/>
                    <a:gd name="T102" fmla="*/ 280 w 344"/>
                    <a:gd name="T103" fmla="*/ 121 h 400"/>
                    <a:gd name="T104" fmla="*/ 253 w 344"/>
                    <a:gd name="T105" fmla="*/ 99 h 400"/>
                    <a:gd name="T106" fmla="*/ 223 w 344"/>
                    <a:gd name="T107" fmla="*/ 75 h 400"/>
                    <a:gd name="T108" fmla="*/ 190 w 344"/>
                    <a:gd name="T109" fmla="*/ 50 h 400"/>
                    <a:gd name="T110" fmla="*/ 190 w 344"/>
                    <a:gd name="T111" fmla="*/ 5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4" h="400">
                      <a:moveTo>
                        <a:pt x="190" y="50"/>
                      </a:moveTo>
                      <a:lnTo>
                        <a:pt x="190" y="50"/>
                      </a:lnTo>
                      <a:lnTo>
                        <a:pt x="172" y="39"/>
                      </a:lnTo>
                      <a:lnTo>
                        <a:pt x="150" y="29"/>
                      </a:lnTo>
                      <a:lnTo>
                        <a:pt x="124" y="18"/>
                      </a:lnTo>
                      <a:lnTo>
                        <a:pt x="98" y="10"/>
                      </a:lnTo>
                      <a:lnTo>
                        <a:pt x="71" y="4"/>
                      </a:lnTo>
                      <a:lnTo>
                        <a:pt x="44" y="0"/>
                      </a:lnTo>
                      <a:lnTo>
                        <a:pt x="31" y="0"/>
                      </a:lnTo>
                      <a:lnTo>
                        <a:pt x="21" y="0"/>
                      </a:lnTo>
                      <a:lnTo>
                        <a:pt x="10" y="1"/>
                      </a:lnTo>
                      <a:lnTo>
                        <a:pt x="0" y="3"/>
                      </a:lnTo>
                      <a:lnTo>
                        <a:pt x="0" y="3"/>
                      </a:lnTo>
                      <a:lnTo>
                        <a:pt x="3" y="28"/>
                      </a:lnTo>
                      <a:lnTo>
                        <a:pt x="6" y="53"/>
                      </a:lnTo>
                      <a:lnTo>
                        <a:pt x="15" y="102"/>
                      </a:lnTo>
                      <a:lnTo>
                        <a:pt x="25" y="154"/>
                      </a:lnTo>
                      <a:lnTo>
                        <a:pt x="40" y="206"/>
                      </a:lnTo>
                      <a:lnTo>
                        <a:pt x="54" y="257"/>
                      </a:lnTo>
                      <a:lnTo>
                        <a:pt x="71" y="307"/>
                      </a:lnTo>
                      <a:lnTo>
                        <a:pt x="87" y="354"/>
                      </a:lnTo>
                      <a:lnTo>
                        <a:pt x="104" y="400"/>
                      </a:lnTo>
                      <a:lnTo>
                        <a:pt x="104" y="400"/>
                      </a:lnTo>
                      <a:lnTo>
                        <a:pt x="140" y="397"/>
                      </a:lnTo>
                      <a:lnTo>
                        <a:pt x="179" y="391"/>
                      </a:lnTo>
                      <a:lnTo>
                        <a:pt x="199" y="388"/>
                      </a:lnTo>
                      <a:lnTo>
                        <a:pt x="219" y="383"/>
                      </a:lnTo>
                      <a:lnTo>
                        <a:pt x="238" y="377"/>
                      </a:lnTo>
                      <a:lnTo>
                        <a:pt x="257" y="370"/>
                      </a:lnTo>
                      <a:lnTo>
                        <a:pt x="275" y="362"/>
                      </a:lnTo>
                      <a:lnTo>
                        <a:pt x="292" y="352"/>
                      </a:lnTo>
                      <a:lnTo>
                        <a:pt x="307" y="341"/>
                      </a:lnTo>
                      <a:lnTo>
                        <a:pt x="319" y="328"/>
                      </a:lnTo>
                      <a:lnTo>
                        <a:pt x="325" y="322"/>
                      </a:lnTo>
                      <a:lnTo>
                        <a:pt x="330" y="315"/>
                      </a:lnTo>
                      <a:lnTo>
                        <a:pt x="335" y="307"/>
                      </a:lnTo>
                      <a:lnTo>
                        <a:pt x="338" y="300"/>
                      </a:lnTo>
                      <a:lnTo>
                        <a:pt x="341" y="291"/>
                      </a:lnTo>
                      <a:lnTo>
                        <a:pt x="343" y="282"/>
                      </a:lnTo>
                      <a:lnTo>
                        <a:pt x="344" y="272"/>
                      </a:lnTo>
                      <a:lnTo>
                        <a:pt x="344" y="263"/>
                      </a:lnTo>
                      <a:lnTo>
                        <a:pt x="344" y="263"/>
                      </a:lnTo>
                      <a:lnTo>
                        <a:pt x="344" y="245"/>
                      </a:lnTo>
                      <a:lnTo>
                        <a:pt x="342" y="228"/>
                      </a:lnTo>
                      <a:lnTo>
                        <a:pt x="338" y="213"/>
                      </a:lnTo>
                      <a:lnTo>
                        <a:pt x="333" y="199"/>
                      </a:lnTo>
                      <a:lnTo>
                        <a:pt x="327" y="184"/>
                      </a:lnTo>
                      <a:lnTo>
                        <a:pt x="320" y="171"/>
                      </a:lnTo>
                      <a:lnTo>
                        <a:pt x="312" y="158"/>
                      </a:lnTo>
                      <a:lnTo>
                        <a:pt x="302" y="146"/>
                      </a:lnTo>
                      <a:lnTo>
                        <a:pt x="292" y="133"/>
                      </a:lnTo>
                      <a:lnTo>
                        <a:pt x="280" y="121"/>
                      </a:lnTo>
                      <a:lnTo>
                        <a:pt x="253" y="99"/>
                      </a:lnTo>
                      <a:lnTo>
                        <a:pt x="223" y="75"/>
                      </a:lnTo>
                      <a:lnTo>
                        <a:pt x="190" y="50"/>
                      </a:lnTo>
                      <a:lnTo>
                        <a:pt x="190" y="50"/>
                      </a:lnTo>
                      <a:close/>
                    </a:path>
                  </a:pathLst>
                </a:custGeom>
                <a:solidFill>
                  <a:srgbClr val="292D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8" name="Freeform 325"/>
                <p:cNvSpPr>
                  <a:spLocks/>
                </p:cNvSpPr>
                <p:nvPr userDrawn="1"/>
              </p:nvSpPr>
              <p:spPr bwMode="auto">
                <a:xfrm>
                  <a:off x="12216946" y="877386"/>
                  <a:ext cx="206375" cy="287338"/>
                </a:xfrm>
                <a:custGeom>
                  <a:avLst/>
                  <a:gdLst>
                    <a:gd name="T0" fmla="*/ 49 w 262"/>
                    <a:gd name="T1" fmla="*/ 361 h 361"/>
                    <a:gd name="T2" fmla="*/ 49 w 262"/>
                    <a:gd name="T3" fmla="*/ 361 h 361"/>
                    <a:gd name="T4" fmla="*/ 38 w 262"/>
                    <a:gd name="T5" fmla="*/ 361 h 361"/>
                    <a:gd name="T6" fmla="*/ 38 w 262"/>
                    <a:gd name="T7" fmla="*/ 361 h 361"/>
                    <a:gd name="T8" fmla="*/ 32 w 262"/>
                    <a:gd name="T9" fmla="*/ 359 h 361"/>
                    <a:gd name="T10" fmla="*/ 27 w 262"/>
                    <a:gd name="T11" fmla="*/ 355 h 361"/>
                    <a:gd name="T12" fmla="*/ 25 w 262"/>
                    <a:gd name="T13" fmla="*/ 350 h 361"/>
                    <a:gd name="T14" fmla="*/ 24 w 262"/>
                    <a:gd name="T15" fmla="*/ 343 h 361"/>
                    <a:gd name="T16" fmla="*/ 24 w 262"/>
                    <a:gd name="T17" fmla="*/ 343 h 361"/>
                    <a:gd name="T18" fmla="*/ 26 w 262"/>
                    <a:gd name="T19" fmla="*/ 337 h 361"/>
                    <a:gd name="T20" fmla="*/ 30 w 262"/>
                    <a:gd name="T21" fmla="*/ 333 h 361"/>
                    <a:gd name="T22" fmla="*/ 36 w 262"/>
                    <a:gd name="T23" fmla="*/ 330 h 361"/>
                    <a:gd name="T24" fmla="*/ 42 w 262"/>
                    <a:gd name="T25" fmla="*/ 329 h 361"/>
                    <a:gd name="T26" fmla="*/ 42 w 262"/>
                    <a:gd name="T27" fmla="*/ 329 h 361"/>
                    <a:gd name="T28" fmla="*/ 54 w 262"/>
                    <a:gd name="T29" fmla="*/ 329 h 361"/>
                    <a:gd name="T30" fmla="*/ 63 w 262"/>
                    <a:gd name="T31" fmla="*/ 327 h 361"/>
                    <a:gd name="T32" fmla="*/ 71 w 262"/>
                    <a:gd name="T33" fmla="*/ 323 h 361"/>
                    <a:gd name="T34" fmla="*/ 77 w 262"/>
                    <a:gd name="T35" fmla="*/ 318 h 361"/>
                    <a:gd name="T36" fmla="*/ 82 w 262"/>
                    <a:gd name="T37" fmla="*/ 312 h 361"/>
                    <a:gd name="T38" fmla="*/ 86 w 262"/>
                    <a:gd name="T39" fmla="*/ 306 h 361"/>
                    <a:gd name="T40" fmla="*/ 89 w 262"/>
                    <a:gd name="T41" fmla="*/ 297 h 361"/>
                    <a:gd name="T42" fmla="*/ 2 w 262"/>
                    <a:gd name="T43" fmla="*/ 128 h 361"/>
                    <a:gd name="T44" fmla="*/ 2 w 262"/>
                    <a:gd name="T45" fmla="*/ 128 h 361"/>
                    <a:gd name="T46" fmla="*/ 0 w 262"/>
                    <a:gd name="T47" fmla="*/ 121 h 361"/>
                    <a:gd name="T48" fmla="*/ 1 w 262"/>
                    <a:gd name="T49" fmla="*/ 115 h 361"/>
                    <a:gd name="T50" fmla="*/ 1 w 262"/>
                    <a:gd name="T51" fmla="*/ 115 h 361"/>
                    <a:gd name="T52" fmla="*/ 5 w 262"/>
                    <a:gd name="T53" fmla="*/ 109 h 361"/>
                    <a:gd name="T54" fmla="*/ 10 w 262"/>
                    <a:gd name="T55" fmla="*/ 105 h 361"/>
                    <a:gd name="T56" fmla="*/ 239 w 262"/>
                    <a:gd name="T57" fmla="*/ 1 h 361"/>
                    <a:gd name="T58" fmla="*/ 239 w 262"/>
                    <a:gd name="T59" fmla="*/ 1 h 361"/>
                    <a:gd name="T60" fmla="*/ 245 w 262"/>
                    <a:gd name="T61" fmla="*/ 0 h 361"/>
                    <a:gd name="T62" fmla="*/ 251 w 262"/>
                    <a:gd name="T63" fmla="*/ 1 h 361"/>
                    <a:gd name="T64" fmla="*/ 256 w 262"/>
                    <a:gd name="T65" fmla="*/ 3 h 361"/>
                    <a:gd name="T66" fmla="*/ 260 w 262"/>
                    <a:gd name="T67" fmla="*/ 9 h 361"/>
                    <a:gd name="T68" fmla="*/ 260 w 262"/>
                    <a:gd name="T69" fmla="*/ 9 h 361"/>
                    <a:gd name="T70" fmla="*/ 262 w 262"/>
                    <a:gd name="T71" fmla="*/ 15 h 361"/>
                    <a:gd name="T72" fmla="*/ 260 w 262"/>
                    <a:gd name="T73" fmla="*/ 21 h 361"/>
                    <a:gd name="T74" fmla="*/ 257 w 262"/>
                    <a:gd name="T75" fmla="*/ 26 h 361"/>
                    <a:gd name="T76" fmla="*/ 252 w 262"/>
                    <a:gd name="T77" fmla="*/ 29 h 361"/>
                    <a:gd name="T78" fmla="*/ 38 w 262"/>
                    <a:gd name="T79" fmla="*/ 128 h 361"/>
                    <a:gd name="T80" fmla="*/ 120 w 262"/>
                    <a:gd name="T81" fmla="*/ 287 h 361"/>
                    <a:gd name="T82" fmla="*/ 120 w 262"/>
                    <a:gd name="T83" fmla="*/ 287 h 361"/>
                    <a:gd name="T84" fmla="*/ 121 w 262"/>
                    <a:gd name="T85" fmla="*/ 291 h 361"/>
                    <a:gd name="T86" fmla="*/ 121 w 262"/>
                    <a:gd name="T87" fmla="*/ 296 h 361"/>
                    <a:gd name="T88" fmla="*/ 121 w 262"/>
                    <a:gd name="T89" fmla="*/ 296 h 361"/>
                    <a:gd name="T90" fmla="*/ 120 w 262"/>
                    <a:gd name="T91" fmla="*/ 305 h 361"/>
                    <a:gd name="T92" fmla="*/ 117 w 262"/>
                    <a:gd name="T93" fmla="*/ 316 h 361"/>
                    <a:gd name="T94" fmla="*/ 112 w 262"/>
                    <a:gd name="T95" fmla="*/ 327 h 361"/>
                    <a:gd name="T96" fmla="*/ 104 w 262"/>
                    <a:gd name="T97" fmla="*/ 337 h 361"/>
                    <a:gd name="T98" fmla="*/ 94 w 262"/>
                    <a:gd name="T99" fmla="*/ 347 h 361"/>
                    <a:gd name="T100" fmla="*/ 88 w 262"/>
                    <a:gd name="T101" fmla="*/ 352 h 361"/>
                    <a:gd name="T102" fmla="*/ 82 w 262"/>
                    <a:gd name="T103" fmla="*/ 354 h 361"/>
                    <a:gd name="T104" fmla="*/ 74 w 262"/>
                    <a:gd name="T105" fmla="*/ 357 h 361"/>
                    <a:gd name="T106" fmla="*/ 67 w 262"/>
                    <a:gd name="T107" fmla="*/ 360 h 361"/>
                    <a:gd name="T108" fmla="*/ 58 w 262"/>
                    <a:gd name="T109" fmla="*/ 361 h 361"/>
                    <a:gd name="T110" fmla="*/ 49 w 262"/>
                    <a:gd name="T111" fmla="*/ 361 h 361"/>
                    <a:gd name="T112" fmla="*/ 49 w 262"/>
                    <a:gd name="T113"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2" h="361">
                      <a:moveTo>
                        <a:pt x="49" y="361"/>
                      </a:moveTo>
                      <a:lnTo>
                        <a:pt x="49" y="361"/>
                      </a:lnTo>
                      <a:lnTo>
                        <a:pt x="38" y="361"/>
                      </a:lnTo>
                      <a:lnTo>
                        <a:pt x="38" y="361"/>
                      </a:lnTo>
                      <a:lnTo>
                        <a:pt x="32" y="359"/>
                      </a:lnTo>
                      <a:lnTo>
                        <a:pt x="27" y="355"/>
                      </a:lnTo>
                      <a:lnTo>
                        <a:pt x="25" y="350"/>
                      </a:lnTo>
                      <a:lnTo>
                        <a:pt x="24" y="343"/>
                      </a:lnTo>
                      <a:lnTo>
                        <a:pt x="24" y="343"/>
                      </a:lnTo>
                      <a:lnTo>
                        <a:pt x="26" y="337"/>
                      </a:lnTo>
                      <a:lnTo>
                        <a:pt x="30" y="333"/>
                      </a:lnTo>
                      <a:lnTo>
                        <a:pt x="36" y="330"/>
                      </a:lnTo>
                      <a:lnTo>
                        <a:pt x="42" y="329"/>
                      </a:lnTo>
                      <a:lnTo>
                        <a:pt x="42" y="329"/>
                      </a:lnTo>
                      <a:lnTo>
                        <a:pt x="54" y="329"/>
                      </a:lnTo>
                      <a:lnTo>
                        <a:pt x="63" y="327"/>
                      </a:lnTo>
                      <a:lnTo>
                        <a:pt x="71" y="323"/>
                      </a:lnTo>
                      <a:lnTo>
                        <a:pt x="77" y="318"/>
                      </a:lnTo>
                      <a:lnTo>
                        <a:pt x="82" y="312"/>
                      </a:lnTo>
                      <a:lnTo>
                        <a:pt x="86" y="306"/>
                      </a:lnTo>
                      <a:lnTo>
                        <a:pt x="89" y="297"/>
                      </a:lnTo>
                      <a:lnTo>
                        <a:pt x="2" y="128"/>
                      </a:lnTo>
                      <a:lnTo>
                        <a:pt x="2" y="128"/>
                      </a:lnTo>
                      <a:lnTo>
                        <a:pt x="0" y="121"/>
                      </a:lnTo>
                      <a:lnTo>
                        <a:pt x="1" y="115"/>
                      </a:lnTo>
                      <a:lnTo>
                        <a:pt x="1" y="115"/>
                      </a:lnTo>
                      <a:lnTo>
                        <a:pt x="5" y="109"/>
                      </a:lnTo>
                      <a:lnTo>
                        <a:pt x="10" y="105"/>
                      </a:lnTo>
                      <a:lnTo>
                        <a:pt x="239" y="1"/>
                      </a:lnTo>
                      <a:lnTo>
                        <a:pt x="239" y="1"/>
                      </a:lnTo>
                      <a:lnTo>
                        <a:pt x="245" y="0"/>
                      </a:lnTo>
                      <a:lnTo>
                        <a:pt x="251" y="1"/>
                      </a:lnTo>
                      <a:lnTo>
                        <a:pt x="256" y="3"/>
                      </a:lnTo>
                      <a:lnTo>
                        <a:pt x="260" y="9"/>
                      </a:lnTo>
                      <a:lnTo>
                        <a:pt x="260" y="9"/>
                      </a:lnTo>
                      <a:lnTo>
                        <a:pt x="262" y="15"/>
                      </a:lnTo>
                      <a:lnTo>
                        <a:pt x="260" y="21"/>
                      </a:lnTo>
                      <a:lnTo>
                        <a:pt x="257" y="26"/>
                      </a:lnTo>
                      <a:lnTo>
                        <a:pt x="252" y="29"/>
                      </a:lnTo>
                      <a:lnTo>
                        <a:pt x="38" y="128"/>
                      </a:lnTo>
                      <a:lnTo>
                        <a:pt x="120" y="287"/>
                      </a:lnTo>
                      <a:lnTo>
                        <a:pt x="120" y="287"/>
                      </a:lnTo>
                      <a:lnTo>
                        <a:pt x="121" y="291"/>
                      </a:lnTo>
                      <a:lnTo>
                        <a:pt x="121" y="296"/>
                      </a:lnTo>
                      <a:lnTo>
                        <a:pt x="121" y="296"/>
                      </a:lnTo>
                      <a:lnTo>
                        <a:pt x="120" y="305"/>
                      </a:lnTo>
                      <a:lnTo>
                        <a:pt x="117" y="316"/>
                      </a:lnTo>
                      <a:lnTo>
                        <a:pt x="112" y="327"/>
                      </a:lnTo>
                      <a:lnTo>
                        <a:pt x="104" y="337"/>
                      </a:lnTo>
                      <a:lnTo>
                        <a:pt x="94" y="347"/>
                      </a:lnTo>
                      <a:lnTo>
                        <a:pt x="88" y="352"/>
                      </a:lnTo>
                      <a:lnTo>
                        <a:pt x="82" y="354"/>
                      </a:lnTo>
                      <a:lnTo>
                        <a:pt x="74" y="357"/>
                      </a:lnTo>
                      <a:lnTo>
                        <a:pt x="67" y="360"/>
                      </a:lnTo>
                      <a:lnTo>
                        <a:pt x="58" y="361"/>
                      </a:lnTo>
                      <a:lnTo>
                        <a:pt x="49" y="361"/>
                      </a:lnTo>
                      <a:lnTo>
                        <a:pt x="49" y="361"/>
                      </a:lnTo>
                      <a:close/>
                    </a:path>
                  </a:pathLst>
                </a:custGeom>
                <a:solidFill>
                  <a:srgbClr val="39B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79" name="Freeform 326"/>
                <p:cNvSpPr>
                  <a:spLocks/>
                </p:cNvSpPr>
                <p:nvPr userDrawn="1"/>
              </p:nvSpPr>
              <p:spPr bwMode="auto">
                <a:xfrm>
                  <a:off x="12542383" y="1167899"/>
                  <a:ext cx="73025" cy="252413"/>
                </a:xfrm>
                <a:custGeom>
                  <a:avLst/>
                  <a:gdLst>
                    <a:gd name="T0" fmla="*/ 49 w 93"/>
                    <a:gd name="T1" fmla="*/ 318 h 318"/>
                    <a:gd name="T2" fmla="*/ 93 w 93"/>
                    <a:gd name="T3" fmla="*/ 318 h 318"/>
                    <a:gd name="T4" fmla="*/ 93 w 93"/>
                    <a:gd name="T5" fmla="*/ 0 h 318"/>
                    <a:gd name="T6" fmla="*/ 0 w 93"/>
                    <a:gd name="T7" fmla="*/ 0 h 318"/>
                    <a:gd name="T8" fmla="*/ 49 w 93"/>
                    <a:gd name="T9" fmla="*/ 318 h 318"/>
                  </a:gdLst>
                  <a:ahLst/>
                  <a:cxnLst>
                    <a:cxn ang="0">
                      <a:pos x="T0" y="T1"/>
                    </a:cxn>
                    <a:cxn ang="0">
                      <a:pos x="T2" y="T3"/>
                    </a:cxn>
                    <a:cxn ang="0">
                      <a:pos x="T4" y="T5"/>
                    </a:cxn>
                    <a:cxn ang="0">
                      <a:pos x="T6" y="T7"/>
                    </a:cxn>
                    <a:cxn ang="0">
                      <a:pos x="T8" y="T9"/>
                    </a:cxn>
                  </a:cxnLst>
                  <a:rect l="0" t="0" r="r" b="b"/>
                  <a:pathLst>
                    <a:path w="93" h="318">
                      <a:moveTo>
                        <a:pt x="49" y="318"/>
                      </a:moveTo>
                      <a:lnTo>
                        <a:pt x="93" y="318"/>
                      </a:lnTo>
                      <a:lnTo>
                        <a:pt x="93" y="0"/>
                      </a:lnTo>
                      <a:lnTo>
                        <a:pt x="0" y="0"/>
                      </a:lnTo>
                      <a:lnTo>
                        <a:pt x="49" y="318"/>
                      </a:lnTo>
                      <a:close/>
                    </a:path>
                  </a:pathLst>
                </a:custGeom>
                <a:solidFill>
                  <a:srgbClr val="177A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0" name="Freeform 327"/>
                <p:cNvSpPr>
                  <a:spLocks/>
                </p:cNvSpPr>
                <p:nvPr userDrawn="1"/>
              </p:nvSpPr>
              <p:spPr bwMode="auto">
                <a:xfrm>
                  <a:off x="12553496" y="1371099"/>
                  <a:ext cx="77788" cy="77788"/>
                </a:xfrm>
                <a:custGeom>
                  <a:avLst/>
                  <a:gdLst>
                    <a:gd name="T0" fmla="*/ 0 w 97"/>
                    <a:gd name="T1" fmla="*/ 98 h 98"/>
                    <a:gd name="T2" fmla="*/ 0 w 97"/>
                    <a:gd name="T3" fmla="*/ 98 h 98"/>
                    <a:gd name="T4" fmla="*/ 0 w 97"/>
                    <a:gd name="T5" fmla="*/ 88 h 98"/>
                    <a:gd name="T6" fmla="*/ 1 w 97"/>
                    <a:gd name="T7" fmla="*/ 79 h 98"/>
                    <a:gd name="T8" fmla="*/ 4 w 97"/>
                    <a:gd name="T9" fmla="*/ 69 h 98"/>
                    <a:gd name="T10" fmla="*/ 7 w 97"/>
                    <a:gd name="T11" fmla="*/ 60 h 98"/>
                    <a:gd name="T12" fmla="*/ 11 w 97"/>
                    <a:gd name="T13" fmla="*/ 51 h 98"/>
                    <a:gd name="T14" fmla="*/ 16 w 97"/>
                    <a:gd name="T15" fmla="*/ 43 h 98"/>
                    <a:gd name="T16" fmla="*/ 22 w 97"/>
                    <a:gd name="T17" fmla="*/ 36 h 98"/>
                    <a:gd name="T18" fmla="*/ 28 w 97"/>
                    <a:gd name="T19" fmla="*/ 29 h 98"/>
                    <a:gd name="T20" fmla="*/ 35 w 97"/>
                    <a:gd name="T21" fmla="*/ 23 h 98"/>
                    <a:gd name="T22" fmla="*/ 42 w 97"/>
                    <a:gd name="T23" fmla="*/ 17 h 98"/>
                    <a:gd name="T24" fmla="*/ 51 w 97"/>
                    <a:gd name="T25" fmla="*/ 12 h 98"/>
                    <a:gd name="T26" fmla="*/ 59 w 97"/>
                    <a:gd name="T27" fmla="*/ 9 h 98"/>
                    <a:gd name="T28" fmla="*/ 69 w 97"/>
                    <a:gd name="T29" fmla="*/ 5 h 98"/>
                    <a:gd name="T30" fmla="*/ 78 w 97"/>
                    <a:gd name="T31" fmla="*/ 3 h 98"/>
                    <a:gd name="T32" fmla="*/ 88 w 97"/>
                    <a:gd name="T33" fmla="*/ 2 h 98"/>
                    <a:gd name="T34" fmla="*/ 97 w 97"/>
                    <a:gd name="T35" fmla="*/ 0 h 98"/>
                    <a:gd name="T36" fmla="*/ 97 w 97"/>
                    <a:gd name="T37" fmla="*/ 98 h 98"/>
                    <a:gd name="T38" fmla="*/ 0 w 97"/>
                    <a:gd name="T39"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7" h="98">
                      <a:moveTo>
                        <a:pt x="0" y="98"/>
                      </a:moveTo>
                      <a:lnTo>
                        <a:pt x="0" y="98"/>
                      </a:lnTo>
                      <a:lnTo>
                        <a:pt x="0" y="88"/>
                      </a:lnTo>
                      <a:lnTo>
                        <a:pt x="1" y="79"/>
                      </a:lnTo>
                      <a:lnTo>
                        <a:pt x="4" y="69"/>
                      </a:lnTo>
                      <a:lnTo>
                        <a:pt x="7" y="60"/>
                      </a:lnTo>
                      <a:lnTo>
                        <a:pt x="11" y="51"/>
                      </a:lnTo>
                      <a:lnTo>
                        <a:pt x="16" y="43"/>
                      </a:lnTo>
                      <a:lnTo>
                        <a:pt x="22" y="36"/>
                      </a:lnTo>
                      <a:lnTo>
                        <a:pt x="28" y="29"/>
                      </a:lnTo>
                      <a:lnTo>
                        <a:pt x="35" y="23"/>
                      </a:lnTo>
                      <a:lnTo>
                        <a:pt x="42" y="17"/>
                      </a:lnTo>
                      <a:lnTo>
                        <a:pt x="51" y="12"/>
                      </a:lnTo>
                      <a:lnTo>
                        <a:pt x="59" y="9"/>
                      </a:lnTo>
                      <a:lnTo>
                        <a:pt x="69" y="5"/>
                      </a:lnTo>
                      <a:lnTo>
                        <a:pt x="78" y="3"/>
                      </a:lnTo>
                      <a:lnTo>
                        <a:pt x="88" y="2"/>
                      </a:lnTo>
                      <a:lnTo>
                        <a:pt x="97" y="0"/>
                      </a:lnTo>
                      <a:lnTo>
                        <a:pt x="97" y="98"/>
                      </a:lnTo>
                      <a:lnTo>
                        <a:pt x="0" y="98"/>
                      </a:lnTo>
                      <a:close/>
                    </a:path>
                  </a:pathLst>
                </a:custGeom>
                <a:solidFill>
                  <a:srgbClr val="39B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1" name="Freeform 328"/>
                <p:cNvSpPr>
                  <a:spLocks/>
                </p:cNvSpPr>
                <p:nvPr userDrawn="1"/>
              </p:nvSpPr>
              <p:spPr bwMode="auto">
                <a:xfrm>
                  <a:off x="12631283" y="1371099"/>
                  <a:ext cx="76200" cy="77788"/>
                </a:xfrm>
                <a:custGeom>
                  <a:avLst/>
                  <a:gdLst>
                    <a:gd name="T0" fmla="*/ 0 w 98"/>
                    <a:gd name="T1" fmla="*/ 0 h 98"/>
                    <a:gd name="T2" fmla="*/ 0 w 98"/>
                    <a:gd name="T3" fmla="*/ 0 h 98"/>
                    <a:gd name="T4" fmla="*/ 11 w 98"/>
                    <a:gd name="T5" fmla="*/ 2 h 98"/>
                    <a:gd name="T6" fmla="*/ 20 w 98"/>
                    <a:gd name="T7" fmla="*/ 3 h 98"/>
                    <a:gd name="T8" fmla="*/ 30 w 98"/>
                    <a:gd name="T9" fmla="*/ 5 h 98"/>
                    <a:gd name="T10" fmla="*/ 38 w 98"/>
                    <a:gd name="T11" fmla="*/ 9 h 98"/>
                    <a:gd name="T12" fmla="*/ 46 w 98"/>
                    <a:gd name="T13" fmla="*/ 12 h 98"/>
                    <a:gd name="T14" fmla="*/ 55 w 98"/>
                    <a:gd name="T15" fmla="*/ 17 h 98"/>
                    <a:gd name="T16" fmla="*/ 62 w 98"/>
                    <a:gd name="T17" fmla="*/ 23 h 98"/>
                    <a:gd name="T18" fmla="*/ 69 w 98"/>
                    <a:gd name="T19" fmla="*/ 29 h 98"/>
                    <a:gd name="T20" fmla="*/ 76 w 98"/>
                    <a:gd name="T21" fmla="*/ 36 h 98"/>
                    <a:gd name="T22" fmla="*/ 81 w 98"/>
                    <a:gd name="T23" fmla="*/ 43 h 98"/>
                    <a:gd name="T24" fmla="*/ 87 w 98"/>
                    <a:gd name="T25" fmla="*/ 51 h 98"/>
                    <a:gd name="T26" fmla="*/ 90 w 98"/>
                    <a:gd name="T27" fmla="*/ 60 h 98"/>
                    <a:gd name="T28" fmla="*/ 94 w 98"/>
                    <a:gd name="T29" fmla="*/ 69 h 98"/>
                    <a:gd name="T30" fmla="*/ 96 w 98"/>
                    <a:gd name="T31" fmla="*/ 79 h 98"/>
                    <a:gd name="T32" fmla="*/ 98 w 98"/>
                    <a:gd name="T33" fmla="*/ 88 h 98"/>
                    <a:gd name="T34" fmla="*/ 98 w 98"/>
                    <a:gd name="T35" fmla="*/ 98 h 98"/>
                    <a:gd name="T36" fmla="*/ 0 w 98"/>
                    <a:gd name="T37" fmla="*/ 98 h 98"/>
                    <a:gd name="T38" fmla="*/ 0 w 98"/>
                    <a:gd name="T39"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8" h="98">
                      <a:moveTo>
                        <a:pt x="0" y="0"/>
                      </a:moveTo>
                      <a:lnTo>
                        <a:pt x="0" y="0"/>
                      </a:lnTo>
                      <a:lnTo>
                        <a:pt x="11" y="2"/>
                      </a:lnTo>
                      <a:lnTo>
                        <a:pt x="20" y="3"/>
                      </a:lnTo>
                      <a:lnTo>
                        <a:pt x="30" y="5"/>
                      </a:lnTo>
                      <a:lnTo>
                        <a:pt x="38" y="9"/>
                      </a:lnTo>
                      <a:lnTo>
                        <a:pt x="46" y="12"/>
                      </a:lnTo>
                      <a:lnTo>
                        <a:pt x="55" y="17"/>
                      </a:lnTo>
                      <a:lnTo>
                        <a:pt x="62" y="23"/>
                      </a:lnTo>
                      <a:lnTo>
                        <a:pt x="69" y="29"/>
                      </a:lnTo>
                      <a:lnTo>
                        <a:pt x="76" y="36"/>
                      </a:lnTo>
                      <a:lnTo>
                        <a:pt x="81" y="43"/>
                      </a:lnTo>
                      <a:lnTo>
                        <a:pt x="87" y="51"/>
                      </a:lnTo>
                      <a:lnTo>
                        <a:pt x="90" y="60"/>
                      </a:lnTo>
                      <a:lnTo>
                        <a:pt x="94" y="69"/>
                      </a:lnTo>
                      <a:lnTo>
                        <a:pt x="96" y="79"/>
                      </a:lnTo>
                      <a:lnTo>
                        <a:pt x="98" y="88"/>
                      </a:lnTo>
                      <a:lnTo>
                        <a:pt x="98" y="98"/>
                      </a:lnTo>
                      <a:lnTo>
                        <a:pt x="0" y="98"/>
                      </a:lnTo>
                      <a:lnTo>
                        <a:pt x="0" y="0"/>
                      </a:lnTo>
                      <a:close/>
                    </a:path>
                  </a:pathLst>
                </a:custGeom>
                <a:solidFill>
                  <a:srgbClr val="148C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2" name="Freeform 329"/>
                <p:cNvSpPr>
                  <a:spLocks/>
                </p:cNvSpPr>
                <p:nvPr userDrawn="1"/>
              </p:nvSpPr>
              <p:spPr bwMode="auto">
                <a:xfrm>
                  <a:off x="12486821" y="759911"/>
                  <a:ext cx="33338" cy="112713"/>
                </a:xfrm>
                <a:custGeom>
                  <a:avLst/>
                  <a:gdLst>
                    <a:gd name="T0" fmla="*/ 43 w 43"/>
                    <a:gd name="T1" fmla="*/ 143 h 143"/>
                    <a:gd name="T2" fmla="*/ 0 w 43"/>
                    <a:gd name="T3" fmla="*/ 143 h 143"/>
                    <a:gd name="T4" fmla="*/ 0 w 43"/>
                    <a:gd name="T5" fmla="*/ 0 h 143"/>
                    <a:gd name="T6" fmla="*/ 38 w 43"/>
                    <a:gd name="T7" fmla="*/ 0 h 143"/>
                    <a:gd name="T8" fmla="*/ 43 w 43"/>
                    <a:gd name="T9" fmla="*/ 143 h 143"/>
                  </a:gdLst>
                  <a:ahLst/>
                  <a:cxnLst>
                    <a:cxn ang="0">
                      <a:pos x="T0" y="T1"/>
                    </a:cxn>
                    <a:cxn ang="0">
                      <a:pos x="T2" y="T3"/>
                    </a:cxn>
                    <a:cxn ang="0">
                      <a:pos x="T4" y="T5"/>
                    </a:cxn>
                    <a:cxn ang="0">
                      <a:pos x="T6" y="T7"/>
                    </a:cxn>
                    <a:cxn ang="0">
                      <a:pos x="T8" y="T9"/>
                    </a:cxn>
                  </a:cxnLst>
                  <a:rect l="0" t="0" r="r" b="b"/>
                  <a:pathLst>
                    <a:path w="43" h="143">
                      <a:moveTo>
                        <a:pt x="43" y="143"/>
                      </a:moveTo>
                      <a:lnTo>
                        <a:pt x="0" y="143"/>
                      </a:lnTo>
                      <a:lnTo>
                        <a:pt x="0" y="0"/>
                      </a:lnTo>
                      <a:lnTo>
                        <a:pt x="38" y="0"/>
                      </a:lnTo>
                      <a:lnTo>
                        <a:pt x="43" y="143"/>
                      </a:lnTo>
                      <a:close/>
                    </a:path>
                  </a:pathLst>
                </a:custGeom>
                <a:solidFill>
                  <a:srgbClr val="177A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3" name="Freeform 330"/>
                <p:cNvSpPr>
                  <a:spLocks/>
                </p:cNvSpPr>
                <p:nvPr userDrawn="1"/>
              </p:nvSpPr>
              <p:spPr bwMode="auto">
                <a:xfrm>
                  <a:off x="12486821" y="-27489"/>
                  <a:ext cx="338138" cy="806450"/>
                </a:xfrm>
                <a:custGeom>
                  <a:avLst/>
                  <a:gdLst>
                    <a:gd name="T0" fmla="*/ 0 w 427"/>
                    <a:gd name="T1" fmla="*/ 1015 h 1015"/>
                    <a:gd name="T2" fmla="*/ 0 w 427"/>
                    <a:gd name="T3" fmla="*/ 1015 h 1015"/>
                    <a:gd name="T4" fmla="*/ 25 w 427"/>
                    <a:gd name="T5" fmla="*/ 1014 h 1015"/>
                    <a:gd name="T6" fmla="*/ 49 w 427"/>
                    <a:gd name="T7" fmla="*/ 1011 h 1015"/>
                    <a:gd name="T8" fmla="*/ 73 w 427"/>
                    <a:gd name="T9" fmla="*/ 1009 h 1015"/>
                    <a:gd name="T10" fmla="*/ 95 w 427"/>
                    <a:gd name="T11" fmla="*/ 1004 h 1015"/>
                    <a:gd name="T12" fmla="*/ 115 w 427"/>
                    <a:gd name="T13" fmla="*/ 998 h 1015"/>
                    <a:gd name="T14" fmla="*/ 136 w 427"/>
                    <a:gd name="T15" fmla="*/ 992 h 1015"/>
                    <a:gd name="T16" fmla="*/ 155 w 427"/>
                    <a:gd name="T17" fmla="*/ 984 h 1015"/>
                    <a:gd name="T18" fmla="*/ 173 w 427"/>
                    <a:gd name="T19" fmla="*/ 974 h 1015"/>
                    <a:gd name="T20" fmla="*/ 189 w 427"/>
                    <a:gd name="T21" fmla="*/ 963 h 1015"/>
                    <a:gd name="T22" fmla="*/ 205 w 427"/>
                    <a:gd name="T23" fmla="*/ 951 h 1015"/>
                    <a:gd name="T24" fmla="*/ 219 w 427"/>
                    <a:gd name="T25" fmla="*/ 938 h 1015"/>
                    <a:gd name="T26" fmla="*/ 233 w 427"/>
                    <a:gd name="T27" fmla="*/ 922 h 1015"/>
                    <a:gd name="T28" fmla="*/ 245 w 427"/>
                    <a:gd name="T29" fmla="*/ 905 h 1015"/>
                    <a:gd name="T30" fmla="*/ 257 w 427"/>
                    <a:gd name="T31" fmla="*/ 888 h 1015"/>
                    <a:gd name="T32" fmla="*/ 268 w 427"/>
                    <a:gd name="T33" fmla="*/ 869 h 1015"/>
                    <a:gd name="T34" fmla="*/ 277 w 427"/>
                    <a:gd name="T35" fmla="*/ 848 h 1015"/>
                    <a:gd name="T36" fmla="*/ 277 w 427"/>
                    <a:gd name="T37" fmla="*/ 848 h 1015"/>
                    <a:gd name="T38" fmla="*/ 297 w 427"/>
                    <a:gd name="T39" fmla="*/ 800 h 1015"/>
                    <a:gd name="T40" fmla="*/ 321 w 427"/>
                    <a:gd name="T41" fmla="*/ 739 h 1015"/>
                    <a:gd name="T42" fmla="*/ 346 w 427"/>
                    <a:gd name="T43" fmla="*/ 671 h 1015"/>
                    <a:gd name="T44" fmla="*/ 370 w 427"/>
                    <a:gd name="T45" fmla="*/ 596 h 1015"/>
                    <a:gd name="T46" fmla="*/ 382 w 427"/>
                    <a:gd name="T47" fmla="*/ 558 h 1015"/>
                    <a:gd name="T48" fmla="*/ 393 w 427"/>
                    <a:gd name="T49" fmla="*/ 519 h 1015"/>
                    <a:gd name="T50" fmla="*/ 402 w 427"/>
                    <a:gd name="T51" fmla="*/ 481 h 1015"/>
                    <a:gd name="T52" fmla="*/ 410 w 427"/>
                    <a:gd name="T53" fmla="*/ 442 h 1015"/>
                    <a:gd name="T54" fmla="*/ 417 w 427"/>
                    <a:gd name="T55" fmla="*/ 404 h 1015"/>
                    <a:gd name="T56" fmla="*/ 422 w 427"/>
                    <a:gd name="T57" fmla="*/ 367 h 1015"/>
                    <a:gd name="T58" fmla="*/ 426 w 427"/>
                    <a:gd name="T59" fmla="*/ 330 h 1015"/>
                    <a:gd name="T60" fmla="*/ 427 w 427"/>
                    <a:gd name="T61" fmla="*/ 296 h 1015"/>
                    <a:gd name="T62" fmla="*/ 427 w 427"/>
                    <a:gd name="T63" fmla="*/ 296 h 1015"/>
                    <a:gd name="T64" fmla="*/ 427 w 427"/>
                    <a:gd name="T65" fmla="*/ 279 h 1015"/>
                    <a:gd name="T66" fmla="*/ 425 w 427"/>
                    <a:gd name="T67" fmla="*/ 262 h 1015"/>
                    <a:gd name="T68" fmla="*/ 422 w 427"/>
                    <a:gd name="T69" fmla="*/ 247 h 1015"/>
                    <a:gd name="T70" fmla="*/ 419 w 427"/>
                    <a:gd name="T71" fmla="*/ 231 h 1015"/>
                    <a:gd name="T72" fmla="*/ 414 w 427"/>
                    <a:gd name="T73" fmla="*/ 216 h 1015"/>
                    <a:gd name="T74" fmla="*/ 408 w 427"/>
                    <a:gd name="T75" fmla="*/ 202 h 1015"/>
                    <a:gd name="T76" fmla="*/ 401 w 427"/>
                    <a:gd name="T77" fmla="*/ 187 h 1015"/>
                    <a:gd name="T78" fmla="*/ 393 w 427"/>
                    <a:gd name="T79" fmla="*/ 173 h 1015"/>
                    <a:gd name="T80" fmla="*/ 384 w 427"/>
                    <a:gd name="T81" fmla="*/ 160 h 1015"/>
                    <a:gd name="T82" fmla="*/ 375 w 427"/>
                    <a:gd name="T83" fmla="*/ 147 h 1015"/>
                    <a:gd name="T84" fmla="*/ 364 w 427"/>
                    <a:gd name="T85" fmla="*/ 135 h 1015"/>
                    <a:gd name="T86" fmla="*/ 353 w 427"/>
                    <a:gd name="T87" fmla="*/ 123 h 1015"/>
                    <a:gd name="T88" fmla="*/ 341 w 427"/>
                    <a:gd name="T89" fmla="*/ 111 h 1015"/>
                    <a:gd name="T90" fmla="*/ 328 w 427"/>
                    <a:gd name="T91" fmla="*/ 101 h 1015"/>
                    <a:gd name="T92" fmla="*/ 315 w 427"/>
                    <a:gd name="T93" fmla="*/ 90 h 1015"/>
                    <a:gd name="T94" fmla="*/ 301 w 427"/>
                    <a:gd name="T95" fmla="*/ 80 h 1015"/>
                    <a:gd name="T96" fmla="*/ 286 w 427"/>
                    <a:gd name="T97" fmla="*/ 71 h 1015"/>
                    <a:gd name="T98" fmla="*/ 270 w 427"/>
                    <a:gd name="T99" fmla="*/ 61 h 1015"/>
                    <a:gd name="T100" fmla="*/ 253 w 427"/>
                    <a:gd name="T101" fmla="*/ 53 h 1015"/>
                    <a:gd name="T102" fmla="*/ 237 w 427"/>
                    <a:gd name="T103" fmla="*/ 46 h 1015"/>
                    <a:gd name="T104" fmla="*/ 220 w 427"/>
                    <a:gd name="T105" fmla="*/ 39 h 1015"/>
                    <a:gd name="T106" fmla="*/ 202 w 427"/>
                    <a:gd name="T107" fmla="*/ 32 h 1015"/>
                    <a:gd name="T108" fmla="*/ 164 w 427"/>
                    <a:gd name="T109" fmla="*/ 20 h 1015"/>
                    <a:gd name="T110" fmla="*/ 125 w 427"/>
                    <a:gd name="T111" fmla="*/ 11 h 1015"/>
                    <a:gd name="T112" fmla="*/ 85 w 427"/>
                    <a:gd name="T113" fmla="*/ 4 h 1015"/>
                    <a:gd name="T114" fmla="*/ 43 w 427"/>
                    <a:gd name="T115" fmla="*/ 1 h 1015"/>
                    <a:gd name="T116" fmla="*/ 0 w 427"/>
                    <a:gd name="T117" fmla="*/ 0 h 1015"/>
                    <a:gd name="T118" fmla="*/ 0 w 427"/>
                    <a:gd name="T119" fmla="*/ 0 h 1015"/>
                    <a:gd name="T120" fmla="*/ 0 w 427"/>
                    <a:gd name="T121" fmla="*/ 1015 h 1015"/>
                    <a:gd name="T122" fmla="*/ 0 w 427"/>
                    <a:gd name="T123" fmla="*/ 1015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7" h="1015">
                      <a:moveTo>
                        <a:pt x="0" y="1015"/>
                      </a:moveTo>
                      <a:lnTo>
                        <a:pt x="0" y="1015"/>
                      </a:lnTo>
                      <a:lnTo>
                        <a:pt x="25" y="1014"/>
                      </a:lnTo>
                      <a:lnTo>
                        <a:pt x="49" y="1011"/>
                      </a:lnTo>
                      <a:lnTo>
                        <a:pt x="73" y="1009"/>
                      </a:lnTo>
                      <a:lnTo>
                        <a:pt x="95" y="1004"/>
                      </a:lnTo>
                      <a:lnTo>
                        <a:pt x="115" y="998"/>
                      </a:lnTo>
                      <a:lnTo>
                        <a:pt x="136" y="992"/>
                      </a:lnTo>
                      <a:lnTo>
                        <a:pt x="155" y="984"/>
                      </a:lnTo>
                      <a:lnTo>
                        <a:pt x="173" y="974"/>
                      </a:lnTo>
                      <a:lnTo>
                        <a:pt x="189" y="963"/>
                      </a:lnTo>
                      <a:lnTo>
                        <a:pt x="205" y="951"/>
                      </a:lnTo>
                      <a:lnTo>
                        <a:pt x="219" y="938"/>
                      </a:lnTo>
                      <a:lnTo>
                        <a:pt x="233" y="922"/>
                      </a:lnTo>
                      <a:lnTo>
                        <a:pt x="245" y="905"/>
                      </a:lnTo>
                      <a:lnTo>
                        <a:pt x="257" y="888"/>
                      </a:lnTo>
                      <a:lnTo>
                        <a:pt x="268" y="869"/>
                      </a:lnTo>
                      <a:lnTo>
                        <a:pt x="277" y="848"/>
                      </a:lnTo>
                      <a:lnTo>
                        <a:pt x="277" y="848"/>
                      </a:lnTo>
                      <a:lnTo>
                        <a:pt x="297" y="800"/>
                      </a:lnTo>
                      <a:lnTo>
                        <a:pt x="321" y="739"/>
                      </a:lnTo>
                      <a:lnTo>
                        <a:pt x="346" y="671"/>
                      </a:lnTo>
                      <a:lnTo>
                        <a:pt x="370" y="596"/>
                      </a:lnTo>
                      <a:lnTo>
                        <a:pt x="382" y="558"/>
                      </a:lnTo>
                      <a:lnTo>
                        <a:pt x="393" y="519"/>
                      </a:lnTo>
                      <a:lnTo>
                        <a:pt x="402" y="481"/>
                      </a:lnTo>
                      <a:lnTo>
                        <a:pt x="410" y="442"/>
                      </a:lnTo>
                      <a:lnTo>
                        <a:pt x="417" y="404"/>
                      </a:lnTo>
                      <a:lnTo>
                        <a:pt x="422" y="367"/>
                      </a:lnTo>
                      <a:lnTo>
                        <a:pt x="426" y="330"/>
                      </a:lnTo>
                      <a:lnTo>
                        <a:pt x="427" y="296"/>
                      </a:lnTo>
                      <a:lnTo>
                        <a:pt x="427" y="296"/>
                      </a:lnTo>
                      <a:lnTo>
                        <a:pt x="427" y="279"/>
                      </a:lnTo>
                      <a:lnTo>
                        <a:pt x="425" y="262"/>
                      </a:lnTo>
                      <a:lnTo>
                        <a:pt x="422" y="247"/>
                      </a:lnTo>
                      <a:lnTo>
                        <a:pt x="419" y="231"/>
                      </a:lnTo>
                      <a:lnTo>
                        <a:pt x="414" y="216"/>
                      </a:lnTo>
                      <a:lnTo>
                        <a:pt x="408" y="202"/>
                      </a:lnTo>
                      <a:lnTo>
                        <a:pt x="401" y="187"/>
                      </a:lnTo>
                      <a:lnTo>
                        <a:pt x="393" y="173"/>
                      </a:lnTo>
                      <a:lnTo>
                        <a:pt x="384" y="160"/>
                      </a:lnTo>
                      <a:lnTo>
                        <a:pt x="375" y="147"/>
                      </a:lnTo>
                      <a:lnTo>
                        <a:pt x="364" y="135"/>
                      </a:lnTo>
                      <a:lnTo>
                        <a:pt x="353" y="123"/>
                      </a:lnTo>
                      <a:lnTo>
                        <a:pt x="341" y="111"/>
                      </a:lnTo>
                      <a:lnTo>
                        <a:pt x="328" y="101"/>
                      </a:lnTo>
                      <a:lnTo>
                        <a:pt x="315" y="90"/>
                      </a:lnTo>
                      <a:lnTo>
                        <a:pt x="301" y="80"/>
                      </a:lnTo>
                      <a:lnTo>
                        <a:pt x="286" y="71"/>
                      </a:lnTo>
                      <a:lnTo>
                        <a:pt x="270" y="61"/>
                      </a:lnTo>
                      <a:lnTo>
                        <a:pt x="253" y="53"/>
                      </a:lnTo>
                      <a:lnTo>
                        <a:pt x="237" y="46"/>
                      </a:lnTo>
                      <a:lnTo>
                        <a:pt x="220" y="39"/>
                      </a:lnTo>
                      <a:lnTo>
                        <a:pt x="202" y="32"/>
                      </a:lnTo>
                      <a:lnTo>
                        <a:pt x="164" y="20"/>
                      </a:lnTo>
                      <a:lnTo>
                        <a:pt x="125" y="11"/>
                      </a:lnTo>
                      <a:lnTo>
                        <a:pt x="85" y="4"/>
                      </a:lnTo>
                      <a:lnTo>
                        <a:pt x="43" y="1"/>
                      </a:lnTo>
                      <a:lnTo>
                        <a:pt x="0" y="0"/>
                      </a:lnTo>
                      <a:lnTo>
                        <a:pt x="0" y="0"/>
                      </a:lnTo>
                      <a:lnTo>
                        <a:pt x="0" y="1015"/>
                      </a:lnTo>
                      <a:lnTo>
                        <a:pt x="0" y="1015"/>
                      </a:lnTo>
                      <a:close/>
                    </a:path>
                  </a:pathLst>
                </a:custGeom>
                <a:solidFill>
                  <a:srgbClr val="148C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4" name="Freeform 331"/>
                <p:cNvSpPr>
                  <a:spLocks/>
                </p:cNvSpPr>
                <p:nvPr userDrawn="1"/>
              </p:nvSpPr>
              <p:spPr bwMode="auto">
                <a:xfrm>
                  <a:off x="12486821" y="850399"/>
                  <a:ext cx="187325" cy="377825"/>
                </a:xfrm>
                <a:custGeom>
                  <a:avLst/>
                  <a:gdLst>
                    <a:gd name="T0" fmla="*/ 0 w 238"/>
                    <a:gd name="T1" fmla="*/ 0 h 476"/>
                    <a:gd name="T2" fmla="*/ 0 w 238"/>
                    <a:gd name="T3" fmla="*/ 0 h 476"/>
                    <a:gd name="T4" fmla="*/ 12 w 238"/>
                    <a:gd name="T5" fmla="*/ 0 h 476"/>
                    <a:gd name="T6" fmla="*/ 24 w 238"/>
                    <a:gd name="T7" fmla="*/ 1 h 476"/>
                    <a:gd name="T8" fmla="*/ 36 w 238"/>
                    <a:gd name="T9" fmla="*/ 4 h 476"/>
                    <a:gd name="T10" fmla="*/ 48 w 238"/>
                    <a:gd name="T11" fmla="*/ 7 h 476"/>
                    <a:gd name="T12" fmla="*/ 60 w 238"/>
                    <a:gd name="T13" fmla="*/ 11 h 476"/>
                    <a:gd name="T14" fmla="*/ 70 w 238"/>
                    <a:gd name="T15" fmla="*/ 16 h 476"/>
                    <a:gd name="T16" fmla="*/ 81 w 238"/>
                    <a:gd name="T17" fmla="*/ 20 h 476"/>
                    <a:gd name="T18" fmla="*/ 93 w 238"/>
                    <a:gd name="T19" fmla="*/ 26 h 476"/>
                    <a:gd name="T20" fmla="*/ 113 w 238"/>
                    <a:gd name="T21" fmla="*/ 39 h 476"/>
                    <a:gd name="T22" fmla="*/ 133 w 238"/>
                    <a:gd name="T23" fmla="*/ 56 h 476"/>
                    <a:gd name="T24" fmla="*/ 151 w 238"/>
                    <a:gd name="T25" fmla="*/ 74 h 476"/>
                    <a:gd name="T26" fmla="*/ 168 w 238"/>
                    <a:gd name="T27" fmla="*/ 94 h 476"/>
                    <a:gd name="T28" fmla="*/ 183 w 238"/>
                    <a:gd name="T29" fmla="*/ 115 h 476"/>
                    <a:gd name="T30" fmla="*/ 198 w 238"/>
                    <a:gd name="T31" fmla="*/ 138 h 476"/>
                    <a:gd name="T32" fmla="*/ 209 w 238"/>
                    <a:gd name="T33" fmla="*/ 162 h 476"/>
                    <a:gd name="T34" fmla="*/ 219 w 238"/>
                    <a:gd name="T35" fmla="*/ 186 h 476"/>
                    <a:gd name="T36" fmla="*/ 227 w 238"/>
                    <a:gd name="T37" fmla="*/ 211 h 476"/>
                    <a:gd name="T38" fmla="*/ 233 w 238"/>
                    <a:gd name="T39" fmla="*/ 236 h 476"/>
                    <a:gd name="T40" fmla="*/ 237 w 238"/>
                    <a:gd name="T41" fmla="*/ 261 h 476"/>
                    <a:gd name="T42" fmla="*/ 238 w 238"/>
                    <a:gd name="T43" fmla="*/ 285 h 476"/>
                    <a:gd name="T44" fmla="*/ 238 w 238"/>
                    <a:gd name="T45" fmla="*/ 285 h 476"/>
                    <a:gd name="T46" fmla="*/ 237 w 238"/>
                    <a:gd name="T47" fmla="*/ 309 h 476"/>
                    <a:gd name="T48" fmla="*/ 233 w 238"/>
                    <a:gd name="T49" fmla="*/ 332 h 476"/>
                    <a:gd name="T50" fmla="*/ 227 w 238"/>
                    <a:gd name="T51" fmla="*/ 352 h 476"/>
                    <a:gd name="T52" fmla="*/ 219 w 238"/>
                    <a:gd name="T53" fmla="*/ 371 h 476"/>
                    <a:gd name="T54" fmla="*/ 209 w 238"/>
                    <a:gd name="T55" fmla="*/ 388 h 476"/>
                    <a:gd name="T56" fmla="*/ 198 w 238"/>
                    <a:gd name="T57" fmla="*/ 403 h 476"/>
                    <a:gd name="T58" fmla="*/ 183 w 238"/>
                    <a:gd name="T59" fmla="*/ 417 h 476"/>
                    <a:gd name="T60" fmla="*/ 168 w 238"/>
                    <a:gd name="T61" fmla="*/ 431 h 476"/>
                    <a:gd name="T62" fmla="*/ 151 w 238"/>
                    <a:gd name="T63" fmla="*/ 441 h 476"/>
                    <a:gd name="T64" fmla="*/ 133 w 238"/>
                    <a:gd name="T65" fmla="*/ 451 h 476"/>
                    <a:gd name="T66" fmla="*/ 113 w 238"/>
                    <a:gd name="T67" fmla="*/ 458 h 476"/>
                    <a:gd name="T68" fmla="*/ 93 w 238"/>
                    <a:gd name="T69" fmla="*/ 465 h 476"/>
                    <a:gd name="T70" fmla="*/ 70 w 238"/>
                    <a:gd name="T71" fmla="*/ 470 h 476"/>
                    <a:gd name="T72" fmla="*/ 48 w 238"/>
                    <a:gd name="T73" fmla="*/ 473 h 476"/>
                    <a:gd name="T74" fmla="*/ 24 w 238"/>
                    <a:gd name="T75" fmla="*/ 476 h 476"/>
                    <a:gd name="T76" fmla="*/ 0 w 238"/>
                    <a:gd name="T77" fmla="*/ 476 h 476"/>
                    <a:gd name="T78" fmla="*/ 0 w 238"/>
                    <a:gd name="T79"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8" h="476">
                      <a:moveTo>
                        <a:pt x="0" y="0"/>
                      </a:moveTo>
                      <a:lnTo>
                        <a:pt x="0" y="0"/>
                      </a:lnTo>
                      <a:lnTo>
                        <a:pt x="12" y="0"/>
                      </a:lnTo>
                      <a:lnTo>
                        <a:pt x="24" y="1"/>
                      </a:lnTo>
                      <a:lnTo>
                        <a:pt x="36" y="4"/>
                      </a:lnTo>
                      <a:lnTo>
                        <a:pt x="48" y="7"/>
                      </a:lnTo>
                      <a:lnTo>
                        <a:pt x="60" y="11"/>
                      </a:lnTo>
                      <a:lnTo>
                        <a:pt x="70" y="16"/>
                      </a:lnTo>
                      <a:lnTo>
                        <a:pt x="81" y="20"/>
                      </a:lnTo>
                      <a:lnTo>
                        <a:pt x="93" y="26"/>
                      </a:lnTo>
                      <a:lnTo>
                        <a:pt x="113" y="39"/>
                      </a:lnTo>
                      <a:lnTo>
                        <a:pt x="133" y="56"/>
                      </a:lnTo>
                      <a:lnTo>
                        <a:pt x="151" y="74"/>
                      </a:lnTo>
                      <a:lnTo>
                        <a:pt x="168" y="94"/>
                      </a:lnTo>
                      <a:lnTo>
                        <a:pt x="183" y="115"/>
                      </a:lnTo>
                      <a:lnTo>
                        <a:pt x="198" y="138"/>
                      </a:lnTo>
                      <a:lnTo>
                        <a:pt x="209" y="162"/>
                      </a:lnTo>
                      <a:lnTo>
                        <a:pt x="219" y="186"/>
                      </a:lnTo>
                      <a:lnTo>
                        <a:pt x="227" y="211"/>
                      </a:lnTo>
                      <a:lnTo>
                        <a:pt x="233" y="236"/>
                      </a:lnTo>
                      <a:lnTo>
                        <a:pt x="237" y="261"/>
                      </a:lnTo>
                      <a:lnTo>
                        <a:pt x="238" y="285"/>
                      </a:lnTo>
                      <a:lnTo>
                        <a:pt x="238" y="285"/>
                      </a:lnTo>
                      <a:lnTo>
                        <a:pt x="237" y="309"/>
                      </a:lnTo>
                      <a:lnTo>
                        <a:pt x="233" y="332"/>
                      </a:lnTo>
                      <a:lnTo>
                        <a:pt x="227" y="352"/>
                      </a:lnTo>
                      <a:lnTo>
                        <a:pt x="219" y="371"/>
                      </a:lnTo>
                      <a:lnTo>
                        <a:pt x="209" y="388"/>
                      </a:lnTo>
                      <a:lnTo>
                        <a:pt x="198" y="403"/>
                      </a:lnTo>
                      <a:lnTo>
                        <a:pt x="183" y="417"/>
                      </a:lnTo>
                      <a:lnTo>
                        <a:pt x="168" y="431"/>
                      </a:lnTo>
                      <a:lnTo>
                        <a:pt x="151" y="441"/>
                      </a:lnTo>
                      <a:lnTo>
                        <a:pt x="133" y="451"/>
                      </a:lnTo>
                      <a:lnTo>
                        <a:pt x="113" y="458"/>
                      </a:lnTo>
                      <a:lnTo>
                        <a:pt x="93" y="465"/>
                      </a:lnTo>
                      <a:lnTo>
                        <a:pt x="70" y="470"/>
                      </a:lnTo>
                      <a:lnTo>
                        <a:pt x="48" y="473"/>
                      </a:lnTo>
                      <a:lnTo>
                        <a:pt x="24" y="476"/>
                      </a:lnTo>
                      <a:lnTo>
                        <a:pt x="0" y="476"/>
                      </a:lnTo>
                      <a:lnTo>
                        <a:pt x="0" y="0"/>
                      </a:lnTo>
                      <a:close/>
                    </a:path>
                  </a:pathLst>
                </a:custGeom>
                <a:solidFill>
                  <a:srgbClr val="148C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5" name="Freeform 332"/>
                <p:cNvSpPr>
                  <a:spLocks/>
                </p:cNvSpPr>
                <p:nvPr userDrawn="1"/>
              </p:nvSpPr>
              <p:spPr bwMode="auto">
                <a:xfrm>
                  <a:off x="12550321" y="240799"/>
                  <a:ext cx="273050" cy="317500"/>
                </a:xfrm>
                <a:custGeom>
                  <a:avLst/>
                  <a:gdLst>
                    <a:gd name="T0" fmla="*/ 155 w 344"/>
                    <a:gd name="T1" fmla="*/ 50 h 400"/>
                    <a:gd name="T2" fmla="*/ 155 w 344"/>
                    <a:gd name="T3" fmla="*/ 50 h 400"/>
                    <a:gd name="T4" fmla="*/ 172 w 344"/>
                    <a:gd name="T5" fmla="*/ 39 h 400"/>
                    <a:gd name="T6" fmla="*/ 195 w 344"/>
                    <a:gd name="T7" fmla="*/ 29 h 400"/>
                    <a:gd name="T8" fmla="*/ 220 w 344"/>
                    <a:gd name="T9" fmla="*/ 18 h 400"/>
                    <a:gd name="T10" fmla="*/ 247 w 344"/>
                    <a:gd name="T11" fmla="*/ 10 h 400"/>
                    <a:gd name="T12" fmla="*/ 275 w 344"/>
                    <a:gd name="T13" fmla="*/ 4 h 400"/>
                    <a:gd name="T14" fmla="*/ 301 w 344"/>
                    <a:gd name="T15" fmla="*/ 0 h 400"/>
                    <a:gd name="T16" fmla="*/ 313 w 344"/>
                    <a:gd name="T17" fmla="*/ 0 h 400"/>
                    <a:gd name="T18" fmla="*/ 325 w 344"/>
                    <a:gd name="T19" fmla="*/ 0 h 400"/>
                    <a:gd name="T20" fmla="*/ 334 w 344"/>
                    <a:gd name="T21" fmla="*/ 1 h 400"/>
                    <a:gd name="T22" fmla="*/ 344 w 344"/>
                    <a:gd name="T23" fmla="*/ 3 h 400"/>
                    <a:gd name="T24" fmla="*/ 344 w 344"/>
                    <a:gd name="T25" fmla="*/ 3 h 400"/>
                    <a:gd name="T26" fmla="*/ 341 w 344"/>
                    <a:gd name="T27" fmla="*/ 28 h 400"/>
                    <a:gd name="T28" fmla="*/ 339 w 344"/>
                    <a:gd name="T29" fmla="*/ 53 h 400"/>
                    <a:gd name="T30" fmla="*/ 329 w 344"/>
                    <a:gd name="T31" fmla="*/ 102 h 400"/>
                    <a:gd name="T32" fmla="*/ 319 w 344"/>
                    <a:gd name="T33" fmla="*/ 154 h 400"/>
                    <a:gd name="T34" fmla="*/ 306 w 344"/>
                    <a:gd name="T35" fmla="*/ 206 h 400"/>
                    <a:gd name="T36" fmla="*/ 290 w 344"/>
                    <a:gd name="T37" fmla="*/ 257 h 400"/>
                    <a:gd name="T38" fmla="*/ 273 w 344"/>
                    <a:gd name="T39" fmla="*/ 307 h 400"/>
                    <a:gd name="T40" fmla="*/ 258 w 344"/>
                    <a:gd name="T41" fmla="*/ 354 h 400"/>
                    <a:gd name="T42" fmla="*/ 241 w 344"/>
                    <a:gd name="T43" fmla="*/ 400 h 400"/>
                    <a:gd name="T44" fmla="*/ 241 w 344"/>
                    <a:gd name="T45" fmla="*/ 400 h 400"/>
                    <a:gd name="T46" fmla="*/ 205 w 344"/>
                    <a:gd name="T47" fmla="*/ 397 h 400"/>
                    <a:gd name="T48" fmla="*/ 165 w 344"/>
                    <a:gd name="T49" fmla="*/ 391 h 400"/>
                    <a:gd name="T50" fmla="*/ 145 w 344"/>
                    <a:gd name="T51" fmla="*/ 388 h 400"/>
                    <a:gd name="T52" fmla="*/ 125 w 344"/>
                    <a:gd name="T53" fmla="*/ 383 h 400"/>
                    <a:gd name="T54" fmla="*/ 106 w 344"/>
                    <a:gd name="T55" fmla="*/ 377 h 400"/>
                    <a:gd name="T56" fmla="*/ 87 w 344"/>
                    <a:gd name="T57" fmla="*/ 370 h 400"/>
                    <a:gd name="T58" fmla="*/ 69 w 344"/>
                    <a:gd name="T59" fmla="*/ 362 h 400"/>
                    <a:gd name="T60" fmla="*/ 52 w 344"/>
                    <a:gd name="T61" fmla="*/ 352 h 400"/>
                    <a:gd name="T62" fmla="*/ 38 w 344"/>
                    <a:gd name="T63" fmla="*/ 341 h 400"/>
                    <a:gd name="T64" fmla="*/ 25 w 344"/>
                    <a:gd name="T65" fmla="*/ 328 h 400"/>
                    <a:gd name="T66" fmla="*/ 19 w 344"/>
                    <a:gd name="T67" fmla="*/ 322 h 400"/>
                    <a:gd name="T68" fmla="*/ 14 w 344"/>
                    <a:gd name="T69" fmla="*/ 315 h 400"/>
                    <a:gd name="T70" fmla="*/ 11 w 344"/>
                    <a:gd name="T71" fmla="*/ 307 h 400"/>
                    <a:gd name="T72" fmla="*/ 7 w 344"/>
                    <a:gd name="T73" fmla="*/ 300 h 400"/>
                    <a:gd name="T74" fmla="*/ 4 w 344"/>
                    <a:gd name="T75" fmla="*/ 291 h 400"/>
                    <a:gd name="T76" fmla="*/ 1 w 344"/>
                    <a:gd name="T77" fmla="*/ 282 h 400"/>
                    <a:gd name="T78" fmla="*/ 0 w 344"/>
                    <a:gd name="T79" fmla="*/ 272 h 400"/>
                    <a:gd name="T80" fmla="*/ 0 w 344"/>
                    <a:gd name="T81" fmla="*/ 263 h 400"/>
                    <a:gd name="T82" fmla="*/ 0 w 344"/>
                    <a:gd name="T83" fmla="*/ 263 h 400"/>
                    <a:gd name="T84" fmla="*/ 0 w 344"/>
                    <a:gd name="T85" fmla="*/ 245 h 400"/>
                    <a:gd name="T86" fmla="*/ 2 w 344"/>
                    <a:gd name="T87" fmla="*/ 228 h 400"/>
                    <a:gd name="T88" fmla="*/ 6 w 344"/>
                    <a:gd name="T89" fmla="*/ 213 h 400"/>
                    <a:gd name="T90" fmla="*/ 11 w 344"/>
                    <a:gd name="T91" fmla="*/ 199 h 400"/>
                    <a:gd name="T92" fmla="*/ 17 w 344"/>
                    <a:gd name="T93" fmla="*/ 184 h 400"/>
                    <a:gd name="T94" fmla="*/ 24 w 344"/>
                    <a:gd name="T95" fmla="*/ 171 h 400"/>
                    <a:gd name="T96" fmla="*/ 33 w 344"/>
                    <a:gd name="T97" fmla="*/ 158 h 400"/>
                    <a:gd name="T98" fmla="*/ 43 w 344"/>
                    <a:gd name="T99" fmla="*/ 146 h 400"/>
                    <a:gd name="T100" fmla="*/ 53 w 344"/>
                    <a:gd name="T101" fmla="*/ 133 h 400"/>
                    <a:gd name="T102" fmla="*/ 65 w 344"/>
                    <a:gd name="T103" fmla="*/ 121 h 400"/>
                    <a:gd name="T104" fmla="*/ 92 w 344"/>
                    <a:gd name="T105" fmla="*/ 99 h 400"/>
                    <a:gd name="T106" fmla="*/ 121 w 344"/>
                    <a:gd name="T107" fmla="*/ 75 h 400"/>
                    <a:gd name="T108" fmla="*/ 155 w 344"/>
                    <a:gd name="T109" fmla="*/ 50 h 400"/>
                    <a:gd name="T110" fmla="*/ 155 w 344"/>
                    <a:gd name="T111" fmla="*/ 5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4" h="400">
                      <a:moveTo>
                        <a:pt x="155" y="50"/>
                      </a:moveTo>
                      <a:lnTo>
                        <a:pt x="155" y="50"/>
                      </a:lnTo>
                      <a:lnTo>
                        <a:pt x="172" y="39"/>
                      </a:lnTo>
                      <a:lnTo>
                        <a:pt x="195" y="29"/>
                      </a:lnTo>
                      <a:lnTo>
                        <a:pt x="220" y="18"/>
                      </a:lnTo>
                      <a:lnTo>
                        <a:pt x="247" y="10"/>
                      </a:lnTo>
                      <a:lnTo>
                        <a:pt x="275" y="4"/>
                      </a:lnTo>
                      <a:lnTo>
                        <a:pt x="301" y="0"/>
                      </a:lnTo>
                      <a:lnTo>
                        <a:pt x="313" y="0"/>
                      </a:lnTo>
                      <a:lnTo>
                        <a:pt x="325" y="0"/>
                      </a:lnTo>
                      <a:lnTo>
                        <a:pt x="334" y="1"/>
                      </a:lnTo>
                      <a:lnTo>
                        <a:pt x="344" y="3"/>
                      </a:lnTo>
                      <a:lnTo>
                        <a:pt x="344" y="3"/>
                      </a:lnTo>
                      <a:lnTo>
                        <a:pt x="341" y="28"/>
                      </a:lnTo>
                      <a:lnTo>
                        <a:pt x="339" y="53"/>
                      </a:lnTo>
                      <a:lnTo>
                        <a:pt x="329" y="102"/>
                      </a:lnTo>
                      <a:lnTo>
                        <a:pt x="319" y="154"/>
                      </a:lnTo>
                      <a:lnTo>
                        <a:pt x="306" y="206"/>
                      </a:lnTo>
                      <a:lnTo>
                        <a:pt x="290" y="257"/>
                      </a:lnTo>
                      <a:lnTo>
                        <a:pt x="273" y="307"/>
                      </a:lnTo>
                      <a:lnTo>
                        <a:pt x="258" y="354"/>
                      </a:lnTo>
                      <a:lnTo>
                        <a:pt x="241" y="400"/>
                      </a:lnTo>
                      <a:lnTo>
                        <a:pt x="241" y="400"/>
                      </a:lnTo>
                      <a:lnTo>
                        <a:pt x="205" y="397"/>
                      </a:lnTo>
                      <a:lnTo>
                        <a:pt x="165" y="391"/>
                      </a:lnTo>
                      <a:lnTo>
                        <a:pt x="145" y="388"/>
                      </a:lnTo>
                      <a:lnTo>
                        <a:pt x="125" y="383"/>
                      </a:lnTo>
                      <a:lnTo>
                        <a:pt x="106" y="377"/>
                      </a:lnTo>
                      <a:lnTo>
                        <a:pt x="87" y="370"/>
                      </a:lnTo>
                      <a:lnTo>
                        <a:pt x="69" y="362"/>
                      </a:lnTo>
                      <a:lnTo>
                        <a:pt x="52" y="352"/>
                      </a:lnTo>
                      <a:lnTo>
                        <a:pt x="38" y="341"/>
                      </a:lnTo>
                      <a:lnTo>
                        <a:pt x="25" y="328"/>
                      </a:lnTo>
                      <a:lnTo>
                        <a:pt x="19" y="322"/>
                      </a:lnTo>
                      <a:lnTo>
                        <a:pt x="14" y="315"/>
                      </a:lnTo>
                      <a:lnTo>
                        <a:pt x="11" y="307"/>
                      </a:lnTo>
                      <a:lnTo>
                        <a:pt x="7" y="300"/>
                      </a:lnTo>
                      <a:lnTo>
                        <a:pt x="4" y="291"/>
                      </a:lnTo>
                      <a:lnTo>
                        <a:pt x="1" y="282"/>
                      </a:lnTo>
                      <a:lnTo>
                        <a:pt x="0" y="272"/>
                      </a:lnTo>
                      <a:lnTo>
                        <a:pt x="0" y="263"/>
                      </a:lnTo>
                      <a:lnTo>
                        <a:pt x="0" y="263"/>
                      </a:lnTo>
                      <a:lnTo>
                        <a:pt x="0" y="245"/>
                      </a:lnTo>
                      <a:lnTo>
                        <a:pt x="2" y="228"/>
                      </a:lnTo>
                      <a:lnTo>
                        <a:pt x="6" y="213"/>
                      </a:lnTo>
                      <a:lnTo>
                        <a:pt x="11" y="199"/>
                      </a:lnTo>
                      <a:lnTo>
                        <a:pt x="17" y="184"/>
                      </a:lnTo>
                      <a:lnTo>
                        <a:pt x="24" y="171"/>
                      </a:lnTo>
                      <a:lnTo>
                        <a:pt x="33" y="158"/>
                      </a:lnTo>
                      <a:lnTo>
                        <a:pt x="43" y="146"/>
                      </a:lnTo>
                      <a:lnTo>
                        <a:pt x="53" y="133"/>
                      </a:lnTo>
                      <a:lnTo>
                        <a:pt x="65" y="121"/>
                      </a:lnTo>
                      <a:lnTo>
                        <a:pt x="92" y="99"/>
                      </a:lnTo>
                      <a:lnTo>
                        <a:pt x="121" y="75"/>
                      </a:lnTo>
                      <a:lnTo>
                        <a:pt x="155" y="50"/>
                      </a:lnTo>
                      <a:lnTo>
                        <a:pt x="155" y="50"/>
                      </a:lnTo>
                      <a:close/>
                    </a:path>
                  </a:pathLst>
                </a:custGeom>
                <a:solidFill>
                  <a:srgbClr val="292D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6" name="Freeform 333"/>
                <p:cNvSpPr>
                  <a:spLocks/>
                </p:cNvSpPr>
                <p:nvPr userDrawn="1"/>
              </p:nvSpPr>
              <p:spPr bwMode="auto">
                <a:xfrm>
                  <a:off x="12547146" y="877386"/>
                  <a:ext cx="207963" cy="287338"/>
                </a:xfrm>
                <a:custGeom>
                  <a:avLst/>
                  <a:gdLst>
                    <a:gd name="T0" fmla="*/ 214 w 262"/>
                    <a:gd name="T1" fmla="*/ 361 h 361"/>
                    <a:gd name="T2" fmla="*/ 214 w 262"/>
                    <a:gd name="T3" fmla="*/ 361 h 361"/>
                    <a:gd name="T4" fmla="*/ 224 w 262"/>
                    <a:gd name="T5" fmla="*/ 361 h 361"/>
                    <a:gd name="T6" fmla="*/ 224 w 262"/>
                    <a:gd name="T7" fmla="*/ 361 h 361"/>
                    <a:gd name="T8" fmla="*/ 230 w 262"/>
                    <a:gd name="T9" fmla="*/ 359 h 361"/>
                    <a:gd name="T10" fmla="*/ 235 w 262"/>
                    <a:gd name="T11" fmla="*/ 355 h 361"/>
                    <a:gd name="T12" fmla="*/ 237 w 262"/>
                    <a:gd name="T13" fmla="*/ 350 h 361"/>
                    <a:gd name="T14" fmla="*/ 238 w 262"/>
                    <a:gd name="T15" fmla="*/ 343 h 361"/>
                    <a:gd name="T16" fmla="*/ 238 w 262"/>
                    <a:gd name="T17" fmla="*/ 343 h 361"/>
                    <a:gd name="T18" fmla="*/ 236 w 262"/>
                    <a:gd name="T19" fmla="*/ 337 h 361"/>
                    <a:gd name="T20" fmla="*/ 232 w 262"/>
                    <a:gd name="T21" fmla="*/ 333 h 361"/>
                    <a:gd name="T22" fmla="*/ 228 w 262"/>
                    <a:gd name="T23" fmla="*/ 330 h 361"/>
                    <a:gd name="T24" fmla="*/ 220 w 262"/>
                    <a:gd name="T25" fmla="*/ 329 h 361"/>
                    <a:gd name="T26" fmla="*/ 220 w 262"/>
                    <a:gd name="T27" fmla="*/ 329 h 361"/>
                    <a:gd name="T28" fmla="*/ 209 w 262"/>
                    <a:gd name="T29" fmla="*/ 329 h 361"/>
                    <a:gd name="T30" fmla="*/ 199 w 262"/>
                    <a:gd name="T31" fmla="*/ 327 h 361"/>
                    <a:gd name="T32" fmla="*/ 191 w 262"/>
                    <a:gd name="T33" fmla="*/ 323 h 361"/>
                    <a:gd name="T34" fmla="*/ 185 w 262"/>
                    <a:gd name="T35" fmla="*/ 318 h 361"/>
                    <a:gd name="T36" fmla="*/ 180 w 262"/>
                    <a:gd name="T37" fmla="*/ 312 h 361"/>
                    <a:gd name="T38" fmla="*/ 176 w 262"/>
                    <a:gd name="T39" fmla="*/ 306 h 361"/>
                    <a:gd name="T40" fmla="*/ 173 w 262"/>
                    <a:gd name="T41" fmla="*/ 297 h 361"/>
                    <a:gd name="T42" fmla="*/ 261 w 262"/>
                    <a:gd name="T43" fmla="*/ 128 h 361"/>
                    <a:gd name="T44" fmla="*/ 261 w 262"/>
                    <a:gd name="T45" fmla="*/ 128 h 361"/>
                    <a:gd name="T46" fmla="*/ 262 w 262"/>
                    <a:gd name="T47" fmla="*/ 121 h 361"/>
                    <a:gd name="T48" fmla="*/ 261 w 262"/>
                    <a:gd name="T49" fmla="*/ 115 h 361"/>
                    <a:gd name="T50" fmla="*/ 261 w 262"/>
                    <a:gd name="T51" fmla="*/ 115 h 361"/>
                    <a:gd name="T52" fmla="*/ 258 w 262"/>
                    <a:gd name="T53" fmla="*/ 109 h 361"/>
                    <a:gd name="T54" fmla="*/ 252 w 262"/>
                    <a:gd name="T55" fmla="*/ 105 h 361"/>
                    <a:gd name="T56" fmla="*/ 23 w 262"/>
                    <a:gd name="T57" fmla="*/ 1 h 361"/>
                    <a:gd name="T58" fmla="*/ 23 w 262"/>
                    <a:gd name="T59" fmla="*/ 1 h 361"/>
                    <a:gd name="T60" fmla="*/ 17 w 262"/>
                    <a:gd name="T61" fmla="*/ 0 h 361"/>
                    <a:gd name="T62" fmla="*/ 11 w 262"/>
                    <a:gd name="T63" fmla="*/ 1 h 361"/>
                    <a:gd name="T64" fmla="*/ 6 w 262"/>
                    <a:gd name="T65" fmla="*/ 3 h 361"/>
                    <a:gd name="T66" fmla="*/ 3 w 262"/>
                    <a:gd name="T67" fmla="*/ 9 h 361"/>
                    <a:gd name="T68" fmla="*/ 3 w 262"/>
                    <a:gd name="T69" fmla="*/ 9 h 361"/>
                    <a:gd name="T70" fmla="*/ 0 w 262"/>
                    <a:gd name="T71" fmla="*/ 15 h 361"/>
                    <a:gd name="T72" fmla="*/ 2 w 262"/>
                    <a:gd name="T73" fmla="*/ 21 h 361"/>
                    <a:gd name="T74" fmla="*/ 5 w 262"/>
                    <a:gd name="T75" fmla="*/ 26 h 361"/>
                    <a:gd name="T76" fmla="*/ 10 w 262"/>
                    <a:gd name="T77" fmla="*/ 29 h 361"/>
                    <a:gd name="T78" fmla="*/ 224 w 262"/>
                    <a:gd name="T79" fmla="*/ 128 h 361"/>
                    <a:gd name="T80" fmla="*/ 142 w 262"/>
                    <a:gd name="T81" fmla="*/ 287 h 361"/>
                    <a:gd name="T82" fmla="*/ 142 w 262"/>
                    <a:gd name="T83" fmla="*/ 287 h 361"/>
                    <a:gd name="T84" fmla="*/ 141 w 262"/>
                    <a:gd name="T85" fmla="*/ 291 h 361"/>
                    <a:gd name="T86" fmla="*/ 141 w 262"/>
                    <a:gd name="T87" fmla="*/ 296 h 361"/>
                    <a:gd name="T88" fmla="*/ 141 w 262"/>
                    <a:gd name="T89" fmla="*/ 296 h 361"/>
                    <a:gd name="T90" fmla="*/ 142 w 262"/>
                    <a:gd name="T91" fmla="*/ 305 h 361"/>
                    <a:gd name="T92" fmla="*/ 145 w 262"/>
                    <a:gd name="T93" fmla="*/ 316 h 361"/>
                    <a:gd name="T94" fmla="*/ 151 w 262"/>
                    <a:gd name="T95" fmla="*/ 327 h 361"/>
                    <a:gd name="T96" fmla="*/ 159 w 262"/>
                    <a:gd name="T97" fmla="*/ 337 h 361"/>
                    <a:gd name="T98" fmla="*/ 168 w 262"/>
                    <a:gd name="T99" fmla="*/ 347 h 361"/>
                    <a:gd name="T100" fmla="*/ 174 w 262"/>
                    <a:gd name="T101" fmla="*/ 352 h 361"/>
                    <a:gd name="T102" fmla="*/ 181 w 262"/>
                    <a:gd name="T103" fmla="*/ 354 h 361"/>
                    <a:gd name="T104" fmla="*/ 188 w 262"/>
                    <a:gd name="T105" fmla="*/ 357 h 361"/>
                    <a:gd name="T106" fmla="*/ 195 w 262"/>
                    <a:gd name="T107" fmla="*/ 360 h 361"/>
                    <a:gd name="T108" fmla="*/ 205 w 262"/>
                    <a:gd name="T109" fmla="*/ 361 h 361"/>
                    <a:gd name="T110" fmla="*/ 214 w 262"/>
                    <a:gd name="T111" fmla="*/ 361 h 361"/>
                    <a:gd name="T112" fmla="*/ 214 w 262"/>
                    <a:gd name="T113"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2" h="361">
                      <a:moveTo>
                        <a:pt x="214" y="361"/>
                      </a:moveTo>
                      <a:lnTo>
                        <a:pt x="214" y="361"/>
                      </a:lnTo>
                      <a:lnTo>
                        <a:pt x="224" y="361"/>
                      </a:lnTo>
                      <a:lnTo>
                        <a:pt x="224" y="361"/>
                      </a:lnTo>
                      <a:lnTo>
                        <a:pt x="230" y="359"/>
                      </a:lnTo>
                      <a:lnTo>
                        <a:pt x="235" y="355"/>
                      </a:lnTo>
                      <a:lnTo>
                        <a:pt x="237" y="350"/>
                      </a:lnTo>
                      <a:lnTo>
                        <a:pt x="238" y="343"/>
                      </a:lnTo>
                      <a:lnTo>
                        <a:pt x="238" y="343"/>
                      </a:lnTo>
                      <a:lnTo>
                        <a:pt x="236" y="337"/>
                      </a:lnTo>
                      <a:lnTo>
                        <a:pt x="232" y="333"/>
                      </a:lnTo>
                      <a:lnTo>
                        <a:pt x="228" y="330"/>
                      </a:lnTo>
                      <a:lnTo>
                        <a:pt x="220" y="329"/>
                      </a:lnTo>
                      <a:lnTo>
                        <a:pt x="220" y="329"/>
                      </a:lnTo>
                      <a:lnTo>
                        <a:pt x="209" y="329"/>
                      </a:lnTo>
                      <a:lnTo>
                        <a:pt x="199" y="327"/>
                      </a:lnTo>
                      <a:lnTo>
                        <a:pt x="191" y="323"/>
                      </a:lnTo>
                      <a:lnTo>
                        <a:pt x="185" y="318"/>
                      </a:lnTo>
                      <a:lnTo>
                        <a:pt x="180" y="312"/>
                      </a:lnTo>
                      <a:lnTo>
                        <a:pt x="176" y="306"/>
                      </a:lnTo>
                      <a:lnTo>
                        <a:pt x="173" y="297"/>
                      </a:lnTo>
                      <a:lnTo>
                        <a:pt x="261" y="128"/>
                      </a:lnTo>
                      <a:lnTo>
                        <a:pt x="261" y="128"/>
                      </a:lnTo>
                      <a:lnTo>
                        <a:pt x="262" y="121"/>
                      </a:lnTo>
                      <a:lnTo>
                        <a:pt x="261" y="115"/>
                      </a:lnTo>
                      <a:lnTo>
                        <a:pt x="261" y="115"/>
                      </a:lnTo>
                      <a:lnTo>
                        <a:pt x="258" y="109"/>
                      </a:lnTo>
                      <a:lnTo>
                        <a:pt x="252" y="105"/>
                      </a:lnTo>
                      <a:lnTo>
                        <a:pt x="23" y="1"/>
                      </a:lnTo>
                      <a:lnTo>
                        <a:pt x="23" y="1"/>
                      </a:lnTo>
                      <a:lnTo>
                        <a:pt x="17" y="0"/>
                      </a:lnTo>
                      <a:lnTo>
                        <a:pt x="11" y="1"/>
                      </a:lnTo>
                      <a:lnTo>
                        <a:pt x="6" y="3"/>
                      </a:lnTo>
                      <a:lnTo>
                        <a:pt x="3" y="9"/>
                      </a:lnTo>
                      <a:lnTo>
                        <a:pt x="3" y="9"/>
                      </a:lnTo>
                      <a:lnTo>
                        <a:pt x="0" y="15"/>
                      </a:lnTo>
                      <a:lnTo>
                        <a:pt x="2" y="21"/>
                      </a:lnTo>
                      <a:lnTo>
                        <a:pt x="5" y="26"/>
                      </a:lnTo>
                      <a:lnTo>
                        <a:pt x="10" y="29"/>
                      </a:lnTo>
                      <a:lnTo>
                        <a:pt x="224" y="128"/>
                      </a:lnTo>
                      <a:lnTo>
                        <a:pt x="142" y="287"/>
                      </a:lnTo>
                      <a:lnTo>
                        <a:pt x="142" y="287"/>
                      </a:lnTo>
                      <a:lnTo>
                        <a:pt x="141" y="291"/>
                      </a:lnTo>
                      <a:lnTo>
                        <a:pt x="141" y="296"/>
                      </a:lnTo>
                      <a:lnTo>
                        <a:pt x="141" y="296"/>
                      </a:lnTo>
                      <a:lnTo>
                        <a:pt x="142" y="305"/>
                      </a:lnTo>
                      <a:lnTo>
                        <a:pt x="145" y="316"/>
                      </a:lnTo>
                      <a:lnTo>
                        <a:pt x="151" y="327"/>
                      </a:lnTo>
                      <a:lnTo>
                        <a:pt x="159" y="337"/>
                      </a:lnTo>
                      <a:lnTo>
                        <a:pt x="168" y="347"/>
                      </a:lnTo>
                      <a:lnTo>
                        <a:pt x="174" y="352"/>
                      </a:lnTo>
                      <a:lnTo>
                        <a:pt x="181" y="354"/>
                      </a:lnTo>
                      <a:lnTo>
                        <a:pt x="188" y="357"/>
                      </a:lnTo>
                      <a:lnTo>
                        <a:pt x="195" y="360"/>
                      </a:lnTo>
                      <a:lnTo>
                        <a:pt x="205" y="361"/>
                      </a:lnTo>
                      <a:lnTo>
                        <a:pt x="214" y="361"/>
                      </a:lnTo>
                      <a:lnTo>
                        <a:pt x="214" y="361"/>
                      </a:lnTo>
                      <a:close/>
                    </a:path>
                  </a:pathLst>
                </a:custGeom>
                <a:solidFill>
                  <a:srgbClr val="148C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7" name="Freeform 334"/>
                <p:cNvSpPr>
                  <a:spLocks/>
                </p:cNvSpPr>
                <p:nvPr userDrawn="1"/>
              </p:nvSpPr>
              <p:spPr bwMode="auto">
                <a:xfrm>
                  <a:off x="12394746" y="648786"/>
                  <a:ext cx="182563" cy="63500"/>
                </a:xfrm>
                <a:custGeom>
                  <a:avLst/>
                  <a:gdLst>
                    <a:gd name="T0" fmla="*/ 114 w 228"/>
                    <a:gd name="T1" fmla="*/ 78 h 78"/>
                    <a:gd name="T2" fmla="*/ 76 w 228"/>
                    <a:gd name="T3" fmla="*/ 74 h 78"/>
                    <a:gd name="T4" fmla="*/ 46 w 228"/>
                    <a:gd name="T5" fmla="*/ 62 h 78"/>
                    <a:gd name="T6" fmla="*/ 21 w 228"/>
                    <a:gd name="T7" fmla="*/ 46 h 78"/>
                    <a:gd name="T8" fmla="*/ 5 w 228"/>
                    <a:gd name="T9" fmla="*/ 32 h 78"/>
                    <a:gd name="T10" fmla="*/ 2 w 228"/>
                    <a:gd name="T11" fmla="*/ 30 h 78"/>
                    <a:gd name="T12" fmla="*/ 0 w 228"/>
                    <a:gd name="T13" fmla="*/ 19 h 78"/>
                    <a:gd name="T14" fmla="*/ 2 w 228"/>
                    <a:gd name="T15" fmla="*/ 8 h 78"/>
                    <a:gd name="T16" fmla="*/ 5 w 228"/>
                    <a:gd name="T17" fmla="*/ 6 h 78"/>
                    <a:gd name="T18" fmla="*/ 11 w 228"/>
                    <a:gd name="T19" fmla="*/ 1 h 78"/>
                    <a:gd name="T20" fmla="*/ 25 w 228"/>
                    <a:gd name="T21" fmla="*/ 1 h 78"/>
                    <a:gd name="T22" fmla="*/ 31 w 228"/>
                    <a:gd name="T23" fmla="*/ 6 h 78"/>
                    <a:gd name="T24" fmla="*/ 44 w 228"/>
                    <a:gd name="T25" fmla="*/ 17 h 78"/>
                    <a:gd name="T26" fmla="*/ 63 w 228"/>
                    <a:gd name="T27" fmla="*/ 28 h 78"/>
                    <a:gd name="T28" fmla="*/ 86 w 228"/>
                    <a:gd name="T29" fmla="*/ 37 h 78"/>
                    <a:gd name="T30" fmla="*/ 114 w 228"/>
                    <a:gd name="T31" fmla="*/ 40 h 78"/>
                    <a:gd name="T32" fmla="*/ 131 w 228"/>
                    <a:gd name="T33" fmla="*/ 39 h 78"/>
                    <a:gd name="T34" fmla="*/ 159 w 228"/>
                    <a:gd name="T35" fmla="*/ 32 h 78"/>
                    <a:gd name="T36" fmla="*/ 180 w 228"/>
                    <a:gd name="T37" fmla="*/ 21 h 78"/>
                    <a:gd name="T38" fmla="*/ 195 w 228"/>
                    <a:gd name="T39" fmla="*/ 7 h 78"/>
                    <a:gd name="T40" fmla="*/ 197 w 228"/>
                    <a:gd name="T41" fmla="*/ 5 h 78"/>
                    <a:gd name="T42" fmla="*/ 207 w 228"/>
                    <a:gd name="T43" fmla="*/ 0 h 78"/>
                    <a:gd name="T44" fmla="*/ 218 w 228"/>
                    <a:gd name="T45" fmla="*/ 2 h 78"/>
                    <a:gd name="T46" fmla="*/ 221 w 228"/>
                    <a:gd name="T47" fmla="*/ 5 h 78"/>
                    <a:gd name="T48" fmla="*/ 226 w 228"/>
                    <a:gd name="T49" fmla="*/ 9 h 78"/>
                    <a:gd name="T50" fmla="*/ 227 w 228"/>
                    <a:gd name="T51" fmla="*/ 24 h 78"/>
                    <a:gd name="T52" fmla="*/ 224 w 228"/>
                    <a:gd name="T53" fmla="*/ 31 h 78"/>
                    <a:gd name="T54" fmla="*/ 214 w 228"/>
                    <a:gd name="T55" fmla="*/ 42 h 78"/>
                    <a:gd name="T56" fmla="*/ 190 w 228"/>
                    <a:gd name="T57" fmla="*/ 58 h 78"/>
                    <a:gd name="T58" fmla="*/ 162 w 228"/>
                    <a:gd name="T59" fmla="*/ 71 h 78"/>
                    <a:gd name="T60" fmla="*/ 131 w 228"/>
                    <a:gd name="T61" fmla="*/ 77 h 78"/>
                    <a:gd name="T62" fmla="*/ 114 w 228"/>
                    <a:gd name="T6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8" h="78">
                      <a:moveTo>
                        <a:pt x="114" y="78"/>
                      </a:moveTo>
                      <a:lnTo>
                        <a:pt x="114" y="78"/>
                      </a:lnTo>
                      <a:lnTo>
                        <a:pt x="94" y="77"/>
                      </a:lnTo>
                      <a:lnTo>
                        <a:pt x="76" y="74"/>
                      </a:lnTo>
                      <a:lnTo>
                        <a:pt x="61" y="68"/>
                      </a:lnTo>
                      <a:lnTo>
                        <a:pt x="46" y="62"/>
                      </a:lnTo>
                      <a:lnTo>
                        <a:pt x="33" y="55"/>
                      </a:lnTo>
                      <a:lnTo>
                        <a:pt x="21" y="46"/>
                      </a:lnTo>
                      <a:lnTo>
                        <a:pt x="13" y="39"/>
                      </a:lnTo>
                      <a:lnTo>
                        <a:pt x="5" y="32"/>
                      </a:lnTo>
                      <a:lnTo>
                        <a:pt x="5" y="32"/>
                      </a:lnTo>
                      <a:lnTo>
                        <a:pt x="2" y="30"/>
                      </a:lnTo>
                      <a:lnTo>
                        <a:pt x="1" y="26"/>
                      </a:lnTo>
                      <a:lnTo>
                        <a:pt x="0" y="19"/>
                      </a:lnTo>
                      <a:lnTo>
                        <a:pt x="1" y="12"/>
                      </a:lnTo>
                      <a:lnTo>
                        <a:pt x="2" y="8"/>
                      </a:lnTo>
                      <a:lnTo>
                        <a:pt x="5" y="6"/>
                      </a:lnTo>
                      <a:lnTo>
                        <a:pt x="5" y="6"/>
                      </a:lnTo>
                      <a:lnTo>
                        <a:pt x="7" y="4"/>
                      </a:lnTo>
                      <a:lnTo>
                        <a:pt x="11" y="1"/>
                      </a:lnTo>
                      <a:lnTo>
                        <a:pt x="18" y="0"/>
                      </a:lnTo>
                      <a:lnTo>
                        <a:pt x="25" y="1"/>
                      </a:lnTo>
                      <a:lnTo>
                        <a:pt x="29" y="4"/>
                      </a:lnTo>
                      <a:lnTo>
                        <a:pt x="31" y="6"/>
                      </a:lnTo>
                      <a:lnTo>
                        <a:pt x="31" y="6"/>
                      </a:lnTo>
                      <a:lnTo>
                        <a:pt x="44" y="17"/>
                      </a:lnTo>
                      <a:lnTo>
                        <a:pt x="52" y="23"/>
                      </a:lnTo>
                      <a:lnTo>
                        <a:pt x="63" y="28"/>
                      </a:lnTo>
                      <a:lnTo>
                        <a:pt x="74" y="33"/>
                      </a:lnTo>
                      <a:lnTo>
                        <a:pt x="86" y="37"/>
                      </a:lnTo>
                      <a:lnTo>
                        <a:pt x="99" y="39"/>
                      </a:lnTo>
                      <a:lnTo>
                        <a:pt x="114" y="40"/>
                      </a:lnTo>
                      <a:lnTo>
                        <a:pt x="114" y="40"/>
                      </a:lnTo>
                      <a:lnTo>
                        <a:pt x="131" y="39"/>
                      </a:lnTo>
                      <a:lnTo>
                        <a:pt x="146" y="37"/>
                      </a:lnTo>
                      <a:lnTo>
                        <a:pt x="159" y="32"/>
                      </a:lnTo>
                      <a:lnTo>
                        <a:pt x="170" y="27"/>
                      </a:lnTo>
                      <a:lnTo>
                        <a:pt x="180" y="21"/>
                      </a:lnTo>
                      <a:lnTo>
                        <a:pt x="187" y="15"/>
                      </a:lnTo>
                      <a:lnTo>
                        <a:pt x="195" y="7"/>
                      </a:lnTo>
                      <a:lnTo>
                        <a:pt x="195" y="7"/>
                      </a:lnTo>
                      <a:lnTo>
                        <a:pt x="197" y="5"/>
                      </a:lnTo>
                      <a:lnTo>
                        <a:pt x="200" y="2"/>
                      </a:lnTo>
                      <a:lnTo>
                        <a:pt x="207" y="0"/>
                      </a:lnTo>
                      <a:lnTo>
                        <a:pt x="214" y="1"/>
                      </a:lnTo>
                      <a:lnTo>
                        <a:pt x="218" y="2"/>
                      </a:lnTo>
                      <a:lnTo>
                        <a:pt x="221" y="5"/>
                      </a:lnTo>
                      <a:lnTo>
                        <a:pt x="221" y="5"/>
                      </a:lnTo>
                      <a:lnTo>
                        <a:pt x="224" y="7"/>
                      </a:lnTo>
                      <a:lnTo>
                        <a:pt x="226" y="9"/>
                      </a:lnTo>
                      <a:lnTo>
                        <a:pt x="228" y="17"/>
                      </a:lnTo>
                      <a:lnTo>
                        <a:pt x="227" y="24"/>
                      </a:lnTo>
                      <a:lnTo>
                        <a:pt x="226" y="27"/>
                      </a:lnTo>
                      <a:lnTo>
                        <a:pt x="224" y="31"/>
                      </a:lnTo>
                      <a:lnTo>
                        <a:pt x="224" y="31"/>
                      </a:lnTo>
                      <a:lnTo>
                        <a:pt x="214" y="42"/>
                      </a:lnTo>
                      <a:lnTo>
                        <a:pt x="203" y="51"/>
                      </a:lnTo>
                      <a:lnTo>
                        <a:pt x="190" y="58"/>
                      </a:lnTo>
                      <a:lnTo>
                        <a:pt x="177" y="65"/>
                      </a:lnTo>
                      <a:lnTo>
                        <a:pt x="162" y="71"/>
                      </a:lnTo>
                      <a:lnTo>
                        <a:pt x="146" y="75"/>
                      </a:lnTo>
                      <a:lnTo>
                        <a:pt x="131" y="77"/>
                      </a:lnTo>
                      <a:lnTo>
                        <a:pt x="114" y="78"/>
                      </a:lnTo>
                      <a:lnTo>
                        <a:pt x="114" y="78"/>
                      </a:lnTo>
                      <a:close/>
                    </a:path>
                  </a:pathLst>
                </a:custGeom>
                <a:solidFill>
                  <a:srgbClr val="292D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8" name="Freeform 335"/>
                <p:cNvSpPr>
                  <a:spLocks/>
                </p:cNvSpPr>
                <p:nvPr userDrawn="1"/>
              </p:nvSpPr>
              <p:spPr bwMode="auto">
                <a:xfrm>
                  <a:off x="12394746" y="936124"/>
                  <a:ext cx="68263" cy="66675"/>
                </a:xfrm>
                <a:custGeom>
                  <a:avLst/>
                  <a:gdLst>
                    <a:gd name="T0" fmla="*/ 43 w 86"/>
                    <a:gd name="T1" fmla="*/ 0 h 85"/>
                    <a:gd name="T2" fmla="*/ 43 w 86"/>
                    <a:gd name="T3" fmla="*/ 0 h 85"/>
                    <a:gd name="T4" fmla="*/ 34 w 86"/>
                    <a:gd name="T5" fmla="*/ 2 h 85"/>
                    <a:gd name="T6" fmla="*/ 26 w 86"/>
                    <a:gd name="T7" fmla="*/ 4 h 85"/>
                    <a:gd name="T8" fmla="*/ 19 w 86"/>
                    <a:gd name="T9" fmla="*/ 7 h 85"/>
                    <a:gd name="T10" fmla="*/ 13 w 86"/>
                    <a:gd name="T11" fmla="*/ 12 h 85"/>
                    <a:gd name="T12" fmla="*/ 7 w 86"/>
                    <a:gd name="T13" fmla="*/ 19 h 85"/>
                    <a:gd name="T14" fmla="*/ 4 w 86"/>
                    <a:gd name="T15" fmla="*/ 27 h 85"/>
                    <a:gd name="T16" fmla="*/ 1 w 86"/>
                    <a:gd name="T17" fmla="*/ 34 h 85"/>
                    <a:gd name="T18" fmla="*/ 0 w 86"/>
                    <a:gd name="T19" fmla="*/ 42 h 85"/>
                    <a:gd name="T20" fmla="*/ 0 w 86"/>
                    <a:gd name="T21" fmla="*/ 42 h 85"/>
                    <a:gd name="T22" fmla="*/ 1 w 86"/>
                    <a:gd name="T23" fmla="*/ 51 h 85"/>
                    <a:gd name="T24" fmla="*/ 4 w 86"/>
                    <a:gd name="T25" fmla="*/ 59 h 85"/>
                    <a:gd name="T26" fmla="*/ 7 w 86"/>
                    <a:gd name="T27" fmla="*/ 66 h 85"/>
                    <a:gd name="T28" fmla="*/ 13 w 86"/>
                    <a:gd name="T29" fmla="*/ 73 h 85"/>
                    <a:gd name="T30" fmla="*/ 19 w 86"/>
                    <a:gd name="T31" fmla="*/ 78 h 85"/>
                    <a:gd name="T32" fmla="*/ 26 w 86"/>
                    <a:gd name="T33" fmla="*/ 81 h 85"/>
                    <a:gd name="T34" fmla="*/ 34 w 86"/>
                    <a:gd name="T35" fmla="*/ 84 h 85"/>
                    <a:gd name="T36" fmla="*/ 43 w 86"/>
                    <a:gd name="T37" fmla="*/ 85 h 85"/>
                    <a:gd name="T38" fmla="*/ 43 w 86"/>
                    <a:gd name="T39" fmla="*/ 85 h 85"/>
                    <a:gd name="T40" fmla="*/ 51 w 86"/>
                    <a:gd name="T41" fmla="*/ 84 h 85"/>
                    <a:gd name="T42" fmla="*/ 59 w 86"/>
                    <a:gd name="T43" fmla="*/ 81 h 85"/>
                    <a:gd name="T44" fmla="*/ 67 w 86"/>
                    <a:gd name="T45" fmla="*/ 78 h 85"/>
                    <a:gd name="T46" fmla="*/ 73 w 86"/>
                    <a:gd name="T47" fmla="*/ 73 h 85"/>
                    <a:gd name="T48" fmla="*/ 77 w 86"/>
                    <a:gd name="T49" fmla="*/ 66 h 85"/>
                    <a:gd name="T50" fmla="*/ 82 w 86"/>
                    <a:gd name="T51" fmla="*/ 59 h 85"/>
                    <a:gd name="T52" fmla="*/ 84 w 86"/>
                    <a:gd name="T53" fmla="*/ 51 h 85"/>
                    <a:gd name="T54" fmla="*/ 86 w 86"/>
                    <a:gd name="T55" fmla="*/ 42 h 85"/>
                    <a:gd name="T56" fmla="*/ 86 w 86"/>
                    <a:gd name="T57" fmla="*/ 42 h 85"/>
                    <a:gd name="T58" fmla="*/ 84 w 86"/>
                    <a:gd name="T59" fmla="*/ 34 h 85"/>
                    <a:gd name="T60" fmla="*/ 82 w 86"/>
                    <a:gd name="T61" fmla="*/ 27 h 85"/>
                    <a:gd name="T62" fmla="*/ 77 w 86"/>
                    <a:gd name="T63" fmla="*/ 19 h 85"/>
                    <a:gd name="T64" fmla="*/ 73 w 86"/>
                    <a:gd name="T65" fmla="*/ 12 h 85"/>
                    <a:gd name="T66" fmla="*/ 67 w 86"/>
                    <a:gd name="T67" fmla="*/ 7 h 85"/>
                    <a:gd name="T68" fmla="*/ 59 w 86"/>
                    <a:gd name="T69" fmla="*/ 4 h 85"/>
                    <a:gd name="T70" fmla="*/ 51 w 86"/>
                    <a:gd name="T71" fmla="*/ 2 h 85"/>
                    <a:gd name="T72" fmla="*/ 43 w 86"/>
                    <a:gd name="T73"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6" h="85">
                      <a:moveTo>
                        <a:pt x="43" y="0"/>
                      </a:moveTo>
                      <a:lnTo>
                        <a:pt x="43" y="0"/>
                      </a:lnTo>
                      <a:lnTo>
                        <a:pt x="34" y="2"/>
                      </a:lnTo>
                      <a:lnTo>
                        <a:pt x="26" y="4"/>
                      </a:lnTo>
                      <a:lnTo>
                        <a:pt x="19" y="7"/>
                      </a:lnTo>
                      <a:lnTo>
                        <a:pt x="13" y="12"/>
                      </a:lnTo>
                      <a:lnTo>
                        <a:pt x="7" y="19"/>
                      </a:lnTo>
                      <a:lnTo>
                        <a:pt x="4" y="27"/>
                      </a:lnTo>
                      <a:lnTo>
                        <a:pt x="1" y="34"/>
                      </a:lnTo>
                      <a:lnTo>
                        <a:pt x="0" y="42"/>
                      </a:lnTo>
                      <a:lnTo>
                        <a:pt x="0" y="42"/>
                      </a:lnTo>
                      <a:lnTo>
                        <a:pt x="1" y="51"/>
                      </a:lnTo>
                      <a:lnTo>
                        <a:pt x="4" y="59"/>
                      </a:lnTo>
                      <a:lnTo>
                        <a:pt x="7" y="66"/>
                      </a:lnTo>
                      <a:lnTo>
                        <a:pt x="13" y="73"/>
                      </a:lnTo>
                      <a:lnTo>
                        <a:pt x="19" y="78"/>
                      </a:lnTo>
                      <a:lnTo>
                        <a:pt x="26" y="81"/>
                      </a:lnTo>
                      <a:lnTo>
                        <a:pt x="34" y="84"/>
                      </a:lnTo>
                      <a:lnTo>
                        <a:pt x="43" y="85"/>
                      </a:lnTo>
                      <a:lnTo>
                        <a:pt x="43" y="85"/>
                      </a:lnTo>
                      <a:lnTo>
                        <a:pt x="51" y="84"/>
                      </a:lnTo>
                      <a:lnTo>
                        <a:pt x="59" y="81"/>
                      </a:lnTo>
                      <a:lnTo>
                        <a:pt x="67" y="78"/>
                      </a:lnTo>
                      <a:lnTo>
                        <a:pt x="73" y="73"/>
                      </a:lnTo>
                      <a:lnTo>
                        <a:pt x="77" y="66"/>
                      </a:lnTo>
                      <a:lnTo>
                        <a:pt x="82" y="59"/>
                      </a:lnTo>
                      <a:lnTo>
                        <a:pt x="84" y="51"/>
                      </a:lnTo>
                      <a:lnTo>
                        <a:pt x="86" y="42"/>
                      </a:lnTo>
                      <a:lnTo>
                        <a:pt x="86" y="42"/>
                      </a:lnTo>
                      <a:lnTo>
                        <a:pt x="84" y="34"/>
                      </a:lnTo>
                      <a:lnTo>
                        <a:pt x="82" y="27"/>
                      </a:lnTo>
                      <a:lnTo>
                        <a:pt x="77" y="19"/>
                      </a:lnTo>
                      <a:lnTo>
                        <a:pt x="73" y="12"/>
                      </a:lnTo>
                      <a:lnTo>
                        <a:pt x="67" y="7"/>
                      </a:lnTo>
                      <a:lnTo>
                        <a:pt x="59" y="4"/>
                      </a:lnTo>
                      <a:lnTo>
                        <a:pt x="51" y="2"/>
                      </a:lnTo>
                      <a:lnTo>
                        <a:pt x="43" y="0"/>
                      </a:lnTo>
                      <a:close/>
                    </a:path>
                  </a:pathLst>
                </a:custGeom>
                <a:solidFill>
                  <a:srgbClr val="75D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89" name="Freeform 336"/>
                <p:cNvSpPr>
                  <a:spLocks/>
                </p:cNvSpPr>
                <p:nvPr userDrawn="1"/>
              </p:nvSpPr>
              <p:spPr bwMode="auto">
                <a:xfrm>
                  <a:off x="12394746" y="936124"/>
                  <a:ext cx="68263" cy="66675"/>
                </a:xfrm>
                <a:custGeom>
                  <a:avLst/>
                  <a:gdLst>
                    <a:gd name="T0" fmla="*/ 43 w 86"/>
                    <a:gd name="T1" fmla="*/ 0 h 85"/>
                    <a:gd name="T2" fmla="*/ 43 w 86"/>
                    <a:gd name="T3" fmla="*/ 0 h 85"/>
                    <a:gd name="T4" fmla="*/ 34 w 86"/>
                    <a:gd name="T5" fmla="*/ 2 h 85"/>
                    <a:gd name="T6" fmla="*/ 26 w 86"/>
                    <a:gd name="T7" fmla="*/ 4 h 85"/>
                    <a:gd name="T8" fmla="*/ 19 w 86"/>
                    <a:gd name="T9" fmla="*/ 7 h 85"/>
                    <a:gd name="T10" fmla="*/ 13 w 86"/>
                    <a:gd name="T11" fmla="*/ 12 h 85"/>
                    <a:gd name="T12" fmla="*/ 7 w 86"/>
                    <a:gd name="T13" fmla="*/ 19 h 85"/>
                    <a:gd name="T14" fmla="*/ 4 w 86"/>
                    <a:gd name="T15" fmla="*/ 27 h 85"/>
                    <a:gd name="T16" fmla="*/ 1 w 86"/>
                    <a:gd name="T17" fmla="*/ 34 h 85"/>
                    <a:gd name="T18" fmla="*/ 0 w 86"/>
                    <a:gd name="T19" fmla="*/ 42 h 85"/>
                    <a:gd name="T20" fmla="*/ 0 w 86"/>
                    <a:gd name="T21" fmla="*/ 42 h 85"/>
                    <a:gd name="T22" fmla="*/ 1 w 86"/>
                    <a:gd name="T23" fmla="*/ 51 h 85"/>
                    <a:gd name="T24" fmla="*/ 4 w 86"/>
                    <a:gd name="T25" fmla="*/ 59 h 85"/>
                    <a:gd name="T26" fmla="*/ 7 w 86"/>
                    <a:gd name="T27" fmla="*/ 66 h 85"/>
                    <a:gd name="T28" fmla="*/ 13 w 86"/>
                    <a:gd name="T29" fmla="*/ 73 h 85"/>
                    <a:gd name="T30" fmla="*/ 19 w 86"/>
                    <a:gd name="T31" fmla="*/ 78 h 85"/>
                    <a:gd name="T32" fmla="*/ 26 w 86"/>
                    <a:gd name="T33" fmla="*/ 81 h 85"/>
                    <a:gd name="T34" fmla="*/ 34 w 86"/>
                    <a:gd name="T35" fmla="*/ 84 h 85"/>
                    <a:gd name="T36" fmla="*/ 43 w 86"/>
                    <a:gd name="T37" fmla="*/ 85 h 85"/>
                    <a:gd name="T38" fmla="*/ 43 w 86"/>
                    <a:gd name="T39" fmla="*/ 85 h 85"/>
                    <a:gd name="T40" fmla="*/ 51 w 86"/>
                    <a:gd name="T41" fmla="*/ 84 h 85"/>
                    <a:gd name="T42" fmla="*/ 59 w 86"/>
                    <a:gd name="T43" fmla="*/ 81 h 85"/>
                    <a:gd name="T44" fmla="*/ 67 w 86"/>
                    <a:gd name="T45" fmla="*/ 78 h 85"/>
                    <a:gd name="T46" fmla="*/ 73 w 86"/>
                    <a:gd name="T47" fmla="*/ 73 h 85"/>
                    <a:gd name="T48" fmla="*/ 77 w 86"/>
                    <a:gd name="T49" fmla="*/ 66 h 85"/>
                    <a:gd name="T50" fmla="*/ 82 w 86"/>
                    <a:gd name="T51" fmla="*/ 59 h 85"/>
                    <a:gd name="T52" fmla="*/ 84 w 86"/>
                    <a:gd name="T53" fmla="*/ 51 h 85"/>
                    <a:gd name="T54" fmla="*/ 86 w 86"/>
                    <a:gd name="T55" fmla="*/ 42 h 85"/>
                    <a:gd name="T56" fmla="*/ 86 w 86"/>
                    <a:gd name="T57" fmla="*/ 42 h 85"/>
                    <a:gd name="T58" fmla="*/ 84 w 86"/>
                    <a:gd name="T59" fmla="*/ 34 h 85"/>
                    <a:gd name="T60" fmla="*/ 82 w 86"/>
                    <a:gd name="T61" fmla="*/ 27 h 85"/>
                    <a:gd name="T62" fmla="*/ 77 w 86"/>
                    <a:gd name="T63" fmla="*/ 19 h 85"/>
                    <a:gd name="T64" fmla="*/ 73 w 86"/>
                    <a:gd name="T65" fmla="*/ 12 h 85"/>
                    <a:gd name="T66" fmla="*/ 67 w 86"/>
                    <a:gd name="T67" fmla="*/ 7 h 85"/>
                    <a:gd name="T68" fmla="*/ 59 w 86"/>
                    <a:gd name="T69" fmla="*/ 4 h 85"/>
                    <a:gd name="T70" fmla="*/ 51 w 86"/>
                    <a:gd name="T71" fmla="*/ 2 h 85"/>
                    <a:gd name="T72" fmla="*/ 43 w 86"/>
                    <a:gd name="T73"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6" h="85">
                      <a:moveTo>
                        <a:pt x="43" y="0"/>
                      </a:moveTo>
                      <a:lnTo>
                        <a:pt x="43" y="0"/>
                      </a:lnTo>
                      <a:lnTo>
                        <a:pt x="34" y="2"/>
                      </a:lnTo>
                      <a:lnTo>
                        <a:pt x="26" y="4"/>
                      </a:lnTo>
                      <a:lnTo>
                        <a:pt x="19" y="7"/>
                      </a:lnTo>
                      <a:lnTo>
                        <a:pt x="13" y="12"/>
                      </a:lnTo>
                      <a:lnTo>
                        <a:pt x="7" y="19"/>
                      </a:lnTo>
                      <a:lnTo>
                        <a:pt x="4" y="27"/>
                      </a:lnTo>
                      <a:lnTo>
                        <a:pt x="1" y="34"/>
                      </a:lnTo>
                      <a:lnTo>
                        <a:pt x="0" y="42"/>
                      </a:lnTo>
                      <a:lnTo>
                        <a:pt x="0" y="42"/>
                      </a:lnTo>
                      <a:lnTo>
                        <a:pt x="1" y="51"/>
                      </a:lnTo>
                      <a:lnTo>
                        <a:pt x="4" y="59"/>
                      </a:lnTo>
                      <a:lnTo>
                        <a:pt x="7" y="66"/>
                      </a:lnTo>
                      <a:lnTo>
                        <a:pt x="13" y="73"/>
                      </a:lnTo>
                      <a:lnTo>
                        <a:pt x="19" y="78"/>
                      </a:lnTo>
                      <a:lnTo>
                        <a:pt x="26" y="81"/>
                      </a:lnTo>
                      <a:lnTo>
                        <a:pt x="34" y="84"/>
                      </a:lnTo>
                      <a:lnTo>
                        <a:pt x="43" y="85"/>
                      </a:lnTo>
                      <a:lnTo>
                        <a:pt x="43" y="85"/>
                      </a:lnTo>
                      <a:lnTo>
                        <a:pt x="51" y="84"/>
                      </a:lnTo>
                      <a:lnTo>
                        <a:pt x="59" y="81"/>
                      </a:lnTo>
                      <a:lnTo>
                        <a:pt x="67" y="78"/>
                      </a:lnTo>
                      <a:lnTo>
                        <a:pt x="73" y="73"/>
                      </a:lnTo>
                      <a:lnTo>
                        <a:pt x="77" y="66"/>
                      </a:lnTo>
                      <a:lnTo>
                        <a:pt x="82" y="59"/>
                      </a:lnTo>
                      <a:lnTo>
                        <a:pt x="84" y="51"/>
                      </a:lnTo>
                      <a:lnTo>
                        <a:pt x="86" y="42"/>
                      </a:lnTo>
                      <a:lnTo>
                        <a:pt x="86" y="42"/>
                      </a:lnTo>
                      <a:lnTo>
                        <a:pt x="84" y="34"/>
                      </a:lnTo>
                      <a:lnTo>
                        <a:pt x="82" y="27"/>
                      </a:lnTo>
                      <a:lnTo>
                        <a:pt x="77" y="19"/>
                      </a:lnTo>
                      <a:lnTo>
                        <a:pt x="73" y="12"/>
                      </a:lnTo>
                      <a:lnTo>
                        <a:pt x="67" y="7"/>
                      </a:lnTo>
                      <a:lnTo>
                        <a:pt x="59" y="4"/>
                      </a:lnTo>
                      <a:lnTo>
                        <a:pt x="51" y="2"/>
                      </a:lnTo>
                      <a:lnTo>
                        <a:pt x="4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0" name="Freeform 337"/>
                <p:cNvSpPr>
                  <a:spLocks/>
                </p:cNvSpPr>
                <p:nvPr userDrawn="1"/>
              </p:nvSpPr>
              <p:spPr bwMode="auto">
                <a:xfrm>
                  <a:off x="12356646" y="1039311"/>
                  <a:ext cx="106363" cy="106363"/>
                </a:xfrm>
                <a:custGeom>
                  <a:avLst/>
                  <a:gdLst>
                    <a:gd name="T0" fmla="*/ 67 w 133"/>
                    <a:gd name="T1" fmla="*/ 0 h 133"/>
                    <a:gd name="T2" fmla="*/ 67 w 133"/>
                    <a:gd name="T3" fmla="*/ 0 h 133"/>
                    <a:gd name="T4" fmla="*/ 54 w 133"/>
                    <a:gd name="T5" fmla="*/ 1 h 133"/>
                    <a:gd name="T6" fmla="*/ 41 w 133"/>
                    <a:gd name="T7" fmla="*/ 5 h 133"/>
                    <a:gd name="T8" fmla="*/ 29 w 133"/>
                    <a:gd name="T9" fmla="*/ 12 h 133"/>
                    <a:gd name="T10" fmla="*/ 19 w 133"/>
                    <a:gd name="T11" fmla="*/ 19 h 133"/>
                    <a:gd name="T12" fmla="*/ 11 w 133"/>
                    <a:gd name="T13" fmla="*/ 30 h 133"/>
                    <a:gd name="T14" fmla="*/ 5 w 133"/>
                    <a:gd name="T15" fmla="*/ 40 h 133"/>
                    <a:gd name="T16" fmla="*/ 1 w 133"/>
                    <a:gd name="T17" fmla="*/ 53 h 133"/>
                    <a:gd name="T18" fmla="*/ 0 w 133"/>
                    <a:gd name="T19" fmla="*/ 66 h 133"/>
                    <a:gd name="T20" fmla="*/ 0 w 133"/>
                    <a:gd name="T21" fmla="*/ 66 h 133"/>
                    <a:gd name="T22" fmla="*/ 1 w 133"/>
                    <a:gd name="T23" fmla="*/ 80 h 133"/>
                    <a:gd name="T24" fmla="*/ 5 w 133"/>
                    <a:gd name="T25" fmla="*/ 93 h 133"/>
                    <a:gd name="T26" fmla="*/ 11 w 133"/>
                    <a:gd name="T27" fmla="*/ 105 h 133"/>
                    <a:gd name="T28" fmla="*/ 19 w 133"/>
                    <a:gd name="T29" fmla="*/ 114 h 133"/>
                    <a:gd name="T30" fmla="*/ 29 w 133"/>
                    <a:gd name="T31" fmla="*/ 122 h 133"/>
                    <a:gd name="T32" fmla="*/ 41 w 133"/>
                    <a:gd name="T33" fmla="*/ 128 h 133"/>
                    <a:gd name="T34" fmla="*/ 54 w 133"/>
                    <a:gd name="T35" fmla="*/ 132 h 133"/>
                    <a:gd name="T36" fmla="*/ 67 w 133"/>
                    <a:gd name="T37" fmla="*/ 133 h 133"/>
                    <a:gd name="T38" fmla="*/ 67 w 133"/>
                    <a:gd name="T39" fmla="*/ 133 h 133"/>
                    <a:gd name="T40" fmla="*/ 80 w 133"/>
                    <a:gd name="T41" fmla="*/ 132 h 133"/>
                    <a:gd name="T42" fmla="*/ 93 w 133"/>
                    <a:gd name="T43" fmla="*/ 128 h 133"/>
                    <a:gd name="T44" fmla="*/ 104 w 133"/>
                    <a:gd name="T45" fmla="*/ 122 h 133"/>
                    <a:gd name="T46" fmla="*/ 114 w 133"/>
                    <a:gd name="T47" fmla="*/ 114 h 133"/>
                    <a:gd name="T48" fmla="*/ 122 w 133"/>
                    <a:gd name="T49" fmla="*/ 105 h 133"/>
                    <a:gd name="T50" fmla="*/ 129 w 133"/>
                    <a:gd name="T51" fmla="*/ 93 h 133"/>
                    <a:gd name="T52" fmla="*/ 132 w 133"/>
                    <a:gd name="T53" fmla="*/ 80 h 133"/>
                    <a:gd name="T54" fmla="*/ 133 w 133"/>
                    <a:gd name="T55" fmla="*/ 66 h 133"/>
                    <a:gd name="T56" fmla="*/ 133 w 133"/>
                    <a:gd name="T57" fmla="*/ 66 h 133"/>
                    <a:gd name="T58" fmla="*/ 132 w 133"/>
                    <a:gd name="T59" fmla="*/ 53 h 133"/>
                    <a:gd name="T60" fmla="*/ 129 w 133"/>
                    <a:gd name="T61" fmla="*/ 40 h 133"/>
                    <a:gd name="T62" fmla="*/ 122 w 133"/>
                    <a:gd name="T63" fmla="*/ 30 h 133"/>
                    <a:gd name="T64" fmla="*/ 114 w 133"/>
                    <a:gd name="T65" fmla="*/ 19 h 133"/>
                    <a:gd name="T66" fmla="*/ 104 w 133"/>
                    <a:gd name="T67" fmla="*/ 12 h 133"/>
                    <a:gd name="T68" fmla="*/ 93 w 133"/>
                    <a:gd name="T69" fmla="*/ 5 h 133"/>
                    <a:gd name="T70" fmla="*/ 80 w 133"/>
                    <a:gd name="T71" fmla="*/ 1 h 133"/>
                    <a:gd name="T72" fmla="*/ 67 w 133"/>
                    <a:gd name="T73"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3" h="133">
                      <a:moveTo>
                        <a:pt x="67" y="0"/>
                      </a:moveTo>
                      <a:lnTo>
                        <a:pt x="67" y="0"/>
                      </a:lnTo>
                      <a:lnTo>
                        <a:pt x="54" y="1"/>
                      </a:lnTo>
                      <a:lnTo>
                        <a:pt x="41" y="5"/>
                      </a:lnTo>
                      <a:lnTo>
                        <a:pt x="29" y="12"/>
                      </a:lnTo>
                      <a:lnTo>
                        <a:pt x="19" y="19"/>
                      </a:lnTo>
                      <a:lnTo>
                        <a:pt x="11" y="30"/>
                      </a:lnTo>
                      <a:lnTo>
                        <a:pt x="5" y="40"/>
                      </a:lnTo>
                      <a:lnTo>
                        <a:pt x="1" y="53"/>
                      </a:lnTo>
                      <a:lnTo>
                        <a:pt x="0" y="66"/>
                      </a:lnTo>
                      <a:lnTo>
                        <a:pt x="0" y="66"/>
                      </a:lnTo>
                      <a:lnTo>
                        <a:pt x="1" y="80"/>
                      </a:lnTo>
                      <a:lnTo>
                        <a:pt x="5" y="93"/>
                      </a:lnTo>
                      <a:lnTo>
                        <a:pt x="11" y="105"/>
                      </a:lnTo>
                      <a:lnTo>
                        <a:pt x="19" y="114"/>
                      </a:lnTo>
                      <a:lnTo>
                        <a:pt x="29" y="122"/>
                      </a:lnTo>
                      <a:lnTo>
                        <a:pt x="41" y="128"/>
                      </a:lnTo>
                      <a:lnTo>
                        <a:pt x="54" y="132"/>
                      </a:lnTo>
                      <a:lnTo>
                        <a:pt x="67" y="133"/>
                      </a:lnTo>
                      <a:lnTo>
                        <a:pt x="67" y="133"/>
                      </a:lnTo>
                      <a:lnTo>
                        <a:pt x="80" y="132"/>
                      </a:lnTo>
                      <a:lnTo>
                        <a:pt x="93" y="128"/>
                      </a:lnTo>
                      <a:lnTo>
                        <a:pt x="104" y="122"/>
                      </a:lnTo>
                      <a:lnTo>
                        <a:pt x="114" y="114"/>
                      </a:lnTo>
                      <a:lnTo>
                        <a:pt x="122" y="105"/>
                      </a:lnTo>
                      <a:lnTo>
                        <a:pt x="129" y="93"/>
                      </a:lnTo>
                      <a:lnTo>
                        <a:pt x="132" y="80"/>
                      </a:lnTo>
                      <a:lnTo>
                        <a:pt x="133" y="66"/>
                      </a:lnTo>
                      <a:lnTo>
                        <a:pt x="133" y="66"/>
                      </a:lnTo>
                      <a:lnTo>
                        <a:pt x="132" y="53"/>
                      </a:lnTo>
                      <a:lnTo>
                        <a:pt x="129" y="40"/>
                      </a:lnTo>
                      <a:lnTo>
                        <a:pt x="122" y="30"/>
                      </a:lnTo>
                      <a:lnTo>
                        <a:pt x="114" y="19"/>
                      </a:lnTo>
                      <a:lnTo>
                        <a:pt x="104" y="12"/>
                      </a:lnTo>
                      <a:lnTo>
                        <a:pt x="93" y="5"/>
                      </a:lnTo>
                      <a:lnTo>
                        <a:pt x="80" y="1"/>
                      </a:lnTo>
                      <a:lnTo>
                        <a:pt x="67" y="0"/>
                      </a:lnTo>
                      <a:close/>
                    </a:path>
                  </a:pathLst>
                </a:custGeom>
                <a:solidFill>
                  <a:srgbClr val="75D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1" name="Freeform 338"/>
                <p:cNvSpPr>
                  <a:spLocks/>
                </p:cNvSpPr>
                <p:nvPr userDrawn="1"/>
              </p:nvSpPr>
              <p:spPr bwMode="auto">
                <a:xfrm>
                  <a:off x="12356646" y="1039311"/>
                  <a:ext cx="106363" cy="106363"/>
                </a:xfrm>
                <a:custGeom>
                  <a:avLst/>
                  <a:gdLst>
                    <a:gd name="T0" fmla="*/ 67 w 133"/>
                    <a:gd name="T1" fmla="*/ 0 h 133"/>
                    <a:gd name="T2" fmla="*/ 67 w 133"/>
                    <a:gd name="T3" fmla="*/ 0 h 133"/>
                    <a:gd name="T4" fmla="*/ 54 w 133"/>
                    <a:gd name="T5" fmla="*/ 1 h 133"/>
                    <a:gd name="T6" fmla="*/ 41 w 133"/>
                    <a:gd name="T7" fmla="*/ 5 h 133"/>
                    <a:gd name="T8" fmla="*/ 29 w 133"/>
                    <a:gd name="T9" fmla="*/ 12 h 133"/>
                    <a:gd name="T10" fmla="*/ 19 w 133"/>
                    <a:gd name="T11" fmla="*/ 19 h 133"/>
                    <a:gd name="T12" fmla="*/ 11 w 133"/>
                    <a:gd name="T13" fmla="*/ 30 h 133"/>
                    <a:gd name="T14" fmla="*/ 5 w 133"/>
                    <a:gd name="T15" fmla="*/ 40 h 133"/>
                    <a:gd name="T16" fmla="*/ 1 w 133"/>
                    <a:gd name="T17" fmla="*/ 53 h 133"/>
                    <a:gd name="T18" fmla="*/ 0 w 133"/>
                    <a:gd name="T19" fmla="*/ 66 h 133"/>
                    <a:gd name="T20" fmla="*/ 0 w 133"/>
                    <a:gd name="T21" fmla="*/ 66 h 133"/>
                    <a:gd name="T22" fmla="*/ 1 w 133"/>
                    <a:gd name="T23" fmla="*/ 80 h 133"/>
                    <a:gd name="T24" fmla="*/ 5 w 133"/>
                    <a:gd name="T25" fmla="*/ 93 h 133"/>
                    <a:gd name="T26" fmla="*/ 11 w 133"/>
                    <a:gd name="T27" fmla="*/ 105 h 133"/>
                    <a:gd name="T28" fmla="*/ 19 w 133"/>
                    <a:gd name="T29" fmla="*/ 114 h 133"/>
                    <a:gd name="T30" fmla="*/ 29 w 133"/>
                    <a:gd name="T31" fmla="*/ 122 h 133"/>
                    <a:gd name="T32" fmla="*/ 41 w 133"/>
                    <a:gd name="T33" fmla="*/ 128 h 133"/>
                    <a:gd name="T34" fmla="*/ 54 w 133"/>
                    <a:gd name="T35" fmla="*/ 132 h 133"/>
                    <a:gd name="T36" fmla="*/ 67 w 133"/>
                    <a:gd name="T37" fmla="*/ 133 h 133"/>
                    <a:gd name="T38" fmla="*/ 67 w 133"/>
                    <a:gd name="T39" fmla="*/ 133 h 133"/>
                    <a:gd name="T40" fmla="*/ 80 w 133"/>
                    <a:gd name="T41" fmla="*/ 132 h 133"/>
                    <a:gd name="T42" fmla="*/ 93 w 133"/>
                    <a:gd name="T43" fmla="*/ 128 h 133"/>
                    <a:gd name="T44" fmla="*/ 104 w 133"/>
                    <a:gd name="T45" fmla="*/ 122 h 133"/>
                    <a:gd name="T46" fmla="*/ 114 w 133"/>
                    <a:gd name="T47" fmla="*/ 114 h 133"/>
                    <a:gd name="T48" fmla="*/ 122 w 133"/>
                    <a:gd name="T49" fmla="*/ 105 h 133"/>
                    <a:gd name="T50" fmla="*/ 129 w 133"/>
                    <a:gd name="T51" fmla="*/ 93 h 133"/>
                    <a:gd name="T52" fmla="*/ 132 w 133"/>
                    <a:gd name="T53" fmla="*/ 80 h 133"/>
                    <a:gd name="T54" fmla="*/ 133 w 133"/>
                    <a:gd name="T55" fmla="*/ 66 h 133"/>
                    <a:gd name="T56" fmla="*/ 133 w 133"/>
                    <a:gd name="T57" fmla="*/ 66 h 133"/>
                    <a:gd name="T58" fmla="*/ 132 w 133"/>
                    <a:gd name="T59" fmla="*/ 53 h 133"/>
                    <a:gd name="T60" fmla="*/ 129 w 133"/>
                    <a:gd name="T61" fmla="*/ 40 h 133"/>
                    <a:gd name="T62" fmla="*/ 122 w 133"/>
                    <a:gd name="T63" fmla="*/ 30 h 133"/>
                    <a:gd name="T64" fmla="*/ 114 w 133"/>
                    <a:gd name="T65" fmla="*/ 19 h 133"/>
                    <a:gd name="T66" fmla="*/ 104 w 133"/>
                    <a:gd name="T67" fmla="*/ 12 h 133"/>
                    <a:gd name="T68" fmla="*/ 93 w 133"/>
                    <a:gd name="T69" fmla="*/ 5 h 133"/>
                    <a:gd name="T70" fmla="*/ 80 w 133"/>
                    <a:gd name="T71" fmla="*/ 1 h 133"/>
                    <a:gd name="T72" fmla="*/ 67 w 133"/>
                    <a:gd name="T73"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3" h="133">
                      <a:moveTo>
                        <a:pt x="67" y="0"/>
                      </a:moveTo>
                      <a:lnTo>
                        <a:pt x="67" y="0"/>
                      </a:lnTo>
                      <a:lnTo>
                        <a:pt x="54" y="1"/>
                      </a:lnTo>
                      <a:lnTo>
                        <a:pt x="41" y="5"/>
                      </a:lnTo>
                      <a:lnTo>
                        <a:pt x="29" y="12"/>
                      </a:lnTo>
                      <a:lnTo>
                        <a:pt x="19" y="19"/>
                      </a:lnTo>
                      <a:lnTo>
                        <a:pt x="11" y="30"/>
                      </a:lnTo>
                      <a:lnTo>
                        <a:pt x="5" y="40"/>
                      </a:lnTo>
                      <a:lnTo>
                        <a:pt x="1" y="53"/>
                      </a:lnTo>
                      <a:lnTo>
                        <a:pt x="0" y="66"/>
                      </a:lnTo>
                      <a:lnTo>
                        <a:pt x="0" y="66"/>
                      </a:lnTo>
                      <a:lnTo>
                        <a:pt x="1" y="80"/>
                      </a:lnTo>
                      <a:lnTo>
                        <a:pt x="5" y="93"/>
                      </a:lnTo>
                      <a:lnTo>
                        <a:pt x="11" y="105"/>
                      </a:lnTo>
                      <a:lnTo>
                        <a:pt x="19" y="114"/>
                      </a:lnTo>
                      <a:lnTo>
                        <a:pt x="29" y="122"/>
                      </a:lnTo>
                      <a:lnTo>
                        <a:pt x="41" y="128"/>
                      </a:lnTo>
                      <a:lnTo>
                        <a:pt x="54" y="132"/>
                      </a:lnTo>
                      <a:lnTo>
                        <a:pt x="67" y="133"/>
                      </a:lnTo>
                      <a:lnTo>
                        <a:pt x="67" y="133"/>
                      </a:lnTo>
                      <a:lnTo>
                        <a:pt x="80" y="132"/>
                      </a:lnTo>
                      <a:lnTo>
                        <a:pt x="93" y="128"/>
                      </a:lnTo>
                      <a:lnTo>
                        <a:pt x="104" y="122"/>
                      </a:lnTo>
                      <a:lnTo>
                        <a:pt x="114" y="114"/>
                      </a:lnTo>
                      <a:lnTo>
                        <a:pt x="122" y="105"/>
                      </a:lnTo>
                      <a:lnTo>
                        <a:pt x="129" y="93"/>
                      </a:lnTo>
                      <a:lnTo>
                        <a:pt x="132" y="80"/>
                      </a:lnTo>
                      <a:lnTo>
                        <a:pt x="133" y="66"/>
                      </a:lnTo>
                      <a:lnTo>
                        <a:pt x="133" y="66"/>
                      </a:lnTo>
                      <a:lnTo>
                        <a:pt x="132" y="53"/>
                      </a:lnTo>
                      <a:lnTo>
                        <a:pt x="129" y="40"/>
                      </a:lnTo>
                      <a:lnTo>
                        <a:pt x="122" y="30"/>
                      </a:lnTo>
                      <a:lnTo>
                        <a:pt x="114" y="19"/>
                      </a:lnTo>
                      <a:lnTo>
                        <a:pt x="104" y="12"/>
                      </a:lnTo>
                      <a:lnTo>
                        <a:pt x="93" y="5"/>
                      </a:lnTo>
                      <a:lnTo>
                        <a:pt x="80" y="1"/>
                      </a:lnTo>
                      <a:lnTo>
                        <a:pt x="6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2" name="Freeform 339"/>
                <p:cNvSpPr>
                  <a:spLocks/>
                </p:cNvSpPr>
                <p:nvPr userDrawn="1"/>
              </p:nvSpPr>
              <p:spPr bwMode="auto">
                <a:xfrm>
                  <a:off x="12216946" y="305886"/>
                  <a:ext cx="103188" cy="104775"/>
                </a:xfrm>
                <a:custGeom>
                  <a:avLst/>
                  <a:gdLst>
                    <a:gd name="T0" fmla="*/ 131 w 131"/>
                    <a:gd name="T1" fmla="*/ 66 h 131"/>
                    <a:gd name="T2" fmla="*/ 131 w 131"/>
                    <a:gd name="T3" fmla="*/ 66 h 131"/>
                    <a:gd name="T4" fmla="*/ 130 w 131"/>
                    <a:gd name="T5" fmla="*/ 79 h 131"/>
                    <a:gd name="T6" fmla="*/ 126 w 131"/>
                    <a:gd name="T7" fmla="*/ 92 h 131"/>
                    <a:gd name="T8" fmla="*/ 120 w 131"/>
                    <a:gd name="T9" fmla="*/ 102 h 131"/>
                    <a:gd name="T10" fmla="*/ 112 w 131"/>
                    <a:gd name="T11" fmla="*/ 112 h 131"/>
                    <a:gd name="T12" fmla="*/ 102 w 131"/>
                    <a:gd name="T13" fmla="*/ 120 h 131"/>
                    <a:gd name="T14" fmla="*/ 90 w 131"/>
                    <a:gd name="T15" fmla="*/ 126 h 131"/>
                    <a:gd name="T16" fmla="*/ 79 w 131"/>
                    <a:gd name="T17" fmla="*/ 130 h 131"/>
                    <a:gd name="T18" fmla="*/ 65 w 131"/>
                    <a:gd name="T19" fmla="*/ 131 h 131"/>
                    <a:gd name="T20" fmla="*/ 65 w 131"/>
                    <a:gd name="T21" fmla="*/ 131 h 131"/>
                    <a:gd name="T22" fmla="*/ 52 w 131"/>
                    <a:gd name="T23" fmla="*/ 130 h 131"/>
                    <a:gd name="T24" fmla="*/ 40 w 131"/>
                    <a:gd name="T25" fmla="*/ 126 h 131"/>
                    <a:gd name="T26" fmla="*/ 29 w 131"/>
                    <a:gd name="T27" fmla="*/ 120 h 131"/>
                    <a:gd name="T28" fmla="*/ 19 w 131"/>
                    <a:gd name="T29" fmla="*/ 112 h 131"/>
                    <a:gd name="T30" fmla="*/ 12 w 131"/>
                    <a:gd name="T31" fmla="*/ 102 h 131"/>
                    <a:gd name="T32" fmla="*/ 5 w 131"/>
                    <a:gd name="T33" fmla="*/ 92 h 131"/>
                    <a:gd name="T34" fmla="*/ 1 w 131"/>
                    <a:gd name="T35" fmla="*/ 79 h 131"/>
                    <a:gd name="T36" fmla="*/ 0 w 131"/>
                    <a:gd name="T37" fmla="*/ 66 h 131"/>
                    <a:gd name="T38" fmla="*/ 0 w 131"/>
                    <a:gd name="T39" fmla="*/ 66 h 131"/>
                    <a:gd name="T40" fmla="*/ 1 w 131"/>
                    <a:gd name="T41" fmla="*/ 53 h 131"/>
                    <a:gd name="T42" fmla="*/ 5 w 131"/>
                    <a:gd name="T43" fmla="*/ 41 h 131"/>
                    <a:gd name="T44" fmla="*/ 12 w 131"/>
                    <a:gd name="T45" fmla="*/ 29 h 131"/>
                    <a:gd name="T46" fmla="*/ 19 w 131"/>
                    <a:gd name="T47" fmla="*/ 19 h 131"/>
                    <a:gd name="T48" fmla="*/ 29 w 131"/>
                    <a:gd name="T49" fmla="*/ 12 h 131"/>
                    <a:gd name="T50" fmla="*/ 40 w 131"/>
                    <a:gd name="T51" fmla="*/ 6 h 131"/>
                    <a:gd name="T52" fmla="*/ 52 w 131"/>
                    <a:gd name="T53" fmla="*/ 1 h 131"/>
                    <a:gd name="T54" fmla="*/ 65 w 131"/>
                    <a:gd name="T55" fmla="*/ 0 h 131"/>
                    <a:gd name="T56" fmla="*/ 65 w 131"/>
                    <a:gd name="T57" fmla="*/ 0 h 131"/>
                    <a:gd name="T58" fmla="*/ 79 w 131"/>
                    <a:gd name="T59" fmla="*/ 1 h 131"/>
                    <a:gd name="T60" fmla="*/ 90 w 131"/>
                    <a:gd name="T61" fmla="*/ 6 h 131"/>
                    <a:gd name="T62" fmla="*/ 102 w 131"/>
                    <a:gd name="T63" fmla="*/ 12 h 131"/>
                    <a:gd name="T64" fmla="*/ 112 w 131"/>
                    <a:gd name="T65" fmla="*/ 19 h 131"/>
                    <a:gd name="T66" fmla="*/ 120 w 131"/>
                    <a:gd name="T67" fmla="*/ 29 h 131"/>
                    <a:gd name="T68" fmla="*/ 126 w 131"/>
                    <a:gd name="T69" fmla="*/ 41 h 131"/>
                    <a:gd name="T70" fmla="*/ 130 w 131"/>
                    <a:gd name="T71" fmla="*/ 53 h 131"/>
                    <a:gd name="T72" fmla="*/ 131 w 131"/>
                    <a:gd name="T73" fmla="*/ 66 h 131"/>
                    <a:gd name="T74" fmla="*/ 131 w 131"/>
                    <a:gd name="T75" fmla="*/ 6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1" h="131">
                      <a:moveTo>
                        <a:pt x="131" y="66"/>
                      </a:moveTo>
                      <a:lnTo>
                        <a:pt x="131" y="66"/>
                      </a:lnTo>
                      <a:lnTo>
                        <a:pt x="130" y="79"/>
                      </a:lnTo>
                      <a:lnTo>
                        <a:pt x="126" y="92"/>
                      </a:lnTo>
                      <a:lnTo>
                        <a:pt x="120" y="102"/>
                      </a:lnTo>
                      <a:lnTo>
                        <a:pt x="112" y="112"/>
                      </a:lnTo>
                      <a:lnTo>
                        <a:pt x="102" y="120"/>
                      </a:lnTo>
                      <a:lnTo>
                        <a:pt x="90" y="126"/>
                      </a:lnTo>
                      <a:lnTo>
                        <a:pt x="79" y="130"/>
                      </a:lnTo>
                      <a:lnTo>
                        <a:pt x="65" y="131"/>
                      </a:lnTo>
                      <a:lnTo>
                        <a:pt x="65" y="131"/>
                      </a:lnTo>
                      <a:lnTo>
                        <a:pt x="52" y="130"/>
                      </a:lnTo>
                      <a:lnTo>
                        <a:pt x="40" y="126"/>
                      </a:lnTo>
                      <a:lnTo>
                        <a:pt x="29" y="120"/>
                      </a:lnTo>
                      <a:lnTo>
                        <a:pt x="19" y="112"/>
                      </a:lnTo>
                      <a:lnTo>
                        <a:pt x="12" y="102"/>
                      </a:lnTo>
                      <a:lnTo>
                        <a:pt x="5" y="92"/>
                      </a:lnTo>
                      <a:lnTo>
                        <a:pt x="1" y="79"/>
                      </a:lnTo>
                      <a:lnTo>
                        <a:pt x="0" y="66"/>
                      </a:lnTo>
                      <a:lnTo>
                        <a:pt x="0" y="66"/>
                      </a:lnTo>
                      <a:lnTo>
                        <a:pt x="1" y="53"/>
                      </a:lnTo>
                      <a:lnTo>
                        <a:pt x="5" y="41"/>
                      </a:lnTo>
                      <a:lnTo>
                        <a:pt x="12" y="29"/>
                      </a:lnTo>
                      <a:lnTo>
                        <a:pt x="19" y="19"/>
                      </a:lnTo>
                      <a:lnTo>
                        <a:pt x="29" y="12"/>
                      </a:lnTo>
                      <a:lnTo>
                        <a:pt x="40" y="6"/>
                      </a:lnTo>
                      <a:lnTo>
                        <a:pt x="52" y="1"/>
                      </a:lnTo>
                      <a:lnTo>
                        <a:pt x="65" y="0"/>
                      </a:lnTo>
                      <a:lnTo>
                        <a:pt x="65" y="0"/>
                      </a:lnTo>
                      <a:lnTo>
                        <a:pt x="79" y="1"/>
                      </a:lnTo>
                      <a:lnTo>
                        <a:pt x="90" y="6"/>
                      </a:lnTo>
                      <a:lnTo>
                        <a:pt x="102" y="12"/>
                      </a:lnTo>
                      <a:lnTo>
                        <a:pt x="112" y="19"/>
                      </a:lnTo>
                      <a:lnTo>
                        <a:pt x="120" y="29"/>
                      </a:lnTo>
                      <a:lnTo>
                        <a:pt x="126" y="41"/>
                      </a:lnTo>
                      <a:lnTo>
                        <a:pt x="130" y="53"/>
                      </a:lnTo>
                      <a:lnTo>
                        <a:pt x="131" y="66"/>
                      </a:lnTo>
                      <a:lnTo>
                        <a:pt x="131"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3" name="Freeform 340"/>
                <p:cNvSpPr>
                  <a:spLocks/>
                </p:cNvSpPr>
                <p:nvPr userDrawn="1"/>
              </p:nvSpPr>
              <p:spPr bwMode="auto">
                <a:xfrm>
                  <a:off x="12316958" y="431299"/>
                  <a:ext cx="39688" cy="39688"/>
                </a:xfrm>
                <a:custGeom>
                  <a:avLst/>
                  <a:gdLst>
                    <a:gd name="T0" fmla="*/ 51 w 51"/>
                    <a:gd name="T1" fmla="*/ 25 h 50"/>
                    <a:gd name="T2" fmla="*/ 51 w 51"/>
                    <a:gd name="T3" fmla="*/ 25 h 50"/>
                    <a:gd name="T4" fmla="*/ 50 w 51"/>
                    <a:gd name="T5" fmla="*/ 30 h 50"/>
                    <a:gd name="T6" fmla="*/ 49 w 51"/>
                    <a:gd name="T7" fmla="*/ 35 h 50"/>
                    <a:gd name="T8" fmla="*/ 46 w 51"/>
                    <a:gd name="T9" fmla="*/ 39 h 50"/>
                    <a:gd name="T10" fmla="*/ 43 w 51"/>
                    <a:gd name="T11" fmla="*/ 43 h 50"/>
                    <a:gd name="T12" fmla="*/ 39 w 51"/>
                    <a:gd name="T13" fmla="*/ 47 h 50"/>
                    <a:gd name="T14" fmla="*/ 36 w 51"/>
                    <a:gd name="T15" fmla="*/ 49 h 50"/>
                    <a:gd name="T16" fmla="*/ 31 w 51"/>
                    <a:gd name="T17" fmla="*/ 50 h 50"/>
                    <a:gd name="T18" fmla="*/ 25 w 51"/>
                    <a:gd name="T19" fmla="*/ 50 h 50"/>
                    <a:gd name="T20" fmla="*/ 25 w 51"/>
                    <a:gd name="T21" fmla="*/ 50 h 50"/>
                    <a:gd name="T22" fmla="*/ 20 w 51"/>
                    <a:gd name="T23" fmla="*/ 50 h 50"/>
                    <a:gd name="T24" fmla="*/ 16 w 51"/>
                    <a:gd name="T25" fmla="*/ 49 h 50"/>
                    <a:gd name="T26" fmla="*/ 11 w 51"/>
                    <a:gd name="T27" fmla="*/ 47 h 50"/>
                    <a:gd name="T28" fmla="*/ 7 w 51"/>
                    <a:gd name="T29" fmla="*/ 43 h 50"/>
                    <a:gd name="T30" fmla="*/ 5 w 51"/>
                    <a:gd name="T31" fmla="*/ 39 h 50"/>
                    <a:gd name="T32" fmla="*/ 2 w 51"/>
                    <a:gd name="T33" fmla="*/ 35 h 50"/>
                    <a:gd name="T34" fmla="*/ 0 w 51"/>
                    <a:gd name="T35" fmla="*/ 30 h 50"/>
                    <a:gd name="T36" fmla="*/ 0 w 51"/>
                    <a:gd name="T37" fmla="*/ 25 h 50"/>
                    <a:gd name="T38" fmla="*/ 0 w 51"/>
                    <a:gd name="T39" fmla="*/ 25 h 50"/>
                    <a:gd name="T40" fmla="*/ 0 w 51"/>
                    <a:gd name="T41" fmla="*/ 20 h 50"/>
                    <a:gd name="T42" fmla="*/ 2 w 51"/>
                    <a:gd name="T43" fmla="*/ 16 h 50"/>
                    <a:gd name="T44" fmla="*/ 5 w 51"/>
                    <a:gd name="T45" fmla="*/ 11 h 50"/>
                    <a:gd name="T46" fmla="*/ 7 w 51"/>
                    <a:gd name="T47" fmla="*/ 7 h 50"/>
                    <a:gd name="T48" fmla="*/ 11 w 51"/>
                    <a:gd name="T49" fmla="*/ 4 h 50"/>
                    <a:gd name="T50" fmla="*/ 16 w 51"/>
                    <a:gd name="T51" fmla="*/ 1 h 50"/>
                    <a:gd name="T52" fmla="*/ 20 w 51"/>
                    <a:gd name="T53" fmla="*/ 0 h 50"/>
                    <a:gd name="T54" fmla="*/ 25 w 51"/>
                    <a:gd name="T55" fmla="*/ 0 h 50"/>
                    <a:gd name="T56" fmla="*/ 25 w 51"/>
                    <a:gd name="T57" fmla="*/ 0 h 50"/>
                    <a:gd name="T58" fmla="*/ 31 w 51"/>
                    <a:gd name="T59" fmla="*/ 0 h 50"/>
                    <a:gd name="T60" fmla="*/ 36 w 51"/>
                    <a:gd name="T61" fmla="*/ 1 h 50"/>
                    <a:gd name="T62" fmla="*/ 39 w 51"/>
                    <a:gd name="T63" fmla="*/ 4 h 50"/>
                    <a:gd name="T64" fmla="*/ 43 w 51"/>
                    <a:gd name="T65" fmla="*/ 7 h 50"/>
                    <a:gd name="T66" fmla="*/ 46 w 51"/>
                    <a:gd name="T67" fmla="*/ 11 h 50"/>
                    <a:gd name="T68" fmla="*/ 49 w 51"/>
                    <a:gd name="T69" fmla="*/ 16 h 50"/>
                    <a:gd name="T70" fmla="*/ 50 w 51"/>
                    <a:gd name="T71" fmla="*/ 20 h 50"/>
                    <a:gd name="T72" fmla="*/ 51 w 51"/>
                    <a:gd name="T73" fmla="*/ 25 h 50"/>
                    <a:gd name="T74" fmla="*/ 51 w 51"/>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 h="50">
                      <a:moveTo>
                        <a:pt x="51" y="25"/>
                      </a:moveTo>
                      <a:lnTo>
                        <a:pt x="51" y="25"/>
                      </a:lnTo>
                      <a:lnTo>
                        <a:pt x="50" y="30"/>
                      </a:lnTo>
                      <a:lnTo>
                        <a:pt x="49" y="35"/>
                      </a:lnTo>
                      <a:lnTo>
                        <a:pt x="46" y="39"/>
                      </a:lnTo>
                      <a:lnTo>
                        <a:pt x="43" y="43"/>
                      </a:lnTo>
                      <a:lnTo>
                        <a:pt x="39" y="47"/>
                      </a:lnTo>
                      <a:lnTo>
                        <a:pt x="36" y="49"/>
                      </a:lnTo>
                      <a:lnTo>
                        <a:pt x="31" y="50"/>
                      </a:lnTo>
                      <a:lnTo>
                        <a:pt x="25" y="50"/>
                      </a:lnTo>
                      <a:lnTo>
                        <a:pt x="25" y="50"/>
                      </a:lnTo>
                      <a:lnTo>
                        <a:pt x="20" y="50"/>
                      </a:lnTo>
                      <a:lnTo>
                        <a:pt x="16" y="49"/>
                      </a:lnTo>
                      <a:lnTo>
                        <a:pt x="11" y="47"/>
                      </a:lnTo>
                      <a:lnTo>
                        <a:pt x="7" y="43"/>
                      </a:lnTo>
                      <a:lnTo>
                        <a:pt x="5" y="39"/>
                      </a:lnTo>
                      <a:lnTo>
                        <a:pt x="2" y="35"/>
                      </a:lnTo>
                      <a:lnTo>
                        <a:pt x="0" y="30"/>
                      </a:lnTo>
                      <a:lnTo>
                        <a:pt x="0" y="25"/>
                      </a:lnTo>
                      <a:lnTo>
                        <a:pt x="0" y="25"/>
                      </a:lnTo>
                      <a:lnTo>
                        <a:pt x="0" y="20"/>
                      </a:lnTo>
                      <a:lnTo>
                        <a:pt x="2" y="16"/>
                      </a:lnTo>
                      <a:lnTo>
                        <a:pt x="5" y="11"/>
                      </a:lnTo>
                      <a:lnTo>
                        <a:pt x="7" y="7"/>
                      </a:lnTo>
                      <a:lnTo>
                        <a:pt x="11" y="4"/>
                      </a:lnTo>
                      <a:lnTo>
                        <a:pt x="16" y="1"/>
                      </a:lnTo>
                      <a:lnTo>
                        <a:pt x="20" y="0"/>
                      </a:lnTo>
                      <a:lnTo>
                        <a:pt x="25" y="0"/>
                      </a:lnTo>
                      <a:lnTo>
                        <a:pt x="25" y="0"/>
                      </a:lnTo>
                      <a:lnTo>
                        <a:pt x="31" y="0"/>
                      </a:lnTo>
                      <a:lnTo>
                        <a:pt x="36" y="1"/>
                      </a:lnTo>
                      <a:lnTo>
                        <a:pt x="39" y="4"/>
                      </a:lnTo>
                      <a:lnTo>
                        <a:pt x="43" y="7"/>
                      </a:lnTo>
                      <a:lnTo>
                        <a:pt x="46" y="11"/>
                      </a:lnTo>
                      <a:lnTo>
                        <a:pt x="49" y="16"/>
                      </a:lnTo>
                      <a:lnTo>
                        <a:pt x="50" y="20"/>
                      </a:lnTo>
                      <a:lnTo>
                        <a:pt x="51" y="25"/>
                      </a:lnTo>
                      <a:lnTo>
                        <a:pt x="51"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4" name="Freeform 341"/>
                <p:cNvSpPr>
                  <a:spLocks/>
                </p:cNvSpPr>
                <p:nvPr userDrawn="1"/>
              </p:nvSpPr>
              <p:spPr bwMode="auto">
                <a:xfrm>
                  <a:off x="12674146" y="323349"/>
                  <a:ext cx="68263" cy="69850"/>
                </a:xfrm>
                <a:custGeom>
                  <a:avLst/>
                  <a:gdLst>
                    <a:gd name="T0" fmla="*/ 87 w 87"/>
                    <a:gd name="T1" fmla="*/ 43 h 87"/>
                    <a:gd name="T2" fmla="*/ 87 w 87"/>
                    <a:gd name="T3" fmla="*/ 43 h 87"/>
                    <a:gd name="T4" fmla="*/ 87 w 87"/>
                    <a:gd name="T5" fmla="*/ 52 h 87"/>
                    <a:gd name="T6" fmla="*/ 84 w 87"/>
                    <a:gd name="T7" fmla="*/ 59 h 87"/>
                    <a:gd name="T8" fmla="*/ 79 w 87"/>
                    <a:gd name="T9" fmla="*/ 68 h 87"/>
                    <a:gd name="T10" fmla="*/ 75 w 87"/>
                    <a:gd name="T11" fmla="*/ 74 h 87"/>
                    <a:gd name="T12" fmla="*/ 68 w 87"/>
                    <a:gd name="T13" fmla="*/ 79 h 87"/>
                    <a:gd name="T14" fmla="*/ 60 w 87"/>
                    <a:gd name="T15" fmla="*/ 83 h 87"/>
                    <a:gd name="T16" fmla="*/ 52 w 87"/>
                    <a:gd name="T17" fmla="*/ 85 h 87"/>
                    <a:gd name="T18" fmla="*/ 44 w 87"/>
                    <a:gd name="T19" fmla="*/ 87 h 87"/>
                    <a:gd name="T20" fmla="*/ 44 w 87"/>
                    <a:gd name="T21" fmla="*/ 87 h 87"/>
                    <a:gd name="T22" fmla="*/ 34 w 87"/>
                    <a:gd name="T23" fmla="*/ 85 h 87"/>
                    <a:gd name="T24" fmla="*/ 27 w 87"/>
                    <a:gd name="T25" fmla="*/ 83 h 87"/>
                    <a:gd name="T26" fmla="*/ 19 w 87"/>
                    <a:gd name="T27" fmla="*/ 79 h 87"/>
                    <a:gd name="T28" fmla="*/ 13 w 87"/>
                    <a:gd name="T29" fmla="*/ 74 h 87"/>
                    <a:gd name="T30" fmla="*/ 7 w 87"/>
                    <a:gd name="T31" fmla="*/ 68 h 87"/>
                    <a:gd name="T32" fmla="*/ 3 w 87"/>
                    <a:gd name="T33" fmla="*/ 59 h 87"/>
                    <a:gd name="T34" fmla="*/ 1 w 87"/>
                    <a:gd name="T35" fmla="*/ 52 h 87"/>
                    <a:gd name="T36" fmla="*/ 0 w 87"/>
                    <a:gd name="T37" fmla="*/ 43 h 87"/>
                    <a:gd name="T38" fmla="*/ 0 w 87"/>
                    <a:gd name="T39" fmla="*/ 43 h 87"/>
                    <a:gd name="T40" fmla="*/ 1 w 87"/>
                    <a:gd name="T41" fmla="*/ 34 h 87"/>
                    <a:gd name="T42" fmla="*/ 3 w 87"/>
                    <a:gd name="T43" fmla="*/ 26 h 87"/>
                    <a:gd name="T44" fmla="*/ 7 w 87"/>
                    <a:gd name="T45" fmla="*/ 19 h 87"/>
                    <a:gd name="T46" fmla="*/ 13 w 87"/>
                    <a:gd name="T47" fmla="*/ 12 h 87"/>
                    <a:gd name="T48" fmla="*/ 19 w 87"/>
                    <a:gd name="T49" fmla="*/ 7 h 87"/>
                    <a:gd name="T50" fmla="*/ 27 w 87"/>
                    <a:gd name="T51" fmla="*/ 2 h 87"/>
                    <a:gd name="T52" fmla="*/ 34 w 87"/>
                    <a:gd name="T53" fmla="*/ 0 h 87"/>
                    <a:gd name="T54" fmla="*/ 44 w 87"/>
                    <a:gd name="T55" fmla="*/ 0 h 87"/>
                    <a:gd name="T56" fmla="*/ 44 w 87"/>
                    <a:gd name="T57" fmla="*/ 0 h 87"/>
                    <a:gd name="T58" fmla="*/ 52 w 87"/>
                    <a:gd name="T59" fmla="*/ 0 h 87"/>
                    <a:gd name="T60" fmla="*/ 60 w 87"/>
                    <a:gd name="T61" fmla="*/ 2 h 87"/>
                    <a:gd name="T62" fmla="*/ 68 w 87"/>
                    <a:gd name="T63" fmla="*/ 7 h 87"/>
                    <a:gd name="T64" fmla="*/ 75 w 87"/>
                    <a:gd name="T65" fmla="*/ 12 h 87"/>
                    <a:gd name="T66" fmla="*/ 79 w 87"/>
                    <a:gd name="T67" fmla="*/ 19 h 87"/>
                    <a:gd name="T68" fmla="*/ 84 w 87"/>
                    <a:gd name="T69" fmla="*/ 26 h 87"/>
                    <a:gd name="T70" fmla="*/ 87 w 87"/>
                    <a:gd name="T71" fmla="*/ 34 h 87"/>
                    <a:gd name="T72" fmla="*/ 87 w 87"/>
                    <a:gd name="T73" fmla="*/ 43 h 87"/>
                    <a:gd name="T74" fmla="*/ 87 w 87"/>
                    <a:gd name="T75" fmla="*/ 43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7" h="87">
                      <a:moveTo>
                        <a:pt x="87" y="43"/>
                      </a:moveTo>
                      <a:lnTo>
                        <a:pt x="87" y="43"/>
                      </a:lnTo>
                      <a:lnTo>
                        <a:pt x="87" y="52"/>
                      </a:lnTo>
                      <a:lnTo>
                        <a:pt x="84" y="59"/>
                      </a:lnTo>
                      <a:lnTo>
                        <a:pt x="79" y="68"/>
                      </a:lnTo>
                      <a:lnTo>
                        <a:pt x="75" y="74"/>
                      </a:lnTo>
                      <a:lnTo>
                        <a:pt x="68" y="79"/>
                      </a:lnTo>
                      <a:lnTo>
                        <a:pt x="60" y="83"/>
                      </a:lnTo>
                      <a:lnTo>
                        <a:pt x="52" y="85"/>
                      </a:lnTo>
                      <a:lnTo>
                        <a:pt x="44" y="87"/>
                      </a:lnTo>
                      <a:lnTo>
                        <a:pt x="44" y="87"/>
                      </a:lnTo>
                      <a:lnTo>
                        <a:pt x="34" y="85"/>
                      </a:lnTo>
                      <a:lnTo>
                        <a:pt x="27" y="83"/>
                      </a:lnTo>
                      <a:lnTo>
                        <a:pt x="19" y="79"/>
                      </a:lnTo>
                      <a:lnTo>
                        <a:pt x="13" y="74"/>
                      </a:lnTo>
                      <a:lnTo>
                        <a:pt x="7" y="68"/>
                      </a:lnTo>
                      <a:lnTo>
                        <a:pt x="3" y="59"/>
                      </a:lnTo>
                      <a:lnTo>
                        <a:pt x="1" y="52"/>
                      </a:lnTo>
                      <a:lnTo>
                        <a:pt x="0" y="43"/>
                      </a:lnTo>
                      <a:lnTo>
                        <a:pt x="0" y="43"/>
                      </a:lnTo>
                      <a:lnTo>
                        <a:pt x="1" y="34"/>
                      </a:lnTo>
                      <a:lnTo>
                        <a:pt x="3" y="26"/>
                      </a:lnTo>
                      <a:lnTo>
                        <a:pt x="7" y="19"/>
                      </a:lnTo>
                      <a:lnTo>
                        <a:pt x="13" y="12"/>
                      </a:lnTo>
                      <a:lnTo>
                        <a:pt x="19" y="7"/>
                      </a:lnTo>
                      <a:lnTo>
                        <a:pt x="27" y="2"/>
                      </a:lnTo>
                      <a:lnTo>
                        <a:pt x="34" y="0"/>
                      </a:lnTo>
                      <a:lnTo>
                        <a:pt x="44" y="0"/>
                      </a:lnTo>
                      <a:lnTo>
                        <a:pt x="44" y="0"/>
                      </a:lnTo>
                      <a:lnTo>
                        <a:pt x="52" y="0"/>
                      </a:lnTo>
                      <a:lnTo>
                        <a:pt x="60" y="2"/>
                      </a:lnTo>
                      <a:lnTo>
                        <a:pt x="68" y="7"/>
                      </a:lnTo>
                      <a:lnTo>
                        <a:pt x="75" y="12"/>
                      </a:lnTo>
                      <a:lnTo>
                        <a:pt x="79" y="19"/>
                      </a:lnTo>
                      <a:lnTo>
                        <a:pt x="84" y="26"/>
                      </a:lnTo>
                      <a:lnTo>
                        <a:pt x="87" y="34"/>
                      </a:lnTo>
                      <a:lnTo>
                        <a:pt x="87" y="43"/>
                      </a:lnTo>
                      <a:lnTo>
                        <a:pt x="87"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7548" name="그룹 7547"/>
              <p:cNvGrpSpPr/>
              <p:nvPr userDrawn="1"/>
            </p:nvGrpSpPr>
            <p:grpSpPr>
              <a:xfrm>
                <a:off x="7113126" y="1331943"/>
                <a:ext cx="482488" cy="847424"/>
                <a:chOff x="9702346" y="3499936"/>
                <a:chExt cx="873125" cy="1533525"/>
              </a:xfrm>
            </p:grpSpPr>
            <p:sp>
              <p:nvSpPr>
                <p:cNvPr id="7495" name="Rectangle 342"/>
                <p:cNvSpPr>
                  <a:spLocks noChangeArrowheads="1"/>
                </p:cNvSpPr>
                <p:nvPr userDrawn="1"/>
              </p:nvSpPr>
              <p:spPr bwMode="auto">
                <a:xfrm>
                  <a:off x="10137321" y="3971424"/>
                  <a:ext cx="198438" cy="336550"/>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6" name="Rectangle 343"/>
                <p:cNvSpPr>
                  <a:spLocks noChangeArrowheads="1"/>
                </p:cNvSpPr>
                <p:nvPr userDrawn="1"/>
              </p:nvSpPr>
              <p:spPr bwMode="auto">
                <a:xfrm>
                  <a:off x="10137321" y="3971424"/>
                  <a:ext cx="198438"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7" name="Rectangle 344"/>
                <p:cNvSpPr>
                  <a:spLocks noChangeArrowheads="1"/>
                </p:cNvSpPr>
                <p:nvPr userDrawn="1"/>
              </p:nvSpPr>
              <p:spPr bwMode="auto">
                <a:xfrm>
                  <a:off x="9816646" y="3633286"/>
                  <a:ext cx="28575" cy="254000"/>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8" name="Freeform 345"/>
                <p:cNvSpPr>
                  <a:spLocks/>
                </p:cNvSpPr>
                <p:nvPr userDrawn="1"/>
              </p:nvSpPr>
              <p:spPr bwMode="auto">
                <a:xfrm>
                  <a:off x="9862683" y="3661861"/>
                  <a:ext cx="95250" cy="125413"/>
                </a:xfrm>
                <a:custGeom>
                  <a:avLst/>
                  <a:gdLst>
                    <a:gd name="T0" fmla="*/ 0 w 121"/>
                    <a:gd name="T1" fmla="*/ 122 h 158"/>
                    <a:gd name="T2" fmla="*/ 0 w 121"/>
                    <a:gd name="T3" fmla="*/ 158 h 158"/>
                    <a:gd name="T4" fmla="*/ 121 w 121"/>
                    <a:gd name="T5" fmla="*/ 158 h 158"/>
                    <a:gd name="T6" fmla="*/ 121 w 121"/>
                    <a:gd name="T7" fmla="*/ 122 h 158"/>
                    <a:gd name="T8" fmla="*/ 121 w 121"/>
                    <a:gd name="T9" fmla="*/ 0 h 158"/>
                    <a:gd name="T10" fmla="*/ 121 w 121"/>
                    <a:gd name="T11" fmla="*/ 0 h 158"/>
                    <a:gd name="T12" fmla="*/ 109 w 121"/>
                    <a:gd name="T13" fmla="*/ 1 h 158"/>
                    <a:gd name="T14" fmla="*/ 97 w 121"/>
                    <a:gd name="T15" fmla="*/ 2 h 158"/>
                    <a:gd name="T16" fmla="*/ 85 w 121"/>
                    <a:gd name="T17" fmla="*/ 6 h 158"/>
                    <a:gd name="T18" fmla="*/ 75 w 121"/>
                    <a:gd name="T19" fmla="*/ 9 h 158"/>
                    <a:gd name="T20" fmla="*/ 64 w 121"/>
                    <a:gd name="T21" fmla="*/ 15 h 158"/>
                    <a:gd name="T22" fmla="*/ 53 w 121"/>
                    <a:gd name="T23" fmla="*/ 21 h 158"/>
                    <a:gd name="T24" fmla="*/ 44 w 121"/>
                    <a:gd name="T25" fmla="*/ 28 h 158"/>
                    <a:gd name="T26" fmla="*/ 35 w 121"/>
                    <a:gd name="T27" fmla="*/ 35 h 158"/>
                    <a:gd name="T28" fmla="*/ 27 w 121"/>
                    <a:gd name="T29" fmla="*/ 45 h 158"/>
                    <a:gd name="T30" fmla="*/ 20 w 121"/>
                    <a:gd name="T31" fmla="*/ 53 h 158"/>
                    <a:gd name="T32" fmla="*/ 14 w 121"/>
                    <a:gd name="T33" fmla="*/ 64 h 158"/>
                    <a:gd name="T34" fmla="*/ 9 w 121"/>
                    <a:gd name="T35" fmla="*/ 75 h 158"/>
                    <a:gd name="T36" fmla="*/ 6 w 121"/>
                    <a:gd name="T37" fmla="*/ 85 h 158"/>
                    <a:gd name="T38" fmla="*/ 2 w 121"/>
                    <a:gd name="T39" fmla="*/ 97 h 158"/>
                    <a:gd name="T40" fmla="*/ 0 w 121"/>
                    <a:gd name="T41" fmla="*/ 109 h 158"/>
                    <a:gd name="T42" fmla="*/ 0 w 121"/>
                    <a:gd name="T43" fmla="*/ 122 h 158"/>
                    <a:gd name="T44" fmla="*/ 0 w 121"/>
                    <a:gd name="T45" fmla="*/ 12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158">
                      <a:moveTo>
                        <a:pt x="0" y="122"/>
                      </a:moveTo>
                      <a:lnTo>
                        <a:pt x="0" y="158"/>
                      </a:lnTo>
                      <a:lnTo>
                        <a:pt x="121" y="158"/>
                      </a:lnTo>
                      <a:lnTo>
                        <a:pt x="121" y="122"/>
                      </a:lnTo>
                      <a:lnTo>
                        <a:pt x="121" y="0"/>
                      </a:lnTo>
                      <a:lnTo>
                        <a:pt x="121" y="0"/>
                      </a:lnTo>
                      <a:lnTo>
                        <a:pt x="109" y="1"/>
                      </a:lnTo>
                      <a:lnTo>
                        <a:pt x="97" y="2"/>
                      </a:lnTo>
                      <a:lnTo>
                        <a:pt x="85" y="6"/>
                      </a:lnTo>
                      <a:lnTo>
                        <a:pt x="75" y="9"/>
                      </a:lnTo>
                      <a:lnTo>
                        <a:pt x="64" y="15"/>
                      </a:lnTo>
                      <a:lnTo>
                        <a:pt x="53" y="21"/>
                      </a:lnTo>
                      <a:lnTo>
                        <a:pt x="44" y="28"/>
                      </a:lnTo>
                      <a:lnTo>
                        <a:pt x="35" y="35"/>
                      </a:lnTo>
                      <a:lnTo>
                        <a:pt x="27" y="45"/>
                      </a:lnTo>
                      <a:lnTo>
                        <a:pt x="20" y="53"/>
                      </a:lnTo>
                      <a:lnTo>
                        <a:pt x="14" y="64"/>
                      </a:lnTo>
                      <a:lnTo>
                        <a:pt x="9" y="75"/>
                      </a:lnTo>
                      <a:lnTo>
                        <a:pt x="6" y="85"/>
                      </a:lnTo>
                      <a:lnTo>
                        <a:pt x="2" y="97"/>
                      </a:lnTo>
                      <a:lnTo>
                        <a:pt x="0" y="109"/>
                      </a:lnTo>
                      <a:lnTo>
                        <a:pt x="0" y="122"/>
                      </a:lnTo>
                      <a:lnTo>
                        <a:pt x="0" y="122"/>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99" name="Freeform 346"/>
                <p:cNvSpPr>
                  <a:spLocks/>
                </p:cNvSpPr>
                <p:nvPr userDrawn="1"/>
              </p:nvSpPr>
              <p:spPr bwMode="auto">
                <a:xfrm>
                  <a:off x="9797596" y="3804736"/>
                  <a:ext cx="95250" cy="166688"/>
                </a:xfrm>
                <a:custGeom>
                  <a:avLst/>
                  <a:gdLst>
                    <a:gd name="T0" fmla="*/ 0 w 121"/>
                    <a:gd name="T1" fmla="*/ 163 h 210"/>
                    <a:gd name="T2" fmla="*/ 0 w 121"/>
                    <a:gd name="T3" fmla="*/ 210 h 210"/>
                    <a:gd name="T4" fmla="*/ 121 w 121"/>
                    <a:gd name="T5" fmla="*/ 210 h 210"/>
                    <a:gd name="T6" fmla="*/ 121 w 121"/>
                    <a:gd name="T7" fmla="*/ 163 h 210"/>
                    <a:gd name="T8" fmla="*/ 121 w 121"/>
                    <a:gd name="T9" fmla="*/ 0 h 210"/>
                    <a:gd name="T10" fmla="*/ 121 w 121"/>
                    <a:gd name="T11" fmla="*/ 0 h 210"/>
                    <a:gd name="T12" fmla="*/ 109 w 121"/>
                    <a:gd name="T13" fmla="*/ 0 h 210"/>
                    <a:gd name="T14" fmla="*/ 97 w 121"/>
                    <a:gd name="T15" fmla="*/ 2 h 210"/>
                    <a:gd name="T16" fmla="*/ 85 w 121"/>
                    <a:gd name="T17" fmla="*/ 7 h 210"/>
                    <a:gd name="T18" fmla="*/ 73 w 121"/>
                    <a:gd name="T19" fmla="*/ 12 h 210"/>
                    <a:gd name="T20" fmla="*/ 63 w 121"/>
                    <a:gd name="T21" fmla="*/ 19 h 210"/>
                    <a:gd name="T22" fmla="*/ 53 w 121"/>
                    <a:gd name="T23" fmla="*/ 27 h 210"/>
                    <a:gd name="T24" fmla="*/ 44 w 121"/>
                    <a:gd name="T25" fmla="*/ 37 h 210"/>
                    <a:gd name="T26" fmla="*/ 35 w 121"/>
                    <a:gd name="T27" fmla="*/ 48 h 210"/>
                    <a:gd name="T28" fmla="*/ 27 w 121"/>
                    <a:gd name="T29" fmla="*/ 59 h 210"/>
                    <a:gd name="T30" fmla="*/ 20 w 121"/>
                    <a:gd name="T31" fmla="*/ 71 h 210"/>
                    <a:gd name="T32" fmla="*/ 14 w 121"/>
                    <a:gd name="T33" fmla="*/ 86 h 210"/>
                    <a:gd name="T34" fmla="*/ 9 w 121"/>
                    <a:gd name="T35" fmla="*/ 100 h 210"/>
                    <a:gd name="T36" fmla="*/ 4 w 121"/>
                    <a:gd name="T37" fmla="*/ 114 h 210"/>
                    <a:gd name="T38" fmla="*/ 2 w 121"/>
                    <a:gd name="T39" fmla="*/ 130 h 210"/>
                    <a:gd name="T40" fmla="*/ 0 w 121"/>
                    <a:gd name="T41" fmla="*/ 146 h 210"/>
                    <a:gd name="T42" fmla="*/ 0 w 121"/>
                    <a:gd name="T43" fmla="*/ 163 h 210"/>
                    <a:gd name="T44" fmla="*/ 0 w 121"/>
                    <a:gd name="T45" fmla="*/ 163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210">
                      <a:moveTo>
                        <a:pt x="0" y="163"/>
                      </a:moveTo>
                      <a:lnTo>
                        <a:pt x="0" y="210"/>
                      </a:lnTo>
                      <a:lnTo>
                        <a:pt x="121" y="210"/>
                      </a:lnTo>
                      <a:lnTo>
                        <a:pt x="121" y="163"/>
                      </a:lnTo>
                      <a:lnTo>
                        <a:pt x="121" y="0"/>
                      </a:lnTo>
                      <a:lnTo>
                        <a:pt x="121" y="0"/>
                      </a:lnTo>
                      <a:lnTo>
                        <a:pt x="109" y="0"/>
                      </a:lnTo>
                      <a:lnTo>
                        <a:pt x="97" y="2"/>
                      </a:lnTo>
                      <a:lnTo>
                        <a:pt x="85" y="7"/>
                      </a:lnTo>
                      <a:lnTo>
                        <a:pt x="73" y="12"/>
                      </a:lnTo>
                      <a:lnTo>
                        <a:pt x="63" y="19"/>
                      </a:lnTo>
                      <a:lnTo>
                        <a:pt x="53" y="27"/>
                      </a:lnTo>
                      <a:lnTo>
                        <a:pt x="44" y="37"/>
                      </a:lnTo>
                      <a:lnTo>
                        <a:pt x="35" y="48"/>
                      </a:lnTo>
                      <a:lnTo>
                        <a:pt x="27" y="59"/>
                      </a:lnTo>
                      <a:lnTo>
                        <a:pt x="20" y="71"/>
                      </a:lnTo>
                      <a:lnTo>
                        <a:pt x="14" y="86"/>
                      </a:lnTo>
                      <a:lnTo>
                        <a:pt x="9" y="100"/>
                      </a:lnTo>
                      <a:lnTo>
                        <a:pt x="4" y="114"/>
                      </a:lnTo>
                      <a:lnTo>
                        <a:pt x="2" y="130"/>
                      </a:lnTo>
                      <a:lnTo>
                        <a:pt x="0" y="146"/>
                      </a:lnTo>
                      <a:lnTo>
                        <a:pt x="0" y="163"/>
                      </a:lnTo>
                      <a:lnTo>
                        <a:pt x="0" y="163"/>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0" name="Rectangle 347"/>
                <p:cNvSpPr>
                  <a:spLocks noChangeArrowheads="1"/>
                </p:cNvSpPr>
                <p:nvPr userDrawn="1"/>
              </p:nvSpPr>
              <p:spPr bwMode="auto">
                <a:xfrm>
                  <a:off x="9862683" y="3787274"/>
                  <a:ext cx="95250" cy="184150"/>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1" name="Rectangle 348"/>
                <p:cNvSpPr>
                  <a:spLocks noChangeArrowheads="1"/>
                </p:cNvSpPr>
                <p:nvPr userDrawn="1"/>
              </p:nvSpPr>
              <p:spPr bwMode="auto">
                <a:xfrm>
                  <a:off x="9862683" y="3787274"/>
                  <a:ext cx="952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2" name="Freeform 349"/>
                <p:cNvSpPr>
                  <a:spLocks/>
                </p:cNvSpPr>
                <p:nvPr userDrawn="1"/>
              </p:nvSpPr>
              <p:spPr bwMode="auto">
                <a:xfrm>
                  <a:off x="9927771" y="4373061"/>
                  <a:ext cx="209550" cy="338138"/>
                </a:xfrm>
                <a:custGeom>
                  <a:avLst/>
                  <a:gdLst>
                    <a:gd name="T0" fmla="*/ 265 w 265"/>
                    <a:gd name="T1" fmla="*/ 0 h 427"/>
                    <a:gd name="T2" fmla="*/ 265 w 265"/>
                    <a:gd name="T3" fmla="*/ 203 h 427"/>
                    <a:gd name="T4" fmla="*/ 227 w 265"/>
                    <a:gd name="T5" fmla="*/ 427 h 427"/>
                    <a:gd name="T6" fmla="*/ 0 w 265"/>
                    <a:gd name="T7" fmla="*/ 427 h 427"/>
                    <a:gd name="T8" fmla="*/ 45 w 265"/>
                    <a:gd name="T9" fmla="*/ 0 h 427"/>
                    <a:gd name="T10" fmla="*/ 265 w 265"/>
                    <a:gd name="T11" fmla="*/ 0 h 427"/>
                  </a:gdLst>
                  <a:ahLst/>
                  <a:cxnLst>
                    <a:cxn ang="0">
                      <a:pos x="T0" y="T1"/>
                    </a:cxn>
                    <a:cxn ang="0">
                      <a:pos x="T2" y="T3"/>
                    </a:cxn>
                    <a:cxn ang="0">
                      <a:pos x="T4" y="T5"/>
                    </a:cxn>
                    <a:cxn ang="0">
                      <a:pos x="T6" y="T7"/>
                    </a:cxn>
                    <a:cxn ang="0">
                      <a:pos x="T8" y="T9"/>
                    </a:cxn>
                    <a:cxn ang="0">
                      <a:pos x="T10" y="T11"/>
                    </a:cxn>
                  </a:cxnLst>
                  <a:rect l="0" t="0" r="r" b="b"/>
                  <a:pathLst>
                    <a:path w="265" h="427">
                      <a:moveTo>
                        <a:pt x="265" y="0"/>
                      </a:moveTo>
                      <a:lnTo>
                        <a:pt x="265" y="203"/>
                      </a:lnTo>
                      <a:lnTo>
                        <a:pt x="227" y="427"/>
                      </a:lnTo>
                      <a:lnTo>
                        <a:pt x="0" y="427"/>
                      </a:lnTo>
                      <a:lnTo>
                        <a:pt x="45" y="0"/>
                      </a:lnTo>
                      <a:lnTo>
                        <a:pt x="2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3" name="Freeform 350"/>
                <p:cNvSpPr>
                  <a:spLocks/>
                </p:cNvSpPr>
                <p:nvPr userDrawn="1"/>
              </p:nvSpPr>
              <p:spPr bwMode="auto">
                <a:xfrm>
                  <a:off x="9927771" y="4373061"/>
                  <a:ext cx="209550" cy="338138"/>
                </a:xfrm>
                <a:custGeom>
                  <a:avLst/>
                  <a:gdLst>
                    <a:gd name="T0" fmla="*/ 265 w 265"/>
                    <a:gd name="T1" fmla="*/ 0 h 427"/>
                    <a:gd name="T2" fmla="*/ 265 w 265"/>
                    <a:gd name="T3" fmla="*/ 203 h 427"/>
                    <a:gd name="T4" fmla="*/ 227 w 265"/>
                    <a:gd name="T5" fmla="*/ 427 h 427"/>
                    <a:gd name="T6" fmla="*/ 0 w 265"/>
                    <a:gd name="T7" fmla="*/ 427 h 427"/>
                    <a:gd name="T8" fmla="*/ 45 w 265"/>
                    <a:gd name="T9" fmla="*/ 0 h 427"/>
                    <a:gd name="T10" fmla="*/ 265 w 265"/>
                    <a:gd name="T11" fmla="*/ 0 h 427"/>
                  </a:gdLst>
                  <a:ahLst/>
                  <a:cxnLst>
                    <a:cxn ang="0">
                      <a:pos x="T0" y="T1"/>
                    </a:cxn>
                    <a:cxn ang="0">
                      <a:pos x="T2" y="T3"/>
                    </a:cxn>
                    <a:cxn ang="0">
                      <a:pos x="T4" y="T5"/>
                    </a:cxn>
                    <a:cxn ang="0">
                      <a:pos x="T6" y="T7"/>
                    </a:cxn>
                    <a:cxn ang="0">
                      <a:pos x="T8" y="T9"/>
                    </a:cxn>
                    <a:cxn ang="0">
                      <a:pos x="T10" y="T11"/>
                    </a:cxn>
                  </a:cxnLst>
                  <a:rect l="0" t="0" r="r" b="b"/>
                  <a:pathLst>
                    <a:path w="265" h="427">
                      <a:moveTo>
                        <a:pt x="265" y="0"/>
                      </a:moveTo>
                      <a:lnTo>
                        <a:pt x="265" y="203"/>
                      </a:lnTo>
                      <a:lnTo>
                        <a:pt x="227" y="427"/>
                      </a:lnTo>
                      <a:lnTo>
                        <a:pt x="0" y="427"/>
                      </a:lnTo>
                      <a:lnTo>
                        <a:pt x="45" y="0"/>
                      </a:lnTo>
                      <a:lnTo>
                        <a:pt x="2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4" name="Rectangle 351"/>
                <p:cNvSpPr>
                  <a:spLocks noChangeArrowheads="1"/>
                </p:cNvSpPr>
                <p:nvPr userDrawn="1"/>
              </p:nvSpPr>
              <p:spPr bwMode="auto">
                <a:xfrm>
                  <a:off x="9945233" y="3582486"/>
                  <a:ext cx="385763" cy="3889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5" name="Rectangle 352"/>
                <p:cNvSpPr>
                  <a:spLocks noChangeArrowheads="1"/>
                </p:cNvSpPr>
                <p:nvPr userDrawn="1"/>
              </p:nvSpPr>
              <p:spPr bwMode="auto">
                <a:xfrm>
                  <a:off x="9945233" y="3582486"/>
                  <a:ext cx="385763" cy="388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6" name="Rectangle 353"/>
                <p:cNvSpPr>
                  <a:spLocks noChangeArrowheads="1"/>
                </p:cNvSpPr>
                <p:nvPr userDrawn="1"/>
              </p:nvSpPr>
              <p:spPr bwMode="auto">
                <a:xfrm>
                  <a:off x="10137321" y="3582486"/>
                  <a:ext cx="193675" cy="388938"/>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7" name="Rectangle 354"/>
                <p:cNvSpPr>
                  <a:spLocks noChangeArrowheads="1"/>
                </p:cNvSpPr>
                <p:nvPr userDrawn="1"/>
              </p:nvSpPr>
              <p:spPr bwMode="auto">
                <a:xfrm>
                  <a:off x="10137321" y="3582486"/>
                  <a:ext cx="193675" cy="388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8" name="Freeform 355"/>
                <p:cNvSpPr>
                  <a:spLocks/>
                </p:cNvSpPr>
                <p:nvPr userDrawn="1"/>
              </p:nvSpPr>
              <p:spPr bwMode="auto">
                <a:xfrm>
                  <a:off x="10137321" y="3612649"/>
                  <a:ext cx="165100" cy="165100"/>
                </a:xfrm>
                <a:custGeom>
                  <a:avLst/>
                  <a:gdLst>
                    <a:gd name="T0" fmla="*/ 207 w 207"/>
                    <a:gd name="T1" fmla="*/ 207 h 207"/>
                    <a:gd name="T2" fmla="*/ 207 w 207"/>
                    <a:gd name="T3" fmla="*/ 207 h 207"/>
                    <a:gd name="T4" fmla="*/ 206 w 207"/>
                    <a:gd name="T5" fmla="*/ 185 h 207"/>
                    <a:gd name="T6" fmla="*/ 202 w 207"/>
                    <a:gd name="T7" fmla="*/ 165 h 207"/>
                    <a:gd name="T8" fmla="*/ 197 w 207"/>
                    <a:gd name="T9" fmla="*/ 145 h 207"/>
                    <a:gd name="T10" fmla="*/ 190 w 207"/>
                    <a:gd name="T11" fmla="*/ 126 h 207"/>
                    <a:gd name="T12" fmla="*/ 182 w 207"/>
                    <a:gd name="T13" fmla="*/ 108 h 207"/>
                    <a:gd name="T14" fmla="*/ 171 w 207"/>
                    <a:gd name="T15" fmla="*/ 90 h 207"/>
                    <a:gd name="T16" fmla="*/ 159 w 207"/>
                    <a:gd name="T17" fmla="*/ 75 h 207"/>
                    <a:gd name="T18" fmla="*/ 146 w 207"/>
                    <a:gd name="T19" fmla="*/ 61 h 207"/>
                    <a:gd name="T20" fmla="*/ 132 w 207"/>
                    <a:gd name="T21" fmla="*/ 47 h 207"/>
                    <a:gd name="T22" fmla="*/ 115 w 207"/>
                    <a:gd name="T23" fmla="*/ 36 h 207"/>
                    <a:gd name="T24" fmla="*/ 98 w 207"/>
                    <a:gd name="T25" fmla="*/ 25 h 207"/>
                    <a:gd name="T26" fmla="*/ 81 w 207"/>
                    <a:gd name="T27" fmla="*/ 17 h 207"/>
                    <a:gd name="T28" fmla="*/ 62 w 207"/>
                    <a:gd name="T29" fmla="*/ 9 h 207"/>
                    <a:gd name="T30" fmla="*/ 41 w 207"/>
                    <a:gd name="T31" fmla="*/ 3 h 207"/>
                    <a:gd name="T32" fmla="*/ 21 w 207"/>
                    <a:gd name="T33" fmla="*/ 1 h 207"/>
                    <a:gd name="T34" fmla="*/ 0 w 207"/>
                    <a:gd name="T35" fmla="*/ 0 h 207"/>
                    <a:gd name="T36" fmla="*/ 0 w 207"/>
                    <a:gd name="T37" fmla="*/ 207 h 207"/>
                    <a:gd name="T38" fmla="*/ 207 w 207"/>
                    <a:gd name="T39" fmla="*/ 20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7" h="207">
                      <a:moveTo>
                        <a:pt x="207" y="207"/>
                      </a:moveTo>
                      <a:lnTo>
                        <a:pt x="207" y="207"/>
                      </a:lnTo>
                      <a:lnTo>
                        <a:pt x="206" y="185"/>
                      </a:lnTo>
                      <a:lnTo>
                        <a:pt x="202" y="165"/>
                      </a:lnTo>
                      <a:lnTo>
                        <a:pt x="197" y="145"/>
                      </a:lnTo>
                      <a:lnTo>
                        <a:pt x="190" y="126"/>
                      </a:lnTo>
                      <a:lnTo>
                        <a:pt x="182" y="108"/>
                      </a:lnTo>
                      <a:lnTo>
                        <a:pt x="171" y="90"/>
                      </a:lnTo>
                      <a:lnTo>
                        <a:pt x="159" y="75"/>
                      </a:lnTo>
                      <a:lnTo>
                        <a:pt x="146" y="61"/>
                      </a:lnTo>
                      <a:lnTo>
                        <a:pt x="132" y="47"/>
                      </a:lnTo>
                      <a:lnTo>
                        <a:pt x="115" y="36"/>
                      </a:lnTo>
                      <a:lnTo>
                        <a:pt x="98" y="25"/>
                      </a:lnTo>
                      <a:lnTo>
                        <a:pt x="81" y="17"/>
                      </a:lnTo>
                      <a:lnTo>
                        <a:pt x="62" y="9"/>
                      </a:lnTo>
                      <a:lnTo>
                        <a:pt x="41" y="3"/>
                      </a:lnTo>
                      <a:lnTo>
                        <a:pt x="21" y="1"/>
                      </a:lnTo>
                      <a:lnTo>
                        <a:pt x="0" y="0"/>
                      </a:lnTo>
                      <a:lnTo>
                        <a:pt x="0" y="207"/>
                      </a:lnTo>
                      <a:lnTo>
                        <a:pt x="207" y="207"/>
                      </a:lnTo>
                      <a:close/>
                    </a:path>
                  </a:pathLst>
                </a:custGeom>
                <a:solidFill>
                  <a:srgbClr val="1F23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09" name="Freeform 356"/>
                <p:cNvSpPr>
                  <a:spLocks/>
                </p:cNvSpPr>
                <p:nvPr userDrawn="1"/>
              </p:nvSpPr>
              <p:spPr bwMode="auto">
                <a:xfrm>
                  <a:off x="9975396" y="3612649"/>
                  <a:ext cx="161925" cy="165100"/>
                </a:xfrm>
                <a:custGeom>
                  <a:avLst/>
                  <a:gdLst>
                    <a:gd name="T0" fmla="*/ 206 w 206"/>
                    <a:gd name="T1" fmla="*/ 0 h 207"/>
                    <a:gd name="T2" fmla="*/ 206 w 206"/>
                    <a:gd name="T3" fmla="*/ 0 h 207"/>
                    <a:gd name="T4" fmla="*/ 184 w 206"/>
                    <a:gd name="T5" fmla="*/ 1 h 207"/>
                    <a:gd name="T6" fmla="*/ 164 w 206"/>
                    <a:gd name="T7" fmla="*/ 3 h 207"/>
                    <a:gd name="T8" fmla="*/ 145 w 206"/>
                    <a:gd name="T9" fmla="*/ 9 h 207"/>
                    <a:gd name="T10" fmla="*/ 126 w 206"/>
                    <a:gd name="T11" fmla="*/ 17 h 207"/>
                    <a:gd name="T12" fmla="*/ 108 w 206"/>
                    <a:gd name="T13" fmla="*/ 25 h 207"/>
                    <a:gd name="T14" fmla="*/ 90 w 206"/>
                    <a:gd name="T15" fmla="*/ 36 h 207"/>
                    <a:gd name="T16" fmla="*/ 75 w 206"/>
                    <a:gd name="T17" fmla="*/ 47 h 207"/>
                    <a:gd name="T18" fmla="*/ 61 w 206"/>
                    <a:gd name="T19" fmla="*/ 61 h 207"/>
                    <a:gd name="T20" fmla="*/ 46 w 206"/>
                    <a:gd name="T21" fmla="*/ 75 h 207"/>
                    <a:gd name="T22" fmla="*/ 35 w 206"/>
                    <a:gd name="T23" fmla="*/ 90 h 207"/>
                    <a:gd name="T24" fmla="*/ 25 w 206"/>
                    <a:gd name="T25" fmla="*/ 108 h 207"/>
                    <a:gd name="T26" fmla="*/ 16 w 206"/>
                    <a:gd name="T27" fmla="*/ 126 h 207"/>
                    <a:gd name="T28" fmla="*/ 8 w 206"/>
                    <a:gd name="T29" fmla="*/ 145 h 207"/>
                    <a:gd name="T30" fmla="*/ 4 w 206"/>
                    <a:gd name="T31" fmla="*/ 165 h 207"/>
                    <a:gd name="T32" fmla="*/ 1 w 206"/>
                    <a:gd name="T33" fmla="*/ 185 h 207"/>
                    <a:gd name="T34" fmla="*/ 0 w 206"/>
                    <a:gd name="T35" fmla="*/ 207 h 207"/>
                    <a:gd name="T36" fmla="*/ 206 w 206"/>
                    <a:gd name="T37" fmla="*/ 207 h 207"/>
                    <a:gd name="T38" fmla="*/ 206 w 206"/>
                    <a:gd name="T39"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6" h="207">
                      <a:moveTo>
                        <a:pt x="206" y="0"/>
                      </a:moveTo>
                      <a:lnTo>
                        <a:pt x="206" y="0"/>
                      </a:lnTo>
                      <a:lnTo>
                        <a:pt x="184" y="1"/>
                      </a:lnTo>
                      <a:lnTo>
                        <a:pt x="164" y="3"/>
                      </a:lnTo>
                      <a:lnTo>
                        <a:pt x="145" y="9"/>
                      </a:lnTo>
                      <a:lnTo>
                        <a:pt x="126" y="17"/>
                      </a:lnTo>
                      <a:lnTo>
                        <a:pt x="108" y="25"/>
                      </a:lnTo>
                      <a:lnTo>
                        <a:pt x="90" y="36"/>
                      </a:lnTo>
                      <a:lnTo>
                        <a:pt x="75" y="47"/>
                      </a:lnTo>
                      <a:lnTo>
                        <a:pt x="61" y="61"/>
                      </a:lnTo>
                      <a:lnTo>
                        <a:pt x="46" y="75"/>
                      </a:lnTo>
                      <a:lnTo>
                        <a:pt x="35" y="90"/>
                      </a:lnTo>
                      <a:lnTo>
                        <a:pt x="25" y="108"/>
                      </a:lnTo>
                      <a:lnTo>
                        <a:pt x="16" y="126"/>
                      </a:lnTo>
                      <a:lnTo>
                        <a:pt x="8" y="145"/>
                      </a:lnTo>
                      <a:lnTo>
                        <a:pt x="4" y="165"/>
                      </a:lnTo>
                      <a:lnTo>
                        <a:pt x="1" y="185"/>
                      </a:lnTo>
                      <a:lnTo>
                        <a:pt x="0" y="207"/>
                      </a:lnTo>
                      <a:lnTo>
                        <a:pt x="206" y="207"/>
                      </a:lnTo>
                      <a:lnTo>
                        <a:pt x="206" y="0"/>
                      </a:lnTo>
                      <a:close/>
                    </a:path>
                  </a:pathLst>
                </a:custGeom>
                <a:solidFill>
                  <a:srgbClr val="3338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0" name="Freeform 357"/>
                <p:cNvSpPr>
                  <a:spLocks/>
                </p:cNvSpPr>
                <p:nvPr userDrawn="1"/>
              </p:nvSpPr>
              <p:spPr bwMode="auto">
                <a:xfrm>
                  <a:off x="9975396" y="3777749"/>
                  <a:ext cx="161925" cy="163513"/>
                </a:xfrm>
                <a:custGeom>
                  <a:avLst/>
                  <a:gdLst>
                    <a:gd name="T0" fmla="*/ 0 w 206"/>
                    <a:gd name="T1" fmla="*/ 0 h 205"/>
                    <a:gd name="T2" fmla="*/ 0 w 206"/>
                    <a:gd name="T3" fmla="*/ 0 h 205"/>
                    <a:gd name="T4" fmla="*/ 1 w 206"/>
                    <a:gd name="T5" fmla="*/ 20 h 205"/>
                    <a:gd name="T6" fmla="*/ 4 w 206"/>
                    <a:gd name="T7" fmla="*/ 41 h 205"/>
                    <a:gd name="T8" fmla="*/ 8 w 206"/>
                    <a:gd name="T9" fmla="*/ 60 h 205"/>
                    <a:gd name="T10" fmla="*/ 16 w 206"/>
                    <a:gd name="T11" fmla="*/ 79 h 205"/>
                    <a:gd name="T12" fmla="*/ 25 w 206"/>
                    <a:gd name="T13" fmla="*/ 97 h 205"/>
                    <a:gd name="T14" fmla="*/ 35 w 206"/>
                    <a:gd name="T15" fmla="*/ 115 h 205"/>
                    <a:gd name="T16" fmla="*/ 46 w 206"/>
                    <a:gd name="T17" fmla="*/ 131 h 205"/>
                    <a:gd name="T18" fmla="*/ 61 w 206"/>
                    <a:gd name="T19" fmla="*/ 145 h 205"/>
                    <a:gd name="T20" fmla="*/ 75 w 206"/>
                    <a:gd name="T21" fmla="*/ 158 h 205"/>
                    <a:gd name="T22" fmla="*/ 90 w 206"/>
                    <a:gd name="T23" fmla="*/ 170 h 205"/>
                    <a:gd name="T24" fmla="*/ 108 w 206"/>
                    <a:gd name="T25" fmla="*/ 180 h 205"/>
                    <a:gd name="T26" fmla="*/ 126 w 206"/>
                    <a:gd name="T27" fmla="*/ 189 h 205"/>
                    <a:gd name="T28" fmla="*/ 145 w 206"/>
                    <a:gd name="T29" fmla="*/ 196 h 205"/>
                    <a:gd name="T30" fmla="*/ 164 w 206"/>
                    <a:gd name="T31" fmla="*/ 202 h 205"/>
                    <a:gd name="T32" fmla="*/ 184 w 206"/>
                    <a:gd name="T33" fmla="*/ 204 h 205"/>
                    <a:gd name="T34" fmla="*/ 206 w 206"/>
                    <a:gd name="T35" fmla="*/ 205 h 205"/>
                    <a:gd name="T36" fmla="*/ 206 w 206"/>
                    <a:gd name="T37" fmla="*/ 0 h 205"/>
                    <a:gd name="T38" fmla="*/ 0 w 206"/>
                    <a:gd name="T39"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6" h="205">
                      <a:moveTo>
                        <a:pt x="0" y="0"/>
                      </a:moveTo>
                      <a:lnTo>
                        <a:pt x="0" y="0"/>
                      </a:lnTo>
                      <a:lnTo>
                        <a:pt x="1" y="20"/>
                      </a:lnTo>
                      <a:lnTo>
                        <a:pt x="4" y="41"/>
                      </a:lnTo>
                      <a:lnTo>
                        <a:pt x="8" y="60"/>
                      </a:lnTo>
                      <a:lnTo>
                        <a:pt x="16" y="79"/>
                      </a:lnTo>
                      <a:lnTo>
                        <a:pt x="25" y="97"/>
                      </a:lnTo>
                      <a:lnTo>
                        <a:pt x="35" y="115"/>
                      </a:lnTo>
                      <a:lnTo>
                        <a:pt x="46" y="131"/>
                      </a:lnTo>
                      <a:lnTo>
                        <a:pt x="61" y="145"/>
                      </a:lnTo>
                      <a:lnTo>
                        <a:pt x="75" y="158"/>
                      </a:lnTo>
                      <a:lnTo>
                        <a:pt x="90" y="170"/>
                      </a:lnTo>
                      <a:lnTo>
                        <a:pt x="108" y="180"/>
                      </a:lnTo>
                      <a:lnTo>
                        <a:pt x="126" y="189"/>
                      </a:lnTo>
                      <a:lnTo>
                        <a:pt x="145" y="196"/>
                      </a:lnTo>
                      <a:lnTo>
                        <a:pt x="164" y="202"/>
                      </a:lnTo>
                      <a:lnTo>
                        <a:pt x="184" y="204"/>
                      </a:lnTo>
                      <a:lnTo>
                        <a:pt x="206" y="205"/>
                      </a:lnTo>
                      <a:lnTo>
                        <a:pt x="206" y="0"/>
                      </a:lnTo>
                      <a:lnTo>
                        <a:pt x="0" y="0"/>
                      </a:lnTo>
                      <a:close/>
                    </a:path>
                  </a:pathLst>
                </a:custGeom>
                <a:solidFill>
                  <a:srgbClr val="1F23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1" name="Freeform 358"/>
                <p:cNvSpPr>
                  <a:spLocks/>
                </p:cNvSpPr>
                <p:nvPr userDrawn="1"/>
              </p:nvSpPr>
              <p:spPr bwMode="auto">
                <a:xfrm>
                  <a:off x="10137321" y="3777749"/>
                  <a:ext cx="165100" cy="163513"/>
                </a:xfrm>
                <a:custGeom>
                  <a:avLst/>
                  <a:gdLst>
                    <a:gd name="T0" fmla="*/ 0 w 207"/>
                    <a:gd name="T1" fmla="*/ 0 h 205"/>
                    <a:gd name="T2" fmla="*/ 0 w 207"/>
                    <a:gd name="T3" fmla="*/ 205 h 205"/>
                    <a:gd name="T4" fmla="*/ 0 w 207"/>
                    <a:gd name="T5" fmla="*/ 205 h 205"/>
                    <a:gd name="T6" fmla="*/ 21 w 207"/>
                    <a:gd name="T7" fmla="*/ 204 h 205"/>
                    <a:gd name="T8" fmla="*/ 41 w 207"/>
                    <a:gd name="T9" fmla="*/ 202 h 205"/>
                    <a:gd name="T10" fmla="*/ 62 w 207"/>
                    <a:gd name="T11" fmla="*/ 196 h 205"/>
                    <a:gd name="T12" fmla="*/ 81 w 207"/>
                    <a:gd name="T13" fmla="*/ 189 h 205"/>
                    <a:gd name="T14" fmla="*/ 98 w 207"/>
                    <a:gd name="T15" fmla="*/ 180 h 205"/>
                    <a:gd name="T16" fmla="*/ 115 w 207"/>
                    <a:gd name="T17" fmla="*/ 170 h 205"/>
                    <a:gd name="T18" fmla="*/ 132 w 207"/>
                    <a:gd name="T19" fmla="*/ 158 h 205"/>
                    <a:gd name="T20" fmla="*/ 146 w 207"/>
                    <a:gd name="T21" fmla="*/ 145 h 205"/>
                    <a:gd name="T22" fmla="*/ 159 w 207"/>
                    <a:gd name="T23" fmla="*/ 131 h 205"/>
                    <a:gd name="T24" fmla="*/ 171 w 207"/>
                    <a:gd name="T25" fmla="*/ 115 h 205"/>
                    <a:gd name="T26" fmla="*/ 182 w 207"/>
                    <a:gd name="T27" fmla="*/ 97 h 205"/>
                    <a:gd name="T28" fmla="*/ 190 w 207"/>
                    <a:gd name="T29" fmla="*/ 79 h 205"/>
                    <a:gd name="T30" fmla="*/ 197 w 207"/>
                    <a:gd name="T31" fmla="*/ 60 h 205"/>
                    <a:gd name="T32" fmla="*/ 202 w 207"/>
                    <a:gd name="T33" fmla="*/ 41 h 205"/>
                    <a:gd name="T34" fmla="*/ 206 w 207"/>
                    <a:gd name="T35" fmla="*/ 20 h 205"/>
                    <a:gd name="T36" fmla="*/ 207 w 207"/>
                    <a:gd name="T37" fmla="*/ 0 h 205"/>
                    <a:gd name="T38" fmla="*/ 0 w 207"/>
                    <a:gd name="T39"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7" h="205">
                      <a:moveTo>
                        <a:pt x="0" y="0"/>
                      </a:moveTo>
                      <a:lnTo>
                        <a:pt x="0" y="205"/>
                      </a:lnTo>
                      <a:lnTo>
                        <a:pt x="0" y="205"/>
                      </a:lnTo>
                      <a:lnTo>
                        <a:pt x="21" y="204"/>
                      </a:lnTo>
                      <a:lnTo>
                        <a:pt x="41" y="202"/>
                      </a:lnTo>
                      <a:lnTo>
                        <a:pt x="62" y="196"/>
                      </a:lnTo>
                      <a:lnTo>
                        <a:pt x="81" y="189"/>
                      </a:lnTo>
                      <a:lnTo>
                        <a:pt x="98" y="180"/>
                      </a:lnTo>
                      <a:lnTo>
                        <a:pt x="115" y="170"/>
                      </a:lnTo>
                      <a:lnTo>
                        <a:pt x="132" y="158"/>
                      </a:lnTo>
                      <a:lnTo>
                        <a:pt x="146" y="145"/>
                      </a:lnTo>
                      <a:lnTo>
                        <a:pt x="159" y="131"/>
                      </a:lnTo>
                      <a:lnTo>
                        <a:pt x="171" y="115"/>
                      </a:lnTo>
                      <a:lnTo>
                        <a:pt x="182" y="97"/>
                      </a:lnTo>
                      <a:lnTo>
                        <a:pt x="190" y="79"/>
                      </a:lnTo>
                      <a:lnTo>
                        <a:pt x="197" y="60"/>
                      </a:lnTo>
                      <a:lnTo>
                        <a:pt x="202" y="41"/>
                      </a:lnTo>
                      <a:lnTo>
                        <a:pt x="206" y="20"/>
                      </a:lnTo>
                      <a:lnTo>
                        <a:pt x="207" y="0"/>
                      </a:lnTo>
                      <a:lnTo>
                        <a:pt x="0" y="0"/>
                      </a:lnTo>
                      <a:close/>
                    </a:path>
                  </a:pathLst>
                </a:custGeom>
                <a:solidFill>
                  <a:srgbClr val="000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2" name="Rectangle 359"/>
                <p:cNvSpPr>
                  <a:spLocks noChangeArrowheads="1"/>
                </p:cNvSpPr>
                <p:nvPr userDrawn="1"/>
              </p:nvSpPr>
              <p:spPr bwMode="auto">
                <a:xfrm>
                  <a:off x="9940471" y="3971424"/>
                  <a:ext cx="196850" cy="3365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3" name="Rectangle 360"/>
                <p:cNvSpPr>
                  <a:spLocks noChangeArrowheads="1"/>
                </p:cNvSpPr>
                <p:nvPr userDrawn="1"/>
              </p:nvSpPr>
              <p:spPr bwMode="auto">
                <a:xfrm>
                  <a:off x="9940471" y="3971424"/>
                  <a:ext cx="1968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4" name="Freeform 361"/>
                <p:cNvSpPr>
                  <a:spLocks/>
                </p:cNvSpPr>
                <p:nvPr userDrawn="1"/>
              </p:nvSpPr>
              <p:spPr bwMode="auto">
                <a:xfrm>
                  <a:off x="9870621" y="3899986"/>
                  <a:ext cx="74613" cy="407988"/>
                </a:xfrm>
                <a:custGeom>
                  <a:avLst/>
                  <a:gdLst>
                    <a:gd name="T0" fmla="*/ 93 w 93"/>
                    <a:gd name="T1" fmla="*/ 515 h 515"/>
                    <a:gd name="T2" fmla="*/ 93 w 93"/>
                    <a:gd name="T3" fmla="*/ 93 h 515"/>
                    <a:gd name="T4" fmla="*/ 93 w 93"/>
                    <a:gd name="T5" fmla="*/ 93 h 515"/>
                    <a:gd name="T6" fmla="*/ 93 w 93"/>
                    <a:gd name="T7" fmla="*/ 83 h 515"/>
                    <a:gd name="T8" fmla="*/ 91 w 93"/>
                    <a:gd name="T9" fmla="*/ 74 h 515"/>
                    <a:gd name="T10" fmla="*/ 89 w 93"/>
                    <a:gd name="T11" fmla="*/ 65 h 515"/>
                    <a:gd name="T12" fmla="*/ 86 w 93"/>
                    <a:gd name="T13" fmla="*/ 56 h 515"/>
                    <a:gd name="T14" fmla="*/ 82 w 93"/>
                    <a:gd name="T15" fmla="*/ 49 h 515"/>
                    <a:gd name="T16" fmla="*/ 78 w 93"/>
                    <a:gd name="T17" fmla="*/ 41 h 515"/>
                    <a:gd name="T18" fmla="*/ 72 w 93"/>
                    <a:gd name="T19" fmla="*/ 33 h 515"/>
                    <a:gd name="T20" fmla="*/ 66 w 93"/>
                    <a:gd name="T21" fmla="*/ 27 h 515"/>
                    <a:gd name="T22" fmla="*/ 60 w 93"/>
                    <a:gd name="T23" fmla="*/ 21 h 515"/>
                    <a:gd name="T24" fmla="*/ 53 w 93"/>
                    <a:gd name="T25" fmla="*/ 16 h 515"/>
                    <a:gd name="T26" fmla="*/ 44 w 93"/>
                    <a:gd name="T27" fmla="*/ 11 h 515"/>
                    <a:gd name="T28" fmla="*/ 36 w 93"/>
                    <a:gd name="T29" fmla="*/ 7 h 515"/>
                    <a:gd name="T30" fmla="*/ 28 w 93"/>
                    <a:gd name="T31" fmla="*/ 4 h 515"/>
                    <a:gd name="T32" fmla="*/ 19 w 93"/>
                    <a:gd name="T33" fmla="*/ 1 h 515"/>
                    <a:gd name="T34" fmla="*/ 10 w 93"/>
                    <a:gd name="T35" fmla="*/ 0 h 515"/>
                    <a:gd name="T36" fmla="*/ 0 w 93"/>
                    <a:gd name="T37" fmla="*/ 0 h 515"/>
                    <a:gd name="T38" fmla="*/ 0 w 93"/>
                    <a:gd name="T39" fmla="*/ 515 h 515"/>
                    <a:gd name="T40" fmla="*/ 93 w 93"/>
                    <a:gd name="T41" fmla="*/ 515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515">
                      <a:moveTo>
                        <a:pt x="93" y="515"/>
                      </a:moveTo>
                      <a:lnTo>
                        <a:pt x="93" y="93"/>
                      </a:lnTo>
                      <a:lnTo>
                        <a:pt x="93" y="93"/>
                      </a:lnTo>
                      <a:lnTo>
                        <a:pt x="93" y="83"/>
                      </a:lnTo>
                      <a:lnTo>
                        <a:pt x="91" y="74"/>
                      </a:lnTo>
                      <a:lnTo>
                        <a:pt x="89" y="65"/>
                      </a:lnTo>
                      <a:lnTo>
                        <a:pt x="86" y="56"/>
                      </a:lnTo>
                      <a:lnTo>
                        <a:pt x="82" y="49"/>
                      </a:lnTo>
                      <a:lnTo>
                        <a:pt x="78" y="41"/>
                      </a:lnTo>
                      <a:lnTo>
                        <a:pt x="72" y="33"/>
                      </a:lnTo>
                      <a:lnTo>
                        <a:pt x="66" y="27"/>
                      </a:lnTo>
                      <a:lnTo>
                        <a:pt x="60" y="21"/>
                      </a:lnTo>
                      <a:lnTo>
                        <a:pt x="53" y="16"/>
                      </a:lnTo>
                      <a:lnTo>
                        <a:pt x="44" y="11"/>
                      </a:lnTo>
                      <a:lnTo>
                        <a:pt x="36" y="7"/>
                      </a:lnTo>
                      <a:lnTo>
                        <a:pt x="28" y="4"/>
                      </a:lnTo>
                      <a:lnTo>
                        <a:pt x="19" y="1"/>
                      </a:lnTo>
                      <a:lnTo>
                        <a:pt x="10" y="0"/>
                      </a:lnTo>
                      <a:lnTo>
                        <a:pt x="0" y="0"/>
                      </a:lnTo>
                      <a:lnTo>
                        <a:pt x="0" y="515"/>
                      </a:lnTo>
                      <a:lnTo>
                        <a:pt x="93" y="515"/>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5" name="Freeform 362"/>
                <p:cNvSpPr>
                  <a:spLocks/>
                </p:cNvSpPr>
                <p:nvPr userDrawn="1"/>
              </p:nvSpPr>
              <p:spPr bwMode="auto">
                <a:xfrm>
                  <a:off x="9870621" y="3899986"/>
                  <a:ext cx="74613" cy="407988"/>
                </a:xfrm>
                <a:custGeom>
                  <a:avLst/>
                  <a:gdLst>
                    <a:gd name="T0" fmla="*/ 93 w 93"/>
                    <a:gd name="T1" fmla="*/ 515 h 515"/>
                    <a:gd name="T2" fmla="*/ 93 w 93"/>
                    <a:gd name="T3" fmla="*/ 93 h 515"/>
                    <a:gd name="T4" fmla="*/ 93 w 93"/>
                    <a:gd name="T5" fmla="*/ 93 h 515"/>
                    <a:gd name="T6" fmla="*/ 93 w 93"/>
                    <a:gd name="T7" fmla="*/ 83 h 515"/>
                    <a:gd name="T8" fmla="*/ 91 w 93"/>
                    <a:gd name="T9" fmla="*/ 74 h 515"/>
                    <a:gd name="T10" fmla="*/ 89 w 93"/>
                    <a:gd name="T11" fmla="*/ 65 h 515"/>
                    <a:gd name="T12" fmla="*/ 86 w 93"/>
                    <a:gd name="T13" fmla="*/ 56 h 515"/>
                    <a:gd name="T14" fmla="*/ 82 w 93"/>
                    <a:gd name="T15" fmla="*/ 49 h 515"/>
                    <a:gd name="T16" fmla="*/ 78 w 93"/>
                    <a:gd name="T17" fmla="*/ 41 h 515"/>
                    <a:gd name="T18" fmla="*/ 72 w 93"/>
                    <a:gd name="T19" fmla="*/ 33 h 515"/>
                    <a:gd name="T20" fmla="*/ 66 w 93"/>
                    <a:gd name="T21" fmla="*/ 27 h 515"/>
                    <a:gd name="T22" fmla="*/ 60 w 93"/>
                    <a:gd name="T23" fmla="*/ 21 h 515"/>
                    <a:gd name="T24" fmla="*/ 53 w 93"/>
                    <a:gd name="T25" fmla="*/ 16 h 515"/>
                    <a:gd name="T26" fmla="*/ 44 w 93"/>
                    <a:gd name="T27" fmla="*/ 11 h 515"/>
                    <a:gd name="T28" fmla="*/ 36 w 93"/>
                    <a:gd name="T29" fmla="*/ 7 h 515"/>
                    <a:gd name="T30" fmla="*/ 28 w 93"/>
                    <a:gd name="T31" fmla="*/ 4 h 515"/>
                    <a:gd name="T32" fmla="*/ 19 w 93"/>
                    <a:gd name="T33" fmla="*/ 1 h 515"/>
                    <a:gd name="T34" fmla="*/ 10 w 93"/>
                    <a:gd name="T35" fmla="*/ 0 h 515"/>
                    <a:gd name="T36" fmla="*/ 0 w 93"/>
                    <a:gd name="T37" fmla="*/ 0 h 515"/>
                    <a:gd name="T38" fmla="*/ 0 w 93"/>
                    <a:gd name="T39" fmla="*/ 515 h 515"/>
                    <a:gd name="T40" fmla="*/ 93 w 93"/>
                    <a:gd name="T41" fmla="*/ 515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515">
                      <a:moveTo>
                        <a:pt x="93" y="515"/>
                      </a:moveTo>
                      <a:lnTo>
                        <a:pt x="93" y="93"/>
                      </a:lnTo>
                      <a:lnTo>
                        <a:pt x="93" y="93"/>
                      </a:lnTo>
                      <a:lnTo>
                        <a:pt x="93" y="83"/>
                      </a:lnTo>
                      <a:lnTo>
                        <a:pt x="91" y="74"/>
                      </a:lnTo>
                      <a:lnTo>
                        <a:pt x="89" y="65"/>
                      </a:lnTo>
                      <a:lnTo>
                        <a:pt x="86" y="56"/>
                      </a:lnTo>
                      <a:lnTo>
                        <a:pt x="82" y="49"/>
                      </a:lnTo>
                      <a:lnTo>
                        <a:pt x="78" y="41"/>
                      </a:lnTo>
                      <a:lnTo>
                        <a:pt x="72" y="33"/>
                      </a:lnTo>
                      <a:lnTo>
                        <a:pt x="66" y="27"/>
                      </a:lnTo>
                      <a:lnTo>
                        <a:pt x="60" y="21"/>
                      </a:lnTo>
                      <a:lnTo>
                        <a:pt x="53" y="16"/>
                      </a:lnTo>
                      <a:lnTo>
                        <a:pt x="44" y="11"/>
                      </a:lnTo>
                      <a:lnTo>
                        <a:pt x="36" y="7"/>
                      </a:lnTo>
                      <a:lnTo>
                        <a:pt x="28" y="4"/>
                      </a:lnTo>
                      <a:lnTo>
                        <a:pt x="19" y="1"/>
                      </a:lnTo>
                      <a:lnTo>
                        <a:pt x="10" y="0"/>
                      </a:lnTo>
                      <a:lnTo>
                        <a:pt x="0" y="0"/>
                      </a:lnTo>
                      <a:lnTo>
                        <a:pt x="0" y="515"/>
                      </a:lnTo>
                      <a:lnTo>
                        <a:pt x="93" y="5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6" name="Freeform 363"/>
                <p:cNvSpPr>
                  <a:spLocks/>
                </p:cNvSpPr>
                <p:nvPr userDrawn="1"/>
              </p:nvSpPr>
              <p:spPr bwMode="auto">
                <a:xfrm>
                  <a:off x="9797596" y="3899986"/>
                  <a:ext cx="73025" cy="407988"/>
                </a:xfrm>
                <a:custGeom>
                  <a:avLst/>
                  <a:gdLst>
                    <a:gd name="T0" fmla="*/ 92 w 92"/>
                    <a:gd name="T1" fmla="*/ 515 h 515"/>
                    <a:gd name="T2" fmla="*/ 92 w 92"/>
                    <a:gd name="T3" fmla="*/ 0 h 515"/>
                    <a:gd name="T4" fmla="*/ 92 w 92"/>
                    <a:gd name="T5" fmla="*/ 0 h 515"/>
                    <a:gd name="T6" fmla="*/ 83 w 92"/>
                    <a:gd name="T7" fmla="*/ 0 h 515"/>
                    <a:gd name="T8" fmla="*/ 73 w 92"/>
                    <a:gd name="T9" fmla="*/ 1 h 515"/>
                    <a:gd name="T10" fmla="*/ 65 w 92"/>
                    <a:gd name="T11" fmla="*/ 4 h 515"/>
                    <a:gd name="T12" fmla="*/ 55 w 92"/>
                    <a:gd name="T13" fmla="*/ 7 h 515"/>
                    <a:gd name="T14" fmla="*/ 48 w 92"/>
                    <a:gd name="T15" fmla="*/ 11 h 515"/>
                    <a:gd name="T16" fmla="*/ 40 w 92"/>
                    <a:gd name="T17" fmla="*/ 16 h 515"/>
                    <a:gd name="T18" fmla="*/ 33 w 92"/>
                    <a:gd name="T19" fmla="*/ 21 h 515"/>
                    <a:gd name="T20" fmla="*/ 27 w 92"/>
                    <a:gd name="T21" fmla="*/ 27 h 515"/>
                    <a:gd name="T22" fmla="*/ 21 w 92"/>
                    <a:gd name="T23" fmla="*/ 33 h 515"/>
                    <a:gd name="T24" fmla="*/ 15 w 92"/>
                    <a:gd name="T25" fmla="*/ 41 h 515"/>
                    <a:gd name="T26" fmla="*/ 10 w 92"/>
                    <a:gd name="T27" fmla="*/ 49 h 515"/>
                    <a:gd name="T28" fmla="*/ 7 w 92"/>
                    <a:gd name="T29" fmla="*/ 56 h 515"/>
                    <a:gd name="T30" fmla="*/ 3 w 92"/>
                    <a:gd name="T31" fmla="*/ 65 h 515"/>
                    <a:gd name="T32" fmla="*/ 1 w 92"/>
                    <a:gd name="T33" fmla="*/ 74 h 515"/>
                    <a:gd name="T34" fmla="*/ 0 w 92"/>
                    <a:gd name="T35" fmla="*/ 83 h 515"/>
                    <a:gd name="T36" fmla="*/ 0 w 92"/>
                    <a:gd name="T37" fmla="*/ 93 h 515"/>
                    <a:gd name="T38" fmla="*/ 0 w 92"/>
                    <a:gd name="T39" fmla="*/ 515 h 515"/>
                    <a:gd name="T40" fmla="*/ 92 w 92"/>
                    <a:gd name="T41" fmla="*/ 515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515">
                      <a:moveTo>
                        <a:pt x="92" y="515"/>
                      </a:moveTo>
                      <a:lnTo>
                        <a:pt x="92" y="0"/>
                      </a:lnTo>
                      <a:lnTo>
                        <a:pt x="92" y="0"/>
                      </a:lnTo>
                      <a:lnTo>
                        <a:pt x="83" y="0"/>
                      </a:lnTo>
                      <a:lnTo>
                        <a:pt x="73" y="1"/>
                      </a:lnTo>
                      <a:lnTo>
                        <a:pt x="65" y="4"/>
                      </a:lnTo>
                      <a:lnTo>
                        <a:pt x="55" y="7"/>
                      </a:lnTo>
                      <a:lnTo>
                        <a:pt x="48" y="11"/>
                      </a:lnTo>
                      <a:lnTo>
                        <a:pt x="40" y="16"/>
                      </a:lnTo>
                      <a:lnTo>
                        <a:pt x="33" y="21"/>
                      </a:lnTo>
                      <a:lnTo>
                        <a:pt x="27" y="27"/>
                      </a:lnTo>
                      <a:lnTo>
                        <a:pt x="21" y="33"/>
                      </a:lnTo>
                      <a:lnTo>
                        <a:pt x="15" y="41"/>
                      </a:lnTo>
                      <a:lnTo>
                        <a:pt x="10" y="49"/>
                      </a:lnTo>
                      <a:lnTo>
                        <a:pt x="7" y="56"/>
                      </a:lnTo>
                      <a:lnTo>
                        <a:pt x="3" y="65"/>
                      </a:lnTo>
                      <a:lnTo>
                        <a:pt x="1" y="74"/>
                      </a:lnTo>
                      <a:lnTo>
                        <a:pt x="0" y="83"/>
                      </a:lnTo>
                      <a:lnTo>
                        <a:pt x="0" y="93"/>
                      </a:lnTo>
                      <a:lnTo>
                        <a:pt x="0" y="515"/>
                      </a:lnTo>
                      <a:lnTo>
                        <a:pt x="92" y="5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7" name="Freeform 364"/>
                <p:cNvSpPr>
                  <a:spLocks/>
                </p:cNvSpPr>
                <p:nvPr userDrawn="1"/>
              </p:nvSpPr>
              <p:spPr bwMode="auto">
                <a:xfrm>
                  <a:off x="9797596" y="3899986"/>
                  <a:ext cx="73025" cy="407988"/>
                </a:xfrm>
                <a:custGeom>
                  <a:avLst/>
                  <a:gdLst>
                    <a:gd name="T0" fmla="*/ 92 w 92"/>
                    <a:gd name="T1" fmla="*/ 515 h 515"/>
                    <a:gd name="T2" fmla="*/ 92 w 92"/>
                    <a:gd name="T3" fmla="*/ 0 h 515"/>
                    <a:gd name="T4" fmla="*/ 92 w 92"/>
                    <a:gd name="T5" fmla="*/ 0 h 515"/>
                    <a:gd name="T6" fmla="*/ 83 w 92"/>
                    <a:gd name="T7" fmla="*/ 0 h 515"/>
                    <a:gd name="T8" fmla="*/ 73 w 92"/>
                    <a:gd name="T9" fmla="*/ 1 h 515"/>
                    <a:gd name="T10" fmla="*/ 65 w 92"/>
                    <a:gd name="T11" fmla="*/ 4 h 515"/>
                    <a:gd name="T12" fmla="*/ 55 w 92"/>
                    <a:gd name="T13" fmla="*/ 7 h 515"/>
                    <a:gd name="T14" fmla="*/ 48 w 92"/>
                    <a:gd name="T15" fmla="*/ 11 h 515"/>
                    <a:gd name="T16" fmla="*/ 40 w 92"/>
                    <a:gd name="T17" fmla="*/ 16 h 515"/>
                    <a:gd name="T18" fmla="*/ 33 w 92"/>
                    <a:gd name="T19" fmla="*/ 21 h 515"/>
                    <a:gd name="T20" fmla="*/ 27 w 92"/>
                    <a:gd name="T21" fmla="*/ 27 h 515"/>
                    <a:gd name="T22" fmla="*/ 21 w 92"/>
                    <a:gd name="T23" fmla="*/ 33 h 515"/>
                    <a:gd name="T24" fmla="*/ 15 w 92"/>
                    <a:gd name="T25" fmla="*/ 41 h 515"/>
                    <a:gd name="T26" fmla="*/ 10 w 92"/>
                    <a:gd name="T27" fmla="*/ 49 h 515"/>
                    <a:gd name="T28" fmla="*/ 7 w 92"/>
                    <a:gd name="T29" fmla="*/ 56 h 515"/>
                    <a:gd name="T30" fmla="*/ 3 w 92"/>
                    <a:gd name="T31" fmla="*/ 65 h 515"/>
                    <a:gd name="T32" fmla="*/ 1 w 92"/>
                    <a:gd name="T33" fmla="*/ 74 h 515"/>
                    <a:gd name="T34" fmla="*/ 0 w 92"/>
                    <a:gd name="T35" fmla="*/ 83 h 515"/>
                    <a:gd name="T36" fmla="*/ 0 w 92"/>
                    <a:gd name="T37" fmla="*/ 93 h 515"/>
                    <a:gd name="T38" fmla="*/ 0 w 92"/>
                    <a:gd name="T39" fmla="*/ 515 h 515"/>
                    <a:gd name="T40" fmla="*/ 92 w 92"/>
                    <a:gd name="T41" fmla="*/ 515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515">
                      <a:moveTo>
                        <a:pt x="92" y="515"/>
                      </a:moveTo>
                      <a:lnTo>
                        <a:pt x="92" y="0"/>
                      </a:lnTo>
                      <a:lnTo>
                        <a:pt x="92" y="0"/>
                      </a:lnTo>
                      <a:lnTo>
                        <a:pt x="83" y="0"/>
                      </a:lnTo>
                      <a:lnTo>
                        <a:pt x="73" y="1"/>
                      </a:lnTo>
                      <a:lnTo>
                        <a:pt x="65" y="4"/>
                      </a:lnTo>
                      <a:lnTo>
                        <a:pt x="55" y="7"/>
                      </a:lnTo>
                      <a:lnTo>
                        <a:pt x="48" y="11"/>
                      </a:lnTo>
                      <a:lnTo>
                        <a:pt x="40" y="16"/>
                      </a:lnTo>
                      <a:lnTo>
                        <a:pt x="33" y="21"/>
                      </a:lnTo>
                      <a:lnTo>
                        <a:pt x="27" y="27"/>
                      </a:lnTo>
                      <a:lnTo>
                        <a:pt x="21" y="33"/>
                      </a:lnTo>
                      <a:lnTo>
                        <a:pt x="15" y="41"/>
                      </a:lnTo>
                      <a:lnTo>
                        <a:pt x="10" y="49"/>
                      </a:lnTo>
                      <a:lnTo>
                        <a:pt x="7" y="56"/>
                      </a:lnTo>
                      <a:lnTo>
                        <a:pt x="3" y="65"/>
                      </a:lnTo>
                      <a:lnTo>
                        <a:pt x="1" y="74"/>
                      </a:lnTo>
                      <a:lnTo>
                        <a:pt x="0" y="83"/>
                      </a:lnTo>
                      <a:lnTo>
                        <a:pt x="0" y="93"/>
                      </a:lnTo>
                      <a:lnTo>
                        <a:pt x="0" y="515"/>
                      </a:lnTo>
                      <a:lnTo>
                        <a:pt x="92" y="5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8" name="Rectangle 365"/>
                <p:cNvSpPr>
                  <a:spLocks noChangeArrowheads="1"/>
                </p:cNvSpPr>
                <p:nvPr userDrawn="1"/>
              </p:nvSpPr>
              <p:spPr bwMode="auto">
                <a:xfrm>
                  <a:off x="9797596" y="4307974"/>
                  <a:ext cx="73025" cy="192088"/>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19" name="Rectangle 366"/>
                <p:cNvSpPr>
                  <a:spLocks noChangeArrowheads="1"/>
                </p:cNvSpPr>
                <p:nvPr userDrawn="1"/>
              </p:nvSpPr>
              <p:spPr bwMode="auto">
                <a:xfrm>
                  <a:off x="9797596" y="4307974"/>
                  <a:ext cx="73025" cy="1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0" name="Rectangle 367"/>
                <p:cNvSpPr>
                  <a:spLocks noChangeArrowheads="1"/>
                </p:cNvSpPr>
                <p:nvPr userDrawn="1"/>
              </p:nvSpPr>
              <p:spPr bwMode="auto">
                <a:xfrm>
                  <a:off x="9870621" y="4307974"/>
                  <a:ext cx="74613" cy="192088"/>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1" name="Rectangle 368"/>
                <p:cNvSpPr>
                  <a:spLocks noChangeArrowheads="1"/>
                </p:cNvSpPr>
                <p:nvPr userDrawn="1"/>
              </p:nvSpPr>
              <p:spPr bwMode="auto">
                <a:xfrm>
                  <a:off x="9870621" y="4307974"/>
                  <a:ext cx="74613" cy="1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2" name="Freeform 369"/>
                <p:cNvSpPr>
                  <a:spLocks/>
                </p:cNvSpPr>
                <p:nvPr userDrawn="1"/>
              </p:nvSpPr>
              <p:spPr bwMode="auto">
                <a:xfrm>
                  <a:off x="9870621" y="4434974"/>
                  <a:ext cx="100013" cy="100013"/>
                </a:xfrm>
                <a:custGeom>
                  <a:avLst/>
                  <a:gdLst>
                    <a:gd name="T0" fmla="*/ 126 w 126"/>
                    <a:gd name="T1" fmla="*/ 125 h 125"/>
                    <a:gd name="T2" fmla="*/ 126 w 126"/>
                    <a:gd name="T3" fmla="*/ 125 h 125"/>
                    <a:gd name="T4" fmla="*/ 125 w 126"/>
                    <a:gd name="T5" fmla="*/ 112 h 125"/>
                    <a:gd name="T6" fmla="*/ 123 w 126"/>
                    <a:gd name="T7" fmla="*/ 100 h 125"/>
                    <a:gd name="T8" fmla="*/ 120 w 126"/>
                    <a:gd name="T9" fmla="*/ 88 h 125"/>
                    <a:gd name="T10" fmla="*/ 116 w 126"/>
                    <a:gd name="T11" fmla="*/ 76 h 125"/>
                    <a:gd name="T12" fmla="*/ 111 w 126"/>
                    <a:gd name="T13" fmla="*/ 66 h 125"/>
                    <a:gd name="T14" fmla="*/ 105 w 126"/>
                    <a:gd name="T15" fmla="*/ 55 h 125"/>
                    <a:gd name="T16" fmla="*/ 97 w 126"/>
                    <a:gd name="T17" fmla="*/ 45 h 125"/>
                    <a:gd name="T18" fmla="*/ 89 w 126"/>
                    <a:gd name="T19" fmla="*/ 37 h 125"/>
                    <a:gd name="T20" fmla="*/ 80 w 126"/>
                    <a:gd name="T21" fmla="*/ 29 h 125"/>
                    <a:gd name="T22" fmla="*/ 70 w 126"/>
                    <a:gd name="T23" fmla="*/ 22 h 125"/>
                    <a:gd name="T24" fmla="*/ 60 w 126"/>
                    <a:gd name="T25" fmla="*/ 15 h 125"/>
                    <a:gd name="T26" fmla="*/ 49 w 126"/>
                    <a:gd name="T27" fmla="*/ 10 h 125"/>
                    <a:gd name="T28" fmla="*/ 37 w 126"/>
                    <a:gd name="T29" fmla="*/ 5 h 125"/>
                    <a:gd name="T30" fmla="*/ 25 w 126"/>
                    <a:gd name="T31" fmla="*/ 3 h 125"/>
                    <a:gd name="T32" fmla="*/ 13 w 126"/>
                    <a:gd name="T33" fmla="*/ 0 h 125"/>
                    <a:gd name="T34" fmla="*/ 0 w 126"/>
                    <a:gd name="T35" fmla="*/ 0 h 125"/>
                    <a:gd name="T36" fmla="*/ 0 w 126"/>
                    <a:gd name="T37" fmla="*/ 125 h 125"/>
                    <a:gd name="T38" fmla="*/ 126 w 126"/>
                    <a:gd name="T39"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 h="125">
                      <a:moveTo>
                        <a:pt x="126" y="125"/>
                      </a:moveTo>
                      <a:lnTo>
                        <a:pt x="126" y="125"/>
                      </a:lnTo>
                      <a:lnTo>
                        <a:pt x="125" y="112"/>
                      </a:lnTo>
                      <a:lnTo>
                        <a:pt x="123" y="100"/>
                      </a:lnTo>
                      <a:lnTo>
                        <a:pt x="120" y="88"/>
                      </a:lnTo>
                      <a:lnTo>
                        <a:pt x="116" y="76"/>
                      </a:lnTo>
                      <a:lnTo>
                        <a:pt x="111" y="66"/>
                      </a:lnTo>
                      <a:lnTo>
                        <a:pt x="105" y="55"/>
                      </a:lnTo>
                      <a:lnTo>
                        <a:pt x="97" y="45"/>
                      </a:lnTo>
                      <a:lnTo>
                        <a:pt x="89" y="37"/>
                      </a:lnTo>
                      <a:lnTo>
                        <a:pt x="80" y="29"/>
                      </a:lnTo>
                      <a:lnTo>
                        <a:pt x="70" y="22"/>
                      </a:lnTo>
                      <a:lnTo>
                        <a:pt x="60" y="15"/>
                      </a:lnTo>
                      <a:lnTo>
                        <a:pt x="49" y="10"/>
                      </a:lnTo>
                      <a:lnTo>
                        <a:pt x="37" y="5"/>
                      </a:lnTo>
                      <a:lnTo>
                        <a:pt x="25" y="3"/>
                      </a:lnTo>
                      <a:lnTo>
                        <a:pt x="13" y="0"/>
                      </a:lnTo>
                      <a:lnTo>
                        <a:pt x="0" y="0"/>
                      </a:lnTo>
                      <a:lnTo>
                        <a:pt x="0" y="125"/>
                      </a:lnTo>
                      <a:lnTo>
                        <a:pt x="126" y="125"/>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3" name="Freeform 370"/>
                <p:cNvSpPr>
                  <a:spLocks/>
                </p:cNvSpPr>
                <p:nvPr userDrawn="1"/>
              </p:nvSpPr>
              <p:spPr bwMode="auto">
                <a:xfrm>
                  <a:off x="9770608" y="4434974"/>
                  <a:ext cx="100013" cy="100013"/>
                </a:xfrm>
                <a:custGeom>
                  <a:avLst/>
                  <a:gdLst>
                    <a:gd name="T0" fmla="*/ 126 w 126"/>
                    <a:gd name="T1" fmla="*/ 0 h 125"/>
                    <a:gd name="T2" fmla="*/ 126 w 126"/>
                    <a:gd name="T3" fmla="*/ 0 h 125"/>
                    <a:gd name="T4" fmla="*/ 113 w 126"/>
                    <a:gd name="T5" fmla="*/ 0 h 125"/>
                    <a:gd name="T6" fmla="*/ 101 w 126"/>
                    <a:gd name="T7" fmla="*/ 3 h 125"/>
                    <a:gd name="T8" fmla="*/ 88 w 126"/>
                    <a:gd name="T9" fmla="*/ 5 h 125"/>
                    <a:gd name="T10" fmla="*/ 78 w 126"/>
                    <a:gd name="T11" fmla="*/ 10 h 125"/>
                    <a:gd name="T12" fmla="*/ 66 w 126"/>
                    <a:gd name="T13" fmla="*/ 15 h 125"/>
                    <a:gd name="T14" fmla="*/ 56 w 126"/>
                    <a:gd name="T15" fmla="*/ 22 h 125"/>
                    <a:gd name="T16" fmla="*/ 47 w 126"/>
                    <a:gd name="T17" fmla="*/ 29 h 125"/>
                    <a:gd name="T18" fmla="*/ 37 w 126"/>
                    <a:gd name="T19" fmla="*/ 37 h 125"/>
                    <a:gd name="T20" fmla="*/ 29 w 126"/>
                    <a:gd name="T21" fmla="*/ 45 h 125"/>
                    <a:gd name="T22" fmla="*/ 22 w 126"/>
                    <a:gd name="T23" fmla="*/ 55 h 125"/>
                    <a:gd name="T24" fmla="*/ 16 w 126"/>
                    <a:gd name="T25" fmla="*/ 66 h 125"/>
                    <a:gd name="T26" fmla="*/ 10 w 126"/>
                    <a:gd name="T27" fmla="*/ 76 h 125"/>
                    <a:gd name="T28" fmla="*/ 6 w 126"/>
                    <a:gd name="T29" fmla="*/ 88 h 125"/>
                    <a:gd name="T30" fmla="*/ 3 w 126"/>
                    <a:gd name="T31" fmla="*/ 100 h 125"/>
                    <a:gd name="T32" fmla="*/ 1 w 126"/>
                    <a:gd name="T33" fmla="*/ 112 h 125"/>
                    <a:gd name="T34" fmla="*/ 0 w 126"/>
                    <a:gd name="T35" fmla="*/ 125 h 125"/>
                    <a:gd name="T36" fmla="*/ 126 w 126"/>
                    <a:gd name="T37" fmla="*/ 125 h 125"/>
                    <a:gd name="T38" fmla="*/ 126 w 126"/>
                    <a:gd name="T39"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 h="125">
                      <a:moveTo>
                        <a:pt x="126" y="0"/>
                      </a:moveTo>
                      <a:lnTo>
                        <a:pt x="126" y="0"/>
                      </a:lnTo>
                      <a:lnTo>
                        <a:pt x="113" y="0"/>
                      </a:lnTo>
                      <a:lnTo>
                        <a:pt x="101" y="3"/>
                      </a:lnTo>
                      <a:lnTo>
                        <a:pt x="88" y="5"/>
                      </a:lnTo>
                      <a:lnTo>
                        <a:pt x="78" y="10"/>
                      </a:lnTo>
                      <a:lnTo>
                        <a:pt x="66" y="15"/>
                      </a:lnTo>
                      <a:lnTo>
                        <a:pt x="56" y="22"/>
                      </a:lnTo>
                      <a:lnTo>
                        <a:pt x="47" y="29"/>
                      </a:lnTo>
                      <a:lnTo>
                        <a:pt x="37" y="37"/>
                      </a:lnTo>
                      <a:lnTo>
                        <a:pt x="29" y="45"/>
                      </a:lnTo>
                      <a:lnTo>
                        <a:pt x="22" y="55"/>
                      </a:lnTo>
                      <a:lnTo>
                        <a:pt x="16" y="66"/>
                      </a:lnTo>
                      <a:lnTo>
                        <a:pt x="10" y="76"/>
                      </a:lnTo>
                      <a:lnTo>
                        <a:pt x="6" y="88"/>
                      </a:lnTo>
                      <a:lnTo>
                        <a:pt x="3" y="100"/>
                      </a:lnTo>
                      <a:lnTo>
                        <a:pt x="1" y="112"/>
                      </a:lnTo>
                      <a:lnTo>
                        <a:pt x="0" y="125"/>
                      </a:lnTo>
                      <a:lnTo>
                        <a:pt x="126" y="125"/>
                      </a:lnTo>
                      <a:lnTo>
                        <a:pt x="1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4" name="Freeform 371"/>
                <p:cNvSpPr>
                  <a:spLocks/>
                </p:cNvSpPr>
                <p:nvPr userDrawn="1"/>
              </p:nvSpPr>
              <p:spPr bwMode="auto">
                <a:xfrm>
                  <a:off x="9770608" y="4534986"/>
                  <a:ext cx="100013" cy="100013"/>
                </a:xfrm>
                <a:custGeom>
                  <a:avLst/>
                  <a:gdLst>
                    <a:gd name="T0" fmla="*/ 0 w 126"/>
                    <a:gd name="T1" fmla="*/ 0 h 126"/>
                    <a:gd name="T2" fmla="*/ 0 w 126"/>
                    <a:gd name="T3" fmla="*/ 0 h 126"/>
                    <a:gd name="T4" fmla="*/ 1 w 126"/>
                    <a:gd name="T5" fmla="*/ 13 h 126"/>
                    <a:gd name="T6" fmla="*/ 3 w 126"/>
                    <a:gd name="T7" fmla="*/ 26 h 126"/>
                    <a:gd name="T8" fmla="*/ 6 w 126"/>
                    <a:gd name="T9" fmla="*/ 38 h 126"/>
                    <a:gd name="T10" fmla="*/ 10 w 126"/>
                    <a:gd name="T11" fmla="*/ 49 h 126"/>
                    <a:gd name="T12" fmla="*/ 16 w 126"/>
                    <a:gd name="T13" fmla="*/ 61 h 126"/>
                    <a:gd name="T14" fmla="*/ 22 w 126"/>
                    <a:gd name="T15" fmla="*/ 70 h 126"/>
                    <a:gd name="T16" fmla="*/ 29 w 126"/>
                    <a:gd name="T17" fmla="*/ 81 h 126"/>
                    <a:gd name="T18" fmla="*/ 37 w 126"/>
                    <a:gd name="T19" fmla="*/ 89 h 126"/>
                    <a:gd name="T20" fmla="*/ 47 w 126"/>
                    <a:gd name="T21" fmla="*/ 98 h 126"/>
                    <a:gd name="T22" fmla="*/ 56 w 126"/>
                    <a:gd name="T23" fmla="*/ 105 h 126"/>
                    <a:gd name="T24" fmla="*/ 66 w 126"/>
                    <a:gd name="T25" fmla="*/ 111 h 126"/>
                    <a:gd name="T26" fmla="*/ 78 w 126"/>
                    <a:gd name="T27" fmla="*/ 117 h 126"/>
                    <a:gd name="T28" fmla="*/ 88 w 126"/>
                    <a:gd name="T29" fmla="*/ 120 h 126"/>
                    <a:gd name="T30" fmla="*/ 101 w 126"/>
                    <a:gd name="T31" fmla="*/ 124 h 126"/>
                    <a:gd name="T32" fmla="*/ 113 w 126"/>
                    <a:gd name="T33" fmla="*/ 125 h 126"/>
                    <a:gd name="T34" fmla="*/ 126 w 126"/>
                    <a:gd name="T35" fmla="*/ 126 h 126"/>
                    <a:gd name="T36" fmla="*/ 126 w 126"/>
                    <a:gd name="T37" fmla="*/ 0 h 126"/>
                    <a:gd name="T38" fmla="*/ 0 w 126"/>
                    <a:gd name="T3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 h="126">
                      <a:moveTo>
                        <a:pt x="0" y="0"/>
                      </a:moveTo>
                      <a:lnTo>
                        <a:pt x="0" y="0"/>
                      </a:lnTo>
                      <a:lnTo>
                        <a:pt x="1" y="13"/>
                      </a:lnTo>
                      <a:lnTo>
                        <a:pt x="3" y="26"/>
                      </a:lnTo>
                      <a:lnTo>
                        <a:pt x="6" y="38"/>
                      </a:lnTo>
                      <a:lnTo>
                        <a:pt x="10" y="49"/>
                      </a:lnTo>
                      <a:lnTo>
                        <a:pt x="16" y="61"/>
                      </a:lnTo>
                      <a:lnTo>
                        <a:pt x="22" y="70"/>
                      </a:lnTo>
                      <a:lnTo>
                        <a:pt x="29" y="81"/>
                      </a:lnTo>
                      <a:lnTo>
                        <a:pt x="37" y="89"/>
                      </a:lnTo>
                      <a:lnTo>
                        <a:pt x="47" y="98"/>
                      </a:lnTo>
                      <a:lnTo>
                        <a:pt x="56" y="105"/>
                      </a:lnTo>
                      <a:lnTo>
                        <a:pt x="66" y="111"/>
                      </a:lnTo>
                      <a:lnTo>
                        <a:pt x="78" y="117"/>
                      </a:lnTo>
                      <a:lnTo>
                        <a:pt x="88" y="120"/>
                      </a:lnTo>
                      <a:lnTo>
                        <a:pt x="101" y="124"/>
                      </a:lnTo>
                      <a:lnTo>
                        <a:pt x="113" y="125"/>
                      </a:lnTo>
                      <a:lnTo>
                        <a:pt x="126" y="126"/>
                      </a:lnTo>
                      <a:lnTo>
                        <a:pt x="126" y="0"/>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5" name="Freeform 372"/>
                <p:cNvSpPr>
                  <a:spLocks/>
                </p:cNvSpPr>
                <p:nvPr userDrawn="1"/>
              </p:nvSpPr>
              <p:spPr bwMode="auto">
                <a:xfrm>
                  <a:off x="9870621" y="4534986"/>
                  <a:ext cx="100013" cy="100013"/>
                </a:xfrm>
                <a:custGeom>
                  <a:avLst/>
                  <a:gdLst>
                    <a:gd name="T0" fmla="*/ 0 w 126"/>
                    <a:gd name="T1" fmla="*/ 0 h 126"/>
                    <a:gd name="T2" fmla="*/ 0 w 126"/>
                    <a:gd name="T3" fmla="*/ 126 h 126"/>
                    <a:gd name="T4" fmla="*/ 0 w 126"/>
                    <a:gd name="T5" fmla="*/ 126 h 126"/>
                    <a:gd name="T6" fmla="*/ 13 w 126"/>
                    <a:gd name="T7" fmla="*/ 125 h 126"/>
                    <a:gd name="T8" fmla="*/ 25 w 126"/>
                    <a:gd name="T9" fmla="*/ 124 h 126"/>
                    <a:gd name="T10" fmla="*/ 37 w 126"/>
                    <a:gd name="T11" fmla="*/ 120 h 126"/>
                    <a:gd name="T12" fmla="*/ 49 w 126"/>
                    <a:gd name="T13" fmla="*/ 117 h 126"/>
                    <a:gd name="T14" fmla="*/ 60 w 126"/>
                    <a:gd name="T15" fmla="*/ 111 h 126"/>
                    <a:gd name="T16" fmla="*/ 70 w 126"/>
                    <a:gd name="T17" fmla="*/ 105 h 126"/>
                    <a:gd name="T18" fmla="*/ 80 w 126"/>
                    <a:gd name="T19" fmla="*/ 98 h 126"/>
                    <a:gd name="T20" fmla="*/ 89 w 126"/>
                    <a:gd name="T21" fmla="*/ 89 h 126"/>
                    <a:gd name="T22" fmla="*/ 97 w 126"/>
                    <a:gd name="T23" fmla="*/ 81 h 126"/>
                    <a:gd name="T24" fmla="*/ 105 w 126"/>
                    <a:gd name="T25" fmla="*/ 70 h 126"/>
                    <a:gd name="T26" fmla="*/ 111 w 126"/>
                    <a:gd name="T27" fmla="*/ 61 h 126"/>
                    <a:gd name="T28" fmla="*/ 116 w 126"/>
                    <a:gd name="T29" fmla="*/ 49 h 126"/>
                    <a:gd name="T30" fmla="*/ 120 w 126"/>
                    <a:gd name="T31" fmla="*/ 38 h 126"/>
                    <a:gd name="T32" fmla="*/ 123 w 126"/>
                    <a:gd name="T33" fmla="*/ 26 h 126"/>
                    <a:gd name="T34" fmla="*/ 125 w 126"/>
                    <a:gd name="T35" fmla="*/ 13 h 126"/>
                    <a:gd name="T36" fmla="*/ 126 w 126"/>
                    <a:gd name="T37" fmla="*/ 0 h 126"/>
                    <a:gd name="T38" fmla="*/ 0 w 126"/>
                    <a:gd name="T3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 h="126">
                      <a:moveTo>
                        <a:pt x="0" y="0"/>
                      </a:moveTo>
                      <a:lnTo>
                        <a:pt x="0" y="126"/>
                      </a:lnTo>
                      <a:lnTo>
                        <a:pt x="0" y="126"/>
                      </a:lnTo>
                      <a:lnTo>
                        <a:pt x="13" y="125"/>
                      </a:lnTo>
                      <a:lnTo>
                        <a:pt x="25" y="124"/>
                      </a:lnTo>
                      <a:lnTo>
                        <a:pt x="37" y="120"/>
                      </a:lnTo>
                      <a:lnTo>
                        <a:pt x="49" y="117"/>
                      </a:lnTo>
                      <a:lnTo>
                        <a:pt x="60" y="111"/>
                      </a:lnTo>
                      <a:lnTo>
                        <a:pt x="70" y="105"/>
                      </a:lnTo>
                      <a:lnTo>
                        <a:pt x="80" y="98"/>
                      </a:lnTo>
                      <a:lnTo>
                        <a:pt x="89" y="89"/>
                      </a:lnTo>
                      <a:lnTo>
                        <a:pt x="97" y="81"/>
                      </a:lnTo>
                      <a:lnTo>
                        <a:pt x="105" y="70"/>
                      </a:lnTo>
                      <a:lnTo>
                        <a:pt x="111" y="61"/>
                      </a:lnTo>
                      <a:lnTo>
                        <a:pt x="116" y="49"/>
                      </a:lnTo>
                      <a:lnTo>
                        <a:pt x="120" y="38"/>
                      </a:lnTo>
                      <a:lnTo>
                        <a:pt x="123" y="26"/>
                      </a:lnTo>
                      <a:lnTo>
                        <a:pt x="125" y="13"/>
                      </a:lnTo>
                      <a:lnTo>
                        <a:pt x="126" y="0"/>
                      </a:lnTo>
                      <a:lnTo>
                        <a:pt x="0" y="0"/>
                      </a:lnTo>
                      <a:close/>
                    </a:path>
                  </a:pathLst>
                </a:custGeom>
                <a:solidFill>
                  <a:srgbClr val="A5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6" name="Rectangle 373"/>
                <p:cNvSpPr>
                  <a:spLocks noChangeArrowheads="1"/>
                </p:cNvSpPr>
                <p:nvPr userDrawn="1"/>
              </p:nvSpPr>
              <p:spPr bwMode="auto">
                <a:xfrm>
                  <a:off x="9945233" y="4039686"/>
                  <a:ext cx="125413" cy="100013"/>
                </a:xfrm>
                <a:prstGeom prst="rect">
                  <a:avLst/>
                </a:prstGeom>
                <a:solidFill>
                  <a:srgbClr val="3469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7" name="Rectangle 374"/>
                <p:cNvSpPr>
                  <a:spLocks noChangeArrowheads="1"/>
                </p:cNvSpPr>
                <p:nvPr userDrawn="1"/>
              </p:nvSpPr>
              <p:spPr bwMode="auto">
                <a:xfrm>
                  <a:off x="9945233" y="4139699"/>
                  <a:ext cx="125413" cy="10160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8" name="Freeform 375"/>
                <p:cNvSpPr>
                  <a:spLocks/>
                </p:cNvSpPr>
                <p:nvPr userDrawn="1"/>
              </p:nvSpPr>
              <p:spPr bwMode="auto">
                <a:xfrm>
                  <a:off x="9945233" y="4307974"/>
                  <a:ext cx="192088" cy="65088"/>
                </a:xfrm>
                <a:custGeom>
                  <a:avLst/>
                  <a:gdLst>
                    <a:gd name="T0" fmla="*/ 24 w 244"/>
                    <a:gd name="T1" fmla="*/ 82 h 82"/>
                    <a:gd name="T2" fmla="*/ 244 w 244"/>
                    <a:gd name="T3" fmla="*/ 82 h 82"/>
                    <a:gd name="T4" fmla="*/ 244 w 244"/>
                    <a:gd name="T5" fmla="*/ 0 h 82"/>
                    <a:gd name="T6" fmla="*/ 0 w 244"/>
                    <a:gd name="T7" fmla="*/ 0 h 82"/>
                    <a:gd name="T8" fmla="*/ 24 w 244"/>
                    <a:gd name="T9" fmla="*/ 82 h 82"/>
                  </a:gdLst>
                  <a:ahLst/>
                  <a:cxnLst>
                    <a:cxn ang="0">
                      <a:pos x="T0" y="T1"/>
                    </a:cxn>
                    <a:cxn ang="0">
                      <a:pos x="T2" y="T3"/>
                    </a:cxn>
                    <a:cxn ang="0">
                      <a:pos x="T4" y="T5"/>
                    </a:cxn>
                    <a:cxn ang="0">
                      <a:pos x="T6" y="T7"/>
                    </a:cxn>
                    <a:cxn ang="0">
                      <a:pos x="T8" y="T9"/>
                    </a:cxn>
                  </a:cxnLst>
                  <a:rect l="0" t="0" r="r" b="b"/>
                  <a:pathLst>
                    <a:path w="244" h="82">
                      <a:moveTo>
                        <a:pt x="24" y="82"/>
                      </a:moveTo>
                      <a:lnTo>
                        <a:pt x="244" y="82"/>
                      </a:lnTo>
                      <a:lnTo>
                        <a:pt x="244" y="0"/>
                      </a:lnTo>
                      <a:lnTo>
                        <a:pt x="0" y="0"/>
                      </a:lnTo>
                      <a:lnTo>
                        <a:pt x="24" y="82"/>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29" name="Freeform 376"/>
                <p:cNvSpPr>
                  <a:spLocks/>
                </p:cNvSpPr>
                <p:nvPr userDrawn="1"/>
              </p:nvSpPr>
              <p:spPr bwMode="auto">
                <a:xfrm>
                  <a:off x="9945233" y="4307974"/>
                  <a:ext cx="192088" cy="65088"/>
                </a:xfrm>
                <a:custGeom>
                  <a:avLst/>
                  <a:gdLst>
                    <a:gd name="T0" fmla="*/ 24 w 244"/>
                    <a:gd name="T1" fmla="*/ 82 h 82"/>
                    <a:gd name="T2" fmla="*/ 244 w 244"/>
                    <a:gd name="T3" fmla="*/ 82 h 82"/>
                    <a:gd name="T4" fmla="*/ 244 w 244"/>
                    <a:gd name="T5" fmla="*/ 0 h 82"/>
                    <a:gd name="T6" fmla="*/ 0 w 244"/>
                    <a:gd name="T7" fmla="*/ 0 h 82"/>
                    <a:gd name="T8" fmla="*/ 24 w 244"/>
                    <a:gd name="T9" fmla="*/ 82 h 82"/>
                  </a:gdLst>
                  <a:ahLst/>
                  <a:cxnLst>
                    <a:cxn ang="0">
                      <a:pos x="T0" y="T1"/>
                    </a:cxn>
                    <a:cxn ang="0">
                      <a:pos x="T2" y="T3"/>
                    </a:cxn>
                    <a:cxn ang="0">
                      <a:pos x="T4" y="T5"/>
                    </a:cxn>
                    <a:cxn ang="0">
                      <a:pos x="T6" y="T7"/>
                    </a:cxn>
                    <a:cxn ang="0">
                      <a:pos x="T8" y="T9"/>
                    </a:cxn>
                  </a:cxnLst>
                  <a:rect l="0" t="0" r="r" b="b"/>
                  <a:pathLst>
                    <a:path w="244" h="82">
                      <a:moveTo>
                        <a:pt x="24" y="82"/>
                      </a:moveTo>
                      <a:lnTo>
                        <a:pt x="244" y="82"/>
                      </a:lnTo>
                      <a:lnTo>
                        <a:pt x="244" y="0"/>
                      </a:lnTo>
                      <a:lnTo>
                        <a:pt x="0" y="0"/>
                      </a:lnTo>
                      <a:lnTo>
                        <a:pt x="24" y="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0" name="Freeform 377"/>
                <p:cNvSpPr>
                  <a:spLocks/>
                </p:cNvSpPr>
                <p:nvPr userDrawn="1"/>
              </p:nvSpPr>
              <p:spPr bwMode="auto">
                <a:xfrm>
                  <a:off x="9927771" y="4652461"/>
                  <a:ext cx="190500" cy="58738"/>
                </a:xfrm>
                <a:custGeom>
                  <a:avLst/>
                  <a:gdLst>
                    <a:gd name="T0" fmla="*/ 240 w 240"/>
                    <a:gd name="T1" fmla="*/ 0 h 74"/>
                    <a:gd name="T2" fmla="*/ 8 w 240"/>
                    <a:gd name="T3" fmla="*/ 0 h 74"/>
                    <a:gd name="T4" fmla="*/ 0 w 240"/>
                    <a:gd name="T5" fmla="*/ 74 h 74"/>
                    <a:gd name="T6" fmla="*/ 227 w 240"/>
                    <a:gd name="T7" fmla="*/ 74 h 74"/>
                    <a:gd name="T8" fmla="*/ 240 w 240"/>
                    <a:gd name="T9" fmla="*/ 0 h 74"/>
                  </a:gdLst>
                  <a:ahLst/>
                  <a:cxnLst>
                    <a:cxn ang="0">
                      <a:pos x="T0" y="T1"/>
                    </a:cxn>
                    <a:cxn ang="0">
                      <a:pos x="T2" y="T3"/>
                    </a:cxn>
                    <a:cxn ang="0">
                      <a:pos x="T4" y="T5"/>
                    </a:cxn>
                    <a:cxn ang="0">
                      <a:pos x="T6" y="T7"/>
                    </a:cxn>
                    <a:cxn ang="0">
                      <a:pos x="T8" y="T9"/>
                    </a:cxn>
                  </a:cxnLst>
                  <a:rect l="0" t="0" r="r" b="b"/>
                  <a:pathLst>
                    <a:path w="240" h="74">
                      <a:moveTo>
                        <a:pt x="240" y="0"/>
                      </a:moveTo>
                      <a:lnTo>
                        <a:pt x="8" y="0"/>
                      </a:lnTo>
                      <a:lnTo>
                        <a:pt x="0" y="74"/>
                      </a:lnTo>
                      <a:lnTo>
                        <a:pt x="227" y="74"/>
                      </a:lnTo>
                      <a:lnTo>
                        <a:pt x="240"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1" name="Freeform 378"/>
                <p:cNvSpPr>
                  <a:spLocks/>
                </p:cNvSpPr>
                <p:nvPr userDrawn="1"/>
              </p:nvSpPr>
              <p:spPr bwMode="auto">
                <a:xfrm>
                  <a:off x="9927771" y="4652461"/>
                  <a:ext cx="190500" cy="58738"/>
                </a:xfrm>
                <a:custGeom>
                  <a:avLst/>
                  <a:gdLst>
                    <a:gd name="T0" fmla="*/ 240 w 240"/>
                    <a:gd name="T1" fmla="*/ 0 h 74"/>
                    <a:gd name="T2" fmla="*/ 8 w 240"/>
                    <a:gd name="T3" fmla="*/ 0 h 74"/>
                    <a:gd name="T4" fmla="*/ 0 w 240"/>
                    <a:gd name="T5" fmla="*/ 74 h 74"/>
                    <a:gd name="T6" fmla="*/ 227 w 240"/>
                    <a:gd name="T7" fmla="*/ 74 h 74"/>
                    <a:gd name="T8" fmla="*/ 240 w 240"/>
                    <a:gd name="T9" fmla="*/ 0 h 74"/>
                  </a:gdLst>
                  <a:ahLst/>
                  <a:cxnLst>
                    <a:cxn ang="0">
                      <a:pos x="T0" y="T1"/>
                    </a:cxn>
                    <a:cxn ang="0">
                      <a:pos x="T2" y="T3"/>
                    </a:cxn>
                    <a:cxn ang="0">
                      <a:pos x="T4" y="T5"/>
                    </a:cxn>
                    <a:cxn ang="0">
                      <a:pos x="T6" y="T7"/>
                    </a:cxn>
                    <a:cxn ang="0">
                      <a:pos x="T8" y="T9"/>
                    </a:cxn>
                  </a:cxnLst>
                  <a:rect l="0" t="0" r="r" b="b"/>
                  <a:pathLst>
                    <a:path w="240" h="74">
                      <a:moveTo>
                        <a:pt x="240" y="0"/>
                      </a:moveTo>
                      <a:lnTo>
                        <a:pt x="8" y="0"/>
                      </a:lnTo>
                      <a:lnTo>
                        <a:pt x="0" y="74"/>
                      </a:lnTo>
                      <a:lnTo>
                        <a:pt x="227" y="74"/>
                      </a:lnTo>
                      <a:lnTo>
                        <a:pt x="2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2" name="Rectangle 379"/>
                <p:cNvSpPr>
                  <a:spLocks noChangeArrowheads="1"/>
                </p:cNvSpPr>
                <p:nvPr userDrawn="1"/>
              </p:nvSpPr>
              <p:spPr bwMode="auto">
                <a:xfrm>
                  <a:off x="9927771" y="4711199"/>
                  <a:ext cx="179388" cy="261938"/>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3" name="Freeform 380"/>
                <p:cNvSpPr>
                  <a:spLocks/>
                </p:cNvSpPr>
                <p:nvPr userDrawn="1"/>
              </p:nvSpPr>
              <p:spPr bwMode="auto">
                <a:xfrm>
                  <a:off x="9962696" y="4874711"/>
                  <a:ext cx="160338" cy="158750"/>
                </a:xfrm>
                <a:custGeom>
                  <a:avLst/>
                  <a:gdLst>
                    <a:gd name="T0" fmla="*/ 201 w 201"/>
                    <a:gd name="T1" fmla="*/ 201 h 201"/>
                    <a:gd name="T2" fmla="*/ 201 w 201"/>
                    <a:gd name="T3" fmla="*/ 201 h 201"/>
                    <a:gd name="T4" fmla="*/ 200 w 201"/>
                    <a:gd name="T5" fmla="*/ 181 h 201"/>
                    <a:gd name="T6" fmla="*/ 196 w 201"/>
                    <a:gd name="T7" fmla="*/ 161 h 201"/>
                    <a:gd name="T8" fmla="*/ 191 w 201"/>
                    <a:gd name="T9" fmla="*/ 142 h 201"/>
                    <a:gd name="T10" fmla="*/ 184 w 201"/>
                    <a:gd name="T11" fmla="*/ 123 h 201"/>
                    <a:gd name="T12" fmla="*/ 176 w 201"/>
                    <a:gd name="T13" fmla="*/ 105 h 201"/>
                    <a:gd name="T14" fmla="*/ 166 w 201"/>
                    <a:gd name="T15" fmla="*/ 88 h 201"/>
                    <a:gd name="T16" fmla="*/ 154 w 201"/>
                    <a:gd name="T17" fmla="*/ 73 h 201"/>
                    <a:gd name="T18" fmla="*/ 141 w 201"/>
                    <a:gd name="T19" fmla="*/ 58 h 201"/>
                    <a:gd name="T20" fmla="*/ 127 w 201"/>
                    <a:gd name="T21" fmla="*/ 46 h 201"/>
                    <a:gd name="T22" fmla="*/ 112 w 201"/>
                    <a:gd name="T23" fmla="*/ 35 h 201"/>
                    <a:gd name="T24" fmla="*/ 95 w 201"/>
                    <a:gd name="T25" fmla="*/ 24 h 201"/>
                    <a:gd name="T26" fmla="*/ 78 w 201"/>
                    <a:gd name="T27" fmla="*/ 16 h 201"/>
                    <a:gd name="T28" fmla="*/ 59 w 201"/>
                    <a:gd name="T29" fmla="*/ 10 h 201"/>
                    <a:gd name="T30" fmla="*/ 40 w 201"/>
                    <a:gd name="T31" fmla="*/ 4 h 201"/>
                    <a:gd name="T32" fmla="*/ 20 w 201"/>
                    <a:gd name="T33" fmla="*/ 1 h 201"/>
                    <a:gd name="T34" fmla="*/ 0 w 201"/>
                    <a:gd name="T35" fmla="*/ 0 h 201"/>
                    <a:gd name="T36" fmla="*/ 0 w 201"/>
                    <a:gd name="T37" fmla="*/ 201 h 201"/>
                    <a:gd name="T38" fmla="*/ 201 w 201"/>
                    <a:gd name="T39"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1" h="201">
                      <a:moveTo>
                        <a:pt x="201" y="201"/>
                      </a:moveTo>
                      <a:lnTo>
                        <a:pt x="201" y="201"/>
                      </a:lnTo>
                      <a:lnTo>
                        <a:pt x="200" y="181"/>
                      </a:lnTo>
                      <a:lnTo>
                        <a:pt x="196" y="161"/>
                      </a:lnTo>
                      <a:lnTo>
                        <a:pt x="191" y="142"/>
                      </a:lnTo>
                      <a:lnTo>
                        <a:pt x="184" y="123"/>
                      </a:lnTo>
                      <a:lnTo>
                        <a:pt x="176" y="105"/>
                      </a:lnTo>
                      <a:lnTo>
                        <a:pt x="166" y="88"/>
                      </a:lnTo>
                      <a:lnTo>
                        <a:pt x="154" y="73"/>
                      </a:lnTo>
                      <a:lnTo>
                        <a:pt x="141" y="58"/>
                      </a:lnTo>
                      <a:lnTo>
                        <a:pt x="127" y="46"/>
                      </a:lnTo>
                      <a:lnTo>
                        <a:pt x="112" y="35"/>
                      </a:lnTo>
                      <a:lnTo>
                        <a:pt x="95" y="24"/>
                      </a:lnTo>
                      <a:lnTo>
                        <a:pt x="78" y="16"/>
                      </a:lnTo>
                      <a:lnTo>
                        <a:pt x="59" y="10"/>
                      </a:lnTo>
                      <a:lnTo>
                        <a:pt x="40" y="4"/>
                      </a:lnTo>
                      <a:lnTo>
                        <a:pt x="20" y="1"/>
                      </a:lnTo>
                      <a:lnTo>
                        <a:pt x="0" y="0"/>
                      </a:lnTo>
                      <a:lnTo>
                        <a:pt x="0" y="201"/>
                      </a:lnTo>
                      <a:lnTo>
                        <a:pt x="201" y="201"/>
                      </a:lnTo>
                      <a:close/>
                    </a:path>
                  </a:pathLst>
                </a:custGeom>
                <a:solidFill>
                  <a:srgbClr val="A5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4" name="Freeform 381"/>
                <p:cNvSpPr>
                  <a:spLocks/>
                </p:cNvSpPr>
                <p:nvPr userDrawn="1"/>
              </p:nvSpPr>
              <p:spPr bwMode="auto">
                <a:xfrm>
                  <a:off x="9803946" y="4874711"/>
                  <a:ext cx="158750" cy="158750"/>
                </a:xfrm>
                <a:custGeom>
                  <a:avLst/>
                  <a:gdLst>
                    <a:gd name="T0" fmla="*/ 201 w 201"/>
                    <a:gd name="T1" fmla="*/ 0 h 201"/>
                    <a:gd name="T2" fmla="*/ 201 w 201"/>
                    <a:gd name="T3" fmla="*/ 0 h 201"/>
                    <a:gd name="T4" fmla="*/ 179 w 201"/>
                    <a:gd name="T5" fmla="*/ 1 h 201"/>
                    <a:gd name="T6" fmla="*/ 160 w 201"/>
                    <a:gd name="T7" fmla="*/ 4 h 201"/>
                    <a:gd name="T8" fmla="*/ 141 w 201"/>
                    <a:gd name="T9" fmla="*/ 10 h 201"/>
                    <a:gd name="T10" fmla="*/ 122 w 201"/>
                    <a:gd name="T11" fmla="*/ 16 h 201"/>
                    <a:gd name="T12" fmla="*/ 105 w 201"/>
                    <a:gd name="T13" fmla="*/ 24 h 201"/>
                    <a:gd name="T14" fmla="*/ 88 w 201"/>
                    <a:gd name="T15" fmla="*/ 35 h 201"/>
                    <a:gd name="T16" fmla="*/ 72 w 201"/>
                    <a:gd name="T17" fmla="*/ 46 h 201"/>
                    <a:gd name="T18" fmla="*/ 58 w 201"/>
                    <a:gd name="T19" fmla="*/ 58 h 201"/>
                    <a:gd name="T20" fmla="*/ 45 w 201"/>
                    <a:gd name="T21" fmla="*/ 73 h 201"/>
                    <a:gd name="T22" fmla="*/ 34 w 201"/>
                    <a:gd name="T23" fmla="*/ 88 h 201"/>
                    <a:gd name="T24" fmla="*/ 24 w 201"/>
                    <a:gd name="T25" fmla="*/ 105 h 201"/>
                    <a:gd name="T26" fmla="*/ 15 w 201"/>
                    <a:gd name="T27" fmla="*/ 123 h 201"/>
                    <a:gd name="T28" fmla="*/ 8 w 201"/>
                    <a:gd name="T29" fmla="*/ 142 h 201"/>
                    <a:gd name="T30" fmla="*/ 3 w 201"/>
                    <a:gd name="T31" fmla="*/ 161 h 201"/>
                    <a:gd name="T32" fmla="*/ 1 w 201"/>
                    <a:gd name="T33" fmla="*/ 181 h 201"/>
                    <a:gd name="T34" fmla="*/ 0 w 201"/>
                    <a:gd name="T35" fmla="*/ 201 h 201"/>
                    <a:gd name="T36" fmla="*/ 201 w 201"/>
                    <a:gd name="T37" fmla="*/ 201 h 201"/>
                    <a:gd name="T38" fmla="*/ 201 w 201"/>
                    <a:gd name="T39"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1" h="201">
                      <a:moveTo>
                        <a:pt x="201" y="0"/>
                      </a:moveTo>
                      <a:lnTo>
                        <a:pt x="201" y="0"/>
                      </a:lnTo>
                      <a:lnTo>
                        <a:pt x="179" y="1"/>
                      </a:lnTo>
                      <a:lnTo>
                        <a:pt x="160" y="4"/>
                      </a:lnTo>
                      <a:lnTo>
                        <a:pt x="141" y="10"/>
                      </a:lnTo>
                      <a:lnTo>
                        <a:pt x="122" y="16"/>
                      </a:lnTo>
                      <a:lnTo>
                        <a:pt x="105" y="24"/>
                      </a:lnTo>
                      <a:lnTo>
                        <a:pt x="88" y="35"/>
                      </a:lnTo>
                      <a:lnTo>
                        <a:pt x="72" y="46"/>
                      </a:lnTo>
                      <a:lnTo>
                        <a:pt x="58" y="58"/>
                      </a:lnTo>
                      <a:lnTo>
                        <a:pt x="45" y="73"/>
                      </a:lnTo>
                      <a:lnTo>
                        <a:pt x="34" y="88"/>
                      </a:lnTo>
                      <a:lnTo>
                        <a:pt x="24" y="105"/>
                      </a:lnTo>
                      <a:lnTo>
                        <a:pt x="15" y="123"/>
                      </a:lnTo>
                      <a:lnTo>
                        <a:pt x="8" y="142"/>
                      </a:lnTo>
                      <a:lnTo>
                        <a:pt x="3" y="161"/>
                      </a:lnTo>
                      <a:lnTo>
                        <a:pt x="1" y="181"/>
                      </a:lnTo>
                      <a:lnTo>
                        <a:pt x="0" y="201"/>
                      </a:lnTo>
                      <a:lnTo>
                        <a:pt x="201" y="201"/>
                      </a:lnTo>
                      <a:lnTo>
                        <a:pt x="20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5" name="Freeform 382"/>
                <p:cNvSpPr>
                  <a:spLocks/>
                </p:cNvSpPr>
                <p:nvPr userDrawn="1"/>
              </p:nvSpPr>
              <p:spPr bwMode="auto">
                <a:xfrm>
                  <a:off x="9702346" y="3499936"/>
                  <a:ext cx="173038" cy="133350"/>
                </a:xfrm>
                <a:custGeom>
                  <a:avLst/>
                  <a:gdLst>
                    <a:gd name="T0" fmla="*/ 218 w 218"/>
                    <a:gd name="T1" fmla="*/ 146 h 168"/>
                    <a:gd name="T2" fmla="*/ 218 w 218"/>
                    <a:gd name="T3" fmla="*/ 146 h 168"/>
                    <a:gd name="T4" fmla="*/ 218 w 218"/>
                    <a:gd name="T5" fmla="*/ 150 h 168"/>
                    <a:gd name="T6" fmla="*/ 217 w 218"/>
                    <a:gd name="T7" fmla="*/ 155 h 168"/>
                    <a:gd name="T8" fmla="*/ 215 w 218"/>
                    <a:gd name="T9" fmla="*/ 158 h 168"/>
                    <a:gd name="T10" fmla="*/ 212 w 218"/>
                    <a:gd name="T11" fmla="*/ 162 h 168"/>
                    <a:gd name="T12" fmla="*/ 209 w 218"/>
                    <a:gd name="T13" fmla="*/ 164 h 168"/>
                    <a:gd name="T14" fmla="*/ 205 w 218"/>
                    <a:gd name="T15" fmla="*/ 167 h 168"/>
                    <a:gd name="T16" fmla="*/ 201 w 218"/>
                    <a:gd name="T17" fmla="*/ 168 h 168"/>
                    <a:gd name="T18" fmla="*/ 197 w 218"/>
                    <a:gd name="T19" fmla="*/ 168 h 168"/>
                    <a:gd name="T20" fmla="*/ 22 w 218"/>
                    <a:gd name="T21" fmla="*/ 168 h 168"/>
                    <a:gd name="T22" fmla="*/ 22 w 218"/>
                    <a:gd name="T23" fmla="*/ 168 h 168"/>
                    <a:gd name="T24" fmla="*/ 17 w 218"/>
                    <a:gd name="T25" fmla="*/ 168 h 168"/>
                    <a:gd name="T26" fmla="*/ 14 w 218"/>
                    <a:gd name="T27" fmla="*/ 167 h 168"/>
                    <a:gd name="T28" fmla="*/ 10 w 218"/>
                    <a:gd name="T29" fmla="*/ 164 h 168"/>
                    <a:gd name="T30" fmla="*/ 6 w 218"/>
                    <a:gd name="T31" fmla="*/ 162 h 168"/>
                    <a:gd name="T32" fmla="*/ 4 w 218"/>
                    <a:gd name="T33" fmla="*/ 158 h 168"/>
                    <a:gd name="T34" fmla="*/ 2 w 218"/>
                    <a:gd name="T35" fmla="*/ 155 h 168"/>
                    <a:gd name="T36" fmla="*/ 0 w 218"/>
                    <a:gd name="T37" fmla="*/ 150 h 168"/>
                    <a:gd name="T38" fmla="*/ 0 w 218"/>
                    <a:gd name="T39" fmla="*/ 146 h 168"/>
                    <a:gd name="T40" fmla="*/ 0 w 218"/>
                    <a:gd name="T41" fmla="*/ 22 h 168"/>
                    <a:gd name="T42" fmla="*/ 0 w 218"/>
                    <a:gd name="T43" fmla="*/ 22 h 168"/>
                    <a:gd name="T44" fmla="*/ 0 w 218"/>
                    <a:gd name="T45" fmla="*/ 17 h 168"/>
                    <a:gd name="T46" fmla="*/ 2 w 218"/>
                    <a:gd name="T47" fmla="*/ 13 h 168"/>
                    <a:gd name="T48" fmla="*/ 4 w 218"/>
                    <a:gd name="T49" fmla="*/ 10 h 168"/>
                    <a:gd name="T50" fmla="*/ 6 w 218"/>
                    <a:gd name="T51" fmla="*/ 6 h 168"/>
                    <a:gd name="T52" fmla="*/ 10 w 218"/>
                    <a:gd name="T53" fmla="*/ 4 h 168"/>
                    <a:gd name="T54" fmla="*/ 14 w 218"/>
                    <a:gd name="T55" fmla="*/ 1 h 168"/>
                    <a:gd name="T56" fmla="*/ 17 w 218"/>
                    <a:gd name="T57" fmla="*/ 0 h 168"/>
                    <a:gd name="T58" fmla="*/ 22 w 218"/>
                    <a:gd name="T59" fmla="*/ 0 h 168"/>
                    <a:gd name="T60" fmla="*/ 197 w 218"/>
                    <a:gd name="T61" fmla="*/ 0 h 168"/>
                    <a:gd name="T62" fmla="*/ 197 w 218"/>
                    <a:gd name="T63" fmla="*/ 0 h 168"/>
                    <a:gd name="T64" fmla="*/ 201 w 218"/>
                    <a:gd name="T65" fmla="*/ 0 h 168"/>
                    <a:gd name="T66" fmla="*/ 205 w 218"/>
                    <a:gd name="T67" fmla="*/ 1 h 168"/>
                    <a:gd name="T68" fmla="*/ 209 w 218"/>
                    <a:gd name="T69" fmla="*/ 4 h 168"/>
                    <a:gd name="T70" fmla="*/ 212 w 218"/>
                    <a:gd name="T71" fmla="*/ 6 h 168"/>
                    <a:gd name="T72" fmla="*/ 215 w 218"/>
                    <a:gd name="T73" fmla="*/ 10 h 168"/>
                    <a:gd name="T74" fmla="*/ 217 w 218"/>
                    <a:gd name="T75" fmla="*/ 13 h 168"/>
                    <a:gd name="T76" fmla="*/ 218 w 218"/>
                    <a:gd name="T77" fmla="*/ 17 h 168"/>
                    <a:gd name="T78" fmla="*/ 218 w 218"/>
                    <a:gd name="T79" fmla="*/ 22 h 168"/>
                    <a:gd name="T80" fmla="*/ 218 w 218"/>
                    <a:gd name="T81" fmla="*/ 14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168">
                      <a:moveTo>
                        <a:pt x="218" y="146"/>
                      </a:moveTo>
                      <a:lnTo>
                        <a:pt x="218" y="146"/>
                      </a:lnTo>
                      <a:lnTo>
                        <a:pt x="218" y="150"/>
                      </a:lnTo>
                      <a:lnTo>
                        <a:pt x="217" y="155"/>
                      </a:lnTo>
                      <a:lnTo>
                        <a:pt x="215" y="158"/>
                      </a:lnTo>
                      <a:lnTo>
                        <a:pt x="212" y="162"/>
                      </a:lnTo>
                      <a:lnTo>
                        <a:pt x="209" y="164"/>
                      </a:lnTo>
                      <a:lnTo>
                        <a:pt x="205" y="167"/>
                      </a:lnTo>
                      <a:lnTo>
                        <a:pt x="201" y="168"/>
                      </a:lnTo>
                      <a:lnTo>
                        <a:pt x="197" y="168"/>
                      </a:lnTo>
                      <a:lnTo>
                        <a:pt x="22" y="168"/>
                      </a:lnTo>
                      <a:lnTo>
                        <a:pt x="22" y="168"/>
                      </a:lnTo>
                      <a:lnTo>
                        <a:pt x="17" y="168"/>
                      </a:lnTo>
                      <a:lnTo>
                        <a:pt x="14" y="167"/>
                      </a:lnTo>
                      <a:lnTo>
                        <a:pt x="10" y="164"/>
                      </a:lnTo>
                      <a:lnTo>
                        <a:pt x="6" y="162"/>
                      </a:lnTo>
                      <a:lnTo>
                        <a:pt x="4" y="158"/>
                      </a:lnTo>
                      <a:lnTo>
                        <a:pt x="2" y="155"/>
                      </a:lnTo>
                      <a:lnTo>
                        <a:pt x="0" y="150"/>
                      </a:lnTo>
                      <a:lnTo>
                        <a:pt x="0" y="146"/>
                      </a:lnTo>
                      <a:lnTo>
                        <a:pt x="0" y="22"/>
                      </a:lnTo>
                      <a:lnTo>
                        <a:pt x="0" y="22"/>
                      </a:lnTo>
                      <a:lnTo>
                        <a:pt x="0" y="17"/>
                      </a:lnTo>
                      <a:lnTo>
                        <a:pt x="2" y="13"/>
                      </a:lnTo>
                      <a:lnTo>
                        <a:pt x="4" y="10"/>
                      </a:lnTo>
                      <a:lnTo>
                        <a:pt x="6" y="6"/>
                      </a:lnTo>
                      <a:lnTo>
                        <a:pt x="10" y="4"/>
                      </a:lnTo>
                      <a:lnTo>
                        <a:pt x="14" y="1"/>
                      </a:lnTo>
                      <a:lnTo>
                        <a:pt x="17" y="0"/>
                      </a:lnTo>
                      <a:lnTo>
                        <a:pt x="22" y="0"/>
                      </a:lnTo>
                      <a:lnTo>
                        <a:pt x="197" y="0"/>
                      </a:lnTo>
                      <a:lnTo>
                        <a:pt x="197" y="0"/>
                      </a:lnTo>
                      <a:lnTo>
                        <a:pt x="201" y="0"/>
                      </a:lnTo>
                      <a:lnTo>
                        <a:pt x="205" y="1"/>
                      </a:lnTo>
                      <a:lnTo>
                        <a:pt x="209" y="4"/>
                      </a:lnTo>
                      <a:lnTo>
                        <a:pt x="212" y="6"/>
                      </a:lnTo>
                      <a:lnTo>
                        <a:pt x="215" y="10"/>
                      </a:lnTo>
                      <a:lnTo>
                        <a:pt x="217" y="13"/>
                      </a:lnTo>
                      <a:lnTo>
                        <a:pt x="218" y="17"/>
                      </a:lnTo>
                      <a:lnTo>
                        <a:pt x="218" y="22"/>
                      </a:lnTo>
                      <a:lnTo>
                        <a:pt x="218" y="1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6" name="Freeform 383"/>
                <p:cNvSpPr>
                  <a:spLocks/>
                </p:cNvSpPr>
                <p:nvPr userDrawn="1"/>
              </p:nvSpPr>
              <p:spPr bwMode="auto">
                <a:xfrm>
                  <a:off x="9702346" y="3499936"/>
                  <a:ext cx="173038" cy="133350"/>
                </a:xfrm>
                <a:custGeom>
                  <a:avLst/>
                  <a:gdLst>
                    <a:gd name="T0" fmla="*/ 218 w 218"/>
                    <a:gd name="T1" fmla="*/ 146 h 168"/>
                    <a:gd name="T2" fmla="*/ 218 w 218"/>
                    <a:gd name="T3" fmla="*/ 146 h 168"/>
                    <a:gd name="T4" fmla="*/ 218 w 218"/>
                    <a:gd name="T5" fmla="*/ 150 h 168"/>
                    <a:gd name="T6" fmla="*/ 217 w 218"/>
                    <a:gd name="T7" fmla="*/ 155 h 168"/>
                    <a:gd name="T8" fmla="*/ 215 w 218"/>
                    <a:gd name="T9" fmla="*/ 158 h 168"/>
                    <a:gd name="T10" fmla="*/ 212 w 218"/>
                    <a:gd name="T11" fmla="*/ 162 h 168"/>
                    <a:gd name="T12" fmla="*/ 209 w 218"/>
                    <a:gd name="T13" fmla="*/ 164 h 168"/>
                    <a:gd name="T14" fmla="*/ 205 w 218"/>
                    <a:gd name="T15" fmla="*/ 167 h 168"/>
                    <a:gd name="T16" fmla="*/ 201 w 218"/>
                    <a:gd name="T17" fmla="*/ 168 h 168"/>
                    <a:gd name="T18" fmla="*/ 197 w 218"/>
                    <a:gd name="T19" fmla="*/ 168 h 168"/>
                    <a:gd name="T20" fmla="*/ 22 w 218"/>
                    <a:gd name="T21" fmla="*/ 168 h 168"/>
                    <a:gd name="T22" fmla="*/ 22 w 218"/>
                    <a:gd name="T23" fmla="*/ 168 h 168"/>
                    <a:gd name="T24" fmla="*/ 17 w 218"/>
                    <a:gd name="T25" fmla="*/ 168 h 168"/>
                    <a:gd name="T26" fmla="*/ 14 w 218"/>
                    <a:gd name="T27" fmla="*/ 167 h 168"/>
                    <a:gd name="T28" fmla="*/ 10 w 218"/>
                    <a:gd name="T29" fmla="*/ 164 h 168"/>
                    <a:gd name="T30" fmla="*/ 6 w 218"/>
                    <a:gd name="T31" fmla="*/ 162 h 168"/>
                    <a:gd name="T32" fmla="*/ 4 w 218"/>
                    <a:gd name="T33" fmla="*/ 158 h 168"/>
                    <a:gd name="T34" fmla="*/ 2 w 218"/>
                    <a:gd name="T35" fmla="*/ 155 h 168"/>
                    <a:gd name="T36" fmla="*/ 0 w 218"/>
                    <a:gd name="T37" fmla="*/ 150 h 168"/>
                    <a:gd name="T38" fmla="*/ 0 w 218"/>
                    <a:gd name="T39" fmla="*/ 146 h 168"/>
                    <a:gd name="T40" fmla="*/ 0 w 218"/>
                    <a:gd name="T41" fmla="*/ 22 h 168"/>
                    <a:gd name="T42" fmla="*/ 0 w 218"/>
                    <a:gd name="T43" fmla="*/ 22 h 168"/>
                    <a:gd name="T44" fmla="*/ 0 w 218"/>
                    <a:gd name="T45" fmla="*/ 17 h 168"/>
                    <a:gd name="T46" fmla="*/ 2 w 218"/>
                    <a:gd name="T47" fmla="*/ 13 h 168"/>
                    <a:gd name="T48" fmla="*/ 4 w 218"/>
                    <a:gd name="T49" fmla="*/ 10 h 168"/>
                    <a:gd name="T50" fmla="*/ 6 w 218"/>
                    <a:gd name="T51" fmla="*/ 6 h 168"/>
                    <a:gd name="T52" fmla="*/ 10 w 218"/>
                    <a:gd name="T53" fmla="*/ 4 h 168"/>
                    <a:gd name="T54" fmla="*/ 14 w 218"/>
                    <a:gd name="T55" fmla="*/ 1 h 168"/>
                    <a:gd name="T56" fmla="*/ 17 w 218"/>
                    <a:gd name="T57" fmla="*/ 0 h 168"/>
                    <a:gd name="T58" fmla="*/ 22 w 218"/>
                    <a:gd name="T59" fmla="*/ 0 h 168"/>
                    <a:gd name="T60" fmla="*/ 197 w 218"/>
                    <a:gd name="T61" fmla="*/ 0 h 168"/>
                    <a:gd name="T62" fmla="*/ 197 w 218"/>
                    <a:gd name="T63" fmla="*/ 0 h 168"/>
                    <a:gd name="T64" fmla="*/ 201 w 218"/>
                    <a:gd name="T65" fmla="*/ 0 h 168"/>
                    <a:gd name="T66" fmla="*/ 205 w 218"/>
                    <a:gd name="T67" fmla="*/ 1 h 168"/>
                    <a:gd name="T68" fmla="*/ 209 w 218"/>
                    <a:gd name="T69" fmla="*/ 4 h 168"/>
                    <a:gd name="T70" fmla="*/ 212 w 218"/>
                    <a:gd name="T71" fmla="*/ 6 h 168"/>
                    <a:gd name="T72" fmla="*/ 215 w 218"/>
                    <a:gd name="T73" fmla="*/ 10 h 168"/>
                    <a:gd name="T74" fmla="*/ 217 w 218"/>
                    <a:gd name="T75" fmla="*/ 13 h 168"/>
                    <a:gd name="T76" fmla="*/ 218 w 218"/>
                    <a:gd name="T77" fmla="*/ 17 h 168"/>
                    <a:gd name="T78" fmla="*/ 218 w 218"/>
                    <a:gd name="T79" fmla="*/ 22 h 168"/>
                    <a:gd name="T80" fmla="*/ 218 w 218"/>
                    <a:gd name="T81" fmla="*/ 14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168">
                      <a:moveTo>
                        <a:pt x="218" y="146"/>
                      </a:moveTo>
                      <a:lnTo>
                        <a:pt x="218" y="146"/>
                      </a:lnTo>
                      <a:lnTo>
                        <a:pt x="218" y="150"/>
                      </a:lnTo>
                      <a:lnTo>
                        <a:pt x="217" y="155"/>
                      </a:lnTo>
                      <a:lnTo>
                        <a:pt x="215" y="158"/>
                      </a:lnTo>
                      <a:lnTo>
                        <a:pt x="212" y="162"/>
                      </a:lnTo>
                      <a:lnTo>
                        <a:pt x="209" y="164"/>
                      </a:lnTo>
                      <a:lnTo>
                        <a:pt x="205" y="167"/>
                      </a:lnTo>
                      <a:lnTo>
                        <a:pt x="201" y="168"/>
                      </a:lnTo>
                      <a:lnTo>
                        <a:pt x="197" y="168"/>
                      </a:lnTo>
                      <a:lnTo>
                        <a:pt x="22" y="168"/>
                      </a:lnTo>
                      <a:lnTo>
                        <a:pt x="22" y="168"/>
                      </a:lnTo>
                      <a:lnTo>
                        <a:pt x="17" y="168"/>
                      </a:lnTo>
                      <a:lnTo>
                        <a:pt x="14" y="167"/>
                      </a:lnTo>
                      <a:lnTo>
                        <a:pt x="10" y="164"/>
                      </a:lnTo>
                      <a:lnTo>
                        <a:pt x="6" y="162"/>
                      </a:lnTo>
                      <a:lnTo>
                        <a:pt x="4" y="158"/>
                      </a:lnTo>
                      <a:lnTo>
                        <a:pt x="2" y="155"/>
                      </a:lnTo>
                      <a:lnTo>
                        <a:pt x="0" y="150"/>
                      </a:lnTo>
                      <a:lnTo>
                        <a:pt x="0" y="146"/>
                      </a:lnTo>
                      <a:lnTo>
                        <a:pt x="0" y="22"/>
                      </a:lnTo>
                      <a:lnTo>
                        <a:pt x="0" y="22"/>
                      </a:lnTo>
                      <a:lnTo>
                        <a:pt x="0" y="17"/>
                      </a:lnTo>
                      <a:lnTo>
                        <a:pt x="2" y="13"/>
                      </a:lnTo>
                      <a:lnTo>
                        <a:pt x="4" y="10"/>
                      </a:lnTo>
                      <a:lnTo>
                        <a:pt x="6" y="6"/>
                      </a:lnTo>
                      <a:lnTo>
                        <a:pt x="10" y="4"/>
                      </a:lnTo>
                      <a:lnTo>
                        <a:pt x="14" y="1"/>
                      </a:lnTo>
                      <a:lnTo>
                        <a:pt x="17" y="0"/>
                      </a:lnTo>
                      <a:lnTo>
                        <a:pt x="22" y="0"/>
                      </a:lnTo>
                      <a:lnTo>
                        <a:pt x="197" y="0"/>
                      </a:lnTo>
                      <a:lnTo>
                        <a:pt x="197" y="0"/>
                      </a:lnTo>
                      <a:lnTo>
                        <a:pt x="201" y="0"/>
                      </a:lnTo>
                      <a:lnTo>
                        <a:pt x="205" y="1"/>
                      </a:lnTo>
                      <a:lnTo>
                        <a:pt x="209" y="4"/>
                      </a:lnTo>
                      <a:lnTo>
                        <a:pt x="212" y="6"/>
                      </a:lnTo>
                      <a:lnTo>
                        <a:pt x="215" y="10"/>
                      </a:lnTo>
                      <a:lnTo>
                        <a:pt x="217" y="13"/>
                      </a:lnTo>
                      <a:lnTo>
                        <a:pt x="218" y="17"/>
                      </a:lnTo>
                      <a:lnTo>
                        <a:pt x="218" y="22"/>
                      </a:lnTo>
                      <a:lnTo>
                        <a:pt x="218" y="1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7" name="Freeform 384"/>
                <p:cNvSpPr>
                  <a:spLocks/>
                </p:cNvSpPr>
                <p:nvPr userDrawn="1"/>
              </p:nvSpPr>
              <p:spPr bwMode="auto">
                <a:xfrm>
                  <a:off x="9713458" y="3523749"/>
                  <a:ext cx="87313" cy="84138"/>
                </a:xfrm>
                <a:custGeom>
                  <a:avLst/>
                  <a:gdLst>
                    <a:gd name="T0" fmla="*/ 55 w 108"/>
                    <a:gd name="T1" fmla="*/ 0 h 107"/>
                    <a:gd name="T2" fmla="*/ 55 w 108"/>
                    <a:gd name="T3" fmla="*/ 0 h 107"/>
                    <a:gd name="T4" fmla="*/ 43 w 108"/>
                    <a:gd name="T5" fmla="*/ 1 h 107"/>
                    <a:gd name="T6" fmla="*/ 33 w 108"/>
                    <a:gd name="T7" fmla="*/ 5 h 107"/>
                    <a:gd name="T8" fmla="*/ 24 w 108"/>
                    <a:gd name="T9" fmla="*/ 9 h 107"/>
                    <a:gd name="T10" fmla="*/ 17 w 108"/>
                    <a:gd name="T11" fmla="*/ 15 h 107"/>
                    <a:gd name="T12" fmla="*/ 9 w 108"/>
                    <a:gd name="T13" fmla="*/ 24 h 107"/>
                    <a:gd name="T14" fmla="*/ 5 w 108"/>
                    <a:gd name="T15" fmla="*/ 33 h 107"/>
                    <a:gd name="T16" fmla="*/ 1 w 108"/>
                    <a:gd name="T17" fmla="*/ 43 h 107"/>
                    <a:gd name="T18" fmla="*/ 0 w 108"/>
                    <a:gd name="T19" fmla="*/ 53 h 107"/>
                    <a:gd name="T20" fmla="*/ 0 w 108"/>
                    <a:gd name="T21" fmla="*/ 53 h 107"/>
                    <a:gd name="T22" fmla="*/ 1 w 108"/>
                    <a:gd name="T23" fmla="*/ 64 h 107"/>
                    <a:gd name="T24" fmla="*/ 5 w 108"/>
                    <a:gd name="T25" fmla="*/ 75 h 107"/>
                    <a:gd name="T26" fmla="*/ 9 w 108"/>
                    <a:gd name="T27" fmla="*/ 84 h 107"/>
                    <a:gd name="T28" fmla="*/ 17 w 108"/>
                    <a:gd name="T29" fmla="*/ 91 h 107"/>
                    <a:gd name="T30" fmla="*/ 24 w 108"/>
                    <a:gd name="T31" fmla="*/ 99 h 107"/>
                    <a:gd name="T32" fmla="*/ 33 w 108"/>
                    <a:gd name="T33" fmla="*/ 103 h 107"/>
                    <a:gd name="T34" fmla="*/ 43 w 108"/>
                    <a:gd name="T35" fmla="*/ 107 h 107"/>
                    <a:gd name="T36" fmla="*/ 55 w 108"/>
                    <a:gd name="T37" fmla="*/ 107 h 107"/>
                    <a:gd name="T38" fmla="*/ 55 w 108"/>
                    <a:gd name="T39" fmla="*/ 107 h 107"/>
                    <a:gd name="T40" fmla="*/ 65 w 108"/>
                    <a:gd name="T41" fmla="*/ 107 h 107"/>
                    <a:gd name="T42" fmla="*/ 75 w 108"/>
                    <a:gd name="T43" fmla="*/ 103 h 107"/>
                    <a:gd name="T44" fmla="*/ 84 w 108"/>
                    <a:gd name="T45" fmla="*/ 99 h 107"/>
                    <a:gd name="T46" fmla="*/ 91 w 108"/>
                    <a:gd name="T47" fmla="*/ 91 h 107"/>
                    <a:gd name="T48" fmla="*/ 99 w 108"/>
                    <a:gd name="T49" fmla="*/ 84 h 107"/>
                    <a:gd name="T50" fmla="*/ 103 w 108"/>
                    <a:gd name="T51" fmla="*/ 75 h 107"/>
                    <a:gd name="T52" fmla="*/ 107 w 108"/>
                    <a:gd name="T53" fmla="*/ 64 h 107"/>
                    <a:gd name="T54" fmla="*/ 108 w 108"/>
                    <a:gd name="T55" fmla="*/ 53 h 107"/>
                    <a:gd name="T56" fmla="*/ 108 w 108"/>
                    <a:gd name="T57" fmla="*/ 53 h 107"/>
                    <a:gd name="T58" fmla="*/ 107 w 108"/>
                    <a:gd name="T59" fmla="*/ 43 h 107"/>
                    <a:gd name="T60" fmla="*/ 103 w 108"/>
                    <a:gd name="T61" fmla="*/ 33 h 107"/>
                    <a:gd name="T62" fmla="*/ 99 w 108"/>
                    <a:gd name="T63" fmla="*/ 24 h 107"/>
                    <a:gd name="T64" fmla="*/ 91 w 108"/>
                    <a:gd name="T65" fmla="*/ 15 h 107"/>
                    <a:gd name="T66" fmla="*/ 84 w 108"/>
                    <a:gd name="T67" fmla="*/ 9 h 107"/>
                    <a:gd name="T68" fmla="*/ 75 w 108"/>
                    <a:gd name="T69" fmla="*/ 5 h 107"/>
                    <a:gd name="T70" fmla="*/ 65 w 108"/>
                    <a:gd name="T71" fmla="*/ 1 h 107"/>
                    <a:gd name="T72" fmla="*/ 55 w 108"/>
                    <a:gd name="T7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107">
                      <a:moveTo>
                        <a:pt x="55" y="0"/>
                      </a:moveTo>
                      <a:lnTo>
                        <a:pt x="55" y="0"/>
                      </a:lnTo>
                      <a:lnTo>
                        <a:pt x="43" y="1"/>
                      </a:lnTo>
                      <a:lnTo>
                        <a:pt x="33" y="5"/>
                      </a:lnTo>
                      <a:lnTo>
                        <a:pt x="24" y="9"/>
                      </a:lnTo>
                      <a:lnTo>
                        <a:pt x="17" y="15"/>
                      </a:lnTo>
                      <a:lnTo>
                        <a:pt x="9" y="24"/>
                      </a:lnTo>
                      <a:lnTo>
                        <a:pt x="5" y="33"/>
                      </a:lnTo>
                      <a:lnTo>
                        <a:pt x="1" y="43"/>
                      </a:lnTo>
                      <a:lnTo>
                        <a:pt x="0" y="53"/>
                      </a:lnTo>
                      <a:lnTo>
                        <a:pt x="0" y="53"/>
                      </a:lnTo>
                      <a:lnTo>
                        <a:pt x="1" y="64"/>
                      </a:lnTo>
                      <a:lnTo>
                        <a:pt x="5" y="75"/>
                      </a:lnTo>
                      <a:lnTo>
                        <a:pt x="9" y="84"/>
                      </a:lnTo>
                      <a:lnTo>
                        <a:pt x="17" y="91"/>
                      </a:lnTo>
                      <a:lnTo>
                        <a:pt x="24" y="99"/>
                      </a:lnTo>
                      <a:lnTo>
                        <a:pt x="33" y="103"/>
                      </a:lnTo>
                      <a:lnTo>
                        <a:pt x="43" y="107"/>
                      </a:lnTo>
                      <a:lnTo>
                        <a:pt x="55" y="107"/>
                      </a:lnTo>
                      <a:lnTo>
                        <a:pt x="55" y="107"/>
                      </a:lnTo>
                      <a:lnTo>
                        <a:pt x="65" y="107"/>
                      </a:lnTo>
                      <a:lnTo>
                        <a:pt x="75" y="103"/>
                      </a:lnTo>
                      <a:lnTo>
                        <a:pt x="84" y="99"/>
                      </a:lnTo>
                      <a:lnTo>
                        <a:pt x="91" y="91"/>
                      </a:lnTo>
                      <a:lnTo>
                        <a:pt x="99" y="84"/>
                      </a:lnTo>
                      <a:lnTo>
                        <a:pt x="103" y="75"/>
                      </a:lnTo>
                      <a:lnTo>
                        <a:pt x="107" y="64"/>
                      </a:lnTo>
                      <a:lnTo>
                        <a:pt x="108" y="53"/>
                      </a:lnTo>
                      <a:lnTo>
                        <a:pt x="108" y="53"/>
                      </a:lnTo>
                      <a:lnTo>
                        <a:pt x="107" y="43"/>
                      </a:lnTo>
                      <a:lnTo>
                        <a:pt x="103" y="33"/>
                      </a:lnTo>
                      <a:lnTo>
                        <a:pt x="99" y="24"/>
                      </a:lnTo>
                      <a:lnTo>
                        <a:pt x="91" y="15"/>
                      </a:lnTo>
                      <a:lnTo>
                        <a:pt x="84" y="9"/>
                      </a:lnTo>
                      <a:lnTo>
                        <a:pt x="75" y="5"/>
                      </a:lnTo>
                      <a:lnTo>
                        <a:pt x="65" y="1"/>
                      </a:lnTo>
                      <a:lnTo>
                        <a:pt x="55"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8" name="Freeform 385"/>
                <p:cNvSpPr>
                  <a:spLocks/>
                </p:cNvSpPr>
                <p:nvPr userDrawn="1"/>
              </p:nvSpPr>
              <p:spPr bwMode="auto">
                <a:xfrm>
                  <a:off x="9713458" y="3523749"/>
                  <a:ext cx="87313" cy="84138"/>
                </a:xfrm>
                <a:custGeom>
                  <a:avLst/>
                  <a:gdLst>
                    <a:gd name="T0" fmla="*/ 55 w 108"/>
                    <a:gd name="T1" fmla="*/ 0 h 107"/>
                    <a:gd name="T2" fmla="*/ 55 w 108"/>
                    <a:gd name="T3" fmla="*/ 0 h 107"/>
                    <a:gd name="T4" fmla="*/ 43 w 108"/>
                    <a:gd name="T5" fmla="*/ 1 h 107"/>
                    <a:gd name="T6" fmla="*/ 33 w 108"/>
                    <a:gd name="T7" fmla="*/ 5 h 107"/>
                    <a:gd name="T8" fmla="*/ 24 w 108"/>
                    <a:gd name="T9" fmla="*/ 9 h 107"/>
                    <a:gd name="T10" fmla="*/ 17 w 108"/>
                    <a:gd name="T11" fmla="*/ 15 h 107"/>
                    <a:gd name="T12" fmla="*/ 9 w 108"/>
                    <a:gd name="T13" fmla="*/ 24 h 107"/>
                    <a:gd name="T14" fmla="*/ 5 w 108"/>
                    <a:gd name="T15" fmla="*/ 33 h 107"/>
                    <a:gd name="T16" fmla="*/ 1 w 108"/>
                    <a:gd name="T17" fmla="*/ 43 h 107"/>
                    <a:gd name="T18" fmla="*/ 0 w 108"/>
                    <a:gd name="T19" fmla="*/ 53 h 107"/>
                    <a:gd name="T20" fmla="*/ 0 w 108"/>
                    <a:gd name="T21" fmla="*/ 53 h 107"/>
                    <a:gd name="T22" fmla="*/ 1 w 108"/>
                    <a:gd name="T23" fmla="*/ 64 h 107"/>
                    <a:gd name="T24" fmla="*/ 5 w 108"/>
                    <a:gd name="T25" fmla="*/ 75 h 107"/>
                    <a:gd name="T26" fmla="*/ 9 w 108"/>
                    <a:gd name="T27" fmla="*/ 84 h 107"/>
                    <a:gd name="T28" fmla="*/ 17 w 108"/>
                    <a:gd name="T29" fmla="*/ 91 h 107"/>
                    <a:gd name="T30" fmla="*/ 24 w 108"/>
                    <a:gd name="T31" fmla="*/ 99 h 107"/>
                    <a:gd name="T32" fmla="*/ 33 w 108"/>
                    <a:gd name="T33" fmla="*/ 103 h 107"/>
                    <a:gd name="T34" fmla="*/ 43 w 108"/>
                    <a:gd name="T35" fmla="*/ 107 h 107"/>
                    <a:gd name="T36" fmla="*/ 55 w 108"/>
                    <a:gd name="T37" fmla="*/ 107 h 107"/>
                    <a:gd name="T38" fmla="*/ 55 w 108"/>
                    <a:gd name="T39" fmla="*/ 107 h 107"/>
                    <a:gd name="T40" fmla="*/ 65 w 108"/>
                    <a:gd name="T41" fmla="*/ 107 h 107"/>
                    <a:gd name="T42" fmla="*/ 75 w 108"/>
                    <a:gd name="T43" fmla="*/ 103 h 107"/>
                    <a:gd name="T44" fmla="*/ 84 w 108"/>
                    <a:gd name="T45" fmla="*/ 99 h 107"/>
                    <a:gd name="T46" fmla="*/ 91 w 108"/>
                    <a:gd name="T47" fmla="*/ 91 h 107"/>
                    <a:gd name="T48" fmla="*/ 99 w 108"/>
                    <a:gd name="T49" fmla="*/ 84 h 107"/>
                    <a:gd name="T50" fmla="*/ 103 w 108"/>
                    <a:gd name="T51" fmla="*/ 75 h 107"/>
                    <a:gd name="T52" fmla="*/ 107 w 108"/>
                    <a:gd name="T53" fmla="*/ 64 h 107"/>
                    <a:gd name="T54" fmla="*/ 108 w 108"/>
                    <a:gd name="T55" fmla="*/ 53 h 107"/>
                    <a:gd name="T56" fmla="*/ 108 w 108"/>
                    <a:gd name="T57" fmla="*/ 53 h 107"/>
                    <a:gd name="T58" fmla="*/ 107 w 108"/>
                    <a:gd name="T59" fmla="*/ 43 h 107"/>
                    <a:gd name="T60" fmla="*/ 103 w 108"/>
                    <a:gd name="T61" fmla="*/ 33 h 107"/>
                    <a:gd name="T62" fmla="*/ 99 w 108"/>
                    <a:gd name="T63" fmla="*/ 24 h 107"/>
                    <a:gd name="T64" fmla="*/ 91 w 108"/>
                    <a:gd name="T65" fmla="*/ 15 h 107"/>
                    <a:gd name="T66" fmla="*/ 84 w 108"/>
                    <a:gd name="T67" fmla="*/ 9 h 107"/>
                    <a:gd name="T68" fmla="*/ 75 w 108"/>
                    <a:gd name="T69" fmla="*/ 5 h 107"/>
                    <a:gd name="T70" fmla="*/ 65 w 108"/>
                    <a:gd name="T71" fmla="*/ 1 h 107"/>
                    <a:gd name="T72" fmla="*/ 55 w 108"/>
                    <a:gd name="T7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107">
                      <a:moveTo>
                        <a:pt x="55" y="0"/>
                      </a:moveTo>
                      <a:lnTo>
                        <a:pt x="55" y="0"/>
                      </a:lnTo>
                      <a:lnTo>
                        <a:pt x="43" y="1"/>
                      </a:lnTo>
                      <a:lnTo>
                        <a:pt x="33" y="5"/>
                      </a:lnTo>
                      <a:lnTo>
                        <a:pt x="24" y="9"/>
                      </a:lnTo>
                      <a:lnTo>
                        <a:pt x="17" y="15"/>
                      </a:lnTo>
                      <a:lnTo>
                        <a:pt x="9" y="24"/>
                      </a:lnTo>
                      <a:lnTo>
                        <a:pt x="5" y="33"/>
                      </a:lnTo>
                      <a:lnTo>
                        <a:pt x="1" y="43"/>
                      </a:lnTo>
                      <a:lnTo>
                        <a:pt x="0" y="53"/>
                      </a:lnTo>
                      <a:lnTo>
                        <a:pt x="0" y="53"/>
                      </a:lnTo>
                      <a:lnTo>
                        <a:pt x="1" y="64"/>
                      </a:lnTo>
                      <a:lnTo>
                        <a:pt x="5" y="75"/>
                      </a:lnTo>
                      <a:lnTo>
                        <a:pt x="9" y="84"/>
                      </a:lnTo>
                      <a:lnTo>
                        <a:pt x="17" y="91"/>
                      </a:lnTo>
                      <a:lnTo>
                        <a:pt x="24" y="99"/>
                      </a:lnTo>
                      <a:lnTo>
                        <a:pt x="33" y="103"/>
                      </a:lnTo>
                      <a:lnTo>
                        <a:pt x="43" y="107"/>
                      </a:lnTo>
                      <a:lnTo>
                        <a:pt x="55" y="107"/>
                      </a:lnTo>
                      <a:lnTo>
                        <a:pt x="55" y="107"/>
                      </a:lnTo>
                      <a:lnTo>
                        <a:pt x="65" y="107"/>
                      </a:lnTo>
                      <a:lnTo>
                        <a:pt x="75" y="103"/>
                      </a:lnTo>
                      <a:lnTo>
                        <a:pt x="84" y="99"/>
                      </a:lnTo>
                      <a:lnTo>
                        <a:pt x="91" y="91"/>
                      </a:lnTo>
                      <a:lnTo>
                        <a:pt x="99" y="84"/>
                      </a:lnTo>
                      <a:lnTo>
                        <a:pt x="103" y="75"/>
                      </a:lnTo>
                      <a:lnTo>
                        <a:pt x="107" y="64"/>
                      </a:lnTo>
                      <a:lnTo>
                        <a:pt x="108" y="53"/>
                      </a:lnTo>
                      <a:lnTo>
                        <a:pt x="108" y="53"/>
                      </a:lnTo>
                      <a:lnTo>
                        <a:pt x="107" y="43"/>
                      </a:lnTo>
                      <a:lnTo>
                        <a:pt x="103" y="33"/>
                      </a:lnTo>
                      <a:lnTo>
                        <a:pt x="99" y="24"/>
                      </a:lnTo>
                      <a:lnTo>
                        <a:pt x="91" y="15"/>
                      </a:lnTo>
                      <a:lnTo>
                        <a:pt x="84" y="9"/>
                      </a:lnTo>
                      <a:lnTo>
                        <a:pt x="75" y="5"/>
                      </a:lnTo>
                      <a:lnTo>
                        <a:pt x="65" y="1"/>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39" name="Freeform 386"/>
                <p:cNvSpPr>
                  <a:spLocks/>
                </p:cNvSpPr>
                <p:nvPr userDrawn="1"/>
              </p:nvSpPr>
              <p:spPr bwMode="auto">
                <a:xfrm>
                  <a:off x="10181771" y="4020636"/>
                  <a:ext cx="39688" cy="55563"/>
                </a:xfrm>
                <a:custGeom>
                  <a:avLst/>
                  <a:gdLst>
                    <a:gd name="T0" fmla="*/ 49 w 49"/>
                    <a:gd name="T1" fmla="*/ 59 h 72"/>
                    <a:gd name="T2" fmla="*/ 49 w 49"/>
                    <a:gd name="T3" fmla="*/ 59 h 72"/>
                    <a:gd name="T4" fmla="*/ 48 w 49"/>
                    <a:gd name="T5" fmla="*/ 64 h 72"/>
                    <a:gd name="T6" fmla="*/ 46 w 49"/>
                    <a:gd name="T7" fmla="*/ 68 h 72"/>
                    <a:gd name="T8" fmla="*/ 41 w 49"/>
                    <a:gd name="T9" fmla="*/ 70 h 72"/>
                    <a:gd name="T10" fmla="*/ 36 w 49"/>
                    <a:gd name="T11" fmla="*/ 72 h 72"/>
                    <a:gd name="T12" fmla="*/ 11 w 49"/>
                    <a:gd name="T13" fmla="*/ 72 h 72"/>
                    <a:gd name="T14" fmla="*/ 11 w 49"/>
                    <a:gd name="T15" fmla="*/ 72 h 72"/>
                    <a:gd name="T16" fmla="*/ 7 w 49"/>
                    <a:gd name="T17" fmla="*/ 70 h 72"/>
                    <a:gd name="T18" fmla="*/ 3 w 49"/>
                    <a:gd name="T19" fmla="*/ 68 h 72"/>
                    <a:gd name="T20" fmla="*/ 0 w 49"/>
                    <a:gd name="T21" fmla="*/ 64 h 72"/>
                    <a:gd name="T22" fmla="*/ 0 w 49"/>
                    <a:gd name="T23" fmla="*/ 59 h 72"/>
                    <a:gd name="T24" fmla="*/ 0 w 49"/>
                    <a:gd name="T25" fmla="*/ 13 h 72"/>
                    <a:gd name="T26" fmla="*/ 0 w 49"/>
                    <a:gd name="T27" fmla="*/ 13 h 72"/>
                    <a:gd name="T28" fmla="*/ 0 w 49"/>
                    <a:gd name="T29" fmla="*/ 9 h 72"/>
                    <a:gd name="T30" fmla="*/ 3 w 49"/>
                    <a:gd name="T31" fmla="*/ 4 h 72"/>
                    <a:gd name="T32" fmla="*/ 7 w 49"/>
                    <a:gd name="T33" fmla="*/ 1 h 72"/>
                    <a:gd name="T34" fmla="*/ 11 w 49"/>
                    <a:gd name="T35" fmla="*/ 0 h 72"/>
                    <a:gd name="T36" fmla="*/ 36 w 49"/>
                    <a:gd name="T37" fmla="*/ 0 h 72"/>
                    <a:gd name="T38" fmla="*/ 36 w 49"/>
                    <a:gd name="T39" fmla="*/ 0 h 72"/>
                    <a:gd name="T40" fmla="*/ 41 w 49"/>
                    <a:gd name="T41" fmla="*/ 1 h 72"/>
                    <a:gd name="T42" fmla="*/ 46 w 49"/>
                    <a:gd name="T43" fmla="*/ 4 h 72"/>
                    <a:gd name="T44" fmla="*/ 48 w 49"/>
                    <a:gd name="T45" fmla="*/ 9 h 72"/>
                    <a:gd name="T46" fmla="*/ 49 w 49"/>
                    <a:gd name="T47" fmla="*/ 13 h 72"/>
                    <a:gd name="T48" fmla="*/ 49 w 49"/>
                    <a:gd name="T49" fmla="*/ 5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72">
                      <a:moveTo>
                        <a:pt x="49" y="59"/>
                      </a:moveTo>
                      <a:lnTo>
                        <a:pt x="49" y="59"/>
                      </a:lnTo>
                      <a:lnTo>
                        <a:pt x="48" y="64"/>
                      </a:lnTo>
                      <a:lnTo>
                        <a:pt x="46" y="68"/>
                      </a:lnTo>
                      <a:lnTo>
                        <a:pt x="41" y="70"/>
                      </a:lnTo>
                      <a:lnTo>
                        <a:pt x="36" y="72"/>
                      </a:lnTo>
                      <a:lnTo>
                        <a:pt x="11" y="72"/>
                      </a:lnTo>
                      <a:lnTo>
                        <a:pt x="11" y="72"/>
                      </a:lnTo>
                      <a:lnTo>
                        <a:pt x="7" y="70"/>
                      </a:lnTo>
                      <a:lnTo>
                        <a:pt x="3" y="68"/>
                      </a:lnTo>
                      <a:lnTo>
                        <a:pt x="0" y="64"/>
                      </a:lnTo>
                      <a:lnTo>
                        <a:pt x="0" y="59"/>
                      </a:lnTo>
                      <a:lnTo>
                        <a:pt x="0" y="13"/>
                      </a:lnTo>
                      <a:lnTo>
                        <a:pt x="0" y="13"/>
                      </a:lnTo>
                      <a:lnTo>
                        <a:pt x="0" y="9"/>
                      </a:lnTo>
                      <a:lnTo>
                        <a:pt x="3" y="4"/>
                      </a:lnTo>
                      <a:lnTo>
                        <a:pt x="7" y="1"/>
                      </a:lnTo>
                      <a:lnTo>
                        <a:pt x="11" y="0"/>
                      </a:lnTo>
                      <a:lnTo>
                        <a:pt x="36" y="0"/>
                      </a:lnTo>
                      <a:lnTo>
                        <a:pt x="36" y="0"/>
                      </a:lnTo>
                      <a:lnTo>
                        <a:pt x="41" y="1"/>
                      </a:lnTo>
                      <a:lnTo>
                        <a:pt x="46" y="4"/>
                      </a:lnTo>
                      <a:lnTo>
                        <a:pt x="48" y="9"/>
                      </a:lnTo>
                      <a:lnTo>
                        <a:pt x="49" y="13"/>
                      </a:lnTo>
                      <a:lnTo>
                        <a:pt x="49" y="59"/>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40" name="Freeform 387"/>
                <p:cNvSpPr>
                  <a:spLocks/>
                </p:cNvSpPr>
                <p:nvPr userDrawn="1"/>
              </p:nvSpPr>
              <p:spPr bwMode="auto">
                <a:xfrm>
                  <a:off x="10235746" y="4020636"/>
                  <a:ext cx="39688" cy="55563"/>
                </a:xfrm>
                <a:custGeom>
                  <a:avLst/>
                  <a:gdLst>
                    <a:gd name="T0" fmla="*/ 50 w 50"/>
                    <a:gd name="T1" fmla="*/ 59 h 72"/>
                    <a:gd name="T2" fmla="*/ 50 w 50"/>
                    <a:gd name="T3" fmla="*/ 59 h 72"/>
                    <a:gd name="T4" fmla="*/ 49 w 50"/>
                    <a:gd name="T5" fmla="*/ 64 h 72"/>
                    <a:gd name="T6" fmla="*/ 47 w 50"/>
                    <a:gd name="T7" fmla="*/ 68 h 72"/>
                    <a:gd name="T8" fmla="*/ 43 w 50"/>
                    <a:gd name="T9" fmla="*/ 70 h 72"/>
                    <a:gd name="T10" fmla="*/ 37 w 50"/>
                    <a:gd name="T11" fmla="*/ 72 h 72"/>
                    <a:gd name="T12" fmla="*/ 13 w 50"/>
                    <a:gd name="T13" fmla="*/ 72 h 72"/>
                    <a:gd name="T14" fmla="*/ 13 w 50"/>
                    <a:gd name="T15" fmla="*/ 72 h 72"/>
                    <a:gd name="T16" fmla="*/ 7 w 50"/>
                    <a:gd name="T17" fmla="*/ 70 h 72"/>
                    <a:gd name="T18" fmla="*/ 4 w 50"/>
                    <a:gd name="T19" fmla="*/ 68 h 72"/>
                    <a:gd name="T20" fmla="*/ 1 w 50"/>
                    <a:gd name="T21" fmla="*/ 64 h 72"/>
                    <a:gd name="T22" fmla="*/ 0 w 50"/>
                    <a:gd name="T23" fmla="*/ 59 h 72"/>
                    <a:gd name="T24" fmla="*/ 0 w 50"/>
                    <a:gd name="T25" fmla="*/ 13 h 72"/>
                    <a:gd name="T26" fmla="*/ 0 w 50"/>
                    <a:gd name="T27" fmla="*/ 13 h 72"/>
                    <a:gd name="T28" fmla="*/ 1 w 50"/>
                    <a:gd name="T29" fmla="*/ 9 h 72"/>
                    <a:gd name="T30" fmla="*/ 4 w 50"/>
                    <a:gd name="T31" fmla="*/ 4 h 72"/>
                    <a:gd name="T32" fmla="*/ 7 w 50"/>
                    <a:gd name="T33" fmla="*/ 1 h 72"/>
                    <a:gd name="T34" fmla="*/ 13 w 50"/>
                    <a:gd name="T35" fmla="*/ 0 h 72"/>
                    <a:gd name="T36" fmla="*/ 37 w 50"/>
                    <a:gd name="T37" fmla="*/ 0 h 72"/>
                    <a:gd name="T38" fmla="*/ 37 w 50"/>
                    <a:gd name="T39" fmla="*/ 0 h 72"/>
                    <a:gd name="T40" fmla="*/ 43 w 50"/>
                    <a:gd name="T41" fmla="*/ 1 h 72"/>
                    <a:gd name="T42" fmla="*/ 47 w 50"/>
                    <a:gd name="T43" fmla="*/ 4 h 72"/>
                    <a:gd name="T44" fmla="*/ 49 w 50"/>
                    <a:gd name="T45" fmla="*/ 9 h 72"/>
                    <a:gd name="T46" fmla="*/ 50 w 50"/>
                    <a:gd name="T47" fmla="*/ 13 h 72"/>
                    <a:gd name="T48" fmla="*/ 50 w 50"/>
                    <a:gd name="T49" fmla="*/ 5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72">
                      <a:moveTo>
                        <a:pt x="50" y="59"/>
                      </a:moveTo>
                      <a:lnTo>
                        <a:pt x="50" y="59"/>
                      </a:lnTo>
                      <a:lnTo>
                        <a:pt x="49" y="64"/>
                      </a:lnTo>
                      <a:lnTo>
                        <a:pt x="47" y="68"/>
                      </a:lnTo>
                      <a:lnTo>
                        <a:pt x="43" y="70"/>
                      </a:lnTo>
                      <a:lnTo>
                        <a:pt x="37" y="72"/>
                      </a:lnTo>
                      <a:lnTo>
                        <a:pt x="13" y="72"/>
                      </a:lnTo>
                      <a:lnTo>
                        <a:pt x="13" y="72"/>
                      </a:lnTo>
                      <a:lnTo>
                        <a:pt x="7" y="70"/>
                      </a:lnTo>
                      <a:lnTo>
                        <a:pt x="4" y="68"/>
                      </a:lnTo>
                      <a:lnTo>
                        <a:pt x="1" y="64"/>
                      </a:lnTo>
                      <a:lnTo>
                        <a:pt x="0" y="59"/>
                      </a:lnTo>
                      <a:lnTo>
                        <a:pt x="0" y="13"/>
                      </a:lnTo>
                      <a:lnTo>
                        <a:pt x="0" y="13"/>
                      </a:lnTo>
                      <a:lnTo>
                        <a:pt x="1" y="9"/>
                      </a:lnTo>
                      <a:lnTo>
                        <a:pt x="4" y="4"/>
                      </a:lnTo>
                      <a:lnTo>
                        <a:pt x="7" y="1"/>
                      </a:lnTo>
                      <a:lnTo>
                        <a:pt x="13" y="0"/>
                      </a:lnTo>
                      <a:lnTo>
                        <a:pt x="37" y="0"/>
                      </a:lnTo>
                      <a:lnTo>
                        <a:pt x="37" y="0"/>
                      </a:lnTo>
                      <a:lnTo>
                        <a:pt x="43" y="1"/>
                      </a:lnTo>
                      <a:lnTo>
                        <a:pt x="47" y="4"/>
                      </a:lnTo>
                      <a:lnTo>
                        <a:pt x="49" y="9"/>
                      </a:lnTo>
                      <a:lnTo>
                        <a:pt x="50" y="13"/>
                      </a:lnTo>
                      <a:lnTo>
                        <a:pt x="50" y="59"/>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41" name="Freeform 388"/>
                <p:cNvSpPr>
                  <a:spLocks/>
                </p:cNvSpPr>
                <p:nvPr userDrawn="1"/>
              </p:nvSpPr>
              <p:spPr bwMode="auto">
                <a:xfrm>
                  <a:off x="10181771" y="4107949"/>
                  <a:ext cx="88900" cy="165100"/>
                </a:xfrm>
                <a:custGeom>
                  <a:avLst/>
                  <a:gdLst>
                    <a:gd name="T0" fmla="*/ 42 w 111"/>
                    <a:gd name="T1" fmla="*/ 208 h 208"/>
                    <a:gd name="T2" fmla="*/ 42 w 111"/>
                    <a:gd name="T3" fmla="*/ 208 h 208"/>
                    <a:gd name="T4" fmla="*/ 34 w 111"/>
                    <a:gd name="T5" fmla="*/ 207 h 208"/>
                    <a:gd name="T6" fmla="*/ 26 w 111"/>
                    <a:gd name="T7" fmla="*/ 204 h 208"/>
                    <a:gd name="T8" fmla="*/ 19 w 111"/>
                    <a:gd name="T9" fmla="*/ 201 h 208"/>
                    <a:gd name="T10" fmla="*/ 11 w 111"/>
                    <a:gd name="T11" fmla="*/ 195 h 208"/>
                    <a:gd name="T12" fmla="*/ 7 w 111"/>
                    <a:gd name="T13" fmla="*/ 189 h 208"/>
                    <a:gd name="T14" fmla="*/ 2 w 111"/>
                    <a:gd name="T15" fmla="*/ 181 h 208"/>
                    <a:gd name="T16" fmla="*/ 0 w 111"/>
                    <a:gd name="T17" fmla="*/ 172 h 208"/>
                    <a:gd name="T18" fmla="*/ 0 w 111"/>
                    <a:gd name="T19" fmla="*/ 164 h 208"/>
                    <a:gd name="T20" fmla="*/ 0 w 111"/>
                    <a:gd name="T21" fmla="*/ 44 h 208"/>
                    <a:gd name="T22" fmla="*/ 0 w 111"/>
                    <a:gd name="T23" fmla="*/ 44 h 208"/>
                    <a:gd name="T24" fmla="*/ 0 w 111"/>
                    <a:gd name="T25" fmla="*/ 34 h 208"/>
                    <a:gd name="T26" fmla="*/ 2 w 111"/>
                    <a:gd name="T27" fmla="*/ 26 h 208"/>
                    <a:gd name="T28" fmla="*/ 7 w 111"/>
                    <a:gd name="T29" fmla="*/ 19 h 208"/>
                    <a:gd name="T30" fmla="*/ 11 w 111"/>
                    <a:gd name="T31" fmla="*/ 13 h 208"/>
                    <a:gd name="T32" fmla="*/ 19 w 111"/>
                    <a:gd name="T33" fmla="*/ 7 h 208"/>
                    <a:gd name="T34" fmla="*/ 26 w 111"/>
                    <a:gd name="T35" fmla="*/ 3 h 208"/>
                    <a:gd name="T36" fmla="*/ 34 w 111"/>
                    <a:gd name="T37" fmla="*/ 1 h 208"/>
                    <a:gd name="T38" fmla="*/ 42 w 111"/>
                    <a:gd name="T39" fmla="*/ 0 h 208"/>
                    <a:gd name="T40" fmla="*/ 67 w 111"/>
                    <a:gd name="T41" fmla="*/ 0 h 208"/>
                    <a:gd name="T42" fmla="*/ 67 w 111"/>
                    <a:gd name="T43" fmla="*/ 0 h 208"/>
                    <a:gd name="T44" fmla="*/ 76 w 111"/>
                    <a:gd name="T45" fmla="*/ 1 h 208"/>
                    <a:gd name="T46" fmla="*/ 84 w 111"/>
                    <a:gd name="T47" fmla="*/ 3 h 208"/>
                    <a:gd name="T48" fmla="*/ 92 w 111"/>
                    <a:gd name="T49" fmla="*/ 7 h 208"/>
                    <a:gd name="T50" fmla="*/ 98 w 111"/>
                    <a:gd name="T51" fmla="*/ 13 h 208"/>
                    <a:gd name="T52" fmla="*/ 104 w 111"/>
                    <a:gd name="T53" fmla="*/ 19 h 208"/>
                    <a:gd name="T54" fmla="*/ 108 w 111"/>
                    <a:gd name="T55" fmla="*/ 26 h 208"/>
                    <a:gd name="T56" fmla="*/ 110 w 111"/>
                    <a:gd name="T57" fmla="*/ 34 h 208"/>
                    <a:gd name="T58" fmla="*/ 111 w 111"/>
                    <a:gd name="T59" fmla="*/ 44 h 208"/>
                    <a:gd name="T60" fmla="*/ 111 w 111"/>
                    <a:gd name="T61" fmla="*/ 164 h 208"/>
                    <a:gd name="T62" fmla="*/ 111 w 111"/>
                    <a:gd name="T63" fmla="*/ 164 h 208"/>
                    <a:gd name="T64" fmla="*/ 110 w 111"/>
                    <a:gd name="T65" fmla="*/ 172 h 208"/>
                    <a:gd name="T66" fmla="*/ 108 w 111"/>
                    <a:gd name="T67" fmla="*/ 181 h 208"/>
                    <a:gd name="T68" fmla="*/ 104 w 111"/>
                    <a:gd name="T69" fmla="*/ 189 h 208"/>
                    <a:gd name="T70" fmla="*/ 98 w 111"/>
                    <a:gd name="T71" fmla="*/ 195 h 208"/>
                    <a:gd name="T72" fmla="*/ 92 w 111"/>
                    <a:gd name="T73" fmla="*/ 201 h 208"/>
                    <a:gd name="T74" fmla="*/ 84 w 111"/>
                    <a:gd name="T75" fmla="*/ 204 h 208"/>
                    <a:gd name="T76" fmla="*/ 76 w 111"/>
                    <a:gd name="T77" fmla="*/ 207 h 208"/>
                    <a:gd name="T78" fmla="*/ 67 w 111"/>
                    <a:gd name="T79" fmla="*/ 208 h 208"/>
                    <a:gd name="T80" fmla="*/ 42 w 111"/>
                    <a:gd name="T81"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1" h="208">
                      <a:moveTo>
                        <a:pt x="42" y="208"/>
                      </a:moveTo>
                      <a:lnTo>
                        <a:pt x="42" y="208"/>
                      </a:lnTo>
                      <a:lnTo>
                        <a:pt x="34" y="207"/>
                      </a:lnTo>
                      <a:lnTo>
                        <a:pt x="26" y="204"/>
                      </a:lnTo>
                      <a:lnTo>
                        <a:pt x="19" y="201"/>
                      </a:lnTo>
                      <a:lnTo>
                        <a:pt x="11" y="195"/>
                      </a:lnTo>
                      <a:lnTo>
                        <a:pt x="7" y="189"/>
                      </a:lnTo>
                      <a:lnTo>
                        <a:pt x="2" y="181"/>
                      </a:lnTo>
                      <a:lnTo>
                        <a:pt x="0" y="172"/>
                      </a:lnTo>
                      <a:lnTo>
                        <a:pt x="0" y="164"/>
                      </a:lnTo>
                      <a:lnTo>
                        <a:pt x="0" y="44"/>
                      </a:lnTo>
                      <a:lnTo>
                        <a:pt x="0" y="44"/>
                      </a:lnTo>
                      <a:lnTo>
                        <a:pt x="0" y="34"/>
                      </a:lnTo>
                      <a:lnTo>
                        <a:pt x="2" y="26"/>
                      </a:lnTo>
                      <a:lnTo>
                        <a:pt x="7" y="19"/>
                      </a:lnTo>
                      <a:lnTo>
                        <a:pt x="11" y="13"/>
                      </a:lnTo>
                      <a:lnTo>
                        <a:pt x="19" y="7"/>
                      </a:lnTo>
                      <a:lnTo>
                        <a:pt x="26" y="3"/>
                      </a:lnTo>
                      <a:lnTo>
                        <a:pt x="34" y="1"/>
                      </a:lnTo>
                      <a:lnTo>
                        <a:pt x="42" y="0"/>
                      </a:lnTo>
                      <a:lnTo>
                        <a:pt x="67" y="0"/>
                      </a:lnTo>
                      <a:lnTo>
                        <a:pt x="67" y="0"/>
                      </a:lnTo>
                      <a:lnTo>
                        <a:pt x="76" y="1"/>
                      </a:lnTo>
                      <a:lnTo>
                        <a:pt x="84" y="3"/>
                      </a:lnTo>
                      <a:lnTo>
                        <a:pt x="92" y="7"/>
                      </a:lnTo>
                      <a:lnTo>
                        <a:pt x="98" y="13"/>
                      </a:lnTo>
                      <a:lnTo>
                        <a:pt x="104" y="19"/>
                      </a:lnTo>
                      <a:lnTo>
                        <a:pt x="108" y="26"/>
                      </a:lnTo>
                      <a:lnTo>
                        <a:pt x="110" y="34"/>
                      </a:lnTo>
                      <a:lnTo>
                        <a:pt x="111" y="44"/>
                      </a:lnTo>
                      <a:lnTo>
                        <a:pt x="111" y="164"/>
                      </a:lnTo>
                      <a:lnTo>
                        <a:pt x="111" y="164"/>
                      </a:lnTo>
                      <a:lnTo>
                        <a:pt x="110" y="172"/>
                      </a:lnTo>
                      <a:lnTo>
                        <a:pt x="108" y="181"/>
                      </a:lnTo>
                      <a:lnTo>
                        <a:pt x="104" y="189"/>
                      </a:lnTo>
                      <a:lnTo>
                        <a:pt x="98" y="195"/>
                      </a:lnTo>
                      <a:lnTo>
                        <a:pt x="92" y="201"/>
                      </a:lnTo>
                      <a:lnTo>
                        <a:pt x="84" y="204"/>
                      </a:lnTo>
                      <a:lnTo>
                        <a:pt x="76" y="207"/>
                      </a:lnTo>
                      <a:lnTo>
                        <a:pt x="67" y="208"/>
                      </a:lnTo>
                      <a:lnTo>
                        <a:pt x="42" y="20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42" name="Freeform 389"/>
                <p:cNvSpPr>
                  <a:spLocks/>
                </p:cNvSpPr>
                <p:nvPr userDrawn="1"/>
              </p:nvSpPr>
              <p:spPr bwMode="auto">
                <a:xfrm>
                  <a:off x="10205583" y="4131761"/>
                  <a:ext cx="39688" cy="115888"/>
                </a:xfrm>
                <a:custGeom>
                  <a:avLst/>
                  <a:gdLst>
                    <a:gd name="T0" fmla="*/ 51 w 51"/>
                    <a:gd name="T1" fmla="*/ 133 h 146"/>
                    <a:gd name="T2" fmla="*/ 51 w 51"/>
                    <a:gd name="T3" fmla="*/ 133 h 146"/>
                    <a:gd name="T4" fmla="*/ 50 w 51"/>
                    <a:gd name="T5" fmla="*/ 138 h 146"/>
                    <a:gd name="T6" fmla="*/ 48 w 51"/>
                    <a:gd name="T7" fmla="*/ 142 h 146"/>
                    <a:gd name="T8" fmla="*/ 43 w 51"/>
                    <a:gd name="T9" fmla="*/ 145 h 146"/>
                    <a:gd name="T10" fmla="*/ 38 w 51"/>
                    <a:gd name="T11" fmla="*/ 146 h 146"/>
                    <a:gd name="T12" fmla="*/ 13 w 51"/>
                    <a:gd name="T13" fmla="*/ 146 h 146"/>
                    <a:gd name="T14" fmla="*/ 13 w 51"/>
                    <a:gd name="T15" fmla="*/ 146 h 146"/>
                    <a:gd name="T16" fmla="*/ 9 w 51"/>
                    <a:gd name="T17" fmla="*/ 145 h 146"/>
                    <a:gd name="T18" fmla="*/ 5 w 51"/>
                    <a:gd name="T19" fmla="*/ 142 h 146"/>
                    <a:gd name="T20" fmla="*/ 1 w 51"/>
                    <a:gd name="T21" fmla="*/ 138 h 146"/>
                    <a:gd name="T22" fmla="*/ 0 w 51"/>
                    <a:gd name="T23" fmla="*/ 133 h 146"/>
                    <a:gd name="T24" fmla="*/ 0 w 51"/>
                    <a:gd name="T25" fmla="*/ 13 h 146"/>
                    <a:gd name="T26" fmla="*/ 0 w 51"/>
                    <a:gd name="T27" fmla="*/ 13 h 146"/>
                    <a:gd name="T28" fmla="*/ 1 w 51"/>
                    <a:gd name="T29" fmla="*/ 7 h 146"/>
                    <a:gd name="T30" fmla="*/ 5 w 51"/>
                    <a:gd name="T31" fmla="*/ 3 h 146"/>
                    <a:gd name="T32" fmla="*/ 9 w 51"/>
                    <a:gd name="T33" fmla="*/ 1 h 146"/>
                    <a:gd name="T34" fmla="*/ 13 w 51"/>
                    <a:gd name="T35" fmla="*/ 0 h 146"/>
                    <a:gd name="T36" fmla="*/ 38 w 51"/>
                    <a:gd name="T37" fmla="*/ 0 h 146"/>
                    <a:gd name="T38" fmla="*/ 38 w 51"/>
                    <a:gd name="T39" fmla="*/ 0 h 146"/>
                    <a:gd name="T40" fmla="*/ 43 w 51"/>
                    <a:gd name="T41" fmla="*/ 1 h 146"/>
                    <a:gd name="T42" fmla="*/ 48 w 51"/>
                    <a:gd name="T43" fmla="*/ 3 h 146"/>
                    <a:gd name="T44" fmla="*/ 50 w 51"/>
                    <a:gd name="T45" fmla="*/ 7 h 146"/>
                    <a:gd name="T46" fmla="*/ 51 w 51"/>
                    <a:gd name="T47" fmla="*/ 13 h 146"/>
                    <a:gd name="T48" fmla="*/ 51 w 51"/>
                    <a:gd name="T49" fmla="*/ 133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 h="146">
                      <a:moveTo>
                        <a:pt x="51" y="133"/>
                      </a:moveTo>
                      <a:lnTo>
                        <a:pt x="51" y="133"/>
                      </a:lnTo>
                      <a:lnTo>
                        <a:pt x="50" y="138"/>
                      </a:lnTo>
                      <a:lnTo>
                        <a:pt x="48" y="142"/>
                      </a:lnTo>
                      <a:lnTo>
                        <a:pt x="43" y="145"/>
                      </a:lnTo>
                      <a:lnTo>
                        <a:pt x="38" y="146"/>
                      </a:lnTo>
                      <a:lnTo>
                        <a:pt x="13" y="146"/>
                      </a:lnTo>
                      <a:lnTo>
                        <a:pt x="13" y="146"/>
                      </a:lnTo>
                      <a:lnTo>
                        <a:pt x="9" y="145"/>
                      </a:lnTo>
                      <a:lnTo>
                        <a:pt x="5" y="142"/>
                      </a:lnTo>
                      <a:lnTo>
                        <a:pt x="1" y="138"/>
                      </a:lnTo>
                      <a:lnTo>
                        <a:pt x="0" y="133"/>
                      </a:lnTo>
                      <a:lnTo>
                        <a:pt x="0" y="13"/>
                      </a:lnTo>
                      <a:lnTo>
                        <a:pt x="0" y="13"/>
                      </a:lnTo>
                      <a:lnTo>
                        <a:pt x="1" y="7"/>
                      </a:lnTo>
                      <a:lnTo>
                        <a:pt x="5" y="3"/>
                      </a:lnTo>
                      <a:lnTo>
                        <a:pt x="9" y="1"/>
                      </a:lnTo>
                      <a:lnTo>
                        <a:pt x="13" y="0"/>
                      </a:lnTo>
                      <a:lnTo>
                        <a:pt x="38" y="0"/>
                      </a:lnTo>
                      <a:lnTo>
                        <a:pt x="38" y="0"/>
                      </a:lnTo>
                      <a:lnTo>
                        <a:pt x="43" y="1"/>
                      </a:lnTo>
                      <a:lnTo>
                        <a:pt x="48" y="3"/>
                      </a:lnTo>
                      <a:lnTo>
                        <a:pt x="50" y="7"/>
                      </a:lnTo>
                      <a:lnTo>
                        <a:pt x="51" y="13"/>
                      </a:lnTo>
                      <a:lnTo>
                        <a:pt x="51" y="133"/>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43" name="Freeform 390"/>
                <p:cNvSpPr>
                  <a:spLocks/>
                </p:cNvSpPr>
                <p:nvPr userDrawn="1"/>
              </p:nvSpPr>
              <p:spPr bwMode="auto">
                <a:xfrm>
                  <a:off x="10110333" y="3661861"/>
                  <a:ext cx="36513" cy="38100"/>
                </a:xfrm>
                <a:custGeom>
                  <a:avLst/>
                  <a:gdLst>
                    <a:gd name="T0" fmla="*/ 48 w 48"/>
                    <a:gd name="T1" fmla="*/ 23 h 47"/>
                    <a:gd name="T2" fmla="*/ 48 w 48"/>
                    <a:gd name="T3" fmla="*/ 23 h 47"/>
                    <a:gd name="T4" fmla="*/ 48 w 48"/>
                    <a:gd name="T5" fmla="*/ 28 h 47"/>
                    <a:gd name="T6" fmla="*/ 45 w 48"/>
                    <a:gd name="T7" fmla="*/ 33 h 47"/>
                    <a:gd name="T8" fmla="*/ 44 w 48"/>
                    <a:gd name="T9" fmla="*/ 37 h 47"/>
                    <a:gd name="T10" fmla="*/ 41 w 48"/>
                    <a:gd name="T11" fmla="*/ 40 h 47"/>
                    <a:gd name="T12" fmla="*/ 37 w 48"/>
                    <a:gd name="T13" fmla="*/ 44 h 47"/>
                    <a:gd name="T14" fmla="*/ 33 w 48"/>
                    <a:gd name="T15" fmla="*/ 46 h 47"/>
                    <a:gd name="T16" fmla="*/ 29 w 48"/>
                    <a:gd name="T17" fmla="*/ 47 h 47"/>
                    <a:gd name="T18" fmla="*/ 24 w 48"/>
                    <a:gd name="T19" fmla="*/ 47 h 47"/>
                    <a:gd name="T20" fmla="*/ 24 w 48"/>
                    <a:gd name="T21" fmla="*/ 47 h 47"/>
                    <a:gd name="T22" fmla="*/ 19 w 48"/>
                    <a:gd name="T23" fmla="*/ 47 h 47"/>
                    <a:gd name="T24" fmla="*/ 14 w 48"/>
                    <a:gd name="T25" fmla="*/ 46 h 47"/>
                    <a:gd name="T26" fmla="*/ 11 w 48"/>
                    <a:gd name="T27" fmla="*/ 44 h 47"/>
                    <a:gd name="T28" fmla="*/ 7 w 48"/>
                    <a:gd name="T29" fmla="*/ 40 h 47"/>
                    <a:gd name="T30" fmla="*/ 4 w 48"/>
                    <a:gd name="T31" fmla="*/ 37 h 47"/>
                    <a:gd name="T32" fmla="*/ 3 w 48"/>
                    <a:gd name="T33" fmla="*/ 33 h 47"/>
                    <a:gd name="T34" fmla="*/ 0 w 48"/>
                    <a:gd name="T35" fmla="*/ 28 h 47"/>
                    <a:gd name="T36" fmla="*/ 0 w 48"/>
                    <a:gd name="T37" fmla="*/ 23 h 47"/>
                    <a:gd name="T38" fmla="*/ 0 w 48"/>
                    <a:gd name="T39" fmla="*/ 23 h 47"/>
                    <a:gd name="T40" fmla="*/ 0 w 48"/>
                    <a:gd name="T41" fmla="*/ 19 h 47"/>
                    <a:gd name="T42" fmla="*/ 3 w 48"/>
                    <a:gd name="T43" fmla="*/ 14 h 47"/>
                    <a:gd name="T44" fmla="*/ 4 w 48"/>
                    <a:gd name="T45" fmla="*/ 10 h 47"/>
                    <a:gd name="T46" fmla="*/ 7 w 48"/>
                    <a:gd name="T47" fmla="*/ 7 h 47"/>
                    <a:gd name="T48" fmla="*/ 11 w 48"/>
                    <a:gd name="T49" fmla="*/ 4 h 47"/>
                    <a:gd name="T50" fmla="*/ 14 w 48"/>
                    <a:gd name="T51" fmla="*/ 2 h 47"/>
                    <a:gd name="T52" fmla="*/ 19 w 48"/>
                    <a:gd name="T53" fmla="*/ 1 h 47"/>
                    <a:gd name="T54" fmla="*/ 24 w 48"/>
                    <a:gd name="T55" fmla="*/ 0 h 47"/>
                    <a:gd name="T56" fmla="*/ 24 w 48"/>
                    <a:gd name="T57" fmla="*/ 0 h 47"/>
                    <a:gd name="T58" fmla="*/ 29 w 48"/>
                    <a:gd name="T59" fmla="*/ 1 h 47"/>
                    <a:gd name="T60" fmla="*/ 33 w 48"/>
                    <a:gd name="T61" fmla="*/ 2 h 47"/>
                    <a:gd name="T62" fmla="*/ 37 w 48"/>
                    <a:gd name="T63" fmla="*/ 4 h 47"/>
                    <a:gd name="T64" fmla="*/ 41 w 48"/>
                    <a:gd name="T65" fmla="*/ 7 h 47"/>
                    <a:gd name="T66" fmla="*/ 44 w 48"/>
                    <a:gd name="T67" fmla="*/ 10 h 47"/>
                    <a:gd name="T68" fmla="*/ 45 w 48"/>
                    <a:gd name="T69" fmla="*/ 14 h 47"/>
                    <a:gd name="T70" fmla="*/ 48 w 48"/>
                    <a:gd name="T71" fmla="*/ 19 h 47"/>
                    <a:gd name="T72" fmla="*/ 48 w 48"/>
                    <a:gd name="T73" fmla="*/ 23 h 47"/>
                    <a:gd name="T74" fmla="*/ 48 w 48"/>
                    <a:gd name="T7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 h="47">
                      <a:moveTo>
                        <a:pt x="48" y="23"/>
                      </a:moveTo>
                      <a:lnTo>
                        <a:pt x="48" y="23"/>
                      </a:lnTo>
                      <a:lnTo>
                        <a:pt x="48" y="28"/>
                      </a:lnTo>
                      <a:lnTo>
                        <a:pt x="45" y="33"/>
                      </a:lnTo>
                      <a:lnTo>
                        <a:pt x="44" y="37"/>
                      </a:lnTo>
                      <a:lnTo>
                        <a:pt x="41" y="40"/>
                      </a:lnTo>
                      <a:lnTo>
                        <a:pt x="37" y="44"/>
                      </a:lnTo>
                      <a:lnTo>
                        <a:pt x="33" y="46"/>
                      </a:lnTo>
                      <a:lnTo>
                        <a:pt x="29" y="47"/>
                      </a:lnTo>
                      <a:lnTo>
                        <a:pt x="24" y="47"/>
                      </a:lnTo>
                      <a:lnTo>
                        <a:pt x="24" y="47"/>
                      </a:lnTo>
                      <a:lnTo>
                        <a:pt x="19" y="47"/>
                      </a:lnTo>
                      <a:lnTo>
                        <a:pt x="14" y="46"/>
                      </a:lnTo>
                      <a:lnTo>
                        <a:pt x="11" y="44"/>
                      </a:lnTo>
                      <a:lnTo>
                        <a:pt x="7" y="40"/>
                      </a:lnTo>
                      <a:lnTo>
                        <a:pt x="4" y="37"/>
                      </a:lnTo>
                      <a:lnTo>
                        <a:pt x="3" y="33"/>
                      </a:lnTo>
                      <a:lnTo>
                        <a:pt x="0" y="28"/>
                      </a:lnTo>
                      <a:lnTo>
                        <a:pt x="0" y="23"/>
                      </a:lnTo>
                      <a:lnTo>
                        <a:pt x="0" y="23"/>
                      </a:lnTo>
                      <a:lnTo>
                        <a:pt x="0" y="19"/>
                      </a:lnTo>
                      <a:lnTo>
                        <a:pt x="3" y="14"/>
                      </a:lnTo>
                      <a:lnTo>
                        <a:pt x="4" y="10"/>
                      </a:lnTo>
                      <a:lnTo>
                        <a:pt x="7" y="7"/>
                      </a:lnTo>
                      <a:lnTo>
                        <a:pt x="11" y="4"/>
                      </a:lnTo>
                      <a:lnTo>
                        <a:pt x="14" y="2"/>
                      </a:lnTo>
                      <a:lnTo>
                        <a:pt x="19" y="1"/>
                      </a:lnTo>
                      <a:lnTo>
                        <a:pt x="24" y="0"/>
                      </a:lnTo>
                      <a:lnTo>
                        <a:pt x="24" y="0"/>
                      </a:lnTo>
                      <a:lnTo>
                        <a:pt x="29" y="1"/>
                      </a:lnTo>
                      <a:lnTo>
                        <a:pt x="33" y="2"/>
                      </a:lnTo>
                      <a:lnTo>
                        <a:pt x="37" y="4"/>
                      </a:lnTo>
                      <a:lnTo>
                        <a:pt x="41" y="7"/>
                      </a:lnTo>
                      <a:lnTo>
                        <a:pt x="44" y="10"/>
                      </a:lnTo>
                      <a:lnTo>
                        <a:pt x="45" y="14"/>
                      </a:lnTo>
                      <a:lnTo>
                        <a:pt x="48" y="19"/>
                      </a:lnTo>
                      <a:lnTo>
                        <a:pt x="48" y="23"/>
                      </a:lnTo>
                      <a:lnTo>
                        <a:pt x="48"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44" name="Freeform 391"/>
                <p:cNvSpPr>
                  <a:spLocks/>
                </p:cNvSpPr>
                <p:nvPr userDrawn="1"/>
              </p:nvSpPr>
              <p:spPr bwMode="auto">
                <a:xfrm>
                  <a:off x="10015083" y="3706311"/>
                  <a:ext cx="101600" cy="101600"/>
                </a:xfrm>
                <a:custGeom>
                  <a:avLst/>
                  <a:gdLst>
                    <a:gd name="T0" fmla="*/ 127 w 127"/>
                    <a:gd name="T1" fmla="*/ 64 h 128"/>
                    <a:gd name="T2" fmla="*/ 127 w 127"/>
                    <a:gd name="T3" fmla="*/ 64 h 128"/>
                    <a:gd name="T4" fmla="*/ 126 w 127"/>
                    <a:gd name="T5" fmla="*/ 77 h 128"/>
                    <a:gd name="T6" fmla="*/ 123 w 127"/>
                    <a:gd name="T7" fmla="*/ 89 h 128"/>
                    <a:gd name="T8" fmla="*/ 117 w 127"/>
                    <a:gd name="T9" fmla="*/ 99 h 128"/>
                    <a:gd name="T10" fmla="*/ 108 w 127"/>
                    <a:gd name="T11" fmla="*/ 109 h 128"/>
                    <a:gd name="T12" fmla="*/ 99 w 127"/>
                    <a:gd name="T13" fmla="*/ 116 h 128"/>
                    <a:gd name="T14" fmla="*/ 88 w 127"/>
                    <a:gd name="T15" fmla="*/ 122 h 128"/>
                    <a:gd name="T16" fmla="*/ 76 w 127"/>
                    <a:gd name="T17" fmla="*/ 126 h 128"/>
                    <a:gd name="T18" fmla="*/ 63 w 127"/>
                    <a:gd name="T19" fmla="*/ 128 h 128"/>
                    <a:gd name="T20" fmla="*/ 63 w 127"/>
                    <a:gd name="T21" fmla="*/ 128 h 128"/>
                    <a:gd name="T22" fmla="*/ 51 w 127"/>
                    <a:gd name="T23" fmla="*/ 126 h 128"/>
                    <a:gd name="T24" fmla="*/ 39 w 127"/>
                    <a:gd name="T25" fmla="*/ 122 h 128"/>
                    <a:gd name="T26" fmla="*/ 28 w 127"/>
                    <a:gd name="T27" fmla="*/ 116 h 128"/>
                    <a:gd name="T28" fmla="*/ 19 w 127"/>
                    <a:gd name="T29" fmla="*/ 109 h 128"/>
                    <a:gd name="T30" fmla="*/ 11 w 127"/>
                    <a:gd name="T31" fmla="*/ 99 h 128"/>
                    <a:gd name="T32" fmla="*/ 5 w 127"/>
                    <a:gd name="T33" fmla="*/ 89 h 128"/>
                    <a:gd name="T34" fmla="*/ 1 w 127"/>
                    <a:gd name="T35" fmla="*/ 77 h 128"/>
                    <a:gd name="T36" fmla="*/ 0 w 127"/>
                    <a:gd name="T37" fmla="*/ 64 h 128"/>
                    <a:gd name="T38" fmla="*/ 0 w 127"/>
                    <a:gd name="T39" fmla="*/ 64 h 128"/>
                    <a:gd name="T40" fmla="*/ 1 w 127"/>
                    <a:gd name="T41" fmla="*/ 51 h 128"/>
                    <a:gd name="T42" fmla="*/ 5 w 127"/>
                    <a:gd name="T43" fmla="*/ 39 h 128"/>
                    <a:gd name="T44" fmla="*/ 11 w 127"/>
                    <a:gd name="T45" fmla="*/ 28 h 128"/>
                    <a:gd name="T46" fmla="*/ 19 w 127"/>
                    <a:gd name="T47" fmla="*/ 19 h 128"/>
                    <a:gd name="T48" fmla="*/ 28 w 127"/>
                    <a:gd name="T49" fmla="*/ 10 h 128"/>
                    <a:gd name="T50" fmla="*/ 39 w 127"/>
                    <a:gd name="T51" fmla="*/ 6 h 128"/>
                    <a:gd name="T52" fmla="*/ 51 w 127"/>
                    <a:gd name="T53" fmla="*/ 1 h 128"/>
                    <a:gd name="T54" fmla="*/ 63 w 127"/>
                    <a:gd name="T55" fmla="*/ 0 h 128"/>
                    <a:gd name="T56" fmla="*/ 63 w 127"/>
                    <a:gd name="T57" fmla="*/ 0 h 128"/>
                    <a:gd name="T58" fmla="*/ 76 w 127"/>
                    <a:gd name="T59" fmla="*/ 1 h 128"/>
                    <a:gd name="T60" fmla="*/ 88 w 127"/>
                    <a:gd name="T61" fmla="*/ 6 h 128"/>
                    <a:gd name="T62" fmla="*/ 99 w 127"/>
                    <a:gd name="T63" fmla="*/ 10 h 128"/>
                    <a:gd name="T64" fmla="*/ 108 w 127"/>
                    <a:gd name="T65" fmla="*/ 19 h 128"/>
                    <a:gd name="T66" fmla="*/ 117 w 127"/>
                    <a:gd name="T67" fmla="*/ 28 h 128"/>
                    <a:gd name="T68" fmla="*/ 123 w 127"/>
                    <a:gd name="T69" fmla="*/ 39 h 128"/>
                    <a:gd name="T70" fmla="*/ 126 w 127"/>
                    <a:gd name="T71" fmla="*/ 51 h 128"/>
                    <a:gd name="T72" fmla="*/ 127 w 127"/>
                    <a:gd name="T73" fmla="*/ 64 h 128"/>
                    <a:gd name="T74" fmla="*/ 127 w 127"/>
                    <a:gd name="T7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7" h="128">
                      <a:moveTo>
                        <a:pt x="127" y="64"/>
                      </a:moveTo>
                      <a:lnTo>
                        <a:pt x="127" y="64"/>
                      </a:lnTo>
                      <a:lnTo>
                        <a:pt x="126" y="77"/>
                      </a:lnTo>
                      <a:lnTo>
                        <a:pt x="123" y="89"/>
                      </a:lnTo>
                      <a:lnTo>
                        <a:pt x="117" y="99"/>
                      </a:lnTo>
                      <a:lnTo>
                        <a:pt x="108" y="109"/>
                      </a:lnTo>
                      <a:lnTo>
                        <a:pt x="99" y="116"/>
                      </a:lnTo>
                      <a:lnTo>
                        <a:pt x="88" y="122"/>
                      </a:lnTo>
                      <a:lnTo>
                        <a:pt x="76" y="126"/>
                      </a:lnTo>
                      <a:lnTo>
                        <a:pt x="63" y="128"/>
                      </a:lnTo>
                      <a:lnTo>
                        <a:pt x="63" y="128"/>
                      </a:lnTo>
                      <a:lnTo>
                        <a:pt x="51" y="126"/>
                      </a:lnTo>
                      <a:lnTo>
                        <a:pt x="39" y="122"/>
                      </a:lnTo>
                      <a:lnTo>
                        <a:pt x="28" y="116"/>
                      </a:lnTo>
                      <a:lnTo>
                        <a:pt x="19" y="109"/>
                      </a:lnTo>
                      <a:lnTo>
                        <a:pt x="11" y="99"/>
                      </a:lnTo>
                      <a:lnTo>
                        <a:pt x="5" y="89"/>
                      </a:lnTo>
                      <a:lnTo>
                        <a:pt x="1" y="77"/>
                      </a:lnTo>
                      <a:lnTo>
                        <a:pt x="0" y="64"/>
                      </a:lnTo>
                      <a:lnTo>
                        <a:pt x="0" y="64"/>
                      </a:lnTo>
                      <a:lnTo>
                        <a:pt x="1" y="51"/>
                      </a:lnTo>
                      <a:lnTo>
                        <a:pt x="5" y="39"/>
                      </a:lnTo>
                      <a:lnTo>
                        <a:pt x="11" y="28"/>
                      </a:lnTo>
                      <a:lnTo>
                        <a:pt x="19" y="19"/>
                      </a:lnTo>
                      <a:lnTo>
                        <a:pt x="28" y="10"/>
                      </a:lnTo>
                      <a:lnTo>
                        <a:pt x="39" y="6"/>
                      </a:lnTo>
                      <a:lnTo>
                        <a:pt x="51" y="1"/>
                      </a:lnTo>
                      <a:lnTo>
                        <a:pt x="63" y="0"/>
                      </a:lnTo>
                      <a:lnTo>
                        <a:pt x="63" y="0"/>
                      </a:lnTo>
                      <a:lnTo>
                        <a:pt x="76" y="1"/>
                      </a:lnTo>
                      <a:lnTo>
                        <a:pt x="88" y="6"/>
                      </a:lnTo>
                      <a:lnTo>
                        <a:pt x="99" y="10"/>
                      </a:lnTo>
                      <a:lnTo>
                        <a:pt x="108" y="19"/>
                      </a:lnTo>
                      <a:lnTo>
                        <a:pt x="117" y="28"/>
                      </a:lnTo>
                      <a:lnTo>
                        <a:pt x="123" y="39"/>
                      </a:lnTo>
                      <a:lnTo>
                        <a:pt x="126" y="51"/>
                      </a:lnTo>
                      <a:lnTo>
                        <a:pt x="127" y="64"/>
                      </a:lnTo>
                      <a:lnTo>
                        <a:pt x="127"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45" name="Freeform 392"/>
                <p:cNvSpPr>
                  <a:spLocks/>
                </p:cNvSpPr>
                <p:nvPr userDrawn="1"/>
              </p:nvSpPr>
              <p:spPr bwMode="auto">
                <a:xfrm>
                  <a:off x="9797596" y="4307974"/>
                  <a:ext cx="73025" cy="31750"/>
                </a:xfrm>
                <a:custGeom>
                  <a:avLst/>
                  <a:gdLst>
                    <a:gd name="T0" fmla="*/ 92 w 92"/>
                    <a:gd name="T1" fmla="*/ 0 h 39"/>
                    <a:gd name="T2" fmla="*/ 92 w 92"/>
                    <a:gd name="T3" fmla="*/ 0 h 39"/>
                    <a:gd name="T4" fmla="*/ 0 w 92"/>
                    <a:gd name="T5" fmla="*/ 0 h 39"/>
                    <a:gd name="T6" fmla="*/ 0 w 92"/>
                    <a:gd name="T7" fmla="*/ 39 h 39"/>
                    <a:gd name="T8" fmla="*/ 92 w 92"/>
                    <a:gd name="T9" fmla="*/ 39 h 39"/>
                    <a:gd name="T10" fmla="*/ 92 w 92"/>
                    <a:gd name="T11" fmla="*/ 0 h 39"/>
                  </a:gdLst>
                  <a:ahLst/>
                  <a:cxnLst>
                    <a:cxn ang="0">
                      <a:pos x="T0" y="T1"/>
                    </a:cxn>
                    <a:cxn ang="0">
                      <a:pos x="T2" y="T3"/>
                    </a:cxn>
                    <a:cxn ang="0">
                      <a:pos x="T4" y="T5"/>
                    </a:cxn>
                    <a:cxn ang="0">
                      <a:pos x="T6" y="T7"/>
                    </a:cxn>
                    <a:cxn ang="0">
                      <a:pos x="T8" y="T9"/>
                    </a:cxn>
                    <a:cxn ang="0">
                      <a:pos x="T10" y="T11"/>
                    </a:cxn>
                  </a:cxnLst>
                  <a:rect l="0" t="0" r="r" b="b"/>
                  <a:pathLst>
                    <a:path w="92" h="39">
                      <a:moveTo>
                        <a:pt x="92" y="0"/>
                      </a:moveTo>
                      <a:lnTo>
                        <a:pt x="92" y="0"/>
                      </a:lnTo>
                      <a:lnTo>
                        <a:pt x="0" y="0"/>
                      </a:lnTo>
                      <a:lnTo>
                        <a:pt x="0" y="39"/>
                      </a:lnTo>
                      <a:lnTo>
                        <a:pt x="92" y="39"/>
                      </a:lnTo>
                      <a:lnTo>
                        <a:pt x="92" y="0"/>
                      </a:lnTo>
                      <a:close/>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546" name="Freeform 393"/>
                <p:cNvSpPr>
                  <a:spLocks/>
                </p:cNvSpPr>
                <p:nvPr userDrawn="1"/>
              </p:nvSpPr>
              <p:spPr bwMode="auto">
                <a:xfrm>
                  <a:off x="9797596" y="4307974"/>
                  <a:ext cx="73025" cy="31750"/>
                </a:xfrm>
                <a:custGeom>
                  <a:avLst/>
                  <a:gdLst>
                    <a:gd name="T0" fmla="*/ 92 w 92"/>
                    <a:gd name="T1" fmla="*/ 0 h 39"/>
                    <a:gd name="T2" fmla="*/ 92 w 92"/>
                    <a:gd name="T3" fmla="*/ 0 h 39"/>
                    <a:gd name="T4" fmla="*/ 0 w 92"/>
                    <a:gd name="T5" fmla="*/ 0 h 39"/>
                    <a:gd name="T6" fmla="*/ 0 w 92"/>
                    <a:gd name="T7" fmla="*/ 39 h 39"/>
                    <a:gd name="T8" fmla="*/ 92 w 92"/>
                    <a:gd name="T9" fmla="*/ 39 h 39"/>
                    <a:gd name="T10" fmla="*/ 92 w 92"/>
                    <a:gd name="T11" fmla="*/ 0 h 39"/>
                  </a:gdLst>
                  <a:ahLst/>
                  <a:cxnLst>
                    <a:cxn ang="0">
                      <a:pos x="T0" y="T1"/>
                    </a:cxn>
                    <a:cxn ang="0">
                      <a:pos x="T2" y="T3"/>
                    </a:cxn>
                    <a:cxn ang="0">
                      <a:pos x="T4" y="T5"/>
                    </a:cxn>
                    <a:cxn ang="0">
                      <a:pos x="T6" y="T7"/>
                    </a:cxn>
                    <a:cxn ang="0">
                      <a:pos x="T8" y="T9"/>
                    </a:cxn>
                    <a:cxn ang="0">
                      <a:pos x="T10" y="T11"/>
                    </a:cxn>
                  </a:cxnLst>
                  <a:rect l="0" t="0" r="r" b="b"/>
                  <a:pathLst>
                    <a:path w="92" h="39">
                      <a:moveTo>
                        <a:pt x="92" y="0"/>
                      </a:moveTo>
                      <a:lnTo>
                        <a:pt x="92" y="0"/>
                      </a:lnTo>
                      <a:lnTo>
                        <a:pt x="0" y="0"/>
                      </a:lnTo>
                      <a:lnTo>
                        <a:pt x="0" y="39"/>
                      </a:lnTo>
                      <a:lnTo>
                        <a:pt x="92" y="39"/>
                      </a:lnTo>
                      <a:lnTo>
                        <a:pt x="9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06" name="Rectangle 395"/>
                <p:cNvSpPr>
                  <a:spLocks noChangeArrowheads="1"/>
                </p:cNvSpPr>
                <p:nvPr userDrawn="1"/>
              </p:nvSpPr>
              <p:spPr bwMode="auto">
                <a:xfrm>
                  <a:off x="9870621" y="4307974"/>
                  <a:ext cx="74613" cy="31750"/>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07" name="Rectangle 396"/>
                <p:cNvSpPr>
                  <a:spLocks noChangeArrowheads="1"/>
                </p:cNvSpPr>
                <p:nvPr userDrawn="1"/>
              </p:nvSpPr>
              <p:spPr bwMode="auto">
                <a:xfrm>
                  <a:off x="9870621" y="4307974"/>
                  <a:ext cx="74613" cy="3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08" name="Freeform 397"/>
                <p:cNvSpPr>
                  <a:spLocks/>
                </p:cNvSpPr>
                <p:nvPr userDrawn="1"/>
              </p:nvSpPr>
              <p:spPr bwMode="auto">
                <a:xfrm>
                  <a:off x="9945233" y="3971424"/>
                  <a:ext cx="192088" cy="30163"/>
                </a:xfrm>
                <a:custGeom>
                  <a:avLst/>
                  <a:gdLst>
                    <a:gd name="T0" fmla="*/ 244 w 244"/>
                    <a:gd name="T1" fmla="*/ 0 h 40"/>
                    <a:gd name="T2" fmla="*/ 244 w 244"/>
                    <a:gd name="T3" fmla="*/ 0 h 40"/>
                    <a:gd name="T4" fmla="*/ 0 w 244"/>
                    <a:gd name="T5" fmla="*/ 0 h 40"/>
                    <a:gd name="T6" fmla="*/ 0 w 244"/>
                    <a:gd name="T7" fmla="*/ 40 h 40"/>
                    <a:gd name="T8" fmla="*/ 244 w 244"/>
                    <a:gd name="T9" fmla="*/ 40 h 40"/>
                    <a:gd name="T10" fmla="*/ 244 w 244"/>
                    <a:gd name="T11" fmla="*/ 0 h 40"/>
                  </a:gdLst>
                  <a:ahLst/>
                  <a:cxnLst>
                    <a:cxn ang="0">
                      <a:pos x="T0" y="T1"/>
                    </a:cxn>
                    <a:cxn ang="0">
                      <a:pos x="T2" y="T3"/>
                    </a:cxn>
                    <a:cxn ang="0">
                      <a:pos x="T4" y="T5"/>
                    </a:cxn>
                    <a:cxn ang="0">
                      <a:pos x="T6" y="T7"/>
                    </a:cxn>
                    <a:cxn ang="0">
                      <a:pos x="T8" y="T9"/>
                    </a:cxn>
                    <a:cxn ang="0">
                      <a:pos x="T10" y="T11"/>
                    </a:cxn>
                  </a:cxnLst>
                  <a:rect l="0" t="0" r="r" b="b"/>
                  <a:pathLst>
                    <a:path w="244" h="40">
                      <a:moveTo>
                        <a:pt x="244" y="0"/>
                      </a:moveTo>
                      <a:lnTo>
                        <a:pt x="244" y="0"/>
                      </a:lnTo>
                      <a:lnTo>
                        <a:pt x="0" y="0"/>
                      </a:lnTo>
                      <a:lnTo>
                        <a:pt x="0" y="40"/>
                      </a:lnTo>
                      <a:lnTo>
                        <a:pt x="244" y="40"/>
                      </a:lnTo>
                      <a:lnTo>
                        <a:pt x="244"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09" name="Freeform 398"/>
                <p:cNvSpPr>
                  <a:spLocks/>
                </p:cNvSpPr>
                <p:nvPr userDrawn="1"/>
              </p:nvSpPr>
              <p:spPr bwMode="auto">
                <a:xfrm>
                  <a:off x="9945233" y="3971424"/>
                  <a:ext cx="192088" cy="30163"/>
                </a:xfrm>
                <a:custGeom>
                  <a:avLst/>
                  <a:gdLst>
                    <a:gd name="T0" fmla="*/ 244 w 244"/>
                    <a:gd name="T1" fmla="*/ 0 h 40"/>
                    <a:gd name="T2" fmla="*/ 244 w 244"/>
                    <a:gd name="T3" fmla="*/ 0 h 40"/>
                    <a:gd name="T4" fmla="*/ 0 w 244"/>
                    <a:gd name="T5" fmla="*/ 0 h 40"/>
                    <a:gd name="T6" fmla="*/ 0 w 244"/>
                    <a:gd name="T7" fmla="*/ 40 h 40"/>
                    <a:gd name="T8" fmla="*/ 244 w 244"/>
                    <a:gd name="T9" fmla="*/ 40 h 40"/>
                    <a:gd name="T10" fmla="*/ 244 w 244"/>
                    <a:gd name="T11" fmla="*/ 0 h 40"/>
                  </a:gdLst>
                  <a:ahLst/>
                  <a:cxnLst>
                    <a:cxn ang="0">
                      <a:pos x="T0" y="T1"/>
                    </a:cxn>
                    <a:cxn ang="0">
                      <a:pos x="T2" y="T3"/>
                    </a:cxn>
                    <a:cxn ang="0">
                      <a:pos x="T4" y="T5"/>
                    </a:cxn>
                    <a:cxn ang="0">
                      <a:pos x="T6" y="T7"/>
                    </a:cxn>
                    <a:cxn ang="0">
                      <a:pos x="T8" y="T9"/>
                    </a:cxn>
                    <a:cxn ang="0">
                      <a:pos x="T10" y="T11"/>
                    </a:cxn>
                  </a:cxnLst>
                  <a:rect l="0" t="0" r="r" b="b"/>
                  <a:pathLst>
                    <a:path w="244" h="40">
                      <a:moveTo>
                        <a:pt x="244" y="0"/>
                      </a:moveTo>
                      <a:lnTo>
                        <a:pt x="244" y="0"/>
                      </a:lnTo>
                      <a:lnTo>
                        <a:pt x="0" y="0"/>
                      </a:lnTo>
                      <a:lnTo>
                        <a:pt x="0" y="40"/>
                      </a:lnTo>
                      <a:lnTo>
                        <a:pt x="244" y="40"/>
                      </a:lnTo>
                      <a:lnTo>
                        <a:pt x="2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10" name="Freeform 399"/>
                <p:cNvSpPr>
                  <a:spLocks/>
                </p:cNvSpPr>
                <p:nvPr userDrawn="1"/>
              </p:nvSpPr>
              <p:spPr bwMode="auto">
                <a:xfrm>
                  <a:off x="9722983" y="3531686"/>
                  <a:ext cx="68263" cy="69850"/>
                </a:xfrm>
                <a:custGeom>
                  <a:avLst/>
                  <a:gdLst>
                    <a:gd name="T0" fmla="*/ 86 w 86"/>
                    <a:gd name="T1" fmla="*/ 42 h 86"/>
                    <a:gd name="T2" fmla="*/ 86 w 86"/>
                    <a:gd name="T3" fmla="*/ 42 h 86"/>
                    <a:gd name="T4" fmla="*/ 85 w 86"/>
                    <a:gd name="T5" fmla="*/ 52 h 86"/>
                    <a:gd name="T6" fmla="*/ 83 w 86"/>
                    <a:gd name="T7" fmla="*/ 60 h 86"/>
                    <a:gd name="T8" fmla="*/ 79 w 86"/>
                    <a:gd name="T9" fmla="*/ 67 h 86"/>
                    <a:gd name="T10" fmla="*/ 73 w 86"/>
                    <a:gd name="T11" fmla="*/ 73 h 86"/>
                    <a:gd name="T12" fmla="*/ 67 w 86"/>
                    <a:gd name="T13" fmla="*/ 79 h 86"/>
                    <a:gd name="T14" fmla="*/ 60 w 86"/>
                    <a:gd name="T15" fmla="*/ 83 h 86"/>
                    <a:gd name="T16" fmla="*/ 52 w 86"/>
                    <a:gd name="T17" fmla="*/ 85 h 86"/>
                    <a:gd name="T18" fmla="*/ 44 w 86"/>
                    <a:gd name="T19" fmla="*/ 86 h 86"/>
                    <a:gd name="T20" fmla="*/ 44 w 86"/>
                    <a:gd name="T21" fmla="*/ 86 h 86"/>
                    <a:gd name="T22" fmla="*/ 34 w 86"/>
                    <a:gd name="T23" fmla="*/ 85 h 86"/>
                    <a:gd name="T24" fmla="*/ 26 w 86"/>
                    <a:gd name="T25" fmla="*/ 83 h 86"/>
                    <a:gd name="T26" fmla="*/ 19 w 86"/>
                    <a:gd name="T27" fmla="*/ 79 h 86"/>
                    <a:gd name="T28" fmla="*/ 13 w 86"/>
                    <a:gd name="T29" fmla="*/ 73 h 86"/>
                    <a:gd name="T30" fmla="*/ 7 w 86"/>
                    <a:gd name="T31" fmla="*/ 67 h 86"/>
                    <a:gd name="T32" fmla="*/ 3 w 86"/>
                    <a:gd name="T33" fmla="*/ 60 h 86"/>
                    <a:gd name="T34" fmla="*/ 1 w 86"/>
                    <a:gd name="T35" fmla="*/ 52 h 86"/>
                    <a:gd name="T36" fmla="*/ 0 w 86"/>
                    <a:gd name="T37" fmla="*/ 42 h 86"/>
                    <a:gd name="T38" fmla="*/ 0 w 86"/>
                    <a:gd name="T39" fmla="*/ 42 h 86"/>
                    <a:gd name="T40" fmla="*/ 1 w 86"/>
                    <a:gd name="T41" fmla="*/ 34 h 86"/>
                    <a:gd name="T42" fmla="*/ 3 w 86"/>
                    <a:gd name="T43" fmla="*/ 26 h 86"/>
                    <a:gd name="T44" fmla="*/ 7 w 86"/>
                    <a:gd name="T45" fmla="*/ 19 h 86"/>
                    <a:gd name="T46" fmla="*/ 13 w 86"/>
                    <a:gd name="T47" fmla="*/ 13 h 86"/>
                    <a:gd name="T48" fmla="*/ 19 w 86"/>
                    <a:gd name="T49" fmla="*/ 7 h 86"/>
                    <a:gd name="T50" fmla="*/ 26 w 86"/>
                    <a:gd name="T51" fmla="*/ 3 h 86"/>
                    <a:gd name="T52" fmla="*/ 34 w 86"/>
                    <a:gd name="T53" fmla="*/ 1 h 86"/>
                    <a:gd name="T54" fmla="*/ 44 w 86"/>
                    <a:gd name="T55" fmla="*/ 0 h 86"/>
                    <a:gd name="T56" fmla="*/ 44 w 86"/>
                    <a:gd name="T57" fmla="*/ 0 h 86"/>
                    <a:gd name="T58" fmla="*/ 52 w 86"/>
                    <a:gd name="T59" fmla="*/ 1 h 86"/>
                    <a:gd name="T60" fmla="*/ 60 w 86"/>
                    <a:gd name="T61" fmla="*/ 3 h 86"/>
                    <a:gd name="T62" fmla="*/ 67 w 86"/>
                    <a:gd name="T63" fmla="*/ 7 h 86"/>
                    <a:gd name="T64" fmla="*/ 73 w 86"/>
                    <a:gd name="T65" fmla="*/ 13 h 86"/>
                    <a:gd name="T66" fmla="*/ 79 w 86"/>
                    <a:gd name="T67" fmla="*/ 19 h 86"/>
                    <a:gd name="T68" fmla="*/ 83 w 86"/>
                    <a:gd name="T69" fmla="*/ 26 h 86"/>
                    <a:gd name="T70" fmla="*/ 85 w 86"/>
                    <a:gd name="T71" fmla="*/ 34 h 86"/>
                    <a:gd name="T72" fmla="*/ 86 w 86"/>
                    <a:gd name="T73" fmla="*/ 42 h 86"/>
                    <a:gd name="T74" fmla="*/ 86 w 86"/>
                    <a:gd name="T75" fmla="*/ 4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6" h="86">
                      <a:moveTo>
                        <a:pt x="86" y="42"/>
                      </a:moveTo>
                      <a:lnTo>
                        <a:pt x="86" y="42"/>
                      </a:lnTo>
                      <a:lnTo>
                        <a:pt x="85" y="52"/>
                      </a:lnTo>
                      <a:lnTo>
                        <a:pt x="83" y="60"/>
                      </a:lnTo>
                      <a:lnTo>
                        <a:pt x="79" y="67"/>
                      </a:lnTo>
                      <a:lnTo>
                        <a:pt x="73" y="73"/>
                      </a:lnTo>
                      <a:lnTo>
                        <a:pt x="67" y="79"/>
                      </a:lnTo>
                      <a:lnTo>
                        <a:pt x="60" y="83"/>
                      </a:lnTo>
                      <a:lnTo>
                        <a:pt x="52" y="85"/>
                      </a:lnTo>
                      <a:lnTo>
                        <a:pt x="44" y="86"/>
                      </a:lnTo>
                      <a:lnTo>
                        <a:pt x="44" y="86"/>
                      </a:lnTo>
                      <a:lnTo>
                        <a:pt x="34" y="85"/>
                      </a:lnTo>
                      <a:lnTo>
                        <a:pt x="26" y="83"/>
                      </a:lnTo>
                      <a:lnTo>
                        <a:pt x="19" y="79"/>
                      </a:lnTo>
                      <a:lnTo>
                        <a:pt x="13" y="73"/>
                      </a:lnTo>
                      <a:lnTo>
                        <a:pt x="7" y="67"/>
                      </a:lnTo>
                      <a:lnTo>
                        <a:pt x="3" y="60"/>
                      </a:lnTo>
                      <a:lnTo>
                        <a:pt x="1" y="52"/>
                      </a:lnTo>
                      <a:lnTo>
                        <a:pt x="0" y="42"/>
                      </a:lnTo>
                      <a:lnTo>
                        <a:pt x="0" y="42"/>
                      </a:lnTo>
                      <a:lnTo>
                        <a:pt x="1" y="34"/>
                      </a:lnTo>
                      <a:lnTo>
                        <a:pt x="3" y="26"/>
                      </a:lnTo>
                      <a:lnTo>
                        <a:pt x="7" y="19"/>
                      </a:lnTo>
                      <a:lnTo>
                        <a:pt x="13" y="13"/>
                      </a:lnTo>
                      <a:lnTo>
                        <a:pt x="19" y="7"/>
                      </a:lnTo>
                      <a:lnTo>
                        <a:pt x="26" y="3"/>
                      </a:lnTo>
                      <a:lnTo>
                        <a:pt x="34" y="1"/>
                      </a:lnTo>
                      <a:lnTo>
                        <a:pt x="44" y="0"/>
                      </a:lnTo>
                      <a:lnTo>
                        <a:pt x="44" y="0"/>
                      </a:lnTo>
                      <a:lnTo>
                        <a:pt x="52" y="1"/>
                      </a:lnTo>
                      <a:lnTo>
                        <a:pt x="60" y="3"/>
                      </a:lnTo>
                      <a:lnTo>
                        <a:pt x="67" y="7"/>
                      </a:lnTo>
                      <a:lnTo>
                        <a:pt x="73" y="13"/>
                      </a:lnTo>
                      <a:lnTo>
                        <a:pt x="79" y="19"/>
                      </a:lnTo>
                      <a:lnTo>
                        <a:pt x="83" y="26"/>
                      </a:lnTo>
                      <a:lnTo>
                        <a:pt x="85" y="34"/>
                      </a:lnTo>
                      <a:lnTo>
                        <a:pt x="86" y="42"/>
                      </a:lnTo>
                      <a:lnTo>
                        <a:pt x="86" y="42"/>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11" name="Freeform 400"/>
                <p:cNvSpPr>
                  <a:spLocks/>
                </p:cNvSpPr>
                <p:nvPr userDrawn="1"/>
              </p:nvSpPr>
              <p:spPr bwMode="auto">
                <a:xfrm>
                  <a:off x="9722983" y="3531686"/>
                  <a:ext cx="68263" cy="34925"/>
                </a:xfrm>
                <a:custGeom>
                  <a:avLst/>
                  <a:gdLst>
                    <a:gd name="T0" fmla="*/ 44 w 86"/>
                    <a:gd name="T1" fmla="*/ 0 h 42"/>
                    <a:gd name="T2" fmla="*/ 44 w 86"/>
                    <a:gd name="T3" fmla="*/ 0 h 42"/>
                    <a:gd name="T4" fmla="*/ 34 w 86"/>
                    <a:gd name="T5" fmla="*/ 1 h 42"/>
                    <a:gd name="T6" fmla="*/ 26 w 86"/>
                    <a:gd name="T7" fmla="*/ 3 h 42"/>
                    <a:gd name="T8" fmla="*/ 19 w 86"/>
                    <a:gd name="T9" fmla="*/ 7 h 42"/>
                    <a:gd name="T10" fmla="*/ 13 w 86"/>
                    <a:gd name="T11" fmla="*/ 13 h 42"/>
                    <a:gd name="T12" fmla="*/ 7 w 86"/>
                    <a:gd name="T13" fmla="*/ 19 h 42"/>
                    <a:gd name="T14" fmla="*/ 3 w 86"/>
                    <a:gd name="T15" fmla="*/ 26 h 42"/>
                    <a:gd name="T16" fmla="*/ 1 w 86"/>
                    <a:gd name="T17" fmla="*/ 34 h 42"/>
                    <a:gd name="T18" fmla="*/ 0 w 86"/>
                    <a:gd name="T19" fmla="*/ 42 h 42"/>
                    <a:gd name="T20" fmla="*/ 86 w 86"/>
                    <a:gd name="T21" fmla="*/ 42 h 42"/>
                    <a:gd name="T22" fmla="*/ 86 w 86"/>
                    <a:gd name="T23" fmla="*/ 42 h 42"/>
                    <a:gd name="T24" fmla="*/ 85 w 86"/>
                    <a:gd name="T25" fmla="*/ 34 h 42"/>
                    <a:gd name="T26" fmla="*/ 83 w 86"/>
                    <a:gd name="T27" fmla="*/ 26 h 42"/>
                    <a:gd name="T28" fmla="*/ 79 w 86"/>
                    <a:gd name="T29" fmla="*/ 19 h 42"/>
                    <a:gd name="T30" fmla="*/ 73 w 86"/>
                    <a:gd name="T31" fmla="*/ 13 h 42"/>
                    <a:gd name="T32" fmla="*/ 67 w 86"/>
                    <a:gd name="T33" fmla="*/ 7 h 42"/>
                    <a:gd name="T34" fmla="*/ 60 w 86"/>
                    <a:gd name="T35" fmla="*/ 3 h 42"/>
                    <a:gd name="T36" fmla="*/ 52 w 86"/>
                    <a:gd name="T37" fmla="*/ 1 h 42"/>
                    <a:gd name="T38" fmla="*/ 44 w 86"/>
                    <a:gd name="T39" fmla="*/ 0 h 42"/>
                    <a:gd name="T40" fmla="*/ 44 w 86"/>
                    <a:gd name="T4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6" h="42">
                      <a:moveTo>
                        <a:pt x="44" y="0"/>
                      </a:moveTo>
                      <a:lnTo>
                        <a:pt x="44" y="0"/>
                      </a:lnTo>
                      <a:lnTo>
                        <a:pt x="34" y="1"/>
                      </a:lnTo>
                      <a:lnTo>
                        <a:pt x="26" y="3"/>
                      </a:lnTo>
                      <a:lnTo>
                        <a:pt x="19" y="7"/>
                      </a:lnTo>
                      <a:lnTo>
                        <a:pt x="13" y="13"/>
                      </a:lnTo>
                      <a:lnTo>
                        <a:pt x="7" y="19"/>
                      </a:lnTo>
                      <a:lnTo>
                        <a:pt x="3" y="26"/>
                      </a:lnTo>
                      <a:lnTo>
                        <a:pt x="1" y="34"/>
                      </a:lnTo>
                      <a:lnTo>
                        <a:pt x="0" y="42"/>
                      </a:lnTo>
                      <a:lnTo>
                        <a:pt x="86" y="42"/>
                      </a:lnTo>
                      <a:lnTo>
                        <a:pt x="86" y="42"/>
                      </a:lnTo>
                      <a:lnTo>
                        <a:pt x="85" y="34"/>
                      </a:lnTo>
                      <a:lnTo>
                        <a:pt x="83" y="26"/>
                      </a:lnTo>
                      <a:lnTo>
                        <a:pt x="79" y="19"/>
                      </a:lnTo>
                      <a:lnTo>
                        <a:pt x="73" y="13"/>
                      </a:lnTo>
                      <a:lnTo>
                        <a:pt x="67" y="7"/>
                      </a:lnTo>
                      <a:lnTo>
                        <a:pt x="60" y="3"/>
                      </a:lnTo>
                      <a:lnTo>
                        <a:pt x="52" y="1"/>
                      </a:lnTo>
                      <a:lnTo>
                        <a:pt x="44" y="0"/>
                      </a:lnTo>
                      <a:lnTo>
                        <a:pt x="44"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76" name="Freeform 401"/>
                <p:cNvSpPr>
                  <a:spLocks/>
                </p:cNvSpPr>
                <p:nvPr userDrawn="1"/>
              </p:nvSpPr>
              <p:spPr bwMode="auto">
                <a:xfrm>
                  <a:off x="9826171" y="3523749"/>
                  <a:ext cx="36513" cy="36513"/>
                </a:xfrm>
                <a:custGeom>
                  <a:avLst/>
                  <a:gdLst>
                    <a:gd name="T0" fmla="*/ 24 w 47"/>
                    <a:gd name="T1" fmla="*/ 0 h 46"/>
                    <a:gd name="T2" fmla="*/ 24 w 47"/>
                    <a:gd name="T3" fmla="*/ 0 h 46"/>
                    <a:gd name="T4" fmla="*/ 19 w 47"/>
                    <a:gd name="T5" fmla="*/ 1 h 46"/>
                    <a:gd name="T6" fmla="*/ 15 w 47"/>
                    <a:gd name="T7" fmla="*/ 2 h 46"/>
                    <a:gd name="T8" fmla="*/ 11 w 47"/>
                    <a:gd name="T9" fmla="*/ 5 h 46"/>
                    <a:gd name="T10" fmla="*/ 7 w 47"/>
                    <a:gd name="T11" fmla="*/ 7 h 46"/>
                    <a:gd name="T12" fmla="*/ 5 w 47"/>
                    <a:gd name="T13" fmla="*/ 11 h 46"/>
                    <a:gd name="T14" fmla="*/ 3 w 47"/>
                    <a:gd name="T15" fmla="*/ 14 h 46"/>
                    <a:gd name="T16" fmla="*/ 1 w 47"/>
                    <a:gd name="T17" fmla="*/ 19 h 46"/>
                    <a:gd name="T18" fmla="*/ 0 w 47"/>
                    <a:gd name="T19" fmla="*/ 24 h 46"/>
                    <a:gd name="T20" fmla="*/ 0 w 47"/>
                    <a:gd name="T21" fmla="*/ 24 h 46"/>
                    <a:gd name="T22" fmla="*/ 1 w 47"/>
                    <a:gd name="T23" fmla="*/ 27 h 46"/>
                    <a:gd name="T24" fmla="*/ 3 w 47"/>
                    <a:gd name="T25" fmla="*/ 32 h 46"/>
                    <a:gd name="T26" fmla="*/ 5 w 47"/>
                    <a:gd name="T27" fmla="*/ 36 h 46"/>
                    <a:gd name="T28" fmla="*/ 7 w 47"/>
                    <a:gd name="T29" fmla="*/ 39 h 46"/>
                    <a:gd name="T30" fmla="*/ 11 w 47"/>
                    <a:gd name="T31" fmla="*/ 43 h 46"/>
                    <a:gd name="T32" fmla="*/ 15 w 47"/>
                    <a:gd name="T33" fmla="*/ 44 h 46"/>
                    <a:gd name="T34" fmla="*/ 19 w 47"/>
                    <a:gd name="T35" fmla="*/ 45 h 46"/>
                    <a:gd name="T36" fmla="*/ 24 w 47"/>
                    <a:gd name="T37" fmla="*/ 46 h 46"/>
                    <a:gd name="T38" fmla="*/ 24 w 47"/>
                    <a:gd name="T39" fmla="*/ 46 h 46"/>
                    <a:gd name="T40" fmla="*/ 29 w 47"/>
                    <a:gd name="T41" fmla="*/ 45 h 46"/>
                    <a:gd name="T42" fmla="*/ 32 w 47"/>
                    <a:gd name="T43" fmla="*/ 44 h 46"/>
                    <a:gd name="T44" fmla="*/ 36 w 47"/>
                    <a:gd name="T45" fmla="*/ 43 h 46"/>
                    <a:gd name="T46" fmla="*/ 39 w 47"/>
                    <a:gd name="T47" fmla="*/ 39 h 46"/>
                    <a:gd name="T48" fmla="*/ 43 w 47"/>
                    <a:gd name="T49" fmla="*/ 36 h 46"/>
                    <a:gd name="T50" fmla="*/ 44 w 47"/>
                    <a:gd name="T51" fmla="*/ 32 h 46"/>
                    <a:gd name="T52" fmla="*/ 47 w 47"/>
                    <a:gd name="T53" fmla="*/ 27 h 46"/>
                    <a:gd name="T54" fmla="*/ 47 w 47"/>
                    <a:gd name="T55" fmla="*/ 24 h 46"/>
                    <a:gd name="T56" fmla="*/ 47 w 47"/>
                    <a:gd name="T57" fmla="*/ 24 h 46"/>
                    <a:gd name="T58" fmla="*/ 47 w 47"/>
                    <a:gd name="T59" fmla="*/ 19 h 46"/>
                    <a:gd name="T60" fmla="*/ 44 w 47"/>
                    <a:gd name="T61" fmla="*/ 14 h 46"/>
                    <a:gd name="T62" fmla="*/ 43 w 47"/>
                    <a:gd name="T63" fmla="*/ 11 h 46"/>
                    <a:gd name="T64" fmla="*/ 39 w 47"/>
                    <a:gd name="T65" fmla="*/ 7 h 46"/>
                    <a:gd name="T66" fmla="*/ 36 w 47"/>
                    <a:gd name="T67" fmla="*/ 5 h 46"/>
                    <a:gd name="T68" fmla="*/ 32 w 47"/>
                    <a:gd name="T69" fmla="*/ 2 h 46"/>
                    <a:gd name="T70" fmla="*/ 29 w 47"/>
                    <a:gd name="T71" fmla="*/ 1 h 46"/>
                    <a:gd name="T72" fmla="*/ 24 w 47"/>
                    <a:gd name="T7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 h="46">
                      <a:moveTo>
                        <a:pt x="24" y="0"/>
                      </a:moveTo>
                      <a:lnTo>
                        <a:pt x="24" y="0"/>
                      </a:lnTo>
                      <a:lnTo>
                        <a:pt x="19" y="1"/>
                      </a:lnTo>
                      <a:lnTo>
                        <a:pt x="15" y="2"/>
                      </a:lnTo>
                      <a:lnTo>
                        <a:pt x="11" y="5"/>
                      </a:lnTo>
                      <a:lnTo>
                        <a:pt x="7" y="7"/>
                      </a:lnTo>
                      <a:lnTo>
                        <a:pt x="5" y="11"/>
                      </a:lnTo>
                      <a:lnTo>
                        <a:pt x="3" y="14"/>
                      </a:lnTo>
                      <a:lnTo>
                        <a:pt x="1" y="19"/>
                      </a:lnTo>
                      <a:lnTo>
                        <a:pt x="0" y="24"/>
                      </a:lnTo>
                      <a:lnTo>
                        <a:pt x="0" y="24"/>
                      </a:lnTo>
                      <a:lnTo>
                        <a:pt x="1" y="27"/>
                      </a:lnTo>
                      <a:lnTo>
                        <a:pt x="3" y="32"/>
                      </a:lnTo>
                      <a:lnTo>
                        <a:pt x="5" y="36"/>
                      </a:lnTo>
                      <a:lnTo>
                        <a:pt x="7" y="39"/>
                      </a:lnTo>
                      <a:lnTo>
                        <a:pt x="11" y="43"/>
                      </a:lnTo>
                      <a:lnTo>
                        <a:pt x="15" y="44"/>
                      </a:lnTo>
                      <a:lnTo>
                        <a:pt x="19" y="45"/>
                      </a:lnTo>
                      <a:lnTo>
                        <a:pt x="24" y="46"/>
                      </a:lnTo>
                      <a:lnTo>
                        <a:pt x="24" y="46"/>
                      </a:lnTo>
                      <a:lnTo>
                        <a:pt x="29" y="45"/>
                      </a:lnTo>
                      <a:lnTo>
                        <a:pt x="32" y="44"/>
                      </a:lnTo>
                      <a:lnTo>
                        <a:pt x="36" y="43"/>
                      </a:lnTo>
                      <a:lnTo>
                        <a:pt x="39" y="39"/>
                      </a:lnTo>
                      <a:lnTo>
                        <a:pt x="43" y="36"/>
                      </a:lnTo>
                      <a:lnTo>
                        <a:pt x="44" y="32"/>
                      </a:lnTo>
                      <a:lnTo>
                        <a:pt x="47" y="27"/>
                      </a:lnTo>
                      <a:lnTo>
                        <a:pt x="47" y="24"/>
                      </a:lnTo>
                      <a:lnTo>
                        <a:pt x="47" y="24"/>
                      </a:lnTo>
                      <a:lnTo>
                        <a:pt x="47" y="19"/>
                      </a:lnTo>
                      <a:lnTo>
                        <a:pt x="44" y="14"/>
                      </a:lnTo>
                      <a:lnTo>
                        <a:pt x="43" y="11"/>
                      </a:lnTo>
                      <a:lnTo>
                        <a:pt x="39" y="7"/>
                      </a:lnTo>
                      <a:lnTo>
                        <a:pt x="36" y="5"/>
                      </a:lnTo>
                      <a:lnTo>
                        <a:pt x="32" y="2"/>
                      </a:lnTo>
                      <a:lnTo>
                        <a:pt x="29" y="1"/>
                      </a:lnTo>
                      <a:lnTo>
                        <a:pt x="24"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77" name="Freeform 402"/>
                <p:cNvSpPr>
                  <a:spLocks/>
                </p:cNvSpPr>
                <p:nvPr userDrawn="1"/>
              </p:nvSpPr>
              <p:spPr bwMode="auto">
                <a:xfrm>
                  <a:off x="9826171" y="3523749"/>
                  <a:ext cx="36513" cy="36513"/>
                </a:xfrm>
                <a:custGeom>
                  <a:avLst/>
                  <a:gdLst>
                    <a:gd name="T0" fmla="*/ 24 w 47"/>
                    <a:gd name="T1" fmla="*/ 0 h 46"/>
                    <a:gd name="T2" fmla="*/ 24 w 47"/>
                    <a:gd name="T3" fmla="*/ 0 h 46"/>
                    <a:gd name="T4" fmla="*/ 19 w 47"/>
                    <a:gd name="T5" fmla="*/ 1 h 46"/>
                    <a:gd name="T6" fmla="*/ 15 w 47"/>
                    <a:gd name="T7" fmla="*/ 2 h 46"/>
                    <a:gd name="T8" fmla="*/ 11 w 47"/>
                    <a:gd name="T9" fmla="*/ 5 h 46"/>
                    <a:gd name="T10" fmla="*/ 7 w 47"/>
                    <a:gd name="T11" fmla="*/ 7 h 46"/>
                    <a:gd name="T12" fmla="*/ 5 w 47"/>
                    <a:gd name="T13" fmla="*/ 11 h 46"/>
                    <a:gd name="T14" fmla="*/ 3 w 47"/>
                    <a:gd name="T15" fmla="*/ 14 h 46"/>
                    <a:gd name="T16" fmla="*/ 1 w 47"/>
                    <a:gd name="T17" fmla="*/ 19 h 46"/>
                    <a:gd name="T18" fmla="*/ 0 w 47"/>
                    <a:gd name="T19" fmla="*/ 24 h 46"/>
                    <a:gd name="T20" fmla="*/ 0 w 47"/>
                    <a:gd name="T21" fmla="*/ 24 h 46"/>
                    <a:gd name="T22" fmla="*/ 1 w 47"/>
                    <a:gd name="T23" fmla="*/ 27 h 46"/>
                    <a:gd name="T24" fmla="*/ 3 w 47"/>
                    <a:gd name="T25" fmla="*/ 32 h 46"/>
                    <a:gd name="T26" fmla="*/ 5 w 47"/>
                    <a:gd name="T27" fmla="*/ 36 h 46"/>
                    <a:gd name="T28" fmla="*/ 7 w 47"/>
                    <a:gd name="T29" fmla="*/ 39 h 46"/>
                    <a:gd name="T30" fmla="*/ 11 w 47"/>
                    <a:gd name="T31" fmla="*/ 43 h 46"/>
                    <a:gd name="T32" fmla="*/ 15 w 47"/>
                    <a:gd name="T33" fmla="*/ 44 h 46"/>
                    <a:gd name="T34" fmla="*/ 19 w 47"/>
                    <a:gd name="T35" fmla="*/ 45 h 46"/>
                    <a:gd name="T36" fmla="*/ 24 w 47"/>
                    <a:gd name="T37" fmla="*/ 46 h 46"/>
                    <a:gd name="T38" fmla="*/ 24 w 47"/>
                    <a:gd name="T39" fmla="*/ 46 h 46"/>
                    <a:gd name="T40" fmla="*/ 29 w 47"/>
                    <a:gd name="T41" fmla="*/ 45 h 46"/>
                    <a:gd name="T42" fmla="*/ 32 w 47"/>
                    <a:gd name="T43" fmla="*/ 44 h 46"/>
                    <a:gd name="T44" fmla="*/ 36 w 47"/>
                    <a:gd name="T45" fmla="*/ 43 h 46"/>
                    <a:gd name="T46" fmla="*/ 39 w 47"/>
                    <a:gd name="T47" fmla="*/ 39 h 46"/>
                    <a:gd name="T48" fmla="*/ 43 w 47"/>
                    <a:gd name="T49" fmla="*/ 36 h 46"/>
                    <a:gd name="T50" fmla="*/ 44 w 47"/>
                    <a:gd name="T51" fmla="*/ 32 h 46"/>
                    <a:gd name="T52" fmla="*/ 47 w 47"/>
                    <a:gd name="T53" fmla="*/ 27 h 46"/>
                    <a:gd name="T54" fmla="*/ 47 w 47"/>
                    <a:gd name="T55" fmla="*/ 24 h 46"/>
                    <a:gd name="T56" fmla="*/ 47 w 47"/>
                    <a:gd name="T57" fmla="*/ 24 h 46"/>
                    <a:gd name="T58" fmla="*/ 47 w 47"/>
                    <a:gd name="T59" fmla="*/ 19 h 46"/>
                    <a:gd name="T60" fmla="*/ 44 w 47"/>
                    <a:gd name="T61" fmla="*/ 14 h 46"/>
                    <a:gd name="T62" fmla="*/ 43 w 47"/>
                    <a:gd name="T63" fmla="*/ 11 h 46"/>
                    <a:gd name="T64" fmla="*/ 39 w 47"/>
                    <a:gd name="T65" fmla="*/ 7 h 46"/>
                    <a:gd name="T66" fmla="*/ 36 w 47"/>
                    <a:gd name="T67" fmla="*/ 5 h 46"/>
                    <a:gd name="T68" fmla="*/ 32 w 47"/>
                    <a:gd name="T69" fmla="*/ 2 h 46"/>
                    <a:gd name="T70" fmla="*/ 29 w 47"/>
                    <a:gd name="T71" fmla="*/ 1 h 46"/>
                    <a:gd name="T72" fmla="*/ 24 w 47"/>
                    <a:gd name="T7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 h="46">
                      <a:moveTo>
                        <a:pt x="24" y="0"/>
                      </a:moveTo>
                      <a:lnTo>
                        <a:pt x="24" y="0"/>
                      </a:lnTo>
                      <a:lnTo>
                        <a:pt x="19" y="1"/>
                      </a:lnTo>
                      <a:lnTo>
                        <a:pt x="15" y="2"/>
                      </a:lnTo>
                      <a:lnTo>
                        <a:pt x="11" y="5"/>
                      </a:lnTo>
                      <a:lnTo>
                        <a:pt x="7" y="7"/>
                      </a:lnTo>
                      <a:lnTo>
                        <a:pt x="5" y="11"/>
                      </a:lnTo>
                      <a:lnTo>
                        <a:pt x="3" y="14"/>
                      </a:lnTo>
                      <a:lnTo>
                        <a:pt x="1" y="19"/>
                      </a:lnTo>
                      <a:lnTo>
                        <a:pt x="0" y="24"/>
                      </a:lnTo>
                      <a:lnTo>
                        <a:pt x="0" y="24"/>
                      </a:lnTo>
                      <a:lnTo>
                        <a:pt x="1" y="27"/>
                      </a:lnTo>
                      <a:lnTo>
                        <a:pt x="3" y="32"/>
                      </a:lnTo>
                      <a:lnTo>
                        <a:pt x="5" y="36"/>
                      </a:lnTo>
                      <a:lnTo>
                        <a:pt x="7" y="39"/>
                      </a:lnTo>
                      <a:lnTo>
                        <a:pt x="11" y="43"/>
                      </a:lnTo>
                      <a:lnTo>
                        <a:pt x="15" y="44"/>
                      </a:lnTo>
                      <a:lnTo>
                        <a:pt x="19" y="45"/>
                      </a:lnTo>
                      <a:lnTo>
                        <a:pt x="24" y="46"/>
                      </a:lnTo>
                      <a:lnTo>
                        <a:pt x="24" y="46"/>
                      </a:lnTo>
                      <a:lnTo>
                        <a:pt x="29" y="45"/>
                      </a:lnTo>
                      <a:lnTo>
                        <a:pt x="32" y="44"/>
                      </a:lnTo>
                      <a:lnTo>
                        <a:pt x="36" y="43"/>
                      </a:lnTo>
                      <a:lnTo>
                        <a:pt x="39" y="39"/>
                      </a:lnTo>
                      <a:lnTo>
                        <a:pt x="43" y="36"/>
                      </a:lnTo>
                      <a:lnTo>
                        <a:pt x="44" y="32"/>
                      </a:lnTo>
                      <a:lnTo>
                        <a:pt x="47" y="27"/>
                      </a:lnTo>
                      <a:lnTo>
                        <a:pt x="47" y="24"/>
                      </a:lnTo>
                      <a:lnTo>
                        <a:pt x="47" y="24"/>
                      </a:lnTo>
                      <a:lnTo>
                        <a:pt x="47" y="19"/>
                      </a:lnTo>
                      <a:lnTo>
                        <a:pt x="44" y="14"/>
                      </a:lnTo>
                      <a:lnTo>
                        <a:pt x="43" y="11"/>
                      </a:lnTo>
                      <a:lnTo>
                        <a:pt x="39" y="7"/>
                      </a:lnTo>
                      <a:lnTo>
                        <a:pt x="36" y="5"/>
                      </a:lnTo>
                      <a:lnTo>
                        <a:pt x="32" y="2"/>
                      </a:lnTo>
                      <a:lnTo>
                        <a:pt x="29" y="1"/>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78" name="Freeform 403"/>
                <p:cNvSpPr>
                  <a:spLocks/>
                </p:cNvSpPr>
                <p:nvPr userDrawn="1"/>
              </p:nvSpPr>
              <p:spPr bwMode="auto">
                <a:xfrm>
                  <a:off x="9826171" y="3572961"/>
                  <a:ext cx="36513" cy="34925"/>
                </a:xfrm>
                <a:custGeom>
                  <a:avLst/>
                  <a:gdLst>
                    <a:gd name="T0" fmla="*/ 24 w 47"/>
                    <a:gd name="T1" fmla="*/ 0 h 45"/>
                    <a:gd name="T2" fmla="*/ 24 w 47"/>
                    <a:gd name="T3" fmla="*/ 0 h 45"/>
                    <a:gd name="T4" fmla="*/ 19 w 47"/>
                    <a:gd name="T5" fmla="*/ 0 h 45"/>
                    <a:gd name="T6" fmla="*/ 15 w 47"/>
                    <a:gd name="T7" fmla="*/ 1 h 45"/>
                    <a:gd name="T8" fmla="*/ 11 w 47"/>
                    <a:gd name="T9" fmla="*/ 3 h 45"/>
                    <a:gd name="T10" fmla="*/ 7 w 47"/>
                    <a:gd name="T11" fmla="*/ 7 h 45"/>
                    <a:gd name="T12" fmla="*/ 5 w 47"/>
                    <a:gd name="T13" fmla="*/ 9 h 45"/>
                    <a:gd name="T14" fmla="*/ 3 w 47"/>
                    <a:gd name="T15" fmla="*/ 14 h 45"/>
                    <a:gd name="T16" fmla="*/ 1 w 47"/>
                    <a:gd name="T17" fmla="*/ 18 h 45"/>
                    <a:gd name="T18" fmla="*/ 0 w 47"/>
                    <a:gd name="T19" fmla="*/ 22 h 45"/>
                    <a:gd name="T20" fmla="*/ 0 w 47"/>
                    <a:gd name="T21" fmla="*/ 22 h 45"/>
                    <a:gd name="T22" fmla="*/ 1 w 47"/>
                    <a:gd name="T23" fmla="*/ 27 h 45"/>
                    <a:gd name="T24" fmla="*/ 3 w 47"/>
                    <a:gd name="T25" fmla="*/ 32 h 45"/>
                    <a:gd name="T26" fmla="*/ 5 w 47"/>
                    <a:gd name="T27" fmla="*/ 35 h 45"/>
                    <a:gd name="T28" fmla="*/ 7 w 47"/>
                    <a:gd name="T29" fmla="*/ 39 h 45"/>
                    <a:gd name="T30" fmla="*/ 11 w 47"/>
                    <a:gd name="T31" fmla="*/ 41 h 45"/>
                    <a:gd name="T32" fmla="*/ 15 w 47"/>
                    <a:gd name="T33" fmla="*/ 44 h 45"/>
                    <a:gd name="T34" fmla="*/ 19 w 47"/>
                    <a:gd name="T35" fmla="*/ 45 h 45"/>
                    <a:gd name="T36" fmla="*/ 24 w 47"/>
                    <a:gd name="T37" fmla="*/ 45 h 45"/>
                    <a:gd name="T38" fmla="*/ 24 w 47"/>
                    <a:gd name="T39" fmla="*/ 45 h 45"/>
                    <a:gd name="T40" fmla="*/ 29 w 47"/>
                    <a:gd name="T41" fmla="*/ 45 h 45"/>
                    <a:gd name="T42" fmla="*/ 32 w 47"/>
                    <a:gd name="T43" fmla="*/ 44 h 45"/>
                    <a:gd name="T44" fmla="*/ 36 w 47"/>
                    <a:gd name="T45" fmla="*/ 41 h 45"/>
                    <a:gd name="T46" fmla="*/ 39 w 47"/>
                    <a:gd name="T47" fmla="*/ 39 h 45"/>
                    <a:gd name="T48" fmla="*/ 43 w 47"/>
                    <a:gd name="T49" fmla="*/ 35 h 45"/>
                    <a:gd name="T50" fmla="*/ 44 w 47"/>
                    <a:gd name="T51" fmla="*/ 32 h 45"/>
                    <a:gd name="T52" fmla="*/ 47 w 47"/>
                    <a:gd name="T53" fmla="*/ 27 h 45"/>
                    <a:gd name="T54" fmla="*/ 47 w 47"/>
                    <a:gd name="T55" fmla="*/ 22 h 45"/>
                    <a:gd name="T56" fmla="*/ 47 w 47"/>
                    <a:gd name="T57" fmla="*/ 22 h 45"/>
                    <a:gd name="T58" fmla="*/ 47 w 47"/>
                    <a:gd name="T59" fmla="*/ 18 h 45"/>
                    <a:gd name="T60" fmla="*/ 44 w 47"/>
                    <a:gd name="T61" fmla="*/ 14 h 45"/>
                    <a:gd name="T62" fmla="*/ 43 w 47"/>
                    <a:gd name="T63" fmla="*/ 9 h 45"/>
                    <a:gd name="T64" fmla="*/ 39 w 47"/>
                    <a:gd name="T65" fmla="*/ 7 h 45"/>
                    <a:gd name="T66" fmla="*/ 36 w 47"/>
                    <a:gd name="T67" fmla="*/ 3 h 45"/>
                    <a:gd name="T68" fmla="*/ 32 w 47"/>
                    <a:gd name="T69" fmla="*/ 1 h 45"/>
                    <a:gd name="T70" fmla="*/ 29 w 47"/>
                    <a:gd name="T71" fmla="*/ 0 h 45"/>
                    <a:gd name="T72" fmla="*/ 24 w 47"/>
                    <a:gd name="T7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 h="45">
                      <a:moveTo>
                        <a:pt x="24" y="0"/>
                      </a:moveTo>
                      <a:lnTo>
                        <a:pt x="24" y="0"/>
                      </a:lnTo>
                      <a:lnTo>
                        <a:pt x="19" y="0"/>
                      </a:lnTo>
                      <a:lnTo>
                        <a:pt x="15" y="1"/>
                      </a:lnTo>
                      <a:lnTo>
                        <a:pt x="11" y="3"/>
                      </a:lnTo>
                      <a:lnTo>
                        <a:pt x="7" y="7"/>
                      </a:lnTo>
                      <a:lnTo>
                        <a:pt x="5" y="9"/>
                      </a:lnTo>
                      <a:lnTo>
                        <a:pt x="3" y="14"/>
                      </a:lnTo>
                      <a:lnTo>
                        <a:pt x="1" y="18"/>
                      </a:lnTo>
                      <a:lnTo>
                        <a:pt x="0" y="22"/>
                      </a:lnTo>
                      <a:lnTo>
                        <a:pt x="0" y="22"/>
                      </a:lnTo>
                      <a:lnTo>
                        <a:pt x="1" y="27"/>
                      </a:lnTo>
                      <a:lnTo>
                        <a:pt x="3" y="32"/>
                      </a:lnTo>
                      <a:lnTo>
                        <a:pt x="5" y="35"/>
                      </a:lnTo>
                      <a:lnTo>
                        <a:pt x="7" y="39"/>
                      </a:lnTo>
                      <a:lnTo>
                        <a:pt x="11" y="41"/>
                      </a:lnTo>
                      <a:lnTo>
                        <a:pt x="15" y="44"/>
                      </a:lnTo>
                      <a:lnTo>
                        <a:pt x="19" y="45"/>
                      </a:lnTo>
                      <a:lnTo>
                        <a:pt x="24" y="45"/>
                      </a:lnTo>
                      <a:lnTo>
                        <a:pt x="24" y="45"/>
                      </a:lnTo>
                      <a:lnTo>
                        <a:pt x="29" y="45"/>
                      </a:lnTo>
                      <a:lnTo>
                        <a:pt x="32" y="44"/>
                      </a:lnTo>
                      <a:lnTo>
                        <a:pt x="36" y="41"/>
                      </a:lnTo>
                      <a:lnTo>
                        <a:pt x="39" y="39"/>
                      </a:lnTo>
                      <a:lnTo>
                        <a:pt x="43" y="35"/>
                      </a:lnTo>
                      <a:lnTo>
                        <a:pt x="44" y="32"/>
                      </a:lnTo>
                      <a:lnTo>
                        <a:pt x="47" y="27"/>
                      </a:lnTo>
                      <a:lnTo>
                        <a:pt x="47" y="22"/>
                      </a:lnTo>
                      <a:lnTo>
                        <a:pt x="47" y="22"/>
                      </a:lnTo>
                      <a:lnTo>
                        <a:pt x="47" y="18"/>
                      </a:lnTo>
                      <a:lnTo>
                        <a:pt x="44" y="14"/>
                      </a:lnTo>
                      <a:lnTo>
                        <a:pt x="43" y="9"/>
                      </a:lnTo>
                      <a:lnTo>
                        <a:pt x="39" y="7"/>
                      </a:lnTo>
                      <a:lnTo>
                        <a:pt x="36" y="3"/>
                      </a:lnTo>
                      <a:lnTo>
                        <a:pt x="32" y="1"/>
                      </a:lnTo>
                      <a:lnTo>
                        <a:pt x="29" y="0"/>
                      </a:lnTo>
                      <a:lnTo>
                        <a:pt x="24"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79" name="Freeform 404"/>
                <p:cNvSpPr>
                  <a:spLocks/>
                </p:cNvSpPr>
                <p:nvPr userDrawn="1"/>
              </p:nvSpPr>
              <p:spPr bwMode="auto">
                <a:xfrm>
                  <a:off x="9826171" y="3572961"/>
                  <a:ext cx="36513" cy="34925"/>
                </a:xfrm>
                <a:custGeom>
                  <a:avLst/>
                  <a:gdLst>
                    <a:gd name="T0" fmla="*/ 24 w 47"/>
                    <a:gd name="T1" fmla="*/ 0 h 45"/>
                    <a:gd name="T2" fmla="*/ 24 w 47"/>
                    <a:gd name="T3" fmla="*/ 0 h 45"/>
                    <a:gd name="T4" fmla="*/ 19 w 47"/>
                    <a:gd name="T5" fmla="*/ 0 h 45"/>
                    <a:gd name="T6" fmla="*/ 15 w 47"/>
                    <a:gd name="T7" fmla="*/ 1 h 45"/>
                    <a:gd name="T8" fmla="*/ 11 w 47"/>
                    <a:gd name="T9" fmla="*/ 3 h 45"/>
                    <a:gd name="T10" fmla="*/ 7 w 47"/>
                    <a:gd name="T11" fmla="*/ 7 h 45"/>
                    <a:gd name="T12" fmla="*/ 5 w 47"/>
                    <a:gd name="T13" fmla="*/ 9 h 45"/>
                    <a:gd name="T14" fmla="*/ 3 w 47"/>
                    <a:gd name="T15" fmla="*/ 14 h 45"/>
                    <a:gd name="T16" fmla="*/ 1 w 47"/>
                    <a:gd name="T17" fmla="*/ 18 h 45"/>
                    <a:gd name="T18" fmla="*/ 0 w 47"/>
                    <a:gd name="T19" fmla="*/ 22 h 45"/>
                    <a:gd name="T20" fmla="*/ 0 w 47"/>
                    <a:gd name="T21" fmla="*/ 22 h 45"/>
                    <a:gd name="T22" fmla="*/ 1 w 47"/>
                    <a:gd name="T23" fmla="*/ 27 h 45"/>
                    <a:gd name="T24" fmla="*/ 3 w 47"/>
                    <a:gd name="T25" fmla="*/ 32 h 45"/>
                    <a:gd name="T26" fmla="*/ 5 w 47"/>
                    <a:gd name="T27" fmla="*/ 35 h 45"/>
                    <a:gd name="T28" fmla="*/ 7 w 47"/>
                    <a:gd name="T29" fmla="*/ 39 h 45"/>
                    <a:gd name="T30" fmla="*/ 11 w 47"/>
                    <a:gd name="T31" fmla="*/ 41 h 45"/>
                    <a:gd name="T32" fmla="*/ 15 w 47"/>
                    <a:gd name="T33" fmla="*/ 44 h 45"/>
                    <a:gd name="T34" fmla="*/ 19 w 47"/>
                    <a:gd name="T35" fmla="*/ 45 h 45"/>
                    <a:gd name="T36" fmla="*/ 24 w 47"/>
                    <a:gd name="T37" fmla="*/ 45 h 45"/>
                    <a:gd name="T38" fmla="*/ 24 w 47"/>
                    <a:gd name="T39" fmla="*/ 45 h 45"/>
                    <a:gd name="T40" fmla="*/ 29 w 47"/>
                    <a:gd name="T41" fmla="*/ 45 h 45"/>
                    <a:gd name="T42" fmla="*/ 32 w 47"/>
                    <a:gd name="T43" fmla="*/ 44 h 45"/>
                    <a:gd name="T44" fmla="*/ 36 w 47"/>
                    <a:gd name="T45" fmla="*/ 41 h 45"/>
                    <a:gd name="T46" fmla="*/ 39 w 47"/>
                    <a:gd name="T47" fmla="*/ 39 h 45"/>
                    <a:gd name="T48" fmla="*/ 43 w 47"/>
                    <a:gd name="T49" fmla="*/ 35 h 45"/>
                    <a:gd name="T50" fmla="*/ 44 w 47"/>
                    <a:gd name="T51" fmla="*/ 32 h 45"/>
                    <a:gd name="T52" fmla="*/ 47 w 47"/>
                    <a:gd name="T53" fmla="*/ 27 h 45"/>
                    <a:gd name="T54" fmla="*/ 47 w 47"/>
                    <a:gd name="T55" fmla="*/ 22 h 45"/>
                    <a:gd name="T56" fmla="*/ 47 w 47"/>
                    <a:gd name="T57" fmla="*/ 22 h 45"/>
                    <a:gd name="T58" fmla="*/ 47 w 47"/>
                    <a:gd name="T59" fmla="*/ 18 h 45"/>
                    <a:gd name="T60" fmla="*/ 44 w 47"/>
                    <a:gd name="T61" fmla="*/ 14 h 45"/>
                    <a:gd name="T62" fmla="*/ 43 w 47"/>
                    <a:gd name="T63" fmla="*/ 9 h 45"/>
                    <a:gd name="T64" fmla="*/ 39 w 47"/>
                    <a:gd name="T65" fmla="*/ 7 h 45"/>
                    <a:gd name="T66" fmla="*/ 36 w 47"/>
                    <a:gd name="T67" fmla="*/ 3 h 45"/>
                    <a:gd name="T68" fmla="*/ 32 w 47"/>
                    <a:gd name="T69" fmla="*/ 1 h 45"/>
                    <a:gd name="T70" fmla="*/ 29 w 47"/>
                    <a:gd name="T71" fmla="*/ 0 h 45"/>
                    <a:gd name="T72" fmla="*/ 24 w 47"/>
                    <a:gd name="T7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 h="45">
                      <a:moveTo>
                        <a:pt x="24" y="0"/>
                      </a:moveTo>
                      <a:lnTo>
                        <a:pt x="24" y="0"/>
                      </a:lnTo>
                      <a:lnTo>
                        <a:pt x="19" y="0"/>
                      </a:lnTo>
                      <a:lnTo>
                        <a:pt x="15" y="1"/>
                      </a:lnTo>
                      <a:lnTo>
                        <a:pt x="11" y="3"/>
                      </a:lnTo>
                      <a:lnTo>
                        <a:pt x="7" y="7"/>
                      </a:lnTo>
                      <a:lnTo>
                        <a:pt x="5" y="9"/>
                      </a:lnTo>
                      <a:lnTo>
                        <a:pt x="3" y="14"/>
                      </a:lnTo>
                      <a:lnTo>
                        <a:pt x="1" y="18"/>
                      </a:lnTo>
                      <a:lnTo>
                        <a:pt x="0" y="22"/>
                      </a:lnTo>
                      <a:lnTo>
                        <a:pt x="0" y="22"/>
                      </a:lnTo>
                      <a:lnTo>
                        <a:pt x="1" y="27"/>
                      </a:lnTo>
                      <a:lnTo>
                        <a:pt x="3" y="32"/>
                      </a:lnTo>
                      <a:lnTo>
                        <a:pt x="5" y="35"/>
                      </a:lnTo>
                      <a:lnTo>
                        <a:pt x="7" y="39"/>
                      </a:lnTo>
                      <a:lnTo>
                        <a:pt x="11" y="41"/>
                      </a:lnTo>
                      <a:lnTo>
                        <a:pt x="15" y="44"/>
                      </a:lnTo>
                      <a:lnTo>
                        <a:pt x="19" y="45"/>
                      </a:lnTo>
                      <a:lnTo>
                        <a:pt x="24" y="45"/>
                      </a:lnTo>
                      <a:lnTo>
                        <a:pt x="24" y="45"/>
                      </a:lnTo>
                      <a:lnTo>
                        <a:pt x="29" y="45"/>
                      </a:lnTo>
                      <a:lnTo>
                        <a:pt x="32" y="44"/>
                      </a:lnTo>
                      <a:lnTo>
                        <a:pt x="36" y="41"/>
                      </a:lnTo>
                      <a:lnTo>
                        <a:pt x="39" y="39"/>
                      </a:lnTo>
                      <a:lnTo>
                        <a:pt x="43" y="35"/>
                      </a:lnTo>
                      <a:lnTo>
                        <a:pt x="44" y="32"/>
                      </a:lnTo>
                      <a:lnTo>
                        <a:pt x="47" y="27"/>
                      </a:lnTo>
                      <a:lnTo>
                        <a:pt x="47" y="22"/>
                      </a:lnTo>
                      <a:lnTo>
                        <a:pt x="47" y="22"/>
                      </a:lnTo>
                      <a:lnTo>
                        <a:pt x="47" y="18"/>
                      </a:lnTo>
                      <a:lnTo>
                        <a:pt x="44" y="14"/>
                      </a:lnTo>
                      <a:lnTo>
                        <a:pt x="43" y="9"/>
                      </a:lnTo>
                      <a:lnTo>
                        <a:pt x="39" y="7"/>
                      </a:lnTo>
                      <a:lnTo>
                        <a:pt x="36" y="3"/>
                      </a:lnTo>
                      <a:lnTo>
                        <a:pt x="32" y="1"/>
                      </a:lnTo>
                      <a:lnTo>
                        <a:pt x="29" y="0"/>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0" name="Rectangle 405"/>
                <p:cNvSpPr>
                  <a:spLocks noChangeArrowheads="1"/>
                </p:cNvSpPr>
                <p:nvPr userDrawn="1"/>
              </p:nvSpPr>
              <p:spPr bwMode="auto">
                <a:xfrm>
                  <a:off x="10431008" y="3633286"/>
                  <a:ext cx="28575" cy="254000"/>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1" name="Freeform 406"/>
                <p:cNvSpPr>
                  <a:spLocks/>
                </p:cNvSpPr>
                <p:nvPr userDrawn="1"/>
              </p:nvSpPr>
              <p:spPr bwMode="auto">
                <a:xfrm>
                  <a:off x="10316708" y="3661861"/>
                  <a:ext cx="98425" cy="125413"/>
                </a:xfrm>
                <a:custGeom>
                  <a:avLst/>
                  <a:gdLst>
                    <a:gd name="T0" fmla="*/ 122 w 122"/>
                    <a:gd name="T1" fmla="*/ 122 h 158"/>
                    <a:gd name="T2" fmla="*/ 122 w 122"/>
                    <a:gd name="T3" fmla="*/ 158 h 158"/>
                    <a:gd name="T4" fmla="*/ 0 w 122"/>
                    <a:gd name="T5" fmla="*/ 158 h 158"/>
                    <a:gd name="T6" fmla="*/ 0 w 122"/>
                    <a:gd name="T7" fmla="*/ 122 h 158"/>
                    <a:gd name="T8" fmla="*/ 0 w 122"/>
                    <a:gd name="T9" fmla="*/ 0 h 158"/>
                    <a:gd name="T10" fmla="*/ 0 w 122"/>
                    <a:gd name="T11" fmla="*/ 0 h 158"/>
                    <a:gd name="T12" fmla="*/ 13 w 122"/>
                    <a:gd name="T13" fmla="*/ 1 h 158"/>
                    <a:gd name="T14" fmla="*/ 25 w 122"/>
                    <a:gd name="T15" fmla="*/ 2 h 158"/>
                    <a:gd name="T16" fmla="*/ 37 w 122"/>
                    <a:gd name="T17" fmla="*/ 6 h 158"/>
                    <a:gd name="T18" fmla="*/ 47 w 122"/>
                    <a:gd name="T19" fmla="*/ 9 h 158"/>
                    <a:gd name="T20" fmla="*/ 58 w 122"/>
                    <a:gd name="T21" fmla="*/ 15 h 158"/>
                    <a:gd name="T22" fmla="*/ 68 w 122"/>
                    <a:gd name="T23" fmla="*/ 21 h 158"/>
                    <a:gd name="T24" fmla="*/ 77 w 122"/>
                    <a:gd name="T25" fmla="*/ 28 h 158"/>
                    <a:gd name="T26" fmla="*/ 87 w 122"/>
                    <a:gd name="T27" fmla="*/ 35 h 158"/>
                    <a:gd name="T28" fmla="*/ 94 w 122"/>
                    <a:gd name="T29" fmla="*/ 45 h 158"/>
                    <a:gd name="T30" fmla="*/ 101 w 122"/>
                    <a:gd name="T31" fmla="*/ 53 h 158"/>
                    <a:gd name="T32" fmla="*/ 107 w 122"/>
                    <a:gd name="T33" fmla="*/ 64 h 158"/>
                    <a:gd name="T34" fmla="*/ 111 w 122"/>
                    <a:gd name="T35" fmla="*/ 75 h 158"/>
                    <a:gd name="T36" fmla="*/ 116 w 122"/>
                    <a:gd name="T37" fmla="*/ 85 h 158"/>
                    <a:gd name="T38" fmla="*/ 119 w 122"/>
                    <a:gd name="T39" fmla="*/ 97 h 158"/>
                    <a:gd name="T40" fmla="*/ 121 w 122"/>
                    <a:gd name="T41" fmla="*/ 109 h 158"/>
                    <a:gd name="T42" fmla="*/ 122 w 122"/>
                    <a:gd name="T43" fmla="*/ 122 h 158"/>
                    <a:gd name="T44" fmla="*/ 122 w 122"/>
                    <a:gd name="T45" fmla="*/ 12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2" h="158">
                      <a:moveTo>
                        <a:pt x="122" y="122"/>
                      </a:moveTo>
                      <a:lnTo>
                        <a:pt x="122" y="158"/>
                      </a:lnTo>
                      <a:lnTo>
                        <a:pt x="0" y="158"/>
                      </a:lnTo>
                      <a:lnTo>
                        <a:pt x="0" y="122"/>
                      </a:lnTo>
                      <a:lnTo>
                        <a:pt x="0" y="0"/>
                      </a:lnTo>
                      <a:lnTo>
                        <a:pt x="0" y="0"/>
                      </a:lnTo>
                      <a:lnTo>
                        <a:pt x="13" y="1"/>
                      </a:lnTo>
                      <a:lnTo>
                        <a:pt x="25" y="2"/>
                      </a:lnTo>
                      <a:lnTo>
                        <a:pt x="37" y="6"/>
                      </a:lnTo>
                      <a:lnTo>
                        <a:pt x="47" y="9"/>
                      </a:lnTo>
                      <a:lnTo>
                        <a:pt x="58" y="15"/>
                      </a:lnTo>
                      <a:lnTo>
                        <a:pt x="68" y="21"/>
                      </a:lnTo>
                      <a:lnTo>
                        <a:pt x="77" y="28"/>
                      </a:lnTo>
                      <a:lnTo>
                        <a:pt x="87" y="35"/>
                      </a:lnTo>
                      <a:lnTo>
                        <a:pt x="94" y="45"/>
                      </a:lnTo>
                      <a:lnTo>
                        <a:pt x="101" y="53"/>
                      </a:lnTo>
                      <a:lnTo>
                        <a:pt x="107" y="64"/>
                      </a:lnTo>
                      <a:lnTo>
                        <a:pt x="111" y="75"/>
                      </a:lnTo>
                      <a:lnTo>
                        <a:pt x="116" y="85"/>
                      </a:lnTo>
                      <a:lnTo>
                        <a:pt x="119" y="97"/>
                      </a:lnTo>
                      <a:lnTo>
                        <a:pt x="121" y="109"/>
                      </a:lnTo>
                      <a:lnTo>
                        <a:pt x="122" y="122"/>
                      </a:lnTo>
                      <a:lnTo>
                        <a:pt x="122" y="1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2" name="Freeform 407"/>
                <p:cNvSpPr>
                  <a:spLocks/>
                </p:cNvSpPr>
                <p:nvPr userDrawn="1"/>
              </p:nvSpPr>
              <p:spPr bwMode="auto">
                <a:xfrm>
                  <a:off x="10381796" y="3804736"/>
                  <a:ext cx="98425" cy="166688"/>
                </a:xfrm>
                <a:custGeom>
                  <a:avLst/>
                  <a:gdLst>
                    <a:gd name="T0" fmla="*/ 122 w 122"/>
                    <a:gd name="T1" fmla="*/ 163 h 210"/>
                    <a:gd name="T2" fmla="*/ 122 w 122"/>
                    <a:gd name="T3" fmla="*/ 210 h 210"/>
                    <a:gd name="T4" fmla="*/ 0 w 122"/>
                    <a:gd name="T5" fmla="*/ 210 h 210"/>
                    <a:gd name="T6" fmla="*/ 0 w 122"/>
                    <a:gd name="T7" fmla="*/ 163 h 210"/>
                    <a:gd name="T8" fmla="*/ 0 w 122"/>
                    <a:gd name="T9" fmla="*/ 0 h 210"/>
                    <a:gd name="T10" fmla="*/ 0 w 122"/>
                    <a:gd name="T11" fmla="*/ 0 h 210"/>
                    <a:gd name="T12" fmla="*/ 13 w 122"/>
                    <a:gd name="T13" fmla="*/ 0 h 210"/>
                    <a:gd name="T14" fmla="*/ 25 w 122"/>
                    <a:gd name="T15" fmla="*/ 2 h 210"/>
                    <a:gd name="T16" fmla="*/ 37 w 122"/>
                    <a:gd name="T17" fmla="*/ 7 h 210"/>
                    <a:gd name="T18" fmla="*/ 47 w 122"/>
                    <a:gd name="T19" fmla="*/ 12 h 210"/>
                    <a:gd name="T20" fmla="*/ 58 w 122"/>
                    <a:gd name="T21" fmla="*/ 19 h 210"/>
                    <a:gd name="T22" fmla="*/ 69 w 122"/>
                    <a:gd name="T23" fmla="*/ 27 h 210"/>
                    <a:gd name="T24" fmla="*/ 77 w 122"/>
                    <a:gd name="T25" fmla="*/ 37 h 210"/>
                    <a:gd name="T26" fmla="*/ 87 w 122"/>
                    <a:gd name="T27" fmla="*/ 48 h 210"/>
                    <a:gd name="T28" fmla="*/ 94 w 122"/>
                    <a:gd name="T29" fmla="*/ 59 h 210"/>
                    <a:gd name="T30" fmla="*/ 101 w 122"/>
                    <a:gd name="T31" fmla="*/ 71 h 210"/>
                    <a:gd name="T32" fmla="*/ 107 w 122"/>
                    <a:gd name="T33" fmla="*/ 86 h 210"/>
                    <a:gd name="T34" fmla="*/ 113 w 122"/>
                    <a:gd name="T35" fmla="*/ 100 h 210"/>
                    <a:gd name="T36" fmla="*/ 116 w 122"/>
                    <a:gd name="T37" fmla="*/ 114 h 210"/>
                    <a:gd name="T38" fmla="*/ 120 w 122"/>
                    <a:gd name="T39" fmla="*/ 130 h 210"/>
                    <a:gd name="T40" fmla="*/ 121 w 122"/>
                    <a:gd name="T41" fmla="*/ 146 h 210"/>
                    <a:gd name="T42" fmla="*/ 122 w 122"/>
                    <a:gd name="T43" fmla="*/ 163 h 210"/>
                    <a:gd name="T44" fmla="*/ 122 w 122"/>
                    <a:gd name="T45" fmla="*/ 163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2" h="210">
                      <a:moveTo>
                        <a:pt x="122" y="163"/>
                      </a:moveTo>
                      <a:lnTo>
                        <a:pt x="122" y="210"/>
                      </a:lnTo>
                      <a:lnTo>
                        <a:pt x="0" y="210"/>
                      </a:lnTo>
                      <a:lnTo>
                        <a:pt x="0" y="163"/>
                      </a:lnTo>
                      <a:lnTo>
                        <a:pt x="0" y="0"/>
                      </a:lnTo>
                      <a:lnTo>
                        <a:pt x="0" y="0"/>
                      </a:lnTo>
                      <a:lnTo>
                        <a:pt x="13" y="0"/>
                      </a:lnTo>
                      <a:lnTo>
                        <a:pt x="25" y="2"/>
                      </a:lnTo>
                      <a:lnTo>
                        <a:pt x="37" y="7"/>
                      </a:lnTo>
                      <a:lnTo>
                        <a:pt x="47" y="12"/>
                      </a:lnTo>
                      <a:lnTo>
                        <a:pt x="58" y="19"/>
                      </a:lnTo>
                      <a:lnTo>
                        <a:pt x="69" y="27"/>
                      </a:lnTo>
                      <a:lnTo>
                        <a:pt x="77" y="37"/>
                      </a:lnTo>
                      <a:lnTo>
                        <a:pt x="87" y="48"/>
                      </a:lnTo>
                      <a:lnTo>
                        <a:pt x="94" y="59"/>
                      </a:lnTo>
                      <a:lnTo>
                        <a:pt x="101" y="71"/>
                      </a:lnTo>
                      <a:lnTo>
                        <a:pt x="107" y="86"/>
                      </a:lnTo>
                      <a:lnTo>
                        <a:pt x="113" y="100"/>
                      </a:lnTo>
                      <a:lnTo>
                        <a:pt x="116" y="114"/>
                      </a:lnTo>
                      <a:lnTo>
                        <a:pt x="120" y="130"/>
                      </a:lnTo>
                      <a:lnTo>
                        <a:pt x="121" y="146"/>
                      </a:lnTo>
                      <a:lnTo>
                        <a:pt x="122" y="163"/>
                      </a:lnTo>
                      <a:lnTo>
                        <a:pt x="122" y="16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3" name="Rectangle 408"/>
                <p:cNvSpPr>
                  <a:spLocks noChangeArrowheads="1"/>
                </p:cNvSpPr>
                <p:nvPr userDrawn="1"/>
              </p:nvSpPr>
              <p:spPr bwMode="auto">
                <a:xfrm>
                  <a:off x="10316708" y="3787274"/>
                  <a:ext cx="98425" cy="184150"/>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4" name="Rectangle 409"/>
                <p:cNvSpPr>
                  <a:spLocks noChangeArrowheads="1"/>
                </p:cNvSpPr>
                <p:nvPr userDrawn="1"/>
              </p:nvSpPr>
              <p:spPr bwMode="auto">
                <a:xfrm>
                  <a:off x="10316708" y="3787274"/>
                  <a:ext cx="984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5" name="Freeform 410"/>
                <p:cNvSpPr>
                  <a:spLocks/>
                </p:cNvSpPr>
                <p:nvPr userDrawn="1"/>
              </p:nvSpPr>
              <p:spPr bwMode="auto">
                <a:xfrm>
                  <a:off x="10137321" y="4373061"/>
                  <a:ext cx="211138" cy="338138"/>
                </a:xfrm>
                <a:custGeom>
                  <a:avLst/>
                  <a:gdLst>
                    <a:gd name="T0" fmla="*/ 0 w 265"/>
                    <a:gd name="T1" fmla="*/ 0 h 427"/>
                    <a:gd name="T2" fmla="*/ 0 w 265"/>
                    <a:gd name="T3" fmla="*/ 203 h 427"/>
                    <a:gd name="T4" fmla="*/ 39 w 265"/>
                    <a:gd name="T5" fmla="*/ 427 h 427"/>
                    <a:gd name="T6" fmla="*/ 265 w 265"/>
                    <a:gd name="T7" fmla="*/ 427 h 427"/>
                    <a:gd name="T8" fmla="*/ 220 w 265"/>
                    <a:gd name="T9" fmla="*/ 0 h 427"/>
                    <a:gd name="T10" fmla="*/ 0 w 265"/>
                    <a:gd name="T11" fmla="*/ 0 h 427"/>
                  </a:gdLst>
                  <a:ahLst/>
                  <a:cxnLst>
                    <a:cxn ang="0">
                      <a:pos x="T0" y="T1"/>
                    </a:cxn>
                    <a:cxn ang="0">
                      <a:pos x="T2" y="T3"/>
                    </a:cxn>
                    <a:cxn ang="0">
                      <a:pos x="T4" y="T5"/>
                    </a:cxn>
                    <a:cxn ang="0">
                      <a:pos x="T6" y="T7"/>
                    </a:cxn>
                    <a:cxn ang="0">
                      <a:pos x="T8" y="T9"/>
                    </a:cxn>
                    <a:cxn ang="0">
                      <a:pos x="T10" y="T11"/>
                    </a:cxn>
                  </a:cxnLst>
                  <a:rect l="0" t="0" r="r" b="b"/>
                  <a:pathLst>
                    <a:path w="265" h="427">
                      <a:moveTo>
                        <a:pt x="0" y="0"/>
                      </a:moveTo>
                      <a:lnTo>
                        <a:pt x="0" y="203"/>
                      </a:lnTo>
                      <a:lnTo>
                        <a:pt x="39" y="427"/>
                      </a:lnTo>
                      <a:lnTo>
                        <a:pt x="265" y="427"/>
                      </a:lnTo>
                      <a:lnTo>
                        <a:pt x="220" y="0"/>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6" name="Freeform 411"/>
                <p:cNvSpPr>
                  <a:spLocks/>
                </p:cNvSpPr>
                <p:nvPr userDrawn="1"/>
              </p:nvSpPr>
              <p:spPr bwMode="auto">
                <a:xfrm>
                  <a:off x="10137321" y="4373061"/>
                  <a:ext cx="211138" cy="338138"/>
                </a:xfrm>
                <a:custGeom>
                  <a:avLst/>
                  <a:gdLst>
                    <a:gd name="T0" fmla="*/ 0 w 265"/>
                    <a:gd name="T1" fmla="*/ 0 h 427"/>
                    <a:gd name="T2" fmla="*/ 0 w 265"/>
                    <a:gd name="T3" fmla="*/ 203 h 427"/>
                    <a:gd name="T4" fmla="*/ 39 w 265"/>
                    <a:gd name="T5" fmla="*/ 427 h 427"/>
                    <a:gd name="T6" fmla="*/ 265 w 265"/>
                    <a:gd name="T7" fmla="*/ 427 h 427"/>
                    <a:gd name="T8" fmla="*/ 220 w 265"/>
                    <a:gd name="T9" fmla="*/ 0 h 427"/>
                    <a:gd name="T10" fmla="*/ 0 w 265"/>
                    <a:gd name="T11" fmla="*/ 0 h 427"/>
                  </a:gdLst>
                  <a:ahLst/>
                  <a:cxnLst>
                    <a:cxn ang="0">
                      <a:pos x="T0" y="T1"/>
                    </a:cxn>
                    <a:cxn ang="0">
                      <a:pos x="T2" y="T3"/>
                    </a:cxn>
                    <a:cxn ang="0">
                      <a:pos x="T4" y="T5"/>
                    </a:cxn>
                    <a:cxn ang="0">
                      <a:pos x="T6" y="T7"/>
                    </a:cxn>
                    <a:cxn ang="0">
                      <a:pos x="T8" y="T9"/>
                    </a:cxn>
                    <a:cxn ang="0">
                      <a:pos x="T10" y="T11"/>
                    </a:cxn>
                  </a:cxnLst>
                  <a:rect l="0" t="0" r="r" b="b"/>
                  <a:pathLst>
                    <a:path w="265" h="427">
                      <a:moveTo>
                        <a:pt x="0" y="0"/>
                      </a:moveTo>
                      <a:lnTo>
                        <a:pt x="0" y="203"/>
                      </a:lnTo>
                      <a:lnTo>
                        <a:pt x="39" y="427"/>
                      </a:lnTo>
                      <a:lnTo>
                        <a:pt x="265" y="427"/>
                      </a:lnTo>
                      <a:lnTo>
                        <a:pt x="22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7" name="Freeform 412"/>
                <p:cNvSpPr>
                  <a:spLocks/>
                </p:cNvSpPr>
                <p:nvPr userDrawn="1"/>
              </p:nvSpPr>
              <p:spPr bwMode="auto">
                <a:xfrm>
                  <a:off x="10405608" y="3899986"/>
                  <a:ext cx="74613" cy="407988"/>
                </a:xfrm>
                <a:custGeom>
                  <a:avLst/>
                  <a:gdLst>
                    <a:gd name="T0" fmla="*/ 93 w 93"/>
                    <a:gd name="T1" fmla="*/ 515 h 515"/>
                    <a:gd name="T2" fmla="*/ 93 w 93"/>
                    <a:gd name="T3" fmla="*/ 93 h 515"/>
                    <a:gd name="T4" fmla="*/ 93 w 93"/>
                    <a:gd name="T5" fmla="*/ 93 h 515"/>
                    <a:gd name="T6" fmla="*/ 92 w 93"/>
                    <a:gd name="T7" fmla="*/ 83 h 515"/>
                    <a:gd name="T8" fmla="*/ 91 w 93"/>
                    <a:gd name="T9" fmla="*/ 74 h 515"/>
                    <a:gd name="T10" fmla="*/ 88 w 93"/>
                    <a:gd name="T11" fmla="*/ 65 h 515"/>
                    <a:gd name="T12" fmla="*/ 86 w 93"/>
                    <a:gd name="T13" fmla="*/ 56 h 515"/>
                    <a:gd name="T14" fmla="*/ 81 w 93"/>
                    <a:gd name="T15" fmla="*/ 49 h 515"/>
                    <a:gd name="T16" fmla="*/ 77 w 93"/>
                    <a:gd name="T17" fmla="*/ 41 h 515"/>
                    <a:gd name="T18" fmla="*/ 72 w 93"/>
                    <a:gd name="T19" fmla="*/ 33 h 515"/>
                    <a:gd name="T20" fmla="*/ 66 w 93"/>
                    <a:gd name="T21" fmla="*/ 27 h 515"/>
                    <a:gd name="T22" fmla="*/ 59 w 93"/>
                    <a:gd name="T23" fmla="*/ 21 h 515"/>
                    <a:gd name="T24" fmla="*/ 52 w 93"/>
                    <a:gd name="T25" fmla="*/ 16 h 515"/>
                    <a:gd name="T26" fmla="*/ 44 w 93"/>
                    <a:gd name="T27" fmla="*/ 11 h 515"/>
                    <a:gd name="T28" fmla="*/ 36 w 93"/>
                    <a:gd name="T29" fmla="*/ 7 h 515"/>
                    <a:gd name="T30" fmla="*/ 28 w 93"/>
                    <a:gd name="T31" fmla="*/ 4 h 515"/>
                    <a:gd name="T32" fmla="*/ 18 w 93"/>
                    <a:gd name="T33" fmla="*/ 1 h 515"/>
                    <a:gd name="T34" fmla="*/ 10 w 93"/>
                    <a:gd name="T35" fmla="*/ 0 h 515"/>
                    <a:gd name="T36" fmla="*/ 0 w 93"/>
                    <a:gd name="T37" fmla="*/ 0 h 515"/>
                    <a:gd name="T38" fmla="*/ 0 w 93"/>
                    <a:gd name="T39" fmla="*/ 515 h 515"/>
                    <a:gd name="T40" fmla="*/ 93 w 93"/>
                    <a:gd name="T41" fmla="*/ 515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515">
                      <a:moveTo>
                        <a:pt x="93" y="515"/>
                      </a:moveTo>
                      <a:lnTo>
                        <a:pt x="93" y="93"/>
                      </a:lnTo>
                      <a:lnTo>
                        <a:pt x="93" y="93"/>
                      </a:lnTo>
                      <a:lnTo>
                        <a:pt x="92" y="83"/>
                      </a:lnTo>
                      <a:lnTo>
                        <a:pt x="91" y="74"/>
                      </a:lnTo>
                      <a:lnTo>
                        <a:pt x="88" y="65"/>
                      </a:lnTo>
                      <a:lnTo>
                        <a:pt x="86" y="56"/>
                      </a:lnTo>
                      <a:lnTo>
                        <a:pt x="81" y="49"/>
                      </a:lnTo>
                      <a:lnTo>
                        <a:pt x="77" y="41"/>
                      </a:lnTo>
                      <a:lnTo>
                        <a:pt x="72" y="33"/>
                      </a:lnTo>
                      <a:lnTo>
                        <a:pt x="66" y="27"/>
                      </a:lnTo>
                      <a:lnTo>
                        <a:pt x="59" y="21"/>
                      </a:lnTo>
                      <a:lnTo>
                        <a:pt x="52" y="16"/>
                      </a:lnTo>
                      <a:lnTo>
                        <a:pt x="44" y="11"/>
                      </a:lnTo>
                      <a:lnTo>
                        <a:pt x="36" y="7"/>
                      </a:lnTo>
                      <a:lnTo>
                        <a:pt x="28" y="4"/>
                      </a:lnTo>
                      <a:lnTo>
                        <a:pt x="18" y="1"/>
                      </a:lnTo>
                      <a:lnTo>
                        <a:pt x="10" y="0"/>
                      </a:lnTo>
                      <a:lnTo>
                        <a:pt x="0" y="0"/>
                      </a:lnTo>
                      <a:lnTo>
                        <a:pt x="0" y="515"/>
                      </a:lnTo>
                      <a:lnTo>
                        <a:pt x="93" y="515"/>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8" name="Freeform 413"/>
                <p:cNvSpPr>
                  <a:spLocks/>
                </p:cNvSpPr>
                <p:nvPr userDrawn="1"/>
              </p:nvSpPr>
              <p:spPr bwMode="auto">
                <a:xfrm>
                  <a:off x="10405608" y="3899986"/>
                  <a:ext cx="74613" cy="407988"/>
                </a:xfrm>
                <a:custGeom>
                  <a:avLst/>
                  <a:gdLst>
                    <a:gd name="T0" fmla="*/ 93 w 93"/>
                    <a:gd name="T1" fmla="*/ 515 h 515"/>
                    <a:gd name="T2" fmla="*/ 93 w 93"/>
                    <a:gd name="T3" fmla="*/ 93 h 515"/>
                    <a:gd name="T4" fmla="*/ 93 w 93"/>
                    <a:gd name="T5" fmla="*/ 93 h 515"/>
                    <a:gd name="T6" fmla="*/ 92 w 93"/>
                    <a:gd name="T7" fmla="*/ 83 h 515"/>
                    <a:gd name="T8" fmla="*/ 91 w 93"/>
                    <a:gd name="T9" fmla="*/ 74 h 515"/>
                    <a:gd name="T10" fmla="*/ 88 w 93"/>
                    <a:gd name="T11" fmla="*/ 65 h 515"/>
                    <a:gd name="T12" fmla="*/ 86 w 93"/>
                    <a:gd name="T13" fmla="*/ 56 h 515"/>
                    <a:gd name="T14" fmla="*/ 81 w 93"/>
                    <a:gd name="T15" fmla="*/ 49 h 515"/>
                    <a:gd name="T16" fmla="*/ 77 w 93"/>
                    <a:gd name="T17" fmla="*/ 41 h 515"/>
                    <a:gd name="T18" fmla="*/ 72 w 93"/>
                    <a:gd name="T19" fmla="*/ 33 h 515"/>
                    <a:gd name="T20" fmla="*/ 66 w 93"/>
                    <a:gd name="T21" fmla="*/ 27 h 515"/>
                    <a:gd name="T22" fmla="*/ 59 w 93"/>
                    <a:gd name="T23" fmla="*/ 21 h 515"/>
                    <a:gd name="T24" fmla="*/ 52 w 93"/>
                    <a:gd name="T25" fmla="*/ 16 h 515"/>
                    <a:gd name="T26" fmla="*/ 44 w 93"/>
                    <a:gd name="T27" fmla="*/ 11 h 515"/>
                    <a:gd name="T28" fmla="*/ 36 w 93"/>
                    <a:gd name="T29" fmla="*/ 7 h 515"/>
                    <a:gd name="T30" fmla="*/ 28 w 93"/>
                    <a:gd name="T31" fmla="*/ 4 h 515"/>
                    <a:gd name="T32" fmla="*/ 18 w 93"/>
                    <a:gd name="T33" fmla="*/ 1 h 515"/>
                    <a:gd name="T34" fmla="*/ 10 w 93"/>
                    <a:gd name="T35" fmla="*/ 0 h 515"/>
                    <a:gd name="T36" fmla="*/ 0 w 93"/>
                    <a:gd name="T37" fmla="*/ 0 h 515"/>
                    <a:gd name="T38" fmla="*/ 0 w 93"/>
                    <a:gd name="T39" fmla="*/ 515 h 515"/>
                    <a:gd name="T40" fmla="*/ 93 w 93"/>
                    <a:gd name="T41" fmla="*/ 515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515">
                      <a:moveTo>
                        <a:pt x="93" y="515"/>
                      </a:moveTo>
                      <a:lnTo>
                        <a:pt x="93" y="93"/>
                      </a:lnTo>
                      <a:lnTo>
                        <a:pt x="93" y="93"/>
                      </a:lnTo>
                      <a:lnTo>
                        <a:pt x="92" y="83"/>
                      </a:lnTo>
                      <a:lnTo>
                        <a:pt x="91" y="74"/>
                      </a:lnTo>
                      <a:lnTo>
                        <a:pt x="88" y="65"/>
                      </a:lnTo>
                      <a:lnTo>
                        <a:pt x="86" y="56"/>
                      </a:lnTo>
                      <a:lnTo>
                        <a:pt x="81" y="49"/>
                      </a:lnTo>
                      <a:lnTo>
                        <a:pt x="77" y="41"/>
                      </a:lnTo>
                      <a:lnTo>
                        <a:pt x="72" y="33"/>
                      </a:lnTo>
                      <a:lnTo>
                        <a:pt x="66" y="27"/>
                      </a:lnTo>
                      <a:lnTo>
                        <a:pt x="59" y="21"/>
                      </a:lnTo>
                      <a:lnTo>
                        <a:pt x="52" y="16"/>
                      </a:lnTo>
                      <a:lnTo>
                        <a:pt x="44" y="11"/>
                      </a:lnTo>
                      <a:lnTo>
                        <a:pt x="36" y="7"/>
                      </a:lnTo>
                      <a:lnTo>
                        <a:pt x="28" y="4"/>
                      </a:lnTo>
                      <a:lnTo>
                        <a:pt x="18" y="1"/>
                      </a:lnTo>
                      <a:lnTo>
                        <a:pt x="10" y="0"/>
                      </a:lnTo>
                      <a:lnTo>
                        <a:pt x="0" y="0"/>
                      </a:lnTo>
                      <a:lnTo>
                        <a:pt x="0" y="515"/>
                      </a:lnTo>
                      <a:lnTo>
                        <a:pt x="93" y="5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89" name="Freeform 414"/>
                <p:cNvSpPr>
                  <a:spLocks/>
                </p:cNvSpPr>
                <p:nvPr userDrawn="1"/>
              </p:nvSpPr>
              <p:spPr bwMode="auto">
                <a:xfrm>
                  <a:off x="10330996" y="3899986"/>
                  <a:ext cx="74613" cy="407988"/>
                </a:xfrm>
                <a:custGeom>
                  <a:avLst/>
                  <a:gdLst>
                    <a:gd name="T0" fmla="*/ 93 w 93"/>
                    <a:gd name="T1" fmla="*/ 515 h 515"/>
                    <a:gd name="T2" fmla="*/ 93 w 93"/>
                    <a:gd name="T3" fmla="*/ 0 h 515"/>
                    <a:gd name="T4" fmla="*/ 93 w 93"/>
                    <a:gd name="T5" fmla="*/ 0 h 515"/>
                    <a:gd name="T6" fmla="*/ 84 w 93"/>
                    <a:gd name="T7" fmla="*/ 0 h 515"/>
                    <a:gd name="T8" fmla="*/ 74 w 93"/>
                    <a:gd name="T9" fmla="*/ 1 h 515"/>
                    <a:gd name="T10" fmla="*/ 65 w 93"/>
                    <a:gd name="T11" fmla="*/ 4 h 515"/>
                    <a:gd name="T12" fmla="*/ 57 w 93"/>
                    <a:gd name="T13" fmla="*/ 7 h 515"/>
                    <a:gd name="T14" fmla="*/ 48 w 93"/>
                    <a:gd name="T15" fmla="*/ 11 h 515"/>
                    <a:gd name="T16" fmla="*/ 41 w 93"/>
                    <a:gd name="T17" fmla="*/ 16 h 515"/>
                    <a:gd name="T18" fmla="*/ 34 w 93"/>
                    <a:gd name="T19" fmla="*/ 21 h 515"/>
                    <a:gd name="T20" fmla="*/ 27 w 93"/>
                    <a:gd name="T21" fmla="*/ 27 h 515"/>
                    <a:gd name="T22" fmla="*/ 21 w 93"/>
                    <a:gd name="T23" fmla="*/ 33 h 515"/>
                    <a:gd name="T24" fmla="*/ 16 w 93"/>
                    <a:gd name="T25" fmla="*/ 41 h 515"/>
                    <a:gd name="T26" fmla="*/ 11 w 93"/>
                    <a:gd name="T27" fmla="*/ 49 h 515"/>
                    <a:gd name="T28" fmla="*/ 8 w 93"/>
                    <a:gd name="T29" fmla="*/ 56 h 515"/>
                    <a:gd name="T30" fmla="*/ 4 w 93"/>
                    <a:gd name="T31" fmla="*/ 65 h 515"/>
                    <a:gd name="T32" fmla="*/ 2 w 93"/>
                    <a:gd name="T33" fmla="*/ 74 h 515"/>
                    <a:gd name="T34" fmla="*/ 1 w 93"/>
                    <a:gd name="T35" fmla="*/ 83 h 515"/>
                    <a:gd name="T36" fmla="*/ 0 w 93"/>
                    <a:gd name="T37" fmla="*/ 93 h 515"/>
                    <a:gd name="T38" fmla="*/ 0 w 93"/>
                    <a:gd name="T39" fmla="*/ 515 h 515"/>
                    <a:gd name="T40" fmla="*/ 93 w 93"/>
                    <a:gd name="T41" fmla="*/ 515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515">
                      <a:moveTo>
                        <a:pt x="93" y="515"/>
                      </a:moveTo>
                      <a:lnTo>
                        <a:pt x="93" y="0"/>
                      </a:lnTo>
                      <a:lnTo>
                        <a:pt x="93" y="0"/>
                      </a:lnTo>
                      <a:lnTo>
                        <a:pt x="84" y="0"/>
                      </a:lnTo>
                      <a:lnTo>
                        <a:pt x="74" y="1"/>
                      </a:lnTo>
                      <a:lnTo>
                        <a:pt x="65" y="4"/>
                      </a:lnTo>
                      <a:lnTo>
                        <a:pt x="57" y="7"/>
                      </a:lnTo>
                      <a:lnTo>
                        <a:pt x="48" y="11"/>
                      </a:lnTo>
                      <a:lnTo>
                        <a:pt x="41" y="16"/>
                      </a:lnTo>
                      <a:lnTo>
                        <a:pt x="34" y="21"/>
                      </a:lnTo>
                      <a:lnTo>
                        <a:pt x="27" y="27"/>
                      </a:lnTo>
                      <a:lnTo>
                        <a:pt x="21" y="33"/>
                      </a:lnTo>
                      <a:lnTo>
                        <a:pt x="16" y="41"/>
                      </a:lnTo>
                      <a:lnTo>
                        <a:pt x="11" y="49"/>
                      </a:lnTo>
                      <a:lnTo>
                        <a:pt x="8" y="56"/>
                      </a:lnTo>
                      <a:lnTo>
                        <a:pt x="4" y="65"/>
                      </a:lnTo>
                      <a:lnTo>
                        <a:pt x="2" y="74"/>
                      </a:lnTo>
                      <a:lnTo>
                        <a:pt x="1" y="83"/>
                      </a:lnTo>
                      <a:lnTo>
                        <a:pt x="0" y="93"/>
                      </a:lnTo>
                      <a:lnTo>
                        <a:pt x="0" y="515"/>
                      </a:lnTo>
                      <a:lnTo>
                        <a:pt x="93" y="5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0" name="Freeform 415"/>
                <p:cNvSpPr>
                  <a:spLocks/>
                </p:cNvSpPr>
                <p:nvPr userDrawn="1"/>
              </p:nvSpPr>
              <p:spPr bwMode="auto">
                <a:xfrm>
                  <a:off x="10330996" y="3899986"/>
                  <a:ext cx="74613" cy="407988"/>
                </a:xfrm>
                <a:custGeom>
                  <a:avLst/>
                  <a:gdLst>
                    <a:gd name="T0" fmla="*/ 93 w 93"/>
                    <a:gd name="T1" fmla="*/ 515 h 515"/>
                    <a:gd name="T2" fmla="*/ 93 w 93"/>
                    <a:gd name="T3" fmla="*/ 0 h 515"/>
                    <a:gd name="T4" fmla="*/ 93 w 93"/>
                    <a:gd name="T5" fmla="*/ 0 h 515"/>
                    <a:gd name="T6" fmla="*/ 84 w 93"/>
                    <a:gd name="T7" fmla="*/ 0 h 515"/>
                    <a:gd name="T8" fmla="*/ 74 w 93"/>
                    <a:gd name="T9" fmla="*/ 1 h 515"/>
                    <a:gd name="T10" fmla="*/ 65 w 93"/>
                    <a:gd name="T11" fmla="*/ 4 h 515"/>
                    <a:gd name="T12" fmla="*/ 57 w 93"/>
                    <a:gd name="T13" fmla="*/ 7 h 515"/>
                    <a:gd name="T14" fmla="*/ 48 w 93"/>
                    <a:gd name="T15" fmla="*/ 11 h 515"/>
                    <a:gd name="T16" fmla="*/ 41 w 93"/>
                    <a:gd name="T17" fmla="*/ 16 h 515"/>
                    <a:gd name="T18" fmla="*/ 34 w 93"/>
                    <a:gd name="T19" fmla="*/ 21 h 515"/>
                    <a:gd name="T20" fmla="*/ 27 w 93"/>
                    <a:gd name="T21" fmla="*/ 27 h 515"/>
                    <a:gd name="T22" fmla="*/ 21 w 93"/>
                    <a:gd name="T23" fmla="*/ 33 h 515"/>
                    <a:gd name="T24" fmla="*/ 16 w 93"/>
                    <a:gd name="T25" fmla="*/ 41 h 515"/>
                    <a:gd name="T26" fmla="*/ 11 w 93"/>
                    <a:gd name="T27" fmla="*/ 49 h 515"/>
                    <a:gd name="T28" fmla="*/ 8 w 93"/>
                    <a:gd name="T29" fmla="*/ 56 h 515"/>
                    <a:gd name="T30" fmla="*/ 4 w 93"/>
                    <a:gd name="T31" fmla="*/ 65 h 515"/>
                    <a:gd name="T32" fmla="*/ 2 w 93"/>
                    <a:gd name="T33" fmla="*/ 74 h 515"/>
                    <a:gd name="T34" fmla="*/ 1 w 93"/>
                    <a:gd name="T35" fmla="*/ 83 h 515"/>
                    <a:gd name="T36" fmla="*/ 0 w 93"/>
                    <a:gd name="T37" fmla="*/ 93 h 515"/>
                    <a:gd name="T38" fmla="*/ 0 w 93"/>
                    <a:gd name="T39" fmla="*/ 515 h 515"/>
                    <a:gd name="T40" fmla="*/ 93 w 93"/>
                    <a:gd name="T41" fmla="*/ 515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515">
                      <a:moveTo>
                        <a:pt x="93" y="515"/>
                      </a:moveTo>
                      <a:lnTo>
                        <a:pt x="93" y="0"/>
                      </a:lnTo>
                      <a:lnTo>
                        <a:pt x="93" y="0"/>
                      </a:lnTo>
                      <a:lnTo>
                        <a:pt x="84" y="0"/>
                      </a:lnTo>
                      <a:lnTo>
                        <a:pt x="74" y="1"/>
                      </a:lnTo>
                      <a:lnTo>
                        <a:pt x="65" y="4"/>
                      </a:lnTo>
                      <a:lnTo>
                        <a:pt x="57" y="7"/>
                      </a:lnTo>
                      <a:lnTo>
                        <a:pt x="48" y="11"/>
                      </a:lnTo>
                      <a:lnTo>
                        <a:pt x="41" y="16"/>
                      </a:lnTo>
                      <a:lnTo>
                        <a:pt x="34" y="21"/>
                      </a:lnTo>
                      <a:lnTo>
                        <a:pt x="27" y="27"/>
                      </a:lnTo>
                      <a:lnTo>
                        <a:pt x="21" y="33"/>
                      </a:lnTo>
                      <a:lnTo>
                        <a:pt x="16" y="41"/>
                      </a:lnTo>
                      <a:lnTo>
                        <a:pt x="11" y="49"/>
                      </a:lnTo>
                      <a:lnTo>
                        <a:pt x="8" y="56"/>
                      </a:lnTo>
                      <a:lnTo>
                        <a:pt x="4" y="65"/>
                      </a:lnTo>
                      <a:lnTo>
                        <a:pt x="2" y="74"/>
                      </a:lnTo>
                      <a:lnTo>
                        <a:pt x="1" y="83"/>
                      </a:lnTo>
                      <a:lnTo>
                        <a:pt x="0" y="93"/>
                      </a:lnTo>
                      <a:lnTo>
                        <a:pt x="0" y="515"/>
                      </a:lnTo>
                      <a:lnTo>
                        <a:pt x="93" y="5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1" name="Rectangle 416"/>
                <p:cNvSpPr>
                  <a:spLocks noChangeArrowheads="1"/>
                </p:cNvSpPr>
                <p:nvPr userDrawn="1"/>
              </p:nvSpPr>
              <p:spPr bwMode="auto">
                <a:xfrm>
                  <a:off x="10330996" y="4307974"/>
                  <a:ext cx="74613" cy="192088"/>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2" name="Rectangle 417"/>
                <p:cNvSpPr>
                  <a:spLocks noChangeArrowheads="1"/>
                </p:cNvSpPr>
                <p:nvPr userDrawn="1"/>
              </p:nvSpPr>
              <p:spPr bwMode="auto">
                <a:xfrm>
                  <a:off x="10330996" y="4307974"/>
                  <a:ext cx="74613" cy="1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3" name="Rectangle 418"/>
                <p:cNvSpPr>
                  <a:spLocks noChangeArrowheads="1"/>
                </p:cNvSpPr>
                <p:nvPr userDrawn="1"/>
              </p:nvSpPr>
              <p:spPr bwMode="auto">
                <a:xfrm>
                  <a:off x="10405608" y="4307974"/>
                  <a:ext cx="74613" cy="192088"/>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4" name="Rectangle 419"/>
                <p:cNvSpPr>
                  <a:spLocks noChangeArrowheads="1"/>
                </p:cNvSpPr>
                <p:nvPr userDrawn="1"/>
              </p:nvSpPr>
              <p:spPr bwMode="auto">
                <a:xfrm>
                  <a:off x="10405608" y="4307974"/>
                  <a:ext cx="74613" cy="1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5" name="Freeform 420"/>
                <p:cNvSpPr>
                  <a:spLocks/>
                </p:cNvSpPr>
                <p:nvPr userDrawn="1"/>
              </p:nvSpPr>
              <p:spPr bwMode="auto">
                <a:xfrm>
                  <a:off x="10405608" y="4434974"/>
                  <a:ext cx="100013" cy="100013"/>
                </a:xfrm>
                <a:custGeom>
                  <a:avLst/>
                  <a:gdLst>
                    <a:gd name="T0" fmla="*/ 125 w 125"/>
                    <a:gd name="T1" fmla="*/ 125 h 125"/>
                    <a:gd name="T2" fmla="*/ 125 w 125"/>
                    <a:gd name="T3" fmla="*/ 125 h 125"/>
                    <a:gd name="T4" fmla="*/ 125 w 125"/>
                    <a:gd name="T5" fmla="*/ 112 h 125"/>
                    <a:gd name="T6" fmla="*/ 123 w 125"/>
                    <a:gd name="T7" fmla="*/ 100 h 125"/>
                    <a:gd name="T8" fmla="*/ 121 w 125"/>
                    <a:gd name="T9" fmla="*/ 88 h 125"/>
                    <a:gd name="T10" fmla="*/ 116 w 125"/>
                    <a:gd name="T11" fmla="*/ 76 h 125"/>
                    <a:gd name="T12" fmla="*/ 111 w 125"/>
                    <a:gd name="T13" fmla="*/ 66 h 125"/>
                    <a:gd name="T14" fmla="*/ 104 w 125"/>
                    <a:gd name="T15" fmla="*/ 55 h 125"/>
                    <a:gd name="T16" fmla="*/ 97 w 125"/>
                    <a:gd name="T17" fmla="*/ 45 h 125"/>
                    <a:gd name="T18" fmla="*/ 88 w 125"/>
                    <a:gd name="T19" fmla="*/ 37 h 125"/>
                    <a:gd name="T20" fmla="*/ 80 w 125"/>
                    <a:gd name="T21" fmla="*/ 29 h 125"/>
                    <a:gd name="T22" fmla="*/ 71 w 125"/>
                    <a:gd name="T23" fmla="*/ 22 h 125"/>
                    <a:gd name="T24" fmla="*/ 60 w 125"/>
                    <a:gd name="T25" fmla="*/ 15 h 125"/>
                    <a:gd name="T26" fmla="*/ 49 w 125"/>
                    <a:gd name="T27" fmla="*/ 10 h 125"/>
                    <a:gd name="T28" fmla="*/ 37 w 125"/>
                    <a:gd name="T29" fmla="*/ 5 h 125"/>
                    <a:gd name="T30" fmla="*/ 25 w 125"/>
                    <a:gd name="T31" fmla="*/ 3 h 125"/>
                    <a:gd name="T32" fmla="*/ 12 w 125"/>
                    <a:gd name="T33" fmla="*/ 0 h 125"/>
                    <a:gd name="T34" fmla="*/ 0 w 125"/>
                    <a:gd name="T35" fmla="*/ 0 h 125"/>
                    <a:gd name="T36" fmla="*/ 0 w 125"/>
                    <a:gd name="T37" fmla="*/ 125 h 125"/>
                    <a:gd name="T38" fmla="*/ 125 w 125"/>
                    <a:gd name="T39"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125">
                      <a:moveTo>
                        <a:pt x="125" y="125"/>
                      </a:moveTo>
                      <a:lnTo>
                        <a:pt x="125" y="125"/>
                      </a:lnTo>
                      <a:lnTo>
                        <a:pt x="125" y="112"/>
                      </a:lnTo>
                      <a:lnTo>
                        <a:pt x="123" y="100"/>
                      </a:lnTo>
                      <a:lnTo>
                        <a:pt x="121" y="88"/>
                      </a:lnTo>
                      <a:lnTo>
                        <a:pt x="116" y="76"/>
                      </a:lnTo>
                      <a:lnTo>
                        <a:pt x="111" y="66"/>
                      </a:lnTo>
                      <a:lnTo>
                        <a:pt x="104" y="55"/>
                      </a:lnTo>
                      <a:lnTo>
                        <a:pt x="97" y="45"/>
                      </a:lnTo>
                      <a:lnTo>
                        <a:pt x="88" y="37"/>
                      </a:lnTo>
                      <a:lnTo>
                        <a:pt x="80" y="29"/>
                      </a:lnTo>
                      <a:lnTo>
                        <a:pt x="71" y="22"/>
                      </a:lnTo>
                      <a:lnTo>
                        <a:pt x="60" y="15"/>
                      </a:lnTo>
                      <a:lnTo>
                        <a:pt x="49" y="10"/>
                      </a:lnTo>
                      <a:lnTo>
                        <a:pt x="37" y="5"/>
                      </a:lnTo>
                      <a:lnTo>
                        <a:pt x="25" y="3"/>
                      </a:lnTo>
                      <a:lnTo>
                        <a:pt x="12" y="0"/>
                      </a:lnTo>
                      <a:lnTo>
                        <a:pt x="0" y="0"/>
                      </a:lnTo>
                      <a:lnTo>
                        <a:pt x="0" y="125"/>
                      </a:lnTo>
                      <a:lnTo>
                        <a:pt x="125" y="125"/>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6" name="Freeform 421"/>
                <p:cNvSpPr>
                  <a:spLocks/>
                </p:cNvSpPr>
                <p:nvPr userDrawn="1"/>
              </p:nvSpPr>
              <p:spPr bwMode="auto">
                <a:xfrm>
                  <a:off x="10305596" y="4434974"/>
                  <a:ext cx="100013" cy="100013"/>
                </a:xfrm>
                <a:custGeom>
                  <a:avLst/>
                  <a:gdLst>
                    <a:gd name="T0" fmla="*/ 126 w 126"/>
                    <a:gd name="T1" fmla="*/ 0 h 125"/>
                    <a:gd name="T2" fmla="*/ 126 w 126"/>
                    <a:gd name="T3" fmla="*/ 0 h 125"/>
                    <a:gd name="T4" fmla="*/ 113 w 126"/>
                    <a:gd name="T5" fmla="*/ 0 h 125"/>
                    <a:gd name="T6" fmla="*/ 100 w 126"/>
                    <a:gd name="T7" fmla="*/ 3 h 125"/>
                    <a:gd name="T8" fmla="*/ 88 w 126"/>
                    <a:gd name="T9" fmla="*/ 5 h 125"/>
                    <a:gd name="T10" fmla="*/ 77 w 126"/>
                    <a:gd name="T11" fmla="*/ 10 h 125"/>
                    <a:gd name="T12" fmla="*/ 66 w 126"/>
                    <a:gd name="T13" fmla="*/ 15 h 125"/>
                    <a:gd name="T14" fmla="*/ 55 w 126"/>
                    <a:gd name="T15" fmla="*/ 22 h 125"/>
                    <a:gd name="T16" fmla="*/ 46 w 126"/>
                    <a:gd name="T17" fmla="*/ 29 h 125"/>
                    <a:gd name="T18" fmla="*/ 37 w 126"/>
                    <a:gd name="T19" fmla="*/ 37 h 125"/>
                    <a:gd name="T20" fmla="*/ 29 w 126"/>
                    <a:gd name="T21" fmla="*/ 45 h 125"/>
                    <a:gd name="T22" fmla="*/ 22 w 126"/>
                    <a:gd name="T23" fmla="*/ 55 h 125"/>
                    <a:gd name="T24" fmla="*/ 16 w 126"/>
                    <a:gd name="T25" fmla="*/ 66 h 125"/>
                    <a:gd name="T26" fmla="*/ 10 w 126"/>
                    <a:gd name="T27" fmla="*/ 76 h 125"/>
                    <a:gd name="T28" fmla="*/ 6 w 126"/>
                    <a:gd name="T29" fmla="*/ 88 h 125"/>
                    <a:gd name="T30" fmla="*/ 3 w 126"/>
                    <a:gd name="T31" fmla="*/ 100 h 125"/>
                    <a:gd name="T32" fmla="*/ 0 w 126"/>
                    <a:gd name="T33" fmla="*/ 112 h 125"/>
                    <a:gd name="T34" fmla="*/ 0 w 126"/>
                    <a:gd name="T35" fmla="*/ 125 h 125"/>
                    <a:gd name="T36" fmla="*/ 126 w 126"/>
                    <a:gd name="T37" fmla="*/ 125 h 125"/>
                    <a:gd name="T38" fmla="*/ 126 w 126"/>
                    <a:gd name="T39"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 h="125">
                      <a:moveTo>
                        <a:pt x="126" y="0"/>
                      </a:moveTo>
                      <a:lnTo>
                        <a:pt x="126" y="0"/>
                      </a:lnTo>
                      <a:lnTo>
                        <a:pt x="113" y="0"/>
                      </a:lnTo>
                      <a:lnTo>
                        <a:pt x="100" y="3"/>
                      </a:lnTo>
                      <a:lnTo>
                        <a:pt x="88" y="5"/>
                      </a:lnTo>
                      <a:lnTo>
                        <a:pt x="77" y="10"/>
                      </a:lnTo>
                      <a:lnTo>
                        <a:pt x="66" y="15"/>
                      </a:lnTo>
                      <a:lnTo>
                        <a:pt x="55" y="22"/>
                      </a:lnTo>
                      <a:lnTo>
                        <a:pt x="46" y="29"/>
                      </a:lnTo>
                      <a:lnTo>
                        <a:pt x="37" y="37"/>
                      </a:lnTo>
                      <a:lnTo>
                        <a:pt x="29" y="45"/>
                      </a:lnTo>
                      <a:lnTo>
                        <a:pt x="22" y="55"/>
                      </a:lnTo>
                      <a:lnTo>
                        <a:pt x="16" y="66"/>
                      </a:lnTo>
                      <a:lnTo>
                        <a:pt x="10" y="76"/>
                      </a:lnTo>
                      <a:lnTo>
                        <a:pt x="6" y="88"/>
                      </a:lnTo>
                      <a:lnTo>
                        <a:pt x="3" y="100"/>
                      </a:lnTo>
                      <a:lnTo>
                        <a:pt x="0" y="112"/>
                      </a:lnTo>
                      <a:lnTo>
                        <a:pt x="0" y="125"/>
                      </a:lnTo>
                      <a:lnTo>
                        <a:pt x="126" y="125"/>
                      </a:lnTo>
                      <a:lnTo>
                        <a:pt x="1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7" name="Freeform 422"/>
                <p:cNvSpPr>
                  <a:spLocks/>
                </p:cNvSpPr>
                <p:nvPr userDrawn="1"/>
              </p:nvSpPr>
              <p:spPr bwMode="auto">
                <a:xfrm>
                  <a:off x="10305596" y="4534986"/>
                  <a:ext cx="100013" cy="100013"/>
                </a:xfrm>
                <a:custGeom>
                  <a:avLst/>
                  <a:gdLst>
                    <a:gd name="T0" fmla="*/ 0 w 126"/>
                    <a:gd name="T1" fmla="*/ 0 h 126"/>
                    <a:gd name="T2" fmla="*/ 0 w 126"/>
                    <a:gd name="T3" fmla="*/ 0 h 126"/>
                    <a:gd name="T4" fmla="*/ 0 w 126"/>
                    <a:gd name="T5" fmla="*/ 13 h 126"/>
                    <a:gd name="T6" fmla="*/ 3 w 126"/>
                    <a:gd name="T7" fmla="*/ 26 h 126"/>
                    <a:gd name="T8" fmla="*/ 6 w 126"/>
                    <a:gd name="T9" fmla="*/ 38 h 126"/>
                    <a:gd name="T10" fmla="*/ 10 w 126"/>
                    <a:gd name="T11" fmla="*/ 49 h 126"/>
                    <a:gd name="T12" fmla="*/ 16 w 126"/>
                    <a:gd name="T13" fmla="*/ 61 h 126"/>
                    <a:gd name="T14" fmla="*/ 22 w 126"/>
                    <a:gd name="T15" fmla="*/ 70 h 126"/>
                    <a:gd name="T16" fmla="*/ 29 w 126"/>
                    <a:gd name="T17" fmla="*/ 81 h 126"/>
                    <a:gd name="T18" fmla="*/ 37 w 126"/>
                    <a:gd name="T19" fmla="*/ 89 h 126"/>
                    <a:gd name="T20" fmla="*/ 46 w 126"/>
                    <a:gd name="T21" fmla="*/ 98 h 126"/>
                    <a:gd name="T22" fmla="*/ 55 w 126"/>
                    <a:gd name="T23" fmla="*/ 105 h 126"/>
                    <a:gd name="T24" fmla="*/ 66 w 126"/>
                    <a:gd name="T25" fmla="*/ 111 h 126"/>
                    <a:gd name="T26" fmla="*/ 77 w 126"/>
                    <a:gd name="T27" fmla="*/ 117 h 126"/>
                    <a:gd name="T28" fmla="*/ 88 w 126"/>
                    <a:gd name="T29" fmla="*/ 120 h 126"/>
                    <a:gd name="T30" fmla="*/ 100 w 126"/>
                    <a:gd name="T31" fmla="*/ 124 h 126"/>
                    <a:gd name="T32" fmla="*/ 113 w 126"/>
                    <a:gd name="T33" fmla="*/ 125 h 126"/>
                    <a:gd name="T34" fmla="*/ 126 w 126"/>
                    <a:gd name="T35" fmla="*/ 126 h 126"/>
                    <a:gd name="T36" fmla="*/ 126 w 126"/>
                    <a:gd name="T37" fmla="*/ 0 h 126"/>
                    <a:gd name="T38" fmla="*/ 0 w 126"/>
                    <a:gd name="T3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 h="126">
                      <a:moveTo>
                        <a:pt x="0" y="0"/>
                      </a:moveTo>
                      <a:lnTo>
                        <a:pt x="0" y="0"/>
                      </a:lnTo>
                      <a:lnTo>
                        <a:pt x="0" y="13"/>
                      </a:lnTo>
                      <a:lnTo>
                        <a:pt x="3" y="26"/>
                      </a:lnTo>
                      <a:lnTo>
                        <a:pt x="6" y="38"/>
                      </a:lnTo>
                      <a:lnTo>
                        <a:pt x="10" y="49"/>
                      </a:lnTo>
                      <a:lnTo>
                        <a:pt x="16" y="61"/>
                      </a:lnTo>
                      <a:lnTo>
                        <a:pt x="22" y="70"/>
                      </a:lnTo>
                      <a:lnTo>
                        <a:pt x="29" y="81"/>
                      </a:lnTo>
                      <a:lnTo>
                        <a:pt x="37" y="89"/>
                      </a:lnTo>
                      <a:lnTo>
                        <a:pt x="46" y="98"/>
                      </a:lnTo>
                      <a:lnTo>
                        <a:pt x="55" y="105"/>
                      </a:lnTo>
                      <a:lnTo>
                        <a:pt x="66" y="111"/>
                      </a:lnTo>
                      <a:lnTo>
                        <a:pt x="77" y="117"/>
                      </a:lnTo>
                      <a:lnTo>
                        <a:pt x="88" y="120"/>
                      </a:lnTo>
                      <a:lnTo>
                        <a:pt x="100" y="124"/>
                      </a:lnTo>
                      <a:lnTo>
                        <a:pt x="113" y="125"/>
                      </a:lnTo>
                      <a:lnTo>
                        <a:pt x="126" y="126"/>
                      </a:lnTo>
                      <a:lnTo>
                        <a:pt x="126" y="0"/>
                      </a:lnTo>
                      <a:lnTo>
                        <a:pt x="0" y="0"/>
                      </a:lnTo>
                      <a:close/>
                    </a:path>
                  </a:pathLst>
                </a:custGeom>
                <a:solidFill>
                  <a:srgbClr val="A5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8" name="Freeform 423"/>
                <p:cNvSpPr>
                  <a:spLocks/>
                </p:cNvSpPr>
                <p:nvPr userDrawn="1"/>
              </p:nvSpPr>
              <p:spPr bwMode="auto">
                <a:xfrm>
                  <a:off x="10405608" y="4534986"/>
                  <a:ext cx="100013" cy="100013"/>
                </a:xfrm>
                <a:custGeom>
                  <a:avLst/>
                  <a:gdLst>
                    <a:gd name="T0" fmla="*/ 0 w 125"/>
                    <a:gd name="T1" fmla="*/ 0 h 126"/>
                    <a:gd name="T2" fmla="*/ 0 w 125"/>
                    <a:gd name="T3" fmla="*/ 126 h 126"/>
                    <a:gd name="T4" fmla="*/ 0 w 125"/>
                    <a:gd name="T5" fmla="*/ 126 h 126"/>
                    <a:gd name="T6" fmla="*/ 12 w 125"/>
                    <a:gd name="T7" fmla="*/ 125 h 126"/>
                    <a:gd name="T8" fmla="*/ 25 w 125"/>
                    <a:gd name="T9" fmla="*/ 124 h 126"/>
                    <a:gd name="T10" fmla="*/ 37 w 125"/>
                    <a:gd name="T11" fmla="*/ 120 h 126"/>
                    <a:gd name="T12" fmla="*/ 49 w 125"/>
                    <a:gd name="T13" fmla="*/ 117 h 126"/>
                    <a:gd name="T14" fmla="*/ 60 w 125"/>
                    <a:gd name="T15" fmla="*/ 111 h 126"/>
                    <a:gd name="T16" fmla="*/ 71 w 125"/>
                    <a:gd name="T17" fmla="*/ 105 h 126"/>
                    <a:gd name="T18" fmla="*/ 80 w 125"/>
                    <a:gd name="T19" fmla="*/ 98 h 126"/>
                    <a:gd name="T20" fmla="*/ 88 w 125"/>
                    <a:gd name="T21" fmla="*/ 89 h 126"/>
                    <a:gd name="T22" fmla="*/ 97 w 125"/>
                    <a:gd name="T23" fmla="*/ 81 h 126"/>
                    <a:gd name="T24" fmla="*/ 104 w 125"/>
                    <a:gd name="T25" fmla="*/ 70 h 126"/>
                    <a:gd name="T26" fmla="*/ 111 w 125"/>
                    <a:gd name="T27" fmla="*/ 61 h 126"/>
                    <a:gd name="T28" fmla="*/ 116 w 125"/>
                    <a:gd name="T29" fmla="*/ 49 h 126"/>
                    <a:gd name="T30" fmla="*/ 121 w 125"/>
                    <a:gd name="T31" fmla="*/ 38 h 126"/>
                    <a:gd name="T32" fmla="*/ 123 w 125"/>
                    <a:gd name="T33" fmla="*/ 26 h 126"/>
                    <a:gd name="T34" fmla="*/ 125 w 125"/>
                    <a:gd name="T35" fmla="*/ 13 h 126"/>
                    <a:gd name="T36" fmla="*/ 125 w 125"/>
                    <a:gd name="T37" fmla="*/ 0 h 126"/>
                    <a:gd name="T38" fmla="*/ 0 w 125"/>
                    <a:gd name="T3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126">
                      <a:moveTo>
                        <a:pt x="0" y="0"/>
                      </a:moveTo>
                      <a:lnTo>
                        <a:pt x="0" y="126"/>
                      </a:lnTo>
                      <a:lnTo>
                        <a:pt x="0" y="126"/>
                      </a:lnTo>
                      <a:lnTo>
                        <a:pt x="12" y="125"/>
                      </a:lnTo>
                      <a:lnTo>
                        <a:pt x="25" y="124"/>
                      </a:lnTo>
                      <a:lnTo>
                        <a:pt x="37" y="120"/>
                      </a:lnTo>
                      <a:lnTo>
                        <a:pt x="49" y="117"/>
                      </a:lnTo>
                      <a:lnTo>
                        <a:pt x="60" y="111"/>
                      </a:lnTo>
                      <a:lnTo>
                        <a:pt x="71" y="105"/>
                      </a:lnTo>
                      <a:lnTo>
                        <a:pt x="80" y="98"/>
                      </a:lnTo>
                      <a:lnTo>
                        <a:pt x="88" y="89"/>
                      </a:lnTo>
                      <a:lnTo>
                        <a:pt x="97" y="81"/>
                      </a:lnTo>
                      <a:lnTo>
                        <a:pt x="104" y="70"/>
                      </a:lnTo>
                      <a:lnTo>
                        <a:pt x="111" y="61"/>
                      </a:lnTo>
                      <a:lnTo>
                        <a:pt x="116" y="49"/>
                      </a:lnTo>
                      <a:lnTo>
                        <a:pt x="121" y="38"/>
                      </a:lnTo>
                      <a:lnTo>
                        <a:pt x="123" y="26"/>
                      </a:lnTo>
                      <a:lnTo>
                        <a:pt x="125" y="13"/>
                      </a:lnTo>
                      <a:lnTo>
                        <a:pt x="125" y="0"/>
                      </a:lnTo>
                      <a:lnTo>
                        <a:pt x="0" y="0"/>
                      </a:lnTo>
                      <a:close/>
                    </a:path>
                  </a:pathLst>
                </a:custGeom>
                <a:solidFill>
                  <a:srgbClr val="D6D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599" name="Freeform 424"/>
                <p:cNvSpPr>
                  <a:spLocks/>
                </p:cNvSpPr>
                <p:nvPr userDrawn="1"/>
              </p:nvSpPr>
              <p:spPr bwMode="auto">
                <a:xfrm>
                  <a:off x="10137321" y="4307974"/>
                  <a:ext cx="193675" cy="65088"/>
                </a:xfrm>
                <a:custGeom>
                  <a:avLst/>
                  <a:gdLst>
                    <a:gd name="T0" fmla="*/ 220 w 244"/>
                    <a:gd name="T1" fmla="*/ 82 h 82"/>
                    <a:gd name="T2" fmla="*/ 0 w 244"/>
                    <a:gd name="T3" fmla="*/ 82 h 82"/>
                    <a:gd name="T4" fmla="*/ 0 w 244"/>
                    <a:gd name="T5" fmla="*/ 0 h 82"/>
                    <a:gd name="T6" fmla="*/ 244 w 244"/>
                    <a:gd name="T7" fmla="*/ 0 h 82"/>
                    <a:gd name="T8" fmla="*/ 220 w 244"/>
                    <a:gd name="T9" fmla="*/ 82 h 82"/>
                  </a:gdLst>
                  <a:ahLst/>
                  <a:cxnLst>
                    <a:cxn ang="0">
                      <a:pos x="T0" y="T1"/>
                    </a:cxn>
                    <a:cxn ang="0">
                      <a:pos x="T2" y="T3"/>
                    </a:cxn>
                    <a:cxn ang="0">
                      <a:pos x="T4" y="T5"/>
                    </a:cxn>
                    <a:cxn ang="0">
                      <a:pos x="T6" y="T7"/>
                    </a:cxn>
                    <a:cxn ang="0">
                      <a:pos x="T8" y="T9"/>
                    </a:cxn>
                  </a:cxnLst>
                  <a:rect l="0" t="0" r="r" b="b"/>
                  <a:pathLst>
                    <a:path w="244" h="82">
                      <a:moveTo>
                        <a:pt x="220" y="82"/>
                      </a:moveTo>
                      <a:lnTo>
                        <a:pt x="0" y="82"/>
                      </a:lnTo>
                      <a:lnTo>
                        <a:pt x="0" y="0"/>
                      </a:lnTo>
                      <a:lnTo>
                        <a:pt x="244" y="0"/>
                      </a:lnTo>
                      <a:lnTo>
                        <a:pt x="220" y="82"/>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0" name="Freeform 425"/>
                <p:cNvSpPr>
                  <a:spLocks/>
                </p:cNvSpPr>
                <p:nvPr userDrawn="1"/>
              </p:nvSpPr>
              <p:spPr bwMode="auto">
                <a:xfrm>
                  <a:off x="10137321" y="4307974"/>
                  <a:ext cx="193675" cy="65088"/>
                </a:xfrm>
                <a:custGeom>
                  <a:avLst/>
                  <a:gdLst>
                    <a:gd name="T0" fmla="*/ 220 w 244"/>
                    <a:gd name="T1" fmla="*/ 82 h 82"/>
                    <a:gd name="T2" fmla="*/ 0 w 244"/>
                    <a:gd name="T3" fmla="*/ 82 h 82"/>
                    <a:gd name="T4" fmla="*/ 0 w 244"/>
                    <a:gd name="T5" fmla="*/ 0 h 82"/>
                    <a:gd name="T6" fmla="*/ 244 w 244"/>
                    <a:gd name="T7" fmla="*/ 0 h 82"/>
                    <a:gd name="T8" fmla="*/ 220 w 244"/>
                    <a:gd name="T9" fmla="*/ 82 h 82"/>
                  </a:gdLst>
                  <a:ahLst/>
                  <a:cxnLst>
                    <a:cxn ang="0">
                      <a:pos x="T0" y="T1"/>
                    </a:cxn>
                    <a:cxn ang="0">
                      <a:pos x="T2" y="T3"/>
                    </a:cxn>
                    <a:cxn ang="0">
                      <a:pos x="T4" y="T5"/>
                    </a:cxn>
                    <a:cxn ang="0">
                      <a:pos x="T6" y="T7"/>
                    </a:cxn>
                    <a:cxn ang="0">
                      <a:pos x="T8" y="T9"/>
                    </a:cxn>
                  </a:cxnLst>
                  <a:rect l="0" t="0" r="r" b="b"/>
                  <a:pathLst>
                    <a:path w="244" h="82">
                      <a:moveTo>
                        <a:pt x="220" y="82"/>
                      </a:moveTo>
                      <a:lnTo>
                        <a:pt x="0" y="82"/>
                      </a:lnTo>
                      <a:lnTo>
                        <a:pt x="0" y="0"/>
                      </a:lnTo>
                      <a:lnTo>
                        <a:pt x="244" y="0"/>
                      </a:lnTo>
                      <a:lnTo>
                        <a:pt x="220" y="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1" name="Freeform 426"/>
                <p:cNvSpPr>
                  <a:spLocks/>
                </p:cNvSpPr>
                <p:nvPr userDrawn="1"/>
              </p:nvSpPr>
              <p:spPr bwMode="auto">
                <a:xfrm>
                  <a:off x="10157958" y="4652461"/>
                  <a:ext cx="190500" cy="58738"/>
                </a:xfrm>
                <a:custGeom>
                  <a:avLst/>
                  <a:gdLst>
                    <a:gd name="T0" fmla="*/ 232 w 239"/>
                    <a:gd name="T1" fmla="*/ 0 h 74"/>
                    <a:gd name="T2" fmla="*/ 0 w 239"/>
                    <a:gd name="T3" fmla="*/ 0 h 74"/>
                    <a:gd name="T4" fmla="*/ 13 w 239"/>
                    <a:gd name="T5" fmla="*/ 74 h 74"/>
                    <a:gd name="T6" fmla="*/ 239 w 239"/>
                    <a:gd name="T7" fmla="*/ 74 h 74"/>
                    <a:gd name="T8" fmla="*/ 232 w 239"/>
                    <a:gd name="T9" fmla="*/ 0 h 74"/>
                  </a:gdLst>
                  <a:ahLst/>
                  <a:cxnLst>
                    <a:cxn ang="0">
                      <a:pos x="T0" y="T1"/>
                    </a:cxn>
                    <a:cxn ang="0">
                      <a:pos x="T2" y="T3"/>
                    </a:cxn>
                    <a:cxn ang="0">
                      <a:pos x="T4" y="T5"/>
                    </a:cxn>
                    <a:cxn ang="0">
                      <a:pos x="T6" y="T7"/>
                    </a:cxn>
                    <a:cxn ang="0">
                      <a:pos x="T8" y="T9"/>
                    </a:cxn>
                  </a:cxnLst>
                  <a:rect l="0" t="0" r="r" b="b"/>
                  <a:pathLst>
                    <a:path w="239" h="74">
                      <a:moveTo>
                        <a:pt x="232" y="0"/>
                      </a:moveTo>
                      <a:lnTo>
                        <a:pt x="0" y="0"/>
                      </a:lnTo>
                      <a:lnTo>
                        <a:pt x="13" y="74"/>
                      </a:lnTo>
                      <a:lnTo>
                        <a:pt x="239" y="74"/>
                      </a:lnTo>
                      <a:lnTo>
                        <a:pt x="232" y="0"/>
                      </a:lnTo>
                      <a:close/>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2" name="Freeform 427"/>
                <p:cNvSpPr>
                  <a:spLocks/>
                </p:cNvSpPr>
                <p:nvPr userDrawn="1"/>
              </p:nvSpPr>
              <p:spPr bwMode="auto">
                <a:xfrm>
                  <a:off x="10157958" y="4652461"/>
                  <a:ext cx="190500" cy="58738"/>
                </a:xfrm>
                <a:custGeom>
                  <a:avLst/>
                  <a:gdLst>
                    <a:gd name="T0" fmla="*/ 232 w 239"/>
                    <a:gd name="T1" fmla="*/ 0 h 74"/>
                    <a:gd name="T2" fmla="*/ 0 w 239"/>
                    <a:gd name="T3" fmla="*/ 0 h 74"/>
                    <a:gd name="T4" fmla="*/ 13 w 239"/>
                    <a:gd name="T5" fmla="*/ 74 h 74"/>
                    <a:gd name="T6" fmla="*/ 239 w 239"/>
                    <a:gd name="T7" fmla="*/ 74 h 74"/>
                    <a:gd name="T8" fmla="*/ 232 w 239"/>
                    <a:gd name="T9" fmla="*/ 0 h 74"/>
                  </a:gdLst>
                  <a:ahLst/>
                  <a:cxnLst>
                    <a:cxn ang="0">
                      <a:pos x="T0" y="T1"/>
                    </a:cxn>
                    <a:cxn ang="0">
                      <a:pos x="T2" y="T3"/>
                    </a:cxn>
                    <a:cxn ang="0">
                      <a:pos x="T4" y="T5"/>
                    </a:cxn>
                    <a:cxn ang="0">
                      <a:pos x="T6" y="T7"/>
                    </a:cxn>
                    <a:cxn ang="0">
                      <a:pos x="T8" y="T9"/>
                    </a:cxn>
                  </a:cxnLst>
                  <a:rect l="0" t="0" r="r" b="b"/>
                  <a:pathLst>
                    <a:path w="239" h="74">
                      <a:moveTo>
                        <a:pt x="232" y="0"/>
                      </a:moveTo>
                      <a:lnTo>
                        <a:pt x="0" y="0"/>
                      </a:lnTo>
                      <a:lnTo>
                        <a:pt x="13" y="74"/>
                      </a:lnTo>
                      <a:lnTo>
                        <a:pt x="239" y="74"/>
                      </a:lnTo>
                      <a:lnTo>
                        <a:pt x="2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3" name="Rectangle 428"/>
                <p:cNvSpPr>
                  <a:spLocks noChangeArrowheads="1"/>
                </p:cNvSpPr>
                <p:nvPr userDrawn="1"/>
              </p:nvSpPr>
              <p:spPr bwMode="auto">
                <a:xfrm>
                  <a:off x="10169071" y="4711199"/>
                  <a:ext cx="179388" cy="261938"/>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4" name="Freeform 429"/>
                <p:cNvSpPr>
                  <a:spLocks/>
                </p:cNvSpPr>
                <p:nvPr userDrawn="1"/>
              </p:nvSpPr>
              <p:spPr bwMode="auto">
                <a:xfrm>
                  <a:off x="10154783" y="4874711"/>
                  <a:ext cx="158750" cy="158750"/>
                </a:xfrm>
                <a:custGeom>
                  <a:avLst/>
                  <a:gdLst>
                    <a:gd name="T0" fmla="*/ 0 w 201"/>
                    <a:gd name="T1" fmla="*/ 201 h 201"/>
                    <a:gd name="T2" fmla="*/ 0 w 201"/>
                    <a:gd name="T3" fmla="*/ 201 h 201"/>
                    <a:gd name="T4" fmla="*/ 1 w 201"/>
                    <a:gd name="T5" fmla="*/ 181 h 201"/>
                    <a:gd name="T6" fmla="*/ 4 w 201"/>
                    <a:gd name="T7" fmla="*/ 161 h 201"/>
                    <a:gd name="T8" fmla="*/ 8 w 201"/>
                    <a:gd name="T9" fmla="*/ 142 h 201"/>
                    <a:gd name="T10" fmla="*/ 15 w 201"/>
                    <a:gd name="T11" fmla="*/ 123 h 201"/>
                    <a:gd name="T12" fmla="*/ 24 w 201"/>
                    <a:gd name="T13" fmla="*/ 105 h 201"/>
                    <a:gd name="T14" fmla="*/ 35 w 201"/>
                    <a:gd name="T15" fmla="*/ 88 h 201"/>
                    <a:gd name="T16" fmla="*/ 45 w 201"/>
                    <a:gd name="T17" fmla="*/ 73 h 201"/>
                    <a:gd name="T18" fmla="*/ 58 w 201"/>
                    <a:gd name="T19" fmla="*/ 58 h 201"/>
                    <a:gd name="T20" fmla="*/ 73 w 201"/>
                    <a:gd name="T21" fmla="*/ 46 h 201"/>
                    <a:gd name="T22" fmla="*/ 88 w 201"/>
                    <a:gd name="T23" fmla="*/ 35 h 201"/>
                    <a:gd name="T24" fmla="*/ 105 w 201"/>
                    <a:gd name="T25" fmla="*/ 24 h 201"/>
                    <a:gd name="T26" fmla="*/ 122 w 201"/>
                    <a:gd name="T27" fmla="*/ 16 h 201"/>
                    <a:gd name="T28" fmla="*/ 140 w 201"/>
                    <a:gd name="T29" fmla="*/ 10 h 201"/>
                    <a:gd name="T30" fmla="*/ 161 w 201"/>
                    <a:gd name="T31" fmla="*/ 4 h 201"/>
                    <a:gd name="T32" fmla="*/ 180 w 201"/>
                    <a:gd name="T33" fmla="*/ 1 h 201"/>
                    <a:gd name="T34" fmla="*/ 201 w 201"/>
                    <a:gd name="T35" fmla="*/ 0 h 201"/>
                    <a:gd name="T36" fmla="*/ 201 w 201"/>
                    <a:gd name="T37" fmla="*/ 201 h 201"/>
                    <a:gd name="T38" fmla="*/ 0 w 201"/>
                    <a:gd name="T39"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1" h="201">
                      <a:moveTo>
                        <a:pt x="0" y="201"/>
                      </a:moveTo>
                      <a:lnTo>
                        <a:pt x="0" y="201"/>
                      </a:lnTo>
                      <a:lnTo>
                        <a:pt x="1" y="181"/>
                      </a:lnTo>
                      <a:lnTo>
                        <a:pt x="4" y="161"/>
                      </a:lnTo>
                      <a:lnTo>
                        <a:pt x="8" y="142"/>
                      </a:lnTo>
                      <a:lnTo>
                        <a:pt x="15" y="123"/>
                      </a:lnTo>
                      <a:lnTo>
                        <a:pt x="24" y="105"/>
                      </a:lnTo>
                      <a:lnTo>
                        <a:pt x="35" y="88"/>
                      </a:lnTo>
                      <a:lnTo>
                        <a:pt x="45" y="73"/>
                      </a:lnTo>
                      <a:lnTo>
                        <a:pt x="58" y="58"/>
                      </a:lnTo>
                      <a:lnTo>
                        <a:pt x="73" y="46"/>
                      </a:lnTo>
                      <a:lnTo>
                        <a:pt x="88" y="35"/>
                      </a:lnTo>
                      <a:lnTo>
                        <a:pt x="105" y="24"/>
                      </a:lnTo>
                      <a:lnTo>
                        <a:pt x="122" y="16"/>
                      </a:lnTo>
                      <a:lnTo>
                        <a:pt x="140" y="10"/>
                      </a:lnTo>
                      <a:lnTo>
                        <a:pt x="161" y="4"/>
                      </a:lnTo>
                      <a:lnTo>
                        <a:pt x="180" y="1"/>
                      </a:lnTo>
                      <a:lnTo>
                        <a:pt x="201" y="0"/>
                      </a:lnTo>
                      <a:lnTo>
                        <a:pt x="201" y="201"/>
                      </a:lnTo>
                      <a:lnTo>
                        <a:pt x="0" y="20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5" name="Freeform 430"/>
                <p:cNvSpPr>
                  <a:spLocks/>
                </p:cNvSpPr>
                <p:nvPr userDrawn="1"/>
              </p:nvSpPr>
              <p:spPr bwMode="auto">
                <a:xfrm>
                  <a:off x="10313533" y="4874711"/>
                  <a:ext cx="158750" cy="158750"/>
                </a:xfrm>
                <a:custGeom>
                  <a:avLst/>
                  <a:gdLst>
                    <a:gd name="T0" fmla="*/ 0 w 201"/>
                    <a:gd name="T1" fmla="*/ 0 h 201"/>
                    <a:gd name="T2" fmla="*/ 0 w 201"/>
                    <a:gd name="T3" fmla="*/ 0 h 201"/>
                    <a:gd name="T4" fmla="*/ 20 w 201"/>
                    <a:gd name="T5" fmla="*/ 1 h 201"/>
                    <a:gd name="T6" fmla="*/ 40 w 201"/>
                    <a:gd name="T7" fmla="*/ 4 h 201"/>
                    <a:gd name="T8" fmla="*/ 59 w 201"/>
                    <a:gd name="T9" fmla="*/ 10 h 201"/>
                    <a:gd name="T10" fmla="*/ 77 w 201"/>
                    <a:gd name="T11" fmla="*/ 16 h 201"/>
                    <a:gd name="T12" fmla="*/ 95 w 201"/>
                    <a:gd name="T13" fmla="*/ 24 h 201"/>
                    <a:gd name="T14" fmla="*/ 112 w 201"/>
                    <a:gd name="T15" fmla="*/ 35 h 201"/>
                    <a:gd name="T16" fmla="*/ 127 w 201"/>
                    <a:gd name="T17" fmla="*/ 46 h 201"/>
                    <a:gd name="T18" fmla="*/ 141 w 201"/>
                    <a:gd name="T19" fmla="*/ 58 h 201"/>
                    <a:gd name="T20" fmla="*/ 155 w 201"/>
                    <a:gd name="T21" fmla="*/ 73 h 201"/>
                    <a:gd name="T22" fmla="*/ 166 w 201"/>
                    <a:gd name="T23" fmla="*/ 88 h 201"/>
                    <a:gd name="T24" fmla="*/ 176 w 201"/>
                    <a:gd name="T25" fmla="*/ 105 h 201"/>
                    <a:gd name="T26" fmla="*/ 184 w 201"/>
                    <a:gd name="T27" fmla="*/ 123 h 201"/>
                    <a:gd name="T28" fmla="*/ 191 w 201"/>
                    <a:gd name="T29" fmla="*/ 142 h 201"/>
                    <a:gd name="T30" fmla="*/ 196 w 201"/>
                    <a:gd name="T31" fmla="*/ 161 h 201"/>
                    <a:gd name="T32" fmla="*/ 200 w 201"/>
                    <a:gd name="T33" fmla="*/ 181 h 201"/>
                    <a:gd name="T34" fmla="*/ 201 w 201"/>
                    <a:gd name="T35" fmla="*/ 201 h 201"/>
                    <a:gd name="T36" fmla="*/ 0 w 201"/>
                    <a:gd name="T37" fmla="*/ 201 h 201"/>
                    <a:gd name="T38" fmla="*/ 0 w 201"/>
                    <a:gd name="T39"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1" h="201">
                      <a:moveTo>
                        <a:pt x="0" y="0"/>
                      </a:moveTo>
                      <a:lnTo>
                        <a:pt x="0" y="0"/>
                      </a:lnTo>
                      <a:lnTo>
                        <a:pt x="20" y="1"/>
                      </a:lnTo>
                      <a:lnTo>
                        <a:pt x="40" y="4"/>
                      </a:lnTo>
                      <a:lnTo>
                        <a:pt x="59" y="10"/>
                      </a:lnTo>
                      <a:lnTo>
                        <a:pt x="77" y="16"/>
                      </a:lnTo>
                      <a:lnTo>
                        <a:pt x="95" y="24"/>
                      </a:lnTo>
                      <a:lnTo>
                        <a:pt x="112" y="35"/>
                      </a:lnTo>
                      <a:lnTo>
                        <a:pt x="127" y="46"/>
                      </a:lnTo>
                      <a:lnTo>
                        <a:pt x="141" y="58"/>
                      </a:lnTo>
                      <a:lnTo>
                        <a:pt x="155" y="73"/>
                      </a:lnTo>
                      <a:lnTo>
                        <a:pt x="166" y="88"/>
                      </a:lnTo>
                      <a:lnTo>
                        <a:pt x="176" y="105"/>
                      </a:lnTo>
                      <a:lnTo>
                        <a:pt x="184" y="123"/>
                      </a:lnTo>
                      <a:lnTo>
                        <a:pt x="191" y="142"/>
                      </a:lnTo>
                      <a:lnTo>
                        <a:pt x="196" y="161"/>
                      </a:lnTo>
                      <a:lnTo>
                        <a:pt x="200" y="181"/>
                      </a:lnTo>
                      <a:lnTo>
                        <a:pt x="201" y="201"/>
                      </a:lnTo>
                      <a:lnTo>
                        <a:pt x="0" y="201"/>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6" name="Freeform 431"/>
                <p:cNvSpPr>
                  <a:spLocks/>
                </p:cNvSpPr>
                <p:nvPr userDrawn="1"/>
              </p:nvSpPr>
              <p:spPr bwMode="auto">
                <a:xfrm>
                  <a:off x="10400846" y="3499936"/>
                  <a:ext cx="174625" cy="133350"/>
                </a:xfrm>
                <a:custGeom>
                  <a:avLst/>
                  <a:gdLst>
                    <a:gd name="T0" fmla="*/ 0 w 218"/>
                    <a:gd name="T1" fmla="*/ 146 h 168"/>
                    <a:gd name="T2" fmla="*/ 0 w 218"/>
                    <a:gd name="T3" fmla="*/ 146 h 168"/>
                    <a:gd name="T4" fmla="*/ 0 w 218"/>
                    <a:gd name="T5" fmla="*/ 150 h 168"/>
                    <a:gd name="T6" fmla="*/ 1 w 218"/>
                    <a:gd name="T7" fmla="*/ 155 h 168"/>
                    <a:gd name="T8" fmla="*/ 3 w 218"/>
                    <a:gd name="T9" fmla="*/ 158 h 168"/>
                    <a:gd name="T10" fmla="*/ 5 w 218"/>
                    <a:gd name="T11" fmla="*/ 162 h 168"/>
                    <a:gd name="T12" fmla="*/ 9 w 218"/>
                    <a:gd name="T13" fmla="*/ 164 h 168"/>
                    <a:gd name="T14" fmla="*/ 13 w 218"/>
                    <a:gd name="T15" fmla="*/ 167 h 168"/>
                    <a:gd name="T16" fmla="*/ 17 w 218"/>
                    <a:gd name="T17" fmla="*/ 168 h 168"/>
                    <a:gd name="T18" fmla="*/ 21 w 218"/>
                    <a:gd name="T19" fmla="*/ 168 h 168"/>
                    <a:gd name="T20" fmla="*/ 196 w 218"/>
                    <a:gd name="T21" fmla="*/ 168 h 168"/>
                    <a:gd name="T22" fmla="*/ 196 w 218"/>
                    <a:gd name="T23" fmla="*/ 168 h 168"/>
                    <a:gd name="T24" fmla="*/ 200 w 218"/>
                    <a:gd name="T25" fmla="*/ 168 h 168"/>
                    <a:gd name="T26" fmla="*/ 205 w 218"/>
                    <a:gd name="T27" fmla="*/ 167 h 168"/>
                    <a:gd name="T28" fmla="*/ 209 w 218"/>
                    <a:gd name="T29" fmla="*/ 164 h 168"/>
                    <a:gd name="T30" fmla="*/ 211 w 218"/>
                    <a:gd name="T31" fmla="*/ 162 h 168"/>
                    <a:gd name="T32" fmla="*/ 215 w 218"/>
                    <a:gd name="T33" fmla="*/ 158 h 168"/>
                    <a:gd name="T34" fmla="*/ 216 w 218"/>
                    <a:gd name="T35" fmla="*/ 155 h 168"/>
                    <a:gd name="T36" fmla="*/ 217 w 218"/>
                    <a:gd name="T37" fmla="*/ 150 h 168"/>
                    <a:gd name="T38" fmla="*/ 218 w 218"/>
                    <a:gd name="T39" fmla="*/ 146 h 168"/>
                    <a:gd name="T40" fmla="*/ 218 w 218"/>
                    <a:gd name="T41" fmla="*/ 22 h 168"/>
                    <a:gd name="T42" fmla="*/ 218 w 218"/>
                    <a:gd name="T43" fmla="*/ 22 h 168"/>
                    <a:gd name="T44" fmla="*/ 217 w 218"/>
                    <a:gd name="T45" fmla="*/ 17 h 168"/>
                    <a:gd name="T46" fmla="*/ 216 w 218"/>
                    <a:gd name="T47" fmla="*/ 13 h 168"/>
                    <a:gd name="T48" fmla="*/ 215 w 218"/>
                    <a:gd name="T49" fmla="*/ 10 h 168"/>
                    <a:gd name="T50" fmla="*/ 211 w 218"/>
                    <a:gd name="T51" fmla="*/ 6 h 168"/>
                    <a:gd name="T52" fmla="*/ 209 w 218"/>
                    <a:gd name="T53" fmla="*/ 4 h 168"/>
                    <a:gd name="T54" fmla="*/ 205 w 218"/>
                    <a:gd name="T55" fmla="*/ 1 h 168"/>
                    <a:gd name="T56" fmla="*/ 200 w 218"/>
                    <a:gd name="T57" fmla="*/ 0 h 168"/>
                    <a:gd name="T58" fmla="*/ 196 w 218"/>
                    <a:gd name="T59" fmla="*/ 0 h 168"/>
                    <a:gd name="T60" fmla="*/ 21 w 218"/>
                    <a:gd name="T61" fmla="*/ 0 h 168"/>
                    <a:gd name="T62" fmla="*/ 21 w 218"/>
                    <a:gd name="T63" fmla="*/ 0 h 168"/>
                    <a:gd name="T64" fmla="*/ 17 w 218"/>
                    <a:gd name="T65" fmla="*/ 0 h 168"/>
                    <a:gd name="T66" fmla="*/ 13 w 218"/>
                    <a:gd name="T67" fmla="*/ 1 h 168"/>
                    <a:gd name="T68" fmla="*/ 9 w 218"/>
                    <a:gd name="T69" fmla="*/ 4 h 168"/>
                    <a:gd name="T70" fmla="*/ 5 w 218"/>
                    <a:gd name="T71" fmla="*/ 6 h 168"/>
                    <a:gd name="T72" fmla="*/ 3 w 218"/>
                    <a:gd name="T73" fmla="*/ 10 h 168"/>
                    <a:gd name="T74" fmla="*/ 1 w 218"/>
                    <a:gd name="T75" fmla="*/ 13 h 168"/>
                    <a:gd name="T76" fmla="*/ 0 w 218"/>
                    <a:gd name="T77" fmla="*/ 17 h 168"/>
                    <a:gd name="T78" fmla="*/ 0 w 218"/>
                    <a:gd name="T79" fmla="*/ 22 h 168"/>
                    <a:gd name="T80" fmla="*/ 0 w 218"/>
                    <a:gd name="T81" fmla="*/ 14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168">
                      <a:moveTo>
                        <a:pt x="0" y="146"/>
                      </a:moveTo>
                      <a:lnTo>
                        <a:pt x="0" y="146"/>
                      </a:lnTo>
                      <a:lnTo>
                        <a:pt x="0" y="150"/>
                      </a:lnTo>
                      <a:lnTo>
                        <a:pt x="1" y="155"/>
                      </a:lnTo>
                      <a:lnTo>
                        <a:pt x="3" y="158"/>
                      </a:lnTo>
                      <a:lnTo>
                        <a:pt x="5" y="162"/>
                      </a:lnTo>
                      <a:lnTo>
                        <a:pt x="9" y="164"/>
                      </a:lnTo>
                      <a:lnTo>
                        <a:pt x="13" y="167"/>
                      </a:lnTo>
                      <a:lnTo>
                        <a:pt x="17" y="168"/>
                      </a:lnTo>
                      <a:lnTo>
                        <a:pt x="21" y="168"/>
                      </a:lnTo>
                      <a:lnTo>
                        <a:pt x="196" y="168"/>
                      </a:lnTo>
                      <a:lnTo>
                        <a:pt x="196" y="168"/>
                      </a:lnTo>
                      <a:lnTo>
                        <a:pt x="200" y="168"/>
                      </a:lnTo>
                      <a:lnTo>
                        <a:pt x="205" y="167"/>
                      </a:lnTo>
                      <a:lnTo>
                        <a:pt x="209" y="164"/>
                      </a:lnTo>
                      <a:lnTo>
                        <a:pt x="211" y="162"/>
                      </a:lnTo>
                      <a:lnTo>
                        <a:pt x="215" y="158"/>
                      </a:lnTo>
                      <a:lnTo>
                        <a:pt x="216" y="155"/>
                      </a:lnTo>
                      <a:lnTo>
                        <a:pt x="217" y="150"/>
                      </a:lnTo>
                      <a:lnTo>
                        <a:pt x="218" y="146"/>
                      </a:lnTo>
                      <a:lnTo>
                        <a:pt x="218" y="22"/>
                      </a:lnTo>
                      <a:lnTo>
                        <a:pt x="218" y="22"/>
                      </a:lnTo>
                      <a:lnTo>
                        <a:pt x="217" y="17"/>
                      </a:lnTo>
                      <a:lnTo>
                        <a:pt x="216" y="13"/>
                      </a:lnTo>
                      <a:lnTo>
                        <a:pt x="215" y="10"/>
                      </a:lnTo>
                      <a:lnTo>
                        <a:pt x="211" y="6"/>
                      </a:lnTo>
                      <a:lnTo>
                        <a:pt x="209" y="4"/>
                      </a:lnTo>
                      <a:lnTo>
                        <a:pt x="205" y="1"/>
                      </a:lnTo>
                      <a:lnTo>
                        <a:pt x="200" y="0"/>
                      </a:lnTo>
                      <a:lnTo>
                        <a:pt x="196" y="0"/>
                      </a:lnTo>
                      <a:lnTo>
                        <a:pt x="21" y="0"/>
                      </a:lnTo>
                      <a:lnTo>
                        <a:pt x="21" y="0"/>
                      </a:lnTo>
                      <a:lnTo>
                        <a:pt x="17" y="0"/>
                      </a:lnTo>
                      <a:lnTo>
                        <a:pt x="13" y="1"/>
                      </a:lnTo>
                      <a:lnTo>
                        <a:pt x="9" y="4"/>
                      </a:lnTo>
                      <a:lnTo>
                        <a:pt x="5" y="6"/>
                      </a:lnTo>
                      <a:lnTo>
                        <a:pt x="3" y="10"/>
                      </a:lnTo>
                      <a:lnTo>
                        <a:pt x="1" y="13"/>
                      </a:lnTo>
                      <a:lnTo>
                        <a:pt x="0" y="17"/>
                      </a:lnTo>
                      <a:lnTo>
                        <a:pt x="0" y="22"/>
                      </a:lnTo>
                      <a:lnTo>
                        <a:pt x="0" y="1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7" name="Freeform 432"/>
                <p:cNvSpPr>
                  <a:spLocks/>
                </p:cNvSpPr>
                <p:nvPr userDrawn="1"/>
              </p:nvSpPr>
              <p:spPr bwMode="auto">
                <a:xfrm>
                  <a:off x="10400846" y="3499936"/>
                  <a:ext cx="174625" cy="133350"/>
                </a:xfrm>
                <a:custGeom>
                  <a:avLst/>
                  <a:gdLst>
                    <a:gd name="T0" fmla="*/ 0 w 218"/>
                    <a:gd name="T1" fmla="*/ 146 h 168"/>
                    <a:gd name="T2" fmla="*/ 0 w 218"/>
                    <a:gd name="T3" fmla="*/ 146 h 168"/>
                    <a:gd name="T4" fmla="*/ 0 w 218"/>
                    <a:gd name="T5" fmla="*/ 150 h 168"/>
                    <a:gd name="T6" fmla="*/ 1 w 218"/>
                    <a:gd name="T7" fmla="*/ 155 h 168"/>
                    <a:gd name="T8" fmla="*/ 3 w 218"/>
                    <a:gd name="T9" fmla="*/ 158 h 168"/>
                    <a:gd name="T10" fmla="*/ 5 w 218"/>
                    <a:gd name="T11" fmla="*/ 162 h 168"/>
                    <a:gd name="T12" fmla="*/ 9 w 218"/>
                    <a:gd name="T13" fmla="*/ 164 h 168"/>
                    <a:gd name="T14" fmla="*/ 13 w 218"/>
                    <a:gd name="T15" fmla="*/ 167 h 168"/>
                    <a:gd name="T16" fmla="*/ 17 w 218"/>
                    <a:gd name="T17" fmla="*/ 168 h 168"/>
                    <a:gd name="T18" fmla="*/ 21 w 218"/>
                    <a:gd name="T19" fmla="*/ 168 h 168"/>
                    <a:gd name="T20" fmla="*/ 196 w 218"/>
                    <a:gd name="T21" fmla="*/ 168 h 168"/>
                    <a:gd name="T22" fmla="*/ 196 w 218"/>
                    <a:gd name="T23" fmla="*/ 168 h 168"/>
                    <a:gd name="T24" fmla="*/ 200 w 218"/>
                    <a:gd name="T25" fmla="*/ 168 h 168"/>
                    <a:gd name="T26" fmla="*/ 205 w 218"/>
                    <a:gd name="T27" fmla="*/ 167 h 168"/>
                    <a:gd name="T28" fmla="*/ 209 w 218"/>
                    <a:gd name="T29" fmla="*/ 164 h 168"/>
                    <a:gd name="T30" fmla="*/ 211 w 218"/>
                    <a:gd name="T31" fmla="*/ 162 h 168"/>
                    <a:gd name="T32" fmla="*/ 215 w 218"/>
                    <a:gd name="T33" fmla="*/ 158 h 168"/>
                    <a:gd name="T34" fmla="*/ 216 w 218"/>
                    <a:gd name="T35" fmla="*/ 155 h 168"/>
                    <a:gd name="T36" fmla="*/ 217 w 218"/>
                    <a:gd name="T37" fmla="*/ 150 h 168"/>
                    <a:gd name="T38" fmla="*/ 218 w 218"/>
                    <a:gd name="T39" fmla="*/ 146 h 168"/>
                    <a:gd name="T40" fmla="*/ 218 w 218"/>
                    <a:gd name="T41" fmla="*/ 22 h 168"/>
                    <a:gd name="T42" fmla="*/ 218 w 218"/>
                    <a:gd name="T43" fmla="*/ 22 h 168"/>
                    <a:gd name="T44" fmla="*/ 217 w 218"/>
                    <a:gd name="T45" fmla="*/ 17 h 168"/>
                    <a:gd name="T46" fmla="*/ 216 w 218"/>
                    <a:gd name="T47" fmla="*/ 13 h 168"/>
                    <a:gd name="T48" fmla="*/ 215 w 218"/>
                    <a:gd name="T49" fmla="*/ 10 h 168"/>
                    <a:gd name="T50" fmla="*/ 211 w 218"/>
                    <a:gd name="T51" fmla="*/ 6 h 168"/>
                    <a:gd name="T52" fmla="*/ 209 w 218"/>
                    <a:gd name="T53" fmla="*/ 4 h 168"/>
                    <a:gd name="T54" fmla="*/ 205 w 218"/>
                    <a:gd name="T55" fmla="*/ 1 h 168"/>
                    <a:gd name="T56" fmla="*/ 200 w 218"/>
                    <a:gd name="T57" fmla="*/ 0 h 168"/>
                    <a:gd name="T58" fmla="*/ 196 w 218"/>
                    <a:gd name="T59" fmla="*/ 0 h 168"/>
                    <a:gd name="T60" fmla="*/ 21 w 218"/>
                    <a:gd name="T61" fmla="*/ 0 h 168"/>
                    <a:gd name="T62" fmla="*/ 21 w 218"/>
                    <a:gd name="T63" fmla="*/ 0 h 168"/>
                    <a:gd name="T64" fmla="*/ 17 w 218"/>
                    <a:gd name="T65" fmla="*/ 0 h 168"/>
                    <a:gd name="T66" fmla="*/ 13 w 218"/>
                    <a:gd name="T67" fmla="*/ 1 h 168"/>
                    <a:gd name="T68" fmla="*/ 9 w 218"/>
                    <a:gd name="T69" fmla="*/ 4 h 168"/>
                    <a:gd name="T70" fmla="*/ 5 w 218"/>
                    <a:gd name="T71" fmla="*/ 6 h 168"/>
                    <a:gd name="T72" fmla="*/ 3 w 218"/>
                    <a:gd name="T73" fmla="*/ 10 h 168"/>
                    <a:gd name="T74" fmla="*/ 1 w 218"/>
                    <a:gd name="T75" fmla="*/ 13 h 168"/>
                    <a:gd name="T76" fmla="*/ 0 w 218"/>
                    <a:gd name="T77" fmla="*/ 17 h 168"/>
                    <a:gd name="T78" fmla="*/ 0 w 218"/>
                    <a:gd name="T79" fmla="*/ 22 h 168"/>
                    <a:gd name="T80" fmla="*/ 0 w 218"/>
                    <a:gd name="T81" fmla="*/ 14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168">
                      <a:moveTo>
                        <a:pt x="0" y="146"/>
                      </a:moveTo>
                      <a:lnTo>
                        <a:pt x="0" y="146"/>
                      </a:lnTo>
                      <a:lnTo>
                        <a:pt x="0" y="150"/>
                      </a:lnTo>
                      <a:lnTo>
                        <a:pt x="1" y="155"/>
                      </a:lnTo>
                      <a:lnTo>
                        <a:pt x="3" y="158"/>
                      </a:lnTo>
                      <a:lnTo>
                        <a:pt x="5" y="162"/>
                      </a:lnTo>
                      <a:lnTo>
                        <a:pt x="9" y="164"/>
                      </a:lnTo>
                      <a:lnTo>
                        <a:pt x="13" y="167"/>
                      </a:lnTo>
                      <a:lnTo>
                        <a:pt x="17" y="168"/>
                      </a:lnTo>
                      <a:lnTo>
                        <a:pt x="21" y="168"/>
                      </a:lnTo>
                      <a:lnTo>
                        <a:pt x="196" y="168"/>
                      </a:lnTo>
                      <a:lnTo>
                        <a:pt x="196" y="168"/>
                      </a:lnTo>
                      <a:lnTo>
                        <a:pt x="200" y="168"/>
                      </a:lnTo>
                      <a:lnTo>
                        <a:pt x="205" y="167"/>
                      </a:lnTo>
                      <a:lnTo>
                        <a:pt x="209" y="164"/>
                      </a:lnTo>
                      <a:lnTo>
                        <a:pt x="211" y="162"/>
                      </a:lnTo>
                      <a:lnTo>
                        <a:pt x="215" y="158"/>
                      </a:lnTo>
                      <a:lnTo>
                        <a:pt x="216" y="155"/>
                      </a:lnTo>
                      <a:lnTo>
                        <a:pt x="217" y="150"/>
                      </a:lnTo>
                      <a:lnTo>
                        <a:pt x="218" y="146"/>
                      </a:lnTo>
                      <a:lnTo>
                        <a:pt x="218" y="22"/>
                      </a:lnTo>
                      <a:lnTo>
                        <a:pt x="218" y="22"/>
                      </a:lnTo>
                      <a:lnTo>
                        <a:pt x="217" y="17"/>
                      </a:lnTo>
                      <a:lnTo>
                        <a:pt x="216" y="13"/>
                      </a:lnTo>
                      <a:lnTo>
                        <a:pt x="215" y="10"/>
                      </a:lnTo>
                      <a:lnTo>
                        <a:pt x="211" y="6"/>
                      </a:lnTo>
                      <a:lnTo>
                        <a:pt x="209" y="4"/>
                      </a:lnTo>
                      <a:lnTo>
                        <a:pt x="205" y="1"/>
                      </a:lnTo>
                      <a:lnTo>
                        <a:pt x="200" y="0"/>
                      </a:lnTo>
                      <a:lnTo>
                        <a:pt x="196" y="0"/>
                      </a:lnTo>
                      <a:lnTo>
                        <a:pt x="21" y="0"/>
                      </a:lnTo>
                      <a:lnTo>
                        <a:pt x="21" y="0"/>
                      </a:lnTo>
                      <a:lnTo>
                        <a:pt x="17" y="0"/>
                      </a:lnTo>
                      <a:lnTo>
                        <a:pt x="13" y="1"/>
                      </a:lnTo>
                      <a:lnTo>
                        <a:pt x="9" y="4"/>
                      </a:lnTo>
                      <a:lnTo>
                        <a:pt x="5" y="6"/>
                      </a:lnTo>
                      <a:lnTo>
                        <a:pt x="3" y="10"/>
                      </a:lnTo>
                      <a:lnTo>
                        <a:pt x="1" y="13"/>
                      </a:lnTo>
                      <a:lnTo>
                        <a:pt x="0" y="17"/>
                      </a:lnTo>
                      <a:lnTo>
                        <a:pt x="0" y="22"/>
                      </a:lnTo>
                      <a:lnTo>
                        <a:pt x="0" y="1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8" name="Freeform 433"/>
                <p:cNvSpPr>
                  <a:spLocks/>
                </p:cNvSpPr>
                <p:nvPr userDrawn="1"/>
              </p:nvSpPr>
              <p:spPr bwMode="auto">
                <a:xfrm>
                  <a:off x="10330996" y="4307974"/>
                  <a:ext cx="74613" cy="31750"/>
                </a:xfrm>
                <a:custGeom>
                  <a:avLst/>
                  <a:gdLst>
                    <a:gd name="T0" fmla="*/ 93 w 93"/>
                    <a:gd name="T1" fmla="*/ 0 h 39"/>
                    <a:gd name="T2" fmla="*/ 93 w 93"/>
                    <a:gd name="T3" fmla="*/ 0 h 39"/>
                    <a:gd name="T4" fmla="*/ 0 w 93"/>
                    <a:gd name="T5" fmla="*/ 0 h 39"/>
                    <a:gd name="T6" fmla="*/ 0 w 93"/>
                    <a:gd name="T7" fmla="*/ 39 h 39"/>
                    <a:gd name="T8" fmla="*/ 93 w 93"/>
                    <a:gd name="T9" fmla="*/ 39 h 39"/>
                    <a:gd name="T10" fmla="*/ 93 w 93"/>
                    <a:gd name="T11" fmla="*/ 0 h 39"/>
                  </a:gdLst>
                  <a:ahLst/>
                  <a:cxnLst>
                    <a:cxn ang="0">
                      <a:pos x="T0" y="T1"/>
                    </a:cxn>
                    <a:cxn ang="0">
                      <a:pos x="T2" y="T3"/>
                    </a:cxn>
                    <a:cxn ang="0">
                      <a:pos x="T4" y="T5"/>
                    </a:cxn>
                    <a:cxn ang="0">
                      <a:pos x="T6" y="T7"/>
                    </a:cxn>
                    <a:cxn ang="0">
                      <a:pos x="T8" y="T9"/>
                    </a:cxn>
                    <a:cxn ang="0">
                      <a:pos x="T10" y="T11"/>
                    </a:cxn>
                  </a:cxnLst>
                  <a:rect l="0" t="0" r="r" b="b"/>
                  <a:pathLst>
                    <a:path w="93" h="39">
                      <a:moveTo>
                        <a:pt x="93" y="0"/>
                      </a:moveTo>
                      <a:lnTo>
                        <a:pt x="93" y="0"/>
                      </a:lnTo>
                      <a:lnTo>
                        <a:pt x="0" y="0"/>
                      </a:lnTo>
                      <a:lnTo>
                        <a:pt x="0" y="39"/>
                      </a:lnTo>
                      <a:lnTo>
                        <a:pt x="93" y="39"/>
                      </a:lnTo>
                      <a:lnTo>
                        <a:pt x="93" y="0"/>
                      </a:lnTo>
                      <a:close/>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09" name="Freeform 434"/>
                <p:cNvSpPr>
                  <a:spLocks/>
                </p:cNvSpPr>
                <p:nvPr userDrawn="1"/>
              </p:nvSpPr>
              <p:spPr bwMode="auto">
                <a:xfrm>
                  <a:off x="10330996" y="4307974"/>
                  <a:ext cx="74613" cy="31750"/>
                </a:xfrm>
                <a:custGeom>
                  <a:avLst/>
                  <a:gdLst>
                    <a:gd name="T0" fmla="*/ 93 w 93"/>
                    <a:gd name="T1" fmla="*/ 0 h 39"/>
                    <a:gd name="T2" fmla="*/ 93 w 93"/>
                    <a:gd name="T3" fmla="*/ 0 h 39"/>
                    <a:gd name="T4" fmla="*/ 0 w 93"/>
                    <a:gd name="T5" fmla="*/ 0 h 39"/>
                    <a:gd name="T6" fmla="*/ 0 w 93"/>
                    <a:gd name="T7" fmla="*/ 39 h 39"/>
                    <a:gd name="T8" fmla="*/ 93 w 93"/>
                    <a:gd name="T9" fmla="*/ 39 h 39"/>
                    <a:gd name="T10" fmla="*/ 93 w 93"/>
                    <a:gd name="T11" fmla="*/ 0 h 39"/>
                  </a:gdLst>
                  <a:ahLst/>
                  <a:cxnLst>
                    <a:cxn ang="0">
                      <a:pos x="T0" y="T1"/>
                    </a:cxn>
                    <a:cxn ang="0">
                      <a:pos x="T2" y="T3"/>
                    </a:cxn>
                    <a:cxn ang="0">
                      <a:pos x="T4" y="T5"/>
                    </a:cxn>
                    <a:cxn ang="0">
                      <a:pos x="T6" y="T7"/>
                    </a:cxn>
                    <a:cxn ang="0">
                      <a:pos x="T8" y="T9"/>
                    </a:cxn>
                    <a:cxn ang="0">
                      <a:pos x="T10" y="T11"/>
                    </a:cxn>
                  </a:cxnLst>
                  <a:rect l="0" t="0" r="r" b="b"/>
                  <a:pathLst>
                    <a:path w="93" h="39">
                      <a:moveTo>
                        <a:pt x="93" y="0"/>
                      </a:moveTo>
                      <a:lnTo>
                        <a:pt x="93" y="0"/>
                      </a:lnTo>
                      <a:lnTo>
                        <a:pt x="0" y="0"/>
                      </a:lnTo>
                      <a:lnTo>
                        <a:pt x="0" y="39"/>
                      </a:lnTo>
                      <a:lnTo>
                        <a:pt x="93" y="39"/>
                      </a:lnTo>
                      <a:lnTo>
                        <a:pt x="9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610" name="Rectangle 435"/>
                <p:cNvSpPr>
                  <a:spLocks noChangeArrowheads="1"/>
                </p:cNvSpPr>
                <p:nvPr userDrawn="1"/>
              </p:nvSpPr>
              <p:spPr bwMode="auto">
                <a:xfrm>
                  <a:off x="10405608" y="4307974"/>
                  <a:ext cx="74613" cy="31750"/>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85" name="Rectangle 436"/>
                <p:cNvSpPr>
                  <a:spLocks noChangeArrowheads="1"/>
                </p:cNvSpPr>
                <p:nvPr userDrawn="1"/>
              </p:nvSpPr>
              <p:spPr bwMode="auto">
                <a:xfrm>
                  <a:off x="10405608" y="4307974"/>
                  <a:ext cx="74613" cy="3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86" name="Freeform 437"/>
                <p:cNvSpPr>
                  <a:spLocks/>
                </p:cNvSpPr>
                <p:nvPr userDrawn="1"/>
              </p:nvSpPr>
              <p:spPr bwMode="auto">
                <a:xfrm>
                  <a:off x="10488158" y="3499936"/>
                  <a:ext cx="87313" cy="133350"/>
                </a:xfrm>
                <a:custGeom>
                  <a:avLst/>
                  <a:gdLst>
                    <a:gd name="T0" fmla="*/ 87 w 109"/>
                    <a:gd name="T1" fmla="*/ 0 h 168"/>
                    <a:gd name="T2" fmla="*/ 0 w 109"/>
                    <a:gd name="T3" fmla="*/ 0 h 168"/>
                    <a:gd name="T4" fmla="*/ 0 w 109"/>
                    <a:gd name="T5" fmla="*/ 168 h 168"/>
                    <a:gd name="T6" fmla="*/ 87 w 109"/>
                    <a:gd name="T7" fmla="*/ 168 h 168"/>
                    <a:gd name="T8" fmla="*/ 87 w 109"/>
                    <a:gd name="T9" fmla="*/ 168 h 168"/>
                    <a:gd name="T10" fmla="*/ 91 w 109"/>
                    <a:gd name="T11" fmla="*/ 168 h 168"/>
                    <a:gd name="T12" fmla="*/ 96 w 109"/>
                    <a:gd name="T13" fmla="*/ 167 h 168"/>
                    <a:gd name="T14" fmla="*/ 100 w 109"/>
                    <a:gd name="T15" fmla="*/ 164 h 168"/>
                    <a:gd name="T16" fmla="*/ 102 w 109"/>
                    <a:gd name="T17" fmla="*/ 162 h 168"/>
                    <a:gd name="T18" fmla="*/ 106 w 109"/>
                    <a:gd name="T19" fmla="*/ 158 h 168"/>
                    <a:gd name="T20" fmla="*/ 107 w 109"/>
                    <a:gd name="T21" fmla="*/ 155 h 168"/>
                    <a:gd name="T22" fmla="*/ 108 w 109"/>
                    <a:gd name="T23" fmla="*/ 150 h 168"/>
                    <a:gd name="T24" fmla="*/ 109 w 109"/>
                    <a:gd name="T25" fmla="*/ 146 h 168"/>
                    <a:gd name="T26" fmla="*/ 109 w 109"/>
                    <a:gd name="T27" fmla="*/ 22 h 168"/>
                    <a:gd name="T28" fmla="*/ 109 w 109"/>
                    <a:gd name="T29" fmla="*/ 22 h 168"/>
                    <a:gd name="T30" fmla="*/ 108 w 109"/>
                    <a:gd name="T31" fmla="*/ 17 h 168"/>
                    <a:gd name="T32" fmla="*/ 107 w 109"/>
                    <a:gd name="T33" fmla="*/ 13 h 168"/>
                    <a:gd name="T34" fmla="*/ 106 w 109"/>
                    <a:gd name="T35" fmla="*/ 10 h 168"/>
                    <a:gd name="T36" fmla="*/ 102 w 109"/>
                    <a:gd name="T37" fmla="*/ 6 h 168"/>
                    <a:gd name="T38" fmla="*/ 100 w 109"/>
                    <a:gd name="T39" fmla="*/ 4 h 168"/>
                    <a:gd name="T40" fmla="*/ 96 w 109"/>
                    <a:gd name="T41" fmla="*/ 1 h 168"/>
                    <a:gd name="T42" fmla="*/ 91 w 109"/>
                    <a:gd name="T43" fmla="*/ 0 h 168"/>
                    <a:gd name="T44" fmla="*/ 87 w 109"/>
                    <a:gd name="T4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168">
                      <a:moveTo>
                        <a:pt x="87" y="0"/>
                      </a:moveTo>
                      <a:lnTo>
                        <a:pt x="0" y="0"/>
                      </a:lnTo>
                      <a:lnTo>
                        <a:pt x="0" y="168"/>
                      </a:lnTo>
                      <a:lnTo>
                        <a:pt x="87" y="168"/>
                      </a:lnTo>
                      <a:lnTo>
                        <a:pt x="87" y="168"/>
                      </a:lnTo>
                      <a:lnTo>
                        <a:pt x="91" y="168"/>
                      </a:lnTo>
                      <a:lnTo>
                        <a:pt x="96" y="167"/>
                      </a:lnTo>
                      <a:lnTo>
                        <a:pt x="100" y="164"/>
                      </a:lnTo>
                      <a:lnTo>
                        <a:pt x="102" y="162"/>
                      </a:lnTo>
                      <a:lnTo>
                        <a:pt x="106" y="158"/>
                      </a:lnTo>
                      <a:lnTo>
                        <a:pt x="107" y="155"/>
                      </a:lnTo>
                      <a:lnTo>
                        <a:pt x="108" y="150"/>
                      </a:lnTo>
                      <a:lnTo>
                        <a:pt x="109" y="146"/>
                      </a:lnTo>
                      <a:lnTo>
                        <a:pt x="109" y="22"/>
                      </a:lnTo>
                      <a:lnTo>
                        <a:pt x="109" y="22"/>
                      </a:lnTo>
                      <a:lnTo>
                        <a:pt x="108" y="17"/>
                      </a:lnTo>
                      <a:lnTo>
                        <a:pt x="107" y="13"/>
                      </a:lnTo>
                      <a:lnTo>
                        <a:pt x="106" y="10"/>
                      </a:lnTo>
                      <a:lnTo>
                        <a:pt x="102" y="6"/>
                      </a:lnTo>
                      <a:lnTo>
                        <a:pt x="100" y="4"/>
                      </a:lnTo>
                      <a:lnTo>
                        <a:pt x="96" y="1"/>
                      </a:lnTo>
                      <a:lnTo>
                        <a:pt x="91" y="0"/>
                      </a:lnTo>
                      <a:lnTo>
                        <a:pt x="87"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87" name="Freeform 438"/>
                <p:cNvSpPr>
                  <a:spLocks/>
                </p:cNvSpPr>
                <p:nvPr userDrawn="1"/>
              </p:nvSpPr>
              <p:spPr bwMode="auto">
                <a:xfrm>
                  <a:off x="10488158" y="3499936"/>
                  <a:ext cx="87313" cy="133350"/>
                </a:xfrm>
                <a:custGeom>
                  <a:avLst/>
                  <a:gdLst>
                    <a:gd name="T0" fmla="*/ 87 w 109"/>
                    <a:gd name="T1" fmla="*/ 0 h 168"/>
                    <a:gd name="T2" fmla="*/ 0 w 109"/>
                    <a:gd name="T3" fmla="*/ 0 h 168"/>
                    <a:gd name="T4" fmla="*/ 0 w 109"/>
                    <a:gd name="T5" fmla="*/ 168 h 168"/>
                    <a:gd name="T6" fmla="*/ 87 w 109"/>
                    <a:gd name="T7" fmla="*/ 168 h 168"/>
                    <a:gd name="T8" fmla="*/ 87 w 109"/>
                    <a:gd name="T9" fmla="*/ 168 h 168"/>
                    <a:gd name="T10" fmla="*/ 91 w 109"/>
                    <a:gd name="T11" fmla="*/ 168 h 168"/>
                    <a:gd name="T12" fmla="*/ 96 w 109"/>
                    <a:gd name="T13" fmla="*/ 167 h 168"/>
                    <a:gd name="T14" fmla="*/ 100 w 109"/>
                    <a:gd name="T15" fmla="*/ 164 h 168"/>
                    <a:gd name="T16" fmla="*/ 102 w 109"/>
                    <a:gd name="T17" fmla="*/ 162 h 168"/>
                    <a:gd name="T18" fmla="*/ 106 w 109"/>
                    <a:gd name="T19" fmla="*/ 158 h 168"/>
                    <a:gd name="T20" fmla="*/ 107 w 109"/>
                    <a:gd name="T21" fmla="*/ 155 h 168"/>
                    <a:gd name="T22" fmla="*/ 108 w 109"/>
                    <a:gd name="T23" fmla="*/ 150 h 168"/>
                    <a:gd name="T24" fmla="*/ 109 w 109"/>
                    <a:gd name="T25" fmla="*/ 146 h 168"/>
                    <a:gd name="T26" fmla="*/ 109 w 109"/>
                    <a:gd name="T27" fmla="*/ 22 h 168"/>
                    <a:gd name="T28" fmla="*/ 109 w 109"/>
                    <a:gd name="T29" fmla="*/ 22 h 168"/>
                    <a:gd name="T30" fmla="*/ 108 w 109"/>
                    <a:gd name="T31" fmla="*/ 17 h 168"/>
                    <a:gd name="T32" fmla="*/ 107 w 109"/>
                    <a:gd name="T33" fmla="*/ 13 h 168"/>
                    <a:gd name="T34" fmla="*/ 106 w 109"/>
                    <a:gd name="T35" fmla="*/ 10 h 168"/>
                    <a:gd name="T36" fmla="*/ 102 w 109"/>
                    <a:gd name="T37" fmla="*/ 6 h 168"/>
                    <a:gd name="T38" fmla="*/ 100 w 109"/>
                    <a:gd name="T39" fmla="*/ 4 h 168"/>
                    <a:gd name="T40" fmla="*/ 96 w 109"/>
                    <a:gd name="T41" fmla="*/ 1 h 168"/>
                    <a:gd name="T42" fmla="*/ 91 w 109"/>
                    <a:gd name="T43" fmla="*/ 0 h 168"/>
                    <a:gd name="T44" fmla="*/ 87 w 109"/>
                    <a:gd name="T4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168">
                      <a:moveTo>
                        <a:pt x="87" y="0"/>
                      </a:moveTo>
                      <a:lnTo>
                        <a:pt x="0" y="0"/>
                      </a:lnTo>
                      <a:lnTo>
                        <a:pt x="0" y="168"/>
                      </a:lnTo>
                      <a:lnTo>
                        <a:pt x="87" y="168"/>
                      </a:lnTo>
                      <a:lnTo>
                        <a:pt x="87" y="168"/>
                      </a:lnTo>
                      <a:lnTo>
                        <a:pt x="91" y="168"/>
                      </a:lnTo>
                      <a:lnTo>
                        <a:pt x="96" y="167"/>
                      </a:lnTo>
                      <a:lnTo>
                        <a:pt x="100" y="164"/>
                      </a:lnTo>
                      <a:lnTo>
                        <a:pt x="102" y="162"/>
                      </a:lnTo>
                      <a:lnTo>
                        <a:pt x="106" y="158"/>
                      </a:lnTo>
                      <a:lnTo>
                        <a:pt x="107" y="155"/>
                      </a:lnTo>
                      <a:lnTo>
                        <a:pt x="108" y="150"/>
                      </a:lnTo>
                      <a:lnTo>
                        <a:pt x="109" y="146"/>
                      </a:lnTo>
                      <a:lnTo>
                        <a:pt x="109" y="22"/>
                      </a:lnTo>
                      <a:lnTo>
                        <a:pt x="109" y="22"/>
                      </a:lnTo>
                      <a:lnTo>
                        <a:pt x="108" y="17"/>
                      </a:lnTo>
                      <a:lnTo>
                        <a:pt x="107" y="13"/>
                      </a:lnTo>
                      <a:lnTo>
                        <a:pt x="106" y="10"/>
                      </a:lnTo>
                      <a:lnTo>
                        <a:pt x="102" y="6"/>
                      </a:lnTo>
                      <a:lnTo>
                        <a:pt x="100" y="4"/>
                      </a:lnTo>
                      <a:lnTo>
                        <a:pt x="96" y="1"/>
                      </a:lnTo>
                      <a:lnTo>
                        <a:pt x="91" y="0"/>
                      </a:lnTo>
                      <a:lnTo>
                        <a:pt x="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88" name="Freeform 439"/>
                <p:cNvSpPr>
                  <a:spLocks/>
                </p:cNvSpPr>
                <p:nvPr userDrawn="1"/>
              </p:nvSpPr>
              <p:spPr bwMode="auto">
                <a:xfrm>
                  <a:off x="10137321" y="3971424"/>
                  <a:ext cx="193675" cy="30163"/>
                </a:xfrm>
                <a:custGeom>
                  <a:avLst/>
                  <a:gdLst>
                    <a:gd name="T0" fmla="*/ 244 w 244"/>
                    <a:gd name="T1" fmla="*/ 0 h 40"/>
                    <a:gd name="T2" fmla="*/ 0 w 244"/>
                    <a:gd name="T3" fmla="*/ 0 h 40"/>
                    <a:gd name="T4" fmla="*/ 0 w 244"/>
                    <a:gd name="T5" fmla="*/ 40 h 40"/>
                    <a:gd name="T6" fmla="*/ 244 w 244"/>
                    <a:gd name="T7" fmla="*/ 40 h 40"/>
                    <a:gd name="T8" fmla="*/ 244 w 244"/>
                    <a:gd name="T9" fmla="*/ 3 h 40"/>
                    <a:gd name="T10" fmla="*/ 244 w 244"/>
                    <a:gd name="T11" fmla="*/ 3 h 40"/>
                    <a:gd name="T12" fmla="*/ 244 w 244"/>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244" h="40">
                      <a:moveTo>
                        <a:pt x="244" y="0"/>
                      </a:moveTo>
                      <a:lnTo>
                        <a:pt x="0" y="0"/>
                      </a:lnTo>
                      <a:lnTo>
                        <a:pt x="0" y="40"/>
                      </a:lnTo>
                      <a:lnTo>
                        <a:pt x="244" y="40"/>
                      </a:lnTo>
                      <a:lnTo>
                        <a:pt x="244" y="3"/>
                      </a:lnTo>
                      <a:lnTo>
                        <a:pt x="244" y="3"/>
                      </a:lnTo>
                      <a:lnTo>
                        <a:pt x="244" y="0"/>
                      </a:lnTo>
                      <a:close/>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89" name="Freeform 440"/>
                <p:cNvSpPr>
                  <a:spLocks/>
                </p:cNvSpPr>
                <p:nvPr userDrawn="1"/>
              </p:nvSpPr>
              <p:spPr bwMode="auto">
                <a:xfrm>
                  <a:off x="10137321" y="3971424"/>
                  <a:ext cx="193675" cy="30163"/>
                </a:xfrm>
                <a:custGeom>
                  <a:avLst/>
                  <a:gdLst>
                    <a:gd name="T0" fmla="*/ 244 w 244"/>
                    <a:gd name="T1" fmla="*/ 0 h 40"/>
                    <a:gd name="T2" fmla="*/ 0 w 244"/>
                    <a:gd name="T3" fmla="*/ 0 h 40"/>
                    <a:gd name="T4" fmla="*/ 0 w 244"/>
                    <a:gd name="T5" fmla="*/ 40 h 40"/>
                    <a:gd name="T6" fmla="*/ 244 w 244"/>
                    <a:gd name="T7" fmla="*/ 40 h 40"/>
                    <a:gd name="T8" fmla="*/ 244 w 244"/>
                    <a:gd name="T9" fmla="*/ 3 h 40"/>
                    <a:gd name="T10" fmla="*/ 244 w 244"/>
                    <a:gd name="T11" fmla="*/ 3 h 40"/>
                    <a:gd name="T12" fmla="*/ 244 w 244"/>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244" h="40">
                      <a:moveTo>
                        <a:pt x="244" y="0"/>
                      </a:moveTo>
                      <a:lnTo>
                        <a:pt x="0" y="0"/>
                      </a:lnTo>
                      <a:lnTo>
                        <a:pt x="0" y="40"/>
                      </a:lnTo>
                      <a:lnTo>
                        <a:pt x="244" y="40"/>
                      </a:lnTo>
                      <a:lnTo>
                        <a:pt x="244" y="3"/>
                      </a:lnTo>
                      <a:lnTo>
                        <a:pt x="244" y="3"/>
                      </a:lnTo>
                      <a:lnTo>
                        <a:pt x="2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0" name="Freeform 441"/>
                <p:cNvSpPr>
                  <a:spLocks/>
                </p:cNvSpPr>
                <p:nvPr userDrawn="1"/>
              </p:nvSpPr>
              <p:spPr bwMode="auto">
                <a:xfrm>
                  <a:off x="10137321" y="3971424"/>
                  <a:ext cx="193675" cy="0"/>
                </a:xfrm>
                <a:custGeom>
                  <a:avLst/>
                  <a:gdLst>
                    <a:gd name="T0" fmla="*/ 244 w 244"/>
                    <a:gd name="T1" fmla="*/ 226 w 244"/>
                    <a:gd name="T2" fmla="*/ 0 w 244"/>
                    <a:gd name="T3" fmla="*/ 244 w 244"/>
                  </a:gdLst>
                  <a:ahLst/>
                  <a:cxnLst>
                    <a:cxn ang="0">
                      <a:pos x="T0" y="0"/>
                    </a:cxn>
                    <a:cxn ang="0">
                      <a:pos x="T1" y="0"/>
                    </a:cxn>
                    <a:cxn ang="0">
                      <a:pos x="T2" y="0"/>
                    </a:cxn>
                    <a:cxn ang="0">
                      <a:pos x="T3" y="0"/>
                    </a:cxn>
                  </a:cxnLst>
                  <a:rect l="0" t="0" r="r" b="b"/>
                  <a:pathLst>
                    <a:path w="244">
                      <a:moveTo>
                        <a:pt x="244" y="0"/>
                      </a:moveTo>
                      <a:lnTo>
                        <a:pt x="226" y="0"/>
                      </a:lnTo>
                      <a:lnTo>
                        <a:pt x="0" y="0"/>
                      </a:lnTo>
                      <a:lnTo>
                        <a:pt x="244" y="0"/>
                      </a:lnTo>
                      <a:close/>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1" name="Freeform 442"/>
                <p:cNvSpPr>
                  <a:spLocks/>
                </p:cNvSpPr>
                <p:nvPr userDrawn="1"/>
              </p:nvSpPr>
              <p:spPr bwMode="auto">
                <a:xfrm>
                  <a:off x="10137321" y="3971424"/>
                  <a:ext cx="193675" cy="0"/>
                </a:xfrm>
                <a:custGeom>
                  <a:avLst/>
                  <a:gdLst>
                    <a:gd name="T0" fmla="*/ 244 w 244"/>
                    <a:gd name="T1" fmla="*/ 226 w 244"/>
                    <a:gd name="T2" fmla="*/ 0 w 244"/>
                    <a:gd name="T3" fmla="*/ 244 w 244"/>
                  </a:gdLst>
                  <a:ahLst/>
                  <a:cxnLst>
                    <a:cxn ang="0">
                      <a:pos x="T0" y="0"/>
                    </a:cxn>
                    <a:cxn ang="0">
                      <a:pos x="T1" y="0"/>
                    </a:cxn>
                    <a:cxn ang="0">
                      <a:pos x="T2" y="0"/>
                    </a:cxn>
                    <a:cxn ang="0">
                      <a:pos x="T3" y="0"/>
                    </a:cxn>
                  </a:cxnLst>
                  <a:rect l="0" t="0" r="r" b="b"/>
                  <a:pathLst>
                    <a:path w="244">
                      <a:moveTo>
                        <a:pt x="244" y="0"/>
                      </a:moveTo>
                      <a:lnTo>
                        <a:pt x="226" y="0"/>
                      </a:lnTo>
                      <a:lnTo>
                        <a:pt x="0" y="0"/>
                      </a:lnTo>
                      <a:lnTo>
                        <a:pt x="2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2" name="Freeform 443"/>
                <p:cNvSpPr>
                  <a:spLocks/>
                </p:cNvSpPr>
                <p:nvPr userDrawn="1"/>
              </p:nvSpPr>
              <p:spPr bwMode="auto">
                <a:xfrm>
                  <a:off x="10429421" y="3572961"/>
                  <a:ext cx="42863" cy="42863"/>
                </a:xfrm>
                <a:custGeom>
                  <a:avLst/>
                  <a:gdLst>
                    <a:gd name="T0" fmla="*/ 28 w 55"/>
                    <a:gd name="T1" fmla="*/ 0 h 54"/>
                    <a:gd name="T2" fmla="*/ 28 w 55"/>
                    <a:gd name="T3" fmla="*/ 0 h 54"/>
                    <a:gd name="T4" fmla="*/ 22 w 55"/>
                    <a:gd name="T5" fmla="*/ 1 h 54"/>
                    <a:gd name="T6" fmla="*/ 17 w 55"/>
                    <a:gd name="T7" fmla="*/ 2 h 54"/>
                    <a:gd name="T8" fmla="*/ 12 w 55"/>
                    <a:gd name="T9" fmla="*/ 5 h 54"/>
                    <a:gd name="T10" fmla="*/ 9 w 55"/>
                    <a:gd name="T11" fmla="*/ 8 h 54"/>
                    <a:gd name="T12" fmla="*/ 5 w 55"/>
                    <a:gd name="T13" fmla="*/ 13 h 54"/>
                    <a:gd name="T14" fmla="*/ 3 w 55"/>
                    <a:gd name="T15" fmla="*/ 16 h 54"/>
                    <a:gd name="T16" fmla="*/ 0 w 55"/>
                    <a:gd name="T17" fmla="*/ 22 h 54"/>
                    <a:gd name="T18" fmla="*/ 0 w 55"/>
                    <a:gd name="T19" fmla="*/ 27 h 54"/>
                    <a:gd name="T20" fmla="*/ 0 w 55"/>
                    <a:gd name="T21" fmla="*/ 27 h 54"/>
                    <a:gd name="T22" fmla="*/ 0 w 55"/>
                    <a:gd name="T23" fmla="*/ 33 h 54"/>
                    <a:gd name="T24" fmla="*/ 3 w 55"/>
                    <a:gd name="T25" fmla="*/ 38 h 54"/>
                    <a:gd name="T26" fmla="*/ 5 w 55"/>
                    <a:gd name="T27" fmla="*/ 43 h 54"/>
                    <a:gd name="T28" fmla="*/ 9 w 55"/>
                    <a:gd name="T29" fmla="*/ 47 h 54"/>
                    <a:gd name="T30" fmla="*/ 12 w 55"/>
                    <a:gd name="T31" fmla="*/ 51 h 54"/>
                    <a:gd name="T32" fmla="*/ 17 w 55"/>
                    <a:gd name="T33" fmla="*/ 53 h 54"/>
                    <a:gd name="T34" fmla="*/ 22 w 55"/>
                    <a:gd name="T35" fmla="*/ 54 h 54"/>
                    <a:gd name="T36" fmla="*/ 28 w 55"/>
                    <a:gd name="T37" fmla="*/ 54 h 54"/>
                    <a:gd name="T38" fmla="*/ 28 w 55"/>
                    <a:gd name="T39" fmla="*/ 54 h 54"/>
                    <a:gd name="T40" fmla="*/ 32 w 55"/>
                    <a:gd name="T41" fmla="*/ 54 h 54"/>
                    <a:gd name="T42" fmla="*/ 38 w 55"/>
                    <a:gd name="T43" fmla="*/ 53 h 54"/>
                    <a:gd name="T44" fmla="*/ 43 w 55"/>
                    <a:gd name="T45" fmla="*/ 51 h 54"/>
                    <a:gd name="T46" fmla="*/ 47 w 55"/>
                    <a:gd name="T47" fmla="*/ 47 h 54"/>
                    <a:gd name="T48" fmla="*/ 50 w 55"/>
                    <a:gd name="T49" fmla="*/ 43 h 54"/>
                    <a:gd name="T50" fmla="*/ 53 w 55"/>
                    <a:gd name="T51" fmla="*/ 38 h 54"/>
                    <a:gd name="T52" fmla="*/ 54 w 55"/>
                    <a:gd name="T53" fmla="*/ 33 h 54"/>
                    <a:gd name="T54" fmla="*/ 55 w 55"/>
                    <a:gd name="T55" fmla="*/ 27 h 54"/>
                    <a:gd name="T56" fmla="*/ 55 w 55"/>
                    <a:gd name="T57" fmla="*/ 27 h 54"/>
                    <a:gd name="T58" fmla="*/ 54 w 55"/>
                    <a:gd name="T59" fmla="*/ 22 h 54"/>
                    <a:gd name="T60" fmla="*/ 53 w 55"/>
                    <a:gd name="T61" fmla="*/ 16 h 54"/>
                    <a:gd name="T62" fmla="*/ 50 w 55"/>
                    <a:gd name="T63" fmla="*/ 13 h 54"/>
                    <a:gd name="T64" fmla="*/ 47 w 55"/>
                    <a:gd name="T65" fmla="*/ 8 h 54"/>
                    <a:gd name="T66" fmla="*/ 43 w 55"/>
                    <a:gd name="T67" fmla="*/ 5 h 54"/>
                    <a:gd name="T68" fmla="*/ 38 w 55"/>
                    <a:gd name="T69" fmla="*/ 2 h 54"/>
                    <a:gd name="T70" fmla="*/ 32 w 55"/>
                    <a:gd name="T71" fmla="*/ 1 h 54"/>
                    <a:gd name="T72" fmla="*/ 28 w 55"/>
                    <a:gd name="T7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4">
                      <a:moveTo>
                        <a:pt x="28" y="0"/>
                      </a:moveTo>
                      <a:lnTo>
                        <a:pt x="28" y="0"/>
                      </a:lnTo>
                      <a:lnTo>
                        <a:pt x="22" y="1"/>
                      </a:lnTo>
                      <a:lnTo>
                        <a:pt x="17" y="2"/>
                      </a:lnTo>
                      <a:lnTo>
                        <a:pt x="12" y="5"/>
                      </a:lnTo>
                      <a:lnTo>
                        <a:pt x="9" y="8"/>
                      </a:lnTo>
                      <a:lnTo>
                        <a:pt x="5" y="13"/>
                      </a:lnTo>
                      <a:lnTo>
                        <a:pt x="3" y="16"/>
                      </a:lnTo>
                      <a:lnTo>
                        <a:pt x="0" y="22"/>
                      </a:lnTo>
                      <a:lnTo>
                        <a:pt x="0" y="27"/>
                      </a:lnTo>
                      <a:lnTo>
                        <a:pt x="0" y="27"/>
                      </a:lnTo>
                      <a:lnTo>
                        <a:pt x="0" y="33"/>
                      </a:lnTo>
                      <a:lnTo>
                        <a:pt x="3" y="38"/>
                      </a:lnTo>
                      <a:lnTo>
                        <a:pt x="5" y="43"/>
                      </a:lnTo>
                      <a:lnTo>
                        <a:pt x="9" y="47"/>
                      </a:lnTo>
                      <a:lnTo>
                        <a:pt x="12" y="51"/>
                      </a:lnTo>
                      <a:lnTo>
                        <a:pt x="17" y="53"/>
                      </a:lnTo>
                      <a:lnTo>
                        <a:pt x="22" y="54"/>
                      </a:lnTo>
                      <a:lnTo>
                        <a:pt x="28" y="54"/>
                      </a:lnTo>
                      <a:lnTo>
                        <a:pt x="28" y="54"/>
                      </a:lnTo>
                      <a:lnTo>
                        <a:pt x="32" y="54"/>
                      </a:lnTo>
                      <a:lnTo>
                        <a:pt x="38" y="53"/>
                      </a:lnTo>
                      <a:lnTo>
                        <a:pt x="43" y="51"/>
                      </a:lnTo>
                      <a:lnTo>
                        <a:pt x="47" y="47"/>
                      </a:lnTo>
                      <a:lnTo>
                        <a:pt x="50" y="43"/>
                      </a:lnTo>
                      <a:lnTo>
                        <a:pt x="53" y="38"/>
                      </a:lnTo>
                      <a:lnTo>
                        <a:pt x="54" y="33"/>
                      </a:lnTo>
                      <a:lnTo>
                        <a:pt x="55" y="27"/>
                      </a:lnTo>
                      <a:lnTo>
                        <a:pt x="55" y="27"/>
                      </a:lnTo>
                      <a:lnTo>
                        <a:pt x="54" y="22"/>
                      </a:lnTo>
                      <a:lnTo>
                        <a:pt x="53" y="16"/>
                      </a:lnTo>
                      <a:lnTo>
                        <a:pt x="50" y="13"/>
                      </a:lnTo>
                      <a:lnTo>
                        <a:pt x="47" y="8"/>
                      </a:lnTo>
                      <a:lnTo>
                        <a:pt x="43" y="5"/>
                      </a:lnTo>
                      <a:lnTo>
                        <a:pt x="38" y="2"/>
                      </a:lnTo>
                      <a:lnTo>
                        <a:pt x="32" y="1"/>
                      </a:lnTo>
                      <a:lnTo>
                        <a:pt x="28"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3" name="Freeform 444"/>
                <p:cNvSpPr>
                  <a:spLocks/>
                </p:cNvSpPr>
                <p:nvPr userDrawn="1"/>
              </p:nvSpPr>
              <p:spPr bwMode="auto">
                <a:xfrm>
                  <a:off x="10429421" y="3572961"/>
                  <a:ext cx="42863" cy="42863"/>
                </a:xfrm>
                <a:custGeom>
                  <a:avLst/>
                  <a:gdLst>
                    <a:gd name="T0" fmla="*/ 28 w 55"/>
                    <a:gd name="T1" fmla="*/ 0 h 54"/>
                    <a:gd name="T2" fmla="*/ 28 w 55"/>
                    <a:gd name="T3" fmla="*/ 0 h 54"/>
                    <a:gd name="T4" fmla="*/ 22 w 55"/>
                    <a:gd name="T5" fmla="*/ 1 h 54"/>
                    <a:gd name="T6" fmla="*/ 17 w 55"/>
                    <a:gd name="T7" fmla="*/ 2 h 54"/>
                    <a:gd name="T8" fmla="*/ 12 w 55"/>
                    <a:gd name="T9" fmla="*/ 5 h 54"/>
                    <a:gd name="T10" fmla="*/ 9 w 55"/>
                    <a:gd name="T11" fmla="*/ 8 h 54"/>
                    <a:gd name="T12" fmla="*/ 5 w 55"/>
                    <a:gd name="T13" fmla="*/ 13 h 54"/>
                    <a:gd name="T14" fmla="*/ 3 w 55"/>
                    <a:gd name="T15" fmla="*/ 16 h 54"/>
                    <a:gd name="T16" fmla="*/ 0 w 55"/>
                    <a:gd name="T17" fmla="*/ 22 h 54"/>
                    <a:gd name="T18" fmla="*/ 0 w 55"/>
                    <a:gd name="T19" fmla="*/ 27 h 54"/>
                    <a:gd name="T20" fmla="*/ 0 w 55"/>
                    <a:gd name="T21" fmla="*/ 27 h 54"/>
                    <a:gd name="T22" fmla="*/ 0 w 55"/>
                    <a:gd name="T23" fmla="*/ 33 h 54"/>
                    <a:gd name="T24" fmla="*/ 3 w 55"/>
                    <a:gd name="T25" fmla="*/ 38 h 54"/>
                    <a:gd name="T26" fmla="*/ 5 w 55"/>
                    <a:gd name="T27" fmla="*/ 43 h 54"/>
                    <a:gd name="T28" fmla="*/ 9 w 55"/>
                    <a:gd name="T29" fmla="*/ 47 h 54"/>
                    <a:gd name="T30" fmla="*/ 12 w 55"/>
                    <a:gd name="T31" fmla="*/ 51 h 54"/>
                    <a:gd name="T32" fmla="*/ 17 w 55"/>
                    <a:gd name="T33" fmla="*/ 53 h 54"/>
                    <a:gd name="T34" fmla="*/ 22 w 55"/>
                    <a:gd name="T35" fmla="*/ 54 h 54"/>
                    <a:gd name="T36" fmla="*/ 28 w 55"/>
                    <a:gd name="T37" fmla="*/ 54 h 54"/>
                    <a:gd name="T38" fmla="*/ 28 w 55"/>
                    <a:gd name="T39" fmla="*/ 54 h 54"/>
                    <a:gd name="T40" fmla="*/ 32 w 55"/>
                    <a:gd name="T41" fmla="*/ 54 h 54"/>
                    <a:gd name="T42" fmla="*/ 38 w 55"/>
                    <a:gd name="T43" fmla="*/ 53 h 54"/>
                    <a:gd name="T44" fmla="*/ 43 w 55"/>
                    <a:gd name="T45" fmla="*/ 51 h 54"/>
                    <a:gd name="T46" fmla="*/ 47 w 55"/>
                    <a:gd name="T47" fmla="*/ 47 h 54"/>
                    <a:gd name="T48" fmla="*/ 50 w 55"/>
                    <a:gd name="T49" fmla="*/ 43 h 54"/>
                    <a:gd name="T50" fmla="*/ 53 w 55"/>
                    <a:gd name="T51" fmla="*/ 38 h 54"/>
                    <a:gd name="T52" fmla="*/ 54 w 55"/>
                    <a:gd name="T53" fmla="*/ 33 h 54"/>
                    <a:gd name="T54" fmla="*/ 55 w 55"/>
                    <a:gd name="T55" fmla="*/ 27 h 54"/>
                    <a:gd name="T56" fmla="*/ 55 w 55"/>
                    <a:gd name="T57" fmla="*/ 27 h 54"/>
                    <a:gd name="T58" fmla="*/ 54 w 55"/>
                    <a:gd name="T59" fmla="*/ 22 h 54"/>
                    <a:gd name="T60" fmla="*/ 53 w 55"/>
                    <a:gd name="T61" fmla="*/ 16 h 54"/>
                    <a:gd name="T62" fmla="*/ 50 w 55"/>
                    <a:gd name="T63" fmla="*/ 13 h 54"/>
                    <a:gd name="T64" fmla="*/ 47 w 55"/>
                    <a:gd name="T65" fmla="*/ 8 h 54"/>
                    <a:gd name="T66" fmla="*/ 43 w 55"/>
                    <a:gd name="T67" fmla="*/ 5 h 54"/>
                    <a:gd name="T68" fmla="*/ 38 w 55"/>
                    <a:gd name="T69" fmla="*/ 2 h 54"/>
                    <a:gd name="T70" fmla="*/ 32 w 55"/>
                    <a:gd name="T71" fmla="*/ 1 h 54"/>
                    <a:gd name="T72" fmla="*/ 28 w 55"/>
                    <a:gd name="T7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4">
                      <a:moveTo>
                        <a:pt x="28" y="0"/>
                      </a:moveTo>
                      <a:lnTo>
                        <a:pt x="28" y="0"/>
                      </a:lnTo>
                      <a:lnTo>
                        <a:pt x="22" y="1"/>
                      </a:lnTo>
                      <a:lnTo>
                        <a:pt x="17" y="2"/>
                      </a:lnTo>
                      <a:lnTo>
                        <a:pt x="12" y="5"/>
                      </a:lnTo>
                      <a:lnTo>
                        <a:pt x="9" y="8"/>
                      </a:lnTo>
                      <a:lnTo>
                        <a:pt x="5" y="13"/>
                      </a:lnTo>
                      <a:lnTo>
                        <a:pt x="3" y="16"/>
                      </a:lnTo>
                      <a:lnTo>
                        <a:pt x="0" y="22"/>
                      </a:lnTo>
                      <a:lnTo>
                        <a:pt x="0" y="27"/>
                      </a:lnTo>
                      <a:lnTo>
                        <a:pt x="0" y="27"/>
                      </a:lnTo>
                      <a:lnTo>
                        <a:pt x="0" y="33"/>
                      </a:lnTo>
                      <a:lnTo>
                        <a:pt x="3" y="38"/>
                      </a:lnTo>
                      <a:lnTo>
                        <a:pt x="5" y="43"/>
                      </a:lnTo>
                      <a:lnTo>
                        <a:pt x="9" y="47"/>
                      </a:lnTo>
                      <a:lnTo>
                        <a:pt x="12" y="51"/>
                      </a:lnTo>
                      <a:lnTo>
                        <a:pt x="17" y="53"/>
                      </a:lnTo>
                      <a:lnTo>
                        <a:pt x="22" y="54"/>
                      </a:lnTo>
                      <a:lnTo>
                        <a:pt x="28" y="54"/>
                      </a:lnTo>
                      <a:lnTo>
                        <a:pt x="28" y="54"/>
                      </a:lnTo>
                      <a:lnTo>
                        <a:pt x="32" y="54"/>
                      </a:lnTo>
                      <a:lnTo>
                        <a:pt x="38" y="53"/>
                      </a:lnTo>
                      <a:lnTo>
                        <a:pt x="43" y="51"/>
                      </a:lnTo>
                      <a:lnTo>
                        <a:pt x="47" y="47"/>
                      </a:lnTo>
                      <a:lnTo>
                        <a:pt x="50" y="43"/>
                      </a:lnTo>
                      <a:lnTo>
                        <a:pt x="53" y="38"/>
                      </a:lnTo>
                      <a:lnTo>
                        <a:pt x="54" y="33"/>
                      </a:lnTo>
                      <a:lnTo>
                        <a:pt x="55" y="27"/>
                      </a:lnTo>
                      <a:lnTo>
                        <a:pt x="55" y="27"/>
                      </a:lnTo>
                      <a:lnTo>
                        <a:pt x="54" y="22"/>
                      </a:lnTo>
                      <a:lnTo>
                        <a:pt x="53" y="16"/>
                      </a:lnTo>
                      <a:lnTo>
                        <a:pt x="50" y="13"/>
                      </a:lnTo>
                      <a:lnTo>
                        <a:pt x="47" y="8"/>
                      </a:lnTo>
                      <a:lnTo>
                        <a:pt x="43" y="5"/>
                      </a:lnTo>
                      <a:lnTo>
                        <a:pt x="38" y="2"/>
                      </a:lnTo>
                      <a:lnTo>
                        <a:pt x="32" y="1"/>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4" name="Freeform 445"/>
                <p:cNvSpPr>
                  <a:spLocks/>
                </p:cNvSpPr>
                <p:nvPr userDrawn="1"/>
              </p:nvSpPr>
              <p:spPr bwMode="auto">
                <a:xfrm>
                  <a:off x="10432596" y="3577724"/>
                  <a:ext cx="34925" cy="34925"/>
                </a:xfrm>
                <a:custGeom>
                  <a:avLst/>
                  <a:gdLst>
                    <a:gd name="T0" fmla="*/ 0 w 44"/>
                    <a:gd name="T1" fmla="*/ 21 h 44"/>
                    <a:gd name="T2" fmla="*/ 0 w 44"/>
                    <a:gd name="T3" fmla="*/ 21 h 44"/>
                    <a:gd name="T4" fmla="*/ 1 w 44"/>
                    <a:gd name="T5" fmla="*/ 26 h 44"/>
                    <a:gd name="T6" fmla="*/ 2 w 44"/>
                    <a:gd name="T7" fmla="*/ 31 h 44"/>
                    <a:gd name="T8" fmla="*/ 4 w 44"/>
                    <a:gd name="T9" fmla="*/ 34 h 44"/>
                    <a:gd name="T10" fmla="*/ 7 w 44"/>
                    <a:gd name="T11" fmla="*/ 38 h 44"/>
                    <a:gd name="T12" fmla="*/ 9 w 44"/>
                    <a:gd name="T13" fmla="*/ 40 h 44"/>
                    <a:gd name="T14" fmla="*/ 14 w 44"/>
                    <a:gd name="T15" fmla="*/ 43 h 44"/>
                    <a:gd name="T16" fmla="*/ 18 w 44"/>
                    <a:gd name="T17" fmla="*/ 44 h 44"/>
                    <a:gd name="T18" fmla="*/ 23 w 44"/>
                    <a:gd name="T19" fmla="*/ 44 h 44"/>
                    <a:gd name="T20" fmla="*/ 23 w 44"/>
                    <a:gd name="T21" fmla="*/ 44 h 44"/>
                    <a:gd name="T22" fmla="*/ 27 w 44"/>
                    <a:gd name="T23" fmla="*/ 44 h 44"/>
                    <a:gd name="T24" fmla="*/ 31 w 44"/>
                    <a:gd name="T25" fmla="*/ 43 h 44"/>
                    <a:gd name="T26" fmla="*/ 34 w 44"/>
                    <a:gd name="T27" fmla="*/ 40 h 44"/>
                    <a:gd name="T28" fmla="*/ 38 w 44"/>
                    <a:gd name="T29" fmla="*/ 38 h 44"/>
                    <a:gd name="T30" fmla="*/ 40 w 44"/>
                    <a:gd name="T31" fmla="*/ 34 h 44"/>
                    <a:gd name="T32" fmla="*/ 43 w 44"/>
                    <a:gd name="T33" fmla="*/ 31 h 44"/>
                    <a:gd name="T34" fmla="*/ 44 w 44"/>
                    <a:gd name="T35" fmla="*/ 26 h 44"/>
                    <a:gd name="T36" fmla="*/ 44 w 44"/>
                    <a:gd name="T37" fmla="*/ 21 h 44"/>
                    <a:gd name="T38" fmla="*/ 44 w 44"/>
                    <a:gd name="T39" fmla="*/ 21 h 44"/>
                    <a:gd name="T40" fmla="*/ 44 w 44"/>
                    <a:gd name="T41" fmla="*/ 18 h 44"/>
                    <a:gd name="T42" fmla="*/ 43 w 44"/>
                    <a:gd name="T43" fmla="*/ 13 h 44"/>
                    <a:gd name="T44" fmla="*/ 40 w 44"/>
                    <a:gd name="T45" fmla="*/ 9 h 44"/>
                    <a:gd name="T46" fmla="*/ 38 w 44"/>
                    <a:gd name="T47" fmla="*/ 6 h 44"/>
                    <a:gd name="T48" fmla="*/ 34 w 44"/>
                    <a:gd name="T49" fmla="*/ 3 h 44"/>
                    <a:gd name="T50" fmla="*/ 31 w 44"/>
                    <a:gd name="T51" fmla="*/ 1 h 44"/>
                    <a:gd name="T52" fmla="*/ 27 w 44"/>
                    <a:gd name="T53" fmla="*/ 0 h 44"/>
                    <a:gd name="T54" fmla="*/ 23 w 44"/>
                    <a:gd name="T55" fmla="*/ 0 h 44"/>
                    <a:gd name="T56" fmla="*/ 23 w 44"/>
                    <a:gd name="T57" fmla="*/ 0 h 44"/>
                    <a:gd name="T58" fmla="*/ 18 w 44"/>
                    <a:gd name="T59" fmla="*/ 0 h 44"/>
                    <a:gd name="T60" fmla="*/ 14 w 44"/>
                    <a:gd name="T61" fmla="*/ 1 h 44"/>
                    <a:gd name="T62" fmla="*/ 9 w 44"/>
                    <a:gd name="T63" fmla="*/ 3 h 44"/>
                    <a:gd name="T64" fmla="*/ 7 w 44"/>
                    <a:gd name="T65" fmla="*/ 6 h 44"/>
                    <a:gd name="T66" fmla="*/ 4 w 44"/>
                    <a:gd name="T67" fmla="*/ 9 h 44"/>
                    <a:gd name="T68" fmla="*/ 2 w 44"/>
                    <a:gd name="T69" fmla="*/ 13 h 44"/>
                    <a:gd name="T70" fmla="*/ 1 w 44"/>
                    <a:gd name="T71" fmla="*/ 18 h 44"/>
                    <a:gd name="T72" fmla="*/ 0 w 44"/>
                    <a:gd name="T73" fmla="*/ 21 h 44"/>
                    <a:gd name="T74" fmla="*/ 0 w 44"/>
                    <a:gd name="T75"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 h="44">
                      <a:moveTo>
                        <a:pt x="0" y="21"/>
                      </a:moveTo>
                      <a:lnTo>
                        <a:pt x="0" y="21"/>
                      </a:lnTo>
                      <a:lnTo>
                        <a:pt x="1" y="26"/>
                      </a:lnTo>
                      <a:lnTo>
                        <a:pt x="2" y="31"/>
                      </a:lnTo>
                      <a:lnTo>
                        <a:pt x="4" y="34"/>
                      </a:lnTo>
                      <a:lnTo>
                        <a:pt x="7" y="38"/>
                      </a:lnTo>
                      <a:lnTo>
                        <a:pt x="9" y="40"/>
                      </a:lnTo>
                      <a:lnTo>
                        <a:pt x="14" y="43"/>
                      </a:lnTo>
                      <a:lnTo>
                        <a:pt x="18" y="44"/>
                      </a:lnTo>
                      <a:lnTo>
                        <a:pt x="23" y="44"/>
                      </a:lnTo>
                      <a:lnTo>
                        <a:pt x="23" y="44"/>
                      </a:lnTo>
                      <a:lnTo>
                        <a:pt x="27" y="44"/>
                      </a:lnTo>
                      <a:lnTo>
                        <a:pt x="31" y="43"/>
                      </a:lnTo>
                      <a:lnTo>
                        <a:pt x="34" y="40"/>
                      </a:lnTo>
                      <a:lnTo>
                        <a:pt x="38" y="38"/>
                      </a:lnTo>
                      <a:lnTo>
                        <a:pt x="40" y="34"/>
                      </a:lnTo>
                      <a:lnTo>
                        <a:pt x="43" y="31"/>
                      </a:lnTo>
                      <a:lnTo>
                        <a:pt x="44" y="26"/>
                      </a:lnTo>
                      <a:lnTo>
                        <a:pt x="44" y="21"/>
                      </a:lnTo>
                      <a:lnTo>
                        <a:pt x="44" y="21"/>
                      </a:lnTo>
                      <a:lnTo>
                        <a:pt x="44" y="18"/>
                      </a:lnTo>
                      <a:lnTo>
                        <a:pt x="43" y="13"/>
                      </a:lnTo>
                      <a:lnTo>
                        <a:pt x="40" y="9"/>
                      </a:lnTo>
                      <a:lnTo>
                        <a:pt x="38" y="6"/>
                      </a:lnTo>
                      <a:lnTo>
                        <a:pt x="34" y="3"/>
                      </a:lnTo>
                      <a:lnTo>
                        <a:pt x="31" y="1"/>
                      </a:lnTo>
                      <a:lnTo>
                        <a:pt x="27" y="0"/>
                      </a:lnTo>
                      <a:lnTo>
                        <a:pt x="23" y="0"/>
                      </a:lnTo>
                      <a:lnTo>
                        <a:pt x="23" y="0"/>
                      </a:lnTo>
                      <a:lnTo>
                        <a:pt x="18" y="0"/>
                      </a:lnTo>
                      <a:lnTo>
                        <a:pt x="14" y="1"/>
                      </a:lnTo>
                      <a:lnTo>
                        <a:pt x="9" y="3"/>
                      </a:lnTo>
                      <a:lnTo>
                        <a:pt x="7" y="6"/>
                      </a:lnTo>
                      <a:lnTo>
                        <a:pt x="4" y="9"/>
                      </a:lnTo>
                      <a:lnTo>
                        <a:pt x="2" y="13"/>
                      </a:lnTo>
                      <a:lnTo>
                        <a:pt x="1" y="18"/>
                      </a:lnTo>
                      <a:lnTo>
                        <a:pt x="0" y="21"/>
                      </a:lnTo>
                      <a:lnTo>
                        <a:pt x="0" y="21"/>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5" name="Freeform 446"/>
                <p:cNvSpPr>
                  <a:spLocks/>
                </p:cNvSpPr>
                <p:nvPr userDrawn="1"/>
              </p:nvSpPr>
              <p:spPr bwMode="auto">
                <a:xfrm>
                  <a:off x="10432596" y="3577724"/>
                  <a:ext cx="34925" cy="17463"/>
                </a:xfrm>
                <a:custGeom>
                  <a:avLst/>
                  <a:gdLst>
                    <a:gd name="T0" fmla="*/ 23 w 44"/>
                    <a:gd name="T1" fmla="*/ 0 h 21"/>
                    <a:gd name="T2" fmla="*/ 23 w 44"/>
                    <a:gd name="T3" fmla="*/ 0 h 21"/>
                    <a:gd name="T4" fmla="*/ 27 w 44"/>
                    <a:gd name="T5" fmla="*/ 0 h 21"/>
                    <a:gd name="T6" fmla="*/ 31 w 44"/>
                    <a:gd name="T7" fmla="*/ 1 h 21"/>
                    <a:gd name="T8" fmla="*/ 34 w 44"/>
                    <a:gd name="T9" fmla="*/ 3 h 21"/>
                    <a:gd name="T10" fmla="*/ 38 w 44"/>
                    <a:gd name="T11" fmla="*/ 6 h 21"/>
                    <a:gd name="T12" fmla="*/ 40 w 44"/>
                    <a:gd name="T13" fmla="*/ 9 h 21"/>
                    <a:gd name="T14" fmla="*/ 43 w 44"/>
                    <a:gd name="T15" fmla="*/ 13 h 21"/>
                    <a:gd name="T16" fmla="*/ 44 w 44"/>
                    <a:gd name="T17" fmla="*/ 18 h 21"/>
                    <a:gd name="T18" fmla="*/ 44 w 44"/>
                    <a:gd name="T19" fmla="*/ 21 h 21"/>
                    <a:gd name="T20" fmla="*/ 0 w 44"/>
                    <a:gd name="T21" fmla="*/ 21 h 21"/>
                    <a:gd name="T22" fmla="*/ 0 w 44"/>
                    <a:gd name="T23" fmla="*/ 21 h 21"/>
                    <a:gd name="T24" fmla="*/ 1 w 44"/>
                    <a:gd name="T25" fmla="*/ 18 h 21"/>
                    <a:gd name="T26" fmla="*/ 2 w 44"/>
                    <a:gd name="T27" fmla="*/ 13 h 21"/>
                    <a:gd name="T28" fmla="*/ 4 w 44"/>
                    <a:gd name="T29" fmla="*/ 9 h 21"/>
                    <a:gd name="T30" fmla="*/ 7 w 44"/>
                    <a:gd name="T31" fmla="*/ 6 h 21"/>
                    <a:gd name="T32" fmla="*/ 9 w 44"/>
                    <a:gd name="T33" fmla="*/ 3 h 21"/>
                    <a:gd name="T34" fmla="*/ 14 w 44"/>
                    <a:gd name="T35" fmla="*/ 1 h 21"/>
                    <a:gd name="T36" fmla="*/ 18 w 44"/>
                    <a:gd name="T37" fmla="*/ 0 h 21"/>
                    <a:gd name="T38" fmla="*/ 23 w 44"/>
                    <a:gd name="T39" fmla="*/ 0 h 21"/>
                    <a:gd name="T40" fmla="*/ 23 w 44"/>
                    <a:gd name="T4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 h="21">
                      <a:moveTo>
                        <a:pt x="23" y="0"/>
                      </a:moveTo>
                      <a:lnTo>
                        <a:pt x="23" y="0"/>
                      </a:lnTo>
                      <a:lnTo>
                        <a:pt x="27" y="0"/>
                      </a:lnTo>
                      <a:lnTo>
                        <a:pt x="31" y="1"/>
                      </a:lnTo>
                      <a:lnTo>
                        <a:pt x="34" y="3"/>
                      </a:lnTo>
                      <a:lnTo>
                        <a:pt x="38" y="6"/>
                      </a:lnTo>
                      <a:lnTo>
                        <a:pt x="40" y="9"/>
                      </a:lnTo>
                      <a:lnTo>
                        <a:pt x="43" y="13"/>
                      </a:lnTo>
                      <a:lnTo>
                        <a:pt x="44" y="18"/>
                      </a:lnTo>
                      <a:lnTo>
                        <a:pt x="44" y="21"/>
                      </a:lnTo>
                      <a:lnTo>
                        <a:pt x="0" y="21"/>
                      </a:lnTo>
                      <a:lnTo>
                        <a:pt x="0" y="21"/>
                      </a:lnTo>
                      <a:lnTo>
                        <a:pt x="1" y="18"/>
                      </a:lnTo>
                      <a:lnTo>
                        <a:pt x="2" y="13"/>
                      </a:lnTo>
                      <a:lnTo>
                        <a:pt x="4" y="9"/>
                      </a:lnTo>
                      <a:lnTo>
                        <a:pt x="7" y="6"/>
                      </a:lnTo>
                      <a:lnTo>
                        <a:pt x="9" y="3"/>
                      </a:lnTo>
                      <a:lnTo>
                        <a:pt x="14" y="1"/>
                      </a:lnTo>
                      <a:lnTo>
                        <a:pt x="18" y="0"/>
                      </a:lnTo>
                      <a:lnTo>
                        <a:pt x="23" y="0"/>
                      </a:lnTo>
                      <a:lnTo>
                        <a:pt x="23"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6" name="Freeform 447"/>
                <p:cNvSpPr>
                  <a:spLocks/>
                </p:cNvSpPr>
                <p:nvPr userDrawn="1"/>
              </p:nvSpPr>
              <p:spPr bwMode="auto">
                <a:xfrm>
                  <a:off x="10429421" y="3515811"/>
                  <a:ext cx="42863" cy="44450"/>
                </a:xfrm>
                <a:custGeom>
                  <a:avLst/>
                  <a:gdLst>
                    <a:gd name="T0" fmla="*/ 28 w 55"/>
                    <a:gd name="T1" fmla="*/ 0 h 55"/>
                    <a:gd name="T2" fmla="*/ 28 w 55"/>
                    <a:gd name="T3" fmla="*/ 0 h 55"/>
                    <a:gd name="T4" fmla="*/ 22 w 55"/>
                    <a:gd name="T5" fmla="*/ 2 h 55"/>
                    <a:gd name="T6" fmla="*/ 17 w 55"/>
                    <a:gd name="T7" fmla="*/ 3 h 55"/>
                    <a:gd name="T8" fmla="*/ 12 w 55"/>
                    <a:gd name="T9" fmla="*/ 5 h 55"/>
                    <a:gd name="T10" fmla="*/ 9 w 55"/>
                    <a:gd name="T11" fmla="*/ 9 h 55"/>
                    <a:gd name="T12" fmla="*/ 5 w 55"/>
                    <a:gd name="T13" fmla="*/ 12 h 55"/>
                    <a:gd name="T14" fmla="*/ 3 w 55"/>
                    <a:gd name="T15" fmla="*/ 17 h 55"/>
                    <a:gd name="T16" fmla="*/ 0 w 55"/>
                    <a:gd name="T17" fmla="*/ 23 h 55"/>
                    <a:gd name="T18" fmla="*/ 0 w 55"/>
                    <a:gd name="T19" fmla="*/ 28 h 55"/>
                    <a:gd name="T20" fmla="*/ 0 w 55"/>
                    <a:gd name="T21" fmla="*/ 28 h 55"/>
                    <a:gd name="T22" fmla="*/ 0 w 55"/>
                    <a:gd name="T23" fmla="*/ 34 h 55"/>
                    <a:gd name="T24" fmla="*/ 3 w 55"/>
                    <a:gd name="T25" fmla="*/ 38 h 55"/>
                    <a:gd name="T26" fmla="*/ 5 w 55"/>
                    <a:gd name="T27" fmla="*/ 43 h 55"/>
                    <a:gd name="T28" fmla="*/ 9 w 55"/>
                    <a:gd name="T29" fmla="*/ 48 h 55"/>
                    <a:gd name="T30" fmla="*/ 12 w 55"/>
                    <a:gd name="T31" fmla="*/ 50 h 55"/>
                    <a:gd name="T32" fmla="*/ 17 w 55"/>
                    <a:gd name="T33" fmla="*/ 54 h 55"/>
                    <a:gd name="T34" fmla="*/ 22 w 55"/>
                    <a:gd name="T35" fmla="*/ 55 h 55"/>
                    <a:gd name="T36" fmla="*/ 28 w 55"/>
                    <a:gd name="T37" fmla="*/ 55 h 55"/>
                    <a:gd name="T38" fmla="*/ 28 w 55"/>
                    <a:gd name="T39" fmla="*/ 55 h 55"/>
                    <a:gd name="T40" fmla="*/ 32 w 55"/>
                    <a:gd name="T41" fmla="*/ 55 h 55"/>
                    <a:gd name="T42" fmla="*/ 38 w 55"/>
                    <a:gd name="T43" fmla="*/ 54 h 55"/>
                    <a:gd name="T44" fmla="*/ 43 w 55"/>
                    <a:gd name="T45" fmla="*/ 50 h 55"/>
                    <a:gd name="T46" fmla="*/ 47 w 55"/>
                    <a:gd name="T47" fmla="*/ 48 h 55"/>
                    <a:gd name="T48" fmla="*/ 50 w 55"/>
                    <a:gd name="T49" fmla="*/ 43 h 55"/>
                    <a:gd name="T50" fmla="*/ 53 w 55"/>
                    <a:gd name="T51" fmla="*/ 38 h 55"/>
                    <a:gd name="T52" fmla="*/ 54 w 55"/>
                    <a:gd name="T53" fmla="*/ 34 h 55"/>
                    <a:gd name="T54" fmla="*/ 55 w 55"/>
                    <a:gd name="T55" fmla="*/ 28 h 55"/>
                    <a:gd name="T56" fmla="*/ 55 w 55"/>
                    <a:gd name="T57" fmla="*/ 28 h 55"/>
                    <a:gd name="T58" fmla="*/ 54 w 55"/>
                    <a:gd name="T59" fmla="*/ 23 h 55"/>
                    <a:gd name="T60" fmla="*/ 53 w 55"/>
                    <a:gd name="T61" fmla="*/ 17 h 55"/>
                    <a:gd name="T62" fmla="*/ 50 w 55"/>
                    <a:gd name="T63" fmla="*/ 12 h 55"/>
                    <a:gd name="T64" fmla="*/ 47 w 55"/>
                    <a:gd name="T65" fmla="*/ 9 h 55"/>
                    <a:gd name="T66" fmla="*/ 43 w 55"/>
                    <a:gd name="T67" fmla="*/ 5 h 55"/>
                    <a:gd name="T68" fmla="*/ 38 w 55"/>
                    <a:gd name="T69" fmla="*/ 3 h 55"/>
                    <a:gd name="T70" fmla="*/ 32 w 55"/>
                    <a:gd name="T71" fmla="*/ 2 h 55"/>
                    <a:gd name="T72" fmla="*/ 28 w 55"/>
                    <a:gd name="T7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5">
                      <a:moveTo>
                        <a:pt x="28" y="0"/>
                      </a:moveTo>
                      <a:lnTo>
                        <a:pt x="28" y="0"/>
                      </a:lnTo>
                      <a:lnTo>
                        <a:pt x="22" y="2"/>
                      </a:lnTo>
                      <a:lnTo>
                        <a:pt x="17" y="3"/>
                      </a:lnTo>
                      <a:lnTo>
                        <a:pt x="12" y="5"/>
                      </a:lnTo>
                      <a:lnTo>
                        <a:pt x="9" y="9"/>
                      </a:lnTo>
                      <a:lnTo>
                        <a:pt x="5" y="12"/>
                      </a:lnTo>
                      <a:lnTo>
                        <a:pt x="3" y="17"/>
                      </a:lnTo>
                      <a:lnTo>
                        <a:pt x="0" y="23"/>
                      </a:lnTo>
                      <a:lnTo>
                        <a:pt x="0" y="28"/>
                      </a:lnTo>
                      <a:lnTo>
                        <a:pt x="0" y="28"/>
                      </a:lnTo>
                      <a:lnTo>
                        <a:pt x="0" y="34"/>
                      </a:lnTo>
                      <a:lnTo>
                        <a:pt x="3" y="38"/>
                      </a:lnTo>
                      <a:lnTo>
                        <a:pt x="5" y="43"/>
                      </a:lnTo>
                      <a:lnTo>
                        <a:pt x="9" y="48"/>
                      </a:lnTo>
                      <a:lnTo>
                        <a:pt x="12" y="50"/>
                      </a:lnTo>
                      <a:lnTo>
                        <a:pt x="17" y="54"/>
                      </a:lnTo>
                      <a:lnTo>
                        <a:pt x="22" y="55"/>
                      </a:lnTo>
                      <a:lnTo>
                        <a:pt x="28" y="55"/>
                      </a:lnTo>
                      <a:lnTo>
                        <a:pt x="28" y="55"/>
                      </a:lnTo>
                      <a:lnTo>
                        <a:pt x="32" y="55"/>
                      </a:lnTo>
                      <a:lnTo>
                        <a:pt x="38" y="54"/>
                      </a:lnTo>
                      <a:lnTo>
                        <a:pt x="43" y="50"/>
                      </a:lnTo>
                      <a:lnTo>
                        <a:pt x="47" y="48"/>
                      </a:lnTo>
                      <a:lnTo>
                        <a:pt x="50" y="43"/>
                      </a:lnTo>
                      <a:lnTo>
                        <a:pt x="53" y="38"/>
                      </a:lnTo>
                      <a:lnTo>
                        <a:pt x="54" y="34"/>
                      </a:lnTo>
                      <a:lnTo>
                        <a:pt x="55" y="28"/>
                      </a:lnTo>
                      <a:lnTo>
                        <a:pt x="55" y="28"/>
                      </a:lnTo>
                      <a:lnTo>
                        <a:pt x="54" y="23"/>
                      </a:lnTo>
                      <a:lnTo>
                        <a:pt x="53" y="17"/>
                      </a:lnTo>
                      <a:lnTo>
                        <a:pt x="50" y="12"/>
                      </a:lnTo>
                      <a:lnTo>
                        <a:pt x="47" y="9"/>
                      </a:lnTo>
                      <a:lnTo>
                        <a:pt x="43" y="5"/>
                      </a:lnTo>
                      <a:lnTo>
                        <a:pt x="38" y="3"/>
                      </a:lnTo>
                      <a:lnTo>
                        <a:pt x="32" y="2"/>
                      </a:lnTo>
                      <a:lnTo>
                        <a:pt x="28"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7" name="Freeform 448"/>
                <p:cNvSpPr>
                  <a:spLocks/>
                </p:cNvSpPr>
                <p:nvPr userDrawn="1"/>
              </p:nvSpPr>
              <p:spPr bwMode="auto">
                <a:xfrm>
                  <a:off x="10429421" y="3515811"/>
                  <a:ext cx="42863" cy="44450"/>
                </a:xfrm>
                <a:custGeom>
                  <a:avLst/>
                  <a:gdLst>
                    <a:gd name="T0" fmla="*/ 28 w 55"/>
                    <a:gd name="T1" fmla="*/ 0 h 55"/>
                    <a:gd name="T2" fmla="*/ 28 w 55"/>
                    <a:gd name="T3" fmla="*/ 0 h 55"/>
                    <a:gd name="T4" fmla="*/ 22 w 55"/>
                    <a:gd name="T5" fmla="*/ 2 h 55"/>
                    <a:gd name="T6" fmla="*/ 17 w 55"/>
                    <a:gd name="T7" fmla="*/ 3 h 55"/>
                    <a:gd name="T8" fmla="*/ 12 w 55"/>
                    <a:gd name="T9" fmla="*/ 5 h 55"/>
                    <a:gd name="T10" fmla="*/ 9 w 55"/>
                    <a:gd name="T11" fmla="*/ 9 h 55"/>
                    <a:gd name="T12" fmla="*/ 5 w 55"/>
                    <a:gd name="T13" fmla="*/ 12 h 55"/>
                    <a:gd name="T14" fmla="*/ 3 w 55"/>
                    <a:gd name="T15" fmla="*/ 17 h 55"/>
                    <a:gd name="T16" fmla="*/ 0 w 55"/>
                    <a:gd name="T17" fmla="*/ 23 h 55"/>
                    <a:gd name="T18" fmla="*/ 0 w 55"/>
                    <a:gd name="T19" fmla="*/ 28 h 55"/>
                    <a:gd name="T20" fmla="*/ 0 w 55"/>
                    <a:gd name="T21" fmla="*/ 28 h 55"/>
                    <a:gd name="T22" fmla="*/ 0 w 55"/>
                    <a:gd name="T23" fmla="*/ 34 h 55"/>
                    <a:gd name="T24" fmla="*/ 3 w 55"/>
                    <a:gd name="T25" fmla="*/ 38 h 55"/>
                    <a:gd name="T26" fmla="*/ 5 w 55"/>
                    <a:gd name="T27" fmla="*/ 43 h 55"/>
                    <a:gd name="T28" fmla="*/ 9 w 55"/>
                    <a:gd name="T29" fmla="*/ 48 h 55"/>
                    <a:gd name="T30" fmla="*/ 12 w 55"/>
                    <a:gd name="T31" fmla="*/ 50 h 55"/>
                    <a:gd name="T32" fmla="*/ 17 w 55"/>
                    <a:gd name="T33" fmla="*/ 54 h 55"/>
                    <a:gd name="T34" fmla="*/ 22 w 55"/>
                    <a:gd name="T35" fmla="*/ 55 h 55"/>
                    <a:gd name="T36" fmla="*/ 28 w 55"/>
                    <a:gd name="T37" fmla="*/ 55 h 55"/>
                    <a:gd name="T38" fmla="*/ 28 w 55"/>
                    <a:gd name="T39" fmla="*/ 55 h 55"/>
                    <a:gd name="T40" fmla="*/ 32 w 55"/>
                    <a:gd name="T41" fmla="*/ 55 h 55"/>
                    <a:gd name="T42" fmla="*/ 38 w 55"/>
                    <a:gd name="T43" fmla="*/ 54 h 55"/>
                    <a:gd name="T44" fmla="*/ 43 w 55"/>
                    <a:gd name="T45" fmla="*/ 50 h 55"/>
                    <a:gd name="T46" fmla="*/ 47 w 55"/>
                    <a:gd name="T47" fmla="*/ 48 h 55"/>
                    <a:gd name="T48" fmla="*/ 50 w 55"/>
                    <a:gd name="T49" fmla="*/ 43 h 55"/>
                    <a:gd name="T50" fmla="*/ 53 w 55"/>
                    <a:gd name="T51" fmla="*/ 38 h 55"/>
                    <a:gd name="T52" fmla="*/ 54 w 55"/>
                    <a:gd name="T53" fmla="*/ 34 h 55"/>
                    <a:gd name="T54" fmla="*/ 55 w 55"/>
                    <a:gd name="T55" fmla="*/ 28 h 55"/>
                    <a:gd name="T56" fmla="*/ 55 w 55"/>
                    <a:gd name="T57" fmla="*/ 28 h 55"/>
                    <a:gd name="T58" fmla="*/ 54 w 55"/>
                    <a:gd name="T59" fmla="*/ 23 h 55"/>
                    <a:gd name="T60" fmla="*/ 53 w 55"/>
                    <a:gd name="T61" fmla="*/ 17 h 55"/>
                    <a:gd name="T62" fmla="*/ 50 w 55"/>
                    <a:gd name="T63" fmla="*/ 12 h 55"/>
                    <a:gd name="T64" fmla="*/ 47 w 55"/>
                    <a:gd name="T65" fmla="*/ 9 h 55"/>
                    <a:gd name="T66" fmla="*/ 43 w 55"/>
                    <a:gd name="T67" fmla="*/ 5 h 55"/>
                    <a:gd name="T68" fmla="*/ 38 w 55"/>
                    <a:gd name="T69" fmla="*/ 3 h 55"/>
                    <a:gd name="T70" fmla="*/ 32 w 55"/>
                    <a:gd name="T71" fmla="*/ 2 h 55"/>
                    <a:gd name="T72" fmla="*/ 28 w 55"/>
                    <a:gd name="T7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5">
                      <a:moveTo>
                        <a:pt x="28" y="0"/>
                      </a:moveTo>
                      <a:lnTo>
                        <a:pt x="28" y="0"/>
                      </a:lnTo>
                      <a:lnTo>
                        <a:pt x="22" y="2"/>
                      </a:lnTo>
                      <a:lnTo>
                        <a:pt x="17" y="3"/>
                      </a:lnTo>
                      <a:lnTo>
                        <a:pt x="12" y="5"/>
                      </a:lnTo>
                      <a:lnTo>
                        <a:pt x="9" y="9"/>
                      </a:lnTo>
                      <a:lnTo>
                        <a:pt x="5" y="12"/>
                      </a:lnTo>
                      <a:lnTo>
                        <a:pt x="3" y="17"/>
                      </a:lnTo>
                      <a:lnTo>
                        <a:pt x="0" y="23"/>
                      </a:lnTo>
                      <a:lnTo>
                        <a:pt x="0" y="28"/>
                      </a:lnTo>
                      <a:lnTo>
                        <a:pt x="0" y="28"/>
                      </a:lnTo>
                      <a:lnTo>
                        <a:pt x="0" y="34"/>
                      </a:lnTo>
                      <a:lnTo>
                        <a:pt x="3" y="38"/>
                      </a:lnTo>
                      <a:lnTo>
                        <a:pt x="5" y="43"/>
                      </a:lnTo>
                      <a:lnTo>
                        <a:pt x="9" y="48"/>
                      </a:lnTo>
                      <a:lnTo>
                        <a:pt x="12" y="50"/>
                      </a:lnTo>
                      <a:lnTo>
                        <a:pt x="17" y="54"/>
                      </a:lnTo>
                      <a:lnTo>
                        <a:pt x="22" y="55"/>
                      </a:lnTo>
                      <a:lnTo>
                        <a:pt x="28" y="55"/>
                      </a:lnTo>
                      <a:lnTo>
                        <a:pt x="28" y="55"/>
                      </a:lnTo>
                      <a:lnTo>
                        <a:pt x="32" y="55"/>
                      </a:lnTo>
                      <a:lnTo>
                        <a:pt x="38" y="54"/>
                      </a:lnTo>
                      <a:lnTo>
                        <a:pt x="43" y="50"/>
                      </a:lnTo>
                      <a:lnTo>
                        <a:pt x="47" y="48"/>
                      </a:lnTo>
                      <a:lnTo>
                        <a:pt x="50" y="43"/>
                      </a:lnTo>
                      <a:lnTo>
                        <a:pt x="53" y="38"/>
                      </a:lnTo>
                      <a:lnTo>
                        <a:pt x="54" y="34"/>
                      </a:lnTo>
                      <a:lnTo>
                        <a:pt x="55" y="28"/>
                      </a:lnTo>
                      <a:lnTo>
                        <a:pt x="55" y="28"/>
                      </a:lnTo>
                      <a:lnTo>
                        <a:pt x="54" y="23"/>
                      </a:lnTo>
                      <a:lnTo>
                        <a:pt x="53" y="17"/>
                      </a:lnTo>
                      <a:lnTo>
                        <a:pt x="50" y="12"/>
                      </a:lnTo>
                      <a:lnTo>
                        <a:pt x="47" y="9"/>
                      </a:lnTo>
                      <a:lnTo>
                        <a:pt x="43" y="5"/>
                      </a:lnTo>
                      <a:lnTo>
                        <a:pt x="38" y="3"/>
                      </a:lnTo>
                      <a:lnTo>
                        <a:pt x="32" y="2"/>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8" name="Freeform 449"/>
                <p:cNvSpPr>
                  <a:spLocks/>
                </p:cNvSpPr>
                <p:nvPr userDrawn="1"/>
              </p:nvSpPr>
              <p:spPr bwMode="auto">
                <a:xfrm>
                  <a:off x="10432596" y="3520574"/>
                  <a:ext cx="34925" cy="34925"/>
                </a:xfrm>
                <a:custGeom>
                  <a:avLst/>
                  <a:gdLst>
                    <a:gd name="T0" fmla="*/ 0 w 44"/>
                    <a:gd name="T1" fmla="*/ 22 h 44"/>
                    <a:gd name="T2" fmla="*/ 0 w 44"/>
                    <a:gd name="T3" fmla="*/ 22 h 44"/>
                    <a:gd name="T4" fmla="*/ 1 w 44"/>
                    <a:gd name="T5" fmla="*/ 27 h 44"/>
                    <a:gd name="T6" fmla="*/ 2 w 44"/>
                    <a:gd name="T7" fmla="*/ 31 h 44"/>
                    <a:gd name="T8" fmla="*/ 4 w 44"/>
                    <a:gd name="T9" fmla="*/ 35 h 44"/>
                    <a:gd name="T10" fmla="*/ 7 w 44"/>
                    <a:gd name="T11" fmla="*/ 37 h 44"/>
                    <a:gd name="T12" fmla="*/ 9 w 44"/>
                    <a:gd name="T13" fmla="*/ 41 h 44"/>
                    <a:gd name="T14" fmla="*/ 14 w 44"/>
                    <a:gd name="T15" fmla="*/ 42 h 44"/>
                    <a:gd name="T16" fmla="*/ 18 w 44"/>
                    <a:gd name="T17" fmla="*/ 44 h 44"/>
                    <a:gd name="T18" fmla="*/ 23 w 44"/>
                    <a:gd name="T19" fmla="*/ 44 h 44"/>
                    <a:gd name="T20" fmla="*/ 23 w 44"/>
                    <a:gd name="T21" fmla="*/ 44 h 44"/>
                    <a:gd name="T22" fmla="*/ 27 w 44"/>
                    <a:gd name="T23" fmla="*/ 44 h 44"/>
                    <a:gd name="T24" fmla="*/ 31 w 44"/>
                    <a:gd name="T25" fmla="*/ 42 h 44"/>
                    <a:gd name="T26" fmla="*/ 34 w 44"/>
                    <a:gd name="T27" fmla="*/ 41 h 44"/>
                    <a:gd name="T28" fmla="*/ 38 w 44"/>
                    <a:gd name="T29" fmla="*/ 37 h 44"/>
                    <a:gd name="T30" fmla="*/ 40 w 44"/>
                    <a:gd name="T31" fmla="*/ 35 h 44"/>
                    <a:gd name="T32" fmla="*/ 43 w 44"/>
                    <a:gd name="T33" fmla="*/ 31 h 44"/>
                    <a:gd name="T34" fmla="*/ 44 w 44"/>
                    <a:gd name="T35" fmla="*/ 27 h 44"/>
                    <a:gd name="T36" fmla="*/ 44 w 44"/>
                    <a:gd name="T37" fmla="*/ 22 h 44"/>
                    <a:gd name="T38" fmla="*/ 44 w 44"/>
                    <a:gd name="T39" fmla="*/ 22 h 44"/>
                    <a:gd name="T40" fmla="*/ 44 w 44"/>
                    <a:gd name="T41" fmla="*/ 18 h 44"/>
                    <a:gd name="T42" fmla="*/ 43 w 44"/>
                    <a:gd name="T43" fmla="*/ 13 h 44"/>
                    <a:gd name="T44" fmla="*/ 40 w 44"/>
                    <a:gd name="T45" fmla="*/ 10 h 44"/>
                    <a:gd name="T46" fmla="*/ 38 w 44"/>
                    <a:gd name="T47" fmla="*/ 6 h 44"/>
                    <a:gd name="T48" fmla="*/ 34 w 44"/>
                    <a:gd name="T49" fmla="*/ 4 h 44"/>
                    <a:gd name="T50" fmla="*/ 31 w 44"/>
                    <a:gd name="T51" fmla="*/ 2 h 44"/>
                    <a:gd name="T52" fmla="*/ 27 w 44"/>
                    <a:gd name="T53" fmla="*/ 0 h 44"/>
                    <a:gd name="T54" fmla="*/ 23 w 44"/>
                    <a:gd name="T55" fmla="*/ 0 h 44"/>
                    <a:gd name="T56" fmla="*/ 23 w 44"/>
                    <a:gd name="T57" fmla="*/ 0 h 44"/>
                    <a:gd name="T58" fmla="*/ 18 w 44"/>
                    <a:gd name="T59" fmla="*/ 0 h 44"/>
                    <a:gd name="T60" fmla="*/ 14 w 44"/>
                    <a:gd name="T61" fmla="*/ 2 h 44"/>
                    <a:gd name="T62" fmla="*/ 9 w 44"/>
                    <a:gd name="T63" fmla="*/ 4 h 44"/>
                    <a:gd name="T64" fmla="*/ 7 w 44"/>
                    <a:gd name="T65" fmla="*/ 6 h 44"/>
                    <a:gd name="T66" fmla="*/ 4 w 44"/>
                    <a:gd name="T67" fmla="*/ 10 h 44"/>
                    <a:gd name="T68" fmla="*/ 2 w 44"/>
                    <a:gd name="T69" fmla="*/ 13 h 44"/>
                    <a:gd name="T70" fmla="*/ 1 w 44"/>
                    <a:gd name="T71" fmla="*/ 18 h 44"/>
                    <a:gd name="T72" fmla="*/ 0 w 44"/>
                    <a:gd name="T73" fmla="*/ 22 h 44"/>
                    <a:gd name="T74" fmla="*/ 0 w 44"/>
                    <a:gd name="T75"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 h="44">
                      <a:moveTo>
                        <a:pt x="0" y="22"/>
                      </a:moveTo>
                      <a:lnTo>
                        <a:pt x="0" y="22"/>
                      </a:lnTo>
                      <a:lnTo>
                        <a:pt x="1" y="27"/>
                      </a:lnTo>
                      <a:lnTo>
                        <a:pt x="2" y="31"/>
                      </a:lnTo>
                      <a:lnTo>
                        <a:pt x="4" y="35"/>
                      </a:lnTo>
                      <a:lnTo>
                        <a:pt x="7" y="37"/>
                      </a:lnTo>
                      <a:lnTo>
                        <a:pt x="9" y="41"/>
                      </a:lnTo>
                      <a:lnTo>
                        <a:pt x="14" y="42"/>
                      </a:lnTo>
                      <a:lnTo>
                        <a:pt x="18" y="44"/>
                      </a:lnTo>
                      <a:lnTo>
                        <a:pt x="23" y="44"/>
                      </a:lnTo>
                      <a:lnTo>
                        <a:pt x="23" y="44"/>
                      </a:lnTo>
                      <a:lnTo>
                        <a:pt x="27" y="44"/>
                      </a:lnTo>
                      <a:lnTo>
                        <a:pt x="31" y="42"/>
                      </a:lnTo>
                      <a:lnTo>
                        <a:pt x="34" y="41"/>
                      </a:lnTo>
                      <a:lnTo>
                        <a:pt x="38" y="37"/>
                      </a:lnTo>
                      <a:lnTo>
                        <a:pt x="40" y="35"/>
                      </a:lnTo>
                      <a:lnTo>
                        <a:pt x="43" y="31"/>
                      </a:lnTo>
                      <a:lnTo>
                        <a:pt x="44" y="27"/>
                      </a:lnTo>
                      <a:lnTo>
                        <a:pt x="44" y="22"/>
                      </a:lnTo>
                      <a:lnTo>
                        <a:pt x="44" y="22"/>
                      </a:lnTo>
                      <a:lnTo>
                        <a:pt x="44" y="18"/>
                      </a:lnTo>
                      <a:lnTo>
                        <a:pt x="43" y="13"/>
                      </a:lnTo>
                      <a:lnTo>
                        <a:pt x="40" y="10"/>
                      </a:lnTo>
                      <a:lnTo>
                        <a:pt x="38" y="6"/>
                      </a:lnTo>
                      <a:lnTo>
                        <a:pt x="34" y="4"/>
                      </a:lnTo>
                      <a:lnTo>
                        <a:pt x="31" y="2"/>
                      </a:lnTo>
                      <a:lnTo>
                        <a:pt x="27" y="0"/>
                      </a:lnTo>
                      <a:lnTo>
                        <a:pt x="23" y="0"/>
                      </a:lnTo>
                      <a:lnTo>
                        <a:pt x="23" y="0"/>
                      </a:lnTo>
                      <a:lnTo>
                        <a:pt x="18" y="0"/>
                      </a:lnTo>
                      <a:lnTo>
                        <a:pt x="14" y="2"/>
                      </a:lnTo>
                      <a:lnTo>
                        <a:pt x="9" y="4"/>
                      </a:lnTo>
                      <a:lnTo>
                        <a:pt x="7" y="6"/>
                      </a:lnTo>
                      <a:lnTo>
                        <a:pt x="4" y="10"/>
                      </a:lnTo>
                      <a:lnTo>
                        <a:pt x="2" y="13"/>
                      </a:lnTo>
                      <a:lnTo>
                        <a:pt x="1" y="18"/>
                      </a:lnTo>
                      <a:lnTo>
                        <a:pt x="0" y="22"/>
                      </a:lnTo>
                      <a:lnTo>
                        <a:pt x="0" y="22"/>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99" name="Freeform 450"/>
                <p:cNvSpPr>
                  <a:spLocks/>
                </p:cNvSpPr>
                <p:nvPr userDrawn="1"/>
              </p:nvSpPr>
              <p:spPr bwMode="auto">
                <a:xfrm>
                  <a:off x="10432596" y="3520574"/>
                  <a:ext cx="34925" cy="17463"/>
                </a:xfrm>
                <a:custGeom>
                  <a:avLst/>
                  <a:gdLst>
                    <a:gd name="T0" fmla="*/ 23 w 44"/>
                    <a:gd name="T1" fmla="*/ 0 h 22"/>
                    <a:gd name="T2" fmla="*/ 23 w 44"/>
                    <a:gd name="T3" fmla="*/ 0 h 22"/>
                    <a:gd name="T4" fmla="*/ 27 w 44"/>
                    <a:gd name="T5" fmla="*/ 0 h 22"/>
                    <a:gd name="T6" fmla="*/ 31 w 44"/>
                    <a:gd name="T7" fmla="*/ 2 h 22"/>
                    <a:gd name="T8" fmla="*/ 34 w 44"/>
                    <a:gd name="T9" fmla="*/ 4 h 22"/>
                    <a:gd name="T10" fmla="*/ 38 w 44"/>
                    <a:gd name="T11" fmla="*/ 6 h 22"/>
                    <a:gd name="T12" fmla="*/ 40 w 44"/>
                    <a:gd name="T13" fmla="*/ 10 h 22"/>
                    <a:gd name="T14" fmla="*/ 43 w 44"/>
                    <a:gd name="T15" fmla="*/ 13 h 22"/>
                    <a:gd name="T16" fmla="*/ 44 w 44"/>
                    <a:gd name="T17" fmla="*/ 18 h 22"/>
                    <a:gd name="T18" fmla="*/ 44 w 44"/>
                    <a:gd name="T19" fmla="*/ 22 h 22"/>
                    <a:gd name="T20" fmla="*/ 0 w 44"/>
                    <a:gd name="T21" fmla="*/ 22 h 22"/>
                    <a:gd name="T22" fmla="*/ 0 w 44"/>
                    <a:gd name="T23" fmla="*/ 22 h 22"/>
                    <a:gd name="T24" fmla="*/ 1 w 44"/>
                    <a:gd name="T25" fmla="*/ 18 h 22"/>
                    <a:gd name="T26" fmla="*/ 2 w 44"/>
                    <a:gd name="T27" fmla="*/ 13 h 22"/>
                    <a:gd name="T28" fmla="*/ 4 w 44"/>
                    <a:gd name="T29" fmla="*/ 10 h 22"/>
                    <a:gd name="T30" fmla="*/ 7 w 44"/>
                    <a:gd name="T31" fmla="*/ 6 h 22"/>
                    <a:gd name="T32" fmla="*/ 9 w 44"/>
                    <a:gd name="T33" fmla="*/ 4 h 22"/>
                    <a:gd name="T34" fmla="*/ 14 w 44"/>
                    <a:gd name="T35" fmla="*/ 2 h 22"/>
                    <a:gd name="T36" fmla="*/ 18 w 44"/>
                    <a:gd name="T37" fmla="*/ 0 h 22"/>
                    <a:gd name="T38" fmla="*/ 23 w 44"/>
                    <a:gd name="T39" fmla="*/ 0 h 22"/>
                    <a:gd name="T40" fmla="*/ 23 w 4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 h="22">
                      <a:moveTo>
                        <a:pt x="23" y="0"/>
                      </a:moveTo>
                      <a:lnTo>
                        <a:pt x="23" y="0"/>
                      </a:lnTo>
                      <a:lnTo>
                        <a:pt x="27" y="0"/>
                      </a:lnTo>
                      <a:lnTo>
                        <a:pt x="31" y="2"/>
                      </a:lnTo>
                      <a:lnTo>
                        <a:pt x="34" y="4"/>
                      </a:lnTo>
                      <a:lnTo>
                        <a:pt x="38" y="6"/>
                      </a:lnTo>
                      <a:lnTo>
                        <a:pt x="40" y="10"/>
                      </a:lnTo>
                      <a:lnTo>
                        <a:pt x="43" y="13"/>
                      </a:lnTo>
                      <a:lnTo>
                        <a:pt x="44" y="18"/>
                      </a:lnTo>
                      <a:lnTo>
                        <a:pt x="44" y="22"/>
                      </a:lnTo>
                      <a:lnTo>
                        <a:pt x="0" y="22"/>
                      </a:lnTo>
                      <a:lnTo>
                        <a:pt x="0" y="22"/>
                      </a:lnTo>
                      <a:lnTo>
                        <a:pt x="1" y="18"/>
                      </a:lnTo>
                      <a:lnTo>
                        <a:pt x="2" y="13"/>
                      </a:lnTo>
                      <a:lnTo>
                        <a:pt x="4" y="10"/>
                      </a:lnTo>
                      <a:lnTo>
                        <a:pt x="7" y="6"/>
                      </a:lnTo>
                      <a:lnTo>
                        <a:pt x="9" y="4"/>
                      </a:lnTo>
                      <a:lnTo>
                        <a:pt x="14" y="2"/>
                      </a:lnTo>
                      <a:lnTo>
                        <a:pt x="18" y="0"/>
                      </a:lnTo>
                      <a:lnTo>
                        <a:pt x="23" y="0"/>
                      </a:lnTo>
                      <a:lnTo>
                        <a:pt x="23"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0" name="Freeform 451"/>
                <p:cNvSpPr>
                  <a:spLocks/>
                </p:cNvSpPr>
                <p:nvPr userDrawn="1"/>
              </p:nvSpPr>
              <p:spPr bwMode="auto">
                <a:xfrm>
                  <a:off x="10502446" y="3572961"/>
                  <a:ext cx="44450" cy="42863"/>
                </a:xfrm>
                <a:custGeom>
                  <a:avLst/>
                  <a:gdLst>
                    <a:gd name="T0" fmla="*/ 27 w 55"/>
                    <a:gd name="T1" fmla="*/ 0 h 54"/>
                    <a:gd name="T2" fmla="*/ 27 w 55"/>
                    <a:gd name="T3" fmla="*/ 0 h 54"/>
                    <a:gd name="T4" fmla="*/ 21 w 55"/>
                    <a:gd name="T5" fmla="*/ 1 h 54"/>
                    <a:gd name="T6" fmla="*/ 17 w 55"/>
                    <a:gd name="T7" fmla="*/ 2 h 54"/>
                    <a:gd name="T8" fmla="*/ 12 w 55"/>
                    <a:gd name="T9" fmla="*/ 5 h 54"/>
                    <a:gd name="T10" fmla="*/ 8 w 55"/>
                    <a:gd name="T11" fmla="*/ 8 h 54"/>
                    <a:gd name="T12" fmla="*/ 5 w 55"/>
                    <a:gd name="T13" fmla="*/ 13 h 54"/>
                    <a:gd name="T14" fmla="*/ 2 w 55"/>
                    <a:gd name="T15" fmla="*/ 16 h 54"/>
                    <a:gd name="T16" fmla="*/ 0 w 55"/>
                    <a:gd name="T17" fmla="*/ 22 h 54"/>
                    <a:gd name="T18" fmla="*/ 0 w 55"/>
                    <a:gd name="T19" fmla="*/ 27 h 54"/>
                    <a:gd name="T20" fmla="*/ 0 w 55"/>
                    <a:gd name="T21" fmla="*/ 27 h 54"/>
                    <a:gd name="T22" fmla="*/ 0 w 55"/>
                    <a:gd name="T23" fmla="*/ 33 h 54"/>
                    <a:gd name="T24" fmla="*/ 2 w 55"/>
                    <a:gd name="T25" fmla="*/ 38 h 54"/>
                    <a:gd name="T26" fmla="*/ 5 w 55"/>
                    <a:gd name="T27" fmla="*/ 43 h 54"/>
                    <a:gd name="T28" fmla="*/ 8 w 55"/>
                    <a:gd name="T29" fmla="*/ 47 h 54"/>
                    <a:gd name="T30" fmla="*/ 12 w 55"/>
                    <a:gd name="T31" fmla="*/ 51 h 54"/>
                    <a:gd name="T32" fmla="*/ 17 w 55"/>
                    <a:gd name="T33" fmla="*/ 53 h 54"/>
                    <a:gd name="T34" fmla="*/ 21 w 55"/>
                    <a:gd name="T35" fmla="*/ 54 h 54"/>
                    <a:gd name="T36" fmla="*/ 27 w 55"/>
                    <a:gd name="T37" fmla="*/ 54 h 54"/>
                    <a:gd name="T38" fmla="*/ 27 w 55"/>
                    <a:gd name="T39" fmla="*/ 54 h 54"/>
                    <a:gd name="T40" fmla="*/ 33 w 55"/>
                    <a:gd name="T41" fmla="*/ 54 h 54"/>
                    <a:gd name="T42" fmla="*/ 38 w 55"/>
                    <a:gd name="T43" fmla="*/ 53 h 54"/>
                    <a:gd name="T44" fmla="*/ 43 w 55"/>
                    <a:gd name="T45" fmla="*/ 51 h 54"/>
                    <a:gd name="T46" fmla="*/ 46 w 55"/>
                    <a:gd name="T47" fmla="*/ 47 h 54"/>
                    <a:gd name="T48" fmla="*/ 50 w 55"/>
                    <a:gd name="T49" fmla="*/ 43 h 54"/>
                    <a:gd name="T50" fmla="*/ 52 w 55"/>
                    <a:gd name="T51" fmla="*/ 38 h 54"/>
                    <a:gd name="T52" fmla="*/ 55 w 55"/>
                    <a:gd name="T53" fmla="*/ 33 h 54"/>
                    <a:gd name="T54" fmla="*/ 55 w 55"/>
                    <a:gd name="T55" fmla="*/ 27 h 54"/>
                    <a:gd name="T56" fmla="*/ 55 w 55"/>
                    <a:gd name="T57" fmla="*/ 27 h 54"/>
                    <a:gd name="T58" fmla="*/ 55 w 55"/>
                    <a:gd name="T59" fmla="*/ 22 h 54"/>
                    <a:gd name="T60" fmla="*/ 52 w 55"/>
                    <a:gd name="T61" fmla="*/ 16 h 54"/>
                    <a:gd name="T62" fmla="*/ 50 w 55"/>
                    <a:gd name="T63" fmla="*/ 13 h 54"/>
                    <a:gd name="T64" fmla="*/ 46 w 55"/>
                    <a:gd name="T65" fmla="*/ 8 h 54"/>
                    <a:gd name="T66" fmla="*/ 43 w 55"/>
                    <a:gd name="T67" fmla="*/ 5 h 54"/>
                    <a:gd name="T68" fmla="*/ 38 w 55"/>
                    <a:gd name="T69" fmla="*/ 2 h 54"/>
                    <a:gd name="T70" fmla="*/ 33 w 55"/>
                    <a:gd name="T71" fmla="*/ 1 h 54"/>
                    <a:gd name="T72" fmla="*/ 27 w 55"/>
                    <a:gd name="T7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4">
                      <a:moveTo>
                        <a:pt x="27" y="0"/>
                      </a:moveTo>
                      <a:lnTo>
                        <a:pt x="27" y="0"/>
                      </a:lnTo>
                      <a:lnTo>
                        <a:pt x="21" y="1"/>
                      </a:lnTo>
                      <a:lnTo>
                        <a:pt x="17" y="2"/>
                      </a:lnTo>
                      <a:lnTo>
                        <a:pt x="12" y="5"/>
                      </a:lnTo>
                      <a:lnTo>
                        <a:pt x="8" y="8"/>
                      </a:lnTo>
                      <a:lnTo>
                        <a:pt x="5" y="13"/>
                      </a:lnTo>
                      <a:lnTo>
                        <a:pt x="2" y="16"/>
                      </a:lnTo>
                      <a:lnTo>
                        <a:pt x="0" y="22"/>
                      </a:lnTo>
                      <a:lnTo>
                        <a:pt x="0" y="27"/>
                      </a:lnTo>
                      <a:lnTo>
                        <a:pt x="0" y="27"/>
                      </a:lnTo>
                      <a:lnTo>
                        <a:pt x="0" y="33"/>
                      </a:lnTo>
                      <a:lnTo>
                        <a:pt x="2" y="38"/>
                      </a:lnTo>
                      <a:lnTo>
                        <a:pt x="5" y="43"/>
                      </a:lnTo>
                      <a:lnTo>
                        <a:pt x="8" y="47"/>
                      </a:lnTo>
                      <a:lnTo>
                        <a:pt x="12" y="51"/>
                      </a:lnTo>
                      <a:lnTo>
                        <a:pt x="17" y="53"/>
                      </a:lnTo>
                      <a:lnTo>
                        <a:pt x="21" y="54"/>
                      </a:lnTo>
                      <a:lnTo>
                        <a:pt x="27" y="54"/>
                      </a:lnTo>
                      <a:lnTo>
                        <a:pt x="27" y="54"/>
                      </a:lnTo>
                      <a:lnTo>
                        <a:pt x="33" y="54"/>
                      </a:lnTo>
                      <a:lnTo>
                        <a:pt x="38" y="53"/>
                      </a:lnTo>
                      <a:lnTo>
                        <a:pt x="43" y="51"/>
                      </a:lnTo>
                      <a:lnTo>
                        <a:pt x="46" y="47"/>
                      </a:lnTo>
                      <a:lnTo>
                        <a:pt x="50" y="43"/>
                      </a:lnTo>
                      <a:lnTo>
                        <a:pt x="52" y="38"/>
                      </a:lnTo>
                      <a:lnTo>
                        <a:pt x="55" y="33"/>
                      </a:lnTo>
                      <a:lnTo>
                        <a:pt x="55" y="27"/>
                      </a:lnTo>
                      <a:lnTo>
                        <a:pt x="55" y="27"/>
                      </a:lnTo>
                      <a:lnTo>
                        <a:pt x="55" y="22"/>
                      </a:lnTo>
                      <a:lnTo>
                        <a:pt x="52" y="16"/>
                      </a:lnTo>
                      <a:lnTo>
                        <a:pt x="50" y="13"/>
                      </a:lnTo>
                      <a:lnTo>
                        <a:pt x="46" y="8"/>
                      </a:lnTo>
                      <a:lnTo>
                        <a:pt x="43" y="5"/>
                      </a:lnTo>
                      <a:lnTo>
                        <a:pt x="38" y="2"/>
                      </a:lnTo>
                      <a:lnTo>
                        <a:pt x="33" y="1"/>
                      </a:lnTo>
                      <a:lnTo>
                        <a:pt x="27" y="0"/>
                      </a:lnTo>
                      <a:close/>
                    </a:path>
                  </a:pathLst>
                </a:custGeom>
                <a:solidFill>
                  <a:srgbClr val="8A8A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1" name="Freeform 452"/>
                <p:cNvSpPr>
                  <a:spLocks/>
                </p:cNvSpPr>
                <p:nvPr userDrawn="1"/>
              </p:nvSpPr>
              <p:spPr bwMode="auto">
                <a:xfrm>
                  <a:off x="10502446" y="3572961"/>
                  <a:ext cx="44450" cy="42863"/>
                </a:xfrm>
                <a:custGeom>
                  <a:avLst/>
                  <a:gdLst>
                    <a:gd name="T0" fmla="*/ 27 w 55"/>
                    <a:gd name="T1" fmla="*/ 0 h 54"/>
                    <a:gd name="T2" fmla="*/ 27 w 55"/>
                    <a:gd name="T3" fmla="*/ 0 h 54"/>
                    <a:gd name="T4" fmla="*/ 21 w 55"/>
                    <a:gd name="T5" fmla="*/ 1 h 54"/>
                    <a:gd name="T6" fmla="*/ 17 w 55"/>
                    <a:gd name="T7" fmla="*/ 2 h 54"/>
                    <a:gd name="T8" fmla="*/ 12 w 55"/>
                    <a:gd name="T9" fmla="*/ 5 h 54"/>
                    <a:gd name="T10" fmla="*/ 8 w 55"/>
                    <a:gd name="T11" fmla="*/ 8 h 54"/>
                    <a:gd name="T12" fmla="*/ 5 w 55"/>
                    <a:gd name="T13" fmla="*/ 13 h 54"/>
                    <a:gd name="T14" fmla="*/ 2 w 55"/>
                    <a:gd name="T15" fmla="*/ 16 h 54"/>
                    <a:gd name="T16" fmla="*/ 0 w 55"/>
                    <a:gd name="T17" fmla="*/ 22 h 54"/>
                    <a:gd name="T18" fmla="*/ 0 w 55"/>
                    <a:gd name="T19" fmla="*/ 27 h 54"/>
                    <a:gd name="T20" fmla="*/ 0 w 55"/>
                    <a:gd name="T21" fmla="*/ 27 h 54"/>
                    <a:gd name="T22" fmla="*/ 0 w 55"/>
                    <a:gd name="T23" fmla="*/ 33 h 54"/>
                    <a:gd name="T24" fmla="*/ 2 w 55"/>
                    <a:gd name="T25" fmla="*/ 38 h 54"/>
                    <a:gd name="T26" fmla="*/ 5 w 55"/>
                    <a:gd name="T27" fmla="*/ 43 h 54"/>
                    <a:gd name="T28" fmla="*/ 8 w 55"/>
                    <a:gd name="T29" fmla="*/ 47 h 54"/>
                    <a:gd name="T30" fmla="*/ 12 w 55"/>
                    <a:gd name="T31" fmla="*/ 51 h 54"/>
                    <a:gd name="T32" fmla="*/ 17 w 55"/>
                    <a:gd name="T33" fmla="*/ 53 h 54"/>
                    <a:gd name="T34" fmla="*/ 21 w 55"/>
                    <a:gd name="T35" fmla="*/ 54 h 54"/>
                    <a:gd name="T36" fmla="*/ 27 w 55"/>
                    <a:gd name="T37" fmla="*/ 54 h 54"/>
                    <a:gd name="T38" fmla="*/ 27 w 55"/>
                    <a:gd name="T39" fmla="*/ 54 h 54"/>
                    <a:gd name="T40" fmla="*/ 33 w 55"/>
                    <a:gd name="T41" fmla="*/ 54 h 54"/>
                    <a:gd name="T42" fmla="*/ 38 w 55"/>
                    <a:gd name="T43" fmla="*/ 53 h 54"/>
                    <a:gd name="T44" fmla="*/ 43 w 55"/>
                    <a:gd name="T45" fmla="*/ 51 h 54"/>
                    <a:gd name="T46" fmla="*/ 46 w 55"/>
                    <a:gd name="T47" fmla="*/ 47 h 54"/>
                    <a:gd name="T48" fmla="*/ 50 w 55"/>
                    <a:gd name="T49" fmla="*/ 43 h 54"/>
                    <a:gd name="T50" fmla="*/ 52 w 55"/>
                    <a:gd name="T51" fmla="*/ 38 h 54"/>
                    <a:gd name="T52" fmla="*/ 55 w 55"/>
                    <a:gd name="T53" fmla="*/ 33 h 54"/>
                    <a:gd name="T54" fmla="*/ 55 w 55"/>
                    <a:gd name="T55" fmla="*/ 27 h 54"/>
                    <a:gd name="T56" fmla="*/ 55 w 55"/>
                    <a:gd name="T57" fmla="*/ 27 h 54"/>
                    <a:gd name="T58" fmla="*/ 55 w 55"/>
                    <a:gd name="T59" fmla="*/ 22 h 54"/>
                    <a:gd name="T60" fmla="*/ 52 w 55"/>
                    <a:gd name="T61" fmla="*/ 16 h 54"/>
                    <a:gd name="T62" fmla="*/ 50 w 55"/>
                    <a:gd name="T63" fmla="*/ 13 h 54"/>
                    <a:gd name="T64" fmla="*/ 46 w 55"/>
                    <a:gd name="T65" fmla="*/ 8 h 54"/>
                    <a:gd name="T66" fmla="*/ 43 w 55"/>
                    <a:gd name="T67" fmla="*/ 5 h 54"/>
                    <a:gd name="T68" fmla="*/ 38 w 55"/>
                    <a:gd name="T69" fmla="*/ 2 h 54"/>
                    <a:gd name="T70" fmla="*/ 33 w 55"/>
                    <a:gd name="T71" fmla="*/ 1 h 54"/>
                    <a:gd name="T72" fmla="*/ 27 w 55"/>
                    <a:gd name="T7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4">
                      <a:moveTo>
                        <a:pt x="27" y="0"/>
                      </a:moveTo>
                      <a:lnTo>
                        <a:pt x="27" y="0"/>
                      </a:lnTo>
                      <a:lnTo>
                        <a:pt x="21" y="1"/>
                      </a:lnTo>
                      <a:lnTo>
                        <a:pt x="17" y="2"/>
                      </a:lnTo>
                      <a:lnTo>
                        <a:pt x="12" y="5"/>
                      </a:lnTo>
                      <a:lnTo>
                        <a:pt x="8" y="8"/>
                      </a:lnTo>
                      <a:lnTo>
                        <a:pt x="5" y="13"/>
                      </a:lnTo>
                      <a:lnTo>
                        <a:pt x="2" y="16"/>
                      </a:lnTo>
                      <a:lnTo>
                        <a:pt x="0" y="22"/>
                      </a:lnTo>
                      <a:lnTo>
                        <a:pt x="0" y="27"/>
                      </a:lnTo>
                      <a:lnTo>
                        <a:pt x="0" y="27"/>
                      </a:lnTo>
                      <a:lnTo>
                        <a:pt x="0" y="33"/>
                      </a:lnTo>
                      <a:lnTo>
                        <a:pt x="2" y="38"/>
                      </a:lnTo>
                      <a:lnTo>
                        <a:pt x="5" y="43"/>
                      </a:lnTo>
                      <a:lnTo>
                        <a:pt x="8" y="47"/>
                      </a:lnTo>
                      <a:lnTo>
                        <a:pt x="12" y="51"/>
                      </a:lnTo>
                      <a:lnTo>
                        <a:pt x="17" y="53"/>
                      </a:lnTo>
                      <a:lnTo>
                        <a:pt x="21" y="54"/>
                      </a:lnTo>
                      <a:lnTo>
                        <a:pt x="27" y="54"/>
                      </a:lnTo>
                      <a:lnTo>
                        <a:pt x="27" y="54"/>
                      </a:lnTo>
                      <a:lnTo>
                        <a:pt x="33" y="54"/>
                      </a:lnTo>
                      <a:lnTo>
                        <a:pt x="38" y="53"/>
                      </a:lnTo>
                      <a:lnTo>
                        <a:pt x="43" y="51"/>
                      </a:lnTo>
                      <a:lnTo>
                        <a:pt x="46" y="47"/>
                      </a:lnTo>
                      <a:lnTo>
                        <a:pt x="50" y="43"/>
                      </a:lnTo>
                      <a:lnTo>
                        <a:pt x="52" y="38"/>
                      </a:lnTo>
                      <a:lnTo>
                        <a:pt x="55" y="33"/>
                      </a:lnTo>
                      <a:lnTo>
                        <a:pt x="55" y="27"/>
                      </a:lnTo>
                      <a:lnTo>
                        <a:pt x="55" y="27"/>
                      </a:lnTo>
                      <a:lnTo>
                        <a:pt x="55" y="22"/>
                      </a:lnTo>
                      <a:lnTo>
                        <a:pt x="52" y="16"/>
                      </a:lnTo>
                      <a:lnTo>
                        <a:pt x="50" y="13"/>
                      </a:lnTo>
                      <a:lnTo>
                        <a:pt x="46" y="8"/>
                      </a:lnTo>
                      <a:lnTo>
                        <a:pt x="43" y="5"/>
                      </a:lnTo>
                      <a:lnTo>
                        <a:pt x="38" y="2"/>
                      </a:lnTo>
                      <a:lnTo>
                        <a:pt x="33" y="1"/>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2" name="Freeform 453"/>
                <p:cNvSpPr>
                  <a:spLocks/>
                </p:cNvSpPr>
                <p:nvPr userDrawn="1"/>
              </p:nvSpPr>
              <p:spPr bwMode="auto">
                <a:xfrm>
                  <a:off x="10507208" y="3577724"/>
                  <a:ext cx="34925" cy="34925"/>
                </a:xfrm>
                <a:custGeom>
                  <a:avLst/>
                  <a:gdLst>
                    <a:gd name="T0" fmla="*/ 0 w 45"/>
                    <a:gd name="T1" fmla="*/ 21 h 44"/>
                    <a:gd name="T2" fmla="*/ 0 w 45"/>
                    <a:gd name="T3" fmla="*/ 21 h 44"/>
                    <a:gd name="T4" fmla="*/ 1 w 45"/>
                    <a:gd name="T5" fmla="*/ 26 h 44"/>
                    <a:gd name="T6" fmla="*/ 2 w 45"/>
                    <a:gd name="T7" fmla="*/ 31 h 44"/>
                    <a:gd name="T8" fmla="*/ 4 w 45"/>
                    <a:gd name="T9" fmla="*/ 34 h 44"/>
                    <a:gd name="T10" fmla="*/ 7 w 45"/>
                    <a:gd name="T11" fmla="*/ 38 h 44"/>
                    <a:gd name="T12" fmla="*/ 10 w 45"/>
                    <a:gd name="T13" fmla="*/ 40 h 44"/>
                    <a:gd name="T14" fmla="*/ 14 w 45"/>
                    <a:gd name="T15" fmla="*/ 43 h 44"/>
                    <a:gd name="T16" fmla="*/ 18 w 45"/>
                    <a:gd name="T17" fmla="*/ 44 h 44"/>
                    <a:gd name="T18" fmla="*/ 22 w 45"/>
                    <a:gd name="T19" fmla="*/ 44 h 44"/>
                    <a:gd name="T20" fmla="*/ 22 w 45"/>
                    <a:gd name="T21" fmla="*/ 44 h 44"/>
                    <a:gd name="T22" fmla="*/ 27 w 45"/>
                    <a:gd name="T23" fmla="*/ 44 h 44"/>
                    <a:gd name="T24" fmla="*/ 31 w 45"/>
                    <a:gd name="T25" fmla="*/ 43 h 44"/>
                    <a:gd name="T26" fmla="*/ 34 w 45"/>
                    <a:gd name="T27" fmla="*/ 40 h 44"/>
                    <a:gd name="T28" fmla="*/ 38 w 45"/>
                    <a:gd name="T29" fmla="*/ 38 h 44"/>
                    <a:gd name="T30" fmla="*/ 40 w 45"/>
                    <a:gd name="T31" fmla="*/ 34 h 44"/>
                    <a:gd name="T32" fmla="*/ 43 w 45"/>
                    <a:gd name="T33" fmla="*/ 31 h 44"/>
                    <a:gd name="T34" fmla="*/ 44 w 45"/>
                    <a:gd name="T35" fmla="*/ 26 h 44"/>
                    <a:gd name="T36" fmla="*/ 45 w 45"/>
                    <a:gd name="T37" fmla="*/ 21 h 44"/>
                    <a:gd name="T38" fmla="*/ 45 w 45"/>
                    <a:gd name="T39" fmla="*/ 21 h 44"/>
                    <a:gd name="T40" fmla="*/ 44 w 45"/>
                    <a:gd name="T41" fmla="*/ 18 h 44"/>
                    <a:gd name="T42" fmla="*/ 43 w 45"/>
                    <a:gd name="T43" fmla="*/ 13 h 44"/>
                    <a:gd name="T44" fmla="*/ 40 w 45"/>
                    <a:gd name="T45" fmla="*/ 9 h 44"/>
                    <a:gd name="T46" fmla="*/ 38 w 45"/>
                    <a:gd name="T47" fmla="*/ 6 h 44"/>
                    <a:gd name="T48" fmla="*/ 34 w 45"/>
                    <a:gd name="T49" fmla="*/ 3 h 44"/>
                    <a:gd name="T50" fmla="*/ 31 w 45"/>
                    <a:gd name="T51" fmla="*/ 1 h 44"/>
                    <a:gd name="T52" fmla="*/ 27 w 45"/>
                    <a:gd name="T53" fmla="*/ 0 h 44"/>
                    <a:gd name="T54" fmla="*/ 22 w 45"/>
                    <a:gd name="T55" fmla="*/ 0 h 44"/>
                    <a:gd name="T56" fmla="*/ 22 w 45"/>
                    <a:gd name="T57" fmla="*/ 0 h 44"/>
                    <a:gd name="T58" fmla="*/ 18 w 45"/>
                    <a:gd name="T59" fmla="*/ 0 h 44"/>
                    <a:gd name="T60" fmla="*/ 14 w 45"/>
                    <a:gd name="T61" fmla="*/ 1 h 44"/>
                    <a:gd name="T62" fmla="*/ 10 w 45"/>
                    <a:gd name="T63" fmla="*/ 3 h 44"/>
                    <a:gd name="T64" fmla="*/ 7 w 45"/>
                    <a:gd name="T65" fmla="*/ 6 h 44"/>
                    <a:gd name="T66" fmla="*/ 4 w 45"/>
                    <a:gd name="T67" fmla="*/ 9 h 44"/>
                    <a:gd name="T68" fmla="*/ 2 w 45"/>
                    <a:gd name="T69" fmla="*/ 13 h 44"/>
                    <a:gd name="T70" fmla="*/ 1 w 45"/>
                    <a:gd name="T71" fmla="*/ 18 h 44"/>
                    <a:gd name="T72" fmla="*/ 0 w 45"/>
                    <a:gd name="T73" fmla="*/ 21 h 44"/>
                    <a:gd name="T74" fmla="*/ 0 w 45"/>
                    <a:gd name="T75"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44">
                      <a:moveTo>
                        <a:pt x="0" y="21"/>
                      </a:moveTo>
                      <a:lnTo>
                        <a:pt x="0" y="21"/>
                      </a:lnTo>
                      <a:lnTo>
                        <a:pt x="1" y="26"/>
                      </a:lnTo>
                      <a:lnTo>
                        <a:pt x="2" y="31"/>
                      </a:lnTo>
                      <a:lnTo>
                        <a:pt x="4" y="34"/>
                      </a:lnTo>
                      <a:lnTo>
                        <a:pt x="7" y="38"/>
                      </a:lnTo>
                      <a:lnTo>
                        <a:pt x="10" y="40"/>
                      </a:lnTo>
                      <a:lnTo>
                        <a:pt x="14" y="43"/>
                      </a:lnTo>
                      <a:lnTo>
                        <a:pt x="18" y="44"/>
                      </a:lnTo>
                      <a:lnTo>
                        <a:pt x="22" y="44"/>
                      </a:lnTo>
                      <a:lnTo>
                        <a:pt x="22" y="44"/>
                      </a:lnTo>
                      <a:lnTo>
                        <a:pt x="27" y="44"/>
                      </a:lnTo>
                      <a:lnTo>
                        <a:pt x="31" y="43"/>
                      </a:lnTo>
                      <a:lnTo>
                        <a:pt x="34" y="40"/>
                      </a:lnTo>
                      <a:lnTo>
                        <a:pt x="38" y="38"/>
                      </a:lnTo>
                      <a:lnTo>
                        <a:pt x="40" y="34"/>
                      </a:lnTo>
                      <a:lnTo>
                        <a:pt x="43" y="31"/>
                      </a:lnTo>
                      <a:lnTo>
                        <a:pt x="44" y="26"/>
                      </a:lnTo>
                      <a:lnTo>
                        <a:pt x="45" y="21"/>
                      </a:lnTo>
                      <a:lnTo>
                        <a:pt x="45" y="21"/>
                      </a:lnTo>
                      <a:lnTo>
                        <a:pt x="44" y="18"/>
                      </a:lnTo>
                      <a:lnTo>
                        <a:pt x="43" y="13"/>
                      </a:lnTo>
                      <a:lnTo>
                        <a:pt x="40" y="9"/>
                      </a:lnTo>
                      <a:lnTo>
                        <a:pt x="38" y="6"/>
                      </a:lnTo>
                      <a:lnTo>
                        <a:pt x="34" y="3"/>
                      </a:lnTo>
                      <a:lnTo>
                        <a:pt x="31" y="1"/>
                      </a:lnTo>
                      <a:lnTo>
                        <a:pt x="27" y="0"/>
                      </a:lnTo>
                      <a:lnTo>
                        <a:pt x="22" y="0"/>
                      </a:lnTo>
                      <a:lnTo>
                        <a:pt x="22" y="0"/>
                      </a:lnTo>
                      <a:lnTo>
                        <a:pt x="18" y="0"/>
                      </a:lnTo>
                      <a:lnTo>
                        <a:pt x="14" y="1"/>
                      </a:lnTo>
                      <a:lnTo>
                        <a:pt x="10" y="3"/>
                      </a:lnTo>
                      <a:lnTo>
                        <a:pt x="7" y="6"/>
                      </a:lnTo>
                      <a:lnTo>
                        <a:pt x="4" y="9"/>
                      </a:lnTo>
                      <a:lnTo>
                        <a:pt x="2" y="13"/>
                      </a:lnTo>
                      <a:lnTo>
                        <a:pt x="1" y="18"/>
                      </a:lnTo>
                      <a:lnTo>
                        <a:pt x="0" y="21"/>
                      </a:lnTo>
                      <a:lnTo>
                        <a:pt x="0" y="21"/>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3" name="Freeform 454"/>
                <p:cNvSpPr>
                  <a:spLocks/>
                </p:cNvSpPr>
                <p:nvPr userDrawn="1"/>
              </p:nvSpPr>
              <p:spPr bwMode="auto">
                <a:xfrm>
                  <a:off x="10507208" y="3577724"/>
                  <a:ext cx="34925" cy="17463"/>
                </a:xfrm>
                <a:custGeom>
                  <a:avLst/>
                  <a:gdLst>
                    <a:gd name="T0" fmla="*/ 22 w 45"/>
                    <a:gd name="T1" fmla="*/ 0 h 21"/>
                    <a:gd name="T2" fmla="*/ 22 w 45"/>
                    <a:gd name="T3" fmla="*/ 0 h 21"/>
                    <a:gd name="T4" fmla="*/ 27 w 45"/>
                    <a:gd name="T5" fmla="*/ 0 h 21"/>
                    <a:gd name="T6" fmla="*/ 31 w 45"/>
                    <a:gd name="T7" fmla="*/ 1 h 21"/>
                    <a:gd name="T8" fmla="*/ 34 w 45"/>
                    <a:gd name="T9" fmla="*/ 3 h 21"/>
                    <a:gd name="T10" fmla="*/ 38 w 45"/>
                    <a:gd name="T11" fmla="*/ 6 h 21"/>
                    <a:gd name="T12" fmla="*/ 40 w 45"/>
                    <a:gd name="T13" fmla="*/ 9 h 21"/>
                    <a:gd name="T14" fmla="*/ 43 w 45"/>
                    <a:gd name="T15" fmla="*/ 13 h 21"/>
                    <a:gd name="T16" fmla="*/ 44 w 45"/>
                    <a:gd name="T17" fmla="*/ 18 h 21"/>
                    <a:gd name="T18" fmla="*/ 45 w 45"/>
                    <a:gd name="T19" fmla="*/ 21 h 21"/>
                    <a:gd name="T20" fmla="*/ 0 w 45"/>
                    <a:gd name="T21" fmla="*/ 21 h 21"/>
                    <a:gd name="T22" fmla="*/ 0 w 45"/>
                    <a:gd name="T23" fmla="*/ 21 h 21"/>
                    <a:gd name="T24" fmla="*/ 1 w 45"/>
                    <a:gd name="T25" fmla="*/ 18 h 21"/>
                    <a:gd name="T26" fmla="*/ 2 w 45"/>
                    <a:gd name="T27" fmla="*/ 13 h 21"/>
                    <a:gd name="T28" fmla="*/ 4 w 45"/>
                    <a:gd name="T29" fmla="*/ 9 h 21"/>
                    <a:gd name="T30" fmla="*/ 7 w 45"/>
                    <a:gd name="T31" fmla="*/ 6 h 21"/>
                    <a:gd name="T32" fmla="*/ 10 w 45"/>
                    <a:gd name="T33" fmla="*/ 3 h 21"/>
                    <a:gd name="T34" fmla="*/ 14 w 45"/>
                    <a:gd name="T35" fmla="*/ 1 h 21"/>
                    <a:gd name="T36" fmla="*/ 18 w 45"/>
                    <a:gd name="T37" fmla="*/ 0 h 21"/>
                    <a:gd name="T38" fmla="*/ 22 w 45"/>
                    <a:gd name="T39" fmla="*/ 0 h 21"/>
                    <a:gd name="T40" fmla="*/ 22 w 45"/>
                    <a:gd name="T4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21">
                      <a:moveTo>
                        <a:pt x="22" y="0"/>
                      </a:moveTo>
                      <a:lnTo>
                        <a:pt x="22" y="0"/>
                      </a:lnTo>
                      <a:lnTo>
                        <a:pt x="27" y="0"/>
                      </a:lnTo>
                      <a:lnTo>
                        <a:pt x="31" y="1"/>
                      </a:lnTo>
                      <a:lnTo>
                        <a:pt x="34" y="3"/>
                      </a:lnTo>
                      <a:lnTo>
                        <a:pt x="38" y="6"/>
                      </a:lnTo>
                      <a:lnTo>
                        <a:pt x="40" y="9"/>
                      </a:lnTo>
                      <a:lnTo>
                        <a:pt x="43" y="13"/>
                      </a:lnTo>
                      <a:lnTo>
                        <a:pt x="44" y="18"/>
                      </a:lnTo>
                      <a:lnTo>
                        <a:pt x="45" y="21"/>
                      </a:lnTo>
                      <a:lnTo>
                        <a:pt x="0" y="21"/>
                      </a:lnTo>
                      <a:lnTo>
                        <a:pt x="0" y="21"/>
                      </a:lnTo>
                      <a:lnTo>
                        <a:pt x="1" y="18"/>
                      </a:lnTo>
                      <a:lnTo>
                        <a:pt x="2" y="13"/>
                      </a:lnTo>
                      <a:lnTo>
                        <a:pt x="4" y="9"/>
                      </a:lnTo>
                      <a:lnTo>
                        <a:pt x="7" y="6"/>
                      </a:lnTo>
                      <a:lnTo>
                        <a:pt x="10" y="3"/>
                      </a:lnTo>
                      <a:lnTo>
                        <a:pt x="14" y="1"/>
                      </a:lnTo>
                      <a:lnTo>
                        <a:pt x="18" y="0"/>
                      </a:lnTo>
                      <a:lnTo>
                        <a:pt x="22" y="0"/>
                      </a:lnTo>
                      <a:lnTo>
                        <a:pt x="22"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4" name="Freeform 455"/>
                <p:cNvSpPr>
                  <a:spLocks/>
                </p:cNvSpPr>
                <p:nvPr userDrawn="1"/>
              </p:nvSpPr>
              <p:spPr bwMode="auto">
                <a:xfrm>
                  <a:off x="10502446" y="3515811"/>
                  <a:ext cx="44450" cy="44450"/>
                </a:xfrm>
                <a:custGeom>
                  <a:avLst/>
                  <a:gdLst>
                    <a:gd name="T0" fmla="*/ 27 w 55"/>
                    <a:gd name="T1" fmla="*/ 0 h 55"/>
                    <a:gd name="T2" fmla="*/ 27 w 55"/>
                    <a:gd name="T3" fmla="*/ 0 h 55"/>
                    <a:gd name="T4" fmla="*/ 21 w 55"/>
                    <a:gd name="T5" fmla="*/ 2 h 55"/>
                    <a:gd name="T6" fmla="*/ 17 w 55"/>
                    <a:gd name="T7" fmla="*/ 3 h 55"/>
                    <a:gd name="T8" fmla="*/ 12 w 55"/>
                    <a:gd name="T9" fmla="*/ 5 h 55"/>
                    <a:gd name="T10" fmla="*/ 8 w 55"/>
                    <a:gd name="T11" fmla="*/ 9 h 55"/>
                    <a:gd name="T12" fmla="*/ 5 w 55"/>
                    <a:gd name="T13" fmla="*/ 12 h 55"/>
                    <a:gd name="T14" fmla="*/ 2 w 55"/>
                    <a:gd name="T15" fmla="*/ 17 h 55"/>
                    <a:gd name="T16" fmla="*/ 0 w 55"/>
                    <a:gd name="T17" fmla="*/ 23 h 55"/>
                    <a:gd name="T18" fmla="*/ 0 w 55"/>
                    <a:gd name="T19" fmla="*/ 28 h 55"/>
                    <a:gd name="T20" fmla="*/ 0 w 55"/>
                    <a:gd name="T21" fmla="*/ 28 h 55"/>
                    <a:gd name="T22" fmla="*/ 0 w 55"/>
                    <a:gd name="T23" fmla="*/ 34 h 55"/>
                    <a:gd name="T24" fmla="*/ 2 w 55"/>
                    <a:gd name="T25" fmla="*/ 38 h 55"/>
                    <a:gd name="T26" fmla="*/ 5 w 55"/>
                    <a:gd name="T27" fmla="*/ 43 h 55"/>
                    <a:gd name="T28" fmla="*/ 8 w 55"/>
                    <a:gd name="T29" fmla="*/ 48 h 55"/>
                    <a:gd name="T30" fmla="*/ 12 w 55"/>
                    <a:gd name="T31" fmla="*/ 50 h 55"/>
                    <a:gd name="T32" fmla="*/ 17 w 55"/>
                    <a:gd name="T33" fmla="*/ 54 h 55"/>
                    <a:gd name="T34" fmla="*/ 21 w 55"/>
                    <a:gd name="T35" fmla="*/ 55 h 55"/>
                    <a:gd name="T36" fmla="*/ 27 w 55"/>
                    <a:gd name="T37" fmla="*/ 55 h 55"/>
                    <a:gd name="T38" fmla="*/ 27 w 55"/>
                    <a:gd name="T39" fmla="*/ 55 h 55"/>
                    <a:gd name="T40" fmla="*/ 33 w 55"/>
                    <a:gd name="T41" fmla="*/ 55 h 55"/>
                    <a:gd name="T42" fmla="*/ 38 w 55"/>
                    <a:gd name="T43" fmla="*/ 54 h 55"/>
                    <a:gd name="T44" fmla="*/ 43 w 55"/>
                    <a:gd name="T45" fmla="*/ 50 h 55"/>
                    <a:gd name="T46" fmla="*/ 46 w 55"/>
                    <a:gd name="T47" fmla="*/ 48 h 55"/>
                    <a:gd name="T48" fmla="*/ 50 w 55"/>
                    <a:gd name="T49" fmla="*/ 43 h 55"/>
                    <a:gd name="T50" fmla="*/ 52 w 55"/>
                    <a:gd name="T51" fmla="*/ 38 h 55"/>
                    <a:gd name="T52" fmla="*/ 55 w 55"/>
                    <a:gd name="T53" fmla="*/ 34 h 55"/>
                    <a:gd name="T54" fmla="*/ 55 w 55"/>
                    <a:gd name="T55" fmla="*/ 28 h 55"/>
                    <a:gd name="T56" fmla="*/ 55 w 55"/>
                    <a:gd name="T57" fmla="*/ 28 h 55"/>
                    <a:gd name="T58" fmla="*/ 55 w 55"/>
                    <a:gd name="T59" fmla="*/ 23 h 55"/>
                    <a:gd name="T60" fmla="*/ 52 w 55"/>
                    <a:gd name="T61" fmla="*/ 17 h 55"/>
                    <a:gd name="T62" fmla="*/ 50 w 55"/>
                    <a:gd name="T63" fmla="*/ 12 h 55"/>
                    <a:gd name="T64" fmla="*/ 46 w 55"/>
                    <a:gd name="T65" fmla="*/ 9 h 55"/>
                    <a:gd name="T66" fmla="*/ 43 w 55"/>
                    <a:gd name="T67" fmla="*/ 5 h 55"/>
                    <a:gd name="T68" fmla="*/ 38 w 55"/>
                    <a:gd name="T69" fmla="*/ 3 h 55"/>
                    <a:gd name="T70" fmla="*/ 33 w 55"/>
                    <a:gd name="T71" fmla="*/ 2 h 55"/>
                    <a:gd name="T72" fmla="*/ 27 w 55"/>
                    <a:gd name="T7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5">
                      <a:moveTo>
                        <a:pt x="27" y="0"/>
                      </a:moveTo>
                      <a:lnTo>
                        <a:pt x="27" y="0"/>
                      </a:lnTo>
                      <a:lnTo>
                        <a:pt x="21" y="2"/>
                      </a:lnTo>
                      <a:lnTo>
                        <a:pt x="17" y="3"/>
                      </a:lnTo>
                      <a:lnTo>
                        <a:pt x="12" y="5"/>
                      </a:lnTo>
                      <a:lnTo>
                        <a:pt x="8" y="9"/>
                      </a:lnTo>
                      <a:lnTo>
                        <a:pt x="5" y="12"/>
                      </a:lnTo>
                      <a:lnTo>
                        <a:pt x="2" y="17"/>
                      </a:lnTo>
                      <a:lnTo>
                        <a:pt x="0" y="23"/>
                      </a:lnTo>
                      <a:lnTo>
                        <a:pt x="0" y="28"/>
                      </a:lnTo>
                      <a:lnTo>
                        <a:pt x="0" y="28"/>
                      </a:lnTo>
                      <a:lnTo>
                        <a:pt x="0" y="34"/>
                      </a:lnTo>
                      <a:lnTo>
                        <a:pt x="2" y="38"/>
                      </a:lnTo>
                      <a:lnTo>
                        <a:pt x="5" y="43"/>
                      </a:lnTo>
                      <a:lnTo>
                        <a:pt x="8" y="48"/>
                      </a:lnTo>
                      <a:lnTo>
                        <a:pt x="12" y="50"/>
                      </a:lnTo>
                      <a:lnTo>
                        <a:pt x="17" y="54"/>
                      </a:lnTo>
                      <a:lnTo>
                        <a:pt x="21" y="55"/>
                      </a:lnTo>
                      <a:lnTo>
                        <a:pt x="27" y="55"/>
                      </a:lnTo>
                      <a:lnTo>
                        <a:pt x="27" y="55"/>
                      </a:lnTo>
                      <a:lnTo>
                        <a:pt x="33" y="55"/>
                      </a:lnTo>
                      <a:lnTo>
                        <a:pt x="38" y="54"/>
                      </a:lnTo>
                      <a:lnTo>
                        <a:pt x="43" y="50"/>
                      </a:lnTo>
                      <a:lnTo>
                        <a:pt x="46" y="48"/>
                      </a:lnTo>
                      <a:lnTo>
                        <a:pt x="50" y="43"/>
                      </a:lnTo>
                      <a:lnTo>
                        <a:pt x="52" y="38"/>
                      </a:lnTo>
                      <a:lnTo>
                        <a:pt x="55" y="34"/>
                      </a:lnTo>
                      <a:lnTo>
                        <a:pt x="55" y="28"/>
                      </a:lnTo>
                      <a:lnTo>
                        <a:pt x="55" y="28"/>
                      </a:lnTo>
                      <a:lnTo>
                        <a:pt x="55" y="23"/>
                      </a:lnTo>
                      <a:lnTo>
                        <a:pt x="52" y="17"/>
                      </a:lnTo>
                      <a:lnTo>
                        <a:pt x="50" y="12"/>
                      </a:lnTo>
                      <a:lnTo>
                        <a:pt x="46" y="9"/>
                      </a:lnTo>
                      <a:lnTo>
                        <a:pt x="43" y="5"/>
                      </a:lnTo>
                      <a:lnTo>
                        <a:pt x="38" y="3"/>
                      </a:lnTo>
                      <a:lnTo>
                        <a:pt x="33" y="2"/>
                      </a:lnTo>
                      <a:lnTo>
                        <a:pt x="27" y="0"/>
                      </a:lnTo>
                      <a:close/>
                    </a:path>
                  </a:pathLst>
                </a:custGeom>
                <a:solidFill>
                  <a:srgbClr val="8A8A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5" name="Freeform 456"/>
                <p:cNvSpPr>
                  <a:spLocks/>
                </p:cNvSpPr>
                <p:nvPr userDrawn="1"/>
              </p:nvSpPr>
              <p:spPr bwMode="auto">
                <a:xfrm>
                  <a:off x="10502446" y="3515811"/>
                  <a:ext cx="44450" cy="44450"/>
                </a:xfrm>
                <a:custGeom>
                  <a:avLst/>
                  <a:gdLst>
                    <a:gd name="T0" fmla="*/ 27 w 55"/>
                    <a:gd name="T1" fmla="*/ 0 h 55"/>
                    <a:gd name="T2" fmla="*/ 27 w 55"/>
                    <a:gd name="T3" fmla="*/ 0 h 55"/>
                    <a:gd name="T4" fmla="*/ 21 w 55"/>
                    <a:gd name="T5" fmla="*/ 2 h 55"/>
                    <a:gd name="T6" fmla="*/ 17 w 55"/>
                    <a:gd name="T7" fmla="*/ 3 h 55"/>
                    <a:gd name="T8" fmla="*/ 12 w 55"/>
                    <a:gd name="T9" fmla="*/ 5 h 55"/>
                    <a:gd name="T10" fmla="*/ 8 w 55"/>
                    <a:gd name="T11" fmla="*/ 9 h 55"/>
                    <a:gd name="T12" fmla="*/ 5 w 55"/>
                    <a:gd name="T13" fmla="*/ 12 h 55"/>
                    <a:gd name="T14" fmla="*/ 2 w 55"/>
                    <a:gd name="T15" fmla="*/ 17 h 55"/>
                    <a:gd name="T16" fmla="*/ 0 w 55"/>
                    <a:gd name="T17" fmla="*/ 23 h 55"/>
                    <a:gd name="T18" fmla="*/ 0 w 55"/>
                    <a:gd name="T19" fmla="*/ 28 h 55"/>
                    <a:gd name="T20" fmla="*/ 0 w 55"/>
                    <a:gd name="T21" fmla="*/ 28 h 55"/>
                    <a:gd name="T22" fmla="*/ 0 w 55"/>
                    <a:gd name="T23" fmla="*/ 34 h 55"/>
                    <a:gd name="T24" fmla="*/ 2 w 55"/>
                    <a:gd name="T25" fmla="*/ 38 h 55"/>
                    <a:gd name="T26" fmla="*/ 5 w 55"/>
                    <a:gd name="T27" fmla="*/ 43 h 55"/>
                    <a:gd name="T28" fmla="*/ 8 w 55"/>
                    <a:gd name="T29" fmla="*/ 48 h 55"/>
                    <a:gd name="T30" fmla="*/ 12 w 55"/>
                    <a:gd name="T31" fmla="*/ 50 h 55"/>
                    <a:gd name="T32" fmla="*/ 17 w 55"/>
                    <a:gd name="T33" fmla="*/ 54 h 55"/>
                    <a:gd name="T34" fmla="*/ 21 w 55"/>
                    <a:gd name="T35" fmla="*/ 55 h 55"/>
                    <a:gd name="T36" fmla="*/ 27 w 55"/>
                    <a:gd name="T37" fmla="*/ 55 h 55"/>
                    <a:gd name="T38" fmla="*/ 27 w 55"/>
                    <a:gd name="T39" fmla="*/ 55 h 55"/>
                    <a:gd name="T40" fmla="*/ 33 w 55"/>
                    <a:gd name="T41" fmla="*/ 55 h 55"/>
                    <a:gd name="T42" fmla="*/ 38 w 55"/>
                    <a:gd name="T43" fmla="*/ 54 h 55"/>
                    <a:gd name="T44" fmla="*/ 43 w 55"/>
                    <a:gd name="T45" fmla="*/ 50 h 55"/>
                    <a:gd name="T46" fmla="*/ 46 w 55"/>
                    <a:gd name="T47" fmla="*/ 48 h 55"/>
                    <a:gd name="T48" fmla="*/ 50 w 55"/>
                    <a:gd name="T49" fmla="*/ 43 h 55"/>
                    <a:gd name="T50" fmla="*/ 52 w 55"/>
                    <a:gd name="T51" fmla="*/ 38 h 55"/>
                    <a:gd name="T52" fmla="*/ 55 w 55"/>
                    <a:gd name="T53" fmla="*/ 34 h 55"/>
                    <a:gd name="T54" fmla="*/ 55 w 55"/>
                    <a:gd name="T55" fmla="*/ 28 h 55"/>
                    <a:gd name="T56" fmla="*/ 55 w 55"/>
                    <a:gd name="T57" fmla="*/ 28 h 55"/>
                    <a:gd name="T58" fmla="*/ 55 w 55"/>
                    <a:gd name="T59" fmla="*/ 23 h 55"/>
                    <a:gd name="T60" fmla="*/ 52 w 55"/>
                    <a:gd name="T61" fmla="*/ 17 h 55"/>
                    <a:gd name="T62" fmla="*/ 50 w 55"/>
                    <a:gd name="T63" fmla="*/ 12 h 55"/>
                    <a:gd name="T64" fmla="*/ 46 w 55"/>
                    <a:gd name="T65" fmla="*/ 9 h 55"/>
                    <a:gd name="T66" fmla="*/ 43 w 55"/>
                    <a:gd name="T67" fmla="*/ 5 h 55"/>
                    <a:gd name="T68" fmla="*/ 38 w 55"/>
                    <a:gd name="T69" fmla="*/ 3 h 55"/>
                    <a:gd name="T70" fmla="*/ 33 w 55"/>
                    <a:gd name="T71" fmla="*/ 2 h 55"/>
                    <a:gd name="T72" fmla="*/ 27 w 55"/>
                    <a:gd name="T7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5">
                      <a:moveTo>
                        <a:pt x="27" y="0"/>
                      </a:moveTo>
                      <a:lnTo>
                        <a:pt x="27" y="0"/>
                      </a:lnTo>
                      <a:lnTo>
                        <a:pt x="21" y="2"/>
                      </a:lnTo>
                      <a:lnTo>
                        <a:pt x="17" y="3"/>
                      </a:lnTo>
                      <a:lnTo>
                        <a:pt x="12" y="5"/>
                      </a:lnTo>
                      <a:lnTo>
                        <a:pt x="8" y="9"/>
                      </a:lnTo>
                      <a:lnTo>
                        <a:pt x="5" y="12"/>
                      </a:lnTo>
                      <a:lnTo>
                        <a:pt x="2" y="17"/>
                      </a:lnTo>
                      <a:lnTo>
                        <a:pt x="0" y="23"/>
                      </a:lnTo>
                      <a:lnTo>
                        <a:pt x="0" y="28"/>
                      </a:lnTo>
                      <a:lnTo>
                        <a:pt x="0" y="28"/>
                      </a:lnTo>
                      <a:lnTo>
                        <a:pt x="0" y="34"/>
                      </a:lnTo>
                      <a:lnTo>
                        <a:pt x="2" y="38"/>
                      </a:lnTo>
                      <a:lnTo>
                        <a:pt x="5" y="43"/>
                      </a:lnTo>
                      <a:lnTo>
                        <a:pt x="8" y="48"/>
                      </a:lnTo>
                      <a:lnTo>
                        <a:pt x="12" y="50"/>
                      </a:lnTo>
                      <a:lnTo>
                        <a:pt x="17" y="54"/>
                      </a:lnTo>
                      <a:lnTo>
                        <a:pt x="21" y="55"/>
                      </a:lnTo>
                      <a:lnTo>
                        <a:pt x="27" y="55"/>
                      </a:lnTo>
                      <a:lnTo>
                        <a:pt x="27" y="55"/>
                      </a:lnTo>
                      <a:lnTo>
                        <a:pt x="33" y="55"/>
                      </a:lnTo>
                      <a:lnTo>
                        <a:pt x="38" y="54"/>
                      </a:lnTo>
                      <a:lnTo>
                        <a:pt x="43" y="50"/>
                      </a:lnTo>
                      <a:lnTo>
                        <a:pt x="46" y="48"/>
                      </a:lnTo>
                      <a:lnTo>
                        <a:pt x="50" y="43"/>
                      </a:lnTo>
                      <a:lnTo>
                        <a:pt x="52" y="38"/>
                      </a:lnTo>
                      <a:lnTo>
                        <a:pt x="55" y="34"/>
                      </a:lnTo>
                      <a:lnTo>
                        <a:pt x="55" y="28"/>
                      </a:lnTo>
                      <a:lnTo>
                        <a:pt x="55" y="28"/>
                      </a:lnTo>
                      <a:lnTo>
                        <a:pt x="55" y="23"/>
                      </a:lnTo>
                      <a:lnTo>
                        <a:pt x="52" y="17"/>
                      </a:lnTo>
                      <a:lnTo>
                        <a:pt x="50" y="12"/>
                      </a:lnTo>
                      <a:lnTo>
                        <a:pt x="46" y="9"/>
                      </a:lnTo>
                      <a:lnTo>
                        <a:pt x="43" y="5"/>
                      </a:lnTo>
                      <a:lnTo>
                        <a:pt x="38" y="3"/>
                      </a:lnTo>
                      <a:lnTo>
                        <a:pt x="33" y="2"/>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6" name="Freeform 457"/>
                <p:cNvSpPr>
                  <a:spLocks/>
                </p:cNvSpPr>
                <p:nvPr userDrawn="1"/>
              </p:nvSpPr>
              <p:spPr bwMode="auto">
                <a:xfrm>
                  <a:off x="10507208" y="3520574"/>
                  <a:ext cx="34925" cy="34925"/>
                </a:xfrm>
                <a:custGeom>
                  <a:avLst/>
                  <a:gdLst>
                    <a:gd name="T0" fmla="*/ 0 w 45"/>
                    <a:gd name="T1" fmla="*/ 22 h 44"/>
                    <a:gd name="T2" fmla="*/ 0 w 45"/>
                    <a:gd name="T3" fmla="*/ 22 h 44"/>
                    <a:gd name="T4" fmla="*/ 1 w 45"/>
                    <a:gd name="T5" fmla="*/ 27 h 44"/>
                    <a:gd name="T6" fmla="*/ 2 w 45"/>
                    <a:gd name="T7" fmla="*/ 31 h 44"/>
                    <a:gd name="T8" fmla="*/ 4 w 45"/>
                    <a:gd name="T9" fmla="*/ 35 h 44"/>
                    <a:gd name="T10" fmla="*/ 7 w 45"/>
                    <a:gd name="T11" fmla="*/ 37 h 44"/>
                    <a:gd name="T12" fmla="*/ 10 w 45"/>
                    <a:gd name="T13" fmla="*/ 41 h 44"/>
                    <a:gd name="T14" fmla="*/ 14 w 45"/>
                    <a:gd name="T15" fmla="*/ 42 h 44"/>
                    <a:gd name="T16" fmla="*/ 18 w 45"/>
                    <a:gd name="T17" fmla="*/ 44 h 44"/>
                    <a:gd name="T18" fmla="*/ 22 w 45"/>
                    <a:gd name="T19" fmla="*/ 44 h 44"/>
                    <a:gd name="T20" fmla="*/ 22 w 45"/>
                    <a:gd name="T21" fmla="*/ 44 h 44"/>
                    <a:gd name="T22" fmla="*/ 27 w 45"/>
                    <a:gd name="T23" fmla="*/ 44 h 44"/>
                    <a:gd name="T24" fmla="*/ 31 w 45"/>
                    <a:gd name="T25" fmla="*/ 42 h 44"/>
                    <a:gd name="T26" fmla="*/ 34 w 45"/>
                    <a:gd name="T27" fmla="*/ 41 h 44"/>
                    <a:gd name="T28" fmla="*/ 38 w 45"/>
                    <a:gd name="T29" fmla="*/ 37 h 44"/>
                    <a:gd name="T30" fmla="*/ 40 w 45"/>
                    <a:gd name="T31" fmla="*/ 35 h 44"/>
                    <a:gd name="T32" fmla="*/ 43 w 45"/>
                    <a:gd name="T33" fmla="*/ 31 h 44"/>
                    <a:gd name="T34" fmla="*/ 44 w 45"/>
                    <a:gd name="T35" fmla="*/ 27 h 44"/>
                    <a:gd name="T36" fmla="*/ 45 w 45"/>
                    <a:gd name="T37" fmla="*/ 22 h 44"/>
                    <a:gd name="T38" fmla="*/ 45 w 45"/>
                    <a:gd name="T39" fmla="*/ 22 h 44"/>
                    <a:gd name="T40" fmla="*/ 44 w 45"/>
                    <a:gd name="T41" fmla="*/ 18 h 44"/>
                    <a:gd name="T42" fmla="*/ 43 w 45"/>
                    <a:gd name="T43" fmla="*/ 13 h 44"/>
                    <a:gd name="T44" fmla="*/ 40 w 45"/>
                    <a:gd name="T45" fmla="*/ 10 h 44"/>
                    <a:gd name="T46" fmla="*/ 38 w 45"/>
                    <a:gd name="T47" fmla="*/ 6 h 44"/>
                    <a:gd name="T48" fmla="*/ 34 w 45"/>
                    <a:gd name="T49" fmla="*/ 4 h 44"/>
                    <a:gd name="T50" fmla="*/ 31 w 45"/>
                    <a:gd name="T51" fmla="*/ 2 h 44"/>
                    <a:gd name="T52" fmla="*/ 27 w 45"/>
                    <a:gd name="T53" fmla="*/ 0 h 44"/>
                    <a:gd name="T54" fmla="*/ 22 w 45"/>
                    <a:gd name="T55" fmla="*/ 0 h 44"/>
                    <a:gd name="T56" fmla="*/ 22 w 45"/>
                    <a:gd name="T57" fmla="*/ 0 h 44"/>
                    <a:gd name="T58" fmla="*/ 18 w 45"/>
                    <a:gd name="T59" fmla="*/ 0 h 44"/>
                    <a:gd name="T60" fmla="*/ 14 w 45"/>
                    <a:gd name="T61" fmla="*/ 2 h 44"/>
                    <a:gd name="T62" fmla="*/ 10 w 45"/>
                    <a:gd name="T63" fmla="*/ 4 h 44"/>
                    <a:gd name="T64" fmla="*/ 7 w 45"/>
                    <a:gd name="T65" fmla="*/ 6 h 44"/>
                    <a:gd name="T66" fmla="*/ 4 w 45"/>
                    <a:gd name="T67" fmla="*/ 10 h 44"/>
                    <a:gd name="T68" fmla="*/ 2 w 45"/>
                    <a:gd name="T69" fmla="*/ 13 h 44"/>
                    <a:gd name="T70" fmla="*/ 1 w 45"/>
                    <a:gd name="T71" fmla="*/ 18 h 44"/>
                    <a:gd name="T72" fmla="*/ 0 w 45"/>
                    <a:gd name="T73" fmla="*/ 22 h 44"/>
                    <a:gd name="T74" fmla="*/ 0 w 45"/>
                    <a:gd name="T75"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44">
                      <a:moveTo>
                        <a:pt x="0" y="22"/>
                      </a:moveTo>
                      <a:lnTo>
                        <a:pt x="0" y="22"/>
                      </a:lnTo>
                      <a:lnTo>
                        <a:pt x="1" y="27"/>
                      </a:lnTo>
                      <a:lnTo>
                        <a:pt x="2" y="31"/>
                      </a:lnTo>
                      <a:lnTo>
                        <a:pt x="4" y="35"/>
                      </a:lnTo>
                      <a:lnTo>
                        <a:pt x="7" y="37"/>
                      </a:lnTo>
                      <a:lnTo>
                        <a:pt x="10" y="41"/>
                      </a:lnTo>
                      <a:lnTo>
                        <a:pt x="14" y="42"/>
                      </a:lnTo>
                      <a:lnTo>
                        <a:pt x="18" y="44"/>
                      </a:lnTo>
                      <a:lnTo>
                        <a:pt x="22" y="44"/>
                      </a:lnTo>
                      <a:lnTo>
                        <a:pt x="22" y="44"/>
                      </a:lnTo>
                      <a:lnTo>
                        <a:pt x="27" y="44"/>
                      </a:lnTo>
                      <a:lnTo>
                        <a:pt x="31" y="42"/>
                      </a:lnTo>
                      <a:lnTo>
                        <a:pt x="34" y="41"/>
                      </a:lnTo>
                      <a:lnTo>
                        <a:pt x="38" y="37"/>
                      </a:lnTo>
                      <a:lnTo>
                        <a:pt x="40" y="35"/>
                      </a:lnTo>
                      <a:lnTo>
                        <a:pt x="43" y="31"/>
                      </a:lnTo>
                      <a:lnTo>
                        <a:pt x="44" y="27"/>
                      </a:lnTo>
                      <a:lnTo>
                        <a:pt x="45" y="22"/>
                      </a:lnTo>
                      <a:lnTo>
                        <a:pt x="45" y="22"/>
                      </a:lnTo>
                      <a:lnTo>
                        <a:pt x="44" y="18"/>
                      </a:lnTo>
                      <a:lnTo>
                        <a:pt x="43" y="13"/>
                      </a:lnTo>
                      <a:lnTo>
                        <a:pt x="40" y="10"/>
                      </a:lnTo>
                      <a:lnTo>
                        <a:pt x="38" y="6"/>
                      </a:lnTo>
                      <a:lnTo>
                        <a:pt x="34" y="4"/>
                      </a:lnTo>
                      <a:lnTo>
                        <a:pt x="31" y="2"/>
                      </a:lnTo>
                      <a:lnTo>
                        <a:pt x="27" y="0"/>
                      </a:lnTo>
                      <a:lnTo>
                        <a:pt x="22" y="0"/>
                      </a:lnTo>
                      <a:lnTo>
                        <a:pt x="22" y="0"/>
                      </a:lnTo>
                      <a:lnTo>
                        <a:pt x="18" y="0"/>
                      </a:lnTo>
                      <a:lnTo>
                        <a:pt x="14" y="2"/>
                      </a:lnTo>
                      <a:lnTo>
                        <a:pt x="10" y="4"/>
                      </a:lnTo>
                      <a:lnTo>
                        <a:pt x="7" y="6"/>
                      </a:lnTo>
                      <a:lnTo>
                        <a:pt x="4" y="10"/>
                      </a:lnTo>
                      <a:lnTo>
                        <a:pt x="2" y="13"/>
                      </a:lnTo>
                      <a:lnTo>
                        <a:pt x="1" y="18"/>
                      </a:lnTo>
                      <a:lnTo>
                        <a:pt x="0" y="22"/>
                      </a:lnTo>
                      <a:lnTo>
                        <a:pt x="0" y="22"/>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7" name="Freeform 458"/>
                <p:cNvSpPr>
                  <a:spLocks/>
                </p:cNvSpPr>
                <p:nvPr userDrawn="1"/>
              </p:nvSpPr>
              <p:spPr bwMode="auto">
                <a:xfrm>
                  <a:off x="10507208" y="3520574"/>
                  <a:ext cx="34925" cy="17463"/>
                </a:xfrm>
                <a:custGeom>
                  <a:avLst/>
                  <a:gdLst>
                    <a:gd name="T0" fmla="*/ 22 w 45"/>
                    <a:gd name="T1" fmla="*/ 0 h 22"/>
                    <a:gd name="T2" fmla="*/ 22 w 45"/>
                    <a:gd name="T3" fmla="*/ 0 h 22"/>
                    <a:gd name="T4" fmla="*/ 27 w 45"/>
                    <a:gd name="T5" fmla="*/ 0 h 22"/>
                    <a:gd name="T6" fmla="*/ 31 w 45"/>
                    <a:gd name="T7" fmla="*/ 2 h 22"/>
                    <a:gd name="T8" fmla="*/ 34 w 45"/>
                    <a:gd name="T9" fmla="*/ 4 h 22"/>
                    <a:gd name="T10" fmla="*/ 38 w 45"/>
                    <a:gd name="T11" fmla="*/ 6 h 22"/>
                    <a:gd name="T12" fmla="*/ 40 w 45"/>
                    <a:gd name="T13" fmla="*/ 10 h 22"/>
                    <a:gd name="T14" fmla="*/ 43 w 45"/>
                    <a:gd name="T15" fmla="*/ 13 h 22"/>
                    <a:gd name="T16" fmla="*/ 44 w 45"/>
                    <a:gd name="T17" fmla="*/ 18 h 22"/>
                    <a:gd name="T18" fmla="*/ 45 w 45"/>
                    <a:gd name="T19" fmla="*/ 22 h 22"/>
                    <a:gd name="T20" fmla="*/ 0 w 45"/>
                    <a:gd name="T21" fmla="*/ 22 h 22"/>
                    <a:gd name="T22" fmla="*/ 0 w 45"/>
                    <a:gd name="T23" fmla="*/ 22 h 22"/>
                    <a:gd name="T24" fmla="*/ 1 w 45"/>
                    <a:gd name="T25" fmla="*/ 18 h 22"/>
                    <a:gd name="T26" fmla="*/ 2 w 45"/>
                    <a:gd name="T27" fmla="*/ 13 h 22"/>
                    <a:gd name="T28" fmla="*/ 4 w 45"/>
                    <a:gd name="T29" fmla="*/ 10 h 22"/>
                    <a:gd name="T30" fmla="*/ 7 w 45"/>
                    <a:gd name="T31" fmla="*/ 6 h 22"/>
                    <a:gd name="T32" fmla="*/ 10 w 45"/>
                    <a:gd name="T33" fmla="*/ 4 h 22"/>
                    <a:gd name="T34" fmla="*/ 14 w 45"/>
                    <a:gd name="T35" fmla="*/ 2 h 22"/>
                    <a:gd name="T36" fmla="*/ 18 w 45"/>
                    <a:gd name="T37" fmla="*/ 0 h 22"/>
                    <a:gd name="T38" fmla="*/ 22 w 45"/>
                    <a:gd name="T39" fmla="*/ 0 h 22"/>
                    <a:gd name="T40" fmla="*/ 22 w 45"/>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22">
                      <a:moveTo>
                        <a:pt x="22" y="0"/>
                      </a:moveTo>
                      <a:lnTo>
                        <a:pt x="22" y="0"/>
                      </a:lnTo>
                      <a:lnTo>
                        <a:pt x="27" y="0"/>
                      </a:lnTo>
                      <a:lnTo>
                        <a:pt x="31" y="2"/>
                      </a:lnTo>
                      <a:lnTo>
                        <a:pt x="34" y="4"/>
                      </a:lnTo>
                      <a:lnTo>
                        <a:pt x="38" y="6"/>
                      </a:lnTo>
                      <a:lnTo>
                        <a:pt x="40" y="10"/>
                      </a:lnTo>
                      <a:lnTo>
                        <a:pt x="43" y="13"/>
                      </a:lnTo>
                      <a:lnTo>
                        <a:pt x="44" y="18"/>
                      </a:lnTo>
                      <a:lnTo>
                        <a:pt x="45" y="22"/>
                      </a:lnTo>
                      <a:lnTo>
                        <a:pt x="0" y="22"/>
                      </a:lnTo>
                      <a:lnTo>
                        <a:pt x="0" y="22"/>
                      </a:lnTo>
                      <a:lnTo>
                        <a:pt x="1" y="18"/>
                      </a:lnTo>
                      <a:lnTo>
                        <a:pt x="2" y="13"/>
                      </a:lnTo>
                      <a:lnTo>
                        <a:pt x="4" y="10"/>
                      </a:lnTo>
                      <a:lnTo>
                        <a:pt x="7" y="6"/>
                      </a:lnTo>
                      <a:lnTo>
                        <a:pt x="10" y="4"/>
                      </a:lnTo>
                      <a:lnTo>
                        <a:pt x="14" y="2"/>
                      </a:lnTo>
                      <a:lnTo>
                        <a:pt x="18" y="0"/>
                      </a:lnTo>
                      <a:lnTo>
                        <a:pt x="22" y="0"/>
                      </a:lnTo>
                      <a:lnTo>
                        <a:pt x="22"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8" name="Rectangle 459"/>
                <p:cNvSpPr>
                  <a:spLocks noChangeArrowheads="1"/>
                </p:cNvSpPr>
                <p:nvPr userDrawn="1"/>
              </p:nvSpPr>
              <p:spPr bwMode="auto">
                <a:xfrm>
                  <a:off x="10424658" y="4025399"/>
                  <a:ext cx="55563" cy="117475"/>
                </a:xfrm>
                <a:prstGeom prst="rect">
                  <a:avLst/>
                </a:prstGeom>
                <a:solidFill>
                  <a:srgbClr val="B1B1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09" name="Rectangle 460"/>
                <p:cNvSpPr>
                  <a:spLocks noChangeArrowheads="1"/>
                </p:cNvSpPr>
                <p:nvPr userDrawn="1"/>
              </p:nvSpPr>
              <p:spPr bwMode="auto">
                <a:xfrm>
                  <a:off x="10424658" y="4025399"/>
                  <a:ext cx="55563" cy="11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7551" name="그룹 7550"/>
              <p:cNvGrpSpPr/>
              <p:nvPr userDrawn="1"/>
            </p:nvGrpSpPr>
            <p:grpSpPr>
              <a:xfrm>
                <a:off x="6869446" y="1676614"/>
                <a:ext cx="300823" cy="502753"/>
                <a:chOff x="11064421" y="3372936"/>
                <a:chExt cx="922338" cy="1541463"/>
              </a:xfrm>
            </p:grpSpPr>
            <p:sp>
              <p:nvSpPr>
                <p:cNvPr id="870" name="Rectangle 245"/>
                <p:cNvSpPr>
                  <a:spLocks noChangeArrowheads="1"/>
                </p:cNvSpPr>
                <p:nvPr userDrawn="1"/>
              </p:nvSpPr>
              <p:spPr bwMode="auto">
                <a:xfrm>
                  <a:off x="11334296" y="3455486"/>
                  <a:ext cx="19050" cy="211138"/>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1" name="Rectangle 246"/>
                <p:cNvSpPr>
                  <a:spLocks noChangeArrowheads="1"/>
                </p:cNvSpPr>
                <p:nvPr userDrawn="1"/>
              </p:nvSpPr>
              <p:spPr bwMode="auto">
                <a:xfrm>
                  <a:off x="11697833" y="3455486"/>
                  <a:ext cx="19050" cy="211138"/>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2" name="Freeform 247"/>
                <p:cNvSpPr>
                  <a:spLocks/>
                </p:cNvSpPr>
                <p:nvPr userDrawn="1"/>
              </p:nvSpPr>
              <p:spPr bwMode="auto">
                <a:xfrm>
                  <a:off x="11162846" y="3752349"/>
                  <a:ext cx="236538" cy="182563"/>
                </a:xfrm>
                <a:custGeom>
                  <a:avLst/>
                  <a:gdLst>
                    <a:gd name="T0" fmla="*/ 299 w 299"/>
                    <a:gd name="T1" fmla="*/ 212 h 230"/>
                    <a:gd name="T2" fmla="*/ 299 w 299"/>
                    <a:gd name="T3" fmla="*/ 212 h 230"/>
                    <a:gd name="T4" fmla="*/ 297 w 299"/>
                    <a:gd name="T5" fmla="*/ 216 h 230"/>
                    <a:gd name="T6" fmla="*/ 296 w 299"/>
                    <a:gd name="T7" fmla="*/ 220 h 230"/>
                    <a:gd name="T8" fmla="*/ 293 w 299"/>
                    <a:gd name="T9" fmla="*/ 226 h 230"/>
                    <a:gd name="T10" fmla="*/ 287 w 299"/>
                    <a:gd name="T11" fmla="*/ 229 h 230"/>
                    <a:gd name="T12" fmla="*/ 283 w 299"/>
                    <a:gd name="T13" fmla="*/ 230 h 230"/>
                    <a:gd name="T14" fmla="*/ 280 w 299"/>
                    <a:gd name="T15" fmla="*/ 230 h 230"/>
                    <a:gd name="T16" fmla="*/ 18 w 299"/>
                    <a:gd name="T17" fmla="*/ 230 h 230"/>
                    <a:gd name="T18" fmla="*/ 18 w 299"/>
                    <a:gd name="T19" fmla="*/ 230 h 230"/>
                    <a:gd name="T20" fmla="*/ 14 w 299"/>
                    <a:gd name="T21" fmla="*/ 230 h 230"/>
                    <a:gd name="T22" fmla="*/ 11 w 299"/>
                    <a:gd name="T23" fmla="*/ 229 h 230"/>
                    <a:gd name="T24" fmla="*/ 5 w 299"/>
                    <a:gd name="T25" fmla="*/ 226 h 230"/>
                    <a:gd name="T26" fmla="*/ 1 w 299"/>
                    <a:gd name="T27" fmla="*/ 220 h 230"/>
                    <a:gd name="T28" fmla="*/ 0 w 299"/>
                    <a:gd name="T29" fmla="*/ 216 h 230"/>
                    <a:gd name="T30" fmla="*/ 0 w 299"/>
                    <a:gd name="T31" fmla="*/ 212 h 230"/>
                    <a:gd name="T32" fmla="*/ 0 w 299"/>
                    <a:gd name="T33" fmla="*/ 17 h 230"/>
                    <a:gd name="T34" fmla="*/ 0 w 299"/>
                    <a:gd name="T35" fmla="*/ 17 h 230"/>
                    <a:gd name="T36" fmla="*/ 0 w 299"/>
                    <a:gd name="T37" fmla="*/ 14 h 230"/>
                    <a:gd name="T38" fmla="*/ 1 w 299"/>
                    <a:gd name="T39" fmla="*/ 10 h 230"/>
                    <a:gd name="T40" fmla="*/ 5 w 299"/>
                    <a:gd name="T41" fmla="*/ 6 h 230"/>
                    <a:gd name="T42" fmla="*/ 11 w 299"/>
                    <a:gd name="T43" fmla="*/ 1 h 230"/>
                    <a:gd name="T44" fmla="*/ 14 w 299"/>
                    <a:gd name="T45" fmla="*/ 0 h 230"/>
                    <a:gd name="T46" fmla="*/ 18 w 299"/>
                    <a:gd name="T47" fmla="*/ 0 h 230"/>
                    <a:gd name="T48" fmla="*/ 280 w 299"/>
                    <a:gd name="T49" fmla="*/ 0 h 230"/>
                    <a:gd name="T50" fmla="*/ 280 w 299"/>
                    <a:gd name="T51" fmla="*/ 0 h 230"/>
                    <a:gd name="T52" fmla="*/ 283 w 299"/>
                    <a:gd name="T53" fmla="*/ 0 h 230"/>
                    <a:gd name="T54" fmla="*/ 287 w 299"/>
                    <a:gd name="T55" fmla="*/ 1 h 230"/>
                    <a:gd name="T56" fmla="*/ 293 w 299"/>
                    <a:gd name="T57" fmla="*/ 6 h 230"/>
                    <a:gd name="T58" fmla="*/ 296 w 299"/>
                    <a:gd name="T59" fmla="*/ 10 h 230"/>
                    <a:gd name="T60" fmla="*/ 297 w 299"/>
                    <a:gd name="T61" fmla="*/ 14 h 230"/>
                    <a:gd name="T62" fmla="*/ 299 w 299"/>
                    <a:gd name="T63" fmla="*/ 17 h 230"/>
                    <a:gd name="T64" fmla="*/ 299 w 299"/>
                    <a:gd name="T65" fmla="*/ 21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9" h="230">
                      <a:moveTo>
                        <a:pt x="299" y="212"/>
                      </a:moveTo>
                      <a:lnTo>
                        <a:pt x="299" y="212"/>
                      </a:lnTo>
                      <a:lnTo>
                        <a:pt x="297" y="216"/>
                      </a:lnTo>
                      <a:lnTo>
                        <a:pt x="296" y="220"/>
                      </a:lnTo>
                      <a:lnTo>
                        <a:pt x="293" y="226"/>
                      </a:lnTo>
                      <a:lnTo>
                        <a:pt x="287" y="229"/>
                      </a:lnTo>
                      <a:lnTo>
                        <a:pt x="283" y="230"/>
                      </a:lnTo>
                      <a:lnTo>
                        <a:pt x="280" y="230"/>
                      </a:lnTo>
                      <a:lnTo>
                        <a:pt x="18" y="230"/>
                      </a:lnTo>
                      <a:lnTo>
                        <a:pt x="18" y="230"/>
                      </a:lnTo>
                      <a:lnTo>
                        <a:pt x="14" y="230"/>
                      </a:lnTo>
                      <a:lnTo>
                        <a:pt x="11" y="229"/>
                      </a:lnTo>
                      <a:lnTo>
                        <a:pt x="5" y="226"/>
                      </a:lnTo>
                      <a:lnTo>
                        <a:pt x="1" y="220"/>
                      </a:lnTo>
                      <a:lnTo>
                        <a:pt x="0" y="216"/>
                      </a:lnTo>
                      <a:lnTo>
                        <a:pt x="0" y="212"/>
                      </a:lnTo>
                      <a:lnTo>
                        <a:pt x="0" y="17"/>
                      </a:lnTo>
                      <a:lnTo>
                        <a:pt x="0" y="17"/>
                      </a:lnTo>
                      <a:lnTo>
                        <a:pt x="0" y="14"/>
                      </a:lnTo>
                      <a:lnTo>
                        <a:pt x="1" y="10"/>
                      </a:lnTo>
                      <a:lnTo>
                        <a:pt x="5" y="6"/>
                      </a:lnTo>
                      <a:lnTo>
                        <a:pt x="11" y="1"/>
                      </a:lnTo>
                      <a:lnTo>
                        <a:pt x="14" y="0"/>
                      </a:lnTo>
                      <a:lnTo>
                        <a:pt x="18" y="0"/>
                      </a:lnTo>
                      <a:lnTo>
                        <a:pt x="280" y="0"/>
                      </a:lnTo>
                      <a:lnTo>
                        <a:pt x="280" y="0"/>
                      </a:lnTo>
                      <a:lnTo>
                        <a:pt x="283" y="0"/>
                      </a:lnTo>
                      <a:lnTo>
                        <a:pt x="287" y="1"/>
                      </a:lnTo>
                      <a:lnTo>
                        <a:pt x="293" y="6"/>
                      </a:lnTo>
                      <a:lnTo>
                        <a:pt x="296" y="10"/>
                      </a:lnTo>
                      <a:lnTo>
                        <a:pt x="297" y="14"/>
                      </a:lnTo>
                      <a:lnTo>
                        <a:pt x="299" y="17"/>
                      </a:lnTo>
                      <a:lnTo>
                        <a:pt x="299" y="212"/>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3" name="Freeform 248"/>
                <p:cNvSpPr>
                  <a:spLocks/>
                </p:cNvSpPr>
                <p:nvPr userDrawn="1"/>
              </p:nvSpPr>
              <p:spPr bwMode="auto">
                <a:xfrm>
                  <a:off x="11651796" y="3752349"/>
                  <a:ext cx="236538" cy="182563"/>
                </a:xfrm>
                <a:custGeom>
                  <a:avLst/>
                  <a:gdLst>
                    <a:gd name="T0" fmla="*/ 297 w 297"/>
                    <a:gd name="T1" fmla="*/ 212 h 230"/>
                    <a:gd name="T2" fmla="*/ 297 w 297"/>
                    <a:gd name="T3" fmla="*/ 212 h 230"/>
                    <a:gd name="T4" fmla="*/ 297 w 297"/>
                    <a:gd name="T5" fmla="*/ 216 h 230"/>
                    <a:gd name="T6" fmla="*/ 296 w 297"/>
                    <a:gd name="T7" fmla="*/ 220 h 230"/>
                    <a:gd name="T8" fmla="*/ 293 w 297"/>
                    <a:gd name="T9" fmla="*/ 226 h 230"/>
                    <a:gd name="T10" fmla="*/ 287 w 297"/>
                    <a:gd name="T11" fmla="*/ 229 h 230"/>
                    <a:gd name="T12" fmla="*/ 283 w 297"/>
                    <a:gd name="T13" fmla="*/ 230 h 230"/>
                    <a:gd name="T14" fmla="*/ 279 w 297"/>
                    <a:gd name="T15" fmla="*/ 230 h 230"/>
                    <a:gd name="T16" fmla="*/ 18 w 297"/>
                    <a:gd name="T17" fmla="*/ 230 h 230"/>
                    <a:gd name="T18" fmla="*/ 18 w 297"/>
                    <a:gd name="T19" fmla="*/ 230 h 230"/>
                    <a:gd name="T20" fmla="*/ 14 w 297"/>
                    <a:gd name="T21" fmla="*/ 230 h 230"/>
                    <a:gd name="T22" fmla="*/ 11 w 297"/>
                    <a:gd name="T23" fmla="*/ 229 h 230"/>
                    <a:gd name="T24" fmla="*/ 5 w 297"/>
                    <a:gd name="T25" fmla="*/ 226 h 230"/>
                    <a:gd name="T26" fmla="*/ 1 w 297"/>
                    <a:gd name="T27" fmla="*/ 220 h 230"/>
                    <a:gd name="T28" fmla="*/ 0 w 297"/>
                    <a:gd name="T29" fmla="*/ 216 h 230"/>
                    <a:gd name="T30" fmla="*/ 0 w 297"/>
                    <a:gd name="T31" fmla="*/ 212 h 230"/>
                    <a:gd name="T32" fmla="*/ 0 w 297"/>
                    <a:gd name="T33" fmla="*/ 17 h 230"/>
                    <a:gd name="T34" fmla="*/ 0 w 297"/>
                    <a:gd name="T35" fmla="*/ 17 h 230"/>
                    <a:gd name="T36" fmla="*/ 0 w 297"/>
                    <a:gd name="T37" fmla="*/ 14 h 230"/>
                    <a:gd name="T38" fmla="*/ 1 w 297"/>
                    <a:gd name="T39" fmla="*/ 10 h 230"/>
                    <a:gd name="T40" fmla="*/ 5 w 297"/>
                    <a:gd name="T41" fmla="*/ 6 h 230"/>
                    <a:gd name="T42" fmla="*/ 11 w 297"/>
                    <a:gd name="T43" fmla="*/ 1 h 230"/>
                    <a:gd name="T44" fmla="*/ 14 w 297"/>
                    <a:gd name="T45" fmla="*/ 0 h 230"/>
                    <a:gd name="T46" fmla="*/ 18 w 297"/>
                    <a:gd name="T47" fmla="*/ 0 h 230"/>
                    <a:gd name="T48" fmla="*/ 279 w 297"/>
                    <a:gd name="T49" fmla="*/ 0 h 230"/>
                    <a:gd name="T50" fmla="*/ 279 w 297"/>
                    <a:gd name="T51" fmla="*/ 0 h 230"/>
                    <a:gd name="T52" fmla="*/ 283 w 297"/>
                    <a:gd name="T53" fmla="*/ 0 h 230"/>
                    <a:gd name="T54" fmla="*/ 287 w 297"/>
                    <a:gd name="T55" fmla="*/ 1 h 230"/>
                    <a:gd name="T56" fmla="*/ 293 w 297"/>
                    <a:gd name="T57" fmla="*/ 6 h 230"/>
                    <a:gd name="T58" fmla="*/ 296 w 297"/>
                    <a:gd name="T59" fmla="*/ 10 h 230"/>
                    <a:gd name="T60" fmla="*/ 297 w 297"/>
                    <a:gd name="T61" fmla="*/ 14 h 230"/>
                    <a:gd name="T62" fmla="*/ 297 w 297"/>
                    <a:gd name="T63" fmla="*/ 17 h 230"/>
                    <a:gd name="T64" fmla="*/ 297 w 297"/>
                    <a:gd name="T65" fmla="*/ 21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7" h="230">
                      <a:moveTo>
                        <a:pt x="297" y="212"/>
                      </a:moveTo>
                      <a:lnTo>
                        <a:pt x="297" y="212"/>
                      </a:lnTo>
                      <a:lnTo>
                        <a:pt x="297" y="216"/>
                      </a:lnTo>
                      <a:lnTo>
                        <a:pt x="296" y="220"/>
                      </a:lnTo>
                      <a:lnTo>
                        <a:pt x="293" y="226"/>
                      </a:lnTo>
                      <a:lnTo>
                        <a:pt x="287" y="229"/>
                      </a:lnTo>
                      <a:lnTo>
                        <a:pt x="283" y="230"/>
                      </a:lnTo>
                      <a:lnTo>
                        <a:pt x="279" y="230"/>
                      </a:lnTo>
                      <a:lnTo>
                        <a:pt x="18" y="230"/>
                      </a:lnTo>
                      <a:lnTo>
                        <a:pt x="18" y="230"/>
                      </a:lnTo>
                      <a:lnTo>
                        <a:pt x="14" y="230"/>
                      </a:lnTo>
                      <a:lnTo>
                        <a:pt x="11" y="229"/>
                      </a:lnTo>
                      <a:lnTo>
                        <a:pt x="5" y="226"/>
                      </a:lnTo>
                      <a:lnTo>
                        <a:pt x="1" y="220"/>
                      </a:lnTo>
                      <a:lnTo>
                        <a:pt x="0" y="216"/>
                      </a:lnTo>
                      <a:lnTo>
                        <a:pt x="0" y="212"/>
                      </a:lnTo>
                      <a:lnTo>
                        <a:pt x="0" y="17"/>
                      </a:lnTo>
                      <a:lnTo>
                        <a:pt x="0" y="17"/>
                      </a:lnTo>
                      <a:lnTo>
                        <a:pt x="0" y="14"/>
                      </a:lnTo>
                      <a:lnTo>
                        <a:pt x="1" y="10"/>
                      </a:lnTo>
                      <a:lnTo>
                        <a:pt x="5" y="6"/>
                      </a:lnTo>
                      <a:lnTo>
                        <a:pt x="11" y="1"/>
                      </a:lnTo>
                      <a:lnTo>
                        <a:pt x="14" y="0"/>
                      </a:lnTo>
                      <a:lnTo>
                        <a:pt x="18" y="0"/>
                      </a:lnTo>
                      <a:lnTo>
                        <a:pt x="279" y="0"/>
                      </a:lnTo>
                      <a:lnTo>
                        <a:pt x="279" y="0"/>
                      </a:lnTo>
                      <a:lnTo>
                        <a:pt x="283" y="0"/>
                      </a:lnTo>
                      <a:lnTo>
                        <a:pt x="287" y="1"/>
                      </a:lnTo>
                      <a:lnTo>
                        <a:pt x="293" y="6"/>
                      </a:lnTo>
                      <a:lnTo>
                        <a:pt x="296" y="10"/>
                      </a:lnTo>
                      <a:lnTo>
                        <a:pt x="297" y="14"/>
                      </a:lnTo>
                      <a:lnTo>
                        <a:pt x="297" y="17"/>
                      </a:lnTo>
                      <a:lnTo>
                        <a:pt x="297" y="212"/>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4" name="Freeform 249"/>
                <p:cNvSpPr>
                  <a:spLocks/>
                </p:cNvSpPr>
                <p:nvPr userDrawn="1"/>
              </p:nvSpPr>
              <p:spPr bwMode="auto">
                <a:xfrm>
                  <a:off x="11226346" y="4606424"/>
                  <a:ext cx="77788" cy="307975"/>
                </a:xfrm>
                <a:custGeom>
                  <a:avLst/>
                  <a:gdLst>
                    <a:gd name="T0" fmla="*/ 0 w 98"/>
                    <a:gd name="T1" fmla="*/ 0 h 387"/>
                    <a:gd name="T2" fmla="*/ 0 w 98"/>
                    <a:gd name="T3" fmla="*/ 289 h 387"/>
                    <a:gd name="T4" fmla="*/ 0 w 98"/>
                    <a:gd name="T5" fmla="*/ 289 h 387"/>
                    <a:gd name="T6" fmla="*/ 1 w 98"/>
                    <a:gd name="T7" fmla="*/ 299 h 387"/>
                    <a:gd name="T8" fmla="*/ 2 w 98"/>
                    <a:gd name="T9" fmla="*/ 309 h 387"/>
                    <a:gd name="T10" fmla="*/ 5 w 98"/>
                    <a:gd name="T11" fmla="*/ 318 h 387"/>
                    <a:gd name="T12" fmla="*/ 8 w 98"/>
                    <a:gd name="T13" fmla="*/ 328 h 387"/>
                    <a:gd name="T14" fmla="*/ 12 w 98"/>
                    <a:gd name="T15" fmla="*/ 336 h 387"/>
                    <a:gd name="T16" fmla="*/ 16 w 98"/>
                    <a:gd name="T17" fmla="*/ 344 h 387"/>
                    <a:gd name="T18" fmla="*/ 22 w 98"/>
                    <a:gd name="T19" fmla="*/ 352 h 387"/>
                    <a:gd name="T20" fmla="*/ 28 w 98"/>
                    <a:gd name="T21" fmla="*/ 359 h 387"/>
                    <a:gd name="T22" fmla="*/ 35 w 98"/>
                    <a:gd name="T23" fmla="*/ 365 h 387"/>
                    <a:gd name="T24" fmla="*/ 44 w 98"/>
                    <a:gd name="T25" fmla="*/ 371 h 387"/>
                    <a:gd name="T26" fmla="*/ 51 w 98"/>
                    <a:gd name="T27" fmla="*/ 375 h 387"/>
                    <a:gd name="T28" fmla="*/ 60 w 98"/>
                    <a:gd name="T29" fmla="*/ 379 h 387"/>
                    <a:gd name="T30" fmla="*/ 69 w 98"/>
                    <a:gd name="T31" fmla="*/ 382 h 387"/>
                    <a:gd name="T32" fmla="*/ 78 w 98"/>
                    <a:gd name="T33" fmla="*/ 385 h 387"/>
                    <a:gd name="T34" fmla="*/ 88 w 98"/>
                    <a:gd name="T35" fmla="*/ 387 h 387"/>
                    <a:gd name="T36" fmla="*/ 98 w 98"/>
                    <a:gd name="T37" fmla="*/ 387 h 387"/>
                    <a:gd name="T38" fmla="*/ 98 w 98"/>
                    <a:gd name="T39" fmla="*/ 0 h 387"/>
                    <a:gd name="T40" fmla="*/ 0 w 98"/>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387">
                      <a:moveTo>
                        <a:pt x="0" y="0"/>
                      </a:moveTo>
                      <a:lnTo>
                        <a:pt x="0" y="289"/>
                      </a:lnTo>
                      <a:lnTo>
                        <a:pt x="0" y="289"/>
                      </a:lnTo>
                      <a:lnTo>
                        <a:pt x="1" y="299"/>
                      </a:lnTo>
                      <a:lnTo>
                        <a:pt x="2" y="309"/>
                      </a:lnTo>
                      <a:lnTo>
                        <a:pt x="5" y="318"/>
                      </a:lnTo>
                      <a:lnTo>
                        <a:pt x="8" y="328"/>
                      </a:lnTo>
                      <a:lnTo>
                        <a:pt x="12" y="336"/>
                      </a:lnTo>
                      <a:lnTo>
                        <a:pt x="16" y="344"/>
                      </a:lnTo>
                      <a:lnTo>
                        <a:pt x="22" y="352"/>
                      </a:lnTo>
                      <a:lnTo>
                        <a:pt x="28" y="359"/>
                      </a:lnTo>
                      <a:lnTo>
                        <a:pt x="35" y="365"/>
                      </a:lnTo>
                      <a:lnTo>
                        <a:pt x="44" y="371"/>
                      </a:lnTo>
                      <a:lnTo>
                        <a:pt x="51" y="375"/>
                      </a:lnTo>
                      <a:lnTo>
                        <a:pt x="60" y="379"/>
                      </a:lnTo>
                      <a:lnTo>
                        <a:pt x="69" y="382"/>
                      </a:lnTo>
                      <a:lnTo>
                        <a:pt x="78" y="385"/>
                      </a:lnTo>
                      <a:lnTo>
                        <a:pt x="88" y="387"/>
                      </a:lnTo>
                      <a:lnTo>
                        <a:pt x="98" y="387"/>
                      </a:lnTo>
                      <a:lnTo>
                        <a:pt x="98" y="0"/>
                      </a:lnTo>
                      <a:lnTo>
                        <a:pt x="0"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5" name="Freeform 250"/>
                <p:cNvSpPr>
                  <a:spLocks/>
                </p:cNvSpPr>
                <p:nvPr userDrawn="1"/>
              </p:nvSpPr>
              <p:spPr bwMode="auto">
                <a:xfrm>
                  <a:off x="11304133" y="4606424"/>
                  <a:ext cx="77788" cy="307975"/>
                </a:xfrm>
                <a:custGeom>
                  <a:avLst/>
                  <a:gdLst>
                    <a:gd name="T0" fmla="*/ 0 w 98"/>
                    <a:gd name="T1" fmla="*/ 0 h 387"/>
                    <a:gd name="T2" fmla="*/ 0 w 98"/>
                    <a:gd name="T3" fmla="*/ 387 h 387"/>
                    <a:gd name="T4" fmla="*/ 0 w 98"/>
                    <a:gd name="T5" fmla="*/ 387 h 387"/>
                    <a:gd name="T6" fmla="*/ 10 w 98"/>
                    <a:gd name="T7" fmla="*/ 387 h 387"/>
                    <a:gd name="T8" fmla="*/ 19 w 98"/>
                    <a:gd name="T9" fmla="*/ 385 h 387"/>
                    <a:gd name="T10" fmla="*/ 29 w 98"/>
                    <a:gd name="T11" fmla="*/ 382 h 387"/>
                    <a:gd name="T12" fmla="*/ 39 w 98"/>
                    <a:gd name="T13" fmla="*/ 379 h 387"/>
                    <a:gd name="T14" fmla="*/ 47 w 98"/>
                    <a:gd name="T15" fmla="*/ 375 h 387"/>
                    <a:gd name="T16" fmla="*/ 55 w 98"/>
                    <a:gd name="T17" fmla="*/ 371 h 387"/>
                    <a:gd name="T18" fmla="*/ 62 w 98"/>
                    <a:gd name="T19" fmla="*/ 365 h 387"/>
                    <a:gd name="T20" fmla="*/ 69 w 98"/>
                    <a:gd name="T21" fmla="*/ 359 h 387"/>
                    <a:gd name="T22" fmla="*/ 75 w 98"/>
                    <a:gd name="T23" fmla="*/ 352 h 387"/>
                    <a:gd name="T24" fmla="*/ 81 w 98"/>
                    <a:gd name="T25" fmla="*/ 344 h 387"/>
                    <a:gd name="T26" fmla="*/ 86 w 98"/>
                    <a:gd name="T27" fmla="*/ 336 h 387"/>
                    <a:gd name="T28" fmla="*/ 91 w 98"/>
                    <a:gd name="T29" fmla="*/ 328 h 387"/>
                    <a:gd name="T30" fmla="*/ 93 w 98"/>
                    <a:gd name="T31" fmla="*/ 318 h 387"/>
                    <a:gd name="T32" fmla="*/ 97 w 98"/>
                    <a:gd name="T33" fmla="*/ 309 h 387"/>
                    <a:gd name="T34" fmla="*/ 98 w 98"/>
                    <a:gd name="T35" fmla="*/ 299 h 387"/>
                    <a:gd name="T36" fmla="*/ 98 w 98"/>
                    <a:gd name="T37" fmla="*/ 289 h 387"/>
                    <a:gd name="T38" fmla="*/ 98 w 98"/>
                    <a:gd name="T39" fmla="*/ 0 h 387"/>
                    <a:gd name="T40" fmla="*/ 0 w 98"/>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387">
                      <a:moveTo>
                        <a:pt x="0" y="0"/>
                      </a:moveTo>
                      <a:lnTo>
                        <a:pt x="0" y="387"/>
                      </a:lnTo>
                      <a:lnTo>
                        <a:pt x="0" y="387"/>
                      </a:lnTo>
                      <a:lnTo>
                        <a:pt x="10" y="387"/>
                      </a:lnTo>
                      <a:lnTo>
                        <a:pt x="19" y="385"/>
                      </a:lnTo>
                      <a:lnTo>
                        <a:pt x="29" y="382"/>
                      </a:lnTo>
                      <a:lnTo>
                        <a:pt x="39" y="379"/>
                      </a:lnTo>
                      <a:lnTo>
                        <a:pt x="47" y="375"/>
                      </a:lnTo>
                      <a:lnTo>
                        <a:pt x="55" y="371"/>
                      </a:lnTo>
                      <a:lnTo>
                        <a:pt x="62" y="365"/>
                      </a:lnTo>
                      <a:lnTo>
                        <a:pt x="69" y="359"/>
                      </a:lnTo>
                      <a:lnTo>
                        <a:pt x="75" y="352"/>
                      </a:lnTo>
                      <a:lnTo>
                        <a:pt x="81" y="344"/>
                      </a:lnTo>
                      <a:lnTo>
                        <a:pt x="86" y="336"/>
                      </a:lnTo>
                      <a:lnTo>
                        <a:pt x="91" y="328"/>
                      </a:lnTo>
                      <a:lnTo>
                        <a:pt x="93" y="318"/>
                      </a:lnTo>
                      <a:lnTo>
                        <a:pt x="97" y="309"/>
                      </a:lnTo>
                      <a:lnTo>
                        <a:pt x="98" y="299"/>
                      </a:lnTo>
                      <a:lnTo>
                        <a:pt x="98" y="289"/>
                      </a:lnTo>
                      <a:lnTo>
                        <a:pt x="98" y="0"/>
                      </a:lnTo>
                      <a:lnTo>
                        <a:pt x="0"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6" name="Freeform 251"/>
                <p:cNvSpPr>
                  <a:spLocks/>
                </p:cNvSpPr>
                <p:nvPr userDrawn="1"/>
              </p:nvSpPr>
              <p:spPr bwMode="auto">
                <a:xfrm>
                  <a:off x="11304133" y="4606424"/>
                  <a:ext cx="77788" cy="307975"/>
                </a:xfrm>
                <a:custGeom>
                  <a:avLst/>
                  <a:gdLst>
                    <a:gd name="T0" fmla="*/ 0 w 98"/>
                    <a:gd name="T1" fmla="*/ 0 h 387"/>
                    <a:gd name="T2" fmla="*/ 0 w 98"/>
                    <a:gd name="T3" fmla="*/ 387 h 387"/>
                    <a:gd name="T4" fmla="*/ 0 w 98"/>
                    <a:gd name="T5" fmla="*/ 387 h 387"/>
                    <a:gd name="T6" fmla="*/ 10 w 98"/>
                    <a:gd name="T7" fmla="*/ 387 h 387"/>
                    <a:gd name="T8" fmla="*/ 19 w 98"/>
                    <a:gd name="T9" fmla="*/ 385 h 387"/>
                    <a:gd name="T10" fmla="*/ 29 w 98"/>
                    <a:gd name="T11" fmla="*/ 382 h 387"/>
                    <a:gd name="T12" fmla="*/ 39 w 98"/>
                    <a:gd name="T13" fmla="*/ 379 h 387"/>
                    <a:gd name="T14" fmla="*/ 47 w 98"/>
                    <a:gd name="T15" fmla="*/ 375 h 387"/>
                    <a:gd name="T16" fmla="*/ 55 w 98"/>
                    <a:gd name="T17" fmla="*/ 371 h 387"/>
                    <a:gd name="T18" fmla="*/ 62 w 98"/>
                    <a:gd name="T19" fmla="*/ 365 h 387"/>
                    <a:gd name="T20" fmla="*/ 69 w 98"/>
                    <a:gd name="T21" fmla="*/ 359 h 387"/>
                    <a:gd name="T22" fmla="*/ 75 w 98"/>
                    <a:gd name="T23" fmla="*/ 352 h 387"/>
                    <a:gd name="T24" fmla="*/ 81 w 98"/>
                    <a:gd name="T25" fmla="*/ 344 h 387"/>
                    <a:gd name="T26" fmla="*/ 86 w 98"/>
                    <a:gd name="T27" fmla="*/ 336 h 387"/>
                    <a:gd name="T28" fmla="*/ 91 w 98"/>
                    <a:gd name="T29" fmla="*/ 328 h 387"/>
                    <a:gd name="T30" fmla="*/ 93 w 98"/>
                    <a:gd name="T31" fmla="*/ 318 h 387"/>
                    <a:gd name="T32" fmla="*/ 97 w 98"/>
                    <a:gd name="T33" fmla="*/ 309 h 387"/>
                    <a:gd name="T34" fmla="*/ 98 w 98"/>
                    <a:gd name="T35" fmla="*/ 299 h 387"/>
                    <a:gd name="T36" fmla="*/ 98 w 98"/>
                    <a:gd name="T37" fmla="*/ 289 h 387"/>
                    <a:gd name="T38" fmla="*/ 98 w 98"/>
                    <a:gd name="T39" fmla="*/ 0 h 387"/>
                    <a:gd name="T40" fmla="*/ 0 w 98"/>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387">
                      <a:moveTo>
                        <a:pt x="0" y="0"/>
                      </a:moveTo>
                      <a:lnTo>
                        <a:pt x="0" y="387"/>
                      </a:lnTo>
                      <a:lnTo>
                        <a:pt x="0" y="387"/>
                      </a:lnTo>
                      <a:lnTo>
                        <a:pt x="10" y="387"/>
                      </a:lnTo>
                      <a:lnTo>
                        <a:pt x="19" y="385"/>
                      </a:lnTo>
                      <a:lnTo>
                        <a:pt x="29" y="382"/>
                      </a:lnTo>
                      <a:lnTo>
                        <a:pt x="39" y="379"/>
                      </a:lnTo>
                      <a:lnTo>
                        <a:pt x="47" y="375"/>
                      </a:lnTo>
                      <a:lnTo>
                        <a:pt x="55" y="371"/>
                      </a:lnTo>
                      <a:lnTo>
                        <a:pt x="62" y="365"/>
                      </a:lnTo>
                      <a:lnTo>
                        <a:pt x="69" y="359"/>
                      </a:lnTo>
                      <a:lnTo>
                        <a:pt x="75" y="352"/>
                      </a:lnTo>
                      <a:lnTo>
                        <a:pt x="81" y="344"/>
                      </a:lnTo>
                      <a:lnTo>
                        <a:pt x="86" y="336"/>
                      </a:lnTo>
                      <a:lnTo>
                        <a:pt x="91" y="328"/>
                      </a:lnTo>
                      <a:lnTo>
                        <a:pt x="93" y="318"/>
                      </a:lnTo>
                      <a:lnTo>
                        <a:pt x="97" y="309"/>
                      </a:lnTo>
                      <a:lnTo>
                        <a:pt x="98" y="299"/>
                      </a:lnTo>
                      <a:lnTo>
                        <a:pt x="98" y="289"/>
                      </a:lnTo>
                      <a:lnTo>
                        <a:pt x="9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7" name="Freeform 252"/>
                <p:cNvSpPr>
                  <a:spLocks/>
                </p:cNvSpPr>
                <p:nvPr userDrawn="1"/>
              </p:nvSpPr>
              <p:spPr bwMode="auto">
                <a:xfrm>
                  <a:off x="11669258" y="4606424"/>
                  <a:ext cx="77788" cy="307975"/>
                </a:xfrm>
                <a:custGeom>
                  <a:avLst/>
                  <a:gdLst>
                    <a:gd name="T0" fmla="*/ 0 w 99"/>
                    <a:gd name="T1" fmla="*/ 0 h 387"/>
                    <a:gd name="T2" fmla="*/ 0 w 99"/>
                    <a:gd name="T3" fmla="*/ 289 h 387"/>
                    <a:gd name="T4" fmla="*/ 0 w 99"/>
                    <a:gd name="T5" fmla="*/ 289 h 387"/>
                    <a:gd name="T6" fmla="*/ 0 w 99"/>
                    <a:gd name="T7" fmla="*/ 299 h 387"/>
                    <a:gd name="T8" fmla="*/ 3 w 99"/>
                    <a:gd name="T9" fmla="*/ 309 h 387"/>
                    <a:gd name="T10" fmla="*/ 5 w 99"/>
                    <a:gd name="T11" fmla="*/ 318 h 387"/>
                    <a:gd name="T12" fmla="*/ 8 w 99"/>
                    <a:gd name="T13" fmla="*/ 328 h 387"/>
                    <a:gd name="T14" fmla="*/ 12 w 99"/>
                    <a:gd name="T15" fmla="*/ 336 h 387"/>
                    <a:gd name="T16" fmla="*/ 17 w 99"/>
                    <a:gd name="T17" fmla="*/ 344 h 387"/>
                    <a:gd name="T18" fmla="*/ 23 w 99"/>
                    <a:gd name="T19" fmla="*/ 352 h 387"/>
                    <a:gd name="T20" fmla="*/ 29 w 99"/>
                    <a:gd name="T21" fmla="*/ 359 h 387"/>
                    <a:gd name="T22" fmla="*/ 36 w 99"/>
                    <a:gd name="T23" fmla="*/ 365 h 387"/>
                    <a:gd name="T24" fmla="*/ 43 w 99"/>
                    <a:gd name="T25" fmla="*/ 371 h 387"/>
                    <a:gd name="T26" fmla="*/ 52 w 99"/>
                    <a:gd name="T27" fmla="*/ 375 h 387"/>
                    <a:gd name="T28" fmla="*/ 60 w 99"/>
                    <a:gd name="T29" fmla="*/ 379 h 387"/>
                    <a:gd name="T30" fmla="*/ 69 w 99"/>
                    <a:gd name="T31" fmla="*/ 382 h 387"/>
                    <a:gd name="T32" fmla="*/ 79 w 99"/>
                    <a:gd name="T33" fmla="*/ 385 h 387"/>
                    <a:gd name="T34" fmla="*/ 88 w 99"/>
                    <a:gd name="T35" fmla="*/ 387 h 387"/>
                    <a:gd name="T36" fmla="*/ 99 w 99"/>
                    <a:gd name="T37" fmla="*/ 387 h 387"/>
                    <a:gd name="T38" fmla="*/ 99 w 99"/>
                    <a:gd name="T39" fmla="*/ 0 h 387"/>
                    <a:gd name="T40" fmla="*/ 0 w 99"/>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9" h="387">
                      <a:moveTo>
                        <a:pt x="0" y="0"/>
                      </a:moveTo>
                      <a:lnTo>
                        <a:pt x="0" y="289"/>
                      </a:lnTo>
                      <a:lnTo>
                        <a:pt x="0" y="289"/>
                      </a:lnTo>
                      <a:lnTo>
                        <a:pt x="0" y="299"/>
                      </a:lnTo>
                      <a:lnTo>
                        <a:pt x="3" y="309"/>
                      </a:lnTo>
                      <a:lnTo>
                        <a:pt x="5" y="318"/>
                      </a:lnTo>
                      <a:lnTo>
                        <a:pt x="8" y="328"/>
                      </a:lnTo>
                      <a:lnTo>
                        <a:pt x="12" y="336"/>
                      </a:lnTo>
                      <a:lnTo>
                        <a:pt x="17" y="344"/>
                      </a:lnTo>
                      <a:lnTo>
                        <a:pt x="23" y="352"/>
                      </a:lnTo>
                      <a:lnTo>
                        <a:pt x="29" y="359"/>
                      </a:lnTo>
                      <a:lnTo>
                        <a:pt x="36" y="365"/>
                      </a:lnTo>
                      <a:lnTo>
                        <a:pt x="43" y="371"/>
                      </a:lnTo>
                      <a:lnTo>
                        <a:pt x="52" y="375"/>
                      </a:lnTo>
                      <a:lnTo>
                        <a:pt x="60" y="379"/>
                      </a:lnTo>
                      <a:lnTo>
                        <a:pt x="69" y="382"/>
                      </a:lnTo>
                      <a:lnTo>
                        <a:pt x="79" y="385"/>
                      </a:lnTo>
                      <a:lnTo>
                        <a:pt x="88" y="387"/>
                      </a:lnTo>
                      <a:lnTo>
                        <a:pt x="99" y="387"/>
                      </a:lnTo>
                      <a:lnTo>
                        <a:pt x="99" y="0"/>
                      </a:lnTo>
                      <a:lnTo>
                        <a:pt x="0"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8" name="Freeform 253"/>
                <p:cNvSpPr>
                  <a:spLocks/>
                </p:cNvSpPr>
                <p:nvPr userDrawn="1"/>
              </p:nvSpPr>
              <p:spPr bwMode="auto">
                <a:xfrm>
                  <a:off x="11669258" y="4606424"/>
                  <a:ext cx="77788" cy="307975"/>
                </a:xfrm>
                <a:custGeom>
                  <a:avLst/>
                  <a:gdLst>
                    <a:gd name="T0" fmla="*/ 0 w 99"/>
                    <a:gd name="T1" fmla="*/ 0 h 387"/>
                    <a:gd name="T2" fmla="*/ 0 w 99"/>
                    <a:gd name="T3" fmla="*/ 289 h 387"/>
                    <a:gd name="T4" fmla="*/ 0 w 99"/>
                    <a:gd name="T5" fmla="*/ 289 h 387"/>
                    <a:gd name="T6" fmla="*/ 0 w 99"/>
                    <a:gd name="T7" fmla="*/ 299 h 387"/>
                    <a:gd name="T8" fmla="*/ 3 w 99"/>
                    <a:gd name="T9" fmla="*/ 309 h 387"/>
                    <a:gd name="T10" fmla="*/ 5 w 99"/>
                    <a:gd name="T11" fmla="*/ 318 h 387"/>
                    <a:gd name="T12" fmla="*/ 8 w 99"/>
                    <a:gd name="T13" fmla="*/ 328 h 387"/>
                    <a:gd name="T14" fmla="*/ 12 w 99"/>
                    <a:gd name="T15" fmla="*/ 336 h 387"/>
                    <a:gd name="T16" fmla="*/ 17 w 99"/>
                    <a:gd name="T17" fmla="*/ 344 h 387"/>
                    <a:gd name="T18" fmla="*/ 23 w 99"/>
                    <a:gd name="T19" fmla="*/ 352 h 387"/>
                    <a:gd name="T20" fmla="*/ 29 w 99"/>
                    <a:gd name="T21" fmla="*/ 359 h 387"/>
                    <a:gd name="T22" fmla="*/ 36 w 99"/>
                    <a:gd name="T23" fmla="*/ 365 h 387"/>
                    <a:gd name="T24" fmla="*/ 43 w 99"/>
                    <a:gd name="T25" fmla="*/ 371 h 387"/>
                    <a:gd name="T26" fmla="*/ 52 w 99"/>
                    <a:gd name="T27" fmla="*/ 375 h 387"/>
                    <a:gd name="T28" fmla="*/ 60 w 99"/>
                    <a:gd name="T29" fmla="*/ 379 h 387"/>
                    <a:gd name="T30" fmla="*/ 69 w 99"/>
                    <a:gd name="T31" fmla="*/ 382 h 387"/>
                    <a:gd name="T32" fmla="*/ 79 w 99"/>
                    <a:gd name="T33" fmla="*/ 385 h 387"/>
                    <a:gd name="T34" fmla="*/ 88 w 99"/>
                    <a:gd name="T35" fmla="*/ 387 h 387"/>
                    <a:gd name="T36" fmla="*/ 99 w 99"/>
                    <a:gd name="T37" fmla="*/ 387 h 387"/>
                    <a:gd name="T38" fmla="*/ 99 w 99"/>
                    <a:gd name="T39" fmla="*/ 0 h 387"/>
                    <a:gd name="T40" fmla="*/ 0 w 99"/>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9" h="387">
                      <a:moveTo>
                        <a:pt x="0" y="0"/>
                      </a:moveTo>
                      <a:lnTo>
                        <a:pt x="0" y="289"/>
                      </a:lnTo>
                      <a:lnTo>
                        <a:pt x="0" y="289"/>
                      </a:lnTo>
                      <a:lnTo>
                        <a:pt x="0" y="299"/>
                      </a:lnTo>
                      <a:lnTo>
                        <a:pt x="3" y="309"/>
                      </a:lnTo>
                      <a:lnTo>
                        <a:pt x="5" y="318"/>
                      </a:lnTo>
                      <a:lnTo>
                        <a:pt x="8" y="328"/>
                      </a:lnTo>
                      <a:lnTo>
                        <a:pt x="12" y="336"/>
                      </a:lnTo>
                      <a:lnTo>
                        <a:pt x="17" y="344"/>
                      </a:lnTo>
                      <a:lnTo>
                        <a:pt x="23" y="352"/>
                      </a:lnTo>
                      <a:lnTo>
                        <a:pt x="29" y="359"/>
                      </a:lnTo>
                      <a:lnTo>
                        <a:pt x="36" y="365"/>
                      </a:lnTo>
                      <a:lnTo>
                        <a:pt x="43" y="371"/>
                      </a:lnTo>
                      <a:lnTo>
                        <a:pt x="52" y="375"/>
                      </a:lnTo>
                      <a:lnTo>
                        <a:pt x="60" y="379"/>
                      </a:lnTo>
                      <a:lnTo>
                        <a:pt x="69" y="382"/>
                      </a:lnTo>
                      <a:lnTo>
                        <a:pt x="79" y="385"/>
                      </a:lnTo>
                      <a:lnTo>
                        <a:pt x="88" y="387"/>
                      </a:lnTo>
                      <a:lnTo>
                        <a:pt x="99" y="387"/>
                      </a:lnTo>
                      <a:lnTo>
                        <a:pt x="99"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79" name="Freeform 254"/>
                <p:cNvSpPr>
                  <a:spLocks/>
                </p:cNvSpPr>
                <p:nvPr userDrawn="1"/>
              </p:nvSpPr>
              <p:spPr bwMode="auto">
                <a:xfrm>
                  <a:off x="11747046" y="4606424"/>
                  <a:ext cx="77788" cy="307975"/>
                </a:xfrm>
                <a:custGeom>
                  <a:avLst/>
                  <a:gdLst>
                    <a:gd name="T0" fmla="*/ 0 w 98"/>
                    <a:gd name="T1" fmla="*/ 0 h 387"/>
                    <a:gd name="T2" fmla="*/ 0 w 98"/>
                    <a:gd name="T3" fmla="*/ 387 h 387"/>
                    <a:gd name="T4" fmla="*/ 0 w 98"/>
                    <a:gd name="T5" fmla="*/ 387 h 387"/>
                    <a:gd name="T6" fmla="*/ 10 w 98"/>
                    <a:gd name="T7" fmla="*/ 387 h 387"/>
                    <a:gd name="T8" fmla="*/ 19 w 98"/>
                    <a:gd name="T9" fmla="*/ 385 h 387"/>
                    <a:gd name="T10" fmla="*/ 29 w 98"/>
                    <a:gd name="T11" fmla="*/ 382 h 387"/>
                    <a:gd name="T12" fmla="*/ 38 w 98"/>
                    <a:gd name="T13" fmla="*/ 379 h 387"/>
                    <a:gd name="T14" fmla="*/ 46 w 98"/>
                    <a:gd name="T15" fmla="*/ 375 h 387"/>
                    <a:gd name="T16" fmla="*/ 55 w 98"/>
                    <a:gd name="T17" fmla="*/ 371 h 387"/>
                    <a:gd name="T18" fmla="*/ 62 w 98"/>
                    <a:gd name="T19" fmla="*/ 365 h 387"/>
                    <a:gd name="T20" fmla="*/ 69 w 98"/>
                    <a:gd name="T21" fmla="*/ 359 h 387"/>
                    <a:gd name="T22" fmla="*/ 75 w 98"/>
                    <a:gd name="T23" fmla="*/ 352 h 387"/>
                    <a:gd name="T24" fmla="*/ 81 w 98"/>
                    <a:gd name="T25" fmla="*/ 344 h 387"/>
                    <a:gd name="T26" fmla="*/ 86 w 98"/>
                    <a:gd name="T27" fmla="*/ 336 h 387"/>
                    <a:gd name="T28" fmla="*/ 90 w 98"/>
                    <a:gd name="T29" fmla="*/ 328 h 387"/>
                    <a:gd name="T30" fmla="*/ 93 w 98"/>
                    <a:gd name="T31" fmla="*/ 318 h 387"/>
                    <a:gd name="T32" fmla="*/ 95 w 98"/>
                    <a:gd name="T33" fmla="*/ 309 h 387"/>
                    <a:gd name="T34" fmla="*/ 98 w 98"/>
                    <a:gd name="T35" fmla="*/ 299 h 387"/>
                    <a:gd name="T36" fmla="*/ 98 w 98"/>
                    <a:gd name="T37" fmla="*/ 289 h 387"/>
                    <a:gd name="T38" fmla="*/ 98 w 98"/>
                    <a:gd name="T39" fmla="*/ 0 h 387"/>
                    <a:gd name="T40" fmla="*/ 0 w 98"/>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387">
                      <a:moveTo>
                        <a:pt x="0" y="0"/>
                      </a:moveTo>
                      <a:lnTo>
                        <a:pt x="0" y="387"/>
                      </a:lnTo>
                      <a:lnTo>
                        <a:pt x="0" y="387"/>
                      </a:lnTo>
                      <a:lnTo>
                        <a:pt x="10" y="387"/>
                      </a:lnTo>
                      <a:lnTo>
                        <a:pt x="19" y="385"/>
                      </a:lnTo>
                      <a:lnTo>
                        <a:pt x="29" y="382"/>
                      </a:lnTo>
                      <a:lnTo>
                        <a:pt x="38" y="379"/>
                      </a:lnTo>
                      <a:lnTo>
                        <a:pt x="46" y="375"/>
                      </a:lnTo>
                      <a:lnTo>
                        <a:pt x="55" y="371"/>
                      </a:lnTo>
                      <a:lnTo>
                        <a:pt x="62" y="365"/>
                      </a:lnTo>
                      <a:lnTo>
                        <a:pt x="69" y="359"/>
                      </a:lnTo>
                      <a:lnTo>
                        <a:pt x="75" y="352"/>
                      </a:lnTo>
                      <a:lnTo>
                        <a:pt x="81" y="344"/>
                      </a:lnTo>
                      <a:lnTo>
                        <a:pt x="86" y="336"/>
                      </a:lnTo>
                      <a:lnTo>
                        <a:pt x="90" y="328"/>
                      </a:lnTo>
                      <a:lnTo>
                        <a:pt x="93" y="318"/>
                      </a:lnTo>
                      <a:lnTo>
                        <a:pt x="95" y="309"/>
                      </a:lnTo>
                      <a:lnTo>
                        <a:pt x="98" y="299"/>
                      </a:lnTo>
                      <a:lnTo>
                        <a:pt x="98" y="289"/>
                      </a:lnTo>
                      <a:lnTo>
                        <a:pt x="98" y="0"/>
                      </a:lnTo>
                      <a:lnTo>
                        <a:pt x="0"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0" name="Freeform 255"/>
                <p:cNvSpPr>
                  <a:spLocks/>
                </p:cNvSpPr>
                <p:nvPr userDrawn="1"/>
              </p:nvSpPr>
              <p:spPr bwMode="auto">
                <a:xfrm>
                  <a:off x="11448596" y="4606424"/>
                  <a:ext cx="76200" cy="307975"/>
                </a:xfrm>
                <a:custGeom>
                  <a:avLst/>
                  <a:gdLst>
                    <a:gd name="T0" fmla="*/ 0 w 98"/>
                    <a:gd name="T1" fmla="*/ 0 h 387"/>
                    <a:gd name="T2" fmla="*/ 0 w 98"/>
                    <a:gd name="T3" fmla="*/ 289 h 387"/>
                    <a:gd name="T4" fmla="*/ 0 w 98"/>
                    <a:gd name="T5" fmla="*/ 289 h 387"/>
                    <a:gd name="T6" fmla="*/ 0 w 98"/>
                    <a:gd name="T7" fmla="*/ 299 h 387"/>
                    <a:gd name="T8" fmla="*/ 1 w 98"/>
                    <a:gd name="T9" fmla="*/ 309 h 387"/>
                    <a:gd name="T10" fmla="*/ 4 w 98"/>
                    <a:gd name="T11" fmla="*/ 318 h 387"/>
                    <a:gd name="T12" fmla="*/ 7 w 98"/>
                    <a:gd name="T13" fmla="*/ 328 h 387"/>
                    <a:gd name="T14" fmla="*/ 12 w 98"/>
                    <a:gd name="T15" fmla="*/ 336 h 387"/>
                    <a:gd name="T16" fmla="*/ 17 w 98"/>
                    <a:gd name="T17" fmla="*/ 344 h 387"/>
                    <a:gd name="T18" fmla="*/ 22 w 98"/>
                    <a:gd name="T19" fmla="*/ 352 h 387"/>
                    <a:gd name="T20" fmla="*/ 29 w 98"/>
                    <a:gd name="T21" fmla="*/ 359 h 387"/>
                    <a:gd name="T22" fmla="*/ 36 w 98"/>
                    <a:gd name="T23" fmla="*/ 365 h 387"/>
                    <a:gd name="T24" fmla="*/ 43 w 98"/>
                    <a:gd name="T25" fmla="*/ 371 h 387"/>
                    <a:gd name="T26" fmla="*/ 51 w 98"/>
                    <a:gd name="T27" fmla="*/ 375 h 387"/>
                    <a:gd name="T28" fmla="*/ 60 w 98"/>
                    <a:gd name="T29" fmla="*/ 379 h 387"/>
                    <a:gd name="T30" fmla="*/ 69 w 98"/>
                    <a:gd name="T31" fmla="*/ 382 h 387"/>
                    <a:gd name="T32" fmla="*/ 77 w 98"/>
                    <a:gd name="T33" fmla="*/ 385 h 387"/>
                    <a:gd name="T34" fmla="*/ 88 w 98"/>
                    <a:gd name="T35" fmla="*/ 387 h 387"/>
                    <a:gd name="T36" fmla="*/ 98 w 98"/>
                    <a:gd name="T37" fmla="*/ 387 h 387"/>
                    <a:gd name="T38" fmla="*/ 98 w 98"/>
                    <a:gd name="T39" fmla="*/ 0 h 387"/>
                    <a:gd name="T40" fmla="*/ 0 w 98"/>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387">
                      <a:moveTo>
                        <a:pt x="0" y="0"/>
                      </a:moveTo>
                      <a:lnTo>
                        <a:pt x="0" y="289"/>
                      </a:lnTo>
                      <a:lnTo>
                        <a:pt x="0" y="289"/>
                      </a:lnTo>
                      <a:lnTo>
                        <a:pt x="0" y="299"/>
                      </a:lnTo>
                      <a:lnTo>
                        <a:pt x="1" y="309"/>
                      </a:lnTo>
                      <a:lnTo>
                        <a:pt x="4" y="318"/>
                      </a:lnTo>
                      <a:lnTo>
                        <a:pt x="7" y="328"/>
                      </a:lnTo>
                      <a:lnTo>
                        <a:pt x="12" y="336"/>
                      </a:lnTo>
                      <a:lnTo>
                        <a:pt x="17" y="344"/>
                      </a:lnTo>
                      <a:lnTo>
                        <a:pt x="22" y="352"/>
                      </a:lnTo>
                      <a:lnTo>
                        <a:pt x="29" y="359"/>
                      </a:lnTo>
                      <a:lnTo>
                        <a:pt x="36" y="365"/>
                      </a:lnTo>
                      <a:lnTo>
                        <a:pt x="43" y="371"/>
                      </a:lnTo>
                      <a:lnTo>
                        <a:pt x="51" y="375"/>
                      </a:lnTo>
                      <a:lnTo>
                        <a:pt x="60" y="379"/>
                      </a:lnTo>
                      <a:lnTo>
                        <a:pt x="69" y="382"/>
                      </a:lnTo>
                      <a:lnTo>
                        <a:pt x="77" y="385"/>
                      </a:lnTo>
                      <a:lnTo>
                        <a:pt x="88" y="387"/>
                      </a:lnTo>
                      <a:lnTo>
                        <a:pt x="98" y="387"/>
                      </a:lnTo>
                      <a:lnTo>
                        <a:pt x="98" y="0"/>
                      </a:lnTo>
                      <a:lnTo>
                        <a:pt x="0"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1" name="Freeform 256"/>
                <p:cNvSpPr>
                  <a:spLocks/>
                </p:cNvSpPr>
                <p:nvPr userDrawn="1"/>
              </p:nvSpPr>
              <p:spPr bwMode="auto">
                <a:xfrm>
                  <a:off x="11448596" y="4606424"/>
                  <a:ext cx="76200" cy="307975"/>
                </a:xfrm>
                <a:custGeom>
                  <a:avLst/>
                  <a:gdLst>
                    <a:gd name="T0" fmla="*/ 0 w 98"/>
                    <a:gd name="T1" fmla="*/ 0 h 387"/>
                    <a:gd name="T2" fmla="*/ 0 w 98"/>
                    <a:gd name="T3" fmla="*/ 289 h 387"/>
                    <a:gd name="T4" fmla="*/ 0 w 98"/>
                    <a:gd name="T5" fmla="*/ 289 h 387"/>
                    <a:gd name="T6" fmla="*/ 0 w 98"/>
                    <a:gd name="T7" fmla="*/ 299 h 387"/>
                    <a:gd name="T8" fmla="*/ 1 w 98"/>
                    <a:gd name="T9" fmla="*/ 309 h 387"/>
                    <a:gd name="T10" fmla="*/ 4 w 98"/>
                    <a:gd name="T11" fmla="*/ 318 h 387"/>
                    <a:gd name="T12" fmla="*/ 7 w 98"/>
                    <a:gd name="T13" fmla="*/ 328 h 387"/>
                    <a:gd name="T14" fmla="*/ 12 w 98"/>
                    <a:gd name="T15" fmla="*/ 336 h 387"/>
                    <a:gd name="T16" fmla="*/ 17 w 98"/>
                    <a:gd name="T17" fmla="*/ 344 h 387"/>
                    <a:gd name="T18" fmla="*/ 22 w 98"/>
                    <a:gd name="T19" fmla="*/ 352 h 387"/>
                    <a:gd name="T20" fmla="*/ 29 w 98"/>
                    <a:gd name="T21" fmla="*/ 359 h 387"/>
                    <a:gd name="T22" fmla="*/ 36 w 98"/>
                    <a:gd name="T23" fmla="*/ 365 h 387"/>
                    <a:gd name="T24" fmla="*/ 43 w 98"/>
                    <a:gd name="T25" fmla="*/ 371 h 387"/>
                    <a:gd name="T26" fmla="*/ 51 w 98"/>
                    <a:gd name="T27" fmla="*/ 375 h 387"/>
                    <a:gd name="T28" fmla="*/ 60 w 98"/>
                    <a:gd name="T29" fmla="*/ 379 h 387"/>
                    <a:gd name="T30" fmla="*/ 69 w 98"/>
                    <a:gd name="T31" fmla="*/ 382 h 387"/>
                    <a:gd name="T32" fmla="*/ 77 w 98"/>
                    <a:gd name="T33" fmla="*/ 385 h 387"/>
                    <a:gd name="T34" fmla="*/ 88 w 98"/>
                    <a:gd name="T35" fmla="*/ 387 h 387"/>
                    <a:gd name="T36" fmla="*/ 98 w 98"/>
                    <a:gd name="T37" fmla="*/ 387 h 387"/>
                    <a:gd name="T38" fmla="*/ 98 w 98"/>
                    <a:gd name="T39" fmla="*/ 0 h 387"/>
                    <a:gd name="T40" fmla="*/ 0 w 98"/>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387">
                      <a:moveTo>
                        <a:pt x="0" y="0"/>
                      </a:moveTo>
                      <a:lnTo>
                        <a:pt x="0" y="289"/>
                      </a:lnTo>
                      <a:lnTo>
                        <a:pt x="0" y="289"/>
                      </a:lnTo>
                      <a:lnTo>
                        <a:pt x="0" y="299"/>
                      </a:lnTo>
                      <a:lnTo>
                        <a:pt x="1" y="309"/>
                      </a:lnTo>
                      <a:lnTo>
                        <a:pt x="4" y="318"/>
                      </a:lnTo>
                      <a:lnTo>
                        <a:pt x="7" y="328"/>
                      </a:lnTo>
                      <a:lnTo>
                        <a:pt x="12" y="336"/>
                      </a:lnTo>
                      <a:lnTo>
                        <a:pt x="17" y="344"/>
                      </a:lnTo>
                      <a:lnTo>
                        <a:pt x="22" y="352"/>
                      </a:lnTo>
                      <a:lnTo>
                        <a:pt x="29" y="359"/>
                      </a:lnTo>
                      <a:lnTo>
                        <a:pt x="36" y="365"/>
                      </a:lnTo>
                      <a:lnTo>
                        <a:pt x="43" y="371"/>
                      </a:lnTo>
                      <a:lnTo>
                        <a:pt x="51" y="375"/>
                      </a:lnTo>
                      <a:lnTo>
                        <a:pt x="60" y="379"/>
                      </a:lnTo>
                      <a:lnTo>
                        <a:pt x="69" y="382"/>
                      </a:lnTo>
                      <a:lnTo>
                        <a:pt x="77" y="385"/>
                      </a:lnTo>
                      <a:lnTo>
                        <a:pt x="88" y="387"/>
                      </a:lnTo>
                      <a:lnTo>
                        <a:pt x="98" y="387"/>
                      </a:lnTo>
                      <a:lnTo>
                        <a:pt x="9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2" name="Freeform 257"/>
                <p:cNvSpPr>
                  <a:spLocks/>
                </p:cNvSpPr>
                <p:nvPr userDrawn="1"/>
              </p:nvSpPr>
              <p:spPr bwMode="auto">
                <a:xfrm>
                  <a:off x="11524796" y="4606424"/>
                  <a:ext cx="79375" cy="307975"/>
                </a:xfrm>
                <a:custGeom>
                  <a:avLst/>
                  <a:gdLst>
                    <a:gd name="T0" fmla="*/ 0 w 98"/>
                    <a:gd name="T1" fmla="*/ 0 h 387"/>
                    <a:gd name="T2" fmla="*/ 0 w 98"/>
                    <a:gd name="T3" fmla="*/ 387 h 387"/>
                    <a:gd name="T4" fmla="*/ 0 w 98"/>
                    <a:gd name="T5" fmla="*/ 387 h 387"/>
                    <a:gd name="T6" fmla="*/ 10 w 98"/>
                    <a:gd name="T7" fmla="*/ 387 h 387"/>
                    <a:gd name="T8" fmla="*/ 20 w 98"/>
                    <a:gd name="T9" fmla="*/ 385 h 387"/>
                    <a:gd name="T10" fmla="*/ 29 w 98"/>
                    <a:gd name="T11" fmla="*/ 382 h 387"/>
                    <a:gd name="T12" fmla="*/ 38 w 98"/>
                    <a:gd name="T13" fmla="*/ 379 h 387"/>
                    <a:gd name="T14" fmla="*/ 46 w 98"/>
                    <a:gd name="T15" fmla="*/ 375 h 387"/>
                    <a:gd name="T16" fmla="*/ 54 w 98"/>
                    <a:gd name="T17" fmla="*/ 371 h 387"/>
                    <a:gd name="T18" fmla="*/ 63 w 98"/>
                    <a:gd name="T19" fmla="*/ 365 h 387"/>
                    <a:gd name="T20" fmla="*/ 69 w 98"/>
                    <a:gd name="T21" fmla="*/ 359 h 387"/>
                    <a:gd name="T22" fmla="*/ 76 w 98"/>
                    <a:gd name="T23" fmla="*/ 352 h 387"/>
                    <a:gd name="T24" fmla="*/ 81 w 98"/>
                    <a:gd name="T25" fmla="*/ 344 h 387"/>
                    <a:gd name="T26" fmla="*/ 86 w 98"/>
                    <a:gd name="T27" fmla="*/ 336 h 387"/>
                    <a:gd name="T28" fmla="*/ 90 w 98"/>
                    <a:gd name="T29" fmla="*/ 328 h 387"/>
                    <a:gd name="T30" fmla="*/ 94 w 98"/>
                    <a:gd name="T31" fmla="*/ 318 h 387"/>
                    <a:gd name="T32" fmla="*/ 96 w 98"/>
                    <a:gd name="T33" fmla="*/ 309 h 387"/>
                    <a:gd name="T34" fmla="*/ 97 w 98"/>
                    <a:gd name="T35" fmla="*/ 299 h 387"/>
                    <a:gd name="T36" fmla="*/ 98 w 98"/>
                    <a:gd name="T37" fmla="*/ 289 h 387"/>
                    <a:gd name="T38" fmla="*/ 98 w 98"/>
                    <a:gd name="T39" fmla="*/ 0 h 387"/>
                    <a:gd name="T40" fmla="*/ 0 w 98"/>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387">
                      <a:moveTo>
                        <a:pt x="0" y="0"/>
                      </a:moveTo>
                      <a:lnTo>
                        <a:pt x="0" y="387"/>
                      </a:lnTo>
                      <a:lnTo>
                        <a:pt x="0" y="387"/>
                      </a:lnTo>
                      <a:lnTo>
                        <a:pt x="10" y="387"/>
                      </a:lnTo>
                      <a:lnTo>
                        <a:pt x="20" y="385"/>
                      </a:lnTo>
                      <a:lnTo>
                        <a:pt x="29" y="382"/>
                      </a:lnTo>
                      <a:lnTo>
                        <a:pt x="38" y="379"/>
                      </a:lnTo>
                      <a:lnTo>
                        <a:pt x="46" y="375"/>
                      </a:lnTo>
                      <a:lnTo>
                        <a:pt x="54" y="371"/>
                      </a:lnTo>
                      <a:lnTo>
                        <a:pt x="63" y="365"/>
                      </a:lnTo>
                      <a:lnTo>
                        <a:pt x="69" y="359"/>
                      </a:lnTo>
                      <a:lnTo>
                        <a:pt x="76" y="352"/>
                      </a:lnTo>
                      <a:lnTo>
                        <a:pt x="81" y="344"/>
                      </a:lnTo>
                      <a:lnTo>
                        <a:pt x="86" y="336"/>
                      </a:lnTo>
                      <a:lnTo>
                        <a:pt x="90" y="328"/>
                      </a:lnTo>
                      <a:lnTo>
                        <a:pt x="94" y="318"/>
                      </a:lnTo>
                      <a:lnTo>
                        <a:pt x="96" y="309"/>
                      </a:lnTo>
                      <a:lnTo>
                        <a:pt x="97" y="299"/>
                      </a:lnTo>
                      <a:lnTo>
                        <a:pt x="98" y="289"/>
                      </a:lnTo>
                      <a:lnTo>
                        <a:pt x="98" y="0"/>
                      </a:lnTo>
                      <a:lnTo>
                        <a:pt x="0"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3" name="Freeform 258"/>
                <p:cNvSpPr>
                  <a:spLocks/>
                </p:cNvSpPr>
                <p:nvPr userDrawn="1"/>
              </p:nvSpPr>
              <p:spPr bwMode="auto">
                <a:xfrm>
                  <a:off x="11524796" y="4606424"/>
                  <a:ext cx="79375" cy="307975"/>
                </a:xfrm>
                <a:custGeom>
                  <a:avLst/>
                  <a:gdLst>
                    <a:gd name="T0" fmla="*/ 0 w 98"/>
                    <a:gd name="T1" fmla="*/ 0 h 387"/>
                    <a:gd name="T2" fmla="*/ 0 w 98"/>
                    <a:gd name="T3" fmla="*/ 387 h 387"/>
                    <a:gd name="T4" fmla="*/ 0 w 98"/>
                    <a:gd name="T5" fmla="*/ 387 h 387"/>
                    <a:gd name="T6" fmla="*/ 10 w 98"/>
                    <a:gd name="T7" fmla="*/ 387 h 387"/>
                    <a:gd name="T8" fmla="*/ 20 w 98"/>
                    <a:gd name="T9" fmla="*/ 385 h 387"/>
                    <a:gd name="T10" fmla="*/ 29 w 98"/>
                    <a:gd name="T11" fmla="*/ 382 h 387"/>
                    <a:gd name="T12" fmla="*/ 38 w 98"/>
                    <a:gd name="T13" fmla="*/ 379 h 387"/>
                    <a:gd name="T14" fmla="*/ 46 w 98"/>
                    <a:gd name="T15" fmla="*/ 375 h 387"/>
                    <a:gd name="T16" fmla="*/ 54 w 98"/>
                    <a:gd name="T17" fmla="*/ 371 h 387"/>
                    <a:gd name="T18" fmla="*/ 63 w 98"/>
                    <a:gd name="T19" fmla="*/ 365 h 387"/>
                    <a:gd name="T20" fmla="*/ 69 w 98"/>
                    <a:gd name="T21" fmla="*/ 359 h 387"/>
                    <a:gd name="T22" fmla="*/ 76 w 98"/>
                    <a:gd name="T23" fmla="*/ 352 h 387"/>
                    <a:gd name="T24" fmla="*/ 81 w 98"/>
                    <a:gd name="T25" fmla="*/ 344 h 387"/>
                    <a:gd name="T26" fmla="*/ 86 w 98"/>
                    <a:gd name="T27" fmla="*/ 336 h 387"/>
                    <a:gd name="T28" fmla="*/ 90 w 98"/>
                    <a:gd name="T29" fmla="*/ 328 h 387"/>
                    <a:gd name="T30" fmla="*/ 94 w 98"/>
                    <a:gd name="T31" fmla="*/ 318 h 387"/>
                    <a:gd name="T32" fmla="*/ 96 w 98"/>
                    <a:gd name="T33" fmla="*/ 309 h 387"/>
                    <a:gd name="T34" fmla="*/ 97 w 98"/>
                    <a:gd name="T35" fmla="*/ 299 h 387"/>
                    <a:gd name="T36" fmla="*/ 98 w 98"/>
                    <a:gd name="T37" fmla="*/ 289 h 387"/>
                    <a:gd name="T38" fmla="*/ 98 w 98"/>
                    <a:gd name="T39" fmla="*/ 0 h 387"/>
                    <a:gd name="T40" fmla="*/ 0 w 98"/>
                    <a:gd name="T4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387">
                      <a:moveTo>
                        <a:pt x="0" y="0"/>
                      </a:moveTo>
                      <a:lnTo>
                        <a:pt x="0" y="387"/>
                      </a:lnTo>
                      <a:lnTo>
                        <a:pt x="0" y="387"/>
                      </a:lnTo>
                      <a:lnTo>
                        <a:pt x="10" y="387"/>
                      </a:lnTo>
                      <a:lnTo>
                        <a:pt x="20" y="385"/>
                      </a:lnTo>
                      <a:lnTo>
                        <a:pt x="29" y="382"/>
                      </a:lnTo>
                      <a:lnTo>
                        <a:pt x="38" y="379"/>
                      </a:lnTo>
                      <a:lnTo>
                        <a:pt x="46" y="375"/>
                      </a:lnTo>
                      <a:lnTo>
                        <a:pt x="54" y="371"/>
                      </a:lnTo>
                      <a:lnTo>
                        <a:pt x="63" y="365"/>
                      </a:lnTo>
                      <a:lnTo>
                        <a:pt x="69" y="359"/>
                      </a:lnTo>
                      <a:lnTo>
                        <a:pt x="76" y="352"/>
                      </a:lnTo>
                      <a:lnTo>
                        <a:pt x="81" y="344"/>
                      </a:lnTo>
                      <a:lnTo>
                        <a:pt x="86" y="336"/>
                      </a:lnTo>
                      <a:lnTo>
                        <a:pt x="90" y="328"/>
                      </a:lnTo>
                      <a:lnTo>
                        <a:pt x="94" y="318"/>
                      </a:lnTo>
                      <a:lnTo>
                        <a:pt x="96" y="309"/>
                      </a:lnTo>
                      <a:lnTo>
                        <a:pt x="97" y="299"/>
                      </a:lnTo>
                      <a:lnTo>
                        <a:pt x="98" y="289"/>
                      </a:lnTo>
                      <a:lnTo>
                        <a:pt x="9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4" name="Freeform 259"/>
                <p:cNvSpPr>
                  <a:spLocks/>
                </p:cNvSpPr>
                <p:nvPr userDrawn="1"/>
              </p:nvSpPr>
              <p:spPr bwMode="auto">
                <a:xfrm>
                  <a:off x="11077121" y="4139699"/>
                  <a:ext cx="71438" cy="141288"/>
                </a:xfrm>
                <a:custGeom>
                  <a:avLst/>
                  <a:gdLst>
                    <a:gd name="T0" fmla="*/ 90 w 90"/>
                    <a:gd name="T1" fmla="*/ 0 h 180"/>
                    <a:gd name="T2" fmla="*/ 90 w 90"/>
                    <a:gd name="T3" fmla="*/ 0 h 180"/>
                    <a:gd name="T4" fmla="*/ 81 w 90"/>
                    <a:gd name="T5" fmla="*/ 0 h 180"/>
                    <a:gd name="T6" fmla="*/ 71 w 90"/>
                    <a:gd name="T7" fmla="*/ 1 h 180"/>
                    <a:gd name="T8" fmla="*/ 63 w 90"/>
                    <a:gd name="T9" fmla="*/ 4 h 180"/>
                    <a:gd name="T10" fmla="*/ 55 w 90"/>
                    <a:gd name="T11" fmla="*/ 7 h 180"/>
                    <a:gd name="T12" fmla="*/ 47 w 90"/>
                    <a:gd name="T13" fmla="*/ 11 h 180"/>
                    <a:gd name="T14" fmla="*/ 39 w 90"/>
                    <a:gd name="T15" fmla="*/ 14 h 180"/>
                    <a:gd name="T16" fmla="*/ 33 w 90"/>
                    <a:gd name="T17" fmla="*/ 20 h 180"/>
                    <a:gd name="T18" fmla="*/ 26 w 90"/>
                    <a:gd name="T19" fmla="*/ 26 h 180"/>
                    <a:gd name="T20" fmla="*/ 20 w 90"/>
                    <a:gd name="T21" fmla="*/ 32 h 180"/>
                    <a:gd name="T22" fmla="*/ 15 w 90"/>
                    <a:gd name="T23" fmla="*/ 39 h 180"/>
                    <a:gd name="T24" fmla="*/ 11 w 90"/>
                    <a:gd name="T25" fmla="*/ 46 h 180"/>
                    <a:gd name="T26" fmla="*/ 7 w 90"/>
                    <a:gd name="T27" fmla="*/ 55 h 180"/>
                    <a:gd name="T28" fmla="*/ 3 w 90"/>
                    <a:gd name="T29" fmla="*/ 63 h 180"/>
                    <a:gd name="T30" fmla="*/ 2 w 90"/>
                    <a:gd name="T31" fmla="*/ 71 h 180"/>
                    <a:gd name="T32" fmla="*/ 0 w 90"/>
                    <a:gd name="T33" fmla="*/ 81 h 180"/>
                    <a:gd name="T34" fmla="*/ 0 w 90"/>
                    <a:gd name="T35" fmla="*/ 89 h 180"/>
                    <a:gd name="T36" fmla="*/ 0 w 90"/>
                    <a:gd name="T37" fmla="*/ 89 h 180"/>
                    <a:gd name="T38" fmla="*/ 0 w 90"/>
                    <a:gd name="T39" fmla="*/ 99 h 180"/>
                    <a:gd name="T40" fmla="*/ 2 w 90"/>
                    <a:gd name="T41" fmla="*/ 107 h 180"/>
                    <a:gd name="T42" fmla="*/ 3 w 90"/>
                    <a:gd name="T43" fmla="*/ 117 h 180"/>
                    <a:gd name="T44" fmla="*/ 7 w 90"/>
                    <a:gd name="T45" fmla="*/ 125 h 180"/>
                    <a:gd name="T46" fmla="*/ 11 w 90"/>
                    <a:gd name="T47" fmla="*/ 132 h 180"/>
                    <a:gd name="T48" fmla="*/ 15 w 90"/>
                    <a:gd name="T49" fmla="*/ 140 h 180"/>
                    <a:gd name="T50" fmla="*/ 20 w 90"/>
                    <a:gd name="T51" fmla="*/ 146 h 180"/>
                    <a:gd name="T52" fmla="*/ 26 w 90"/>
                    <a:gd name="T53" fmla="*/ 153 h 180"/>
                    <a:gd name="T54" fmla="*/ 33 w 90"/>
                    <a:gd name="T55" fmla="*/ 159 h 180"/>
                    <a:gd name="T56" fmla="*/ 39 w 90"/>
                    <a:gd name="T57" fmla="*/ 164 h 180"/>
                    <a:gd name="T58" fmla="*/ 47 w 90"/>
                    <a:gd name="T59" fmla="*/ 169 h 180"/>
                    <a:gd name="T60" fmla="*/ 55 w 90"/>
                    <a:gd name="T61" fmla="*/ 172 h 180"/>
                    <a:gd name="T62" fmla="*/ 63 w 90"/>
                    <a:gd name="T63" fmla="*/ 175 h 180"/>
                    <a:gd name="T64" fmla="*/ 71 w 90"/>
                    <a:gd name="T65" fmla="*/ 177 h 180"/>
                    <a:gd name="T66" fmla="*/ 81 w 90"/>
                    <a:gd name="T67" fmla="*/ 180 h 180"/>
                    <a:gd name="T68" fmla="*/ 90 w 90"/>
                    <a:gd name="T69" fmla="*/ 180 h 180"/>
                    <a:gd name="T70" fmla="*/ 90 w 90"/>
                    <a:gd name="T7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180">
                      <a:moveTo>
                        <a:pt x="90" y="0"/>
                      </a:moveTo>
                      <a:lnTo>
                        <a:pt x="90" y="0"/>
                      </a:lnTo>
                      <a:lnTo>
                        <a:pt x="81" y="0"/>
                      </a:lnTo>
                      <a:lnTo>
                        <a:pt x="71" y="1"/>
                      </a:lnTo>
                      <a:lnTo>
                        <a:pt x="63" y="4"/>
                      </a:lnTo>
                      <a:lnTo>
                        <a:pt x="55" y="7"/>
                      </a:lnTo>
                      <a:lnTo>
                        <a:pt x="47" y="11"/>
                      </a:lnTo>
                      <a:lnTo>
                        <a:pt x="39" y="14"/>
                      </a:lnTo>
                      <a:lnTo>
                        <a:pt x="33" y="20"/>
                      </a:lnTo>
                      <a:lnTo>
                        <a:pt x="26" y="26"/>
                      </a:lnTo>
                      <a:lnTo>
                        <a:pt x="20" y="32"/>
                      </a:lnTo>
                      <a:lnTo>
                        <a:pt x="15" y="39"/>
                      </a:lnTo>
                      <a:lnTo>
                        <a:pt x="11" y="46"/>
                      </a:lnTo>
                      <a:lnTo>
                        <a:pt x="7" y="55"/>
                      </a:lnTo>
                      <a:lnTo>
                        <a:pt x="3" y="63"/>
                      </a:lnTo>
                      <a:lnTo>
                        <a:pt x="2" y="71"/>
                      </a:lnTo>
                      <a:lnTo>
                        <a:pt x="0" y="81"/>
                      </a:lnTo>
                      <a:lnTo>
                        <a:pt x="0" y="89"/>
                      </a:lnTo>
                      <a:lnTo>
                        <a:pt x="0" y="89"/>
                      </a:lnTo>
                      <a:lnTo>
                        <a:pt x="0" y="99"/>
                      </a:lnTo>
                      <a:lnTo>
                        <a:pt x="2" y="107"/>
                      </a:lnTo>
                      <a:lnTo>
                        <a:pt x="3" y="117"/>
                      </a:lnTo>
                      <a:lnTo>
                        <a:pt x="7" y="125"/>
                      </a:lnTo>
                      <a:lnTo>
                        <a:pt x="11" y="132"/>
                      </a:lnTo>
                      <a:lnTo>
                        <a:pt x="15" y="140"/>
                      </a:lnTo>
                      <a:lnTo>
                        <a:pt x="20" y="146"/>
                      </a:lnTo>
                      <a:lnTo>
                        <a:pt x="26" y="153"/>
                      </a:lnTo>
                      <a:lnTo>
                        <a:pt x="33" y="159"/>
                      </a:lnTo>
                      <a:lnTo>
                        <a:pt x="39" y="164"/>
                      </a:lnTo>
                      <a:lnTo>
                        <a:pt x="47" y="169"/>
                      </a:lnTo>
                      <a:lnTo>
                        <a:pt x="55" y="172"/>
                      </a:lnTo>
                      <a:lnTo>
                        <a:pt x="63" y="175"/>
                      </a:lnTo>
                      <a:lnTo>
                        <a:pt x="71" y="177"/>
                      </a:lnTo>
                      <a:lnTo>
                        <a:pt x="81" y="180"/>
                      </a:lnTo>
                      <a:lnTo>
                        <a:pt x="90" y="180"/>
                      </a:lnTo>
                      <a:lnTo>
                        <a:pt x="9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5" name="Rectangle 260"/>
                <p:cNvSpPr>
                  <a:spLocks noChangeArrowheads="1"/>
                </p:cNvSpPr>
                <p:nvPr userDrawn="1"/>
              </p:nvSpPr>
              <p:spPr bwMode="auto">
                <a:xfrm>
                  <a:off x="11524796" y="4025399"/>
                  <a:ext cx="300038" cy="100013"/>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6" name="Rectangle 261"/>
                <p:cNvSpPr>
                  <a:spLocks noChangeArrowheads="1"/>
                </p:cNvSpPr>
                <p:nvPr userDrawn="1"/>
              </p:nvSpPr>
              <p:spPr bwMode="auto">
                <a:xfrm>
                  <a:off x="11524796" y="3949199"/>
                  <a:ext cx="227013" cy="76200"/>
                </a:xfrm>
                <a:prstGeom prst="rect">
                  <a:avLst/>
                </a:prstGeom>
                <a:solidFill>
                  <a:srgbClr val="2A276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7" name="Rectangle 262"/>
                <p:cNvSpPr>
                  <a:spLocks noChangeArrowheads="1"/>
                </p:cNvSpPr>
                <p:nvPr userDrawn="1"/>
              </p:nvSpPr>
              <p:spPr bwMode="auto">
                <a:xfrm>
                  <a:off x="11226346" y="4025399"/>
                  <a:ext cx="298450" cy="100013"/>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8" name="Rectangle 263"/>
                <p:cNvSpPr>
                  <a:spLocks noChangeArrowheads="1"/>
                </p:cNvSpPr>
                <p:nvPr userDrawn="1"/>
              </p:nvSpPr>
              <p:spPr bwMode="auto">
                <a:xfrm>
                  <a:off x="11524796" y="4125411"/>
                  <a:ext cx="300038" cy="623888"/>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89" name="Rectangle 264"/>
                <p:cNvSpPr>
                  <a:spLocks noChangeArrowheads="1"/>
                </p:cNvSpPr>
                <p:nvPr userDrawn="1"/>
              </p:nvSpPr>
              <p:spPr bwMode="auto">
                <a:xfrm>
                  <a:off x="11524796" y="4125411"/>
                  <a:ext cx="300038" cy="62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0" name="Rectangle 265"/>
                <p:cNvSpPr>
                  <a:spLocks noChangeArrowheads="1"/>
                </p:cNvSpPr>
                <p:nvPr userDrawn="1"/>
              </p:nvSpPr>
              <p:spPr bwMode="auto">
                <a:xfrm>
                  <a:off x="11226346" y="4125411"/>
                  <a:ext cx="298450" cy="623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1" name="Rectangle 266"/>
                <p:cNvSpPr>
                  <a:spLocks noChangeArrowheads="1"/>
                </p:cNvSpPr>
                <p:nvPr userDrawn="1"/>
              </p:nvSpPr>
              <p:spPr bwMode="auto">
                <a:xfrm>
                  <a:off x="11226346" y="4125411"/>
                  <a:ext cx="298450" cy="62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2" name="Rectangle 267"/>
                <p:cNvSpPr>
                  <a:spLocks noChangeArrowheads="1"/>
                </p:cNvSpPr>
                <p:nvPr userDrawn="1"/>
              </p:nvSpPr>
              <p:spPr bwMode="auto">
                <a:xfrm>
                  <a:off x="11299371" y="3949199"/>
                  <a:ext cx="225425" cy="76200"/>
                </a:xfrm>
                <a:prstGeom prst="rect">
                  <a:avLst/>
                </a:prstGeom>
                <a:solidFill>
                  <a:srgbClr val="3A3A7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3" name="Freeform 268"/>
                <p:cNvSpPr>
                  <a:spLocks/>
                </p:cNvSpPr>
                <p:nvPr userDrawn="1"/>
              </p:nvSpPr>
              <p:spPr bwMode="auto">
                <a:xfrm>
                  <a:off x="11524796" y="3563436"/>
                  <a:ext cx="300038" cy="385763"/>
                </a:xfrm>
                <a:custGeom>
                  <a:avLst/>
                  <a:gdLst>
                    <a:gd name="T0" fmla="*/ 0 w 377"/>
                    <a:gd name="T1" fmla="*/ 0 h 486"/>
                    <a:gd name="T2" fmla="*/ 0 w 377"/>
                    <a:gd name="T3" fmla="*/ 377 h 486"/>
                    <a:gd name="T4" fmla="*/ 0 w 377"/>
                    <a:gd name="T5" fmla="*/ 486 h 486"/>
                    <a:gd name="T6" fmla="*/ 377 w 377"/>
                    <a:gd name="T7" fmla="*/ 486 h 486"/>
                    <a:gd name="T8" fmla="*/ 377 w 377"/>
                    <a:gd name="T9" fmla="*/ 377 h 486"/>
                    <a:gd name="T10" fmla="*/ 377 w 377"/>
                    <a:gd name="T11" fmla="*/ 377 h 486"/>
                    <a:gd name="T12" fmla="*/ 377 w 377"/>
                    <a:gd name="T13" fmla="*/ 357 h 486"/>
                    <a:gd name="T14" fmla="*/ 374 w 377"/>
                    <a:gd name="T15" fmla="*/ 338 h 486"/>
                    <a:gd name="T16" fmla="*/ 372 w 377"/>
                    <a:gd name="T17" fmla="*/ 318 h 486"/>
                    <a:gd name="T18" fmla="*/ 369 w 377"/>
                    <a:gd name="T19" fmla="*/ 301 h 486"/>
                    <a:gd name="T20" fmla="*/ 365 w 377"/>
                    <a:gd name="T21" fmla="*/ 282 h 486"/>
                    <a:gd name="T22" fmla="*/ 360 w 377"/>
                    <a:gd name="T23" fmla="*/ 264 h 486"/>
                    <a:gd name="T24" fmla="*/ 354 w 377"/>
                    <a:gd name="T25" fmla="*/ 247 h 486"/>
                    <a:gd name="T26" fmla="*/ 347 w 377"/>
                    <a:gd name="T27" fmla="*/ 229 h 486"/>
                    <a:gd name="T28" fmla="*/ 340 w 377"/>
                    <a:gd name="T29" fmla="*/ 213 h 486"/>
                    <a:gd name="T30" fmla="*/ 331 w 377"/>
                    <a:gd name="T31" fmla="*/ 197 h 486"/>
                    <a:gd name="T32" fmla="*/ 322 w 377"/>
                    <a:gd name="T33" fmla="*/ 181 h 486"/>
                    <a:gd name="T34" fmla="*/ 312 w 377"/>
                    <a:gd name="T35" fmla="*/ 165 h 486"/>
                    <a:gd name="T36" fmla="*/ 302 w 377"/>
                    <a:gd name="T37" fmla="*/ 151 h 486"/>
                    <a:gd name="T38" fmla="*/ 291 w 377"/>
                    <a:gd name="T39" fmla="*/ 137 h 486"/>
                    <a:gd name="T40" fmla="*/ 279 w 377"/>
                    <a:gd name="T41" fmla="*/ 124 h 486"/>
                    <a:gd name="T42" fmla="*/ 266 w 377"/>
                    <a:gd name="T43" fmla="*/ 110 h 486"/>
                    <a:gd name="T44" fmla="*/ 253 w 377"/>
                    <a:gd name="T45" fmla="*/ 97 h 486"/>
                    <a:gd name="T46" fmla="*/ 240 w 377"/>
                    <a:gd name="T47" fmla="*/ 85 h 486"/>
                    <a:gd name="T48" fmla="*/ 226 w 377"/>
                    <a:gd name="T49" fmla="*/ 75 h 486"/>
                    <a:gd name="T50" fmla="*/ 210 w 377"/>
                    <a:gd name="T51" fmla="*/ 64 h 486"/>
                    <a:gd name="T52" fmla="*/ 195 w 377"/>
                    <a:gd name="T53" fmla="*/ 55 h 486"/>
                    <a:gd name="T54" fmla="*/ 179 w 377"/>
                    <a:gd name="T55" fmla="*/ 45 h 486"/>
                    <a:gd name="T56" fmla="*/ 163 w 377"/>
                    <a:gd name="T57" fmla="*/ 37 h 486"/>
                    <a:gd name="T58" fmla="*/ 146 w 377"/>
                    <a:gd name="T59" fmla="*/ 30 h 486"/>
                    <a:gd name="T60" fmla="*/ 129 w 377"/>
                    <a:gd name="T61" fmla="*/ 22 h 486"/>
                    <a:gd name="T62" fmla="*/ 111 w 377"/>
                    <a:gd name="T63" fmla="*/ 17 h 486"/>
                    <a:gd name="T64" fmla="*/ 94 w 377"/>
                    <a:gd name="T65" fmla="*/ 12 h 486"/>
                    <a:gd name="T66" fmla="*/ 76 w 377"/>
                    <a:gd name="T67" fmla="*/ 7 h 486"/>
                    <a:gd name="T68" fmla="*/ 57 w 377"/>
                    <a:gd name="T69" fmla="*/ 3 h 486"/>
                    <a:gd name="T70" fmla="*/ 38 w 377"/>
                    <a:gd name="T71" fmla="*/ 1 h 486"/>
                    <a:gd name="T72" fmla="*/ 19 w 377"/>
                    <a:gd name="T73" fmla="*/ 0 h 486"/>
                    <a:gd name="T74" fmla="*/ 0 w 377"/>
                    <a:gd name="T75" fmla="*/ 0 h 486"/>
                    <a:gd name="T76" fmla="*/ 0 w 377"/>
                    <a:gd name="T77" fmla="*/ 0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7" h="486">
                      <a:moveTo>
                        <a:pt x="0" y="0"/>
                      </a:moveTo>
                      <a:lnTo>
                        <a:pt x="0" y="377"/>
                      </a:lnTo>
                      <a:lnTo>
                        <a:pt x="0" y="486"/>
                      </a:lnTo>
                      <a:lnTo>
                        <a:pt x="377" y="486"/>
                      </a:lnTo>
                      <a:lnTo>
                        <a:pt x="377" y="377"/>
                      </a:lnTo>
                      <a:lnTo>
                        <a:pt x="377" y="377"/>
                      </a:lnTo>
                      <a:lnTo>
                        <a:pt x="377" y="357"/>
                      </a:lnTo>
                      <a:lnTo>
                        <a:pt x="374" y="338"/>
                      </a:lnTo>
                      <a:lnTo>
                        <a:pt x="372" y="318"/>
                      </a:lnTo>
                      <a:lnTo>
                        <a:pt x="369" y="301"/>
                      </a:lnTo>
                      <a:lnTo>
                        <a:pt x="365" y="282"/>
                      </a:lnTo>
                      <a:lnTo>
                        <a:pt x="360" y="264"/>
                      </a:lnTo>
                      <a:lnTo>
                        <a:pt x="354" y="247"/>
                      </a:lnTo>
                      <a:lnTo>
                        <a:pt x="347" y="229"/>
                      </a:lnTo>
                      <a:lnTo>
                        <a:pt x="340" y="213"/>
                      </a:lnTo>
                      <a:lnTo>
                        <a:pt x="331" y="197"/>
                      </a:lnTo>
                      <a:lnTo>
                        <a:pt x="322" y="181"/>
                      </a:lnTo>
                      <a:lnTo>
                        <a:pt x="312" y="165"/>
                      </a:lnTo>
                      <a:lnTo>
                        <a:pt x="302" y="151"/>
                      </a:lnTo>
                      <a:lnTo>
                        <a:pt x="291" y="137"/>
                      </a:lnTo>
                      <a:lnTo>
                        <a:pt x="279" y="124"/>
                      </a:lnTo>
                      <a:lnTo>
                        <a:pt x="266" y="110"/>
                      </a:lnTo>
                      <a:lnTo>
                        <a:pt x="253" y="97"/>
                      </a:lnTo>
                      <a:lnTo>
                        <a:pt x="240" y="85"/>
                      </a:lnTo>
                      <a:lnTo>
                        <a:pt x="226" y="75"/>
                      </a:lnTo>
                      <a:lnTo>
                        <a:pt x="210" y="64"/>
                      </a:lnTo>
                      <a:lnTo>
                        <a:pt x="195" y="55"/>
                      </a:lnTo>
                      <a:lnTo>
                        <a:pt x="179" y="45"/>
                      </a:lnTo>
                      <a:lnTo>
                        <a:pt x="163" y="37"/>
                      </a:lnTo>
                      <a:lnTo>
                        <a:pt x="146" y="30"/>
                      </a:lnTo>
                      <a:lnTo>
                        <a:pt x="129" y="22"/>
                      </a:lnTo>
                      <a:lnTo>
                        <a:pt x="111" y="17"/>
                      </a:lnTo>
                      <a:lnTo>
                        <a:pt x="94" y="12"/>
                      </a:lnTo>
                      <a:lnTo>
                        <a:pt x="76" y="7"/>
                      </a:lnTo>
                      <a:lnTo>
                        <a:pt x="57" y="3"/>
                      </a:lnTo>
                      <a:lnTo>
                        <a:pt x="38" y="1"/>
                      </a:lnTo>
                      <a:lnTo>
                        <a:pt x="19" y="0"/>
                      </a:lnTo>
                      <a:lnTo>
                        <a:pt x="0" y="0"/>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894" name="Freeform 269"/>
                <p:cNvSpPr>
                  <a:spLocks/>
                </p:cNvSpPr>
                <p:nvPr userDrawn="1"/>
              </p:nvSpPr>
              <p:spPr bwMode="auto">
                <a:xfrm>
                  <a:off x="11226346" y="3563436"/>
                  <a:ext cx="298450" cy="385763"/>
                </a:xfrm>
                <a:custGeom>
                  <a:avLst/>
                  <a:gdLst>
                    <a:gd name="T0" fmla="*/ 0 w 377"/>
                    <a:gd name="T1" fmla="*/ 377 h 486"/>
                    <a:gd name="T2" fmla="*/ 0 w 377"/>
                    <a:gd name="T3" fmla="*/ 486 h 486"/>
                    <a:gd name="T4" fmla="*/ 377 w 377"/>
                    <a:gd name="T5" fmla="*/ 486 h 486"/>
                    <a:gd name="T6" fmla="*/ 377 w 377"/>
                    <a:gd name="T7" fmla="*/ 377 h 486"/>
                    <a:gd name="T8" fmla="*/ 377 w 377"/>
                    <a:gd name="T9" fmla="*/ 0 h 486"/>
                    <a:gd name="T10" fmla="*/ 377 w 377"/>
                    <a:gd name="T11" fmla="*/ 0 h 486"/>
                    <a:gd name="T12" fmla="*/ 358 w 377"/>
                    <a:gd name="T13" fmla="*/ 0 h 486"/>
                    <a:gd name="T14" fmla="*/ 339 w 377"/>
                    <a:gd name="T15" fmla="*/ 1 h 486"/>
                    <a:gd name="T16" fmla="*/ 320 w 377"/>
                    <a:gd name="T17" fmla="*/ 3 h 486"/>
                    <a:gd name="T18" fmla="*/ 301 w 377"/>
                    <a:gd name="T19" fmla="*/ 7 h 486"/>
                    <a:gd name="T20" fmla="*/ 283 w 377"/>
                    <a:gd name="T21" fmla="*/ 12 h 486"/>
                    <a:gd name="T22" fmla="*/ 265 w 377"/>
                    <a:gd name="T23" fmla="*/ 17 h 486"/>
                    <a:gd name="T24" fmla="*/ 247 w 377"/>
                    <a:gd name="T25" fmla="*/ 22 h 486"/>
                    <a:gd name="T26" fmla="*/ 230 w 377"/>
                    <a:gd name="T27" fmla="*/ 30 h 486"/>
                    <a:gd name="T28" fmla="*/ 214 w 377"/>
                    <a:gd name="T29" fmla="*/ 37 h 486"/>
                    <a:gd name="T30" fmla="*/ 197 w 377"/>
                    <a:gd name="T31" fmla="*/ 45 h 486"/>
                    <a:gd name="T32" fmla="*/ 182 w 377"/>
                    <a:gd name="T33" fmla="*/ 55 h 486"/>
                    <a:gd name="T34" fmla="*/ 166 w 377"/>
                    <a:gd name="T35" fmla="*/ 64 h 486"/>
                    <a:gd name="T36" fmla="*/ 151 w 377"/>
                    <a:gd name="T37" fmla="*/ 75 h 486"/>
                    <a:gd name="T38" fmla="*/ 138 w 377"/>
                    <a:gd name="T39" fmla="*/ 85 h 486"/>
                    <a:gd name="T40" fmla="*/ 123 w 377"/>
                    <a:gd name="T41" fmla="*/ 97 h 486"/>
                    <a:gd name="T42" fmla="*/ 110 w 377"/>
                    <a:gd name="T43" fmla="*/ 110 h 486"/>
                    <a:gd name="T44" fmla="*/ 98 w 377"/>
                    <a:gd name="T45" fmla="*/ 124 h 486"/>
                    <a:gd name="T46" fmla="*/ 87 w 377"/>
                    <a:gd name="T47" fmla="*/ 137 h 486"/>
                    <a:gd name="T48" fmla="*/ 75 w 377"/>
                    <a:gd name="T49" fmla="*/ 151 h 486"/>
                    <a:gd name="T50" fmla="*/ 64 w 377"/>
                    <a:gd name="T51" fmla="*/ 165 h 486"/>
                    <a:gd name="T52" fmla="*/ 54 w 377"/>
                    <a:gd name="T53" fmla="*/ 181 h 486"/>
                    <a:gd name="T54" fmla="*/ 45 w 377"/>
                    <a:gd name="T55" fmla="*/ 197 h 486"/>
                    <a:gd name="T56" fmla="*/ 37 w 377"/>
                    <a:gd name="T57" fmla="*/ 213 h 486"/>
                    <a:gd name="T58" fmla="*/ 29 w 377"/>
                    <a:gd name="T59" fmla="*/ 229 h 486"/>
                    <a:gd name="T60" fmla="*/ 22 w 377"/>
                    <a:gd name="T61" fmla="*/ 247 h 486"/>
                    <a:gd name="T62" fmla="*/ 16 w 377"/>
                    <a:gd name="T63" fmla="*/ 264 h 486"/>
                    <a:gd name="T64" fmla="*/ 12 w 377"/>
                    <a:gd name="T65" fmla="*/ 282 h 486"/>
                    <a:gd name="T66" fmla="*/ 8 w 377"/>
                    <a:gd name="T67" fmla="*/ 301 h 486"/>
                    <a:gd name="T68" fmla="*/ 5 w 377"/>
                    <a:gd name="T69" fmla="*/ 318 h 486"/>
                    <a:gd name="T70" fmla="*/ 2 w 377"/>
                    <a:gd name="T71" fmla="*/ 338 h 486"/>
                    <a:gd name="T72" fmla="*/ 1 w 377"/>
                    <a:gd name="T73" fmla="*/ 357 h 486"/>
                    <a:gd name="T74" fmla="*/ 0 w 377"/>
                    <a:gd name="T75" fmla="*/ 377 h 486"/>
                    <a:gd name="T76" fmla="*/ 0 w 377"/>
                    <a:gd name="T77" fmla="*/ 377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7" h="486">
                      <a:moveTo>
                        <a:pt x="0" y="377"/>
                      </a:moveTo>
                      <a:lnTo>
                        <a:pt x="0" y="486"/>
                      </a:lnTo>
                      <a:lnTo>
                        <a:pt x="377" y="486"/>
                      </a:lnTo>
                      <a:lnTo>
                        <a:pt x="377" y="377"/>
                      </a:lnTo>
                      <a:lnTo>
                        <a:pt x="377" y="0"/>
                      </a:lnTo>
                      <a:lnTo>
                        <a:pt x="377" y="0"/>
                      </a:lnTo>
                      <a:lnTo>
                        <a:pt x="358" y="0"/>
                      </a:lnTo>
                      <a:lnTo>
                        <a:pt x="339" y="1"/>
                      </a:lnTo>
                      <a:lnTo>
                        <a:pt x="320" y="3"/>
                      </a:lnTo>
                      <a:lnTo>
                        <a:pt x="301" y="7"/>
                      </a:lnTo>
                      <a:lnTo>
                        <a:pt x="283" y="12"/>
                      </a:lnTo>
                      <a:lnTo>
                        <a:pt x="265" y="17"/>
                      </a:lnTo>
                      <a:lnTo>
                        <a:pt x="247" y="22"/>
                      </a:lnTo>
                      <a:lnTo>
                        <a:pt x="230" y="30"/>
                      </a:lnTo>
                      <a:lnTo>
                        <a:pt x="214" y="37"/>
                      </a:lnTo>
                      <a:lnTo>
                        <a:pt x="197" y="45"/>
                      </a:lnTo>
                      <a:lnTo>
                        <a:pt x="182" y="55"/>
                      </a:lnTo>
                      <a:lnTo>
                        <a:pt x="166" y="64"/>
                      </a:lnTo>
                      <a:lnTo>
                        <a:pt x="151" y="75"/>
                      </a:lnTo>
                      <a:lnTo>
                        <a:pt x="138" y="85"/>
                      </a:lnTo>
                      <a:lnTo>
                        <a:pt x="123" y="97"/>
                      </a:lnTo>
                      <a:lnTo>
                        <a:pt x="110" y="110"/>
                      </a:lnTo>
                      <a:lnTo>
                        <a:pt x="98" y="124"/>
                      </a:lnTo>
                      <a:lnTo>
                        <a:pt x="87" y="137"/>
                      </a:lnTo>
                      <a:lnTo>
                        <a:pt x="75" y="151"/>
                      </a:lnTo>
                      <a:lnTo>
                        <a:pt x="64" y="165"/>
                      </a:lnTo>
                      <a:lnTo>
                        <a:pt x="54" y="181"/>
                      </a:lnTo>
                      <a:lnTo>
                        <a:pt x="45" y="197"/>
                      </a:lnTo>
                      <a:lnTo>
                        <a:pt x="37" y="213"/>
                      </a:lnTo>
                      <a:lnTo>
                        <a:pt x="29" y="229"/>
                      </a:lnTo>
                      <a:lnTo>
                        <a:pt x="22" y="247"/>
                      </a:lnTo>
                      <a:lnTo>
                        <a:pt x="16" y="264"/>
                      </a:lnTo>
                      <a:lnTo>
                        <a:pt x="12" y="282"/>
                      </a:lnTo>
                      <a:lnTo>
                        <a:pt x="8" y="301"/>
                      </a:lnTo>
                      <a:lnTo>
                        <a:pt x="5" y="318"/>
                      </a:lnTo>
                      <a:lnTo>
                        <a:pt x="2" y="338"/>
                      </a:lnTo>
                      <a:lnTo>
                        <a:pt x="1" y="357"/>
                      </a:lnTo>
                      <a:lnTo>
                        <a:pt x="0" y="377"/>
                      </a:lnTo>
                      <a:lnTo>
                        <a:pt x="0" y="3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pic>
              <p:nvPicPr>
                <p:cNvPr id="7438" name="Picture 270"/>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521621" y="4204786"/>
                  <a:ext cx="234950"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95" name="Freeform 271"/>
                <p:cNvSpPr>
                  <a:spLocks/>
                </p:cNvSpPr>
                <p:nvPr userDrawn="1"/>
              </p:nvSpPr>
              <p:spPr bwMode="auto">
                <a:xfrm>
                  <a:off x="11296196" y="4209549"/>
                  <a:ext cx="228600" cy="455613"/>
                </a:xfrm>
                <a:custGeom>
                  <a:avLst/>
                  <a:gdLst>
                    <a:gd name="T0" fmla="*/ 288 w 288"/>
                    <a:gd name="T1" fmla="*/ 0 h 574"/>
                    <a:gd name="T2" fmla="*/ 288 w 288"/>
                    <a:gd name="T3" fmla="*/ 0 h 574"/>
                    <a:gd name="T4" fmla="*/ 273 w 288"/>
                    <a:gd name="T5" fmla="*/ 0 h 574"/>
                    <a:gd name="T6" fmla="*/ 258 w 288"/>
                    <a:gd name="T7" fmla="*/ 1 h 574"/>
                    <a:gd name="T8" fmla="*/ 244 w 288"/>
                    <a:gd name="T9" fmla="*/ 3 h 574"/>
                    <a:gd name="T10" fmla="*/ 229 w 288"/>
                    <a:gd name="T11" fmla="*/ 6 h 574"/>
                    <a:gd name="T12" fmla="*/ 216 w 288"/>
                    <a:gd name="T13" fmla="*/ 9 h 574"/>
                    <a:gd name="T14" fmla="*/ 202 w 288"/>
                    <a:gd name="T15" fmla="*/ 12 h 574"/>
                    <a:gd name="T16" fmla="*/ 176 w 288"/>
                    <a:gd name="T17" fmla="*/ 23 h 574"/>
                    <a:gd name="T18" fmla="*/ 151 w 288"/>
                    <a:gd name="T19" fmla="*/ 35 h 574"/>
                    <a:gd name="T20" fmla="*/ 127 w 288"/>
                    <a:gd name="T21" fmla="*/ 49 h 574"/>
                    <a:gd name="T22" fmla="*/ 105 w 288"/>
                    <a:gd name="T23" fmla="*/ 66 h 574"/>
                    <a:gd name="T24" fmla="*/ 84 w 288"/>
                    <a:gd name="T25" fmla="*/ 83 h 574"/>
                    <a:gd name="T26" fmla="*/ 65 w 288"/>
                    <a:gd name="T27" fmla="*/ 105 h 574"/>
                    <a:gd name="T28" fmla="*/ 50 w 288"/>
                    <a:gd name="T29" fmla="*/ 126 h 574"/>
                    <a:gd name="T30" fmla="*/ 34 w 288"/>
                    <a:gd name="T31" fmla="*/ 150 h 574"/>
                    <a:gd name="T32" fmla="*/ 23 w 288"/>
                    <a:gd name="T33" fmla="*/ 175 h 574"/>
                    <a:gd name="T34" fmla="*/ 13 w 288"/>
                    <a:gd name="T35" fmla="*/ 202 h 574"/>
                    <a:gd name="T36" fmla="*/ 9 w 288"/>
                    <a:gd name="T37" fmla="*/ 215 h 574"/>
                    <a:gd name="T38" fmla="*/ 6 w 288"/>
                    <a:gd name="T39" fmla="*/ 230 h 574"/>
                    <a:gd name="T40" fmla="*/ 4 w 288"/>
                    <a:gd name="T41" fmla="*/ 244 h 574"/>
                    <a:gd name="T42" fmla="*/ 1 w 288"/>
                    <a:gd name="T43" fmla="*/ 258 h 574"/>
                    <a:gd name="T44" fmla="*/ 1 w 288"/>
                    <a:gd name="T45" fmla="*/ 272 h 574"/>
                    <a:gd name="T46" fmla="*/ 0 w 288"/>
                    <a:gd name="T47" fmla="*/ 287 h 574"/>
                    <a:gd name="T48" fmla="*/ 0 w 288"/>
                    <a:gd name="T49" fmla="*/ 287 h 574"/>
                    <a:gd name="T50" fmla="*/ 1 w 288"/>
                    <a:gd name="T51" fmla="*/ 302 h 574"/>
                    <a:gd name="T52" fmla="*/ 1 w 288"/>
                    <a:gd name="T53" fmla="*/ 316 h 574"/>
                    <a:gd name="T54" fmla="*/ 4 w 288"/>
                    <a:gd name="T55" fmla="*/ 331 h 574"/>
                    <a:gd name="T56" fmla="*/ 6 w 288"/>
                    <a:gd name="T57" fmla="*/ 345 h 574"/>
                    <a:gd name="T58" fmla="*/ 9 w 288"/>
                    <a:gd name="T59" fmla="*/ 359 h 574"/>
                    <a:gd name="T60" fmla="*/ 13 w 288"/>
                    <a:gd name="T61" fmla="*/ 372 h 574"/>
                    <a:gd name="T62" fmla="*/ 23 w 288"/>
                    <a:gd name="T63" fmla="*/ 400 h 574"/>
                    <a:gd name="T64" fmla="*/ 34 w 288"/>
                    <a:gd name="T65" fmla="*/ 425 h 574"/>
                    <a:gd name="T66" fmla="*/ 50 w 288"/>
                    <a:gd name="T67" fmla="*/ 448 h 574"/>
                    <a:gd name="T68" fmla="*/ 65 w 288"/>
                    <a:gd name="T69" fmla="*/ 470 h 574"/>
                    <a:gd name="T70" fmla="*/ 84 w 288"/>
                    <a:gd name="T71" fmla="*/ 490 h 574"/>
                    <a:gd name="T72" fmla="*/ 105 w 288"/>
                    <a:gd name="T73" fmla="*/ 509 h 574"/>
                    <a:gd name="T74" fmla="*/ 127 w 288"/>
                    <a:gd name="T75" fmla="*/ 526 h 574"/>
                    <a:gd name="T76" fmla="*/ 151 w 288"/>
                    <a:gd name="T77" fmla="*/ 540 h 574"/>
                    <a:gd name="T78" fmla="*/ 176 w 288"/>
                    <a:gd name="T79" fmla="*/ 552 h 574"/>
                    <a:gd name="T80" fmla="*/ 202 w 288"/>
                    <a:gd name="T81" fmla="*/ 561 h 574"/>
                    <a:gd name="T82" fmla="*/ 216 w 288"/>
                    <a:gd name="T83" fmla="*/ 566 h 574"/>
                    <a:gd name="T84" fmla="*/ 229 w 288"/>
                    <a:gd name="T85" fmla="*/ 568 h 574"/>
                    <a:gd name="T86" fmla="*/ 244 w 288"/>
                    <a:gd name="T87" fmla="*/ 572 h 574"/>
                    <a:gd name="T88" fmla="*/ 258 w 288"/>
                    <a:gd name="T89" fmla="*/ 573 h 574"/>
                    <a:gd name="T90" fmla="*/ 273 w 288"/>
                    <a:gd name="T91" fmla="*/ 574 h 574"/>
                    <a:gd name="T92" fmla="*/ 288 w 288"/>
                    <a:gd name="T93" fmla="*/ 574 h 574"/>
                    <a:gd name="T94" fmla="*/ 288 w 288"/>
                    <a:gd name="T95" fmla="*/ 0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8" h="574">
                      <a:moveTo>
                        <a:pt x="288" y="0"/>
                      </a:moveTo>
                      <a:lnTo>
                        <a:pt x="288" y="0"/>
                      </a:lnTo>
                      <a:lnTo>
                        <a:pt x="273" y="0"/>
                      </a:lnTo>
                      <a:lnTo>
                        <a:pt x="258" y="1"/>
                      </a:lnTo>
                      <a:lnTo>
                        <a:pt x="244" y="3"/>
                      </a:lnTo>
                      <a:lnTo>
                        <a:pt x="229" y="6"/>
                      </a:lnTo>
                      <a:lnTo>
                        <a:pt x="216" y="9"/>
                      </a:lnTo>
                      <a:lnTo>
                        <a:pt x="202" y="12"/>
                      </a:lnTo>
                      <a:lnTo>
                        <a:pt x="176" y="23"/>
                      </a:lnTo>
                      <a:lnTo>
                        <a:pt x="151" y="35"/>
                      </a:lnTo>
                      <a:lnTo>
                        <a:pt x="127" y="49"/>
                      </a:lnTo>
                      <a:lnTo>
                        <a:pt x="105" y="66"/>
                      </a:lnTo>
                      <a:lnTo>
                        <a:pt x="84" y="83"/>
                      </a:lnTo>
                      <a:lnTo>
                        <a:pt x="65" y="105"/>
                      </a:lnTo>
                      <a:lnTo>
                        <a:pt x="50" y="126"/>
                      </a:lnTo>
                      <a:lnTo>
                        <a:pt x="34" y="150"/>
                      </a:lnTo>
                      <a:lnTo>
                        <a:pt x="23" y="175"/>
                      </a:lnTo>
                      <a:lnTo>
                        <a:pt x="13" y="202"/>
                      </a:lnTo>
                      <a:lnTo>
                        <a:pt x="9" y="215"/>
                      </a:lnTo>
                      <a:lnTo>
                        <a:pt x="6" y="230"/>
                      </a:lnTo>
                      <a:lnTo>
                        <a:pt x="4" y="244"/>
                      </a:lnTo>
                      <a:lnTo>
                        <a:pt x="1" y="258"/>
                      </a:lnTo>
                      <a:lnTo>
                        <a:pt x="1" y="272"/>
                      </a:lnTo>
                      <a:lnTo>
                        <a:pt x="0" y="287"/>
                      </a:lnTo>
                      <a:lnTo>
                        <a:pt x="0" y="287"/>
                      </a:lnTo>
                      <a:lnTo>
                        <a:pt x="1" y="302"/>
                      </a:lnTo>
                      <a:lnTo>
                        <a:pt x="1" y="316"/>
                      </a:lnTo>
                      <a:lnTo>
                        <a:pt x="4" y="331"/>
                      </a:lnTo>
                      <a:lnTo>
                        <a:pt x="6" y="345"/>
                      </a:lnTo>
                      <a:lnTo>
                        <a:pt x="9" y="359"/>
                      </a:lnTo>
                      <a:lnTo>
                        <a:pt x="13" y="372"/>
                      </a:lnTo>
                      <a:lnTo>
                        <a:pt x="23" y="400"/>
                      </a:lnTo>
                      <a:lnTo>
                        <a:pt x="34" y="425"/>
                      </a:lnTo>
                      <a:lnTo>
                        <a:pt x="50" y="448"/>
                      </a:lnTo>
                      <a:lnTo>
                        <a:pt x="65" y="470"/>
                      </a:lnTo>
                      <a:lnTo>
                        <a:pt x="84" y="490"/>
                      </a:lnTo>
                      <a:lnTo>
                        <a:pt x="105" y="509"/>
                      </a:lnTo>
                      <a:lnTo>
                        <a:pt x="127" y="526"/>
                      </a:lnTo>
                      <a:lnTo>
                        <a:pt x="151" y="540"/>
                      </a:lnTo>
                      <a:lnTo>
                        <a:pt x="176" y="552"/>
                      </a:lnTo>
                      <a:lnTo>
                        <a:pt x="202" y="561"/>
                      </a:lnTo>
                      <a:lnTo>
                        <a:pt x="216" y="566"/>
                      </a:lnTo>
                      <a:lnTo>
                        <a:pt x="229" y="568"/>
                      </a:lnTo>
                      <a:lnTo>
                        <a:pt x="244" y="572"/>
                      </a:lnTo>
                      <a:lnTo>
                        <a:pt x="258" y="573"/>
                      </a:lnTo>
                      <a:lnTo>
                        <a:pt x="273" y="574"/>
                      </a:lnTo>
                      <a:lnTo>
                        <a:pt x="288" y="574"/>
                      </a:lnTo>
                      <a:lnTo>
                        <a:pt x="288"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24" name="Freeform 272"/>
                <p:cNvSpPr>
                  <a:spLocks/>
                </p:cNvSpPr>
                <p:nvPr userDrawn="1"/>
              </p:nvSpPr>
              <p:spPr bwMode="auto">
                <a:xfrm>
                  <a:off x="11296196" y="4209549"/>
                  <a:ext cx="228600" cy="455613"/>
                </a:xfrm>
                <a:custGeom>
                  <a:avLst/>
                  <a:gdLst>
                    <a:gd name="T0" fmla="*/ 288 w 288"/>
                    <a:gd name="T1" fmla="*/ 0 h 574"/>
                    <a:gd name="T2" fmla="*/ 288 w 288"/>
                    <a:gd name="T3" fmla="*/ 0 h 574"/>
                    <a:gd name="T4" fmla="*/ 273 w 288"/>
                    <a:gd name="T5" fmla="*/ 0 h 574"/>
                    <a:gd name="T6" fmla="*/ 258 w 288"/>
                    <a:gd name="T7" fmla="*/ 1 h 574"/>
                    <a:gd name="T8" fmla="*/ 244 w 288"/>
                    <a:gd name="T9" fmla="*/ 3 h 574"/>
                    <a:gd name="T10" fmla="*/ 229 w 288"/>
                    <a:gd name="T11" fmla="*/ 6 h 574"/>
                    <a:gd name="T12" fmla="*/ 216 w 288"/>
                    <a:gd name="T13" fmla="*/ 9 h 574"/>
                    <a:gd name="T14" fmla="*/ 202 w 288"/>
                    <a:gd name="T15" fmla="*/ 12 h 574"/>
                    <a:gd name="T16" fmla="*/ 176 w 288"/>
                    <a:gd name="T17" fmla="*/ 23 h 574"/>
                    <a:gd name="T18" fmla="*/ 151 w 288"/>
                    <a:gd name="T19" fmla="*/ 35 h 574"/>
                    <a:gd name="T20" fmla="*/ 127 w 288"/>
                    <a:gd name="T21" fmla="*/ 49 h 574"/>
                    <a:gd name="T22" fmla="*/ 105 w 288"/>
                    <a:gd name="T23" fmla="*/ 66 h 574"/>
                    <a:gd name="T24" fmla="*/ 84 w 288"/>
                    <a:gd name="T25" fmla="*/ 83 h 574"/>
                    <a:gd name="T26" fmla="*/ 65 w 288"/>
                    <a:gd name="T27" fmla="*/ 105 h 574"/>
                    <a:gd name="T28" fmla="*/ 50 w 288"/>
                    <a:gd name="T29" fmla="*/ 126 h 574"/>
                    <a:gd name="T30" fmla="*/ 34 w 288"/>
                    <a:gd name="T31" fmla="*/ 150 h 574"/>
                    <a:gd name="T32" fmla="*/ 23 w 288"/>
                    <a:gd name="T33" fmla="*/ 175 h 574"/>
                    <a:gd name="T34" fmla="*/ 13 w 288"/>
                    <a:gd name="T35" fmla="*/ 202 h 574"/>
                    <a:gd name="T36" fmla="*/ 9 w 288"/>
                    <a:gd name="T37" fmla="*/ 215 h 574"/>
                    <a:gd name="T38" fmla="*/ 6 w 288"/>
                    <a:gd name="T39" fmla="*/ 230 h 574"/>
                    <a:gd name="T40" fmla="*/ 4 w 288"/>
                    <a:gd name="T41" fmla="*/ 244 h 574"/>
                    <a:gd name="T42" fmla="*/ 1 w 288"/>
                    <a:gd name="T43" fmla="*/ 258 h 574"/>
                    <a:gd name="T44" fmla="*/ 1 w 288"/>
                    <a:gd name="T45" fmla="*/ 272 h 574"/>
                    <a:gd name="T46" fmla="*/ 0 w 288"/>
                    <a:gd name="T47" fmla="*/ 287 h 574"/>
                    <a:gd name="T48" fmla="*/ 0 w 288"/>
                    <a:gd name="T49" fmla="*/ 287 h 574"/>
                    <a:gd name="T50" fmla="*/ 1 w 288"/>
                    <a:gd name="T51" fmla="*/ 302 h 574"/>
                    <a:gd name="T52" fmla="*/ 1 w 288"/>
                    <a:gd name="T53" fmla="*/ 316 h 574"/>
                    <a:gd name="T54" fmla="*/ 4 w 288"/>
                    <a:gd name="T55" fmla="*/ 331 h 574"/>
                    <a:gd name="T56" fmla="*/ 6 w 288"/>
                    <a:gd name="T57" fmla="*/ 345 h 574"/>
                    <a:gd name="T58" fmla="*/ 9 w 288"/>
                    <a:gd name="T59" fmla="*/ 359 h 574"/>
                    <a:gd name="T60" fmla="*/ 13 w 288"/>
                    <a:gd name="T61" fmla="*/ 372 h 574"/>
                    <a:gd name="T62" fmla="*/ 23 w 288"/>
                    <a:gd name="T63" fmla="*/ 400 h 574"/>
                    <a:gd name="T64" fmla="*/ 34 w 288"/>
                    <a:gd name="T65" fmla="*/ 425 h 574"/>
                    <a:gd name="T66" fmla="*/ 50 w 288"/>
                    <a:gd name="T67" fmla="*/ 448 h 574"/>
                    <a:gd name="T68" fmla="*/ 65 w 288"/>
                    <a:gd name="T69" fmla="*/ 470 h 574"/>
                    <a:gd name="T70" fmla="*/ 84 w 288"/>
                    <a:gd name="T71" fmla="*/ 490 h 574"/>
                    <a:gd name="T72" fmla="*/ 105 w 288"/>
                    <a:gd name="T73" fmla="*/ 509 h 574"/>
                    <a:gd name="T74" fmla="*/ 127 w 288"/>
                    <a:gd name="T75" fmla="*/ 526 h 574"/>
                    <a:gd name="T76" fmla="*/ 151 w 288"/>
                    <a:gd name="T77" fmla="*/ 540 h 574"/>
                    <a:gd name="T78" fmla="*/ 176 w 288"/>
                    <a:gd name="T79" fmla="*/ 552 h 574"/>
                    <a:gd name="T80" fmla="*/ 202 w 288"/>
                    <a:gd name="T81" fmla="*/ 561 h 574"/>
                    <a:gd name="T82" fmla="*/ 216 w 288"/>
                    <a:gd name="T83" fmla="*/ 566 h 574"/>
                    <a:gd name="T84" fmla="*/ 229 w 288"/>
                    <a:gd name="T85" fmla="*/ 568 h 574"/>
                    <a:gd name="T86" fmla="*/ 244 w 288"/>
                    <a:gd name="T87" fmla="*/ 572 h 574"/>
                    <a:gd name="T88" fmla="*/ 258 w 288"/>
                    <a:gd name="T89" fmla="*/ 573 h 574"/>
                    <a:gd name="T90" fmla="*/ 273 w 288"/>
                    <a:gd name="T91" fmla="*/ 574 h 574"/>
                    <a:gd name="T92" fmla="*/ 288 w 288"/>
                    <a:gd name="T93" fmla="*/ 574 h 574"/>
                    <a:gd name="T94" fmla="*/ 288 w 288"/>
                    <a:gd name="T95" fmla="*/ 0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8" h="574">
                      <a:moveTo>
                        <a:pt x="288" y="0"/>
                      </a:moveTo>
                      <a:lnTo>
                        <a:pt x="288" y="0"/>
                      </a:lnTo>
                      <a:lnTo>
                        <a:pt x="273" y="0"/>
                      </a:lnTo>
                      <a:lnTo>
                        <a:pt x="258" y="1"/>
                      </a:lnTo>
                      <a:lnTo>
                        <a:pt x="244" y="3"/>
                      </a:lnTo>
                      <a:lnTo>
                        <a:pt x="229" y="6"/>
                      </a:lnTo>
                      <a:lnTo>
                        <a:pt x="216" y="9"/>
                      </a:lnTo>
                      <a:lnTo>
                        <a:pt x="202" y="12"/>
                      </a:lnTo>
                      <a:lnTo>
                        <a:pt x="176" y="23"/>
                      </a:lnTo>
                      <a:lnTo>
                        <a:pt x="151" y="35"/>
                      </a:lnTo>
                      <a:lnTo>
                        <a:pt x="127" y="49"/>
                      </a:lnTo>
                      <a:lnTo>
                        <a:pt x="105" y="66"/>
                      </a:lnTo>
                      <a:lnTo>
                        <a:pt x="84" y="83"/>
                      </a:lnTo>
                      <a:lnTo>
                        <a:pt x="65" y="105"/>
                      </a:lnTo>
                      <a:lnTo>
                        <a:pt x="50" y="126"/>
                      </a:lnTo>
                      <a:lnTo>
                        <a:pt x="34" y="150"/>
                      </a:lnTo>
                      <a:lnTo>
                        <a:pt x="23" y="175"/>
                      </a:lnTo>
                      <a:lnTo>
                        <a:pt x="13" y="202"/>
                      </a:lnTo>
                      <a:lnTo>
                        <a:pt x="9" y="215"/>
                      </a:lnTo>
                      <a:lnTo>
                        <a:pt x="6" y="230"/>
                      </a:lnTo>
                      <a:lnTo>
                        <a:pt x="4" y="244"/>
                      </a:lnTo>
                      <a:lnTo>
                        <a:pt x="1" y="258"/>
                      </a:lnTo>
                      <a:lnTo>
                        <a:pt x="1" y="272"/>
                      </a:lnTo>
                      <a:lnTo>
                        <a:pt x="0" y="287"/>
                      </a:lnTo>
                      <a:lnTo>
                        <a:pt x="0" y="287"/>
                      </a:lnTo>
                      <a:lnTo>
                        <a:pt x="1" y="302"/>
                      </a:lnTo>
                      <a:lnTo>
                        <a:pt x="1" y="316"/>
                      </a:lnTo>
                      <a:lnTo>
                        <a:pt x="4" y="331"/>
                      </a:lnTo>
                      <a:lnTo>
                        <a:pt x="6" y="345"/>
                      </a:lnTo>
                      <a:lnTo>
                        <a:pt x="9" y="359"/>
                      </a:lnTo>
                      <a:lnTo>
                        <a:pt x="13" y="372"/>
                      </a:lnTo>
                      <a:lnTo>
                        <a:pt x="23" y="400"/>
                      </a:lnTo>
                      <a:lnTo>
                        <a:pt x="34" y="425"/>
                      </a:lnTo>
                      <a:lnTo>
                        <a:pt x="50" y="448"/>
                      </a:lnTo>
                      <a:lnTo>
                        <a:pt x="65" y="470"/>
                      </a:lnTo>
                      <a:lnTo>
                        <a:pt x="84" y="490"/>
                      </a:lnTo>
                      <a:lnTo>
                        <a:pt x="105" y="509"/>
                      </a:lnTo>
                      <a:lnTo>
                        <a:pt x="127" y="526"/>
                      </a:lnTo>
                      <a:lnTo>
                        <a:pt x="151" y="540"/>
                      </a:lnTo>
                      <a:lnTo>
                        <a:pt x="176" y="552"/>
                      </a:lnTo>
                      <a:lnTo>
                        <a:pt x="202" y="561"/>
                      </a:lnTo>
                      <a:lnTo>
                        <a:pt x="216" y="566"/>
                      </a:lnTo>
                      <a:lnTo>
                        <a:pt x="229" y="568"/>
                      </a:lnTo>
                      <a:lnTo>
                        <a:pt x="244" y="572"/>
                      </a:lnTo>
                      <a:lnTo>
                        <a:pt x="258" y="573"/>
                      </a:lnTo>
                      <a:lnTo>
                        <a:pt x="273" y="574"/>
                      </a:lnTo>
                      <a:lnTo>
                        <a:pt x="288" y="574"/>
                      </a:lnTo>
                      <a:lnTo>
                        <a:pt x="28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25" name="Freeform 273"/>
                <p:cNvSpPr>
                  <a:spLocks/>
                </p:cNvSpPr>
                <p:nvPr userDrawn="1"/>
              </p:nvSpPr>
              <p:spPr bwMode="auto">
                <a:xfrm>
                  <a:off x="11524796" y="4271461"/>
                  <a:ext cx="168275" cy="165100"/>
                </a:xfrm>
                <a:custGeom>
                  <a:avLst/>
                  <a:gdLst>
                    <a:gd name="T0" fmla="*/ 210 w 210"/>
                    <a:gd name="T1" fmla="*/ 210 h 210"/>
                    <a:gd name="T2" fmla="*/ 210 w 210"/>
                    <a:gd name="T3" fmla="*/ 210 h 210"/>
                    <a:gd name="T4" fmla="*/ 209 w 210"/>
                    <a:gd name="T5" fmla="*/ 188 h 210"/>
                    <a:gd name="T6" fmla="*/ 205 w 210"/>
                    <a:gd name="T7" fmla="*/ 168 h 210"/>
                    <a:gd name="T8" fmla="*/ 201 w 210"/>
                    <a:gd name="T9" fmla="*/ 148 h 210"/>
                    <a:gd name="T10" fmla="*/ 194 w 210"/>
                    <a:gd name="T11" fmla="*/ 129 h 210"/>
                    <a:gd name="T12" fmla="*/ 184 w 210"/>
                    <a:gd name="T13" fmla="*/ 110 h 210"/>
                    <a:gd name="T14" fmla="*/ 174 w 210"/>
                    <a:gd name="T15" fmla="*/ 93 h 210"/>
                    <a:gd name="T16" fmla="*/ 161 w 210"/>
                    <a:gd name="T17" fmla="*/ 77 h 210"/>
                    <a:gd name="T18" fmla="*/ 148 w 210"/>
                    <a:gd name="T19" fmla="*/ 62 h 210"/>
                    <a:gd name="T20" fmla="*/ 133 w 210"/>
                    <a:gd name="T21" fmla="*/ 48 h 210"/>
                    <a:gd name="T22" fmla="*/ 117 w 210"/>
                    <a:gd name="T23" fmla="*/ 36 h 210"/>
                    <a:gd name="T24" fmla="*/ 100 w 210"/>
                    <a:gd name="T25" fmla="*/ 25 h 210"/>
                    <a:gd name="T26" fmla="*/ 82 w 210"/>
                    <a:gd name="T27" fmla="*/ 17 h 210"/>
                    <a:gd name="T28" fmla="*/ 63 w 210"/>
                    <a:gd name="T29" fmla="*/ 10 h 210"/>
                    <a:gd name="T30" fmla="*/ 43 w 210"/>
                    <a:gd name="T31" fmla="*/ 4 h 210"/>
                    <a:gd name="T32" fmla="*/ 21 w 210"/>
                    <a:gd name="T33" fmla="*/ 2 h 210"/>
                    <a:gd name="T34" fmla="*/ 0 w 210"/>
                    <a:gd name="T35" fmla="*/ 0 h 210"/>
                    <a:gd name="T36" fmla="*/ 0 w 210"/>
                    <a:gd name="T37" fmla="*/ 210 h 210"/>
                    <a:gd name="T38" fmla="*/ 210 w 210"/>
                    <a:gd name="T39"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0" h="210">
                      <a:moveTo>
                        <a:pt x="210" y="210"/>
                      </a:moveTo>
                      <a:lnTo>
                        <a:pt x="210" y="210"/>
                      </a:lnTo>
                      <a:lnTo>
                        <a:pt x="209" y="188"/>
                      </a:lnTo>
                      <a:lnTo>
                        <a:pt x="205" y="168"/>
                      </a:lnTo>
                      <a:lnTo>
                        <a:pt x="201" y="148"/>
                      </a:lnTo>
                      <a:lnTo>
                        <a:pt x="194" y="129"/>
                      </a:lnTo>
                      <a:lnTo>
                        <a:pt x="184" y="110"/>
                      </a:lnTo>
                      <a:lnTo>
                        <a:pt x="174" y="93"/>
                      </a:lnTo>
                      <a:lnTo>
                        <a:pt x="161" y="77"/>
                      </a:lnTo>
                      <a:lnTo>
                        <a:pt x="148" y="62"/>
                      </a:lnTo>
                      <a:lnTo>
                        <a:pt x="133" y="48"/>
                      </a:lnTo>
                      <a:lnTo>
                        <a:pt x="117" y="36"/>
                      </a:lnTo>
                      <a:lnTo>
                        <a:pt x="100" y="25"/>
                      </a:lnTo>
                      <a:lnTo>
                        <a:pt x="82" y="17"/>
                      </a:lnTo>
                      <a:lnTo>
                        <a:pt x="63" y="10"/>
                      </a:lnTo>
                      <a:lnTo>
                        <a:pt x="43" y="4"/>
                      </a:lnTo>
                      <a:lnTo>
                        <a:pt x="21" y="2"/>
                      </a:lnTo>
                      <a:lnTo>
                        <a:pt x="0" y="0"/>
                      </a:lnTo>
                      <a:lnTo>
                        <a:pt x="0" y="210"/>
                      </a:lnTo>
                      <a:lnTo>
                        <a:pt x="210" y="21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26" name="Freeform 274"/>
                <p:cNvSpPr>
                  <a:spLocks/>
                </p:cNvSpPr>
                <p:nvPr userDrawn="1"/>
              </p:nvSpPr>
              <p:spPr bwMode="auto">
                <a:xfrm>
                  <a:off x="11358108" y="4271461"/>
                  <a:ext cx="166688" cy="165100"/>
                </a:xfrm>
                <a:custGeom>
                  <a:avLst/>
                  <a:gdLst>
                    <a:gd name="T0" fmla="*/ 211 w 211"/>
                    <a:gd name="T1" fmla="*/ 0 h 210"/>
                    <a:gd name="T2" fmla="*/ 211 w 211"/>
                    <a:gd name="T3" fmla="*/ 0 h 210"/>
                    <a:gd name="T4" fmla="*/ 189 w 211"/>
                    <a:gd name="T5" fmla="*/ 2 h 210"/>
                    <a:gd name="T6" fmla="*/ 169 w 211"/>
                    <a:gd name="T7" fmla="*/ 4 h 210"/>
                    <a:gd name="T8" fmla="*/ 149 w 211"/>
                    <a:gd name="T9" fmla="*/ 10 h 210"/>
                    <a:gd name="T10" fmla="*/ 129 w 211"/>
                    <a:gd name="T11" fmla="*/ 17 h 210"/>
                    <a:gd name="T12" fmla="*/ 111 w 211"/>
                    <a:gd name="T13" fmla="*/ 25 h 210"/>
                    <a:gd name="T14" fmla="*/ 93 w 211"/>
                    <a:gd name="T15" fmla="*/ 36 h 210"/>
                    <a:gd name="T16" fmla="*/ 78 w 211"/>
                    <a:gd name="T17" fmla="*/ 48 h 210"/>
                    <a:gd name="T18" fmla="*/ 62 w 211"/>
                    <a:gd name="T19" fmla="*/ 62 h 210"/>
                    <a:gd name="T20" fmla="*/ 49 w 211"/>
                    <a:gd name="T21" fmla="*/ 77 h 210"/>
                    <a:gd name="T22" fmla="*/ 37 w 211"/>
                    <a:gd name="T23" fmla="*/ 93 h 210"/>
                    <a:gd name="T24" fmla="*/ 26 w 211"/>
                    <a:gd name="T25" fmla="*/ 110 h 210"/>
                    <a:gd name="T26" fmla="*/ 17 w 211"/>
                    <a:gd name="T27" fmla="*/ 129 h 210"/>
                    <a:gd name="T28" fmla="*/ 10 w 211"/>
                    <a:gd name="T29" fmla="*/ 148 h 210"/>
                    <a:gd name="T30" fmla="*/ 5 w 211"/>
                    <a:gd name="T31" fmla="*/ 168 h 210"/>
                    <a:gd name="T32" fmla="*/ 1 w 211"/>
                    <a:gd name="T33" fmla="*/ 188 h 210"/>
                    <a:gd name="T34" fmla="*/ 0 w 211"/>
                    <a:gd name="T35" fmla="*/ 210 h 210"/>
                    <a:gd name="T36" fmla="*/ 211 w 211"/>
                    <a:gd name="T37" fmla="*/ 210 h 210"/>
                    <a:gd name="T38" fmla="*/ 211 w 211"/>
                    <a:gd name="T3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1" h="210">
                      <a:moveTo>
                        <a:pt x="211" y="0"/>
                      </a:moveTo>
                      <a:lnTo>
                        <a:pt x="211" y="0"/>
                      </a:lnTo>
                      <a:lnTo>
                        <a:pt x="189" y="2"/>
                      </a:lnTo>
                      <a:lnTo>
                        <a:pt x="169" y="4"/>
                      </a:lnTo>
                      <a:lnTo>
                        <a:pt x="149" y="10"/>
                      </a:lnTo>
                      <a:lnTo>
                        <a:pt x="129" y="17"/>
                      </a:lnTo>
                      <a:lnTo>
                        <a:pt x="111" y="25"/>
                      </a:lnTo>
                      <a:lnTo>
                        <a:pt x="93" y="36"/>
                      </a:lnTo>
                      <a:lnTo>
                        <a:pt x="78" y="48"/>
                      </a:lnTo>
                      <a:lnTo>
                        <a:pt x="62" y="62"/>
                      </a:lnTo>
                      <a:lnTo>
                        <a:pt x="49" y="77"/>
                      </a:lnTo>
                      <a:lnTo>
                        <a:pt x="37" y="93"/>
                      </a:lnTo>
                      <a:lnTo>
                        <a:pt x="26" y="110"/>
                      </a:lnTo>
                      <a:lnTo>
                        <a:pt x="17" y="129"/>
                      </a:lnTo>
                      <a:lnTo>
                        <a:pt x="10" y="148"/>
                      </a:lnTo>
                      <a:lnTo>
                        <a:pt x="5" y="168"/>
                      </a:lnTo>
                      <a:lnTo>
                        <a:pt x="1" y="188"/>
                      </a:lnTo>
                      <a:lnTo>
                        <a:pt x="0" y="210"/>
                      </a:lnTo>
                      <a:lnTo>
                        <a:pt x="211" y="210"/>
                      </a:lnTo>
                      <a:lnTo>
                        <a:pt x="211"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27" name="Freeform 275"/>
                <p:cNvSpPr>
                  <a:spLocks/>
                </p:cNvSpPr>
                <p:nvPr userDrawn="1"/>
              </p:nvSpPr>
              <p:spPr bwMode="auto">
                <a:xfrm>
                  <a:off x="11358108" y="4436561"/>
                  <a:ext cx="166688" cy="168275"/>
                </a:xfrm>
                <a:custGeom>
                  <a:avLst/>
                  <a:gdLst>
                    <a:gd name="T0" fmla="*/ 0 w 211"/>
                    <a:gd name="T1" fmla="*/ 0 h 210"/>
                    <a:gd name="T2" fmla="*/ 0 w 211"/>
                    <a:gd name="T3" fmla="*/ 0 h 210"/>
                    <a:gd name="T4" fmla="*/ 1 w 211"/>
                    <a:gd name="T5" fmla="*/ 22 h 210"/>
                    <a:gd name="T6" fmla="*/ 5 w 211"/>
                    <a:gd name="T7" fmla="*/ 42 h 210"/>
                    <a:gd name="T8" fmla="*/ 10 w 211"/>
                    <a:gd name="T9" fmla="*/ 63 h 210"/>
                    <a:gd name="T10" fmla="*/ 17 w 211"/>
                    <a:gd name="T11" fmla="*/ 82 h 210"/>
                    <a:gd name="T12" fmla="*/ 26 w 211"/>
                    <a:gd name="T13" fmla="*/ 101 h 210"/>
                    <a:gd name="T14" fmla="*/ 37 w 211"/>
                    <a:gd name="T15" fmla="*/ 117 h 210"/>
                    <a:gd name="T16" fmla="*/ 49 w 211"/>
                    <a:gd name="T17" fmla="*/ 134 h 210"/>
                    <a:gd name="T18" fmla="*/ 62 w 211"/>
                    <a:gd name="T19" fmla="*/ 148 h 210"/>
                    <a:gd name="T20" fmla="*/ 78 w 211"/>
                    <a:gd name="T21" fmla="*/ 163 h 210"/>
                    <a:gd name="T22" fmla="*/ 93 w 211"/>
                    <a:gd name="T23" fmla="*/ 174 h 210"/>
                    <a:gd name="T24" fmla="*/ 111 w 211"/>
                    <a:gd name="T25" fmla="*/ 185 h 210"/>
                    <a:gd name="T26" fmla="*/ 129 w 211"/>
                    <a:gd name="T27" fmla="*/ 193 h 210"/>
                    <a:gd name="T28" fmla="*/ 149 w 211"/>
                    <a:gd name="T29" fmla="*/ 201 h 210"/>
                    <a:gd name="T30" fmla="*/ 169 w 211"/>
                    <a:gd name="T31" fmla="*/ 207 h 210"/>
                    <a:gd name="T32" fmla="*/ 189 w 211"/>
                    <a:gd name="T33" fmla="*/ 209 h 210"/>
                    <a:gd name="T34" fmla="*/ 211 w 211"/>
                    <a:gd name="T35" fmla="*/ 210 h 210"/>
                    <a:gd name="T36" fmla="*/ 211 w 211"/>
                    <a:gd name="T37" fmla="*/ 0 h 210"/>
                    <a:gd name="T38" fmla="*/ 0 w 211"/>
                    <a:gd name="T3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1" h="210">
                      <a:moveTo>
                        <a:pt x="0" y="0"/>
                      </a:moveTo>
                      <a:lnTo>
                        <a:pt x="0" y="0"/>
                      </a:lnTo>
                      <a:lnTo>
                        <a:pt x="1" y="22"/>
                      </a:lnTo>
                      <a:lnTo>
                        <a:pt x="5" y="42"/>
                      </a:lnTo>
                      <a:lnTo>
                        <a:pt x="10" y="63"/>
                      </a:lnTo>
                      <a:lnTo>
                        <a:pt x="17" y="82"/>
                      </a:lnTo>
                      <a:lnTo>
                        <a:pt x="26" y="101"/>
                      </a:lnTo>
                      <a:lnTo>
                        <a:pt x="37" y="117"/>
                      </a:lnTo>
                      <a:lnTo>
                        <a:pt x="49" y="134"/>
                      </a:lnTo>
                      <a:lnTo>
                        <a:pt x="62" y="148"/>
                      </a:lnTo>
                      <a:lnTo>
                        <a:pt x="78" y="163"/>
                      </a:lnTo>
                      <a:lnTo>
                        <a:pt x="93" y="174"/>
                      </a:lnTo>
                      <a:lnTo>
                        <a:pt x="111" y="185"/>
                      </a:lnTo>
                      <a:lnTo>
                        <a:pt x="129" y="193"/>
                      </a:lnTo>
                      <a:lnTo>
                        <a:pt x="149" y="201"/>
                      </a:lnTo>
                      <a:lnTo>
                        <a:pt x="169" y="207"/>
                      </a:lnTo>
                      <a:lnTo>
                        <a:pt x="189" y="209"/>
                      </a:lnTo>
                      <a:lnTo>
                        <a:pt x="211" y="210"/>
                      </a:lnTo>
                      <a:lnTo>
                        <a:pt x="211" y="0"/>
                      </a:lnTo>
                      <a:lnTo>
                        <a:pt x="0"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28" name="Freeform 276"/>
                <p:cNvSpPr>
                  <a:spLocks/>
                </p:cNvSpPr>
                <p:nvPr userDrawn="1"/>
              </p:nvSpPr>
              <p:spPr bwMode="auto">
                <a:xfrm>
                  <a:off x="11524796" y="4436561"/>
                  <a:ext cx="168275" cy="168275"/>
                </a:xfrm>
                <a:custGeom>
                  <a:avLst/>
                  <a:gdLst>
                    <a:gd name="T0" fmla="*/ 0 w 210"/>
                    <a:gd name="T1" fmla="*/ 0 h 210"/>
                    <a:gd name="T2" fmla="*/ 0 w 210"/>
                    <a:gd name="T3" fmla="*/ 210 h 210"/>
                    <a:gd name="T4" fmla="*/ 0 w 210"/>
                    <a:gd name="T5" fmla="*/ 210 h 210"/>
                    <a:gd name="T6" fmla="*/ 21 w 210"/>
                    <a:gd name="T7" fmla="*/ 209 h 210"/>
                    <a:gd name="T8" fmla="*/ 43 w 210"/>
                    <a:gd name="T9" fmla="*/ 207 h 210"/>
                    <a:gd name="T10" fmla="*/ 63 w 210"/>
                    <a:gd name="T11" fmla="*/ 201 h 210"/>
                    <a:gd name="T12" fmla="*/ 82 w 210"/>
                    <a:gd name="T13" fmla="*/ 193 h 210"/>
                    <a:gd name="T14" fmla="*/ 100 w 210"/>
                    <a:gd name="T15" fmla="*/ 185 h 210"/>
                    <a:gd name="T16" fmla="*/ 117 w 210"/>
                    <a:gd name="T17" fmla="*/ 174 h 210"/>
                    <a:gd name="T18" fmla="*/ 133 w 210"/>
                    <a:gd name="T19" fmla="*/ 163 h 210"/>
                    <a:gd name="T20" fmla="*/ 148 w 210"/>
                    <a:gd name="T21" fmla="*/ 148 h 210"/>
                    <a:gd name="T22" fmla="*/ 161 w 210"/>
                    <a:gd name="T23" fmla="*/ 134 h 210"/>
                    <a:gd name="T24" fmla="*/ 174 w 210"/>
                    <a:gd name="T25" fmla="*/ 117 h 210"/>
                    <a:gd name="T26" fmla="*/ 184 w 210"/>
                    <a:gd name="T27" fmla="*/ 101 h 210"/>
                    <a:gd name="T28" fmla="*/ 194 w 210"/>
                    <a:gd name="T29" fmla="*/ 82 h 210"/>
                    <a:gd name="T30" fmla="*/ 201 w 210"/>
                    <a:gd name="T31" fmla="*/ 63 h 210"/>
                    <a:gd name="T32" fmla="*/ 205 w 210"/>
                    <a:gd name="T33" fmla="*/ 42 h 210"/>
                    <a:gd name="T34" fmla="*/ 209 w 210"/>
                    <a:gd name="T35" fmla="*/ 22 h 210"/>
                    <a:gd name="T36" fmla="*/ 210 w 210"/>
                    <a:gd name="T37" fmla="*/ 0 h 210"/>
                    <a:gd name="T38" fmla="*/ 0 w 210"/>
                    <a:gd name="T3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0" h="210">
                      <a:moveTo>
                        <a:pt x="0" y="0"/>
                      </a:moveTo>
                      <a:lnTo>
                        <a:pt x="0" y="210"/>
                      </a:lnTo>
                      <a:lnTo>
                        <a:pt x="0" y="210"/>
                      </a:lnTo>
                      <a:lnTo>
                        <a:pt x="21" y="209"/>
                      </a:lnTo>
                      <a:lnTo>
                        <a:pt x="43" y="207"/>
                      </a:lnTo>
                      <a:lnTo>
                        <a:pt x="63" y="201"/>
                      </a:lnTo>
                      <a:lnTo>
                        <a:pt x="82" y="193"/>
                      </a:lnTo>
                      <a:lnTo>
                        <a:pt x="100" y="185"/>
                      </a:lnTo>
                      <a:lnTo>
                        <a:pt x="117" y="174"/>
                      </a:lnTo>
                      <a:lnTo>
                        <a:pt x="133" y="163"/>
                      </a:lnTo>
                      <a:lnTo>
                        <a:pt x="148" y="148"/>
                      </a:lnTo>
                      <a:lnTo>
                        <a:pt x="161" y="134"/>
                      </a:lnTo>
                      <a:lnTo>
                        <a:pt x="174" y="117"/>
                      </a:lnTo>
                      <a:lnTo>
                        <a:pt x="184" y="101"/>
                      </a:lnTo>
                      <a:lnTo>
                        <a:pt x="194" y="82"/>
                      </a:lnTo>
                      <a:lnTo>
                        <a:pt x="201" y="63"/>
                      </a:lnTo>
                      <a:lnTo>
                        <a:pt x="205" y="42"/>
                      </a:lnTo>
                      <a:lnTo>
                        <a:pt x="209" y="22"/>
                      </a:lnTo>
                      <a:lnTo>
                        <a:pt x="210" y="0"/>
                      </a:lnTo>
                      <a:lnTo>
                        <a:pt x="0" y="0"/>
                      </a:lnTo>
                      <a:close/>
                    </a:path>
                  </a:pathLst>
                </a:custGeom>
                <a:solidFill>
                  <a:srgbClr val="7F2D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29" name="Freeform 277"/>
                <p:cNvSpPr>
                  <a:spLocks/>
                </p:cNvSpPr>
                <p:nvPr userDrawn="1"/>
              </p:nvSpPr>
              <p:spPr bwMode="auto">
                <a:xfrm>
                  <a:off x="11148558" y="4096836"/>
                  <a:ext cx="77788" cy="508000"/>
                </a:xfrm>
                <a:custGeom>
                  <a:avLst/>
                  <a:gdLst>
                    <a:gd name="T0" fmla="*/ 98 w 98"/>
                    <a:gd name="T1" fmla="*/ 589 h 638"/>
                    <a:gd name="T2" fmla="*/ 98 w 98"/>
                    <a:gd name="T3" fmla="*/ 589 h 638"/>
                    <a:gd name="T4" fmla="*/ 97 w 98"/>
                    <a:gd name="T5" fmla="*/ 599 h 638"/>
                    <a:gd name="T6" fmla="*/ 94 w 98"/>
                    <a:gd name="T7" fmla="*/ 608 h 638"/>
                    <a:gd name="T8" fmla="*/ 89 w 98"/>
                    <a:gd name="T9" fmla="*/ 617 h 638"/>
                    <a:gd name="T10" fmla="*/ 84 w 98"/>
                    <a:gd name="T11" fmla="*/ 624 h 638"/>
                    <a:gd name="T12" fmla="*/ 76 w 98"/>
                    <a:gd name="T13" fmla="*/ 630 h 638"/>
                    <a:gd name="T14" fmla="*/ 68 w 98"/>
                    <a:gd name="T15" fmla="*/ 635 h 638"/>
                    <a:gd name="T16" fmla="*/ 59 w 98"/>
                    <a:gd name="T17" fmla="*/ 637 h 638"/>
                    <a:gd name="T18" fmla="*/ 49 w 98"/>
                    <a:gd name="T19" fmla="*/ 638 h 638"/>
                    <a:gd name="T20" fmla="*/ 49 w 98"/>
                    <a:gd name="T21" fmla="*/ 638 h 638"/>
                    <a:gd name="T22" fmla="*/ 40 w 98"/>
                    <a:gd name="T23" fmla="*/ 637 h 638"/>
                    <a:gd name="T24" fmla="*/ 30 w 98"/>
                    <a:gd name="T25" fmla="*/ 635 h 638"/>
                    <a:gd name="T26" fmla="*/ 22 w 98"/>
                    <a:gd name="T27" fmla="*/ 630 h 638"/>
                    <a:gd name="T28" fmla="*/ 15 w 98"/>
                    <a:gd name="T29" fmla="*/ 624 h 638"/>
                    <a:gd name="T30" fmla="*/ 9 w 98"/>
                    <a:gd name="T31" fmla="*/ 617 h 638"/>
                    <a:gd name="T32" fmla="*/ 4 w 98"/>
                    <a:gd name="T33" fmla="*/ 608 h 638"/>
                    <a:gd name="T34" fmla="*/ 1 w 98"/>
                    <a:gd name="T35" fmla="*/ 599 h 638"/>
                    <a:gd name="T36" fmla="*/ 0 w 98"/>
                    <a:gd name="T37" fmla="*/ 589 h 638"/>
                    <a:gd name="T38" fmla="*/ 0 w 98"/>
                    <a:gd name="T39" fmla="*/ 50 h 638"/>
                    <a:gd name="T40" fmla="*/ 0 w 98"/>
                    <a:gd name="T41" fmla="*/ 50 h 638"/>
                    <a:gd name="T42" fmla="*/ 1 w 98"/>
                    <a:gd name="T43" fmla="*/ 39 h 638"/>
                    <a:gd name="T44" fmla="*/ 4 w 98"/>
                    <a:gd name="T45" fmla="*/ 31 h 638"/>
                    <a:gd name="T46" fmla="*/ 9 w 98"/>
                    <a:gd name="T47" fmla="*/ 22 h 638"/>
                    <a:gd name="T48" fmla="*/ 15 w 98"/>
                    <a:gd name="T49" fmla="*/ 15 h 638"/>
                    <a:gd name="T50" fmla="*/ 22 w 98"/>
                    <a:gd name="T51" fmla="*/ 8 h 638"/>
                    <a:gd name="T52" fmla="*/ 30 w 98"/>
                    <a:gd name="T53" fmla="*/ 4 h 638"/>
                    <a:gd name="T54" fmla="*/ 40 w 98"/>
                    <a:gd name="T55" fmla="*/ 1 h 638"/>
                    <a:gd name="T56" fmla="*/ 49 w 98"/>
                    <a:gd name="T57" fmla="*/ 0 h 638"/>
                    <a:gd name="T58" fmla="*/ 49 w 98"/>
                    <a:gd name="T59" fmla="*/ 0 h 638"/>
                    <a:gd name="T60" fmla="*/ 59 w 98"/>
                    <a:gd name="T61" fmla="*/ 1 h 638"/>
                    <a:gd name="T62" fmla="*/ 68 w 98"/>
                    <a:gd name="T63" fmla="*/ 4 h 638"/>
                    <a:gd name="T64" fmla="*/ 76 w 98"/>
                    <a:gd name="T65" fmla="*/ 8 h 638"/>
                    <a:gd name="T66" fmla="*/ 84 w 98"/>
                    <a:gd name="T67" fmla="*/ 15 h 638"/>
                    <a:gd name="T68" fmla="*/ 89 w 98"/>
                    <a:gd name="T69" fmla="*/ 22 h 638"/>
                    <a:gd name="T70" fmla="*/ 94 w 98"/>
                    <a:gd name="T71" fmla="*/ 31 h 638"/>
                    <a:gd name="T72" fmla="*/ 97 w 98"/>
                    <a:gd name="T73" fmla="*/ 39 h 638"/>
                    <a:gd name="T74" fmla="*/ 98 w 98"/>
                    <a:gd name="T75" fmla="*/ 50 h 638"/>
                    <a:gd name="T76" fmla="*/ 98 w 98"/>
                    <a:gd name="T77" fmla="*/ 589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 h="638">
                      <a:moveTo>
                        <a:pt x="98" y="589"/>
                      </a:moveTo>
                      <a:lnTo>
                        <a:pt x="98" y="589"/>
                      </a:lnTo>
                      <a:lnTo>
                        <a:pt x="97" y="599"/>
                      </a:lnTo>
                      <a:lnTo>
                        <a:pt x="94" y="608"/>
                      </a:lnTo>
                      <a:lnTo>
                        <a:pt x="89" y="617"/>
                      </a:lnTo>
                      <a:lnTo>
                        <a:pt x="84" y="624"/>
                      </a:lnTo>
                      <a:lnTo>
                        <a:pt x="76" y="630"/>
                      </a:lnTo>
                      <a:lnTo>
                        <a:pt x="68" y="635"/>
                      </a:lnTo>
                      <a:lnTo>
                        <a:pt x="59" y="637"/>
                      </a:lnTo>
                      <a:lnTo>
                        <a:pt x="49" y="638"/>
                      </a:lnTo>
                      <a:lnTo>
                        <a:pt x="49" y="638"/>
                      </a:lnTo>
                      <a:lnTo>
                        <a:pt x="40" y="637"/>
                      </a:lnTo>
                      <a:lnTo>
                        <a:pt x="30" y="635"/>
                      </a:lnTo>
                      <a:lnTo>
                        <a:pt x="22" y="630"/>
                      </a:lnTo>
                      <a:lnTo>
                        <a:pt x="15" y="624"/>
                      </a:lnTo>
                      <a:lnTo>
                        <a:pt x="9" y="617"/>
                      </a:lnTo>
                      <a:lnTo>
                        <a:pt x="4" y="608"/>
                      </a:lnTo>
                      <a:lnTo>
                        <a:pt x="1" y="599"/>
                      </a:lnTo>
                      <a:lnTo>
                        <a:pt x="0" y="589"/>
                      </a:lnTo>
                      <a:lnTo>
                        <a:pt x="0" y="50"/>
                      </a:lnTo>
                      <a:lnTo>
                        <a:pt x="0" y="50"/>
                      </a:lnTo>
                      <a:lnTo>
                        <a:pt x="1" y="39"/>
                      </a:lnTo>
                      <a:lnTo>
                        <a:pt x="4" y="31"/>
                      </a:lnTo>
                      <a:lnTo>
                        <a:pt x="9" y="22"/>
                      </a:lnTo>
                      <a:lnTo>
                        <a:pt x="15" y="15"/>
                      </a:lnTo>
                      <a:lnTo>
                        <a:pt x="22" y="8"/>
                      </a:lnTo>
                      <a:lnTo>
                        <a:pt x="30" y="4"/>
                      </a:lnTo>
                      <a:lnTo>
                        <a:pt x="40" y="1"/>
                      </a:lnTo>
                      <a:lnTo>
                        <a:pt x="49" y="0"/>
                      </a:lnTo>
                      <a:lnTo>
                        <a:pt x="49" y="0"/>
                      </a:lnTo>
                      <a:lnTo>
                        <a:pt x="59" y="1"/>
                      </a:lnTo>
                      <a:lnTo>
                        <a:pt x="68" y="4"/>
                      </a:lnTo>
                      <a:lnTo>
                        <a:pt x="76" y="8"/>
                      </a:lnTo>
                      <a:lnTo>
                        <a:pt x="84" y="15"/>
                      </a:lnTo>
                      <a:lnTo>
                        <a:pt x="89" y="22"/>
                      </a:lnTo>
                      <a:lnTo>
                        <a:pt x="94" y="31"/>
                      </a:lnTo>
                      <a:lnTo>
                        <a:pt x="97" y="39"/>
                      </a:lnTo>
                      <a:lnTo>
                        <a:pt x="98" y="50"/>
                      </a:lnTo>
                      <a:lnTo>
                        <a:pt x="98" y="589"/>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0" name="Freeform 278"/>
                <p:cNvSpPr>
                  <a:spLocks/>
                </p:cNvSpPr>
                <p:nvPr userDrawn="1"/>
              </p:nvSpPr>
              <p:spPr bwMode="auto">
                <a:xfrm>
                  <a:off x="11064421" y="4547686"/>
                  <a:ext cx="246063" cy="153988"/>
                </a:xfrm>
                <a:custGeom>
                  <a:avLst/>
                  <a:gdLst>
                    <a:gd name="T0" fmla="*/ 270 w 310"/>
                    <a:gd name="T1" fmla="*/ 194 h 194"/>
                    <a:gd name="T2" fmla="*/ 255 w 310"/>
                    <a:gd name="T3" fmla="*/ 190 h 194"/>
                    <a:gd name="T4" fmla="*/ 243 w 310"/>
                    <a:gd name="T5" fmla="*/ 182 h 194"/>
                    <a:gd name="T6" fmla="*/ 235 w 310"/>
                    <a:gd name="T7" fmla="*/ 170 h 194"/>
                    <a:gd name="T8" fmla="*/ 232 w 310"/>
                    <a:gd name="T9" fmla="*/ 154 h 194"/>
                    <a:gd name="T10" fmla="*/ 231 w 310"/>
                    <a:gd name="T11" fmla="*/ 146 h 194"/>
                    <a:gd name="T12" fmla="*/ 229 w 310"/>
                    <a:gd name="T13" fmla="*/ 132 h 194"/>
                    <a:gd name="T14" fmla="*/ 223 w 310"/>
                    <a:gd name="T15" fmla="*/ 117 h 194"/>
                    <a:gd name="T16" fmla="*/ 210 w 310"/>
                    <a:gd name="T17" fmla="*/ 100 h 194"/>
                    <a:gd name="T18" fmla="*/ 192 w 310"/>
                    <a:gd name="T19" fmla="*/ 87 h 194"/>
                    <a:gd name="T20" fmla="*/ 178 w 310"/>
                    <a:gd name="T21" fmla="*/ 81 h 194"/>
                    <a:gd name="T22" fmla="*/ 163 w 310"/>
                    <a:gd name="T23" fmla="*/ 78 h 194"/>
                    <a:gd name="T24" fmla="*/ 155 w 310"/>
                    <a:gd name="T25" fmla="*/ 77 h 194"/>
                    <a:gd name="T26" fmla="*/ 140 w 310"/>
                    <a:gd name="T27" fmla="*/ 79 h 194"/>
                    <a:gd name="T28" fmla="*/ 125 w 310"/>
                    <a:gd name="T29" fmla="*/ 83 h 194"/>
                    <a:gd name="T30" fmla="*/ 112 w 310"/>
                    <a:gd name="T31" fmla="*/ 90 h 194"/>
                    <a:gd name="T32" fmla="*/ 91 w 310"/>
                    <a:gd name="T33" fmla="*/ 112 h 194"/>
                    <a:gd name="T34" fmla="*/ 84 w 310"/>
                    <a:gd name="T35" fmla="*/ 125 h 194"/>
                    <a:gd name="T36" fmla="*/ 80 w 310"/>
                    <a:gd name="T37" fmla="*/ 139 h 194"/>
                    <a:gd name="T38" fmla="*/ 78 w 310"/>
                    <a:gd name="T39" fmla="*/ 154 h 194"/>
                    <a:gd name="T40" fmla="*/ 78 w 310"/>
                    <a:gd name="T41" fmla="*/ 161 h 194"/>
                    <a:gd name="T42" fmla="*/ 72 w 310"/>
                    <a:gd name="T43" fmla="*/ 176 h 194"/>
                    <a:gd name="T44" fmla="*/ 61 w 310"/>
                    <a:gd name="T45" fmla="*/ 186 h 194"/>
                    <a:gd name="T46" fmla="*/ 47 w 310"/>
                    <a:gd name="T47" fmla="*/ 192 h 194"/>
                    <a:gd name="T48" fmla="*/ 40 w 310"/>
                    <a:gd name="T49" fmla="*/ 194 h 194"/>
                    <a:gd name="T50" fmla="*/ 24 w 310"/>
                    <a:gd name="T51" fmla="*/ 190 h 194"/>
                    <a:gd name="T52" fmla="*/ 12 w 310"/>
                    <a:gd name="T53" fmla="*/ 182 h 194"/>
                    <a:gd name="T54" fmla="*/ 4 w 310"/>
                    <a:gd name="T55" fmla="*/ 170 h 194"/>
                    <a:gd name="T56" fmla="*/ 0 w 310"/>
                    <a:gd name="T57" fmla="*/ 154 h 194"/>
                    <a:gd name="T58" fmla="*/ 2 w 310"/>
                    <a:gd name="T59" fmla="*/ 139 h 194"/>
                    <a:gd name="T60" fmla="*/ 8 w 310"/>
                    <a:gd name="T61" fmla="*/ 108 h 194"/>
                    <a:gd name="T62" fmla="*/ 19 w 310"/>
                    <a:gd name="T63" fmla="*/ 81 h 194"/>
                    <a:gd name="T64" fmla="*/ 36 w 310"/>
                    <a:gd name="T65" fmla="*/ 56 h 194"/>
                    <a:gd name="T66" fmla="*/ 56 w 310"/>
                    <a:gd name="T67" fmla="*/ 35 h 194"/>
                    <a:gd name="T68" fmla="*/ 81 w 310"/>
                    <a:gd name="T69" fmla="*/ 19 h 194"/>
                    <a:gd name="T70" fmla="*/ 109 w 310"/>
                    <a:gd name="T71" fmla="*/ 7 h 194"/>
                    <a:gd name="T72" fmla="*/ 140 w 310"/>
                    <a:gd name="T73" fmla="*/ 1 h 194"/>
                    <a:gd name="T74" fmla="*/ 155 w 310"/>
                    <a:gd name="T75" fmla="*/ 0 h 194"/>
                    <a:gd name="T76" fmla="*/ 186 w 310"/>
                    <a:gd name="T77" fmla="*/ 3 h 194"/>
                    <a:gd name="T78" fmla="*/ 214 w 310"/>
                    <a:gd name="T79" fmla="*/ 12 h 194"/>
                    <a:gd name="T80" fmla="*/ 241 w 310"/>
                    <a:gd name="T81" fmla="*/ 26 h 194"/>
                    <a:gd name="T82" fmla="*/ 264 w 310"/>
                    <a:gd name="T83" fmla="*/ 45 h 194"/>
                    <a:gd name="T84" fmla="*/ 283 w 310"/>
                    <a:gd name="T85" fmla="*/ 68 h 194"/>
                    <a:gd name="T86" fmla="*/ 298 w 310"/>
                    <a:gd name="T87" fmla="*/ 94 h 194"/>
                    <a:gd name="T88" fmla="*/ 306 w 310"/>
                    <a:gd name="T89" fmla="*/ 123 h 194"/>
                    <a:gd name="T90" fmla="*/ 310 w 310"/>
                    <a:gd name="T91" fmla="*/ 154 h 194"/>
                    <a:gd name="T92" fmla="*/ 308 w 310"/>
                    <a:gd name="T93" fmla="*/ 161 h 194"/>
                    <a:gd name="T94" fmla="*/ 302 w 310"/>
                    <a:gd name="T95" fmla="*/ 176 h 194"/>
                    <a:gd name="T96" fmla="*/ 292 w 310"/>
                    <a:gd name="T97" fmla="*/ 186 h 194"/>
                    <a:gd name="T98" fmla="*/ 279 w 310"/>
                    <a:gd name="T99" fmla="*/ 192 h 194"/>
                    <a:gd name="T100" fmla="*/ 270 w 310"/>
                    <a:gd name="T101"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0" h="194">
                      <a:moveTo>
                        <a:pt x="270" y="194"/>
                      </a:moveTo>
                      <a:lnTo>
                        <a:pt x="270" y="194"/>
                      </a:lnTo>
                      <a:lnTo>
                        <a:pt x="263" y="192"/>
                      </a:lnTo>
                      <a:lnTo>
                        <a:pt x="255" y="190"/>
                      </a:lnTo>
                      <a:lnTo>
                        <a:pt x="249" y="186"/>
                      </a:lnTo>
                      <a:lnTo>
                        <a:pt x="243" y="182"/>
                      </a:lnTo>
                      <a:lnTo>
                        <a:pt x="238" y="176"/>
                      </a:lnTo>
                      <a:lnTo>
                        <a:pt x="235" y="170"/>
                      </a:lnTo>
                      <a:lnTo>
                        <a:pt x="232" y="161"/>
                      </a:lnTo>
                      <a:lnTo>
                        <a:pt x="232" y="154"/>
                      </a:lnTo>
                      <a:lnTo>
                        <a:pt x="232" y="154"/>
                      </a:lnTo>
                      <a:lnTo>
                        <a:pt x="231" y="146"/>
                      </a:lnTo>
                      <a:lnTo>
                        <a:pt x="230" y="139"/>
                      </a:lnTo>
                      <a:lnTo>
                        <a:pt x="229" y="132"/>
                      </a:lnTo>
                      <a:lnTo>
                        <a:pt x="225" y="125"/>
                      </a:lnTo>
                      <a:lnTo>
                        <a:pt x="223" y="117"/>
                      </a:lnTo>
                      <a:lnTo>
                        <a:pt x="219" y="112"/>
                      </a:lnTo>
                      <a:lnTo>
                        <a:pt x="210" y="100"/>
                      </a:lnTo>
                      <a:lnTo>
                        <a:pt x="198" y="90"/>
                      </a:lnTo>
                      <a:lnTo>
                        <a:pt x="192" y="87"/>
                      </a:lnTo>
                      <a:lnTo>
                        <a:pt x="185" y="83"/>
                      </a:lnTo>
                      <a:lnTo>
                        <a:pt x="178" y="81"/>
                      </a:lnTo>
                      <a:lnTo>
                        <a:pt x="170" y="79"/>
                      </a:lnTo>
                      <a:lnTo>
                        <a:pt x="163" y="78"/>
                      </a:lnTo>
                      <a:lnTo>
                        <a:pt x="155" y="77"/>
                      </a:lnTo>
                      <a:lnTo>
                        <a:pt x="155" y="77"/>
                      </a:lnTo>
                      <a:lnTo>
                        <a:pt x="147" y="78"/>
                      </a:lnTo>
                      <a:lnTo>
                        <a:pt x="140" y="79"/>
                      </a:lnTo>
                      <a:lnTo>
                        <a:pt x="132" y="81"/>
                      </a:lnTo>
                      <a:lnTo>
                        <a:pt x="125" y="83"/>
                      </a:lnTo>
                      <a:lnTo>
                        <a:pt x="118" y="87"/>
                      </a:lnTo>
                      <a:lnTo>
                        <a:pt x="112" y="90"/>
                      </a:lnTo>
                      <a:lnTo>
                        <a:pt x="100" y="100"/>
                      </a:lnTo>
                      <a:lnTo>
                        <a:pt x="91" y="112"/>
                      </a:lnTo>
                      <a:lnTo>
                        <a:pt x="87" y="117"/>
                      </a:lnTo>
                      <a:lnTo>
                        <a:pt x="84" y="125"/>
                      </a:lnTo>
                      <a:lnTo>
                        <a:pt x="81" y="132"/>
                      </a:lnTo>
                      <a:lnTo>
                        <a:pt x="80" y="139"/>
                      </a:lnTo>
                      <a:lnTo>
                        <a:pt x="79" y="146"/>
                      </a:lnTo>
                      <a:lnTo>
                        <a:pt x="78" y="154"/>
                      </a:lnTo>
                      <a:lnTo>
                        <a:pt x="78" y="154"/>
                      </a:lnTo>
                      <a:lnTo>
                        <a:pt x="78" y="161"/>
                      </a:lnTo>
                      <a:lnTo>
                        <a:pt x="75" y="170"/>
                      </a:lnTo>
                      <a:lnTo>
                        <a:pt x="72" y="176"/>
                      </a:lnTo>
                      <a:lnTo>
                        <a:pt x="67" y="182"/>
                      </a:lnTo>
                      <a:lnTo>
                        <a:pt x="61" y="186"/>
                      </a:lnTo>
                      <a:lnTo>
                        <a:pt x="55" y="190"/>
                      </a:lnTo>
                      <a:lnTo>
                        <a:pt x="47" y="192"/>
                      </a:lnTo>
                      <a:lnTo>
                        <a:pt x="40" y="194"/>
                      </a:lnTo>
                      <a:lnTo>
                        <a:pt x="40" y="194"/>
                      </a:lnTo>
                      <a:lnTo>
                        <a:pt x="31" y="192"/>
                      </a:lnTo>
                      <a:lnTo>
                        <a:pt x="24" y="190"/>
                      </a:lnTo>
                      <a:lnTo>
                        <a:pt x="18" y="186"/>
                      </a:lnTo>
                      <a:lnTo>
                        <a:pt x="12" y="182"/>
                      </a:lnTo>
                      <a:lnTo>
                        <a:pt x="8" y="176"/>
                      </a:lnTo>
                      <a:lnTo>
                        <a:pt x="4" y="170"/>
                      </a:lnTo>
                      <a:lnTo>
                        <a:pt x="2" y="161"/>
                      </a:lnTo>
                      <a:lnTo>
                        <a:pt x="0" y="154"/>
                      </a:lnTo>
                      <a:lnTo>
                        <a:pt x="0" y="154"/>
                      </a:lnTo>
                      <a:lnTo>
                        <a:pt x="2" y="139"/>
                      </a:lnTo>
                      <a:lnTo>
                        <a:pt x="4" y="123"/>
                      </a:lnTo>
                      <a:lnTo>
                        <a:pt x="8" y="108"/>
                      </a:lnTo>
                      <a:lnTo>
                        <a:pt x="12" y="94"/>
                      </a:lnTo>
                      <a:lnTo>
                        <a:pt x="19" y="81"/>
                      </a:lnTo>
                      <a:lnTo>
                        <a:pt x="27" y="68"/>
                      </a:lnTo>
                      <a:lnTo>
                        <a:pt x="36" y="56"/>
                      </a:lnTo>
                      <a:lnTo>
                        <a:pt x="46" y="45"/>
                      </a:lnTo>
                      <a:lnTo>
                        <a:pt x="56" y="35"/>
                      </a:lnTo>
                      <a:lnTo>
                        <a:pt x="68" y="26"/>
                      </a:lnTo>
                      <a:lnTo>
                        <a:pt x="81" y="19"/>
                      </a:lnTo>
                      <a:lnTo>
                        <a:pt x="96" y="12"/>
                      </a:lnTo>
                      <a:lnTo>
                        <a:pt x="109" y="7"/>
                      </a:lnTo>
                      <a:lnTo>
                        <a:pt x="124" y="3"/>
                      </a:lnTo>
                      <a:lnTo>
                        <a:pt x="140" y="1"/>
                      </a:lnTo>
                      <a:lnTo>
                        <a:pt x="155" y="0"/>
                      </a:lnTo>
                      <a:lnTo>
                        <a:pt x="155" y="0"/>
                      </a:lnTo>
                      <a:lnTo>
                        <a:pt x="170" y="1"/>
                      </a:lnTo>
                      <a:lnTo>
                        <a:pt x="186" y="3"/>
                      </a:lnTo>
                      <a:lnTo>
                        <a:pt x="201" y="7"/>
                      </a:lnTo>
                      <a:lnTo>
                        <a:pt x="214" y="12"/>
                      </a:lnTo>
                      <a:lnTo>
                        <a:pt x="229" y="19"/>
                      </a:lnTo>
                      <a:lnTo>
                        <a:pt x="241" y="26"/>
                      </a:lnTo>
                      <a:lnTo>
                        <a:pt x="253" y="35"/>
                      </a:lnTo>
                      <a:lnTo>
                        <a:pt x="264" y="45"/>
                      </a:lnTo>
                      <a:lnTo>
                        <a:pt x="274" y="56"/>
                      </a:lnTo>
                      <a:lnTo>
                        <a:pt x="283" y="68"/>
                      </a:lnTo>
                      <a:lnTo>
                        <a:pt x="291" y="81"/>
                      </a:lnTo>
                      <a:lnTo>
                        <a:pt x="298" y="94"/>
                      </a:lnTo>
                      <a:lnTo>
                        <a:pt x="302" y="108"/>
                      </a:lnTo>
                      <a:lnTo>
                        <a:pt x="306" y="123"/>
                      </a:lnTo>
                      <a:lnTo>
                        <a:pt x="308" y="139"/>
                      </a:lnTo>
                      <a:lnTo>
                        <a:pt x="310" y="154"/>
                      </a:lnTo>
                      <a:lnTo>
                        <a:pt x="310" y="154"/>
                      </a:lnTo>
                      <a:lnTo>
                        <a:pt x="308" y="161"/>
                      </a:lnTo>
                      <a:lnTo>
                        <a:pt x="306" y="170"/>
                      </a:lnTo>
                      <a:lnTo>
                        <a:pt x="302" y="176"/>
                      </a:lnTo>
                      <a:lnTo>
                        <a:pt x="298" y="182"/>
                      </a:lnTo>
                      <a:lnTo>
                        <a:pt x="292" y="186"/>
                      </a:lnTo>
                      <a:lnTo>
                        <a:pt x="286" y="190"/>
                      </a:lnTo>
                      <a:lnTo>
                        <a:pt x="279" y="192"/>
                      </a:lnTo>
                      <a:lnTo>
                        <a:pt x="270" y="194"/>
                      </a:lnTo>
                      <a:lnTo>
                        <a:pt x="270" y="194"/>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1" name="Freeform 279"/>
                <p:cNvSpPr>
                  <a:spLocks/>
                </p:cNvSpPr>
                <p:nvPr userDrawn="1"/>
              </p:nvSpPr>
              <p:spPr bwMode="auto">
                <a:xfrm>
                  <a:off x="11902621" y="4139699"/>
                  <a:ext cx="71438" cy="141288"/>
                </a:xfrm>
                <a:custGeom>
                  <a:avLst/>
                  <a:gdLst>
                    <a:gd name="T0" fmla="*/ 0 w 91"/>
                    <a:gd name="T1" fmla="*/ 0 h 180"/>
                    <a:gd name="T2" fmla="*/ 0 w 91"/>
                    <a:gd name="T3" fmla="*/ 0 h 180"/>
                    <a:gd name="T4" fmla="*/ 10 w 91"/>
                    <a:gd name="T5" fmla="*/ 0 h 180"/>
                    <a:gd name="T6" fmla="*/ 18 w 91"/>
                    <a:gd name="T7" fmla="*/ 1 h 180"/>
                    <a:gd name="T8" fmla="*/ 28 w 91"/>
                    <a:gd name="T9" fmla="*/ 4 h 180"/>
                    <a:gd name="T10" fmla="*/ 36 w 91"/>
                    <a:gd name="T11" fmla="*/ 7 h 180"/>
                    <a:gd name="T12" fmla="*/ 43 w 91"/>
                    <a:gd name="T13" fmla="*/ 11 h 180"/>
                    <a:gd name="T14" fmla="*/ 50 w 91"/>
                    <a:gd name="T15" fmla="*/ 14 h 180"/>
                    <a:gd name="T16" fmla="*/ 57 w 91"/>
                    <a:gd name="T17" fmla="*/ 20 h 180"/>
                    <a:gd name="T18" fmla="*/ 65 w 91"/>
                    <a:gd name="T19" fmla="*/ 26 h 180"/>
                    <a:gd name="T20" fmla="*/ 70 w 91"/>
                    <a:gd name="T21" fmla="*/ 32 h 180"/>
                    <a:gd name="T22" fmla="*/ 75 w 91"/>
                    <a:gd name="T23" fmla="*/ 39 h 180"/>
                    <a:gd name="T24" fmla="*/ 80 w 91"/>
                    <a:gd name="T25" fmla="*/ 46 h 180"/>
                    <a:gd name="T26" fmla="*/ 84 w 91"/>
                    <a:gd name="T27" fmla="*/ 55 h 180"/>
                    <a:gd name="T28" fmla="*/ 86 w 91"/>
                    <a:gd name="T29" fmla="*/ 63 h 180"/>
                    <a:gd name="T30" fmla="*/ 88 w 91"/>
                    <a:gd name="T31" fmla="*/ 71 h 180"/>
                    <a:gd name="T32" fmla="*/ 89 w 91"/>
                    <a:gd name="T33" fmla="*/ 81 h 180"/>
                    <a:gd name="T34" fmla="*/ 91 w 91"/>
                    <a:gd name="T35" fmla="*/ 89 h 180"/>
                    <a:gd name="T36" fmla="*/ 91 w 91"/>
                    <a:gd name="T37" fmla="*/ 89 h 180"/>
                    <a:gd name="T38" fmla="*/ 89 w 91"/>
                    <a:gd name="T39" fmla="*/ 99 h 180"/>
                    <a:gd name="T40" fmla="*/ 88 w 91"/>
                    <a:gd name="T41" fmla="*/ 107 h 180"/>
                    <a:gd name="T42" fmla="*/ 86 w 91"/>
                    <a:gd name="T43" fmla="*/ 117 h 180"/>
                    <a:gd name="T44" fmla="*/ 84 w 91"/>
                    <a:gd name="T45" fmla="*/ 125 h 180"/>
                    <a:gd name="T46" fmla="*/ 80 w 91"/>
                    <a:gd name="T47" fmla="*/ 132 h 180"/>
                    <a:gd name="T48" fmla="*/ 75 w 91"/>
                    <a:gd name="T49" fmla="*/ 140 h 180"/>
                    <a:gd name="T50" fmla="*/ 70 w 91"/>
                    <a:gd name="T51" fmla="*/ 146 h 180"/>
                    <a:gd name="T52" fmla="*/ 65 w 91"/>
                    <a:gd name="T53" fmla="*/ 153 h 180"/>
                    <a:gd name="T54" fmla="*/ 57 w 91"/>
                    <a:gd name="T55" fmla="*/ 159 h 180"/>
                    <a:gd name="T56" fmla="*/ 50 w 91"/>
                    <a:gd name="T57" fmla="*/ 164 h 180"/>
                    <a:gd name="T58" fmla="*/ 43 w 91"/>
                    <a:gd name="T59" fmla="*/ 169 h 180"/>
                    <a:gd name="T60" fmla="*/ 36 w 91"/>
                    <a:gd name="T61" fmla="*/ 172 h 180"/>
                    <a:gd name="T62" fmla="*/ 28 w 91"/>
                    <a:gd name="T63" fmla="*/ 175 h 180"/>
                    <a:gd name="T64" fmla="*/ 18 w 91"/>
                    <a:gd name="T65" fmla="*/ 177 h 180"/>
                    <a:gd name="T66" fmla="*/ 10 w 91"/>
                    <a:gd name="T67" fmla="*/ 180 h 180"/>
                    <a:gd name="T68" fmla="*/ 0 w 91"/>
                    <a:gd name="T69" fmla="*/ 180 h 180"/>
                    <a:gd name="T70" fmla="*/ 0 w 91"/>
                    <a:gd name="T7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 h="180">
                      <a:moveTo>
                        <a:pt x="0" y="0"/>
                      </a:moveTo>
                      <a:lnTo>
                        <a:pt x="0" y="0"/>
                      </a:lnTo>
                      <a:lnTo>
                        <a:pt x="10" y="0"/>
                      </a:lnTo>
                      <a:lnTo>
                        <a:pt x="18" y="1"/>
                      </a:lnTo>
                      <a:lnTo>
                        <a:pt x="28" y="4"/>
                      </a:lnTo>
                      <a:lnTo>
                        <a:pt x="36" y="7"/>
                      </a:lnTo>
                      <a:lnTo>
                        <a:pt x="43" y="11"/>
                      </a:lnTo>
                      <a:lnTo>
                        <a:pt x="50" y="14"/>
                      </a:lnTo>
                      <a:lnTo>
                        <a:pt x="57" y="20"/>
                      </a:lnTo>
                      <a:lnTo>
                        <a:pt x="65" y="26"/>
                      </a:lnTo>
                      <a:lnTo>
                        <a:pt x="70" y="32"/>
                      </a:lnTo>
                      <a:lnTo>
                        <a:pt x="75" y="39"/>
                      </a:lnTo>
                      <a:lnTo>
                        <a:pt x="80" y="46"/>
                      </a:lnTo>
                      <a:lnTo>
                        <a:pt x="84" y="55"/>
                      </a:lnTo>
                      <a:lnTo>
                        <a:pt x="86" y="63"/>
                      </a:lnTo>
                      <a:lnTo>
                        <a:pt x="88" y="71"/>
                      </a:lnTo>
                      <a:lnTo>
                        <a:pt x="89" y="81"/>
                      </a:lnTo>
                      <a:lnTo>
                        <a:pt x="91" y="89"/>
                      </a:lnTo>
                      <a:lnTo>
                        <a:pt x="91" y="89"/>
                      </a:lnTo>
                      <a:lnTo>
                        <a:pt x="89" y="99"/>
                      </a:lnTo>
                      <a:lnTo>
                        <a:pt x="88" y="107"/>
                      </a:lnTo>
                      <a:lnTo>
                        <a:pt x="86" y="117"/>
                      </a:lnTo>
                      <a:lnTo>
                        <a:pt x="84" y="125"/>
                      </a:lnTo>
                      <a:lnTo>
                        <a:pt x="80" y="132"/>
                      </a:lnTo>
                      <a:lnTo>
                        <a:pt x="75" y="140"/>
                      </a:lnTo>
                      <a:lnTo>
                        <a:pt x="70" y="146"/>
                      </a:lnTo>
                      <a:lnTo>
                        <a:pt x="65" y="153"/>
                      </a:lnTo>
                      <a:lnTo>
                        <a:pt x="57" y="159"/>
                      </a:lnTo>
                      <a:lnTo>
                        <a:pt x="50" y="164"/>
                      </a:lnTo>
                      <a:lnTo>
                        <a:pt x="43" y="169"/>
                      </a:lnTo>
                      <a:lnTo>
                        <a:pt x="36" y="172"/>
                      </a:lnTo>
                      <a:lnTo>
                        <a:pt x="28" y="175"/>
                      </a:lnTo>
                      <a:lnTo>
                        <a:pt x="18" y="177"/>
                      </a:lnTo>
                      <a:lnTo>
                        <a:pt x="10" y="180"/>
                      </a:lnTo>
                      <a:lnTo>
                        <a:pt x="0" y="180"/>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2" name="Freeform 280"/>
                <p:cNvSpPr>
                  <a:spLocks/>
                </p:cNvSpPr>
                <p:nvPr userDrawn="1"/>
              </p:nvSpPr>
              <p:spPr bwMode="auto">
                <a:xfrm>
                  <a:off x="11824833" y="4096836"/>
                  <a:ext cx="77788" cy="508000"/>
                </a:xfrm>
                <a:custGeom>
                  <a:avLst/>
                  <a:gdLst>
                    <a:gd name="T0" fmla="*/ 0 w 97"/>
                    <a:gd name="T1" fmla="*/ 589 h 638"/>
                    <a:gd name="T2" fmla="*/ 0 w 97"/>
                    <a:gd name="T3" fmla="*/ 589 h 638"/>
                    <a:gd name="T4" fmla="*/ 1 w 97"/>
                    <a:gd name="T5" fmla="*/ 599 h 638"/>
                    <a:gd name="T6" fmla="*/ 3 w 97"/>
                    <a:gd name="T7" fmla="*/ 608 h 638"/>
                    <a:gd name="T8" fmla="*/ 8 w 97"/>
                    <a:gd name="T9" fmla="*/ 617 h 638"/>
                    <a:gd name="T10" fmla="*/ 14 w 97"/>
                    <a:gd name="T11" fmla="*/ 624 h 638"/>
                    <a:gd name="T12" fmla="*/ 21 w 97"/>
                    <a:gd name="T13" fmla="*/ 630 h 638"/>
                    <a:gd name="T14" fmla="*/ 30 w 97"/>
                    <a:gd name="T15" fmla="*/ 635 h 638"/>
                    <a:gd name="T16" fmla="*/ 39 w 97"/>
                    <a:gd name="T17" fmla="*/ 637 h 638"/>
                    <a:gd name="T18" fmla="*/ 49 w 97"/>
                    <a:gd name="T19" fmla="*/ 638 h 638"/>
                    <a:gd name="T20" fmla="*/ 49 w 97"/>
                    <a:gd name="T21" fmla="*/ 638 h 638"/>
                    <a:gd name="T22" fmla="*/ 58 w 97"/>
                    <a:gd name="T23" fmla="*/ 637 h 638"/>
                    <a:gd name="T24" fmla="*/ 68 w 97"/>
                    <a:gd name="T25" fmla="*/ 635 h 638"/>
                    <a:gd name="T26" fmla="*/ 76 w 97"/>
                    <a:gd name="T27" fmla="*/ 630 h 638"/>
                    <a:gd name="T28" fmla="*/ 83 w 97"/>
                    <a:gd name="T29" fmla="*/ 624 h 638"/>
                    <a:gd name="T30" fmla="*/ 89 w 97"/>
                    <a:gd name="T31" fmla="*/ 617 h 638"/>
                    <a:gd name="T32" fmla="*/ 94 w 97"/>
                    <a:gd name="T33" fmla="*/ 608 h 638"/>
                    <a:gd name="T34" fmla="*/ 96 w 97"/>
                    <a:gd name="T35" fmla="*/ 599 h 638"/>
                    <a:gd name="T36" fmla="*/ 97 w 97"/>
                    <a:gd name="T37" fmla="*/ 589 h 638"/>
                    <a:gd name="T38" fmla="*/ 97 w 97"/>
                    <a:gd name="T39" fmla="*/ 50 h 638"/>
                    <a:gd name="T40" fmla="*/ 97 w 97"/>
                    <a:gd name="T41" fmla="*/ 50 h 638"/>
                    <a:gd name="T42" fmla="*/ 96 w 97"/>
                    <a:gd name="T43" fmla="*/ 39 h 638"/>
                    <a:gd name="T44" fmla="*/ 94 w 97"/>
                    <a:gd name="T45" fmla="*/ 31 h 638"/>
                    <a:gd name="T46" fmla="*/ 89 w 97"/>
                    <a:gd name="T47" fmla="*/ 22 h 638"/>
                    <a:gd name="T48" fmla="*/ 83 w 97"/>
                    <a:gd name="T49" fmla="*/ 15 h 638"/>
                    <a:gd name="T50" fmla="*/ 76 w 97"/>
                    <a:gd name="T51" fmla="*/ 8 h 638"/>
                    <a:gd name="T52" fmla="*/ 68 w 97"/>
                    <a:gd name="T53" fmla="*/ 4 h 638"/>
                    <a:gd name="T54" fmla="*/ 58 w 97"/>
                    <a:gd name="T55" fmla="*/ 1 h 638"/>
                    <a:gd name="T56" fmla="*/ 49 w 97"/>
                    <a:gd name="T57" fmla="*/ 0 h 638"/>
                    <a:gd name="T58" fmla="*/ 49 w 97"/>
                    <a:gd name="T59" fmla="*/ 0 h 638"/>
                    <a:gd name="T60" fmla="*/ 39 w 97"/>
                    <a:gd name="T61" fmla="*/ 1 h 638"/>
                    <a:gd name="T62" fmla="*/ 30 w 97"/>
                    <a:gd name="T63" fmla="*/ 4 h 638"/>
                    <a:gd name="T64" fmla="*/ 21 w 97"/>
                    <a:gd name="T65" fmla="*/ 8 h 638"/>
                    <a:gd name="T66" fmla="*/ 14 w 97"/>
                    <a:gd name="T67" fmla="*/ 15 h 638"/>
                    <a:gd name="T68" fmla="*/ 8 w 97"/>
                    <a:gd name="T69" fmla="*/ 22 h 638"/>
                    <a:gd name="T70" fmla="*/ 3 w 97"/>
                    <a:gd name="T71" fmla="*/ 31 h 638"/>
                    <a:gd name="T72" fmla="*/ 1 w 97"/>
                    <a:gd name="T73" fmla="*/ 39 h 638"/>
                    <a:gd name="T74" fmla="*/ 0 w 97"/>
                    <a:gd name="T75" fmla="*/ 50 h 638"/>
                    <a:gd name="T76" fmla="*/ 0 w 97"/>
                    <a:gd name="T77" fmla="*/ 589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7" h="638">
                      <a:moveTo>
                        <a:pt x="0" y="589"/>
                      </a:moveTo>
                      <a:lnTo>
                        <a:pt x="0" y="589"/>
                      </a:lnTo>
                      <a:lnTo>
                        <a:pt x="1" y="599"/>
                      </a:lnTo>
                      <a:lnTo>
                        <a:pt x="3" y="608"/>
                      </a:lnTo>
                      <a:lnTo>
                        <a:pt x="8" y="617"/>
                      </a:lnTo>
                      <a:lnTo>
                        <a:pt x="14" y="624"/>
                      </a:lnTo>
                      <a:lnTo>
                        <a:pt x="21" y="630"/>
                      </a:lnTo>
                      <a:lnTo>
                        <a:pt x="30" y="635"/>
                      </a:lnTo>
                      <a:lnTo>
                        <a:pt x="39" y="637"/>
                      </a:lnTo>
                      <a:lnTo>
                        <a:pt x="49" y="638"/>
                      </a:lnTo>
                      <a:lnTo>
                        <a:pt x="49" y="638"/>
                      </a:lnTo>
                      <a:lnTo>
                        <a:pt x="58" y="637"/>
                      </a:lnTo>
                      <a:lnTo>
                        <a:pt x="68" y="635"/>
                      </a:lnTo>
                      <a:lnTo>
                        <a:pt x="76" y="630"/>
                      </a:lnTo>
                      <a:lnTo>
                        <a:pt x="83" y="624"/>
                      </a:lnTo>
                      <a:lnTo>
                        <a:pt x="89" y="617"/>
                      </a:lnTo>
                      <a:lnTo>
                        <a:pt x="94" y="608"/>
                      </a:lnTo>
                      <a:lnTo>
                        <a:pt x="96" y="599"/>
                      </a:lnTo>
                      <a:lnTo>
                        <a:pt x="97" y="589"/>
                      </a:lnTo>
                      <a:lnTo>
                        <a:pt x="97" y="50"/>
                      </a:lnTo>
                      <a:lnTo>
                        <a:pt x="97" y="50"/>
                      </a:lnTo>
                      <a:lnTo>
                        <a:pt x="96" y="39"/>
                      </a:lnTo>
                      <a:lnTo>
                        <a:pt x="94" y="31"/>
                      </a:lnTo>
                      <a:lnTo>
                        <a:pt x="89" y="22"/>
                      </a:lnTo>
                      <a:lnTo>
                        <a:pt x="83" y="15"/>
                      </a:lnTo>
                      <a:lnTo>
                        <a:pt x="76" y="8"/>
                      </a:lnTo>
                      <a:lnTo>
                        <a:pt x="68" y="4"/>
                      </a:lnTo>
                      <a:lnTo>
                        <a:pt x="58" y="1"/>
                      </a:lnTo>
                      <a:lnTo>
                        <a:pt x="49" y="0"/>
                      </a:lnTo>
                      <a:lnTo>
                        <a:pt x="49" y="0"/>
                      </a:lnTo>
                      <a:lnTo>
                        <a:pt x="39" y="1"/>
                      </a:lnTo>
                      <a:lnTo>
                        <a:pt x="30" y="4"/>
                      </a:lnTo>
                      <a:lnTo>
                        <a:pt x="21" y="8"/>
                      </a:lnTo>
                      <a:lnTo>
                        <a:pt x="14" y="15"/>
                      </a:lnTo>
                      <a:lnTo>
                        <a:pt x="8" y="22"/>
                      </a:lnTo>
                      <a:lnTo>
                        <a:pt x="3" y="31"/>
                      </a:lnTo>
                      <a:lnTo>
                        <a:pt x="1" y="39"/>
                      </a:lnTo>
                      <a:lnTo>
                        <a:pt x="0" y="50"/>
                      </a:lnTo>
                      <a:lnTo>
                        <a:pt x="0" y="589"/>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3" name="Freeform 281"/>
                <p:cNvSpPr>
                  <a:spLocks/>
                </p:cNvSpPr>
                <p:nvPr userDrawn="1"/>
              </p:nvSpPr>
              <p:spPr bwMode="auto">
                <a:xfrm>
                  <a:off x="11740696" y="4547686"/>
                  <a:ext cx="246063" cy="153988"/>
                </a:xfrm>
                <a:custGeom>
                  <a:avLst/>
                  <a:gdLst>
                    <a:gd name="T0" fmla="*/ 270 w 309"/>
                    <a:gd name="T1" fmla="*/ 194 h 194"/>
                    <a:gd name="T2" fmla="*/ 254 w 309"/>
                    <a:gd name="T3" fmla="*/ 190 h 194"/>
                    <a:gd name="T4" fmla="*/ 243 w 309"/>
                    <a:gd name="T5" fmla="*/ 182 h 194"/>
                    <a:gd name="T6" fmla="*/ 234 w 309"/>
                    <a:gd name="T7" fmla="*/ 170 h 194"/>
                    <a:gd name="T8" fmla="*/ 231 w 309"/>
                    <a:gd name="T9" fmla="*/ 154 h 194"/>
                    <a:gd name="T10" fmla="*/ 231 w 309"/>
                    <a:gd name="T11" fmla="*/ 146 h 194"/>
                    <a:gd name="T12" fmla="*/ 228 w 309"/>
                    <a:gd name="T13" fmla="*/ 132 h 194"/>
                    <a:gd name="T14" fmla="*/ 222 w 309"/>
                    <a:gd name="T15" fmla="*/ 117 h 194"/>
                    <a:gd name="T16" fmla="*/ 209 w 309"/>
                    <a:gd name="T17" fmla="*/ 100 h 194"/>
                    <a:gd name="T18" fmla="*/ 191 w 309"/>
                    <a:gd name="T19" fmla="*/ 87 h 194"/>
                    <a:gd name="T20" fmla="*/ 177 w 309"/>
                    <a:gd name="T21" fmla="*/ 81 h 194"/>
                    <a:gd name="T22" fmla="*/ 162 w 309"/>
                    <a:gd name="T23" fmla="*/ 78 h 194"/>
                    <a:gd name="T24" fmla="*/ 155 w 309"/>
                    <a:gd name="T25" fmla="*/ 77 h 194"/>
                    <a:gd name="T26" fmla="*/ 139 w 309"/>
                    <a:gd name="T27" fmla="*/ 79 h 194"/>
                    <a:gd name="T28" fmla="*/ 125 w 309"/>
                    <a:gd name="T29" fmla="*/ 83 h 194"/>
                    <a:gd name="T30" fmla="*/ 112 w 309"/>
                    <a:gd name="T31" fmla="*/ 90 h 194"/>
                    <a:gd name="T32" fmla="*/ 90 w 309"/>
                    <a:gd name="T33" fmla="*/ 112 h 194"/>
                    <a:gd name="T34" fmla="*/ 83 w 309"/>
                    <a:gd name="T35" fmla="*/ 125 h 194"/>
                    <a:gd name="T36" fmla="*/ 80 w 309"/>
                    <a:gd name="T37" fmla="*/ 139 h 194"/>
                    <a:gd name="T38" fmla="*/ 77 w 309"/>
                    <a:gd name="T39" fmla="*/ 154 h 194"/>
                    <a:gd name="T40" fmla="*/ 77 w 309"/>
                    <a:gd name="T41" fmla="*/ 161 h 194"/>
                    <a:gd name="T42" fmla="*/ 71 w 309"/>
                    <a:gd name="T43" fmla="*/ 176 h 194"/>
                    <a:gd name="T44" fmla="*/ 61 w 309"/>
                    <a:gd name="T45" fmla="*/ 186 h 194"/>
                    <a:gd name="T46" fmla="*/ 46 w 309"/>
                    <a:gd name="T47" fmla="*/ 192 h 194"/>
                    <a:gd name="T48" fmla="*/ 39 w 309"/>
                    <a:gd name="T49" fmla="*/ 194 h 194"/>
                    <a:gd name="T50" fmla="*/ 24 w 309"/>
                    <a:gd name="T51" fmla="*/ 190 h 194"/>
                    <a:gd name="T52" fmla="*/ 12 w 309"/>
                    <a:gd name="T53" fmla="*/ 182 h 194"/>
                    <a:gd name="T54" fmla="*/ 4 w 309"/>
                    <a:gd name="T55" fmla="*/ 170 h 194"/>
                    <a:gd name="T56" fmla="*/ 0 w 309"/>
                    <a:gd name="T57" fmla="*/ 154 h 194"/>
                    <a:gd name="T58" fmla="*/ 1 w 309"/>
                    <a:gd name="T59" fmla="*/ 139 h 194"/>
                    <a:gd name="T60" fmla="*/ 7 w 309"/>
                    <a:gd name="T61" fmla="*/ 108 h 194"/>
                    <a:gd name="T62" fmla="*/ 19 w 309"/>
                    <a:gd name="T63" fmla="*/ 81 h 194"/>
                    <a:gd name="T64" fmla="*/ 36 w 309"/>
                    <a:gd name="T65" fmla="*/ 56 h 194"/>
                    <a:gd name="T66" fmla="*/ 56 w 309"/>
                    <a:gd name="T67" fmla="*/ 35 h 194"/>
                    <a:gd name="T68" fmla="*/ 81 w 309"/>
                    <a:gd name="T69" fmla="*/ 19 h 194"/>
                    <a:gd name="T70" fmla="*/ 108 w 309"/>
                    <a:gd name="T71" fmla="*/ 7 h 194"/>
                    <a:gd name="T72" fmla="*/ 139 w 309"/>
                    <a:gd name="T73" fmla="*/ 1 h 194"/>
                    <a:gd name="T74" fmla="*/ 155 w 309"/>
                    <a:gd name="T75" fmla="*/ 0 h 194"/>
                    <a:gd name="T76" fmla="*/ 185 w 309"/>
                    <a:gd name="T77" fmla="*/ 3 h 194"/>
                    <a:gd name="T78" fmla="*/ 214 w 309"/>
                    <a:gd name="T79" fmla="*/ 12 h 194"/>
                    <a:gd name="T80" fmla="*/ 240 w 309"/>
                    <a:gd name="T81" fmla="*/ 26 h 194"/>
                    <a:gd name="T82" fmla="*/ 264 w 309"/>
                    <a:gd name="T83" fmla="*/ 45 h 194"/>
                    <a:gd name="T84" fmla="*/ 282 w 309"/>
                    <a:gd name="T85" fmla="*/ 68 h 194"/>
                    <a:gd name="T86" fmla="*/ 296 w 309"/>
                    <a:gd name="T87" fmla="*/ 94 h 194"/>
                    <a:gd name="T88" fmla="*/ 306 w 309"/>
                    <a:gd name="T89" fmla="*/ 123 h 194"/>
                    <a:gd name="T90" fmla="*/ 309 w 309"/>
                    <a:gd name="T91" fmla="*/ 154 h 194"/>
                    <a:gd name="T92" fmla="*/ 308 w 309"/>
                    <a:gd name="T93" fmla="*/ 161 h 194"/>
                    <a:gd name="T94" fmla="*/ 302 w 309"/>
                    <a:gd name="T95" fmla="*/ 176 h 194"/>
                    <a:gd name="T96" fmla="*/ 291 w 309"/>
                    <a:gd name="T97" fmla="*/ 186 h 194"/>
                    <a:gd name="T98" fmla="*/ 278 w 309"/>
                    <a:gd name="T99" fmla="*/ 192 h 194"/>
                    <a:gd name="T100" fmla="*/ 270 w 309"/>
                    <a:gd name="T101"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9" h="194">
                      <a:moveTo>
                        <a:pt x="270" y="194"/>
                      </a:moveTo>
                      <a:lnTo>
                        <a:pt x="270" y="194"/>
                      </a:lnTo>
                      <a:lnTo>
                        <a:pt x="263" y="192"/>
                      </a:lnTo>
                      <a:lnTo>
                        <a:pt x="254" y="190"/>
                      </a:lnTo>
                      <a:lnTo>
                        <a:pt x="248" y="186"/>
                      </a:lnTo>
                      <a:lnTo>
                        <a:pt x="243" y="182"/>
                      </a:lnTo>
                      <a:lnTo>
                        <a:pt x="238" y="176"/>
                      </a:lnTo>
                      <a:lnTo>
                        <a:pt x="234" y="170"/>
                      </a:lnTo>
                      <a:lnTo>
                        <a:pt x="232" y="161"/>
                      </a:lnTo>
                      <a:lnTo>
                        <a:pt x="231" y="154"/>
                      </a:lnTo>
                      <a:lnTo>
                        <a:pt x="231" y="154"/>
                      </a:lnTo>
                      <a:lnTo>
                        <a:pt x="231" y="146"/>
                      </a:lnTo>
                      <a:lnTo>
                        <a:pt x="229" y="139"/>
                      </a:lnTo>
                      <a:lnTo>
                        <a:pt x="228" y="132"/>
                      </a:lnTo>
                      <a:lnTo>
                        <a:pt x="225" y="125"/>
                      </a:lnTo>
                      <a:lnTo>
                        <a:pt x="222" y="117"/>
                      </a:lnTo>
                      <a:lnTo>
                        <a:pt x="218" y="112"/>
                      </a:lnTo>
                      <a:lnTo>
                        <a:pt x="209" y="100"/>
                      </a:lnTo>
                      <a:lnTo>
                        <a:pt x="197" y="90"/>
                      </a:lnTo>
                      <a:lnTo>
                        <a:pt x="191" y="87"/>
                      </a:lnTo>
                      <a:lnTo>
                        <a:pt x="184" y="83"/>
                      </a:lnTo>
                      <a:lnTo>
                        <a:pt x="177" y="81"/>
                      </a:lnTo>
                      <a:lnTo>
                        <a:pt x="170" y="79"/>
                      </a:lnTo>
                      <a:lnTo>
                        <a:pt x="162" y="78"/>
                      </a:lnTo>
                      <a:lnTo>
                        <a:pt x="155" y="77"/>
                      </a:lnTo>
                      <a:lnTo>
                        <a:pt x="155" y="77"/>
                      </a:lnTo>
                      <a:lnTo>
                        <a:pt x="146" y="78"/>
                      </a:lnTo>
                      <a:lnTo>
                        <a:pt x="139" y="79"/>
                      </a:lnTo>
                      <a:lnTo>
                        <a:pt x="132" y="81"/>
                      </a:lnTo>
                      <a:lnTo>
                        <a:pt x="125" y="83"/>
                      </a:lnTo>
                      <a:lnTo>
                        <a:pt x="118" y="87"/>
                      </a:lnTo>
                      <a:lnTo>
                        <a:pt x="112" y="90"/>
                      </a:lnTo>
                      <a:lnTo>
                        <a:pt x="100" y="100"/>
                      </a:lnTo>
                      <a:lnTo>
                        <a:pt x="90" y="112"/>
                      </a:lnTo>
                      <a:lnTo>
                        <a:pt x="87" y="117"/>
                      </a:lnTo>
                      <a:lnTo>
                        <a:pt x="83" y="125"/>
                      </a:lnTo>
                      <a:lnTo>
                        <a:pt x="81" y="132"/>
                      </a:lnTo>
                      <a:lnTo>
                        <a:pt x="80" y="139"/>
                      </a:lnTo>
                      <a:lnTo>
                        <a:pt x="78" y="146"/>
                      </a:lnTo>
                      <a:lnTo>
                        <a:pt x="77" y="154"/>
                      </a:lnTo>
                      <a:lnTo>
                        <a:pt x="77" y="154"/>
                      </a:lnTo>
                      <a:lnTo>
                        <a:pt x="77" y="161"/>
                      </a:lnTo>
                      <a:lnTo>
                        <a:pt x="75" y="170"/>
                      </a:lnTo>
                      <a:lnTo>
                        <a:pt x="71" y="176"/>
                      </a:lnTo>
                      <a:lnTo>
                        <a:pt x="67" y="182"/>
                      </a:lnTo>
                      <a:lnTo>
                        <a:pt x="61" y="186"/>
                      </a:lnTo>
                      <a:lnTo>
                        <a:pt x="53" y="190"/>
                      </a:lnTo>
                      <a:lnTo>
                        <a:pt x="46" y="192"/>
                      </a:lnTo>
                      <a:lnTo>
                        <a:pt x="39" y="194"/>
                      </a:lnTo>
                      <a:lnTo>
                        <a:pt x="39" y="194"/>
                      </a:lnTo>
                      <a:lnTo>
                        <a:pt x="31" y="192"/>
                      </a:lnTo>
                      <a:lnTo>
                        <a:pt x="24" y="190"/>
                      </a:lnTo>
                      <a:lnTo>
                        <a:pt x="18" y="186"/>
                      </a:lnTo>
                      <a:lnTo>
                        <a:pt x="12" y="182"/>
                      </a:lnTo>
                      <a:lnTo>
                        <a:pt x="7" y="176"/>
                      </a:lnTo>
                      <a:lnTo>
                        <a:pt x="4" y="170"/>
                      </a:lnTo>
                      <a:lnTo>
                        <a:pt x="1" y="161"/>
                      </a:lnTo>
                      <a:lnTo>
                        <a:pt x="0" y="154"/>
                      </a:lnTo>
                      <a:lnTo>
                        <a:pt x="0" y="154"/>
                      </a:lnTo>
                      <a:lnTo>
                        <a:pt x="1" y="139"/>
                      </a:lnTo>
                      <a:lnTo>
                        <a:pt x="4" y="123"/>
                      </a:lnTo>
                      <a:lnTo>
                        <a:pt x="7" y="108"/>
                      </a:lnTo>
                      <a:lnTo>
                        <a:pt x="12" y="94"/>
                      </a:lnTo>
                      <a:lnTo>
                        <a:pt x="19" y="81"/>
                      </a:lnTo>
                      <a:lnTo>
                        <a:pt x="26" y="68"/>
                      </a:lnTo>
                      <a:lnTo>
                        <a:pt x="36" y="56"/>
                      </a:lnTo>
                      <a:lnTo>
                        <a:pt x="45" y="45"/>
                      </a:lnTo>
                      <a:lnTo>
                        <a:pt x="56" y="35"/>
                      </a:lnTo>
                      <a:lnTo>
                        <a:pt x="68" y="26"/>
                      </a:lnTo>
                      <a:lnTo>
                        <a:pt x="81" y="19"/>
                      </a:lnTo>
                      <a:lnTo>
                        <a:pt x="94" y="12"/>
                      </a:lnTo>
                      <a:lnTo>
                        <a:pt x="108" y="7"/>
                      </a:lnTo>
                      <a:lnTo>
                        <a:pt x="124" y="3"/>
                      </a:lnTo>
                      <a:lnTo>
                        <a:pt x="139" y="1"/>
                      </a:lnTo>
                      <a:lnTo>
                        <a:pt x="155" y="0"/>
                      </a:lnTo>
                      <a:lnTo>
                        <a:pt x="155" y="0"/>
                      </a:lnTo>
                      <a:lnTo>
                        <a:pt x="170" y="1"/>
                      </a:lnTo>
                      <a:lnTo>
                        <a:pt x="185" y="3"/>
                      </a:lnTo>
                      <a:lnTo>
                        <a:pt x="200" y="7"/>
                      </a:lnTo>
                      <a:lnTo>
                        <a:pt x="214" y="12"/>
                      </a:lnTo>
                      <a:lnTo>
                        <a:pt x="228" y="19"/>
                      </a:lnTo>
                      <a:lnTo>
                        <a:pt x="240" y="26"/>
                      </a:lnTo>
                      <a:lnTo>
                        <a:pt x="252" y="35"/>
                      </a:lnTo>
                      <a:lnTo>
                        <a:pt x="264" y="45"/>
                      </a:lnTo>
                      <a:lnTo>
                        <a:pt x="273" y="56"/>
                      </a:lnTo>
                      <a:lnTo>
                        <a:pt x="282" y="68"/>
                      </a:lnTo>
                      <a:lnTo>
                        <a:pt x="290" y="81"/>
                      </a:lnTo>
                      <a:lnTo>
                        <a:pt x="296" y="94"/>
                      </a:lnTo>
                      <a:lnTo>
                        <a:pt x="302" y="108"/>
                      </a:lnTo>
                      <a:lnTo>
                        <a:pt x="306" y="123"/>
                      </a:lnTo>
                      <a:lnTo>
                        <a:pt x="308" y="139"/>
                      </a:lnTo>
                      <a:lnTo>
                        <a:pt x="309" y="154"/>
                      </a:lnTo>
                      <a:lnTo>
                        <a:pt x="309" y="154"/>
                      </a:lnTo>
                      <a:lnTo>
                        <a:pt x="308" y="161"/>
                      </a:lnTo>
                      <a:lnTo>
                        <a:pt x="306" y="170"/>
                      </a:lnTo>
                      <a:lnTo>
                        <a:pt x="302" y="176"/>
                      </a:lnTo>
                      <a:lnTo>
                        <a:pt x="297" y="182"/>
                      </a:lnTo>
                      <a:lnTo>
                        <a:pt x="291" y="186"/>
                      </a:lnTo>
                      <a:lnTo>
                        <a:pt x="285" y="190"/>
                      </a:lnTo>
                      <a:lnTo>
                        <a:pt x="278" y="192"/>
                      </a:lnTo>
                      <a:lnTo>
                        <a:pt x="270" y="194"/>
                      </a:lnTo>
                      <a:lnTo>
                        <a:pt x="270" y="194"/>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4" name="Freeform 282"/>
                <p:cNvSpPr>
                  <a:spLocks/>
                </p:cNvSpPr>
                <p:nvPr userDrawn="1"/>
              </p:nvSpPr>
              <p:spPr bwMode="auto">
                <a:xfrm>
                  <a:off x="11315246" y="3707899"/>
                  <a:ext cx="209550" cy="241300"/>
                </a:xfrm>
                <a:custGeom>
                  <a:avLst/>
                  <a:gdLst>
                    <a:gd name="T0" fmla="*/ 111 w 264"/>
                    <a:gd name="T1" fmla="*/ 0 h 304"/>
                    <a:gd name="T2" fmla="*/ 111 w 264"/>
                    <a:gd name="T3" fmla="*/ 0 h 304"/>
                    <a:gd name="T4" fmla="*/ 101 w 264"/>
                    <a:gd name="T5" fmla="*/ 0 h 304"/>
                    <a:gd name="T6" fmla="*/ 89 w 264"/>
                    <a:gd name="T7" fmla="*/ 2 h 304"/>
                    <a:gd name="T8" fmla="*/ 78 w 264"/>
                    <a:gd name="T9" fmla="*/ 5 h 304"/>
                    <a:gd name="T10" fmla="*/ 69 w 264"/>
                    <a:gd name="T11" fmla="*/ 8 h 304"/>
                    <a:gd name="T12" fmla="*/ 58 w 264"/>
                    <a:gd name="T13" fmla="*/ 13 h 304"/>
                    <a:gd name="T14" fmla="*/ 50 w 264"/>
                    <a:gd name="T15" fmla="*/ 19 h 304"/>
                    <a:gd name="T16" fmla="*/ 40 w 264"/>
                    <a:gd name="T17" fmla="*/ 25 h 304"/>
                    <a:gd name="T18" fmla="*/ 33 w 264"/>
                    <a:gd name="T19" fmla="*/ 32 h 304"/>
                    <a:gd name="T20" fmla="*/ 26 w 264"/>
                    <a:gd name="T21" fmla="*/ 40 h 304"/>
                    <a:gd name="T22" fmla="*/ 19 w 264"/>
                    <a:gd name="T23" fmla="*/ 49 h 304"/>
                    <a:gd name="T24" fmla="*/ 14 w 264"/>
                    <a:gd name="T25" fmla="*/ 58 h 304"/>
                    <a:gd name="T26" fmla="*/ 9 w 264"/>
                    <a:gd name="T27" fmla="*/ 68 h 304"/>
                    <a:gd name="T28" fmla="*/ 4 w 264"/>
                    <a:gd name="T29" fmla="*/ 78 h 304"/>
                    <a:gd name="T30" fmla="*/ 2 w 264"/>
                    <a:gd name="T31" fmla="*/ 89 h 304"/>
                    <a:gd name="T32" fmla="*/ 1 w 264"/>
                    <a:gd name="T33" fmla="*/ 100 h 304"/>
                    <a:gd name="T34" fmla="*/ 0 w 264"/>
                    <a:gd name="T35" fmla="*/ 112 h 304"/>
                    <a:gd name="T36" fmla="*/ 0 w 264"/>
                    <a:gd name="T37" fmla="*/ 304 h 304"/>
                    <a:gd name="T38" fmla="*/ 264 w 264"/>
                    <a:gd name="T39" fmla="*/ 304 h 304"/>
                    <a:gd name="T40" fmla="*/ 264 w 264"/>
                    <a:gd name="T41" fmla="*/ 195 h 304"/>
                    <a:gd name="T42" fmla="*/ 264 w 264"/>
                    <a:gd name="T43" fmla="*/ 0 h 304"/>
                    <a:gd name="T44" fmla="*/ 111 w 264"/>
                    <a:gd name="T45"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4" h="304">
                      <a:moveTo>
                        <a:pt x="111" y="0"/>
                      </a:moveTo>
                      <a:lnTo>
                        <a:pt x="111" y="0"/>
                      </a:lnTo>
                      <a:lnTo>
                        <a:pt x="101" y="0"/>
                      </a:lnTo>
                      <a:lnTo>
                        <a:pt x="89" y="2"/>
                      </a:lnTo>
                      <a:lnTo>
                        <a:pt x="78" y="5"/>
                      </a:lnTo>
                      <a:lnTo>
                        <a:pt x="69" y="8"/>
                      </a:lnTo>
                      <a:lnTo>
                        <a:pt x="58" y="13"/>
                      </a:lnTo>
                      <a:lnTo>
                        <a:pt x="50" y="19"/>
                      </a:lnTo>
                      <a:lnTo>
                        <a:pt x="40" y="25"/>
                      </a:lnTo>
                      <a:lnTo>
                        <a:pt x="33" y="32"/>
                      </a:lnTo>
                      <a:lnTo>
                        <a:pt x="26" y="40"/>
                      </a:lnTo>
                      <a:lnTo>
                        <a:pt x="19" y="49"/>
                      </a:lnTo>
                      <a:lnTo>
                        <a:pt x="14" y="58"/>
                      </a:lnTo>
                      <a:lnTo>
                        <a:pt x="9" y="68"/>
                      </a:lnTo>
                      <a:lnTo>
                        <a:pt x="4" y="78"/>
                      </a:lnTo>
                      <a:lnTo>
                        <a:pt x="2" y="89"/>
                      </a:lnTo>
                      <a:lnTo>
                        <a:pt x="1" y="100"/>
                      </a:lnTo>
                      <a:lnTo>
                        <a:pt x="0" y="112"/>
                      </a:lnTo>
                      <a:lnTo>
                        <a:pt x="0" y="304"/>
                      </a:lnTo>
                      <a:lnTo>
                        <a:pt x="264" y="304"/>
                      </a:lnTo>
                      <a:lnTo>
                        <a:pt x="264" y="195"/>
                      </a:lnTo>
                      <a:lnTo>
                        <a:pt x="264" y="0"/>
                      </a:lnTo>
                      <a:lnTo>
                        <a:pt x="111"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5" name="Freeform 283"/>
                <p:cNvSpPr>
                  <a:spLocks/>
                </p:cNvSpPr>
                <p:nvPr userDrawn="1"/>
              </p:nvSpPr>
              <p:spPr bwMode="auto">
                <a:xfrm>
                  <a:off x="11524796" y="3707899"/>
                  <a:ext cx="209550" cy="241300"/>
                </a:xfrm>
                <a:custGeom>
                  <a:avLst/>
                  <a:gdLst>
                    <a:gd name="T0" fmla="*/ 152 w 264"/>
                    <a:gd name="T1" fmla="*/ 0 h 304"/>
                    <a:gd name="T2" fmla="*/ 152 w 264"/>
                    <a:gd name="T3" fmla="*/ 0 h 304"/>
                    <a:gd name="T4" fmla="*/ 164 w 264"/>
                    <a:gd name="T5" fmla="*/ 0 h 304"/>
                    <a:gd name="T6" fmla="*/ 174 w 264"/>
                    <a:gd name="T7" fmla="*/ 2 h 304"/>
                    <a:gd name="T8" fmla="*/ 185 w 264"/>
                    <a:gd name="T9" fmla="*/ 5 h 304"/>
                    <a:gd name="T10" fmla="*/ 196 w 264"/>
                    <a:gd name="T11" fmla="*/ 8 h 304"/>
                    <a:gd name="T12" fmla="*/ 205 w 264"/>
                    <a:gd name="T13" fmla="*/ 13 h 304"/>
                    <a:gd name="T14" fmla="*/ 215 w 264"/>
                    <a:gd name="T15" fmla="*/ 19 h 304"/>
                    <a:gd name="T16" fmla="*/ 223 w 264"/>
                    <a:gd name="T17" fmla="*/ 25 h 304"/>
                    <a:gd name="T18" fmla="*/ 230 w 264"/>
                    <a:gd name="T19" fmla="*/ 32 h 304"/>
                    <a:gd name="T20" fmla="*/ 239 w 264"/>
                    <a:gd name="T21" fmla="*/ 40 h 304"/>
                    <a:gd name="T22" fmla="*/ 245 w 264"/>
                    <a:gd name="T23" fmla="*/ 49 h 304"/>
                    <a:gd name="T24" fmla="*/ 251 w 264"/>
                    <a:gd name="T25" fmla="*/ 58 h 304"/>
                    <a:gd name="T26" fmla="*/ 255 w 264"/>
                    <a:gd name="T27" fmla="*/ 68 h 304"/>
                    <a:gd name="T28" fmla="*/ 259 w 264"/>
                    <a:gd name="T29" fmla="*/ 78 h 304"/>
                    <a:gd name="T30" fmla="*/ 261 w 264"/>
                    <a:gd name="T31" fmla="*/ 89 h 304"/>
                    <a:gd name="T32" fmla="*/ 264 w 264"/>
                    <a:gd name="T33" fmla="*/ 100 h 304"/>
                    <a:gd name="T34" fmla="*/ 264 w 264"/>
                    <a:gd name="T35" fmla="*/ 112 h 304"/>
                    <a:gd name="T36" fmla="*/ 264 w 264"/>
                    <a:gd name="T37" fmla="*/ 304 h 304"/>
                    <a:gd name="T38" fmla="*/ 0 w 264"/>
                    <a:gd name="T39" fmla="*/ 304 h 304"/>
                    <a:gd name="T40" fmla="*/ 0 w 264"/>
                    <a:gd name="T41" fmla="*/ 195 h 304"/>
                    <a:gd name="T42" fmla="*/ 0 w 264"/>
                    <a:gd name="T43" fmla="*/ 0 h 304"/>
                    <a:gd name="T44" fmla="*/ 152 w 264"/>
                    <a:gd name="T45"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4" h="304">
                      <a:moveTo>
                        <a:pt x="152" y="0"/>
                      </a:moveTo>
                      <a:lnTo>
                        <a:pt x="152" y="0"/>
                      </a:lnTo>
                      <a:lnTo>
                        <a:pt x="164" y="0"/>
                      </a:lnTo>
                      <a:lnTo>
                        <a:pt x="174" y="2"/>
                      </a:lnTo>
                      <a:lnTo>
                        <a:pt x="185" y="5"/>
                      </a:lnTo>
                      <a:lnTo>
                        <a:pt x="196" y="8"/>
                      </a:lnTo>
                      <a:lnTo>
                        <a:pt x="205" y="13"/>
                      </a:lnTo>
                      <a:lnTo>
                        <a:pt x="215" y="19"/>
                      </a:lnTo>
                      <a:lnTo>
                        <a:pt x="223" y="25"/>
                      </a:lnTo>
                      <a:lnTo>
                        <a:pt x="230" y="32"/>
                      </a:lnTo>
                      <a:lnTo>
                        <a:pt x="239" y="40"/>
                      </a:lnTo>
                      <a:lnTo>
                        <a:pt x="245" y="49"/>
                      </a:lnTo>
                      <a:lnTo>
                        <a:pt x="251" y="58"/>
                      </a:lnTo>
                      <a:lnTo>
                        <a:pt x="255" y="68"/>
                      </a:lnTo>
                      <a:lnTo>
                        <a:pt x="259" y="78"/>
                      </a:lnTo>
                      <a:lnTo>
                        <a:pt x="261" y="89"/>
                      </a:lnTo>
                      <a:lnTo>
                        <a:pt x="264" y="100"/>
                      </a:lnTo>
                      <a:lnTo>
                        <a:pt x="264" y="112"/>
                      </a:lnTo>
                      <a:lnTo>
                        <a:pt x="264" y="304"/>
                      </a:lnTo>
                      <a:lnTo>
                        <a:pt x="0" y="304"/>
                      </a:lnTo>
                      <a:lnTo>
                        <a:pt x="0" y="195"/>
                      </a:lnTo>
                      <a:lnTo>
                        <a:pt x="0" y="0"/>
                      </a:lnTo>
                      <a:lnTo>
                        <a:pt x="152"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6" name="Freeform 284"/>
                <p:cNvSpPr>
                  <a:spLocks/>
                </p:cNvSpPr>
                <p:nvPr userDrawn="1"/>
              </p:nvSpPr>
              <p:spPr bwMode="auto">
                <a:xfrm>
                  <a:off x="11296196" y="3372936"/>
                  <a:ext cx="95250" cy="95250"/>
                </a:xfrm>
                <a:custGeom>
                  <a:avLst/>
                  <a:gdLst>
                    <a:gd name="T0" fmla="*/ 120 w 120"/>
                    <a:gd name="T1" fmla="*/ 59 h 119"/>
                    <a:gd name="T2" fmla="*/ 120 w 120"/>
                    <a:gd name="T3" fmla="*/ 59 h 119"/>
                    <a:gd name="T4" fmla="*/ 119 w 120"/>
                    <a:gd name="T5" fmla="*/ 71 h 119"/>
                    <a:gd name="T6" fmla="*/ 115 w 120"/>
                    <a:gd name="T7" fmla="*/ 83 h 119"/>
                    <a:gd name="T8" fmla="*/ 109 w 120"/>
                    <a:gd name="T9" fmla="*/ 93 h 119"/>
                    <a:gd name="T10" fmla="*/ 102 w 120"/>
                    <a:gd name="T11" fmla="*/ 102 h 119"/>
                    <a:gd name="T12" fmla="*/ 94 w 120"/>
                    <a:gd name="T13" fmla="*/ 109 h 119"/>
                    <a:gd name="T14" fmla="*/ 83 w 120"/>
                    <a:gd name="T15" fmla="*/ 114 h 119"/>
                    <a:gd name="T16" fmla="*/ 72 w 120"/>
                    <a:gd name="T17" fmla="*/ 118 h 119"/>
                    <a:gd name="T18" fmla="*/ 60 w 120"/>
                    <a:gd name="T19" fmla="*/ 119 h 119"/>
                    <a:gd name="T20" fmla="*/ 60 w 120"/>
                    <a:gd name="T21" fmla="*/ 119 h 119"/>
                    <a:gd name="T22" fmla="*/ 49 w 120"/>
                    <a:gd name="T23" fmla="*/ 118 h 119"/>
                    <a:gd name="T24" fmla="*/ 37 w 120"/>
                    <a:gd name="T25" fmla="*/ 114 h 119"/>
                    <a:gd name="T26" fmla="*/ 27 w 120"/>
                    <a:gd name="T27" fmla="*/ 109 h 119"/>
                    <a:gd name="T28" fmla="*/ 18 w 120"/>
                    <a:gd name="T29" fmla="*/ 102 h 119"/>
                    <a:gd name="T30" fmla="*/ 10 w 120"/>
                    <a:gd name="T31" fmla="*/ 93 h 119"/>
                    <a:gd name="T32" fmla="*/ 5 w 120"/>
                    <a:gd name="T33" fmla="*/ 83 h 119"/>
                    <a:gd name="T34" fmla="*/ 1 w 120"/>
                    <a:gd name="T35" fmla="*/ 71 h 119"/>
                    <a:gd name="T36" fmla="*/ 0 w 120"/>
                    <a:gd name="T37" fmla="*/ 59 h 119"/>
                    <a:gd name="T38" fmla="*/ 0 w 120"/>
                    <a:gd name="T39" fmla="*/ 59 h 119"/>
                    <a:gd name="T40" fmla="*/ 1 w 120"/>
                    <a:gd name="T41" fmla="*/ 47 h 119"/>
                    <a:gd name="T42" fmla="*/ 5 w 120"/>
                    <a:gd name="T43" fmla="*/ 37 h 119"/>
                    <a:gd name="T44" fmla="*/ 10 w 120"/>
                    <a:gd name="T45" fmla="*/ 26 h 119"/>
                    <a:gd name="T46" fmla="*/ 18 w 120"/>
                    <a:gd name="T47" fmla="*/ 18 h 119"/>
                    <a:gd name="T48" fmla="*/ 27 w 120"/>
                    <a:gd name="T49" fmla="*/ 9 h 119"/>
                    <a:gd name="T50" fmla="*/ 37 w 120"/>
                    <a:gd name="T51" fmla="*/ 5 h 119"/>
                    <a:gd name="T52" fmla="*/ 49 w 120"/>
                    <a:gd name="T53" fmla="*/ 1 h 119"/>
                    <a:gd name="T54" fmla="*/ 60 w 120"/>
                    <a:gd name="T55" fmla="*/ 0 h 119"/>
                    <a:gd name="T56" fmla="*/ 60 w 120"/>
                    <a:gd name="T57" fmla="*/ 0 h 119"/>
                    <a:gd name="T58" fmla="*/ 72 w 120"/>
                    <a:gd name="T59" fmla="*/ 1 h 119"/>
                    <a:gd name="T60" fmla="*/ 83 w 120"/>
                    <a:gd name="T61" fmla="*/ 5 h 119"/>
                    <a:gd name="T62" fmla="*/ 94 w 120"/>
                    <a:gd name="T63" fmla="*/ 9 h 119"/>
                    <a:gd name="T64" fmla="*/ 102 w 120"/>
                    <a:gd name="T65" fmla="*/ 18 h 119"/>
                    <a:gd name="T66" fmla="*/ 109 w 120"/>
                    <a:gd name="T67" fmla="*/ 26 h 119"/>
                    <a:gd name="T68" fmla="*/ 115 w 120"/>
                    <a:gd name="T69" fmla="*/ 37 h 119"/>
                    <a:gd name="T70" fmla="*/ 119 w 120"/>
                    <a:gd name="T71" fmla="*/ 47 h 119"/>
                    <a:gd name="T72" fmla="*/ 120 w 120"/>
                    <a:gd name="T73" fmla="*/ 59 h 119"/>
                    <a:gd name="T74" fmla="*/ 120 w 120"/>
                    <a:gd name="T75"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19">
                      <a:moveTo>
                        <a:pt x="120" y="59"/>
                      </a:moveTo>
                      <a:lnTo>
                        <a:pt x="120" y="59"/>
                      </a:lnTo>
                      <a:lnTo>
                        <a:pt x="119" y="71"/>
                      </a:lnTo>
                      <a:lnTo>
                        <a:pt x="115" y="83"/>
                      </a:lnTo>
                      <a:lnTo>
                        <a:pt x="109" y="93"/>
                      </a:lnTo>
                      <a:lnTo>
                        <a:pt x="102" y="102"/>
                      </a:lnTo>
                      <a:lnTo>
                        <a:pt x="94" y="109"/>
                      </a:lnTo>
                      <a:lnTo>
                        <a:pt x="83" y="114"/>
                      </a:lnTo>
                      <a:lnTo>
                        <a:pt x="72" y="118"/>
                      </a:lnTo>
                      <a:lnTo>
                        <a:pt x="60" y="119"/>
                      </a:lnTo>
                      <a:lnTo>
                        <a:pt x="60" y="119"/>
                      </a:lnTo>
                      <a:lnTo>
                        <a:pt x="49" y="118"/>
                      </a:lnTo>
                      <a:lnTo>
                        <a:pt x="37" y="114"/>
                      </a:lnTo>
                      <a:lnTo>
                        <a:pt x="27" y="109"/>
                      </a:lnTo>
                      <a:lnTo>
                        <a:pt x="18" y="102"/>
                      </a:lnTo>
                      <a:lnTo>
                        <a:pt x="10" y="93"/>
                      </a:lnTo>
                      <a:lnTo>
                        <a:pt x="5" y="83"/>
                      </a:lnTo>
                      <a:lnTo>
                        <a:pt x="1" y="71"/>
                      </a:lnTo>
                      <a:lnTo>
                        <a:pt x="0" y="59"/>
                      </a:lnTo>
                      <a:lnTo>
                        <a:pt x="0" y="59"/>
                      </a:lnTo>
                      <a:lnTo>
                        <a:pt x="1" y="47"/>
                      </a:lnTo>
                      <a:lnTo>
                        <a:pt x="5" y="37"/>
                      </a:lnTo>
                      <a:lnTo>
                        <a:pt x="10" y="26"/>
                      </a:lnTo>
                      <a:lnTo>
                        <a:pt x="18" y="18"/>
                      </a:lnTo>
                      <a:lnTo>
                        <a:pt x="27" y="9"/>
                      </a:lnTo>
                      <a:lnTo>
                        <a:pt x="37" y="5"/>
                      </a:lnTo>
                      <a:lnTo>
                        <a:pt x="49" y="1"/>
                      </a:lnTo>
                      <a:lnTo>
                        <a:pt x="60" y="0"/>
                      </a:lnTo>
                      <a:lnTo>
                        <a:pt x="60" y="0"/>
                      </a:lnTo>
                      <a:lnTo>
                        <a:pt x="72" y="1"/>
                      </a:lnTo>
                      <a:lnTo>
                        <a:pt x="83" y="5"/>
                      </a:lnTo>
                      <a:lnTo>
                        <a:pt x="94" y="9"/>
                      </a:lnTo>
                      <a:lnTo>
                        <a:pt x="102" y="18"/>
                      </a:lnTo>
                      <a:lnTo>
                        <a:pt x="109" y="26"/>
                      </a:lnTo>
                      <a:lnTo>
                        <a:pt x="115" y="37"/>
                      </a:lnTo>
                      <a:lnTo>
                        <a:pt x="119" y="47"/>
                      </a:lnTo>
                      <a:lnTo>
                        <a:pt x="120" y="59"/>
                      </a:lnTo>
                      <a:lnTo>
                        <a:pt x="120"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7" name="Freeform 285"/>
                <p:cNvSpPr>
                  <a:spLocks/>
                </p:cNvSpPr>
                <p:nvPr userDrawn="1"/>
              </p:nvSpPr>
              <p:spPr bwMode="auto">
                <a:xfrm>
                  <a:off x="11659733" y="3372936"/>
                  <a:ext cx="95250" cy="95250"/>
                </a:xfrm>
                <a:custGeom>
                  <a:avLst/>
                  <a:gdLst>
                    <a:gd name="T0" fmla="*/ 120 w 120"/>
                    <a:gd name="T1" fmla="*/ 59 h 119"/>
                    <a:gd name="T2" fmla="*/ 120 w 120"/>
                    <a:gd name="T3" fmla="*/ 59 h 119"/>
                    <a:gd name="T4" fmla="*/ 118 w 120"/>
                    <a:gd name="T5" fmla="*/ 71 h 119"/>
                    <a:gd name="T6" fmla="*/ 115 w 120"/>
                    <a:gd name="T7" fmla="*/ 83 h 119"/>
                    <a:gd name="T8" fmla="*/ 109 w 120"/>
                    <a:gd name="T9" fmla="*/ 93 h 119"/>
                    <a:gd name="T10" fmla="*/ 102 w 120"/>
                    <a:gd name="T11" fmla="*/ 102 h 119"/>
                    <a:gd name="T12" fmla="*/ 93 w 120"/>
                    <a:gd name="T13" fmla="*/ 109 h 119"/>
                    <a:gd name="T14" fmla="*/ 83 w 120"/>
                    <a:gd name="T15" fmla="*/ 114 h 119"/>
                    <a:gd name="T16" fmla="*/ 72 w 120"/>
                    <a:gd name="T17" fmla="*/ 118 h 119"/>
                    <a:gd name="T18" fmla="*/ 60 w 120"/>
                    <a:gd name="T19" fmla="*/ 119 h 119"/>
                    <a:gd name="T20" fmla="*/ 60 w 120"/>
                    <a:gd name="T21" fmla="*/ 119 h 119"/>
                    <a:gd name="T22" fmla="*/ 47 w 120"/>
                    <a:gd name="T23" fmla="*/ 118 h 119"/>
                    <a:gd name="T24" fmla="*/ 36 w 120"/>
                    <a:gd name="T25" fmla="*/ 114 h 119"/>
                    <a:gd name="T26" fmla="*/ 27 w 120"/>
                    <a:gd name="T27" fmla="*/ 109 h 119"/>
                    <a:gd name="T28" fmla="*/ 17 w 120"/>
                    <a:gd name="T29" fmla="*/ 102 h 119"/>
                    <a:gd name="T30" fmla="*/ 10 w 120"/>
                    <a:gd name="T31" fmla="*/ 93 h 119"/>
                    <a:gd name="T32" fmla="*/ 4 w 120"/>
                    <a:gd name="T33" fmla="*/ 83 h 119"/>
                    <a:gd name="T34" fmla="*/ 1 w 120"/>
                    <a:gd name="T35" fmla="*/ 71 h 119"/>
                    <a:gd name="T36" fmla="*/ 0 w 120"/>
                    <a:gd name="T37" fmla="*/ 59 h 119"/>
                    <a:gd name="T38" fmla="*/ 0 w 120"/>
                    <a:gd name="T39" fmla="*/ 59 h 119"/>
                    <a:gd name="T40" fmla="*/ 1 w 120"/>
                    <a:gd name="T41" fmla="*/ 47 h 119"/>
                    <a:gd name="T42" fmla="*/ 4 w 120"/>
                    <a:gd name="T43" fmla="*/ 37 h 119"/>
                    <a:gd name="T44" fmla="*/ 10 w 120"/>
                    <a:gd name="T45" fmla="*/ 26 h 119"/>
                    <a:gd name="T46" fmla="*/ 17 w 120"/>
                    <a:gd name="T47" fmla="*/ 18 h 119"/>
                    <a:gd name="T48" fmla="*/ 27 w 120"/>
                    <a:gd name="T49" fmla="*/ 9 h 119"/>
                    <a:gd name="T50" fmla="*/ 36 w 120"/>
                    <a:gd name="T51" fmla="*/ 5 h 119"/>
                    <a:gd name="T52" fmla="*/ 47 w 120"/>
                    <a:gd name="T53" fmla="*/ 1 h 119"/>
                    <a:gd name="T54" fmla="*/ 60 w 120"/>
                    <a:gd name="T55" fmla="*/ 0 h 119"/>
                    <a:gd name="T56" fmla="*/ 60 w 120"/>
                    <a:gd name="T57" fmla="*/ 0 h 119"/>
                    <a:gd name="T58" fmla="*/ 72 w 120"/>
                    <a:gd name="T59" fmla="*/ 1 h 119"/>
                    <a:gd name="T60" fmla="*/ 83 w 120"/>
                    <a:gd name="T61" fmla="*/ 5 h 119"/>
                    <a:gd name="T62" fmla="*/ 93 w 120"/>
                    <a:gd name="T63" fmla="*/ 9 h 119"/>
                    <a:gd name="T64" fmla="*/ 102 w 120"/>
                    <a:gd name="T65" fmla="*/ 18 h 119"/>
                    <a:gd name="T66" fmla="*/ 109 w 120"/>
                    <a:gd name="T67" fmla="*/ 26 h 119"/>
                    <a:gd name="T68" fmla="*/ 115 w 120"/>
                    <a:gd name="T69" fmla="*/ 37 h 119"/>
                    <a:gd name="T70" fmla="*/ 118 w 120"/>
                    <a:gd name="T71" fmla="*/ 47 h 119"/>
                    <a:gd name="T72" fmla="*/ 120 w 120"/>
                    <a:gd name="T73" fmla="*/ 59 h 119"/>
                    <a:gd name="T74" fmla="*/ 120 w 120"/>
                    <a:gd name="T75"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19">
                      <a:moveTo>
                        <a:pt x="120" y="59"/>
                      </a:moveTo>
                      <a:lnTo>
                        <a:pt x="120" y="59"/>
                      </a:lnTo>
                      <a:lnTo>
                        <a:pt x="118" y="71"/>
                      </a:lnTo>
                      <a:lnTo>
                        <a:pt x="115" y="83"/>
                      </a:lnTo>
                      <a:lnTo>
                        <a:pt x="109" y="93"/>
                      </a:lnTo>
                      <a:lnTo>
                        <a:pt x="102" y="102"/>
                      </a:lnTo>
                      <a:lnTo>
                        <a:pt x="93" y="109"/>
                      </a:lnTo>
                      <a:lnTo>
                        <a:pt x="83" y="114"/>
                      </a:lnTo>
                      <a:lnTo>
                        <a:pt x="72" y="118"/>
                      </a:lnTo>
                      <a:lnTo>
                        <a:pt x="60" y="119"/>
                      </a:lnTo>
                      <a:lnTo>
                        <a:pt x="60" y="119"/>
                      </a:lnTo>
                      <a:lnTo>
                        <a:pt x="47" y="118"/>
                      </a:lnTo>
                      <a:lnTo>
                        <a:pt x="36" y="114"/>
                      </a:lnTo>
                      <a:lnTo>
                        <a:pt x="27" y="109"/>
                      </a:lnTo>
                      <a:lnTo>
                        <a:pt x="17" y="102"/>
                      </a:lnTo>
                      <a:lnTo>
                        <a:pt x="10" y="93"/>
                      </a:lnTo>
                      <a:lnTo>
                        <a:pt x="4" y="83"/>
                      </a:lnTo>
                      <a:lnTo>
                        <a:pt x="1" y="71"/>
                      </a:lnTo>
                      <a:lnTo>
                        <a:pt x="0" y="59"/>
                      </a:lnTo>
                      <a:lnTo>
                        <a:pt x="0" y="59"/>
                      </a:lnTo>
                      <a:lnTo>
                        <a:pt x="1" y="47"/>
                      </a:lnTo>
                      <a:lnTo>
                        <a:pt x="4" y="37"/>
                      </a:lnTo>
                      <a:lnTo>
                        <a:pt x="10" y="26"/>
                      </a:lnTo>
                      <a:lnTo>
                        <a:pt x="17" y="18"/>
                      </a:lnTo>
                      <a:lnTo>
                        <a:pt x="27" y="9"/>
                      </a:lnTo>
                      <a:lnTo>
                        <a:pt x="36" y="5"/>
                      </a:lnTo>
                      <a:lnTo>
                        <a:pt x="47" y="1"/>
                      </a:lnTo>
                      <a:lnTo>
                        <a:pt x="60" y="0"/>
                      </a:lnTo>
                      <a:lnTo>
                        <a:pt x="60" y="0"/>
                      </a:lnTo>
                      <a:lnTo>
                        <a:pt x="72" y="1"/>
                      </a:lnTo>
                      <a:lnTo>
                        <a:pt x="83" y="5"/>
                      </a:lnTo>
                      <a:lnTo>
                        <a:pt x="93" y="9"/>
                      </a:lnTo>
                      <a:lnTo>
                        <a:pt x="102" y="18"/>
                      </a:lnTo>
                      <a:lnTo>
                        <a:pt x="109" y="26"/>
                      </a:lnTo>
                      <a:lnTo>
                        <a:pt x="115" y="37"/>
                      </a:lnTo>
                      <a:lnTo>
                        <a:pt x="118" y="47"/>
                      </a:lnTo>
                      <a:lnTo>
                        <a:pt x="120" y="59"/>
                      </a:lnTo>
                      <a:lnTo>
                        <a:pt x="120" y="59"/>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39" name="Freeform 286"/>
                <p:cNvSpPr>
                  <a:spLocks/>
                </p:cNvSpPr>
                <p:nvPr userDrawn="1"/>
              </p:nvSpPr>
              <p:spPr bwMode="auto">
                <a:xfrm>
                  <a:off x="11354933" y="3757111"/>
                  <a:ext cx="63500" cy="60325"/>
                </a:xfrm>
                <a:custGeom>
                  <a:avLst/>
                  <a:gdLst>
                    <a:gd name="T0" fmla="*/ 78 w 78"/>
                    <a:gd name="T1" fmla="*/ 38 h 77"/>
                    <a:gd name="T2" fmla="*/ 78 w 78"/>
                    <a:gd name="T3" fmla="*/ 38 h 77"/>
                    <a:gd name="T4" fmla="*/ 77 w 78"/>
                    <a:gd name="T5" fmla="*/ 46 h 77"/>
                    <a:gd name="T6" fmla="*/ 75 w 78"/>
                    <a:gd name="T7" fmla="*/ 53 h 77"/>
                    <a:gd name="T8" fmla="*/ 71 w 78"/>
                    <a:gd name="T9" fmla="*/ 60 h 77"/>
                    <a:gd name="T10" fmla="*/ 66 w 78"/>
                    <a:gd name="T11" fmla="*/ 66 h 77"/>
                    <a:gd name="T12" fmla="*/ 61 w 78"/>
                    <a:gd name="T13" fmla="*/ 71 h 77"/>
                    <a:gd name="T14" fmla="*/ 54 w 78"/>
                    <a:gd name="T15" fmla="*/ 74 h 77"/>
                    <a:gd name="T16" fmla="*/ 47 w 78"/>
                    <a:gd name="T17" fmla="*/ 77 h 77"/>
                    <a:gd name="T18" fmla="*/ 39 w 78"/>
                    <a:gd name="T19" fmla="*/ 77 h 77"/>
                    <a:gd name="T20" fmla="*/ 39 w 78"/>
                    <a:gd name="T21" fmla="*/ 77 h 77"/>
                    <a:gd name="T22" fmla="*/ 32 w 78"/>
                    <a:gd name="T23" fmla="*/ 77 h 77"/>
                    <a:gd name="T24" fmla="*/ 23 w 78"/>
                    <a:gd name="T25" fmla="*/ 74 h 77"/>
                    <a:gd name="T26" fmla="*/ 18 w 78"/>
                    <a:gd name="T27" fmla="*/ 71 h 77"/>
                    <a:gd name="T28" fmla="*/ 12 w 78"/>
                    <a:gd name="T29" fmla="*/ 66 h 77"/>
                    <a:gd name="T30" fmla="*/ 7 w 78"/>
                    <a:gd name="T31" fmla="*/ 60 h 77"/>
                    <a:gd name="T32" fmla="*/ 3 w 78"/>
                    <a:gd name="T33" fmla="*/ 53 h 77"/>
                    <a:gd name="T34" fmla="*/ 1 w 78"/>
                    <a:gd name="T35" fmla="*/ 46 h 77"/>
                    <a:gd name="T36" fmla="*/ 0 w 78"/>
                    <a:gd name="T37" fmla="*/ 38 h 77"/>
                    <a:gd name="T38" fmla="*/ 0 w 78"/>
                    <a:gd name="T39" fmla="*/ 38 h 77"/>
                    <a:gd name="T40" fmla="*/ 1 w 78"/>
                    <a:gd name="T41" fmla="*/ 30 h 77"/>
                    <a:gd name="T42" fmla="*/ 3 w 78"/>
                    <a:gd name="T43" fmla="*/ 23 h 77"/>
                    <a:gd name="T44" fmla="*/ 7 w 78"/>
                    <a:gd name="T45" fmla="*/ 16 h 77"/>
                    <a:gd name="T46" fmla="*/ 12 w 78"/>
                    <a:gd name="T47" fmla="*/ 10 h 77"/>
                    <a:gd name="T48" fmla="*/ 18 w 78"/>
                    <a:gd name="T49" fmla="*/ 6 h 77"/>
                    <a:gd name="T50" fmla="*/ 23 w 78"/>
                    <a:gd name="T51" fmla="*/ 2 h 77"/>
                    <a:gd name="T52" fmla="*/ 32 w 78"/>
                    <a:gd name="T53" fmla="*/ 0 h 77"/>
                    <a:gd name="T54" fmla="*/ 39 w 78"/>
                    <a:gd name="T55" fmla="*/ 0 h 77"/>
                    <a:gd name="T56" fmla="*/ 39 w 78"/>
                    <a:gd name="T57" fmla="*/ 0 h 77"/>
                    <a:gd name="T58" fmla="*/ 47 w 78"/>
                    <a:gd name="T59" fmla="*/ 0 h 77"/>
                    <a:gd name="T60" fmla="*/ 54 w 78"/>
                    <a:gd name="T61" fmla="*/ 2 h 77"/>
                    <a:gd name="T62" fmla="*/ 61 w 78"/>
                    <a:gd name="T63" fmla="*/ 6 h 77"/>
                    <a:gd name="T64" fmla="*/ 66 w 78"/>
                    <a:gd name="T65" fmla="*/ 10 h 77"/>
                    <a:gd name="T66" fmla="*/ 71 w 78"/>
                    <a:gd name="T67" fmla="*/ 16 h 77"/>
                    <a:gd name="T68" fmla="*/ 75 w 78"/>
                    <a:gd name="T69" fmla="*/ 23 h 77"/>
                    <a:gd name="T70" fmla="*/ 77 w 78"/>
                    <a:gd name="T71" fmla="*/ 30 h 77"/>
                    <a:gd name="T72" fmla="*/ 78 w 78"/>
                    <a:gd name="T73" fmla="*/ 38 h 77"/>
                    <a:gd name="T74" fmla="*/ 78 w 78"/>
                    <a:gd name="T75"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 h="77">
                      <a:moveTo>
                        <a:pt x="78" y="38"/>
                      </a:moveTo>
                      <a:lnTo>
                        <a:pt x="78" y="38"/>
                      </a:lnTo>
                      <a:lnTo>
                        <a:pt x="77" y="46"/>
                      </a:lnTo>
                      <a:lnTo>
                        <a:pt x="75" y="53"/>
                      </a:lnTo>
                      <a:lnTo>
                        <a:pt x="71" y="60"/>
                      </a:lnTo>
                      <a:lnTo>
                        <a:pt x="66" y="66"/>
                      </a:lnTo>
                      <a:lnTo>
                        <a:pt x="61" y="71"/>
                      </a:lnTo>
                      <a:lnTo>
                        <a:pt x="54" y="74"/>
                      </a:lnTo>
                      <a:lnTo>
                        <a:pt x="47" y="77"/>
                      </a:lnTo>
                      <a:lnTo>
                        <a:pt x="39" y="77"/>
                      </a:lnTo>
                      <a:lnTo>
                        <a:pt x="39" y="77"/>
                      </a:lnTo>
                      <a:lnTo>
                        <a:pt x="32" y="77"/>
                      </a:lnTo>
                      <a:lnTo>
                        <a:pt x="23" y="74"/>
                      </a:lnTo>
                      <a:lnTo>
                        <a:pt x="18" y="71"/>
                      </a:lnTo>
                      <a:lnTo>
                        <a:pt x="12" y="66"/>
                      </a:lnTo>
                      <a:lnTo>
                        <a:pt x="7" y="60"/>
                      </a:lnTo>
                      <a:lnTo>
                        <a:pt x="3" y="53"/>
                      </a:lnTo>
                      <a:lnTo>
                        <a:pt x="1" y="46"/>
                      </a:lnTo>
                      <a:lnTo>
                        <a:pt x="0" y="38"/>
                      </a:lnTo>
                      <a:lnTo>
                        <a:pt x="0" y="38"/>
                      </a:lnTo>
                      <a:lnTo>
                        <a:pt x="1" y="30"/>
                      </a:lnTo>
                      <a:lnTo>
                        <a:pt x="3" y="23"/>
                      </a:lnTo>
                      <a:lnTo>
                        <a:pt x="7" y="16"/>
                      </a:lnTo>
                      <a:lnTo>
                        <a:pt x="12" y="10"/>
                      </a:lnTo>
                      <a:lnTo>
                        <a:pt x="18" y="6"/>
                      </a:lnTo>
                      <a:lnTo>
                        <a:pt x="23" y="2"/>
                      </a:lnTo>
                      <a:lnTo>
                        <a:pt x="32" y="0"/>
                      </a:lnTo>
                      <a:lnTo>
                        <a:pt x="39" y="0"/>
                      </a:lnTo>
                      <a:lnTo>
                        <a:pt x="39" y="0"/>
                      </a:lnTo>
                      <a:lnTo>
                        <a:pt x="47" y="0"/>
                      </a:lnTo>
                      <a:lnTo>
                        <a:pt x="54" y="2"/>
                      </a:lnTo>
                      <a:lnTo>
                        <a:pt x="61" y="6"/>
                      </a:lnTo>
                      <a:lnTo>
                        <a:pt x="66" y="10"/>
                      </a:lnTo>
                      <a:lnTo>
                        <a:pt x="71" y="16"/>
                      </a:lnTo>
                      <a:lnTo>
                        <a:pt x="75" y="23"/>
                      </a:lnTo>
                      <a:lnTo>
                        <a:pt x="77" y="30"/>
                      </a:lnTo>
                      <a:lnTo>
                        <a:pt x="78" y="38"/>
                      </a:lnTo>
                      <a:lnTo>
                        <a:pt x="78" y="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7440" name="Freeform 287"/>
                <p:cNvSpPr>
                  <a:spLocks/>
                </p:cNvSpPr>
                <p:nvPr userDrawn="1"/>
              </p:nvSpPr>
              <p:spPr bwMode="auto">
                <a:xfrm>
                  <a:off x="11454946" y="3738061"/>
                  <a:ext cx="106363" cy="104775"/>
                </a:xfrm>
                <a:custGeom>
                  <a:avLst/>
                  <a:gdLst>
                    <a:gd name="T0" fmla="*/ 133 w 133"/>
                    <a:gd name="T1" fmla="*/ 66 h 133"/>
                    <a:gd name="T2" fmla="*/ 133 w 133"/>
                    <a:gd name="T3" fmla="*/ 66 h 133"/>
                    <a:gd name="T4" fmla="*/ 132 w 133"/>
                    <a:gd name="T5" fmla="*/ 79 h 133"/>
                    <a:gd name="T6" fmla="*/ 128 w 133"/>
                    <a:gd name="T7" fmla="*/ 93 h 133"/>
                    <a:gd name="T8" fmla="*/ 122 w 133"/>
                    <a:gd name="T9" fmla="*/ 103 h 133"/>
                    <a:gd name="T10" fmla="*/ 114 w 133"/>
                    <a:gd name="T11" fmla="*/ 114 h 133"/>
                    <a:gd name="T12" fmla="*/ 104 w 133"/>
                    <a:gd name="T13" fmla="*/ 122 h 133"/>
                    <a:gd name="T14" fmla="*/ 92 w 133"/>
                    <a:gd name="T15" fmla="*/ 128 h 133"/>
                    <a:gd name="T16" fmla="*/ 81 w 133"/>
                    <a:gd name="T17" fmla="*/ 132 h 133"/>
                    <a:gd name="T18" fmla="*/ 66 w 133"/>
                    <a:gd name="T19" fmla="*/ 133 h 133"/>
                    <a:gd name="T20" fmla="*/ 66 w 133"/>
                    <a:gd name="T21" fmla="*/ 133 h 133"/>
                    <a:gd name="T22" fmla="*/ 53 w 133"/>
                    <a:gd name="T23" fmla="*/ 132 h 133"/>
                    <a:gd name="T24" fmla="*/ 40 w 133"/>
                    <a:gd name="T25" fmla="*/ 128 h 133"/>
                    <a:gd name="T26" fmla="*/ 29 w 133"/>
                    <a:gd name="T27" fmla="*/ 122 h 133"/>
                    <a:gd name="T28" fmla="*/ 20 w 133"/>
                    <a:gd name="T29" fmla="*/ 114 h 133"/>
                    <a:gd name="T30" fmla="*/ 12 w 133"/>
                    <a:gd name="T31" fmla="*/ 103 h 133"/>
                    <a:gd name="T32" fmla="*/ 6 w 133"/>
                    <a:gd name="T33" fmla="*/ 93 h 133"/>
                    <a:gd name="T34" fmla="*/ 1 w 133"/>
                    <a:gd name="T35" fmla="*/ 79 h 133"/>
                    <a:gd name="T36" fmla="*/ 0 w 133"/>
                    <a:gd name="T37" fmla="*/ 66 h 133"/>
                    <a:gd name="T38" fmla="*/ 0 w 133"/>
                    <a:gd name="T39" fmla="*/ 66 h 133"/>
                    <a:gd name="T40" fmla="*/ 1 w 133"/>
                    <a:gd name="T41" fmla="*/ 53 h 133"/>
                    <a:gd name="T42" fmla="*/ 6 w 133"/>
                    <a:gd name="T43" fmla="*/ 40 h 133"/>
                    <a:gd name="T44" fmla="*/ 12 w 133"/>
                    <a:gd name="T45" fmla="*/ 30 h 133"/>
                    <a:gd name="T46" fmla="*/ 20 w 133"/>
                    <a:gd name="T47" fmla="*/ 19 h 133"/>
                    <a:gd name="T48" fmla="*/ 29 w 133"/>
                    <a:gd name="T49" fmla="*/ 12 h 133"/>
                    <a:gd name="T50" fmla="*/ 40 w 133"/>
                    <a:gd name="T51" fmla="*/ 5 h 133"/>
                    <a:gd name="T52" fmla="*/ 53 w 133"/>
                    <a:gd name="T53" fmla="*/ 1 h 133"/>
                    <a:gd name="T54" fmla="*/ 66 w 133"/>
                    <a:gd name="T55" fmla="*/ 0 h 133"/>
                    <a:gd name="T56" fmla="*/ 66 w 133"/>
                    <a:gd name="T57" fmla="*/ 0 h 133"/>
                    <a:gd name="T58" fmla="*/ 81 w 133"/>
                    <a:gd name="T59" fmla="*/ 1 h 133"/>
                    <a:gd name="T60" fmla="*/ 92 w 133"/>
                    <a:gd name="T61" fmla="*/ 5 h 133"/>
                    <a:gd name="T62" fmla="*/ 104 w 133"/>
                    <a:gd name="T63" fmla="*/ 12 h 133"/>
                    <a:gd name="T64" fmla="*/ 114 w 133"/>
                    <a:gd name="T65" fmla="*/ 19 h 133"/>
                    <a:gd name="T66" fmla="*/ 122 w 133"/>
                    <a:gd name="T67" fmla="*/ 30 h 133"/>
                    <a:gd name="T68" fmla="*/ 128 w 133"/>
                    <a:gd name="T69" fmla="*/ 40 h 133"/>
                    <a:gd name="T70" fmla="*/ 132 w 133"/>
                    <a:gd name="T71" fmla="*/ 53 h 133"/>
                    <a:gd name="T72" fmla="*/ 133 w 133"/>
                    <a:gd name="T73" fmla="*/ 66 h 133"/>
                    <a:gd name="T74" fmla="*/ 133 w 133"/>
                    <a:gd name="T75" fmla="*/ 66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3" h="133">
                      <a:moveTo>
                        <a:pt x="133" y="66"/>
                      </a:moveTo>
                      <a:lnTo>
                        <a:pt x="133" y="66"/>
                      </a:lnTo>
                      <a:lnTo>
                        <a:pt x="132" y="79"/>
                      </a:lnTo>
                      <a:lnTo>
                        <a:pt x="128" y="93"/>
                      </a:lnTo>
                      <a:lnTo>
                        <a:pt x="122" y="103"/>
                      </a:lnTo>
                      <a:lnTo>
                        <a:pt x="114" y="114"/>
                      </a:lnTo>
                      <a:lnTo>
                        <a:pt x="104" y="122"/>
                      </a:lnTo>
                      <a:lnTo>
                        <a:pt x="92" y="128"/>
                      </a:lnTo>
                      <a:lnTo>
                        <a:pt x="81" y="132"/>
                      </a:lnTo>
                      <a:lnTo>
                        <a:pt x="66" y="133"/>
                      </a:lnTo>
                      <a:lnTo>
                        <a:pt x="66" y="133"/>
                      </a:lnTo>
                      <a:lnTo>
                        <a:pt x="53" y="132"/>
                      </a:lnTo>
                      <a:lnTo>
                        <a:pt x="40" y="128"/>
                      </a:lnTo>
                      <a:lnTo>
                        <a:pt x="29" y="122"/>
                      </a:lnTo>
                      <a:lnTo>
                        <a:pt x="20" y="114"/>
                      </a:lnTo>
                      <a:lnTo>
                        <a:pt x="12" y="103"/>
                      </a:lnTo>
                      <a:lnTo>
                        <a:pt x="6" y="93"/>
                      </a:lnTo>
                      <a:lnTo>
                        <a:pt x="1" y="79"/>
                      </a:lnTo>
                      <a:lnTo>
                        <a:pt x="0" y="66"/>
                      </a:lnTo>
                      <a:lnTo>
                        <a:pt x="0" y="66"/>
                      </a:lnTo>
                      <a:lnTo>
                        <a:pt x="1" y="53"/>
                      </a:lnTo>
                      <a:lnTo>
                        <a:pt x="6" y="40"/>
                      </a:lnTo>
                      <a:lnTo>
                        <a:pt x="12" y="30"/>
                      </a:lnTo>
                      <a:lnTo>
                        <a:pt x="20" y="19"/>
                      </a:lnTo>
                      <a:lnTo>
                        <a:pt x="29" y="12"/>
                      </a:lnTo>
                      <a:lnTo>
                        <a:pt x="40" y="5"/>
                      </a:lnTo>
                      <a:lnTo>
                        <a:pt x="53" y="1"/>
                      </a:lnTo>
                      <a:lnTo>
                        <a:pt x="66" y="0"/>
                      </a:lnTo>
                      <a:lnTo>
                        <a:pt x="66" y="0"/>
                      </a:lnTo>
                      <a:lnTo>
                        <a:pt x="81" y="1"/>
                      </a:lnTo>
                      <a:lnTo>
                        <a:pt x="92" y="5"/>
                      </a:lnTo>
                      <a:lnTo>
                        <a:pt x="104" y="12"/>
                      </a:lnTo>
                      <a:lnTo>
                        <a:pt x="114" y="19"/>
                      </a:lnTo>
                      <a:lnTo>
                        <a:pt x="122" y="30"/>
                      </a:lnTo>
                      <a:lnTo>
                        <a:pt x="128" y="40"/>
                      </a:lnTo>
                      <a:lnTo>
                        <a:pt x="132" y="53"/>
                      </a:lnTo>
                      <a:lnTo>
                        <a:pt x="133" y="66"/>
                      </a:lnTo>
                      <a:lnTo>
                        <a:pt x="133"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1079" name="그룹 1078"/>
              <p:cNvGrpSpPr/>
              <p:nvPr userDrawn="1"/>
            </p:nvGrpSpPr>
            <p:grpSpPr>
              <a:xfrm flipH="1">
                <a:off x="7458643" y="823747"/>
                <a:ext cx="331564" cy="289238"/>
                <a:chOff x="3459207" y="4846674"/>
                <a:chExt cx="373065" cy="325441"/>
              </a:xfrm>
            </p:grpSpPr>
            <p:sp>
              <p:nvSpPr>
                <p:cNvPr id="1080" name="Freeform 908"/>
                <p:cNvSpPr>
                  <a:spLocks/>
                </p:cNvSpPr>
                <p:nvPr/>
              </p:nvSpPr>
              <p:spPr bwMode="auto">
                <a:xfrm>
                  <a:off x="3525882" y="5059401"/>
                  <a:ext cx="49213" cy="47625"/>
                </a:xfrm>
                <a:custGeom>
                  <a:avLst/>
                  <a:gdLst>
                    <a:gd name="T0" fmla="*/ 79 w 157"/>
                    <a:gd name="T1" fmla="*/ 123 h 149"/>
                    <a:gd name="T2" fmla="*/ 126 w 157"/>
                    <a:gd name="T3" fmla="*/ 149 h 149"/>
                    <a:gd name="T4" fmla="*/ 118 w 157"/>
                    <a:gd name="T5" fmla="*/ 95 h 149"/>
                    <a:gd name="T6" fmla="*/ 157 w 157"/>
                    <a:gd name="T7" fmla="*/ 56 h 149"/>
                    <a:gd name="T8" fmla="*/ 102 w 157"/>
                    <a:gd name="T9" fmla="*/ 49 h 149"/>
                    <a:gd name="T10" fmla="*/ 79 w 157"/>
                    <a:gd name="T11" fmla="*/ 0 h 149"/>
                    <a:gd name="T12" fmla="*/ 54 w 157"/>
                    <a:gd name="T13" fmla="*/ 49 h 149"/>
                    <a:gd name="T14" fmla="*/ 0 w 157"/>
                    <a:gd name="T15" fmla="*/ 56 h 149"/>
                    <a:gd name="T16" fmla="*/ 39 w 157"/>
                    <a:gd name="T17" fmla="*/ 95 h 149"/>
                    <a:gd name="T18" fmla="*/ 30 w 157"/>
                    <a:gd name="T19" fmla="*/ 149 h 149"/>
                    <a:gd name="T20" fmla="*/ 79 w 157"/>
                    <a:gd name="T21" fmla="*/ 12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149">
                      <a:moveTo>
                        <a:pt x="79" y="123"/>
                      </a:moveTo>
                      <a:lnTo>
                        <a:pt x="126" y="149"/>
                      </a:lnTo>
                      <a:lnTo>
                        <a:pt x="118" y="95"/>
                      </a:lnTo>
                      <a:lnTo>
                        <a:pt x="157" y="56"/>
                      </a:lnTo>
                      <a:lnTo>
                        <a:pt x="102" y="49"/>
                      </a:lnTo>
                      <a:lnTo>
                        <a:pt x="79" y="0"/>
                      </a:lnTo>
                      <a:lnTo>
                        <a:pt x="54" y="49"/>
                      </a:lnTo>
                      <a:lnTo>
                        <a:pt x="0" y="56"/>
                      </a:lnTo>
                      <a:lnTo>
                        <a:pt x="39" y="95"/>
                      </a:lnTo>
                      <a:lnTo>
                        <a:pt x="30" y="149"/>
                      </a:lnTo>
                      <a:lnTo>
                        <a:pt x="79" y="12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1" name="Freeform 909"/>
                <p:cNvSpPr>
                  <a:spLocks/>
                </p:cNvSpPr>
                <p:nvPr/>
              </p:nvSpPr>
              <p:spPr bwMode="auto">
                <a:xfrm>
                  <a:off x="3698921" y="4846674"/>
                  <a:ext cx="38100" cy="36513"/>
                </a:xfrm>
                <a:custGeom>
                  <a:avLst/>
                  <a:gdLst>
                    <a:gd name="T0" fmla="*/ 61 w 121"/>
                    <a:gd name="T1" fmla="*/ 95 h 114"/>
                    <a:gd name="T2" fmla="*/ 98 w 121"/>
                    <a:gd name="T3" fmla="*/ 114 h 114"/>
                    <a:gd name="T4" fmla="*/ 91 w 121"/>
                    <a:gd name="T5" fmla="*/ 73 h 114"/>
                    <a:gd name="T6" fmla="*/ 121 w 121"/>
                    <a:gd name="T7" fmla="*/ 44 h 114"/>
                    <a:gd name="T8" fmla="*/ 80 w 121"/>
                    <a:gd name="T9" fmla="*/ 38 h 114"/>
                    <a:gd name="T10" fmla="*/ 61 w 121"/>
                    <a:gd name="T11" fmla="*/ 0 h 114"/>
                    <a:gd name="T12" fmla="*/ 42 w 121"/>
                    <a:gd name="T13" fmla="*/ 38 h 114"/>
                    <a:gd name="T14" fmla="*/ 0 w 121"/>
                    <a:gd name="T15" fmla="*/ 44 h 114"/>
                    <a:gd name="T16" fmla="*/ 31 w 121"/>
                    <a:gd name="T17" fmla="*/ 73 h 114"/>
                    <a:gd name="T18" fmla="*/ 24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1" y="73"/>
                      </a:lnTo>
                      <a:lnTo>
                        <a:pt x="121" y="44"/>
                      </a:lnTo>
                      <a:lnTo>
                        <a:pt x="80" y="38"/>
                      </a:lnTo>
                      <a:lnTo>
                        <a:pt x="61" y="0"/>
                      </a:lnTo>
                      <a:lnTo>
                        <a:pt x="42" y="38"/>
                      </a:lnTo>
                      <a:lnTo>
                        <a:pt x="0" y="44"/>
                      </a:lnTo>
                      <a:lnTo>
                        <a:pt x="31" y="73"/>
                      </a:lnTo>
                      <a:lnTo>
                        <a:pt x="24" y="114"/>
                      </a:lnTo>
                      <a:lnTo>
                        <a:pt x="61" y="95"/>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2" name="Freeform 910"/>
                <p:cNvSpPr>
                  <a:spLocks/>
                </p:cNvSpPr>
                <p:nvPr/>
              </p:nvSpPr>
              <p:spPr bwMode="auto">
                <a:xfrm>
                  <a:off x="3665583" y="5135602"/>
                  <a:ext cx="38100" cy="36513"/>
                </a:xfrm>
                <a:custGeom>
                  <a:avLst/>
                  <a:gdLst>
                    <a:gd name="T0" fmla="*/ 60 w 120"/>
                    <a:gd name="T1" fmla="*/ 95 h 114"/>
                    <a:gd name="T2" fmla="*/ 98 w 120"/>
                    <a:gd name="T3" fmla="*/ 114 h 114"/>
                    <a:gd name="T4" fmla="*/ 91 w 120"/>
                    <a:gd name="T5" fmla="*/ 73 h 114"/>
                    <a:gd name="T6" fmla="*/ 120 w 120"/>
                    <a:gd name="T7" fmla="*/ 43 h 114"/>
                    <a:gd name="T8" fmla="*/ 78 w 120"/>
                    <a:gd name="T9" fmla="*/ 37 h 114"/>
                    <a:gd name="T10" fmla="*/ 60 w 120"/>
                    <a:gd name="T11" fmla="*/ 0 h 114"/>
                    <a:gd name="T12" fmla="*/ 42 w 120"/>
                    <a:gd name="T13" fmla="*/ 37 h 114"/>
                    <a:gd name="T14" fmla="*/ 0 w 120"/>
                    <a:gd name="T15" fmla="*/ 43 h 114"/>
                    <a:gd name="T16" fmla="*/ 31 w 120"/>
                    <a:gd name="T17" fmla="*/ 73 h 114"/>
                    <a:gd name="T18" fmla="*/ 24 w 120"/>
                    <a:gd name="T19" fmla="*/ 114 h 114"/>
                    <a:gd name="T20" fmla="*/ 60 w 120"/>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 h="114">
                      <a:moveTo>
                        <a:pt x="60" y="95"/>
                      </a:moveTo>
                      <a:lnTo>
                        <a:pt x="98" y="114"/>
                      </a:lnTo>
                      <a:lnTo>
                        <a:pt x="91" y="73"/>
                      </a:lnTo>
                      <a:lnTo>
                        <a:pt x="120" y="43"/>
                      </a:lnTo>
                      <a:lnTo>
                        <a:pt x="78" y="37"/>
                      </a:lnTo>
                      <a:lnTo>
                        <a:pt x="60" y="0"/>
                      </a:lnTo>
                      <a:lnTo>
                        <a:pt x="42" y="37"/>
                      </a:lnTo>
                      <a:lnTo>
                        <a:pt x="0" y="43"/>
                      </a:lnTo>
                      <a:lnTo>
                        <a:pt x="31" y="73"/>
                      </a:lnTo>
                      <a:lnTo>
                        <a:pt x="24" y="114"/>
                      </a:lnTo>
                      <a:lnTo>
                        <a:pt x="60"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3" name="Freeform 911"/>
                <p:cNvSpPr>
                  <a:spLocks/>
                </p:cNvSpPr>
                <p:nvPr/>
              </p:nvSpPr>
              <p:spPr bwMode="auto">
                <a:xfrm>
                  <a:off x="3459207" y="4980026"/>
                  <a:ext cx="38100" cy="36513"/>
                </a:xfrm>
                <a:custGeom>
                  <a:avLst/>
                  <a:gdLst>
                    <a:gd name="T0" fmla="*/ 61 w 121"/>
                    <a:gd name="T1" fmla="*/ 95 h 114"/>
                    <a:gd name="T2" fmla="*/ 98 w 121"/>
                    <a:gd name="T3" fmla="*/ 114 h 114"/>
                    <a:gd name="T4" fmla="*/ 90 w 121"/>
                    <a:gd name="T5" fmla="*/ 73 h 114"/>
                    <a:gd name="T6" fmla="*/ 121 w 121"/>
                    <a:gd name="T7" fmla="*/ 44 h 114"/>
                    <a:gd name="T8" fmla="*/ 79 w 121"/>
                    <a:gd name="T9" fmla="*/ 38 h 114"/>
                    <a:gd name="T10" fmla="*/ 61 w 121"/>
                    <a:gd name="T11" fmla="*/ 0 h 114"/>
                    <a:gd name="T12" fmla="*/ 41 w 121"/>
                    <a:gd name="T13" fmla="*/ 38 h 114"/>
                    <a:gd name="T14" fmla="*/ 0 w 121"/>
                    <a:gd name="T15" fmla="*/ 44 h 114"/>
                    <a:gd name="T16" fmla="*/ 31 w 121"/>
                    <a:gd name="T17" fmla="*/ 73 h 114"/>
                    <a:gd name="T18" fmla="*/ 23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0" y="73"/>
                      </a:lnTo>
                      <a:lnTo>
                        <a:pt x="121" y="44"/>
                      </a:lnTo>
                      <a:lnTo>
                        <a:pt x="79" y="38"/>
                      </a:lnTo>
                      <a:lnTo>
                        <a:pt x="61" y="0"/>
                      </a:lnTo>
                      <a:lnTo>
                        <a:pt x="41" y="38"/>
                      </a:lnTo>
                      <a:lnTo>
                        <a:pt x="0" y="44"/>
                      </a:lnTo>
                      <a:lnTo>
                        <a:pt x="31" y="73"/>
                      </a:lnTo>
                      <a:lnTo>
                        <a:pt x="23" y="114"/>
                      </a:lnTo>
                      <a:lnTo>
                        <a:pt x="61"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4" name="Freeform 912"/>
                <p:cNvSpPr>
                  <a:spLocks/>
                </p:cNvSpPr>
                <p:nvPr/>
              </p:nvSpPr>
              <p:spPr bwMode="auto">
                <a:xfrm>
                  <a:off x="3575095" y="4935575"/>
                  <a:ext cx="128588" cy="127001"/>
                </a:xfrm>
                <a:custGeom>
                  <a:avLst/>
                  <a:gdLst>
                    <a:gd name="T0" fmla="*/ 272 w 401"/>
                    <a:gd name="T1" fmla="*/ 130 h 402"/>
                    <a:gd name="T2" fmla="*/ 401 w 401"/>
                    <a:gd name="T3" fmla="*/ 201 h 402"/>
                    <a:gd name="T4" fmla="*/ 272 w 401"/>
                    <a:gd name="T5" fmla="*/ 272 h 402"/>
                    <a:gd name="T6" fmla="*/ 201 w 401"/>
                    <a:gd name="T7" fmla="*/ 402 h 402"/>
                    <a:gd name="T8" fmla="*/ 129 w 401"/>
                    <a:gd name="T9" fmla="*/ 272 h 402"/>
                    <a:gd name="T10" fmla="*/ 0 w 401"/>
                    <a:gd name="T11" fmla="*/ 201 h 402"/>
                    <a:gd name="T12" fmla="*/ 129 w 401"/>
                    <a:gd name="T13" fmla="*/ 130 h 402"/>
                    <a:gd name="T14" fmla="*/ 201 w 401"/>
                    <a:gd name="T15" fmla="*/ 0 h 402"/>
                    <a:gd name="T16" fmla="*/ 272 w 401"/>
                    <a:gd name="T17" fmla="*/ 13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1" h="402">
                      <a:moveTo>
                        <a:pt x="272" y="130"/>
                      </a:moveTo>
                      <a:lnTo>
                        <a:pt x="401" y="201"/>
                      </a:lnTo>
                      <a:lnTo>
                        <a:pt x="272" y="272"/>
                      </a:lnTo>
                      <a:lnTo>
                        <a:pt x="201" y="402"/>
                      </a:lnTo>
                      <a:lnTo>
                        <a:pt x="129" y="272"/>
                      </a:lnTo>
                      <a:lnTo>
                        <a:pt x="0" y="201"/>
                      </a:lnTo>
                      <a:lnTo>
                        <a:pt x="129" y="130"/>
                      </a:lnTo>
                      <a:lnTo>
                        <a:pt x="201" y="0"/>
                      </a:lnTo>
                      <a:lnTo>
                        <a:pt x="27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5" name="Freeform 913"/>
                <p:cNvSpPr>
                  <a:spLocks/>
                </p:cNvSpPr>
                <p:nvPr/>
              </p:nvSpPr>
              <p:spPr bwMode="auto">
                <a:xfrm>
                  <a:off x="3771947" y="4975263"/>
                  <a:ext cx="60325" cy="58738"/>
                </a:xfrm>
                <a:custGeom>
                  <a:avLst/>
                  <a:gdLst>
                    <a:gd name="T0" fmla="*/ 126 w 186"/>
                    <a:gd name="T1" fmla="*/ 59 h 185"/>
                    <a:gd name="T2" fmla="*/ 186 w 186"/>
                    <a:gd name="T3" fmla="*/ 92 h 185"/>
                    <a:gd name="T4" fmla="*/ 126 w 186"/>
                    <a:gd name="T5" fmla="*/ 125 h 185"/>
                    <a:gd name="T6" fmla="*/ 93 w 186"/>
                    <a:gd name="T7" fmla="*/ 185 h 185"/>
                    <a:gd name="T8" fmla="*/ 60 w 186"/>
                    <a:gd name="T9" fmla="*/ 125 h 185"/>
                    <a:gd name="T10" fmla="*/ 0 w 186"/>
                    <a:gd name="T11" fmla="*/ 92 h 185"/>
                    <a:gd name="T12" fmla="*/ 60 w 186"/>
                    <a:gd name="T13" fmla="*/ 59 h 185"/>
                    <a:gd name="T14" fmla="*/ 93 w 186"/>
                    <a:gd name="T15" fmla="*/ 0 h 185"/>
                    <a:gd name="T16" fmla="*/ 126 w 186"/>
                    <a:gd name="T17" fmla="*/ 59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85">
                      <a:moveTo>
                        <a:pt x="126" y="59"/>
                      </a:moveTo>
                      <a:lnTo>
                        <a:pt x="186" y="92"/>
                      </a:lnTo>
                      <a:lnTo>
                        <a:pt x="126" y="125"/>
                      </a:lnTo>
                      <a:lnTo>
                        <a:pt x="93" y="185"/>
                      </a:lnTo>
                      <a:lnTo>
                        <a:pt x="60" y="125"/>
                      </a:lnTo>
                      <a:lnTo>
                        <a:pt x="0" y="92"/>
                      </a:lnTo>
                      <a:lnTo>
                        <a:pt x="60" y="59"/>
                      </a:lnTo>
                      <a:lnTo>
                        <a:pt x="93" y="0"/>
                      </a:lnTo>
                      <a:lnTo>
                        <a:pt x="126" y="59"/>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6" name="Freeform 914"/>
                <p:cNvSpPr>
                  <a:spLocks/>
                </p:cNvSpPr>
                <p:nvPr/>
              </p:nvSpPr>
              <p:spPr bwMode="auto">
                <a:xfrm>
                  <a:off x="3517945" y="4902237"/>
                  <a:ext cx="39688" cy="39688"/>
                </a:xfrm>
                <a:custGeom>
                  <a:avLst/>
                  <a:gdLst>
                    <a:gd name="T0" fmla="*/ 84 w 125"/>
                    <a:gd name="T1" fmla="*/ 40 h 124"/>
                    <a:gd name="T2" fmla="*/ 125 w 125"/>
                    <a:gd name="T3" fmla="*/ 62 h 124"/>
                    <a:gd name="T4" fmla="*/ 84 w 125"/>
                    <a:gd name="T5" fmla="*/ 84 h 124"/>
                    <a:gd name="T6" fmla="*/ 63 w 125"/>
                    <a:gd name="T7" fmla="*/ 124 h 124"/>
                    <a:gd name="T8" fmla="*/ 41 w 125"/>
                    <a:gd name="T9" fmla="*/ 84 h 124"/>
                    <a:gd name="T10" fmla="*/ 0 w 125"/>
                    <a:gd name="T11" fmla="*/ 62 h 124"/>
                    <a:gd name="T12" fmla="*/ 41 w 125"/>
                    <a:gd name="T13" fmla="*/ 40 h 124"/>
                    <a:gd name="T14" fmla="*/ 63 w 125"/>
                    <a:gd name="T15" fmla="*/ 0 h 124"/>
                    <a:gd name="T16" fmla="*/ 84 w 125"/>
                    <a:gd name="T17" fmla="*/ 4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124">
                      <a:moveTo>
                        <a:pt x="84" y="40"/>
                      </a:moveTo>
                      <a:lnTo>
                        <a:pt x="125" y="62"/>
                      </a:lnTo>
                      <a:lnTo>
                        <a:pt x="84" y="84"/>
                      </a:lnTo>
                      <a:lnTo>
                        <a:pt x="63" y="124"/>
                      </a:lnTo>
                      <a:lnTo>
                        <a:pt x="41" y="84"/>
                      </a:lnTo>
                      <a:lnTo>
                        <a:pt x="0" y="62"/>
                      </a:lnTo>
                      <a:lnTo>
                        <a:pt x="41" y="40"/>
                      </a:lnTo>
                      <a:lnTo>
                        <a:pt x="63" y="0"/>
                      </a:lnTo>
                      <a:lnTo>
                        <a:pt x="84"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7" name="Freeform 915"/>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8" name="Freeform 916"/>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89" name="Freeform 917"/>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0" name="Freeform 918"/>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1" name="Freeform 919"/>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2" name="Freeform 920"/>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3" name="Freeform 921"/>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4" name="Freeform 922"/>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5" name="Freeform 923"/>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6" name="Freeform 924"/>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7" name="Freeform 925"/>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98" name="Freeform 926"/>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1141" name="그룹 1140"/>
              <p:cNvGrpSpPr/>
              <p:nvPr userDrawn="1"/>
            </p:nvGrpSpPr>
            <p:grpSpPr>
              <a:xfrm rot="3600000">
                <a:off x="8435473" y="1240784"/>
                <a:ext cx="368751" cy="369285"/>
                <a:chOff x="-5705856" y="-3474720"/>
                <a:chExt cx="1609344" cy="1609344"/>
              </a:xfrm>
            </p:grpSpPr>
            <p:sp>
              <p:nvSpPr>
                <p:cNvPr id="1142" name="자유형 1141"/>
                <p:cNvSpPr/>
                <p:nvPr/>
              </p:nvSpPr>
              <p:spPr>
                <a:xfrm>
                  <a:off x="-4910328" y="-3474720"/>
                  <a:ext cx="237744" cy="1609344"/>
                </a:xfrm>
                <a:custGeom>
                  <a:avLst/>
                  <a:gdLst>
                    <a:gd name="connsiteX0" fmla="*/ 9144 w 237744"/>
                    <a:gd name="connsiteY0" fmla="*/ 0 h 1609344"/>
                    <a:gd name="connsiteX1" fmla="*/ 171313 w 237744"/>
                    <a:gd name="connsiteY1" fmla="*/ 16348 h 1609344"/>
                    <a:gd name="connsiteX2" fmla="*/ 237744 w 237744"/>
                    <a:gd name="connsiteY2" fmla="*/ 33429 h 1609344"/>
                    <a:gd name="connsiteX3" fmla="*/ 237744 w 237744"/>
                    <a:gd name="connsiteY3" fmla="*/ 1575915 h 1609344"/>
                    <a:gd name="connsiteX4" fmla="*/ 171313 w 237744"/>
                    <a:gd name="connsiteY4" fmla="*/ 1592996 h 1609344"/>
                    <a:gd name="connsiteX5" fmla="*/ 9144 w 237744"/>
                    <a:gd name="connsiteY5" fmla="*/ 1609344 h 1609344"/>
                    <a:gd name="connsiteX6" fmla="*/ 0 w 237744"/>
                    <a:gd name="connsiteY6" fmla="*/ 1608883 h 1609344"/>
                    <a:gd name="connsiteX7" fmla="*/ 0 w 237744"/>
                    <a:gd name="connsiteY7" fmla="*/ 462 h 1609344"/>
                    <a:gd name="connsiteX8" fmla="*/ 9144 w 237744"/>
                    <a:gd name="connsiteY8" fmla="*/ 0 h 1609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7744" h="1609344">
                      <a:moveTo>
                        <a:pt x="9144" y="0"/>
                      </a:moveTo>
                      <a:cubicBezTo>
                        <a:pt x="64695" y="0"/>
                        <a:pt x="118931" y="5629"/>
                        <a:pt x="171313" y="16348"/>
                      </a:cubicBezTo>
                      <a:lnTo>
                        <a:pt x="237744" y="33429"/>
                      </a:lnTo>
                      <a:lnTo>
                        <a:pt x="237744" y="1575915"/>
                      </a:lnTo>
                      <a:lnTo>
                        <a:pt x="171313" y="1592996"/>
                      </a:lnTo>
                      <a:cubicBezTo>
                        <a:pt x="118931" y="1603715"/>
                        <a:pt x="64695" y="1609344"/>
                        <a:pt x="9144" y="1609344"/>
                      </a:cubicBezTo>
                      <a:lnTo>
                        <a:pt x="0" y="1608883"/>
                      </a:lnTo>
                      <a:lnTo>
                        <a:pt x="0" y="462"/>
                      </a:lnTo>
                      <a:lnTo>
                        <a:pt x="9144"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143" name="자유형 1142"/>
                <p:cNvSpPr/>
                <p:nvPr/>
              </p:nvSpPr>
              <p:spPr>
                <a:xfrm>
                  <a:off x="-5705856" y="-3448343"/>
                  <a:ext cx="603504" cy="1556593"/>
                </a:xfrm>
                <a:custGeom>
                  <a:avLst/>
                  <a:gdLst>
                    <a:gd name="connsiteX0" fmla="*/ 603504 w 603504"/>
                    <a:gd name="connsiteY0" fmla="*/ 0 h 1556593"/>
                    <a:gd name="connsiteX1" fmla="*/ 603504 w 603504"/>
                    <a:gd name="connsiteY1" fmla="*/ 1556593 h 1556593"/>
                    <a:gd name="connsiteX2" fmla="*/ 565387 w 603504"/>
                    <a:gd name="connsiteY2" fmla="*/ 1546792 h 1556593"/>
                    <a:gd name="connsiteX3" fmla="*/ 0 w 603504"/>
                    <a:gd name="connsiteY3" fmla="*/ 778296 h 1556593"/>
                    <a:gd name="connsiteX4" fmla="*/ 565387 w 603504"/>
                    <a:gd name="connsiteY4" fmla="*/ 9800 h 1556593"/>
                    <a:gd name="connsiteX5" fmla="*/ 603504 w 603504"/>
                    <a:gd name="connsiteY5" fmla="*/ 0 h 1556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3504" h="1556593">
                      <a:moveTo>
                        <a:pt x="603504" y="0"/>
                      </a:moveTo>
                      <a:lnTo>
                        <a:pt x="603504" y="1556593"/>
                      </a:lnTo>
                      <a:lnTo>
                        <a:pt x="565387" y="1546792"/>
                      </a:lnTo>
                      <a:cubicBezTo>
                        <a:pt x="237830" y="1444911"/>
                        <a:pt x="0" y="1139378"/>
                        <a:pt x="0" y="778296"/>
                      </a:cubicBezTo>
                      <a:cubicBezTo>
                        <a:pt x="0" y="417215"/>
                        <a:pt x="237830" y="111681"/>
                        <a:pt x="565387" y="9800"/>
                      </a:cubicBezTo>
                      <a:lnTo>
                        <a:pt x="603504"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144" name="자유형 1143"/>
                <p:cNvSpPr/>
                <p:nvPr/>
              </p:nvSpPr>
              <p:spPr>
                <a:xfrm>
                  <a:off x="-4590288" y="-3412334"/>
                  <a:ext cx="493776" cy="1484572"/>
                </a:xfrm>
                <a:custGeom>
                  <a:avLst/>
                  <a:gdLst>
                    <a:gd name="connsiteX0" fmla="*/ 0 w 493776"/>
                    <a:gd name="connsiteY0" fmla="*/ 0 h 1484572"/>
                    <a:gd name="connsiteX1" fmla="*/ 2319 w 493776"/>
                    <a:gd name="connsiteY1" fmla="*/ 849 h 1484572"/>
                    <a:gd name="connsiteX2" fmla="*/ 493776 w 493776"/>
                    <a:gd name="connsiteY2" fmla="*/ 742286 h 1484572"/>
                    <a:gd name="connsiteX3" fmla="*/ 2319 w 493776"/>
                    <a:gd name="connsiteY3" fmla="*/ 1483723 h 1484572"/>
                    <a:gd name="connsiteX4" fmla="*/ 0 w 493776"/>
                    <a:gd name="connsiteY4" fmla="*/ 1484572 h 1484572"/>
                    <a:gd name="connsiteX5" fmla="*/ 0 w 493776"/>
                    <a:gd name="connsiteY5" fmla="*/ 0 h 1484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6" h="1484572">
                      <a:moveTo>
                        <a:pt x="0" y="0"/>
                      </a:moveTo>
                      <a:lnTo>
                        <a:pt x="2319" y="849"/>
                      </a:lnTo>
                      <a:cubicBezTo>
                        <a:pt x="291128" y="123005"/>
                        <a:pt x="493776" y="408980"/>
                        <a:pt x="493776" y="742286"/>
                      </a:cubicBezTo>
                      <a:cubicBezTo>
                        <a:pt x="493776" y="1075592"/>
                        <a:pt x="291128" y="1361567"/>
                        <a:pt x="2319" y="1483723"/>
                      </a:cubicBezTo>
                      <a:lnTo>
                        <a:pt x="0" y="1484572"/>
                      </a:lnTo>
                      <a:lnTo>
                        <a:pt x="0" y="0"/>
                      </a:lnTo>
                      <a:close/>
                    </a:path>
                  </a:pathLst>
                </a:cu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grpSp>
      </p:grpSp>
      <p:grpSp>
        <p:nvGrpSpPr>
          <p:cNvPr id="98" name="그룹 97"/>
          <p:cNvGrpSpPr/>
          <p:nvPr userDrawn="1"/>
        </p:nvGrpSpPr>
        <p:grpSpPr>
          <a:xfrm>
            <a:off x="52246" y="79592"/>
            <a:ext cx="11824809" cy="6969938"/>
            <a:chOff x="39184" y="55963"/>
            <a:chExt cx="8868607" cy="4900738"/>
          </a:xfrm>
        </p:grpSpPr>
        <p:sp>
          <p:nvSpPr>
            <p:cNvPr id="58" name="포인트가 4개인 별 57"/>
            <p:cNvSpPr/>
            <p:nvPr/>
          </p:nvSpPr>
          <p:spPr>
            <a:xfrm flipH="1">
              <a:off x="7571448" y="1352982"/>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9" name="포인트가 4개인 별 58"/>
            <p:cNvSpPr/>
            <p:nvPr/>
          </p:nvSpPr>
          <p:spPr>
            <a:xfrm flipH="1">
              <a:off x="7011019" y="4668010"/>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0" name="포인트가 4개인 별 59"/>
            <p:cNvSpPr/>
            <p:nvPr/>
          </p:nvSpPr>
          <p:spPr>
            <a:xfrm flipH="1">
              <a:off x="5137081" y="2412994"/>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1" name="포인트가 4개인 별 60"/>
            <p:cNvSpPr/>
            <p:nvPr/>
          </p:nvSpPr>
          <p:spPr>
            <a:xfrm flipH="1">
              <a:off x="4636237" y="4859267"/>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2" name="포인트가 4개인 별 61"/>
            <p:cNvSpPr/>
            <p:nvPr/>
          </p:nvSpPr>
          <p:spPr>
            <a:xfrm flipH="1">
              <a:off x="1921656" y="1952039"/>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7" name="포인트가 4개인 별 66"/>
            <p:cNvSpPr/>
            <p:nvPr/>
          </p:nvSpPr>
          <p:spPr>
            <a:xfrm flipH="1">
              <a:off x="6774810" y="2771934"/>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8" name="포인트가 4개인 별 67"/>
            <p:cNvSpPr/>
            <p:nvPr/>
          </p:nvSpPr>
          <p:spPr>
            <a:xfrm flipH="1">
              <a:off x="4900872" y="516917"/>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9" name="포인트가 4개인 별 68"/>
            <p:cNvSpPr/>
            <p:nvPr/>
          </p:nvSpPr>
          <p:spPr>
            <a:xfrm flipH="1">
              <a:off x="4400028" y="2963191"/>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0" name="포인트가 4개인 별 69"/>
            <p:cNvSpPr/>
            <p:nvPr/>
          </p:nvSpPr>
          <p:spPr>
            <a:xfrm flipH="1">
              <a:off x="1685446" y="55963"/>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1" name="포인트가 4개인 별 70"/>
            <p:cNvSpPr/>
            <p:nvPr/>
          </p:nvSpPr>
          <p:spPr>
            <a:xfrm flipH="1">
              <a:off x="39184" y="4154105"/>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2" name="포인트가 4개인 별 71"/>
            <p:cNvSpPr/>
            <p:nvPr/>
          </p:nvSpPr>
          <p:spPr>
            <a:xfrm flipH="1">
              <a:off x="2456037" y="4170656"/>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3" name="포인트가 4개인 별 72"/>
            <p:cNvSpPr/>
            <p:nvPr/>
          </p:nvSpPr>
          <p:spPr>
            <a:xfrm flipH="1">
              <a:off x="5328240" y="4517024"/>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4" name="포인트가 4개인 별 73"/>
            <p:cNvSpPr/>
            <p:nvPr/>
          </p:nvSpPr>
          <p:spPr>
            <a:xfrm flipH="1">
              <a:off x="8077855" y="3154448"/>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75" name="포인트가 4개인 별 74"/>
            <p:cNvSpPr/>
            <p:nvPr/>
          </p:nvSpPr>
          <p:spPr>
            <a:xfrm flipH="1">
              <a:off x="311515" y="1809356"/>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85" name="포인트가 4개인 별 84"/>
            <p:cNvSpPr/>
            <p:nvPr/>
          </p:nvSpPr>
          <p:spPr>
            <a:xfrm flipH="1">
              <a:off x="817922" y="3610822"/>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86" name="포인트가 4개인 별 85"/>
            <p:cNvSpPr/>
            <p:nvPr/>
          </p:nvSpPr>
          <p:spPr>
            <a:xfrm flipH="1">
              <a:off x="8275976" y="2266241"/>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89" name="포인트가 4개인 별 88"/>
            <p:cNvSpPr/>
            <p:nvPr/>
          </p:nvSpPr>
          <p:spPr>
            <a:xfrm flipH="1">
              <a:off x="8039766" y="370164"/>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90" name="포인트가 4개인 별 89"/>
            <p:cNvSpPr/>
            <p:nvPr/>
          </p:nvSpPr>
          <p:spPr>
            <a:xfrm flipH="1">
              <a:off x="6393504" y="4468307"/>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91" name="포인트가 4개인 별 90"/>
            <p:cNvSpPr/>
            <p:nvPr/>
          </p:nvSpPr>
          <p:spPr>
            <a:xfrm flipH="1">
              <a:off x="8810357" y="4484858"/>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92" name="포인트가 4개인 별 91"/>
            <p:cNvSpPr/>
            <p:nvPr/>
          </p:nvSpPr>
          <p:spPr>
            <a:xfrm flipH="1">
              <a:off x="6665835" y="2123557"/>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95" name="포인트가 4개인 별 94"/>
            <p:cNvSpPr/>
            <p:nvPr/>
          </p:nvSpPr>
          <p:spPr>
            <a:xfrm flipH="1">
              <a:off x="5869197" y="3542509"/>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96" name="포인트가 4개인 별 95"/>
            <p:cNvSpPr/>
            <p:nvPr/>
          </p:nvSpPr>
          <p:spPr>
            <a:xfrm flipH="1">
              <a:off x="7172242" y="3925023"/>
              <a:ext cx="97434" cy="97434"/>
            </a:xfrm>
            <a:prstGeom prst="star4">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7" name="포인트가 4개인 별 46"/>
            <p:cNvSpPr/>
            <p:nvPr userDrawn="1"/>
          </p:nvSpPr>
          <p:spPr>
            <a:xfrm rot="18840000" flipH="1">
              <a:off x="1603727" y="1246512"/>
              <a:ext cx="161344" cy="161344"/>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9" name="포인트가 5개인 별 48"/>
            <p:cNvSpPr/>
            <p:nvPr userDrawn="1"/>
          </p:nvSpPr>
          <p:spPr>
            <a:xfrm flipH="1">
              <a:off x="7108453" y="857994"/>
              <a:ext cx="111924" cy="111924"/>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1" name="포인트가 5개인 별 50"/>
            <p:cNvSpPr/>
            <p:nvPr userDrawn="1"/>
          </p:nvSpPr>
          <p:spPr>
            <a:xfrm rot="1740000" flipH="1">
              <a:off x="954169" y="3691391"/>
              <a:ext cx="111924" cy="111924"/>
            </a:xfrm>
            <a:prstGeom prst="star5">
              <a:avLst>
                <a:gd name="adj" fmla="val 28797"/>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3" name="포인트가 5개인 별 52"/>
            <p:cNvSpPr/>
            <p:nvPr userDrawn="1"/>
          </p:nvSpPr>
          <p:spPr>
            <a:xfrm flipH="1">
              <a:off x="2264025" y="885719"/>
              <a:ext cx="67042" cy="63460"/>
            </a:xfrm>
            <a:prstGeom prst="star5">
              <a:avLst>
                <a:gd name="adj" fmla="val 28797"/>
                <a:gd name="hf" fmla="val 105146"/>
                <a:gd name="vf" fmla="val 11055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6" name="포인트가 4개인 별 55"/>
            <p:cNvSpPr/>
            <p:nvPr userDrawn="1"/>
          </p:nvSpPr>
          <p:spPr>
            <a:xfrm flipH="1">
              <a:off x="3948227" y="3960734"/>
              <a:ext cx="161344" cy="161344"/>
            </a:xfrm>
            <a:prstGeom prst="star4">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7" name="포인트가 4개인 별 56"/>
            <p:cNvSpPr/>
            <p:nvPr userDrawn="1"/>
          </p:nvSpPr>
          <p:spPr>
            <a:xfrm flipH="1">
              <a:off x="4474777" y="1360583"/>
              <a:ext cx="161344" cy="161344"/>
            </a:xfrm>
            <a:prstGeom prst="star4">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sp>
        <p:nvSpPr>
          <p:cNvPr id="1138" name="자유형 1137"/>
          <p:cNvSpPr>
            <a:spLocks/>
          </p:cNvSpPr>
          <p:nvPr userDrawn="1"/>
        </p:nvSpPr>
        <p:spPr bwMode="auto">
          <a:xfrm rot="20844360">
            <a:off x="11956103" y="4439489"/>
            <a:ext cx="260468" cy="250290"/>
          </a:xfrm>
          <a:custGeom>
            <a:avLst/>
            <a:gdLst>
              <a:gd name="connsiteX0" fmla="*/ 195351 w 195351"/>
              <a:gd name="connsiteY0" fmla="*/ 14261 h 175985"/>
              <a:gd name="connsiteX1" fmla="*/ 159219 w 195351"/>
              <a:gd name="connsiteY1" fmla="*/ 175985 h 175985"/>
              <a:gd name="connsiteX2" fmla="*/ 123618 w 195351"/>
              <a:gd name="connsiteY2" fmla="*/ 169872 h 175985"/>
              <a:gd name="connsiteX3" fmla="*/ 24318 w 195351"/>
              <a:gd name="connsiteY3" fmla="*/ 154705 h 175985"/>
              <a:gd name="connsiteX4" fmla="*/ 14186 w 195351"/>
              <a:gd name="connsiteY4" fmla="*/ 76847 h 175985"/>
              <a:gd name="connsiteX5" fmla="*/ 0 w 195351"/>
              <a:gd name="connsiteY5" fmla="*/ 0 h 175985"/>
              <a:gd name="connsiteX6" fmla="*/ 130712 w 195351"/>
              <a:gd name="connsiteY6" fmla="*/ 9100 h 175985"/>
              <a:gd name="connsiteX7" fmla="*/ 195351 w 195351"/>
              <a:gd name="connsiteY7" fmla="*/ 14261 h 175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351" h="175985">
                <a:moveTo>
                  <a:pt x="195351" y="14261"/>
                </a:moveTo>
                <a:lnTo>
                  <a:pt x="159219" y="175985"/>
                </a:lnTo>
                <a:lnTo>
                  <a:pt x="123618" y="169872"/>
                </a:lnTo>
                <a:lnTo>
                  <a:pt x="24318" y="154705"/>
                </a:lnTo>
                <a:lnTo>
                  <a:pt x="14186" y="76847"/>
                </a:lnTo>
                <a:lnTo>
                  <a:pt x="0" y="0"/>
                </a:lnTo>
                <a:lnTo>
                  <a:pt x="130712" y="9100"/>
                </a:lnTo>
                <a:lnTo>
                  <a:pt x="195351" y="14261"/>
                </a:lnTo>
                <a:close/>
              </a:path>
            </a:pathLst>
          </a:custGeom>
          <a:solidFill>
            <a:srgbClr val="FFAF3B">
              <a:alpha val="20000"/>
            </a:srgbClr>
          </a:solidFill>
          <a:ln>
            <a:noFill/>
          </a:ln>
        </p:spPr>
        <p:txBody>
          <a:bodyPr vert="horz" wrap="square" lIns="121920" tIns="60960" rIns="121920" bIns="60960" numCol="1" anchor="t" anchorCtr="0" compatLnSpc="1">
            <a:prstTxWarp prst="textNoShape">
              <a:avLst/>
            </a:prstTxWarp>
            <a:noAutofit/>
          </a:bodyPr>
          <a:lstStyle/>
          <a:p>
            <a:endParaRPr lang="ko-KR" altLang="en-US" sz="2400"/>
          </a:p>
        </p:txBody>
      </p:sp>
      <p:grpSp>
        <p:nvGrpSpPr>
          <p:cNvPr id="7555" name="그룹 7554"/>
          <p:cNvGrpSpPr/>
          <p:nvPr userDrawn="1"/>
        </p:nvGrpSpPr>
        <p:grpSpPr>
          <a:xfrm>
            <a:off x="2436310" y="6779270"/>
            <a:ext cx="609215" cy="522540"/>
            <a:chOff x="1827232" y="3948019"/>
            <a:chExt cx="1460776" cy="1174637"/>
          </a:xfrm>
        </p:grpSpPr>
        <p:sp>
          <p:nvSpPr>
            <p:cNvPr id="1044" name="자유형 1043"/>
            <p:cNvSpPr>
              <a:spLocks/>
            </p:cNvSpPr>
            <p:nvPr/>
          </p:nvSpPr>
          <p:spPr bwMode="auto">
            <a:xfrm rot="2844967">
              <a:off x="1947051" y="4699770"/>
              <a:ext cx="303067" cy="542705"/>
            </a:xfrm>
            <a:custGeom>
              <a:avLst/>
              <a:gdLst>
                <a:gd name="connsiteX0" fmla="*/ 2767 w 303067"/>
                <a:gd name="connsiteY0" fmla="*/ 0 h 542705"/>
                <a:gd name="connsiteX1" fmla="*/ 280925 w 303067"/>
                <a:gd name="connsiteY1" fmla="*/ 0 h 542705"/>
                <a:gd name="connsiteX2" fmla="*/ 303067 w 303067"/>
                <a:gd name="connsiteY2" fmla="*/ 297431 h 542705"/>
                <a:gd name="connsiteX3" fmla="*/ 253248 w 303067"/>
                <a:gd name="connsiteY3" fmla="*/ 252322 h 542705"/>
                <a:gd name="connsiteX4" fmla="*/ 236777 w 303067"/>
                <a:gd name="connsiteY4" fmla="*/ 433345 h 542705"/>
                <a:gd name="connsiteX5" fmla="*/ 154335 w 303067"/>
                <a:gd name="connsiteY5" fmla="*/ 523050 h 542705"/>
                <a:gd name="connsiteX6" fmla="*/ 130083 w 303067"/>
                <a:gd name="connsiteY6" fmla="*/ 315755 h 542705"/>
                <a:gd name="connsiteX7" fmla="*/ 98254 w 303067"/>
                <a:gd name="connsiteY7" fmla="*/ 427116 h 542705"/>
                <a:gd name="connsiteX8" fmla="*/ 76112 w 303067"/>
                <a:gd name="connsiteY8" fmla="*/ 503235 h 542705"/>
                <a:gd name="connsiteX9" fmla="*/ 65041 w 303067"/>
                <a:gd name="connsiteY9" fmla="*/ 542705 h 542705"/>
                <a:gd name="connsiteX10" fmla="*/ 52587 w 303067"/>
                <a:gd name="connsiteY10" fmla="*/ 329852 h 542705"/>
                <a:gd name="connsiteX11" fmla="*/ 41515 w 303067"/>
                <a:gd name="connsiteY11" fmla="*/ 111361 h 542705"/>
                <a:gd name="connsiteX12" fmla="*/ 0 w 303067"/>
                <a:gd name="connsiteY12" fmla="*/ 133914 h 542705"/>
                <a:gd name="connsiteX13" fmla="*/ 2767 w 303067"/>
                <a:gd name="connsiteY13" fmla="*/ 0 h 542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067" h="542705">
                  <a:moveTo>
                    <a:pt x="2767" y="0"/>
                  </a:moveTo>
                  <a:lnTo>
                    <a:pt x="280925" y="0"/>
                  </a:lnTo>
                  <a:lnTo>
                    <a:pt x="303067" y="297431"/>
                  </a:lnTo>
                  <a:lnTo>
                    <a:pt x="253248" y="252322"/>
                  </a:lnTo>
                  <a:lnTo>
                    <a:pt x="236777" y="433345"/>
                  </a:lnTo>
                  <a:lnTo>
                    <a:pt x="154335" y="523050"/>
                  </a:lnTo>
                  <a:lnTo>
                    <a:pt x="130083" y="315755"/>
                  </a:lnTo>
                  <a:lnTo>
                    <a:pt x="98254" y="427116"/>
                  </a:lnTo>
                  <a:lnTo>
                    <a:pt x="76112" y="503235"/>
                  </a:lnTo>
                  <a:lnTo>
                    <a:pt x="65041" y="542705"/>
                  </a:lnTo>
                  <a:lnTo>
                    <a:pt x="52587" y="329852"/>
                  </a:lnTo>
                  <a:lnTo>
                    <a:pt x="41515" y="111361"/>
                  </a:lnTo>
                  <a:lnTo>
                    <a:pt x="0" y="133914"/>
                  </a:lnTo>
                  <a:lnTo>
                    <a:pt x="2767" y="0"/>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ko-KR" altLang="en-US" sz="2400"/>
            </a:p>
          </p:txBody>
        </p:sp>
        <p:sp>
          <p:nvSpPr>
            <p:cNvPr id="997" name="Freeform 487"/>
            <p:cNvSpPr>
              <a:spLocks/>
            </p:cNvSpPr>
            <p:nvPr/>
          </p:nvSpPr>
          <p:spPr bwMode="auto">
            <a:xfrm rot="2844967">
              <a:off x="2207165" y="4288451"/>
              <a:ext cx="232588" cy="281926"/>
            </a:xfrm>
            <a:custGeom>
              <a:avLst/>
              <a:gdLst>
                <a:gd name="T0" fmla="*/ 42 w 165"/>
                <a:gd name="T1" fmla="*/ 199 h 199"/>
                <a:gd name="T2" fmla="*/ 165 w 165"/>
                <a:gd name="T3" fmla="*/ 156 h 199"/>
                <a:gd name="T4" fmla="*/ 159 w 165"/>
                <a:gd name="T5" fmla="*/ 0 h 199"/>
                <a:gd name="T6" fmla="*/ 0 w 165"/>
                <a:gd name="T7" fmla="*/ 99 h 199"/>
                <a:gd name="T8" fmla="*/ 42 w 165"/>
                <a:gd name="T9" fmla="*/ 199 h 199"/>
              </a:gdLst>
              <a:ahLst/>
              <a:cxnLst>
                <a:cxn ang="0">
                  <a:pos x="T0" y="T1"/>
                </a:cxn>
                <a:cxn ang="0">
                  <a:pos x="T2" y="T3"/>
                </a:cxn>
                <a:cxn ang="0">
                  <a:pos x="T4" y="T5"/>
                </a:cxn>
                <a:cxn ang="0">
                  <a:pos x="T6" y="T7"/>
                </a:cxn>
                <a:cxn ang="0">
                  <a:pos x="T8" y="T9"/>
                </a:cxn>
              </a:cxnLst>
              <a:rect l="0" t="0" r="r" b="b"/>
              <a:pathLst>
                <a:path w="165" h="199">
                  <a:moveTo>
                    <a:pt x="42" y="199"/>
                  </a:moveTo>
                  <a:lnTo>
                    <a:pt x="165" y="156"/>
                  </a:lnTo>
                  <a:lnTo>
                    <a:pt x="159" y="0"/>
                  </a:lnTo>
                  <a:lnTo>
                    <a:pt x="0" y="99"/>
                  </a:lnTo>
                  <a:lnTo>
                    <a:pt x="42" y="1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8" name="Rectangle 488"/>
            <p:cNvSpPr>
              <a:spLocks noChangeArrowheads="1"/>
            </p:cNvSpPr>
            <p:nvPr/>
          </p:nvSpPr>
          <p:spPr bwMode="auto">
            <a:xfrm rot="2844967">
              <a:off x="3070368" y="3976130"/>
              <a:ext cx="14096" cy="162107"/>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999" name="Freeform 489"/>
            <p:cNvSpPr>
              <a:spLocks/>
            </p:cNvSpPr>
            <p:nvPr/>
          </p:nvSpPr>
          <p:spPr bwMode="auto">
            <a:xfrm rot="2844967">
              <a:off x="2123467" y="4727200"/>
              <a:ext cx="169153" cy="28192"/>
            </a:xfrm>
            <a:custGeom>
              <a:avLst/>
              <a:gdLst>
                <a:gd name="T0" fmla="*/ 0 w 120"/>
                <a:gd name="T1" fmla="*/ 0 h 20"/>
                <a:gd name="T2" fmla="*/ 0 w 120"/>
                <a:gd name="T3" fmla="*/ 0 h 20"/>
                <a:gd name="T4" fmla="*/ 0 w 120"/>
                <a:gd name="T5" fmla="*/ 3 h 20"/>
                <a:gd name="T6" fmla="*/ 3 w 120"/>
                <a:gd name="T7" fmla="*/ 4 h 20"/>
                <a:gd name="T8" fmla="*/ 9 w 120"/>
                <a:gd name="T9" fmla="*/ 8 h 20"/>
                <a:gd name="T10" fmla="*/ 20 w 120"/>
                <a:gd name="T11" fmla="*/ 11 h 20"/>
                <a:gd name="T12" fmla="*/ 34 w 120"/>
                <a:gd name="T13" fmla="*/ 15 h 20"/>
                <a:gd name="T14" fmla="*/ 53 w 120"/>
                <a:gd name="T15" fmla="*/ 17 h 20"/>
                <a:gd name="T16" fmla="*/ 73 w 120"/>
                <a:gd name="T17" fmla="*/ 19 h 20"/>
                <a:gd name="T18" fmla="*/ 95 w 120"/>
                <a:gd name="T19" fmla="*/ 20 h 20"/>
                <a:gd name="T20" fmla="*/ 120 w 120"/>
                <a:gd name="T21" fmla="*/ 20 h 20"/>
                <a:gd name="T22" fmla="*/ 120 w 120"/>
                <a:gd name="T23" fmla="*/ 0 h 20"/>
                <a:gd name="T24" fmla="*/ 0 w 120"/>
                <a:gd name="T2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20">
                  <a:moveTo>
                    <a:pt x="0" y="0"/>
                  </a:moveTo>
                  <a:lnTo>
                    <a:pt x="0" y="0"/>
                  </a:lnTo>
                  <a:lnTo>
                    <a:pt x="0" y="3"/>
                  </a:lnTo>
                  <a:lnTo>
                    <a:pt x="3" y="4"/>
                  </a:lnTo>
                  <a:lnTo>
                    <a:pt x="9" y="8"/>
                  </a:lnTo>
                  <a:lnTo>
                    <a:pt x="20" y="11"/>
                  </a:lnTo>
                  <a:lnTo>
                    <a:pt x="34" y="15"/>
                  </a:lnTo>
                  <a:lnTo>
                    <a:pt x="53" y="17"/>
                  </a:lnTo>
                  <a:lnTo>
                    <a:pt x="73" y="19"/>
                  </a:lnTo>
                  <a:lnTo>
                    <a:pt x="95" y="20"/>
                  </a:lnTo>
                  <a:lnTo>
                    <a:pt x="120" y="20"/>
                  </a:lnTo>
                  <a:lnTo>
                    <a:pt x="120" y="0"/>
                  </a:lnTo>
                  <a:lnTo>
                    <a:pt x="0"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0" name="Freeform 490"/>
            <p:cNvSpPr>
              <a:spLocks/>
            </p:cNvSpPr>
            <p:nvPr/>
          </p:nvSpPr>
          <p:spPr bwMode="auto">
            <a:xfrm rot="2844967">
              <a:off x="2531430" y="3813894"/>
              <a:ext cx="239633" cy="944446"/>
            </a:xfrm>
            <a:custGeom>
              <a:avLst/>
              <a:gdLst>
                <a:gd name="T0" fmla="*/ 173 w 173"/>
                <a:gd name="T1" fmla="*/ 0 h 669"/>
                <a:gd name="T2" fmla="*/ 173 w 173"/>
                <a:gd name="T3" fmla="*/ 669 h 669"/>
                <a:gd name="T4" fmla="*/ 70 w 173"/>
                <a:gd name="T5" fmla="*/ 669 h 669"/>
                <a:gd name="T6" fmla="*/ 70 w 173"/>
                <a:gd name="T7" fmla="*/ 669 h 669"/>
                <a:gd name="T8" fmla="*/ 67 w 173"/>
                <a:gd name="T9" fmla="*/ 665 h 669"/>
                <a:gd name="T10" fmla="*/ 59 w 173"/>
                <a:gd name="T11" fmla="*/ 651 h 669"/>
                <a:gd name="T12" fmla="*/ 47 w 173"/>
                <a:gd name="T13" fmla="*/ 629 h 669"/>
                <a:gd name="T14" fmla="*/ 35 w 173"/>
                <a:gd name="T15" fmla="*/ 599 h 669"/>
                <a:gd name="T16" fmla="*/ 28 w 173"/>
                <a:gd name="T17" fmla="*/ 580 h 669"/>
                <a:gd name="T18" fmla="*/ 22 w 173"/>
                <a:gd name="T19" fmla="*/ 560 h 669"/>
                <a:gd name="T20" fmla="*/ 15 w 173"/>
                <a:gd name="T21" fmla="*/ 538 h 669"/>
                <a:gd name="T22" fmla="*/ 11 w 173"/>
                <a:gd name="T23" fmla="*/ 513 h 669"/>
                <a:gd name="T24" fmla="*/ 6 w 173"/>
                <a:gd name="T25" fmla="*/ 487 h 669"/>
                <a:gd name="T26" fmla="*/ 2 w 173"/>
                <a:gd name="T27" fmla="*/ 458 h 669"/>
                <a:gd name="T28" fmla="*/ 1 w 173"/>
                <a:gd name="T29" fmla="*/ 429 h 669"/>
                <a:gd name="T30" fmla="*/ 0 w 173"/>
                <a:gd name="T31" fmla="*/ 398 h 669"/>
                <a:gd name="T32" fmla="*/ 0 w 173"/>
                <a:gd name="T33" fmla="*/ 398 h 669"/>
                <a:gd name="T34" fmla="*/ 0 w 173"/>
                <a:gd name="T35" fmla="*/ 382 h 669"/>
                <a:gd name="T36" fmla="*/ 1 w 173"/>
                <a:gd name="T37" fmla="*/ 365 h 669"/>
                <a:gd name="T38" fmla="*/ 6 w 173"/>
                <a:gd name="T39" fmla="*/ 330 h 669"/>
                <a:gd name="T40" fmla="*/ 13 w 173"/>
                <a:gd name="T41" fmla="*/ 296 h 669"/>
                <a:gd name="T42" fmla="*/ 22 w 173"/>
                <a:gd name="T43" fmla="*/ 262 h 669"/>
                <a:gd name="T44" fmla="*/ 34 w 173"/>
                <a:gd name="T45" fmla="*/ 229 h 669"/>
                <a:gd name="T46" fmla="*/ 46 w 173"/>
                <a:gd name="T47" fmla="*/ 196 h 669"/>
                <a:gd name="T48" fmla="*/ 59 w 173"/>
                <a:gd name="T49" fmla="*/ 165 h 669"/>
                <a:gd name="T50" fmla="*/ 74 w 173"/>
                <a:gd name="T51" fmla="*/ 134 h 669"/>
                <a:gd name="T52" fmla="*/ 89 w 173"/>
                <a:gd name="T53" fmla="*/ 106 h 669"/>
                <a:gd name="T54" fmla="*/ 103 w 173"/>
                <a:gd name="T55" fmla="*/ 81 h 669"/>
                <a:gd name="T56" fmla="*/ 118 w 173"/>
                <a:gd name="T57" fmla="*/ 57 h 669"/>
                <a:gd name="T58" fmla="*/ 133 w 173"/>
                <a:gd name="T59" fmla="*/ 38 h 669"/>
                <a:gd name="T60" fmla="*/ 145 w 173"/>
                <a:gd name="T61" fmla="*/ 22 h 669"/>
                <a:gd name="T62" fmla="*/ 156 w 173"/>
                <a:gd name="T63" fmla="*/ 11 h 669"/>
                <a:gd name="T64" fmla="*/ 165 w 173"/>
                <a:gd name="T65" fmla="*/ 4 h 669"/>
                <a:gd name="T66" fmla="*/ 169 w 173"/>
                <a:gd name="T67" fmla="*/ 1 h 669"/>
                <a:gd name="T68" fmla="*/ 173 w 173"/>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669">
                  <a:moveTo>
                    <a:pt x="173" y="0"/>
                  </a:moveTo>
                  <a:lnTo>
                    <a:pt x="173" y="669"/>
                  </a:lnTo>
                  <a:lnTo>
                    <a:pt x="70" y="669"/>
                  </a:lnTo>
                  <a:lnTo>
                    <a:pt x="70" y="669"/>
                  </a:lnTo>
                  <a:lnTo>
                    <a:pt x="67" y="665"/>
                  </a:lnTo>
                  <a:lnTo>
                    <a:pt x="59" y="651"/>
                  </a:lnTo>
                  <a:lnTo>
                    <a:pt x="47" y="629"/>
                  </a:lnTo>
                  <a:lnTo>
                    <a:pt x="35" y="599"/>
                  </a:lnTo>
                  <a:lnTo>
                    <a:pt x="28" y="580"/>
                  </a:lnTo>
                  <a:lnTo>
                    <a:pt x="22" y="560"/>
                  </a:lnTo>
                  <a:lnTo>
                    <a:pt x="15" y="538"/>
                  </a:lnTo>
                  <a:lnTo>
                    <a:pt x="11" y="513"/>
                  </a:lnTo>
                  <a:lnTo>
                    <a:pt x="6" y="487"/>
                  </a:lnTo>
                  <a:lnTo>
                    <a:pt x="2" y="458"/>
                  </a:lnTo>
                  <a:lnTo>
                    <a:pt x="1" y="429"/>
                  </a:lnTo>
                  <a:lnTo>
                    <a:pt x="0" y="398"/>
                  </a:lnTo>
                  <a:lnTo>
                    <a:pt x="0" y="398"/>
                  </a:lnTo>
                  <a:lnTo>
                    <a:pt x="0" y="382"/>
                  </a:lnTo>
                  <a:lnTo>
                    <a:pt x="1" y="365"/>
                  </a:lnTo>
                  <a:lnTo>
                    <a:pt x="6" y="330"/>
                  </a:lnTo>
                  <a:lnTo>
                    <a:pt x="13" y="296"/>
                  </a:lnTo>
                  <a:lnTo>
                    <a:pt x="22" y="262"/>
                  </a:lnTo>
                  <a:lnTo>
                    <a:pt x="34" y="229"/>
                  </a:lnTo>
                  <a:lnTo>
                    <a:pt x="46" y="196"/>
                  </a:lnTo>
                  <a:lnTo>
                    <a:pt x="59" y="165"/>
                  </a:lnTo>
                  <a:lnTo>
                    <a:pt x="74" y="134"/>
                  </a:lnTo>
                  <a:lnTo>
                    <a:pt x="89" y="106"/>
                  </a:lnTo>
                  <a:lnTo>
                    <a:pt x="103" y="81"/>
                  </a:lnTo>
                  <a:lnTo>
                    <a:pt x="118" y="57"/>
                  </a:lnTo>
                  <a:lnTo>
                    <a:pt x="133" y="38"/>
                  </a:lnTo>
                  <a:lnTo>
                    <a:pt x="145" y="22"/>
                  </a:lnTo>
                  <a:lnTo>
                    <a:pt x="156" y="11"/>
                  </a:lnTo>
                  <a:lnTo>
                    <a:pt x="165" y="4"/>
                  </a:lnTo>
                  <a:lnTo>
                    <a:pt x="169" y="1"/>
                  </a:lnTo>
                  <a:lnTo>
                    <a:pt x="17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1" name="Freeform 491"/>
            <p:cNvSpPr>
              <a:spLocks/>
            </p:cNvSpPr>
            <p:nvPr/>
          </p:nvSpPr>
          <p:spPr bwMode="auto">
            <a:xfrm rot="2844967">
              <a:off x="2531430" y="3813894"/>
              <a:ext cx="239633" cy="944446"/>
            </a:xfrm>
            <a:custGeom>
              <a:avLst/>
              <a:gdLst>
                <a:gd name="T0" fmla="*/ 173 w 173"/>
                <a:gd name="T1" fmla="*/ 0 h 669"/>
                <a:gd name="T2" fmla="*/ 173 w 173"/>
                <a:gd name="T3" fmla="*/ 669 h 669"/>
                <a:gd name="T4" fmla="*/ 70 w 173"/>
                <a:gd name="T5" fmla="*/ 669 h 669"/>
                <a:gd name="T6" fmla="*/ 70 w 173"/>
                <a:gd name="T7" fmla="*/ 669 h 669"/>
                <a:gd name="T8" fmla="*/ 67 w 173"/>
                <a:gd name="T9" fmla="*/ 665 h 669"/>
                <a:gd name="T10" fmla="*/ 59 w 173"/>
                <a:gd name="T11" fmla="*/ 651 h 669"/>
                <a:gd name="T12" fmla="*/ 47 w 173"/>
                <a:gd name="T13" fmla="*/ 629 h 669"/>
                <a:gd name="T14" fmla="*/ 35 w 173"/>
                <a:gd name="T15" fmla="*/ 599 h 669"/>
                <a:gd name="T16" fmla="*/ 28 w 173"/>
                <a:gd name="T17" fmla="*/ 580 h 669"/>
                <a:gd name="T18" fmla="*/ 22 w 173"/>
                <a:gd name="T19" fmla="*/ 560 h 669"/>
                <a:gd name="T20" fmla="*/ 15 w 173"/>
                <a:gd name="T21" fmla="*/ 538 h 669"/>
                <a:gd name="T22" fmla="*/ 11 w 173"/>
                <a:gd name="T23" fmla="*/ 513 h 669"/>
                <a:gd name="T24" fmla="*/ 6 w 173"/>
                <a:gd name="T25" fmla="*/ 487 h 669"/>
                <a:gd name="T26" fmla="*/ 2 w 173"/>
                <a:gd name="T27" fmla="*/ 458 h 669"/>
                <a:gd name="T28" fmla="*/ 1 w 173"/>
                <a:gd name="T29" fmla="*/ 429 h 669"/>
                <a:gd name="T30" fmla="*/ 0 w 173"/>
                <a:gd name="T31" fmla="*/ 398 h 669"/>
                <a:gd name="T32" fmla="*/ 0 w 173"/>
                <a:gd name="T33" fmla="*/ 398 h 669"/>
                <a:gd name="T34" fmla="*/ 0 w 173"/>
                <a:gd name="T35" fmla="*/ 382 h 669"/>
                <a:gd name="T36" fmla="*/ 1 w 173"/>
                <a:gd name="T37" fmla="*/ 365 h 669"/>
                <a:gd name="T38" fmla="*/ 6 w 173"/>
                <a:gd name="T39" fmla="*/ 330 h 669"/>
                <a:gd name="T40" fmla="*/ 13 w 173"/>
                <a:gd name="T41" fmla="*/ 296 h 669"/>
                <a:gd name="T42" fmla="*/ 22 w 173"/>
                <a:gd name="T43" fmla="*/ 262 h 669"/>
                <a:gd name="T44" fmla="*/ 34 w 173"/>
                <a:gd name="T45" fmla="*/ 229 h 669"/>
                <a:gd name="T46" fmla="*/ 46 w 173"/>
                <a:gd name="T47" fmla="*/ 196 h 669"/>
                <a:gd name="T48" fmla="*/ 59 w 173"/>
                <a:gd name="T49" fmla="*/ 165 h 669"/>
                <a:gd name="T50" fmla="*/ 74 w 173"/>
                <a:gd name="T51" fmla="*/ 134 h 669"/>
                <a:gd name="T52" fmla="*/ 89 w 173"/>
                <a:gd name="T53" fmla="*/ 106 h 669"/>
                <a:gd name="T54" fmla="*/ 103 w 173"/>
                <a:gd name="T55" fmla="*/ 81 h 669"/>
                <a:gd name="T56" fmla="*/ 118 w 173"/>
                <a:gd name="T57" fmla="*/ 57 h 669"/>
                <a:gd name="T58" fmla="*/ 133 w 173"/>
                <a:gd name="T59" fmla="*/ 38 h 669"/>
                <a:gd name="T60" fmla="*/ 145 w 173"/>
                <a:gd name="T61" fmla="*/ 22 h 669"/>
                <a:gd name="T62" fmla="*/ 156 w 173"/>
                <a:gd name="T63" fmla="*/ 11 h 669"/>
                <a:gd name="T64" fmla="*/ 165 w 173"/>
                <a:gd name="T65" fmla="*/ 4 h 669"/>
                <a:gd name="T66" fmla="*/ 169 w 173"/>
                <a:gd name="T67" fmla="*/ 1 h 669"/>
                <a:gd name="T68" fmla="*/ 173 w 173"/>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669">
                  <a:moveTo>
                    <a:pt x="173" y="0"/>
                  </a:moveTo>
                  <a:lnTo>
                    <a:pt x="173" y="669"/>
                  </a:lnTo>
                  <a:lnTo>
                    <a:pt x="70" y="669"/>
                  </a:lnTo>
                  <a:lnTo>
                    <a:pt x="70" y="669"/>
                  </a:lnTo>
                  <a:lnTo>
                    <a:pt x="67" y="665"/>
                  </a:lnTo>
                  <a:lnTo>
                    <a:pt x="59" y="651"/>
                  </a:lnTo>
                  <a:lnTo>
                    <a:pt x="47" y="629"/>
                  </a:lnTo>
                  <a:lnTo>
                    <a:pt x="35" y="599"/>
                  </a:lnTo>
                  <a:lnTo>
                    <a:pt x="28" y="580"/>
                  </a:lnTo>
                  <a:lnTo>
                    <a:pt x="22" y="560"/>
                  </a:lnTo>
                  <a:lnTo>
                    <a:pt x="15" y="538"/>
                  </a:lnTo>
                  <a:lnTo>
                    <a:pt x="11" y="513"/>
                  </a:lnTo>
                  <a:lnTo>
                    <a:pt x="6" y="487"/>
                  </a:lnTo>
                  <a:lnTo>
                    <a:pt x="2" y="458"/>
                  </a:lnTo>
                  <a:lnTo>
                    <a:pt x="1" y="429"/>
                  </a:lnTo>
                  <a:lnTo>
                    <a:pt x="0" y="398"/>
                  </a:lnTo>
                  <a:lnTo>
                    <a:pt x="0" y="398"/>
                  </a:lnTo>
                  <a:lnTo>
                    <a:pt x="0" y="382"/>
                  </a:lnTo>
                  <a:lnTo>
                    <a:pt x="1" y="365"/>
                  </a:lnTo>
                  <a:lnTo>
                    <a:pt x="6" y="330"/>
                  </a:lnTo>
                  <a:lnTo>
                    <a:pt x="13" y="296"/>
                  </a:lnTo>
                  <a:lnTo>
                    <a:pt x="22" y="262"/>
                  </a:lnTo>
                  <a:lnTo>
                    <a:pt x="34" y="229"/>
                  </a:lnTo>
                  <a:lnTo>
                    <a:pt x="46" y="196"/>
                  </a:lnTo>
                  <a:lnTo>
                    <a:pt x="59" y="165"/>
                  </a:lnTo>
                  <a:lnTo>
                    <a:pt x="74" y="134"/>
                  </a:lnTo>
                  <a:lnTo>
                    <a:pt x="89" y="106"/>
                  </a:lnTo>
                  <a:lnTo>
                    <a:pt x="103" y="81"/>
                  </a:lnTo>
                  <a:lnTo>
                    <a:pt x="118" y="57"/>
                  </a:lnTo>
                  <a:lnTo>
                    <a:pt x="133" y="38"/>
                  </a:lnTo>
                  <a:lnTo>
                    <a:pt x="145" y="22"/>
                  </a:lnTo>
                  <a:lnTo>
                    <a:pt x="156" y="11"/>
                  </a:lnTo>
                  <a:lnTo>
                    <a:pt x="165" y="4"/>
                  </a:lnTo>
                  <a:lnTo>
                    <a:pt x="169" y="1"/>
                  </a:lnTo>
                  <a:lnTo>
                    <a:pt x="17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2" name="Freeform 492"/>
            <p:cNvSpPr>
              <a:spLocks/>
            </p:cNvSpPr>
            <p:nvPr/>
          </p:nvSpPr>
          <p:spPr bwMode="auto">
            <a:xfrm rot="2844967">
              <a:off x="2909509" y="3979923"/>
              <a:ext cx="119819" cy="190299"/>
            </a:xfrm>
            <a:custGeom>
              <a:avLst/>
              <a:gdLst>
                <a:gd name="T0" fmla="*/ 0 w 88"/>
                <a:gd name="T1" fmla="*/ 113 h 132"/>
                <a:gd name="T2" fmla="*/ 0 w 88"/>
                <a:gd name="T3" fmla="*/ 113 h 132"/>
                <a:gd name="T4" fmla="*/ 19 w 88"/>
                <a:gd name="T5" fmla="*/ 121 h 132"/>
                <a:gd name="T6" fmla="*/ 41 w 88"/>
                <a:gd name="T7" fmla="*/ 127 h 132"/>
                <a:gd name="T8" fmla="*/ 65 w 88"/>
                <a:gd name="T9" fmla="*/ 131 h 132"/>
                <a:gd name="T10" fmla="*/ 88 w 88"/>
                <a:gd name="T11" fmla="*/ 132 h 132"/>
                <a:gd name="T12" fmla="*/ 88 w 88"/>
                <a:gd name="T13" fmla="*/ 0 h 132"/>
                <a:gd name="T14" fmla="*/ 88 w 88"/>
                <a:gd name="T15" fmla="*/ 0 h 132"/>
                <a:gd name="T16" fmla="*/ 85 w 88"/>
                <a:gd name="T17" fmla="*/ 1 h 132"/>
                <a:gd name="T18" fmla="*/ 82 w 88"/>
                <a:gd name="T19" fmla="*/ 3 h 132"/>
                <a:gd name="T20" fmla="*/ 73 w 88"/>
                <a:gd name="T21" fmla="*/ 9 h 132"/>
                <a:gd name="T22" fmla="*/ 63 w 88"/>
                <a:gd name="T23" fmla="*/ 18 h 132"/>
                <a:gd name="T24" fmla="*/ 52 w 88"/>
                <a:gd name="T25" fmla="*/ 32 h 132"/>
                <a:gd name="T26" fmla="*/ 40 w 88"/>
                <a:gd name="T27" fmla="*/ 49 h 132"/>
                <a:gd name="T28" fmla="*/ 27 w 88"/>
                <a:gd name="T29" fmla="*/ 67 h 132"/>
                <a:gd name="T30" fmla="*/ 13 w 88"/>
                <a:gd name="T31" fmla="*/ 89 h 132"/>
                <a:gd name="T32" fmla="*/ 0 w 88"/>
                <a:gd name="T33" fmla="*/ 113 h 132"/>
                <a:gd name="T34" fmla="*/ 0 w 88"/>
                <a:gd name="T35" fmla="*/ 11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132">
                  <a:moveTo>
                    <a:pt x="0" y="113"/>
                  </a:moveTo>
                  <a:lnTo>
                    <a:pt x="0" y="113"/>
                  </a:lnTo>
                  <a:lnTo>
                    <a:pt x="19" y="121"/>
                  </a:lnTo>
                  <a:lnTo>
                    <a:pt x="41" y="127"/>
                  </a:lnTo>
                  <a:lnTo>
                    <a:pt x="65" y="131"/>
                  </a:lnTo>
                  <a:lnTo>
                    <a:pt x="88" y="132"/>
                  </a:lnTo>
                  <a:lnTo>
                    <a:pt x="88" y="0"/>
                  </a:lnTo>
                  <a:lnTo>
                    <a:pt x="88" y="0"/>
                  </a:lnTo>
                  <a:lnTo>
                    <a:pt x="85" y="1"/>
                  </a:lnTo>
                  <a:lnTo>
                    <a:pt x="82" y="3"/>
                  </a:lnTo>
                  <a:lnTo>
                    <a:pt x="73" y="9"/>
                  </a:lnTo>
                  <a:lnTo>
                    <a:pt x="63" y="18"/>
                  </a:lnTo>
                  <a:lnTo>
                    <a:pt x="52" y="32"/>
                  </a:lnTo>
                  <a:lnTo>
                    <a:pt x="40" y="49"/>
                  </a:lnTo>
                  <a:lnTo>
                    <a:pt x="27" y="67"/>
                  </a:lnTo>
                  <a:lnTo>
                    <a:pt x="13" y="89"/>
                  </a:lnTo>
                  <a:lnTo>
                    <a:pt x="0" y="113"/>
                  </a:lnTo>
                  <a:lnTo>
                    <a:pt x="0" y="11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3" name="Freeform 493"/>
            <p:cNvSpPr>
              <a:spLocks/>
            </p:cNvSpPr>
            <p:nvPr/>
          </p:nvSpPr>
          <p:spPr bwMode="auto">
            <a:xfrm rot="2844967">
              <a:off x="2059911" y="4312130"/>
              <a:ext cx="169153" cy="324214"/>
            </a:xfrm>
            <a:custGeom>
              <a:avLst/>
              <a:gdLst>
                <a:gd name="T0" fmla="*/ 108 w 119"/>
                <a:gd name="T1" fmla="*/ 234 h 234"/>
                <a:gd name="T2" fmla="*/ 119 w 119"/>
                <a:gd name="T3" fmla="*/ 189 h 234"/>
                <a:gd name="T4" fmla="*/ 37 w 119"/>
                <a:gd name="T5" fmla="*/ 0 h 234"/>
                <a:gd name="T6" fmla="*/ 0 w 119"/>
                <a:gd name="T7" fmla="*/ 23 h 234"/>
                <a:gd name="T8" fmla="*/ 108 w 119"/>
                <a:gd name="T9" fmla="*/ 234 h 234"/>
              </a:gdLst>
              <a:ahLst/>
              <a:cxnLst>
                <a:cxn ang="0">
                  <a:pos x="T0" y="T1"/>
                </a:cxn>
                <a:cxn ang="0">
                  <a:pos x="T2" y="T3"/>
                </a:cxn>
                <a:cxn ang="0">
                  <a:pos x="T4" y="T5"/>
                </a:cxn>
                <a:cxn ang="0">
                  <a:pos x="T6" y="T7"/>
                </a:cxn>
                <a:cxn ang="0">
                  <a:pos x="T8" y="T9"/>
                </a:cxn>
              </a:cxnLst>
              <a:rect l="0" t="0" r="r" b="b"/>
              <a:pathLst>
                <a:path w="119" h="234">
                  <a:moveTo>
                    <a:pt x="108" y="234"/>
                  </a:moveTo>
                  <a:lnTo>
                    <a:pt x="119" y="189"/>
                  </a:lnTo>
                  <a:lnTo>
                    <a:pt x="37" y="0"/>
                  </a:lnTo>
                  <a:lnTo>
                    <a:pt x="0" y="23"/>
                  </a:lnTo>
                  <a:lnTo>
                    <a:pt x="108" y="234"/>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4" name="Freeform 494"/>
            <p:cNvSpPr>
              <a:spLocks/>
            </p:cNvSpPr>
            <p:nvPr/>
          </p:nvSpPr>
          <p:spPr bwMode="auto">
            <a:xfrm rot="2844967">
              <a:off x="2585168" y="4253334"/>
              <a:ext cx="119819" cy="239633"/>
            </a:xfrm>
            <a:custGeom>
              <a:avLst/>
              <a:gdLst>
                <a:gd name="T0" fmla="*/ 84 w 84"/>
                <a:gd name="T1" fmla="*/ 0 h 168"/>
                <a:gd name="T2" fmla="*/ 67 w 84"/>
                <a:gd name="T3" fmla="*/ 1 h 168"/>
                <a:gd name="T4" fmla="*/ 51 w 84"/>
                <a:gd name="T5" fmla="*/ 6 h 168"/>
                <a:gd name="T6" fmla="*/ 37 w 84"/>
                <a:gd name="T7" fmla="*/ 15 h 168"/>
                <a:gd name="T8" fmla="*/ 24 w 84"/>
                <a:gd name="T9" fmla="*/ 24 h 168"/>
                <a:gd name="T10" fmla="*/ 14 w 84"/>
                <a:gd name="T11" fmla="*/ 36 h 168"/>
                <a:gd name="T12" fmla="*/ 7 w 84"/>
                <a:gd name="T13" fmla="*/ 51 h 168"/>
                <a:gd name="T14" fmla="*/ 2 w 84"/>
                <a:gd name="T15" fmla="*/ 67 h 168"/>
                <a:gd name="T16" fmla="*/ 0 w 84"/>
                <a:gd name="T17" fmla="*/ 84 h 168"/>
                <a:gd name="T18" fmla="*/ 1 w 84"/>
                <a:gd name="T19" fmla="*/ 93 h 168"/>
                <a:gd name="T20" fmla="*/ 3 w 84"/>
                <a:gd name="T21" fmla="*/ 108 h 168"/>
                <a:gd name="T22" fmla="*/ 9 w 84"/>
                <a:gd name="T23" fmla="*/ 124 h 168"/>
                <a:gd name="T24" fmla="*/ 19 w 84"/>
                <a:gd name="T25" fmla="*/ 138 h 168"/>
                <a:gd name="T26" fmla="*/ 30 w 84"/>
                <a:gd name="T27" fmla="*/ 149 h 168"/>
                <a:gd name="T28" fmla="*/ 44 w 84"/>
                <a:gd name="T29" fmla="*/ 157 h 168"/>
                <a:gd name="T30" fmla="*/ 59 w 84"/>
                <a:gd name="T31" fmla="*/ 163 h 168"/>
                <a:gd name="T32" fmla="*/ 75 w 84"/>
                <a:gd name="T33" fmla="*/ 167 h 168"/>
                <a:gd name="T34" fmla="*/ 84 w 84"/>
                <a:gd name="T35" fmla="*/ 158 h 168"/>
                <a:gd name="T36" fmla="*/ 76 w 84"/>
                <a:gd name="T37" fmla="*/ 158 h 168"/>
                <a:gd name="T38" fmla="*/ 62 w 84"/>
                <a:gd name="T39" fmla="*/ 156 h 168"/>
                <a:gd name="T40" fmla="*/ 42 w 84"/>
                <a:gd name="T41" fmla="*/ 146 h 168"/>
                <a:gd name="T42" fmla="*/ 22 w 84"/>
                <a:gd name="T43" fmla="*/ 125 h 168"/>
                <a:gd name="T44" fmla="*/ 12 w 84"/>
                <a:gd name="T45" fmla="*/ 106 h 168"/>
                <a:gd name="T46" fmla="*/ 9 w 84"/>
                <a:gd name="T47" fmla="*/ 91 h 168"/>
                <a:gd name="T48" fmla="*/ 8 w 84"/>
                <a:gd name="T49" fmla="*/ 84 h 168"/>
                <a:gd name="T50" fmla="*/ 8 w 84"/>
                <a:gd name="T51" fmla="*/ 84 h 168"/>
                <a:gd name="T52" fmla="*/ 9 w 84"/>
                <a:gd name="T53" fmla="*/ 75 h 168"/>
                <a:gd name="T54" fmla="*/ 12 w 84"/>
                <a:gd name="T55" fmla="*/ 61 h 168"/>
                <a:gd name="T56" fmla="*/ 22 w 84"/>
                <a:gd name="T57" fmla="*/ 41 h 168"/>
                <a:gd name="T58" fmla="*/ 42 w 84"/>
                <a:gd name="T59" fmla="*/ 22 h 168"/>
                <a:gd name="T60" fmla="*/ 62 w 84"/>
                <a:gd name="T61" fmla="*/ 12 h 168"/>
                <a:gd name="T62" fmla="*/ 76 w 84"/>
                <a:gd name="T63" fmla="*/ 8 h 168"/>
                <a:gd name="T64" fmla="*/ 84 w 84"/>
                <a:gd name="T6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4" h="168">
                  <a:moveTo>
                    <a:pt x="84" y="0"/>
                  </a:moveTo>
                  <a:lnTo>
                    <a:pt x="84" y="0"/>
                  </a:lnTo>
                  <a:lnTo>
                    <a:pt x="75" y="0"/>
                  </a:lnTo>
                  <a:lnTo>
                    <a:pt x="67" y="1"/>
                  </a:lnTo>
                  <a:lnTo>
                    <a:pt x="59" y="4"/>
                  </a:lnTo>
                  <a:lnTo>
                    <a:pt x="51" y="6"/>
                  </a:lnTo>
                  <a:lnTo>
                    <a:pt x="44" y="10"/>
                  </a:lnTo>
                  <a:lnTo>
                    <a:pt x="37" y="15"/>
                  </a:lnTo>
                  <a:lnTo>
                    <a:pt x="30" y="19"/>
                  </a:lnTo>
                  <a:lnTo>
                    <a:pt x="24" y="24"/>
                  </a:lnTo>
                  <a:lnTo>
                    <a:pt x="19" y="30"/>
                  </a:lnTo>
                  <a:lnTo>
                    <a:pt x="14" y="36"/>
                  </a:lnTo>
                  <a:lnTo>
                    <a:pt x="9" y="44"/>
                  </a:lnTo>
                  <a:lnTo>
                    <a:pt x="7" y="51"/>
                  </a:lnTo>
                  <a:lnTo>
                    <a:pt x="3" y="58"/>
                  </a:lnTo>
                  <a:lnTo>
                    <a:pt x="2" y="67"/>
                  </a:lnTo>
                  <a:lnTo>
                    <a:pt x="1" y="75"/>
                  </a:lnTo>
                  <a:lnTo>
                    <a:pt x="0" y="84"/>
                  </a:lnTo>
                  <a:lnTo>
                    <a:pt x="0" y="84"/>
                  </a:lnTo>
                  <a:lnTo>
                    <a:pt x="1" y="93"/>
                  </a:lnTo>
                  <a:lnTo>
                    <a:pt x="2" y="101"/>
                  </a:lnTo>
                  <a:lnTo>
                    <a:pt x="3" y="108"/>
                  </a:lnTo>
                  <a:lnTo>
                    <a:pt x="7" y="117"/>
                  </a:lnTo>
                  <a:lnTo>
                    <a:pt x="9" y="124"/>
                  </a:lnTo>
                  <a:lnTo>
                    <a:pt x="14" y="130"/>
                  </a:lnTo>
                  <a:lnTo>
                    <a:pt x="19" y="138"/>
                  </a:lnTo>
                  <a:lnTo>
                    <a:pt x="24" y="143"/>
                  </a:lnTo>
                  <a:lnTo>
                    <a:pt x="30" y="149"/>
                  </a:lnTo>
                  <a:lnTo>
                    <a:pt x="37" y="154"/>
                  </a:lnTo>
                  <a:lnTo>
                    <a:pt x="44" y="157"/>
                  </a:lnTo>
                  <a:lnTo>
                    <a:pt x="51" y="161"/>
                  </a:lnTo>
                  <a:lnTo>
                    <a:pt x="59" y="163"/>
                  </a:lnTo>
                  <a:lnTo>
                    <a:pt x="67" y="166"/>
                  </a:lnTo>
                  <a:lnTo>
                    <a:pt x="75" y="167"/>
                  </a:lnTo>
                  <a:lnTo>
                    <a:pt x="84" y="168"/>
                  </a:lnTo>
                  <a:lnTo>
                    <a:pt x="84" y="158"/>
                  </a:lnTo>
                  <a:lnTo>
                    <a:pt x="84" y="158"/>
                  </a:lnTo>
                  <a:lnTo>
                    <a:pt x="76" y="158"/>
                  </a:lnTo>
                  <a:lnTo>
                    <a:pt x="69" y="157"/>
                  </a:lnTo>
                  <a:lnTo>
                    <a:pt x="62" y="156"/>
                  </a:lnTo>
                  <a:lnTo>
                    <a:pt x="54" y="152"/>
                  </a:lnTo>
                  <a:lnTo>
                    <a:pt x="42" y="146"/>
                  </a:lnTo>
                  <a:lnTo>
                    <a:pt x="30" y="136"/>
                  </a:lnTo>
                  <a:lnTo>
                    <a:pt x="22" y="125"/>
                  </a:lnTo>
                  <a:lnTo>
                    <a:pt x="14" y="113"/>
                  </a:lnTo>
                  <a:lnTo>
                    <a:pt x="12" y="106"/>
                  </a:lnTo>
                  <a:lnTo>
                    <a:pt x="11" y="99"/>
                  </a:lnTo>
                  <a:lnTo>
                    <a:pt x="9" y="91"/>
                  </a:lnTo>
                  <a:lnTo>
                    <a:pt x="8" y="84"/>
                  </a:lnTo>
                  <a:lnTo>
                    <a:pt x="8" y="84"/>
                  </a:lnTo>
                  <a:lnTo>
                    <a:pt x="8" y="84"/>
                  </a:lnTo>
                  <a:lnTo>
                    <a:pt x="8" y="84"/>
                  </a:lnTo>
                  <a:lnTo>
                    <a:pt x="8" y="84"/>
                  </a:lnTo>
                  <a:lnTo>
                    <a:pt x="9" y="75"/>
                  </a:lnTo>
                  <a:lnTo>
                    <a:pt x="11" y="68"/>
                  </a:lnTo>
                  <a:lnTo>
                    <a:pt x="12" y="61"/>
                  </a:lnTo>
                  <a:lnTo>
                    <a:pt x="14" y="55"/>
                  </a:lnTo>
                  <a:lnTo>
                    <a:pt x="22" y="41"/>
                  </a:lnTo>
                  <a:lnTo>
                    <a:pt x="30" y="30"/>
                  </a:lnTo>
                  <a:lnTo>
                    <a:pt x="42" y="22"/>
                  </a:lnTo>
                  <a:lnTo>
                    <a:pt x="54" y="15"/>
                  </a:lnTo>
                  <a:lnTo>
                    <a:pt x="62" y="12"/>
                  </a:lnTo>
                  <a:lnTo>
                    <a:pt x="69" y="10"/>
                  </a:lnTo>
                  <a:lnTo>
                    <a:pt x="76" y="8"/>
                  </a:lnTo>
                  <a:lnTo>
                    <a:pt x="84" y="8"/>
                  </a:lnTo>
                  <a:lnTo>
                    <a:pt x="84"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5" name="Freeform 495"/>
            <p:cNvSpPr>
              <a:spLocks/>
            </p:cNvSpPr>
            <p:nvPr/>
          </p:nvSpPr>
          <p:spPr bwMode="auto">
            <a:xfrm rot="2844967">
              <a:off x="2585168" y="4253334"/>
              <a:ext cx="119819" cy="239633"/>
            </a:xfrm>
            <a:custGeom>
              <a:avLst/>
              <a:gdLst>
                <a:gd name="T0" fmla="*/ 84 w 84"/>
                <a:gd name="T1" fmla="*/ 0 h 168"/>
                <a:gd name="T2" fmla="*/ 67 w 84"/>
                <a:gd name="T3" fmla="*/ 1 h 168"/>
                <a:gd name="T4" fmla="*/ 51 w 84"/>
                <a:gd name="T5" fmla="*/ 6 h 168"/>
                <a:gd name="T6" fmla="*/ 37 w 84"/>
                <a:gd name="T7" fmla="*/ 15 h 168"/>
                <a:gd name="T8" fmla="*/ 24 w 84"/>
                <a:gd name="T9" fmla="*/ 24 h 168"/>
                <a:gd name="T10" fmla="*/ 14 w 84"/>
                <a:gd name="T11" fmla="*/ 36 h 168"/>
                <a:gd name="T12" fmla="*/ 7 w 84"/>
                <a:gd name="T13" fmla="*/ 51 h 168"/>
                <a:gd name="T14" fmla="*/ 2 w 84"/>
                <a:gd name="T15" fmla="*/ 67 h 168"/>
                <a:gd name="T16" fmla="*/ 0 w 84"/>
                <a:gd name="T17" fmla="*/ 84 h 168"/>
                <a:gd name="T18" fmla="*/ 1 w 84"/>
                <a:gd name="T19" fmla="*/ 93 h 168"/>
                <a:gd name="T20" fmla="*/ 3 w 84"/>
                <a:gd name="T21" fmla="*/ 108 h 168"/>
                <a:gd name="T22" fmla="*/ 9 w 84"/>
                <a:gd name="T23" fmla="*/ 124 h 168"/>
                <a:gd name="T24" fmla="*/ 19 w 84"/>
                <a:gd name="T25" fmla="*/ 138 h 168"/>
                <a:gd name="T26" fmla="*/ 30 w 84"/>
                <a:gd name="T27" fmla="*/ 149 h 168"/>
                <a:gd name="T28" fmla="*/ 44 w 84"/>
                <a:gd name="T29" fmla="*/ 157 h 168"/>
                <a:gd name="T30" fmla="*/ 59 w 84"/>
                <a:gd name="T31" fmla="*/ 163 h 168"/>
                <a:gd name="T32" fmla="*/ 75 w 84"/>
                <a:gd name="T33" fmla="*/ 167 h 168"/>
                <a:gd name="T34" fmla="*/ 84 w 84"/>
                <a:gd name="T35" fmla="*/ 158 h 168"/>
                <a:gd name="T36" fmla="*/ 76 w 84"/>
                <a:gd name="T37" fmla="*/ 158 h 168"/>
                <a:gd name="T38" fmla="*/ 62 w 84"/>
                <a:gd name="T39" fmla="*/ 156 h 168"/>
                <a:gd name="T40" fmla="*/ 42 w 84"/>
                <a:gd name="T41" fmla="*/ 146 h 168"/>
                <a:gd name="T42" fmla="*/ 22 w 84"/>
                <a:gd name="T43" fmla="*/ 125 h 168"/>
                <a:gd name="T44" fmla="*/ 12 w 84"/>
                <a:gd name="T45" fmla="*/ 106 h 168"/>
                <a:gd name="T46" fmla="*/ 9 w 84"/>
                <a:gd name="T47" fmla="*/ 91 h 168"/>
                <a:gd name="T48" fmla="*/ 8 w 84"/>
                <a:gd name="T49" fmla="*/ 84 h 168"/>
                <a:gd name="T50" fmla="*/ 8 w 84"/>
                <a:gd name="T51" fmla="*/ 84 h 168"/>
                <a:gd name="T52" fmla="*/ 9 w 84"/>
                <a:gd name="T53" fmla="*/ 75 h 168"/>
                <a:gd name="T54" fmla="*/ 12 w 84"/>
                <a:gd name="T55" fmla="*/ 61 h 168"/>
                <a:gd name="T56" fmla="*/ 22 w 84"/>
                <a:gd name="T57" fmla="*/ 41 h 168"/>
                <a:gd name="T58" fmla="*/ 42 w 84"/>
                <a:gd name="T59" fmla="*/ 22 h 168"/>
                <a:gd name="T60" fmla="*/ 62 w 84"/>
                <a:gd name="T61" fmla="*/ 12 h 168"/>
                <a:gd name="T62" fmla="*/ 76 w 84"/>
                <a:gd name="T63" fmla="*/ 8 h 168"/>
                <a:gd name="T64" fmla="*/ 84 w 84"/>
                <a:gd name="T6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4" h="168">
                  <a:moveTo>
                    <a:pt x="84" y="0"/>
                  </a:moveTo>
                  <a:lnTo>
                    <a:pt x="84" y="0"/>
                  </a:lnTo>
                  <a:lnTo>
                    <a:pt x="75" y="0"/>
                  </a:lnTo>
                  <a:lnTo>
                    <a:pt x="67" y="1"/>
                  </a:lnTo>
                  <a:lnTo>
                    <a:pt x="59" y="4"/>
                  </a:lnTo>
                  <a:lnTo>
                    <a:pt x="51" y="6"/>
                  </a:lnTo>
                  <a:lnTo>
                    <a:pt x="44" y="10"/>
                  </a:lnTo>
                  <a:lnTo>
                    <a:pt x="37" y="15"/>
                  </a:lnTo>
                  <a:lnTo>
                    <a:pt x="30" y="19"/>
                  </a:lnTo>
                  <a:lnTo>
                    <a:pt x="24" y="24"/>
                  </a:lnTo>
                  <a:lnTo>
                    <a:pt x="19" y="30"/>
                  </a:lnTo>
                  <a:lnTo>
                    <a:pt x="14" y="36"/>
                  </a:lnTo>
                  <a:lnTo>
                    <a:pt x="9" y="44"/>
                  </a:lnTo>
                  <a:lnTo>
                    <a:pt x="7" y="51"/>
                  </a:lnTo>
                  <a:lnTo>
                    <a:pt x="3" y="58"/>
                  </a:lnTo>
                  <a:lnTo>
                    <a:pt x="2" y="67"/>
                  </a:lnTo>
                  <a:lnTo>
                    <a:pt x="1" y="75"/>
                  </a:lnTo>
                  <a:lnTo>
                    <a:pt x="0" y="84"/>
                  </a:lnTo>
                  <a:lnTo>
                    <a:pt x="0" y="84"/>
                  </a:lnTo>
                  <a:lnTo>
                    <a:pt x="1" y="93"/>
                  </a:lnTo>
                  <a:lnTo>
                    <a:pt x="2" y="101"/>
                  </a:lnTo>
                  <a:lnTo>
                    <a:pt x="3" y="108"/>
                  </a:lnTo>
                  <a:lnTo>
                    <a:pt x="7" y="117"/>
                  </a:lnTo>
                  <a:lnTo>
                    <a:pt x="9" y="124"/>
                  </a:lnTo>
                  <a:lnTo>
                    <a:pt x="14" y="130"/>
                  </a:lnTo>
                  <a:lnTo>
                    <a:pt x="19" y="138"/>
                  </a:lnTo>
                  <a:lnTo>
                    <a:pt x="24" y="143"/>
                  </a:lnTo>
                  <a:lnTo>
                    <a:pt x="30" y="149"/>
                  </a:lnTo>
                  <a:lnTo>
                    <a:pt x="37" y="154"/>
                  </a:lnTo>
                  <a:lnTo>
                    <a:pt x="44" y="157"/>
                  </a:lnTo>
                  <a:lnTo>
                    <a:pt x="51" y="161"/>
                  </a:lnTo>
                  <a:lnTo>
                    <a:pt x="59" y="163"/>
                  </a:lnTo>
                  <a:lnTo>
                    <a:pt x="67" y="166"/>
                  </a:lnTo>
                  <a:lnTo>
                    <a:pt x="75" y="167"/>
                  </a:lnTo>
                  <a:lnTo>
                    <a:pt x="84" y="168"/>
                  </a:lnTo>
                  <a:lnTo>
                    <a:pt x="84" y="158"/>
                  </a:lnTo>
                  <a:lnTo>
                    <a:pt x="84" y="158"/>
                  </a:lnTo>
                  <a:lnTo>
                    <a:pt x="76" y="158"/>
                  </a:lnTo>
                  <a:lnTo>
                    <a:pt x="69" y="157"/>
                  </a:lnTo>
                  <a:lnTo>
                    <a:pt x="62" y="156"/>
                  </a:lnTo>
                  <a:lnTo>
                    <a:pt x="54" y="152"/>
                  </a:lnTo>
                  <a:lnTo>
                    <a:pt x="42" y="146"/>
                  </a:lnTo>
                  <a:lnTo>
                    <a:pt x="30" y="136"/>
                  </a:lnTo>
                  <a:lnTo>
                    <a:pt x="22" y="125"/>
                  </a:lnTo>
                  <a:lnTo>
                    <a:pt x="14" y="113"/>
                  </a:lnTo>
                  <a:lnTo>
                    <a:pt x="12" y="106"/>
                  </a:lnTo>
                  <a:lnTo>
                    <a:pt x="11" y="99"/>
                  </a:lnTo>
                  <a:lnTo>
                    <a:pt x="9" y="91"/>
                  </a:lnTo>
                  <a:lnTo>
                    <a:pt x="8" y="84"/>
                  </a:lnTo>
                  <a:lnTo>
                    <a:pt x="8" y="84"/>
                  </a:lnTo>
                  <a:lnTo>
                    <a:pt x="8" y="84"/>
                  </a:lnTo>
                  <a:lnTo>
                    <a:pt x="8" y="84"/>
                  </a:lnTo>
                  <a:lnTo>
                    <a:pt x="8" y="84"/>
                  </a:lnTo>
                  <a:lnTo>
                    <a:pt x="9" y="75"/>
                  </a:lnTo>
                  <a:lnTo>
                    <a:pt x="11" y="68"/>
                  </a:lnTo>
                  <a:lnTo>
                    <a:pt x="12" y="61"/>
                  </a:lnTo>
                  <a:lnTo>
                    <a:pt x="14" y="55"/>
                  </a:lnTo>
                  <a:lnTo>
                    <a:pt x="22" y="41"/>
                  </a:lnTo>
                  <a:lnTo>
                    <a:pt x="30" y="30"/>
                  </a:lnTo>
                  <a:lnTo>
                    <a:pt x="42" y="22"/>
                  </a:lnTo>
                  <a:lnTo>
                    <a:pt x="54" y="15"/>
                  </a:lnTo>
                  <a:lnTo>
                    <a:pt x="62" y="12"/>
                  </a:lnTo>
                  <a:lnTo>
                    <a:pt x="69" y="10"/>
                  </a:lnTo>
                  <a:lnTo>
                    <a:pt x="76" y="8"/>
                  </a:lnTo>
                  <a:lnTo>
                    <a:pt x="84" y="8"/>
                  </a:lnTo>
                  <a:lnTo>
                    <a:pt x="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6" name="Freeform 496"/>
            <p:cNvSpPr>
              <a:spLocks/>
            </p:cNvSpPr>
            <p:nvPr/>
          </p:nvSpPr>
          <p:spPr bwMode="auto">
            <a:xfrm rot="2844967">
              <a:off x="2291560" y="4434513"/>
              <a:ext cx="225537" cy="176203"/>
            </a:xfrm>
            <a:custGeom>
              <a:avLst/>
              <a:gdLst>
                <a:gd name="T0" fmla="*/ 162 w 162"/>
                <a:gd name="T1" fmla="*/ 0 h 124"/>
                <a:gd name="T2" fmla="*/ 0 w 162"/>
                <a:gd name="T3" fmla="*/ 0 h 124"/>
                <a:gd name="T4" fmla="*/ 0 w 162"/>
                <a:gd name="T5" fmla="*/ 0 h 124"/>
                <a:gd name="T6" fmla="*/ 4 w 162"/>
                <a:gd name="T7" fmla="*/ 19 h 124"/>
                <a:gd name="T8" fmla="*/ 9 w 162"/>
                <a:gd name="T9" fmla="*/ 39 h 124"/>
                <a:gd name="T10" fmla="*/ 20 w 162"/>
                <a:gd name="T11" fmla="*/ 73 h 124"/>
                <a:gd name="T12" fmla="*/ 31 w 162"/>
                <a:gd name="T13" fmla="*/ 101 h 124"/>
                <a:gd name="T14" fmla="*/ 41 w 162"/>
                <a:gd name="T15" fmla="*/ 124 h 124"/>
                <a:gd name="T16" fmla="*/ 162 w 162"/>
                <a:gd name="T17" fmla="*/ 124 h 124"/>
                <a:gd name="T18" fmla="*/ 162 w 162"/>
                <a:gd name="T19"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 h="124">
                  <a:moveTo>
                    <a:pt x="162" y="0"/>
                  </a:moveTo>
                  <a:lnTo>
                    <a:pt x="0" y="0"/>
                  </a:lnTo>
                  <a:lnTo>
                    <a:pt x="0" y="0"/>
                  </a:lnTo>
                  <a:lnTo>
                    <a:pt x="4" y="19"/>
                  </a:lnTo>
                  <a:lnTo>
                    <a:pt x="9" y="39"/>
                  </a:lnTo>
                  <a:lnTo>
                    <a:pt x="20" y="73"/>
                  </a:lnTo>
                  <a:lnTo>
                    <a:pt x="31" y="101"/>
                  </a:lnTo>
                  <a:lnTo>
                    <a:pt x="41" y="124"/>
                  </a:lnTo>
                  <a:lnTo>
                    <a:pt x="162" y="124"/>
                  </a:lnTo>
                  <a:lnTo>
                    <a:pt x="162" y="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7" name="Freeform 497"/>
            <p:cNvSpPr>
              <a:spLocks/>
            </p:cNvSpPr>
            <p:nvPr/>
          </p:nvSpPr>
          <p:spPr bwMode="auto">
            <a:xfrm rot="2844967">
              <a:off x="2635905" y="4289710"/>
              <a:ext cx="105723" cy="105723"/>
            </a:xfrm>
            <a:custGeom>
              <a:avLst/>
              <a:gdLst>
                <a:gd name="T0" fmla="*/ 76 w 76"/>
                <a:gd name="T1" fmla="*/ 0 h 76"/>
                <a:gd name="T2" fmla="*/ 76 w 76"/>
                <a:gd name="T3" fmla="*/ 0 h 76"/>
                <a:gd name="T4" fmla="*/ 68 w 76"/>
                <a:gd name="T5" fmla="*/ 0 h 76"/>
                <a:gd name="T6" fmla="*/ 61 w 76"/>
                <a:gd name="T7" fmla="*/ 2 h 76"/>
                <a:gd name="T8" fmla="*/ 54 w 76"/>
                <a:gd name="T9" fmla="*/ 4 h 76"/>
                <a:gd name="T10" fmla="*/ 46 w 76"/>
                <a:gd name="T11" fmla="*/ 7 h 76"/>
                <a:gd name="T12" fmla="*/ 34 w 76"/>
                <a:gd name="T13" fmla="*/ 14 h 76"/>
                <a:gd name="T14" fmla="*/ 22 w 76"/>
                <a:gd name="T15" fmla="*/ 22 h 76"/>
                <a:gd name="T16" fmla="*/ 14 w 76"/>
                <a:gd name="T17" fmla="*/ 33 h 76"/>
                <a:gd name="T18" fmla="*/ 6 w 76"/>
                <a:gd name="T19" fmla="*/ 47 h 76"/>
                <a:gd name="T20" fmla="*/ 4 w 76"/>
                <a:gd name="T21" fmla="*/ 53 h 76"/>
                <a:gd name="T22" fmla="*/ 3 w 76"/>
                <a:gd name="T23" fmla="*/ 60 h 76"/>
                <a:gd name="T24" fmla="*/ 1 w 76"/>
                <a:gd name="T25" fmla="*/ 67 h 76"/>
                <a:gd name="T26" fmla="*/ 0 w 76"/>
                <a:gd name="T27" fmla="*/ 76 h 76"/>
                <a:gd name="T28" fmla="*/ 76 w 76"/>
                <a:gd name="T29" fmla="*/ 76 h 76"/>
                <a:gd name="T30" fmla="*/ 76 w 76"/>
                <a:gd name="T3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76">
                  <a:moveTo>
                    <a:pt x="76" y="0"/>
                  </a:moveTo>
                  <a:lnTo>
                    <a:pt x="76" y="0"/>
                  </a:lnTo>
                  <a:lnTo>
                    <a:pt x="68" y="0"/>
                  </a:lnTo>
                  <a:lnTo>
                    <a:pt x="61" y="2"/>
                  </a:lnTo>
                  <a:lnTo>
                    <a:pt x="54" y="4"/>
                  </a:lnTo>
                  <a:lnTo>
                    <a:pt x="46" y="7"/>
                  </a:lnTo>
                  <a:lnTo>
                    <a:pt x="34" y="14"/>
                  </a:lnTo>
                  <a:lnTo>
                    <a:pt x="22" y="22"/>
                  </a:lnTo>
                  <a:lnTo>
                    <a:pt x="14" y="33"/>
                  </a:lnTo>
                  <a:lnTo>
                    <a:pt x="6" y="47"/>
                  </a:lnTo>
                  <a:lnTo>
                    <a:pt x="4" y="53"/>
                  </a:lnTo>
                  <a:lnTo>
                    <a:pt x="3" y="60"/>
                  </a:lnTo>
                  <a:lnTo>
                    <a:pt x="1" y="67"/>
                  </a:lnTo>
                  <a:lnTo>
                    <a:pt x="0" y="76"/>
                  </a:lnTo>
                  <a:lnTo>
                    <a:pt x="76" y="76"/>
                  </a:lnTo>
                  <a:lnTo>
                    <a:pt x="76"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8" name="Freeform 498"/>
            <p:cNvSpPr>
              <a:spLocks/>
            </p:cNvSpPr>
            <p:nvPr/>
          </p:nvSpPr>
          <p:spPr bwMode="auto">
            <a:xfrm rot="2844967">
              <a:off x="2635905" y="4289710"/>
              <a:ext cx="105723" cy="105723"/>
            </a:xfrm>
            <a:custGeom>
              <a:avLst/>
              <a:gdLst>
                <a:gd name="T0" fmla="*/ 76 w 76"/>
                <a:gd name="T1" fmla="*/ 0 h 76"/>
                <a:gd name="T2" fmla="*/ 76 w 76"/>
                <a:gd name="T3" fmla="*/ 0 h 76"/>
                <a:gd name="T4" fmla="*/ 68 w 76"/>
                <a:gd name="T5" fmla="*/ 0 h 76"/>
                <a:gd name="T6" fmla="*/ 61 w 76"/>
                <a:gd name="T7" fmla="*/ 2 h 76"/>
                <a:gd name="T8" fmla="*/ 54 w 76"/>
                <a:gd name="T9" fmla="*/ 4 h 76"/>
                <a:gd name="T10" fmla="*/ 46 w 76"/>
                <a:gd name="T11" fmla="*/ 7 h 76"/>
                <a:gd name="T12" fmla="*/ 34 w 76"/>
                <a:gd name="T13" fmla="*/ 14 h 76"/>
                <a:gd name="T14" fmla="*/ 22 w 76"/>
                <a:gd name="T15" fmla="*/ 22 h 76"/>
                <a:gd name="T16" fmla="*/ 14 w 76"/>
                <a:gd name="T17" fmla="*/ 33 h 76"/>
                <a:gd name="T18" fmla="*/ 6 w 76"/>
                <a:gd name="T19" fmla="*/ 47 h 76"/>
                <a:gd name="T20" fmla="*/ 4 w 76"/>
                <a:gd name="T21" fmla="*/ 53 h 76"/>
                <a:gd name="T22" fmla="*/ 3 w 76"/>
                <a:gd name="T23" fmla="*/ 60 h 76"/>
                <a:gd name="T24" fmla="*/ 1 w 76"/>
                <a:gd name="T25" fmla="*/ 67 h 76"/>
                <a:gd name="T26" fmla="*/ 0 w 76"/>
                <a:gd name="T27" fmla="*/ 76 h 76"/>
                <a:gd name="T28" fmla="*/ 76 w 76"/>
                <a:gd name="T29" fmla="*/ 76 h 76"/>
                <a:gd name="T30" fmla="*/ 76 w 76"/>
                <a:gd name="T3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76">
                  <a:moveTo>
                    <a:pt x="76" y="0"/>
                  </a:moveTo>
                  <a:lnTo>
                    <a:pt x="76" y="0"/>
                  </a:lnTo>
                  <a:lnTo>
                    <a:pt x="68" y="0"/>
                  </a:lnTo>
                  <a:lnTo>
                    <a:pt x="61" y="2"/>
                  </a:lnTo>
                  <a:lnTo>
                    <a:pt x="54" y="4"/>
                  </a:lnTo>
                  <a:lnTo>
                    <a:pt x="46" y="7"/>
                  </a:lnTo>
                  <a:lnTo>
                    <a:pt x="34" y="14"/>
                  </a:lnTo>
                  <a:lnTo>
                    <a:pt x="22" y="22"/>
                  </a:lnTo>
                  <a:lnTo>
                    <a:pt x="14" y="33"/>
                  </a:lnTo>
                  <a:lnTo>
                    <a:pt x="6" y="47"/>
                  </a:lnTo>
                  <a:lnTo>
                    <a:pt x="4" y="53"/>
                  </a:lnTo>
                  <a:lnTo>
                    <a:pt x="3" y="60"/>
                  </a:lnTo>
                  <a:lnTo>
                    <a:pt x="1" y="67"/>
                  </a:lnTo>
                  <a:lnTo>
                    <a:pt x="0" y="76"/>
                  </a:lnTo>
                  <a:lnTo>
                    <a:pt x="76" y="76"/>
                  </a:lnTo>
                  <a:lnTo>
                    <a:pt x="7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09" name="Freeform 499"/>
            <p:cNvSpPr>
              <a:spLocks/>
            </p:cNvSpPr>
            <p:nvPr/>
          </p:nvSpPr>
          <p:spPr bwMode="auto">
            <a:xfrm rot="2844967">
              <a:off x="2558066" y="4361247"/>
              <a:ext cx="105723" cy="105723"/>
            </a:xfrm>
            <a:custGeom>
              <a:avLst/>
              <a:gdLst>
                <a:gd name="T0" fmla="*/ 0 w 76"/>
                <a:gd name="T1" fmla="*/ 0 h 74"/>
                <a:gd name="T2" fmla="*/ 0 w 76"/>
                <a:gd name="T3" fmla="*/ 0 h 74"/>
                <a:gd name="T4" fmla="*/ 1 w 76"/>
                <a:gd name="T5" fmla="*/ 7 h 74"/>
                <a:gd name="T6" fmla="*/ 3 w 76"/>
                <a:gd name="T7" fmla="*/ 15 h 74"/>
                <a:gd name="T8" fmla="*/ 4 w 76"/>
                <a:gd name="T9" fmla="*/ 22 h 74"/>
                <a:gd name="T10" fmla="*/ 6 w 76"/>
                <a:gd name="T11" fmla="*/ 29 h 74"/>
                <a:gd name="T12" fmla="*/ 14 w 76"/>
                <a:gd name="T13" fmla="*/ 41 h 74"/>
                <a:gd name="T14" fmla="*/ 22 w 76"/>
                <a:gd name="T15" fmla="*/ 52 h 74"/>
                <a:gd name="T16" fmla="*/ 34 w 76"/>
                <a:gd name="T17" fmla="*/ 62 h 74"/>
                <a:gd name="T18" fmla="*/ 46 w 76"/>
                <a:gd name="T19" fmla="*/ 68 h 74"/>
                <a:gd name="T20" fmla="*/ 54 w 76"/>
                <a:gd name="T21" fmla="*/ 72 h 74"/>
                <a:gd name="T22" fmla="*/ 61 w 76"/>
                <a:gd name="T23" fmla="*/ 73 h 74"/>
                <a:gd name="T24" fmla="*/ 68 w 76"/>
                <a:gd name="T25" fmla="*/ 74 h 74"/>
                <a:gd name="T26" fmla="*/ 76 w 76"/>
                <a:gd name="T27" fmla="*/ 74 h 74"/>
                <a:gd name="T28" fmla="*/ 76 w 76"/>
                <a:gd name="T29" fmla="*/ 0 h 74"/>
                <a:gd name="T30" fmla="*/ 0 w 76"/>
                <a:gd name="T3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74">
                  <a:moveTo>
                    <a:pt x="0" y="0"/>
                  </a:moveTo>
                  <a:lnTo>
                    <a:pt x="0" y="0"/>
                  </a:lnTo>
                  <a:lnTo>
                    <a:pt x="1" y="7"/>
                  </a:lnTo>
                  <a:lnTo>
                    <a:pt x="3" y="15"/>
                  </a:lnTo>
                  <a:lnTo>
                    <a:pt x="4" y="22"/>
                  </a:lnTo>
                  <a:lnTo>
                    <a:pt x="6" y="29"/>
                  </a:lnTo>
                  <a:lnTo>
                    <a:pt x="14" y="41"/>
                  </a:lnTo>
                  <a:lnTo>
                    <a:pt x="22" y="52"/>
                  </a:lnTo>
                  <a:lnTo>
                    <a:pt x="34" y="62"/>
                  </a:lnTo>
                  <a:lnTo>
                    <a:pt x="46" y="68"/>
                  </a:lnTo>
                  <a:lnTo>
                    <a:pt x="54" y="72"/>
                  </a:lnTo>
                  <a:lnTo>
                    <a:pt x="61" y="73"/>
                  </a:lnTo>
                  <a:lnTo>
                    <a:pt x="68" y="74"/>
                  </a:lnTo>
                  <a:lnTo>
                    <a:pt x="76" y="74"/>
                  </a:lnTo>
                  <a:lnTo>
                    <a:pt x="76" y="0"/>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0" name="Freeform 500"/>
            <p:cNvSpPr>
              <a:spLocks/>
            </p:cNvSpPr>
            <p:nvPr/>
          </p:nvSpPr>
          <p:spPr bwMode="auto">
            <a:xfrm rot="2844967">
              <a:off x="2558066" y="4361247"/>
              <a:ext cx="105723" cy="105723"/>
            </a:xfrm>
            <a:custGeom>
              <a:avLst/>
              <a:gdLst>
                <a:gd name="T0" fmla="*/ 0 w 76"/>
                <a:gd name="T1" fmla="*/ 0 h 74"/>
                <a:gd name="T2" fmla="*/ 0 w 76"/>
                <a:gd name="T3" fmla="*/ 0 h 74"/>
                <a:gd name="T4" fmla="*/ 1 w 76"/>
                <a:gd name="T5" fmla="*/ 7 h 74"/>
                <a:gd name="T6" fmla="*/ 3 w 76"/>
                <a:gd name="T7" fmla="*/ 15 h 74"/>
                <a:gd name="T8" fmla="*/ 4 w 76"/>
                <a:gd name="T9" fmla="*/ 22 h 74"/>
                <a:gd name="T10" fmla="*/ 6 w 76"/>
                <a:gd name="T11" fmla="*/ 29 h 74"/>
                <a:gd name="T12" fmla="*/ 14 w 76"/>
                <a:gd name="T13" fmla="*/ 41 h 74"/>
                <a:gd name="T14" fmla="*/ 22 w 76"/>
                <a:gd name="T15" fmla="*/ 52 h 74"/>
                <a:gd name="T16" fmla="*/ 34 w 76"/>
                <a:gd name="T17" fmla="*/ 62 h 74"/>
                <a:gd name="T18" fmla="*/ 46 w 76"/>
                <a:gd name="T19" fmla="*/ 68 h 74"/>
                <a:gd name="T20" fmla="*/ 54 w 76"/>
                <a:gd name="T21" fmla="*/ 72 h 74"/>
                <a:gd name="T22" fmla="*/ 61 w 76"/>
                <a:gd name="T23" fmla="*/ 73 h 74"/>
                <a:gd name="T24" fmla="*/ 68 w 76"/>
                <a:gd name="T25" fmla="*/ 74 h 74"/>
                <a:gd name="T26" fmla="*/ 76 w 76"/>
                <a:gd name="T27" fmla="*/ 74 h 74"/>
                <a:gd name="T28" fmla="*/ 76 w 76"/>
                <a:gd name="T29" fmla="*/ 0 h 74"/>
                <a:gd name="T30" fmla="*/ 0 w 76"/>
                <a:gd name="T3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74">
                  <a:moveTo>
                    <a:pt x="0" y="0"/>
                  </a:moveTo>
                  <a:lnTo>
                    <a:pt x="0" y="0"/>
                  </a:lnTo>
                  <a:lnTo>
                    <a:pt x="1" y="7"/>
                  </a:lnTo>
                  <a:lnTo>
                    <a:pt x="3" y="15"/>
                  </a:lnTo>
                  <a:lnTo>
                    <a:pt x="4" y="22"/>
                  </a:lnTo>
                  <a:lnTo>
                    <a:pt x="6" y="29"/>
                  </a:lnTo>
                  <a:lnTo>
                    <a:pt x="14" y="41"/>
                  </a:lnTo>
                  <a:lnTo>
                    <a:pt x="22" y="52"/>
                  </a:lnTo>
                  <a:lnTo>
                    <a:pt x="34" y="62"/>
                  </a:lnTo>
                  <a:lnTo>
                    <a:pt x="46" y="68"/>
                  </a:lnTo>
                  <a:lnTo>
                    <a:pt x="54" y="72"/>
                  </a:lnTo>
                  <a:lnTo>
                    <a:pt x="61" y="73"/>
                  </a:lnTo>
                  <a:lnTo>
                    <a:pt x="68" y="74"/>
                  </a:lnTo>
                  <a:lnTo>
                    <a:pt x="76" y="74"/>
                  </a:lnTo>
                  <a:lnTo>
                    <a:pt x="7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1" name="Freeform 501"/>
            <p:cNvSpPr>
              <a:spLocks/>
            </p:cNvSpPr>
            <p:nvPr/>
          </p:nvSpPr>
          <p:spPr bwMode="auto">
            <a:xfrm rot="2844967">
              <a:off x="2776305" y="4168112"/>
              <a:ext cx="77531" cy="155057"/>
            </a:xfrm>
            <a:custGeom>
              <a:avLst/>
              <a:gdLst>
                <a:gd name="T0" fmla="*/ 54 w 54"/>
                <a:gd name="T1" fmla="*/ 0 h 109"/>
                <a:gd name="T2" fmla="*/ 54 w 54"/>
                <a:gd name="T3" fmla="*/ 0 h 109"/>
                <a:gd name="T4" fmla="*/ 43 w 54"/>
                <a:gd name="T5" fmla="*/ 1 h 109"/>
                <a:gd name="T6" fmla="*/ 33 w 54"/>
                <a:gd name="T7" fmla="*/ 5 h 109"/>
                <a:gd name="T8" fmla="*/ 23 w 54"/>
                <a:gd name="T9" fmla="*/ 10 h 109"/>
                <a:gd name="T10" fmla="*/ 16 w 54"/>
                <a:gd name="T11" fmla="*/ 16 h 109"/>
                <a:gd name="T12" fmla="*/ 9 w 54"/>
                <a:gd name="T13" fmla="*/ 24 h 109"/>
                <a:gd name="T14" fmla="*/ 4 w 54"/>
                <a:gd name="T15" fmla="*/ 33 h 109"/>
                <a:gd name="T16" fmla="*/ 1 w 54"/>
                <a:gd name="T17" fmla="*/ 43 h 109"/>
                <a:gd name="T18" fmla="*/ 0 w 54"/>
                <a:gd name="T19" fmla="*/ 54 h 109"/>
                <a:gd name="T20" fmla="*/ 0 w 54"/>
                <a:gd name="T21" fmla="*/ 54 h 109"/>
                <a:gd name="T22" fmla="*/ 1 w 54"/>
                <a:gd name="T23" fmla="*/ 65 h 109"/>
                <a:gd name="T24" fmla="*/ 4 w 54"/>
                <a:gd name="T25" fmla="*/ 76 h 109"/>
                <a:gd name="T26" fmla="*/ 9 w 54"/>
                <a:gd name="T27" fmla="*/ 84 h 109"/>
                <a:gd name="T28" fmla="*/ 16 w 54"/>
                <a:gd name="T29" fmla="*/ 93 h 109"/>
                <a:gd name="T30" fmla="*/ 23 w 54"/>
                <a:gd name="T31" fmla="*/ 99 h 109"/>
                <a:gd name="T32" fmla="*/ 33 w 54"/>
                <a:gd name="T33" fmla="*/ 104 h 109"/>
                <a:gd name="T34" fmla="*/ 43 w 54"/>
                <a:gd name="T35" fmla="*/ 107 h 109"/>
                <a:gd name="T36" fmla="*/ 54 w 54"/>
                <a:gd name="T37" fmla="*/ 109 h 109"/>
                <a:gd name="T38" fmla="*/ 54 w 54"/>
                <a:gd name="T39" fmla="*/ 99 h 109"/>
                <a:gd name="T40" fmla="*/ 54 w 54"/>
                <a:gd name="T41" fmla="*/ 99 h 109"/>
                <a:gd name="T42" fmla="*/ 45 w 54"/>
                <a:gd name="T43" fmla="*/ 98 h 109"/>
                <a:gd name="T44" fmla="*/ 37 w 54"/>
                <a:gd name="T45" fmla="*/ 95 h 109"/>
                <a:gd name="T46" fmla="*/ 29 w 54"/>
                <a:gd name="T47" fmla="*/ 91 h 109"/>
                <a:gd name="T48" fmla="*/ 22 w 54"/>
                <a:gd name="T49" fmla="*/ 85 h 109"/>
                <a:gd name="T50" fmla="*/ 17 w 54"/>
                <a:gd name="T51" fmla="*/ 79 h 109"/>
                <a:gd name="T52" fmla="*/ 12 w 54"/>
                <a:gd name="T53" fmla="*/ 72 h 109"/>
                <a:gd name="T54" fmla="*/ 10 w 54"/>
                <a:gd name="T55" fmla="*/ 63 h 109"/>
                <a:gd name="T56" fmla="*/ 10 w 54"/>
                <a:gd name="T57" fmla="*/ 54 h 109"/>
                <a:gd name="T58" fmla="*/ 10 w 54"/>
                <a:gd name="T59" fmla="*/ 54 h 109"/>
                <a:gd name="T60" fmla="*/ 10 w 54"/>
                <a:gd name="T61" fmla="*/ 54 h 109"/>
                <a:gd name="T62" fmla="*/ 10 w 54"/>
                <a:gd name="T63" fmla="*/ 54 h 109"/>
                <a:gd name="T64" fmla="*/ 10 w 54"/>
                <a:gd name="T65" fmla="*/ 54 h 109"/>
                <a:gd name="T66" fmla="*/ 10 w 54"/>
                <a:gd name="T67" fmla="*/ 45 h 109"/>
                <a:gd name="T68" fmla="*/ 12 w 54"/>
                <a:gd name="T69" fmla="*/ 37 h 109"/>
                <a:gd name="T70" fmla="*/ 17 w 54"/>
                <a:gd name="T71" fmla="*/ 29 h 109"/>
                <a:gd name="T72" fmla="*/ 22 w 54"/>
                <a:gd name="T73" fmla="*/ 23 h 109"/>
                <a:gd name="T74" fmla="*/ 29 w 54"/>
                <a:gd name="T75" fmla="*/ 17 h 109"/>
                <a:gd name="T76" fmla="*/ 37 w 54"/>
                <a:gd name="T77" fmla="*/ 13 h 109"/>
                <a:gd name="T78" fmla="*/ 45 w 54"/>
                <a:gd name="T79" fmla="*/ 11 h 109"/>
                <a:gd name="T80" fmla="*/ 54 w 54"/>
                <a:gd name="T81" fmla="*/ 10 h 109"/>
                <a:gd name="T82" fmla="*/ 54 w 54"/>
                <a:gd name="T8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 h="109">
                  <a:moveTo>
                    <a:pt x="54" y="0"/>
                  </a:moveTo>
                  <a:lnTo>
                    <a:pt x="54" y="0"/>
                  </a:lnTo>
                  <a:lnTo>
                    <a:pt x="43" y="1"/>
                  </a:lnTo>
                  <a:lnTo>
                    <a:pt x="33" y="5"/>
                  </a:lnTo>
                  <a:lnTo>
                    <a:pt x="23" y="10"/>
                  </a:lnTo>
                  <a:lnTo>
                    <a:pt x="16" y="16"/>
                  </a:lnTo>
                  <a:lnTo>
                    <a:pt x="9" y="24"/>
                  </a:lnTo>
                  <a:lnTo>
                    <a:pt x="4" y="33"/>
                  </a:lnTo>
                  <a:lnTo>
                    <a:pt x="1" y="43"/>
                  </a:lnTo>
                  <a:lnTo>
                    <a:pt x="0" y="54"/>
                  </a:lnTo>
                  <a:lnTo>
                    <a:pt x="0" y="54"/>
                  </a:lnTo>
                  <a:lnTo>
                    <a:pt x="1" y="65"/>
                  </a:lnTo>
                  <a:lnTo>
                    <a:pt x="4" y="76"/>
                  </a:lnTo>
                  <a:lnTo>
                    <a:pt x="9" y="84"/>
                  </a:lnTo>
                  <a:lnTo>
                    <a:pt x="16" y="93"/>
                  </a:lnTo>
                  <a:lnTo>
                    <a:pt x="23" y="99"/>
                  </a:lnTo>
                  <a:lnTo>
                    <a:pt x="33" y="104"/>
                  </a:lnTo>
                  <a:lnTo>
                    <a:pt x="43" y="107"/>
                  </a:lnTo>
                  <a:lnTo>
                    <a:pt x="54" y="109"/>
                  </a:lnTo>
                  <a:lnTo>
                    <a:pt x="54" y="99"/>
                  </a:lnTo>
                  <a:lnTo>
                    <a:pt x="54" y="99"/>
                  </a:lnTo>
                  <a:lnTo>
                    <a:pt x="45" y="98"/>
                  </a:lnTo>
                  <a:lnTo>
                    <a:pt x="37" y="95"/>
                  </a:lnTo>
                  <a:lnTo>
                    <a:pt x="29" y="91"/>
                  </a:lnTo>
                  <a:lnTo>
                    <a:pt x="22" y="85"/>
                  </a:lnTo>
                  <a:lnTo>
                    <a:pt x="17" y="79"/>
                  </a:lnTo>
                  <a:lnTo>
                    <a:pt x="12" y="72"/>
                  </a:lnTo>
                  <a:lnTo>
                    <a:pt x="10" y="63"/>
                  </a:lnTo>
                  <a:lnTo>
                    <a:pt x="10" y="54"/>
                  </a:lnTo>
                  <a:lnTo>
                    <a:pt x="10" y="54"/>
                  </a:lnTo>
                  <a:lnTo>
                    <a:pt x="10" y="54"/>
                  </a:lnTo>
                  <a:lnTo>
                    <a:pt x="10" y="54"/>
                  </a:lnTo>
                  <a:lnTo>
                    <a:pt x="10" y="54"/>
                  </a:lnTo>
                  <a:lnTo>
                    <a:pt x="10" y="45"/>
                  </a:lnTo>
                  <a:lnTo>
                    <a:pt x="12" y="37"/>
                  </a:lnTo>
                  <a:lnTo>
                    <a:pt x="17" y="29"/>
                  </a:lnTo>
                  <a:lnTo>
                    <a:pt x="22" y="23"/>
                  </a:lnTo>
                  <a:lnTo>
                    <a:pt x="29" y="17"/>
                  </a:lnTo>
                  <a:lnTo>
                    <a:pt x="37" y="13"/>
                  </a:lnTo>
                  <a:lnTo>
                    <a:pt x="45" y="11"/>
                  </a:lnTo>
                  <a:lnTo>
                    <a:pt x="54" y="10"/>
                  </a:lnTo>
                  <a:lnTo>
                    <a:pt x="54"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2" name="Freeform 502"/>
            <p:cNvSpPr>
              <a:spLocks/>
            </p:cNvSpPr>
            <p:nvPr/>
          </p:nvSpPr>
          <p:spPr bwMode="auto">
            <a:xfrm rot="2844967">
              <a:off x="2776305" y="4168112"/>
              <a:ext cx="77531" cy="155057"/>
            </a:xfrm>
            <a:custGeom>
              <a:avLst/>
              <a:gdLst>
                <a:gd name="T0" fmla="*/ 54 w 54"/>
                <a:gd name="T1" fmla="*/ 0 h 109"/>
                <a:gd name="T2" fmla="*/ 54 w 54"/>
                <a:gd name="T3" fmla="*/ 0 h 109"/>
                <a:gd name="T4" fmla="*/ 43 w 54"/>
                <a:gd name="T5" fmla="*/ 1 h 109"/>
                <a:gd name="T6" fmla="*/ 33 w 54"/>
                <a:gd name="T7" fmla="*/ 5 h 109"/>
                <a:gd name="T8" fmla="*/ 23 w 54"/>
                <a:gd name="T9" fmla="*/ 10 h 109"/>
                <a:gd name="T10" fmla="*/ 16 w 54"/>
                <a:gd name="T11" fmla="*/ 16 h 109"/>
                <a:gd name="T12" fmla="*/ 9 w 54"/>
                <a:gd name="T13" fmla="*/ 24 h 109"/>
                <a:gd name="T14" fmla="*/ 4 w 54"/>
                <a:gd name="T15" fmla="*/ 33 h 109"/>
                <a:gd name="T16" fmla="*/ 1 w 54"/>
                <a:gd name="T17" fmla="*/ 43 h 109"/>
                <a:gd name="T18" fmla="*/ 0 w 54"/>
                <a:gd name="T19" fmla="*/ 54 h 109"/>
                <a:gd name="T20" fmla="*/ 0 w 54"/>
                <a:gd name="T21" fmla="*/ 54 h 109"/>
                <a:gd name="T22" fmla="*/ 1 w 54"/>
                <a:gd name="T23" fmla="*/ 65 h 109"/>
                <a:gd name="T24" fmla="*/ 4 w 54"/>
                <a:gd name="T25" fmla="*/ 76 h 109"/>
                <a:gd name="T26" fmla="*/ 9 w 54"/>
                <a:gd name="T27" fmla="*/ 84 h 109"/>
                <a:gd name="T28" fmla="*/ 16 w 54"/>
                <a:gd name="T29" fmla="*/ 93 h 109"/>
                <a:gd name="T30" fmla="*/ 23 w 54"/>
                <a:gd name="T31" fmla="*/ 99 h 109"/>
                <a:gd name="T32" fmla="*/ 33 w 54"/>
                <a:gd name="T33" fmla="*/ 104 h 109"/>
                <a:gd name="T34" fmla="*/ 43 w 54"/>
                <a:gd name="T35" fmla="*/ 107 h 109"/>
                <a:gd name="T36" fmla="*/ 54 w 54"/>
                <a:gd name="T37" fmla="*/ 109 h 109"/>
                <a:gd name="T38" fmla="*/ 54 w 54"/>
                <a:gd name="T39" fmla="*/ 99 h 109"/>
                <a:gd name="T40" fmla="*/ 54 w 54"/>
                <a:gd name="T41" fmla="*/ 99 h 109"/>
                <a:gd name="T42" fmla="*/ 45 w 54"/>
                <a:gd name="T43" fmla="*/ 98 h 109"/>
                <a:gd name="T44" fmla="*/ 37 w 54"/>
                <a:gd name="T45" fmla="*/ 95 h 109"/>
                <a:gd name="T46" fmla="*/ 29 w 54"/>
                <a:gd name="T47" fmla="*/ 91 h 109"/>
                <a:gd name="T48" fmla="*/ 22 w 54"/>
                <a:gd name="T49" fmla="*/ 85 h 109"/>
                <a:gd name="T50" fmla="*/ 17 w 54"/>
                <a:gd name="T51" fmla="*/ 79 h 109"/>
                <a:gd name="T52" fmla="*/ 12 w 54"/>
                <a:gd name="T53" fmla="*/ 72 h 109"/>
                <a:gd name="T54" fmla="*/ 10 w 54"/>
                <a:gd name="T55" fmla="*/ 63 h 109"/>
                <a:gd name="T56" fmla="*/ 10 w 54"/>
                <a:gd name="T57" fmla="*/ 54 h 109"/>
                <a:gd name="T58" fmla="*/ 10 w 54"/>
                <a:gd name="T59" fmla="*/ 54 h 109"/>
                <a:gd name="T60" fmla="*/ 10 w 54"/>
                <a:gd name="T61" fmla="*/ 54 h 109"/>
                <a:gd name="T62" fmla="*/ 10 w 54"/>
                <a:gd name="T63" fmla="*/ 54 h 109"/>
                <a:gd name="T64" fmla="*/ 10 w 54"/>
                <a:gd name="T65" fmla="*/ 54 h 109"/>
                <a:gd name="T66" fmla="*/ 10 w 54"/>
                <a:gd name="T67" fmla="*/ 45 h 109"/>
                <a:gd name="T68" fmla="*/ 12 w 54"/>
                <a:gd name="T69" fmla="*/ 37 h 109"/>
                <a:gd name="T70" fmla="*/ 17 w 54"/>
                <a:gd name="T71" fmla="*/ 29 h 109"/>
                <a:gd name="T72" fmla="*/ 22 w 54"/>
                <a:gd name="T73" fmla="*/ 23 h 109"/>
                <a:gd name="T74" fmla="*/ 29 w 54"/>
                <a:gd name="T75" fmla="*/ 17 h 109"/>
                <a:gd name="T76" fmla="*/ 37 w 54"/>
                <a:gd name="T77" fmla="*/ 13 h 109"/>
                <a:gd name="T78" fmla="*/ 45 w 54"/>
                <a:gd name="T79" fmla="*/ 11 h 109"/>
                <a:gd name="T80" fmla="*/ 54 w 54"/>
                <a:gd name="T81" fmla="*/ 10 h 109"/>
                <a:gd name="T82" fmla="*/ 54 w 54"/>
                <a:gd name="T8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 h="109">
                  <a:moveTo>
                    <a:pt x="54" y="0"/>
                  </a:moveTo>
                  <a:lnTo>
                    <a:pt x="54" y="0"/>
                  </a:lnTo>
                  <a:lnTo>
                    <a:pt x="43" y="1"/>
                  </a:lnTo>
                  <a:lnTo>
                    <a:pt x="33" y="5"/>
                  </a:lnTo>
                  <a:lnTo>
                    <a:pt x="23" y="10"/>
                  </a:lnTo>
                  <a:lnTo>
                    <a:pt x="16" y="16"/>
                  </a:lnTo>
                  <a:lnTo>
                    <a:pt x="9" y="24"/>
                  </a:lnTo>
                  <a:lnTo>
                    <a:pt x="4" y="33"/>
                  </a:lnTo>
                  <a:lnTo>
                    <a:pt x="1" y="43"/>
                  </a:lnTo>
                  <a:lnTo>
                    <a:pt x="0" y="54"/>
                  </a:lnTo>
                  <a:lnTo>
                    <a:pt x="0" y="54"/>
                  </a:lnTo>
                  <a:lnTo>
                    <a:pt x="1" y="65"/>
                  </a:lnTo>
                  <a:lnTo>
                    <a:pt x="4" y="76"/>
                  </a:lnTo>
                  <a:lnTo>
                    <a:pt x="9" y="84"/>
                  </a:lnTo>
                  <a:lnTo>
                    <a:pt x="16" y="93"/>
                  </a:lnTo>
                  <a:lnTo>
                    <a:pt x="23" y="99"/>
                  </a:lnTo>
                  <a:lnTo>
                    <a:pt x="33" y="104"/>
                  </a:lnTo>
                  <a:lnTo>
                    <a:pt x="43" y="107"/>
                  </a:lnTo>
                  <a:lnTo>
                    <a:pt x="54" y="109"/>
                  </a:lnTo>
                  <a:lnTo>
                    <a:pt x="54" y="99"/>
                  </a:lnTo>
                  <a:lnTo>
                    <a:pt x="54" y="99"/>
                  </a:lnTo>
                  <a:lnTo>
                    <a:pt x="45" y="98"/>
                  </a:lnTo>
                  <a:lnTo>
                    <a:pt x="37" y="95"/>
                  </a:lnTo>
                  <a:lnTo>
                    <a:pt x="29" y="91"/>
                  </a:lnTo>
                  <a:lnTo>
                    <a:pt x="22" y="85"/>
                  </a:lnTo>
                  <a:lnTo>
                    <a:pt x="17" y="79"/>
                  </a:lnTo>
                  <a:lnTo>
                    <a:pt x="12" y="72"/>
                  </a:lnTo>
                  <a:lnTo>
                    <a:pt x="10" y="63"/>
                  </a:lnTo>
                  <a:lnTo>
                    <a:pt x="10" y="54"/>
                  </a:lnTo>
                  <a:lnTo>
                    <a:pt x="10" y="54"/>
                  </a:lnTo>
                  <a:lnTo>
                    <a:pt x="10" y="54"/>
                  </a:lnTo>
                  <a:lnTo>
                    <a:pt x="10" y="54"/>
                  </a:lnTo>
                  <a:lnTo>
                    <a:pt x="10" y="54"/>
                  </a:lnTo>
                  <a:lnTo>
                    <a:pt x="10" y="45"/>
                  </a:lnTo>
                  <a:lnTo>
                    <a:pt x="12" y="37"/>
                  </a:lnTo>
                  <a:lnTo>
                    <a:pt x="17" y="29"/>
                  </a:lnTo>
                  <a:lnTo>
                    <a:pt x="22" y="23"/>
                  </a:lnTo>
                  <a:lnTo>
                    <a:pt x="29" y="17"/>
                  </a:lnTo>
                  <a:lnTo>
                    <a:pt x="37" y="13"/>
                  </a:lnTo>
                  <a:lnTo>
                    <a:pt x="45" y="11"/>
                  </a:lnTo>
                  <a:lnTo>
                    <a:pt x="54" y="1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3" name="Freeform 503"/>
            <p:cNvSpPr>
              <a:spLocks/>
            </p:cNvSpPr>
            <p:nvPr/>
          </p:nvSpPr>
          <p:spPr bwMode="auto">
            <a:xfrm rot="2844967">
              <a:off x="2811474" y="4197652"/>
              <a:ext cx="63435" cy="63435"/>
            </a:xfrm>
            <a:custGeom>
              <a:avLst/>
              <a:gdLst>
                <a:gd name="T0" fmla="*/ 44 w 44"/>
                <a:gd name="T1" fmla="*/ 0 h 44"/>
                <a:gd name="T2" fmla="*/ 44 w 44"/>
                <a:gd name="T3" fmla="*/ 0 h 44"/>
                <a:gd name="T4" fmla="*/ 35 w 44"/>
                <a:gd name="T5" fmla="*/ 1 h 44"/>
                <a:gd name="T6" fmla="*/ 27 w 44"/>
                <a:gd name="T7" fmla="*/ 3 h 44"/>
                <a:gd name="T8" fmla="*/ 19 w 44"/>
                <a:gd name="T9" fmla="*/ 7 h 44"/>
                <a:gd name="T10" fmla="*/ 12 w 44"/>
                <a:gd name="T11" fmla="*/ 13 h 44"/>
                <a:gd name="T12" fmla="*/ 7 w 44"/>
                <a:gd name="T13" fmla="*/ 19 h 44"/>
                <a:gd name="T14" fmla="*/ 2 w 44"/>
                <a:gd name="T15" fmla="*/ 27 h 44"/>
                <a:gd name="T16" fmla="*/ 0 w 44"/>
                <a:gd name="T17" fmla="*/ 35 h 44"/>
                <a:gd name="T18" fmla="*/ 0 w 44"/>
                <a:gd name="T19" fmla="*/ 44 h 44"/>
                <a:gd name="T20" fmla="*/ 44 w 44"/>
                <a:gd name="T21" fmla="*/ 44 h 44"/>
                <a:gd name="T22" fmla="*/ 44 w 44"/>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4">
                  <a:moveTo>
                    <a:pt x="44" y="0"/>
                  </a:moveTo>
                  <a:lnTo>
                    <a:pt x="44" y="0"/>
                  </a:lnTo>
                  <a:lnTo>
                    <a:pt x="35" y="1"/>
                  </a:lnTo>
                  <a:lnTo>
                    <a:pt x="27" y="3"/>
                  </a:lnTo>
                  <a:lnTo>
                    <a:pt x="19" y="7"/>
                  </a:lnTo>
                  <a:lnTo>
                    <a:pt x="12" y="13"/>
                  </a:lnTo>
                  <a:lnTo>
                    <a:pt x="7" y="19"/>
                  </a:lnTo>
                  <a:lnTo>
                    <a:pt x="2" y="27"/>
                  </a:lnTo>
                  <a:lnTo>
                    <a:pt x="0" y="35"/>
                  </a:lnTo>
                  <a:lnTo>
                    <a:pt x="0" y="44"/>
                  </a:lnTo>
                  <a:lnTo>
                    <a:pt x="44" y="44"/>
                  </a:lnTo>
                  <a:lnTo>
                    <a:pt x="44"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4" name="Freeform 504"/>
            <p:cNvSpPr>
              <a:spLocks/>
            </p:cNvSpPr>
            <p:nvPr/>
          </p:nvSpPr>
          <p:spPr bwMode="auto">
            <a:xfrm rot="2844967">
              <a:off x="2811474" y="4197652"/>
              <a:ext cx="63435" cy="63435"/>
            </a:xfrm>
            <a:custGeom>
              <a:avLst/>
              <a:gdLst>
                <a:gd name="T0" fmla="*/ 44 w 44"/>
                <a:gd name="T1" fmla="*/ 0 h 44"/>
                <a:gd name="T2" fmla="*/ 44 w 44"/>
                <a:gd name="T3" fmla="*/ 0 h 44"/>
                <a:gd name="T4" fmla="*/ 35 w 44"/>
                <a:gd name="T5" fmla="*/ 1 h 44"/>
                <a:gd name="T6" fmla="*/ 27 w 44"/>
                <a:gd name="T7" fmla="*/ 3 h 44"/>
                <a:gd name="T8" fmla="*/ 19 w 44"/>
                <a:gd name="T9" fmla="*/ 7 h 44"/>
                <a:gd name="T10" fmla="*/ 12 w 44"/>
                <a:gd name="T11" fmla="*/ 13 h 44"/>
                <a:gd name="T12" fmla="*/ 7 w 44"/>
                <a:gd name="T13" fmla="*/ 19 h 44"/>
                <a:gd name="T14" fmla="*/ 2 w 44"/>
                <a:gd name="T15" fmla="*/ 27 h 44"/>
                <a:gd name="T16" fmla="*/ 0 w 44"/>
                <a:gd name="T17" fmla="*/ 35 h 44"/>
                <a:gd name="T18" fmla="*/ 0 w 44"/>
                <a:gd name="T19" fmla="*/ 44 h 44"/>
                <a:gd name="T20" fmla="*/ 44 w 44"/>
                <a:gd name="T21" fmla="*/ 44 h 44"/>
                <a:gd name="T22" fmla="*/ 44 w 44"/>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4">
                  <a:moveTo>
                    <a:pt x="44" y="0"/>
                  </a:moveTo>
                  <a:lnTo>
                    <a:pt x="44" y="0"/>
                  </a:lnTo>
                  <a:lnTo>
                    <a:pt x="35" y="1"/>
                  </a:lnTo>
                  <a:lnTo>
                    <a:pt x="27" y="3"/>
                  </a:lnTo>
                  <a:lnTo>
                    <a:pt x="19" y="7"/>
                  </a:lnTo>
                  <a:lnTo>
                    <a:pt x="12" y="13"/>
                  </a:lnTo>
                  <a:lnTo>
                    <a:pt x="7" y="19"/>
                  </a:lnTo>
                  <a:lnTo>
                    <a:pt x="2" y="27"/>
                  </a:lnTo>
                  <a:lnTo>
                    <a:pt x="0" y="35"/>
                  </a:lnTo>
                  <a:lnTo>
                    <a:pt x="0" y="44"/>
                  </a:lnTo>
                  <a:lnTo>
                    <a:pt x="44" y="44"/>
                  </a:lnTo>
                  <a:lnTo>
                    <a:pt x="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5" name="Freeform 505"/>
            <p:cNvSpPr>
              <a:spLocks/>
            </p:cNvSpPr>
            <p:nvPr/>
          </p:nvSpPr>
          <p:spPr bwMode="auto">
            <a:xfrm rot="2844967">
              <a:off x="2764767" y="4240576"/>
              <a:ext cx="63435" cy="63435"/>
            </a:xfrm>
            <a:custGeom>
              <a:avLst/>
              <a:gdLst>
                <a:gd name="T0" fmla="*/ 0 w 44"/>
                <a:gd name="T1" fmla="*/ 0 h 45"/>
                <a:gd name="T2" fmla="*/ 0 w 44"/>
                <a:gd name="T3" fmla="*/ 0 h 45"/>
                <a:gd name="T4" fmla="*/ 0 w 44"/>
                <a:gd name="T5" fmla="*/ 9 h 45"/>
                <a:gd name="T6" fmla="*/ 2 w 44"/>
                <a:gd name="T7" fmla="*/ 18 h 45"/>
                <a:gd name="T8" fmla="*/ 7 w 44"/>
                <a:gd name="T9" fmla="*/ 25 h 45"/>
                <a:gd name="T10" fmla="*/ 12 w 44"/>
                <a:gd name="T11" fmla="*/ 31 h 45"/>
                <a:gd name="T12" fmla="*/ 19 w 44"/>
                <a:gd name="T13" fmla="*/ 37 h 45"/>
                <a:gd name="T14" fmla="*/ 27 w 44"/>
                <a:gd name="T15" fmla="*/ 41 h 45"/>
                <a:gd name="T16" fmla="*/ 35 w 44"/>
                <a:gd name="T17" fmla="*/ 44 h 45"/>
                <a:gd name="T18" fmla="*/ 44 w 44"/>
                <a:gd name="T19" fmla="*/ 45 h 45"/>
                <a:gd name="T20" fmla="*/ 44 w 44"/>
                <a:gd name="T21" fmla="*/ 0 h 45"/>
                <a:gd name="T22" fmla="*/ 0 w 44"/>
                <a:gd name="T2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5">
                  <a:moveTo>
                    <a:pt x="0" y="0"/>
                  </a:moveTo>
                  <a:lnTo>
                    <a:pt x="0" y="0"/>
                  </a:lnTo>
                  <a:lnTo>
                    <a:pt x="0" y="9"/>
                  </a:lnTo>
                  <a:lnTo>
                    <a:pt x="2" y="18"/>
                  </a:lnTo>
                  <a:lnTo>
                    <a:pt x="7" y="25"/>
                  </a:lnTo>
                  <a:lnTo>
                    <a:pt x="12" y="31"/>
                  </a:lnTo>
                  <a:lnTo>
                    <a:pt x="19" y="37"/>
                  </a:lnTo>
                  <a:lnTo>
                    <a:pt x="27" y="41"/>
                  </a:lnTo>
                  <a:lnTo>
                    <a:pt x="35" y="44"/>
                  </a:lnTo>
                  <a:lnTo>
                    <a:pt x="44" y="45"/>
                  </a:lnTo>
                  <a:lnTo>
                    <a:pt x="44" y="0"/>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6" name="Freeform 506"/>
            <p:cNvSpPr>
              <a:spLocks/>
            </p:cNvSpPr>
            <p:nvPr/>
          </p:nvSpPr>
          <p:spPr bwMode="auto">
            <a:xfrm rot="2844967">
              <a:off x="2764767" y="4240576"/>
              <a:ext cx="63435" cy="63435"/>
            </a:xfrm>
            <a:custGeom>
              <a:avLst/>
              <a:gdLst>
                <a:gd name="T0" fmla="*/ 0 w 44"/>
                <a:gd name="T1" fmla="*/ 0 h 45"/>
                <a:gd name="T2" fmla="*/ 0 w 44"/>
                <a:gd name="T3" fmla="*/ 0 h 45"/>
                <a:gd name="T4" fmla="*/ 0 w 44"/>
                <a:gd name="T5" fmla="*/ 9 h 45"/>
                <a:gd name="T6" fmla="*/ 2 w 44"/>
                <a:gd name="T7" fmla="*/ 18 h 45"/>
                <a:gd name="T8" fmla="*/ 7 w 44"/>
                <a:gd name="T9" fmla="*/ 25 h 45"/>
                <a:gd name="T10" fmla="*/ 12 w 44"/>
                <a:gd name="T11" fmla="*/ 31 h 45"/>
                <a:gd name="T12" fmla="*/ 19 w 44"/>
                <a:gd name="T13" fmla="*/ 37 h 45"/>
                <a:gd name="T14" fmla="*/ 27 w 44"/>
                <a:gd name="T15" fmla="*/ 41 h 45"/>
                <a:gd name="T16" fmla="*/ 35 w 44"/>
                <a:gd name="T17" fmla="*/ 44 h 45"/>
                <a:gd name="T18" fmla="*/ 44 w 44"/>
                <a:gd name="T19" fmla="*/ 45 h 45"/>
                <a:gd name="T20" fmla="*/ 44 w 44"/>
                <a:gd name="T21" fmla="*/ 0 h 45"/>
                <a:gd name="T22" fmla="*/ 0 w 44"/>
                <a:gd name="T2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5">
                  <a:moveTo>
                    <a:pt x="0" y="0"/>
                  </a:moveTo>
                  <a:lnTo>
                    <a:pt x="0" y="0"/>
                  </a:lnTo>
                  <a:lnTo>
                    <a:pt x="0" y="9"/>
                  </a:lnTo>
                  <a:lnTo>
                    <a:pt x="2" y="18"/>
                  </a:lnTo>
                  <a:lnTo>
                    <a:pt x="7" y="25"/>
                  </a:lnTo>
                  <a:lnTo>
                    <a:pt x="12" y="31"/>
                  </a:lnTo>
                  <a:lnTo>
                    <a:pt x="19" y="37"/>
                  </a:lnTo>
                  <a:lnTo>
                    <a:pt x="27" y="41"/>
                  </a:lnTo>
                  <a:lnTo>
                    <a:pt x="35" y="44"/>
                  </a:lnTo>
                  <a:lnTo>
                    <a:pt x="44" y="45"/>
                  </a:lnTo>
                  <a:lnTo>
                    <a:pt x="4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7" name="Rectangle 507"/>
            <p:cNvSpPr>
              <a:spLocks noChangeArrowheads="1"/>
            </p:cNvSpPr>
            <p:nvPr/>
          </p:nvSpPr>
          <p:spPr bwMode="auto">
            <a:xfrm rot="2844967">
              <a:off x="2243106" y="4631727"/>
              <a:ext cx="140961" cy="63435"/>
            </a:xfrm>
            <a:prstGeom prst="rect">
              <a:avLst/>
            </a:prstGeom>
            <a:solidFill>
              <a:srgbClr val="F8AB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8" name="Freeform 508"/>
            <p:cNvSpPr>
              <a:spLocks/>
            </p:cNvSpPr>
            <p:nvPr/>
          </p:nvSpPr>
          <p:spPr bwMode="auto">
            <a:xfrm rot="2844967">
              <a:off x="2164982" y="4660854"/>
              <a:ext cx="169153" cy="84576"/>
            </a:xfrm>
            <a:custGeom>
              <a:avLst/>
              <a:gdLst>
                <a:gd name="T0" fmla="*/ 0 w 121"/>
                <a:gd name="T1" fmla="*/ 59 h 59"/>
                <a:gd name="T2" fmla="*/ 121 w 121"/>
                <a:gd name="T3" fmla="*/ 59 h 59"/>
                <a:gd name="T4" fmla="*/ 121 w 121"/>
                <a:gd name="T5" fmla="*/ 0 h 59"/>
                <a:gd name="T6" fmla="*/ 18 w 121"/>
                <a:gd name="T7" fmla="*/ 0 h 59"/>
                <a:gd name="T8" fmla="*/ 0 w 121"/>
                <a:gd name="T9" fmla="*/ 59 h 59"/>
              </a:gdLst>
              <a:ahLst/>
              <a:cxnLst>
                <a:cxn ang="0">
                  <a:pos x="T0" y="T1"/>
                </a:cxn>
                <a:cxn ang="0">
                  <a:pos x="T2" y="T3"/>
                </a:cxn>
                <a:cxn ang="0">
                  <a:pos x="T4" y="T5"/>
                </a:cxn>
                <a:cxn ang="0">
                  <a:pos x="T6" y="T7"/>
                </a:cxn>
                <a:cxn ang="0">
                  <a:pos x="T8" y="T9"/>
                </a:cxn>
              </a:cxnLst>
              <a:rect l="0" t="0" r="r" b="b"/>
              <a:pathLst>
                <a:path w="121" h="59">
                  <a:moveTo>
                    <a:pt x="0" y="59"/>
                  </a:moveTo>
                  <a:lnTo>
                    <a:pt x="121" y="59"/>
                  </a:lnTo>
                  <a:lnTo>
                    <a:pt x="121" y="0"/>
                  </a:lnTo>
                  <a:lnTo>
                    <a:pt x="18" y="0"/>
                  </a:lnTo>
                  <a:lnTo>
                    <a:pt x="0"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19" name="Freeform 509"/>
            <p:cNvSpPr>
              <a:spLocks/>
            </p:cNvSpPr>
            <p:nvPr/>
          </p:nvSpPr>
          <p:spPr bwMode="auto">
            <a:xfrm rot="2844967">
              <a:off x="2390368" y="4452623"/>
              <a:ext cx="56384" cy="56384"/>
            </a:xfrm>
            <a:custGeom>
              <a:avLst/>
              <a:gdLst>
                <a:gd name="T0" fmla="*/ 38 w 38"/>
                <a:gd name="T1" fmla="*/ 19 h 37"/>
                <a:gd name="T2" fmla="*/ 38 w 38"/>
                <a:gd name="T3" fmla="*/ 19 h 37"/>
                <a:gd name="T4" fmla="*/ 37 w 38"/>
                <a:gd name="T5" fmla="*/ 22 h 37"/>
                <a:gd name="T6" fmla="*/ 35 w 38"/>
                <a:gd name="T7" fmla="*/ 26 h 37"/>
                <a:gd name="T8" fmla="*/ 32 w 38"/>
                <a:gd name="T9" fmla="*/ 32 h 37"/>
                <a:gd name="T10" fmla="*/ 26 w 38"/>
                <a:gd name="T11" fmla="*/ 36 h 37"/>
                <a:gd name="T12" fmla="*/ 22 w 38"/>
                <a:gd name="T13" fmla="*/ 37 h 37"/>
                <a:gd name="T14" fmla="*/ 18 w 38"/>
                <a:gd name="T15" fmla="*/ 37 h 37"/>
                <a:gd name="T16" fmla="*/ 18 w 38"/>
                <a:gd name="T17" fmla="*/ 37 h 37"/>
                <a:gd name="T18" fmla="*/ 15 w 38"/>
                <a:gd name="T19" fmla="*/ 37 h 37"/>
                <a:gd name="T20" fmla="*/ 11 w 38"/>
                <a:gd name="T21" fmla="*/ 36 h 37"/>
                <a:gd name="T22" fmla="*/ 5 w 38"/>
                <a:gd name="T23" fmla="*/ 32 h 37"/>
                <a:gd name="T24" fmla="*/ 1 w 38"/>
                <a:gd name="T25" fmla="*/ 26 h 37"/>
                <a:gd name="T26" fmla="*/ 0 w 38"/>
                <a:gd name="T27" fmla="*/ 22 h 37"/>
                <a:gd name="T28" fmla="*/ 0 w 38"/>
                <a:gd name="T29" fmla="*/ 19 h 37"/>
                <a:gd name="T30" fmla="*/ 0 w 38"/>
                <a:gd name="T31" fmla="*/ 19 h 37"/>
                <a:gd name="T32" fmla="*/ 0 w 38"/>
                <a:gd name="T33" fmla="*/ 15 h 37"/>
                <a:gd name="T34" fmla="*/ 1 w 38"/>
                <a:gd name="T35" fmla="*/ 11 h 37"/>
                <a:gd name="T36" fmla="*/ 5 w 38"/>
                <a:gd name="T37" fmla="*/ 5 h 37"/>
                <a:gd name="T38" fmla="*/ 11 w 38"/>
                <a:gd name="T39" fmla="*/ 2 h 37"/>
                <a:gd name="T40" fmla="*/ 15 w 38"/>
                <a:gd name="T41" fmla="*/ 0 h 37"/>
                <a:gd name="T42" fmla="*/ 18 w 38"/>
                <a:gd name="T43" fmla="*/ 0 h 37"/>
                <a:gd name="T44" fmla="*/ 18 w 38"/>
                <a:gd name="T45" fmla="*/ 0 h 37"/>
                <a:gd name="T46" fmla="*/ 22 w 38"/>
                <a:gd name="T47" fmla="*/ 0 h 37"/>
                <a:gd name="T48" fmla="*/ 26 w 38"/>
                <a:gd name="T49" fmla="*/ 2 h 37"/>
                <a:gd name="T50" fmla="*/ 32 w 38"/>
                <a:gd name="T51" fmla="*/ 5 h 37"/>
                <a:gd name="T52" fmla="*/ 35 w 38"/>
                <a:gd name="T53" fmla="*/ 11 h 37"/>
                <a:gd name="T54" fmla="*/ 37 w 38"/>
                <a:gd name="T55" fmla="*/ 15 h 37"/>
                <a:gd name="T56" fmla="*/ 38 w 38"/>
                <a:gd name="T57" fmla="*/ 19 h 37"/>
                <a:gd name="T58" fmla="*/ 38 w 38"/>
                <a:gd name="T59" fmla="*/ 1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 h="37">
                  <a:moveTo>
                    <a:pt x="38" y="19"/>
                  </a:moveTo>
                  <a:lnTo>
                    <a:pt x="38" y="19"/>
                  </a:lnTo>
                  <a:lnTo>
                    <a:pt x="37" y="22"/>
                  </a:lnTo>
                  <a:lnTo>
                    <a:pt x="35" y="26"/>
                  </a:lnTo>
                  <a:lnTo>
                    <a:pt x="32" y="32"/>
                  </a:lnTo>
                  <a:lnTo>
                    <a:pt x="26" y="36"/>
                  </a:lnTo>
                  <a:lnTo>
                    <a:pt x="22" y="37"/>
                  </a:lnTo>
                  <a:lnTo>
                    <a:pt x="18" y="37"/>
                  </a:lnTo>
                  <a:lnTo>
                    <a:pt x="18" y="37"/>
                  </a:lnTo>
                  <a:lnTo>
                    <a:pt x="15" y="37"/>
                  </a:lnTo>
                  <a:lnTo>
                    <a:pt x="11" y="36"/>
                  </a:lnTo>
                  <a:lnTo>
                    <a:pt x="5" y="32"/>
                  </a:lnTo>
                  <a:lnTo>
                    <a:pt x="1" y="26"/>
                  </a:lnTo>
                  <a:lnTo>
                    <a:pt x="0" y="22"/>
                  </a:lnTo>
                  <a:lnTo>
                    <a:pt x="0" y="19"/>
                  </a:lnTo>
                  <a:lnTo>
                    <a:pt x="0" y="19"/>
                  </a:lnTo>
                  <a:lnTo>
                    <a:pt x="0" y="15"/>
                  </a:lnTo>
                  <a:lnTo>
                    <a:pt x="1" y="11"/>
                  </a:lnTo>
                  <a:lnTo>
                    <a:pt x="5" y="5"/>
                  </a:lnTo>
                  <a:lnTo>
                    <a:pt x="11" y="2"/>
                  </a:lnTo>
                  <a:lnTo>
                    <a:pt x="15" y="0"/>
                  </a:lnTo>
                  <a:lnTo>
                    <a:pt x="18" y="0"/>
                  </a:lnTo>
                  <a:lnTo>
                    <a:pt x="18" y="0"/>
                  </a:lnTo>
                  <a:lnTo>
                    <a:pt x="22" y="0"/>
                  </a:lnTo>
                  <a:lnTo>
                    <a:pt x="26" y="2"/>
                  </a:lnTo>
                  <a:lnTo>
                    <a:pt x="32" y="5"/>
                  </a:lnTo>
                  <a:lnTo>
                    <a:pt x="35" y="11"/>
                  </a:lnTo>
                  <a:lnTo>
                    <a:pt x="37" y="15"/>
                  </a:lnTo>
                  <a:lnTo>
                    <a:pt x="38" y="19"/>
                  </a:lnTo>
                  <a:lnTo>
                    <a:pt x="38"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0" name="Freeform 510"/>
            <p:cNvSpPr>
              <a:spLocks/>
            </p:cNvSpPr>
            <p:nvPr/>
          </p:nvSpPr>
          <p:spPr bwMode="auto">
            <a:xfrm rot="2844967">
              <a:off x="2371035" y="4531470"/>
              <a:ext cx="77531" cy="77531"/>
            </a:xfrm>
            <a:custGeom>
              <a:avLst/>
              <a:gdLst>
                <a:gd name="T0" fmla="*/ 55 w 55"/>
                <a:gd name="T1" fmla="*/ 28 h 56"/>
                <a:gd name="T2" fmla="*/ 55 w 55"/>
                <a:gd name="T3" fmla="*/ 28 h 56"/>
                <a:gd name="T4" fmla="*/ 55 w 55"/>
                <a:gd name="T5" fmla="*/ 34 h 56"/>
                <a:gd name="T6" fmla="*/ 53 w 55"/>
                <a:gd name="T7" fmla="*/ 39 h 56"/>
                <a:gd name="T8" fmla="*/ 51 w 55"/>
                <a:gd name="T9" fmla="*/ 44 h 56"/>
                <a:gd name="T10" fmla="*/ 47 w 55"/>
                <a:gd name="T11" fmla="*/ 49 h 56"/>
                <a:gd name="T12" fmla="*/ 43 w 55"/>
                <a:gd name="T13" fmla="*/ 52 h 56"/>
                <a:gd name="T14" fmla="*/ 38 w 55"/>
                <a:gd name="T15" fmla="*/ 55 h 56"/>
                <a:gd name="T16" fmla="*/ 33 w 55"/>
                <a:gd name="T17" fmla="*/ 56 h 56"/>
                <a:gd name="T18" fmla="*/ 27 w 55"/>
                <a:gd name="T19" fmla="*/ 56 h 56"/>
                <a:gd name="T20" fmla="*/ 27 w 55"/>
                <a:gd name="T21" fmla="*/ 56 h 56"/>
                <a:gd name="T22" fmla="*/ 22 w 55"/>
                <a:gd name="T23" fmla="*/ 56 h 56"/>
                <a:gd name="T24" fmla="*/ 17 w 55"/>
                <a:gd name="T25" fmla="*/ 55 h 56"/>
                <a:gd name="T26" fmla="*/ 12 w 55"/>
                <a:gd name="T27" fmla="*/ 52 h 56"/>
                <a:gd name="T28" fmla="*/ 7 w 55"/>
                <a:gd name="T29" fmla="*/ 49 h 56"/>
                <a:gd name="T30" fmla="*/ 3 w 55"/>
                <a:gd name="T31" fmla="*/ 44 h 56"/>
                <a:gd name="T32" fmla="*/ 1 w 55"/>
                <a:gd name="T33" fmla="*/ 39 h 56"/>
                <a:gd name="T34" fmla="*/ 0 w 55"/>
                <a:gd name="T35" fmla="*/ 34 h 56"/>
                <a:gd name="T36" fmla="*/ 0 w 55"/>
                <a:gd name="T37" fmla="*/ 28 h 56"/>
                <a:gd name="T38" fmla="*/ 0 w 55"/>
                <a:gd name="T39" fmla="*/ 28 h 56"/>
                <a:gd name="T40" fmla="*/ 0 w 55"/>
                <a:gd name="T41" fmla="*/ 23 h 56"/>
                <a:gd name="T42" fmla="*/ 1 w 55"/>
                <a:gd name="T43" fmla="*/ 18 h 56"/>
                <a:gd name="T44" fmla="*/ 3 w 55"/>
                <a:gd name="T45" fmla="*/ 13 h 56"/>
                <a:gd name="T46" fmla="*/ 7 w 55"/>
                <a:gd name="T47" fmla="*/ 9 h 56"/>
                <a:gd name="T48" fmla="*/ 12 w 55"/>
                <a:gd name="T49" fmla="*/ 5 h 56"/>
                <a:gd name="T50" fmla="*/ 17 w 55"/>
                <a:gd name="T51" fmla="*/ 2 h 56"/>
                <a:gd name="T52" fmla="*/ 22 w 55"/>
                <a:gd name="T53" fmla="*/ 1 h 56"/>
                <a:gd name="T54" fmla="*/ 27 w 55"/>
                <a:gd name="T55" fmla="*/ 0 h 56"/>
                <a:gd name="T56" fmla="*/ 27 w 55"/>
                <a:gd name="T57" fmla="*/ 0 h 56"/>
                <a:gd name="T58" fmla="*/ 33 w 55"/>
                <a:gd name="T59" fmla="*/ 1 h 56"/>
                <a:gd name="T60" fmla="*/ 38 w 55"/>
                <a:gd name="T61" fmla="*/ 2 h 56"/>
                <a:gd name="T62" fmla="*/ 43 w 55"/>
                <a:gd name="T63" fmla="*/ 5 h 56"/>
                <a:gd name="T64" fmla="*/ 47 w 55"/>
                <a:gd name="T65" fmla="*/ 9 h 56"/>
                <a:gd name="T66" fmla="*/ 51 w 55"/>
                <a:gd name="T67" fmla="*/ 13 h 56"/>
                <a:gd name="T68" fmla="*/ 53 w 55"/>
                <a:gd name="T69" fmla="*/ 18 h 56"/>
                <a:gd name="T70" fmla="*/ 55 w 55"/>
                <a:gd name="T71" fmla="*/ 23 h 56"/>
                <a:gd name="T72" fmla="*/ 55 w 55"/>
                <a:gd name="T73" fmla="*/ 28 h 56"/>
                <a:gd name="T74" fmla="*/ 55 w 55"/>
                <a:gd name="T75"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56">
                  <a:moveTo>
                    <a:pt x="55" y="28"/>
                  </a:moveTo>
                  <a:lnTo>
                    <a:pt x="55" y="28"/>
                  </a:lnTo>
                  <a:lnTo>
                    <a:pt x="55" y="34"/>
                  </a:lnTo>
                  <a:lnTo>
                    <a:pt x="53" y="39"/>
                  </a:lnTo>
                  <a:lnTo>
                    <a:pt x="51" y="44"/>
                  </a:lnTo>
                  <a:lnTo>
                    <a:pt x="47" y="49"/>
                  </a:lnTo>
                  <a:lnTo>
                    <a:pt x="43" y="52"/>
                  </a:lnTo>
                  <a:lnTo>
                    <a:pt x="38" y="55"/>
                  </a:lnTo>
                  <a:lnTo>
                    <a:pt x="33" y="56"/>
                  </a:lnTo>
                  <a:lnTo>
                    <a:pt x="27" y="56"/>
                  </a:lnTo>
                  <a:lnTo>
                    <a:pt x="27" y="56"/>
                  </a:lnTo>
                  <a:lnTo>
                    <a:pt x="22" y="56"/>
                  </a:lnTo>
                  <a:lnTo>
                    <a:pt x="17" y="55"/>
                  </a:lnTo>
                  <a:lnTo>
                    <a:pt x="12" y="52"/>
                  </a:lnTo>
                  <a:lnTo>
                    <a:pt x="7" y="49"/>
                  </a:lnTo>
                  <a:lnTo>
                    <a:pt x="3" y="44"/>
                  </a:lnTo>
                  <a:lnTo>
                    <a:pt x="1" y="39"/>
                  </a:lnTo>
                  <a:lnTo>
                    <a:pt x="0" y="34"/>
                  </a:lnTo>
                  <a:lnTo>
                    <a:pt x="0" y="28"/>
                  </a:lnTo>
                  <a:lnTo>
                    <a:pt x="0" y="28"/>
                  </a:lnTo>
                  <a:lnTo>
                    <a:pt x="0" y="23"/>
                  </a:lnTo>
                  <a:lnTo>
                    <a:pt x="1" y="18"/>
                  </a:lnTo>
                  <a:lnTo>
                    <a:pt x="3" y="13"/>
                  </a:lnTo>
                  <a:lnTo>
                    <a:pt x="7" y="9"/>
                  </a:lnTo>
                  <a:lnTo>
                    <a:pt x="12" y="5"/>
                  </a:lnTo>
                  <a:lnTo>
                    <a:pt x="17" y="2"/>
                  </a:lnTo>
                  <a:lnTo>
                    <a:pt x="22" y="1"/>
                  </a:lnTo>
                  <a:lnTo>
                    <a:pt x="27" y="0"/>
                  </a:lnTo>
                  <a:lnTo>
                    <a:pt x="27" y="0"/>
                  </a:lnTo>
                  <a:lnTo>
                    <a:pt x="33" y="1"/>
                  </a:lnTo>
                  <a:lnTo>
                    <a:pt x="38" y="2"/>
                  </a:lnTo>
                  <a:lnTo>
                    <a:pt x="43" y="5"/>
                  </a:lnTo>
                  <a:lnTo>
                    <a:pt x="47" y="9"/>
                  </a:lnTo>
                  <a:lnTo>
                    <a:pt x="51" y="13"/>
                  </a:lnTo>
                  <a:lnTo>
                    <a:pt x="53" y="18"/>
                  </a:lnTo>
                  <a:lnTo>
                    <a:pt x="55" y="23"/>
                  </a:lnTo>
                  <a:lnTo>
                    <a:pt x="55" y="28"/>
                  </a:lnTo>
                  <a:lnTo>
                    <a:pt x="55"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1" name="Freeform 511"/>
            <p:cNvSpPr>
              <a:spLocks/>
            </p:cNvSpPr>
            <p:nvPr/>
          </p:nvSpPr>
          <p:spPr bwMode="auto">
            <a:xfrm rot="2844967">
              <a:off x="2531473" y="4641333"/>
              <a:ext cx="232588" cy="281926"/>
            </a:xfrm>
            <a:custGeom>
              <a:avLst/>
              <a:gdLst>
                <a:gd name="T0" fmla="*/ 123 w 164"/>
                <a:gd name="T1" fmla="*/ 199 h 199"/>
                <a:gd name="T2" fmla="*/ 0 w 164"/>
                <a:gd name="T3" fmla="*/ 156 h 199"/>
                <a:gd name="T4" fmla="*/ 6 w 164"/>
                <a:gd name="T5" fmla="*/ 0 h 199"/>
                <a:gd name="T6" fmla="*/ 164 w 164"/>
                <a:gd name="T7" fmla="*/ 99 h 199"/>
                <a:gd name="T8" fmla="*/ 123 w 164"/>
                <a:gd name="T9" fmla="*/ 199 h 199"/>
              </a:gdLst>
              <a:ahLst/>
              <a:cxnLst>
                <a:cxn ang="0">
                  <a:pos x="T0" y="T1"/>
                </a:cxn>
                <a:cxn ang="0">
                  <a:pos x="T2" y="T3"/>
                </a:cxn>
                <a:cxn ang="0">
                  <a:pos x="T4" y="T5"/>
                </a:cxn>
                <a:cxn ang="0">
                  <a:pos x="T6" y="T7"/>
                </a:cxn>
                <a:cxn ang="0">
                  <a:pos x="T8" y="T9"/>
                </a:cxn>
              </a:cxnLst>
              <a:rect l="0" t="0" r="r" b="b"/>
              <a:pathLst>
                <a:path w="164" h="199">
                  <a:moveTo>
                    <a:pt x="123" y="199"/>
                  </a:moveTo>
                  <a:lnTo>
                    <a:pt x="0" y="156"/>
                  </a:lnTo>
                  <a:lnTo>
                    <a:pt x="6" y="0"/>
                  </a:lnTo>
                  <a:lnTo>
                    <a:pt x="164" y="99"/>
                  </a:lnTo>
                  <a:lnTo>
                    <a:pt x="123" y="199"/>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2" name="Freeform 512"/>
            <p:cNvSpPr>
              <a:spLocks/>
            </p:cNvSpPr>
            <p:nvPr/>
          </p:nvSpPr>
          <p:spPr bwMode="auto">
            <a:xfrm rot="2844967">
              <a:off x="2237927" y="4851745"/>
              <a:ext cx="169153" cy="28192"/>
            </a:xfrm>
            <a:custGeom>
              <a:avLst/>
              <a:gdLst>
                <a:gd name="T0" fmla="*/ 119 w 119"/>
                <a:gd name="T1" fmla="*/ 0 h 20"/>
                <a:gd name="T2" fmla="*/ 119 w 119"/>
                <a:gd name="T3" fmla="*/ 0 h 20"/>
                <a:gd name="T4" fmla="*/ 119 w 119"/>
                <a:gd name="T5" fmla="*/ 3 h 20"/>
                <a:gd name="T6" fmla="*/ 117 w 119"/>
                <a:gd name="T7" fmla="*/ 4 h 20"/>
                <a:gd name="T8" fmla="*/ 111 w 119"/>
                <a:gd name="T9" fmla="*/ 8 h 20"/>
                <a:gd name="T10" fmla="*/ 100 w 119"/>
                <a:gd name="T11" fmla="*/ 11 h 20"/>
                <a:gd name="T12" fmla="*/ 85 w 119"/>
                <a:gd name="T13" fmla="*/ 15 h 20"/>
                <a:gd name="T14" fmla="*/ 67 w 119"/>
                <a:gd name="T15" fmla="*/ 17 h 20"/>
                <a:gd name="T16" fmla="*/ 46 w 119"/>
                <a:gd name="T17" fmla="*/ 19 h 20"/>
                <a:gd name="T18" fmla="*/ 24 w 119"/>
                <a:gd name="T19" fmla="*/ 20 h 20"/>
                <a:gd name="T20" fmla="*/ 0 w 119"/>
                <a:gd name="T21" fmla="*/ 20 h 20"/>
                <a:gd name="T22" fmla="*/ 0 w 119"/>
                <a:gd name="T23" fmla="*/ 0 h 20"/>
                <a:gd name="T24" fmla="*/ 119 w 119"/>
                <a:gd name="T2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9" h="20">
                  <a:moveTo>
                    <a:pt x="119" y="0"/>
                  </a:moveTo>
                  <a:lnTo>
                    <a:pt x="119" y="0"/>
                  </a:lnTo>
                  <a:lnTo>
                    <a:pt x="119" y="3"/>
                  </a:lnTo>
                  <a:lnTo>
                    <a:pt x="117" y="4"/>
                  </a:lnTo>
                  <a:lnTo>
                    <a:pt x="111" y="8"/>
                  </a:lnTo>
                  <a:lnTo>
                    <a:pt x="100" y="11"/>
                  </a:lnTo>
                  <a:lnTo>
                    <a:pt x="85" y="15"/>
                  </a:lnTo>
                  <a:lnTo>
                    <a:pt x="67" y="17"/>
                  </a:lnTo>
                  <a:lnTo>
                    <a:pt x="46" y="19"/>
                  </a:lnTo>
                  <a:lnTo>
                    <a:pt x="24" y="20"/>
                  </a:lnTo>
                  <a:lnTo>
                    <a:pt x="0" y="20"/>
                  </a:lnTo>
                  <a:lnTo>
                    <a:pt x="0" y="0"/>
                  </a:lnTo>
                  <a:lnTo>
                    <a:pt x="119"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3" name="Freeform 513"/>
            <p:cNvSpPr>
              <a:spLocks/>
            </p:cNvSpPr>
            <p:nvPr/>
          </p:nvSpPr>
          <p:spPr bwMode="auto">
            <a:xfrm rot="2844967">
              <a:off x="2692443" y="3992929"/>
              <a:ext cx="246684" cy="944446"/>
            </a:xfrm>
            <a:custGeom>
              <a:avLst/>
              <a:gdLst>
                <a:gd name="T0" fmla="*/ 0 w 173"/>
                <a:gd name="T1" fmla="*/ 0 h 669"/>
                <a:gd name="T2" fmla="*/ 0 w 173"/>
                <a:gd name="T3" fmla="*/ 669 h 669"/>
                <a:gd name="T4" fmla="*/ 102 w 173"/>
                <a:gd name="T5" fmla="*/ 669 h 669"/>
                <a:gd name="T6" fmla="*/ 102 w 173"/>
                <a:gd name="T7" fmla="*/ 669 h 669"/>
                <a:gd name="T8" fmla="*/ 106 w 173"/>
                <a:gd name="T9" fmla="*/ 665 h 669"/>
                <a:gd name="T10" fmla="*/ 113 w 173"/>
                <a:gd name="T11" fmla="*/ 651 h 669"/>
                <a:gd name="T12" fmla="*/ 125 w 173"/>
                <a:gd name="T13" fmla="*/ 629 h 669"/>
                <a:gd name="T14" fmla="*/ 137 w 173"/>
                <a:gd name="T15" fmla="*/ 599 h 669"/>
                <a:gd name="T16" fmla="*/ 145 w 173"/>
                <a:gd name="T17" fmla="*/ 580 h 669"/>
                <a:gd name="T18" fmla="*/ 151 w 173"/>
                <a:gd name="T19" fmla="*/ 560 h 669"/>
                <a:gd name="T20" fmla="*/ 157 w 173"/>
                <a:gd name="T21" fmla="*/ 538 h 669"/>
                <a:gd name="T22" fmla="*/ 162 w 173"/>
                <a:gd name="T23" fmla="*/ 513 h 669"/>
                <a:gd name="T24" fmla="*/ 167 w 173"/>
                <a:gd name="T25" fmla="*/ 487 h 669"/>
                <a:gd name="T26" fmla="*/ 170 w 173"/>
                <a:gd name="T27" fmla="*/ 458 h 669"/>
                <a:gd name="T28" fmla="*/ 172 w 173"/>
                <a:gd name="T29" fmla="*/ 429 h 669"/>
                <a:gd name="T30" fmla="*/ 173 w 173"/>
                <a:gd name="T31" fmla="*/ 398 h 669"/>
                <a:gd name="T32" fmla="*/ 173 w 173"/>
                <a:gd name="T33" fmla="*/ 398 h 669"/>
                <a:gd name="T34" fmla="*/ 173 w 173"/>
                <a:gd name="T35" fmla="*/ 382 h 669"/>
                <a:gd name="T36" fmla="*/ 172 w 173"/>
                <a:gd name="T37" fmla="*/ 365 h 669"/>
                <a:gd name="T38" fmla="*/ 167 w 173"/>
                <a:gd name="T39" fmla="*/ 330 h 669"/>
                <a:gd name="T40" fmla="*/ 159 w 173"/>
                <a:gd name="T41" fmla="*/ 296 h 669"/>
                <a:gd name="T42" fmla="*/ 151 w 173"/>
                <a:gd name="T43" fmla="*/ 262 h 669"/>
                <a:gd name="T44" fmla="*/ 139 w 173"/>
                <a:gd name="T45" fmla="*/ 229 h 669"/>
                <a:gd name="T46" fmla="*/ 127 w 173"/>
                <a:gd name="T47" fmla="*/ 196 h 669"/>
                <a:gd name="T48" fmla="*/ 113 w 173"/>
                <a:gd name="T49" fmla="*/ 165 h 669"/>
                <a:gd name="T50" fmla="*/ 98 w 173"/>
                <a:gd name="T51" fmla="*/ 134 h 669"/>
                <a:gd name="T52" fmla="*/ 84 w 173"/>
                <a:gd name="T53" fmla="*/ 106 h 669"/>
                <a:gd name="T54" fmla="*/ 69 w 173"/>
                <a:gd name="T55" fmla="*/ 81 h 669"/>
                <a:gd name="T56" fmla="*/ 55 w 173"/>
                <a:gd name="T57" fmla="*/ 57 h 669"/>
                <a:gd name="T58" fmla="*/ 40 w 173"/>
                <a:gd name="T59" fmla="*/ 38 h 669"/>
                <a:gd name="T60" fmla="*/ 28 w 173"/>
                <a:gd name="T61" fmla="*/ 22 h 669"/>
                <a:gd name="T62" fmla="*/ 17 w 173"/>
                <a:gd name="T63" fmla="*/ 11 h 669"/>
                <a:gd name="T64" fmla="*/ 7 w 173"/>
                <a:gd name="T65" fmla="*/ 4 h 669"/>
                <a:gd name="T66" fmla="*/ 3 w 173"/>
                <a:gd name="T67" fmla="*/ 1 h 669"/>
                <a:gd name="T68" fmla="*/ 0 w 173"/>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669">
                  <a:moveTo>
                    <a:pt x="0" y="0"/>
                  </a:moveTo>
                  <a:lnTo>
                    <a:pt x="0" y="669"/>
                  </a:lnTo>
                  <a:lnTo>
                    <a:pt x="102" y="669"/>
                  </a:lnTo>
                  <a:lnTo>
                    <a:pt x="102" y="669"/>
                  </a:lnTo>
                  <a:lnTo>
                    <a:pt x="106" y="665"/>
                  </a:lnTo>
                  <a:lnTo>
                    <a:pt x="113" y="651"/>
                  </a:lnTo>
                  <a:lnTo>
                    <a:pt x="125" y="629"/>
                  </a:lnTo>
                  <a:lnTo>
                    <a:pt x="137" y="599"/>
                  </a:lnTo>
                  <a:lnTo>
                    <a:pt x="145" y="580"/>
                  </a:lnTo>
                  <a:lnTo>
                    <a:pt x="151" y="560"/>
                  </a:lnTo>
                  <a:lnTo>
                    <a:pt x="157" y="538"/>
                  </a:lnTo>
                  <a:lnTo>
                    <a:pt x="162" y="513"/>
                  </a:lnTo>
                  <a:lnTo>
                    <a:pt x="167" y="487"/>
                  </a:lnTo>
                  <a:lnTo>
                    <a:pt x="170" y="458"/>
                  </a:lnTo>
                  <a:lnTo>
                    <a:pt x="172" y="429"/>
                  </a:lnTo>
                  <a:lnTo>
                    <a:pt x="173" y="398"/>
                  </a:lnTo>
                  <a:lnTo>
                    <a:pt x="173" y="398"/>
                  </a:lnTo>
                  <a:lnTo>
                    <a:pt x="173" y="382"/>
                  </a:lnTo>
                  <a:lnTo>
                    <a:pt x="172" y="365"/>
                  </a:lnTo>
                  <a:lnTo>
                    <a:pt x="167" y="330"/>
                  </a:lnTo>
                  <a:lnTo>
                    <a:pt x="159" y="296"/>
                  </a:lnTo>
                  <a:lnTo>
                    <a:pt x="151" y="262"/>
                  </a:lnTo>
                  <a:lnTo>
                    <a:pt x="139" y="229"/>
                  </a:lnTo>
                  <a:lnTo>
                    <a:pt x="127" y="196"/>
                  </a:lnTo>
                  <a:lnTo>
                    <a:pt x="113" y="165"/>
                  </a:lnTo>
                  <a:lnTo>
                    <a:pt x="98" y="134"/>
                  </a:lnTo>
                  <a:lnTo>
                    <a:pt x="84" y="106"/>
                  </a:lnTo>
                  <a:lnTo>
                    <a:pt x="69" y="81"/>
                  </a:lnTo>
                  <a:lnTo>
                    <a:pt x="55" y="57"/>
                  </a:lnTo>
                  <a:lnTo>
                    <a:pt x="40" y="38"/>
                  </a:lnTo>
                  <a:lnTo>
                    <a:pt x="28" y="22"/>
                  </a:lnTo>
                  <a:lnTo>
                    <a:pt x="17" y="11"/>
                  </a:lnTo>
                  <a:lnTo>
                    <a:pt x="7" y="4"/>
                  </a:lnTo>
                  <a:lnTo>
                    <a:pt x="3" y="1"/>
                  </a:lnTo>
                  <a:lnTo>
                    <a:pt x="0"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4" name="Freeform 514"/>
            <p:cNvSpPr>
              <a:spLocks/>
            </p:cNvSpPr>
            <p:nvPr/>
          </p:nvSpPr>
          <p:spPr bwMode="auto">
            <a:xfrm rot="2844967">
              <a:off x="2692443" y="3992929"/>
              <a:ext cx="246684" cy="944446"/>
            </a:xfrm>
            <a:custGeom>
              <a:avLst/>
              <a:gdLst>
                <a:gd name="T0" fmla="*/ 0 w 173"/>
                <a:gd name="T1" fmla="*/ 0 h 669"/>
                <a:gd name="T2" fmla="*/ 0 w 173"/>
                <a:gd name="T3" fmla="*/ 669 h 669"/>
                <a:gd name="T4" fmla="*/ 102 w 173"/>
                <a:gd name="T5" fmla="*/ 669 h 669"/>
                <a:gd name="T6" fmla="*/ 102 w 173"/>
                <a:gd name="T7" fmla="*/ 669 h 669"/>
                <a:gd name="T8" fmla="*/ 106 w 173"/>
                <a:gd name="T9" fmla="*/ 665 h 669"/>
                <a:gd name="T10" fmla="*/ 113 w 173"/>
                <a:gd name="T11" fmla="*/ 651 h 669"/>
                <a:gd name="T12" fmla="*/ 125 w 173"/>
                <a:gd name="T13" fmla="*/ 629 h 669"/>
                <a:gd name="T14" fmla="*/ 137 w 173"/>
                <a:gd name="T15" fmla="*/ 599 h 669"/>
                <a:gd name="T16" fmla="*/ 145 w 173"/>
                <a:gd name="T17" fmla="*/ 580 h 669"/>
                <a:gd name="T18" fmla="*/ 151 w 173"/>
                <a:gd name="T19" fmla="*/ 560 h 669"/>
                <a:gd name="T20" fmla="*/ 157 w 173"/>
                <a:gd name="T21" fmla="*/ 538 h 669"/>
                <a:gd name="T22" fmla="*/ 162 w 173"/>
                <a:gd name="T23" fmla="*/ 513 h 669"/>
                <a:gd name="T24" fmla="*/ 167 w 173"/>
                <a:gd name="T25" fmla="*/ 487 h 669"/>
                <a:gd name="T26" fmla="*/ 170 w 173"/>
                <a:gd name="T27" fmla="*/ 458 h 669"/>
                <a:gd name="T28" fmla="*/ 172 w 173"/>
                <a:gd name="T29" fmla="*/ 429 h 669"/>
                <a:gd name="T30" fmla="*/ 173 w 173"/>
                <a:gd name="T31" fmla="*/ 398 h 669"/>
                <a:gd name="T32" fmla="*/ 173 w 173"/>
                <a:gd name="T33" fmla="*/ 398 h 669"/>
                <a:gd name="T34" fmla="*/ 173 w 173"/>
                <a:gd name="T35" fmla="*/ 382 h 669"/>
                <a:gd name="T36" fmla="*/ 172 w 173"/>
                <a:gd name="T37" fmla="*/ 365 h 669"/>
                <a:gd name="T38" fmla="*/ 167 w 173"/>
                <a:gd name="T39" fmla="*/ 330 h 669"/>
                <a:gd name="T40" fmla="*/ 159 w 173"/>
                <a:gd name="T41" fmla="*/ 296 h 669"/>
                <a:gd name="T42" fmla="*/ 151 w 173"/>
                <a:gd name="T43" fmla="*/ 262 h 669"/>
                <a:gd name="T44" fmla="*/ 139 w 173"/>
                <a:gd name="T45" fmla="*/ 229 h 669"/>
                <a:gd name="T46" fmla="*/ 127 w 173"/>
                <a:gd name="T47" fmla="*/ 196 h 669"/>
                <a:gd name="T48" fmla="*/ 113 w 173"/>
                <a:gd name="T49" fmla="*/ 165 h 669"/>
                <a:gd name="T50" fmla="*/ 98 w 173"/>
                <a:gd name="T51" fmla="*/ 134 h 669"/>
                <a:gd name="T52" fmla="*/ 84 w 173"/>
                <a:gd name="T53" fmla="*/ 106 h 669"/>
                <a:gd name="T54" fmla="*/ 69 w 173"/>
                <a:gd name="T55" fmla="*/ 81 h 669"/>
                <a:gd name="T56" fmla="*/ 55 w 173"/>
                <a:gd name="T57" fmla="*/ 57 h 669"/>
                <a:gd name="T58" fmla="*/ 40 w 173"/>
                <a:gd name="T59" fmla="*/ 38 h 669"/>
                <a:gd name="T60" fmla="*/ 28 w 173"/>
                <a:gd name="T61" fmla="*/ 22 h 669"/>
                <a:gd name="T62" fmla="*/ 17 w 173"/>
                <a:gd name="T63" fmla="*/ 11 h 669"/>
                <a:gd name="T64" fmla="*/ 7 w 173"/>
                <a:gd name="T65" fmla="*/ 4 h 669"/>
                <a:gd name="T66" fmla="*/ 3 w 173"/>
                <a:gd name="T67" fmla="*/ 1 h 669"/>
                <a:gd name="T68" fmla="*/ 0 w 173"/>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669">
                  <a:moveTo>
                    <a:pt x="0" y="0"/>
                  </a:moveTo>
                  <a:lnTo>
                    <a:pt x="0" y="669"/>
                  </a:lnTo>
                  <a:lnTo>
                    <a:pt x="102" y="669"/>
                  </a:lnTo>
                  <a:lnTo>
                    <a:pt x="102" y="669"/>
                  </a:lnTo>
                  <a:lnTo>
                    <a:pt x="106" y="665"/>
                  </a:lnTo>
                  <a:lnTo>
                    <a:pt x="113" y="651"/>
                  </a:lnTo>
                  <a:lnTo>
                    <a:pt x="125" y="629"/>
                  </a:lnTo>
                  <a:lnTo>
                    <a:pt x="137" y="599"/>
                  </a:lnTo>
                  <a:lnTo>
                    <a:pt x="145" y="580"/>
                  </a:lnTo>
                  <a:lnTo>
                    <a:pt x="151" y="560"/>
                  </a:lnTo>
                  <a:lnTo>
                    <a:pt x="157" y="538"/>
                  </a:lnTo>
                  <a:lnTo>
                    <a:pt x="162" y="513"/>
                  </a:lnTo>
                  <a:lnTo>
                    <a:pt x="167" y="487"/>
                  </a:lnTo>
                  <a:lnTo>
                    <a:pt x="170" y="458"/>
                  </a:lnTo>
                  <a:lnTo>
                    <a:pt x="172" y="429"/>
                  </a:lnTo>
                  <a:lnTo>
                    <a:pt x="173" y="398"/>
                  </a:lnTo>
                  <a:lnTo>
                    <a:pt x="173" y="398"/>
                  </a:lnTo>
                  <a:lnTo>
                    <a:pt x="173" y="382"/>
                  </a:lnTo>
                  <a:lnTo>
                    <a:pt x="172" y="365"/>
                  </a:lnTo>
                  <a:lnTo>
                    <a:pt x="167" y="330"/>
                  </a:lnTo>
                  <a:lnTo>
                    <a:pt x="159" y="296"/>
                  </a:lnTo>
                  <a:lnTo>
                    <a:pt x="151" y="262"/>
                  </a:lnTo>
                  <a:lnTo>
                    <a:pt x="139" y="229"/>
                  </a:lnTo>
                  <a:lnTo>
                    <a:pt x="127" y="196"/>
                  </a:lnTo>
                  <a:lnTo>
                    <a:pt x="113" y="165"/>
                  </a:lnTo>
                  <a:lnTo>
                    <a:pt x="98" y="134"/>
                  </a:lnTo>
                  <a:lnTo>
                    <a:pt x="84" y="106"/>
                  </a:lnTo>
                  <a:lnTo>
                    <a:pt x="69" y="81"/>
                  </a:lnTo>
                  <a:lnTo>
                    <a:pt x="55" y="57"/>
                  </a:lnTo>
                  <a:lnTo>
                    <a:pt x="40" y="38"/>
                  </a:lnTo>
                  <a:lnTo>
                    <a:pt x="28" y="22"/>
                  </a:lnTo>
                  <a:lnTo>
                    <a:pt x="17" y="11"/>
                  </a:lnTo>
                  <a:lnTo>
                    <a:pt x="7" y="4"/>
                  </a:lnTo>
                  <a:lnTo>
                    <a:pt x="3"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5" name="Freeform 515"/>
            <p:cNvSpPr>
              <a:spLocks/>
            </p:cNvSpPr>
            <p:nvPr/>
          </p:nvSpPr>
          <p:spPr bwMode="auto">
            <a:xfrm rot="2844967">
              <a:off x="2989448" y="4070738"/>
              <a:ext cx="126865" cy="190299"/>
            </a:xfrm>
            <a:custGeom>
              <a:avLst/>
              <a:gdLst>
                <a:gd name="T0" fmla="*/ 88 w 88"/>
                <a:gd name="T1" fmla="*/ 113 h 132"/>
                <a:gd name="T2" fmla="*/ 88 w 88"/>
                <a:gd name="T3" fmla="*/ 113 h 132"/>
                <a:gd name="T4" fmla="*/ 68 w 88"/>
                <a:gd name="T5" fmla="*/ 121 h 132"/>
                <a:gd name="T6" fmla="*/ 46 w 88"/>
                <a:gd name="T7" fmla="*/ 127 h 132"/>
                <a:gd name="T8" fmla="*/ 23 w 88"/>
                <a:gd name="T9" fmla="*/ 131 h 132"/>
                <a:gd name="T10" fmla="*/ 0 w 88"/>
                <a:gd name="T11" fmla="*/ 132 h 132"/>
                <a:gd name="T12" fmla="*/ 0 w 88"/>
                <a:gd name="T13" fmla="*/ 0 h 132"/>
                <a:gd name="T14" fmla="*/ 0 w 88"/>
                <a:gd name="T15" fmla="*/ 0 h 132"/>
                <a:gd name="T16" fmla="*/ 2 w 88"/>
                <a:gd name="T17" fmla="*/ 1 h 132"/>
                <a:gd name="T18" fmla="*/ 6 w 88"/>
                <a:gd name="T19" fmla="*/ 3 h 132"/>
                <a:gd name="T20" fmla="*/ 14 w 88"/>
                <a:gd name="T21" fmla="*/ 9 h 132"/>
                <a:gd name="T22" fmla="*/ 24 w 88"/>
                <a:gd name="T23" fmla="*/ 18 h 132"/>
                <a:gd name="T24" fmla="*/ 35 w 88"/>
                <a:gd name="T25" fmla="*/ 32 h 132"/>
                <a:gd name="T26" fmla="*/ 47 w 88"/>
                <a:gd name="T27" fmla="*/ 49 h 132"/>
                <a:gd name="T28" fmla="*/ 61 w 88"/>
                <a:gd name="T29" fmla="*/ 67 h 132"/>
                <a:gd name="T30" fmla="*/ 74 w 88"/>
                <a:gd name="T31" fmla="*/ 89 h 132"/>
                <a:gd name="T32" fmla="*/ 88 w 88"/>
                <a:gd name="T33" fmla="*/ 113 h 132"/>
                <a:gd name="T34" fmla="*/ 88 w 88"/>
                <a:gd name="T35" fmla="*/ 11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132">
                  <a:moveTo>
                    <a:pt x="88" y="113"/>
                  </a:moveTo>
                  <a:lnTo>
                    <a:pt x="88" y="113"/>
                  </a:lnTo>
                  <a:lnTo>
                    <a:pt x="68" y="121"/>
                  </a:lnTo>
                  <a:lnTo>
                    <a:pt x="46" y="127"/>
                  </a:lnTo>
                  <a:lnTo>
                    <a:pt x="23" y="131"/>
                  </a:lnTo>
                  <a:lnTo>
                    <a:pt x="0" y="132"/>
                  </a:lnTo>
                  <a:lnTo>
                    <a:pt x="0" y="0"/>
                  </a:lnTo>
                  <a:lnTo>
                    <a:pt x="0" y="0"/>
                  </a:lnTo>
                  <a:lnTo>
                    <a:pt x="2" y="1"/>
                  </a:lnTo>
                  <a:lnTo>
                    <a:pt x="6" y="3"/>
                  </a:lnTo>
                  <a:lnTo>
                    <a:pt x="14" y="9"/>
                  </a:lnTo>
                  <a:lnTo>
                    <a:pt x="24" y="18"/>
                  </a:lnTo>
                  <a:lnTo>
                    <a:pt x="35" y="32"/>
                  </a:lnTo>
                  <a:lnTo>
                    <a:pt x="47" y="49"/>
                  </a:lnTo>
                  <a:lnTo>
                    <a:pt x="61" y="67"/>
                  </a:lnTo>
                  <a:lnTo>
                    <a:pt x="74" y="89"/>
                  </a:lnTo>
                  <a:lnTo>
                    <a:pt x="88" y="113"/>
                  </a:lnTo>
                  <a:lnTo>
                    <a:pt x="88" y="113"/>
                  </a:lnTo>
                  <a:close/>
                </a:path>
              </a:pathLst>
            </a:custGeom>
            <a:solidFill>
              <a:srgbClr val="FF6A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6" name="Freeform 516"/>
            <p:cNvSpPr>
              <a:spLocks/>
            </p:cNvSpPr>
            <p:nvPr/>
          </p:nvSpPr>
          <p:spPr bwMode="auto">
            <a:xfrm rot="2844967">
              <a:off x="2498680" y="4789557"/>
              <a:ext cx="169153" cy="324214"/>
            </a:xfrm>
            <a:custGeom>
              <a:avLst/>
              <a:gdLst>
                <a:gd name="T0" fmla="*/ 11 w 120"/>
                <a:gd name="T1" fmla="*/ 234 h 234"/>
                <a:gd name="T2" fmla="*/ 0 w 120"/>
                <a:gd name="T3" fmla="*/ 189 h 234"/>
                <a:gd name="T4" fmla="*/ 82 w 120"/>
                <a:gd name="T5" fmla="*/ 0 h 234"/>
                <a:gd name="T6" fmla="*/ 120 w 120"/>
                <a:gd name="T7" fmla="*/ 23 h 234"/>
                <a:gd name="T8" fmla="*/ 11 w 120"/>
                <a:gd name="T9" fmla="*/ 234 h 234"/>
              </a:gdLst>
              <a:ahLst/>
              <a:cxnLst>
                <a:cxn ang="0">
                  <a:pos x="T0" y="T1"/>
                </a:cxn>
                <a:cxn ang="0">
                  <a:pos x="T2" y="T3"/>
                </a:cxn>
                <a:cxn ang="0">
                  <a:pos x="T4" y="T5"/>
                </a:cxn>
                <a:cxn ang="0">
                  <a:pos x="T6" y="T7"/>
                </a:cxn>
                <a:cxn ang="0">
                  <a:pos x="T8" y="T9"/>
                </a:cxn>
              </a:cxnLst>
              <a:rect l="0" t="0" r="r" b="b"/>
              <a:pathLst>
                <a:path w="120" h="234">
                  <a:moveTo>
                    <a:pt x="11" y="234"/>
                  </a:moveTo>
                  <a:lnTo>
                    <a:pt x="0" y="189"/>
                  </a:lnTo>
                  <a:lnTo>
                    <a:pt x="82" y="0"/>
                  </a:lnTo>
                  <a:lnTo>
                    <a:pt x="120" y="23"/>
                  </a:lnTo>
                  <a:lnTo>
                    <a:pt x="11" y="234"/>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7" name="Freeform 517"/>
            <p:cNvSpPr>
              <a:spLocks/>
            </p:cNvSpPr>
            <p:nvPr/>
          </p:nvSpPr>
          <p:spPr bwMode="auto">
            <a:xfrm rot="2844967">
              <a:off x="2666246" y="4341555"/>
              <a:ext cx="119819" cy="239633"/>
            </a:xfrm>
            <a:custGeom>
              <a:avLst/>
              <a:gdLst>
                <a:gd name="T0" fmla="*/ 0 w 84"/>
                <a:gd name="T1" fmla="*/ 0 h 168"/>
                <a:gd name="T2" fmla="*/ 0 w 84"/>
                <a:gd name="T3" fmla="*/ 168 h 168"/>
                <a:gd name="T4" fmla="*/ 0 w 84"/>
                <a:gd name="T5" fmla="*/ 168 h 168"/>
                <a:gd name="T6" fmla="*/ 8 w 84"/>
                <a:gd name="T7" fmla="*/ 167 h 168"/>
                <a:gd name="T8" fmla="*/ 17 w 84"/>
                <a:gd name="T9" fmla="*/ 166 h 168"/>
                <a:gd name="T10" fmla="*/ 24 w 84"/>
                <a:gd name="T11" fmla="*/ 163 h 168"/>
                <a:gd name="T12" fmla="*/ 33 w 84"/>
                <a:gd name="T13" fmla="*/ 161 h 168"/>
                <a:gd name="T14" fmla="*/ 40 w 84"/>
                <a:gd name="T15" fmla="*/ 157 h 168"/>
                <a:gd name="T16" fmla="*/ 47 w 84"/>
                <a:gd name="T17" fmla="*/ 154 h 168"/>
                <a:gd name="T18" fmla="*/ 53 w 84"/>
                <a:gd name="T19" fmla="*/ 149 h 168"/>
                <a:gd name="T20" fmla="*/ 59 w 84"/>
                <a:gd name="T21" fmla="*/ 143 h 168"/>
                <a:gd name="T22" fmla="*/ 64 w 84"/>
                <a:gd name="T23" fmla="*/ 138 h 168"/>
                <a:gd name="T24" fmla="*/ 69 w 84"/>
                <a:gd name="T25" fmla="*/ 130 h 168"/>
                <a:gd name="T26" fmla="*/ 74 w 84"/>
                <a:gd name="T27" fmla="*/ 124 h 168"/>
                <a:gd name="T28" fmla="*/ 77 w 84"/>
                <a:gd name="T29" fmla="*/ 117 h 168"/>
                <a:gd name="T30" fmla="*/ 80 w 84"/>
                <a:gd name="T31" fmla="*/ 108 h 168"/>
                <a:gd name="T32" fmla="*/ 81 w 84"/>
                <a:gd name="T33" fmla="*/ 101 h 168"/>
                <a:gd name="T34" fmla="*/ 84 w 84"/>
                <a:gd name="T35" fmla="*/ 93 h 168"/>
                <a:gd name="T36" fmla="*/ 84 w 84"/>
                <a:gd name="T37" fmla="*/ 84 h 168"/>
                <a:gd name="T38" fmla="*/ 84 w 84"/>
                <a:gd name="T39" fmla="*/ 84 h 168"/>
                <a:gd name="T40" fmla="*/ 84 w 84"/>
                <a:gd name="T41" fmla="*/ 75 h 168"/>
                <a:gd name="T42" fmla="*/ 81 w 84"/>
                <a:gd name="T43" fmla="*/ 67 h 168"/>
                <a:gd name="T44" fmla="*/ 80 w 84"/>
                <a:gd name="T45" fmla="*/ 58 h 168"/>
                <a:gd name="T46" fmla="*/ 77 w 84"/>
                <a:gd name="T47" fmla="*/ 51 h 168"/>
                <a:gd name="T48" fmla="*/ 74 w 84"/>
                <a:gd name="T49" fmla="*/ 44 h 168"/>
                <a:gd name="T50" fmla="*/ 69 w 84"/>
                <a:gd name="T51" fmla="*/ 36 h 168"/>
                <a:gd name="T52" fmla="*/ 64 w 84"/>
                <a:gd name="T53" fmla="*/ 30 h 168"/>
                <a:gd name="T54" fmla="*/ 59 w 84"/>
                <a:gd name="T55" fmla="*/ 24 h 168"/>
                <a:gd name="T56" fmla="*/ 53 w 84"/>
                <a:gd name="T57" fmla="*/ 19 h 168"/>
                <a:gd name="T58" fmla="*/ 47 w 84"/>
                <a:gd name="T59" fmla="*/ 15 h 168"/>
                <a:gd name="T60" fmla="*/ 40 w 84"/>
                <a:gd name="T61" fmla="*/ 10 h 168"/>
                <a:gd name="T62" fmla="*/ 33 w 84"/>
                <a:gd name="T63" fmla="*/ 6 h 168"/>
                <a:gd name="T64" fmla="*/ 24 w 84"/>
                <a:gd name="T65" fmla="*/ 4 h 168"/>
                <a:gd name="T66" fmla="*/ 17 w 84"/>
                <a:gd name="T67" fmla="*/ 1 h 168"/>
                <a:gd name="T68" fmla="*/ 8 w 84"/>
                <a:gd name="T69" fmla="*/ 0 h 168"/>
                <a:gd name="T70" fmla="*/ 0 w 84"/>
                <a:gd name="T7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4" h="168">
                  <a:moveTo>
                    <a:pt x="0" y="0"/>
                  </a:moveTo>
                  <a:lnTo>
                    <a:pt x="0" y="168"/>
                  </a:lnTo>
                  <a:lnTo>
                    <a:pt x="0" y="168"/>
                  </a:lnTo>
                  <a:lnTo>
                    <a:pt x="8" y="167"/>
                  </a:lnTo>
                  <a:lnTo>
                    <a:pt x="17" y="166"/>
                  </a:lnTo>
                  <a:lnTo>
                    <a:pt x="24" y="163"/>
                  </a:lnTo>
                  <a:lnTo>
                    <a:pt x="33" y="161"/>
                  </a:lnTo>
                  <a:lnTo>
                    <a:pt x="40" y="157"/>
                  </a:lnTo>
                  <a:lnTo>
                    <a:pt x="47" y="154"/>
                  </a:lnTo>
                  <a:lnTo>
                    <a:pt x="53" y="149"/>
                  </a:lnTo>
                  <a:lnTo>
                    <a:pt x="59" y="143"/>
                  </a:lnTo>
                  <a:lnTo>
                    <a:pt x="64" y="138"/>
                  </a:lnTo>
                  <a:lnTo>
                    <a:pt x="69" y="130"/>
                  </a:lnTo>
                  <a:lnTo>
                    <a:pt x="74" y="124"/>
                  </a:lnTo>
                  <a:lnTo>
                    <a:pt x="77" y="117"/>
                  </a:lnTo>
                  <a:lnTo>
                    <a:pt x="80" y="108"/>
                  </a:lnTo>
                  <a:lnTo>
                    <a:pt x="81" y="101"/>
                  </a:lnTo>
                  <a:lnTo>
                    <a:pt x="84" y="93"/>
                  </a:lnTo>
                  <a:lnTo>
                    <a:pt x="84" y="84"/>
                  </a:lnTo>
                  <a:lnTo>
                    <a:pt x="84" y="84"/>
                  </a:lnTo>
                  <a:lnTo>
                    <a:pt x="84" y="75"/>
                  </a:lnTo>
                  <a:lnTo>
                    <a:pt x="81" y="67"/>
                  </a:lnTo>
                  <a:lnTo>
                    <a:pt x="80" y="58"/>
                  </a:lnTo>
                  <a:lnTo>
                    <a:pt x="77" y="51"/>
                  </a:lnTo>
                  <a:lnTo>
                    <a:pt x="74" y="44"/>
                  </a:lnTo>
                  <a:lnTo>
                    <a:pt x="69" y="36"/>
                  </a:lnTo>
                  <a:lnTo>
                    <a:pt x="64" y="30"/>
                  </a:lnTo>
                  <a:lnTo>
                    <a:pt x="59" y="24"/>
                  </a:lnTo>
                  <a:lnTo>
                    <a:pt x="53" y="19"/>
                  </a:lnTo>
                  <a:lnTo>
                    <a:pt x="47" y="15"/>
                  </a:lnTo>
                  <a:lnTo>
                    <a:pt x="40" y="10"/>
                  </a:lnTo>
                  <a:lnTo>
                    <a:pt x="33" y="6"/>
                  </a:lnTo>
                  <a:lnTo>
                    <a:pt x="24" y="4"/>
                  </a:lnTo>
                  <a:lnTo>
                    <a:pt x="17" y="1"/>
                  </a:lnTo>
                  <a:lnTo>
                    <a:pt x="8" y="0"/>
                  </a:lnTo>
                  <a:lnTo>
                    <a:pt x="0" y="0"/>
                  </a:lnTo>
                  <a:close/>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8" name="Freeform 518"/>
            <p:cNvSpPr>
              <a:spLocks/>
            </p:cNvSpPr>
            <p:nvPr/>
          </p:nvSpPr>
          <p:spPr bwMode="auto">
            <a:xfrm rot="2844967">
              <a:off x="2666246" y="4341555"/>
              <a:ext cx="119819" cy="239633"/>
            </a:xfrm>
            <a:custGeom>
              <a:avLst/>
              <a:gdLst>
                <a:gd name="T0" fmla="*/ 0 w 84"/>
                <a:gd name="T1" fmla="*/ 0 h 168"/>
                <a:gd name="T2" fmla="*/ 0 w 84"/>
                <a:gd name="T3" fmla="*/ 168 h 168"/>
                <a:gd name="T4" fmla="*/ 0 w 84"/>
                <a:gd name="T5" fmla="*/ 168 h 168"/>
                <a:gd name="T6" fmla="*/ 8 w 84"/>
                <a:gd name="T7" fmla="*/ 167 h 168"/>
                <a:gd name="T8" fmla="*/ 17 w 84"/>
                <a:gd name="T9" fmla="*/ 166 h 168"/>
                <a:gd name="T10" fmla="*/ 24 w 84"/>
                <a:gd name="T11" fmla="*/ 163 h 168"/>
                <a:gd name="T12" fmla="*/ 33 w 84"/>
                <a:gd name="T13" fmla="*/ 161 h 168"/>
                <a:gd name="T14" fmla="*/ 40 w 84"/>
                <a:gd name="T15" fmla="*/ 157 h 168"/>
                <a:gd name="T16" fmla="*/ 47 w 84"/>
                <a:gd name="T17" fmla="*/ 154 h 168"/>
                <a:gd name="T18" fmla="*/ 53 w 84"/>
                <a:gd name="T19" fmla="*/ 149 h 168"/>
                <a:gd name="T20" fmla="*/ 59 w 84"/>
                <a:gd name="T21" fmla="*/ 143 h 168"/>
                <a:gd name="T22" fmla="*/ 64 w 84"/>
                <a:gd name="T23" fmla="*/ 138 h 168"/>
                <a:gd name="T24" fmla="*/ 69 w 84"/>
                <a:gd name="T25" fmla="*/ 130 h 168"/>
                <a:gd name="T26" fmla="*/ 74 w 84"/>
                <a:gd name="T27" fmla="*/ 124 h 168"/>
                <a:gd name="T28" fmla="*/ 77 w 84"/>
                <a:gd name="T29" fmla="*/ 117 h 168"/>
                <a:gd name="T30" fmla="*/ 80 w 84"/>
                <a:gd name="T31" fmla="*/ 108 h 168"/>
                <a:gd name="T32" fmla="*/ 81 w 84"/>
                <a:gd name="T33" fmla="*/ 101 h 168"/>
                <a:gd name="T34" fmla="*/ 84 w 84"/>
                <a:gd name="T35" fmla="*/ 93 h 168"/>
                <a:gd name="T36" fmla="*/ 84 w 84"/>
                <a:gd name="T37" fmla="*/ 84 h 168"/>
                <a:gd name="T38" fmla="*/ 84 w 84"/>
                <a:gd name="T39" fmla="*/ 84 h 168"/>
                <a:gd name="T40" fmla="*/ 84 w 84"/>
                <a:gd name="T41" fmla="*/ 75 h 168"/>
                <a:gd name="T42" fmla="*/ 81 w 84"/>
                <a:gd name="T43" fmla="*/ 67 h 168"/>
                <a:gd name="T44" fmla="*/ 80 w 84"/>
                <a:gd name="T45" fmla="*/ 58 h 168"/>
                <a:gd name="T46" fmla="*/ 77 w 84"/>
                <a:gd name="T47" fmla="*/ 51 h 168"/>
                <a:gd name="T48" fmla="*/ 74 w 84"/>
                <a:gd name="T49" fmla="*/ 44 h 168"/>
                <a:gd name="T50" fmla="*/ 69 w 84"/>
                <a:gd name="T51" fmla="*/ 36 h 168"/>
                <a:gd name="T52" fmla="*/ 64 w 84"/>
                <a:gd name="T53" fmla="*/ 30 h 168"/>
                <a:gd name="T54" fmla="*/ 59 w 84"/>
                <a:gd name="T55" fmla="*/ 24 h 168"/>
                <a:gd name="T56" fmla="*/ 53 w 84"/>
                <a:gd name="T57" fmla="*/ 19 h 168"/>
                <a:gd name="T58" fmla="*/ 47 w 84"/>
                <a:gd name="T59" fmla="*/ 15 h 168"/>
                <a:gd name="T60" fmla="*/ 40 w 84"/>
                <a:gd name="T61" fmla="*/ 10 h 168"/>
                <a:gd name="T62" fmla="*/ 33 w 84"/>
                <a:gd name="T63" fmla="*/ 6 h 168"/>
                <a:gd name="T64" fmla="*/ 24 w 84"/>
                <a:gd name="T65" fmla="*/ 4 h 168"/>
                <a:gd name="T66" fmla="*/ 17 w 84"/>
                <a:gd name="T67" fmla="*/ 1 h 168"/>
                <a:gd name="T68" fmla="*/ 8 w 84"/>
                <a:gd name="T69" fmla="*/ 0 h 168"/>
                <a:gd name="T70" fmla="*/ 0 w 84"/>
                <a:gd name="T7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4" h="168">
                  <a:moveTo>
                    <a:pt x="0" y="0"/>
                  </a:moveTo>
                  <a:lnTo>
                    <a:pt x="0" y="168"/>
                  </a:lnTo>
                  <a:lnTo>
                    <a:pt x="0" y="168"/>
                  </a:lnTo>
                  <a:lnTo>
                    <a:pt x="8" y="167"/>
                  </a:lnTo>
                  <a:lnTo>
                    <a:pt x="17" y="166"/>
                  </a:lnTo>
                  <a:lnTo>
                    <a:pt x="24" y="163"/>
                  </a:lnTo>
                  <a:lnTo>
                    <a:pt x="33" y="161"/>
                  </a:lnTo>
                  <a:lnTo>
                    <a:pt x="40" y="157"/>
                  </a:lnTo>
                  <a:lnTo>
                    <a:pt x="47" y="154"/>
                  </a:lnTo>
                  <a:lnTo>
                    <a:pt x="53" y="149"/>
                  </a:lnTo>
                  <a:lnTo>
                    <a:pt x="59" y="143"/>
                  </a:lnTo>
                  <a:lnTo>
                    <a:pt x="64" y="138"/>
                  </a:lnTo>
                  <a:lnTo>
                    <a:pt x="69" y="130"/>
                  </a:lnTo>
                  <a:lnTo>
                    <a:pt x="74" y="124"/>
                  </a:lnTo>
                  <a:lnTo>
                    <a:pt x="77" y="117"/>
                  </a:lnTo>
                  <a:lnTo>
                    <a:pt x="80" y="108"/>
                  </a:lnTo>
                  <a:lnTo>
                    <a:pt x="81" y="101"/>
                  </a:lnTo>
                  <a:lnTo>
                    <a:pt x="84" y="93"/>
                  </a:lnTo>
                  <a:lnTo>
                    <a:pt x="84" y="84"/>
                  </a:lnTo>
                  <a:lnTo>
                    <a:pt x="84" y="84"/>
                  </a:lnTo>
                  <a:lnTo>
                    <a:pt x="84" y="75"/>
                  </a:lnTo>
                  <a:lnTo>
                    <a:pt x="81" y="67"/>
                  </a:lnTo>
                  <a:lnTo>
                    <a:pt x="80" y="58"/>
                  </a:lnTo>
                  <a:lnTo>
                    <a:pt x="77" y="51"/>
                  </a:lnTo>
                  <a:lnTo>
                    <a:pt x="74" y="44"/>
                  </a:lnTo>
                  <a:lnTo>
                    <a:pt x="69" y="36"/>
                  </a:lnTo>
                  <a:lnTo>
                    <a:pt x="64" y="30"/>
                  </a:lnTo>
                  <a:lnTo>
                    <a:pt x="59" y="24"/>
                  </a:lnTo>
                  <a:lnTo>
                    <a:pt x="53" y="19"/>
                  </a:lnTo>
                  <a:lnTo>
                    <a:pt x="47" y="15"/>
                  </a:lnTo>
                  <a:lnTo>
                    <a:pt x="40" y="10"/>
                  </a:lnTo>
                  <a:lnTo>
                    <a:pt x="33" y="6"/>
                  </a:lnTo>
                  <a:lnTo>
                    <a:pt x="24" y="4"/>
                  </a:lnTo>
                  <a:lnTo>
                    <a:pt x="17" y="1"/>
                  </a:lnTo>
                  <a:lnTo>
                    <a:pt x="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29" name="Freeform 519"/>
            <p:cNvSpPr>
              <a:spLocks/>
            </p:cNvSpPr>
            <p:nvPr/>
          </p:nvSpPr>
          <p:spPr bwMode="auto">
            <a:xfrm rot="2844967">
              <a:off x="2443034" y="4603169"/>
              <a:ext cx="232588" cy="176203"/>
            </a:xfrm>
            <a:custGeom>
              <a:avLst/>
              <a:gdLst>
                <a:gd name="T0" fmla="*/ 0 w 162"/>
                <a:gd name="T1" fmla="*/ 0 h 124"/>
                <a:gd name="T2" fmla="*/ 162 w 162"/>
                <a:gd name="T3" fmla="*/ 0 h 124"/>
                <a:gd name="T4" fmla="*/ 162 w 162"/>
                <a:gd name="T5" fmla="*/ 0 h 124"/>
                <a:gd name="T6" fmla="*/ 157 w 162"/>
                <a:gd name="T7" fmla="*/ 19 h 124"/>
                <a:gd name="T8" fmla="*/ 152 w 162"/>
                <a:gd name="T9" fmla="*/ 39 h 124"/>
                <a:gd name="T10" fmla="*/ 141 w 162"/>
                <a:gd name="T11" fmla="*/ 73 h 124"/>
                <a:gd name="T12" fmla="*/ 130 w 162"/>
                <a:gd name="T13" fmla="*/ 101 h 124"/>
                <a:gd name="T14" fmla="*/ 120 w 162"/>
                <a:gd name="T15" fmla="*/ 124 h 124"/>
                <a:gd name="T16" fmla="*/ 0 w 162"/>
                <a:gd name="T17" fmla="*/ 124 h 124"/>
                <a:gd name="T18" fmla="*/ 0 w 162"/>
                <a:gd name="T19"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 h="124">
                  <a:moveTo>
                    <a:pt x="0" y="0"/>
                  </a:moveTo>
                  <a:lnTo>
                    <a:pt x="162" y="0"/>
                  </a:lnTo>
                  <a:lnTo>
                    <a:pt x="162" y="0"/>
                  </a:lnTo>
                  <a:lnTo>
                    <a:pt x="157" y="19"/>
                  </a:lnTo>
                  <a:lnTo>
                    <a:pt x="152" y="39"/>
                  </a:lnTo>
                  <a:lnTo>
                    <a:pt x="141" y="73"/>
                  </a:lnTo>
                  <a:lnTo>
                    <a:pt x="130" y="101"/>
                  </a:lnTo>
                  <a:lnTo>
                    <a:pt x="120" y="124"/>
                  </a:lnTo>
                  <a:lnTo>
                    <a:pt x="0" y="124"/>
                  </a:lnTo>
                  <a:lnTo>
                    <a:pt x="0"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0" name="Freeform 520"/>
            <p:cNvSpPr>
              <a:spLocks/>
            </p:cNvSpPr>
            <p:nvPr/>
          </p:nvSpPr>
          <p:spPr bwMode="auto">
            <a:xfrm rot="2844967">
              <a:off x="2707445" y="4367553"/>
              <a:ext cx="105723" cy="105723"/>
            </a:xfrm>
            <a:custGeom>
              <a:avLst/>
              <a:gdLst>
                <a:gd name="T0" fmla="*/ 0 w 75"/>
                <a:gd name="T1" fmla="*/ 0 h 76"/>
                <a:gd name="T2" fmla="*/ 0 w 75"/>
                <a:gd name="T3" fmla="*/ 0 h 76"/>
                <a:gd name="T4" fmla="*/ 7 w 75"/>
                <a:gd name="T5" fmla="*/ 0 h 76"/>
                <a:gd name="T6" fmla="*/ 14 w 75"/>
                <a:gd name="T7" fmla="*/ 2 h 76"/>
                <a:gd name="T8" fmla="*/ 22 w 75"/>
                <a:gd name="T9" fmla="*/ 4 h 76"/>
                <a:gd name="T10" fmla="*/ 29 w 75"/>
                <a:gd name="T11" fmla="*/ 7 h 76"/>
                <a:gd name="T12" fmla="*/ 41 w 75"/>
                <a:gd name="T13" fmla="*/ 14 h 76"/>
                <a:gd name="T14" fmla="*/ 53 w 75"/>
                <a:gd name="T15" fmla="*/ 22 h 76"/>
                <a:gd name="T16" fmla="*/ 62 w 75"/>
                <a:gd name="T17" fmla="*/ 33 h 76"/>
                <a:gd name="T18" fmla="*/ 69 w 75"/>
                <a:gd name="T19" fmla="*/ 47 h 76"/>
                <a:gd name="T20" fmla="*/ 72 w 75"/>
                <a:gd name="T21" fmla="*/ 53 h 76"/>
                <a:gd name="T22" fmla="*/ 73 w 75"/>
                <a:gd name="T23" fmla="*/ 60 h 76"/>
                <a:gd name="T24" fmla="*/ 74 w 75"/>
                <a:gd name="T25" fmla="*/ 67 h 76"/>
                <a:gd name="T26" fmla="*/ 75 w 75"/>
                <a:gd name="T27" fmla="*/ 76 h 76"/>
                <a:gd name="T28" fmla="*/ 0 w 75"/>
                <a:gd name="T29" fmla="*/ 76 h 76"/>
                <a:gd name="T30" fmla="*/ 0 w 75"/>
                <a:gd name="T3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 h="76">
                  <a:moveTo>
                    <a:pt x="0" y="0"/>
                  </a:moveTo>
                  <a:lnTo>
                    <a:pt x="0" y="0"/>
                  </a:lnTo>
                  <a:lnTo>
                    <a:pt x="7" y="0"/>
                  </a:lnTo>
                  <a:lnTo>
                    <a:pt x="14" y="2"/>
                  </a:lnTo>
                  <a:lnTo>
                    <a:pt x="22" y="4"/>
                  </a:lnTo>
                  <a:lnTo>
                    <a:pt x="29" y="7"/>
                  </a:lnTo>
                  <a:lnTo>
                    <a:pt x="41" y="14"/>
                  </a:lnTo>
                  <a:lnTo>
                    <a:pt x="53" y="22"/>
                  </a:lnTo>
                  <a:lnTo>
                    <a:pt x="62" y="33"/>
                  </a:lnTo>
                  <a:lnTo>
                    <a:pt x="69" y="47"/>
                  </a:lnTo>
                  <a:lnTo>
                    <a:pt x="72" y="53"/>
                  </a:lnTo>
                  <a:lnTo>
                    <a:pt x="73" y="60"/>
                  </a:lnTo>
                  <a:lnTo>
                    <a:pt x="74" y="67"/>
                  </a:lnTo>
                  <a:lnTo>
                    <a:pt x="75" y="76"/>
                  </a:lnTo>
                  <a:lnTo>
                    <a:pt x="0" y="76"/>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1" name="Freeform 521"/>
            <p:cNvSpPr>
              <a:spLocks/>
            </p:cNvSpPr>
            <p:nvPr/>
          </p:nvSpPr>
          <p:spPr bwMode="auto">
            <a:xfrm rot="2844967">
              <a:off x="2629605" y="4439089"/>
              <a:ext cx="105723" cy="105723"/>
            </a:xfrm>
            <a:custGeom>
              <a:avLst/>
              <a:gdLst>
                <a:gd name="T0" fmla="*/ 75 w 75"/>
                <a:gd name="T1" fmla="*/ 0 h 74"/>
                <a:gd name="T2" fmla="*/ 75 w 75"/>
                <a:gd name="T3" fmla="*/ 0 h 74"/>
                <a:gd name="T4" fmla="*/ 74 w 75"/>
                <a:gd name="T5" fmla="*/ 7 h 74"/>
                <a:gd name="T6" fmla="*/ 73 w 75"/>
                <a:gd name="T7" fmla="*/ 15 h 74"/>
                <a:gd name="T8" fmla="*/ 72 w 75"/>
                <a:gd name="T9" fmla="*/ 22 h 74"/>
                <a:gd name="T10" fmla="*/ 69 w 75"/>
                <a:gd name="T11" fmla="*/ 29 h 74"/>
                <a:gd name="T12" fmla="*/ 62 w 75"/>
                <a:gd name="T13" fmla="*/ 41 h 74"/>
                <a:gd name="T14" fmla="*/ 53 w 75"/>
                <a:gd name="T15" fmla="*/ 52 h 74"/>
                <a:gd name="T16" fmla="*/ 41 w 75"/>
                <a:gd name="T17" fmla="*/ 62 h 74"/>
                <a:gd name="T18" fmla="*/ 29 w 75"/>
                <a:gd name="T19" fmla="*/ 68 h 74"/>
                <a:gd name="T20" fmla="*/ 22 w 75"/>
                <a:gd name="T21" fmla="*/ 72 h 74"/>
                <a:gd name="T22" fmla="*/ 14 w 75"/>
                <a:gd name="T23" fmla="*/ 73 h 74"/>
                <a:gd name="T24" fmla="*/ 7 w 75"/>
                <a:gd name="T25" fmla="*/ 74 h 74"/>
                <a:gd name="T26" fmla="*/ 0 w 75"/>
                <a:gd name="T27" fmla="*/ 74 h 74"/>
                <a:gd name="T28" fmla="*/ 0 w 75"/>
                <a:gd name="T29" fmla="*/ 0 h 74"/>
                <a:gd name="T30" fmla="*/ 75 w 75"/>
                <a:gd name="T3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 h="74">
                  <a:moveTo>
                    <a:pt x="75" y="0"/>
                  </a:moveTo>
                  <a:lnTo>
                    <a:pt x="75" y="0"/>
                  </a:lnTo>
                  <a:lnTo>
                    <a:pt x="74" y="7"/>
                  </a:lnTo>
                  <a:lnTo>
                    <a:pt x="73" y="15"/>
                  </a:lnTo>
                  <a:lnTo>
                    <a:pt x="72" y="22"/>
                  </a:lnTo>
                  <a:lnTo>
                    <a:pt x="69" y="29"/>
                  </a:lnTo>
                  <a:lnTo>
                    <a:pt x="62" y="41"/>
                  </a:lnTo>
                  <a:lnTo>
                    <a:pt x="53" y="52"/>
                  </a:lnTo>
                  <a:lnTo>
                    <a:pt x="41" y="62"/>
                  </a:lnTo>
                  <a:lnTo>
                    <a:pt x="29" y="68"/>
                  </a:lnTo>
                  <a:lnTo>
                    <a:pt x="22" y="72"/>
                  </a:lnTo>
                  <a:lnTo>
                    <a:pt x="14" y="73"/>
                  </a:lnTo>
                  <a:lnTo>
                    <a:pt x="7" y="74"/>
                  </a:lnTo>
                  <a:lnTo>
                    <a:pt x="0" y="74"/>
                  </a:lnTo>
                  <a:lnTo>
                    <a:pt x="0" y="0"/>
                  </a:lnTo>
                  <a:lnTo>
                    <a:pt x="75" y="0"/>
                  </a:lnTo>
                  <a:close/>
                </a:path>
              </a:pathLst>
            </a:custGeom>
            <a:solidFill>
              <a:srgbClr val="2A5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2" name="Freeform 522"/>
            <p:cNvSpPr>
              <a:spLocks/>
            </p:cNvSpPr>
            <p:nvPr/>
          </p:nvSpPr>
          <p:spPr bwMode="auto">
            <a:xfrm rot="2844967">
              <a:off x="2828767" y="4225197"/>
              <a:ext cx="77531" cy="155057"/>
            </a:xfrm>
            <a:custGeom>
              <a:avLst/>
              <a:gdLst>
                <a:gd name="T0" fmla="*/ 0 w 53"/>
                <a:gd name="T1" fmla="*/ 0 h 109"/>
                <a:gd name="T2" fmla="*/ 0 w 53"/>
                <a:gd name="T3" fmla="*/ 109 h 109"/>
                <a:gd name="T4" fmla="*/ 0 w 53"/>
                <a:gd name="T5" fmla="*/ 109 h 109"/>
                <a:gd name="T6" fmla="*/ 11 w 53"/>
                <a:gd name="T7" fmla="*/ 107 h 109"/>
                <a:gd name="T8" fmla="*/ 20 w 53"/>
                <a:gd name="T9" fmla="*/ 104 h 109"/>
                <a:gd name="T10" fmla="*/ 30 w 53"/>
                <a:gd name="T11" fmla="*/ 99 h 109"/>
                <a:gd name="T12" fmla="*/ 38 w 53"/>
                <a:gd name="T13" fmla="*/ 93 h 109"/>
                <a:gd name="T14" fmla="*/ 45 w 53"/>
                <a:gd name="T15" fmla="*/ 84 h 109"/>
                <a:gd name="T16" fmla="*/ 50 w 53"/>
                <a:gd name="T17" fmla="*/ 76 h 109"/>
                <a:gd name="T18" fmla="*/ 52 w 53"/>
                <a:gd name="T19" fmla="*/ 65 h 109"/>
                <a:gd name="T20" fmla="*/ 53 w 53"/>
                <a:gd name="T21" fmla="*/ 54 h 109"/>
                <a:gd name="T22" fmla="*/ 53 w 53"/>
                <a:gd name="T23" fmla="*/ 54 h 109"/>
                <a:gd name="T24" fmla="*/ 52 w 53"/>
                <a:gd name="T25" fmla="*/ 43 h 109"/>
                <a:gd name="T26" fmla="*/ 50 w 53"/>
                <a:gd name="T27" fmla="*/ 33 h 109"/>
                <a:gd name="T28" fmla="*/ 45 w 53"/>
                <a:gd name="T29" fmla="*/ 24 h 109"/>
                <a:gd name="T30" fmla="*/ 38 w 53"/>
                <a:gd name="T31" fmla="*/ 16 h 109"/>
                <a:gd name="T32" fmla="*/ 30 w 53"/>
                <a:gd name="T33" fmla="*/ 10 h 109"/>
                <a:gd name="T34" fmla="*/ 20 w 53"/>
                <a:gd name="T35" fmla="*/ 5 h 109"/>
                <a:gd name="T36" fmla="*/ 11 w 53"/>
                <a:gd name="T37" fmla="*/ 1 h 109"/>
                <a:gd name="T38" fmla="*/ 0 w 53"/>
                <a:gd name="T3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109">
                  <a:moveTo>
                    <a:pt x="0" y="0"/>
                  </a:moveTo>
                  <a:lnTo>
                    <a:pt x="0" y="109"/>
                  </a:lnTo>
                  <a:lnTo>
                    <a:pt x="0" y="109"/>
                  </a:lnTo>
                  <a:lnTo>
                    <a:pt x="11" y="107"/>
                  </a:lnTo>
                  <a:lnTo>
                    <a:pt x="20" y="104"/>
                  </a:lnTo>
                  <a:lnTo>
                    <a:pt x="30" y="99"/>
                  </a:lnTo>
                  <a:lnTo>
                    <a:pt x="38" y="93"/>
                  </a:lnTo>
                  <a:lnTo>
                    <a:pt x="45" y="84"/>
                  </a:lnTo>
                  <a:lnTo>
                    <a:pt x="50" y="76"/>
                  </a:lnTo>
                  <a:lnTo>
                    <a:pt x="52" y="65"/>
                  </a:lnTo>
                  <a:lnTo>
                    <a:pt x="53" y="54"/>
                  </a:lnTo>
                  <a:lnTo>
                    <a:pt x="53" y="54"/>
                  </a:lnTo>
                  <a:lnTo>
                    <a:pt x="52" y="43"/>
                  </a:lnTo>
                  <a:lnTo>
                    <a:pt x="50" y="33"/>
                  </a:lnTo>
                  <a:lnTo>
                    <a:pt x="45" y="24"/>
                  </a:lnTo>
                  <a:lnTo>
                    <a:pt x="38" y="16"/>
                  </a:lnTo>
                  <a:lnTo>
                    <a:pt x="30" y="10"/>
                  </a:lnTo>
                  <a:lnTo>
                    <a:pt x="20" y="5"/>
                  </a:lnTo>
                  <a:lnTo>
                    <a:pt x="11" y="1"/>
                  </a:lnTo>
                  <a:lnTo>
                    <a:pt x="0" y="0"/>
                  </a:lnTo>
                  <a:close/>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3" name="Freeform 523"/>
            <p:cNvSpPr>
              <a:spLocks/>
            </p:cNvSpPr>
            <p:nvPr/>
          </p:nvSpPr>
          <p:spPr bwMode="auto">
            <a:xfrm rot="2844967">
              <a:off x="2828767" y="4225197"/>
              <a:ext cx="77531" cy="155057"/>
            </a:xfrm>
            <a:custGeom>
              <a:avLst/>
              <a:gdLst>
                <a:gd name="T0" fmla="*/ 0 w 53"/>
                <a:gd name="T1" fmla="*/ 0 h 109"/>
                <a:gd name="T2" fmla="*/ 0 w 53"/>
                <a:gd name="T3" fmla="*/ 109 h 109"/>
                <a:gd name="T4" fmla="*/ 0 w 53"/>
                <a:gd name="T5" fmla="*/ 109 h 109"/>
                <a:gd name="T6" fmla="*/ 11 w 53"/>
                <a:gd name="T7" fmla="*/ 107 h 109"/>
                <a:gd name="T8" fmla="*/ 20 w 53"/>
                <a:gd name="T9" fmla="*/ 104 h 109"/>
                <a:gd name="T10" fmla="*/ 30 w 53"/>
                <a:gd name="T11" fmla="*/ 99 h 109"/>
                <a:gd name="T12" fmla="*/ 38 w 53"/>
                <a:gd name="T13" fmla="*/ 93 h 109"/>
                <a:gd name="T14" fmla="*/ 45 w 53"/>
                <a:gd name="T15" fmla="*/ 84 h 109"/>
                <a:gd name="T16" fmla="*/ 50 w 53"/>
                <a:gd name="T17" fmla="*/ 76 h 109"/>
                <a:gd name="T18" fmla="*/ 52 w 53"/>
                <a:gd name="T19" fmla="*/ 65 h 109"/>
                <a:gd name="T20" fmla="*/ 53 w 53"/>
                <a:gd name="T21" fmla="*/ 54 h 109"/>
                <a:gd name="T22" fmla="*/ 53 w 53"/>
                <a:gd name="T23" fmla="*/ 54 h 109"/>
                <a:gd name="T24" fmla="*/ 52 w 53"/>
                <a:gd name="T25" fmla="*/ 43 h 109"/>
                <a:gd name="T26" fmla="*/ 50 w 53"/>
                <a:gd name="T27" fmla="*/ 33 h 109"/>
                <a:gd name="T28" fmla="*/ 45 w 53"/>
                <a:gd name="T29" fmla="*/ 24 h 109"/>
                <a:gd name="T30" fmla="*/ 38 w 53"/>
                <a:gd name="T31" fmla="*/ 16 h 109"/>
                <a:gd name="T32" fmla="*/ 30 w 53"/>
                <a:gd name="T33" fmla="*/ 10 h 109"/>
                <a:gd name="T34" fmla="*/ 20 w 53"/>
                <a:gd name="T35" fmla="*/ 5 h 109"/>
                <a:gd name="T36" fmla="*/ 11 w 53"/>
                <a:gd name="T37" fmla="*/ 1 h 109"/>
                <a:gd name="T38" fmla="*/ 0 w 53"/>
                <a:gd name="T3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109">
                  <a:moveTo>
                    <a:pt x="0" y="0"/>
                  </a:moveTo>
                  <a:lnTo>
                    <a:pt x="0" y="109"/>
                  </a:lnTo>
                  <a:lnTo>
                    <a:pt x="0" y="109"/>
                  </a:lnTo>
                  <a:lnTo>
                    <a:pt x="11" y="107"/>
                  </a:lnTo>
                  <a:lnTo>
                    <a:pt x="20" y="104"/>
                  </a:lnTo>
                  <a:lnTo>
                    <a:pt x="30" y="99"/>
                  </a:lnTo>
                  <a:lnTo>
                    <a:pt x="38" y="93"/>
                  </a:lnTo>
                  <a:lnTo>
                    <a:pt x="45" y="84"/>
                  </a:lnTo>
                  <a:lnTo>
                    <a:pt x="50" y="76"/>
                  </a:lnTo>
                  <a:lnTo>
                    <a:pt x="52" y="65"/>
                  </a:lnTo>
                  <a:lnTo>
                    <a:pt x="53" y="54"/>
                  </a:lnTo>
                  <a:lnTo>
                    <a:pt x="53" y="54"/>
                  </a:lnTo>
                  <a:lnTo>
                    <a:pt x="52" y="43"/>
                  </a:lnTo>
                  <a:lnTo>
                    <a:pt x="50" y="33"/>
                  </a:lnTo>
                  <a:lnTo>
                    <a:pt x="45" y="24"/>
                  </a:lnTo>
                  <a:lnTo>
                    <a:pt x="38" y="16"/>
                  </a:lnTo>
                  <a:lnTo>
                    <a:pt x="30" y="10"/>
                  </a:lnTo>
                  <a:lnTo>
                    <a:pt x="20" y="5"/>
                  </a:lnTo>
                  <a:lnTo>
                    <a:pt x="11"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4" name="Freeform 524"/>
            <p:cNvSpPr>
              <a:spLocks/>
            </p:cNvSpPr>
            <p:nvPr/>
          </p:nvSpPr>
          <p:spPr bwMode="auto">
            <a:xfrm rot="2844967">
              <a:off x="2854398" y="4244358"/>
              <a:ext cx="63435" cy="63435"/>
            </a:xfrm>
            <a:custGeom>
              <a:avLst/>
              <a:gdLst>
                <a:gd name="T0" fmla="*/ 0 w 44"/>
                <a:gd name="T1" fmla="*/ 0 h 44"/>
                <a:gd name="T2" fmla="*/ 0 w 44"/>
                <a:gd name="T3" fmla="*/ 0 h 44"/>
                <a:gd name="T4" fmla="*/ 8 w 44"/>
                <a:gd name="T5" fmla="*/ 1 h 44"/>
                <a:gd name="T6" fmla="*/ 17 w 44"/>
                <a:gd name="T7" fmla="*/ 3 h 44"/>
                <a:gd name="T8" fmla="*/ 24 w 44"/>
                <a:gd name="T9" fmla="*/ 7 h 44"/>
                <a:gd name="T10" fmla="*/ 31 w 44"/>
                <a:gd name="T11" fmla="*/ 13 h 44"/>
                <a:gd name="T12" fmla="*/ 36 w 44"/>
                <a:gd name="T13" fmla="*/ 19 h 44"/>
                <a:gd name="T14" fmla="*/ 41 w 44"/>
                <a:gd name="T15" fmla="*/ 27 h 44"/>
                <a:gd name="T16" fmla="*/ 44 w 44"/>
                <a:gd name="T17" fmla="*/ 35 h 44"/>
                <a:gd name="T18" fmla="*/ 44 w 44"/>
                <a:gd name="T19" fmla="*/ 44 h 44"/>
                <a:gd name="T20" fmla="*/ 0 w 44"/>
                <a:gd name="T21" fmla="*/ 44 h 44"/>
                <a:gd name="T22" fmla="*/ 0 w 44"/>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4">
                  <a:moveTo>
                    <a:pt x="0" y="0"/>
                  </a:moveTo>
                  <a:lnTo>
                    <a:pt x="0" y="0"/>
                  </a:lnTo>
                  <a:lnTo>
                    <a:pt x="8" y="1"/>
                  </a:lnTo>
                  <a:lnTo>
                    <a:pt x="17" y="3"/>
                  </a:lnTo>
                  <a:lnTo>
                    <a:pt x="24" y="7"/>
                  </a:lnTo>
                  <a:lnTo>
                    <a:pt x="31" y="13"/>
                  </a:lnTo>
                  <a:lnTo>
                    <a:pt x="36" y="19"/>
                  </a:lnTo>
                  <a:lnTo>
                    <a:pt x="41" y="27"/>
                  </a:lnTo>
                  <a:lnTo>
                    <a:pt x="44" y="35"/>
                  </a:lnTo>
                  <a:lnTo>
                    <a:pt x="44" y="44"/>
                  </a:lnTo>
                  <a:lnTo>
                    <a:pt x="0" y="44"/>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5" name="Freeform 525"/>
            <p:cNvSpPr>
              <a:spLocks/>
            </p:cNvSpPr>
            <p:nvPr/>
          </p:nvSpPr>
          <p:spPr bwMode="auto">
            <a:xfrm rot="2844967">
              <a:off x="2807692" y="4287282"/>
              <a:ext cx="63435" cy="63435"/>
            </a:xfrm>
            <a:custGeom>
              <a:avLst/>
              <a:gdLst>
                <a:gd name="T0" fmla="*/ 44 w 44"/>
                <a:gd name="T1" fmla="*/ 0 h 45"/>
                <a:gd name="T2" fmla="*/ 44 w 44"/>
                <a:gd name="T3" fmla="*/ 0 h 45"/>
                <a:gd name="T4" fmla="*/ 44 w 44"/>
                <a:gd name="T5" fmla="*/ 9 h 45"/>
                <a:gd name="T6" fmla="*/ 41 w 44"/>
                <a:gd name="T7" fmla="*/ 18 h 45"/>
                <a:gd name="T8" fmla="*/ 36 w 44"/>
                <a:gd name="T9" fmla="*/ 25 h 45"/>
                <a:gd name="T10" fmla="*/ 31 w 44"/>
                <a:gd name="T11" fmla="*/ 31 h 45"/>
                <a:gd name="T12" fmla="*/ 24 w 44"/>
                <a:gd name="T13" fmla="*/ 37 h 45"/>
                <a:gd name="T14" fmla="*/ 17 w 44"/>
                <a:gd name="T15" fmla="*/ 41 h 45"/>
                <a:gd name="T16" fmla="*/ 8 w 44"/>
                <a:gd name="T17" fmla="*/ 44 h 45"/>
                <a:gd name="T18" fmla="*/ 0 w 44"/>
                <a:gd name="T19" fmla="*/ 45 h 45"/>
                <a:gd name="T20" fmla="*/ 0 w 44"/>
                <a:gd name="T21" fmla="*/ 0 h 45"/>
                <a:gd name="T22" fmla="*/ 44 w 44"/>
                <a:gd name="T2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45">
                  <a:moveTo>
                    <a:pt x="44" y="0"/>
                  </a:moveTo>
                  <a:lnTo>
                    <a:pt x="44" y="0"/>
                  </a:lnTo>
                  <a:lnTo>
                    <a:pt x="44" y="9"/>
                  </a:lnTo>
                  <a:lnTo>
                    <a:pt x="41" y="18"/>
                  </a:lnTo>
                  <a:lnTo>
                    <a:pt x="36" y="25"/>
                  </a:lnTo>
                  <a:lnTo>
                    <a:pt x="31" y="31"/>
                  </a:lnTo>
                  <a:lnTo>
                    <a:pt x="24" y="37"/>
                  </a:lnTo>
                  <a:lnTo>
                    <a:pt x="17" y="41"/>
                  </a:lnTo>
                  <a:lnTo>
                    <a:pt x="8" y="44"/>
                  </a:lnTo>
                  <a:lnTo>
                    <a:pt x="0" y="45"/>
                  </a:lnTo>
                  <a:lnTo>
                    <a:pt x="0" y="0"/>
                  </a:lnTo>
                  <a:lnTo>
                    <a:pt x="44" y="0"/>
                  </a:lnTo>
                  <a:close/>
                </a:path>
              </a:pathLst>
            </a:custGeom>
            <a:solidFill>
              <a:srgbClr val="2A5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6" name="Rectangle 526"/>
            <p:cNvSpPr>
              <a:spLocks noChangeArrowheads="1"/>
            </p:cNvSpPr>
            <p:nvPr/>
          </p:nvSpPr>
          <p:spPr bwMode="auto">
            <a:xfrm rot="2844967">
              <a:off x="2337350" y="4738110"/>
              <a:ext cx="148011" cy="63435"/>
            </a:xfrm>
            <a:prstGeom prst="rect">
              <a:avLst/>
            </a:prstGeom>
            <a:solidFill>
              <a:srgbClr val="FF6A1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7" name="Freeform 527"/>
            <p:cNvSpPr>
              <a:spLocks/>
            </p:cNvSpPr>
            <p:nvPr/>
          </p:nvSpPr>
          <p:spPr bwMode="auto">
            <a:xfrm rot="2844967">
              <a:off x="2279442" y="4785399"/>
              <a:ext cx="169153" cy="84576"/>
            </a:xfrm>
            <a:custGeom>
              <a:avLst/>
              <a:gdLst>
                <a:gd name="T0" fmla="*/ 120 w 120"/>
                <a:gd name="T1" fmla="*/ 59 h 59"/>
                <a:gd name="T2" fmla="*/ 0 w 120"/>
                <a:gd name="T3" fmla="*/ 59 h 59"/>
                <a:gd name="T4" fmla="*/ 0 w 120"/>
                <a:gd name="T5" fmla="*/ 0 h 59"/>
                <a:gd name="T6" fmla="*/ 102 w 120"/>
                <a:gd name="T7" fmla="*/ 0 h 59"/>
                <a:gd name="T8" fmla="*/ 120 w 120"/>
                <a:gd name="T9" fmla="*/ 59 h 59"/>
              </a:gdLst>
              <a:ahLst/>
              <a:cxnLst>
                <a:cxn ang="0">
                  <a:pos x="T0" y="T1"/>
                </a:cxn>
                <a:cxn ang="0">
                  <a:pos x="T2" y="T3"/>
                </a:cxn>
                <a:cxn ang="0">
                  <a:pos x="T4" y="T5"/>
                </a:cxn>
                <a:cxn ang="0">
                  <a:pos x="T6" y="T7"/>
                </a:cxn>
                <a:cxn ang="0">
                  <a:pos x="T8" y="T9"/>
                </a:cxn>
              </a:cxnLst>
              <a:rect l="0" t="0" r="r" b="b"/>
              <a:pathLst>
                <a:path w="120" h="59">
                  <a:moveTo>
                    <a:pt x="120" y="59"/>
                  </a:moveTo>
                  <a:lnTo>
                    <a:pt x="0" y="59"/>
                  </a:lnTo>
                  <a:lnTo>
                    <a:pt x="0" y="0"/>
                  </a:lnTo>
                  <a:lnTo>
                    <a:pt x="102" y="0"/>
                  </a:lnTo>
                  <a:lnTo>
                    <a:pt x="120" y="59"/>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8" name="Freeform 528"/>
            <p:cNvSpPr>
              <a:spLocks/>
            </p:cNvSpPr>
            <p:nvPr/>
          </p:nvSpPr>
          <p:spPr bwMode="auto">
            <a:xfrm rot="2844967">
              <a:off x="3122614" y="3948019"/>
              <a:ext cx="70480" cy="70480"/>
            </a:xfrm>
            <a:custGeom>
              <a:avLst/>
              <a:gdLst>
                <a:gd name="T0" fmla="*/ 51 w 51"/>
                <a:gd name="T1" fmla="*/ 25 h 51"/>
                <a:gd name="T2" fmla="*/ 51 w 51"/>
                <a:gd name="T3" fmla="*/ 25 h 51"/>
                <a:gd name="T4" fmla="*/ 51 w 51"/>
                <a:gd name="T5" fmla="*/ 30 h 51"/>
                <a:gd name="T6" fmla="*/ 50 w 51"/>
                <a:gd name="T7" fmla="*/ 35 h 51"/>
                <a:gd name="T8" fmla="*/ 48 w 51"/>
                <a:gd name="T9" fmla="*/ 40 h 51"/>
                <a:gd name="T10" fmla="*/ 44 w 51"/>
                <a:gd name="T11" fmla="*/ 44 h 51"/>
                <a:gd name="T12" fmla="*/ 40 w 51"/>
                <a:gd name="T13" fmla="*/ 47 h 51"/>
                <a:gd name="T14" fmla="*/ 35 w 51"/>
                <a:gd name="T15" fmla="*/ 50 h 51"/>
                <a:gd name="T16" fmla="*/ 31 w 51"/>
                <a:gd name="T17" fmla="*/ 51 h 51"/>
                <a:gd name="T18" fmla="*/ 26 w 51"/>
                <a:gd name="T19" fmla="*/ 51 h 51"/>
                <a:gd name="T20" fmla="*/ 26 w 51"/>
                <a:gd name="T21" fmla="*/ 51 h 51"/>
                <a:gd name="T22" fmla="*/ 21 w 51"/>
                <a:gd name="T23" fmla="*/ 51 h 51"/>
                <a:gd name="T24" fmla="*/ 16 w 51"/>
                <a:gd name="T25" fmla="*/ 50 h 51"/>
                <a:gd name="T26" fmla="*/ 11 w 51"/>
                <a:gd name="T27" fmla="*/ 47 h 51"/>
                <a:gd name="T28" fmla="*/ 7 w 51"/>
                <a:gd name="T29" fmla="*/ 44 h 51"/>
                <a:gd name="T30" fmla="*/ 4 w 51"/>
                <a:gd name="T31" fmla="*/ 40 h 51"/>
                <a:gd name="T32" fmla="*/ 1 w 51"/>
                <a:gd name="T33" fmla="*/ 35 h 51"/>
                <a:gd name="T34" fmla="*/ 0 w 51"/>
                <a:gd name="T35" fmla="*/ 30 h 51"/>
                <a:gd name="T36" fmla="*/ 0 w 51"/>
                <a:gd name="T37" fmla="*/ 25 h 51"/>
                <a:gd name="T38" fmla="*/ 0 w 51"/>
                <a:gd name="T39" fmla="*/ 25 h 51"/>
                <a:gd name="T40" fmla="*/ 0 w 51"/>
                <a:gd name="T41" fmla="*/ 20 h 51"/>
                <a:gd name="T42" fmla="*/ 1 w 51"/>
                <a:gd name="T43" fmla="*/ 16 h 51"/>
                <a:gd name="T44" fmla="*/ 4 w 51"/>
                <a:gd name="T45" fmla="*/ 11 h 51"/>
                <a:gd name="T46" fmla="*/ 7 w 51"/>
                <a:gd name="T47" fmla="*/ 7 h 51"/>
                <a:gd name="T48" fmla="*/ 11 w 51"/>
                <a:gd name="T49" fmla="*/ 3 h 51"/>
                <a:gd name="T50" fmla="*/ 16 w 51"/>
                <a:gd name="T51" fmla="*/ 1 h 51"/>
                <a:gd name="T52" fmla="*/ 21 w 51"/>
                <a:gd name="T53" fmla="*/ 0 h 51"/>
                <a:gd name="T54" fmla="*/ 26 w 51"/>
                <a:gd name="T55" fmla="*/ 0 h 51"/>
                <a:gd name="T56" fmla="*/ 26 w 51"/>
                <a:gd name="T57" fmla="*/ 0 h 51"/>
                <a:gd name="T58" fmla="*/ 31 w 51"/>
                <a:gd name="T59" fmla="*/ 0 h 51"/>
                <a:gd name="T60" fmla="*/ 35 w 51"/>
                <a:gd name="T61" fmla="*/ 1 h 51"/>
                <a:gd name="T62" fmla="*/ 40 w 51"/>
                <a:gd name="T63" fmla="*/ 3 h 51"/>
                <a:gd name="T64" fmla="*/ 44 w 51"/>
                <a:gd name="T65" fmla="*/ 7 h 51"/>
                <a:gd name="T66" fmla="*/ 48 w 51"/>
                <a:gd name="T67" fmla="*/ 11 h 51"/>
                <a:gd name="T68" fmla="*/ 50 w 51"/>
                <a:gd name="T69" fmla="*/ 16 h 51"/>
                <a:gd name="T70" fmla="*/ 51 w 51"/>
                <a:gd name="T71" fmla="*/ 20 h 51"/>
                <a:gd name="T72" fmla="*/ 51 w 51"/>
                <a:gd name="T73" fmla="*/ 25 h 51"/>
                <a:gd name="T74" fmla="*/ 51 w 51"/>
                <a:gd name="T75"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 h="51">
                  <a:moveTo>
                    <a:pt x="51" y="25"/>
                  </a:moveTo>
                  <a:lnTo>
                    <a:pt x="51" y="25"/>
                  </a:lnTo>
                  <a:lnTo>
                    <a:pt x="51" y="30"/>
                  </a:lnTo>
                  <a:lnTo>
                    <a:pt x="50" y="35"/>
                  </a:lnTo>
                  <a:lnTo>
                    <a:pt x="48" y="40"/>
                  </a:lnTo>
                  <a:lnTo>
                    <a:pt x="44" y="44"/>
                  </a:lnTo>
                  <a:lnTo>
                    <a:pt x="40" y="47"/>
                  </a:lnTo>
                  <a:lnTo>
                    <a:pt x="35" y="50"/>
                  </a:lnTo>
                  <a:lnTo>
                    <a:pt x="31" y="51"/>
                  </a:lnTo>
                  <a:lnTo>
                    <a:pt x="26" y="51"/>
                  </a:lnTo>
                  <a:lnTo>
                    <a:pt x="26" y="51"/>
                  </a:lnTo>
                  <a:lnTo>
                    <a:pt x="21" y="51"/>
                  </a:lnTo>
                  <a:lnTo>
                    <a:pt x="16" y="50"/>
                  </a:lnTo>
                  <a:lnTo>
                    <a:pt x="11" y="47"/>
                  </a:lnTo>
                  <a:lnTo>
                    <a:pt x="7" y="44"/>
                  </a:lnTo>
                  <a:lnTo>
                    <a:pt x="4" y="40"/>
                  </a:lnTo>
                  <a:lnTo>
                    <a:pt x="1" y="35"/>
                  </a:lnTo>
                  <a:lnTo>
                    <a:pt x="0" y="30"/>
                  </a:lnTo>
                  <a:lnTo>
                    <a:pt x="0" y="25"/>
                  </a:lnTo>
                  <a:lnTo>
                    <a:pt x="0" y="25"/>
                  </a:lnTo>
                  <a:lnTo>
                    <a:pt x="0" y="20"/>
                  </a:lnTo>
                  <a:lnTo>
                    <a:pt x="1" y="16"/>
                  </a:lnTo>
                  <a:lnTo>
                    <a:pt x="4" y="11"/>
                  </a:lnTo>
                  <a:lnTo>
                    <a:pt x="7" y="7"/>
                  </a:lnTo>
                  <a:lnTo>
                    <a:pt x="11" y="3"/>
                  </a:lnTo>
                  <a:lnTo>
                    <a:pt x="16" y="1"/>
                  </a:lnTo>
                  <a:lnTo>
                    <a:pt x="21" y="0"/>
                  </a:lnTo>
                  <a:lnTo>
                    <a:pt x="26" y="0"/>
                  </a:lnTo>
                  <a:lnTo>
                    <a:pt x="26" y="0"/>
                  </a:lnTo>
                  <a:lnTo>
                    <a:pt x="31" y="0"/>
                  </a:lnTo>
                  <a:lnTo>
                    <a:pt x="35" y="1"/>
                  </a:lnTo>
                  <a:lnTo>
                    <a:pt x="40" y="3"/>
                  </a:lnTo>
                  <a:lnTo>
                    <a:pt x="44" y="7"/>
                  </a:lnTo>
                  <a:lnTo>
                    <a:pt x="48" y="11"/>
                  </a:lnTo>
                  <a:lnTo>
                    <a:pt x="50" y="16"/>
                  </a:lnTo>
                  <a:lnTo>
                    <a:pt x="51" y="20"/>
                  </a:lnTo>
                  <a:lnTo>
                    <a:pt x="51" y="25"/>
                  </a:lnTo>
                  <a:lnTo>
                    <a:pt x="51" y="25"/>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39" name="Freeform 529"/>
            <p:cNvSpPr>
              <a:spLocks/>
            </p:cNvSpPr>
            <p:nvPr/>
          </p:nvSpPr>
          <p:spPr bwMode="auto">
            <a:xfrm rot="2844967">
              <a:off x="3144178" y="3959204"/>
              <a:ext cx="28192" cy="28192"/>
            </a:xfrm>
            <a:custGeom>
              <a:avLst/>
              <a:gdLst>
                <a:gd name="T0" fmla="*/ 20 w 20"/>
                <a:gd name="T1" fmla="*/ 9 h 20"/>
                <a:gd name="T2" fmla="*/ 20 w 20"/>
                <a:gd name="T3" fmla="*/ 9 h 20"/>
                <a:gd name="T4" fmla="*/ 20 w 20"/>
                <a:gd name="T5" fmla="*/ 14 h 20"/>
                <a:gd name="T6" fmla="*/ 17 w 20"/>
                <a:gd name="T7" fmla="*/ 17 h 20"/>
                <a:gd name="T8" fmla="*/ 14 w 20"/>
                <a:gd name="T9" fmla="*/ 19 h 20"/>
                <a:gd name="T10" fmla="*/ 10 w 20"/>
                <a:gd name="T11" fmla="*/ 20 h 20"/>
                <a:gd name="T12" fmla="*/ 10 w 20"/>
                <a:gd name="T13" fmla="*/ 20 h 20"/>
                <a:gd name="T14" fmla="*/ 6 w 20"/>
                <a:gd name="T15" fmla="*/ 19 h 20"/>
                <a:gd name="T16" fmla="*/ 3 w 20"/>
                <a:gd name="T17" fmla="*/ 17 h 20"/>
                <a:gd name="T18" fmla="*/ 0 w 20"/>
                <a:gd name="T19" fmla="*/ 14 h 20"/>
                <a:gd name="T20" fmla="*/ 0 w 20"/>
                <a:gd name="T21" fmla="*/ 9 h 20"/>
                <a:gd name="T22" fmla="*/ 0 w 20"/>
                <a:gd name="T23" fmla="*/ 9 h 20"/>
                <a:gd name="T24" fmla="*/ 0 w 20"/>
                <a:gd name="T25" fmla="*/ 6 h 20"/>
                <a:gd name="T26" fmla="*/ 3 w 20"/>
                <a:gd name="T27" fmla="*/ 2 h 20"/>
                <a:gd name="T28" fmla="*/ 6 w 20"/>
                <a:gd name="T29" fmla="*/ 1 h 20"/>
                <a:gd name="T30" fmla="*/ 10 w 20"/>
                <a:gd name="T31" fmla="*/ 0 h 20"/>
                <a:gd name="T32" fmla="*/ 10 w 20"/>
                <a:gd name="T33" fmla="*/ 0 h 20"/>
                <a:gd name="T34" fmla="*/ 14 w 20"/>
                <a:gd name="T35" fmla="*/ 1 h 20"/>
                <a:gd name="T36" fmla="*/ 17 w 20"/>
                <a:gd name="T37" fmla="*/ 2 h 20"/>
                <a:gd name="T38" fmla="*/ 20 w 20"/>
                <a:gd name="T39" fmla="*/ 6 h 20"/>
                <a:gd name="T40" fmla="*/ 20 w 20"/>
                <a:gd name="T41" fmla="*/ 9 h 20"/>
                <a:gd name="T42" fmla="*/ 20 w 20"/>
                <a:gd name="T43" fmla="*/ 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20">
                  <a:moveTo>
                    <a:pt x="20" y="9"/>
                  </a:moveTo>
                  <a:lnTo>
                    <a:pt x="20" y="9"/>
                  </a:lnTo>
                  <a:lnTo>
                    <a:pt x="20" y="14"/>
                  </a:lnTo>
                  <a:lnTo>
                    <a:pt x="17" y="17"/>
                  </a:lnTo>
                  <a:lnTo>
                    <a:pt x="14" y="19"/>
                  </a:lnTo>
                  <a:lnTo>
                    <a:pt x="10" y="20"/>
                  </a:lnTo>
                  <a:lnTo>
                    <a:pt x="10" y="20"/>
                  </a:lnTo>
                  <a:lnTo>
                    <a:pt x="6" y="19"/>
                  </a:lnTo>
                  <a:lnTo>
                    <a:pt x="3" y="17"/>
                  </a:lnTo>
                  <a:lnTo>
                    <a:pt x="0" y="14"/>
                  </a:lnTo>
                  <a:lnTo>
                    <a:pt x="0" y="9"/>
                  </a:lnTo>
                  <a:lnTo>
                    <a:pt x="0" y="9"/>
                  </a:lnTo>
                  <a:lnTo>
                    <a:pt x="0" y="6"/>
                  </a:lnTo>
                  <a:lnTo>
                    <a:pt x="3" y="2"/>
                  </a:lnTo>
                  <a:lnTo>
                    <a:pt x="6" y="1"/>
                  </a:lnTo>
                  <a:lnTo>
                    <a:pt x="10" y="0"/>
                  </a:lnTo>
                  <a:lnTo>
                    <a:pt x="10" y="0"/>
                  </a:lnTo>
                  <a:lnTo>
                    <a:pt x="14" y="1"/>
                  </a:lnTo>
                  <a:lnTo>
                    <a:pt x="17" y="2"/>
                  </a:lnTo>
                  <a:lnTo>
                    <a:pt x="20" y="6"/>
                  </a:lnTo>
                  <a:lnTo>
                    <a:pt x="20" y="9"/>
                  </a:lnTo>
                  <a:lnTo>
                    <a:pt x="2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40" name="Freeform 530"/>
            <p:cNvSpPr>
              <a:spLocks/>
            </p:cNvSpPr>
            <p:nvPr/>
          </p:nvSpPr>
          <p:spPr bwMode="auto">
            <a:xfrm rot="2844967">
              <a:off x="2826906" y="4235717"/>
              <a:ext cx="35242" cy="42288"/>
            </a:xfrm>
            <a:custGeom>
              <a:avLst/>
              <a:gdLst>
                <a:gd name="T0" fmla="*/ 27 w 27"/>
                <a:gd name="T1" fmla="*/ 13 h 28"/>
                <a:gd name="T2" fmla="*/ 27 w 27"/>
                <a:gd name="T3" fmla="*/ 13 h 28"/>
                <a:gd name="T4" fmla="*/ 25 w 27"/>
                <a:gd name="T5" fmla="*/ 19 h 28"/>
                <a:gd name="T6" fmla="*/ 23 w 27"/>
                <a:gd name="T7" fmla="*/ 23 h 28"/>
                <a:gd name="T8" fmla="*/ 18 w 27"/>
                <a:gd name="T9" fmla="*/ 27 h 28"/>
                <a:gd name="T10" fmla="*/ 13 w 27"/>
                <a:gd name="T11" fmla="*/ 28 h 28"/>
                <a:gd name="T12" fmla="*/ 13 w 27"/>
                <a:gd name="T13" fmla="*/ 28 h 28"/>
                <a:gd name="T14" fmla="*/ 8 w 27"/>
                <a:gd name="T15" fmla="*/ 27 h 28"/>
                <a:gd name="T16" fmla="*/ 3 w 27"/>
                <a:gd name="T17" fmla="*/ 23 h 28"/>
                <a:gd name="T18" fmla="*/ 1 w 27"/>
                <a:gd name="T19" fmla="*/ 19 h 28"/>
                <a:gd name="T20" fmla="*/ 0 w 27"/>
                <a:gd name="T21" fmla="*/ 13 h 28"/>
                <a:gd name="T22" fmla="*/ 0 w 27"/>
                <a:gd name="T23" fmla="*/ 13 h 28"/>
                <a:gd name="T24" fmla="*/ 1 w 27"/>
                <a:gd name="T25" fmla="*/ 8 h 28"/>
                <a:gd name="T26" fmla="*/ 3 w 27"/>
                <a:gd name="T27" fmla="*/ 3 h 28"/>
                <a:gd name="T28" fmla="*/ 8 w 27"/>
                <a:gd name="T29" fmla="*/ 1 h 28"/>
                <a:gd name="T30" fmla="*/ 13 w 27"/>
                <a:gd name="T31" fmla="*/ 0 h 28"/>
                <a:gd name="T32" fmla="*/ 13 w 27"/>
                <a:gd name="T33" fmla="*/ 0 h 28"/>
                <a:gd name="T34" fmla="*/ 18 w 27"/>
                <a:gd name="T35" fmla="*/ 1 h 28"/>
                <a:gd name="T36" fmla="*/ 23 w 27"/>
                <a:gd name="T37" fmla="*/ 3 h 28"/>
                <a:gd name="T38" fmla="*/ 25 w 27"/>
                <a:gd name="T39" fmla="*/ 8 h 28"/>
                <a:gd name="T40" fmla="*/ 27 w 27"/>
                <a:gd name="T41" fmla="*/ 13 h 28"/>
                <a:gd name="T42" fmla="*/ 27 w 27"/>
                <a:gd name="T43" fmla="*/ 1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 h="28">
                  <a:moveTo>
                    <a:pt x="27" y="13"/>
                  </a:moveTo>
                  <a:lnTo>
                    <a:pt x="27" y="13"/>
                  </a:lnTo>
                  <a:lnTo>
                    <a:pt x="25" y="19"/>
                  </a:lnTo>
                  <a:lnTo>
                    <a:pt x="23" y="23"/>
                  </a:lnTo>
                  <a:lnTo>
                    <a:pt x="18" y="27"/>
                  </a:lnTo>
                  <a:lnTo>
                    <a:pt x="13" y="28"/>
                  </a:lnTo>
                  <a:lnTo>
                    <a:pt x="13" y="28"/>
                  </a:lnTo>
                  <a:lnTo>
                    <a:pt x="8" y="27"/>
                  </a:lnTo>
                  <a:lnTo>
                    <a:pt x="3" y="23"/>
                  </a:lnTo>
                  <a:lnTo>
                    <a:pt x="1" y="19"/>
                  </a:lnTo>
                  <a:lnTo>
                    <a:pt x="0" y="13"/>
                  </a:lnTo>
                  <a:lnTo>
                    <a:pt x="0" y="13"/>
                  </a:lnTo>
                  <a:lnTo>
                    <a:pt x="1" y="8"/>
                  </a:lnTo>
                  <a:lnTo>
                    <a:pt x="3" y="3"/>
                  </a:lnTo>
                  <a:lnTo>
                    <a:pt x="8" y="1"/>
                  </a:lnTo>
                  <a:lnTo>
                    <a:pt x="13" y="0"/>
                  </a:lnTo>
                  <a:lnTo>
                    <a:pt x="13" y="0"/>
                  </a:lnTo>
                  <a:lnTo>
                    <a:pt x="18" y="1"/>
                  </a:lnTo>
                  <a:lnTo>
                    <a:pt x="23" y="3"/>
                  </a:lnTo>
                  <a:lnTo>
                    <a:pt x="25" y="8"/>
                  </a:lnTo>
                  <a:lnTo>
                    <a:pt x="27" y="13"/>
                  </a:lnTo>
                  <a:lnTo>
                    <a:pt x="27"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41" name="Freeform 531"/>
            <p:cNvSpPr>
              <a:spLocks/>
            </p:cNvSpPr>
            <p:nvPr/>
          </p:nvSpPr>
          <p:spPr bwMode="auto">
            <a:xfrm rot="2844967">
              <a:off x="2657546" y="4354738"/>
              <a:ext cx="63435" cy="70480"/>
            </a:xfrm>
            <a:custGeom>
              <a:avLst/>
              <a:gdLst>
                <a:gd name="T0" fmla="*/ 47 w 47"/>
                <a:gd name="T1" fmla="*/ 23 h 47"/>
                <a:gd name="T2" fmla="*/ 47 w 47"/>
                <a:gd name="T3" fmla="*/ 23 h 47"/>
                <a:gd name="T4" fmla="*/ 46 w 47"/>
                <a:gd name="T5" fmla="*/ 28 h 47"/>
                <a:gd name="T6" fmla="*/ 45 w 47"/>
                <a:gd name="T7" fmla="*/ 33 h 47"/>
                <a:gd name="T8" fmla="*/ 43 w 47"/>
                <a:gd name="T9" fmla="*/ 37 h 47"/>
                <a:gd name="T10" fmla="*/ 40 w 47"/>
                <a:gd name="T11" fmla="*/ 40 h 47"/>
                <a:gd name="T12" fmla="*/ 37 w 47"/>
                <a:gd name="T13" fmla="*/ 43 h 47"/>
                <a:gd name="T14" fmla="*/ 33 w 47"/>
                <a:gd name="T15" fmla="*/ 45 h 47"/>
                <a:gd name="T16" fmla="*/ 28 w 47"/>
                <a:gd name="T17" fmla="*/ 47 h 47"/>
                <a:gd name="T18" fmla="*/ 23 w 47"/>
                <a:gd name="T19" fmla="*/ 47 h 47"/>
                <a:gd name="T20" fmla="*/ 23 w 47"/>
                <a:gd name="T21" fmla="*/ 47 h 47"/>
                <a:gd name="T22" fmla="*/ 19 w 47"/>
                <a:gd name="T23" fmla="*/ 47 h 47"/>
                <a:gd name="T24" fmla="*/ 15 w 47"/>
                <a:gd name="T25" fmla="*/ 45 h 47"/>
                <a:gd name="T26" fmla="*/ 11 w 47"/>
                <a:gd name="T27" fmla="*/ 43 h 47"/>
                <a:gd name="T28" fmla="*/ 7 w 47"/>
                <a:gd name="T29" fmla="*/ 40 h 47"/>
                <a:gd name="T30" fmla="*/ 4 w 47"/>
                <a:gd name="T31" fmla="*/ 37 h 47"/>
                <a:gd name="T32" fmla="*/ 2 w 47"/>
                <a:gd name="T33" fmla="*/ 33 h 47"/>
                <a:gd name="T34" fmla="*/ 1 w 47"/>
                <a:gd name="T35" fmla="*/ 28 h 47"/>
                <a:gd name="T36" fmla="*/ 0 w 47"/>
                <a:gd name="T37" fmla="*/ 23 h 47"/>
                <a:gd name="T38" fmla="*/ 0 w 47"/>
                <a:gd name="T39" fmla="*/ 23 h 47"/>
                <a:gd name="T40" fmla="*/ 1 w 47"/>
                <a:gd name="T41" fmla="*/ 19 h 47"/>
                <a:gd name="T42" fmla="*/ 2 w 47"/>
                <a:gd name="T43" fmla="*/ 15 h 47"/>
                <a:gd name="T44" fmla="*/ 4 w 47"/>
                <a:gd name="T45" fmla="*/ 10 h 47"/>
                <a:gd name="T46" fmla="*/ 7 w 47"/>
                <a:gd name="T47" fmla="*/ 8 h 47"/>
                <a:gd name="T48" fmla="*/ 11 w 47"/>
                <a:gd name="T49" fmla="*/ 4 h 47"/>
                <a:gd name="T50" fmla="*/ 15 w 47"/>
                <a:gd name="T51" fmla="*/ 1 h 47"/>
                <a:gd name="T52" fmla="*/ 19 w 47"/>
                <a:gd name="T53" fmla="*/ 0 h 47"/>
                <a:gd name="T54" fmla="*/ 23 w 47"/>
                <a:gd name="T55" fmla="*/ 0 h 47"/>
                <a:gd name="T56" fmla="*/ 23 w 47"/>
                <a:gd name="T57" fmla="*/ 0 h 47"/>
                <a:gd name="T58" fmla="*/ 28 w 47"/>
                <a:gd name="T59" fmla="*/ 0 h 47"/>
                <a:gd name="T60" fmla="*/ 33 w 47"/>
                <a:gd name="T61" fmla="*/ 1 h 47"/>
                <a:gd name="T62" fmla="*/ 37 w 47"/>
                <a:gd name="T63" fmla="*/ 4 h 47"/>
                <a:gd name="T64" fmla="*/ 40 w 47"/>
                <a:gd name="T65" fmla="*/ 8 h 47"/>
                <a:gd name="T66" fmla="*/ 43 w 47"/>
                <a:gd name="T67" fmla="*/ 10 h 47"/>
                <a:gd name="T68" fmla="*/ 45 w 47"/>
                <a:gd name="T69" fmla="*/ 15 h 47"/>
                <a:gd name="T70" fmla="*/ 46 w 47"/>
                <a:gd name="T71" fmla="*/ 19 h 47"/>
                <a:gd name="T72" fmla="*/ 47 w 47"/>
                <a:gd name="T73" fmla="*/ 23 h 47"/>
                <a:gd name="T74" fmla="*/ 47 w 47"/>
                <a:gd name="T7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 h="47">
                  <a:moveTo>
                    <a:pt x="47" y="23"/>
                  </a:moveTo>
                  <a:lnTo>
                    <a:pt x="47" y="23"/>
                  </a:lnTo>
                  <a:lnTo>
                    <a:pt x="46" y="28"/>
                  </a:lnTo>
                  <a:lnTo>
                    <a:pt x="45" y="33"/>
                  </a:lnTo>
                  <a:lnTo>
                    <a:pt x="43" y="37"/>
                  </a:lnTo>
                  <a:lnTo>
                    <a:pt x="40" y="40"/>
                  </a:lnTo>
                  <a:lnTo>
                    <a:pt x="37" y="43"/>
                  </a:lnTo>
                  <a:lnTo>
                    <a:pt x="33" y="45"/>
                  </a:lnTo>
                  <a:lnTo>
                    <a:pt x="28" y="47"/>
                  </a:lnTo>
                  <a:lnTo>
                    <a:pt x="23" y="47"/>
                  </a:lnTo>
                  <a:lnTo>
                    <a:pt x="23" y="47"/>
                  </a:lnTo>
                  <a:lnTo>
                    <a:pt x="19" y="47"/>
                  </a:lnTo>
                  <a:lnTo>
                    <a:pt x="15" y="45"/>
                  </a:lnTo>
                  <a:lnTo>
                    <a:pt x="11" y="43"/>
                  </a:lnTo>
                  <a:lnTo>
                    <a:pt x="7" y="40"/>
                  </a:lnTo>
                  <a:lnTo>
                    <a:pt x="4" y="37"/>
                  </a:lnTo>
                  <a:lnTo>
                    <a:pt x="2" y="33"/>
                  </a:lnTo>
                  <a:lnTo>
                    <a:pt x="1" y="28"/>
                  </a:lnTo>
                  <a:lnTo>
                    <a:pt x="0" y="23"/>
                  </a:lnTo>
                  <a:lnTo>
                    <a:pt x="0" y="23"/>
                  </a:lnTo>
                  <a:lnTo>
                    <a:pt x="1" y="19"/>
                  </a:lnTo>
                  <a:lnTo>
                    <a:pt x="2" y="15"/>
                  </a:lnTo>
                  <a:lnTo>
                    <a:pt x="4" y="10"/>
                  </a:lnTo>
                  <a:lnTo>
                    <a:pt x="7" y="8"/>
                  </a:lnTo>
                  <a:lnTo>
                    <a:pt x="11" y="4"/>
                  </a:lnTo>
                  <a:lnTo>
                    <a:pt x="15" y="1"/>
                  </a:lnTo>
                  <a:lnTo>
                    <a:pt x="19" y="0"/>
                  </a:lnTo>
                  <a:lnTo>
                    <a:pt x="23" y="0"/>
                  </a:lnTo>
                  <a:lnTo>
                    <a:pt x="23" y="0"/>
                  </a:lnTo>
                  <a:lnTo>
                    <a:pt x="28" y="0"/>
                  </a:lnTo>
                  <a:lnTo>
                    <a:pt x="33" y="1"/>
                  </a:lnTo>
                  <a:lnTo>
                    <a:pt x="37" y="4"/>
                  </a:lnTo>
                  <a:lnTo>
                    <a:pt x="40" y="8"/>
                  </a:lnTo>
                  <a:lnTo>
                    <a:pt x="43" y="10"/>
                  </a:lnTo>
                  <a:lnTo>
                    <a:pt x="45" y="15"/>
                  </a:lnTo>
                  <a:lnTo>
                    <a:pt x="46" y="19"/>
                  </a:lnTo>
                  <a:lnTo>
                    <a:pt x="47" y="23"/>
                  </a:lnTo>
                  <a:lnTo>
                    <a:pt x="47"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1048" name="그룹 1047"/>
          <p:cNvGrpSpPr/>
          <p:nvPr userDrawn="1"/>
        </p:nvGrpSpPr>
        <p:grpSpPr>
          <a:xfrm>
            <a:off x="10963244" y="144901"/>
            <a:ext cx="528587" cy="669922"/>
            <a:chOff x="1897095" y="3168671"/>
            <a:chExt cx="295277" cy="350840"/>
          </a:xfrm>
        </p:grpSpPr>
        <p:sp>
          <p:nvSpPr>
            <p:cNvPr id="1049" name="Freeform 587"/>
            <p:cNvSpPr>
              <a:spLocks/>
            </p:cNvSpPr>
            <p:nvPr/>
          </p:nvSpPr>
          <p:spPr bwMode="auto">
            <a:xfrm>
              <a:off x="1965358" y="3281384"/>
              <a:ext cx="227014" cy="238127"/>
            </a:xfrm>
            <a:custGeom>
              <a:avLst/>
              <a:gdLst>
                <a:gd name="T0" fmla="*/ 689 w 717"/>
                <a:gd name="T1" fmla="*/ 395 h 752"/>
                <a:gd name="T2" fmla="*/ 712 w 717"/>
                <a:gd name="T3" fmla="*/ 365 h 752"/>
                <a:gd name="T4" fmla="*/ 716 w 717"/>
                <a:gd name="T5" fmla="*/ 327 h 752"/>
                <a:gd name="T6" fmla="*/ 707 w 717"/>
                <a:gd name="T7" fmla="*/ 302 h 752"/>
                <a:gd name="T8" fmla="*/ 678 w 717"/>
                <a:gd name="T9" fmla="*/ 259 h 752"/>
                <a:gd name="T10" fmla="*/ 657 w 717"/>
                <a:gd name="T11" fmla="*/ 226 h 752"/>
                <a:gd name="T12" fmla="*/ 633 w 717"/>
                <a:gd name="T13" fmla="*/ 181 h 752"/>
                <a:gd name="T14" fmla="*/ 618 w 717"/>
                <a:gd name="T15" fmla="*/ 163 h 752"/>
                <a:gd name="T16" fmla="*/ 570 w 717"/>
                <a:gd name="T17" fmla="*/ 128 h 752"/>
                <a:gd name="T18" fmla="*/ 500 w 717"/>
                <a:gd name="T19" fmla="*/ 85 h 752"/>
                <a:gd name="T20" fmla="*/ 452 w 717"/>
                <a:gd name="T21" fmla="*/ 50 h 752"/>
                <a:gd name="T22" fmla="*/ 399 w 717"/>
                <a:gd name="T23" fmla="*/ 20 h 752"/>
                <a:gd name="T24" fmla="*/ 362 w 717"/>
                <a:gd name="T25" fmla="*/ 6 h 752"/>
                <a:gd name="T26" fmla="*/ 322 w 717"/>
                <a:gd name="T27" fmla="*/ 0 h 752"/>
                <a:gd name="T28" fmla="*/ 292 w 717"/>
                <a:gd name="T29" fmla="*/ 5 h 752"/>
                <a:gd name="T30" fmla="*/ 272 w 717"/>
                <a:gd name="T31" fmla="*/ 13 h 752"/>
                <a:gd name="T32" fmla="*/ 238 w 717"/>
                <a:gd name="T33" fmla="*/ 33 h 752"/>
                <a:gd name="T34" fmla="*/ 209 w 717"/>
                <a:gd name="T35" fmla="*/ 42 h 752"/>
                <a:gd name="T36" fmla="*/ 156 w 717"/>
                <a:gd name="T37" fmla="*/ 49 h 752"/>
                <a:gd name="T38" fmla="*/ 106 w 717"/>
                <a:gd name="T39" fmla="*/ 63 h 752"/>
                <a:gd name="T40" fmla="*/ 76 w 717"/>
                <a:gd name="T41" fmla="*/ 81 h 752"/>
                <a:gd name="T42" fmla="*/ 42 w 717"/>
                <a:gd name="T43" fmla="*/ 113 h 752"/>
                <a:gd name="T44" fmla="*/ 21 w 717"/>
                <a:gd name="T45" fmla="*/ 154 h 752"/>
                <a:gd name="T46" fmla="*/ 9 w 717"/>
                <a:gd name="T47" fmla="*/ 215 h 752"/>
                <a:gd name="T48" fmla="*/ 0 w 717"/>
                <a:gd name="T49" fmla="*/ 309 h 752"/>
                <a:gd name="T50" fmla="*/ 3 w 717"/>
                <a:gd name="T51" fmla="*/ 326 h 752"/>
                <a:gd name="T52" fmla="*/ 14 w 717"/>
                <a:gd name="T53" fmla="*/ 338 h 752"/>
                <a:gd name="T54" fmla="*/ 16 w 717"/>
                <a:gd name="T55" fmla="*/ 340 h 752"/>
                <a:gd name="T56" fmla="*/ 34 w 717"/>
                <a:gd name="T57" fmla="*/ 354 h 752"/>
                <a:gd name="T58" fmla="*/ 118 w 717"/>
                <a:gd name="T59" fmla="*/ 427 h 752"/>
                <a:gd name="T60" fmla="*/ 167 w 717"/>
                <a:gd name="T61" fmla="*/ 460 h 752"/>
                <a:gd name="T62" fmla="*/ 192 w 717"/>
                <a:gd name="T63" fmla="*/ 468 h 752"/>
                <a:gd name="T64" fmla="*/ 215 w 717"/>
                <a:gd name="T65" fmla="*/ 522 h 752"/>
                <a:gd name="T66" fmla="*/ 221 w 717"/>
                <a:gd name="T67" fmla="*/ 563 h 752"/>
                <a:gd name="T68" fmla="*/ 221 w 717"/>
                <a:gd name="T69" fmla="*/ 604 h 752"/>
                <a:gd name="T70" fmla="*/ 222 w 717"/>
                <a:gd name="T71" fmla="*/ 624 h 752"/>
                <a:gd name="T72" fmla="*/ 227 w 717"/>
                <a:gd name="T73" fmla="*/ 635 h 752"/>
                <a:gd name="T74" fmla="*/ 245 w 717"/>
                <a:gd name="T75" fmla="*/ 641 h 752"/>
                <a:gd name="T76" fmla="*/ 290 w 717"/>
                <a:gd name="T77" fmla="*/ 663 h 752"/>
                <a:gd name="T78" fmla="*/ 394 w 717"/>
                <a:gd name="T79" fmla="*/ 714 h 752"/>
                <a:gd name="T80" fmla="*/ 477 w 717"/>
                <a:gd name="T81" fmla="*/ 745 h 752"/>
                <a:gd name="T82" fmla="*/ 531 w 717"/>
                <a:gd name="T83" fmla="*/ 752 h 752"/>
                <a:gd name="T84" fmla="*/ 570 w 717"/>
                <a:gd name="T85" fmla="*/ 750 h 752"/>
                <a:gd name="T86" fmla="*/ 606 w 717"/>
                <a:gd name="T87" fmla="*/ 736 h 752"/>
                <a:gd name="T88" fmla="*/ 641 w 717"/>
                <a:gd name="T89" fmla="*/ 712 h 752"/>
                <a:gd name="T90" fmla="*/ 666 w 717"/>
                <a:gd name="T91" fmla="*/ 684 h 752"/>
                <a:gd name="T92" fmla="*/ 695 w 717"/>
                <a:gd name="T93" fmla="*/ 623 h 752"/>
                <a:gd name="T94" fmla="*/ 702 w 717"/>
                <a:gd name="T95" fmla="*/ 555 h 752"/>
                <a:gd name="T96" fmla="*/ 698 w 717"/>
                <a:gd name="T97" fmla="*/ 501 h 752"/>
                <a:gd name="T98" fmla="*/ 684 w 717"/>
                <a:gd name="T99" fmla="*/ 41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7" h="752">
                  <a:moveTo>
                    <a:pt x="679" y="405"/>
                  </a:moveTo>
                  <a:lnTo>
                    <a:pt x="679" y="405"/>
                  </a:lnTo>
                  <a:lnTo>
                    <a:pt x="689" y="395"/>
                  </a:lnTo>
                  <a:lnTo>
                    <a:pt x="699" y="385"/>
                  </a:lnTo>
                  <a:lnTo>
                    <a:pt x="706" y="376"/>
                  </a:lnTo>
                  <a:lnTo>
                    <a:pt x="712" y="365"/>
                  </a:lnTo>
                  <a:lnTo>
                    <a:pt x="716" y="354"/>
                  </a:lnTo>
                  <a:lnTo>
                    <a:pt x="717" y="341"/>
                  </a:lnTo>
                  <a:lnTo>
                    <a:pt x="716" y="327"/>
                  </a:lnTo>
                  <a:lnTo>
                    <a:pt x="711" y="312"/>
                  </a:lnTo>
                  <a:lnTo>
                    <a:pt x="711" y="312"/>
                  </a:lnTo>
                  <a:lnTo>
                    <a:pt x="707" y="302"/>
                  </a:lnTo>
                  <a:lnTo>
                    <a:pt x="701" y="294"/>
                  </a:lnTo>
                  <a:lnTo>
                    <a:pt x="690" y="276"/>
                  </a:lnTo>
                  <a:lnTo>
                    <a:pt x="678" y="259"/>
                  </a:lnTo>
                  <a:lnTo>
                    <a:pt x="666" y="241"/>
                  </a:lnTo>
                  <a:lnTo>
                    <a:pt x="666" y="241"/>
                  </a:lnTo>
                  <a:lnTo>
                    <a:pt x="657" y="226"/>
                  </a:lnTo>
                  <a:lnTo>
                    <a:pt x="650" y="211"/>
                  </a:lnTo>
                  <a:lnTo>
                    <a:pt x="641" y="195"/>
                  </a:lnTo>
                  <a:lnTo>
                    <a:pt x="633" y="181"/>
                  </a:lnTo>
                  <a:lnTo>
                    <a:pt x="633" y="181"/>
                  </a:lnTo>
                  <a:lnTo>
                    <a:pt x="626" y="172"/>
                  </a:lnTo>
                  <a:lnTo>
                    <a:pt x="618" y="163"/>
                  </a:lnTo>
                  <a:lnTo>
                    <a:pt x="604" y="150"/>
                  </a:lnTo>
                  <a:lnTo>
                    <a:pt x="587" y="139"/>
                  </a:lnTo>
                  <a:lnTo>
                    <a:pt x="570" y="128"/>
                  </a:lnTo>
                  <a:lnTo>
                    <a:pt x="534" y="109"/>
                  </a:lnTo>
                  <a:lnTo>
                    <a:pt x="517" y="98"/>
                  </a:lnTo>
                  <a:lnTo>
                    <a:pt x="500" y="85"/>
                  </a:lnTo>
                  <a:lnTo>
                    <a:pt x="500" y="85"/>
                  </a:lnTo>
                  <a:lnTo>
                    <a:pt x="468" y="61"/>
                  </a:lnTo>
                  <a:lnTo>
                    <a:pt x="452" y="50"/>
                  </a:lnTo>
                  <a:lnTo>
                    <a:pt x="435" y="38"/>
                  </a:lnTo>
                  <a:lnTo>
                    <a:pt x="417" y="28"/>
                  </a:lnTo>
                  <a:lnTo>
                    <a:pt x="399" y="20"/>
                  </a:lnTo>
                  <a:lnTo>
                    <a:pt x="381" y="12"/>
                  </a:lnTo>
                  <a:lnTo>
                    <a:pt x="362" y="6"/>
                  </a:lnTo>
                  <a:lnTo>
                    <a:pt x="362" y="6"/>
                  </a:lnTo>
                  <a:lnTo>
                    <a:pt x="342" y="3"/>
                  </a:lnTo>
                  <a:lnTo>
                    <a:pt x="332" y="1"/>
                  </a:lnTo>
                  <a:lnTo>
                    <a:pt x="322" y="0"/>
                  </a:lnTo>
                  <a:lnTo>
                    <a:pt x="312" y="1"/>
                  </a:lnTo>
                  <a:lnTo>
                    <a:pt x="301" y="3"/>
                  </a:lnTo>
                  <a:lnTo>
                    <a:pt x="292" y="5"/>
                  </a:lnTo>
                  <a:lnTo>
                    <a:pt x="282" y="9"/>
                  </a:lnTo>
                  <a:lnTo>
                    <a:pt x="282" y="9"/>
                  </a:lnTo>
                  <a:lnTo>
                    <a:pt x="272" y="13"/>
                  </a:lnTo>
                  <a:lnTo>
                    <a:pt x="262" y="18"/>
                  </a:lnTo>
                  <a:lnTo>
                    <a:pt x="246" y="28"/>
                  </a:lnTo>
                  <a:lnTo>
                    <a:pt x="238" y="33"/>
                  </a:lnTo>
                  <a:lnTo>
                    <a:pt x="229" y="37"/>
                  </a:lnTo>
                  <a:lnTo>
                    <a:pt x="220" y="39"/>
                  </a:lnTo>
                  <a:lnTo>
                    <a:pt x="209" y="42"/>
                  </a:lnTo>
                  <a:lnTo>
                    <a:pt x="209" y="42"/>
                  </a:lnTo>
                  <a:lnTo>
                    <a:pt x="173" y="45"/>
                  </a:lnTo>
                  <a:lnTo>
                    <a:pt x="156" y="49"/>
                  </a:lnTo>
                  <a:lnTo>
                    <a:pt x="139" y="53"/>
                  </a:lnTo>
                  <a:lnTo>
                    <a:pt x="123" y="57"/>
                  </a:lnTo>
                  <a:lnTo>
                    <a:pt x="106" y="63"/>
                  </a:lnTo>
                  <a:lnTo>
                    <a:pt x="92" y="71"/>
                  </a:lnTo>
                  <a:lnTo>
                    <a:pt x="76" y="81"/>
                  </a:lnTo>
                  <a:lnTo>
                    <a:pt x="76" y="81"/>
                  </a:lnTo>
                  <a:lnTo>
                    <a:pt x="62" y="90"/>
                  </a:lnTo>
                  <a:lnTo>
                    <a:pt x="51" y="101"/>
                  </a:lnTo>
                  <a:lnTo>
                    <a:pt x="42" y="113"/>
                  </a:lnTo>
                  <a:lnTo>
                    <a:pt x="33" y="126"/>
                  </a:lnTo>
                  <a:lnTo>
                    <a:pt x="26" y="140"/>
                  </a:lnTo>
                  <a:lnTo>
                    <a:pt x="21" y="154"/>
                  </a:lnTo>
                  <a:lnTo>
                    <a:pt x="16" y="168"/>
                  </a:lnTo>
                  <a:lnTo>
                    <a:pt x="14" y="184"/>
                  </a:lnTo>
                  <a:lnTo>
                    <a:pt x="9" y="215"/>
                  </a:lnTo>
                  <a:lnTo>
                    <a:pt x="5" y="246"/>
                  </a:lnTo>
                  <a:lnTo>
                    <a:pt x="4" y="278"/>
                  </a:lnTo>
                  <a:lnTo>
                    <a:pt x="0" y="309"/>
                  </a:lnTo>
                  <a:lnTo>
                    <a:pt x="0" y="309"/>
                  </a:lnTo>
                  <a:lnTo>
                    <a:pt x="0" y="318"/>
                  </a:lnTo>
                  <a:lnTo>
                    <a:pt x="3" y="326"/>
                  </a:lnTo>
                  <a:lnTo>
                    <a:pt x="8" y="333"/>
                  </a:lnTo>
                  <a:lnTo>
                    <a:pt x="14" y="338"/>
                  </a:lnTo>
                  <a:lnTo>
                    <a:pt x="14" y="338"/>
                  </a:lnTo>
                  <a:lnTo>
                    <a:pt x="16" y="340"/>
                  </a:lnTo>
                  <a:lnTo>
                    <a:pt x="16" y="340"/>
                  </a:lnTo>
                  <a:lnTo>
                    <a:pt x="16" y="340"/>
                  </a:lnTo>
                  <a:lnTo>
                    <a:pt x="21" y="343"/>
                  </a:lnTo>
                  <a:lnTo>
                    <a:pt x="21" y="343"/>
                  </a:lnTo>
                  <a:lnTo>
                    <a:pt x="34" y="354"/>
                  </a:lnTo>
                  <a:lnTo>
                    <a:pt x="51" y="368"/>
                  </a:lnTo>
                  <a:lnTo>
                    <a:pt x="94" y="407"/>
                  </a:lnTo>
                  <a:lnTo>
                    <a:pt x="118" y="427"/>
                  </a:lnTo>
                  <a:lnTo>
                    <a:pt x="143" y="445"/>
                  </a:lnTo>
                  <a:lnTo>
                    <a:pt x="155" y="452"/>
                  </a:lnTo>
                  <a:lnTo>
                    <a:pt x="167" y="460"/>
                  </a:lnTo>
                  <a:lnTo>
                    <a:pt x="179" y="465"/>
                  </a:lnTo>
                  <a:lnTo>
                    <a:pt x="192" y="468"/>
                  </a:lnTo>
                  <a:lnTo>
                    <a:pt x="192" y="468"/>
                  </a:lnTo>
                  <a:lnTo>
                    <a:pt x="200" y="485"/>
                  </a:lnTo>
                  <a:lnTo>
                    <a:pt x="209" y="502"/>
                  </a:lnTo>
                  <a:lnTo>
                    <a:pt x="215" y="522"/>
                  </a:lnTo>
                  <a:lnTo>
                    <a:pt x="218" y="541"/>
                  </a:lnTo>
                  <a:lnTo>
                    <a:pt x="218" y="541"/>
                  </a:lnTo>
                  <a:lnTo>
                    <a:pt x="221" y="563"/>
                  </a:lnTo>
                  <a:lnTo>
                    <a:pt x="222" y="584"/>
                  </a:lnTo>
                  <a:lnTo>
                    <a:pt x="222" y="584"/>
                  </a:lnTo>
                  <a:lnTo>
                    <a:pt x="221" y="604"/>
                  </a:lnTo>
                  <a:lnTo>
                    <a:pt x="221" y="613"/>
                  </a:lnTo>
                  <a:lnTo>
                    <a:pt x="222" y="624"/>
                  </a:lnTo>
                  <a:lnTo>
                    <a:pt x="222" y="624"/>
                  </a:lnTo>
                  <a:lnTo>
                    <a:pt x="223" y="628"/>
                  </a:lnTo>
                  <a:lnTo>
                    <a:pt x="225" y="632"/>
                  </a:lnTo>
                  <a:lnTo>
                    <a:pt x="227" y="635"/>
                  </a:lnTo>
                  <a:lnTo>
                    <a:pt x="231" y="638"/>
                  </a:lnTo>
                  <a:lnTo>
                    <a:pt x="237" y="640"/>
                  </a:lnTo>
                  <a:lnTo>
                    <a:pt x="245" y="641"/>
                  </a:lnTo>
                  <a:lnTo>
                    <a:pt x="245" y="641"/>
                  </a:lnTo>
                  <a:lnTo>
                    <a:pt x="267" y="652"/>
                  </a:lnTo>
                  <a:lnTo>
                    <a:pt x="290" y="663"/>
                  </a:lnTo>
                  <a:lnTo>
                    <a:pt x="342" y="689"/>
                  </a:lnTo>
                  <a:lnTo>
                    <a:pt x="367" y="702"/>
                  </a:lnTo>
                  <a:lnTo>
                    <a:pt x="394" y="714"/>
                  </a:lnTo>
                  <a:lnTo>
                    <a:pt x="422" y="727"/>
                  </a:lnTo>
                  <a:lnTo>
                    <a:pt x="449" y="736"/>
                  </a:lnTo>
                  <a:lnTo>
                    <a:pt x="477" y="745"/>
                  </a:lnTo>
                  <a:lnTo>
                    <a:pt x="504" y="750"/>
                  </a:lnTo>
                  <a:lnTo>
                    <a:pt x="517" y="752"/>
                  </a:lnTo>
                  <a:lnTo>
                    <a:pt x="531" y="752"/>
                  </a:lnTo>
                  <a:lnTo>
                    <a:pt x="544" y="752"/>
                  </a:lnTo>
                  <a:lnTo>
                    <a:pt x="557" y="752"/>
                  </a:lnTo>
                  <a:lnTo>
                    <a:pt x="570" y="750"/>
                  </a:lnTo>
                  <a:lnTo>
                    <a:pt x="582" y="746"/>
                  </a:lnTo>
                  <a:lnTo>
                    <a:pt x="595" y="743"/>
                  </a:lnTo>
                  <a:lnTo>
                    <a:pt x="606" y="736"/>
                  </a:lnTo>
                  <a:lnTo>
                    <a:pt x="618" y="730"/>
                  </a:lnTo>
                  <a:lnTo>
                    <a:pt x="630" y="722"/>
                  </a:lnTo>
                  <a:lnTo>
                    <a:pt x="641" y="712"/>
                  </a:lnTo>
                  <a:lnTo>
                    <a:pt x="652" y="701"/>
                  </a:lnTo>
                  <a:lnTo>
                    <a:pt x="652" y="701"/>
                  </a:lnTo>
                  <a:lnTo>
                    <a:pt x="666" y="684"/>
                  </a:lnTo>
                  <a:lnTo>
                    <a:pt x="678" y="664"/>
                  </a:lnTo>
                  <a:lnTo>
                    <a:pt x="688" y="644"/>
                  </a:lnTo>
                  <a:lnTo>
                    <a:pt x="695" y="623"/>
                  </a:lnTo>
                  <a:lnTo>
                    <a:pt x="700" y="601"/>
                  </a:lnTo>
                  <a:lnTo>
                    <a:pt x="702" y="578"/>
                  </a:lnTo>
                  <a:lnTo>
                    <a:pt x="702" y="555"/>
                  </a:lnTo>
                  <a:lnTo>
                    <a:pt x="701" y="533"/>
                  </a:lnTo>
                  <a:lnTo>
                    <a:pt x="701" y="533"/>
                  </a:lnTo>
                  <a:lnTo>
                    <a:pt x="698" y="501"/>
                  </a:lnTo>
                  <a:lnTo>
                    <a:pt x="694" y="468"/>
                  </a:lnTo>
                  <a:lnTo>
                    <a:pt x="688" y="437"/>
                  </a:lnTo>
                  <a:lnTo>
                    <a:pt x="684" y="419"/>
                  </a:lnTo>
                  <a:lnTo>
                    <a:pt x="679" y="405"/>
                  </a:lnTo>
                  <a:lnTo>
                    <a:pt x="679" y="405"/>
                  </a:lnTo>
                  <a:close/>
                </a:path>
              </a:pathLst>
            </a:custGeom>
            <a:solidFill>
              <a:srgbClr val="4F17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0" name="Freeform 588"/>
            <p:cNvSpPr>
              <a:spLocks/>
            </p:cNvSpPr>
            <p:nvPr/>
          </p:nvSpPr>
          <p:spPr bwMode="auto">
            <a:xfrm>
              <a:off x="1973295" y="3281384"/>
              <a:ext cx="219077" cy="165102"/>
            </a:xfrm>
            <a:custGeom>
              <a:avLst/>
              <a:gdLst>
                <a:gd name="T0" fmla="*/ 669 w 691"/>
                <a:gd name="T1" fmla="*/ 482 h 519"/>
                <a:gd name="T2" fmla="*/ 653 w 691"/>
                <a:gd name="T3" fmla="*/ 405 h 519"/>
                <a:gd name="T4" fmla="*/ 673 w 691"/>
                <a:gd name="T5" fmla="*/ 385 h 519"/>
                <a:gd name="T6" fmla="*/ 690 w 691"/>
                <a:gd name="T7" fmla="*/ 354 h 519"/>
                <a:gd name="T8" fmla="*/ 685 w 691"/>
                <a:gd name="T9" fmla="*/ 312 h 519"/>
                <a:gd name="T10" fmla="*/ 675 w 691"/>
                <a:gd name="T11" fmla="*/ 294 h 519"/>
                <a:gd name="T12" fmla="*/ 640 w 691"/>
                <a:gd name="T13" fmla="*/ 241 h 519"/>
                <a:gd name="T14" fmla="*/ 624 w 691"/>
                <a:gd name="T15" fmla="*/ 211 h 519"/>
                <a:gd name="T16" fmla="*/ 607 w 691"/>
                <a:gd name="T17" fmla="*/ 181 h 519"/>
                <a:gd name="T18" fmla="*/ 578 w 691"/>
                <a:gd name="T19" fmla="*/ 150 h 519"/>
                <a:gd name="T20" fmla="*/ 508 w 691"/>
                <a:gd name="T21" fmla="*/ 109 h 519"/>
                <a:gd name="T22" fmla="*/ 474 w 691"/>
                <a:gd name="T23" fmla="*/ 85 h 519"/>
                <a:gd name="T24" fmla="*/ 409 w 691"/>
                <a:gd name="T25" fmla="*/ 38 h 519"/>
                <a:gd name="T26" fmla="*/ 355 w 691"/>
                <a:gd name="T27" fmla="*/ 12 h 519"/>
                <a:gd name="T28" fmla="*/ 316 w 691"/>
                <a:gd name="T29" fmla="*/ 3 h 519"/>
                <a:gd name="T30" fmla="*/ 286 w 691"/>
                <a:gd name="T31" fmla="*/ 1 h 519"/>
                <a:gd name="T32" fmla="*/ 256 w 691"/>
                <a:gd name="T33" fmla="*/ 9 h 519"/>
                <a:gd name="T34" fmla="*/ 236 w 691"/>
                <a:gd name="T35" fmla="*/ 18 h 519"/>
                <a:gd name="T36" fmla="*/ 203 w 691"/>
                <a:gd name="T37" fmla="*/ 37 h 519"/>
                <a:gd name="T38" fmla="*/ 183 w 691"/>
                <a:gd name="T39" fmla="*/ 42 h 519"/>
                <a:gd name="T40" fmla="*/ 113 w 691"/>
                <a:gd name="T41" fmla="*/ 53 h 519"/>
                <a:gd name="T42" fmla="*/ 66 w 691"/>
                <a:gd name="T43" fmla="*/ 71 h 519"/>
                <a:gd name="T44" fmla="*/ 41 w 691"/>
                <a:gd name="T45" fmla="*/ 87 h 519"/>
                <a:gd name="T46" fmla="*/ 19 w 691"/>
                <a:gd name="T47" fmla="*/ 107 h 519"/>
                <a:gd name="T48" fmla="*/ 0 w 691"/>
                <a:gd name="T49" fmla="*/ 140 h 519"/>
                <a:gd name="T50" fmla="*/ 18 w 691"/>
                <a:gd name="T51" fmla="*/ 220 h 519"/>
                <a:gd name="T52" fmla="*/ 25 w 691"/>
                <a:gd name="T53" fmla="*/ 254 h 519"/>
                <a:gd name="T54" fmla="*/ 44 w 691"/>
                <a:gd name="T55" fmla="*/ 270 h 519"/>
                <a:gd name="T56" fmla="*/ 47 w 691"/>
                <a:gd name="T57" fmla="*/ 271 h 519"/>
                <a:gd name="T58" fmla="*/ 53 w 691"/>
                <a:gd name="T59" fmla="*/ 272 h 519"/>
                <a:gd name="T60" fmla="*/ 89 w 691"/>
                <a:gd name="T61" fmla="*/ 287 h 519"/>
                <a:gd name="T62" fmla="*/ 200 w 691"/>
                <a:gd name="T63" fmla="*/ 333 h 519"/>
                <a:gd name="T64" fmla="*/ 240 w 691"/>
                <a:gd name="T65" fmla="*/ 340 h 519"/>
                <a:gd name="T66" fmla="*/ 267 w 691"/>
                <a:gd name="T67" fmla="*/ 354 h 519"/>
                <a:gd name="T68" fmla="*/ 300 w 691"/>
                <a:gd name="T69" fmla="*/ 402 h 519"/>
                <a:gd name="T70" fmla="*/ 317 w 691"/>
                <a:gd name="T71" fmla="*/ 441 h 519"/>
                <a:gd name="T72" fmla="*/ 324 w 691"/>
                <a:gd name="T73" fmla="*/ 471 h 519"/>
                <a:gd name="T74" fmla="*/ 330 w 691"/>
                <a:gd name="T75" fmla="*/ 484 h 519"/>
                <a:gd name="T76" fmla="*/ 340 w 691"/>
                <a:gd name="T77" fmla="*/ 490 h 519"/>
                <a:gd name="T78" fmla="*/ 356 w 691"/>
                <a:gd name="T79" fmla="*/ 490 h 519"/>
                <a:gd name="T80" fmla="*/ 470 w 691"/>
                <a:gd name="T81" fmla="*/ 507 h 519"/>
                <a:gd name="T82" fmla="*/ 575 w 691"/>
                <a:gd name="T83" fmla="*/ 519 h 519"/>
                <a:gd name="T84" fmla="*/ 635 w 691"/>
                <a:gd name="T85" fmla="*/ 516 h 519"/>
                <a:gd name="T86" fmla="*/ 673 w 691"/>
                <a:gd name="T87" fmla="*/ 507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91" h="519">
                  <a:moveTo>
                    <a:pt x="673" y="507"/>
                  </a:moveTo>
                  <a:lnTo>
                    <a:pt x="673" y="507"/>
                  </a:lnTo>
                  <a:lnTo>
                    <a:pt x="669" y="482"/>
                  </a:lnTo>
                  <a:lnTo>
                    <a:pt x="665" y="455"/>
                  </a:lnTo>
                  <a:lnTo>
                    <a:pt x="661" y="429"/>
                  </a:lnTo>
                  <a:lnTo>
                    <a:pt x="653" y="405"/>
                  </a:lnTo>
                  <a:lnTo>
                    <a:pt x="653" y="405"/>
                  </a:lnTo>
                  <a:lnTo>
                    <a:pt x="663" y="395"/>
                  </a:lnTo>
                  <a:lnTo>
                    <a:pt x="673" y="385"/>
                  </a:lnTo>
                  <a:lnTo>
                    <a:pt x="680" y="376"/>
                  </a:lnTo>
                  <a:lnTo>
                    <a:pt x="686" y="365"/>
                  </a:lnTo>
                  <a:lnTo>
                    <a:pt x="690" y="354"/>
                  </a:lnTo>
                  <a:lnTo>
                    <a:pt x="691" y="341"/>
                  </a:lnTo>
                  <a:lnTo>
                    <a:pt x="690" y="327"/>
                  </a:lnTo>
                  <a:lnTo>
                    <a:pt x="685" y="312"/>
                  </a:lnTo>
                  <a:lnTo>
                    <a:pt x="685" y="312"/>
                  </a:lnTo>
                  <a:lnTo>
                    <a:pt x="681" y="302"/>
                  </a:lnTo>
                  <a:lnTo>
                    <a:pt x="675" y="294"/>
                  </a:lnTo>
                  <a:lnTo>
                    <a:pt x="664" y="276"/>
                  </a:lnTo>
                  <a:lnTo>
                    <a:pt x="652" y="259"/>
                  </a:lnTo>
                  <a:lnTo>
                    <a:pt x="640" y="241"/>
                  </a:lnTo>
                  <a:lnTo>
                    <a:pt x="640" y="241"/>
                  </a:lnTo>
                  <a:lnTo>
                    <a:pt x="631" y="226"/>
                  </a:lnTo>
                  <a:lnTo>
                    <a:pt x="624" y="211"/>
                  </a:lnTo>
                  <a:lnTo>
                    <a:pt x="615" y="195"/>
                  </a:lnTo>
                  <a:lnTo>
                    <a:pt x="607" y="181"/>
                  </a:lnTo>
                  <a:lnTo>
                    <a:pt x="607" y="181"/>
                  </a:lnTo>
                  <a:lnTo>
                    <a:pt x="600" y="172"/>
                  </a:lnTo>
                  <a:lnTo>
                    <a:pt x="592" y="163"/>
                  </a:lnTo>
                  <a:lnTo>
                    <a:pt x="578" y="150"/>
                  </a:lnTo>
                  <a:lnTo>
                    <a:pt x="561" y="139"/>
                  </a:lnTo>
                  <a:lnTo>
                    <a:pt x="544" y="128"/>
                  </a:lnTo>
                  <a:lnTo>
                    <a:pt x="508" y="109"/>
                  </a:lnTo>
                  <a:lnTo>
                    <a:pt x="491" y="98"/>
                  </a:lnTo>
                  <a:lnTo>
                    <a:pt x="474" y="85"/>
                  </a:lnTo>
                  <a:lnTo>
                    <a:pt x="474" y="85"/>
                  </a:lnTo>
                  <a:lnTo>
                    <a:pt x="442" y="61"/>
                  </a:lnTo>
                  <a:lnTo>
                    <a:pt x="426" y="50"/>
                  </a:lnTo>
                  <a:lnTo>
                    <a:pt x="409" y="38"/>
                  </a:lnTo>
                  <a:lnTo>
                    <a:pt x="391" y="28"/>
                  </a:lnTo>
                  <a:lnTo>
                    <a:pt x="373" y="20"/>
                  </a:lnTo>
                  <a:lnTo>
                    <a:pt x="355" y="12"/>
                  </a:lnTo>
                  <a:lnTo>
                    <a:pt x="336" y="6"/>
                  </a:lnTo>
                  <a:lnTo>
                    <a:pt x="336" y="6"/>
                  </a:lnTo>
                  <a:lnTo>
                    <a:pt x="316" y="3"/>
                  </a:lnTo>
                  <a:lnTo>
                    <a:pt x="306" y="1"/>
                  </a:lnTo>
                  <a:lnTo>
                    <a:pt x="296" y="0"/>
                  </a:lnTo>
                  <a:lnTo>
                    <a:pt x="286" y="1"/>
                  </a:lnTo>
                  <a:lnTo>
                    <a:pt x="275" y="3"/>
                  </a:lnTo>
                  <a:lnTo>
                    <a:pt x="266" y="5"/>
                  </a:lnTo>
                  <a:lnTo>
                    <a:pt x="256" y="9"/>
                  </a:lnTo>
                  <a:lnTo>
                    <a:pt x="256" y="9"/>
                  </a:lnTo>
                  <a:lnTo>
                    <a:pt x="246" y="13"/>
                  </a:lnTo>
                  <a:lnTo>
                    <a:pt x="236" y="18"/>
                  </a:lnTo>
                  <a:lnTo>
                    <a:pt x="220" y="28"/>
                  </a:lnTo>
                  <a:lnTo>
                    <a:pt x="212" y="33"/>
                  </a:lnTo>
                  <a:lnTo>
                    <a:pt x="203" y="37"/>
                  </a:lnTo>
                  <a:lnTo>
                    <a:pt x="194" y="39"/>
                  </a:lnTo>
                  <a:lnTo>
                    <a:pt x="183" y="42"/>
                  </a:lnTo>
                  <a:lnTo>
                    <a:pt x="183" y="42"/>
                  </a:lnTo>
                  <a:lnTo>
                    <a:pt x="147" y="45"/>
                  </a:lnTo>
                  <a:lnTo>
                    <a:pt x="130" y="49"/>
                  </a:lnTo>
                  <a:lnTo>
                    <a:pt x="113" y="53"/>
                  </a:lnTo>
                  <a:lnTo>
                    <a:pt x="97" y="57"/>
                  </a:lnTo>
                  <a:lnTo>
                    <a:pt x="80" y="63"/>
                  </a:lnTo>
                  <a:lnTo>
                    <a:pt x="66" y="71"/>
                  </a:lnTo>
                  <a:lnTo>
                    <a:pt x="50" y="81"/>
                  </a:lnTo>
                  <a:lnTo>
                    <a:pt x="50" y="81"/>
                  </a:lnTo>
                  <a:lnTo>
                    <a:pt x="41" y="87"/>
                  </a:lnTo>
                  <a:lnTo>
                    <a:pt x="33" y="93"/>
                  </a:lnTo>
                  <a:lnTo>
                    <a:pt x="27" y="100"/>
                  </a:lnTo>
                  <a:lnTo>
                    <a:pt x="19" y="107"/>
                  </a:lnTo>
                  <a:lnTo>
                    <a:pt x="8" y="123"/>
                  </a:lnTo>
                  <a:lnTo>
                    <a:pt x="0" y="140"/>
                  </a:lnTo>
                  <a:lnTo>
                    <a:pt x="0" y="140"/>
                  </a:lnTo>
                  <a:lnTo>
                    <a:pt x="5" y="167"/>
                  </a:lnTo>
                  <a:lnTo>
                    <a:pt x="11" y="194"/>
                  </a:lnTo>
                  <a:lnTo>
                    <a:pt x="18" y="220"/>
                  </a:lnTo>
                  <a:lnTo>
                    <a:pt x="23" y="245"/>
                  </a:lnTo>
                  <a:lnTo>
                    <a:pt x="23" y="245"/>
                  </a:lnTo>
                  <a:lnTo>
                    <a:pt x="25" y="254"/>
                  </a:lnTo>
                  <a:lnTo>
                    <a:pt x="30" y="261"/>
                  </a:lnTo>
                  <a:lnTo>
                    <a:pt x="36" y="266"/>
                  </a:lnTo>
                  <a:lnTo>
                    <a:pt x="44" y="270"/>
                  </a:lnTo>
                  <a:lnTo>
                    <a:pt x="44" y="270"/>
                  </a:lnTo>
                  <a:lnTo>
                    <a:pt x="47" y="271"/>
                  </a:lnTo>
                  <a:lnTo>
                    <a:pt x="47" y="271"/>
                  </a:lnTo>
                  <a:lnTo>
                    <a:pt x="47" y="271"/>
                  </a:lnTo>
                  <a:lnTo>
                    <a:pt x="47" y="271"/>
                  </a:lnTo>
                  <a:lnTo>
                    <a:pt x="53" y="272"/>
                  </a:lnTo>
                  <a:lnTo>
                    <a:pt x="53" y="272"/>
                  </a:lnTo>
                  <a:lnTo>
                    <a:pt x="68" y="278"/>
                  </a:lnTo>
                  <a:lnTo>
                    <a:pt x="89" y="287"/>
                  </a:lnTo>
                  <a:lnTo>
                    <a:pt x="141" y="311"/>
                  </a:lnTo>
                  <a:lnTo>
                    <a:pt x="170" y="323"/>
                  </a:lnTo>
                  <a:lnTo>
                    <a:pt x="200" y="333"/>
                  </a:lnTo>
                  <a:lnTo>
                    <a:pt x="213" y="337"/>
                  </a:lnTo>
                  <a:lnTo>
                    <a:pt x="228" y="339"/>
                  </a:lnTo>
                  <a:lnTo>
                    <a:pt x="240" y="340"/>
                  </a:lnTo>
                  <a:lnTo>
                    <a:pt x="252" y="340"/>
                  </a:lnTo>
                  <a:lnTo>
                    <a:pt x="252" y="340"/>
                  </a:lnTo>
                  <a:lnTo>
                    <a:pt x="267" y="354"/>
                  </a:lnTo>
                  <a:lnTo>
                    <a:pt x="279" y="368"/>
                  </a:lnTo>
                  <a:lnTo>
                    <a:pt x="290" y="384"/>
                  </a:lnTo>
                  <a:lnTo>
                    <a:pt x="300" y="402"/>
                  </a:lnTo>
                  <a:lnTo>
                    <a:pt x="300" y="402"/>
                  </a:lnTo>
                  <a:lnTo>
                    <a:pt x="309" y="422"/>
                  </a:lnTo>
                  <a:lnTo>
                    <a:pt x="317" y="441"/>
                  </a:lnTo>
                  <a:lnTo>
                    <a:pt x="317" y="441"/>
                  </a:lnTo>
                  <a:lnTo>
                    <a:pt x="322" y="461"/>
                  </a:lnTo>
                  <a:lnTo>
                    <a:pt x="324" y="471"/>
                  </a:lnTo>
                  <a:lnTo>
                    <a:pt x="328" y="479"/>
                  </a:lnTo>
                  <a:lnTo>
                    <a:pt x="328" y="479"/>
                  </a:lnTo>
                  <a:lnTo>
                    <a:pt x="330" y="484"/>
                  </a:lnTo>
                  <a:lnTo>
                    <a:pt x="334" y="487"/>
                  </a:lnTo>
                  <a:lnTo>
                    <a:pt x="336" y="489"/>
                  </a:lnTo>
                  <a:lnTo>
                    <a:pt x="340" y="490"/>
                  </a:lnTo>
                  <a:lnTo>
                    <a:pt x="347" y="491"/>
                  </a:lnTo>
                  <a:lnTo>
                    <a:pt x="356" y="490"/>
                  </a:lnTo>
                  <a:lnTo>
                    <a:pt x="356" y="490"/>
                  </a:lnTo>
                  <a:lnTo>
                    <a:pt x="391" y="494"/>
                  </a:lnTo>
                  <a:lnTo>
                    <a:pt x="429" y="501"/>
                  </a:lnTo>
                  <a:lnTo>
                    <a:pt x="470" y="507"/>
                  </a:lnTo>
                  <a:lnTo>
                    <a:pt x="512" y="515"/>
                  </a:lnTo>
                  <a:lnTo>
                    <a:pt x="554" y="518"/>
                  </a:lnTo>
                  <a:lnTo>
                    <a:pt x="575" y="519"/>
                  </a:lnTo>
                  <a:lnTo>
                    <a:pt x="596" y="519"/>
                  </a:lnTo>
                  <a:lnTo>
                    <a:pt x="615" y="518"/>
                  </a:lnTo>
                  <a:lnTo>
                    <a:pt x="635" y="516"/>
                  </a:lnTo>
                  <a:lnTo>
                    <a:pt x="654" y="512"/>
                  </a:lnTo>
                  <a:lnTo>
                    <a:pt x="673" y="507"/>
                  </a:lnTo>
                  <a:lnTo>
                    <a:pt x="673" y="507"/>
                  </a:lnTo>
                  <a:close/>
                </a:path>
              </a:pathLst>
            </a:custGeom>
            <a:solidFill>
              <a:srgbClr val="681F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1" name="Freeform 589"/>
            <p:cNvSpPr>
              <a:spLocks/>
            </p:cNvSpPr>
            <p:nvPr/>
          </p:nvSpPr>
          <p:spPr bwMode="auto">
            <a:xfrm>
              <a:off x="2098709" y="3376635"/>
              <a:ext cx="47625" cy="47625"/>
            </a:xfrm>
            <a:custGeom>
              <a:avLst/>
              <a:gdLst>
                <a:gd name="T0" fmla="*/ 0 w 149"/>
                <a:gd name="T1" fmla="*/ 75 h 149"/>
                <a:gd name="T2" fmla="*/ 0 w 149"/>
                <a:gd name="T3" fmla="*/ 75 h 149"/>
                <a:gd name="T4" fmla="*/ 0 w 149"/>
                <a:gd name="T5" fmla="*/ 82 h 149"/>
                <a:gd name="T6" fmla="*/ 1 w 149"/>
                <a:gd name="T7" fmla="*/ 89 h 149"/>
                <a:gd name="T8" fmla="*/ 6 w 149"/>
                <a:gd name="T9" fmla="*/ 104 h 149"/>
                <a:gd name="T10" fmla="*/ 12 w 149"/>
                <a:gd name="T11" fmla="*/ 116 h 149"/>
                <a:gd name="T12" fmla="*/ 22 w 149"/>
                <a:gd name="T13" fmla="*/ 127 h 149"/>
                <a:gd name="T14" fmla="*/ 33 w 149"/>
                <a:gd name="T15" fmla="*/ 136 h 149"/>
                <a:gd name="T16" fmla="*/ 45 w 149"/>
                <a:gd name="T17" fmla="*/ 143 h 149"/>
                <a:gd name="T18" fmla="*/ 52 w 149"/>
                <a:gd name="T19" fmla="*/ 145 h 149"/>
                <a:gd name="T20" fmla="*/ 60 w 149"/>
                <a:gd name="T21" fmla="*/ 148 h 149"/>
                <a:gd name="T22" fmla="*/ 67 w 149"/>
                <a:gd name="T23" fmla="*/ 149 h 149"/>
                <a:gd name="T24" fmla="*/ 74 w 149"/>
                <a:gd name="T25" fmla="*/ 149 h 149"/>
                <a:gd name="T26" fmla="*/ 74 w 149"/>
                <a:gd name="T27" fmla="*/ 149 h 149"/>
                <a:gd name="T28" fmla="*/ 82 w 149"/>
                <a:gd name="T29" fmla="*/ 149 h 149"/>
                <a:gd name="T30" fmla="*/ 89 w 149"/>
                <a:gd name="T31" fmla="*/ 148 h 149"/>
                <a:gd name="T32" fmla="*/ 96 w 149"/>
                <a:gd name="T33" fmla="*/ 145 h 149"/>
                <a:gd name="T34" fmla="*/ 102 w 149"/>
                <a:gd name="T35" fmla="*/ 143 h 149"/>
                <a:gd name="T36" fmla="*/ 116 w 149"/>
                <a:gd name="T37" fmla="*/ 136 h 149"/>
                <a:gd name="T38" fmla="*/ 127 w 149"/>
                <a:gd name="T39" fmla="*/ 127 h 149"/>
                <a:gd name="T40" fmla="*/ 135 w 149"/>
                <a:gd name="T41" fmla="*/ 116 h 149"/>
                <a:gd name="T42" fmla="*/ 143 w 149"/>
                <a:gd name="T43" fmla="*/ 104 h 149"/>
                <a:gd name="T44" fmla="*/ 146 w 149"/>
                <a:gd name="T45" fmla="*/ 89 h 149"/>
                <a:gd name="T46" fmla="*/ 148 w 149"/>
                <a:gd name="T47" fmla="*/ 82 h 149"/>
                <a:gd name="T48" fmla="*/ 149 w 149"/>
                <a:gd name="T49" fmla="*/ 75 h 149"/>
                <a:gd name="T50" fmla="*/ 149 w 149"/>
                <a:gd name="T51" fmla="*/ 75 h 149"/>
                <a:gd name="T52" fmla="*/ 148 w 149"/>
                <a:gd name="T53" fmla="*/ 67 h 149"/>
                <a:gd name="T54" fmla="*/ 146 w 149"/>
                <a:gd name="T55" fmla="*/ 60 h 149"/>
                <a:gd name="T56" fmla="*/ 145 w 149"/>
                <a:gd name="T57" fmla="*/ 53 h 149"/>
                <a:gd name="T58" fmla="*/ 143 w 149"/>
                <a:gd name="T59" fmla="*/ 46 h 149"/>
                <a:gd name="T60" fmla="*/ 135 w 149"/>
                <a:gd name="T61" fmla="*/ 33 h 149"/>
                <a:gd name="T62" fmla="*/ 127 w 149"/>
                <a:gd name="T63" fmla="*/ 22 h 149"/>
                <a:gd name="T64" fmla="*/ 116 w 149"/>
                <a:gd name="T65" fmla="*/ 14 h 149"/>
                <a:gd name="T66" fmla="*/ 102 w 149"/>
                <a:gd name="T67" fmla="*/ 7 h 149"/>
                <a:gd name="T68" fmla="*/ 96 w 149"/>
                <a:gd name="T69" fmla="*/ 4 h 149"/>
                <a:gd name="T70" fmla="*/ 89 w 149"/>
                <a:gd name="T71" fmla="*/ 2 h 149"/>
                <a:gd name="T72" fmla="*/ 82 w 149"/>
                <a:gd name="T73" fmla="*/ 0 h 149"/>
                <a:gd name="T74" fmla="*/ 74 w 149"/>
                <a:gd name="T75" fmla="*/ 0 h 149"/>
                <a:gd name="T76" fmla="*/ 74 w 149"/>
                <a:gd name="T77" fmla="*/ 0 h 149"/>
                <a:gd name="T78" fmla="*/ 67 w 149"/>
                <a:gd name="T79" fmla="*/ 0 h 149"/>
                <a:gd name="T80" fmla="*/ 60 w 149"/>
                <a:gd name="T81" fmla="*/ 2 h 149"/>
                <a:gd name="T82" fmla="*/ 52 w 149"/>
                <a:gd name="T83" fmla="*/ 4 h 149"/>
                <a:gd name="T84" fmla="*/ 45 w 149"/>
                <a:gd name="T85" fmla="*/ 7 h 149"/>
                <a:gd name="T86" fmla="*/ 33 w 149"/>
                <a:gd name="T87" fmla="*/ 14 h 149"/>
                <a:gd name="T88" fmla="*/ 22 w 149"/>
                <a:gd name="T89" fmla="*/ 22 h 149"/>
                <a:gd name="T90" fmla="*/ 12 w 149"/>
                <a:gd name="T91" fmla="*/ 33 h 149"/>
                <a:gd name="T92" fmla="*/ 6 w 149"/>
                <a:gd name="T93" fmla="*/ 46 h 149"/>
                <a:gd name="T94" fmla="*/ 4 w 149"/>
                <a:gd name="T95" fmla="*/ 53 h 149"/>
                <a:gd name="T96" fmla="*/ 1 w 149"/>
                <a:gd name="T97" fmla="*/ 60 h 149"/>
                <a:gd name="T98" fmla="*/ 0 w 149"/>
                <a:gd name="T99" fmla="*/ 67 h 149"/>
                <a:gd name="T100" fmla="*/ 0 w 149"/>
                <a:gd name="T101" fmla="*/ 75 h 149"/>
                <a:gd name="T102" fmla="*/ 0 w 149"/>
                <a:gd name="T103"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9" h="149">
                  <a:moveTo>
                    <a:pt x="0" y="75"/>
                  </a:moveTo>
                  <a:lnTo>
                    <a:pt x="0" y="75"/>
                  </a:lnTo>
                  <a:lnTo>
                    <a:pt x="0" y="82"/>
                  </a:lnTo>
                  <a:lnTo>
                    <a:pt x="1" y="89"/>
                  </a:lnTo>
                  <a:lnTo>
                    <a:pt x="6" y="104"/>
                  </a:lnTo>
                  <a:lnTo>
                    <a:pt x="12" y="116"/>
                  </a:lnTo>
                  <a:lnTo>
                    <a:pt x="22" y="127"/>
                  </a:lnTo>
                  <a:lnTo>
                    <a:pt x="33" y="136"/>
                  </a:lnTo>
                  <a:lnTo>
                    <a:pt x="45" y="143"/>
                  </a:lnTo>
                  <a:lnTo>
                    <a:pt x="52" y="145"/>
                  </a:lnTo>
                  <a:lnTo>
                    <a:pt x="60" y="148"/>
                  </a:lnTo>
                  <a:lnTo>
                    <a:pt x="67" y="149"/>
                  </a:lnTo>
                  <a:lnTo>
                    <a:pt x="74" y="149"/>
                  </a:lnTo>
                  <a:lnTo>
                    <a:pt x="74" y="149"/>
                  </a:lnTo>
                  <a:lnTo>
                    <a:pt x="82" y="149"/>
                  </a:lnTo>
                  <a:lnTo>
                    <a:pt x="89" y="148"/>
                  </a:lnTo>
                  <a:lnTo>
                    <a:pt x="96" y="145"/>
                  </a:lnTo>
                  <a:lnTo>
                    <a:pt x="102" y="143"/>
                  </a:lnTo>
                  <a:lnTo>
                    <a:pt x="116" y="136"/>
                  </a:lnTo>
                  <a:lnTo>
                    <a:pt x="127" y="127"/>
                  </a:lnTo>
                  <a:lnTo>
                    <a:pt x="135" y="116"/>
                  </a:lnTo>
                  <a:lnTo>
                    <a:pt x="143" y="104"/>
                  </a:lnTo>
                  <a:lnTo>
                    <a:pt x="146" y="89"/>
                  </a:lnTo>
                  <a:lnTo>
                    <a:pt x="148" y="82"/>
                  </a:lnTo>
                  <a:lnTo>
                    <a:pt x="149" y="75"/>
                  </a:lnTo>
                  <a:lnTo>
                    <a:pt x="149" y="75"/>
                  </a:lnTo>
                  <a:lnTo>
                    <a:pt x="148" y="67"/>
                  </a:lnTo>
                  <a:lnTo>
                    <a:pt x="146" y="60"/>
                  </a:lnTo>
                  <a:lnTo>
                    <a:pt x="145" y="53"/>
                  </a:lnTo>
                  <a:lnTo>
                    <a:pt x="143" y="46"/>
                  </a:lnTo>
                  <a:lnTo>
                    <a:pt x="135" y="33"/>
                  </a:lnTo>
                  <a:lnTo>
                    <a:pt x="127" y="22"/>
                  </a:lnTo>
                  <a:lnTo>
                    <a:pt x="116" y="14"/>
                  </a:lnTo>
                  <a:lnTo>
                    <a:pt x="102" y="7"/>
                  </a:lnTo>
                  <a:lnTo>
                    <a:pt x="96" y="4"/>
                  </a:lnTo>
                  <a:lnTo>
                    <a:pt x="89" y="2"/>
                  </a:lnTo>
                  <a:lnTo>
                    <a:pt x="82" y="0"/>
                  </a:lnTo>
                  <a:lnTo>
                    <a:pt x="74" y="0"/>
                  </a:lnTo>
                  <a:lnTo>
                    <a:pt x="74" y="0"/>
                  </a:lnTo>
                  <a:lnTo>
                    <a:pt x="67" y="0"/>
                  </a:lnTo>
                  <a:lnTo>
                    <a:pt x="60" y="2"/>
                  </a:lnTo>
                  <a:lnTo>
                    <a:pt x="52" y="4"/>
                  </a:lnTo>
                  <a:lnTo>
                    <a:pt x="45" y="7"/>
                  </a:lnTo>
                  <a:lnTo>
                    <a:pt x="33" y="14"/>
                  </a:lnTo>
                  <a:lnTo>
                    <a:pt x="22" y="22"/>
                  </a:lnTo>
                  <a:lnTo>
                    <a:pt x="12" y="33"/>
                  </a:lnTo>
                  <a:lnTo>
                    <a:pt x="6" y="46"/>
                  </a:lnTo>
                  <a:lnTo>
                    <a:pt x="4" y="53"/>
                  </a:lnTo>
                  <a:lnTo>
                    <a:pt x="1" y="60"/>
                  </a:lnTo>
                  <a:lnTo>
                    <a:pt x="0" y="67"/>
                  </a:lnTo>
                  <a:lnTo>
                    <a:pt x="0" y="75"/>
                  </a:lnTo>
                  <a:lnTo>
                    <a:pt x="0" y="75"/>
                  </a:lnTo>
                  <a:close/>
                </a:path>
              </a:pathLst>
            </a:custGeom>
            <a:solidFill>
              <a:srgbClr val="FF4F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2" name="Freeform 590"/>
            <p:cNvSpPr>
              <a:spLocks/>
            </p:cNvSpPr>
            <p:nvPr/>
          </p:nvSpPr>
          <p:spPr bwMode="auto">
            <a:xfrm>
              <a:off x="2059021" y="3324247"/>
              <a:ext cx="31750" cy="31750"/>
            </a:xfrm>
            <a:custGeom>
              <a:avLst/>
              <a:gdLst>
                <a:gd name="T0" fmla="*/ 0 w 102"/>
                <a:gd name="T1" fmla="*/ 51 h 102"/>
                <a:gd name="T2" fmla="*/ 0 w 102"/>
                <a:gd name="T3" fmla="*/ 51 h 102"/>
                <a:gd name="T4" fmla="*/ 1 w 102"/>
                <a:gd name="T5" fmla="*/ 61 h 102"/>
                <a:gd name="T6" fmla="*/ 5 w 102"/>
                <a:gd name="T7" fmla="*/ 71 h 102"/>
                <a:gd name="T8" fmla="*/ 9 w 102"/>
                <a:gd name="T9" fmla="*/ 79 h 102"/>
                <a:gd name="T10" fmla="*/ 16 w 102"/>
                <a:gd name="T11" fmla="*/ 87 h 102"/>
                <a:gd name="T12" fmla="*/ 23 w 102"/>
                <a:gd name="T13" fmla="*/ 94 h 102"/>
                <a:gd name="T14" fmla="*/ 32 w 102"/>
                <a:gd name="T15" fmla="*/ 97 h 102"/>
                <a:gd name="T16" fmla="*/ 41 w 102"/>
                <a:gd name="T17" fmla="*/ 101 h 102"/>
                <a:gd name="T18" fmla="*/ 51 w 102"/>
                <a:gd name="T19" fmla="*/ 102 h 102"/>
                <a:gd name="T20" fmla="*/ 51 w 102"/>
                <a:gd name="T21" fmla="*/ 102 h 102"/>
                <a:gd name="T22" fmla="*/ 62 w 102"/>
                <a:gd name="T23" fmla="*/ 101 h 102"/>
                <a:gd name="T24" fmla="*/ 72 w 102"/>
                <a:gd name="T25" fmla="*/ 97 h 102"/>
                <a:gd name="T26" fmla="*/ 80 w 102"/>
                <a:gd name="T27" fmla="*/ 94 h 102"/>
                <a:gd name="T28" fmla="*/ 88 w 102"/>
                <a:gd name="T29" fmla="*/ 87 h 102"/>
                <a:gd name="T30" fmla="*/ 94 w 102"/>
                <a:gd name="T31" fmla="*/ 79 h 102"/>
                <a:gd name="T32" fmla="*/ 99 w 102"/>
                <a:gd name="T33" fmla="*/ 71 h 102"/>
                <a:gd name="T34" fmla="*/ 101 w 102"/>
                <a:gd name="T35" fmla="*/ 61 h 102"/>
                <a:gd name="T36" fmla="*/ 102 w 102"/>
                <a:gd name="T37" fmla="*/ 51 h 102"/>
                <a:gd name="T38" fmla="*/ 102 w 102"/>
                <a:gd name="T39" fmla="*/ 51 h 102"/>
                <a:gd name="T40" fmla="*/ 101 w 102"/>
                <a:gd name="T41" fmla="*/ 40 h 102"/>
                <a:gd name="T42" fmla="*/ 99 w 102"/>
                <a:gd name="T43" fmla="*/ 30 h 102"/>
                <a:gd name="T44" fmla="*/ 94 w 102"/>
                <a:gd name="T45" fmla="*/ 22 h 102"/>
                <a:gd name="T46" fmla="*/ 88 w 102"/>
                <a:gd name="T47" fmla="*/ 15 h 102"/>
                <a:gd name="T48" fmla="*/ 80 w 102"/>
                <a:gd name="T49" fmla="*/ 8 h 102"/>
                <a:gd name="T50" fmla="*/ 72 w 102"/>
                <a:gd name="T51" fmla="*/ 4 h 102"/>
                <a:gd name="T52" fmla="*/ 62 w 102"/>
                <a:gd name="T53" fmla="*/ 1 h 102"/>
                <a:gd name="T54" fmla="*/ 51 w 102"/>
                <a:gd name="T55" fmla="*/ 0 h 102"/>
                <a:gd name="T56" fmla="*/ 51 w 102"/>
                <a:gd name="T57" fmla="*/ 0 h 102"/>
                <a:gd name="T58" fmla="*/ 41 w 102"/>
                <a:gd name="T59" fmla="*/ 1 h 102"/>
                <a:gd name="T60" fmla="*/ 32 w 102"/>
                <a:gd name="T61" fmla="*/ 4 h 102"/>
                <a:gd name="T62" fmla="*/ 23 w 102"/>
                <a:gd name="T63" fmla="*/ 8 h 102"/>
                <a:gd name="T64" fmla="*/ 16 w 102"/>
                <a:gd name="T65" fmla="*/ 15 h 102"/>
                <a:gd name="T66" fmla="*/ 9 w 102"/>
                <a:gd name="T67" fmla="*/ 22 h 102"/>
                <a:gd name="T68" fmla="*/ 5 w 102"/>
                <a:gd name="T69" fmla="*/ 30 h 102"/>
                <a:gd name="T70" fmla="*/ 1 w 102"/>
                <a:gd name="T71" fmla="*/ 40 h 102"/>
                <a:gd name="T72" fmla="*/ 0 w 102"/>
                <a:gd name="T73" fmla="*/ 51 h 102"/>
                <a:gd name="T74" fmla="*/ 0 w 102"/>
                <a:gd name="T75" fmla="*/ 5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2">
                  <a:moveTo>
                    <a:pt x="0" y="51"/>
                  </a:moveTo>
                  <a:lnTo>
                    <a:pt x="0" y="51"/>
                  </a:lnTo>
                  <a:lnTo>
                    <a:pt x="1" y="61"/>
                  </a:lnTo>
                  <a:lnTo>
                    <a:pt x="5" y="71"/>
                  </a:lnTo>
                  <a:lnTo>
                    <a:pt x="9" y="79"/>
                  </a:lnTo>
                  <a:lnTo>
                    <a:pt x="16" y="87"/>
                  </a:lnTo>
                  <a:lnTo>
                    <a:pt x="23" y="94"/>
                  </a:lnTo>
                  <a:lnTo>
                    <a:pt x="32" y="97"/>
                  </a:lnTo>
                  <a:lnTo>
                    <a:pt x="41" y="101"/>
                  </a:lnTo>
                  <a:lnTo>
                    <a:pt x="51" y="102"/>
                  </a:lnTo>
                  <a:lnTo>
                    <a:pt x="51" y="102"/>
                  </a:lnTo>
                  <a:lnTo>
                    <a:pt x="62" y="101"/>
                  </a:lnTo>
                  <a:lnTo>
                    <a:pt x="72" y="97"/>
                  </a:lnTo>
                  <a:lnTo>
                    <a:pt x="80" y="94"/>
                  </a:lnTo>
                  <a:lnTo>
                    <a:pt x="88" y="87"/>
                  </a:lnTo>
                  <a:lnTo>
                    <a:pt x="94" y="79"/>
                  </a:lnTo>
                  <a:lnTo>
                    <a:pt x="99" y="71"/>
                  </a:lnTo>
                  <a:lnTo>
                    <a:pt x="101" y="61"/>
                  </a:lnTo>
                  <a:lnTo>
                    <a:pt x="102" y="51"/>
                  </a:lnTo>
                  <a:lnTo>
                    <a:pt x="102" y="51"/>
                  </a:lnTo>
                  <a:lnTo>
                    <a:pt x="101" y="40"/>
                  </a:lnTo>
                  <a:lnTo>
                    <a:pt x="99" y="30"/>
                  </a:lnTo>
                  <a:lnTo>
                    <a:pt x="94" y="22"/>
                  </a:lnTo>
                  <a:lnTo>
                    <a:pt x="88" y="15"/>
                  </a:lnTo>
                  <a:lnTo>
                    <a:pt x="80" y="8"/>
                  </a:lnTo>
                  <a:lnTo>
                    <a:pt x="72" y="4"/>
                  </a:lnTo>
                  <a:lnTo>
                    <a:pt x="62" y="1"/>
                  </a:lnTo>
                  <a:lnTo>
                    <a:pt x="51" y="0"/>
                  </a:lnTo>
                  <a:lnTo>
                    <a:pt x="51" y="0"/>
                  </a:lnTo>
                  <a:lnTo>
                    <a:pt x="41" y="1"/>
                  </a:lnTo>
                  <a:lnTo>
                    <a:pt x="32" y="4"/>
                  </a:lnTo>
                  <a:lnTo>
                    <a:pt x="23" y="8"/>
                  </a:lnTo>
                  <a:lnTo>
                    <a:pt x="16" y="15"/>
                  </a:lnTo>
                  <a:lnTo>
                    <a:pt x="9" y="22"/>
                  </a:lnTo>
                  <a:lnTo>
                    <a:pt x="5" y="30"/>
                  </a:lnTo>
                  <a:lnTo>
                    <a:pt x="1" y="40"/>
                  </a:lnTo>
                  <a:lnTo>
                    <a:pt x="0" y="51"/>
                  </a:lnTo>
                  <a:lnTo>
                    <a:pt x="0" y="51"/>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3" name="Freeform 591"/>
            <p:cNvSpPr>
              <a:spLocks/>
            </p:cNvSpPr>
            <p:nvPr/>
          </p:nvSpPr>
          <p:spPr bwMode="auto">
            <a:xfrm>
              <a:off x="2073308" y="3454423"/>
              <a:ext cx="20638" cy="20638"/>
            </a:xfrm>
            <a:custGeom>
              <a:avLst/>
              <a:gdLst>
                <a:gd name="T0" fmla="*/ 0 w 67"/>
                <a:gd name="T1" fmla="*/ 34 h 68"/>
                <a:gd name="T2" fmla="*/ 0 w 67"/>
                <a:gd name="T3" fmla="*/ 34 h 68"/>
                <a:gd name="T4" fmla="*/ 0 w 67"/>
                <a:gd name="T5" fmla="*/ 41 h 68"/>
                <a:gd name="T6" fmla="*/ 2 w 67"/>
                <a:gd name="T7" fmla="*/ 47 h 68"/>
                <a:gd name="T8" fmla="*/ 5 w 67"/>
                <a:gd name="T9" fmla="*/ 53 h 68"/>
                <a:gd name="T10" fmla="*/ 10 w 67"/>
                <a:gd name="T11" fmla="*/ 58 h 68"/>
                <a:gd name="T12" fmla="*/ 15 w 67"/>
                <a:gd name="T13" fmla="*/ 63 h 68"/>
                <a:gd name="T14" fmla="*/ 21 w 67"/>
                <a:gd name="T15" fmla="*/ 65 h 68"/>
                <a:gd name="T16" fmla="*/ 27 w 67"/>
                <a:gd name="T17" fmla="*/ 68 h 68"/>
                <a:gd name="T18" fmla="*/ 33 w 67"/>
                <a:gd name="T19" fmla="*/ 68 h 68"/>
                <a:gd name="T20" fmla="*/ 33 w 67"/>
                <a:gd name="T21" fmla="*/ 68 h 68"/>
                <a:gd name="T22" fmla="*/ 40 w 67"/>
                <a:gd name="T23" fmla="*/ 68 h 68"/>
                <a:gd name="T24" fmla="*/ 46 w 67"/>
                <a:gd name="T25" fmla="*/ 65 h 68"/>
                <a:gd name="T26" fmla="*/ 52 w 67"/>
                <a:gd name="T27" fmla="*/ 63 h 68"/>
                <a:gd name="T28" fmla="*/ 57 w 67"/>
                <a:gd name="T29" fmla="*/ 58 h 68"/>
                <a:gd name="T30" fmla="*/ 62 w 67"/>
                <a:gd name="T31" fmla="*/ 53 h 68"/>
                <a:gd name="T32" fmla="*/ 65 w 67"/>
                <a:gd name="T33" fmla="*/ 47 h 68"/>
                <a:gd name="T34" fmla="*/ 67 w 67"/>
                <a:gd name="T35" fmla="*/ 41 h 68"/>
                <a:gd name="T36" fmla="*/ 67 w 67"/>
                <a:gd name="T37" fmla="*/ 34 h 68"/>
                <a:gd name="T38" fmla="*/ 67 w 67"/>
                <a:gd name="T39" fmla="*/ 34 h 68"/>
                <a:gd name="T40" fmla="*/ 67 w 67"/>
                <a:gd name="T41" fmla="*/ 28 h 68"/>
                <a:gd name="T42" fmla="*/ 65 w 67"/>
                <a:gd name="T43" fmla="*/ 22 h 68"/>
                <a:gd name="T44" fmla="*/ 62 w 67"/>
                <a:gd name="T45" fmla="*/ 15 h 68"/>
                <a:gd name="T46" fmla="*/ 57 w 67"/>
                <a:gd name="T47" fmla="*/ 11 h 68"/>
                <a:gd name="T48" fmla="*/ 52 w 67"/>
                <a:gd name="T49" fmla="*/ 6 h 68"/>
                <a:gd name="T50" fmla="*/ 46 w 67"/>
                <a:gd name="T51" fmla="*/ 3 h 68"/>
                <a:gd name="T52" fmla="*/ 40 w 67"/>
                <a:gd name="T53" fmla="*/ 1 h 68"/>
                <a:gd name="T54" fmla="*/ 33 w 67"/>
                <a:gd name="T55" fmla="*/ 0 h 68"/>
                <a:gd name="T56" fmla="*/ 33 w 67"/>
                <a:gd name="T57" fmla="*/ 0 h 68"/>
                <a:gd name="T58" fmla="*/ 27 w 67"/>
                <a:gd name="T59" fmla="*/ 1 h 68"/>
                <a:gd name="T60" fmla="*/ 21 w 67"/>
                <a:gd name="T61" fmla="*/ 3 h 68"/>
                <a:gd name="T62" fmla="*/ 15 w 67"/>
                <a:gd name="T63" fmla="*/ 6 h 68"/>
                <a:gd name="T64" fmla="*/ 10 w 67"/>
                <a:gd name="T65" fmla="*/ 11 h 68"/>
                <a:gd name="T66" fmla="*/ 5 w 67"/>
                <a:gd name="T67" fmla="*/ 15 h 68"/>
                <a:gd name="T68" fmla="*/ 2 w 67"/>
                <a:gd name="T69" fmla="*/ 22 h 68"/>
                <a:gd name="T70" fmla="*/ 0 w 67"/>
                <a:gd name="T71" fmla="*/ 28 h 68"/>
                <a:gd name="T72" fmla="*/ 0 w 67"/>
                <a:gd name="T73" fmla="*/ 34 h 68"/>
                <a:gd name="T74" fmla="*/ 0 w 67"/>
                <a:gd name="T7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68">
                  <a:moveTo>
                    <a:pt x="0" y="34"/>
                  </a:moveTo>
                  <a:lnTo>
                    <a:pt x="0" y="34"/>
                  </a:lnTo>
                  <a:lnTo>
                    <a:pt x="0" y="41"/>
                  </a:lnTo>
                  <a:lnTo>
                    <a:pt x="2" y="47"/>
                  </a:lnTo>
                  <a:lnTo>
                    <a:pt x="5" y="53"/>
                  </a:lnTo>
                  <a:lnTo>
                    <a:pt x="10" y="58"/>
                  </a:lnTo>
                  <a:lnTo>
                    <a:pt x="15" y="63"/>
                  </a:lnTo>
                  <a:lnTo>
                    <a:pt x="21" y="65"/>
                  </a:lnTo>
                  <a:lnTo>
                    <a:pt x="27" y="68"/>
                  </a:lnTo>
                  <a:lnTo>
                    <a:pt x="33" y="68"/>
                  </a:lnTo>
                  <a:lnTo>
                    <a:pt x="33" y="68"/>
                  </a:lnTo>
                  <a:lnTo>
                    <a:pt x="40" y="68"/>
                  </a:lnTo>
                  <a:lnTo>
                    <a:pt x="46" y="65"/>
                  </a:lnTo>
                  <a:lnTo>
                    <a:pt x="52" y="63"/>
                  </a:lnTo>
                  <a:lnTo>
                    <a:pt x="57" y="58"/>
                  </a:lnTo>
                  <a:lnTo>
                    <a:pt x="62" y="53"/>
                  </a:lnTo>
                  <a:lnTo>
                    <a:pt x="65" y="47"/>
                  </a:lnTo>
                  <a:lnTo>
                    <a:pt x="67" y="41"/>
                  </a:lnTo>
                  <a:lnTo>
                    <a:pt x="67" y="34"/>
                  </a:lnTo>
                  <a:lnTo>
                    <a:pt x="67" y="34"/>
                  </a:lnTo>
                  <a:lnTo>
                    <a:pt x="67" y="28"/>
                  </a:lnTo>
                  <a:lnTo>
                    <a:pt x="65" y="22"/>
                  </a:lnTo>
                  <a:lnTo>
                    <a:pt x="62" y="15"/>
                  </a:lnTo>
                  <a:lnTo>
                    <a:pt x="57" y="11"/>
                  </a:lnTo>
                  <a:lnTo>
                    <a:pt x="52" y="6"/>
                  </a:lnTo>
                  <a:lnTo>
                    <a:pt x="46" y="3"/>
                  </a:lnTo>
                  <a:lnTo>
                    <a:pt x="40" y="1"/>
                  </a:lnTo>
                  <a:lnTo>
                    <a:pt x="33" y="0"/>
                  </a:lnTo>
                  <a:lnTo>
                    <a:pt x="33" y="0"/>
                  </a:lnTo>
                  <a:lnTo>
                    <a:pt x="27" y="1"/>
                  </a:lnTo>
                  <a:lnTo>
                    <a:pt x="21" y="3"/>
                  </a:lnTo>
                  <a:lnTo>
                    <a:pt x="15" y="6"/>
                  </a:lnTo>
                  <a:lnTo>
                    <a:pt x="10" y="11"/>
                  </a:lnTo>
                  <a:lnTo>
                    <a:pt x="5" y="15"/>
                  </a:lnTo>
                  <a:lnTo>
                    <a:pt x="2" y="22"/>
                  </a:lnTo>
                  <a:lnTo>
                    <a:pt x="0" y="28"/>
                  </a:lnTo>
                  <a:lnTo>
                    <a:pt x="0" y="34"/>
                  </a:lnTo>
                  <a:lnTo>
                    <a:pt x="0" y="34"/>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4" name="Freeform 592"/>
            <p:cNvSpPr>
              <a:spLocks/>
            </p:cNvSpPr>
            <p:nvPr/>
          </p:nvSpPr>
          <p:spPr bwMode="auto">
            <a:xfrm>
              <a:off x="2001870" y="3340122"/>
              <a:ext cx="20638" cy="20638"/>
            </a:xfrm>
            <a:custGeom>
              <a:avLst/>
              <a:gdLst>
                <a:gd name="T0" fmla="*/ 0 w 68"/>
                <a:gd name="T1" fmla="*/ 34 h 68"/>
                <a:gd name="T2" fmla="*/ 0 w 68"/>
                <a:gd name="T3" fmla="*/ 34 h 68"/>
                <a:gd name="T4" fmla="*/ 1 w 68"/>
                <a:gd name="T5" fmla="*/ 40 h 68"/>
                <a:gd name="T6" fmla="*/ 2 w 68"/>
                <a:gd name="T7" fmla="*/ 46 h 68"/>
                <a:gd name="T8" fmla="*/ 6 w 68"/>
                <a:gd name="T9" fmla="*/ 53 h 68"/>
                <a:gd name="T10" fmla="*/ 9 w 68"/>
                <a:gd name="T11" fmla="*/ 57 h 68"/>
                <a:gd name="T12" fmla="*/ 15 w 68"/>
                <a:gd name="T13" fmla="*/ 62 h 68"/>
                <a:gd name="T14" fmla="*/ 20 w 68"/>
                <a:gd name="T15" fmla="*/ 65 h 68"/>
                <a:gd name="T16" fmla="*/ 28 w 68"/>
                <a:gd name="T17" fmla="*/ 67 h 68"/>
                <a:gd name="T18" fmla="*/ 34 w 68"/>
                <a:gd name="T19" fmla="*/ 68 h 68"/>
                <a:gd name="T20" fmla="*/ 34 w 68"/>
                <a:gd name="T21" fmla="*/ 68 h 68"/>
                <a:gd name="T22" fmla="*/ 41 w 68"/>
                <a:gd name="T23" fmla="*/ 67 h 68"/>
                <a:gd name="T24" fmla="*/ 47 w 68"/>
                <a:gd name="T25" fmla="*/ 65 h 68"/>
                <a:gd name="T26" fmla="*/ 53 w 68"/>
                <a:gd name="T27" fmla="*/ 62 h 68"/>
                <a:gd name="T28" fmla="*/ 58 w 68"/>
                <a:gd name="T29" fmla="*/ 57 h 68"/>
                <a:gd name="T30" fmla="*/ 62 w 68"/>
                <a:gd name="T31" fmla="*/ 53 h 68"/>
                <a:gd name="T32" fmla="*/ 65 w 68"/>
                <a:gd name="T33" fmla="*/ 46 h 68"/>
                <a:gd name="T34" fmla="*/ 67 w 68"/>
                <a:gd name="T35" fmla="*/ 40 h 68"/>
                <a:gd name="T36" fmla="*/ 68 w 68"/>
                <a:gd name="T37" fmla="*/ 34 h 68"/>
                <a:gd name="T38" fmla="*/ 68 w 68"/>
                <a:gd name="T39" fmla="*/ 34 h 68"/>
                <a:gd name="T40" fmla="*/ 67 w 68"/>
                <a:gd name="T41" fmla="*/ 27 h 68"/>
                <a:gd name="T42" fmla="*/ 65 w 68"/>
                <a:gd name="T43" fmla="*/ 21 h 68"/>
                <a:gd name="T44" fmla="*/ 62 w 68"/>
                <a:gd name="T45" fmla="*/ 15 h 68"/>
                <a:gd name="T46" fmla="*/ 58 w 68"/>
                <a:gd name="T47" fmla="*/ 10 h 68"/>
                <a:gd name="T48" fmla="*/ 53 w 68"/>
                <a:gd name="T49" fmla="*/ 5 h 68"/>
                <a:gd name="T50" fmla="*/ 47 w 68"/>
                <a:gd name="T51" fmla="*/ 3 h 68"/>
                <a:gd name="T52" fmla="*/ 41 w 68"/>
                <a:gd name="T53" fmla="*/ 0 h 68"/>
                <a:gd name="T54" fmla="*/ 34 w 68"/>
                <a:gd name="T55" fmla="*/ 0 h 68"/>
                <a:gd name="T56" fmla="*/ 34 w 68"/>
                <a:gd name="T57" fmla="*/ 0 h 68"/>
                <a:gd name="T58" fmla="*/ 28 w 68"/>
                <a:gd name="T59" fmla="*/ 0 h 68"/>
                <a:gd name="T60" fmla="*/ 20 w 68"/>
                <a:gd name="T61" fmla="*/ 3 h 68"/>
                <a:gd name="T62" fmla="*/ 15 w 68"/>
                <a:gd name="T63" fmla="*/ 5 h 68"/>
                <a:gd name="T64" fmla="*/ 9 w 68"/>
                <a:gd name="T65" fmla="*/ 10 h 68"/>
                <a:gd name="T66" fmla="*/ 6 w 68"/>
                <a:gd name="T67" fmla="*/ 15 h 68"/>
                <a:gd name="T68" fmla="*/ 2 w 68"/>
                <a:gd name="T69" fmla="*/ 21 h 68"/>
                <a:gd name="T70" fmla="*/ 1 w 68"/>
                <a:gd name="T71" fmla="*/ 27 h 68"/>
                <a:gd name="T72" fmla="*/ 0 w 68"/>
                <a:gd name="T73" fmla="*/ 34 h 68"/>
                <a:gd name="T74" fmla="*/ 0 w 68"/>
                <a:gd name="T7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8" h="68">
                  <a:moveTo>
                    <a:pt x="0" y="34"/>
                  </a:moveTo>
                  <a:lnTo>
                    <a:pt x="0" y="34"/>
                  </a:lnTo>
                  <a:lnTo>
                    <a:pt x="1" y="40"/>
                  </a:lnTo>
                  <a:lnTo>
                    <a:pt x="2" y="46"/>
                  </a:lnTo>
                  <a:lnTo>
                    <a:pt x="6" y="53"/>
                  </a:lnTo>
                  <a:lnTo>
                    <a:pt x="9" y="57"/>
                  </a:lnTo>
                  <a:lnTo>
                    <a:pt x="15" y="62"/>
                  </a:lnTo>
                  <a:lnTo>
                    <a:pt x="20" y="65"/>
                  </a:lnTo>
                  <a:lnTo>
                    <a:pt x="28" y="67"/>
                  </a:lnTo>
                  <a:lnTo>
                    <a:pt x="34" y="68"/>
                  </a:lnTo>
                  <a:lnTo>
                    <a:pt x="34" y="68"/>
                  </a:lnTo>
                  <a:lnTo>
                    <a:pt x="41" y="67"/>
                  </a:lnTo>
                  <a:lnTo>
                    <a:pt x="47" y="65"/>
                  </a:lnTo>
                  <a:lnTo>
                    <a:pt x="53" y="62"/>
                  </a:lnTo>
                  <a:lnTo>
                    <a:pt x="58" y="57"/>
                  </a:lnTo>
                  <a:lnTo>
                    <a:pt x="62" y="53"/>
                  </a:lnTo>
                  <a:lnTo>
                    <a:pt x="65" y="46"/>
                  </a:lnTo>
                  <a:lnTo>
                    <a:pt x="67" y="40"/>
                  </a:lnTo>
                  <a:lnTo>
                    <a:pt x="68" y="34"/>
                  </a:lnTo>
                  <a:lnTo>
                    <a:pt x="68" y="34"/>
                  </a:lnTo>
                  <a:lnTo>
                    <a:pt x="67" y="27"/>
                  </a:lnTo>
                  <a:lnTo>
                    <a:pt x="65" y="21"/>
                  </a:lnTo>
                  <a:lnTo>
                    <a:pt x="62" y="15"/>
                  </a:lnTo>
                  <a:lnTo>
                    <a:pt x="58" y="10"/>
                  </a:lnTo>
                  <a:lnTo>
                    <a:pt x="53" y="5"/>
                  </a:lnTo>
                  <a:lnTo>
                    <a:pt x="47" y="3"/>
                  </a:lnTo>
                  <a:lnTo>
                    <a:pt x="41" y="0"/>
                  </a:lnTo>
                  <a:lnTo>
                    <a:pt x="34" y="0"/>
                  </a:lnTo>
                  <a:lnTo>
                    <a:pt x="34" y="0"/>
                  </a:lnTo>
                  <a:lnTo>
                    <a:pt x="28" y="0"/>
                  </a:lnTo>
                  <a:lnTo>
                    <a:pt x="20" y="3"/>
                  </a:lnTo>
                  <a:lnTo>
                    <a:pt x="15" y="5"/>
                  </a:lnTo>
                  <a:lnTo>
                    <a:pt x="9" y="10"/>
                  </a:lnTo>
                  <a:lnTo>
                    <a:pt x="6" y="15"/>
                  </a:lnTo>
                  <a:lnTo>
                    <a:pt x="2" y="21"/>
                  </a:lnTo>
                  <a:lnTo>
                    <a:pt x="1" y="27"/>
                  </a:lnTo>
                  <a:lnTo>
                    <a:pt x="0" y="34"/>
                  </a:lnTo>
                  <a:lnTo>
                    <a:pt x="0" y="34"/>
                  </a:lnTo>
                  <a:close/>
                </a:path>
              </a:pathLst>
            </a:custGeom>
            <a:solidFill>
              <a:srgbClr val="FF4F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5" name="Freeform 593"/>
            <p:cNvSpPr>
              <a:spLocks/>
            </p:cNvSpPr>
            <p:nvPr/>
          </p:nvSpPr>
          <p:spPr bwMode="auto">
            <a:xfrm>
              <a:off x="2130459" y="3459186"/>
              <a:ext cx="17463" cy="15875"/>
            </a:xfrm>
            <a:custGeom>
              <a:avLst/>
              <a:gdLst>
                <a:gd name="T0" fmla="*/ 0 w 52"/>
                <a:gd name="T1" fmla="*/ 25 h 51"/>
                <a:gd name="T2" fmla="*/ 0 w 52"/>
                <a:gd name="T3" fmla="*/ 25 h 51"/>
                <a:gd name="T4" fmla="*/ 1 w 52"/>
                <a:gd name="T5" fmla="*/ 30 h 51"/>
                <a:gd name="T6" fmla="*/ 2 w 52"/>
                <a:gd name="T7" fmla="*/ 35 h 51"/>
                <a:gd name="T8" fmla="*/ 5 w 52"/>
                <a:gd name="T9" fmla="*/ 40 h 51"/>
                <a:gd name="T10" fmla="*/ 7 w 52"/>
                <a:gd name="T11" fmla="*/ 44 h 51"/>
                <a:gd name="T12" fmla="*/ 12 w 52"/>
                <a:gd name="T13" fmla="*/ 47 h 51"/>
                <a:gd name="T14" fmla="*/ 16 w 52"/>
                <a:gd name="T15" fmla="*/ 50 h 51"/>
                <a:gd name="T16" fmla="*/ 21 w 52"/>
                <a:gd name="T17" fmla="*/ 51 h 51"/>
                <a:gd name="T18" fmla="*/ 26 w 52"/>
                <a:gd name="T19" fmla="*/ 51 h 51"/>
                <a:gd name="T20" fmla="*/ 26 w 52"/>
                <a:gd name="T21" fmla="*/ 51 h 51"/>
                <a:gd name="T22" fmla="*/ 32 w 52"/>
                <a:gd name="T23" fmla="*/ 51 h 51"/>
                <a:gd name="T24" fmla="*/ 37 w 52"/>
                <a:gd name="T25" fmla="*/ 50 h 51"/>
                <a:gd name="T26" fmla="*/ 40 w 52"/>
                <a:gd name="T27" fmla="*/ 47 h 51"/>
                <a:gd name="T28" fmla="*/ 45 w 52"/>
                <a:gd name="T29" fmla="*/ 44 h 51"/>
                <a:gd name="T30" fmla="*/ 48 w 52"/>
                <a:gd name="T31" fmla="*/ 40 h 51"/>
                <a:gd name="T32" fmla="*/ 50 w 52"/>
                <a:gd name="T33" fmla="*/ 35 h 51"/>
                <a:gd name="T34" fmla="*/ 51 w 52"/>
                <a:gd name="T35" fmla="*/ 30 h 51"/>
                <a:gd name="T36" fmla="*/ 52 w 52"/>
                <a:gd name="T37" fmla="*/ 25 h 51"/>
                <a:gd name="T38" fmla="*/ 52 w 52"/>
                <a:gd name="T39" fmla="*/ 25 h 51"/>
                <a:gd name="T40" fmla="*/ 51 w 52"/>
                <a:gd name="T41" fmla="*/ 20 h 51"/>
                <a:gd name="T42" fmla="*/ 50 w 52"/>
                <a:gd name="T43" fmla="*/ 15 h 51"/>
                <a:gd name="T44" fmla="*/ 48 w 52"/>
                <a:gd name="T45" fmla="*/ 11 h 51"/>
                <a:gd name="T46" fmla="*/ 45 w 52"/>
                <a:gd name="T47" fmla="*/ 7 h 51"/>
                <a:gd name="T48" fmla="*/ 40 w 52"/>
                <a:gd name="T49" fmla="*/ 3 h 51"/>
                <a:gd name="T50" fmla="*/ 37 w 52"/>
                <a:gd name="T51" fmla="*/ 1 h 51"/>
                <a:gd name="T52" fmla="*/ 32 w 52"/>
                <a:gd name="T53" fmla="*/ 0 h 51"/>
                <a:gd name="T54" fmla="*/ 26 w 52"/>
                <a:gd name="T55" fmla="*/ 0 h 51"/>
                <a:gd name="T56" fmla="*/ 26 w 52"/>
                <a:gd name="T57" fmla="*/ 0 h 51"/>
                <a:gd name="T58" fmla="*/ 21 w 52"/>
                <a:gd name="T59" fmla="*/ 0 h 51"/>
                <a:gd name="T60" fmla="*/ 16 w 52"/>
                <a:gd name="T61" fmla="*/ 1 h 51"/>
                <a:gd name="T62" fmla="*/ 12 w 52"/>
                <a:gd name="T63" fmla="*/ 3 h 51"/>
                <a:gd name="T64" fmla="*/ 7 w 52"/>
                <a:gd name="T65" fmla="*/ 7 h 51"/>
                <a:gd name="T66" fmla="*/ 5 w 52"/>
                <a:gd name="T67" fmla="*/ 11 h 51"/>
                <a:gd name="T68" fmla="*/ 2 w 52"/>
                <a:gd name="T69" fmla="*/ 15 h 51"/>
                <a:gd name="T70" fmla="*/ 1 w 52"/>
                <a:gd name="T71" fmla="*/ 20 h 51"/>
                <a:gd name="T72" fmla="*/ 0 w 52"/>
                <a:gd name="T73" fmla="*/ 25 h 51"/>
                <a:gd name="T74" fmla="*/ 0 w 52"/>
                <a:gd name="T75"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51">
                  <a:moveTo>
                    <a:pt x="0" y="25"/>
                  </a:moveTo>
                  <a:lnTo>
                    <a:pt x="0" y="25"/>
                  </a:lnTo>
                  <a:lnTo>
                    <a:pt x="1" y="30"/>
                  </a:lnTo>
                  <a:lnTo>
                    <a:pt x="2" y="35"/>
                  </a:lnTo>
                  <a:lnTo>
                    <a:pt x="5" y="40"/>
                  </a:lnTo>
                  <a:lnTo>
                    <a:pt x="7" y="44"/>
                  </a:lnTo>
                  <a:lnTo>
                    <a:pt x="12" y="47"/>
                  </a:lnTo>
                  <a:lnTo>
                    <a:pt x="16" y="50"/>
                  </a:lnTo>
                  <a:lnTo>
                    <a:pt x="21" y="51"/>
                  </a:lnTo>
                  <a:lnTo>
                    <a:pt x="26" y="51"/>
                  </a:lnTo>
                  <a:lnTo>
                    <a:pt x="26" y="51"/>
                  </a:lnTo>
                  <a:lnTo>
                    <a:pt x="32" y="51"/>
                  </a:lnTo>
                  <a:lnTo>
                    <a:pt x="37" y="50"/>
                  </a:lnTo>
                  <a:lnTo>
                    <a:pt x="40" y="47"/>
                  </a:lnTo>
                  <a:lnTo>
                    <a:pt x="45" y="44"/>
                  </a:lnTo>
                  <a:lnTo>
                    <a:pt x="48" y="40"/>
                  </a:lnTo>
                  <a:lnTo>
                    <a:pt x="50" y="35"/>
                  </a:lnTo>
                  <a:lnTo>
                    <a:pt x="51" y="30"/>
                  </a:lnTo>
                  <a:lnTo>
                    <a:pt x="52" y="25"/>
                  </a:lnTo>
                  <a:lnTo>
                    <a:pt x="52" y="25"/>
                  </a:lnTo>
                  <a:lnTo>
                    <a:pt x="51" y="20"/>
                  </a:lnTo>
                  <a:lnTo>
                    <a:pt x="50" y="15"/>
                  </a:lnTo>
                  <a:lnTo>
                    <a:pt x="48" y="11"/>
                  </a:lnTo>
                  <a:lnTo>
                    <a:pt x="45" y="7"/>
                  </a:lnTo>
                  <a:lnTo>
                    <a:pt x="40" y="3"/>
                  </a:lnTo>
                  <a:lnTo>
                    <a:pt x="37" y="1"/>
                  </a:lnTo>
                  <a:lnTo>
                    <a:pt x="32" y="0"/>
                  </a:lnTo>
                  <a:lnTo>
                    <a:pt x="26" y="0"/>
                  </a:lnTo>
                  <a:lnTo>
                    <a:pt x="26" y="0"/>
                  </a:lnTo>
                  <a:lnTo>
                    <a:pt x="21" y="0"/>
                  </a:lnTo>
                  <a:lnTo>
                    <a:pt x="16" y="1"/>
                  </a:lnTo>
                  <a:lnTo>
                    <a:pt x="12" y="3"/>
                  </a:lnTo>
                  <a:lnTo>
                    <a:pt x="7" y="7"/>
                  </a:lnTo>
                  <a:lnTo>
                    <a:pt x="5" y="11"/>
                  </a:lnTo>
                  <a:lnTo>
                    <a:pt x="2" y="15"/>
                  </a:lnTo>
                  <a:lnTo>
                    <a:pt x="1" y="20"/>
                  </a:lnTo>
                  <a:lnTo>
                    <a:pt x="0" y="25"/>
                  </a:lnTo>
                  <a:lnTo>
                    <a:pt x="0" y="25"/>
                  </a:lnTo>
                  <a:close/>
                </a:path>
              </a:pathLst>
            </a:custGeom>
            <a:solidFill>
              <a:srgbClr val="FF4F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6" name="Freeform 594"/>
            <p:cNvSpPr>
              <a:spLocks/>
            </p:cNvSpPr>
            <p:nvPr/>
          </p:nvSpPr>
          <p:spPr bwMode="auto">
            <a:xfrm>
              <a:off x="1897095" y="3168671"/>
              <a:ext cx="87313" cy="100013"/>
            </a:xfrm>
            <a:custGeom>
              <a:avLst/>
              <a:gdLst>
                <a:gd name="T0" fmla="*/ 5 w 272"/>
                <a:gd name="T1" fmla="*/ 2 h 317"/>
                <a:gd name="T2" fmla="*/ 5 w 272"/>
                <a:gd name="T3" fmla="*/ 2 h 317"/>
                <a:gd name="T4" fmla="*/ 2 w 272"/>
                <a:gd name="T5" fmla="*/ 7 h 317"/>
                <a:gd name="T6" fmla="*/ 0 w 272"/>
                <a:gd name="T7" fmla="*/ 12 h 317"/>
                <a:gd name="T8" fmla="*/ 1 w 272"/>
                <a:gd name="T9" fmla="*/ 17 h 317"/>
                <a:gd name="T10" fmla="*/ 4 w 272"/>
                <a:gd name="T11" fmla="*/ 22 h 317"/>
                <a:gd name="T12" fmla="*/ 247 w 272"/>
                <a:gd name="T13" fmla="*/ 312 h 317"/>
                <a:gd name="T14" fmla="*/ 247 w 272"/>
                <a:gd name="T15" fmla="*/ 312 h 317"/>
                <a:gd name="T16" fmla="*/ 252 w 272"/>
                <a:gd name="T17" fmla="*/ 316 h 317"/>
                <a:gd name="T18" fmla="*/ 257 w 272"/>
                <a:gd name="T19" fmla="*/ 317 h 317"/>
                <a:gd name="T20" fmla="*/ 262 w 272"/>
                <a:gd name="T21" fmla="*/ 317 h 317"/>
                <a:gd name="T22" fmla="*/ 267 w 272"/>
                <a:gd name="T23" fmla="*/ 314 h 317"/>
                <a:gd name="T24" fmla="*/ 267 w 272"/>
                <a:gd name="T25" fmla="*/ 314 h 317"/>
                <a:gd name="T26" fmla="*/ 270 w 272"/>
                <a:gd name="T27" fmla="*/ 310 h 317"/>
                <a:gd name="T28" fmla="*/ 272 w 272"/>
                <a:gd name="T29" fmla="*/ 305 h 317"/>
                <a:gd name="T30" fmla="*/ 272 w 272"/>
                <a:gd name="T31" fmla="*/ 300 h 317"/>
                <a:gd name="T32" fmla="*/ 268 w 272"/>
                <a:gd name="T33" fmla="*/ 295 h 317"/>
                <a:gd name="T34" fmla="*/ 24 w 272"/>
                <a:gd name="T35" fmla="*/ 5 h 317"/>
                <a:gd name="T36" fmla="*/ 24 w 272"/>
                <a:gd name="T37" fmla="*/ 5 h 317"/>
                <a:gd name="T38" fmla="*/ 21 w 272"/>
                <a:gd name="T39" fmla="*/ 1 h 317"/>
                <a:gd name="T40" fmla="*/ 16 w 272"/>
                <a:gd name="T41" fmla="*/ 0 h 317"/>
                <a:gd name="T42" fmla="*/ 10 w 272"/>
                <a:gd name="T43" fmla="*/ 0 h 317"/>
                <a:gd name="T44" fmla="*/ 5 w 272"/>
                <a:gd name="T45" fmla="*/ 2 h 317"/>
                <a:gd name="T46" fmla="*/ 5 w 272"/>
                <a:gd name="T47" fmla="*/ 2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2" h="317">
                  <a:moveTo>
                    <a:pt x="5" y="2"/>
                  </a:moveTo>
                  <a:lnTo>
                    <a:pt x="5" y="2"/>
                  </a:lnTo>
                  <a:lnTo>
                    <a:pt x="2" y="7"/>
                  </a:lnTo>
                  <a:lnTo>
                    <a:pt x="0" y="12"/>
                  </a:lnTo>
                  <a:lnTo>
                    <a:pt x="1" y="17"/>
                  </a:lnTo>
                  <a:lnTo>
                    <a:pt x="4" y="22"/>
                  </a:lnTo>
                  <a:lnTo>
                    <a:pt x="247" y="312"/>
                  </a:lnTo>
                  <a:lnTo>
                    <a:pt x="247" y="312"/>
                  </a:lnTo>
                  <a:lnTo>
                    <a:pt x="252" y="316"/>
                  </a:lnTo>
                  <a:lnTo>
                    <a:pt x="257" y="317"/>
                  </a:lnTo>
                  <a:lnTo>
                    <a:pt x="262" y="317"/>
                  </a:lnTo>
                  <a:lnTo>
                    <a:pt x="267" y="314"/>
                  </a:lnTo>
                  <a:lnTo>
                    <a:pt x="267" y="314"/>
                  </a:lnTo>
                  <a:lnTo>
                    <a:pt x="270" y="310"/>
                  </a:lnTo>
                  <a:lnTo>
                    <a:pt x="272" y="305"/>
                  </a:lnTo>
                  <a:lnTo>
                    <a:pt x="272" y="300"/>
                  </a:lnTo>
                  <a:lnTo>
                    <a:pt x="268" y="295"/>
                  </a:lnTo>
                  <a:lnTo>
                    <a:pt x="24" y="5"/>
                  </a:lnTo>
                  <a:lnTo>
                    <a:pt x="24" y="5"/>
                  </a:lnTo>
                  <a:lnTo>
                    <a:pt x="21" y="1"/>
                  </a:lnTo>
                  <a:lnTo>
                    <a:pt x="16" y="0"/>
                  </a:lnTo>
                  <a:lnTo>
                    <a:pt x="10" y="0"/>
                  </a:lnTo>
                  <a:lnTo>
                    <a:pt x="5" y="2"/>
                  </a:lnTo>
                  <a:lnTo>
                    <a:pt x="5" y="2"/>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7" name="Freeform 595"/>
            <p:cNvSpPr>
              <a:spLocks/>
            </p:cNvSpPr>
            <p:nvPr/>
          </p:nvSpPr>
          <p:spPr bwMode="auto">
            <a:xfrm>
              <a:off x="1905032" y="3246459"/>
              <a:ext cx="41275" cy="47625"/>
            </a:xfrm>
            <a:custGeom>
              <a:avLst/>
              <a:gdLst>
                <a:gd name="T0" fmla="*/ 5 w 131"/>
                <a:gd name="T1" fmla="*/ 3 h 150"/>
                <a:gd name="T2" fmla="*/ 5 w 131"/>
                <a:gd name="T3" fmla="*/ 3 h 150"/>
                <a:gd name="T4" fmla="*/ 1 w 131"/>
                <a:gd name="T5" fmla="*/ 8 h 150"/>
                <a:gd name="T6" fmla="*/ 0 w 131"/>
                <a:gd name="T7" fmla="*/ 13 h 150"/>
                <a:gd name="T8" fmla="*/ 1 w 131"/>
                <a:gd name="T9" fmla="*/ 17 h 150"/>
                <a:gd name="T10" fmla="*/ 3 w 131"/>
                <a:gd name="T11" fmla="*/ 22 h 150"/>
                <a:gd name="T12" fmla="*/ 107 w 131"/>
                <a:gd name="T13" fmla="*/ 145 h 150"/>
                <a:gd name="T14" fmla="*/ 107 w 131"/>
                <a:gd name="T15" fmla="*/ 145 h 150"/>
                <a:gd name="T16" fmla="*/ 111 w 131"/>
                <a:gd name="T17" fmla="*/ 149 h 150"/>
                <a:gd name="T18" fmla="*/ 116 w 131"/>
                <a:gd name="T19" fmla="*/ 150 h 150"/>
                <a:gd name="T20" fmla="*/ 122 w 131"/>
                <a:gd name="T21" fmla="*/ 150 h 150"/>
                <a:gd name="T22" fmla="*/ 127 w 131"/>
                <a:gd name="T23" fmla="*/ 148 h 150"/>
                <a:gd name="T24" fmla="*/ 127 w 131"/>
                <a:gd name="T25" fmla="*/ 148 h 150"/>
                <a:gd name="T26" fmla="*/ 129 w 131"/>
                <a:gd name="T27" fmla="*/ 143 h 150"/>
                <a:gd name="T28" fmla="*/ 131 w 131"/>
                <a:gd name="T29" fmla="*/ 138 h 150"/>
                <a:gd name="T30" fmla="*/ 130 w 131"/>
                <a:gd name="T31" fmla="*/ 133 h 150"/>
                <a:gd name="T32" fmla="*/ 128 w 131"/>
                <a:gd name="T33" fmla="*/ 128 h 150"/>
                <a:gd name="T34" fmla="*/ 24 w 131"/>
                <a:gd name="T35" fmla="*/ 5 h 150"/>
                <a:gd name="T36" fmla="*/ 24 w 131"/>
                <a:gd name="T37" fmla="*/ 5 h 150"/>
                <a:gd name="T38" fmla="*/ 21 w 131"/>
                <a:gd name="T39" fmla="*/ 2 h 150"/>
                <a:gd name="T40" fmla="*/ 14 w 131"/>
                <a:gd name="T41" fmla="*/ 0 h 150"/>
                <a:gd name="T42" fmla="*/ 10 w 131"/>
                <a:gd name="T43" fmla="*/ 0 h 150"/>
                <a:gd name="T44" fmla="*/ 5 w 131"/>
                <a:gd name="T45" fmla="*/ 3 h 150"/>
                <a:gd name="T46" fmla="*/ 5 w 131"/>
                <a:gd name="T47" fmla="*/ 3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1" h="150">
                  <a:moveTo>
                    <a:pt x="5" y="3"/>
                  </a:moveTo>
                  <a:lnTo>
                    <a:pt x="5" y="3"/>
                  </a:lnTo>
                  <a:lnTo>
                    <a:pt x="1" y="8"/>
                  </a:lnTo>
                  <a:lnTo>
                    <a:pt x="0" y="13"/>
                  </a:lnTo>
                  <a:lnTo>
                    <a:pt x="1" y="17"/>
                  </a:lnTo>
                  <a:lnTo>
                    <a:pt x="3" y="22"/>
                  </a:lnTo>
                  <a:lnTo>
                    <a:pt x="107" y="145"/>
                  </a:lnTo>
                  <a:lnTo>
                    <a:pt x="107" y="145"/>
                  </a:lnTo>
                  <a:lnTo>
                    <a:pt x="111" y="149"/>
                  </a:lnTo>
                  <a:lnTo>
                    <a:pt x="116" y="150"/>
                  </a:lnTo>
                  <a:lnTo>
                    <a:pt x="122" y="150"/>
                  </a:lnTo>
                  <a:lnTo>
                    <a:pt x="127" y="148"/>
                  </a:lnTo>
                  <a:lnTo>
                    <a:pt x="127" y="148"/>
                  </a:lnTo>
                  <a:lnTo>
                    <a:pt x="129" y="143"/>
                  </a:lnTo>
                  <a:lnTo>
                    <a:pt x="131" y="138"/>
                  </a:lnTo>
                  <a:lnTo>
                    <a:pt x="130" y="133"/>
                  </a:lnTo>
                  <a:lnTo>
                    <a:pt x="128" y="128"/>
                  </a:lnTo>
                  <a:lnTo>
                    <a:pt x="24" y="5"/>
                  </a:lnTo>
                  <a:lnTo>
                    <a:pt x="24" y="5"/>
                  </a:lnTo>
                  <a:lnTo>
                    <a:pt x="21" y="2"/>
                  </a:lnTo>
                  <a:lnTo>
                    <a:pt x="14" y="0"/>
                  </a:lnTo>
                  <a:lnTo>
                    <a:pt x="10" y="0"/>
                  </a:lnTo>
                  <a:lnTo>
                    <a:pt x="5" y="3"/>
                  </a:lnTo>
                  <a:lnTo>
                    <a:pt x="5" y="3"/>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058" name="Freeform 596"/>
            <p:cNvSpPr>
              <a:spLocks/>
            </p:cNvSpPr>
            <p:nvPr/>
          </p:nvSpPr>
          <p:spPr bwMode="auto">
            <a:xfrm>
              <a:off x="1973295" y="3187721"/>
              <a:ext cx="42863" cy="47625"/>
            </a:xfrm>
            <a:custGeom>
              <a:avLst/>
              <a:gdLst>
                <a:gd name="T0" fmla="*/ 5 w 132"/>
                <a:gd name="T1" fmla="*/ 4 h 151"/>
                <a:gd name="T2" fmla="*/ 5 w 132"/>
                <a:gd name="T3" fmla="*/ 4 h 151"/>
                <a:gd name="T4" fmla="*/ 2 w 132"/>
                <a:gd name="T5" fmla="*/ 8 h 151"/>
                <a:gd name="T6" fmla="*/ 0 w 132"/>
                <a:gd name="T7" fmla="*/ 12 h 151"/>
                <a:gd name="T8" fmla="*/ 1 w 132"/>
                <a:gd name="T9" fmla="*/ 19 h 151"/>
                <a:gd name="T10" fmla="*/ 4 w 132"/>
                <a:gd name="T11" fmla="*/ 23 h 151"/>
                <a:gd name="T12" fmla="*/ 107 w 132"/>
                <a:gd name="T13" fmla="*/ 147 h 151"/>
                <a:gd name="T14" fmla="*/ 107 w 132"/>
                <a:gd name="T15" fmla="*/ 147 h 151"/>
                <a:gd name="T16" fmla="*/ 112 w 132"/>
                <a:gd name="T17" fmla="*/ 150 h 151"/>
                <a:gd name="T18" fmla="*/ 117 w 132"/>
                <a:gd name="T19" fmla="*/ 151 h 151"/>
                <a:gd name="T20" fmla="*/ 122 w 132"/>
                <a:gd name="T21" fmla="*/ 150 h 151"/>
                <a:gd name="T22" fmla="*/ 127 w 132"/>
                <a:gd name="T23" fmla="*/ 148 h 151"/>
                <a:gd name="T24" fmla="*/ 127 w 132"/>
                <a:gd name="T25" fmla="*/ 148 h 151"/>
                <a:gd name="T26" fmla="*/ 130 w 132"/>
                <a:gd name="T27" fmla="*/ 144 h 151"/>
                <a:gd name="T28" fmla="*/ 132 w 132"/>
                <a:gd name="T29" fmla="*/ 138 h 151"/>
                <a:gd name="T30" fmla="*/ 130 w 132"/>
                <a:gd name="T31" fmla="*/ 133 h 151"/>
                <a:gd name="T32" fmla="*/ 128 w 132"/>
                <a:gd name="T33" fmla="*/ 128 h 151"/>
                <a:gd name="T34" fmla="*/ 24 w 132"/>
                <a:gd name="T35" fmla="*/ 5 h 151"/>
                <a:gd name="T36" fmla="*/ 24 w 132"/>
                <a:gd name="T37" fmla="*/ 5 h 151"/>
                <a:gd name="T38" fmla="*/ 21 w 132"/>
                <a:gd name="T39" fmla="*/ 2 h 151"/>
                <a:gd name="T40" fmla="*/ 16 w 132"/>
                <a:gd name="T41" fmla="*/ 0 h 151"/>
                <a:gd name="T42" fmla="*/ 10 w 132"/>
                <a:gd name="T43" fmla="*/ 0 h 151"/>
                <a:gd name="T44" fmla="*/ 5 w 132"/>
                <a:gd name="T45" fmla="*/ 4 h 151"/>
                <a:gd name="T46" fmla="*/ 5 w 132"/>
                <a:gd name="T47" fmla="*/ 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51">
                  <a:moveTo>
                    <a:pt x="5" y="4"/>
                  </a:moveTo>
                  <a:lnTo>
                    <a:pt x="5" y="4"/>
                  </a:lnTo>
                  <a:lnTo>
                    <a:pt x="2" y="8"/>
                  </a:lnTo>
                  <a:lnTo>
                    <a:pt x="0" y="12"/>
                  </a:lnTo>
                  <a:lnTo>
                    <a:pt x="1" y="19"/>
                  </a:lnTo>
                  <a:lnTo>
                    <a:pt x="4" y="23"/>
                  </a:lnTo>
                  <a:lnTo>
                    <a:pt x="107" y="147"/>
                  </a:lnTo>
                  <a:lnTo>
                    <a:pt x="107" y="147"/>
                  </a:lnTo>
                  <a:lnTo>
                    <a:pt x="112" y="150"/>
                  </a:lnTo>
                  <a:lnTo>
                    <a:pt x="117" y="151"/>
                  </a:lnTo>
                  <a:lnTo>
                    <a:pt x="122" y="150"/>
                  </a:lnTo>
                  <a:lnTo>
                    <a:pt x="127" y="148"/>
                  </a:lnTo>
                  <a:lnTo>
                    <a:pt x="127" y="148"/>
                  </a:lnTo>
                  <a:lnTo>
                    <a:pt x="130" y="144"/>
                  </a:lnTo>
                  <a:lnTo>
                    <a:pt x="132" y="138"/>
                  </a:lnTo>
                  <a:lnTo>
                    <a:pt x="130" y="133"/>
                  </a:lnTo>
                  <a:lnTo>
                    <a:pt x="128" y="128"/>
                  </a:lnTo>
                  <a:lnTo>
                    <a:pt x="24" y="5"/>
                  </a:lnTo>
                  <a:lnTo>
                    <a:pt x="24" y="5"/>
                  </a:lnTo>
                  <a:lnTo>
                    <a:pt x="21" y="2"/>
                  </a:lnTo>
                  <a:lnTo>
                    <a:pt x="16" y="0"/>
                  </a:lnTo>
                  <a:lnTo>
                    <a:pt x="10" y="0"/>
                  </a:lnTo>
                  <a:lnTo>
                    <a:pt x="5" y="4"/>
                  </a:lnTo>
                  <a:lnTo>
                    <a:pt x="5" y="4"/>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grpSp>
        <p:nvGrpSpPr>
          <p:cNvPr id="1099" name="그룹 1098"/>
          <p:cNvGrpSpPr/>
          <p:nvPr userDrawn="1"/>
        </p:nvGrpSpPr>
        <p:grpSpPr>
          <a:xfrm>
            <a:off x="5852559" y="1379368"/>
            <a:ext cx="221373" cy="280565"/>
            <a:chOff x="1897095" y="3168671"/>
            <a:chExt cx="295277" cy="350840"/>
          </a:xfrm>
        </p:grpSpPr>
        <p:sp>
          <p:nvSpPr>
            <p:cNvPr id="1100" name="Freeform 587"/>
            <p:cNvSpPr>
              <a:spLocks/>
            </p:cNvSpPr>
            <p:nvPr/>
          </p:nvSpPr>
          <p:spPr bwMode="auto">
            <a:xfrm>
              <a:off x="1965358" y="3281384"/>
              <a:ext cx="227014" cy="238127"/>
            </a:xfrm>
            <a:custGeom>
              <a:avLst/>
              <a:gdLst>
                <a:gd name="T0" fmla="*/ 689 w 717"/>
                <a:gd name="T1" fmla="*/ 395 h 752"/>
                <a:gd name="T2" fmla="*/ 712 w 717"/>
                <a:gd name="T3" fmla="*/ 365 h 752"/>
                <a:gd name="T4" fmla="*/ 716 w 717"/>
                <a:gd name="T5" fmla="*/ 327 h 752"/>
                <a:gd name="T6" fmla="*/ 707 w 717"/>
                <a:gd name="T7" fmla="*/ 302 h 752"/>
                <a:gd name="T8" fmla="*/ 678 w 717"/>
                <a:gd name="T9" fmla="*/ 259 h 752"/>
                <a:gd name="T10" fmla="*/ 657 w 717"/>
                <a:gd name="T11" fmla="*/ 226 h 752"/>
                <a:gd name="T12" fmla="*/ 633 w 717"/>
                <a:gd name="T13" fmla="*/ 181 h 752"/>
                <a:gd name="T14" fmla="*/ 618 w 717"/>
                <a:gd name="T15" fmla="*/ 163 h 752"/>
                <a:gd name="T16" fmla="*/ 570 w 717"/>
                <a:gd name="T17" fmla="*/ 128 h 752"/>
                <a:gd name="T18" fmla="*/ 500 w 717"/>
                <a:gd name="T19" fmla="*/ 85 h 752"/>
                <a:gd name="T20" fmla="*/ 452 w 717"/>
                <a:gd name="T21" fmla="*/ 50 h 752"/>
                <a:gd name="T22" fmla="*/ 399 w 717"/>
                <a:gd name="T23" fmla="*/ 20 h 752"/>
                <a:gd name="T24" fmla="*/ 362 w 717"/>
                <a:gd name="T25" fmla="*/ 6 h 752"/>
                <a:gd name="T26" fmla="*/ 322 w 717"/>
                <a:gd name="T27" fmla="*/ 0 h 752"/>
                <a:gd name="T28" fmla="*/ 292 w 717"/>
                <a:gd name="T29" fmla="*/ 5 h 752"/>
                <a:gd name="T30" fmla="*/ 272 w 717"/>
                <a:gd name="T31" fmla="*/ 13 h 752"/>
                <a:gd name="T32" fmla="*/ 238 w 717"/>
                <a:gd name="T33" fmla="*/ 33 h 752"/>
                <a:gd name="T34" fmla="*/ 209 w 717"/>
                <a:gd name="T35" fmla="*/ 42 h 752"/>
                <a:gd name="T36" fmla="*/ 156 w 717"/>
                <a:gd name="T37" fmla="*/ 49 h 752"/>
                <a:gd name="T38" fmla="*/ 106 w 717"/>
                <a:gd name="T39" fmla="*/ 63 h 752"/>
                <a:gd name="T40" fmla="*/ 76 w 717"/>
                <a:gd name="T41" fmla="*/ 81 h 752"/>
                <a:gd name="T42" fmla="*/ 42 w 717"/>
                <a:gd name="T43" fmla="*/ 113 h 752"/>
                <a:gd name="T44" fmla="*/ 21 w 717"/>
                <a:gd name="T45" fmla="*/ 154 h 752"/>
                <a:gd name="T46" fmla="*/ 9 w 717"/>
                <a:gd name="T47" fmla="*/ 215 h 752"/>
                <a:gd name="T48" fmla="*/ 0 w 717"/>
                <a:gd name="T49" fmla="*/ 309 h 752"/>
                <a:gd name="T50" fmla="*/ 3 w 717"/>
                <a:gd name="T51" fmla="*/ 326 h 752"/>
                <a:gd name="T52" fmla="*/ 14 w 717"/>
                <a:gd name="T53" fmla="*/ 338 h 752"/>
                <a:gd name="T54" fmla="*/ 16 w 717"/>
                <a:gd name="T55" fmla="*/ 340 h 752"/>
                <a:gd name="T56" fmla="*/ 34 w 717"/>
                <a:gd name="T57" fmla="*/ 354 h 752"/>
                <a:gd name="T58" fmla="*/ 118 w 717"/>
                <a:gd name="T59" fmla="*/ 427 h 752"/>
                <a:gd name="T60" fmla="*/ 167 w 717"/>
                <a:gd name="T61" fmla="*/ 460 h 752"/>
                <a:gd name="T62" fmla="*/ 192 w 717"/>
                <a:gd name="T63" fmla="*/ 468 h 752"/>
                <a:gd name="T64" fmla="*/ 215 w 717"/>
                <a:gd name="T65" fmla="*/ 522 h 752"/>
                <a:gd name="T66" fmla="*/ 221 w 717"/>
                <a:gd name="T67" fmla="*/ 563 h 752"/>
                <a:gd name="T68" fmla="*/ 221 w 717"/>
                <a:gd name="T69" fmla="*/ 604 h 752"/>
                <a:gd name="T70" fmla="*/ 222 w 717"/>
                <a:gd name="T71" fmla="*/ 624 h 752"/>
                <a:gd name="T72" fmla="*/ 227 w 717"/>
                <a:gd name="T73" fmla="*/ 635 h 752"/>
                <a:gd name="T74" fmla="*/ 245 w 717"/>
                <a:gd name="T75" fmla="*/ 641 h 752"/>
                <a:gd name="T76" fmla="*/ 290 w 717"/>
                <a:gd name="T77" fmla="*/ 663 h 752"/>
                <a:gd name="T78" fmla="*/ 394 w 717"/>
                <a:gd name="T79" fmla="*/ 714 h 752"/>
                <a:gd name="T80" fmla="*/ 477 w 717"/>
                <a:gd name="T81" fmla="*/ 745 h 752"/>
                <a:gd name="T82" fmla="*/ 531 w 717"/>
                <a:gd name="T83" fmla="*/ 752 h 752"/>
                <a:gd name="T84" fmla="*/ 570 w 717"/>
                <a:gd name="T85" fmla="*/ 750 h 752"/>
                <a:gd name="T86" fmla="*/ 606 w 717"/>
                <a:gd name="T87" fmla="*/ 736 h 752"/>
                <a:gd name="T88" fmla="*/ 641 w 717"/>
                <a:gd name="T89" fmla="*/ 712 h 752"/>
                <a:gd name="T90" fmla="*/ 666 w 717"/>
                <a:gd name="T91" fmla="*/ 684 h 752"/>
                <a:gd name="T92" fmla="*/ 695 w 717"/>
                <a:gd name="T93" fmla="*/ 623 h 752"/>
                <a:gd name="T94" fmla="*/ 702 w 717"/>
                <a:gd name="T95" fmla="*/ 555 h 752"/>
                <a:gd name="T96" fmla="*/ 698 w 717"/>
                <a:gd name="T97" fmla="*/ 501 h 752"/>
                <a:gd name="T98" fmla="*/ 684 w 717"/>
                <a:gd name="T99" fmla="*/ 41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7" h="752">
                  <a:moveTo>
                    <a:pt x="679" y="405"/>
                  </a:moveTo>
                  <a:lnTo>
                    <a:pt x="679" y="405"/>
                  </a:lnTo>
                  <a:lnTo>
                    <a:pt x="689" y="395"/>
                  </a:lnTo>
                  <a:lnTo>
                    <a:pt x="699" y="385"/>
                  </a:lnTo>
                  <a:lnTo>
                    <a:pt x="706" y="376"/>
                  </a:lnTo>
                  <a:lnTo>
                    <a:pt x="712" y="365"/>
                  </a:lnTo>
                  <a:lnTo>
                    <a:pt x="716" y="354"/>
                  </a:lnTo>
                  <a:lnTo>
                    <a:pt x="717" y="341"/>
                  </a:lnTo>
                  <a:lnTo>
                    <a:pt x="716" y="327"/>
                  </a:lnTo>
                  <a:lnTo>
                    <a:pt x="711" y="312"/>
                  </a:lnTo>
                  <a:lnTo>
                    <a:pt x="711" y="312"/>
                  </a:lnTo>
                  <a:lnTo>
                    <a:pt x="707" y="302"/>
                  </a:lnTo>
                  <a:lnTo>
                    <a:pt x="701" y="294"/>
                  </a:lnTo>
                  <a:lnTo>
                    <a:pt x="690" y="276"/>
                  </a:lnTo>
                  <a:lnTo>
                    <a:pt x="678" y="259"/>
                  </a:lnTo>
                  <a:lnTo>
                    <a:pt x="666" y="241"/>
                  </a:lnTo>
                  <a:lnTo>
                    <a:pt x="666" y="241"/>
                  </a:lnTo>
                  <a:lnTo>
                    <a:pt x="657" y="226"/>
                  </a:lnTo>
                  <a:lnTo>
                    <a:pt x="650" y="211"/>
                  </a:lnTo>
                  <a:lnTo>
                    <a:pt x="641" y="195"/>
                  </a:lnTo>
                  <a:lnTo>
                    <a:pt x="633" y="181"/>
                  </a:lnTo>
                  <a:lnTo>
                    <a:pt x="633" y="181"/>
                  </a:lnTo>
                  <a:lnTo>
                    <a:pt x="626" y="172"/>
                  </a:lnTo>
                  <a:lnTo>
                    <a:pt x="618" y="163"/>
                  </a:lnTo>
                  <a:lnTo>
                    <a:pt x="604" y="150"/>
                  </a:lnTo>
                  <a:lnTo>
                    <a:pt x="587" y="139"/>
                  </a:lnTo>
                  <a:lnTo>
                    <a:pt x="570" y="128"/>
                  </a:lnTo>
                  <a:lnTo>
                    <a:pt x="534" y="109"/>
                  </a:lnTo>
                  <a:lnTo>
                    <a:pt x="517" y="98"/>
                  </a:lnTo>
                  <a:lnTo>
                    <a:pt x="500" y="85"/>
                  </a:lnTo>
                  <a:lnTo>
                    <a:pt x="500" y="85"/>
                  </a:lnTo>
                  <a:lnTo>
                    <a:pt x="468" y="61"/>
                  </a:lnTo>
                  <a:lnTo>
                    <a:pt x="452" y="50"/>
                  </a:lnTo>
                  <a:lnTo>
                    <a:pt x="435" y="38"/>
                  </a:lnTo>
                  <a:lnTo>
                    <a:pt x="417" y="28"/>
                  </a:lnTo>
                  <a:lnTo>
                    <a:pt x="399" y="20"/>
                  </a:lnTo>
                  <a:lnTo>
                    <a:pt x="381" y="12"/>
                  </a:lnTo>
                  <a:lnTo>
                    <a:pt x="362" y="6"/>
                  </a:lnTo>
                  <a:lnTo>
                    <a:pt x="362" y="6"/>
                  </a:lnTo>
                  <a:lnTo>
                    <a:pt x="342" y="3"/>
                  </a:lnTo>
                  <a:lnTo>
                    <a:pt x="332" y="1"/>
                  </a:lnTo>
                  <a:lnTo>
                    <a:pt x="322" y="0"/>
                  </a:lnTo>
                  <a:lnTo>
                    <a:pt x="312" y="1"/>
                  </a:lnTo>
                  <a:lnTo>
                    <a:pt x="301" y="3"/>
                  </a:lnTo>
                  <a:lnTo>
                    <a:pt x="292" y="5"/>
                  </a:lnTo>
                  <a:lnTo>
                    <a:pt x="282" y="9"/>
                  </a:lnTo>
                  <a:lnTo>
                    <a:pt x="282" y="9"/>
                  </a:lnTo>
                  <a:lnTo>
                    <a:pt x="272" y="13"/>
                  </a:lnTo>
                  <a:lnTo>
                    <a:pt x="262" y="18"/>
                  </a:lnTo>
                  <a:lnTo>
                    <a:pt x="246" y="28"/>
                  </a:lnTo>
                  <a:lnTo>
                    <a:pt x="238" y="33"/>
                  </a:lnTo>
                  <a:lnTo>
                    <a:pt x="229" y="37"/>
                  </a:lnTo>
                  <a:lnTo>
                    <a:pt x="220" y="39"/>
                  </a:lnTo>
                  <a:lnTo>
                    <a:pt x="209" y="42"/>
                  </a:lnTo>
                  <a:lnTo>
                    <a:pt x="209" y="42"/>
                  </a:lnTo>
                  <a:lnTo>
                    <a:pt x="173" y="45"/>
                  </a:lnTo>
                  <a:lnTo>
                    <a:pt x="156" y="49"/>
                  </a:lnTo>
                  <a:lnTo>
                    <a:pt x="139" y="53"/>
                  </a:lnTo>
                  <a:lnTo>
                    <a:pt x="123" y="57"/>
                  </a:lnTo>
                  <a:lnTo>
                    <a:pt x="106" y="63"/>
                  </a:lnTo>
                  <a:lnTo>
                    <a:pt x="92" y="71"/>
                  </a:lnTo>
                  <a:lnTo>
                    <a:pt x="76" y="81"/>
                  </a:lnTo>
                  <a:lnTo>
                    <a:pt x="76" y="81"/>
                  </a:lnTo>
                  <a:lnTo>
                    <a:pt x="62" y="90"/>
                  </a:lnTo>
                  <a:lnTo>
                    <a:pt x="51" y="101"/>
                  </a:lnTo>
                  <a:lnTo>
                    <a:pt x="42" y="113"/>
                  </a:lnTo>
                  <a:lnTo>
                    <a:pt x="33" y="126"/>
                  </a:lnTo>
                  <a:lnTo>
                    <a:pt x="26" y="140"/>
                  </a:lnTo>
                  <a:lnTo>
                    <a:pt x="21" y="154"/>
                  </a:lnTo>
                  <a:lnTo>
                    <a:pt x="16" y="168"/>
                  </a:lnTo>
                  <a:lnTo>
                    <a:pt x="14" y="184"/>
                  </a:lnTo>
                  <a:lnTo>
                    <a:pt x="9" y="215"/>
                  </a:lnTo>
                  <a:lnTo>
                    <a:pt x="5" y="246"/>
                  </a:lnTo>
                  <a:lnTo>
                    <a:pt x="4" y="278"/>
                  </a:lnTo>
                  <a:lnTo>
                    <a:pt x="0" y="309"/>
                  </a:lnTo>
                  <a:lnTo>
                    <a:pt x="0" y="309"/>
                  </a:lnTo>
                  <a:lnTo>
                    <a:pt x="0" y="318"/>
                  </a:lnTo>
                  <a:lnTo>
                    <a:pt x="3" y="326"/>
                  </a:lnTo>
                  <a:lnTo>
                    <a:pt x="8" y="333"/>
                  </a:lnTo>
                  <a:lnTo>
                    <a:pt x="14" y="338"/>
                  </a:lnTo>
                  <a:lnTo>
                    <a:pt x="14" y="338"/>
                  </a:lnTo>
                  <a:lnTo>
                    <a:pt x="16" y="340"/>
                  </a:lnTo>
                  <a:lnTo>
                    <a:pt x="16" y="340"/>
                  </a:lnTo>
                  <a:lnTo>
                    <a:pt x="16" y="340"/>
                  </a:lnTo>
                  <a:lnTo>
                    <a:pt x="21" y="343"/>
                  </a:lnTo>
                  <a:lnTo>
                    <a:pt x="21" y="343"/>
                  </a:lnTo>
                  <a:lnTo>
                    <a:pt x="34" y="354"/>
                  </a:lnTo>
                  <a:lnTo>
                    <a:pt x="51" y="368"/>
                  </a:lnTo>
                  <a:lnTo>
                    <a:pt x="94" y="407"/>
                  </a:lnTo>
                  <a:lnTo>
                    <a:pt x="118" y="427"/>
                  </a:lnTo>
                  <a:lnTo>
                    <a:pt x="143" y="445"/>
                  </a:lnTo>
                  <a:lnTo>
                    <a:pt x="155" y="452"/>
                  </a:lnTo>
                  <a:lnTo>
                    <a:pt x="167" y="460"/>
                  </a:lnTo>
                  <a:lnTo>
                    <a:pt x="179" y="465"/>
                  </a:lnTo>
                  <a:lnTo>
                    <a:pt x="192" y="468"/>
                  </a:lnTo>
                  <a:lnTo>
                    <a:pt x="192" y="468"/>
                  </a:lnTo>
                  <a:lnTo>
                    <a:pt x="200" y="485"/>
                  </a:lnTo>
                  <a:lnTo>
                    <a:pt x="209" y="502"/>
                  </a:lnTo>
                  <a:lnTo>
                    <a:pt x="215" y="522"/>
                  </a:lnTo>
                  <a:lnTo>
                    <a:pt x="218" y="541"/>
                  </a:lnTo>
                  <a:lnTo>
                    <a:pt x="218" y="541"/>
                  </a:lnTo>
                  <a:lnTo>
                    <a:pt x="221" y="563"/>
                  </a:lnTo>
                  <a:lnTo>
                    <a:pt x="222" y="584"/>
                  </a:lnTo>
                  <a:lnTo>
                    <a:pt x="222" y="584"/>
                  </a:lnTo>
                  <a:lnTo>
                    <a:pt x="221" y="604"/>
                  </a:lnTo>
                  <a:lnTo>
                    <a:pt x="221" y="613"/>
                  </a:lnTo>
                  <a:lnTo>
                    <a:pt x="222" y="624"/>
                  </a:lnTo>
                  <a:lnTo>
                    <a:pt x="222" y="624"/>
                  </a:lnTo>
                  <a:lnTo>
                    <a:pt x="223" y="628"/>
                  </a:lnTo>
                  <a:lnTo>
                    <a:pt x="225" y="632"/>
                  </a:lnTo>
                  <a:lnTo>
                    <a:pt x="227" y="635"/>
                  </a:lnTo>
                  <a:lnTo>
                    <a:pt x="231" y="638"/>
                  </a:lnTo>
                  <a:lnTo>
                    <a:pt x="237" y="640"/>
                  </a:lnTo>
                  <a:lnTo>
                    <a:pt x="245" y="641"/>
                  </a:lnTo>
                  <a:lnTo>
                    <a:pt x="245" y="641"/>
                  </a:lnTo>
                  <a:lnTo>
                    <a:pt x="267" y="652"/>
                  </a:lnTo>
                  <a:lnTo>
                    <a:pt x="290" y="663"/>
                  </a:lnTo>
                  <a:lnTo>
                    <a:pt x="342" y="689"/>
                  </a:lnTo>
                  <a:lnTo>
                    <a:pt x="367" y="702"/>
                  </a:lnTo>
                  <a:lnTo>
                    <a:pt x="394" y="714"/>
                  </a:lnTo>
                  <a:lnTo>
                    <a:pt x="422" y="727"/>
                  </a:lnTo>
                  <a:lnTo>
                    <a:pt x="449" y="736"/>
                  </a:lnTo>
                  <a:lnTo>
                    <a:pt x="477" y="745"/>
                  </a:lnTo>
                  <a:lnTo>
                    <a:pt x="504" y="750"/>
                  </a:lnTo>
                  <a:lnTo>
                    <a:pt x="517" y="752"/>
                  </a:lnTo>
                  <a:lnTo>
                    <a:pt x="531" y="752"/>
                  </a:lnTo>
                  <a:lnTo>
                    <a:pt x="544" y="752"/>
                  </a:lnTo>
                  <a:lnTo>
                    <a:pt x="557" y="752"/>
                  </a:lnTo>
                  <a:lnTo>
                    <a:pt x="570" y="750"/>
                  </a:lnTo>
                  <a:lnTo>
                    <a:pt x="582" y="746"/>
                  </a:lnTo>
                  <a:lnTo>
                    <a:pt x="595" y="743"/>
                  </a:lnTo>
                  <a:lnTo>
                    <a:pt x="606" y="736"/>
                  </a:lnTo>
                  <a:lnTo>
                    <a:pt x="618" y="730"/>
                  </a:lnTo>
                  <a:lnTo>
                    <a:pt x="630" y="722"/>
                  </a:lnTo>
                  <a:lnTo>
                    <a:pt x="641" y="712"/>
                  </a:lnTo>
                  <a:lnTo>
                    <a:pt x="652" y="701"/>
                  </a:lnTo>
                  <a:lnTo>
                    <a:pt x="652" y="701"/>
                  </a:lnTo>
                  <a:lnTo>
                    <a:pt x="666" y="684"/>
                  </a:lnTo>
                  <a:lnTo>
                    <a:pt x="678" y="664"/>
                  </a:lnTo>
                  <a:lnTo>
                    <a:pt x="688" y="644"/>
                  </a:lnTo>
                  <a:lnTo>
                    <a:pt x="695" y="623"/>
                  </a:lnTo>
                  <a:lnTo>
                    <a:pt x="700" y="601"/>
                  </a:lnTo>
                  <a:lnTo>
                    <a:pt x="702" y="578"/>
                  </a:lnTo>
                  <a:lnTo>
                    <a:pt x="702" y="555"/>
                  </a:lnTo>
                  <a:lnTo>
                    <a:pt x="701" y="533"/>
                  </a:lnTo>
                  <a:lnTo>
                    <a:pt x="701" y="533"/>
                  </a:lnTo>
                  <a:lnTo>
                    <a:pt x="698" y="501"/>
                  </a:lnTo>
                  <a:lnTo>
                    <a:pt x="694" y="468"/>
                  </a:lnTo>
                  <a:lnTo>
                    <a:pt x="688" y="437"/>
                  </a:lnTo>
                  <a:lnTo>
                    <a:pt x="684" y="419"/>
                  </a:lnTo>
                  <a:lnTo>
                    <a:pt x="679" y="405"/>
                  </a:lnTo>
                  <a:lnTo>
                    <a:pt x="679" y="405"/>
                  </a:lnTo>
                  <a:close/>
                </a:path>
              </a:pathLst>
            </a:custGeom>
            <a:solidFill>
              <a:srgbClr val="4F17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1" name="Freeform 588"/>
            <p:cNvSpPr>
              <a:spLocks/>
            </p:cNvSpPr>
            <p:nvPr/>
          </p:nvSpPr>
          <p:spPr bwMode="auto">
            <a:xfrm>
              <a:off x="1973295" y="3281384"/>
              <a:ext cx="219077" cy="165102"/>
            </a:xfrm>
            <a:custGeom>
              <a:avLst/>
              <a:gdLst>
                <a:gd name="T0" fmla="*/ 669 w 691"/>
                <a:gd name="T1" fmla="*/ 482 h 519"/>
                <a:gd name="T2" fmla="*/ 653 w 691"/>
                <a:gd name="T3" fmla="*/ 405 h 519"/>
                <a:gd name="T4" fmla="*/ 673 w 691"/>
                <a:gd name="T5" fmla="*/ 385 h 519"/>
                <a:gd name="T6" fmla="*/ 690 w 691"/>
                <a:gd name="T7" fmla="*/ 354 h 519"/>
                <a:gd name="T8" fmla="*/ 685 w 691"/>
                <a:gd name="T9" fmla="*/ 312 h 519"/>
                <a:gd name="T10" fmla="*/ 675 w 691"/>
                <a:gd name="T11" fmla="*/ 294 h 519"/>
                <a:gd name="T12" fmla="*/ 640 w 691"/>
                <a:gd name="T13" fmla="*/ 241 h 519"/>
                <a:gd name="T14" fmla="*/ 624 w 691"/>
                <a:gd name="T15" fmla="*/ 211 h 519"/>
                <a:gd name="T16" fmla="*/ 607 w 691"/>
                <a:gd name="T17" fmla="*/ 181 h 519"/>
                <a:gd name="T18" fmla="*/ 578 w 691"/>
                <a:gd name="T19" fmla="*/ 150 h 519"/>
                <a:gd name="T20" fmla="*/ 508 w 691"/>
                <a:gd name="T21" fmla="*/ 109 h 519"/>
                <a:gd name="T22" fmla="*/ 474 w 691"/>
                <a:gd name="T23" fmla="*/ 85 h 519"/>
                <a:gd name="T24" fmla="*/ 409 w 691"/>
                <a:gd name="T25" fmla="*/ 38 h 519"/>
                <a:gd name="T26" fmla="*/ 355 w 691"/>
                <a:gd name="T27" fmla="*/ 12 h 519"/>
                <a:gd name="T28" fmla="*/ 316 w 691"/>
                <a:gd name="T29" fmla="*/ 3 h 519"/>
                <a:gd name="T30" fmla="*/ 286 w 691"/>
                <a:gd name="T31" fmla="*/ 1 h 519"/>
                <a:gd name="T32" fmla="*/ 256 w 691"/>
                <a:gd name="T33" fmla="*/ 9 h 519"/>
                <a:gd name="T34" fmla="*/ 236 w 691"/>
                <a:gd name="T35" fmla="*/ 18 h 519"/>
                <a:gd name="T36" fmla="*/ 203 w 691"/>
                <a:gd name="T37" fmla="*/ 37 h 519"/>
                <a:gd name="T38" fmla="*/ 183 w 691"/>
                <a:gd name="T39" fmla="*/ 42 h 519"/>
                <a:gd name="T40" fmla="*/ 113 w 691"/>
                <a:gd name="T41" fmla="*/ 53 h 519"/>
                <a:gd name="T42" fmla="*/ 66 w 691"/>
                <a:gd name="T43" fmla="*/ 71 h 519"/>
                <a:gd name="T44" fmla="*/ 41 w 691"/>
                <a:gd name="T45" fmla="*/ 87 h 519"/>
                <a:gd name="T46" fmla="*/ 19 w 691"/>
                <a:gd name="T47" fmla="*/ 107 h 519"/>
                <a:gd name="T48" fmla="*/ 0 w 691"/>
                <a:gd name="T49" fmla="*/ 140 h 519"/>
                <a:gd name="T50" fmla="*/ 18 w 691"/>
                <a:gd name="T51" fmla="*/ 220 h 519"/>
                <a:gd name="T52" fmla="*/ 25 w 691"/>
                <a:gd name="T53" fmla="*/ 254 h 519"/>
                <a:gd name="T54" fmla="*/ 44 w 691"/>
                <a:gd name="T55" fmla="*/ 270 h 519"/>
                <a:gd name="T56" fmla="*/ 47 w 691"/>
                <a:gd name="T57" fmla="*/ 271 h 519"/>
                <a:gd name="T58" fmla="*/ 53 w 691"/>
                <a:gd name="T59" fmla="*/ 272 h 519"/>
                <a:gd name="T60" fmla="*/ 89 w 691"/>
                <a:gd name="T61" fmla="*/ 287 h 519"/>
                <a:gd name="T62" fmla="*/ 200 w 691"/>
                <a:gd name="T63" fmla="*/ 333 h 519"/>
                <a:gd name="T64" fmla="*/ 240 w 691"/>
                <a:gd name="T65" fmla="*/ 340 h 519"/>
                <a:gd name="T66" fmla="*/ 267 w 691"/>
                <a:gd name="T67" fmla="*/ 354 h 519"/>
                <a:gd name="T68" fmla="*/ 300 w 691"/>
                <a:gd name="T69" fmla="*/ 402 h 519"/>
                <a:gd name="T70" fmla="*/ 317 w 691"/>
                <a:gd name="T71" fmla="*/ 441 h 519"/>
                <a:gd name="T72" fmla="*/ 324 w 691"/>
                <a:gd name="T73" fmla="*/ 471 h 519"/>
                <a:gd name="T74" fmla="*/ 330 w 691"/>
                <a:gd name="T75" fmla="*/ 484 h 519"/>
                <a:gd name="T76" fmla="*/ 340 w 691"/>
                <a:gd name="T77" fmla="*/ 490 h 519"/>
                <a:gd name="T78" fmla="*/ 356 w 691"/>
                <a:gd name="T79" fmla="*/ 490 h 519"/>
                <a:gd name="T80" fmla="*/ 470 w 691"/>
                <a:gd name="T81" fmla="*/ 507 h 519"/>
                <a:gd name="T82" fmla="*/ 575 w 691"/>
                <a:gd name="T83" fmla="*/ 519 h 519"/>
                <a:gd name="T84" fmla="*/ 635 w 691"/>
                <a:gd name="T85" fmla="*/ 516 h 519"/>
                <a:gd name="T86" fmla="*/ 673 w 691"/>
                <a:gd name="T87" fmla="*/ 507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91" h="519">
                  <a:moveTo>
                    <a:pt x="673" y="507"/>
                  </a:moveTo>
                  <a:lnTo>
                    <a:pt x="673" y="507"/>
                  </a:lnTo>
                  <a:lnTo>
                    <a:pt x="669" y="482"/>
                  </a:lnTo>
                  <a:lnTo>
                    <a:pt x="665" y="455"/>
                  </a:lnTo>
                  <a:lnTo>
                    <a:pt x="661" y="429"/>
                  </a:lnTo>
                  <a:lnTo>
                    <a:pt x="653" y="405"/>
                  </a:lnTo>
                  <a:lnTo>
                    <a:pt x="653" y="405"/>
                  </a:lnTo>
                  <a:lnTo>
                    <a:pt x="663" y="395"/>
                  </a:lnTo>
                  <a:lnTo>
                    <a:pt x="673" y="385"/>
                  </a:lnTo>
                  <a:lnTo>
                    <a:pt x="680" y="376"/>
                  </a:lnTo>
                  <a:lnTo>
                    <a:pt x="686" y="365"/>
                  </a:lnTo>
                  <a:lnTo>
                    <a:pt x="690" y="354"/>
                  </a:lnTo>
                  <a:lnTo>
                    <a:pt x="691" y="341"/>
                  </a:lnTo>
                  <a:lnTo>
                    <a:pt x="690" y="327"/>
                  </a:lnTo>
                  <a:lnTo>
                    <a:pt x="685" y="312"/>
                  </a:lnTo>
                  <a:lnTo>
                    <a:pt x="685" y="312"/>
                  </a:lnTo>
                  <a:lnTo>
                    <a:pt x="681" y="302"/>
                  </a:lnTo>
                  <a:lnTo>
                    <a:pt x="675" y="294"/>
                  </a:lnTo>
                  <a:lnTo>
                    <a:pt x="664" y="276"/>
                  </a:lnTo>
                  <a:lnTo>
                    <a:pt x="652" y="259"/>
                  </a:lnTo>
                  <a:lnTo>
                    <a:pt x="640" y="241"/>
                  </a:lnTo>
                  <a:lnTo>
                    <a:pt x="640" y="241"/>
                  </a:lnTo>
                  <a:lnTo>
                    <a:pt x="631" y="226"/>
                  </a:lnTo>
                  <a:lnTo>
                    <a:pt x="624" y="211"/>
                  </a:lnTo>
                  <a:lnTo>
                    <a:pt x="615" y="195"/>
                  </a:lnTo>
                  <a:lnTo>
                    <a:pt x="607" y="181"/>
                  </a:lnTo>
                  <a:lnTo>
                    <a:pt x="607" y="181"/>
                  </a:lnTo>
                  <a:lnTo>
                    <a:pt x="600" y="172"/>
                  </a:lnTo>
                  <a:lnTo>
                    <a:pt x="592" y="163"/>
                  </a:lnTo>
                  <a:lnTo>
                    <a:pt x="578" y="150"/>
                  </a:lnTo>
                  <a:lnTo>
                    <a:pt x="561" y="139"/>
                  </a:lnTo>
                  <a:lnTo>
                    <a:pt x="544" y="128"/>
                  </a:lnTo>
                  <a:lnTo>
                    <a:pt x="508" y="109"/>
                  </a:lnTo>
                  <a:lnTo>
                    <a:pt x="491" y="98"/>
                  </a:lnTo>
                  <a:lnTo>
                    <a:pt x="474" y="85"/>
                  </a:lnTo>
                  <a:lnTo>
                    <a:pt x="474" y="85"/>
                  </a:lnTo>
                  <a:lnTo>
                    <a:pt x="442" y="61"/>
                  </a:lnTo>
                  <a:lnTo>
                    <a:pt x="426" y="50"/>
                  </a:lnTo>
                  <a:lnTo>
                    <a:pt x="409" y="38"/>
                  </a:lnTo>
                  <a:lnTo>
                    <a:pt x="391" y="28"/>
                  </a:lnTo>
                  <a:lnTo>
                    <a:pt x="373" y="20"/>
                  </a:lnTo>
                  <a:lnTo>
                    <a:pt x="355" y="12"/>
                  </a:lnTo>
                  <a:lnTo>
                    <a:pt x="336" y="6"/>
                  </a:lnTo>
                  <a:lnTo>
                    <a:pt x="336" y="6"/>
                  </a:lnTo>
                  <a:lnTo>
                    <a:pt x="316" y="3"/>
                  </a:lnTo>
                  <a:lnTo>
                    <a:pt x="306" y="1"/>
                  </a:lnTo>
                  <a:lnTo>
                    <a:pt x="296" y="0"/>
                  </a:lnTo>
                  <a:lnTo>
                    <a:pt x="286" y="1"/>
                  </a:lnTo>
                  <a:lnTo>
                    <a:pt x="275" y="3"/>
                  </a:lnTo>
                  <a:lnTo>
                    <a:pt x="266" y="5"/>
                  </a:lnTo>
                  <a:lnTo>
                    <a:pt x="256" y="9"/>
                  </a:lnTo>
                  <a:lnTo>
                    <a:pt x="256" y="9"/>
                  </a:lnTo>
                  <a:lnTo>
                    <a:pt x="246" y="13"/>
                  </a:lnTo>
                  <a:lnTo>
                    <a:pt x="236" y="18"/>
                  </a:lnTo>
                  <a:lnTo>
                    <a:pt x="220" y="28"/>
                  </a:lnTo>
                  <a:lnTo>
                    <a:pt x="212" y="33"/>
                  </a:lnTo>
                  <a:lnTo>
                    <a:pt x="203" y="37"/>
                  </a:lnTo>
                  <a:lnTo>
                    <a:pt x="194" y="39"/>
                  </a:lnTo>
                  <a:lnTo>
                    <a:pt x="183" y="42"/>
                  </a:lnTo>
                  <a:lnTo>
                    <a:pt x="183" y="42"/>
                  </a:lnTo>
                  <a:lnTo>
                    <a:pt x="147" y="45"/>
                  </a:lnTo>
                  <a:lnTo>
                    <a:pt x="130" y="49"/>
                  </a:lnTo>
                  <a:lnTo>
                    <a:pt x="113" y="53"/>
                  </a:lnTo>
                  <a:lnTo>
                    <a:pt x="97" y="57"/>
                  </a:lnTo>
                  <a:lnTo>
                    <a:pt x="80" y="63"/>
                  </a:lnTo>
                  <a:lnTo>
                    <a:pt x="66" y="71"/>
                  </a:lnTo>
                  <a:lnTo>
                    <a:pt x="50" y="81"/>
                  </a:lnTo>
                  <a:lnTo>
                    <a:pt x="50" y="81"/>
                  </a:lnTo>
                  <a:lnTo>
                    <a:pt x="41" y="87"/>
                  </a:lnTo>
                  <a:lnTo>
                    <a:pt x="33" y="93"/>
                  </a:lnTo>
                  <a:lnTo>
                    <a:pt x="27" y="100"/>
                  </a:lnTo>
                  <a:lnTo>
                    <a:pt x="19" y="107"/>
                  </a:lnTo>
                  <a:lnTo>
                    <a:pt x="8" y="123"/>
                  </a:lnTo>
                  <a:lnTo>
                    <a:pt x="0" y="140"/>
                  </a:lnTo>
                  <a:lnTo>
                    <a:pt x="0" y="140"/>
                  </a:lnTo>
                  <a:lnTo>
                    <a:pt x="5" y="167"/>
                  </a:lnTo>
                  <a:lnTo>
                    <a:pt x="11" y="194"/>
                  </a:lnTo>
                  <a:lnTo>
                    <a:pt x="18" y="220"/>
                  </a:lnTo>
                  <a:lnTo>
                    <a:pt x="23" y="245"/>
                  </a:lnTo>
                  <a:lnTo>
                    <a:pt x="23" y="245"/>
                  </a:lnTo>
                  <a:lnTo>
                    <a:pt x="25" y="254"/>
                  </a:lnTo>
                  <a:lnTo>
                    <a:pt x="30" y="261"/>
                  </a:lnTo>
                  <a:lnTo>
                    <a:pt x="36" y="266"/>
                  </a:lnTo>
                  <a:lnTo>
                    <a:pt x="44" y="270"/>
                  </a:lnTo>
                  <a:lnTo>
                    <a:pt x="44" y="270"/>
                  </a:lnTo>
                  <a:lnTo>
                    <a:pt x="47" y="271"/>
                  </a:lnTo>
                  <a:lnTo>
                    <a:pt x="47" y="271"/>
                  </a:lnTo>
                  <a:lnTo>
                    <a:pt x="47" y="271"/>
                  </a:lnTo>
                  <a:lnTo>
                    <a:pt x="47" y="271"/>
                  </a:lnTo>
                  <a:lnTo>
                    <a:pt x="53" y="272"/>
                  </a:lnTo>
                  <a:lnTo>
                    <a:pt x="53" y="272"/>
                  </a:lnTo>
                  <a:lnTo>
                    <a:pt x="68" y="278"/>
                  </a:lnTo>
                  <a:lnTo>
                    <a:pt x="89" y="287"/>
                  </a:lnTo>
                  <a:lnTo>
                    <a:pt x="141" y="311"/>
                  </a:lnTo>
                  <a:lnTo>
                    <a:pt x="170" y="323"/>
                  </a:lnTo>
                  <a:lnTo>
                    <a:pt x="200" y="333"/>
                  </a:lnTo>
                  <a:lnTo>
                    <a:pt x="213" y="337"/>
                  </a:lnTo>
                  <a:lnTo>
                    <a:pt x="228" y="339"/>
                  </a:lnTo>
                  <a:lnTo>
                    <a:pt x="240" y="340"/>
                  </a:lnTo>
                  <a:lnTo>
                    <a:pt x="252" y="340"/>
                  </a:lnTo>
                  <a:lnTo>
                    <a:pt x="252" y="340"/>
                  </a:lnTo>
                  <a:lnTo>
                    <a:pt x="267" y="354"/>
                  </a:lnTo>
                  <a:lnTo>
                    <a:pt x="279" y="368"/>
                  </a:lnTo>
                  <a:lnTo>
                    <a:pt x="290" y="384"/>
                  </a:lnTo>
                  <a:lnTo>
                    <a:pt x="300" y="402"/>
                  </a:lnTo>
                  <a:lnTo>
                    <a:pt x="300" y="402"/>
                  </a:lnTo>
                  <a:lnTo>
                    <a:pt x="309" y="422"/>
                  </a:lnTo>
                  <a:lnTo>
                    <a:pt x="317" y="441"/>
                  </a:lnTo>
                  <a:lnTo>
                    <a:pt x="317" y="441"/>
                  </a:lnTo>
                  <a:lnTo>
                    <a:pt x="322" y="461"/>
                  </a:lnTo>
                  <a:lnTo>
                    <a:pt x="324" y="471"/>
                  </a:lnTo>
                  <a:lnTo>
                    <a:pt x="328" y="479"/>
                  </a:lnTo>
                  <a:lnTo>
                    <a:pt x="328" y="479"/>
                  </a:lnTo>
                  <a:lnTo>
                    <a:pt x="330" y="484"/>
                  </a:lnTo>
                  <a:lnTo>
                    <a:pt x="334" y="487"/>
                  </a:lnTo>
                  <a:lnTo>
                    <a:pt x="336" y="489"/>
                  </a:lnTo>
                  <a:lnTo>
                    <a:pt x="340" y="490"/>
                  </a:lnTo>
                  <a:lnTo>
                    <a:pt x="347" y="491"/>
                  </a:lnTo>
                  <a:lnTo>
                    <a:pt x="356" y="490"/>
                  </a:lnTo>
                  <a:lnTo>
                    <a:pt x="356" y="490"/>
                  </a:lnTo>
                  <a:lnTo>
                    <a:pt x="391" y="494"/>
                  </a:lnTo>
                  <a:lnTo>
                    <a:pt x="429" y="501"/>
                  </a:lnTo>
                  <a:lnTo>
                    <a:pt x="470" y="507"/>
                  </a:lnTo>
                  <a:lnTo>
                    <a:pt x="512" y="515"/>
                  </a:lnTo>
                  <a:lnTo>
                    <a:pt x="554" y="518"/>
                  </a:lnTo>
                  <a:lnTo>
                    <a:pt x="575" y="519"/>
                  </a:lnTo>
                  <a:lnTo>
                    <a:pt x="596" y="519"/>
                  </a:lnTo>
                  <a:lnTo>
                    <a:pt x="615" y="518"/>
                  </a:lnTo>
                  <a:lnTo>
                    <a:pt x="635" y="516"/>
                  </a:lnTo>
                  <a:lnTo>
                    <a:pt x="654" y="512"/>
                  </a:lnTo>
                  <a:lnTo>
                    <a:pt x="673" y="507"/>
                  </a:lnTo>
                  <a:lnTo>
                    <a:pt x="673" y="507"/>
                  </a:lnTo>
                  <a:close/>
                </a:path>
              </a:pathLst>
            </a:custGeom>
            <a:solidFill>
              <a:srgbClr val="681F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2" name="Freeform 589"/>
            <p:cNvSpPr>
              <a:spLocks/>
            </p:cNvSpPr>
            <p:nvPr/>
          </p:nvSpPr>
          <p:spPr bwMode="auto">
            <a:xfrm>
              <a:off x="2098709" y="3376635"/>
              <a:ext cx="47625" cy="47625"/>
            </a:xfrm>
            <a:custGeom>
              <a:avLst/>
              <a:gdLst>
                <a:gd name="T0" fmla="*/ 0 w 149"/>
                <a:gd name="T1" fmla="*/ 75 h 149"/>
                <a:gd name="T2" fmla="*/ 0 w 149"/>
                <a:gd name="T3" fmla="*/ 75 h 149"/>
                <a:gd name="T4" fmla="*/ 0 w 149"/>
                <a:gd name="T5" fmla="*/ 82 h 149"/>
                <a:gd name="T6" fmla="*/ 1 w 149"/>
                <a:gd name="T7" fmla="*/ 89 h 149"/>
                <a:gd name="T8" fmla="*/ 6 w 149"/>
                <a:gd name="T9" fmla="*/ 104 h 149"/>
                <a:gd name="T10" fmla="*/ 12 w 149"/>
                <a:gd name="T11" fmla="*/ 116 h 149"/>
                <a:gd name="T12" fmla="*/ 22 w 149"/>
                <a:gd name="T13" fmla="*/ 127 h 149"/>
                <a:gd name="T14" fmla="*/ 33 w 149"/>
                <a:gd name="T15" fmla="*/ 136 h 149"/>
                <a:gd name="T16" fmla="*/ 45 w 149"/>
                <a:gd name="T17" fmla="*/ 143 h 149"/>
                <a:gd name="T18" fmla="*/ 52 w 149"/>
                <a:gd name="T19" fmla="*/ 145 h 149"/>
                <a:gd name="T20" fmla="*/ 60 w 149"/>
                <a:gd name="T21" fmla="*/ 148 h 149"/>
                <a:gd name="T22" fmla="*/ 67 w 149"/>
                <a:gd name="T23" fmla="*/ 149 h 149"/>
                <a:gd name="T24" fmla="*/ 74 w 149"/>
                <a:gd name="T25" fmla="*/ 149 h 149"/>
                <a:gd name="T26" fmla="*/ 74 w 149"/>
                <a:gd name="T27" fmla="*/ 149 h 149"/>
                <a:gd name="T28" fmla="*/ 82 w 149"/>
                <a:gd name="T29" fmla="*/ 149 h 149"/>
                <a:gd name="T30" fmla="*/ 89 w 149"/>
                <a:gd name="T31" fmla="*/ 148 h 149"/>
                <a:gd name="T32" fmla="*/ 96 w 149"/>
                <a:gd name="T33" fmla="*/ 145 h 149"/>
                <a:gd name="T34" fmla="*/ 102 w 149"/>
                <a:gd name="T35" fmla="*/ 143 h 149"/>
                <a:gd name="T36" fmla="*/ 116 w 149"/>
                <a:gd name="T37" fmla="*/ 136 h 149"/>
                <a:gd name="T38" fmla="*/ 127 w 149"/>
                <a:gd name="T39" fmla="*/ 127 h 149"/>
                <a:gd name="T40" fmla="*/ 135 w 149"/>
                <a:gd name="T41" fmla="*/ 116 h 149"/>
                <a:gd name="T42" fmla="*/ 143 w 149"/>
                <a:gd name="T43" fmla="*/ 104 h 149"/>
                <a:gd name="T44" fmla="*/ 146 w 149"/>
                <a:gd name="T45" fmla="*/ 89 h 149"/>
                <a:gd name="T46" fmla="*/ 148 w 149"/>
                <a:gd name="T47" fmla="*/ 82 h 149"/>
                <a:gd name="T48" fmla="*/ 149 w 149"/>
                <a:gd name="T49" fmla="*/ 75 h 149"/>
                <a:gd name="T50" fmla="*/ 149 w 149"/>
                <a:gd name="T51" fmla="*/ 75 h 149"/>
                <a:gd name="T52" fmla="*/ 148 w 149"/>
                <a:gd name="T53" fmla="*/ 67 h 149"/>
                <a:gd name="T54" fmla="*/ 146 w 149"/>
                <a:gd name="T55" fmla="*/ 60 h 149"/>
                <a:gd name="T56" fmla="*/ 145 w 149"/>
                <a:gd name="T57" fmla="*/ 53 h 149"/>
                <a:gd name="T58" fmla="*/ 143 w 149"/>
                <a:gd name="T59" fmla="*/ 46 h 149"/>
                <a:gd name="T60" fmla="*/ 135 w 149"/>
                <a:gd name="T61" fmla="*/ 33 h 149"/>
                <a:gd name="T62" fmla="*/ 127 w 149"/>
                <a:gd name="T63" fmla="*/ 22 h 149"/>
                <a:gd name="T64" fmla="*/ 116 w 149"/>
                <a:gd name="T65" fmla="*/ 14 h 149"/>
                <a:gd name="T66" fmla="*/ 102 w 149"/>
                <a:gd name="T67" fmla="*/ 7 h 149"/>
                <a:gd name="T68" fmla="*/ 96 w 149"/>
                <a:gd name="T69" fmla="*/ 4 h 149"/>
                <a:gd name="T70" fmla="*/ 89 w 149"/>
                <a:gd name="T71" fmla="*/ 2 h 149"/>
                <a:gd name="T72" fmla="*/ 82 w 149"/>
                <a:gd name="T73" fmla="*/ 0 h 149"/>
                <a:gd name="T74" fmla="*/ 74 w 149"/>
                <a:gd name="T75" fmla="*/ 0 h 149"/>
                <a:gd name="T76" fmla="*/ 74 w 149"/>
                <a:gd name="T77" fmla="*/ 0 h 149"/>
                <a:gd name="T78" fmla="*/ 67 w 149"/>
                <a:gd name="T79" fmla="*/ 0 h 149"/>
                <a:gd name="T80" fmla="*/ 60 w 149"/>
                <a:gd name="T81" fmla="*/ 2 h 149"/>
                <a:gd name="T82" fmla="*/ 52 w 149"/>
                <a:gd name="T83" fmla="*/ 4 h 149"/>
                <a:gd name="T84" fmla="*/ 45 w 149"/>
                <a:gd name="T85" fmla="*/ 7 h 149"/>
                <a:gd name="T86" fmla="*/ 33 w 149"/>
                <a:gd name="T87" fmla="*/ 14 h 149"/>
                <a:gd name="T88" fmla="*/ 22 w 149"/>
                <a:gd name="T89" fmla="*/ 22 h 149"/>
                <a:gd name="T90" fmla="*/ 12 w 149"/>
                <a:gd name="T91" fmla="*/ 33 h 149"/>
                <a:gd name="T92" fmla="*/ 6 w 149"/>
                <a:gd name="T93" fmla="*/ 46 h 149"/>
                <a:gd name="T94" fmla="*/ 4 w 149"/>
                <a:gd name="T95" fmla="*/ 53 h 149"/>
                <a:gd name="T96" fmla="*/ 1 w 149"/>
                <a:gd name="T97" fmla="*/ 60 h 149"/>
                <a:gd name="T98" fmla="*/ 0 w 149"/>
                <a:gd name="T99" fmla="*/ 67 h 149"/>
                <a:gd name="T100" fmla="*/ 0 w 149"/>
                <a:gd name="T101" fmla="*/ 75 h 149"/>
                <a:gd name="T102" fmla="*/ 0 w 149"/>
                <a:gd name="T103"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9" h="149">
                  <a:moveTo>
                    <a:pt x="0" y="75"/>
                  </a:moveTo>
                  <a:lnTo>
                    <a:pt x="0" y="75"/>
                  </a:lnTo>
                  <a:lnTo>
                    <a:pt x="0" y="82"/>
                  </a:lnTo>
                  <a:lnTo>
                    <a:pt x="1" y="89"/>
                  </a:lnTo>
                  <a:lnTo>
                    <a:pt x="6" y="104"/>
                  </a:lnTo>
                  <a:lnTo>
                    <a:pt x="12" y="116"/>
                  </a:lnTo>
                  <a:lnTo>
                    <a:pt x="22" y="127"/>
                  </a:lnTo>
                  <a:lnTo>
                    <a:pt x="33" y="136"/>
                  </a:lnTo>
                  <a:lnTo>
                    <a:pt x="45" y="143"/>
                  </a:lnTo>
                  <a:lnTo>
                    <a:pt x="52" y="145"/>
                  </a:lnTo>
                  <a:lnTo>
                    <a:pt x="60" y="148"/>
                  </a:lnTo>
                  <a:lnTo>
                    <a:pt x="67" y="149"/>
                  </a:lnTo>
                  <a:lnTo>
                    <a:pt x="74" y="149"/>
                  </a:lnTo>
                  <a:lnTo>
                    <a:pt x="74" y="149"/>
                  </a:lnTo>
                  <a:lnTo>
                    <a:pt x="82" y="149"/>
                  </a:lnTo>
                  <a:lnTo>
                    <a:pt x="89" y="148"/>
                  </a:lnTo>
                  <a:lnTo>
                    <a:pt x="96" y="145"/>
                  </a:lnTo>
                  <a:lnTo>
                    <a:pt x="102" y="143"/>
                  </a:lnTo>
                  <a:lnTo>
                    <a:pt x="116" y="136"/>
                  </a:lnTo>
                  <a:lnTo>
                    <a:pt x="127" y="127"/>
                  </a:lnTo>
                  <a:lnTo>
                    <a:pt x="135" y="116"/>
                  </a:lnTo>
                  <a:lnTo>
                    <a:pt x="143" y="104"/>
                  </a:lnTo>
                  <a:lnTo>
                    <a:pt x="146" y="89"/>
                  </a:lnTo>
                  <a:lnTo>
                    <a:pt x="148" y="82"/>
                  </a:lnTo>
                  <a:lnTo>
                    <a:pt x="149" y="75"/>
                  </a:lnTo>
                  <a:lnTo>
                    <a:pt x="149" y="75"/>
                  </a:lnTo>
                  <a:lnTo>
                    <a:pt x="148" y="67"/>
                  </a:lnTo>
                  <a:lnTo>
                    <a:pt x="146" y="60"/>
                  </a:lnTo>
                  <a:lnTo>
                    <a:pt x="145" y="53"/>
                  </a:lnTo>
                  <a:lnTo>
                    <a:pt x="143" y="46"/>
                  </a:lnTo>
                  <a:lnTo>
                    <a:pt x="135" y="33"/>
                  </a:lnTo>
                  <a:lnTo>
                    <a:pt x="127" y="22"/>
                  </a:lnTo>
                  <a:lnTo>
                    <a:pt x="116" y="14"/>
                  </a:lnTo>
                  <a:lnTo>
                    <a:pt x="102" y="7"/>
                  </a:lnTo>
                  <a:lnTo>
                    <a:pt x="96" y="4"/>
                  </a:lnTo>
                  <a:lnTo>
                    <a:pt x="89" y="2"/>
                  </a:lnTo>
                  <a:lnTo>
                    <a:pt x="82" y="0"/>
                  </a:lnTo>
                  <a:lnTo>
                    <a:pt x="74" y="0"/>
                  </a:lnTo>
                  <a:lnTo>
                    <a:pt x="74" y="0"/>
                  </a:lnTo>
                  <a:lnTo>
                    <a:pt x="67" y="0"/>
                  </a:lnTo>
                  <a:lnTo>
                    <a:pt x="60" y="2"/>
                  </a:lnTo>
                  <a:lnTo>
                    <a:pt x="52" y="4"/>
                  </a:lnTo>
                  <a:lnTo>
                    <a:pt x="45" y="7"/>
                  </a:lnTo>
                  <a:lnTo>
                    <a:pt x="33" y="14"/>
                  </a:lnTo>
                  <a:lnTo>
                    <a:pt x="22" y="22"/>
                  </a:lnTo>
                  <a:lnTo>
                    <a:pt x="12" y="33"/>
                  </a:lnTo>
                  <a:lnTo>
                    <a:pt x="6" y="46"/>
                  </a:lnTo>
                  <a:lnTo>
                    <a:pt x="4" y="53"/>
                  </a:lnTo>
                  <a:lnTo>
                    <a:pt x="1" y="60"/>
                  </a:lnTo>
                  <a:lnTo>
                    <a:pt x="0" y="67"/>
                  </a:lnTo>
                  <a:lnTo>
                    <a:pt x="0" y="75"/>
                  </a:lnTo>
                  <a:lnTo>
                    <a:pt x="0" y="75"/>
                  </a:lnTo>
                  <a:close/>
                </a:path>
              </a:pathLst>
            </a:custGeom>
            <a:solidFill>
              <a:srgbClr val="FF4F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3" name="Freeform 590"/>
            <p:cNvSpPr>
              <a:spLocks/>
            </p:cNvSpPr>
            <p:nvPr/>
          </p:nvSpPr>
          <p:spPr bwMode="auto">
            <a:xfrm>
              <a:off x="2059021" y="3324247"/>
              <a:ext cx="31750" cy="31750"/>
            </a:xfrm>
            <a:custGeom>
              <a:avLst/>
              <a:gdLst>
                <a:gd name="T0" fmla="*/ 0 w 102"/>
                <a:gd name="T1" fmla="*/ 51 h 102"/>
                <a:gd name="T2" fmla="*/ 0 w 102"/>
                <a:gd name="T3" fmla="*/ 51 h 102"/>
                <a:gd name="T4" fmla="*/ 1 w 102"/>
                <a:gd name="T5" fmla="*/ 61 h 102"/>
                <a:gd name="T6" fmla="*/ 5 w 102"/>
                <a:gd name="T7" fmla="*/ 71 h 102"/>
                <a:gd name="T8" fmla="*/ 9 w 102"/>
                <a:gd name="T9" fmla="*/ 79 h 102"/>
                <a:gd name="T10" fmla="*/ 16 w 102"/>
                <a:gd name="T11" fmla="*/ 87 h 102"/>
                <a:gd name="T12" fmla="*/ 23 w 102"/>
                <a:gd name="T13" fmla="*/ 94 h 102"/>
                <a:gd name="T14" fmla="*/ 32 w 102"/>
                <a:gd name="T15" fmla="*/ 97 h 102"/>
                <a:gd name="T16" fmla="*/ 41 w 102"/>
                <a:gd name="T17" fmla="*/ 101 h 102"/>
                <a:gd name="T18" fmla="*/ 51 w 102"/>
                <a:gd name="T19" fmla="*/ 102 h 102"/>
                <a:gd name="T20" fmla="*/ 51 w 102"/>
                <a:gd name="T21" fmla="*/ 102 h 102"/>
                <a:gd name="T22" fmla="*/ 62 w 102"/>
                <a:gd name="T23" fmla="*/ 101 h 102"/>
                <a:gd name="T24" fmla="*/ 72 w 102"/>
                <a:gd name="T25" fmla="*/ 97 h 102"/>
                <a:gd name="T26" fmla="*/ 80 w 102"/>
                <a:gd name="T27" fmla="*/ 94 h 102"/>
                <a:gd name="T28" fmla="*/ 88 w 102"/>
                <a:gd name="T29" fmla="*/ 87 h 102"/>
                <a:gd name="T30" fmla="*/ 94 w 102"/>
                <a:gd name="T31" fmla="*/ 79 h 102"/>
                <a:gd name="T32" fmla="*/ 99 w 102"/>
                <a:gd name="T33" fmla="*/ 71 h 102"/>
                <a:gd name="T34" fmla="*/ 101 w 102"/>
                <a:gd name="T35" fmla="*/ 61 h 102"/>
                <a:gd name="T36" fmla="*/ 102 w 102"/>
                <a:gd name="T37" fmla="*/ 51 h 102"/>
                <a:gd name="T38" fmla="*/ 102 w 102"/>
                <a:gd name="T39" fmla="*/ 51 h 102"/>
                <a:gd name="T40" fmla="*/ 101 w 102"/>
                <a:gd name="T41" fmla="*/ 40 h 102"/>
                <a:gd name="T42" fmla="*/ 99 w 102"/>
                <a:gd name="T43" fmla="*/ 30 h 102"/>
                <a:gd name="T44" fmla="*/ 94 w 102"/>
                <a:gd name="T45" fmla="*/ 22 h 102"/>
                <a:gd name="T46" fmla="*/ 88 w 102"/>
                <a:gd name="T47" fmla="*/ 15 h 102"/>
                <a:gd name="T48" fmla="*/ 80 w 102"/>
                <a:gd name="T49" fmla="*/ 8 h 102"/>
                <a:gd name="T50" fmla="*/ 72 w 102"/>
                <a:gd name="T51" fmla="*/ 4 h 102"/>
                <a:gd name="T52" fmla="*/ 62 w 102"/>
                <a:gd name="T53" fmla="*/ 1 h 102"/>
                <a:gd name="T54" fmla="*/ 51 w 102"/>
                <a:gd name="T55" fmla="*/ 0 h 102"/>
                <a:gd name="T56" fmla="*/ 51 w 102"/>
                <a:gd name="T57" fmla="*/ 0 h 102"/>
                <a:gd name="T58" fmla="*/ 41 w 102"/>
                <a:gd name="T59" fmla="*/ 1 h 102"/>
                <a:gd name="T60" fmla="*/ 32 w 102"/>
                <a:gd name="T61" fmla="*/ 4 h 102"/>
                <a:gd name="T62" fmla="*/ 23 w 102"/>
                <a:gd name="T63" fmla="*/ 8 h 102"/>
                <a:gd name="T64" fmla="*/ 16 w 102"/>
                <a:gd name="T65" fmla="*/ 15 h 102"/>
                <a:gd name="T66" fmla="*/ 9 w 102"/>
                <a:gd name="T67" fmla="*/ 22 h 102"/>
                <a:gd name="T68" fmla="*/ 5 w 102"/>
                <a:gd name="T69" fmla="*/ 30 h 102"/>
                <a:gd name="T70" fmla="*/ 1 w 102"/>
                <a:gd name="T71" fmla="*/ 40 h 102"/>
                <a:gd name="T72" fmla="*/ 0 w 102"/>
                <a:gd name="T73" fmla="*/ 51 h 102"/>
                <a:gd name="T74" fmla="*/ 0 w 102"/>
                <a:gd name="T75" fmla="*/ 5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2">
                  <a:moveTo>
                    <a:pt x="0" y="51"/>
                  </a:moveTo>
                  <a:lnTo>
                    <a:pt x="0" y="51"/>
                  </a:lnTo>
                  <a:lnTo>
                    <a:pt x="1" y="61"/>
                  </a:lnTo>
                  <a:lnTo>
                    <a:pt x="5" y="71"/>
                  </a:lnTo>
                  <a:lnTo>
                    <a:pt x="9" y="79"/>
                  </a:lnTo>
                  <a:lnTo>
                    <a:pt x="16" y="87"/>
                  </a:lnTo>
                  <a:lnTo>
                    <a:pt x="23" y="94"/>
                  </a:lnTo>
                  <a:lnTo>
                    <a:pt x="32" y="97"/>
                  </a:lnTo>
                  <a:lnTo>
                    <a:pt x="41" y="101"/>
                  </a:lnTo>
                  <a:lnTo>
                    <a:pt x="51" y="102"/>
                  </a:lnTo>
                  <a:lnTo>
                    <a:pt x="51" y="102"/>
                  </a:lnTo>
                  <a:lnTo>
                    <a:pt x="62" y="101"/>
                  </a:lnTo>
                  <a:lnTo>
                    <a:pt x="72" y="97"/>
                  </a:lnTo>
                  <a:lnTo>
                    <a:pt x="80" y="94"/>
                  </a:lnTo>
                  <a:lnTo>
                    <a:pt x="88" y="87"/>
                  </a:lnTo>
                  <a:lnTo>
                    <a:pt x="94" y="79"/>
                  </a:lnTo>
                  <a:lnTo>
                    <a:pt x="99" y="71"/>
                  </a:lnTo>
                  <a:lnTo>
                    <a:pt x="101" y="61"/>
                  </a:lnTo>
                  <a:lnTo>
                    <a:pt x="102" y="51"/>
                  </a:lnTo>
                  <a:lnTo>
                    <a:pt x="102" y="51"/>
                  </a:lnTo>
                  <a:lnTo>
                    <a:pt x="101" y="40"/>
                  </a:lnTo>
                  <a:lnTo>
                    <a:pt x="99" y="30"/>
                  </a:lnTo>
                  <a:lnTo>
                    <a:pt x="94" y="22"/>
                  </a:lnTo>
                  <a:lnTo>
                    <a:pt x="88" y="15"/>
                  </a:lnTo>
                  <a:lnTo>
                    <a:pt x="80" y="8"/>
                  </a:lnTo>
                  <a:lnTo>
                    <a:pt x="72" y="4"/>
                  </a:lnTo>
                  <a:lnTo>
                    <a:pt x="62" y="1"/>
                  </a:lnTo>
                  <a:lnTo>
                    <a:pt x="51" y="0"/>
                  </a:lnTo>
                  <a:lnTo>
                    <a:pt x="51" y="0"/>
                  </a:lnTo>
                  <a:lnTo>
                    <a:pt x="41" y="1"/>
                  </a:lnTo>
                  <a:lnTo>
                    <a:pt x="32" y="4"/>
                  </a:lnTo>
                  <a:lnTo>
                    <a:pt x="23" y="8"/>
                  </a:lnTo>
                  <a:lnTo>
                    <a:pt x="16" y="15"/>
                  </a:lnTo>
                  <a:lnTo>
                    <a:pt x="9" y="22"/>
                  </a:lnTo>
                  <a:lnTo>
                    <a:pt x="5" y="30"/>
                  </a:lnTo>
                  <a:lnTo>
                    <a:pt x="1" y="40"/>
                  </a:lnTo>
                  <a:lnTo>
                    <a:pt x="0" y="51"/>
                  </a:lnTo>
                  <a:lnTo>
                    <a:pt x="0" y="51"/>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4" name="Freeform 591"/>
            <p:cNvSpPr>
              <a:spLocks/>
            </p:cNvSpPr>
            <p:nvPr/>
          </p:nvSpPr>
          <p:spPr bwMode="auto">
            <a:xfrm>
              <a:off x="2073308" y="3454423"/>
              <a:ext cx="20638" cy="20638"/>
            </a:xfrm>
            <a:custGeom>
              <a:avLst/>
              <a:gdLst>
                <a:gd name="T0" fmla="*/ 0 w 67"/>
                <a:gd name="T1" fmla="*/ 34 h 68"/>
                <a:gd name="T2" fmla="*/ 0 w 67"/>
                <a:gd name="T3" fmla="*/ 34 h 68"/>
                <a:gd name="T4" fmla="*/ 0 w 67"/>
                <a:gd name="T5" fmla="*/ 41 h 68"/>
                <a:gd name="T6" fmla="*/ 2 w 67"/>
                <a:gd name="T7" fmla="*/ 47 h 68"/>
                <a:gd name="T8" fmla="*/ 5 w 67"/>
                <a:gd name="T9" fmla="*/ 53 h 68"/>
                <a:gd name="T10" fmla="*/ 10 w 67"/>
                <a:gd name="T11" fmla="*/ 58 h 68"/>
                <a:gd name="T12" fmla="*/ 15 w 67"/>
                <a:gd name="T13" fmla="*/ 63 h 68"/>
                <a:gd name="T14" fmla="*/ 21 w 67"/>
                <a:gd name="T15" fmla="*/ 65 h 68"/>
                <a:gd name="T16" fmla="*/ 27 w 67"/>
                <a:gd name="T17" fmla="*/ 68 h 68"/>
                <a:gd name="T18" fmla="*/ 33 w 67"/>
                <a:gd name="T19" fmla="*/ 68 h 68"/>
                <a:gd name="T20" fmla="*/ 33 w 67"/>
                <a:gd name="T21" fmla="*/ 68 h 68"/>
                <a:gd name="T22" fmla="*/ 40 w 67"/>
                <a:gd name="T23" fmla="*/ 68 h 68"/>
                <a:gd name="T24" fmla="*/ 46 w 67"/>
                <a:gd name="T25" fmla="*/ 65 h 68"/>
                <a:gd name="T26" fmla="*/ 52 w 67"/>
                <a:gd name="T27" fmla="*/ 63 h 68"/>
                <a:gd name="T28" fmla="*/ 57 w 67"/>
                <a:gd name="T29" fmla="*/ 58 h 68"/>
                <a:gd name="T30" fmla="*/ 62 w 67"/>
                <a:gd name="T31" fmla="*/ 53 h 68"/>
                <a:gd name="T32" fmla="*/ 65 w 67"/>
                <a:gd name="T33" fmla="*/ 47 h 68"/>
                <a:gd name="T34" fmla="*/ 67 w 67"/>
                <a:gd name="T35" fmla="*/ 41 h 68"/>
                <a:gd name="T36" fmla="*/ 67 w 67"/>
                <a:gd name="T37" fmla="*/ 34 h 68"/>
                <a:gd name="T38" fmla="*/ 67 w 67"/>
                <a:gd name="T39" fmla="*/ 34 h 68"/>
                <a:gd name="T40" fmla="*/ 67 w 67"/>
                <a:gd name="T41" fmla="*/ 28 h 68"/>
                <a:gd name="T42" fmla="*/ 65 w 67"/>
                <a:gd name="T43" fmla="*/ 22 h 68"/>
                <a:gd name="T44" fmla="*/ 62 w 67"/>
                <a:gd name="T45" fmla="*/ 15 h 68"/>
                <a:gd name="T46" fmla="*/ 57 w 67"/>
                <a:gd name="T47" fmla="*/ 11 h 68"/>
                <a:gd name="T48" fmla="*/ 52 w 67"/>
                <a:gd name="T49" fmla="*/ 6 h 68"/>
                <a:gd name="T50" fmla="*/ 46 w 67"/>
                <a:gd name="T51" fmla="*/ 3 h 68"/>
                <a:gd name="T52" fmla="*/ 40 w 67"/>
                <a:gd name="T53" fmla="*/ 1 h 68"/>
                <a:gd name="T54" fmla="*/ 33 w 67"/>
                <a:gd name="T55" fmla="*/ 0 h 68"/>
                <a:gd name="T56" fmla="*/ 33 w 67"/>
                <a:gd name="T57" fmla="*/ 0 h 68"/>
                <a:gd name="T58" fmla="*/ 27 w 67"/>
                <a:gd name="T59" fmla="*/ 1 h 68"/>
                <a:gd name="T60" fmla="*/ 21 w 67"/>
                <a:gd name="T61" fmla="*/ 3 h 68"/>
                <a:gd name="T62" fmla="*/ 15 w 67"/>
                <a:gd name="T63" fmla="*/ 6 h 68"/>
                <a:gd name="T64" fmla="*/ 10 w 67"/>
                <a:gd name="T65" fmla="*/ 11 h 68"/>
                <a:gd name="T66" fmla="*/ 5 w 67"/>
                <a:gd name="T67" fmla="*/ 15 h 68"/>
                <a:gd name="T68" fmla="*/ 2 w 67"/>
                <a:gd name="T69" fmla="*/ 22 h 68"/>
                <a:gd name="T70" fmla="*/ 0 w 67"/>
                <a:gd name="T71" fmla="*/ 28 h 68"/>
                <a:gd name="T72" fmla="*/ 0 w 67"/>
                <a:gd name="T73" fmla="*/ 34 h 68"/>
                <a:gd name="T74" fmla="*/ 0 w 67"/>
                <a:gd name="T7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68">
                  <a:moveTo>
                    <a:pt x="0" y="34"/>
                  </a:moveTo>
                  <a:lnTo>
                    <a:pt x="0" y="34"/>
                  </a:lnTo>
                  <a:lnTo>
                    <a:pt x="0" y="41"/>
                  </a:lnTo>
                  <a:lnTo>
                    <a:pt x="2" y="47"/>
                  </a:lnTo>
                  <a:lnTo>
                    <a:pt x="5" y="53"/>
                  </a:lnTo>
                  <a:lnTo>
                    <a:pt x="10" y="58"/>
                  </a:lnTo>
                  <a:lnTo>
                    <a:pt x="15" y="63"/>
                  </a:lnTo>
                  <a:lnTo>
                    <a:pt x="21" y="65"/>
                  </a:lnTo>
                  <a:lnTo>
                    <a:pt x="27" y="68"/>
                  </a:lnTo>
                  <a:lnTo>
                    <a:pt x="33" y="68"/>
                  </a:lnTo>
                  <a:lnTo>
                    <a:pt x="33" y="68"/>
                  </a:lnTo>
                  <a:lnTo>
                    <a:pt x="40" y="68"/>
                  </a:lnTo>
                  <a:lnTo>
                    <a:pt x="46" y="65"/>
                  </a:lnTo>
                  <a:lnTo>
                    <a:pt x="52" y="63"/>
                  </a:lnTo>
                  <a:lnTo>
                    <a:pt x="57" y="58"/>
                  </a:lnTo>
                  <a:lnTo>
                    <a:pt x="62" y="53"/>
                  </a:lnTo>
                  <a:lnTo>
                    <a:pt x="65" y="47"/>
                  </a:lnTo>
                  <a:lnTo>
                    <a:pt x="67" y="41"/>
                  </a:lnTo>
                  <a:lnTo>
                    <a:pt x="67" y="34"/>
                  </a:lnTo>
                  <a:lnTo>
                    <a:pt x="67" y="34"/>
                  </a:lnTo>
                  <a:lnTo>
                    <a:pt x="67" y="28"/>
                  </a:lnTo>
                  <a:lnTo>
                    <a:pt x="65" y="22"/>
                  </a:lnTo>
                  <a:lnTo>
                    <a:pt x="62" y="15"/>
                  </a:lnTo>
                  <a:lnTo>
                    <a:pt x="57" y="11"/>
                  </a:lnTo>
                  <a:lnTo>
                    <a:pt x="52" y="6"/>
                  </a:lnTo>
                  <a:lnTo>
                    <a:pt x="46" y="3"/>
                  </a:lnTo>
                  <a:lnTo>
                    <a:pt x="40" y="1"/>
                  </a:lnTo>
                  <a:lnTo>
                    <a:pt x="33" y="0"/>
                  </a:lnTo>
                  <a:lnTo>
                    <a:pt x="33" y="0"/>
                  </a:lnTo>
                  <a:lnTo>
                    <a:pt x="27" y="1"/>
                  </a:lnTo>
                  <a:lnTo>
                    <a:pt x="21" y="3"/>
                  </a:lnTo>
                  <a:lnTo>
                    <a:pt x="15" y="6"/>
                  </a:lnTo>
                  <a:lnTo>
                    <a:pt x="10" y="11"/>
                  </a:lnTo>
                  <a:lnTo>
                    <a:pt x="5" y="15"/>
                  </a:lnTo>
                  <a:lnTo>
                    <a:pt x="2" y="22"/>
                  </a:lnTo>
                  <a:lnTo>
                    <a:pt x="0" y="28"/>
                  </a:lnTo>
                  <a:lnTo>
                    <a:pt x="0" y="34"/>
                  </a:lnTo>
                  <a:lnTo>
                    <a:pt x="0" y="34"/>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5" name="Freeform 592"/>
            <p:cNvSpPr>
              <a:spLocks/>
            </p:cNvSpPr>
            <p:nvPr/>
          </p:nvSpPr>
          <p:spPr bwMode="auto">
            <a:xfrm>
              <a:off x="2001870" y="3340122"/>
              <a:ext cx="20638" cy="20638"/>
            </a:xfrm>
            <a:custGeom>
              <a:avLst/>
              <a:gdLst>
                <a:gd name="T0" fmla="*/ 0 w 68"/>
                <a:gd name="T1" fmla="*/ 34 h 68"/>
                <a:gd name="T2" fmla="*/ 0 w 68"/>
                <a:gd name="T3" fmla="*/ 34 h 68"/>
                <a:gd name="T4" fmla="*/ 1 w 68"/>
                <a:gd name="T5" fmla="*/ 40 h 68"/>
                <a:gd name="T6" fmla="*/ 2 w 68"/>
                <a:gd name="T7" fmla="*/ 46 h 68"/>
                <a:gd name="T8" fmla="*/ 6 w 68"/>
                <a:gd name="T9" fmla="*/ 53 h 68"/>
                <a:gd name="T10" fmla="*/ 9 w 68"/>
                <a:gd name="T11" fmla="*/ 57 h 68"/>
                <a:gd name="T12" fmla="*/ 15 w 68"/>
                <a:gd name="T13" fmla="*/ 62 h 68"/>
                <a:gd name="T14" fmla="*/ 20 w 68"/>
                <a:gd name="T15" fmla="*/ 65 h 68"/>
                <a:gd name="T16" fmla="*/ 28 w 68"/>
                <a:gd name="T17" fmla="*/ 67 h 68"/>
                <a:gd name="T18" fmla="*/ 34 w 68"/>
                <a:gd name="T19" fmla="*/ 68 h 68"/>
                <a:gd name="T20" fmla="*/ 34 w 68"/>
                <a:gd name="T21" fmla="*/ 68 h 68"/>
                <a:gd name="T22" fmla="*/ 41 w 68"/>
                <a:gd name="T23" fmla="*/ 67 h 68"/>
                <a:gd name="T24" fmla="*/ 47 w 68"/>
                <a:gd name="T25" fmla="*/ 65 h 68"/>
                <a:gd name="T26" fmla="*/ 53 w 68"/>
                <a:gd name="T27" fmla="*/ 62 h 68"/>
                <a:gd name="T28" fmla="*/ 58 w 68"/>
                <a:gd name="T29" fmla="*/ 57 h 68"/>
                <a:gd name="T30" fmla="*/ 62 w 68"/>
                <a:gd name="T31" fmla="*/ 53 h 68"/>
                <a:gd name="T32" fmla="*/ 65 w 68"/>
                <a:gd name="T33" fmla="*/ 46 h 68"/>
                <a:gd name="T34" fmla="*/ 67 w 68"/>
                <a:gd name="T35" fmla="*/ 40 h 68"/>
                <a:gd name="T36" fmla="*/ 68 w 68"/>
                <a:gd name="T37" fmla="*/ 34 h 68"/>
                <a:gd name="T38" fmla="*/ 68 w 68"/>
                <a:gd name="T39" fmla="*/ 34 h 68"/>
                <a:gd name="T40" fmla="*/ 67 w 68"/>
                <a:gd name="T41" fmla="*/ 27 h 68"/>
                <a:gd name="T42" fmla="*/ 65 w 68"/>
                <a:gd name="T43" fmla="*/ 21 h 68"/>
                <a:gd name="T44" fmla="*/ 62 w 68"/>
                <a:gd name="T45" fmla="*/ 15 h 68"/>
                <a:gd name="T46" fmla="*/ 58 w 68"/>
                <a:gd name="T47" fmla="*/ 10 h 68"/>
                <a:gd name="T48" fmla="*/ 53 w 68"/>
                <a:gd name="T49" fmla="*/ 5 h 68"/>
                <a:gd name="T50" fmla="*/ 47 w 68"/>
                <a:gd name="T51" fmla="*/ 3 h 68"/>
                <a:gd name="T52" fmla="*/ 41 w 68"/>
                <a:gd name="T53" fmla="*/ 0 h 68"/>
                <a:gd name="T54" fmla="*/ 34 w 68"/>
                <a:gd name="T55" fmla="*/ 0 h 68"/>
                <a:gd name="T56" fmla="*/ 34 w 68"/>
                <a:gd name="T57" fmla="*/ 0 h 68"/>
                <a:gd name="T58" fmla="*/ 28 w 68"/>
                <a:gd name="T59" fmla="*/ 0 h 68"/>
                <a:gd name="T60" fmla="*/ 20 w 68"/>
                <a:gd name="T61" fmla="*/ 3 h 68"/>
                <a:gd name="T62" fmla="*/ 15 w 68"/>
                <a:gd name="T63" fmla="*/ 5 h 68"/>
                <a:gd name="T64" fmla="*/ 9 w 68"/>
                <a:gd name="T65" fmla="*/ 10 h 68"/>
                <a:gd name="T66" fmla="*/ 6 w 68"/>
                <a:gd name="T67" fmla="*/ 15 h 68"/>
                <a:gd name="T68" fmla="*/ 2 w 68"/>
                <a:gd name="T69" fmla="*/ 21 h 68"/>
                <a:gd name="T70" fmla="*/ 1 w 68"/>
                <a:gd name="T71" fmla="*/ 27 h 68"/>
                <a:gd name="T72" fmla="*/ 0 w 68"/>
                <a:gd name="T73" fmla="*/ 34 h 68"/>
                <a:gd name="T74" fmla="*/ 0 w 68"/>
                <a:gd name="T7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8" h="68">
                  <a:moveTo>
                    <a:pt x="0" y="34"/>
                  </a:moveTo>
                  <a:lnTo>
                    <a:pt x="0" y="34"/>
                  </a:lnTo>
                  <a:lnTo>
                    <a:pt x="1" y="40"/>
                  </a:lnTo>
                  <a:lnTo>
                    <a:pt x="2" y="46"/>
                  </a:lnTo>
                  <a:lnTo>
                    <a:pt x="6" y="53"/>
                  </a:lnTo>
                  <a:lnTo>
                    <a:pt x="9" y="57"/>
                  </a:lnTo>
                  <a:lnTo>
                    <a:pt x="15" y="62"/>
                  </a:lnTo>
                  <a:lnTo>
                    <a:pt x="20" y="65"/>
                  </a:lnTo>
                  <a:lnTo>
                    <a:pt x="28" y="67"/>
                  </a:lnTo>
                  <a:lnTo>
                    <a:pt x="34" y="68"/>
                  </a:lnTo>
                  <a:lnTo>
                    <a:pt x="34" y="68"/>
                  </a:lnTo>
                  <a:lnTo>
                    <a:pt x="41" y="67"/>
                  </a:lnTo>
                  <a:lnTo>
                    <a:pt x="47" y="65"/>
                  </a:lnTo>
                  <a:lnTo>
                    <a:pt x="53" y="62"/>
                  </a:lnTo>
                  <a:lnTo>
                    <a:pt x="58" y="57"/>
                  </a:lnTo>
                  <a:lnTo>
                    <a:pt x="62" y="53"/>
                  </a:lnTo>
                  <a:lnTo>
                    <a:pt x="65" y="46"/>
                  </a:lnTo>
                  <a:lnTo>
                    <a:pt x="67" y="40"/>
                  </a:lnTo>
                  <a:lnTo>
                    <a:pt x="68" y="34"/>
                  </a:lnTo>
                  <a:lnTo>
                    <a:pt x="68" y="34"/>
                  </a:lnTo>
                  <a:lnTo>
                    <a:pt x="67" y="27"/>
                  </a:lnTo>
                  <a:lnTo>
                    <a:pt x="65" y="21"/>
                  </a:lnTo>
                  <a:lnTo>
                    <a:pt x="62" y="15"/>
                  </a:lnTo>
                  <a:lnTo>
                    <a:pt x="58" y="10"/>
                  </a:lnTo>
                  <a:lnTo>
                    <a:pt x="53" y="5"/>
                  </a:lnTo>
                  <a:lnTo>
                    <a:pt x="47" y="3"/>
                  </a:lnTo>
                  <a:lnTo>
                    <a:pt x="41" y="0"/>
                  </a:lnTo>
                  <a:lnTo>
                    <a:pt x="34" y="0"/>
                  </a:lnTo>
                  <a:lnTo>
                    <a:pt x="34" y="0"/>
                  </a:lnTo>
                  <a:lnTo>
                    <a:pt x="28" y="0"/>
                  </a:lnTo>
                  <a:lnTo>
                    <a:pt x="20" y="3"/>
                  </a:lnTo>
                  <a:lnTo>
                    <a:pt x="15" y="5"/>
                  </a:lnTo>
                  <a:lnTo>
                    <a:pt x="9" y="10"/>
                  </a:lnTo>
                  <a:lnTo>
                    <a:pt x="6" y="15"/>
                  </a:lnTo>
                  <a:lnTo>
                    <a:pt x="2" y="21"/>
                  </a:lnTo>
                  <a:lnTo>
                    <a:pt x="1" y="27"/>
                  </a:lnTo>
                  <a:lnTo>
                    <a:pt x="0" y="34"/>
                  </a:lnTo>
                  <a:lnTo>
                    <a:pt x="0" y="34"/>
                  </a:lnTo>
                  <a:close/>
                </a:path>
              </a:pathLst>
            </a:custGeom>
            <a:solidFill>
              <a:srgbClr val="FF4F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6" name="Freeform 593"/>
            <p:cNvSpPr>
              <a:spLocks/>
            </p:cNvSpPr>
            <p:nvPr/>
          </p:nvSpPr>
          <p:spPr bwMode="auto">
            <a:xfrm>
              <a:off x="2130459" y="3459186"/>
              <a:ext cx="17463" cy="15875"/>
            </a:xfrm>
            <a:custGeom>
              <a:avLst/>
              <a:gdLst>
                <a:gd name="T0" fmla="*/ 0 w 52"/>
                <a:gd name="T1" fmla="*/ 25 h 51"/>
                <a:gd name="T2" fmla="*/ 0 w 52"/>
                <a:gd name="T3" fmla="*/ 25 h 51"/>
                <a:gd name="T4" fmla="*/ 1 w 52"/>
                <a:gd name="T5" fmla="*/ 30 h 51"/>
                <a:gd name="T6" fmla="*/ 2 w 52"/>
                <a:gd name="T7" fmla="*/ 35 h 51"/>
                <a:gd name="T8" fmla="*/ 5 w 52"/>
                <a:gd name="T9" fmla="*/ 40 h 51"/>
                <a:gd name="T10" fmla="*/ 7 w 52"/>
                <a:gd name="T11" fmla="*/ 44 h 51"/>
                <a:gd name="T12" fmla="*/ 12 w 52"/>
                <a:gd name="T13" fmla="*/ 47 h 51"/>
                <a:gd name="T14" fmla="*/ 16 w 52"/>
                <a:gd name="T15" fmla="*/ 50 h 51"/>
                <a:gd name="T16" fmla="*/ 21 w 52"/>
                <a:gd name="T17" fmla="*/ 51 h 51"/>
                <a:gd name="T18" fmla="*/ 26 w 52"/>
                <a:gd name="T19" fmla="*/ 51 h 51"/>
                <a:gd name="T20" fmla="*/ 26 w 52"/>
                <a:gd name="T21" fmla="*/ 51 h 51"/>
                <a:gd name="T22" fmla="*/ 32 w 52"/>
                <a:gd name="T23" fmla="*/ 51 h 51"/>
                <a:gd name="T24" fmla="*/ 37 w 52"/>
                <a:gd name="T25" fmla="*/ 50 h 51"/>
                <a:gd name="T26" fmla="*/ 40 w 52"/>
                <a:gd name="T27" fmla="*/ 47 h 51"/>
                <a:gd name="T28" fmla="*/ 45 w 52"/>
                <a:gd name="T29" fmla="*/ 44 h 51"/>
                <a:gd name="T30" fmla="*/ 48 w 52"/>
                <a:gd name="T31" fmla="*/ 40 h 51"/>
                <a:gd name="T32" fmla="*/ 50 w 52"/>
                <a:gd name="T33" fmla="*/ 35 h 51"/>
                <a:gd name="T34" fmla="*/ 51 w 52"/>
                <a:gd name="T35" fmla="*/ 30 h 51"/>
                <a:gd name="T36" fmla="*/ 52 w 52"/>
                <a:gd name="T37" fmla="*/ 25 h 51"/>
                <a:gd name="T38" fmla="*/ 52 w 52"/>
                <a:gd name="T39" fmla="*/ 25 h 51"/>
                <a:gd name="T40" fmla="*/ 51 w 52"/>
                <a:gd name="T41" fmla="*/ 20 h 51"/>
                <a:gd name="T42" fmla="*/ 50 w 52"/>
                <a:gd name="T43" fmla="*/ 15 h 51"/>
                <a:gd name="T44" fmla="*/ 48 w 52"/>
                <a:gd name="T45" fmla="*/ 11 h 51"/>
                <a:gd name="T46" fmla="*/ 45 w 52"/>
                <a:gd name="T47" fmla="*/ 7 h 51"/>
                <a:gd name="T48" fmla="*/ 40 w 52"/>
                <a:gd name="T49" fmla="*/ 3 h 51"/>
                <a:gd name="T50" fmla="*/ 37 w 52"/>
                <a:gd name="T51" fmla="*/ 1 h 51"/>
                <a:gd name="T52" fmla="*/ 32 w 52"/>
                <a:gd name="T53" fmla="*/ 0 h 51"/>
                <a:gd name="T54" fmla="*/ 26 w 52"/>
                <a:gd name="T55" fmla="*/ 0 h 51"/>
                <a:gd name="T56" fmla="*/ 26 w 52"/>
                <a:gd name="T57" fmla="*/ 0 h 51"/>
                <a:gd name="T58" fmla="*/ 21 w 52"/>
                <a:gd name="T59" fmla="*/ 0 h 51"/>
                <a:gd name="T60" fmla="*/ 16 w 52"/>
                <a:gd name="T61" fmla="*/ 1 h 51"/>
                <a:gd name="T62" fmla="*/ 12 w 52"/>
                <a:gd name="T63" fmla="*/ 3 h 51"/>
                <a:gd name="T64" fmla="*/ 7 w 52"/>
                <a:gd name="T65" fmla="*/ 7 h 51"/>
                <a:gd name="T66" fmla="*/ 5 w 52"/>
                <a:gd name="T67" fmla="*/ 11 h 51"/>
                <a:gd name="T68" fmla="*/ 2 w 52"/>
                <a:gd name="T69" fmla="*/ 15 h 51"/>
                <a:gd name="T70" fmla="*/ 1 w 52"/>
                <a:gd name="T71" fmla="*/ 20 h 51"/>
                <a:gd name="T72" fmla="*/ 0 w 52"/>
                <a:gd name="T73" fmla="*/ 25 h 51"/>
                <a:gd name="T74" fmla="*/ 0 w 52"/>
                <a:gd name="T75"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51">
                  <a:moveTo>
                    <a:pt x="0" y="25"/>
                  </a:moveTo>
                  <a:lnTo>
                    <a:pt x="0" y="25"/>
                  </a:lnTo>
                  <a:lnTo>
                    <a:pt x="1" y="30"/>
                  </a:lnTo>
                  <a:lnTo>
                    <a:pt x="2" y="35"/>
                  </a:lnTo>
                  <a:lnTo>
                    <a:pt x="5" y="40"/>
                  </a:lnTo>
                  <a:lnTo>
                    <a:pt x="7" y="44"/>
                  </a:lnTo>
                  <a:lnTo>
                    <a:pt x="12" y="47"/>
                  </a:lnTo>
                  <a:lnTo>
                    <a:pt x="16" y="50"/>
                  </a:lnTo>
                  <a:lnTo>
                    <a:pt x="21" y="51"/>
                  </a:lnTo>
                  <a:lnTo>
                    <a:pt x="26" y="51"/>
                  </a:lnTo>
                  <a:lnTo>
                    <a:pt x="26" y="51"/>
                  </a:lnTo>
                  <a:lnTo>
                    <a:pt x="32" y="51"/>
                  </a:lnTo>
                  <a:lnTo>
                    <a:pt x="37" y="50"/>
                  </a:lnTo>
                  <a:lnTo>
                    <a:pt x="40" y="47"/>
                  </a:lnTo>
                  <a:lnTo>
                    <a:pt x="45" y="44"/>
                  </a:lnTo>
                  <a:lnTo>
                    <a:pt x="48" y="40"/>
                  </a:lnTo>
                  <a:lnTo>
                    <a:pt x="50" y="35"/>
                  </a:lnTo>
                  <a:lnTo>
                    <a:pt x="51" y="30"/>
                  </a:lnTo>
                  <a:lnTo>
                    <a:pt x="52" y="25"/>
                  </a:lnTo>
                  <a:lnTo>
                    <a:pt x="52" y="25"/>
                  </a:lnTo>
                  <a:lnTo>
                    <a:pt x="51" y="20"/>
                  </a:lnTo>
                  <a:lnTo>
                    <a:pt x="50" y="15"/>
                  </a:lnTo>
                  <a:lnTo>
                    <a:pt x="48" y="11"/>
                  </a:lnTo>
                  <a:lnTo>
                    <a:pt x="45" y="7"/>
                  </a:lnTo>
                  <a:lnTo>
                    <a:pt x="40" y="3"/>
                  </a:lnTo>
                  <a:lnTo>
                    <a:pt x="37" y="1"/>
                  </a:lnTo>
                  <a:lnTo>
                    <a:pt x="32" y="0"/>
                  </a:lnTo>
                  <a:lnTo>
                    <a:pt x="26" y="0"/>
                  </a:lnTo>
                  <a:lnTo>
                    <a:pt x="26" y="0"/>
                  </a:lnTo>
                  <a:lnTo>
                    <a:pt x="21" y="0"/>
                  </a:lnTo>
                  <a:lnTo>
                    <a:pt x="16" y="1"/>
                  </a:lnTo>
                  <a:lnTo>
                    <a:pt x="12" y="3"/>
                  </a:lnTo>
                  <a:lnTo>
                    <a:pt x="7" y="7"/>
                  </a:lnTo>
                  <a:lnTo>
                    <a:pt x="5" y="11"/>
                  </a:lnTo>
                  <a:lnTo>
                    <a:pt x="2" y="15"/>
                  </a:lnTo>
                  <a:lnTo>
                    <a:pt x="1" y="20"/>
                  </a:lnTo>
                  <a:lnTo>
                    <a:pt x="0" y="25"/>
                  </a:lnTo>
                  <a:lnTo>
                    <a:pt x="0" y="25"/>
                  </a:lnTo>
                  <a:close/>
                </a:path>
              </a:pathLst>
            </a:custGeom>
            <a:solidFill>
              <a:srgbClr val="FF4F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7" name="Freeform 594"/>
            <p:cNvSpPr>
              <a:spLocks/>
            </p:cNvSpPr>
            <p:nvPr/>
          </p:nvSpPr>
          <p:spPr bwMode="auto">
            <a:xfrm>
              <a:off x="1897095" y="3168671"/>
              <a:ext cx="87313" cy="100013"/>
            </a:xfrm>
            <a:custGeom>
              <a:avLst/>
              <a:gdLst>
                <a:gd name="T0" fmla="*/ 5 w 272"/>
                <a:gd name="T1" fmla="*/ 2 h 317"/>
                <a:gd name="T2" fmla="*/ 5 w 272"/>
                <a:gd name="T3" fmla="*/ 2 h 317"/>
                <a:gd name="T4" fmla="*/ 2 w 272"/>
                <a:gd name="T5" fmla="*/ 7 h 317"/>
                <a:gd name="T6" fmla="*/ 0 w 272"/>
                <a:gd name="T7" fmla="*/ 12 h 317"/>
                <a:gd name="T8" fmla="*/ 1 w 272"/>
                <a:gd name="T9" fmla="*/ 17 h 317"/>
                <a:gd name="T10" fmla="*/ 4 w 272"/>
                <a:gd name="T11" fmla="*/ 22 h 317"/>
                <a:gd name="T12" fmla="*/ 247 w 272"/>
                <a:gd name="T13" fmla="*/ 312 h 317"/>
                <a:gd name="T14" fmla="*/ 247 w 272"/>
                <a:gd name="T15" fmla="*/ 312 h 317"/>
                <a:gd name="T16" fmla="*/ 252 w 272"/>
                <a:gd name="T17" fmla="*/ 316 h 317"/>
                <a:gd name="T18" fmla="*/ 257 w 272"/>
                <a:gd name="T19" fmla="*/ 317 h 317"/>
                <a:gd name="T20" fmla="*/ 262 w 272"/>
                <a:gd name="T21" fmla="*/ 317 h 317"/>
                <a:gd name="T22" fmla="*/ 267 w 272"/>
                <a:gd name="T23" fmla="*/ 314 h 317"/>
                <a:gd name="T24" fmla="*/ 267 w 272"/>
                <a:gd name="T25" fmla="*/ 314 h 317"/>
                <a:gd name="T26" fmla="*/ 270 w 272"/>
                <a:gd name="T27" fmla="*/ 310 h 317"/>
                <a:gd name="T28" fmla="*/ 272 w 272"/>
                <a:gd name="T29" fmla="*/ 305 h 317"/>
                <a:gd name="T30" fmla="*/ 272 w 272"/>
                <a:gd name="T31" fmla="*/ 300 h 317"/>
                <a:gd name="T32" fmla="*/ 268 w 272"/>
                <a:gd name="T33" fmla="*/ 295 h 317"/>
                <a:gd name="T34" fmla="*/ 24 w 272"/>
                <a:gd name="T35" fmla="*/ 5 h 317"/>
                <a:gd name="T36" fmla="*/ 24 w 272"/>
                <a:gd name="T37" fmla="*/ 5 h 317"/>
                <a:gd name="T38" fmla="*/ 21 w 272"/>
                <a:gd name="T39" fmla="*/ 1 h 317"/>
                <a:gd name="T40" fmla="*/ 16 w 272"/>
                <a:gd name="T41" fmla="*/ 0 h 317"/>
                <a:gd name="T42" fmla="*/ 10 w 272"/>
                <a:gd name="T43" fmla="*/ 0 h 317"/>
                <a:gd name="T44" fmla="*/ 5 w 272"/>
                <a:gd name="T45" fmla="*/ 2 h 317"/>
                <a:gd name="T46" fmla="*/ 5 w 272"/>
                <a:gd name="T47" fmla="*/ 2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2" h="317">
                  <a:moveTo>
                    <a:pt x="5" y="2"/>
                  </a:moveTo>
                  <a:lnTo>
                    <a:pt x="5" y="2"/>
                  </a:lnTo>
                  <a:lnTo>
                    <a:pt x="2" y="7"/>
                  </a:lnTo>
                  <a:lnTo>
                    <a:pt x="0" y="12"/>
                  </a:lnTo>
                  <a:lnTo>
                    <a:pt x="1" y="17"/>
                  </a:lnTo>
                  <a:lnTo>
                    <a:pt x="4" y="22"/>
                  </a:lnTo>
                  <a:lnTo>
                    <a:pt x="247" y="312"/>
                  </a:lnTo>
                  <a:lnTo>
                    <a:pt x="247" y="312"/>
                  </a:lnTo>
                  <a:lnTo>
                    <a:pt x="252" y="316"/>
                  </a:lnTo>
                  <a:lnTo>
                    <a:pt x="257" y="317"/>
                  </a:lnTo>
                  <a:lnTo>
                    <a:pt x="262" y="317"/>
                  </a:lnTo>
                  <a:lnTo>
                    <a:pt x="267" y="314"/>
                  </a:lnTo>
                  <a:lnTo>
                    <a:pt x="267" y="314"/>
                  </a:lnTo>
                  <a:lnTo>
                    <a:pt x="270" y="310"/>
                  </a:lnTo>
                  <a:lnTo>
                    <a:pt x="272" y="305"/>
                  </a:lnTo>
                  <a:lnTo>
                    <a:pt x="272" y="300"/>
                  </a:lnTo>
                  <a:lnTo>
                    <a:pt x="268" y="295"/>
                  </a:lnTo>
                  <a:lnTo>
                    <a:pt x="24" y="5"/>
                  </a:lnTo>
                  <a:lnTo>
                    <a:pt x="24" y="5"/>
                  </a:lnTo>
                  <a:lnTo>
                    <a:pt x="21" y="1"/>
                  </a:lnTo>
                  <a:lnTo>
                    <a:pt x="16" y="0"/>
                  </a:lnTo>
                  <a:lnTo>
                    <a:pt x="10" y="0"/>
                  </a:lnTo>
                  <a:lnTo>
                    <a:pt x="5" y="2"/>
                  </a:lnTo>
                  <a:lnTo>
                    <a:pt x="5" y="2"/>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8" name="Freeform 595"/>
            <p:cNvSpPr>
              <a:spLocks/>
            </p:cNvSpPr>
            <p:nvPr/>
          </p:nvSpPr>
          <p:spPr bwMode="auto">
            <a:xfrm>
              <a:off x="1905032" y="3246459"/>
              <a:ext cx="41275" cy="47625"/>
            </a:xfrm>
            <a:custGeom>
              <a:avLst/>
              <a:gdLst>
                <a:gd name="T0" fmla="*/ 5 w 131"/>
                <a:gd name="T1" fmla="*/ 3 h 150"/>
                <a:gd name="T2" fmla="*/ 5 w 131"/>
                <a:gd name="T3" fmla="*/ 3 h 150"/>
                <a:gd name="T4" fmla="*/ 1 w 131"/>
                <a:gd name="T5" fmla="*/ 8 h 150"/>
                <a:gd name="T6" fmla="*/ 0 w 131"/>
                <a:gd name="T7" fmla="*/ 13 h 150"/>
                <a:gd name="T8" fmla="*/ 1 w 131"/>
                <a:gd name="T9" fmla="*/ 17 h 150"/>
                <a:gd name="T10" fmla="*/ 3 w 131"/>
                <a:gd name="T11" fmla="*/ 22 h 150"/>
                <a:gd name="T12" fmla="*/ 107 w 131"/>
                <a:gd name="T13" fmla="*/ 145 h 150"/>
                <a:gd name="T14" fmla="*/ 107 w 131"/>
                <a:gd name="T15" fmla="*/ 145 h 150"/>
                <a:gd name="T16" fmla="*/ 111 w 131"/>
                <a:gd name="T17" fmla="*/ 149 h 150"/>
                <a:gd name="T18" fmla="*/ 116 w 131"/>
                <a:gd name="T19" fmla="*/ 150 h 150"/>
                <a:gd name="T20" fmla="*/ 122 w 131"/>
                <a:gd name="T21" fmla="*/ 150 h 150"/>
                <a:gd name="T22" fmla="*/ 127 w 131"/>
                <a:gd name="T23" fmla="*/ 148 h 150"/>
                <a:gd name="T24" fmla="*/ 127 w 131"/>
                <a:gd name="T25" fmla="*/ 148 h 150"/>
                <a:gd name="T26" fmla="*/ 129 w 131"/>
                <a:gd name="T27" fmla="*/ 143 h 150"/>
                <a:gd name="T28" fmla="*/ 131 w 131"/>
                <a:gd name="T29" fmla="*/ 138 h 150"/>
                <a:gd name="T30" fmla="*/ 130 w 131"/>
                <a:gd name="T31" fmla="*/ 133 h 150"/>
                <a:gd name="T32" fmla="*/ 128 w 131"/>
                <a:gd name="T33" fmla="*/ 128 h 150"/>
                <a:gd name="T34" fmla="*/ 24 w 131"/>
                <a:gd name="T35" fmla="*/ 5 h 150"/>
                <a:gd name="T36" fmla="*/ 24 w 131"/>
                <a:gd name="T37" fmla="*/ 5 h 150"/>
                <a:gd name="T38" fmla="*/ 21 w 131"/>
                <a:gd name="T39" fmla="*/ 2 h 150"/>
                <a:gd name="T40" fmla="*/ 14 w 131"/>
                <a:gd name="T41" fmla="*/ 0 h 150"/>
                <a:gd name="T42" fmla="*/ 10 w 131"/>
                <a:gd name="T43" fmla="*/ 0 h 150"/>
                <a:gd name="T44" fmla="*/ 5 w 131"/>
                <a:gd name="T45" fmla="*/ 3 h 150"/>
                <a:gd name="T46" fmla="*/ 5 w 131"/>
                <a:gd name="T47" fmla="*/ 3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1" h="150">
                  <a:moveTo>
                    <a:pt x="5" y="3"/>
                  </a:moveTo>
                  <a:lnTo>
                    <a:pt x="5" y="3"/>
                  </a:lnTo>
                  <a:lnTo>
                    <a:pt x="1" y="8"/>
                  </a:lnTo>
                  <a:lnTo>
                    <a:pt x="0" y="13"/>
                  </a:lnTo>
                  <a:lnTo>
                    <a:pt x="1" y="17"/>
                  </a:lnTo>
                  <a:lnTo>
                    <a:pt x="3" y="22"/>
                  </a:lnTo>
                  <a:lnTo>
                    <a:pt x="107" y="145"/>
                  </a:lnTo>
                  <a:lnTo>
                    <a:pt x="107" y="145"/>
                  </a:lnTo>
                  <a:lnTo>
                    <a:pt x="111" y="149"/>
                  </a:lnTo>
                  <a:lnTo>
                    <a:pt x="116" y="150"/>
                  </a:lnTo>
                  <a:lnTo>
                    <a:pt x="122" y="150"/>
                  </a:lnTo>
                  <a:lnTo>
                    <a:pt x="127" y="148"/>
                  </a:lnTo>
                  <a:lnTo>
                    <a:pt x="127" y="148"/>
                  </a:lnTo>
                  <a:lnTo>
                    <a:pt x="129" y="143"/>
                  </a:lnTo>
                  <a:lnTo>
                    <a:pt x="131" y="138"/>
                  </a:lnTo>
                  <a:lnTo>
                    <a:pt x="130" y="133"/>
                  </a:lnTo>
                  <a:lnTo>
                    <a:pt x="128" y="128"/>
                  </a:lnTo>
                  <a:lnTo>
                    <a:pt x="24" y="5"/>
                  </a:lnTo>
                  <a:lnTo>
                    <a:pt x="24" y="5"/>
                  </a:lnTo>
                  <a:lnTo>
                    <a:pt x="21" y="2"/>
                  </a:lnTo>
                  <a:lnTo>
                    <a:pt x="14" y="0"/>
                  </a:lnTo>
                  <a:lnTo>
                    <a:pt x="10" y="0"/>
                  </a:lnTo>
                  <a:lnTo>
                    <a:pt x="5" y="3"/>
                  </a:lnTo>
                  <a:lnTo>
                    <a:pt x="5" y="3"/>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09" name="Freeform 596"/>
            <p:cNvSpPr>
              <a:spLocks/>
            </p:cNvSpPr>
            <p:nvPr/>
          </p:nvSpPr>
          <p:spPr bwMode="auto">
            <a:xfrm>
              <a:off x="1973295" y="3187721"/>
              <a:ext cx="42863" cy="47625"/>
            </a:xfrm>
            <a:custGeom>
              <a:avLst/>
              <a:gdLst>
                <a:gd name="T0" fmla="*/ 5 w 132"/>
                <a:gd name="T1" fmla="*/ 4 h 151"/>
                <a:gd name="T2" fmla="*/ 5 w 132"/>
                <a:gd name="T3" fmla="*/ 4 h 151"/>
                <a:gd name="T4" fmla="*/ 2 w 132"/>
                <a:gd name="T5" fmla="*/ 8 h 151"/>
                <a:gd name="T6" fmla="*/ 0 w 132"/>
                <a:gd name="T7" fmla="*/ 12 h 151"/>
                <a:gd name="T8" fmla="*/ 1 w 132"/>
                <a:gd name="T9" fmla="*/ 19 h 151"/>
                <a:gd name="T10" fmla="*/ 4 w 132"/>
                <a:gd name="T11" fmla="*/ 23 h 151"/>
                <a:gd name="T12" fmla="*/ 107 w 132"/>
                <a:gd name="T13" fmla="*/ 147 h 151"/>
                <a:gd name="T14" fmla="*/ 107 w 132"/>
                <a:gd name="T15" fmla="*/ 147 h 151"/>
                <a:gd name="T16" fmla="*/ 112 w 132"/>
                <a:gd name="T17" fmla="*/ 150 h 151"/>
                <a:gd name="T18" fmla="*/ 117 w 132"/>
                <a:gd name="T19" fmla="*/ 151 h 151"/>
                <a:gd name="T20" fmla="*/ 122 w 132"/>
                <a:gd name="T21" fmla="*/ 150 h 151"/>
                <a:gd name="T22" fmla="*/ 127 w 132"/>
                <a:gd name="T23" fmla="*/ 148 h 151"/>
                <a:gd name="T24" fmla="*/ 127 w 132"/>
                <a:gd name="T25" fmla="*/ 148 h 151"/>
                <a:gd name="T26" fmla="*/ 130 w 132"/>
                <a:gd name="T27" fmla="*/ 144 h 151"/>
                <a:gd name="T28" fmla="*/ 132 w 132"/>
                <a:gd name="T29" fmla="*/ 138 h 151"/>
                <a:gd name="T30" fmla="*/ 130 w 132"/>
                <a:gd name="T31" fmla="*/ 133 h 151"/>
                <a:gd name="T32" fmla="*/ 128 w 132"/>
                <a:gd name="T33" fmla="*/ 128 h 151"/>
                <a:gd name="T34" fmla="*/ 24 w 132"/>
                <a:gd name="T35" fmla="*/ 5 h 151"/>
                <a:gd name="T36" fmla="*/ 24 w 132"/>
                <a:gd name="T37" fmla="*/ 5 h 151"/>
                <a:gd name="T38" fmla="*/ 21 w 132"/>
                <a:gd name="T39" fmla="*/ 2 h 151"/>
                <a:gd name="T40" fmla="*/ 16 w 132"/>
                <a:gd name="T41" fmla="*/ 0 h 151"/>
                <a:gd name="T42" fmla="*/ 10 w 132"/>
                <a:gd name="T43" fmla="*/ 0 h 151"/>
                <a:gd name="T44" fmla="*/ 5 w 132"/>
                <a:gd name="T45" fmla="*/ 4 h 151"/>
                <a:gd name="T46" fmla="*/ 5 w 132"/>
                <a:gd name="T47" fmla="*/ 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51">
                  <a:moveTo>
                    <a:pt x="5" y="4"/>
                  </a:moveTo>
                  <a:lnTo>
                    <a:pt x="5" y="4"/>
                  </a:lnTo>
                  <a:lnTo>
                    <a:pt x="2" y="8"/>
                  </a:lnTo>
                  <a:lnTo>
                    <a:pt x="0" y="12"/>
                  </a:lnTo>
                  <a:lnTo>
                    <a:pt x="1" y="19"/>
                  </a:lnTo>
                  <a:lnTo>
                    <a:pt x="4" y="23"/>
                  </a:lnTo>
                  <a:lnTo>
                    <a:pt x="107" y="147"/>
                  </a:lnTo>
                  <a:lnTo>
                    <a:pt x="107" y="147"/>
                  </a:lnTo>
                  <a:lnTo>
                    <a:pt x="112" y="150"/>
                  </a:lnTo>
                  <a:lnTo>
                    <a:pt x="117" y="151"/>
                  </a:lnTo>
                  <a:lnTo>
                    <a:pt x="122" y="150"/>
                  </a:lnTo>
                  <a:lnTo>
                    <a:pt x="127" y="148"/>
                  </a:lnTo>
                  <a:lnTo>
                    <a:pt x="127" y="148"/>
                  </a:lnTo>
                  <a:lnTo>
                    <a:pt x="130" y="144"/>
                  </a:lnTo>
                  <a:lnTo>
                    <a:pt x="132" y="138"/>
                  </a:lnTo>
                  <a:lnTo>
                    <a:pt x="130" y="133"/>
                  </a:lnTo>
                  <a:lnTo>
                    <a:pt x="128" y="128"/>
                  </a:lnTo>
                  <a:lnTo>
                    <a:pt x="24" y="5"/>
                  </a:lnTo>
                  <a:lnTo>
                    <a:pt x="24" y="5"/>
                  </a:lnTo>
                  <a:lnTo>
                    <a:pt x="21" y="2"/>
                  </a:lnTo>
                  <a:lnTo>
                    <a:pt x="16" y="0"/>
                  </a:lnTo>
                  <a:lnTo>
                    <a:pt x="10" y="0"/>
                  </a:lnTo>
                  <a:lnTo>
                    <a:pt x="5" y="4"/>
                  </a:lnTo>
                  <a:lnTo>
                    <a:pt x="5" y="4"/>
                  </a:lnTo>
                  <a:close/>
                </a:path>
              </a:pathLst>
            </a:custGeom>
            <a:solidFill>
              <a:srgbClr val="FFB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sp>
        <p:nvSpPr>
          <p:cNvPr id="1110" name="텍스트 개체 틀 15"/>
          <p:cNvSpPr>
            <a:spLocks noGrp="1"/>
          </p:cNvSpPr>
          <p:nvPr userDrawn="1">
            <p:ph type="body" sz="quarter" idx="10" hasCustomPrompt="1"/>
          </p:nvPr>
        </p:nvSpPr>
        <p:spPr>
          <a:xfrm>
            <a:off x="642433" y="1910100"/>
            <a:ext cx="7009355" cy="569691"/>
          </a:xfrm>
          <a:prstGeom prst="rect">
            <a:avLst/>
          </a:prstGeom>
        </p:spPr>
        <p:txBody>
          <a:bodyPr lIns="0" tIns="0" rIns="0" bIns="0"/>
          <a:lstStyle>
            <a:lvl1pPr marL="0" indent="0" algn="l">
              <a:buNone/>
              <a:defRPr sz="4267" b="1" baseline="0">
                <a:solidFill>
                  <a:srgbClr val="F59E1D"/>
                </a:solidFill>
                <a:latin typeface="Tahoma" panose="020B0604030504040204" pitchFamily="34" charset="0"/>
                <a:cs typeface="Tahoma" panose="020B0604030504040204" pitchFamily="34" charset="0"/>
              </a:defRPr>
            </a:lvl1pPr>
          </a:lstStyle>
          <a:p>
            <a:pPr lvl="0"/>
            <a:r>
              <a:rPr lang="en-US" altLang="ko-KR"/>
              <a:t>Section Cover Slide2</a:t>
            </a:r>
            <a:endParaRPr lang="ko-KR" altLang="en-US"/>
          </a:p>
        </p:txBody>
      </p:sp>
      <p:sp>
        <p:nvSpPr>
          <p:cNvPr id="1111" name="텍스트 개체 틀 15"/>
          <p:cNvSpPr>
            <a:spLocks noGrp="1"/>
          </p:cNvSpPr>
          <p:nvPr userDrawn="1">
            <p:ph type="body" sz="quarter" idx="11" hasCustomPrompt="1"/>
          </p:nvPr>
        </p:nvSpPr>
        <p:spPr>
          <a:xfrm>
            <a:off x="642434" y="2755312"/>
            <a:ext cx="4841924" cy="387007"/>
          </a:xfrm>
          <a:prstGeom prst="rect">
            <a:avLst/>
          </a:prstGeom>
        </p:spPr>
        <p:txBody>
          <a:bodyPr lIns="0" tIns="0" rIns="0" bIns="0"/>
          <a:lstStyle>
            <a:lvl1pPr marL="0" indent="0" algn="l">
              <a:buNone/>
              <a:defRPr sz="2133" baseline="0">
                <a:solidFill>
                  <a:schemeClr val="bg1"/>
                </a:solidFill>
                <a:latin typeface="Tahoma" panose="020B0604030504040204" pitchFamily="34" charset="0"/>
                <a:cs typeface="Tahoma" panose="020B0604030504040204" pitchFamily="34" charset="0"/>
              </a:defRPr>
            </a:lvl1pPr>
          </a:lstStyle>
          <a:p>
            <a:pPr lvl="0"/>
            <a:r>
              <a:rPr lang="en-US" altLang="ko-KR"/>
              <a:t>Design inspiration For Presentation</a:t>
            </a:r>
            <a:endParaRPr lang="ko-KR" altLang="en-US"/>
          </a:p>
        </p:txBody>
      </p:sp>
      <p:grpSp>
        <p:nvGrpSpPr>
          <p:cNvPr id="1112" name="그룹 1111"/>
          <p:cNvGrpSpPr/>
          <p:nvPr userDrawn="1"/>
        </p:nvGrpSpPr>
        <p:grpSpPr>
          <a:xfrm>
            <a:off x="309699" y="1624472"/>
            <a:ext cx="442085" cy="411361"/>
            <a:chOff x="3459207" y="4846674"/>
            <a:chExt cx="373065" cy="325441"/>
          </a:xfrm>
        </p:grpSpPr>
        <p:sp>
          <p:nvSpPr>
            <p:cNvPr id="1113" name="Freeform 908"/>
            <p:cNvSpPr>
              <a:spLocks/>
            </p:cNvSpPr>
            <p:nvPr/>
          </p:nvSpPr>
          <p:spPr bwMode="auto">
            <a:xfrm>
              <a:off x="3525882" y="5059401"/>
              <a:ext cx="49213" cy="47625"/>
            </a:xfrm>
            <a:custGeom>
              <a:avLst/>
              <a:gdLst>
                <a:gd name="T0" fmla="*/ 79 w 157"/>
                <a:gd name="T1" fmla="*/ 123 h 149"/>
                <a:gd name="T2" fmla="*/ 126 w 157"/>
                <a:gd name="T3" fmla="*/ 149 h 149"/>
                <a:gd name="T4" fmla="*/ 118 w 157"/>
                <a:gd name="T5" fmla="*/ 95 h 149"/>
                <a:gd name="T6" fmla="*/ 157 w 157"/>
                <a:gd name="T7" fmla="*/ 56 h 149"/>
                <a:gd name="T8" fmla="*/ 102 w 157"/>
                <a:gd name="T9" fmla="*/ 49 h 149"/>
                <a:gd name="T10" fmla="*/ 79 w 157"/>
                <a:gd name="T11" fmla="*/ 0 h 149"/>
                <a:gd name="T12" fmla="*/ 54 w 157"/>
                <a:gd name="T13" fmla="*/ 49 h 149"/>
                <a:gd name="T14" fmla="*/ 0 w 157"/>
                <a:gd name="T15" fmla="*/ 56 h 149"/>
                <a:gd name="T16" fmla="*/ 39 w 157"/>
                <a:gd name="T17" fmla="*/ 95 h 149"/>
                <a:gd name="T18" fmla="*/ 30 w 157"/>
                <a:gd name="T19" fmla="*/ 149 h 149"/>
                <a:gd name="T20" fmla="*/ 79 w 157"/>
                <a:gd name="T21" fmla="*/ 12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149">
                  <a:moveTo>
                    <a:pt x="79" y="123"/>
                  </a:moveTo>
                  <a:lnTo>
                    <a:pt x="126" y="149"/>
                  </a:lnTo>
                  <a:lnTo>
                    <a:pt x="118" y="95"/>
                  </a:lnTo>
                  <a:lnTo>
                    <a:pt x="157" y="56"/>
                  </a:lnTo>
                  <a:lnTo>
                    <a:pt x="102" y="49"/>
                  </a:lnTo>
                  <a:lnTo>
                    <a:pt x="79" y="0"/>
                  </a:lnTo>
                  <a:lnTo>
                    <a:pt x="54" y="49"/>
                  </a:lnTo>
                  <a:lnTo>
                    <a:pt x="0" y="56"/>
                  </a:lnTo>
                  <a:lnTo>
                    <a:pt x="39" y="95"/>
                  </a:lnTo>
                  <a:lnTo>
                    <a:pt x="30" y="149"/>
                  </a:lnTo>
                  <a:lnTo>
                    <a:pt x="79" y="12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14" name="Freeform 909"/>
            <p:cNvSpPr>
              <a:spLocks/>
            </p:cNvSpPr>
            <p:nvPr/>
          </p:nvSpPr>
          <p:spPr bwMode="auto">
            <a:xfrm>
              <a:off x="3698921" y="4846674"/>
              <a:ext cx="38100" cy="36513"/>
            </a:xfrm>
            <a:custGeom>
              <a:avLst/>
              <a:gdLst>
                <a:gd name="T0" fmla="*/ 61 w 121"/>
                <a:gd name="T1" fmla="*/ 95 h 114"/>
                <a:gd name="T2" fmla="*/ 98 w 121"/>
                <a:gd name="T3" fmla="*/ 114 h 114"/>
                <a:gd name="T4" fmla="*/ 91 w 121"/>
                <a:gd name="T5" fmla="*/ 73 h 114"/>
                <a:gd name="T6" fmla="*/ 121 w 121"/>
                <a:gd name="T7" fmla="*/ 44 h 114"/>
                <a:gd name="T8" fmla="*/ 80 w 121"/>
                <a:gd name="T9" fmla="*/ 38 h 114"/>
                <a:gd name="T10" fmla="*/ 61 w 121"/>
                <a:gd name="T11" fmla="*/ 0 h 114"/>
                <a:gd name="T12" fmla="*/ 42 w 121"/>
                <a:gd name="T13" fmla="*/ 38 h 114"/>
                <a:gd name="T14" fmla="*/ 0 w 121"/>
                <a:gd name="T15" fmla="*/ 44 h 114"/>
                <a:gd name="T16" fmla="*/ 31 w 121"/>
                <a:gd name="T17" fmla="*/ 73 h 114"/>
                <a:gd name="T18" fmla="*/ 24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1" y="73"/>
                  </a:lnTo>
                  <a:lnTo>
                    <a:pt x="121" y="44"/>
                  </a:lnTo>
                  <a:lnTo>
                    <a:pt x="80" y="38"/>
                  </a:lnTo>
                  <a:lnTo>
                    <a:pt x="61" y="0"/>
                  </a:lnTo>
                  <a:lnTo>
                    <a:pt x="42" y="38"/>
                  </a:lnTo>
                  <a:lnTo>
                    <a:pt x="0" y="44"/>
                  </a:lnTo>
                  <a:lnTo>
                    <a:pt x="31" y="73"/>
                  </a:lnTo>
                  <a:lnTo>
                    <a:pt x="24" y="114"/>
                  </a:lnTo>
                  <a:lnTo>
                    <a:pt x="61" y="95"/>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15" name="Freeform 910"/>
            <p:cNvSpPr>
              <a:spLocks/>
            </p:cNvSpPr>
            <p:nvPr/>
          </p:nvSpPr>
          <p:spPr bwMode="auto">
            <a:xfrm>
              <a:off x="3665583" y="5135602"/>
              <a:ext cx="38100" cy="36513"/>
            </a:xfrm>
            <a:custGeom>
              <a:avLst/>
              <a:gdLst>
                <a:gd name="T0" fmla="*/ 60 w 120"/>
                <a:gd name="T1" fmla="*/ 95 h 114"/>
                <a:gd name="T2" fmla="*/ 98 w 120"/>
                <a:gd name="T3" fmla="*/ 114 h 114"/>
                <a:gd name="T4" fmla="*/ 91 w 120"/>
                <a:gd name="T5" fmla="*/ 73 h 114"/>
                <a:gd name="T6" fmla="*/ 120 w 120"/>
                <a:gd name="T7" fmla="*/ 43 h 114"/>
                <a:gd name="T8" fmla="*/ 78 w 120"/>
                <a:gd name="T9" fmla="*/ 37 h 114"/>
                <a:gd name="T10" fmla="*/ 60 w 120"/>
                <a:gd name="T11" fmla="*/ 0 h 114"/>
                <a:gd name="T12" fmla="*/ 42 w 120"/>
                <a:gd name="T13" fmla="*/ 37 h 114"/>
                <a:gd name="T14" fmla="*/ 0 w 120"/>
                <a:gd name="T15" fmla="*/ 43 h 114"/>
                <a:gd name="T16" fmla="*/ 31 w 120"/>
                <a:gd name="T17" fmla="*/ 73 h 114"/>
                <a:gd name="T18" fmla="*/ 24 w 120"/>
                <a:gd name="T19" fmla="*/ 114 h 114"/>
                <a:gd name="T20" fmla="*/ 60 w 120"/>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 h="114">
                  <a:moveTo>
                    <a:pt x="60" y="95"/>
                  </a:moveTo>
                  <a:lnTo>
                    <a:pt x="98" y="114"/>
                  </a:lnTo>
                  <a:lnTo>
                    <a:pt x="91" y="73"/>
                  </a:lnTo>
                  <a:lnTo>
                    <a:pt x="120" y="43"/>
                  </a:lnTo>
                  <a:lnTo>
                    <a:pt x="78" y="37"/>
                  </a:lnTo>
                  <a:lnTo>
                    <a:pt x="60" y="0"/>
                  </a:lnTo>
                  <a:lnTo>
                    <a:pt x="42" y="37"/>
                  </a:lnTo>
                  <a:lnTo>
                    <a:pt x="0" y="43"/>
                  </a:lnTo>
                  <a:lnTo>
                    <a:pt x="31" y="73"/>
                  </a:lnTo>
                  <a:lnTo>
                    <a:pt x="24" y="114"/>
                  </a:lnTo>
                  <a:lnTo>
                    <a:pt x="60"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16" name="Freeform 911"/>
            <p:cNvSpPr>
              <a:spLocks/>
            </p:cNvSpPr>
            <p:nvPr/>
          </p:nvSpPr>
          <p:spPr bwMode="auto">
            <a:xfrm>
              <a:off x="3459207" y="4980026"/>
              <a:ext cx="38100" cy="36513"/>
            </a:xfrm>
            <a:custGeom>
              <a:avLst/>
              <a:gdLst>
                <a:gd name="T0" fmla="*/ 61 w 121"/>
                <a:gd name="T1" fmla="*/ 95 h 114"/>
                <a:gd name="T2" fmla="*/ 98 w 121"/>
                <a:gd name="T3" fmla="*/ 114 h 114"/>
                <a:gd name="T4" fmla="*/ 90 w 121"/>
                <a:gd name="T5" fmla="*/ 73 h 114"/>
                <a:gd name="T6" fmla="*/ 121 w 121"/>
                <a:gd name="T7" fmla="*/ 44 h 114"/>
                <a:gd name="T8" fmla="*/ 79 w 121"/>
                <a:gd name="T9" fmla="*/ 38 h 114"/>
                <a:gd name="T10" fmla="*/ 61 w 121"/>
                <a:gd name="T11" fmla="*/ 0 h 114"/>
                <a:gd name="T12" fmla="*/ 41 w 121"/>
                <a:gd name="T13" fmla="*/ 38 h 114"/>
                <a:gd name="T14" fmla="*/ 0 w 121"/>
                <a:gd name="T15" fmla="*/ 44 h 114"/>
                <a:gd name="T16" fmla="*/ 31 w 121"/>
                <a:gd name="T17" fmla="*/ 73 h 114"/>
                <a:gd name="T18" fmla="*/ 23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0" y="73"/>
                  </a:lnTo>
                  <a:lnTo>
                    <a:pt x="121" y="44"/>
                  </a:lnTo>
                  <a:lnTo>
                    <a:pt x="79" y="38"/>
                  </a:lnTo>
                  <a:lnTo>
                    <a:pt x="61" y="0"/>
                  </a:lnTo>
                  <a:lnTo>
                    <a:pt x="41" y="38"/>
                  </a:lnTo>
                  <a:lnTo>
                    <a:pt x="0" y="44"/>
                  </a:lnTo>
                  <a:lnTo>
                    <a:pt x="31" y="73"/>
                  </a:lnTo>
                  <a:lnTo>
                    <a:pt x="23" y="114"/>
                  </a:lnTo>
                  <a:lnTo>
                    <a:pt x="61"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17" name="Freeform 912"/>
            <p:cNvSpPr>
              <a:spLocks/>
            </p:cNvSpPr>
            <p:nvPr/>
          </p:nvSpPr>
          <p:spPr bwMode="auto">
            <a:xfrm>
              <a:off x="3575095" y="4935575"/>
              <a:ext cx="128588" cy="127001"/>
            </a:xfrm>
            <a:custGeom>
              <a:avLst/>
              <a:gdLst>
                <a:gd name="T0" fmla="*/ 272 w 401"/>
                <a:gd name="T1" fmla="*/ 130 h 402"/>
                <a:gd name="T2" fmla="*/ 401 w 401"/>
                <a:gd name="T3" fmla="*/ 201 h 402"/>
                <a:gd name="T4" fmla="*/ 272 w 401"/>
                <a:gd name="T5" fmla="*/ 272 h 402"/>
                <a:gd name="T6" fmla="*/ 201 w 401"/>
                <a:gd name="T7" fmla="*/ 402 h 402"/>
                <a:gd name="T8" fmla="*/ 129 w 401"/>
                <a:gd name="T9" fmla="*/ 272 h 402"/>
                <a:gd name="T10" fmla="*/ 0 w 401"/>
                <a:gd name="T11" fmla="*/ 201 h 402"/>
                <a:gd name="T12" fmla="*/ 129 w 401"/>
                <a:gd name="T13" fmla="*/ 130 h 402"/>
                <a:gd name="T14" fmla="*/ 201 w 401"/>
                <a:gd name="T15" fmla="*/ 0 h 402"/>
                <a:gd name="T16" fmla="*/ 272 w 401"/>
                <a:gd name="T17" fmla="*/ 13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1" h="402">
                  <a:moveTo>
                    <a:pt x="272" y="130"/>
                  </a:moveTo>
                  <a:lnTo>
                    <a:pt x="401" y="201"/>
                  </a:lnTo>
                  <a:lnTo>
                    <a:pt x="272" y="272"/>
                  </a:lnTo>
                  <a:lnTo>
                    <a:pt x="201" y="402"/>
                  </a:lnTo>
                  <a:lnTo>
                    <a:pt x="129" y="272"/>
                  </a:lnTo>
                  <a:lnTo>
                    <a:pt x="0" y="201"/>
                  </a:lnTo>
                  <a:lnTo>
                    <a:pt x="129" y="130"/>
                  </a:lnTo>
                  <a:lnTo>
                    <a:pt x="201" y="0"/>
                  </a:lnTo>
                  <a:lnTo>
                    <a:pt x="27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18" name="Freeform 913"/>
            <p:cNvSpPr>
              <a:spLocks/>
            </p:cNvSpPr>
            <p:nvPr/>
          </p:nvSpPr>
          <p:spPr bwMode="auto">
            <a:xfrm>
              <a:off x="3771947" y="4975263"/>
              <a:ext cx="60325" cy="58738"/>
            </a:xfrm>
            <a:custGeom>
              <a:avLst/>
              <a:gdLst>
                <a:gd name="T0" fmla="*/ 126 w 186"/>
                <a:gd name="T1" fmla="*/ 59 h 185"/>
                <a:gd name="T2" fmla="*/ 186 w 186"/>
                <a:gd name="T3" fmla="*/ 92 h 185"/>
                <a:gd name="T4" fmla="*/ 126 w 186"/>
                <a:gd name="T5" fmla="*/ 125 h 185"/>
                <a:gd name="T6" fmla="*/ 93 w 186"/>
                <a:gd name="T7" fmla="*/ 185 h 185"/>
                <a:gd name="T8" fmla="*/ 60 w 186"/>
                <a:gd name="T9" fmla="*/ 125 h 185"/>
                <a:gd name="T10" fmla="*/ 0 w 186"/>
                <a:gd name="T11" fmla="*/ 92 h 185"/>
                <a:gd name="T12" fmla="*/ 60 w 186"/>
                <a:gd name="T13" fmla="*/ 59 h 185"/>
                <a:gd name="T14" fmla="*/ 93 w 186"/>
                <a:gd name="T15" fmla="*/ 0 h 185"/>
                <a:gd name="T16" fmla="*/ 126 w 186"/>
                <a:gd name="T17" fmla="*/ 59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85">
                  <a:moveTo>
                    <a:pt x="126" y="59"/>
                  </a:moveTo>
                  <a:lnTo>
                    <a:pt x="186" y="92"/>
                  </a:lnTo>
                  <a:lnTo>
                    <a:pt x="126" y="125"/>
                  </a:lnTo>
                  <a:lnTo>
                    <a:pt x="93" y="185"/>
                  </a:lnTo>
                  <a:lnTo>
                    <a:pt x="60" y="125"/>
                  </a:lnTo>
                  <a:lnTo>
                    <a:pt x="0" y="92"/>
                  </a:lnTo>
                  <a:lnTo>
                    <a:pt x="60" y="59"/>
                  </a:lnTo>
                  <a:lnTo>
                    <a:pt x="93" y="0"/>
                  </a:lnTo>
                  <a:lnTo>
                    <a:pt x="126" y="59"/>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19" name="Freeform 914"/>
            <p:cNvSpPr>
              <a:spLocks/>
            </p:cNvSpPr>
            <p:nvPr/>
          </p:nvSpPr>
          <p:spPr bwMode="auto">
            <a:xfrm>
              <a:off x="3517945" y="4902237"/>
              <a:ext cx="39688" cy="39688"/>
            </a:xfrm>
            <a:custGeom>
              <a:avLst/>
              <a:gdLst>
                <a:gd name="T0" fmla="*/ 84 w 125"/>
                <a:gd name="T1" fmla="*/ 40 h 124"/>
                <a:gd name="T2" fmla="*/ 125 w 125"/>
                <a:gd name="T3" fmla="*/ 62 h 124"/>
                <a:gd name="T4" fmla="*/ 84 w 125"/>
                <a:gd name="T5" fmla="*/ 84 h 124"/>
                <a:gd name="T6" fmla="*/ 63 w 125"/>
                <a:gd name="T7" fmla="*/ 124 h 124"/>
                <a:gd name="T8" fmla="*/ 41 w 125"/>
                <a:gd name="T9" fmla="*/ 84 h 124"/>
                <a:gd name="T10" fmla="*/ 0 w 125"/>
                <a:gd name="T11" fmla="*/ 62 h 124"/>
                <a:gd name="T12" fmla="*/ 41 w 125"/>
                <a:gd name="T13" fmla="*/ 40 h 124"/>
                <a:gd name="T14" fmla="*/ 63 w 125"/>
                <a:gd name="T15" fmla="*/ 0 h 124"/>
                <a:gd name="T16" fmla="*/ 84 w 125"/>
                <a:gd name="T17" fmla="*/ 4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124">
                  <a:moveTo>
                    <a:pt x="84" y="40"/>
                  </a:moveTo>
                  <a:lnTo>
                    <a:pt x="125" y="62"/>
                  </a:lnTo>
                  <a:lnTo>
                    <a:pt x="84" y="84"/>
                  </a:lnTo>
                  <a:lnTo>
                    <a:pt x="63" y="124"/>
                  </a:lnTo>
                  <a:lnTo>
                    <a:pt x="41" y="84"/>
                  </a:lnTo>
                  <a:lnTo>
                    <a:pt x="0" y="62"/>
                  </a:lnTo>
                  <a:lnTo>
                    <a:pt x="41" y="40"/>
                  </a:lnTo>
                  <a:lnTo>
                    <a:pt x="63" y="0"/>
                  </a:lnTo>
                  <a:lnTo>
                    <a:pt x="84"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0" name="Freeform 915"/>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1" name="Freeform 916"/>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2" name="Freeform 917"/>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3" name="Freeform 918"/>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4" name="Freeform 919"/>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5" name="Freeform 920"/>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6" name="Freeform 921"/>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7" name="Freeform 922"/>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8" name="Freeform 923"/>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29" name="Freeform 924"/>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30" name="Freeform 925"/>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sp>
          <p:nvSpPr>
            <p:cNvPr id="1131" name="Freeform 926"/>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ko-KR" altLang="en-US" sz="2400"/>
            </a:p>
          </p:txBody>
        </p:sp>
      </p:grpSp>
    </p:spTree>
    <p:extLst>
      <p:ext uri="{BB962C8B-B14F-4D97-AF65-F5344CB8AC3E}">
        <p14:creationId xmlns:p14="http://schemas.microsoft.com/office/powerpoint/2010/main" val="3123121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8928" y="3691914"/>
            <a:ext cx="9250211" cy="872402"/>
          </a:xfrm>
        </p:spPr>
        <p:txBody>
          <a:bodyPr anchor="b"/>
          <a:lstStyle>
            <a:lvl1pPr>
              <a:defRPr sz="5400">
                <a:gradFill>
                  <a:gsLst>
                    <a:gs pos="8850">
                      <a:srgbClr val="FFFFFF"/>
                    </a:gs>
                    <a:gs pos="34000">
                      <a:srgbClr val="FFFFFF"/>
                    </a:gs>
                  </a:gsLst>
                  <a:lin ang="5400000" scaled="0"/>
                </a:gradFill>
              </a:defRPr>
            </a:lvl1pPr>
          </a:lstStyle>
          <a:p>
            <a:r>
              <a:rPr lang="en-US"/>
              <a:t>Title of the presentation goes here</a:t>
            </a:r>
          </a:p>
        </p:txBody>
      </p:sp>
      <p:grpSp>
        <p:nvGrpSpPr>
          <p:cNvPr id="4" name="Group 3"/>
          <p:cNvGrpSpPr>
            <a:grpSpLocks noChangeAspect="1"/>
          </p:cNvGrpSpPr>
          <p:nvPr userDrawn="1"/>
        </p:nvGrpSpPr>
        <p:grpSpPr bwMode="black">
          <a:xfrm>
            <a:off x="268929" y="365379"/>
            <a:ext cx="1277761" cy="292608"/>
            <a:chOff x="457200" y="1643393"/>
            <a:chExt cx="4492753" cy="96454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8" name="Text Placeholder 4"/>
          <p:cNvSpPr>
            <a:spLocks noGrp="1"/>
          </p:cNvSpPr>
          <p:nvPr>
            <p:ph type="body" sz="quarter" idx="12" hasCustomPrompt="1"/>
          </p:nvPr>
        </p:nvSpPr>
        <p:spPr>
          <a:xfrm>
            <a:off x="268927" y="5117473"/>
            <a:ext cx="7213835" cy="483489"/>
          </a:xfrm>
        </p:spPr>
        <p:txBody>
          <a:bodyPr>
            <a:noAutofit/>
          </a:bodyPr>
          <a:lstStyle>
            <a:lvl1pPr marL="0" indent="0">
              <a:spcBef>
                <a:spcPts val="0"/>
              </a:spcBef>
              <a:buNone/>
              <a:defRPr sz="2800" b="0" i="0" spc="-71" baseline="0">
                <a:solidFill>
                  <a:schemeClr val="tx1"/>
                </a:solidFill>
                <a:latin typeface="Segoe UI Light" charset="0"/>
                <a:ea typeface="Segoe UI Light" charset="0"/>
                <a:cs typeface="Segoe UI Light" charset="0"/>
              </a:defRPr>
            </a:lvl1pPr>
          </a:lstStyle>
          <a:p>
            <a:pPr lvl="0"/>
            <a:r>
              <a:rPr lang="en-US"/>
              <a:t>Speaker Name</a:t>
            </a:r>
          </a:p>
        </p:txBody>
      </p:sp>
    </p:spTree>
    <p:extLst>
      <p:ext uri="{BB962C8B-B14F-4D97-AF65-F5344CB8AC3E}">
        <p14:creationId xmlns:p14="http://schemas.microsoft.com/office/powerpoint/2010/main" val="2482412737"/>
      </p:ext>
    </p:extLst>
  </p:cSld>
  <p:clrMapOvr>
    <a:overrideClrMapping bg1="dk1" tx1="lt1" bg2="dk2" tx2="lt2" accent1="accent1" accent2="accent2" accent3="accent3" accent4="accent4" accent5="accent5" accent6="accent6" hlink="hlink" folHlink="folHlink"/>
  </p:clrMapOvr>
  <p:transition spd="slow">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lide White">
    <p:bg bwMode="gray">
      <p:bgRef idx="1001">
        <a:schemeClr val="bg1"/>
      </p:bgRef>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8928" y="3691914"/>
            <a:ext cx="9250211" cy="872402"/>
          </a:xfrm>
        </p:spPr>
        <p:txBody>
          <a:bodyPr anchor="b"/>
          <a:lstStyle>
            <a:lvl1pPr>
              <a:defRPr sz="5400">
                <a:solidFill>
                  <a:schemeClr val="tx2"/>
                </a:solidFill>
              </a:defRPr>
            </a:lvl1pPr>
          </a:lstStyle>
          <a:p>
            <a:r>
              <a:rPr lang="en-US"/>
              <a:t>Title of the presentation goes here</a:t>
            </a:r>
          </a:p>
        </p:txBody>
      </p:sp>
      <p:sp>
        <p:nvSpPr>
          <p:cNvPr id="8" name="Text Placeholder 4"/>
          <p:cNvSpPr>
            <a:spLocks noGrp="1"/>
          </p:cNvSpPr>
          <p:nvPr>
            <p:ph type="body" sz="quarter" idx="12" hasCustomPrompt="1"/>
          </p:nvPr>
        </p:nvSpPr>
        <p:spPr>
          <a:xfrm>
            <a:off x="268927" y="5117473"/>
            <a:ext cx="7213835" cy="483489"/>
          </a:xfrm>
        </p:spPr>
        <p:txBody>
          <a:bodyPr>
            <a:noAutofit/>
          </a:bodyPr>
          <a:lstStyle>
            <a:lvl1pPr marL="0" indent="0">
              <a:spcBef>
                <a:spcPts val="0"/>
              </a:spcBef>
              <a:buNone/>
              <a:defRPr sz="2800" b="0" i="0" spc="-71" baseline="0">
                <a:solidFill>
                  <a:schemeClr val="tx1"/>
                </a:solidFill>
                <a:latin typeface="Segoe UI Light" charset="0"/>
                <a:ea typeface="Segoe UI Light" charset="0"/>
                <a:cs typeface="Segoe UI Light" charset="0"/>
              </a:defRPr>
            </a:lvl1pPr>
          </a:lstStyle>
          <a:p>
            <a:pPr lvl="0"/>
            <a:r>
              <a:rPr lang="en-US"/>
              <a:t>Speaker Name</a:t>
            </a:r>
          </a:p>
        </p:txBody>
      </p:sp>
      <p:grpSp>
        <p:nvGrpSpPr>
          <p:cNvPr id="7" name="Group 6"/>
          <p:cNvGrpSpPr>
            <a:grpSpLocks noChangeAspect="1"/>
          </p:cNvGrpSpPr>
          <p:nvPr userDrawn="1"/>
        </p:nvGrpSpPr>
        <p:grpSpPr bwMode="black">
          <a:xfrm>
            <a:off x="268928" y="267250"/>
            <a:ext cx="1277765" cy="292608"/>
            <a:chOff x="457200" y="1643393"/>
            <a:chExt cx="4492753" cy="964540"/>
          </a:xfrm>
        </p:grpSpPr>
        <p:pic>
          <p:nvPicPr>
            <p:cNvPr id="12" name="Pictur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3"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1667047767"/>
      </p:ext>
    </p:extLst>
  </p:cSld>
  <p:clrMapOvr>
    <a:overrideClrMapping bg1="lt1" tx1="dk1" bg2="lt2" tx2="dk2" accent1="accent1" accent2="accent2" accent3="accent3" accent4="accent4" accent5="accent5" accent6="accent6" hlink="hlink" folHlink="folHlink"/>
  </p:clrMapOvr>
  <p:transition spd="slow">
    <p:fade/>
  </p:transition>
  <p:extLst mod="1">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Title Slide Blue">
    <p:bg bwMode="gray">
      <p:bgRef idx="1001">
        <a:schemeClr val="bg2"/>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nvPr>
        </p:nvGraphicFramePr>
        <p:xfrm>
          <a:off x="1589" y="1696"/>
          <a:ext cx="1587" cy="1692"/>
        </p:xfrm>
        <a:graphic>
          <a:graphicData uri="http://schemas.openxmlformats.org/presentationml/2006/ole">
            <mc:AlternateContent xmlns:mc="http://schemas.openxmlformats.org/markup-compatibility/2006">
              <mc:Choice xmlns:v="urn:schemas-microsoft-com:vml" Requires="v">
                <p:oleObj spid="_x0000_s4226" name="think-cell Slide" r:id="rId4" imgW="425" imgH="426" progId="TCLayout.ActiveDocument.1">
                  <p:embed/>
                </p:oleObj>
              </mc:Choice>
              <mc:Fallback>
                <p:oleObj name="think-cell Slide" r:id="rId4" imgW="425" imgH="426" progId="TCLayout.ActiveDocument.1">
                  <p:embed/>
                  <p:pic>
                    <p:nvPicPr>
                      <p:cNvPr id="9" name="Object 8" hidden="1"/>
                      <p:cNvPicPr/>
                      <p:nvPr/>
                    </p:nvPicPr>
                    <p:blipFill>
                      <a:blip r:embed="rId5"/>
                      <a:stretch>
                        <a:fillRect/>
                      </a:stretch>
                    </p:blipFill>
                    <p:spPr>
                      <a:xfrm>
                        <a:off x="1589" y="1696"/>
                        <a:ext cx="1587" cy="1692"/>
                      </a:xfrm>
                      <a:prstGeom prst="rect">
                        <a:avLst/>
                      </a:prstGeom>
                    </p:spPr>
                  </p:pic>
                </p:oleObj>
              </mc:Fallback>
            </mc:AlternateContent>
          </a:graphicData>
        </a:graphic>
      </p:graphicFrame>
      <p:sp>
        <p:nvSpPr>
          <p:cNvPr id="3" name="Picture Placeholder 2"/>
          <p:cNvSpPr>
            <a:spLocks noGrp="1"/>
          </p:cNvSpPr>
          <p:nvPr>
            <p:ph type="pic" sz="quarter" idx="10"/>
          </p:nvPr>
        </p:nvSpPr>
        <p:spPr>
          <a:xfrm>
            <a:off x="-70884" y="-14228"/>
            <a:ext cx="12192000" cy="1661993"/>
          </a:xfrm>
        </p:spPr>
        <p:txBody>
          <a:bodyPr anchor="t"/>
          <a:lstStyle>
            <a:lvl1pPr marL="0" indent="0" algn="ctr">
              <a:buNone/>
              <a:defRPr sz="2400"/>
            </a:lvl1pPr>
          </a:lstStyle>
          <a:p>
            <a:endParaRPr lang="en-US"/>
          </a:p>
          <a:p>
            <a:endParaRPr lang="en-US"/>
          </a:p>
          <a:p>
            <a:r>
              <a:rPr lang="en-US"/>
              <a:t>Drag picture to placeholder </a:t>
            </a:r>
            <a:br>
              <a:rPr lang="en-US"/>
            </a:br>
            <a:r>
              <a:rPr lang="en-US"/>
              <a:t>or click icon to add</a:t>
            </a:r>
          </a:p>
        </p:txBody>
      </p:sp>
      <p:sp>
        <p:nvSpPr>
          <p:cNvPr id="5" name="Title 4"/>
          <p:cNvSpPr>
            <a:spLocks noGrp="1"/>
          </p:cNvSpPr>
          <p:nvPr>
            <p:ph type="title" hasCustomPrompt="1"/>
          </p:nvPr>
        </p:nvSpPr>
        <p:spPr>
          <a:xfrm>
            <a:off x="268928" y="4344948"/>
            <a:ext cx="11356003" cy="959643"/>
          </a:xfrm>
        </p:spPr>
        <p:txBody>
          <a:bodyPr anchor="b"/>
          <a:lstStyle>
            <a:lvl1pPr>
              <a:defRPr sz="6000">
                <a:gradFill>
                  <a:gsLst>
                    <a:gs pos="8850">
                      <a:srgbClr val="FFFFFF"/>
                    </a:gs>
                    <a:gs pos="34000">
                      <a:srgbClr val="FFFFFF"/>
                    </a:gs>
                  </a:gsLst>
                  <a:lin ang="5400000" scaled="0"/>
                </a:gradFill>
              </a:defRPr>
            </a:lvl1pPr>
          </a:lstStyle>
          <a:p>
            <a:r>
              <a:rPr lang="en-US" dirty="0"/>
              <a:t>Title of the presentation goes here</a:t>
            </a:r>
          </a:p>
        </p:txBody>
      </p:sp>
      <p:grpSp>
        <p:nvGrpSpPr>
          <p:cNvPr id="4" name="Group 3"/>
          <p:cNvGrpSpPr>
            <a:grpSpLocks noChangeAspect="1"/>
          </p:cNvGrpSpPr>
          <p:nvPr userDrawn="1"/>
        </p:nvGrpSpPr>
        <p:grpSpPr bwMode="black">
          <a:xfrm>
            <a:off x="268929" y="6740076"/>
            <a:ext cx="1277761" cy="292608"/>
            <a:chOff x="457200" y="1643393"/>
            <a:chExt cx="4492753" cy="964540"/>
          </a:xfrm>
        </p:grpSpPr>
        <p:pic>
          <p:nvPicPr>
            <p:cNvPr id="6" name="Picture 5"/>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5" y="1792712"/>
              <a:ext cx="3246438" cy="635330"/>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8" name="Text Placeholder 4"/>
          <p:cNvSpPr>
            <a:spLocks noGrp="1"/>
          </p:cNvSpPr>
          <p:nvPr>
            <p:ph type="body" sz="quarter" idx="12" hasCustomPrompt="1"/>
          </p:nvPr>
        </p:nvSpPr>
        <p:spPr>
          <a:xfrm>
            <a:off x="268927" y="5518456"/>
            <a:ext cx="7213835" cy="531839"/>
          </a:xfrm>
        </p:spPr>
        <p:txBody>
          <a:bodyPr>
            <a:noAutofit/>
          </a:bodyPr>
          <a:lstStyle>
            <a:lvl1pPr marL="0" indent="0">
              <a:spcBef>
                <a:spcPts val="0"/>
              </a:spcBef>
              <a:buNone/>
              <a:defRPr sz="2800" b="0" i="0" spc="-71" baseline="0">
                <a:solidFill>
                  <a:schemeClr val="tx1"/>
                </a:solidFill>
                <a:latin typeface="Segoe UI Light" charset="0"/>
                <a:ea typeface="Segoe UI Light" charset="0"/>
                <a:cs typeface="Segoe UI Light" charset="0"/>
              </a:defRPr>
            </a:lvl1pPr>
          </a:lstStyle>
          <a:p>
            <a:pPr lvl="0"/>
            <a:r>
              <a:rPr lang="en-US"/>
              <a:t>Speaker Name</a:t>
            </a:r>
          </a:p>
        </p:txBody>
      </p:sp>
    </p:spTree>
    <p:extLst>
      <p:ext uri="{BB962C8B-B14F-4D97-AF65-F5344CB8AC3E}">
        <p14:creationId xmlns:p14="http://schemas.microsoft.com/office/powerpoint/2010/main" val="673352424"/>
      </p:ext>
    </p:extLst>
  </p:cSld>
  <p:clrMapOvr>
    <a:overrideClrMapping bg1="dk1" tx1="lt1" bg2="dk2" tx2="lt2" accent1="accent1" accent2="accent2" accent3="accent3" accent4="accent4" accent5="accent5" accent6="accent6" hlink="hlink" folHlink="folHlink"/>
  </p:clrMapOvr>
  <p:transition spd="slow">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5_Title Slide Blue">
    <p:bg bwMode="gray">
      <p:bgRef idx="1001">
        <a:schemeClr val="bg2"/>
      </p:bgRef>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192000" cy="1661993"/>
          </a:xfrm>
        </p:spPr>
        <p:txBody>
          <a:bodyPr anchor="t"/>
          <a:lstStyle>
            <a:lvl1pPr marL="0" indent="0" algn="ctr">
              <a:buNone/>
              <a:defRPr sz="2400"/>
            </a:lvl1pPr>
          </a:lstStyle>
          <a:p>
            <a:endParaRPr lang="en-US"/>
          </a:p>
          <a:p>
            <a:endParaRPr lang="en-US"/>
          </a:p>
          <a:p>
            <a:r>
              <a:rPr lang="en-US"/>
              <a:t>Drag picture to placeholder </a:t>
            </a:r>
            <a:br>
              <a:rPr lang="en-US"/>
            </a:br>
            <a:r>
              <a:rPr lang="en-US"/>
              <a:t>or click icon to add</a:t>
            </a:r>
          </a:p>
        </p:txBody>
      </p:sp>
      <p:sp>
        <p:nvSpPr>
          <p:cNvPr id="5" name="Title 4"/>
          <p:cNvSpPr>
            <a:spLocks noGrp="1"/>
          </p:cNvSpPr>
          <p:nvPr>
            <p:ph type="title" hasCustomPrompt="1"/>
          </p:nvPr>
        </p:nvSpPr>
        <p:spPr>
          <a:xfrm>
            <a:off x="268929" y="4073453"/>
            <a:ext cx="8875073" cy="959643"/>
          </a:xfrm>
        </p:spPr>
        <p:txBody>
          <a:bodyPr anchor="b"/>
          <a:lstStyle>
            <a:lvl1pPr>
              <a:defRPr sz="6000">
                <a:gradFill>
                  <a:gsLst>
                    <a:gs pos="8850">
                      <a:srgbClr val="FFFFFF"/>
                    </a:gs>
                    <a:gs pos="34000">
                      <a:srgbClr val="FFFFFF"/>
                    </a:gs>
                  </a:gsLst>
                  <a:lin ang="5400000" scaled="0"/>
                </a:gradFill>
              </a:defRPr>
            </a:lvl1pPr>
          </a:lstStyle>
          <a:p>
            <a:r>
              <a:rPr lang="en-US"/>
              <a:t>Title of the presentation goes here</a:t>
            </a:r>
          </a:p>
        </p:txBody>
      </p:sp>
      <p:sp>
        <p:nvSpPr>
          <p:cNvPr id="8" name="Text Placeholder 4"/>
          <p:cNvSpPr>
            <a:spLocks noGrp="1"/>
          </p:cNvSpPr>
          <p:nvPr>
            <p:ph type="body" sz="quarter" idx="12" hasCustomPrompt="1"/>
          </p:nvPr>
        </p:nvSpPr>
        <p:spPr>
          <a:xfrm>
            <a:off x="268927" y="5518456"/>
            <a:ext cx="7213835" cy="531839"/>
          </a:xfrm>
        </p:spPr>
        <p:txBody>
          <a:bodyPr>
            <a:noAutofit/>
          </a:bodyPr>
          <a:lstStyle>
            <a:lvl1pPr marL="0" indent="0">
              <a:spcBef>
                <a:spcPts val="0"/>
              </a:spcBef>
              <a:buNone/>
              <a:defRPr sz="2800" b="0" i="0" spc="-71" baseline="0">
                <a:solidFill>
                  <a:schemeClr val="tx1"/>
                </a:solidFill>
                <a:latin typeface="Segoe UI Light" charset="0"/>
                <a:ea typeface="Segoe UI Light" charset="0"/>
                <a:cs typeface="Segoe UI Light" charset="0"/>
              </a:defRPr>
            </a:lvl1pPr>
          </a:lstStyle>
          <a:p>
            <a:pPr lvl="0"/>
            <a:r>
              <a:rPr lang="en-US"/>
              <a:t>Speaker Name</a:t>
            </a:r>
          </a:p>
        </p:txBody>
      </p:sp>
    </p:spTree>
    <p:extLst>
      <p:ext uri="{BB962C8B-B14F-4D97-AF65-F5344CB8AC3E}">
        <p14:creationId xmlns:p14="http://schemas.microsoft.com/office/powerpoint/2010/main" val="2470942153"/>
      </p:ext>
    </p:extLst>
  </p:cSld>
  <p:clrMapOvr>
    <a:overrideClrMapping bg1="dk1" tx1="lt1" bg2="dk2" tx2="lt2" accent1="accent1" accent2="accent2" accent3="accent3" accent4="accent4" accent5="accent5" accent6="accent6" hlink="hlink" folHlink="folHlink"/>
  </p:clrMapOvr>
  <p:transition spd="slow">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9_Section Title Slide Blue">
    <p:bg bwMode="gray">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8928" y="5518456"/>
            <a:ext cx="11408723" cy="959643"/>
          </a:xfrm>
        </p:spPr>
        <p:txBody>
          <a:bodyPr anchor="b"/>
          <a:lstStyle>
            <a:lvl1pPr>
              <a:defRPr sz="6000">
                <a:gradFill>
                  <a:gsLst>
                    <a:gs pos="8850">
                      <a:srgbClr val="FFFFFF"/>
                    </a:gs>
                    <a:gs pos="34000">
                      <a:srgbClr val="FFFFFF"/>
                    </a:gs>
                  </a:gsLst>
                  <a:lin ang="5400000" scaled="0"/>
                </a:gradFill>
              </a:defRPr>
            </a:lvl1pPr>
          </a:lstStyle>
          <a:p>
            <a:r>
              <a:rPr lang="en-US"/>
              <a:t>Title of the presentation goes here</a:t>
            </a:r>
          </a:p>
        </p:txBody>
      </p:sp>
      <p:sp>
        <p:nvSpPr>
          <p:cNvPr id="3" name="Picture Placeholder 2"/>
          <p:cNvSpPr>
            <a:spLocks noGrp="1"/>
          </p:cNvSpPr>
          <p:nvPr>
            <p:ph type="pic" sz="quarter" idx="10"/>
          </p:nvPr>
        </p:nvSpPr>
        <p:spPr>
          <a:xfrm>
            <a:off x="0" y="1"/>
            <a:ext cx="12192000" cy="1661993"/>
          </a:xfrm>
        </p:spPr>
        <p:txBody>
          <a:bodyPr anchor="t"/>
          <a:lstStyle>
            <a:lvl1pPr marL="0" indent="0" algn="ctr">
              <a:buNone/>
              <a:defRPr sz="2400"/>
            </a:lvl1pPr>
          </a:lstStyle>
          <a:p>
            <a:endParaRPr lang="en-US"/>
          </a:p>
          <a:p>
            <a:endParaRPr lang="en-US"/>
          </a:p>
          <a:p>
            <a:r>
              <a:rPr lang="en-US"/>
              <a:t>Drag picture to placeholder </a:t>
            </a:r>
            <a:br>
              <a:rPr lang="en-US"/>
            </a:br>
            <a:r>
              <a:rPr lang="en-US"/>
              <a:t>or click icon to add</a:t>
            </a:r>
          </a:p>
        </p:txBody>
      </p:sp>
    </p:spTree>
    <p:extLst>
      <p:ext uri="{BB962C8B-B14F-4D97-AF65-F5344CB8AC3E}">
        <p14:creationId xmlns:p14="http://schemas.microsoft.com/office/powerpoint/2010/main" val="1945117080"/>
      </p:ext>
    </p:extLst>
  </p:cSld>
  <p:clrMapOvr>
    <a:overrideClrMapping bg1="dk1" tx1="lt1" bg2="dk2" tx2="lt2" accent1="accent1" accent2="accent2" accent3="accent3" accent4="accent4" accent5="accent5" accent6="accent6" hlink="hlink" folHlink="folHlink"/>
  </p:clrMapOvr>
  <p:transition spd="slow">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6_Title Slide Blue">
    <p:bg bwMode="gray">
      <p:bgRef idx="1001">
        <a:schemeClr val="bg1"/>
      </p:bgRef>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1661993"/>
          </a:xfrm>
        </p:spPr>
        <p:txBody>
          <a:bodyPr anchor="t"/>
          <a:lstStyle>
            <a:lvl1pPr marL="0" indent="0" algn="ctr">
              <a:buNone/>
              <a:defRPr sz="2400"/>
            </a:lvl1pPr>
          </a:lstStyle>
          <a:p>
            <a:endParaRPr lang="en-US"/>
          </a:p>
          <a:p>
            <a:endParaRPr lang="en-US"/>
          </a:p>
          <a:p>
            <a:r>
              <a:rPr lang="en-US"/>
              <a:t>Drag picture to placeholder </a:t>
            </a:r>
            <a:br>
              <a:rPr lang="en-US"/>
            </a:br>
            <a:r>
              <a:rPr lang="en-US"/>
              <a:t>or click icon to add</a:t>
            </a:r>
          </a:p>
        </p:txBody>
      </p:sp>
      <p:sp>
        <p:nvSpPr>
          <p:cNvPr id="5" name="Title 4"/>
          <p:cNvSpPr>
            <a:spLocks noGrp="1"/>
          </p:cNvSpPr>
          <p:nvPr>
            <p:ph type="title" hasCustomPrompt="1"/>
          </p:nvPr>
        </p:nvSpPr>
        <p:spPr>
          <a:xfrm>
            <a:off x="268929" y="4073453"/>
            <a:ext cx="8875073" cy="959643"/>
          </a:xfrm>
        </p:spPr>
        <p:txBody>
          <a:bodyPr anchor="b"/>
          <a:lstStyle>
            <a:lvl1pPr>
              <a:defRPr sz="6000">
                <a:solidFill>
                  <a:srgbClr val="0072C6"/>
                </a:solidFill>
              </a:defRPr>
            </a:lvl1pPr>
          </a:lstStyle>
          <a:p>
            <a:r>
              <a:rPr lang="en-US"/>
              <a:t>Title of the presentation goes here</a:t>
            </a:r>
          </a:p>
        </p:txBody>
      </p:sp>
      <p:sp>
        <p:nvSpPr>
          <p:cNvPr id="8" name="Text Placeholder 4"/>
          <p:cNvSpPr>
            <a:spLocks noGrp="1"/>
          </p:cNvSpPr>
          <p:nvPr>
            <p:ph type="body" sz="quarter" idx="12" hasCustomPrompt="1"/>
          </p:nvPr>
        </p:nvSpPr>
        <p:spPr>
          <a:xfrm>
            <a:off x="268927" y="5518456"/>
            <a:ext cx="7213835" cy="531839"/>
          </a:xfrm>
        </p:spPr>
        <p:txBody>
          <a:bodyPr>
            <a:noAutofit/>
          </a:bodyPr>
          <a:lstStyle>
            <a:lvl1pPr marL="0" indent="0">
              <a:spcBef>
                <a:spcPts val="0"/>
              </a:spcBef>
              <a:buNone/>
              <a:defRPr sz="2800" b="0" i="0" spc="-71" baseline="0">
                <a:solidFill>
                  <a:schemeClr val="tx1"/>
                </a:solidFill>
                <a:latin typeface="Segoe UI Light" charset="0"/>
                <a:ea typeface="Segoe UI Light" charset="0"/>
                <a:cs typeface="Segoe UI Light" charset="0"/>
              </a:defRPr>
            </a:lvl1pPr>
          </a:lstStyle>
          <a:p>
            <a:pPr lvl="0"/>
            <a:r>
              <a:rPr lang="en-US"/>
              <a:t>Speaker Name</a:t>
            </a:r>
          </a:p>
        </p:txBody>
      </p:sp>
      <p:grpSp>
        <p:nvGrpSpPr>
          <p:cNvPr id="9" name="Group 8"/>
          <p:cNvGrpSpPr>
            <a:grpSpLocks noChangeAspect="1"/>
          </p:cNvGrpSpPr>
          <p:nvPr userDrawn="1"/>
        </p:nvGrpSpPr>
        <p:grpSpPr bwMode="black">
          <a:xfrm>
            <a:off x="268928" y="6694157"/>
            <a:ext cx="1277765" cy="292608"/>
            <a:chOff x="457200" y="1643393"/>
            <a:chExt cx="4492753" cy="964540"/>
          </a:xfrm>
        </p:grpSpPr>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4105700810"/>
      </p:ext>
    </p:extLst>
  </p:cSld>
  <p:clrMapOvr>
    <a:overrideClrMapping bg1="lt1" tx1="dk1" bg2="lt2" tx2="dk2" accent1="accent1" accent2="accent2" accent3="accent3" accent4="accent4" accent5="accent5" accent6="accent6" hlink="hlink" folHlink="folHlink"/>
  </p:clrMapOvr>
  <p:transition spd="slow">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7_Title Slide Blue">
    <p:bg bwMode="gray">
      <p:bgRef idx="1001">
        <a:schemeClr val="bg1"/>
      </p:bgRef>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1661993"/>
          </a:xfrm>
        </p:spPr>
        <p:txBody>
          <a:bodyPr anchor="t"/>
          <a:lstStyle>
            <a:lvl1pPr marL="0" indent="0" algn="ctr">
              <a:buNone/>
              <a:defRPr sz="2400"/>
            </a:lvl1pPr>
          </a:lstStyle>
          <a:p>
            <a:endParaRPr lang="en-US"/>
          </a:p>
          <a:p>
            <a:endParaRPr lang="en-US"/>
          </a:p>
          <a:p>
            <a:r>
              <a:rPr lang="en-US"/>
              <a:t>Drag picture to placeholder </a:t>
            </a:r>
            <a:br>
              <a:rPr lang="en-US"/>
            </a:br>
            <a:r>
              <a:rPr lang="en-US"/>
              <a:t>or click icon to add</a:t>
            </a:r>
          </a:p>
        </p:txBody>
      </p:sp>
      <p:sp>
        <p:nvSpPr>
          <p:cNvPr id="5" name="Title 4"/>
          <p:cNvSpPr>
            <a:spLocks noGrp="1"/>
          </p:cNvSpPr>
          <p:nvPr>
            <p:ph type="title" hasCustomPrompt="1"/>
          </p:nvPr>
        </p:nvSpPr>
        <p:spPr>
          <a:xfrm>
            <a:off x="268929" y="4073453"/>
            <a:ext cx="8875073" cy="959643"/>
          </a:xfrm>
        </p:spPr>
        <p:txBody>
          <a:bodyPr anchor="b"/>
          <a:lstStyle>
            <a:lvl1pPr>
              <a:defRPr sz="6000">
                <a:solidFill>
                  <a:srgbClr val="0072C6"/>
                </a:solidFill>
              </a:defRPr>
            </a:lvl1pPr>
          </a:lstStyle>
          <a:p>
            <a:r>
              <a:rPr lang="en-US"/>
              <a:t>Title of the presentation goes here</a:t>
            </a:r>
          </a:p>
        </p:txBody>
      </p:sp>
      <p:sp>
        <p:nvSpPr>
          <p:cNvPr id="8" name="Text Placeholder 4"/>
          <p:cNvSpPr>
            <a:spLocks noGrp="1"/>
          </p:cNvSpPr>
          <p:nvPr>
            <p:ph type="body" sz="quarter" idx="12" hasCustomPrompt="1"/>
          </p:nvPr>
        </p:nvSpPr>
        <p:spPr>
          <a:xfrm>
            <a:off x="268927" y="5518456"/>
            <a:ext cx="7213835" cy="531839"/>
          </a:xfrm>
        </p:spPr>
        <p:txBody>
          <a:bodyPr>
            <a:noAutofit/>
          </a:bodyPr>
          <a:lstStyle>
            <a:lvl1pPr marL="0" indent="0">
              <a:spcBef>
                <a:spcPts val="0"/>
              </a:spcBef>
              <a:buNone/>
              <a:defRPr sz="2800" b="0" i="0" spc="-71" baseline="0">
                <a:solidFill>
                  <a:schemeClr val="tx1"/>
                </a:solidFill>
                <a:latin typeface="Segoe UI Light" charset="0"/>
                <a:ea typeface="Segoe UI Light" charset="0"/>
                <a:cs typeface="Segoe UI Light" charset="0"/>
              </a:defRPr>
            </a:lvl1pPr>
          </a:lstStyle>
          <a:p>
            <a:pPr lvl="0"/>
            <a:r>
              <a:rPr lang="en-US"/>
              <a:t>Speaker Name</a:t>
            </a:r>
          </a:p>
        </p:txBody>
      </p:sp>
    </p:spTree>
    <p:extLst>
      <p:ext uri="{BB962C8B-B14F-4D97-AF65-F5344CB8AC3E}">
        <p14:creationId xmlns:p14="http://schemas.microsoft.com/office/powerpoint/2010/main" val="891723063"/>
      </p:ext>
    </p:extLst>
  </p:cSld>
  <p:clrMapOvr>
    <a:overrideClrMapping bg1="lt1" tx1="dk1" bg2="lt2" tx2="dk2" accent1="accent1" accent2="accent2" accent3="accent3" accent4="accent4" accent5="accent5" accent6="accent6" hlink="hlink" folHlink="folHlink"/>
  </p:clrMapOvr>
  <p:transition spd="slow">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40568"/>
            <a:ext cx="9285515" cy="3634066"/>
          </a:xfrm>
        </p:spPr>
        <p:txBody>
          <a:bodyPr lIns="0" anchor="ctr"/>
          <a:lstStyle>
            <a:lvl1pPr>
              <a:defRPr sz="5400">
                <a:gradFill>
                  <a:gsLst>
                    <a:gs pos="26549">
                      <a:schemeClr val="tx1"/>
                    </a:gs>
                    <a:gs pos="5700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6730101"/>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Section Title Blue">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40568"/>
            <a:ext cx="9285515" cy="3634066"/>
          </a:xfrm>
        </p:spPr>
        <p:txBody>
          <a:bodyPr lIns="0" anchor="ctr"/>
          <a:lstStyle>
            <a:lvl1pPr>
              <a:defRPr sz="5400">
                <a:solidFill>
                  <a:srgbClr val="0072C6"/>
                </a:solidFill>
              </a:defRPr>
            </a:lvl1pPr>
          </a:lstStyle>
          <a:p>
            <a:r>
              <a:rPr lang="en-US"/>
              <a:t>Section title</a:t>
            </a:r>
          </a:p>
        </p:txBody>
      </p:sp>
    </p:spTree>
    <p:extLst>
      <p:ext uri="{BB962C8B-B14F-4D97-AF65-F5344CB8AC3E}">
        <p14:creationId xmlns:p14="http://schemas.microsoft.com/office/powerpoint/2010/main" val="3739354387"/>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6461" y="3397620"/>
            <a:ext cx="7686886" cy="3055770"/>
          </a:xfrm>
          <a:noFill/>
        </p:spPr>
        <p:txBody>
          <a:bodyPr tIns="91440" bIns="91440" anchor="t" anchorCtr="0"/>
          <a:lstStyle>
            <a:lvl1pPr algn="l">
              <a:defRPr sz="8627" spc="-98" baseline="0">
                <a:gradFill>
                  <a:gsLst>
                    <a:gs pos="100000">
                      <a:schemeClr val="tx1"/>
                    </a:gs>
                    <a:gs pos="0">
                      <a:schemeClr val="tx1"/>
                    </a:gs>
                  </a:gsLst>
                  <a:lin ang="5400000" scaled="0"/>
                </a:gradFill>
              </a:defRPr>
            </a:lvl1pPr>
          </a:lstStyle>
          <a:p>
            <a:r>
              <a:rPr lang="en-US" dirty="0"/>
              <a:t>Speaker Name</a:t>
            </a:r>
          </a:p>
        </p:txBody>
      </p:sp>
      <p:sp>
        <p:nvSpPr>
          <p:cNvPr id="8" name="Content Placeholder 7"/>
          <p:cNvSpPr>
            <a:spLocks noGrp="1"/>
          </p:cNvSpPr>
          <p:nvPr>
            <p:ph sz="quarter" idx="10" hasCustomPrompt="1"/>
          </p:nvPr>
        </p:nvSpPr>
        <p:spPr>
          <a:xfrm>
            <a:off x="8389263" y="3565483"/>
            <a:ext cx="3466610" cy="572464"/>
          </a:xfrm>
        </p:spPr>
        <p:txBody>
          <a:bodyPr/>
          <a:lstStyle>
            <a:lvl1pPr marL="0" indent="0">
              <a:buNone/>
              <a:defRPr sz="2800" baseline="0">
                <a:solidFill>
                  <a:schemeClr val="tx2"/>
                </a:solidFill>
              </a:defRPr>
            </a:lvl1pPr>
          </a:lstStyle>
          <a:p>
            <a:pPr lvl="0"/>
            <a:r>
              <a:rPr lang="en-US" dirty="0"/>
              <a:t>JOB TITLE</a:t>
            </a:r>
          </a:p>
        </p:txBody>
      </p:sp>
      <p:sp>
        <p:nvSpPr>
          <p:cNvPr id="6" name="Content Placeholder 7"/>
          <p:cNvSpPr>
            <a:spLocks noGrp="1"/>
          </p:cNvSpPr>
          <p:nvPr>
            <p:ph sz="quarter" idx="11" hasCustomPrompt="1"/>
          </p:nvPr>
        </p:nvSpPr>
        <p:spPr>
          <a:xfrm>
            <a:off x="8389263" y="4319462"/>
            <a:ext cx="3466610" cy="461665"/>
          </a:xfrm>
        </p:spPr>
        <p:txBody>
          <a:bodyPr/>
          <a:lstStyle>
            <a:lvl1pPr marL="0" indent="0">
              <a:buNone/>
              <a:defRPr sz="2000" baseline="0">
                <a:solidFill>
                  <a:schemeClr val="tx1"/>
                </a:solidFill>
              </a:defRPr>
            </a:lvl1pPr>
          </a:lstStyle>
          <a:p>
            <a:pPr lvl="0"/>
            <a:r>
              <a:rPr lang="en-US" dirty="0"/>
              <a:t>XX.XX.16</a:t>
            </a:r>
          </a:p>
        </p:txBody>
      </p:sp>
    </p:spTree>
    <p:extLst>
      <p:ext uri="{BB962C8B-B14F-4D97-AF65-F5344CB8AC3E}">
        <p14:creationId xmlns:p14="http://schemas.microsoft.com/office/powerpoint/2010/main" val="2115578674"/>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Ref idx="1001">
        <a:schemeClr val="bg2"/>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696"/>
          <a:ext cx="1587" cy="1692"/>
        </p:xfrm>
        <a:graphic>
          <a:graphicData uri="http://schemas.openxmlformats.org/presentationml/2006/ole">
            <mc:AlternateContent xmlns:mc="http://schemas.openxmlformats.org/markup-compatibility/2006">
              <mc:Choice xmlns:v="urn:schemas-microsoft-com:vml" Requires="v">
                <p:oleObj spid="_x0000_s5250"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9" y="1696"/>
                        <a:ext cx="1587" cy="1692"/>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1"/>
                </a:solidFill>
              </a:defRPr>
            </a:lvl1pPr>
          </a:lstStyle>
          <a:p>
            <a:r>
              <a:rPr lang="en-US"/>
              <a:t>Click to edit Master title style</a:t>
            </a:r>
          </a:p>
        </p:txBody>
      </p:sp>
    </p:spTree>
    <p:extLst>
      <p:ext uri="{BB962C8B-B14F-4D97-AF65-F5344CB8AC3E}">
        <p14:creationId xmlns:p14="http://schemas.microsoft.com/office/powerpoint/2010/main" val="2344213834"/>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696"/>
          <a:ext cx="1587" cy="1692"/>
        </p:xfrm>
        <a:graphic>
          <a:graphicData uri="http://schemas.openxmlformats.org/presentationml/2006/ole">
            <mc:AlternateContent xmlns:mc="http://schemas.openxmlformats.org/markup-compatibility/2006">
              <mc:Choice xmlns:v="urn:schemas-microsoft-com:vml" Requires="v">
                <p:oleObj spid="_x0000_s6274"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9" y="1696"/>
                        <a:ext cx="1587" cy="1692"/>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1152111214"/>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with blue bar">
    <p:bg bwMode="gray">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6680" y="2"/>
            <a:ext cx="12198680" cy="14088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533"/>
              </a:spcBef>
            </a:pPr>
            <a:endParaRPr lang="en-US" sz="2400"/>
          </a:p>
        </p:txBody>
      </p:sp>
      <p:sp>
        <p:nvSpPr>
          <p:cNvPr id="3" name="Title 2"/>
          <p:cNvSpPr>
            <a:spLocks noGrp="1"/>
          </p:cNvSpPr>
          <p:nvPr>
            <p:ph type="title"/>
          </p:nvPr>
        </p:nvSpPr>
        <p:spPr/>
        <p:txBody>
          <a:bodyPr/>
          <a:lstStyle>
            <a:lvl1pPr>
              <a:defRPr sz="3600">
                <a:solidFill>
                  <a:schemeClr val="bg1"/>
                </a:solidFill>
              </a:defRPr>
            </a:lvl1pPr>
          </a:lstStyle>
          <a:p>
            <a:r>
              <a:rPr lang="en-US"/>
              <a:t>Click to edit Master title style</a:t>
            </a:r>
          </a:p>
        </p:txBody>
      </p:sp>
    </p:spTree>
    <p:extLst>
      <p:ext uri="{BB962C8B-B14F-4D97-AF65-F5344CB8AC3E}">
        <p14:creationId xmlns:p14="http://schemas.microsoft.com/office/powerpoint/2010/main" val="1236205970"/>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Ref idx="1001">
        <a:schemeClr val="bg2"/>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9" y="1774867"/>
            <a:ext cx="11653523" cy="1646605"/>
          </a:xfrm>
        </p:spPr>
        <p:txBody>
          <a:bodyPr/>
          <a:lstStyle>
            <a:lvl1pPr>
              <a:defRPr sz="2000">
                <a:solidFill>
                  <a:schemeClr val="tx1"/>
                </a:solidFill>
                <a:latin typeface="+mn-lt"/>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sz="3600">
                <a:solidFill>
                  <a:schemeClr val="tx1"/>
                </a:solidFill>
              </a:defRPr>
            </a:lvl1pPr>
          </a:lstStyle>
          <a:p>
            <a:r>
              <a:rPr lang="en-US"/>
              <a:t>Click to edit Master title style</a:t>
            </a:r>
          </a:p>
        </p:txBody>
      </p:sp>
    </p:spTree>
    <p:extLst>
      <p:ext uri="{BB962C8B-B14F-4D97-AF65-F5344CB8AC3E}">
        <p14:creationId xmlns:p14="http://schemas.microsoft.com/office/powerpoint/2010/main" val="689354500"/>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mp; Content White">
    <p:bg bwMode="ltGray">
      <p:bgRef idx="1001">
        <a:schemeClr val="bg1"/>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9" y="1774867"/>
            <a:ext cx="11653523" cy="1646605"/>
          </a:xfrm>
        </p:spPr>
        <p:txBody>
          <a:bodyPr/>
          <a:lstStyle>
            <a:lvl1pPr>
              <a:defRPr sz="2000">
                <a:gradFill>
                  <a:gsLst>
                    <a:gs pos="1250">
                      <a:schemeClr val="tx1"/>
                    </a:gs>
                    <a:gs pos="100000">
                      <a:schemeClr val="tx1"/>
                    </a:gs>
                  </a:gsLst>
                  <a:lin ang="5400000" scaled="0"/>
                </a:gradFill>
                <a:latin typeface="+mn-lt"/>
              </a:defRPr>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2800151060"/>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nk Blue">
    <p:bg bwMode="ltGray">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9685965"/>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p:bg bwMode="ltGray">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696"/>
          <a:ext cx="1587" cy="1692"/>
        </p:xfrm>
        <a:graphic>
          <a:graphicData uri="http://schemas.openxmlformats.org/presentationml/2006/ole">
            <mc:AlternateContent xmlns:mc="http://schemas.openxmlformats.org/markup-compatibility/2006">
              <mc:Choice xmlns:v="urn:schemas-microsoft-com:vml" Requires="v">
                <p:oleObj spid="_x0000_s7298" name="think-cell Slide" r:id="rId4" imgW="425" imgH="426" progId="TCLayout.ActiveDocument.1">
                  <p:embed/>
                </p:oleObj>
              </mc:Choice>
              <mc:Fallback>
                <p:oleObj name="think-cell Slide" r:id="rId4" imgW="425" imgH="426" progId="TCLayout.ActiveDocument.1">
                  <p:embed/>
                  <p:pic>
                    <p:nvPicPr>
                      <p:cNvPr id="3" name="Object 2" hidden="1"/>
                      <p:cNvPicPr/>
                      <p:nvPr/>
                    </p:nvPicPr>
                    <p:blipFill>
                      <a:blip r:embed="rId5"/>
                      <a:stretch>
                        <a:fillRect/>
                      </a:stretch>
                    </p:blipFill>
                    <p:spPr>
                      <a:xfrm>
                        <a:off x="1589" y="1696"/>
                        <a:ext cx="1587" cy="1692"/>
                      </a:xfrm>
                      <a:prstGeom prst="rect">
                        <a:avLst/>
                      </a:prstGeom>
                    </p:spPr>
                  </p:pic>
                </p:oleObj>
              </mc:Fallback>
            </mc:AlternateContent>
          </a:graphicData>
        </a:graphic>
      </p:graphicFrame>
    </p:spTree>
    <p:extLst>
      <p:ext uri="{BB962C8B-B14F-4D97-AF65-F5344CB8AC3E}">
        <p14:creationId xmlns:p14="http://schemas.microsoft.com/office/powerpoint/2010/main" val="379025483"/>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Title Only white">
    <p:bg bwMode="gray">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696"/>
          <a:ext cx="1587" cy="1692"/>
        </p:xfrm>
        <a:graphic>
          <a:graphicData uri="http://schemas.openxmlformats.org/presentationml/2006/ole">
            <mc:AlternateContent xmlns:mc="http://schemas.openxmlformats.org/markup-compatibility/2006">
              <mc:Choice xmlns:v="urn:schemas-microsoft-com:vml" Requires="v">
                <p:oleObj spid="_x0000_s8322"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9" y="1696"/>
                        <a:ext cx="1587" cy="1692"/>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bg1"/>
                </a:solidFill>
              </a:defRPr>
            </a:lvl1pPr>
          </a:lstStyle>
          <a:p>
            <a:r>
              <a:rPr lang="en-US"/>
              <a:t>Click to edit Master title style</a:t>
            </a:r>
          </a:p>
        </p:txBody>
      </p:sp>
    </p:spTree>
    <p:extLst>
      <p:ext uri="{BB962C8B-B14F-4D97-AF65-F5344CB8AC3E}">
        <p14:creationId xmlns:p14="http://schemas.microsoft.com/office/powerpoint/2010/main" val="2169163614"/>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losing_blue">
    <p:bg>
      <p:bgPr>
        <a:solidFill>
          <a:schemeClr val="accent1"/>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4639" y="6714108"/>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67"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73854" y="3494033"/>
            <a:ext cx="2237263" cy="512333"/>
            <a:chOff x="457200" y="1643393"/>
            <a:chExt cx="4492753" cy="96454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4023424898"/>
      </p:ext>
    </p:extLst>
  </p:cSld>
  <p:clrMapOvr>
    <a:masterClrMapping/>
  </p:clrMapOvr>
  <p:transition spd="slow">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losing_white">
    <p:bg>
      <p:bgRef idx="1001">
        <a:schemeClr val="bg1"/>
      </p:bgRef>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4639" y="6714108"/>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67"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73854" y="3494033"/>
            <a:ext cx="2237263" cy="512333"/>
            <a:chOff x="457200" y="1643393"/>
            <a:chExt cx="4492753" cy="96454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1358437125"/>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02376" y="3140368"/>
            <a:ext cx="7175055" cy="3055770"/>
          </a:xfrm>
          <a:noFill/>
        </p:spPr>
        <p:txBody>
          <a:bodyPr tIns="91440" bIns="91440" anchor="t" anchorCtr="0"/>
          <a:lstStyle>
            <a:lvl1pPr algn="l">
              <a:defRPr sz="8627" spc="-98" baseline="0">
                <a:gradFill>
                  <a:gsLst>
                    <a:gs pos="100000">
                      <a:schemeClr val="tx1"/>
                    </a:gs>
                    <a:gs pos="0">
                      <a:schemeClr val="tx1"/>
                    </a:gs>
                  </a:gsLst>
                  <a:lin ang="5400000" scaled="0"/>
                </a:gradFill>
              </a:defRPr>
            </a:lvl1pPr>
          </a:lstStyle>
          <a:p>
            <a:r>
              <a:rPr lang="en-US" dirty="0"/>
              <a:t>Session Title</a:t>
            </a:r>
          </a:p>
        </p:txBody>
      </p:sp>
      <p:sp>
        <p:nvSpPr>
          <p:cNvPr id="8" name="Content Placeholder 7"/>
          <p:cNvSpPr>
            <a:spLocks noGrp="1"/>
          </p:cNvSpPr>
          <p:nvPr>
            <p:ph sz="quarter" idx="10" hasCustomPrompt="1"/>
          </p:nvPr>
        </p:nvSpPr>
        <p:spPr>
          <a:xfrm>
            <a:off x="8389263" y="2747335"/>
            <a:ext cx="3466610" cy="1920918"/>
          </a:xfrm>
        </p:spPr>
        <p:txBody>
          <a:bodyPr/>
          <a:lstStyle>
            <a:lvl1pPr marL="0" indent="0">
              <a:buNone/>
              <a:defRPr baseline="0"/>
            </a:lvl1pPr>
          </a:lstStyle>
          <a:p>
            <a:pPr lvl="0"/>
            <a:r>
              <a:rPr lang="en-US" dirty="0"/>
              <a:t>Speaker 1</a:t>
            </a:r>
          </a:p>
        </p:txBody>
      </p:sp>
    </p:spTree>
    <p:extLst>
      <p:ext uri="{BB962C8B-B14F-4D97-AF65-F5344CB8AC3E}">
        <p14:creationId xmlns:p14="http://schemas.microsoft.com/office/powerpoint/2010/main" val="394596445"/>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CD7AF6-CAE7-0B47-AA6B-16A0BC68B118}"/>
              </a:ext>
            </a:extLst>
          </p:cNvPr>
          <p:cNvSpPr>
            <a:spLocks noGrp="1"/>
          </p:cNvSpPr>
          <p:nvPr>
            <p:ph type="ctrTitle"/>
          </p:nvPr>
        </p:nvSpPr>
        <p:spPr>
          <a:xfrm>
            <a:off x="1524000" y="1197187"/>
            <a:ext cx="9144000" cy="2546773"/>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79F32FC-3A53-2F4D-BFB5-F4E891AEF7DE}"/>
              </a:ext>
            </a:extLst>
          </p:cNvPr>
          <p:cNvSpPr>
            <a:spLocks noGrp="1"/>
          </p:cNvSpPr>
          <p:nvPr>
            <p:ph type="subTitle" idx="1"/>
          </p:nvPr>
        </p:nvSpPr>
        <p:spPr>
          <a:xfrm>
            <a:off x="1524000" y="3842174"/>
            <a:ext cx="9144000" cy="1766146"/>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36DE821-F084-2144-8F17-15527200BA50}"/>
              </a:ext>
            </a:extLst>
          </p:cNvPr>
          <p:cNvSpPr>
            <a:spLocks noGrp="1"/>
          </p:cNvSpPr>
          <p:nvPr>
            <p:ph type="dt" sz="half" idx="10"/>
          </p:nvPr>
        </p:nvSpPr>
        <p:spPr/>
        <p:txBody>
          <a:bodyPr/>
          <a:lstStyle/>
          <a:p>
            <a:fld id="{CA6D4DB6-DB82-1641-9B2A-EADAF8245C83}" type="datetimeFigureOut">
              <a:rPr lang="en-US" smtClean="0"/>
              <a:t>1/8/2019</a:t>
            </a:fld>
            <a:endParaRPr lang="en-US"/>
          </a:p>
        </p:txBody>
      </p:sp>
      <p:sp>
        <p:nvSpPr>
          <p:cNvPr id="5" name="Footer Placeholder 4">
            <a:extLst>
              <a:ext uri="{FF2B5EF4-FFF2-40B4-BE49-F238E27FC236}">
                <a16:creationId xmlns:a16="http://schemas.microsoft.com/office/drawing/2014/main" id="{B8FE2BBD-B19C-D043-B8A9-CA17986AB08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176676-432E-A941-B7E4-311C42AA23BD}"/>
              </a:ext>
            </a:extLst>
          </p:cNvPr>
          <p:cNvSpPr>
            <a:spLocks noGrp="1"/>
          </p:cNvSpPr>
          <p:nvPr>
            <p:ph type="sldNum" sz="quarter" idx="12"/>
          </p:nvPr>
        </p:nvSpPr>
        <p:spPr/>
        <p:txBody>
          <a:bodyPr/>
          <a:lstStyle/>
          <a:p>
            <a:fld id="{3E402A1F-89C0-7D47-A4AF-5A151B27DE79}" type="slidenum">
              <a:rPr lang="en-US" smtClean="0"/>
              <a:t>‹#›</a:t>
            </a:fld>
            <a:endParaRPr lang="en-US"/>
          </a:p>
        </p:txBody>
      </p:sp>
    </p:spTree>
    <p:extLst>
      <p:ext uri="{BB962C8B-B14F-4D97-AF65-F5344CB8AC3E}">
        <p14:creationId xmlns:p14="http://schemas.microsoft.com/office/powerpoint/2010/main" val="277890953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AE1EE0-D9C2-E34B-8D68-52915BEF86C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E47CD8B-505B-5342-ADC3-931B44ACD48F}"/>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EEC84F0-5F0C-4148-95F0-6BF3D32D9EE7}"/>
              </a:ext>
            </a:extLst>
          </p:cNvPr>
          <p:cNvSpPr>
            <a:spLocks noGrp="1"/>
          </p:cNvSpPr>
          <p:nvPr>
            <p:ph type="dt" sz="half" idx="10"/>
          </p:nvPr>
        </p:nvSpPr>
        <p:spPr/>
        <p:txBody>
          <a:bodyPr/>
          <a:lstStyle/>
          <a:p>
            <a:fld id="{CA6D4DB6-DB82-1641-9B2A-EADAF8245C83}" type="datetimeFigureOut">
              <a:rPr lang="en-US" smtClean="0"/>
              <a:t>1/8/2019</a:t>
            </a:fld>
            <a:endParaRPr lang="en-US"/>
          </a:p>
        </p:txBody>
      </p:sp>
      <p:sp>
        <p:nvSpPr>
          <p:cNvPr id="5" name="Footer Placeholder 4">
            <a:extLst>
              <a:ext uri="{FF2B5EF4-FFF2-40B4-BE49-F238E27FC236}">
                <a16:creationId xmlns:a16="http://schemas.microsoft.com/office/drawing/2014/main" id="{D53615B8-BA41-5140-A2F3-44F2C3F43DB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1D389C1-DF00-2B41-BBB8-DCBB25CE3C21}"/>
              </a:ext>
            </a:extLst>
          </p:cNvPr>
          <p:cNvSpPr>
            <a:spLocks noGrp="1"/>
          </p:cNvSpPr>
          <p:nvPr>
            <p:ph type="sldNum" sz="quarter" idx="12"/>
          </p:nvPr>
        </p:nvSpPr>
        <p:spPr/>
        <p:txBody>
          <a:bodyPr/>
          <a:lstStyle/>
          <a:p>
            <a:fld id="{3E402A1F-89C0-7D47-A4AF-5A151B27DE79}" type="slidenum">
              <a:rPr lang="en-US" smtClean="0"/>
              <a:t>‹#›</a:t>
            </a:fld>
            <a:endParaRPr lang="en-US"/>
          </a:p>
        </p:txBody>
      </p:sp>
    </p:spTree>
    <p:extLst>
      <p:ext uri="{BB962C8B-B14F-4D97-AF65-F5344CB8AC3E}">
        <p14:creationId xmlns:p14="http://schemas.microsoft.com/office/powerpoint/2010/main" val="55996286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E238F2-0822-4D49-9AA2-5FA7C536A0A0}"/>
              </a:ext>
            </a:extLst>
          </p:cNvPr>
          <p:cNvSpPr>
            <a:spLocks noGrp="1"/>
          </p:cNvSpPr>
          <p:nvPr>
            <p:ph type="title"/>
          </p:nvPr>
        </p:nvSpPr>
        <p:spPr>
          <a:xfrm>
            <a:off x="831850" y="1823721"/>
            <a:ext cx="10515600" cy="3042919"/>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6CEE794-BBB8-B04C-B554-41E17C48AFAE}"/>
              </a:ext>
            </a:extLst>
          </p:cNvPr>
          <p:cNvSpPr>
            <a:spLocks noGrp="1"/>
          </p:cNvSpPr>
          <p:nvPr>
            <p:ph type="body" idx="1"/>
          </p:nvPr>
        </p:nvSpPr>
        <p:spPr>
          <a:xfrm>
            <a:off x="831850" y="4895428"/>
            <a:ext cx="10515600" cy="1600199"/>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579C7751-0838-324F-862A-8A45B72F54A3}"/>
              </a:ext>
            </a:extLst>
          </p:cNvPr>
          <p:cNvSpPr>
            <a:spLocks noGrp="1"/>
          </p:cNvSpPr>
          <p:nvPr>
            <p:ph type="dt" sz="half" idx="10"/>
          </p:nvPr>
        </p:nvSpPr>
        <p:spPr/>
        <p:txBody>
          <a:bodyPr/>
          <a:lstStyle/>
          <a:p>
            <a:fld id="{CA6D4DB6-DB82-1641-9B2A-EADAF8245C83}" type="datetimeFigureOut">
              <a:rPr lang="en-US" smtClean="0"/>
              <a:t>1/8/2019</a:t>
            </a:fld>
            <a:endParaRPr lang="en-US"/>
          </a:p>
        </p:txBody>
      </p:sp>
      <p:sp>
        <p:nvSpPr>
          <p:cNvPr id="5" name="Footer Placeholder 4">
            <a:extLst>
              <a:ext uri="{FF2B5EF4-FFF2-40B4-BE49-F238E27FC236}">
                <a16:creationId xmlns:a16="http://schemas.microsoft.com/office/drawing/2014/main" id="{7EA64C2F-0CB4-A84F-8D62-1B88686576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77096C7-ABD4-A148-9E39-CFCB20BD5D09}"/>
              </a:ext>
            </a:extLst>
          </p:cNvPr>
          <p:cNvSpPr>
            <a:spLocks noGrp="1"/>
          </p:cNvSpPr>
          <p:nvPr>
            <p:ph type="sldNum" sz="quarter" idx="12"/>
          </p:nvPr>
        </p:nvSpPr>
        <p:spPr/>
        <p:txBody>
          <a:bodyPr/>
          <a:lstStyle/>
          <a:p>
            <a:fld id="{3E402A1F-89C0-7D47-A4AF-5A151B27DE79}" type="slidenum">
              <a:rPr lang="en-US" smtClean="0"/>
              <a:t>‹#›</a:t>
            </a:fld>
            <a:endParaRPr lang="en-US"/>
          </a:p>
        </p:txBody>
      </p:sp>
    </p:spTree>
    <p:extLst>
      <p:ext uri="{BB962C8B-B14F-4D97-AF65-F5344CB8AC3E}">
        <p14:creationId xmlns:p14="http://schemas.microsoft.com/office/powerpoint/2010/main" val="1833603944"/>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8DC0AF-1685-F947-952B-8F04640D79A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9FE257E-A5C9-0A45-9B9F-4A8B8FB6DBB1}"/>
              </a:ext>
            </a:extLst>
          </p:cNvPr>
          <p:cNvSpPr>
            <a:spLocks noGrp="1"/>
          </p:cNvSpPr>
          <p:nvPr>
            <p:ph sz="half" idx="1"/>
          </p:nvPr>
        </p:nvSpPr>
        <p:spPr>
          <a:xfrm>
            <a:off x="838200" y="1947333"/>
            <a:ext cx="5181600" cy="46414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75F8215-0CCF-2F44-AC35-3337E9E9B9EF}"/>
              </a:ext>
            </a:extLst>
          </p:cNvPr>
          <p:cNvSpPr>
            <a:spLocks noGrp="1"/>
          </p:cNvSpPr>
          <p:nvPr>
            <p:ph sz="half" idx="2"/>
          </p:nvPr>
        </p:nvSpPr>
        <p:spPr>
          <a:xfrm>
            <a:off x="6172200" y="1947333"/>
            <a:ext cx="5181600" cy="46414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545B875-ED59-EF43-89D7-A590CD0CC61A}"/>
              </a:ext>
            </a:extLst>
          </p:cNvPr>
          <p:cNvSpPr>
            <a:spLocks noGrp="1"/>
          </p:cNvSpPr>
          <p:nvPr>
            <p:ph type="dt" sz="half" idx="10"/>
          </p:nvPr>
        </p:nvSpPr>
        <p:spPr/>
        <p:txBody>
          <a:bodyPr/>
          <a:lstStyle/>
          <a:p>
            <a:fld id="{CA6D4DB6-DB82-1641-9B2A-EADAF8245C83}" type="datetimeFigureOut">
              <a:rPr lang="en-US" smtClean="0"/>
              <a:t>1/8/2019</a:t>
            </a:fld>
            <a:endParaRPr lang="en-US"/>
          </a:p>
        </p:txBody>
      </p:sp>
      <p:sp>
        <p:nvSpPr>
          <p:cNvPr id="6" name="Footer Placeholder 5">
            <a:extLst>
              <a:ext uri="{FF2B5EF4-FFF2-40B4-BE49-F238E27FC236}">
                <a16:creationId xmlns:a16="http://schemas.microsoft.com/office/drawing/2014/main" id="{DAF1B8C7-014B-0A4B-9351-981E97B876C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C5D8FAD-0D2E-E244-A932-1DE09247DCA8}"/>
              </a:ext>
            </a:extLst>
          </p:cNvPr>
          <p:cNvSpPr>
            <a:spLocks noGrp="1"/>
          </p:cNvSpPr>
          <p:nvPr>
            <p:ph type="sldNum" sz="quarter" idx="12"/>
          </p:nvPr>
        </p:nvSpPr>
        <p:spPr/>
        <p:txBody>
          <a:bodyPr/>
          <a:lstStyle/>
          <a:p>
            <a:fld id="{3E402A1F-89C0-7D47-A4AF-5A151B27DE79}" type="slidenum">
              <a:rPr lang="en-US" smtClean="0"/>
              <a:t>‹#›</a:t>
            </a:fld>
            <a:endParaRPr lang="en-US"/>
          </a:p>
        </p:txBody>
      </p:sp>
    </p:spTree>
    <p:extLst>
      <p:ext uri="{BB962C8B-B14F-4D97-AF65-F5344CB8AC3E}">
        <p14:creationId xmlns:p14="http://schemas.microsoft.com/office/powerpoint/2010/main" val="2496819070"/>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C96600-2044-8C40-BBF3-ED2FFFE25085}"/>
              </a:ext>
            </a:extLst>
          </p:cNvPr>
          <p:cNvSpPr>
            <a:spLocks noGrp="1"/>
          </p:cNvSpPr>
          <p:nvPr>
            <p:ph type="title"/>
          </p:nvPr>
        </p:nvSpPr>
        <p:spPr>
          <a:xfrm>
            <a:off x="839788" y="389467"/>
            <a:ext cx="10515600" cy="1413934"/>
          </a:xfrm>
        </p:spPr>
        <p:txBody>
          <a:bodyPr/>
          <a:lstStyle/>
          <a:p>
            <a:r>
              <a:rPr lang="en-US"/>
              <a:t>Click to edit Master title style</a:t>
            </a:r>
          </a:p>
        </p:txBody>
      </p:sp>
      <p:sp>
        <p:nvSpPr>
          <p:cNvPr id="3" name="Text Placeholder 2">
            <a:extLst>
              <a:ext uri="{FF2B5EF4-FFF2-40B4-BE49-F238E27FC236}">
                <a16:creationId xmlns:a16="http://schemas.microsoft.com/office/drawing/2014/main" id="{F44250E9-3EDA-2F49-A9D5-C0A8E51D9F51}"/>
              </a:ext>
            </a:extLst>
          </p:cNvPr>
          <p:cNvSpPr>
            <a:spLocks noGrp="1"/>
          </p:cNvSpPr>
          <p:nvPr>
            <p:ph type="body" idx="1"/>
          </p:nvPr>
        </p:nvSpPr>
        <p:spPr>
          <a:xfrm>
            <a:off x="839789" y="1793241"/>
            <a:ext cx="5157787" cy="87883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EC7A3195-D7F6-AB45-AE4D-328A1E98BD36}"/>
              </a:ext>
            </a:extLst>
          </p:cNvPr>
          <p:cNvSpPr>
            <a:spLocks noGrp="1"/>
          </p:cNvSpPr>
          <p:nvPr>
            <p:ph sz="half" idx="2"/>
          </p:nvPr>
        </p:nvSpPr>
        <p:spPr>
          <a:xfrm>
            <a:off x="839789" y="2672080"/>
            <a:ext cx="5157787" cy="39302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3E9E030-E9B8-3D41-8106-29E1E63AA76B}"/>
              </a:ext>
            </a:extLst>
          </p:cNvPr>
          <p:cNvSpPr>
            <a:spLocks noGrp="1"/>
          </p:cNvSpPr>
          <p:nvPr>
            <p:ph type="body" sz="quarter" idx="3"/>
          </p:nvPr>
        </p:nvSpPr>
        <p:spPr>
          <a:xfrm>
            <a:off x="6172200" y="1793241"/>
            <a:ext cx="5183188" cy="87883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8A08CBC-2986-9B46-85BF-FFCF465C829B}"/>
              </a:ext>
            </a:extLst>
          </p:cNvPr>
          <p:cNvSpPr>
            <a:spLocks noGrp="1"/>
          </p:cNvSpPr>
          <p:nvPr>
            <p:ph sz="quarter" idx="4"/>
          </p:nvPr>
        </p:nvSpPr>
        <p:spPr>
          <a:xfrm>
            <a:off x="6172200" y="2672080"/>
            <a:ext cx="5183188" cy="39302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3C53CAE-23FB-4543-9D84-C31D5A7CC575}"/>
              </a:ext>
            </a:extLst>
          </p:cNvPr>
          <p:cNvSpPr>
            <a:spLocks noGrp="1"/>
          </p:cNvSpPr>
          <p:nvPr>
            <p:ph type="dt" sz="half" idx="10"/>
          </p:nvPr>
        </p:nvSpPr>
        <p:spPr/>
        <p:txBody>
          <a:bodyPr/>
          <a:lstStyle/>
          <a:p>
            <a:fld id="{CA6D4DB6-DB82-1641-9B2A-EADAF8245C83}" type="datetimeFigureOut">
              <a:rPr lang="en-US" smtClean="0"/>
              <a:t>1/8/2019</a:t>
            </a:fld>
            <a:endParaRPr lang="en-US"/>
          </a:p>
        </p:txBody>
      </p:sp>
      <p:sp>
        <p:nvSpPr>
          <p:cNvPr id="8" name="Footer Placeholder 7">
            <a:extLst>
              <a:ext uri="{FF2B5EF4-FFF2-40B4-BE49-F238E27FC236}">
                <a16:creationId xmlns:a16="http://schemas.microsoft.com/office/drawing/2014/main" id="{6DCD5383-61FD-6549-B7C0-772BD013B7C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43D3C6F-EE7E-574E-8193-94C25FE72E5A}"/>
              </a:ext>
            </a:extLst>
          </p:cNvPr>
          <p:cNvSpPr>
            <a:spLocks noGrp="1"/>
          </p:cNvSpPr>
          <p:nvPr>
            <p:ph type="sldNum" sz="quarter" idx="12"/>
          </p:nvPr>
        </p:nvSpPr>
        <p:spPr/>
        <p:txBody>
          <a:bodyPr/>
          <a:lstStyle/>
          <a:p>
            <a:fld id="{3E402A1F-89C0-7D47-A4AF-5A151B27DE79}" type="slidenum">
              <a:rPr lang="en-US" smtClean="0"/>
              <a:t>‹#›</a:t>
            </a:fld>
            <a:endParaRPr lang="en-US"/>
          </a:p>
        </p:txBody>
      </p:sp>
    </p:spTree>
    <p:extLst>
      <p:ext uri="{BB962C8B-B14F-4D97-AF65-F5344CB8AC3E}">
        <p14:creationId xmlns:p14="http://schemas.microsoft.com/office/powerpoint/2010/main" val="52332025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A0A87F-4106-F14F-A7DC-977049E37AC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F96F73B-908D-4E45-8F08-26B782D11386}"/>
              </a:ext>
            </a:extLst>
          </p:cNvPr>
          <p:cNvSpPr>
            <a:spLocks noGrp="1"/>
          </p:cNvSpPr>
          <p:nvPr>
            <p:ph type="dt" sz="half" idx="10"/>
          </p:nvPr>
        </p:nvSpPr>
        <p:spPr/>
        <p:txBody>
          <a:bodyPr/>
          <a:lstStyle/>
          <a:p>
            <a:fld id="{CA6D4DB6-DB82-1641-9B2A-EADAF8245C83}" type="datetimeFigureOut">
              <a:rPr lang="en-US" smtClean="0"/>
              <a:t>1/8/2019</a:t>
            </a:fld>
            <a:endParaRPr lang="en-US"/>
          </a:p>
        </p:txBody>
      </p:sp>
      <p:sp>
        <p:nvSpPr>
          <p:cNvPr id="4" name="Footer Placeholder 3">
            <a:extLst>
              <a:ext uri="{FF2B5EF4-FFF2-40B4-BE49-F238E27FC236}">
                <a16:creationId xmlns:a16="http://schemas.microsoft.com/office/drawing/2014/main" id="{B5B8FAFF-B805-724B-9F3E-79997360752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0EDB6C5-8804-2D42-B1BC-005C631612B4}"/>
              </a:ext>
            </a:extLst>
          </p:cNvPr>
          <p:cNvSpPr>
            <a:spLocks noGrp="1"/>
          </p:cNvSpPr>
          <p:nvPr>
            <p:ph type="sldNum" sz="quarter" idx="12"/>
          </p:nvPr>
        </p:nvSpPr>
        <p:spPr/>
        <p:txBody>
          <a:bodyPr/>
          <a:lstStyle/>
          <a:p>
            <a:fld id="{3E402A1F-89C0-7D47-A4AF-5A151B27DE79}" type="slidenum">
              <a:rPr lang="en-US" smtClean="0"/>
              <a:t>‹#›</a:t>
            </a:fld>
            <a:endParaRPr lang="en-US"/>
          </a:p>
        </p:txBody>
      </p:sp>
    </p:spTree>
    <p:extLst>
      <p:ext uri="{BB962C8B-B14F-4D97-AF65-F5344CB8AC3E}">
        <p14:creationId xmlns:p14="http://schemas.microsoft.com/office/powerpoint/2010/main" val="1176157396"/>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763C537-F910-5546-8497-C82F717735DA}"/>
              </a:ext>
            </a:extLst>
          </p:cNvPr>
          <p:cNvSpPr>
            <a:spLocks noGrp="1"/>
          </p:cNvSpPr>
          <p:nvPr>
            <p:ph type="dt" sz="half" idx="10"/>
          </p:nvPr>
        </p:nvSpPr>
        <p:spPr/>
        <p:txBody>
          <a:bodyPr/>
          <a:lstStyle/>
          <a:p>
            <a:fld id="{CA6D4DB6-DB82-1641-9B2A-EADAF8245C83}" type="datetimeFigureOut">
              <a:rPr lang="en-US" smtClean="0"/>
              <a:t>1/8/2019</a:t>
            </a:fld>
            <a:endParaRPr lang="en-US"/>
          </a:p>
        </p:txBody>
      </p:sp>
      <p:sp>
        <p:nvSpPr>
          <p:cNvPr id="3" name="Footer Placeholder 2">
            <a:extLst>
              <a:ext uri="{FF2B5EF4-FFF2-40B4-BE49-F238E27FC236}">
                <a16:creationId xmlns:a16="http://schemas.microsoft.com/office/drawing/2014/main" id="{47BD3019-2378-B140-BE94-D761E3BCDF3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C2D0C99-53FF-0E46-AAFC-4EFD84FADBB2}"/>
              </a:ext>
            </a:extLst>
          </p:cNvPr>
          <p:cNvSpPr>
            <a:spLocks noGrp="1"/>
          </p:cNvSpPr>
          <p:nvPr>
            <p:ph type="sldNum" sz="quarter" idx="12"/>
          </p:nvPr>
        </p:nvSpPr>
        <p:spPr/>
        <p:txBody>
          <a:bodyPr/>
          <a:lstStyle/>
          <a:p>
            <a:fld id="{3E402A1F-89C0-7D47-A4AF-5A151B27DE79}" type="slidenum">
              <a:rPr lang="en-US" smtClean="0"/>
              <a:t>‹#›</a:t>
            </a:fld>
            <a:endParaRPr lang="en-US"/>
          </a:p>
        </p:txBody>
      </p:sp>
    </p:spTree>
    <p:extLst>
      <p:ext uri="{BB962C8B-B14F-4D97-AF65-F5344CB8AC3E}">
        <p14:creationId xmlns:p14="http://schemas.microsoft.com/office/powerpoint/2010/main" val="306844103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E5C2F4-8AE3-E948-A1D2-02A088C29AA3}"/>
              </a:ext>
            </a:extLst>
          </p:cNvPr>
          <p:cNvSpPr>
            <a:spLocks noGrp="1"/>
          </p:cNvSpPr>
          <p:nvPr>
            <p:ph type="title"/>
          </p:nvPr>
        </p:nvSpPr>
        <p:spPr>
          <a:xfrm>
            <a:off x="839789" y="487680"/>
            <a:ext cx="3932237" cy="170688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706260B-07E9-B34C-9731-C1A52F476C87}"/>
              </a:ext>
            </a:extLst>
          </p:cNvPr>
          <p:cNvSpPr>
            <a:spLocks noGrp="1"/>
          </p:cNvSpPr>
          <p:nvPr>
            <p:ph idx="1"/>
          </p:nvPr>
        </p:nvSpPr>
        <p:spPr>
          <a:xfrm>
            <a:off x="5183188" y="1053254"/>
            <a:ext cx="6172200" cy="519853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5ED0906-7728-FB42-AA5F-73D56F99449E}"/>
              </a:ext>
            </a:extLst>
          </p:cNvPr>
          <p:cNvSpPr>
            <a:spLocks noGrp="1"/>
          </p:cNvSpPr>
          <p:nvPr>
            <p:ph type="body" sz="half" idx="2"/>
          </p:nvPr>
        </p:nvSpPr>
        <p:spPr>
          <a:xfrm>
            <a:off x="839789" y="2194560"/>
            <a:ext cx="3932237" cy="406569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559A7AF-734F-E349-9DF1-BBBE33428067}"/>
              </a:ext>
            </a:extLst>
          </p:cNvPr>
          <p:cNvSpPr>
            <a:spLocks noGrp="1"/>
          </p:cNvSpPr>
          <p:nvPr>
            <p:ph type="dt" sz="half" idx="10"/>
          </p:nvPr>
        </p:nvSpPr>
        <p:spPr/>
        <p:txBody>
          <a:bodyPr/>
          <a:lstStyle/>
          <a:p>
            <a:fld id="{CA6D4DB6-DB82-1641-9B2A-EADAF8245C83}" type="datetimeFigureOut">
              <a:rPr lang="en-US" smtClean="0"/>
              <a:t>1/8/2019</a:t>
            </a:fld>
            <a:endParaRPr lang="en-US"/>
          </a:p>
        </p:txBody>
      </p:sp>
      <p:sp>
        <p:nvSpPr>
          <p:cNvPr id="6" name="Footer Placeholder 5">
            <a:extLst>
              <a:ext uri="{FF2B5EF4-FFF2-40B4-BE49-F238E27FC236}">
                <a16:creationId xmlns:a16="http://schemas.microsoft.com/office/drawing/2014/main" id="{447151D8-2B8A-9944-A264-8BEC690402B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76FE840-9FD2-274F-A951-FD837F090FC3}"/>
              </a:ext>
            </a:extLst>
          </p:cNvPr>
          <p:cNvSpPr>
            <a:spLocks noGrp="1"/>
          </p:cNvSpPr>
          <p:nvPr>
            <p:ph type="sldNum" sz="quarter" idx="12"/>
          </p:nvPr>
        </p:nvSpPr>
        <p:spPr/>
        <p:txBody>
          <a:bodyPr/>
          <a:lstStyle/>
          <a:p>
            <a:fld id="{3E402A1F-89C0-7D47-A4AF-5A151B27DE79}" type="slidenum">
              <a:rPr lang="en-US" smtClean="0"/>
              <a:t>‹#›</a:t>
            </a:fld>
            <a:endParaRPr lang="en-US"/>
          </a:p>
        </p:txBody>
      </p:sp>
    </p:spTree>
    <p:extLst>
      <p:ext uri="{BB962C8B-B14F-4D97-AF65-F5344CB8AC3E}">
        <p14:creationId xmlns:p14="http://schemas.microsoft.com/office/powerpoint/2010/main" val="209185330"/>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8B8858-4837-5A4A-A644-6F257CAFFBC3}"/>
              </a:ext>
            </a:extLst>
          </p:cNvPr>
          <p:cNvSpPr>
            <a:spLocks noGrp="1"/>
          </p:cNvSpPr>
          <p:nvPr>
            <p:ph type="title"/>
          </p:nvPr>
        </p:nvSpPr>
        <p:spPr>
          <a:xfrm>
            <a:off x="839789" y="487680"/>
            <a:ext cx="3932237" cy="170688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329D53E-F79B-4846-A4A0-0295E340A405}"/>
              </a:ext>
            </a:extLst>
          </p:cNvPr>
          <p:cNvSpPr>
            <a:spLocks noGrp="1"/>
          </p:cNvSpPr>
          <p:nvPr>
            <p:ph type="pic" idx="1"/>
          </p:nvPr>
        </p:nvSpPr>
        <p:spPr>
          <a:xfrm>
            <a:off x="5183188" y="1053254"/>
            <a:ext cx="6172200" cy="519853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615DC6C-2AE5-E94A-BFEB-E06D01D68534}"/>
              </a:ext>
            </a:extLst>
          </p:cNvPr>
          <p:cNvSpPr>
            <a:spLocks noGrp="1"/>
          </p:cNvSpPr>
          <p:nvPr>
            <p:ph type="body" sz="half" idx="2"/>
          </p:nvPr>
        </p:nvSpPr>
        <p:spPr>
          <a:xfrm>
            <a:off x="839789" y="2194560"/>
            <a:ext cx="3932237" cy="406569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0D53EB8E-62F3-7B4C-A2AB-96A639F213F2}"/>
              </a:ext>
            </a:extLst>
          </p:cNvPr>
          <p:cNvSpPr>
            <a:spLocks noGrp="1"/>
          </p:cNvSpPr>
          <p:nvPr>
            <p:ph type="dt" sz="half" idx="10"/>
          </p:nvPr>
        </p:nvSpPr>
        <p:spPr/>
        <p:txBody>
          <a:bodyPr/>
          <a:lstStyle/>
          <a:p>
            <a:fld id="{CA6D4DB6-DB82-1641-9B2A-EADAF8245C83}" type="datetimeFigureOut">
              <a:rPr lang="en-US" smtClean="0"/>
              <a:t>1/8/2019</a:t>
            </a:fld>
            <a:endParaRPr lang="en-US"/>
          </a:p>
        </p:txBody>
      </p:sp>
      <p:sp>
        <p:nvSpPr>
          <p:cNvPr id="6" name="Footer Placeholder 5">
            <a:extLst>
              <a:ext uri="{FF2B5EF4-FFF2-40B4-BE49-F238E27FC236}">
                <a16:creationId xmlns:a16="http://schemas.microsoft.com/office/drawing/2014/main" id="{B7EB6892-847C-ED45-B88E-BE06517F535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A8070C7-4673-F543-8983-91ECED99C068}"/>
              </a:ext>
            </a:extLst>
          </p:cNvPr>
          <p:cNvSpPr>
            <a:spLocks noGrp="1"/>
          </p:cNvSpPr>
          <p:nvPr>
            <p:ph type="sldNum" sz="quarter" idx="12"/>
          </p:nvPr>
        </p:nvSpPr>
        <p:spPr/>
        <p:txBody>
          <a:bodyPr/>
          <a:lstStyle/>
          <a:p>
            <a:fld id="{3E402A1F-89C0-7D47-A4AF-5A151B27DE79}" type="slidenum">
              <a:rPr lang="en-US" smtClean="0"/>
              <a:t>‹#›</a:t>
            </a:fld>
            <a:endParaRPr lang="en-US"/>
          </a:p>
        </p:txBody>
      </p:sp>
    </p:spTree>
    <p:extLst>
      <p:ext uri="{BB962C8B-B14F-4D97-AF65-F5344CB8AC3E}">
        <p14:creationId xmlns:p14="http://schemas.microsoft.com/office/powerpoint/2010/main" val="1320782248"/>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CA230C-C7F6-5349-A310-EDC3835205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FFE2BE3-61B1-5040-A7D0-D8F8DA23A69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31AEA54-4DEA-B741-B6FB-BBC89E854FB3}"/>
              </a:ext>
            </a:extLst>
          </p:cNvPr>
          <p:cNvSpPr>
            <a:spLocks noGrp="1"/>
          </p:cNvSpPr>
          <p:nvPr>
            <p:ph type="dt" sz="half" idx="10"/>
          </p:nvPr>
        </p:nvSpPr>
        <p:spPr/>
        <p:txBody>
          <a:bodyPr/>
          <a:lstStyle/>
          <a:p>
            <a:fld id="{CA6D4DB6-DB82-1641-9B2A-EADAF8245C83}" type="datetimeFigureOut">
              <a:rPr lang="en-US" smtClean="0"/>
              <a:t>1/8/2019</a:t>
            </a:fld>
            <a:endParaRPr lang="en-US"/>
          </a:p>
        </p:txBody>
      </p:sp>
      <p:sp>
        <p:nvSpPr>
          <p:cNvPr id="5" name="Footer Placeholder 4">
            <a:extLst>
              <a:ext uri="{FF2B5EF4-FFF2-40B4-BE49-F238E27FC236}">
                <a16:creationId xmlns:a16="http://schemas.microsoft.com/office/drawing/2014/main" id="{77E50CC5-21B7-8946-9AAD-3BD28CB519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77CE4CF-8A5F-DE41-AA18-9ACEE023ED86}"/>
              </a:ext>
            </a:extLst>
          </p:cNvPr>
          <p:cNvSpPr>
            <a:spLocks noGrp="1"/>
          </p:cNvSpPr>
          <p:nvPr>
            <p:ph type="sldNum" sz="quarter" idx="12"/>
          </p:nvPr>
        </p:nvSpPr>
        <p:spPr/>
        <p:txBody>
          <a:bodyPr/>
          <a:lstStyle/>
          <a:p>
            <a:fld id="{3E402A1F-89C0-7D47-A4AF-5A151B27DE79}" type="slidenum">
              <a:rPr lang="en-US" smtClean="0"/>
              <a:t>‹#›</a:t>
            </a:fld>
            <a:endParaRPr lang="en-US"/>
          </a:p>
        </p:txBody>
      </p:sp>
    </p:spTree>
    <p:extLst>
      <p:ext uri="{BB962C8B-B14F-4D97-AF65-F5344CB8AC3E}">
        <p14:creationId xmlns:p14="http://schemas.microsoft.com/office/powerpoint/2010/main" val="330661947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Section Title Accent Colo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88624" y="3064043"/>
            <a:ext cx="8899735" cy="1539791"/>
          </a:xfrm>
          <a:noFill/>
        </p:spPr>
        <p:txBody>
          <a:bodyPr tIns="91440" bIns="91440" anchor="t" anchorCtr="0"/>
          <a:lstStyle>
            <a:lvl1pPr algn="ctr">
              <a:defRPr sz="8627" spc="-98" baseline="0">
                <a:gradFill>
                  <a:gsLst>
                    <a:gs pos="100000">
                      <a:schemeClr val="tx1"/>
                    </a:gs>
                    <a:gs pos="0">
                      <a:schemeClr val="tx1"/>
                    </a:gs>
                  </a:gsLst>
                  <a:lin ang="5400000" scaled="0"/>
                </a:gradFill>
              </a:defRPr>
            </a:lvl1pPr>
          </a:lstStyle>
          <a:p>
            <a:r>
              <a:rPr lang="en-US"/>
              <a:t>Event/Session </a:t>
            </a:r>
            <a:r>
              <a:rPr lang="en-US" dirty="0"/>
              <a:t>Title</a:t>
            </a:r>
          </a:p>
        </p:txBody>
      </p:sp>
      <p:sp>
        <p:nvSpPr>
          <p:cNvPr id="8" name="Content Placeholder 7"/>
          <p:cNvSpPr>
            <a:spLocks noGrp="1"/>
          </p:cNvSpPr>
          <p:nvPr>
            <p:ph sz="quarter" idx="10" hasCustomPrompt="1"/>
          </p:nvPr>
        </p:nvSpPr>
        <p:spPr>
          <a:xfrm>
            <a:off x="4305187" y="4411329"/>
            <a:ext cx="3466610" cy="572464"/>
          </a:xfrm>
          <a:noFill/>
        </p:spPr>
        <p:txBody>
          <a:bodyPr/>
          <a:lstStyle>
            <a:lvl1pPr marL="0" indent="0" algn="ctr">
              <a:buNone/>
              <a:defRPr sz="2800" baseline="0">
                <a:solidFill>
                  <a:schemeClr val="tx1"/>
                </a:solidFill>
              </a:defRPr>
            </a:lvl1pPr>
          </a:lstStyle>
          <a:p>
            <a:pPr lvl="0"/>
            <a:r>
              <a:rPr lang="en-US" dirty="0"/>
              <a:t>TRACK NAME</a:t>
            </a:r>
          </a:p>
        </p:txBody>
      </p:sp>
      <p:sp>
        <p:nvSpPr>
          <p:cNvPr id="6" name="Content Placeholder 7"/>
          <p:cNvSpPr>
            <a:spLocks noGrp="1"/>
          </p:cNvSpPr>
          <p:nvPr>
            <p:ph sz="quarter" idx="11" hasCustomPrompt="1"/>
          </p:nvPr>
        </p:nvSpPr>
        <p:spPr>
          <a:xfrm>
            <a:off x="4305187" y="5190047"/>
            <a:ext cx="3466610" cy="461665"/>
          </a:xfrm>
        </p:spPr>
        <p:txBody>
          <a:bodyPr/>
          <a:lstStyle>
            <a:lvl1pPr marL="0" indent="0" algn="ctr">
              <a:buNone/>
              <a:defRPr sz="2000" baseline="0">
                <a:solidFill>
                  <a:schemeClr val="tx1"/>
                </a:solidFill>
              </a:defRPr>
            </a:lvl1pPr>
          </a:lstStyle>
          <a:p>
            <a:pPr lvl="0"/>
            <a:r>
              <a:rPr lang="en-US" dirty="0"/>
              <a:t>4pm – 5pm   |   Location </a:t>
            </a:r>
          </a:p>
        </p:txBody>
      </p:sp>
    </p:spTree>
    <p:extLst>
      <p:ext uri="{BB962C8B-B14F-4D97-AF65-F5344CB8AC3E}">
        <p14:creationId xmlns:p14="http://schemas.microsoft.com/office/powerpoint/2010/main" val="435921542"/>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067730E-9A52-2340-B4EC-07B741E0A675}"/>
              </a:ext>
            </a:extLst>
          </p:cNvPr>
          <p:cNvSpPr>
            <a:spLocks noGrp="1"/>
          </p:cNvSpPr>
          <p:nvPr>
            <p:ph type="title" orient="vert"/>
          </p:nvPr>
        </p:nvSpPr>
        <p:spPr>
          <a:xfrm>
            <a:off x="8724900" y="389467"/>
            <a:ext cx="2628900" cy="6199294"/>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FAD8D7F-5F2A-7046-9405-D7A9A4985D34}"/>
              </a:ext>
            </a:extLst>
          </p:cNvPr>
          <p:cNvSpPr>
            <a:spLocks noGrp="1"/>
          </p:cNvSpPr>
          <p:nvPr>
            <p:ph type="body" orient="vert" idx="1"/>
          </p:nvPr>
        </p:nvSpPr>
        <p:spPr>
          <a:xfrm>
            <a:off x="838200" y="389467"/>
            <a:ext cx="7734300" cy="619929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AC4888-7CC6-8C43-A8A9-675D3FB6316C}"/>
              </a:ext>
            </a:extLst>
          </p:cNvPr>
          <p:cNvSpPr>
            <a:spLocks noGrp="1"/>
          </p:cNvSpPr>
          <p:nvPr>
            <p:ph type="dt" sz="half" idx="10"/>
          </p:nvPr>
        </p:nvSpPr>
        <p:spPr/>
        <p:txBody>
          <a:bodyPr/>
          <a:lstStyle/>
          <a:p>
            <a:fld id="{CA6D4DB6-DB82-1641-9B2A-EADAF8245C83}" type="datetimeFigureOut">
              <a:rPr lang="en-US" smtClean="0"/>
              <a:t>1/8/2019</a:t>
            </a:fld>
            <a:endParaRPr lang="en-US"/>
          </a:p>
        </p:txBody>
      </p:sp>
      <p:sp>
        <p:nvSpPr>
          <p:cNvPr id="5" name="Footer Placeholder 4">
            <a:extLst>
              <a:ext uri="{FF2B5EF4-FFF2-40B4-BE49-F238E27FC236}">
                <a16:creationId xmlns:a16="http://schemas.microsoft.com/office/drawing/2014/main" id="{6A223B51-FA5D-714A-BB12-A2F744F2515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D59E2B7-1334-1B4D-844F-6BB4E9FC8BE6}"/>
              </a:ext>
            </a:extLst>
          </p:cNvPr>
          <p:cNvSpPr>
            <a:spLocks noGrp="1"/>
          </p:cNvSpPr>
          <p:nvPr>
            <p:ph type="sldNum" sz="quarter" idx="12"/>
          </p:nvPr>
        </p:nvSpPr>
        <p:spPr/>
        <p:txBody>
          <a:bodyPr/>
          <a:lstStyle/>
          <a:p>
            <a:fld id="{3E402A1F-89C0-7D47-A4AF-5A151B27DE79}" type="slidenum">
              <a:rPr lang="en-US" smtClean="0"/>
              <a:t>‹#›</a:t>
            </a:fld>
            <a:endParaRPr lang="en-US"/>
          </a:p>
        </p:txBody>
      </p:sp>
    </p:spTree>
    <p:extLst>
      <p:ext uri="{BB962C8B-B14F-4D97-AF65-F5344CB8AC3E}">
        <p14:creationId xmlns:p14="http://schemas.microsoft.com/office/powerpoint/2010/main" val="294212627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2"/>
          </p:nvPr>
        </p:nvSpPr>
        <p:spPr/>
        <p:txBody>
          <a:bodyPr/>
          <a:lstStyle/>
          <a:p>
            <a:r>
              <a:t>Footer</a:t>
            </a:r>
          </a:p>
        </p:txBody>
      </p:sp>
      <p:sp>
        <p:nvSpPr>
          <p:cNvPr id="5" name="Text Placeholder 4"/>
          <p:cNvSpPr>
            <a:spLocks noGrp="1"/>
          </p:cNvSpPr>
          <p:nvPr>
            <p:ph type="body" sz="quarter" idx="13"/>
          </p:nvPr>
        </p:nvSpPr>
        <p:spPr>
          <a:xfrm>
            <a:off x="269877" y="998222"/>
            <a:ext cx="11655425" cy="397933"/>
          </a:xfrm>
        </p:spPr>
        <p:txBody>
          <a:bodyPr anchor="ctr">
            <a:noAutofit/>
          </a:bodyPr>
          <a:lstStyle>
            <a:lvl1pPr>
              <a:defRPr sz="2000"/>
            </a:lvl1pPr>
          </a:lstStyle>
          <a:p>
            <a:pPr lvl="0"/>
            <a:r>
              <a:rPr lang="en-US"/>
              <a:t>Edit Master text styles</a:t>
            </a:r>
          </a:p>
        </p:txBody>
      </p:sp>
    </p:spTree>
    <p:extLst>
      <p:ext uri="{BB962C8B-B14F-4D97-AF65-F5344CB8AC3E}">
        <p14:creationId xmlns:p14="http://schemas.microsoft.com/office/powerpoint/2010/main" val="3380072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sp>
        <p:nvSpPr>
          <p:cNvPr id="151" name="Freeform 95"/>
          <p:cNvSpPr/>
          <p:nvPr userDrawn="1"/>
        </p:nvSpPr>
        <p:spPr bwMode="auto">
          <a:xfrm>
            <a:off x="2775527" y="1916503"/>
            <a:ext cx="5098938" cy="2297007"/>
          </a:xfrm>
          <a:custGeom>
            <a:avLst/>
            <a:gdLst>
              <a:gd name="connsiteX0" fmla="*/ 3746973 w 5098938"/>
              <a:gd name="connsiteY0" fmla="*/ 776429 h 2153444"/>
              <a:gd name="connsiteX1" fmla="*/ 3895811 w 5098938"/>
              <a:gd name="connsiteY1" fmla="*/ 776429 h 2153444"/>
              <a:gd name="connsiteX2" fmla="*/ 3895811 w 5098938"/>
              <a:gd name="connsiteY2" fmla="*/ 1187671 h 2153444"/>
              <a:gd name="connsiteX3" fmla="*/ 4199862 w 5098938"/>
              <a:gd name="connsiteY3" fmla="*/ 1187671 h 2153444"/>
              <a:gd name="connsiteX4" fmla="*/ 4199862 w 5098938"/>
              <a:gd name="connsiteY4" fmla="*/ 967581 h 2153444"/>
              <a:gd name="connsiteX5" fmla="*/ 4266632 w 5098938"/>
              <a:gd name="connsiteY5" fmla="*/ 967581 h 2153444"/>
              <a:gd name="connsiteX6" fmla="*/ 4266632 w 5098938"/>
              <a:gd name="connsiteY6" fmla="*/ 1187671 h 2153444"/>
              <a:gd name="connsiteX7" fmla="*/ 4469087 w 5098938"/>
              <a:gd name="connsiteY7" fmla="*/ 1187671 h 2153444"/>
              <a:gd name="connsiteX8" fmla="*/ 4469087 w 5098938"/>
              <a:gd name="connsiteY8" fmla="*/ 1371599 h 2153444"/>
              <a:gd name="connsiteX9" fmla="*/ 5098938 w 5098938"/>
              <a:gd name="connsiteY9" fmla="*/ 1371599 h 2153444"/>
              <a:gd name="connsiteX10" fmla="*/ 5098938 w 5098938"/>
              <a:gd name="connsiteY10" fmla="*/ 2153444 h 2153444"/>
              <a:gd name="connsiteX11" fmla="*/ 3746973 w 5098938"/>
              <a:gd name="connsiteY11" fmla="*/ 2153444 h 2153444"/>
              <a:gd name="connsiteX12" fmla="*/ 1800114 w 5098938"/>
              <a:gd name="connsiteY12" fmla="*/ 0 h 2153444"/>
              <a:gd name="connsiteX13" fmla="*/ 1997511 w 5098938"/>
              <a:gd name="connsiteY13" fmla="*/ 0 h 2153444"/>
              <a:gd name="connsiteX14" fmla="*/ 1997511 w 5098938"/>
              <a:gd name="connsiteY14" fmla="*/ 850815 h 2153444"/>
              <a:gd name="connsiteX15" fmla="*/ 1997511 w 5098938"/>
              <a:gd name="connsiteY15" fmla="*/ 1067594 h 2153444"/>
              <a:gd name="connsiteX16" fmla="*/ 1997511 w 5098938"/>
              <a:gd name="connsiteY16" fmla="*/ 1799431 h 2153444"/>
              <a:gd name="connsiteX17" fmla="*/ 2049739 w 5098938"/>
              <a:gd name="connsiteY17" fmla="*/ 1799431 h 2153444"/>
              <a:gd name="connsiteX18" fmla="*/ 2049739 w 5098938"/>
              <a:gd name="connsiteY18" fmla="*/ 292894 h 2153444"/>
              <a:gd name="connsiteX19" fmla="*/ 2198577 w 5098938"/>
              <a:gd name="connsiteY19" fmla="*/ 292894 h 2153444"/>
              <a:gd name="connsiteX20" fmla="*/ 2198577 w 5098938"/>
              <a:gd name="connsiteY20" fmla="*/ 1799431 h 2153444"/>
              <a:gd name="connsiteX21" fmla="*/ 2311562 w 5098938"/>
              <a:gd name="connsiteY21" fmla="*/ 1799431 h 2153444"/>
              <a:gd name="connsiteX22" fmla="*/ 2311562 w 5098938"/>
              <a:gd name="connsiteY22" fmla="*/ 861965 h 2153444"/>
              <a:gd name="connsiteX23" fmla="*/ 2419348 w 5098938"/>
              <a:gd name="connsiteY23" fmla="*/ 861965 h 2153444"/>
              <a:gd name="connsiteX24" fmla="*/ 2419348 w 5098938"/>
              <a:gd name="connsiteY24" fmla="*/ 743913 h 2153444"/>
              <a:gd name="connsiteX25" fmla="*/ 2613436 w 5098938"/>
              <a:gd name="connsiteY25" fmla="*/ 743913 h 2153444"/>
              <a:gd name="connsiteX26" fmla="*/ 2613436 w 5098938"/>
              <a:gd name="connsiteY26" fmla="*/ 555710 h 2153444"/>
              <a:gd name="connsiteX27" fmla="*/ 2748120 w 5098938"/>
              <a:gd name="connsiteY27" fmla="*/ 555710 h 2153444"/>
              <a:gd name="connsiteX28" fmla="*/ 2748120 w 5098938"/>
              <a:gd name="connsiteY28" fmla="*/ 743913 h 2153444"/>
              <a:gd name="connsiteX29" fmla="*/ 2886363 w 5098938"/>
              <a:gd name="connsiteY29" fmla="*/ 743913 h 2153444"/>
              <a:gd name="connsiteX30" fmla="*/ 2886363 w 5098938"/>
              <a:gd name="connsiteY30" fmla="*/ 675083 h 2153444"/>
              <a:gd name="connsiteX31" fmla="*/ 3067332 w 5098938"/>
              <a:gd name="connsiteY31" fmla="*/ 675083 h 2153444"/>
              <a:gd name="connsiteX32" fmla="*/ 3067332 w 5098938"/>
              <a:gd name="connsiteY32" fmla="*/ 743913 h 2153444"/>
              <a:gd name="connsiteX33" fmla="*/ 3173697 w 5098938"/>
              <a:gd name="connsiteY33" fmla="*/ 743913 h 2153444"/>
              <a:gd name="connsiteX34" fmla="*/ 3173697 w 5098938"/>
              <a:gd name="connsiteY34" fmla="*/ 843840 h 2153444"/>
              <a:gd name="connsiteX35" fmla="*/ 3481154 w 5098938"/>
              <a:gd name="connsiteY35" fmla="*/ 843840 h 2153444"/>
              <a:gd name="connsiteX36" fmla="*/ 3481154 w 5098938"/>
              <a:gd name="connsiteY36" fmla="*/ 292894 h 2153444"/>
              <a:gd name="connsiteX37" fmla="*/ 3629992 w 5098938"/>
              <a:gd name="connsiteY37" fmla="*/ 292894 h 2153444"/>
              <a:gd name="connsiteX38" fmla="*/ 3629992 w 5098938"/>
              <a:gd name="connsiteY38" fmla="*/ 2153444 h 2153444"/>
              <a:gd name="connsiteX39" fmla="*/ 2838338 w 5098938"/>
              <a:gd name="connsiteY39" fmla="*/ 2153444 h 2153444"/>
              <a:gd name="connsiteX40" fmla="*/ 2419348 w 5098938"/>
              <a:gd name="connsiteY40" fmla="*/ 2153444 h 2153444"/>
              <a:gd name="connsiteX41" fmla="*/ 2198577 w 5098938"/>
              <a:gd name="connsiteY41" fmla="*/ 2153444 h 2153444"/>
              <a:gd name="connsiteX42" fmla="*/ 2049739 w 5098938"/>
              <a:gd name="connsiteY42" fmla="*/ 2153444 h 2153444"/>
              <a:gd name="connsiteX43" fmla="*/ 1685812 w 5098938"/>
              <a:gd name="connsiteY43" fmla="*/ 2153444 h 2153444"/>
              <a:gd name="connsiteX44" fmla="*/ 1057163 w 5098938"/>
              <a:gd name="connsiteY44" fmla="*/ 2153444 h 2153444"/>
              <a:gd name="connsiteX45" fmla="*/ 0 w 5098938"/>
              <a:gd name="connsiteY45" fmla="*/ 2153444 h 2153444"/>
              <a:gd name="connsiteX46" fmla="*/ 0 w 5098938"/>
              <a:gd name="connsiteY46" fmla="*/ 1192382 h 2153444"/>
              <a:gd name="connsiteX47" fmla="*/ 739554 w 5098938"/>
              <a:gd name="connsiteY47" fmla="*/ 1192382 h 2153444"/>
              <a:gd name="connsiteX48" fmla="*/ 739554 w 5098938"/>
              <a:gd name="connsiteY48" fmla="*/ 1371600 h 2153444"/>
              <a:gd name="connsiteX49" fmla="*/ 931464 w 5098938"/>
              <a:gd name="connsiteY49" fmla="*/ 1371600 h 2153444"/>
              <a:gd name="connsiteX50" fmla="*/ 931464 w 5098938"/>
              <a:gd name="connsiteY50" fmla="*/ 627147 h 2153444"/>
              <a:gd name="connsiteX51" fmla="*/ 1125552 w 5098938"/>
              <a:gd name="connsiteY51" fmla="*/ 627147 h 2153444"/>
              <a:gd name="connsiteX52" fmla="*/ 1125552 w 5098938"/>
              <a:gd name="connsiteY52" fmla="*/ 438944 h 2153444"/>
              <a:gd name="connsiteX53" fmla="*/ 1260236 w 5098938"/>
              <a:gd name="connsiteY53" fmla="*/ 438944 h 2153444"/>
              <a:gd name="connsiteX54" fmla="*/ 1260236 w 5098938"/>
              <a:gd name="connsiteY54" fmla="*/ 627147 h 2153444"/>
              <a:gd name="connsiteX55" fmla="*/ 1398478 w 5098938"/>
              <a:gd name="connsiteY55" fmla="*/ 627147 h 2153444"/>
              <a:gd name="connsiteX56" fmla="*/ 1398478 w 5098938"/>
              <a:gd name="connsiteY56" fmla="*/ 558317 h 2153444"/>
              <a:gd name="connsiteX57" fmla="*/ 1579447 w 5098938"/>
              <a:gd name="connsiteY57" fmla="*/ 558317 h 2153444"/>
              <a:gd name="connsiteX58" fmla="*/ 1579447 w 5098938"/>
              <a:gd name="connsiteY58" fmla="*/ 627147 h 2153444"/>
              <a:gd name="connsiteX59" fmla="*/ 1685812 w 5098938"/>
              <a:gd name="connsiteY59" fmla="*/ 627147 h 2153444"/>
              <a:gd name="connsiteX60" fmla="*/ 1685812 w 5098938"/>
              <a:gd name="connsiteY60" fmla="*/ 850815 h 2153444"/>
              <a:gd name="connsiteX61" fmla="*/ 1800114 w 5098938"/>
              <a:gd name="connsiteY61" fmla="*/ 850815 h 215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5098938" h="2153444">
                <a:moveTo>
                  <a:pt x="3746973" y="776429"/>
                </a:moveTo>
                <a:lnTo>
                  <a:pt x="3895811" y="776429"/>
                </a:lnTo>
                <a:lnTo>
                  <a:pt x="3895811" y="1187671"/>
                </a:lnTo>
                <a:lnTo>
                  <a:pt x="4199862" y="1187671"/>
                </a:lnTo>
                <a:lnTo>
                  <a:pt x="4199862" y="967581"/>
                </a:lnTo>
                <a:lnTo>
                  <a:pt x="4266632" y="967581"/>
                </a:lnTo>
                <a:lnTo>
                  <a:pt x="4266632" y="1187671"/>
                </a:lnTo>
                <a:lnTo>
                  <a:pt x="4469087" y="1187671"/>
                </a:lnTo>
                <a:lnTo>
                  <a:pt x="4469087" y="1371599"/>
                </a:lnTo>
                <a:lnTo>
                  <a:pt x="5098938" y="1371599"/>
                </a:lnTo>
                <a:lnTo>
                  <a:pt x="5098938" y="2153444"/>
                </a:lnTo>
                <a:lnTo>
                  <a:pt x="3746973" y="2153444"/>
                </a:lnTo>
                <a:close/>
                <a:moveTo>
                  <a:pt x="1800114" y="0"/>
                </a:moveTo>
                <a:lnTo>
                  <a:pt x="1997511" y="0"/>
                </a:lnTo>
                <a:lnTo>
                  <a:pt x="1997511" y="850815"/>
                </a:lnTo>
                <a:lnTo>
                  <a:pt x="1997511" y="1067594"/>
                </a:lnTo>
                <a:lnTo>
                  <a:pt x="1997511" y="1799431"/>
                </a:lnTo>
                <a:lnTo>
                  <a:pt x="2049739" y="1799431"/>
                </a:lnTo>
                <a:lnTo>
                  <a:pt x="2049739" y="292894"/>
                </a:lnTo>
                <a:lnTo>
                  <a:pt x="2198577" y="292894"/>
                </a:lnTo>
                <a:lnTo>
                  <a:pt x="2198577" y="1799431"/>
                </a:lnTo>
                <a:lnTo>
                  <a:pt x="2311562" y="1799431"/>
                </a:lnTo>
                <a:lnTo>
                  <a:pt x="2311562" y="861965"/>
                </a:lnTo>
                <a:lnTo>
                  <a:pt x="2419348" y="861965"/>
                </a:lnTo>
                <a:lnTo>
                  <a:pt x="2419348" y="743913"/>
                </a:lnTo>
                <a:lnTo>
                  <a:pt x="2613436" y="743913"/>
                </a:lnTo>
                <a:lnTo>
                  <a:pt x="2613436" y="555710"/>
                </a:lnTo>
                <a:lnTo>
                  <a:pt x="2748120" y="555710"/>
                </a:lnTo>
                <a:lnTo>
                  <a:pt x="2748120" y="743913"/>
                </a:lnTo>
                <a:lnTo>
                  <a:pt x="2886363" y="743913"/>
                </a:lnTo>
                <a:lnTo>
                  <a:pt x="2886363" y="675083"/>
                </a:lnTo>
                <a:lnTo>
                  <a:pt x="3067332" y="675083"/>
                </a:lnTo>
                <a:lnTo>
                  <a:pt x="3067332" y="743913"/>
                </a:lnTo>
                <a:lnTo>
                  <a:pt x="3173697" y="743913"/>
                </a:lnTo>
                <a:lnTo>
                  <a:pt x="3173697" y="843840"/>
                </a:lnTo>
                <a:lnTo>
                  <a:pt x="3481154" y="843840"/>
                </a:lnTo>
                <a:lnTo>
                  <a:pt x="3481154" y="292894"/>
                </a:lnTo>
                <a:lnTo>
                  <a:pt x="3629992" y="292894"/>
                </a:lnTo>
                <a:lnTo>
                  <a:pt x="3629992" y="2153444"/>
                </a:lnTo>
                <a:lnTo>
                  <a:pt x="2838338" y="2153444"/>
                </a:lnTo>
                <a:lnTo>
                  <a:pt x="2419348" y="2153444"/>
                </a:lnTo>
                <a:lnTo>
                  <a:pt x="2198577" y="2153444"/>
                </a:lnTo>
                <a:lnTo>
                  <a:pt x="2049739" y="2153444"/>
                </a:lnTo>
                <a:lnTo>
                  <a:pt x="1685812" y="2153444"/>
                </a:lnTo>
                <a:lnTo>
                  <a:pt x="1057163" y="2153444"/>
                </a:lnTo>
                <a:lnTo>
                  <a:pt x="0" y="2153444"/>
                </a:lnTo>
                <a:lnTo>
                  <a:pt x="0" y="1192382"/>
                </a:lnTo>
                <a:lnTo>
                  <a:pt x="739554" y="1192382"/>
                </a:lnTo>
                <a:lnTo>
                  <a:pt x="739554" y="1371600"/>
                </a:lnTo>
                <a:lnTo>
                  <a:pt x="931464" y="1371600"/>
                </a:lnTo>
                <a:lnTo>
                  <a:pt x="931464" y="627147"/>
                </a:lnTo>
                <a:lnTo>
                  <a:pt x="1125552" y="627147"/>
                </a:lnTo>
                <a:lnTo>
                  <a:pt x="1125552" y="438944"/>
                </a:lnTo>
                <a:lnTo>
                  <a:pt x="1260236" y="438944"/>
                </a:lnTo>
                <a:lnTo>
                  <a:pt x="1260236" y="627147"/>
                </a:lnTo>
                <a:lnTo>
                  <a:pt x="1398478" y="627147"/>
                </a:lnTo>
                <a:lnTo>
                  <a:pt x="1398478" y="558317"/>
                </a:lnTo>
                <a:lnTo>
                  <a:pt x="1579447" y="558317"/>
                </a:lnTo>
                <a:lnTo>
                  <a:pt x="1579447" y="627147"/>
                </a:lnTo>
                <a:lnTo>
                  <a:pt x="1685812" y="627147"/>
                </a:lnTo>
                <a:lnTo>
                  <a:pt x="1685812" y="850815"/>
                </a:lnTo>
                <a:lnTo>
                  <a:pt x="1800114" y="850815"/>
                </a:lnTo>
                <a:close/>
              </a:path>
            </a:pathLst>
          </a:cu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5417">
                    <a:srgbClr val="05E0DB"/>
                  </a:gs>
                  <a:gs pos="100000">
                    <a:srgbClr val="05E0DB"/>
                  </a:gs>
                </a:gsLst>
                <a:lin ang="5400000" scaled="0"/>
              </a:gradFill>
              <a:effectLst/>
              <a:uLnTx/>
              <a:uFillTx/>
              <a:latin typeface="Segoe UI"/>
              <a:ea typeface="+mn-ea"/>
              <a:cs typeface="+mn-cs"/>
            </a:endParaRPr>
          </a:p>
        </p:txBody>
      </p:sp>
      <p:sp>
        <p:nvSpPr>
          <p:cNvPr id="152" name="Freeform 95"/>
          <p:cNvSpPr/>
          <p:nvPr userDrawn="1"/>
        </p:nvSpPr>
        <p:spPr bwMode="auto">
          <a:xfrm>
            <a:off x="-8065" y="1916503"/>
            <a:ext cx="5098938" cy="2297007"/>
          </a:xfrm>
          <a:custGeom>
            <a:avLst/>
            <a:gdLst>
              <a:gd name="connsiteX0" fmla="*/ 3746973 w 5098938"/>
              <a:gd name="connsiteY0" fmla="*/ 776429 h 2153444"/>
              <a:gd name="connsiteX1" fmla="*/ 3895811 w 5098938"/>
              <a:gd name="connsiteY1" fmla="*/ 776429 h 2153444"/>
              <a:gd name="connsiteX2" fmla="*/ 3895811 w 5098938"/>
              <a:gd name="connsiteY2" fmla="*/ 1187671 h 2153444"/>
              <a:gd name="connsiteX3" fmla="*/ 4199862 w 5098938"/>
              <a:gd name="connsiteY3" fmla="*/ 1187671 h 2153444"/>
              <a:gd name="connsiteX4" fmla="*/ 4199862 w 5098938"/>
              <a:gd name="connsiteY4" fmla="*/ 967581 h 2153444"/>
              <a:gd name="connsiteX5" fmla="*/ 4266632 w 5098938"/>
              <a:gd name="connsiteY5" fmla="*/ 967581 h 2153444"/>
              <a:gd name="connsiteX6" fmla="*/ 4266632 w 5098938"/>
              <a:gd name="connsiteY6" fmla="*/ 1187671 h 2153444"/>
              <a:gd name="connsiteX7" fmla="*/ 4469087 w 5098938"/>
              <a:gd name="connsiteY7" fmla="*/ 1187671 h 2153444"/>
              <a:gd name="connsiteX8" fmla="*/ 4469087 w 5098938"/>
              <a:gd name="connsiteY8" fmla="*/ 1371599 h 2153444"/>
              <a:gd name="connsiteX9" fmla="*/ 5098938 w 5098938"/>
              <a:gd name="connsiteY9" fmla="*/ 1371599 h 2153444"/>
              <a:gd name="connsiteX10" fmla="*/ 5098938 w 5098938"/>
              <a:gd name="connsiteY10" fmla="*/ 2153444 h 2153444"/>
              <a:gd name="connsiteX11" fmla="*/ 3746973 w 5098938"/>
              <a:gd name="connsiteY11" fmla="*/ 2153444 h 2153444"/>
              <a:gd name="connsiteX12" fmla="*/ 1800114 w 5098938"/>
              <a:gd name="connsiteY12" fmla="*/ 0 h 2153444"/>
              <a:gd name="connsiteX13" fmla="*/ 1997511 w 5098938"/>
              <a:gd name="connsiteY13" fmla="*/ 0 h 2153444"/>
              <a:gd name="connsiteX14" fmla="*/ 1997511 w 5098938"/>
              <a:gd name="connsiteY14" fmla="*/ 850815 h 2153444"/>
              <a:gd name="connsiteX15" fmla="*/ 1997511 w 5098938"/>
              <a:gd name="connsiteY15" fmla="*/ 1067594 h 2153444"/>
              <a:gd name="connsiteX16" fmla="*/ 1997511 w 5098938"/>
              <a:gd name="connsiteY16" fmla="*/ 1799431 h 2153444"/>
              <a:gd name="connsiteX17" fmla="*/ 2049739 w 5098938"/>
              <a:gd name="connsiteY17" fmla="*/ 1799431 h 2153444"/>
              <a:gd name="connsiteX18" fmla="*/ 2049739 w 5098938"/>
              <a:gd name="connsiteY18" fmla="*/ 292894 h 2153444"/>
              <a:gd name="connsiteX19" fmla="*/ 2198577 w 5098938"/>
              <a:gd name="connsiteY19" fmla="*/ 292894 h 2153444"/>
              <a:gd name="connsiteX20" fmla="*/ 2198577 w 5098938"/>
              <a:gd name="connsiteY20" fmla="*/ 1799431 h 2153444"/>
              <a:gd name="connsiteX21" fmla="*/ 2311562 w 5098938"/>
              <a:gd name="connsiteY21" fmla="*/ 1799431 h 2153444"/>
              <a:gd name="connsiteX22" fmla="*/ 2311562 w 5098938"/>
              <a:gd name="connsiteY22" fmla="*/ 861965 h 2153444"/>
              <a:gd name="connsiteX23" fmla="*/ 2419348 w 5098938"/>
              <a:gd name="connsiteY23" fmla="*/ 861965 h 2153444"/>
              <a:gd name="connsiteX24" fmla="*/ 2419348 w 5098938"/>
              <a:gd name="connsiteY24" fmla="*/ 743913 h 2153444"/>
              <a:gd name="connsiteX25" fmla="*/ 2613436 w 5098938"/>
              <a:gd name="connsiteY25" fmla="*/ 743913 h 2153444"/>
              <a:gd name="connsiteX26" fmla="*/ 2613436 w 5098938"/>
              <a:gd name="connsiteY26" fmla="*/ 555710 h 2153444"/>
              <a:gd name="connsiteX27" fmla="*/ 2748120 w 5098938"/>
              <a:gd name="connsiteY27" fmla="*/ 555710 h 2153444"/>
              <a:gd name="connsiteX28" fmla="*/ 2748120 w 5098938"/>
              <a:gd name="connsiteY28" fmla="*/ 743913 h 2153444"/>
              <a:gd name="connsiteX29" fmla="*/ 2886363 w 5098938"/>
              <a:gd name="connsiteY29" fmla="*/ 743913 h 2153444"/>
              <a:gd name="connsiteX30" fmla="*/ 2886363 w 5098938"/>
              <a:gd name="connsiteY30" fmla="*/ 675083 h 2153444"/>
              <a:gd name="connsiteX31" fmla="*/ 3067332 w 5098938"/>
              <a:gd name="connsiteY31" fmla="*/ 675083 h 2153444"/>
              <a:gd name="connsiteX32" fmla="*/ 3067332 w 5098938"/>
              <a:gd name="connsiteY32" fmla="*/ 743913 h 2153444"/>
              <a:gd name="connsiteX33" fmla="*/ 3173697 w 5098938"/>
              <a:gd name="connsiteY33" fmla="*/ 743913 h 2153444"/>
              <a:gd name="connsiteX34" fmla="*/ 3173697 w 5098938"/>
              <a:gd name="connsiteY34" fmla="*/ 843840 h 2153444"/>
              <a:gd name="connsiteX35" fmla="*/ 3481154 w 5098938"/>
              <a:gd name="connsiteY35" fmla="*/ 843840 h 2153444"/>
              <a:gd name="connsiteX36" fmla="*/ 3481154 w 5098938"/>
              <a:gd name="connsiteY36" fmla="*/ 292894 h 2153444"/>
              <a:gd name="connsiteX37" fmla="*/ 3629992 w 5098938"/>
              <a:gd name="connsiteY37" fmla="*/ 292894 h 2153444"/>
              <a:gd name="connsiteX38" fmla="*/ 3629992 w 5098938"/>
              <a:gd name="connsiteY38" fmla="*/ 2153444 h 2153444"/>
              <a:gd name="connsiteX39" fmla="*/ 2838338 w 5098938"/>
              <a:gd name="connsiteY39" fmla="*/ 2153444 h 2153444"/>
              <a:gd name="connsiteX40" fmla="*/ 2419348 w 5098938"/>
              <a:gd name="connsiteY40" fmla="*/ 2153444 h 2153444"/>
              <a:gd name="connsiteX41" fmla="*/ 2198577 w 5098938"/>
              <a:gd name="connsiteY41" fmla="*/ 2153444 h 2153444"/>
              <a:gd name="connsiteX42" fmla="*/ 2049739 w 5098938"/>
              <a:gd name="connsiteY42" fmla="*/ 2153444 h 2153444"/>
              <a:gd name="connsiteX43" fmla="*/ 1685812 w 5098938"/>
              <a:gd name="connsiteY43" fmla="*/ 2153444 h 2153444"/>
              <a:gd name="connsiteX44" fmla="*/ 1057163 w 5098938"/>
              <a:gd name="connsiteY44" fmla="*/ 2153444 h 2153444"/>
              <a:gd name="connsiteX45" fmla="*/ 0 w 5098938"/>
              <a:gd name="connsiteY45" fmla="*/ 2153444 h 2153444"/>
              <a:gd name="connsiteX46" fmla="*/ 0 w 5098938"/>
              <a:gd name="connsiteY46" fmla="*/ 1192382 h 2153444"/>
              <a:gd name="connsiteX47" fmla="*/ 739554 w 5098938"/>
              <a:gd name="connsiteY47" fmla="*/ 1192382 h 2153444"/>
              <a:gd name="connsiteX48" fmla="*/ 739554 w 5098938"/>
              <a:gd name="connsiteY48" fmla="*/ 1371600 h 2153444"/>
              <a:gd name="connsiteX49" fmla="*/ 931464 w 5098938"/>
              <a:gd name="connsiteY49" fmla="*/ 1371600 h 2153444"/>
              <a:gd name="connsiteX50" fmla="*/ 931464 w 5098938"/>
              <a:gd name="connsiteY50" fmla="*/ 627147 h 2153444"/>
              <a:gd name="connsiteX51" fmla="*/ 1125552 w 5098938"/>
              <a:gd name="connsiteY51" fmla="*/ 627147 h 2153444"/>
              <a:gd name="connsiteX52" fmla="*/ 1125552 w 5098938"/>
              <a:gd name="connsiteY52" fmla="*/ 438944 h 2153444"/>
              <a:gd name="connsiteX53" fmla="*/ 1260236 w 5098938"/>
              <a:gd name="connsiteY53" fmla="*/ 438944 h 2153444"/>
              <a:gd name="connsiteX54" fmla="*/ 1260236 w 5098938"/>
              <a:gd name="connsiteY54" fmla="*/ 627147 h 2153444"/>
              <a:gd name="connsiteX55" fmla="*/ 1398478 w 5098938"/>
              <a:gd name="connsiteY55" fmla="*/ 627147 h 2153444"/>
              <a:gd name="connsiteX56" fmla="*/ 1398478 w 5098938"/>
              <a:gd name="connsiteY56" fmla="*/ 558317 h 2153444"/>
              <a:gd name="connsiteX57" fmla="*/ 1579447 w 5098938"/>
              <a:gd name="connsiteY57" fmla="*/ 558317 h 2153444"/>
              <a:gd name="connsiteX58" fmla="*/ 1579447 w 5098938"/>
              <a:gd name="connsiteY58" fmla="*/ 627147 h 2153444"/>
              <a:gd name="connsiteX59" fmla="*/ 1685812 w 5098938"/>
              <a:gd name="connsiteY59" fmla="*/ 627147 h 2153444"/>
              <a:gd name="connsiteX60" fmla="*/ 1685812 w 5098938"/>
              <a:gd name="connsiteY60" fmla="*/ 850815 h 2153444"/>
              <a:gd name="connsiteX61" fmla="*/ 1800114 w 5098938"/>
              <a:gd name="connsiteY61" fmla="*/ 850815 h 215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5098938" h="2153444">
                <a:moveTo>
                  <a:pt x="3746973" y="776429"/>
                </a:moveTo>
                <a:lnTo>
                  <a:pt x="3895811" y="776429"/>
                </a:lnTo>
                <a:lnTo>
                  <a:pt x="3895811" y="1187671"/>
                </a:lnTo>
                <a:lnTo>
                  <a:pt x="4199862" y="1187671"/>
                </a:lnTo>
                <a:lnTo>
                  <a:pt x="4199862" y="967581"/>
                </a:lnTo>
                <a:lnTo>
                  <a:pt x="4266632" y="967581"/>
                </a:lnTo>
                <a:lnTo>
                  <a:pt x="4266632" y="1187671"/>
                </a:lnTo>
                <a:lnTo>
                  <a:pt x="4469087" y="1187671"/>
                </a:lnTo>
                <a:lnTo>
                  <a:pt x="4469087" y="1371599"/>
                </a:lnTo>
                <a:lnTo>
                  <a:pt x="5098938" y="1371599"/>
                </a:lnTo>
                <a:lnTo>
                  <a:pt x="5098938" y="2153444"/>
                </a:lnTo>
                <a:lnTo>
                  <a:pt x="3746973" y="2153444"/>
                </a:lnTo>
                <a:close/>
                <a:moveTo>
                  <a:pt x="1800114" y="0"/>
                </a:moveTo>
                <a:lnTo>
                  <a:pt x="1997511" y="0"/>
                </a:lnTo>
                <a:lnTo>
                  <a:pt x="1997511" y="850815"/>
                </a:lnTo>
                <a:lnTo>
                  <a:pt x="1997511" y="1067594"/>
                </a:lnTo>
                <a:lnTo>
                  <a:pt x="1997511" y="1799431"/>
                </a:lnTo>
                <a:lnTo>
                  <a:pt x="2049739" y="1799431"/>
                </a:lnTo>
                <a:lnTo>
                  <a:pt x="2049739" y="292894"/>
                </a:lnTo>
                <a:lnTo>
                  <a:pt x="2198577" y="292894"/>
                </a:lnTo>
                <a:lnTo>
                  <a:pt x="2198577" y="1799431"/>
                </a:lnTo>
                <a:lnTo>
                  <a:pt x="2311562" y="1799431"/>
                </a:lnTo>
                <a:lnTo>
                  <a:pt x="2311562" y="861965"/>
                </a:lnTo>
                <a:lnTo>
                  <a:pt x="2419348" y="861965"/>
                </a:lnTo>
                <a:lnTo>
                  <a:pt x="2419348" y="743913"/>
                </a:lnTo>
                <a:lnTo>
                  <a:pt x="2613436" y="743913"/>
                </a:lnTo>
                <a:lnTo>
                  <a:pt x="2613436" y="555710"/>
                </a:lnTo>
                <a:lnTo>
                  <a:pt x="2748120" y="555710"/>
                </a:lnTo>
                <a:lnTo>
                  <a:pt x="2748120" y="743913"/>
                </a:lnTo>
                <a:lnTo>
                  <a:pt x="2886363" y="743913"/>
                </a:lnTo>
                <a:lnTo>
                  <a:pt x="2886363" y="675083"/>
                </a:lnTo>
                <a:lnTo>
                  <a:pt x="3067332" y="675083"/>
                </a:lnTo>
                <a:lnTo>
                  <a:pt x="3067332" y="743913"/>
                </a:lnTo>
                <a:lnTo>
                  <a:pt x="3173697" y="743913"/>
                </a:lnTo>
                <a:lnTo>
                  <a:pt x="3173697" y="843840"/>
                </a:lnTo>
                <a:lnTo>
                  <a:pt x="3481154" y="843840"/>
                </a:lnTo>
                <a:lnTo>
                  <a:pt x="3481154" y="292894"/>
                </a:lnTo>
                <a:lnTo>
                  <a:pt x="3629992" y="292894"/>
                </a:lnTo>
                <a:lnTo>
                  <a:pt x="3629992" y="2153444"/>
                </a:lnTo>
                <a:lnTo>
                  <a:pt x="2838338" y="2153444"/>
                </a:lnTo>
                <a:lnTo>
                  <a:pt x="2419348" y="2153444"/>
                </a:lnTo>
                <a:lnTo>
                  <a:pt x="2198577" y="2153444"/>
                </a:lnTo>
                <a:lnTo>
                  <a:pt x="2049739" y="2153444"/>
                </a:lnTo>
                <a:lnTo>
                  <a:pt x="1685812" y="2153444"/>
                </a:lnTo>
                <a:lnTo>
                  <a:pt x="1057163" y="2153444"/>
                </a:lnTo>
                <a:lnTo>
                  <a:pt x="0" y="2153444"/>
                </a:lnTo>
                <a:lnTo>
                  <a:pt x="0" y="1192382"/>
                </a:lnTo>
                <a:lnTo>
                  <a:pt x="739554" y="1192382"/>
                </a:lnTo>
                <a:lnTo>
                  <a:pt x="739554" y="1371600"/>
                </a:lnTo>
                <a:lnTo>
                  <a:pt x="931464" y="1371600"/>
                </a:lnTo>
                <a:lnTo>
                  <a:pt x="931464" y="627147"/>
                </a:lnTo>
                <a:lnTo>
                  <a:pt x="1125552" y="627147"/>
                </a:lnTo>
                <a:lnTo>
                  <a:pt x="1125552" y="438944"/>
                </a:lnTo>
                <a:lnTo>
                  <a:pt x="1260236" y="438944"/>
                </a:lnTo>
                <a:lnTo>
                  <a:pt x="1260236" y="627147"/>
                </a:lnTo>
                <a:lnTo>
                  <a:pt x="1398478" y="627147"/>
                </a:lnTo>
                <a:lnTo>
                  <a:pt x="1398478" y="558317"/>
                </a:lnTo>
                <a:lnTo>
                  <a:pt x="1579447" y="558317"/>
                </a:lnTo>
                <a:lnTo>
                  <a:pt x="1579447" y="627147"/>
                </a:lnTo>
                <a:lnTo>
                  <a:pt x="1685812" y="627147"/>
                </a:lnTo>
                <a:lnTo>
                  <a:pt x="1685812" y="850815"/>
                </a:lnTo>
                <a:lnTo>
                  <a:pt x="1800114" y="850815"/>
                </a:lnTo>
                <a:close/>
              </a:path>
            </a:pathLst>
          </a:cu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5417">
                    <a:srgbClr val="05E0DB"/>
                  </a:gs>
                  <a:gs pos="100000">
                    <a:srgbClr val="05E0DB"/>
                  </a:gs>
                </a:gsLst>
                <a:lin ang="5400000" scaled="0"/>
              </a:gradFill>
              <a:effectLst/>
              <a:uLnTx/>
              <a:uFillTx/>
              <a:latin typeface="Segoe UI"/>
              <a:ea typeface="+mn-ea"/>
              <a:cs typeface="+mn-cs"/>
            </a:endParaRPr>
          </a:p>
        </p:txBody>
      </p:sp>
      <p:sp>
        <p:nvSpPr>
          <p:cNvPr id="150" name="Rectangle 149"/>
          <p:cNvSpPr/>
          <p:nvPr userDrawn="1"/>
        </p:nvSpPr>
        <p:spPr bwMode="auto">
          <a:xfrm>
            <a:off x="2" y="3829972"/>
            <a:ext cx="6308333" cy="348522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27" tIns="91427" rIns="91427" bIns="91427" numCol="1" rtlCol="0" anchor="ctr" anchorCtr="0" compatLnSpc="1">
            <a:prstTxWarp prst="textNoShape">
              <a:avLst/>
            </a:prstTxWarp>
            <a:noAutofit/>
          </a:bodyPr>
          <a:lstStyle/>
          <a:p>
            <a:pPr marL="0" marR="0" indent="0" algn="ctr" defTabSz="888829" rtl="0" eaLnBrk="1" fontAlgn="base" latinLnBrk="0" hangingPunct="1"/>
            <a:endParaRPr kumimoji="0" lang="en-US" sz="1400" b="0" i="0" u="none" strike="noStrike" cap="none" normalizeH="0" baseline="0" err="1">
              <a:solidFill>
                <a:schemeClr val="tx1"/>
              </a:solidFill>
              <a:effectLst/>
              <a:latin typeface="+mn-lt"/>
              <a:cs typeface="+mn-cs"/>
            </a:endParaRPr>
          </a:p>
        </p:txBody>
      </p:sp>
      <p:sp>
        <p:nvSpPr>
          <p:cNvPr id="2" name="Title 1"/>
          <p:cNvSpPr>
            <a:spLocks noGrp="1"/>
          </p:cNvSpPr>
          <p:nvPr>
            <p:ph type="title"/>
          </p:nvPr>
        </p:nvSpPr>
        <p:spPr>
          <a:xfrm>
            <a:off x="269242" y="237459"/>
            <a:ext cx="6039093" cy="959643"/>
          </a:xfrm>
        </p:spPr>
        <p:txBody>
          <a:bodyPr/>
          <a:lstStyle>
            <a:lvl1pPr>
              <a:defRPr sz="4000"/>
            </a:lvl1pPr>
          </a:lstStyle>
          <a:p>
            <a:r>
              <a:rPr lang="en-US"/>
              <a:t>Click to edit Master title style</a:t>
            </a:r>
          </a:p>
        </p:txBody>
      </p:sp>
      <p:sp>
        <p:nvSpPr>
          <p:cNvPr id="4" name="Footer Placeholder 3"/>
          <p:cNvSpPr>
            <a:spLocks noGrp="1"/>
          </p:cNvSpPr>
          <p:nvPr>
            <p:ph type="ftr" sz="quarter" idx="12"/>
          </p:nvPr>
        </p:nvSpPr>
        <p:spPr>
          <a:xfrm>
            <a:off x="269240" y="6977222"/>
            <a:ext cx="4332718" cy="337981"/>
          </a:xfrm>
          <a:prstGeom prst="rect">
            <a:avLst/>
          </a:prstGeom>
        </p:spPr>
        <p:txBody>
          <a:bodyPr/>
          <a:lstStyle/>
          <a:p>
            <a:r>
              <a:t>Footer</a:t>
            </a:r>
          </a:p>
        </p:txBody>
      </p:sp>
      <p:sp>
        <p:nvSpPr>
          <p:cNvPr id="5" name="Rectangle 4"/>
          <p:cNvSpPr/>
          <p:nvPr userDrawn="1"/>
        </p:nvSpPr>
        <p:spPr bwMode="auto">
          <a:xfrm>
            <a:off x="6308335" y="0"/>
            <a:ext cx="5883667" cy="7315200"/>
          </a:xfrm>
          <a:prstGeom prst="rect">
            <a:avLst/>
          </a:prstGeom>
          <a:solidFill>
            <a:schemeClr val="tx2"/>
          </a:solidFill>
          <a:ln w="9525" cap="flat" cmpd="sng" algn="ctr">
            <a:noFill/>
            <a:prstDash val="solid"/>
            <a:round/>
            <a:headEnd type="none" w="med" len="med"/>
            <a:tailEnd type="none" w="med" len="med"/>
          </a:ln>
          <a:effectLst/>
        </p:spPr>
        <p:txBody>
          <a:bodyPr vert="horz" wrap="square" lIns="91427" tIns="91427" rIns="91427" bIns="91427" numCol="1" rtlCol="0" anchor="ctr" anchorCtr="0" compatLnSpc="1">
            <a:prstTxWarp prst="textNoShape">
              <a:avLst/>
            </a:prstTxWarp>
            <a:noAutofit/>
          </a:bodyPr>
          <a:lstStyle/>
          <a:p>
            <a:pPr marL="0" marR="0" indent="0" algn="ctr" defTabSz="888829" rtl="0" eaLnBrk="1" fontAlgn="base" latinLnBrk="0" hangingPunct="1"/>
            <a:endParaRPr kumimoji="0" lang="en-US" sz="1400" b="0" i="0" u="none" strike="noStrike" cap="none" normalizeH="0" baseline="0" err="1">
              <a:solidFill>
                <a:schemeClr val="tx1"/>
              </a:solidFill>
              <a:effectLst/>
              <a:latin typeface="+mn-lt"/>
              <a:cs typeface="+mn-cs"/>
            </a:endParaRPr>
          </a:p>
        </p:txBody>
      </p:sp>
      <p:sp>
        <p:nvSpPr>
          <p:cNvPr id="6" name="Text Placeholder 5"/>
          <p:cNvSpPr>
            <a:spLocks noGrp="1"/>
          </p:cNvSpPr>
          <p:nvPr>
            <p:ph type="body" sz="quarter" idx="13"/>
          </p:nvPr>
        </p:nvSpPr>
        <p:spPr>
          <a:xfrm>
            <a:off x="6502401" y="237067"/>
            <a:ext cx="5588000" cy="3926841"/>
          </a:xfrm>
        </p:spPr>
        <p:txBody>
          <a:bodyPr>
            <a:noAutofit/>
          </a:bodyPr>
          <a:lstStyle>
            <a:lvl1pPr>
              <a:spcBef>
                <a:spcPts val="0"/>
              </a:spcBef>
              <a:defRPr sz="3200">
                <a:solidFill>
                  <a:srgbClr val="44B0FF"/>
                </a:solidFill>
                <a:latin typeface="+mj-lt"/>
              </a:defRPr>
            </a:lvl1pPr>
            <a:lvl2pPr marL="0" indent="0">
              <a:spcBef>
                <a:spcPts val="4200"/>
              </a:spcBef>
              <a:buNone/>
              <a:defRPr>
                <a:solidFill>
                  <a:srgbClr val="44B0FF"/>
                </a:solidFill>
              </a:defRPr>
            </a:lvl2pPr>
          </a:lstStyle>
          <a:p>
            <a:pPr lvl="0"/>
            <a:r>
              <a:rPr lang="en-US"/>
              <a:t>Edit Master text styles</a:t>
            </a:r>
          </a:p>
          <a:p>
            <a:pPr lvl="1"/>
            <a:r>
              <a:rPr lang="en-US"/>
              <a:t>Master text styles</a:t>
            </a:r>
          </a:p>
        </p:txBody>
      </p:sp>
      <p:cxnSp>
        <p:nvCxnSpPr>
          <p:cNvPr id="11" name="Straight Connector 10"/>
          <p:cNvCxnSpPr/>
          <p:nvPr userDrawn="1"/>
        </p:nvCxnSpPr>
        <p:spPr>
          <a:xfrm>
            <a:off x="6308333" y="4258773"/>
            <a:ext cx="5595800" cy="0"/>
          </a:xfrm>
          <a:prstGeom prst="line">
            <a:avLst/>
          </a:prstGeom>
          <a:noFill/>
          <a:ln w="9525" cap="rnd" cmpd="sng" algn="ctr">
            <a:solidFill>
              <a:srgbClr val="008272"/>
            </a:solidFill>
            <a:prstDash val="solid"/>
            <a:headEnd type="none"/>
            <a:tailEnd type="oval"/>
          </a:ln>
          <a:effectLst/>
        </p:spPr>
      </p:cxnSp>
      <p:sp>
        <p:nvSpPr>
          <p:cNvPr id="149" name="Text Placeholder 148"/>
          <p:cNvSpPr>
            <a:spLocks noGrp="1"/>
          </p:cNvSpPr>
          <p:nvPr>
            <p:ph type="body" sz="quarter" idx="16"/>
          </p:nvPr>
        </p:nvSpPr>
        <p:spPr>
          <a:xfrm>
            <a:off x="6502402" y="4397587"/>
            <a:ext cx="5402263" cy="2578946"/>
          </a:xfrm>
        </p:spPr>
        <p:txBody>
          <a:bodyPr>
            <a:noAutofit/>
          </a:bodyPr>
          <a:lstStyle>
            <a:lvl1pPr>
              <a:defRPr lang="en-US" sz="1600" kern="1200" dirty="0" smtClean="0">
                <a:solidFill>
                  <a:schemeClr val="bg1"/>
                </a:solidFill>
                <a:latin typeface="+mn-lt"/>
                <a:ea typeface="+mn-ea"/>
                <a:cs typeface="+mn-cs"/>
              </a:defRPr>
            </a:lvl1pPr>
            <a:lvl2pPr>
              <a:defRPr lang="en-US" sz="1600" kern="1200" dirty="0" smtClean="0">
                <a:solidFill>
                  <a:schemeClr val="bg1"/>
                </a:solidFill>
                <a:latin typeface="+mn-lt"/>
                <a:ea typeface="+mn-ea"/>
                <a:cs typeface="+mn-cs"/>
              </a:defRPr>
            </a:lvl2pPr>
            <a:lvl3pPr>
              <a:defRPr lang="en-US" sz="1600" kern="1200" dirty="0" smtClean="0">
                <a:solidFill>
                  <a:schemeClr val="bg1"/>
                </a:solidFill>
                <a:latin typeface="+mn-lt"/>
                <a:ea typeface="+mn-ea"/>
                <a:cs typeface="+mn-cs"/>
              </a:defRPr>
            </a:lvl3pPr>
            <a:lvl4pPr>
              <a:defRPr lang="en-US" sz="1600" kern="1200" dirty="0" smtClean="0">
                <a:solidFill>
                  <a:schemeClr val="bg1"/>
                </a:solidFill>
                <a:latin typeface="+mn-lt"/>
                <a:ea typeface="+mn-ea"/>
                <a:cs typeface="+mn-cs"/>
              </a:defRPr>
            </a:lvl4pPr>
            <a:lvl5pPr>
              <a:defRPr lang="en-US" sz="1600" kern="1200" dirty="0">
                <a:solidFill>
                  <a:schemeClr val="bg1"/>
                </a:solidFill>
                <a:latin typeface="+mn-lt"/>
                <a:ea typeface="+mn-ea"/>
                <a:cs typeface="+mn-cs"/>
              </a:defRPr>
            </a:lvl5pPr>
          </a:lstStyle>
          <a:p>
            <a:pPr lvl="0"/>
            <a:r>
              <a:rPr lang="en-US"/>
              <a:t>Edit Master text styles</a:t>
            </a:r>
          </a:p>
        </p:txBody>
      </p:sp>
      <p:sp>
        <p:nvSpPr>
          <p:cNvPr id="148" name="Text Placeholder 6"/>
          <p:cNvSpPr>
            <a:spLocks noGrp="1"/>
          </p:cNvSpPr>
          <p:nvPr>
            <p:ph type="body" sz="quarter" idx="17"/>
          </p:nvPr>
        </p:nvSpPr>
        <p:spPr>
          <a:xfrm>
            <a:off x="423333" y="4397587"/>
            <a:ext cx="5791730" cy="2213186"/>
          </a:xfrm>
        </p:spPr>
        <p:txBody>
          <a:bodyPr>
            <a:noAutofit/>
          </a:bodyPr>
          <a:lstStyle>
            <a:lvl1pPr>
              <a:defRPr sz="2000"/>
            </a:lvl1pPr>
            <a:lvl2pPr marL="0" indent="0">
              <a:buNone/>
              <a:defRPr sz="1400"/>
            </a:lvl2pPr>
            <a:lvl3pPr marL="0" indent="0">
              <a:buNone/>
              <a:defRPr/>
            </a:lvl3pPr>
            <a:lvl4pPr marL="0" indent="0">
              <a:buNone/>
              <a:defRPr/>
            </a:lvl4pPr>
            <a:lvl5pPr marL="0" indent="0">
              <a:buNone/>
              <a:defRPr/>
            </a:lvl5pPr>
          </a:lstStyle>
          <a:p>
            <a:pPr lvl="0"/>
            <a:r>
              <a:rPr lang="en-US"/>
              <a:t>Edit Master text styles</a:t>
            </a:r>
          </a:p>
          <a:p>
            <a:pPr lvl="1"/>
            <a:r>
              <a:rPr lang="en-US"/>
              <a:t>Second level</a:t>
            </a:r>
          </a:p>
        </p:txBody>
      </p:sp>
      <p:grpSp>
        <p:nvGrpSpPr>
          <p:cNvPr id="117" name="car"/>
          <p:cNvGrpSpPr/>
          <p:nvPr userDrawn="1"/>
        </p:nvGrpSpPr>
        <p:grpSpPr>
          <a:xfrm flipH="1">
            <a:off x="1041444" y="2553277"/>
            <a:ext cx="4206224" cy="1527482"/>
            <a:chOff x="2641870" y="1869770"/>
            <a:chExt cx="6782685" cy="2309173"/>
          </a:xfrm>
        </p:grpSpPr>
        <p:sp>
          <p:nvSpPr>
            <p:cNvPr id="118" name="Freeform 5"/>
            <p:cNvSpPr>
              <a:spLocks/>
            </p:cNvSpPr>
            <p:nvPr/>
          </p:nvSpPr>
          <p:spPr bwMode="auto">
            <a:xfrm>
              <a:off x="2656150" y="1886090"/>
              <a:ext cx="6756166" cy="2052144"/>
            </a:xfrm>
            <a:custGeom>
              <a:avLst/>
              <a:gdLst>
                <a:gd name="T0" fmla="*/ 440 w 6623"/>
                <a:gd name="T1" fmla="*/ 1499 h 2013"/>
                <a:gd name="T2" fmla="*/ 681 w 6623"/>
                <a:gd name="T3" fmla="*/ 1093 h 2013"/>
                <a:gd name="T4" fmla="*/ 848 w 6623"/>
                <a:gd name="T5" fmla="*/ 999 h 2013"/>
                <a:gd name="T6" fmla="*/ 858 w 6623"/>
                <a:gd name="T7" fmla="*/ 996 h 2013"/>
                <a:gd name="T8" fmla="*/ 986 w 6623"/>
                <a:gd name="T9" fmla="*/ 967 h 2013"/>
                <a:gd name="T10" fmla="*/ 1386 w 6623"/>
                <a:gd name="T11" fmla="*/ 1029 h 2013"/>
                <a:gd name="T12" fmla="*/ 1690 w 6623"/>
                <a:gd name="T13" fmla="*/ 1346 h 2013"/>
                <a:gd name="T14" fmla="*/ 1689 w 6623"/>
                <a:gd name="T15" fmla="*/ 1895 h 2013"/>
                <a:gd name="T16" fmla="*/ 3479 w 6623"/>
                <a:gd name="T17" fmla="*/ 1854 h 2013"/>
                <a:gd name="T18" fmla="*/ 4908 w 6623"/>
                <a:gd name="T19" fmla="*/ 1942 h 2013"/>
                <a:gd name="T20" fmla="*/ 5002 w 6623"/>
                <a:gd name="T21" fmla="*/ 1981 h 2013"/>
                <a:gd name="T22" fmla="*/ 4912 w 6623"/>
                <a:gd name="T23" fmla="*/ 1589 h 2013"/>
                <a:gd name="T24" fmla="*/ 5187 w 6623"/>
                <a:gd name="T25" fmla="*/ 1078 h 2013"/>
                <a:gd name="T26" fmla="*/ 5629 w 6623"/>
                <a:gd name="T27" fmla="*/ 961 h 2013"/>
                <a:gd name="T28" fmla="*/ 5983 w 6623"/>
                <a:gd name="T29" fmla="*/ 1103 h 2013"/>
                <a:gd name="T30" fmla="*/ 6214 w 6623"/>
                <a:gd name="T31" fmla="*/ 1471 h 2013"/>
                <a:gd name="T32" fmla="*/ 6164 w 6623"/>
                <a:gd name="T33" fmla="*/ 1910 h 2013"/>
                <a:gd name="T34" fmla="*/ 6448 w 6623"/>
                <a:gd name="T35" fmla="*/ 2004 h 2013"/>
                <a:gd name="T36" fmla="*/ 6498 w 6623"/>
                <a:gd name="T37" fmla="*/ 1927 h 2013"/>
                <a:gd name="T38" fmla="*/ 6543 w 6623"/>
                <a:gd name="T39" fmla="*/ 1833 h 2013"/>
                <a:gd name="T40" fmla="*/ 6586 w 6623"/>
                <a:gd name="T41" fmla="*/ 1700 h 2013"/>
                <a:gd name="T42" fmla="*/ 6608 w 6623"/>
                <a:gd name="T43" fmla="*/ 1584 h 2013"/>
                <a:gd name="T44" fmla="*/ 6622 w 6623"/>
                <a:gd name="T45" fmla="*/ 1408 h 2013"/>
                <a:gd name="T46" fmla="*/ 6596 w 6623"/>
                <a:gd name="T47" fmla="*/ 1078 h 2013"/>
                <a:gd name="T48" fmla="*/ 6571 w 6623"/>
                <a:gd name="T49" fmla="*/ 1044 h 2013"/>
                <a:gd name="T50" fmla="*/ 6509 w 6623"/>
                <a:gd name="T51" fmla="*/ 984 h 2013"/>
                <a:gd name="T52" fmla="*/ 6400 w 6623"/>
                <a:gd name="T53" fmla="*/ 913 h 2013"/>
                <a:gd name="T54" fmla="*/ 6282 w 6623"/>
                <a:gd name="T55" fmla="*/ 866 h 2013"/>
                <a:gd name="T56" fmla="*/ 5976 w 6623"/>
                <a:gd name="T57" fmla="*/ 775 h 2013"/>
                <a:gd name="T58" fmla="*/ 5387 w 6623"/>
                <a:gd name="T59" fmla="*/ 672 h 2013"/>
                <a:gd name="T60" fmla="*/ 4605 w 6623"/>
                <a:gd name="T61" fmla="*/ 455 h 2013"/>
                <a:gd name="T62" fmla="*/ 3614 w 6623"/>
                <a:gd name="T63" fmla="*/ 69 h 2013"/>
                <a:gd name="T64" fmla="*/ 3139 w 6623"/>
                <a:gd name="T65" fmla="*/ 4 h 2013"/>
                <a:gd name="T66" fmla="*/ 2812 w 6623"/>
                <a:gd name="T67" fmla="*/ 1 h 2013"/>
                <a:gd name="T68" fmla="*/ 2511 w 6623"/>
                <a:gd name="T69" fmla="*/ 18 h 2013"/>
                <a:gd name="T70" fmla="*/ 2262 w 6623"/>
                <a:gd name="T71" fmla="*/ 49 h 2013"/>
                <a:gd name="T72" fmla="*/ 1784 w 6623"/>
                <a:gd name="T73" fmla="*/ 141 h 2013"/>
                <a:gd name="T74" fmla="*/ 1192 w 6623"/>
                <a:gd name="T75" fmla="*/ 313 h 2013"/>
                <a:gd name="T76" fmla="*/ 119 w 6623"/>
                <a:gd name="T77" fmla="*/ 675 h 2013"/>
                <a:gd name="T78" fmla="*/ 80 w 6623"/>
                <a:gd name="T79" fmla="*/ 759 h 2013"/>
                <a:gd name="T80" fmla="*/ 54 w 6623"/>
                <a:gd name="T81" fmla="*/ 873 h 2013"/>
                <a:gd name="T82" fmla="*/ 17 w 6623"/>
                <a:gd name="T83" fmla="*/ 1146 h 2013"/>
                <a:gd name="T84" fmla="*/ 0 w 6623"/>
                <a:gd name="T85" fmla="*/ 1299 h 2013"/>
                <a:gd name="T86" fmla="*/ 12 w 6623"/>
                <a:gd name="T87" fmla="*/ 1361 h 2013"/>
                <a:gd name="T88" fmla="*/ 36 w 6623"/>
                <a:gd name="T89" fmla="*/ 1397 h 2013"/>
                <a:gd name="T90" fmla="*/ 54 w 6623"/>
                <a:gd name="T91" fmla="*/ 1415 h 2013"/>
                <a:gd name="T92" fmla="*/ 11 w 6623"/>
                <a:gd name="T93" fmla="*/ 1733 h 2013"/>
                <a:gd name="T94" fmla="*/ 154 w 6623"/>
                <a:gd name="T95" fmla="*/ 1794 h 2013"/>
                <a:gd name="T96" fmla="*/ 303 w 6623"/>
                <a:gd name="T97" fmla="*/ 1841 h 2013"/>
                <a:gd name="T98" fmla="*/ 440 w 6623"/>
                <a:gd name="T99" fmla="*/ 1861 h 2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623" h="2013">
                  <a:moveTo>
                    <a:pt x="471" y="1862"/>
                  </a:moveTo>
                  <a:lnTo>
                    <a:pt x="442" y="1749"/>
                  </a:lnTo>
                  <a:lnTo>
                    <a:pt x="430" y="1618"/>
                  </a:lnTo>
                  <a:lnTo>
                    <a:pt x="440" y="1499"/>
                  </a:lnTo>
                  <a:lnTo>
                    <a:pt x="477" y="1370"/>
                  </a:lnTo>
                  <a:lnTo>
                    <a:pt x="529" y="1269"/>
                  </a:lnTo>
                  <a:lnTo>
                    <a:pt x="611" y="1158"/>
                  </a:lnTo>
                  <a:lnTo>
                    <a:pt x="681" y="1093"/>
                  </a:lnTo>
                  <a:lnTo>
                    <a:pt x="681" y="1093"/>
                  </a:lnTo>
                  <a:lnTo>
                    <a:pt x="768" y="1043"/>
                  </a:lnTo>
                  <a:lnTo>
                    <a:pt x="828" y="1009"/>
                  </a:lnTo>
                  <a:lnTo>
                    <a:pt x="848" y="999"/>
                  </a:lnTo>
                  <a:lnTo>
                    <a:pt x="854" y="996"/>
                  </a:lnTo>
                  <a:lnTo>
                    <a:pt x="857" y="995"/>
                  </a:lnTo>
                  <a:lnTo>
                    <a:pt x="857" y="995"/>
                  </a:lnTo>
                  <a:lnTo>
                    <a:pt x="858" y="996"/>
                  </a:lnTo>
                  <a:lnTo>
                    <a:pt x="863" y="995"/>
                  </a:lnTo>
                  <a:lnTo>
                    <a:pt x="878" y="993"/>
                  </a:lnTo>
                  <a:lnTo>
                    <a:pt x="922" y="983"/>
                  </a:lnTo>
                  <a:lnTo>
                    <a:pt x="986" y="967"/>
                  </a:lnTo>
                  <a:lnTo>
                    <a:pt x="1089" y="959"/>
                  </a:lnTo>
                  <a:lnTo>
                    <a:pt x="1196" y="967"/>
                  </a:lnTo>
                  <a:lnTo>
                    <a:pt x="1289" y="990"/>
                  </a:lnTo>
                  <a:lnTo>
                    <a:pt x="1386" y="1029"/>
                  </a:lnTo>
                  <a:lnTo>
                    <a:pt x="1473" y="1087"/>
                  </a:lnTo>
                  <a:lnTo>
                    <a:pt x="1539" y="1136"/>
                  </a:lnTo>
                  <a:lnTo>
                    <a:pt x="1623" y="1230"/>
                  </a:lnTo>
                  <a:lnTo>
                    <a:pt x="1690" y="1346"/>
                  </a:lnTo>
                  <a:lnTo>
                    <a:pt x="1731" y="1465"/>
                  </a:lnTo>
                  <a:lnTo>
                    <a:pt x="1749" y="1593"/>
                  </a:lnTo>
                  <a:lnTo>
                    <a:pt x="1720" y="1827"/>
                  </a:lnTo>
                  <a:lnTo>
                    <a:pt x="1689" y="1895"/>
                  </a:lnTo>
                  <a:lnTo>
                    <a:pt x="1883" y="1853"/>
                  </a:lnTo>
                  <a:lnTo>
                    <a:pt x="1989" y="1832"/>
                  </a:lnTo>
                  <a:lnTo>
                    <a:pt x="2311" y="1827"/>
                  </a:lnTo>
                  <a:lnTo>
                    <a:pt x="3479" y="1854"/>
                  </a:lnTo>
                  <a:lnTo>
                    <a:pt x="4819" y="1898"/>
                  </a:lnTo>
                  <a:lnTo>
                    <a:pt x="4819" y="1898"/>
                  </a:lnTo>
                  <a:lnTo>
                    <a:pt x="4847" y="1912"/>
                  </a:lnTo>
                  <a:lnTo>
                    <a:pt x="4908" y="1942"/>
                  </a:lnTo>
                  <a:lnTo>
                    <a:pt x="4943" y="1959"/>
                  </a:lnTo>
                  <a:lnTo>
                    <a:pt x="4976" y="1973"/>
                  </a:lnTo>
                  <a:lnTo>
                    <a:pt x="4990" y="1978"/>
                  </a:lnTo>
                  <a:lnTo>
                    <a:pt x="5002" y="1981"/>
                  </a:lnTo>
                  <a:lnTo>
                    <a:pt x="5012" y="1983"/>
                  </a:lnTo>
                  <a:lnTo>
                    <a:pt x="5021" y="1984"/>
                  </a:lnTo>
                  <a:lnTo>
                    <a:pt x="4940" y="1831"/>
                  </a:lnTo>
                  <a:lnTo>
                    <a:pt x="4912" y="1589"/>
                  </a:lnTo>
                  <a:lnTo>
                    <a:pt x="4932" y="1454"/>
                  </a:lnTo>
                  <a:lnTo>
                    <a:pt x="4991" y="1303"/>
                  </a:lnTo>
                  <a:lnTo>
                    <a:pt x="5075" y="1182"/>
                  </a:lnTo>
                  <a:lnTo>
                    <a:pt x="5187" y="1078"/>
                  </a:lnTo>
                  <a:lnTo>
                    <a:pt x="5289" y="1022"/>
                  </a:lnTo>
                  <a:lnTo>
                    <a:pt x="5405" y="980"/>
                  </a:lnTo>
                  <a:lnTo>
                    <a:pt x="5547" y="960"/>
                  </a:lnTo>
                  <a:lnTo>
                    <a:pt x="5629" y="961"/>
                  </a:lnTo>
                  <a:lnTo>
                    <a:pt x="5731" y="979"/>
                  </a:lnTo>
                  <a:lnTo>
                    <a:pt x="5802" y="1000"/>
                  </a:lnTo>
                  <a:lnTo>
                    <a:pt x="5920" y="1059"/>
                  </a:lnTo>
                  <a:lnTo>
                    <a:pt x="5983" y="1103"/>
                  </a:lnTo>
                  <a:lnTo>
                    <a:pt x="6072" y="1189"/>
                  </a:lnTo>
                  <a:lnTo>
                    <a:pt x="6135" y="1275"/>
                  </a:lnTo>
                  <a:lnTo>
                    <a:pt x="6182" y="1371"/>
                  </a:lnTo>
                  <a:lnTo>
                    <a:pt x="6214" y="1471"/>
                  </a:lnTo>
                  <a:lnTo>
                    <a:pt x="6230" y="1606"/>
                  </a:lnTo>
                  <a:lnTo>
                    <a:pt x="6223" y="1720"/>
                  </a:lnTo>
                  <a:lnTo>
                    <a:pt x="6196" y="1828"/>
                  </a:lnTo>
                  <a:lnTo>
                    <a:pt x="6164" y="1910"/>
                  </a:lnTo>
                  <a:lnTo>
                    <a:pt x="6122" y="1981"/>
                  </a:lnTo>
                  <a:lnTo>
                    <a:pt x="6101" y="2013"/>
                  </a:lnTo>
                  <a:lnTo>
                    <a:pt x="6448" y="2004"/>
                  </a:lnTo>
                  <a:lnTo>
                    <a:pt x="6448" y="2004"/>
                  </a:lnTo>
                  <a:lnTo>
                    <a:pt x="6451" y="1999"/>
                  </a:lnTo>
                  <a:lnTo>
                    <a:pt x="6463" y="1985"/>
                  </a:lnTo>
                  <a:lnTo>
                    <a:pt x="6478" y="1961"/>
                  </a:lnTo>
                  <a:lnTo>
                    <a:pt x="6498" y="1927"/>
                  </a:lnTo>
                  <a:lnTo>
                    <a:pt x="6508" y="1907"/>
                  </a:lnTo>
                  <a:lnTo>
                    <a:pt x="6519" y="1885"/>
                  </a:lnTo>
                  <a:lnTo>
                    <a:pt x="6530" y="1861"/>
                  </a:lnTo>
                  <a:lnTo>
                    <a:pt x="6543" y="1833"/>
                  </a:lnTo>
                  <a:lnTo>
                    <a:pt x="6554" y="1803"/>
                  </a:lnTo>
                  <a:lnTo>
                    <a:pt x="6564" y="1772"/>
                  </a:lnTo>
                  <a:lnTo>
                    <a:pt x="6576" y="1736"/>
                  </a:lnTo>
                  <a:lnTo>
                    <a:pt x="6586" y="1700"/>
                  </a:lnTo>
                  <a:lnTo>
                    <a:pt x="6586" y="1700"/>
                  </a:lnTo>
                  <a:lnTo>
                    <a:pt x="6595" y="1662"/>
                  </a:lnTo>
                  <a:lnTo>
                    <a:pt x="6602" y="1623"/>
                  </a:lnTo>
                  <a:lnTo>
                    <a:pt x="6608" y="1584"/>
                  </a:lnTo>
                  <a:lnTo>
                    <a:pt x="6613" y="1547"/>
                  </a:lnTo>
                  <a:lnTo>
                    <a:pt x="6617" y="1510"/>
                  </a:lnTo>
                  <a:lnTo>
                    <a:pt x="6620" y="1475"/>
                  </a:lnTo>
                  <a:lnTo>
                    <a:pt x="6622" y="1408"/>
                  </a:lnTo>
                  <a:lnTo>
                    <a:pt x="6623" y="1352"/>
                  </a:lnTo>
                  <a:lnTo>
                    <a:pt x="6622" y="1308"/>
                  </a:lnTo>
                  <a:lnTo>
                    <a:pt x="6621" y="1269"/>
                  </a:lnTo>
                  <a:lnTo>
                    <a:pt x="6596" y="1078"/>
                  </a:lnTo>
                  <a:lnTo>
                    <a:pt x="6596" y="1078"/>
                  </a:lnTo>
                  <a:lnTo>
                    <a:pt x="6592" y="1072"/>
                  </a:lnTo>
                  <a:lnTo>
                    <a:pt x="6581" y="1055"/>
                  </a:lnTo>
                  <a:lnTo>
                    <a:pt x="6571" y="1044"/>
                  </a:lnTo>
                  <a:lnTo>
                    <a:pt x="6559" y="1032"/>
                  </a:lnTo>
                  <a:lnTo>
                    <a:pt x="6546" y="1016"/>
                  </a:lnTo>
                  <a:lnTo>
                    <a:pt x="6529" y="1000"/>
                  </a:lnTo>
                  <a:lnTo>
                    <a:pt x="6509" y="984"/>
                  </a:lnTo>
                  <a:lnTo>
                    <a:pt x="6486" y="966"/>
                  </a:lnTo>
                  <a:lnTo>
                    <a:pt x="6461" y="949"/>
                  </a:lnTo>
                  <a:lnTo>
                    <a:pt x="6432" y="931"/>
                  </a:lnTo>
                  <a:lnTo>
                    <a:pt x="6400" y="913"/>
                  </a:lnTo>
                  <a:lnTo>
                    <a:pt x="6365" y="897"/>
                  </a:lnTo>
                  <a:lnTo>
                    <a:pt x="6324" y="881"/>
                  </a:lnTo>
                  <a:lnTo>
                    <a:pt x="6282" y="866"/>
                  </a:lnTo>
                  <a:lnTo>
                    <a:pt x="6282" y="866"/>
                  </a:lnTo>
                  <a:lnTo>
                    <a:pt x="6194" y="838"/>
                  </a:lnTo>
                  <a:lnTo>
                    <a:pt x="6112" y="814"/>
                  </a:lnTo>
                  <a:lnTo>
                    <a:pt x="6039" y="793"/>
                  </a:lnTo>
                  <a:lnTo>
                    <a:pt x="5976" y="775"/>
                  </a:lnTo>
                  <a:lnTo>
                    <a:pt x="5885" y="753"/>
                  </a:lnTo>
                  <a:lnTo>
                    <a:pt x="5852" y="744"/>
                  </a:lnTo>
                  <a:lnTo>
                    <a:pt x="5616" y="702"/>
                  </a:lnTo>
                  <a:lnTo>
                    <a:pt x="5387" y="672"/>
                  </a:lnTo>
                  <a:lnTo>
                    <a:pt x="5123" y="643"/>
                  </a:lnTo>
                  <a:lnTo>
                    <a:pt x="4870" y="630"/>
                  </a:lnTo>
                  <a:lnTo>
                    <a:pt x="4849" y="623"/>
                  </a:lnTo>
                  <a:lnTo>
                    <a:pt x="4605" y="455"/>
                  </a:lnTo>
                  <a:lnTo>
                    <a:pt x="4331" y="310"/>
                  </a:lnTo>
                  <a:lnTo>
                    <a:pt x="4070" y="200"/>
                  </a:lnTo>
                  <a:lnTo>
                    <a:pt x="3903" y="143"/>
                  </a:lnTo>
                  <a:lnTo>
                    <a:pt x="3614" y="69"/>
                  </a:lnTo>
                  <a:lnTo>
                    <a:pt x="3390" y="29"/>
                  </a:lnTo>
                  <a:lnTo>
                    <a:pt x="3159" y="5"/>
                  </a:lnTo>
                  <a:lnTo>
                    <a:pt x="3159" y="5"/>
                  </a:lnTo>
                  <a:lnTo>
                    <a:pt x="3139" y="4"/>
                  </a:lnTo>
                  <a:lnTo>
                    <a:pt x="3082" y="3"/>
                  </a:lnTo>
                  <a:lnTo>
                    <a:pt x="2993" y="0"/>
                  </a:lnTo>
                  <a:lnTo>
                    <a:pt x="2879" y="0"/>
                  </a:lnTo>
                  <a:lnTo>
                    <a:pt x="2812" y="1"/>
                  </a:lnTo>
                  <a:lnTo>
                    <a:pt x="2742" y="3"/>
                  </a:lnTo>
                  <a:lnTo>
                    <a:pt x="2668" y="6"/>
                  </a:lnTo>
                  <a:lnTo>
                    <a:pt x="2591" y="11"/>
                  </a:lnTo>
                  <a:lnTo>
                    <a:pt x="2511" y="18"/>
                  </a:lnTo>
                  <a:lnTo>
                    <a:pt x="2429" y="26"/>
                  </a:lnTo>
                  <a:lnTo>
                    <a:pt x="2345" y="37"/>
                  </a:lnTo>
                  <a:lnTo>
                    <a:pt x="2262" y="49"/>
                  </a:lnTo>
                  <a:lnTo>
                    <a:pt x="2262" y="49"/>
                  </a:lnTo>
                  <a:lnTo>
                    <a:pt x="2106" y="75"/>
                  </a:lnTo>
                  <a:lnTo>
                    <a:pt x="1975" y="99"/>
                  </a:lnTo>
                  <a:lnTo>
                    <a:pt x="1868" y="121"/>
                  </a:lnTo>
                  <a:lnTo>
                    <a:pt x="1784" y="141"/>
                  </a:lnTo>
                  <a:lnTo>
                    <a:pt x="1720" y="156"/>
                  </a:lnTo>
                  <a:lnTo>
                    <a:pt x="1676" y="167"/>
                  </a:lnTo>
                  <a:lnTo>
                    <a:pt x="1642" y="177"/>
                  </a:lnTo>
                  <a:lnTo>
                    <a:pt x="1192" y="313"/>
                  </a:lnTo>
                  <a:lnTo>
                    <a:pt x="740" y="488"/>
                  </a:lnTo>
                  <a:lnTo>
                    <a:pt x="280" y="480"/>
                  </a:lnTo>
                  <a:lnTo>
                    <a:pt x="119" y="675"/>
                  </a:lnTo>
                  <a:lnTo>
                    <a:pt x="119" y="675"/>
                  </a:lnTo>
                  <a:lnTo>
                    <a:pt x="110" y="687"/>
                  </a:lnTo>
                  <a:lnTo>
                    <a:pt x="103" y="704"/>
                  </a:lnTo>
                  <a:lnTo>
                    <a:pt x="92" y="728"/>
                  </a:lnTo>
                  <a:lnTo>
                    <a:pt x="80" y="759"/>
                  </a:lnTo>
                  <a:lnTo>
                    <a:pt x="69" y="798"/>
                  </a:lnTo>
                  <a:lnTo>
                    <a:pt x="64" y="820"/>
                  </a:lnTo>
                  <a:lnTo>
                    <a:pt x="59" y="846"/>
                  </a:lnTo>
                  <a:lnTo>
                    <a:pt x="54" y="873"/>
                  </a:lnTo>
                  <a:lnTo>
                    <a:pt x="50" y="902"/>
                  </a:lnTo>
                  <a:lnTo>
                    <a:pt x="50" y="902"/>
                  </a:lnTo>
                  <a:lnTo>
                    <a:pt x="34" y="1028"/>
                  </a:lnTo>
                  <a:lnTo>
                    <a:pt x="17" y="1146"/>
                  </a:lnTo>
                  <a:lnTo>
                    <a:pt x="0" y="1269"/>
                  </a:lnTo>
                  <a:lnTo>
                    <a:pt x="0" y="1269"/>
                  </a:lnTo>
                  <a:lnTo>
                    <a:pt x="0" y="1284"/>
                  </a:lnTo>
                  <a:lnTo>
                    <a:pt x="0" y="1299"/>
                  </a:lnTo>
                  <a:lnTo>
                    <a:pt x="2" y="1318"/>
                  </a:lnTo>
                  <a:lnTo>
                    <a:pt x="6" y="1339"/>
                  </a:lnTo>
                  <a:lnTo>
                    <a:pt x="10" y="1349"/>
                  </a:lnTo>
                  <a:lnTo>
                    <a:pt x="12" y="1361"/>
                  </a:lnTo>
                  <a:lnTo>
                    <a:pt x="17" y="1371"/>
                  </a:lnTo>
                  <a:lnTo>
                    <a:pt x="22" y="1380"/>
                  </a:lnTo>
                  <a:lnTo>
                    <a:pt x="29" y="1388"/>
                  </a:lnTo>
                  <a:lnTo>
                    <a:pt x="36" y="1397"/>
                  </a:lnTo>
                  <a:lnTo>
                    <a:pt x="36" y="1397"/>
                  </a:lnTo>
                  <a:lnTo>
                    <a:pt x="58" y="1416"/>
                  </a:lnTo>
                  <a:lnTo>
                    <a:pt x="61" y="1421"/>
                  </a:lnTo>
                  <a:lnTo>
                    <a:pt x="54" y="1415"/>
                  </a:lnTo>
                  <a:lnTo>
                    <a:pt x="9" y="1470"/>
                  </a:lnTo>
                  <a:lnTo>
                    <a:pt x="0" y="1726"/>
                  </a:lnTo>
                  <a:lnTo>
                    <a:pt x="0" y="1726"/>
                  </a:lnTo>
                  <a:lnTo>
                    <a:pt x="11" y="1733"/>
                  </a:lnTo>
                  <a:lnTo>
                    <a:pt x="44" y="1748"/>
                  </a:lnTo>
                  <a:lnTo>
                    <a:pt x="93" y="1770"/>
                  </a:lnTo>
                  <a:lnTo>
                    <a:pt x="122" y="1782"/>
                  </a:lnTo>
                  <a:lnTo>
                    <a:pt x="154" y="1794"/>
                  </a:lnTo>
                  <a:lnTo>
                    <a:pt x="188" y="1807"/>
                  </a:lnTo>
                  <a:lnTo>
                    <a:pt x="226" y="1819"/>
                  </a:lnTo>
                  <a:lnTo>
                    <a:pt x="264" y="1831"/>
                  </a:lnTo>
                  <a:lnTo>
                    <a:pt x="303" y="1841"/>
                  </a:lnTo>
                  <a:lnTo>
                    <a:pt x="342" y="1849"/>
                  </a:lnTo>
                  <a:lnTo>
                    <a:pt x="381" y="1856"/>
                  </a:lnTo>
                  <a:lnTo>
                    <a:pt x="421" y="1860"/>
                  </a:lnTo>
                  <a:lnTo>
                    <a:pt x="440" y="1861"/>
                  </a:lnTo>
                  <a:lnTo>
                    <a:pt x="458" y="1861"/>
                  </a:lnTo>
                  <a:lnTo>
                    <a:pt x="471" y="1862"/>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19" name="Freeform 6"/>
            <p:cNvSpPr>
              <a:spLocks/>
            </p:cNvSpPr>
            <p:nvPr/>
          </p:nvSpPr>
          <p:spPr bwMode="auto">
            <a:xfrm>
              <a:off x="2656150" y="1886090"/>
              <a:ext cx="6756166" cy="2052144"/>
            </a:xfrm>
            <a:custGeom>
              <a:avLst/>
              <a:gdLst>
                <a:gd name="T0" fmla="*/ 440 w 6623"/>
                <a:gd name="T1" fmla="*/ 1499 h 2013"/>
                <a:gd name="T2" fmla="*/ 681 w 6623"/>
                <a:gd name="T3" fmla="*/ 1093 h 2013"/>
                <a:gd name="T4" fmla="*/ 848 w 6623"/>
                <a:gd name="T5" fmla="*/ 999 h 2013"/>
                <a:gd name="T6" fmla="*/ 858 w 6623"/>
                <a:gd name="T7" fmla="*/ 996 h 2013"/>
                <a:gd name="T8" fmla="*/ 986 w 6623"/>
                <a:gd name="T9" fmla="*/ 967 h 2013"/>
                <a:gd name="T10" fmla="*/ 1386 w 6623"/>
                <a:gd name="T11" fmla="*/ 1029 h 2013"/>
                <a:gd name="T12" fmla="*/ 1690 w 6623"/>
                <a:gd name="T13" fmla="*/ 1346 h 2013"/>
                <a:gd name="T14" fmla="*/ 1689 w 6623"/>
                <a:gd name="T15" fmla="*/ 1895 h 2013"/>
                <a:gd name="T16" fmla="*/ 3479 w 6623"/>
                <a:gd name="T17" fmla="*/ 1854 h 2013"/>
                <a:gd name="T18" fmla="*/ 4908 w 6623"/>
                <a:gd name="T19" fmla="*/ 1942 h 2013"/>
                <a:gd name="T20" fmla="*/ 5002 w 6623"/>
                <a:gd name="T21" fmla="*/ 1981 h 2013"/>
                <a:gd name="T22" fmla="*/ 4912 w 6623"/>
                <a:gd name="T23" fmla="*/ 1589 h 2013"/>
                <a:gd name="T24" fmla="*/ 5187 w 6623"/>
                <a:gd name="T25" fmla="*/ 1078 h 2013"/>
                <a:gd name="T26" fmla="*/ 5629 w 6623"/>
                <a:gd name="T27" fmla="*/ 961 h 2013"/>
                <a:gd name="T28" fmla="*/ 5983 w 6623"/>
                <a:gd name="T29" fmla="*/ 1103 h 2013"/>
                <a:gd name="T30" fmla="*/ 6214 w 6623"/>
                <a:gd name="T31" fmla="*/ 1471 h 2013"/>
                <a:gd name="T32" fmla="*/ 6164 w 6623"/>
                <a:gd name="T33" fmla="*/ 1910 h 2013"/>
                <a:gd name="T34" fmla="*/ 6448 w 6623"/>
                <a:gd name="T35" fmla="*/ 2004 h 2013"/>
                <a:gd name="T36" fmla="*/ 6498 w 6623"/>
                <a:gd name="T37" fmla="*/ 1927 h 2013"/>
                <a:gd name="T38" fmla="*/ 6543 w 6623"/>
                <a:gd name="T39" fmla="*/ 1833 h 2013"/>
                <a:gd name="T40" fmla="*/ 6586 w 6623"/>
                <a:gd name="T41" fmla="*/ 1700 h 2013"/>
                <a:gd name="T42" fmla="*/ 6608 w 6623"/>
                <a:gd name="T43" fmla="*/ 1584 h 2013"/>
                <a:gd name="T44" fmla="*/ 6622 w 6623"/>
                <a:gd name="T45" fmla="*/ 1408 h 2013"/>
                <a:gd name="T46" fmla="*/ 6596 w 6623"/>
                <a:gd name="T47" fmla="*/ 1078 h 2013"/>
                <a:gd name="T48" fmla="*/ 6571 w 6623"/>
                <a:gd name="T49" fmla="*/ 1044 h 2013"/>
                <a:gd name="T50" fmla="*/ 6509 w 6623"/>
                <a:gd name="T51" fmla="*/ 984 h 2013"/>
                <a:gd name="T52" fmla="*/ 6400 w 6623"/>
                <a:gd name="T53" fmla="*/ 913 h 2013"/>
                <a:gd name="T54" fmla="*/ 6282 w 6623"/>
                <a:gd name="T55" fmla="*/ 866 h 2013"/>
                <a:gd name="T56" fmla="*/ 5976 w 6623"/>
                <a:gd name="T57" fmla="*/ 775 h 2013"/>
                <a:gd name="T58" fmla="*/ 5387 w 6623"/>
                <a:gd name="T59" fmla="*/ 672 h 2013"/>
                <a:gd name="T60" fmla="*/ 4605 w 6623"/>
                <a:gd name="T61" fmla="*/ 455 h 2013"/>
                <a:gd name="T62" fmla="*/ 3614 w 6623"/>
                <a:gd name="T63" fmla="*/ 69 h 2013"/>
                <a:gd name="T64" fmla="*/ 3139 w 6623"/>
                <a:gd name="T65" fmla="*/ 4 h 2013"/>
                <a:gd name="T66" fmla="*/ 2812 w 6623"/>
                <a:gd name="T67" fmla="*/ 1 h 2013"/>
                <a:gd name="T68" fmla="*/ 2511 w 6623"/>
                <a:gd name="T69" fmla="*/ 18 h 2013"/>
                <a:gd name="T70" fmla="*/ 2262 w 6623"/>
                <a:gd name="T71" fmla="*/ 49 h 2013"/>
                <a:gd name="T72" fmla="*/ 1784 w 6623"/>
                <a:gd name="T73" fmla="*/ 141 h 2013"/>
                <a:gd name="T74" fmla="*/ 1192 w 6623"/>
                <a:gd name="T75" fmla="*/ 313 h 2013"/>
                <a:gd name="T76" fmla="*/ 119 w 6623"/>
                <a:gd name="T77" fmla="*/ 675 h 2013"/>
                <a:gd name="T78" fmla="*/ 80 w 6623"/>
                <a:gd name="T79" fmla="*/ 759 h 2013"/>
                <a:gd name="T80" fmla="*/ 54 w 6623"/>
                <a:gd name="T81" fmla="*/ 873 h 2013"/>
                <a:gd name="T82" fmla="*/ 17 w 6623"/>
                <a:gd name="T83" fmla="*/ 1146 h 2013"/>
                <a:gd name="T84" fmla="*/ 0 w 6623"/>
                <a:gd name="T85" fmla="*/ 1299 h 2013"/>
                <a:gd name="T86" fmla="*/ 12 w 6623"/>
                <a:gd name="T87" fmla="*/ 1361 h 2013"/>
                <a:gd name="T88" fmla="*/ 36 w 6623"/>
                <a:gd name="T89" fmla="*/ 1397 h 2013"/>
                <a:gd name="T90" fmla="*/ 54 w 6623"/>
                <a:gd name="T91" fmla="*/ 1415 h 2013"/>
                <a:gd name="T92" fmla="*/ 11 w 6623"/>
                <a:gd name="T93" fmla="*/ 1733 h 2013"/>
                <a:gd name="T94" fmla="*/ 154 w 6623"/>
                <a:gd name="T95" fmla="*/ 1794 h 2013"/>
                <a:gd name="T96" fmla="*/ 303 w 6623"/>
                <a:gd name="T97" fmla="*/ 1841 h 2013"/>
                <a:gd name="T98" fmla="*/ 440 w 6623"/>
                <a:gd name="T99" fmla="*/ 1861 h 2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623" h="2013">
                  <a:moveTo>
                    <a:pt x="471" y="1862"/>
                  </a:moveTo>
                  <a:lnTo>
                    <a:pt x="442" y="1749"/>
                  </a:lnTo>
                  <a:lnTo>
                    <a:pt x="430" y="1618"/>
                  </a:lnTo>
                  <a:lnTo>
                    <a:pt x="440" y="1499"/>
                  </a:lnTo>
                  <a:lnTo>
                    <a:pt x="477" y="1370"/>
                  </a:lnTo>
                  <a:lnTo>
                    <a:pt x="529" y="1269"/>
                  </a:lnTo>
                  <a:lnTo>
                    <a:pt x="611" y="1158"/>
                  </a:lnTo>
                  <a:lnTo>
                    <a:pt x="681" y="1093"/>
                  </a:lnTo>
                  <a:lnTo>
                    <a:pt x="681" y="1093"/>
                  </a:lnTo>
                  <a:lnTo>
                    <a:pt x="768" y="1043"/>
                  </a:lnTo>
                  <a:lnTo>
                    <a:pt x="828" y="1009"/>
                  </a:lnTo>
                  <a:lnTo>
                    <a:pt x="848" y="999"/>
                  </a:lnTo>
                  <a:lnTo>
                    <a:pt x="854" y="996"/>
                  </a:lnTo>
                  <a:lnTo>
                    <a:pt x="857" y="995"/>
                  </a:lnTo>
                  <a:lnTo>
                    <a:pt x="857" y="995"/>
                  </a:lnTo>
                  <a:lnTo>
                    <a:pt x="858" y="996"/>
                  </a:lnTo>
                  <a:lnTo>
                    <a:pt x="863" y="995"/>
                  </a:lnTo>
                  <a:lnTo>
                    <a:pt x="878" y="993"/>
                  </a:lnTo>
                  <a:lnTo>
                    <a:pt x="922" y="983"/>
                  </a:lnTo>
                  <a:lnTo>
                    <a:pt x="986" y="967"/>
                  </a:lnTo>
                  <a:lnTo>
                    <a:pt x="1089" y="959"/>
                  </a:lnTo>
                  <a:lnTo>
                    <a:pt x="1196" y="967"/>
                  </a:lnTo>
                  <a:lnTo>
                    <a:pt x="1289" y="990"/>
                  </a:lnTo>
                  <a:lnTo>
                    <a:pt x="1386" y="1029"/>
                  </a:lnTo>
                  <a:lnTo>
                    <a:pt x="1473" y="1087"/>
                  </a:lnTo>
                  <a:lnTo>
                    <a:pt x="1539" y="1136"/>
                  </a:lnTo>
                  <a:lnTo>
                    <a:pt x="1623" y="1230"/>
                  </a:lnTo>
                  <a:lnTo>
                    <a:pt x="1690" y="1346"/>
                  </a:lnTo>
                  <a:lnTo>
                    <a:pt x="1731" y="1465"/>
                  </a:lnTo>
                  <a:lnTo>
                    <a:pt x="1749" y="1593"/>
                  </a:lnTo>
                  <a:lnTo>
                    <a:pt x="1720" y="1827"/>
                  </a:lnTo>
                  <a:lnTo>
                    <a:pt x="1689" y="1895"/>
                  </a:lnTo>
                  <a:lnTo>
                    <a:pt x="1883" y="1853"/>
                  </a:lnTo>
                  <a:lnTo>
                    <a:pt x="1989" y="1832"/>
                  </a:lnTo>
                  <a:lnTo>
                    <a:pt x="2311" y="1827"/>
                  </a:lnTo>
                  <a:lnTo>
                    <a:pt x="3479" y="1854"/>
                  </a:lnTo>
                  <a:lnTo>
                    <a:pt x="4819" y="1898"/>
                  </a:lnTo>
                  <a:lnTo>
                    <a:pt x="4819" y="1898"/>
                  </a:lnTo>
                  <a:lnTo>
                    <a:pt x="4847" y="1912"/>
                  </a:lnTo>
                  <a:lnTo>
                    <a:pt x="4908" y="1942"/>
                  </a:lnTo>
                  <a:lnTo>
                    <a:pt x="4943" y="1959"/>
                  </a:lnTo>
                  <a:lnTo>
                    <a:pt x="4976" y="1973"/>
                  </a:lnTo>
                  <a:lnTo>
                    <a:pt x="4990" y="1978"/>
                  </a:lnTo>
                  <a:lnTo>
                    <a:pt x="5002" y="1981"/>
                  </a:lnTo>
                  <a:lnTo>
                    <a:pt x="5012" y="1983"/>
                  </a:lnTo>
                  <a:lnTo>
                    <a:pt x="5021" y="1984"/>
                  </a:lnTo>
                  <a:lnTo>
                    <a:pt x="4940" y="1831"/>
                  </a:lnTo>
                  <a:lnTo>
                    <a:pt x="4912" y="1589"/>
                  </a:lnTo>
                  <a:lnTo>
                    <a:pt x="4932" y="1454"/>
                  </a:lnTo>
                  <a:lnTo>
                    <a:pt x="4991" y="1303"/>
                  </a:lnTo>
                  <a:lnTo>
                    <a:pt x="5075" y="1182"/>
                  </a:lnTo>
                  <a:lnTo>
                    <a:pt x="5187" y="1078"/>
                  </a:lnTo>
                  <a:lnTo>
                    <a:pt x="5289" y="1022"/>
                  </a:lnTo>
                  <a:lnTo>
                    <a:pt x="5405" y="980"/>
                  </a:lnTo>
                  <a:lnTo>
                    <a:pt x="5547" y="960"/>
                  </a:lnTo>
                  <a:lnTo>
                    <a:pt x="5629" y="961"/>
                  </a:lnTo>
                  <a:lnTo>
                    <a:pt x="5731" y="979"/>
                  </a:lnTo>
                  <a:lnTo>
                    <a:pt x="5802" y="1000"/>
                  </a:lnTo>
                  <a:lnTo>
                    <a:pt x="5920" y="1059"/>
                  </a:lnTo>
                  <a:lnTo>
                    <a:pt x="5983" y="1103"/>
                  </a:lnTo>
                  <a:lnTo>
                    <a:pt x="6072" y="1189"/>
                  </a:lnTo>
                  <a:lnTo>
                    <a:pt x="6135" y="1275"/>
                  </a:lnTo>
                  <a:lnTo>
                    <a:pt x="6182" y="1371"/>
                  </a:lnTo>
                  <a:lnTo>
                    <a:pt x="6214" y="1471"/>
                  </a:lnTo>
                  <a:lnTo>
                    <a:pt x="6230" y="1606"/>
                  </a:lnTo>
                  <a:lnTo>
                    <a:pt x="6223" y="1720"/>
                  </a:lnTo>
                  <a:lnTo>
                    <a:pt x="6196" y="1828"/>
                  </a:lnTo>
                  <a:lnTo>
                    <a:pt x="6164" y="1910"/>
                  </a:lnTo>
                  <a:lnTo>
                    <a:pt x="6122" y="1981"/>
                  </a:lnTo>
                  <a:lnTo>
                    <a:pt x="6101" y="2013"/>
                  </a:lnTo>
                  <a:lnTo>
                    <a:pt x="6448" y="2004"/>
                  </a:lnTo>
                  <a:lnTo>
                    <a:pt x="6448" y="2004"/>
                  </a:lnTo>
                  <a:lnTo>
                    <a:pt x="6451" y="1999"/>
                  </a:lnTo>
                  <a:lnTo>
                    <a:pt x="6463" y="1985"/>
                  </a:lnTo>
                  <a:lnTo>
                    <a:pt x="6478" y="1961"/>
                  </a:lnTo>
                  <a:lnTo>
                    <a:pt x="6498" y="1927"/>
                  </a:lnTo>
                  <a:lnTo>
                    <a:pt x="6508" y="1907"/>
                  </a:lnTo>
                  <a:lnTo>
                    <a:pt x="6519" y="1885"/>
                  </a:lnTo>
                  <a:lnTo>
                    <a:pt x="6530" y="1861"/>
                  </a:lnTo>
                  <a:lnTo>
                    <a:pt x="6543" y="1833"/>
                  </a:lnTo>
                  <a:lnTo>
                    <a:pt x="6554" y="1803"/>
                  </a:lnTo>
                  <a:lnTo>
                    <a:pt x="6564" y="1772"/>
                  </a:lnTo>
                  <a:lnTo>
                    <a:pt x="6576" y="1736"/>
                  </a:lnTo>
                  <a:lnTo>
                    <a:pt x="6586" y="1700"/>
                  </a:lnTo>
                  <a:lnTo>
                    <a:pt x="6586" y="1700"/>
                  </a:lnTo>
                  <a:lnTo>
                    <a:pt x="6595" y="1662"/>
                  </a:lnTo>
                  <a:lnTo>
                    <a:pt x="6602" y="1623"/>
                  </a:lnTo>
                  <a:lnTo>
                    <a:pt x="6608" y="1584"/>
                  </a:lnTo>
                  <a:lnTo>
                    <a:pt x="6613" y="1547"/>
                  </a:lnTo>
                  <a:lnTo>
                    <a:pt x="6617" y="1510"/>
                  </a:lnTo>
                  <a:lnTo>
                    <a:pt x="6620" y="1475"/>
                  </a:lnTo>
                  <a:lnTo>
                    <a:pt x="6622" y="1408"/>
                  </a:lnTo>
                  <a:lnTo>
                    <a:pt x="6623" y="1352"/>
                  </a:lnTo>
                  <a:lnTo>
                    <a:pt x="6622" y="1308"/>
                  </a:lnTo>
                  <a:lnTo>
                    <a:pt x="6621" y="1269"/>
                  </a:lnTo>
                  <a:lnTo>
                    <a:pt x="6596" y="1078"/>
                  </a:lnTo>
                  <a:lnTo>
                    <a:pt x="6596" y="1078"/>
                  </a:lnTo>
                  <a:lnTo>
                    <a:pt x="6592" y="1072"/>
                  </a:lnTo>
                  <a:lnTo>
                    <a:pt x="6581" y="1055"/>
                  </a:lnTo>
                  <a:lnTo>
                    <a:pt x="6571" y="1044"/>
                  </a:lnTo>
                  <a:lnTo>
                    <a:pt x="6559" y="1032"/>
                  </a:lnTo>
                  <a:lnTo>
                    <a:pt x="6546" y="1016"/>
                  </a:lnTo>
                  <a:lnTo>
                    <a:pt x="6529" y="1000"/>
                  </a:lnTo>
                  <a:lnTo>
                    <a:pt x="6509" y="984"/>
                  </a:lnTo>
                  <a:lnTo>
                    <a:pt x="6486" y="966"/>
                  </a:lnTo>
                  <a:lnTo>
                    <a:pt x="6461" y="949"/>
                  </a:lnTo>
                  <a:lnTo>
                    <a:pt x="6432" y="931"/>
                  </a:lnTo>
                  <a:lnTo>
                    <a:pt x="6400" y="913"/>
                  </a:lnTo>
                  <a:lnTo>
                    <a:pt x="6365" y="897"/>
                  </a:lnTo>
                  <a:lnTo>
                    <a:pt x="6324" y="881"/>
                  </a:lnTo>
                  <a:lnTo>
                    <a:pt x="6282" y="866"/>
                  </a:lnTo>
                  <a:lnTo>
                    <a:pt x="6282" y="866"/>
                  </a:lnTo>
                  <a:lnTo>
                    <a:pt x="6194" y="838"/>
                  </a:lnTo>
                  <a:lnTo>
                    <a:pt x="6112" y="814"/>
                  </a:lnTo>
                  <a:lnTo>
                    <a:pt x="6039" y="793"/>
                  </a:lnTo>
                  <a:lnTo>
                    <a:pt x="5976" y="775"/>
                  </a:lnTo>
                  <a:lnTo>
                    <a:pt x="5885" y="753"/>
                  </a:lnTo>
                  <a:lnTo>
                    <a:pt x="5852" y="744"/>
                  </a:lnTo>
                  <a:lnTo>
                    <a:pt x="5616" y="702"/>
                  </a:lnTo>
                  <a:lnTo>
                    <a:pt x="5387" y="672"/>
                  </a:lnTo>
                  <a:lnTo>
                    <a:pt x="5123" y="643"/>
                  </a:lnTo>
                  <a:lnTo>
                    <a:pt x="4870" y="630"/>
                  </a:lnTo>
                  <a:lnTo>
                    <a:pt x="4849" y="623"/>
                  </a:lnTo>
                  <a:lnTo>
                    <a:pt x="4605" y="455"/>
                  </a:lnTo>
                  <a:lnTo>
                    <a:pt x="4331" y="310"/>
                  </a:lnTo>
                  <a:lnTo>
                    <a:pt x="4070" y="200"/>
                  </a:lnTo>
                  <a:lnTo>
                    <a:pt x="3903" y="143"/>
                  </a:lnTo>
                  <a:lnTo>
                    <a:pt x="3614" y="69"/>
                  </a:lnTo>
                  <a:lnTo>
                    <a:pt x="3390" y="29"/>
                  </a:lnTo>
                  <a:lnTo>
                    <a:pt x="3159" y="5"/>
                  </a:lnTo>
                  <a:lnTo>
                    <a:pt x="3159" y="5"/>
                  </a:lnTo>
                  <a:lnTo>
                    <a:pt x="3139" y="4"/>
                  </a:lnTo>
                  <a:lnTo>
                    <a:pt x="3082" y="3"/>
                  </a:lnTo>
                  <a:lnTo>
                    <a:pt x="2993" y="0"/>
                  </a:lnTo>
                  <a:lnTo>
                    <a:pt x="2879" y="0"/>
                  </a:lnTo>
                  <a:lnTo>
                    <a:pt x="2812" y="1"/>
                  </a:lnTo>
                  <a:lnTo>
                    <a:pt x="2742" y="3"/>
                  </a:lnTo>
                  <a:lnTo>
                    <a:pt x="2668" y="6"/>
                  </a:lnTo>
                  <a:lnTo>
                    <a:pt x="2591" y="11"/>
                  </a:lnTo>
                  <a:lnTo>
                    <a:pt x="2511" y="18"/>
                  </a:lnTo>
                  <a:lnTo>
                    <a:pt x="2429" y="26"/>
                  </a:lnTo>
                  <a:lnTo>
                    <a:pt x="2345" y="37"/>
                  </a:lnTo>
                  <a:lnTo>
                    <a:pt x="2262" y="49"/>
                  </a:lnTo>
                  <a:lnTo>
                    <a:pt x="2262" y="49"/>
                  </a:lnTo>
                  <a:lnTo>
                    <a:pt x="2106" y="75"/>
                  </a:lnTo>
                  <a:lnTo>
                    <a:pt x="1975" y="99"/>
                  </a:lnTo>
                  <a:lnTo>
                    <a:pt x="1868" y="121"/>
                  </a:lnTo>
                  <a:lnTo>
                    <a:pt x="1784" y="141"/>
                  </a:lnTo>
                  <a:lnTo>
                    <a:pt x="1720" y="156"/>
                  </a:lnTo>
                  <a:lnTo>
                    <a:pt x="1676" y="167"/>
                  </a:lnTo>
                  <a:lnTo>
                    <a:pt x="1642" y="177"/>
                  </a:lnTo>
                  <a:lnTo>
                    <a:pt x="1192" y="313"/>
                  </a:lnTo>
                  <a:lnTo>
                    <a:pt x="740" y="488"/>
                  </a:lnTo>
                  <a:lnTo>
                    <a:pt x="280" y="480"/>
                  </a:lnTo>
                  <a:lnTo>
                    <a:pt x="119" y="675"/>
                  </a:lnTo>
                  <a:lnTo>
                    <a:pt x="119" y="675"/>
                  </a:lnTo>
                  <a:lnTo>
                    <a:pt x="110" y="687"/>
                  </a:lnTo>
                  <a:lnTo>
                    <a:pt x="103" y="704"/>
                  </a:lnTo>
                  <a:lnTo>
                    <a:pt x="92" y="728"/>
                  </a:lnTo>
                  <a:lnTo>
                    <a:pt x="80" y="759"/>
                  </a:lnTo>
                  <a:lnTo>
                    <a:pt x="69" y="798"/>
                  </a:lnTo>
                  <a:lnTo>
                    <a:pt x="64" y="820"/>
                  </a:lnTo>
                  <a:lnTo>
                    <a:pt x="59" y="846"/>
                  </a:lnTo>
                  <a:lnTo>
                    <a:pt x="54" y="873"/>
                  </a:lnTo>
                  <a:lnTo>
                    <a:pt x="50" y="902"/>
                  </a:lnTo>
                  <a:lnTo>
                    <a:pt x="50" y="902"/>
                  </a:lnTo>
                  <a:lnTo>
                    <a:pt x="34" y="1028"/>
                  </a:lnTo>
                  <a:lnTo>
                    <a:pt x="17" y="1146"/>
                  </a:lnTo>
                  <a:lnTo>
                    <a:pt x="0" y="1269"/>
                  </a:lnTo>
                  <a:lnTo>
                    <a:pt x="0" y="1269"/>
                  </a:lnTo>
                  <a:lnTo>
                    <a:pt x="0" y="1284"/>
                  </a:lnTo>
                  <a:lnTo>
                    <a:pt x="0" y="1299"/>
                  </a:lnTo>
                  <a:lnTo>
                    <a:pt x="2" y="1318"/>
                  </a:lnTo>
                  <a:lnTo>
                    <a:pt x="6" y="1339"/>
                  </a:lnTo>
                  <a:lnTo>
                    <a:pt x="10" y="1349"/>
                  </a:lnTo>
                  <a:lnTo>
                    <a:pt x="12" y="1361"/>
                  </a:lnTo>
                  <a:lnTo>
                    <a:pt x="17" y="1371"/>
                  </a:lnTo>
                  <a:lnTo>
                    <a:pt x="22" y="1380"/>
                  </a:lnTo>
                  <a:lnTo>
                    <a:pt x="29" y="1388"/>
                  </a:lnTo>
                  <a:lnTo>
                    <a:pt x="36" y="1397"/>
                  </a:lnTo>
                  <a:lnTo>
                    <a:pt x="36" y="1397"/>
                  </a:lnTo>
                  <a:lnTo>
                    <a:pt x="58" y="1416"/>
                  </a:lnTo>
                  <a:lnTo>
                    <a:pt x="61" y="1421"/>
                  </a:lnTo>
                  <a:lnTo>
                    <a:pt x="54" y="1415"/>
                  </a:lnTo>
                  <a:lnTo>
                    <a:pt x="9" y="1470"/>
                  </a:lnTo>
                  <a:lnTo>
                    <a:pt x="0" y="1726"/>
                  </a:lnTo>
                  <a:lnTo>
                    <a:pt x="0" y="1726"/>
                  </a:lnTo>
                  <a:lnTo>
                    <a:pt x="11" y="1733"/>
                  </a:lnTo>
                  <a:lnTo>
                    <a:pt x="44" y="1748"/>
                  </a:lnTo>
                  <a:lnTo>
                    <a:pt x="93" y="1770"/>
                  </a:lnTo>
                  <a:lnTo>
                    <a:pt x="122" y="1782"/>
                  </a:lnTo>
                  <a:lnTo>
                    <a:pt x="154" y="1794"/>
                  </a:lnTo>
                  <a:lnTo>
                    <a:pt x="188" y="1807"/>
                  </a:lnTo>
                  <a:lnTo>
                    <a:pt x="226" y="1819"/>
                  </a:lnTo>
                  <a:lnTo>
                    <a:pt x="264" y="1831"/>
                  </a:lnTo>
                  <a:lnTo>
                    <a:pt x="303" y="1841"/>
                  </a:lnTo>
                  <a:lnTo>
                    <a:pt x="342" y="1849"/>
                  </a:lnTo>
                  <a:lnTo>
                    <a:pt x="381" y="1856"/>
                  </a:lnTo>
                  <a:lnTo>
                    <a:pt x="421" y="1860"/>
                  </a:lnTo>
                  <a:lnTo>
                    <a:pt x="440" y="1861"/>
                  </a:lnTo>
                  <a:lnTo>
                    <a:pt x="458" y="1861"/>
                  </a:lnTo>
                </a:path>
              </a:pathLst>
            </a:custGeom>
            <a:solidFill>
              <a:schemeClr val="tx2">
                <a:lumMod val="10000"/>
                <a:lumOff val="90000"/>
              </a:schemeClr>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20" name="Freeform 7"/>
            <p:cNvSpPr>
              <a:spLocks/>
            </p:cNvSpPr>
            <p:nvPr/>
          </p:nvSpPr>
          <p:spPr bwMode="auto">
            <a:xfrm>
              <a:off x="3137568" y="2906042"/>
              <a:ext cx="1260662" cy="1260662"/>
            </a:xfrm>
            <a:custGeom>
              <a:avLst/>
              <a:gdLst>
                <a:gd name="T0" fmla="*/ 1235 w 1237"/>
                <a:gd name="T1" fmla="*/ 651 h 1236"/>
                <a:gd name="T2" fmla="*/ 1224 w 1237"/>
                <a:gd name="T3" fmla="*/ 744 h 1236"/>
                <a:gd name="T4" fmla="*/ 1199 w 1237"/>
                <a:gd name="T5" fmla="*/ 832 h 1236"/>
                <a:gd name="T6" fmla="*/ 1161 w 1237"/>
                <a:gd name="T7" fmla="*/ 914 h 1236"/>
                <a:gd name="T8" fmla="*/ 1113 w 1237"/>
                <a:gd name="T9" fmla="*/ 989 h 1236"/>
                <a:gd name="T10" fmla="*/ 1056 w 1237"/>
                <a:gd name="T11" fmla="*/ 1056 h 1236"/>
                <a:gd name="T12" fmla="*/ 988 w 1237"/>
                <a:gd name="T13" fmla="*/ 1115 h 1236"/>
                <a:gd name="T14" fmla="*/ 912 w 1237"/>
                <a:gd name="T15" fmla="*/ 1162 h 1236"/>
                <a:gd name="T16" fmla="*/ 831 w 1237"/>
                <a:gd name="T17" fmla="*/ 1200 h 1236"/>
                <a:gd name="T18" fmla="*/ 743 w 1237"/>
                <a:gd name="T19" fmla="*/ 1224 h 1236"/>
                <a:gd name="T20" fmla="*/ 650 w 1237"/>
                <a:gd name="T21" fmla="*/ 1236 h 1236"/>
                <a:gd name="T22" fmla="*/ 587 w 1237"/>
                <a:gd name="T23" fmla="*/ 1236 h 1236"/>
                <a:gd name="T24" fmla="*/ 494 w 1237"/>
                <a:gd name="T25" fmla="*/ 1224 h 1236"/>
                <a:gd name="T26" fmla="*/ 406 w 1237"/>
                <a:gd name="T27" fmla="*/ 1200 h 1236"/>
                <a:gd name="T28" fmla="*/ 323 w 1237"/>
                <a:gd name="T29" fmla="*/ 1162 h 1236"/>
                <a:gd name="T30" fmla="*/ 248 w 1237"/>
                <a:gd name="T31" fmla="*/ 1115 h 1236"/>
                <a:gd name="T32" fmla="*/ 181 w 1237"/>
                <a:gd name="T33" fmla="*/ 1056 h 1236"/>
                <a:gd name="T34" fmla="*/ 123 w 1237"/>
                <a:gd name="T35" fmla="*/ 989 h 1236"/>
                <a:gd name="T36" fmla="*/ 74 w 1237"/>
                <a:gd name="T37" fmla="*/ 914 h 1236"/>
                <a:gd name="T38" fmla="*/ 38 w 1237"/>
                <a:gd name="T39" fmla="*/ 832 h 1236"/>
                <a:gd name="T40" fmla="*/ 13 w 1237"/>
                <a:gd name="T41" fmla="*/ 744 h 1236"/>
                <a:gd name="T42" fmla="*/ 0 w 1237"/>
                <a:gd name="T43" fmla="*/ 651 h 1236"/>
                <a:gd name="T44" fmla="*/ 0 w 1237"/>
                <a:gd name="T45" fmla="*/ 587 h 1236"/>
                <a:gd name="T46" fmla="*/ 13 w 1237"/>
                <a:gd name="T47" fmla="*/ 494 h 1236"/>
                <a:gd name="T48" fmla="*/ 38 w 1237"/>
                <a:gd name="T49" fmla="*/ 406 h 1236"/>
                <a:gd name="T50" fmla="*/ 74 w 1237"/>
                <a:gd name="T51" fmla="*/ 324 h 1236"/>
                <a:gd name="T52" fmla="*/ 123 w 1237"/>
                <a:gd name="T53" fmla="*/ 249 h 1236"/>
                <a:gd name="T54" fmla="*/ 181 w 1237"/>
                <a:gd name="T55" fmla="*/ 181 h 1236"/>
                <a:gd name="T56" fmla="*/ 248 w 1237"/>
                <a:gd name="T57" fmla="*/ 123 h 1236"/>
                <a:gd name="T58" fmla="*/ 323 w 1237"/>
                <a:gd name="T59" fmla="*/ 76 h 1236"/>
                <a:gd name="T60" fmla="*/ 406 w 1237"/>
                <a:gd name="T61" fmla="*/ 38 h 1236"/>
                <a:gd name="T62" fmla="*/ 494 w 1237"/>
                <a:gd name="T63" fmla="*/ 13 h 1236"/>
                <a:gd name="T64" fmla="*/ 587 w 1237"/>
                <a:gd name="T65" fmla="*/ 1 h 1236"/>
                <a:gd name="T66" fmla="*/ 650 w 1237"/>
                <a:gd name="T67" fmla="*/ 1 h 1236"/>
                <a:gd name="T68" fmla="*/ 743 w 1237"/>
                <a:gd name="T69" fmla="*/ 13 h 1236"/>
                <a:gd name="T70" fmla="*/ 831 w 1237"/>
                <a:gd name="T71" fmla="*/ 38 h 1236"/>
                <a:gd name="T72" fmla="*/ 912 w 1237"/>
                <a:gd name="T73" fmla="*/ 76 h 1236"/>
                <a:gd name="T74" fmla="*/ 988 w 1237"/>
                <a:gd name="T75" fmla="*/ 123 h 1236"/>
                <a:gd name="T76" fmla="*/ 1056 w 1237"/>
                <a:gd name="T77" fmla="*/ 181 h 1236"/>
                <a:gd name="T78" fmla="*/ 1113 w 1237"/>
                <a:gd name="T79" fmla="*/ 249 h 1236"/>
                <a:gd name="T80" fmla="*/ 1161 w 1237"/>
                <a:gd name="T81" fmla="*/ 324 h 1236"/>
                <a:gd name="T82" fmla="*/ 1199 w 1237"/>
                <a:gd name="T83" fmla="*/ 406 h 1236"/>
                <a:gd name="T84" fmla="*/ 1224 w 1237"/>
                <a:gd name="T85" fmla="*/ 494 h 1236"/>
                <a:gd name="T86" fmla="*/ 1235 w 1237"/>
                <a:gd name="T87" fmla="*/ 587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37" h="1236">
                  <a:moveTo>
                    <a:pt x="1237" y="618"/>
                  </a:moveTo>
                  <a:lnTo>
                    <a:pt x="1237" y="618"/>
                  </a:lnTo>
                  <a:lnTo>
                    <a:pt x="1235" y="651"/>
                  </a:lnTo>
                  <a:lnTo>
                    <a:pt x="1233" y="682"/>
                  </a:lnTo>
                  <a:lnTo>
                    <a:pt x="1229" y="713"/>
                  </a:lnTo>
                  <a:lnTo>
                    <a:pt x="1224" y="744"/>
                  </a:lnTo>
                  <a:lnTo>
                    <a:pt x="1216" y="773"/>
                  </a:lnTo>
                  <a:lnTo>
                    <a:pt x="1209" y="803"/>
                  </a:lnTo>
                  <a:lnTo>
                    <a:pt x="1199" y="832"/>
                  </a:lnTo>
                  <a:lnTo>
                    <a:pt x="1188" y="860"/>
                  </a:lnTo>
                  <a:lnTo>
                    <a:pt x="1175" y="887"/>
                  </a:lnTo>
                  <a:lnTo>
                    <a:pt x="1161" y="914"/>
                  </a:lnTo>
                  <a:lnTo>
                    <a:pt x="1147" y="940"/>
                  </a:lnTo>
                  <a:lnTo>
                    <a:pt x="1131" y="964"/>
                  </a:lnTo>
                  <a:lnTo>
                    <a:pt x="1113" y="989"/>
                  </a:lnTo>
                  <a:lnTo>
                    <a:pt x="1095" y="1012"/>
                  </a:lnTo>
                  <a:lnTo>
                    <a:pt x="1076" y="1034"/>
                  </a:lnTo>
                  <a:lnTo>
                    <a:pt x="1056" y="1056"/>
                  </a:lnTo>
                  <a:lnTo>
                    <a:pt x="1034" y="1077"/>
                  </a:lnTo>
                  <a:lnTo>
                    <a:pt x="1012" y="1096"/>
                  </a:lnTo>
                  <a:lnTo>
                    <a:pt x="988" y="1115"/>
                  </a:lnTo>
                  <a:lnTo>
                    <a:pt x="964" y="1131"/>
                  </a:lnTo>
                  <a:lnTo>
                    <a:pt x="939" y="1147"/>
                  </a:lnTo>
                  <a:lnTo>
                    <a:pt x="912" y="1162"/>
                  </a:lnTo>
                  <a:lnTo>
                    <a:pt x="886" y="1176"/>
                  </a:lnTo>
                  <a:lnTo>
                    <a:pt x="858" y="1189"/>
                  </a:lnTo>
                  <a:lnTo>
                    <a:pt x="831" y="1200"/>
                  </a:lnTo>
                  <a:lnTo>
                    <a:pt x="802" y="1209"/>
                  </a:lnTo>
                  <a:lnTo>
                    <a:pt x="773" y="1218"/>
                  </a:lnTo>
                  <a:lnTo>
                    <a:pt x="743" y="1224"/>
                  </a:lnTo>
                  <a:lnTo>
                    <a:pt x="713" y="1230"/>
                  </a:lnTo>
                  <a:lnTo>
                    <a:pt x="681" y="1234"/>
                  </a:lnTo>
                  <a:lnTo>
                    <a:pt x="650" y="1236"/>
                  </a:lnTo>
                  <a:lnTo>
                    <a:pt x="618" y="1236"/>
                  </a:lnTo>
                  <a:lnTo>
                    <a:pt x="618" y="1236"/>
                  </a:lnTo>
                  <a:lnTo>
                    <a:pt x="587" y="1236"/>
                  </a:lnTo>
                  <a:lnTo>
                    <a:pt x="555" y="1234"/>
                  </a:lnTo>
                  <a:lnTo>
                    <a:pt x="524" y="1230"/>
                  </a:lnTo>
                  <a:lnTo>
                    <a:pt x="494" y="1224"/>
                  </a:lnTo>
                  <a:lnTo>
                    <a:pt x="464" y="1218"/>
                  </a:lnTo>
                  <a:lnTo>
                    <a:pt x="435" y="1209"/>
                  </a:lnTo>
                  <a:lnTo>
                    <a:pt x="406" y="1200"/>
                  </a:lnTo>
                  <a:lnTo>
                    <a:pt x="377" y="1189"/>
                  </a:lnTo>
                  <a:lnTo>
                    <a:pt x="351" y="1176"/>
                  </a:lnTo>
                  <a:lnTo>
                    <a:pt x="323" y="1162"/>
                  </a:lnTo>
                  <a:lnTo>
                    <a:pt x="298" y="1147"/>
                  </a:lnTo>
                  <a:lnTo>
                    <a:pt x="273" y="1131"/>
                  </a:lnTo>
                  <a:lnTo>
                    <a:pt x="248" y="1115"/>
                  </a:lnTo>
                  <a:lnTo>
                    <a:pt x="225" y="1096"/>
                  </a:lnTo>
                  <a:lnTo>
                    <a:pt x="202" y="1077"/>
                  </a:lnTo>
                  <a:lnTo>
                    <a:pt x="181" y="1056"/>
                  </a:lnTo>
                  <a:lnTo>
                    <a:pt x="161" y="1034"/>
                  </a:lnTo>
                  <a:lnTo>
                    <a:pt x="141" y="1012"/>
                  </a:lnTo>
                  <a:lnTo>
                    <a:pt x="123" y="989"/>
                  </a:lnTo>
                  <a:lnTo>
                    <a:pt x="106" y="964"/>
                  </a:lnTo>
                  <a:lnTo>
                    <a:pt x="89" y="940"/>
                  </a:lnTo>
                  <a:lnTo>
                    <a:pt x="74" y="914"/>
                  </a:lnTo>
                  <a:lnTo>
                    <a:pt x="60" y="887"/>
                  </a:lnTo>
                  <a:lnTo>
                    <a:pt x="48" y="860"/>
                  </a:lnTo>
                  <a:lnTo>
                    <a:pt x="38" y="832"/>
                  </a:lnTo>
                  <a:lnTo>
                    <a:pt x="28" y="803"/>
                  </a:lnTo>
                  <a:lnTo>
                    <a:pt x="19" y="773"/>
                  </a:lnTo>
                  <a:lnTo>
                    <a:pt x="13" y="744"/>
                  </a:lnTo>
                  <a:lnTo>
                    <a:pt x="6" y="713"/>
                  </a:lnTo>
                  <a:lnTo>
                    <a:pt x="3" y="682"/>
                  </a:lnTo>
                  <a:lnTo>
                    <a:pt x="0" y="651"/>
                  </a:lnTo>
                  <a:lnTo>
                    <a:pt x="0" y="618"/>
                  </a:lnTo>
                  <a:lnTo>
                    <a:pt x="0" y="618"/>
                  </a:lnTo>
                  <a:lnTo>
                    <a:pt x="0" y="587"/>
                  </a:lnTo>
                  <a:lnTo>
                    <a:pt x="3" y="555"/>
                  </a:lnTo>
                  <a:lnTo>
                    <a:pt x="6" y="524"/>
                  </a:lnTo>
                  <a:lnTo>
                    <a:pt x="13" y="494"/>
                  </a:lnTo>
                  <a:lnTo>
                    <a:pt x="19" y="464"/>
                  </a:lnTo>
                  <a:lnTo>
                    <a:pt x="28" y="435"/>
                  </a:lnTo>
                  <a:lnTo>
                    <a:pt x="38" y="406"/>
                  </a:lnTo>
                  <a:lnTo>
                    <a:pt x="48" y="378"/>
                  </a:lnTo>
                  <a:lnTo>
                    <a:pt x="60" y="351"/>
                  </a:lnTo>
                  <a:lnTo>
                    <a:pt x="74" y="324"/>
                  </a:lnTo>
                  <a:lnTo>
                    <a:pt x="89" y="298"/>
                  </a:lnTo>
                  <a:lnTo>
                    <a:pt x="106" y="273"/>
                  </a:lnTo>
                  <a:lnTo>
                    <a:pt x="123" y="249"/>
                  </a:lnTo>
                  <a:lnTo>
                    <a:pt x="141" y="225"/>
                  </a:lnTo>
                  <a:lnTo>
                    <a:pt x="161" y="204"/>
                  </a:lnTo>
                  <a:lnTo>
                    <a:pt x="181" y="181"/>
                  </a:lnTo>
                  <a:lnTo>
                    <a:pt x="202" y="161"/>
                  </a:lnTo>
                  <a:lnTo>
                    <a:pt x="225" y="142"/>
                  </a:lnTo>
                  <a:lnTo>
                    <a:pt x="248" y="123"/>
                  </a:lnTo>
                  <a:lnTo>
                    <a:pt x="273" y="106"/>
                  </a:lnTo>
                  <a:lnTo>
                    <a:pt x="298" y="91"/>
                  </a:lnTo>
                  <a:lnTo>
                    <a:pt x="323" y="76"/>
                  </a:lnTo>
                  <a:lnTo>
                    <a:pt x="351" y="62"/>
                  </a:lnTo>
                  <a:lnTo>
                    <a:pt x="377" y="49"/>
                  </a:lnTo>
                  <a:lnTo>
                    <a:pt x="406" y="38"/>
                  </a:lnTo>
                  <a:lnTo>
                    <a:pt x="435" y="29"/>
                  </a:lnTo>
                  <a:lnTo>
                    <a:pt x="464" y="20"/>
                  </a:lnTo>
                  <a:lnTo>
                    <a:pt x="494" y="13"/>
                  </a:lnTo>
                  <a:lnTo>
                    <a:pt x="524" y="8"/>
                  </a:lnTo>
                  <a:lnTo>
                    <a:pt x="555" y="4"/>
                  </a:lnTo>
                  <a:lnTo>
                    <a:pt x="587" y="1"/>
                  </a:lnTo>
                  <a:lnTo>
                    <a:pt x="618" y="0"/>
                  </a:lnTo>
                  <a:lnTo>
                    <a:pt x="618" y="0"/>
                  </a:lnTo>
                  <a:lnTo>
                    <a:pt x="650" y="1"/>
                  </a:lnTo>
                  <a:lnTo>
                    <a:pt x="681" y="4"/>
                  </a:lnTo>
                  <a:lnTo>
                    <a:pt x="713" y="8"/>
                  </a:lnTo>
                  <a:lnTo>
                    <a:pt x="743" y="13"/>
                  </a:lnTo>
                  <a:lnTo>
                    <a:pt x="773" y="20"/>
                  </a:lnTo>
                  <a:lnTo>
                    <a:pt x="802" y="29"/>
                  </a:lnTo>
                  <a:lnTo>
                    <a:pt x="831" y="38"/>
                  </a:lnTo>
                  <a:lnTo>
                    <a:pt x="858" y="49"/>
                  </a:lnTo>
                  <a:lnTo>
                    <a:pt x="886" y="62"/>
                  </a:lnTo>
                  <a:lnTo>
                    <a:pt x="912" y="76"/>
                  </a:lnTo>
                  <a:lnTo>
                    <a:pt x="939" y="91"/>
                  </a:lnTo>
                  <a:lnTo>
                    <a:pt x="964" y="106"/>
                  </a:lnTo>
                  <a:lnTo>
                    <a:pt x="988" y="123"/>
                  </a:lnTo>
                  <a:lnTo>
                    <a:pt x="1012" y="142"/>
                  </a:lnTo>
                  <a:lnTo>
                    <a:pt x="1034" y="161"/>
                  </a:lnTo>
                  <a:lnTo>
                    <a:pt x="1056" y="181"/>
                  </a:lnTo>
                  <a:lnTo>
                    <a:pt x="1076" y="204"/>
                  </a:lnTo>
                  <a:lnTo>
                    <a:pt x="1095" y="225"/>
                  </a:lnTo>
                  <a:lnTo>
                    <a:pt x="1113" y="249"/>
                  </a:lnTo>
                  <a:lnTo>
                    <a:pt x="1131" y="273"/>
                  </a:lnTo>
                  <a:lnTo>
                    <a:pt x="1147" y="298"/>
                  </a:lnTo>
                  <a:lnTo>
                    <a:pt x="1161" y="324"/>
                  </a:lnTo>
                  <a:lnTo>
                    <a:pt x="1175" y="351"/>
                  </a:lnTo>
                  <a:lnTo>
                    <a:pt x="1188" y="378"/>
                  </a:lnTo>
                  <a:lnTo>
                    <a:pt x="1199" y="406"/>
                  </a:lnTo>
                  <a:lnTo>
                    <a:pt x="1209" y="435"/>
                  </a:lnTo>
                  <a:lnTo>
                    <a:pt x="1216" y="464"/>
                  </a:lnTo>
                  <a:lnTo>
                    <a:pt x="1224" y="494"/>
                  </a:lnTo>
                  <a:lnTo>
                    <a:pt x="1229" y="524"/>
                  </a:lnTo>
                  <a:lnTo>
                    <a:pt x="1233" y="555"/>
                  </a:lnTo>
                  <a:lnTo>
                    <a:pt x="1235" y="587"/>
                  </a:lnTo>
                  <a:lnTo>
                    <a:pt x="1237" y="618"/>
                  </a:lnTo>
                  <a:lnTo>
                    <a:pt x="1237" y="618"/>
                  </a:lnTo>
                  <a:close/>
                </a:path>
              </a:pathLst>
            </a:custGeom>
            <a:solidFill>
              <a:sysClr val="window" lastClr="FFFFFF"/>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nvGrpSpPr>
            <p:cNvPr id="121" name="Group 120"/>
            <p:cNvGrpSpPr/>
            <p:nvPr/>
          </p:nvGrpSpPr>
          <p:grpSpPr>
            <a:xfrm>
              <a:off x="7694715" y="2891762"/>
              <a:ext cx="1287181" cy="1287181"/>
              <a:chOff x="7694715" y="2891762"/>
              <a:chExt cx="1287181" cy="1287181"/>
            </a:xfrm>
          </p:grpSpPr>
          <p:sp>
            <p:nvSpPr>
              <p:cNvPr id="189" name="Freeform 8"/>
              <p:cNvSpPr>
                <a:spLocks/>
              </p:cNvSpPr>
              <p:nvPr/>
            </p:nvSpPr>
            <p:spPr bwMode="auto">
              <a:xfrm>
                <a:off x="7706954" y="2906042"/>
                <a:ext cx="1260662" cy="1260662"/>
              </a:xfrm>
              <a:custGeom>
                <a:avLst/>
                <a:gdLst>
                  <a:gd name="T0" fmla="*/ 1237 w 1237"/>
                  <a:gd name="T1" fmla="*/ 651 h 1236"/>
                  <a:gd name="T2" fmla="*/ 1224 w 1237"/>
                  <a:gd name="T3" fmla="*/ 744 h 1236"/>
                  <a:gd name="T4" fmla="*/ 1199 w 1237"/>
                  <a:gd name="T5" fmla="*/ 832 h 1236"/>
                  <a:gd name="T6" fmla="*/ 1163 w 1237"/>
                  <a:gd name="T7" fmla="*/ 914 h 1236"/>
                  <a:gd name="T8" fmla="*/ 1115 w 1237"/>
                  <a:gd name="T9" fmla="*/ 989 h 1236"/>
                  <a:gd name="T10" fmla="*/ 1056 w 1237"/>
                  <a:gd name="T11" fmla="*/ 1056 h 1236"/>
                  <a:gd name="T12" fmla="*/ 989 w 1237"/>
                  <a:gd name="T13" fmla="*/ 1115 h 1236"/>
                  <a:gd name="T14" fmla="*/ 914 w 1237"/>
                  <a:gd name="T15" fmla="*/ 1162 h 1236"/>
                  <a:gd name="T16" fmla="*/ 831 w 1237"/>
                  <a:gd name="T17" fmla="*/ 1200 h 1236"/>
                  <a:gd name="T18" fmla="*/ 743 w 1237"/>
                  <a:gd name="T19" fmla="*/ 1224 h 1236"/>
                  <a:gd name="T20" fmla="*/ 651 w 1237"/>
                  <a:gd name="T21" fmla="*/ 1236 h 1236"/>
                  <a:gd name="T22" fmla="*/ 587 w 1237"/>
                  <a:gd name="T23" fmla="*/ 1236 h 1236"/>
                  <a:gd name="T24" fmla="*/ 494 w 1237"/>
                  <a:gd name="T25" fmla="*/ 1224 h 1236"/>
                  <a:gd name="T26" fmla="*/ 406 w 1237"/>
                  <a:gd name="T27" fmla="*/ 1200 h 1236"/>
                  <a:gd name="T28" fmla="*/ 324 w 1237"/>
                  <a:gd name="T29" fmla="*/ 1162 h 1236"/>
                  <a:gd name="T30" fmla="*/ 249 w 1237"/>
                  <a:gd name="T31" fmla="*/ 1115 h 1236"/>
                  <a:gd name="T32" fmla="*/ 181 w 1237"/>
                  <a:gd name="T33" fmla="*/ 1056 h 1236"/>
                  <a:gd name="T34" fmla="*/ 123 w 1237"/>
                  <a:gd name="T35" fmla="*/ 989 h 1236"/>
                  <a:gd name="T36" fmla="*/ 76 w 1237"/>
                  <a:gd name="T37" fmla="*/ 914 h 1236"/>
                  <a:gd name="T38" fmla="*/ 38 w 1237"/>
                  <a:gd name="T39" fmla="*/ 832 h 1236"/>
                  <a:gd name="T40" fmla="*/ 13 w 1237"/>
                  <a:gd name="T41" fmla="*/ 744 h 1236"/>
                  <a:gd name="T42" fmla="*/ 1 w 1237"/>
                  <a:gd name="T43" fmla="*/ 651 h 1236"/>
                  <a:gd name="T44" fmla="*/ 1 w 1237"/>
                  <a:gd name="T45" fmla="*/ 587 h 1236"/>
                  <a:gd name="T46" fmla="*/ 13 w 1237"/>
                  <a:gd name="T47" fmla="*/ 494 h 1236"/>
                  <a:gd name="T48" fmla="*/ 38 w 1237"/>
                  <a:gd name="T49" fmla="*/ 406 h 1236"/>
                  <a:gd name="T50" fmla="*/ 76 w 1237"/>
                  <a:gd name="T51" fmla="*/ 324 h 1236"/>
                  <a:gd name="T52" fmla="*/ 123 w 1237"/>
                  <a:gd name="T53" fmla="*/ 249 h 1236"/>
                  <a:gd name="T54" fmla="*/ 181 w 1237"/>
                  <a:gd name="T55" fmla="*/ 181 h 1236"/>
                  <a:gd name="T56" fmla="*/ 249 w 1237"/>
                  <a:gd name="T57" fmla="*/ 123 h 1236"/>
                  <a:gd name="T58" fmla="*/ 324 w 1237"/>
                  <a:gd name="T59" fmla="*/ 76 h 1236"/>
                  <a:gd name="T60" fmla="*/ 406 w 1237"/>
                  <a:gd name="T61" fmla="*/ 38 h 1236"/>
                  <a:gd name="T62" fmla="*/ 494 w 1237"/>
                  <a:gd name="T63" fmla="*/ 13 h 1236"/>
                  <a:gd name="T64" fmla="*/ 587 w 1237"/>
                  <a:gd name="T65" fmla="*/ 1 h 1236"/>
                  <a:gd name="T66" fmla="*/ 651 w 1237"/>
                  <a:gd name="T67" fmla="*/ 1 h 1236"/>
                  <a:gd name="T68" fmla="*/ 743 w 1237"/>
                  <a:gd name="T69" fmla="*/ 13 h 1236"/>
                  <a:gd name="T70" fmla="*/ 831 w 1237"/>
                  <a:gd name="T71" fmla="*/ 38 h 1236"/>
                  <a:gd name="T72" fmla="*/ 914 w 1237"/>
                  <a:gd name="T73" fmla="*/ 76 h 1236"/>
                  <a:gd name="T74" fmla="*/ 989 w 1237"/>
                  <a:gd name="T75" fmla="*/ 123 h 1236"/>
                  <a:gd name="T76" fmla="*/ 1056 w 1237"/>
                  <a:gd name="T77" fmla="*/ 181 h 1236"/>
                  <a:gd name="T78" fmla="*/ 1115 w 1237"/>
                  <a:gd name="T79" fmla="*/ 249 h 1236"/>
                  <a:gd name="T80" fmla="*/ 1163 w 1237"/>
                  <a:gd name="T81" fmla="*/ 324 h 1236"/>
                  <a:gd name="T82" fmla="*/ 1199 w 1237"/>
                  <a:gd name="T83" fmla="*/ 406 h 1236"/>
                  <a:gd name="T84" fmla="*/ 1224 w 1237"/>
                  <a:gd name="T85" fmla="*/ 494 h 1236"/>
                  <a:gd name="T86" fmla="*/ 1237 w 1237"/>
                  <a:gd name="T87" fmla="*/ 587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37" h="1236">
                    <a:moveTo>
                      <a:pt x="1237" y="618"/>
                    </a:moveTo>
                    <a:lnTo>
                      <a:pt x="1237" y="618"/>
                    </a:lnTo>
                    <a:lnTo>
                      <a:pt x="1237" y="651"/>
                    </a:lnTo>
                    <a:lnTo>
                      <a:pt x="1234" y="682"/>
                    </a:lnTo>
                    <a:lnTo>
                      <a:pt x="1230" y="713"/>
                    </a:lnTo>
                    <a:lnTo>
                      <a:pt x="1224" y="744"/>
                    </a:lnTo>
                    <a:lnTo>
                      <a:pt x="1218" y="773"/>
                    </a:lnTo>
                    <a:lnTo>
                      <a:pt x="1209" y="803"/>
                    </a:lnTo>
                    <a:lnTo>
                      <a:pt x="1199" y="832"/>
                    </a:lnTo>
                    <a:lnTo>
                      <a:pt x="1189" y="860"/>
                    </a:lnTo>
                    <a:lnTo>
                      <a:pt x="1176" y="887"/>
                    </a:lnTo>
                    <a:lnTo>
                      <a:pt x="1163" y="914"/>
                    </a:lnTo>
                    <a:lnTo>
                      <a:pt x="1147" y="940"/>
                    </a:lnTo>
                    <a:lnTo>
                      <a:pt x="1131" y="964"/>
                    </a:lnTo>
                    <a:lnTo>
                      <a:pt x="1115" y="989"/>
                    </a:lnTo>
                    <a:lnTo>
                      <a:pt x="1096" y="1012"/>
                    </a:lnTo>
                    <a:lnTo>
                      <a:pt x="1076" y="1034"/>
                    </a:lnTo>
                    <a:lnTo>
                      <a:pt x="1056" y="1056"/>
                    </a:lnTo>
                    <a:lnTo>
                      <a:pt x="1034" y="1077"/>
                    </a:lnTo>
                    <a:lnTo>
                      <a:pt x="1012" y="1096"/>
                    </a:lnTo>
                    <a:lnTo>
                      <a:pt x="989" y="1115"/>
                    </a:lnTo>
                    <a:lnTo>
                      <a:pt x="964" y="1131"/>
                    </a:lnTo>
                    <a:lnTo>
                      <a:pt x="939" y="1147"/>
                    </a:lnTo>
                    <a:lnTo>
                      <a:pt x="914" y="1162"/>
                    </a:lnTo>
                    <a:lnTo>
                      <a:pt x="887" y="1176"/>
                    </a:lnTo>
                    <a:lnTo>
                      <a:pt x="860" y="1189"/>
                    </a:lnTo>
                    <a:lnTo>
                      <a:pt x="831" y="1200"/>
                    </a:lnTo>
                    <a:lnTo>
                      <a:pt x="803" y="1209"/>
                    </a:lnTo>
                    <a:lnTo>
                      <a:pt x="773" y="1218"/>
                    </a:lnTo>
                    <a:lnTo>
                      <a:pt x="743" y="1224"/>
                    </a:lnTo>
                    <a:lnTo>
                      <a:pt x="713" y="1230"/>
                    </a:lnTo>
                    <a:lnTo>
                      <a:pt x="682" y="1234"/>
                    </a:lnTo>
                    <a:lnTo>
                      <a:pt x="651" y="1236"/>
                    </a:lnTo>
                    <a:lnTo>
                      <a:pt x="618" y="1236"/>
                    </a:lnTo>
                    <a:lnTo>
                      <a:pt x="618" y="1236"/>
                    </a:lnTo>
                    <a:lnTo>
                      <a:pt x="587" y="1236"/>
                    </a:lnTo>
                    <a:lnTo>
                      <a:pt x="556" y="1234"/>
                    </a:lnTo>
                    <a:lnTo>
                      <a:pt x="524" y="1230"/>
                    </a:lnTo>
                    <a:lnTo>
                      <a:pt x="494" y="1224"/>
                    </a:lnTo>
                    <a:lnTo>
                      <a:pt x="464" y="1218"/>
                    </a:lnTo>
                    <a:lnTo>
                      <a:pt x="435" y="1209"/>
                    </a:lnTo>
                    <a:lnTo>
                      <a:pt x="406" y="1200"/>
                    </a:lnTo>
                    <a:lnTo>
                      <a:pt x="378" y="1189"/>
                    </a:lnTo>
                    <a:lnTo>
                      <a:pt x="351" y="1176"/>
                    </a:lnTo>
                    <a:lnTo>
                      <a:pt x="324" y="1162"/>
                    </a:lnTo>
                    <a:lnTo>
                      <a:pt x="298" y="1147"/>
                    </a:lnTo>
                    <a:lnTo>
                      <a:pt x="273" y="1131"/>
                    </a:lnTo>
                    <a:lnTo>
                      <a:pt x="249" y="1115"/>
                    </a:lnTo>
                    <a:lnTo>
                      <a:pt x="225" y="1096"/>
                    </a:lnTo>
                    <a:lnTo>
                      <a:pt x="202" y="1077"/>
                    </a:lnTo>
                    <a:lnTo>
                      <a:pt x="181" y="1056"/>
                    </a:lnTo>
                    <a:lnTo>
                      <a:pt x="161" y="1034"/>
                    </a:lnTo>
                    <a:lnTo>
                      <a:pt x="142" y="1012"/>
                    </a:lnTo>
                    <a:lnTo>
                      <a:pt x="123" y="989"/>
                    </a:lnTo>
                    <a:lnTo>
                      <a:pt x="106" y="964"/>
                    </a:lnTo>
                    <a:lnTo>
                      <a:pt x="89" y="940"/>
                    </a:lnTo>
                    <a:lnTo>
                      <a:pt x="76" y="914"/>
                    </a:lnTo>
                    <a:lnTo>
                      <a:pt x="62" y="887"/>
                    </a:lnTo>
                    <a:lnTo>
                      <a:pt x="49" y="860"/>
                    </a:lnTo>
                    <a:lnTo>
                      <a:pt x="38" y="832"/>
                    </a:lnTo>
                    <a:lnTo>
                      <a:pt x="28" y="803"/>
                    </a:lnTo>
                    <a:lnTo>
                      <a:pt x="20" y="773"/>
                    </a:lnTo>
                    <a:lnTo>
                      <a:pt x="13" y="744"/>
                    </a:lnTo>
                    <a:lnTo>
                      <a:pt x="8" y="713"/>
                    </a:lnTo>
                    <a:lnTo>
                      <a:pt x="4" y="682"/>
                    </a:lnTo>
                    <a:lnTo>
                      <a:pt x="1" y="651"/>
                    </a:lnTo>
                    <a:lnTo>
                      <a:pt x="0" y="618"/>
                    </a:lnTo>
                    <a:lnTo>
                      <a:pt x="0" y="618"/>
                    </a:lnTo>
                    <a:lnTo>
                      <a:pt x="1" y="587"/>
                    </a:lnTo>
                    <a:lnTo>
                      <a:pt x="4" y="555"/>
                    </a:lnTo>
                    <a:lnTo>
                      <a:pt x="8" y="524"/>
                    </a:lnTo>
                    <a:lnTo>
                      <a:pt x="13" y="494"/>
                    </a:lnTo>
                    <a:lnTo>
                      <a:pt x="20" y="464"/>
                    </a:lnTo>
                    <a:lnTo>
                      <a:pt x="28" y="435"/>
                    </a:lnTo>
                    <a:lnTo>
                      <a:pt x="38" y="406"/>
                    </a:lnTo>
                    <a:lnTo>
                      <a:pt x="49" y="378"/>
                    </a:lnTo>
                    <a:lnTo>
                      <a:pt x="62" y="351"/>
                    </a:lnTo>
                    <a:lnTo>
                      <a:pt x="76" y="324"/>
                    </a:lnTo>
                    <a:lnTo>
                      <a:pt x="89" y="298"/>
                    </a:lnTo>
                    <a:lnTo>
                      <a:pt x="106" y="273"/>
                    </a:lnTo>
                    <a:lnTo>
                      <a:pt x="123" y="249"/>
                    </a:lnTo>
                    <a:lnTo>
                      <a:pt x="142" y="225"/>
                    </a:lnTo>
                    <a:lnTo>
                      <a:pt x="161" y="204"/>
                    </a:lnTo>
                    <a:lnTo>
                      <a:pt x="181" y="181"/>
                    </a:lnTo>
                    <a:lnTo>
                      <a:pt x="202" y="161"/>
                    </a:lnTo>
                    <a:lnTo>
                      <a:pt x="225" y="142"/>
                    </a:lnTo>
                    <a:lnTo>
                      <a:pt x="249" y="123"/>
                    </a:lnTo>
                    <a:lnTo>
                      <a:pt x="273" y="106"/>
                    </a:lnTo>
                    <a:lnTo>
                      <a:pt x="298" y="91"/>
                    </a:lnTo>
                    <a:lnTo>
                      <a:pt x="324" y="76"/>
                    </a:lnTo>
                    <a:lnTo>
                      <a:pt x="351" y="62"/>
                    </a:lnTo>
                    <a:lnTo>
                      <a:pt x="378" y="49"/>
                    </a:lnTo>
                    <a:lnTo>
                      <a:pt x="406" y="38"/>
                    </a:lnTo>
                    <a:lnTo>
                      <a:pt x="435" y="29"/>
                    </a:lnTo>
                    <a:lnTo>
                      <a:pt x="464" y="20"/>
                    </a:lnTo>
                    <a:lnTo>
                      <a:pt x="494" y="13"/>
                    </a:lnTo>
                    <a:lnTo>
                      <a:pt x="524" y="8"/>
                    </a:lnTo>
                    <a:lnTo>
                      <a:pt x="556" y="4"/>
                    </a:lnTo>
                    <a:lnTo>
                      <a:pt x="587" y="1"/>
                    </a:lnTo>
                    <a:lnTo>
                      <a:pt x="618" y="0"/>
                    </a:lnTo>
                    <a:lnTo>
                      <a:pt x="618" y="0"/>
                    </a:lnTo>
                    <a:lnTo>
                      <a:pt x="651" y="1"/>
                    </a:lnTo>
                    <a:lnTo>
                      <a:pt x="682" y="4"/>
                    </a:lnTo>
                    <a:lnTo>
                      <a:pt x="713" y="8"/>
                    </a:lnTo>
                    <a:lnTo>
                      <a:pt x="743" y="13"/>
                    </a:lnTo>
                    <a:lnTo>
                      <a:pt x="773" y="20"/>
                    </a:lnTo>
                    <a:lnTo>
                      <a:pt x="803" y="29"/>
                    </a:lnTo>
                    <a:lnTo>
                      <a:pt x="831" y="38"/>
                    </a:lnTo>
                    <a:lnTo>
                      <a:pt x="860" y="49"/>
                    </a:lnTo>
                    <a:lnTo>
                      <a:pt x="887" y="62"/>
                    </a:lnTo>
                    <a:lnTo>
                      <a:pt x="914" y="76"/>
                    </a:lnTo>
                    <a:lnTo>
                      <a:pt x="939" y="91"/>
                    </a:lnTo>
                    <a:lnTo>
                      <a:pt x="964" y="106"/>
                    </a:lnTo>
                    <a:lnTo>
                      <a:pt x="989" y="123"/>
                    </a:lnTo>
                    <a:lnTo>
                      <a:pt x="1012" y="142"/>
                    </a:lnTo>
                    <a:lnTo>
                      <a:pt x="1034" y="161"/>
                    </a:lnTo>
                    <a:lnTo>
                      <a:pt x="1056" y="181"/>
                    </a:lnTo>
                    <a:lnTo>
                      <a:pt x="1076" y="204"/>
                    </a:lnTo>
                    <a:lnTo>
                      <a:pt x="1096" y="225"/>
                    </a:lnTo>
                    <a:lnTo>
                      <a:pt x="1115" y="249"/>
                    </a:lnTo>
                    <a:lnTo>
                      <a:pt x="1131" y="273"/>
                    </a:lnTo>
                    <a:lnTo>
                      <a:pt x="1147" y="298"/>
                    </a:lnTo>
                    <a:lnTo>
                      <a:pt x="1163" y="324"/>
                    </a:lnTo>
                    <a:lnTo>
                      <a:pt x="1176" y="351"/>
                    </a:lnTo>
                    <a:lnTo>
                      <a:pt x="1189" y="378"/>
                    </a:lnTo>
                    <a:lnTo>
                      <a:pt x="1199" y="406"/>
                    </a:lnTo>
                    <a:lnTo>
                      <a:pt x="1209" y="435"/>
                    </a:lnTo>
                    <a:lnTo>
                      <a:pt x="1218" y="464"/>
                    </a:lnTo>
                    <a:lnTo>
                      <a:pt x="1224" y="494"/>
                    </a:lnTo>
                    <a:lnTo>
                      <a:pt x="1230" y="524"/>
                    </a:lnTo>
                    <a:lnTo>
                      <a:pt x="1234" y="555"/>
                    </a:lnTo>
                    <a:lnTo>
                      <a:pt x="1237" y="587"/>
                    </a:lnTo>
                    <a:lnTo>
                      <a:pt x="1237" y="618"/>
                    </a:lnTo>
                    <a:lnTo>
                      <a:pt x="1237" y="618"/>
                    </a:lnTo>
                    <a:close/>
                  </a:path>
                </a:pathLst>
              </a:custGeom>
              <a:solidFill>
                <a:sysClr val="window" lastClr="FFFFFF"/>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0" name="Freeform 9"/>
              <p:cNvSpPr>
                <a:spLocks noEditPoints="1"/>
              </p:cNvSpPr>
              <p:nvPr/>
            </p:nvSpPr>
            <p:spPr bwMode="auto">
              <a:xfrm>
                <a:off x="7694715" y="2891762"/>
                <a:ext cx="1287181" cy="1287181"/>
              </a:xfrm>
              <a:custGeom>
                <a:avLst/>
                <a:gdLst>
                  <a:gd name="T0" fmla="*/ 535 w 1261"/>
                  <a:gd name="T1" fmla="*/ 1255 h 1261"/>
                  <a:gd name="T2" fmla="*/ 385 w 1261"/>
                  <a:gd name="T3" fmla="*/ 1212 h 1261"/>
                  <a:gd name="T4" fmla="*/ 253 w 1261"/>
                  <a:gd name="T5" fmla="*/ 1137 h 1261"/>
                  <a:gd name="T6" fmla="*/ 144 w 1261"/>
                  <a:gd name="T7" fmla="*/ 1032 h 1261"/>
                  <a:gd name="T8" fmla="*/ 62 w 1261"/>
                  <a:gd name="T9" fmla="*/ 904 h 1261"/>
                  <a:gd name="T10" fmla="*/ 12 w 1261"/>
                  <a:gd name="T11" fmla="*/ 757 h 1261"/>
                  <a:gd name="T12" fmla="*/ 0 w 1261"/>
                  <a:gd name="T13" fmla="*/ 630 h 1261"/>
                  <a:gd name="T14" fmla="*/ 20 w 1261"/>
                  <a:gd name="T15" fmla="*/ 473 h 1261"/>
                  <a:gd name="T16" fmla="*/ 76 w 1261"/>
                  <a:gd name="T17" fmla="*/ 330 h 1261"/>
                  <a:gd name="T18" fmla="*/ 164 w 1261"/>
                  <a:gd name="T19" fmla="*/ 207 h 1261"/>
                  <a:gd name="T20" fmla="*/ 279 w 1261"/>
                  <a:gd name="T21" fmla="*/ 108 h 1261"/>
                  <a:gd name="T22" fmla="*/ 414 w 1261"/>
                  <a:gd name="T23" fmla="*/ 39 h 1261"/>
                  <a:gd name="T24" fmla="*/ 566 w 1261"/>
                  <a:gd name="T25" fmla="*/ 3 h 1261"/>
                  <a:gd name="T26" fmla="*/ 696 w 1261"/>
                  <a:gd name="T27" fmla="*/ 3 h 1261"/>
                  <a:gd name="T28" fmla="*/ 848 w 1261"/>
                  <a:gd name="T29" fmla="*/ 39 h 1261"/>
                  <a:gd name="T30" fmla="*/ 984 w 1261"/>
                  <a:gd name="T31" fmla="*/ 108 h 1261"/>
                  <a:gd name="T32" fmla="*/ 1098 w 1261"/>
                  <a:gd name="T33" fmla="*/ 207 h 1261"/>
                  <a:gd name="T34" fmla="*/ 1186 w 1261"/>
                  <a:gd name="T35" fmla="*/ 330 h 1261"/>
                  <a:gd name="T36" fmla="*/ 1241 w 1261"/>
                  <a:gd name="T37" fmla="*/ 473 h 1261"/>
                  <a:gd name="T38" fmla="*/ 1261 w 1261"/>
                  <a:gd name="T39" fmla="*/ 630 h 1261"/>
                  <a:gd name="T40" fmla="*/ 1249 w 1261"/>
                  <a:gd name="T41" fmla="*/ 757 h 1261"/>
                  <a:gd name="T42" fmla="*/ 1200 w 1261"/>
                  <a:gd name="T43" fmla="*/ 904 h 1261"/>
                  <a:gd name="T44" fmla="*/ 1118 w 1261"/>
                  <a:gd name="T45" fmla="*/ 1032 h 1261"/>
                  <a:gd name="T46" fmla="*/ 1007 w 1261"/>
                  <a:gd name="T47" fmla="*/ 1137 h 1261"/>
                  <a:gd name="T48" fmla="*/ 875 w 1261"/>
                  <a:gd name="T49" fmla="*/ 1212 h 1261"/>
                  <a:gd name="T50" fmla="*/ 727 w 1261"/>
                  <a:gd name="T51" fmla="*/ 1255 h 1261"/>
                  <a:gd name="T52" fmla="*/ 630 w 1261"/>
                  <a:gd name="T53" fmla="*/ 21 h 1261"/>
                  <a:gd name="T54" fmla="*/ 509 w 1261"/>
                  <a:gd name="T55" fmla="*/ 34 h 1261"/>
                  <a:gd name="T56" fmla="*/ 367 w 1261"/>
                  <a:gd name="T57" fmla="*/ 81 h 1261"/>
                  <a:gd name="T58" fmla="*/ 243 w 1261"/>
                  <a:gd name="T59" fmla="*/ 160 h 1261"/>
                  <a:gd name="T60" fmla="*/ 143 w 1261"/>
                  <a:gd name="T61" fmla="*/ 266 h 1261"/>
                  <a:gd name="T62" fmla="*/ 69 w 1261"/>
                  <a:gd name="T63" fmla="*/ 394 h 1261"/>
                  <a:gd name="T64" fmla="*/ 28 w 1261"/>
                  <a:gd name="T65" fmla="*/ 539 h 1261"/>
                  <a:gd name="T66" fmla="*/ 22 w 1261"/>
                  <a:gd name="T67" fmla="*/ 662 h 1261"/>
                  <a:gd name="T68" fmla="*/ 49 w 1261"/>
                  <a:gd name="T69" fmla="*/ 812 h 1261"/>
                  <a:gd name="T70" fmla="*/ 109 w 1261"/>
                  <a:gd name="T71" fmla="*/ 947 h 1261"/>
                  <a:gd name="T72" fmla="*/ 199 w 1261"/>
                  <a:gd name="T73" fmla="*/ 1061 h 1261"/>
                  <a:gd name="T74" fmla="*/ 315 w 1261"/>
                  <a:gd name="T75" fmla="*/ 1152 h 1261"/>
                  <a:gd name="T76" fmla="*/ 449 w 1261"/>
                  <a:gd name="T77" fmla="*/ 1213 h 1261"/>
                  <a:gd name="T78" fmla="*/ 599 w 1261"/>
                  <a:gd name="T79" fmla="*/ 1240 h 1261"/>
                  <a:gd name="T80" fmla="*/ 723 w 1261"/>
                  <a:gd name="T81" fmla="*/ 1233 h 1261"/>
                  <a:gd name="T82" fmla="*/ 868 w 1261"/>
                  <a:gd name="T83" fmla="*/ 1192 h 1261"/>
                  <a:gd name="T84" fmla="*/ 995 w 1261"/>
                  <a:gd name="T85" fmla="*/ 1119 h 1261"/>
                  <a:gd name="T86" fmla="*/ 1100 w 1261"/>
                  <a:gd name="T87" fmla="*/ 1019 h 1261"/>
                  <a:gd name="T88" fmla="*/ 1180 w 1261"/>
                  <a:gd name="T89" fmla="*/ 895 h 1261"/>
                  <a:gd name="T90" fmla="*/ 1229 w 1261"/>
                  <a:gd name="T91" fmla="*/ 753 h 1261"/>
                  <a:gd name="T92" fmla="*/ 1240 w 1261"/>
                  <a:gd name="T93" fmla="*/ 630 h 1261"/>
                  <a:gd name="T94" fmla="*/ 1221 w 1261"/>
                  <a:gd name="T95" fmla="*/ 478 h 1261"/>
                  <a:gd name="T96" fmla="*/ 1167 w 1261"/>
                  <a:gd name="T97" fmla="*/ 340 h 1261"/>
                  <a:gd name="T98" fmla="*/ 1082 w 1261"/>
                  <a:gd name="T99" fmla="*/ 221 h 1261"/>
                  <a:gd name="T100" fmla="*/ 971 w 1261"/>
                  <a:gd name="T101" fmla="*/ 125 h 1261"/>
                  <a:gd name="T102" fmla="*/ 840 w 1261"/>
                  <a:gd name="T103" fmla="*/ 59 h 1261"/>
                  <a:gd name="T104" fmla="*/ 693 w 1261"/>
                  <a:gd name="T105" fmla="*/ 25 h 1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61" h="1261">
                    <a:moveTo>
                      <a:pt x="630" y="1261"/>
                    </a:moveTo>
                    <a:lnTo>
                      <a:pt x="630" y="1261"/>
                    </a:lnTo>
                    <a:lnTo>
                      <a:pt x="598" y="1261"/>
                    </a:lnTo>
                    <a:lnTo>
                      <a:pt x="566" y="1258"/>
                    </a:lnTo>
                    <a:lnTo>
                      <a:pt x="535" y="1255"/>
                    </a:lnTo>
                    <a:lnTo>
                      <a:pt x="503" y="1248"/>
                    </a:lnTo>
                    <a:lnTo>
                      <a:pt x="473" y="1242"/>
                    </a:lnTo>
                    <a:lnTo>
                      <a:pt x="443" y="1233"/>
                    </a:lnTo>
                    <a:lnTo>
                      <a:pt x="414" y="1223"/>
                    </a:lnTo>
                    <a:lnTo>
                      <a:pt x="385" y="1212"/>
                    </a:lnTo>
                    <a:lnTo>
                      <a:pt x="358" y="1199"/>
                    </a:lnTo>
                    <a:lnTo>
                      <a:pt x="330" y="1186"/>
                    </a:lnTo>
                    <a:lnTo>
                      <a:pt x="304" y="1171"/>
                    </a:lnTo>
                    <a:lnTo>
                      <a:pt x="279" y="1154"/>
                    </a:lnTo>
                    <a:lnTo>
                      <a:pt x="253" y="1137"/>
                    </a:lnTo>
                    <a:lnTo>
                      <a:pt x="230" y="1118"/>
                    </a:lnTo>
                    <a:lnTo>
                      <a:pt x="207" y="1098"/>
                    </a:lnTo>
                    <a:lnTo>
                      <a:pt x="184" y="1076"/>
                    </a:lnTo>
                    <a:lnTo>
                      <a:pt x="164" y="1055"/>
                    </a:lnTo>
                    <a:lnTo>
                      <a:pt x="144" y="1032"/>
                    </a:lnTo>
                    <a:lnTo>
                      <a:pt x="125" y="1008"/>
                    </a:lnTo>
                    <a:lnTo>
                      <a:pt x="108" y="983"/>
                    </a:lnTo>
                    <a:lnTo>
                      <a:pt x="91" y="958"/>
                    </a:lnTo>
                    <a:lnTo>
                      <a:pt x="76" y="931"/>
                    </a:lnTo>
                    <a:lnTo>
                      <a:pt x="62" y="904"/>
                    </a:lnTo>
                    <a:lnTo>
                      <a:pt x="50" y="877"/>
                    </a:lnTo>
                    <a:lnTo>
                      <a:pt x="39" y="848"/>
                    </a:lnTo>
                    <a:lnTo>
                      <a:pt x="28" y="819"/>
                    </a:lnTo>
                    <a:lnTo>
                      <a:pt x="20" y="789"/>
                    </a:lnTo>
                    <a:lnTo>
                      <a:pt x="12" y="757"/>
                    </a:lnTo>
                    <a:lnTo>
                      <a:pt x="7" y="727"/>
                    </a:lnTo>
                    <a:lnTo>
                      <a:pt x="3" y="696"/>
                    </a:lnTo>
                    <a:lnTo>
                      <a:pt x="1" y="663"/>
                    </a:lnTo>
                    <a:lnTo>
                      <a:pt x="0" y="630"/>
                    </a:lnTo>
                    <a:lnTo>
                      <a:pt x="0" y="630"/>
                    </a:lnTo>
                    <a:lnTo>
                      <a:pt x="1" y="599"/>
                    </a:lnTo>
                    <a:lnTo>
                      <a:pt x="3" y="566"/>
                    </a:lnTo>
                    <a:lnTo>
                      <a:pt x="7" y="535"/>
                    </a:lnTo>
                    <a:lnTo>
                      <a:pt x="12" y="503"/>
                    </a:lnTo>
                    <a:lnTo>
                      <a:pt x="20" y="473"/>
                    </a:lnTo>
                    <a:lnTo>
                      <a:pt x="28" y="443"/>
                    </a:lnTo>
                    <a:lnTo>
                      <a:pt x="39" y="414"/>
                    </a:lnTo>
                    <a:lnTo>
                      <a:pt x="50" y="385"/>
                    </a:lnTo>
                    <a:lnTo>
                      <a:pt x="62" y="358"/>
                    </a:lnTo>
                    <a:lnTo>
                      <a:pt x="76" y="330"/>
                    </a:lnTo>
                    <a:lnTo>
                      <a:pt x="91" y="304"/>
                    </a:lnTo>
                    <a:lnTo>
                      <a:pt x="108" y="279"/>
                    </a:lnTo>
                    <a:lnTo>
                      <a:pt x="125" y="253"/>
                    </a:lnTo>
                    <a:lnTo>
                      <a:pt x="144" y="230"/>
                    </a:lnTo>
                    <a:lnTo>
                      <a:pt x="164" y="207"/>
                    </a:lnTo>
                    <a:lnTo>
                      <a:pt x="184" y="186"/>
                    </a:lnTo>
                    <a:lnTo>
                      <a:pt x="207" y="164"/>
                    </a:lnTo>
                    <a:lnTo>
                      <a:pt x="230" y="144"/>
                    </a:lnTo>
                    <a:lnTo>
                      <a:pt x="253" y="125"/>
                    </a:lnTo>
                    <a:lnTo>
                      <a:pt x="279" y="108"/>
                    </a:lnTo>
                    <a:lnTo>
                      <a:pt x="304" y="91"/>
                    </a:lnTo>
                    <a:lnTo>
                      <a:pt x="330" y="76"/>
                    </a:lnTo>
                    <a:lnTo>
                      <a:pt x="358" y="62"/>
                    </a:lnTo>
                    <a:lnTo>
                      <a:pt x="385" y="50"/>
                    </a:lnTo>
                    <a:lnTo>
                      <a:pt x="414" y="39"/>
                    </a:lnTo>
                    <a:lnTo>
                      <a:pt x="443" y="28"/>
                    </a:lnTo>
                    <a:lnTo>
                      <a:pt x="473" y="20"/>
                    </a:lnTo>
                    <a:lnTo>
                      <a:pt x="503" y="13"/>
                    </a:lnTo>
                    <a:lnTo>
                      <a:pt x="535" y="7"/>
                    </a:lnTo>
                    <a:lnTo>
                      <a:pt x="566" y="3"/>
                    </a:lnTo>
                    <a:lnTo>
                      <a:pt x="598" y="1"/>
                    </a:lnTo>
                    <a:lnTo>
                      <a:pt x="630" y="0"/>
                    </a:lnTo>
                    <a:lnTo>
                      <a:pt x="630" y="0"/>
                    </a:lnTo>
                    <a:lnTo>
                      <a:pt x="663" y="1"/>
                    </a:lnTo>
                    <a:lnTo>
                      <a:pt x="696" y="3"/>
                    </a:lnTo>
                    <a:lnTo>
                      <a:pt x="727" y="7"/>
                    </a:lnTo>
                    <a:lnTo>
                      <a:pt x="757" y="13"/>
                    </a:lnTo>
                    <a:lnTo>
                      <a:pt x="789" y="20"/>
                    </a:lnTo>
                    <a:lnTo>
                      <a:pt x="818" y="28"/>
                    </a:lnTo>
                    <a:lnTo>
                      <a:pt x="848" y="39"/>
                    </a:lnTo>
                    <a:lnTo>
                      <a:pt x="875" y="50"/>
                    </a:lnTo>
                    <a:lnTo>
                      <a:pt x="904" y="62"/>
                    </a:lnTo>
                    <a:lnTo>
                      <a:pt x="931" y="76"/>
                    </a:lnTo>
                    <a:lnTo>
                      <a:pt x="957" y="91"/>
                    </a:lnTo>
                    <a:lnTo>
                      <a:pt x="984" y="108"/>
                    </a:lnTo>
                    <a:lnTo>
                      <a:pt x="1007" y="125"/>
                    </a:lnTo>
                    <a:lnTo>
                      <a:pt x="1031" y="144"/>
                    </a:lnTo>
                    <a:lnTo>
                      <a:pt x="1055" y="164"/>
                    </a:lnTo>
                    <a:lnTo>
                      <a:pt x="1076" y="186"/>
                    </a:lnTo>
                    <a:lnTo>
                      <a:pt x="1098" y="207"/>
                    </a:lnTo>
                    <a:lnTo>
                      <a:pt x="1118" y="230"/>
                    </a:lnTo>
                    <a:lnTo>
                      <a:pt x="1136" y="253"/>
                    </a:lnTo>
                    <a:lnTo>
                      <a:pt x="1153" y="279"/>
                    </a:lnTo>
                    <a:lnTo>
                      <a:pt x="1171" y="304"/>
                    </a:lnTo>
                    <a:lnTo>
                      <a:pt x="1186" y="330"/>
                    </a:lnTo>
                    <a:lnTo>
                      <a:pt x="1200" y="358"/>
                    </a:lnTo>
                    <a:lnTo>
                      <a:pt x="1212" y="385"/>
                    </a:lnTo>
                    <a:lnTo>
                      <a:pt x="1224" y="414"/>
                    </a:lnTo>
                    <a:lnTo>
                      <a:pt x="1234" y="443"/>
                    </a:lnTo>
                    <a:lnTo>
                      <a:pt x="1241" y="473"/>
                    </a:lnTo>
                    <a:lnTo>
                      <a:pt x="1249" y="503"/>
                    </a:lnTo>
                    <a:lnTo>
                      <a:pt x="1254" y="535"/>
                    </a:lnTo>
                    <a:lnTo>
                      <a:pt x="1259" y="566"/>
                    </a:lnTo>
                    <a:lnTo>
                      <a:pt x="1261" y="599"/>
                    </a:lnTo>
                    <a:lnTo>
                      <a:pt x="1261" y="630"/>
                    </a:lnTo>
                    <a:lnTo>
                      <a:pt x="1261" y="630"/>
                    </a:lnTo>
                    <a:lnTo>
                      <a:pt x="1261" y="663"/>
                    </a:lnTo>
                    <a:lnTo>
                      <a:pt x="1259" y="696"/>
                    </a:lnTo>
                    <a:lnTo>
                      <a:pt x="1254" y="727"/>
                    </a:lnTo>
                    <a:lnTo>
                      <a:pt x="1249" y="757"/>
                    </a:lnTo>
                    <a:lnTo>
                      <a:pt x="1241" y="789"/>
                    </a:lnTo>
                    <a:lnTo>
                      <a:pt x="1234" y="819"/>
                    </a:lnTo>
                    <a:lnTo>
                      <a:pt x="1224" y="848"/>
                    </a:lnTo>
                    <a:lnTo>
                      <a:pt x="1212" y="877"/>
                    </a:lnTo>
                    <a:lnTo>
                      <a:pt x="1200" y="904"/>
                    </a:lnTo>
                    <a:lnTo>
                      <a:pt x="1186" y="931"/>
                    </a:lnTo>
                    <a:lnTo>
                      <a:pt x="1171" y="958"/>
                    </a:lnTo>
                    <a:lnTo>
                      <a:pt x="1153" y="983"/>
                    </a:lnTo>
                    <a:lnTo>
                      <a:pt x="1136" y="1008"/>
                    </a:lnTo>
                    <a:lnTo>
                      <a:pt x="1118" y="1032"/>
                    </a:lnTo>
                    <a:lnTo>
                      <a:pt x="1098" y="1055"/>
                    </a:lnTo>
                    <a:lnTo>
                      <a:pt x="1076" y="1076"/>
                    </a:lnTo>
                    <a:lnTo>
                      <a:pt x="1055" y="1098"/>
                    </a:lnTo>
                    <a:lnTo>
                      <a:pt x="1031" y="1118"/>
                    </a:lnTo>
                    <a:lnTo>
                      <a:pt x="1007" y="1137"/>
                    </a:lnTo>
                    <a:lnTo>
                      <a:pt x="984" y="1154"/>
                    </a:lnTo>
                    <a:lnTo>
                      <a:pt x="957" y="1171"/>
                    </a:lnTo>
                    <a:lnTo>
                      <a:pt x="931" y="1186"/>
                    </a:lnTo>
                    <a:lnTo>
                      <a:pt x="904" y="1199"/>
                    </a:lnTo>
                    <a:lnTo>
                      <a:pt x="875" y="1212"/>
                    </a:lnTo>
                    <a:lnTo>
                      <a:pt x="848" y="1223"/>
                    </a:lnTo>
                    <a:lnTo>
                      <a:pt x="818" y="1233"/>
                    </a:lnTo>
                    <a:lnTo>
                      <a:pt x="789" y="1242"/>
                    </a:lnTo>
                    <a:lnTo>
                      <a:pt x="757" y="1248"/>
                    </a:lnTo>
                    <a:lnTo>
                      <a:pt x="727" y="1255"/>
                    </a:lnTo>
                    <a:lnTo>
                      <a:pt x="696" y="1258"/>
                    </a:lnTo>
                    <a:lnTo>
                      <a:pt x="663" y="1261"/>
                    </a:lnTo>
                    <a:lnTo>
                      <a:pt x="630" y="1261"/>
                    </a:lnTo>
                    <a:lnTo>
                      <a:pt x="630" y="1261"/>
                    </a:lnTo>
                    <a:close/>
                    <a:moveTo>
                      <a:pt x="630" y="21"/>
                    </a:moveTo>
                    <a:lnTo>
                      <a:pt x="630" y="21"/>
                    </a:lnTo>
                    <a:lnTo>
                      <a:pt x="599" y="22"/>
                    </a:lnTo>
                    <a:lnTo>
                      <a:pt x="569" y="25"/>
                    </a:lnTo>
                    <a:lnTo>
                      <a:pt x="539" y="28"/>
                    </a:lnTo>
                    <a:lnTo>
                      <a:pt x="509" y="34"/>
                    </a:lnTo>
                    <a:lnTo>
                      <a:pt x="478" y="41"/>
                    </a:lnTo>
                    <a:lnTo>
                      <a:pt x="449" y="49"/>
                    </a:lnTo>
                    <a:lnTo>
                      <a:pt x="422" y="59"/>
                    </a:lnTo>
                    <a:lnTo>
                      <a:pt x="394" y="69"/>
                    </a:lnTo>
                    <a:lnTo>
                      <a:pt x="367" y="81"/>
                    </a:lnTo>
                    <a:lnTo>
                      <a:pt x="340" y="95"/>
                    </a:lnTo>
                    <a:lnTo>
                      <a:pt x="315" y="110"/>
                    </a:lnTo>
                    <a:lnTo>
                      <a:pt x="290" y="125"/>
                    </a:lnTo>
                    <a:lnTo>
                      <a:pt x="266" y="143"/>
                    </a:lnTo>
                    <a:lnTo>
                      <a:pt x="243" y="160"/>
                    </a:lnTo>
                    <a:lnTo>
                      <a:pt x="221" y="179"/>
                    </a:lnTo>
                    <a:lnTo>
                      <a:pt x="199" y="201"/>
                    </a:lnTo>
                    <a:lnTo>
                      <a:pt x="179" y="221"/>
                    </a:lnTo>
                    <a:lnTo>
                      <a:pt x="160" y="243"/>
                    </a:lnTo>
                    <a:lnTo>
                      <a:pt x="143" y="266"/>
                    </a:lnTo>
                    <a:lnTo>
                      <a:pt x="125" y="290"/>
                    </a:lnTo>
                    <a:lnTo>
                      <a:pt x="109" y="315"/>
                    </a:lnTo>
                    <a:lnTo>
                      <a:pt x="95" y="340"/>
                    </a:lnTo>
                    <a:lnTo>
                      <a:pt x="81" y="366"/>
                    </a:lnTo>
                    <a:lnTo>
                      <a:pt x="69" y="394"/>
                    </a:lnTo>
                    <a:lnTo>
                      <a:pt x="59" y="422"/>
                    </a:lnTo>
                    <a:lnTo>
                      <a:pt x="49" y="449"/>
                    </a:lnTo>
                    <a:lnTo>
                      <a:pt x="40" y="478"/>
                    </a:lnTo>
                    <a:lnTo>
                      <a:pt x="34" y="508"/>
                    </a:lnTo>
                    <a:lnTo>
                      <a:pt x="28" y="539"/>
                    </a:lnTo>
                    <a:lnTo>
                      <a:pt x="25" y="569"/>
                    </a:lnTo>
                    <a:lnTo>
                      <a:pt x="22" y="599"/>
                    </a:lnTo>
                    <a:lnTo>
                      <a:pt x="21" y="630"/>
                    </a:lnTo>
                    <a:lnTo>
                      <a:pt x="21" y="630"/>
                    </a:lnTo>
                    <a:lnTo>
                      <a:pt x="22" y="662"/>
                    </a:lnTo>
                    <a:lnTo>
                      <a:pt x="25" y="693"/>
                    </a:lnTo>
                    <a:lnTo>
                      <a:pt x="28" y="723"/>
                    </a:lnTo>
                    <a:lnTo>
                      <a:pt x="34" y="753"/>
                    </a:lnTo>
                    <a:lnTo>
                      <a:pt x="40" y="782"/>
                    </a:lnTo>
                    <a:lnTo>
                      <a:pt x="49" y="812"/>
                    </a:lnTo>
                    <a:lnTo>
                      <a:pt x="59" y="840"/>
                    </a:lnTo>
                    <a:lnTo>
                      <a:pt x="69" y="868"/>
                    </a:lnTo>
                    <a:lnTo>
                      <a:pt x="81" y="895"/>
                    </a:lnTo>
                    <a:lnTo>
                      <a:pt x="95" y="921"/>
                    </a:lnTo>
                    <a:lnTo>
                      <a:pt x="109" y="947"/>
                    </a:lnTo>
                    <a:lnTo>
                      <a:pt x="125" y="971"/>
                    </a:lnTo>
                    <a:lnTo>
                      <a:pt x="143" y="995"/>
                    </a:lnTo>
                    <a:lnTo>
                      <a:pt x="160" y="1019"/>
                    </a:lnTo>
                    <a:lnTo>
                      <a:pt x="179" y="1040"/>
                    </a:lnTo>
                    <a:lnTo>
                      <a:pt x="199" y="1061"/>
                    </a:lnTo>
                    <a:lnTo>
                      <a:pt x="221" y="1081"/>
                    </a:lnTo>
                    <a:lnTo>
                      <a:pt x="243" y="1101"/>
                    </a:lnTo>
                    <a:lnTo>
                      <a:pt x="266" y="1119"/>
                    </a:lnTo>
                    <a:lnTo>
                      <a:pt x="290" y="1137"/>
                    </a:lnTo>
                    <a:lnTo>
                      <a:pt x="315" y="1152"/>
                    </a:lnTo>
                    <a:lnTo>
                      <a:pt x="340" y="1167"/>
                    </a:lnTo>
                    <a:lnTo>
                      <a:pt x="367" y="1181"/>
                    </a:lnTo>
                    <a:lnTo>
                      <a:pt x="394" y="1192"/>
                    </a:lnTo>
                    <a:lnTo>
                      <a:pt x="422" y="1203"/>
                    </a:lnTo>
                    <a:lnTo>
                      <a:pt x="449" y="1213"/>
                    </a:lnTo>
                    <a:lnTo>
                      <a:pt x="478" y="1221"/>
                    </a:lnTo>
                    <a:lnTo>
                      <a:pt x="509" y="1228"/>
                    </a:lnTo>
                    <a:lnTo>
                      <a:pt x="539" y="1233"/>
                    </a:lnTo>
                    <a:lnTo>
                      <a:pt x="569" y="1237"/>
                    </a:lnTo>
                    <a:lnTo>
                      <a:pt x="599" y="1240"/>
                    </a:lnTo>
                    <a:lnTo>
                      <a:pt x="630" y="1241"/>
                    </a:lnTo>
                    <a:lnTo>
                      <a:pt x="630" y="1241"/>
                    </a:lnTo>
                    <a:lnTo>
                      <a:pt x="662" y="1240"/>
                    </a:lnTo>
                    <a:lnTo>
                      <a:pt x="693" y="1237"/>
                    </a:lnTo>
                    <a:lnTo>
                      <a:pt x="723" y="1233"/>
                    </a:lnTo>
                    <a:lnTo>
                      <a:pt x="754" y="1228"/>
                    </a:lnTo>
                    <a:lnTo>
                      <a:pt x="782" y="1221"/>
                    </a:lnTo>
                    <a:lnTo>
                      <a:pt x="811" y="1213"/>
                    </a:lnTo>
                    <a:lnTo>
                      <a:pt x="840" y="1203"/>
                    </a:lnTo>
                    <a:lnTo>
                      <a:pt x="868" y="1192"/>
                    </a:lnTo>
                    <a:lnTo>
                      <a:pt x="894" y="1181"/>
                    </a:lnTo>
                    <a:lnTo>
                      <a:pt x="921" y="1167"/>
                    </a:lnTo>
                    <a:lnTo>
                      <a:pt x="947" y="1152"/>
                    </a:lnTo>
                    <a:lnTo>
                      <a:pt x="971" y="1137"/>
                    </a:lnTo>
                    <a:lnTo>
                      <a:pt x="995" y="1119"/>
                    </a:lnTo>
                    <a:lnTo>
                      <a:pt x="1019" y="1101"/>
                    </a:lnTo>
                    <a:lnTo>
                      <a:pt x="1040" y="1081"/>
                    </a:lnTo>
                    <a:lnTo>
                      <a:pt x="1061" y="1061"/>
                    </a:lnTo>
                    <a:lnTo>
                      <a:pt x="1082" y="1040"/>
                    </a:lnTo>
                    <a:lnTo>
                      <a:pt x="1100" y="1019"/>
                    </a:lnTo>
                    <a:lnTo>
                      <a:pt x="1119" y="995"/>
                    </a:lnTo>
                    <a:lnTo>
                      <a:pt x="1136" y="971"/>
                    </a:lnTo>
                    <a:lnTo>
                      <a:pt x="1152" y="947"/>
                    </a:lnTo>
                    <a:lnTo>
                      <a:pt x="1167" y="921"/>
                    </a:lnTo>
                    <a:lnTo>
                      <a:pt x="1180" y="895"/>
                    </a:lnTo>
                    <a:lnTo>
                      <a:pt x="1192" y="868"/>
                    </a:lnTo>
                    <a:lnTo>
                      <a:pt x="1203" y="840"/>
                    </a:lnTo>
                    <a:lnTo>
                      <a:pt x="1213" y="812"/>
                    </a:lnTo>
                    <a:lnTo>
                      <a:pt x="1221" y="782"/>
                    </a:lnTo>
                    <a:lnTo>
                      <a:pt x="1229" y="753"/>
                    </a:lnTo>
                    <a:lnTo>
                      <a:pt x="1234" y="723"/>
                    </a:lnTo>
                    <a:lnTo>
                      <a:pt x="1237" y="693"/>
                    </a:lnTo>
                    <a:lnTo>
                      <a:pt x="1240" y="662"/>
                    </a:lnTo>
                    <a:lnTo>
                      <a:pt x="1240" y="630"/>
                    </a:lnTo>
                    <a:lnTo>
                      <a:pt x="1240" y="630"/>
                    </a:lnTo>
                    <a:lnTo>
                      <a:pt x="1240" y="599"/>
                    </a:lnTo>
                    <a:lnTo>
                      <a:pt x="1237" y="569"/>
                    </a:lnTo>
                    <a:lnTo>
                      <a:pt x="1234" y="539"/>
                    </a:lnTo>
                    <a:lnTo>
                      <a:pt x="1229" y="508"/>
                    </a:lnTo>
                    <a:lnTo>
                      <a:pt x="1221" y="478"/>
                    </a:lnTo>
                    <a:lnTo>
                      <a:pt x="1213" y="449"/>
                    </a:lnTo>
                    <a:lnTo>
                      <a:pt x="1203" y="422"/>
                    </a:lnTo>
                    <a:lnTo>
                      <a:pt x="1192" y="394"/>
                    </a:lnTo>
                    <a:lnTo>
                      <a:pt x="1180" y="366"/>
                    </a:lnTo>
                    <a:lnTo>
                      <a:pt x="1167" y="340"/>
                    </a:lnTo>
                    <a:lnTo>
                      <a:pt x="1152" y="315"/>
                    </a:lnTo>
                    <a:lnTo>
                      <a:pt x="1136" y="290"/>
                    </a:lnTo>
                    <a:lnTo>
                      <a:pt x="1119" y="266"/>
                    </a:lnTo>
                    <a:lnTo>
                      <a:pt x="1100" y="243"/>
                    </a:lnTo>
                    <a:lnTo>
                      <a:pt x="1082" y="221"/>
                    </a:lnTo>
                    <a:lnTo>
                      <a:pt x="1061" y="201"/>
                    </a:lnTo>
                    <a:lnTo>
                      <a:pt x="1040" y="179"/>
                    </a:lnTo>
                    <a:lnTo>
                      <a:pt x="1019" y="160"/>
                    </a:lnTo>
                    <a:lnTo>
                      <a:pt x="995" y="143"/>
                    </a:lnTo>
                    <a:lnTo>
                      <a:pt x="971" y="125"/>
                    </a:lnTo>
                    <a:lnTo>
                      <a:pt x="947" y="110"/>
                    </a:lnTo>
                    <a:lnTo>
                      <a:pt x="921" y="95"/>
                    </a:lnTo>
                    <a:lnTo>
                      <a:pt x="894" y="81"/>
                    </a:lnTo>
                    <a:lnTo>
                      <a:pt x="868" y="69"/>
                    </a:lnTo>
                    <a:lnTo>
                      <a:pt x="840" y="59"/>
                    </a:lnTo>
                    <a:lnTo>
                      <a:pt x="811" y="49"/>
                    </a:lnTo>
                    <a:lnTo>
                      <a:pt x="782" y="41"/>
                    </a:lnTo>
                    <a:lnTo>
                      <a:pt x="754" y="34"/>
                    </a:lnTo>
                    <a:lnTo>
                      <a:pt x="723" y="28"/>
                    </a:lnTo>
                    <a:lnTo>
                      <a:pt x="693" y="25"/>
                    </a:lnTo>
                    <a:lnTo>
                      <a:pt x="662" y="22"/>
                    </a:lnTo>
                    <a:lnTo>
                      <a:pt x="630" y="21"/>
                    </a:lnTo>
                    <a:lnTo>
                      <a:pt x="630" y="21"/>
                    </a:lnTo>
                    <a:close/>
                  </a:path>
                </a:pathLst>
              </a:custGeom>
              <a:solidFill>
                <a:schemeClr val="tx1"/>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1" name="Freeform 10"/>
              <p:cNvSpPr>
                <a:spLocks noEditPoints="1"/>
              </p:cNvSpPr>
              <p:nvPr/>
            </p:nvSpPr>
            <p:spPr bwMode="auto">
              <a:xfrm>
                <a:off x="7786511" y="2985597"/>
                <a:ext cx="1103588" cy="1101549"/>
              </a:xfrm>
              <a:custGeom>
                <a:avLst/>
                <a:gdLst>
                  <a:gd name="T0" fmla="*/ 459 w 1082"/>
                  <a:gd name="T1" fmla="*/ 1076 h 1082"/>
                  <a:gd name="T2" fmla="*/ 331 w 1082"/>
                  <a:gd name="T3" fmla="*/ 1039 h 1082"/>
                  <a:gd name="T4" fmla="*/ 217 w 1082"/>
                  <a:gd name="T5" fmla="*/ 974 h 1082"/>
                  <a:gd name="T6" fmla="*/ 123 w 1082"/>
                  <a:gd name="T7" fmla="*/ 885 h 1082"/>
                  <a:gd name="T8" fmla="*/ 53 w 1082"/>
                  <a:gd name="T9" fmla="*/ 775 h 1082"/>
                  <a:gd name="T10" fmla="*/ 11 w 1082"/>
                  <a:gd name="T11" fmla="*/ 650 h 1082"/>
                  <a:gd name="T12" fmla="*/ 0 w 1082"/>
                  <a:gd name="T13" fmla="*/ 540 h 1082"/>
                  <a:gd name="T14" fmla="*/ 16 w 1082"/>
                  <a:gd name="T15" fmla="*/ 406 h 1082"/>
                  <a:gd name="T16" fmla="*/ 65 w 1082"/>
                  <a:gd name="T17" fmla="*/ 283 h 1082"/>
                  <a:gd name="T18" fmla="*/ 141 w 1082"/>
                  <a:gd name="T19" fmla="*/ 177 h 1082"/>
                  <a:gd name="T20" fmla="*/ 239 w 1082"/>
                  <a:gd name="T21" fmla="*/ 93 h 1082"/>
                  <a:gd name="T22" fmla="*/ 354 w 1082"/>
                  <a:gd name="T23" fmla="*/ 33 h 1082"/>
                  <a:gd name="T24" fmla="*/ 485 w 1082"/>
                  <a:gd name="T25" fmla="*/ 3 h 1082"/>
                  <a:gd name="T26" fmla="*/ 596 w 1082"/>
                  <a:gd name="T27" fmla="*/ 3 h 1082"/>
                  <a:gd name="T28" fmla="*/ 726 w 1082"/>
                  <a:gd name="T29" fmla="*/ 33 h 1082"/>
                  <a:gd name="T30" fmla="*/ 843 w 1082"/>
                  <a:gd name="T31" fmla="*/ 93 h 1082"/>
                  <a:gd name="T32" fmla="*/ 941 w 1082"/>
                  <a:gd name="T33" fmla="*/ 177 h 1082"/>
                  <a:gd name="T34" fmla="*/ 1017 w 1082"/>
                  <a:gd name="T35" fmla="*/ 283 h 1082"/>
                  <a:gd name="T36" fmla="*/ 1064 w 1082"/>
                  <a:gd name="T37" fmla="*/ 406 h 1082"/>
                  <a:gd name="T38" fmla="*/ 1082 w 1082"/>
                  <a:gd name="T39" fmla="*/ 540 h 1082"/>
                  <a:gd name="T40" fmla="*/ 1071 w 1082"/>
                  <a:gd name="T41" fmla="*/ 650 h 1082"/>
                  <a:gd name="T42" fmla="*/ 1028 w 1082"/>
                  <a:gd name="T43" fmla="*/ 775 h 1082"/>
                  <a:gd name="T44" fmla="*/ 958 w 1082"/>
                  <a:gd name="T45" fmla="*/ 885 h 1082"/>
                  <a:gd name="T46" fmla="*/ 865 w 1082"/>
                  <a:gd name="T47" fmla="*/ 974 h 1082"/>
                  <a:gd name="T48" fmla="*/ 752 w 1082"/>
                  <a:gd name="T49" fmla="*/ 1039 h 1082"/>
                  <a:gd name="T50" fmla="*/ 623 w 1082"/>
                  <a:gd name="T51" fmla="*/ 1076 h 1082"/>
                  <a:gd name="T52" fmla="*/ 540 w 1082"/>
                  <a:gd name="T53" fmla="*/ 21 h 1082"/>
                  <a:gd name="T54" fmla="*/ 436 w 1082"/>
                  <a:gd name="T55" fmla="*/ 31 h 1082"/>
                  <a:gd name="T56" fmla="*/ 315 w 1082"/>
                  <a:gd name="T57" fmla="*/ 73 h 1082"/>
                  <a:gd name="T58" fmla="*/ 210 w 1082"/>
                  <a:gd name="T59" fmla="*/ 140 h 1082"/>
                  <a:gd name="T60" fmla="*/ 124 w 1082"/>
                  <a:gd name="T61" fmla="*/ 230 h 1082"/>
                  <a:gd name="T62" fmla="*/ 62 w 1082"/>
                  <a:gd name="T63" fmla="*/ 339 h 1082"/>
                  <a:gd name="T64" fmla="*/ 26 w 1082"/>
                  <a:gd name="T65" fmla="*/ 462 h 1082"/>
                  <a:gd name="T66" fmla="*/ 21 w 1082"/>
                  <a:gd name="T67" fmla="*/ 568 h 1082"/>
                  <a:gd name="T68" fmla="*/ 44 w 1082"/>
                  <a:gd name="T69" fmla="*/ 695 h 1082"/>
                  <a:gd name="T70" fmla="*/ 97 w 1082"/>
                  <a:gd name="T71" fmla="*/ 810 h 1082"/>
                  <a:gd name="T72" fmla="*/ 173 w 1082"/>
                  <a:gd name="T73" fmla="*/ 908 h 1082"/>
                  <a:gd name="T74" fmla="*/ 271 w 1082"/>
                  <a:gd name="T75" fmla="*/ 985 h 1082"/>
                  <a:gd name="T76" fmla="*/ 386 w 1082"/>
                  <a:gd name="T77" fmla="*/ 1037 h 1082"/>
                  <a:gd name="T78" fmla="*/ 514 w 1082"/>
                  <a:gd name="T79" fmla="*/ 1059 h 1082"/>
                  <a:gd name="T80" fmla="*/ 620 w 1082"/>
                  <a:gd name="T81" fmla="*/ 1054 h 1082"/>
                  <a:gd name="T82" fmla="*/ 743 w 1082"/>
                  <a:gd name="T83" fmla="*/ 1019 h 1082"/>
                  <a:gd name="T84" fmla="*/ 852 w 1082"/>
                  <a:gd name="T85" fmla="*/ 957 h 1082"/>
                  <a:gd name="T86" fmla="*/ 941 w 1082"/>
                  <a:gd name="T87" fmla="*/ 871 h 1082"/>
                  <a:gd name="T88" fmla="*/ 1009 w 1082"/>
                  <a:gd name="T89" fmla="*/ 766 h 1082"/>
                  <a:gd name="T90" fmla="*/ 1049 w 1082"/>
                  <a:gd name="T91" fmla="*/ 646 h 1082"/>
                  <a:gd name="T92" fmla="*/ 1061 w 1082"/>
                  <a:gd name="T93" fmla="*/ 540 h 1082"/>
                  <a:gd name="T94" fmla="*/ 1044 w 1082"/>
                  <a:gd name="T95" fmla="*/ 411 h 1082"/>
                  <a:gd name="T96" fmla="*/ 998 w 1082"/>
                  <a:gd name="T97" fmla="*/ 293 h 1082"/>
                  <a:gd name="T98" fmla="*/ 925 w 1082"/>
                  <a:gd name="T99" fmla="*/ 191 h 1082"/>
                  <a:gd name="T100" fmla="*/ 831 w 1082"/>
                  <a:gd name="T101" fmla="*/ 111 h 1082"/>
                  <a:gd name="T102" fmla="*/ 719 w 1082"/>
                  <a:gd name="T103" fmla="*/ 53 h 1082"/>
                  <a:gd name="T104" fmla="*/ 594 w 1082"/>
                  <a:gd name="T105" fmla="*/ 24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82" h="1082">
                    <a:moveTo>
                      <a:pt x="540" y="1082"/>
                    </a:moveTo>
                    <a:lnTo>
                      <a:pt x="540" y="1082"/>
                    </a:lnTo>
                    <a:lnTo>
                      <a:pt x="513" y="1081"/>
                    </a:lnTo>
                    <a:lnTo>
                      <a:pt x="485" y="1079"/>
                    </a:lnTo>
                    <a:lnTo>
                      <a:pt x="459" y="1076"/>
                    </a:lnTo>
                    <a:lnTo>
                      <a:pt x="432" y="1070"/>
                    </a:lnTo>
                    <a:lnTo>
                      <a:pt x="406" y="1064"/>
                    </a:lnTo>
                    <a:lnTo>
                      <a:pt x="380" y="1057"/>
                    </a:lnTo>
                    <a:lnTo>
                      <a:pt x="354" y="1049"/>
                    </a:lnTo>
                    <a:lnTo>
                      <a:pt x="331" y="1039"/>
                    </a:lnTo>
                    <a:lnTo>
                      <a:pt x="307" y="1028"/>
                    </a:lnTo>
                    <a:lnTo>
                      <a:pt x="283" y="1016"/>
                    </a:lnTo>
                    <a:lnTo>
                      <a:pt x="260" y="1003"/>
                    </a:lnTo>
                    <a:lnTo>
                      <a:pt x="239" y="989"/>
                    </a:lnTo>
                    <a:lnTo>
                      <a:pt x="217" y="974"/>
                    </a:lnTo>
                    <a:lnTo>
                      <a:pt x="197" y="957"/>
                    </a:lnTo>
                    <a:lnTo>
                      <a:pt x="177" y="941"/>
                    </a:lnTo>
                    <a:lnTo>
                      <a:pt x="158" y="923"/>
                    </a:lnTo>
                    <a:lnTo>
                      <a:pt x="141" y="905"/>
                    </a:lnTo>
                    <a:lnTo>
                      <a:pt x="123" y="885"/>
                    </a:lnTo>
                    <a:lnTo>
                      <a:pt x="107" y="864"/>
                    </a:lnTo>
                    <a:lnTo>
                      <a:pt x="92" y="843"/>
                    </a:lnTo>
                    <a:lnTo>
                      <a:pt x="78" y="820"/>
                    </a:lnTo>
                    <a:lnTo>
                      <a:pt x="65" y="798"/>
                    </a:lnTo>
                    <a:lnTo>
                      <a:pt x="53" y="775"/>
                    </a:lnTo>
                    <a:lnTo>
                      <a:pt x="43" y="751"/>
                    </a:lnTo>
                    <a:lnTo>
                      <a:pt x="33" y="726"/>
                    </a:lnTo>
                    <a:lnTo>
                      <a:pt x="24" y="701"/>
                    </a:lnTo>
                    <a:lnTo>
                      <a:pt x="16" y="676"/>
                    </a:lnTo>
                    <a:lnTo>
                      <a:pt x="11" y="650"/>
                    </a:lnTo>
                    <a:lnTo>
                      <a:pt x="6" y="623"/>
                    </a:lnTo>
                    <a:lnTo>
                      <a:pt x="3" y="596"/>
                    </a:lnTo>
                    <a:lnTo>
                      <a:pt x="0" y="569"/>
                    </a:lnTo>
                    <a:lnTo>
                      <a:pt x="0" y="540"/>
                    </a:lnTo>
                    <a:lnTo>
                      <a:pt x="0" y="540"/>
                    </a:lnTo>
                    <a:lnTo>
                      <a:pt x="0" y="513"/>
                    </a:lnTo>
                    <a:lnTo>
                      <a:pt x="3" y="485"/>
                    </a:lnTo>
                    <a:lnTo>
                      <a:pt x="6" y="459"/>
                    </a:lnTo>
                    <a:lnTo>
                      <a:pt x="11" y="432"/>
                    </a:lnTo>
                    <a:lnTo>
                      <a:pt x="16" y="406"/>
                    </a:lnTo>
                    <a:lnTo>
                      <a:pt x="24" y="381"/>
                    </a:lnTo>
                    <a:lnTo>
                      <a:pt x="33" y="356"/>
                    </a:lnTo>
                    <a:lnTo>
                      <a:pt x="43" y="330"/>
                    </a:lnTo>
                    <a:lnTo>
                      <a:pt x="53" y="307"/>
                    </a:lnTo>
                    <a:lnTo>
                      <a:pt x="65" y="283"/>
                    </a:lnTo>
                    <a:lnTo>
                      <a:pt x="78" y="260"/>
                    </a:lnTo>
                    <a:lnTo>
                      <a:pt x="92" y="239"/>
                    </a:lnTo>
                    <a:lnTo>
                      <a:pt x="107" y="217"/>
                    </a:lnTo>
                    <a:lnTo>
                      <a:pt x="123" y="197"/>
                    </a:lnTo>
                    <a:lnTo>
                      <a:pt x="141" y="177"/>
                    </a:lnTo>
                    <a:lnTo>
                      <a:pt x="158" y="158"/>
                    </a:lnTo>
                    <a:lnTo>
                      <a:pt x="177" y="141"/>
                    </a:lnTo>
                    <a:lnTo>
                      <a:pt x="197" y="123"/>
                    </a:lnTo>
                    <a:lnTo>
                      <a:pt x="217" y="108"/>
                    </a:lnTo>
                    <a:lnTo>
                      <a:pt x="239" y="93"/>
                    </a:lnTo>
                    <a:lnTo>
                      <a:pt x="260" y="78"/>
                    </a:lnTo>
                    <a:lnTo>
                      <a:pt x="283" y="65"/>
                    </a:lnTo>
                    <a:lnTo>
                      <a:pt x="307" y="53"/>
                    </a:lnTo>
                    <a:lnTo>
                      <a:pt x="331" y="43"/>
                    </a:lnTo>
                    <a:lnTo>
                      <a:pt x="354" y="33"/>
                    </a:lnTo>
                    <a:lnTo>
                      <a:pt x="380" y="24"/>
                    </a:lnTo>
                    <a:lnTo>
                      <a:pt x="406" y="18"/>
                    </a:lnTo>
                    <a:lnTo>
                      <a:pt x="432" y="11"/>
                    </a:lnTo>
                    <a:lnTo>
                      <a:pt x="459" y="6"/>
                    </a:lnTo>
                    <a:lnTo>
                      <a:pt x="485" y="3"/>
                    </a:lnTo>
                    <a:lnTo>
                      <a:pt x="513" y="1"/>
                    </a:lnTo>
                    <a:lnTo>
                      <a:pt x="540" y="0"/>
                    </a:lnTo>
                    <a:lnTo>
                      <a:pt x="540" y="0"/>
                    </a:lnTo>
                    <a:lnTo>
                      <a:pt x="568" y="1"/>
                    </a:lnTo>
                    <a:lnTo>
                      <a:pt x="596" y="3"/>
                    </a:lnTo>
                    <a:lnTo>
                      <a:pt x="623" y="6"/>
                    </a:lnTo>
                    <a:lnTo>
                      <a:pt x="650" y="11"/>
                    </a:lnTo>
                    <a:lnTo>
                      <a:pt x="676" y="18"/>
                    </a:lnTo>
                    <a:lnTo>
                      <a:pt x="701" y="24"/>
                    </a:lnTo>
                    <a:lnTo>
                      <a:pt x="726" y="33"/>
                    </a:lnTo>
                    <a:lnTo>
                      <a:pt x="752" y="43"/>
                    </a:lnTo>
                    <a:lnTo>
                      <a:pt x="775" y="53"/>
                    </a:lnTo>
                    <a:lnTo>
                      <a:pt x="798" y="65"/>
                    </a:lnTo>
                    <a:lnTo>
                      <a:pt x="821" y="78"/>
                    </a:lnTo>
                    <a:lnTo>
                      <a:pt x="843" y="93"/>
                    </a:lnTo>
                    <a:lnTo>
                      <a:pt x="865" y="108"/>
                    </a:lnTo>
                    <a:lnTo>
                      <a:pt x="885" y="123"/>
                    </a:lnTo>
                    <a:lnTo>
                      <a:pt x="905" y="141"/>
                    </a:lnTo>
                    <a:lnTo>
                      <a:pt x="924" y="158"/>
                    </a:lnTo>
                    <a:lnTo>
                      <a:pt x="941" y="177"/>
                    </a:lnTo>
                    <a:lnTo>
                      <a:pt x="958" y="197"/>
                    </a:lnTo>
                    <a:lnTo>
                      <a:pt x="974" y="217"/>
                    </a:lnTo>
                    <a:lnTo>
                      <a:pt x="989" y="239"/>
                    </a:lnTo>
                    <a:lnTo>
                      <a:pt x="1003" y="260"/>
                    </a:lnTo>
                    <a:lnTo>
                      <a:pt x="1017" y="283"/>
                    </a:lnTo>
                    <a:lnTo>
                      <a:pt x="1028" y="307"/>
                    </a:lnTo>
                    <a:lnTo>
                      <a:pt x="1039" y="330"/>
                    </a:lnTo>
                    <a:lnTo>
                      <a:pt x="1049" y="356"/>
                    </a:lnTo>
                    <a:lnTo>
                      <a:pt x="1057" y="381"/>
                    </a:lnTo>
                    <a:lnTo>
                      <a:pt x="1064" y="406"/>
                    </a:lnTo>
                    <a:lnTo>
                      <a:pt x="1071" y="432"/>
                    </a:lnTo>
                    <a:lnTo>
                      <a:pt x="1076" y="459"/>
                    </a:lnTo>
                    <a:lnTo>
                      <a:pt x="1078" y="485"/>
                    </a:lnTo>
                    <a:lnTo>
                      <a:pt x="1081" y="513"/>
                    </a:lnTo>
                    <a:lnTo>
                      <a:pt x="1082" y="540"/>
                    </a:lnTo>
                    <a:lnTo>
                      <a:pt x="1082" y="540"/>
                    </a:lnTo>
                    <a:lnTo>
                      <a:pt x="1081" y="569"/>
                    </a:lnTo>
                    <a:lnTo>
                      <a:pt x="1078" y="596"/>
                    </a:lnTo>
                    <a:lnTo>
                      <a:pt x="1076" y="623"/>
                    </a:lnTo>
                    <a:lnTo>
                      <a:pt x="1071" y="650"/>
                    </a:lnTo>
                    <a:lnTo>
                      <a:pt x="1064" y="676"/>
                    </a:lnTo>
                    <a:lnTo>
                      <a:pt x="1057" y="701"/>
                    </a:lnTo>
                    <a:lnTo>
                      <a:pt x="1049" y="726"/>
                    </a:lnTo>
                    <a:lnTo>
                      <a:pt x="1039" y="751"/>
                    </a:lnTo>
                    <a:lnTo>
                      <a:pt x="1028" y="775"/>
                    </a:lnTo>
                    <a:lnTo>
                      <a:pt x="1017" y="798"/>
                    </a:lnTo>
                    <a:lnTo>
                      <a:pt x="1003" y="820"/>
                    </a:lnTo>
                    <a:lnTo>
                      <a:pt x="989" y="843"/>
                    </a:lnTo>
                    <a:lnTo>
                      <a:pt x="974" y="864"/>
                    </a:lnTo>
                    <a:lnTo>
                      <a:pt x="958" y="885"/>
                    </a:lnTo>
                    <a:lnTo>
                      <a:pt x="941" y="905"/>
                    </a:lnTo>
                    <a:lnTo>
                      <a:pt x="924" y="923"/>
                    </a:lnTo>
                    <a:lnTo>
                      <a:pt x="905" y="941"/>
                    </a:lnTo>
                    <a:lnTo>
                      <a:pt x="885" y="957"/>
                    </a:lnTo>
                    <a:lnTo>
                      <a:pt x="865" y="974"/>
                    </a:lnTo>
                    <a:lnTo>
                      <a:pt x="843" y="989"/>
                    </a:lnTo>
                    <a:lnTo>
                      <a:pt x="821" y="1003"/>
                    </a:lnTo>
                    <a:lnTo>
                      <a:pt x="798" y="1016"/>
                    </a:lnTo>
                    <a:lnTo>
                      <a:pt x="775" y="1028"/>
                    </a:lnTo>
                    <a:lnTo>
                      <a:pt x="752" y="1039"/>
                    </a:lnTo>
                    <a:lnTo>
                      <a:pt x="726" y="1049"/>
                    </a:lnTo>
                    <a:lnTo>
                      <a:pt x="701" y="1057"/>
                    </a:lnTo>
                    <a:lnTo>
                      <a:pt x="676" y="1064"/>
                    </a:lnTo>
                    <a:lnTo>
                      <a:pt x="650" y="1070"/>
                    </a:lnTo>
                    <a:lnTo>
                      <a:pt x="623" y="1076"/>
                    </a:lnTo>
                    <a:lnTo>
                      <a:pt x="596" y="1079"/>
                    </a:lnTo>
                    <a:lnTo>
                      <a:pt x="568" y="1081"/>
                    </a:lnTo>
                    <a:lnTo>
                      <a:pt x="540" y="1082"/>
                    </a:lnTo>
                    <a:lnTo>
                      <a:pt x="540" y="1082"/>
                    </a:lnTo>
                    <a:close/>
                    <a:moveTo>
                      <a:pt x="540" y="21"/>
                    </a:moveTo>
                    <a:lnTo>
                      <a:pt x="540" y="21"/>
                    </a:lnTo>
                    <a:lnTo>
                      <a:pt x="514" y="21"/>
                    </a:lnTo>
                    <a:lnTo>
                      <a:pt x="488" y="24"/>
                    </a:lnTo>
                    <a:lnTo>
                      <a:pt x="461" y="28"/>
                    </a:lnTo>
                    <a:lnTo>
                      <a:pt x="436" y="31"/>
                    </a:lnTo>
                    <a:lnTo>
                      <a:pt x="411" y="38"/>
                    </a:lnTo>
                    <a:lnTo>
                      <a:pt x="386" y="44"/>
                    </a:lnTo>
                    <a:lnTo>
                      <a:pt x="362" y="53"/>
                    </a:lnTo>
                    <a:lnTo>
                      <a:pt x="338" y="62"/>
                    </a:lnTo>
                    <a:lnTo>
                      <a:pt x="315" y="73"/>
                    </a:lnTo>
                    <a:lnTo>
                      <a:pt x="293" y="84"/>
                    </a:lnTo>
                    <a:lnTo>
                      <a:pt x="271" y="97"/>
                    </a:lnTo>
                    <a:lnTo>
                      <a:pt x="250" y="111"/>
                    </a:lnTo>
                    <a:lnTo>
                      <a:pt x="230" y="124"/>
                    </a:lnTo>
                    <a:lnTo>
                      <a:pt x="210" y="140"/>
                    </a:lnTo>
                    <a:lnTo>
                      <a:pt x="191" y="156"/>
                    </a:lnTo>
                    <a:lnTo>
                      <a:pt x="173" y="173"/>
                    </a:lnTo>
                    <a:lnTo>
                      <a:pt x="156" y="191"/>
                    </a:lnTo>
                    <a:lnTo>
                      <a:pt x="140" y="210"/>
                    </a:lnTo>
                    <a:lnTo>
                      <a:pt x="124" y="230"/>
                    </a:lnTo>
                    <a:lnTo>
                      <a:pt x="109" y="250"/>
                    </a:lnTo>
                    <a:lnTo>
                      <a:pt x="97" y="271"/>
                    </a:lnTo>
                    <a:lnTo>
                      <a:pt x="84" y="293"/>
                    </a:lnTo>
                    <a:lnTo>
                      <a:pt x="73" y="315"/>
                    </a:lnTo>
                    <a:lnTo>
                      <a:pt x="62" y="339"/>
                    </a:lnTo>
                    <a:lnTo>
                      <a:pt x="53" y="362"/>
                    </a:lnTo>
                    <a:lnTo>
                      <a:pt x="44" y="387"/>
                    </a:lnTo>
                    <a:lnTo>
                      <a:pt x="38" y="411"/>
                    </a:lnTo>
                    <a:lnTo>
                      <a:pt x="31" y="436"/>
                    </a:lnTo>
                    <a:lnTo>
                      <a:pt x="26" y="462"/>
                    </a:lnTo>
                    <a:lnTo>
                      <a:pt x="24" y="488"/>
                    </a:lnTo>
                    <a:lnTo>
                      <a:pt x="21" y="514"/>
                    </a:lnTo>
                    <a:lnTo>
                      <a:pt x="21" y="540"/>
                    </a:lnTo>
                    <a:lnTo>
                      <a:pt x="21" y="540"/>
                    </a:lnTo>
                    <a:lnTo>
                      <a:pt x="21" y="568"/>
                    </a:lnTo>
                    <a:lnTo>
                      <a:pt x="24" y="594"/>
                    </a:lnTo>
                    <a:lnTo>
                      <a:pt x="26" y="619"/>
                    </a:lnTo>
                    <a:lnTo>
                      <a:pt x="31" y="646"/>
                    </a:lnTo>
                    <a:lnTo>
                      <a:pt x="38" y="671"/>
                    </a:lnTo>
                    <a:lnTo>
                      <a:pt x="44" y="695"/>
                    </a:lnTo>
                    <a:lnTo>
                      <a:pt x="53" y="719"/>
                    </a:lnTo>
                    <a:lnTo>
                      <a:pt x="62" y="743"/>
                    </a:lnTo>
                    <a:lnTo>
                      <a:pt x="73" y="766"/>
                    </a:lnTo>
                    <a:lnTo>
                      <a:pt x="84" y="788"/>
                    </a:lnTo>
                    <a:lnTo>
                      <a:pt x="97" y="810"/>
                    </a:lnTo>
                    <a:lnTo>
                      <a:pt x="109" y="831"/>
                    </a:lnTo>
                    <a:lnTo>
                      <a:pt x="124" y="852"/>
                    </a:lnTo>
                    <a:lnTo>
                      <a:pt x="140" y="871"/>
                    </a:lnTo>
                    <a:lnTo>
                      <a:pt x="156" y="890"/>
                    </a:lnTo>
                    <a:lnTo>
                      <a:pt x="173" y="908"/>
                    </a:lnTo>
                    <a:lnTo>
                      <a:pt x="191" y="925"/>
                    </a:lnTo>
                    <a:lnTo>
                      <a:pt x="210" y="941"/>
                    </a:lnTo>
                    <a:lnTo>
                      <a:pt x="230" y="957"/>
                    </a:lnTo>
                    <a:lnTo>
                      <a:pt x="250" y="971"/>
                    </a:lnTo>
                    <a:lnTo>
                      <a:pt x="271" y="985"/>
                    </a:lnTo>
                    <a:lnTo>
                      <a:pt x="293" y="998"/>
                    </a:lnTo>
                    <a:lnTo>
                      <a:pt x="315" y="1009"/>
                    </a:lnTo>
                    <a:lnTo>
                      <a:pt x="338" y="1019"/>
                    </a:lnTo>
                    <a:lnTo>
                      <a:pt x="362" y="1029"/>
                    </a:lnTo>
                    <a:lnTo>
                      <a:pt x="386" y="1037"/>
                    </a:lnTo>
                    <a:lnTo>
                      <a:pt x="411" y="1044"/>
                    </a:lnTo>
                    <a:lnTo>
                      <a:pt x="436" y="1050"/>
                    </a:lnTo>
                    <a:lnTo>
                      <a:pt x="461" y="1054"/>
                    </a:lnTo>
                    <a:lnTo>
                      <a:pt x="488" y="1058"/>
                    </a:lnTo>
                    <a:lnTo>
                      <a:pt x="514" y="1059"/>
                    </a:lnTo>
                    <a:lnTo>
                      <a:pt x="540" y="1060"/>
                    </a:lnTo>
                    <a:lnTo>
                      <a:pt x="540" y="1060"/>
                    </a:lnTo>
                    <a:lnTo>
                      <a:pt x="568" y="1059"/>
                    </a:lnTo>
                    <a:lnTo>
                      <a:pt x="594" y="1058"/>
                    </a:lnTo>
                    <a:lnTo>
                      <a:pt x="620" y="1054"/>
                    </a:lnTo>
                    <a:lnTo>
                      <a:pt x="646" y="1050"/>
                    </a:lnTo>
                    <a:lnTo>
                      <a:pt x="671" y="1044"/>
                    </a:lnTo>
                    <a:lnTo>
                      <a:pt x="695" y="1037"/>
                    </a:lnTo>
                    <a:lnTo>
                      <a:pt x="719" y="1029"/>
                    </a:lnTo>
                    <a:lnTo>
                      <a:pt x="743" y="1019"/>
                    </a:lnTo>
                    <a:lnTo>
                      <a:pt x="765" y="1009"/>
                    </a:lnTo>
                    <a:lnTo>
                      <a:pt x="788" y="998"/>
                    </a:lnTo>
                    <a:lnTo>
                      <a:pt x="811" y="985"/>
                    </a:lnTo>
                    <a:lnTo>
                      <a:pt x="831" y="971"/>
                    </a:lnTo>
                    <a:lnTo>
                      <a:pt x="852" y="957"/>
                    </a:lnTo>
                    <a:lnTo>
                      <a:pt x="871" y="941"/>
                    </a:lnTo>
                    <a:lnTo>
                      <a:pt x="890" y="925"/>
                    </a:lnTo>
                    <a:lnTo>
                      <a:pt x="909" y="908"/>
                    </a:lnTo>
                    <a:lnTo>
                      <a:pt x="925" y="890"/>
                    </a:lnTo>
                    <a:lnTo>
                      <a:pt x="941" y="871"/>
                    </a:lnTo>
                    <a:lnTo>
                      <a:pt x="958" y="852"/>
                    </a:lnTo>
                    <a:lnTo>
                      <a:pt x="971" y="831"/>
                    </a:lnTo>
                    <a:lnTo>
                      <a:pt x="985" y="810"/>
                    </a:lnTo>
                    <a:lnTo>
                      <a:pt x="998" y="788"/>
                    </a:lnTo>
                    <a:lnTo>
                      <a:pt x="1009" y="766"/>
                    </a:lnTo>
                    <a:lnTo>
                      <a:pt x="1019" y="743"/>
                    </a:lnTo>
                    <a:lnTo>
                      <a:pt x="1029" y="719"/>
                    </a:lnTo>
                    <a:lnTo>
                      <a:pt x="1037" y="695"/>
                    </a:lnTo>
                    <a:lnTo>
                      <a:pt x="1044" y="671"/>
                    </a:lnTo>
                    <a:lnTo>
                      <a:pt x="1049" y="646"/>
                    </a:lnTo>
                    <a:lnTo>
                      <a:pt x="1054" y="619"/>
                    </a:lnTo>
                    <a:lnTo>
                      <a:pt x="1058" y="594"/>
                    </a:lnTo>
                    <a:lnTo>
                      <a:pt x="1059" y="568"/>
                    </a:lnTo>
                    <a:lnTo>
                      <a:pt x="1061" y="540"/>
                    </a:lnTo>
                    <a:lnTo>
                      <a:pt x="1061" y="540"/>
                    </a:lnTo>
                    <a:lnTo>
                      <a:pt x="1059" y="514"/>
                    </a:lnTo>
                    <a:lnTo>
                      <a:pt x="1058" y="488"/>
                    </a:lnTo>
                    <a:lnTo>
                      <a:pt x="1054" y="462"/>
                    </a:lnTo>
                    <a:lnTo>
                      <a:pt x="1049" y="436"/>
                    </a:lnTo>
                    <a:lnTo>
                      <a:pt x="1044" y="411"/>
                    </a:lnTo>
                    <a:lnTo>
                      <a:pt x="1037" y="387"/>
                    </a:lnTo>
                    <a:lnTo>
                      <a:pt x="1029" y="362"/>
                    </a:lnTo>
                    <a:lnTo>
                      <a:pt x="1019" y="339"/>
                    </a:lnTo>
                    <a:lnTo>
                      <a:pt x="1009" y="315"/>
                    </a:lnTo>
                    <a:lnTo>
                      <a:pt x="998" y="293"/>
                    </a:lnTo>
                    <a:lnTo>
                      <a:pt x="985" y="271"/>
                    </a:lnTo>
                    <a:lnTo>
                      <a:pt x="971" y="250"/>
                    </a:lnTo>
                    <a:lnTo>
                      <a:pt x="958" y="230"/>
                    </a:lnTo>
                    <a:lnTo>
                      <a:pt x="941" y="210"/>
                    </a:lnTo>
                    <a:lnTo>
                      <a:pt x="925" y="191"/>
                    </a:lnTo>
                    <a:lnTo>
                      <a:pt x="909" y="173"/>
                    </a:lnTo>
                    <a:lnTo>
                      <a:pt x="890" y="156"/>
                    </a:lnTo>
                    <a:lnTo>
                      <a:pt x="871" y="140"/>
                    </a:lnTo>
                    <a:lnTo>
                      <a:pt x="852" y="124"/>
                    </a:lnTo>
                    <a:lnTo>
                      <a:pt x="831" y="111"/>
                    </a:lnTo>
                    <a:lnTo>
                      <a:pt x="811" y="97"/>
                    </a:lnTo>
                    <a:lnTo>
                      <a:pt x="788" y="84"/>
                    </a:lnTo>
                    <a:lnTo>
                      <a:pt x="765" y="73"/>
                    </a:lnTo>
                    <a:lnTo>
                      <a:pt x="743" y="62"/>
                    </a:lnTo>
                    <a:lnTo>
                      <a:pt x="719" y="53"/>
                    </a:lnTo>
                    <a:lnTo>
                      <a:pt x="695" y="44"/>
                    </a:lnTo>
                    <a:lnTo>
                      <a:pt x="671" y="38"/>
                    </a:lnTo>
                    <a:lnTo>
                      <a:pt x="646" y="31"/>
                    </a:lnTo>
                    <a:lnTo>
                      <a:pt x="620" y="28"/>
                    </a:lnTo>
                    <a:lnTo>
                      <a:pt x="594" y="24"/>
                    </a:lnTo>
                    <a:lnTo>
                      <a:pt x="568" y="21"/>
                    </a:lnTo>
                    <a:lnTo>
                      <a:pt x="540" y="21"/>
                    </a:lnTo>
                    <a:lnTo>
                      <a:pt x="540" y="21"/>
                    </a:lnTo>
                    <a:close/>
                  </a:path>
                </a:pathLst>
              </a:custGeom>
              <a:solidFill>
                <a:schemeClr val="tx1"/>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2" name="Freeform 11"/>
              <p:cNvSpPr>
                <a:spLocks noEditPoints="1"/>
              </p:cNvSpPr>
              <p:nvPr/>
            </p:nvSpPr>
            <p:spPr bwMode="auto">
              <a:xfrm>
                <a:off x="8247528" y="3444577"/>
                <a:ext cx="181553" cy="183593"/>
              </a:xfrm>
              <a:custGeom>
                <a:avLst/>
                <a:gdLst>
                  <a:gd name="T0" fmla="*/ 89 w 180"/>
                  <a:gd name="T1" fmla="*/ 180 h 180"/>
                  <a:gd name="T2" fmla="*/ 72 w 180"/>
                  <a:gd name="T3" fmla="*/ 178 h 180"/>
                  <a:gd name="T4" fmla="*/ 54 w 180"/>
                  <a:gd name="T5" fmla="*/ 172 h 180"/>
                  <a:gd name="T6" fmla="*/ 39 w 180"/>
                  <a:gd name="T7" fmla="*/ 165 h 180"/>
                  <a:gd name="T8" fmla="*/ 27 w 180"/>
                  <a:gd name="T9" fmla="*/ 153 h 180"/>
                  <a:gd name="T10" fmla="*/ 15 w 180"/>
                  <a:gd name="T11" fmla="*/ 140 h 180"/>
                  <a:gd name="T12" fmla="*/ 6 w 180"/>
                  <a:gd name="T13" fmla="*/ 124 h 180"/>
                  <a:gd name="T14" fmla="*/ 1 w 180"/>
                  <a:gd name="T15" fmla="*/ 108 h 180"/>
                  <a:gd name="T16" fmla="*/ 0 w 180"/>
                  <a:gd name="T17" fmla="*/ 89 h 180"/>
                  <a:gd name="T18" fmla="*/ 0 w 180"/>
                  <a:gd name="T19" fmla="*/ 81 h 180"/>
                  <a:gd name="T20" fmla="*/ 4 w 180"/>
                  <a:gd name="T21" fmla="*/ 63 h 180"/>
                  <a:gd name="T22" fmla="*/ 10 w 180"/>
                  <a:gd name="T23" fmla="*/ 47 h 180"/>
                  <a:gd name="T24" fmla="*/ 20 w 180"/>
                  <a:gd name="T25" fmla="*/ 33 h 180"/>
                  <a:gd name="T26" fmla="*/ 33 w 180"/>
                  <a:gd name="T27" fmla="*/ 20 h 180"/>
                  <a:gd name="T28" fmla="*/ 47 w 180"/>
                  <a:gd name="T29" fmla="*/ 10 h 180"/>
                  <a:gd name="T30" fmla="*/ 63 w 180"/>
                  <a:gd name="T31" fmla="*/ 4 h 180"/>
                  <a:gd name="T32" fmla="*/ 81 w 180"/>
                  <a:gd name="T33" fmla="*/ 0 h 180"/>
                  <a:gd name="T34" fmla="*/ 89 w 180"/>
                  <a:gd name="T35" fmla="*/ 0 h 180"/>
                  <a:gd name="T36" fmla="*/ 108 w 180"/>
                  <a:gd name="T37" fmla="*/ 1 h 180"/>
                  <a:gd name="T38" fmla="*/ 125 w 180"/>
                  <a:gd name="T39" fmla="*/ 6 h 180"/>
                  <a:gd name="T40" fmla="*/ 140 w 180"/>
                  <a:gd name="T41" fmla="*/ 15 h 180"/>
                  <a:gd name="T42" fmla="*/ 153 w 180"/>
                  <a:gd name="T43" fmla="*/ 26 h 180"/>
                  <a:gd name="T44" fmla="*/ 165 w 180"/>
                  <a:gd name="T45" fmla="*/ 39 h 180"/>
                  <a:gd name="T46" fmla="*/ 172 w 180"/>
                  <a:gd name="T47" fmla="*/ 55 h 180"/>
                  <a:gd name="T48" fmla="*/ 179 w 180"/>
                  <a:gd name="T49" fmla="*/ 72 h 180"/>
                  <a:gd name="T50" fmla="*/ 180 w 180"/>
                  <a:gd name="T51" fmla="*/ 89 h 180"/>
                  <a:gd name="T52" fmla="*/ 180 w 180"/>
                  <a:gd name="T53" fmla="*/ 99 h 180"/>
                  <a:gd name="T54" fmla="*/ 176 w 180"/>
                  <a:gd name="T55" fmla="*/ 117 h 180"/>
                  <a:gd name="T56" fmla="*/ 169 w 180"/>
                  <a:gd name="T57" fmla="*/ 133 h 180"/>
                  <a:gd name="T58" fmla="*/ 160 w 180"/>
                  <a:gd name="T59" fmla="*/ 147 h 180"/>
                  <a:gd name="T60" fmla="*/ 147 w 180"/>
                  <a:gd name="T61" fmla="*/ 160 h 180"/>
                  <a:gd name="T62" fmla="*/ 132 w 180"/>
                  <a:gd name="T63" fmla="*/ 168 h 180"/>
                  <a:gd name="T64" fmla="*/ 117 w 180"/>
                  <a:gd name="T65" fmla="*/ 176 h 180"/>
                  <a:gd name="T66" fmla="*/ 99 w 180"/>
                  <a:gd name="T67" fmla="*/ 180 h 180"/>
                  <a:gd name="T68" fmla="*/ 89 w 180"/>
                  <a:gd name="T69" fmla="*/ 180 h 180"/>
                  <a:gd name="T70" fmla="*/ 89 w 180"/>
                  <a:gd name="T71" fmla="*/ 21 h 180"/>
                  <a:gd name="T72" fmla="*/ 63 w 180"/>
                  <a:gd name="T73" fmla="*/ 26 h 180"/>
                  <a:gd name="T74" fmla="*/ 42 w 180"/>
                  <a:gd name="T75" fmla="*/ 42 h 180"/>
                  <a:gd name="T76" fmla="*/ 27 w 180"/>
                  <a:gd name="T77" fmla="*/ 63 h 180"/>
                  <a:gd name="T78" fmla="*/ 20 w 180"/>
                  <a:gd name="T79" fmla="*/ 89 h 180"/>
                  <a:gd name="T80" fmla="*/ 23 w 180"/>
                  <a:gd name="T81" fmla="*/ 103 h 180"/>
                  <a:gd name="T82" fmla="*/ 33 w 180"/>
                  <a:gd name="T83" fmla="*/ 128 h 180"/>
                  <a:gd name="T84" fmla="*/ 52 w 180"/>
                  <a:gd name="T85" fmla="*/ 147 h 180"/>
                  <a:gd name="T86" fmla="*/ 76 w 180"/>
                  <a:gd name="T87" fmla="*/ 157 h 180"/>
                  <a:gd name="T88" fmla="*/ 89 w 180"/>
                  <a:gd name="T89" fmla="*/ 158 h 180"/>
                  <a:gd name="T90" fmla="*/ 117 w 180"/>
                  <a:gd name="T91" fmla="*/ 153 h 180"/>
                  <a:gd name="T92" fmla="*/ 138 w 180"/>
                  <a:gd name="T93" fmla="*/ 138 h 180"/>
                  <a:gd name="T94" fmla="*/ 153 w 180"/>
                  <a:gd name="T95" fmla="*/ 117 h 180"/>
                  <a:gd name="T96" fmla="*/ 159 w 180"/>
                  <a:gd name="T97" fmla="*/ 89 h 180"/>
                  <a:gd name="T98" fmla="*/ 157 w 180"/>
                  <a:gd name="T99" fmla="*/ 75 h 180"/>
                  <a:gd name="T100" fmla="*/ 147 w 180"/>
                  <a:gd name="T101" fmla="*/ 52 h 180"/>
                  <a:gd name="T102" fmla="*/ 128 w 180"/>
                  <a:gd name="T103" fmla="*/ 33 h 180"/>
                  <a:gd name="T104" fmla="*/ 103 w 180"/>
                  <a:gd name="T105" fmla="*/ 23 h 180"/>
                  <a:gd name="T106" fmla="*/ 89 w 180"/>
                  <a:gd name="T107" fmla="*/ 2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0" h="180">
                    <a:moveTo>
                      <a:pt x="89" y="180"/>
                    </a:moveTo>
                    <a:lnTo>
                      <a:pt x="89" y="180"/>
                    </a:lnTo>
                    <a:lnTo>
                      <a:pt x="81" y="180"/>
                    </a:lnTo>
                    <a:lnTo>
                      <a:pt x="72" y="178"/>
                    </a:lnTo>
                    <a:lnTo>
                      <a:pt x="63" y="176"/>
                    </a:lnTo>
                    <a:lnTo>
                      <a:pt x="54" y="172"/>
                    </a:lnTo>
                    <a:lnTo>
                      <a:pt x="47" y="168"/>
                    </a:lnTo>
                    <a:lnTo>
                      <a:pt x="39" y="165"/>
                    </a:lnTo>
                    <a:lnTo>
                      <a:pt x="33" y="160"/>
                    </a:lnTo>
                    <a:lnTo>
                      <a:pt x="27" y="153"/>
                    </a:lnTo>
                    <a:lnTo>
                      <a:pt x="20" y="147"/>
                    </a:lnTo>
                    <a:lnTo>
                      <a:pt x="15" y="140"/>
                    </a:lnTo>
                    <a:lnTo>
                      <a:pt x="10" y="133"/>
                    </a:lnTo>
                    <a:lnTo>
                      <a:pt x="6" y="124"/>
                    </a:lnTo>
                    <a:lnTo>
                      <a:pt x="4" y="117"/>
                    </a:lnTo>
                    <a:lnTo>
                      <a:pt x="1" y="108"/>
                    </a:lnTo>
                    <a:lnTo>
                      <a:pt x="0" y="99"/>
                    </a:lnTo>
                    <a:lnTo>
                      <a:pt x="0" y="89"/>
                    </a:lnTo>
                    <a:lnTo>
                      <a:pt x="0" y="89"/>
                    </a:lnTo>
                    <a:lnTo>
                      <a:pt x="0" y="81"/>
                    </a:lnTo>
                    <a:lnTo>
                      <a:pt x="1" y="72"/>
                    </a:lnTo>
                    <a:lnTo>
                      <a:pt x="4" y="63"/>
                    </a:lnTo>
                    <a:lnTo>
                      <a:pt x="6" y="55"/>
                    </a:lnTo>
                    <a:lnTo>
                      <a:pt x="10" y="47"/>
                    </a:lnTo>
                    <a:lnTo>
                      <a:pt x="15" y="39"/>
                    </a:lnTo>
                    <a:lnTo>
                      <a:pt x="20" y="33"/>
                    </a:lnTo>
                    <a:lnTo>
                      <a:pt x="27" y="26"/>
                    </a:lnTo>
                    <a:lnTo>
                      <a:pt x="33" y="20"/>
                    </a:lnTo>
                    <a:lnTo>
                      <a:pt x="39" y="15"/>
                    </a:lnTo>
                    <a:lnTo>
                      <a:pt x="47" y="10"/>
                    </a:lnTo>
                    <a:lnTo>
                      <a:pt x="54" y="6"/>
                    </a:lnTo>
                    <a:lnTo>
                      <a:pt x="63" y="4"/>
                    </a:lnTo>
                    <a:lnTo>
                      <a:pt x="72" y="1"/>
                    </a:lnTo>
                    <a:lnTo>
                      <a:pt x="81" y="0"/>
                    </a:lnTo>
                    <a:lnTo>
                      <a:pt x="89" y="0"/>
                    </a:lnTo>
                    <a:lnTo>
                      <a:pt x="89" y="0"/>
                    </a:lnTo>
                    <a:lnTo>
                      <a:pt x="99" y="0"/>
                    </a:lnTo>
                    <a:lnTo>
                      <a:pt x="108" y="1"/>
                    </a:lnTo>
                    <a:lnTo>
                      <a:pt x="117" y="4"/>
                    </a:lnTo>
                    <a:lnTo>
                      <a:pt x="125" y="6"/>
                    </a:lnTo>
                    <a:lnTo>
                      <a:pt x="132" y="10"/>
                    </a:lnTo>
                    <a:lnTo>
                      <a:pt x="140" y="15"/>
                    </a:lnTo>
                    <a:lnTo>
                      <a:pt x="147" y="20"/>
                    </a:lnTo>
                    <a:lnTo>
                      <a:pt x="153" y="26"/>
                    </a:lnTo>
                    <a:lnTo>
                      <a:pt x="160" y="33"/>
                    </a:lnTo>
                    <a:lnTo>
                      <a:pt x="165" y="39"/>
                    </a:lnTo>
                    <a:lnTo>
                      <a:pt x="169" y="47"/>
                    </a:lnTo>
                    <a:lnTo>
                      <a:pt x="172" y="55"/>
                    </a:lnTo>
                    <a:lnTo>
                      <a:pt x="176" y="63"/>
                    </a:lnTo>
                    <a:lnTo>
                      <a:pt x="179" y="72"/>
                    </a:lnTo>
                    <a:lnTo>
                      <a:pt x="180" y="81"/>
                    </a:lnTo>
                    <a:lnTo>
                      <a:pt x="180" y="89"/>
                    </a:lnTo>
                    <a:lnTo>
                      <a:pt x="180" y="89"/>
                    </a:lnTo>
                    <a:lnTo>
                      <a:pt x="180" y="99"/>
                    </a:lnTo>
                    <a:lnTo>
                      <a:pt x="179" y="108"/>
                    </a:lnTo>
                    <a:lnTo>
                      <a:pt x="176" y="117"/>
                    </a:lnTo>
                    <a:lnTo>
                      <a:pt x="172" y="124"/>
                    </a:lnTo>
                    <a:lnTo>
                      <a:pt x="169" y="133"/>
                    </a:lnTo>
                    <a:lnTo>
                      <a:pt x="165" y="140"/>
                    </a:lnTo>
                    <a:lnTo>
                      <a:pt x="160" y="147"/>
                    </a:lnTo>
                    <a:lnTo>
                      <a:pt x="153" y="153"/>
                    </a:lnTo>
                    <a:lnTo>
                      <a:pt x="147" y="160"/>
                    </a:lnTo>
                    <a:lnTo>
                      <a:pt x="140" y="165"/>
                    </a:lnTo>
                    <a:lnTo>
                      <a:pt x="132" y="168"/>
                    </a:lnTo>
                    <a:lnTo>
                      <a:pt x="125" y="172"/>
                    </a:lnTo>
                    <a:lnTo>
                      <a:pt x="117" y="176"/>
                    </a:lnTo>
                    <a:lnTo>
                      <a:pt x="108" y="178"/>
                    </a:lnTo>
                    <a:lnTo>
                      <a:pt x="99" y="180"/>
                    </a:lnTo>
                    <a:lnTo>
                      <a:pt x="89" y="180"/>
                    </a:lnTo>
                    <a:lnTo>
                      <a:pt x="89" y="180"/>
                    </a:lnTo>
                    <a:close/>
                    <a:moveTo>
                      <a:pt x="89" y="21"/>
                    </a:moveTo>
                    <a:lnTo>
                      <a:pt x="89" y="21"/>
                    </a:lnTo>
                    <a:lnTo>
                      <a:pt x="76" y="23"/>
                    </a:lnTo>
                    <a:lnTo>
                      <a:pt x="63" y="26"/>
                    </a:lnTo>
                    <a:lnTo>
                      <a:pt x="52" y="33"/>
                    </a:lnTo>
                    <a:lnTo>
                      <a:pt x="42" y="42"/>
                    </a:lnTo>
                    <a:lnTo>
                      <a:pt x="33" y="52"/>
                    </a:lnTo>
                    <a:lnTo>
                      <a:pt x="27" y="63"/>
                    </a:lnTo>
                    <a:lnTo>
                      <a:pt x="23" y="75"/>
                    </a:lnTo>
                    <a:lnTo>
                      <a:pt x="20" y="89"/>
                    </a:lnTo>
                    <a:lnTo>
                      <a:pt x="20" y="89"/>
                    </a:lnTo>
                    <a:lnTo>
                      <a:pt x="23" y="103"/>
                    </a:lnTo>
                    <a:lnTo>
                      <a:pt x="27" y="117"/>
                    </a:lnTo>
                    <a:lnTo>
                      <a:pt x="33" y="128"/>
                    </a:lnTo>
                    <a:lnTo>
                      <a:pt x="42" y="138"/>
                    </a:lnTo>
                    <a:lnTo>
                      <a:pt x="52" y="147"/>
                    </a:lnTo>
                    <a:lnTo>
                      <a:pt x="63" y="153"/>
                    </a:lnTo>
                    <a:lnTo>
                      <a:pt x="76" y="157"/>
                    </a:lnTo>
                    <a:lnTo>
                      <a:pt x="89" y="158"/>
                    </a:lnTo>
                    <a:lnTo>
                      <a:pt x="89" y="158"/>
                    </a:lnTo>
                    <a:lnTo>
                      <a:pt x="103" y="157"/>
                    </a:lnTo>
                    <a:lnTo>
                      <a:pt x="117" y="153"/>
                    </a:lnTo>
                    <a:lnTo>
                      <a:pt x="128" y="147"/>
                    </a:lnTo>
                    <a:lnTo>
                      <a:pt x="138" y="138"/>
                    </a:lnTo>
                    <a:lnTo>
                      <a:pt x="147" y="128"/>
                    </a:lnTo>
                    <a:lnTo>
                      <a:pt x="153" y="117"/>
                    </a:lnTo>
                    <a:lnTo>
                      <a:pt x="157" y="103"/>
                    </a:lnTo>
                    <a:lnTo>
                      <a:pt x="159" y="89"/>
                    </a:lnTo>
                    <a:lnTo>
                      <a:pt x="159" y="89"/>
                    </a:lnTo>
                    <a:lnTo>
                      <a:pt x="157" y="75"/>
                    </a:lnTo>
                    <a:lnTo>
                      <a:pt x="153" y="63"/>
                    </a:lnTo>
                    <a:lnTo>
                      <a:pt x="147" y="52"/>
                    </a:lnTo>
                    <a:lnTo>
                      <a:pt x="138" y="42"/>
                    </a:lnTo>
                    <a:lnTo>
                      <a:pt x="128" y="33"/>
                    </a:lnTo>
                    <a:lnTo>
                      <a:pt x="117" y="26"/>
                    </a:lnTo>
                    <a:lnTo>
                      <a:pt x="103" y="23"/>
                    </a:lnTo>
                    <a:lnTo>
                      <a:pt x="89" y="21"/>
                    </a:lnTo>
                    <a:lnTo>
                      <a:pt x="89" y="21"/>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3" name="Freeform 12"/>
              <p:cNvSpPr>
                <a:spLocks noEditPoints="1"/>
              </p:cNvSpPr>
              <p:nvPr/>
            </p:nvSpPr>
            <p:spPr bwMode="auto">
              <a:xfrm>
                <a:off x="8247528" y="3444577"/>
                <a:ext cx="181553" cy="183593"/>
              </a:xfrm>
              <a:custGeom>
                <a:avLst/>
                <a:gdLst>
                  <a:gd name="T0" fmla="*/ 89 w 180"/>
                  <a:gd name="T1" fmla="*/ 180 h 180"/>
                  <a:gd name="T2" fmla="*/ 63 w 180"/>
                  <a:gd name="T3" fmla="*/ 176 h 180"/>
                  <a:gd name="T4" fmla="*/ 40 w 180"/>
                  <a:gd name="T5" fmla="*/ 165 h 180"/>
                  <a:gd name="T6" fmla="*/ 20 w 180"/>
                  <a:gd name="T7" fmla="*/ 147 h 180"/>
                  <a:gd name="T8" fmla="*/ 6 w 180"/>
                  <a:gd name="T9" fmla="*/ 124 h 180"/>
                  <a:gd name="T10" fmla="*/ 4 w 180"/>
                  <a:gd name="T11" fmla="*/ 116 h 180"/>
                  <a:gd name="T12" fmla="*/ 0 w 180"/>
                  <a:gd name="T13" fmla="*/ 98 h 180"/>
                  <a:gd name="T14" fmla="*/ 0 w 180"/>
                  <a:gd name="T15" fmla="*/ 81 h 180"/>
                  <a:gd name="T16" fmla="*/ 4 w 180"/>
                  <a:gd name="T17" fmla="*/ 64 h 180"/>
                  <a:gd name="T18" fmla="*/ 10 w 180"/>
                  <a:gd name="T19" fmla="*/ 48 h 180"/>
                  <a:gd name="T20" fmla="*/ 19 w 180"/>
                  <a:gd name="T21" fmla="*/ 33 h 180"/>
                  <a:gd name="T22" fmla="*/ 32 w 180"/>
                  <a:gd name="T23" fmla="*/ 20 h 180"/>
                  <a:gd name="T24" fmla="*/ 47 w 180"/>
                  <a:gd name="T25" fmla="*/ 10 h 180"/>
                  <a:gd name="T26" fmla="*/ 55 w 180"/>
                  <a:gd name="T27" fmla="*/ 6 h 180"/>
                  <a:gd name="T28" fmla="*/ 72 w 180"/>
                  <a:gd name="T29" fmla="*/ 1 h 180"/>
                  <a:gd name="T30" fmla="*/ 89 w 180"/>
                  <a:gd name="T31" fmla="*/ 0 h 180"/>
                  <a:gd name="T32" fmla="*/ 103 w 180"/>
                  <a:gd name="T33" fmla="*/ 0 h 180"/>
                  <a:gd name="T34" fmla="*/ 128 w 180"/>
                  <a:gd name="T35" fmla="*/ 9 h 180"/>
                  <a:gd name="T36" fmla="*/ 150 w 180"/>
                  <a:gd name="T37" fmla="*/ 23 h 180"/>
                  <a:gd name="T38" fmla="*/ 167 w 180"/>
                  <a:gd name="T39" fmla="*/ 43 h 180"/>
                  <a:gd name="T40" fmla="*/ 172 w 180"/>
                  <a:gd name="T41" fmla="*/ 55 h 180"/>
                  <a:gd name="T42" fmla="*/ 179 w 180"/>
                  <a:gd name="T43" fmla="*/ 72 h 180"/>
                  <a:gd name="T44" fmla="*/ 180 w 180"/>
                  <a:gd name="T45" fmla="*/ 89 h 180"/>
                  <a:gd name="T46" fmla="*/ 179 w 180"/>
                  <a:gd name="T47" fmla="*/ 107 h 180"/>
                  <a:gd name="T48" fmla="*/ 174 w 180"/>
                  <a:gd name="T49" fmla="*/ 124 h 180"/>
                  <a:gd name="T50" fmla="*/ 170 w 180"/>
                  <a:gd name="T51" fmla="*/ 132 h 180"/>
                  <a:gd name="T52" fmla="*/ 160 w 180"/>
                  <a:gd name="T53" fmla="*/ 147 h 180"/>
                  <a:gd name="T54" fmla="*/ 147 w 180"/>
                  <a:gd name="T55" fmla="*/ 160 h 180"/>
                  <a:gd name="T56" fmla="*/ 132 w 180"/>
                  <a:gd name="T57" fmla="*/ 168 h 180"/>
                  <a:gd name="T58" fmla="*/ 125 w 180"/>
                  <a:gd name="T59" fmla="*/ 173 h 180"/>
                  <a:gd name="T60" fmla="*/ 107 w 180"/>
                  <a:gd name="T61" fmla="*/ 178 h 180"/>
                  <a:gd name="T62" fmla="*/ 89 w 180"/>
                  <a:gd name="T63" fmla="*/ 180 h 180"/>
                  <a:gd name="T64" fmla="*/ 89 w 180"/>
                  <a:gd name="T65" fmla="*/ 21 h 180"/>
                  <a:gd name="T66" fmla="*/ 76 w 180"/>
                  <a:gd name="T67" fmla="*/ 23 h 180"/>
                  <a:gd name="T68" fmla="*/ 63 w 180"/>
                  <a:gd name="T69" fmla="*/ 26 h 180"/>
                  <a:gd name="T70" fmla="*/ 40 w 180"/>
                  <a:gd name="T71" fmla="*/ 42 h 180"/>
                  <a:gd name="T72" fmla="*/ 27 w 180"/>
                  <a:gd name="T73" fmla="*/ 64 h 180"/>
                  <a:gd name="T74" fmla="*/ 20 w 180"/>
                  <a:gd name="T75" fmla="*/ 89 h 180"/>
                  <a:gd name="T76" fmla="*/ 27 w 180"/>
                  <a:gd name="T77" fmla="*/ 117 h 180"/>
                  <a:gd name="T78" fmla="*/ 30 w 180"/>
                  <a:gd name="T79" fmla="*/ 126 h 180"/>
                  <a:gd name="T80" fmla="*/ 44 w 180"/>
                  <a:gd name="T81" fmla="*/ 141 h 180"/>
                  <a:gd name="T82" fmla="*/ 60 w 180"/>
                  <a:gd name="T83" fmla="*/ 152 h 180"/>
                  <a:gd name="T84" fmla="*/ 79 w 180"/>
                  <a:gd name="T85" fmla="*/ 158 h 180"/>
                  <a:gd name="T86" fmla="*/ 89 w 180"/>
                  <a:gd name="T87" fmla="*/ 158 h 180"/>
                  <a:gd name="T88" fmla="*/ 116 w 180"/>
                  <a:gd name="T89" fmla="*/ 153 h 180"/>
                  <a:gd name="T90" fmla="*/ 128 w 180"/>
                  <a:gd name="T91" fmla="*/ 147 h 180"/>
                  <a:gd name="T92" fmla="*/ 147 w 180"/>
                  <a:gd name="T93" fmla="*/ 128 h 180"/>
                  <a:gd name="T94" fmla="*/ 153 w 180"/>
                  <a:gd name="T95" fmla="*/ 116 h 180"/>
                  <a:gd name="T96" fmla="*/ 159 w 180"/>
                  <a:gd name="T97" fmla="*/ 89 h 180"/>
                  <a:gd name="T98" fmla="*/ 153 w 180"/>
                  <a:gd name="T99" fmla="*/ 63 h 180"/>
                  <a:gd name="T100" fmla="*/ 148 w 180"/>
                  <a:gd name="T101" fmla="*/ 54 h 180"/>
                  <a:gd name="T102" fmla="*/ 136 w 180"/>
                  <a:gd name="T103" fmla="*/ 39 h 180"/>
                  <a:gd name="T104" fmla="*/ 120 w 180"/>
                  <a:gd name="T105" fmla="*/ 28 h 180"/>
                  <a:gd name="T106" fmla="*/ 99 w 180"/>
                  <a:gd name="T107" fmla="*/ 21 h 180"/>
                  <a:gd name="T108" fmla="*/ 89 w 180"/>
                  <a:gd name="T109" fmla="*/ 2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0" h="180">
                    <a:moveTo>
                      <a:pt x="89" y="180"/>
                    </a:moveTo>
                    <a:lnTo>
                      <a:pt x="89" y="180"/>
                    </a:lnTo>
                    <a:lnTo>
                      <a:pt x="77" y="178"/>
                    </a:lnTo>
                    <a:lnTo>
                      <a:pt x="63" y="176"/>
                    </a:lnTo>
                    <a:lnTo>
                      <a:pt x="52" y="171"/>
                    </a:lnTo>
                    <a:lnTo>
                      <a:pt x="40" y="165"/>
                    </a:lnTo>
                    <a:lnTo>
                      <a:pt x="29" y="157"/>
                    </a:lnTo>
                    <a:lnTo>
                      <a:pt x="20" y="147"/>
                    </a:lnTo>
                    <a:lnTo>
                      <a:pt x="13" y="137"/>
                    </a:lnTo>
                    <a:lnTo>
                      <a:pt x="6" y="124"/>
                    </a:lnTo>
                    <a:lnTo>
                      <a:pt x="6" y="124"/>
                    </a:lnTo>
                    <a:lnTo>
                      <a:pt x="4" y="116"/>
                    </a:lnTo>
                    <a:lnTo>
                      <a:pt x="1" y="107"/>
                    </a:lnTo>
                    <a:lnTo>
                      <a:pt x="0" y="98"/>
                    </a:lnTo>
                    <a:lnTo>
                      <a:pt x="0" y="89"/>
                    </a:lnTo>
                    <a:lnTo>
                      <a:pt x="0" y="81"/>
                    </a:lnTo>
                    <a:lnTo>
                      <a:pt x="1" y="72"/>
                    </a:lnTo>
                    <a:lnTo>
                      <a:pt x="4" y="64"/>
                    </a:lnTo>
                    <a:lnTo>
                      <a:pt x="6" y="55"/>
                    </a:lnTo>
                    <a:lnTo>
                      <a:pt x="10" y="48"/>
                    </a:lnTo>
                    <a:lnTo>
                      <a:pt x="14" y="40"/>
                    </a:lnTo>
                    <a:lnTo>
                      <a:pt x="19" y="33"/>
                    </a:lnTo>
                    <a:lnTo>
                      <a:pt x="25" y="26"/>
                    </a:lnTo>
                    <a:lnTo>
                      <a:pt x="32" y="20"/>
                    </a:lnTo>
                    <a:lnTo>
                      <a:pt x="39" y="15"/>
                    </a:lnTo>
                    <a:lnTo>
                      <a:pt x="47" y="10"/>
                    </a:lnTo>
                    <a:lnTo>
                      <a:pt x="55" y="6"/>
                    </a:lnTo>
                    <a:lnTo>
                      <a:pt x="55" y="6"/>
                    </a:lnTo>
                    <a:lnTo>
                      <a:pt x="63" y="4"/>
                    </a:lnTo>
                    <a:lnTo>
                      <a:pt x="72" y="1"/>
                    </a:lnTo>
                    <a:lnTo>
                      <a:pt x="81" y="0"/>
                    </a:lnTo>
                    <a:lnTo>
                      <a:pt x="89" y="0"/>
                    </a:lnTo>
                    <a:lnTo>
                      <a:pt x="89" y="0"/>
                    </a:lnTo>
                    <a:lnTo>
                      <a:pt x="103" y="0"/>
                    </a:lnTo>
                    <a:lnTo>
                      <a:pt x="116" y="4"/>
                    </a:lnTo>
                    <a:lnTo>
                      <a:pt x="128" y="9"/>
                    </a:lnTo>
                    <a:lnTo>
                      <a:pt x="140" y="15"/>
                    </a:lnTo>
                    <a:lnTo>
                      <a:pt x="150" y="23"/>
                    </a:lnTo>
                    <a:lnTo>
                      <a:pt x="159" y="33"/>
                    </a:lnTo>
                    <a:lnTo>
                      <a:pt x="167" y="43"/>
                    </a:lnTo>
                    <a:lnTo>
                      <a:pt x="172" y="55"/>
                    </a:lnTo>
                    <a:lnTo>
                      <a:pt x="172" y="55"/>
                    </a:lnTo>
                    <a:lnTo>
                      <a:pt x="176" y="63"/>
                    </a:lnTo>
                    <a:lnTo>
                      <a:pt x="179" y="72"/>
                    </a:lnTo>
                    <a:lnTo>
                      <a:pt x="180" y="81"/>
                    </a:lnTo>
                    <a:lnTo>
                      <a:pt x="180" y="89"/>
                    </a:lnTo>
                    <a:lnTo>
                      <a:pt x="180" y="98"/>
                    </a:lnTo>
                    <a:lnTo>
                      <a:pt x="179" y="107"/>
                    </a:lnTo>
                    <a:lnTo>
                      <a:pt x="176" y="116"/>
                    </a:lnTo>
                    <a:lnTo>
                      <a:pt x="174" y="124"/>
                    </a:lnTo>
                    <a:lnTo>
                      <a:pt x="174" y="124"/>
                    </a:lnTo>
                    <a:lnTo>
                      <a:pt x="170" y="132"/>
                    </a:lnTo>
                    <a:lnTo>
                      <a:pt x="165" y="140"/>
                    </a:lnTo>
                    <a:lnTo>
                      <a:pt x="160" y="147"/>
                    </a:lnTo>
                    <a:lnTo>
                      <a:pt x="153" y="153"/>
                    </a:lnTo>
                    <a:lnTo>
                      <a:pt x="147" y="160"/>
                    </a:lnTo>
                    <a:lnTo>
                      <a:pt x="140" y="165"/>
                    </a:lnTo>
                    <a:lnTo>
                      <a:pt x="132" y="168"/>
                    </a:lnTo>
                    <a:lnTo>
                      <a:pt x="125" y="173"/>
                    </a:lnTo>
                    <a:lnTo>
                      <a:pt x="125" y="173"/>
                    </a:lnTo>
                    <a:lnTo>
                      <a:pt x="116" y="176"/>
                    </a:lnTo>
                    <a:lnTo>
                      <a:pt x="107" y="178"/>
                    </a:lnTo>
                    <a:lnTo>
                      <a:pt x="98" y="180"/>
                    </a:lnTo>
                    <a:lnTo>
                      <a:pt x="89" y="180"/>
                    </a:lnTo>
                    <a:lnTo>
                      <a:pt x="89" y="180"/>
                    </a:lnTo>
                    <a:close/>
                    <a:moveTo>
                      <a:pt x="89" y="21"/>
                    </a:moveTo>
                    <a:lnTo>
                      <a:pt x="89" y="21"/>
                    </a:lnTo>
                    <a:lnTo>
                      <a:pt x="76" y="23"/>
                    </a:lnTo>
                    <a:lnTo>
                      <a:pt x="63" y="26"/>
                    </a:lnTo>
                    <a:lnTo>
                      <a:pt x="63" y="26"/>
                    </a:lnTo>
                    <a:lnTo>
                      <a:pt x="50" y="33"/>
                    </a:lnTo>
                    <a:lnTo>
                      <a:pt x="40" y="42"/>
                    </a:lnTo>
                    <a:lnTo>
                      <a:pt x="32" y="52"/>
                    </a:lnTo>
                    <a:lnTo>
                      <a:pt x="27" y="64"/>
                    </a:lnTo>
                    <a:lnTo>
                      <a:pt x="22" y="77"/>
                    </a:lnTo>
                    <a:lnTo>
                      <a:pt x="20" y="89"/>
                    </a:lnTo>
                    <a:lnTo>
                      <a:pt x="22" y="103"/>
                    </a:lnTo>
                    <a:lnTo>
                      <a:pt x="27" y="117"/>
                    </a:lnTo>
                    <a:lnTo>
                      <a:pt x="27" y="117"/>
                    </a:lnTo>
                    <a:lnTo>
                      <a:pt x="30" y="126"/>
                    </a:lnTo>
                    <a:lnTo>
                      <a:pt x="37" y="133"/>
                    </a:lnTo>
                    <a:lnTo>
                      <a:pt x="44" y="141"/>
                    </a:lnTo>
                    <a:lnTo>
                      <a:pt x="52" y="147"/>
                    </a:lnTo>
                    <a:lnTo>
                      <a:pt x="60" y="152"/>
                    </a:lnTo>
                    <a:lnTo>
                      <a:pt x="69" y="156"/>
                    </a:lnTo>
                    <a:lnTo>
                      <a:pt x="79" y="158"/>
                    </a:lnTo>
                    <a:lnTo>
                      <a:pt x="89" y="158"/>
                    </a:lnTo>
                    <a:lnTo>
                      <a:pt x="89" y="158"/>
                    </a:lnTo>
                    <a:lnTo>
                      <a:pt x="103" y="157"/>
                    </a:lnTo>
                    <a:lnTo>
                      <a:pt x="116" y="153"/>
                    </a:lnTo>
                    <a:lnTo>
                      <a:pt x="116" y="153"/>
                    </a:lnTo>
                    <a:lnTo>
                      <a:pt x="128" y="147"/>
                    </a:lnTo>
                    <a:lnTo>
                      <a:pt x="138" y="138"/>
                    </a:lnTo>
                    <a:lnTo>
                      <a:pt x="147" y="128"/>
                    </a:lnTo>
                    <a:lnTo>
                      <a:pt x="153" y="116"/>
                    </a:lnTo>
                    <a:lnTo>
                      <a:pt x="153" y="116"/>
                    </a:lnTo>
                    <a:lnTo>
                      <a:pt x="157" y="103"/>
                    </a:lnTo>
                    <a:lnTo>
                      <a:pt x="159" y="89"/>
                    </a:lnTo>
                    <a:lnTo>
                      <a:pt x="157" y="77"/>
                    </a:lnTo>
                    <a:lnTo>
                      <a:pt x="153" y="63"/>
                    </a:lnTo>
                    <a:lnTo>
                      <a:pt x="153" y="63"/>
                    </a:lnTo>
                    <a:lnTo>
                      <a:pt x="148" y="54"/>
                    </a:lnTo>
                    <a:lnTo>
                      <a:pt x="142" y="45"/>
                    </a:lnTo>
                    <a:lnTo>
                      <a:pt x="136" y="39"/>
                    </a:lnTo>
                    <a:lnTo>
                      <a:pt x="128" y="33"/>
                    </a:lnTo>
                    <a:lnTo>
                      <a:pt x="120" y="28"/>
                    </a:lnTo>
                    <a:lnTo>
                      <a:pt x="109" y="24"/>
                    </a:lnTo>
                    <a:lnTo>
                      <a:pt x="99" y="21"/>
                    </a:lnTo>
                    <a:lnTo>
                      <a:pt x="89" y="21"/>
                    </a:lnTo>
                    <a:lnTo>
                      <a:pt x="89" y="21"/>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4" name="Freeform 13"/>
              <p:cNvSpPr>
                <a:spLocks noEditPoints="1"/>
              </p:cNvSpPr>
              <p:nvPr/>
            </p:nvSpPr>
            <p:spPr bwMode="auto">
              <a:xfrm>
                <a:off x="8247528" y="3444577"/>
                <a:ext cx="181553" cy="183593"/>
              </a:xfrm>
              <a:custGeom>
                <a:avLst/>
                <a:gdLst>
                  <a:gd name="T0" fmla="*/ 89 w 180"/>
                  <a:gd name="T1" fmla="*/ 180 h 180"/>
                  <a:gd name="T2" fmla="*/ 58 w 180"/>
                  <a:gd name="T3" fmla="*/ 175 h 180"/>
                  <a:gd name="T4" fmla="*/ 49 w 180"/>
                  <a:gd name="T5" fmla="*/ 171 h 180"/>
                  <a:gd name="T6" fmla="*/ 34 w 180"/>
                  <a:gd name="T7" fmla="*/ 161 h 180"/>
                  <a:gd name="T8" fmla="*/ 22 w 180"/>
                  <a:gd name="T9" fmla="*/ 150 h 180"/>
                  <a:gd name="T10" fmla="*/ 11 w 180"/>
                  <a:gd name="T11" fmla="*/ 135 h 180"/>
                  <a:gd name="T12" fmla="*/ 5 w 180"/>
                  <a:gd name="T13" fmla="*/ 119 h 180"/>
                  <a:gd name="T14" fmla="*/ 0 w 180"/>
                  <a:gd name="T15" fmla="*/ 102 h 180"/>
                  <a:gd name="T16" fmla="*/ 0 w 180"/>
                  <a:gd name="T17" fmla="*/ 84 h 180"/>
                  <a:gd name="T18" fmla="*/ 3 w 180"/>
                  <a:gd name="T19" fmla="*/ 67 h 180"/>
                  <a:gd name="T20" fmla="*/ 5 w 180"/>
                  <a:gd name="T21" fmla="*/ 58 h 180"/>
                  <a:gd name="T22" fmla="*/ 19 w 180"/>
                  <a:gd name="T23" fmla="*/ 34 h 180"/>
                  <a:gd name="T24" fmla="*/ 38 w 180"/>
                  <a:gd name="T25" fmla="*/ 16 h 180"/>
                  <a:gd name="T26" fmla="*/ 63 w 180"/>
                  <a:gd name="T27" fmla="*/ 4 h 180"/>
                  <a:gd name="T28" fmla="*/ 89 w 180"/>
                  <a:gd name="T29" fmla="*/ 0 h 180"/>
                  <a:gd name="T30" fmla="*/ 106 w 180"/>
                  <a:gd name="T31" fmla="*/ 1 h 180"/>
                  <a:gd name="T32" fmla="*/ 121 w 180"/>
                  <a:gd name="T33" fmla="*/ 5 h 180"/>
                  <a:gd name="T34" fmla="*/ 137 w 180"/>
                  <a:gd name="T35" fmla="*/ 14 h 180"/>
                  <a:gd name="T36" fmla="*/ 152 w 180"/>
                  <a:gd name="T37" fmla="*/ 24 h 180"/>
                  <a:gd name="T38" fmla="*/ 164 w 180"/>
                  <a:gd name="T39" fmla="*/ 38 h 180"/>
                  <a:gd name="T40" fmla="*/ 171 w 180"/>
                  <a:gd name="T41" fmla="*/ 53 h 180"/>
                  <a:gd name="T42" fmla="*/ 177 w 180"/>
                  <a:gd name="T43" fmla="*/ 69 h 180"/>
                  <a:gd name="T44" fmla="*/ 180 w 180"/>
                  <a:gd name="T45" fmla="*/ 86 h 180"/>
                  <a:gd name="T46" fmla="*/ 179 w 180"/>
                  <a:gd name="T47" fmla="*/ 103 h 180"/>
                  <a:gd name="T48" fmla="*/ 174 w 180"/>
                  <a:gd name="T49" fmla="*/ 121 h 180"/>
                  <a:gd name="T50" fmla="*/ 169 w 180"/>
                  <a:gd name="T51" fmla="*/ 133 h 180"/>
                  <a:gd name="T52" fmla="*/ 152 w 180"/>
                  <a:gd name="T53" fmla="*/ 156 h 180"/>
                  <a:gd name="T54" fmla="*/ 130 w 180"/>
                  <a:gd name="T55" fmla="*/ 171 h 180"/>
                  <a:gd name="T56" fmla="*/ 103 w 180"/>
                  <a:gd name="T57" fmla="*/ 178 h 180"/>
                  <a:gd name="T58" fmla="*/ 89 w 180"/>
                  <a:gd name="T59" fmla="*/ 180 h 180"/>
                  <a:gd name="T60" fmla="*/ 89 w 180"/>
                  <a:gd name="T61" fmla="*/ 21 h 180"/>
                  <a:gd name="T62" fmla="*/ 69 w 180"/>
                  <a:gd name="T63" fmla="*/ 24 h 180"/>
                  <a:gd name="T64" fmla="*/ 50 w 180"/>
                  <a:gd name="T65" fmla="*/ 33 h 180"/>
                  <a:gd name="T66" fmla="*/ 35 w 180"/>
                  <a:gd name="T67" fmla="*/ 48 h 180"/>
                  <a:gd name="T68" fmla="*/ 25 w 180"/>
                  <a:gd name="T69" fmla="*/ 65 h 180"/>
                  <a:gd name="T70" fmla="*/ 22 w 180"/>
                  <a:gd name="T71" fmla="*/ 79 h 180"/>
                  <a:gd name="T72" fmla="*/ 23 w 180"/>
                  <a:gd name="T73" fmla="*/ 106 h 180"/>
                  <a:gd name="T74" fmla="*/ 34 w 180"/>
                  <a:gd name="T75" fmla="*/ 130 h 180"/>
                  <a:gd name="T76" fmla="*/ 53 w 180"/>
                  <a:gd name="T77" fmla="*/ 148 h 180"/>
                  <a:gd name="T78" fmla="*/ 66 w 180"/>
                  <a:gd name="T79" fmla="*/ 155 h 180"/>
                  <a:gd name="T80" fmla="*/ 89 w 180"/>
                  <a:gd name="T81" fmla="*/ 158 h 180"/>
                  <a:gd name="T82" fmla="*/ 101 w 180"/>
                  <a:gd name="T83" fmla="*/ 158 h 180"/>
                  <a:gd name="T84" fmla="*/ 120 w 180"/>
                  <a:gd name="T85" fmla="*/ 152 h 180"/>
                  <a:gd name="T86" fmla="*/ 137 w 180"/>
                  <a:gd name="T87" fmla="*/ 140 h 180"/>
                  <a:gd name="T88" fmla="*/ 150 w 180"/>
                  <a:gd name="T89" fmla="*/ 123 h 180"/>
                  <a:gd name="T90" fmla="*/ 155 w 180"/>
                  <a:gd name="T91" fmla="*/ 114 h 180"/>
                  <a:gd name="T92" fmla="*/ 159 w 180"/>
                  <a:gd name="T93" fmla="*/ 87 h 180"/>
                  <a:gd name="T94" fmla="*/ 152 w 180"/>
                  <a:gd name="T95" fmla="*/ 62 h 180"/>
                  <a:gd name="T96" fmla="*/ 137 w 180"/>
                  <a:gd name="T97" fmla="*/ 39 h 180"/>
                  <a:gd name="T98" fmla="*/ 113 w 180"/>
                  <a:gd name="T99" fmla="*/ 25 h 180"/>
                  <a:gd name="T100" fmla="*/ 102 w 180"/>
                  <a:gd name="T101" fmla="*/ 21 h 180"/>
                  <a:gd name="T102" fmla="*/ 89 w 180"/>
                  <a:gd name="T103" fmla="*/ 2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0" h="180">
                    <a:moveTo>
                      <a:pt x="89" y="180"/>
                    </a:moveTo>
                    <a:lnTo>
                      <a:pt x="89" y="180"/>
                    </a:lnTo>
                    <a:lnTo>
                      <a:pt x="74" y="178"/>
                    </a:lnTo>
                    <a:lnTo>
                      <a:pt x="58" y="175"/>
                    </a:lnTo>
                    <a:lnTo>
                      <a:pt x="58" y="175"/>
                    </a:lnTo>
                    <a:lnTo>
                      <a:pt x="49" y="171"/>
                    </a:lnTo>
                    <a:lnTo>
                      <a:pt x="42" y="166"/>
                    </a:lnTo>
                    <a:lnTo>
                      <a:pt x="34" y="161"/>
                    </a:lnTo>
                    <a:lnTo>
                      <a:pt x="28" y="156"/>
                    </a:lnTo>
                    <a:lnTo>
                      <a:pt x="22" y="150"/>
                    </a:lnTo>
                    <a:lnTo>
                      <a:pt x="17" y="142"/>
                    </a:lnTo>
                    <a:lnTo>
                      <a:pt x="11" y="135"/>
                    </a:lnTo>
                    <a:lnTo>
                      <a:pt x="8" y="127"/>
                    </a:lnTo>
                    <a:lnTo>
                      <a:pt x="5" y="119"/>
                    </a:lnTo>
                    <a:lnTo>
                      <a:pt x="3" y="111"/>
                    </a:lnTo>
                    <a:lnTo>
                      <a:pt x="0" y="102"/>
                    </a:lnTo>
                    <a:lnTo>
                      <a:pt x="0" y="93"/>
                    </a:lnTo>
                    <a:lnTo>
                      <a:pt x="0" y="84"/>
                    </a:lnTo>
                    <a:lnTo>
                      <a:pt x="0" y="75"/>
                    </a:lnTo>
                    <a:lnTo>
                      <a:pt x="3" y="67"/>
                    </a:lnTo>
                    <a:lnTo>
                      <a:pt x="5" y="58"/>
                    </a:lnTo>
                    <a:lnTo>
                      <a:pt x="5" y="58"/>
                    </a:lnTo>
                    <a:lnTo>
                      <a:pt x="11" y="45"/>
                    </a:lnTo>
                    <a:lnTo>
                      <a:pt x="19" y="34"/>
                    </a:lnTo>
                    <a:lnTo>
                      <a:pt x="28" y="24"/>
                    </a:lnTo>
                    <a:lnTo>
                      <a:pt x="38" y="16"/>
                    </a:lnTo>
                    <a:lnTo>
                      <a:pt x="50" y="9"/>
                    </a:lnTo>
                    <a:lnTo>
                      <a:pt x="63" y="4"/>
                    </a:lnTo>
                    <a:lnTo>
                      <a:pt x="76" y="1"/>
                    </a:lnTo>
                    <a:lnTo>
                      <a:pt x="89" y="0"/>
                    </a:lnTo>
                    <a:lnTo>
                      <a:pt x="89" y="0"/>
                    </a:lnTo>
                    <a:lnTo>
                      <a:pt x="106" y="1"/>
                    </a:lnTo>
                    <a:lnTo>
                      <a:pt x="121" y="5"/>
                    </a:lnTo>
                    <a:lnTo>
                      <a:pt x="121" y="5"/>
                    </a:lnTo>
                    <a:lnTo>
                      <a:pt x="130" y="9"/>
                    </a:lnTo>
                    <a:lnTo>
                      <a:pt x="137" y="14"/>
                    </a:lnTo>
                    <a:lnTo>
                      <a:pt x="145" y="19"/>
                    </a:lnTo>
                    <a:lnTo>
                      <a:pt x="152" y="24"/>
                    </a:lnTo>
                    <a:lnTo>
                      <a:pt x="157" y="30"/>
                    </a:lnTo>
                    <a:lnTo>
                      <a:pt x="164" y="38"/>
                    </a:lnTo>
                    <a:lnTo>
                      <a:pt x="167" y="44"/>
                    </a:lnTo>
                    <a:lnTo>
                      <a:pt x="171" y="53"/>
                    </a:lnTo>
                    <a:lnTo>
                      <a:pt x="175" y="60"/>
                    </a:lnTo>
                    <a:lnTo>
                      <a:pt x="177" y="69"/>
                    </a:lnTo>
                    <a:lnTo>
                      <a:pt x="179" y="77"/>
                    </a:lnTo>
                    <a:lnTo>
                      <a:pt x="180" y="86"/>
                    </a:lnTo>
                    <a:lnTo>
                      <a:pt x="180" y="94"/>
                    </a:lnTo>
                    <a:lnTo>
                      <a:pt x="179" y="103"/>
                    </a:lnTo>
                    <a:lnTo>
                      <a:pt x="177" y="112"/>
                    </a:lnTo>
                    <a:lnTo>
                      <a:pt x="174" y="121"/>
                    </a:lnTo>
                    <a:lnTo>
                      <a:pt x="174" y="121"/>
                    </a:lnTo>
                    <a:lnTo>
                      <a:pt x="169" y="133"/>
                    </a:lnTo>
                    <a:lnTo>
                      <a:pt x="161" y="146"/>
                    </a:lnTo>
                    <a:lnTo>
                      <a:pt x="152" y="156"/>
                    </a:lnTo>
                    <a:lnTo>
                      <a:pt x="141" y="163"/>
                    </a:lnTo>
                    <a:lnTo>
                      <a:pt x="130" y="171"/>
                    </a:lnTo>
                    <a:lnTo>
                      <a:pt x="117" y="176"/>
                    </a:lnTo>
                    <a:lnTo>
                      <a:pt x="103" y="178"/>
                    </a:lnTo>
                    <a:lnTo>
                      <a:pt x="89" y="180"/>
                    </a:lnTo>
                    <a:lnTo>
                      <a:pt x="89" y="180"/>
                    </a:lnTo>
                    <a:close/>
                    <a:moveTo>
                      <a:pt x="89" y="21"/>
                    </a:moveTo>
                    <a:lnTo>
                      <a:pt x="89" y="21"/>
                    </a:lnTo>
                    <a:lnTo>
                      <a:pt x="79" y="21"/>
                    </a:lnTo>
                    <a:lnTo>
                      <a:pt x="69" y="24"/>
                    </a:lnTo>
                    <a:lnTo>
                      <a:pt x="59" y="28"/>
                    </a:lnTo>
                    <a:lnTo>
                      <a:pt x="50" y="33"/>
                    </a:lnTo>
                    <a:lnTo>
                      <a:pt x="43" y="40"/>
                    </a:lnTo>
                    <a:lnTo>
                      <a:pt x="35" y="48"/>
                    </a:lnTo>
                    <a:lnTo>
                      <a:pt x="29" y="57"/>
                    </a:lnTo>
                    <a:lnTo>
                      <a:pt x="25" y="65"/>
                    </a:lnTo>
                    <a:lnTo>
                      <a:pt x="25" y="65"/>
                    </a:lnTo>
                    <a:lnTo>
                      <a:pt x="22" y="79"/>
                    </a:lnTo>
                    <a:lnTo>
                      <a:pt x="20" y="93"/>
                    </a:lnTo>
                    <a:lnTo>
                      <a:pt x="23" y="106"/>
                    </a:lnTo>
                    <a:lnTo>
                      <a:pt x="27" y="118"/>
                    </a:lnTo>
                    <a:lnTo>
                      <a:pt x="34" y="130"/>
                    </a:lnTo>
                    <a:lnTo>
                      <a:pt x="43" y="140"/>
                    </a:lnTo>
                    <a:lnTo>
                      <a:pt x="53" y="148"/>
                    </a:lnTo>
                    <a:lnTo>
                      <a:pt x="66" y="155"/>
                    </a:lnTo>
                    <a:lnTo>
                      <a:pt x="66" y="155"/>
                    </a:lnTo>
                    <a:lnTo>
                      <a:pt x="78" y="157"/>
                    </a:lnTo>
                    <a:lnTo>
                      <a:pt x="89" y="158"/>
                    </a:lnTo>
                    <a:lnTo>
                      <a:pt x="89" y="158"/>
                    </a:lnTo>
                    <a:lnTo>
                      <a:pt x="101" y="158"/>
                    </a:lnTo>
                    <a:lnTo>
                      <a:pt x="111" y="156"/>
                    </a:lnTo>
                    <a:lnTo>
                      <a:pt x="120" y="152"/>
                    </a:lnTo>
                    <a:lnTo>
                      <a:pt x="130" y="146"/>
                    </a:lnTo>
                    <a:lnTo>
                      <a:pt x="137" y="140"/>
                    </a:lnTo>
                    <a:lnTo>
                      <a:pt x="143" y="132"/>
                    </a:lnTo>
                    <a:lnTo>
                      <a:pt x="150" y="123"/>
                    </a:lnTo>
                    <a:lnTo>
                      <a:pt x="155" y="114"/>
                    </a:lnTo>
                    <a:lnTo>
                      <a:pt x="155" y="114"/>
                    </a:lnTo>
                    <a:lnTo>
                      <a:pt x="157" y="101"/>
                    </a:lnTo>
                    <a:lnTo>
                      <a:pt x="159" y="87"/>
                    </a:lnTo>
                    <a:lnTo>
                      <a:pt x="157" y="74"/>
                    </a:lnTo>
                    <a:lnTo>
                      <a:pt x="152" y="62"/>
                    </a:lnTo>
                    <a:lnTo>
                      <a:pt x="146" y="49"/>
                    </a:lnTo>
                    <a:lnTo>
                      <a:pt x="137" y="39"/>
                    </a:lnTo>
                    <a:lnTo>
                      <a:pt x="126" y="32"/>
                    </a:lnTo>
                    <a:lnTo>
                      <a:pt x="113" y="25"/>
                    </a:lnTo>
                    <a:lnTo>
                      <a:pt x="113" y="25"/>
                    </a:lnTo>
                    <a:lnTo>
                      <a:pt x="102" y="21"/>
                    </a:lnTo>
                    <a:lnTo>
                      <a:pt x="89" y="21"/>
                    </a:lnTo>
                    <a:lnTo>
                      <a:pt x="89" y="21"/>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5" name="Freeform 14"/>
              <p:cNvSpPr>
                <a:spLocks noEditPoints="1"/>
              </p:cNvSpPr>
              <p:nvPr/>
            </p:nvSpPr>
            <p:spPr bwMode="auto">
              <a:xfrm>
                <a:off x="8247528" y="3444577"/>
                <a:ext cx="181553" cy="183593"/>
              </a:xfrm>
              <a:custGeom>
                <a:avLst/>
                <a:gdLst>
                  <a:gd name="T0" fmla="*/ 89 w 180"/>
                  <a:gd name="T1" fmla="*/ 180 h 180"/>
                  <a:gd name="T2" fmla="*/ 62 w 180"/>
                  <a:gd name="T3" fmla="*/ 176 h 180"/>
                  <a:gd name="T4" fmla="*/ 37 w 180"/>
                  <a:gd name="T5" fmla="*/ 163 h 180"/>
                  <a:gd name="T6" fmla="*/ 30 w 180"/>
                  <a:gd name="T7" fmla="*/ 157 h 180"/>
                  <a:gd name="T8" fmla="*/ 18 w 180"/>
                  <a:gd name="T9" fmla="*/ 143 h 180"/>
                  <a:gd name="T10" fmla="*/ 9 w 180"/>
                  <a:gd name="T11" fmla="*/ 130 h 180"/>
                  <a:gd name="T12" fmla="*/ 3 w 180"/>
                  <a:gd name="T13" fmla="*/ 113 h 180"/>
                  <a:gd name="T14" fmla="*/ 0 w 180"/>
                  <a:gd name="T15" fmla="*/ 96 h 180"/>
                  <a:gd name="T16" fmla="*/ 0 w 180"/>
                  <a:gd name="T17" fmla="*/ 78 h 180"/>
                  <a:gd name="T18" fmla="*/ 4 w 180"/>
                  <a:gd name="T19" fmla="*/ 62 h 180"/>
                  <a:gd name="T20" fmla="*/ 11 w 180"/>
                  <a:gd name="T21" fmla="*/ 45 h 180"/>
                  <a:gd name="T22" fmla="*/ 17 w 180"/>
                  <a:gd name="T23" fmla="*/ 37 h 180"/>
                  <a:gd name="T24" fmla="*/ 32 w 180"/>
                  <a:gd name="T25" fmla="*/ 21 h 180"/>
                  <a:gd name="T26" fmla="*/ 49 w 180"/>
                  <a:gd name="T27" fmla="*/ 10 h 180"/>
                  <a:gd name="T28" fmla="*/ 68 w 180"/>
                  <a:gd name="T29" fmla="*/ 3 h 180"/>
                  <a:gd name="T30" fmla="*/ 89 w 180"/>
                  <a:gd name="T31" fmla="*/ 0 h 180"/>
                  <a:gd name="T32" fmla="*/ 104 w 180"/>
                  <a:gd name="T33" fmla="*/ 1 h 180"/>
                  <a:gd name="T34" fmla="*/ 131 w 180"/>
                  <a:gd name="T35" fmla="*/ 9 h 180"/>
                  <a:gd name="T36" fmla="*/ 142 w 180"/>
                  <a:gd name="T37" fmla="*/ 16 h 180"/>
                  <a:gd name="T38" fmla="*/ 156 w 180"/>
                  <a:gd name="T39" fmla="*/ 29 h 180"/>
                  <a:gd name="T40" fmla="*/ 167 w 180"/>
                  <a:gd name="T41" fmla="*/ 43 h 180"/>
                  <a:gd name="T42" fmla="*/ 175 w 180"/>
                  <a:gd name="T43" fmla="*/ 59 h 180"/>
                  <a:gd name="T44" fmla="*/ 179 w 180"/>
                  <a:gd name="T45" fmla="*/ 75 h 180"/>
                  <a:gd name="T46" fmla="*/ 180 w 180"/>
                  <a:gd name="T47" fmla="*/ 93 h 180"/>
                  <a:gd name="T48" fmla="*/ 177 w 180"/>
                  <a:gd name="T49" fmla="*/ 109 h 180"/>
                  <a:gd name="T50" fmla="*/ 172 w 180"/>
                  <a:gd name="T51" fmla="*/ 127 h 180"/>
                  <a:gd name="T52" fmla="*/ 162 w 180"/>
                  <a:gd name="T53" fmla="*/ 142 h 180"/>
                  <a:gd name="T54" fmla="*/ 156 w 180"/>
                  <a:gd name="T55" fmla="*/ 151 h 180"/>
                  <a:gd name="T56" fmla="*/ 140 w 180"/>
                  <a:gd name="T57" fmla="*/ 165 h 180"/>
                  <a:gd name="T58" fmla="*/ 121 w 180"/>
                  <a:gd name="T59" fmla="*/ 175 h 180"/>
                  <a:gd name="T60" fmla="*/ 101 w 180"/>
                  <a:gd name="T61" fmla="*/ 180 h 180"/>
                  <a:gd name="T62" fmla="*/ 89 w 180"/>
                  <a:gd name="T63" fmla="*/ 180 h 180"/>
                  <a:gd name="T64" fmla="*/ 89 w 180"/>
                  <a:gd name="T65" fmla="*/ 21 h 180"/>
                  <a:gd name="T66" fmla="*/ 73 w 180"/>
                  <a:gd name="T67" fmla="*/ 23 h 180"/>
                  <a:gd name="T68" fmla="*/ 58 w 180"/>
                  <a:gd name="T69" fmla="*/ 29 h 180"/>
                  <a:gd name="T70" fmla="*/ 45 w 180"/>
                  <a:gd name="T71" fmla="*/ 38 h 180"/>
                  <a:gd name="T72" fmla="*/ 34 w 180"/>
                  <a:gd name="T73" fmla="*/ 49 h 180"/>
                  <a:gd name="T74" fmla="*/ 27 w 180"/>
                  <a:gd name="T75" fmla="*/ 62 h 180"/>
                  <a:gd name="T76" fmla="*/ 20 w 180"/>
                  <a:gd name="T77" fmla="*/ 88 h 180"/>
                  <a:gd name="T78" fmla="*/ 25 w 180"/>
                  <a:gd name="T79" fmla="*/ 113 h 180"/>
                  <a:gd name="T80" fmla="*/ 39 w 180"/>
                  <a:gd name="T81" fmla="*/ 137 h 180"/>
                  <a:gd name="T82" fmla="*/ 49 w 180"/>
                  <a:gd name="T83" fmla="*/ 146 h 180"/>
                  <a:gd name="T84" fmla="*/ 68 w 180"/>
                  <a:gd name="T85" fmla="*/ 156 h 180"/>
                  <a:gd name="T86" fmla="*/ 89 w 180"/>
                  <a:gd name="T87" fmla="*/ 158 h 180"/>
                  <a:gd name="T88" fmla="*/ 98 w 180"/>
                  <a:gd name="T89" fmla="*/ 158 h 180"/>
                  <a:gd name="T90" fmla="*/ 113 w 180"/>
                  <a:gd name="T91" fmla="*/ 155 h 180"/>
                  <a:gd name="T92" fmla="*/ 128 w 180"/>
                  <a:gd name="T93" fmla="*/ 147 h 180"/>
                  <a:gd name="T94" fmla="*/ 141 w 180"/>
                  <a:gd name="T95" fmla="*/ 137 h 180"/>
                  <a:gd name="T96" fmla="*/ 146 w 180"/>
                  <a:gd name="T97" fmla="*/ 130 h 180"/>
                  <a:gd name="T98" fmla="*/ 157 w 180"/>
                  <a:gd name="T99" fmla="*/ 106 h 180"/>
                  <a:gd name="T100" fmla="*/ 157 w 180"/>
                  <a:gd name="T101" fmla="*/ 79 h 180"/>
                  <a:gd name="T102" fmla="*/ 148 w 180"/>
                  <a:gd name="T103" fmla="*/ 54 h 180"/>
                  <a:gd name="T104" fmla="*/ 130 w 180"/>
                  <a:gd name="T105" fmla="*/ 34 h 180"/>
                  <a:gd name="T106" fmla="*/ 121 w 180"/>
                  <a:gd name="T107" fmla="*/ 28 h 180"/>
                  <a:gd name="T108" fmla="*/ 101 w 180"/>
                  <a:gd name="T109" fmla="*/ 21 h 180"/>
                  <a:gd name="T110" fmla="*/ 89 w 180"/>
                  <a:gd name="T111" fmla="*/ 2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0" h="180">
                    <a:moveTo>
                      <a:pt x="89" y="180"/>
                    </a:moveTo>
                    <a:lnTo>
                      <a:pt x="89" y="180"/>
                    </a:lnTo>
                    <a:lnTo>
                      <a:pt x="76" y="178"/>
                    </a:lnTo>
                    <a:lnTo>
                      <a:pt x="62" y="176"/>
                    </a:lnTo>
                    <a:lnTo>
                      <a:pt x="49" y="170"/>
                    </a:lnTo>
                    <a:lnTo>
                      <a:pt x="37" y="163"/>
                    </a:lnTo>
                    <a:lnTo>
                      <a:pt x="37" y="163"/>
                    </a:lnTo>
                    <a:lnTo>
                      <a:pt x="30" y="157"/>
                    </a:lnTo>
                    <a:lnTo>
                      <a:pt x="23" y="151"/>
                    </a:lnTo>
                    <a:lnTo>
                      <a:pt x="18" y="143"/>
                    </a:lnTo>
                    <a:lnTo>
                      <a:pt x="13" y="137"/>
                    </a:lnTo>
                    <a:lnTo>
                      <a:pt x="9" y="130"/>
                    </a:lnTo>
                    <a:lnTo>
                      <a:pt x="5" y="121"/>
                    </a:lnTo>
                    <a:lnTo>
                      <a:pt x="3" y="113"/>
                    </a:lnTo>
                    <a:lnTo>
                      <a:pt x="0" y="104"/>
                    </a:lnTo>
                    <a:lnTo>
                      <a:pt x="0" y="96"/>
                    </a:lnTo>
                    <a:lnTo>
                      <a:pt x="0" y="87"/>
                    </a:lnTo>
                    <a:lnTo>
                      <a:pt x="0" y="78"/>
                    </a:lnTo>
                    <a:lnTo>
                      <a:pt x="1" y="69"/>
                    </a:lnTo>
                    <a:lnTo>
                      <a:pt x="4" y="62"/>
                    </a:lnTo>
                    <a:lnTo>
                      <a:pt x="8" y="53"/>
                    </a:lnTo>
                    <a:lnTo>
                      <a:pt x="11" y="45"/>
                    </a:lnTo>
                    <a:lnTo>
                      <a:pt x="17" y="37"/>
                    </a:lnTo>
                    <a:lnTo>
                      <a:pt x="17" y="37"/>
                    </a:lnTo>
                    <a:lnTo>
                      <a:pt x="24" y="29"/>
                    </a:lnTo>
                    <a:lnTo>
                      <a:pt x="32" y="21"/>
                    </a:lnTo>
                    <a:lnTo>
                      <a:pt x="39" y="15"/>
                    </a:lnTo>
                    <a:lnTo>
                      <a:pt x="49" y="10"/>
                    </a:lnTo>
                    <a:lnTo>
                      <a:pt x="58" y="5"/>
                    </a:lnTo>
                    <a:lnTo>
                      <a:pt x="68" y="3"/>
                    </a:lnTo>
                    <a:lnTo>
                      <a:pt x="79" y="0"/>
                    </a:lnTo>
                    <a:lnTo>
                      <a:pt x="89" y="0"/>
                    </a:lnTo>
                    <a:lnTo>
                      <a:pt x="89" y="0"/>
                    </a:lnTo>
                    <a:lnTo>
                      <a:pt x="104" y="1"/>
                    </a:lnTo>
                    <a:lnTo>
                      <a:pt x="117" y="4"/>
                    </a:lnTo>
                    <a:lnTo>
                      <a:pt x="131" y="9"/>
                    </a:lnTo>
                    <a:lnTo>
                      <a:pt x="142" y="16"/>
                    </a:lnTo>
                    <a:lnTo>
                      <a:pt x="142" y="16"/>
                    </a:lnTo>
                    <a:lnTo>
                      <a:pt x="150" y="23"/>
                    </a:lnTo>
                    <a:lnTo>
                      <a:pt x="156" y="29"/>
                    </a:lnTo>
                    <a:lnTo>
                      <a:pt x="162" y="35"/>
                    </a:lnTo>
                    <a:lnTo>
                      <a:pt x="167" y="43"/>
                    </a:lnTo>
                    <a:lnTo>
                      <a:pt x="171" y="50"/>
                    </a:lnTo>
                    <a:lnTo>
                      <a:pt x="175" y="59"/>
                    </a:lnTo>
                    <a:lnTo>
                      <a:pt x="177" y="67"/>
                    </a:lnTo>
                    <a:lnTo>
                      <a:pt x="179" y="75"/>
                    </a:lnTo>
                    <a:lnTo>
                      <a:pt x="180" y="84"/>
                    </a:lnTo>
                    <a:lnTo>
                      <a:pt x="180" y="93"/>
                    </a:lnTo>
                    <a:lnTo>
                      <a:pt x="179" y="102"/>
                    </a:lnTo>
                    <a:lnTo>
                      <a:pt x="177" y="109"/>
                    </a:lnTo>
                    <a:lnTo>
                      <a:pt x="175" y="118"/>
                    </a:lnTo>
                    <a:lnTo>
                      <a:pt x="172" y="127"/>
                    </a:lnTo>
                    <a:lnTo>
                      <a:pt x="167" y="135"/>
                    </a:lnTo>
                    <a:lnTo>
                      <a:pt x="162" y="142"/>
                    </a:lnTo>
                    <a:lnTo>
                      <a:pt x="162" y="142"/>
                    </a:lnTo>
                    <a:lnTo>
                      <a:pt x="156" y="151"/>
                    </a:lnTo>
                    <a:lnTo>
                      <a:pt x="148" y="158"/>
                    </a:lnTo>
                    <a:lnTo>
                      <a:pt x="140" y="165"/>
                    </a:lnTo>
                    <a:lnTo>
                      <a:pt x="131" y="170"/>
                    </a:lnTo>
                    <a:lnTo>
                      <a:pt x="121" y="175"/>
                    </a:lnTo>
                    <a:lnTo>
                      <a:pt x="111" y="177"/>
                    </a:lnTo>
                    <a:lnTo>
                      <a:pt x="101" y="180"/>
                    </a:lnTo>
                    <a:lnTo>
                      <a:pt x="89" y="180"/>
                    </a:lnTo>
                    <a:lnTo>
                      <a:pt x="89" y="180"/>
                    </a:lnTo>
                    <a:close/>
                    <a:moveTo>
                      <a:pt x="89" y="21"/>
                    </a:moveTo>
                    <a:lnTo>
                      <a:pt x="89" y="21"/>
                    </a:lnTo>
                    <a:lnTo>
                      <a:pt x="82" y="21"/>
                    </a:lnTo>
                    <a:lnTo>
                      <a:pt x="73" y="23"/>
                    </a:lnTo>
                    <a:lnTo>
                      <a:pt x="66" y="25"/>
                    </a:lnTo>
                    <a:lnTo>
                      <a:pt x="58" y="29"/>
                    </a:lnTo>
                    <a:lnTo>
                      <a:pt x="52" y="33"/>
                    </a:lnTo>
                    <a:lnTo>
                      <a:pt x="45" y="38"/>
                    </a:lnTo>
                    <a:lnTo>
                      <a:pt x="39" y="43"/>
                    </a:lnTo>
                    <a:lnTo>
                      <a:pt x="34" y="49"/>
                    </a:lnTo>
                    <a:lnTo>
                      <a:pt x="34" y="49"/>
                    </a:lnTo>
                    <a:lnTo>
                      <a:pt x="27" y="62"/>
                    </a:lnTo>
                    <a:lnTo>
                      <a:pt x="23" y="74"/>
                    </a:lnTo>
                    <a:lnTo>
                      <a:pt x="20" y="88"/>
                    </a:lnTo>
                    <a:lnTo>
                      <a:pt x="22" y="101"/>
                    </a:lnTo>
                    <a:lnTo>
                      <a:pt x="25" y="113"/>
                    </a:lnTo>
                    <a:lnTo>
                      <a:pt x="30" y="126"/>
                    </a:lnTo>
                    <a:lnTo>
                      <a:pt x="39" y="137"/>
                    </a:lnTo>
                    <a:lnTo>
                      <a:pt x="49" y="146"/>
                    </a:lnTo>
                    <a:lnTo>
                      <a:pt x="49" y="146"/>
                    </a:lnTo>
                    <a:lnTo>
                      <a:pt x="59" y="151"/>
                    </a:lnTo>
                    <a:lnTo>
                      <a:pt x="68" y="156"/>
                    </a:lnTo>
                    <a:lnTo>
                      <a:pt x="79" y="158"/>
                    </a:lnTo>
                    <a:lnTo>
                      <a:pt x="89" y="158"/>
                    </a:lnTo>
                    <a:lnTo>
                      <a:pt x="89" y="158"/>
                    </a:lnTo>
                    <a:lnTo>
                      <a:pt x="98" y="158"/>
                    </a:lnTo>
                    <a:lnTo>
                      <a:pt x="106" y="157"/>
                    </a:lnTo>
                    <a:lnTo>
                      <a:pt x="113" y="155"/>
                    </a:lnTo>
                    <a:lnTo>
                      <a:pt x="121" y="151"/>
                    </a:lnTo>
                    <a:lnTo>
                      <a:pt x="128" y="147"/>
                    </a:lnTo>
                    <a:lnTo>
                      <a:pt x="135" y="142"/>
                    </a:lnTo>
                    <a:lnTo>
                      <a:pt x="141" y="137"/>
                    </a:lnTo>
                    <a:lnTo>
                      <a:pt x="146" y="130"/>
                    </a:lnTo>
                    <a:lnTo>
                      <a:pt x="146" y="130"/>
                    </a:lnTo>
                    <a:lnTo>
                      <a:pt x="152" y="118"/>
                    </a:lnTo>
                    <a:lnTo>
                      <a:pt x="157" y="106"/>
                    </a:lnTo>
                    <a:lnTo>
                      <a:pt x="159" y="92"/>
                    </a:lnTo>
                    <a:lnTo>
                      <a:pt x="157" y="79"/>
                    </a:lnTo>
                    <a:lnTo>
                      <a:pt x="155" y="65"/>
                    </a:lnTo>
                    <a:lnTo>
                      <a:pt x="148" y="54"/>
                    </a:lnTo>
                    <a:lnTo>
                      <a:pt x="141" y="43"/>
                    </a:lnTo>
                    <a:lnTo>
                      <a:pt x="130" y="34"/>
                    </a:lnTo>
                    <a:lnTo>
                      <a:pt x="130" y="34"/>
                    </a:lnTo>
                    <a:lnTo>
                      <a:pt x="121" y="28"/>
                    </a:lnTo>
                    <a:lnTo>
                      <a:pt x="111" y="24"/>
                    </a:lnTo>
                    <a:lnTo>
                      <a:pt x="101" y="21"/>
                    </a:lnTo>
                    <a:lnTo>
                      <a:pt x="89" y="21"/>
                    </a:lnTo>
                    <a:lnTo>
                      <a:pt x="89" y="21"/>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6" name="Freeform 15"/>
              <p:cNvSpPr>
                <a:spLocks noEditPoints="1"/>
              </p:cNvSpPr>
              <p:nvPr/>
            </p:nvSpPr>
            <p:spPr bwMode="auto">
              <a:xfrm>
                <a:off x="8247528" y="3444577"/>
                <a:ext cx="181553" cy="183593"/>
              </a:xfrm>
              <a:custGeom>
                <a:avLst/>
                <a:gdLst>
                  <a:gd name="T0" fmla="*/ 89 w 180"/>
                  <a:gd name="T1" fmla="*/ 180 h 180"/>
                  <a:gd name="T2" fmla="*/ 68 w 180"/>
                  <a:gd name="T3" fmla="*/ 177 h 180"/>
                  <a:gd name="T4" fmla="*/ 49 w 180"/>
                  <a:gd name="T5" fmla="*/ 170 h 180"/>
                  <a:gd name="T6" fmla="*/ 32 w 180"/>
                  <a:gd name="T7" fmla="*/ 158 h 180"/>
                  <a:gd name="T8" fmla="*/ 17 w 180"/>
                  <a:gd name="T9" fmla="*/ 142 h 180"/>
                  <a:gd name="T10" fmla="*/ 11 w 180"/>
                  <a:gd name="T11" fmla="*/ 136 h 180"/>
                  <a:gd name="T12" fmla="*/ 4 w 180"/>
                  <a:gd name="T13" fmla="*/ 119 h 180"/>
                  <a:gd name="T14" fmla="*/ 0 w 180"/>
                  <a:gd name="T15" fmla="*/ 102 h 180"/>
                  <a:gd name="T16" fmla="*/ 0 w 180"/>
                  <a:gd name="T17" fmla="*/ 84 h 180"/>
                  <a:gd name="T18" fmla="*/ 0 w 180"/>
                  <a:gd name="T19" fmla="*/ 75 h 180"/>
                  <a:gd name="T20" fmla="*/ 5 w 180"/>
                  <a:gd name="T21" fmla="*/ 58 h 180"/>
                  <a:gd name="T22" fmla="*/ 13 w 180"/>
                  <a:gd name="T23" fmla="*/ 43 h 180"/>
                  <a:gd name="T24" fmla="*/ 24 w 180"/>
                  <a:gd name="T25" fmla="*/ 29 h 180"/>
                  <a:gd name="T26" fmla="*/ 37 w 180"/>
                  <a:gd name="T27" fmla="*/ 16 h 180"/>
                  <a:gd name="T28" fmla="*/ 49 w 180"/>
                  <a:gd name="T29" fmla="*/ 9 h 180"/>
                  <a:gd name="T30" fmla="*/ 76 w 180"/>
                  <a:gd name="T31" fmla="*/ 1 h 180"/>
                  <a:gd name="T32" fmla="*/ 89 w 180"/>
                  <a:gd name="T33" fmla="*/ 0 h 180"/>
                  <a:gd name="T34" fmla="*/ 111 w 180"/>
                  <a:gd name="T35" fmla="*/ 3 h 180"/>
                  <a:gd name="T36" fmla="*/ 131 w 180"/>
                  <a:gd name="T37" fmla="*/ 10 h 180"/>
                  <a:gd name="T38" fmla="*/ 148 w 180"/>
                  <a:gd name="T39" fmla="*/ 21 h 180"/>
                  <a:gd name="T40" fmla="*/ 162 w 180"/>
                  <a:gd name="T41" fmla="*/ 37 h 180"/>
                  <a:gd name="T42" fmla="*/ 167 w 180"/>
                  <a:gd name="T43" fmla="*/ 44 h 180"/>
                  <a:gd name="T44" fmla="*/ 175 w 180"/>
                  <a:gd name="T45" fmla="*/ 60 h 180"/>
                  <a:gd name="T46" fmla="*/ 179 w 180"/>
                  <a:gd name="T47" fmla="*/ 78 h 180"/>
                  <a:gd name="T48" fmla="*/ 180 w 180"/>
                  <a:gd name="T49" fmla="*/ 96 h 180"/>
                  <a:gd name="T50" fmla="*/ 179 w 180"/>
                  <a:gd name="T51" fmla="*/ 104 h 180"/>
                  <a:gd name="T52" fmla="*/ 175 w 180"/>
                  <a:gd name="T53" fmla="*/ 121 h 180"/>
                  <a:gd name="T54" fmla="*/ 166 w 180"/>
                  <a:gd name="T55" fmla="*/ 137 h 180"/>
                  <a:gd name="T56" fmla="*/ 156 w 180"/>
                  <a:gd name="T57" fmla="*/ 151 h 180"/>
                  <a:gd name="T58" fmla="*/ 142 w 180"/>
                  <a:gd name="T59" fmla="*/ 162 h 180"/>
                  <a:gd name="T60" fmla="*/ 131 w 180"/>
                  <a:gd name="T61" fmla="*/ 170 h 180"/>
                  <a:gd name="T62" fmla="*/ 104 w 180"/>
                  <a:gd name="T63" fmla="*/ 178 h 180"/>
                  <a:gd name="T64" fmla="*/ 89 w 180"/>
                  <a:gd name="T65" fmla="*/ 180 h 180"/>
                  <a:gd name="T66" fmla="*/ 89 w 180"/>
                  <a:gd name="T67" fmla="*/ 21 h 180"/>
                  <a:gd name="T68" fmla="*/ 68 w 180"/>
                  <a:gd name="T69" fmla="*/ 24 h 180"/>
                  <a:gd name="T70" fmla="*/ 49 w 180"/>
                  <a:gd name="T71" fmla="*/ 34 h 180"/>
                  <a:gd name="T72" fmla="*/ 39 w 180"/>
                  <a:gd name="T73" fmla="*/ 43 h 180"/>
                  <a:gd name="T74" fmla="*/ 25 w 180"/>
                  <a:gd name="T75" fmla="*/ 65 h 180"/>
                  <a:gd name="T76" fmla="*/ 22 w 180"/>
                  <a:gd name="T77" fmla="*/ 79 h 180"/>
                  <a:gd name="T78" fmla="*/ 23 w 180"/>
                  <a:gd name="T79" fmla="*/ 106 h 180"/>
                  <a:gd name="T80" fmla="*/ 34 w 180"/>
                  <a:gd name="T81" fmla="*/ 131 h 180"/>
                  <a:gd name="T82" fmla="*/ 39 w 180"/>
                  <a:gd name="T83" fmla="*/ 137 h 180"/>
                  <a:gd name="T84" fmla="*/ 52 w 180"/>
                  <a:gd name="T85" fmla="*/ 147 h 180"/>
                  <a:gd name="T86" fmla="*/ 66 w 180"/>
                  <a:gd name="T87" fmla="*/ 155 h 180"/>
                  <a:gd name="T88" fmla="*/ 82 w 180"/>
                  <a:gd name="T89" fmla="*/ 158 h 180"/>
                  <a:gd name="T90" fmla="*/ 89 w 180"/>
                  <a:gd name="T91" fmla="*/ 158 h 180"/>
                  <a:gd name="T92" fmla="*/ 111 w 180"/>
                  <a:gd name="T93" fmla="*/ 156 h 180"/>
                  <a:gd name="T94" fmla="*/ 130 w 180"/>
                  <a:gd name="T95" fmla="*/ 146 h 180"/>
                  <a:gd name="T96" fmla="*/ 141 w 180"/>
                  <a:gd name="T97" fmla="*/ 137 h 180"/>
                  <a:gd name="T98" fmla="*/ 155 w 180"/>
                  <a:gd name="T99" fmla="*/ 114 h 180"/>
                  <a:gd name="T100" fmla="*/ 157 w 180"/>
                  <a:gd name="T101" fmla="*/ 101 h 180"/>
                  <a:gd name="T102" fmla="*/ 157 w 180"/>
                  <a:gd name="T103" fmla="*/ 74 h 180"/>
                  <a:gd name="T104" fmla="*/ 146 w 180"/>
                  <a:gd name="T105" fmla="*/ 49 h 180"/>
                  <a:gd name="T106" fmla="*/ 141 w 180"/>
                  <a:gd name="T107" fmla="*/ 43 h 180"/>
                  <a:gd name="T108" fmla="*/ 128 w 180"/>
                  <a:gd name="T109" fmla="*/ 33 h 180"/>
                  <a:gd name="T110" fmla="*/ 113 w 180"/>
                  <a:gd name="T111" fmla="*/ 25 h 180"/>
                  <a:gd name="T112" fmla="*/ 98 w 180"/>
                  <a:gd name="T113" fmla="*/ 21 h 180"/>
                  <a:gd name="T114" fmla="*/ 89 w 180"/>
                  <a:gd name="T115" fmla="*/ 2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0" h="180">
                    <a:moveTo>
                      <a:pt x="89" y="180"/>
                    </a:moveTo>
                    <a:lnTo>
                      <a:pt x="89" y="180"/>
                    </a:lnTo>
                    <a:lnTo>
                      <a:pt x="79" y="180"/>
                    </a:lnTo>
                    <a:lnTo>
                      <a:pt x="68" y="177"/>
                    </a:lnTo>
                    <a:lnTo>
                      <a:pt x="58" y="175"/>
                    </a:lnTo>
                    <a:lnTo>
                      <a:pt x="49" y="170"/>
                    </a:lnTo>
                    <a:lnTo>
                      <a:pt x="39" y="165"/>
                    </a:lnTo>
                    <a:lnTo>
                      <a:pt x="32" y="158"/>
                    </a:lnTo>
                    <a:lnTo>
                      <a:pt x="24" y="151"/>
                    </a:lnTo>
                    <a:lnTo>
                      <a:pt x="17" y="142"/>
                    </a:lnTo>
                    <a:lnTo>
                      <a:pt x="17" y="142"/>
                    </a:lnTo>
                    <a:lnTo>
                      <a:pt x="11" y="136"/>
                    </a:lnTo>
                    <a:lnTo>
                      <a:pt x="8" y="127"/>
                    </a:lnTo>
                    <a:lnTo>
                      <a:pt x="4" y="119"/>
                    </a:lnTo>
                    <a:lnTo>
                      <a:pt x="1" y="111"/>
                    </a:lnTo>
                    <a:lnTo>
                      <a:pt x="0" y="102"/>
                    </a:lnTo>
                    <a:lnTo>
                      <a:pt x="0" y="93"/>
                    </a:lnTo>
                    <a:lnTo>
                      <a:pt x="0" y="84"/>
                    </a:lnTo>
                    <a:lnTo>
                      <a:pt x="0" y="75"/>
                    </a:lnTo>
                    <a:lnTo>
                      <a:pt x="0" y="75"/>
                    </a:lnTo>
                    <a:lnTo>
                      <a:pt x="3" y="67"/>
                    </a:lnTo>
                    <a:lnTo>
                      <a:pt x="5" y="58"/>
                    </a:lnTo>
                    <a:lnTo>
                      <a:pt x="9" y="50"/>
                    </a:lnTo>
                    <a:lnTo>
                      <a:pt x="13" y="43"/>
                    </a:lnTo>
                    <a:lnTo>
                      <a:pt x="18" y="35"/>
                    </a:lnTo>
                    <a:lnTo>
                      <a:pt x="24" y="29"/>
                    </a:lnTo>
                    <a:lnTo>
                      <a:pt x="30" y="23"/>
                    </a:lnTo>
                    <a:lnTo>
                      <a:pt x="37" y="16"/>
                    </a:lnTo>
                    <a:lnTo>
                      <a:pt x="37" y="16"/>
                    </a:lnTo>
                    <a:lnTo>
                      <a:pt x="49" y="9"/>
                    </a:lnTo>
                    <a:lnTo>
                      <a:pt x="62" y="4"/>
                    </a:lnTo>
                    <a:lnTo>
                      <a:pt x="76" y="1"/>
                    </a:lnTo>
                    <a:lnTo>
                      <a:pt x="89" y="0"/>
                    </a:lnTo>
                    <a:lnTo>
                      <a:pt x="89" y="0"/>
                    </a:lnTo>
                    <a:lnTo>
                      <a:pt x="101" y="0"/>
                    </a:lnTo>
                    <a:lnTo>
                      <a:pt x="111" y="3"/>
                    </a:lnTo>
                    <a:lnTo>
                      <a:pt x="121" y="5"/>
                    </a:lnTo>
                    <a:lnTo>
                      <a:pt x="131" y="10"/>
                    </a:lnTo>
                    <a:lnTo>
                      <a:pt x="140" y="15"/>
                    </a:lnTo>
                    <a:lnTo>
                      <a:pt x="148" y="21"/>
                    </a:lnTo>
                    <a:lnTo>
                      <a:pt x="156" y="29"/>
                    </a:lnTo>
                    <a:lnTo>
                      <a:pt x="162" y="37"/>
                    </a:lnTo>
                    <a:lnTo>
                      <a:pt x="162" y="37"/>
                    </a:lnTo>
                    <a:lnTo>
                      <a:pt x="167" y="44"/>
                    </a:lnTo>
                    <a:lnTo>
                      <a:pt x="172" y="53"/>
                    </a:lnTo>
                    <a:lnTo>
                      <a:pt x="175" y="60"/>
                    </a:lnTo>
                    <a:lnTo>
                      <a:pt x="177" y="69"/>
                    </a:lnTo>
                    <a:lnTo>
                      <a:pt x="179" y="78"/>
                    </a:lnTo>
                    <a:lnTo>
                      <a:pt x="180" y="87"/>
                    </a:lnTo>
                    <a:lnTo>
                      <a:pt x="180" y="96"/>
                    </a:lnTo>
                    <a:lnTo>
                      <a:pt x="179" y="104"/>
                    </a:lnTo>
                    <a:lnTo>
                      <a:pt x="179" y="104"/>
                    </a:lnTo>
                    <a:lnTo>
                      <a:pt x="177" y="113"/>
                    </a:lnTo>
                    <a:lnTo>
                      <a:pt x="175" y="121"/>
                    </a:lnTo>
                    <a:lnTo>
                      <a:pt x="171" y="130"/>
                    </a:lnTo>
                    <a:lnTo>
                      <a:pt x="166" y="137"/>
                    </a:lnTo>
                    <a:lnTo>
                      <a:pt x="161" y="145"/>
                    </a:lnTo>
                    <a:lnTo>
                      <a:pt x="156" y="151"/>
                    </a:lnTo>
                    <a:lnTo>
                      <a:pt x="150" y="157"/>
                    </a:lnTo>
                    <a:lnTo>
                      <a:pt x="142" y="162"/>
                    </a:lnTo>
                    <a:lnTo>
                      <a:pt x="142" y="162"/>
                    </a:lnTo>
                    <a:lnTo>
                      <a:pt x="131" y="170"/>
                    </a:lnTo>
                    <a:lnTo>
                      <a:pt x="117" y="176"/>
                    </a:lnTo>
                    <a:lnTo>
                      <a:pt x="104" y="178"/>
                    </a:lnTo>
                    <a:lnTo>
                      <a:pt x="89" y="180"/>
                    </a:lnTo>
                    <a:lnTo>
                      <a:pt x="89" y="180"/>
                    </a:lnTo>
                    <a:close/>
                    <a:moveTo>
                      <a:pt x="89" y="21"/>
                    </a:moveTo>
                    <a:lnTo>
                      <a:pt x="89" y="21"/>
                    </a:lnTo>
                    <a:lnTo>
                      <a:pt x="79" y="21"/>
                    </a:lnTo>
                    <a:lnTo>
                      <a:pt x="68" y="24"/>
                    </a:lnTo>
                    <a:lnTo>
                      <a:pt x="58" y="28"/>
                    </a:lnTo>
                    <a:lnTo>
                      <a:pt x="49" y="34"/>
                    </a:lnTo>
                    <a:lnTo>
                      <a:pt x="49" y="34"/>
                    </a:lnTo>
                    <a:lnTo>
                      <a:pt x="39" y="43"/>
                    </a:lnTo>
                    <a:lnTo>
                      <a:pt x="32" y="54"/>
                    </a:lnTo>
                    <a:lnTo>
                      <a:pt x="25" y="65"/>
                    </a:lnTo>
                    <a:lnTo>
                      <a:pt x="22" y="79"/>
                    </a:lnTo>
                    <a:lnTo>
                      <a:pt x="22" y="79"/>
                    </a:lnTo>
                    <a:lnTo>
                      <a:pt x="20" y="93"/>
                    </a:lnTo>
                    <a:lnTo>
                      <a:pt x="23" y="106"/>
                    </a:lnTo>
                    <a:lnTo>
                      <a:pt x="27" y="118"/>
                    </a:lnTo>
                    <a:lnTo>
                      <a:pt x="34" y="131"/>
                    </a:lnTo>
                    <a:lnTo>
                      <a:pt x="34" y="131"/>
                    </a:lnTo>
                    <a:lnTo>
                      <a:pt x="39" y="137"/>
                    </a:lnTo>
                    <a:lnTo>
                      <a:pt x="45" y="142"/>
                    </a:lnTo>
                    <a:lnTo>
                      <a:pt x="52" y="147"/>
                    </a:lnTo>
                    <a:lnTo>
                      <a:pt x="58" y="151"/>
                    </a:lnTo>
                    <a:lnTo>
                      <a:pt x="66" y="155"/>
                    </a:lnTo>
                    <a:lnTo>
                      <a:pt x="73" y="157"/>
                    </a:lnTo>
                    <a:lnTo>
                      <a:pt x="82" y="158"/>
                    </a:lnTo>
                    <a:lnTo>
                      <a:pt x="89" y="158"/>
                    </a:lnTo>
                    <a:lnTo>
                      <a:pt x="89" y="158"/>
                    </a:lnTo>
                    <a:lnTo>
                      <a:pt x="101" y="158"/>
                    </a:lnTo>
                    <a:lnTo>
                      <a:pt x="111" y="156"/>
                    </a:lnTo>
                    <a:lnTo>
                      <a:pt x="121" y="151"/>
                    </a:lnTo>
                    <a:lnTo>
                      <a:pt x="130" y="146"/>
                    </a:lnTo>
                    <a:lnTo>
                      <a:pt x="130" y="146"/>
                    </a:lnTo>
                    <a:lnTo>
                      <a:pt x="141" y="137"/>
                    </a:lnTo>
                    <a:lnTo>
                      <a:pt x="148" y="126"/>
                    </a:lnTo>
                    <a:lnTo>
                      <a:pt x="155" y="114"/>
                    </a:lnTo>
                    <a:lnTo>
                      <a:pt x="157" y="101"/>
                    </a:lnTo>
                    <a:lnTo>
                      <a:pt x="157" y="101"/>
                    </a:lnTo>
                    <a:lnTo>
                      <a:pt x="159" y="87"/>
                    </a:lnTo>
                    <a:lnTo>
                      <a:pt x="157" y="74"/>
                    </a:lnTo>
                    <a:lnTo>
                      <a:pt x="152" y="62"/>
                    </a:lnTo>
                    <a:lnTo>
                      <a:pt x="146" y="49"/>
                    </a:lnTo>
                    <a:lnTo>
                      <a:pt x="146" y="49"/>
                    </a:lnTo>
                    <a:lnTo>
                      <a:pt x="141" y="43"/>
                    </a:lnTo>
                    <a:lnTo>
                      <a:pt x="135" y="38"/>
                    </a:lnTo>
                    <a:lnTo>
                      <a:pt x="128" y="33"/>
                    </a:lnTo>
                    <a:lnTo>
                      <a:pt x="121" y="29"/>
                    </a:lnTo>
                    <a:lnTo>
                      <a:pt x="113" y="25"/>
                    </a:lnTo>
                    <a:lnTo>
                      <a:pt x="106" y="23"/>
                    </a:lnTo>
                    <a:lnTo>
                      <a:pt x="98" y="21"/>
                    </a:lnTo>
                    <a:lnTo>
                      <a:pt x="89" y="21"/>
                    </a:lnTo>
                    <a:lnTo>
                      <a:pt x="89" y="21"/>
                    </a:lnTo>
                    <a:close/>
                  </a:path>
                </a:pathLst>
              </a:custGeom>
              <a:solidFill>
                <a:schemeClr val="tx1"/>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7" name="Freeform 16"/>
              <p:cNvSpPr>
                <a:spLocks noEditPoints="1"/>
              </p:cNvSpPr>
              <p:nvPr/>
            </p:nvSpPr>
            <p:spPr bwMode="auto">
              <a:xfrm>
                <a:off x="8312807" y="3367060"/>
                <a:ext cx="50998" cy="48957"/>
              </a:xfrm>
              <a:custGeom>
                <a:avLst/>
                <a:gdLst>
                  <a:gd name="T0" fmla="*/ 23 w 49"/>
                  <a:gd name="T1" fmla="*/ 47 h 47"/>
                  <a:gd name="T2" fmla="*/ 15 w 49"/>
                  <a:gd name="T3" fmla="*/ 46 h 47"/>
                  <a:gd name="T4" fmla="*/ 7 w 49"/>
                  <a:gd name="T5" fmla="*/ 41 h 47"/>
                  <a:gd name="T6" fmla="*/ 1 w 49"/>
                  <a:gd name="T7" fmla="*/ 32 h 47"/>
                  <a:gd name="T8" fmla="*/ 0 w 49"/>
                  <a:gd name="T9" fmla="*/ 24 h 47"/>
                  <a:gd name="T10" fmla="*/ 0 w 49"/>
                  <a:gd name="T11" fmla="*/ 19 h 47"/>
                  <a:gd name="T12" fmla="*/ 3 w 49"/>
                  <a:gd name="T13" fmla="*/ 10 h 47"/>
                  <a:gd name="T14" fmla="*/ 10 w 49"/>
                  <a:gd name="T15" fmla="*/ 3 h 47"/>
                  <a:gd name="T16" fmla="*/ 18 w 49"/>
                  <a:gd name="T17" fmla="*/ 0 h 47"/>
                  <a:gd name="T18" fmla="*/ 23 w 49"/>
                  <a:gd name="T19" fmla="*/ 0 h 47"/>
                  <a:gd name="T20" fmla="*/ 33 w 49"/>
                  <a:gd name="T21" fmla="*/ 1 h 47"/>
                  <a:gd name="T22" fmla="*/ 41 w 49"/>
                  <a:gd name="T23" fmla="*/ 6 h 47"/>
                  <a:gd name="T24" fmla="*/ 46 w 49"/>
                  <a:gd name="T25" fmla="*/ 14 h 47"/>
                  <a:gd name="T26" fmla="*/ 49 w 49"/>
                  <a:gd name="T27" fmla="*/ 24 h 47"/>
                  <a:gd name="T28" fmla="*/ 47 w 49"/>
                  <a:gd name="T29" fmla="*/ 29 h 47"/>
                  <a:gd name="T30" fmla="*/ 43 w 49"/>
                  <a:gd name="T31" fmla="*/ 37 h 47"/>
                  <a:gd name="T32" fmla="*/ 37 w 49"/>
                  <a:gd name="T33" fmla="*/ 44 h 47"/>
                  <a:gd name="T34" fmla="*/ 28 w 49"/>
                  <a:gd name="T35" fmla="*/ 47 h 47"/>
                  <a:gd name="T36" fmla="*/ 23 w 49"/>
                  <a:gd name="T37" fmla="*/ 47 h 47"/>
                  <a:gd name="T38" fmla="*/ 23 w 49"/>
                  <a:gd name="T39" fmla="*/ 5 h 47"/>
                  <a:gd name="T40" fmla="*/ 16 w 49"/>
                  <a:gd name="T41" fmla="*/ 6 h 47"/>
                  <a:gd name="T42" fmla="*/ 7 w 49"/>
                  <a:gd name="T43" fmla="*/ 16 h 47"/>
                  <a:gd name="T44" fmla="*/ 5 w 49"/>
                  <a:gd name="T45" fmla="*/ 24 h 47"/>
                  <a:gd name="T46" fmla="*/ 6 w 49"/>
                  <a:gd name="T47" fmla="*/ 27 h 47"/>
                  <a:gd name="T48" fmla="*/ 11 w 49"/>
                  <a:gd name="T49" fmla="*/ 36 h 47"/>
                  <a:gd name="T50" fmla="*/ 20 w 49"/>
                  <a:gd name="T51" fmla="*/ 41 h 47"/>
                  <a:gd name="T52" fmla="*/ 23 w 49"/>
                  <a:gd name="T53" fmla="*/ 42 h 47"/>
                  <a:gd name="T54" fmla="*/ 31 w 49"/>
                  <a:gd name="T55" fmla="*/ 41 h 47"/>
                  <a:gd name="T56" fmla="*/ 41 w 49"/>
                  <a:gd name="T57" fmla="*/ 31 h 47"/>
                  <a:gd name="T58" fmla="*/ 42 w 49"/>
                  <a:gd name="T59" fmla="*/ 24 h 47"/>
                  <a:gd name="T60" fmla="*/ 42 w 49"/>
                  <a:gd name="T61" fmla="*/ 20 h 47"/>
                  <a:gd name="T62" fmla="*/ 37 w 49"/>
                  <a:gd name="T63" fmla="*/ 10 h 47"/>
                  <a:gd name="T64" fmla="*/ 27 w 49"/>
                  <a:gd name="T65" fmla="*/ 5 h 47"/>
                  <a:gd name="T66" fmla="*/ 23 w 49"/>
                  <a:gd name="T67"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 h="47">
                    <a:moveTo>
                      <a:pt x="23" y="47"/>
                    </a:moveTo>
                    <a:lnTo>
                      <a:pt x="23" y="47"/>
                    </a:lnTo>
                    <a:lnTo>
                      <a:pt x="18" y="47"/>
                    </a:lnTo>
                    <a:lnTo>
                      <a:pt x="15" y="46"/>
                    </a:lnTo>
                    <a:lnTo>
                      <a:pt x="10" y="44"/>
                    </a:lnTo>
                    <a:lnTo>
                      <a:pt x="7" y="41"/>
                    </a:lnTo>
                    <a:lnTo>
                      <a:pt x="3" y="37"/>
                    </a:lnTo>
                    <a:lnTo>
                      <a:pt x="1" y="32"/>
                    </a:lnTo>
                    <a:lnTo>
                      <a:pt x="0" y="29"/>
                    </a:lnTo>
                    <a:lnTo>
                      <a:pt x="0" y="24"/>
                    </a:lnTo>
                    <a:lnTo>
                      <a:pt x="0" y="24"/>
                    </a:lnTo>
                    <a:lnTo>
                      <a:pt x="0" y="19"/>
                    </a:lnTo>
                    <a:lnTo>
                      <a:pt x="1" y="14"/>
                    </a:lnTo>
                    <a:lnTo>
                      <a:pt x="3" y="10"/>
                    </a:lnTo>
                    <a:lnTo>
                      <a:pt x="7" y="6"/>
                    </a:lnTo>
                    <a:lnTo>
                      <a:pt x="10" y="3"/>
                    </a:lnTo>
                    <a:lnTo>
                      <a:pt x="15" y="1"/>
                    </a:lnTo>
                    <a:lnTo>
                      <a:pt x="18" y="0"/>
                    </a:lnTo>
                    <a:lnTo>
                      <a:pt x="23" y="0"/>
                    </a:lnTo>
                    <a:lnTo>
                      <a:pt x="23" y="0"/>
                    </a:lnTo>
                    <a:lnTo>
                      <a:pt x="28" y="0"/>
                    </a:lnTo>
                    <a:lnTo>
                      <a:pt x="33" y="1"/>
                    </a:lnTo>
                    <a:lnTo>
                      <a:pt x="37" y="3"/>
                    </a:lnTo>
                    <a:lnTo>
                      <a:pt x="41" y="6"/>
                    </a:lnTo>
                    <a:lnTo>
                      <a:pt x="43" y="10"/>
                    </a:lnTo>
                    <a:lnTo>
                      <a:pt x="46" y="14"/>
                    </a:lnTo>
                    <a:lnTo>
                      <a:pt x="47" y="19"/>
                    </a:lnTo>
                    <a:lnTo>
                      <a:pt x="49" y="24"/>
                    </a:lnTo>
                    <a:lnTo>
                      <a:pt x="49" y="24"/>
                    </a:lnTo>
                    <a:lnTo>
                      <a:pt x="47" y="29"/>
                    </a:lnTo>
                    <a:lnTo>
                      <a:pt x="46" y="32"/>
                    </a:lnTo>
                    <a:lnTo>
                      <a:pt x="43" y="37"/>
                    </a:lnTo>
                    <a:lnTo>
                      <a:pt x="41" y="41"/>
                    </a:lnTo>
                    <a:lnTo>
                      <a:pt x="37" y="44"/>
                    </a:lnTo>
                    <a:lnTo>
                      <a:pt x="33" y="46"/>
                    </a:lnTo>
                    <a:lnTo>
                      <a:pt x="28" y="47"/>
                    </a:lnTo>
                    <a:lnTo>
                      <a:pt x="23" y="47"/>
                    </a:lnTo>
                    <a:lnTo>
                      <a:pt x="23" y="47"/>
                    </a:lnTo>
                    <a:close/>
                    <a:moveTo>
                      <a:pt x="23" y="5"/>
                    </a:moveTo>
                    <a:lnTo>
                      <a:pt x="23" y="5"/>
                    </a:lnTo>
                    <a:lnTo>
                      <a:pt x="20" y="5"/>
                    </a:lnTo>
                    <a:lnTo>
                      <a:pt x="16" y="6"/>
                    </a:lnTo>
                    <a:lnTo>
                      <a:pt x="11" y="10"/>
                    </a:lnTo>
                    <a:lnTo>
                      <a:pt x="7" y="16"/>
                    </a:lnTo>
                    <a:lnTo>
                      <a:pt x="6" y="20"/>
                    </a:lnTo>
                    <a:lnTo>
                      <a:pt x="5" y="24"/>
                    </a:lnTo>
                    <a:lnTo>
                      <a:pt x="5" y="24"/>
                    </a:lnTo>
                    <a:lnTo>
                      <a:pt x="6" y="27"/>
                    </a:lnTo>
                    <a:lnTo>
                      <a:pt x="7" y="31"/>
                    </a:lnTo>
                    <a:lnTo>
                      <a:pt x="11" y="36"/>
                    </a:lnTo>
                    <a:lnTo>
                      <a:pt x="16" y="41"/>
                    </a:lnTo>
                    <a:lnTo>
                      <a:pt x="20" y="41"/>
                    </a:lnTo>
                    <a:lnTo>
                      <a:pt x="23" y="42"/>
                    </a:lnTo>
                    <a:lnTo>
                      <a:pt x="23" y="42"/>
                    </a:lnTo>
                    <a:lnTo>
                      <a:pt x="27" y="41"/>
                    </a:lnTo>
                    <a:lnTo>
                      <a:pt x="31" y="41"/>
                    </a:lnTo>
                    <a:lnTo>
                      <a:pt x="37" y="36"/>
                    </a:lnTo>
                    <a:lnTo>
                      <a:pt x="41" y="31"/>
                    </a:lnTo>
                    <a:lnTo>
                      <a:pt x="42" y="27"/>
                    </a:lnTo>
                    <a:lnTo>
                      <a:pt x="42" y="24"/>
                    </a:lnTo>
                    <a:lnTo>
                      <a:pt x="42" y="24"/>
                    </a:lnTo>
                    <a:lnTo>
                      <a:pt x="42" y="20"/>
                    </a:lnTo>
                    <a:lnTo>
                      <a:pt x="41" y="16"/>
                    </a:lnTo>
                    <a:lnTo>
                      <a:pt x="37" y="10"/>
                    </a:lnTo>
                    <a:lnTo>
                      <a:pt x="31" y="6"/>
                    </a:lnTo>
                    <a:lnTo>
                      <a:pt x="27" y="5"/>
                    </a:lnTo>
                    <a:lnTo>
                      <a:pt x="23" y="5"/>
                    </a:lnTo>
                    <a:lnTo>
                      <a:pt x="23" y="5"/>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8" name="Freeform 17"/>
              <p:cNvSpPr>
                <a:spLocks noEditPoints="1"/>
              </p:cNvSpPr>
              <p:nvPr/>
            </p:nvSpPr>
            <p:spPr bwMode="auto">
              <a:xfrm>
                <a:off x="8451519" y="3473135"/>
                <a:ext cx="50998" cy="48957"/>
              </a:xfrm>
              <a:custGeom>
                <a:avLst/>
                <a:gdLst>
                  <a:gd name="T0" fmla="*/ 25 w 49"/>
                  <a:gd name="T1" fmla="*/ 49 h 49"/>
                  <a:gd name="T2" fmla="*/ 10 w 49"/>
                  <a:gd name="T3" fmla="*/ 44 h 49"/>
                  <a:gd name="T4" fmla="*/ 1 w 49"/>
                  <a:gd name="T5" fmla="*/ 30 h 49"/>
                  <a:gd name="T6" fmla="*/ 0 w 49"/>
                  <a:gd name="T7" fmla="*/ 26 h 49"/>
                  <a:gd name="T8" fmla="*/ 1 w 49"/>
                  <a:gd name="T9" fmla="*/ 16 h 49"/>
                  <a:gd name="T10" fmla="*/ 4 w 49"/>
                  <a:gd name="T11" fmla="*/ 12 h 49"/>
                  <a:gd name="T12" fmla="*/ 10 w 49"/>
                  <a:gd name="T13" fmla="*/ 5 h 49"/>
                  <a:gd name="T14" fmla="*/ 18 w 49"/>
                  <a:gd name="T15" fmla="*/ 1 h 49"/>
                  <a:gd name="T16" fmla="*/ 25 w 49"/>
                  <a:gd name="T17" fmla="*/ 0 h 49"/>
                  <a:gd name="T18" fmla="*/ 33 w 49"/>
                  <a:gd name="T19" fmla="*/ 1 h 49"/>
                  <a:gd name="T20" fmla="*/ 45 w 49"/>
                  <a:gd name="T21" fmla="*/ 10 h 49"/>
                  <a:gd name="T22" fmla="*/ 48 w 49"/>
                  <a:gd name="T23" fmla="*/ 17 h 49"/>
                  <a:gd name="T24" fmla="*/ 49 w 49"/>
                  <a:gd name="T25" fmla="*/ 27 h 49"/>
                  <a:gd name="T26" fmla="*/ 45 w 49"/>
                  <a:gd name="T27" fmla="*/ 36 h 49"/>
                  <a:gd name="T28" fmla="*/ 40 w 49"/>
                  <a:gd name="T29" fmla="*/ 42 h 49"/>
                  <a:gd name="T30" fmla="*/ 32 w 49"/>
                  <a:gd name="T31" fmla="*/ 47 h 49"/>
                  <a:gd name="T32" fmla="*/ 25 w 49"/>
                  <a:gd name="T33" fmla="*/ 49 h 49"/>
                  <a:gd name="T34" fmla="*/ 25 w 49"/>
                  <a:gd name="T35" fmla="*/ 5 h 49"/>
                  <a:gd name="T36" fmla="*/ 20 w 49"/>
                  <a:gd name="T37" fmla="*/ 6 h 49"/>
                  <a:gd name="T38" fmla="*/ 13 w 49"/>
                  <a:gd name="T39" fmla="*/ 10 h 49"/>
                  <a:gd name="T40" fmla="*/ 9 w 49"/>
                  <a:gd name="T41" fmla="*/ 15 h 49"/>
                  <a:gd name="T42" fmla="*/ 7 w 49"/>
                  <a:gd name="T43" fmla="*/ 29 h 49"/>
                  <a:gd name="T44" fmla="*/ 8 w 49"/>
                  <a:gd name="T45" fmla="*/ 32 h 49"/>
                  <a:gd name="T46" fmla="*/ 15 w 49"/>
                  <a:gd name="T47" fmla="*/ 40 h 49"/>
                  <a:gd name="T48" fmla="*/ 27 w 49"/>
                  <a:gd name="T49" fmla="*/ 42 h 49"/>
                  <a:gd name="T50" fmla="*/ 30 w 49"/>
                  <a:gd name="T51" fmla="*/ 42 h 49"/>
                  <a:gd name="T52" fmla="*/ 37 w 49"/>
                  <a:gd name="T53" fmla="*/ 39 h 49"/>
                  <a:gd name="T54" fmla="*/ 43 w 49"/>
                  <a:gd name="T55" fmla="*/ 26 h 49"/>
                  <a:gd name="T56" fmla="*/ 43 w 49"/>
                  <a:gd name="T57" fmla="*/ 19 h 49"/>
                  <a:gd name="T58" fmla="*/ 40 w 49"/>
                  <a:gd name="T59" fmla="*/ 14 h 49"/>
                  <a:gd name="T60" fmla="*/ 30 w 49"/>
                  <a:gd name="T61" fmla="*/ 6 h 49"/>
                  <a:gd name="T62" fmla="*/ 25 w 49"/>
                  <a:gd name="T63" fmla="*/ 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9" h="49">
                    <a:moveTo>
                      <a:pt x="25" y="49"/>
                    </a:moveTo>
                    <a:lnTo>
                      <a:pt x="25" y="49"/>
                    </a:lnTo>
                    <a:lnTo>
                      <a:pt x="17" y="47"/>
                    </a:lnTo>
                    <a:lnTo>
                      <a:pt x="10" y="44"/>
                    </a:lnTo>
                    <a:lnTo>
                      <a:pt x="5" y="37"/>
                    </a:lnTo>
                    <a:lnTo>
                      <a:pt x="1" y="30"/>
                    </a:lnTo>
                    <a:lnTo>
                      <a:pt x="1" y="30"/>
                    </a:lnTo>
                    <a:lnTo>
                      <a:pt x="0" y="26"/>
                    </a:lnTo>
                    <a:lnTo>
                      <a:pt x="0" y="21"/>
                    </a:lnTo>
                    <a:lnTo>
                      <a:pt x="1" y="16"/>
                    </a:lnTo>
                    <a:lnTo>
                      <a:pt x="4" y="12"/>
                    </a:lnTo>
                    <a:lnTo>
                      <a:pt x="4" y="12"/>
                    </a:lnTo>
                    <a:lnTo>
                      <a:pt x="7" y="9"/>
                    </a:lnTo>
                    <a:lnTo>
                      <a:pt x="10" y="5"/>
                    </a:lnTo>
                    <a:lnTo>
                      <a:pt x="14" y="2"/>
                    </a:lnTo>
                    <a:lnTo>
                      <a:pt x="18" y="1"/>
                    </a:lnTo>
                    <a:lnTo>
                      <a:pt x="18" y="1"/>
                    </a:lnTo>
                    <a:lnTo>
                      <a:pt x="25" y="0"/>
                    </a:lnTo>
                    <a:lnTo>
                      <a:pt x="25" y="0"/>
                    </a:lnTo>
                    <a:lnTo>
                      <a:pt x="33" y="1"/>
                    </a:lnTo>
                    <a:lnTo>
                      <a:pt x="39" y="5"/>
                    </a:lnTo>
                    <a:lnTo>
                      <a:pt x="45" y="10"/>
                    </a:lnTo>
                    <a:lnTo>
                      <a:pt x="48" y="17"/>
                    </a:lnTo>
                    <a:lnTo>
                      <a:pt x="48" y="17"/>
                    </a:lnTo>
                    <a:lnTo>
                      <a:pt x="49" y="22"/>
                    </a:lnTo>
                    <a:lnTo>
                      <a:pt x="49" y="27"/>
                    </a:lnTo>
                    <a:lnTo>
                      <a:pt x="48" y="31"/>
                    </a:lnTo>
                    <a:lnTo>
                      <a:pt x="45" y="36"/>
                    </a:lnTo>
                    <a:lnTo>
                      <a:pt x="43" y="40"/>
                    </a:lnTo>
                    <a:lnTo>
                      <a:pt x="40" y="42"/>
                    </a:lnTo>
                    <a:lnTo>
                      <a:pt x="35" y="46"/>
                    </a:lnTo>
                    <a:lnTo>
                      <a:pt x="32" y="47"/>
                    </a:lnTo>
                    <a:lnTo>
                      <a:pt x="32" y="47"/>
                    </a:lnTo>
                    <a:lnTo>
                      <a:pt x="25" y="49"/>
                    </a:lnTo>
                    <a:lnTo>
                      <a:pt x="25" y="49"/>
                    </a:lnTo>
                    <a:close/>
                    <a:moveTo>
                      <a:pt x="25" y="5"/>
                    </a:moveTo>
                    <a:lnTo>
                      <a:pt x="25" y="5"/>
                    </a:lnTo>
                    <a:lnTo>
                      <a:pt x="20" y="6"/>
                    </a:lnTo>
                    <a:lnTo>
                      <a:pt x="20" y="6"/>
                    </a:lnTo>
                    <a:lnTo>
                      <a:pt x="13" y="10"/>
                    </a:lnTo>
                    <a:lnTo>
                      <a:pt x="9" y="15"/>
                    </a:lnTo>
                    <a:lnTo>
                      <a:pt x="9" y="15"/>
                    </a:lnTo>
                    <a:lnTo>
                      <a:pt x="7" y="22"/>
                    </a:lnTo>
                    <a:lnTo>
                      <a:pt x="7" y="29"/>
                    </a:lnTo>
                    <a:lnTo>
                      <a:pt x="7" y="29"/>
                    </a:lnTo>
                    <a:lnTo>
                      <a:pt x="8" y="32"/>
                    </a:lnTo>
                    <a:lnTo>
                      <a:pt x="10" y="35"/>
                    </a:lnTo>
                    <a:lnTo>
                      <a:pt x="15" y="40"/>
                    </a:lnTo>
                    <a:lnTo>
                      <a:pt x="23" y="42"/>
                    </a:lnTo>
                    <a:lnTo>
                      <a:pt x="27" y="42"/>
                    </a:lnTo>
                    <a:lnTo>
                      <a:pt x="30" y="42"/>
                    </a:lnTo>
                    <a:lnTo>
                      <a:pt x="30" y="42"/>
                    </a:lnTo>
                    <a:lnTo>
                      <a:pt x="33" y="40"/>
                    </a:lnTo>
                    <a:lnTo>
                      <a:pt x="37" y="39"/>
                    </a:lnTo>
                    <a:lnTo>
                      <a:pt x="40" y="34"/>
                    </a:lnTo>
                    <a:lnTo>
                      <a:pt x="43" y="26"/>
                    </a:lnTo>
                    <a:lnTo>
                      <a:pt x="43" y="22"/>
                    </a:lnTo>
                    <a:lnTo>
                      <a:pt x="43" y="19"/>
                    </a:lnTo>
                    <a:lnTo>
                      <a:pt x="43" y="19"/>
                    </a:lnTo>
                    <a:lnTo>
                      <a:pt x="40" y="14"/>
                    </a:lnTo>
                    <a:lnTo>
                      <a:pt x="37" y="10"/>
                    </a:lnTo>
                    <a:lnTo>
                      <a:pt x="30" y="6"/>
                    </a:lnTo>
                    <a:lnTo>
                      <a:pt x="25" y="5"/>
                    </a:lnTo>
                    <a:lnTo>
                      <a:pt x="25" y="5"/>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99" name="Freeform 18"/>
              <p:cNvSpPr>
                <a:spLocks noEditPoints="1"/>
              </p:cNvSpPr>
              <p:nvPr/>
            </p:nvSpPr>
            <p:spPr bwMode="auto">
              <a:xfrm>
                <a:off x="8174092" y="3471096"/>
                <a:ext cx="48957" cy="50998"/>
              </a:xfrm>
              <a:custGeom>
                <a:avLst/>
                <a:gdLst>
                  <a:gd name="T0" fmla="*/ 24 w 48"/>
                  <a:gd name="T1" fmla="*/ 49 h 49"/>
                  <a:gd name="T2" fmla="*/ 17 w 48"/>
                  <a:gd name="T3" fmla="*/ 48 h 49"/>
                  <a:gd name="T4" fmla="*/ 9 w 48"/>
                  <a:gd name="T5" fmla="*/ 44 h 49"/>
                  <a:gd name="T6" fmla="*/ 2 w 48"/>
                  <a:gd name="T7" fmla="*/ 37 h 49"/>
                  <a:gd name="T8" fmla="*/ 1 w 48"/>
                  <a:gd name="T9" fmla="*/ 33 h 49"/>
                  <a:gd name="T10" fmla="*/ 0 w 48"/>
                  <a:gd name="T11" fmla="*/ 23 h 49"/>
                  <a:gd name="T12" fmla="*/ 0 w 48"/>
                  <a:gd name="T13" fmla="*/ 18 h 49"/>
                  <a:gd name="T14" fmla="*/ 9 w 48"/>
                  <a:gd name="T15" fmla="*/ 6 h 49"/>
                  <a:gd name="T16" fmla="*/ 24 w 48"/>
                  <a:gd name="T17" fmla="*/ 0 h 49"/>
                  <a:gd name="T18" fmla="*/ 30 w 48"/>
                  <a:gd name="T19" fmla="*/ 2 h 49"/>
                  <a:gd name="T20" fmla="*/ 35 w 48"/>
                  <a:gd name="T21" fmla="*/ 4 h 49"/>
                  <a:gd name="T22" fmla="*/ 43 w 48"/>
                  <a:gd name="T23" fmla="*/ 9 h 49"/>
                  <a:gd name="T24" fmla="*/ 46 w 48"/>
                  <a:gd name="T25" fmla="*/ 18 h 49"/>
                  <a:gd name="T26" fmla="*/ 48 w 48"/>
                  <a:gd name="T27" fmla="*/ 27 h 49"/>
                  <a:gd name="T28" fmla="*/ 48 w 48"/>
                  <a:gd name="T29" fmla="*/ 32 h 49"/>
                  <a:gd name="T30" fmla="*/ 39 w 48"/>
                  <a:gd name="T31" fmla="*/ 44 h 49"/>
                  <a:gd name="T32" fmla="*/ 24 w 48"/>
                  <a:gd name="T33" fmla="*/ 49 h 49"/>
                  <a:gd name="T34" fmla="*/ 24 w 48"/>
                  <a:gd name="T35" fmla="*/ 7 h 49"/>
                  <a:gd name="T36" fmla="*/ 17 w 48"/>
                  <a:gd name="T37" fmla="*/ 8 h 49"/>
                  <a:gd name="T38" fmla="*/ 9 w 48"/>
                  <a:gd name="T39" fmla="*/ 14 h 49"/>
                  <a:gd name="T40" fmla="*/ 6 w 48"/>
                  <a:gd name="T41" fmla="*/ 21 h 49"/>
                  <a:gd name="T42" fmla="*/ 7 w 48"/>
                  <a:gd name="T43" fmla="*/ 34 h 49"/>
                  <a:gd name="T44" fmla="*/ 12 w 48"/>
                  <a:gd name="T45" fmla="*/ 39 h 49"/>
                  <a:gd name="T46" fmla="*/ 19 w 48"/>
                  <a:gd name="T47" fmla="*/ 43 h 49"/>
                  <a:gd name="T48" fmla="*/ 26 w 48"/>
                  <a:gd name="T49" fmla="*/ 43 h 49"/>
                  <a:gd name="T50" fmla="*/ 39 w 48"/>
                  <a:gd name="T51" fmla="*/ 37 h 49"/>
                  <a:gd name="T52" fmla="*/ 41 w 48"/>
                  <a:gd name="T53" fmla="*/ 31 h 49"/>
                  <a:gd name="T54" fmla="*/ 43 w 48"/>
                  <a:gd name="T55" fmla="*/ 27 h 49"/>
                  <a:gd name="T56" fmla="*/ 40 w 48"/>
                  <a:gd name="T57" fmla="*/ 17 h 49"/>
                  <a:gd name="T58" fmla="*/ 32 w 48"/>
                  <a:gd name="T59" fmla="*/ 9 h 49"/>
                  <a:gd name="T60" fmla="*/ 29 w 48"/>
                  <a:gd name="T61" fmla="*/ 8 h 49"/>
                  <a:gd name="T62" fmla="*/ 24 w 48"/>
                  <a:gd name="T63" fmla="*/ 7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49">
                    <a:moveTo>
                      <a:pt x="24" y="49"/>
                    </a:moveTo>
                    <a:lnTo>
                      <a:pt x="24" y="49"/>
                    </a:lnTo>
                    <a:lnTo>
                      <a:pt x="17" y="48"/>
                    </a:lnTo>
                    <a:lnTo>
                      <a:pt x="17" y="48"/>
                    </a:lnTo>
                    <a:lnTo>
                      <a:pt x="12" y="47"/>
                    </a:lnTo>
                    <a:lnTo>
                      <a:pt x="9" y="44"/>
                    </a:lnTo>
                    <a:lnTo>
                      <a:pt x="5" y="41"/>
                    </a:lnTo>
                    <a:lnTo>
                      <a:pt x="2" y="37"/>
                    </a:lnTo>
                    <a:lnTo>
                      <a:pt x="2" y="37"/>
                    </a:lnTo>
                    <a:lnTo>
                      <a:pt x="1" y="33"/>
                    </a:lnTo>
                    <a:lnTo>
                      <a:pt x="0" y="28"/>
                    </a:lnTo>
                    <a:lnTo>
                      <a:pt x="0" y="23"/>
                    </a:lnTo>
                    <a:lnTo>
                      <a:pt x="0" y="18"/>
                    </a:lnTo>
                    <a:lnTo>
                      <a:pt x="0" y="18"/>
                    </a:lnTo>
                    <a:lnTo>
                      <a:pt x="4" y="12"/>
                    </a:lnTo>
                    <a:lnTo>
                      <a:pt x="9" y="6"/>
                    </a:lnTo>
                    <a:lnTo>
                      <a:pt x="16" y="2"/>
                    </a:lnTo>
                    <a:lnTo>
                      <a:pt x="24" y="0"/>
                    </a:lnTo>
                    <a:lnTo>
                      <a:pt x="24" y="0"/>
                    </a:lnTo>
                    <a:lnTo>
                      <a:pt x="30" y="2"/>
                    </a:lnTo>
                    <a:lnTo>
                      <a:pt x="30" y="2"/>
                    </a:lnTo>
                    <a:lnTo>
                      <a:pt x="35" y="4"/>
                    </a:lnTo>
                    <a:lnTo>
                      <a:pt x="39" y="7"/>
                    </a:lnTo>
                    <a:lnTo>
                      <a:pt x="43" y="9"/>
                    </a:lnTo>
                    <a:lnTo>
                      <a:pt x="45" y="13"/>
                    </a:lnTo>
                    <a:lnTo>
                      <a:pt x="46" y="18"/>
                    </a:lnTo>
                    <a:lnTo>
                      <a:pt x="48" y="22"/>
                    </a:lnTo>
                    <a:lnTo>
                      <a:pt x="48" y="27"/>
                    </a:lnTo>
                    <a:lnTo>
                      <a:pt x="48" y="32"/>
                    </a:lnTo>
                    <a:lnTo>
                      <a:pt x="48" y="32"/>
                    </a:lnTo>
                    <a:lnTo>
                      <a:pt x="44" y="39"/>
                    </a:lnTo>
                    <a:lnTo>
                      <a:pt x="39" y="44"/>
                    </a:lnTo>
                    <a:lnTo>
                      <a:pt x="31" y="48"/>
                    </a:lnTo>
                    <a:lnTo>
                      <a:pt x="24" y="49"/>
                    </a:lnTo>
                    <a:lnTo>
                      <a:pt x="24" y="49"/>
                    </a:lnTo>
                    <a:close/>
                    <a:moveTo>
                      <a:pt x="24" y="7"/>
                    </a:moveTo>
                    <a:lnTo>
                      <a:pt x="24" y="7"/>
                    </a:lnTo>
                    <a:lnTo>
                      <a:pt x="17" y="8"/>
                    </a:lnTo>
                    <a:lnTo>
                      <a:pt x="12" y="11"/>
                    </a:lnTo>
                    <a:lnTo>
                      <a:pt x="9" y="14"/>
                    </a:lnTo>
                    <a:lnTo>
                      <a:pt x="6" y="21"/>
                    </a:lnTo>
                    <a:lnTo>
                      <a:pt x="6" y="21"/>
                    </a:lnTo>
                    <a:lnTo>
                      <a:pt x="5" y="27"/>
                    </a:lnTo>
                    <a:lnTo>
                      <a:pt x="7" y="34"/>
                    </a:lnTo>
                    <a:lnTo>
                      <a:pt x="7" y="34"/>
                    </a:lnTo>
                    <a:lnTo>
                      <a:pt x="12" y="39"/>
                    </a:lnTo>
                    <a:lnTo>
                      <a:pt x="19" y="43"/>
                    </a:lnTo>
                    <a:lnTo>
                      <a:pt x="19" y="43"/>
                    </a:lnTo>
                    <a:lnTo>
                      <a:pt x="22" y="44"/>
                    </a:lnTo>
                    <a:lnTo>
                      <a:pt x="26" y="43"/>
                    </a:lnTo>
                    <a:lnTo>
                      <a:pt x="32" y="42"/>
                    </a:lnTo>
                    <a:lnTo>
                      <a:pt x="39" y="37"/>
                    </a:lnTo>
                    <a:lnTo>
                      <a:pt x="40" y="34"/>
                    </a:lnTo>
                    <a:lnTo>
                      <a:pt x="41" y="31"/>
                    </a:lnTo>
                    <a:lnTo>
                      <a:pt x="41" y="31"/>
                    </a:lnTo>
                    <a:lnTo>
                      <a:pt x="43" y="27"/>
                    </a:lnTo>
                    <a:lnTo>
                      <a:pt x="43" y="23"/>
                    </a:lnTo>
                    <a:lnTo>
                      <a:pt x="40" y="17"/>
                    </a:lnTo>
                    <a:lnTo>
                      <a:pt x="35" y="11"/>
                    </a:lnTo>
                    <a:lnTo>
                      <a:pt x="32" y="9"/>
                    </a:lnTo>
                    <a:lnTo>
                      <a:pt x="29" y="8"/>
                    </a:lnTo>
                    <a:lnTo>
                      <a:pt x="29" y="8"/>
                    </a:lnTo>
                    <a:lnTo>
                      <a:pt x="24" y="7"/>
                    </a:lnTo>
                    <a:lnTo>
                      <a:pt x="24" y="7"/>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0" name="Freeform 19"/>
              <p:cNvSpPr>
                <a:spLocks noEditPoints="1"/>
              </p:cNvSpPr>
              <p:nvPr/>
            </p:nvSpPr>
            <p:spPr bwMode="auto">
              <a:xfrm>
                <a:off x="8229171" y="3628168"/>
                <a:ext cx="48957" cy="48957"/>
              </a:xfrm>
              <a:custGeom>
                <a:avLst/>
                <a:gdLst>
                  <a:gd name="T0" fmla="*/ 23 w 49"/>
                  <a:gd name="T1" fmla="*/ 49 h 49"/>
                  <a:gd name="T2" fmla="*/ 10 w 49"/>
                  <a:gd name="T3" fmla="*/ 44 h 49"/>
                  <a:gd name="T4" fmla="*/ 6 w 49"/>
                  <a:gd name="T5" fmla="*/ 41 h 49"/>
                  <a:gd name="T6" fmla="*/ 1 w 49"/>
                  <a:gd name="T7" fmla="*/ 32 h 49"/>
                  <a:gd name="T8" fmla="*/ 0 w 49"/>
                  <a:gd name="T9" fmla="*/ 24 h 49"/>
                  <a:gd name="T10" fmla="*/ 2 w 49"/>
                  <a:gd name="T11" fmla="*/ 15 h 49"/>
                  <a:gd name="T12" fmla="*/ 5 w 49"/>
                  <a:gd name="T13" fmla="*/ 10 h 49"/>
                  <a:gd name="T14" fmla="*/ 13 w 49"/>
                  <a:gd name="T15" fmla="*/ 2 h 49"/>
                  <a:gd name="T16" fmla="*/ 23 w 49"/>
                  <a:gd name="T17" fmla="*/ 0 h 49"/>
                  <a:gd name="T18" fmla="*/ 31 w 49"/>
                  <a:gd name="T19" fmla="*/ 1 h 49"/>
                  <a:gd name="T20" fmla="*/ 39 w 49"/>
                  <a:gd name="T21" fmla="*/ 5 h 49"/>
                  <a:gd name="T22" fmla="*/ 45 w 49"/>
                  <a:gd name="T23" fmla="*/ 11 h 49"/>
                  <a:gd name="T24" fmla="*/ 47 w 49"/>
                  <a:gd name="T25" fmla="*/ 21 h 49"/>
                  <a:gd name="T26" fmla="*/ 49 w 49"/>
                  <a:gd name="T27" fmla="*/ 25 h 49"/>
                  <a:gd name="T28" fmla="*/ 46 w 49"/>
                  <a:gd name="T29" fmla="*/ 35 h 49"/>
                  <a:gd name="T30" fmla="*/ 44 w 49"/>
                  <a:gd name="T31" fmla="*/ 39 h 49"/>
                  <a:gd name="T32" fmla="*/ 35 w 49"/>
                  <a:gd name="T33" fmla="*/ 46 h 49"/>
                  <a:gd name="T34" fmla="*/ 23 w 49"/>
                  <a:gd name="T35" fmla="*/ 49 h 49"/>
                  <a:gd name="T36" fmla="*/ 23 w 49"/>
                  <a:gd name="T37" fmla="*/ 6 h 49"/>
                  <a:gd name="T38" fmla="*/ 20 w 49"/>
                  <a:gd name="T39" fmla="*/ 6 h 49"/>
                  <a:gd name="T40" fmla="*/ 12 w 49"/>
                  <a:gd name="T41" fmla="*/ 10 h 49"/>
                  <a:gd name="T42" fmla="*/ 8 w 49"/>
                  <a:gd name="T43" fmla="*/ 14 h 49"/>
                  <a:gd name="T44" fmla="*/ 6 w 49"/>
                  <a:gd name="T45" fmla="*/ 20 h 49"/>
                  <a:gd name="T46" fmla="*/ 8 w 49"/>
                  <a:gd name="T47" fmla="*/ 34 h 49"/>
                  <a:gd name="T48" fmla="*/ 13 w 49"/>
                  <a:gd name="T49" fmla="*/ 40 h 49"/>
                  <a:gd name="T50" fmla="*/ 16 w 49"/>
                  <a:gd name="T51" fmla="*/ 41 h 49"/>
                  <a:gd name="T52" fmla="*/ 27 w 49"/>
                  <a:gd name="T53" fmla="*/ 42 h 49"/>
                  <a:gd name="T54" fmla="*/ 36 w 49"/>
                  <a:gd name="T55" fmla="*/ 37 h 49"/>
                  <a:gd name="T56" fmla="*/ 39 w 49"/>
                  <a:gd name="T57" fmla="*/ 35 h 49"/>
                  <a:gd name="T58" fmla="*/ 42 w 49"/>
                  <a:gd name="T59" fmla="*/ 21 h 49"/>
                  <a:gd name="T60" fmla="*/ 40 w 49"/>
                  <a:gd name="T61" fmla="*/ 15 h 49"/>
                  <a:gd name="T62" fmla="*/ 35 w 49"/>
                  <a:gd name="T63" fmla="*/ 10 h 49"/>
                  <a:gd name="T64" fmla="*/ 23 w 49"/>
                  <a:gd name="T65" fmla="*/ 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9" h="49">
                    <a:moveTo>
                      <a:pt x="23" y="49"/>
                    </a:moveTo>
                    <a:lnTo>
                      <a:pt x="23" y="49"/>
                    </a:lnTo>
                    <a:lnTo>
                      <a:pt x="16" y="47"/>
                    </a:lnTo>
                    <a:lnTo>
                      <a:pt x="10" y="44"/>
                    </a:lnTo>
                    <a:lnTo>
                      <a:pt x="10" y="44"/>
                    </a:lnTo>
                    <a:lnTo>
                      <a:pt x="6" y="41"/>
                    </a:lnTo>
                    <a:lnTo>
                      <a:pt x="3" y="37"/>
                    </a:lnTo>
                    <a:lnTo>
                      <a:pt x="1" y="32"/>
                    </a:lnTo>
                    <a:lnTo>
                      <a:pt x="0" y="29"/>
                    </a:lnTo>
                    <a:lnTo>
                      <a:pt x="0" y="24"/>
                    </a:lnTo>
                    <a:lnTo>
                      <a:pt x="0" y="19"/>
                    </a:lnTo>
                    <a:lnTo>
                      <a:pt x="2" y="15"/>
                    </a:lnTo>
                    <a:lnTo>
                      <a:pt x="5" y="10"/>
                    </a:lnTo>
                    <a:lnTo>
                      <a:pt x="5" y="10"/>
                    </a:lnTo>
                    <a:lnTo>
                      <a:pt x="8" y="6"/>
                    </a:lnTo>
                    <a:lnTo>
                      <a:pt x="13" y="2"/>
                    </a:lnTo>
                    <a:lnTo>
                      <a:pt x="18" y="1"/>
                    </a:lnTo>
                    <a:lnTo>
                      <a:pt x="23" y="0"/>
                    </a:lnTo>
                    <a:lnTo>
                      <a:pt x="23" y="0"/>
                    </a:lnTo>
                    <a:lnTo>
                      <a:pt x="31" y="1"/>
                    </a:lnTo>
                    <a:lnTo>
                      <a:pt x="39" y="5"/>
                    </a:lnTo>
                    <a:lnTo>
                      <a:pt x="39" y="5"/>
                    </a:lnTo>
                    <a:lnTo>
                      <a:pt x="42" y="7"/>
                    </a:lnTo>
                    <a:lnTo>
                      <a:pt x="45" y="11"/>
                    </a:lnTo>
                    <a:lnTo>
                      <a:pt x="47" y="16"/>
                    </a:lnTo>
                    <a:lnTo>
                      <a:pt x="47" y="21"/>
                    </a:lnTo>
                    <a:lnTo>
                      <a:pt x="47" y="21"/>
                    </a:lnTo>
                    <a:lnTo>
                      <a:pt x="49" y="25"/>
                    </a:lnTo>
                    <a:lnTo>
                      <a:pt x="47" y="30"/>
                    </a:lnTo>
                    <a:lnTo>
                      <a:pt x="46" y="35"/>
                    </a:lnTo>
                    <a:lnTo>
                      <a:pt x="44" y="39"/>
                    </a:lnTo>
                    <a:lnTo>
                      <a:pt x="44" y="39"/>
                    </a:lnTo>
                    <a:lnTo>
                      <a:pt x="40" y="42"/>
                    </a:lnTo>
                    <a:lnTo>
                      <a:pt x="35" y="46"/>
                    </a:lnTo>
                    <a:lnTo>
                      <a:pt x="30" y="47"/>
                    </a:lnTo>
                    <a:lnTo>
                      <a:pt x="23" y="49"/>
                    </a:lnTo>
                    <a:lnTo>
                      <a:pt x="23" y="49"/>
                    </a:lnTo>
                    <a:close/>
                    <a:moveTo>
                      <a:pt x="23" y="6"/>
                    </a:moveTo>
                    <a:lnTo>
                      <a:pt x="23" y="6"/>
                    </a:lnTo>
                    <a:lnTo>
                      <a:pt x="20" y="6"/>
                    </a:lnTo>
                    <a:lnTo>
                      <a:pt x="16" y="7"/>
                    </a:lnTo>
                    <a:lnTo>
                      <a:pt x="12" y="10"/>
                    </a:lnTo>
                    <a:lnTo>
                      <a:pt x="8" y="14"/>
                    </a:lnTo>
                    <a:lnTo>
                      <a:pt x="8" y="14"/>
                    </a:lnTo>
                    <a:lnTo>
                      <a:pt x="7" y="17"/>
                    </a:lnTo>
                    <a:lnTo>
                      <a:pt x="6" y="20"/>
                    </a:lnTo>
                    <a:lnTo>
                      <a:pt x="6" y="27"/>
                    </a:lnTo>
                    <a:lnTo>
                      <a:pt x="8" y="34"/>
                    </a:lnTo>
                    <a:lnTo>
                      <a:pt x="10" y="37"/>
                    </a:lnTo>
                    <a:lnTo>
                      <a:pt x="13" y="40"/>
                    </a:lnTo>
                    <a:lnTo>
                      <a:pt x="13" y="40"/>
                    </a:lnTo>
                    <a:lnTo>
                      <a:pt x="16" y="41"/>
                    </a:lnTo>
                    <a:lnTo>
                      <a:pt x="20" y="42"/>
                    </a:lnTo>
                    <a:lnTo>
                      <a:pt x="27" y="42"/>
                    </a:lnTo>
                    <a:lnTo>
                      <a:pt x="34" y="40"/>
                    </a:lnTo>
                    <a:lnTo>
                      <a:pt x="36" y="37"/>
                    </a:lnTo>
                    <a:lnTo>
                      <a:pt x="39" y="35"/>
                    </a:lnTo>
                    <a:lnTo>
                      <a:pt x="39" y="35"/>
                    </a:lnTo>
                    <a:lnTo>
                      <a:pt x="42" y="29"/>
                    </a:lnTo>
                    <a:lnTo>
                      <a:pt x="42" y="21"/>
                    </a:lnTo>
                    <a:lnTo>
                      <a:pt x="42" y="21"/>
                    </a:lnTo>
                    <a:lnTo>
                      <a:pt x="40" y="15"/>
                    </a:lnTo>
                    <a:lnTo>
                      <a:pt x="35" y="10"/>
                    </a:lnTo>
                    <a:lnTo>
                      <a:pt x="35" y="10"/>
                    </a:lnTo>
                    <a:lnTo>
                      <a:pt x="30" y="7"/>
                    </a:lnTo>
                    <a:lnTo>
                      <a:pt x="23" y="6"/>
                    </a:lnTo>
                    <a:lnTo>
                      <a:pt x="23" y="6"/>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1" name="Freeform 20"/>
              <p:cNvSpPr>
                <a:spLocks noEditPoints="1"/>
              </p:cNvSpPr>
              <p:nvPr/>
            </p:nvSpPr>
            <p:spPr bwMode="auto">
              <a:xfrm>
                <a:off x="8398482" y="3628168"/>
                <a:ext cx="48957" cy="48957"/>
              </a:xfrm>
              <a:custGeom>
                <a:avLst/>
                <a:gdLst>
                  <a:gd name="T0" fmla="*/ 24 w 49"/>
                  <a:gd name="T1" fmla="*/ 49 h 49"/>
                  <a:gd name="T2" fmla="*/ 13 w 49"/>
                  <a:gd name="T3" fmla="*/ 46 h 49"/>
                  <a:gd name="T4" fmla="*/ 5 w 49"/>
                  <a:gd name="T5" fmla="*/ 39 h 49"/>
                  <a:gd name="T6" fmla="*/ 3 w 49"/>
                  <a:gd name="T7" fmla="*/ 35 h 49"/>
                  <a:gd name="T8" fmla="*/ 0 w 49"/>
                  <a:gd name="T9" fmla="*/ 25 h 49"/>
                  <a:gd name="T10" fmla="*/ 0 w 49"/>
                  <a:gd name="T11" fmla="*/ 20 h 49"/>
                  <a:gd name="T12" fmla="*/ 4 w 49"/>
                  <a:gd name="T13" fmla="*/ 11 h 49"/>
                  <a:gd name="T14" fmla="*/ 11 w 49"/>
                  <a:gd name="T15" fmla="*/ 5 h 49"/>
                  <a:gd name="T16" fmla="*/ 17 w 49"/>
                  <a:gd name="T17" fmla="*/ 1 h 49"/>
                  <a:gd name="T18" fmla="*/ 24 w 49"/>
                  <a:gd name="T19" fmla="*/ 0 h 49"/>
                  <a:gd name="T20" fmla="*/ 36 w 49"/>
                  <a:gd name="T21" fmla="*/ 2 h 49"/>
                  <a:gd name="T22" fmla="*/ 44 w 49"/>
                  <a:gd name="T23" fmla="*/ 10 h 49"/>
                  <a:gd name="T24" fmla="*/ 47 w 49"/>
                  <a:gd name="T25" fmla="*/ 14 h 49"/>
                  <a:gd name="T26" fmla="*/ 49 w 49"/>
                  <a:gd name="T27" fmla="*/ 24 h 49"/>
                  <a:gd name="T28" fmla="*/ 48 w 49"/>
                  <a:gd name="T29" fmla="*/ 29 h 49"/>
                  <a:gd name="T30" fmla="*/ 46 w 49"/>
                  <a:gd name="T31" fmla="*/ 37 h 49"/>
                  <a:gd name="T32" fmla="*/ 39 w 49"/>
                  <a:gd name="T33" fmla="*/ 44 h 49"/>
                  <a:gd name="T34" fmla="*/ 32 w 49"/>
                  <a:gd name="T35" fmla="*/ 47 h 49"/>
                  <a:gd name="T36" fmla="*/ 24 w 49"/>
                  <a:gd name="T37" fmla="*/ 49 h 49"/>
                  <a:gd name="T38" fmla="*/ 24 w 49"/>
                  <a:gd name="T39" fmla="*/ 6 h 49"/>
                  <a:gd name="T40" fmla="*/ 14 w 49"/>
                  <a:gd name="T41" fmla="*/ 10 h 49"/>
                  <a:gd name="T42" fmla="*/ 9 w 49"/>
                  <a:gd name="T43" fmla="*/ 15 h 49"/>
                  <a:gd name="T44" fmla="*/ 7 w 49"/>
                  <a:gd name="T45" fmla="*/ 21 h 49"/>
                  <a:gd name="T46" fmla="*/ 9 w 49"/>
                  <a:gd name="T47" fmla="*/ 35 h 49"/>
                  <a:gd name="T48" fmla="*/ 12 w 49"/>
                  <a:gd name="T49" fmla="*/ 37 h 49"/>
                  <a:gd name="T50" fmla="*/ 22 w 49"/>
                  <a:gd name="T51" fmla="*/ 42 h 49"/>
                  <a:gd name="T52" fmla="*/ 32 w 49"/>
                  <a:gd name="T53" fmla="*/ 41 h 49"/>
                  <a:gd name="T54" fmla="*/ 36 w 49"/>
                  <a:gd name="T55" fmla="*/ 39 h 49"/>
                  <a:gd name="T56" fmla="*/ 43 w 49"/>
                  <a:gd name="T57" fmla="*/ 27 h 49"/>
                  <a:gd name="T58" fmla="*/ 43 w 49"/>
                  <a:gd name="T59" fmla="*/ 20 h 49"/>
                  <a:gd name="T60" fmla="*/ 39 w 49"/>
                  <a:gd name="T61" fmla="*/ 14 h 49"/>
                  <a:gd name="T62" fmla="*/ 33 w 49"/>
                  <a:gd name="T63" fmla="*/ 7 h 49"/>
                  <a:gd name="T64" fmla="*/ 24 w 49"/>
                  <a:gd name="T65" fmla="*/ 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9" h="49">
                    <a:moveTo>
                      <a:pt x="24" y="49"/>
                    </a:moveTo>
                    <a:lnTo>
                      <a:pt x="24" y="49"/>
                    </a:lnTo>
                    <a:lnTo>
                      <a:pt x="19" y="47"/>
                    </a:lnTo>
                    <a:lnTo>
                      <a:pt x="13" y="46"/>
                    </a:lnTo>
                    <a:lnTo>
                      <a:pt x="9" y="42"/>
                    </a:lnTo>
                    <a:lnTo>
                      <a:pt x="5" y="39"/>
                    </a:lnTo>
                    <a:lnTo>
                      <a:pt x="5" y="39"/>
                    </a:lnTo>
                    <a:lnTo>
                      <a:pt x="3" y="35"/>
                    </a:lnTo>
                    <a:lnTo>
                      <a:pt x="0" y="30"/>
                    </a:lnTo>
                    <a:lnTo>
                      <a:pt x="0" y="25"/>
                    </a:lnTo>
                    <a:lnTo>
                      <a:pt x="0" y="20"/>
                    </a:lnTo>
                    <a:lnTo>
                      <a:pt x="0" y="20"/>
                    </a:lnTo>
                    <a:lnTo>
                      <a:pt x="2" y="16"/>
                    </a:lnTo>
                    <a:lnTo>
                      <a:pt x="4" y="11"/>
                    </a:lnTo>
                    <a:lnTo>
                      <a:pt x="7" y="7"/>
                    </a:lnTo>
                    <a:lnTo>
                      <a:pt x="11" y="5"/>
                    </a:lnTo>
                    <a:lnTo>
                      <a:pt x="11" y="5"/>
                    </a:lnTo>
                    <a:lnTo>
                      <a:pt x="17" y="1"/>
                    </a:lnTo>
                    <a:lnTo>
                      <a:pt x="24" y="0"/>
                    </a:lnTo>
                    <a:lnTo>
                      <a:pt x="24" y="0"/>
                    </a:lnTo>
                    <a:lnTo>
                      <a:pt x="31" y="1"/>
                    </a:lnTo>
                    <a:lnTo>
                      <a:pt x="36" y="2"/>
                    </a:lnTo>
                    <a:lnTo>
                      <a:pt x="41" y="6"/>
                    </a:lnTo>
                    <a:lnTo>
                      <a:pt x="44" y="10"/>
                    </a:lnTo>
                    <a:lnTo>
                      <a:pt x="44" y="10"/>
                    </a:lnTo>
                    <a:lnTo>
                      <a:pt x="47" y="14"/>
                    </a:lnTo>
                    <a:lnTo>
                      <a:pt x="48" y="19"/>
                    </a:lnTo>
                    <a:lnTo>
                      <a:pt x="49" y="24"/>
                    </a:lnTo>
                    <a:lnTo>
                      <a:pt x="48" y="29"/>
                    </a:lnTo>
                    <a:lnTo>
                      <a:pt x="48" y="29"/>
                    </a:lnTo>
                    <a:lnTo>
                      <a:pt x="47" y="32"/>
                    </a:lnTo>
                    <a:lnTo>
                      <a:pt x="46" y="37"/>
                    </a:lnTo>
                    <a:lnTo>
                      <a:pt x="42" y="41"/>
                    </a:lnTo>
                    <a:lnTo>
                      <a:pt x="39" y="44"/>
                    </a:lnTo>
                    <a:lnTo>
                      <a:pt x="39" y="44"/>
                    </a:lnTo>
                    <a:lnTo>
                      <a:pt x="32" y="47"/>
                    </a:lnTo>
                    <a:lnTo>
                      <a:pt x="24" y="49"/>
                    </a:lnTo>
                    <a:lnTo>
                      <a:pt x="24" y="49"/>
                    </a:lnTo>
                    <a:close/>
                    <a:moveTo>
                      <a:pt x="24" y="6"/>
                    </a:moveTo>
                    <a:lnTo>
                      <a:pt x="24" y="6"/>
                    </a:lnTo>
                    <a:lnTo>
                      <a:pt x="19" y="6"/>
                    </a:lnTo>
                    <a:lnTo>
                      <a:pt x="14" y="10"/>
                    </a:lnTo>
                    <a:lnTo>
                      <a:pt x="14" y="10"/>
                    </a:lnTo>
                    <a:lnTo>
                      <a:pt x="9" y="15"/>
                    </a:lnTo>
                    <a:lnTo>
                      <a:pt x="7" y="21"/>
                    </a:lnTo>
                    <a:lnTo>
                      <a:pt x="7" y="21"/>
                    </a:lnTo>
                    <a:lnTo>
                      <a:pt x="7" y="29"/>
                    </a:lnTo>
                    <a:lnTo>
                      <a:pt x="9" y="35"/>
                    </a:lnTo>
                    <a:lnTo>
                      <a:pt x="9" y="35"/>
                    </a:lnTo>
                    <a:lnTo>
                      <a:pt x="12" y="37"/>
                    </a:lnTo>
                    <a:lnTo>
                      <a:pt x="16" y="40"/>
                    </a:lnTo>
                    <a:lnTo>
                      <a:pt x="22" y="42"/>
                    </a:lnTo>
                    <a:lnTo>
                      <a:pt x="29" y="42"/>
                    </a:lnTo>
                    <a:lnTo>
                      <a:pt x="32" y="41"/>
                    </a:lnTo>
                    <a:lnTo>
                      <a:pt x="36" y="39"/>
                    </a:lnTo>
                    <a:lnTo>
                      <a:pt x="36" y="39"/>
                    </a:lnTo>
                    <a:lnTo>
                      <a:pt x="41" y="34"/>
                    </a:lnTo>
                    <a:lnTo>
                      <a:pt x="43" y="27"/>
                    </a:lnTo>
                    <a:lnTo>
                      <a:pt x="43" y="27"/>
                    </a:lnTo>
                    <a:lnTo>
                      <a:pt x="43" y="20"/>
                    </a:lnTo>
                    <a:lnTo>
                      <a:pt x="39" y="14"/>
                    </a:lnTo>
                    <a:lnTo>
                      <a:pt x="39" y="14"/>
                    </a:lnTo>
                    <a:lnTo>
                      <a:pt x="37" y="10"/>
                    </a:lnTo>
                    <a:lnTo>
                      <a:pt x="33" y="7"/>
                    </a:lnTo>
                    <a:lnTo>
                      <a:pt x="29" y="6"/>
                    </a:lnTo>
                    <a:lnTo>
                      <a:pt x="24" y="6"/>
                    </a:lnTo>
                    <a:lnTo>
                      <a:pt x="24" y="6"/>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2" name="Freeform 21"/>
              <p:cNvSpPr>
                <a:spLocks noEditPoints="1"/>
              </p:cNvSpPr>
              <p:nvPr/>
            </p:nvSpPr>
            <p:spPr bwMode="auto">
              <a:xfrm>
                <a:off x="8149613" y="3348701"/>
                <a:ext cx="377382" cy="375343"/>
              </a:xfrm>
              <a:custGeom>
                <a:avLst/>
                <a:gdLst>
                  <a:gd name="T0" fmla="*/ 162 w 368"/>
                  <a:gd name="T1" fmla="*/ 367 h 368"/>
                  <a:gd name="T2" fmla="*/ 100 w 368"/>
                  <a:gd name="T3" fmla="*/ 348 h 368"/>
                  <a:gd name="T4" fmla="*/ 49 w 368"/>
                  <a:gd name="T5" fmla="*/ 309 h 368"/>
                  <a:gd name="T6" fmla="*/ 24 w 368"/>
                  <a:gd name="T7" fmla="*/ 276 h 368"/>
                  <a:gd name="T8" fmla="*/ 4 w 368"/>
                  <a:gd name="T9" fmla="*/ 226 h 368"/>
                  <a:gd name="T10" fmla="*/ 0 w 368"/>
                  <a:gd name="T11" fmla="*/ 172 h 368"/>
                  <a:gd name="T12" fmla="*/ 11 w 368"/>
                  <a:gd name="T13" fmla="*/ 120 h 368"/>
                  <a:gd name="T14" fmla="*/ 36 w 368"/>
                  <a:gd name="T15" fmla="*/ 74 h 368"/>
                  <a:gd name="T16" fmla="*/ 75 w 368"/>
                  <a:gd name="T17" fmla="*/ 35 h 368"/>
                  <a:gd name="T18" fmla="*/ 100 w 368"/>
                  <a:gd name="T19" fmla="*/ 20 h 368"/>
                  <a:gd name="T20" fmla="*/ 141 w 368"/>
                  <a:gd name="T21" fmla="*/ 5 h 368"/>
                  <a:gd name="T22" fmla="*/ 183 w 368"/>
                  <a:gd name="T23" fmla="*/ 0 h 368"/>
                  <a:gd name="T24" fmla="*/ 227 w 368"/>
                  <a:gd name="T25" fmla="*/ 5 h 368"/>
                  <a:gd name="T26" fmla="*/ 286 w 368"/>
                  <a:gd name="T27" fmla="*/ 30 h 368"/>
                  <a:gd name="T28" fmla="*/ 333 w 368"/>
                  <a:gd name="T29" fmla="*/ 75 h 368"/>
                  <a:gd name="T30" fmla="*/ 352 w 368"/>
                  <a:gd name="T31" fmla="*/ 108 h 368"/>
                  <a:gd name="T32" fmla="*/ 367 w 368"/>
                  <a:gd name="T33" fmla="*/ 159 h 368"/>
                  <a:gd name="T34" fmla="*/ 366 w 368"/>
                  <a:gd name="T35" fmla="*/ 213 h 368"/>
                  <a:gd name="T36" fmla="*/ 351 w 368"/>
                  <a:gd name="T37" fmla="*/ 264 h 368"/>
                  <a:gd name="T38" fmla="*/ 320 w 368"/>
                  <a:gd name="T39" fmla="*/ 308 h 368"/>
                  <a:gd name="T40" fmla="*/ 291 w 368"/>
                  <a:gd name="T41" fmla="*/ 333 h 368"/>
                  <a:gd name="T42" fmla="*/ 254 w 368"/>
                  <a:gd name="T43" fmla="*/ 354 h 368"/>
                  <a:gd name="T44" fmla="*/ 212 w 368"/>
                  <a:gd name="T45" fmla="*/ 365 h 368"/>
                  <a:gd name="T46" fmla="*/ 183 w 368"/>
                  <a:gd name="T47" fmla="*/ 368 h 368"/>
                  <a:gd name="T48" fmla="*/ 170 w 368"/>
                  <a:gd name="T49" fmla="*/ 11 h 368"/>
                  <a:gd name="T50" fmla="*/ 131 w 368"/>
                  <a:gd name="T51" fmla="*/ 19 h 368"/>
                  <a:gd name="T52" fmla="*/ 93 w 368"/>
                  <a:gd name="T53" fmla="*/ 35 h 368"/>
                  <a:gd name="T54" fmla="*/ 69 w 368"/>
                  <a:gd name="T55" fmla="*/ 54 h 368"/>
                  <a:gd name="T56" fmla="*/ 36 w 368"/>
                  <a:gd name="T57" fmla="*/ 93 h 368"/>
                  <a:gd name="T58" fmla="*/ 16 w 368"/>
                  <a:gd name="T59" fmla="*/ 139 h 368"/>
                  <a:gd name="T60" fmla="*/ 10 w 368"/>
                  <a:gd name="T61" fmla="*/ 173 h 368"/>
                  <a:gd name="T62" fmla="*/ 15 w 368"/>
                  <a:gd name="T63" fmla="*/ 224 h 368"/>
                  <a:gd name="T64" fmla="*/ 34 w 368"/>
                  <a:gd name="T65" fmla="*/ 271 h 368"/>
                  <a:gd name="T66" fmla="*/ 56 w 368"/>
                  <a:gd name="T67" fmla="*/ 301 h 368"/>
                  <a:gd name="T68" fmla="*/ 105 w 368"/>
                  <a:gd name="T69" fmla="*/ 338 h 368"/>
                  <a:gd name="T70" fmla="*/ 163 w 368"/>
                  <a:gd name="T71" fmla="*/ 357 h 368"/>
                  <a:gd name="T72" fmla="*/ 197 w 368"/>
                  <a:gd name="T73" fmla="*/ 357 h 368"/>
                  <a:gd name="T74" fmla="*/ 237 w 368"/>
                  <a:gd name="T75" fmla="*/ 349 h 368"/>
                  <a:gd name="T76" fmla="*/ 274 w 368"/>
                  <a:gd name="T77" fmla="*/ 332 h 368"/>
                  <a:gd name="T78" fmla="*/ 299 w 368"/>
                  <a:gd name="T79" fmla="*/ 313 h 368"/>
                  <a:gd name="T80" fmla="*/ 332 w 368"/>
                  <a:gd name="T81" fmla="*/ 274 h 368"/>
                  <a:gd name="T82" fmla="*/ 352 w 368"/>
                  <a:gd name="T83" fmla="*/ 227 h 368"/>
                  <a:gd name="T84" fmla="*/ 357 w 368"/>
                  <a:gd name="T85" fmla="*/ 178 h 368"/>
                  <a:gd name="T86" fmla="*/ 348 w 368"/>
                  <a:gd name="T87" fmla="*/ 128 h 368"/>
                  <a:gd name="T88" fmla="*/ 324 w 368"/>
                  <a:gd name="T89" fmla="*/ 82 h 368"/>
                  <a:gd name="T90" fmla="*/ 296 w 368"/>
                  <a:gd name="T91" fmla="*/ 51 h 368"/>
                  <a:gd name="T92" fmla="*/ 244 w 368"/>
                  <a:gd name="T93" fmla="*/ 21 h 368"/>
                  <a:gd name="T94" fmla="*/ 183 w 368"/>
                  <a:gd name="T95" fmla="*/ 1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68" h="368">
                    <a:moveTo>
                      <a:pt x="183" y="368"/>
                    </a:moveTo>
                    <a:lnTo>
                      <a:pt x="183" y="368"/>
                    </a:lnTo>
                    <a:lnTo>
                      <a:pt x="162" y="367"/>
                    </a:lnTo>
                    <a:lnTo>
                      <a:pt x="141" y="363"/>
                    </a:lnTo>
                    <a:lnTo>
                      <a:pt x="119" y="357"/>
                    </a:lnTo>
                    <a:lnTo>
                      <a:pt x="100" y="348"/>
                    </a:lnTo>
                    <a:lnTo>
                      <a:pt x="82" y="337"/>
                    </a:lnTo>
                    <a:lnTo>
                      <a:pt x="64" y="324"/>
                    </a:lnTo>
                    <a:lnTo>
                      <a:pt x="49" y="309"/>
                    </a:lnTo>
                    <a:lnTo>
                      <a:pt x="34" y="291"/>
                    </a:lnTo>
                    <a:lnTo>
                      <a:pt x="34" y="291"/>
                    </a:lnTo>
                    <a:lnTo>
                      <a:pt x="24" y="276"/>
                    </a:lnTo>
                    <a:lnTo>
                      <a:pt x="16" y="260"/>
                    </a:lnTo>
                    <a:lnTo>
                      <a:pt x="9" y="242"/>
                    </a:lnTo>
                    <a:lnTo>
                      <a:pt x="4" y="226"/>
                    </a:lnTo>
                    <a:lnTo>
                      <a:pt x="1" y="207"/>
                    </a:lnTo>
                    <a:lnTo>
                      <a:pt x="0" y="190"/>
                    </a:lnTo>
                    <a:lnTo>
                      <a:pt x="0" y="172"/>
                    </a:lnTo>
                    <a:lnTo>
                      <a:pt x="1" y="154"/>
                    </a:lnTo>
                    <a:lnTo>
                      <a:pt x="5" y="137"/>
                    </a:lnTo>
                    <a:lnTo>
                      <a:pt x="11" y="120"/>
                    </a:lnTo>
                    <a:lnTo>
                      <a:pt x="18" y="104"/>
                    </a:lnTo>
                    <a:lnTo>
                      <a:pt x="26" y="88"/>
                    </a:lnTo>
                    <a:lnTo>
                      <a:pt x="36" y="74"/>
                    </a:lnTo>
                    <a:lnTo>
                      <a:pt x="48" y="59"/>
                    </a:lnTo>
                    <a:lnTo>
                      <a:pt x="62" y="46"/>
                    </a:lnTo>
                    <a:lnTo>
                      <a:pt x="75" y="35"/>
                    </a:lnTo>
                    <a:lnTo>
                      <a:pt x="75" y="35"/>
                    </a:lnTo>
                    <a:lnTo>
                      <a:pt x="88" y="26"/>
                    </a:lnTo>
                    <a:lnTo>
                      <a:pt x="100" y="20"/>
                    </a:lnTo>
                    <a:lnTo>
                      <a:pt x="113" y="14"/>
                    </a:lnTo>
                    <a:lnTo>
                      <a:pt x="127" y="9"/>
                    </a:lnTo>
                    <a:lnTo>
                      <a:pt x="141" y="5"/>
                    </a:lnTo>
                    <a:lnTo>
                      <a:pt x="154" y="1"/>
                    </a:lnTo>
                    <a:lnTo>
                      <a:pt x="170" y="0"/>
                    </a:lnTo>
                    <a:lnTo>
                      <a:pt x="183" y="0"/>
                    </a:lnTo>
                    <a:lnTo>
                      <a:pt x="183" y="0"/>
                    </a:lnTo>
                    <a:lnTo>
                      <a:pt x="206" y="1"/>
                    </a:lnTo>
                    <a:lnTo>
                      <a:pt x="227" y="5"/>
                    </a:lnTo>
                    <a:lnTo>
                      <a:pt x="247" y="11"/>
                    </a:lnTo>
                    <a:lnTo>
                      <a:pt x="268" y="20"/>
                    </a:lnTo>
                    <a:lnTo>
                      <a:pt x="286" y="30"/>
                    </a:lnTo>
                    <a:lnTo>
                      <a:pt x="303" y="44"/>
                    </a:lnTo>
                    <a:lnTo>
                      <a:pt x="319" y="59"/>
                    </a:lnTo>
                    <a:lnTo>
                      <a:pt x="333" y="75"/>
                    </a:lnTo>
                    <a:lnTo>
                      <a:pt x="333" y="75"/>
                    </a:lnTo>
                    <a:lnTo>
                      <a:pt x="343" y="92"/>
                    </a:lnTo>
                    <a:lnTo>
                      <a:pt x="352" y="108"/>
                    </a:lnTo>
                    <a:lnTo>
                      <a:pt x="358" y="124"/>
                    </a:lnTo>
                    <a:lnTo>
                      <a:pt x="363" y="142"/>
                    </a:lnTo>
                    <a:lnTo>
                      <a:pt x="367" y="159"/>
                    </a:lnTo>
                    <a:lnTo>
                      <a:pt x="368" y="177"/>
                    </a:lnTo>
                    <a:lnTo>
                      <a:pt x="368" y="196"/>
                    </a:lnTo>
                    <a:lnTo>
                      <a:pt x="366" y="213"/>
                    </a:lnTo>
                    <a:lnTo>
                      <a:pt x="362" y="230"/>
                    </a:lnTo>
                    <a:lnTo>
                      <a:pt x="357" y="247"/>
                    </a:lnTo>
                    <a:lnTo>
                      <a:pt x="351" y="264"/>
                    </a:lnTo>
                    <a:lnTo>
                      <a:pt x="342" y="279"/>
                    </a:lnTo>
                    <a:lnTo>
                      <a:pt x="332" y="294"/>
                    </a:lnTo>
                    <a:lnTo>
                      <a:pt x="320" y="308"/>
                    </a:lnTo>
                    <a:lnTo>
                      <a:pt x="307" y="321"/>
                    </a:lnTo>
                    <a:lnTo>
                      <a:pt x="291" y="333"/>
                    </a:lnTo>
                    <a:lnTo>
                      <a:pt x="291" y="333"/>
                    </a:lnTo>
                    <a:lnTo>
                      <a:pt x="280" y="342"/>
                    </a:lnTo>
                    <a:lnTo>
                      <a:pt x="268" y="348"/>
                    </a:lnTo>
                    <a:lnTo>
                      <a:pt x="254" y="354"/>
                    </a:lnTo>
                    <a:lnTo>
                      <a:pt x="241" y="359"/>
                    </a:lnTo>
                    <a:lnTo>
                      <a:pt x="227" y="363"/>
                    </a:lnTo>
                    <a:lnTo>
                      <a:pt x="212" y="365"/>
                    </a:lnTo>
                    <a:lnTo>
                      <a:pt x="198" y="368"/>
                    </a:lnTo>
                    <a:lnTo>
                      <a:pt x="183" y="368"/>
                    </a:lnTo>
                    <a:lnTo>
                      <a:pt x="183" y="368"/>
                    </a:lnTo>
                    <a:close/>
                    <a:moveTo>
                      <a:pt x="183" y="10"/>
                    </a:moveTo>
                    <a:lnTo>
                      <a:pt x="183" y="10"/>
                    </a:lnTo>
                    <a:lnTo>
                      <a:pt x="170" y="11"/>
                    </a:lnTo>
                    <a:lnTo>
                      <a:pt x="157" y="12"/>
                    </a:lnTo>
                    <a:lnTo>
                      <a:pt x="143" y="15"/>
                    </a:lnTo>
                    <a:lnTo>
                      <a:pt x="131" y="19"/>
                    </a:lnTo>
                    <a:lnTo>
                      <a:pt x="118" y="24"/>
                    </a:lnTo>
                    <a:lnTo>
                      <a:pt x="105" y="29"/>
                    </a:lnTo>
                    <a:lnTo>
                      <a:pt x="93" y="35"/>
                    </a:lnTo>
                    <a:lnTo>
                      <a:pt x="82" y="44"/>
                    </a:lnTo>
                    <a:lnTo>
                      <a:pt x="82" y="44"/>
                    </a:lnTo>
                    <a:lnTo>
                      <a:pt x="69" y="54"/>
                    </a:lnTo>
                    <a:lnTo>
                      <a:pt x="56" y="66"/>
                    </a:lnTo>
                    <a:lnTo>
                      <a:pt x="45" y="79"/>
                    </a:lnTo>
                    <a:lnTo>
                      <a:pt x="36" y="93"/>
                    </a:lnTo>
                    <a:lnTo>
                      <a:pt x="28" y="108"/>
                    </a:lnTo>
                    <a:lnTo>
                      <a:pt x="21" y="123"/>
                    </a:lnTo>
                    <a:lnTo>
                      <a:pt x="16" y="139"/>
                    </a:lnTo>
                    <a:lnTo>
                      <a:pt x="12" y="157"/>
                    </a:lnTo>
                    <a:lnTo>
                      <a:pt x="12" y="157"/>
                    </a:lnTo>
                    <a:lnTo>
                      <a:pt x="10" y="173"/>
                    </a:lnTo>
                    <a:lnTo>
                      <a:pt x="10" y="191"/>
                    </a:lnTo>
                    <a:lnTo>
                      <a:pt x="11" y="207"/>
                    </a:lnTo>
                    <a:lnTo>
                      <a:pt x="15" y="224"/>
                    </a:lnTo>
                    <a:lnTo>
                      <a:pt x="20" y="240"/>
                    </a:lnTo>
                    <a:lnTo>
                      <a:pt x="26" y="256"/>
                    </a:lnTo>
                    <a:lnTo>
                      <a:pt x="34" y="271"/>
                    </a:lnTo>
                    <a:lnTo>
                      <a:pt x="43" y="285"/>
                    </a:lnTo>
                    <a:lnTo>
                      <a:pt x="43" y="285"/>
                    </a:lnTo>
                    <a:lnTo>
                      <a:pt x="56" y="301"/>
                    </a:lnTo>
                    <a:lnTo>
                      <a:pt x="72" y="315"/>
                    </a:lnTo>
                    <a:lnTo>
                      <a:pt x="88" y="328"/>
                    </a:lnTo>
                    <a:lnTo>
                      <a:pt x="105" y="338"/>
                    </a:lnTo>
                    <a:lnTo>
                      <a:pt x="123" y="347"/>
                    </a:lnTo>
                    <a:lnTo>
                      <a:pt x="143" y="353"/>
                    </a:lnTo>
                    <a:lnTo>
                      <a:pt x="163" y="357"/>
                    </a:lnTo>
                    <a:lnTo>
                      <a:pt x="183" y="358"/>
                    </a:lnTo>
                    <a:lnTo>
                      <a:pt x="183" y="358"/>
                    </a:lnTo>
                    <a:lnTo>
                      <a:pt x="197" y="357"/>
                    </a:lnTo>
                    <a:lnTo>
                      <a:pt x="211" y="355"/>
                    </a:lnTo>
                    <a:lnTo>
                      <a:pt x="225" y="353"/>
                    </a:lnTo>
                    <a:lnTo>
                      <a:pt x="237" y="349"/>
                    </a:lnTo>
                    <a:lnTo>
                      <a:pt x="250" y="344"/>
                    </a:lnTo>
                    <a:lnTo>
                      <a:pt x="263" y="339"/>
                    </a:lnTo>
                    <a:lnTo>
                      <a:pt x="274" y="332"/>
                    </a:lnTo>
                    <a:lnTo>
                      <a:pt x="285" y="324"/>
                    </a:lnTo>
                    <a:lnTo>
                      <a:pt x="285" y="324"/>
                    </a:lnTo>
                    <a:lnTo>
                      <a:pt x="299" y="313"/>
                    </a:lnTo>
                    <a:lnTo>
                      <a:pt x="312" y="301"/>
                    </a:lnTo>
                    <a:lnTo>
                      <a:pt x="323" y="288"/>
                    </a:lnTo>
                    <a:lnTo>
                      <a:pt x="332" y="274"/>
                    </a:lnTo>
                    <a:lnTo>
                      <a:pt x="340" y="259"/>
                    </a:lnTo>
                    <a:lnTo>
                      <a:pt x="347" y="244"/>
                    </a:lnTo>
                    <a:lnTo>
                      <a:pt x="352" y="227"/>
                    </a:lnTo>
                    <a:lnTo>
                      <a:pt x="356" y="211"/>
                    </a:lnTo>
                    <a:lnTo>
                      <a:pt x="357" y="195"/>
                    </a:lnTo>
                    <a:lnTo>
                      <a:pt x="357" y="178"/>
                    </a:lnTo>
                    <a:lnTo>
                      <a:pt x="356" y="161"/>
                    </a:lnTo>
                    <a:lnTo>
                      <a:pt x="353" y="144"/>
                    </a:lnTo>
                    <a:lnTo>
                      <a:pt x="348" y="128"/>
                    </a:lnTo>
                    <a:lnTo>
                      <a:pt x="342" y="113"/>
                    </a:lnTo>
                    <a:lnTo>
                      <a:pt x="334" y="97"/>
                    </a:lnTo>
                    <a:lnTo>
                      <a:pt x="324" y="82"/>
                    </a:lnTo>
                    <a:lnTo>
                      <a:pt x="324" y="82"/>
                    </a:lnTo>
                    <a:lnTo>
                      <a:pt x="312" y="66"/>
                    </a:lnTo>
                    <a:lnTo>
                      <a:pt x="296" y="51"/>
                    </a:lnTo>
                    <a:lnTo>
                      <a:pt x="280" y="40"/>
                    </a:lnTo>
                    <a:lnTo>
                      <a:pt x="263" y="29"/>
                    </a:lnTo>
                    <a:lnTo>
                      <a:pt x="244" y="21"/>
                    </a:lnTo>
                    <a:lnTo>
                      <a:pt x="225" y="15"/>
                    </a:lnTo>
                    <a:lnTo>
                      <a:pt x="205" y="11"/>
                    </a:lnTo>
                    <a:lnTo>
                      <a:pt x="183" y="10"/>
                    </a:lnTo>
                    <a:lnTo>
                      <a:pt x="183" y="10"/>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3" name="Freeform 22"/>
              <p:cNvSpPr>
                <a:spLocks noEditPoints="1"/>
              </p:cNvSpPr>
              <p:nvPr/>
            </p:nvSpPr>
            <p:spPr bwMode="auto">
              <a:xfrm>
                <a:off x="8247528" y="2993757"/>
                <a:ext cx="89756" cy="373303"/>
              </a:xfrm>
              <a:custGeom>
                <a:avLst/>
                <a:gdLst>
                  <a:gd name="T0" fmla="*/ 39 w 87"/>
                  <a:gd name="T1" fmla="*/ 365 h 365"/>
                  <a:gd name="T2" fmla="*/ 39 w 87"/>
                  <a:gd name="T3" fmla="*/ 365 h 365"/>
                  <a:gd name="T4" fmla="*/ 36 w 87"/>
                  <a:gd name="T5" fmla="*/ 364 h 365"/>
                  <a:gd name="T6" fmla="*/ 36 w 87"/>
                  <a:gd name="T7" fmla="*/ 364 h 365"/>
                  <a:gd name="T8" fmla="*/ 34 w 87"/>
                  <a:gd name="T9" fmla="*/ 363 h 365"/>
                  <a:gd name="T10" fmla="*/ 34 w 87"/>
                  <a:gd name="T11" fmla="*/ 360 h 365"/>
                  <a:gd name="T12" fmla="*/ 0 w 87"/>
                  <a:gd name="T13" fmla="*/ 6 h 365"/>
                  <a:gd name="T14" fmla="*/ 0 w 87"/>
                  <a:gd name="T15" fmla="*/ 6 h 365"/>
                  <a:gd name="T16" fmla="*/ 0 w 87"/>
                  <a:gd name="T17" fmla="*/ 4 h 365"/>
                  <a:gd name="T18" fmla="*/ 2 w 87"/>
                  <a:gd name="T19" fmla="*/ 1 h 365"/>
                  <a:gd name="T20" fmla="*/ 2 w 87"/>
                  <a:gd name="T21" fmla="*/ 1 h 365"/>
                  <a:gd name="T22" fmla="*/ 4 w 87"/>
                  <a:gd name="T23" fmla="*/ 0 h 365"/>
                  <a:gd name="T24" fmla="*/ 5 w 87"/>
                  <a:gd name="T25" fmla="*/ 0 h 365"/>
                  <a:gd name="T26" fmla="*/ 67 w 87"/>
                  <a:gd name="T27" fmla="*/ 0 h 365"/>
                  <a:gd name="T28" fmla="*/ 67 w 87"/>
                  <a:gd name="T29" fmla="*/ 0 h 365"/>
                  <a:gd name="T30" fmla="*/ 70 w 87"/>
                  <a:gd name="T31" fmla="*/ 0 h 365"/>
                  <a:gd name="T32" fmla="*/ 71 w 87"/>
                  <a:gd name="T33" fmla="*/ 1 h 365"/>
                  <a:gd name="T34" fmla="*/ 72 w 87"/>
                  <a:gd name="T35" fmla="*/ 2 h 365"/>
                  <a:gd name="T36" fmla="*/ 73 w 87"/>
                  <a:gd name="T37" fmla="*/ 5 h 365"/>
                  <a:gd name="T38" fmla="*/ 87 w 87"/>
                  <a:gd name="T39" fmla="*/ 353 h 365"/>
                  <a:gd name="T40" fmla="*/ 87 w 87"/>
                  <a:gd name="T41" fmla="*/ 353 h 365"/>
                  <a:gd name="T42" fmla="*/ 86 w 87"/>
                  <a:gd name="T43" fmla="*/ 355 h 365"/>
                  <a:gd name="T44" fmla="*/ 85 w 87"/>
                  <a:gd name="T45" fmla="*/ 357 h 365"/>
                  <a:gd name="T46" fmla="*/ 83 w 87"/>
                  <a:gd name="T47" fmla="*/ 358 h 365"/>
                  <a:gd name="T48" fmla="*/ 82 w 87"/>
                  <a:gd name="T49" fmla="*/ 358 h 365"/>
                  <a:gd name="T50" fmla="*/ 82 w 87"/>
                  <a:gd name="T51" fmla="*/ 358 h 365"/>
                  <a:gd name="T52" fmla="*/ 61 w 87"/>
                  <a:gd name="T53" fmla="*/ 360 h 365"/>
                  <a:gd name="T54" fmla="*/ 41 w 87"/>
                  <a:gd name="T55" fmla="*/ 365 h 365"/>
                  <a:gd name="T56" fmla="*/ 41 w 87"/>
                  <a:gd name="T57" fmla="*/ 365 h 365"/>
                  <a:gd name="T58" fmla="*/ 39 w 87"/>
                  <a:gd name="T59" fmla="*/ 365 h 365"/>
                  <a:gd name="T60" fmla="*/ 39 w 87"/>
                  <a:gd name="T61" fmla="*/ 365 h 365"/>
                  <a:gd name="T62" fmla="*/ 12 w 87"/>
                  <a:gd name="T63" fmla="*/ 10 h 365"/>
                  <a:gd name="T64" fmla="*/ 44 w 87"/>
                  <a:gd name="T65" fmla="*/ 353 h 365"/>
                  <a:gd name="T66" fmla="*/ 44 w 87"/>
                  <a:gd name="T67" fmla="*/ 353 h 365"/>
                  <a:gd name="T68" fmla="*/ 59 w 87"/>
                  <a:gd name="T69" fmla="*/ 350 h 365"/>
                  <a:gd name="T70" fmla="*/ 76 w 87"/>
                  <a:gd name="T71" fmla="*/ 348 h 365"/>
                  <a:gd name="T72" fmla="*/ 62 w 87"/>
                  <a:gd name="T73" fmla="*/ 10 h 365"/>
                  <a:gd name="T74" fmla="*/ 12 w 87"/>
                  <a:gd name="T75" fmla="*/ 1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7" h="365">
                    <a:moveTo>
                      <a:pt x="39" y="365"/>
                    </a:moveTo>
                    <a:lnTo>
                      <a:pt x="39" y="365"/>
                    </a:lnTo>
                    <a:lnTo>
                      <a:pt x="36" y="364"/>
                    </a:lnTo>
                    <a:lnTo>
                      <a:pt x="36" y="364"/>
                    </a:lnTo>
                    <a:lnTo>
                      <a:pt x="34" y="363"/>
                    </a:lnTo>
                    <a:lnTo>
                      <a:pt x="34" y="360"/>
                    </a:lnTo>
                    <a:lnTo>
                      <a:pt x="0" y="6"/>
                    </a:lnTo>
                    <a:lnTo>
                      <a:pt x="0" y="6"/>
                    </a:lnTo>
                    <a:lnTo>
                      <a:pt x="0" y="4"/>
                    </a:lnTo>
                    <a:lnTo>
                      <a:pt x="2" y="1"/>
                    </a:lnTo>
                    <a:lnTo>
                      <a:pt x="2" y="1"/>
                    </a:lnTo>
                    <a:lnTo>
                      <a:pt x="4" y="0"/>
                    </a:lnTo>
                    <a:lnTo>
                      <a:pt x="5" y="0"/>
                    </a:lnTo>
                    <a:lnTo>
                      <a:pt x="67" y="0"/>
                    </a:lnTo>
                    <a:lnTo>
                      <a:pt x="67" y="0"/>
                    </a:lnTo>
                    <a:lnTo>
                      <a:pt x="70" y="0"/>
                    </a:lnTo>
                    <a:lnTo>
                      <a:pt x="71" y="1"/>
                    </a:lnTo>
                    <a:lnTo>
                      <a:pt x="72" y="2"/>
                    </a:lnTo>
                    <a:lnTo>
                      <a:pt x="73" y="5"/>
                    </a:lnTo>
                    <a:lnTo>
                      <a:pt x="87" y="353"/>
                    </a:lnTo>
                    <a:lnTo>
                      <a:pt x="87" y="353"/>
                    </a:lnTo>
                    <a:lnTo>
                      <a:pt x="86" y="355"/>
                    </a:lnTo>
                    <a:lnTo>
                      <a:pt x="85" y="357"/>
                    </a:lnTo>
                    <a:lnTo>
                      <a:pt x="83" y="358"/>
                    </a:lnTo>
                    <a:lnTo>
                      <a:pt x="82" y="358"/>
                    </a:lnTo>
                    <a:lnTo>
                      <a:pt x="82" y="358"/>
                    </a:lnTo>
                    <a:lnTo>
                      <a:pt x="61" y="360"/>
                    </a:lnTo>
                    <a:lnTo>
                      <a:pt x="41" y="365"/>
                    </a:lnTo>
                    <a:lnTo>
                      <a:pt x="41" y="365"/>
                    </a:lnTo>
                    <a:lnTo>
                      <a:pt x="39" y="365"/>
                    </a:lnTo>
                    <a:lnTo>
                      <a:pt x="39" y="365"/>
                    </a:lnTo>
                    <a:close/>
                    <a:moveTo>
                      <a:pt x="12" y="10"/>
                    </a:moveTo>
                    <a:lnTo>
                      <a:pt x="44" y="353"/>
                    </a:lnTo>
                    <a:lnTo>
                      <a:pt x="44" y="353"/>
                    </a:lnTo>
                    <a:lnTo>
                      <a:pt x="59" y="350"/>
                    </a:lnTo>
                    <a:lnTo>
                      <a:pt x="76" y="348"/>
                    </a:lnTo>
                    <a:lnTo>
                      <a:pt x="62" y="10"/>
                    </a:lnTo>
                    <a:lnTo>
                      <a:pt x="12" y="10"/>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4" name="Freeform 23"/>
              <p:cNvSpPr>
                <a:spLocks noEditPoints="1"/>
              </p:cNvSpPr>
              <p:nvPr/>
            </p:nvSpPr>
            <p:spPr bwMode="auto">
              <a:xfrm>
                <a:off x="8339326" y="2993757"/>
                <a:ext cx="87716" cy="373303"/>
              </a:xfrm>
              <a:custGeom>
                <a:avLst/>
                <a:gdLst>
                  <a:gd name="T0" fmla="*/ 48 w 85"/>
                  <a:gd name="T1" fmla="*/ 365 h 365"/>
                  <a:gd name="T2" fmla="*/ 48 w 85"/>
                  <a:gd name="T3" fmla="*/ 365 h 365"/>
                  <a:gd name="T4" fmla="*/ 46 w 85"/>
                  <a:gd name="T5" fmla="*/ 365 h 365"/>
                  <a:gd name="T6" fmla="*/ 46 w 85"/>
                  <a:gd name="T7" fmla="*/ 365 h 365"/>
                  <a:gd name="T8" fmla="*/ 25 w 85"/>
                  <a:gd name="T9" fmla="*/ 360 h 365"/>
                  <a:gd name="T10" fmla="*/ 5 w 85"/>
                  <a:gd name="T11" fmla="*/ 358 h 365"/>
                  <a:gd name="T12" fmla="*/ 5 w 85"/>
                  <a:gd name="T13" fmla="*/ 358 h 365"/>
                  <a:gd name="T14" fmla="*/ 2 w 85"/>
                  <a:gd name="T15" fmla="*/ 358 h 365"/>
                  <a:gd name="T16" fmla="*/ 1 w 85"/>
                  <a:gd name="T17" fmla="*/ 357 h 365"/>
                  <a:gd name="T18" fmla="*/ 0 w 85"/>
                  <a:gd name="T19" fmla="*/ 355 h 365"/>
                  <a:gd name="T20" fmla="*/ 0 w 85"/>
                  <a:gd name="T21" fmla="*/ 353 h 365"/>
                  <a:gd name="T22" fmla="*/ 14 w 85"/>
                  <a:gd name="T23" fmla="*/ 5 h 365"/>
                  <a:gd name="T24" fmla="*/ 14 w 85"/>
                  <a:gd name="T25" fmla="*/ 5 h 365"/>
                  <a:gd name="T26" fmla="*/ 14 w 85"/>
                  <a:gd name="T27" fmla="*/ 2 h 365"/>
                  <a:gd name="T28" fmla="*/ 15 w 85"/>
                  <a:gd name="T29" fmla="*/ 1 h 365"/>
                  <a:gd name="T30" fmla="*/ 17 w 85"/>
                  <a:gd name="T31" fmla="*/ 0 h 365"/>
                  <a:gd name="T32" fmla="*/ 19 w 85"/>
                  <a:gd name="T33" fmla="*/ 0 h 365"/>
                  <a:gd name="T34" fmla="*/ 80 w 85"/>
                  <a:gd name="T35" fmla="*/ 0 h 365"/>
                  <a:gd name="T36" fmla="*/ 80 w 85"/>
                  <a:gd name="T37" fmla="*/ 0 h 365"/>
                  <a:gd name="T38" fmla="*/ 83 w 85"/>
                  <a:gd name="T39" fmla="*/ 0 h 365"/>
                  <a:gd name="T40" fmla="*/ 84 w 85"/>
                  <a:gd name="T41" fmla="*/ 1 h 365"/>
                  <a:gd name="T42" fmla="*/ 84 w 85"/>
                  <a:gd name="T43" fmla="*/ 1 h 365"/>
                  <a:gd name="T44" fmla="*/ 85 w 85"/>
                  <a:gd name="T45" fmla="*/ 4 h 365"/>
                  <a:gd name="T46" fmla="*/ 85 w 85"/>
                  <a:gd name="T47" fmla="*/ 6 h 365"/>
                  <a:gd name="T48" fmla="*/ 53 w 85"/>
                  <a:gd name="T49" fmla="*/ 360 h 365"/>
                  <a:gd name="T50" fmla="*/ 53 w 85"/>
                  <a:gd name="T51" fmla="*/ 360 h 365"/>
                  <a:gd name="T52" fmla="*/ 51 w 85"/>
                  <a:gd name="T53" fmla="*/ 363 h 365"/>
                  <a:gd name="T54" fmla="*/ 50 w 85"/>
                  <a:gd name="T55" fmla="*/ 364 h 365"/>
                  <a:gd name="T56" fmla="*/ 50 w 85"/>
                  <a:gd name="T57" fmla="*/ 364 h 365"/>
                  <a:gd name="T58" fmla="*/ 48 w 85"/>
                  <a:gd name="T59" fmla="*/ 365 h 365"/>
                  <a:gd name="T60" fmla="*/ 48 w 85"/>
                  <a:gd name="T61" fmla="*/ 365 h 365"/>
                  <a:gd name="T62" fmla="*/ 11 w 85"/>
                  <a:gd name="T63" fmla="*/ 348 h 365"/>
                  <a:gd name="T64" fmla="*/ 11 w 85"/>
                  <a:gd name="T65" fmla="*/ 348 h 365"/>
                  <a:gd name="T66" fmla="*/ 26 w 85"/>
                  <a:gd name="T67" fmla="*/ 350 h 365"/>
                  <a:gd name="T68" fmla="*/ 43 w 85"/>
                  <a:gd name="T69" fmla="*/ 353 h 365"/>
                  <a:gd name="T70" fmla="*/ 75 w 85"/>
                  <a:gd name="T71" fmla="*/ 10 h 365"/>
                  <a:gd name="T72" fmla="*/ 24 w 85"/>
                  <a:gd name="T73" fmla="*/ 10 h 365"/>
                  <a:gd name="T74" fmla="*/ 11 w 85"/>
                  <a:gd name="T75" fmla="*/ 348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 h="365">
                    <a:moveTo>
                      <a:pt x="48" y="365"/>
                    </a:moveTo>
                    <a:lnTo>
                      <a:pt x="48" y="365"/>
                    </a:lnTo>
                    <a:lnTo>
                      <a:pt x="46" y="365"/>
                    </a:lnTo>
                    <a:lnTo>
                      <a:pt x="46" y="365"/>
                    </a:lnTo>
                    <a:lnTo>
                      <a:pt x="25" y="360"/>
                    </a:lnTo>
                    <a:lnTo>
                      <a:pt x="5" y="358"/>
                    </a:lnTo>
                    <a:lnTo>
                      <a:pt x="5" y="358"/>
                    </a:lnTo>
                    <a:lnTo>
                      <a:pt x="2" y="358"/>
                    </a:lnTo>
                    <a:lnTo>
                      <a:pt x="1" y="357"/>
                    </a:lnTo>
                    <a:lnTo>
                      <a:pt x="0" y="355"/>
                    </a:lnTo>
                    <a:lnTo>
                      <a:pt x="0" y="353"/>
                    </a:lnTo>
                    <a:lnTo>
                      <a:pt x="14" y="5"/>
                    </a:lnTo>
                    <a:lnTo>
                      <a:pt x="14" y="5"/>
                    </a:lnTo>
                    <a:lnTo>
                      <a:pt x="14" y="2"/>
                    </a:lnTo>
                    <a:lnTo>
                      <a:pt x="15" y="1"/>
                    </a:lnTo>
                    <a:lnTo>
                      <a:pt x="17" y="0"/>
                    </a:lnTo>
                    <a:lnTo>
                      <a:pt x="19" y="0"/>
                    </a:lnTo>
                    <a:lnTo>
                      <a:pt x="80" y="0"/>
                    </a:lnTo>
                    <a:lnTo>
                      <a:pt x="80" y="0"/>
                    </a:lnTo>
                    <a:lnTo>
                      <a:pt x="83" y="0"/>
                    </a:lnTo>
                    <a:lnTo>
                      <a:pt x="84" y="1"/>
                    </a:lnTo>
                    <a:lnTo>
                      <a:pt x="84" y="1"/>
                    </a:lnTo>
                    <a:lnTo>
                      <a:pt x="85" y="4"/>
                    </a:lnTo>
                    <a:lnTo>
                      <a:pt x="85" y="6"/>
                    </a:lnTo>
                    <a:lnTo>
                      <a:pt x="53" y="360"/>
                    </a:lnTo>
                    <a:lnTo>
                      <a:pt x="53" y="360"/>
                    </a:lnTo>
                    <a:lnTo>
                      <a:pt x="51" y="363"/>
                    </a:lnTo>
                    <a:lnTo>
                      <a:pt x="50" y="364"/>
                    </a:lnTo>
                    <a:lnTo>
                      <a:pt x="50" y="364"/>
                    </a:lnTo>
                    <a:lnTo>
                      <a:pt x="48" y="365"/>
                    </a:lnTo>
                    <a:lnTo>
                      <a:pt x="48" y="365"/>
                    </a:lnTo>
                    <a:close/>
                    <a:moveTo>
                      <a:pt x="11" y="348"/>
                    </a:moveTo>
                    <a:lnTo>
                      <a:pt x="11" y="348"/>
                    </a:lnTo>
                    <a:lnTo>
                      <a:pt x="26" y="350"/>
                    </a:lnTo>
                    <a:lnTo>
                      <a:pt x="43" y="353"/>
                    </a:lnTo>
                    <a:lnTo>
                      <a:pt x="75" y="10"/>
                    </a:lnTo>
                    <a:lnTo>
                      <a:pt x="24" y="10"/>
                    </a:lnTo>
                    <a:lnTo>
                      <a:pt x="11" y="348"/>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5" name="Freeform 24"/>
              <p:cNvSpPr>
                <a:spLocks noEditPoints="1"/>
              </p:cNvSpPr>
              <p:nvPr/>
            </p:nvSpPr>
            <p:spPr bwMode="auto">
              <a:xfrm>
                <a:off x="8339326" y="3705685"/>
                <a:ext cx="87716" cy="373303"/>
              </a:xfrm>
              <a:custGeom>
                <a:avLst/>
                <a:gdLst>
                  <a:gd name="T0" fmla="*/ 80 w 85"/>
                  <a:gd name="T1" fmla="*/ 366 h 366"/>
                  <a:gd name="T2" fmla="*/ 19 w 85"/>
                  <a:gd name="T3" fmla="*/ 366 h 366"/>
                  <a:gd name="T4" fmla="*/ 19 w 85"/>
                  <a:gd name="T5" fmla="*/ 366 h 366"/>
                  <a:gd name="T6" fmla="*/ 17 w 85"/>
                  <a:gd name="T7" fmla="*/ 366 h 366"/>
                  <a:gd name="T8" fmla="*/ 15 w 85"/>
                  <a:gd name="T9" fmla="*/ 365 h 366"/>
                  <a:gd name="T10" fmla="*/ 14 w 85"/>
                  <a:gd name="T11" fmla="*/ 362 h 366"/>
                  <a:gd name="T12" fmla="*/ 14 w 85"/>
                  <a:gd name="T13" fmla="*/ 361 h 366"/>
                  <a:gd name="T14" fmla="*/ 0 w 85"/>
                  <a:gd name="T15" fmla="*/ 13 h 366"/>
                  <a:gd name="T16" fmla="*/ 0 w 85"/>
                  <a:gd name="T17" fmla="*/ 13 h 366"/>
                  <a:gd name="T18" fmla="*/ 0 w 85"/>
                  <a:gd name="T19" fmla="*/ 10 h 366"/>
                  <a:gd name="T20" fmla="*/ 1 w 85"/>
                  <a:gd name="T21" fmla="*/ 9 h 366"/>
                  <a:gd name="T22" fmla="*/ 2 w 85"/>
                  <a:gd name="T23" fmla="*/ 8 h 366"/>
                  <a:gd name="T24" fmla="*/ 5 w 85"/>
                  <a:gd name="T25" fmla="*/ 7 h 366"/>
                  <a:gd name="T26" fmla="*/ 5 w 85"/>
                  <a:gd name="T27" fmla="*/ 7 h 366"/>
                  <a:gd name="T28" fmla="*/ 25 w 85"/>
                  <a:gd name="T29" fmla="*/ 5 h 366"/>
                  <a:gd name="T30" fmla="*/ 46 w 85"/>
                  <a:gd name="T31" fmla="*/ 0 h 366"/>
                  <a:gd name="T32" fmla="*/ 46 w 85"/>
                  <a:gd name="T33" fmla="*/ 0 h 366"/>
                  <a:gd name="T34" fmla="*/ 48 w 85"/>
                  <a:gd name="T35" fmla="*/ 0 h 366"/>
                  <a:gd name="T36" fmla="*/ 50 w 85"/>
                  <a:gd name="T37" fmla="*/ 2 h 366"/>
                  <a:gd name="T38" fmla="*/ 50 w 85"/>
                  <a:gd name="T39" fmla="*/ 2 h 366"/>
                  <a:gd name="T40" fmla="*/ 51 w 85"/>
                  <a:gd name="T41" fmla="*/ 3 h 366"/>
                  <a:gd name="T42" fmla="*/ 53 w 85"/>
                  <a:gd name="T43" fmla="*/ 5 h 366"/>
                  <a:gd name="T44" fmla="*/ 85 w 85"/>
                  <a:gd name="T45" fmla="*/ 360 h 366"/>
                  <a:gd name="T46" fmla="*/ 85 w 85"/>
                  <a:gd name="T47" fmla="*/ 360 h 366"/>
                  <a:gd name="T48" fmla="*/ 85 w 85"/>
                  <a:gd name="T49" fmla="*/ 362 h 366"/>
                  <a:gd name="T50" fmla="*/ 84 w 85"/>
                  <a:gd name="T51" fmla="*/ 363 h 366"/>
                  <a:gd name="T52" fmla="*/ 84 w 85"/>
                  <a:gd name="T53" fmla="*/ 363 h 366"/>
                  <a:gd name="T54" fmla="*/ 83 w 85"/>
                  <a:gd name="T55" fmla="*/ 366 h 366"/>
                  <a:gd name="T56" fmla="*/ 80 w 85"/>
                  <a:gd name="T57" fmla="*/ 366 h 366"/>
                  <a:gd name="T58" fmla="*/ 80 w 85"/>
                  <a:gd name="T59" fmla="*/ 366 h 366"/>
                  <a:gd name="T60" fmla="*/ 24 w 85"/>
                  <a:gd name="T61" fmla="*/ 355 h 366"/>
                  <a:gd name="T62" fmla="*/ 75 w 85"/>
                  <a:gd name="T63" fmla="*/ 355 h 366"/>
                  <a:gd name="T64" fmla="*/ 43 w 85"/>
                  <a:gd name="T65" fmla="*/ 13 h 366"/>
                  <a:gd name="T66" fmla="*/ 43 w 85"/>
                  <a:gd name="T67" fmla="*/ 13 h 366"/>
                  <a:gd name="T68" fmla="*/ 26 w 85"/>
                  <a:gd name="T69" fmla="*/ 15 h 366"/>
                  <a:gd name="T70" fmla="*/ 11 w 85"/>
                  <a:gd name="T71" fmla="*/ 18 h 366"/>
                  <a:gd name="T72" fmla="*/ 24 w 85"/>
                  <a:gd name="T73" fmla="*/ 355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5" h="366">
                    <a:moveTo>
                      <a:pt x="80" y="366"/>
                    </a:moveTo>
                    <a:lnTo>
                      <a:pt x="19" y="366"/>
                    </a:lnTo>
                    <a:lnTo>
                      <a:pt x="19" y="366"/>
                    </a:lnTo>
                    <a:lnTo>
                      <a:pt x="17" y="366"/>
                    </a:lnTo>
                    <a:lnTo>
                      <a:pt x="15" y="365"/>
                    </a:lnTo>
                    <a:lnTo>
                      <a:pt x="14" y="362"/>
                    </a:lnTo>
                    <a:lnTo>
                      <a:pt x="14" y="361"/>
                    </a:lnTo>
                    <a:lnTo>
                      <a:pt x="0" y="13"/>
                    </a:lnTo>
                    <a:lnTo>
                      <a:pt x="0" y="13"/>
                    </a:lnTo>
                    <a:lnTo>
                      <a:pt x="0" y="10"/>
                    </a:lnTo>
                    <a:lnTo>
                      <a:pt x="1" y="9"/>
                    </a:lnTo>
                    <a:lnTo>
                      <a:pt x="2" y="8"/>
                    </a:lnTo>
                    <a:lnTo>
                      <a:pt x="5" y="7"/>
                    </a:lnTo>
                    <a:lnTo>
                      <a:pt x="5" y="7"/>
                    </a:lnTo>
                    <a:lnTo>
                      <a:pt x="25" y="5"/>
                    </a:lnTo>
                    <a:lnTo>
                      <a:pt x="46" y="0"/>
                    </a:lnTo>
                    <a:lnTo>
                      <a:pt x="46" y="0"/>
                    </a:lnTo>
                    <a:lnTo>
                      <a:pt x="48" y="0"/>
                    </a:lnTo>
                    <a:lnTo>
                      <a:pt x="50" y="2"/>
                    </a:lnTo>
                    <a:lnTo>
                      <a:pt x="50" y="2"/>
                    </a:lnTo>
                    <a:lnTo>
                      <a:pt x="51" y="3"/>
                    </a:lnTo>
                    <a:lnTo>
                      <a:pt x="53" y="5"/>
                    </a:lnTo>
                    <a:lnTo>
                      <a:pt x="85" y="360"/>
                    </a:lnTo>
                    <a:lnTo>
                      <a:pt x="85" y="360"/>
                    </a:lnTo>
                    <a:lnTo>
                      <a:pt x="85" y="362"/>
                    </a:lnTo>
                    <a:lnTo>
                      <a:pt x="84" y="363"/>
                    </a:lnTo>
                    <a:lnTo>
                      <a:pt x="84" y="363"/>
                    </a:lnTo>
                    <a:lnTo>
                      <a:pt x="83" y="366"/>
                    </a:lnTo>
                    <a:lnTo>
                      <a:pt x="80" y="366"/>
                    </a:lnTo>
                    <a:lnTo>
                      <a:pt x="80" y="366"/>
                    </a:lnTo>
                    <a:close/>
                    <a:moveTo>
                      <a:pt x="24" y="355"/>
                    </a:moveTo>
                    <a:lnTo>
                      <a:pt x="75" y="355"/>
                    </a:lnTo>
                    <a:lnTo>
                      <a:pt x="43" y="13"/>
                    </a:lnTo>
                    <a:lnTo>
                      <a:pt x="43" y="13"/>
                    </a:lnTo>
                    <a:lnTo>
                      <a:pt x="26" y="15"/>
                    </a:lnTo>
                    <a:lnTo>
                      <a:pt x="11" y="18"/>
                    </a:lnTo>
                    <a:lnTo>
                      <a:pt x="24" y="355"/>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6" name="Freeform 25"/>
              <p:cNvSpPr>
                <a:spLocks noEditPoints="1"/>
              </p:cNvSpPr>
              <p:nvPr/>
            </p:nvSpPr>
            <p:spPr bwMode="auto">
              <a:xfrm>
                <a:off x="8247528" y="3705685"/>
                <a:ext cx="89756" cy="373303"/>
              </a:xfrm>
              <a:custGeom>
                <a:avLst/>
                <a:gdLst>
                  <a:gd name="T0" fmla="*/ 67 w 87"/>
                  <a:gd name="T1" fmla="*/ 366 h 366"/>
                  <a:gd name="T2" fmla="*/ 5 w 87"/>
                  <a:gd name="T3" fmla="*/ 366 h 366"/>
                  <a:gd name="T4" fmla="*/ 5 w 87"/>
                  <a:gd name="T5" fmla="*/ 366 h 366"/>
                  <a:gd name="T6" fmla="*/ 4 w 87"/>
                  <a:gd name="T7" fmla="*/ 366 h 366"/>
                  <a:gd name="T8" fmla="*/ 2 w 87"/>
                  <a:gd name="T9" fmla="*/ 363 h 366"/>
                  <a:gd name="T10" fmla="*/ 2 w 87"/>
                  <a:gd name="T11" fmla="*/ 363 h 366"/>
                  <a:gd name="T12" fmla="*/ 0 w 87"/>
                  <a:gd name="T13" fmla="*/ 362 h 366"/>
                  <a:gd name="T14" fmla="*/ 0 w 87"/>
                  <a:gd name="T15" fmla="*/ 360 h 366"/>
                  <a:gd name="T16" fmla="*/ 34 w 87"/>
                  <a:gd name="T17" fmla="*/ 5 h 366"/>
                  <a:gd name="T18" fmla="*/ 34 w 87"/>
                  <a:gd name="T19" fmla="*/ 5 h 366"/>
                  <a:gd name="T20" fmla="*/ 34 w 87"/>
                  <a:gd name="T21" fmla="*/ 3 h 366"/>
                  <a:gd name="T22" fmla="*/ 36 w 87"/>
                  <a:gd name="T23" fmla="*/ 2 h 366"/>
                  <a:gd name="T24" fmla="*/ 36 w 87"/>
                  <a:gd name="T25" fmla="*/ 2 h 366"/>
                  <a:gd name="T26" fmla="*/ 38 w 87"/>
                  <a:gd name="T27" fmla="*/ 0 h 366"/>
                  <a:gd name="T28" fmla="*/ 41 w 87"/>
                  <a:gd name="T29" fmla="*/ 0 h 366"/>
                  <a:gd name="T30" fmla="*/ 41 w 87"/>
                  <a:gd name="T31" fmla="*/ 0 h 366"/>
                  <a:gd name="T32" fmla="*/ 61 w 87"/>
                  <a:gd name="T33" fmla="*/ 5 h 366"/>
                  <a:gd name="T34" fmla="*/ 82 w 87"/>
                  <a:gd name="T35" fmla="*/ 7 h 366"/>
                  <a:gd name="T36" fmla="*/ 82 w 87"/>
                  <a:gd name="T37" fmla="*/ 7 h 366"/>
                  <a:gd name="T38" fmla="*/ 83 w 87"/>
                  <a:gd name="T39" fmla="*/ 8 h 366"/>
                  <a:gd name="T40" fmla="*/ 85 w 87"/>
                  <a:gd name="T41" fmla="*/ 9 h 366"/>
                  <a:gd name="T42" fmla="*/ 86 w 87"/>
                  <a:gd name="T43" fmla="*/ 10 h 366"/>
                  <a:gd name="T44" fmla="*/ 87 w 87"/>
                  <a:gd name="T45" fmla="*/ 13 h 366"/>
                  <a:gd name="T46" fmla="*/ 73 w 87"/>
                  <a:gd name="T47" fmla="*/ 361 h 366"/>
                  <a:gd name="T48" fmla="*/ 73 w 87"/>
                  <a:gd name="T49" fmla="*/ 361 h 366"/>
                  <a:gd name="T50" fmla="*/ 72 w 87"/>
                  <a:gd name="T51" fmla="*/ 362 h 366"/>
                  <a:gd name="T52" fmla="*/ 71 w 87"/>
                  <a:gd name="T53" fmla="*/ 365 h 366"/>
                  <a:gd name="T54" fmla="*/ 70 w 87"/>
                  <a:gd name="T55" fmla="*/ 366 h 366"/>
                  <a:gd name="T56" fmla="*/ 67 w 87"/>
                  <a:gd name="T57" fmla="*/ 366 h 366"/>
                  <a:gd name="T58" fmla="*/ 67 w 87"/>
                  <a:gd name="T59" fmla="*/ 366 h 366"/>
                  <a:gd name="T60" fmla="*/ 12 w 87"/>
                  <a:gd name="T61" fmla="*/ 355 h 366"/>
                  <a:gd name="T62" fmla="*/ 62 w 87"/>
                  <a:gd name="T63" fmla="*/ 355 h 366"/>
                  <a:gd name="T64" fmla="*/ 76 w 87"/>
                  <a:gd name="T65" fmla="*/ 18 h 366"/>
                  <a:gd name="T66" fmla="*/ 76 w 87"/>
                  <a:gd name="T67" fmla="*/ 18 h 366"/>
                  <a:gd name="T68" fmla="*/ 59 w 87"/>
                  <a:gd name="T69" fmla="*/ 15 h 366"/>
                  <a:gd name="T70" fmla="*/ 44 w 87"/>
                  <a:gd name="T71" fmla="*/ 13 h 366"/>
                  <a:gd name="T72" fmla="*/ 12 w 87"/>
                  <a:gd name="T73" fmla="*/ 355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7" h="366">
                    <a:moveTo>
                      <a:pt x="67" y="366"/>
                    </a:moveTo>
                    <a:lnTo>
                      <a:pt x="5" y="366"/>
                    </a:lnTo>
                    <a:lnTo>
                      <a:pt x="5" y="366"/>
                    </a:lnTo>
                    <a:lnTo>
                      <a:pt x="4" y="366"/>
                    </a:lnTo>
                    <a:lnTo>
                      <a:pt x="2" y="363"/>
                    </a:lnTo>
                    <a:lnTo>
                      <a:pt x="2" y="363"/>
                    </a:lnTo>
                    <a:lnTo>
                      <a:pt x="0" y="362"/>
                    </a:lnTo>
                    <a:lnTo>
                      <a:pt x="0" y="360"/>
                    </a:lnTo>
                    <a:lnTo>
                      <a:pt x="34" y="5"/>
                    </a:lnTo>
                    <a:lnTo>
                      <a:pt x="34" y="5"/>
                    </a:lnTo>
                    <a:lnTo>
                      <a:pt x="34" y="3"/>
                    </a:lnTo>
                    <a:lnTo>
                      <a:pt x="36" y="2"/>
                    </a:lnTo>
                    <a:lnTo>
                      <a:pt x="36" y="2"/>
                    </a:lnTo>
                    <a:lnTo>
                      <a:pt x="38" y="0"/>
                    </a:lnTo>
                    <a:lnTo>
                      <a:pt x="41" y="0"/>
                    </a:lnTo>
                    <a:lnTo>
                      <a:pt x="41" y="0"/>
                    </a:lnTo>
                    <a:lnTo>
                      <a:pt x="61" y="5"/>
                    </a:lnTo>
                    <a:lnTo>
                      <a:pt x="82" y="7"/>
                    </a:lnTo>
                    <a:lnTo>
                      <a:pt x="82" y="7"/>
                    </a:lnTo>
                    <a:lnTo>
                      <a:pt x="83" y="8"/>
                    </a:lnTo>
                    <a:lnTo>
                      <a:pt x="85" y="9"/>
                    </a:lnTo>
                    <a:lnTo>
                      <a:pt x="86" y="10"/>
                    </a:lnTo>
                    <a:lnTo>
                      <a:pt x="87" y="13"/>
                    </a:lnTo>
                    <a:lnTo>
                      <a:pt x="73" y="361"/>
                    </a:lnTo>
                    <a:lnTo>
                      <a:pt x="73" y="361"/>
                    </a:lnTo>
                    <a:lnTo>
                      <a:pt x="72" y="362"/>
                    </a:lnTo>
                    <a:lnTo>
                      <a:pt x="71" y="365"/>
                    </a:lnTo>
                    <a:lnTo>
                      <a:pt x="70" y="366"/>
                    </a:lnTo>
                    <a:lnTo>
                      <a:pt x="67" y="366"/>
                    </a:lnTo>
                    <a:lnTo>
                      <a:pt x="67" y="366"/>
                    </a:lnTo>
                    <a:close/>
                    <a:moveTo>
                      <a:pt x="12" y="355"/>
                    </a:moveTo>
                    <a:lnTo>
                      <a:pt x="62" y="355"/>
                    </a:lnTo>
                    <a:lnTo>
                      <a:pt x="76" y="18"/>
                    </a:lnTo>
                    <a:lnTo>
                      <a:pt x="76" y="18"/>
                    </a:lnTo>
                    <a:lnTo>
                      <a:pt x="59" y="15"/>
                    </a:lnTo>
                    <a:lnTo>
                      <a:pt x="44" y="13"/>
                    </a:lnTo>
                    <a:lnTo>
                      <a:pt x="12" y="355"/>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7" name="Freeform 26"/>
              <p:cNvSpPr>
                <a:spLocks noEditPoints="1"/>
              </p:cNvSpPr>
              <p:nvPr/>
            </p:nvSpPr>
            <p:spPr bwMode="auto">
              <a:xfrm>
                <a:off x="7794670" y="3538412"/>
                <a:ext cx="373303" cy="87716"/>
              </a:xfrm>
              <a:custGeom>
                <a:avLst/>
                <a:gdLst>
                  <a:gd name="T0" fmla="*/ 5 w 366"/>
                  <a:gd name="T1" fmla="*/ 86 h 86"/>
                  <a:gd name="T2" fmla="*/ 5 w 366"/>
                  <a:gd name="T3" fmla="*/ 86 h 86"/>
                  <a:gd name="T4" fmla="*/ 1 w 366"/>
                  <a:gd name="T5" fmla="*/ 84 h 86"/>
                  <a:gd name="T6" fmla="*/ 1 w 366"/>
                  <a:gd name="T7" fmla="*/ 84 h 86"/>
                  <a:gd name="T8" fmla="*/ 0 w 366"/>
                  <a:gd name="T9" fmla="*/ 83 h 86"/>
                  <a:gd name="T10" fmla="*/ 0 w 366"/>
                  <a:gd name="T11" fmla="*/ 80 h 86"/>
                  <a:gd name="T12" fmla="*/ 0 w 366"/>
                  <a:gd name="T13" fmla="*/ 19 h 86"/>
                  <a:gd name="T14" fmla="*/ 0 w 366"/>
                  <a:gd name="T15" fmla="*/ 19 h 86"/>
                  <a:gd name="T16" fmla="*/ 0 w 366"/>
                  <a:gd name="T17" fmla="*/ 17 h 86"/>
                  <a:gd name="T18" fmla="*/ 1 w 366"/>
                  <a:gd name="T19" fmla="*/ 15 h 86"/>
                  <a:gd name="T20" fmla="*/ 2 w 366"/>
                  <a:gd name="T21" fmla="*/ 14 h 86"/>
                  <a:gd name="T22" fmla="*/ 5 w 366"/>
                  <a:gd name="T23" fmla="*/ 14 h 86"/>
                  <a:gd name="T24" fmla="*/ 353 w 366"/>
                  <a:gd name="T25" fmla="*/ 0 h 86"/>
                  <a:gd name="T26" fmla="*/ 353 w 366"/>
                  <a:gd name="T27" fmla="*/ 0 h 86"/>
                  <a:gd name="T28" fmla="*/ 355 w 366"/>
                  <a:gd name="T29" fmla="*/ 0 h 86"/>
                  <a:gd name="T30" fmla="*/ 357 w 366"/>
                  <a:gd name="T31" fmla="*/ 1 h 86"/>
                  <a:gd name="T32" fmla="*/ 358 w 366"/>
                  <a:gd name="T33" fmla="*/ 4 h 86"/>
                  <a:gd name="T34" fmla="*/ 358 w 366"/>
                  <a:gd name="T35" fmla="*/ 5 h 86"/>
                  <a:gd name="T36" fmla="*/ 358 w 366"/>
                  <a:gd name="T37" fmla="*/ 5 h 86"/>
                  <a:gd name="T38" fmla="*/ 360 w 366"/>
                  <a:gd name="T39" fmla="*/ 26 h 86"/>
                  <a:gd name="T40" fmla="*/ 366 w 366"/>
                  <a:gd name="T41" fmla="*/ 46 h 86"/>
                  <a:gd name="T42" fmla="*/ 366 w 366"/>
                  <a:gd name="T43" fmla="*/ 46 h 86"/>
                  <a:gd name="T44" fmla="*/ 366 w 366"/>
                  <a:gd name="T45" fmla="*/ 49 h 86"/>
                  <a:gd name="T46" fmla="*/ 364 w 366"/>
                  <a:gd name="T47" fmla="*/ 50 h 86"/>
                  <a:gd name="T48" fmla="*/ 364 w 366"/>
                  <a:gd name="T49" fmla="*/ 50 h 86"/>
                  <a:gd name="T50" fmla="*/ 363 w 366"/>
                  <a:gd name="T51" fmla="*/ 53 h 86"/>
                  <a:gd name="T52" fmla="*/ 360 w 366"/>
                  <a:gd name="T53" fmla="*/ 53 h 86"/>
                  <a:gd name="T54" fmla="*/ 5 w 366"/>
                  <a:gd name="T55" fmla="*/ 86 h 86"/>
                  <a:gd name="T56" fmla="*/ 5 w 366"/>
                  <a:gd name="T57" fmla="*/ 86 h 86"/>
                  <a:gd name="T58" fmla="*/ 5 w 366"/>
                  <a:gd name="T59" fmla="*/ 86 h 86"/>
                  <a:gd name="T60" fmla="*/ 5 w 366"/>
                  <a:gd name="T61" fmla="*/ 86 h 86"/>
                  <a:gd name="T62" fmla="*/ 10 w 366"/>
                  <a:gd name="T63" fmla="*/ 24 h 86"/>
                  <a:gd name="T64" fmla="*/ 10 w 366"/>
                  <a:gd name="T65" fmla="*/ 75 h 86"/>
                  <a:gd name="T66" fmla="*/ 353 w 366"/>
                  <a:gd name="T67" fmla="*/ 43 h 86"/>
                  <a:gd name="T68" fmla="*/ 353 w 366"/>
                  <a:gd name="T69" fmla="*/ 43 h 86"/>
                  <a:gd name="T70" fmla="*/ 349 w 366"/>
                  <a:gd name="T71" fmla="*/ 27 h 86"/>
                  <a:gd name="T72" fmla="*/ 348 w 366"/>
                  <a:gd name="T73" fmla="*/ 11 h 86"/>
                  <a:gd name="T74" fmla="*/ 10 w 366"/>
                  <a:gd name="T75" fmla="*/ 2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66" h="86">
                    <a:moveTo>
                      <a:pt x="5" y="86"/>
                    </a:moveTo>
                    <a:lnTo>
                      <a:pt x="5" y="86"/>
                    </a:lnTo>
                    <a:lnTo>
                      <a:pt x="1" y="84"/>
                    </a:lnTo>
                    <a:lnTo>
                      <a:pt x="1" y="84"/>
                    </a:lnTo>
                    <a:lnTo>
                      <a:pt x="0" y="83"/>
                    </a:lnTo>
                    <a:lnTo>
                      <a:pt x="0" y="80"/>
                    </a:lnTo>
                    <a:lnTo>
                      <a:pt x="0" y="19"/>
                    </a:lnTo>
                    <a:lnTo>
                      <a:pt x="0" y="19"/>
                    </a:lnTo>
                    <a:lnTo>
                      <a:pt x="0" y="17"/>
                    </a:lnTo>
                    <a:lnTo>
                      <a:pt x="1" y="15"/>
                    </a:lnTo>
                    <a:lnTo>
                      <a:pt x="2" y="14"/>
                    </a:lnTo>
                    <a:lnTo>
                      <a:pt x="5" y="14"/>
                    </a:lnTo>
                    <a:lnTo>
                      <a:pt x="353" y="0"/>
                    </a:lnTo>
                    <a:lnTo>
                      <a:pt x="353" y="0"/>
                    </a:lnTo>
                    <a:lnTo>
                      <a:pt x="355" y="0"/>
                    </a:lnTo>
                    <a:lnTo>
                      <a:pt x="357" y="1"/>
                    </a:lnTo>
                    <a:lnTo>
                      <a:pt x="358" y="4"/>
                    </a:lnTo>
                    <a:lnTo>
                      <a:pt x="358" y="5"/>
                    </a:lnTo>
                    <a:lnTo>
                      <a:pt x="358" y="5"/>
                    </a:lnTo>
                    <a:lnTo>
                      <a:pt x="360" y="26"/>
                    </a:lnTo>
                    <a:lnTo>
                      <a:pt x="366" y="46"/>
                    </a:lnTo>
                    <a:lnTo>
                      <a:pt x="366" y="46"/>
                    </a:lnTo>
                    <a:lnTo>
                      <a:pt x="366" y="49"/>
                    </a:lnTo>
                    <a:lnTo>
                      <a:pt x="364" y="50"/>
                    </a:lnTo>
                    <a:lnTo>
                      <a:pt x="364" y="50"/>
                    </a:lnTo>
                    <a:lnTo>
                      <a:pt x="363" y="53"/>
                    </a:lnTo>
                    <a:lnTo>
                      <a:pt x="360" y="53"/>
                    </a:lnTo>
                    <a:lnTo>
                      <a:pt x="5" y="86"/>
                    </a:lnTo>
                    <a:lnTo>
                      <a:pt x="5" y="86"/>
                    </a:lnTo>
                    <a:lnTo>
                      <a:pt x="5" y="86"/>
                    </a:lnTo>
                    <a:lnTo>
                      <a:pt x="5" y="86"/>
                    </a:lnTo>
                    <a:close/>
                    <a:moveTo>
                      <a:pt x="10" y="24"/>
                    </a:moveTo>
                    <a:lnTo>
                      <a:pt x="10" y="75"/>
                    </a:lnTo>
                    <a:lnTo>
                      <a:pt x="353" y="43"/>
                    </a:lnTo>
                    <a:lnTo>
                      <a:pt x="353" y="43"/>
                    </a:lnTo>
                    <a:lnTo>
                      <a:pt x="349" y="27"/>
                    </a:lnTo>
                    <a:lnTo>
                      <a:pt x="348" y="11"/>
                    </a:lnTo>
                    <a:lnTo>
                      <a:pt x="10" y="24"/>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8" name="Freeform 27"/>
              <p:cNvSpPr>
                <a:spLocks noEditPoints="1"/>
              </p:cNvSpPr>
              <p:nvPr/>
            </p:nvSpPr>
            <p:spPr bwMode="auto">
              <a:xfrm>
                <a:off x="7794670" y="3446617"/>
                <a:ext cx="373303" cy="87716"/>
              </a:xfrm>
              <a:custGeom>
                <a:avLst/>
                <a:gdLst>
                  <a:gd name="T0" fmla="*/ 353 w 366"/>
                  <a:gd name="T1" fmla="*/ 87 h 87"/>
                  <a:gd name="T2" fmla="*/ 353 w 366"/>
                  <a:gd name="T3" fmla="*/ 87 h 87"/>
                  <a:gd name="T4" fmla="*/ 353 w 366"/>
                  <a:gd name="T5" fmla="*/ 87 h 87"/>
                  <a:gd name="T6" fmla="*/ 5 w 366"/>
                  <a:gd name="T7" fmla="*/ 73 h 87"/>
                  <a:gd name="T8" fmla="*/ 5 w 366"/>
                  <a:gd name="T9" fmla="*/ 73 h 87"/>
                  <a:gd name="T10" fmla="*/ 2 w 366"/>
                  <a:gd name="T11" fmla="*/ 72 h 87"/>
                  <a:gd name="T12" fmla="*/ 1 w 366"/>
                  <a:gd name="T13" fmla="*/ 71 h 87"/>
                  <a:gd name="T14" fmla="*/ 0 w 366"/>
                  <a:gd name="T15" fmla="*/ 69 h 87"/>
                  <a:gd name="T16" fmla="*/ 0 w 366"/>
                  <a:gd name="T17" fmla="*/ 68 h 87"/>
                  <a:gd name="T18" fmla="*/ 0 w 366"/>
                  <a:gd name="T19" fmla="*/ 5 h 87"/>
                  <a:gd name="T20" fmla="*/ 0 w 366"/>
                  <a:gd name="T21" fmla="*/ 5 h 87"/>
                  <a:gd name="T22" fmla="*/ 0 w 366"/>
                  <a:gd name="T23" fmla="*/ 4 h 87"/>
                  <a:gd name="T24" fmla="*/ 1 w 366"/>
                  <a:gd name="T25" fmla="*/ 2 h 87"/>
                  <a:gd name="T26" fmla="*/ 1 w 366"/>
                  <a:gd name="T27" fmla="*/ 2 h 87"/>
                  <a:gd name="T28" fmla="*/ 4 w 366"/>
                  <a:gd name="T29" fmla="*/ 0 h 87"/>
                  <a:gd name="T30" fmla="*/ 5 w 366"/>
                  <a:gd name="T31" fmla="*/ 0 h 87"/>
                  <a:gd name="T32" fmla="*/ 360 w 366"/>
                  <a:gd name="T33" fmla="*/ 34 h 87"/>
                  <a:gd name="T34" fmla="*/ 360 w 366"/>
                  <a:gd name="T35" fmla="*/ 34 h 87"/>
                  <a:gd name="T36" fmla="*/ 363 w 366"/>
                  <a:gd name="T37" fmla="*/ 34 h 87"/>
                  <a:gd name="T38" fmla="*/ 364 w 366"/>
                  <a:gd name="T39" fmla="*/ 37 h 87"/>
                  <a:gd name="T40" fmla="*/ 364 w 366"/>
                  <a:gd name="T41" fmla="*/ 37 h 87"/>
                  <a:gd name="T42" fmla="*/ 366 w 366"/>
                  <a:gd name="T43" fmla="*/ 38 h 87"/>
                  <a:gd name="T44" fmla="*/ 366 w 366"/>
                  <a:gd name="T45" fmla="*/ 41 h 87"/>
                  <a:gd name="T46" fmla="*/ 366 w 366"/>
                  <a:gd name="T47" fmla="*/ 41 h 87"/>
                  <a:gd name="T48" fmla="*/ 360 w 366"/>
                  <a:gd name="T49" fmla="*/ 61 h 87"/>
                  <a:gd name="T50" fmla="*/ 358 w 366"/>
                  <a:gd name="T51" fmla="*/ 82 h 87"/>
                  <a:gd name="T52" fmla="*/ 358 w 366"/>
                  <a:gd name="T53" fmla="*/ 82 h 87"/>
                  <a:gd name="T54" fmla="*/ 358 w 366"/>
                  <a:gd name="T55" fmla="*/ 83 h 87"/>
                  <a:gd name="T56" fmla="*/ 357 w 366"/>
                  <a:gd name="T57" fmla="*/ 86 h 87"/>
                  <a:gd name="T58" fmla="*/ 355 w 366"/>
                  <a:gd name="T59" fmla="*/ 86 h 87"/>
                  <a:gd name="T60" fmla="*/ 353 w 366"/>
                  <a:gd name="T61" fmla="*/ 87 h 87"/>
                  <a:gd name="T62" fmla="*/ 353 w 366"/>
                  <a:gd name="T63" fmla="*/ 87 h 87"/>
                  <a:gd name="T64" fmla="*/ 10 w 366"/>
                  <a:gd name="T65" fmla="*/ 62 h 87"/>
                  <a:gd name="T66" fmla="*/ 348 w 366"/>
                  <a:gd name="T67" fmla="*/ 76 h 87"/>
                  <a:gd name="T68" fmla="*/ 348 w 366"/>
                  <a:gd name="T69" fmla="*/ 76 h 87"/>
                  <a:gd name="T70" fmla="*/ 349 w 366"/>
                  <a:gd name="T71" fmla="*/ 59 h 87"/>
                  <a:gd name="T72" fmla="*/ 353 w 366"/>
                  <a:gd name="T73" fmla="*/ 44 h 87"/>
                  <a:gd name="T74" fmla="*/ 10 w 366"/>
                  <a:gd name="T75" fmla="*/ 12 h 87"/>
                  <a:gd name="T76" fmla="*/ 10 w 366"/>
                  <a:gd name="T77" fmla="*/ 62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6" h="87">
                    <a:moveTo>
                      <a:pt x="353" y="87"/>
                    </a:moveTo>
                    <a:lnTo>
                      <a:pt x="353" y="87"/>
                    </a:lnTo>
                    <a:lnTo>
                      <a:pt x="353" y="87"/>
                    </a:lnTo>
                    <a:lnTo>
                      <a:pt x="5" y="73"/>
                    </a:lnTo>
                    <a:lnTo>
                      <a:pt x="5" y="73"/>
                    </a:lnTo>
                    <a:lnTo>
                      <a:pt x="2" y="72"/>
                    </a:lnTo>
                    <a:lnTo>
                      <a:pt x="1" y="71"/>
                    </a:lnTo>
                    <a:lnTo>
                      <a:pt x="0" y="69"/>
                    </a:lnTo>
                    <a:lnTo>
                      <a:pt x="0" y="68"/>
                    </a:lnTo>
                    <a:lnTo>
                      <a:pt x="0" y="5"/>
                    </a:lnTo>
                    <a:lnTo>
                      <a:pt x="0" y="5"/>
                    </a:lnTo>
                    <a:lnTo>
                      <a:pt x="0" y="4"/>
                    </a:lnTo>
                    <a:lnTo>
                      <a:pt x="1" y="2"/>
                    </a:lnTo>
                    <a:lnTo>
                      <a:pt x="1" y="2"/>
                    </a:lnTo>
                    <a:lnTo>
                      <a:pt x="4" y="0"/>
                    </a:lnTo>
                    <a:lnTo>
                      <a:pt x="5" y="0"/>
                    </a:lnTo>
                    <a:lnTo>
                      <a:pt x="360" y="34"/>
                    </a:lnTo>
                    <a:lnTo>
                      <a:pt x="360" y="34"/>
                    </a:lnTo>
                    <a:lnTo>
                      <a:pt x="363" y="34"/>
                    </a:lnTo>
                    <a:lnTo>
                      <a:pt x="364" y="37"/>
                    </a:lnTo>
                    <a:lnTo>
                      <a:pt x="364" y="37"/>
                    </a:lnTo>
                    <a:lnTo>
                      <a:pt x="366" y="38"/>
                    </a:lnTo>
                    <a:lnTo>
                      <a:pt x="366" y="41"/>
                    </a:lnTo>
                    <a:lnTo>
                      <a:pt x="366" y="41"/>
                    </a:lnTo>
                    <a:lnTo>
                      <a:pt x="360" y="61"/>
                    </a:lnTo>
                    <a:lnTo>
                      <a:pt x="358" y="82"/>
                    </a:lnTo>
                    <a:lnTo>
                      <a:pt x="358" y="82"/>
                    </a:lnTo>
                    <a:lnTo>
                      <a:pt x="358" y="83"/>
                    </a:lnTo>
                    <a:lnTo>
                      <a:pt x="357" y="86"/>
                    </a:lnTo>
                    <a:lnTo>
                      <a:pt x="355" y="86"/>
                    </a:lnTo>
                    <a:lnTo>
                      <a:pt x="353" y="87"/>
                    </a:lnTo>
                    <a:lnTo>
                      <a:pt x="353" y="87"/>
                    </a:lnTo>
                    <a:close/>
                    <a:moveTo>
                      <a:pt x="10" y="62"/>
                    </a:moveTo>
                    <a:lnTo>
                      <a:pt x="348" y="76"/>
                    </a:lnTo>
                    <a:lnTo>
                      <a:pt x="348" y="76"/>
                    </a:lnTo>
                    <a:lnTo>
                      <a:pt x="349" y="59"/>
                    </a:lnTo>
                    <a:lnTo>
                      <a:pt x="353" y="44"/>
                    </a:lnTo>
                    <a:lnTo>
                      <a:pt x="10" y="12"/>
                    </a:lnTo>
                    <a:lnTo>
                      <a:pt x="10" y="62"/>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09" name="Freeform 28"/>
              <p:cNvSpPr>
                <a:spLocks noEditPoints="1"/>
              </p:cNvSpPr>
              <p:nvPr/>
            </p:nvSpPr>
            <p:spPr bwMode="auto">
              <a:xfrm>
                <a:off x="8508638" y="3446617"/>
                <a:ext cx="373303" cy="87716"/>
              </a:xfrm>
              <a:custGeom>
                <a:avLst/>
                <a:gdLst>
                  <a:gd name="T0" fmla="*/ 12 w 365"/>
                  <a:gd name="T1" fmla="*/ 87 h 87"/>
                  <a:gd name="T2" fmla="*/ 12 w 365"/>
                  <a:gd name="T3" fmla="*/ 87 h 87"/>
                  <a:gd name="T4" fmla="*/ 10 w 365"/>
                  <a:gd name="T5" fmla="*/ 86 h 87"/>
                  <a:gd name="T6" fmla="*/ 8 w 365"/>
                  <a:gd name="T7" fmla="*/ 86 h 87"/>
                  <a:gd name="T8" fmla="*/ 7 w 365"/>
                  <a:gd name="T9" fmla="*/ 83 h 87"/>
                  <a:gd name="T10" fmla="*/ 6 w 365"/>
                  <a:gd name="T11" fmla="*/ 82 h 87"/>
                  <a:gd name="T12" fmla="*/ 6 w 365"/>
                  <a:gd name="T13" fmla="*/ 82 h 87"/>
                  <a:gd name="T14" fmla="*/ 5 w 365"/>
                  <a:gd name="T15" fmla="*/ 61 h 87"/>
                  <a:gd name="T16" fmla="*/ 0 w 365"/>
                  <a:gd name="T17" fmla="*/ 41 h 87"/>
                  <a:gd name="T18" fmla="*/ 0 w 365"/>
                  <a:gd name="T19" fmla="*/ 41 h 87"/>
                  <a:gd name="T20" fmla="*/ 0 w 365"/>
                  <a:gd name="T21" fmla="*/ 38 h 87"/>
                  <a:gd name="T22" fmla="*/ 1 w 365"/>
                  <a:gd name="T23" fmla="*/ 37 h 87"/>
                  <a:gd name="T24" fmla="*/ 1 w 365"/>
                  <a:gd name="T25" fmla="*/ 37 h 87"/>
                  <a:gd name="T26" fmla="*/ 2 w 365"/>
                  <a:gd name="T27" fmla="*/ 34 h 87"/>
                  <a:gd name="T28" fmla="*/ 5 w 365"/>
                  <a:gd name="T29" fmla="*/ 34 h 87"/>
                  <a:gd name="T30" fmla="*/ 359 w 365"/>
                  <a:gd name="T31" fmla="*/ 0 h 87"/>
                  <a:gd name="T32" fmla="*/ 359 w 365"/>
                  <a:gd name="T33" fmla="*/ 0 h 87"/>
                  <a:gd name="T34" fmla="*/ 361 w 365"/>
                  <a:gd name="T35" fmla="*/ 0 h 87"/>
                  <a:gd name="T36" fmla="*/ 363 w 365"/>
                  <a:gd name="T37" fmla="*/ 2 h 87"/>
                  <a:gd name="T38" fmla="*/ 363 w 365"/>
                  <a:gd name="T39" fmla="*/ 2 h 87"/>
                  <a:gd name="T40" fmla="*/ 364 w 365"/>
                  <a:gd name="T41" fmla="*/ 4 h 87"/>
                  <a:gd name="T42" fmla="*/ 365 w 365"/>
                  <a:gd name="T43" fmla="*/ 5 h 87"/>
                  <a:gd name="T44" fmla="*/ 365 w 365"/>
                  <a:gd name="T45" fmla="*/ 68 h 87"/>
                  <a:gd name="T46" fmla="*/ 365 w 365"/>
                  <a:gd name="T47" fmla="*/ 68 h 87"/>
                  <a:gd name="T48" fmla="*/ 364 w 365"/>
                  <a:gd name="T49" fmla="*/ 69 h 87"/>
                  <a:gd name="T50" fmla="*/ 364 w 365"/>
                  <a:gd name="T51" fmla="*/ 71 h 87"/>
                  <a:gd name="T52" fmla="*/ 361 w 365"/>
                  <a:gd name="T53" fmla="*/ 72 h 87"/>
                  <a:gd name="T54" fmla="*/ 360 w 365"/>
                  <a:gd name="T55" fmla="*/ 73 h 87"/>
                  <a:gd name="T56" fmla="*/ 12 w 365"/>
                  <a:gd name="T57" fmla="*/ 87 h 87"/>
                  <a:gd name="T58" fmla="*/ 12 w 365"/>
                  <a:gd name="T59" fmla="*/ 87 h 87"/>
                  <a:gd name="T60" fmla="*/ 12 w 365"/>
                  <a:gd name="T61" fmla="*/ 87 h 87"/>
                  <a:gd name="T62" fmla="*/ 12 w 365"/>
                  <a:gd name="T63" fmla="*/ 87 h 87"/>
                  <a:gd name="T64" fmla="*/ 12 w 365"/>
                  <a:gd name="T65" fmla="*/ 44 h 87"/>
                  <a:gd name="T66" fmla="*/ 12 w 365"/>
                  <a:gd name="T67" fmla="*/ 44 h 87"/>
                  <a:gd name="T68" fmla="*/ 15 w 365"/>
                  <a:gd name="T69" fmla="*/ 59 h 87"/>
                  <a:gd name="T70" fmla="*/ 17 w 365"/>
                  <a:gd name="T71" fmla="*/ 76 h 87"/>
                  <a:gd name="T72" fmla="*/ 354 w 365"/>
                  <a:gd name="T73" fmla="*/ 62 h 87"/>
                  <a:gd name="T74" fmla="*/ 354 w 365"/>
                  <a:gd name="T75" fmla="*/ 12 h 87"/>
                  <a:gd name="T76" fmla="*/ 12 w 365"/>
                  <a:gd name="T77" fmla="*/ 4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5" h="87">
                    <a:moveTo>
                      <a:pt x="12" y="87"/>
                    </a:moveTo>
                    <a:lnTo>
                      <a:pt x="12" y="87"/>
                    </a:lnTo>
                    <a:lnTo>
                      <a:pt x="10" y="86"/>
                    </a:lnTo>
                    <a:lnTo>
                      <a:pt x="8" y="86"/>
                    </a:lnTo>
                    <a:lnTo>
                      <a:pt x="7" y="83"/>
                    </a:lnTo>
                    <a:lnTo>
                      <a:pt x="6" y="82"/>
                    </a:lnTo>
                    <a:lnTo>
                      <a:pt x="6" y="82"/>
                    </a:lnTo>
                    <a:lnTo>
                      <a:pt x="5" y="61"/>
                    </a:lnTo>
                    <a:lnTo>
                      <a:pt x="0" y="41"/>
                    </a:lnTo>
                    <a:lnTo>
                      <a:pt x="0" y="41"/>
                    </a:lnTo>
                    <a:lnTo>
                      <a:pt x="0" y="38"/>
                    </a:lnTo>
                    <a:lnTo>
                      <a:pt x="1" y="37"/>
                    </a:lnTo>
                    <a:lnTo>
                      <a:pt x="1" y="37"/>
                    </a:lnTo>
                    <a:lnTo>
                      <a:pt x="2" y="34"/>
                    </a:lnTo>
                    <a:lnTo>
                      <a:pt x="5" y="34"/>
                    </a:lnTo>
                    <a:lnTo>
                      <a:pt x="359" y="0"/>
                    </a:lnTo>
                    <a:lnTo>
                      <a:pt x="359" y="0"/>
                    </a:lnTo>
                    <a:lnTo>
                      <a:pt x="361" y="0"/>
                    </a:lnTo>
                    <a:lnTo>
                      <a:pt x="363" y="2"/>
                    </a:lnTo>
                    <a:lnTo>
                      <a:pt x="363" y="2"/>
                    </a:lnTo>
                    <a:lnTo>
                      <a:pt x="364" y="4"/>
                    </a:lnTo>
                    <a:lnTo>
                      <a:pt x="365" y="5"/>
                    </a:lnTo>
                    <a:lnTo>
                      <a:pt x="365" y="68"/>
                    </a:lnTo>
                    <a:lnTo>
                      <a:pt x="365" y="68"/>
                    </a:lnTo>
                    <a:lnTo>
                      <a:pt x="364" y="69"/>
                    </a:lnTo>
                    <a:lnTo>
                      <a:pt x="364" y="71"/>
                    </a:lnTo>
                    <a:lnTo>
                      <a:pt x="361" y="72"/>
                    </a:lnTo>
                    <a:lnTo>
                      <a:pt x="360" y="73"/>
                    </a:lnTo>
                    <a:lnTo>
                      <a:pt x="12" y="87"/>
                    </a:lnTo>
                    <a:lnTo>
                      <a:pt x="12" y="87"/>
                    </a:lnTo>
                    <a:lnTo>
                      <a:pt x="12" y="87"/>
                    </a:lnTo>
                    <a:lnTo>
                      <a:pt x="12" y="87"/>
                    </a:lnTo>
                    <a:close/>
                    <a:moveTo>
                      <a:pt x="12" y="44"/>
                    </a:moveTo>
                    <a:lnTo>
                      <a:pt x="12" y="44"/>
                    </a:lnTo>
                    <a:lnTo>
                      <a:pt x="15" y="59"/>
                    </a:lnTo>
                    <a:lnTo>
                      <a:pt x="17" y="76"/>
                    </a:lnTo>
                    <a:lnTo>
                      <a:pt x="354" y="62"/>
                    </a:lnTo>
                    <a:lnTo>
                      <a:pt x="354" y="12"/>
                    </a:lnTo>
                    <a:lnTo>
                      <a:pt x="12" y="44"/>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0" name="Freeform 29"/>
              <p:cNvSpPr>
                <a:spLocks noEditPoints="1"/>
              </p:cNvSpPr>
              <p:nvPr/>
            </p:nvSpPr>
            <p:spPr bwMode="auto">
              <a:xfrm>
                <a:off x="8508638" y="3538412"/>
                <a:ext cx="373303" cy="87716"/>
              </a:xfrm>
              <a:custGeom>
                <a:avLst/>
                <a:gdLst>
                  <a:gd name="T0" fmla="*/ 359 w 365"/>
                  <a:gd name="T1" fmla="*/ 86 h 86"/>
                  <a:gd name="T2" fmla="*/ 359 w 365"/>
                  <a:gd name="T3" fmla="*/ 86 h 86"/>
                  <a:gd name="T4" fmla="*/ 359 w 365"/>
                  <a:gd name="T5" fmla="*/ 86 h 86"/>
                  <a:gd name="T6" fmla="*/ 5 w 365"/>
                  <a:gd name="T7" fmla="*/ 53 h 86"/>
                  <a:gd name="T8" fmla="*/ 5 w 365"/>
                  <a:gd name="T9" fmla="*/ 53 h 86"/>
                  <a:gd name="T10" fmla="*/ 2 w 365"/>
                  <a:gd name="T11" fmla="*/ 53 h 86"/>
                  <a:gd name="T12" fmla="*/ 1 w 365"/>
                  <a:gd name="T13" fmla="*/ 50 h 86"/>
                  <a:gd name="T14" fmla="*/ 1 w 365"/>
                  <a:gd name="T15" fmla="*/ 50 h 86"/>
                  <a:gd name="T16" fmla="*/ 0 w 365"/>
                  <a:gd name="T17" fmla="*/ 49 h 86"/>
                  <a:gd name="T18" fmla="*/ 0 w 365"/>
                  <a:gd name="T19" fmla="*/ 46 h 86"/>
                  <a:gd name="T20" fmla="*/ 0 w 365"/>
                  <a:gd name="T21" fmla="*/ 46 h 86"/>
                  <a:gd name="T22" fmla="*/ 5 w 365"/>
                  <a:gd name="T23" fmla="*/ 26 h 86"/>
                  <a:gd name="T24" fmla="*/ 6 w 365"/>
                  <a:gd name="T25" fmla="*/ 5 h 86"/>
                  <a:gd name="T26" fmla="*/ 6 w 365"/>
                  <a:gd name="T27" fmla="*/ 5 h 86"/>
                  <a:gd name="T28" fmla="*/ 7 w 365"/>
                  <a:gd name="T29" fmla="*/ 4 h 86"/>
                  <a:gd name="T30" fmla="*/ 8 w 365"/>
                  <a:gd name="T31" fmla="*/ 1 h 86"/>
                  <a:gd name="T32" fmla="*/ 10 w 365"/>
                  <a:gd name="T33" fmla="*/ 0 h 86"/>
                  <a:gd name="T34" fmla="*/ 12 w 365"/>
                  <a:gd name="T35" fmla="*/ 0 h 86"/>
                  <a:gd name="T36" fmla="*/ 360 w 365"/>
                  <a:gd name="T37" fmla="*/ 14 h 86"/>
                  <a:gd name="T38" fmla="*/ 360 w 365"/>
                  <a:gd name="T39" fmla="*/ 14 h 86"/>
                  <a:gd name="T40" fmla="*/ 361 w 365"/>
                  <a:gd name="T41" fmla="*/ 14 h 86"/>
                  <a:gd name="T42" fmla="*/ 364 w 365"/>
                  <a:gd name="T43" fmla="*/ 15 h 86"/>
                  <a:gd name="T44" fmla="*/ 364 w 365"/>
                  <a:gd name="T45" fmla="*/ 17 h 86"/>
                  <a:gd name="T46" fmla="*/ 365 w 365"/>
                  <a:gd name="T47" fmla="*/ 19 h 86"/>
                  <a:gd name="T48" fmla="*/ 365 w 365"/>
                  <a:gd name="T49" fmla="*/ 80 h 86"/>
                  <a:gd name="T50" fmla="*/ 365 w 365"/>
                  <a:gd name="T51" fmla="*/ 80 h 86"/>
                  <a:gd name="T52" fmla="*/ 364 w 365"/>
                  <a:gd name="T53" fmla="*/ 83 h 86"/>
                  <a:gd name="T54" fmla="*/ 363 w 365"/>
                  <a:gd name="T55" fmla="*/ 84 h 86"/>
                  <a:gd name="T56" fmla="*/ 363 w 365"/>
                  <a:gd name="T57" fmla="*/ 84 h 86"/>
                  <a:gd name="T58" fmla="*/ 359 w 365"/>
                  <a:gd name="T59" fmla="*/ 86 h 86"/>
                  <a:gd name="T60" fmla="*/ 359 w 365"/>
                  <a:gd name="T61" fmla="*/ 86 h 86"/>
                  <a:gd name="T62" fmla="*/ 12 w 365"/>
                  <a:gd name="T63" fmla="*/ 43 h 86"/>
                  <a:gd name="T64" fmla="*/ 354 w 365"/>
                  <a:gd name="T65" fmla="*/ 75 h 86"/>
                  <a:gd name="T66" fmla="*/ 354 w 365"/>
                  <a:gd name="T67" fmla="*/ 24 h 86"/>
                  <a:gd name="T68" fmla="*/ 17 w 365"/>
                  <a:gd name="T69" fmla="*/ 11 h 86"/>
                  <a:gd name="T70" fmla="*/ 17 w 365"/>
                  <a:gd name="T71" fmla="*/ 11 h 86"/>
                  <a:gd name="T72" fmla="*/ 15 w 365"/>
                  <a:gd name="T73" fmla="*/ 27 h 86"/>
                  <a:gd name="T74" fmla="*/ 12 w 365"/>
                  <a:gd name="T75" fmla="*/ 43 h 86"/>
                  <a:gd name="T76" fmla="*/ 12 w 365"/>
                  <a:gd name="T77" fmla="*/ 4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5" h="86">
                    <a:moveTo>
                      <a:pt x="359" y="86"/>
                    </a:moveTo>
                    <a:lnTo>
                      <a:pt x="359" y="86"/>
                    </a:lnTo>
                    <a:lnTo>
                      <a:pt x="359" y="86"/>
                    </a:lnTo>
                    <a:lnTo>
                      <a:pt x="5" y="53"/>
                    </a:lnTo>
                    <a:lnTo>
                      <a:pt x="5" y="53"/>
                    </a:lnTo>
                    <a:lnTo>
                      <a:pt x="2" y="53"/>
                    </a:lnTo>
                    <a:lnTo>
                      <a:pt x="1" y="50"/>
                    </a:lnTo>
                    <a:lnTo>
                      <a:pt x="1" y="50"/>
                    </a:lnTo>
                    <a:lnTo>
                      <a:pt x="0" y="49"/>
                    </a:lnTo>
                    <a:lnTo>
                      <a:pt x="0" y="46"/>
                    </a:lnTo>
                    <a:lnTo>
                      <a:pt x="0" y="46"/>
                    </a:lnTo>
                    <a:lnTo>
                      <a:pt x="5" y="26"/>
                    </a:lnTo>
                    <a:lnTo>
                      <a:pt x="6" y="5"/>
                    </a:lnTo>
                    <a:lnTo>
                      <a:pt x="6" y="5"/>
                    </a:lnTo>
                    <a:lnTo>
                      <a:pt x="7" y="4"/>
                    </a:lnTo>
                    <a:lnTo>
                      <a:pt x="8" y="1"/>
                    </a:lnTo>
                    <a:lnTo>
                      <a:pt x="10" y="0"/>
                    </a:lnTo>
                    <a:lnTo>
                      <a:pt x="12" y="0"/>
                    </a:lnTo>
                    <a:lnTo>
                      <a:pt x="360" y="14"/>
                    </a:lnTo>
                    <a:lnTo>
                      <a:pt x="360" y="14"/>
                    </a:lnTo>
                    <a:lnTo>
                      <a:pt x="361" y="14"/>
                    </a:lnTo>
                    <a:lnTo>
                      <a:pt x="364" y="15"/>
                    </a:lnTo>
                    <a:lnTo>
                      <a:pt x="364" y="17"/>
                    </a:lnTo>
                    <a:lnTo>
                      <a:pt x="365" y="19"/>
                    </a:lnTo>
                    <a:lnTo>
                      <a:pt x="365" y="80"/>
                    </a:lnTo>
                    <a:lnTo>
                      <a:pt x="365" y="80"/>
                    </a:lnTo>
                    <a:lnTo>
                      <a:pt x="364" y="83"/>
                    </a:lnTo>
                    <a:lnTo>
                      <a:pt x="363" y="84"/>
                    </a:lnTo>
                    <a:lnTo>
                      <a:pt x="363" y="84"/>
                    </a:lnTo>
                    <a:lnTo>
                      <a:pt x="359" y="86"/>
                    </a:lnTo>
                    <a:lnTo>
                      <a:pt x="359" y="86"/>
                    </a:lnTo>
                    <a:close/>
                    <a:moveTo>
                      <a:pt x="12" y="43"/>
                    </a:moveTo>
                    <a:lnTo>
                      <a:pt x="354" y="75"/>
                    </a:lnTo>
                    <a:lnTo>
                      <a:pt x="354" y="24"/>
                    </a:lnTo>
                    <a:lnTo>
                      <a:pt x="17" y="11"/>
                    </a:lnTo>
                    <a:lnTo>
                      <a:pt x="17" y="11"/>
                    </a:lnTo>
                    <a:lnTo>
                      <a:pt x="15" y="27"/>
                    </a:lnTo>
                    <a:lnTo>
                      <a:pt x="12" y="43"/>
                    </a:lnTo>
                    <a:lnTo>
                      <a:pt x="12" y="43"/>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1" name="Freeform 30"/>
              <p:cNvSpPr>
                <a:spLocks noEditPoints="1"/>
              </p:cNvSpPr>
              <p:nvPr/>
            </p:nvSpPr>
            <p:spPr bwMode="auto">
              <a:xfrm>
                <a:off x="8420922" y="3091672"/>
                <a:ext cx="287626" cy="316187"/>
              </a:xfrm>
              <a:custGeom>
                <a:avLst/>
                <a:gdLst>
                  <a:gd name="T0" fmla="*/ 40 w 282"/>
                  <a:gd name="T1" fmla="*/ 311 h 311"/>
                  <a:gd name="T2" fmla="*/ 40 w 282"/>
                  <a:gd name="T3" fmla="*/ 311 h 311"/>
                  <a:gd name="T4" fmla="*/ 38 w 282"/>
                  <a:gd name="T5" fmla="*/ 311 h 311"/>
                  <a:gd name="T6" fmla="*/ 37 w 282"/>
                  <a:gd name="T7" fmla="*/ 309 h 311"/>
                  <a:gd name="T8" fmla="*/ 37 w 282"/>
                  <a:gd name="T9" fmla="*/ 309 h 311"/>
                  <a:gd name="T10" fmla="*/ 20 w 282"/>
                  <a:gd name="T11" fmla="*/ 296 h 311"/>
                  <a:gd name="T12" fmla="*/ 3 w 282"/>
                  <a:gd name="T13" fmla="*/ 284 h 311"/>
                  <a:gd name="T14" fmla="*/ 3 w 282"/>
                  <a:gd name="T15" fmla="*/ 284 h 311"/>
                  <a:gd name="T16" fmla="*/ 1 w 282"/>
                  <a:gd name="T17" fmla="*/ 283 h 311"/>
                  <a:gd name="T18" fmla="*/ 0 w 282"/>
                  <a:gd name="T19" fmla="*/ 282 h 311"/>
                  <a:gd name="T20" fmla="*/ 0 w 282"/>
                  <a:gd name="T21" fmla="*/ 282 h 311"/>
                  <a:gd name="T22" fmla="*/ 0 w 282"/>
                  <a:gd name="T23" fmla="*/ 279 h 311"/>
                  <a:gd name="T24" fmla="*/ 1 w 282"/>
                  <a:gd name="T25" fmla="*/ 277 h 311"/>
                  <a:gd name="T26" fmla="*/ 229 w 282"/>
                  <a:gd name="T27" fmla="*/ 3 h 311"/>
                  <a:gd name="T28" fmla="*/ 229 w 282"/>
                  <a:gd name="T29" fmla="*/ 3 h 311"/>
                  <a:gd name="T30" fmla="*/ 230 w 282"/>
                  <a:gd name="T31" fmla="*/ 2 h 311"/>
                  <a:gd name="T32" fmla="*/ 233 w 282"/>
                  <a:gd name="T33" fmla="*/ 0 h 311"/>
                  <a:gd name="T34" fmla="*/ 233 w 282"/>
                  <a:gd name="T35" fmla="*/ 0 h 311"/>
                  <a:gd name="T36" fmla="*/ 235 w 282"/>
                  <a:gd name="T37" fmla="*/ 0 h 311"/>
                  <a:gd name="T38" fmla="*/ 236 w 282"/>
                  <a:gd name="T39" fmla="*/ 2 h 311"/>
                  <a:gd name="T40" fmla="*/ 280 w 282"/>
                  <a:gd name="T41" fmla="*/ 46 h 311"/>
                  <a:gd name="T42" fmla="*/ 280 w 282"/>
                  <a:gd name="T43" fmla="*/ 46 h 311"/>
                  <a:gd name="T44" fmla="*/ 282 w 282"/>
                  <a:gd name="T45" fmla="*/ 47 h 311"/>
                  <a:gd name="T46" fmla="*/ 282 w 282"/>
                  <a:gd name="T47" fmla="*/ 49 h 311"/>
                  <a:gd name="T48" fmla="*/ 282 w 282"/>
                  <a:gd name="T49" fmla="*/ 52 h 311"/>
                  <a:gd name="T50" fmla="*/ 280 w 282"/>
                  <a:gd name="T51" fmla="*/ 53 h 311"/>
                  <a:gd name="T52" fmla="*/ 44 w 282"/>
                  <a:gd name="T53" fmla="*/ 308 h 311"/>
                  <a:gd name="T54" fmla="*/ 44 w 282"/>
                  <a:gd name="T55" fmla="*/ 308 h 311"/>
                  <a:gd name="T56" fmla="*/ 42 w 282"/>
                  <a:gd name="T57" fmla="*/ 311 h 311"/>
                  <a:gd name="T58" fmla="*/ 40 w 282"/>
                  <a:gd name="T59" fmla="*/ 311 h 311"/>
                  <a:gd name="T60" fmla="*/ 40 w 282"/>
                  <a:gd name="T61" fmla="*/ 311 h 311"/>
                  <a:gd name="T62" fmla="*/ 14 w 282"/>
                  <a:gd name="T63" fmla="*/ 279 h 311"/>
                  <a:gd name="T64" fmla="*/ 14 w 282"/>
                  <a:gd name="T65" fmla="*/ 279 h 311"/>
                  <a:gd name="T66" fmla="*/ 26 w 282"/>
                  <a:gd name="T67" fmla="*/ 288 h 311"/>
                  <a:gd name="T68" fmla="*/ 39 w 282"/>
                  <a:gd name="T69" fmla="*/ 298 h 311"/>
                  <a:gd name="T70" fmla="*/ 269 w 282"/>
                  <a:gd name="T71" fmla="*/ 49 h 311"/>
                  <a:gd name="T72" fmla="*/ 233 w 282"/>
                  <a:gd name="T73" fmla="*/ 14 h 311"/>
                  <a:gd name="T74" fmla="*/ 14 w 282"/>
                  <a:gd name="T75" fmla="*/ 27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2" h="311">
                    <a:moveTo>
                      <a:pt x="40" y="311"/>
                    </a:moveTo>
                    <a:lnTo>
                      <a:pt x="40" y="311"/>
                    </a:lnTo>
                    <a:lnTo>
                      <a:pt x="38" y="311"/>
                    </a:lnTo>
                    <a:lnTo>
                      <a:pt x="37" y="309"/>
                    </a:lnTo>
                    <a:lnTo>
                      <a:pt x="37" y="309"/>
                    </a:lnTo>
                    <a:lnTo>
                      <a:pt x="20" y="296"/>
                    </a:lnTo>
                    <a:lnTo>
                      <a:pt x="3" y="284"/>
                    </a:lnTo>
                    <a:lnTo>
                      <a:pt x="3" y="284"/>
                    </a:lnTo>
                    <a:lnTo>
                      <a:pt x="1" y="283"/>
                    </a:lnTo>
                    <a:lnTo>
                      <a:pt x="0" y="282"/>
                    </a:lnTo>
                    <a:lnTo>
                      <a:pt x="0" y="282"/>
                    </a:lnTo>
                    <a:lnTo>
                      <a:pt x="0" y="279"/>
                    </a:lnTo>
                    <a:lnTo>
                      <a:pt x="1" y="277"/>
                    </a:lnTo>
                    <a:lnTo>
                      <a:pt x="229" y="3"/>
                    </a:lnTo>
                    <a:lnTo>
                      <a:pt x="229" y="3"/>
                    </a:lnTo>
                    <a:lnTo>
                      <a:pt x="230" y="2"/>
                    </a:lnTo>
                    <a:lnTo>
                      <a:pt x="233" y="0"/>
                    </a:lnTo>
                    <a:lnTo>
                      <a:pt x="233" y="0"/>
                    </a:lnTo>
                    <a:lnTo>
                      <a:pt x="235" y="0"/>
                    </a:lnTo>
                    <a:lnTo>
                      <a:pt x="236" y="2"/>
                    </a:lnTo>
                    <a:lnTo>
                      <a:pt x="280" y="46"/>
                    </a:lnTo>
                    <a:lnTo>
                      <a:pt x="280" y="46"/>
                    </a:lnTo>
                    <a:lnTo>
                      <a:pt x="282" y="47"/>
                    </a:lnTo>
                    <a:lnTo>
                      <a:pt x="282" y="49"/>
                    </a:lnTo>
                    <a:lnTo>
                      <a:pt x="282" y="52"/>
                    </a:lnTo>
                    <a:lnTo>
                      <a:pt x="280" y="53"/>
                    </a:lnTo>
                    <a:lnTo>
                      <a:pt x="44" y="308"/>
                    </a:lnTo>
                    <a:lnTo>
                      <a:pt x="44" y="308"/>
                    </a:lnTo>
                    <a:lnTo>
                      <a:pt x="42" y="311"/>
                    </a:lnTo>
                    <a:lnTo>
                      <a:pt x="40" y="311"/>
                    </a:lnTo>
                    <a:lnTo>
                      <a:pt x="40" y="311"/>
                    </a:lnTo>
                    <a:close/>
                    <a:moveTo>
                      <a:pt x="14" y="279"/>
                    </a:moveTo>
                    <a:lnTo>
                      <a:pt x="14" y="279"/>
                    </a:lnTo>
                    <a:lnTo>
                      <a:pt x="26" y="288"/>
                    </a:lnTo>
                    <a:lnTo>
                      <a:pt x="39" y="298"/>
                    </a:lnTo>
                    <a:lnTo>
                      <a:pt x="269" y="49"/>
                    </a:lnTo>
                    <a:lnTo>
                      <a:pt x="233" y="14"/>
                    </a:lnTo>
                    <a:lnTo>
                      <a:pt x="14" y="279"/>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2" name="Freeform 31"/>
              <p:cNvSpPr>
                <a:spLocks noEditPoints="1"/>
              </p:cNvSpPr>
              <p:nvPr/>
            </p:nvSpPr>
            <p:spPr bwMode="auto">
              <a:xfrm>
                <a:off x="8467839" y="3167150"/>
                <a:ext cx="316187" cy="285587"/>
              </a:xfrm>
              <a:custGeom>
                <a:avLst/>
                <a:gdLst>
                  <a:gd name="T0" fmla="*/ 30 w 311"/>
                  <a:gd name="T1" fmla="*/ 282 h 282"/>
                  <a:gd name="T2" fmla="*/ 30 w 311"/>
                  <a:gd name="T3" fmla="*/ 282 h 282"/>
                  <a:gd name="T4" fmla="*/ 29 w 311"/>
                  <a:gd name="T5" fmla="*/ 282 h 282"/>
                  <a:gd name="T6" fmla="*/ 29 w 311"/>
                  <a:gd name="T7" fmla="*/ 282 h 282"/>
                  <a:gd name="T8" fmla="*/ 27 w 311"/>
                  <a:gd name="T9" fmla="*/ 281 h 282"/>
                  <a:gd name="T10" fmla="*/ 25 w 311"/>
                  <a:gd name="T11" fmla="*/ 279 h 282"/>
                  <a:gd name="T12" fmla="*/ 25 w 311"/>
                  <a:gd name="T13" fmla="*/ 279 h 282"/>
                  <a:gd name="T14" fmla="*/ 14 w 311"/>
                  <a:gd name="T15" fmla="*/ 262 h 282"/>
                  <a:gd name="T16" fmla="*/ 2 w 311"/>
                  <a:gd name="T17" fmla="*/ 245 h 282"/>
                  <a:gd name="T18" fmla="*/ 2 w 311"/>
                  <a:gd name="T19" fmla="*/ 245 h 282"/>
                  <a:gd name="T20" fmla="*/ 0 w 311"/>
                  <a:gd name="T21" fmla="*/ 243 h 282"/>
                  <a:gd name="T22" fmla="*/ 0 w 311"/>
                  <a:gd name="T23" fmla="*/ 242 h 282"/>
                  <a:gd name="T24" fmla="*/ 0 w 311"/>
                  <a:gd name="T25" fmla="*/ 239 h 282"/>
                  <a:gd name="T26" fmla="*/ 2 w 311"/>
                  <a:gd name="T27" fmla="*/ 238 h 282"/>
                  <a:gd name="T28" fmla="*/ 258 w 311"/>
                  <a:gd name="T29" fmla="*/ 2 h 282"/>
                  <a:gd name="T30" fmla="*/ 258 w 311"/>
                  <a:gd name="T31" fmla="*/ 2 h 282"/>
                  <a:gd name="T32" fmla="*/ 259 w 311"/>
                  <a:gd name="T33" fmla="*/ 0 h 282"/>
                  <a:gd name="T34" fmla="*/ 262 w 311"/>
                  <a:gd name="T35" fmla="*/ 0 h 282"/>
                  <a:gd name="T36" fmla="*/ 263 w 311"/>
                  <a:gd name="T37" fmla="*/ 0 h 282"/>
                  <a:gd name="T38" fmla="*/ 265 w 311"/>
                  <a:gd name="T39" fmla="*/ 2 h 282"/>
                  <a:gd name="T40" fmla="*/ 308 w 311"/>
                  <a:gd name="T41" fmla="*/ 46 h 282"/>
                  <a:gd name="T42" fmla="*/ 308 w 311"/>
                  <a:gd name="T43" fmla="*/ 46 h 282"/>
                  <a:gd name="T44" fmla="*/ 309 w 311"/>
                  <a:gd name="T45" fmla="*/ 47 h 282"/>
                  <a:gd name="T46" fmla="*/ 311 w 311"/>
                  <a:gd name="T47" fmla="*/ 49 h 282"/>
                  <a:gd name="T48" fmla="*/ 311 w 311"/>
                  <a:gd name="T49" fmla="*/ 49 h 282"/>
                  <a:gd name="T50" fmla="*/ 309 w 311"/>
                  <a:gd name="T51" fmla="*/ 51 h 282"/>
                  <a:gd name="T52" fmla="*/ 308 w 311"/>
                  <a:gd name="T53" fmla="*/ 53 h 282"/>
                  <a:gd name="T54" fmla="*/ 34 w 311"/>
                  <a:gd name="T55" fmla="*/ 281 h 282"/>
                  <a:gd name="T56" fmla="*/ 34 w 311"/>
                  <a:gd name="T57" fmla="*/ 281 h 282"/>
                  <a:gd name="T58" fmla="*/ 30 w 311"/>
                  <a:gd name="T59" fmla="*/ 282 h 282"/>
                  <a:gd name="T60" fmla="*/ 30 w 311"/>
                  <a:gd name="T61" fmla="*/ 282 h 282"/>
                  <a:gd name="T62" fmla="*/ 13 w 311"/>
                  <a:gd name="T63" fmla="*/ 242 h 282"/>
                  <a:gd name="T64" fmla="*/ 13 w 311"/>
                  <a:gd name="T65" fmla="*/ 242 h 282"/>
                  <a:gd name="T66" fmla="*/ 23 w 311"/>
                  <a:gd name="T67" fmla="*/ 254 h 282"/>
                  <a:gd name="T68" fmla="*/ 32 w 311"/>
                  <a:gd name="T69" fmla="*/ 268 h 282"/>
                  <a:gd name="T70" fmla="*/ 297 w 311"/>
                  <a:gd name="T71" fmla="*/ 48 h 282"/>
                  <a:gd name="T72" fmla="*/ 262 w 311"/>
                  <a:gd name="T73" fmla="*/ 13 h 282"/>
                  <a:gd name="T74" fmla="*/ 13 w 311"/>
                  <a:gd name="T75" fmla="*/ 24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1" h="282">
                    <a:moveTo>
                      <a:pt x="30" y="282"/>
                    </a:moveTo>
                    <a:lnTo>
                      <a:pt x="30" y="282"/>
                    </a:lnTo>
                    <a:lnTo>
                      <a:pt x="29" y="282"/>
                    </a:lnTo>
                    <a:lnTo>
                      <a:pt x="29" y="282"/>
                    </a:lnTo>
                    <a:lnTo>
                      <a:pt x="27" y="281"/>
                    </a:lnTo>
                    <a:lnTo>
                      <a:pt x="25" y="279"/>
                    </a:lnTo>
                    <a:lnTo>
                      <a:pt x="25" y="279"/>
                    </a:lnTo>
                    <a:lnTo>
                      <a:pt x="14" y="262"/>
                    </a:lnTo>
                    <a:lnTo>
                      <a:pt x="2" y="245"/>
                    </a:lnTo>
                    <a:lnTo>
                      <a:pt x="2" y="245"/>
                    </a:lnTo>
                    <a:lnTo>
                      <a:pt x="0" y="243"/>
                    </a:lnTo>
                    <a:lnTo>
                      <a:pt x="0" y="242"/>
                    </a:lnTo>
                    <a:lnTo>
                      <a:pt x="0" y="239"/>
                    </a:lnTo>
                    <a:lnTo>
                      <a:pt x="2" y="238"/>
                    </a:lnTo>
                    <a:lnTo>
                      <a:pt x="258" y="2"/>
                    </a:lnTo>
                    <a:lnTo>
                      <a:pt x="258" y="2"/>
                    </a:lnTo>
                    <a:lnTo>
                      <a:pt x="259" y="0"/>
                    </a:lnTo>
                    <a:lnTo>
                      <a:pt x="262" y="0"/>
                    </a:lnTo>
                    <a:lnTo>
                      <a:pt x="263" y="0"/>
                    </a:lnTo>
                    <a:lnTo>
                      <a:pt x="265" y="2"/>
                    </a:lnTo>
                    <a:lnTo>
                      <a:pt x="308" y="46"/>
                    </a:lnTo>
                    <a:lnTo>
                      <a:pt x="308" y="46"/>
                    </a:lnTo>
                    <a:lnTo>
                      <a:pt x="309" y="47"/>
                    </a:lnTo>
                    <a:lnTo>
                      <a:pt x="311" y="49"/>
                    </a:lnTo>
                    <a:lnTo>
                      <a:pt x="311" y="49"/>
                    </a:lnTo>
                    <a:lnTo>
                      <a:pt x="309" y="51"/>
                    </a:lnTo>
                    <a:lnTo>
                      <a:pt x="308" y="53"/>
                    </a:lnTo>
                    <a:lnTo>
                      <a:pt x="34" y="281"/>
                    </a:lnTo>
                    <a:lnTo>
                      <a:pt x="34" y="281"/>
                    </a:lnTo>
                    <a:lnTo>
                      <a:pt x="30" y="282"/>
                    </a:lnTo>
                    <a:lnTo>
                      <a:pt x="30" y="282"/>
                    </a:lnTo>
                    <a:close/>
                    <a:moveTo>
                      <a:pt x="13" y="242"/>
                    </a:moveTo>
                    <a:lnTo>
                      <a:pt x="13" y="242"/>
                    </a:lnTo>
                    <a:lnTo>
                      <a:pt x="23" y="254"/>
                    </a:lnTo>
                    <a:lnTo>
                      <a:pt x="32" y="268"/>
                    </a:lnTo>
                    <a:lnTo>
                      <a:pt x="297" y="48"/>
                    </a:lnTo>
                    <a:lnTo>
                      <a:pt x="262" y="13"/>
                    </a:lnTo>
                    <a:lnTo>
                      <a:pt x="13" y="242"/>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3" name="Freeform 32"/>
              <p:cNvSpPr>
                <a:spLocks noEditPoints="1"/>
              </p:cNvSpPr>
              <p:nvPr/>
            </p:nvSpPr>
            <p:spPr bwMode="auto">
              <a:xfrm>
                <a:off x="7968064" y="3664888"/>
                <a:ext cx="287626" cy="316187"/>
              </a:xfrm>
              <a:custGeom>
                <a:avLst/>
                <a:gdLst>
                  <a:gd name="T0" fmla="*/ 48 w 282"/>
                  <a:gd name="T1" fmla="*/ 311 h 311"/>
                  <a:gd name="T2" fmla="*/ 48 w 282"/>
                  <a:gd name="T3" fmla="*/ 311 h 311"/>
                  <a:gd name="T4" fmla="*/ 47 w 282"/>
                  <a:gd name="T5" fmla="*/ 309 h 311"/>
                  <a:gd name="T6" fmla="*/ 44 w 282"/>
                  <a:gd name="T7" fmla="*/ 308 h 311"/>
                  <a:gd name="T8" fmla="*/ 2 w 282"/>
                  <a:gd name="T9" fmla="*/ 265 h 311"/>
                  <a:gd name="T10" fmla="*/ 2 w 282"/>
                  <a:gd name="T11" fmla="*/ 265 h 311"/>
                  <a:gd name="T12" fmla="*/ 0 w 282"/>
                  <a:gd name="T13" fmla="*/ 263 h 311"/>
                  <a:gd name="T14" fmla="*/ 0 w 282"/>
                  <a:gd name="T15" fmla="*/ 262 h 311"/>
                  <a:gd name="T16" fmla="*/ 0 w 282"/>
                  <a:gd name="T17" fmla="*/ 259 h 311"/>
                  <a:gd name="T18" fmla="*/ 2 w 282"/>
                  <a:gd name="T19" fmla="*/ 258 h 311"/>
                  <a:gd name="T20" fmla="*/ 238 w 282"/>
                  <a:gd name="T21" fmla="*/ 1 h 311"/>
                  <a:gd name="T22" fmla="*/ 238 w 282"/>
                  <a:gd name="T23" fmla="*/ 1 h 311"/>
                  <a:gd name="T24" fmla="*/ 239 w 282"/>
                  <a:gd name="T25" fmla="*/ 0 h 311"/>
                  <a:gd name="T26" fmla="*/ 242 w 282"/>
                  <a:gd name="T27" fmla="*/ 0 h 311"/>
                  <a:gd name="T28" fmla="*/ 243 w 282"/>
                  <a:gd name="T29" fmla="*/ 0 h 311"/>
                  <a:gd name="T30" fmla="*/ 246 w 282"/>
                  <a:gd name="T31" fmla="*/ 1 h 311"/>
                  <a:gd name="T32" fmla="*/ 246 w 282"/>
                  <a:gd name="T33" fmla="*/ 1 h 311"/>
                  <a:gd name="T34" fmla="*/ 262 w 282"/>
                  <a:gd name="T35" fmla="*/ 15 h 311"/>
                  <a:gd name="T36" fmla="*/ 278 w 282"/>
                  <a:gd name="T37" fmla="*/ 25 h 311"/>
                  <a:gd name="T38" fmla="*/ 278 w 282"/>
                  <a:gd name="T39" fmla="*/ 25 h 311"/>
                  <a:gd name="T40" fmla="*/ 281 w 282"/>
                  <a:gd name="T41" fmla="*/ 28 h 311"/>
                  <a:gd name="T42" fmla="*/ 282 w 282"/>
                  <a:gd name="T43" fmla="*/ 29 h 311"/>
                  <a:gd name="T44" fmla="*/ 282 w 282"/>
                  <a:gd name="T45" fmla="*/ 29 h 311"/>
                  <a:gd name="T46" fmla="*/ 282 w 282"/>
                  <a:gd name="T47" fmla="*/ 32 h 311"/>
                  <a:gd name="T48" fmla="*/ 281 w 282"/>
                  <a:gd name="T49" fmla="*/ 34 h 311"/>
                  <a:gd name="T50" fmla="*/ 53 w 282"/>
                  <a:gd name="T51" fmla="*/ 308 h 311"/>
                  <a:gd name="T52" fmla="*/ 53 w 282"/>
                  <a:gd name="T53" fmla="*/ 308 h 311"/>
                  <a:gd name="T54" fmla="*/ 51 w 282"/>
                  <a:gd name="T55" fmla="*/ 309 h 311"/>
                  <a:gd name="T56" fmla="*/ 49 w 282"/>
                  <a:gd name="T57" fmla="*/ 311 h 311"/>
                  <a:gd name="T58" fmla="*/ 49 w 282"/>
                  <a:gd name="T59" fmla="*/ 311 h 311"/>
                  <a:gd name="T60" fmla="*/ 48 w 282"/>
                  <a:gd name="T61" fmla="*/ 311 h 311"/>
                  <a:gd name="T62" fmla="*/ 48 w 282"/>
                  <a:gd name="T63" fmla="*/ 311 h 311"/>
                  <a:gd name="T64" fmla="*/ 13 w 282"/>
                  <a:gd name="T65" fmla="*/ 262 h 311"/>
                  <a:gd name="T66" fmla="*/ 48 w 282"/>
                  <a:gd name="T67" fmla="*/ 297 h 311"/>
                  <a:gd name="T68" fmla="*/ 268 w 282"/>
                  <a:gd name="T69" fmla="*/ 32 h 311"/>
                  <a:gd name="T70" fmla="*/ 268 w 282"/>
                  <a:gd name="T71" fmla="*/ 32 h 311"/>
                  <a:gd name="T72" fmla="*/ 254 w 282"/>
                  <a:gd name="T73" fmla="*/ 23 h 311"/>
                  <a:gd name="T74" fmla="*/ 242 w 282"/>
                  <a:gd name="T75" fmla="*/ 13 h 311"/>
                  <a:gd name="T76" fmla="*/ 13 w 282"/>
                  <a:gd name="T77" fmla="*/ 26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2" h="311">
                    <a:moveTo>
                      <a:pt x="48" y="311"/>
                    </a:moveTo>
                    <a:lnTo>
                      <a:pt x="48" y="311"/>
                    </a:lnTo>
                    <a:lnTo>
                      <a:pt x="47" y="309"/>
                    </a:lnTo>
                    <a:lnTo>
                      <a:pt x="44" y="308"/>
                    </a:lnTo>
                    <a:lnTo>
                      <a:pt x="2" y="265"/>
                    </a:lnTo>
                    <a:lnTo>
                      <a:pt x="2" y="265"/>
                    </a:lnTo>
                    <a:lnTo>
                      <a:pt x="0" y="263"/>
                    </a:lnTo>
                    <a:lnTo>
                      <a:pt x="0" y="262"/>
                    </a:lnTo>
                    <a:lnTo>
                      <a:pt x="0" y="259"/>
                    </a:lnTo>
                    <a:lnTo>
                      <a:pt x="2" y="258"/>
                    </a:lnTo>
                    <a:lnTo>
                      <a:pt x="238" y="1"/>
                    </a:lnTo>
                    <a:lnTo>
                      <a:pt x="238" y="1"/>
                    </a:lnTo>
                    <a:lnTo>
                      <a:pt x="239" y="0"/>
                    </a:lnTo>
                    <a:lnTo>
                      <a:pt x="242" y="0"/>
                    </a:lnTo>
                    <a:lnTo>
                      <a:pt x="243" y="0"/>
                    </a:lnTo>
                    <a:lnTo>
                      <a:pt x="246" y="1"/>
                    </a:lnTo>
                    <a:lnTo>
                      <a:pt x="246" y="1"/>
                    </a:lnTo>
                    <a:lnTo>
                      <a:pt x="262" y="15"/>
                    </a:lnTo>
                    <a:lnTo>
                      <a:pt x="278" y="25"/>
                    </a:lnTo>
                    <a:lnTo>
                      <a:pt x="278" y="25"/>
                    </a:lnTo>
                    <a:lnTo>
                      <a:pt x="281" y="28"/>
                    </a:lnTo>
                    <a:lnTo>
                      <a:pt x="282" y="29"/>
                    </a:lnTo>
                    <a:lnTo>
                      <a:pt x="282" y="29"/>
                    </a:lnTo>
                    <a:lnTo>
                      <a:pt x="282" y="32"/>
                    </a:lnTo>
                    <a:lnTo>
                      <a:pt x="281" y="34"/>
                    </a:lnTo>
                    <a:lnTo>
                      <a:pt x="53" y="308"/>
                    </a:lnTo>
                    <a:lnTo>
                      <a:pt x="53" y="308"/>
                    </a:lnTo>
                    <a:lnTo>
                      <a:pt x="51" y="309"/>
                    </a:lnTo>
                    <a:lnTo>
                      <a:pt x="49" y="311"/>
                    </a:lnTo>
                    <a:lnTo>
                      <a:pt x="49" y="311"/>
                    </a:lnTo>
                    <a:lnTo>
                      <a:pt x="48" y="311"/>
                    </a:lnTo>
                    <a:lnTo>
                      <a:pt x="48" y="311"/>
                    </a:lnTo>
                    <a:close/>
                    <a:moveTo>
                      <a:pt x="13" y="262"/>
                    </a:moveTo>
                    <a:lnTo>
                      <a:pt x="48" y="297"/>
                    </a:lnTo>
                    <a:lnTo>
                      <a:pt x="268" y="32"/>
                    </a:lnTo>
                    <a:lnTo>
                      <a:pt x="268" y="32"/>
                    </a:lnTo>
                    <a:lnTo>
                      <a:pt x="254" y="23"/>
                    </a:lnTo>
                    <a:lnTo>
                      <a:pt x="242" y="13"/>
                    </a:lnTo>
                    <a:lnTo>
                      <a:pt x="13" y="262"/>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4" name="Freeform 33"/>
              <p:cNvSpPr>
                <a:spLocks noEditPoints="1"/>
              </p:cNvSpPr>
              <p:nvPr/>
            </p:nvSpPr>
            <p:spPr bwMode="auto">
              <a:xfrm>
                <a:off x="7892586" y="3617968"/>
                <a:ext cx="316187" cy="287626"/>
              </a:xfrm>
              <a:custGeom>
                <a:avLst/>
                <a:gdLst>
                  <a:gd name="T0" fmla="*/ 49 w 311"/>
                  <a:gd name="T1" fmla="*/ 281 h 281"/>
                  <a:gd name="T2" fmla="*/ 49 w 311"/>
                  <a:gd name="T3" fmla="*/ 281 h 281"/>
                  <a:gd name="T4" fmla="*/ 47 w 311"/>
                  <a:gd name="T5" fmla="*/ 281 h 281"/>
                  <a:gd name="T6" fmla="*/ 46 w 311"/>
                  <a:gd name="T7" fmla="*/ 280 h 281"/>
                  <a:gd name="T8" fmla="*/ 2 w 311"/>
                  <a:gd name="T9" fmla="*/ 236 h 281"/>
                  <a:gd name="T10" fmla="*/ 2 w 311"/>
                  <a:gd name="T11" fmla="*/ 236 h 281"/>
                  <a:gd name="T12" fmla="*/ 0 w 311"/>
                  <a:gd name="T13" fmla="*/ 235 h 281"/>
                  <a:gd name="T14" fmla="*/ 0 w 311"/>
                  <a:gd name="T15" fmla="*/ 232 h 281"/>
                  <a:gd name="T16" fmla="*/ 0 w 311"/>
                  <a:gd name="T17" fmla="*/ 232 h 281"/>
                  <a:gd name="T18" fmla="*/ 0 w 311"/>
                  <a:gd name="T19" fmla="*/ 230 h 281"/>
                  <a:gd name="T20" fmla="*/ 3 w 311"/>
                  <a:gd name="T21" fmla="*/ 229 h 281"/>
                  <a:gd name="T22" fmla="*/ 277 w 311"/>
                  <a:gd name="T23" fmla="*/ 1 h 281"/>
                  <a:gd name="T24" fmla="*/ 277 w 311"/>
                  <a:gd name="T25" fmla="*/ 1 h 281"/>
                  <a:gd name="T26" fmla="*/ 279 w 311"/>
                  <a:gd name="T27" fmla="*/ 0 h 281"/>
                  <a:gd name="T28" fmla="*/ 281 w 311"/>
                  <a:gd name="T29" fmla="*/ 0 h 281"/>
                  <a:gd name="T30" fmla="*/ 281 w 311"/>
                  <a:gd name="T31" fmla="*/ 0 h 281"/>
                  <a:gd name="T32" fmla="*/ 283 w 311"/>
                  <a:gd name="T33" fmla="*/ 1 h 281"/>
                  <a:gd name="T34" fmla="*/ 284 w 311"/>
                  <a:gd name="T35" fmla="*/ 2 h 281"/>
                  <a:gd name="T36" fmla="*/ 284 w 311"/>
                  <a:gd name="T37" fmla="*/ 2 h 281"/>
                  <a:gd name="T38" fmla="*/ 296 w 311"/>
                  <a:gd name="T39" fmla="*/ 20 h 281"/>
                  <a:gd name="T40" fmla="*/ 309 w 311"/>
                  <a:gd name="T41" fmla="*/ 36 h 281"/>
                  <a:gd name="T42" fmla="*/ 309 w 311"/>
                  <a:gd name="T43" fmla="*/ 36 h 281"/>
                  <a:gd name="T44" fmla="*/ 311 w 311"/>
                  <a:gd name="T45" fmla="*/ 38 h 281"/>
                  <a:gd name="T46" fmla="*/ 311 w 311"/>
                  <a:gd name="T47" fmla="*/ 40 h 281"/>
                  <a:gd name="T48" fmla="*/ 309 w 311"/>
                  <a:gd name="T49" fmla="*/ 43 h 281"/>
                  <a:gd name="T50" fmla="*/ 308 w 311"/>
                  <a:gd name="T51" fmla="*/ 44 h 281"/>
                  <a:gd name="T52" fmla="*/ 53 w 311"/>
                  <a:gd name="T53" fmla="*/ 280 h 281"/>
                  <a:gd name="T54" fmla="*/ 53 w 311"/>
                  <a:gd name="T55" fmla="*/ 280 h 281"/>
                  <a:gd name="T56" fmla="*/ 51 w 311"/>
                  <a:gd name="T57" fmla="*/ 281 h 281"/>
                  <a:gd name="T58" fmla="*/ 49 w 311"/>
                  <a:gd name="T59" fmla="*/ 281 h 281"/>
                  <a:gd name="T60" fmla="*/ 49 w 311"/>
                  <a:gd name="T61" fmla="*/ 281 h 281"/>
                  <a:gd name="T62" fmla="*/ 14 w 311"/>
                  <a:gd name="T63" fmla="*/ 234 h 281"/>
                  <a:gd name="T64" fmla="*/ 49 w 311"/>
                  <a:gd name="T65" fmla="*/ 269 h 281"/>
                  <a:gd name="T66" fmla="*/ 297 w 311"/>
                  <a:gd name="T67" fmla="*/ 40 h 281"/>
                  <a:gd name="T68" fmla="*/ 297 w 311"/>
                  <a:gd name="T69" fmla="*/ 40 h 281"/>
                  <a:gd name="T70" fmla="*/ 288 w 311"/>
                  <a:gd name="T71" fmla="*/ 26 h 281"/>
                  <a:gd name="T72" fmla="*/ 278 w 311"/>
                  <a:gd name="T73" fmla="*/ 14 h 281"/>
                  <a:gd name="T74" fmla="*/ 14 w 311"/>
                  <a:gd name="T75" fmla="*/ 23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1" h="281">
                    <a:moveTo>
                      <a:pt x="49" y="281"/>
                    </a:moveTo>
                    <a:lnTo>
                      <a:pt x="49" y="281"/>
                    </a:lnTo>
                    <a:lnTo>
                      <a:pt x="47" y="281"/>
                    </a:lnTo>
                    <a:lnTo>
                      <a:pt x="46" y="280"/>
                    </a:lnTo>
                    <a:lnTo>
                      <a:pt x="2" y="236"/>
                    </a:lnTo>
                    <a:lnTo>
                      <a:pt x="2" y="236"/>
                    </a:lnTo>
                    <a:lnTo>
                      <a:pt x="0" y="235"/>
                    </a:lnTo>
                    <a:lnTo>
                      <a:pt x="0" y="232"/>
                    </a:lnTo>
                    <a:lnTo>
                      <a:pt x="0" y="232"/>
                    </a:lnTo>
                    <a:lnTo>
                      <a:pt x="0" y="230"/>
                    </a:lnTo>
                    <a:lnTo>
                      <a:pt x="3" y="229"/>
                    </a:lnTo>
                    <a:lnTo>
                      <a:pt x="277" y="1"/>
                    </a:lnTo>
                    <a:lnTo>
                      <a:pt x="277" y="1"/>
                    </a:lnTo>
                    <a:lnTo>
                      <a:pt x="279" y="0"/>
                    </a:lnTo>
                    <a:lnTo>
                      <a:pt x="281" y="0"/>
                    </a:lnTo>
                    <a:lnTo>
                      <a:pt x="281" y="0"/>
                    </a:lnTo>
                    <a:lnTo>
                      <a:pt x="283" y="1"/>
                    </a:lnTo>
                    <a:lnTo>
                      <a:pt x="284" y="2"/>
                    </a:lnTo>
                    <a:lnTo>
                      <a:pt x="284" y="2"/>
                    </a:lnTo>
                    <a:lnTo>
                      <a:pt x="296" y="20"/>
                    </a:lnTo>
                    <a:lnTo>
                      <a:pt x="309" y="36"/>
                    </a:lnTo>
                    <a:lnTo>
                      <a:pt x="309" y="36"/>
                    </a:lnTo>
                    <a:lnTo>
                      <a:pt x="311" y="38"/>
                    </a:lnTo>
                    <a:lnTo>
                      <a:pt x="311" y="40"/>
                    </a:lnTo>
                    <a:lnTo>
                      <a:pt x="309" y="43"/>
                    </a:lnTo>
                    <a:lnTo>
                      <a:pt x="308" y="44"/>
                    </a:lnTo>
                    <a:lnTo>
                      <a:pt x="53" y="280"/>
                    </a:lnTo>
                    <a:lnTo>
                      <a:pt x="53" y="280"/>
                    </a:lnTo>
                    <a:lnTo>
                      <a:pt x="51" y="281"/>
                    </a:lnTo>
                    <a:lnTo>
                      <a:pt x="49" y="281"/>
                    </a:lnTo>
                    <a:lnTo>
                      <a:pt x="49" y="281"/>
                    </a:lnTo>
                    <a:close/>
                    <a:moveTo>
                      <a:pt x="14" y="234"/>
                    </a:moveTo>
                    <a:lnTo>
                      <a:pt x="49" y="269"/>
                    </a:lnTo>
                    <a:lnTo>
                      <a:pt x="297" y="40"/>
                    </a:lnTo>
                    <a:lnTo>
                      <a:pt x="297" y="40"/>
                    </a:lnTo>
                    <a:lnTo>
                      <a:pt x="288" y="26"/>
                    </a:lnTo>
                    <a:lnTo>
                      <a:pt x="278" y="14"/>
                    </a:lnTo>
                    <a:lnTo>
                      <a:pt x="14" y="234"/>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5" name="Freeform 34"/>
              <p:cNvSpPr>
                <a:spLocks noEditPoints="1"/>
              </p:cNvSpPr>
              <p:nvPr/>
            </p:nvSpPr>
            <p:spPr bwMode="auto">
              <a:xfrm>
                <a:off x="7892586" y="3167150"/>
                <a:ext cx="316187" cy="285587"/>
              </a:xfrm>
              <a:custGeom>
                <a:avLst/>
                <a:gdLst>
                  <a:gd name="T0" fmla="*/ 281 w 311"/>
                  <a:gd name="T1" fmla="*/ 282 h 282"/>
                  <a:gd name="T2" fmla="*/ 281 w 311"/>
                  <a:gd name="T3" fmla="*/ 282 h 282"/>
                  <a:gd name="T4" fmla="*/ 277 w 311"/>
                  <a:gd name="T5" fmla="*/ 281 h 282"/>
                  <a:gd name="T6" fmla="*/ 3 w 311"/>
                  <a:gd name="T7" fmla="*/ 53 h 282"/>
                  <a:gd name="T8" fmla="*/ 3 w 311"/>
                  <a:gd name="T9" fmla="*/ 53 h 282"/>
                  <a:gd name="T10" fmla="*/ 0 w 311"/>
                  <a:gd name="T11" fmla="*/ 51 h 282"/>
                  <a:gd name="T12" fmla="*/ 0 w 311"/>
                  <a:gd name="T13" fmla="*/ 49 h 282"/>
                  <a:gd name="T14" fmla="*/ 0 w 311"/>
                  <a:gd name="T15" fmla="*/ 49 h 282"/>
                  <a:gd name="T16" fmla="*/ 0 w 311"/>
                  <a:gd name="T17" fmla="*/ 47 h 282"/>
                  <a:gd name="T18" fmla="*/ 2 w 311"/>
                  <a:gd name="T19" fmla="*/ 46 h 282"/>
                  <a:gd name="T20" fmla="*/ 46 w 311"/>
                  <a:gd name="T21" fmla="*/ 2 h 282"/>
                  <a:gd name="T22" fmla="*/ 46 w 311"/>
                  <a:gd name="T23" fmla="*/ 2 h 282"/>
                  <a:gd name="T24" fmla="*/ 47 w 311"/>
                  <a:gd name="T25" fmla="*/ 0 h 282"/>
                  <a:gd name="T26" fmla="*/ 49 w 311"/>
                  <a:gd name="T27" fmla="*/ 0 h 282"/>
                  <a:gd name="T28" fmla="*/ 51 w 311"/>
                  <a:gd name="T29" fmla="*/ 0 h 282"/>
                  <a:gd name="T30" fmla="*/ 53 w 311"/>
                  <a:gd name="T31" fmla="*/ 2 h 282"/>
                  <a:gd name="T32" fmla="*/ 308 w 311"/>
                  <a:gd name="T33" fmla="*/ 238 h 282"/>
                  <a:gd name="T34" fmla="*/ 308 w 311"/>
                  <a:gd name="T35" fmla="*/ 238 h 282"/>
                  <a:gd name="T36" fmla="*/ 309 w 311"/>
                  <a:gd name="T37" fmla="*/ 239 h 282"/>
                  <a:gd name="T38" fmla="*/ 311 w 311"/>
                  <a:gd name="T39" fmla="*/ 242 h 282"/>
                  <a:gd name="T40" fmla="*/ 309 w 311"/>
                  <a:gd name="T41" fmla="*/ 243 h 282"/>
                  <a:gd name="T42" fmla="*/ 309 w 311"/>
                  <a:gd name="T43" fmla="*/ 245 h 282"/>
                  <a:gd name="T44" fmla="*/ 309 w 311"/>
                  <a:gd name="T45" fmla="*/ 245 h 282"/>
                  <a:gd name="T46" fmla="*/ 296 w 311"/>
                  <a:gd name="T47" fmla="*/ 262 h 282"/>
                  <a:gd name="T48" fmla="*/ 284 w 311"/>
                  <a:gd name="T49" fmla="*/ 279 h 282"/>
                  <a:gd name="T50" fmla="*/ 284 w 311"/>
                  <a:gd name="T51" fmla="*/ 279 h 282"/>
                  <a:gd name="T52" fmla="*/ 283 w 311"/>
                  <a:gd name="T53" fmla="*/ 281 h 282"/>
                  <a:gd name="T54" fmla="*/ 281 w 311"/>
                  <a:gd name="T55" fmla="*/ 282 h 282"/>
                  <a:gd name="T56" fmla="*/ 281 w 311"/>
                  <a:gd name="T57" fmla="*/ 282 h 282"/>
                  <a:gd name="T58" fmla="*/ 281 w 311"/>
                  <a:gd name="T59" fmla="*/ 282 h 282"/>
                  <a:gd name="T60" fmla="*/ 281 w 311"/>
                  <a:gd name="T61" fmla="*/ 282 h 282"/>
                  <a:gd name="T62" fmla="*/ 14 w 311"/>
                  <a:gd name="T63" fmla="*/ 48 h 282"/>
                  <a:gd name="T64" fmla="*/ 278 w 311"/>
                  <a:gd name="T65" fmla="*/ 268 h 282"/>
                  <a:gd name="T66" fmla="*/ 278 w 311"/>
                  <a:gd name="T67" fmla="*/ 268 h 282"/>
                  <a:gd name="T68" fmla="*/ 287 w 311"/>
                  <a:gd name="T69" fmla="*/ 254 h 282"/>
                  <a:gd name="T70" fmla="*/ 297 w 311"/>
                  <a:gd name="T71" fmla="*/ 242 h 282"/>
                  <a:gd name="T72" fmla="*/ 49 w 311"/>
                  <a:gd name="T73" fmla="*/ 13 h 282"/>
                  <a:gd name="T74" fmla="*/ 14 w 311"/>
                  <a:gd name="T75" fmla="*/ 48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1" h="282">
                    <a:moveTo>
                      <a:pt x="281" y="282"/>
                    </a:moveTo>
                    <a:lnTo>
                      <a:pt x="281" y="282"/>
                    </a:lnTo>
                    <a:lnTo>
                      <a:pt x="277" y="281"/>
                    </a:lnTo>
                    <a:lnTo>
                      <a:pt x="3" y="53"/>
                    </a:lnTo>
                    <a:lnTo>
                      <a:pt x="3" y="53"/>
                    </a:lnTo>
                    <a:lnTo>
                      <a:pt x="0" y="51"/>
                    </a:lnTo>
                    <a:lnTo>
                      <a:pt x="0" y="49"/>
                    </a:lnTo>
                    <a:lnTo>
                      <a:pt x="0" y="49"/>
                    </a:lnTo>
                    <a:lnTo>
                      <a:pt x="0" y="47"/>
                    </a:lnTo>
                    <a:lnTo>
                      <a:pt x="2" y="46"/>
                    </a:lnTo>
                    <a:lnTo>
                      <a:pt x="46" y="2"/>
                    </a:lnTo>
                    <a:lnTo>
                      <a:pt x="46" y="2"/>
                    </a:lnTo>
                    <a:lnTo>
                      <a:pt x="47" y="0"/>
                    </a:lnTo>
                    <a:lnTo>
                      <a:pt x="49" y="0"/>
                    </a:lnTo>
                    <a:lnTo>
                      <a:pt x="51" y="0"/>
                    </a:lnTo>
                    <a:lnTo>
                      <a:pt x="53" y="2"/>
                    </a:lnTo>
                    <a:lnTo>
                      <a:pt x="308" y="238"/>
                    </a:lnTo>
                    <a:lnTo>
                      <a:pt x="308" y="238"/>
                    </a:lnTo>
                    <a:lnTo>
                      <a:pt x="309" y="239"/>
                    </a:lnTo>
                    <a:lnTo>
                      <a:pt x="311" y="242"/>
                    </a:lnTo>
                    <a:lnTo>
                      <a:pt x="309" y="243"/>
                    </a:lnTo>
                    <a:lnTo>
                      <a:pt x="309" y="245"/>
                    </a:lnTo>
                    <a:lnTo>
                      <a:pt x="309" y="245"/>
                    </a:lnTo>
                    <a:lnTo>
                      <a:pt x="296" y="262"/>
                    </a:lnTo>
                    <a:lnTo>
                      <a:pt x="284" y="279"/>
                    </a:lnTo>
                    <a:lnTo>
                      <a:pt x="284" y="279"/>
                    </a:lnTo>
                    <a:lnTo>
                      <a:pt x="283" y="281"/>
                    </a:lnTo>
                    <a:lnTo>
                      <a:pt x="281" y="282"/>
                    </a:lnTo>
                    <a:lnTo>
                      <a:pt x="281" y="282"/>
                    </a:lnTo>
                    <a:lnTo>
                      <a:pt x="281" y="282"/>
                    </a:lnTo>
                    <a:lnTo>
                      <a:pt x="281" y="282"/>
                    </a:lnTo>
                    <a:close/>
                    <a:moveTo>
                      <a:pt x="14" y="48"/>
                    </a:moveTo>
                    <a:lnTo>
                      <a:pt x="278" y="268"/>
                    </a:lnTo>
                    <a:lnTo>
                      <a:pt x="278" y="268"/>
                    </a:lnTo>
                    <a:lnTo>
                      <a:pt x="287" y="254"/>
                    </a:lnTo>
                    <a:lnTo>
                      <a:pt x="297" y="242"/>
                    </a:lnTo>
                    <a:lnTo>
                      <a:pt x="49" y="13"/>
                    </a:lnTo>
                    <a:lnTo>
                      <a:pt x="14" y="48"/>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6" name="Freeform 35"/>
              <p:cNvSpPr>
                <a:spLocks noEditPoints="1"/>
              </p:cNvSpPr>
              <p:nvPr/>
            </p:nvSpPr>
            <p:spPr bwMode="auto">
              <a:xfrm>
                <a:off x="7968064" y="3091672"/>
                <a:ext cx="287626" cy="316187"/>
              </a:xfrm>
              <a:custGeom>
                <a:avLst/>
                <a:gdLst>
                  <a:gd name="T0" fmla="*/ 242 w 282"/>
                  <a:gd name="T1" fmla="*/ 311 h 311"/>
                  <a:gd name="T2" fmla="*/ 242 w 282"/>
                  <a:gd name="T3" fmla="*/ 311 h 311"/>
                  <a:gd name="T4" fmla="*/ 239 w 282"/>
                  <a:gd name="T5" fmla="*/ 311 h 311"/>
                  <a:gd name="T6" fmla="*/ 238 w 282"/>
                  <a:gd name="T7" fmla="*/ 308 h 311"/>
                  <a:gd name="T8" fmla="*/ 2 w 282"/>
                  <a:gd name="T9" fmla="*/ 53 h 311"/>
                  <a:gd name="T10" fmla="*/ 2 w 282"/>
                  <a:gd name="T11" fmla="*/ 53 h 311"/>
                  <a:gd name="T12" fmla="*/ 0 w 282"/>
                  <a:gd name="T13" fmla="*/ 52 h 311"/>
                  <a:gd name="T14" fmla="*/ 0 w 282"/>
                  <a:gd name="T15" fmla="*/ 49 h 311"/>
                  <a:gd name="T16" fmla="*/ 0 w 282"/>
                  <a:gd name="T17" fmla="*/ 47 h 311"/>
                  <a:gd name="T18" fmla="*/ 2 w 282"/>
                  <a:gd name="T19" fmla="*/ 46 h 311"/>
                  <a:gd name="T20" fmla="*/ 44 w 282"/>
                  <a:gd name="T21" fmla="*/ 2 h 311"/>
                  <a:gd name="T22" fmla="*/ 44 w 282"/>
                  <a:gd name="T23" fmla="*/ 2 h 311"/>
                  <a:gd name="T24" fmla="*/ 47 w 282"/>
                  <a:gd name="T25" fmla="*/ 0 h 311"/>
                  <a:gd name="T26" fmla="*/ 49 w 282"/>
                  <a:gd name="T27" fmla="*/ 0 h 311"/>
                  <a:gd name="T28" fmla="*/ 49 w 282"/>
                  <a:gd name="T29" fmla="*/ 0 h 311"/>
                  <a:gd name="T30" fmla="*/ 51 w 282"/>
                  <a:gd name="T31" fmla="*/ 2 h 311"/>
                  <a:gd name="T32" fmla="*/ 53 w 282"/>
                  <a:gd name="T33" fmla="*/ 3 h 311"/>
                  <a:gd name="T34" fmla="*/ 281 w 282"/>
                  <a:gd name="T35" fmla="*/ 277 h 311"/>
                  <a:gd name="T36" fmla="*/ 281 w 282"/>
                  <a:gd name="T37" fmla="*/ 277 h 311"/>
                  <a:gd name="T38" fmla="*/ 282 w 282"/>
                  <a:gd name="T39" fmla="*/ 279 h 311"/>
                  <a:gd name="T40" fmla="*/ 282 w 282"/>
                  <a:gd name="T41" fmla="*/ 282 h 311"/>
                  <a:gd name="T42" fmla="*/ 282 w 282"/>
                  <a:gd name="T43" fmla="*/ 282 h 311"/>
                  <a:gd name="T44" fmla="*/ 281 w 282"/>
                  <a:gd name="T45" fmla="*/ 283 h 311"/>
                  <a:gd name="T46" fmla="*/ 278 w 282"/>
                  <a:gd name="T47" fmla="*/ 286 h 311"/>
                  <a:gd name="T48" fmla="*/ 278 w 282"/>
                  <a:gd name="T49" fmla="*/ 286 h 311"/>
                  <a:gd name="T50" fmla="*/ 262 w 282"/>
                  <a:gd name="T51" fmla="*/ 296 h 311"/>
                  <a:gd name="T52" fmla="*/ 246 w 282"/>
                  <a:gd name="T53" fmla="*/ 309 h 311"/>
                  <a:gd name="T54" fmla="*/ 246 w 282"/>
                  <a:gd name="T55" fmla="*/ 309 h 311"/>
                  <a:gd name="T56" fmla="*/ 243 w 282"/>
                  <a:gd name="T57" fmla="*/ 311 h 311"/>
                  <a:gd name="T58" fmla="*/ 242 w 282"/>
                  <a:gd name="T59" fmla="*/ 311 h 311"/>
                  <a:gd name="T60" fmla="*/ 242 w 282"/>
                  <a:gd name="T61" fmla="*/ 311 h 311"/>
                  <a:gd name="T62" fmla="*/ 13 w 282"/>
                  <a:gd name="T63" fmla="*/ 49 h 311"/>
                  <a:gd name="T64" fmla="*/ 242 w 282"/>
                  <a:gd name="T65" fmla="*/ 298 h 311"/>
                  <a:gd name="T66" fmla="*/ 242 w 282"/>
                  <a:gd name="T67" fmla="*/ 298 h 311"/>
                  <a:gd name="T68" fmla="*/ 254 w 282"/>
                  <a:gd name="T69" fmla="*/ 288 h 311"/>
                  <a:gd name="T70" fmla="*/ 268 w 282"/>
                  <a:gd name="T71" fmla="*/ 279 h 311"/>
                  <a:gd name="T72" fmla="*/ 48 w 282"/>
                  <a:gd name="T73" fmla="*/ 14 h 311"/>
                  <a:gd name="T74" fmla="*/ 13 w 282"/>
                  <a:gd name="T75" fmla="*/ 4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2" h="311">
                    <a:moveTo>
                      <a:pt x="242" y="311"/>
                    </a:moveTo>
                    <a:lnTo>
                      <a:pt x="242" y="311"/>
                    </a:lnTo>
                    <a:lnTo>
                      <a:pt x="239" y="311"/>
                    </a:lnTo>
                    <a:lnTo>
                      <a:pt x="238" y="308"/>
                    </a:lnTo>
                    <a:lnTo>
                      <a:pt x="2" y="53"/>
                    </a:lnTo>
                    <a:lnTo>
                      <a:pt x="2" y="53"/>
                    </a:lnTo>
                    <a:lnTo>
                      <a:pt x="0" y="52"/>
                    </a:lnTo>
                    <a:lnTo>
                      <a:pt x="0" y="49"/>
                    </a:lnTo>
                    <a:lnTo>
                      <a:pt x="0" y="47"/>
                    </a:lnTo>
                    <a:lnTo>
                      <a:pt x="2" y="46"/>
                    </a:lnTo>
                    <a:lnTo>
                      <a:pt x="44" y="2"/>
                    </a:lnTo>
                    <a:lnTo>
                      <a:pt x="44" y="2"/>
                    </a:lnTo>
                    <a:lnTo>
                      <a:pt x="47" y="0"/>
                    </a:lnTo>
                    <a:lnTo>
                      <a:pt x="49" y="0"/>
                    </a:lnTo>
                    <a:lnTo>
                      <a:pt x="49" y="0"/>
                    </a:lnTo>
                    <a:lnTo>
                      <a:pt x="51" y="2"/>
                    </a:lnTo>
                    <a:lnTo>
                      <a:pt x="53" y="3"/>
                    </a:lnTo>
                    <a:lnTo>
                      <a:pt x="281" y="277"/>
                    </a:lnTo>
                    <a:lnTo>
                      <a:pt x="281" y="277"/>
                    </a:lnTo>
                    <a:lnTo>
                      <a:pt x="282" y="279"/>
                    </a:lnTo>
                    <a:lnTo>
                      <a:pt x="282" y="282"/>
                    </a:lnTo>
                    <a:lnTo>
                      <a:pt x="282" y="282"/>
                    </a:lnTo>
                    <a:lnTo>
                      <a:pt x="281" y="283"/>
                    </a:lnTo>
                    <a:lnTo>
                      <a:pt x="278" y="286"/>
                    </a:lnTo>
                    <a:lnTo>
                      <a:pt x="278" y="286"/>
                    </a:lnTo>
                    <a:lnTo>
                      <a:pt x="262" y="296"/>
                    </a:lnTo>
                    <a:lnTo>
                      <a:pt x="246" y="309"/>
                    </a:lnTo>
                    <a:lnTo>
                      <a:pt x="246" y="309"/>
                    </a:lnTo>
                    <a:lnTo>
                      <a:pt x="243" y="311"/>
                    </a:lnTo>
                    <a:lnTo>
                      <a:pt x="242" y="311"/>
                    </a:lnTo>
                    <a:lnTo>
                      <a:pt x="242" y="311"/>
                    </a:lnTo>
                    <a:close/>
                    <a:moveTo>
                      <a:pt x="13" y="49"/>
                    </a:moveTo>
                    <a:lnTo>
                      <a:pt x="242" y="298"/>
                    </a:lnTo>
                    <a:lnTo>
                      <a:pt x="242" y="298"/>
                    </a:lnTo>
                    <a:lnTo>
                      <a:pt x="254" y="288"/>
                    </a:lnTo>
                    <a:lnTo>
                      <a:pt x="268" y="279"/>
                    </a:lnTo>
                    <a:lnTo>
                      <a:pt x="48" y="14"/>
                    </a:lnTo>
                    <a:lnTo>
                      <a:pt x="13" y="49"/>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7" name="Freeform 36"/>
              <p:cNvSpPr>
                <a:spLocks noEditPoints="1"/>
              </p:cNvSpPr>
              <p:nvPr/>
            </p:nvSpPr>
            <p:spPr bwMode="auto">
              <a:xfrm>
                <a:off x="8467839" y="3617968"/>
                <a:ext cx="316187" cy="287626"/>
              </a:xfrm>
              <a:custGeom>
                <a:avLst/>
                <a:gdLst>
                  <a:gd name="T0" fmla="*/ 262 w 311"/>
                  <a:gd name="T1" fmla="*/ 281 h 281"/>
                  <a:gd name="T2" fmla="*/ 262 w 311"/>
                  <a:gd name="T3" fmla="*/ 281 h 281"/>
                  <a:gd name="T4" fmla="*/ 259 w 311"/>
                  <a:gd name="T5" fmla="*/ 281 h 281"/>
                  <a:gd name="T6" fmla="*/ 258 w 311"/>
                  <a:gd name="T7" fmla="*/ 280 h 281"/>
                  <a:gd name="T8" fmla="*/ 2 w 311"/>
                  <a:gd name="T9" fmla="*/ 44 h 281"/>
                  <a:gd name="T10" fmla="*/ 2 w 311"/>
                  <a:gd name="T11" fmla="*/ 44 h 281"/>
                  <a:gd name="T12" fmla="*/ 0 w 311"/>
                  <a:gd name="T13" fmla="*/ 43 h 281"/>
                  <a:gd name="T14" fmla="*/ 0 w 311"/>
                  <a:gd name="T15" fmla="*/ 40 h 281"/>
                  <a:gd name="T16" fmla="*/ 0 w 311"/>
                  <a:gd name="T17" fmla="*/ 38 h 281"/>
                  <a:gd name="T18" fmla="*/ 2 w 311"/>
                  <a:gd name="T19" fmla="*/ 36 h 281"/>
                  <a:gd name="T20" fmla="*/ 2 w 311"/>
                  <a:gd name="T21" fmla="*/ 36 h 281"/>
                  <a:gd name="T22" fmla="*/ 14 w 311"/>
                  <a:gd name="T23" fmla="*/ 20 h 281"/>
                  <a:gd name="T24" fmla="*/ 25 w 311"/>
                  <a:gd name="T25" fmla="*/ 2 h 281"/>
                  <a:gd name="T26" fmla="*/ 25 w 311"/>
                  <a:gd name="T27" fmla="*/ 2 h 281"/>
                  <a:gd name="T28" fmla="*/ 27 w 311"/>
                  <a:gd name="T29" fmla="*/ 1 h 281"/>
                  <a:gd name="T30" fmla="*/ 29 w 311"/>
                  <a:gd name="T31" fmla="*/ 0 h 281"/>
                  <a:gd name="T32" fmla="*/ 29 w 311"/>
                  <a:gd name="T33" fmla="*/ 0 h 281"/>
                  <a:gd name="T34" fmla="*/ 32 w 311"/>
                  <a:gd name="T35" fmla="*/ 0 h 281"/>
                  <a:gd name="T36" fmla="*/ 34 w 311"/>
                  <a:gd name="T37" fmla="*/ 1 h 281"/>
                  <a:gd name="T38" fmla="*/ 308 w 311"/>
                  <a:gd name="T39" fmla="*/ 229 h 281"/>
                  <a:gd name="T40" fmla="*/ 308 w 311"/>
                  <a:gd name="T41" fmla="*/ 229 h 281"/>
                  <a:gd name="T42" fmla="*/ 309 w 311"/>
                  <a:gd name="T43" fmla="*/ 230 h 281"/>
                  <a:gd name="T44" fmla="*/ 311 w 311"/>
                  <a:gd name="T45" fmla="*/ 232 h 281"/>
                  <a:gd name="T46" fmla="*/ 311 w 311"/>
                  <a:gd name="T47" fmla="*/ 232 h 281"/>
                  <a:gd name="T48" fmla="*/ 309 w 311"/>
                  <a:gd name="T49" fmla="*/ 235 h 281"/>
                  <a:gd name="T50" fmla="*/ 308 w 311"/>
                  <a:gd name="T51" fmla="*/ 236 h 281"/>
                  <a:gd name="T52" fmla="*/ 265 w 311"/>
                  <a:gd name="T53" fmla="*/ 280 h 281"/>
                  <a:gd name="T54" fmla="*/ 265 w 311"/>
                  <a:gd name="T55" fmla="*/ 280 h 281"/>
                  <a:gd name="T56" fmla="*/ 263 w 311"/>
                  <a:gd name="T57" fmla="*/ 281 h 281"/>
                  <a:gd name="T58" fmla="*/ 262 w 311"/>
                  <a:gd name="T59" fmla="*/ 281 h 281"/>
                  <a:gd name="T60" fmla="*/ 262 w 311"/>
                  <a:gd name="T61" fmla="*/ 281 h 281"/>
                  <a:gd name="T62" fmla="*/ 13 w 311"/>
                  <a:gd name="T63" fmla="*/ 40 h 281"/>
                  <a:gd name="T64" fmla="*/ 262 w 311"/>
                  <a:gd name="T65" fmla="*/ 269 h 281"/>
                  <a:gd name="T66" fmla="*/ 297 w 311"/>
                  <a:gd name="T67" fmla="*/ 234 h 281"/>
                  <a:gd name="T68" fmla="*/ 32 w 311"/>
                  <a:gd name="T69" fmla="*/ 14 h 281"/>
                  <a:gd name="T70" fmla="*/ 32 w 311"/>
                  <a:gd name="T71" fmla="*/ 14 h 281"/>
                  <a:gd name="T72" fmla="*/ 23 w 311"/>
                  <a:gd name="T73" fmla="*/ 26 h 281"/>
                  <a:gd name="T74" fmla="*/ 13 w 311"/>
                  <a:gd name="T75" fmla="*/ 40 h 281"/>
                  <a:gd name="T76" fmla="*/ 13 w 311"/>
                  <a:gd name="T77" fmla="*/ 4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11" h="281">
                    <a:moveTo>
                      <a:pt x="262" y="281"/>
                    </a:moveTo>
                    <a:lnTo>
                      <a:pt x="262" y="281"/>
                    </a:lnTo>
                    <a:lnTo>
                      <a:pt x="259" y="281"/>
                    </a:lnTo>
                    <a:lnTo>
                      <a:pt x="258" y="280"/>
                    </a:lnTo>
                    <a:lnTo>
                      <a:pt x="2" y="44"/>
                    </a:lnTo>
                    <a:lnTo>
                      <a:pt x="2" y="44"/>
                    </a:lnTo>
                    <a:lnTo>
                      <a:pt x="0" y="43"/>
                    </a:lnTo>
                    <a:lnTo>
                      <a:pt x="0" y="40"/>
                    </a:lnTo>
                    <a:lnTo>
                      <a:pt x="0" y="38"/>
                    </a:lnTo>
                    <a:lnTo>
                      <a:pt x="2" y="36"/>
                    </a:lnTo>
                    <a:lnTo>
                      <a:pt x="2" y="36"/>
                    </a:lnTo>
                    <a:lnTo>
                      <a:pt x="14" y="20"/>
                    </a:lnTo>
                    <a:lnTo>
                      <a:pt x="25" y="2"/>
                    </a:lnTo>
                    <a:lnTo>
                      <a:pt x="25" y="2"/>
                    </a:lnTo>
                    <a:lnTo>
                      <a:pt x="27" y="1"/>
                    </a:lnTo>
                    <a:lnTo>
                      <a:pt x="29" y="0"/>
                    </a:lnTo>
                    <a:lnTo>
                      <a:pt x="29" y="0"/>
                    </a:lnTo>
                    <a:lnTo>
                      <a:pt x="32" y="0"/>
                    </a:lnTo>
                    <a:lnTo>
                      <a:pt x="34" y="1"/>
                    </a:lnTo>
                    <a:lnTo>
                      <a:pt x="308" y="229"/>
                    </a:lnTo>
                    <a:lnTo>
                      <a:pt x="308" y="229"/>
                    </a:lnTo>
                    <a:lnTo>
                      <a:pt x="309" y="230"/>
                    </a:lnTo>
                    <a:lnTo>
                      <a:pt x="311" y="232"/>
                    </a:lnTo>
                    <a:lnTo>
                      <a:pt x="311" y="232"/>
                    </a:lnTo>
                    <a:lnTo>
                      <a:pt x="309" y="235"/>
                    </a:lnTo>
                    <a:lnTo>
                      <a:pt x="308" y="236"/>
                    </a:lnTo>
                    <a:lnTo>
                      <a:pt x="265" y="280"/>
                    </a:lnTo>
                    <a:lnTo>
                      <a:pt x="265" y="280"/>
                    </a:lnTo>
                    <a:lnTo>
                      <a:pt x="263" y="281"/>
                    </a:lnTo>
                    <a:lnTo>
                      <a:pt x="262" y="281"/>
                    </a:lnTo>
                    <a:lnTo>
                      <a:pt x="262" y="281"/>
                    </a:lnTo>
                    <a:close/>
                    <a:moveTo>
                      <a:pt x="13" y="40"/>
                    </a:moveTo>
                    <a:lnTo>
                      <a:pt x="262" y="269"/>
                    </a:lnTo>
                    <a:lnTo>
                      <a:pt x="297" y="234"/>
                    </a:lnTo>
                    <a:lnTo>
                      <a:pt x="32" y="14"/>
                    </a:lnTo>
                    <a:lnTo>
                      <a:pt x="32" y="14"/>
                    </a:lnTo>
                    <a:lnTo>
                      <a:pt x="23" y="26"/>
                    </a:lnTo>
                    <a:lnTo>
                      <a:pt x="13" y="40"/>
                    </a:lnTo>
                    <a:lnTo>
                      <a:pt x="13" y="40"/>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8" name="Freeform 37"/>
              <p:cNvSpPr>
                <a:spLocks noEditPoints="1"/>
              </p:cNvSpPr>
              <p:nvPr/>
            </p:nvSpPr>
            <p:spPr bwMode="auto">
              <a:xfrm>
                <a:off x="8420922" y="3664888"/>
                <a:ext cx="287626" cy="316187"/>
              </a:xfrm>
              <a:custGeom>
                <a:avLst/>
                <a:gdLst>
                  <a:gd name="T0" fmla="*/ 233 w 282"/>
                  <a:gd name="T1" fmla="*/ 311 h 311"/>
                  <a:gd name="T2" fmla="*/ 233 w 282"/>
                  <a:gd name="T3" fmla="*/ 311 h 311"/>
                  <a:gd name="T4" fmla="*/ 233 w 282"/>
                  <a:gd name="T5" fmla="*/ 311 h 311"/>
                  <a:gd name="T6" fmla="*/ 233 w 282"/>
                  <a:gd name="T7" fmla="*/ 311 h 311"/>
                  <a:gd name="T8" fmla="*/ 230 w 282"/>
                  <a:gd name="T9" fmla="*/ 309 h 311"/>
                  <a:gd name="T10" fmla="*/ 229 w 282"/>
                  <a:gd name="T11" fmla="*/ 308 h 311"/>
                  <a:gd name="T12" fmla="*/ 1 w 282"/>
                  <a:gd name="T13" fmla="*/ 34 h 311"/>
                  <a:gd name="T14" fmla="*/ 1 w 282"/>
                  <a:gd name="T15" fmla="*/ 34 h 311"/>
                  <a:gd name="T16" fmla="*/ 0 w 282"/>
                  <a:gd name="T17" fmla="*/ 32 h 311"/>
                  <a:gd name="T18" fmla="*/ 0 w 282"/>
                  <a:gd name="T19" fmla="*/ 29 h 311"/>
                  <a:gd name="T20" fmla="*/ 0 w 282"/>
                  <a:gd name="T21" fmla="*/ 29 h 311"/>
                  <a:gd name="T22" fmla="*/ 1 w 282"/>
                  <a:gd name="T23" fmla="*/ 28 h 311"/>
                  <a:gd name="T24" fmla="*/ 3 w 282"/>
                  <a:gd name="T25" fmla="*/ 25 h 311"/>
                  <a:gd name="T26" fmla="*/ 3 w 282"/>
                  <a:gd name="T27" fmla="*/ 25 h 311"/>
                  <a:gd name="T28" fmla="*/ 20 w 282"/>
                  <a:gd name="T29" fmla="*/ 14 h 311"/>
                  <a:gd name="T30" fmla="*/ 37 w 282"/>
                  <a:gd name="T31" fmla="*/ 1 h 311"/>
                  <a:gd name="T32" fmla="*/ 37 w 282"/>
                  <a:gd name="T33" fmla="*/ 1 h 311"/>
                  <a:gd name="T34" fmla="*/ 38 w 282"/>
                  <a:gd name="T35" fmla="*/ 0 h 311"/>
                  <a:gd name="T36" fmla="*/ 40 w 282"/>
                  <a:gd name="T37" fmla="*/ 0 h 311"/>
                  <a:gd name="T38" fmla="*/ 42 w 282"/>
                  <a:gd name="T39" fmla="*/ 0 h 311"/>
                  <a:gd name="T40" fmla="*/ 44 w 282"/>
                  <a:gd name="T41" fmla="*/ 1 h 311"/>
                  <a:gd name="T42" fmla="*/ 280 w 282"/>
                  <a:gd name="T43" fmla="*/ 258 h 311"/>
                  <a:gd name="T44" fmla="*/ 280 w 282"/>
                  <a:gd name="T45" fmla="*/ 258 h 311"/>
                  <a:gd name="T46" fmla="*/ 282 w 282"/>
                  <a:gd name="T47" fmla="*/ 259 h 311"/>
                  <a:gd name="T48" fmla="*/ 282 w 282"/>
                  <a:gd name="T49" fmla="*/ 262 h 311"/>
                  <a:gd name="T50" fmla="*/ 282 w 282"/>
                  <a:gd name="T51" fmla="*/ 263 h 311"/>
                  <a:gd name="T52" fmla="*/ 280 w 282"/>
                  <a:gd name="T53" fmla="*/ 265 h 311"/>
                  <a:gd name="T54" fmla="*/ 236 w 282"/>
                  <a:gd name="T55" fmla="*/ 308 h 311"/>
                  <a:gd name="T56" fmla="*/ 236 w 282"/>
                  <a:gd name="T57" fmla="*/ 308 h 311"/>
                  <a:gd name="T58" fmla="*/ 235 w 282"/>
                  <a:gd name="T59" fmla="*/ 309 h 311"/>
                  <a:gd name="T60" fmla="*/ 233 w 282"/>
                  <a:gd name="T61" fmla="*/ 311 h 311"/>
                  <a:gd name="T62" fmla="*/ 233 w 282"/>
                  <a:gd name="T63" fmla="*/ 311 h 311"/>
                  <a:gd name="T64" fmla="*/ 14 w 282"/>
                  <a:gd name="T65" fmla="*/ 32 h 311"/>
                  <a:gd name="T66" fmla="*/ 233 w 282"/>
                  <a:gd name="T67" fmla="*/ 297 h 311"/>
                  <a:gd name="T68" fmla="*/ 269 w 282"/>
                  <a:gd name="T69" fmla="*/ 262 h 311"/>
                  <a:gd name="T70" fmla="*/ 39 w 282"/>
                  <a:gd name="T71" fmla="*/ 13 h 311"/>
                  <a:gd name="T72" fmla="*/ 39 w 282"/>
                  <a:gd name="T73" fmla="*/ 13 h 311"/>
                  <a:gd name="T74" fmla="*/ 26 w 282"/>
                  <a:gd name="T75" fmla="*/ 23 h 311"/>
                  <a:gd name="T76" fmla="*/ 14 w 282"/>
                  <a:gd name="T77" fmla="*/ 32 h 311"/>
                  <a:gd name="T78" fmla="*/ 14 w 282"/>
                  <a:gd name="T79" fmla="*/ 3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2" h="311">
                    <a:moveTo>
                      <a:pt x="233" y="311"/>
                    </a:moveTo>
                    <a:lnTo>
                      <a:pt x="233" y="311"/>
                    </a:lnTo>
                    <a:lnTo>
                      <a:pt x="233" y="311"/>
                    </a:lnTo>
                    <a:lnTo>
                      <a:pt x="233" y="311"/>
                    </a:lnTo>
                    <a:lnTo>
                      <a:pt x="230" y="309"/>
                    </a:lnTo>
                    <a:lnTo>
                      <a:pt x="229" y="308"/>
                    </a:lnTo>
                    <a:lnTo>
                      <a:pt x="1" y="34"/>
                    </a:lnTo>
                    <a:lnTo>
                      <a:pt x="1" y="34"/>
                    </a:lnTo>
                    <a:lnTo>
                      <a:pt x="0" y="32"/>
                    </a:lnTo>
                    <a:lnTo>
                      <a:pt x="0" y="29"/>
                    </a:lnTo>
                    <a:lnTo>
                      <a:pt x="0" y="29"/>
                    </a:lnTo>
                    <a:lnTo>
                      <a:pt x="1" y="28"/>
                    </a:lnTo>
                    <a:lnTo>
                      <a:pt x="3" y="25"/>
                    </a:lnTo>
                    <a:lnTo>
                      <a:pt x="3" y="25"/>
                    </a:lnTo>
                    <a:lnTo>
                      <a:pt x="20" y="14"/>
                    </a:lnTo>
                    <a:lnTo>
                      <a:pt x="37" y="1"/>
                    </a:lnTo>
                    <a:lnTo>
                      <a:pt x="37" y="1"/>
                    </a:lnTo>
                    <a:lnTo>
                      <a:pt x="38" y="0"/>
                    </a:lnTo>
                    <a:lnTo>
                      <a:pt x="40" y="0"/>
                    </a:lnTo>
                    <a:lnTo>
                      <a:pt x="42" y="0"/>
                    </a:lnTo>
                    <a:lnTo>
                      <a:pt x="44" y="1"/>
                    </a:lnTo>
                    <a:lnTo>
                      <a:pt x="280" y="258"/>
                    </a:lnTo>
                    <a:lnTo>
                      <a:pt x="280" y="258"/>
                    </a:lnTo>
                    <a:lnTo>
                      <a:pt x="282" y="259"/>
                    </a:lnTo>
                    <a:lnTo>
                      <a:pt x="282" y="262"/>
                    </a:lnTo>
                    <a:lnTo>
                      <a:pt x="282" y="263"/>
                    </a:lnTo>
                    <a:lnTo>
                      <a:pt x="280" y="265"/>
                    </a:lnTo>
                    <a:lnTo>
                      <a:pt x="236" y="308"/>
                    </a:lnTo>
                    <a:lnTo>
                      <a:pt x="236" y="308"/>
                    </a:lnTo>
                    <a:lnTo>
                      <a:pt x="235" y="309"/>
                    </a:lnTo>
                    <a:lnTo>
                      <a:pt x="233" y="311"/>
                    </a:lnTo>
                    <a:lnTo>
                      <a:pt x="233" y="311"/>
                    </a:lnTo>
                    <a:close/>
                    <a:moveTo>
                      <a:pt x="14" y="32"/>
                    </a:moveTo>
                    <a:lnTo>
                      <a:pt x="233" y="297"/>
                    </a:lnTo>
                    <a:lnTo>
                      <a:pt x="269" y="262"/>
                    </a:lnTo>
                    <a:lnTo>
                      <a:pt x="39" y="13"/>
                    </a:lnTo>
                    <a:lnTo>
                      <a:pt x="39" y="13"/>
                    </a:lnTo>
                    <a:lnTo>
                      <a:pt x="26" y="23"/>
                    </a:lnTo>
                    <a:lnTo>
                      <a:pt x="14" y="32"/>
                    </a:lnTo>
                    <a:lnTo>
                      <a:pt x="14" y="32"/>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19" name="Freeform 38"/>
              <p:cNvSpPr>
                <a:spLocks/>
              </p:cNvSpPr>
              <p:nvPr/>
            </p:nvSpPr>
            <p:spPr bwMode="auto">
              <a:xfrm>
                <a:off x="8049660" y="3050875"/>
                <a:ext cx="208070" cy="93835"/>
              </a:xfrm>
              <a:custGeom>
                <a:avLst/>
                <a:gdLst>
                  <a:gd name="T0" fmla="*/ 6 w 203"/>
                  <a:gd name="T1" fmla="*/ 92 h 92"/>
                  <a:gd name="T2" fmla="*/ 0 w 203"/>
                  <a:gd name="T3" fmla="*/ 83 h 92"/>
                  <a:gd name="T4" fmla="*/ 0 w 203"/>
                  <a:gd name="T5" fmla="*/ 83 h 92"/>
                  <a:gd name="T6" fmla="*/ 23 w 203"/>
                  <a:gd name="T7" fmla="*/ 68 h 92"/>
                  <a:gd name="T8" fmla="*/ 46 w 203"/>
                  <a:gd name="T9" fmla="*/ 54 h 92"/>
                  <a:gd name="T10" fmla="*/ 72 w 203"/>
                  <a:gd name="T11" fmla="*/ 42 h 92"/>
                  <a:gd name="T12" fmla="*/ 97 w 203"/>
                  <a:gd name="T13" fmla="*/ 31 h 92"/>
                  <a:gd name="T14" fmla="*/ 122 w 203"/>
                  <a:gd name="T15" fmla="*/ 20 h 92"/>
                  <a:gd name="T16" fmla="*/ 148 w 203"/>
                  <a:gd name="T17" fmla="*/ 12 h 92"/>
                  <a:gd name="T18" fmla="*/ 175 w 203"/>
                  <a:gd name="T19" fmla="*/ 5 h 92"/>
                  <a:gd name="T20" fmla="*/ 201 w 203"/>
                  <a:gd name="T21" fmla="*/ 0 h 92"/>
                  <a:gd name="T22" fmla="*/ 203 w 203"/>
                  <a:gd name="T23" fmla="*/ 10 h 92"/>
                  <a:gd name="T24" fmla="*/ 203 w 203"/>
                  <a:gd name="T25" fmla="*/ 10 h 92"/>
                  <a:gd name="T26" fmla="*/ 177 w 203"/>
                  <a:gd name="T27" fmla="*/ 15 h 92"/>
                  <a:gd name="T28" fmla="*/ 151 w 203"/>
                  <a:gd name="T29" fmla="*/ 23 h 92"/>
                  <a:gd name="T30" fmla="*/ 126 w 203"/>
                  <a:gd name="T31" fmla="*/ 31 h 92"/>
                  <a:gd name="T32" fmla="*/ 100 w 203"/>
                  <a:gd name="T33" fmla="*/ 41 h 92"/>
                  <a:gd name="T34" fmla="*/ 75 w 203"/>
                  <a:gd name="T35" fmla="*/ 51 h 92"/>
                  <a:gd name="T36" fmla="*/ 51 w 203"/>
                  <a:gd name="T37" fmla="*/ 63 h 92"/>
                  <a:gd name="T38" fmla="*/ 29 w 203"/>
                  <a:gd name="T39" fmla="*/ 77 h 92"/>
                  <a:gd name="T40" fmla="*/ 6 w 203"/>
                  <a:gd name="T41" fmla="*/ 92 h 92"/>
                  <a:gd name="T42" fmla="*/ 6 w 203"/>
                  <a:gd name="T43"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92">
                    <a:moveTo>
                      <a:pt x="6" y="92"/>
                    </a:moveTo>
                    <a:lnTo>
                      <a:pt x="0" y="83"/>
                    </a:lnTo>
                    <a:lnTo>
                      <a:pt x="0" y="83"/>
                    </a:lnTo>
                    <a:lnTo>
                      <a:pt x="23" y="68"/>
                    </a:lnTo>
                    <a:lnTo>
                      <a:pt x="46" y="54"/>
                    </a:lnTo>
                    <a:lnTo>
                      <a:pt x="72" y="42"/>
                    </a:lnTo>
                    <a:lnTo>
                      <a:pt x="97" y="31"/>
                    </a:lnTo>
                    <a:lnTo>
                      <a:pt x="122" y="20"/>
                    </a:lnTo>
                    <a:lnTo>
                      <a:pt x="148" y="12"/>
                    </a:lnTo>
                    <a:lnTo>
                      <a:pt x="175" y="5"/>
                    </a:lnTo>
                    <a:lnTo>
                      <a:pt x="201" y="0"/>
                    </a:lnTo>
                    <a:lnTo>
                      <a:pt x="203" y="10"/>
                    </a:lnTo>
                    <a:lnTo>
                      <a:pt x="203" y="10"/>
                    </a:lnTo>
                    <a:lnTo>
                      <a:pt x="177" y="15"/>
                    </a:lnTo>
                    <a:lnTo>
                      <a:pt x="151" y="23"/>
                    </a:lnTo>
                    <a:lnTo>
                      <a:pt x="126" y="31"/>
                    </a:lnTo>
                    <a:lnTo>
                      <a:pt x="100" y="41"/>
                    </a:lnTo>
                    <a:lnTo>
                      <a:pt x="75" y="51"/>
                    </a:lnTo>
                    <a:lnTo>
                      <a:pt x="51" y="63"/>
                    </a:lnTo>
                    <a:lnTo>
                      <a:pt x="29" y="77"/>
                    </a:lnTo>
                    <a:lnTo>
                      <a:pt x="6" y="92"/>
                    </a:lnTo>
                    <a:lnTo>
                      <a:pt x="6" y="92"/>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0" name="Freeform 39"/>
              <p:cNvSpPr>
                <a:spLocks/>
              </p:cNvSpPr>
              <p:nvPr/>
            </p:nvSpPr>
            <p:spPr bwMode="auto">
              <a:xfrm>
                <a:off x="7851787" y="3250785"/>
                <a:ext cx="95876" cy="206030"/>
              </a:xfrm>
              <a:custGeom>
                <a:avLst/>
                <a:gdLst>
                  <a:gd name="T0" fmla="*/ 11 w 93"/>
                  <a:gd name="T1" fmla="*/ 202 h 202"/>
                  <a:gd name="T2" fmla="*/ 0 w 93"/>
                  <a:gd name="T3" fmla="*/ 201 h 202"/>
                  <a:gd name="T4" fmla="*/ 0 w 93"/>
                  <a:gd name="T5" fmla="*/ 201 h 202"/>
                  <a:gd name="T6" fmla="*/ 6 w 93"/>
                  <a:gd name="T7" fmla="*/ 174 h 202"/>
                  <a:gd name="T8" fmla="*/ 13 w 93"/>
                  <a:gd name="T9" fmla="*/ 147 h 202"/>
                  <a:gd name="T10" fmla="*/ 21 w 93"/>
                  <a:gd name="T11" fmla="*/ 122 h 202"/>
                  <a:gd name="T12" fmla="*/ 30 w 93"/>
                  <a:gd name="T13" fmla="*/ 96 h 202"/>
                  <a:gd name="T14" fmla="*/ 42 w 93"/>
                  <a:gd name="T15" fmla="*/ 70 h 202"/>
                  <a:gd name="T16" fmla="*/ 54 w 93"/>
                  <a:gd name="T17" fmla="*/ 47 h 202"/>
                  <a:gd name="T18" fmla="*/ 68 w 93"/>
                  <a:gd name="T19" fmla="*/ 23 h 202"/>
                  <a:gd name="T20" fmla="*/ 84 w 93"/>
                  <a:gd name="T21" fmla="*/ 0 h 202"/>
                  <a:gd name="T22" fmla="*/ 93 w 93"/>
                  <a:gd name="T23" fmla="*/ 6 h 202"/>
                  <a:gd name="T24" fmla="*/ 93 w 93"/>
                  <a:gd name="T25" fmla="*/ 6 h 202"/>
                  <a:gd name="T26" fmla="*/ 78 w 93"/>
                  <a:gd name="T27" fmla="*/ 29 h 202"/>
                  <a:gd name="T28" fmla="*/ 64 w 93"/>
                  <a:gd name="T29" fmla="*/ 52 h 202"/>
                  <a:gd name="T30" fmla="*/ 52 w 93"/>
                  <a:gd name="T31" fmla="*/ 76 h 202"/>
                  <a:gd name="T32" fmla="*/ 40 w 93"/>
                  <a:gd name="T33" fmla="*/ 101 h 202"/>
                  <a:gd name="T34" fmla="*/ 32 w 93"/>
                  <a:gd name="T35" fmla="*/ 125 h 202"/>
                  <a:gd name="T36" fmla="*/ 23 w 93"/>
                  <a:gd name="T37" fmla="*/ 151 h 202"/>
                  <a:gd name="T38" fmla="*/ 16 w 93"/>
                  <a:gd name="T39" fmla="*/ 176 h 202"/>
                  <a:gd name="T40" fmla="*/ 11 w 93"/>
                  <a:gd name="T41" fmla="*/ 202 h 202"/>
                  <a:gd name="T42" fmla="*/ 11 w 93"/>
                  <a:gd name="T43"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 h="202">
                    <a:moveTo>
                      <a:pt x="11" y="202"/>
                    </a:moveTo>
                    <a:lnTo>
                      <a:pt x="0" y="201"/>
                    </a:lnTo>
                    <a:lnTo>
                      <a:pt x="0" y="201"/>
                    </a:lnTo>
                    <a:lnTo>
                      <a:pt x="6" y="174"/>
                    </a:lnTo>
                    <a:lnTo>
                      <a:pt x="13" y="147"/>
                    </a:lnTo>
                    <a:lnTo>
                      <a:pt x="21" y="122"/>
                    </a:lnTo>
                    <a:lnTo>
                      <a:pt x="30" y="96"/>
                    </a:lnTo>
                    <a:lnTo>
                      <a:pt x="42" y="70"/>
                    </a:lnTo>
                    <a:lnTo>
                      <a:pt x="54" y="47"/>
                    </a:lnTo>
                    <a:lnTo>
                      <a:pt x="68" y="23"/>
                    </a:lnTo>
                    <a:lnTo>
                      <a:pt x="84" y="0"/>
                    </a:lnTo>
                    <a:lnTo>
                      <a:pt x="93" y="6"/>
                    </a:lnTo>
                    <a:lnTo>
                      <a:pt x="93" y="6"/>
                    </a:lnTo>
                    <a:lnTo>
                      <a:pt x="78" y="29"/>
                    </a:lnTo>
                    <a:lnTo>
                      <a:pt x="64" y="52"/>
                    </a:lnTo>
                    <a:lnTo>
                      <a:pt x="52" y="76"/>
                    </a:lnTo>
                    <a:lnTo>
                      <a:pt x="40" y="101"/>
                    </a:lnTo>
                    <a:lnTo>
                      <a:pt x="32" y="125"/>
                    </a:lnTo>
                    <a:lnTo>
                      <a:pt x="23" y="151"/>
                    </a:lnTo>
                    <a:lnTo>
                      <a:pt x="16" y="176"/>
                    </a:lnTo>
                    <a:lnTo>
                      <a:pt x="11" y="202"/>
                    </a:lnTo>
                    <a:lnTo>
                      <a:pt x="11" y="202"/>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1" name="Freeform 40"/>
              <p:cNvSpPr>
                <a:spLocks/>
              </p:cNvSpPr>
              <p:nvPr/>
            </p:nvSpPr>
            <p:spPr bwMode="auto">
              <a:xfrm>
                <a:off x="7851787" y="3615929"/>
                <a:ext cx="95876" cy="206030"/>
              </a:xfrm>
              <a:custGeom>
                <a:avLst/>
                <a:gdLst>
                  <a:gd name="T0" fmla="*/ 84 w 93"/>
                  <a:gd name="T1" fmla="*/ 202 h 202"/>
                  <a:gd name="T2" fmla="*/ 84 w 93"/>
                  <a:gd name="T3" fmla="*/ 202 h 202"/>
                  <a:gd name="T4" fmla="*/ 68 w 93"/>
                  <a:gd name="T5" fmla="*/ 180 h 202"/>
                  <a:gd name="T6" fmla="*/ 54 w 93"/>
                  <a:gd name="T7" fmla="*/ 156 h 202"/>
                  <a:gd name="T8" fmla="*/ 42 w 93"/>
                  <a:gd name="T9" fmla="*/ 132 h 202"/>
                  <a:gd name="T10" fmla="*/ 30 w 93"/>
                  <a:gd name="T11" fmla="*/ 107 h 202"/>
                  <a:gd name="T12" fmla="*/ 20 w 93"/>
                  <a:gd name="T13" fmla="*/ 82 h 202"/>
                  <a:gd name="T14" fmla="*/ 13 w 93"/>
                  <a:gd name="T15" fmla="*/ 55 h 202"/>
                  <a:gd name="T16" fmla="*/ 5 w 93"/>
                  <a:gd name="T17" fmla="*/ 29 h 202"/>
                  <a:gd name="T18" fmla="*/ 0 w 93"/>
                  <a:gd name="T19" fmla="*/ 1 h 202"/>
                  <a:gd name="T20" fmla="*/ 11 w 93"/>
                  <a:gd name="T21" fmla="*/ 0 h 202"/>
                  <a:gd name="T22" fmla="*/ 11 w 93"/>
                  <a:gd name="T23" fmla="*/ 0 h 202"/>
                  <a:gd name="T24" fmla="*/ 16 w 93"/>
                  <a:gd name="T25" fmla="*/ 27 h 202"/>
                  <a:gd name="T26" fmla="*/ 23 w 93"/>
                  <a:gd name="T27" fmla="*/ 52 h 202"/>
                  <a:gd name="T28" fmla="*/ 32 w 93"/>
                  <a:gd name="T29" fmla="*/ 78 h 202"/>
                  <a:gd name="T30" fmla="*/ 40 w 93"/>
                  <a:gd name="T31" fmla="*/ 103 h 202"/>
                  <a:gd name="T32" fmla="*/ 52 w 93"/>
                  <a:gd name="T33" fmla="*/ 127 h 202"/>
                  <a:gd name="T34" fmla="*/ 64 w 93"/>
                  <a:gd name="T35" fmla="*/ 151 h 202"/>
                  <a:gd name="T36" fmla="*/ 78 w 93"/>
                  <a:gd name="T37" fmla="*/ 175 h 202"/>
                  <a:gd name="T38" fmla="*/ 93 w 93"/>
                  <a:gd name="T39" fmla="*/ 197 h 202"/>
                  <a:gd name="T40" fmla="*/ 84 w 93"/>
                  <a:gd name="T41"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202">
                    <a:moveTo>
                      <a:pt x="84" y="202"/>
                    </a:moveTo>
                    <a:lnTo>
                      <a:pt x="84" y="202"/>
                    </a:lnTo>
                    <a:lnTo>
                      <a:pt x="68" y="180"/>
                    </a:lnTo>
                    <a:lnTo>
                      <a:pt x="54" y="156"/>
                    </a:lnTo>
                    <a:lnTo>
                      <a:pt x="42" y="132"/>
                    </a:lnTo>
                    <a:lnTo>
                      <a:pt x="30" y="107"/>
                    </a:lnTo>
                    <a:lnTo>
                      <a:pt x="20" y="82"/>
                    </a:lnTo>
                    <a:lnTo>
                      <a:pt x="13" y="55"/>
                    </a:lnTo>
                    <a:lnTo>
                      <a:pt x="5" y="29"/>
                    </a:lnTo>
                    <a:lnTo>
                      <a:pt x="0" y="1"/>
                    </a:lnTo>
                    <a:lnTo>
                      <a:pt x="11" y="0"/>
                    </a:lnTo>
                    <a:lnTo>
                      <a:pt x="11" y="0"/>
                    </a:lnTo>
                    <a:lnTo>
                      <a:pt x="16" y="27"/>
                    </a:lnTo>
                    <a:lnTo>
                      <a:pt x="23" y="52"/>
                    </a:lnTo>
                    <a:lnTo>
                      <a:pt x="32" y="78"/>
                    </a:lnTo>
                    <a:lnTo>
                      <a:pt x="40" y="103"/>
                    </a:lnTo>
                    <a:lnTo>
                      <a:pt x="52" y="127"/>
                    </a:lnTo>
                    <a:lnTo>
                      <a:pt x="64" y="151"/>
                    </a:lnTo>
                    <a:lnTo>
                      <a:pt x="78" y="175"/>
                    </a:lnTo>
                    <a:lnTo>
                      <a:pt x="93" y="197"/>
                    </a:lnTo>
                    <a:lnTo>
                      <a:pt x="84" y="202"/>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2" name="Freeform 41"/>
              <p:cNvSpPr>
                <a:spLocks/>
              </p:cNvSpPr>
              <p:nvPr/>
            </p:nvSpPr>
            <p:spPr bwMode="auto">
              <a:xfrm>
                <a:off x="8053739" y="3930074"/>
                <a:ext cx="206030" cy="91797"/>
              </a:xfrm>
              <a:custGeom>
                <a:avLst/>
                <a:gdLst>
                  <a:gd name="T0" fmla="*/ 200 w 203"/>
                  <a:gd name="T1" fmla="*/ 90 h 90"/>
                  <a:gd name="T2" fmla="*/ 200 w 203"/>
                  <a:gd name="T3" fmla="*/ 90 h 90"/>
                  <a:gd name="T4" fmla="*/ 174 w 203"/>
                  <a:gd name="T5" fmla="*/ 85 h 90"/>
                  <a:gd name="T6" fmla="*/ 147 w 203"/>
                  <a:gd name="T7" fmla="*/ 79 h 90"/>
                  <a:gd name="T8" fmla="*/ 121 w 203"/>
                  <a:gd name="T9" fmla="*/ 70 h 90"/>
                  <a:gd name="T10" fmla="*/ 96 w 203"/>
                  <a:gd name="T11" fmla="*/ 62 h 90"/>
                  <a:gd name="T12" fmla="*/ 71 w 203"/>
                  <a:gd name="T13" fmla="*/ 50 h 90"/>
                  <a:gd name="T14" fmla="*/ 47 w 203"/>
                  <a:gd name="T15" fmla="*/ 38 h 90"/>
                  <a:gd name="T16" fmla="*/ 23 w 203"/>
                  <a:gd name="T17" fmla="*/ 24 h 90"/>
                  <a:gd name="T18" fmla="*/ 0 w 203"/>
                  <a:gd name="T19" fmla="*/ 9 h 90"/>
                  <a:gd name="T20" fmla="*/ 7 w 203"/>
                  <a:gd name="T21" fmla="*/ 0 h 90"/>
                  <a:gd name="T22" fmla="*/ 7 w 203"/>
                  <a:gd name="T23" fmla="*/ 0 h 90"/>
                  <a:gd name="T24" fmla="*/ 28 w 203"/>
                  <a:gd name="T25" fmla="*/ 14 h 90"/>
                  <a:gd name="T26" fmla="*/ 52 w 203"/>
                  <a:gd name="T27" fmla="*/ 28 h 90"/>
                  <a:gd name="T28" fmla="*/ 76 w 203"/>
                  <a:gd name="T29" fmla="*/ 40 h 90"/>
                  <a:gd name="T30" fmla="*/ 100 w 203"/>
                  <a:gd name="T31" fmla="*/ 52 h 90"/>
                  <a:gd name="T32" fmla="*/ 125 w 203"/>
                  <a:gd name="T33" fmla="*/ 60 h 90"/>
                  <a:gd name="T34" fmla="*/ 150 w 203"/>
                  <a:gd name="T35" fmla="*/ 69 h 90"/>
                  <a:gd name="T36" fmla="*/ 176 w 203"/>
                  <a:gd name="T37" fmla="*/ 75 h 90"/>
                  <a:gd name="T38" fmla="*/ 203 w 203"/>
                  <a:gd name="T39" fmla="*/ 80 h 90"/>
                  <a:gd name="T40" fmla="*/ 200 w 203"/>
                  <a:gd name="T41"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3" h="90">
                    <a:moveTo>
                      <a:pt x="200" y="90"/>
                    </a:moveTo>
                    <a:lnTo>
                      <a:pt x="200" y="90"/>
                    </a:lnTo>
                    <a:lnTo>
                      <a:pt x="174" y="85"/>
                    </a:lnTo>
                    <a:lnTo>
                      <a:pt x="147" y="79"/>
                    </a:lnTo>
                    <a:lnTo>
                      <a:pt x="121" y="70"/>
                    </a:lnTo>
                    <a:lnTo>
                      <a:pt x="96" y="62"/>
                    </a:lnTo>
                    <a:lnTo>
                      <a:pt x="71" y="50"/>
                    </a:lnTo>
                    <a:lnTo>
                      <a:pt x="47" y="38"/>
                    </a:lnTo>
                    <a:lnTo>
                      <a:pt x="23" y="24"/>
                    </a:lnTo>
                    <a:lnTo>
                      <a:pt x="0" y="9"/>
                    </a:lnTo>
                    <a:lnTo>
                      <a:pt x="7" y="0"/>
                    </a:lnTo>
                    <a:lnTo>
                      <a:pt x="7" y="0"/>
                    </a:lnTo>
                    <a:lnTo>
                      <a:pt x="28" y="14"/>
                    </a:lnTo>
                    <a:lnTo>
                      <a:pt x="52" y="28"/>
                    </a:lnTo>
                    <a:lnTo>
                      <a:pt x="76" y="40"/>
                    </a:lnTo>
                    <a:lnTo>
                      <a:pt x="100" y="52"/>
                    </a:lnTo>
                    <a:lnTo>
                      <a:pt x="125" y="60"/>
                    </a:lnTo>
                    <a:lnTo>
                      <a:pt x="150" y="69"/>
                    </a:lnTo>
                    <a:lnTo>
                      <a:pt x="176" y="75"/>
                    </a:lnTo>
                    <a:lnTo>
                      <a:pt x="203" y="80"/>
                    </a:lnTo>
                    <a:lnTo>
                      <a:pt x="200" y="90"/>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3" name="Freeform 42"/>
              <p:cNvSpPr>
                <a:spLocks/>
              </p:cNvSpPr>
              <p:nvPr/>
            </p:nvSpPr>
            <p:spPr bwMode="auto">
              <a:xfrm>
                <a:off x="8414801" y="3928035"/>
                <a:ext cx="210111" cy="93835"/>
              </a:xfrm>
              <a:custGeom>
                <a:avLst/>
                <a:gdLst>
                  <a:gd name="T0" fmla="*/ 1 w 206"/>
                  <a:gd name="T1" fmla="*/ 93 h 93"/>
                  <a:gd name="T2" fmla="*/ 0 w 206"/>
                  <a:gd name="T3" fmla="*/ 81 h 93"/>
                  <a:gd name="T4" fmla="*/ 0 w 206"/>
                  <a:gd name="T5" fmla="*/ 81 h 93"/>
                  <a:gd name="T6" fmla="*/ 26 w 206"/>
                  <a:gd name="T7" fmla="*/ 76 h 93"/>
                  <a:gd name="T8" fmla="*/ 53 w 206"/>
                  <a:gd name="T9" fmla="*/ 70 h 93"/>
                  <a:gd name="T10" fmla="*/ 79 w 206"/>
                  <a:gd name="T11" fmla="*/ 61 h 93"/>
                  <a:gd name="T12" fmla="*/ 104 w 206"/>
                  <a:gd name="T13" fmla="*/ 53 h 93"/>
                  <a:gd name="T14" fmla="*/ 129 w 206"/>
                  <a:gd name="T15" fmla="*/ 41 h 93"/>
                  <a:gd name="T16" fmla="*/ 153 w 206"/>
                  <a:gd name="T17" fmla="*/ 29 h 93"/>
                  <a:gd name="T18" fmla="*/ 177 w 206"/>
                  <a:gd name="T19" fmla="*/ 15 h 93"/>
                  <a:gd name="T20" fmla="*/ 200 w 206"/>
                  <a:gd name="T21" fmla="*/ 0 h 93"/>
                  <a:gd name="T22" fmla="*/ 206 w 206"/>
                  <a:gd name="T23" fmla="*/ 9 h 93"/>
                  <a:gd name="T24" fmla="*/ 206 w 206"/>
                  <a:gd name="T25" fmla="*/ 9 h 93"/>
                  <a:gd name="T26" fmla="*/ 183 w 206"/>
                  <a:gd name="T27" fmla="*/ 24 h 93"/>
                  <a:gd name="T28" fmla="*/ 159 w 206"/>
                  <a:gd name="T29" fmla="*/ 37 h 93"/>
                  <a:gd name="T30" fmla="*/ 134 w 206"/>
                  <a:gd name="T31" fmla="*/ 51 h 93"/>
                  <a:gd name="T32" fmla="*/ 109 w 206"/>
                  <a:gd name="T33" fmla="*/ 63 h 93"/>
                  <a:gd name="T34" fmla="*/ 83 w 206"/>
                  <a:gd name="T35" fmla="*/ 71 h 93"/>
                  <a:gd name="T36" fmla="*/ 56 w 206"/>
                  <a:gd name="T37" fmla="*/ 80 h 93"/>
                  <a:gd name="T38" fmla="*/ 29 w 206"/>
                  <a:gd name="T39" fmla="*/ 88 h 93"/>
                  <a:gd name="T40" fmla="*/ 1 w 206"/>
                  <a:gd name="T41" fmla="*/ 93 h 93"/>
                  <a:gd name="T42" fmla="*/ 1 w 206"/>
                  <a:gd name="T43"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6" h="93">
                    <a:moveTo>
                      <a:pt x="1" y="93"/>
                    </a:moveTo>
                    <a:lnTo>
                      <a:pt x="0" y="81"/>
                    </a:lnTo>
                    <a:lnTo>
                      <a:pt x="0" y="81"/>
                    </a:lnTo>
                    <a:lnTo>
                      <a:pt x="26" y="76"/>
                    </a:lnTo>
                    <a:lnTo>
                      <a:pt x="53" y="70"/>
                    </a:lnTo>
                    <a:lnTo>
                      <a:pt x="79" y="61"/>
                    </a:lnTo>
                    <a:lnTo>
                      <a:pt x="104" y="53"/>
                    </a:lnTo>
                    <a:lnTo>
                      <a:pt x="129" y="41"/>
                    </a:lnTo>
                    <a:lnTo>
                      <a:pt x="153" y="29"/>
                    </a:lnTo>
                    <a:lnTo>
                      <a:pt x="177" y="15"/>
                    </a:lnTo>
                    <a:lnTo>
                      <a:pt x="200" y="0"/>
                    </a:lnTo>
                    <a:lnTo>
                      <a:pt x="206" y="9"/>
                    </a:lnTo>
                    <a:lnTo>
                      <a:pt x="206" y="9"/>
                    </a:lnTo>
                    <a:lnTo>
                      <a:pt x="183" y="24"/>
                    </a:lnTo>
                    <a:lnTo>
                      <a:pt x="159" y="37"/>
                    </a:lnTo>
                    <a:lnTo>
                      <a:pt x="134" y="51"/>
                    </a:lnTo>
                    <a:lnTo>
                      <a:pt x="109" y="63"/>
                    </a:lnTo>
                    <a:lnTo>
                      <a:pt x="83" y="71"/>
                    </a:lnTo>
                    <a:lnTo>
                      <a:pt x="56" y="80"/>
                    </a:lnTo>
                    <a:lnTo>
                      <a:pt x="29" y="88"/>
                    </a:lnTo>
                    <a:lnTo>
                      <a:pt x="1" y="93"/>
                    </a:lnTo>
                    <a:lnTo>
                      <a:pt x="1" y="93"/>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4" name="Freeform 43"/>
              <p:cNvSpPr>
                <a:spLocks/>
              </p:cNvSpPr>
              <p:nvPr/>
            </p:nvSpPr>
            <p:spPr bwMode="auto">
              <a:xfrm>
                <a:off x="8728947" y="3615929"/>
                <a:ext cx="93835" cy="206030"/>
              </a:xfrm>
              <a:custGeom>
                <a:avLst/>
                <a:gdLst>
                  <a:gd name="T0" fmla="*/ 8 w 93"/>
                  <a:gd name="T1" fmla="*/ 203 h 203"/>
                  <a:gd name="T2" fmla="*/ 0 w 93"/>
                  <a:gd name="T3" fmla="*/ 196 h 203"/>
                  <a:gd name="T4" fmla="*/ 0 w 93"/>
                  <a:gd name="T5" fmla="*/ 196 h 203"/>
                  <a:gd name="T6" fmla="*/ 15 w 93"/>
                  <a:gd name="T7" fmla="*/ 175 h 203"/>
                  <a:gd name="T8" fmla="*/ 29 w 93"/>
                  <a:gd name="T9" fmla="*/ 151 h 203"/>
                  <a:gd name="T10" fmla="*/ 41 w 93"/>
                  <a:gd name="T11" fmla="*/ 127 h 203"/>
                  <a:gd name="T12" fmla="*/ 52 w 93"/>
                  <a:gd name="T13" fmla="*/ 103 h 203"/>
                  <a:gd name="T14" fmla="*/ 62 w 93"/>
                  <a:gd name="T15" fmla="*/ 78 h 203"/>
                  <a:gd name="T16" fmla="*/ 70 w 93"/>
                  <a:gd name="T17" fmla="*/ 52 h 203"/>
                  <a:gd name="T18" fmla="*/ 78 w 93"/>
                  <a:gd name="T19" fmla="*/ 27 h 203"/>
                  <a:gd name="T20" fmla="*/ 83 w 93"/>
                  <a:gd name="T21" fmla="*/ 0 h 203"/>
                  <a:gd name="T22" fmla="*/ 93 w 93"/>
                  <a:gd name="T23" fmla="*/ 2 h 203"/>
                  <a:gd name="T24" fmla="*/ 93 w 93"/>
                  <a:gd name="T25" fmla="*/ 2 h 203"/>
                  <a:gd name="T26" fmla="*/ 88 w 93"/>
                  <a:gd name="T27" fmla="*/ 29 h 203"/>
                  <a:gd name="T28" fmla="*/ 80 w 93"/>
                  <a:gd name="T29" fmla="*/ 56 h 203"/>
                  <a:gd name="T30" fmla="*/ 73 w 93"/>
                  <a:gd name="T31" fmla="*/ 82 h 203"/>
                  <a:gd name="T32" fmla="*/ 62 w 93"/>
                  <a:gd name="T33" fmla="*/ 107 h 203"/>
                  <a:gd name="T34" fmla="*/ 51 w 93"/>
                  <a:gd name="T35" fmla="*/ 132 h 203"/>
                  <a:gd name="T36" fmla="*/ 39 w 93"/>
                  <a:gd name="T37" fmla="*/ 156 h 203"/>
                  <a:gd name="T38" fmla="*/ 25 w 93"/>
                  <a:gd name="T39" fmla="*/ 180 h 203"/>
                  <a:gd name="T40" fmla="*/ 8 w 93"/>
                  <a:gd name="T41" fmla="*/ 203 h 203"/>
                  <a:gd name="T42" fmla="*/ 8 w 93"/>
                  <a:gd name="T43"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 h="203">
                    <a:moveTo>
                      <a:pt x="8" y="203"/>
                    </a:moveTo>
                    <a:lnTo>
                      <a:pt x="0" y="196"/>
                    </a:lnTo>
                    <a:lnTo>
                      <a:pt x="0" y="196"/>
                    </a:lnTo>
                    <a:lnTo>
                      <a:pt x="15" y="175"/>
                    </a:lnTo>
                    <a:lnTo>
                      <a:pt x="29" y="151"/>
                    </a:lnTo>
                    <a:lnTo>
                      <a:pt x="41" y="127"/>
                    </a:lnTo>
                    <a:lnTo>
                      <a:pt x="52" y="103"/>
                    </a:lnTo>
                    <a:lnTo>
                      <a:pt x="62" y="78"/>
                    </a:lnTo>
                    <a:lnTo>
                      <a:pt x="70" y="52"/>
                    </a:lnTo>
                    <a:lnTo>
                      <a:pt x="78" y="27"/>
                    </a:lnTo>
                    <a:lnTo>
                      <a:pt x="83" y="0"/>
                    </a:lnTo>
                    <a:lnTo>
                      <a:pt x="93" y="2"/>
                    </a:lnTo>
                    <a:lnTo>
                      <a:pt x="93" y="2"/>
                    </a:lnTo>
                    <a:lnTo>
                      <a:pt x="88" y="29"/>
                    </a:lnTo>
                    <a:lnTo>
                      <a:pt x="80" y="56"/>
                    </a:lnTo>
                    <a:lnTo>
                      <a:pt x="73" y="82"/>
                    </a:lnTo>
                    <a:lnTo>
                      <a:pt x="62" y="107"/>
                    </a:lnTo>
                    <a:lnTo>
                      <a:pt x="51" y="132"/>
                    </a:lnTo>
                    <a:lnTo>
                      <a:pt x="39" y="156"/>
                    </a:lnTo>
                    <a:lnTo>
                      <a:pt x="25" y="180"/>
                    </a:lnTo>
                    <a:lnTo>
                      <a:pt x="8" y="203"/>
                    </a:lnTo>
                    <a:lnTo>
                      <a:pt x="8" y="203"/>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5" name="Freeform 44"/>
              <p:cNvSpPr>
                <a:spLocks/>
              </p:cNvSpPr>
              <p:nvPr/>
            </p:nvSpPr>
            <p:spPr bwMode="auto">
              <a:xfrm>
                <a:off x="8728947" y="3248746"/>
                <a:ext cx="93835" cy="210111"/>
              </a:xfrm>
              <a:custGeom>
                <a:avLst/>
                <a:gdLst>
                  <a:gd name="T0" fmla="*/ 83 w 93"/>
                  <a:gd name="T1" fmla="*/ 206 h 206"/>
                  <a:gd name="T2" fmla="*/ 83 w 93"/>
                  <a:gd name="T3" fmla="*/ 206 h 206"/>
                  <a:gd name="T4" fmla="*/ 78 w 93"/>
                  <a:gd name="T5" fmla="*/ 180 h 206"/>
                  <a:gd name="T6" fmla="*/ 71 w 93"/>
                  <a:gd name="T7" fmla="*/ 153 h 206"/>
                  <a:gd name="T8" fmla="*/ 62 w 93"/>
                  <a:gd name="T9" fmla="*/ 127 h 206"/>
                  <a:gd name="T10" fmla="*/ 52 w 93"/>
                  <a:gd name="T11" fmla="*/ 102 h 206"/>
                  <a:gd name="T12" fmla="*/ 41 w 93"/>
                  <a:gd name="T13" fmla="*/ 77 h 206"/>
                  <a:gd name="T14" fmla="*/ 29 w 93"/>
                  <a:gd name="T15" fmla="*/ 53 h 206"/>
                  <a:gd name="T16" fmla="*/ 15 w 93"/>
                  <a:gd name="T17" fmla="*/ 29 h 206"/>
                  <a:gd name="T18" fmla="*/ 0 w 93"/>
                  <a:gd name="T19" fmla="*/ 6 h 206"/>
                  <a:gd name="T20" fmla="*/ 8 w 93"/>
                  <a:gd name="T21" fmla="*/ 0 h 206"/>
                  <a:gd name="T22" fmla="*/ 8 w 93"/>
                  <a:gd name="T23" fmla="*/ 0 h 206"/>
                  <a:gd name="T24" fmla="*/ 25 w 93"/>
                  <a:gd name="T25" fmla="*/ 24 h 206"/>
                  <a:gd name="T26" fmla="*/ 39 w 93"/>
                  <a:gd name="T27" fmla="*/ 48 h 206"/>
                  <a:gd name="T28" fmla="*/ 51 w 93"/>
                  <a:gd name="T29" fmla="*/ 71 h 206"/>
                  <a:gd name="T30" fmla="*/ 62 w 93"/>
                  <a:gd name="T31" fmla="*/ 98 h 206"/>
                  <a:gd name="T32" fmla="*/ 73 w 93"/>
                  <a:gd name="T33" fmla="*/ 123 h 206"/>
                  <a:gd name="T34" fmla="*/ 81 w 93"/>
                  <a:gd name="T35" fmla="*/ 149 h 206"/>
                  <a:gd name="T36" fmla="*/ 88 w 93"/>
                  <a:gd name="T37" fmla="*/ 177 h 206"/>
                  <a:gd name="T38" fmla="*/ 93 w 93"/>
                  <a:gd name="T39" fmla="*/ 203 h 206"/>
                  <a:gd name="T40" fmla="*/ 83 w 93"/>
                  <a:gd name="T41" fmla="*/ 20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206">
                    <a:moveTo>
                      <a:pt x="83" y="206"/>
                    </a:moveTo>
                    <a:lnTo>
                      <a:pt x="83" y="206"/>
                    </a:lnTo>
                    <a:lnTo>
                      <a:pt x="78" y="180"/>
                    </a:lnTo>
                    <a:lnTo>
                      <a:pt x="71" y="153"/>
                    </a:lnTo>
                    <a:lnTo>
                      <a:pt x="62" y="127"/>
                    </a:lnTo>
                    <a:lnTo>
                      <a:pt x="52" y="102"/>
                    </a:lnTo>
                    <a:lnTo>
                      <a:pt x="41" y="77"/>
                    </a:lnTo>
                    <a:lnTo>
                      <a:pt x="29" y="53"/>
                    </a:lnTo>
                    <a:lnTo>
                      <a:pt x="15" y="29"/>
                    </a:lnTo>
                    <a:lnTo>
                      <a:pt x="0" y="6"/>
                    </a:lnTo>
                    <a:lnTo>
                      <a:pt x="8" y="0"/>
                    </a:lnTo>
                    <a:lnTo>
                      <a:pt x="8" y="0"/>
                    </a:lnTo>
                    <a:lnTo>
                      <a:pt x="25" y="24"/>
                    </a:lnTo>
                    <a:lnTo>
                      <a:pt x="39" y="48"/>
                    </a:lnTo>
                    <a:lnTo>
                      <a:pt x="51" y="71"/>
                    </a:lnTo>
                    <a:lnTo>
                      <a:pt x="62" y="98"/>
                    </a:lnTo>
                    <a:lnTo>
                      <a:pt x="73" y="123"/>
                    </a:lnTo>
                    <a:lnTo>
                      <a:pt x="81" y="149"/>
                    </a:lnTo>
                    <a:lnTo>
                      <a:pt x="88" y="177"/>
                    </a:lnTo>
                    <a:lnTo>
                      <a:pt x="93" y="203"/>
                    </a:lnTo>
                    <a:lnTo>
                      <a:pt x="83" y="206"/>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26" name="Freeform 45"/>
              <p:cNvSpPr>
                <a:spLocks/>
              </p:cNvSpPr>
              <p:nvPr/>
            </p:nvSpPr>
            <p:spPr bwMode="auto">
              <a:xfrm>
                <a:off x="8416843" y="3050875"/>
                <a:ext cx="208070" cy="93835"/>
              </a:xfrm>
              <a:custGeom>
                <a:avLst/>
                <a:gdLst>
                  <a:gd name="T0" fmla="*/ 199 w 205"/>
                  <a:gd name="T1" fmla="*/ 93 h 93"/>
                  <a:gd name="T2" fmla="*/ 199 w 205"/>
                  <a:gd name="T3" fmla="*/ 93 h 93"/>
                  <a:gd name="T4" fmla="*/ 176 w 205"/>
                  <a:gd name="T5" fmla="*/ 78 h 93"/>
                  <a:gd name="T6" fmla="*/ 152 w 205"/>
                  <a:gd name="T7" fmla="*/ 64 h 93"/>
                  <a:gd name="T8" fmla="*/ 128 w 205"/>
                  <a:gd name="T9" fmla="*/ 52 h 93"/>
                  <a:gd name="T10" fmla="*/ 104 w 205"/>
                  <a:gd name="T11" fmla="*/ 40 h 93"/>
                  <a:gd name="T12" fmla="*/ 78 w 205"/>
                  <a:gd name="T13" fmla="*/ 32 h 93"/>
                  <a:gd name="T14" fmla="*/ 53 w 205"/>
                  <a:gd name="T15" fmla="*/ 23 h 93"/>
                  <a:gd name="T16" fmla="*/ 26 w 205"/>
                  <a:gd name="T17" fmla="*/ 16 h 93"/>
                  <a:gd name="T18" fmla="*/ 0 w 205"/>
                  <a:gd name="T19" fmla="*/ 11 h 93"/>
                  <a:gd name="T20" fmla="*/ 1 w 205"/>
                  <a:gd name="T21" fmla="*/ 0 h 93"/>
                  <a:gd name="T22" fmla="*/ 1 w 205"/>
                  <a:gd name="T23" fmla="*/ 0 h 93"/>
                  <a:gd name="T24" fmla="*/ 29 w 205"/>
                  <a:gd name="T25" fmla="*/ 5 h 93"/>
                  <a:gd name="T26" fmla="*/ 55 w 205"/>
                  <a:gd name="T27" fmla="*/ 13 h 93"/>
                  <a:gd name="T28" fmla="*/ 82 w 205"/>
                  <a:gd name="T29" fmla="*/ 20 h 93"/>
                  <a:gd name="T30" fmla="*/ 108 w 205"/>
                  <a:gd name="T31" fmla="*/ 30 h 93"/>
                  <a:gd name="T32" fmla="*/ 133 w 205"/>
                  <a:gd name="T33" fmla="*/ 42 h 93"/>
                  <a:gd name="T34" fmla="*/ 158 w 205"/>
                  <a:gd name="T35" fmla="*/ 54 h 93"/>
                  <a:gd name="T36" fmla="*/ 181 w 205"/>
                  <a:gd name="T37" fmla="*/ 69 h 93"/>
                  <a:gd name="T38" fmla="*/ 205 w 205"/>
                  <a:gd name="T39" fmla="*/ 84 h 93"/>
                  <a:gd name="T40" fmla="*/ 199 w 205"/>
                  <a:gd name="T41"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5" h="93">
                    <a:moveTo>
                      <a:pt x="199" y="93"/>
                    </a:moveTo>
                    <a:lnTo>
                      <a:pt x="199" y="93"/>
                    </a:lnTo>
                    <a:lnTo>
                      <a:pt x="176" y="78"/>
                    </a:lnTo>
                    <a:lnTo>
                      <a:pt x="152" y="64"/>
                    </a:lnTo>
                    <a:lnTo>
                      <a:pt x="128" y="52"/>
                    </a:lnTo>
                    <a:lnTo>
                      <a:pt x="104" y="40"/>
                    </a:lnTo>
                    <a:lnTo>
                      <a:pt x="78" y="32"/>
                    </a:lnTo>
                    <a:lnTo>
                      <a:pt x="53" y="23"/>
                    </a:lnTo>
                    <a:lnTo>
                      <a:pt x="26" y="16"/>
                    </a:lnTo>
                    <a:lnTo>
                      <a:pt x="0" y="11"/>
                    </a:lnTo>
                    <a:lnTo>
                      <a:pt x="1" y="0"/>
                    </a:lnTo>
                    <a:lnTo>
                      <a:pt x="1" y="0"/>
                    </a:lnTo>
                    <a:lnTo>
                      <a:pt x="29" y="5"/>
                    </a:lnTo>
                    <a:lnTo>
                      <a:pt x="55" y="13"/>
                    </a:lnTo>
                    <a:lnTo>
                      <a:pt x="82" y="20"/>
                    </a:lnTo>
                    <a:lnTo>
                      <a:pt x="108" y="30"/>
                    </a:lnTo>
                    <a:lnTo>
                      <a:pt x="133" y="42"/>
                    </a:lnTo>
                    <a:lnTo>
                      <a:pt x="158" y="54"/>
                    </a:lnTo>
                    <a:lnTo>
                      <a:pt x="181" y="69"/>
                    </a:lnTo>
                    <a:lnTo>
                      <a:pt x="205" y="84"/>
                    </a:lnTo>
                    <a:lnTo>
                      <a:pt x="199" y="93"/>
                    </a:lnTo>
                    <a:close/>
                  </a:path>
                </a:pathLst>
              </a:custGeom>
              <a:solidFill>
                <a:srgbClr val="0078D7"/>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sp>
          <p:nvSpPr>
            <p:cNvPr id="122" name="Freeform 46"/>
            <p:cNvSpPr>
              <a:spLocks noEditPoints="1"/>
            </p:cNvSpPr>
            <p:nvPr/>
          </p:nvSpPr>
          <p:spPr bwMode="auto">
            <a:xfrm>
              <a:off x="3123288" y="2891762"/>
              <a:ext cx="1287181" cy="1287181"/>
            </a:xfrm>
            <a:custGeom>
              <a:avLst/>
              <a:gdLst>
                <a:gd name="T0" fmla="*/ 535 w 1262"/>
                <a:gd name="T1" fmla="*/ 1255 h 1261"/>
                <a:gd name="T2" fmla="*/ 386 w 1262"/>
                <a:gd name="T3" fmla="*/ 1212 h 1261"/>
                <a:gd name="T4" fmla="*/ 254 w 1262"/>
                <a:gd name="T5" fmla="*/ 1137 h 1261"/>
                <a:gd name="T6" fmla="*/ 145 w 1262"/>
                <a:gd name="T7" fmla="*/ 1032 h 1261"/>
                <a:gd name="T8" fmla="*/ 62 w 1262"/>
                <a:gd name="T9" fmla="*/ 904 h 1261"/>
                <a:gd name="T10" fmla="*/ 13 w 1262"/>
                <a:gd name="T11" fmla="*/ 757 h 1261"/>
                <a:gd name="T12" fmla="*/ 0 w 1262"/>
                <a:gd name="T13" fmla="*/ 630 h 1261"/>
                <a:gd name="T14" fmla="*/ 21 w 1262"/>
                <a:gd name="T15" fmla="*/ 473 h 1261"/>
                <a:gd name="T16" fmla="*/ 77 w 1262"/>
                <a:gd name="T17" fmla="*/ 330 h 1261"/>
                <a:gd name="T18" fmla="*/ 164 w 1262"/>
                <a:gd name="T19" fmla="*/ 207 h 1261"/>
                <a:gd name="T20" fmla="*/ 278 w 1262"/>
                <a:gd name="T21" fmla="*/ 108 h 1261"/>
                <a:gd name="T22" fmla="*/ 414 w 1262"/>
                <a:gd name="T23" fmla="*/ 39 h 1261"/>
                <a:gd name="T24" fmla="*/ 567 w 1262"/>
                <a:gd name="T25" fmla="*/ 3 h 1261"/>
                <a:gd name="T26" fmla="*/ 695 w 1262"/>
                <a:gd name="T27" fmla="*/ 3 h 1261"/>
                <a:gd name="T28" fmla="*/ 847 w 1262"/>
                <a:gd name="T29" fmla="*/ 39 h 1261"/>
                <a:gd name="T30" fmla="*/ 983 w 1262"/>
                <a:gd name="T31" fmla="*/ 108 h 1261"/>
                <a:gd name="T32" fmla="*/ 1098 w 1262"/>
                <a:gd name="T33" fmla="*/ 207 h 1261"/>
                <a:gd name="T34" fmla="*/ 1185 w 1262"/>
                <a:gd name="T35" fmla="*/ 330 h 1261"/>
                <a:gd name="T36" fmla="*/ 1242 w 1262"/>
                <a:gd name="T37" fmla="*/ 473 h 1261"/>
                <a:gd name="T38" fmla="*/ 1262 w 1262"/>
                <a:gd name="T39" fmla="*/ 630 h 1261"/>
                <a:gd name="T40" fmla="*/ 1250 w 1262"/>
                <a:gd name="T41" fmla="*/ 757 h 1261"/>
                <a:gd name="T42" fmla="*/ 1199 w 1262"/>
                <a:gd name="T43" fmla="*/ 904 h 1261"/>
                <a:gd name="T44" fmla="*/ 1118 w 1262"/>
                <a:gd name="T45" fmla="*/ 1032 h 1261"/>
                <a:gd name="T46" fmla="*/ 1008 w 1262"/>
                <a:gd name="T47" fmla="*/ 1137 h 1261"/>
                <a:gd name="T48" fmla="*/ 876 w 1262"/>
                <a:gd name="T49" fmla="*/ 1212 h 1261"/>
                <a:gd name="T50" fmla="*/ 727 w 1262"/>
                <a:gd name="T51" fmla="*/ 1255 h 1261"/>
                <a:gd name="T52" fmla="*/ 631 w 1262"/>
                <a:gd name="T53" fmla="*/ 21 h 1261"/>
                <a:gd name="T54" fmla="*/ 508 w 1262"/>
                <a:gd name="T55" fmla="*/ 34 h 1261"/>
                <a:gd name="T56" fmla="*/ 367 w 1262"/>
                <a:gd name="T57" fmla="*/ 81 h 1261"/>
                <a:gd name="T58" fmla="*/ 243 w 1262"/>
                <a:gd name="T59" fmla="*/ 160 h 1261"/>
                <a:gd name="T60" fmla="*/ 142 w 1262"/>
                <a:gd name="T61" fmla="*/ 266 h 1261"/>
                <a:gd name="T62" fmla="*/ 70 w 1262"/>
                <a:gd name="T63" fmla="*/ 394 h 1261"/>
                <a:gd name="T64" fmla="*/ 28 w 1262"/>
                <a:gd name="T65" fmla="*/ 539 h 1261"/>
                <a:gd name="T66" fmla="*/ 22 w 1262"/>
                <a:gd name="T67" fmla="*/ 662 h 1261"/>
                <a:gd name="T68" fmla="*/ 49 w 1262"/>
                <a:gd name="T69" fmla="*/ 812 h 1261"/>
                <a:gd name="T70" fmla="*/ 110 w 1262"/>
                <a:gd name="T71" fmla="*/ 947 h 1261"/>
                <a:gd name="T72" fmla="*/ 200 w 1262"/>
                <a:gd name="T73" fmla="*/ 1061 h 1261"/>
                <a:gd name="T74" fmla="*/ 315 w 1262"/>
                <a:gd name="T75" fmla="*/ 1152 h 1261"/>
                <a:gd name="T76" fmla="*/ 450 w 1262"/>
                <a:gd name="T77" fmla="*/ 1213 h 1261"/>
                <a:gd name="T78" fmla="*/ 600 w 1262"/>
                <a:gd name="T79" fmla="*/ 1240 h 1261"/>
                <a:gd name="T80" fmla="*/ 724 w 1262"/>
                <a:gd name="T81" fmla="*/ 1233 h 1261"/>
                <a:gd name="T82" fmla="*/ 868 w 1262"/>
                <a:gd name="T83" fmla="*/ 1192 h 1261"/>
                <a:gd name="T84" fmla="*/ 996 w 1262"/>
                <a:gd name="T85" fmla="*/ 1119 h 1261"/>
                <a:gd name="T86" fmla="*/ 1101 w 1262"/>
                <a:gd name="T87" fmla="*/ 1019 h 1261"/>
                <a:gd name="T88" fmla="*/ 1180 w 1262"/>
                <a:gd name="T89" fmla="*/ 895 h 1261"/>
                <a:gd name="T90" fmla="*/ 1228 w 1262"/>
                <a:gd name="T91" fmla="*/ 753 h 1261"/>
                <a:gd name="T92" fmla="*/ 1241 w 1262"/>
                <a:gd name="T93" fmla="*/ 630 h 1261"/>
                <a:gd name="T94" fmla="*/ 1222 w 1262"/>
                <a:gd name="T95" fmla="*/ 478 h 1261"/>
                <a:gd name="T96" fmla="*/ 1167 w 1262"/>
                <a:gd name="T97" fmla="*/ 340 h 1261"/>
                <a:gd name="T98" fmla="*/ 1082 w 1262"/>
                <a:gd name="T99" fmla="*/ 221 h 1261"/>
                <a:gd name="T100" fmla="*/ 972 w 1262"/>
                <a:gd name="T101" fmla="*/ 125 h 1261"/>
                <a:gd name="T102" fmla="*/ 840 w 1262"/>
                <a:gd name="T103" fmla="*/ 59 h 1261"/>
                <a:gd name="T104" fmla="*/ 693 w 1262"/>
                <a:gd name="T105" fmla="*/ 25 h 1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62" h="1261">
                  <a:moveTo>
                    <a:pt x="631" y="1261"/>
                  </a:moveTo>
                  <a:lnTo>
                    <a:pt x="631" y="1261"/>
                  </a:lnTo>
                  <a:lnTo>
                    <a:pt x="599" y="1261"/>
                  </a:lnTo>
                  <a:lnTo>
                    <a:pt x="567" y="1258"/>
                  </a:lnTo>
                  <a:lnTo>
                    <a:pt x="535" y="1255"/>
                  </a:lnTo>
                  <a:lnTo>
                    <a:pt x="504" y="1248"/>
                  </a:lnTo>
                  <a:lnTo>
                    <a:pt x="474" y="1242"/>
                  </a:lnTo>
                  <a:lnTo>
                    <a:pt x="444" y="1233"/>
                  </a:lnTo>
                  <a:lnTo>
                    <a:pt x="414" y="1223"/>
                  </a:lnTo>
                  <a:lnTo>
                    <a:pt x="386" y="1212"/>
                  </a:lnTo>
                  <a:lnTo>
                    <a:pt x="357" y="1199"/>
                  </a:lnTo>
                  <a:lnTo>
                    <a:pt x="331" y="1186"/>
                  </a:lnTo>
                  <a:lnTo>
                    <a:pt x="305" y="1171"/>
                  </a:lnTo>
                  <a:lnTo>
                    <a:pt x="278" y="1154"/>
                  </a:lnTo>
                  <a:lnTo>
                    <a:pt x="254" y="1137"/>
                  </a:lnTo>
                  <a:lnTo>
                    <a:pt x="230" y="1118"/>
                  </a:lnTo>
                  <a:lnTo>
                    <a:pt x="207" y="1098"/>
                  </a:lnTo>
                  <a:lnTo>
                    <a:pt x="185" y="1076"/>
                  </a:lnTo>
                  <a:lnTo>
                    <a:pt x="164" y="1055"/>
                  </a:lnTo>
                  <a:lnTo>
                    <a:pt x="145" y="1032"/>
                  </a:lnTo>
                  <a:lnTo>
                    <a:pt x="126" y="1008"/>
                  </a:lnTo>
                  <a:lnTo>
                    <a:pt x="109" y="983"/>
                  </a:lnTo>
                  <a:lnTo>
                    <a:pt x="92" y="958"/>
                  </a:lnTo>
                  <a:lnTo>
                    <a:pt x="77" y="931"/>
                  </a:lnTo>
                  <a:lnTo>
                    <a:pt x="62" y="904"/>
                  </a:lnTo>
                  <a:lnTo>
                    <a:pt x="49" y="877"/>
                  </a:lnTo>
                  <a:lnTo>
                    <a:pt x="38" y="848"/>
                  </a:lnTo>
                  <a:lnTo>
                    <a:pt x="28" y="819"/>
                  </a:lnTo>
                  <a:lnTo>
                    <a:pt x="21" y="789"/>
                  </a:lnTo>
                  <a:lnTo>
                    <a:pt x="13" y="757"/>
                  </a:lnTo>
                  <a:lnTo>
                    <a:pt x="8" y="727"/>
                  </a:lnTo>
                  <a:lnTo>
                    <a:pt x="3" y="696"/>
                  </a:lnTo>
                  <a:lnTo>
                    <a:pt x="0" y="663"/>
                  </a:lnTo>
                  <a:lnTo>
                    <a:pt x="0" y="630"/>
                  </a:lnTo>
                  <a:lnTo>
                    <a:pt x="0" y="630"/>
                  </a:lnTo>
                  <a:lnTo>
                    <a:pt x="0" y="599"/>
                  </a:lnTo>
                  <a:lnTo>
                    <a:pt x="3" y="566"/>
                  </a:lnTo>
                  <a:lnTo>
                    <a:pt x="8" y="535"/>
                  </a:lnTo>
                  <a:lnTo>
                    <a:pt x="13" y="503"/>
                  </a:lnTo>
                  <a:lnTo>
                    <a:pt x="21" y="473"/>
                  </a:lnTo>
                  <a:lnTo>
                    <a:pt x="28" y="443"/>
                  </a:lnTo>
                  <a:lnTo>
                    <a:pt x="38" y="414"/>
                  </a:lnTo>
                  <a:lnTo>
                    <a:pt x="49" y="385"/>
                  </a:lnTo>
                  <a:lnTo>
                    <a:pt x="62" y="358"/>
                  </a:lnTo>
                  <a:lnTo>
                    <a:pt x="77" y="330"/>
                  </a:lnTo>
                  <a:lnTo>
                    <a:pt x="92" y="304"/>
                  </a:lnTo>
                  <a:lnTo>
                    <a:pt x="109" y="279"/>
                  </a:lnTo>
                  <a:lnTo>
                    <a:pt x="126" y="253"/>
                  </a:lnTo>
                  <a:lnTo>
                    <a:pt x="145" y="230"/>
                  </a:lnTo>
                  <a:lnTo>
                    <a:pt x="164" y="207"/>
                  </a:lnTo>
                  <a:lnTo>
                    <a:pt x="185" y="186"/>
                  </a:lnTo>
                  <a:lnTo>
                    <a:pt x="207" y="164"/>
                  </a:lnTo>
                  <a:lnTo>
                    <a:pt x="230" y="144"/>
                  </a:lnTo>
                  <a:lnTo>
                    <a:pt x="254" y="125"/>
                  </a:lnTo>
                  <a:lnTo>
                    <a:pt x="278" y="108"/>
                  </a:lnTo>
                  <a:lnTo>
                    <a:pt x="305" y="91"/>
                  </a:lnTo>
                  <a:lnTo>
                    <a:pt x="331" y="76"/>
                  </a:lnTo>
                  <a:lnTo>
                    <a:pt x="357" y="62"/>
                  </a:lnTo>
                  <a:lnTo>
                    <a:pt x="386" y="50"/>
                  </a:lnTo>
                  <a:lnTo>
                    <a:pt x="414" y="39"/>
                  </a:lnTo>
                  <a:lnTo>
                    <a:pt x="444" y="28"/>
                  </a:lnTo>
                  <a:lnTo>
                    <a:pt x="474" y="20"/>
                  </a:lnTo>
                  <a:lnTo>
                    <a:pt x="504" y="13"/>
                  </a:lnTo>
                  <a:lnTo>
                    <a:pt x="535" y="7"/>
                  </a:lnTo>
                  <a:lnTo>
                    <a:pt x="567" y="3"/>
                  </a:lnTo>
                  <a:lnTo>
                    <a:pt x="599" y="1"/>
                  </a:lnTo>
                  <a:lnTo>
                    <a:pt x="631" y="0"/>
                  </a:lnTo>
                  <a:lnTo>
                    <a:pt x="631" y="0"/>
                  </a:lnTo>
                  <a:lnTo>
                    <a:pt x="664" y="1"/>
                  </a:lnTo>
                  <a:lnTo>
                    <a:pt x="695" y="3"/>
                  </a:lnTo>
                  <a:lnTo>
                    <a:pt x="727" y="7"/>
                  </a:lnTo>
                  <a:lnTo>
                    <a:pt x="758" y="13"/>
                  </a:lnTo>
                  <a:lnTo>
                    <a:pt x="788" y="20"/>
                  </a:lnTo>
                  <a:lnTo>
                    <a:pt x="819" y="28"/>
                  </a:lnTo>
                  <a:lnTo>
                    <a:pt x="847" y="39"/>
                  </a:lnTo>
                  <a:lnTo>
                    <a:pt x="876" y="50"/>
                  </a:lnTo>
                  <a:lnTo>
                    <a:pt x="904" y="62"/>
                  </a:lnTo>
                  <a:lnTo>
                    <a:pt x="932" y="76"/>
                  </a:lnTo>
                  <a:lnTo>
                    <a:pt x="958" y="91"/>
                  </a:lnTo>
                  <a:lnTo>
                    <a:pt x="983" y="108"/>
                  </a:lnTo>
                  <a:lnTo>
                    <a:pt x="1008" y="125"/>
                  </a:lnTo>
                  <a:lnTo>
                    <a:pt x="1032" y="144"/>
                  </a:lnTo>
                  <a:lnTo>
                    <a:pt x="1055" y="164"/>
                  </a:lnTo>
                  <a:lnTo>
                    <a:pt x="1077" y="186"/>
                  </a:lnTo>
                  <a:lnTo>
                    <a:pt x="1098" y="207"/>
                  </a:lnTo>
                  <a:lnTo>
                    <a:pt x="1118" y="230"/>
                  </a:lnTo>
                  <a:lnTo>
                    <a:pt x="1136" y="253"/>
                  </a:lnTo>
                  <a:lnTo>
                    <a:pt x="1154" y="279"/>
                  </a:lnTo>
                  <a:lnTo>
                    <a:pt x="1170" y="304"/>
                  </a:lnTo>
                  <a:lnTo>
                    <a:pt x="1185" y="330"/>
                  </a:lnTo>
                  <a:lnTo>
                    <a:pt x="1199" y="358"/>
                  </a:lnTo>
                  <a:lnTo>
                    <a:pt x="1212" y="385"/>
                  </a:lnTo>
                  <a:lnTo>
                    <a:pt x="1223" y="414"/>
                  </a:lnTo>
                  <a:lnTo>
                    <a:pt x="1233" y="443"/>
                  </a:lnTo>
                  <a:lnTo>
                    <a:pt x="1242" y="473"/>
                  </a:lnTo>
                  <a:lnTo>
                    <a:pt x="1250" y="503"/>
                  </a:lnTo>
                  <a:lnTo>
                    <a:pt x="1255" y="535"/>
                  </a:lnTo>
                  <a:lnTo>
                    <a:pt x="1258" y="566"/>
                  </a:lnTo>
                  <a:lnTo>
                    <a:pt x="1261" y="599"/>
                  </a:lnTo>
                  <a:lnTo>
                    <a:pt x="1262" y="630"/>
                  </a:lnTo>
                  <a:lnTo>
                    <a:pt x="1262" y="630"/>
                  </a:lnTo>
                  <a:lnTo>
                    <a:pt x="1261" y="663"/>
                  </a:lnTo>
                  <a:lnTo>
                    <a:pt x="1258" y="696"/>
                  </a:lnTo>
                  <a:lnTo>
                    <a:pt x="1255" y="727"/>
                  </a:lnTo>
                  <a:lnTo>
                    <a:pt x="1250" y="757"/>
                  </a:lnTo>
                  <a:lnTo>
                    <a:pt x="1242" y="789"/>
                  </a:lnTo>
                  <a:lnTo>
                    <a:pt x="1233" y="819"/>
                  </a:lnTo>
                  <a:lnTo>
                    <a:pt x="1223" y="848"/>
                  </a:lnTo>
                  <a:lnTo>
                    <a:pt x="1212" y="877"/>
                  </a:lnTo>
                  <a:lnTo>
                    <a:pt x="1199" y="904"/>
                  </a:lnTo>
                  <a:lnTo>
                    <a:pt x="1185" y="931"/>
                  </a:lnTo>
                  <a:lnTo>
                    <a:pt x="1170" y="958"/>
                  </a:lnTo>
                  <a:lnTo>
                    <a:pt x="1154" y="983"/>
                  </a:lnTo>
                  <a:lnTo>
                    <a:pt x="1136" y="1008"/>
                  </a:lnTo>
                  <a:lnTo>
                    <a:pt x="1118" y="1032"/>
                  </a:lnTo>
                  <a:lnTo>
                    <a:pt x="1098" y="1055"/>
                  </a:lnTo>
                  <a:lnTo>
                    <a:pt x="1077" y="1076"/>
                  </a:lnTo>
                  <a:lnTo>
                    <a:pt x="1055" y="1098"/>
                  </a:lnTo>
                  <a:lnTo>
                    <a:pt x="1032" y="1118"/>
                  </a:lnTo>
                  <a:lnTo>
                    <a:pt x="1008" y="1137"/>
                  </a:lnTo>
                  <a:lnTo>
                    <a:pt x="983" y="1154"/>
                  </a:lnTo>
                  <a:lnTo>
                    <a:pt x="958" y="1171"/>
                  </a:lnTo>
                  <a:lnTo>
                    <a:pt x="932" y="1186"/>
                  </a:lnTo>
                  <a:lnTo>
                    <a:pt x="904" y="1199"/>
                  </a:lnTo>
                  <a:lnTo>
                    <a:pt x="876" y="1212"/>
                  </a:lnTo>
                  <a:lnTo>
                    <a:pt x="847" y="1223"/>
                  </a:lnTo>
                  <a:lnTo>
                    <a:pt x="819" y="1233"/>
                  </a:lnTo>
                  <a:lnTo>
                    <a:pt x="788" y="1242"/>
                  </a:lnTo>
                  <a:lnTo>
                    <a:pt x="758" y="1248"/>
                  </a:lnTo>
                  <a:lnTo>
                    <a:pt x="727" y="1255"/>
                  </a:lnTo>
                  <a:lnTo>
                    <a:pt x="695" y="1258"/>
                  </a:lnTo>
                  <a:lnTo>
                    <a:pt x="664" y="1261"/>
                  </a:lnTo>
                  <a:lnTo>
                    <a:pt x="631" y="1261"/>
                  </a:lnTo>
                  <a:lnTo>
                    <a:pt x="631" y="1261"/>
                  </a:lnTo>
                  <a:close/>
                  <a:moveTo>
                    <a:pt x="631" y="21"/>
                  </a:moveTo>
                  <a:lnTo>
                    <a:pt x="631" y="21"/>
                  </a:lnTo>
                  <a:lnTo>
                    <a:pt x="600" y="22"/>
                  </a:lnTo>
                  <a:lnTo>
                    <a:pt x="568" y="25"/>
                  </a:lnTo>
                  <a:lnTo>
                    <a:pt x="538" y="28"/>
                  </a:lnTo>
                  <a:lnTo>
                    <a:pt x="508" y="34"/>
                  </a:lnTo>
                  <a:lnTo>
                    <a:pt x="479" y="41"/>
                  </a:lnTo>
                  <a:lnTo>
                    <a:pt x="450" y="49"/>
                  </a:lnTo>
                  <a:lnTo>
                    <a:pt x="421" y="59"/>
                  </a:lnTo>
                  <a:lnTo>
                    <a:pt x="394" y="69"/>
                  </a:lnTo>
                  <a:lnTo>
                    <a:pt x="367" y="81"/>
                  </a:lnTo>
                  <a:lnTo>
                    <a:pt x="341" y="95"/>
                  </a:lnTo>
                  <a:lnTo>
                    <a:pt x="315" y="110"/>
                  </a:lnTo>
                  <a:lnTo>
                    <a:pt x="291" y="125"/>
                  </a:lnTo>
                  <a:lnTo>
                    <a:pt x="267" y="143"/>
                  </a:lnTo>
                  <a:lnTo>
                    <a:pt x="243" y="160"/>
                  </a:lnTo>
                  <a:lnTo>
                    <a:pt x="222" y="179"/>
                  </a:lnTo>
                  <a:lnTo>
                    <a:pt x="200" y="201"/>
                  </a:lnTo>
                  <a:lnTo>
                    <a:pt x="180" y="221"/>
                  </a:lnTo>
                  <a:lnTo>
                    <a:pt x="161" y="243"/>
                  </a:lnTo>
                  <a:lnTo>
                    <a:pt x="142" y="266"/>
                  </a:lnTo>
                  <a:lnTo>
                    <a:pt x="126" y="290"/>
                  </a:lnTo>
                  <a:lnTo>
                    <a:pt x="110" y="315"/>
                  </a:lnTo>
                  <a:lnTo>
                    <a:pt x="95" y="340"/>
                  </a:lnTo>
                  <a:lnTo>
                    <a:pt x="82" y="366"/>
                  </a:lnTo>
                  <a:lnTo>
                    <a:pt x="70" y="394"/>
                  </a:lnTo>
                  <a:lnTo>
                    <a:pt x="58" y="422"/>
                  </a:lnTo>
                  <a:lnTo>
                    <a:pt x="49" y="449"/>
                  </a:lnTo>
                  <a:lnTo>
                    <a:pt x="41" y="478"/>
                  </a:lnTo>
                  <a:lnTo>
                    <a:pt x="34" y="508"/>
                  </a:lnTo>
                  <a:lnTo>
                    <a:pt x="28" y="539"/>
                  </a:lnTo>
                  <a:lnTo>
                    <a:pt x="24" y="569"/>
                  </a:lnTo>
                  <a:lnTo>
                    <a:pt x="22" y="599"/>
                  </a:lnTo>
                  <a:lnTo>
                    <a:pt x="22" y="630"/>
                  </a:lnTo>
                  <a:lnTo>
                    <a:pt x="22" y="630"/>
                  </a:lnTo>
                  <a:lnTo>
                    <a:pt x="22" y="662"/>
                  </a:lnTo>
                  <a:lnTo>
                    <a:pt x="24" y="693"/>
                  </a:lnTo>
                  <a:lnTo>
                    <a:pt x="28" y="723"/>
                  </a:lnTo>
                  <a:lnTo>
                    <a:pt x="34" y="753"/>
                  </a:lnTo>
                  <a:lnTo>
                    <a:pt x="41" y="782"/>
                  </a:lnTo>
                  <a:lnTo>
                    <a:pt x="49" y="812"/>
                  </a:lnTo>
                  <a:lnTo>
                    <a:pt x="58" y="840"/>
                  </a:lnTo>
                  <a:lnTo>
                    <a:pt x="70" y="868"/>
                  </a:lnTo>
                  <a:lnTo>
                    <a:pt x="82" y="895"/>
                  </a:lnTo>
                  <a:lnTo>
                    <a:pt x="95" y="921"/>
                  </a:lnTo>
                  <a:lnTo>
                    <a:pt x="110" y="947"/>
                  </a:lnTo>
                  <a:lnTo>
                    <a:pt x="126" y="971"/>
                  </a:lnTo>
                  <a:lnTo>
                    <a:pt x="142" y="995"/>
                  </a:lnTo>
                  <a:lnTo>
                    <a:pt x="161" y="1019"/>
                  </a:lnTo>
                  <a:lnTo>
                    <a:pt x="180" y="1040"/>
                  </a:lnTo>
                  <a:lnTo>
                    <a:pt x="200" y="1061"/>
                  </a:lnTo>
                  <a:lnTo>
                    <a:pt x="222" y="1081"/>
                  </a:lnTo>
                  <a:lnTo>
                    <a:pt x="243" y="1101"/>
                  </a:lnTo>
                  <a:lnTo>
                    <a:pt x="267" y="1119"/>
                  </a:lnTo>
                  <a:lnTo>
                    <a:pt x="291" y="1137"/>
                  </a:lnTo>
                  <a:lnTo>
                    <a:pt x="315" y="1152"/>
                  </a:lnTo>
                  <a:lnTo>
                    <a:pt x="341" y="1167"/>
                  </a:lnTo>
                  <a:lnTo>
                    <a:pt x="367" y="1181"/>
                  </a:lnTo>
                  <a:lnTo>
                    <a:pt x="394" y="1192"/>
                  </a:lnTo>
                  <a:lnTo>
                    <a:pt x="421" y="1203"/>
                  </a:lnTo>
                  <a:lnTo>
                    <a:pt x="450" y="1213"/>
                  </a:lnTo>
                  <a:lnTo>
                    <a:pt x="479" y="1221"/>
                  </a:lnTo>
                  <a:lnTo>
                    <a:pt x="508" y="1228"/>
                  </a:lnTo>
                  <a:lnTo>
                    <a:pt x="538" y="1233"/>
                  </a:lnTo>
                  <a:lnTo>
                    <a:pt x="568" y="1237"/>
                  </a:lnTo>
                  <a:lnTo>
                    <a:pt x="600" y="1240"/>
                  </a:lnTo>
                  <a:lnTo>
                    <a:pt x="631" y="1241"/>
                  </a:lnTo>
                  <a:lnTo>
                    <a:pt x="631" y="1241"/>
                  </a:lnTo>
                  <a:lnTo>
                    <a:pt x="663" y="1240"/>
                  </a:lnTo>
                  <a:lnTo>
                    <a:pt x="693" y="1237"/>
                  </a:lnTo>
                  <a:lnTo>
                    <a:pt x="724" y="1233"/>
                  </a:lnTo>
                  <a:lnTo>
                    <a:pt x="753" y="1228"/>
                  </a:lnTo>
                  <a:lnTo>
                    <a:pt x="783" y="1221"/>
                  </a:lnTo>
                  <a:lnTo>
                    <a:pt x="812" y="1213"/>
                  </a:lnTo>
                  <a:lnTo>
                    <a:pt x="840" y="1203"/>
                  </a:lnTo>
                  <a:lnTo>
                    <a:pt x="868" y="1192"/>
                  </a:lnTo>
                  <a:lnTo>
                    <a:pt x="895" y="1181"/>
                  </a:lnTo>
                  <a:lnTo>
                    <a:pt x="922" y="1167"/>
                  </a:lnTo>
                  <a:lnTo>
                    <a:pt x="947" y="1152"/>
                  </a:lnTo>
                  <a:lnTo>
                    <a:pt x="972" y="1137"/>
                  </a:lnTo>
                  <a:lnTo>
                    <a:pt x="996" y="1119"/>
                  </a:lnTo>
                  <a:lnTo>
                    <a:pt x="1018" y="1101"/>
                  </a:lnTo>
                  <a:lnTo>
                    <a:pt x="1041" y="1081"/>
                  </a:lnTo>
                  <a:lnTo>
                    <a:pt x="1062" y="1061"/>
                  </a:lnTo>
                  <a:lnTo>
                    <a:pt x="1082" y="1040"/>
                  </a:lnTo>
                  <a:lnTo>
                    <a:pt x="1101" y="1019"/>
                  </a:lnTo>
                  <a:lnTo>
                    <a:pt x="1119" y="995"/>
                  </a:lnTo>
                  <a:lnTo>
                    <a:pt x="1136" y="971"/>
                  </a:lnTo>
                  <a:lnTo>
                    <a:pt x="1153" y="947"/>
                  </a:lnTo>
                  <a:lnTo>
                    <a:pt x="1167" y="921"/>
                  </a:lnTo>
                  <a:lnTo>
                    <a:pt x="1180" y="895"/>
                  </a:lnTo>
                  <a:lnTo>
                    <a:pt x="1193" y="868"/>
                  </a:lnTo>
                  <a:lnTo>
                    <a:pt x="1203" y="840"/>
                  </a:lnTo>
                  <a:lnTo>
                    <a:pt x="1213" y="812"/>
                  </a:lnTo>
                  <a:lnTo>
                    <a:pt x="1222" y="782"/>
                  </a:lnTo>
                  <a:lnTo>
                    <a:pt x="1228" y="753"/>
                  </a:lnTo>
                  <a:lnTo>
                    <a:pt x="1233" y="723"/>
                  </a:lnTo>
                  <a:lnTo>
                    <a:pt x="1237" y="693"/>
                  </a:lnTo>
                  <a:lnTo>
                    <a:pt x="1240" y="662"/>
                  </a:lnTo>
                  <a:lnTo>
                    <a:pt x="1241" y="630"/>
                  </a:lnTo>
                  <a:lnTo>
                    <a:pt x="1241" y="630"/>
                  </a:lnTo>
                  <a:lnTo>
                    <a:pt x="1240" y="599"/>
                  </a:lnTo>
                  <a:lnTo>
                    <a:pt x="1237" y="569"/>
                  </a:lnTo>
                  <a:lnTo>
                    <a:pt x="1233" y="539"/>
                  </a:lnTo>
                  <a:lnTo>
                    <a:pt x="1228" y="508"/>
                  </a:lnTo>
                  <a:lnTo>
                    <a:pt x="1222" y="478"/>
                  </a:lnTo>
                  <a:lnTo>
                    <a:pt x="1213" y="449"/>
                  </a:lnTo>
                  <a:lnTo>
                    <a:pt x="1203" y="422"/>
                  </a:lnTo>
                  <a:lnTo>
                    <a:pt x="1193" y="394"/>
                  </a:lnTo>
                  <a:lnTo>
                    <a:pt x="1180" y="366"/>
                  </a:lnTo>
                  <a:lnTo>
                    <a:pt x="1167" y="340"/>
                  </a:lnTo>
                  <a:lnTo>
                    <a:pt x="1153" y="315"/>
                  </a:lnTo>
                  <a:lnTo>
                    <a:pt x="1136" y="290"/>
                  </a:lnTo>
                  <a:lnTo>
                    <a:pt x="1119" y="266"/>
                  </a:lnTo>
                  <a:lnTo>
                    <a:pt x="1101" y="243"/>
                  </a:lnTo>
                  <a:lnTo>
                    <a:pt x="1082" y="221"/>
                  </a:lnTo>
                  <a:lnTo>
                    <a:pt x="1062" y="201"/>
                  </a:lnTo>
                  <a:lnTo>
                    <a:pt x="1041" y="179"/>
                  </a:lnTo>
                  <a:lnTo>
                    <a:pt x="1018" y="160"/>
                  </a:lnTo>
                  <a:lnTo>
                    <a:pt x="996" y="143"/>
                  </a:lnTo>
                  <a:lnTo>
                    <a:pt x="972" y="125"/>
                  </a:lnTo>
                  <a:lnTo>
                    <a:pt x="947" y="110"/>
                  </a:lnTo>
                  <a:lnTo>
                    <a:pt x="922" y="95"/>
                  </a:lnTo>
                  <a:lnTo>
                    <a:pt x="895" y="81"/>
                  </a:lnTo>
                  <a:lnTo>
                    <a:pt x="868" y="69"/>
                  </a:lnTo>
                  <a:lnTo>
                    <a:pt x="840" y="59"/>
                  </a:lnTo>
                  <a:lnTo>
                    <a:pt x="812" y="49"/>
                  </a:lnTo>
                  <a:lnTo>
                    <a:pt x="783" y="41"/>
                  </a:lnTo>
                  <a:lnTo>
                    <a:pt x="753" y="34"/>
                  </a:lnTo>
                  <a:lnTo>
                    <a:pt x="724" y="28"/>
                  </a:lnTo>
                  <a:lnTo>
                    <a:pt x="693" y="25"/>
                  </a:lnTo>
                  <a:lnTo>
                    <a:pt x="663" y="22"/>
                  </a:lnTo>
                  <a:lnTo>
                    <a:pt x="631" y="21"/>
                  </a:lnTo>
                  <a:lnTo>
                    <a:pt x="631" y="21"/>
                  </a:lnTo>
                  <a:close/>
                </a:path>
              </a:pathLst>
            </a:custGeom>
            <a:solidFill>
              <a:schemeClr val="tx1"/>
            </a:solid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nvGrpSpPr>
            <p:cNvPr id="123" name="Group 122"/>
            <p:cNvGrpSpPr/>
            <p:nvPr/>
          </p:nvGrpSpPr>
          <p:grpSpPr>
            <a:xfrm>
              <a:off x="3215083" y="2985597"/>
              <a:ext cx="1103588" cy="1101549"/>
              <a:chOff x="3215083" y="2985597"/>
              <a:chExt cx="1103588" cy="1101549"/>
            </a:xfrm>
            <a:solidFill>
              <a:schemeClr val="tx1"/>
            </a:solidFill>
          </p:grpSpPr>
          <p:sp>
            <p:nvSpPr>
              <p:cNvPr id="155" name="Freeform 47"/>
              <p:cNvSpPr>
                <a:spLocks noEditPoints="1"/>
              </p:cNvSpPr>
              <p:nvPr/>
            </p:nvSpPr>
            <p:spPr bwMode="auto">
              <a:xfrm>
                <a:off x="3215083" y="2985597"/>
                <a:ext cx="1103588" cy="1101549"/>
              </a:xfrm>
              <a:custGeom>
                <a:avLst/>
                <a:gdLst>
                  <a:gd name="T0" fmla="*/ 458 w 1082"/>
                  <a:gd name="T1" fmla="*/ 1076 h 1082"/>
                  <a:gd name="T2" fmla="*/ 330 w 1082"/>
                  <a:gd name="T3" fmla="*/ 1039 h 1082"/>
                  <a:gd name="T4" fmla="*/ 217 w 1082"/>
                  <a:gd name="T5" fmla="*/ 974 h 1082"/>
                  <a:gd name="T6" fmla="*/ 124 w 1082"/>
                  <a:gd name="T7" fmla="*/ 885 h 1082"/>
                  <a:gd name="T8" fmla="*/ 54 w 1082"/>
                  <a:gd name="T9" fmla="*/ 775 h 1082"/>
                  <a:gd name="T10" fmla="*/ 11 w 1082"/>
                  <a:gd name="T11" fmla="*/ 650 h 1082"/>
                  <a:gd name="T12" fmla="*/ 0 w 1082"/>
                  <a:gd name="T13" fmla="*/ 540 h 1082"/>
                  <a:gd name="T14" fmla="*/ 17 w 1082"/>
                  <a:gd name="T15" fmla="*/ 406 h 1082"/>
                  <a:gd name="T16" fmla="*/ 65 w 1082"/>
                  <a:gd name="T17" fmla="*/ 283 h 1082"/>
                  <a:gd name="T18" fmla="*/ 140 w 1082"/>
                  <a:gd name="T19" fmla="*/ 177 h 1082"/>
                  <a:gd name="T20" fmla="*/ 238 w 1082"/>
                  <a:gd name="T21" fmla="*/ 93 h 1082"/>
                  <a:gd name="T22" fmla="*/ 355 w 1082"/>
                  <a:gd name="T23" fmla="*/ 33 h 1082"/>
                  <a:gd name="T24" fmla="*/ 486 w 1082"/>
                  <a:gd name="T25" fmla="*/ 3 h 1082"/>
                  <a:gd name="T26" fmla="*/ 597 w 1082"/>
                  <a:gd name="T27" fmla="*/ 3 h 1082"/>
                  <a:gd name="T28" fmla="*/ 727 w 1082"/>
                  <a:gd name="T29" fmla="*/ 33 h 1082"/>
                  <a:gd name="T30" fmla="*/ 843 w 1082"/>
                  <a:gd name="T31" fmla="*/ 93 h 1082"/>
                  <a:gd name="T32" fmla="*/ 941 w 1082"/>
                  <a:gd name="T33" fmla="*/ 177 h 1082"/>
                  <a:gd name="T34" fmla="*/ 1016 w 1082"/>
                  <a:gd name="T35" fmla="*/ 283 h 1082"/>
                  <a:gd name="T36" fmla="*/ 1065 w 1082"/>
                  <a:gd name="T37" fmla="*/ 406 h 1082"/>
                  <a:gd name="T38" fmla="*/ 1082 w 1082"/>
                  <a:gd name="T39" fmla="*/ 540 h 1082"/>
                  <a:gd name="T40" fmla="*/ 1072 w 1082"/>
                  <a:gd name="T41" fmla="*/ 650 h 1082"/>
                  <a:gd name="T42" fmla="*/ 1029 w 1082"/>
                  <a:gd name="T43" fmla="*/ 775 h 1082"/>
                  <a:gd name="T44" fmla="*/ 959 w 1082"/>
                  <a:gd name="T45" fmla="*/ 885 h 1082"/>
                  <a:gd name="T46" fmla="*/ 864 w 1082"/>
                  <a:gd name="T47" fmla="*/ 974 h 1082"/>
                  <a:gd name="T48" fmla="*/ 751 w 1082"/>
                  <a:gd name="T49" fmla="*/ 1039 h 1082"/>
                  <a:gd name="T50" fmla="*/ 623 w 1082"/>
                  <a:gd name="T51" fmla="*/ 1076 h 1082"/>
                  <a:gd name="T52" fmla="*/ 541 w 1082"/>
                  <a:gd name="T53" fmla="*/ 21 h 1082"/>
                  <a:gd name="T54" fmla="*/ 437 w 1082"/>
                  <a:gd name="T55" fmla="*/ 31 h 1082"/>
                  <a:gd name="T56" fmla="*/ 316 w 1082"/>
                  <a:gd name="T57" fmla="*/ 73 h 1082"/>
                  <a:gd name="T58" fmla="*/ 211 w 1082"/>
                  <a:gd name="T59" fmla="*/ 140 h 1082"/>
                  <a:gd name="T60" fmla="*/ 125 w 1082"/>
                  <a:gd name="T61" fmla="*/ 230 h 1082"/>
                  <a:gd name="T62" fmla="*/ 63 w 1082"/>
                  <a:gd name="T63" fmla="*/ 339 h 1082"/>
                  <a:gd name="T64" fmla="*/ 27 w 1082"/>
                  <a:gd name="T65" fmla="*/ 462 h 1082"/>
                  <a:gd name="T66" fmla="*/ 22 w 1082"/>
                  <a:gd name="T67" fmla="*/ 568 h 1082"/>
                  <a:gd name="T68" fmla="*/ 45 w 1082"/>
                  <a:gd name="T69" fmla="*/ 695 h 1082"/>
                  <a:gd name="T70" fmla="*/ 96 w 1082"/>
                  <a:gd name="T71" fmla="*/ 810 h 1082"/>
                  <a:gd name="T72" fmla="*/ 174 w 1082"/>
                  <a:gd name="T73" fmla="*/ 908 h 1082"/>
                  <a:gd name="T74" fmla="*/ 272 w 1082"/>
                  <a:gd name="T75" fmla="*/ 985 h 1082"/>
                  <a:gd name="T76" fmla="*/ 387 w 1082"/>
                  <a:gd name="T77" fmla="*/ 1037 h 1082"/>
                  <a:gd name="T78" fmla="*/ 515 w 1082"/>
                  <a:gd name="T79" fmla="*/ 1059 h 1082"/>
                  <a:gd name="T80" fmla="*/ 620 w 1082"/>
                  <a:gd name="T81" fmla="*/ 1054 h 1082"/>
                  <a:gd name="T82" fmla="*/ 744 w 1082"/>
                  <a:gd name="T83" fmla="*/ 1019 h 1082"/>
                  <a:gd name="T84" fmla="*/ 852 w 1082"/>
                  <a:gd name="T85" fmla="*/ 957 h 1082"/>
                  <a:gd name="T86" fmla="*/ 942 w 1082"/>
                  <a:gd name="T87" fmla="*/ 871 h 1082"/>
                  <a:gd name="T88" fmla="*/ 1010 w 1082"/>
                  <a:gd name="T89" fmla="*/ 766 h 1082"/>
                  <a:gd name="T90" fmla="*/ 1050 w 1082"/>
                  <a:gd name="T91" fmla="*/ 646 h 1082"/>
                  <a:gd name="T92" fmla="*/ 1060 w 1082"/>
                  <a:gd name="T93" fmla="*/ 540 h 1082"/>
                  <a:gd name="T94" fmla="*/ 1044 w 1082"/>
                  <a:gd name="T95" fmla="*/ 411 h 1082"/>
                  <a:gd name="T96" fmla="*/ 997 w 1082"/>
                  <a:gd name="T97" fmla="*/ 293 h 1082"/>
                  <a:gd name="T98" fmla="*/ 926 w 1082"/>
                  <a:gd name="T99" fmla="*/ 191 h 1082"/>
                  <a:gd name="T100" fmla="*/ 832 w 1082"/>
                  <a:gd name="T101" fmla="*/ 111 h 1082"/>
                  <a:gd name="T102" fmla="*/ 720 w 1082"/>
                  <a:gd name="T103" fmla="*/ 53 h 1082"/>
                  <a:gd name="T104" fmla="*/ 594 w 1082"/>
                  <a:gd name="T105" fmla="*/ 24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82" h="1082">
                    <a:moveTo>
                      <a:pt x="541" y="1082"/>
                    </a:moveTo>
                    <a:lnTo>
                      <a:pt x="541" y="1082"/>
                    </a:lnTo>
                    <a:lnTo>
                      <a:pt x="514" y="1081"/>
                    </a:lnTo>
                    <a:lnTo>
                      <a:pt x="486" y="1079"/>
                    </a:lnTo>
                    <a:lnTo>
                      <a:pt x="458" y="1076"/>
                    </a:lnTo>
                    <a:lnTo>
                      <a:pt x="432" y="1070"/>
                    </a:lnTo>
                    <a:lnTo>
                      <a:pt x="406" y="1064"/>
                    </a:lnTo>
                    <a:lnTo>
                      <a:pt x="380" y="1057"/>
                    </a:lnTo>
                    <a:lnTo>
                      <a:pt x="355" y="1049"/>
                    </a:lnTo>
                    <a:lnTo>
                      <a:pt x="330" y="1039"/>
                    </a:lnTo>
                    <a:lnTo>
                      <a:pt x="306" y="1028"/>
                    </a:lnTo>
                    <a:lnTo>
                      <a:pt x="284" y="1016"/>
                    </a:lnTo>
                    <a:lnTo>
                      <a:pt x="261" y="1003"/>
                    </a:lnTo>
                    <a:lnTo>
                      <a:pt x="238" y="989"/>
                    </a:lnTo>
                    <a:lnTo>
                      <a:pt x="217" y="974"/>
                    </a:lnTo>
                    <a:lnTo>
                      <a:pt x="197" y="957"/>
                    </a:lnTo>
                    <a:lnTo>
                      <a:pt x="178" y="941"/>
                    </a:lnTo>
                    <a:lnTo>
                      <a:pt x="159" y="923"/>
                    </a:lnTo>
                    <a:lnTo>
                      <a:pt x="140" y="905"/>
                    </a:lnTo>
                    <a:lnTo>
                      <a:pt x="124" y="885"/>
                    </a:lnTo>
                    <a:lnTo>
                      <a:pt x="108" y="864"/>
                    </a:lnTo>
                    <a:lnTo>
                      <a:pt x="93" y="843"/>
                    </a:lnTo>
                    <a:lnTo>
                      <a:pt x="79" y="820"/>
                    </a:lnTo>
                    <a:lnTo>
                      <a:pt x="65" y="798"/>
                    </a:lnTo>
                    <a:lnTo>
                      <a:pt x="54" y="775"/>
                    </a:lnTo>
                    <a:lnTo>
                      <a:pt x="42" y="751"/>
                    </a:lnTo>
                    <a:lnTo>
                      <a:pt x="34" y="726"/>
                    </a:lnTo>
                    <a:lnTo>
                      <a:pt x="25" y="701"/>
                    </a:lnTo>
                    <a:lnTo>
                      <a:pt x="17" y="676"/>
                    </a:lnTo>
                    <a:lnTo>
                      <a:pt x="11" y="650"/>
                    </a:lnTo>
                    <a:lnTo>
                      <a:pt x="6" y="623"/>
                    </a:lnTo>
                    <a:lnTo>
                      <a:pt x="3" y="596"/>
                    </a:lnTo>
                    <a:lnTo>
                      <a:pt x="1" y="569"/>
                    </a:lnTo>
                    <a:lnTo>
                      <a:pt x="0" y="540"/>
                    </a:lnTo>
                    <a:lnTo>
                      <a:pt x="0" y="540"/>
                    </a:lnTo>
                    <a:lnTo>
                      <a:pt x="1" y="513"/>
                    </a:lnTo>
                    <a:lnTo>
                      <a:pt x="3" y="485"/>
                    </a:lnTo>
                    <a:lnTo>
                      <a:pt x="6" y="459"/>
                    </a:lnTo>
                    <a:lnTo>
                      <a:pt x="11" y="432"/>
                    </a:lnTo>
                    <a:lnTo>
                      <a:pt x="17" y="406"/>
                    </a:lnTo>
                    <a:lnTo>
                      <a:pt x="25" y="381"/>
                    </a:lnTo>
                    <a:lnTo>
                      <a:pt x="34" y="356"/>
                    </a:lnTo>
                    <a:lnTo>
                      <a:pt x="42" y="330"/>
                    </a:lnTo>
                    <a:lnTo>
                      <a:pt x="54" y="307"/>
                    </a:lnTo>
                    <a:lnTo>
                      <a:pt x="65" y="283"/>
                    </a:lnTo>
                    <a:lnTo>
                      <a:pt x="79" y="260"/>
                    </a:lnTo>
                    <a:lnTo>
                      <a:pt x="93" y="239"/>
                    </a:lnTo>
                    <a:lnTo>
                      <a:pt x="108" y="217"/>
                    </a:lnTo>
                    <a:lnTo>
                      <a:pt x="124" y="197"/>
                    </a:lnTo>
                    <a:lnTo>
                      <a:pt x="140" y="177"/>
                    </a:lnTo>
                    <a:lnTo>
                      <a:pt x="159" y="158"/>
                    </a:lnTo>
                    <a:lnTo>
                      <a:pt x="178" y="141"/>
                    </a:lnTo>
                    <a:lnTo>
                      <a:pt x="197" y="123"/>
                    </a:lnTo>
                    <a:lnTo>
                      <a:pt x="217" y="108"/>
                    </a:lnTo>
                    <a:lnTo>
                      <a:pt x="238" y="93"/>
                    </a:lnTo>
                    <a:lnTo>
                      <a:pt x="261" y="78"/>
                    </a:lnTo>
                    <a:lnTo>
                      <a:pt x="284" y="65"/>
                    </a:lnTo>
                    <a:lnTo>
                      <a:pt x="306" y="53"/>
                    </a:lnTo>
                    <a:lnTo>
                      <a:pt x="330" y="43"/>
                    </a:lnTo>
                    <a:lnTo>
                      <a:pt x="355" y="33"/>
                    </a:lnTo>
                    <a:lnTo>
                      <a:pt x="380" y="24"/>
                    </a:lnTo>
                    <a:lnTo>
                      <a:pt x="406" y="18"/>
                    </a:lnTo>
                    <a:lnTo>
                      <a:pt x="432" y="11"/>
                    </a:lnTo>
                    <a:lnTo>
                      <a:pt x="458" y="6"/>
                    </a:lnTo>
                    <a:lnTo>
                      <a:pt x="486" y="3"/>
                    </a:lnTo>
                    <a:lnTo>
                      <a:pt x="514" y="1"/>
                    </a:lnTo>
                    <a:lnTo>
                      <a:pt x="541" y="0"/>
                    </a:lnTo>
                    <a:lnTo>
                      <a:pt x="541" y="0"/>
                    </a:lnTo>
                    <a:lnTo>
                      <a:pt x="569" y="1"/>
                    </a:lnTo>
                    <a:lnTo>
                      <a:pt x="597" y="3"/>
                    </a:lnTo>
                    <a:lnTo>
                      <a:pt x="623" y="6"/>
                    </a:lnTo>
                    <a:lnTo>
                      <a:pt x="649" y="11"/>
                    </a:lnTo>
                    <a:lnTo>
                      <a:pt x="676" y="18"/>
                    </a:lnTo>
                    <a:lnTo>
                      <a:pt x="702" y="24"/>
                    </a:lnTo>
                    <a:lnTo>
                      <a:pt x="727" y="33"/>
                    </a:lnTo>
                    <a:lnTo>
                      <a:pt x="751" y="43"/>
                    </a:lnTo>
                    <a:lnTo>
                      <a:pt x="775" y="53"/>
                    </a:lnTo>
                    <a:lnTo>
                      <a:pt x="799" y="65"/>
                    </a:lnTo>
                    <a:lnTo>
                      <a:pt x="822" y="78"/>
                    </a:lnTo>
                    <a:lnTo>
                      <a:pt x="843" y="93"/>
                    </a:lnTo>
                    <a:lnTo>
                      <a:pt x="864" y="108"/>
                    </a:lnTo>
                    <a:lnTo>
                      <a:pt x="884" y="123"/>
                    </a:lnTo>
                    <a:lnTo>
                      <a:pt x="904" y="141"/>
                    </a:lnTo>
                    <a:lnTo>
                      <a:pt x="923" y="158"/>
                    </a:lnTo>
                    <a:lnTo>
                      <a:pt x="941" y="177"/>
                    </a:lnTo>
                    <a:lnTo>
                      <a:pt x="959" y="197"/>
                    </a:lnTo>
                    <a:lnTo>
                      <a:pt x="975" y="217"/>
                    </a:lnTo>
                    <a:lnTo>
                      <a:pt x="990" y="239"/>
                    </a:lnTo>
                    <a:lnTo>
                      <a:pt x="1004" y="260"/>
                    </a:lnTo>
                    <a:lnTo>
                      <a:pt x="1016" y="283"/>
                    </a:lnTo>
                    <a:lnTo>
                      <a:pt x="1029" y="307"/>
                    </a:lnTo>
                    <a:lnTo>
                      <a:pt x="1039" y="330"/>
                    </a:lnTo>
                    <a:lnTo>
                      <a:pt x="1049" y="356"/>
                    </a:lnTo>
                    <a:lnTo>
                      <a:pt x="1058" y="381"/>
                    </a:lnTo>
                    <a:lnTo>
                      <a:pt x="1065" y="406"/>
                    </a:lnTo>
                    <a:lnTo>
                      <a:pt x="1072" y="432"/>
                    </a:lnTo>
                    <a:lnTo>
                      <a:pt x="1075" y="459"/>
                    </a:lnTo>
                    <a:lnTo>
                      <a:pt x="1079" y="485"/>
                    </a:lnTo>
                    <a:lnTo>
                      <a:pt x="1082" y="513"/>
                    </a:lnTo>
                    <a:lnTo>
                      <a:pt x="1082" y="540"/>
                    </a:lnTo>
                    <a:lnTo>
                      <a:pt x="1082" y="540"/>
                    </a:lnTo>
                    <a:lnTo>
                      <a:pt x="1082" y="569"/>
                    </a:lnTo>
                    <a:lnTo>
                      <a:pt x="1079" y="596"/>
                    </a:lnTo>
                    <a:lnTo>
                      <a:pt x="1075" y="623"/>
                    </a:lnTo>
                    <a:lnTo>
                      <a:pt x="1072" y="650"/>
                    </a:lnTo>
                    <a:lnTo>
                      <a:pt x="1065" y="676"/>
                    </a:lnTo>
                    <a:lnTo>
                      <a:pt x="1058" y="701"/>
                    </a:lnTo>
                    <a:lnTo>
                      <a:pt x="1049" y="726"/>
                    </a:lnTo>
                    <a:lnTo>
                      <a:pt x="1039" y="751"/>
                    </a:lnTo>
                    <a:lnTo>
                      <a:pt x="1029" y="775"/>
                    </a:lnTo>
                    <a:lnTo>
                      <a:pt x="1016" y="798"/>
                    </a:lnTo>
                    <a:lnTo>
                      <a:pt x="1004" y="820"/>
                    </a:lnTo>
                    <a:lnTo>
                      <a:pt x="990" y="843"/>
                    </a:lnTo>
                    <a:lnTo>
                      <a:pt x="975" y="864"/>
                    </a:lnTo>
                    <a:lnTo>
                      <a:pt x="959" y="885"/>
                    </a:lnTo>
                    <a:lnTo>
                      <a:pt x="941" y="905"/>
                    </a:lnTo>
                    <a:lnTo>
                      <a:pt x="923" y="923"/>
                    </a:lnTo>
                    <a:lnTo>
                      <a:pt x="904" y="941"/>
                    </a:lnTo>
                    <a:lnTo>
                      <a:pt x="884" y="957"/>
                    </a:lnTo>
                    <a:lnTo>
                      <a:pt x="864" y="974"/>
                    </a:lnTo>
                    <a:lnTo>
                      <a:pt x="843" y="989"/>
                    </a:lnTo>
                    <a:lnTo>
                      <a:pt x="822" y="1003"/>
                    </a:lnTo>
                    <a:lnTo>
                      <a:pt x="799" y="1016"/>
                    </a:lnTo>
                    <a:lnTo>
                      <a:pt x="775" y="1028"/>
                    </a:lnTo>
                    <a:lnTo>
                      <a:pt x="751" y="1039"/>
                    </a:lnTo>
                    <a:lnTo>
                      <a:pt x="727" y="1049"/>
                    </a:lnTo>
                    <a:lnTo>
                      <a:pt x="702" y="1057"/>
                    </a:lnTo>
                    <a:lnTo>
                      <a:pt x="676" y="1064"/>
                    </a:lnTo>
                    <a:lnTo>
                      <a:pt x="649" y="1070"/>
                    </a:lnTo>
                    <a:lnTo>
                      <a:pt x="623" y="1076"/>
                    </a:lnTo>
                    <a:lnTo>
                      <a:pt x="597" y="1079"/>
                    </a:lnTo>
                    <a:lnTo>
                      <a:pt x="569" y="1081"/>
                    </a:lnTo>
                    <a:lnTo>
                      <a:pt x="541" y="1082"/>
                    </a:lnTo>
                    <a:lnTo>
                      <a:pt x="541" y="1082"/>
                    </a:lnTo>
                    <a:close/>
                    <a:moveTo>
                      <a:pt x="541" y="21"/>
                    </a:moveTo>
                    <a:lnTo>
                      <a:pt x="541" y="21"/>
                    </a:lnTo>
                    <a:lnTo>
                      <a:pt x="515" y="21"/>
                    </a:lnTo>
                    <a:lnTo>
                      <a:pt x="489" y="24"/>
                    </a:lnTo>
                    <a:lnTo>
                      <a:pt x="462" y="28"/>
                    </a:lnTo>
                    <a:lnTo>
                      <a:pt x="437" y="31"/>
                    </a:lnTo>
                    <a:lnTo>
                      <a:pt x="412" y="38"/>
                    </a:lnTo>
                    <a:lnTo>
                      <a:pt x="387" y="44"/>
                    </a:lnTo>
                    <a:lnTo>
                      <a:pt x="363" y="53"/>
                    </a:lnTo>
                    <a:lnTo>
                      <a:pt x="339" y="62"/>
                    </a:lnTo>
                    <a:lnTo>
                      <a:pt x="316" y="73"/>
                    </a:lnTo>
                    <a:lnTo>
                      <a:pt x="294" y="84"/>
                    </a:lnTo>
                    <a:lnTo>
                      <a:pt x="272" y="97"/>
                    </a:lnTo>
                    <a:lnTo>
                      <a:pt x="251" y="111"/>
                    </a:lnTo>
                    <a:lnTo>
                      <a:pt x="231" y="124"/>
                    </a:lnTo>
                    <a:lnTo>
                      <a:pt x="211" y="140"/>
                    </a:lnTo>
                    <a:lnTo>
                      <a:pt x="192" y="156"/>
                    </a:lnTo>
                    <a:lnTo>
                      <a:pt x="174" y="173"/>
                    </a:lnTo>
                    <a:lnTo>
                      <a:pt x="157" y="191"/>
                    </a:lnTo>
                    <a:lnTo>
                      <a:pt x="140" y="210"/>
                    </a:lnTo>
                    <a:lnTo>
                      <a:pt x="125" y="230"/>
                    </a:lnTo>
                    <a:lnTo>
                      <a:pt x="110" y="250"/>
                    </a:lnTo>
                    <a:lnTo>
                      <a:pt x="96" y="271"/>
                    </a:lnTo>
                    <a:lnTo>
                      <a:pt x="84" y="293"/>
                    </a:lnTo>
                    <a:lnTo>
                      <a:pt x="73" y="315"/>
                    </a:lnTo>
                    <a:lnTo>
                      <a:pt x="63" y="339"/>
                    </a:lnTo>
                    <a:lnTo>
                      <a:pt x="52" y="362"/>
                    </a:lnTo>
                    <a:lnTo>
                      <a:pt x="45" y="387"/>
                    </a:lnTo>
                    <a:lnTo>
                      <a:pt x="37" y="411"/>
                    </a:lnTo>
                    <a:lnTo>
                      <a:pt x="32" y="436"/>
                    </a:lnTo>
                    <a:lnTo>
                      <a:pt x="27" y="462"/>
                    </a:lnTo>
                    <a:lnTo>
                      <a:pt x="24" y="488"/>
                    </a:lnTo>
                    <a:lnTo>
                      <a:pt x="22" y="514"/>
                    </a:lnTo>
                    <a:lnTo>
                      <a:pt x="21" y="540"/>
                    </a:lnTo>
                    <a:lnTo>
                      <a:pt x="21" y="540"/>
                    </a:lnTo>
                    <a:lnTo>
                      <a:pt x="22" y="568"/>
                    </a:lnTo>
                    <a:lnTo>
                      <a:pt x="24" y="594"/>
                    </a:lnTo>
                    <a:lnTo>
                      <a:pt x="27" y="619"/>
                    </a:lnTo>
                    <a:lnTo>
                      <a:pt x="32" y="646"/>
                    </a:lnTo>
                    <a:lnTo>
                      <a:pt x="37" y="671"/>
                    </a:lnTo>
                    <a:lnTo>
                      <a:pt x="45" y="695"/>
                    </a:lnTo>
                    <a:lnTo>
                      <a:pt x="52" y="719"/>
                    </a:lnTo>
                    <a:lnTo>
                      <a:pt x="63" y="743"/>
                    </a:lnTo>
                    <a:lnTo>
                      <a:pt x="73" y="766"/>
                    </a:lnTo>
                    <a:lnTo>
                      <a:pt x="84" y="788"/>
                    </a:lnTo>
                    <a:lnTo>
                      <a:pt x="96" y="810"/>
                    </a:lnTo>
                    <a:lnTo>
                      <a:pt x="110" y="831"/>
                    </a:lnTo>
                    <a:lnTo>
                      <a:pt x="125" y="852"/>
                    </a:lnTo>
                    <a:lnTo>
                      <a:pt x="140" y="871"/>
                    </a:lnTo>
                    <a:lnTo>
                      <a:pt x="157" y="890"/>
                    </a:lnTo>
                    <a:lnTo>
                      <a:pt x="174" y="908"/>
                    </a:lnTo>
                    <a:lnTo>
                      <a:pt x="192" y="925"/>
                    </a:lnTo>
                    <a:lnTo>
                      <a:pt x="211" y="941"/>
                    </a:lnTo>
                    <a:lnTo>
                      <a:pt x="231" y="957"/>
                    </a:lnTo>
                    <a:lnTo>
                      <a:pt x="251" y="971"/>
                    </a:lnTo>
                    <a:lnTo>
                      <a:pt x="272" y="985"/>
                    </a:lnTo>
                    <a:lnTo>
                      <a:pt x="294" y="998"/>
                    </a:lnTo>
                    <a:lnTo>
                      <a:pt x="316" y="1009"/>
                    </a:lnTo>
                    <a:lnTo>
                      <a:pt x="339" y="1019"/>
                    </a:lnTo>
                    <a:lnTo>
                      <a:pt x="363" y="1029"/>
                    </a:lnTo>
                    <a:lnTo>
                      <a:pt x="387" y="1037"/>
                    </a:lnTo>
                    <a:lnTo>
                      <a:pt x="412" y="1044"/>
                    </a:lnTo>
                    <a:lnTo>
                      <a:pt x="437" y="1050"/>
                    </a:lnTo>
                    <a:lnTo>
                      <a:pt x="462" y="1054"/>
                    </a:lnTo>
                    <a:lnTo>
                      <a:pt x="489" y="1058"/>
                    </a:lnTo>
                    <a:lnTo>
                      <a:pt x="515" y="1059"/>
                    </a:lnTo>
                    <a:lnTo>
                      <a:pt x="541" y="1060"/>
                    </a:lnTo>
                    <a:lnTo>
                      <a:pt x="541" y="1060"/>
                    </a:lnTo>
                    <a:lnTo>
                      <a:pt x="568" y="1059"/>
                    </a:lnTo>
                    <a:lnTo>
                      <a:pt x="594" y="1058"/>
                    </a:lnTo>
                    <a:lnTo>
                      <a:pt x="620" y="1054"/>
                    </a:lnTo>
                    <a:lnTo>
                      <a:pt x="646" y="1050"/>
                    </a:lnTo>
                    <a:lnTo>
                      <a:pt x="671" y="1044"/>
                    </a:lnTo>
                    <a:lnTo>
                      <a:pt x="696" y="1037"/>
                    </a:lnTo>
                    <a:lnTo>
                      <a:pt x="720" y="1029"/>
                    </a:lnTo>
                    <a:lnTo>
                      <a:pt x="744" y="1019"/>
                    </a:lnTo>
                    <a:lnTo>
                      <a:pt x="766" y="1009"/>
                    </a:lnTo>
                    <a:lnTo>
                      <a:pt x="789" y="998"/>
                    </a:lnTo>
                    <a:lnTo>
                      <a:pt x="810" y="985"/>
                    </a:lnTo>
                    <a:lnTo>
                      <a:pt x="832" y="971"/>
                    </a:lnTo>
                    <a:lnTo>
                      <a:pt x="852" y="957"/>
                    </a:lnTo>
                    <a:lnTo>
                      <a:pt x="872" y="941"/>
                    </a:lnTo>
                    <a:lnTo>
                      <a:pt x="891" y="925"/>
                    </a:lnTo>
                    <a:lnTo>
                      <a:pt x="908" y="908"/>
                    </a:lnTo>
                    <a:lnTo>
                      <a:pt x="926" y="890"/>
                    </a:lnTo>
                    <a:lnTo>
                      <a:pt x="942" y="871"/>
                    </a:lnTo>
                    <a:lnTo>
                      <a:pt x="957" y="852"/>
                    </a:lnTo>
                    <a:lnTo>
                      <a:pt x="972" y="831"/>
                    </a:lnTo>
                    <a:lnTo>
                      <a:pt x="985" y="810"/>
                    </a:lnTo>
                    <a:lnTo>
                      <a:pt x="997" y="788"/>
                    </a:lnTo>
                    <a:lnTo>
                      <a:pt x="1010" y="766"/>
                    </a:lnTo>
                    <a:lnTo>
                      <a:pt x="1020" y="743"/>
                    </a:lnTo>
                    <a:lnTo>
                      <a:pt x="1029" y="719"/>
                    </a:lnTo>
                    <a:lnTo>
                      <a:pt x="1038" y="695"/>
                    </a:lnTo>
                    <a:lnTo>
                      <a:pt x="1044" y="671"/>
                    </a:lnTo>
                    <a:lnTo>
                      <a:pt x="1050" y="646"/>
                    </a:lnTo>
                    <a:lnTo>
                      <a:pt x="1055" y="619"/>
                    </a:lnTo>
                    <a:lnTo>
                      <a:pt x="1058" y="594"/>
                    </a:lnTo>
                    <a:lnTo>
                      <a:pt x="1060" y="568"/>
                    </a:lnTo>
                    <a:lnTo>
                      <a:pt x="1060" y="540"/>
                    </a:lnTo>
                    <a:lnTo>
                      <a:pt x="1060" y="540"/>
                    </a:lnTo>
                    <a:lnTo>
                      <a:pt x="1060" y="514"/>
                    </a:lnTo>
                    <a:lnTo>
                      <a:pt x="1058" y="488"/>
                    </a:lnTo>
                    <a:lnTo>
                      <a:pt x="1055" y="462"/>
                    </a:lnTo>
                    <a:lnTo>
                      <a:pt x="1050" y="436"/>
                    </a:lnTo>
                    <a:lnTo>
                      <a:pt x="1044" y="411"/>
                    </a:lnTo>
                    <a:lnTo>
                      <a:pt x="1038" y="387"/>
                    </a:lnTo>
                    <a:lnTo>
                      <a:pt x="1029" y="362"/>
                    </a:lnTo>
                    <a:lnTo>
                      <a:pt x="1020" y="339"/>
                    </a:lnTo>
                    <a:lnTo>
                      <a:pt x="1010" y="315"/>
                    </a:lnTo>
                    <a:lnTo>
                      <a:pt x="997" y="293"/>
                    </a:lnTo>
                    <a:lnTo>
                      <a:pt x="985" y="271"/>
                    </a:lnTo>
                    <a:lnTo>
                      <a:pt x="972" y="250"/>
                    </a:lnTo>
                    <a:lnTo>
                      <a:pt x="957" y="230"/>
                    </a:lnTo>
                    <a:lnTo>
                      <a:pt x="942" y="210"/>
                    </a:lnTo>
                    <a:lnTo>
                      <a:pt x="926" y="191"/>
                    </a:lnTo>
                    <a:lnTo>
                      <a:pt x="908" y="173"/>
                    </a:lnTo>
                    <a:lnTo>
                      <a:pt x="891" y="156"/>
                    </a:lnTo>
                    <a:lnTo>
                      <a:pt x="872" y="140"/>
                    </a:lnTo>
                    <a:lnTo>
                      <a:pt x="852" y="124"/>
                    </a:lnTo>
                    <a:lnTo>
                      <a:pt x="832" y="111"/>
                    </a:lnTo>
                    <a:lnTo>
                      <a:pt x="810" y="97"/>
                    </a:lnTo>
                    <a:lnTo>
                      <a:pt x="789" y="84"/>
                    </a:lnTo>
                    <a:lnTo>
                      <a:pt x="766" y="73"/>
                    </a:lnTo>
                    <a:lnTo>
                      <a:pt x="744" y="62"/>
                    </a:lnTo>
                    <a:lnTo>
                      <a:pt x="720" y="53"/>
                    </a:lnTo>
                    <a:lnTo>
                      <a:pt x="696" y="44"/>
                    </a:lnTo>
                    <a:lnTo>
                      <a:pt x="671" y="38"/>
                    </a:lnTo>
                    <a:lnTo>
                      <a:pt x="646" y="31"/>
                    </a:lnTo>
                    <a:lnTo>
                      <a:pt x="620" y="28"/>
                    </a:lnTo>
                    <a:lnTo>
                      <a:pt x="594" y="24"/>
                    </a:lnTo>
                    <a:lnTo>
                      <a:pt x="568" y="21"/>
                    </a:lnTo>
                    <a:lnTo>
                      <a:pt x="541" y="21"/>
                    </a:lnTo>
                    <a:lnTo>
                      <a:pt x="541" y="21"/>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56" name="Freeform 48"/>
              <p:cNvSpPr>
                <a:spLocks noEditPoints="1"/>
              </p:cNvSpPr>
              <p:nvPr/>
            </p:nvSpPr>
            <p:spPr bwMode="auto">
              <a:xfrm>
                <a:off x="3674062" y="3444577"/>
                <a:ext cx="185632" cy="183593"/>
              </a:xfrm>
              <a:custGeom>
                <a:avLst/>
                <a:gdLst>
                  <a:gd name="T0" fmla="*/ 90 w 181"/>
                  <a:gd name="T1" fmla="*/ 180 h 180"/>
                  <a:gd name="T2" fmla="*/ 71 w 181"/>
                  <a:gd name="T3" fmla="*/ 178 h 180"/>
                  <a:gd name="T4" fmla="*/ 55 w 181"/>
                  <a:gd name="T5" fmla="*/ 172 h 180"/>
                  <a:gd name="T6" fmla="*/ 40 w 181"/>
                  <a:gd name="T7" fmla="*/ 165 h 180"/>
                  <a:gd name="T8" fmla="*/ 26 w 181"/>
                  <a:gd name="T9" fmla="*/ 153 h 180"/>
                  <a:gd name="T10" fmla="*/ 15 w 181"/>
                  <a:gd name="T11" fmla="*/ 140 h 180"/>
                  <a:gd name="T12" fmla="*/ 7 w 181"/>
                  <a:gd name="T13" fmla="*/ 124 h 180"/>
                  <a:gd name="T14" fmla="*/ 2 w 181"/>
                  <a:gd name="T15" fmla="*/ 108 h 180"/>
                  <a:gd name="T16" fmla="*/ 0 w 181"/>
                  <a:gd name="T17" fmla="*/ 89 h 180"/>
                  <a:gd name="T18" fmla="*/ 0 w 181"/>
                  <a:gd name="T19" fmla="*/ 81 h 180"/>
                  <a:gd name="T20" fmla="*/ 4 w 181"/>
                  <a:gd name="T21" fmla="*/ 63 h 180"/>
                  <a:gd name="T22" fmla="*/ 11 w 181"/>
                  <a:gd name="T23" fmla="*/ 47 h 180"/>
                  <a:gd name="T24" fmla="*/ 20 w 181"/>
                  <a:gd name="T25" fmla="*/ 33 h 180"/>
                  <a:gd name="T26" fmla="*/ 33 w 181"/>
                  <a:gd name="T27" fmla="*/ 20 h 180"/>
                  <a:gd name="T28" fmla="*/ 48 w 181"/>
                  <a:gd name="T29" fmla="*/ 10 h 180"/>
                  <a:gd name="T30" fmla="*/ 64 w 181"/>
                  <a:gd name="T31" fmla="*/ 4 h 180"/>
                  <a:gd name="T32" fmla="*/ 82 w 181"/>
                  <a:gd name="T33" fmla="*/ 0 h 180"/>
                  <a:gd name="T34" fmla="*/ 90 w 181"/>
                  <a:gd name="T35" fmla="*/ 0 h 180"/>
                  <a:gd name="T36" fmla="*/ 108 w 181"/>
                  <a:gd name="T37" fmla="*/ 1 h 180"/>
                  <a:gd name="T38" fmla="*/ 125 w 181"/>
                  <a:gd name="T39" fmla="*/ 6 h 180"/>
                  <a:gd name="T40" fmla="*/ 141 w 181"/>
                  <a:gd name="T41" fmla="*/ 15 h 180"/>
                  <a:gd name="T42" fmla="*/ 154 w 181"/>
                  <a:gd name="T43" fmla="*/ 26 h 180"/>
                  <a:gd name="T44" fmla="*/ 164 w 181"/>
                  <a:gd name="T45" fmla="*/ 39 h 180"/>
                  <a:gd name="T46" fmla="*/ 173 w 181"/>
                  <a:gd name="T47" fmla="*/ 55 h 180"/>
                  <a:gd name="T48" fmla="*/ 178 w 181"/>
                  <a:gd name="T49" fmla="*/ 72 h 180"/>
                  <a:gd name="T50" fmla="*/ 181 w 181"/>
                  <a:gd name="T51" fmla="*/ 89 h 180"/>
                  <a:gd name="T52" fmla="*/ 180 w 181"/>
                  <a:gd name="T53" fmla="*/ 99 h 180"/>
                  <a:gd name="T54" fmla="*/ 176 w 181"/>
                  <a:gd name="T55" fmla="*/ 117 h 180"/>
                  <a:gd name="T56" fmla="*/ 169 w 181"/>
                  <a:gd name="T57" fmla="*/ 133 h 180"/>
                  <a:gd name="T58" fmla="*/ 159 w 181"/>
                  <a:gd name="T59" fmla="*/ 147 h 180"/>
                  <a:gd name="T60" fmla="*/ 147 w 181"/>
                  <a:gd name="T61" fmla="*/ 160 h 180"/>
                  <a:gd name="T62" fmla="*/ 133 w 181"/>
                  <a:gd name="T63" fmla="*/ 168 h 180"/>
                  <a:gd name="T64" fmla="*/ 117 w 181"/>
                  <a:gd name="T65" fmla="*/ 176 h 180"/>
                  <a:gd name="T66" fmla="*/ 99 w 181"/>
                  <a:gd name="T67" fmla="*/ 180 h 180"/>
                  <a:gd name="T68" fmla="*/ 90 w 181"/>
                  <a:gd name="T69" fmla="*/ 180 h 180"/>
                  <a:gd name="T70" fmla="*/ 90 w 181"/>
                  <a:gd name="T71" fmla="*/ 21 h 180"/>
                  <a:gd name="T72" fmla="*/ 63 w 181"/>
                  <a:gd name="T73" fmla="*/ 26 h 180"/>
                  <a:gd name="T74" fmla="*/ 41 w 181"/>
                  <a:gd name="T75" fmla="*/ 42 h 180"/>
                  <a:gd name="T76" fmla="*/ 26 w 181"/>
                  <a:gd name="T77" fmla="*/ 63 h 180"/>
                  <a:gd name="T78" fmla="*/ 21 w 181"/>
                  <a:gd name="T79" fmla="*/ 89 h 180"/>
                  <a:gd name="T80" fmla="*/ 22 w 181"/>
                  <a:gd name="T81" fmla="*/ 103 h 180"/>
                  <a:gd name="T82" fmla="*/ 33 w 181"/>
                  <a:gd name="T83" fmla="*/ 128 h 180"/>
                  <a:gd name="T84" fmla="*/ 51 w 181"/>
                  <a:gd name="T85" fmla="*/ 147 h 180"/>
                  <a:gd name="T86" fmla="*/ 76 w 181"/>
                  <a:gd name="T87" fmla="*/ 157 h 180"/>
                  <a:gd name="T88" fmla="*/ 90 w 181"/>
                  <a:gd name="T89" fmla="*/ 158 h 180"/>
                  <a:gd name="T90" fmla="*/ 117 w 181"/>
                  <a:gd name="T91" fmla="*/ 153 h 180"/>
                  <a:gd name="T92" fmla="*/ 139 w 181"/>
                  <a:gd name="T93" fmla="*/ 138 h 180"/>
                  <a:gd name="T94" fmla="*/ 153 w 181"/>
                  <a:gd name="T95" fmla="*/ 117 h 180"/>
                  <a:gd name="T96" fmla="*/ 159 w 181"/>
                  <a:gd name="T97" fmla="*/ 89 h 180"/>
                  <a:gd name="T98" fmla="*/ 158 w 181"/>
                  <a:gd name="T99" fmla="*/ 75 h 180"/>
                  <a:gd name="T100" fmla="*/ 147 w 181"/>
                  <a:gd name="T101" fmla="*/ 52 h 180"/>
                  <a:gd name="T102" fmla="*/ 128 w 181"/>
                  <a:gd name="T103" fmla="*/ 33 h 180"/>
                  <a:gd name="T104" fmla="*/ 104 w 181"/>
                  <a:gd name="T105" fmla="*/ 23 h 180"/>
                  <a:gd name="T106" fmla="*/ 90 w 181"/>
                  <a:gd name="T107" fmla="*/ 2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1" h="180">
                    <a:moveTo>
                      <a:pt x="90" y="180"/>
                    </a:moveTo>
                    <a:lnTo>
                      <a:pt x="90" y="180"/>
                    </a:lnTo>
                    <a:lnTo>
                      <a:pt x="82" y="180"/>
                    </a:lnTo>
                    <a:lnTo>
                      <a:pt x="71" y="178"/>
                    </a:lnTo>
                    <a:lnTo>
                      <a:pt x="64" y="176"/>
                    </a:lnTo>
                    <a:lnTo>
                      <a:pt x="55" y="172"/>
                    </a:lnTo>
                    <a:lnTo>
                      <a:pt x="48" y="168"/>
                    </a:lnTo>
                    <a:lnTo>
                      <a:pt x="40" y="165"/>
                    </a:lnTo>
                    <a:lnTo>
                      <a:pt x="33" y="160"/>
                    </a:lnTo>
                    <a:lnTo>
                      <a:pt x="26" y="153"/>
                    </a:lnTo>
                    <a:lnTo>
                      <a:pt x="20" y="147"/>
                    </a:lnTo>
                    <a:lnTo>
                      <a:pt x="15" y="140"/>
                    </a:lnTo>
                    <a:lnTo>
                      <a:pt x="11" y="133"/>
                    </a:lnTo>
                    <a:lnTo>
                      <a:pt x="7" y="124"/>
                    </a:lnTo>
                    <a:lnTo>
                      <a:pt x="4" y="117"/>
                    </a:lnTo>
                    <a:lnTo>
                      <a:pt x="2" y="108"/>
                    </a:lnTo>
                    <a:lnTo>
                      <a:pt x="0" y="99"/>
                    </a:lnTo>
                    <a:lnTo>
                      <a:pt x="0" y="89"/>
                    </a:lnTo>
                    <a:lnTo>
                      <a:pt x="0" y="89"/>
                    </a:lnTo>
                    <a:lnTo>
                      <a:pt x="0" y="81"/>
                    </a:lnTo>
                    <a:lnTo>
                      <a:pt x="2" y="72"/>
                    </a:lnTo>
                    <a:lnTo>
                      <a:pt x="4" y="63"/>
                    </a:lnTo>
                    <a:lnTo>
                      <a:pt x="7" y="55"/>
                    </a:lnTo>
                    <a:lnTo>
                      <a:pt x="11" y="47"/>
                    </a:lnTo>
                    <a:lnTo>
                      <a:pt x="15" y="39"/>
                    </a:lnTo>
                    <a:lnTo>
                      <a:pt x="20" y="33"/>
                    </a:lnTo>
                    <a:lnTo>
                      <a:pt x="26" y="26"/>
                    </a:lnTo>
                    <a:lnTo>
                      <a:pt x="33" y="20"/>
                    </a:lnTo>
                    <a:lnTo>
                      <a:pt x="40" y="15"/>
                    </a:lnTo>
                    <a:lnTo>
                      <a:pt x="48" y="10"/>
                    </a:lnTo>
                    <a:lnTo>
                      <a:pt x="55" y="6"/>
                    </a:lnTo>
                    <a:lnTo>
                      <a:pt x="64" y="4"/>
                    </a:lnTo>
                    <a:lnTo>
                      <a:pt x="71" y="1"/>
                    </a:lnTo>
                    <a:lnTo>
                      <a:pt x="82" y="0"/>
                    </a:lnTo>
                    <a:lnTo>
                      <a:pt x="90" y="0"/>
                    </a:lnTo>
                    <a:lnTo>
                      <a:pt x="90" y="0"/>
                    </a:lnTo>
                    <a:lnTo>
                      <a:pt x="99" y="0"/>
                    </a:lnTo>
                    <a:lnTo>
                      <a:pt x="108" y="1"/>
                    </a:lnTo>
                    <a:lnTo>
                      <a:pt x="117" y="4"/>
                    </a:lnTo>
                    <a:lnTo>
                      <a:pt x="125" y="6"/>
                    </a:lnTo>
                    <a:lnTo>
                      <a:pt x="133" y="10"/>
                    </a:lnTo>
                    <a:lnTo>
                      <a:pt x="141" y="15"/>
                    </a:lnTo>
                    <a:lnTo>
                      <a:pt x="147" y="20"/>
                    </a:lnTo>
                    <a:lnTo>
                      <a:pt x="154" y="26"/>
                    </a:lnTo>
                    <a:lnTo>
                      <a:pt x="159" y="33"/>
                    </a:lnTo>
                    <a:lnTo>
                      <a:pt x="164" y="39"/>
                    </a:lnTo>
                    <a:lnTo>
                      <a:pt x="169" y="47"/>
                    </a:lnTo>
                    <a:lnTo>
                      <a:pt x="173" y="55"/>
                    </a:lnTo>
                    <a:lnTo>
                      <a:pt x="176" y="63"/>
                    </a:lnTo>
                    <a:lnTo>
                      <a:pt x="178" y="72"/>
                    </a:lnTo>
                    <a:lnTo>
                      <a:pt x="180" y="81"/>
                    </a:lnTo>
                    <a:lnTo>
                      <a:pt x="181" y="89"/>
                    </a:lnTo>
                    <a:lnTo>
                      <a:pt x="181" y="89"/>
                    </a:lnTo>
                    <a:lnTo>
                      <a:pt x="180" y="99"/>
                    </a:lnTo>
                    <a:lnTo>
                      <a:pt x="178" y="108"/>
                    </a:lnTo>
                    <a:lnTo>
                      <a:pt x="176" y="117"/>
                    </a:lnTo>
                    <a:lnTo>
                      <a:pt x="173" y="124"/>
                    </a:lnTo>
                    <a:lnTo>
                      <a:pt x="169" y="133"/>
                    </a:lnTo>
                    <a:lnTo>
                      <a:pt x="164" y="140"/>
                    </a:lnTo>
                    <a:lnTo>
                      <a:pt x="159" y="147"/>
                    </a:lnTo>
                    <a:lnTo>
                      <a:pt x="154" y="153"/>
                    </a:lnTo>
                    <a:lnTo>
                      <a:pt x="147" y="160"/>
                    </a:lnTo>
                    <a:lnTo>
                      <a:pt x="141" y="165"/>
                    </a:lnTo>
                    <a:lnTo>
                      <a:pt x="133" y="168"/>
                    </a:lnTo>
                    <a:lnTo>
                      <a:pt x="125" y="172"/>
                    </a:lnTo>
                    <a:lnTo>
                      <a:pt x="117" y="176"/>
                    </a:lnTo>
                    <a:lnTo>
                      <a:pt x="108" y="178"/>
                    </a:lnTo>
                    <a:lnTo>
                      <a:pt x="99" y="180"/>
                    </a:lnTo>
                    <a:lnTo>
                      <a:pt x="90" y="180"/>
                    </a:lnTo>
                    <a:lnTo>
                      <a:pt x="90" y="180"/>
                    </a:lnTo>
                    <a:close/>
                    <a:moveTo>
                      <a:pt x="90" y="21"/>
                    </a:moveTo>
                    <a:lnTo>
                      <a:pt x="90" y="21"/>
                    </a:lnTo>
                    <a:lnTo>
                      <a:pt x="76" y="23"/>
                    </a:lnTo>
                    <a:lnTo>
                      <a:pt x="63" y="26"/>
                    </a:lnTo>
                    <a:lnTo>
                      <a:pt x="51" y="33"/>
                    </a:lnTo>
                    <a:lnTo>
                      <a:pt x="41" y="42"/>
                    </a:lnTo>
                    <a:lnTo>
                      <a:pt x="33" y="52"/>
                    </a:lnTo>
                    <a:lnTo>
                      <a:pt x="26" y="63"/>
                    </a:lnTo>
                    <a:lnTo>
                      <a:pt x="22" y="75"/>
                    </a:lnTo>
                    <a:lnTo>
                      <a:pt x="21" y="89"/>
                    </a:lnTo>
                    <a:lnTo>
                      <a:pt x="21" y="89"/>
                    </a:lnTo>
                    <a:lnTo>
                      <a:pt x="22" y="103"/>
                    </a:lnTo>
                    <a:lnTo>
                      <a:pt x="26" y="117"/>
                    </a:lnTo>
                    <a:lnTo>
                      <a:pt x="33" y="128"/>
                    </a:lnTo>
                    <a:lnTo>
                      <a:pt x="41" y="138"/>
                    </a:lnTo>
                    <a:lnTo>
                      <a:pt x="51" y="147"/>
                    </a:lnTo>
                    <a:lnTo>
                      <a:pt x="63" y="153"/>
                    </a:lnTo>
                    <a:lnTo>
                      <a:pt x="76" y="157"/>
                    </a:lnTo>
                    <a:lnTo>
                      <a:pt x="90" y="158"/>
                    </a:lnTo>
                    <a:lnTo>
                      <a:pt x="90" y="158"/>
                    </a:lnTo>
                    <a:lnTo>
                      <a:pt x="104" y="157"/>
                    </a:lnTo>
                    <a:lnTo>
                      <a:pt x="117" y="153"/>
                    </a:lnTo>
                    <a:lnTo>
                      <a:pt x="128" y="147"/>
                    </a:lnTo>
                    <a:lnTo>
                      <a:pt x="139" y="138"/>
                    </a:lnTo>
                    <a:lnTo>
                      <a:pt x="147" y="128"/>
                    </a:lnTo>
                    <a:lnTo>
                      <a:pt x="153" y="117"/>
                    </a:lnTo>
                    <a:lnTo>
                      <a:pt x="158" y="103"/>
                    </a:lnTo>
                    <a:lnTo>
                      <a:pt x="159" y="89"/>
                    </a:lnTo>
                    <a:lnTo>
                      <a:pt x="159" y="89"/>
                    </a:lnTo>
                    <a:lnTo>
                      <a:pt x="158" y="75"/>
                    </a:lnTo>
                    <a:lnTo>
                      <a:pt x="153" y="63"/>
                    </a:lnTo>
                    <a:lnTo>
                      <a:pt x="147" y="52"/>
                    </a:lnTo>
                    <a:lnTo>
                      <a:pt x="139" y="42"/>
                    </a:lnTo>
                    <a:lnTo>
                      <a:pt x="128" y="33"/>
                    </a:lnTo>
                    <a:lnTo>
                      <a:pt x="117" y="26"/>
                    </a:lnTo>
                    <a:lnTo>
                      <a:pt x="104" y="23"/>
                    </a:lnTo>
                    <a:lnTo>
                      <a:pt x="90" y="21"/>
                    </a:lnTo>
                    <a:lnTo>
                      <a:pt x="90" y="21"/>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57" name="Freeform 49"/>
              <p:cNvSpPr>
                <a:spLocks noEditPoints="1"/>
              </p:cNvSpPr>
              <p:nvPr/>
            </p:nvSpPr>
            <p:spPr bwMode="auto">
              <a:xfrm>
                <a:off x="3674062" y="3444577"/>
                <a:ext cx="185632" cy="183593"/>
              </a:xfrm>
              <a:custGeom>
                <a:avLst/>
                <a:gdLst>
                  <a:gd name="T0" fmla="*/ 90 w 181"/>
                  <a:gd name="T1" fmla="*/ 180 h 180"/>
                  <a:gd name="T2" fmla="*/ 64 w 181"/>
                  <a:gd name="T3" fmla="*/ 176 h 180"/>
                  <a:gd name="T4" fmla="*/ 40 w 181"/>
                  <a:gd name="T5" fmla="*/ 165 h 180"/>
                  <a:gd name="T6" fmla="*/ 21 w 181"/>
                  <a:gd name="T7" fmla="*/ 147 h 180"/>
                  <a:gd name="T8" fmla="*/ 7 w 181"/>
                  <a:gd name="T9" fmla="*/ 124 h 180"/>
                  <a:gd name="T10" fmla="*/ 4 w 181"/>
                  <a:gd name="T11" fmla="*/ 116 h 180"/>
                  <a:gd name="T12" fmla="*/ 0 w 181"/>
                  <a:gd name="T13" fmla="*/ 99 h 180"/>
                  <a:gd name="T14" fmla="*/ 0 w 181"/>
                  <a:gd name="T15" fmla="*/ 82 h 180"/>
                  <a:gd name="T16" fmla="*/ 4 w 181"/>
                  <a:gd name="T17" fmla="*/ 64 h 180"/>
                  <a:gd name="T18" fmla="*/ 6 w 181"/>
                  <a:gd name="T19" fmla="*/ 55 h 180"/>
                  <a:gd name="T20" fmla="*/ 15 w 181"/>
                  <a:gd name="T21" fmla="*/ 40 h 180"/>
                  <a:gd name="T22" fmla="*/ 26 w 181"/>
                  <a:gd name="T23" fmla="*/ 26 h 180"/>
                  <a:gd name="T24" fmla="*/ 40 w 181"/>
                  <a:gd name="T25" fmla="*/ 15 h 180"/>
                  <a:gd name="T26" fmla="*/ 55 w 181"/>
                  <a:gd name="T27" fmla="*/ 6 h 180"/>
                  <a:gd name="T28" fmla="*/ 64 w 181"/>
                  <a:gd name="T29" fmla="*/ 4 h 180"/>
                  <a:gd name="T30" fmla="*/ 82 w 181"/>
                  <a:gd name="T31" fmla="*/ 0 h 180"/>
                  <a:gd name="T32" fmla="*/ 90 w 181"/>
                  <a:gd name="T33" fmla="*/ 0 h 180"/>
                  <a:gd name="T34" fmla="*/ 117 w 181"/>
                  <a:gd name="T35" fmla="*/ 4 h 180"/>
                  <a:gd name="T36" fmla="*/ 141 w 181"/>
                  <a:gd name="T37" fmla="*/ 15 h 180"/>
                  <a:gd name="T38" fmla="*/ 159 w 181"/>
                  <a:gd name="T39" fmla="*/ 33 h 180"/>
                  <a:gd name="T40" fmla="*/ 173 w 181"/>
                  <a:gd name="T41" fmla="*/ 55 h 180"/>
                  <a:gd name="T42" fmla="*/ 176 w 181"/>
                  <a:gd name="T43" fmla="*/ 63 h 180"/>
                  <a:gd name="T44" fmla="*/ 180 w 181"/>
                  <a:gd name="T45" fmla="*/ 81 h 180"/>
                  <a:gd name="T46" fmla="*/ 180 w 181"/>
                  <a:gd name="T47" fmla="*/ 98 h 180"/>
                  <a:gd name="T48" fmla="*/ 177 w 181"/>
                  <a:gd name="T49" fmla="*/ 116 h 180"/>
                  <a:gd name="T50" fmla="*/ 173 w 181"/>
                  <a:gd name="T51" fmla="*/ 124 h 180"/>
                  <a:gd name="T52" fmla="*/ 166 w 181"/>
                  <a:gd name="T53" fmla="*/ 140 h 180"/>
                  <a:gd name="T54" fmla="*/ 154 w 181"/>
                  <a:gd name="T55" fmla="*/ 153 h 180"/>
                  <a:gd name="T56" fmla="*/ 141 w 181"/>
                  <a:gd name="T57" fmla="*/ 165 h 180"/>
                  <a:gd name="T58" fmla="*/ 125 w 181"/>
                  <a:gd name="T59" fmla="*/ 173 h 180"/>
                  <a:gd name="T60" fmla="*/ 117 w 181"/>
                  <a:gd name="T61" fmla="*/ 176 h 180"/>
                  <a:gd name="T62" fmla="*/ 99 w 181"/>
                  <a:gd name="T63" fmla="*/ 180 h 180"/>
                  <a:gd name="T64" fmla="*/ 90 w 181"/>
                  <a:gd name="T65" fmla="*/ 180 h 180"/>
                  <a:gd name="T66" fmla="*/ 90 w 181"/>
                  <a:gd name="T67" fmla="*/ 21 h 180"/>
                  <a:gd name="T68" fmla="*/ 64 w 181"/>
                  <a:gd name="T69" fmla="*/ 26 h 180"/>
                  <a:gd name="T70" fmla="*/ 51 w 181"/>
                  <a:gd name="T71" fmla="*/ 33 h 180"/>
                  <a:gd name="T72" fmla="*/ 33 w 181"/>
                  <a:gd name="T73" fmla="*/ 52 h 180"/>
                  <a:gd name="T74" fmla="*/ 26 w 181"/>
                  <a:gd name="T75" fmla="*/ 64 h 180"/>
                  <a:gd name="T76" fmla="*/ 21 w 181"/>
                  <a:gd name="T77" fmla="*/ 91 h 180"/>
                  <a:gd name="T78" fmla="*/ 26 w 181"/>
                  <a:gd name="T79" fmla="*/ 117 h 180"/>
                  <a:gd name="T80" fmla="*/ 31 w 181"/>
                  <a:gd name="T81" fmla="*/ 126 h 180"/>
                  <a:gd name="T82" fmla="*/ 44 w 181"/>
                  <a:gd name="T83" fmla="*/ 141 h 180"/>
                  <a:gd name="T84" fmla="*/ 60 w 181"/>
                  <a:gd name="T85" fmla="*/ 152 h 180"/>
                  <a:gd name="T86" fmla="*/ 80 w 181"/>
                  <a:gd name="T87" fmla="*/ 158 h 180"/>
                  <a:gd name="T88" fmla="*/ 90 w 181"/>
                  <a:gd name="T89" fmla="*/ 158 h 180"/>
                  <a:gd name="T90" fmla="*/ 117 w 181"/>
                  <a:gd name="T91" fmla="*/ 153 h 180"/>
                  <a:gd name="T92" fmla="*/ 129 w 181"/>
                  <a:gd name="T93" fmla="*/ 147 h 180"/>
                  <a:gd name="T94" fmla="*/ 148 w 181"/>
                  <a:gd name="T95" fmla="*/ 128 h 180"/>
                  <a:gd name="T96" fmla="*/ 154 w 181"/>
                  <a:gd name="T97" fmla="*/ 116 h 180"/>
                  <a:gd name="T98" fmla="*/ 159 w 181"/>
                  <a:gd name="T99" fmla="*/ 89 h 180"/>
                  <a:gd name="T100" fmla="*/ 153 w 181"/>
                  <a:gd name="T101" fmla="*/ 63 h 180"/>
                  <a:gd name="T102" fmla="*/ 149 w 181"/>
                  <a:gd name="T103" fmla="*/ 54 h 180"/>
                  <a:gd name="T104" fmla="*/ 136 w 181"/>
                  <a:gd name="T105" fmla="*/ 39 h 180"/>
                  <a:gd name="T106" fmla="*/ 119 w 181"/>
                  <a:gd name="T107" fmla="*/ 28 h 180"/>
                  <a:gd name="T108" fmla="*/ 100 w 181"/>
                  <a:gd name="T109" fmla="*/ 21 h 180"/>
                  <a:gd name="T110" fmla="*/ 90 w 181"/>
                  <a:gd name="T111" fmla="*/ 2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1" h="180">
                    <a:moveTo>
                      <a:pt x="90" y="180"/>
                    </a:moveTo>
                    <a:lnTo>
                      <a:pt x="90" y="180"/>
                    </a:lnTo>
                    <a:lnTo>
                      <a:pt x="76" y="178"/>
                    </a:lnTo>
                    <a:lnTo>
                      <a:pt x="64" y="176"/>
                    </a:lnTo>
                    <a:lnTo>
                      <a:pt x="51" y="171"/>
                    </a:lnTo>
                    <a:lnTo>
                      <a:pt x="40" y="165"/>
                    </a:lnTo>
                    <a:lnTo>
                      <a:pt x="30" y="157"/>
                    </a:lnTo>
                    <a:lnTo>
                      <a:pt x="21" y="147"/>
                    </a:lnTo>
                    <a:lnTo>
                      <a:pt x="14" y="137"/>
                    </a:lnTo>
                    <a:lnTo>
                      <a:pt x="7" y="124"/>
                    </a:lnTo>
                    <a:lnTo>
                      <a:pt x="7" y="124"/>
                    </a:lnTo>
                    <a:lnTo>
                      <a:pt x="4" y="116"/>
                    </a:lnTo>
                    <a:lnTo>
                      <a:pt x="1" y="108"/>
                    </a:lnTo>
                    <a:lnTo>
                      <a:pt x="0" y="99"/>
                    </a:lnTo>
                    <a:lnTo>
                      <a:pt x="0" y="91"/>
                    </a:lnTo>
                    <a:lnTo>
                      <a:pt x="0" y="82"/>
                    </a:lnTo>
                    <a:lnTo>
                      <a:pt x="1" y="73"/>
                    </a:lnTo>
                    <a:lnTo>
                      <a:pt x="4" y="64"/>
                    </a:lnTo>
                    <a:lnTo>
                      <a:pt x="6" y="55"/>
                    </a:lnTo>
                    <a:lnTo>
                      <a:pt x="6" y="55"/>
                    </a:lnTo>
                    <a:lnTo>
                      <a:pt x="10" y="48"/>
                    </a:lnTo>
                    <a:lnTo>
                      <a:pt x="15" y="40"/>
                    </a:lnTo>
                    <a:lnTo>
                      <a:pt x="20" y="33"/>
                    </a:lnTo>
                    <a:lnTo>
                      <a:pt x="26" y="26"/>
                    </a:lnTo>
                    <a:lnTo>
                      <a:pt x="33" y="20"/>
                    </a:lnTo>
                    <a:lnTo>
                      <a:pt x="40" y="15"/>
                    </a:lnTo>
                    <a:lnTo>
                      <a:pt x="48" y="10"/>
                    </a:lnTo>
                    <a:lnTo>
                      <a:pt x="55" y="6"/>
                    </a:lnTo>
                    <a:lnTo>
                      <a:pt x="55" y="6"/>
                    </a:lnTo>
                    <a:lnTo>
                      <a:pt x="64" y="4"/>
                    </a:lnTo>
                    <a:lnTo>
                      <a:pt x="73" y="1"/>
                    </a:lnTo>
                    <a:lnTo>
                      <a:pt x="82" y="0"/>
                    </a:lnTo>
                    <a:lnTo>
                      <a:pt x="90" y="0"/>
                    </a:lnTo>
                    <a:lnTo>
                      <a:pt x="90" y="0"/>
                    </a:lnTo>
                    <a:lnTo>
                      <a:pt x="104" y="0"/>
                    </a:lnTo>
                    <a:lnTo>
                      <a:pt x="117" y="4"/>
                    </a:lnTo>
                    <a:lnTo>
                      <a:pt x="129" y="9"/>
                    </a:lnTo>
                    <a:lnTo>
                      <a:pt x="141" y="15"/>
                    </a:lnTo>
                    <a:lnTo>
                      <a:pt x="151" y="23"/>
                    </a:lnTo>
                    <a:lnTo>
                      <a:pt x="159" y="33"/>
                    </a:lnTo>
                    <a:lnTo>
                      <a:pt x="167" y="43"/>
                    </a:lnTo>
                    <a:lnTo>
                      <a:pt x="173" y="55"/>
                    </a:lnTo>
                    <a:lnTo>
                      <a:pt x="173" y="55"/>
                    </a:lnTo>
                    <a:lnTo>
                      <a:pt x="176" y="63"/>
                    </a:lnTo>
                    <a:lnTo>
                      <a:pt x="178" y="72"/>
                    </a:lnTo>
                    <a:lnTo>
                      <a:pt x="180" y="81"/>
                    </a:lnTo>
                    <a:lnTo>
                      <a:pt x="181" y="89"/>
                    </a:lnTo>
                    <a:lnTo>
                      <a:pt x="180" y="98"/>
                    </a:lnTo>
                    <a:lnTo>
                      <a:pt x="178" y="107"/>
                    </a:lnTo>
                    <a:lnTo>
                      <a:pt x="177" y="116"/>
                    </a:lnTo>
                    <a:lnTo>
                      <a:pt x="173" y="124"/>
                    </a:lnTo>
                    <a:lnTo>
                      <a:pt x="173" y="124"/>
                    </a:lnTo>
                    <a:lnTo>
                      <a:pt x="169" y="132"/>
                    </a:lnTo>
                    <a:lnTo>
                      <a:pt x="166" y="140"/>
                    </a:lnTo>
                    <a:lnTo>
                      <a:pt x="159" y="147"/>
                    </a:lnTo>
                    <a:lnTo>
                      <a:pt x="154" y="153"/>
                    </a:lnTo>
                    <a:lnTo>
                      <a:pt x="148" y="160"/>
                    </a:lnTo>
                    <a:lnTo>
                      <a:pt x="141" y="165"/>
                    </a:lnTo>
                    <a:lnTo>
                      <a:pt x="133" y="168"/>
                    </a:lnTo>
                    <a:lnTo>
                      <a:pt x="125" y="173"/>
                    </a:lnTo>
                    <a:lnTo>
                      <a:pt x="125" y="173"/>
                    </a:lnTo>
                    <a:lnTo>
                      <a:pt x="117" y="176"/>
                    </a:lnTo>
                    <a:lnTo>
                      <a:pt x="108" y="178"/>
                    </a:lnTo>
                    <a:lnTo>
                      <a:pt x="99" y="180"/>
                    </a:lnTo>
                    <a:lnTo>
                      <a:pt x="90" y="180"/>
                    </a:lnTo>
                    <a:lnTo>
                      <a:pt x="90" y="180"/>
                    </a:lnTo>
                    <a:close/>
                    <a:moveTo>
                      <a:pt x="90" y="21"/>
                    </a:moveTo>
                    <a:lnTo>
                      <a:pt x="90" y="21"/>
                    </a:lnTo>
                    <a:lnTo>
                      <a:pt x="76" y="23"/>
                    </a:lnTo>
                    <a:lnTo>
                      <a:pt x="64" y="26"/>
                    </a:lnTo>
                    <a:lnTo>
                      <a:pt x="64" y="26"/>
                    </a:lnTo>
                    <a:lnTo>
                      <a:pt x="51" y="33"/>
                    </a:lnTo>
                    <a:lnTo>
                      <a:pt x="41" y="42"/>
                    </a:lnTo>
                    <a:lnTo>
                      <a:pt x="33" y="52"/>
                    </a:lnTo>
                    <a:lnTo>
                      <a:pt x="26" y="64"/>
                    </a:lnTo>
                    <a:lnTo>
                      <a:pt x="26" y="64"/>
                    </a:lnTo>
                    <a:lnTo>
                      <a:pt x="22" y="77"/>
                    </a:lnTo>
                    <a:lnTo>
                      <a:pt x="21" y="91"/>
                    </a:lnTo>
                    <a:lnTo>
                      <a:pt x="22" y="103"/>
                    </a:lnTo>
                    <a:lnTo>
                      <a:pt x="26" y="117"/>
                    </a:lnTo>
                    <a:lnTo>
                      <a:pt x="26" y="117"/>
                    </a:lnTo>
                    <a:lnTo>
                      <a:pt x="31" y="126"/>
                    </a:lnTo>
                    <a:lnTo>
                      <a:pt x="38" y="133"/>
                    </a:lnTo>
                    <a:lnTo>
                      <a:pt x="44" y="141"/>
                    </a:lnTo>
                    <a:lnTo>
                      <a:pt x="51" y="147"/>
                    </a:lnTo>
                    <a:lnTo>
                      <a:pt x="60" y="152"/>
                    </a:lnTo>
                    <a:lnTo>
                      <a:pt x="70" y="156"/>
                    </a:lnTo>
                    <a:lnTo>
                      <a:pt x="80" y="158"/>
                    </a:lnTo>
                    <a:lnTo>
                      <a:pt x="90" y="158"/>
                    </a:lnTo>
                    <a:lnTo>
                      <a:pt x="90" y="158"/>
                    </a:lnTo>
                    <a:lnTo>
                      <a:pt x="104" y="157"/>
                    </a:lnTo>
                    <a:lnTo>
                      <a:pt x="117" y="153"/>
                    </a:lnTo>
                    <a:lnTo>
                      <a:pt x="117" y="153"/>
                    </a:lnTo>
                    <a:lnTo>
                      <a:pt x="129" y="147"/>
                    </a:lnTo>
                    <a:lnTo>
                      <a:pt x="139" y="138"/>
                    </a:lnTo>
                    <a:lnTo>
                      <a:pt x="148" y="128"/>
                    </a:lnTo>
                    <a:lnTo>
                      <a:pt x="154" y="116"/>
                    </a:lnTo>
                    <a:lnTo>
                      <a:pt x="154" y="116"/>
                    </a:lnTo>
                    <a:lnTo>
                      <a:pt x="158" y="103"/>
                    </a:lnTo>
                    <a:lnTo>
                      <a:pt x="159" y="89"/>
                    </a:lnTo>
                    <a:lnTo>
                      <a:pt x="158" y="77"/>
                    </a:lnTo>
                    <a:lnTo>
                      <a:pt x="153" y="63"/>
                    </a:lnTo>
                    <a:lnTo>
                      <a:pt x="153" y="63"/>
                    </a:lnTo>
                    <a:lnTo>
                      <a:pt x="149" y="54"/>
                    </a:lnTo>
                    <a:lnTo>
                      <a:pt x="143" y="45"/>
                    </a:lnTo>
                    <a:lnTo>
                      <a:pt x="136" y="39"/>
                    </a:lnTo>
                    <a:lnTo>
                      <a:pt x="128" y="33"/>
                    </a:lnTo>
                    <a:lnTo>
                      <a:pt x="119" y="28"/>
                    </a:lnTo>
                    <a:lnTo>
                      <a:pt x="110" y="24"/>
                    </a:lnTo>
                    <a:lnTo>
                      <a:pt x="100" y="21"/>
                    </a:lnTo>
                    <a:lnTo>
                      <a:pt x="90" y="21"/>
                    </a:lnTo>
                    <a:lnTo>
                      <a:pt x="90" y="21"/>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58" name="Freeform 50"/>
              <p:cNvSpPr>
                <a:spLocks noEditPoints="1"/>
              </p:cNvSpPr>
              <p:nvPr/>
            </p:nvSpPr>
            <p:spPr bwMode="auto">
              <a:xfrm>
                <a:off x="3674062" y="3444577"/>
                <a:ext cx="185632" cy="183593"/>
              </a:xfrm>
              <a:custGeom>
                <a:avLst/>
                <a:gdLst>
                  <a:gd name="T0" fmla="*/ 90 w 181"/>
                  <a:gd name="T1" fmla="*/ 180 h 180"/>
                  <a:gd name="T2" fmla="*/ 59 w 181"/>
                  <a:gd name="T3" fmla="*/ 175 h 180"/>
                  <a:gd name="T4" fmla="*/ 50 w 181"/>
                  <a:gd name="T5" fmla="*/ 171 h 180"/>
                  <a:gd name="T6" fmla="*/ 35 w 181"/>
                  <a:gd name="T7" fmla="*/ 161 h 180"/>
                  <a:gd name="T8" fmla="*/ 22 w 181"/>
                  <a:gd name="T9" fmla="*/ 150 h 180"/>
                  <a:gd name="T10" fmla="*/ 12 w 181"/>
                  <a:gd name="T11" fmla="*/ 135 h 180"/>
                  <a:gd name="T12" fmla="*/ 5 w 181"/>
                  <a:gd name="T13" fmla="*/ 119 h 180"/>
                  <a:gd name="T14" fmla="*/ 1 w 181"/>
                  <a:gd name="T15" fmla="*/ 102 h 180"/>
                  <a:gd name="T16" fmla="*/ 0 w 181"/>
                  <a:gd name="T17" fmla="*/ 84 h 180"/>
                  <a:gd name="T18" fmla="*/ 2 w 181"/>
                  <a:gd name="T19" fmla="*/ 67 h 180"/>
                  <a:gd name="T20" fmla="*/ 6 w 181"/>
                  <a:gd name="T21" fmla="*/ 58 h 180"/>
                  <a:gd name="T22" fmla="*/ 19 w 181"/>
                  <a:gd name="T23" fmla="*/ 34 h 180"/>
                  <a:gd name="T24" fmla="*/ 39 w 181"/>
                  <a:gd name="T25" fmla="*/ 16 h 180"/>
                  <a:gd name="T26" fmla="*/ 63 w 181"/>
                  <a:gd name="T27" fmla="*/ 4 h 180"/>
                  <a:gd name="T28" fmla="*/ 90 w 181"/>
                  <a:gd name="T29" fmla="*/ 0 h 180"/>
                  <a:gd name="T30" fmla="*/ 107 w 181"/>
                  <a:gd name="T31" fmla="*/ 1 h 180"/>
                  <a:gd name="T32" fmla="*/ 122 w 181"/>
                  <a:gd name="T33" fmla="*/ 5 h 180"/>
                  <a:gd name="T34" fmla="*/ 138 w 181"/>
                  <a:gd name="T35" fmla="*/ 13 h 180"/>
                  <a:gd name="T36" fmla="*/ 152 w 181"/>
                  <a:gd name="T37" fmla="*/ 24 h 180"/>
                  <a:gd name="T38" fmla="*/ 163 w 181"/>
                  <a:gd name="T39" fmla="*/ 37 h 180"/>
                  <a:gd name="T40" fmla="*/ 172 w 181"/>
                  <a:gd name="T41" fmla="*/ 53 h 180"/>
                  <a:gd name="T42" fmla="*/ 176 w 181"/>
                  <a:gd name="T43" fmla="*/ 60 h 180"/>
                  <a:gd name="T44" fmla="*/ 180 w 181"/>
                  <a:gd name="T45" fmla="*/ 78 h 180"/>
                  <a:gd name="T46" fmla="*/ 180 w 181"/>
                  <a:gd name="T47" fmla="*/ 96 h 180"/>
                  <a:gd name="T48" fmla="*/ 177 w 181"/>
                  <a:gd name="T49" fmla="*/ 113 h 180"/>
                  <a:gd name="T50" fmla="*/ 175 w 181"/>
                  <a:gd name="T51" fmla="*/ 121 h 180"/>
                  <a:gd name="T52" fmla="*/ 161 w 181"/>
                  <a:gd name="T53" fmla="*/ 146 h 180"/>
                  <a:gd name="T54" fmla="*/ 142 w 181"/>
                  <a:gd name="T55" fmla="*/ 163 h 180"/>
                  <a:gd name="T56" fmla="*/ 117 w 181"/>
                  <a:gd name="T57" fmla="*/ 176 h 180"/>
                  <a:gd name="T58" fmla="*/ 90 w 181"/>
                  <a:gd name="T59" fmla="*/ 180 h 180"/>
                  <a:gd name="T60" fmla="*/ 90 w 181"/>
                  <a:gd name="T61" fmla="*/ 21 h 180"/>
                  <a:gd name="T62" fmla="*/ 79 w 181"/>
                  <a:gd name="T63" fmla="*/ 21 h 180"/>
                  <a:gd name="T64" fmla="*/ 60 w 181"/>
                  <a:gd name="T65" fmla="*/ 28 h 180"/>
                  <a:gd name="T66" fmla="*/ 43 w 181"/>
                  <a:gd name="T67" fmla="*/ 40 h 180"/>
                  <a:gd name="T68" fmla="*/ 30 w 181"/>
                  <a:gd name="T69" fmla="*/ 57 h 180"/>
                  <a:gd name="T70" fmla="*/ 25 w 181"/>
                  <a:gd name="T71" fmla="*/ 65 h 180"/>
                  <a:gd name="T72" fmla="*/ 21 w 181"/>
                  <a:gd name="T73" fmla="*/ 93 h 180"/>
                  <a:gd name="T74" fmla="*/ 27 w 181"/>
                  <a:gd name="T75" fmla="*/ 118 h 180"/>
                  <a:gd name="T76" fmla="*/ 43 w 181"/>
                  <a:gd name="T77" fmla="*/ 140 h 180"/>
                  <a:gd name="T78" fmla="*/ 66 w 181"/>
                  <a:gd name="T79" fmla="*/ 155 h 180"/>
                  <a:gd name="T80" fmla="*/ 78 w 181"/>
                  <a:gd name="T81" fmla="*/ 157 h 180"/>
                  <a:gd name="T82" fmla="*/ 90 w 181"/>
                  <a:gd name="T83" fmla="*/ 158 h 180"/>
                  <a:gd name="T84" fmla="*/ 110 w 181"/>
                  <a:gd name="T85" fmla="*/ 156 h 180"/>
                  <a:gd name="T86" fmla="*/ 129 w 181"/>
                  <a:gd name="T87" fmla="*/ 146 h 180"/>
                  <a:gd name="T88" fmla="*/ 144 w 181"/>
                  <a:gd name="T89" fmla="*/ 132 h 180"/>
                  <a:gd name="T90" fmla="*/ 154 w 181"/>
                  <a:gd name="T91" fmla="*/ 114 h 180"/>
                  <a:gd name="T92" fmla="*/ 158 w 181"/>
                  <a:gd name="T93" fmla="*/ 101 h 180"/>
                  <a:gd name="T94" fmla="*/ 157 w 181"/>
                  <a:gd name="T95" fmla="*/ 74 h 180"/>
                  <a:gd name="T96" fmla="*/ 153 w 181"/>
                  <a:gd name="T97" fmla="*/ 62 h 180"/>
                  <a:gd name="T98" fmla="*/ 137 w 181"/>
                  <a:gd name="T99" fmla="*/ 39 h 180"/>
                  <a:gd name="T100" fmla="*/ 114 w 181"/>
                  <a:gd name="T101" fmla="*/ 25 h 180"/>
                  <a:gd name="T102" fmla="*/ 103 w 181"/>
                  <a:gd name="T103" fmla="*/ 21 h 180"/>
                  <a:gd name="T104" fmla="*/ 90 w 181"/>
                  <a:gd name="T105" fmla="*/ 2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1" h="180">
                    <a:moveTo>
                      <a:pt x="90" y="180"/>
                    </a:moveTo>
                    <a:lnTo>
                      <a:pt x="90" y="180"/>
                    </a:lnTo>
                    <a:lnTo>
                      <a:pt x="74" y="178"/>
                    </a:lnTo>
                    <a:lnTo>
                      <a:pt x="59" y="175"/>
                    </a:lnTo>
                    <a:lnTo>
                      <a:pt x="59" y="175"/>
                    </a:lnTo>
                    <a:lnTo>
                      <a:pt x="50" y="171"/>
                    </a:lnTo>
                    <a:lnTo>
                      <a:pt x="43" y="166"/>
                    </a:lnTo>
                    <a:lnTo>
                      <a:pt x="35" y="161"/>
                    </a:lnTo>
                    <a:lnTo>
                      <a:pt x="29" y="156"/>
                    </a:lnTo>
                    <a:lnTo>
                      <a:pt x="22" y="150"/>
                    </a:lnTo>
                    <a:lnTo>
                      <a:pt x="17" y="142"/>
                    </a:lnTo>
                    <a:lnTo>
                      <a:pt x="12" y="135"/>
                    </a:lnTo>
                    <a:lnTo>
                      <a:pt x="9" y="127"/>
                    </a:lnTo>
                    <a:lnTo>
                      <a:pt x="5" y="119"/>
                    </a:lnTo>
                    <a:lnTo>
                      <a:pt x="2" y="111"/>
                    </a:lnTo>
                    <a:lnTo>
                      <a:pt x="1" y="102"/>
                    </a:lnTo>
                    <a:lnTo>
                      <a:pt x="0" y="93"/>
                    </a:lnTo>
                    <a:lnTo>
                      <a:pt x="0" y="84"/>
                    </a:lnTo>
                    <a:lnTo>
                      <a:pt x="1" y="75"/>
                    </a:lnTo>
                    <a:lnTo>
                      <a:pt x="2" y="67"/>
                    </a:lnTo>
                    <a:lnTo>
                      <a:pt x="6" y="58"/>
                    </a:lnTo>
                    <a:lnTo>
                      <a:pt x="6" y="58"/>
                    </a:lnTo>
                    <a:lnTo>
                      <a:pt x="11" y="45"/>
                    </a:lnTo>
                    <a:lnTo>
                      <a:pt x="19" y="34"/>
                    </a:lnTo>
                    <a:lnTo>
                      <a:pt x="29" y="24"/>
                    </a:lnTo>
                    <a:lnTo>
                      <a:pt x="39" y="16"/>
                    </a:lnTo>
                    <a:lnTo>
                      <a:pt x="50" y="9"/>
                    </a:lnTo>
                    <a:lnTo>
                      <a:pt x="63" y="4"/>
                    </a:lnTo>
                    <a:lnTo>
                      <a:pt x="76" y="1"/>
                    </a:lnTo>
                    <a:lnTo>
                      <a:pt x="90" y="0"/>
                    </a:lnTo>
                    <a:lnTo>
                      <a:pt x="90" y="0"/>
                    </a:lnTo>
                    <a:lnTo>
                      <a:pt x="107" y="1"/>
                    </a:lnTo>
                    <a:lnTo>
                      <a:pt x="122" y="5"/>
                    </a:lnTo>
                    <a:lnTo>
                      <a:pt x="122" y="5"/>
                    </a:lnTo>
                    <a:lnTo>
                      <a:pt x="129" y="9"/>
                    </a:lnTo>
                    <a:lnTo>
                      <a:pt x="138" y="13"/>
                    </a:lnTo>
                    <a:lnTo>
                      <a:pt x="144" y="18"/>
                    </a:lnTo>
                    <a:lnTo>
                      <a:pt x="152" y="24"/>
                    </a:lnTo>
                    <a:lnTo>
                      <a:pt x="158" y="30"/>
                    </a:lnTo>
                    <a:lnTo>
                      <a:pt x="163" y="37"/>
                    </a:lnTo>
                    <a:lnTo>
                      <a:pt x="168" y="44"/>
                    </a:lnTo>
                    <a:lnTo>
                      <a:pt x="172" y="53"/>
                    </a:lnTo>
                    <a:lnTo>
                      <a:pt x="172" y="53"/>
                    </a:lnTo>
                    <a:lnTo>
                      <a:pt x="176" y="60"/>
                    </a:lnTo>
                    <a:lnTo>
                      <a:pt x="178" y="69"/>
                    </a:lnTo>
                    <a:lnTo>
                      <a:pt x="180" y="78"/>
                    </a:lnTo>
                    <a:lnTo>
                      <a:pt x="181" y="87"/>
                    </a:lnTo>
                    <a:lnTo>
                      <a:pt x="180" y="96"/>
                    </a:lnTo>
                    <a:lnTo>
                      <a:pt x="180" y="104"/>
                    </a:lnTo>
                    <a:lnTo>
                      <a:pt x="177" y="113"/>
                    </a:lnTo>
                    <a:lnTo>
                      <a:pt x="175" y="121"/>
                    </a:lnTo>
                    <a:lnTo>
                      <a:pt x="175" y="121"/>
                    </a:lnTo>
                    <a:lnTo>
                      <a:pt x="168" y="133"/>
                    </a:lnTo>
                    <a:lnTo>
                      <a:pt x="161" y="146"/>
                    </a:lnTo>
                    <a:lnTo>
                      <a:pt x="152" y="156"/>
                    </a:lnTo>
                    <a:lnTo>
                      <a:pt x="142" y="163"/>
                    </a:lnTo>
                    <a:lnTo>
                      <a:pt x="129" y="171"/>
                    </a:lnTo>
                    <a:lnTo>
                      <a:pt x="117" y="176"/>
                    </a:lnTo>
                    <a:lnTo>
                      <a:pt x="104" y="178"/>
                    </a:lnTo>
                    <a:lnTo>
                      <a:pt x="90" y="180"/>
                    </a:lnTo>
                    <a:lnTo>
                      <a:pt x="90" y="180"/>
                    </a:lnTo>
                    <a:close/>
                    <a:moveTo>
                      <a:pt x="90" y="21"/>
                    </a:moveTo>
                    <a:lnTo>
                      <a:pt x="90" y="21"/>
                    </a:lnTo>
                    <a:lnTo>
                      <a:pt x="79" y="21"/>
                    </a:lnTo>
                    <a:lnTo>
                      <a:pt x="69" y="24"/>
                    </a:lnTo>
                    <a:lnTo>
                      <a:pt x="60" y="28"/>
                    </a:lnTo>
                    <a:lnTo>
                      <a:pt x="51" y="33"/>
                    </a:lnTo>
                    <a:lnTo>
                      <a:pt x="43" y="40"/>
                    </a:lnTo>
                    <a:lnTo>
                      <a:pt x="36" y="48"/>
                    </a:lnTo>
                    <a:lnTo>
                      <a:pt x="30" y="57"/>
                    </a:lnTo>
                    <a:lnTo>
                      <a:pt x="25" y="65"/>
                    </a:lnTo>
                    <a:lnTo>
                      <a:pt x="25" y="65"/>
                    </a:lnTo>
                    <a:lnTo>
                      <a:pt x="22" y="79"/>
                    </a:lnTo>
                    <a:lnTo>
                      <a:pt x="21" y="93"/>
                    </a:lnTo>
                    <a:lnTo>
                      <a:pt x="24" y="106"/>
                    </a:lnTo>
                    <a:lnTo>
                      <a:pt x="27" y="118"/>
                    </a:lnTo>
                    <a:lnTo>
                      <a:pt x="34" y="130"/>
                    </a:lnTo>
                    <a:lnTo>
                      <a:pt x="43" y="140"/>
                    </a:lnTo>
                    <a:lnTo>
                      <a:pt x="54" y="148"/>
                    </a:lnTo>
                    <a:lnTo>
                      <a:pt x="66" y="155"/>
                    </a:lnTo>
                    <a:lnTo>
                      <a:pt x="66" y="155"/>
                    </a:lnTo>
                    <a:lnTo>
                      <a:pt x="78" y="157"/>
                    </a:lnTo>
                    <a:lnTo>
                      <a:pt x="90" y="158"/>
                    </a:lnTo>
                    <a:lnTo>
                      <a:pt x="90" y="158"/>
                    </a:lnTo>
                    <a:lnTo>
                      <a:pt x="100" y="158"/>
                    </a:lnTo>
                    <a:lnTo>
                      <a:pt x="110" y="156"/>
                    </a:lnTo>
                    <a:lnTo>
                      <a:pt x="120" y="152"/>
                    </a:lnTo>
                    <a:lnTo>
                      <a:pt x="129" y="146"/>
                    </a:lnTo>
                    <a:lnTo>
                      <a:pt x="137" y="140"/>
                    </a:lnTo>
                    <a:lnTo>
                      <a:pt x="144" y="132"/>
                    </a:lnTo>
                    <a:lnTo>
                      <a:pt x="151" y="123"/>
                    </a:lnTo>
                    <a:lnTo>
                      <a:pt x="154" y="114"/>
                    </a:lnTo>
                    <a:lnTo>
                      <a:pt x="154" y="114"/>
                    </a:lnTo>
                    <a:lnTo>
                      <a:pt x="158" y="101"/>
                    </a:lnTo>
                    <a:lnTo>
                      <a:pt x="159" y="87"/>
                    </a:lnTo>
                    <a:lnTo>
                      <a:pt x="157" y="74"/>
                    </a:lnTo>
                    <a:lnTo>
                      <a:pt x="153" y="62"/>
                    </a:lnTo>
                    <a:lnTo>
                      <a:pt x="153" y="62"/>
                    </a:lnTo>
                    <a:lnTo>
                      <a:pt x="146" y="49"/>
                    </a:lnTo>
                    <a:lnTo>
                      <a:pt x="137" y="39"/>
                    </a:lnTo>
                    <a:lnTo>
                      <a:pt x="127" y="32"/>
                    </a:lnTo>
                    <a:lnTo>
                      <a:pt x="114" y="25"/>
                    </a:lnTo>
                    <a:lnTo>
                      <a:pt x="114" y="25"/>
                    </a:lnTo>
                    <a:lnTo>
                      <a:pt x="103" y="21"/>
                    </a:lnTo>
                    <a:lnTo>
                      <a:pt x="90" y="21"/>
                    </a:lnTo>
                    <a:lnTo>
                      <a:pt x="90" y="21"/>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59" name="Freeform 51"/>
              <p:cNvSpPr>
                <a:spLocks noEditPoints="1"/>
              </p:cNvSpPr>
              <p:nvPr/>
            </p:nvSpPr>
            <p:spPr bwMode="auto">
              <a:xfrm>
                <a:off x="3674062" y="3444577"/>
                <a:ext cx="185632" cy="183593"/>
              </a:xfrm>
              <a:custGeom>
                <a:avLst/>
                <a:gdLst>
                  <a:gd name="T0" fmla="*/ 90 w 181"/>
                  <a:gd name="T1" fmla="*/ 180 h 180"/>
                  <a:gd name="T2" fmla="*/ 63 w 181"/>
                  <a:gd name="T3" fmla="*/ 176 h 180"/>
                  <a:gd name="T4" fmla="*/ 38 w 181"/>
                  <a:gd name="T5" fmla="*/ 163 h 180"/>
                  <a:gd name="T6" fmla="*/ 30 w 181"/>
                  <a:gd name="T7" fmla="*/ 157 h 180"/>
                  <a:gd name="T8" fmla="*/ 19 w 181"/>
                  <a:gd name="T9" fmla="*/ 145 h 180"/>
                  <a:gd name="T10" fmla="*/ 9 w 181"/>
                  <a:gd name="T11" fmla="*/ 130 h 180"/>
                  <a:gd name="T12" fmla="*/ 2 w 181"/>
                  <a:gd name="T13" fmla="*/ 113 h 180"/>
                  <a:gd name="T14" fmla="*/ 1 w 181"/>
                  <a:gd name="T15" fmla="*/ 104 h 180"/>
                  <a:gd name="T16" fmla="*/ 0 w 181"/>
                  <a:gd name="T17" fmla="*/ 87 h 180"/>
                  <a:gd name="T18" fmla="*/ 2 w 181"/>
                  <a:gd name="T19" fmla="*/ 69 h 180"/>
                  <a:gd name="T20" fmla="*/ 9 w 181"/>
                  <a:gd name="T21" fmla="*/ 53 h 180"/>
                  <a:gd name="T22" fmla="*/ 17 w 181"/>
                  <a:gd name="T23" fmla="*/ 37 h 180"/>
                  <a:gd name="T24" fmla="*/ 24 w 181"/>
                  <a:gd name="T25" fmla="*/ 29 h 180"/>
                  <a:gd name="T26" fmla="*/ 40 w 181"/>
                  <a:gd name="T27" fmla="*/ 15 h 180"/>
                  <a:gd name="T28" fmla="*/ 59 w 181"/>
                  <a:gd name="T29" fmla="*/ 5 h 180"/>
                  <a:gd name="T30" fmla="*/ 79 w 181"/>
                  <a:gd name="T31" fmla="*/ 0 h 180"/>
                  <a:gd name="T32" fmla="*/ 90 w 181"/>
                  <a:gd name="T33" fmla="*/ 0 h 180"/>
                  <a:gd name="T34" fmla="*/ 118 w 181"/>
                  <a:gd name="T35" fmla="*/ 4 h 180"/>
                  <a:gd name="T36" fmla="*/ 143 w 181"/>
                  <a:gd name="T37" fmla="*/ 16 h 180"/>
                  <a:gd name="T38" fmla="*/ 151 w 181"/>
                  <a:gd name="T39" fmla="*/ 23 h 180"/>
                  <a:gd name="T40" fmla="*/ 162 w 181"/>
                  <a:gd name="T41" fmla="*/ 35 h 180"/>
                  <a:gd name="T42" fmla="*/ 171 w 181"/>
                  <a:gd name="T43" fmla="*/ 50 h 180"/>
                  <a:gd name="T44" fmla="*/ 177 w 181"/>
                  <a:gd name="T45" fmla="*/ 67 h 180"/>
                  <a:gd name="T46" fmla="*/ 180 w 181"/>
                  <a:gd name="T47" fmla="*/ 84 h 180"/>
                  <a:gd name="T48" fmla="*/ 180 w 181"/>
                  <a:gd name="T49" fmla="*/ 102 h 180"/>
                  <a:gd name="T50" fmla="*/ 176 w 181"/>
                  <a:gd name="T51" fmla="*/ 118 h 180"/>
                  <a:gd name="T52" fmla="*/ 168 w 181"/>
                  <a:gd name="T53" fmla="*/ 135 h 180"/>
                  <a:gd name="T54" fmla="*/ 163 w 181"/>
                  <a:gd name="T55" fmla="*/ 142 h 180"/>
                  <a:gd name="T56" fmla="*/ 148 w 181"/>
                  <a:gd name="T57" fmla="*/ 158 h 180"/>
                  <a:gd name="T58" fmla="*/ 131 w 181"/>
                  <a:gd name="T59" fmla="*/ 170 h 180"/>
                  <a:gd name="T60" fmla="*/ 112 w 181"/>
                  <a:gd name="T61" fmla="*/ 177 h 180"/>
                  <a:gd name="T62" fmla="*/ 90 w 181"/>
                  <a:gd name="T63" fmla="*/ 180 h 180"/>
                  <a:gd name="T64" fmla="*/ 90 w 181"/>
                  <a:gd name="T65" fmla="*/ 21 h 180"/>
                  <a:gd name="T66" fmla="*/ 82 w 181"/>
                  <a:gd name="T67" fmla="*/ 21 h 180"/>
                  <a:gd name="T68" fmla="*/ 66 w 181"/>
                  <a:gd name="T69" fmla="*/ 25 h 180"/>
                  <a:gd name="T70" fmla="*/ 51 w 181"/>
                  <a:gd name="T71" fmla="*/ 33 h 180"/>
                  <a:gd name="T72" fmla="*/ 39 w 181"/>
                  <a:gd name="T73" fmla="*/ 43 h 180"/>
                  <a:gd name="T74" fmla="*/ 34 w 181"/>
                  <a:gd name="T75" fmla="*/ 49 h 180"/>
                  <a:gd name="T76" fmla="*/ 22 w 181"/>
                  <a:gd name="T77" fmla="*/ 74 h 180"/>
                  <a:gd name="T78" fmla="*/ 22 w 181"/>
                  <a:gd name="T79" fmla="*/ 101 h 180"/>
                  <a:gd name="T80" fmla="*/ 31 w 181"/>
                  <a:gd name="T81" fmla="*/ 126 h 180"/>
                  <a:gd name="T82" fmla="*/ 50 w 181"/>
                  <a:gd name="T83" fmla="*/ 146 h 180"/>
                  <a:gd name="T84" fmla="*/ 59 w 181"/>
                  <a:gd name="T85" fmla="*/ 151 h 180"/>
                  <a:gd name="T86" fmla="*/ 79 w 181"/>
                  <a:gd name="T87" fmla="*/ 158 h 180"/>
                  <a:gd name="T88" fmla="*/ 90 w 181"/>
                  <a:gd name="T89" fmla="*/ 158 h 180"/>
                  <a:gd name="T90" fmla="*/ 107 w 181"/>
                  <a:gd name="T91" fmla="*/ 157 h 180"/>
                  <a:gd name="T92" fmla="*/ 122 w 181"/>
                  <a:gd name="T93" fmla="*/ 151 h 180"/>
                  <a:gd name="T94" fmla="*/ 134 w 181"/>
                  <a:gd name="T95" fmla="*/ 142 h 180"/>
                  <a:gd name="T96" fmla="*/ 146 w 181"/>
                  <a:gd name="T97" fmla="*/ 130 h 180"/>
                  <a:gd name="T98" fmla="*/ 153 w 181"/>
                  <a:gd name="T99" fmla="*/ 118 h 180"/>
                  <a:gd name="T100" fmla="*/ 159 w 181"/>
                  <a:gd name="T101" fmla="*/ 92 h 180"/>
                  <a:gd name="T102" fmla="*/ 154 w 181"/>
                  <a:gd name="T103" fmla="*/ 65 h 180"/>
                  <a:gd name="T104" fmla="*/ 141 w 181"/>
                  <a:gd name="T105" fmla="*/ 43 h 180"/>
                  <a:gd name="T106" fmla="*/ 131 w 181"/>
                  <a:gd name="T107" fmla="*/ 34 h 180"/>
                  <a:gd name="T108" fmla="*/ 112 w 181"/>
                  <a:gd name="T109" fmla="*/ 24 h 180"/>
                  <a:gd name="T110" fmla="*/ 90 w 181"/>
                  <a:gd name="T111" fmla="*/ 2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1" h="180">
                    <a:moveTo>
                      <a:pt x="90" y="180"/>
                    </a:moveTo>
                    <a:lnTo>
                      <a:pt x="90" y="180"/>
                    </a:lnTo>
                    <a:lnTo>
                      <a:pt x="76" y="178"/>
                    </a:lnTo>
                    <a:lnTo>
                      <a:pt x="63" y="176"/>
                    </a:lnTo>
                    <a:lnTo>
                      <a:pt x="49" y="170"/>
                    </a:lnTo>
                    <a:lnTo>
                      <a:pt x="38" y="163"/>
                    </a:lnTo>
                    <a:lnTo>
                      <a:pt x="38" y="163"/>
                    </a:lnTo>
                    <a:lnTo>
                      <a:pt x="30" y="157"/>
                    </a:lnTo>
                    <a:lnTo>
                      <a:pt x="24" y="151"/>
                    </a:lnTo>
                    <a:lnTo>
                      <a:pt x="19" y="145"/>
                    </a:lnTo>
                    <a:lnTo>
                      <a:pt x="14" y="137"/>
                    </a:lnTo>
                    <a:lnTo>
                      <a:pt x="9" y="130"/>
                    </a:lnTo>
                    <a:lnTo>
                      <a:pt x="6" y="122"/>
                    </a:lnTo>
                    <a:lnTo>
                      <a:pt x="2" y="113"/>
                    </a:lnTo>
                    <a:lnTo>
                      <a:pt x="1" y="104"/>
                    </a:lnTo>
                    <a:lnTo>
                      <a:pt x="1" y="104"/>
                    </a:lnTo>
                    <a:lnTo>
                      <a:pt x="0" y="96"/>
                    </a:lnTo>
                    <a:lnTo>
                      <a:pt x="0" y="87"/>
                    </a:lnTo>
                    <a:lnTo>
                      <a:pt x="1" y="78"/>
                    </a:lnTo>
                    <a:lnTo>
                      <a:pt x="2" y="69"/>
                    </a:lnTo>
                    <a:lnTo>
                      <a:pt x="5" y="60"/>
                    </a:lnTo>
                    <a:lnTo>
                      <a:pt x="9" y="53"/>
                    </a:lnTo>
                    <a:lnTo>
                      <a:pt x="12" y="44"/>
                    </a:lnTo>
                    <a:lnTo>
                      <a:pt x="17" y="37"/>
                    </a:lnTo>
                    <a:lnTo>
                      <a:pt x="17" y="37"/>
                    </a:lnTo>
                    <a:lnTo>
                      <a:pt x="24" y="29"/>
                    </a:lnTo>
                    <a:lnTo>
                      <a:pt x="31" y="21"/>
                    </a:lnTo>
                    <a:lnTo>
                      <a:pt x="40" y="15"/>
                    </a:lnTo>
                    <a:lnTo>
                      <a:pt x="49" y="10"/>
                    </a:lnTo>
                    <a:lnTo>
                      <a:pt x="59" y="5"/>
                    </a:lnTo>
                    <a:lnTo>
                      <a:pt x="69" y="3"/>
                    </a:lnTo>
                    <a:lnTo>
                      <a:pt x="79" y="0"/>
                    </a:lnTo>
                    <a:lnTo>
                      <a:pt x="90" y="0"/>
                    </a:lnTo>
                    <a:lnTo>
                      <a:pt x="90" y="0"/>
                    </a:lnTo>
                    <a:lnTo>
                      <a:pt x="104" y="1"/>
                    </a:lnTo>
                    <a:lnTo>
                      <a:pt x="118" y="4"/>
                    </a:lnTo>
                    <a:lnTo>
                      <a:pt x="131" y="9"/>
                    </a:lnTo>
                    <a:lnTo>
                      <a:pt x="143" y="16"/>
                    </a:lnTo>
                    <a:lnTo>
                      <a:pt x="143" y="16"/>
                    </a:lnTo>
                    <a:lnTo>
                      <a:pt x="151" y="23"/>
                    </a:lnTo>
                    <a:lnTo>
                      <a:pt x="157" y="29"/>
                    </a:lnTo>
                    <a:lnTo>
                      <a:pt x="162" y="35"/>
                    </a:lnTo>
                    <a:lnTo>
                      <a:pt x="167" y="43"/>
                    </a:lnTo>
                    <a:lnTo>
                      <a:pt x="171" y="50"/>
                    </a:lnTo>
                    <a:lnTo>
                      <a:pt x="175" y="59"/>
                    </a:lnTo>
                    <a:lnTo>
                      <a:pt x="177" y="67"/>
                    </a:lnTo>
                    <a:lnTo>
                      <a:pt x="180" y="75"/>
                    </a:lnTo>
                    <a:lnTo>
                      <a:pt x="180" y="84"/>
                    </a:lnTo>
                    <a:lnTo>
                      <a:pt x="181" y="93"/>
                    </a:lnTo>
                    <a:lnTo>
                      <a:pt x="180" y="102"/>
                    </a:lnTo>
                    <a:lnTo>
                      <a:pt x="178" y="109"/>
                    </a:lnTo>
                    <a:lnTo>
                      <a:pt x="176" y="118"/>
                    </a:lnTo>
                    <a:lnTo>
                      <a:pt x="172" y="127"/>
                    </a:lnTo>
                    <a:lnTo>
                      <a:pt x="168" y="135"/>
                    </a:lnTo>
                    <a:lnTo>
                      <a:pt x="163" y="142"/>
                    </a:lnTo>
                    <a:lnTo>
                      <a:pt x="163" y="142"/>
                    </a:lnTo>
                    <a:lnTo>
                      <a:pt x="157" y="151"/>
                    </a:lnTo>
                    <a:lnTo>
                      <a:pt x="148" y="158"/>
                    </a:lnTo>
                    <a:lnTo>
                      <a:pt x="141" y="165"/>
                    </a:lnTo>
                    <a:lnTo>
                      <a:pt x="131" y="170"/>
                    </a:lnTo>
                    <a:lnTo>
                      <a:pt x="122" y="175"/>
                    </a:lnTo>
                    <a:lnTo>
                      <a:pt x="112" y="177"/>
                    </a:lnTo>
                    <a:lnTo>
                      <a:pt x="100" y="180"/>
                    </a:lnTo>
                    <a:lnTo>
                      <a:pt x="90" y="180"/>
                    </a:lnTo>
                    <a:lnTo>
                      <a:pt x="90" y="180"/>
                    </a:lnTo>
                    <a:close/>
                    <a:moveTo>
                      <a:pt x="90" y="21"/>
                    </a:moveTo>
                    <a:lnTo>
                      <a:pt x="90" y="21"/>
                    </a:lnTo>
                    <a:lnTo>
                      <a:pt x="82" y="21"/>
                    </a:lnTo>
                    <a:lnTo>
                      <a:pt x="74" y="23"/>
                    </a:lnTo>
                    <a:lnTo>
                      <a:pt x="66" y="25"/>
                    </a:lnTo>
                    <a:lnTo>
                      <a:pt x="59" y="29"/>
                    </a:lnTo>
                    <a:lnTo>
                      <a:pt x="51" y="33"/>
                    </a:lnTo>
                    <a:lnTo>
                      <a:pt x="45" y="38"/>
                    </a:lnTo>
                    <a:lnTo>
                      <a:pt x="39" y="43"/>
                    </a:lnTo>
                    <a:lnTo>
                      <a:pt x="34" y="49"/>
                    </a:lnTo>
                    <a:lnTo>
                      <a:pt x="34" y="49"/>
                    </a:lnTo>
                    <a:lnTo>
                      <a:pt x="27" y="62"/>
                    </a:lnTo>
                    <a:lnTo>
                      <a:pt x="22" y="74"/>
                    </a:lnTo>
                    <a:lnTo>
                      <a:pt x="21" y="88"/>
                    </a:lnTo>
                    <a:lnTo>
                      <a:pt x="22" y="101"/>
                    </a:lnTo>
                    <a:lnTo>
                      <a:pt x="25" y="113"/>
                    </a:lnTo>
                    <a:lnTo>
                      <a:pt x="31" y="126"/>
                    </a:lnTo>
                    <a:lnTo>
                      <a:pt x="39" y="137"/>
                    </a:lnTo>
                    <a:lnTo>
                      <a:pt x="50" y="146"/>
                    </a:lnTo>
                    <a:lnTo>
                      <a:pt x="50" y="146"/>
                    </a:lnTo>
                    <a:lnTo>
                      <a:pt x="59" y="151"/>
                    </a:lnTo>
                    <a:lnTo>
                      <a:pt x="69" y="156"/>
                    </a:lnTo>
                    <a:lnTo>
                      <a:pt x="79" y="158"/>
                    </a:lnTo>
                    <a:lnTo>
                      <a:pt x="90" y="158"/>
                    </a:lnTo>
                    <a:lnTo>
                      <a:pt x="90" y="158"/>
                    </a:lnTo>
                    <a:lnTo>
                      <a:pt x="98" y="158"/>
                    </a:lnTo>
                    <a:lnTo>
                      <a:pt x="107" y="157"/>
                    </a:lnTo>
                    <a:lnTo>
                      <a:pt x="114" y="155"/>
                    </a:lnTo>
                    <a:lnTo>
                      <a:pt x="122" y="151"/>
                    </a:lnTo>
                    <a:lnTo>
                      <a:pt x="128" y="147"/>
                    </a:lnTo>
                    <a:lnTo>
                      <a:pt x="134" y="142"/>
                    </a:lnTo>
                    <a:lnTo>
                      <a:pt x="141" y="137"/>
                    </a:lnTo>
                    <a:lnTo>
                      <a:pt x="146" y="130"/>
                    </a:lnTo>
                    <a:lnTo>
                      <a:pt x="146" y="130"/>
                    </a:lnTo>
                    <a:lnTo>
                      <a:pt x="153" y="118"/>
                    </a:lnTo>
                    <a:lnTo>
                      <a:pt x="157" y="106"/>
                    </a:lnTo>
                    <a:lnTo>
                      <a:pt x="159" y="92"/>
                    </a:lnTo>
                    <a:lnTo>
                      <a:pt x="158" y="79"/>
                    </a:lnTo>
                    <a:lnTo>
                      <a:pt x="154" y="65"/>
                    </a:lnTo>
                    <a:lnTo>
                      <a:pt x="149" y="54"/>
                    </a:lnTo>
                    <a:lnTo>
                      <a:pt x="141" y="43"/>
                    </a:lnTo>
                    <a:lnTo>
                      <a:pt x="131" y="34"/>
                    </a:lnTo>
                    <a:lnTo>
                      <a:pt x="131" y="34"/>
                    </a:lnTo>
                    <a:lnTo>
                      <a:pt x="122" y="28"/>
                    </a:lnTo>
                    <a:lnTo>
                      <a:pt x="112" y="24"/>
                    </a:lnTo>
                    <a:lnTo>
                      <a:pt x="100" y="21"/>
                    </a:lnTo>
                    <a:lnTo>
                      <a:pt x="90" y="21"/>
                    </a:lnTo>
                    <a:lnTo>
                      <a:pt x="90" y="21"/>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60" name="Freeform 52"/>
              <p:cNvSpPr>
                <a:spLocks noEditPoints="1"/>
              </p:cNvSpPr>
              <p:nvPr/>
            </p:nvSpPr>
            <p:spPr bwMode="auto">
              <a:xfrm>
                <a:off x="3674062" y="3444577"/>
                <a:ext cx="185632" cy="183593"/>
              </a:xfrm>
              <a:custGeom>
                <a:avLst/>
                <a:gdLst>
                  <a:gd name="T0" fmla="*/ 90 w 181"/>
                  <a:gd name="T1" fmla="*/ 180 h 180"/>
                  <a:gd name="T2" fmla="*/ 69 w 181"/>
                  <a:gd name="T3" fmla="*/ 177 h 180"/>
                  <a:gd name="T4" fmla="*/ 49 w 181"/>
                  <a:gd name="T5" fmla="*/ 170 h 180"/>
                  <a:gd name="T6" fmla="*/ 31 w 181"/>
                  <a:gd name="T7" fmla="*/ 158 h 180"/>
                  <a:gd name="T8" fmla="*/ 17 w 181"/>
                  <a:gd name="T9" fmla="*/ 142 h 180"/>
                  <a:gd name="T10" fmla="*/ 12 w 181"/>
                  <a:gd name="T11" fmla="*/ 136 h 180"/>
                  <a:gd name="T12" fmla="*/ 5 w 181"/>
                  <a:gd name="T13" fmla="*/ 119 h 180"/>
                  <a:gd name="T14" fmla="*/ 1 w 181"/>
                  <a:gd name="T15" fmla="*/ 102 h 180"/>
                  <a:gd name="T16" fmla="*/ 0 w 181"/>
                  <a:gd name="T17" fmla="*/ 84 h 180"/>
                  <a:gd name="T18" fmla="*/ 1 w 181"/>
                  <a:gd name="T19" fmla="*/ 75 h 180"/>
                  <a:gd name="T20" fmla="*/ 6 w 181"/>
                  <a:gd name="T21" fmla="*/ 58 h 180"/>
                  <a:gd name="T22" fmla="*/ 14 w 181"/>
                  <a:gd name="T23" fmla="*/ 43 h 180"/>
                  <a:gd name="T24" fmla="*/ 24 w 181"/>
                  <a:gd name="T25" fmla="*/ 29 h 180"/>
                  <a:gd name="T26" fmla="*/ 38 w 181"/>
                  <a:gd name="T27" fmla="*/ 16 h 180"/>
                  <a:gd name="T28" fmla="*/ 49 w 181"/>
                  <a:gd name="T29" fmla="*/ 9 h 180"/>
                  <a:gd name="T30" fmla="*/ 76 w 181"/>
                  <a:gd name="T31" fmla="*/ 1 h 180"/>
                  <a:gd name="T32" fmla="*/ 90 w 181"/>
                  <a:gd name="T33" fmla="*/ 0 h 180"/>
                  <a:gd name="T34" fmla="*/ 112 w 181"/>
                  <a:gd name="T35" fmla="*/ 3 h 180"/>
                  <a:gd name="T36" fmla="*/ 131 w 181"/>
                  <a:gd name="T37" fmla="*/ 10 h 180"/>
                  <a:gd name="T38" fmla="*/ 148 w 181"/>
                  <a:gd name="T39" fmla="*/ 21 h 180"/>
                  <a:gd name="T40" fmla="*/ 163 w 181"/>
                  <a:gd name="T41" fmla="*/ 37 h 180"/>
                  <a:gd name="T42" fmla="*/ 168 w 181"/>
                  <a:gd name="T43" fmla="*/ 44 h 180"/>
                  <a:gd name="T44" fmla="*/ 176 w 181"/>
                  <a:gd name="T45" fmla="*/ 60 h 180"/>
                  <a:gd name="T46" fmla="*/ 180 w 181"/>
                  <a:gd name="T47" fmla="*/ 78 h 180"/>
                  <a:gd name="T48" fmla="*/ 180 w 181"/>
                  <a:gd name="T49" fmla="*/ 96 h 180"/>
                  <a:gd name="T50" fmla="*/ 180 w 181"/>
                  <a:gd name="T51" fmla="*/ 104 h 180"/>
                  <a:gd name="T52" fmla="*/ 175 w 181"/>
                  <a:gd name="T53" fmla="*/ 121 h 180"/>
                  <a:gd name="T54" fmla="*/ 167 w 181"/>
                  <a:gd name="T55" fmla="*/ 137 h 180"/>
                  <a:gd name="T56" fmla="*/ 157 w 181"/>
                  <a:gd name="T57" fmla="*/ 151 h 180"/>
                  <a:gd name="T58" fmla="*/ 143 w 181"/>
                  <a:gd name="T59" fmla="*/ 162 h 180"/>
                  <a:gd name="T60" fmla="*/ 131 w 181"/>
                  <a:gd name="T61" fmla="*/ 170 h 180"/>
                  <a:gd name="T62" fmla="*/ 104 w 181"/>
                  <a:gd name="T63" fmla="*/ 178 h 180"/>
                  <a:gd name="T64" fmla="*/ 90 w 181"/>
                  <a:gd name="T65" fmla="*/ 180 h 180"/>
                  <a:gd name="T66" fmla="*/ 90 w 181"/>
                  <a:gd name="T67" fmla="*/ 21 h 180"/>
                  <a:gd name="T68" fmla="*/ 69 w 181"/>
                  <a:gd name="T69" fmla="*/ 24 h 180"/>
                  <a:gd name="T70" fmla="*/ 50 w 181"/>
                  <a:gd name="T71" fmla="*/ 34 h 180"/>
                  <a:gd name="T72" fmla="*/ 40 w 181"/>
                  <a:gd name="T73" fmla="*/ 43 h 180"/>
                  <a:gd name="T74" fmla="*/ 25 w 181"/>
                  <a:gd name="T75" fmla="*/ 65 h 180"/>
                  <a:gd name="T76" fmla="*/ 22 w 181"/>
                  <a:gd name="T77" fmla="*/ 79 h 180"/>
                  <a:gd name="T78" fmla="*/ 22 w 181"/>
                  <a:gd name="T79" fmla="*/ 106 h 180"/>
                  <a:gd name="T80" fmla="*/ 34 w 181"/>
                  <a:gd name="T81" fmla="*/ 131 h 180"/>
                  <a:gd name="T82" fmla="*/ 40 w 181"/>
                  <a:gd name="T83" fmla="*/ 137 h 180"/>
                  <a:gd name="T84" fmla="*/ 51 w 181"/>
                  <a:gd name="T85" fmla="*/ 147 h 180"/>
                  <a:gd name="T86" fmla="*/ 66 w 181"/>
                  <a:gd name="T87" fmla="*/ 155 h 180"/>
                  <a:gd name="T88" fmla="*/ 82 w 181"/>
                  <a:gd name="T89" fmla="*/ 158 h 180"/>
                  <a:gd name="T90" fmla="*/ 90 w 181"/>
                  <a:gd name="T91" fmla="*/ 158 h 180"/>
                  <a:gd name="T92" fmla="*/ 112 w 181"/>
                  <a:gd name="T93" fmla="*/ 156 h 180"/>
                  <a:gd name="T94" fmla="*/ 131 w 181"/>
                  <a:gd name="T95" fmla="*/ 146 h 180"/>
                  <a:gd name="T96" fmla="*/ 141 w 181"/>
                  <a:gd name="T97" fmla="*/ 137 h 180"/>
                  <a:gd name="T98" fmla="*/ 154 w 181"/>
                  <a:gd name="T99" fmla="*/ 114 h 180"/>
                  <a:gd name="T100" fmla="*/ 158 w 181"/>
                  <a:gd name="T101" fmla="*/ 101 h 180"/>
                  <a:gd name="T102" fmla="*/ 157 w 181"/>
                  <a:gd name="T103" fmla="*/ 74 h 180"/>
                  <a:gd name="T104" fmla="*/ 146 w 181"/>
                  <a:gd name="T105" fmla="*/ 49 h 180"/>
                  <a:gd name="T106" fmla="*/ 141 w 181"/>
                  <a:gd name="T107" fmla="*/ 43 h 180"/>
                  <a:gd name="T108" fmla="*/ 128 w 181"/>
                  <a:gd name="T109" fmla="*/ 33 h 180"/>
                  <a:gd name="T110" fmla="*/ 114 w 181"/>
                  <a:gd name="T111" fmla="*/ 25 h 180"/>
                  <a:gd name="T112" fmla="*/ 98 w 181"/>
                  <a:gd name="T113" fmla="*/ 21 h 180"/>
                  <a:gd name="T114" fmla="*/ 90 w 181"/>
                  <a:gd name="T115" fmla="*/ 2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1" h="180">
                    <a:moveTo>
                      <a:pt x="90" y="180"/>
                    </a:moveTo>
                    <a:lnTo>
                      <a:pt x="90" y="180"/>
                    </a:lnTo>
                    <a:lnTo>
                      <a:pt x="79" y="180"/>
                    </a:lnTo>
                    <a:lnTo>
                      <a:pt x="69" y="177"/>
                    </a:lnTo>
                    <a:lnTo>
                      <a:pt x="59" y="175"/>
                    </a:lnTo>
                    <a:lnTo>
                      <a:pt x="49" y="170"/>
                    </a:lnTo>
                    <a:lnTo>
                      <a:pt x="40" y="165"/>
                    </a:lnTo>
                    <a:lnTo>
                      <a:pt x="31" y="158"/>
                    </a:lnTo>
                    <a:lnTo>
                      <a:pt x="24" y="151"/>
                    </a:lnTo>
                    <a:lnTo>
                      <a:pt x="17" y="142"/>
                    </a:lnTo>
                    <a:lnTo>
                      <a:pt x="17" y="142"/>
                    </a:lnTo>
                    <a:lnTo>
                      <a:pt x="12" y="136"/>
                    </a:lnTo>
                    <a:lnTo>
                      <a:pt x="9" y="127"/>
                    </a:lnTo>
                    <a:lnTo>
                      <a:pt x="5" y="119"/>
                    </a:lnTo>
                    <a:lnTo>
                      <a:pt x="2" y="111"/>
                    </a:lnTo>
                    <a:lnTo>
                      <a:pt x="1" y="102"/>
                    </a:lnTo>
                    <a:lnTo>
                      <a:pt x="0" y="93"/>
                    </a:lnTo>
                    <a:lnTo>
                      <a:pt x="0" y="84"/>
                    </a:lnTo>
                    <a:lnTo>
                      <a:pt x="1" y="75"/>
                    </a:lnTo>
                    <a:lnTo>
                      <a:pt x="1" y="75"/>
                    </a:lnTo>
                    <a:lnTo>
                      <a:pt x="2" y="67"/>
                    </a:lnTo>
                    <a:lnTo>
                      <a:pt x="6" y="58"/>
                    </a:lnTo>
                    <a:lnTo>
                      <a:pt x="9" y="50"/>
                    </a:lnTo>
                    <a:lnTo>
                      <a:pt x="14" y="43"/>
                    </a:lnTo>
                    <a:lnTo>
                      <a:pt x="19" y="35"/>
                    </a:lnTo>
                    <a:lnTo>
                      <a:pt x="24" y="29"/>
                    </a:lnTo>
                    <a:lnTo>
                      <a:pt x="30" y="23"/>
                    </a:lnTo>
                    <a:lnTo>
                      <a:pt x="38" y="16"/>
                    </a:lnTo>
                    <a:lnTo>
                      <a:pt x="38" y="16"/>
                    </a:lnTo>
                    <a:lnTo>
                      <a:pt x="49" y="9"/>
                    </a:lnTo>
                    <a:lnTo>
                      <a:pt x="63" y="4"/>
                    </a:lnTo>
                    <a:lnTo>
                      <a:pt x="76" y="1"/>
                    </a:lnTo>
                    <a:lnTo>
                      <a:pt x="90" y="0"/>
                    </a:lnTo>
                    <a:lnTo>
                      <a:pt x="90" y="0"/>
                    </a:lnTo>
                    <a:lnTo>
                      <a:pt x="100" y="0"/>
                    </a:lnTo>
                    <a:lnTo>
                      <a:pt x="112" y="3"/>
                    </a:lnTo>
                    <a:lnTo>
                      <a:pt x="122" y="5"/>
                    </a:lnTo>
                    <a:lnTo>
                      <a:pt x="131" y="10"/>
                    </a:lnTo>
                    <a:lnTo>
                      <a:pt x="141" y="15"/>
                    </a:lnTo>
                    <a:lnTo>
                      <a:pt x="148" y="21"/>
                    </a:lnTo>
                    <a:lnTo>
                      <a:pt x="157" y="29"/>
                    </a:lnTo>
                    <a:lnTo>
                      <a:pt x="163" y="37"/>
                    </a:lnTo>
                    <a:lnTo>
                      <a:pt x="163" y="37"/>
                    </a:lnTo>
                    <a:lnTo>
                      <a:pt x="168" y="44"/>
                    </a:lnTo>
                    <a:lnTo>
                      <a:pt x="172" y="53"/>
                    </a:lnTo>
                    <a:lnTo>
                      <a:pt x="176" y="60"/>
                    </a:lnTo>
                    <a:lnTo>
                      <a:pt x="178" y="69"/>
                    </a:lnTo>
                    <a:lnTo>
                      <a:pt x="180" y="78"/>
                    </a:lnTo>
                    <a:lnTo>
                      <a:pt x="181" y="87"/>
                    </a:lnTo>
                    <a:lnTo>
                      <a:pt x="180" y="96"/>
                    </a:lnTo>
                    <a:lnTo>
                      <a:pt x="180" y="104"/>
                    </a:lnTo>
                    <a:lnTo>
                      <a:pt x="180" y="104"/>
                    </a:lnTo>
                    <a:lnTo>
                      <a:pt x="177" y="113"/>
                    </a:lnTo>
                    <a:lnTo>
                      <a:pt x="175" y="121"/>
                    </a:lnTo>
                    <a:lnTo>
                      <a:pt x="171" y="130"/>
                    </a:lnTo>
                    <a:lnTo>
                      <a:pt x="167" y="137"/>
                    </a:lnTo>
                    <a:lnTo>
                      <a:pt x="162" y="145"/>
                    </a:lnTo>
                    <a:lnTo>
                      <a:pt x="157" y="151"/>
                    </a:lnTo>
                    <a:lnTo>
                      <a:pt x="149" y="157"/>
                    </a:lnTo>
                    <a:lnTo>
                      <a:pt x="143" y="162"/>
                    </a:lnTo>
                    <a:lnTo>
                      <a:pt x="143" y="162"/>
                    </a:lnTo>
                    <a:lnTo>
                      <a:pt x="131" y="170"/>
                    </a:lnTo>
                    <a:lnTo>
                      <a:pt x="118" y="176"/>
                    </a:lnTo>
                    <a:lnTo>
                      <a:pt x="104" y="178"/>
                    </a:lnTo>
                    <a:lnTo>
                      <a:pt x="90" y="180"/>
                    </a:lnTo>
                    <a:lnTo>
                      <a:pt x="90" y="180"/>
                    </a:lnTo>
                    <a:close/>
                    <a:moveTo>
                      <a:pt x="90" y="21"/>
                    </a:moveTo>
                    <a:lnTo>
                      <a:pt x="90" y="21"/>
                    </a:lnTo>
                    <a:lnTo>
                      <a:pt x="79" y="21"/>
                    </a:lnTo>
                    <a:lnTo>
                      <a:pt x="69" y="24"/>
                    </a:lnTo>
                    <a:lnTo>
                      <a:pt x="59" y="28"/>
                    </a:lnTo>
                    <a:lnTo>
                      <a:pt x="50" y="34"/>
                    </a:lnTo>
                    <a:lnTo>
                      <a:pt x="50" y="34"/>
                    </a:lnTo>
                    <a:lnTo>
                      <a:pt x="40" y="43"/>
                    </a:lnTo>
                    <a:lnTo>
                      <a:pt x="31" y="54"/>
                    </a:lnTo>
                    <a:lnTo>
                      <a:pt x="25" y="65"/>
                    </a:lnTo>
                    <a:lnTo>
                      <a:pt x="22" y="79"/>
                    </a:lnTo>
                    <a:lnTo>
                      <a:pt x="22" y="79"/>
                    </a:lnTo>
                    <a:lnTo>
                      <a:pt x="21" y="93"/>
                    </a:lnTo>
                    <a:lnTo>
                      <a:pt x="22" y="106"/>
                    </a:lnTo>
                    <a:lnTo>
                      <a:pt x="27" y="118"/>
                    </a:lnTo>
                    <a:lnTo>
                      <a:pt x="34" y="131"/>
                    </a:lnTo>
                    <a:lnTo>
                      <a:pt x="34" y="131"/>
                    </a:lnTo>
                    <a:lnTo>
                      <a:pt x="40" y="137"/>
                    </a:lnTo>
                    <a:lnTo>
                      <a:pt x="45" y="142"/>
                    </a:lnTo>
                    <a:lnTo>
                      <a:pt x="51" y="147"/>
                    </a:lnTo>
                    <a:lnTo>
                      <a:pt x="59" y="151"/>
                    </a:lnTo>
                    <a:lnTo>
                      <a:pt x="66" y="155"/>
                    </a:lnTo>
                    <a:lnTo>
                      <a:pt x="74" y="157"/>
                    </a:lnTo>
                    <a:lnTo>
                      <a:pt x="82" y="158"/>
                    </a:lnTo>
                    <a:lnTo>
                      <a:pt x="90" y="158"/>
                    </a:lnTo>
                    <a:lnTo>
                      <a:pt x="90" y="158"/>
                    </a:lnTo>
                    <a:lnTo>
                      <a:pt x="100" y="158"/>
                    </a:lnTo>
                    <a:lnTo>
                      <a:pt x="112" y="156"/>
                    </a:lnTo>
                    <a:lnTo>
                      <a:pt x="122" y="151"/>
                    </a:lnTo>
                    <a:lnTo>
                      <a:pt x="131" y="146"/>
                    </a:lnTo>
                    <a:lnTo>
                      <a:pt x="131" y="146"/>
                    </a:lnTo>
                    <a:lnTo>
                      <a:pt x="141" y="137"/>
                    </a:lnTo>
                    <a:lnTo>
                      <a:pt x="149" y="126"/>
                    </a:lnTo>
                    <a:lnTo>
                      <a:pt x="154" y="114"/>
                    </a:lnTo>
                    <a:lnTo>
                      <a:pt x="158" y="101"/>
                    </a:lnTo>
                    <a:lnTo>
                      <a:pt x="158" y="101"/>
                    </a:lnTo>
                    <a:lnTo>
                      <a:pt x="159" y="87"/>
                    </a:lnTo>
                    <a:lnTo>
                      <a:pt x="157" y="74"/>
                    </a:lnTo>
                    <a:lnTo>
                      <a:pt x="153" y="62"/>
                    </a:lnTo>
                    <a:lnTo>
                      <a:pt x="146" y="49"/>
                    </a:lnTo>
                    <a:lnTo>
                      <a:pt x="146" y="49"/>
                    </a:lnTo>
                    <a:lnTo>
                      <a:pt x="141" y="43"/>
                    </a:lnTo>
                    <a:lnTo>
                      <a:pt x="134" y="38"/>
                    </a:lnTo>
                    <a:lnTo>
                      <a:pt x="128" y="33"/>
                    </a:lnTo>
                    <a:lnTo>
                      <a:pt x="122" y="29"/>
                    </a:lnTo>
                    <a:lnTo>
                      <a:pt x="114" y="25"/>
                    </a:lnTo>
                    <a:lnTo>
                      <a:pt x="107" y="23"/>
                    </a:lnTo>
                    <a:lnTo>
                      <a:pt x="98" y="21"/>
                    </a:lnTo>
                    <a:lnTo>
                      <a:pt x="90" y="21"/>
                    </a:lnTo>
                    <a:lnTo>
                      <a:pt x="90" y="21"/>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61" name="Freeform 53"/>
              <p:cNvSpPr>
                <a:spLocks noEditPoints="1"/>
              </p:cNvSpPr>
              <p:nvPr/>
            </p:nvSpPr>
            <p:spPr bwMode="auto">
              <a:xfrm>
                <a:off x="3739338" y="3373180"/>
                <a:ext cx="53038" cy="53038"/>
              </a:xfrm>
              <a:custGeom>
                <a:avLst/>
                <a:gdLst>
                  <a:gd name="T0" fmla="*/ 26 w 51"/>
                  <a:gd name="T1" fmla="*/ 51 h 51"/>
                  <a:gd name="T2" fmla="*/ 26 w 51"/>
                  <a:gd name="T3" fmla="*/ 51 h 51"/>
                  <a:gd name="T4" fmla="*/ 21 w 51"/>
                  <a:gd name="T5" fmla="*/ 50 h 51"/>
                  <a:gd name="T6" fmla="*/ 16 w 51"/>
                  <a:gd name="T7" fmla="*/ 49 h 51"/>
                  <a:gd name="T8" fmla="*/ 11 w 51"/>
                  <a:gd name="T9" fmla="*/ 46 h 51"/>
                  <a:gd name="T10" fmla="*/ 7 w 51"/>
                  <a:gd name="T11" fmla="*/ 44 h 51"/>
                  <a:gd name="T12" fmla="*/ 5 w 51"/>
                  <a:gd name="T13" fmla="*/ 40 h 51"/>
                  <a:gd name="T14" fmla="*/ 2 w 51"/>
                  <a:gd name="T15" fmla="*/ 35 h 51"/>
                  <a:gd name="T16" fmla="*/ 0 w 51"/>
                  <a:gd name="T17" fmla="*/ 30 h 51"/>
                  <a:gd name="T18" fmla="*/ 0 w 51"/>
                  <a:gd name="T19" fmla="*/ 25 h 51"/>
                  <a:gd name="T20" fmla="*/ 0 w 51"/>
                  <a:gd name="T21" fmla="*/ 25 h 51"/>
                  <a:gd name="T22" fmla="*/ 0 w 51"/>
                  <a:gd name="T23" fmla="*/ 20 h 51"/>
                  <a:gd name="T24" fmla="*/ 2 w 51"/>
                  <a:gd name="T25" fmla="*/ 15 h 51"/>
                  <a:gd name="T26" fmla="*/ 5 w 51"/>
                  <a:gd name="T27" fmla="*/ 11 h 51"/>
                  <a:gd name="T28" fmla="*/ 7 w 51"/>
                  <a:gd name="T29" fmla="*/ 7 h 51"/>
                  <a:gd name="T30" fmla="*/ 11 w 51"/>
                  <a:gd name="T31" fmla="*/ 4 h 51"/>
                  <a:gd name="T32" fmla="*/ 16 w 51"/>
                  <a:gd name="T33" fmla="*/ 1 h 51"/>
                  <a:gd name="T34" fmla="*/ 21 w 51"/>
                  <a:gd name="T35" fmla="*/ 0 h 51"/>
                  <a:gd name="T36" fmla="*/ 26 w 51"/>
                  <a:gd name="T37" fmla="*/ 0 h 51"/>
                  <a:gd name="T38" fmla="*/ 26 w 51"/>
                  <a:gd name="T39" fmla="*/ 0 h 51"/>
                  <a:gd name="T40" fmla="*/ 31 w 51"/>
                  <a:gd name="T41" fmla="*/ 0 h 51"/>
                  <a:gd name="T42" fmla="*/ 36 w 51"/>
                  <a:gd name="T43" fmla="*/ 1 h 51"/>
                  <a:gd name="T44" fmla="*/ 40 w 51"/>
                  <a:gd name="T45" fmla="*/ 4 h 51"/>
                  <a:gd name="T46" fmla="*/ 44 w 51"/>
                  <a:gd name="T47" fmla="*/ 7 h 51"/>
                  <a:gd name="T48" fmla="*/ 48 w 51"/>
                  <a:gd name="T49" fmla="*/ 11 h 51"/>
                  <a:gd name="T50" fmla="*/ 50 w 51"/>
                  <a:gd name="T51" fmla="*/ 15 h 51"/>
                  <a:gd name="T52" fmla="*/ 51 w 51"/>
                  <a:gd name="T53" fmla="*/ 20 h 51"/>
                  <a:gd name="T54" fmla="*/ 51 w 51"/>
                  <a:gd name="T55" fmla="*/ 25 h 51"/>
                  <a:gd name="T56" fmla="*/ 51 w 51"/>
                  <a:gd name="T57" fmla="*/ 25 h 51"/>
                  <a:gd name="T58" fmla="*/ 51 w 51"/>
                  <a:gd name="T59" fmla="*/ 30 h 51"/>
                  <a:gd name="T60" fmla="*/ 50 w 51"/>
                  <a:gd name="T61" fmla="*/ 35 h 51"/>
                  <a:gd name="T62" fmla="*/ 48 w 51"/>
                  <a:gd name="T63" fmla="*/ 40 h 51"/>
                  <a:gd name="T64" fmla="*/ 44 w 51"/>
                  <a:gd name="T65" fmla="*/ 44 h 51"/>
                  <a:gd name="T66" fmla="*/ 40 w 51"/>
                  <a:gd name="T67" fmla="*/ 46 h 51"/>
                  <a:gd name="T68" fmla="*/ 36 w 51"/>
                  <a:gd name="T69" fmla="*/ 49 h 51"/>
                  <a:gd name="T70" fmla="*/ 31 w 51"/>
                  <a:gd name="T71" fmla="*/ 50 h 51"/>
                  <a:gd name="T72" fmla="*/ 26 w 51"/>
                  <a:gd name="T73" fmla="*/ 51 h 51"/>
                  <a:gd name="T74" fmla="*/ 26 w 51"/>
                  <a:gd name="T75" fmla="*/ 51 h 51"/>
                  <a:gd name="T76" fmla="*/ 26 w 51"/>
                  <a:gd name="T77" fmla="*/ 11 h 51"/>
                  <a:gd name="T78" fmla="*/ 26 w 51"/>
                  <a:gd name="T79" fmla="*/ 11 h 51"/>
                  <a:gd name="T80" fmla="*/ 20 w 51"/>
                  <a:gd name="T81" fmla="*/ 11 h 51"/>
                  <a:gd name="T82" fmla="*/ 15 w 51"/>
                  <a:gd name="T83" fmla="*/ 15 h 51"/>
                  <a:gd name="T84" fmla="*/ 12 w 51"/>
                  <a:gd name="T85" fmla="*/ 20 h 51"/>
                  <a:gd name="T86" fmla="*/ 11 w 51"/>
                  <a:gd name="T87" fmla="*/ 25 h 51"/>
                  <a:gd name="T88" fmla="*/ 11 w 51"/>
                  <a:gd name="T89" fmla="*/ 25 h 51"/>
                  <a:gd name="T90" fmla="*/ 12 w 51"/>
                  <a:gd name="T91" fmla="*/ 31 h 51"/>
                  <a:gd name="T92" fmla="*/ 15 w 51"/>
                  <a:gd name="T93" fmla="*/ 36 h 51"/>
                  <a:gd name="T94" fmla="*/ 20 w 51"/>
                  <a:gd name="T95" fmla="*/ 39 h 51"/>
                  <a:gd name="T96" fmla="*/ 26 w 51"/>
                  <a:gd name="T97" fmla="*/ 40 h 51"/>
                  <a:gd name="T98" fmla="*/ 26 w 51"/>
                  <a:gd name="T99" fmla="*/ 40 h 51"/>
                  <a:gd name="T100" fmla="*/ 31 w 51"/>
                  <a:gd name="T101" fmla="*/ 39 h 51"/>
                  <a:gd name="T102" fmla="*/ 36 w 51"/>
                  <a:gd name="T103" fmla="*/ 36 h 51"/>
                  <a:gd name="T104" fmla="*/ 40 w 51"/>
                  <a:gd name="T105" fmla="*/ 31 h 51"/>
                  <a:gd name="T106" fmla="*/ 40 w 51"/>
                  <a:gd name="T107" fmla="*/ 25 h 51"/>
                  <a:gd name="T108" fmla="*/ 40 w 51"/>
                  <a:gd name="T109" fmla="*/ 25 h 51"/>
                  <a:gd name="T110" fmla="*/ 40 w 51"/>
                  <a:gd name="T111" fmla="*/ 20 h 51"/>
                  <a:gd name="T112" fmla="*/ 36 w 51"/>
                  <a:gd name="T113" fmla="*/ 15 h 51"/>
                  <a:gd name="T114" fmla="*/ 31 w 51"/>
                  <a:gd name="T115" fmla="*/ 11 h 51"/>
                  <a:gd name="T116" fmla="*/ 26 w 51"/>
                  <a:gd name="T117" fmla="*/ 11 h 51"/>
                  <a:gd name="T118" fmla="*/ 26 w 51"/>
                  <a:gd name="T119" fmla="*/ 1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 h="51">
                    <a:moveTo>
                      <a:pt x="26" y="51"/>
                    </a:moveTo>
                    <a:lnTo>
                      <a:pt x="26" y="51"/>
                    </a:lnTo>
                    <a:lnTo>
                      <a:pt x="21" y="50"/>
                    </a:lnTo>
                    <a:lnTo>
                      <a:pt x="16" y="49"/>
                    </a:lnTo>
                    <a:lnTo>
                      <a:pt x="11" y="46"/>
                    </a:lnTo>
                    <a:lnTo>
                      <a:pt x="7" y="44"/>
                    </a:lnTo>
                    <a:lnTo>
                      <a:pt x="5" y="40"/>
                    </a:lnTo>
                    <a:lnTo>
                      <a:pt x="2" y="35"/>
                    </a:lnTo>
                    <a:lnTo>
                      <a:pt x="0" y="30"/>
                    </a:lnTo>
                    <a:lnTo>
                      <a:pt x="0" y="25"/>
                    </a:lnTo>
                    <a:lnTo>
                      <a:pt x="0" y="25"/>
                    </a:lnTo>
                    <a:lnTo>
                      <a:pt x="0" y="20"/>
                    </a:lnTo>
                    <a:lnTo>
                      <a:pt x="2" y="15"/>
                    </a:lnTo>
                    <a:lnTo>
                      <a:pt x="5" y="11"/>
                    </a:lnTo>
                    <a:lnTo>
                      <a:pt x="7" y="7"/>
                    </a:lnTo>
                    <a:lnTo>
                      <a:pt x="11" y="4"/>
                    </a:lnTo>
                    <a:lnTo>
                      <a:pt x="16" y="1"/>
                    </a:lnTo>
                    <a:lnTo>
                      <a:pt x="21" y="0"/>
                    </a:lnTo>
                    <a:lnTo>
                      <a:pt x="26" y="0"/>
                    </a:lnTo>
                    <a:lnTo>
                      <a:pt x="26" y="0"/>
                    </a:lnTo>
                    <a:lnTo>
                      <a:pt x="31" y="0"/>
                    </a:lnTo>
                    <a:lnTo>
                      <a:pt x="36" y="1"/>
                    </a:lnTo>
                    <a:lnTo>
                      <a:pt x="40" y="4"/>
                    </a:lnTo>
                    <a:lnTo>
                      <a:pt x="44" y="7"/>
                    </a:lnTo>
                    <a:lnTo>
                      <a:pt x="48" y="11"/>
                    </a:lnTo>
                    <a:lnTo>
                      <a:pt x="50" y="15"/>
                    </a:lnTo>
                    <a:lnTo>
                      <a:pt x="51" y="20"/>
                    </a:lnTo>
                    <a:lnTo>
                      <a:pt x="51" y="25"/>
                    </a:lnTo>
                    <a:lnTo>
                      <a:pt x="51" y="25"/>
                    </a:lnTo>
                    <a:lnTo>
                      <a:pt x="51" y="30"/>
                    </a:lnTo>
                    <a:lnTo>
                      <a:pt x="50" y="35"/>
                    </a:lnTo>
                    <a:lnTo>
                      <a:pt x="48" y="40"/>
                    </a:lnTo>
                    <a:lnTo>
                      <a:pt x="44" y="44"/>
                    </a:lnTo>
                    <a:lnTo>
                      <a:pt x="40" y="46"/>
                    </a:lnTo>
                    <a:lnTo>
                      <a:pt x="36" y="49"/>
                    </a:lnTo>
                    <a:lnTo>
                      <a:pt x="31" y="50"/>
                    </a:lnTo>
                    <a:lnTo>
                      <a:pt x="26" y="51"/>
                    </a:lnTo>
                    <a:lnTo>
                      <a:pt x="26" y="51"/>
                    </a:lnTo>
                    <a:close/>
                    <a:moveTo>
                      <a:pt x="26" y="11"/>
                    </a:moveTo>
                    <a:lnTo>
                      <a:pt x="26" y="11"/>
                    </a:lnTo>
                    <a:lnTo>
                      <a:pt x="20" y="11"/>
                    </a:lnTo>
                    <a:lnTo>
                      <a:pt x="15" y="15"/>
                    </a:lnTo>
                    <a:lnTo>
                      <a:pt x="12" y="20"/>
                    </a:lnTo>
                    <a:lnTo>
                      <a:pt x="11" y="25"/>
                    </a:lnTo>
                    <a:lnTo>
                      <a:pt x="11" y="25"/>
                    </a:lnTo>
                    <a:lnTo>
                      <a:pt x="12" y="31"/>
                    </a:lnTo>
                    <a:lnTo>
                      <a:pt x="15" y="36"/>
                    </a:lnTo>
                    <a:lnTo>
                      <a:pt x="20" y="39"/>
                    </a:lnTo>
                    <a:lnTo>
                      <a:pt x="26" y="40"/>
                    </a:lnTo>
                    <a:lnTo>
                      <a:pt x="26" y="40"/>
                    </a:lnTo>
                    <a:lnTo>
                      <a:pt x="31" y="39"/>
                    </a:lnTo>
                    <a:lnTo>
                      <a:pt x="36" y="36"/>
                    </a:lnTo>
                    <a:lnTo>
                      <a:pt x="40" y="31"/>
                    </a:lnTo>
                    <a:lnTo>
                      <a:pt x="40" y="25"/>
                    </a:lnTo>
                    <a:lnTo>
                      <a:pt x="40" y="25"/>
                    </a:lnTo>
                    <a:lnTo>
                      <a:pt x="40" y="20"/>
                    </a:lnTo>
                    <a:lnTo>
                      <a:pt x="36" y="15"/>
                    </a:lnTo>
                    <a:lnTo>
                      <a:pt x="31" y="11"/>
                    </a:lnTo>
                    <a:lnTo>
                      <a:pt x="26" y="11"/>
                    </a:lnTo>
                    <a:lnTo>
                      <a:pt x="26" y="11"/>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62" name="Freeform 54"/>
              <p:cNvSpPr>
                <a:spLocks noEditPoints="1"/>
              </p:cNvSpPr>
              <p:nvPr/>
            </p:nvSpPr>
            <p:spPr bwMode="auto">
              <a:xfrm>
                <a:off x="3871934" y="3473135"/>
                <a:ext cx="53038" cy="53038"/>
              </a:xfrm>
              <a:custGeom>
                <a:avLst/>
                <a:gdLst>
                  <a:gd name="T0" fmla="*/ 25 w 52"/>
                  <a:gd name="T1" fmla="*/ 51 h 51"/>
                  <a:gd name="T2" fmla="*/ 25 w 52"/>
                  <a:gd name="T3" fmla="*/ 51 h 51"/>
                  <a:gd name="T4" fmla="*/ 18 w 52"/>
                  <a:gd name="T5" fmla="*/ 50 h 51"/>
                  <a:gd name="T6" fmla="*/ 10 w 52"/>
                  <a:gd name="T7" fmla="*/ 46 h 51"/>
                  <a:gd name="T8" fmla="*/ 4 w 52"/>
                  <a:gd name="T9" fmla="*/ 40 h 51"/>
                  <a:gd name="T10" fmla="*/ 2 w 52"/>
                  <a:gd name="T11" fmla="*/ 32 h 51"/>
                  <a:gd name="T12" fmla="*/ 2 w 52"/>
                  <a:gd name="T13" fmla="*/ 32 h 51"/>
                  <a:gd name="T14" fmla="*/ 0 w 52"/>
                  <a:gd name="T15" fmla="*/ 27 h 51"/>
                  <a:gd name="T16" fmla="*/ 0 w 52"/>
                  <a:gd name="T17" fmla="*/ 22 h 51"/>
                  <a:gd name="T18" fmla="*/ 2 w 52"/>
                  <a:gd name="T19" fmla="*/ 17 h 51"/>
                  <a:gd name="T20" fmla="*/ 3 w 52"/>
                  <a:gd name="T21" fmla="*/ 12 h 51"/>
                  <a:gd name="T22" fmla="*/ 7 w 52"/>
                  <a:gd name="T23" fmla="*/ 9 h 51"/>
                  <a:gd name="T24" fmla="*/ 10 w 52"/>
                  <a:gd name="T25" fmla="*/ 5 h 51"/>
                  <a:gd name="T26" fmla="*/ 14 w 52"/>
                  <a:gd name="T27" fmla="*/ 2 h 51"/>
                  <a:gd name="T28" fmla="*/ 19 w 52"/>
                  <a:gd name="T29" fmla="*/ 0 h 51"/>
                  <a:gd name="T30" fmla="*/ 19 w 52"/>
                  <a:gd name="T31" fmla="*/ 0 h 51"/>
                  <a:gd name="T32" fmla="*/ 25 w 52"/>
                  <a:gd name="T33" fmla="*/ 0 h 51"/>
                  <a:gd name="T34" fmla="*/ 25 w 52"/>
                  <a:gd name="T35" fmla="*/ 0 h 51"/>
                  <a:gd name="T36" fmla="*/ 34 w 52"/>
                  <a:gd name="T37" fmla="*/ 1 h 51"/>
                  <a:gd name="T38" fmla="*/ 42 w 52"/>
                  <a:gd name="T39" fmla="*/ 5 h 51"/>
                  <a:gd name="T40" fmla="*/ 48 w 52"/>
                  <a:gd name="T41" fmla="*/ 11 h 51"/>
                  <a:gd name="T42" fmla="*/ 51 w 52"/>
                  <a:gd name="T43" fmla="*/ 19 h 51"/>
                  <a:gd name="T44" fmla="*/ 51 w 52"/>
                  <a:gd name="T45" fmla="*/ 19 h 51"/>
                  <a:gd name="T46" fmla="*/ 52 w 52"/>
                  <a:gd name="T47" fmla="*/ 24 h 51"/>
                  <a:gd name="T48" fmla="*/ 52 w 52"/>
                  <a:gd name="T49" fmla="*/ 29 h 51"/>
                  <a:gd name="T50" fmla="*/ 51 w 52"/>
                  <a:gd name="T51" fmla="*/ 34 h 51"/>
                  <a:gd name="T52" fmla="*/ 48 w 52"/>
                  <a:gd name="T53" fmla="*/ 39 h 51"/>
                  <a:gd name="T54" fmla="*/ 48 w 52"/>
                  <a:gd name="T55" fmla="*/ 39 h 51"/>
                  <a:gd name="T56" fmla="*/ 46 w 52"/>
                  <a:gd name="T57" fmla="*/ 42 h 51"/>
                  <a:gd name="T58" fmla="*/ 42 w 52"/>
                  <a:gd name="T59" fmla="*/ 46 h 51"/>
                  <a:gd name="T60" fmla="*/ 38 w 52"/>
                  <a:gd name="T61" fmla="*/ 49 h 51"/>
                  <a:gd name="T62" fmla="*/ 33 w 52"/>
                  <a:gd name="T63" fmla="*/ 50 h 51"/>
                  <a:gd name="T64" fmla="*/ 33 w 52"/>
                  <a:gd name="T65" fmla="*/ 50 h 51"/>
                  <a:gd name="T66" fmla="*/ 25 w 52"/>
                  <a:gd name="T67" fmla="*/ 51 h 51"/>
                  <a:gd name="T68" fmla="*/ 25 w 52"/>
                  <a:gd name="T69" fmla="*/ 51 h 51"/>
                  <a:gd name="T70" fmla="*/ 25 w 52"/>
                  <a:gd name="T71" fmla="*/ 11 h 51"/>
                  <a:gd name="T72" fmla="*/ 25 w 52"/>
                  <a:gd name="T73" fmla="*/ 11 h 51"/>
                  <a:gd name="T74" fmla="*/ 22 w 52"/>
                  <a:gd name="T75" fmla="*/ 11 h 51"/>
                  <a:gd name="T76" fmla="*/ 22 w 52"/>
                  <a:gd name="T77" fmla="*/ 11 h 51"/>
                  <a:gd name="T78" fmla="*/ 17 w 52"/>
                  <a:gd name="T79" fmla="*/ 14 h 51"/>
                  <a:gd name="T80" fmla="*/ 13 w 52"/>
                  <a:gd name="T81" fmla="*/ 19 h 51"/>
                  <a:gd name="T82" fmla="*/ 12 w 52"/>
                  <a:gd name="T83" fmla="*/ 24 h 51"/>
                  <a:gd name="T84" fmla="*/ 12 w 52"/>
                  <a:gd name="T85" fmla="*/ 29 h 51"/>
                  <a:gd name="T86" fmla="*/ 12 w 52"/>
                  <a:gd name="T87" fmla="*/ 29 h 51"/>
                  <a:gd name="T88" fmla="*/ 14 w 52"/>
                  <a:gd name="T89" fmla="*/ 35 h 51"/>
                  <a:gd name="T90" fmla="*/ 19 w 52"/>
                  <a:gd name="T91" fmla="*/ 37 h 51"/>
                  <a:gd name="T92" fmla="*/ 24 w 52"/>
                  <a:gd name="T93" fmla="*/ 40 h 51"/>
                  <a:gd name="T94" fmla="*/ 31 w 52"/>
                  <a:gd name="T95" fmla="*/ 40 h 51"/>
                  <a:gd name="T96" fmla="*/ 31 w 52"/>
                  <a:gd name="T97" fmla="*/ 40 h 51"/>
                  <a:gd name="T98" fmla="*/ 36 w 52"/>
                  <a:gd name="T99" fmla="*/ 37 h 51"/>
                  <a:gd name="T100" fmla="*/ 39 w 52"/>
                  <a:gd name="T101" fmla="*/ 32 h 51"/>
                  <a:gd name="T102" fmla="*/ 39 w 52"/>
                  <a:gd name="T103" fmla="*/ 32 h 51"/>
                  <a:gd name="T104" fmla="*/ 41 w 52"/>
                  <a:gd name="T105" fmla="*/ 27 h 51"/>
                  <a:gd name="T106" fmla="*/ 41 w 52"/>
                  <a:gd name="T107" fmla="*/ 21 h 51"/>
                  <a:gd name="T108" fmla="*/ 41 w 52"/>
                  <a:gd name="T109" fmla="*/ 21 h 51"/>
                  <a:gd name="T110" fmla="*/ 38 w 52"/>
                  <a:gd name="T111" fmla="*/ 17 h 51"/>
                  <a:gd name="T112" fmla="*/ 36 w 52"/>
                  <a:gd name="T113" fmla="*/ 14 h 51"/>
                  <a:gd name="T114" fmla="*/ 31 w 52"/>
                  <a:gd name="T115" fmla="*/ 11 h 51"/>
                  <a:gd name="T116" fmla="*/ 25 w 52"/>
                  <a:gd name="T117" fmla="*/ 11 h 51"/>
                  <a:gd name="T118" fmla="*/ 25 w 52"/>
                  <a:gd name="T119" fmla="*/ 1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2" h="51">
                    <a:moveTo>
                      <a:pt x="25" y="51"/>
                    </a:moveTo>
                    <a:lnTo>
                      <a:pt x="25" y="51"/>
                    </a:lnTo>
                    <a:lnTo>
                      <a:pt x="18" y="50"/>
                    </a:lnTo>
                    <a:lnTo>
                      <a:pt x="10" y="46"/>
                    </a:lnTo>
                    <a:lnTo>
                      <a:pt x="4" y="40"/>
                    </a:lnTo>
                    <a:lnTo>
                      <a:pt x="2" y="32"/>
                    </a:lnTo>
                    <a:lnTo>
                      <a:pt x="2" y="32"/>
                    </a:lnTo>
                    <a:lnTo>
                      <a:pt x="0" y="27"/>
                    </a:lnTo>
                    <a:lnTo>
                      <a:pt x="0" y="22"/>
                    </a:lnTo>
                    <a:lnTo>
                      <a:pt x="2" y="17"/>
                    </a:lnTo>
                    <a:lnTo>
                      <a:pt x="3" y="12"/>
                    </a:lnTo>
                    <a:lnTo>
                      <a:pt x="7" y="9"/>
                    </a:lnTo>
                    <a:lnTo>
                      <a:pt x="10" y="5"/>
                    </a:lnTo>
                    <a:lnTo>
                      <a:pt x="14" y="2"/>
                    </a:lnTo>
                    <a:lnTo>
                      <a:pt x="19" y="0"/>
                    </a:lnTo>
                    <a:lnTo>
                      <a:pt x="19" y="0"/>
                    </a:lnTo>
                    <a:lnTo>
                      <a:pt x="25" y="0"/>
                    </a:lnTo>
                    <a:lnTo>
                      <a:pt x="25" y="0"/>
                    </a:lnTo>
                    <a:lnTo>
                      <a:pt x="34" y="1"/>
                    </a:lnTo>
                    <a:lnTo>
                      <a:pt x="42" y="5"/>
                    </a:lnTo>
                    <a:lnTo>
                      <a:pt x="48" y="11"/>
                    </a:lnTo>
                    <a:lnTo>
                      <a:pt x="51" y="19"/>
                    </a:lnTo>
                    <a:lnTo>
                      <a:pt x="51" y="19"/>
                    </a:lnTo>
                    <a:lnTo>
                      <a:pt x="52" y="24"/>
                    </a:lnTo>
                    <a:lnTo>
                      <a:pt x="52" y="29"/>
                    </a:lnTo>
                    <a:lnTo>
                      <a:pt x="51" y="34"/>
                    </a:lnTo>
                    <a:lnTo>
                      <a:pt x="48" y="39"/>
                    </a:lnTo>
                    <a:lnTo>
                      <a:pt x="48" y="39"/>
                    </a:lnTo>
                    <a:lnTo>
                      <a:pt x="46" y="42"/>
                    </a:lnTo>
                    <a:lnTo>
                      <a:pt x="42" y="46"/>
                    </a:lnTo>
                    <a:lnTo>
                      <a:pt x="38" y="49"/>
                    </a:lnTo>
                    <a:lnTo>
                      <a:pt x="33" y="50"/>
                    </a:lnTo>
                    <a:lnTo>
                      <a:pt x="33" y="50"/>
                    </a:lnTo>
                    <a:lnTo>
                      <a:pt x="25" y="51"/>
                    </a:lnTo>
                    <a:lnTo>
                      <a:pt x="25" y="51"/>
                    </a:lnTo>
                    <a:close/>
                    <a:moveTo>
                      <a:pt x="25" y="11"/>
                    </a:moveTo>
                    <a:lnTo>
                      <a:pt x="25" y="11"/>
                    </a:lnTo>
                    <a:lnTo>
                      <a:pt x="22" y="11"/>
                    </a:lnTo>
                    <a:lnTo>
                      <a:pt x="22" y="11"/>
                    </a:lnTo>
                    <a:lnTo>
                      <a:pt x="17" y="14"/>
                    </a:lnTo>
                    <a:lnTo>
                      <a:pt x="13" y="19"/>
                    </a:lnTo>
                    <a:lnTo>
                      <a:pt x="12" y="24"/>
                    </a:lnTo>
                    <a:lnTo>
                      <a:pt x="12" y="29"/>
                    </a:lnTo>
                    <a:lnTo>
                      <a:pt x="12" y="29"/>
                    </a:lnTo>
                    <a:lnTo>
                      <a:pt x="14" y="35"/>
                    </a:lnTo>
                    <a:lnTo>
                      <a:pt x="19" y="37"/>
                    </a:lnTo>
                    <a:lnTo>
                      <a:pt x="24" y="40"/>
                    </a:lnTo>
                    <a:lnTo>
                      <a:pt x="31" y="40"/>
                    </a:lnTo>
                    <a:lnTo>
                      <a:pt x="31" y="40"/>
                    </a:lnTo>
                    <a:lnTo>
                      <a:pt x="36" y="37"/>
                    </a:lnTo>
                    <a:lnTo>
                      <a:pt x="39" y="32"/>
                    </a:lnTo>
                    <a:lnTo>
                      <a:pt x="39" y="32"/>
                    </a:lnTo>
                    <a:lnTo>
                      <a:pt x="41" y="27"/>
                    </a:lnTo>
                    <a:lnTo>
                      <a:pt x="41" y="21"/>
                    </a:lnTo>
                    <a:lnTo>
                      <a:pt x="41" y="21"/>
                    </a:lnTo>
                    <a:lnTo>
                      <a:pt x="38" y="17"/>
                    </a:lnTo>
                    <a:lnTo>
                      <a:pt x="36" y="14"/>
                    </a:lnTo>
                    <a:lnTo>
                      <a:pt x="31" y="11"/>
                    </a:lnTo>
                    <a:lnTo>
                      <a:pt x="25" y="11"/>
                    </a:lnTo>
                    <a:lnTo>
                      <a:pt x="25" y="11"/>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63" name="Freeform 55"/>
              <p:cNvSpPr>
                <a:spLocks noEditPoints="1"/>
              </p:cNvSpPr>
              <p:nvPr/>
            </p:nvSpPr>
            <p:spPr bwMode="auto">
              <a:xfrm>
                <a:off x="3608785" y="3471096"/>
                <a:ext cx="53038" cy="55077"/>
              </a:xfrm>
              <a:custGeom>
                <a:avLst/>
                <a:gdLst>
                  <a:gd name="T0" fmla="*/ 25 w 51"/>
                  <a:gd name="T1" fmla="*/ 53 h 53"/>
                  <a:gd name="T2" fmla="*/ 25 w 51"/>
                  <a:gd name="T3" fmla="*/ 53 h 53"/>
                  <a:gd name="T4" fmla="*/ 19 w 51"/>
                  <a:gd name="T5" fmla="*/ 52 h 53"/>
                  <a:gd name="T6" fmla="*/ 19 w 51"/>
                  <a:gd name="T7" fmla="*/ 52 h 53"/>
                  <a:gd name="T8" fmla="*/ 14 w 51"/>
                  <a:gd name="T9" fmla="*/ 49 h 53"/>
                  <a:gd name="T10" fmla="*/ 9 w 51"/>
                  <a:gd name="T11" fmla="*/ 47 h 53"/>
                  <a:gd name="T12" fmla="*/ 5 w 51"/>
                  <a:gd name="T13" fmla="*/ 43 h 53"/>
                  <a:gd name="T14" fmla="*/ 2 w 51"/>
                  <a:gd name="T15" fmla="*/ 39 h 53"/>
                  <a:gd name="T16" fmla="*/ 2 w 51"/>
                  <a:gd name="T17" fmla="*/ 39 h 53"/>
                  <a:gd name="T18" fmla="*/ 0 w 51"/>
                  <a:gd name="T19" fmla="*/ 34 h 53"/>
                  <a:gd name="T20" fmla="*/ 0 w 51"/>
                  <a:gd name="T21" fmla="*/ 29 h 53"/>
                  <a:gd name="T22" fmla="*/ 0 w 51"/>
                  <a:gd name="T23" fmla="*/ 24 h 53"/>
                  <a:gd name="T24" fmla="*/ 0 w 51"/>
                  <a:gd name="T25" fmla="*/ 19 h 53"/>
                  <a:gd name="T26" fmla="*/ 0 w 51"/>
                  <a:gd name="T27" fmla="*/ 19 h 53"/>
                  <a:gd name="T28" fmla="*/ 4 w 51"/>
                  <a:gd name="T29" fmla="*/ 12 h 53"/>
                  <a:gd name="T30" fmla="*/ 10 w 51"/>
                  <a:gd name="T31" fmla="*/ 6 h 53"/>
                  <a:gd name="T32" fmla="*/ 17 w 51"/>
                  <a:gd name="T33" fmla="*/ 2 h 53"/>
                  <a:gd name="T34" fmla="*/ 25 w 51"/>
                  <a:gd name="T35" fmla="*/ 0 h 53"/>
                  <a:gd name="T36" fmla="*/ 25 w 51"/>
                  <a:gd name="T37" fmla="*/ 0 h 53"/>
                  <a:gd name="T38" fmla="*/ 32 w 51"/>
                  <a:gd name="T39" fmla="*/ 2 h 53"/>
                  <a:gd name="T40" fmla="*/ 32 w 51"/>
                  <a:gd name="T41" fmla="*/ 2 h 53"/>
                  <a:gd name="T42" fmla="*/ 37 w 51"/>
                  <a:gd name="T43" fmla="*/ 3 h 53"/>
                  <a:gd name="T44" fmla="*/ 41 w 51"/>
                  <a:gd name="T45" fmla="*/ 7 h 53"/>
                  <a:gd name="T46" fmla="*/ 45 w 51"/>
                  <a:gd name="T47" fmla="*/ 9 h 53"/>
                  <a:gd name="T48" fmla="*/ 47 w 51"/>
                  <a:gd name="T49" fmla="*/ 14 h 53"/>
                  <a:gd name="T50" fmla="*/ 50 w 51"/>
                  <a:gd name="T51" fmla="*/ 18 h 53"/>
                  <a:gd name="T52" fmla="*/ 51 w 51"/>
                  <a:gd name="T53" fmla="*/ 23 h 53"/>
                  <a:gd name="T54" fmla="*/ 51 w 51"/>
                  <a:gd name="T55" fmla="*/ 28 h 53"/>
                  <a:gd name="T56" fmla="*/ 50 w 51"/>
                  <a:gd name="T57" fmla="*/ 33 h 53"/>
                  <a:gd name="T58" fmla="*/ 50 w 51"/>
                  <a:gd name="T59" fmla="*/ 33 h 53"/>
                  <a:gd name="T60" fmla="*/ 46 w 51"/>
                  <a:gd name="T61" fmla="*/ 42 h 53"/>
                  <a:gd name="T62" fmla="*/ 41 w 51"/>
                  <a:gd name="T63" fmla="*/ 47 h 53"/>
                  <a:gd name="T64" fmla="*/ 34 w 51"/>
                  <a:gd name="T65" fmla="*/ 51 h 53"/>
                  <a:gd name="T66" fmla="*/ 25 w 51"/>
                  <a:gd name="T67" fmla="*/ 53 h 53"/>
                  <a:gd name="T68" fmla="*/ 25 w 51"/>
                  <a:gd name="T69" fmla="*/ 53 h 53"/>
                  <a:gd name="T70" fmla="*/ 25 w 51"/>
                  <a:gd name="T71" fmla="*/ 12 h 53"/>
                  <a:gd name="T72" fmla="*/ 25 w 51"/>
                  <a:gd name="T73" fmla="*/ 12 h 53"/>
                  <a:gd name="T74" fmla="*/ 20 w 51"/>
                  <a:gd name="T75" fmla="*/ 13 h 53"/>
                  <a:gd name="T76" fmla="*/ 16 w 51"/>
                  <a:gd name="T77" fmla="*/ 14 h 53"/>
                  <a:gd name="T78" fmla="*/ 14 w 51"/>
                  <a:gd name="T79" fmla="*/ 18 h 53"/>
                  <a:gd name="T80" fmla="*/ 11 w 51"/>
                  <a:gd name="T81" fmla="*/ 23 h 53"/>
                  <a:gd name="T82" fmla="*/ 11 w 51"/>
                  <a:gd name="T83" fmla="*/ 23 h 53"/>
                  <a:gd name="T84" fmla="*/ 11 w 51"/>
                  <a:gd name="T85" fmla="*/ 28 h 53"/>
                  <a:gd name="T86" fmla="*/ 12 w 51"/>
                  <a:gd name="T87" fmla="*/ 34 h 53"/>
                  <a:gd name="T88" fmla="*/ 12 w 51"/>
                  <a:gd name="T89" fmla="*/ 34 h 53"/>
                  <a:gd name="T90" fmla="*/ 16 w 51"/>
                  <a:gd name="T91" fmla="*/ 38 h 53"/>
                  <a:gd name="T92" fmla="*/ 21 w 51"/>
                  <a:gd name="T93" fmla="*/ 41 h 53"/>
                  <a:gd name="T94" fmla="*/ 21 w 51"/>
                  <a:gd name="T95" fmla="*/ 41 h 53"/>
                  <a:gd name="T96" fmla="*/ 27 w 51"/>
                  <a:gd name="T97" fmla="*/ 41 h 53"/>
                  <a:gd name="T98" fmla="*/ 32 w 51"/>
                  <a:gd name="T99" fmla="*/ 39 h 53"/>
                  <a:gd name="T100" fmla="*/ 36 w 51"/>
                  <a:gd name="T101" fmla="*/ 36 h 53"/>
                  <a:gd name="T102" fmla="*/ 39 w 51"/>
                  <a:gd name="T103" fmla="*/ 31 h 53"/>
                  <a:gd name="T104" fmla="*/ 39 w 51"/>
                  <a:gd name="T105" fmla="*/ 31 h 53"/>
                  <a:gd name="T106" fmla="*/ 40 w 51"/>
                  <a:gd name="T107" fmla="*/ 24 h 53"/>
                  <a:gd name="T108" fmla="*/ 37 w 51"/>
                  <a:gd name="T109" fmla="*/ 19 h 53"/>
                  <a:gd name="T110" fmla="*/ 34 w 51"/>
                  <a:gd name="T111" fmla="*/ 16 h 53"/>
                  <a:gd name="T112" fmla="*/ 29 w 51"/>
                  <a:gd name="T113" fmla="*/ 13 h 53"/>
                  <a:gd name="T114" fmla="*/ 29 w 51"/>
                  <a:gd name="T115" fmla="*/ 13 h 53"/>
                  <a:gd name="T116" fmla="*/ 25 w 51"/>
                  <a:gd name="T117" fmla="*/ 12 h 53"/>
                  <a:gd name="T118" fmla="*/ 25 w 51"/>
                  <a:gd name="T119"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 h="53">
                    <a:moveTo>
                      <a:pt x="25" y="53"/>
                    </a:moveTo>
                    <a:lnTo>
                      <a:pt x="25" y="53"/>
                    </a:lnTo>
                    <a:lnTo>
                      <a:pt x="19" y="52"/>
                    </a:lnTo>
                    <a:lnTo>
                      <a:pt x="19" y="52"/>
                    </a:lnTo>
                    <a:lnTo>
                      <a:pt x="14" y="49"/>
                    </a:lnTo>
                    <a:lnTo>
                      <a:pt x="9" y="47"/>
                    </a:lnTo>
                    <a:lnTo>
                      <a:pt x="5" y="43"/>
                    </a:lnTo>
                    <a:lnTo>
                      <a:pt x="2" y="39"/>
                    </a:lnTo>
                    <a:lnTo>
                      <a:pt x="2" y="39"/>
                    </a:lnTo>
                    <a:lnTo>
                      <a:pt x="0" y="34"/>
                    </a:lnTo>
                    <a:lnTo>
                      <a:pt x="0" y="29"/>
                    </a:lnTo>
                    <a:lnTo>
                      <a:pt x="0" y="24"/>
                    </a:lnTo>
                    <a:lnTo>
                      <a:pt x="0" y="19"/>
                    </a:lnTo>
                    <a:lnTo>
                      <a:pt x="0" y="19"/>
                    </a:lnTo>
                    <a:lnTo>
                      <a:pt x="4" y="12"/>
                    </a:lnTo>
                    <a:lnTo>
                      <a:pt x="10" y="6"/>
                    </a:lnTo>
                    <a:lnTo>
                      <a:pt x="17" y="2"/>
                    </a:lnTo>
                    <a:lnTo>
                      <a:pt x="25" y="0"/>
                    </a:lnTo>
                    <a:lnTo>
                      <a:pt x="25" y="0"/>
                    </a:lnTo>
                    <a:lnTo>
                      <a:pt x="32" y="2"/>
                    </a:lnTo>
                    <a:lnTo>
                      <a:pt x="32" y="2"/>
                    </a:lnTo>
                    <a:lnTo>
                      <a:pt x="37" y="3"/>
                    </a:lnTo>
                    <a:lnTo>
                      <a:pt x="41" y="7"/>
                    </a:lnTo>
                    <a:lnTo>
                      <a:pt x="45" y="9"/>
                    </a:lnTo>
                    <a:lnTo>
                      <a:pt x="47" y="14"/>
                    </a:lnTo>
                    <a:lnTo>
                      <a:pt x="50" y="18"/>
                    </a:lnTo>
                    <a:lnTo>
                      <a:pt x="51" y="23"/>
                    </a:lnTo>
                    <a:lnTo>
                      <a:pt x="51" y="28"/>
                    </a:lnTo>
                    <a:lnTo>
                      <a:pt x="50" y="33"/>
                    </a:lnTo>
                    <a:lnTo>
                      <a:pt x="50" y="33"/>
                    </a:lnTo>
                    <a:lnTo>
                      <a:pt x="46" y="42"/>
                    </a:lnTo>
                    <a:lnTo>
                      <a:pt x="41" y="47"/>
                    </a:lnTo>
                    <a:lnTo>
                      <a:pt x="34" y="51"/>
                    </a:lnTo>
                    <a:lnTo>
                      <a:pt x="25" y="53"/>
                    </a:lnTo>
                    <a:lnTo>
                      <a:pt x="25" y="53"/>
                    </a:lnTo>
                    <a:close/>
                    <a:moveTo>
                      <a:pt x="25" y="12"/>
                    </a:moveTo>
                    <a:lnTo>
                      <a:pt x="25" y="12"/>
                    </a:lnTo>
                    <a:lnTo>
                      <a:pt x="20" y="13"/>
                    </a:lnTo>
                    <a:lnTo>
                      <a:pt x="16" y="14"/>
                    </a:lnTo>
                    <a:lnTo>
                      <a:pt x="14" y="18"/>
                    </a:lnTo>
                    <a:lnTo>
                      <a:pt x="11" y="23"/>
                    </a:lnTo>
                    <a:lnTo>
                      <a:pt x="11" y="23"/>
                    </a:lnTo>
                    <a:lnTo>
                      <a:pt x="11" y="28"/>
                    </a:lnTo>
                    <a:lnTo>
                      <a:pt x="12" y="34"/>
                    </a:lnTo>
                    <a:lnTo>
                      <a:pt x="12" y="34"/>
                    </a:lnTo>
                    <a:lnTo>
                      <a:pt x="16" y="38"/>
                    </a:lnTo>
                    <a:lnTo>
                      <a:pt x="21" y="41"/>
                    </a:lnTo>
                    <a:lnTo>
                      <a:pt x="21" y="41"/>
                    </a:lnTo>
                    <a:lnTo>
                      <a:pt x="27" y="41"/>
                    </a:lnTo>
                    <a:lnTo>
                      <a:pt x="32" y="39"/>
                    </a:lnTo>
                    <a:lnTo>
                      <a:pt x="36" y="36"/>
                    </a:lnTo>
                    <a:lnTo>
                      <a:pt x="39" y="31"/>
                    </a:lnTo>
                    <a:lnTo>
                      <a:pt x="39" y="31"/>
                    </a:lnTo>
                    <a:lnTo>
                      <a:pt x="40" y="24"/>
                    </a:lnTo>
                    <a:lnTo>
                      <a:pt x="37" y="19"/>
                    </a:lnTo>
                    <a:lnTo>
                      <a:pt x="34" y="16"/>
                    </a:lnTo>
                    <a:lnTo>
                      <a:pt x="29" y="13"/>
                    </a:lnTo>
                    <a:lnTo>
                      <a:pt x="29" y="13"/>
                    </a:lnTo>
                    <a:lnTo>
                      <a:pt x="25" y="12"/>
                    </a:lnTo>
                    <a:lnTo>
                      <a:pt x="25" y="12"/>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64" name="Freeform 56"/>
              <p:cNvSpPr>
                <a:spLocks noEditPoints="1"/>
              </p:cNvSpPr>
              <p:nvPr/>
            </p:nvSpPr>
            <p:spPr bwMode="auto">
              <a:xfrm>
                <a:off x="3661823" y="3620010"/>
                <a:ext cx="50998" cy="53038"/>
              </a:xfrm>
              <a:custGeom>
                <a:avLst/>
                <a:gdLst>
                  <a:gd name="T0" fmla="*/ 25 w 52"/>
                  <a:gd name="T1" fmla="*/ 52 h 52"/>
                  <a:gd name="T2" fmla="*/ 10 w 52"/>
                  <a:gd name="T3" fmla="*/ 47 h 52"/>
                  <a:gd name="T4" fmla="*/ 6 w 52"/>
                  <a:gd name="T5" fmla="*/ 43 h 52"/>
                  <a:gd name="T6" fmla="*/ 1 w 52"/>
                  <a:gd name="T7" fmla="*/ 35 h 52"/>
                  <a:gd name="T8" fmla="*/ 0 w 52"/>
                  <a:gd name="T9" fmla="*/ 30 h 52"/>
                  <a:gd name="T10" fmla="*/ 0 w 52"/>
                  <a:gd name="T11" fmla="*/ 20 h 52"/>
                  <a:gd name="T12" fmla="*/ 5 w 52"/>
                  <a:gd name="T13" fmla="*/ 10 h 52"/>
                  <a:gd name="T14" fmla="*/ 9 w 52"/>
                  <a:gd name="T15" fmla="*/ 6 h 52"/>
                  <a:gd name="T16" fmla="*/ 20 w 52"/>
                  <a:gd name="T17" fmla="*/ 0 h 52"/>
                  <a:gd name="T18" fmla="*/ 25 w 52"/>
                  <a:gd name="T19" fmla="*/ 0 h 52"/>
                  <a:gd name="T20" fmla="*/ 40 w 52"/>
                  <a:gd name="T21" fmla="*/ 5 h 52"/>
                  <a:gd name="T22" fmla="*/ 45 w 52"/>
                  <a:gd name="T23" fmla="*/ 8 h 52"/>
                  <a:gd name="T24" fmla="*/ 50 w 52"/>
                  <a:gd name="T25" fmla="*/ 17 h 52"/>
                  <a:gd name="T26" fmla="*/ 52 w 52"/>
                  <a:gd name="T27" fmla="*/ 22 h 52"/>
                  <a:gd name="T28" fmla="*/ 52 w 52"/>
                  <a:gd name="T29" fmla="*/ 32 h 52"/>
                  <a:gd name="T30" fmla="*/ 47 w 52"/>
                  <a:gd name="T31" fmla="*/ 40 h 52"/>
                  <a:gd name="T32" fmla="*/ 43 w 52"/>
                  <a:gd name="T33" fmla="*/ 45 h 52"/>
                  <a:gd name="T34" fmla="*/ 31 w 52"/>
                  <a:gd name="T35" fmla="*/ 50 h 52"/>
                  <a:gd name="T36" fmla="*/ 25 w 52"/>
                  <a:gd name="T37" fmla="*/ 52 h 52"/>
                  <a:gd name="T38" fmla="*/ 25 w 52"/>
                  <a:gd name="T39" fmla="*/ 12 h 52"/>
                  <a:gd name="T40" fmla="*/ 19 w 52"/>
                  <a:gd name="T41" fmla="*/ 13 h 52"/>
                  <a:gd name="T42" fmla="*/ 14 w 52"/>
                  <a:gd name="T43" fmla="*/ 17 h 52"/>
                  <a:gd name="T44" fmla="*/ 11 w 52"/>
                  <a:gd name="T45" fmla="*/ 23 h 52"/>
                  <a:gd name="T46" fmla="*/ 11 w 52"/>
                  <a:gd name="T47" fmla="*/ 28 h 52"/>
                  <a:gd name="T48" fmla="*/ 18 w 52"/>
                  <a:gd name="T49" fmla="*/ 38 h 52"/>
                  <a:gd name="T50" fmla="*/ 23 w 52"/>
                  <a:gd name="T51" fmla="*/ 40 h 52"/>
                  <a:gd name="T52" fmla="*/ 33 w 52"/>
                  <a:gd name="T53" fmla="*/ 38 h 52"/>
                  <a:gd name="T54" fmla="*/ 38 w 52"/>
                  <a:gd name="T55" fmla="*/ 34 h 52"/>
                  <a:gd name="T56" fmla="*/ 40 w 52"/>
                  <a:gd name="T57" fmla="*/ 23 h 52"/>
                  <a:gd name="T58" fmla="*/ 38 w 52"/>
                  <a:gd name="T59" fmla="*/ 18 h 52"/>
                  <a:gd name="T60" fmla="*/ 34 w 52"/>
                  <a:gd name="T61" fmla="*/ 14 h 52"/>
                  <a:gd name="T62" fmla="*/ 25 w 52"/>
                  <a:gd name="T63" fmla="*/ 1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 h="52">
                    <a:moveTo>
                      <a:pt x="25" y="52"/>
                    </a:moveTo>
                    <a:lnTo>
                      <a:pt x="25" y="52"/>
                    </a:lnTo>
                    <a:lnTo>
                      <a:pt x="18" y="50"/>
                    </a:lnTo>
                    <a:lnTo>
                      <a:pt x="10" y="47"/>
                    </a:lnTo>
                    <a:lnTo>
                      <a:pt x="10" y="47"/>
                    </a:lnTo>
                    <a:lnTo>
                      <a:pt x="6" y="43"/>
                    </a:lnTo>
                    <a:lnTo>
                      <a:pt x="4" y="39"/>
                    </a:lnTo>
                    <a:lnTo>
                      <a:pt x="1" y="35"/>
                    </a:lnTo>
                    <a:lnTo>
                      <a:pt x="0" y="30"/>
                    </a:lnTo>
                    <a:lnTo>
                      <a:pt x="0" y="30"/>
                    </a:lnTo>
                    <a:lnTo>
                      <a:pt x="0" y="25"/>
                    </a:lnTo>
                    <a:lnTo>
                      <a:pt x="0" y="20"/>
                    </a:lnTo>
                    <a:lnTo>
                      <a:pt x="3" y="15"/>
                    </a:lnTo>
                    <a:lnTo>
                      <a:pt x="5" y="10"/>
                    </a:lnTo>
                    <a:lnTo>
                      <a:pt x="5" y="10"/>
                    </a:lnTo>
                    <a:lnTo>
                      <a:pt x="9" y="6"/>
                    </a:lnTo>
                    <a:lnTo>
                      <a:pt x="14" y="3"/>
                    </a:lnTo>
                    <a:lnTo>
                      <a:pt x="20" y="0"/>
                    </a:lnTo>
                    <a:lnTo>
                      <a:pt x="25" y="0"/>
                    </a:lnTo>
                    <a:lnTo>
                      <a:pt x="25" y="0"/>
                    </a:lnTo>
                    <a:lnTo>
                      <a:pt x="34" y="1"/>
                    </a:lnTo>
                    <a:lnTo>
                      <a:pt x="40" y="5"/>
                    </a:lnTo>
                    <a:lnTo>
                      <a:pt x="40" y="5"/>
                    </a:lnTo>
                    <a:lnTo>
                      <a:pt x="45" y="8"/>
                    </a:lnTo>
                    <a:lnTo>
                      <a:pt x="48" y="12"/>
                    </a:lnTo>
                    <a:lnTo>
                      <a:pt x="50" y="17"/>
                    </a:lnTo>
                    <a:lnTo>
                      <a:pt x="52" y="22"/>
                    </a:lnTo>
                    <a:lnTo>
                      <a:pt x="52" y="22"/>
                    </a:lnTo>
                    <a:lnTo>
                      <a:pt x="52" y="27"/>
                    </a:lnTo>
                    <a:lnTo>
                      <a:pt x="52" y="32"/>
                    </a:lnTo>
                    <a:lnTo>
                      <a:pt x="49" y="37"/>
                    </a:lnTo>
                    <a:lnTo>
                      <a:pt x="47" y="40"/>
                    </a:lnTo>
                    <a:lnTo>
                      <a:pt x="47" y="40"/>
                    </a:lnTo>
                    <a:lnTo>
                      <a:pt x="43" y="45"/>
                    </a:lnTo>
                    <a:lnTo>
                      <a:pt x="38" y="49"/>
                    </a:lnTo>
                    <a:lnTo>
                      <a:pt x="31" y="50"/>
                    </a:lnTo>
                    <a:lnTo>
                      <a:pt x="25" y="52"/>
                    </a:lnTo>
                    <a:lnTo>
                      <a:pt x="25" y="52"/>
                    </a:lnTo>
                    <a:close/>
                    <a:moveTo>
                      <a:pt x="25" y="12"/>
                    </a:moveTo>
                    <a:lnTo>
                      <a:pt x="25" y="12"/>
                    </a:lnTo>
                    <a:lnTo>
                      <a:pt x="23" y="12"/>
                    </a:lnTo>
                    <a:lnTo>
                      <a:pt x="19" y="13"/>
                    </a:lnTo>
                    <a:lnTo>
                      <a:pt x="16" y="14"/>
                    </a:lnTo>
                    <a:lnTo>
                      <a:pt x="14" y="17"/>
                    </a:lnTo>
                    <a:lnTo>
                      <a:pt x="14" y="17"/>
                    </a:lnTo>
                    <a:lnTo>
                      <a:pt x="11" y="23"/>
                    </a:lnTo>
                    <a:lnTo>
                      <a:pt x="11" y="28"/>
                    </a:lnTo>
                    <a:lnTo>
                      <a:pt x="11" y="28"/>
                    </a:lnTo>
                    <a:lnTo>
                      <a:pt x="13" y="33"/>
                    </a:lnTo>
                    <a:lnTo>
                      <a:pt x="18" y="38"/>
                    </a:lnTo>
                    <a:lnTo>
                      <a:pt x="18" y="38"/>
                    </a:lnTo>
                    <a:lnTo>
                      <a:pt x="23" y="40"/>
                    </a:lnTo>
                    <a:lnTo>
                      <a:pt x="28" y="40"/>
                    </a:lnTo>
                    <a:lnTo>
                      <a:pt x="33" y="38"/>
                    </a:lnTo>
                    <a:lnTo>
                      <a:pt x="38" y="34"/>
                    </a:lnTo>
                    <a:lnTo>
                      <a:pt x="38" y="34"/>
                    </a:lnTo>
                    <a:lnTo>
                      <a:pt x="40" y="29"/>
                    </a:lnTo>
                    <a:lnTo>
                      <a:pt x="40" y="23"/>
                    </a:lnTo>
                    <a:lnTo>
                      <a:pt x="40" y="23"/>
                    </a:lnTo>
                    <a:lnTo>
                      <a:pt x="38" y="18"/>
                    </a:lnTo>
                    <a:lnTo>
                      <a:pt x="34" y="14"/>
                    </a:lnTo>
                    <a:lnTo>
                      <a:pt x="34" y="14"/>
                    </a:lnTo>
                    <a:lnTo>
                      <a:pt x="30" y="12"/>
                    </a:lnTo>
                    <a:lnTo>
                      <a:pt x="25" y="12"/>
                    </a:lnTo>
                    <a:lnTo>
                      <a:pt x="25" y="12"/>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65" name="Freeform 57"/>
              <p:cNvSpPr>
                <a:spLocks noEditPoints="1"/>
              </p:cNvSpPr>
              <p:nvPr/>
            </p:nvSpPr>
            <p:spPr bwMode="auto">
              <a:xfrm>
                <a:off x="3820936" y="3617968"/>
                <a:ext cx="53038" cy="55077"/>
              </a:xfrm>
              <a:custGeom>
                <a:avLst/>
                <a:gdLst>
                  <a:gd name="T0" fmla="*/ 25 w 52"/>
                  <a:gd name="T1" fmla="*/ 53 h 53"/>
                  <a:gd name="T2" fmla="*/ 25 w 52"/>
                  <a:gd name="T3" fmla="*/ 53 h 53"/>
                  <a:gd name="T4" fmla="*/ 19 w 52"/>
                  <a:gd name="T5" fmla="*/ 51 h 53"/>
                  <a:gd name="T6" fmla="*/ 14 w 52"/>
                  <a:gd name="T7" fmla="*/ 50 h 53"/>
                  <a:gd name="T8" fmla="*/ 9 w 52"/>
                  <a:gd name="T9" fmla="*/ 46 h 53"/>
                  <a:gd name="T10" fmla="*/ 5 w 52"/>
                  <a:gd name="T11" fmla="*/ 41 h 53"/>
                  <a:gd name="T12" fmla="*/ 5 w 52"/>
                  <a:gd name="T13" fmla="*/ 41 h 53"/>
                  <a:gd name="T14" fmla="*/ 1 w 52"/>
                  <a:gd name="T15" fmla="*/ 38 h 53"/>
                  <a:gd name="T16" fmla="*/ 0 w 52"/>
                  <a:gd name="T17" fmla="*/ 33 h 53"/>
                  <a:gd name="T18" fmla="*/ 0 w 52"/>
                  <a:gd name="T19" fmla="*/ 28 h 53"/>
                  <a:gd name="T20" fmla="*/ 0 w 52"/>
                  <a:gd name="T21" fmla="*/ 23 h 53"/>
                  <a:gd name="T22" fmla="*/ 0 w 52"/>
                  <a:gd name="T23" fmla="*/ 23 h 53"/>
                  <a:gd name="T24" fmla="*/ 1 w 52"/>
                  <a:gd name="T25" fmla="*/ 18 h 53"/>
                  <a:gd name="T26" fmla="*/ 4 w 52"/>
                  <a:gd name="T27" fmla="*/ 13 h 53"/>
                  <a:gd name="T28" fmla="*/ 6 w 52"/>
                  <a:gd name="T29" fmla="*/ 9 h 53"/>
                  <a:gd name="T30" fmla="*/ 10 w 52"/>
                  <a:gd name="T31" fmla="*/ 5 h 53"/>
                  <a:gd name="T32" fmla="*/ 10 w 52"/>
                  <a:gd name="T33" fmla="*/ 5 h 53"/>
                  <a:gd name="T34" fmla="*/ 18 w 52"/>
                  <a:gd name="T35" fmla="*/ 1 h 53"/>
                  <a:gd name="T36" fmla="*/ 25 w 52"/>
                  <a:gd name="T37" fmla="*/ 0 h 53"/>
                  <a:gd name="T38" fmla="*/ 25 w 52"/>
                  <a:gd name="T39" fmla="*/ 0 h 53"/>
                  <a:gd name="T40" fmla="*/ 32 w 52"/>
                  <a:gd name="T41" fmla="*/ 1 h 53"/>
                  <a:gd name="T42" fmla="*/ 38 w 52"/>
                  <a:gd name="T43" fmla="*/ 4 h 53"/>
                  <a:gd name="T44" fmla="*/ 43 w 52"/>
                  <a:gd name="T45" fmla="*/ 6 h 53"/>
                  <a:gd name="T46" fmla="*/ 47 w 52"/>
                  <a:gd name="T47" fmla="*/ 11 h 53"/>
                  <a:gd name="T48" fmla="*/ 47 w 52"/>
                  <a:gd name="T49" fmla="*/ 11 h 53"/>
                  <a:gd name="T50" fmla="*/ 49 w 52"/>
                  <a:gd name="T51" fmla="*/ 16 h 53"/>
                  <a:gd name="T52" fmla="*/ 50 w 52"/>
                  <a:gd name="T53" fmla="*/ 20 h 53"/>
                  <a:gd name="T54" fmla="*/ 52 w 52"/>
                  <a:gd name="T55" fmla="*/ 25 h 53"/>
                  <a:gd name="T56" fmla="*/ 52 w 52"/>
                  <a:gd name="T57" fmla="*/ 30 h 53"/>
                  <a:gd name="T58" fmla="*/ 50 w 52"/>
                  <a:gd name="T59" fmla="*/ 35 h 53"/>
                  <a:gd name="T60" fmla="*/ 48 w 52"/>
                  <a:gd name="T61" fmla="*/ 40 h 53"/>
                  <a:gd name="T62" fmla="*/ 45 w 52"/>
                  <a:gd name="T63" fmla="*/ 44 h 53"/>
                  <a:gd name="T64" fmla="*/ 40 w 52"/>
                  <a:gd name="T65" fmla="*/ 48 h 53"/>
                  <a:gd name="T66" fmla="*/ 40 w 52"/>
                  <a:gd name="T67" fmla="*/ 48 h 53"/>
                  <a:gd name="T68" fmla="*/ 34 w 52"/>
                  <a:gd name="T69" fmla="*/ 51 h 53"/>
                  <a:gd name="T70" fmla="*/ 25 w 52"/>
                  <a:gd name="T71" fmla="*/ 53 h 53"/>
                  <a:gd name="T72" fmla="*/ 25 w 52"/>
                  <a:gd name="T73" fmla="*/ 53 h 53"/>
                  <a:gd name="T74" fmla="*/ 25 w 52"/>
                  <a:gd name="T75" fmla="*/ 11 h 53"/>
                  <a:gd name="T76" fmla="*/ 25 w 52"/>
                  <a:gd name="T77" fmla="*/ 11 h 53"/>
                  <a:gd name="T78" fmla="*/ 21 w 52"/>
                  <a:gd name="T79" fmla="*/ 13 h 53"/>
                  <a:gd name="T80" fmla="*/ 16 w 52"/>
                  <a:gd name="T81" fmla="*/ 15 h 53"/>
                  <a:gd name="T82" fmla="*/ 16 w 52"/>
                  <a:gd name="T83" fmla="*/ 15 h 53"/>
                  <a:gd name="T84" fmla="*/ 13 w 52"/>
                  <a:gd name="T85" fmla="*/ 19 h 53"/>
                  <a:gd name="T86" fmla="*/ 11 w 52"/>
                  <a:gd name="T87" fmla="*/ 24 h 53"/>
                  <a:gd name="T88" fmla="*/ 11 w 52"/>
                  <a:gd name="T89" fmla="*/ 24 h 53"/>
                  <a:gd name="T90" fmla="*/ 11 w 52"/>
                  <a:gd name="T91" fmla="*/ 30 h 53"/>
                  <a:gd name="T92" fmla="*/ 14 w 52"/>
                  <a:gd name="T93" fmla="*/ 35 h 53"/>
                  <a:gd name="T94" fmla="*/ 14 w 52"/>
                  <a:gd name="T95" fmla="*/ 35 h 53"/>
                  <a:gd name="T96" fmla="*/ 18 w 52"/>
                  <a:gd name="T97" fmla="*/ 39 h 53"/>
                  <a:gd name="T98" fmla="*/ 23 w 52"/>
                  <a:gd name="T99" fmla="*/ 41 h 53"/>
                  <a:gd name="T100" fmla="*/ 29 w 52"/>
                  <a:gd name="T101" fmla="*/ 40 h 53"/>
                  <a:gd name="T102" fmla="*/ 34 w 52"/>
                  <a:gd name="T103" fmla="*/ 39 h 53"/>
                  <a:gd name="T104" fmla="*/ 34 w 52"/>
                  <a:gd name="T105" fmla="*/ 39 h 53"/>
                  <a:gd name="T106" fmla="*/ 38 w 52"/>
                  <a:gd name="T107" fmla="*/ 34 h 53"/>
                  <a:gd name="T108" fmla="*/ 40 w 52"/>
                  <a:gd name="T109" fmla="*/ 29 h 53"/>
                  <a:gd name="T110" fmla="*/ 40 w 52"/>
                  <a:gd name="T111" fmla="*/ 24 h 53"/>
                  <a:gd name="T112" fmla="*/ 38 w 52"/>
                  <a:gd name="T113" fmla="*/ 18 h 53"/>
                  <a:gd name="T114" fmla="*/ 38 w 52"/>
                  <a:gd name="T115" fmla="*/ 18 h 53"/>
                  <a:gd name="T116" fmla="*/ 35 w 52"/>
                  <a:gd name="T117" fmla="*/ 15 h 53"/>
                  <a:gd name="T118" fmla="*/ 33 w 52"/>
                  <a:gd name="T119" fmla="*/ 14 h 53"/>
                  <a:gd name="T120" fmla="*/ 29 w 52"/>
                  <a:gd name="T121" fmla="*/ 13 h 53"/>
                  <a:gd name="T122" fmla="*/ 25 w 52"/>
                  <a:gd name="T123" fmla="*/ 11 h 53"/>
                  <a:gd name="T124" fmla="*/ 25 w 52"/>
                  <a:gd name="T125"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2" h="53">
                    <a:moveTo>
                      <a:pt x="25" y="53"/>
                    </a:moveTo>
                    <a:lnTo>
                      <a:pt x="25" y="53"/>
                    </a:lnTo>
                    <a:lnTo>
                      <a:pt x="19" y="51"/>
                    </a:lnTo>
                    <a:lnTo>
                      <a:pt x="14" y="50"/>
                    </a:lnTo>
                    <a:lnTo>
                      <a:pt x="9" y="46"/>
                    </a:lnTo>
                    <a:lnTo>
                      <a:pt x="5" y="41"/>
                    </a:lnTo>
                    <a:lnTo>
                      <a:pt x="5" y="41"/>
                    </a:lnTo>
                    <a:lnTo>
                      <a:pt x="1" y="38"/>
                    </a:lnTo>
                    <a:lnTo>
                      <a:pt x="0" y="33"/>
                    </a:lnTo>
                    <a:lnTo>
                      <a:pt x="0" y="28"/>
                    </a:lnTo>
                    <a:lnTo>
                      <a:pt x="0" y="23"/>
                    </a:lnTo>
                    <a:lnTo>
                      <a:pt x="0" y="23"/>
                    </a:lnTo>
                    <a:lnTo>
                      <a:pt x="1" y="18"/>
                    </a:lnTo>
                    <a:lnTo>
                      <a:pt x="4" y="13"/>
                    </a:lnTo>
                    <a:lnTo>
                      <a:pt x="6" y="9"/>
                    </a:lnTo>
                    <a:lnTo>
                      <a:pt x="10" y="5"/>
                    </a:lnTo>
                    <a:lnTo>
                      <a:pt x="10" y="5"/>
                    </a:lnTo>
                    <a:lnTo>
                      <a:pt x="18" y="1"/>
                    </a:lnTo>
                    <a:lnTo>
                      <a:pt x="25" y="0"/>
                    </a:lnTo>
                    <a:lnTo>
                      <a:pt x="25" y="0"/>
                    </a:lnTo>
                    <a:lnTo>
                      <a:pt x="32" y="1"/>
                    </a:lnTo>
                    <a:lnTo>
                      <a:pt x="38" y="4"/>
                    </a:lnTo>
                    <a:lnTo>
                      <a:pt x="43" y="6"/>
                    </a:lnTo>
                    <a:lnTo>
                      <a:pt x="47" y="11"/>
                    </a:lnTo>
                    <a:lnTo>
                      <a:pt x="47" y="11"/>
                    </a:lnTo>
                    <a:lnTo>
                      <a:pt x="49" y="16"/>
                    </a:lnTo>
                    <a:lnTo>
                      <a:pt x="50" y="20"/>
                    </a:lnTo>
                    <a:lnTo>
                      <a:pt x="52" y="25"/>
                    </a:lnTo>
                    <a:lnTo>
                      <a:pt x="52" y="30"/>
                    </a:lnTo>
                    <a:lnTo>
                      <a:pt x="50" y="35"/>
                    </a:lnTo>
                    <a:lnTo>
                      <a:pt x="48" y="40"/>
                    </a:lnTo>
                    <a:lnTo>
                      <a:pt x="45" y="44"/>
                    </a:lnTo>
                    <a:lnTo>
                      <a:pt x="40" y="48"/>
                    </a:lnTo>
                    <a:lnTo>
                      <a:pt x="40" y="48"/>
                    </a:lnTo>
                    <a:lnTo>
                      <a:pt x="34" y="51"/>
                    </a:lnTo>
                    <a:lnTo>
                      <a:pt x="25" y="53"/>
                    </a:lnTo>
                    <a:lnTo>
                      <a:pt x="25" y="53"/>
                    </a:lnTo>
                    <a:close/>
                    <a:moveTo>
                      <a:pt x="25" y="11"/>
                    </a:moveTo>
                    <a:lnTo>
                      <a:pt x="25" y="11"/>
                    </a:lnTo>
                    <a:lnTo>
                      <a:pt x="21" y="13"/>
                    </a:lnTo>
                    <a:lnTo>
                      <a:pt x="16" y="15"/>
                    </a:lnTo>
                    <a:lnTo>
                      <a:pt x="16" y="15"/>
                    </a:lnTo>
                    <a:lnTo>
                      <a:pt x="13" y="19"/>
                    </a:lnTo>
                    <a:lnTo>
                      <a:pt x="11" y="24"/>
                    </a:lnTo>
                    <a:lnTo>
                      <a:pt x="11" y="24"/>
                    </a:lnTo>
                    <a:lnTo>
                      <a:pt x="11" y="30"/>
                    </a:lnTo>
                    <a:lnTo>
                      <a:pt x="14" y="35"/>
                    </a:lnTo>
                    <a:lnTo>
                      <a:pt x="14" y="35"/>
                    </a:lnTo>
                    <a:lnTo>
                      <a:pt x="18" y="39"/>
                    </a:lnTo>
                    <a:lnTo>
                      <a:pt x="23" y="41"/>
                    </a:lnTo>
                    <a:lnTo>
                      <a:pt x="29" y="40"/>
                    </a:lnTo>
                    <a:lnTo>
                      <a:pt x="34" y="39"/>
                    </a:lnTo>
                    <a:lnTo>
                      <a:pt x="34" y="39"/>
                    </a:lnTo>
                    <a:lnTo>
                      <a:pt x="38" y="34"/>
                    </a:lnTo>
                    <a:lnTo>
                      <a:pt x="40" y="29"/>
                    </a:lnTo>
                    <a:lnTo>
                      <a:pt x="40" y="24"/>
                    </a:lnTo>
                    <a:lnTo>
                      <a:pt x="38" y="18"/>
                    </a:lnTo>
                    <a:lnTo>
                      <a:pt x="38" y="18"/>
                    </a:lnTo>
                    <a:lnTo>
                      <a:pt x="35" y="15"/>
                    </a:lnTo>
                    <a:lnTo>
                      <a:pt x="33" y="14"/>
                    </a:lnTo>
                    <a:lnTo>
                      <a:pt x="29" y="13"/>
                    </a:lnTo>
                    <a:lnTo>
                      <a:pt x="25" y="11"/>
                    </a:lnTo>
                    <a:lnTo>
                      <a:pt x="25" y="11"/>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66" name="Freeform 58"/>
              <p:cNvSpPr>
                <a:spLocks noEditPoints="1"/>
              </p:cNvSpPr>
              <p:nvPr/>
            </p:nvSpPr>
            <p:spPr bwMode="auto">
              <a:xfrm>
                <a:off x="3578188" y="3348701"/>
                <a:ext cx="375343" cy="375343"/>
              </a:xfrm>
              <a:custGeom>
                <a:avLst/>
                <a:gdLst>
                  <a:gd name="T0" fmla="*/ 162 w 368"/>
                  <a:gd name="T1" fmla="*/ 367 h 368"/>
                  <a:gd name="T2" fmla="*/ 100 w 368"/>
                  <a:gd name="T3" fmla="*/ 348 h 368"/>
                  <a:gd name="T4" fmla="*/ 49 w 368"/>
                  <a:gd name="T5" fmla="*/ 309 h 368"/>
                  <a:gd name="T6" fmla="*/ 25 w 368"/>
                  <a:gd name="T7" fmla="*/ 276 h 368"/>
                  <a:gd name="T8" fmla="*/ 5 w 368"/>
                  <a:gd name="T9" fmla="*/ 226 h 368"/>
                  <a:gd name="T10" fmla="*/ 0 w 368"/>
                  <a:gd name="T11" fmla="*/ 172 h 368"/>
                  <a:gd name="T12" fmla="*/ 11 w 368"/>
                  <a:gd name="T13" fmla="*/ 120 h 368"/>
                  <a:gd name="T14" fmla="*/ 36 w 368"/>
                  <a:gd name="T15" fmla="*/ 74 h 368"/>
                  <a:gd name="T16" fmla="*/ 76 w 368"/>
                  <a:gd name="T17" fmla="*/ 35 h 368"/>
                  <a:gd name="T18" fmla="*/ 100 w 368"/>
                  <a:gd name="T19" fmla="*/ 20 h 368"/>
                  <a:gd name="T20" fmla="*/ 142 w 368"/>
                  <a:gd name="T21" fmla="*/ 5 h 368"/>
                  <a:gd name="T22" fmla="*/ 184 w 368"/>
                  <a:gd name="T23" fmla="*/ 0 h 368"/>
                  <a:gd name="T24" fmla="*/ 227 w 368"/>
                  <a:gd name="T25" fmla="*/ 5 h 368"/>
                  <a:gd name="T26" fmla="*/ 286 w 368"/>
                  <a:gd name="T27" fmla="*/ 30 h 368"/>
                  <a:gd name="T28" fmla="*/ 334 w 368"/>
                  <a:gd name="T29" fmla="*/ 75 h 368"/>
                  <a:gd name="T30" fmla="*/ 353 w 368"/>
                  <a:gd name="T31" fmla="*/ 108 h 368"/>
                  <a:gd name="T32" fmla="*/ 367 w 368"/>
                  <a:gd name="T33" fmla="*/ 159 h 368"/>
                  <a:gd name="T34" fmla="*/ 367 w 368"/>
                  <a:gd name="T35" fmla="*/ 213 h 368"/>
                  <a:gd name="T36" fmla="*/ 350 w 368"/>
                  <a:gd name="T37" fmla="*/ 264 h 368"/>
                  <a:gd name="T38" fmla="*/ 320 w 368"/>
                  <a:gd name="T39" fmla="*/ 308 h 368"/>
                  <a:gd name="T40" fmla="*/ 292 w 368"/>
                  <a:gd name="T41" fmla="*/ 333 h 368"/>
                  <a:gd name="T42" fmla="*/ 255 w 368"/>
                  <a:gd name="T43" fmla="*/ 354 h 368"/>
                  <a:gd name="T44" fmla="*/ 213 w 368"/>
                  <a:gd name="T45" fmla="*/ 365 h 368"/>
                  <a:gd name="T46" fmla="*/ 184 w 368"/>
                  <a:gd name="T47" fmla="*/ 368 h 368"/>
                  <a:gd name="T48" fmla="*/ 170 w 368"/>
                  <a:gd name="T49" fmla="*/ 11 h 368"/>
                  <a:gd name="T50" fmla="*/ 130 w 368"/>
                  <a:gd name="T51" fmla="*/ 19 h 368"/>
                  <a:gd name="T52" fmla="*/ 94 w 368"/>
                  <a:gd name="T53" fmla="*/ 35 h 368"/>
                  <a:gd name="T54" fmla="*/ 69 w 368"/>
                  <a:gd name="T55" fmla="*/ 54 h 368"/>
                  <a:gd name="T56" fmla="*/ 36 w 368"/>
                  <a:gd name="T57" fmla="*/ 94 h 368"/>
                  <a:gd name="T58" fmla="*/ 16 w 368"/>
                  <a:gd name="T59" fmla="*/ 141 h 368"/>
                  <a:gd name="T60" fmla="*/ 11 w 368"/>
                  <a:gd name="T61" fmla="*/ 190 h 368"/>
                  <a:gd name="T62" fmla="*/ 20 w 368"/>
                  <a:gd name="T63" fmla="*/ 240 h 368"/>
                  <a:gd name="T64" fmla="*/ 44 w 368"/>
                  <a:gd name="T65" fmla="*/ 285 h 368"/>
                  <a:gd name="T66" fmla="*/ 71 w 368"/>
                  <a:gd name="T67" fmla="*/ 315 h 368"/>
                  <a:gd name="T68" fmla="*/ 124 w 368"/>
                  <a:gd name="T69" fmla="*/ 347 h 368"/>
                  <a:gd name="T70" fmla="*/ 184 w 368"/>
                  <a:gd name="T71" fmla="*/ 358 h 368"/>
                  <a:gd name="T72" fmla="*/ 212 w 368"/>
                  <a:gd name="T73" fmla="*/ 355 h 368"/>
                  <a:gd name="T74" fmla="*/ 251 w 368"/>
                  <a:gd name="T75" fmla="*/ 344 h 368"/>
                  <a:gd name="T76" fmla="*/ 286 w 368"/>
                  <a:gd name="T77" fmla="*/ 324 h 368"/>
                  <a:gd name="T78" fmla="*/ 312 w 368"/>
                  <a:gd name="T79" fmla="*/ 301 h 368"/>
                  <a:gd name="T80" fmla="*/ 340 w 368"/>
                  <a:gd name="T81" fmla="*/ 259 h 368"/>
                  <a:gd name="T82" fmla="*/ 355 w 368"/>
                  <a:gd name="T83" fmla="*/ 211 h 368"/>
                  <a:gd name="T84" fmla="*/ 356 w 368"/>
                  <a:gd name="T85" fmla="*/ 161 h 368"/>
                  <a:gd name="T86" fmla="*/ 343 w 368"/>
                  <a:gd name="T87" fmla="*/ 113 h 368"/>
                  <a:gd name="T88" fmla="*/ 325 w 368"/>
                  <a:gd name="T89" fmla="*/ 82 h 368"/>
                  <a:gd name="T90" fmla="*/ 281 w 368"/>
                  <a:gd name="T91" fmla="*/ 40 h 368"/>
                  <a:gd name="T92" fmla="*/ 225 w 368"/>
                  <a:gd name="T93" fmla="*/ 15 h 368"/>
                  <a:gd name="T94" fmla="*/ 184 w 368"/>
                  <a:gd name="T95" fmla="*/ 1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68" h="368">
                    <a:moveTo>
                      <a:pt x="184" y="368"/>
                    </a:moveTo>
                    <a:lnTo>
                      <a:pt x="184" y="368"/>
                    </a:lnTo>
                    <a:lnTo>
                      <a:pt x="162" y="367"/>
                    </a:lnTo>
                    <a:lnTo>
                      <a:pt x="140" y="363"/>
                    </a:lnTo>
                    <a:lnTo>
                      <a:pt x="120" y="357"/>
                    </a:lnTo>
                    <a:lnTo>
                      <a:pt x="100" y="348"/>
                    </a:lnTo>
                    <a:lnTo>
                      <a:pt x="81" y="337"/>
                    </a:lnTo>
                    <a:lnTo>
                      <a:pt x="65" y="324"/>
                    </a:lnTo>
                    <a:lnTo>
                      <a:pt x="49" y="309"/>
                    </a:lnTo>
                    <a:lnTo>
                      <a:pt x="35" y="291"/>
                    </a:lnTo>
                    <a:lnTo>
                      <a:pt x="35" y="291"/>
                    </a:lnTo>
                    <a:lnTo>
                      <a:pt x="25" y="276"/>
                    </a:lnTo>
                    <a:lnTo>
                      <a:pt x="16" y="260"/>
                    </a:lnTo>
                    <a:lnTo>
                      <a:pt x="10" y="242"/>
                    </a:lnTo>
                    <a:lnTo>
                      <a:pt x="5" y="226"/>
                    </a:lnTo>
                    <a:lnTo>
                      <a:pt x="1" y="207"/>
                    </a:lnTo>
                    <a:lnTo>
                      <a:pt x="0" y="190"/>
                    </a:lnTo>
                    <a:lnTo>
                      <a:pt x="0" y="172"/>
                    </a:lnTo>
                    <a:lnTo>
                      <a:pt x="2" y="154"/>
                    </a:lnTo>
                    <a:lnTo>
                      <a:pt x="6" y="137"/>
                    </a:lnTo>
                    <a:lnTo>
                      <a:pt x="11" y="120"/>
                    </a:lnTo>
                    <a:lnTo>
                      <a:pt x="18" y="104"/>
                    </a:lnTo>
                    <a:lnTo>
                      <a:pt x="26" y="88"/>
                    </a:lnTo>
                    <a:lnTo>
                      <a:pt x="36" y="74"/>
                    </a:lnTo>
                    <a:lnTo>
                      <a:pt x="49" y="59"/>
                    </a:lnTo>
                    <a:lnTo>
                      <a:pt x="61" y="46"/>
                    </a:lnTo>
                    <a:lnTo>
                      <a:pt x="76" y="35"/>
                    </a:lnTo>
                    <a:lnTo>
                      <a:pt x="76" y="35"/>
                    </a:lnTo>
                    <a:lnTo>
                      <a:pt x="88" y="26"/>
                    </a:lnTo>
                    <a:lnTo>
                      <a:pt x="100" y="20"/>
                    </a:lnTo>
                    <a:lnTo>
                      <a:pt x="114" y="14"/>
                    </a:lnTo>
                    <a:lnTo>
                      <a:pt x="128" y="9"/>
                    </a:lnTo>
                    <a:lnTo>
                      <a:pt x="142" y="5"/>
                    </a:lnTo>
                    <a:lnTo>
                      <a:pt x="155" y="1"/>
                    </a:lnTo>
                    <a:lnTo>
                      <a:pt x="169" y="0"/>
                    </a:lnTo>
                    <a:lnTo>
                      <a:pt x="184" y="0"/>
                    </a:lnTo>
                    <a:lnTo>
                      <a:pt x="184" y="0"/>
                    </a:lnTo>
                    <a:lnTo>
                      <a:pt x="206" y="1"/>
                    </a:lnTo>
                    <a:lnTo>
                      <a:pt x="227" y="5"/>
                    </a:lnTo>
                    <a:lnTo>
                      <a:pt x="248" y="11"/>
                    </a:lnTo>
                    <a:lnTo>
                      <a:pt x="267" y="20"/>
                    </a:lnTo>
                    <a:lnTo>
                      <a:pt x="286" y="30"/>
                    </a:lnTo>
                    <a:lnTo>
                      <a:pt x="304" y="44"/>
                    </a:lnTo>
                    <a:lnTo>
                      <a:pt x="320" y="59"/>
                    </a:lnTo>
                    <a:lnTo>
                      <a:pt x="334" y="75"/>
                    </a:lnTo>
                    <a:lnTo>
                      <a:pt x="334" y="75"/>
                    </a:lnTo>
                    <a:lnTo>
                      <a:pt x="344" y="92"/>
                    </a:lnTo>
                    <a:lnTo>
                      <a:pt x="353" y="108"/>
                    </a:lnTo>
                    <a:lnTo>
                      <a:pt x="359" y="124"/>
                    </a:lnTo>
                    <a:lnTo>
                      <a:pt x="364" y="142"/>
                    </a:lnTo>
                    <a:lnTo>
                      <a:pt x="367" y="159"/>
                    </a:lnTo>
                    <a:lnTo>
                      <a:pt x="368" y="177"/>
                    </a:lnTo>
                    <a:lnTo>
                      <a:pt x="368" y="196"/>
                    </a:lnTo>
                    <a:lnTo>
                      <a:pt x="367" y="213"/>
                    </a:lnTo>
                    <a:lnTo>
                      <a:pt x="363" y="230"/>
                    </a:lnTo>
                    <a:lnTo>
                      <a:pt x="358" y="247"/>
                    </a:lnTo>
                    <a:lnTo>
                      <a:pt x="350" y="264"/>
                    </a:lnTo>
                    <a:lnTo>
                      <a:pt x="341" y="279"/>
                    </a:lnTo>
                    <a:lnTo>
                      <a:pt x="331" y="294"/>
                    </a:lnTo>
                    <a:lnTo>
                      <a:pt x="320" y="308"/>
                    </a:lnTo>
                    <a:lnTo>
                      <a:pt x="307" y="321"/>
                    </a:lnTo>
                    <a:lnTo>
                      <a:pt x="292" y="333"/>
                    </a:lnTo>
                    <a:lnTo>
                      <a:pt x="292" y="333"/>
                    </a:lnTo>
                    <a:lnTo>
                      <a:pt x="280" y="342"/>
                    </a:lnTo>
                    <a:lnTo>
                      <a:pt x="267" y="348"/>
                    </a:lnTo>
                    <a:lnTo>
                      <a:pt x="255" y="354"/>
                    </a:lnTo>
                    <a:lnTo>
                      <a:pt x="241" y="359"/>
                    </a:lnTo>
                    <a:lnTo>
                      <a:pt x="227" y="363"/>
                    </a:lnTo>
                    <a:lnTo>
                      <a:pt x="213" y="365"/>
                    </a:lnTo>
                    <a:lnTo>
                      <a:pt x="199" y="368"/>
                    </a:lnTo>
                    <a:lnTo>
                      <a:pt x="184" y="368"/>
                    </a:lnTo>
                    <a:lnTo>
                      <a:pt x="184" y="368"/>
                    </a:lnTo>
                    <a:close/>
                    <a:moveTo>
                      <a:pt x="184" y="10"/>
                    </a:moveTo>
                    <a:lnTo>
                      <a:pt x="184" y="10"/>
                    </a:lnTo>
                    <a:lnTo>
                      <a:pt x="170" y="11"/>
                    </a:lnTo>
                    <a:lnTo>
                      <a:pt x="157" y="12"/>
                    </a:lnTo>
                    <a:lnTo>
                      <a:pt x="144" y="15"/>
                    </a:lnTo>
                    <a:lnTo>
                      <a:pt x="130" y="19"/>
                    </a:lnTo>
                    <a:lnTo>
                      <a:pt x="118" y="24"/>
                    </a:lnTo>
                    <a:lnTo>
                      <a:pt x="105" y="29"/>
                    </a:lnTo>
                    <a:lnTo>
                      <a:pt x="94" y="35"/>
                    </a:lnTo>
                    <a:lnTo>
                      <a:pt x="83" y="44"/>
                    </a:lnTo>
                    <a:lnTo>
                      <a:pt x="83" y="44"/>
                    </a:lnTo>
                    <a:lnTo>
                      <a:pt x="69" y="54"/>
                    </a:lnTo>
                    <a:lnTo>
                      <a:pt x="56" y="66"/>
                    </a:lnTo>
                    <a:lnTo>
                      <a:pt x="45" y="80"/>
                    </a:lnTo>
                    <a:lnTo>
                      <a:pt x="36" y="94"/>
                    </a:lnTo>
                    <a:lnTo>
                      <a:pt x="27" y="109"/>
                    </a:lnTo>
                    <a:lnTo>
                      <a:pt x="21" y="124"/>
                    </a:lnTo>
                    <a:lnTo>
                      <a:pt x="16" y="141"/>
                    </a:lnTo>
                    <a:lnTo>
                      <a:pt x="12" y="157"/>
                    </a:lnTo>
                    <a:lnTo>
                      <a:pt x="11" y="173"/>
                    </a:lnTo>
                    <a:lnTo>
                      <a:pt x="11" y="190"/>
                    </a:lnTo>
                    <a:lnTo>
                      <a:pt x="12" y="206"/>
                    </a:lnTo>
                    <a:lnTo>
                      <a:pt x="15" y="224"/>
                    </a:lnTo>
                    <a:lnTo>
                      <a:pt x="20" y="240"/>
                    </a:lnTo>
                    <a:lnTo>
                      <a:pt x="26" y="255"/>
                    </a:lnTo>
                    <a:lnTo>
                      <a:pt x="34" y="271"/>
                    </a:lnTo>
                    <a:lnTo>
                      <a:pt x="44" y="285"/>
                    </a:lnTo>
                    <a:lnTo>
                      <a:pt x="44" y="285"/>
                    </a:lnTo>
                    <a:lnTo>
                      <a:pt x="56" y="301"/>
                    </a:lnTo>
                    <a:lnTo>
                      <a:pt x="71" y="315"/>
                    </a:lnTo>
                    <a:lnTo>
                      <a:pt x="88" y="328"/>
                    </a:lnTo>
                    <a:lnTo>
                      <a:pt x="105" y="338"/>
                    </a:lnTo>
                    <a:lnTo>
                      <a:pt x="124" y="347"/>
                    </a:lnTo>
                    <a:lnTo>
                      <a:pt x="143" y="353"/>
                    </a:lnTo>
                    <a:lnTo>
                      <a:pt x="164" y="357"/>
                    </a:lnTo>
                    <a:lnTo>
                      <a:pt x="184" y="358"/>
                    </a:lnTo>
                    <a:lnTo>
                      <a:pt x="184" y="358"/>
                    </a:lnTo>
                    <a:lnTo>
                      <a:pt x="198" y="357"/>
                    </a:lnTo>
                    <a:lnTo>
                      <a:pt x="212" y="355"/>
                    </a:lnTo>
                    <a:lnTo>
                      <a:pt x="225" y="353"/>
                    </a:lnTo>
                    <a:lnTo>
                      <a:pt x="237" y="349"/>
                    </a:lnTo>
                    <a:lnTo>
                      <a:pt x="251" y="344"/>
                    </a:lnTo>
                    <a:lnTo>
                      <a:pt x="262" y="339"/>
                    </a:lnTo>
                    <a:lnTo>
                      <a:pt x="275" y="332"/>
                    </a:lnTo>
                    <a:lnTo>
                      <a:pt x="286" y="324"/>
                    </a:lnTo>
                    <a:lnTo>
                      <a:pt x="286" y="324"/>
                    </a:lnTo>
                    <a:lnTo>
                      <a:pt x="300" y="313"/>
                    </a:lnTo>
                    <a:lnTo>
                      <a:pt x="312" y="301"/>
                    </a:lnTo>
                    <a:lnTo>
                      <a:pt x="323" y="288"/>
                    </a:lnTo>
                    <a:lnTo>
                      <a:pt x="333" y="274"/>
                    </a:lnTo>
                    <a:lnTo>
                      <a:pt x="340" y="259"/>
                    </a:lnTo>
                    <a:lnTo>
                      <a:pt x="348" y="244"/>
                    </a:lnTo>
                    <a:lnTo>
                      <a:pt x="351" y="227"/>
                    </a:lnTo>
                    <a:lnTo>
                      <a:pt x="355" y="211"/>
                    </a:lnTo>
                    <a:lnTo>
                      <a:pt x="358" y="195"/>
                    </a:lnTo>
                    <a:lnTo>
                      <a:pt x="358" y="178"/>
                    </a:lnTo>
                    <a:lnTo>
                      <a:pt x="356" y="161"/>
                    </a:lnTo>
                    <a:lnTo>
                      <a:pt x="353" y="144"/>
                    </a:lnTo>
                    <a:lnTo>
                      <a:pt x="349" y="128"/>
                    </a:lnTo>
                    <a:lnTo>
                      <a:pt x="343" y="113"/>
                    </a:lnTo>
                    <a:lnTo>
                      <a:pt x="334" y="97"/>
                    </a:lnTo>
                    <a:lnTo>
                      <a:pt x="325" y="82"/>
                    </a:lnTo>
                    <a:lnTo>
                      <a:pt x="325" y="82"/>
                    </a:lnTo>
                    <a:lnTo>
                      <a:pt x="311" y="66"/>
                    </a:lnTo>
                    <a:lnTo>
                      <a:pt x="296" y="51"/>
                    </a:lnTo>
                    <a:lnTo>
                      <a:pt x="281" y="40"/>
                    </a:lnTo>
                    <a:lnTo>
                      <a:pt x="263" y="29"/>
                    </a:lnTo>
                    <a:lnTo>
                      <a:pt x="245" y="21"/>
                    </a:lnTo>
                    <a:lnTo>
                      <a:pt x="225" y="15"/>
                    </a:lnTo>
                    <a:lnTo>
                      <a:pt x="204" y="11"/>
                    </a:lnTo>
                    <a:lnTo>
                      <a:pt x="184" y="10"/>
                    </a:lnTo>
                    <a:lnTo>
                      <a:pt x="184" y="10"/>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67" name="Freeform 59"/>
              <p:cNvSpPr>
                <a:spLocks noEditPoints="1"/>
              </p:cNvSpPr>
              <p:nvPr/>
            </p:nvSpPr>
            <p:spPr bwMode="auto">
              <a:xfrm>
                <a:off x="3678143" y="2993757"/>
                <a:ext cx="85677" cy="373303"/>
              </a:xfrm>
              <a:custGeom>
                <a:avLst/>
                <a:gdLst>
                  <a:gd name="T0" fmla="*/ 38 w 86"/>
                  <a:gd name="T1" fmla="*/ 365 h 365"/>
                  <a:gd name="T2" fmla="*/ 38 w 86"/>
                  <a:gd name="T3" fmla="*/ 365 h 365"/>
                  <a:gd name="T4" fmla="*/ 36 w 86"/>
                  <a:gd name="T5" fmla="*/ 364 h 365"/>
                  <a:gd name="T6" fmla="*/ 36 w 86"/>
                  <a:gd name="T7" fmla="*/ 364 h 365"/>
                  <a:gd name="T8" fmla="*/ 34 w 86"/>
                  <a:gd name="T9" fmla="*/ 363 h 365"/>
                  <a:gd name="T10" fmla="*/ 33 w 86"/>
                  <a:gd name="T11" fmla="*/ 360 h 365"/>
                  <a:gd name="T12" fmla="*/ 0 w 86"/>
                  <a:gd name="T13" fmla="*/ 6 h 365"/>
                  <a:gd name="T14" fmla="*/ 0 w 86"/>
                  <a:gd name="T15" fmla="*/ 6 h 365"/>
                  <a:gd name="T16" fmla="*/ 0 w 86"/>
                  <a:gd name="T17" fmla="*/ 4 h 365"/>
                  <a:gd name="T18" fmla="*/ 2 w 86"/>
                  <a:gd name="T19" fmla="*/ 1 h 365"/>
                  <a:gd name="T20" fmla="*/ 2 w 86"/>
                  <a:gd name="T21" fmla="*/ 1 h 365"/>
                  <a:gd name="T22" fmla="*/ 3 w 86"/>
                  <a:gd name="T23" fmla="*/ 0 h 365"/>
                  <a:gd name="T24" fmla="*/ 5 w 86"/>
                  <a:gd name="T25" fmla="*/ 0 h 365"/>
                  <a:gd name="T26" fmla="*/ 67 w 86"/>
                  <a:gd name="T27" fmla="*/ 0 h 365"/>
                  <a:gd name="T28" fmla="*/ 67 w 86"/>
                  <a:gd name="T29" fmla="*/ 0 h 365"/>
                  <a:gd name="T30" fmla="*/ 69 w 86"/>
                  <a:gd name="T31" fmla="*/ 0 h 365"/>
                  <a:gd name="T32" fmla="*/ 71 w 86"/>
                  <a:gd name="T33" fmla="*/ 1 h 365"/>
                  <a:gd name="T34" fmla="*/ 72 w 86"/>
                  <a:gd name="T35" fmla="*/ 2 h 365"/>
                  <a:gd name="T36" fmla="*/ 72 w 86"/>
                  <a:gd name="T37" fmla="*/ 5 h 365"/>
                  <a:gd name="T38" fmla="*/ 86 w 86"/>
                  <a:gd name="T39" fmla="*/ 353 h 365"/>
                  <a:gd name="T40" fmla="*/ 86 w 86"/>
                  <a:gd name="T41" fmla="*/ 353 h 365"/>
                  <a:gd name="T42" fmla="*/ 86 w 86"/>
                  <a:gd name="T43" fmla="*/ 355 h 365"/>
                  <a:gd name="T44" fmla="*/ 85 w 86"/>
                  <a:gd name="T45" fmla="*/ 357 h 365"/>
                  <a:gd name="T46" fmla="*/ 83 w 86"/>
                  <a:gd name="T47" fmla="*/ 358 h 365"/>
                  <a:gd name="T48" fmla="*/ 81 w 86"/>
                  <a:gd name="T49" fmla="*/ 358 h 365"/>
                  <a:gd name="T50" fmla="*/ 81 w 86"/>
                  <a:gd name="T51" fmla="*/ 358 h 365"/>
                  <a:gd name="T52" fmla="*/ 61 w 86"/>
                  <a:gd name="T53" fmla="*/ 360 h 365"/>
                  <a:gd name="T54" fmla="*/ 41 w 86"/>
                  <a:gd name="T55" fmla="*/ 365 h 365"/>
                  <a:gd name="T56" fmla="*/ 41 w 86"/>
                  <a:gd name="T57" fmla="*/ 365 h 365"/>
                  <a:gd name="T58" fmla="*/ 38 w 86"/>
                  <a:gd name="T59" fmla="*/ 365 h 365"/>
                  <a:gd name="T60" fmla="*/ 38 w 86"/>
                  <a:gd name="T61" fmla="*/ 365 h 365"/>
                  <a:gd name="T62" fmla="*/ 12 w 86"/>
                  <a:gd name="T63" fmla="*/ 10 h 365"/>
                  <a:gd name="T64" fmla="*/ 43 w 86"/>
                  <a:gd name="T65" fmla="*/ 353 h 365"/>
                  <a:gd name="T66" fmla="*/ 43 w 86"/>
                  <a:gd name="T67" fmla="*/ 353 h 365"/>
                  <a:gd name="T68" fmla="*/ 59 w 86"/>
                  <a:gd name="T69" fmla="*/ 350 h 365"/>
                  <a:gd name="T70" fmla="*/ 74 w 86"/>
                  <a:gd name="T71" fmla="*/ 348 h 365"/>
                  <a:gd name="T72" fmla="*/ 62 w 86"/>
                  <a:gd name="T73" fmla="*/ 10 h 365"/>
                  <a:gd name="T74" fmla="*/ 12 w 86"/>
                  <a:gd name="T75" fmla="*/ 1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6" h="365">
                    <a:moveTo>
                      <a:pt x="38" y="365"/>
                    </a:moveTo>
                    <a:lnTo>
                      <a:pt x="38" y="365"/>
                    </a:lnTo>
                    <a:lnTo>
                      <a:pt x="36" y="364"/>
                    </a:lnTo>
                    <a:lnTo>
                      <a:pt x="36" y="364"/>
                    </a:lnTo>
                    <a:lnTo>
                      <a:pt x="34" y="363"/>
                    </a:lnTo>
                    <a:lnTo>
                      <a:pt x="33" y="360"/>
                    </a:lnTo>
                    <a:lnTo>
                      <a:pt x="0" y="6"/>
                    </a:lnTo>
                    <a:lnTo>
                      <a:pt x="0" y="6"/>
                    </a:lnTo>
                    <a:lnTo>
                      <a:pt x="0" y="4"/>
                    </a:lnTo>
                    <a:lnTo>
                      <a:pt x="2" y="1"/>
                    </a:lnTo>
                    <a:lnTo>
                      <a:pt x="2" y="1"/>
                    </a:lnTo>
                    <a:lnTo>
                      <a:pt x="3" y="0"/>
                    </a:lnTo>
                    <a:lnTo>
                      <a:pt x="5" y="0"/>
                    </a:lnTo>
                    <a:lnTo>
                      <a:pt x="67" y="0"/>
                    </a:lnTo>
                    <a:lnTo>
                      <a:pt x="67" y="0"/>
                    </a:lnTo>
                    <a:lnTo>
                      <a:pt x="69" y="0"/>
                    </a:lnTo>
                    <a:lnTo>
                      <a:pt x="71" y="1"/>
                    </a:lnTo>
                    <a:lnTo>
                      <a:pt x="72" y="2"/>
                    </a:lnTo>
                    <a:lnTo>
                      <a:pt x="72" y="5"/>
                    </a:lnTo>
                    <a:lnTo>
                      <a:pt x="86" y="353"/>
                    </a:lnTo>
                    <a:lnTo>
                      <a:pt x="86" y="353"/>
                    </a:lnTo>
                    <a:lnTo>
                      <a:pt x="86" y="355"/>
                    </a:lnTo>
                    <a:lnTo>
                      <a:pt x="85" y="357"/>
                    </a:lnTo>
                    <a:lnTo>
                      <a:pt x="83" y="358"/>
                    </a:lnTo>
                    <a:lnTo>
                      <a:pt x="81" y="358"/>
                    </a:lnTo>
                    <a:lnTo>
                      <a:pt x="81" y="358"/>
                    </a:lnTo>
                    <a:lnTo>
                      <a:pt x="61" y="360"/>
                    </a:lnTo>
                    <a:lnTo>
                      <a:pt x="41" y="365"/>
                    </a:lnTo>
                    <a:lnTo>
                      <a:pt x="41" y="365"/>
                    </a:lnTo>
                    <a:lnTo>
                      <a:pt x="38" y="365"/>
                    </a:lnTo>
                    <a:lnTo>
                      <a:pt x="38" y="365"/>
                    </a:lnTo>
                    <a:close/>
                    <a:moveTo>
                      <a:pt x="12" y="10"/>
                    </a:moveTo>
                    <a:lnTo>
                      <a:pt x="43" y="353"/>
                    </a:lnTo>
                    <a:lnTo>
                      <a:pt x="43" y="353"/>
                    </a:lnTo>
                    <a:lnTo>
                      <a:pt x="59" y="350"/>
                    </a:lnTo>
                    <a:lnTo>
                      <a:pt x="74" y="348"/>
                    </a:lnTo>
                    <a:lnTo>
                      <a:pt x="62" y="10"/>
                    </a:lnTo>
                    <a:lnTo>
                      <a:pt x="12" y="10"/>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68" name="Freeform 60"/>
              <p:cNvSpPr>
                <a:spLocks noEditPoints="1"/>
              </p:cNvSpPr>
              <p:nvPr/>
            </p:nvSpPr>
            <p:spPr bwMode="auto">
              <a:xfrm>
                <a:off x="3769938" y="2993757"/>
                <a:ext cx="87716" cy="373303"/>
              </a:xfrm>
              <a:custGeom>
                <a:avLst/>
                <a:gdLst>
                  <a:gd name="T0" fmla="*/ 46 w 85"/>
                  <a:gd name="T1" fmla="*/ 365 h 365"/>
                  <a:gd name="T2" fmla="*/ 46 w 85"/>
                  <a:gd name="T3" fmla="*/ 365 h 365"/>
                  <a:gd name="T4" fmla="*/ 45 w 85"/>
                  <a:gd name="T5" fmla="*/ 365 h 365"/>
                  <a:gd name="T6" fmla="*/ 45 w 85"/>
                  <a:gd name="T7" fmla="*/ 365 h 365"/>
                  <a:gd name="T8" fmla="*/ 25 w 85"/>
                  <a:gd name="T9" fmla="*/ 360 h 365"/>
                  <a:gd name="T10" fmla="*/ 5 w 85"/>
                  <a:gd name="T11" fmla="*/ 358 h 365"/>
                  <a:gd name="T12" fmla="*/ 5 w 85"/>
                  <a:gd name="T13" fmla="*/ 358 h 365"/>
                  <a:gd name="T14" fmla="*/ 2 w 85"/>
                  <a:gd name="T15" fmla="*/ 358 h 365"/>
                  <a:gd name="T16" fmla="*/ 1 w 85"/>
                  <a:gd name="T17" fmla="*/ 357 h 365"/>
                  <a:gd name="T18" fmla="*/ 0 w 85"/>
                  <a:gd name="T19" fmla="*/ 355 h 365"/>
                  <a:gd name="T20" fmla="*/ 0 w 85"/>
                  <a:gd name="T21" fmla="*/ 353 h 365"/>
                  <a:gd name="T22" fmla="*/ 12 w 85"/>
                  <a:gd name="T23" fmla="*/ 5 h 365"/>
                  <a:gd name="T24" fmla="*/ 12 w 85"/>
                  <a:gd name="T25" fmla="*/ 5 h 365"/>
                  <a:gd name="T26" fmla="*/ 14 w 85"/>
                  <a:gd name="T27" fmla="*/ 2 h 365"/>
                  <a:gd name="T28" fmla="*/ 15 w 85"/>
                  <a:gd name="T29" fmla="*/ 1 h 365"/>
                  <a:gd name="T30" fmla="*/ 16 w 85"/>
                  <a:gd name="T31" fmla="*/ 0 h 365"/>
                  <a:gd name="T32" fmla="*/ 19 w 85"/>
                  <a:gd name="T33" fmla="*/ 0 h 365"/>
                  <a:gd name="T34" fmla="*/ 80 w 85"/>
                  <a:gd name="T35" fmla="*/ 0 h 365"/>
                  <a:gd name="T36" fmla="*/ 80 w 85"/>
                  <a:gd name="T37" fmla="*/ 0 h 365"/>
                  <a:gd name="T38" fmla="*/ 82 w 85"/>
                  <a:gd name="T39" fmla="*/ 0 h 365"/>
                  <a:gd name="T40" fmla="*/ 84 w 85"/>
                  <a:gd name="T41" fmla="*/ 1 h 365"/>
                  <a:gd name="T42" fmla="*/ 84 w 85"/>
                  <a:gd name="T43" fmla="*/ 1 h 365"/>
                  <a:gd name="T44" fmla="*/ 85 w 85"/>
                  <a:gd name="T45" fmla="*/ 4 h 365"/>
                  <a:gd name="T46" fmla="*/ 85 w 85"/>
                  <a:gd name="T47" fmla="*/ 6 h 365"/>
                  <a:gd name="T48" fmla="*/ 53 w 85"/>
                  <a:gd name="T49" fmla="*/ 360 h 365"/>
                  <a:gd name="T50" fmla="*/ 53 w 85"/>
                  <a:gd name="T51" fmla="*/ 360 h 365"/>
                  <a:gd name="T52" fmla="*/ 51 w 85"/>
                  <a:gd name="T53" fmla="*/ 363 h 365"/>
                  <a:gd name="T54" fmla="*/ 50 w 85"/>
                  <a:gd name="T55" fmla="*/ 364 h 365"/>
                  <a:gd name="T56" fmla="*/ 50 w 85"/>
                  <a:gd name="T57" fmla="*/ 364 h 365"/>
                  <a:gd name="T58" fmla="*/ 46 w 85"/>
                  <a:gd name="T59" fmla="*/ 365 h 365"/>
                  <a:gd name="T60" fmla="*/ 46 w 85"/>
                  <a:gd name="T61" fmla="*/ 365 h 365"/>
                  <a:gd name="T62" fmla="*/ 10 w 85"/>
                  <a:gd name="T63" fmla="*/ 348 h 365"/>
                  <a:gd name="T64" fmla="*/ 10 w 85"/>
                  <a:gd name="T65" fmla="*/ 348 h 365"/>
                  <a:gd name="T66" fmla="*/ 26 w 85"/>
                  <a:gd name="T67" fmla="*/ 350 h 365"/>
                  <a:gd name="T68" fmla="*/ 41 w 85"/>
                  <a:gd name="T69" fmla="*/ 353 h 365"/>
                  <a:gd name="T70" fmla="*/ 74 w 85"/>
                  <a:gd name="T71" fmla="*/ 10 h 365"/>
                  <a:gd name="T72" fmla="*/ 24 w 85"/>
                  <a:gd name="T73" fmla="*/ 10 h 365"/>
                  <a:gd name="T74" fmla="*/ 10 w 85"/>
                  <a:gd name="T75" fmla="*/ 348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 h="365">
                    <a:moveTo>
                      <a:pt x="46" y="365"/>
                    </a:moveTo>
                    <a:lnTo>
                      <a:pt x="46" y="365"/>
                    </a:lnTo>
                    <a:lnTo>
                      <a:pt x="45" y="365"/>
                    </a:lnTo>
                    <a:lnTo>
                      <a:pt x="45" y="365"/>
                    </a:lnTo>
                    <a:lnTo>
                      <a:pt x="25" y="360"/>
                    </a:lnTo>
                    <a:lnTo>
                      <a:pt x="5" y="358"/>
                    </a:lnTo>
                    <a:lnTo>
                      <a:pt x="5" y="358"/>
                    </a:lnTo>
                    <a:lnTo>
                      <a:pt x="2" y="358"/>
                    </a:lnTo>
                    <a:lnTo>
                      <a:pt x="1" y="357"/>
                    </a:lnTo>
                    <a:lnTo>
                      <a:pt x="0" y="355"/>
                    </a:lnTo>
                    <a:lnTo>
                      <a:pt x="0" y="353"/>
                    </a:lnTo>
                    <a:lnTo>
                      <a:pt x="12" y="5"/>
                    </a:lnTo>
                    <a:lnTo>
                      <a:pt x="12" y="5"/>
                    </a:lnTo>
                    <a:lnTo>
                      <a:pt x="14" y="2"/>
                    </a:lnTo>
                    <a:lnTo>
                      <a:pt x="15" y="1"/>
                    </a:lnTo>
                    <a:lnTo>
                      <a:pt x="16" y="0"/>
                    </a:lnTo>
                    <a:lnTo>
                      <a:pt x="19" y="0"/>
                    </a:lnTo>
                    <a:lnTo>
                      <a:pt x="80" y="0"/>
                    </a:lnTo>
                    <a:lnTo>
                      <a:pt x="80" y="0"/>
                    </a:lnTo>
                    <a:lnTo>
                      <a:pt x="82" y="0"/>
                    </a:lnTo>
                    <a:lnTo>
                      <a:pt x="84" y="1"/>
                    </a:lnTo>
                    <a:lnTo>
                      <a:pt x="84" y="1"/>
                    </a:lnTo>
                    <a:lnTo>
                      <a:pt x="85" y="4"/>
                    </a:lnTo>
                    <a:lnTo>
                      <a:pt x="85" y="6"/>
                    </a:lnTo>
                    <a:lnTo>
                      <a:pt x="53" y="360"/>
                    </a:lnTo>
                    <a:lnTo>
                      <a:pt x="53" y="360"/>
                    </a:lnTo>
                    <a:lnTo>
                      <a:pt x="51" y="363"/>
                    </a:lnTo>
                    <a:lnTo>
                      <a:pt x="50" y="364"/>
                    </a:lnTo>
                    <a:lnTo>
                      <a:pt x="50" y="364"/>
                    </a:lnTo>
                    <a:lnTo>
                      <a:pt x="46" y="365"/>
                    </a:lnTo>
                    <a:lnTo>
                      <a:pt x="46" y="365"/>
                    </a:lnTo>
                    <a:close/>
                    <a:moveTo>
                      <a:pt x="10" y="348"/>
                    </a:moveTo>
                    <a:lnTo>
                      <a:pt x="10" y="348"/>
                    </a:lnTo>
                    <a:lnTo>
                      <a:pt x="26" y="350"/>
                    </a:lnTo>
                    <a:lnTo>
                      <a:pt x="41" y="353"/>
                    </a:lnTo>
                    <a:lnTo>
                      <a:pt x="74" y="10"/>
                    </a:lnTo>
                    <a:lnTo>
                      <a:pt x="24" y="10"/>
                    </a:lnTo>
                    <a:lnTo>
                      <a:pt x="10" y="348"/>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69" name="Freeform 61"/>
              <p:cNvSpPr>
                <a:spLocks noEditPoints="1"/>
              </p:cNvSpPr>
              <p:nvPr/>
            </p:nvSpPr>
            <p:spPr bwMode="auto">
              <a:xfrm>
                <a:off x="3769938" y="3705685"/>
                <a:ext cx="87716" cy="373303"/>
              </a:xfrm>
              <a:custGeom>
                <a:avLst/>
                <a:gdLst>
                  <a:gd name="T0" fmla="*/ 80 w 85"/>
                  <a:gd name="T1" fmla="*/ 366 h 366"/>
                  <a:gd name="T2" fmla="*/ 19 w 85"/>
                  <a:gd name="T3" fmla="*/ 366 h 366"/>
                  <a:gd name="T4" fmla="*/ 19 w 85"/>
                  <a:gd name="T5" fmla="*/ 366 h 366"/>
                  <a:gd name="T6" fmla="*/ 16 w 85"/>
                  <a:gd name="T7" fmla="*/ 366 h 366"/>
                  <a:gd name="T8" fmla="*/ 15 w 85"/>
                  <a:gd name="T9" fmla="*/ 365 h 366"/>
                  <a:gd name="T10" fmla="*/ 14 w 85"/>
                  <a:gd name="T11" fmla="*/ 362 h 366"/>
                  <a:gd name="T12" fmla="*/ 12 w 85"/>
                  <a:gd name="T13" fmla="*/ 361 h 366"/>
                  <a:gd name="T14" fmla="*/ 0 w 85"/>
                  <a:gd name="T15" fmla="*/ 13 h 366"/>
                  <a:gd name="T16" fmla="*/ 0 w 85"/>
                  <a:gd name="T17" fmla="*/ 13 h 366"/>
                  <a:gd name="T18" fmla="*/ 0 w 85"/>
                  <a:gd name="T19" fmla="*/ 10 h 366"/>
                  <a:gd name="T20" fmla="*/ 1 w 85"/>
                  <a:gd name="T21" fmla="*/ 9 h 366"/>
                  <a:gd name="T22" fmla="*/ 2 w 85"/>
                  <a:gd name="T23" fmla="*/ 8 h 366"/>
                  <a:gd name="T24" fmla="*/ 5 w 85"/>
                  <a:gd name="T25" fmla="*/ 7 h 366"/>
                  <a:gd name="T26" fmla="*/ 5 w 85"/>
                  <a:gd name="T27" fmla="*/ 7 h 366"/>
                  <a:gd name="T28" fmla="*/ 25 w 85"/>
                  <a:gd name="T29" fmla="*/ 5 h 366"/>
                  <a:gd name="T30" fmla="*/ 45 w 85"/>
                  <a:gd name="T31" fmla="*/ 0 h 366"/>
                  <a:gd name="T32" fmla="*/ 45 w 85"/>
                  <a:gd name="T33" fmla="*/ 0 h 366"/>
                  <a:gd name="T34" fmla="*/ 48 w 85"/>
                  <a:gd name="T35" fmla="*/ 0 h 366"/>
                  <a:gd name="T36" fmla="*/ 50 w 85"/>
                  <a:gd name="T37" fmla="*/ 2 h 366"/>
                  <a:gd name="T38" fmla="*/ 50 w 85"/>
                  <a:gd name="T39" fmla="*/ 2 h 366"/>
                  <a:gd name="T40" fmla="*/ 51 w 85"/>
                  <a:gd name="T41" fmla="*/ 3 h 366"/>
                  <a:gd name="T42" fmla="*/ 53 w 85"/>
                  <a:gd name="T43" fmla="*/ 5 h 366"/>
                  <a:gd name="T44" fmla="*/ 85 w 85"/>
                  <a:gd name="T45" fmla="*/ 360 h 366"/>
                  <a:gd name="T46" fmla="*/ 85 w 85"/>
                  <a:gd name="T47" fmla="*/ 360 h 366"/>
                  <a:gd name="T48" fmla="*/ 85 w 85"/>
                  <a:gd name="T49" fmla="*/ 362 h 366"/>
                  <a:gd name="T50" fmla="*/ 84 w 85"/>
                  <a:gd name="T51" fmla="*/ 363 h 366"/>
                  <a:gd name="T52" fmla="*/ 84 w 85"/>
                  <a:gd name="T53" fmla="*/ 363 h 366"/>
                  <a:gd name="T54" fmla="*/ 82 w 85"/>
                  <a:gd name="T55" fmla="*/ 366 h 366"/>
                  <a:gd name="T56" fmla="*/ 80 w 85"/>
                  <a:gd name="T57" fmla="*/ 366 h 366"/>
                  <a:gd name="T58" fmla="*/ 80 w 85"/>
                  <a:gd name="T59" fmla="*/ 366 h 366"/>
                  <a:gd name="T60" fmla="*/ 24 w 85"/>
                  <a:gd name="T61" fmla="*/ 355 h 366"/>
                  <a:gd name="T62" fmla="*/ 74 w 85"/>
                  <a:gd name="T63" fmla="*/ 355 h 366"/>
                  <a:gd name="T64" fmla="*/ 41 w 85"/>
                  <a:gd name="T65" fmla="*/ 13 h 366"/>
                  <a:gd name="T66" fmla="*/ 41 w 85"/>
                  <a:gd name="T67" fmla="*/ 13 h 366"/>
                  <a:gd name="T68" fmla="*/ 26 w 85"/>
                  <a:gd name="T69" fmla="*/ 15 h 366"/>
                  <a:gd name="T70" fmla="*/ 10 w 85"/>
                  <a:gd name="T71" fmla="*/ 18 h 366"/>
                  <a:gd name="T72" fmla="*/ 24 w 85"/>
                  <a:gd name="T73" fmla="*/ 355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5" h="366">
                    <a:moveTo>
                      <a:pt x="80" y="366"/>
                    </a:moveTo>
                    <a:lnTo>
                      <a:pt x="19" y="366"/>
                    </a:lnTo>
                    <a:lnTo>
                      <a:pt x="19" y="366"/>
                    </a:lnTo>
                    <a:lnTo>
                      <a:pt x="16" y="366"/>
                    </a:lnTo>
                    <a:lnTo>
                      <a:pt x="15" y="365"/>
                    </a:lnTo>
                    <a:lnTo>
                      <a:pt x="14" y="362"/>
                    </a:lnTo>
                    <a:lnTo>
                      <a:pt x="12" y="361"/>
                    </a:lnTo>
                    <a:lnTo>
                      <a:pt x="0" y="13"/>
                    </a:lnTo>
                    <a:lnTo>
                      <a:pt x="0" y="13"/>
                    </a:lnTo>
                    <a:lnTo>
                      <a:pt x="0" y="10"/>
                    </a:lnTo>
                    <a:lnTo>
                      <a:pt x="1" y="9"/>
                    </a:lnTo>
                    <a:lnTo>
                      <a:pt x="2" y="8"/>
                    </a:lnTo>
                    <a:lnTo>
                      <a:pt x="5" y="7"/>
                    </a:lnTo>
                    <a:lnTo>
                      <a:pt x="5" y="7"/>
                    </a:lnTo>
                    <a:lnTo>
                      <a:pt x="25" y="5"/>
                    </a:lnTo>
                    <a:lnTo>
                      <a:pt x="45" y="0"/>
                    </a:lnTo>
                    <a:lnTo>
                      <a:pt x="45" y="0"/>
                    </a:lnTo>
                    <a:lnTo>
                      <a:pt x="48" y="0"/>
                    </a:lnTo>
                    <a:lnTo>
                      <a:pt x="50" y="2"/>
                    </a:lnTo>
                    <a:lnTo>
                      <a:pt x="50" y="2"/>
                    </a:lnTo>
                    <a:lnTo>
                      <a:pt x="51" y="3"/>
                    </a:lnTo>
                    <a:lnTo>
                      <a:pt x="53" y="5"/>
                    </a:lnTo>
                    <a:lnTo>
                      <a:pt x="85" y="360"/>
                    </a:lnTo>
                    <a:lnTo>
                      <a:pt x="85" y="360"/>
                    </a:lnTo>
                    <a:lnTo>
                      <a:pt x="85" y="362"/>
                    </a:lnTo>
                    <a:lnTo>
                      <a:pt x="84" y="363"/>
                    </a:lnTo>
                    <a:lnTo>
                      <a:pt x="84" y="363"/>
                    </a:lnTo>
                    <a:lnTo>
                      <a:pt x="82" y="366"/>
                    </a:lnTo>
                    <a:lnTo>
                      <a:pt x="80" y="366"/>
                    </a:lnTo>
                    <a:lnTo>
                      <a:pt x="80" y="366"/>
                    </a:lnTo>
                    <a:close/>
                    <a:moveTo>
                      <a:pt x="24" y="355"/>
                    </a:moveTo>
                    <a:lnTo>
                      <a:pt x="74" y="355"/>
                    </a:lnTo>
                    <a:lnTo>
                      <a:pt x="41" y="13"/>
                    </a:lnTo>
                    <a:lnTo>
                      <a:pt x="41" y="13"/>
                    </a:lnTo>
                    <a:lnTo>
                      <a:pt x="26" y="15"/>
                    </a:lnTo>
                    <a:lnTo>
                      <a:pt x="10" y="18"/>
                    </a:lnTo>
                    <a:lnTo>
                      <a:pt x="24" y="355"/>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70" name="Freeform 62"/>
              <p:cNvSpPr>
                <a:spLocks noEditPoints="1"/>
              </p:cNvSpPr>
              <p:nvPr/>
            </p:nvSpPr>
            <p:spPr bwMode="auto">
              <a:xfrm>
                <a:off x="3678143" y="3705685"/>
                <a:ext cx="85677" cy="373303"/>
              </a:xfrm>
              <a:custGeom>
                <a:avLst/>
                <a:gdLst>
                  <a:gd name="T0" fmla="*/ 67 w 86"/>
                  <a:gd name="T1" fmla="*/ 366 h 366"/>
                  <a:gd name="T2" fmla="*/ 5 w 86"/>
                  <a:gd name="T3" fmla="*/ 366 h 366"/>
                  <a:gd name="T4" fmla="*/ 5 w 86"/>
                  <a:gd name="T5" fmla="*/ 366 h 366"/>
                  <a:gd name="T6" fmla="*/ 3 w 86"/>
                  <a:gd name="T7" fmla="*/ 366 h 366"/>
                  <a:gd name="T8" fmla="*/ 2 w 86"/>
                  <a:gd name="T9" fmla="*/ 363 h 366"/>
                  <a:gd name="T10" fmla="*/ 2 w 86"/>
                  <a:gd name="T11" fmla="*/ 363 h 366"/>
                  <a:gd name="T12" fmla="*/ 0 w 86"/>
                  <a:gd name="T13" fmla="*/ 362 h 366"/>
                  <a:gd name="T14" fmla="*/ 0 w 86"/>
                  <a:gd name="T15" fmla="*/ 360 h 366"/>
                  <a:gd name="T16" fmla="*/ 33 w 86"/>
                  <a:gd name="T17" fmla="*/ 5 h 366"/>
                  <a:gd name="T18" fmla="*/ 33 w 86"/>
                  <a:gd name="T19" fmla="*/ 5 h 366"/>
                  <a:gd name="T20" fmla="*/ 34 w 86"/>
                  <a:gd name="T21" fmla="*/ 3 h 366"/>
                  <a:gd name="T22" fmla="*/ 36 w 86"/>
                  <a:gd name="T23" fmla="*/ 2 h 366"/>
                  <a:gd name="T24" fmla="*/ 36 w 86"/>
                  <a:gd name="T25" fmla="*/ 2 h 366"/>
                  <a:gd name="T26" fmla="*/ 38 w 86"/>
                  <a:gd name="T27" fmla="*/ 0 h 366"/>
                  <a:gd name="T28" fmla="*/ 41 w 86"/>
                  <a:gd name="T29" fmla="*/ 0 h 366"/>
                  <a:gd name="T30" fmla="*/ 41 w 86"/>
                  <a:gd name="T31" fmla="*/ 0 h 366"/>
                  <a:gd name="T32" fmla="*/ 61 w 86"/>
                  <a:gd name="T33" fmla="*/ 5 h 366"/>
                  <a:gd name="T34" fmla="*/ 81 w 86"/>
                  <a:gd name="T35" fmla="*/ 7 h 366"/>
                  <a:gd name="T36" fmla="*/ 81 w 86"/>
                  <a:gd name="T37" fmla="*/ 7 h 366"/>
                  <a:gd name="T38" fmla="*/ 83 w 86"/>
                  <a:gd name="T39" fmla="*/ 8 h 366"/>
                  <a:gd name="T40" fmla="*/ 85 w 86"/>
                  <a:gd name="T41" fmla="*/ 9 h 366"/>
                  <a:gd name="T42" fmla="*/ 86 w 86"/>
                  <a:gd name="T43" fmla="*/ 10 h 366"/>
                  <a:gd name="T44" fmla="*/ 86 w 86"/>
                  <a:gd name="T45" fmla="*/ 13 h 366"/>
                  <a:gd name="T46" fmla="*/ 72 w 86"/>
                  <a:gd name="T47" fmla="*/ 361 h 366"/>
                  <a:gd name="T48" fmla="*/ 72 w 86"/>
                  <a:gd name="T49" fmla="*/ 361 h 366"/>
                  <a:gd name="T50" fmla="*/ 72 w 86"/>
                  <a:gd name="T51" fmla="*/ 362 h 366"/>
                  <a:gd name="T52" fmla="*/ 71 w 86"/>
                  <a:gd name="T53" fmla="*/ 365 h 366"/>
                  <a:gd name="T54" fmla="*/ 69 w 86"/>
                  <a:gd name="T55" fmla="*/ 366 h 366"/>
                  <a:gd name="T56" fmla="*/ 67 w 86"/>
                  <a:gd name="T57" fmla="*/ 366 h 366"/>
                  <a:gd name="T58" fmla="*/ 67 w 86"/>
                  <a:gd name="T59" fmla="*/ 366 h 366"/>
                  <a:gd name="T60" fmla="*/ 12 w 86"/>
                  <a:gd name="T61" fmla="*/ 355 h 366"/>
                  <a:gd name="T62" fmla="*/ 62 w 86"/>
                  <a:gd name="T63" fmla="*/ 355 h 366"/>
                  <a:gd name="T64" fmla="*/ 74 w 86"/>
                  <a:gd name="T65" fmla="*/ 18 h 366"/>
                  <a:gd name="T66" fmla="*/ 74 w 86"/>
                  <a:gd name="T67" fmla="*/ 18 h 366"/>
                  <a:gd name="T68" fmla="*/ 59 w 86"/>
                  <a:gd name="T69" fmla="*/ 15 h 366"/>
                  <a:gd name="T70" fmla="*/ 43 w 86"/>
                  <a:gd name="T71" fmla="*/ 13 h 366"/>
                  <a:gd name="T72" fmla="*/ 12 w 86"/>
                  <a:gd name="T73" fmla="*/ 355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6" h="366">
                    <a:moveTo>
                      <a:pt x="67" y="366"/>
                    </a:moveTo>
                    <a:lnTo>
                      <a:pt x="5" y="366"/>
                    </a:lnTo>
                    <a:lnTo>
                      <a:pt x="5" y="366"/>
                    </a:lnTo>
                    <a:lnTo>
                      <a:pt x="3" y="366"/>
                    </a:lnTo>
                    <a:lnTo>
                      <a:pt x="2" y="363"/>
                    </a:lnTo>
                    <a:lnTo>
                      <a:pt x="2" y="363"/>
                    </a:lnTo>
                    <a:lnTo>
                      <a:pt x="0" y="362"/>
                    </a:lnTo>
                    <a:lnTo>
                      <a:pt x="0" y="360"/>
                    </a:lnTo>
                    <a:lnTo>
                      <a:pt x="33" y="5"/>
                    </a:lnTo>
                    <a:lnTo>
                      <a:pt x="33" y="5"/>
                    </a:lnTo>
                    <a:lnTo>
                      <a:pt x="34" y="3"/>
                    </a:lnTo>
                    <a:lnTo>
                      <a:pt x="36" y="2"/>
                    </a:lnTo>
                    <a:lnTo>
                      <a:pt x="36" y="2"/>
                    </a:lnTo>
                    <a:lnTo>
                      <a:pt x="38" y="0"/>
                    </a:lnTo>
                    <a:lnTo>
                      <a:pt x="41" y="0"/>
                    </a:lnTo>
                    <a:lnTo>
                      <a:pt x="41" y="0"/>
                    </a:lnTo>
                    <a:lnTo>
                      <a:pt x="61" y="5"/>
                    </a:lnTo>
                    <a:lnTo>
                      <a:pt x="81" y="7"/>
                    </a:lnTo>
                    <a:lnTo>
                      <a:pt x="81" y="7"/>
                    </a:lnTo>
                    <a:lnTo>
                      <a:pt x="83" y="8"/>
                    </a:lnTo>
                    <a:lnTo>
                      <a:pt x="85" y="9"/>
                    </a:lnTo>
                    <a:lnTo>
                      <a:pt x="86" y="10"/>
                    </a:lnTo>
                    <a:lnTo>
                      <a:pt x="86" y="13"/>
                    </a:lnTo>
                    <a:lnTo>
                      <a:pt x="72" y="361"/>
                    </a:lnTo>
                    <a:lnTo>
                      <a:pt x="72" y="361"/>
                    </a:lnTo>
                    <a:lnTo>
                      <a:pt x="72" y="362"/>
                    </a:lnTo>
                    <a:lnTo>
                      <a:pt x="71" y="365"/>
                    </a:lnTo>
                    <a:lnTo>
                      <a:pt x="69" y="366"/>
                    </a:lnTo>
                    <a:lnTo>
                      <a:pt x="67" y="366"/>
                    </a:lnTo>
                    <a:lnTo>
                      <a:pt x="67" y="366"/>
                    </a:lnTo>
                    <a:close/>
                    <a:moveTo>
                      <a:pt x="12" y="355"/>
                    </a:moveTo>
                    <a:lnTo>
                      <a:pt x="62" y="355"/>
                    </a:lnTo>
                    <a:lnTo>
                      <a:pt x="74" y="18"/>
                    </a:lnTo>
                    <a:lnTo>
                      <a:pt x="74" y="18"/>
                    </a:lnTo>
                    <a:lnTo>
                      <a:pt x="59" y="15"/>
                    </a:lnTo>
                    <a:lnTo>
                      <a:pt x="43" y="13"/>
                    </a:lnTo>
                    <a:lnTo>
                      <a:pt x="12" y="355"/>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71" name="Freeform 63"/>
              <p:cNvSpPr>
                <a:spLocks noEditPoints="1"/>
              </p:cNvSpPr>
              <p:nvPr/>
            </p:nvSpPr>
            <p:spPr bwMode="auto">
              <a:xfrm>
                <a:off x="3223243" y="3538412"/>
                <a:ext cx="373303" cy="87716"/>
              </a:xfrm>
              <a:custGeom>
                <a:avLst/>
                <a:gdLst>
                  <a:gd name="T0" fmla="*/ 6 w 365"/>
                  <a:gd name="T1" fmla="*/ 86 h 86"/>
                  <a:gd name="T2" fmla="*/ 6 w 365"/>
                  <a:gd name="T3" fmla="*/ 86 h 86"/>
                  <a:gd name="T4" fmla="*/ 2 w 365"/>
                  <a:gd name="T5" fmla="*/ 84 h 86"/>
                  <a:gd name="T6" fmla="*/ 2 w 365"/>
                  <a:gd name="T7" fmla="*/ 84 h 86"/>
                  <a:gd name="T8" fmla="*/ 1 w 365"/>
                  <a:gd name="T9" fmla="*/ 83 h 86"/>
                  <a:gd name="T10" fmla="*/ 0 w 365"/>
                  <a:gd name="T11" fmla="*/ 80 h 86"/>
                  <a:gd name="T12" fmla="*/ 0 w 365"/>
                  <a:gd name="T13" fmla="*/ 19 h 86"/>
                  <a:gd name="T14" fmla="*/ 0 w 365"/>
                  <a:gd name="T15" fmla="*/ 19 h 86"/>
                  <a:gd name="T16" fmla="*/ 1 w 365"/>
                  <a:gd name="T17" fmla="*/ 17 h 86"/>
                  <a:gd name="T18" fmla="*/ 2 w 365"/>
                  <a:gd name="T19" fmla="*/ 15 h 86"/>
                  <a:gd name="T20" fmla="*/ 3 w 365"/>
                  <a:gd name="T21" fmla="*/ 14 h 86"/>
                  <a:gd name="T22" fmla="*/ 5 w 365"/>
                  <a:gd name="T23" fmla="*/ 14 h 86"/>
                  <a:gd name="T24" fmla="*/ 353 w 365"/>
                  <a:gd name="T25" fmla="*/ 0 h 86"/>
                  <a:gd name="T26" fmla="*/ 353 w 365"/>
                  <a:gd name="T27" fmla="*/ 0 h 86"/>
                  <a:gd name="T28" fmla="*/ 355 w 365"/>
                  <a:gd name="T29" fmla="*/ 0 h 86"/>
                  <a:gd name="T30" fmla="*/ 356 w 365"/>
                  <a:gd name="T31" fmla="*/ 1 h 86"/>
                  <a:gd name="T32" fmla="*/ 358 w 365"/>
                  <a:gd name="T33" fmla="*/ 4 h 86"/>
                  <a:gd name="T34" fmla="*/ 359 w 365"/>
                  <a:gd name="T35" fmla="*/ 5 h 86"/>
                  <a:gd name="T36" fmla="*/ 359 w 365"/>
                  <a:gd name="T37" fmla="*/ 5 h 86"/>
                  <a:gd name="T38" fmla="*/ 360 w 365"/>
                  <a:gd name="T39" fmla="*/ 26 h 86"/>
                  <a:gd name="T40" fmla="*/ 365 w 365"/>
                  <a:gd name="T41" fmla="*/ 46 h 86"/>
                  <a:gd name="T42" fmla="*/ 365 w 365"/>
                  <a:gd name="T43" fmla="*/ 46 h 86"/>
                  <a:gd name="T44" fmla="*/ 365 w 365"/>
                  <a:gd name="T45" fmla="*/ 49 h 86"/>
                  <a:gd name="T46" fmla="*/ 364 w 365"/>
                  <a:gd name="T47" fmla="*/ 50 h 86"/>
                  <a:gd name="T48" fmla="*/ 364 w 365"/>
                  <a:gd name="T49" fmla="*/ 50 h 86"/>
                  <a:gd name="T50" fmla="*/ 363 w 365"/>
                  <a:gd name="T51" fmla="*/ 53 h 86"/>
                  <a:gd name="T52" fmla="*/ 360 w 365"/>
                  <a:gd name="T53" fmla="*/ 53 h 86"/>
                  <a:gd name="T54" fmla="*/ 6 w 365"/>
                  <a:gd name="T55" fmla="*/ 86 h 86"/>
                  <a:gd name="T56" fmla="*/ 6 w 365"/>
                  <a:gd name="T57" fmla="*/ 86 h 86"/>
                  <a:gd name="T58" fmla="*/ 6 w 365"/>
                  <a:gd name="T59" fmla="*/ 86 h 86"/>
                  <a:gd name="T60" fmla="*/ 6 w 365"/>
                  <a:gd name="T61" fmla="*/ 86 h 86"/>
                  <a:gd name="T62" fmla="*/ 11 w 365"/>
                  <a:gd name="T63" fmla="*/ 24 h 86"/>
                  <a:gd name="T64" fmla="*/ 11 w 365"/>
                  <a:gd name="T65" fmla="*/ 75 h 86"/>
                  <a:gd name="T66" fmla="*/ 354 w 365"/>
                  <a:gd name="T67" fmla="*/ 43 h 86"/>
                  <a:gd name="T68" fmla="*/ 354 w 365"/>
                  <a:gd name="T69" fmla="*/ 43 h 86"/>
                  <a:gd name="T70" fmla="*/ 350 w 365"/>
                  <a:gd name="T71" fmla="*/ 27 h 86"/>
                  <a:gd name="T72" fmla="*/ 349 w 365"/>
                  <a:gd name="T73" fmla="*/ 11 h 86"/>
                  <a:gd name="T74" fmla="*/ 11 w 365"/>
                  <a:gd name="T75" fmla="*/ 2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65" h="86">
                    <a:moveTo>
                      <a:pt x="6" y="86"/>
                    </a:moveTo>
                    <a:lnTo>
                      <a:pt x="6" y="86"/>
                    </a:lnTo>
                    <a:lnTo>
                      <a:pt x="2" y="84"/>
                    </a:lnTo>
                    <a:lnTo>
                      <a:pt x="2" y="84"/>
                    </a:lnTo>
                    <a:lnTo>
                      <a:pt x="1" y="83"/>
                    </a:lnTo>
                    <a:lnTo>
                      <a:pt x="0" y="80"/>
                    </a:lnTo>
                    <a:lnTo>
                      <a:pt x="0" y="19"/>
                    </a:lnTo>
                    <a:lnTo>
                      <a:pt x="0" y="19"/>
                    </a:lnTo>
                    <a:lnTo>
                      <a:pt x="1" y="17"/>
                    </a:lnTo>
                    <a:lnTo>
                      <a:pt x="2" y="15"/>
                    </a:lnTo>
                    <a:lnTo>
                      <a:pt x="3" y="14"/>
                    </a:lnTo>
                    <a:lnTo>
                      <a:pt x="5" y="14"/>
                    </a:lnTo>
                    <a:lnTo>
                      <a:pt x="353" y="0"/>
                    </a:lnTo>
                    <a:lnTo>
                      <a:pt x="353" y="0"/>
                    </a:lnTo>
                    <a:lnTo>
                      <a:pt x="355" y="0"/>
                    </a:lnTo>
                    <a:lnTo>
                      <a:pt x="356" y="1"/>
                    </a:lnTo>
                    <a:lnTo>
                      <a:pt x="358" y="4"/>
                    </a:lnTo>
                    <a:lnTo>
                      <a:pt x="359" y="5"/>
                    </a:lnTo>
                    <a:lnTo>
                      <a:pt x="359" y="5"/>
                    </a:lnTo>
                    <a:lnTo>
                      <a:pt x="360" y="26"/>
                    </a:lnTo>
                    <a:lnTo>
                      <a:pt x="365" y="46"/>
                    </a:lnTo>
                    <a:lnTo>
                      <a:pt x="365" y="46"/>
                    </a:lnTo>
                    <a:lnTo>
                      <a:pt x="365" y="49"/>
                    </a:lnTo>
                    <a:lnTo>
                      <a:pt x="364" y="50"/>
                    </a:lnTo>
                    <a:lnTo>
                      <a:pt x="364" y="50"/>
                    </a:lnTo>
                    <a:lnTo>
                      <a:pt x="363" y="53"/>
                    </a:lnTo>
                    <a:lnTo>
                      <a:pt x="360" y="53"/>
                    </a:lnTo>
                    <a:lnTo>
                      <a:pt x="6" y="86"/>
                    </a:lnTo>
                    <a:lnTo>
                      <a:pt x="6" y="86"/>
                    </a:lnTo>
                    <a:lnTo>
                      <a:pt x="6" y="86"/>
                    </a:lnTo>
                    <a:lnTo>
                      <a:pt x="6" y="86"/>
                    </a:lnTo>
                    <a:close/>
                    <a:moveTo>
                      <a:pt x="11" y="24"/>
                    </a:moveTo>
                    <a:lnTo>
                      <a:pt x="11" y="75"/>
                    </a:lnTo>
                    <a:lnTo>
                      <a:pt x="354" y="43"/>
                    </a:lnTo>
                    <a:lnTo>
                      <a:pt x="354" y="43"/>
                    </a:lnTo>
                    <a:lnTo>
                      <a:pt x="350" y="27"/>
                    </a:lnTo>
                    <a:lnTo>
                      <a:pt x="349" y="11"/>
                    </a:lnTo>
                    <a:lnTo>
                      <a:pt x="11" y="24"/>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72" name="Freeform 64"/>
              <p:cNvSpPr>
                <a:spLocks noEditPoints="1"/>
              </p:cNvSpPr>
              <p:nvPr/>
            </p:nvSpPr>
            <p:spPr bwMode="auto">
              <a:xfrm>
                <a:off x="3223243" y="3446617"/>
                <a:ext cx="373303" cy="87716"/>
              </a:xfrm>
              <a:custGeom>
                <a:avLst/>
                <a:gdLst>
                  <a:gd name="T0" fmla="*/ 354 w 365"/>
                  <a:gd name="T1" fmla="*/ 87 h 87"/>
                  <a:gd name="T2" fmla="*/ 354 w 365"/>
                  <a:gd name="T3" fmla="*/ 87 h 87"/>
                  <a:gd name="T4" fmla="*/ 353 w 365"/>
                  <a:gd name="T5" fmla="*/ 87 h 87"/>
                  <a:gd name="T6" fmla="*/ 5 w 365"/>
                  <a:gd name="T7" fmla="*/ 73 h 87"/>
                  <a:gd name="T8" fmla="*/ 5 w 365"/>
                  <a:gd name="T9" fmla="*/ 73 h 87"/>
                  <a:gd name="T10" fmla="*/ 3 w 365"/>
                  <a:gd name="T11" fmla="*/ 72 h 87"/>
                  <a:gd name="T12" fmla="*/ 2 w 365"/>
                  <a:gd name="T13" fmla="*/ 71 h 87"/>
                  <a:gd name="T14" fmla="*/ 1 w 365"/>
                  <a:gd name="T15" fmla="*/ 69 h 87"/>
                  <a:gd name="T16" fmla="*/ 0 w 365"/>
                  <a:gd name="T17" fmla="*/ 68 h 87"/>
                  <a:gd name="T18" fmla="*/ 0 w 365"/>
                  <a:gd name="T19" fmla="*/ 5 h 87"/>
                  <a:gd name="T20" fmla="*/ 0 w 365"/>
                  <a:gd name="T21" fmla="*/ 5 h 87"/>
                  <a:gd name="T22" fmla="*/ 1 w 365"/>
                  <a:gd name="T23" fmla="*/ 4 h 87"/>
                  <a:gd name="T24" fmla="*/ 2 w 365"/>
                  <a:gd name="T25" fmla="*/ 2 h 87"/>
                  <a:gd name="T26" fmla="*/ 2 w 365"/>
                  <a:gd name="T27" fmla="*/ 2 h 87"/>
                  <a:gd name="T28" fmla="*/ 3 w 365"/>
                  <a:gd name="T29" fmla="*/ 0 h 87"/>
                  <a:gd name="T30" fmla="*/ 6 w 365"/>
                  <a:gd name="T31" fmla="*/ 0 h 87"/>
                  <a:gd name="T32" fmla="*/ 360 w 365"/>
                  <a:gd name="T33" fmla="*/ 34 h 87"/>
                  <a:gd name="T34" fmla="*/ 360 w 365"/>
                  <a:gd name="T35" fmla="*/ 34 h 87"/>
                  <a:gd name="T36" fmla="*/ 363 w 365"/>
                  <a:gd name="T37" fmla="*/ 34 h 87"/>
                  <a:gd name="T38" fmla="*/ 365 w 365"/>
                  <a:gd name="T39" fmla="*/ 37 h 87"/>
                  <a:gd name="T40" fmla="*/ 365 w 365"/>
                  <a:gd name="T41" fmla="*/ 37 h 87"/>
                  <a:gd name="T42" fmla="*/ 365 w 365"/>
                  <a:gd name="T43" fmla="*/ 38 h 87"/>
                  <a:gd name="T44" fmla="*/ 365 w 365"/>
                  <a:gd name="T45" fmla="*/ 41 h 87"/>
                  <a:gd name="T46" fmla="*/ 365 w 365"/>
                  <a:gd name="T47" fmla="*/ 41 h 87"/>
                  <a:gd name="T48" fmla="*/ 361 w 365"/>
                  <a:gd name="T49" fmla="*/ 61 h 87"/>
                  <a:gd name="T50" fmla="*/ 359 w 365"/>
                  <a:gd name="T51" fmla="*/ 82 h 87"/>
                  <a:gd name="T52" fmla="*/ 359 w 365"/>
                  <a:gd name="T53" fmla="*/ 82 h 87"/>
                  <a:gd name="T54" fmla="*/ 358 w 365"/>
                  <a:gd name="T55" fmla="*/ 83 h 87"/>
                  <a:gd name="T56" fmla="*/ 358 w 365"/>
                  <a:gd name="T57" fmla="*/ 86 h 87"/>
                  <a:gd name="T58" fmla="*/ 355 w 365"/>
                  <a:gd name="T59" fmla="*/ 86 h 87"/>
                  <a:gd name="T60" fmla="*/ 354 w 365"/>
                  <a:gd name="T61" fmla="*/ 87 h 87"/>
                  <a:gd name="T62" fmla="*/ 354 w 365"/>
                  <a:gd name="T63" fmla="*/ 87 h 87"/>
                  <a:gd name="T64" fmla="*/ 11 w 365"/>
                  <a:gd name="T65" fmla="*/ 62 h 87"/>
                  <a:gd name="T66" fmla="*/ 349 w 365"/>
                  <a:gd name="T67" fmla="*/ 76 h 87"/>
                  <a:gd name="T68" fmla="*/ 349 w 365"/>
                  <a:gd name="T69" fmla="*/ 76 h 87"/>
                  <a:gd name="T70" fmla="*/ 350 w 365"/>
                  <a:gd name="T71" fmla="*/ 59 h 87"/>
                  <a:gd name="T72" fmla="*/ 354 w 365"/>
                  <a:gd name="T73" fmla="*/ 44 h 87"/>
                  <a:gd name="T74" fmla="*/ 11 w 365"/>
                  <a:gd name="T75" fmla="*/ 12 h 87"/>
                  <a:gd name="T76" fmla="*/ 11 w 365"/>
                  <a:gd name="T77" fmla="*/ 62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5" h="87">
                    <a:moveTo>
                      <a:pt x="354" y="87"/>
                    </a:moveTo>
                    <a:lnTo>
                      <a:pt x="354" y="87"/>
                    </a:lnTo>
                    <a:lnTo>
                      <a:pt x="353" y="87"/>
                    </a:lnTo>
                    <a:lnTo>
                      <a:pt x="5" y="73"/>
                    </a:lnTo>
                    <a:lnTo>
                      <a:pt x="5" y="73"/>
                    </a:lnTo>
                    <a:lnTo>
                      <a:pt x="3" y="72"/>
                    </a:lnTo>
                    <a:lnTo>
                      <a:pt x="2" y="71"/>
                    </a:lnTo>
                    <a:lnTo>
                      <a:pt x="1" y="69"/>
                    </a:lnTo>
                    <a:lnTo>
                      <a:pt x="0" y="68"/>
                    </a:lnTo>
                    <a:lnTo>
                      <a:pt x="0" y="5"/>
                    </a:lnTo>
                    <a:lnTo>
                      <a:pt x="0" y="5"/>
                    </a:lnTo>
                    <a:lnTo>
                      <a:pt x="1" y="4"/>
                    </a:lnTo>
                    <a:lnTo>
                      <a:pt x="2" y="2"/>
                    </a:lnTo>
                    <a:lnTo>
                      <a:pt x="2" y="2"/>
                    </a:lnTo>
                    <a:lnTo>
                      <a:pt x="3" y="0"/>
                    </a:lnTo>
                    <a:lnTo>
                      <a:pt x="6" y="0"/>
                    </a:lnTo>
                    <a:lnTo>
                      <a:pt x="360" y="34"/>
                    </a:lnTo>
                    <a:lnTo>
                      <a:pt x="360" y="34"/>
                    </a:lnTo>
                    <a:lnTo>
                      <a:pt x="363" y="34"/>
                    </a:lnTo>
                    <a:lnTo>
                      <a:pt x="365" y="37"/>
                    </a:lnTo>
                    <a:lnTo>
                      <a:pt x="365" y="37"/>
                    </a:lnTo>
                    <a:lnTo>
                      <a:pt x="365" y="38"/>
                    </a:lnTo>
                    <a:lnTo>
                      <a:pt x="365" y="41"/>
                    </a:lnTo>
                    <a:lnTo>
                      <a:pt x="365" y="41"/>
                    </a:lnTo>
                    <a:lnTo>
                      <a:pt x="361" y="61"/>
                    </a:lnTo>
                    <a:lnTo>
                      <a:pt x="359" y="82"/>
                    </a:lnTo>
                    <a:lnTo>
                      <a:pt x="359" y="82"/>
                    </a:lnTo>
                    <a:lnTo>
                      <a:pt x="358" y="83"/>
                    </a:lnTo>
                    <a:lnTo>
                      <a:pt x="358" y="86"/>
                    </a:lnTo>
                    <a:lnTo>
                      <a:pt x="355" y="86"/>
                    </a:lnTo>
                    <a:lnTo>
                      <a:pt x="354" y="87"/>
                    </a:lnTo>
                    <a:lnTo>
                      <a:pt x="354" y="87"/>
                    </a:lnTo>
                    <a:close/>
                    <a:moveTo>
                      <a:pt x="11" y="62"/>
                    </a:moveTo>
                    <a:lnTo>
                      <a:pt x="349" y="76"/>
                    </a:lnTo>
                    <a:lnTo>
                      <a:pt x="349" y="76"/>
                    </a:lnTo>
                    <a:lnTo>
                      <a:pt x="350" y="59"/>
                    </a:lnTo>
                    <a:lnTo>
                      <a:pt x="354" y="44"/>
                    </a:lnTo>
                    <a:lnTo>
                      <a:pt x="11" y="12"/>
                    </a:lnTo>
                    <a:lnTo>
                      <a:pt x="11" y="62"/>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73" name="Freeform 65"/>
              <p:cNvSpPr>
                <a:spLocks noEditPoints="1"/>
              </p:cNvSpPr>
              <p:nvPr/>
            </p:nvSpPr>
            <p:spPr bwMode="auto">
              <a:xfrm>
                <a:off x="3937211" y="3446617"/>
                <a:ext cx="371262" cy="87716"/>
              </a:xfrm>
              <a:custGeom>
                <a:avLst/>
                <a:gdLst>
                  <a:gd name="T0" fmla="*/ 13 w 366"/>
                  <a:gd name="T1" fmla="*/ 87 h 87"/>
                  <a:gd name="T2" fmla="*/ 13 w 366"/>
                  <a:gd name="T3" fmla="*/ 87 h 87"/>
                  <a:gd name="T4" fmla="*/ 11 w 366"/>
                  <a:gd name="T5" fmla="*/ 86 h 87"/>
                  <a:gd name="T6" fmla="*/ 9 w 366"/>
                  <a:gd name="T7" fmla="*/ 86 h 87"/>
                  <a:gd name="T8" fmla="*/ 8 w 366"/>
                  <a:gd name="T9" fmla="*/ 83 h 87"/>
                  <a:gd name="T10" fmla="*/ 8 w 366"/>
                  <a:gd name="T11" fmla="*/ 82 h 87"/>
                  <a:gd name="T12" fmla="*/ 8 w 366"/>
                  <a:gd name="T13" fmla="*/ 82 h 87"/>
                  <a:gd name="T14" fmla="*/ 5 w 366"/>
                  <a:gd name="T15" fmla="*/ 61 h 87"/>
                  <a:gd name="T16" fmla="*/ 1 w 366"/>
                  <a:gd name="T17" fmla="*/ 41 h 87"/>
                  <a:gd name="T18" fmla="*/ 1 w 366"/>
                  <a:gd name="T19" fmla="*/ 41 h 87"/>
                  <a:gd name="T20" fmla="*/ 0 w 366"/>
                  <a:gd name="T21" fmla="*/ 38 h 87"/>
                  <a:gd name="T22" fmla="*/ 1 w 366"/>
                  <a:gd name="T23" fmla="*/ 37 h 87"/>
                  <a:gd name="T24" fmla="*/ 1 w 366"/>
                  <a:gd name="T25" fmla="*/ 37 h 87"/>
                  <a:gd name="T26" fmla="*/ 4 w 366"/>
                  <a:gd name="T27" fmla="*/ 34 h 87"/>
                  <a:gd name="T28" fmla="*/ 5 w 366"/>
                  <a:gd name="T29" fmla="*/ 34 h 87"/>
                  <a:gd name="T30" fmla="*/ 361 w 366"/>
                  <a:gd name="T31" fmla="*/ 0 h 87"/>
                  <a:gd name="T32" fmla="*/ 361 w 366"/>
                  <a:gd name="T33" fmla="*/ 0 h 87"/>
                  <a:gd name="T34" fmla="*/ 362 w 366"/>
                  <a:gd name="T35" fmla="*/ 0 h 87"/>
                  <a:gd name="T36" fmla="*/ 365 w 366"/>
                  <a:gd name="T37" fmla="*/ 2 h 87"/>
                  <a:gd name="T38" fmla="*/ 365 w 366"/>
                  <a:gd name="T39" fmla="*/ 2 h 87"/>
                  <a:gd name="T40" fmla="*/ 366 w 366"/>
                  <a:gd name="T41" fmla="*/ 4 h 87"/>
                  <a:gd name="T42" fmla="*/ 366 w 366"/>
                  <a:gd name="T43" fmla="*/ 5 h 87"/>
                  <a:gd name="T44" fmla="*/ 366 w 366"/>
                  <a:gd name="T45" fmla="*/ 68 h 87"/>
                  <a:gd name="T46" fmla="*/ 366 w 366"/>
                  <a:gd name="T47" fmla="*/ 68 h 87"/>
                  <a:gd name="T48" fmla="*/ 366 w 366"/>
                  <a:gd name="T49" fmla="*/ 69 h 87"/>
                  <a:gd name="T50" fmla="*/ 365 w 366"/>
                  <a:gd name="T51" fmla="*/ 71 h 87"/>
                  <a:gd name="T52" fmla="*/ 363 w 366"/>
                  <a:gd name="T53" fmla="*/ 72 h 87"/>
                  <a:gd name="T54" fmla="*/ 361 w 366"/>
                  <a:gd name="T55" fmla="*/ 73 h 87"/>
                  <a:gd name="T56" fmla="*/ 13 w 366"/>
                  <a:gd name="T57" fmla="*/ 87 h 87"/>
                  <a:gd name="T58" fmla="*/ 13 w 366"/>
                  <a:gd name="T59" fmla="*/ 87 h 87"/>
                  <a:gd name="T60" fmla="*/ 13 w 366"/>
                  <a:gd name="T61" fmla="*/ 87 h 87"/>
                  <a:gd name="T62" fmla="*/ 13 w 366"/>
                  <a:gd name="T63" fmla="*/ 87 h 87"/>
                  <a:gd name="T64" fmla="*/ 13 w 366"/>
                  <a:gd name="T65" fmla="*/ 44 h 87"/>
                  <a:gd name="T66" fmla="*/ 13 w 366"/>
                  <a:gd name="T67" fmla="*/ 44 h 87"/>
                  <a:gd name="T68" fmla="*/ 17 w 366"/>
                  <a:gd name="T69" fmla="*/ 59 h 87"/>
                  <a:gd name="T70" fmla="*/ 18 w 366"/>
                  <a:gd name="T71" fmla="*/ 76 h 87"/>
                  <a:gd name="T72" fmla="*/ 356 w 366"/>
                  <a:gd name="T73" fmla="*/ 62 h 87"/>
                  <a:gd name="T74" fmla="*/ 356 w 366"/>
                  <a:gd name="T75" fmla="*/ 12 h 87"/>
                  <a:gd name="T76" fmla="*/ 13 w 366"/>
                  <a:gd name="T77" fmla="*/ 4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6" h="87">
                    <a:moveTo>
                      <a:pt x="13" y="87"/>
                    </a:moveTo>
                    <a:lnTo>
                      <a:pt x="13" y="87"/>
                    </a:lnTo>
                    <a:lnTo>
                      <a:pt x="11" y="86"/>
                    </a:lnTo>
                    <a:lnTo>
                      <a:pt x="9" y="86"/>
                    </a:lnTo>
                    <a:lnTo>
                      <a:pt x="8" y="83"/>
                    </a:lnTo>
                    <a:lnTo>
                      <a:pt x="8" y="82"/>
                    </a:lnTo>
                    <a:lnTo>
                      <a:pt x="8" y="82"/>
                    </a:lnTo>
                    <a:lnTo>
                      <a:pt x="5" y="61"/>
                    </a:lnTo>
                    <a:lnTo>
                      <a:pt x="1" y="41"/>
                    </a:lnTo>
                    <a:lnTo>
                      <a:pt x="1" y="41"/>
                    </a:lnTo>
                    <a:lnTo>
                      <a:pt x="0" y="38"/>
                    </a:lnTo>
                    <a:lnTo>
                      <a:pt x="1" y="37"/>
                    </a:lnTo>
                    <a:lnTo>
                      <a:pt x="1" y="37"/>
                    </a:lnTo>
                    <a:lnTo>
                      <a:pt x="4" y="34"/>
                    </a:lnTo>
                    <a:lnTo>
                      <a:pt x="5" y="34"/>
                    </a:lnTo>
                    <a:lnTo>
                      <a:pt x="361" y="0"/>
                    </a:lnTo>
                    <a:lnTo>
                      <a:pt x="361" y="0"/>
                    </a:lnTo>
                    <a:lnTo>
                      <a:pt x="362" y="0"/>
                    </a:lnTo>
                    <a:lnTo>
                      <a:pt x="365" y="2"/>
                    </a:lnTo>
                    <a:lnTo>
                      <a:pt x="365" y="2"/>
                    </a:lnTo>
                    <a:lnTo>
                      <a:pt x="366" y="4"/>
                    </a:lnTo>
                    <a:lnTo>
                      <a:pt x="366" y="5"/>
                    </a:lnTo>
                    <a:lnTo>
                      <a:pt x="366" y="68"/>
                    </a:lnTo>
                    <a:lnTo>
                      <a:pt x="366" y="68"/>
                    </a:lnTo>
                    <a:lnTo>
                      <a:pt x="366" y="69"/>
                    </a:lnTo>
                    <a:lnTo>
                      <a:pt x="365" y="71"/>
                    </a:lnTo>
                    <a:lnTo>
                      <a:pt x="363" y="72"/>
                    </a:lnTo>
                    <a:lnTo>
                      <a:pt x="361" y="73"/>
                    </a:lnTo>
                    <a:lnTo>
                      <a:pt x="13" y="87"/>
                    </a:lnTo>
                    <a:lnTo>
                      <a:pt x="13" y="87"/>
                    </a:lnTo>
                    <a:lnTo>
                      <a:pt x="13" y="87"/>
                    </a:lnTo>
                    <a:lnTo>
                      <a:pt x="13" y="87"/>
                    </a:lnTo>
                    <a:close/>
                    <a:moveTo>
                      <a:pt x="13" y="44"/>
                    </a:moveTo>
                    <a:lnTo>
                      <a:pt x="13" y="44"/>
                    </a:lnTo>
                    <a:lnTo>
                      <a:pt x="17" y="59"/>
                    </a:lnTo>
                    <a:lnTo>
                      <a:pt x="18" y="76"/>
                    </a:lnTo>
                    <a:lnTo>
                      <a:pt x="356" y="62"/>
                    </a:lnTo>
                    <a:lnTo>
                      <a:pt x="356" y="12"/>
                    </a:lnTo>
                    <a:lnTo>
                      <a:pt x="13" y="44"/>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74" name="Freeform 66"/>
              <p:cNvSpPr>
                <a:spLocks noEditPoints="1"/>
              </p:cNvSpPr>
              <p:nvPr/>
            </p:nvSpPr>
            <p:spPr bwMode="auto">
              <a:xfrm>
                <a:off x="3937211" y="3538412"/>
                <a:ext cx="371262" cy="87716"/>
              </a:xfrm>
              <a:custGeom>
                <a:avLst/>
                <a:gdLst>
                  <a:gd name="T0" fmla="*/ 361 w 366"/>
                  <a:gd name="T1" fmla="*/ 86 h 86"/>
                  <a:gd name="T2" fmla="*/ 361 w 366"/>
                  <a:gd name="T3" fmla="*/ 86 h 86"/>
                  <a:gd name="T4" fmla="*/ 361 w 366"/>
                  <a:gd name="T5" fmla="*/ 86 h 86"/>
                  <a:gd name="T6" fmla="*/ 5 w 366"/>
                  <a:gd name="T7" fmla="*/ 53 h 86"/>
                  <a:gd name="T8" fmla="*/ 5 w 366"/>
                  <a:gd name="T9" fmla="*/ 53 h 86"/>
                  <a:gd name="T10" fmla="*/ 3 w 366"/>
                  <a:gd name="T11" fmla="*/ 53 h 86"/>
                  <a:gd name="T12" fmla="*/ 1 w 366"/>
                  <a:gd name="T13" fmla="*/ 50 h 86"/>
                  <a:gd name="T14" fmla="*/ 1 w 366"/>
                  <a:gd name="T15" fmla="*/ 50 h 86"/>
                  <a:gd name="T16" fmla="*/ 0 w 366"/>
                  <a:gd name="T17" fmla="*/ 49 h 86"/>
                  <a:gd name="T18" fmla="*/ 1 w 366"/>
                  <a:gd name="T19" fmla="*/ 46 h 86"/>
                  <a:gd name="T20" fmla="*/ 1 w 366"/>
                  <a:gd name="T21" fmla="*/ 46 h 86"/>
                  <a:gd name="T22" fmla="*/ 5 w 366"/>
                  <a:gd name="T23" fmla="*/ 26 h 86"/>
                  <a:gd name="T24" fmla="*/ 8 w 366"/>
                  <a:gd name="T25" fmla="*/ 5 h 86"/>
                  <a:gd name="T26" fmla="*/ 8 w 366"/>
                  <a:gd name="T27" fmla="*/ 5 h 86"/>
                  <a:gd name="T28" fmla="*/ 8 w 366"/>
                  <a:gd name="T29" fmla="*/ 4 h 86"/>
                  <a:gd name="T30" fmla="*/ 9 w 366"/>
                  <a:gd name="T31" fmla="*/ 1 h 86"/>
                  <a:gd name="T32" fmla="*/ 13 w 366"/>
                  <a:gd name="T33" fmla="*/ 0 h 86"/>
                  <a:gd name="T34" fmla="*/ 361 w 366"/>
                  <a:gd name="T35" fmla="*/ 14 h 86"/>
                  <a:gd name="T36" fmla="*/ 361 w 366"/>
                  <a:gd name="T37" fmla="*/ 14 h 86"/>
                  <a:gd name="T38" fmla="*/ 363 w 366"/>
                  <a:gd name="T39" fmla="*/ 14 h 86"/>
                  <a:gd name="T40" fmla="*/ 365 w 366"/>
                  <a:gd name="T41" fmla="*/ 15 h 86"/>
                  <a:gd name="T42" fmla="*/ 366 w 366"/>
                  <a:gd name="T43" fmla="*/ 17 h 86"/>
                  <a:gd name="T44" fmla="*/ 366 w 366"/>
                  <a:gd name="T45" fmla="*/ 19 h 86"/>
                  <a:gd name="T46" fmla="*/ 366 w 366"/>
                  <a:gd name="T47" fmla="*/ 80 h 86"/>
                  <a:gd name="T48" fmla="*/ 366 w 366"/>
                  <a:gd name="T49" fmla="*/ 80 h 86"/>
                  <a:gd name="T50" fmla="*/ 366 w 366"/>
                  <a:gd name="T51" fmla="*/ 83 h 86"/>
                  <a:gd name="T52" fmla="*/ 365 w 366"/>
                  <a:gd name="T53" fmla="*/ 84 h 86"/>
                  <a:gd name="T54" fmla="*/ 365 w 366"/>
                  <a:gd name="T55" fmla="*/ 84 h 86"/>
                  <a:gd name="T56" fmla="*/ 361 w 366"/>
                  <a:gd name="T57" fmla="*/ 86 h 86"/>
                  <a:gd name="T58" fmla="*/ 361 w 366"/>
                  <a:gd name="T59" fmla="*/ 86 h 86"/>
                  <a:gd name="T60" fmla="*/ 13 w 366"/>
                  <a:gd name="T61" fmla="*/ 43 h 86"/>
                  <a:gd name="T62" fmla="*/ 356 w 366"/>
                  <a:gd name="T63" fmla="*/ 75 h 86"/>
                  <a:gd name="T64" fmla="*/ 356 w 366"/>
                  <a:gd name="T65" fmla="*/ 24 h 86"/>
                  <a:gd name="T66" fmla="*/ 18 w 366"/>
                  <a:gd name="T67" fmla="*/ 11 h 86"/>
                  <a:gd name="T68" fmla="*/ 18 w 366"/>
                  <a:gd name="T69" fmla="*/ 11 h 86"/>
                  <a:gd name="T70" fmla="*/ 17 w 366"/>
                  <a:gd name="T71" fmla="*/ 27 h 86"/>
                  <a:gd name="T72" fmla="*/ 13 w 366"/>
                  <a:gd name="T73" fmla="*/ 43 h 86"/>
                  <a:gd name="T74" fmla="*/ 13 w 366"/>
                  <a:gd name="T75" fmla="*/ 4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66" h="86">
                    <a:moveTo>
                      <a:pt x="361" y="86"/>
                    </a:moveTo>
                    <a:lnTo>
                      <a:pt x="361" y="86"/>
                    </a:lnTo>
                    <a:lnTo>
                      <a:pt x="361" y="86"/>
                    </a:lnTo>
                    <a:lnTo>
                      <a:pt x="5" y="53"/>
                    </a:lnTo>
                    <a:lnTo>
                      <a:pt x="5" y="53"/>
                    </a:lnTo>
                    <a:lnTo>
                      <a:pt x="3" y="53"/>
                    </a:lnTo>
                    <a:lnTo>
                      <a:pt x="1" y="50"/>
                    </a:lnTo>
                    <a:lnTo>
                      <a:pt x="1" y="50"/>
                    </a:lnTo>
                    <a:lnTo>
                      <a:pt x="0" y="49"/>
                    </a:lnTo>
                    <a:lnTo>
                      <a:pt x="1" y="46"/>
                    </a:lnTo>
                    <a:lnTo>
                      <a:pt x="1" y="46"/>
                    </a:lnTo>
                    <a:lnTo>
                      <a:pt x="5" y="26"/>
                    </a:lnTo>
                    <a:lnTo>
                      <a:pt x="8" y="5"/>
                    </a:lnTo>
                    <a:lnTo>
                      <a:pt x="8" y="5"/>
                    </a:lnTo>
                    <a:lnTo>
                      <a:pt x="8" y="4"/>
                    </a:lnTo>
                    <a:lnTo>
                      <a:pt x="9" y="1"/>
                    </a:lnTo>
                    <a:lnTo>
                      <a:pt x="13" y="0"/>
                    </a:lnTo>
                    <a:lnTo>
                      <a:pt x="361" y="14"/>
                    </a:lnTo>
                    <a:lnTo>
                      <a:pt x="361" y="14"/>
                    </a:lnTo>
                    <a:lnTo>
                      <a:pt x="363" y="14"/>
                    </a:lnTo>
                    <a:lnTo>
                      <a:pt x="365" y="15"/>
                    </a:lnTo>
                    <a:lnTo>
                      <a:pt x="366" y="17"/>
                    </a:lnTo>
                    <a:lnTo>
                      <a:pt x="366" y="19"/>
                    </a:lnTo>
                    <a:lnTo>
                      <a:pt x="366" y="80"/>
                    </a:lnTo>
                    <a:lnTo>
                      <a:pt x="366" y="80"/>
                    </a:lnTo>
                    <a:lnTo>
                      <a:pt x="366" y="83"/>
                    </a:lnTo>
                    <a:lnTo>
                      <a:pt x="365" y="84"/>
                    </a:lnTo>
                    <a:lnTo>
                      <a:pt x="365" y="84"/>
                    </a:lnTo>
                    <a:lnTo>
                      <a:pt x="361" y="86"/>
                    </a:lnTo>
                    <a:lnTo>
                      <a:pt x="361" y="86"/>
                    </a:lnTo>
                    <a:close/>
                    <a:moveTo>
                      <a:pt x="13" y="43"/>
                    </a:moveTo>
                    <a:lnTo>
                      <a:pt x="356" y="75"/>
                    </a:lnTo>
                    <a:lnTo>
                      <a:pt x="356" y="24"/>
                    </a:lnTo>
                    <a:lnTo>
                      <a:pt x="18" y="11"/>
                    </a:lnTo>
                    <a:lnTo>
                      <a:pt x="18" y="11"/>
                    </a:lnTo>
                    <a:lnTo>
                      <a:pt x="17" y="27"/>
                    </a:lnTo>
                    <a:lnTo>
                      <a:pt x="13" y="43"/>
                    </a:lnTo>
                    <a:lnTo>
                      <a:pt x="13" y="43"/>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75" name="Freeform 67"/>
              <p:cNvSpPr>
                <a:spLocks noEditPoints="1"/>
              </p:cNvSpPr>
              <p:nvPr/>
            </p:nvSpPr>
            <p:spPr bwMode="auto">
              <a:xfrm>
                <a:off x="3849494" y="3091672"/>
                <a:ext cx="287626" cy="316187"/>
              </a:xfrm>
              <a:custGeom>
                <a:avLst/>
                <a:gdLst>
                  <a:gd name="T0" fmla="*/ 39 w 281"/>
                  <a:gd name="T1" fmla="*/ 311 h 311"/>
                  <a:gd name="T2" fmla="*/ 39 w 281"/>
                  <a:gd name="T3" fmla="*/ 311 h 311"/>
                  <a:gd name="T4" fmla="*/ 38 w 281"/>
                  <a:gd name="T5" fmla="*/ 311 h 311"/>
                  <a:gd name="T6" fmla="*/ 35 w 281"/>
                  <a:gd name="T7" fmla="*/ 309 h 311"/>
                  <a:gd name="T8" fmla="*/ 35 w 281"/>
                  <a:gd name="T9" fmla="*/ 309 h 311"/>
                  <a:gd name="T10" fmla="*/ 20 w 281"/>
                  <a:gd name="T11" fmla="*/ 296 h 311"/>
                  <a:gd name="T12" fmla="*/ 3 w 281"/>
                  <a:gd name="T13" fmla="*/ 284 h 311"/>
                  <a:gd name="T14" fmla="*/ 3 w 281"/>
                  <a:gd name="T15" fmla="*/ 284 h 311"/>
                  <a:gd name="T16" fmla="*/ 0 w 281"/>
                  <a:gd name="T17" fmla="*/ 283 h 311"/>
                  <a:gd name="T18" fmla="*/ 0 w 281"/>
                  <a:gd name="T19" fmla="*/ 282 h 311"/>
                  <a:gd name="T20" fmla="*/ 0 w 281"/>
                  <a:gd name="T21" fmla="*/ 282 h 311"/>
                  <a:gd name="T22" fmla="*/ 0 w 281"/>
                  <a:gd name="T23" fmla="*/ 279 h 311"/>
                  <a:gd name="T24" fmla="*/ 0 w 281"/>
                  <a:gd name="T25" fmla="*/ 277 h 311"/>
                  <a:gd name="T26" fmla="*/ 227 w 281"/>
                  <a:gd name="T27" fmla="*/ 3 h 311"/>
                  <a:gd name="T28" fmla="*/ 227 w 281"/>
                  <a:gd name="T29" fmla="*/ 3 h 311"/>
                  <a:gd name="T30" fmla="*/ 230 w 281"/>
                  <a:gd name="T31" fmla="*/ 2 h 311"/>
                  <a:gd name="T32" fmla="*/ 231 w 281"/>
                  <a:gd name="T33" fmla="*/ 0 h 311"/>
                  <a:gd name="T34" fmla="*/ 231 w 281"/>
                  <a:gd name="T35" fmla="*/ 0 h 311"/>
                  <a:gd name="T36" fmla="*/ 234 w 281"/>
                  <a:gd name="T37" fmla="*/ 0 h 311"/>
                  <a:gd name="T38" fmla="*/ 236 w 281"/>
                  <a:gd name="T39" fmla="*/ 2 h 311"/>
                  <a:gd name="T40" fmla="*/ 279 w 281"/>
                  <a:gd name="T41" fmla="*/ 46 h 311"/>
                  <a:gd name="T42" fmla="*/ 279 w 281"/>
                  <a:gd name="T43" fmla="*/ 46 h 311"/>
                  <a:gd name="T44" fmla="*/ 280 w 281"/>
                  <a:gd name="T45" fmla="*/ 47 h 311"/>
                  <a:gd name="T46" fmla="*/ 281 w 281"/>
                  <a:gd name="T47" fmla="*/ 49 h 311"/>
                  <a:gd name="T48" fmla="*/ 280 w 281"/>
                  <a:gd name="T49" fmla="*/ 52 h 311"/>
                  <a:gd name="T50" fmla="*/ 279 w 281"/>
                  <a:gd name="T51" fmla="*/ 53 h 311"/>
                  <a:gd name="T52" fmla="*/ 43 w 281"/>
                  <a:gd name="T53" fmla="*/ 308 h 311"/>
                  <a:gd name="T54" fmla="*/ 43 w 281"/>
                  <a:gd name="T55" fmla="*/ 308 h 311"/>
                  <a:gd name="T56" fmla="*/ 41 w 281"/>
                  <a:gd name="T57" fmla="*/ 311 h 311"/>
                  <a:gd name="T58" fmla="*/ 39 w 281"/>
                  <a:gd name="T59" fmla="*/ 311 h 311"/>
                  <a:gd name="T60" fmla="*/ 39 w 281"/>
                  <a:gd name="T61" fmla="*/ 311 h 311"/>
                  <a:gd name="T62" fmla="*/ 13 w 281"/>
                  <a:gd name="T63" fmla="*/ 279 h 311"/>
                  <a:gd name="T64" fmla="*/ 13 w 281"/>
                  <a:gd name="T65" fmla="*/ 279 h 311"/>
                  <a:gd name="T66" fmla="*/ 26 w 281"/>
                  <a:gd name="T67" fmla="*/ 288 h 311"/>
                  <a:gd name="T68" fmla="*/ 39 w 281"/>
                  <a:gd name="T69" fmla="*/ 298 h 311"/>
                  <a:gd name="T70" fmla="*/ 268 w 281"/>
                  <a:gd name="T71" fmla="*/ 49 h 311"/>
                  <a:gd name="T72" fmla="*/ 232 w 281"/>
                  <a:gd name="T73" fmla="*/ 14 h 311"/>
                  <a:gd name="T74" fmla="*/ 13 w 281"/>
                  <a:gd name="T75" fmla="*/ 27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1" h="311">
                    <a:moveTo>
                      <a:pt x="39" y="311"/>
                    </a:moveTo>
                    <a:lnTo>
                      <a:pt x="39" y="311"/>
                    </a:lnTo>
                    <a:lnTo>
                      <a:pt x="38" y="311"/>
                    </a:lnTo>
                    <a:lnTo>
                      <a:pt x="35" y="309"/>
                    </a:lnTo>
                    <a:lnTo>
                      <a:pt x="35" y="309"/>
                    </a:lnTo>
                    <a:lnTo>
                      <a:pt x="20" y="296"/>
                    </a:lnTo>
                    <a:lnTo>
                      <a:pt x="3" y="284"/>
                    </a:lnTo>
                    <a:lnTo>
                      <a:pt x="3" y="284"/>
                    </a:lnTo>
                    <a:lnTo>
                      <a:pt x="0" y="283"/>
                    </a:lnTo>
                    <a:lnTo>
                      <a:pt x="0" y="282"/>
                    </a:lnTo>
                    <a:lnTo>
                      <a:pt x="0" y="282"/>
                    </a:lnTo>
                    <a:lnTo>
                      <a:pt x="0" y="279"/>
                    </a:lnTo>
                    <a:lnTo>
                      <a:pt x="0" y="277"/>
                    </a:lnTo>
                    <a:lnTo>
                      <a:pt x="227" y="3"/>
                    </a:lnTo>
                    <a:lnTo>
                      <a:pt x="227" y="3"/>
                    </a:lnTo>
                    <a:lnTo>
                      <a:pt x="230" y="2"/>
                    </a:lnTo>
                    <a:lnTo>
                      <a:pt x="231" y="0"/>
                    </a:lnTo>
                    <a:lnTo>
                      <a:pt x="231" y="0"/>
                    </a:lnTo>
                    <a:lnTo>
                      <a:pt x="234" y="0"/>
                    </a:lnTo>
                    <a:lnTo>
                      <a:pt x="236" y="2"/>
                    </a:lnTo>
                    <a:lnTo>
                      <a:pt x="279" y="46"/>
                    </a:lnTo>
                    <a:lnTo>
                      <a:pt x="279" y="46"/>
                    </a:lnTo>
                    <a:lnTo>
                      <a:pt x="280" y="47"/>
                    </a:lnTo>
                    <a:lnTo>
                      <a:pt x="281" y="49"/>
                    </a:lnTo>
                    <a:lnTo>
                      <a:pt x="280" y="52"/>
                    </a:lnTo>
                    <a:lnTo>
                      <a:pt x="279" y="53"/>
                    </a:lnTo>
                    <a:lnTo>
                      <a:pt x="43" y="308"/>
                    </a:lnTo>
                    <a:lnTo>
                      <a:pt x="43" y="308"/>
                    </a:lnTo>
                    <a:lnTo>
                      <a:pt x="41" y="311"/>
                    </a:lnTo>
                    <a:lnTo>
                      <a:pt x="39" y="311"/>
                    </a:lnTo>
                    <a:lnTo>
                      <a:pt x="39" y="311"/>
                    </a:lnTo>
                    <a:close/>
                    <a:moveTo>
                      <a:pt x="13" y="279"/>
                    </a:moveTo>
                    <a:lnTo>
                      <a:pt x="13" y="279"/>
                    </a:lnTo>
                    <a:lnTo>
                      <a:pt x="26" y="288"/>
                    </a:lnTo>
                    <a:lnTo>
                      <a:pt x="39" y="298"/>
                    </a:lnTo>
                    <a:lnTo>
                      <a:pt x="268" y="49"/>
                    </a:lnTo>
                    <a:lnTo>
                      <a:pt x="232" y="14"/>
                    </a:lnTo>
                    <a:lnTo>
                      <a:pt x="13" y="279"/>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76" name="Freeform 68"/>
              <p:cNvSpPr>
                <a:spLocks noEditPoints="1"/>
              </p:cNvSpPr>
              <p:nvPr/>
            </p:nvSpPr>
            <p:spPr bwMode="auto">
              <a:xfrm>
                <a:off x="3894372" y="3167150"/>
                <a:ext cx="318226" cy="285587"/>
              </a:xfrm>
              <a:custGeom>
                <a:avLst/>
                <a:gdLst>
                  <a:gd name="T0" fmla="*/ 30 w 310"/>
                  <a:gd name="T1" fmla="*/ 282 h 282"/>
                  <a:gd name="T2" fmla="*/ 30 w 310"/>
                  <a:gd name="T3" fmla="*/ 282 h 282"/>
                  <a:gd name="T4" fmla="*/ 30 w 310"/>
                  <a:gd name="T5" fmla="*/ 282 h 282"/>
                  <a:gd name="T6" fmla="*/ 30 w 310"/>
                  <a:gd name="T7" fmla="*/ 282 h 282"/>
                  <a:gd name="T8" fmla="*/ 28 w 310"/>
                  <a:gd name="T9" fmla="*/ 281 h 282"/>
                  <a:gd name="T10" fmla="*/ 26 w 310"/>
                  <a:gd name="T11" fmla="*/ 279 h 282"/>
                  <a:gd name="T12" fmla="*/ 26 w 310"/>
                  <a:gd name="T13" fmla="*/ 279 h 282"/>
                  <a:gd name="T14" fmla="*/ 15 w 310"/>
                  <a:gd name="T15" fmla="*/ 262 h 282"/>
                  <a:gd name="T16" fmla="*/ 1 w 310"/>
                  <a:gd name="T17" fmla="*/ 245 h 282"/>
                  <a:gd name="T18" fmla="*/ 1 w 310"/>
                  <a:gd name="T19" fmla="*/ 245 h 282"/>
                  <a:gd name="T20" fmla="*/ 1 w 310"/>
                  <a:gd name="T21" fmla="*/ 243 h 282"/>
                  <a:gd name="T22" fmla="*/ 0 w 310"/>
                  <a:gd name="T23" fmla="*/ 242 h 282"/>
                  <a:gd name="T24" fmla="*/ 1 w 310"/>
                  <a:gd name="T25" fmla="*/ 239 h 282"/>
                  <a:gd name="T26" fmla="*/ 2 w 310"/>
                  <a:gd name="T27" fmla="*/ 238 h 282"/>
                  <a:gd name="T28" fmla="*/ 258 w 310"/>
                  <a:gd name="T29" fmla="*/ 2 h 282"/>
                  <a:gd name="T30" fmla="*/ 258 w 310"/>
                  <a:gd name="T31" fmla="*/ 2 h 282"/>
                  <a:gd name="T32" fmla="*/ 260 w 310"/>
                  <a:gd name="T33" fmla="*/ 0 h 282"/>
                  <a:gd name="T34" fmla="*/ 261 w 310"/>
                  <a:gd name="T35" fmla="*/ 0 h 282"/>
                  <a:gd name="T36" fmla="*/ 264 w 310"/>
                  <a:gd name="T37" fmla="*/ 0 h 282"/>
                  <a:gd name="T38" fmla="*/ 265 w 310"/>
                  <a:gd name="T39" fmla="*/ 2 h 282"/>
                  <a:gd name="T40" fmla="*/ 309 w 310"/>
                  <a:gd name="T41" fmla="*/ 46 h 282"/>
                  <a:gd name="T42" fmla="*/ 309 w 310"/>
                  <a:gd name="T43" fmla="*/ 46 h 282"/>
                  <a:gd name="T44" fmla="*/ 310 w 310"/>
                  <a:gd name="T45" fmla="*/ 47 h 282"/>
                  <a:gd name="T46" fmla="*/ 310 w 310"/>
                  <a:gd name="T47" fmla="*/ 49 h 282"/>
                  <a:gd name="T48" fmla="*/ 310 w 310"/>
                  <a:gd name="T49" fmla="*/ 49 h 282"/>
                  <a:gd name="T50" fmla="*/ 310 w 310"/>
                  <a:gd name="T51" fmla="*/ 51 h 282"/>
                  <a:gd name="T52" fmla="*/ 309 w 310"/>
                  <a:gd name="T53" fmla="*/ 53 h 282"/>
                  <a:gd name="T54" fmla="*/ 34 w 310"/>
                  <a:gd name="T55" fmla="*/ 281 h 282"/>
                  <a:gd name="T56" fmla="*/ 34 w 310"/>
                  <a:gd name="T57" fmla="*/ 281 h 282"/>
                  <a:gd name="T58" fmla="*/ 30 w 310"/>
                  <a:gd name="T59" fmla="*/ 282 h 282"/>
                  <a:gd name="T60" fmla="*/ 30 w 310"/>
                  <a:gd name="T61" fmla="*/ 282 h 282"/>
                  <a:gd name="T62" fmla="*/ 14 w 310"/>
                  <a:gd name="T63" fmla="*/ 242 h 282"/>
                  <a:gd name="T64" fmla="*/ 14 w 310"/>
                  <a:gd name="T65" fmla="*/ 242 h 282"/>
                  <a:gd name="T66" fmla="*/ 24 w 310"/>
                  <a:gd name="T67" fmla="*/ 254 h 282"/>
                  <a:gd name="T68" fmla="*/ 33 w 310"/>
                  <a:gd name="T69" fmla="*/ 268 h 282"/>
                  <a:gd name="T70" fmla="*/ 298 w 310"/>
                  <a:gd name="T71" fmla="*/ 48 h 282"/>
                  <a:gd name="T72" fmla="*/ 261 w 310"/>
                  <a:gd name="T73" fmla="*/ 13 h 282"/>
                  <a:gd name="T74" fmla="*/ 14 w 310"/>
                  <a:gd name="T75" fmla="*/ 24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0" h="282">
                    <a:moveTo>
                      <a:pt x="30" y="282"/>
                    </a:moveTo>
                    <a:lnTo>
                      <a:pt x="30" y="282"/>
                    </a:lnTo>
                    <a:lnTo>
                      <a:pt x="30" y="282"/>
                    </a:lnTo>
                    <a:lnTo>
                      <a:pt x="30" y="282"/>
                    </a:lnTo>
                    <a:lnTo>
                      <a:pt x="28" y="281"/>
                    </a:lnTo>
                    <a:lnTo>
                      <a:pt x="26" y="279"/>
                    </a:lnTo>
                    <a:lnTo>
                      <a:pt x="26" y="279"/>
                    </a:lnTo>
                    <a:lnTo>
                      <a:pt x="15" y="262"/>
                    </a:lnTo>
                    <a:lnTo>
                      <a:pt x="1" y="245"/>
                    </a:lnTo>
                    <a:lnTo>
                      <a:pt x="1" y="245"/>
                    </a:lnTo>
                    <a:lnTo>
                      <a:pt x="1" y="243"/>
                    </a:lnTo>
                    <a:lnTo>
                      <a:pt x="0" y="242"/>
                    </a:lnTo>
                    <a:lnTo>
                      <a:pt x="1" y="239"/>
                    </a:lnTo>
                    <a:lnTo>
                      <a:pt x="2" y="238"/>
                    </a:lnTo>
                    <a:lnTo>
                      <a:pt x="258" y="2"/>
                    </a:lnTo>
                    <a:lnTo>
                      <a:pt x="258" y="2"/>
                    </a:lnTo>
                    <a:lnTo>
                      <a:pt x="260" y="0"/>
                    </a:lnTo>
                    <a:lnTo>
                      <a:pt x="261" y="0"/>
                    </a:lnTo>
                    <a:lnTo>
                      <a:pt x="264" y="0"/>
                    </a:lnTo>
                    <a:lnTo>
                      <a:pt x="265" y="2"/>
                    </a:lnTo>
                    <a:lnTo>
                      <a:pt x="309" y="46"/>
                    </a:lnTo>
                    <a:lnTo>
                      <a:pt x="309" y="46"/>
                    </a:lnTo>
                    <a:lnTo>
                      <a:pt x="310" y="47"/>
                    </a:lnTo>
                    <a:lnTo>
                      <a:pt x="310" y="49"/>
                    </a:lnTo>
                    <a:lnTo>
                      <a:pt x="310" y="49"/>
                    </a:lnTo>
                    <a:lnTo>
                      <a:pt x="310" y="51"/>
                    </a:lnTo>
                    <a:lnTo>
                      <a:pt x="309" y="53"/>
                    </a:lnTo>
                    <a:lnTo>
                      <a:pt x="34" y="281"/>
                    </a:lnTo>
                    <a:lnTo>
                      <a:pt x="34" y="281"/>
                    </a:lnTo>
                    <a:lnTo>
                      <a:pt x="30" y="282"/>
                    </a:lnTo>
                    <a:lnTo>
                      <a:pt x="30" y="282"/>
                    </a:lnTo>
                    <a:close/>
                    <a:moveTo>
                      <a:pt x="14" y="242"/>
                    </a:moveTo>
                    <a:lnTo>
                      <a:pt x="14" y="242"/>
                    </a:lnTo>
                    <a:lnTo>
                      <a:pt x="24" y="254"/>
                    </a:lnTo>
                    <a:lnTo>
                      <a:pt x="33" y="268"/>
                    </a:lnTo>
                    <a:lnTo>
                      <a:pt x="298" y="48"/>
                    </a:lnTo>
                    <a:lnTo>
                      <a:pt x="261" y="13"/>
                    </a:lnTo>
                    <a:lnTo>
                      <a:pt x="14" y="242"/>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77" name="Freeform 69"/>
              <p:cNvSpPr>
                <a:spLocks noEditPoints="1"/>
              </p:cNvSpPr>
              <p:nvPr/>
            </p:nvSpPr>
            <p:spPr bwMode="auto">
              <a:xfrm>
                <a:off x="3396634" y="3664888"/>
                <a:ext cx="287626" cy="316187"/>
              </a:xfrm>
              <a:custGeom>
                <a:avLst/>
                <a:gdLst>
                  <a:gd name="T0" fmla="*/ 49 w 282"/>
                  <a:gd name="T1" fmla="*/ 311 h 311"/>
                  <a:gd name="T2" fmla="*/ 49 w 282"/>
                  <a:gd name="T3" fmla="*/ 311 h 311"/>
                  <a:gd name="T4" fmla="*/ 47 w 282"/>
                  <a:gd name="T5" fmla="*/ 309 h 311"/>
                  <a:gd name="T6" fmla="*/ 45 w 282"/>
                  <a:gd name="T7" fmla="*/ 308 h 311"/>
                  <a:gd name="T8" fmla="*/ 1 w 282"/>
                  <a:gd name="T9" fmla="*/ 265 h 311"/>
                  <a:gd name="T10" fmla="*/ 1 w 282"/>
                  <a:gd name="T11" fmla="*/ 265 h 311"/>
                  <a:gd name="T12" fmla="*/ 0 w 282"/>
                  <a:gd name="T13" fmla="*/ 263 h 311"/>
                  <a:gd name="T14" fmla="*/ 0 w 282"/>
                  <a:gd name="T15" fmla="*/ 262 h 311"/>
                  <a:gd name="T16" fmla="*/ 0 w 282"/>
                  <a:gd name="T17" fmla="*/ 259 h 311"/>
                  <a:gd name="T18" fmla="*/ 1 w 282"/>
                  <a:gd name="T19" fmla="*/ 258 h 311"/>
                  <a:gd name="T20" fmla="*/ 238 w 282"/>
                  <a:gd name="T21" fmla="*/ 1 h 311"/>
                  <a:gd name="T22" fmla="*/ 238 w 282"/>
                  <a:gd name="T23" fmla="*/ 1 h 311"/>
                  <a:gd name="T24" fmla="*/ 240 w 282"/>
                  <a:gd name="T25" fmla="*/ 0 h 311"/>
                  <a:gd name="T26" fmla="*/ 241 w 282"/>
                  <a:gd name="T27" fmla="*/ 0 h 311"/>
                  <a:gd name="T28" fmla="*/ 244 w 282"/>
                  <a:gd name="T29" fmla="*/ 0 h 311"/>
                  <a:gd name="T30" fmla="*/ 245 w 282"/>
                  <a:gd name="T31" fmla="*/ 1 h 311"/>
                  <a:gd name="T32" fmla="*/ 245 w 282"/>
                  <a:gd name="T33" fmla="*/ 1 h 311"/>
                  <a:gd name="T34" fmla="*/ 262 w 282"/>
                  <a:gd name="T35" fmla="*/ 15 h 311"/>
                  <a:gd name="T36" fmla="*/ 279 w 282"/>
                  <a:gd name="T37" fmla="*/ 25 h 311"/>
                  <a:gd name="T38" fmla="*/ 279 w 282"/>
                  <a:gd name="T39" fmla="*/ 25 h 311"/>
                  <a:gd name="T40" fmla="*/ 280 w 282"/>
                  <a:gd name="T41" fmla="*/ 28 h 311"/>
                  <a:gd name="T42" fmla="*/ 282 w 282"/>
                  <a:gd name="T43" fmla="*/ 29 h 311"/>
                  <a:gd name="T44" fmla="*/ 282 w 282"/>
                  <a:gd name="T45" fmla="*/ 29 h 311"/>
                  <a:gd name="T46" fmla="*/ 282 w 282"/>
                  <a:gd name="T47" fmla="*/ 32 h 311"/>
                  <a:gd name="T48" fmla="*/ 280 w 282"/>
                  <a:gd name="T49" fmla="*/ 34 h 311"/>
                  <a:gd name="T50" fmla="*/ 53 w 282"/>
                  <a:gd name="T51" fmla="*/ 308 h 311"/>
                  <a:gd name="T52" fmla="*/ 53 w 282"/>
                  <a:gd name="T53" fmla="*/ 308 h 311"/>
                  <a:gd name="T54" fmla="*/ 52 w 282"/>
                  <a:gd name="T55" fmla="*/ 309 h 311"/>
                  <a:gd name="T56" fmla="*/ 49 w 282"/>
                  <a:gd name="T57" fmla="*/ 311 h 311"/>
                  <a:gd name="T58" fmla="*/ 49 w 282"/>
                  <a:gd name="T59" fmla="*/ 311 h 311"/>
                  <a:gd name="T60" fmla="*/ 49 w 282"/>
                  <a:gd name="T61" fmla="*/ 311 h 311"/>
                  <a:gd name="T62" fmla="*/ 49 w 282"/>
                  <a:gd name="T63" fmla="*/ 311 h 311"/>
                  <a:gd name="T64" fmla="*/ 13 w 282"/>
                  <a:gd name="T65" fmla="*/ 262 h 311"/>
                  <a:gd name="T66" fmla="*/ 49 w 282"/>
                  <a:gd name="T67" fmla="*/ 297 h 311"/>
                  <a:gd name="T68" fmla="*/ 268 w 282"/>
                  <a:gd name="T69" fmla="*/ 32 h 311"/>
                  <a:gd name="T70" fmla="*/ 268 w 282"/>
                  <a:gd name="T71" fmla="*/ 32 h 311"/>
                  <a:gd name="T72" fmla="*/ 255 w 282"/>
                  <a:gd name="T73" fmla="*/ 23 h 311"/>
                  <a:gd name="T74" fmla="*/ 243 w 282"/>
                  <a:gd name="T75" fmla="*/ 13 h 311"/>
                  <a:gd name="T76" fmla="*/ 13 w 282"/>
                  <a:gd name="T77" fmla="*/ 26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2" h="311">
                    <a:moveTo>
                      <a:pt x="49" y="311"/>
                    </a:moveTo>
                    <a:lnTo>
                      <a:pt x="49" y="311"/>
                    </a:lnTo>
                    <a:lnTo>
                      <a:pt x="47" y="309"/>
                    </a:lnTo>
                    <a:lnTo>
                      <a:pt x="45" y="308"/>
                    </a:lnTo>
                    <a:lnTo>
                      <a:pt x="1" y="265"/>
                    </a:lnTo>
                    <a:lnTo>
                      <a:pt x="1" y="265"/>
                    </a:lnTo>
                    <a:lnTo>
                      <a:pt x="0" y="263"/>
                    </a:lnTo>
                    <a:lnTo>
                      <a:pt x="0" y="262"/>
                    </a:lnTo>
                    <a:lnTo>
                      <a:pt x="0" y="259"/>
                    </a:lnTo>
                    <a:lnTo>
                      <a:pt x="1" y="258"/>
                    </a:lnTo>
                    <a:lnTo>
                      <a:pt x="238" y="1"/>
                    </a:lnTo>
                    <a:lnTo>
                      <a:pt x="238" y="1"/>
                    </a:lnTo>
                    <a:lnTo>
                      <a:pt x="240" y="0"/>
                    </a:lnTo>
                    <a:lnTo>
                      <a:pt x="241" y="0"/>
                    </a:lnTo>
                    <a:lnTo>
                      <a:pt x="244" y="0"/>
                    </a:lnTo>
                    <a:lnTo>
                      <a:pt x="245" y="1"/>
                    </a:lnTo>
                    <a:lnTo>
                      <a:pt x="245" y="1"/>
                    </a:lnTo>
                    <a:lnTo>
                      <a:pt x="262" y="15"/>
                    </a:lnTo>
                    <a:lnTo>
                      <a:pt x="279" y="25"/>
                    </a:lnTo>
                    <a:lnTo>
                      <a:pt x="279" y="25"/>
                    </a:lnTo>
                    <a:lnTo>
                      <a:pt x="280" y="28"/>
                    </a:lnTo>
                    <a:lnTo>
                      <a:pt x="282" y="29"/>
                    </a:lnTo>
                    <a:lnTo>
                      <a:pt x="282" y="29"/>
                    </a:lnTo>
                    <a:lnTo>
                      <a:pt x="282" y="32"/>
                    </a:lnTo>
                    <a:lnTo>
                      <a:pt x="280" y="34"/>
                    </a:lnTo>
                    <a:lnTo>
                      <a:pt x="53" y="308"/>
                    </a:lnTo>
                    <a:lnTo>
                      <a:pt x="53" y="308"/>
                    </a:lnTo>
                    <a:lnTo>
                      <a:pt x="52" y="309"/>
                    </a:lnTo>
                    <a:lnTo>
                      <a:pt x="49" y="311"/>
                    </a:lnTo>
                    <a:lnTo>
                      <a:pt x="49" y="311"/>
                    </a:lnTo>
                    <a:lnTo>
                      <a:pt x="49" y="311"/>
                    </a:lnTo>
                    <a:lnTo>
                      <a:pt x="49" y="311"/>
                    </a:lnTo>
                    <a:close/>
                    <a:moveTo>
                      <a:pt x="13" y="262"/>
                    </a:moveTo>
                    <a:lnTo>
                      <a:pt x="49" y="297"/>
                    </a:lnTo>
                    <a:lnTo>
                      <a:pt x="268" y="32"/>
                    </a:lnTo>
                    <a:lnTo>
                      <a:pt x="268" y="32"/>
                    </a:lnTo>
                    <a:lnTo>
                      <a:pt x="255" y="23"/>
                    </a:lnTo>
                    <a:lnTo>
                      <a:pt x="243" y="13"/>
                    </a:lnTo>
                    <a:lnTo>
                      <a:pt x="13" y="262"/>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78" name="Freeform 70"/>
              <p:cNvSpPr>
                <a:spLocks noEditPoints="1"/>
              </p:cNvSpPr>
              <p:nvPr/>
            </p:nvSpPr>
            <p:spPr bwMode="auto">
              <a:xfrm>
                <a:off x="3323198" y="3617968"/>
                <a:ext cx="314145" cy="287626"/>
              </a:xfrm>
              <a:custGeom>
                <a:avLst/>
                <a:gdLst>
                  <a:gd name="T0" fmla="*/ 48 w 309"/>
                  <a:gd name="T1" fmla="*/ 281 h 281"/>
                  <a:gd name="T2" fmla="*/ 48 w 309"/>
                  <a:gd name="T3" fmla="*/ 281 h 281"/>
                  <a:gd name="T4" fmla="*/ 47 w 309"/>
                  <a:gd name="T5" fmla="*/ 281 h 281"/>
                  <a:gd name="T6" fmla="*/ 44 w 309"/>
                  <a:gd name="T7" fmla="*/ 280 h 281"/>
                  <a:gd name="T8" fmla="*/ 2 w 309"/>
                  <a:gd name="T9" fmla="*/ 236 h 281"/>
                  <a:gd name="T10" fmla="*/ 2 w 309"/>
                  <a:gd name="T11" fmla="*/ 236 h 281"/>
                  <a:gd name="T12" fmla="*/ 0 w 309"/>
                  <a:gd name="T13" fmla="*/ 235 h 281"/>
                  <a:gd name="T14" fmla="*/ 0 w 309"/>
                  <a:gd name="T15" fmla="*/ 232 h 281"/>
                  <a:gd name="T16" fmla="*/ 0 w 309"/>
                  <a:gd name="T17" fmla="*/ 232 h 281"/>
                  <a:gd name="T18" fmla="*/ 0 w 309"/>
                  <a:gd name="T19" fmla="*/ 230 h 281"/>
                  <a:gd name="T20" fmla="*/ 2 w 309"/>
                  <a:gd name="T21" fmla="*/ 229 h 281"/>
                  <a:gd name="T22" fmla="*/ 275 w 309"/>
                  <a:gd name="T23" fmla="*/ 1 h 281"/>
                  <a:gd name="T24" fmla="*/ 275 w 309"/>
                  <a:gd name="T25" fmla="*/ 1 h 281"/>
                  <a:gd name="T26" fmla="*/ 278 w 309"/>
                  <a:gd name="T27" fmla="*/ 0 h 281"/>
                  <a:gd name="T28" fmla="*/ 280 w 309"/>
                  <a:gd name="T29" fmla="*/ 0 h 281"/>
                  <a:gd name="T30" fmla="*/ 280 w 309"/>
                  <a:gd name="T31" fmla="*/ 0 h 281"/>
                  <a:gd name="T32" fmla="*/ 283 w 309"/>
                  <a:gd name="T33" fmla="*/ 1 h 281"/>
                  <a:gd name="T34" fmla="*/ 284 w 309"/>
                  <a:gd name="T35" fmla="*/ 2 h 281"/>
                  <a:gd name="T36" fmla="*/ 284 w 309"/>
                  <a:gd name="T37" fmla="*/ 2 h 281"/>
                  <a:gd name="T38" fmla="*/ 296 w 309"/>
                  <a:gd name="T39" fmla="*/ 20 h 281"/>
                  <a:gd name="T40" fmla="*/ 308 w 309"/>
                  <a:gd name="T41" fmla="*/ 36 h 281"/>
                  <a:gd name="T42" fmla="*/ 308 w 309"/>
                  <a:gd name="T43" fmla="*/ 36 h 281"/>
                  <a:gd name="T44" fmla="*/ 309 w 309"/>
                  <a:gd name="T45" fmla="*/ 38 h 281"/>
                  <a:gd name="T46" fmla="*/ 309 w 309"/>
                  <a:gd name="T47" fmla="*/ 40 h 281"/>
                  <a:gd name="T48" fmla="*/ 309 w 309"/>
                  <a:gd name="T49" fmla="*/ 43 h 281"/>
                  <a:gd name="T50" fmla="*/ 308 w 309"/>
                  <a:gd name="T51" fmla="*/ 44 h 281"/>
                  <a:gd name="T52" fmla="*/ 52 w 309"/>
                  <a:gd name="T53" fmla="*/ 280 h 281"/>
                  <a:gd name="T54" fmla="*/ 52 w 309"/>
                  <a:gd name="T55" fmla="*/ 280 h 281"/>
                  <a:gd name="T56" fmla="*/ 51 w 309"/>
                  <a:gd name="T57" fmla="*/ 281 h 281"/>
                  <a:gd name="T58" fmla="*/ 48 w 309"/>
                  <a:gd name="T59" fmla="*/ 281 h 281"/>
                  <a:gd name="T60" fmla="*/ 48 w 309"/>
                  <a:gd name="T61" fmla="*/ 281 h 281"/>
                  <a:gd name="T62" fmla="*/ 13 w 309"/>
                  <a:gd name="T63" fmla="*/ 234 h 281"/>
                  <a:gd name="T64" fmla="*/ 49 w 309"/>
                  <a:gd name="T65" fmla="*/ 269 h 281"/>
                  <a:gd name="T66" fmla="*/ 297 w 309"/>
                  <a:gd name="T67" fmla="*/ 40 h 281"/>
                  <a:gd name="T68" fmla="*/ 297 w 309"/>
                  <a:gd name="T69" fmla="*/ 40 h 281"/>
                  <a:gd name="T70" fmla="*/ 287 w 309"/>
                  <a:gd name="T71" fmla="*/ 26 h 281"/>
                  <a:gd name="T72" fmla="*/ 278 w 309"/>
                  <a:gd name="T73" fmla="*/ 14 h 281"/>
                  <a:gd name="T74" fmla="*/ 13 w 309"/>
                  <a:gd name="T75" fmla="*/ 23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9" h="281">
                    <a:moveTo>
                      <a:pt x="48" y="281"/>
                    </a:moveTo>
                    <a:lnTo>
                      <a:pt x="48" y="281"/>
                    </a:lnTo>
                    <a:lnTo>
                      <a:pt x="47" y="281"/>
                    </a:lnTo>
                    <a:lnTo>
                      <a:pt x="44" y="280"/>
                    </a:lnTo>
                    <a:lnTo>
                      <a:pt x="2" y="236"/>
                    </a:lnTo>
                    <a:lnTo>
                      <a:pt x="2" y="236"/>
                    </a:lnTo>
                    <a:lnTo>
                      <a:pt x="0" y="235"/>
                    </a:lnTo>
                    <a:lnTo>
                      <a:pt x="0" y="232"/>
                    </a:lnTo>
                    <a:lnTo>
                      <a:pt x="0" y="232"/>
                    </a:lnTo>
                    <a:lnTo>
                      <a:pt x="0" y="230"/>
                    </a:lnTo>
                    <a:lnTo>
                      <a:pt x="2" y="229"/>
                    </a:lnTo>
                    <a:lnTo>
                      <a:pt x="275" y="1"/>
                    </a:lnTo>
                    <a:lnTo>
                      <a:pt x="275" y="1"/>
                    </a:lnTo>
                    <a:lnTo>
                      <a:pt x="278" y="0"/>
                    </a:lnTo>
                    <a:lnTo>
                      <a:pt x="280" y="0"/>
                    </a:lnTo>
                    <a:lnTo>
                      <a:pt x="280" y="0"/>
                    </a:lnTo>
                    <a:lnTo>
                      <a:pt x="283" y="1"/>
                    </a:lnTo>
                    <a:lnTo>
                      <a:pt x="284" y="2"/>
                    </a:lnTo>
                    <a:lnTo>
                      <a:pt x="284" y="2"/>
                    </a:lnTo>
                    <a:lnTo>
                      <a:pt x="296" y="20"/>
                    </a:lnTo>
                    <a:lnTo>
                      <a:pt x="308" y="36"/>
                    </a:lnTo>
                    <a:lnTo>
                      <a:pt x="308" y="36"/>
                    </a:lnTo>
                    <a:lnTo>
                      <a:pt x="309" y="38"/>
                    </a:lnTo>
                    <a:lnTo>
                      <a:pt x="309" y="40"/>
                    </a:lnTo>
                    <a:lnTo>
                      <a:pt x="309" y="43"/>
                    </a:lnTo>
                    <a:lnTo>
                      <a:pt x="308" y="44"/>
                    </a:lnTo>
                    <a:lnTo>
                      <a:pt x="52" y="280"/>
                    </a:lnTo>
                    <a:lnTo>
                      <a:pt x="52" y="280"/>
                    </a:lnTo>
                    <a:lnTo>
                      <a:pt x="51" y="281"/>
                    </a:lnTo>
                    <a:lnTo>
                      <a:pt x="48" y="281"/>
                    </a:lnTo>
                    <a:lnTo>
                      <a:pt x="48" y="281"/>
                    </a:lnTo>
                    <a:close/>
                    <a:moveTo>
                      <a:pt x="13" y="234"/>
                    </a:moveTo>
                    <a:lnTo>
                      <a:pt x="49" y="269"/>
                    </a:lnTo>
                    <a:lnTo>
                      <a:pt x="297" y="40"/>
                    </a:lnTo>
                    <a:lnTo>
                      <a:pt x="297" y="40"/>
                    </a:lnTo>
                    <a:lnTo>
                      <a:pt x="287" y="26"/>
                    </a:lnTo>
                    <a:lnTo>
                      <a:pt x="278" y="14"/>
                    </a:lnTo>
                    <a:lnTo>
                      <a:pt x="13" y="234"/>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79" name="Freeform 71"/>
              <p:cNvSpPr>
                <a:spLocks noEditPoints="1"/>
              </p:cNvSpPr>
              <p:nvPr/>
            </p:nvSpPr>
            <p:spPr bwMode="auto">
              <a:xfrm>
                <a:off x="3323198" y="3167150"/>
                <a:ext cx="314145" cy="285587"/>
              </a:xfrm>
              <a:custGeom>
                <a:avLst/>
                <a:gdLst>
                  <a:gd name="T0" fmla="*/ 279 w 309"/>
                  <a:gd name="T1" fmla="*/ 282 h 282"/>
                  <a:gd name="T2" fmla="*/ 279 w 309"/>
                  <a:gd name="T3" fmla="*/ 282 h 282"/>
                  <a:gd name="T4" fmla="*/ 275 w 309"/>
                  <a:gd name="T5" fmla="*/ 281 h 282"/>
                  <a:gd name="T6" fmla="*/ 2 w 309"/>
                  <a:gd name="T7" fmla="*/ 53 h 282"/>
                  <a:gd name="T8" fmla="*/ 2 w 309"/>
                  <a:gd name="T9" fmla="*/ 53 h 282"/>
                  <a:gd name="T10" fmla="*/ 0 w 309"/>
                  <a:gd name="T11" fmla="*/ 51 h 282"/>
                  <a:gd name="T12" fmla="*/ 0 w 309"/>
                  <a:gd name="T13" fmla="*/ 49 h 282"/>
                  <a:gd name="T14" fmla="*/ 0 w 309"/>
                  <a:gd name="T15" fmla="*/ 49 h 282"/>
                  <a:gd name="T16" fmla="*/ 0 w 309"/>
                  <a:gd name="T17" fmla="*/ 47 h 282"/>
                  <a:gd name="T18" fmla="*/ 2 w 309"/>
                  <a:gd name="T19" fmla="*/ 46 h 282"/>
                  <a:gd name="T20" fmla="*/ 44 w 309"/>
                  <a:gd name="T21" fmla="*/ 2 h 282"/>
                  <a:gd name="T22" fmla="*/ 44 w 309"/>
                  <a:gd name="T23" fmla="*/ 2 h 282"/>
                  <a:gd name="T24" fmla="*/ 47 w 309"/>
                  <a:gd name="T25" fmla="*/ 0 h 282"/>
                  <a:gd name="T26" fmla="*/ 48 w 309"/>
                  <a:gd name="T27" fmla="*/ 0 h 282"/>
                  <a:gd name="T28" fmla="*/ 51 w 309"/>
                  <a:gd name="T29" fmla="*/ 0 h 282"/>
                  <a:gd name="T30" fmla="*/ 52 w 309"/>
                  <a:gd name="T31" fmla="*/ 2 h 282"/>
                  <a:gd name="T32" fmla="*/ 308 w 309"/>
                  <a:gd name="T33" fmla="*/ 238 h 282"/>
                  <a:gd name="T34" fmla="*/ 308 w 309"/>
                  <a:gd name="T35" fmla="*/ 238 h 282"/>
                  <a:gd name="T36" fmla="*/ 309 w 309"/>
                  <a:gd name="T37" fmla="*/ 239 h 282"/>
                  <a:gd name="T38" fmla="*/ 309 w 309"/>
                  <a:gd name="T39" fmla="*/ 242 h 282"/>
                  <a:gd name="T40" fmla="*/ 309 w 309"/>
                  <a:gd name="T41" fmla="*/ 243 h 282"/>
                  <a:gd name="T42" fmla="*/ 308 w 309"/>
                  <a:gd name="T43" fmla="*/ 245 h 282"/>
                  <a:gd name="T44" fmla="*/ 308 w 309"/>
                  <a:gd name="T45" fmla="*/ 245 h 282"/>
                  <a:gd name="T46" fmla="*/ 296 w 309"/>
                  <a:gd name="T47" fmla="*/ 262 h 282"/>
                  <a:gd name="T48" fmla="*/ 284 w 309"/>
                  <a:gd name="T49" fmla="*/ 279 h 282"/>
                  <a:gd name="T50" fmla="*/ 284 w 309"/>
                  <a:gd name="T51" fmla="*/ 279 h 282"/>
                  <a:gd name="T52" fmla="*/ 283 w 309"/>
                  <a:gd name="T53" fmla="*/ 281 h 282"/>
                  <a:gd name="T54" fmla="*/ 280 w 309"/>
                  <a:gd name="T55" fmla="*/ 282 h 282"/>
                  <a:gd name="T56" fmla="*/ 280 w 309"/>
                  <a:gd name="T57" fmla="*/ 282 h 282"/>
                  <a:gd name="T58" fmla="*/ 279 w 309"/>
                  <a:gd name="T59" fmla="*/ 282 h 282"/>
                  <a:gd name="T60" fmla="*/ 279 w 309"/>
                  <a:gd name="T61" fmla="*/ 282 h 282"/>
                  <a:gd name="T62" fmla="*/ 13 w 309"/>
                  <a:gd name="T63" fmla="*/ 48 h 282"/>
                  <a:gd name="T64" fmla="*/ 278 w 309"/>
                  <a:gd name="T65" fmla="*/ 268 h 282"/>
                  <a:gd name="T66" fmla="*/ 278 w 309"/>
                  <a:gd name="T67" fmla="*/ 268 h 282"/>
                  <a:gd name="T68" fmla="*/ 287 w 309"/>
                  <a:gd name="T69" fmla="*/ 254 h 282"/>
                  <a:gd name="T70" fmla="*/ 297 w 309"/>
                  <a:gd name="T71" fmla="*/ 242 h 282"/>
                  <a:gd name="T72" fmla="*/ 49 w 309"/>
                  <a:gd name="T73" fmla="*/ 13 h 282"/>
                  <a:gd name="T74" fmla="*/ 13 w 309"/>
                  <a:gd name="T75" fmla="*/ 48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9" h="282">
                    <a:moveTo>
                      <a:pt x="279" y="282"/>
                    </a:moveTo>
                    <a:lnTo>
                      <a:pt x="279" y="282"/>
                    </a:lnTo>
                    <a:lnTo>
                      <a:pt x="275" y="281"/>
                    </a:lnTo>
                    <a:lnTo>
                      <a:pt x="2" y="53"/>
                    </a:lnTo>
                    <a:lnTo>
                      <a:pt x="2" y="53"/>
                    </a:lnTo>
                    <a:lnTo>
                      <a:pt x="0" y="51"/>
                    </a:lnTo>
                    <a:lnTo>
                      <a:pt x="0" y="49"/>
                    </a:lnTo>
                    <a:lnTo>
                      <a:pt x="0" y="49"/>
                    </a:lnTo>
                    <a:lnTo>
                      <a:pt x="0" y="47"/>
                    </a:lnTo>
                    <a:lnTo>
                      <a:pt x="2" y="46"/>
                    </a:lnTo>
                    <a:lnTo>
                      <a:pt x="44" y="2"/>
                    </a:lnTo>
                    <a:lnTo>
                      <a:pt x="44" y="2"/>
                    </a:lnTo>
                    <a:lnTo>
                      <a:pt x="47" y="0"/>
                    </a:lnTo>
                    <a:lnTo>
                      <a:pt x="48" y="0"/>
                    </a:lnTo>
                    <a:lnTo>
                      <a:pt x="51" y="0"/>
                    </a:lnTo>
                    <a:lnTo>
                      <a:pt x="52" y="2"/>
                    </a:lnTo>
                    <a:lnTo>
                      <a:pt x="308" y="238"/>
                    </a:lnTo>
                    <a:lnTo>
                      <a:pt x="308" y="238"/>
                    </a:lnTo>
                    <a:lnTo>
                      <a:pt x="309" y="239"/>
                    </a:lnTo>
                    <a:lnTo>
                      <a:pt x="309" y="242"/>
                    </a:lnTo>
                    <a:lnTo>
                      <a:pt x="309" y="243"/>
                    </a:lnTo>
                    <a:lnTo>
                      <a:pt x="308" y="245"/>
                    </a:lnTo>
                    <a:lnTo>
                      <a:pt x="308" y="245"/>
                    </a:lnTo>
                    <a:lnTo>
                      <a:pt x="296" y="262"/>
                    </a:lnTo>
                    <a:lnTo>
                      <a:pt x="284" y="279"/>
                    </a:lnTo>
                    <a:lnTo>
                      <a:pt x="284" y="279"/>
                    </a:lnTo>
                    <a:lnTo>
                      <a:pt x="283" y="281"/>
                    </a:lnTo>
                    <a:lnTo>
                      <a:pt x="280" y="282"/>
                    </a:lnTo>
                    <a:lnTo>
                      <a:pt x="280" y="282"/>
                    </a:lnTo>
                    <a:lnTo>
                      <a:pt x="279" y="282"/>
                    </a:lnTo>
                    <a:lnTo>
                      <a:pt x="279" y="282"/>
                    </a:lnTo>
                    <a:close/>
                    <a:moveTo>
                      <a:pt x="13" y="48"/>
                    </a:moveTo>
                    <a:lnTo>
                      <a:pt x="278" y="268"/>
                    </a:lnTo>
                    <a:lnTo>
                      <a:pt x="278" y="268"/>
                    </a:lnTo>
                    <a:lnTo>
                      <a:pt x="287" y="254"/>
                    </a:lnTo>
                    <a:lnTo>
                      <a:pt x="297" y="242"/>
                    </a:lnTo>
                    <a:lnTo>
                      <a:pt x="49" y="13"/>
                    </a:lnTo>
                    <a:lnTo>
                      <a:pt x="13" y="48"/>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80" name="Freeform 72"/>
              <p:cNvSpPr>
                <a:spLocks noEditPoints="1"/>
              </p:cNvSpPr>
              <p:nvPr/>
            </p:nvSpPr>
            <p:spPr bwMode="auto">
              <a:xfrm>
                <a:off x="3396634" y="3091672"/>
                <a:ext cx="287626" cy="316187"/>
              </a:xfrm>
              <a:custGeom>
                <a:avLst/>
                <a:gdLst>
                  <a:gd name="T0" fmla="*/ 241 w 282"/>
                  <a:gd name="T1" fmla="*/ 311 h 311"/>
                  <a:gd name="T2" fmla="*/ 241 w 282"/>
                  <a:gd name="T3" fmla="*/ 311 h 311"/>
                  <a:gd name="T4" fmla="*/ 240 w 282"/>
                  <a:gd name="T5" fmla="*/ 311 h 311"/>
                  <a:gd name="T6" fmla="*/ 238 w 282"/>
                  <a:gd name="T7" fmla="*/ 308 h 311"/>
                  <a:gd name="T8" fmla="*/ 1 w 282"/>
                  <a:gd name="T9" fmla="*/ 53 h 311"/>
                  <a:gd name="T10" fmla="*/ 1 w 282"/>
                  <a:gd name="T11" fmla="*/ 53 h 311"/>
                  <a:gd name="T12" fmla="*/ 0 w 282"/>
                  <a:gd name="T13" fmla="*/ 52 h 311"/>
                  <a:gd name="T14" fmla="*/ 0 w 282"/>
                  <a:gd name="T15" fmla="*/ 49 h 311"/>
                  <a:gd name="T16" fmla="*/ 0 w 282"/>
                  <a:gd name="T17" fmla="*/ 47 h 311"/>
                  <a:gd name="T18" fmla="*/ 1 w 282"/>
                  <a:gd name="T19" fmla="*/ 46 h 311"/>
                  <a:gd name="T20" fmla="*/ 45 w 282"/>
                  <a:gd name="T21" fmla="*/ 2 h 311"/>
                  <a:gd name="T22" fmla="*/ 45 w 282"/>
                  <a:gd name="T23" fmla="*/ 2 h 311"/>
                  <a:gd name="T24" fmla="*/ 47 w 282"/>
                  <a:gd name="T25" fmla="*/ 0 h 311"/>
                  <a:gd name="T26" fmla="*/ 49 w 282"/>
                  <a:gd name="T27" fmla="*/ 0 h 311"/>
                  <a:gd name="T28" fmla="*/ 49 w 282"/>
                  <a:gd name="T29" fmla="*/ 0 h 311"/>
                  <a:gd name="T30" fmla="*/ 52 w 282"/>
                  <a:gd name="T31" fmla="*/ 2 h 311"/>
                  <a:gd name="T32" fmla="*/ 53 w 282"/>
                  <a:gd name="T33" fmla="*/ 3 h 311"/>
                  <a:gd name="T34" fmla="*/ 280 w 282"/>
                  <a:gd name="T35" fmla="*/ 277 h 311"/>
                  <a:gd name="T36" fmla="*/ 280 w 282"/>
                  <a:gd name="T37" fmla="*/ 277 h 311"/>
                  <a:gd name="T38" fmla="*/ 282 w 282"/>
                  <a:gd name="T39" fmla="*/ 279 h 311"/>
                  <a:gd name="T40" fmla="*/ 282 w 282"/>
                  <a:gd name="T41" fmla="*/ 282 h 311"/>
                  <a:gd name="T42" fmla="*/ 282 w 282"/>
                  <a:gd name="T43" fmla="*/ 282 h 311"/>
                  <a:gd name="T44" fmla="*/ 280 w 282"/>
                  <a:gd name="T45" fmla="*/ 283 h 311"/>
                  <a:gd name="T46" fmla="*/ 279 w 282"/>
                  <a:gd name="T47" fmla="*/ 286 h 311"/>
                  <a:gd name="T48" fmla="*/ 279 w 282"/>
                  <a:gd name="T49" fmla="*/ 286 h 311"/>
                  <a:gd name="T50" fmla="*/ 262 w 282"/>
                  <a:gd name="T51" fmla="*/ 296 h 311"/>
                  <a:gd name="T52" fmla="*/ 245 w 282"/>
                  <a:gd name="T53" fmla="*/ 309 h 311"/>
                  <a:gd name="T54" fmla="*/ 245 w 282"/>
                  <a:gd name="T55" fmla="*/ 309 h 311"/>
                  <a:gd name="T56" fmla="*/ 244 w 282"/>
                  <a:gd name="T57" fmla="*/ 311 h 311"/>
                  <a:gd name="T58" fmla="*/ 241 w 282"/>
                  <a:gd name="T59" fmla="*/ 311 h 311"/>
                  <a:gd name="T60" fmla="*/ 241 w 282"/>
                  <a:gd name="T61" fmla="*/ 311 h 311"/>
                  <a:gd name="T62" fmla="*/ 13 w 282"/>
                  <a:gd name="T63" fmla="*/ 49 h 311"/>
                  <a:gd name="T64" fmla="*/ 243 w 282"/>
                  <a:gd name="T65" fmla="*/ 298 h 311"/>
                  <a:gd name="T66" fmla="*/ 243 w 282"/>
                  <a:gd name="T67" fmla="*/ 298 h 311"/>
                  <a:gd name="T68" fmla="*/ 255 w 282"/>
                  <a:gd name="T69" fmla="*/ 288 h 311"/>
                  <a:gd name="T70" fmla="*/ 268 w 282"/>
                  <a:gd name="T71" fmla="*/ 279 h 311"/>
                  <a:gd name="T72" fmla="*/ 49 w 282"/>
                  <a:gd name="T73" fmla="*/ 14 h 311"/>
                  <a:gd name="T74" fmla="*/ 13 w 282"/>
                  <a:gd name="T75" fmla="*/ 4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2" h="311">
                    <a:moveTo>
                      <a:pt x="241" y="311"/>
                    </a:moveTo>
                    <a:lnTo>
                      <a:pt x="241" y="311"/>
                    </a:lnTo>
                    <a:lnTo>
                      <a:pt x="240" y="311"/>
                    </a:lnTo>
                    <a:lnTo>
                      <a:pt x="238" y="308"/>
                    </a:lnTo>
                    <a:lnTo>
                      <a:pt x="1" y="53"/>
                    </a:lnTo>
                    <a:lnTo>
                      <a:pt x="1" y="53"/>
                    </a:lnTo>
                    <a:lnTo>
                      <a:pt x="0" y="52"/>
                    </a:lnTo>
                    <a:lnTo>
                      <a:pt x="0" y="49"/>
                    </a:lnTo>
                    <a:lnTo>
                      <a:pt x="0" y="47"/>
                    </a:lnTo>
                    <a:lnTo>
                      <a:pt x="1" y="46"/>
                    </a:lnTo>
                    <a:lnTo>
                      <a:pt x="45" y="2"/>
                    </a:lnTo>
                    <a:lnTo>
                      <a:pt x="45" y="2"/>
                    </a:lnTo>
                    <a:lnTo>
                      <a:pt x="47" y="0"/>
                    </a:lnTo>
                    <a:lnTo>
                      <a:pt x="49" y="0"/>
                    </a:lnTo>
                    <a:lnTo>
                      <a:pt x="49" y="0"/>
                    </a:lnTo>
                    <a:lnTo>
                      <a:pt x="52" y="2"/>
                    </a:lnTo>
                    <a:lnTo>
                      <a:pt x="53" y="3"/>
                    </a:lnTo>
                    <a:lnTo>
                      <a:pt x="280" y="277"/>
                    </a:lnTo>
                    <a:lnTo>
                      <a:pt x="280" y="277"/>
                    </a:lnTo>
                    <a:lnTo>
                      <a:pt x="282" y="279"/>
                    </a:lnTo>
                    <a:lnTo>
                      <a:pt x="282" y="282"/>
                    </a:lnTo>
                    <a:lnTo>
                      <a:pt x="282" y="282"/>
                    </a:lnTo>
                    <a:lnTo>
                      <a:pt x="280" y="283"/>
                    </a:lnTo>
                    <a:lnTo>
                      <a:pt x="279" y="286"/>
                    </a:lnTo>
                    <a:lnTo>
                      <a:pt x="279" y="286"/>
                    </a:lnTo>
                    <a:lnTo>
                      <a:pt x="262" y="296"/>
                    </a:lnTo>
                    <a:lnTo>
                      <a:pt x="245" y="309"/>
                    </a:lnTo>
                    <a:lnTo>
                      <a:pt x="245" y="309"/>
                    </a:lnTo>
                    <a:lnTo>
                      <a:pt x="244" y="311"/>
                    </a:lnTo>
                    <a:lnTo>
                      <a:pt x="241" y="311"/>
                    </a:lnTo>
                    <a:lnTo>
                      <a:pt x="241" y="311"/>
                    </a:lnTo>
                    <a:close/>
                    <a:moveTo>
                      <a:pt x="13" y="49"/>
                    </a:moveTo>
                    <a:lnTo>
                      <a:pt x="243" y="298"/>
                    </a:lnTo>
                    <a:lnTo>
                      <a:pt x="243" y="298"/>
                    </a:lnTo>
                    <a:lnTo>
                      <a:pt x="255" y="288"/>
                    </a:lnTo>
                    <a:lnTo>
                      <a:pt x="268" y="279"/>
                    </a:lnTo>
                    <a:lnTo>
                      <a:pt x="49" y="14"/>
                    </a:lnTo>
                    <a:lnTo>
                      <a:pt x="13" y="49"/>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81" name="Freeform 73"/>
              <p:cNvSpPr>
                <a:spLocks noEditPoints="1"/>
              </p:cNvSpPr>
              <p:nvPr/>
            </p:nvSpPr>
            <p:spPr bwMode="auto">
              <a:xfrm>
                <a:off x="3894372" y="3617968"/>
                <a:ext cx="318226" cy="287626"/>
              </a:xfrm>
              <a:custGeom>
                <a:avLst/>
                <a:gdLst>
                  <a:gd name="T0" fmla="*/ 261 w 310"/>
                  <a:gd name="T1" fmla="*/ 281 h 281"/>
                  <a:gd name="T2" fmla="*/ 261 w 310"/>
                  <a:gd name="T3" fmla="*/ 281 h 281"/>
                  <a:gd name="T4" fmla="*/ 260 w 310"/>
                  <a:gd name="T5" fmla="*/ 281 h 281"/>
                  <a:gd name="T6" fmla="*/ 258 w 310"/>
                  <a:gd name="T7" fmla="*/ 280 h 281"/>
                  <a:gd name="T8" fmla="*/ 2 w 310"/>
                  <a:gd name="T9" fmla="*/ 44 h 281"/>
                  <a:gd name="T10" fmla="*/ 2 w 310"/>
                  <a:gd name="T11" fmla="*/ 44 h 281"/>
                  <a:gd name="T12" fmla="*/ 1 w 310"/>
                  <a:gd name="T13" fmla="*/ 43 h 281"/>
                  <a:gd name="T14" fmla="*/ 0 w 310"/>
                  <a:gd name="T15" fmla="*/ 40 h 281"/>
                  <a:gd name="T16" fmla="*/ 1 w 310"/>
                  <a:gd name="T17" fmla="*/ 38 h 281"/>
                  <a:gd name="T18" fmla="*/ 2 w 310"/>
                  <a:gd name="T19" fmla="*/ 36 h 281"/>
                  <a:gd name="T20" fmla="*/ 2 w 310"/>
                  <a:gd name="T21" fmla="*/ 36 h 281"/>
                  <a:gd name="T22" fmla="*/ 15 w 310"/>
                  <a:gd name="T23" fmla="*/ 20 h 281"/>
                  <a:gd name="T24" fmla="*/ 26 w 310"/>
                  <a:gd name="T25" fmla="*/ 2 h 281"/>
                  <a:gd name="T26" fmla="*/ 26 w 310"/>
                  <a:gd name="T27" fmla="*/ 2 h 281"/>
                  <a:gd name="T28" fmla="*/ 28 w 310"/>
                  <a:gd name="T29" fmla="*/ 1 h 281"/>
                  <a:gd name="T30" fmla="*/ 30 w 310"/>
                  <a:gd name="T31" fmla="*/ 0 h 281"/>
                  <a:gd name="T32" fmla="*/ 30 w 310"/>
                  <a:gd name="T33" fmla="*/ 0 h 281"/>
                  <a:gd name="T34" fmla="*/ 33 w 310"/>
                  <a:gd name="T35" fmla="*/ 0 h 281"/>
                  <a:gd name="T36" fmla="*/ 34 w 310"/>
                  <a:gd name="T37" fmla="*/ 1 h 281"/>
                  <a:gd name="T38" fmla="*/ 309 w 310"/>
                  <a:gd name="T39" fmla="*/ 229 h 281"/>
                  <a:gd name="T40" fmla="*/ 309 w 310"/>
                  <a:gd name="T41" fmla="*/ 229 h 281"/>
                  <a:gd name="T42" fmla="*/ 310 w 310"/>
                  <a:gd name="T43" fmla="*/ 230 h 281"/>
                  <a:gd name="T44" fmla="*/ 310 w 310"/>
                  <a:gd name="T45" fmla="*/ 232 h 281"/>
                  <a:gd name="T46" fmla="*/ 310 w 310"/>
                  <a:gd name="T47" fmla="*/ 232 h 281"/>
                  <a:gd name="T48" fmla="*/ 310 w 310"/>
                  <a:gd name="T49" fmla="*/ 235 h 281"/>
                  <a:gd name="T50" fmla="*/ 309 w 310"/>
                  <a:gd name="T51" fmla="*/ 236 h 281"/>
                  <a:gd name="T52" fmla="*/ 265 w 310"/>
                  <a:gd name="T53" fmla="*/ 280 h 281"/>
                  <a:gd name="T54" fmla="*/ 265 w 310"/>
                  <a:gd name="T55" fmla="*/ 280 h 281"/>
                  <a:gd name="T56" fmla="*/ 264 w 310"/>
                  <a:gd name="T57" fmla="*/ 281 h 281"/>
                  <a:gd name="T58" fmla="*/ 261 w 310"/>
                  <a:gd name="T59" fmla="*/ 281 h 281"/>
                  <a:gd name="T60" fmla="*/ 261 w 310"/>
                  <a:gd name="T61" fmla="*/ 281 h 281"/>
                  <a:gd name="T62" fmla="*/ 14 w 310"/>
                  <a:gd name="T63" fmla="*/ 40 h 281"/>
                  <a:gd name="T64" fmla="*/ 261 w 310"/>
                  <a:gd name="T65" fmla="*/ 269 h 281"/>
                  <a:gd name="T66" fmla="*/ 298 w 310"/>
                  <a:gd name="T67" fmla="*/ 234 h 281"/>
                  <a:gd name="T68" fmla="*/ 33 w 310"/>
                  <a:gd name="T69" fmla="*/ 14 h 281"/>
                  <a:gd name="T70" fmla="*/ 33 w 310"/>
                  <a:gd name="T71" fmla="*/ 14 h 281"/>
                  <a:gd name="T72" fmla="*/ 24 w 310"/>
                  <a:gd name="T73" fmla="*/ 26 h 281"/>
                  <a:gd name="T74" fmla="*/ 14 w 310"/>
                  <a:gd name="T75" fmla="*/ 40 h 281"/>
                  <a:gd name="T76" fmla="*/ 14 w 310"/>
                  <a:gd name="T77" fmla="*/ 4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10" h="281">
                    <a:moveTo>
                      <a:pt x="261" y="281"/>
                    </a:moveTo>
                    <a:lnTo>
                      <a:pt x="261" y="281"/>
                    </a:lnTo>
                    <a:lnTo>
                      <a:pt x="260" y="281"/>
                    </a:lnTo>
                    <a:lnTo>
                      <a:pt x="258" y="280"/>
                    </a:lnTo>
                    <a:lnTo>
                      <a:pt x="2" y="44"/>
                    </a:lnTo>
                    <a:lnTo>
                      <a:pt x="2" y="44"/>
                    </a:lnTo>
                    <a:lnTo>
                      <a:pt x="1" y="43"/>
                    </a:lnTo>
                    <a:lnTo>
                      <a:pt x="0" y="40"/>
                    </a:lnTo>
                    <a:lnTo>
                      <a:pt x="1" y="38"/>
                    </a:lnTo>
                    <a:lnTo>
                      <a:pt x="2" y="36"/>
                    </a:lnTo>
                    <a:lnTo>
                      <a:pt x="2" y="36"/>
                    </a:lnTo>
                    <a:lnTo>
                      <a:pt x="15" y="20"/>
                    </a:lnTo>
                    <a:lnTo>
                      <a:pt x="26" y="2"/>
                    </a:lnTo>
                    <a:lnTo>
                      <a:pt x="26" y="2"/>
                    </a:lnTo>
                    <a:lnTo>
                      <a:pt x="28" y="1"/>
                    </a:lnTo>
                    <a:lnTo>
                      <a:pt x="30" y="0"/>
                    </a:lnTo>
                    <a:lnTo>
                      <a:pt x="30" y="0"/>
                    </a:lnTo>
                    <a:lnTo>
                      <a:pt x="33" y="0"/>
                    </a:lnTo>
                    <a:lnTo>
                      <a:pt x="34" y="1"/>
                    </a:lnTo>
                    <a:lnTo>
                      <a:pt x="309" y="229"/>
                    </a:lnTo>
                    <a:lnTo>
                      <a:pt x="309" y="229"/>
                    </a:lnTo>
                    <a:lnTo>
                      <a:pt x="310" y="230"/>
                    </a:lnTo>
                    <a:lnTo>
                      <a:pt x="310" y="232"/>
                    </a:lnTo>
                    <a:lnTo>
                      <a:pt x="310" y="232"/>
                    </a:lnTo>
                    <a:lnTo>
                      <a:pt x="310" y="235"/>
                    </a:lnTo>
                    <a:lnTo>
                      <a:pt x="309" y="236"/>
                    </a:lnTo>
                    <a:lnTo>
                      <a:pt x="265" y="280"/>
                    </a:lnTo>
                    <a:lnTo>
                      <a:pt x="265" y="280"/>
                    </a:lnTo>
                    <a:lnTo>
                      <a:pt x="264" y="281"/>
                    </a:lnTo>
                    <a:lnTo>
                      <a:pt x="261" y="281"/>
                    </a:lnTo>
                    <a:lnTo>
                      <a:pt x="261" y="281"/>
                    </a:lnTo>
                    <a:close/>
                    <a:moveTo>
                      <a:pt x="14" y="40"/>
                    </a:moveTo>
                    <a:lnTo>
                      <a:pt x="261" y="269"/>
                    </a:lnTo>
                    <a:lnTo>
                      <a:pt x="298" y="234"/>
                    </a:lnTo>
                    <a:lnTo>
                      <a:pt x="33" y="14"/>
                    </a:lnTo>
                    <a:lnTo>
                      <a:pt x="33" y="14"/>
                    </a:lnTo>
                    <a:lnTo>
                      <a:pt x="24" y="26"/>
                    </a:lnTo>
                    <a:lnTo>
                      <a:pt x="14" y="40"/>
                    </a:lnTo>
                    <a:lnTo>
                      <a:pt x="14" y="40"/>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82" name="Freeform 74"/>
              <p:cNvSpPr>
                <a:spLocks noEditPoints="1"/>
              </p:cNvSpPr>
              <p:nvPr/>
            </p:nvSpPr>
            <p:spPr bwMode="auto">
              <a:xfrm>
                <a:off x="3849494" y="3664888"/>
                <a:ext cx="287626" cy="316187"/>
              </a:xfrm>
              <a:custGeom>
                <a:avLst/>
                <a:gdLst>
                  <a:gd name="T0" fmla="*/ 233 w 282"/>
                  <a:gd name="T1" fmla="*/ 311 h 311"/>
                  <a:gd name="T2" fmla="*/ 233 w 282"/>
                  <a:gd name="T3" fmla="*/ 311 h 311"/>
                  <a:gd name="T4" fmla="*/ 232 w 282"/>
                  <a:gd name="T5" fmla="*/ 311 h 311"/>
                  <a:gd name="T6" fmla="*/ 232 w 282"/>
                  <a:gd name="T7" fmla="*/ 311 h 311"/>
                  <a:gd name="T8" fmla="*/ 231 w 282"/>
                  <a:gd name="T9" fmla="*/ 309 h 311"/>
                  <a:gd name="T10" fmla="*/ 228 w 282"/>
                  <a:gd name="T11" fmla="*/ 308 h 311"/>
                  <a:gd name="T12" fmla="*/ 1 w 282"/>
                  <a:gd name="T13" fmla="*/ 34 h 311"/>
                  <a:gd name="T14" fmla="*/ 1 w 282"/>
                  <a:gd name="T15" fmla="*/ 34 h 311"/>
                  <a:gd name="T16" fmla="*/ 1 w 282"/>
                  <a:gd name="T17" fmla="*/ 32 h 311"/>
                  <a:gd name="T18" fmla="*/ 0 w 282"/>
                  <a:gd name="T19" fmla="*/ 29 h 311"/>
                  <a:gd name="T20" fmla="*/ 0 w 282"/>
                  <a:gd name="T21" fmla="*/ 29 h 311"/>
                  <a:gd name="T22" fmla="*/ 1 w 282"/>
                  <a:gd name="T23" fmla="*/ 28 h 311"/>
                  <a:gd name="T24" fmla="*/ 4 w 282"/>
                  <a:gd name="T25" fmla="*/ 25 h 311"/>
                  <a:gd name="T26" fmla="*/ 4 w 282"/>
                  <a:gd name="T27" fmla="*/ 25 h 311"/>
                  <a:gd name="T28" fmla="*/ 21 w 282"/>
                  <a:gd name="T29" fmla="*/ 14 h 311"/>
                  <a:gd name="T30" fmla="*/ 36 w 282"/>
                  <a:gd name="T31" fmla="*/ 1 h 311"/>
                  <a:gd name="T32" fmla="*/ 36 w 282"/>
                  <a:gd name="T33" fmla="*/ 1 h 311"/>
                  <a:gd name="T34" fmla="*/ 39 w 282"/>
                  <a:gd name="T35" fmla="*/ 0 h 311"/>
                  <a:gd name="T36" fmla="*/ 40 w 282"/>
                  <a:gd name="T37" fmla="*/ 0 h 311"/>
                  <a:gd name="T38" fmla="*/ 42 w 282"/>
                  <a:gd name="T39" fmla="*/ 0 h 311"/>
                  <a:gd name="T40" fmla="*/ 44 w 282"/>
                  <a:gd name="T41" fmla="*/ 1 h 311"/>
                  <a:gd name="T42" fmla="*/ 280 w 282"/>
                  <a:gd name="T43" fmla="*/ 258 h 311"/>
                  <a:gd name="T44" fmla="*/ 280 w 282"/>
                  <a:gd name="T45" fmla="*/ 258 h 311"/>
                  <a:gd name="T46" fmla="*/ 281 w 282"/>
                  <a:gd name="T47" fmla="*/ 259 h 311"/>
                  <a:gd name="T48" fmla="*/ 282 w 282"/>
                  <a:gd name="T49" fmla="*/ 262 h 311"/>
                  <a:gd name="T50" fmla="*/ 281 w 282"/>
                  <a:gd name="T51" fmla="*/ 263 h 311"/>
                  <a:gd name="T52" fmla="*/ 280 w 282"/>
                  <a:gd name="T53" fmla="*/ 265 h 311"/>
                  <a:gd name="T54" fmla="*/ 237 w 282"/>
                  <a:gd name="T55" fmla="*/ 308 h 311"/>
                  <a:gd name="T56" fmla="*/ 237 w 282"/>
                  <a:gd name="T57" fmla="*/ 308 h 311"/>
                  <a:gd name="T58" fmla="*/ 235 w 282"/>
                  <a:gd name="T59" fmla="*/ 309 h 311"/>
                  <a:gd name="T60" fmla="*/ 233 w 282"/>
                  <a:gd name="T61" fmla="*/ 311 h 311"/>
                  <a:gd name="T62" fmla="*/ 233 w 282"/>
                  <a:gd name="T63" fmla="*/ 311 h 311"/>
                  <a:gd name="T64" fmla="*/ 14 w 282"/>
                  <a:gd name="T65" fmla="*/ 32 h 311"/>
                  <a:gd name="T66" fmla="*/ 233 w 282"/>
                  <a:gd name="T67" fmla="*/ 297 h 311"/>
                  <a:gd name="T68" fmla="*/ 269 w 282"/>
                  <a:gd name="T69" fmla="*/ 262 h 311"/>
                  <a:gd name="T70" fmla="*/ 40 w 282"/>
                  <a:gd name="T71" fmla="*/ 13 h 311"/>
                  <a:gd name="T72" fmla="*/ 40 w 282"/>
                  <a:gd name="T73" fmla="*/ 13 h 311"/>
                  <a:gd name="T74" fmla="*/ 27 w 282"/>
                  <a:gd name="T75" fmla="*/ 23 h 311"/>
                  <a:gd name="T76" fmla="*/ 14 w 282"/>
                  <a:gd name="T77" fmla="*/ 32 h 311"/>
                  <a:gd name="T78" fmla="*/ 14 w 282"/>
                  <a:gd name="T79" fmla="*/ 3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2" h="311">
                    <a:moveTo>
                      <a:pt x="233" y="311"/>
                    </a:moveTo>
                    <a:lnTo>
                      <a:pt x="233" y="311"/>
                    </a:lnTo>
                    <a:lnTo>
                      <a:pt x="232" y="311"/>
                    </a:lnTo>
                    <a:lnTo>
                      <a:pt x="232" y="311"/>
                    </a:lnTo>
                    <a:lnTo>
                      <a:pt x="231" y="309"/>
                    </a:lnTo>
                    <a:lnTo>
                      <a:pt x="228" y="308"/>
                    </a:lnTo>
                    <a:lnTo>
                      <a:pt x="1" y="34"/>
                    </a:lnTo>
                    <a:lnTo>
                      <a:pt x="1" y="34"/>
                    </a:lnTo>
                    <a:lnTo>
                      <a:pt x="1" y="32"/>
                    </a:lnTo>
                    <a:lnTo>
                      <a:pt x="0" y="29"/>
                    </a:lnTo>
                    <a:lnTo>
                      <a:pt x="0" y="29"/>
                    </a:lnTo>
                    <a:lnTo>
                      <a:pt x="1" y="28"/>
                    </a:lnTo>
                    <a:lnTo>
                      <a:pt x="4" y="25"/>
                    </a:lnTo>
                    <a:lnTo>
                      <a:pt x="4" y="25"/>
                    </a:lnTo>
                    <a:lnTo>
                      <a:pt x="21" y="14"/>
                    </a:lnTo>
                    <a:lnTo>
                      <a:pt x="36" y="1"/>
                    </a:lnTo>
                    <a:lnTo>
                      <a:pt x="36" y="1"/>
                    </a:lnTo>
                    <a:lnTo>
                      <a:pt x="39" y="0"/>
                    </a:lnTo>
                    <a:lnTo>
                      <a:pt x="40" y="0"/>
                    </a:lnTo>
                    <a:lnTo>
                      <a:pt x="42" y="0"/>
                    </a:lnTo>
                    <a:lnTo>
                      <a:pt x="44" y="1"/>
                    </a:lnTo>
                    <a:lnTo>
                      <a:pt x="280" y="258"/>
                    </a:lnTo>
                    <a:lnTo>
                      <a:pt x="280" y="258"/>
                    </a:lnTo>
                    <a:lnTo>
                      <a:pt x="281" y="259"/>
                    </a:lnTo>
                    <a:lnTo>
                      <a:pt x="282" y="262"/>
                    </a:lnTo>
                    <a:lnTo>
                      <a:pt x="281" y="263"/>
                    </a:lnTo>
                    <a:lnTo>
                      <a:pt x="280" y="265"/>
                    </a:lnTo>
                    <a:lnTo>
                      <a:pt x="237" y="308"/>
                    </a:lnTo>
                    <a:lnTo>
                      <a:pt x="237" y="308"/>
                    </a:lnTo>
                    <a:lnTo>
                      <a:pt x="235" y="309"/>
                    </a:lnTo>
                    <a:lnTo>
                      <a:pt x="233" y="311"/>
                    </a:lnTo>
                    <a:lnTo>
                      <a:pt x="233" y="311"/>
                    </a:lnTo>
                    <a:close/>
                    <a:moveTo>
                      <a:pt x="14" y="32"/>
                    </a:moveTo>
                    <a:lnTo>
                      <a:pt x="233" y="297"/>
                    </a:lnTo>
                    <a:lnTo>
                      <a:pt x="269" y="262"/>
                    </a:lnTo>
                    <a:lnTo>
                      <a:pt x="40" y="13"/>
                    </a:lnTo>
                    <a:lnTo>
                      <a:pt x="40" y="13"/>
                    </a:lnTo>
                    <a:lnTo>
                      <a:pt x="27" y="23"/>
                    </a:lnTo>
                    <a:lnTo>
                      <a:pt x="14" y="32"/>
                    </a:lnTo>
                    <a:lnTo>
                      <a:pt x="14" y="32"/>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83" name="Freeform 75"/>
              <p:cNvSpPr>
                <a:spLocks/>
              </p:cNvSpPr>
              <p:nvPr/>
            </p:nvSpPr>
            <p:spPr bwMode="auto">
              <a:xfrm>
                <a:off x="3480272" y="3050875"/>
                <a:ext cx="206030" cy="93835"/>
              </a:xfrm>
              <a:custGeom>
                <a:avLst/>
                <a:gdLst>
                  <a:gd name="T0" fmla="*/ 6 w 202"/>
                  <a:gd name="T1" fmla="*/ 92 h 92"/>
                  <a:gd name="T2" fmla="*/ 0 w 202"/>
                  <a:gd name="T3" fmla="*/ 83 h 92"/>
                  <a:gd name="T4" fmla="*/ 0 w 202"/>
                  <a:gd name="T5" fmla="*/ 83 h 92"/>
                  <a:gd name="T6" fmla="*/ 22 w 202"/>
                  <a:gd name="T7" fmla="*/ 68 h 92"/>
                  <a:gd name="T8" fmla="*/ 46 w 202"/>
                  <a:gd name="T9" fmla="*/ 54 h 92"/>
                  <a:gd name="T10" fmla="*/ 70 w 202"/>
                  <a:gd name="T11" fmla="*/ 42 h 92"/>
                  <a:gd name="T12" fmla="*/ 95 w 202"/>
                  <a:gd name="T13" fmla="*/ 31 h 92"/>
                  <a:gd name="T14" fmla="*/ 122 w 202"/>
                  <a:gd name="T15" fmla="*/ 20 h 92"/>
                  <a:gd name="T16" fmla="*/ 147 w 202"/>
                  <a:gd name="T17" fmla="*/ 12 h 92"/>
                  <a:gd name="T18" fmla="*/ 174 w 202"/>
                  <a:gd name="T19" fmla="*/ 5 h 92"/>
                  <a:gd name="T20" fmla="*/ 201 w 202"/>
                  <a:gd name="T21" fmla="*/ 0 h 92"/>
                  <a:gd name="T22" fmla="*/ 202 w 202"/>
                  <a:gd name="T23" fmla="*/ 10 h 92"/>
                  <a:gd name="T24" fmla="*/ 202 w 202"/>
                  <a:gd name="T25" fmla="*/ 10 h 92"/>
                  <a:gd name="T26" fmla="*/ 176 w 202"/>
                  <a:gd name="T27" fmla="*/ 15 h 92"/>
                  <a:gd name="T28" fmla="*/ 151 w 202"/>
                  <a:gd name="T29" fmla="*/ 23 h 92"/>
                  <a:gd name="T30" fmla="*/ 124 w 202"/>
                  <a:gd name="T31" fmla="*/ 31 h 92"/>
                  <a:gd name="T32" fmla="*/ 99 w 202"/>
                  <a:gd name="T33" fmla="*/ 41 h 92"/>
                  <a:gd name="T34" fmla="*/ 75 w 202"/>
                  <a:gd name="T35" fmla="*/ 51 h 92"/>
                  <a:gd name="T36" fmla="*/ 51 w 202"/>
                  <a:gd name="T37" fmla="*/ 63 h 92"/>
                  <a:gd name="T38" fmla="*/ 29 w 202"/>
                  <a:gd name="T39" fmla="*/ 77 h 92"/>
                  <a:gd name="T40" fmla="*/ 6 w 202"/>
                  <a:gd name="T41" fmla="*/ 92 h 92"/>
                  <a:gd name="T42" fmla="*/ 6 w 202"/>
                  <a:gd name="T43"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2" h="92">
                    <a:moveTo>
                      <a:pt x="6" y="92"/>
                    </a:moveTo>
                    <a:lnTo>
                      <a:pt x="0" y="83"/>
                    </a:lnTo>
                    <a:lnTo>
                      <a:pt x="0" y="83"/>
                    </a:lnTo>
                    <a:lnTo>
                      <a:pt x="22" y="68"/>
                    </a:lnTo>
                    <a:lnTo>
                      <a:pt x="46" y="54"/>
                    </a:lnTo>
                    <a:lnTo>
                      <a:pt x="70" y="42"/>
                    </a:lnTo>
                    <a:lnTo>
                      <a:pt x="95" y="31"/>
                    </a:lnTo>
                    <a:lnTo>
                      <a:pt x="122" y="20"/>
                    </a:lnTo>
                    <a:lnTo>
                      <a:pt x="147" y="12"/>
                    </a:lnTo>
                    <a:lnTo>
                      <a:pt x="174" y="5"/>
                    </a:lnTo>
                    <a:lnTo>
                      <a:pt x="201" y="0"/>
                    </a:lnTo>
                    <a:lnTo>
                      <a:pt x="202" y="10"/>
                    </a:lnTo>
                    <a:lnTo>
                      <a:pt x="202" y="10"/>
                    </a:lnTo>
                    <a:lnTo>
                      <a:pt x="176" y="15"/>
                    </a:lnTo>
                    <a:lnTo>
                      <a:pt x="151" y="23"/>
                    </a:lnTo>
                    <a:lnTo>
                      <a:pt x="124" y="31"/>
                    </a:lnTo>
                    <a:lnTo>
                      <a:pt x="99" y="41"/>
                    </a:lnTo>
                    <a:lnTo>
                      <a:pt x="75" y="51"/>
                    </a:lnTo>
                    <a:lnTo>
                      <a:pt x="51" y="63"/>
                    </a:lnTo>
                    <a:lnTo>
                      <a:pt x="29" y="77"/>
                    </a:lnTo>
                    <a:lnTo>
                      <a:pt x="6" y="92"/>
                    </a:lnTo>
                    <a:lnTo>
                      <a:pt x="6" y="92"/>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84" name="Freeform 76"/>
              <p:cNvSpPr>
                <a:spLocks/>
              </p:cNvSpPr>
              <p:nvPr/>
            </p:nvSpPr>
            <p:spPr bwMode="auto">
              <a:xfrm>
                <a:off x="3482311" y="3930074"/>
                <a:ext cx="206030" cy="91797"/>
              </a:xfrm>
              <a:custGeom>
                <a:avLst/>
                <a:gdLst>
                  <a:gd name="T0" fmla="*/ 201 w 202"/>
                  <a:gd name="T1" fmla="*/ 90 h 90"/>
                  <a:gd name="T2" fmla="*/ 201 w 202"/>
                  <a:gd name="T3" fmla="*/ 90 h 90"/>
                  <a:gd name="T4" fmla="*/ 173 w 202"/>
                  <a:gd name="T5" fmla="*/ 85 h 90"/>
                  <a:gd name="T6" fmla="*/ 147 w 202"/>
                  <a:gd name="T7" fmla="*/ 79 h 90"/>
                  <a:gd name="T8" fmla="*/ 122 w 202"/>
                  <a:gd name="T9" fmla="*/ 70 h 90"/>
                  <a:gd name="T10" fmla="*/ 96 w 202"/>
                  <a:gd name="T11" fmla="*/ 62 h 90"/>
                  <a:gd name="T12" fmla="*/ 72 w 202"/>
                  <a:gd name="T13" fmla="*/ 50 h 90"/>
                  <a:gd name="T14" fmla="*/ 47 w 202"/>
                  <a:gd name="T15" fmla="*/ 38 h 90"/>
                  <a:gd name="T16" fmla="*/ 23 w 202"/>
                  <a:gd name="T17" fmla="*/ 24 h 90"/>
                  <a:gd name="T18" fmla="*/ 0 w 202"/>
                  <a:gd name="T19" fmla="*/ 9 h 90"/>
                  <a:gd name="T20" fmla="*/ 6 w 202"/>
                  <a:gd name="T21" fmla="*/ 0 h 90"/>
                  <a:gd name="T22" fmla="*/ 6 w 202"/>
                  <a:gd name="T23" fmla="*/ 0 h 90"/>
                  <a:gd name="T24" fmla="*/ 29 w 202"/>
                  <a:gd name="T25" fmla="*/ 14 h 90"/>
                  <a:gd name="T26" fmla="*/ 52 w 202"/>
                  <a:gd name="T27" fmla="*/ 28 h 90"/>
                  <a:gd name="T28" fmla="*/ 75 w 202"/>
                  <a:gd name="T29" fmla="*/ 40 h 90"/>
                  <a:gd name="T30" fmla="*/ 101 w 202"/>
                  <a:gd name="T31" fmla="*/ 52 h 90"/>
                  <a:gd name="T32" fmla="*/ 126 w 202"/>
                  <a:gd name="T33" fmla="*/ 60 h 90"/>
                  <a:gd name="T34" fmla="*/ 151 w 202"/>
                  <a:gd name="T35" fmla="*/ 69 h 90"/>
                  <a:gd name="T36" fmla="*/ 176 w 202"/>
                  <a:gd name="T37" fmla="*/ 75 h 90"/>
                  <a:gd name="T38" fmla="*/ 202 w 202"/>
                  <a:gd name="T39" fmla="*/ 80 h 90"/>
                  <a:gd name="T40" fmla="*/ 201 w 202"/>
                  <a:gd name="T41"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2" h="90">
                    <a:moveTo>
                      <a:pt x="201" y="90"/>
                    </a:moveTo>
                    <a:lnTo>
                      <a:pt x="201" y="90"/>
                    </a:lnTo>
                    <a:lnTo>
                      <a:pt x="173" y="85"/>
                    </a:lnTo>
                    <a:lnTo>
                      <a:pt x="147" y="79"/>
                    </a:lnTo>
                    <a:lnTo>
                      <a:pt x="122" y="70"/>
                    </a:lnTo>
                    <a:lnTo>
                      <a:pt x="96" y="62"/>
                    </a:lnTo>
                    <a:lnTo>
                      <a:pt x="72" y="50"/>
                    </a:lnTo>
                    <a:lnTo>
                      <a:pt x="47" y="38"/>
                    </a:lnTo>
                    <a:lnTo>
                      <a:pt x="23" y="24"/>
                    </a:lnTo>
                    <a:lnTo>
                      <a:pt x="0" y="9"/>
                    </a:lnTo>
                    <a:lnTo>
                      <a:pt x="6" y="0"/>
                    </a:lnTo>
                    <a:lnTo>
                      <a:pt x="6" y="0"/>
                    </a:lnTo>
                    <a:lnTo>
                      <a:pt x="29" y="14"/>
                    </a:lnTo>
                    <a:lnTo>
                      <a:pt x="52" y="28"/>
                    </a:lnTo>
                    <a:lnTo>
                      <a:pt x="75" y="40"/>
                    </a:lnTo>
                    <a:lnTo>
                      <a:pt x="101" y="52"/>
                    </a:lnTo>
                    <a:lnTo>
                      <a:pt x="126" y="60"/>
                    </a:lnTo>
                    <a:lnTo>
                      <a:pt x="151" y="69"/>
                    </a:lnTo>
                    <a:lnTo>
                      <a:pt x="176" y="75"/>
                    </a:lnTo>
                    <a:lnTo>
                      <a:pt x="202" y="80"/>
                    </a:lnTo>
                    <a:lnTo>
                      <a:pt x="201" y="90"/>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85" name="Freeform 77"/>
              <p:cNvSpPr>
                <a:spLocks/>
              </p:cNvSpPr>
              <p:nvPr/>
            </p:nvSpPr>
            <p:spPr bwMode="auto">
              <a:xfrm>
                <a:off x="3843374" y="3928035"/>
                <a:ext cx="210111" cy="93835"/>
              </a:xfrm>
              <a:custGeom>
                <a:avLst/>
                <a:gdLst>
                  <a:gd name="T0" fmla="*/ 1 w 206"/>
                  <a:gd name="T1" fmla="*/ 93 h 93"/>
                  <a:gd name="T2" fmla="*/ 0 w 206"/>
                  <a:gd name="T3" fmla="*/ 81 h 93"/>
                  <a:gd name="T4" fmla="*/ 0 w 206"/>
                  <a:gd name="T5" fmla="*/ 81 h 93"/>
                  <a:gd name="T6" fmla="*/ 26 w 206"/>
                  <a:gd name="T7" fmla="*/ 76 h 93"/>
                  <a:gd name="T8" fmla="*/ 52 w 206"/>
                  <a:gd name="T9" fmla="*/ 70 h 93"/>
                  <a:gd name="T10" fmla="*/ 79 w 206"/>
                  <a:gd name="T11" fmla="*/ 61 h 93"/>
                  <a:gd name="T12" fmla="*/ 104 w 206"/>
                  <a:gd name="T13" fmla="*/ 53 h 93"/>
                  <a:gd name="T14" fmla="*/ 129 w 206"/>
                  <a:gd name="T15" fmla="*/ 41 h 93"/>
                  <a:gd name="T16" fmla="*/ 153 w 206"/>
                  <a:gd name="T17" fmla="*/ 29 h 93"/>
                  <a:gd name="T18" fmla="*/ 177 w 206"/>
                  <a:gd name="T19" fmla="*/ 15 h 93"/>
                  <a:gd name="T20" fmla="*/ 200 w 206"/>
                  <a:gd name="T21" fmla="*/ 0 h 93"/>
                  <a:gd name="T22" fmla="*/ 206 w 206"/>
                  <a:gd name="T23" fmla="*/ 9 h 93"/>
                  <a:gd name="T24" fmla="*/ 206 w 206"/>
                  <a:gd name="T25" fmla="*/ 9 h 93"/>
                  <a:gd name="T26" fmla="*/ 182 w 206"/>
                  <a:gd name="T27" fmla="*/ 24 h 93"/>
                  <a:gd name="T28" fmla="*/ 158 w 206"/>
                  <a:gd name="T29" fmla="*/ 37 h 93"/>
                  <a:gd name="T30" fmla="*/ 133 w 206"/>
                  <a:gd name="T31" fmla="*/ 51 h 93"/>
                  <a:gd name="T32" fmla="*/ 108 w 206"/>
                  <a:gd name="T33" fmla="*/ 63 h 93"/>
                  <a:gd name="T34" fmla="*/ 81 w 206"/>
                  <a:gd name="T35" fmla="*/ 71 h 93"/>
                  <a:gd name="T36" fmla="*/ 55 w 206"/>
                  <a:gd name="T37" fmla="*/ 80 h 93"/>
                  <a:gd name="T38" fmla="*/ 29 w 206"/>
                  <a:gd name="T39" fmla="*/ 88 h 93"/>
                  <a:gd name="T40" fmla="*/ 1 w 206"/>
                  <a:gd name="T41" fmla="*/ 93 h 93"/>
                  <a:gd name="T42" fmla="*/ 1 w 206"/>
                  <a:gd name="T43"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6" h="93">
                    <a:moveTo>
                      <a:pt x="1" y="93"/>
                    </a:moveTo>
                    <a:lnTo>
                      <a:pt x="0" y="81"/>
                    </a:lnTo>
                    <a:lnTo>
                      <a:pt x="0" y="81"/>
                    </a:lnTo>
                    <a:lnTo>
                      <a:pt x="26" y="76"/>
                    </a:lnTo>
                    <a:lnTo>
                      <a:pt x="52" y="70"/>
                    </a:lnTo>
                    <a:lnTo>
                      <a:pt x="79" y="61"/>
                    </a:lnTo>
                    <a:lnTo>
                      <a:pt x="104" y="53"/>
                    </a:lnTo>
                    <a:lnTo>
                      <a:pt x="129" y="41"/>
                    </a:lnTo>
                    <a:lnTo>
                      <a:pt x="153" y="29"/>
                    </a:lnTo>
                    <a:lnTo>
                      <a:pt x="177" y="15"/>
                    </a:lnTo>
                    <a:lnTo>
                      <a:pt x="200" y="0"/>
                    </a:lnTo>
                    <a:lnTo>
                      <a:pt x="206" y="9"/>
                    </a:lnTo>
                    <a:lnTo>
                      <a:pt x="206" y="9"/>
                    </a:lnTo>
                    <a:lnTo>
                      <a:pt x="182" y="24"/>
                    </a:lnTo>
                    <a:lnTo>
                      <a:pt x="158" y="37"/>
                    </a:lnTo>
                    <a:lnTo>
                      <a:pt x="133" y="51"/>
                    </a:lnTo>
                    <a:lnTo>
                      <a:pt x="108" y="63"/>
                    </a:lnTo>
                    <a:lnTo>
                      <a:pt x="81" y="71"/>
                    </a:lnTo>
                    <a:lnTo>
                      <a:pt x="55" y="80"/>
                    </a:lnTo>
                    <a:lnTo>
                      <a:pt x="29" y="88"/>
                    </a:lnTo>
                    <a:lnTo>
                      <a:pt x="1" y="93"/>
                    </a:lnTo>
                    <a:lnTo>
                      <a:pt x="1" y="93"/>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86" name="Freeform 78"/>
              <p:cNvSpPr>
                <a:spLocks/>
              </p:cNvSpPr>
              <p:nvPr/>
            </p:nvSpPr>
            <p:spPr bwMode="auto">
              <a:xfrm>
                <a:off x="4157519" y="3615929"/>
                <a:ext cx="95876" cy="206030"/>
              </a:xfrm>
              <a:custGeom>
                <a:avLst/>
                <a:gdLst>
                  <a:gd name="T0" fmla="*/ 8 w 93"/>
                  <a:gd name="T1" fmla="*/ 203 h 203"/>
                  <a:gd name="T2" fmla="*/ 0 w 93"/>
                  <a:gd name="T3" fmla="*/ 196 h 203"/>
                  <a:gd name="T4" fmla="*/ 0 w 93"/>
                  <a:gd name="T5" fmla="*/ 196 h 203"/>
                  <a:gd name="T6" fmla="*/ 15 w 93"/>
                  <a:gd name="T7" fmla="*/ 175 h 203"/>
                  <a:gd name="T8" fmla="*/ 28 w 93"/>
                  <a:gd name="T9" fmla="*/ 151 h 203"/>
                  <a:gd name="T10" fmla="*/ 41 w 93"/>
                  <a:gd name="T11" fmla="*/ 127 h 203"/>
                  <a:gd name="T12" fmla="*/ 52 w 93"/>
                  <a:gd name="T13" fmla="*/ 103 h 203"/>
                  <a:gd name="T14" fmla="*/ 61 w 93"/>
                  <a:gd name="T15" fmla="*/ 78 h 203"/>
                  <a:gd name="T16" fmla="*/ 70 w 93"/>
                  <a:gd name="T17" fmla="*/ 52 h 203"/>
                  <a:gd name="T18" fmla="*/ 76 w 93"/>
                  <a:gd name="T19" fmla="*/ 27 h 203"/>
                  <a:gd name="T20" fmla="*/ 81 w 93"/>
                  <a:gd name="T21" fmla="*/ 0 h 203"/>
                  <a:gd name="T22" fmla="*/ 93 w 93"/>
                  <a:gd name="T23" fmla="*/ 2 h 203"/>
                  <a:gd name="T24" fmla="*/ 93 w 93"/>
                  <a:gd name="T25" fmla="*/ 2 h 203"/>
                  <a:gd name="T26" fmla="*/ 86 w 93"/>
                  <a:gd name="T27" fmla="*/ 29 h 203"/>
                  <a:gd name="T28" fmla="*/ 80 w 93"/>
                  <a:gd name="T29" fmla="*/ 56 h 203"/>
                  <a:gd name="T30" fmla="*/ 71 w 93"/>
                  <a:gd name="T31" fmla="*/ 82 h 203"/>
                  <a:gd name="T32" fmla="*/ 61 w 93"/>
                  <a:gd name="T33" fmla="*/ 107 h 203"/>
                  <a:gd name="T34" fmla="*/ 50 w 93"/>
                  <a:gd name="T35" fmla="*/ 132 h 203"/>
                  <a:gd name="T36" fmla="*/ 37 w 93"/>
                  <a:gd name="T37" fmla="*/ 156 h 203"/>
                  <a:gd name="T38" fmla="*/ 23 w 93"/>
                  <a:gd name="T39" fmla="*/ 180 h 203"/>
                  <a:gd name="T40" fmla="*/ 8 w 93"/>
                  <a:gd name="T41" fmla="*/ 203 h 203"/>
                  <a:gd name="T42" fmla="*/ 8 w 93"/>
                  <a:gd name="T43"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 h="203">
                    <a:moveTo>
                      <a:pt x="8" y="203"/>
                    </a:moveTo>
                    <a:lnTo>
                      <a:pt x="0" y="196"/>
                    </a:lnTo>
                    <a:lnTo>
                      <a:pt x="0" y="196"/>
                    </a:lnTo>
                    <a:lnTo>
                      <a:pt x="15" y="175"/>
                    </a:lnTo>
                    <a:lnTo>
                      <a:pt x="28" y="151"/>
                    </a:lnTo>
                    <a:lnTo>
                      <a:pt x="41" y="127"/>
                    </a:lnTo>
                    <a:lnTo>
                      <a:pt x="52" y="103"/>
                    </a:lnTo>
                    <a:lnTo>
                      <a:pt x="61" y="78"/>
                    </a:lnTo>
                    <a:lnTo>
                      <a:pt x="70" y="52"/>
                    </a:lnTo>
                    <a:lnTo>
                      <a:pt x="76" y="27"/>
                    </a:lnTo>
                    <a:lnTo>
                      <a:pt x="81" y="0"/>
                    </a:lnTo>
                    <a:lnTo>
                      <a:pt x="93" y="2"/>
                    </a:lnTo>
                    <a:lnTo>
                      <a:pt x="93" y="2"/>
                    </a:lnTo>
                    <a:lnTo>
                      <a:pt x="86" y="29"/>
                    </a:lnTo>
                    <a:lnTo>
                      <a:pt x="80" y="56"/>
                    </a:lnTo>
                    <a:lnTo>
                      <a:pt x="71" y="82"/>
                    </a:lnTo>
                    <a:lnTo>
                      <a:pt x="61" y="107"/>
                    </a:lnTo>
                    <a:lnTo>
                      <a:pt x="50" y="132"/>
                    </a:lnTo>
                    <a:lnTo>
                      <a:pt x="37" y="156"/>
                    </a:lnTo>
                    <a:lnTo>
                      <a:pt x="23" y="180"/>
                    </a:lnTo>
                    <a:lnTo>
                      <a:pt x="8" y="203"/>
                    </a:lnTo>
                    <a:lnTo>
                      <a:pt x="8" y="203"/>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87" name="Freeform 79"/>
              <p:cNvSpPr>
                <a:spLocks/>
              </p:cNvSpPr>
              <p:nvPr/>
            </p:nvSpPr>
            <p:spPr bwMode="auto">
              <a:xfrm>
                <a:off x="4157519" y="3248746"/>
                <a:ext cx="95876" cy="210111"/>
              </a:xfrm>
              <a:custGeom>
                <a:avLst/>
                <a:gdLst>
                  <a:gd name="T0" fmla="*/ 81 w 93"/>
                  <a:gd name="T1" fmla="*/ 206 h 206"/>
                  <a:gd name="T2" fmla="*/ 81 w 93"/>
                  <a:gd name="T3" fmla="*/ 206 h 206"/>
                  <a:gd name="T4" fmla="*/ 76 w 93"/>
                  <a:gd name="T5" fmla="*/ 180 h 206"/>
                  <a:gd name="T6" fmla="*/ 70 w 93"/>
                  <a:gd name="T7" fmla="*/ 153 h 206"/>
                  <a:gd name="T8" fmla="*/ 62 w 93"/>
                  <a:gd name="T9" fmla="*/ 127 h 206"/>
                  <a:gd name="T10" fmla="*/ 52 w 93"/>
                  <a:gd name="T11" fmla="*/ 102 h 206"/>
                  <a:gd name="T12" fmla="*/ 41 w 93"/>
                  <a:gd name="T13" fmla="*/ 77 h 206"/>
                  <a:gd name="T14" fmla="*/ 28 w 93"/>
                  <a:gd name="T15" fmla="*/ 53 h 206"/>
                  <a:gd name="T16" fmla="*/ 15 w 93"/>
                  <a:gd name="T17" fmla="*/ 29 h 206"/>
                  <a:gd name="T18" fmla="*/ 0 w 93"/>
                  <a:gd name="T19" fmla="*/ 6 h 206"/>
                  <a:gd name="T20" fmla="*/ 8 w 93"/>
                  <a:gd name="T21" fmla="*/ 0 h 206"/>
                  <a:gd name="T22" fmla="*/ 8 w 93"/>
                  <a:gd name="T23" fmla="*/ 0 h 206"/>
                  <a:gd name="T24" fmla="*/ 23 w 93"/>
                  <a:gd name="T25" fmla="*/ 24 h 206"/>
                  <a:gd name="T26" fmla="*/ 37 w 93"/>
                  <a:gd name="T27" fmla="*/ 48 h 206"/>
                  <a:gd name="T28" fmla="*/ 51 w 93"/>
                  <a:gd name="T29" fmla="*/ 71 h 206"/>
                  <a:gd name="T30" fmla="*/ 62 w 93"/>
                  <a:gd name="T31" fmla="*/ 98 h 206"/>
                  <a:gd name="T32" fmla="*/ 72 w 93"/>
                  <a:gd name="T33" fmla="*/ 123 h 206"/>
                  <a:gd name="T34" fmla="*/ 80 w 93"/>
                  <a:gd name="T35" fmla="*/ 149 h 206"/>
                  <a:gd name="T36" fmla="*/ 88 w 93"/>
                  <a:gd name="T37" fmla="*/ 177 h 206"/>
                  <a:gd name="T38" fmla="*/ 93 w 93"/>
                  <a:gd name="T39" fmla="*/ 203 h 206"/>
                  <a:gd name="T40" fmla="*/ 81 w 93"/>
                  <a:gd name="T41" fmla="*/ 20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206">
                    <a:moveTo>
                      <a:pt x="81" y="206"/>
                    </a:moveTo>
                    <a:lnTo>
                      <a:pt x="81" y="206"/>
                    </a:lnTo>
                    <a:lnTo>
                      <a:pt x="76" y="180"/>
                    </a:lnTo>
                    <a:lnTo>
                      <a:pt x="70" y="153"/>
                    </a:lnTo>
                    <a:lnTo>
                      <a:pt x="62" y="127"/>
                    </a:lnTo>
                    <a:lnTo>
                      <a:pt x="52" y="102"/>
                    </a:lnTo>
                    <a:lnTo>
                      <a:pt x="41" y="77"/>
                    </a:lnTo>
                    <a:lnTo>
                      <a:pt x="28" y="53"/>
                    </a:lnTo>
                    <a:lnTo>
                      <a:pt x="15" y="29"/>
                    </a:lnTo>
                    <a:lnTo>
                      <a:pt x="0" y="6"/>
                    </a:lnTo>
                    <a:lnTo>
                      <a:pt x="8" y="0"/>
                    </a:lnTo>
                    <a:lnTo>
                      <a:pt x="8" y="0"/>
                    </a:lnTo>
                    <a:lnTo>
                      <a:pt x="23" y="24"/>
                    </a:lnTo>
                    <a:lnTo>
                      <a:pt x="37" y="48"/>
                    </a:lnTo>
                    <a:lnTo>
                      <a:pt x="51" y="71"/>
                    </a:lnTo>
                    <a:lnTo>
                      <a:pt x="62" y="98"/>
                    </a:lnTo>
                    <a:lnTo>
                      <a:pt x="72" y="123"/>
                    </a:lnTo>
                    <a:lnTo>
                      <a:pt x="80" y="149"/>
                    </a:lnTo>
                    <a:lnTo>
                      <a:pt x="88" y="177"/>
                    </a:lnTo>
                    <a:lnTo>
                      <a:pt x="93" y="203"/>
                    </a:lnTo>
                    <a:lnTo>
                      <a:pt x="81" y="206"/>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88" name="Freeform 80"/>
              <p:cNvSpPr>
                <a:spLocks/>
              </p:cNvSpPr>
              <p:nvPr/>
            </p:nvSpPr>
            <p:spPr bwMode="auto">
              <a:xfrm>
                <a:off x="3843374" y="3050875"/>
                <a:ext cx="210111" cy="93835"/>
              </a:xfrm>
              <a:custGeom>
                <a:avLst/>
                <a:gdLst>
                  <a:gd name="T0" fmla="*/ 198 w 205"/>
                  <a:gd name="T1" fmla="*/ 93 h 93"/>
                  <a:gd name="T2" fmla="*/ 198 w 205"/>
                  <a:gd name="T3" fmla="*/ 93 h 93"/>
                  <a:gd name="T4" fmla="*/ 176 w 205"/>
                  <a:gd name="T5" fmla="*/ 78 h 93"/>
                  <a:gd name="T6" fmla="*/ 153 w 205"/>
                  <a:gd name="T7" fmla="*/ 64 h 93"/>
                  <a:gd name="T8" fmla="*/ 129 w 205"/>
                  <a:gd name="T9" fmla="*/ 52 h 93"/>
                  <a:gd name="T10" fmla="*/ 104 w 205"/>
                  <a:gd name="T11" fmla="*/ 40 h 93"/>
                  <a:gd name="T12" fmla="*/ 79 w 205"/>
                  <a:gd name="T13" fmla="*/ 32 h 93"/>
                  <a:gd name="T14" fmla="*/ 52 w 205"/>
                  <a:gd name="T15" fmla="*/ 23 h 93"/>
                  <a:gd name="T16" fmla="*/ 27 w 205"/>
                  <a:gd name="T17" fmla="*/ 16 h 93"/>
                  <a:gd name="T18" fmla="*/ 0 w 205"/>
                  <a:gd name="T19" fmla="*/ 11 h 93"/>
                  <a:gd name="T20" fmla="*/ 2 w 205"/>
                  <a:gd name="T21" fmla="*/ 0 h 93"/>
                  <a:gd name="T22" fmla="*/ 2 w 205"/>
                  <a:gd name="T23" fmla="*/ 0 h 93"/>
                  <a:gd name="T24" fmla="*/ 29 w 205"/>
                  <a:gd name="T25" fmla="*/ 5 h 93"/>
                  <a:gd name="T26" fmla="*/ 56 w 205"/>
                  <a:gd name="T27" fmla="*/ 13 h 93"/>
                  <a:gd name="T28" fmla="*/ 83 w 205"/>
                  <a:gd name="T29" fmla="*/ 20 h 93"/>
                  <a:gd name="T30" fmla="*/ 108 w 205"/>
                  <a:gd name="T31" fmla="*/ 30 h 93"/>
                  <a:gd name="T32" fmla="*/ 133 w 205"/>
                  <a:gd name="T33" fmla="*/ 42 h 93"/>
                  <a:gd name="T34" fmla="*/ 158 w 205"/>
                  <a:gd name="T35" fmla="*/ 54 h 93"/>
                  <a:gd name="T36" fmla="*/ 182 w 205"/>
                  <a:gd name="T37" fmla="*/ 69 h 93"/>
                  <a:gd name="T38" fmla="*/ 205 w 205"/>
                  <a:gd name="T39" fmla="*/ 84 h 93"/>
                  <a:gd name="T40" fmla="*/ 198 w 205"/>
                  <a:gd name="T41"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5" h="93">
                    <a:moveTo>
                      <a:pt x="198" y="93"/>
                    </a:moveTo>
                    <a:lnTo>
                      <a:pt x="198" y="93"/>
                    </a:lnTo>
                    <a:lnTo>
                      <a:pt x="176" y="78"/>
                    </a:lnTo>
                    <a:lnTo>
                      <a:pt x="153" y="64"/>
                    </a:lnTo>
                    <a:lnTo>
                      <a:pt x="129" y="52"/>
                    </a:lnTo>
                    <a:lnTo>
                      <a:pt x="104" y="40"/>
                    </a:lnTo>
                    <a:lnTo>
                      <a:pt x="79" y="32"/>
                    </a:lnTo>
                    <a:lnTo>
                      <a:pt x="52" y="23"/>
                    </a:lnTo>
                    <a:lnTo>
                      <a:pt x="27" y="16"/>
                    </a:lnTo>
                    <a:lnTo>
                      <a:pt x="0" y="11"/>
                    </a:lnTo>
                    <a:lnTo>
                      <a:pt x="2" y="0"/>
                    </a:lnTo>
                    <a:lnTo>
                      <a:pt x="2" y="0"/>
                    </a:lnTo>
                    <a:lnTo>
                      <a:pt x="29" y="5"/>
                    </a:lnTo>
                    <a:lnTo>
                      <a:pt x="56" y="13"/>
                    </a:lnTo>
                    <a:lnTo>
                      <a:pt x="83" y="20"/>
                    </a:lnTo>
                    <a:lnTo>
                      <a:pt x="108" y="30"/>
                    </a:lnTo>
                    <a:lnTo>
                      <a:pt x="133" y="42"/>
                    </a:lnTo>
                    <a:lnTo>
                      <a:pt x="158" y="54"/>
                    </a:lnTo>
                    <a:lnTo>
                      <a:pt x="182" y="69"/>
                    </a:lnTo>
                    <a:lnTo>
                      <a:pt x="205" y="84"/>
                    </a:lnTo>
                    <a:lnTo>
                      <a:pt x="198" y="93"/>
                    </a:lnTo>
                    <a:close/>
                  </a:path>
                </a:pathLst>
              </a:cu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sp>
          <p:nvSpPr>
            <p:cNvPr id="124" name="Freeform 81"/>
            <p:cNvSpPr>
              <a:spLocks noEditPoints="1"/>
            </p:cNvSpPr>
            <p:nvPr/>
          </p:nvSpPr>
          <p:spPr bwMode="auto">
            <a:xfrm>
              <a:off x="5732327" y="2014603"/>
              <a:ext cx="246829" cy="373303"/>
            </a:xfrm>
            <a:custGeom>
              <a:avLst/>
              <a:gdLst>
                <a:gd name="T0" fmla="*/ 124 w 242"/>
                <a:gd name="T1" fmla="*/ 366 h 367"/>
                <a:gd name="T2" fmla="*/ 117 w 242"/>
                <a:gd name="T3" fmla="*/ 367 h 367"/>
                <a:gd name="T4" fmla="*/ 96 w 242"/>
                <a:gd name="T5" fmla="*/ 364 h 367"/>
                <a:gd name="T6" fmla="*/ 55 w 242"/>
                <a:gd name="T7" fmla="*/ 353 h 367"/>
                <a:gd name="T8" fmla="*/ 29 w 242"/>
                <a:gd name="T9" fmla="*/ 333 h 367"/>
                <a:gd name="T10" fmla="*/ 19 w 242"/>
                <a:gd name="T11" fmla="*/ 319 h 367"/>
                <a:gd name="T12" fmla="*/ 5 w 242"/>
                <a:gd name="T13" fmla="*/ 280 h 367"/>
                <a:gd name="T14" fmla="*/ 0 w 242"/>
                <a:gd name="T15" fmla="*/ 225 h 367"/>
                <a:gd name="T16" fmla="*/ 7 w 242"/>
                <a:gd name="T17" fmla="*/ 112 h 367"/>
                <a:gd name="T18" fmla="*/ 17 w 242"/>
                <a:gd name="T19" fmla="*/ 69 h 367"/>
                <a:gd name="T20" fmla="*/ 24 w 242"/>
                <a:gd name="T21" fmla="*/ 59 h 367"/>
                <a:gd name="T22" fmla="*/ 52 w 242"/>
                <a:gd name="T23" fmla="*/ 30 h 367"/>
                <a:gd name="T24" fmla="*/ 91 w 242"/>
                <a:gd name="T25" fmla="*/ 11 h 367"/>
                <a:gd name="T26" fmla="*/ 120 w 242"/>
                <a:gd name="T27" fmla="*/ 4 h 367"/>
                <a:gd name="T28" fmla="*/ 145 w 242"/>
                <a:gd name="T29" fmla="*/ 0 h 367"/>
                <a:gd name="T30" fmla="*/ 169 w 242"/>
                <a:gd name="T31" fmla="*/ 5 h 367"/>
                <a:gd name="T32" fmla="*/ 186 w 242"/>
                <a:gd name="T33" fmla="*/ 18 h 367"/>
                <a:gd name="T34" fmla="*/ 201 w 242"/>
                <a:gd name="T35" fmla="*/ 48 h 367"/>
                <a:gd name="T36" fmla="*/ 216 w 242"/>
                <a:gd name="T37" fmla="*/ 119 h 367"/>
                <a:gd name="T38" fmla="*/ 236 w 242"/>
                <a:gd name="T39" fmla="*/ 215 h 367"/>
                <a:gd name="T40" fmla="*/ 242 w 242"/>
                <a:gd name="T41" fmla="*/ 250 h 367"/>
                <a:gd name="T42" fmla="*/ 238 w 242"/>
                <a:gd name="T43" fmla="*/ 294 h 367"/>
                <a:gd name="T44" fmla="*/ 222 w 242"/>
                <a:gd name="T45" fmla="*/ 329 h 367"/>
                <a:gd name="T46" fmla="*/ 212 w 242"/>
                <a:gd name="T47" fmla="*/ 340 h 367"/>
                <a:gd name="T48" fmla="*/ 173 w 242"/>
                <a:gd name="T49" fmla="*/ 361 h 367"/>
                <a:gd name="T50" fmla="*/ 132 w 242"/>
                <a:gd name="T51" fmla="*/ 367 h 367"/>
                <a:gd name="T52" fmla="*/ 124 w 242"/>
                <a:gd name="T53" fmla="*/ 353 h 367"/>
                <a:gd name="T54" fmla="*/ 134 w 242"/>
                <a:gd name="T55" fmla="*/ 354 h 367"/>
                <a:gd name="T56" fmla="*/ 172 w 242"/>
                <a:gd name="T57" fmla="*/ 348 h 367"/>
                <a:gd name="T58" fmla="*/ 201 w 242"/>
                <a:gd name="T59" fmla="*/ 333 h 367"/>
                <a:gd name="T60" fmla="*/ 213 w 242"/>
                <a:gd name="T61" fmla="*/ 320 h 367"/>
                <a:gd name="T62" fmla="*/ 227 w 242"/>
                <a:gd name="T63" fmla="*/ 290 h 367"/>
                <a:gd name="T64" fmla="*/ 230 w 242"/>
                <a:gd name="T65" fmla="*/ 250 h 367"/>
                <a:gd name="T66" fmla="*/ 223 w 242"/>
                <a:gd name="T67" fmla="*/ 217 h 367"/>
                <a:gd name="T68" fmla="*/ 205 w 242"/>
                <a:gd name="T69" fmla="*/ 122 h 367"/>
                <a:gd name="T70" fmla="*/ 183 w 242"/>
                <a:gd name="T71" fmla="*/ 36 h 367"/>
                <a:gd name="T72" fmla="*/ 168 w 242"/>
                <a:gd name="T73" fmla="*/ 19 h 367"/>
                <a:gd name="T74" fmla="*/ 152 w 242"/>
                <a:gd name="T75" fmla="*/ 13 h 367"/>
                <a:gd name="T76" fmla="*/ 135 w 242"/>
                <a:gd name="T77" fmla="*/ 14 h 367"/>
                <a:gd name="T78" fmla="*/ 108 w 242"/>
                <a:gd name="T79" fmla="*/ 19 h 367"/>
                <a:gd name="T80" fmla="*/ 74 w 242"/>
                <a:gd name="T81" fmla="*/ 33 h 367"/>
                <a:gd name="T82" fmla="*/ 37 w 242"/>
                <a:gd name="T83" fmla="*/ 60 h 367"/>
                <a:gd name="T84" fmla="*/ 30 w 242"/>
                <a:gd name="T85" fmla="*/ 74 h 367"/>
                <a:gd name="T86" fmla="*/ 26 w 242"/>
                <a:gd name="T87" fmla="*/ 80 h 367"/>
                <a:gd name="T88" fmla="*/ 16 w 242"/>
                <a:gd name="T89" fmla="*/ 146 h 367"/>
                <a:gd name="T90" fmla="*/ 14 w 242"/>
                <a:gd name="T91" fmla="*/ 240 h 367"/>
                <a:gd name="T92" fmla="*/ 20 w 242"/>
                <a:gd name="T93" fmla="*/ 289 h 367"/>
                <a:gd name="T94" fmla="*/ 29 w 242"/>
                <a:gd name="T95" fmla="*/ 313 h 367"/>
                <a:gd name="T96" fmla="*/ 50 w 242"/>
                <a:gd name="T97" fmla="*/ 334 h 367"/>
                <a:gd name="T98" fmla="*/ 86 w 242"/>
                <a:gd name="T99" fmla="*/ 351 h 367"/>
                <a:gd name="T100" fmla="*/ 117 w 242"/>
                <a:gd name="T101" fmla="*/ 354 h 367"/>
                <a:gd name="T102" fmla="*/ 123 w 242"/>
                <a:gd name="T103" fmla="*/ 3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2" h="367">
                  <a:moveTo>
                    <a:pt x="132" y="367"/>
                  </a:moveTo>
                  <a:lnTo>
                    <a:pt x="132" y="367"/>
                  </a:lnTo>
                  <a:lnTo>
                    <a:pt x="124" y="366"/>
                  </a:lnTo>
                  <a:lnTo>
                    <a:pt x="124" y="366"/>
                  </a:lnTo>
                  <a:lnTo>
                    <a:pt x="117" y="367"/>
                  </a:lnTo>
                  <a:lnTo>
                    <a:pt x="117" y="367"/>
                  </a:lnTo>
                  <a:lnTo>
                    <a:pt x="117" y="367"/>
                  </a:lnTo>
                  <a:lnTo>
                    <a:pt x="107" y="366"/>
                  </a:lnTo>
                  <a:lnTo>
                    <a:pt x="96" y="364"/>
                  </a:lnTo>
                  <a:lnTo>
                    <a:pt x="83" y="363"/>
                  </a:lnTo>
                  <a:lnTo>
                    <a:pt x="69" y="359"/>
                  </a:lnTo>
                  <a:lnTo>
                    <a:pt x="55" y="353"/>
                  </a:lnTo>
                  <a:lnTo>
                    <a:pt x="41" y="344"/>
                  </a:lnTo>
                  <a:lnTo>
                    <a:pt x="35" y="339"/>
                  </a:lnTo>
                  <a:lnTo>
                    <a:pt x="29" y="333"/>
                  </a:lnTo>
                  <a:lnTo>
                    <a:pt x="24" y="327"/>
                  </a:lnTo>
                  <a:lnTo>
                    <a:pt x="19" y="319"/>
                  </a:lnTo>
                  <a:lnTo>
                    <a:pt x="19" y="319"/>
                  </a:lnTo>
                  <a:lnTo>
                    <a:pt x="12" y="309"/>
                  </a:lnTo>
                  <a:lnTo>
                    <a:pt x="8" y="295"/>
                  </a:lnTo>
                  <a:lnTo>
                    <a:pt x="5" y="280"/>
                  </a:lnTo>
                  <a:lnTo>
                    <a:pt x="2" y="263"/>
                  </a:lnTo>
                  <a:lnTo>
                    <a:pt x="1" y="244"/>
                  </a:lnTo>
                  <a:lnTo>
                    <a:pt x="0" y="225"/>
                  </a:lnTo>
                  <a:lnTo>
                    <a:pt x="1" y="185"/>
                  </a:lnTo>
                  <a:lnTo>
                    <a:pt x="3" y="146"/>
                  </a:lnTo>
                  <a:lnTo>
                    <a:pt x="7" y="112"/>
                  </a:lnTo>
                  <a:lnTo>
                    <a:pt x="12" y="85"/>
                  </a:lnTo>
                  <a:lnTo>
                    <a:pt x="15" y="75"/>
                  </a:lnTo>
                  <a:lnTo>
                    <a:pt x="17" y="69"/>
                  </a:lnTo>
                  <a:lnTo>
                    <a:pt x="17" y="69"/>
                  </a:lnTo>
                  <a:lnTo>
                    <a:pt x="20" y="65"/>
                  </a:lnTo>
                  <a:lnTo>
                    <a:pt x="24" y="59"/>
                  </a:lnTo>
                  <a:lnTo>
                    <a:pt x="30" y="50"/>
                  </a:lnTo>
                  <a:lnTo>
                    <a:pt x="39" y="40"/>
                  </a:lnTo>
                  <a:lnTo>
                    <a:pt x="52" y="30"/>
                  </a:lnTo>
                  <a:lnTo>
                    <a:pt x="70" y="20"/>
                  </a:lnTo>
                  <a:lnTo>
                    <a:pt x="80" y="15"/>
                  </a:lnTo>
                  <a:lnTo>
                    <a:pt x="91" y="11"/>
                  </a:lnTo>
                  <a:lnTo>
                    <a:pt x="105" y="8"/>
                  </a:lnTo>
                  <a:lnTo>
                    <a:pt x="120" y="4"/>
                  </a:lnTo>
                  <a:lnTo>
                    <a:pt x="120" y="4"/>
                  </a:lnTo>
                  <a:lnTo>
                    <a:pt x="133" y="1"/>
                  </a:lnTo>
                  <a:lnTo>
                    <a:pt x="145" y="0"/>
                  </a:lnTo>
                  <a:lnTo>
                    <a:pt x="145" y="0"/>
                  </a:lnTo>
                  <a:lnTo>
                    <a:pt x="154" y="1"/>
                  </a:lnTo>
                  <a:lnTo>
                    <a:pt x="162" y="2"/>
                  </a:lnTo>
                  <a:lnTo>
                    <a:pt x="169" y="5"/>
                  </a:lnTo>
                  <a:lnTo>
                    <a:pt x="174" y="8"/>
                  </a:lnTo>
                  <a:lnTo>
                    <a:pt x="181" y="13"/>
                  </a:lnTo>
                  <a:lnTo>
                    <a:pt x="186" y="18"/>
                  </a:lnTo>
                  <a:lnTo>
                    <a:pt x="189" y="24"/>
                  </a:lnTo>
                  <a:lnTo>
                    <a:pt x="193" y="31"/>
                  </a:lnTo>
                  <a:lnTo>
                    <a:pt x="201" y="48"/>
                  </a:lnTo>
                  <a:lnTo>
                    <a:pt x="206" y="69"/>
                  </a:lnTo>
                  <a:lnTo>
                    <a:pt x="211" y="93"/>
                  </a:lnTo>
                  <a:lnTo>
                    <a:pt x="216" y="119"/>
                  </a:lnTo>
                  <a:lnTo>
                    <a:pt x="216" y="119"/>
                  </a:lnTo>
                  <a:lnTo>
                    <a:pt x="225" y="163"/>
                  </a:lnTo>
                  <a:lnTo>
                    <a:pt x="236" y="215"/>
                  </a:lnTo>
                  <a:lnTo>
                    <a:pt x="236" y="215"/>
                  </a:lnTo>
                  <a:lnTo>
                    <a:pt x="240" y="232"/>
                  </a:lnTo>
                  <a:lnTo>
                    <a:pt x="242" y="250"/>
                  </a:lnTo>
                  <a:lnTo>
                    <a:pt x="242" y="265"/>
                  </a:lnTo>
                  <a:lnTo>
                    <a:pt x="241" y="280"/>
                  </a:lnTo>
                  <a:lnTo>
                    <a:pt x="238" y="294"/>
                  </a:lnTo>
                  <a:lnTo>
                    <a:pt x="235" y="307"/>
                  </a:lnTo>
                  <a:lnTo>
                    <a:pt x="230" y="318"/>
                  </a:lnTo>
                  <a:lnTo>
                    <a:pt x="222" y="329"/>
                  </a:lnTo>
                  <a:lnTo>
                    <a:pt x="222" y="329"/>
                  </a:lnTo>
                  <a:lnTo>
                    <a:pt x="217" y="334"/>
                  </a:lnTo>
                  <a:lnTo>
                    <a:pt x="212" y="340"/>
                  </a:lnTo>
                  <a:lnTo>
                    <a:pt x="199" y="349"/>
                  </a:lnTo>
                  <a:lnTo>
                    <a:pt x="187" y="356"/>
                  </a:lnTo>
                  <a:lnTo>
                    <a:pt x="173" y="361"/>
                  </a:lnTo>
                  <a:lnTo>
                    <a:pt x="161" y="363"/>
                  </a:lnTo>
                  <a:lnTo>
                    <a:pt x="149" y="366"/>
                  </a:lnTo>
                  <a:lnTo>
                    <a:pt x="132" y="367"/>
                  </a:lnTo>
                  <a:lnTo>
                    <a:pt x="132" y="367"/>
                  </a:lnTo>
                  <a:close/>
                  <a:moveTo>
                    <a:pt x="124" y="353"/>
                  </a:moveTo>
                  <a:lnTo>
                    <a:pt x="124" y="353"/>
                  </a:lnTo>
                  <a:lnTo>
                    <a:pt x="124" y="353"/>
                  </a:lnTo>
                  <a:lnTo>
                    <a:pt x="124" y="353"/>
                  </a:lnTo>
                  <a:lnTo>
                    <a:pt x="134" y="354"/>
                  </a:lnTo>
                  <a:lnTo>
                    <a:pt x="144" y="353"/>
                  </a:lnTo>
                  <a:lnTo>
                    <a:pt x="158" y="352"/>
                  </a:lnTo>
                  <a:lnTo>
                    <a:pt x="172" y="348"/>
                  </a:lnTo>
                  <a:lnTo>
                    <a:pt x="187" y="342"/>
                  </a:lnTo>
                  <a:lnTo>
                    <a:pt x="193" y="338"/>
                  </a:lnTo>
                  <a:lnTo>
                    <a:pt x="201" y="333"/>
                  </a:lnTo>
                  <a:lnTo>
                    <a:pt x="207" y="328"/>
                  </a:lnTo>
                  <a:lnTo>
                    <a:pt x="213" y="320"/>
                  </a:lnTo>
                  <a:lnTo>
                    <a:pt x="213" y="320"/>
                  </a:lnTo>
                  <a:lnTo>
                    <a:pt x="218" y="312"/>
                  </a:lnTo>
                  <a:lnTo>
                    <a:pt x="223" y="302"/>
                  </a:lnTo>
                  <a:lnTo>
                    <a:pt x="227" y="290"/>
                  </a:lnTo>
                  <a:lnTo>
                    <a:pt x="230" y="278"/>
                  </a:lnTo>
                  <a:lnTo>
                    <a:pt x="230" y="264"/>
                  </a:lnTo>
                  <a:lnTo>
                    <a:pt x="230" y="250"/>
                  </a:lnTo>
                  <a:lnTo>
                    <a:pt x="227" y="234"/>
                  </a:lnTo>
                  <a:lnTo>
                    <a:pt x="223" y="217"/>
                  </a:lnTo>
                  <a:lnTo>
                    <a:pt x="223" y="217"/>
                  </a:lnTo>
                  <a:lnTo>
                    <a:pt x="212" y="166"/>
                  </a:lnTo>
                  <a:lnTo>
                    <a:pt x="205" y="122"/>
                  </a:lnTo>
                  <a:lnTo>
                    <a:pt x="205" y="122"/>
                  </a:lnTo>
                  <a:lnTo>
                    <a:pt x="193" y="70"/>
                  </a:lnTo>
                  <a:lnTo>
                    <a:pt x="188" y="51"/>
                  </a:lnTo>
                  <a:lnTo>
                    <a:pt x="183" y="36"/>
                  </a:lnTo>
                  <a:lnTo>
                    <a:pt x="176" y="26"/>
                  </a:lnTo>
                  <a:lnTo>
                    <a:pt x="172" y="21"/>
                  </a:lnTo>
                  <a:lnTo>
                    <a:pt x="168" y="19"/>
                  </a:lnTo>
                  <a:lnTo>
                    <a:pt x="163" y="16"/>
                  </a:lnTo>
                  <a:lnTo>
                    <a:pt x="158" y="14"/>
                  </a:lnTo>
                  <a:lnTo>
                    <a:pt x="152" y="13"/>
                  </a:lnTo>
                  <a:lnTo>
                    <a:pt x="145" y="13"/>
                  </a:lnTo>
                  <a:lnTo>
                    <a:pt x="145" y="13"/>
                  </a:lnTo>
                  <a:lnTo>
                    <a:pt x="135" y="14"/>
                  </a:lnTo>
                  <a:lnTo>
                    <a:pt x="123" y="15"/>
                  </a:lnTo>
                  <a:lnTo>
                    <a:pt x="123" y="15"/>
                  </a:lnTo>
                  <a:lnTo>
                    <a:pt x="108" y="19"/>
                  </a:lnTo>
                  <a:lnTo>
                    <a:pt x="95" y="23"/>
                  </a:lnTo>
                  <a:lnTo>
                    <a:pt x="84" y="28"/>
                  </a:lnTo>
                  <a:lnTo>
                    <a:pt x="74" y="33"/>
                  </a:lnTo>
                  <a:lnTo>
                    <a:pt x="58" y="41"/>
                  </a:lnTo>
                  <a:lnTo>
                    <a:pt x="46" y="51"/>
                  </a:lnTo>
                  <a:lnTo>
                    <a:pt x="37" y="60"/>
                  </a:lnTo>
                  <a:lnTo>
                    <a:pt x="32" y="67"/>
                  </a:lnTo>
                  <a:lnTo>
                    <a:pt x="30" y="74"/>
                  </a:lnTo>
                  <a:lnTo>
                    <a:pt x="30" y="74"/>
                  </a:lnTo>
                  <a:lnTo>
                    <a:pt x="29" y="75"/>
                  </a:lnTo>
                  <a:lnTo>
                    <a:pt x="29" y="75"/>
                  </a:lnTo>
                  <a:lnTo>
                    <a:pt x="26" y="80"/>
                  </a:lnTo>
                  <a:lnTo>
                    <a:pt x="25" y="88"/>
                  </a:lnTo>
                  <a:lnTo>
                    <a:pt x="20" y="113"/>
                  </a:lnTo>
                  <a:lnTo>
                    <a:pt x="16" y="146"/>
                  </a:lnTo>
                  <a:lnTo>
                    <a:pt x="14" y="182"/>
                  </a:lnTo>
                  <a:lnTo>
                    <a:pt x="12" y="221"/>
                  </a:lnTo>
                  <a:lnTo>
                    <a:pt x="14" y="240"/>
                  </a:lnTo>
                  <a:lnTo>
                    <a:pt x="15" y="258"/>
                  </a:lnTo>
                  <a:lnTo>
                    <a:pt x="17" y="275"/>
                  </a:lnTo>
                  <a:lnTo>
                    <a:pt x="20" y="289"/>
                  </a:lnTo>
                  <a:lnTo>
                    <a:pt x="24" y="303"/>
                  </a:lnTo>
                  <a:lnTo>
                    <a:pt x="29" y="313"/>
                  </a:lnTo>
                  <a:lnTo>
                    <a:pt x="29" y="313"/>
                  </a:lnTo>
                  <a:lnTo>
                    <a:pt x="34" y="319"/>
                  </a:lnTo>
                  <a:lnTo>
                    <a:pt x="39" y="325"/>
                  </a:lnTo>
                  <a:lnTo>
                    <a:pt x="50" y="334"/>
                  </a:lnTo>
                  <a:lnTo>
                    <a:pt x="61" y="342"/>
                  </a:lnTo>
                  <a:lnTo>
                    <a:pt x="74" y="347"/>
                  </a:lnTo>
                  <a:lnTo>
                    <a:pt x="86" y="351"/>
                  </a:lnTo>
                  <a:lnTo>
                    <a:pt x="98" y="353"/>
                  </a:lnTo>
                  <a:lnTo>
                    <a:pt x="117" y="354"/>
                  </a:lnTo>
                  <a:lnTo>
                    <a:pt x="117" y="354"/>
                  </a:lnTo>
                  <a:lnTo>
                    <a:pt x="117" y="354"/>
                  </a:lnTo>
                  <a:lnTo>
                    <a:pt x="123" y="353"/>
                  </a:lnTo>
                  <a:lnTo>
                    <a:pt x="123" y="353"/>
                  </a:lnTo>
                  <a:lnTo>
                    <a:pt x="124" y="353"/>
                  </a:lnTo>
                  <a:lnTo>
                    <a:pt x="124" y="353"/>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25" name="Freeform 82"/>
            <p:cNvSpPr>
              <a:spLocks noEditPoints="1"/>
            </p:cNvSpPr>
            <p:nvPr/>
          </p:nvSpPr>
          <p:spPr bwMode="auto">
            <a:xfrm>
              <a:off x="5732327" y="2375668"/>
              <a:ext cx="1613565" cy="1325938"/>
            </a:xfrm>
            <a:custGeom>
              <a:avLst/>
              <a:gdLst>
                <a:gd name="T0" fmla="*/ 516 w 1582"/>
                <a:gd name="T1" fmla="*/ 1295 h 1300"/>
                <a:gd name="T2" fmla="*/ 501 w 1582"/>
                <a:gd name="T3" fmla="*/ 1279 h 1300"/>
                <a:gd name="T4" fmla="*/ 467 w 1582"/>
                <a:gd name="T5" fmla="*/ 1133 h 1300"/>
                <a:gd name="T6" fmla="*/ 383 w 1582"/>
                <a:gd name="T7" fmla="*/ 857 h 1300"/>
                <a:gd name="T8" fmla="*/ 240 w 1582"/>
                <a:gd name="T9" fmla="*/ 542 h 1300"/>
                <a:gd name="T10" fmla="*/ 117 w 1582"/>
                <a:gd name="T11" fmla="*/ 361 h 1300"/>
                <a:gd name="T12" fmla="*/ 56 w 1582"/>
                <a:gd name="T13" fmla="*/ 275 h 1300"/>
                <a:gd name="T14" fmla="*/ 5 w 1582"/>
                <a:gd name="T15" fmla="*/ 137 h 1300"/>
                <a:gd name="T16" fmla="*/ 7 w 1582"/>
                <a:gd name="T17" fmla="*/ 70 h 1300"/>
                <a:gd name="T18" fmla="*/ 49 w 1582"/>
                <a:gd name="T19" fmla="*/ 19 h 1300"/>
                <a:gd name="T20" fmla="*/ 124 w 1582"/>
                <a:gd name="T21" fmla="*/ 0 h 1300"/>
                <a:gd name="T22" fmla="*/ 208 w 1582"/>
                <a:gd name="T23" fmla="*/ 16 h 1300"/>
                <a:gd name="T24" fmla="*/ 251 w 1582"/>
                <a:gd name="T25" fmla="*/ 60 h 1300"/>
                <a:gd name="T26" fmla="*/ 264 w 1582"/>
                <a:gd name="T27" fmla="*/ 116 h 1300"/>
                <a:gd name="T28" fmla="*/ 378 w 1582"/>
                <a:gd name="T29" fmla="*/ 318 h 1300"/>
                <a:gd name="T30" fmla="*/ 512 w 1582"/>
                <a:gd name="T31" fmla="*/ 489 h 1300"/>
                <a:gd name="T32" fmla="*/ 623 w 1582"/>
                <a:gd name="T33" fmla="*/ 606 h 1300"/>
                <a:gd name="T34" fmla="*/ 705 w 1582"/>
                <a:gd name="T35" fmla="*/ 754 h 1300"/>
                <a:gd name="T36" fmla="*/ 739 w 1582"/>
                <a:gd name="T37" fmla="*/ 905 h 1300"/>
                <a:gd name="T38" fmla="*/ 725 w 1582"/>
                <a:gd name="T39" fmla="*/ 1039 h 1300"/>
                <a:gd name="T40" fmla="*/ 839 w 1582"/>
                <a:gd name="T41" fmla="*/ 1018 h 1300"/>
                <a:gd name="T42" fmla="*/ 1111 w 1582"/>
                <a:gd name="T43" fmla="*/ 915 h 1300"/>
                <a:gd name="T44" fmla="*/ 1288 w 1582"/>
                <a:gd name="T45" fmla="*/ 882 h 1300"/>
                <a:gd name="T46" fmla="*/ 1435 w 1582"/>
                <a:gd name="T47" fmla="*/ 886 h 1300"/>
                <a:gd name="T48" fmla="*/ 1559 w 1582"/>
                <a:gd name="T49" fmla="*/ 927 h 1300"/>
                <a:gd name="T50" fmla="*/ 1574 w 1582"/>
                <a:gd name="T51" fmla="*/ 974 h 1300"/>
                <a:gd name="T52" fmla="*/ 1579 w 1582"/>
                <a:gd name="T53" fmla="*/ 1087 h 1300"/>
                <a:gd name="T54" fmla="*/ 1557 w 1582"/>
                <a:gd name="T55" fmla="*/ 1146 h 1300"/>
                <a:gd name="T56" fmla="*/ 1187 w 1582"/>
                <a:gd name="T57" fmla="*/ 1176 h 1300"/>
                <a:gd name="T58" fmla="*/ 945 w 1582"/>
                <a:gd name="T59" fmla="*/ 1220 h 1300"/>
                <a:gd name="T60" fmla="*/ 592 w 1582"/>
                <a:gd name="T61" fmla="*/ 1299 h 1300"/>
                <a:gd name="T62" fmla="*/ 540 w 1582"/>
                <a:gd name="T63" fmla="*/ 1288 h 1300"/>
                <a:gd name="T64" fmla="*/ 705 w 1582"/>
                <a:gd name="T65" fmla="*/ 1268 h 1300"/>
                <a:gd name="T66" fmla="*/ 1029 w 1582"/>
                <a:gd name="T67" fmla="*/ 1189 h 1300"/>
                <a:gd name="T68" fmla="*/ 1398 w 1582"/>
                <a:gd name="T69" fmla="*/ 1142 h 1300"/>
                <a:gd name="T70" fmla="*/ 1567 w 1582"/>
                <a:gd name="T71" fmla="*/ 1086 h 1300"/>
                <a:gd name="T72" fmla="*/ 1559 w 1582"/>
                <a:gd name="T73" fmla="*/ 962 h 1300"/>
                <a:gd name="T74" fmla="*/ 1483 w 1582"/>
                <a:gd name="T75" fmla="*/ 910 h 1300"/>
                <a:gd name="T76" fmla="*/ 1347 w 1582"/>
                <a:gd name="T77" fmla="*/ 892 h 1300"/>
                <a:gd name="T78" fmla="*/ 1171 w 1582"/>
                <a:gd name="T79" fmla="*/ 912 h 1300"/>
                <a:gd name="T80" fmla="*/ 909 w 1582"/>
                <a:gd name="T81" fmla="*/ 999 h 1300"/>
                <a:gd name="T82" fmla="*/ 712 w 1582"/>
                <a:gd name="T83" fmla="*/ 1097 h 1300"/>
                <a:gd name="T84" fmla="*/ 687 w 1582"/>
                <a:gd name="T85" fmla="*/ 1103 h 1300"/>
                <a:gd name="T86" fmla="*/ 718 w 1582"/>
                <a:gd name="T87" fmla="*/ 1010 h 1300"/>
                <a:gd name="T88" fmla="*/ 724 w 1582"/>
                <a:gd name="T89" fmla="*/ 877 h 1300"/>
                <a:gd name="T90" fmla="*/ 690 w 1582"/>
                <a:gd name="T91" fmla="*/ 753 h 1300"/>
                <a:gd name="T92" fmla="*/ 566 w 1582"/>
                <a:gd name="T93" fmla="*/ 558 h 1300"/>
                <a:gd name="T94" fmla="*/ 460 w 1582"/>
                <a:gd name="T95" fmla="*/ 450 h 1300"/>
                <a:gd name="T96" fmla="*/ 310 w 1582"/>
                <a:gd name="T97" fmla="*/ 234 h 1300"/>
                <a:gd name="T98" fmla="*/ 249 w 1582"/>
                <a:gd name="T99" fmla="*/ 106 h 1300"/>
                <a:gd name="T100" fmla="*/ 231 w 1582"/>
                <a:gd name="T101" fmla="*/ 50 h 1300"/>
                <a:gd name="T102" fmla="*/ 176 w 1582"/>
                <a:gd name="T103" fmla="*/ 18 h 1300"/>
                <a:gd name="T104" fmla="*/ 98 w 1582"/>
                <a:gd name="T105" fmla="*/ 15 h 1300"/>
                <a:gd name="T106" fmla="*/ 39 w 1582"/>
                <a:gd name="T107" fmla="*/ 43 h 1300"/>
                <a:gd name="T108" fmla="*/ 14 w 1582"/>
                <a:gd name="T109" fmla="*/ 101 h 1300"/>
                <a:gd name="T110" fmla="*/ 39 w 1582"/>
                <a:gd name="T111" fmla="*/ 209 h 1300"/>
                <a:gd name="T112" fmla="*/ 110 w 1582"/>
                <a:gd name="T113" fmla="*/ 335 h 1300"/>
                <a:gd name="T114" fmla="*/ 191 w 1582"/>
                <a:gd name="T115" fmla="*/ 441 h 1300"/>
                <a:gd name="T116" fmla="*/ 316 w 1582"/>
                <a:gd name="T117" fmla="*/ 665 h 1300"/>
                <a:gd name="T118" fmla="*/ 447 w 1582"/>
                <a:gd name="T119" fmla="*/ 1009 h 1300"/>
                <a:gd name="T120" fmla="*/ 491 w 1582"/>
                <a:gd name="T121" fmla="*/ 1206 h 1300"/>
                <a:gd name="T122" fmla="*/ 521 w 1582"/>
                <a:gd name="T123" fmla="*/ 1284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82" h="1300">
                  <a:moveTo>
                    <a:pt x="563" y="1300"/>
                  </a:moveTo>
                  <a:lnTo>
                    <a:pt x="563" y="1300"/>
                  </a:lnTo>
                  <a:lnTo>
                    <a:pt x="549" y="1300"/>
                  </a:lnTo>
                  <a:lnTo>
                    <a:pt x="538" y="1299"/>
                  </a:lnTo>
                  <a:lnTo>
                    <a:pt x="526" y="1298"/>
                  </a:lnTo>
                  <a:lnTo>
                    <a:pt x="516" y="1295"/>
                  </a:lnTo>
                  <a:lnTo>
                    <a:pt x="516" y="1295"/>
                  </a:lnTo>
                  <a:lnTo>
                    <a:pt x="515" y="1294"/>
                  </a:lnTo>
                  <a:lnTo>
                    <a:pt x="515" y="1294"/>
                  </a:lnTo>
                  <a:lnTo>
                    <a:pt x="512" y="1293"/>
                  </a:lnTo>
                  <a:lnTo>
                    <a:pt x="507" y="1288"/>
                  </a:lnTo>
                  <a:lnTo>
                    <a:pt x="501" y="1279"/>
                  </a:lnTo>
                  <a:lnTo>
                    <a:pt x="495" y="1265"/>
                  </a:lnTo>
                  <a:lnTo>
                    <a:pt x="487" y="1244"/>
                  </a:lnTo>
                  <a:lnTo>
                    <a:pt x="480" y="1216"/>
                  </a:lnTo>
                  <a:lnTo>
                    <a:pt x="473" y="1180"/>
                  </a:lnTo>
                  <a:lnTo>
                    <a:pt x="467" y="1133"/>
                  </a:lnTo>
                  <a:lnTo>
                    <a:pt x="467" y="1133"/>
                  </a:lnTo>
                  <a:lnTo>
                    <a:pt x="462" y="1111"/>
                  </a:lnTo>
                  <a:lnTo>
                    <a:pt x="447" y="1053"/>
                  </a:lnTo>
                  <a:lnTo>
                    <a:pt x="434" y="1013"/>
                  </a:lnTo>
                  <a:lnTo>
                    <a:pt x="421" y="965"/>
                  </a:lnTo>
                  <a:lnTo>
                    <a:pt x="403" y="913"/>
                  </a:lnTo>
                  <a:lnTo>
                    <a:pt x="383" y="857"/>
                  </a:lnTo>
                  <a:lnTo>
                    <a:pt x="360" y="797"/>
                  </a:lnTo>
                  <a:lnTo>
                    <a:pt x="335" y="735"/>
                  </a:lnTo>
                  <a:lnTo>
                    <a:pt x="306" y="671"/>
                  </a:lnTo>
                  <a:lnTo>
                    <a:pt x="274" y="606"/>
                  </a:lnTo>
                  <a:lnTo>
                    <a:pt x="257" y="574"/>
                  </a:lnTo>
                  <a:lnTo>
                    <a:pt x="240" y="542"/>
                  </a:lnTo>
                  <a:lnTo>
                    <a:pt x="221" y="510"/>
                  </a:lnTo>
                  <a:lnTo>
                    <a:pt x="202" y="479"/>
                  </a:lnTo>
                  <a:lnTo>
                    <a:pt x="182" y="449"/>
                  </a:lnTo>
                  <a:lnTo>
                    <a:pt x="161" y="418"/>
                  </a:lnTo>
                  <a:lnTo>
                    <a:pt x="139" y="389"/>
                  </a:lnTo>
                  <a:lnTo>
                    <a:pt x="117" y="361"/>
                  </a:lnTo>
                  <a:lnTo>
                    <a:pt x="117" y="361"/>
                  </a:lnTo>
                  <a:lnTo>
                    <a:pt x="112" y="357"/>
                  </a:lnTo>
                  <a:lnTo>
                    <a:pt x="101" y="343"/>
                  </a:lnTo>
                  <a:lnTo>
                    <a:pt x="85" y="322"/>
                  </a:lnTo>
                  <a:lnTo>
                    <a:pt x="66" y="293"/>
                  </a:lnTo>
                  <a:lnTo>
                    <a:pt x="56" y="275"/>
                  </a:lnTo>
                  <a:lnTo>
                    <a:pt x="46" y="256"/>
                  </a:lnTo>
                  <a:lnTo>
                    <a:pt x="36" y="236"/>
                  </a:lnTo>
                  <a:lnTo>
                    <a:pt x="27" y="214"/>
                  </a:lnTo>
                  <a:lnTo>
                    <a:pt x="19" y="190"/>
                  </a:lnTo>
                  <a:lnTo>
                    <a:pt x="11" y="163"/>
                  </a:lnTo>
                  <a:lnTo>
                    <a:pt x="5" y="137"/>
                  </a:lnTo>
                  <a:lnTo>
                    <a:pt x="0" y="108"/>
                  </a:lnTo>
                  <a:lnTo>
                    <a:pt x="0" y="108"/>
                  </a:lnTo>
                  <a:lnTo>
                    <a:pt x="1" y="99"/>
                  </a:lnTo>
                  <a:lnTo>
                    <a:pt x="1" y="92"/>
                  </a:lnTo>
                  <a:lnTo>
                    <a:pt x="3" y="82"/>
                  </a:lnTo>
                  <a:lnTo>
                    <a:pt x="7" y="70"/>
                  </a:lnTo>
                  <a:lnTo>
                    <a:pt x="12" y="58"/>
                  </a:lnTo>
                  <a:lnTo>
                    <a:pt x="20" y="45"/>
                  </a:lnTo>
                  <a:lnTo>
                    <a:pt x="30" y="34"/>
                  </a:lnTo>
                  <a:lnTo>
                    <a:pt x="30" y="34"/>
                  </a:lnTo>
                  <a:lnTo>
                    <a:pt x="39" y="26"/>
                  </a:lnTo>
                  <a:lnTo>
                    <a:pt x="49" y="19"/>
                  </a:lnTo>
                  <a:lnTo>
                    <a:pt x="59" y="14"/>
                  </a:lnTo>
                  <a:lnTo>
                    <a:pt x="70" y="9"/>
                  </a:lnTo>
                  <a:lnTo>
                    <a:pt x="81" y="5"/>
                  </a:lnTo>
                  <a:lnTo>
                    <a:pt x="95" y="3"/>
                  </a:lnTo>
                  <a:lnTo>
                    <a:pt x="109" y="1"/>
                  </a:lnTo>
                  <a:lnTo>
                    <a:pt x="124" y="0"/>
                  </a:lnTo>
                  <a:lnTo>
                    <a:pt x="124" y="0"/>
                  </a:lnTo>
                  <a:lnTo>
                    <a:pt x="145" y="1"/>
                  </a:lnTo>
                  <a:lnTo>
                    <a:pt x="164" y="4"/>
                  </a:lnTo>
                  <a:lnTo>
                    <a:pt x="181" y="6"/>
                  </a:lnTo>
                  <a:lnTo>
                    <a:pt x="196" y="10"/>
                  </a:lnTo>
                  <a:lnTo>
                    <a:pt x="208" y="16"/>
                  </a:lnTo>
                  <a:lnTo>
                    <a:pt x="220" y="21"/>
                  </a:lnTo>
                  <a:lnTo>
                    <a:pt x="228" y="29"/>
                  </a:lnTo>
                  <a:lnTo>
                    <a:pt x="236" y="36"/>
                  </a:lnTo>
                  <a:lnTo>
                    <a:pt x="242" y="44"/>
                  </a:lnTo>
                  <a:lnTo>
                    <a:pt x="247" y="52"/>
                  </a:lnTo>
                  <a:lnTo>
                    <a:pt x="251" y="60"/>
                  </a:lnTo>
                  <a:lnTo>
                    <a:pt x="254" y="69"/>
                  </a:lnTo>
                  <a:lnTo>
                    <a:pt x="259" y="87"/>
                  </a:lnTo>
                  <a:lnTo>
                    <a:pt x="261" y="104"/>
                  </a:lnTo>
                  <a:lnTo>
                    <a:pt x="261" y="106"/>
                  </a:lnTo>
                  <a:lnTo>
                    <a:pt x="261" y="106"/>
                  </a:lnTo>
                  <a:lnTo>
                    <a:pt x="264" y="116"/>
                  </a:lnTo>
                  <a:lnTo>
                    <a:pt x="270" y="131"/>
                  </a:lnTo>
                  <a:lnTo>
                    <a:pt x="279" y="150"/>
                  </a:lnTo>
                  <a:lnTo>
                    <a:pt x="290" y="172"/>
                  </a:lnTo>
                  <a:lnTo>
                    <a:pt x="320" y="226"/>
                  </a:lnTo>
                  <a:lnTo>
                    <a:pt x="357" y="286"/>
                  </a:lnTo>
                  <a:lnTo>
                    <a:pt x="378" y="318"/>
                  </a:lnTo>
                  <a:lnTo>
                    <a:pt x="399" y="351"/>
                  </a:lnTo>
                  <a:lnTo>
                    <a:pt x="422" y="381"/>
                  </a:lnTo>
                  <a:lnTo>
                    <a:pt x="445" y="411"/>
                  </a:lnTo>
                  <a:lnTo>
                    <a:pt x="467" y="440"/>
                  </a:lnTo>
                  <a:lnTo>
                    <a:pt x="490" y="466"/>
                  </a:lnTo>
                  <a:lnTo>
                    <a:pt x="512" y="489"/>
                  </a:lnTo>
                  <a:lnTo>
                    <a:pt x="534" y="509"/>
                  </a:lnTo>
                  <a:lnTo>
                    <a:pt x="534" y="509"/>
                  </a:lnTo>
                  <a:lnTo>
                    <a:pt x="555" y="528"/>
                  </a:lnTo>
                  <a:lnTo>
                    <a:pt x="578" y="550"/>
                  </a:lnTo>
                  <a:lnTo>
                    <a:pt x="600" y="575"/>
                  </a:lnTo>
                  <a:lnTo>
                    <a:pt x="623" y="606"/>
                  </a:lnTo>
                  <a:lnTo>
                    <a:pt x="646" y="638"/>
                  </a:lnTo>
                  <a:lnTo>
                    <a:pt x="667" y="675"/>
                  </a:lnTo>
                  <a:lnTo>
                    <a:pt x="687" y="712"/>
                  </a:lnTo>
                  <a:lnTo>
                    <a:pt x="696" y="732"/>
                  </a:lnTo>
                  <a:lnTo>
                    <a:pt x="705" y="754"/>
                  </a:lnTo>
                  <a:lnTo>
                    <a:pt x="705" y="754"/>
                  </a:lnTo>
                  <a:lnTo>
                    <a:pt x="716" y="787"/>
                  </a:lnTo>
                  <a:lnTo>
                    <a:pt x="726" y="823"/>
                  </a:lnTo>
                  <a:lnTo>
                    <a:pt x="731" y="843"/>
                  </a:lnTo>
                  <a:lnTo>
                    <a:pt x="735" y="863"/>
                  </a:lnTo>
                  <a:lnTo>
                    <a:pt x="737" y="883"/>
                  </a:lnTo>
                  <a:lnTo>
                    <a:pt x="739" y="905"/>
                  </a:lnTo>
                  <a:lnTo>
                    <a:pt x="740" y="926"/>
                  </a:lnTo>
                  <a:lnTo>
                    <a:pt x="740" y="949"/>
                  </a:lnTo>
                  <a:lnTo>
                    <a:pt x="737" y="971"/>
                  </a:lnTo>
                  <a:lnTo>
                    <a:pt x="735" y="994"/>
                  </a:lnTo>
                  <a:lnTo>
                    <a:pt x="731" y="1016"/>
                  </a:lnTo>
                  <a:lnTo>
                    <a:pt x="725" y="1039"/>
                  </a:lnTo>
                  <a:lnTo>
                    <a:pt x="717" y="1063"/>
                  </a:lnTo>
                  <a:lnTo>
                    <a:pt x="707" y="1086"/>
                  </a:lnTo>
                  <a:lnTo>
                    <a:pt x="707" y="1086"/>
                  </a:lnTo>
                  <a:lnTo>
                    <a:pt x="739" y="1068"/>
                  </a:lnTo>
                  <a:lnTo>
                    <a:pt x="784" y="1045"/>
                  </a:lnTo>
                  <a:lnTo>
                    <a:pt x="839" y="1018"/>
                  </a:lnTo>
                  <a:lnTo>
                    <a:pt x="904" y="988"/>
                  </a:lnTo>
                  <a:lnTo>
                    <a:pt x="904" y="988"/>
                  </a:lnTo>
                  <a:lnTo>
                    <a:pt x="950" y="969"/>
                  </a:lnTo>
                  <a:lnTo>
                    <a:pt x="1000" y="950"/>
                  </a:lnTo>
                  <a:lnTo>
                    <a:pt x="1054" y="932"/>
                  </a:lnTo>
                  <a:lnTo>
                    <a:pt x="1111" y="915"/>
                  </a:lnTo>
                  <a:lnTo>
                    <a:pt x="1139" y="907"/>
                  </a:lnTo>
                  <a:lnTo>
                    <a:pt x="1168" y="901"/>
                  </a:lnTo>
                  <a:lnTo>
                    <a:pt x="1197" y="895"/>
                  </a:lnTo>
                  <a:lnTo>
                    <a:pt x="1227" y="890"/>
                  </a:lnTo>
                  <a:lnTo>
                    <a:pt x="1258" y="885"/>
                  </a:lnTo>
                  <a:lnTo>
                    <a:pt x="1288" y="882"/>
                  </a:lnTo>
                  <a:lnTo>
                    <a:pt x="1317" y="879"/>
                  </a:lnTo>
                  <a:lnTo>
                    <a:pt x="1347" y="879"/>
                  </a:lnTo>
                  <a:lnTo>
                    <a:pt x="1347" y="879"/>
                  </a:lnTo>
                  <a:lnTo>
                    <a:pt x="1377" y="879"/>
                  </a:lnTo>
                  <a:lnTo>
                    <a:pt x="1406" y="882"/>
                  </a:lnTo>
                  <a:lnTo>
                    <a:pt x="1435" y="886"/>
                  </a:lnTo>
                  <a:lnTo>
                    <a:pt x="1461" y="891"/>
                  </a:lnTo>
                  <a:lnTo>
                    <a:pt x="1488" y="898"/>
                  </a:lnTo>
                  <a:lnTo>
                    <a:pt x="1513" y="906"/>
                  </a:lnTo>
                  <a:lnTo>
                    <a:pt x="1537" y="916"/>
                  </a:lnTo>
                  <a:lnTo>
                    <a:pt x="1559" y="927"/>
                  </a:lnTo>
                  <a:lnTo>
                    <a:pt x="1559" y="927"/>
                  </a:lnTo>
                  <a:lnTo>
                    <a:pt x="1562" y="928"/>
                  </a:lnTo>
                  <a:lnTo>
                    <a:pt x="1562" y="931"/>
                  </a:lnTo>
                  <a:lnTo>
                    <a:pt x="1562" y="931"/>
                  </a:lnTo>
                  <a:lnTo>
                    <a:pt x="1564" y="937"/>
                  </a:lnTo>
                  <a:lnTo>
                    <a:pt x="1569" y="952"/>
                  </a:lnTo>
                  <a:lnTo>
                    <a:pt x="1574" y="974"/>
                  </a:lnTo>
                  <a:lnTo>
                    <a:pt x="1579" y="1003"/>
                  </a:lnTo>
                  <a:lnTo>
                    <a:pt x="1582" y="1018"/>
                  </a:lnTo>
                  <a:lnTo>
                    <a:pt x="1582" y="1034"/>
                  </a:lnTo>
                  <a:lnTo>
                    <a:pt x="1582" y="1052"/>
                  </a:lnTo>
                  <a:lnTo>
                    <a:pt x="1581" y="1069"/>
                  </a:lnTo>
                  <a:lnTo>
                    <a:pt x="1579" y="1087"/>
                  </a:lnTo>
                  <a:lnTo>
                    <a:pt x="1575" y="1106"/>
                  </a:lnTo>
                  <a:lnTo>
                    <a:pt x="1569" y="1123"/>
                  </a:lnTo>
                  <a:lnTo>
                    <a:pt x="1562" y="1142"/>
                  </a:lnTo>
                  <a:lnTo>
                    <a:pt x="1562" y="1142"/>
                  </a:lnTo>
                  <a:lnTo>
                    <a:pt x="1560" y="1145"/>
                  </a:lnTo>
                  <a:lnTo>
                    <a:pt x="1557" y="1146"/>
                  </a:lnTo>
                  <a:lnTo>
                    <a:pt x="1557" y="1146"/>
                  </a:lnTo>
                  <a:lnTo>
                    <a:pt x="1491" y="1148"/>
                  </a:lnTo>
                  <a:lnTo>
                    <a:pt x="1422" y="1153"/>
                  </a:lnTo>
                  <a:lnTo>
                    <a:pt x="1335" y="1160"/>
                  </a:lnTo>
                  <a:lnTo>
                    <a:pt x="1237" y="1170"/>
                  </a:lnTo>
                  <a:lnTo>
                    <a:pt x="1187" y="1176"/>
                  </a:lnTo>
                  <a:lnTo>
                    <a:pt x="1136" y="1182"/>
                  </a:lnTo>
                  <a:lnTo>
                    <a:pt x="1085" y="1191"/>
                  </a:lnTo>
                  <a:lnTo>
                    <a:pt x="1036" y="1200"/>
                  </a:lnTo>
                  <a:lnTo>
                    <a:pt x="990" y="1209"/>
                  </a:lnTo>
                  <a:lnTo>
                    <a:pt x="945" y="1220"/>
                  </a:lnTo>
                  <a:lnTo>
                    <a:pt x="945" y="1220"/>
                  </a:lnTo>
                  <a:lnTo>
                    <a:pt x="811" y="1255"/>
                  </a:lnTo>
                  <a:lnTo>
                    <a:pt x="755" y="1269"/>
                  </a:lnTo>
                  <a:lnTo>
                    <a:pt x="706" y="1280"/>
                  </a:lnTo>
                  <a:lnTo>
                    <a:pt x="662" y="1289"/>
                  </a:lnTo>
                  <a:lnTo>
                    <a:pt x="624" y="1295"/>
                  </a:lnTo>
                  <a:lnTo>
                    <a:pt x="592" y="1299"/>
                  </a:lnTo>
                  <a:lnTo>
                    <a:pt x="563" y="1300"/>
                  </a:lnTo>
                  <a:lnTo>
                    <a:pt x="563" y="1300"/>
                  </a:lnTo>
                  <a:close/>
                  <a:moveTo>
                    <a:pt x="521" y="1284"/>
                  </a:moveTo>
                  <a:lnTo>
                    <a:pt x="521" y="1284"/>
                  </a:lnTo>
                  <a:lnTo>
                    <a:pt x="530" y="1285"/>
                  </a:lnTo>
                  <a:lnTo>
                    <a:pt x="540" y="1288"/>
                  </a:lnTo>
                  <a:lnTo>
                    <a:pt x="563" y="1289"/>
                  </a:lnTo>
                  <a:lnTo>
                    <a:pt x="563" y="1289"/>
                  </a:lnTo>
                  <a:lnTo>
                    <a:pt x="590" y="1288"/>
                  </a:lnTo>
                  <a:lnTo>
                    <a:pt x="623" y="1284"/>
                  </a:lnTo>
                  <a:lnTo>
                    <a:pt x="661" y="1276"/>
                  </a:lnTo>
                  <a:lnTo>
                    <a:pt x="705" y="1268"/>
                  </a:lnTo>
                  <a:lnTo>
                    <a:pt x="754" y="1256"/>
                  </a:lnTo>
                  <a:lnTo>
                    <a:pt x="809" y="1244"/>
                  </a:lnTo>
                  <a:lnTo>
                    <a:pt x="942" y="1209"/>
                  </a:lnTo>
                  <a:lnTo>
                    <a:pt x="942" y="1209"/>
                  </a:lnTo>
                  <a:lnTo>
                    <a:pt x="984" y="1197"/>
                  </a:lnTo>
                  <a:lnTo>
                    <a:pt x="1029" y="1189"/>
                  </a:lnTo>
                  <a:lnTo>
                    <a:pt x="1075" y="1180"/>
                  </a:lnTo>
                  <a:lnTo>
                    <a:pt x="1123" y="1172"/>
                  </a:lnTo>
                  <a:lnTo>
                    <a:pt x="1171" y="1165"/>
                  </a:lnTo>
                  <a:lnTo>
                    <a:pt x="1220" y="1160"/>
                  </a:lnTo>
                  <a:lnTo>
                    <a:pt x="1313" y="1150"/>
                  </a:lnTo>
                  <a:lnTo>
                    <a:pt x="1398" y="1142"/>
                  </a:lnTo>
                  <a:lnTo>
                    <a:pt x="1470" y="1137"/>
                  </a:lnTo>
                  <a:lnTo>
                    <a:pt x="1553" y="1133"/>
                  </a:lnTo>
                  <a:lnTo>
                    <a:pt x="1553" y="1133"/>
                  </a:lnTo>
                  <a:lnTo>
                    <a:pt x="1558" y="1117"/>
                  </a:lnTo>
                  <a:lnTo>
                    <a:pt x="1563" y="1102"/>
                  </a:lnTo>
                  <a:lnTo>
                    <a:pt x="1567" y="1086"/>
                  </a:lnTo>
                  <a:lnTo>
                    <a:pt x="1568" y="1069"/>
                  </a:lnTo>
                  <a:lnTo>
                    <a:pt x="1569" y="1054"/>
                  </a:lnTo>
                  <a:lnTo>
                    <a:pt x="1569" y="1039"/>
                  </a:lnTo>
                  <a:lnTo>
                    <a:pt x="1568" y="1010"/>
                  </a:lnTo>
                  <a:lnTo>
                    <a:pt x="1564" y="984"/>
                  </a:lnTo>
                  <a:lnTo>
                    <a:pt x="1559" y="962"/>
                  </a:lnTo>
                  <a:lnTo>
                    <a:pt x="1554" y="946"/>
                  </a:lnTo>
                  <a:lnTo>
                    <a:pt x="1552" y="937"/>
                  </a:lnTo>
                  <a:lnTo>
                    <a:pt x="1552" y="937"/>
                  </a:lnTo>
                  <a:lnTo>
                    <a:pt x="1529" y="926"/>
                  </a:lnTo>
                  <a:lnTo>
                    <a:pt x="1506" y="917"/>
                  </a:lnTo>
                  <a:lnTo>
                    <a:pt x="1483" y="910"/>
                  </a:lnTo>
                  <a:lnTo>
                    <a:pt x="1457" y="903"/>
                  </a:lnTo>
                  <a:lnTo>
                    <a:pt x="1431" y="898"/>
                  </a:lnTo>
                  <a:lnTo>
                    <a:pt x="1403" y="895"/>
                  </a:lnTo>
                  <a:lnTo>
                    <a:pt x="1376" y="892"/>
                  </a:lnTo>
                  <a:lnTo>
                    <a:pt x="1347" y="892"/>
                  </a:lnTo>
                  <a:lnTo>
                    <a:pt x="1347" y="892"/>
                  </a:lnTo>
                  <a:lnTo>
                    <a:pt x="1318" y="892"/>
                  </a:lnTo>
                  <a:lnTo>
                    <a:pt x="1288" y="895"/>
                  </a:lnTo>
                  <a:lnTo>
                    <a:pt x="1259" y="897"/>
                  </a:lnTo>
                  <a:lnTo>
                    <a:pt x="1229" y="902"/>
                  </a:lnTo>
                  <a:lnTo>
                    <a:pt x="1200" y="907"/>
                  </a:lnTo>
                  <a:lnTo>
                    <a:pt x="1171" y="912"/>
                  </a:lnTo>
                  <a:lnTo>
                    <a:pt x="1142" y="920"/>
                  </a:lnTo>
                  <a:lnTo>
                    <a:pt x="1113" y="927"/>
                  </a:lnTo>
                  <a:lnTo>
                    <a:pt x="1058" y="944"/>
                  </a:lnTo>
                  <a:lnTo>
                    <a:pt x="1004" y="961"/>
                  </a:lnTo>
                  <a:lnTo>
                    <a:pt x="955" y="980"/>
                  </a:lnTo>
                  <a:lnTo>
                    <a:pt x="909" y="999"/>
                  </a:lnTo>
                  <a:lnTo>
                    <a:pt x="909" y="999"/>
                  </a:lnTo>
                  <a:lnTo>
                    <a:pt x="864" y="1019"/>
                  </a:lnTo>
                  <a:lnTo>
                    <a:pt x="824" y="1038"/>
                  </a:lnTo>
                  <a:lnTo>
                    <a:pt x="788" y="1057"/>
                  </a:lnTo>
                  <a:lnTo>
                    <a:pt x="756" y="1073"/>
                  </a:lnTo>
                  <a:lnTo>
                    <a:pt x="712" y="1097"/>
                  </a:lnTo>
                  <a:lnTo>
                    <a:pt x="696" y="1107"/>
                  </a:lnTo>
                  <a:lnTo>
                    <a:pt x="696" y="1107"/>
                  </a:lnTo>
                  <a:lnTo>
                    <a:pt x="692" y="1108"/>
                  </a:lnTo>
                  <a:lnTo>
                    <a:pt x="688" y="1106"/>
                  </a:lnTo>
                  <a:lnTo>
                    <a:pt x="688" y="1106"/>
                  </a:lnTo>
                  <a:lnTo>
                    <a:pt x="687" y="1103"/>
                  </a:lnTo>
                  <a:lnTo>
                    <a:pt x="687" y="1099"/>
                  </a:lnTo>
                  <a:lnTo>
                    <a:pt x="687" y="1099"/>
                  </a:lnTo>
                  <a:lnTo>
                    <a:pt x="698" y="1077"/>
                  </a:lnTo>
                  <a:lnTo>
                    <a:pt x="706" y="1054"/>
                  </a:lnTo>
                  <a:lnTo>
                    <a:pt x="713" y="1033"/>
                  </a:lnTo>
                  <a:lnTo>
                    <a:pt x="718" y="1010"/>
                  </a:lnTo>
                  <a:lnTo>
                    <a:pt x="724" y="988"/>
                  </a:lnTo>
                  <a:lnTo>
                    <a:pt x="726" y="966"/>
                  </a:lnTo>
                  <a:lnTo>
                    <a:pt x="727" y="944"/>
                  </a:lnTo>
                  <a:lnTo>
                    <a:pt x="727" y="921"/>
                  </a:lnTo>
                  <a:lnTo>
                    <a:pt x="726" y="900"/>
                  </a:lnTo>
                  <a:lnTo>
                    <a:pt x="724" y="877"/>
                  </a:lnTo>
                  <a:lnTo>
                    <a:pt x="720" y="856"/>
                  </a:lnTo>
                  <a:lnTo>
                    <a:pt x="716" y="834"/>
                  </a:lnTo>
                  <a:lnTo>
                    <a:pt x="711" y="813"/>
                  </a:lnTo>
                  <a:lnTo>
                    <a:pt x="705" y="793"/>
                  </a:lnTo>
                  <a:lnTo>
                    <a:pt x="697" y="773"/>
                  </a:lnTo>
                  <a:lnTo>
                    <a:pt x="690" y="753"/>
                  </a:lnTo>
                  <a:lnTo>
                    <a:pt x="672" y="714"/>
                  </a:lnTo>
                  <a:lnTo>
                    <a:pt x="653" y="677"/>
                  </a:lnTo>
                  <a:lnTo>
                    <a:pt x="633" y="643"/>
                  </a:lnTo>
                  <a:lnTo>
                    <a:pt x="610" y="612"/>
                  </a:lnTo>
                  <a:lnTo>
                    <a:pt x="589" y="583"/>
                  </a:lnTo>
                  <a:lnTo>
                    <a:pt x="566" y="558"/>
                  </a:lnTo>
                  <a:lnTo>
                    <a:pt x="546" y="536"/>
                  </a:lnTo>
                  <a:lnTo>
                    <a:pt x="526" y="519"/>
                  </a:lnTo>
                  <a:lnTo>
                    <a:pt x="526" y="519"/>
                  </a:lnTo>
                  <a:lnTo>
                    <a:pt x="505" y="499"/>
                  </a:lnTo>
                  <a:lnTo>
                    <a:pt x="483" y="476"/>
                  </a:lnTo>
                  <a:lnTo>
                    <a:pt x="460" y="450"/>
                  </a:lnTo>
                  <a:lnTo>
                    <a:pt x="437" y="422"/>
                  </a:lnTo>
                  <a:lnTo>
                    <a:pt x="414" y="392"/>
                  </a:lnTo>
                  <a:lnTo>
                    <a:pt x="392" y="361"/>
                  </a:lnTo>
                  <a:lnTo>
                    <a:pt x="369" y="328"/>
                  </a:lnTo>
                  <a:lnTo>
                    <a:pt x="349" y="297"/>
                  </a:lnTo>
                  <a:lnTo>
                    <a:pt x="310" y="234"/>
                  </a:lnTo>
                  <a:lnTo>
                    <a:pt x="280" y="178"/>
                  </a:lnTo>
                  <a:lnTo>
                    <a:pt x="267" y="156"/>
                  </a:lnTo>
                  <a:lnTo>
                    <a:pt x="259" y="136"/>
                  </a:lnTo>
                  <a:lnTo>
                    <a:pt x="252" y="119"/>
                  </a:lnTo>
                  <a:lnTo>
                    <a:pt x="249" y="108"/>
                  </a:lnTo>
                  <a:lnTo>
                    <a:pt x="249" y="106"/>
                  </a:lnTo>
                  <a:lnTo>
                    <a:pt x="249" y="106"/>
                  </a:lnTo>
                  <a:lnTo>
                    <a:pt x="246" y="89"/>
                  </a:lnTo>
                  <a:lnTo>
                    <a:pt x="242" y="73"/>
                  </a:lnTo>
                  <a:lnTo>
                    <a:pt x="240" y="65"/>
                  </a:lnTo>
                  <a:lnTo>
                    <a:pt x="236" y="58"/>
                  </a:lnTo>
                  <a:lnTo>
                    <a:pt x="231" y="50"/>
                  </a:lnTo>
                  <a:lnTo>
                    <a:pt x="226" y="43"/>
                  </a:lnTo>
                  <a:lnTo>
                    <a:pt x="218" y="36"/>
                  </a:lnTo>
                  <a:lnTo>
                    <a:pt x="211" y="31"/>
                  </a:lnTo>
                  <a:lnTo>
                    <a:pt x="201" y="26"/>
                  </a:lnTo>
                  <a:lnTo>
                    <a:pt x="189" y="21"/>
                  </a:lnTo>
                  <a:lnTo>
                    <a:pt x="176" y="18"/>
                  </a:lnTo>
                  <a:lnTo>
                    <a:pt x="161" y="15"/>
                  </a:lnTo>
                  <a:lnTo>
                    <a:pt x="143" y="14"/>
                  </a:lnTo>
                  <a:lnTo>
                    <a:pt x="124" y="13"/>
                  </a:lnTo>
                  <a:lnTo>
                    <a:pt x="124" y="13"/>
                  </a:lnTo>
                  <a:lnTo>
                    <a:pt x="110" y="14"/>
                  </a:lnTo>
                  <a:lnTo>
                    <a:pt x="98" y="15"/>
                  </a:lnTo>
                  <a:lnTo>
                    <a:pt x="85" y="18"/>
                  </a:lnTo>
                  <a:lnTo>
                    <a:pt x="75" y="20"/>
                  </a:lnTo>
                  <a:lnTo>
                    <a:pt x="65" y="25"/>
                  </a:lnTo>
                  <a:lnTo>
                    <a:pt x="55" y="30"/>
                  </a:lnTo>
                  <a:lnTo>
                    <a:pt x="46" y="35"/>
                  </a:lnTo>
                  <a:lnTo>
                    <a:pt x="39" y="43"/>
                  </a:lnTo>
                  <a:lnTo>
                    <a:pt x="39" y="43"/>
                  </a:lnTo>
                  <a:lnTo>
                    <a:pt x="30" y="53"/>
                  </a:lnTo>
                  <a:lnTo>
                    <a:pt x="24" y="64"/>
                  </a:lnTo>
                  <a:lnTo>
                    <a:pt x="19" y="74"/>
                  </a:lnTo>
                  <a:lnTo>
                    <a:pt x="16" y="84"/>
                  </a:lnTo>
                  <a:lnTo>
                    <a:pt x="14" y="101"/>
                  </a:lnTo>
                  <a:lnTo>
                    <a:pt x="12" y="107"/>
                  </a:lnTo>
                  <a:lnTo>
                    <a:pt x="12" y="107"/>
                  </a:lnTo>
                  <a:lnTo>
                    <a:pt x="17" y="134"/>
                  </a:lnTo>
                  <a:lnTo>
                    <a:pt x="24" y="161"/>
                  </a:lnTo>
                  <a:lnTo>
                    <a:pt x="30" y="186"/>
                  </a:lnTo>
                  <a:lnTo>
                    <a:pt x="39" y="209"/>
                  </a:lnTo>
                  <a:lnTo>
                    <a:pt x="47" y="231"/>
                  </a:lnTo>
                  <a:lnTo>
                    <a:pt x="56" y="251"/>
                  </a:lnTo>
                  <a:lnTo>
                    <a:pt x="66" y="270"/>
                  </a:lnTo>
                  <a:lnTo>
                    <a:pt x="76" y="286"/>
                  </a:lnTo>
                  <a:lnTo>
                    <a:pt x="95" y="314"/>
                  </a:lnTo>
                  <a:lnTo>
                    <a:pt x="110" y="335"/>
                  </a:lnTo>
                  <a:lnTo>
                    <a:pt x="122" y="348"/>
                  </a:lnTo>
                  <a:lnTo>
                    <a:pt x="125" y="353"/>
                  </a:lnTo>
                  <a:lnTo>
                    <a:pt x="125" y="353"/>
                  </a:lnTo>
                  <a:lnTo>
                    <a:pt x="148" y="381"/>
                  </a:lnTo>
                  <a:lnTo>
                    <a:pt x="171" y="411"/>
                  </a:lnTo>
                  <a:lnTo>
                    <a:pt x="191" y="441"/>
                  </a:lnTo>
                  <a:lnTo>
                    <a:pt x="212" y="471"/>
                  </a:lnTo>
                  <a:lnTo>
                    <a:pt x="231" y="503"/>
                  </a:lnTo>
                  <a:lnTo>
                    <a:pt x="250" y="535"/>
                  </a:lnTo>
                  <a:lnTo>
                    <a:pt x="267" y="567"/>
                  </a:lnTo>
                  <a:lnTo>
                    <a:pt x="285" y="599"/>
                  </a:lnTo>
                  <a:lnTo>
                    <a:pt x="316" y="665"/>
                  </a:lnTo>
                  <a:lnTo>
                    <a:pt x="345" y="729"/>
                  </a:lnTo>
                  <a:lnTo>
                    <a:pt x="372" y="792"/>
                  </a:lnTo>
                  <a:lnTo>
                    <a:pt x="394" y="852"/>
                  </a:lnTo>
                  <a:lnTo>
                    <a:pt x="416" y="910"/>
                  </a:lnTo>
                  <a:lnTo>
                    <a:pt x="432" y="961"/>
                  </a:lnTo>
                  <a:lnTo>
                    <a:pt x="447" y="1009"/>
                  </a:lnTo>
                  <a:lnTo>
                    <a:pt x="458" y="1050"/>
                  </a:lnTo>
                  <a:lnTo>
                    <a:pt x="475" y="1109"/>
                  </a:lnTo>
                  <a:lnTo>
                    <a:pt x="480" y="1132"/>
                  </a:lnTo>
                  <a:lnTo>
                    <a:pt x="480" y="1132"/>
                  </a:lnTo>
                  <a:lnTo>
                    <a:pt x="485" y="1172"/>
                  </a:lnTo>
                  <a:lnTo>
                    <a:pt x="491" y="1206"/>
                  </a:lnTo>
                  <a:lnTo>
                    <a:pt x="497" y="1233"/>
                  </a:lnTo>
                  <a:lnTo>
                    <a:pt x="504" y="1251"/>
                  </a:lnTo>
                  <a:lnTo>
                    <a:pt x="509" y="1266"/>
                  </a:lnTo>
                  <a:lnTo>
                    <a:pt x="514" y="1275"/>
                  </a:lnTo>
                  <a:lnTo>
                    <a:pt x="519" y="1282"/>
                  </a:lnTo>
                  <a:lnTo>
                    <a:pt x="521" y="1284"/>
                  </a:lnTo>
                  <a:lnTo>
                    <a:pt x="521" y="1284"/>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26" name="Freeform 83"/>
            <p:cNvSpPr>
              <a:spLocks noEditPoints="1"/>
            </p:cNvSpPr>
            <p:nvPr/>
          </p:nvSpPr>
          <p:spPr bwMode="auto">
            <a:xfrm>
              <a:off x="6740041" y="2540899"/>
              <a:ext cx="185632" cy="571174"/>
            </a:xfrm>
            <a:custGeom>
              <a:avLst/>
              <a:gdLst>
                <a:gd name="T0" fmla="*/ 40 w 182"/>
                <a:gd name="T1" fmla="*/ 558 h 559"/>
                <a:gd name="T2" fmla="*/ 25 w 182"/>
                <a:gd name="T3" fmla="*/ 558 h 559"/>
                <a:gd name="T4" fmla="*/ 19 w 182"/>
                <a:gd name="T5" fmla="*/ 557 h 559"/>
                <a:gd name="T6" fmla="*/ 8 w 182"/>
                <a:gd name="T7" fmla="*/ 549 h 559"/>
                <a:gd name="T8" fmla="*/ 2 w 182"/>
                <a:gd name="T9" fmla="*/ 539 h 559"/>
                <a:gd name="T10" fmla="*/ 0 w 182"/>
                <a:gd name="T11" fmla="*/ 527 h 559"/>
                <a:gd name="T12" fmla="*/ 119 w 182"/>
                <a:gd name="T13" fmla="*/ 25 h 559"/>
                <a:gd name="T14" fmla="*/ 122 w 182"/>
                <a:gd name="T15" fmla="*/ 17 h 559"/>
                <a:gd name="T16" fmla="*/ 134 w 182"/>
                <a:gd name="T17" fmla="*/ 5 h 559"/>
                <a:gd name="T18" fmla="*/ 142 w 182"/>
                <a:gd name="T19" fmla="*/ 2 h 559"/>
                <a:gd name="T20" fmla="*/ 157 w 182"/>
                <a:gd name="T21" fmla="*/ 2 h 559"/>
                <a:gd name="T22" fmla="*/ 163 w 182"/>
                <a:gd name="T23" fmla="*/ 4 h 559"/>
                <a:gd name="T24" fmla="*/ 173 w 182"/>
                <a:gd name="T25" fmla="*/ 10 h 559"/>
                <a:gd name="T26" fmla="*/ 179 w 182"/>
                <a:gd name="T27" fmla="*/ 22 h 559"/>
                <a:gd name="T28" fmla="*/ 182 w 182"/>
                <a:gd name="T29" fmla="*/ 33 h 559"/>
                <a:gd name="T30" fmla="*/ 62 w 182"/>
                <a:gd name="T31" fmla="*/ 536 h 559"/>
                <a:gd name="T32" fmla="*/ 60 w 182"/>
                <a:gd name="T33" fmla="*/ 543 h 559"/>
                <a:gd name="T34" fmla="*/ 47 w 182"/>
                <a:gd name="T35" fmla="*/ 556 h 559"/>
                <a:gd name="T36" fmla="*/ 40 w 182"/>
                <a:gd name="T37" fmla="*/ 558 h 559"/>
                <a:gd name="T38" fmla="*/ 144 w 182"/>
                <a:gd name="T39" fmla="*/ 13 h 559"/>
                <a:gd name="T40" fmla="*/ 135 w 182"/>
                <a:gd name="T41" fmla="*/ 18 h 559"/>
                <a:gd name="T42" fmla="*/ 130 w 182"/>
                <a:gd name="T43" fmla="*/ 28 h 559"/>
                <a:gd name="T44" fmla="*/ 12 w 182"/>
                <a:gd name="T45" fmla="*/ 523 h 559"/>
                <a:gd name="T46" fmla="*/ 12 w 182"/>
                <a:gd name="T47" fmla="*/ 531 h 559"/>
                <a:gd name="T48" fmla="*/ 15 w 182"/>
                <a:gd name="T49" fmla="*/ 538 h 559"/>
                <a:gd name="T50" fmla="*/ 20 w 182"/>
                <a:gd name="T51" fmla="*/ 544 h 559"/>
                <a:gd name="T52" fmla="*/ 27 w 182"/>
                <a:gd name="T53" fmla="*/ 548 h 559"/>
                <a:gd name="T54" fmla="*/ 32 w 182"/>
                <a:gd name="T55" fmla="*/ 548 h 559"/>
                <a:gd name="T56" fmla="*/ 37 w 182"/>
                <a:gd name="T57" fmla="*/ 548 h 559"/>
                <a:gd name="T58" fmla="*/ 46 w 182"/>
                <a:gd name="T59" fmla="*/ 542 h 559"/>
                <a:gd name="T60" fmla="*/ 51 w 182"/>
                <a:gd name="T61" fmla="*/ 533 h 559"/>
                <a:gd name="T62" fmla="*/ 169 w 182"/>
                <a:gd name="T63" fmla="*/ 37 h 559"/>
                <a:gd name="T64" fmla="*/ 171 w 182"/>
                <a:gd name="T65" fmla="*/ 29 h 559"/>
                <a:gd name="T66" fmla="*/ 167 w 182"/>
                <a:gd name="T67" fmla="*/ 22 h 559"/>
                <a:gd name="T68" fmla="*/ 162 w 182"/>
                <a:gd name="T69" fmla="*/ 15 h 559"/>
                <a:gd name="T70" fmla="*/ 154 w 182"/>
                <a:gd name="T71" fmla="*/ 13 h 559"/>
                <a:gd name="T72" fmla="*/ 149 w 182"/>
                <a:gd name="T73" fmla="*/ 12 h 559"/>
                <a:gd name="T74" fmla="*/ 144 w 182"/>
                <a:gd name="T75" fmla="*/ 13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2" h="559">
                  <a:moveTo>
                    <a:pt x="40" y="558"/>
                  </a:moveTo>
                  <a:lnTo>
                    <a:pt x="40" y="558"/>
                  </a:lnTo>
                  <a:lnTo>
                    <a:pt x="32" y="559"/>
                  </a:lnTo>
                  <a:lnTo>
                    <a:pt x="25" y="558"/>
                  </a:lnTo>
                  <a:lnTo>
                    <a:pt x="25" y="558"/>
                  </a:lnTo>
                  <a:lnTo>
                    <a:pt x="19" y="557"/>
                  </a:lnTo>
                  <a:lnTo>
                    <a:pt x="13" y="553"/>
                  </a:lnTo>
                  <a:lnTo>
                    <a:pt x="8" y="549"/>
                  </a:lnTo>
                  <a:lnTo>
                    <a:pt x="5" y="544"/>
                  </a:lnTo>
                  <a:lnTo>
                    <a:pt x="2" y="539"/>
                  </a:lnTo>
                  <a:lnTo>
                    <a:pt x="1" y="533"/>
                  </a:lnTo>
                  <a:lnTo>
                    <a:pt x="0" y="527"/>
                  </a:lnTo>
                  <a:lnTo>
                    <a:pt x="1" y="520"/>
                  </a:lnTo>
                  <a:lnTo>
                    <a:pt x="119" y="25"/>
                  </a:lnTo>
                  <a:lnTo>
                    <a:pt x="119" y="25"/>
                  </a:lnTo>
                  <a:lnTo>
                    <a:pt x="122" y="17"/>
                  </a:lnTo>
                  <a:lnTo>
                    <a:pt x="127" y="10"/>
                  </a:lnTo>
                  <a:lnTo>
                    <a:pt x="134" y="5"/>
                  </a:lnTo>
                  <a:lnTo>
                    <a:pt x="142" y="2"/>
                  </a:lnTo>
                  <a:lnTo>
                    <a:pt x="142" y="2"/>
                  </a:lnTo>
                  <a:lnTo>
                    <a:pt x="149" y="0"/>
                  </a:lnTo>
                  <a:lnTo>
                    <a:pt x="157" y="2"/>
                  </a:lnTo>
                  <a:lnTo>
                    <a:pt x="157" y="2"/>
                  </a:lnTo>
                  <a:lnTo>
                    <a:pt x="163" y="4"/>
                  </a:lnTo>
                  <a:lnTo>
                    <a:pt x="168" y="7"/>
                  </a:lnTo>
                  <a:lnTo>
                    <a:pt x="173" y="10"/>
                  </a:lnTo>
                  <a:lnTo>
                    <a:pt x="177" y="15"/>
                  </a:lnTo>
                  <a:lnTo>
                    <a:pt x="179" y="22"/>
                  </a:lnTo>
                  <a:lnTo>
                    <a:pt x="181" y="27"/>
                  </a:lnTo>
                  <a:lnTo>
                    <a:pt x="182" y="33"/>
                  </a:lnTo>
                  <a:lnTo>
                    <a:pt x="181" y="39"/>
                  </a:lnTo>
                  <a:lnTo>
                    <a:pt x="62" y="536"/>
                  </a:lnTo>
                  <a:lnTo>
                    <a:pt x="62" y="536"/>
                  </a:lnTo>
                  <a:lnTo>
                    <a:pt x="60" y="543"/>
                  </a:lnTo>
                  <a:lnTo>
                    <a:pt x="55" y="549"/>
                  </a:lnTo>
                  <a:lnTo>
                    <a:pt x="47" y="556"/>
                  </a:lnTo>
                  <a:lnTo>
                    <a:pt x="40" y="558"/>
                  </a:lnTo>
                  <a:lnTo>
                    <a:pt x="40" y="558"/>
                  </a:lnTo>
                  <a:close/>
                  <a:moveTo>
                    <a:pt x="144" y="13"/>
                  </a:moveTo>
                  <a:lnTo>
                    <a:pt x="144" y="13"/>
                  </a:lnTo>
                  <a:lnTo>
                    <a:pt x="139" y="15"/>
                  </a:lnTo>
                  <a:lnTo>
                    <a:pt x="135" y="18"/>
                  </a:lnTo>
                  <a:lnTo>
                    <a:pt x="132" y="23"/>
                  </a:lnTo>
                  <a:lnTo>
                    <a:pt x="130" y="28"/>
                  </a:lnTo>
                  <a:lnTo>
                    <a:pt x="12" y="523"/>
                  </a:lnTo>
                  <a:lnTo>
                    <a:pt x="12" y="523"/>
                  </a:lnTo>
                  <a:lnTo>
                    <a:pt x="11" y="527"/>
                  </a:lnTo>
                  <a:lnTo>
                    <a:pt x="12" y="531"/>
                  </a:lnTo>
                  <a:lnTo>
                    <a:pt x="12" y="534"/>
                  </a:lnTo>
                  <a:lnTo>
                    <a:pt x="15" y="538"/>
                  </a:lnTo>
                  <a:lnTo>
                    <a:pt x="17" y="542"/>
                  </a:lnTo>
                  <a:lnTo>
                    <a:pt x="20" y="544"/>
                  </a:lnTo>
                  <a:lnTo>
                    <a:pt x="24" y="547"/>
                  </a:lnTo>
                  <a:lnTo>
                    <a:pt x="27" y="548"/>
                  </a:lnTo>
                  <a:lnTo>
                    <a:pt x="27" y="548"/>
                  </a:lnTo>
                  <a:lnTo>
                    <a:pt x="32" y="548"/>
                  </a:lnTo>
                  <a:lnTo>
                    <a:pt x="37" y="548"/>
                  </a:lnTo>
                  <a:lnTo>
                    <a:pt x="37" y="548"/>
                  </a:lnTo>
                  <a:lnTo>
                    <a:pt x="42" y="546"/>
                  </a:lnTo>
                  <a:lnTo>
                    <a:pt x="46" y="542"/>
                  </a:lnTo>
                  <a:lnTo>
                    <a:pt x="50" y="538"/>
                  </a:lnTo>
                  <a:lnTo>
                    <a:pt x="51" y="533"/>
                  </a:lnTo>
                  <a:lnTo>
                    <a:pt x="169" y="37"/>
                  </a:lnTo>
                  <a:lnTo>
                    <a:pt x="169" y="37"/>
                  </a:lnTo>
                  <a:lnTo>
                    <a:pt x="171" y="33"/>
                  </a:lnTo>
                  <a:lnTo>
                    <a:pt x="171" y="29"/>
                  </a:lnTo>
                  <a:lnTo>
                    <a:pt x="169" y="25"/>
                  </a:lnTo>
                  <a:lnTo>
                    <a:pt x="167" y="22"/>
                  </a:lnTo>
                  <a:lnTo>
                    <a:pt x="164" y="19"/>
                  </a:lnTo>
                  <a:lnTo>
                    <a:pt x="162" y="15"/>
                  </a:lnTo>
                  <a:lnTo>
                    <a:pt x="158" y="14"/>
                  </a:lnTo>
                  <a:lnTo>
                    <a:pt x="154" y="13"/>
                  </a:lnTo>
                  <a:lnTo>
                    <a:pt x="154" y="13"/>
                  </a:lnTo>
                  <a:lnTo>
                    <a:pt x="149" y="12"/>
                  </a:lnTo>
                  <a:lnTo>
                    <a:pt x="144" y="13"/>
                  </a:lnTo>
                  <a:lnTo>
                    <a:pt x="144" y="13"/>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27" name="Freeform 84"/>
            <p:cNvSpPr>
              <a:spLocks noEditPoints="1"/>
            </p:cNvSpPr>
            <p:nvPr/>
          </p:nvSpPr>
          <p:spPr bwMode="auto">
            <a:xfrm>
              <a:off x="6807357" y="2659213"/>
              <a:ext cx="214190" cy="373303"/>
            </a:xfrm>
            <a:custGeom>
              <a:avLst/>
              <a:gdLst>
                <a:gd name="T0" fmla="*/ 145 w 210"/>
                <a:gd name="T1" fmla="*/ 345 h 367"/>
                <a:gd name="T2" fmla="*/ 145 w 210"/>
                <a:gd name="T3" fmla="*/ 345 h 367"/>
                <a:gd name="T4" fmla="*/ 145 w 210"/>
                <a:gd name="T5" fmla="*/ 347 h 367"/>
                <a:gd name="T6" fmla="*/ 6 w 210"/>
                <a:gd name="T7" fmla="*/ 367 h 367"/>
                <a:gd name="T8" fmla="*/ 6 w 210"/>
                <a:gd name="T9" fmla="*/ 367 h 367"/>
                <a:gd name="T10" fmla="*/ 4 w 210"/>
                <a:gd name="T11" fmla="*/ 367 h 367"/>
                <a:gd name="T12" fmla="*/ 1 w 210"/>
                <a:gd name="T13" fmla="*/ 366 h 367"/>
                <a:gd name="T14" fmla="*/ 1 w 210"/>
                <a:gd name="T15" fmla="*/ 366 h 367"/>
                <a:gd name="T16" fmla="*/ 0 w 210"/>
                <a:gd name="T17" fmla="*/ 363 h 367"/>
                <a:gd name="T18" fmla="*/ 0 w 210"/>
                <a:gd name="T19" fmla="*/ 361 h 367"/>
                <a:gd name="T20" fmla="*/ 85 w 210"/>
                <a:gd name="T21" fmla="*/ 4 h 367"/>
                <a:gd name="T22" fmla="*/ 85 w 210"/>
                <a:gd name="T23" fmla="*/ 4 h 367"/>
                <a:gd name="T24" fmla="*/ 87 w 210"/>
                <a:gd name="T25" fmla="*/ 1 h 367"/>
                <a:gd name="T26" fmla="*/ 88 w 210"/>
                <a:gd name="T27" fmla="*/ 0 h 367"/>
                <a:gd name="T28" fmla="*/ 88 w 210"/>
                <a:gd name="T29" fmla="*/ 0 h 367"/>
                <a:gd name="T30" fmla="*/ 92 w 210"/>
                <a:gd name="T31" fmla="*/ 0 h 367"/>
                <a:gd name="T32" fmla="*/ 94 w 210"/>
                <a:gd name="T33" fmla="*/ 1 h 367"/>
                <a:gd name="T34" fmla="*/ 207 w 210"/>
                <a:gd name="T35" fmla="*/ 82 h 367"/>
                <a:gd name="T36" fmla="*/ 207 w 210"/>
                <a:gd name="T37" fmla="*/ 82 h 367"/>
                <a:gd name="T38" fmla="*/ 210 w 210"/>
                <a:gd name="T39" fmla="*/ 84 h 367"/>
                <a:gd name="T40" fmla="*/ 210 w 210"/>
                <a:gd name="T41" fmla="*/ 88 h 367"/>
                <a:gd name="T42" fmla="*/ 150 w 210"/>
                <a:gd name="T43" fmla="*/ 342 h 367"/>
                <a:gd name="T44" fmla="*/ 150 w 210"/>
                <a:gd name="T45" fmla="*/ 342 h 367"/>
                <a:gd name="T46" fmla="*/ 147 w 210"/>
                <a:gd name="T47" fmla="*/ 344 h 367"/>
                <a:gd name="T48" fmla="*/ 145 w 210"/>
                <a:gd name="T49" fmla="*/ 345 h 367"/>
                <a:gd name="T50" fmla="*/ 145 w 210"/>
                <a:gd name="T51" fmla="*/ 345 h 367"/>
                <a:gd name="T52" fmla="*/ 13 w 210"/>
                <a:gd name="T53" fmla="*/ 354 h 367"/>
                <a:gd name="T54" fmla="*/ 138 w 210"/>
                <a:gd name="T55" fmla="*/ 335 h 367"/>
                <a:gd name="T56" fmla="*/ 197 w 210"/>
                <a:gd name="T57" fmla="*/ 89 h 367"/>
                <a:gd name="T58" fmla="*/ 94 w 210"/>
                <a:gd name="T59" fmla="*/ 15 h 367"/>
                <a:gd name="T60" fmla="*/ 13 w 210"/>
                <a:gd name="T61" fmla="*/ 354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0" h="367">
                  <a:moveTo>
                    <a:pt x="145" y="345"/>
                  </a:moveTo>
                  <a:lnTo>
                    <a:pt x="145" y="345"/>
                  </a:lnTo>
                  <a:lnTo>
                    <a:pt x="145" y="347"/>
                  </a:lnTo>
                  <a:lnTo>
                    <a:pt x="6" y="367"/>
                  </a:lnTo>
                  <a:lnTo>
                    <a:pt x="6" y="367"/>
                  </a:lnTo>
                  <a:lnTo>
                    <a:pt x="4" y="367"/>
                  </a:lnTo>
                  <a:lnTo>
                    <a:pt x="1" y="366"/>
                  </a:lnTo>
                  <a:lnTo>
                    <a:pt x="1" y="366"/>
                  </a:lnTo>
                  <a:lnTo>
                    <a:pt x="0" y="363"/>
                  </a:lnTo>
                  <a:lnTo>
                    <a:pt x="0" y="361"/>
                  </a:lnTo>
                  <a:lnTo>
                    <a:pt x="85" y="4"/>
                  </a:lnTo>
                  <a:lnTo>
                    <a:pt x="85" y="4"/>
                  </a:lnTo>
                  <a:lnTo>
                    <a:pt x="87" y="1"/>
                  </a:lnTo>
                  <a:lnTo>
                    <a:pt x="88" y="0"/>
                  </a:lnTo>
                  <a:lnTo>
                    <a:pt x="88" y="0"/>
                  </a:lnTo>
                  <a:lnTo>
                    <a:pt x="92" y="0"/>
                  </a:lnTo>
                  <a:lnTo>
                    <a:pt x="94" y="1"/>
                  </a:lnTo>
                  <a:lnTo>
                    <a:pt x="207" y="82"/>
                  </a:lnTo>
                  <a:lnTo>
                    <a:pt x="207" y="82"/>
                  </a:lnTo>
                  <a:lnTo>
                    <a:pt x="210" y="84"/>
                  </a:lnTo>
                  <a:lnTo>
                    <a:pt x="210" y="88"/>
                  </a:lnTo>
                  <a:lnTo>
                    <a:pt x="150" y="342"/>
                  </a:lnTo>
                  <a:lnTo>
                    <a:pt x="150" y="342"/>
                  </a:lnTo>
                  <a:lnTo>
                    <a:pt x="147" y="344"/>
                  </a:lnTo>
                  <a:lnTo>
                    <a:pt x="145" y="345"/>
                  </a:lnTo>
                  <a:lnTo>
                    <a:pt x="145" y="345"/>
                  </a:lnTo>
                  <a:close/>
                  <a:moveTo>
                    <a:pt x="13" y="354"/>
                  </a:moveTo>
                  <a:lnTo>
                    <a:pt x="138" y="335"/>
                  </a:lnTo>
                  <a:lnTo>
                    <a:pt x="197" y="89"/>
                  </a:lnTo>
                  <a:lnTo>
                    <a:pt x="94" y="15"/>
                  </a:lnTo>
                  <a:lnTo>
                    <a:pt x="13" y="354"/>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28" name="Freeform 85"/>
            <p:cNvSpPr>
              <a:spLocks/>
            </p:cNvSpPr>
            <p:nvPr/>
          </p:nvSpPr>
          <p:spPr bwMode="auto">
            <a:xfrm>
              <a:off x="2686748" y="2520498"/>
              <a:ext cx="536495" cy="399822"/>
            </a:xfrm>
            <a:custGeom>
              <a:avLst/>
              <a:gdLst>
                <a:gd name="T0" fmla="*/ 6 w 525"/>
                <a:gd name="T1" fmla="*/ 392 h 392"/>
                <a:gd name="T2" fmla="*/ 4 w 525"/>
                <a:gd name="T3" fmla="*/ 391 h 392"/>
                <a:gd name="T4" fmla="*/ 1 w 525"/>
                <a:gd name="T5" fmla="*/ 387 h 392"/>
                <a:gd name="T6" fmla="*/ 1 w 525"/>
                <a:gd name="T7" fmla="*/ 383 h 392"/>
                <a:gd name="T8" fmla="*/ 6 w 525"/>
                <a:gd name="T9" fmla="*/ 375 h 392"/>
                <a:gd name="T10" fmla="*/ 20 w 525"/>
                <a:gd name="T11" fmla="*/ 358 h 392"/>
                <a:gd name="T12" fmla="*/ 52 w 525"/>
                <a:gd name="T13" fmla="*/ 332 h 392"/>
                <a:gd name="T14" fmla="*/ 106 w 525"/>
                <a:gd name="T15" fmla="*/ 295 h 392"/>
                <a:gd name="T16" fmla="*/ 167 w 525"/>
                <a:gd name="T17" fmla="*/ 260 h 392"/>
                <a:gd name="T18" fmla="*/ 261 w 525"/>
                <a:gd name="T19" fmla="*/ 213 h 392"/>
                <a:gd name="T20" fmla="*/ 372 w 525"/>
                <a:gd name="T21" fmla="*/ 162 h 392"/>
                <a:gd name="T22" fmla="*/ 395 w 525"/>
                <a:gd name="T23" fmla="*/ 150 h 392"/>
                <a:gd name="T24" fmla="*/ 444 w 525"/>
                <a:gd name="T25" fmla="*/ 121 h 392"/>
                <a:gd name="T26" fmla="*/ 486 w 525"/>
                <a:gd name="T27" fmla="*/ 89 h 392"/>
                <a:gd name="T28" fmla="*/ 501 w 525"/>
                <a:gd name="T29" fmla="*/ 73 h 392"/>
                <a:gd name="T30" fmla="*/ 510 w 525"/>
                <a:gd name="T31" fmla="*/ 59 h 392"/>
                <a:gd name="T32" fmla="*/ 513 w 525"/>
                <a:gd name="T33" fmla="*/ 45 h 392"/>
                <a:gd name="T34" fmla="*/ 511 w 525"/>
                <a:gd name="T35" fmla="*/ 42 h 392"/>
                <a:gd name="T36" fmla="*/ 504 w 525"/>
                <a:gd name="T37" fmla="*/ 34 h 392"/>
                <a:gd name="T38" fmla="*/ 489 w 525"/>
                <a:gd name="T39" fmla="*/ 27 h 392"/>
                <a:gd name="T40" fmla="*/ 461 w 525"/>
                <a:gd name="T41" fmla="*/ 19 h 392"/>
                <a:gd name="T42" fmla="*/ 442 w 525"/>
                <a:gd name="T43" fmla="*/ 17 h 392"/>
                <a:gd name="T44" fmla="*/ 369 w 525"/>
                <a:gd name="T45" fmla="*/ 13 h 392"/>
                <a:gd name="T46" fmla="*/ 303 w 525"/>
                <a:gd name="T47" fmla="*/ 14 h 392"/>
                <a:gd name="T48" fmla="*/ 243 w 525"/>
                <a:gd name="T49" fmla="*/ 20 h 392"/>
                <a:gd name="T50" fmla="*/ 191 w 525"/>
                <a:gd name="T51" fmla="*/ 29 h 392"/>
                <a:gd name="T52" fmla="*/ 118 w 525"/>
                <a:gd name="T53" fmla="*/ 48 h 392"/>
                <a:gd name="T54" fmla="*/ 92 w 525"/>
                <a:gd name="T55" fmla="*/ 57 h 392"/>
                <a:gd name="T56" fmla="*/ 89 w 525"/>
                <a:gd name="T57" fmla="*/ 58 h 392"/>
                <a:gd name="T58" fmla="*/ 84 w 525"/>
                <a:gd name="T59" fmla="*/ 56 h 392"/>
                <a:gd name="T60" fmla="*/ 83 w 525"/>
                <a:gd name="T61" fmla="*/ 54 h 392"/>
                <a:gd name="T62" fmla="*/ 83 w 525"/>
                <a:gd name="T63" fmla="*/ 49 h 392"/>
                <a:gd name="T64" fmla="*/ 87 w 525"/>
                <a:gd name="T65" fmla="*/ 45 h 392"/>
                <a:gd name="T66" fmla="*/ 94 w 525"/>
                <a:gd name="T67" fmla="*/ 43 h 392"/>
                <a:gd name="T68" fmla="*/ 146 w 525"/>
                <a:gd name="T69" fmla="*/ 27 h 392"/>
                <a:gd name="T70" fmla="*/ 214 w 525"/>
                <a:gd name="T71" fmla="*/ 13 h 392"/>
                <a:gd name="T72" fmla="*/ 270 w 525"/>
                <a:gd name="T73" fmla="*/ 4 h 392"/>
                <a:gd name="T74" fmla="*/ 334 w 525"/>
                <a:gd name="T75" fmla="*/ 0 h 392"/>
                <a:gd name="T76" fmla="*/ 406 w 525"/>
                <a:gd name="T77" fmla="*/ 1 h 392"/>
                <a:gd name="T78" fmla="*/ 444 w 525"/>
                <a:gd name="T79" fmla="*/ 4 h 392"/>
                <a:gd name="T80" fmla="*/ 477 w 525"/>
                <a:gd name="T81" fmla="*/ 10 h 392"/>
                <a:gd name="T82" fmla="*/ 503 w 525"/>
                <a:gd name="T83" fmla="*/ 18 h 392"/>
                <a:gd name="T84" fmla="*/ 518 w 525"/>
                <a:gd name="T85" fmla="*/ 29 h 392"/>
                <a:gd name="T86" fmla="*/ 525 w 525"/>
                <a:gd name="T87" fmla="*/ 44 h 392"/>
                <a:gd name="T88" fmla="*/ 525 w 525"/>
                <a:gd name="T89" fmla="*/ 48 h 392"/>
                <a:gd name="T90" fmla="*/ 523 w 525"/>
                <a:gd name="T91" fmla="*/ 63 h 392"/>
                <a:gd name="T92" fmla="*/ 508 w 525"/>
                <a:gd name="T93" fmla="*/ 84 h 392"/>
                <a:gd name="T94" fmla="*/ 486 w 525"/>
                <a:gd name="T95" fmla="*/ 105 h 392"/>
                <a:gd name="T96" fmla="*/ 461 w 525"/>
                <a:gd name="T97" fmla="*/ 125 h 392"/>
                <a:gd name="T98" fmla="*/ 408 w 525"/>
                <a:gd name="T99" fmla="*/ 157 h 392"/>
                <a:gd name="T100" fmla="*/ 378 w 525"/>
                <a:gd name="T101" fmla="*/ 174 h 392"/>
                <a:gd name="T102" fmla="*/ 271 w 525"/>
                <a:gd name="T103" fmla="*/ 221 h 392"/>
                <a:gd name="T104" fmla="*/ 178 w 525"/>
                <a:gd name="T105" fmla="*/ 269 h 392"/>
                <a:gd name="T106" fmla="*/ 116 w 525"/>
                <a:gd name="T107" fmla="*/ 304 h 392"/>
                <a:gd name="T108" fmla="*/ 62 w 525"/>
                <a:gd name="T109" fmla="*/ 339 h 392"/>
                <a:gd name="T110" fmla="*/ 31 w 525"/>
                <a:gd name="T111" fmla="*/ 365 h 392"/>
                <a:gd name="T112" fmla="*/ 18 w 525"/>
                <a:gd name="T113" fmla="*/ 381 h 392"/>
                <a:gd name="T114" fmla="*/ 13 w 525"/>
                <a:gd name="T115" fmla="*/ 388 h 392"/>
                <a:gd name="T116" fmla="*/ 6 w 525"/>
                <a:gd name="T1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5" h="392">
                  <a:moveTo>
                    <a:pt x="6" y="392"/>
                  </a:moveTo>
                  <a:lnTo>
                    <a:pt x="6" y="392"/>
                  </a:lnTo>
                  <a:lnTo>
                    <a:pt x="4" y="391"/>
                  </a:lnTo>
                  <a:lnTo>
                    <a:pt x="4" y="391"/>
                  </a:lnTo>
                  <a:lnTo>
                    <a:pt x="1" y="390"/>
                  </a:lnTo>
                  <a:lnTo>
                    <a:pt x="1" y="387"/>
                  </a:lnTo>
                  <a:lnTo>
                    <a:pt x="0" y="385"/>
                  </a:lnTo>
                  <a:lnTo>
                    <a:pt x="1" y="383"/>
                  </a:lnTo>
                  <a:lnTo>
                    <a:pt x="1" y="383"/>
                  </a:lnTo>
                  <a:lnTo>
                    <a:pt x="6" y="375"/>
                  </a:lnTo>
                  <a:lnTo>
                    <a:pt x="13" y="367"/>
                  </a:lnTo>
                  <a:lnTo>
                    <a:pt x="20" y="358"/>
                  </a:lnTo>
                  <a:lnTo>
                    <a:pt x="30" y="350"/>
                  </a:lnTo>
                  <a:lnTo>
                    <a:pt x="52" y="332"/>
                  </a:lnTo>
                  <a:lnTo>
                    <a:pt x="77" y="314"/>
                  </a:lnTo>
                  <a:lnTo>
                    <a:pt x="106" y="295"/>
                  </a:lnTo>
                  <a:lnTo>
                    <a:pt x="136" y="278"/>
                  </a:lnTo>
                  <a:lnTo>
                    <a:pt x="167" y="260"/>
                  </a:lnTo>
                  <a:lnTo>
                    <a:pt x="199" y="243"/>
                  </a:lnTo>
                  <a:lnTo>
                    <a:pt x="261" y="213"/>
                  </a:lnTo>
                  <a:lnTo>
                    <a:pt x="315" y="187"/>
                  </a:lnTo>
                  <a:lnTo>
                    <a:pt x="372" y="162"/>
                  </a:lnTo>
                  <a:lnTo>
                    <a:pt x="372" y="162"/>
                  </a:lnTo>
                  <a:lnTo>
                    <a:pt x="395" y="150"/>
                  </a:lnTo>
                  <a:lnTo>
                    <a:pt x="420" y="136"/>
                  </a:lnTo>
                  <a:lnTo>
                    <a:pt x="444" y="121"/>
                  </a:lnTo>
                  <a:lnTo>
                    <a:pt x="466" y="105"/>
                  </a:lnTo>
                  <a:lnTo>
                    <a:pt x="486" y="89"/>
                  </a:lnTo>
                  <a:lnTo>
                    <a:pt x="494" y="81"/>
                  </a:lnTo>
                  <a:lnTo>
                    <a:pt x="501" y="73"/>
                  </a:lnTo>
                  <a:lnTo>
                    <a:pt x="506" y="66"/>
                  </a:lnTo>
                  <a:lnTo>
                    <a:pt x="510" y="59"/>
                  </a:lnTo>
                  <a:lnTo>
                    <a:pt x="513" y="52"/>
                  </a:lnTo>
                  <a:lnTo>
                    <a:pt x="513" y="45"/>
                  </a:lnTo>
                  <a:lnTo>
                    <a:pt x="513" y="45"/>
                  </a:lnTo>
                  <a:lnTo>
                    <a:pt x="511" y="42"/>
                  </a:lnTo>
                  <a:lnTo>
                    <a:pt x="509" y="38"/>
                  </a:lnTo>
                  <a:lnTo>
                    <a:pt x="504" y="34"/>
                  </a:lnTo>
                  <a:lnTo>
                    <a:pt x="498" y="30"/>
                  </a:lnTo>
                  <a:lnTo>
                    <a:pt x="489" y="27"/>
                  </a:lnTo>
                  <a:lnTo>
                    <a:pt x="476" y="23"/>
                  </a:lnTo>
                  <a:lnTo>
                    <a:pt x="461" y="19"/>
                  </a:lnTo>
                  <a:lnTo>
                    <a:pt x="442" y="17"/>
                  </a:lnTo>
                  <a:lnTo>
                    <a:pt x="442" y="17"/>
                  </a:lnTo>
                  <a:lnTo>
                    <a:pt x="405" y="14"/>
                  </a:lnTo>
                  <a:lnTo>
                    <a:pt x="369" y="13"/>
                  </a:lnTo>
                  <a:lnTo>
                    <a:pt x="335" y="13"/>
                  </a:lnTo>
                  <a:lnTo>
                    <a:pt x="303" y="14"/>
                  </a:lnTo>
                  <a:lnTo>
                    <a:pt x="271" y="17"/>
                  </a:lnTo>
                  <a:lnTo>
                    <a:pt x="243" y="20"/>
                  </a:lnTo>
                  <a:lnTo>
                    <a:pt x="216" y="24"/>
                  </a:lnTo>
                  <a:lnTo>
                    <a:pt x="191" y="29"/>
                  </a:lnTo>
                  <a:lnTo>
                    <a:pt x="150" y="39"/>
                  </a:lnTo>
                  <a:lnTo>
                    <a:pt x="118" y="48"/>
                  </a:lnTo>
                  <a:lnTo>
                    <a:pt x="98" y="54"/>
                  </a:lnTo>
                  <a:lnTo>
                    <a:pt x="92" y="57"/>
                  </a:lnTo>
                  <a:lnTo>
                    <a:pt x="92" y="57"/>
                  </a:lnTo>
                  <a:lnTo>
                    <a:pt x="89" y="58"/>
                  </a:lnTo>
                  <a:lnTo>
                    <a:pt x="87" y="57"/>
                  </a:lnTo>
                  <a:lnTo>
                    <a:pt x="84" y="56"/>
                  </a:lnTo>
                  <a:lnTo>
                    <a:pt x="83" y="54"/>
                  </a:lnTo>
                  <a:lnTo>
                    <a:pt x="83" y="54"/>
                  </a:lnTo>
                  <a:lnTo>
                    <a:pt x="83" y="52"/>
                  </a:lnTo>
                  <a:lnTo>
                    <a:pt x="83" y="49"/>
                  </a:lnTo>
                  <a:lnTo>
                    <a:pt x="84" y="47"/>
                  </a:lnTo>
                  <a:lnTo>
                    <a:pt x="87" y="45"/>
                  </a:lnTo>
                  <a:lnTo>
                    <a:pt x="87" y="45"/>
                  </a:lnTo>
                  <a:lnTo>
                    <a:pt x="94" y="43"/>
                  </a:lnTo>
                  <a:lnTo>
                    <a:pt x="114" y="35"/>
                  </a:lnTo>
                  <a:lnTo>
                    <a:pt x="146" y="27"/>
                  </a:lnTo>
                  <a:lnTo>
                    <a:pt x="188" y="17"/>
                  </a:lnTo>
                  <a:lnTo>
                    <a:pt x="214" y="13"/>
                  </a:lnTo>
                  <a:lnTo>
                    <a:pt x="241" y="8"/>
                  </a:lnTo>
                  <a:lnTo>
                    <a:pt x="270" y="4"/>
                  </a:lnTo>
                  <a:lnTo>
                    <a:pt x="302" y="1"/>
                  </a:lnTo>
                  <a:lnTo>
                    <a:pt x="334" y="0"/>
                  </a:lnTo>
                  <a:lnTo>
                    <a:pt x="369" y="0"/>
                  </a:lnTo>
                  <a:lnTo>
                    <a:pt x="406" y="1"/>
                  </a:lnTo>
                  <a:lnTo>
                    <a:pt x="444" y="4"/>
                  </a:lnTo>
                  <a:lnTo>
                    <a:pt x="444" y="4"/>
                  </a:lnTo>
                  <a:lnTo>
                    <a:pt x="461" y="7"/>
                  </a:lnTo>
                  <a:lnTo>
                    <a:pt x="477" y="10"/>
                  </a:lnTo>
                  <a:lnTo>
                    <a:pt x="491" y="14"/>
                  </a:lnTo>
                  <a:lnTo>
                    <a:pt x="503" y="18"/>
                  </a:lnTo>
                  <a:lnTo>
                    <a:pt x="511" y="24"/>
                  </a:lnTo>
                  <a:lnTo>
                    <a:pt x="518" y="29"/>
                  </a:lnTo>
                  <a:lnTo>
                    <a:pt x="523" y="37"/>
                  </a:lnTo>
                  <a:lnTo>
                    <a:pt x="525" y="44"/>
                  </a:lnTo>
                  <a:lnTo>
                    <a:pt x="525" y="44"/>
                  </a:lnTo>
                  <a:lnTo>
                    <a:pt x="525" y="48"/>
                  </a:lnTo>
                  <a:lnTo>
                    <a:pt x="525" y="53"/>
                  </a:lnTo>
                  <a:lnTo>
                    <a:pt x="523" y="63"/>
                  </a:lnTo>
                  <a:lnTo>
                    <a:pt x="516" y="74"/>
                  </a:lnTo>
                  <a:lnTo>
                    <a:pt x="508" y="84"/>
                  </a:lnTo>
                  <a:lnTo>
                    <a:pt x="499" y="94"/>
                  </a:lnTo>
                  <a:lnTo>
                    <a:pt x="486" y="105"/>
                  </a:lnTo>
                  <a:lnTo>
                    <a:pt x="474" y="115"/>
                  </a:lnTo>
                  <a:lnTo>
                    <a:pt x="461" y="125"/>
                  </a:lnTo>
                  <a:lnTo>
                    <a:pt x="434" y="142"/>
                  </a:lnTo>
                  <a:lnTo>
                    <a:pt x="408" y="157"/>
                  </a:lnTo>
                  <a:lnTo>
                    <a:pt x="378" y="174"/>
                  </a:lnTo>
                  <a:lnTo>
                    <a:pt x="378" y="174"/>
                  </a:lnTo>
                  <a:lnTo>
                    <a:pt x="325" y="196"/>
                  </a:lnTo>
                  <a:lnTo>
                    <a:pt x="271" y="221"/>
                  </a:lnTo>
                  <a:lnTo>
                    <a:pt x="210" y="252"/>
                  </a:lnTo>
                  <a:lnTo>
                    <a:pt x="178" y="269"/>
                  </a:lnTo>
                  <a:lnTo>
                    <a:pt x="146" y="285"/>
                  </a:lnTo>
                  <a:lnTo>
                    <a:pt x="116" y="304"/>
                  </a:lnTo>
                  <a:lnTo>
                    <a:pt x="87" y="322"/>
                  </a:lnTo>
                  <a:lnTo>
                    <a:pt x="62" y="339"/>
                  </a:lnTo>
                  <a:lnTo>
                    <a:pt x="40" y="357"/>
                  </a:lnTo>
                  <a:lnTo>
                    <a:pt x="31" y="365"/>
                  </a:lnTo>
                  <a:lnTo>
                    <a:pt x="24" y="373"/>
                  </a:lnTo>
                  <a:lnTo>
                    <a:pt x="18" y="381"/>
                  </a:lnTo>
                  <a:lnTo>
                    <a:pt x="13" y="388"/>
                  </a:lnTo>
                  <a:lnTo>
                    <a:pt x="13" y="388"/>
                  </a:lnTo>
                  <a:lnTo>
                    <a:pt x="10" y="391"/>
                  </a:lnTo>
                  <a:lnTo>
                    <a:pt x="6" y="392"/>
                  </a:lnTo>
                  <a:lnTo>
                    <a:pt x="6" y="392"/>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29" name="Freeform 86"/>
            <p:cNvSpPr>
              <a:spLocks noEditPoints="1"/>
            </p:cNvSpPr>
            <p:nvPr/>
          </p:nvSpPr>
          <p:spPr bwMode="auto">
            <a:xfrm>
              <a:off x="2641870" y="1869770"/>
              <a:ext cx="6782685" cy="2080703"/>
            </a:xfrm>
            <a:custGeom>
              <a:avLst/>
              <a:gdLst>
                <a:gd name="T0" fmla="*/ 6134 w 6650"/>
                <a:gd name="T1" fmla="*/ 1978 h 2040"/>
                <a:gd name="T2" fmla="*/ 6232 w 6650"/>
                <a:gd name="T3" fmla="*/ 1633 h 2040"/>
                <a:gd name="T4" fmla="*/ 6103 w 6650"/>
                <a:gd name="T5" fmla="*/ 1246 h 2040"/>
                <a:gd name="T6" fmla="*/ 5746 w 6650"/>
                <a:gd name="T7" fmla="*/ 1006 h 2040"/>
                <a:gd name="T8" fmla="*/ 5333 w 6650"/>
                <a:gd name="T9" fmla="*/ 1038 h 2040"/>
                <a:gd name="T10" fmla="*/ 5015 w 6650"/>
                <a:gd name="T11" fmla="*/ 1325 h 2040"/>
                <a:gd name="T12" fmla="*/ 4941 w 6650"/>
                <a:gd name="T13" fmla="*/ 1705 h 2040"/>
                <a:gd name="T14" fmla="*/ 5044 w 6650"/>
                <a:gd name="T15" fmla="*/ 1990 h 2040"/>
                <a:gd name="T16" fmla="*/ 4895 w 6650"/>
                <a:gd name="T17" fmla="*/ 1959 h 2040"/>
                <a:gd name="T18" fmla="*/ 2090 w 6650"/>
                <a:gd name="T19" fmla="*/ 1857 h 2040"/>
                <a:gd name="T20" fmla="*/ 1704 w 6650"/>
                <a:gd name="T21" fmla="*/ 1922 h 2040"/>
                <a:gd name="T22" fmla="*/ 1727 w 6650"/>
                <a:gd name="T23" fmla="*/ 1807 h 2040"/>
                <a:gd name="T24" fmla="*/ 1699 w 6650"/>
                <a:gd name="T25" fmla="*/ 1382 h 2040"/>
                <a:gd name="T26" fmla="*/ 1411 w 6650"/>
                <a:gd name="T27" fmla="*/ 1065 h 2040"/>
                <a:gd name="T28" fmla="*/ 1004 w 6650"/>
                <a:gd name="T29" fmla="*/ 994 h 2040"/>
                <a:gd name="T30" fmla="*/ 625 w 6650"/>
                <a:gd name="T31" fmla="*/ 1199 h 2040"/>
                <a:gd name="T32" fmla="*/ 456 w 6650"/>
                <a:gd name="T33" fmla="*/ 1601 h 2040"/>
                <a:gd name="T34" fmla="*/ 503 w 6650"/>
                <a:gd name="T35" fmla="*/ 1877 h 2040"/>
                <a:gd name="T36" fmla="*/ 256 w 6650"/>
                <a:gd name="T37" fmla="*/ 1849 h 2040"/>
                <a:gd name="T38" fmla="*/ 1 w 6650"/>
                <a:gd name="T39" fmla="*/ 1508 h 2040"/>
                <a:gd name="T40" fmla="*/ 8 w 6650"/>
                <a:gd name="T41" fmla="*/ 1359 h 2040"/>
                <a:gd name="T42" fmla="*/ 64 w 6650"/>
                <a:gd name="T43" fmla="*/ 822 h 2040"/>
                <a:gd name="T44" fmla="*/ 295 w 6650"/>
                <a:gd name="T45" fmla="*/ 482 h 2040"/>
                <a:gd name="T46" fmla="*/ 1649 w 6650"/>
                <a:gd name="T47" fmla="*/ 181 h 2040"/>
                <a:gd name="T48" fmla="*/ 2934 w 6650"/>
                <a:gd name="T49" fmla="*/ 0 h 2040"/>
                <a:gd name="T50" fmla="*/ 3715 w 6650"/>
                <a:gd name="T51" fmla="*/ 92 h 2040"/>
                <a:gd name="T52" fmla="*/ 4570 w 6650"/>
                <a:gd name="T53" fmla="*/ 427 h 2040"/>
                <a:gd name="T54" fmla="*/ 5450 w 6650"/>
                <a:gd name="T55" fmla="*/ 680 h 2040"/>
                <a:gd name="T56" fmla="*/ 6366 w 6650"/>
                <a:gd name="T57" fmla="*/ 896 h 2040"/>
                <a:gd name="T58" fmla="*/ 6622 w 6650"/>
                <a:gd name="T59" fmla="*/ 1093 h 2040"/>
                <a:gd name="T60" fmla="*/ 6641 w 6650"/>
                <a:gd name="T61" fmla="*/ 1559 h 2040"/>
                <a:gd name="T62" fmla="*/ 6472 w 6650"/>
                <a:gd name="T63" fmla="*/ 2027 h 2040"/>
                <a:gd name="T64" fmla="*/ 5687 w 6650"/>
                <a:gd name="T65" fmla="*/ 969 h 2040"/>
                <a:gd name="T66" fmla="*/ 6082 w 6650"/>
                <a:gd name="T67" fmla="*/ 1182 h 2040"/>
                <a:gd name="T68" fmla="*/ 6257 w 6650"/>
                <a:gd name="T69" fmla="*/ 1599 h 2040"/>
                <a:gd name="T70" fmla="*/ 6190 w 6650"/>
                <a:gd name="T71" fmla="*/ 1927 h 2040"/>
                <a:gd name="T72" fmla="*/ 6549 w 6650"/>
                <a:gd name="T73" fmla="*/ 1833 h 2040"/>
                <a:gd name="T74" fmla="*/ 6624 w 6650"/>
                <a:gd name="T75" fmla="*/ 1325 h 2040"/>
                <a:gd name="T76" fmla="*/ 6504 w 6650"/>
                <a:gd name="T77" fmla="*/ 1001 h 2040"/>
                <a:gd name="T78" fmla="*/ 5930 w 6650"/>
                <a:gd name="T79" fmla="*/ 785 h 2040"/>
                <a:gd name="T80" fmla="*/ 4856 w 6650"/>
                <a:gd name="T81" fmla="*/ 648 h 2040"/>
                <a:gd name="T82" fmla="*/ 4242 w 6650"/>
                <a:gd name="T83" fmla="*/ 291 h 2040"/>
                <a:gd name="T84" fmla="*/ 3224 w 6650"/>
                <a:gd name="T85" fmla="*/ 36 h 2040"/>
                <a:gd name="T86" fmla="*/ 2302 w 6650"/>
                <a:gd name="T87" fmla="*/ 73 h 2040"/>
                <a:gd name="T88" fmla="*/ 1156 w 6650"/>
                <a:gd name="T89" fmla="*/ 359 h 2040"/>
                <a:gd name="T90" fmla="*/ 162 w 6650"/>
                <a:gd name="T91" fmla="*/ 670 h 2040"/>
                <a:gd name="T92" fmla="*/ 48 w 6650"/>
                <a:gd name="T93" fmla="*/ 1136 h 2040"/>
                <a:gd name="T94" fmla="*/ 59 w 6650"/>
                <a:gd name="T95" fmla="*/ 1393 h 2040"/>
                <a:gd name="T96" fmla="*/ 28 w 6650"/>
                <a:gd name="T97" fmla="*/ 1501 h 2040"/>
                <a:gd name="T98" fmla="*/ 429 w 6650"/>
                <a:gd name="T99" fmla="*/ 1858 h 2040"/>
                <a:gd name="T100" fmla="*/ 439 w 6650"/>
                <a:gd name="T101" fmla="*/ 1532 h 2040"/>
                <a:gd name="T102" fmla="*/ 651 w 6650"/>
                <a:gd name="T103" fmla="*/ 1136 h 2040"/>
                <a:gd name="T104" fmla="*/ 1068 w 6650"/>
                <a:gd name="T105" fmla="*/ 962 h 2040"/>
                <a:gd name="T106" fmla="*/ 1479 w 6650"/>
                <a:gd name="T107" fmla="*/ 1077 h 2040"/>
                <a:gd name="T108" fmla="*/ 1745 w 6650"/>
                <a:gd name="T109" fmla="*/ 1434 h 2040"/>
                <a:gd name="T110" fmla="*/ 1735 w 6650"/>
                <a:gd name="T111" fmla="*/ 1863 h 2040"/>
                <a:gd name="T112" fmla="*/ 2032 w 6650"/>
                <a:gd name="T113" fmla="*/ 1833 h 2040"/>
                <a:gd name="T114" fmla="*/ 4834 w 6650"/>
                <a:gd name="T115" fmla="*/ 1902 h 2040"/>
                <a:gd name="T116" fmla="*/ 4926 w 6650"/>
                <a:gd name="T117" fmla="*/ 1768 h 2040"/>
                <a:gd name="T118" fmla="*/ 4994 w 6650"/>
                <a:gd name="T119" fmla="*/ 1314 h 2040"/>
                <a:gd name="T120" fmla="*/ 5323 w 6650"/>
                <a:gd name="T121" fmla="*/ 1014 h 2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50" h="2040">
                  <a:moveTo>
                    <a:pt x="6115" y="2040"/>
                  </a:moveTo>
                  <a:lnTo>
                    <a:pt x="6115" y="2040"/>
                  </a:lnTo>
                  <a:lnTo>
                    <a:pt x="6111" y="2040"/>
                  </a:lnTo>
                  <a:lnTo>
                    <a:pt x="6107" y="2039"/>
                  </a:lnTo>
                  <a:lnTo>
                    <a:pt x="6105" y="2037"/>
                  </a:lnTo>
                  <a:lnTo>
                    <a:pt x="6103" y="2034"/>
                  </a:lnTo>
                  <a:lnTo>
                    <a:pt x="6103" y="2034"/>
                  </a:lnTo>
                  <a:lnTo>
                    <a:pt x="6102" y="2030"/>
                  </a:lnTo>
                  <a:lnTo>
                    <a:pt x="6102" y="2027"/>
                  </a:lnTo>
                  <a:lnTo>
                    <a:pt x="6102" y="2023"/>
                  </a:lnTo>
                  <a:lnTo>
                    <a:pt x="6105" y="2020"/>
                  </a:lnTo>
                  <a:lnTo>
                    <a:pt x="6105" y="2020"/>
                  </a:lnTo>
                  <a:lnTo>
                    <a:pt x="6120" y="1999"/>
                  </a:lnTo>
                  <a:lnTo>
                    <a:pt x="6134" y="1978"/>
                  </a:lnTo>
                  <a:lnTo>
                    <a:pt x="6147" y="1955"/>
                  </a:lnTo>
                  <a:lnTo>
                    <a:pt x="6160" y="1932"/>
                  </a:lnTo>
                  <a:lnTo>
                    <a:pt x="6171" y="1910"/>
                  </a:lnTo>
                  <a:lnTo>
                    <a:pt x="6181" y="1886"/>
                  </a:lnTo>
                  <a:lnTo>
                    <a:pt x="6191" y="1862"/>
                  </a:lnTo>
                  <a:lnTo>
                    <a:pt x="6199" y="1838"/>
                  </a:lnTo>
                  <a:lnTo>
                    <a:pt x="6208" y="1813"/>
                  </a:lnTo>
                  <a:lnTo>
                    <a:pt x="6214" y="1788"/>
                  </a:lnTo>
                  <a:lnTo>
                    <a:pt x="6219" y="1763"/>
                  </a:lnTo>
                  <a:lnTo>
                    <a:pt x="6224" y="1738"/>
                  </a:lnTo>
                  <a:lnTo>
                    <a:pt x="6228" y="1712"/>
                  </a:lnTo>
                  <a:lnTo>
                    <a:pt x="6230" y="1686"/>
                  </a:lnTo>
                  <a:lnTo>
                    <a:pt x="6232" y="1660"/>
                  </a:lnTo>
                  <a:lnTo>
                    <a:pt x="6232" y="1633"/>
                  </a:lnTo>
                  <a:lnTo>
                    <a:pt x="6232" y="1633"/>
                  </a:lnTo>
                  <a:lnTo>
                    <a:pt x="6232" y="1601"/>
                  </a:lnTo>
                  <a:lnTo>
                    <a:pt x="6229" y="1568"/>
                  </a:lnTo>
                  <a:lnTo>
                    <a:pt x="6224" y="1535"/>
                  </a:lnTo>
                  <a:lnTo>
                    <a:pt x="6219" y="1504"/>
                  </a:lnTo>
                  <a:lnTo>
                    <a:pt x="6211" y="1472"/>
                  </a:lnTo>
                  <a:lnTo>
                    <a:pt x="6203" y="1441"/>
                  </a:lnTo>
                  <a:lnTo>
                    <a:pt x="6193" y="1411"/>
                  </a:lnTo>
                  <a:lnTo>
                    <a:pt x="6181" y="1382"/>
                  </a:lnTo>
                  <a:lnTo>
                    <a:pt x="6169" y="1353"/>
                  </a:lnTo>
                  <a:lnTo>
                    <a:pt x="6154" y="1325"/>
                  </a:lnTo>
                  <a:lnTo>
                    <a:pt x="6139" y="1298"/>
                  </a:lnTo>
                  <a:lnTo>
                    <a:pt x="6121" y="1273"/>
                  </a:lnTo>
                  <a:lnTo>
                    <a:pt x="6103" y="1246"/>
                  </a:lnTo>
                  <a:lnTo>
                    <a:pt x="6085" y="1222"/>
                  </a:lnTo>
                  <a:lnTo>
                    <a:pt x="6063" y="1199"/>
                  </a:lnTo>
                  <a:lnTo>
                    <a:pt x="6042" y="1176"/>
                  </a:lnTo>
                  <a:lnTo>
                    <a:pt x="6019" y="1155"/>
                  </a:lnTo>
                  <a:lnTo>
                    <a:pt x="5997" y="1135"/>
                  </a:lnTo>
                  <a:lnTo>
                    <a:pt x="5971" y="1116"/>
                  </a:lnTo>
                  <a:lnTo>
                    <a:pt x="5946" y="1097"/>
                  </a:lnTo>
                  <a:lnTo>
                    <a:pt x="5920" y="1080"/>
                  </a:lnTo>
                  <a:lnTo>
                    <a:pt x="5894" y="1065"/>
                  </a:lnTo>
                  <a:lnTo>
                    <a:pt x="5865" y="1050"/>
                  </a:lnTo>
                  <a:lnTo>
                    <a:pt x="5837" y="1038"/>
                  </a:lnTo>
                  <a:lnTo>
                    <a:pt x="5807" y="1026"/>
                  </a:lnTo>
                  <a:lnTo>
                    <a:pt x="5777" y="1015"/>
                  </a:lnTo>
                  <a:lnTo>
                    <a:pt x="5746" y="1006"/>
                  </a:lnTo>
                  <a:lnTo>
                    <a:pt x="5715" y="1000"/>
                  </a:lnTo>
                  <a:lnTo>
                    <a:pt x="5684" y="994"/>
                  </a:lnTo>
                  <a:lnTo>
                    <a:pt x="5651" y="990"/>
                  </a:lnTo>
                  <a:lnTo>
                    <a:pt x="5618" y="988"/>
                  </a:lnTo>
                  <a:lnTo>
                    <a:pt x="5584" y="986"/>
                  </a:lnTo>
                  <a:lnTo>
                    <a:pt x="5584" y="986"/>
                  </a:lnTo>
                  <a:lnTo>
                    <a:pt x="5552" y="988"/>
                  </a:lnTo>
                  <a:lnTo>
                    <a:pt x="5519" y="990"/>
                  </a:lnTo>
                  <a:lnTo>
                    <a:pt x="5486" y="994"/>
                  </a:lnTo>
                  <a:lnTo>
                    <a:pt x="5455" y="1000"/>
                  </a:lnTo>
                  <a:lnTo>
                    <a:pt x="5424" y="1006"/>
                  </a:lnTo>
                  <a:lnTo>
                    <a:pt x="5392" y="1015"/>
                  </a:lnTo>
                  <a:lnTo>
                    <a:pt x="5362" y="1026"/>
                  </a:lnTo>
                  <a:lnTo>
                    <a:pt x="5333" y="1038"/>
                  </a:lnTo>
                  <a:lnTo>
                    <a:pt x="5304" y="1050"/>
                  </a:lnTo>
                  <a:lnTo>
                    <a:pt x="5277" y="1065"/>
                  </a:lnTo>
                  <a:lnTo>
                    <a:pt x="5249" y="1080"/>
                  </a:lnTo>
                  <a:lnTo>
                    <a:pt x="5222" y="1097"/>
                  </a:lnTo>
                  <a:lnTo>
                    <a:pt x="5197" y="1116"/>
                  </a:lnTo>
                  <a:lnTo>
                    <a:pt x="5173" y="1135"/>
                  </a:lnTo>
                  <a:lnTo>
                    <a:pt x="5150" y="1155"/>
                  </a:lnTo>
                  <a:lnTo>
                    <a:pt x="5127" y="1176"/>
                  </a:lnTo>
                  <a:lnTo>
                    <a:pt x="5106" y="1199"/>
                  </a:lnTo>
                  <a:lnTo>
                    <a:pt x="5086" y="1222"/>
                  </a:lnTo>
                  <a:lnTo>
                    <a:pt x="5067" y="1246"/>
                  </a:lnTo>
                  <a:lnTo>
                    <a:pt x="5048" y="1273"/>
                  </a:lnTo>
                  <a:lnTo>
                    <a:pt x="5031" y="1298"/>
                  </a:lnTo>
                  <a:lnTo>
                    <a:pt x="5015" y="1325"/>
                  </a:lnTo>
                  <a:lnTo>
                    <a:pt x="5001" y="1353"/>
                  </a:lnTo>
                  <a:lnTo>
                    <a:pt x="4989" y="1382"/>
                  </a:lnTo>
                  <a:lnTo>
                    <a:pt x="4976" y="1411"/>
                  </a:lnTo>
                  <a:lnTo>
                    <a:pt x="4966" y="1441"/>
                  </a:lnTo>
                  <a:lnTo>
                    <a:pt x="4957" y="1472"/>
                  </a:lnTo>
                  <a:lnTo>
                    <a:pt x="4951" y="1504"/>
                  </a:lnTo>
                  <a:lnTo>
                    <a:pt x="4945" y="1535"/>
                  </a:lnTo>
                  <a:lnTo>
                    <a:pt x="4941" y="1568"/>
                  </a:lnTo>
                  <a:lnTo>
                    <a:pt x="4938" y="1601"/>
                  </a:lnTo>
                  <a:lnTo>
                    <a:pt x="4937" y="1633"/>
                  </a:lnTo>
                  <a:lnTo>
                    <a:pt x="4937" y="1633"/>
                  </a:lnTo>
                  <a:lnTo>
                    <a:pt x="4937" y="1657"/>
                  </a:lnTo>
                  <a:lnTo>
                    <a:pt x="4938" y="1681"/>
                  </a:lnTo>
                  <a:lnTo>
                    <a:pt x="4941" y="1705"/>
                  </a:lnTo>
                  <a:lnTo>
                    <a:pt x="4945" y="1729"/>
                  </a:lnTo>
                  <a:lnTo>
                    <a:pt x="4949" y="1751"/>
                  </a:lnTo>
                  <a:lnTo>
                    <a:pt x="4952" y="1774"/>
                  </a:lnTo>
                  <a:lnTo>
                    <a:pt x="4959" y="1798"/>
                  </a:lnTo>
                  <a:lnTo>
                    <a:pt x="4965" y="1820"/>
                  </a:lnTo>
                  <a:lnTo>
                    <a:pt x="4971" y="1842"/>
                  </a:lnTo>
                  <a:lnTo>
                    <a:pt x="4980" y="1864"/>
                  </a:lnTo>
                  <a:lnTo>
                    <a:pt x="4989" y="1886"/>
                  </a:lnTo>
                  <a:lnTo>
                    <a:pt x="4998" y="1907"/>
                  </a:lnTo>
                  <a:lnTo>
                    <a:pt x="5009" y="1929"/>
                  </a:lnTo>
                  <a:lnTo>
                    <a:pt x="5020" y="1950"/>
                  </a:lnTo>
                  <a:lnTo>
                    <a:pt x="5031" y="1970"/>
                  </a:lnTo>
                  <a:lnTo>
                    <a:pt x="5044" y="1990"/>
                  </a:lnTo>
                  <a:lnTo>
                    <a:pt x="5044" y="1990"/>
                  </a:lnTo>
                  <a:lnTo>
                    <a:pt x="5047" y="1994"/>
                  </a:lnTo>
                  <a:lnTo>
                    <a:pt x="5048" y="1999"/>
                  </a:lnTo>
                  <a:lnTo>
                    <a:pt x="5048" y="1999"/>
                  </a:lnTo>
                  <a:lnTo>
                    <a:pt x="5047" y="2003"/>
                  </a:lnTo>
                  <a:lnTo>
                    <a:pt x="5044" y="2008"/>
                  </a:lnTo>
                  <a:lnTo>
                    <a:pt x="5039" y="2010"/>
                  </a:lnTo>
                  <a:lnTo>
                    <a:pt x="5035" y="2011"/>
                  </a:lnTo>
                  <a:lnTo>
                    <a:pt x="5035" y="2011"/>
                  </a:lnTo>
                  <a:lnTo>
                    <a:pt x="5031" y="2010"/>
                  </a:lnTo>
                  <a:lnTo>
                    <a:pt x="5031" y="2010"/>
                  </a:lnTo>
                  <a:lnTo>
                    <a:pt x="4991" y="1998"/>
                  </a:lnTo>
                  <a:lnTo>
                    <a:pt x="4955" y="1984"/>
                  </a:lnTo>
                  <a:lnTo>
                    <a:pt x="4923" y="1971"/>
                  </a:lnTo>
                  <a:lnTo>
                    <a:pt x="4895" y="1959"/>
                  </a:lnTo>
                  <a:lnTo>
                    <a:pt x="4852" y="1939"/>
                  </a:lnTo>
                  <a:lnTo>
                    <a:pt x="4829" y="1926"/>
                  </a:lnTo>
                  <a:lnTo>
                    <a:pt x="4829" y="1926"/>
                  </a:lnTo>
                  <a:lnTo>
                    <a:pt x="4489" y="1915"/>
                  </a:lnTo>
                  <a:lnTo>
                    <a:pt x="4161" y="1903"/>
                  </a:lnTo>
                  <a:lnTo>
                    <a:pt x="3770" y="1890"/>
                  </a:lnTo>
                  <a:lnTo>
                    <a:pt x="3349" y="1877"/>
                  </a:lnTo>
                  <a:lnTo>
                    <a:pt x="2930" y="1867"/>
                  </a:lnTo>
                  <a:lnTo>
                    <a:pt x="2733" y="1862"/>
                  </a:lnTo>
                  <a:lnTo>
                    <a:pt x="2547" y="1859"/>
                  </a:lnTo>
                  <a:lnTo>
                    <a:pt x="2379" y="1857"/>
                  </a:lnTo>
                  <a:lnTo>
                    <a:pt x="2232" y="1856"/>
                  </a:lnTo>
                  <a:lnTo>
                    <a:pt x="2232" y="1856"/>
                  </a:lnTo>
                  <a:lnTo>
                    <a:pt x="2090" y="1857"/>
                  </a:lnTo>
                  <a:lnTo>
                    <a:pt x="2039" y="1858"/>
                  </a:lnTo>
                  <a:lnTo>
                    <a:pt x="2002" y="1861"/>
                  </a:lnTo>
                  <a:lnTo>
                    <a:pt x="1974" y="1862"/>
                  </a:lnTo>
                  <a:lnTo>
                    <a:pt x="1954" y="1864"/>
                  </a:lnTo>
                  <a:lnTo>
                    <a:pt x="1943" y="1866"/>
                  </a:lnTo>
                  <a:lnTo>
                    <a:pt x="1936" y="1867"/>
                  </a:lnTo>
                  <a:lnTo>
                    <a:pt x="1936" y="1867"/>
                  </a:lnTo>
                  <a:lnTo>
                    <a:pt x="1905" y="1878"/>
                  </a:lnTo>
                  <a:lnTo>
                    <a:pt x="1872" y="1888"/>
                  </a:lnTo>
                  <a:lnTo>
                    <a:pt x="1841" y="1897"/>
                  </a:lnTo>
                  <a:lnTo>
                    <a:pt x="1808" y="1905"/>
                  </a:lnTo>
                  <a:lnTo>
                    <a:pt x="1778" y="1911"/>
                  </a:lnTo>
                  <a:lnTo>
                    <a:pt x="1750" y="1916"/>
                  </a:lnTo>
                  <a:lnTo>
                    <a:pt x="1704" y="1922"/>
                  </a:lnTo>
                  <a:lnTo>
                    <a:pt x="1704" y="1922"/>
                  </a:lnTo>
                  <a:lnTo>
                    <a:pt x="1700" y="1922"/>
                  </a:lnTo>
                  <a:lnTo>
                    <a:pt x="1698" y="1922"/>
                  </a:lnTo>
                  <a:lnTo>
                    <a:pt x="1695" y="1920"/>
                  </a:lnTo>
                  <a:lnTo>
                    <a:pt x="1693" y="1917"/>
                  </a:lnTo>
                  <a:lnTo>
                    <a:pt x="1693" y="1917"/>
                  </a:lnTo>
                  <a:lnTo>
                    <a:pt x="1690" y="1915"/>
                  </a:lnTo>
                  <a:lnTo>
                    <a:pt x="1690" y="1911"/>
                  </a:lnTo>
                  <a:lnTo>
                    <a:pt x="1690" y="1908"/>
                  </a:lnTo>
                  <a:lnTo>
                    <a:pt x="1691" y="1905"/>
                  </a:lnTo>
                  <a:lnTo>
                    <a:pt x="1691" y="1905"/>
                  </a:lnTo>
                  <a:lnTo>
                    <a:pt x="1705" y="1873"/>
                  </a:lnTo>
                  <a:lnTo>
                    <a:pt x="1717" y="1839"/>
                  </a:lnTo>
                  <a:lnTo>
                    <a:pt x="1727" y="1807"/>
                  </a:lnTo>
                  <a:lnTo>
                    <a:pt x="1735" y="1773"/>
                  </a:lnTo>
                  <a:lnTo>
                    <a:pt x="1742" y="1739"/>
                  </a:lnTo>
                  <a:lnTo>
                    <a:pt x="1747" y="1704"/>
                  </a:lnTo>
                  <a:lnTo>
                    <a:pt x="1749" y="1670"/>
                  </a:lnTo>
                  <a:lnTo>
                    <a:pt x="1750" y="1633"/>
                  </a:lnTo>
                  <a:lnTo>
                    <a:pt x="1750" y="1633"/>
                  </a:lnTo>
                  <a:lnTo>
                    <a:pt x="1749" y="1601"/>
                  </a:lnTo>
                  <a:lnTo>
                    <a:pt x="1747" y="1568"/>
                  </a:lnTo>
                  <a:lnTo>
                    <a:pt x="1743" y="1535"/>
                  </a:lnTo>
                  <a:lnTo>
                    <a:pt x="1738" y="1504"/>
                  </a:lnTo>
                  <a:lnTo>
                    <a:pt x="1730" y="1472"/>
                  </a:lnTo>
                  <a:lnTo>
                    <a:pt x="1722" y="1441"/>
                  </a:lnTo>
                  <a:lnTo>
                    <a:pt x="1712" y="1411"/>
                  </a:lnTo>
                  <a:lnTo>
                    <a:pt x="1699" y="1382"/>
                  </a:lnTo>
                  <a:lnTo>
                    <a:pt x="1686" y="1353"/>
                  </a:lnTo>
                  <a:lnTo>
                    <a:pt x="1673" y="1325"/>
                  </a:lnTo>
                  <a:lnTo>
                    <a:pt x="1656" y="1298"/>
                  </a:lnTo>
                  <a:lnTo>
                    <a:pt x="1640" y="1273"/>
                  </a:lnTo>
                  <a:lnTo>
                    <a:pt x="1622" y="1246"/>
                  </a:lnTo>
                  <a:lnTo>
                    <a:pt x="1602" y="1222"/>
                  </a:lnTo>
                  <a:lnTo>
                    <a:pt x="1582" y="1199"/>
                  </a:lnTo>
                  <a:lnTo>
                    <a:pt x="1561" y="1176"/>
                  </a:lnTo>
                  <a:lnTo>
                    <a:pt x="1538" y="1155"/>
                  </a:lnTo>
                  <a:lnTo>
                    <a:pt x="1514" y="1135"/>
                  </a:lnTo>
                  <a:lnTo>
                    <a:pt x="1490" y="1116"/>
                  </a:lnTo>
                  <a:lnTo>
                    <a:pt x="1465" y="1097"/>
                  </a:lnTo>
                  <a:lnTo>
                    <a:pt x="1439" y="1080"/>
                  </a:lnTo>
                  <a:lnTo>
                    <a:pt x="1411" y="1065"/>
                  </a:lnTo>
                  <a:lnTo>
                    <a:pt x="1384" y="1050"/>
                  </a:lnTo>
                  <a:lnTo>
                    <a:pt x="1355" y="1038"/>
                  </a:lnTo>
                  <a:lnTo>
                    <a:pt x="1326" y="1026"/>
                  </a:lnTo>
                  <a:lnTo>
                    <a:pt x="1296" y="1015"/>
                  </a:lnTo>
                  <a:lnTo>
                    <a:pt x="1264" y="1006"/>
                  </a:lnTo>
                  <a:lnTo>
                    <a:pt x="1234" y="1000"/>
                  </a:lnTo>
                  <a:lnTo>
                    <a:pt x="1201" y="994"/>
                  </a:lnTo>
                  <a:lnTo>
                    <a:pt x="1169" y="990"/>
                  </a:lnTo>
                  <a:lnTo>
                    <a:pt x="1136" y="988"/>
                  </a:lnTo>
                  <a:lnTo>
                    <a:pt x="1103" y="986"/>
                  </a:lnTo>
                  <a:lnTo>
                    <a:pt x="1103" y="986"/>
                  </a:lnTo>
                  <a:lnTo>
                    <a:pt x="1069" y="988"/>
                  </a:lnTo>
                  <a:lnTo>
                    <a:pt x="1037" y="990"/>
                  </a:lnTo>
                  <a:lnTo>
                    <a:pt x="1004" y="994"/>
                  </a:lnTo>
                  <a:lnTo>
                    <a:pt x="973" y="1000"/>
                  </a:lnTo>
                  <a:lnTo>
                    <a:pt x="941" y="1006"/>
                  </a:lnTo>
                  <a:lnTo>
                    <a:pt x="911" y="1015"/>
                  </a:lnTo>
                  <a:lnTo>
                    <a:pt x="881" y="1026"/>
                  </a:lnTo>
                  <a:lnTo>
                    <a:pt x="852" y="1038"/>
                  </a:lnTo>
                  <a:lnTo>
                    <a:pt x="823" y="1050"/>
                  </a:lnTo>
                  <a:lnTo>
                    <a:pt x="794" y="1065"/>
                  </a:lnTo>
                  <a:lnTo>
                    <a:pt x="768" y="1080"/>
                  </a:lnTo>
                  <a:lnTo>
                    <a:pt x="741" y="1097"/>
                  </a:lnTo>
                  <a:lnTo>
                    <a:pt x="716" y="1116"/>
                  </a:lnTo>
                  <a:lnTo>
                    <a:pt x="691" y="1135"/>
                  </a:lnTo>
                  <a:lnTo>
                    <a:pt x="669" y="1155"/>
                  </a:lnTo>
                  <a:lnTo>
                    <a:pt x="646" y="1176"/>
                  </a:lnTo>
                  <a:lnTo>
                    <a:pt x="625" y="1199"/>
                  </a:lnTo>
                  <a:lnTo>
                    <a:pt x="603" y="1222"/>
                  </a:lnTo>
                  <a:lnTo>
                    <a:pt x="584" y="1246"/>
                  </a:lnTo>
                  <a:lnTo>
                    <a:pt x="567" y="1273"/>
                  </a:lnTo>
                  <a:lnTo>
                    <a:pt x="549" y="1298"/>
                  </a:lnTo>
                  <a:lnTo>
                    <a:pt x="534" y="1325"/>
                  </a:lnTo>
                  <a:lnTo>
                    <a:pt x="520" y="1353"/>
                  </a:lnTo>
                  <a:lnTo>
                    <a:pt x="506" y="1382"/>
                  </a:lnTo>
                  <a:lnTo>
                    <a:pt x="495" y="1411"/>
                  </a:lnTo>
                  <a:lnTo>
                    <a:pt x="485" y="1441"/>
                  </a:lnTo>
                  <a:lnTo>
                    <a:pt x="476" y="1472"/>
                  </a:lnTo>
                  <a:lnTo>
                    <a:pt x="469" y="1504"/>
                  </a:lnTo>
                  <a:lnTo>
                    <a:pt x="464" y="1535"/>
                  </a:lnTo>
                  <a:lnTo>
                    <a:pt x="459" y="1568"/>
                  </a:lnTo>
                  <a:lnTo>
                    <a:pt x="456" y="1601"/>
                  </a:lnTo>
                  <a:lnTo>
                    <a:pt x="456" y="1633"/>
                  </a:lnTo>
                  <a:lnTo>
                    <a:pt x="456" y="1633"/>
                  </a:lnTo>
                  <a:lnTo>
                    <a:pt x="456" y="1665"/>
                  </a:lnTo>
                  <a:lnTo>
                    <a:pt x="459" y="1695"/>
                  </a:lnTo>
                  <a:lnTo>
                    <a:pt x="462" y="1725"/>
                  </a:lnTo>
                  <a:lnTo>
                    <a:pt x="467" y="1755"/>
                  </a:lnTo>
                  <a:lnTo>
                    <a:pt x="474" y="1785"/>
                  </a:lnTo>
                  <a:lnTo>
                    <a:pt x="481" y="1814"/>
                  </a:lnTo>
                  <a:lnTo>
                    <a:pt x="490" y="1843"/>
                  </a:lnTo>
                  <a:lnTo>
                    <a:pt x="501" y="1872"/>
                  </a:lnTo>
                  <a:lnTo>
                    <a:pt x="501" y="1872"/>
                  </a:lnTo>
                  <a:lnTo>
                    <a:pt x="501" y="1875"/>
                  </a:lnTo>
                  <a:lnTo>
                    <a:pt x="503" y="1877"/>
                  </a:lnTo>
                  <a:lnTo>
                    <a:pt x="503" y="1877"/>
                  </a:lnTo>
                  <a:lnTo>
                    <a:pt x="501" y="1882"/>
                  </a:lnTo>
                  <a:lnTo>
                    <a:pt x="499" y="1887"/>
                  </a:lnTo>
                  <a:lnTo>
                    <a:pt x="495" y="1890"/>
                  </a:lnTo>
                  <a:lnTo>
                    <a:pt x="490" y="1890"/>
                  </a:lnTo>
                  <a:lnTo>
                    <a:pt x="490" y="1890"/>
                  </a:lnTo>
                  <a:lnTo>
                    <a:pt x="490" y="1890"/>
                  </a:lnTo>
                  <a:lnTo>
                    <a:pt x="490" y="1890"/>
                  </a:lnTo>
                  <a:lnTo>
                    <a:pt x="489" y="1890"/>
                  </a:lnTo>
                  <a:lnTo>
                    <a:pt x="489" y="1890"/>
                  </a:lnTo>
                  <a:lnTo>
                    <a:pt x="439" y="1885"/>
                  </a:lnTo>
                  <a:lnTo>
                    <a:pt x="390" y="1878"/>
                  </a:lnTo>
                  <a:lnTo>
                    <a:pt x="343" y="1869"/>
                  </a:lnTo>
                  <a:lnTo>
                    <a:pt x="298" y="1859"/>
                  </a:lnTo>
                  <a:lnTo>
                    <a:pt x="256" y="1849"/>
                  </a:lnTo>
                  <a:lnTo>
                    <a:pt x="217" y="1838"/>
                  </a:lnTo>
                  <a:lnTo>
                    <a:pt x="180" y="1826"/>
                  </a:lnTo>
                  <a:lnTo>
                    <a:pt x="147" y="1814"/>
                  </a:lnTo>
                  <a:lnTo>
                    <a:pt x="116" y="1802"/>
                  </a:lnTo>
                  <a:lnTo>
                    <a:pt x="89" y="1790"/>
                  </a:lnTo>
                  <a:lnTo>
                    <a:pt x="45" y="1771"/>
                  </a:lnTo>
                  <a:lnTo>
                    <a:pt x="18" y="1758"/>
                  </a:lnTo>
                  <a:lnTo>
                    <a:pt x="8" y="1753"/>
                  </a:lnTo>
                  <a:lnTo>
                    <a:pt x="8" y="1753"/>
                  </a:lnTo>
                  <a:lnTo>
                    <a:pt x="5" y="1750"/>
                  </a:lnTo>
                  <a:lnTo>
                    <a:pt x="4" y="1748"/>
                  </a:lnTo>
                  <a:lnTo>
                    <a:pt x="3" y="1745"/>
                  </a:lnTo>
                  <a:lnTo>
                    <a:pt x="1" y="1741"/>
                  </a:lnTo>
                  <a:lnTo>
                    <a:pt x="1" y="1508"/>
                  </a:lnTo>
                  <a:lnTo>
                    <a:pt x="1" y="1508"/>
                  </a:lnTo>
                  <a:lnTo>
                    <a:pt x="3" y="1498"/>
                  </a:lnTo>
                  <a:lnTo>
                    <a:pt x="8" y="1486"/>
                  </a:lnTo>
                  <a:lnTo>
                    <a:pt x="14" y="1475"/>
                  </a:lnTo>
                  <a:lnTo>
                    <a:pt x="21" y="1464"/>
                  </a:lnTo>
                  <a:lnTo>
                    <a:pt x="39" y="1441"/>
                  </a:lnTo>
                  <a:lnTo>
                    <a:pt x="57" y="1423"/>
                  </a:lnTo>
                  <a:lnTo>
                    <a:pt x="57" y="1423"/>
                  </a:lnTo>
                  <a:lnTo>
                    <a:pt x="44" y="1413"/>
                  </a:lnTo>
                  <a:lnTo>
                    <a:pt x="34" y="1403"/>
                  </a:lnTo>
                  <a:lnTo>
                    <a:pt x="25" y="1393"/>
                  </a:lnTo>
                  <a:lnTo>
                    <a:pt x="18" y="1382"/>
                  </a:lnTo>
                  <a:lnTo>
                    <a:pt x="13" y="1371"/>
                  </a:lnTo>
                  <a:lnTo>
                    <a:pt x="8" y="1359"/>
                  </a:lnTo>
                  <a:lnTo>
                    <a:pt x="5" y="1348"/>
                  </a:lnTo>
                  <a:lnTo>
                    <a:pt x="3" y="1338"/>
                  </a:lnTo>
                  <a:lnTo>
                    <a:pt x="0" y="1318"/>
                  </a:lnTo>
                  <a:lnTo>
                    <a:pt x="0" y="1300"/>
                  </a:lnTo>
                  <a:lnTo>
                    <a:pt x="1" y="1289"/>
                  </a:lnTo>
                  <a:lnTo>
                    <a:pt x="1" y="1283"/>
                  </a:lnTo>
                  <a:lnTo>
                    <a:pt x="1" y="1283"/>
                  </a:lnTo>
                  <a:lnTo>
                    <a:pt x="24" y="1128"/>
                  </a:lnTo>
                  <a:lnTo>
                    <a:pt x="41" y="996"/>
                  </a:lnTo>
                  <a:lnTo>
                    <a:pt x="49" y="932"/>
                  </a:lnTo>
                  <a:lnTo>
                    <a:pt x="57" y="873"/>
                  </a:lnTo>
                  <a:lnTo>
                    <a:pt x="57" y="873"/>
                  </a:lnTo>
                  <a:lnTo>
                    <a:pt x="59" y="847"/>
                  </a:lnTo>
                  <a:lnTo>
                    <a:pt x="64" y="822"/>
                  </a:lnTo>
                  <a:lnTo>
                    <a:pt x="70" y="798"/>
                  </a:lnTo>
                  <a:lnTo>
                    <a:pt x="77" y="775"/>
                  </a:lnTo>
                  <a:lnTo>
                    <a:pt x="84" y="755"/>
                  </a:lnTo>
                  <a:lnTo>
                    <a:pt x="93" y="736"/>
                  </a:lnTo>
                  <a:lnTo>
                    <a:pt x="101" y="719"/>
                  </a:lnTo>
                  <a:lnTo>
                    <a:pt x="109" y="704"/>
                  </a:lnTo>
                  <a:lnTo>
                    <a:pt x="126" y="677"/>
                  </a:lnTo>
                  <a:lnTo>
                    <a:pt x="141" y="657"/>
                  </a:lnTo>
                  <a:lnTo>
                    <a:pt x="151" y="645"/>
                  </a:lnTo>
                  <a:lnTo>
                    <a:pt x="157" y="638"/>
                  </a:lnTo>
                  <a:lnTo>
                    <a:pt x="285" y="487"/>
                  </a:lnTo>
                  <a:lnTo>
                    <a:pt x="285" y="487"/>
                  </a:lnTo>
                  <a:lnTo>
                    <a:pt x="289" y="484"/>
                  </a:lnTo>
                  <a:lnTo>
                    <a:pt x="295" y="482"/>
                  </a:lnTo>
                  <a:lnTo>
                    <a:pt x="751" y="490"/>
                  </a:lnTo>
                  <a:lnTo>
                    <a:pt x="751" y="490"/>
                  </a:lnTo>
                  <a:lnTo>
                    <a:pt x="814" y="462"/>
                  </a:lnTo>
                  <a:lnTo>
                    <a:pt x="876" y="437"/>
                  </a:lnTo>
                  <a:lnTo>
                    <a:pt x="954" y="406"/>
                  </a:lnTo>
                  <a:lnTo>
                    <a:pt x="1049" y="371"/>
                  </a:lnTo>
                  <a:lnTo>
                    <a:pt x="1160" y="330"/>
                  </a:lnTo>
                  <a:lnTo>
                    <a:pt x="1284" y="289"/>
                  </a:lnTo>
                  <a:lnTo>
                    <a:pt x="1351" y="268"/>
                  </a:lnTo>
                  <a:lnTo>
                    <a:pt x="1421" y="246"/>
                  </a:lnTo>
                  <a:lnTo>
                    <a:pt x="1421" y="246"/>
                  </a:lnTo>
                  <a:lnTo>
                    <a:pt x="1493" y="225"/>
                  </a:lnTo>
                  <a:lnTo>
                    <a:pt x="1568" y="202"/>
                  </a:lnTo>
                  <a:lnTo>
                    <a:pt x="1649" y="181"/>
                  </a:lnTo>
                  <a:lnTo>
                    <a:pt x="1732" y="160"/>
                  </a:lnTo>
                  <a:lnTo>
                    <a:pt x="1820" y="139"/>
                  </a:lnTo>
                  <a:lnTo>
                    <a:pt x="1910" y="118"/>
                  </a:lnTo>
                  <a:lnTo>
                    <a:pt x="2003" y="99"/>
                  </a:lnTo>
                  <a:lnTo>
                    <a:pt x="2100" y="80"/>
                  </a:lnTo>
                  <a:lnTo>
                    <a:pt x="2198" y="64"/>
                  </a:lnTo>
                  <a:lnTo>
                    <a:pt x="2298" y="48"/>
                  </a:lnTo>
                  <a:lnTo>
                    <a:pt x="2401" y="34"/>
                  </a:lnTo>
                  <a:lnTo>
                    <a:pt x="2506" y="23"/>
                  </a:lnTo>
                  <a:lnTo>
                    <a:pt x="2611" y="13"/>
                  </a:lnTo>
                  <a:lnTo>
                    <a:pt x="2718" y="6"/>
                  </a:lnTo>
                  <a:lnTo>
                    <a:pt x="2826" y="1"/>
                  </a:lnTo>
                  <a:lnTo>
                    <a:pt x="2880" y="0"/>
                  </a:lnTo>
                  <a:lnTo>
                    <a:pt x="2934" y="0"/>
                  </a:lnTo>
                  <a:lnTo>
                    <a:pt x="2934" y="0"/>
                  </a:lnTo>
                  <a:lnTo>
                    <a:pt x="3010" y="0"/>
                  </a:lnTo>
                  <a:lnTo>
                    <a:pt x="3010" y="0"/>
                  </a:lnTo>
                  <a:lnTo>
                    <a:pt x="3065" y="3"/>
                  </a:lnTo>
                  <a:lnTo>
                    <a:pt x="3119" y="5"/>
                  </a:lnTo>
                  <a:lnTo>
                    <a:pt x="3173" y="8"/>
                  </a:lnTo>
                  <a:lnTo>
                    <a:pt x="3226" y="13"/>
                  </a:lnTo>
                  <a:lnTo>
                    <a:pt x="3279" y="16"/>
                  </a:lnTo>
                  <a:lnTo>
                    <a:pt x="3330" y="23"/>
                  </a:lnTo>
                  <a:lnTo>
                    <a:pt x="3382" y="29"/>
                  </a:lnTo>
                  <a:lnTo>
                    <a:pt x="3432" y="36"/>
                  </a:lnTo>
                  <a:lnTo>
                    <a:pt x="3530" y="53"/>
                  </a:lnTo>
                  <a:lnTo>
                    <a:pt x="3624" y="70"/>
                  </a:lnTo>
                  <a:lnTo>
                    <a:pt x="3715" y="92"/>
                  </a:lnTo>
                  <a:lnTo>
                    <a:pt x="3803" y="113"/>
                  </a:lnTo>
                  <a:lnTo>
                    <a:pt x="3887" y="137"/>
                  </a:lnTo>
                  <a:lnTo>
                    <a:pt x="3968" y="162"/>
                  </a:lnTo>
                  <a:lnTo>
                    <a:pt x="4045" y="188"/>
                  </a:lnTo>
                  <a:lnTo>
                    <a:pt x="4118" y="215"/>
                  </a:lnTo>
                  <a:lnTo>
                    <a:pt x="4187" y="242"/>
                  </a:lnTo>
                  <a:lnTo>
                    <a:pt x="4252" y="269"/>
                  </a:lnTo>
                  <a:lnTo>
                    <a:pt x="4314" y="297"/>
                  </a:lnTo>
                  <a:lnTo>
                    <a:pt x="4372" y="323"/>
                  </a:lnTo>
                  <a:lnTo>
                    <a:pt x="4372" y="323"/>
                  </a:lnTo>
                  <a:lnTo>
                    <a:pt x="4426" y="349"/>
                  </a:lnTo>
                  <a:lnTo>
                    <a:pt x="4476" y="376"/>
                  </a:lnTo>
                  <a:lnTo>
                    <a:pt x="4524" y="402"/>
                  </a:lnTo>
                  <a:lnTo>
                    <a:pt x="4570" y="427"/>
                  </a:lnTo>
                  <a:lnTo>
                    <a:pt x="4612" y="452"/>
                  </a:lnTo>
                  <a:lnTo>
                    <a:pt x="4651" y="475"/>
                  </a:lnTo>
                  <a:lnTo>
                    <a:pt x="4721" y="520"/>
                  </a:lnTo>
                  <a:lnTo>
                    <a:pt x="4778" y="558"/>
                  </a:lnTo>
                  <a:lnTo>
                    <a:pt x="4822" y="590"/>
                  </a:lnTo>
                  <a:lnTo>
                    <a:pt x="4852" y="613"/>
                  </a:lnTo>
                  <a:lnTo>
                    <a:pt x="4868" y="627"/>
                  </a:lnTo>
                  <a:lnTo>
                    <a:pt x="4868" y="627"/>
                  </a:lnTo>
                  <a:lnTo>
                    <a:pt x="4959" y="632"/>
                  </a:lnTo>
                  <a:lnTo>
                    <a:pt x="5053" y="639"/>
                  </a:lnTo>
                  <a:lnTo>
                    <a:pt x="5150" y="647"/>
                  </a:lnTo>
                  <a:lnTo>
                    <a:pt x="5249" y="657"/>
                  </a:lnTo>
                  <a:lnTo>
                    <a:pt x="5349" y="667"/>
                  </a:lnTo>
                  <a:lnTo>
                    <a:pt x="5450" y="680"/>
                  </a:lnTo>
                  <a:lnTo>
                    <a:pt x="5552" y="694"/>
                  </a:lnTo>
                  <a:lnTo>
                    <a:pt x="5652" y="709"/>
                  </a:lnTo>
                  <a:lnTo>
                    <a:pt x="5753" y="725"/>
                  </a:lnTo>
                  <a:lnTo>
                    <a:pt x="5851" y="744"/>
                  </a:lnTo>
                  <a:lnTo>
                    <a:pt x="5946" y="764"/>
                  </a:lnTo>
                  <a:lnTo>
                    <a:pt x="6038" y="786"/>
                  </a:lnTo>
                  <a:lnTo>
                    <a:pt x="6083" y="798"/>
                  </a:lnTo>
                  <a:lnTo>
                    <a:pt x="6127" y="810"/>
                  </a:lnTo>
                  <a:lnTo>
                    <a:pt x="6170" y="823"/>
                  </a:lnTo>
                  <a:lnTo>
                    <a:pt x="6213" y="837"/>
                  </a:lnTo>
                  <a:lnTo>
                    <a:pt x="6253" y="851"/>
                  </a:lnTo>
                  <a:lnTo>
                    <a:pt x="6292" y="866"/>
                  </a:lnTo>
                  <a:lnTo>
                    <a:pt x="6330" y="881"/>
                  </a:lnTo>
                  <a:lnTo>
                    <a:pt x="6366" y="896"/>
                  </a:lnTo>
                  <a:lnTo>
                    <a:pt x="6366" y="896"/>
                  </a:lnTo>
                  <a:lnTo>
                    <a:pt x="6407" y="916"/>
                  </a:lnTo>
                  <a:lnTo>
                    <a:pt x="6444" y="935"/>
                  </a:lnTo>
                  <a:lnTo>
                    <a:pt x="6477" y="954"/>
                  </a:lnTo>
                  <a:lnTo>
                    <a:pt x="6504" y="971"/>
                  </a:lnTo>
                  <a:lnTo>
                    <a:pt x="6529" y="989"/>
                  </a:lnTo>
                  <a:lnTo>
                    <a:pt x="6549" y="1005"/>
                  </a:lnTo>
                  <a:lnTo>
                    <a:pt x="6567" y="1021"/>
                  </a:lnTo>
                  <a:lnTo>
                    <a:pt x="6582" y="1035"/>
                  </a:lnTo>
                  <a:lnTo>
                    <a:pt x="6595" y="1049"/>
                  </a:lnTo>
                  <a:lnTo>
                    <a:pt x="6604" y="1060"/>
                  </a:lnTo>
                  <a:lnTo>
                    <a:pt x="6611" y="1072"/>
                  </a:lnTo>
                  <a:lnTo>
                    <a:pt x="6617" y="1080"/>
                  </a:lnTo>
                  <a:lnTo>
                    <a:pt x="6622" y="1093"/>
                  </a:lnTo>
                  <a:lnTo>
                    <a:pt x="6625" y="1099"/>
                  </a:lnTo>
                  <a:lnTo>
                    <a:pt x="6625" y="1099"/>
                  </a:lnTo>
                  <a:lnTo>
                    <a:pt x="6625" y="1099"/>
                  </a:lnTo>
                  <a:lnTo>
                    <a:pt x="6625" y="1099"/>
                  </a:lnTo>
                  <a:lnTo>
                    <a:pt x="6636" y="1171"/>
                  </a:lnTo>
                  <a:lnTo>
                    <a:pt x="6640" y="1209"/>
                  </a:lnTo>
                  <a:lnTo>
                    <a:pt x="6644" y="1249"/>
                  </a:lnTo>
                  <a:lnTo>
                    <a:pt x="6647" y="1289"/>
                  </a:lnTo>
                  <a:lnTo>
                    <a:pt x="6649" y="1332"/>
                  </a:lnTo>
                  <a:lnTo>
                    <a:pt x="6650" y="1376"/>
                  </a:lnTo>
                  <a:lnTo>
                    <a:pt x="6650" y="1421"/>
                  </a:lnTo>
                  <a:lnTo>
                    <a:pt x="6649" y="1466"/>
                  </a:lnTo>
                  <a:lnTo>
                    <a:pt x="6645" y="1513"/>
                  </a:lnTo>
                  <a:lnTo>
                    <a:pt x="6641" y="1559"/>
                  </a:lnTo>
                  <a:lnTo>
                    <a:pt x="6635" y="1607"/>
                  </a:lnTo>
                  <a:lnTo>
                    <a:pt x="6626" y="1655"/>
                  </a:lnTo>
                  <a:lnTo>
                    <a:pt x="6616" y="1702"/>
                  </a:lnTo>
                  <a:lnTo>
                    <a:pt x="6604" y="1750"/>
                  </a:lnTo>
                  <a:lnTo>
                    <a:pt x="6588" y="1797"/>
                  </a:lnTo>
                  <a:lnTo>
                    <a:pt x="6588" y="1797"/>
                  </a:lnTo>
                  <a:lnTo>
                    <a:pt x="6578" y="1824"/>
                  </a:lnTo>
                  <a:lnTo>
                    <a:pt x="6570" y="1851"/>
                  </a:lnTo>
                  <a:lnTo>
                    <a:pt x="6549" y="1897"/>
                  </a:lnTo>
                  <a:lnTo>
                    <a:pt x="6529" y="1936"/>
                  </a:lnTo>
                  <a:lnTo>
                    <a:pt x="6512" y="1967"/>
                  </a:lnTo>
                  <a:lnTo>
                    <a:pt x="6497" y="1993"/>
                  </a:lnTo>
                  <a:lnTo>
                    <a:pt x="6484" y="2011"/>
                  </a:lnTo>
                  <a:lnTo>
                    <a:pt x="6472" y="2027"/>
                  </a:lnTo>
                  <a:lnTo>
                    <a:pt x="6472" y="2027"/>
                  </a:lnTo>
                  <a:lnTo>
                    <a:pt x="6468" y="2030"/>
                  </a:lnTo>
                  <a:lnTo>
                    <a:pt x="6463" y="2032"/>
                  </a:lnTo>
                  <a:lnTo>
                    <a:pt x="6463" y="2032"/>
                  </a:lnTo>
                  <a:lnTo>
                    <a:pt x="6362" y="2034"/>
                  </a:lnTo>
                  <a:lnTo>
                    <a:pt x="6115" y="2040"/>
                  </a:lnTo>
                  <a:lnTo>
                    <a:pt x="6115" y="2040"/>
                  </a:lnTo>
                  <a:lnTo>
                    <a:pt x="6115" y="2040"/>
                  </a:lnTo>
                  <a:lnTo>
                    <a:pt x="6115" y="2040"/>
                  </a:lnTo>
                  <a:close/>
                  <a:moveTo>
                    <a:pt x="5584" y="961"/>
                  </a:moveTo>
                  <a:lnTo>
                    <a:pt x="5584" y="961"/>
                  </a:lnTo>
                  <a:lnTo>
                    <a:pt x="5620" y="962"/>
                  </a:lnTo>
                  <a:lnTo>
                    <a:pt x="5654" y="965"/>
                  </a:lnTo>
                  <a:lnTo>
                    <a:pt x="5687" y="969"/>
                  </a:lnTo>
                  <a:lnTo>
                    <a:pt x="5720" y="975"/>
                  </a:lnTo>
                  <a:lnTo>
                    <a:pt x="5753" y="982"/>
                  </a:lnTo>
                  <a:lnTo>
                    <a:pt x="5784" y="991"/>
                  </a:lnTo>
                  <a:lnTo>
                    <a:pt x="5816" y="1003"/>
                  </a:lnTo>
                  <a:lnTo>
                    <a:pt x="5846" y="1014"/>
                  </a:lnTo>
                  <a:lnTo>
                    <a:pt x="5876" y="1028"/>
                  </a:lnTo>
                  <a:lnTo>
                    <a:pt x="5905" y="1043"/>
                  </a:lnTo>
                  <a:lnTo>
                    <a:pt x="5934" y="1059"/>
                  </a:lnTo>
                  <a:lnTo>
                    <a:pt x="5960" y="1077"/>
                  </a:lnTo>
                  <a:lnTo>
                    <a:pt x="5987" y="1096"/>
                  </a:lnTo>
                  <a:lnTo>
                    <a:pt x="6012" y="1116"/>
                  </a:lnTo>
                  <a:lnTo>
                    <a:pt x="6037" y="1136"/>
                  </a:lnTo>
                  <a:lnTo>
                    <a:pt x="6061" y="1158"/>
                  </a:lnTo>
                  <a:lnTo>
                    <a:pt x="6082" y="1182"/>
                  </a:lnTo>
                  <a:lnTo>
                    <a:pt x="6103" y="1206"/>
                  </a:lnTo>
                  <a:lnTo>
                    <a:pt x="6123" y="1231"/>
                  </a:lnTo>
                  <a:lnTo>
                    <a:pt x="6142" y="1258"/>
                  </a:lnTo>
                  <a:lnTo>
                    <a:pt x="6160" y="1285"/>
                  </a:lnTo>
                  <a:lnTo>
                    <a:pt x="6176" y="1314"/>
                  </a:lnTo>
                  <a:lnTo>
                    <a:pt x="6191" y="1343"/>
                  </a:lnTo>
                  <a:lnTo>
                    <a:pt x="6204" y="1372"/>
                  </a:lnTo>
                  <a:lnTo>
                    <a:pt x="6216" y="1403"/>
                  </a:lnTo>
                  <a:lnTo>
                    <a:pt x="6227" y="1434"/>
                  </a:lnTo>
                  <a:lnTo>
                    <a:pt x="6237" y="1466"/>
                  </a:lnTo>
                  <a:lnTo>
                    <a:pt x="6244" y="1499"/>
                  </a:lnTo>
                  <a:lnTo>
                    <a:pt x="6249" y="1532"/>
                  </a:lnTo>
                  <a:lnTo>
                    <a:pt x="6254" y="1565"/>
                  </a:lnTo>
                  <a:lnTo>
                    <a:pt x="6257" y="1599"/>
                  </a:lnTo>
                  <a:lnTo>
                    <a:pt x="6257" y="1633"/>
                  </a:lnTo>
                  <a:lnTo>
                    <a:pt x="6257" y="1633"/>
                  </a:lnTo>
                  <a:lnTo>
                    <a:pt x="6257" y="1660"/>
                  </a:lnTo>
                  <a:lnTo>
                    <a:pt x="6255" y="1685"/>
                  </a:lnTo>
                  <a:lnTo>
                    <a:pt x="6253" y="1710"/>
                  </a:lnTo>
                  <a:lnTo>
                    <a:pt x="6249" y="1735"/>
                  </a:lnTo>
                  <a:lnTo>
                    <a:pt x="6245" y="1760"/>
                  </a:lnTo>
                  <a:lnTo>
                    <a:pt x="6240" y="1785"/>
                  </a:lnTo>
                  <a:lnTo>
                    <a:pt x="6234" y="1809"/>
                  </a:lnTo>
                  <a:lnTo>
                    <a:pt x="6228" y="1833"/>
                  </a:lnTo>
                  <a:lnTo>
                    <a:pt x="6219" y="1857"/>
                  </a:lnTo>
                  <a:lnTo>
                    <a:pt x="6210" y="1881"/>
                  </a:lnTo>
                  <a:lnTo>
                    <a:pt x="6200" y="1905"/>
                  </a:lnTo>
                  <a:lnTo>
                    <a:pt x="6190" y="1927"/>
                  </a:lnTo>
                  <a:lnTo>
                    <a:pt x="6179" y="1950"/>
                  </a:lnTo>
                  <a:lnTo>
                    <a:pt x="6166" y="1971"/>
                  </a:lnTo>
                  <a:lnTo>
                    <a:pt x="6154" y="1994"/>
                  </a:lnTo>
                  <a:lnTo>
                    <a:pt x="6139" y="2015"/>
                  </a:lnTo>
                  <a:lnTo>
                    <a:pt x="6139" y="2015"/>
                  </a:lnTo>
                  <a:lnTo>
                    <a:pt x="6348" y="2009"/>
                  </a:lnTo>
                  <a:lnTo>
                    <a:pt x="6455" y="2006"/>
                  </a:lnTo>
                  <a:lnTo>
                    <a:pt x="6455" y="2006"/>
                  </a:lnTo>
                  <a:lnTo>
                    <a:pt x="6473" y="1983"/>
                  </a:lnTo>
                  <a:lnTo>
                    <a:pt x="6485" y="1964"/>
                  </a:lnTo>
                  <a:lnTo>
                    <a:pt x="6499" y="1939"/>
                  </a:lnTo>
                  <a:lnTo>
                    <a:pt x="6516" y="1908"/>
                  </a:lnTo>
                  <a:lnTo>
                    <a:pt x="6532" y="1873"/>
                  </a:lnTo>
                  <a:lnTo>
                    <a:pt x="6549" y="1833"/>
                  </a:lnTo>
                  <a:lnTo>
                    <a:pt x="6566" y="1788"/>
                  </a:lnTo>
                  <a:lnTo>
                    <a:pt x="6566" y="1788"/>
                  </a:lnTo>
                  <a:lnTo>
                    <a:pt x="6573" y="1761"/>
                  </a:lnTo>
                  <a:lnTo>
                    <a:pt x="6582" y="1733"/>
                  </a:lnTo>
                  <a:lnTo>
                    <a:pt x="6590" y="1701"/>
                  </a:lnTo>
                  <a:lnTo>
                    <a:pt x="6597" y="1668"/>
                  </a:lnTo>
                  <a:lnTo>
                    <a:pt x="6605" y="1632"/>
                  </a:lnTo>
                  <a:lnTo>
                    <a:pt x="6611" y="1596"/>
                  </a:lnTo>
                  <a:lnTo>
                    <a:pt x="6616" y="1555"/>
                  </a:lnTo>
                  <a:lnTo>
                    <a:pt x="6620" y="1514"/>
                  </a:lnTo>
                  <a:lnTo>
                    <a:pt x="6624" y="1470"/>
                  </a:lnTo>
                  <a:lnTo>
                    <a:pt x="6625" y="1423"/>
                  </a:lnTo>
                  <a:lnTo>
                    <a:pt x="6625" y="1376"/>
                  </a:lnTo>
                  <a:lnTo>
                    <a:pt x="6624" y="1325"/>
                  </a:lnTo>
                  <a:lnTo>
                    <a:pt x="6621" y="1274"/>
                  </a:lnTo>
                  <a:lnTo>
                    <a:pt x="6616" y="1219"/>
                  </a:lnTo>
                  <a:lnTo>
                    <a:pt x="6610" y="1163"/>
                  </a:lnTo>
                  <a:lnTo>
                    <a:pt x="6600" y="1104"/>
                  </a:lnTo>
                  <a:lnTo>
                    <a:pt x="6600" y="1104"/>
                  </a:lnTo>
                  <a:lnTo>
                    <a:pt x="6598" y="1099"/>
                  </a:lnTo>
                  <a:lnTo>
                    <a:pt x="6591" y="1087"/>
                  </a:lnTo>
                  <a:lnTo>
                    <a:pt x="6586" y="1078"/>
                  </a:lnTo>
                  <a:lnTo>
                    <a:pt x="6578" y="1068"/>
                  </a:lnTo>
                  <a:lnTo>
                    <a:pt x="6568" y="1057"/>
                  </a:lnTo>
                  <a:lnTo>
                    <a:pt x="6556" y="1044"/>
                  </a:lnTo>
                  <a:lnTo>
                    <a:pt x="6542" y="1031"/>
                  </a:lnTo>
                  <a:lnTo>
                    <a:pt x="6524" y="1016"/>
                  </a:lnTo>
                  <a:lnTo>
                    <a:pt x="6504" y="1001"/>
                  </a:lnTo>
                  <a:lnTo>
                    <a:pt x="6480" y="985"/>
                  </a:lnTo>
                  <a:lnTo>
                    <a:pt x="6453" y="969"/>
                  </a:lnTo>
                  <a:lnTo>
                    <a:pt x="6421" y="951"/>
                  </a:lnTo>
                  <a:lnTo>
                    <a:pt x="6387" y="933"/>
                  </a:lnTo>
                  <a:lnTo>
                    <a:pt x="6347" y="916"/>
                  </a:lnTo>
                  <a:lnTo>
                    <a:pt x="6347" y="916"/>
                  </a:lnTo>
                  <a:lnTo>
                    <a:pt x="6311" y="900"/>
                  </a:lnTo>
                  <a:lnTo>
                    <a:pt x="6273" y="886"/>
                  </a:lnTo>
                  <a:lnTo>
                    <a:pt x="6234" y="871"/>
                  </a:lnTo>
                  <a:lnTo>
                    <a:pt x="6194" y="857"/>
                  </a:lnTo>
                  <a:lnTo>
                    <a:pt x="6152" y="844"/>
                  </a:lnTo>
                  <a:lnTo>
                    <a:pt x="6110" y="832"/>
                  </a:lnTo>
                  <a:lnTo>
                    <a:pt x="6022" y="808"/>
                  </a:lnTo>
                  <a:lnTo>
                    <a:pt x="5930" y="785"/>
                  </a:lnTo>
                  <a:lnTo>
                    <a:pt x="5834" y="766"/>
                  </a:lnTo>
                  <a:lnTo>
                    <a:pt x="5738" y="748"/>
                  </a:lnTo>
                  <a:lnTo>
                    <a:pt x="5638" y="731"/>
                  </a:lnTo>
                  <a:lnTo>
                    <a:pt x="5539" y="716"/>
                  </a:lnTo>
                  <a:lnTo>
                    <a:pt x="5439" y="704"/>
                  </a:lnTo>
                  <a:lnTo>
                    <a:pt x="5338" y="691"/>
                  </a:lnTo>
                  <a:lnTo>
                    <a:pt x="5239" y="681"/>
                  </a:lnTo>
                  <a:lnTo>
                    <a:pt x="5141" y="672"/>
                  </a:lnTo>
                  <a:lnTo>
                    <a:pt x="5045" y="663"/>
                  </a:lnTo>
                  <a:lnTo>
                    <a:pt x="4952" y="657"/>
                  </a:lnTo>
                  <a:lnTo>
                    <a:pt x="4863" y="651"/>
                  </a:lnTo>
                  <a:lnTo>
                    <a:pt x="4863" y="651"/>
                  </a:lnTo>
                  <a:lnTo>
                    <a:pt x="4859" y="651"/>
                  </a:lnTo>
                  <a:lnTo>
                    <a:pt x="4856" y="648"/>
                  </a:lnTo>
                  <a:lnTo>
                    <a:pt x="4856" y="648"/>
                  </a:lnTo>
                  <a:lnTo>
                    <a:pt x="4822" y="622"/>
                  </a:lnTo>
                  <a:lnTo>
                    <a:pt x="4781" y="592"/>
                  </a:lnTo>
                  <a:lnTo>
                    <a:pt x="4725" y="553"/>
                  </a:lnTo>
                  <a:lnTo>
                    <a:pt x="4654" y="508"/>
                  </a:lnTo>
                  <a:lnTo>
                    <a:pt x="4614" y="482"/>
                  </a:lnTo>
                  <a:lnTo>
                    <a:pt x="4570" y="456"/>
                  </a:lnTo>
                  <a:lnTo>
                    <a:pt x="4523" y="430"/>
                  </a:lnTo>
                  <a:lnTo>
                    <a:pt x="4471" y="402"/>
                  </a:lnTo>
                  <a:lnTo>
                    <a:pt x="4417" y="373"/>
                  </a:lnTo>
                  <a:lnTo>
                    <a:pt x="4359" y="346"/>
                  </a:lnTo>
                  <a:lnTo>
                    <a:pt x="4359" y="346"/>
                  </a:lnTo>
                  <a:lnTo>
                    <a:pt x="4303" y="319"/>
                  </a:lnTo>
                  <a:lnTo>
                    <a:pt x="4242" y="291"/>
                  </a:lnTo>
                  <a:lnTo>
                    <a:pt x="4177" y="265"/>
                  </a:lnTo>
                  <a:lnTo>
                    <a:pt x="4109" y="239"/>
                  </a:lnTo>
                  <a:lnTo>
                    <a:pt x="4036" y="212"/>
                  </a:lnTo>
                  <a:lnTo>
                    <a:pt x="3960" y="186"/>
                  </a:lnTo>
                  <a:lnTo>
                    <a:pt x="3879" y="161"/>
                  </a:lnTo>
                  <a:lnTo>
                    <a:pt x="3796" y="137"/>
                  </a:lnTo>
                  <a:lnTo>
                    <a:pt x="3708" y="116"/>
                  </a:lnTo>
                  <a:lnTo>
                    <a:pt x="3618" y="95"/>
                  </a:lnTo>
                  <a:lnTo>
                    <a:pt x="3525" y="77"/>
                  </a:lnTo>
                  <a:lnTo>
                    <a:pt x="3427" y="60"/>
                  </a:lnTo>
                  <a:lnTo>
                    <a:pt x="3378" y="54"/>
                  </a:lnTo>
                  <a:lnTo>
                    <a:pt x="3328" y="48"/>
                  </a:lnTo>
                  <a:lnTo>
                    <a:pt x="3276" y="41"/>
                  </a:lnTo>
                  <a:lnTo>
                    <a:pt x="3224" y="36"/>
                  </a:lnTo>
                  <a:lnTo>
                    <a:pt x="3172" y="33"/>
                  </a:lnTo>
                  <a:lnTo>
                    <a:pt x="3118" y="30"/>
                  </a:lnTo>
                  <a:lnTo>
                    <a:pt x="3064" y="28"/>
                  </a:lnTo>
                  <a:lnTo>
                    <a:pt x="3008" y="25"/>
                  </a:lnTo>
                  <a:lnTo>
                    <a:pt x="3008" y="25"/>
                  </a:lnTo>
                  <a:lnTo>
                    <a:pt x="2934" y="25"/>
                  </a:lnTo>
                  <a:lnTo>
                    <a:pt x="2934" y="25"/>
                  </a:lnTo>
                  <a:lnTo>
                    <a:pt x="2880" y="25"/>
                  </a:lnTo>
                  <a:lnTo>
                    <a:pt x="2827" y="26"/>
                  </a:lnTo>
                  <a:lnTo>
                    <a:pt x="2719" y="31"/>
                  </a:lnTo>
                  <a:lnTo>
                    <a:pt x="2614" y="38"/>
                  </a:lnTo>
                  <a:lnTo>
                    <a:pt x="2508" y="48"/>
                  </a:lnTo>
                  <a:lnTo>
                    <a:pt x="2404" y="59"/>
                  </a:lnTo>
                  <a:lnTo>
                    <a:pt x="2302" y="73"/>
                  </a:lnTo>
                  <a:lnTo>
                    <a:pt x="2202" y="88"/>
                  </a:lnTo>
                  <a:lnTo>
                    <a:pt x="2104" y="106"/>
                  </a:lnTo>
                  <a:lnTo>
                    <a:pt x="2008" y="123"/>
                  </a:lnTo>
                  <a:lnTo>
                    <a:pt x="1915" y="143"/>
                  </a:lnTo>
                  <a:lnTo>
                    <a:pt x="1826" y="163"/>
                  </a:lnTo>
                  <a:lnTo>
                    <a:pt x="1738" y="185"/>
                  </a:lnTo>
                  <a:lnTo>
                    <a:pt x="1655" y="206"/>
                  </a:lnTo>
                  <a:lnTo>
                    <a:pt x="1576" y="227"/>
                  </a:lnTo>
                  <a:lnTo>
                    <a:pt x="1500" y="249"/>
                  </a:lnTo>
                  <a:lnTo>
                    <a:pt x="1429" y="270"/>
                  </a:lnTo>
                  <a:lnTo>
                    <a:pt x="1429" y="270"/>
                  </a:lnTo>
                  <a:lnTo>
                    <a:pt x="1355" y="293"/>
                  </a:lnTo>
                  <a:lnTo>
                    <a:pt x="1286" y="315"/>
                  </a:lnTo>
                  <a:lnTo>
                    <a:pt x="1156" y="359"/>
                  </a:lnTo>
                  <a:lnTo>
                    <a:pt x="1042" y="400"/>
                  </a:lnTo>
                  <a:lnTo>
                    <a:pt x="945" y="437"/>
                  </a:lnTo>
                  <a:lnTo>
                    <a:pt x="867" y="469"/>
                  </a:lnTo>
                  <a:lnTo>
                    <a:pt x="808" y="493"/>
                  </a:lnTo>
                  <a:lnTo>
                    <a:pt x="759" y="514"/>
                  </a:lnTo>
                  <a:lnTo>
                    <a:pt x="759" y="514"/>
                  </a:lnTo>
                  <a:lnTo>
                    <a:pt x="754" y="515"/>
                  </a:lnTo>
                  <a:lnTo>
                    <a:pt x="300" y="508"/>
                  </a:lnTo>
                  <a:lnTo>
                    <a:pt x="176" y="655"/>
                  </a:lnTo>
                  <a:lnTo>
                    <a:pt x="176" y="655"/>
                  </a:lnTo>
                  <a:lnTo>
                    <a:pt x="175" y="656"/>
                  </a:lnTo>
                  <a:lnTo>
                    <a:pt x="175" y="656"/>
                  </a:lnTo>
                  <a:lnTo>
                    <a:pt x="171" y="660"/>
                  </a:lnTo>
                  <a:lnTo>
                    <a:pt x="162" y="670"/>
                  </a:lnTo>
                  <a:lnTo>
                    <a:pt x="148" y="688"/>
                  </a:lnTo>
                  <a:lnTo>
                    <a:pt x="133" y="712"/>
                  </a:lnTo>
                  <a:lnTo>
                    <a:pt x="124" y="727"/>
                  </a:lnTo>
                  <a:lnTo>
                    <a:pt x="117" y="744"/>
                  </a:lnTo>
                  <a:lnTo>
                    <a:pt x="109" y="761"/>
                  </a:lnTo>
                  <a:lnTo>
                    <a:pt x="102" y="781"/>
                  </a:lnTo>
                  <a:lnTo>
                    <a:pt x="96" y="803"/>
                  </a:lnTo>
                  <a:lnTo>
                    <a:pt x="89" y="825"/>
                  </a:lnTo>
                  <a:lnTo>
                    <a:pt x="84" y="849"/>
                  </a:lnTo>
                  <a:lnTo>
                    <a:pt x="80" y="876"/>
                  </a:lnTo>
                  <a:lnTo>
                    <a:pt x="80" y="876"/>
                  </a:lnTo>
                  <a:lnTo>
                    <a:pt x="74" y="936"/>
                  </a:lnTo>
                  <a:lnTo>
                    <a:pt x="67" y="1001"/>
                  </a:lnTo>
                  <a:lnTo>
                    <a:pt x="48" y="1136"/>
                  </a:lnTo>
                  <a:lnTo>
                    <a:pt x="26" y="1287"/>
                  </a:lnTo>
                  <a:lnTo>
                    <a:pt x="26" y="1287"/>
                  </a:lnTo>
                  <a:lnTo>
                    <a:pt x="26" y="1288"/>
                  </a:lnTo>
                  <a:lnTo>
                    <a:pt x="26" y="1288"/>
                  </a:lnTo>
                  <a:lnTo>
                    <a:pt x="25" y="1292"/>
                  </a:lnTo>
                  <a:lnTo>
                    <a:pt x="25" y="1302"/>
                  </a:lnTo>
                  <a:lnTo>
                    <a:pt x="25" y="1317"/>
                  </a:lnTo>
                  <a:lnTo>
                    <a:pt x="26" y="1336"/>
                  </a:lnTo>
                  <a:lnTo>
                    <a:pt x="29" y="1344"/>
                  </a:lnTo>
                  <a:lnTo>
                    <a:pt x="33" y="1354"/>
                  </a:lnTo>
                  <a:lnTo>
                    <a:pt x="38" y="1364"/>
                  </a:lnTo>
                  <a:lnTo>
                    <a:pt x="43" y="1374"/>
                  </a:lnTo>
                  <a:lnTo>
                    <a:pt x="50" y="1385"/>
                  </a:lnTo>
                  <a:lnTo>
                    <a:pt x="59" y="1393"/>
                  </a:lnTo>
                  <a:lnTo>
                    <a:pt x="70" y="1402"/>
                  </a:lnTo>
                  <a:lnTo>
                    <a:pt x="83" y="1411"/>
                  </a:lnTo>
                  <a:lnTo>
                    <a:pt x="83" y="1411"/>
                  </a:lnTo>
                  <a:lnTo>
                    <a:pt x="87" y="1415"/>
                  </a:lnTo>
                  <a:lnTo>
                    <a:pt x="89" y="1420"/>
                  </a:lnTo>
                  <a:lnTo>
                    <a:pt x="89" y="1420"/>
                  </a:lnTo>
                  <a:lnTo>
                    <a:pt x="88" y="1426"/>
                  </a:lnTo>
                  <a:lnTo>
                    <a:pt x="85" y="1431"/>
                  </a:lnTo>
                  <a:lnTo>
                    <a:pt x="85" y="1431"/>
                  </a:lnTo>
                  <a:lnTo>
                    <a:pt x="64" y="1452"/>
                  </a:lnTo>
                  <a:lnTo>
                    <a:pt x="45" y="1474"/>
                  </a:lnTo>
                  <a:lnTo>
                    <a:pt x="38" y="1484"/>
                  </a:lnTo>
                  <a:lnTo>
                    <a:pt x="31" y="1494"/>
                  </a:lnTo>
                  <a:lnTo>
                    <a:pt x="28" y="1501"/>
                  </a:lnTo>
                  <a:lnTo>
                    <a:pt x="26" y="1508"/>
                  </a:lnTo>
                  <a:lnTo>
                    <a:pt x="26" y="1734"/>
                  </a:lnTo>
                  <a:lnTo>
                    <a:pt x="26" y="1734"/>
                  </a:lnTo>
                  <a:lnTo>
                    <a:pt x="46" y="1744"/>
                  </a:lnTo>
                  <a:lnTo>
                    <a:pt x="78" y="1759"/>
                  </a:lnTo>
                  <a:lnTo>
                    <a:pt x="122" y="1778"/>
                  </a:lnTo>
                  <a:lnTo>
                    <a:pt x="175" y="1798"/>
                  </a:lnTo>
                  <a:lnTo>
                    <a:pt x="205" y="1808"/>
                  </a:lnTo>
                  <a:lnTo>
                    <a:pt x="238" y="1818"/>
                  </a:lnTo>
                  <a:lnTo>
                    <a:pt x="273" y="1827"/>
                  </a:lnTo>
                  <a:lnTo>
                    <a:pt x="309" y="1837"/>
                  </a:lnTo>
                  <a:lnTo>
                    <a:pt x="347" y="1844"/>
                  </a:lnTo>
                  <a:lnTo>
                    <a:pt x="387" y="1852"/>
                  </a:lnTo>
                  <a:lnTo>
                    <a:pt x="429" y="1858"/>
                  </a:lnTo>
                  <a:lnTo>
                    <a:pt x="471" y="1863"/>
                  </a:lnTo>
                  <a:lnTo>
                    <a:pt x="471" y="1863"/>
                  </a:lnTo>
                  <a:lnTo>
                    <a:pt x="461" y="1836"/>
                  </a:lnTo>
                  <a:lnTo>
                    <a:pt x="454" y="1808"/>
                  </a:lnTo>
                  <a:lnTo>
                    <a:pt x="446" y="1779"/>
                  </a:lnTo>
                  <a:lnTo>
                    <a:pt x="441" y="1750"/>
                  </a:lnTo>
                  <a:lnTo>
                    <a:pt x="436" y="1721"/>
                  </a:lnTo>
                  <a:lnTo>
                    <a:pt x="434" y="1692"/>
                  </a:lnTo>
                  <a:lnTo>
                    <a:pt x="431" y="1663"/>
                  </a:lnTo>
                  <a:lnTo>
                    <a:pt x="431" y="1633"/>
                  </a:lnTo>
                  <a:lnTo>
                    <a:pt x="431" y="1633"/>
                  </a:lnTo>
                  <a:lnTo>
                    <a:pt x="431" y="1599"/>
                  </a:lnTo>
                  <a:lnTo>
                    <a:pt x="434" y="1565"/>
                  </a:lnTo>
                  <a:lnTo>
                    <a:pt x="439" y="1532"/>
                  </a:lnTo>
                  <a:lnTo>
                    <a:pt x="445" y="1499"/>
                  </a:lnTo>
                  <a:lnTo>
                    <a:pt x="452" y="1466"/>
                  </a:lnTo>
                  <a:lnTo>
                    <a:pt x="461" y="1434"/>
                  </a:lnTo>
                  <a:lnTo>
                    <a:pt x="471" y="1403"/>
                  </a:lnTo>
                  <a:lnTo>
                    <a:pt x="484" y="1372"/>
                  </a:lnTo>
                  <a:lnTo>
                    <a:pt x="498" y="1343"/>
                  </a:lnTo>
                  <a:lnTo>
                    <a:pt x="511" y="1314"/>
                  </a:lnTo>
                  <a:lnTo>
                    <a:pt x="528" y="1285"/>
                  </a:lnTo>
                  <a:lnTo>
                    <a:pt x="545" y="1258"/>
                  </a:lnTo>
                  <a:lnTo>
                    <a:pt x="564" y="1231"/>
                  </a:lnTo>
                  <a:lnTo>
                    <a:pt x="584" y="1206"/>
                  </a:lnTo>
                  <a:lnTo>
                    <a:pt x="606" y="1182"/>
                  </a:lnTo>
                  <a:lnTo>
                    <a:pt x="628" y="1158"/>
                  </a:lnTo>
                  <a:lnTo>
                    <a:pt x="651" y="1136"/>
                  </a:lnTo>
                  <a:lnTo>
                    <a:pt x="676" y="1116"/>
                  </a:lnTo>
                  <a:lnTo>
                    <a:pt x="701" y="1096"/>
                  </a:lnTo>
                  <a:lnTo>
                    <a:pt x="728" y="1077"/>
                  </a:lnTo>
                  <a:lnTo>
                    <a:pt x="755" y="1059"/>
                  </a:lnTo>
                  <a:lnTo>
                    <a:pt x="783" y="1043"/>
                  </a:lnTo>
                  <a:lnTo>
                    <a:pt x="812" y="1028"/>
                  </a:lnTo>
                  <a:lnTo>
                    <a:pt x="842" y="1014"/>
                  </a:lnTo>
                  <a:lnTo>
                    <a:pt x="872" y="1003"/>
                  </a:lnTo>
                  <a:lnTo>
                    <a:pt x="904" y="991"/>
                  </a:lnTo>
                  <a:lnTo>
                    <a:pt x="935" y="982"/>
                  </a:lnTo>
                  <a:lnTo>
                    <a:pt x="968" y="975"/>
                  </a:lnTo>
                  <a:lnTo>
                    <a:pt x="1000" y="969"/>
                  </a:lnTo>
                  <a:lnTo>
                    <a:pt x="1034" y="965"/>
                  </a:lnTo>
                  <a:lnTo>
                    <a:pt x="1068" y="962"/>
                  </a:lnTo>
                  <a:lnTo>
                    <a:pt x="1103" y="961"/>
                  </a:lnTo>
                  <a:lnTo>
                    <a:pt x="1103" y="961"/>
                  </a:lnTo>
                  <a:lnTo>
                    <a:pt x="1137" y="962"/>
                  </a:lnTo>
                  <a:lnTo>
                    <a:pt x="1171" y="965"/>
                  </a:lnTo>
                  <a:lnTo>
                    <a:pt x="1205" y="969"/>
                  </a:lnTo>
                  <a:lnTo>
                    <a:pt x="1239" y="975"/>
                  </a:lnTo>
                  <a:lnTo>
                    <a:pt x="1270" y="982"/>
                  </a:lnTo>
                  <a:lnTo>
                    <a:pt x="1303" y="991"/>
                  </a:lnTo>
                  <a:lnTo>
                    <a:pt x="1335" y="1003"/>
                  </a:lnTo>
                  <a:lnTo>
                    <a:pt x="1365" y="1014"/>
                  </a:lnTo>
                  <a:lnTo>
                    <a:pt x="1395" y="1028"/>
                  </a:lnTo>
                  <a:lnTo>
                    <a:pt x="1424" y="1043"/>
                  </a:lnTo>
                  <a:lnTo>
                    <a:pt x="1451" y="1059"/>
                  </a:lnTo>
                  <a:lnTo>
                    <a:pt x="1479" y="1077"/>
                  </a:lnTo>
                  <a:lnTo>
                    <a:pt x="1505" y="1096"/>
                  </a:lnTo>
                  <a:lnTo>
                    <a:pt x="1531" y="1116"/>
                  </a:lnTo>
                  <a:lnTo>
                    <a:pt x="1554" y="1136"/>
                  </a:lnTo>
                  <a:lnTo>
                    <a:pt x="1578" y="1158"/>
                  </a:lnTo>
                  <a:lnTo>
                    <a:pt x="1601" y="1182"/>
                  </a:lnTo>
                  <a:lnTo>
                    <a:pt x="1622" y="1206"/>
                  </a:lnTo>
                  <a:lnTo>
                    <a:pt x="1642" y="1231"/>
                  </a:lnTo>
                  <a:lnTo>
                    <a:pt x="1660" y="1258"/>
                  </a:lnTo>
                  <a:lnTo>
                    <a:pt x="1678" y="1285"/>
                  </a:lnTo>
                  <a:lnTo>
                    <a:pt x="1694" y="1314"/>
                  </a:lnTo>
                  <a:lnTo>
                    <a:pt x="1709" y="1343"/>
                  </a:lnTo>
                  <a:lnTo>
                    <a:pt x="1723" y="1372"/>
                  </a:lnTo>
                  <a:lnTo>
                    <a:pt x="1734" y="1403"/>
                  </a:lnTo>
                  <a:lnTo>
                    <a:pt x="1745" y="1434"/>
                  </a:lnTo>
                  <a:lnTo>
                    <a:pt x="1754" y="1466"/>
                  </a:lnTo>
                  <a:lnTo>
                    <a:pt x="1762" y="1499"/>
                  </a:lnTo>
                  <a:lnTo>
                    <a:pt x="1768" y="1532"/>
                  </a:lnTo>
                  <a:lnTo>
                    <a:pt x="1772" y="1565"/>
                  </a:lnTo>
                  <a:lnTo>
                    <a:pt x="1774" y="1599"/>
                  </a:lnTo>
                  <a:lnTo>
                    <a:pt x="1776" y="1633"/>
                  </a:lnTo>
                  <a:lnTo>
                    <a:pt x="1776" y="1633"/>
                  </a:lnTo>
                  <a:lnTo>
                    <a:pt x="1774" y="1667"/>
                  </a:lnTo>
                  <a:lnTo>
                    <a:pt x="1772" y="1701"/>
                  </a:lnTo>
                  <a:lnTo>
                    <a:pt x="1768" y="1734"/>
                  </a:lnTo>
                  <a:lnTo>
                    <a:pt x="1762" y="1768"/>
                  </a:lnTo>
                  <a:lnTo>
                    <a:pt x="1755" y="1799"/>
                  </a:lnTo>
                  <a:lnTo>
                    <a:pt x="1745" y="1832"/>
                  </a:lnTo>
                  <a:lnTo>
                    <a:pt x="1735" y="1863"/>
                  </a:lnTo>
                  <a:lnTo>
                    <a:pt x="1723" y="1895"/>
                  </a:lnTo>
                  <a:lnTo>
                    <a:pt x="1723" y="1895"/>
                  </a:lnTo>
                  <a:lnTo>
                    <a:pt x="1768" y="1887"/>
                  </a:lnTo>
                  <a:lnTo>
                    <a:pt x="1820" y="1877"/>
                  </a:lnTo>
                  <a:lnTo>
                    <a:pt x="1846" y="1869"/>
                  </a:lnTo>
                  <a:lnTo>
                    <a:pt x="1874" y="1862"/>
                  </a:lnTo>
                  <a:lnTo>
                    <a:pt x="1901" y="1854"/>
                  </a:lnTo>
                  <a:lnTo>
                    <a:pt x="1928" y="1844"/>
                  </a:lnTo>
                  <a:lnTo>
                    <a:pt x="1928" y="1844"/>
                  </a:lnTo>
                  <a:lnTo>
                    <a:pt x="1934" y="1842"/>
                  </a:lnTo>
                  <a:lnTo>
                    <a:pt x="1946" y="1839"/>
                  </a:lnTo>
                  <a:lnTo>
                    <a:pt x="1965" y="1837"/>
                  </a:lnTo>
                  <a:lnTo>
                    <a:pt x="1994" y="1836"/>
                  </a:lnTo>
                  <a:lnTo>
                    <a:pt x="2032" y="1833"/>
                  </a:lnTo>
                  <a:lnTo>
                    <a:pt x="2083" y="1832"/>
                  </a:lnTo>
                  <a:lnTo>
                    <a:pt x="2150" y="1832"/>
                  </a:lnTo>
                  <a:lnTo>
                    <a:pt x="2232" y="1831"/>
                  </a:lnTo>
                  <a:lnTo>
                    <a:pt x="2232" y="1831"/>
                  </a:lnTo>
                  <a:lnTo>
                    <a:pt x="2383" y="1832"/>
                  </a:lnTo>
                  <a:lnTo>
                    <a:pt x="2555" y="1834"/>
                  </a:lnTo>
                  <a:lnTo>
                    <a:pt x="2744" y="1837"/>
                  </a:lnTo>
                  <a:lnTo>
                    <a:pt x="2947" y="1842"/>
                  </a:lnTo>
                  <a:lnTo>
                    <a:pt x="3374" y="1853"/>
                  </a:lnTo>
                  <a:lnTo>
                    <a:pt x="3803" y="1866"/>
                  </a:lnTo>
                  <a:lnTo>
                    <a:pt x="4197" y="1878"/>
                  </a:lnTo>
                  <a:lnTo>
                    <a:pt x="4523" y="1890"/>
                  </a:lnTo>
                  <a:lnTo>
                    <a:pt x="4834" y="1902"/>
                  </a:lnTo>
                  <a:lnTo>
                    <a:pt x="4834" y="1902"/>
                  </a:lnTo>
                  <a:lnTo>
                    <a:pt x="4839" y="1903"/>
                  </a:lnTo>
                  <a:lnTo>
                    <a:pt x="4839" y="1903"/>
                  </a:lnTo>
                  <a:lnTo>
                    <a:pt x="4852" y="1910"/>
                  </a:lnTo>
                  <a:lnTo>
                    <a:pt x="4886" y="1927"/>
                  </a:lnTo>
                  <a:lnTo>
                    <a:pt x="4910" y="1937"/>
                  </a:lnTo>
                  <a:lnTo>
                    <a:pt x="4937" y="1950"/>
                  </a:lnTo>
                  <a:lnTo>
                    <a:pt x="4970" y="1962"/>
                  </a:lnTo>
                  <a:lnTo>
                    <a:pt x="5005" y="1975"/>
                  </a:lnTo>
                  <a:lnTo>
                    <a:pt x="5005" y="1975"/>
                  </a:lnTo>
                  <a:lnTo>
                    <a:pt x="4984" y="1936"/>
                  </a:lnTo>
                  <a:lnTo>
                    <a:pt x="4965" y="1896"/>
                  </a:lnTo>
                  <a:lnTo>
                    <a:pt x="4949" y="1854"/>
                  </a:lnTo>
                  <a:lnTo>
                    <a:pt x="4936" y="1812"/>
                  </a:lnTo>
                  <a:lnTo>
                    <a:pt x="4926" y="1768"/>
                  </a:lnTo>
                  <a:lnTo>
                    <a:pt x="4918" y="1724"/>
                  </a:lnTo>
                  <a:lnTo>
                    <a:pt x="4913" y="1679"/>
                  </a:lnTo>
                  <a:lnTo>
                    <a:pt x="4912" y="1633"/>
                  </a:lnTo>
                  <a:lnTo>
                    <a:pt x="4912" y="1633"/>
                  </a:lnTo>
                  <a:lnTo>
                    <a:pt x="4913" y="1599"/>
                  </a:lnTo>
                  <a:lnTo>
                    <a:pt x="4916" y="1565"/>
                  </a:lnTo>
                  <a:lnTo>
                    <a:pt x="4920" y="1532"/>
                  </a:lnTo>
                  <a:lnTo>
                    <a:pt x="4926" y="1499"/>
                  </a:lnTo>
                  <a:lnTo>
                    <a:pt x="4933" y="1466"/>
                  </a:lnTo>
                  <a:lnTo>
                    <a:pt x="4942" y="1434"/>
                  </a:lnTo>
                  <a:lnTo>
                    <a:pt x="4954" y="1403"/>
                  </a:lnTo>
                  <a:lnTo>
                    <a:pt x="4965" y="1372"/>
                  </a:lnTo>
                  <a:lnTo>
                    <a:pt x="4979" y="1343"/>
                  </a:lnTo>
                  <a:lnTo>
                    <a:pt x="4994" y="1314"/>
                  </a:lnTo>
                  <a:lnTo>
                    <a:pt x="5010" y="1285"/>
                  </a:lnTo>
                  <a:lnTo>
                    <a:pt x="5028" y="1258"/>
                  </a:lnTo>
                  <a:lnTo>
                    <a:pt x="5047" y="1231"/>
                  </a:lnTo>
                  <a:lnTo>
                    <a:pt x="5065" y="1206"/>
                  </a:lnTo>
                  <a:lnTo>
                    <a:pt x="5087" y="1182"/>
                  </a:lnTo>
                  <a:lnTo>
                    <a:pt x="5109" y="1158"/>
                  </a:lnTo>
                  <a:lnTo>
                    <a:pt x="5133" y="1136"/>
                  </a:lnTo>
                  <a:lnTo>
                    <a:pt x="5157" y="1116"/>
                  </a:lnTo>
                  <a:lnTo>
                    <a:pt x="5182" y="1096"/>
                  </a:lnTo>
                  <a:lnTo>
                    <a:pt x="5209" y="1077"/>
                  </a:lnTo>
                  <a:lnTo>
                    <a:pt x="5236" y="1059"/>
                  </a:lnTo>
                  <a:lnTo>
                    <a:pt x="5264" y="1043"/>
                  </a:lnTo>
                  <a:lnTo>
                    <a:pt x="5293" y="1028"/>
                  </a:lnTo>
                  <a:lnTo>
                    <a:pt x="5323" y="1014"/>
                  </a:lnTo>
                  <a:lnTo>
                    <a:pt x="5353" y="1003"/>
                  </a:lnTo>
                  <a:lnTo>
                    <a:pt x="5385" y="991"/>
                  </a:lnTo>
                  <a:lnTo>
                    <a:pt x="5417" y="982"/>
                  </a:lnTo>
                  <a:lnTo>
                    <a:pt x="5450" y="975"/>
                  </a:lnTo>
                  <a:lnTo>
                    <a:pt x="5483" y="969"/>
                  </a:lnTo>
                  <a:lnTo>
                    <a:pt x="5517" y="965"/>
                  </a:lnTo>
                  <a:lnTo>
                    <a:pt x="5550" y="962"/>
                  </a:lnTo>
                  <a:lnTo>
                    <a:pt x="5584" y="961"/>
                  </a:lnTo>
                  <a:lnTo>
                    <a:pt x="5584" y="961"/>
                  </a:lnTo>
                  <a:close/>
                </a:path>
              </a:pathLst>
            </a:custGeom>
            <a:solidFill>
              <a:schemeClr val="accent1"/>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30" name="Freeform 87"/>
            <p:cNvSpPr>
              <a:spLocks/>
            </p:cNvSpPr>
            <p:nvPr/>
          </p:nvSpPr>
          <p:spPr bwMode="auto">
            <a:xfrm>
              <a:off x="4757252" y="1996244"/>
              <a:ext cx="118314" cy="412061"/>
            </a:xfrm>
            <a:custGeom>
              <a:avLst/>
              <a:gdLst>
                <a:gd name="T0" fmla="*/ 5 w 115"/>
                <a:gd name="T1" fmla="*/ 404 h 404"/>
                <a:gd name="T2" fmla="*/ 5 w 115"/>
                <a:gd name="T3" fmla="*/ 404 h 404"/>
                <a:gd name="T4" fmla="*/ 3 w 115"/>
                <a:gd name="T5" fmla="*/ 404 h 404"/>
                <a:gd name="T6" fmla="*/ 3 w 115"/>
                <a:gd name="T7" fmla="*/ 404 h 404"/>
                <a:gd name="T8" fmla="*/ 1 w 115"/>
                <a:gd name="T9" fmla="*/ 402 h 404"/>
                <a:gd name="T10" fmla="*/ 0 w 115"/>
                <a:gd name="T11" fmla="*/ 400 h 404"/>
                <a:gd name="T12" fmla="*/ 0 w 115"/>
                <a:gd name="T13" fmla="*/ 399 h 404"/>
                <a:gd name="T14" fmla="*/ 0 w 115"/>
                <a:gd name="T15" fmla="*/ 396 h 404"/>
                <a:gd name="T16" fmla="*/ 103 w 115"/>
                <a:gd name="T17" fmla="*/ 5 h 404"/>
                <a:gd name="T18" fmla="*/ 103 w 115"/>
                <a:gd name="T19" fmla="*/ 5 h 404"/>
                <a:gd name="T20" fmla="*/ 104 w 115"/>
                <a:gd name="T21" fmla="*/ 3 h 404"/>
                <a:gd name="T22" fmla="*/ 105 w 115"/>
                <a:gd name="T23" fmla="*/ 2 h 404"/>
                <a:gd name="T24" fmla="*/ 108 w 115"/>
                <a:gd name="T25" fmla="*/ 0 h 404"/>
                <a:gd name="T26" fmla="*/ 110 w 115"/>
                <a:gd name="T27" fmla="*/ 0 h 404"/>
                <a:gd name="T28" fmla="*/ 110 w 115"/>
                <a:gd name="T29" fmla="*/ 0 h 404"/>
                <a:gd name="T30" fmla="*/ 113 w 115"/>
                <a:gd name="T31" fmla="*/ 2 h 404"/>
                <a:gd name="T32" fmla="*/ 114 w 115"/>
                <a:gd name="T33" fmla="*/ 4 h 404"/>
                <a:gd name="T34" fmla="*/ 115 w 115"/>
                <a:gd name="T35" fmla="*/ 7 h 404"/>
                <a:gd name="T36" fmla="*/ 114 w 115"/>
                <a:gd name="T37" fmla="*/ 9 h 404"/>
                <a:gd name="T38" fmla="*/ 11 w 115"/>
                <a:gd name="T39" fmla="*/ 399 h 404"/>
                <a:gd name="T40" fmla="*/ 11 w 115"/>
                <a:gd name="T41" fmla="*/ 399 h 404"/>
                <a:gd name="T42" fmla="*/ 10 w 115"/>
                <a:gd name="T43" fmla="*/ 402 h 404"/>
                <a:gd name="T44" fmla="*/ 5 w 115"/>
                <a:gd name="T45" fmla="*/ 404 h 404"/>
                <a:gd name="T46" fmla="*/ 5 w 115"/>
                <a:gd name="T47" fmla="*/ 404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5" h="404">
                  <a:moveTo>
                    <a:pt x="5" y="404"/>
                  </a:moveTo>
                  <a:lnTo>
                    <a:pt x="5" y="404"/>
                  </a:lnTo>
                  <a:lnTo>
                    <a:pt x="3" y="404"/>
                  </a:lnTo>
                  <a:lnTo>
                    <a:pt x="3" y="404"/>
                  </a:lnTo>
                  <a:lnTo>
                    <a:pt x="1" y="402"/>
                  </a:lnTo>
                  <a:lnTo>
                    <a:pt x="0" y="400"/>
                  </a:lnTo>
                  <a:lnTo>
                    <a:pt x="0" y="399"/>
                  </a:lnTo>
                  <a:lnTo>
                    <a:pt x="0" y="396"/>
                  </a:lnTo>
                  <a:lnTo>
                    <a:pt x="103" y="5"/>
                  </a:lnTo>
                  <a:lnTo>
                    <a:pt x="103" y="5"/>
                  </a:lnTo>
                  <a:lnTo>
                    <a:pt x="104" y="3"/>
                  </a:lnTo>
                  <a:lnTo>
                    <a:pt x="105" y="2"/>
                  </a:lnTo>
                  <a:lnTo>
                    <a:pt x="108" y="0"/>
                  </a:lnTo>
                  <a:lnTo>
                    <a:pt x="110" y="0"/>
                  </a:lnTo>
                  <a:lnTo>
                    <a:pt x="110" y="0"/>
                  </a:lnTo>
                  <a:lnTo>
                    <a:pt x="113" y="2"/>
                  </a:lnTo>
                  <a:lnTo>
                    <a:pt x="114" y="4"/>
                  </a:lnTo>
                  <a:lnTo>
                    <a:pt x="115" y="7"/>
                  </a:lnTo>
                  <a:lnTo>
                    <a:pt x="114" y="9"/>
                  </a:lnTo>
                  <a:lnTo>
                    <a:pt x="11" y="399"/>
                  </a:lnTo>
                  <a:lnTo>
                    <a:pt x="11" y="399"/>
                  </a:lnTo>
                  <a:lnTo>
                    <a:pt x="10" y="402"/>
                  </a:lnTo>
                  <a:lnTo>
                    <a:pt x="5" y="404"/>
                  </a:lnTo>
                  <a:lnTo>
                    <a:pt x="5" y="404"/>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31" name="Freeform 88"/>
            <p:cNvSpPr>
              <a:spLocks/>
            </p:cNvSpPr>
            <p:nvPr/>
          </p:nvSpPr>
          <p:spPr bwMode="auto">
            <a:xfrm>
              <a:off x="4863327" y="1988084"/>
              <a:ext cx="63237" cy="428380"/>
            </a:xfrm>
            <a:custGeom>
              <a:avLst/>
              <a:gdLst>
                <a:gd name="T0" fmla="*/ 6 w 63"/>
                <a:gd name="T1" fmla="*/ 420 h 420"/>
                <a:gd name="T2" fmla="*/ 6 w 63"/>
                <a:gd name="T3" fmla="*/ 420 h 420"/>
                <a:gd name="T4" fmla="*/ 5 w 63"/>
                <a:gd name="T5" fmla="*/ 420 h 420"/>
                <a:gd name="T6" fmla="*/ 5 w 63"/>
                <a:gd name="T7" fmla="*/ 420 h 420"/>
                <a:gd name="T8" fmla="*/ 2 w 63"/>
                <a:gd name="T9" fmla="*/ 420 h 420"/>
                <a:gd name="T10" fmla="*/ 1 w 63"/>
                <a:gd name="T11" fmla="*/ 418 h 420"/>
                <a:gd name="T12" fmla="*/ 0 w 63"/>
                <a:gd name="T13" fmla="*/ 417 h 420"/>
                <a:gd name="T14" fmla="*/ 0 w 63"/>
                <a:gd name="T15" fmla="*/ 414 h 420"/>
                <a:gd name="T16" fmla="*/ 50 w 63"/>
                <a:gd name="T17" fmla="*/ 5 h 420"/>
                <a:gd name="T18" fmla="*/ 50 w 63"/>
                <a:gd name="T19" fmla="*/ 5 h 420"/>
                <a:gd name="T20" fmla="*/ 51 w 63"/>
                <a:gd name="T21" fmla="*/ 3 h 420"/>
                <a:gd name="T22" fmla="*/ 52 w 63"/>
                <a:gd name="T23" fmla="*/ 1 h 420"/>
                <a:gd name="T24" fmla="*/ 55 w 63"/>
                <a:gd name="T25" fmla="*/ 0 h 420"/>
                <a:gd name="T26" fmla="*/ 58 w 63"/>
                <a:gd name="T27" fmla="*/ 0 h 420"/>
                <a:gd name="T28" fmla="*/ 58 w 63"/>
                <a:gd name="T29" fmla="*/ 0 h 420"/>
                <a:gd name="T30" fmla="*/ 60 w 63"/>
                <a:gd name="T31" fmla="*/ 1 h 420"/>
                <a:gd name="T32" fmla="*/ 61 w 63"/>
                <a:gd name="T33" fmla="*/ 2 h 420"/>
                <a:gd name="T34" fmla="*/ 63 w 63"/>
                <a:gd name="T35" fmla="*/ 5 h 420"/>
                <a:gd name="T36" fmla="*/ 63 w 63"/>
                <a:gd name="T37" fmla="*/ 7 h 420"/>
                <a:gd name="T38" fmla="*/ 12 w 63"/>
                <a:gd name="T39" fmla="*/ 415 h 420"/>
                <a:gd name="T40" fmla="*/ 12 w 63"/>
                <a:gd name="T41" fmla="*/ 415 h 420"/>
                <a:gd name="T42" fmla="*/ 11 w 63"/>
                <a:gd name="T43" fmla="*/ 418 h 420"/>
                <a:gd name="T44" fmla="*/ 10 w 63"/>
                <a:gd name="T45" fmla="*/ 419 h 420"/>
                <a:gd name="T46" fmla="*/ 7 w 63"/>
                <a:gd name="T47" fmla="*/ 420 h 420"/>
                <a:gd name="T48" fmla="*/ 6 w 63"/>
                <a:gd name="T49" fmla="*/ 420 h 420"/>
                <a:gd name="T50" fmla="*/ 6 w 63"/>
                <a:gd name="T51" fmla="*/ 42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420">
                  <a:moveTo>
                    <a:pt x="6" y="420"/>
                  </a:moveTo>
                  <a:lnTo>
                    <a:pt x="6" y="420"/>
                  </a:lnTo>
                  <a:lnTo>
                    <a:pt x="5" y="420"/>
                  </a:lnTo>
                  <a:lnTo>
                    <a:pt x="5" y="420"/>
                  </a:lnTo>
                  <a:lnTo>
                    <a:pt x="2" y="420"/>
                  </a:lnTo>
                  <a:lnTo>
                    <a:pt x="1" y="418"/>
                  </a:lnTo>
                  <a:lnTo>
                    <a:pt x="0" y="417"/>
                  </a:lnTo>
                  <a:lnTo>
                    <a:pt x="0" y="414"/>
                  </a:lnTo>
                  <a:lnTo>
                    <a:pt x="50" y="5"/>
                  </a:lnTo>
                  <a:lnTo>
                    <a:pt x="50" y="5"/>
                  </a:lnTo>
                  <a:lnTo>
                    <a:pt x="51" y="3"/>
                  </a:lnTo>
                  <a:lnTo>
                    <a:pt x="52" y="1"/>
                  </a:lnTo>
                  <a:lnTo>
                    <a:pt x="55" y="0"/>
                  </a:lnTo>
                  <a:lnTo>
                    <a:pt x="58" y="0"/>
                  </a:lnTo>
                  <a:lnTo>
                    <a:pt x="58" y="0"/>
                  </a:lnTo>
                  <a:lnTo>
                    <a:pt x="60" y="1"/>
                  </a:lnTo>
                  <a:lnTo>
                    <a:pt x="61" y="2"/>
                  </a:lnTo>
                  <a:lnTo>
                    <a:pt x="63" y="5"/>
                  </a:lnTo>
                  <a:lnTo>
                    <a:pt x="63" y="7"/>
                  </a:lnTo>
                  <a:lnTo>
                    <a:pt x="12" y="415"/>
                  </a:lnTo>
                  <a:lnTo>
                    <a:pt x="12" y="415"/>
                  </a:lnTo>
                  <a:lnTo>
                    <a:pt x="11" y="418"/>
                  </a:lnTo>
                  <a:lnTo>
                    <a:pt x="10" y="419"/>
                  </a:lnTo>
                  <a:lnTo>
                    <a:pt x="7" y="420"/>
                  </a:lnTo>
                  <a:lnTo>
                    <a:pt x="6" y="420"/>
                  </a:lnTo>
                  <a:lnTo>
                    <a:pt x="6" y="420"/>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32" name="Freeform 89"/>
            <p:cNvSpPr>
              <a:spLocks/>
            </p:cNvSpPr>
            <p:nvPr/>
          </p:nvSpPr>
          <p:spPr bwMode="auto">
            <a:xfrm>
              <a:off x="3474152" y="2520498"/>
              <a:ext cx="4210365" cy="1032191"/>
            </a:xfrm>
            <a:custGeom>
              <a:avLst/>
              <a:gdLst>
                <a:gd name="T0" fmla="*/ 3778 w 4128"/>
                <a:gd name="T1" fmla="*/ 1010 h 1012"/>
                <a:gd name="T2" fmla="*/ 3639 w 4128"/>
                <a:gd name="T3" fmla="*/ 1002 h 1012"/>
                <a:gd name="T4" fmla="*/ 2823 w 4128"/>
                <a:gd name="T5" fmla="*/ 955 h 1012"/>
                <a:gd name="T6" fmla="*/ 2151 w 4128"/>
                <a:gd name="T7" fmla="*/ 926 h 1012"/>
                <a:gd name="T8" fmla="*/ 1484 w 4128"/>
                <a:gd name="T9" fmla="*/ 909 h 1012"/>
                <a:gd name="T10" fmla="*/ 1102 w 4128"/>
                <a:gd name="T11" fmla="*/ 909 h 1012"/>
                <a:gd name="T12" fmla="*/ 942 w 4128"/>
                <a:gd name="T13" fmla="*/ 914 h 1012"/>
                <a:gd name="T14" fmla="*/ 936 w 4128"/>
                <a:gd name="T15" fmla="*/ 910 h 1012"/>
                <a:gd name="T16" fmla="*/ 936 w 4128"/>
                <a:gd name="T17" fmla="*/ 905 h 1012"/>
                <a:gd name="T18" fmla="*/ 941 w 4128"/>
                <a:gd name="T19" fmla="*/ 901 h 1012"/>
                <a:gd name="T20" fmla="*/ 1100 w 4128"/>
                <a:gd name="T21" fmla="*/ 896 h 1012"/>
                <a:gd name="T22" fmla="*/ 1484 w 4128"/>
                <a:gd name="T23" fmla="*/ 896 h 1012"/>
                <a:gd name="T24" fmla="*/ 2151 w 4128"/>
                <a:gd name="T25" fmla="*/ 914 h 1012"/>
                <a:gd name="T26" fmla="*/ 2823 w 4128"/>
                <a:gd name="T27" fmla="*/ 943 h 1012"/>
                <a:gd name="T28" fmla="*/ 3640 w 4128"/>
                <a:gd name="T29" fmla="*/ 989 h 1012"/>
                <a:gd name="T30" fmla="*/ 3783 w 4128"/>
                <a:gd name="T31" fmla="*/ 999 h 1012"/>
                <a:gd name="T32" fmla="*/ 3818 w 4128"/>
                <a:gd name="T33" fmla="*/ 997 h 1012"/>
                <a:gd name="T34" fmla="*/ 3817 w 4128"/>
                <a:gd name="T35" fmla="*/ 993 h 1012"/>
                <a:gd name="T36" fmla="*/ 3852 w 4128"/>
                <a:gd name="T37" fmla="*/ 827 h 1012"/>
                <a:gd name="T38" fmla="*/ 3903 w 4128"/>
                <a:gd name="T39" fmla="*/ 682 h 1012"/>
                <a:gd name="T40" fmla="*/ 3962 w 4128"/>
                <a:gd name="T41" fmla="*/ 559 h 1012"/>
                <a:gd name="T42" fmla="*/ 4019 w 4128"/>
                <a:gd name="T43" fmla="*/ 460 h 1012"/>
                <a:gd name="T44" fmla="*/ 4082 w 4128"/>
                <a:gd name="T45" fmla="*/ 366 h 1012"/>
                <a:gd name="T46" fmla="*/ 4111 w 4128"/>
                <a:gd name="T47" fmla="*/ 322 h 1012"/>
                <a:gd name="T48" fmla="*/ 4114 w 4128"/>
                <a:gd name="T49" fmla="*/ 307 h 1012"/>
                <a:gd name="T50" fmla="*/ 4112 w 4128"/>
                <a:gd name="T51" fmla="*/ 298 h 1012"/>
                <a:gd name="T52" fmla="*/ 4106 w 4128"/>
                <a:gd name="T53" fmla="*/ 294 h 1012"/>
                <a:gd name="T54" fmla="*/ 4105 w 4128"/>
                <a:gd name="T55" fmla="*/ 294 h 1012"/>
                <a:gd name="T56" fmla="*/ 3874 w 4128"/>
                <a:gd name="T57" fmla="*/ 263 h 1012"/>
                <a:gd name="T58" fmla="*/ 3519 w 4128"/>
                <a:gd name="T59" fmla="*/ 230 h 1012"/>
                <a:gd name="T60" fmla="*/ 2568 w 4128"/>
                <a:gd name="T61" fmla="*/ 160 h 1012"/>
                <a:gd name="T62" fmla="*/ 1168 w 4128"/>
                <a:gd name="T63" fmla="*/ 76 h 1012"/>
                <a:gd name="T64" fmla="*/ 6 w 4128"/>
                <a:gd name="T65" fmla="*/ 13 h 1012"/>
                <a:gd name="T66" fmla="*/ 0 w 4128"/>
                <a:gd name="T67" fmla="*/ 9 h 1012"/>
                <a:gd name="T68" fmla="*/ 0 w 4128"/>
                <a:gd name="T69" fmla="*/ 4 h 1012"/>
                <a:gd name="T70" fmla="*/ 6 w 4128"/>
                <a:gd name="T71" fmla="*/ 0 h 1012"/>
                <a:gd name="T72" fmla="*/ 1169 w 4128"/>
                <a:gd name="T73" fmla="*/ 63 h 1012"/>
                <a:gd name="T74" fmla="*/ 2568 w 4128"/>
                <a:gd name="T75" fmla="*/ 147 h 1012"/>
                <a:gd name="T76" fmla="*/ 3519 w 4128"/>
                <a:gd name="T77" fmla="*/ 218 h 1012"/>
                <a:gd name="T78" fmla="*/ 3875 w 4128"/>
                <a:gd name="T79" fmla="*/ 250 h 1012"/>
                <a:gd name="T80" fmla="*/ 4107 w 4128"/>
                <a:gd name="T81" fmla="*/ 282 h 1012"/>
                <a:gd name="T82" fmla="*/ 4114 w 4128"/>
                <a:gd name="T83" fmla="*/ 283 h 1012"/>
                <a:gd name="T84" fmla="*/ 4122 w 4128"/>
                <a:gd name="T85" fmla="*/ 290 h 1012"/>
                <a:gd name="T86" fmla="*/ 4126 w 4128"/>
                <a:gd name="T87" fmla="*/ 316 h 1012"/>
                <a:gd name="T88" fmla="*/ 4120 w 4128"/>
                <a:gd name="T89" fmla="*/ 333 h 1012"/>
                <a:gd name="T90" fmla="*/ 4094 w 4128"/>
                <a:gd name="T91" fmla="*/ 373 h 1012"/>
                <a:gd name="T92" fmla="*/ 4012 w 4128"/>
                <a:gd name="T93" fmla="*/ 497 h 1012"/>
                <a:gd name="T94" fmla="*/ 3953 w 4128"/>
                <a:gd name="T95" fmla="*/ 602 h 1012"/>
                <a:gd name="T96" fmla="*/ 3898 w 4128"/>
                <a:gd name="T97" fmla="*/ 730 h 1012"/>
                <a:gd name="T98" fmla="*/ 3851 w 4128"/>
                <a:gd name="T99" fmla="*/ 881 h 1012"/>
                <a:gd name="T100" fmla="*/ 3830 w 4128"/>
                <a:gd name="T101" fmla="*/ 992 h 1012"/>
                <a:gd name="T102" fmla="*/ 3831 w 4128"/>
                <a:gd name="T103" fmla="*/ 1002 h 1012"/>
                <a:gd name="T104" fmla="*/ 3812 w 4128"/>
                <a:gd name="T105" fmla="*/ 1010 h 1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128" h="1012">
                  <a:moveTo>
                    <a:pt x="3796" y="1012"/>
                  </a:moveTo>
                  <a:lnTo>
                    <a:pt x="3796" y="1012"/>
                  </a:lnTo>
                  <a:lnTo>
                    <a:pt x="3778" y="1010"/>
                  </a:lnTo>
                  <a:lnTo>
                    <a:pt x="3757" y="1009"/>
                  </a:lnTo>
                  <a:lnTo>
                    <a:pt x="3757" y="1009"/>
                  </a:lnTo>
                  <a:lnTo>
                    <a:pt x="3639" y="1002"/>
                  </a:lnTo>
                  <a:lnTo>
                    <a:pt x="3385" y="985"/>
                  </a:lnTo>
                  <a:lnTo>
                    <a:pt x="3028" y="965"/>
                  </a:lnTo>
                  <a:lnTo>
                    <a:pt x="2823" y="955"/>
                  </a:lnTo>
                  <a:lnTo>
                    <a:pt x="2606" y="945"/>
                  </a:lnTo>
                  <a:lnTo>
                    <a:pt x="2380" y="935"/>
                  </a:lnTo>
                  <a:lnTo>
                    <a:pt x="2151" y="926"/>
                  </a:lnTo>
                  <a:lnTo>
                    <a:pt x="1922" y="919"/>
                  </a:lnTo>
                  <a:lnTo>
                    <a:pt x="1698" y="912"/>
                  </a:lnTo>
                  <a:lnTo>
                    <a:pt x="1484" y="909"/>
                  </a:lnTo>
                  <a:lnTo>
                    <a:pt x="1284" y="907"/>
                  </a:lnTo>
                  <a:lnTo>
                    <a:pt x="1190" y="907"/>
                  </a:lnTo>
                  <a:lnTo>
                    <a:pt x="1102" y="909"/>
                  </a:lnTo>
                  <a:lnTo>
                    <a:pt x="1019" y="911"/>
                  </a:lnTo>
                  <a:lnTo>
                    <a:pt x="942" y="914"/>
                  </a:lnTo>
                  <a:lnTo>
                    <a:pt x="942" y="914"/>
                  </a:lnTo>
                  <a:lnTo>
                    <a:pt x="939" y="914"/>
                  </a:lnTo>
                  <a:lnTo>
                    <a:pt x="937" y="912"/>
                  </a:lnTo>
                  <a:lnTo>
                    <a:pt x="936" y="910"/>
                  </a:lnTo>
                  <a:lnTo>
                    <a:pt x="934" y="907"/>
                  </a:lnTo>
                  <a:lnTo>
                    <a:pt x="934" y="907"/>
                  </a:lnTo>
                  <a:lnTo>
                    <a:pt x="936" y="905"/>
                  </a:lnTo>
                  <a:lnTo>
                    <a:pt x="937" y="904"/>
                  </a:lnTo>
                  <a:lnTo>
                    <a:pt x="938" y="902"/>
                  </a:lnTo>
                  <a:lnTo>
                    <a:pt x="941" y="901"/>
                  </a:lnTo>
                  <a:lnTo>
                    <a:pt x="941" y="901"/>
                  </a:lnTo>
                  <a:lnTo>
                    <a:pt x="1017" y="899"/>
                  </a:lnTo>
                  <a:lnTo>
                    <a:pt x="1100" y="896"/>
                  </a:lnTo>
                  <a:lnTo>
                    <a:pt x="1190" y="895"/>
                  </a:lnTo>
                  <a:lnTo>
                    <a:pt x="1283" y="895"/>
                  </a:lnTo>
                  <a:lnTo>
                    <a:pt x="1484" y="896"/>
                  </a:lnTo>
                  <a:lnTo>
                    <a:pt x="1698" y="900"/>
                  </a:lnTo>
                  <a:lnTo>
                    <a:pt x="1922" y="906"/>
                  </a:lnTo>
                  <a:lnTo>
                    <a:pt x="2151" y="914"/>
                  </a:lnTo>
                  <a:lnTo>
                    <a:pt x="2380" y="922"/>
                  </a:lnTo>
                  <a:lnTo>
                    <a:pt x="2606" y="932"/>
                  </a:lnTo>
                  <a:lnTo>
                    <a:pt x="2823" y="943"/>
                  </a:lnTo>
                  <a:lnTo>
                    <a:pt x="3029" y="953"/>
                  </a:lnTo>
                  <a:lnTo>
                    <a:pt x="3385" y="973"/>
                  </a:lnTo>
                  <a:lnTo>
                    <a:pt x="3640" y="989"/>
                  </a:lnTo>
                  <a:lnTo>
                    <a:pt x="3757" y="997"/>
                  </a:lnTo>
                  <a:lnTo>
                    <a:pt x="3757" y="997"/>
                  </a:lnTo>
                  <a:lnTo>
                    <a:pt x="3783" y="999"/>
                  </a:lnTo>
                  <a:lnTo>
                    <a:pt x="3802" y="999"/>
                  </a:lnTo>
                  <a:lnTo>
                    <a:pt x="3812" y="998"/>
                  </a:lnTo>
                  <a:lnTo>
                    <a:pt x="3818" y="997"/>
                  </a:lnTo>
                  <a:lnTo>
                    <a:pt x="3818" y="997"/>
                  </a:lnTo>
                  <a:lnTo>
                    <a:pt x="3817" y="993"/>
                  </a:lnTo>
                  <a:lnTo>
                    <a:pt x="3817" y="993"/>
                  </a:lnTo>
                  <a:lnTo>
                    <a:pt x="3827" y="935"/>
                  </a:lnTo>
                  <a:lnTo>
                    <a:pt x="3838" y="880"/>
                  </a:lnTo>
                  <a:lnTo>
                    <a:pt x="3852" y="827"/>
                  </a:lnTo>
                  <a:lnTo>
                    <a:pt x="3867" y="777"/>
                  </a:lnTo>
                  <a:lnTo>
                    <a:pt x="3885" y="728"/>
                  </a:lnTo>
                  <a:lnTo>
                    <a:pt x="3903" y="682"/>
                  </a:lnTo>
                  <a:lnTo>
                    <a:pt x="3921" y="638"/>
                  </a:lnTo>
                  <a:lnTo>
                    <a:pt x="3942" y="598"/>
                  </a:lnTo>
                  <a:lnTo>
                    <a:pt x="3962" y="559"/>
                  </a:lnTo>
                  <a:lnTo>
                    <a:pt x="3982" y="523"/>
                  </a:lnTo>
                  <a:lnTo>
                    <a:pt x="4001" y="490"/>
                  </a:lnTo>
                  <a:lnTo>
                    <a:pt x="4019" y="460"/>
                  </a:lnTo>
                  <a:lnTo>
                    <a:pt x="4055" y="407"/>
                  </a:lnTo>
                  <a:lnTo>
                    <a:pt x="4082" y="366"/>
                  </a:lnTo>
                  <a:lnTo>
                    <a:pt x="4082" y="366"/>
                  </a:lnTo>
                  <a:lnTo>
                    <a:pt x="4102" y="338"/>
                  </a:lnTo>
                  <a:lnTo>
                    <a:pt x="4107" y="328"/>
                  </a:lnTo>
                  <a:lnTo>
                    <a:pt x="4111" y="322"/>
                  </a:lnTo>
                  <a:lnTo>
                    <a:pt x="4111" y="322"/>
                  </a:lnTo>
                  <a:lnTo>
                    <a:pt x="4114" y="314"/>
                  </a:lnTo>
                  <a:lnTo>
                    <a:pt x="4114" y="307"/>
                  </a:lnTo>
                  <a:lnTo>
                    <a:pt x="4114" y="302"/>
                  </a:lnTo>
                  <a:lnTo>
                    <a:pt x="4112" y="298"/>
                  </a:lnTo>
                  <a:lnTo>
                    <a:pt x="4112" y="298"/>
                  </a:lnTo>
                  <a:lnTo>
                    <a:pt x="4110" y="295"/>
                  </a:lnTo>
                  <a:lnTo>
                    <a:pt x="4109" y="294"/>
                  </a:lnTo>
                  <a:lnTo>
                    <a:pt x="4106" y="294"/>
                  </a:lnTo>
                  <a:lnTo>
                    <a:pt x="4106" y="294"/>
                  </a:lnTo>
                  <a:lnTo>
                    <a:pt x="4105" y="294"/>
                  </a:lnTo>
                  <a:lnTo>
                    <a:pt x="4105" y="294"/>
                  </a:lnTo>
                  <a:lnTo>
                    <a:pt x="4043" y="284"/>
                  </a:lnTo>
                  <a:lnTo>
                    <a:pt x="3965" y="274"/>
                  </a:lnTo>
                  <a:lnTo>
                    <a:pt x="3874" y="263"/>
                  </a:lnTo>
                  <a:lnTo>
                    <a:pt x="3767" y="253"/>
                  </a:lnTo>
                  <a:lnTo>
                    <a:pt x="3649" y="241"/>
                  </a:lnTo>
                  <a:lnTo>
                    <a:pt x="3519" y="230"/>
                  </a:lnTo>
                  <a:lnTo>
                    <a:pt x="3230" y="206"/>
                  </a:lnTo>
                  <a:lnTo>
                    <a:pt x="2910" y="184"/>
                  </a:lnTo>
                  <a:lnTo>
                    <a:pt x="2568" y="160"/>
                  </a:lnTo>
                  <a:lnTo>
                    <a:pt x="2214" y="137"/>
                  </a:lnTo>
                  <a:lnTo>
                    <a:pt x="1856" y="115"/>
                  </a:lnTo>
                  <a:lnTo>
                    <a:pt x="1168" y="76"/>
                  </a:lnTo>
                  <a:lnTo>
                    <a:pt x="581" y="43"/>
                  </a:lnTo>
                  <a:lnTo>
                    <a:pt x="6" y="13"/>
                  </a:lnTo>
                  <a:lnTo>
                    <a:pt x="6" y="13"/>
                  </a:lnTo>
                  <a:lnTo>
                    <a:pt x="3" y="12"/>
                  </a:lnTo>
                  <a:lnTo>
                    <a:pt x="1" y="10"/>
                  </a:lnTo>
                  <a:lnTo>
                    <a:pt x="0" y="9"/>
                  </a:lnTo>
                  <a:lnTo>
                    <a:pt x="0" y="7"/>
                  </a:lnTo>
                  <a:lnTo>
                    <a:pt x="0" y="7"/>
                  </a:lnTo>
                  <a:lnTo>
                    <a:pt x="0" y="4"/>
                  </a:lnTo>
                  <a:lnTo>
                    <a:pt x="2" y="1"/>
                  </a:lnTo>
                  <a:lnTo>
                    <a:pt x="3" y="0"/>
                  </a:lnTo>
                  <a:lnTo>
                    <a:pt x="6" y="0"/>
                  </a:lnTo>
                  <a:lnTo>
                    <a:pt x="6" y="0"/>
                  </a:lnTo>
                  <a:lnTo>
                    <a:pt x="581" y="30"/>
                  </a:lnTo>
                  <a:lnTo>
                    <a:pt x="1169" y="63"/>
                  </a:lnTo>
                  <a:lnTo>
                    <a:pt x="1856" y="102"/>
                  </a:lnTo>
                  <a:lnTo>
                    <a:pt x="2214" y="125"/>
                  </a:lnTo>
                  <a:lnTo>
                    <a:pt x="2568" y="147"/>
                  </a:lnTo>
                  <a:lnTo>
                    <a:pt x="2910" y="171"/>
                  </a:lnTo>
                  <a:lnTo>
                    <a:pt x="3230" y="194"/>
                  </a:lnTo>
                  <a:lnTo>
                    <a:pt x="3519" y="218"/>
                  </a:lnTo>
                  <a:lnTo>
                    <a:pt x="3650" y="229"/>
                  </a:lnTo>
                  <a:lnTo>
                    <a:pt x="3768" y="240"/>
                  </a:lnTo>
                  <a:lnTo>
                    <a:pt x="3875" y="250"/>
                  </a:lnTo>
                  <a:lnTo>
                    <a:pt x="3967" y="262"/>
                  </a:lnTo>
                  <a:lnTo>
                    <a:pt x="4045" y="272"/>
                  </a:lnTo>
                  <a:lnTo>
                    <a:pt x="4107" y="282"/>
                  </a:lnTo>
                  <a:lnTo>
                    <a:pt x="4107" y="282"/>
                  </a:lnTo>
                  <a:lnTo>
                    <a:pt x="4110" y="282"/>
                  </a:lnTo>
                  <a:lnTo>
                    <a:pt x="4114" y="283"/>
                  </a:lnTo>
                  <a:lnTo>
                    <a:pt x="4119" y="285"/>
                  </a:lnTo>
                  <a:lnTo>
                    <a:pt x="4122" y="290"/>
                  </a:lnTo>
                  <a:lnTo>
                    <a:pt x="4122" y="290"/>
                  </a:lnTo>
                  <a:lnTo>
                    <a:pt x="4126" y="297"/>
                  </a:lnTo>
                  <a:lnTo>
                    <a:pt x="4128" y="306"/>
                  </a:lnTo>
                  <a:lnTo>
                    <a:pt x="4126" y="316"/>
                  </a:lnTo>
                  <a:lnTo>
                    <a:pt x="4122" y="327"/>
                  </a:lnTo>
                  <a:lnTo>
                    <a:pt x="4122" y="327"/>
                  </a:lnTo>
                  <a:lnTo>
                    <a:pt x="4120" y="333"/>
                  </a:lnTo>
                  <a:lnTo>
                    <a:pt x="4114" y="343"/>
                  </a:lnTo>
                  <a:lnTo>
                    <a:pt x="4094" y="373"/>
                  </a:lnTo>
                  <a:lnTo>
                    <a:pt x="4094" y="373"/>
                  </a:lnTo>
                  <a:lnTo>
                    <a:pt x="4065" y="414"/>
                  </a:lnTo>
                  <a:lnTo>
                    <a:pt x="4031" y="466"/>
                  </a:lnTo>
                  <a:lnTo>
                    <a:pt x="4012" y="497"/>
                  </a:lnTo>
                  <a:lnTo>
                    <a:pt x="3993" y="529"/>
                  </a:lnTo>
                  <a:lnTo>
                    <a:pt x="3973" y="564"/>
                  </a:lnTo>
                  <a:lnTo>
                    <a:pt x="3953" y="602"/>
                  </a:lnTo>
                  <a:lnTo>
                    <a:pt x="3934" y="642"/>
                  </a:lnTo>
                  <a:lnTo>
                    <a:pt x="3915" y="685"/>
                  </a:lnTo>
                  <a:lnTo>
                    <a:pt x="3898" y="730"/>
                  </a:lnTo>
                  <a:lnTo>
                    <a:pt x="3880" y="778"/>
                  </a:lnTo>
                  <a:lnTo>
                    <a:pt x="3865" y="828"/>
                  </a:lnTo>
                  <a:lnTo>
                    <a:pt x="3851" y="881"/>
                  </a:lnTo>
                  <a:lnTo>
                    <a:pt x="3840" y="935"/>
                  </a:lnTo>
                  <a:lnTo>
                    <a:pt x="3830" y="992"/>
                  </a:lnTo>
                  <a:lnTo>
                    <a:pt x="3830" y="992"/>
                  </a:lnTo>
                  <a:lnTo>
                    <a:pt x="3832" y="997"/>
                  </a:lnTo>
                  <a:lnTo>
                    <a:pt x="3831" y="1002"/>
                  </a:lnTo>
                  <a:lnTo>
                    <a:pt x="3831" y="1002"/>
                  </a:lnTo>
                  <a:lnTo>
                    <a:pt x="3828" y="1005"/>
                  </a:lnTo>
                  <a:lnTo>
                    <a:pt x="3822" y="1008"/>
                  </a:lnTo>
                  <a:lnTo>
                    <a:pt x="3812" y="1010"/>
                  </a:lnTo>
                  <a:lnTo>
                    <a:pt x="3796" y="1012"/>
                  </a:lnTo>
                  <a:lnTo>
                    <a:pt x="3796" y="1012"/>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33" name="Freeform 90"/>
            <p:cNvSpPr>
              <a:spLocks/>
            </p:cNvSpPr>
            <p:nvPr/>
          </p:nvSpPr>
          <p:spPr bwMode="auto">
            <a:xfrm>
              <a:off x="4612419" y="3438457"/>
              <a:ext cx="28558" cy="316187"/>
            </a:xfrm>
            <a:custGeom>
              <a:avLst/>
              <a:gdLst>
                <a:gd name="T0" fmla="*/ 6 w 27"/>
                <a:gd name="T1" fmla="*/ 310 h 310"/>
                <a:gd name="T2" fmla="*/ 6 w 27"/>
                <a:gd name="T3" fmla="*/ 310 h 310"/>
                <a:gd name="T4" fmla="*/ 5 w 27"/>
                <a:gd name="T5" fmla="*/ 310 h 310"/>
                <a:gd name="T6" fmla="*/ 5 w 27"/>
                <a:gd name="T7" fmla="*/ 310 h 310"/>
                <a:gd name="T8" fmla="*/ 2 w 27"/>
                <a:gd name="T9" fmla="*/ 309 h 310"/>
                <a:gd name="T10" fmla="*/ 1 w 27"/>
                <a:gd name="T11" fmla="*/ 306 h 310"/>
                <a:gd name="T12" fmla="*/ 0 w 27"/>
                <a:gd name="T13" fmla="*/ 304 h 310"/>
                <a:gd name="T14" fmla="*/ 1 w 27"/>
                <a:gd name="T15" fmla="*/ 301 h 310"/>
                <a:gd name="T16" fmla="*/ 1 w 27"/>
                <a:gd name="T17" fmla="*/ 301 h 310"/>
                <a:gd name="T18" fmla="*/ 6 w 27"/>
                <a:gd name="T19" fmla="*/ 282 h 310"/>
                <a:gd name="T20" fmla="*/ 10 w 27"/>
                <a:gd name="T21" fmla="*/ 261 h 310"/>
                <a:gd name="T22" fmla="*/ 12 w 27"/>
                <a:gd name="T23" fmla="*/ 239 h 310"/>
                <a:gd name="T24" fmla="*/ 15 w 27"/>
                <a:gd name="T25" fmla="*/ 215 h 310"/>
                <a:gd name="T26" fmla="*/ 15 w 27"/>
                <a:gd name="T27" fmla="*/ 191 h 310"/>
                <a:gd name="T28" fmla="*/ 15 w 27"/>
                <a:gd name="T29" fmla="*/ 166 h 310"/>
                <a:gd name="T30" fmla="*/ 12 w 27"/>
                <a:gd name="T31" fmla="*/ 118 h 310"/>
                <a:gd name="T32" fmla="*/ 8 w 27"/>
                <a:gd name="T33" fmla="*/ 75 h 310"/>
                <a:gd name="T34" fmla="*/ 5 w 27"/>
                <a:gd name="T35" fmla="*/ 40 h 310"/>
                <a:gd name="T36" fmla="*/ 0 w 27"/>
                <a:gd name="T37" fmla="*/ 7 h 310"/>
                <a:gd name="T38" fmla="*/ 0 w 27"/>
                <a:gd name="T39" fmla="*/ 7 h 310"/>
                <a:gd name="T40" fmla="*/ 0 w 27"/>
                <a:gd name="T41" fmla="*/ 5 h 310"/>
                <a:gd name="T42" fmla="*/ 1 w 27"/>
                <a:gd name="T43" fmla="*/ 2 h 310"/>
                <a:gd name="T44" fmla="*/ 3 w 27"/>
                <a:gd name="T45" fmla="*/ 0 h 310"/>
                <a:gd name="T46" fmla="*/ 5 w 27"/>
                <a:gd name="T47" fmla="*/ 0 h 310"/>
                <a:gd name="T48" fmla="*/ 5 w 27"/>
                <a:gd name="T49" fmla="*/ 0 h 310"/>
                <a:gd name="T50" fmla="*/ 7 w 27"/>
                <a:gd name="T51" fmla="*/ 0 h 310"/>
                <a:gd name="T52" fmla="*/ 10 w 27"/>
                <a:gd name="T53" fmla="*/ 1 h 310"/>
                <a:gd name="T54" fmla="*/ 12 w 27"/>
                <a:gd name="T55" fmla="*/ 2 h 310"/>
                <a:gd name="T56" fmla="*/ 12 w 27"/>
                <a:gd name="T57" fmla="*/ 5 h 310"/>
                <a:gd name="T58" fmla="*/ 12 w 27"/>
                <a:gd name="T59" fmla="*/ 5 h 310"/>
                <a:gd name="T60" fmla="*/ 17 w 27"/>
                <a:gd name="T61" fmla="*/ 41 h 310"/>
                <a:gd name="T62" fmla="*/ 22 w 27"/>
                <a:gd name="T63" fmla="*/ 76 h 310"/>
                <a:gd name="T64" fmla="*/ 26 w 27"/>
                <a:gd name="T65" fmla="*/ 120 h 310"/>
                <a:gd name="T66" fmla="*/ 27 w 27"/>
                <a:gd name="T67" fmla="*/ 168 h 310"/>
                <a:gd name="T68" fmla="*/ 27 w 27"/>
                <a:gd name="T69" fmla="*/ 193 h 310"/>
                <a:gd name="T70" fmla="*/ 27 w 27"/>
                <a:gd name="T71" fmla="*/ 217 h 310"/>
                <a:gd name="T72" fmla="*/ 25 w 27"/>
                <a:gd name="T73" fmla="*/ 241 h 310"/>
                <a:gd name="T74" fmla="*/ 22 w 27"/>
                <a:gd name="T75" fmla="*/ 265 h 310"/>
                <a:gd name="T76" fmla="*/ 19 w 27"/>
                <a:gd name="T77" fmla="*/ 286 h 310"/>
                <a:gd name="T78" fmla="*/ 12 w 27"/>
                <a:gd name="T79" fmla="*/ 306 h 310"/>
                <a:gd name="T80" fmla="*/ 12 w 27"/>
                <a:gd name="T81" fmla="*/ 306 h 310"/>
                <a:gd name="T82" fmla="*/ 10 w 27"/>
                <a:gd name="T83" fmla="*/ 309 h 310"/>
                <a:gd name="T84" fmla="*/ 6 w 27"/>
                <a:gd name="T85" fmla="*/ 310 h 310"/>
                <a:gd name="T86" fmla="*/ 6 w 27"/>
                <a:gd name="T87"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 h="310">
                  <a:moveTo>
                    <a:pt x="6" y="310"/>
                  </a:moveTo>
                  <a:lnTo>
                    <a:pt x="6" y="310"/>
                  </a:lnTo>
                  <a:lnTo>
                    <a:pt x="5" y="310"/>
                  </a:lnTo>
                  <a:lnTo>
                    <a:pt x="5" y="310"/>
                  </a:lnTo>
                  <a:lnTo>
                    <a:pt x="2" y="309"/>
                  </a:lnTo>
                  <a:lnTo>
                    <a:pt x="1" y="306"/>
                  </a:lnTo>
                  <a:lnTo>
                    <a:pt x="0" y="304"/>
                  </a:lnTo>
                  <a:lnTo>
                    <a:pt x="1" y="301"/>
                  </a:lnTo>
                  <a:lnTo>
                    <a:pt x="1" y="301"/>
                  </a:lnTo>
                  <a:lnTo>
                    <a:pt x="6" y="282"/>
                  </a:lnTo>
                  <a:lnTo>
                    <a:pt x="10" y="261"/>
                  </a:lnTo>
                  <a:lnTo>
                    <a:pt x="12" y="239"/>
                  </a:lnTo>
                  <a:lnTo>
                    <a:pt x="15" y="215"/>
                  </a:lnTo>
                  <a:lnTo>
                    <a:pt x="15" y="191"/>
                  </a:lnTo>
                  <a:lnTo>
                    <a:pt x="15" y="166"/>
                  </a:lnTo>
                  <a:lnTo>
                    <a:pt x="12" y="118"/>
                  </a:lnTo>
                  <a:lnTo>
                    <a:pt x="8" y="75"/>
                  </a:lnTo>
                  <a:lnTo>
                    <a:pt x="5" y="40"/>
                  </a:lnTo>
                  <a:lnTo>
                    <a:pt x="0" y="7"/>
                  </a:lnTo>
                  <a:lnTo>
                    <a:pt x="0" y="7"/>
                  </a:lnTo>
                  <a:lnTo>
                    <a:pt x="0" y="5"/>
                  </a:lnTo>
                  <a:lnTo>
                    <a:pt x="1" y="2"/>
                  </a:lnTo>
                  <a:lnTo>
                    <a:pt x="3" y="0"/>
                  </a:lnTo>
                  <a:lnTo>
                    <a:pt x="5" y="0"/>
                  </a:lnTo>
                  <a:lnTo>
                    <a:pt x="5" y="0"/>
                  </a:lnTo>
                  <a:lnTo>
                    <a:pt x="7" y="0"/>
                  </a:lnTo>
                  <a:lnTo>
                    <a:pt x="10" y="1"/>
                  </a:lnTo>
                  <a:lnTo>
                    <a:pt x="12" y="2"/>
                  </a:lnTo>
                  <a:lnTo>
                    <a:pt x="12" y="5"/>
                  </a:lnTo>
                  <a:lnTo>
                    <a:pt x="12" y="5"/>
                  </a:lnTo>
                  <a:lnTo>
                    <a:pt x="17" y="41"/>
                  </a:lnTo>
                  <a:lnTo>
                    <a:pt x="22" y="76"/>
                  </a:lnTo>
                  <a:lnTo>
                    <a:pt x="26" y="120"/>
                  </a:lnTo>
                  <a:lnTo>
                    <a:pt x="27" y="168"/>
                  </a:lnTo>
                  <a:lnTo>
                    <a:pt x="27" y="193"/>
                  </a:lnTo>
                  <a:lnTo>
                    <a:pt x="27" y="217"/>
                  </a:lnTo>
                  <a:lnTo>
                    <a:pt x="25" y="241"/>
                  </a:lnTo>
                  <a:lnTo>
                    <a:pt x="22" y="265"/>
                  </a:lnTo>
                  <a:lnTo>
                    <a:pt x="19" y="286"/>
                  </a:lnTo>
                  <a:lnTo>
                    <a:pt x="12" y="306"/>
                  </a:lnTo>
                  <a:lnTo>
                    <a:pt x="12" y="306"/>
                  </a:lnTo>
                  <a:lnTo>
                    <a:pt x="10" y="309"/>
                  </a:lnTo>
                  <a:lnTo>
                    <a:pt x="6" y="310"/>
                  </a:lnTo>
                  <a:lnTo>
                    <a:pt x="6" y="310"/>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34" name="Freeform 91"/>
            <p:cNvSpPr>
              <a:spLocks/>
            </p:cNvSpPr>
            <p:nvPr/>
          </p:nvSpPr>
          <p:spPr bwMode="auto">
            <a:xfrm>
              <a:off x="8816663" y="2857084"/>
              <a:ext cx="601772" cy="397783"/>
            </a:xfrm>
            <a:custGeom>
              <a:avLst/>
              <a:gdLst>
                <a:gd name="T0" fmla="*/ 583 w 590"/>
                <a:gd name="T1" fmla="*/ 389 h 389"/>
                <a:gd name="T2" fmla="*/ 583 w 590"/>
                <a:gd name="T3" fmla="*/ 389 h 389"/>
                <a:gd name="T4" fmla="*/ 514 w 590"/>
                <a:gd name="T5" fmla="*/ 377 h 389"/>
                <a:gd name="T6" fmla="*/ 448 w 590"/>
                <a:gd name="T7" fmla="*/ 354 h 389"/>
                <a:gd name="T8" fmla="*/ 382 w 590"/>
                <a:gd name="T9" fmla="*/ 325 h 389"/>
                <a:gd name="T10" fmla="*/ 320 w 590"/>
                <a:gd name="T11" fmla="*/ 290 h 389"/>
                <a:gd name="T12" fmla="*/ 260 w 590"/>
                <a:gd name="T13" fmla="*/ 252 h 389"/>
                <a:gd name="T14" fmla="*/ 159 w 590"/>
                <a:gd name="T15" fmla="*/ 179 h 389"/>
                <a:gd name="T16" fmla="*/ 118 w 590"/>
                <a:gd name="T17" fmla="*/ 147 h 389"/>
                <a:gd name="T18" fmla="*/ 59 w 590"/>
                <a:gd name="T19" fmla="*/ 103 h 389"/>
                <a:gd name="T20" fmla="*/ 47 w 590"/>
                <a:gd name="T21" fmla="*/ 94 h 389"/>
                <a:gd name="T22" fmla="*/ 28 w 590"/>
                <a:gd name="T23" fmla="*/ 76 h 389"/>
                <a:gd name="T24" fmla="*/ 14 w 590"/>
                <a:gd name="T25" fmla="*/ 60 h 389"/>
                <a:gd name="T26" fmla="*/ 7 w 590"/>
                <a:gd name="T27" fmla="*/ 44 h 389"/>
                <a:gd name="T28" fmla="*/ 0 w 590"/>
                <a:gd name="T29" fmla="*/ 25 h 389"/>
                <a:gd name="T30" fmla="*/ 0 w 590"/>
                <a:gd name="T31" fmla="*/ 7 h 389"/>
                <a:gd name="T32" fmla="*/ 2 w 590"/>
                <a:gd name="T33" fmla="*/ 5 h 389"/>
                <a:gd name="T34" fmla="*/ 7 w 590"/>
                <a:gd name="T35" fmla="*/ 0 h 389"/>
                <a:gd name="T36" fmla="*/ 33 w 590"/>
                <a:gd name="T37" fmla="*/ 0 h 389"/>
                <a:gd name="T38" fmla="*/ 86 w 590"/>
                <a:gd name="T39" fmla="*/ 2 h 389"/>
                <a:gd name="T40" fmla="*/ 139 w 590"/>
                <a:gd name="T41" fmla="*/ 10 h 389"/>
                <a:gd name="T42" fmla="*/ 214 w 590"/>
                <a:gd name="T43" fmla="*/ 25 h 389"/>
                <a:gd name="T44" fmla="*/ 309 w 590"/>
                <a:gd name="T45" fmla="*/ 54 h 389"/>
                <a:gd name="T46" fmla="*/ 394 w 590"/>
                <a:gd name="T47" fmla="*/ 88 h 389"/>
                <a:gd name="T48" fmla="*/ 465 w 590"/>
                <a:gd name="T49" fmla="*/ 123 h 389"/>
                <a:gd name="T50" fmla="*/ 522 w 590"/>
                <a:gd name="T51" fmla="*/ 153 h 389"/>
                <a:gd name="T52" fmla="*/ 571 w 590"/>
                <a:gd name="T53" fmla="*/ 183 h 389"/>
                <a:gd name="T54" fmla="*/ 572 w 590"/>
                <a:gd name="T55" fmla="*/ 186 h 389"/>
                <a:gd name="T56" fmla="*/ 573 w 590"/>
                <a:gd name="T57" fmla="*/ 189 h 389"/>
                <a:gd name="T58" fmla="*/ 572 w 590"/>
                <a:gd name="T59" fmla="*/ 192 h 389"/>
                <a:gd name="T60" fmla="*/ 568 w 590"/>
                <a:gd name="T61" fmla="*/ 194 h 389"/>
                <a:gd name="T62" fmla="*/ 563 w 590"/>
                <a:gd name="T63" fmla="*/ 193 h 389"/>
                <a:gd name="T64" fmla="*/ 551 w 590"/>
                <a:gd name="T65" fmla="*/ 186 h 389"/>
                <a:gd name="T66" fmla="*/ 492 w 590"/>
                <a:gd name="T67" fmla="*/ 150 h 389"/>
                <a:gd name="T68" fmla="*/ 430 w 590"/>
                <a:gd name="T69" fmla="*/ 119 h 389"/>
                <a:gd name="T70" fmla="*/ 355 w 590"/>
                <a:gd name="T71" fmla="*/ 85 h 389"/>
                <a:gd name="T72" fmla="*/ 268 w 590"/>
                <a:gd name="T73" fmla="*/ 54 h 389"/>
                <a:gd name="T74" fmla="*/ 174 w 590"/>
                <a:gd name="T75" fmla="*/ 29 h 389"/>
                <a:gd name="T76" fmla="*/ 124 w 590"/>
                <a:gd name="T77" fmla="*/ 20 h 389"/>
                <a:gd name="T78" fmla="*/ 73 w 590"/>
                <a:gd name="T79" fmla="*/ 13 h 389"/>
                <a:gd name="T80" fmla="*/ 22 w 590"/>
                <a:gd name="T81" fmla="*/ 12 h 389"/>
                <a:gd name="T82" fmla="*/ 13 w 590"/>
                <a:gd name="T83" fmla="*/ 12 h 389"/>
                <a:gd name="T84" fmla="*/ 13 w 590"/>
                <a:gd name="T85" fmla="*/ 17 h 389"/>
                <a:gd name="T86" fmla="*/ 15 w 590"/>
                <a:gd name="T87" fmla="*/ 34 h 389"/>
                <a:gd name="T88" fmla="*/ 27 w 590"/>
                <a:gd name="T89" fmla="*/ 55 h 389"/>
                <a:gd name="T90" fmla="*/ 49 w 590"/>
                <a:gd name="T91" fmla="*/ 79 h 389"/>
                <a:gd name="T92" fmla="*/ 66 w 590"/>
                <a:gd name="T93" fmla="*/ 91 h 389"/>
                <a:gd name="T94" fmla="*/ 126 w 590"/>
                <a:gd name="T95" fmla="*/ 137 h 389"/>
                <a:gd name="T96" fmla="*/ 166 w 590"/>
                <a:gd name="T97" fmla="*/ 169 h 389"/>
                <a:gd name="T98" fmla="*/ 267 w 590"/>
                <a:gd name="T99" fmla="*/ 242 h 389"/>
                <a:gd name="T100" fmla="*/ 325 w 590"/>
                <a:gd name="T101" fmla="*/ 279 h 389"/>
                <a:gd name="T102" fmla="*/ 387 w 590"/>
                <a:gd name="T103" fmla="*/ 313 h 389"/>
                <a:gd name="T104" fmla="*/ 451 w 590"/>
                <a:gd name="T105" fmla="*/ 343 h 389"/>
                <a:gd name="T106" fmla="*/ 517 w 590"/>
                <a:gd name="T107" fmla="*/ 364 h 389"/>
                <a:gd name="T108" fmla="*/ 585 w 590"/>
                <a:gd name="T109" fmla="*/ 377 h 389"/>
                <a:gd name="T110" fmla="*/ 587 w 590"/>
                <a:gd name="T111" fmla="*/ 378 h 389"/>
                <a:gd name="T112" fmla="*/ 590 w 590"/>
                <a:gd name="T113" fmla="*/ 382 h 389"/>
                <a:gd name="T114" fmla="*/ 590 w 590"/>
                <a:gd name="T115" fmla="*/ 384 h 389"/>
                <a:gd name="T116" fmla="*/ 587 w 590"/>
                <a:gd name="T117" fmla="*/ 388 h 389"/>
                <a:gd name="T118" fmla="*/ 583 w 590"/>
                <a:gd name="T119" fmla="*/ 389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0" h="389">
                  <a:moveTo>
                    <a:pt x="583" y="389"/>
                  </a:moveTo>
                  <a:lnTo>
                    <a:pt x="583" y="389"/>
                  </a:lnTo>
                  <a:lnTo>
                    <a:pt x="583" y="389"/>
                  </a:lnTo>
                  <a:lnTo>
                    <a:pt x="583" y="389"/>
                  </a:lnTo>
                  <a:lnTo>
                    <a:pt x="548" y="384"/>
                  </a:lnTo>
                  <a:lnTo>
                    <a:pt x="514" y="377"/>
                  </a:lnTo>
                  <a:lnTo>
                    <a:pt x="482" y="367"/>
                  </a:lnTo>
                  <a:lnTo>
                    <a:pt x="448" y="354"/>
                  </a:lnTo>
                  <a:lnTo>
                    <a:pt x="415" y="340"/>
                  </a:lnTo>
                  <a:lnTo>
                    <a:pt x="382" y="325"/>
                  </a:lnTo>
                  <a:lnTo>
                    <a:pt x="351" y="307"/>
                  </a:lnTo>
                  <a:lnTo>
                    <a:pt x="320" y="290"/>
                  </a:lnTo>
                  <a:lnTo>
                    <a:pt x="289" y="271"/>
                  </a:lnTo>
                  <a:lnTo>
                    <a:pt x="260" y="252"/>
                  </a:lnTo>
                  <a:lnTo>
                    <a:pt x="208" y="215"/>
                  </a:lnTo>
                  <a:lnTo>
                    <a:pt x="159" y="179"/>
                  </a:lnTo>
                  <a:lnTo>
                    <a:pt x="118" y="147"/>
                  </a:lnTo>
                  <a:lnTo>
                    <a:pt x="118" y="147"/>
                  </a:lnTo>
                  <a:lnTo>
                    <a:pt x="85" y="120"/>
                  </a:lnTo>
                  <a:lnTo>
                    <a:pt x="59" y="103"/>
                  </a:lnTo>
                  <a:lnTo>
                    <a:pt x="59" y="103"/>
                  </a:lnTo>
                  <a:lnTo>
                    <a:pt x="47" y="94"/>
                  </a:lnTo>
                  <a:lnTo>
                    <a:pt x="37" y="85"/>
                  </a:lnTo>
                  <a:lnTo>
                    <a:pt x="28" y="76"/>
                  </a:lnTo>
                  <a:lnTo>
                    <a:pt x="20" y="68"/>
                  </a:lnTo>
                  <a:lnTo>
                    <a:pt x="14" y="60"/>
                  </a:lnTo>
                  <a:lnTo>
                    <a:pt x="9" y="52"/>
                  </a:lnTo>
                  <a:lnTo>
                    <a:pt x="7" y="44"/>
                  </a:lnTo>
                  <a:lnTo>
                    <a:pt x="3" y="37"/>
                  </a:lnTo>
                  <a:lnTo>
                    <a:pt x="0" y="25"/>
                  </a:lnTo>
                  <a:lnTo>
                    <a:pt x="0" y="13"/>
                  </a:lnTo>
                  <a:lnTo>
                    <a:pt x="0" y="7"/>
                  </a:lnTo>
                  <a:lnTo>
                    <a:pt x="2" y="5"/>
                  </a:lnTo>
                  <a:lnTo>
                    <a:pt x="2" y="5"/>
                  </a:lnTo>
                  <a:lnTo>
                    <a:pt x="3" y="1"/>
                  </a:lnTo>
                  <a:lnTo>
                    <a:pt x="7" y="0"/>
                  </a:lnTo>
                  <a:lnTo>
                    <a:pt x="7" y="0"/>
                  </a:lnTo>
                  <a:lnTo>
                    <a:pt x="33" y="0"/>
                  </a:lnTo>
                  <a:lnTo>
                    <a:pt x="59" y="1"/>
                  </a:lnTo>
                  <a:lnTo>
                    <a:pt x="86" y="2"/>
                  </a:lnTo>
                  <a:lnTo>
                    <a:pt x="112" y="6"/>
                  </a:lnTo>
                  <a:lnTo>
                    <a:pt x="139" y="10"/>
                  </a:lnTo>
                  <a:lnTo>
                    <a:pt x="164" y="13"/>
                  </a:lnTo>
                  <a:lnTo>
                    <a:pt x="214" y="25"/>
                  </a:lnTo>
                  <a:lnTo>
                    <a:pt x="263" y="39"/>
                  </a:lnTo>
                  <a:lnTo>
                    <a:pt x="309" y="54"/>
                  </a:lnTo>
                  <a:lnTo>
                    <a:pt x="353" y="71"/>
                  </a:lnTo>
                  <a:lnTo>
                    <a:pt x="394" y="88"/>
                  </a:lnTo>
                  <a:lnTo>
                    <a:pt x="431" y="105"/>
                  </a:lnTo>
                  <a:lnTo>
                    <a:pt x="465" y="123"/>
                  </a:lnTo>
                  <a:lnTo>
                    <a:pt x="495" y="139"/>
                  </a:lnTo>
                  <a:lnTo>
                    <a:pt x="522" y="153"/>
                  </a:lnTo>
                  <a:lnTo>
                    <a:pt x="557" y="174"/>
                  </a:lnTo>
                  <a:lnTo>
                    <a:pt x="571" y="183"/>
                  </a:lnTo>
                  <a:lnTo>
                    <a:pt x="571" y="183"/>
                  </a:lnTo>
                  <a:lnTo>
                    <a:pt x="572" y="186"/>
                  </a:lnTo>
                  <a:lnTo>
                    <a:pt x="573" y="187"/>
                  </a:lnTo>
                  <a:lnTo>
                    <a:pt x="573" y="189"/>
                  </a:lnTo>
                  <a:lnTo>
                    <a:pt x="572" y="192"/>
                  </a:lnTo>
                  <a:lnTo>
                    <a:pt x="572" y="192"/>
                  </a:lnTo>
                  <a:lnTo>
                    <a:pt x="571" y="194"/>
                  </a:lnTo>
                  <a:lnTo>
                    <a:pt x="568" y="194"/>
                  </a:lnTo>
                  <a:lnTo>
                    <a:pt x="566" y="194"/>
                  </a:lnTo>
                  <a:lnTo>
                    <a:pt x="563" y="193"/>
                  </a:lnTo>
                  <a:lnTo>
                    <a:pt x="563" y="193"/>
                  </a:lnTo>
                  <a:lnTo>
                    <a:pt x="551" y="186"/>
                  </a:lnTo>
                  <a:lnTo>
                    <a:pt x="517" y="164"/>
                  </a:lnTo>
                  <a:lnTo>
                    <a:pt x="492" y="150"/>
                  </a:lnTo>
                  <a:lnTo>
                    <a:pt x="463" y="135"/>
                  </a:lnTo>
                  <a:lnTo>
                    <a:pt x="430" y="119"/>
                  </a:lnTo>
                  <a:lnTo>
                    <a:pt x="395" y="103"/>
                  </a:lnTo>
                  <a:lnTo>
                    <a:pt x="355" y="85"/>
                  </a:lnTo>
                  <a:lnTo>
                    <a:pt x="313" y="69"/>
                  </a:lnTo>
                  <a:lnTo>
                    <a:pt x="268" y="54"/>
                  </a:lnTo>
                  <a:lnTo>
                    <a:pt x="222" y="40"/>
                  </a:lnTo>
                  <a:lnTo>
                    <a:pt x="174" y="29"/>
                  </a:lnTo>
                  <a:lnTo>
                    <a:pt x="149" y="24"/>
                  </a:lnTo>
                  <a:lnTo>
                    <a:pt x="124" y="20"/>
                  </a:lnTo>
                  <a:lnTo>
                    <a:pt x="98" y="16"/>
                  </a:lnTo>
                  <a:lnTo>
                    <a:pt x="73" y="13"/>
                  </a:lnTo>
                  <a:lnTo>
                    <a:pt x="48" y="12"/>
                  </a:lnTo>
                  <a:lnTo>
                    <a:pt x="22" y="12"/>
                  </a:lnTo>
                  <a:lnTo>
                    <a:pt x="22" y="12"/>
                  </a:lnTo>
                  <a:lnTo>
                    <a:pt x="13" y="12"/>
                  </a:lnTo>
                  <a:lnTo>
                    <a:pt x="13" y="12"/>
                  </a:lnTo>
                  <a:lnTo>
                    <a:pt x="13" y="17"/>
                  </a:lnTo>
                  <a:lnTo>
                    <a:pt x="13" y="25"/>
                  </a:lnTo>
                  <a:lnTo>
                    <a:pt x="15" y="34"/>
                  </a:lnTo>
                  <a:lnTo>
                    <a:pt x="19" y="44"/>
                  </a:lnTo>
                  <a:lnTo>
                    <a:pt x="27" y="55"/>
                  </a:lnTo>
                  <a:lnTo>
                    <a:pt x="36" y="68"/>
                  </a:lnTo>
                  <a:lnTo>
                    <a:pt x="49" y="79"/>
                  </a:lnTo>
                  <a:lnTo>
                    <a:pt x="66" y="91"/>
                  </a:lnTo>
                  <a:lnTo>
                    <a:pt x="66" y="91"/>
                  </a:lnTo>
                  <a:lnTo>
                    <a:pt x="92" y="110"/>
                  </a:lnTo>
                  <a:lnTo>
                    <a:pt x="126" y="137"/>
                  </a:lnTo>
                  <a:lnTo>
                    <a:pt x="126" y="137"/>
                  </a:lnTo>
                  <a:lnTo>
                    <a:pt x="166" y="169"/>
                  </a:lnTo>
                  <a:lnTo>
                    <a:pt x="214" y="204"/>
                  </a:lnTo>
                  <a:lnTo>
                    <a:pt x="267" y="242"/>
                  </a:lnTo>
                  <a:lnTo>
                    <a:pt x="296" y="261"/>
                  </a:lnTo>
                  <a:lnTo>
                    <a:pt x="325" y="279"/>
                  </a:lnTo>
                  <a:lnTo>
                    <a:pt x="356" y="296"/>
                  </a:lnTo>
                  <a:lnTo>
                    <a:pt x="387" y="313"/>
                  </a:lnTo>
                  <a:lnTo>
                    <a:pt x="419" y="329"/>
                  </a:lnTo>
                  <a:lnTo>
                    <a:pt x="451" y="343"/>
                  </a:lnTo>
                  <a:lnTo>
                    <a:pt x="484" y="354"/>
                  </a:lnTo>
                  <a:lnTo>
                    <a:pt x="517" y="364"/>
                  </a:lnTo>
                  <a:lnTo>
                    <a:pt x="551" y="372"/>
                  </a:lnTo>
                  <a:lnTo>
                    <a:pt x="585" y="377"/>
                  </a:lnTo>
                  <a:lnTo>
                    <a:pt x="585" y="377"/>
                  </a:lnTo>
                  <a:lnTo>
                    <a:pt x="587" y="378"/>
                  </a:lnTo>
                  <a:lnTo>
                    <a:pt x="588" y="379"/>
                  </a:lnTo>
                  <a:lnTo>
                    <a:pt x="590" y="382"/>
                  </a:lnTo>
                  <a:lnTo>
                    <a:pt x="590" y="384"/>
                  </a:lnTo>
                  <a:lnTo>
                    <a:pt x="590" y="384"/>
                  </a:lnTo>
                  <a:lnTo>
                    <a:pt x="590" y="387"/>
                  </a:lnTo>
                  <a:lnTo>
                    <a:pt x="587" y="388"/>
                  </a:lnTo>
                  <a:lnTo>
                    <a:pt x="586" y="389"/>
                  </a:lnTo>
                  <a:lnTo>
                    <a:pt x="583" y="389"/>
                  </a:lnTo>
                  <a:lnTo>
                    <a:pt x="583" y="389"/>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35" name="Freeform 92"/>
            <p:cNvSpPr>
              <a:spLocks noEditPoints="1"/>
            </p:cNvSpPr>
            <p:nvPr/>
          </p:nvSpPr>
          <p:spPr bwMode="auto">
            <a:xfrm>
              <a:off x="9171607" y="3573090"/>
              <a:ext cx="114235" cy="208070"/>
            </a:xfrm>
            <a:custGeom>
              <a:avLst/>
              <a:gdLst>
                <a:gd name="T0" fmla="*/ 57 w 113"/>
                <a:gd name="T1" fmla="*/ 204 h 204"/>
                <a:gd name="T2" fmla="*/ 45 w 113"/>
                <a:gd name="T3" fmla="*/ 202 h 204"/>
                <a:gd name="T4" fmla="*/ 35 w 113"/>
                <a:gd name="T5" fmla="*/ 196 h 204"/>
                <a:gd name="T6" fmla="*/ 25 w 113"/>
                <a:gd name="T7" fmla="*/ 186 h 204"/>
                <a:gd name="T8" fmla="*/ 10 w 113"/>
                <a:gd name="T9" fmla="*/ 160 h 204"/>
                <a:gd name="T10" fmla="*/ 1 w 113"/>
                <a:gd name="T11" fmla="*/ 123 h 204"/>
                <a:gd name="T12" fmla="*/ 0 w 113"/>
                <a:gd name="T13" fmla="*/ 102 h 204"/>
                <a:gd name="T14" fmla="*/ 5 w 113"/>
                <a:gd name="T15" fmla="*/ 62 h 204"/>
                <a:gd name="T16" fmla="*/ 17 w 113"/>
                <a:gd name="T17" fmla="*/ 29 h 204"/>
                <a:gd name="T18" fmla="*/ 30 w 113"/>
                <a:gd name="T19" fmla="*/ 13 h 204"/>
                <a:gd name="T20" fmla="*/ 40 w 113"/>
                <a:gd name="T21" fmla="*/ 4 h 204"/>
                <a:gd name="T22" fmla="*/ 52 w 113"/>
                <a:gd name="T23" fmla="*/ 0 h 204"/>
                <a:gd name="T24" fmla="*/ 57 w 113"/>
                <a:gd name="T25" fmla="*/ 0 h 204"/>
                <a:gd name="T26" fmla="*/ 68 w 113"/>
                <a:gd name="T27" fmla="*/ 1 h 204"/>
                <a:gd name="T28" fmla="*/ 79 w 113"/>
                <a:gd name="T29" fmla="*/ 8 h 204"/>
                <a:gd name="T30" fmla="*/ 89 w 113"/>
                <a:gd name="T31" fmla="*/ 18 h 204"/>
                <a:gd name="T32" fmla="*/ 104 w 113"/>
                <a:gd name="T33" fmla="*/ 44 h 204"/>
                <a:gd name="T34" fmla="*/ 112 w 113"/>
                <a:gd name="T35" fmla="*/ 80 h 204"/>
                <a:gd name="T36" fmla="*/ 113 w 113"/>
                <a:gd name="T37" fmla="*/ 102 h 204"/>
                <a:gd name="T38" fmla="*/ 110 w 113"/>
                <a:gd name="T39" fmla="*/ 142 h 204"/>
                <a:gd name="T40" fmla="*/ 97 w 113"/>
                <a:gd name="T41" fmla="*/ 175 h 204"/>
                <a:gd name="T42" fmla="*/ 84 w 113"/>
                <a:gd name="T43" fmla="*/ 191 h 204"/>
                <a:gd name="T44" fmla="*/ 74 w 113"/>
                <a:gd name="T45" fmla="*/ 200 h 204"/>
                <a:gd name="T46" fmla="*/ 63 w 113"/>
                <a:gd name="T47" fmla="*/ 204 h 204"/>
                <a:gd name="T48" fmla="*/ 57 w 113"/>
                <a:gd name="T49" fmla="*/ 204 h 204"/>
                <a:gd name="T50" fmla="*/ 57 w 113"/>
                <a:gd name="T51" fmla="*/ 13 h 204"/>
                <a:gd name="T52" fmla="*/ 48 w 113"/>
                <a:gd name="T53" fmla="*/ 14 h 204"/>
                <a:gd name="T54" fmla="*/ 40 w 113"/>
                <a:gd name="T55" fmla="*/ 20 h 204"/>
                <a:gd name="T56" fmla="*/ 27 w 113"/>
                <a:gd name="T57" fmla="*/ 39 h 204"/>
                <a:gd name="T58" fmla="*/ 17 w 113"/>
                <a:gd name="T59" fmla="*/ 68 h 204"/>
                <a:gd name="T60" fmla="*/ 13 w 113"/>
                <a:gd name="T61" fmla="*/ 102 h 204"/>
                <a:gd name="T62" fmla="*/ 14 w 113"/>
                <a:gd name="T63" fmla="*/ 119 h 204"/>
                <a:gd name="T64" fmla="*/ 20 w 113"/>
                <a:gd name="T65" fmla="*/ 151 h 204"/>
                <a:gd name="T66" fmla="*/ 33 w 113"/>
                <a:gd name="T67" fmla="*/ 176 h 204"/>
                <a:gd name="T68" fmla="*/ 44 w 113"/>
                <a:gd name="T69" fmla="*/ 187 h 204"/>
                <a:gd name="T70" fmla="*/ 53 w 113"/>
                <a:gd name="T71" fmla="*/ 191 h 204"/>
                <a:gd name="T72" fmla="*/ 57 w 113"/>
                <a:gd name="T73" fmla="*/ 191 h 204"/>
                <a:gd name="T74" fmla="*/ 66 w 113"/>
                <a:gd name="T75" fmla="*/ 190 h 204"/>
                <a:gd name="T76" fmla="*/ 74 w 113"/>
                <a:gd name="T77" fmla="*/ 183 h 204"/>
                <a:gd name="T78" fmla="*/ 88 w 113"/>
                <a:gd name="T79" fmla="*/ 165 h 204"/>
                <a:gd name="T80" fmla="*/ 97 w 113"/>
                <a:gd name="T81" fmla="*/ 136 h 204"/>
                <a:gd name="T82" fmla="*/ 101 w 113"/>
                <a:gd name="T83" fmla="*/ 102 h 204"/>
                <a:gd name="T84" fmla="*/ 99 w 113"/>
                <a:gd name="T85" fmla="*/ 84 h 204"/>
                <a:gd name="T86" fmla="*/ 93 w 113"/>
                <a:gd name="T87" fmla="*/ 53 h 204"/>
                <a:gd name="T88" fmla="*/ 82 w 113"/>
                <a:gd name="T89" fmla="*/ 28 h 204"/>
                <a:gd name="T90" fmla="*/ 71 w 113"/>
                <a:gd name="T91" fmla="*/ 16 h 204"/>
                <a:gd name="T92" fmla="*/ 62 w 113"/>
                <a:gd name="T93" fmla="*/ 13 h 204"/>
                <a:gd name="T94" fmla="*/ 57 w 113"/>
                <a:gd name="T95" fmla="*/ 1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3" h="204">
                  <a:moveTo>
                    <a:pt x="57" y="204"/>
                  </a:moveTo>
                  <a:lnTo>
                    <a:pt x="57" y="204"/>
                  </a:lnTo>
                  <a:lnTo>
                    <a:pt x="52" y="204"/>
                  </a:lnTo>
                  <a:lnTo>
                    <a:pt x="45" y="202"/>
                  </a:lnTo>
                  <a:lnTo>
                    <a:pt x="40" y="200"/>
                  </a:lnTo>
                  <a:lnTo>
                    <a:pt x="35" y="196"/>
                  </a:lnTo>
                  <a:lnTo>
                    <a:pt x="30" y="191"/>
                  </a:lnTo>
                  <a:lnTo>
                    <a:pt x="25" y="186"/>
                  </a:lnTo>
                  <a:lnTo>
                    <a:pt x="17" y="175"/>
                  </a:lnTo>
                  <a:lnTo>
                    <a:pt x="10" y="160"/>
                  </a:lnTo>
                  <a:lnTo>
                    <a:pt x="5" y="142"/>
                  </a:lnTo>
                  <a:lnTo>
                    <a:pt x="1" y="123"/>
                  </a:lnTo>
                  <a:lnTo>
                    <a:pt x="0" y="102"/>
                  </a:lnTo>
                  <a:lnTo>
                    <a:pt x="0" y="102"/>
                  </a:lnTo>
                  <a:lnTo>
                    <a:pt x="1" y="80"/>
                  </a:lnTo>
                  <a:lnTo>
                    <a:pt x="5" y="62"/>
                  </a:lnTo>
                  <a:lnTo>
                    <a:pt x="10" y="44"/>
                  </a:lnTo>
                  <a:lnTo>
                    <a:pt x="17" y="29"/>
                  </a:lnTo>
                  <a:lnTo>
                    <a:pt x="25" y="18"/>
                  </a:lnTo>
                  <a:lnTo>
                    <a:pt x="30" y="13"/>
                  </a:lnTo>
                  <a:lnTo>
                    <a:pt x="35" y="8"/>
                  </a:lnTo>
                  <a:lnTo>
                    <a:pt x="40" y="4"/>
                  </a:lnTo>
                  <a:lnTo>
                    <a:pt x="45" y="1"/>
                  </a:lnTo>
                  <a:lnTo>
                    <a:pt x="52" y="0"/>
                  </a:lnTo>
                  <a:lnTo>
                    <a:pt x="57" y="0"/>
                  </a:lnTo>
                  <a:lnTo>
                    <a:pt x="57" y="0"/>
                  </a:lnTo>
                  <a:lnTo>
                    <a:pt x="63" y="0"/>
                  </a:lnTo>
                  <a:lnTo>
                    <a:pt x="68" y="1"/>
                  </a:lnTo>
                  <a:lnTo>
                    <a:pt x="74" y="4"/>
                  </a:lnTo>
                  <a:lnTo>
                    <a:pt x="79" y="8"/>
                  </a:lnTo>
                  <a:lnTo>
                    <a:pt x="84" y="13"/>
                  </a:lnTo>
                  <a:lnTo>
                    <a:pt x="89" y="18"/>
                  </a:lnTo>
                  <a:lnTo>
                    <a:pt x="97" y="29"/>
                  </a:lnTo>
                  <a:lnTo>
                    <a:pt x="104" y="44"/>
                  </a:lnTo>
                  <a:lnTo>
                    <a:pt x="110" y="62"/>
                  </a:lnTo>
                  <a:lnTo>
                    <a:pt x="112" y="80"/>
                  </a:lnTo>
                  <a:lnTo>
                    <a:pt x="113" y="102"/>
                  </a:lnTo>
                  <a:lnTo>
                    <a:pt x="113" y="102"/>
                  </a:lnTo>
                  <a:lnTo>
                    <a:pt x="112" y="123"/>
                  </a:lnTo>
                  <a:lnTo>
                    <a:pt x="110" y="142"/>
                  </a:lnTo>
                  <a:lnTo>
                    <a:pt x="104" y="160"/>
                  </a:lnTo>
                  <a:lnTo>
                    <a:pt x="97" y="175"/>
                  </a:lnTo>
                  <a:lnTo>
                    <a:pt x="89" y="186"/>
                  </a:lnTo>
                  <a:lnTo>
                    <a:pt x="84" y="191"/>
                  </a:lnTo>
                  <a:lnTo>
                    <a:pt x="79" y="196"/>
                  </a:lnTo>
                  <a:lnTo>
                    <a:pt x="74" y="200"/>
                  </a:lnTo>
                  <a:lnTo>
                    <a:pt x="68" y="202"/>
                  </a:lnTo>
                  <a:lnTo>
                    <a:pt x="63" y="204"/>
                  </a:lnTo>
                  <a:lnTo>
                    <a:pt x="57" y="204"/>
                  </a:lnTo>
                  <a:lnTo>
                    <a:pt x="57" y="204"/>
                  </a:lnTo>
                  <a:close/>
                  <a:moveTo>
                    <a:pt x="57" y="13"/>
                  </a:moveTo>
                  <a:lnTo>
                    <a:pt x="57" y="13"/>
                  </a:lnTo>
                  <a:lnTo>
                    <a:pt x="53" y="13"/>
                  </a:lnTo>
                  <a:lnTo>
                    <a:pt x="48" y="14"/>
                  </a:lnTo>
                  <a:lnTo>
                    <a:pt x="44" y="16"/>
                  </a:lnTo>
                  <a:lnTo>
                    <a:pt x="40" y="20"/>
                  </a:lnTo>
                  <a:lnTo>
                    <a:pt x="33" y="28"/>
                  </a:lnTo>
                  <a:lnTo>
                    <a:pt x="27" y="39"/>
                  </a:lnTo>
                  <a:lnTo>
                    <a:pt x="20" y="53"/>
                  </a:lnTo>
                  <a:lnTo>
                    <a:pt x="17" y="68"/>
                  </a:lnTo>
                  <a:lnTo>
                    <a:pt x="14" y="84"/>
                  </a:lnTo>
                  <a:lnTo>
                    <a:pt x="13" y="102"/>
                  </a:lnTo>
                  <a:lnTo>
                    <a:pt x="13" y="102"/>
                  </a:lnTo>
                  <a:lnTo>
                    <a:pt x="14" y="119"/>
                  </a:lnTo>
                  <a:lnTo>
                    <a:pt x="17" y="136"/>
                  </a:lnTo>
                  <a:lnTo>
                    <a:pt x="20" y="151"/>
                  </a:lnTo>
                  <a:lnTo>
                    <a:pt x="27" y="165"/>
                  </a:lnTo>
                  <a:lnTo>
                    <a:pt x="33" y="176"/>
                  </a:lnTo>
                  <a:lnTo>
                    <a:pt x="40" y="183"/>
                  </a:lnTo>
                  <a:lnTo>
                    <a:pt x="44" y="187"/>
                  </a:lnTo>
                  <a:lnTo>
                    <a:pt x="48" y="190"/>
                  </a:lnTo>
                  <a:lnTo>
                    <a:pt x="53" y="191"/>
                  </a:lnTo>
                  <a:lnTo>
                    <a:pt x="57" y="191"/>
                  </a:lnTo>
                  <a:lnTo>
                    <a:pt x="57" y="191"/>
                  </a:lnTo>
                  <a:lnTo>
                    <a:pt x="62" y="191"/>
                  </a:lnTo>
                  <a:lnTo>
                    <a:pt x="66" y="190"/>
                  </a:lnTo>
                  <a:lnTo>
                    <a:pt x="71" y="187"/>
                  </a:lnTo>
                  <a:lnTo>
                    <a:pt x="74" y="183"/>
                  </a:lnTo>
                  <a:lnTo>
                    <a:pt x="82" y="176"/>
                  </a:lnTo>
                  <a:lnTo>
                    <a:pt x="88" y="165"/>
                  </a:lnTo>
                  <a:lnTo>
                    <a:pt x="93" y="151"/>
                  </a:lnTo>
                  <a:lnTo>
                    <a:pt x="97" y="136"/>
                  </a:lnTo>
                  <a:lnTo>
                    <a:pt x="99" y="119"/>
                  </a:lnTo>
                  <a:lnTo>
                    <a:pt x="101" y="102"/>
                  </a:lnTo>
                  <a:lnTo>
                    <a:pt x="101" y="102"/>
                  </a:lnTo>
                  <a:lnTo>
                    <a:pt x="99" y="84"/>
                  </a:lnTo>
                  <a:lnTo>
                    <a:pt x="97" y="68"/>
                  </a:lnTo>
                  <a:lnTo>
                    <a:pt x="93" y="53"/>
                  </a:lnTo>
                  <a:lnTo>
                    <a:pt x="88" y="39"/>
                  </a:lnTo>
                  <a:lnTo>
                    <a:pt x="82" y="28"/>
                  </a:lnTo>
                  <a:lnTo>
                    <a:pt x="74" y="20"/>
                  </a:lnTo>
                  <a:lnTo>
                    <a:pt x="71" y="16"/>
                  </a:lnTo>
                  <a:lnTo>
                    <a:pt x="66" y="14"/>
                  </a:lnTo>
                  <a:lnTo>
                    <a:pt x="62" y="13"/>
                  </a:lnTo>
                  <a:lnTo>
                    <a:pt x="57" y="13"/>
                  </a:lnTo>
                  <a:lnTo>
                    <a:pt x="57" y="13"/>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36" name="Freeform 93"/>
            <p:cNvSpPr>
              <a:spLocks noEditPoints="1"/>
            </p:cNvSpPr>
            <p:nvPr/>
          </p:nvSpPr>
          <p:spPr bwMode="auto">
            <a:xfrm>
              <a:off x="4120801" y="1914648"/>
              <a:ext cx="3351564" cy="748646"/>
            </a:xfrm>
            <a:custGeom>
              <a:avLst/>
              <a:gdLst>
                <a:gd name="T0" fmla="*/ 2993 w 3286"/>
                <a:gd name="T1" fmla="*/ 734 h 735"/>
                <a:gd name="T2" fmla="*/ 2860 w 3286"/>
                <a:gd name="T3" fmla="*/ 711 h 735"/>
                <a:gd name="T4" fmla="*/ 2820 w 3286"/>
                <a:gd name="T5" fmla="*/ 685 h 735"/>
                <a:gd name="T6" fmla="*/ 60 w 3286"/>
                <a:gd name="T7" fmla="*/ 430 h 735"/>
                <a:gd name="T8" fmla="*/ 8 w 3286"/>
                <a:gd name="T9" fmla="*/ 376 h 735"/>
                <a:gd name="T10" fmla="*/ 3 w 3286"/>
                <a:gd name="T11" fmla="*/ 325 h 735"/>
                <a:gd name="T12" fmla="*/ 28 w 3286"/>
                <a:gd name="T13" fmla="*/ 285 h 735"/>
                <a:gd name="T14" fmla="*/ 127 w 3286"/>
                <a:gd name="T15" fmla="*/ 244 h 735"/>
                <a:gd name="T16" fmla="*/ 386 w 3286"/>
                <a:gd name="T17" fmla="*/ 155 h 735"/>
                <a:gd name="T18" fmla="*/ 672 w 3286"/>
                <a:gd name="T19" fmla="*/ 85 h 735"/>
                <a:gd name="T20" fmla="*/ 920 w 3286"/>
                <a:gd name="T21" fmla="*/ 44 h 735"/>
                <a:gd name="T22" fmla="*/ 1375 w 3286"/>
                <a:gd name="T23" fmla="*/ 4 h 735"/>
                <a:gd name="T24" fmla="*/ 1612 w 3286"/>
                <a:gd name="T25" fmla="*/ 1 h 735"/>
                <a:gd name="T26" fmla="*/ 1708 w 3286"/>
                <a:gd name="T27" fmla="*/ 8 h 735"/>
                <a:gd name="T28" fmla="*/ 2053 w 3286"/>
                <a:gd name="T29" fmla="*/ 58 h 735"/>
                <a:gd name="T30" fmla="*/ 2366 w 3286"/>
                <a:gd name="T31" fmla="*/ 133 h 735"/>
                <a:gd name="T32" fmla="*/ 2647 w 3286"/>
                <a:gd name="T33" fmla="*/ 235 h 735"/>
                <a:gd name="T34" fmla="*/ 2806 w 3286"/>
                <a:gd name="T35" fmla="*/ 313 h 735"/>
                <a:gd name="T36" fmla="*/ 3042 w 3286"/>
                <a:gd name="T37" fmla="*/ 460 h 735"/>
                <a:gd name="T38" fmla="*/ 3169 w 3286"/>
                <a:gd name="T39" fmla="*/ 555 h 735"/>
                <a:gd name="T40" fmla="*/ 3210 w 3286"/>
                <a:gd name="T41" fmla="*/ 587 h 735"/>
                <a:gd name="T42" fmla="*/ 3270 w 3286"/>
                <a:gd name="T43" fmla="*/ 639 h 735"/>
                <a:gd name="T44" fmla="*/ 3285 w 3286"/>
                <a:gd name="T45" fmla="*/ 670 h 735"/>
                <a:gd name="T46" fmla="*/ 3280 w 3286"/>
                <a:gd name="T47" fmla="*/ 693 h 735"/>
                <a:gd name="T48" fmla="*/ 3238 w 3286"/>
                <a:gd name="T49" fmla="*/ 720 h 735"/>
                <a:gd name="T50" fmla="*/ 3173 w 3286"/>
                <a:gd name="T51" fmla="*/ 727 h 735"/>
                <a:gd name="T52" fmla="*/ 87 w 3286"/>
                <a:gd name="T53" fmla="*/ 417 h 735"/>
                <a:gd name="T54" fmla="*/ 2838 w 3286"/>
                <a:gd name="T55" fmla="*/ 665 h 735"/>
                <a:gd name="T56" fmla="*/ 2880 w 3286"/>
                <a:gd name="T57" fmla="*/ 692 h 735"/>
                <a:gd name="T58" fmla="*/ 3034 w 3286"/>
                <a:gd name="T59" fmla="*/ 710 h 735"/>
                <a:gd name="T60" fmla="*/ 3103 w 3286"/>
                <a:gd name="T61" fmla="*/ 707 h 735"/>
                <a:gd name="T62" fmla="*/ 3241 w 3286"/>
                <a:gd name="T63" fmla="*/ 692 h 735"/>
                <a:gd name="T64" fmla="*/ 3261 w 3286"/>
                <a:gd name="T65" fmla="*/ 677 h 735"/>
                <a:gd name="T66" fmla="*/ 3260 w 3286"/>
                <a:gd name="T67" fmla="*/ 673 h 735"/>
                <a:gd name="T68" fmla="*/ 3246 w 3286"/>
                <a:gd name="T69" fmla="*/ 652 h 735"/>
                <a:gd name="T70" fmla="*/ 3223 w 3286"/>
                <a:gd name="T71" fmla="*/ 631 h 735"/>
                <a:gd name="T72" fmla="*/ 3154 w 3286"/>
                <a:gd name="T73" fmla="*/ 577 h 735"/>
                <a:gd name="T74" fmla="*/ 3071 w 3286"/>
                <a:gd name="T75" fmla="*/ 513 h 735"/>
                <a:gd name="T76" fmla="*/ 2829 w 3286"/>
                <a:gd name="T77" fmla="*/ 353 h 735"/>
                <a:gd name="T78" fmla="*/ 2637 w 3286"/>
                <a:gd name="T79" fmla="*/ 258 h 735"/>
                <a:gd name="T80" fmla="*/ 2418 w 3286"/>
                <a:gd name="T81" fmla="*/ 176 h 735"/>
                <a:gd name="T82" fmla="*/ 2114 w 3286"/>
                <a:gd name="T83" fmla="*/ 95 h 735"/>
                <a:gd name="T84" fmla="*/ 1777 w 3286"/>
                <a:gd name="T85" fmla="*/ 41 h 735"/>
                <a:gd name="T86" fmla="*/ 1552 w 3286"/>
                <a:gd name="T87" fmla="*/ 25 h 735"/>
                <a:gd name="T88" fmla="*/ 1298 w 3286"/>
                <a:gd name="T89" fmla="*/ 33 h 735"/>
                <a:gd name="T90" fmla="*/ 924 w 3286"/>
                <a:gd name="T91" fmla="*/ 69 h 735"/>
                <a:gd name="T92" fmla="*/ 620 w 3286"/>
                <a:gd name="T93" fmla="*/ 123 h 735"/>
                <a:gd name="T94" fmla="*/ 342 w 3286"/>
                <a:gd name="T95" fmla="*/ 195 h 735"/>
                <a:gd name="T96" fmla="*/ 91 w 3286"/>
                <a:gd name="T97" fmla="*/ 285 h 735"/>
                <a:gd name="T98" fmla="*/ 29 w 3286"/>
                <a:gd name="T99" fmla="*/ 328 h 735"/>
                <a:gd name="T100" fmla="*/ 28 w 3286"/>
                <a:gd name="T101" fmla="*/ 358 h 735"/>
                <a:gd name="T102" fmla="*/ 62 w 3286"/>
                <a:gd name="T103" fmla="*/ 401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86" h="735">
                  <a:moveTo>
                    <a:pt x="3034" y="735"/>
                  </a:moveTo>
                  <a:lnTo>
                    <a:pt x="3034" y="735"/>
                  </a:lnTo>
                  <a:lnTo>
                    <a:pt x="3034" y="735"/>
                  </a:lnTo>
                  <a:lnTo>
                    <a:pt x="3034" y="735"/>
                  </a:lnTo>
                  <a:lnTo>
                    <a:pt x="2993" y="734"/>
                  </a:lnTo>
                  <a:lnTo>
                    <a:pt x="2956" y="731"/>
                  </a:lnTo>
                  <a:lnTo>
                    <a:pt x="2923" y="727"/>
                  </a:lnTo>
                  <a:lnTo>
                    <a:pt x="2895" y="722"/>
                  </a:lnTo>
                  <a:lnTo>
                    <a:pt x="2870" y="715"/>
                  </a:lnTo>
                  <a:lnTo>
                    <a:pt x="2860" y="711"/>
                  </a:lnTo>
                  <a:lnTo>
                    <a:pt x="2850" y="706"/>
                  </a:lnTo>
                  <a:lnTo>
                    <a:pt x="2841" y="701"/>
                  </a:lnTo>
                  <a:lnTo>
                    <a:pt x="2833" y="696"/>
                  </a:lnTo>
                  <a:lnTo>
                    <a:pt x="2826" y="691"/>
                  </a:lnTo>
                  <a:lnTo>
                    <a:pt x="2820" y="685"/>
                  </a:lnTo>
                  <a:lnTo>
                    <a:pt x="82" y="441"/>
                  </a:lnTo>
                  <a:lnTo>
                    <a:pt x="82" y="441"/>
                  </a:lnTo>
                  <a:lnTo>
                    <a:pt x="77" y="440"/>
                  </a:lnTo>
                  <a:lnTo>
                    <a:pt x="77" y="440"/>
                  </a:lnTo>
                  <a:lnTo>
                    <a:pt x="60" y="430"/>
                  </a:lnTo>
                  <a:lnTo>
                    <a:pt x="45" y="420"/>
                  </a:lnTo>
                  <a:lnTo>
                    <a:pt x="33" y="410"/>
                  </a:lnTo>
                  <a:lnTo>
                    <a:pt x="23" y="398"/>
                  </a:lnTo>
                  <a:lnTo>
                    <a:pt x="14" y="387"/>
                  </a:lnTo>
                  <a:lnTo>
                    <a:pt x="8" y="376"/>
                  </a:lnTo>
                  <a:lnTo>
                    <a:pt x="3" y="364"/>
                  </a:lnTo>
                  <a:lnTo>
                    <a:pt x="0" y="353"/>
                  </a:lnTo>
                  <a:lnTo>
                    <a:pt x="0" y="353"/>
                  </a:lnTo>
                  <a:lnTo>
                    <a:pt x="0" y="338"/>
                  </a:lnTo>
                  <a:lnTo>
                    <a:pt x="3" y="325"/>
                  </a:lnTo>
                  <a:lnTo>
                    <a:pt x="8" y="314"/>
                  </a:lnTo>
                  <a:lnTo>
                    <a:pt x="13" y="305"/>
                  </a:lnTo>
                  <a:lnTo>
                    <a:pt x="18" y="296"/>
                  </a:lnTo>
                  <a:lnTo>
                    <a:pt x="23" y="291"/>
                  </a:lnTo>
                  <a:lnTo>
                    <a:pt x="28" y="285"/>
                  </a:lnTo>
                  <a:lnTo>
                    <a:pt x="28" y="285"/>
                  </a:lnTo>
                  <a:lnTo>
                    <a:pt x="32" y="284"/>
                  </a:lnTo>
                  <a:lnTo>
                    <a:pt x="32" y="284"/>
                  </a:lnTo>
                  <a:lnTo>
                    <a:pt x="78" y="263"/>
                  </a:lnTo>
                  <a:lnTo>
                    <a:pt x="127" y="244"/>
                  </a:lnTo>
                  <a:lnTo>
                    <a:pt x="176" y="224"/>
                  </a:lnTo>
                  <a:lnTo>
                    <a:pt x="228" y="206"/>
                  </a:lnTo>
                  <a:lnTo>
                    <a:pt x="279" y="188"/>
                  </a:lnTo>
                  <a:lnTo>
                    <a:pt x="332" y="171"/>
                  </a:lnTo>
                  <a:lnTo>
                    <a:pt x="386" y="155"/>
                  </a:lnTo>
                  <a:lnTo>
                    <a:pt x="441" y="139"/>
                  </a:lnTo>
                  <a:lnTo>
                    <a:pt x="498" y="126"/>
                  </a:lnTo>
                  <a:lnTo>
                    <a:pt x="554" y="112"/>
                  </a:lnTo>
                  <a:lnTo>
                    <a:pt x="613" y="98"/>
                  </a:lnTo>
                  <a:lnTo>
                    <a:pt x="672" y="85"/>
                  </a:lnTo>
                  <a:lnTo>
                    <a:pt x="733" y="74"/>
                  </a:lnTo>
                  <a:lnTo>
                    <a:pt x="794" y="64"/>
                  </a:lnTo>
                  <a:lnTo>
                    <a:pt x="857" y="54"/>
                  </a:lnTo>
                  <a:lnTo>
                    <a:pt x="920" y="44"/>
                  </a:lnTo>
                  <a:lnTo>
                    <a:pt x="920" y="44"/>
                  </a:lnTo>
                  <a:lnTo>
                    <a:pt x="1023" y="31"/>
                  </a:lnTo>
                  <a:lnTo>
                    <a:pt x="1120" y="21"/>
                  </a:lnTo>
                  <a:lnTo>
                    <a:pt x="1212" y="14"/>
                  </a:lnTo>
                  <a:lnTo>
                    <a:pt x="1297" y="8"/>
                  </a:lnTo>
                  <a:lnTo>
                    <a:pt x="1375" y="4"/>
                  </a:lnTo>
                  <a:lnTo>
                    <a:pt x="1443" y="1"/>
                  </a:lnTo>
                  <a:lnTo>
                    <a:pt x="1503" y="0"/>
                  </a:lnTo>
                  <a:lnTo>
                    <a:pt x="1552" y="0"/>
                  </a:lnTo>
                  <a:lnTo>
                    <a:pt x="1552" y="0"/>
                  </a:lnTo>
                  <a:lnTo>
                    <a:pt x="1612" y="1"/>
                  </a:lnTo>
                  <a:lnTo>
                    <a:pt x="1634" y="1"/>
                  </a:lnTo>
                  <a:lnTo>
                    <a:pt x="1634" y="1"/>
                  </a:lnTo>
                  <a:lnTo>
                    <a:pt x="1635" y="1"/>
                  </a:lnTo>
                  <a:lnTo>
                    <a:pt x="1635" y="1"/>
                  </a:lnTo>
                  <a:lnTo>
                    <a:pt x="1708" y="8"/>
                  </a:lnTo>
                  <a:lnTo>
                    <a:pt x="1779" y="16"/>
                  </a:lnTo>
                  <a:lnTo>
                    <a:pt x="1850" y="25"/>
                  </a:lnTo>
                  <a:lnTo>
                    <a:pt x="1919" y="35"/>
                  </a:lnTo>
                  <a:lnTo>
                    <a:pt x="1987" y="46"/>
                  </a:lnTo>
                  <a:lnTo>
                    <a:pt x="2053" y="58"/>
                  </a:lnTo>
                  <a:lnTo>
                    <a:pt x="2119" y="72"/>
                  </a:lnTo>
                  <a:lnTo>
                    <a:pt x="2183" y="85"/>
                  </a:lnTo>
                  <a:lnTo>
                    <a:pt x="2246" y="100"/>
                  </a:lnTo>
                  <a:lnTo>
                    <a:pt x="2307" y="117"/>
                  </a:lnTo>
                  <a:lnTo>
                    <a:pt x="2366" y="133"/>
                  </a:lnTo>
                  <a:lnTo>
                    <a:pt x="2425" y="152"/>
                  </a:lnTo>
                  <a:lnTo>
                    <a:pt x="2483" y="171"/>
                  </a:lnTo>
                  <a:lnTo>
                    <a:pt x="2538" y="191"/>
                  </a:lnTo>
                  <a:lnTo>
                    <a:pt x="2594" y="212"/>
                  </a:lnTo>
                  <a:lnTo>
                    <a:pt x="2647" y="235"/>
                  </a:lnTo>
                  <a:lnTo>
                    <a:pt x="2647" y="235"/>
                  </a:lnTo>
                  <a:lnTo>
                    <a:pt x="2689" y="254"/>
                  </a:lnTo>
                  <a:lnTo>
                    <a:pt x="2731" y="274"/>
                  </a:lnTo>
                  <a:lnTo>
                    <a:pt x="2770" y="293"/>
                  </a:lnTo>
                  <a:lnTo>
                    <a:pt x="2806" y="313"/>
                  </a:lnTo>
                  <a:lnTo>
                    <a:pt x="2841" y="332"/>
                  </a:lnTo>
                  <a:lnTo>
                    <a:pt x="2875" y="351"/>
                  </a:lnTo>
                  <a:lnTo>
                    <a:pt x="2937" y="389"/>
                  </a:lnTo>
                  <a:lnTo>
                    <a:pt x="2992" y="426"/>
                  </a:lnTo>
                  <a:lnTo>
                    <a:pt x="3042" y="460"/>
                  </a:lnTo>
                  <a:lnTo>
                    <a:pt x="3085" y="492"/>
                  </a:lnTo>
                  <a:lnTo>
                    <a:pt x="3124" y="521"/>
                  </a:lnTo>
                  <a:lnTo>
                    <a:pt x="3124" y="521"/>
                  </a:lnTo>
                  <a:lnTo>
                    <a:pt x="3169" y="555"/>
                  </a:lnTo>
                  <a:lnTo>
                    <a:pt x="3169" y="555"/>
                  </a:lnTo>
                  <a:lnTo>
                    <a:pt x="3171" y="557"/>
                  </a:lnTo>
                  <a:lnTo>
                    <a:pt x="3171" y="557"/>
                  </a:lnTo>
                  <a:lnTo>
                    <a:pt x="3171" y="557"/>
                  </a:lnTo>
                  <a:lnTo>
                    <a:pt x="3171" y="557"/>
                  </a:lnTo>
                  <a:lnTo>
                    <a:pt x="3210" y="587"/>
                  </a:lnTo>
                  <a:lnTo>
                    <a:pt x="3237" y="609"/>
                  </a:lnTo>
                  <a:lnTo>
                    <a:pt x="3255" y="626"/>
                  </a:lnTo>
                  <a:lnTo>
                    <a:pt x="3262" y="633"/>
                  </a:lnTo>
                  <a:lnTo>
                    <a:pt x="3262" y="633"/>
                  </a:lnTo>
                  <a:lnTo>
                    <a:pt x="3270" y="639"/>
                  </a:lnTo>
                  <a:lnTo>
                    <a:pt x="3276" y="647"/>
                  </a:lnTo>
                  <a:lnTo>
                    <a:pt x="3280" y="655"/>
                  </a:lnTo>
                  <a:lnTo>
                    <a:pt x="3282" y="662"/>
                  </a:lnTo>
                  <a:lnTo>
                    <a:pt x="3282" y="662"/>
                  </a:lnTo>
                  <a:lnTo>
                    <a:pt x="3285" y="670"/>
                  </a:lnTo>
                  <a:lnTo>
                    <a:pt x="3286" y="676"/>
                  </a:lnTo>
                  <a:lnTo>
                    <a:pt x="3285" y="681"/>
                  </a:lnTo>
                  <a:lnTo>
                    <a:pt x="3284" y="686"/>
                  </a:lnTo>
                  <a:lnTo>
                    <a:pt x="3284" y="686"/>
                  </a:lnTo>
                  <a:lnTo>
                    <a:pt x="3280" y="693"/>
                  </a:lnTo>
                  <a:lnTo>
                    <a:pt x="3275" y="700"/>
                  </a:lnTo>
                  <a:lnTo>
                    <a:pt x="3269" y="706"/>
                  </a:lnTo>
                  <a:lnTo>
                    <a:pt x="3261" y="710"/>
                  </a:lnTo>
                  <a:lnTo>
                    <a:pt x="3247" y="717"/>
                  </a:lnTo>
                  <a:lnTo>
                    <a:pt x="3238" y="720"/>
                  </a:lnTo>
                  <a:lnTo>
                    <a:pt x="3238" y="720"/>
                  </a:lnTo>
                  <a:lnTo>
                    <a:pt x="3237" y="721"/>
                  </a:lnTo>
                  <a:lnTo>
                    <a:pt x="3237" y="721"/>
                  </a:lnTo>
                  <a:lnTo>
                    <a:pt x="3218" y="724"/>
                  </a:lnTo>
                  <a:lnTo>
                    <a:pt x="3173" y="727"/>
                  </a:lnTo>
                  <a:lnTo>
                    <a:pt x="3108" y="732"/>
                  </a:lnTo>
                  <a:lnTo>
                    <a:pt x="3071" y="734"/>
                  </a:lnTo>
                  <a:lnTo>
                    <a:pt x="3034" y="735"/>
                  </a:lnTo>
                  <a:lnTo>
                    <a:pt x="3034" y="735"/>
                  </a:lnTo>
                  <a:close/>
                  <a:moveTo>
                    <a:pt x="87" y="417"/>
                  </a:moveTo>
                  <a:lnTo>
                    <a:pt x="2828" y="660"/>
                  </a:lnTo>
                  <a:lnTo>
                    <a:pt x="2828" y="660"/>
                  </a:lnTo>
                  <a:lnTo>
                    <a:pt x="2833" y="661"/>
                  </a:lnTo>
                  <a:lnTo>
                    <a:pt x="2838" y="665"/>
                  </a:lnTo>
                  <a:lnTo>
                    <a:pt x="2838" y="665"/>
                  </a:lnTo>
                  <a:lnTo>
                    <a:pt x="2841" y="671"/>
                  </a:lnTo>
                  <a:lnTo>
                    <a:pt x="2848" y="675"/>
                  </a:lnTo>
                  <a:lnTo>
                    <a:pt x="2854" y="680"/>
                  </a:lnTo>
                  <a:lnTo>
                    <a:pt x="2861" y="685"/>
                  </a:lnTo>
                  <a:lnTo>
                    <a:pt x="2880" y="692"/>
                  </a:lnTo>
                  <a:lnTo>
                    <a:pt x="2903" y="699"/>
                  </a:lnTo>
                  <a:lnTo>
                    <a:pt x="2931" y="704"/>
                  </a:lnTo>
                  <a:lnTo>
                    <a:pt x="2961" y="707"/>
                  </a:lnTo>
                  <a:lnTo>
                    <a:pt x="2996" y="709"/>
                  </a:lnTo>
                  <a:lnTo>
                    <a:pt x="3034" y="710"/>
                  </a:lnTo>
                  <a:lnTo>
                    <a:pt x="3034" y="710"/>
                  </a:lnTo>
                  <a:lnTo>
                    <a:pt x="3034" y="710"/>
                  </a:lnTo>
                  <a:lnTo>
                    <a:pt x="3034" y="710"/>
                  </a:lnTo>
                  <a:lnTo>
                    <a:pt x="3069" y="710"/>
                  </a:lnTo>
                  <a:lnTo>
                    <a:pt x="3103" y="707"/>
                  </a:lnTo>
                  <a:lnTo>
                    <a:pt x="3164" y="704"/>
                  </a:lnTo>
                  <a:lnTo>
                    <a:pt x="3210" y="699"/>
                  </a:lnTo>
                  <a:lnTo>
                    <a:pt x="3232" y="696"/>
                  </a:lnTo>
                  <a:lnTo>
                    <a:pt x="3232" y="696"/>
                  </a:lnTo>
                  <a:lnTo>
                    <a:pt x="3241" y="692"/>
                  </a:lnTo>
                  <a:lnTo>
                    <a:pt x="3250" y="688"/>
                  </a:lnTo>
                  <a:lnTo>
                    <a:pt x="3256" y="682"/>
                  </a:lnTo>
                  <a:lnTo>
                    <a:pt x="3259" y="680"/>
                  </a:lnTo>
                  <a:lnTo>
                    <a:pt x="3261" y="677"/>
                  </a:lnTo>
                  <a:lnTo>
                    <a:pt x="3261" y="677"/>
                  </a:lnTo>
                  <a:lnTo>
                    <a:pt x="3261" y="676"/>
                  </a:lnTo>
                  <a:lnTo>
                    <a:pt x="3260" y="673"/>
                  </a:lnTo>
                  <a:lnTo>
                    <a:pt x="3260" y="673"/>
                  </a:lnTo>
                  <a:lnTo>
                    <a:pt x="3260" y="673"/>
                  </a:lnTo>
                  <a:lnTo>
                    <a:pt x="3260" y="673"/>
                  </a:lnTo>
                  <a:lnTo>
                    <a:pt x="3257" y="668"/>
                  </a:lnTo>
                  <a:lnTo>
                    <a:pt x="3257" y="668"/>
                  </a:lnTo>
                  <a:lnTo>
                    <a:pt x="3256" y="663"/>
                  </a:lnTo>
                  <a:lnTo>
                    <a:pt x="3254" y="660"/>
                  </a:lnTo>
                  <a:lnTo>
                    <a:pt x="3246" y="652"/>
                  </a:lnTo>
                  <a:lnTo>
                    <a:pt x="3246" y="652"/>
                  </a:lnTo>
                  <a:lnTo>
                    <a:pt x="3245" y="651"/>
                  </a:lnTo>
                  <a:lnTo>
                    <a:pt x="3245" y="651"/>
                  </a:lnTo>
                  <a:lnTo>
                    <a:pt x="3240" y="646"/>
                  </a:lnTo>
                  <a:lnTo>
                    <a:pt x="3223" y="631"/>
                  </a:lnTo>
                  <a:lnTo>
                    <a:pt x="3194" y="607"/>
                  </a:lnTo>
                  <a:lnTo>
                    <a:pt x="3155" y="577"/>
                  </a:lnTo>
                  <a:lnTo>
                    <a:pt x="3155" y="577"/>
                  </a:lnTo>
                  <a:lnTo>
                    <a:pt x="3154" y="577"/>
                  </a:lnTo>
                  <a:lnTo>
                    <a:pt x="3154" y="577"/>
                  </a:lnTo>
                  <a:lnTo>
                    <a:pt x="3154" y="577"/>
                  </a:lnTo>
                  <a:lnTo>
                    <a:pt x="3154" y="577"/>
                  </a:lnTo>
                  <a:lnTo>
                    <a:pt x="3109" y="541"/>
                  </a:lnTo>
                  <a:lnTo>
                    <a:pt x="3109" y="541"/>
                  </a:lnTo>
                  <a:lnTo>
                    <a:pt x="3071" y="513"/>
                  </a:lnTo>
                  <a:lnTo>
                    <a:pt x="3027" y="481"/>
                  </a:lnTo>
                  <a:lnTo>
                    <a:pt x="2978" y="446"/>
                  </a:lnTo>
                  <a:lnTo>
                    <a:pt x="2924" y="411"/>
                  </a:lnTo>
                  <a:lnTo>
                    <a:pt x="2863" y="373"/>
                  </a:lnTo>
                  <a:lnTo>
                    <a:pt x="2829" y="353"/>
                  </a:lnTo>
                  <a:lnTo>
                    <a:pt x="2795" y="334"/>
                  </a:lnTo>
                  <a:lnTo>
                    <a:pt x="2757" y="315"/>
                  </a:lnTo>
                  <a:lnTo>
                    <a:pt x="2719" y="296"/>
                  </a:lnTo>
                  <a:lnTo>
                    <a:pt x="2679" y="276"/>
                  </a:lnTo>
                  <a:lnTo>
                    <a:pt x="2637" y="258"/>
                  </a:lnTo>
                  <a:lnTo>
                    <a:pt x="2637" y="258"/>
                  </a:lnTo>
                  <a:lnTo>
                    <a:pt x="2584" y="236"/>
                  </a:lnTo>
                  <a:lnTo>
                    <a:pt x="2530" y="215"/>
                  </a:lnTo>
                  <a:lnTo>
                    <a:pt x="2474" y="195"/>
                  </a:lnTo>
                  <a:lnTo>
                    <a:pt x="2418" y="176"/>
                  </a:lnTo>
                  <a:lnTo>
                    <a:pt x="2359" y="158"/>
                  </a:lnTo>
                  <a:lnTo>
                    <a:pt x="2300" y="141"/>
                  </a:lnTo>
                  <a:lnTo>
                    <a:pt x="2239" y="124"/>
                  </a:lnTo>
                  <a:lnTo>
                    <a:pt x="2177" y="109"/>
                  </a:lnTo>
                  <a:lnTo>
                    <a:pt x="2114" y="95"/>
                  </a:lnTo>
                  <a:lnTo>
                    <a:pt x="2048" y="83"/>
                  </a:lnTo>
                  <a:lnTo>
                    <a:pt x="1982" y="70"/>
                  </a:lnTo>
                  <a:lnTo>
                    <a:pt x="1915" y="60"/>
                  </a:lnTo>
                  <a:lnTo>
                    <a:pt x="1846" y="50"/>
                  </a:lnTo>
                  <a:lnTo>
                    <a:pt x="1777" y="41"/>
                  </a:lnTo>
                  <a:lnTo>
                    <a:pt x="1705" y="33"/>
                  </a:lnTo>
                  <a:lnTo>
                    <a:pt x="1632" y="26"/>
                  </a:lnTo>
                  <a:lnTo>
                    <a:pt x="1632" y="26"/>
                  </a:lnTo>
                  <a:lnTo>
                    <a:pt x="1610" y="25"/>
                  </a:lnTo>
                  <a:lnTo>
                    <a:pt x="1552" y="25"/>
                  </a:lnTo>
                  <a:lnTo>
                    <a:pt x="1552" y="25"/>
                  </a:lnTo>
                  <a:lnTo>
                    <a:pt x="1503" y="25"/>
                  </a:lnTo>
                  <a:lnTo>
                    <a:pt x="1444" y="26"/>
                  </a:lnTo>
                  <a:lnTo>
                    <a:pt x="1375" y="29"/>
                  </a:lnTo>
                  <a:lnTo>
                    <a:pt x="1298" y="33"/>
                  </a:lnTo>
                  <a:lnTo>
                    <a:pt x="1214" y="39"/>
                  </a:lnTo>
                  <a:lnTo>
                    <a:pt x="1122" y="46"/>
                  </a:lnTo>
                  <a:lnTo>
                    <a:pt x="1026" y="57"/>
                  </a:lnTo>
                  <a:lnTo>
                    <a:pt x="924" y="69"/>
                  </a:lnTo>
                  <a:lnTo>
                    <a:pt x="924" y="69"/>
                  </a:lnTo>
                  <a:lnTo>
                    <a:pt x="861" y="78"/>
                  </a:lnTo>
                  <a:lnTo>
                    <a:pt x="799" y="88"/>
                  </a:lnTo>
                  <a:lnTo>
                    <a:pt x="738" y="99"/>
                  </a:lnTo>
                  <a:lnTo>
                    <a:pt x="679" y="111"/>
                  </a:lnTo>
                  <a:lnTo>
                    <a:pt x="620" y="123"/>
                  </a:lnTo>
                  <a:lnTo>
                    <a:pt x="562" y="136"/>
                  </a:lnTo>
                  <a:lnTo>
                    <a:pt x="505" y="149"/>
                  </a:lnTo>
                  <a:lnTo>
                    <a:pt x="450" y="163"/>
                  </a:lnTo>
                  <a:lnTo>
                    <a:pt x="395" y="178"/>
                  </a:lnTo>
                  <a:lnTo>
                    <a:pt x="342" y="195"/>
                  </a:lnTo>
                  <a:lnTo>
                    <a:pt x="289" y="211"/>
                  </a:lnTo>
                  <a:lnTo>
                    <a:pt x="238" y="229"/>
                  </a:lnTo>
                  <a:lnTo>
                    <a:pt x="187" y="247"/>
                  </a:lnTo>
                  <a:lnTo>
                    <a:pt x="138" y="266"/>
                  </a:lnTo>
                  <a:lnTo>
                    <a:pt x="91" y="285"/>
                  </a:lnTo>
                  <a:lnTo>
                    <a:pt x="44" y="305"/>
                  </a:lnTo>
                  <a:lnTo>
                    <a:pt x="44" y="305"/>
                  </a:lnTo>
                  <a:lnTo>
                    <a:pt x="39" y="312"/>
                  </a:lnTo>
                  <a:lnTo>
                    <a:pt x="32" y="322"/>
                  </a:lnTo>
                  <a:lnTo>
                    <a:pt x="29" y="328"/>
                  </a:lnTo>
                  <a:lnTo>
                    <a:pt x="27" y="334"/>
                  </a:lnTo>
                  <a:lnTo>
                    <a:pt x="25" y="342"/>
                  </a:lnTo>
                  <a:lnTo>
                    <a:pt x="25" y="351"/>
                  </a:lnTo>
                  <a:lnTo>
                    <a:pt x="25" y="351"/>
                  </a:lnTo>
                  <a:lnTo>
                    <a:pt x="28" y="358"/>
                  </a:lnTo>
                  <a:lnTo>
                    <a:pt x="30" y="367"/>
                  </a:lnTo>
                  <a:lnTo>
                    <a:pt x="37" y="376"/>
                  </a:lnTo>
                  <a:lnTo>
                    <a:pt x="43" y="384"/>
                  </a:lnTo>
                  <a:lnTo>
                    <a:pt x="52" y="392"/>
                  </a:lnTo>
                  <a:lnTo>
                    <a:pt x="62" y="401"/>
                  </a:lnTo>
                  <a:lnTo>
                    <a:pt x="73" y="408"/>
                  </a:lnTo>
                  <a:lnTo>
                    <a:pt x="87" y="417"/>
                  </a:lnTo>
                  <a:lnTo>
                    <a:pt x="87" y="417"/>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37" name="Freeform 94"/>
            <p:cNvSpPr>
              <a:spLocks noEditPoints="1"/>
            </p:cNvSpPr>
            <p:nvPr/>
          </p:nvSpPr>
          <p:spPr bwMode="auto">
            <a:xfrm>
              <a:off x="6960349" y="2412386"/>
              <a:ext cx="505896" cy="244788"/>
            </a:xfrm>
            <a:custGeom>
              <a:avLst/>
              <a:gdLst>
                <a:gd name="T0" fmla="*/ 250 w 496"/>
                <a:gd name="T1" fmla="*/ 242 h 242"/>
                <a:gd name="T2" fmla="*/ 172 w 496"/>
                <a:gd name="T3" fmla="*/ 238 h 242"/>
                <a:gd name="T4" fmla="*/ 85 w 496"/>
                <a:gd name="T5" fmla="*/ 220 h 242"/>
                <a:gd name="T6" fmla="*/ 56 w 496"/>
                <a:gd name="T7" fmla="*/ 206 h 242"/>
                <a:gd name="T8" fmla="*/ 37 w 496"/>
                <a:gd name="T9" fmla="*/ 189 h 242"/>
                <a:gd name="T10" fmla="*/ 18 w 496"/>
                <a:gd name="T11" fmla="*/ 157 h 242"/>
                <a:gd name="T12" fmla="*/ 3 w 496"/>
                <a:gd name="T13" fmla="*/ 114 h 242"/>
                <a:gd name="T14" fmla="*/ 0 w 496"/>
                <a:gd name="T15" fmla="*/ 76 h 242"/>
                <a:gd name="T16" fmla="*/ 6 w 496"/>
                <a:gd name="T17" fmla="*/ 31 h 242"/>
                <a:gd name="T18" fmla="*/ 8 w 496"/>
                <a:gd name="T19" fmla="*/ 23 h 242"/>
                <a:gd name="T20" fmla="*/ 40 w 496"/>
                <a:gd name="T21" fmla="*/ 13 h 242"/>
                <a:gd name="T22" fmla="*/ 134 w 496"/>
                <a:gd name="T23" fmla="*/ 0 h 242"/>
                <a:gd name="T24" fmla="*/ 184 w 496"/>
                <a:gd name="T25" fmla="*/ 3 h 242"/>
                <a:gd name="T26" fmla="*/ 251 w 496"/>
                <a:gd name="T27" fmla="*/ 17 h 242"/>
                <a:gd name="T28" fmla="*/ 309 w 496"/>
                <a:gd name="T29" fmla="*/ 37 h 242"/>
                <a:gd name="T30" fmla="*/ 382 w 496"/>
                <a:gd name="T31" fmla="*/ 75 h 242"/>
                <a:gd name="T32" fmla="*/ 383 w 496"/>
                <a:gd name="T33" fmla="*/ 75 h 242"/>
                <a:gd name="T34" fmla="*/ 468 w 496"/>
                <a:gd name="T35" fmla="*/ 150 h 242"/>
                <a:gd name="T36" fmla="*/ 492 w 496"/>
                <a:gd name="T37" fmla="*/ 176 h 242"/>
                <a:gd name="T38" fmla="*/ 496 w 496"/>
                <a:gd name="T39" fmla="*/ 191 h 242"/>
                <a:gd name="T40" fmla="*/ 491 w 496"/>
                <a:gd name="T41" fmla="*/ 204 h 242"/>
                <a:gd name="T42" fmla="*/ 472 w 496"/>
                <a:gd name="T43" fmla="*/ 219 h 242"/>
                <a:gd name="T44" fmla="*/ 453 w 496"/>
                <a:gd name="T45" fmla="*/ 228 h 242"/>
                <a:gd name="T46" fmla="*/ 434 w 496"/>
                <a:gd name="T47" fmla="*/ 230 h 242"/>
                <a:gd name="T48" fmla="*/ 287 w 496"/>
                <a:gd name="T49" fmla="*/ 240 h 242"/>
                <a:gd name="T50" fmla="*/ 18 w 496"/>
                <a:gd name="T51" fmla="*/ 33 h 242"/>
                <a:gd name="T52" fmla="*/ 13 w 496"/>
                <a:gd name="T53" fmla="*/ 52 h 242"/>
                <a:gd name="T54" fmla="*/ 15 w 496"/>
                <a:gd name="T55" fmla="*/ 106 h 242"/>
                <a:gd name="T56" fmla="*/ 26 w 496"/>
                <a:gd name="T57" fmla="*/ 142 h 242"/>
                <a:gd name="T58" fmla="*/ 49 w 496"/>
                <a:gd name="T59" fmla="*/ 181 h 242"/>
                <a:gd name="T60" fmla="*/ 59 w 496"/>
                <a:gd name="T61" fmla="*/ 193 h 242"/>
                <a:gd name="T62" fmla="*/ 93 w 496"/>
                <a:gd name="T63" fmla="*/ 210 h 242"/>
                <a:gd name="T64" fmla="*/ 175 w 496"/>
                <a:gd name="T65" fmla="*/ 227 h 242"/>
                <a:gd name="T66" fmla="*/ 250 w 496"/>
                <a:gd name="T67" fmla="*/ 229 h 242"/>
                <a:gd name="T68" fmla="*/ 286 w 496"/>
                <a:gd name="T69" fmla="*/ 228 h 242"/>
                <a:gd name="T70" fmla="*/ 428 w 496"/>
                <a:gd name="T71" fmla="*/ 218 h 242"/>
                <a:gd name="T72" fmla="*/ 457 w 496"/>
                <a:gd name="T73" fmla="*/ 213 h 242"/>
                <a:gd name="T74" fmla="*/ 481 w 496"/>
                <a:gd name="T75" fmla="*/ 196 h 242"/>
                <a:gd name="T76" fmla="*/ 483 w 496"/>
                <a:gd name="T77" fmla="*/ 189 h 242"/>
                <a:gd name="T78" fmla="*/ 481 w 496"/>
                <a:gd name="T79" fmla="*/ 184 h 242"/>
                <a:gd name="T80" fmla="*/ 424 w 496"/>
                <a:gd name="T81" fmla="*/ 127 h 242"/>
                <a:gd name="T82" fmla="*/ 374 w 496"/>
                <a:gd name="T83" fmla="*/ 85 h 242"/>
                <a:gd name="T84" fmla="*/ 300 w 496"/>
                <a:gd name="T85" fmla="*/ 47 h 242"/>
                <a:gd name="T86" fmla="*/ 224 w 496"/>
                <a:gd name="T87" fmla="*/ 23 h 242"/>
                <a:gd name="T88" fmla="*/ 158 w 496"/>
                <a:gd name="T89" fmla="*/ 13 h 242"/>
                <a:gd name="T90" fmla="*/ 104 w 496"/>
                <a:gd name="T91" fmla="*/ 14 h 242"/>
                <a:gd name="T92" fmla="*/ 18 w 496"/>
                <a:gd name="T93" fmla="*/ 33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96" h="242">
                  <a:moveTo>
                    <a:pt x="250" y="242"/>
                  </a:moveTo>
                  <a:lnTo>
                    <a:pt x="250" y="242"/>
                  </a:lnTo>
                  <a:lnTo>
                    <a:pt x="250" y="242"/>
                  </a:lnTo>
                  <a:lnTo>
                    <a:pt x="250" y="242"/>
                  </a:lnTo>
                  <a:lnTo>
                    <a:pt x="208" y="240"/>
                  </a:lnTo>
                  <a:lnTo>
                    <a:pt x="172" y="238"/>
                  </a:lnTo>
                  <a:lnTo>
                    <a:pt x="138" y="234"/>
                  </a:lnTo>
                  <a:lnTo>
                    <a:pt x="110" y="228"/>
                  </a:lnTo>
                  <a:lnTo>
                    <a:pt x="85" y="220"/>
                  </a:lnTo>
                  <a:lnTo>
                    <a:pt x="75" y="217"/>
                  </a:lnTo>
                  <a:lnTo>
                    <a:pt x="65" y="212"/>
                  </a:lnTo>
                  <a:lnTo>
                    <a:pt x="56" y="206"/>
                  </a:lnTo>
                  <a:lnTo>
                    <a:pt x="50" y="201"/>
                  </a:lnTo>
                  <a:lnTo>
                    <a:pt x="44" y="195"/>
                  </a:lnTo>
                  <a:lnTo>
                    <a:pt x="37" y="189"/>
                  </a:lnTo>
                  <a:lnTo>
                    <a:pt x="37" y="189"/>
                  </a:lnTo>
                  <a:lnTo>
                    <a:pt x="27" y="173"/>
                  </a:lnTo>
                  <a:lnTo>
                    <a:pt x="18" y="157"/>
                  </a:lnTo>
                  <a:lnTo>
                    <a:pt x="12" y="142"/>
                  </a:lnTo>
                  <a:lnTo>
                    <a:pt x="7" y="127"/>
                  </a:lnTo>
                  <a:lnTo>
                    <a:pt x="3" y="114"/>
                  </a:lnTo>
                  <a:lnTo>
                    <a:pt x="1" y="100"/>
                  </a:lnTo>
                  <a:lnTo>
                    <a:pt x="0" y="87"/>
                  </a:lnTo>
                  <a:lnTo>
                    <a:pt x="0" y="76"/>
                  </a:lnTo>
                  <a:lnTo>
                    <a:pt x="1" y="56"/>
                  </a:lnTo>
                  <a:lnTo>
                    <a:pt x="3" y="41"/>
                  </a:lnTo>
                  <a:lnTo>
                    <a:pt x="6" y="31"/>
                  </a:lnTo>
                  <a:lnTo>
                    <a:pt x="7" y="26"/>
                  </a:lnTo>
                  <a:lnTo>
                    <a:pt x="7" y="26"/>
                  </a:lnTo>
                  <a:lnTo>
                    <a:pt x="8" y="23"/>
                  </a:lnTo>
                  <a:lnTo>
                    <a:pt x="11" y="22"/>
                  </a:lnTo>
                  <a:lnTo>
                    <a:pt x="11" y="22"/>
                  </a:lnTo>
                  <a:lnTo>
                    <a:pt x="40" y="13"/>
                  </a:lnTo>
                  <a:lnTo>
                    <a:pt x="71" y="5"/>
                  </a:lnTo>
                  <a:lnTo>
                    <a:pt x="103" y="2"/>
                  </a:lnTo>
                  <a:lnTo>
                    <a:pt x="134" y="0"/>
                  </a:lnTo>
                  <a:lnTo>
                    <a:pt x="134" y="0"/>
                  </a:lnTo>
                  <a:lnTo>
                    <a:pt x="159" y="0"/>
                  </a:lnTo>
                  <a:lnTo>
                    <a:pt x="184" y="3"/>
                  </a:lnTo>
                  <a:lnTo>
                    <a:pt x="207" y="7"/>
                  </a:lnTo>
                  <a:lnTo>
                    <a:pt x="229" y="12"/>
                  </a:lnTo>
                  <a:lnTo>
                    <a:pt x="251" y="17"/>
                  </a:lnTo>
                  <a:lnTo>
                    <a:pt x="272" y="23"/>
                  </a:lnTo>
                  <a:lnTo>
                    <a:pt x="291" y="29"/>
                  </a:lnTo>
                  <a:lnTo>
                    <a:pt x="309" y="37"/>
                  </a:lnTo>
                  <a:lnTo>
                    <a:pt x="339" y="51"/>
                  </a:lnTo>
                  <a:lnTo>
                    <a:pt x="361" y="62"/>
                  </a:lnTo>
                  <a:lnTo>
                    <a:pt x="382" y="75"/>
                  </a:lnTo>
                  <a:lnTo>
                    <a:pt x="382" y="75"/>
                  </a:lnTo>
                  <a:lnTo>
                    <a:pt x="383" y="75"/>
                  </a:lnTo>
                  <a:lnTo>
                    <a:pt x="383" y="75"/>
                  </a:lnTo>
                  <a:lnTo>
                    <a:pt x="399" y="88"/>
                  </a:lnTo>
                  <a:lnTo>
                    <a:pt x="432" y="117"/>
                  </a:lnTo>
                  <a:lnTo>
                    <a:pt x="468" y="150"/>
                  </a:lnTo>
                  <a:lnTo>
                    <a:pt x="482" y="165"/>
                  </a:lnTo>
                  <a:lnTo>
                    <a:pt x="492" y="176"/>
                  </a:lnTo>
                  <a:lnTo>
                    <a:pt x="492" y="176"/>
                  </a:lnTo>
                  <a:lnTo>
                    <a:pt x="495" y="181"/>
                  </a:lnTo>
                  <a:lnTo>
                    <a:pt x="496" y="186"/>
                  </a:lnTo>
                  <a:lnTo>
                    <a:pt x="496" y="191"/>
                  </a:lnTo>
                  <a:lnTo>
                    <a:pt x="495" y="196"/>
                  </a:lnTo>
                  <a:lnTo>
                    <a:pt x="495" y="196"/>
                  </a:lnTo>
                  <a:lnTo>
                    <a:pt x="491" y="204"/>
                  </a:lnTo>
                  <a:lnTo>
                    <a:pt x="486" y="209"/>
                  </a:lnTo>
                  <a:lnTo>
                    <a:pt x="480" y="214"/>
                  </a:lnTo>
                  <a:lnTo>
                    <a:pt x="472" y="219"/>
                  </a:lnTo>
                  <a:lnTo>
                    <a:pt x="459" y="225"/>
                  </a:lnTo>
                  <a:lnTo>
                    <a:pt x="453" y="228"/>
                  </a:lnTo>
                  <a:lnTo>
                    <a:pt x="453" y="228"/>
                  </a:lnTo>
                  <a:lnTo>
                    <a:pt x="452" y="228"/>
                  </a:lnTo>
                  <a:lnTo>
                    <a:pt x="452" y="228"/>
                  </a:lnTo>
                  <a:lnTo>
                    <a:pt x="434" y="230"/>
                  </a:lnTo>
                  <a:lnTo>
                    <a:pt x="388" y="234"/>
                  </a:lnTo>
                  <a:lnTo>
                    <a:pt x="324" y="239"/>
                  </a:lnTo>
                  <a:lnTo>
                    <a:pt x="287" y="240"/>
                  </a:lnTo>
                  <a:lnTo>
                    <a:pt x="250" y="242"/>
                  </a:lnTo>
                  <a:lnTo>
                    <a:pt x="250" y="242"/>
                  </a:lnTo>
                  <a:close/>
                  <a:moveTo>
                    <a:pt x="18" y="33"/>
                  </a:moveTo>
                  <a:lnTo>
                    <a:pt x="18" y="33"/>
                  </a:lnTo>
                  <a:lnTo>
                    <a:pt x="16" y="41"/>
                  </a:lnTo>
                  <a:lnTo>
                    <a:pt x="13" y="52"/>
                  </a:lnTo>
                  <a:lnTo>
                    <a:pt x="12" y="67"/>
                  </a:lnTo>
                  <a:lnTo>
                    <a:pt x="12" y="85"/>
                  </a:lnTo>
                  <a:lnTo>
                    <a:pt x="15" y="106"/>
                  </a:lnTo>
                  <a:lnTo>
                    <a:pt x="17" y="117"/>
                  </a:lnTo>
                  <a:lnTo>
                    <a:pt x="21" y="130"/>
                  </a:lnTo>
                  <a:lnTo>
                    <a:pt x="26" y="142"/>
                  </a:lnTo>
                  <a:lnTo>
                    <a:pt x="32" y="155"/>
                  </a:lnTo>
                  <a:lnTo>
                    <a:pt x="40" y="169"/>
                  </a:lnTo>
                  <a:lnTo>
                    <a:pt x="49" y="181"/>
                  </a:lnTo>
                  <a:lnTo>
                    <a:pt x="49" y="181"/>
                  </a:lnTo>
                  <a:lnTo>
                    <a:pt x="52" y="188"/>
                  </a:lnTo>
                  <a:lnTo>
                    <a:pt x="59" y="193"/>
                  </a:lnTo>
                  <a:lnTo>
                    <a:pt x="65" y="198"/>
                  </a:lnTo>
                  <a:lnTo>
                    <a:pt x="74" y="203"/>
                  </a:lnTo>
                  <a:lnTo>
                    <a:pt x="93" y="210"/>
                  </a:lnTo>
                  <a:lnTo>
                    <a:pt x="116" y="217"/>
                  </a:lnTo>
                  <a:lnTo>
                    <a:pt x="143" y="222"/>
                  </a:lnTo>
                  <a:lnTo>
                    <a:pt x="175" y="227"/>
                  </a:lnTo>
                  <a:lnTo>
                    <a:pt x="211" y="228"/>
                  </a:lnTo>
                  <a:lnTo>
                    <a:pt x="250" y="229"/>
                  </a:lnTo>
                  <a:lnTo>
                    <a:pt x="250" y="229"/>
                  </a:lnTo>
                  <a:lnTo>
                    <a:pt x="250" y="229"/>
                  </a:lnTo>
                  <a:lnTo>
                    <a:pt x="250" y="229"/>
                  </a:lnTo>
                  <a:lnTo>
                    <a:pt x="286" y="228"/>
                  </a:lnTo>
                  <a:lnTo>
                    <a:pt x="321" y="227"/>
                  </a:lnTo>
                  <a:lnTo>
                    <a:pt x="383" y="223"/>
                  </a:lnTo>
                  <a:lnTo>
                    <a:pt x="428" y="218"/>
                  </a:lnTo>
                  <a:lnTo>
                    <a:pt x="449" y="215"/>
                  </a:lnTo>
                  <a:lnTo>
                    <a:pt x="449" y="215"/>
                  </a:lnTo>
                  <a:lnTo>
                    <a:pt x="457" y="213"/>
                  </a:lnTo>
                  <a:lnTo>
                    <a:pt x="467" y="206"/>
                  </a:lnTo>
                  <a:lnTo>
                    <a:pt x="477" y="200"/>
                  </a:lnTo>
                  <a:lnTo>
                    <a:pt x="481" y="196"/>
                  </a:lnTo>
                  <a:lnTo>
                    <a:pt x="482" y="193"/>
                  </a:lnTo>
                  <a:lnTo>
                    <a:pt x="482" y="193"/>
                  </a:lnTo>
                  <a:lnTo>
                    <a:pt x="483" y="189"/>
                  </a:lnTo>
                  <a:lnTo>
                    <a:pt x="482" y="186"/>
                  </a:lnTo>
                  <a:lnTo>
                    <a:pt x="481" y="184"/>
                  </a:lnTo>
                  <a:lnTo>
                    <a:pt x="481" y="184"/>
                  </a:lnTo>
                  <a:lnTo>
                    <a:pt x="472" y="173"/>
                  </a:lnTo>
                  <a:lnTo>
                    <a:pt x="458" y="159"/>
                  </a:lnTo>
                  <a:lnTo>
                    <a:pt x="424" y="127"/>
                  </a:lnTo>
                  <a:lnTo>
                    <a:pt x="392" y="98"/>
                  </a:lnTo>
                  <a:lnTo>
                    <a:pt x="374" y="85"/>
                  </a:lnTo>
                  <a:lnTo>
                    <a:pt x="374" y="85"/>
                  </a:lnTo>
                  <a:lnTo>
                    <a:pt x="353" y="72"/>
                  </a:lnTo>
                  <a:lnTo>
                    <a:pt x="330" y="59"/>
                  </a:lnTo>
                  <a:lnTo>
                    <a:pt x="300" y="47"/>
                  </a:lnTo>
                  <a:lnTo>
                    <a:pt x="265" y="34"/>
                  </a:lnTo>
                  <a:lnTo>
                    <a:pt x="246" y="28"/>
                  </a:lnTo>
                  <a:lnTo>
                    <a:pt x="224" y="23"/>
                  </a:lnTo>
                  <a:lnTo>
                    <a:pt x="203" y="19"/>
                  </a:lnTo>
                  <a:lnTo>
                    <a:pt x="182" y="16"/>
                  </a:lnTo>
                  <a:lnTo>
                    <a:pt x="158" y="13"/>
                  </a:lnTo>
                  <a:lnTo>
                    <a:pt x="134" y="13"/>
                  </a:lnTo>
                  <a:lnTo>
                    <a:pt x="134" y="13"/>
                  </a:lnTo>
                  <a:lnTo>
                    <a:pt x="104" y="14"/>
                  </a:lnTo>
                  <a:lnTo>
                    <a:pt x="75" y="18"/>
                  </a:lnTo>
                  <a:lnTo>
                    <a:pt x="46" y="24"/>
                  </a:lnTo>
                  <a:lnTo>
                    <a:pt x="18" y="33"/>
                  </a:lnTo>
                  <a:lnTo>
                    <a:pt x="18" y="33"/>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38" name="Freeform 95"/>
            <p:cNvSpPr>
              <a:spLocks/>
            </p:cNvSpPr>
            <p:nvPr/>
          </p:nvSpPr>
          <p:spPr bwMode="auto">
            <a:xfrm>
              <a:off x="7221457" y="2520498"/>
              <a:ext cx="238670" cy="101994"/>
            </a:xfrm>
            <a:custGeom>
              <a:avLst/>
              <a:gdLst>
                <a:gd name="T0" fmla="*/ 192 w 235"/>
                <a:gd name="T1" fmla="*/ 99 h 99"/>
                <a:gd name="T2" fmla="*/ 164 w 235"/>
                <a:gd name="T3" fmla="*/ 97 h 99"/>
                <a:gd name="T4" fmla="*/ 105 w 235"/>
                <a:gd name="T5" fmla="*/ 86 h 99"/>
                <a:gd name="T6" fmla="*/ 51 w 235"/>
                <a:gd name="T7" fmla="*/ 69 h 99"/>
                <a:gd name="T8" fmla="*/ 9 w 235"/>
                <a:gd name="T9" fmla="*/ 53 h 99"/>
                <a:gd name="T10" fmla="*/ 6 w 235"/>
                <a:gd name="T11" fmla="*/ 50 h 99"/>
                <a:gd name="T12" fmla="*/ 1 w 235"/>
                <a:gd name="T13" fmla="*/ 42 h 99"/>
                <a:gd name="T14" fmla="*/ 0 w 235"/>
                <a:gd name="T15" fmla="*/ 25 h 99"/>
                <a:gd name="T16" fmla="*/ 4 w 235"/>
                <a:gd name="T17" fmla="*/ 8 h 99"/>
                <a:gd name="T18" fmla="*/ 6 w 235"/>
                <a:gd name="T19" fmla="*/ 3 h 99"/>
                <a:gd name="T20" fmla="*/ 11 w 235"/>
                <a:gd name="T21" fmla="*/ 0 h 99"/>
                <a:gd name="T22" fmla="*/ 34 w 235"/>
                <a:gd name="T23" fmla="*/ 1 h 99"/>
                <a:gd name="T24" fmla="*/ 93 w 235"/>
                <a:gd name="T25" fmla="*/ 8 h 99"/>
                <a:gd name="T26" fmla="*/ 156 w 235"/>
                <a:gd name="T27" fmla="*/ 22 h 99"/>
                <a:gd name="T28" fmla="*/ 195 w 235"/>
                <a:gd name="T29" fmla="*/ 35 h 99"/>
                <a:gd name="T30" fmla="*/ 211 w 235"/>
                <a:gd name="T31" fmla="*/ 42 h 99"/>
                <a:gd name="T32" fmla="*/ 214 w 235"/>
                <a:gd name="T33" fmla="*/ 45 h 99"/>
                <a:gd name="T34" fmla="*/ 214 w 235"/>
                <a:gd name="T35" fmla="*/ 50 h 99"/>
                <a:gd name="T36" fmla="*/ 212 w 235"/>
                <a:gd name="T37" fmla="*/ 52 h 99"/>
                <a:gd name="T38" fmla="*/ 207 w 235"/>
                <a:gd name="T39" fmla="*/ 54 h 99"/>
                <a:gd name="T40" fmla="*/ 205 w 235"/>
                <a:gd name="T41" fmla="*/ 53 h 99"/>
                <a:gd name="T42" fmla="*/ 175 w 235"/>
                <a:gd name="T43" fmla="*/ 42 h 99"/>
                <a:gd name="T44" fmla="*/ 126 w 235"/>
                <a:gd name="T45" fmla="*/ 28 h 99"/>
                <a:gd name="T46" fmla="*/ 56 w 235"/>
                <a:gd name="T47" fmla="*/ 15 h 99"/>
                <a:gd name="T48" fmla="*/ 15 w 235"/>
                <a:gd name="T49" fmla="*/ 13 h 99"/>
                <a:gd name="T50" fmla="*/ 12 w 235"/>
                <a:gd name="T51" fmla="*/ 25 h 99"/>
                <a:gd name="T52" fmla="*/ 14 w 235"/>
                <a:gd name="T53" fmla="*/ 38 h 99"/>
                <a:gd name="T54" fmla="*/ 16 w 235"/>
                <a:gd name="T55" fmla="*/ 43 h 99"/>
                <a:gd name="T56" fmla="*/ 78 w 235"/>
                <a:gd name="T57" fmla="*/ 64 h 99"/>
                <a:gd name="T58" fmla="*/ 143 w 235"/>
                <a:gd name="T59" fmla="*/ 81 h 99"/>
                <a:gd name="T60" fmla="*/ 176 w 235"/>
                <a:gd name="T61" fmla="*/ 86 h 99"/>
                <a:gd name="T62" fmla="*/ 203 w 235"/>
                <a:gd name="T63" fmla="*/ 86 h 99"/>
                <a:gd name="T64" fmla="*/ 226 w 235"/>
                <a:gd name="T65" fmla="*/ 81 h 99"/>
                <a:gd name="T66" fmla="*/ 229 w 235"/>
                <a:gd name="T67" fmla="*/ 81 h 99"/>
                <a:gd name="T68" fmla="*/ 232 w 235"/>
                <a:gd name="T69" fmla="*/ 82 h 99"/>
                <a:gd name="T70" fmla="*/ 235 w 235"/>
                <a:gd name="T71" fmla="*/ 83 h 99"/>
                <a:gd name="T72" fmla="*/ 235 w 235"/>
                <a:gd name="T73" fmla="*/ 88 h 99"/>
                <a:gd name="T74" fmla="*/ 231 w 235"/>
                <a:gd name="T75" fmla="*/ 92 h 99"/>
                <a:gd name="T76" fmla="*/ 224 w 235"/>
                <a:gd name="T77" fmla="*/ 96 h 99"/>
                <a:gd name="T78" fmla="*/ 203 w 235"/>
                <a:gd name="T79" fmla="*/ 98 h 99"/>
                <a:gd name="T80" fmla="*/ 192 w 235"/>
                <a:gd name="T81"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5" h="99">
                  <a:moveTo>
                    <a:pt x="192" y="99"/>
                  </a:moveTo>
                  <a:lnTo>
                    <a:pt x="192" y="99"/>
                  </a:lnTo>
                  <a:lnTo>
                    <a:pt x="180" y="98"/>
                  </a:lnTo>
                  <a:lnTo>
                    <a:pt x="164" y="97"/>
                  </a:lnTo>
                  <a:lnTo>
                    <a:pt x="136" y="92"/>
                  </a:lnTo>
                  <a:lnTo>
                    <a:pt x="105" y="86"/>
                  </a:lnTo>
                  <a:lnTo>
                    <a:pt x="77" y="77"/>
                  </a:lnTo>
                  <a:lnTo>
                    <a:pt x="51" y="69"/>
                  </a:lnTo>
                  <a:lnTo>
                    <a:pt x="30" y="62"/>
                  </a:lnTo>
                  <a:lnTo>
                    <a:pt x="9" y="53"/>
                  </a:lnTo>
                  <a:lnTo>
                    <a:pt x="9" y="53"/>
                  </a:lnTo>
                  <a:lnTo>
                    <a:pt x="6" y="50"/>
                  </a:lnTo>
                  <a:lnTo>
                    <a:pt x="6" y="50"/>
                  </a:lnTo>
                  <a:lnTo>
                    <a:pt x="1" y="42"/>
                  </a:lnTo>
                  <a:lnTo>
                    <a:pt x="0" y="34"/>
                  </a:lnTo>
                  <a:lnTo>
                    <a:pt x="0" y="25"/>
                  </a:lnTo>
                  <a:lnTo>
                    <a:pt x="0" y="19"/>
                  </a:lnTo>
                  <a:lnTo>
                    <a:pt x="4" y="8"/>
                  </a:lnTo>
                  <a:lnTo>
                    <a:pt x="6" y="3"/>
                  </a:lnTo>
                  <a:lnTo>
                    <a:pt x="6" y="3"/>
                  </a:lnTo>
                  <a:lnTo>
                    <a:pt x="9" y="1"/>
                  </a:lnTo>
                  <a:lnTo>
                    <a:pt x="11" y="0"/>
                  </a:lnTo>
                  <a:lnTo>
                    <a:pt x="11" y="0"/>
                  </a:lnTo>
                  <a:lnTo>
                    <a:pt x="34" y="1"/>
                  </a:lnTo>
                  <a:lnTo>
                    <a:pt x="55" y="3"/>
                  </a:lnTo>
                  <a:lnTo>
                    <a:pt x="93" y="8"/>
                  </a:lnTo>
                  <a:lnTo>
                    <a:pt x="127" y="14"/>
                  </a:lnTo>
                  <a:lnTo>
                    <a:pt x="156" y="22"/>
                  </a:lnTo>
                  <a:lnTo>
                    <a:pt x="178" y="29"/>
                  </a:lnTo>
                  <a:lnTo>
                    <a:pt x="195" y="35"/>
                  </a:lnTo>
                  <a:lnTo>
                    <a:pt x="211" y="42"/>
                  </a:lnTo>
                  <a:lnTo>
                    <a:pt x="211" y="42"/>
                  </a:lnTo>
                  <a:lnTo>
                    <a:pt x="212" y="43"/>
                  </a:lnTo>
                  <a:lnTo>
                    <a:pt x="214" y="45"/>
                  </a:lnTo>
                  <a:lnTo>
                    <a:pt x="214" y="48"/>
                  </a:lnTo>
                  <a:lnTo>
                    <a:pt x="214" y="50"/>
                  </a:lnTo>
                  <a:lnTo>
                    <a:pt x="214" y="50"/>
                  </a:lnTo>
                  <a:lnTo>
                    <a:pt x="212" y="52"/>
                  </a:lnTo>
                  <a:lnTo>
                    <a:pt x="210" y="53"/>
                  </a:lnTo>
                  <a:lnTo>
                    <a:pt x="207" y="54"/>
                  </a:lnTo>
                  <a:lnTo>
                    <a:pt x="205" y="53"/>
                  </a:lnTo>
                  <a:lnTo>
                    <a:pt x="205" y="53"/>
                  </a:lnTo>
                  <a:lnTo>
                    <a:pt x="191" y="47"/>
                  </a:lnTo>
                  <a:lnTo>
                    <a:pt x="175" y="42"/>
                  </a:lnTo>
                  <a:lnTo>
                    <a:pt x="153" y="34"/>
                  </a:lnTo>
                  <a:lnTo>
                    <a:pt x="126" y="28"/>
                  </a:lnTo>
                  <a:lnTo>
                    <a:pt x="94" y="20"/>
                  </a:lnTo>
                  <a:lnTo>
                    <a:pt x="56" y="15"/>
                  </a:lnTo>
                  <a:lnTo>
                    <a:pt x="15" y="13"/>
                  </a:lnTo>
                  <a:lnTo>
                    <a:pt x="15" y="13"/>
                  </a:lnTo>
                  <a:lnTo>
                    <a:pt x="14" y="18"/>
                  </a:lnTo>
                  <a:lnTo>
                    <a:pt x="12" y="25"/>
                  </a:lnTo>
                  <a:lnTo>
                    <a:pt x="12" y="33"/>
                  </a:lnTo>
                  <a:lnTo>
                    <a:pt x="14" y="38"/>
                  </a:lnTo>
                  <a:lnTo>
                    <a:pt x="16" y="43"/>
                  </a:lnTo>
                  <a:lnTo>
                    <a:pt x="16" y="43"/>
                  </a:lnTo>
                  <a:lnTo>
                    <a:pt x="50" y="56"/>
                  </a:lnTo>
                  <a:lnTo>
                    <a:pt x="78" y="64"/>
                  </a:lnTo>
                  <a:lnTo>
                    <a:pt x="109" y="73"/>
                  </a:lnTo>
                  <a:lnTo>
                    <a:pt x="143" y="81"/>
                  </a:lnTo>
                  <a:lnTo>
                    <a:pt x="159" y="84"/>
                  </a:lnTo>
                  <a:lnTo>
                    <a:pt x="176" y="86"/>
                  </a:lnTo>
                  <a:lnTo>
                    <a:pt x="190" y="87"/>
                  </a:lnTo>
                  <a:lnTo>
                    <a:pt x="203" y="86"/>
                  </a:lnTo>
                  <a:lnTo>
                    <a:pt x="216" y="84"/>
                  </a:lnTo>
                  <a:lnTo>
                    <a:pt x="226" y="81"/>
                  </a:lnTo>
                  <a:lnTo>
                    <a:pt x="226" y="81"/>
                  </a:lnTo>
                  <a:lnTo>
                    <a:pt x="229" y="81"/>
                  </a:lnTo>
                  <a:lnTo>
                    <a:pt x="231" y="81"/>
                  </a:lnTo>
                  <a:lnTo>
                    <a:pt x="232" y="82"/>
                  </a:lnTo>
                  <a:lnTo>
                    <a:pt x="235" y="83"/>
                  </a:lnTo>
                  <a:lnTo>
                    <a:pt x="235" y="83"/>
                  </a:lnTo>
                  <a:lnTo>
                    <a:pt x="235" y="86"/>
                  </a:lnTo>
                  <a:lnTo>
                    <a:pt x="235" y="88"/>
                  </a:lnTo>
                  <a:lnTo>
                    <a:pt x="234" y="91"/>
                  </a:lnTo>
                  <a:lnTo>
                    <a:pt x="231" y="92"/>
                  </a:lnTo>
                  <a:lnTo>
                    <a:pt x="231" y="92"/>
                  </a:lnTo>
                  <a:lnTo>
                    <a:pt x="224" y="96"/>
                  </a:lnTo>
                  <a:lnTo>
                    <a:pt x="214" y="97"/>
                  </a:lnTo>
                  <a:lnTo>
                    <a:pt x="203" y="98"/>
                  </a:lnTo>
                  <a:lnTo>
                    <a:pt x="192" y="99"/>
                  </a:lnTo>
                  <a:lnTo>
                    <a:pt x="192" y="99"/>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39" name="Freeform 96"/>
            <p:cNvSpPr>
              <a:spLocks/>
            </p:cNvSpPr>
            <p:nvPr/>
          </p:nvSpPr>
          <p:spPr bwMode="auto">
            <a:xfrm>
              <a:off x="4177920" y="2037043"/>
              <a:ext cx="685407" cy="334544"/>
            </a:xfrm>
            <a:custGeom>
              <a:avLst/>
              <a:gdLst>
                <a:gd name="T0" fmla="*/ 583 w 672"/>
                <a:gd name="T1" fmla="*/ 326 h 326"/>
                <a:gd name="T2" fmla="*/ 37 w 672"/>
                <a:gd name="T3" fmla="*/ 277 h 326"/>
                <a:gd name="T4" fmla="*/ 35 w 672"/>
                <a:gd name="T5" fmla="*/ 276 h 326"/>
                <a:gd name="T6" fmla="*/ 26 w 672"/>
                <a:gd name="T7" fmla="*/ 270 h 326"/>
                <a:gd name="T8" fmla="*/ 14 w 672"/>
                <a:gd name="T9" fmla="*/ 257 h 326"/>
                <a:gd name="T10" fmla="*/ 5 w 672"/>
                <a:gd name="T11" fmla="*/ 245 h 326"/>
                <a:gd name="T12" fmla="*/ 0 w 672"/>
                <a:gd name="T13" fmla="*/ 227 h 326"/>
                <a:gd name="T14" fmla="*/ 1 w 672"/>
                <a:gd name="T15" fmla="*/ 211 h 326"/>
                <a:gd name="T16" fmla="*/ 2 w 672"/>
                <a:gd name="T17" fmla="*/ 203 h 326"/>
                <a:gd name="T18" fmla="*/ 5 w 672"/>
                <a:gd name="T19" fmla="*/ 201 h 326"/>
                <a:gd name="T20" fmla="*/ 42 w 672"/>
                <a:gd name="T21" fmla="*/ 181 h 326"/>
                <a:gd name="T22" fmla="*/ 133 w 672"/>
                <a:gd name="T23" fmla="*/ 142 h 326"/>
                <a:gd name="T24" fmla="*/ 237 w 672"/>
                <a:gd name="T25" fmla="*/ 106 h 326"/>
                <a:gd name="T26" fmla="*/ 348 w 672"/>
                <a:gd name="T27" fmla="*/ 74 h 326"/>
                <a:gd name="T28" fmla="*/ 502 w 672"/>
                <a:gd name="T29" fmla="*/ 35 h 326"/>
                <a:gd name="T30" fmla="*/ 666 w 672"/>
                <a:gd name="T31" fmla="*/ 0 h 326"/>
                <a:gd name="T32" fmla="*/ 667 w 672"/>
                <a:gd name="T33" fmla="*/ 0 h 326"/>
                <a:gd name="T34" fmla="*/ 671 w 672"/>
                <a:gd name="T35" fmla="*/ 2 h 326"/>
                <a:gd name="T36" fmla="*/ 672 w 672"/>
                <a:gd name="T37" fmla="*/ 3 h 326"/>
                <a:gd name="T38" fmla="*/ 671 w 672"/>
                <a:gd name="T39" fmla="*/ 8 h 326"/>
                <a:gd name="T40" fmla="*/ 667 w 672"/>
                <a:gd name="T41" fmla="*/ 11 h 326"/>
                <a:gd name="T42" fmla="*/ 588 w 672"/>
                <a:gd name="T43" fmla="*/ 27 h 326"/>
                <a:gd name="T44" fmla="*/ 406 w 672"/>
                <a:gd name="T45" fmla="*/ 70 h 326"/>
                <a:gd name="T46" fmla="*/ 297 w 672"/>
                <a:gd name="T47" fmla="*/ 100 h 326"/>
                <a:gd name="T48" fmla="*/ 191 w 672"/>
                <a:gd name="T49" fmla="*/ 134 h 326"/>
                <a:gd name="T50" fmla="*/ 93 w 672"/>
                <a:gd name="T51" fmla="*/ 170 h 326"/>
                <a:gd name="T52" fmla="*/ 30 w 672"/>
                <a:gd name="T53" fmla="*/ 199 h 326"/>
                <a:gd name="T54" fmla="*/ 12 w 672"/>
                <a:gd name="T55" fmla="*/ 209 h 326"/>
                <a:gd name="T56" fmla="*/ 10 w 672"/>
                <a:gd name="T57" fmla="*/ 224 h 326"/>
                <a:gd name="T58" fmla="*/ 15 w 672"/>
                <a:gd name="T59" fmla="*/ 240 h 326"/>
                <a:gd name="T60" fmla="*/ 29 w 672"/>
                <a:gd name="T61" fmla="*/ 257 h 326"/>
                <a:gd name="T62" fmla="*/ 583 w 672"/>
                <a:gd name="T63" fmla="*/ 315 h 326"/>
                <a:gd name="T64" fmla="*/ 585 w 672"/>
                <a:gd name="T65" fmla="*/ 316 h 326"/>
                <a:gd name="T66" fmla="*/ 588 w 672"/>
                <a:gd name="T67" fmla="*/ 319 h 326"/>
                <a:gd name="T68" fmla="*/ 588 w 672"/>
                <a:gd name="T69" fmla="*/ 321 h 326"/>
                <a:gd name="T70" fmla="*/ 587 w 672"/>
                <a:gd name="T71" fmla="*/ 325 h 326"/>
                <a:gd name="T72" fmla="*/ 583 w 672"/>
                <a:gd name="T73" fmla="*/ 3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72" h="326">
                  <a:moveTo>
                    <a:pt x="583" y="326"/>
                  </a:moveTo>
                  <a:lnTo>
                    <a:pt x="583" y="326"/>
                  </a:lnTo>
                  <a:lnTo>
                    <a:pt x="583" y="326"/>
                  </a:lnTo>
                  <a:lnTo>
                    <a:pt x="37" y="277"/>
                  </a:lnTo>
                  <a:lnTo>
                    <a:pt x="37" y="277"/>
                  </a:lnTo>
                  <a:lnTo>
                    <a:pt x="35" y="276"/>
                  </a:lnTo>
                  <a:lnTo>
                    <a:pt x="35" y="276"/>
                  </a:lnTo>
                  <a:lnTo>
                    <a:pt x="26" y="270"/>
                  </a:lnTo>
                  <a:lnTo>
                    <a:pt x="19" y="263"/>
                  </a:lnTo>
                  <a:lnTo>
                    <a:pt x="14" y="257"/>
                  </a:lnTo>
                  <a:lnTo>
                    <a:pt x="8" y="251"/>
                  </a:lnTo>
                  <a:lnTo>
                    <a:pt x="5" y="245"/>
                  </a:lnTo>
                  <a:lnTo>
                    <a:pt x="2" y="238"/>
                  </a:lnTo>
                  <a:lnTo>
                    <a:pt x="0" y="227"/>
                  </a:lnTo>
                  <a:lnTo>
                    <a:pt x="0" y="218"/>
                  </a:lnTo>
                  <a:lnTo>
                    <a:pt x="1" y="211"/>
                  </a:lnTo>
                  <a:lnTo>
                    <a:pt x="2" y="203"/>
                  </a:lnTo>
                  <a:lnTo>
                    <a:pt x="2" y="203"/>
                  </a:lnTo>
                  <a:lnTo>
                    <a:pt x="5" y="201"/>
                  </a:lnTo>
                  <a:lnTo>
                    <a:pt x="5" y="201"/>
                  </a:lnTo>
                  <a:lnTo>
                    <a:pt x="22" y="191"/>
                  </a:lnTo>
                  <a:lnTo>
                    <a:pt x="42" y="181"/>
                  </a:lnTo>
                  <a:lnTo>
                    <a:pt x="85" y="162"/>
                  </a:lnTo>
                  <a:lnTo>
                    <a:pt x="133" y="142"/>
                  </a:lnTo>
                  <a:lnTo>
                    <a:pt x="184" y="124"/>
                  </a:lnTo>
                  <a:lnTo>
                    <a:pt x="237" y="106"/>
                  </a:lnTo>
                  <a:lnTo>
                    <a:pt x="292" y="90"/>
                  </a:lnTo>
                  <a:lnTo>
                    <a:pt x="348" y="74"/>
                  </a:lnTo>
                  <a:lnTo>
                    <a:pt x="402" y="60"/>
                  </a:lnTo>
                  <a:lnTo>
                    <a:pt x="502" y="35"/>
                  </a:lnTo>
                  <a:lnTo>
                    <a:pt x="585" y="16"/>
                  </a:lnTo>
                  <a:lnTo>
                    <a:pt x="666" y="0"/>
                  </a:lnTo>
                  <a:lnTo>
                    <a:pt x="666" y="0"/>
                  </a:lnTo>
                  <a:lnTo>
                    <a:pt x="667" y="0"/>
                  </a:lnTo>
                  <a:lnTo>
                    <a:pt x="669" y="1"/>
                  </a:lnTo>
                  <a:lnTo>
                    <a:pt x="671" y="2"/>
                  </a:lnTo>
                  <a:lnTo>
                    <a:pt x="672" y="3"/>
                  </a:lnTo>
                  <a:lnTo>
                    <a:pt x="672" y="3"/>
                  </a:lnTo>
                  <a:lnTo>
                    <a:pt x="672" y="6"/>
                  </a:lnTo>
                  <a:lnTo>
                    <a:pt x="671" y="8"/>
                  </a:lnTo>
                  <a:lnTo>
                    <a:pt x="669" y="10"/>
                  </a:lnTo>
                  <a:lnTo>
                    <a:pt x="667" y="11"/>
                  </a:lnTo>
                  <a:lnTo>
                    <a:pt x="667" y="11"/>
                  </a:lnTo>
                  <a:lnTo>
                    <a:pt x="588" y="27"/>
                  </a:lnTo>
                  <a:lnTo>
                    <a:pt x="506" y="46"/>
                  </a:lnTo>
                  <a:lnTo>
                    <a:pt x="406" y="70"/>
                  </a:lnTo>
                  <a:lnTo>
                    <a:pt x="353" y="85"/>
                  </a:lnTo>
                  <a:lnTo>
                    <a:pt x="297" y="100"/>
                  </a:lnTo>
                  <a:lnTo>
                    <a:pt x="243" y="116"/>
                  </a:lnTo>
                  <a:lnTo>
                    <a:pt x="191" y="134"/>
                  </a:lnTo>
                  <a:lnTo>
                    <a:pt x="139" y="152"/>
                  </a:lnTo>
                  <a:lnTo>
                    <a:pt x="93" y="170"/>
                  </a:lnTo>
                  <a:lnTo>
                    <a:pt x="50" y="189"/>
                  </a:lnTo>
                  <a:lnTo>
                    <a:pt x="30" y="199"/>
                  </a:lnTo>
                  <a:lnTo>
                    <a:pt x="12" y="209"/>
                  </a:lnTo>
                  <a:lnTo>
                    <a:pt x="12" y="209"/>
                  </a:lnTo>
                  <a:lnTo>
                    <a:pt x="10" y="218"/>
                  </a:lnTo>
                  <a:lnTo>
                    <a:pt x="10" y="224"/>
                  </a:lnTo>
                  <a:lnTo>
                    <a:pt x="11" y="231"/>
                  </a:lnTo>
                  <a:lnTo>
                    <a:pt x="15" y="240"/>
                  </a:lnTo>
                  <a:lnTo>
                    <a:pt x="20" y="248"/>
                  </a:lnTo>
                  <a:lnTo>
                    <a:pt x="29" y="257"/>
                  </a:lnTo>
                  <a:lnTo>
                    <a:pt x="40" y="266"/>
                  </a:lnTo>
                  <a:lnTo>
                    <a:pt x="583" y="315"/>
                  </a:lnTo>
                  <a:lnTo>
                    <a:pt x="583" y="315"/>
                  </a:lnTo>
                  <a:lnTo>
                    <a:pt x="585" y="316"/>
                  </a:lnTo>
                  <a:lnTo>
                    <a:pt x="587" y="317"/>
                  </a:lnTo>
                  <a:lnTo>
                    <a:pt x="588" y="319"/>
                  </a:lnTo>
                  <a:lnTo>
                    <a:pt x="588" y="321"/>
                  </a:lnTo>
                  <a:lnTo>
                    <a:pt x="588" y="321"/>
                  </a:lnTo>
                  <a:lnTo>
                    <a:pt x="588" y="324"/>
                  </a:lnTo>
                  <a:lnTo>
                    <a:pt x="587" y="325"/>
                  </a:lnTo>
                  <a:lnTo>
                    <a:pt x="585" y="326"/>
                  </a:lnTo>
                  <a:lnTo>
                    <a:pt x="583" y="326"/>
                  </a:lnTo>
                  <a:lnTo>
                    <a:pt x="583" y="326"/>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0" name="Freeform 97"/>
            <p:cNvSpPr>
              <a:spLocks/>
            </p:cNvSpPr>
            <p:nvPr/>
          </p:nvSpPr>
          <p:spPr bwMode="auto">
            <a:xfrm>
              <a:off x="2713267" y="3311983"/>
              <a:ext cx="403901" cy="79557"/>
            </a:xfrm>
            <a:custGeom>
              <a:avLst/>
              <a:gdLst>
                <a:gd name="T0" fmla="*/ 390 w 396"/>
                <a:gd name="T1" fmla="*/ 76 h 76"/>
                <a:gd name="T2" fmla="*/ 390 w 396"/>
                <a:gd name="T3" fmla="*/ 76 h 76"/>
                <a:gd name="T4" fmla="*/ 390 w 396"/>
                <a:gd name="T5" fmla="*/ 76 h 76"/>
                <a:gd name="T6" fmla="*/ 390 w 396"/>
                <a:gd name="T7" fmla="*/ 76 h 76"/>
                <a:gd name="T8" fmla="*/ 359 w 396"/>
                <a:gd name="T9" fmla="*/ 76 h 76"/>
                <a:gd name="T10" fmla="*/ 326 w 396"/>
                <a:gd name="T11" fmla="*/ 74 h 76"/>
                <a:gd name="T12" fmla="*/ 293 w 396"/>
                <a:gd name="T13" fmla="*/ 70 h 76"/>
                <a:gd name="T14" fmla="*/ 260 w 396"/>
                <a:gd name="T15" fmla="*/ 66 h 76"/>
                <a:gd name="T16" fmla="*/ 196 w 396"/>
                <a:gd name="T17" fmla="*/ 56 h 76"/>
                <a:gd name="T18" fmla="*/ 136 w 396"/>
                <a:gd name="T19" fmla="*/ 45 h 76"/>
                <a:gd name="T20" fmla="*/ 85 w 396"/>
                <a:gd name="T21" fmla="*/ 32 h 76"/>
                <a:gd name="T22" fmla="*/ 43 w 396"/>
                <a:gd name="T23" fmla="*/ 22 h 76"/>
                <a:gd name="T24" fmla="*/ 5 w 396"/>
                <a:gd name="T25" fmla="*/ 12 h 76"/>
                <a:gd name="T26" fmla="*/ 5 w 396"/>
                <a:gd name="T27" fmla="*/ 12 h 76"/>
                <a:gd name="T28" fmla="*/ 3 w 396"/>
                <a:gd name="T29" fmla="*/ 11 h 76"/>
                <a:gd name="T30" fmla="*/ 2 w 396"/>
                <a:gd name="T31" fmla="*/ 10 h 76"/>
                <a:gd name="T32" fmla="*/ 0 w 396"/>
                <a:gd name="T33" fmla="*/ 7 h 76"/>
                <a:gd name="T34" fmla="*/ 0 w 396"/>
                <a:gd name="T35" fmla="*/ 5 h 76"/>
                <a:gd name="T36" fmla="*/ 0 w 396"/>
                <a:gd name="T37" fmla="*/ 5 h 76"/>
                <a:gd name="T38" fmla="*/ 2 w 396"/>
                <a:gd name="T39" fmla="*/ 2 h 76"/>
                <a:gd name="T40" fmla="*/ 4 w 396"/>
                <a:gd name="T41" fmla="*/ 1 h 76"/>
                <a:gd name="T42" fmla="*/ 5 w 396"/>
                <a:gd name="T43" fmla="*/ 0 h 76"/>
                <a:gd name="T44" fmla="*/ 8 w 396"/>
                <a:gd name="T45" fmla="*/ 1 h 76"/>
                <a:gd name="T46" fmla="*/ 8 w 396"/>
                <a:gd name="T47" fmla="*/ 1 h 76"/>
                <a:gd name="T48" fmla="*/ 46 w 396"/>
                <a:gd name="T49" fmla="*/ 11 h 76"/>
                <a:gd name="T50" fmla="*/ 87 w 396"/>
                <a:gd name="T51" fmla="*/ 21 h 76"/>
                <a:gd name="T52" fmla="*/ 139 w 396"/>
                <a:gd name="T53" fmla="*/ 32 h 76"/>
                <a:gd name="T54" fmla="*/ 198 w 396"/>
                <a:gd name="T55" fmla="*/ 44 h 76"/>
                <a:gd name="T56" fmla="*/ 262 w 396"/>
                <a:gd name="T57" fmla="*/ 54 h 76"/>
                <a:gd name="T58" fmla="*/ 294 w 396"/>
                <a:gd name="T59" fmla="*/ 57 h 76"/>
                <a:gd name="T60" fmla="*/ 327 w 396"/>
                <a:gd name="T61" fmla="*/ 61 h 76"/>
                <a:gd name="T62" fmla="*/ 359 w 396"/>
                <a:gd name="T63" fmla="*/ 64 h 76"/>
                <a:gd name="T64" fmla="*/ 390 w 396"/>
                <a:gd name="T65" fmla="*/ 64 h 76"/>
                <a:gd name="T66" fmla="*/ 390 w 396"/>
                <a:gd name="T67" fmla="*/ 64 h 76"/>
                <a:gd name="T68" fmla="*/ 392 w 396"/>
                <a:gd name="T69" fmla="*/ 65 h 76"/>
                <a:gd name="T70" fmla="*/ 395 w 396"/>
                <a:gd name="T71" fmla="*/ 66 h 76"/>
                <a:gd name="T72" fmla="*/ 396 w 396"/>
                <a:gd name="T73" fmla="*/ 68 h 76"/>
                <a:gd name="T74" fmla="*/ 396 w 396"/>
                <a:gd name="T75" fmla="*/ 70 h 76"/>
                <a:gd name="T76" fmla="*/ 396 w 396"/>
                <a:gd name="T77" fmla="*/ 70 h 76"/>
                <a:gd name="T78" fmla="*/ 396 w 396"/>
                <a:gd name="T79" fmla="*/ 73 h 76"/>
                <a:gd name="T80" fmla="*/ 395 w 396"/>
                <a:gd name="T81" fmla="*/ 75 h 76"/>
                <a:gd name="T82" fmla="*/ 392 w 396"/>
                <a:gd name="T83" fmla="*/ 76 h 76"/>
                <a:gd name="T84" fmla="*/ 390 w 396"/>
                <a:gd name="T85" fmla="*/ 76 h 76"/>
                <a:gd name="T86" fmla="*/ 390 w 396"/>
                <a:gd name="T8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6" h="76">
                  <a:moveTo>
                    <a:pt x="390" y="76"/>
                  </a:moveTo>
                  <a:lnTo>
                    <a:pt x="390" y="76"/>
                  </a:lnTo>
                  <a:lnTo>
                    <a:pt x="390" y="76"/>
                  </a:lnTo>
                  <a:lnTo>
                    <a:pt x="390" y="76"/>
                  </a:lnTo>
                  <a:lnTo>
                    <a:pt x="359" y="76"/>
                  </a:lnTo>
                  <a:lnTo>
                    <a:pt x="326" y="74"/>
                  </a:lnTo>
                  <a:lnTo>
                    <a:pt x="293" y="70"/>
                  </a:lnTo>
                  <a:lnTo>
                    <a:pt x="260" y="66"/>
                  </a:lnTo>
                  <a:lnTo>
                    <a:pt x="196" y="56"/>
                  </a:lnTo>
                  <a:lnTo>
                    <a:pt x="136" y="45"/>
                  </a:lnTo>
                  <a:lnTo>
                    <a:pt x="85" y="32"/>
                  </a:lnTo>
                  <a:lnTo>
                    <a:pt x="43" y="22"/>
                  </a:lnTo>
                  <a:lnTo>
                    <a:pt x="5" y="12"/>
                  </a:lnTo>
                  <a:lnTo>
                    <a:pt x="5" y="12"/>
                  </a:lnTo>
                  <a:lnTo>
                    <a:pt x="3" y="11"/>
                  </a:lnTo>
                  <a:lnTo>
                    <a:pt x="2" y="10"/>
                  </a:lnTo>
                  <a:lnTo>
                    <a:pt x="0" y="7"/>
                  </a:lnTo>
                  <a:lnTo>
                    <a:pt x="0" y="5"/>
                  </a:lnTo>
                  <a:lnTo>
                    <a:pt x="0" y="5"/>
                  </a:lnTo>
                  <a:lnTo>
                    <a:pt x="2" y="2"/>
                  </a:lnTo>
                  <a:lnTo>
                    <a:pt x="4" y="1"/>
                  </a:lnTo>
                  <a:lnTo>
                    <a:pt x="5" y="0"/>
                  </a:lnTo>
                  <a:lnTo>
                    <a:pt x="8" y="1"/>
                  </a:lnTo>
                  <a:lnTo>
                    <a:pt x="8" y="1"/>
                  </a:lnTo>
                  <a:lnTo>
                    <a:pt x="46" y="11"/>
                  </a:lnTo>
                  <a:lnTo>
                    <a:pt x="87" y="21"/>
                  </a:lnTo>
                  <a:lnTo>
                    <a:pt x="139" y="32"/>
                  </a:lnTo>
                  <a:lnTo>
                    <a:pt x="198" y="44"/>
                  </a:lnTo>
                  <a:lnTo>
                    <a:pt x="262" y="54"/>
                  </a:lnTo>
                  <a:lnTo>
                    <a:pt x="294" y="57"/>
                  </a:lnTo>
                  <a:lnTo>
                    <a:pt x="327" y="61"/>
                  </a:lnTo>
                  <a:lnTo>
                    <a:pt x="359" y="64"/>
                  </a:lnTo>
                  <a:lnTo>
                    <a:pt x="390" y="64"/>
                  </a:lnTo>
                  <a:lnTo>
                    <a:pt x="390" y="64"/>
                  </a:lnTo>
                  <a:lnTo>
                    <a:pt x="392" y="65"/>
                  </a:lnTo>
                  <a:lnTo>
                    <a:pt x="395" y="66"/>
                  </a:lnTo>
                  <a:lnTo>
                    <a:pt x="396" y="68"/>
                  </a:lnTo>
                  <a:lnTo>
                    <a:pt x="396" y="70"/>
                  </a:lnTo>
                  <a:lnTo>
                    <a:pt x="396" y="70"/>
                  </a:lnTo>
                  <a:lnTo>
                    <a:pt x="396" y="73"/>
                  </a:lnTo>
                  <a:lnTo>
                    <a:pt x="395" y="75"/>
                  </a:lnTo>
                  <a:lnTo>
                    <a:pt x="392" y="76"/>
                  </a:lnTo>
                  <a:lnTo>
                    <a:pt x="390" y="76"/>
                  </a:lnTo>
                  <a:lnTo>
                    <a:pt x="390" y="76"/>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1" name="Freeform 98"/>
            <p:cNvSpPr>
              <a:spLocks/>
            </p:cNvSpPr>
            <p:nvPr/>
          </p:nvSpPr>
          <p:spPr bwMode="auto">
            <a:xfrm>
              <a:off x="3931090" y="2734691"/>
              <a:ext cx="652770" cy="520176"/>
            </a:xfrm>
            <a:custGeom>
              <a:avLst/>
              <a:gdLst>
                <a:gd name="T0" fmla="*/ 633 w 640"/>
                <a:gd name="T1" fmla="*/ 510 h 510"/>
                <a:gd name="T2" fmla="*/ 628 w 640"/>
                <a:gd name="T3" fmla="*/ 506 h 510"/>
                <a:gd name="T4" fmla="*/ 621 w 640"/>
                <a:gd name="T5" fmla="*/ 489 h 510"/>
                <a:gd name="T6" fmla="*/ 598 w 640"/>
                <a:gd name="T7" fmla="*/ 441 h 510"/>
                <a:gd name="T8" fmla="*/ 558 w 640"/>
                <a:gd name="T9" fmla="*/ 373 h 510"/>
                <a:gd name="T10" fmla="*/ 515 w 640"/>
                <a:gd name="T11" fmla="*/ 314 h 510"/>
                <a:gd name="T12" fmla="*/ 498 w 640"/>
                <a:gd name="T13" fmla="*/ 293 h 510"/>
                <a:gd name="T14" fmla="*/ 461 w 640"/>
                <a:gd name="T15" fmla="*/ 254 h 510"/>
                <a:gd name="T16" fmla="*/ 419 w 640"/>
                <a:gd name="T17" fmla="*/ 212 h 510"/>
                <a:gd name="T18" fmla="*/ 370 w 640"/>
                <a:gd name="T19" fmla="*/ 171 h 510"/>
                <a:gd name="T20" fmla="*/ 312 w 640"/>
                <a:gd name="T21" fmla="*/ 132 h 510"/>
                <a:gd name="T22" fmla="*/ 248 w 640"/>
                <a:gd name="T23" fmla="*/ 94 h 510"/>
                <a:gd name="T24" fmla="*/ 175 w 640"/>
                <a:gd name="T25" fmla="*/ 62 h 510"/>
                <a:gd name="T26" fmla="*/ 94 w 640"/>
                <a:gd name="T27" fmla="*/ 33 h 510"/>
                <a:gd name="T28" fmla="*/ 5 w 640"/>
                <a:gd name="T29" fmla="*/ 11 h 510"/>
                <a:gd name="T30" fmla="*/ 3 w 640"/>
                <a:gd name="T31" fmla="*/ 11 h 510"/>
                <a:gd name="T32" fmla="*/ 0 w 640"/>
                <a:gd name="T33" fmla="*/ 6 h 510"/>
                <a:gd name="T34" fmla="*/ 0 w 640"/>
                <a:gd name="T35" fmla="*/ 5 h 510"/>
                <a:gd name="T36" fmla="*/ 3 w 640"/>
                <a:gd name="T37" fmla="*/ 0 h 510"/>
                <a:gd name="T38" fmla="*/ 6 w 640"/>
                <a:gd name="T39" fmla="*/ 0 h 510"/>
                <a:gd name="T40" fmla="*/ 53 w 640"/>
                <a:gd name="T41" fmla="*/ 9 h 510"/>
                <a:gd name="T42" fmla="*/ 140 w 640"/>
                <a:gd name="T43" fmla="*/ 34 h 510"/>
                <a:gd name="T44" fmla="*/ 218 w 640"/>
                <a:gd name="T45" fmla="*/ 65 h 510"/>
                <a:gd name="T46" fmla="*/ 288 w 640"/>
                <a:gd name="T47" fmla="*/ 102 h 510"/>
                <a:gd name="T48" fmla="*/ 349 w 640"/>
                <a:gd name="T49" fmla="*/ 141 h 510"/>
                <a:gd name="T50" fmla="*/ 404 w 640"/>
                <a:gd name="T51" fmla="*/ 182 h 510"/>
                <a:gd name="T52" fmla="*/ 450 w 640"/>
                <a:gd name="T53" fmla="*/ 225 h 510"/>
                <a:gd name="T54" fmla="*/ 490 w 640"/>
                <a:gd name="T55" fmla="*/ 265 h 510"/>
                <a:gd name="T56" fmla="*/ 508 w 640"/>
                <a:gd name="T57" fmla="*/ 285 h 510"/>
                <a:gd name="T58" fmla="*/ 540 w 640"/>
                <a:gd name="T59" fmla="*/ 327 h 510"/>
                <a:gd name="T60" fmla="*/ 592 w 640"/>
                <a:gd name="T61" fmla="*/ 403 h 510"/>
                <a:gd name="T62" fmla="*/ 623 w 640"/>
                <a:gd name="T63" fmla="*/ 462 h 510"/>
                <a:gd name="T64" fmla="*/ 640 w 640"/>
                <a:gd name="T65" fmla="*/ 503 h 510"/>
                <a:gd name="T66" fmla="*/ 640 w 640"/>
                <a:gd name="T67" fmla="*/ 505 h 510"/>
                <a:gd name="T68" fmla="*/ 639 w 640"/>
                <a:gd name="T69" fmla="*/ 509 h 510"/>
                <a:gd name="T70" fmla="*/ 636 w 640"/>
                <a:gd name="T71" fmla="*/ 510 h 510"/>
                <a:gd name="T72" fmla="*/ 633 w 640"/>
                <a:gd name="T73" fmla="*/ 510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40" h="510">
                  <a:moveTo>
                    <a:pt x="633" y="510"/>
                  </a:moveTo>
                  <a:lnTo>
                    <a:pt x="633" y="510"/>
                  </a:lnTo>
                  <a:lnTo>
                    <a:pt x="631" y="510"/>
                  </a:lnTo>
                  <a:lnTo>
                    <a:pt x="628" y="506"/>
                  </a:lnTo>
                  <a:lnTo>
                    <a:pt x="628" y="506"/>
                  </a:lnTo>
                  <a:lnTo>
                    <a:pt x="621" y="489"/>
                  </a:lnTo>
                  <a:lnTo>
                    <a:pt x="612" y="467"/>
                  </a:lnTo>
                  <a:lnTo>
                    <a:pt x="598" y="441"/>
                  </a:lnTo>
                  <a:lnTo>
                    <a:pt x="581" y="410"/>
                  </a:lnTo>
                  <a:lnTo>
                    <a:pt x="558" y="373"/>
                  </a:lnTo>
                  <a:lnTo>
                    <a:pt x="530" y="334"/>
                  </a:lnTo>
                  <a:lnTo>
                    <a:pt x="515" y="314"/>
                  </a:lnTo>
                  <a:lnTo>
                    <a:pt x="498" y="293"/>
                  </a:lnTo>
                  <a:lnTo>
                    <a:pt x="498" y="293"/>
                  </a:lnTo>
                  <a:lnTo>
                    <a:pt x="480" y="274"/>
                  </a:lnTo>
                  <a:lnTo>
                    <a:pt x="461" y="254"/>
                  </a:lnTo>
                  <a:lnTo>
                    <a:pt x="441" y="232"/>
                  </a:lnTo>
                  <a:lnTo>
                    <a:pt x="419" y="212"/>
                  </a:lnTo>
                  <a:lnTo>
                    <a:pt x="395" y="192"/>
                  </a:lnTo>
                  <a:lnTo>
                    <a:pt x="370" y="171"/>
                  </a:lnTo>
                  <a:lnTo>
                    <a:pt x="342" y="151"/>
                  </a:lnTo>
                  <a:lnTo>
                    <a:pt x="312" y="132"/>
                  </a:lnTo>
                  <a:lnTo>
                    <a:pt x="280" y="113"/>
                  </a:lnTo>
                  <a:lnTo>
                    <a:pt x="248" y="94"/>
                  </a:lnTo>
                  <a:lnTo>
                    <a:pt x="213" y="77"/>
                  </a:lnTo>
                  <a:lnTo>
                    <a:pt x="175" y="62"/>
                  </a:lnTo>
                  <a:lnTo>
                    <a:pt x="136" y="47"/>
                  </a:lnTo>
                  <a:lnTo>
                    <a:pt x="94" y="33"/>
                  </a:lnTo>
                  <a:lnTo>
                    <a:pt x="50" y="21"/>
                  </a:lnTo>
                  <a:lnTo>
                    <a:pt x="5" y="11"/>
                  </a:lnTo>
                  <a:lnTo>
                    <a:pt x="5" y="11"/>
                  </a:lnTo>
                  <a:lnTo>
                    <a:pt x="3" y="11"/>
                  </a:lnTo>
                  <a:lnTo>
                    <a:pt x="0" y="9"/>
                  </a:lnTo>
                  <a:lnTo>
                    <a:pt x="0" y="6"/>
                  </a:lnTo>
                  <a:lnTo>
                    <a:pt x="0" y="5"/>
                  </a:lnTo>
                  <a:lnTo>
                    <a:pt x="0" y="5"/>
                  </a:lnTo>
                  <a:lnTo>
                    <a:pt x="0" y="3"/>
                  </a:lnTo>
                  <a:lnTo>
                    <a:pt x="3" y="0"/>
                  </a:lnTo>
                  <a:lnTo>
                    <a:pt x="4" y="0"/>
                  </a:lnTo>
                  <a:lnTo>
                    <a:pt x="6" y="0"/>
                  </a:lnTo>
                  <a:lnTo>
                    <a:pt x="6" y="0"/>
                  </a:lnTo>
                  <a:lnTo>
                    <a:pt x="53" y="9"/>
                  </a:lnTo>
                  <a:lnTo>
                    <a:pt x="98" y="21"/>
                  </a:lnTo>
                  <a:lnTo>
                    <a:pt x="140" y="34"/>
                  </a:lnTo>
                  <a:lnTo>
                    <a:pt x="180" y="49"/>
                  </a:lnTo>
                  <a:lnTo>
                    <a:pt x="218" y="65"/>
                  </a:lnTo>
                  <a:lnTo>
                    <a:pt x="254" y="83"/>
                  </a:lnTo>
                  <a:lnTo>
                    <a:pt x="288" y="102"/>
                  </a:lnTo>
                  <a:lnTo>
                    <a:pt x="319" y="121"/>
                  </a:lnTo>
                  <a:lnTo>
                    <a:pt x="349" y="141"/>
                  </a:lnTo>
                  <a:lnTo>
                    <a:pt x="377" y="162"/>
                  </a:lnTo>
                  <a:lnTo>
                    <a:pt x="404" y="182"/>
                  </a:lnTo>
                  <a:lnTo>
                    <a:pt x="427" y="204"/>
                  </a:lnTo>
                  <a:lnTo>
                    <a:pt x="450" y="225"/>
                  </a:lnTo>
                  <a:lnTo>
                    <a:pt x="471" y="245"/>
                  </a:lnTo>
                  <a:lnTo>
                    <a:pt x="490" y="265"/>
                  </a:lnTo>
                  <a:lnTo>
                    <a:pt x="508" y="285"/>
                  </a:lnTo>
                  <a:lnTo>
                    <a:pt x="508" y="285"/>
                  </a:lnTo>
                  <a:lnTo>
                    <a:pt x="525" y="307"/>
                  </a:lnTo>
                  <a:lnTo>
                    <a:pt x="540" y="327"/>
                  </a:lnTo>
                  <a:lnTo>
                    <a:pt x="568" y="367"/>
                  </a:lnTo>
                  <a:lnTo>
                    <a:pt x="592" y="403"/>
                  </a:lnTo>
                  <a:lnTo>
                    <a:pt x="610" y="436"/>
                  </a:lnTo>
                  <a:lnTo>
                    <a:pt x="623" y="462"/>
                  </a:lnTo>
                  <a:lnTo>
                    <a:pt x="632" y="484"/>
                  </a:lnTo>
                  <a:lnTo>
                    <a:pt x="640" y="503"/>
                  </a:lnTo>
                  <a:lnTo>
                    <a:pt x="640" y="503"/>
                  </a:lnTo>
                  <a:lnTo>
                    <a:pt x="640" y="505"/>
                  </a:lnTo>
                  <a:lnTo>
                    <a:pt x="640" y="508"/>
                  </a:lnTo>
                  <a:lnTo>
                    <a:pt x="639" y="509"/>
                  </a:lnTo>
                  <a:lnTo>
                    <a:pt x="636" y="510"/>
                  </a:lnTo>
                  <a:lnTo>
                    <a:pt x="636" y="510"/>
                  </a:lnTo>
                  <a:lnTo>
                    <a:pt x="633" y="510"/>
                  </a:lnTo>
                  <a:lnTo>
                    <a:pt x="633" y="510"/>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2" name="Freeform 99"/>
            <p:cNvSpPr>
              <a:spLocks/>
            </p:cNvSpPr>
            <p:nvPr/>
          </p:nvSpPr>
          <p:spPr bwMode="auto">
            <a:xfrm>
              <a:off x="4455347" y="3044755"/>
              <a:ext cx="550773" cy="53038"/>
            </a:xfrm>
            <a:custGeom>
              <a:avLst/>
              <a:gdLst>
                <a:gd name="T0" fmla="*/ 534 w 540"/>
                <a:gd name="T1" fmla="*/ 52 h 52"/>
                <a:gd name="T2" fmla="*/ 534 w 540"/>
                <a:gd name="T3" fmla="*/ 52 h 52"/>
                <a:gd name="T4" fmla="*/ 534 w 540"/>
                <a:gd name="T5" fmla="*/ 52 h 52"/>
                <a:gd name="T6" fmla="*/ 5 w 540"/>
                <a:gd name="T7" fmla="*/ 13 h 52"/>
                <a:gd name="T8" fmla="*/ 5 w 540"/>
                <a:gd name="T9" fmla="*/ 13 h 52"/>
                <a:gd name="T10" fmla="*/ 3 w 540"/>
                <a:gd name="T11" fmla="*/ 11 h 52"/>
                <a:gd name="T12" fmla="*/ 1 w 540"/>
                <a:gd name="T13" fmla="*/ 10 h 52"/>
                <a:gd name="T14" fmla="*/ 0 w 540"/>
                <a:gd name="T15" fmla="*/ 8 h 52"/>
                <a:gd name="T16" fmla="*/ 0 w 540"/>
                <a:gd name="T17" fmla="*/ 5 h 52"/>
                <a:gd name="T18" fmla="*/ 0 w 540"/>
                <a:gd name="T19" fmla="*/ 5 h 52"/>
                <a:gd name="T20" fmla="*/ 0 w 540"/>
                <a:gd name="T21" fmla="*/ 3 h 52"/>
                <a:gd name="T22" fmla="*/ 1 w 540"/>
                <a:gd name="T23" fmla="*/ 1 h 52"/>
                <a:gd name="T24" fmla="*/ 4 w 540"/>
                <a:gd name="T25" fmla="*/ 0 h 52"/>
                <a:gd name="T26" fmla="*/ 6 w 540"/>
                <a:gd name="T27" fmla="*/ 0 h 52"/>
                <a:gd name="T28" fmla="*/ 535 w 540"/>
                <a:gd name="T29" fmla="*/ 39 h 52"/>
                <a:gd name="T30" fmla="*/ 535 w 540"/>
                <a:gd name="T31" fmla="*/ 39 h 52"/>
                <a:gd name="T32" fmla="*/ 537 w 540"/>
                <a:gd name="T33" fmla="*/ 40 h 52"/>
                <a:gd name="T34" fmla="*/ 539 w 540"/>
                <a:gd name="T35" fmla="*/ 42 h 52"/>
                <a:gd name="T36" fmla="*/ 540 w 540"/>
                <a:gd name="T37" fmla="*/ 43 h 52"/>
                <a:gd name="T38" fmla="*/ 540 w 540"/>
                <a:gd name="T39" fmla="*/ 45 h 52"/>
                <a:gd name="T40" fmla="*/ 540 w 540"/>
                <a:gd name="T41" fmla="*/ 45 h 52"/>
                <a:gd name="T42" fmla="*/ 540 w 540"/>
                <a:gd name="T43" fmla="*/ 48 h 52"/>
                <a:gd name="T44" fmla="*/ 539 w 540"/>
                <a:gd name="T45" fmla="*/ 50 h 52"/>
                <a:gd name="T46" fmla="*/ 537 w 540"/>
                <a:gd name="T47" fmla="*/ 52 h 52"/>
                <a:gd name="T48" fmla="*/ 534 w 540"/>
                <a:gd name="T49" fmla="*/ 52 h 52"/>
                <a:gd name="T50" fmla="*/ 534 w 540"/>
                <a:gd name="T51"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0" h="52">
                  <a:moveTo>
                    <a:pt x="534" y="52"/>
                  </a:moveTo>
                  <a:lnTo>
                    <a:pt x="534" y="52"/>
                  </a:lnTo>
                  <a:lnTo>
                    <a:pt x="534" y="52"/>
                  </a:lnTo>
                  <a:lnTo>
                    <a:pt x="5" y="13"/>
                  </a:lnTo>
                  <a:lnTo>
                    <a:pt x="5" y="13"/>
                  </a:lnTo>
                  <a:lnTo>
                    <a:pt x="3" y="11"/>
                  </a:lnTo>
                  <a:lnTo>
                    <a:pt x="1" y="10"/>
                  </a:lnTo>
                  <a:lnTo>
                    <a:pt x="0" y="8"/>
                  </a:lnTo>
                  <a:lnTo>
                    <a:pt x="0" y="5"/>
                  </a:lnTo>
                  <a:lnTo>
                    <a:pt x="0" y="5"/>
                  </a:lnTo>
                  <a:lnTo>
                    <a:pt x="0" y="3"/>
                  </a:lnTo>
                  <a:lnTo>
                    <a:pt x="1" y="1"/>
                  </a:lnTo>
                  <a:lnTo>
                    <a:pt x="4" y="0"/>
                  </a:lnTo>
                  <a:lnTo>
                    <a:pt x="6" y="0"/>
                  </a:lnTo>
                  <a:lnTo>
                    <a:pt x="535" y="39"/>
                  </a:lnTo>
                  <a:lnTo>
                    <a:pt x="535" y="39"/>
                  </a:lnTo>
                  <a:lnTo>
                    <a:pt x="537" y="40"/>
                  </a:lnTo>
                  <a:lnTo>
                    <a:pt x="539" y="42"/>
                  </a:lnTo>
                  <a:lnTo>
                    <a:pt x="540" y="43"/>
                  </a:lnTo>
                  <a:lnTo>
                    <a:pt x="540" y="45"/>
                  </a:lnTo>
                  <a:lnTo>
                    <a:pt x="540" y="45"/>
                  </a:lnTo>
                  <a:lnTo>
                    <a:pt x="540" y="48"/>
                  </a:lnTo>
                  <a:lnTo>
                    <a:pt x="539" y="50"/>
                  </a:lnTo>
                  <a:lnTo>
                    <a:pt x="537" y="52"/>
                  </a:lnTo>
                  <a:lnTo>
                    <a:pt x="534" y="52"/>
                  </a:lnTo>
                  <a:lnTo>
                    <a:pt x="534" y="52"/>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3" name="Freeform 100"/>
            <p:cNvSpPr>
              <a:spLocks noEditPoints="1"/>
            </p:cNvSpPr>
            <p:nvPr/>
          </p:nvSpPr>
          <p:spPr bwMode="auto">
            <a:xfrm>
              <a:off x="2784664" y="2598015"/>
              <a:ext cx="95876" cy="148914"/>
            </a:xfrm>
            <a:custGeom>
              <a:avLst/>
              <a:gdLst>
                <a:gd name="T0" fmla="*/ 47 w 95"/>
                <a:gd name="T1" fmla="*/ 144 h 144"/>
                <a:gd name="T2" fmla="*/ 28 w 95"/>
                <a:gd name="T3" fmla="*/ 139 h 144"/>
                <a:gd name="T4" fmla="*/ 13 w 95"/>
                <a:gd name="T5" fmla="*/ 124 h 144"/>
                <a:gd name="T6" fmla="*/ 3 w 95"/>
                <a:gd name="T7" fmla="*/ 100 h 144"/>
                <a:gd name="T8" fmla="*/ 0 w 95"/>
                <a:gd name="T9" fmla="*/ 73 h 144"/>
                <a:gd name="T10" fmla="*/ 0 w 95"/>
                <a:gd name="T11" fmla="*/ 58 h 144"/>
                <a:gd name="T12" fmla="*/ 8 w 95"/>
                <a:gd name="T13" fmla="*/ 31 h 144"/>
                <a:gd name="T14" fmla="*/ 21 w 95"/>
                <a:gd name="T15" fmla="*/ 12 h 144"/>
                <a:gd name="T16" fmla="*/ 38 w 95"/>
                <a:gd name="T17" fmla="*/ 1 h 144"/>
                <a:gd name="T18" fmla="*/ 47 w 95"/>
                <a:gd name="T19" fmla="*/ 0 h 144"/>
                <a:gd name="T20" fmla="*/ 66 w 95"/>
                <a:gd name="T21" fmla="*/ 5 h 144"/>
                <a:gd name="T22" fmla="*/ 81 w 95"/>
                <a:gd name="T23" fmla="*/ 21 h 144"/>
                <a:gd name="T24" fmla="*/ 91 w 95"/>
                <a:gd name="T25" fmla="*/ 44 h 144"/>
                <a:gd name="T26" fmla="*/ 95 w 95"/>
                <a:gd name="T27" fmla="*/ 73 h 144"/>
                <a:gd name="T28" fmla="*/ 93 w 95"/>
                <a:gd name="T29" fmla="*/ 87 h 144"/>
                <a:gd name="T30" fmla="*/ 87 w 95"/>
                <a:gd name="T31" fmla="*/ 113 h 144"/>
                <a:gd name="T32" fmla="*/ 75 w 95"/>
                <a:gd name="T33" fmla="*/ 133 h 144"/>
                <a:gd name="T34" fmla="*/ 57 w 95"/>
                <a:gd name="T35" fmla="*/ 143 h 144"/>
                <a:gd name="T36" fmla="*/ 47 w 95"/>
                <a:gd name="T37" fmla="*/ 144 h 144"/>
                <a:gd name="T38" fmla="*/ 47 w 95"/>
                <a:gd name="T39" fmla="*/ 12 h 144"/>
                <a:gd name="T40" fmla="*/ 34 w 95"/>
                <a:gd name="T41" fmla="*/ 17 h 144"/>
                <a:gd name="T42" fmla="*/ 23 w 95"/>
                <a:gd name="T43" fmla="*/ 30 h 144"/>
                <a:gd name="T44" fmla="*/ 16 w 95"/>
                <a:gd name="T45" fmla="*/ 49 h 144"/>
                <a:gd name="T46" fmla="*/ 13 w 95"/>
                <a:gd name="T47" fmla="*/ 73 h 144"/>
                <a:gd name="T48" fmla="*/ 13 w 95"/>
                <a:gd name="T49" fmla="*/ 84 h 144"/>
                <a:gd name="T50" fmla="*/ 18 w 95"/>
                <a:gd name="T51" fmla="*/ 105 h 144"/>
                <a:gd name="T52" fmla="*/ 28 w 95"/>
                <a:gd name="T53" fmla="*/ 122 h 144"/>
                <a:gd name="T54" fmla="*/ 41 w 95"/>
                <a:gd name="T55" fmla="*/ 131 h 144"/>
                <a:gd name="T56" fmla="*/ 47 w 95"/>
                <a:gd name="T57" fmla="*/ 132 h 144"/>
                <a:gd name="T58" fmla="*/ 61 w 95"/>
                <a:gd name="T59" fmla="*/ 128 h 144"/>
                <a:gd name="T60" fmla="*/ 72 w 95"/>
                <a:gd name="T61" fmla="*/ 114 h 144"/>
                <a:gd name="T62" fmla="*/ 80 w 95"/>
                <a:gd name="T63" fmla="*/ 95 h 144"/>
                <a:gd name="T64" fmla="*/ 82 w 95"/>
                <a:gd name="T65" fmla="*/ 73 h 144"/>
                <a:gd name="T66" fmla="*/ 82 w 95"/>
                <a:gd name="T67" fmla="*/ 60 h 144"/>
                <a:gd name="T68" fmla="*/ 76 w 95"/>
                <a:gd name="T69" fmla="*/ 39 h 144"/>
                <a:gd name="T70" fmla="*/ 67 w 95"/>
                <a:gd name="T71" fmla="*/ 22 h 144"/>
                <a:gd name="T72" fmla="*/ 55 w 95"/>
                <a:gd name="T73" fmla="*/ 14 h 144"/>
                <a:gd name="T74" fmla="*/ 47 w 95"/>
                <a:gd name="T75"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44">
                  <a:moveTo>
                    <a:pt x="47" y="144"/>
                  </a:moveTo>
                  <a:lnTo>
                    <a:pt x="47" y="144"/>
                  </a:lnTo>
                  <a:lnTo>
                    <a:pt x="38" y="143"/>
                  </a:lnTo>
                  <a:lnTo>
                    <a:pt x="28" y="139"/>
                  </a:lnTo>
                  <a:lnTo>
                    <a:pt x="21" y="133"/>
                  </a:lnTo>
                  <a:lnTo>
                    <a:pt x="13" y="124"/>
                  </a:lnTo>
                  <a:lnTo>
                    <a:pt x="8" y="113"/>
                  </a:lnTo>
                  <a:lnTo>
                    <a:pt x="3" y="100"/>
                  </a:lnTo>
                  <a:lnTo>
                    <a:pt x="0" y="87"/>
                  </a:lnTo>
                  <a:lnTo>
                    <a:pt x="0" y="73"/>
                  </a:lnTo>
                  <a:lnTo>
                    <a:pt x="0" y="73"/>
                  </a:lnTo>
                  <a:lnTo>
                    <a:pt x="0" y="58"/>
                  </a:lnTo>
                  <a:lnTo>
                    <a:pt x="3" y="44"/>
                  </a:lnTo>
                  <a:lnTo>
                    <a:pt x="8" y="31"/>
                  </a:lnTo>
                  <a:lnTo>
                    <a:pt x="13" y="21"/>
                  </a:lnTo>
                  <a:lnTo>
                    <a:pt x="21" y="12"/>
                  </a:lnTo>
                  <a:lnTo>
                    <a:pt x="28" y="5"/>
                  </a:lnTo>
                  <a:lnTo>
                    <a:pt x="38" y="1"/>
                  </a:lnTo>
                  <a:lnTo>
                    <a:pt x="47" y="0"/>
                  </a:lnTo>
                  <a:lnTo>
                    <a:pt x="47" y="0"/>
                  </a:lnTo>
                  <a:lnTo>
                    <a:pt x="57" y="1"/>
                  </a:lnTo>
                  <a:lnTo>
                    <a:pt x="66" y="5"/>
                  </a:lnTo>
                  <a:lnTo>
                    <a:pt x="75" y="12"/>
                  </a:lnTo>
                  <a:lnTo>
                    <a:pt x="81" y="21"/>
                  </a:lnTo>
                  <a:lnTo>
                    <a:pt x="87" y="31"/>
                  </a:lnTo>
                  <a:lnTo>
                    <a:pt x="91" y="44"/>
                  </a:lnTo>
                  <a:lnTo>
                    <a:pt x="93" y="58"/>
                  </a:lnTo>
                  <a:lnTo>
                    <a:pt x="95" y="73"/>
                  </a:lnTo>
                  <a:lnTo>
                    <a:pt x="95" y="73"/>
                  </a:lnTo>
                  <a:lnTo>
                    <a:pt x="93" y="87"/>
                  </a:lnTo>
                  <a:lnTo>
                    <a:pt x="91" y="100"/>
                  </a:lnTo>
                  <a:lnTo>
                    <a:pt x="87" y="113"/>
                  </a:lnTo>
                  <a:lnTo>
                    <a:pt x="81" y="124"/>
                  </a:lnTo>
                  <a:lnTo>
                    <a:pt x="75" y="133"/>
                  </a:lnTo>
                  <a:lnTo>
                    <a:pt x="66" y="139"/>
                  </a:lnTo>
                  <a:lnTo>
                    <a:pt x="57" y="143"/>
                  </a:lnTo>
                  <a:lnTo>
                    <a:pt x="47" y="144"/>
                  </a:lnTo>
                  <a:lnTo>
                    <a:pt x="47" y="144"/>
                  </a:lnTo>
                  <a:close/>
                  <a:moveTo>
                    <a:pt x="47" y="12"/>
                  </a:moveTo>
                  <a:lnTo>
                    <a:pt x="47" y="12"/>
                  </a:lnTo>
                  <a:lnTo>
                    <a:pt x="41" y="14"/>
                  </a:lnTo>
                  <a:lnTo>
                    <a:pt x="34" y="17"/>
                  </a:lnTo>
                  <a:lnTo>
                    <a:pt x="28" y="22"/>
                  </a:lnTo>
                  <a:lnTo>
                    <a:pt x="23" y="30"/>
                  </a:lnTo>
                  <a:lnTo>
                    <a:pt x="18" y="39"/>
                  </a:lnTo>
                  <a:lnTo>
                    <a:pt x="16" y="49"/>
                  </a:lnTo>
                  <a:lnTo>
                    <a:pt x="13" y="60"/>
                  </a:lnTo>
                  <a:lnTo>
                    <a:pt x="13" y="73"/>
                  </a:lnTo>
                  <a:lnTo>
                    <a:pt x="13" y="73"/>
                  </a:lnTo>
                  <a:lnTo>
                    <a:pt x="13" y="84"/>
                  </a:lnTo>
                  <a:lnTo>
                    <a:pt x="16" y="95"/>
                  </a:lnTo>
                  <a:lnTo>
                    <a:pt x="18" y="105"/>
                  </a:lnTo>
                  <a:lnTo>
                    <a:pt x="23" y="114"/>
                  </a:lnTo>
                  <a:lnTo>
                    <a:pt x="28" y="122"/>
                  </a:lnTo>
                  <a:lnTo>
                    <a:pt x="34" y="128"/>
                  </a:lnTo>
                  <a:lnTo>
                    <a:pt x="41" y="131"/>
                  </a:lnTo>
                  <a:lnTo>
                    <a:pt x="47" y="132"/>
                  </a:lnTo>
                  <a:lnTo>
                    <a:pt x="47" y="132"/>
                  </a:lnTo>
                  <a:lnTo>
                    <a:pt x="55" y="131"/>
                  </a:lnTo>
                  <a:lnTo>
                    <a:pt x="61" y="128"/>
                  </a:lnTo>
                  <a:lnTo>
                    <a:pt x="67" y="122"/>
                  </a:lnTo>
                  <a:lnTo>
                    <a:pt x="72" y="114"/>
                  </a:lnTo>
                  <a:lnTo>
                    <a:pt x="76" y="105"/>
                  </a:lnTo>
                  <a:lnTo>
                    <a:pt x="80" y="95"/>
                  </a:lnTo>
                  <a:lnTo>
                    <a:pt x="82" y="84"/>
                  </a:lnTo>
                  <a:lnTo>
                    <a:pt x="82" y="73"/>
                  </a:lnTo>
                  <a:lnTo>
                    <a:pt x="82" y="73"/>
                  </a:lnTo>
                  <a:lnTo>
                    <a:pt x="82" y="60"/>
                  </a:lnTo>
                  <a:lnTo>
                    <a:pt x="80" y="49"/>
                  </a:lnTo>
                  <a:lnTo>
                    <a:pt x="76" y="39"/>
                  </a:lnTo>
                  <a:lnTo>
                    <a:pt x="72" y="30"/>
                  </a:lnTo>
                  <a:lnTo>
                    <a:pt x="67" y="22"/>
                  </a:lnTo>
                  <a:lnTo>
                    <a:pt x="61" y="17"/>
                  </a:lnTo>
                  <a:lnTo>
                    <a:pt x="55" y="14"/>
                  </a:lnTo>
                  <a:lnTo>
                    <a:pt x="47" y="12"/>
                  </a:lnTo>
                  <a:lnTo>
                    <a:pt x="47" y="12"/>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4" name="Freeform 101"/>
            <p:cNvSpPr>
              <a:spLocks noEditPoints="1"/>
            </p:cNvSpPr>
            <p:nvPr/>
          </p:nvSpPr>
          <p:spPr bwMode="auto">
            <a:xfrm>
              <a:off x="2907059" y="2585777"/>
              <a:ext cx="67318" cy="99955"/>
            </a:xfrm>
            <a:custGeom>
              <a:avLst/>
              <a:gdLst>
                <a:gd name="T0" fmla="*/ 34 w 67"/>
                <a:gd name="T1" fmla="*/ 98 h 98"/>
                <a:gd name="T2" fmla="*/ 20 w 67"/>
                <a:gd name="T3" fmla="*/ 95 h 98"/>
                <a:gd name="T4" fmla="*/ 10 w 67"/>
                <a:gd name="T5" fmla="*/ 84 h 98"/>
                <a:gd name="T6" fmla="*/ 3 w 67"/>
                <a:gd name="T7" fmla="*/ 68 h 98"/>
                <a:gd name="T8" fmla="*/ 0 w 67"/>
                <a:gd name="T9" fmla="*/ 49 h 98"/>
                <a:gd name="T10" fmla="*/ 1 w 67"/>
                <a:gd name="T11" fmla="*/ 39 h 98"/>
                <a:gd name="T12" fmla="*/ 6 w 67"/>
                <a:gd name="T13" fmla="*/ 22 h 98"/>
                <a:gd name="T14" fmla="*/ 15 w 67"/>
                <a:gd name="T15" fmla="*/ 8 h 98"/>
                <a:gd name="T16" fmla="*/ 27 w 67"/>
                <a:gd name="T17" fmla="*/ 0 h 98"/>
                <a:gd name="T18" fmla="*/ 34 w 67"/>
                <a:gd name="T19" fmla="*/ 0 h 98"/>
                <a:gd name="T20" fmla="*/ 47 w 67"/>
                <a:gd name="T21" fmla="*/ 4 h 98"/>
                <a:gd name="T22" fmla="*/ 57 w 67"/>
                <a:gd name="T23" fmla="*/ 14 h 98"/>
                <a:gd name="T24" fmla="*/ 64 w 67"/>
                <a:gd name="T25" fmla="*/ 29 h 98"/>
                <a:gd name="T26" fmla="*/ 67 w 67"/>
                <a:gd name="T27" fmla="*/ 49 h 98"/>
                <a:gd name="T28" fmla="*/ 65 w 67"/>
                <a:gd name="T29" fmla="*/ 59 h 98"/>
                <a:gd name="T30" fmla="*/ 60 w 67"/>
                <a:gd name="T31" fmla="*/ 77 h 98"/>
                <a:gd name="T32" fmla="*/ 52 w 67"/>
                <a:gd name="T33" fmla="*/ 91 h 98"/>
                <a:gd name="T34" fmla="*/ 40 w 67"/>
                <a:gd name="T35" fmla="*/ 97 h 98"/>
                <a:gd name="T36" fmla="*/ 34 w 67"/>
                <a:gd name="T37" fmla="*/ 98 h 98"/>
                <a:gd name="T38" fmla="*/ 34 w 67"/>
                <a:gd name="T39" fmla="*/ 13 h 98"/>
                <a:gd name="T40" fmla="*/ 25 w 67"/>
                <a:gd name="T41" fmla="*/ 15 h 98"/>
                <a:gd name="T42" fmla="*/ 19 w 67"/>
                <a:gd name="T43" fmla="*/ 23 h 98"/>
                <a:gd name="T44" fmla="*/ 14 w 67"/>
                <a:gd name="T45" fmla="*/ 35 h 98"/>
                <a:gd name="T46" fmla="*/ 13 w 67"/>
                <a:gd name="T47" fmla="*/ 49 h 98"/>
                <a:gd name="T48" fmla="*/ 14 w 67"/>
                <a:gd name="T49" fmla="*/ 57 h 98"/>
                <a:gd name="T50" fmla="*/ 16 w 67"/>
                <a:gd name="T51" fmla="*/ 69 h 98"/>
                <a:gd name="T52" fmla="*/ 21 w 67"/>
                <a:gd name="T53" fmla="*/ 79 h 98"/>
                <a:gd name="T54" fmla="*/ 29 w 67"/>
                <a:gd name="T55" fmla="*/ 86 h 98"/>
                <a:gd name="T56" fmla="*/ 34 w 67"/>
                <a:gd name="T57" fmla="*/ 86 h 98"/>
                <a:gd name="T58" fmla="*/ 42 w 67"/>
                <a:gd name="T59" fmla="*/ 83 h 98"/>
                <a:gd name="T60" fmla="*/ 48 w 67"/>
                <a:gd name="T61" fmla="*/ 76 h 98"/>
                <a:gd name="T62" fmla="*/ 53 w 67"/>
                <a:gd name="T63" fmla="*/ 63 h 98"/>
                <a:gd name="T64" fmla="*/ 54 w 67"/>
                <a:gd name="T65" fmla="*/ 49 h 98"/>
                <a:gd name="T66" fmla="*/ 54 w 67"/>
                <a:gd name="T67" fmla="*/ 42 h 98"/>
                <a:gd name="T68" fmla="*/ 50 w 67"/>
                <a:gd name="T69" fmla="*/ 29 h 98"/>
                <a:gd name="T70" fmla="*/ 45 w 67"/>
                <a:gd name="T71" fmla="*/ 19 h 98"/>
                <a:gd name="T72" fmla="*/ 38 w 67"/>
                <a:gd name="T73" fmla="*/ 13 h 98"/>
                <a:gd name="T74" fmla="*/ 34 w 67"/>
                <a:gd name="T75" fmla="*/ 1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98">
                  <a:moveTo>
                    <a:pt x="34" y="98"/>
                  </a:moveTo>
                  <a:lnTo>
                    <a:pt x="34" y="98"/>
                  </a:lnTo>
                  <a:lnTo>
                    <a:pt x="27" y="97"/>
                  </a:lnTo>
                  <a:lnTo>
                    <a:pt x="20" y="95"/>
                  </a:lnTo>
                  <a:lnTo>
                    <a:pt x="15" y="91"/>
                  </a:lnTo>
                  <a:lnTo>
                    <a:pt x="10" y="84"/>
                  </a:lnTo>
                  <a:lnTo>
                    <a:pt x="6" y="77"/>
                  </a:lnTo>
                  <a:lnTo>
                    <a:pt x="3" y="68"/>
                  </a:lnTo>
                  <a:lnTo>
                    <a:pt x="1" y="59"/>
                  </a:lnTo>
                  <a:lnTo>
                    <a:pt x="0" y="49"/>
                  </a:lnTo>
                  <a:lnTo>
                    <a:pt x="0" y="49"/>
                  </a:lnTo>
                  <a:lnTo>
                    <a:pt x="1" y="39"/>
                  </a:lnTo>
                  <a:lnTo>
                    <a:pt x="3" y="29"/>
                  </a:lnTo>
                  <a:lnTo>
                    <a:pt x="6" y="22"/>
                  </a:lnTo>
                  <a:lnTo>
                    <a:pt x="10" y="14"/>
                  </a:lnTo>
                  <a:lnTo>
                    <a:pt x="15" y="8"/>
                  </a:lnTo>
                  <a:lnTo>
                    <a:pt x="20" y="4"/>
                  </a:lnTo>
                  <a:lnTo>
                    <a:pt x="27" y="0"/>
                  </a:lnTo>
                  <a:lnTo>
                    <a:pt x="34" y="0"/>
                  </a:lnTo>
                  <a:lnTo>
                    <a:pt x="34" y="0"/>
                  </a:lnTo>
                  <a:lnTo>
                    <a:pt x="40" y="0"/>
                  </a:lnTo>
                  <a:lnTo>
                    <a:pt x="47" y="4"/>
                  </a:lnTo>
                  <a:lnTo>
                    <a:pt x="52" y="8"/>
                  </a:lnTo>
                  <a:lnTo>
                    <a:pt x="57" y="14"/>
                  </a:lnTo>
                  <a:lnTo>
                    <a:pt x="60" y="22"/>
                  </a:lnTo>
                  <a:lnTo>
                    <a:pt x="64" y="29"/>
                  </a:lnTo>
                  <a:lnTo>
                    <a:pt x="65" y="39"/>
                  </a:lnTo>
                  <a:lnTo>
                    <a:pt x="67" y="49"/>
                  </a:lnTo>
                  <a:lnTo>
                    <a:pt x="67" y="49"/>
                  </a:lnTo>
                  <a:lnTo>
                    <a:pt x="65" y="59"/>
                  </a:lnTo>
                  <a:lnTo>
                    <a:pt x="64" y="68"/>
                  </a:lnTo>
                  <a:lnTo>
                    <a:pt x="60" y="77"/>
                  </a:lnTo>
                  <a:lnTo>
                    <a:pt x="57" y="84"/>
                  </a:lnTo>
                  <a:lnTo>
                    <a:pt x="52" y="91"/>
                  </a:lnTo>
                  <a:lnTo>
                    <a:pt x="47" y="95"/>
                  </a:lnTo>
                  <a:lnTo>
                    <a:pt x="40" y="97"/>
                  </a:lnTo>
                  <a:lnTo>
                    <a:pt x="34" y="98"/>
                  </a:lnTo>
                  <a:lnTo>
                    <a:pt x="34" y="98"/>
                  </a:lnTo>
                  <a:close/>
                  <a:moveTo>
                    <a:pt x="34" y="13"/>
                  </a:moveTo>
                  <a:lnTo>
                    <a:pt x="34" y="13"/>
                  </a:lnTo>
                  <a:lnTo>
                    <a:pt x="29" y="13"/>
                  </a:lnTo>
                  <a:lnTo>
                    <a:pt x="25" y="15"/>
                  </a:lnTo>
                  <a:lnTo>
                    <a:pt x="21" y="19"/>
                  </a:lnTo>
                  <a:lnTo>
                    <a:pt x="19" y="23"/>
                  </a:lnTo>
                  <a:lnTo>
                    <a:pt x="16" y="29"/>
                  </a:lnTo>
                  <a:lnTo>
                    <a:pt x="14" y="35"/>
                  </a:lnTo>
                  <a:lnTo>
                    <a:pt x="14" y="42"/>
                  </a:lnTo>
                  <a:lnTo>
                    <a:pt x="13" y="49"/>
                  </a:lnTo>
                  <a:lnTo>
                    <a:pt x="13" y="49"/>
                  </a:lnTo>
                  <a:lnTo>
                    <a:pt x="14" y="57"/>
                  </a:lnTo>
                  <a:lnTo>
                    <a:pt x="14" y="63"/>
                  </a:lnTo>
                  <a:lnTo>
                    <a:pt x="16" y="69"/>
                  </a:lnTo>
                  <a:lnTo>
                    <a:pt x="19" y="76"/>
                  </a:lnTo>
                  <a:lnTo>
                    <a:pt x="21" y="79"/>
                  </a:lnTo>
                  <a:lnTo>
                    <a:pt x="25" y="83"/>
                  </a:lnTo>
                  <a:lnTo>
                    <a:pt x="29" y="86"/>
                  </a:lnTo>
                  <a:lnTo>
                    <a:pt x="34" y="86"/>
                  </a:lnTo>
                  <a:lnTo>
                    <a:pt x="34" y="86"/>
                  </a:lnTo>
                  <a:lnTo>
                    <a:pt x="38" y="86"/>
                  </a:lnTo>
                  <a:lnTo>
                    <a:pt x="42" y="83"/>
                  </a:lnTo>
                  <a:lnTo>
                    <a:pt x="45" y="79"/>
                  </a:lnTo>
                  <a:lnTo>
                    <a:pt x="48" y="76"/>
                  </a:lnTo>
                  <a:lnTo>
                    <a:pt x="50" y="69"/>
                  </a:lnTo>
                  <a:lnTo>
                    <a:pt x="53" y="63"/>
                  </a:lnTo>
                  <a:lnTo>
                    <a:pt x="54" y="57"/>
                  </a:lnTo>
                  <a:lnTo>
                    <a:pt x="54" y="49"/>
                  </a:lnTo>
                  <a:lnTo>
                    <a:pt x="54" y="49"/>
                  </a:lnTo>
                  <a:lnTo>
                    <a:pt x="54" y="42"/>
                  </a:lnTo>
                  <a:lnTo>
                    <a:pt x="53" y="35"/>
                  </a:lnTo>
                  <a:lnTo>
                    <a:pt x="50" y="29"/>
                  </a:lnTo>
                  <a:lnTo>
                    <a:pt x="48" y="23"/>
                  </a:lnTo>
                  <a:lnTo>
                    <a:pt x="45" y="19"/>
                  </a:lnTo>
                  <a:lnTo>
                    <a:pt x="42" y="15"/>
                  </a:lnTo>
                  <a:lnTo>
                    <a:pt x="38" y="13"/>
                  </a:lnTo>
                  <a:lnTo>
                    <a:pt x="34" y="13"/>
                  </a:lnTo>
                  <a:lnTo>
                    <a:pt x="34" y="13"/>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5" name="Freeform 102"/>
            <p:cNvSpPr>
              <a:spLocks noEditPoints="1"/>
            </p:cNvSpPr>
            <p:nvPr/>
          </p:nvSpPr>
          <p:spPr bwMode="auto">
            <a:xfrm>
              <a:off x="9208325" y="3042716"/>
              <a:ext cx="163192" cy="148914"/>
            </a:xfrm>
            <a:custGeom>
              <a:avLst/>
              <a:gdLst>
                <a:gd name="T0" fmla="*/ 117 w 158"/>
                <a:gd name="T1" fmla="*/ 146 h 146"/>
                <a:gd name="T2" fmla="*/ 105 w 158"/>
                <a:gd name="T3" fmla="*/ 142 h 146"/>
                <a:gd name="T4" fmla="*/ 70 w 158"/>
                <a:gd name="T5" fmla="*/ 117 h 146"/>
                <a:gd name="T6" fmla="*/ 31 w 158"/>
                <a:gd name="T7" fmla="*/ 79 h 146"/>
                <a:gd name="T8" fmla="*/ 9 w 158"/>
                <a:gd name="T9" fmla="*/ 49 h 146"/>
                <a:gd name="T10" fmla="*/ 1 w 158"/>
                <a:gd name="T11" fmla="*/ 31 h 146"/>
                <a:gd name="T12" fmla="*/ 0 w 158"/>
                <a:gd name="T13" fmla="*/ 24 h 146"/>
                <a:gd name="T14" fmla="*/ 1 w 158"/>
                <a:gd name="T15" fmla="*/ 16 h 146"/>
                <a:gd name="T16" fmla="*/ 7 w 158"/>
                <a:gd name="T17" fmla="*/ 9 h 146"/>
                <a:gd name="T18" fmla="*/ 19 w 158"/>
                <a:gd name="T19" fmla="*/ 2 h 146"/>
                <a:gd name="T20" fmla="*/ 38 w 158"/>
                <a:gd name="T21" fmla="*/ 0 h 146"/>
                <a:gd name="T22" fmla="*/ 55 w 158"/>
                <a:gd name="T23" fmla="*/ 1 h 146"/>
                <a:gd name="T24" fmla="*/ 103 w 158"/>
                <a:gd name="T25" fmla="*/ 10 h 146"/>
                <a:gd name="T26" fmla="*/ 118 w 158"/>
                <a:gd name="T27" fmla="*/ 12 h 146"/>
                <a:gd name="T28" fmla="*/ 126 w 158"/>
                <a:gd name="T29" fmla="*/ 15 h 146"/>
                <a:gd name="T30" fmla="*/ 141 w 158"/>
                <a:gd name="T31" fmla="*/ 25 h 146"/>
                <a:gd name="T32" fmla="*/ 151 w 158"/>
                <a:gd name="T33" fmla="*/ 44 h 146"/>
                <a:gd name="T34" fmla="*/ 157 w 158"/>
                <a:gd name="T35" fmla="*/ 66 h 146"/>
                <a:gd name="T36" fmla="*/ 158 w 158"/>
                <a:gd name="T37" fmla="*/ 79 h 146"/>
                <a:gd name="T38" fmla="*/ 154 w 158"/>
                <a:gd name="T39" fmla="*/ 105 h 146"/>
                <a:gd name="T40" fmla="*/ 146 w 158"/>
                <a:gd name="T41" fmla="*/ 127 h 146"/>
                <a:gd name="T42" fmla="*/ 133 w 158"/>
                <a:gd name="T43" fmla="*/ 141 h 146"/>
                <a:gd name="T44" fmla="*/ 117 w 158"/>
                <a:gd name="T45" fmla="*/ 146 h 146"/>
                <a:gd name="T46" fmla="*/ 38 w 158"/>
                <a:gd name="T47" fmla="*/ 12 h 146"/>
                <a:gd name="T48" fmla="*/ 26 w 158"/>
                <a:gd name="T49" fmla="*/ 14 h 146"/>
                <a:gd name="T50" fmla="*/ 14 w 158"/>
                <a:gd name="T51" fmla="*/ 19 h 146"/>
                <a:gd name="T52" fmla="*/ 12 w 158"/>
                <a:gd name="T53" fmla="*/ 24 h 146"/>
                <a:gd name="T54" fmla="*/ 14 w 158"/>
                <a:gd name="T55" fmla="*/ 30 h 146"/>
                <a:gd name="T56" fmla="*/ 21 w 158"/>
                <a:gd name="T57" fmla="*/ 45 h 146"/>
                <a:gd name="T58" fmla="*/ 41 w 158"/>
                <a:gd name="T59" fmla="*/ 73 h 146"/>
                <a:gd name="T60" fmla="*/ 78 w 158"/>
                <a:gd name="T61" fmla="*/ 107 h 146"/>
                <a:gd name="T62" fmla="*/ 108 w 158"/>
                <a:gd name="T63" fmla="*/ 129 h 146"/>
                <a:gd name="T64" fmla="*/ 117 w 158"/>
                <a:gd name="T65" fmla="*/ 133 h 146"/>
                <a:gd name="T66" fmla="*/ 122 w 158"/>
                <a:gd name="T67" fmla="*/ 132 h 146"/>
                <a:gd name="T68" fmla="*/ 132 w 158"/>
                <a:gd name="T69" fmla="*/ 124 h 146"/>
                <a:gd name="T70" fmla="*/ 141 w 158"/>
                <a:gd name="T71" fmla="*/ 109 h 146"/>
                <a:gd name="T72" fmla="*/ 144 w 158"/>
                <a:gd name="T73" fmla="*/ 90 h 146"/>
                <a:gd name="T74" fmla="*/ 146 w 158"/>
                <a:gd name="T75" fmla="*/ 79 h 146"/>
                <a:gd name="T76" fmla="*/ 143 w 158"/>
                <a:gd name="T77" fmla="*/ 58 h 146"/>
                <a:gd name="T78" fmla="*/ 136 w 158"/>
                <a:gd name="T79" fmla="*/ 40 h 146"/>
                <a:gd name="T80" fmla="*/ 127 w 158"/>
                <a:gd name="T81" fmla="*/ 30 h 146"/>
                <a:gd name="T82" fmla="*/ 115 w 158"/>
                <a:gd name="T83" fmla="*/ 25 h 146"/>
                <a:gd name="T84" fmla="*/ 100 w 158"/>
                <a:gd name="T85" fmla="*/ 22 h 146"/>
                <a:gd name="T86" fmla="*/ 70 w 158"/>
                <a:gd name="T87" fmla="*/ 16 h 146"/>
                <a:gd name="T88" fmla="*/ 38 w 158"/>
                <a:gd name="T89" fmla="*/ 1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8" h="146">
                  <a:moveTo>
                    <a:pt x="117" y="146"/>
                  </a:moveTo>
                  <a:lnTo>
                    <a:pt x="117" y="146"/>
                  </a:lnTo>
                  <a:lnTo>
                    <a:pt x="112" y="144"/>
                  </a:lnTo>
                  <a:lnTo>
                    <a:pt x="105" y="142"/>
                  </a:lnTo>
                  <a:lnTo>
                    <a:pt x="89" y="132"/>
                  </a:lnTo>
                  <a:lnTo>
                    <a:pt x="70" y="117"/>
                  </a:lnTo>
                  <a:lnTo>
                    <a:pt x="50" y="99"/>
                  </a:lnTo>
                  <a:lnTo>
                    <a:pt x="31" y="79"/>
                  </a:lnTo>
                  <a:lnTo>
                    <a:pt x="15" y="59"/>
                  </a:lnTo>
                  <a:lnTo>
                    <a:pt x="9" y="49"/>
                  </a:lnTo>
                  <a:lnTo>
                    <a:pt x="4" y="40"/>
                  </a:lnTo>
                  <a:lnTo>
                    <a:pt x="1" y="31"/>
                  </a:lnTo>
                  <a:lnTo>
                    <a:pt x="0" y="24"/>
                  </a:lnTo>
                  <a:lnTo>
                    <a:pt x="0" y="24"/>
                  </a:lnTo>
                  <a:lnTo>
                    <a:pt x="0" y="20"/>
                  </a:lnTo>
                  <a:lnTo>
                    <a:pt x="1" y="16"/>
                  </a:lnTo>
                  <a:lnTo>
                    <a:pt x="4" y="11"/>
                  </a:lnTo>
                  <a:lnTo>
                    <a:pt x="7" y="9"/>
                  </a:lnTo>
                  <a:lnTo>
                    <a:pt x="12" y="5"/>
                  </a:lnTo>
                  <a:lnTo>
                    <a:pt x="19" y="2"/>
                  </a:lnTo>
                  <a:lnTo>
                    <a:pt x="28" y="1"/>
                  </a:lnTo>
                  <a:lnTo>
                    <a:pt x="38" y="0"/>
                  </a:lnTo>
                  <a:lnTo>
                    <a:pt x="38" y="0"/>
                  </a:lnTo>
                  <a:lnTo>
                    <a:pt x="55" y="1"/>
                  </a:lnTo>
                  <a:lnTo>
                    <a:pt x="73" y="4"/>
                  </a:lnTo>
                  <a:lnTo>
                    <a:pt x="103" y="10"/>
                  </a:lnTo>
                  <a:lnTo>
                    <a:pt x="103" y="10"/>
                  </a:lnTo>
                  <a:lnTo>
                    <a:pt x="118" y="12"/>
                  </a:lnTo>
                  <a:lnTo>
                    <a:pt x="118" y="12"/>
                  </a:lnTo>
                  <a:lnTo>
                    <a:pt x="126" y="15"/>
                  </a:lnTo>
                  <a:lnTo>
                    <a:pt x="133" y="19"/>
                  </a:lnTo>
                  <a:lnTo>
                    <a:pt x="141" y="25"/>
                  </a:lnTo>
                  <a:lnTo>
                    <a:pt x="147" y="34"/>
                  </a:lnTo>
                  <a:lnTo>
                    <a:pt x="151" y="44"/>
                  </a:lnTo>
                  <a:lnTo>
                    <a:pt x="154" y="54"/>
                  </a:lnTo>
                  <a:lnTo>
                    <a:pt x="157" y="66"/>
                  </a:lnTo>
                  <a:lnTo>
                    <a:pt x="158" y="79"/>
                  </a:lnTo>
                  <a:lnTo>
                    <a:pt x="158" y="79"/>
                  </a:lnTo>
                  <a:lnTo>
                    <a:pt x="157" y="93"/>
                  </a:lnTo>
                  <a:lnTo>
                    <a:pt x="154" y="105"/>
                  </a:lnTo>
                  <a:lnTo>
                    <a:pt x="151" y="117"/>
                  </a:lnTo>
                  <a:lnTo>
                    <a:pt x="146" y="127"/>
                  </a:lnTo>
                  <a:lnTo>
                    <a:pt x="139" y="134"/>
                  </a:lnTo>
                  <a:lnTo>
                    <a:pt x="133" y="141"/>
                  </a:lnTo>
                  <a:lnTo>
                    <a:pt x="126" y="144"/>
                  </a:lnTo>
                  <a:lnTo>
                    <a:pt x="117" y="146"/>
                  </a:lnTo>
                  <a:lnTo>
                    <a:pt x="117" y="146"/>
                  </a:lnTo>
                  <a:close/>
                  <a:moveTo>
                    <a:pt x="38" y="12"/>
                  </a:moveTo>
                  <a:lnTo>
                    <a:pt x="38" y="12"/>
                  </a:lnTo>
                  <a:lnTo>
                    <a:pt x="26" y="14"/>
                  </a:lnTo>
                  <a:lnTo>
                    <a:pt x="19" y="16"/>
                  </a:lnTo>
                  <a:lnTo>
                    <a:pt x="14" y="19"/>
                  </a:lnTo>
                  <a:lnTo>
                    <a:pt x="12" y="21"/>
                  </a:lnTo>
                  <a:lnTo>
                    <a:pt x="12" y="24"/>
                  </a:lnTo>
                  <a:lnTo>
                    <a:pt x="12" y="24"/>
                  </a:lnTo>
                  <a:lnTo>
                    <a:pt x="14" y="30"/>
                  </a:lnTo>
                  <a:lnTo>
                    <a:pt x="16" y="38"/>
                  </a:lnTo>
                  <a:lnTo>
                    <a:pt x="21" y="45"/>
                  </a:lnTo>
                  <a:lnTo>
                    <a:pt x="26" y="54"/>
                  </a:lnTo>
                  <a:lnTo>
                    <a:pt x="41" y="73"/>
                  </a:lnTo>
                  <a:lnTo>
                    <a:pt x="59" y="90"/>
                  </a:lnTo>
                  <a:lnTo>
                    <a:pt x="78" y="107"/>
                  </a:lnTo>
                  <a:lnTo>
                    <a:pt x="94" y="120"/>
                  </a:lnTo>
                  <a:lnTo>
                    <a:pt x="108" y="129"/>
                  </a:lnTo>
                  <a:lnTo>
                    <a:pt x="113" y="132"/>
                  </a:lnTo>
                  <a:lnTo>
                    <a:pt x="117" y="133"/>
                  </a:lnTo>
                  <a:lnTo>
                    <a:pt x="117" y="133"/>
                  </a:lnTo>
                  <a:lnTo>
                    <a:pt x="122" y="132"/>
                  </a:lnTo>
                  <a:lnTo>
                    <a:pt x="128" y="129"/>
                  </a:lnTo>
                  <a:lnTo>
                    <a:pt x="132" y="124"/>
                  </a:lnTo>
                  <a:lnTo>
                    <a:pt x="137" y="117"/>
                  </a:lnTo>
                  <a:lnTo>
                    <a:pt x="141" y="109"/>
                  </a:lnTo>
                  <a:lnTo>
                    <a:pt x="143" y="100"/>
                  </a:lnTo>
                  <a:lnTo>
                    <a:pt x="144" y="90"/>
                  </a:lnTo>
                  <a:lnTo>
                    <a:pt x="146" y="79"/>
                  </a:lnTo>
                  <a:lnTo>
                    <a:pt x="146" y="79"/>
                  </a:lnTo>
                  <a:lnTo>
                    <a:pt x="144" y="68"/>
                  </a:lnTo>
                  <a:lnTo>
                    <a:pt x="143" y="58"/>
                  </a:lnTo>
                  <a:lnTo>
                    <a:pt x="139" y="48"/>
                  </a:lnTo>
                  <a:lnTo>
                    <a:pt x="136" y="40"/>
                  </a:lnTo>
                  <a:lnTo>
                    <a:pt x="132" y="34"/>
                  </a:lnTo>
                  <a:lnTo>
                    <a:pt x="127" y="30"/>
                  </a:lnTo>
                  <a:lnTo>
                    <a:pt x="121" y="26"/>
                  </a:lnTo>
                  <a:lnTo>
                    <a:pt x="115" y="25"/>
                  </a:lnTo>
                  <a:lnTo>
                    <a:pt x="115" y="25"/>
                  </a:lnTo>
                  <a:lnTo>
                    <a:pt x="100" y="22"/>
                  </a:lnTo>
                  <a:lnTo>
                    <a:pt x="100" y="22"/>
                  </a:lnTo>
                  <a:lnTo>
                    <a:pt x="70" y="16"/>
                  </a:lnTo>
                  <a:lnTo>
                    <a:pt x="54" y="14"/>
                  </a:lnTo>
                  <a:lnTo>
                    <a:pt x="38" y="12"/>
                  </a:lnTo>
                  <a:lnTo>
                    <a:pt x="38" y="12"/>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6" name="Freeform 103"/>
            <p:cNvSpPr>
              <a:spLocks/>
            </p:cNvSpPr>
            <p:nvPr/>
          </p:nvSpPr>
          <p:spPr bwMode="auto">
            <a:xfrm>
              <a:off x="4783770" y="2404226"/>
              <a:ext cx="118314" cy="1352457"/>
            </a:xfrm>
            <a:custGeom>
              <a:avLst/>
              <a:gdLst>
                <a:gd name="T0" fmla="*/ 109 w 115"/>
                <a:gd name="T1" fmla="*/ 1327 h 1327"/>
                <a:gd name="T2" fmla="*/ 103 w 115"/>
                <a:gd name="T3" fmla="*/ 1322 h 1327"/>
                <a:gd name="T4" fmla="*/ 84 w 115"/>
                <a:gd name="T5" fmla="*/ 1269 h 1327"/>
                <a:gd name="T6" fmla="*/ 51 w 115"/>
                <a:gd name="T7" fmla="*/ 1160 h 1327"/>
                <a:gd name="T8" fmla="*/ 27 w 115"/>
                <a:gd name="T9" fmla="*/ 1046 h 1327"/>
                <a:gd name="T10" fmla="*/ 12 w 115"/>
                <a:gd name="T11" fmla="*/ 933 h 1327"/>
                <a:gd name="T12" fmla="*/ 4 w 115"/>
                <a:gd name="T13" fmla="*/ 820 h 1327"/>
                <a:gd name="T14" fmla="*/ 0 w 115"/>
                <a:gd name="T15" fmla="*/ 710 h 1327"/>
                <a:gd name="T16" fmla="*/ 1 w 115"/>
                <a:gd name="T17" fmla="*/ 605 h 1327"/>
                <a:gd name="T18" fmla="*/ 6 w 115"/>
                <a:gd name="T19" fmla="*/ 506 h 1327"/>
                <a:gd name="T20" fmla="*/ 9 w 115"/>
                <a:gd name="T21" fmla="*/ 461 h 1327"/>
                <a:gd name="T22" fmla="*/ 29 w 115"/>
                <a:gd name="T23" fmla="*/ 281 h 1327"/>
                <a:gd name="T24" fmla="*/ 50 w 115"/>
                <a:gd name="T25" fmla="*/ 137 h 1327"/>
                <a:gd name="T26" fmla="*/ 69 w 115"/>
                <a:gd name="T27" fmla="*/ 40 h 1327"/>
                <a:gd name="T28" fmla="*/ 78 w 115"/>
                <a:gd name="T29" fmla="*/ 5 h 1327"/>
                <a:gd name="T30" fmla="*/ 80 w 115"/>
                <a:gd name="T31" fmla="*/ 1 h 1327"/>
                <a:gd name="T32" fmla="*/ 85 w 115"/>
                <a:gd name="T33" fmla="*/ 0 h 1327"/>
                <a:gd name="T34" fmla="*/ 88 w 115"/>
                <a:gd name="T35" fmla="*/ 1 h 1327"/>
                <a:gd name="T36" fmla="*/ 90 w 115"/>
                <a:gd name="T37" fmla="*/ 5 h 1327"/>
                <a:gd name="T38" fmla="*/ 89 w 115"/>
                <a:gd name="T39" fmla="*/ 7 h 1327"/>
                <a:gd name="T40" fmla="*/ 73 w 115"/>
                <a:gd name="T41" fmla="*/ 84 h 1327"/>
                <a:gd name="T42" fmla="*/ 51 w 115"/>
                <a:gd name="T43" fmla="*/ 206 h 1327"/>
                <a:gd name="T44" fmla="*/ 30 w 115"/>
                <a:gd name="T45" fmla="*/ 368 h 1327"/>
                <a:gd name="T46" fmla="*/ 21 w 115"/>
                <a:gd name="T47" fmla="*/ 462 h 1327"/>
                <a:gd name="T48" fmla="*/ 15 w 115"/>
                <a:gd name="T49" fmla="*/ 555 h 1327"/>
                <a:gd name="T50" fmla="*/ 12 w 115"/>
                <a:gd name="T51" fmla="*/ 657 h 1327"/>
                <a:gd name="T52" fmla="*/ 14 w 115"/>
                <a:gd name="T53" fmla="*/ 764 h 1327"/>
                <a:gd name="T54" fmla="*/ 20 w 115"/>
                <a:gd name="T55" fmla="*/ 874 h 1327"/>
                <a:gd name="T56" fmla="*/ 31 w 115"/>
                <a:gd name="T57" fmla="*/ 987 h 1327"/>
                <a:gd name="T58" fmla="*/ 50 w 115"/>
                <a:gd name="T59" fmla="*/ 1101 h 1327"/>
                <a:gd name="T60" fmla="*/ 78 w 115"/>
                <a:gd name="T61" fmla="*/ 1211 h 1327"/>
                <a:gd name="T62" fmla="*/ 115 w 115"/>
                <a:gd name="T63" fmla="*/ 1318 h 1327"/>
                <a:gd name="T64" fmla="*/ 115 w 115"/>
                <a:gd name="T65" fmla="*/ 1320 h 1327"/>
                <a:gd name="T66" fmla="*/ 113 w 115"/>
                <a:gd name="T67" fmla="*/ 1324 h 1327"/>
                <a:gd name="T68" fmla="*/ 112 w 115"/>
                <a:gd name="T69" fmla="*/ 1325 h 1327"/>
                <a:gd name="T70" fmla="*/ 109 w 115"/>
                <a:gd name="T71" fmla="*/ 1327 h 1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5" h="1327">
                  <a:moveTo>
                    <a:pt x="109" y="1327"/>
                  </a:moveTo>
                  <a:lnTo>
                    <a:pt x="109" y="1327"/>
                  </a:lnTo>
                  <a:lnTo>
                    <a:pt x="105" y="1325"/>
                  </a:lnTo>
                  <a:lnTo>
                    <a:pt x="103" y="1322"/>
                  </a:lnTo>
                  <a:lnTo>
                    <a:pt x="103" y="1322"/>
                  </a:lnTo>
                  <a:lnTo>
                    <a:pt x="84" y="1269"/>
                  </a:lnTo>
                  <a:lnTo>
                    <a:pt x="66" y="1215"/>
                  </a:lnTo>
                  <a:lnTo>
                    <a:pt x="51" y="1160"/>
                  </a:lnTo>
                  <a:lnTo>
                    <a:pt x="39" y="1103"/>
                  </a:lnTo>
                  <a:lnTo>
                    <a:pt x="27" y="1046"/>
                  </a:lnTo>
                  <a:lnTo>
                    <a:pt x="19" y="990"/>
                  </a:lnTo>
                  <a:lnTo>
                    <a:pt x="12" y="933"/>
                  </a:lnTo>
                  <a:lnTo>
                    <a:pt x="7" y="877"/>
                  </a:lnTo>
                  <a:lnTo>
                    <a:pt x="4" y="820"/>
                  </a:lnTo>
                  <a:lnTo>
                    <a:pt x="1" y="765"/>
                  </a:lnTo>
                  <a:lnTo>
                    <a:pt x="0" y="710"/>
                  </a:lnTo>
                  <a:lnTo>
                    <a:pt x="0" y="657"/>
                  </a:lnTo>
                  <a:lnTo>
                    <a:pt x="1" y="605"/>
                  </a:lnTo>
                  <a:lnTo>
                    <a:pt x="2" y="555"/>
                  </a:lnTo>
                  <a:lnTo>
                    <a:pt x="6" y="506"/>
                  </a:lnTo>
                  <a:lnTo>
                    <a:pt x="9" y="461"/>
                  </a:lnTo>
                  <a:lnTo>
                    <a:pt x="9" y="461"/>
                  </a:lnTo>
                  <a:lnTo>
                    <a:pt x="17" y="367"/>
                  </a:lnTo>
                  <a:lnTo>
                    <a:pt x="29" y="281"/>
                  </a:lnTo>
                  <a:lnTo>
                    <a:pt x="40" y="203"/>
                  </a:lnTo>
                  <a:lnTo>
                    <a:pt x="50" y="137"/>
                  </a:lnTo>
                  <a:lnTo>
                    <a:pt x="61" y="82"/>
                  </a:lnTo>
                  <a:lnTo>
                    <a:pt x="69" y="40"/>
                  </a:lnTo>
                  <a:lnTo>
                    <a:pt x="78" y="5"/>
                  </a:lnTo>
                  <a:lnTo>
                    <a:pt x="78" y="5"/>
                  </a:lnTo>
                  <a:lnTo>
                    <a:pt x="79" y="2"/>
                  </a:lnTo>
                  <a:lnTo>
                    <a:pt x="80" y="1"/>
                  </a:lnTo>
                  <a:lnTo>
                    <a:pt x="83" y="0"/>
                  </a:lnTo>
                  <a:lnTo>
                    <a:pt x="85" y="0"/>
                  </a:lnTo>
                  <a:lnTo>
                    <a:pt x="85" y="0"/>
                  </a:lnTo>
                  <a:lnTo>
                    <a:pt x="88" y="1"/>
                  </a:lnTo>
                  <a:lnTo>
                    <a:pt x="89" y="4"/>
                  </a:lnTo>
                  <a:lnTo>
                    <a:pt x="90" y="5"/>
                  </a:lnTo>
                  <a:lnTo>
                    <a:pt x="89" y="7"/>
                  </a:lnTo>
                  <a:lnTo>
                    <a:pt x="89" y="7"/>
                  </a:lnTo>
                  <a:lnTo>
                    <a:pt x="81" y="44"/>
                  </a:lnTo>
                  <a:lnTo>
                    <a:pt x="73" y="84"/>
                  </a:lnTo>
                  <a:lnTo>
                    <a:pt x="63" y="139"/>
                  </a:lnTo>
                  <a:lnTo>
                    <a:pt x="51" y="206"/>
                  </a:lnTo>
                  <a:lnTo>
                    <a:pt x="40" y="283"/>
                  </a:lnTo>
                  <a:lnTo>
                    <a:pt x="30" y="368"/>
                  </a:lnTo>
                  <a:lnTo>
                    <a:pt x="21" y="462"/>
                  </a:lnTo>
                  <a:lnTo>
                    <a:pt x="21" y="462"/>
                  </a:lnTo>
                  <a:lnTo>
                    <a:pt x="19" y="507"/>
                  </a:lnTo>
                  <a:lnTo>
                    <a:pt x="15" y="555"/>
                  </a:lnTo>
                  <a:lnTo>
                    <a:pt x="14" y="605"/>
                  </a:lnTo>
                  <a:lnTo>
                    <a:pt x="12" y="657"/>
                  </a:lnTo>
                  <a:lnTo>
                    <a:pt x="12" y="710"/>
                  </a:lnTo>
                  <a:lnTo>
                    <a:pt x="14" y="764"/>
                  </a:lnTo>
                  <a:lnTo>
                    <a:pt x="16" y="819"/>
                  </a:lnTo>
                  <a:lnTo>
                    <a:pt x="20" y="874"/>
                  </a:lnTo>
                  <a:lnTo>
                    <a:pt x="25" y="931"/>
                  </a:lnTo>
                  <a:lnTo>
                    <a:pt x="31" y="987"/>
                  </a:lnTo>
                  <a:lnTo>
                    <a:pt x="40" y="1044"/>
                  </a:lnTo>
                  <a:lnTo>
                    <a:pt x="50" y="1101"/>
                  </a:lnTo>
                  <a:lnTo>
                    <a:pt x="64" y="1156"/>
                  </a:lnTo>
                  <a:lnTo>
                    <a:pt x="78" y="1211"/>
                  </a:lnTo>
                  <a:lnTo>
                    <a:pt x="95" y="1265"/>
                  </a:lnTo>
                  <a:lnTo>
                    <a:pt x="115" y="1318"/>
                  </a:lnTo>
                  <a:lnTo>
                    <a:pt x="115" y="1318"/>
                  </a:lnTo>
                  <a:lnTo>
                    <a:pt x="115" y="1320"/>
                  </a:lnTo>
                  <a:lnTo>
                    <a:pt x="114" y="1323"/>
                  </a:lnTo>
                  <a:lnTo>
                    <a:pt x="113" y="1324"/>
                  </a:lnTo>
                  <a:lnTo>
                    <a:pt x="112" y="1325"/>
                  </a:lnTo>
                  <a:lnTo>
                    <a:pt x="112" y="1325"/>
                  </a:lnTo>
                  <a:lnTo>
                    <a:pt x="109" y="1327"/>
                  </a:lnTo>
                  <a:lnTo>
                    <a:pt x="109" y="1327"/>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7" name="Freeform 104"/>
            <p:cNvSpPr>
              <a:spLocks/>
            </p:cNvSpPr>
            <p:nvPr/>
          </p:nvSpPr>
          <p:spPr bwMode="auto">
            <a:xfrm>
              <a:off x="7154139" y="2642893"/>
              <a:ext cx="132594" cy="1172946"/>
            </a:xfrm>
            <a:custGeom>
              <a:avLst/>
              <a:gdLst>
                <a:gd name="T0" fmla="*/ 7 w 131"/>
                <a:gd name="T1" fmla="*/ 1149 h 1149"/>
                <a:gd name="T2" fmla="*/ 4 w 131"/>
                <a:gd name="T3" fmla="*/ 1149 h 1149"/>
                <a:gd name="T4" fmla="*/ 0 w 131"/>
                <a:gd name="T5" fmla="*/ 1145 h 1149"/>
                <a:gd name="T6" fmla="*/ 0 w 131"/>
                <a:gd name="T7" fmla="*/ 1140 h 1149"/>
                <a:gd name="T8" fmla="*/ 29 w 131"/>
                <a:gd name="T9" fmla="*/ 1034 h 1149"/>
                <a:gd name="T10" fmla="*/ 56 w 131"/>
                <a:gd name="T11" fmla="*/ 919 h 1149"/>
                <a:gd name="T12" fmla="*/ 81 w 131"/>
                <a:gd name="T13" fmla="*/ 800 h 1149"/>
                <a:gd name="T14" fmla="*/ 100 w 131"/>
                <a:gd name="T15" fmla="*/ 678 h 1149"/>
                <a:gd name="T16" fmla="*/ 113 w 131"/>
                <a:gd name="T17" fmla="*/ 556 h 1149"/>
                <a:gd name="T18" fmla="*/ 120 w 131"/>
                <a:gd name="T19" fmla="*/ 437 h 1149"/>
                <a:gd name="T20" fmla="*/ 116 w 131"/>
                <a:gd name="T21" fmla="*/ 322 h 1149"/>
                <a:gd name="T22" fmla="*/ 110 w 131"/>
                <a:gd name="T23" fmla="*/ 268 h 1149"/>
                <a:gd name="T24" fmla="*/ 101 w 131"/>
                <a:gd name="T25" fmla="*/ 217 h 1149"/>
                <a:gd name="T26" fmla="*/ 95 w 131"/>
                <a:gd name="T27" fmla="*/ 188 h 1149"/>
                <a:gd name="T28" fmla="*/ 79 w 131"/>
                <a:gd name="T29" fmla="*/ 138 h 1149"/>
                <a:gd name="T30" fmla="*/ 64 w 131"/>
                <a:gd name="T31" fmla="*/ 98 h 1149"/>
                <a:gd name="T32" fmla="*/ 48 w 131"/>
                <a:gd name="T33" fmla="*/ 67 h 1149"/>
                <a:gd name="T34" fmla="*/ 25 w 131"/>
                <a:gd name="T35" fmla="*/ 35 h 1149"/>
                <a:gd name="T36" fmla="*/ 5 w 131"/>
                <a:gd name="T37" fmla="*/ 13 h 1149"/>
                <a:gd name="T38" fmla="*/ 3 w 131"/>
                <a:gd name="T39" fmla="*/ 11 h 1149"/>
                <a:gd name="T40" fmla="*/ 0 w 131"/>
                <a:gd name="T41" fmla="*/ 7 h 1149"/>
                <a:gd name="T42" fmla="*/ 2 w 131"/>
                <a:gd name="T43" fmla="*/ 2 h 1149"/>
                <a:gd name="T44" fmla="*/ 3 w 131"/>
                <a:gd name="T45" fmla="*/ 1 h 1149"/>
                <a:gd name="T46" fmla="*/ 8 w 131"/>
                <a:gd name="T47" fmla="*/ 0 h 1149"/>
                <a:gd name="T48" fmla="*/ 10 w 131"/>
                <a:gd name="T49" fmla="*/ 1 h 1149"/>
                <a:gd name="T50" fmla="*/ 23 w 131"/>
                <a:gd name="T51" fmla="*/ 12 h 1149"/>
                <a:gd name="T52" fmla="*/ 51 w 131"/>
                <a:gd name="T53" fmla="*/ 46 h 1149"/>
                <a:gd name="T54" fmla="*/ 67 w 131"/>
                <a:gd name="T55" fmla="*/ 75 h 1149"/>
                <a:gd name="T56" fmla="*/ 83 w 131"/>
                <a:gd name="T57" fmla="*/ 111 h 1149"/>
                <a:gd name="T58" fmla="*/ 100 w 131"/>
                <a:gd name="T59" fmla="*/ 158 h 1149"/>
                <a:gd name="T60" fmla="*/ 113 w 131"/>
                <a:gd name="T61" fmla="*/ 214 h 1149"/>
                <a:gd name="T62" fmla="*/ 118 w 131"/>
                <a:gd name="T63" fmla="*/ 245 h 1149"/>
                <a:gd name="T64" fmla="*/ 127 w 131"/>
                <a:gd name="T65" fmla="*/ 314 h 1149"/>
                <a:gd name="T66" fmla="*/ 131 w 131"/>
                <a:gd name="T67" fmla="*/ 397 h 1149"/>
                <a:gd name="T68" fmla="*/ 130 w 131"/>
                <a:gd name="T69" fmla="*/ 495 h 1149"/>
                <a:gd name="T70" fmla="*/ 121 w 131"/>
                <a:gd name="T71" fmla="*/ 609 h 1149"/>
                <a:gd name="T72" fmla="*/ 103 w 131"/>
                <a:gd name="T73" fmla="*/ 740 h 1149"/>
                <a:gd name="T74" fmla="*/ 76 w 131"/>
                <a:gd name="T75" fmla="*/ 888 h 1149"/>
                <a:gd name="T76" fmla="*/ 37 w 131"/>
                <a:gd name="T77" fmla="*/ 1054 h 1149"/>
                <a:gd name="T78" fmla="*/ 13 w 131"/>
                <a:gd name="T79" fmla="*/ 1144 h 1149"/>
                <a:gd name="T80" fmla="*/ 7 w 131"/>
                <a:gd name="T81" fmla="*/ 1149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1" h="1149">
                  <a:moveTo>
                    <a:pt x="7" y="1149"/>
                  </a:moveTo>
                  <a:lnTo>
                    <a:pt x="7" y="1149"/>
                  </a:lnTo>
                  <a:lnTo>
                    <a:pt x="4" y="1149"/>
                  </a:lnTo>
                  <a:lnTo>
                    <a:pt x="4" y="1149"/>
                  </a:lnTo>
                  <a:lnTo>
                    <a:pt x="3" y="1148"/>
                  </a:lnTo>
                  <a:lnTo>
                    <a:pt x="0" y="1145"/>
                  </a:lnTo>
                  <a:lnTo>
                    <a:pt x="0" y="1143"/>
                  </a:lnTo>
                  <a:lnTo>
                    <a:pt x="0" y="1140"/>
                  </a:lnTo>
                  <a:lnTo>
                    <a:pt x="0" y="1140"/>
                  </a:lnTo>
                  <a:lnTo>
                    <a:pt x="29" y="1034"/>
                  </a:lnTo>
                  <a:lnTo>
                    <a:pt x="43" y="977"/>
                  </a:lnTo>
                  <a:lnTo>
                    <a:pt x="56" y="919"/>
                  </a:lnTo>
                  <a:lnTo>
                    <a:pt x="68" y="860"/>
                  </a:lnTo>
                  <a:lnTo>
                    <a:pt x="81" y="800"/>
                  </a:lnTo>
                  <a:lnTo>
                    <a:pt x="91" y="740"/>
                  </a:lnTo>
                  <a:lnTo>
                    <a:pt x="100" y="678"/>
                  </a:lnTo>
                  <a:lnTo>
                    <a:pt x="107" y="616"/>
                  </a:lnTo>
                  <a:lnTo>
                    <a:pt x="113" y="556"/>
                  </a:lnTo>
                  <a:lnTo>
                    <a:pt x="117" y="496"/>
                  </a:lnTo>
                  <a:lnTo>
                    <a:pt x="120" y="437"/>
                  </a:lnTo>
                  <a:lnTo>
                    <a:pt x="118" y="379"/>
                  </a:lnTo>
                  <a:lnTo>
                    <a:pt x="116" y="322"/>
                  </a:lnTo>
                  <a:lnTo>
                    <a:pt x="113" y="296"/>
                  </a:lnTo>
                  <a:lnTo>
                    <a:pt x="110" y="268"/>
                  </a:lnTo>
                  <a:lnTo>
                    <a:pt x="106" y="242"/>
                  </a:lnTo>
                  <a:lnTo>
                    <a:pt x="101" y="217"/>
                  </a:lnTo>
                  <a:lnTo>
                    <a:pt x="101" y="217"/>
                  </a:lnTo>
                  <a:lnTo>
                    <a:pt x="95" y="188"/>
                  </a:lnTo>
                  <a:lnTo>
                    <a:pt x="87" y="162"/>
                  </a:lnTo>
                  <a:lnTo>
                    <a:pt x="79" y="138"/>
                  </a:lnTo>
                  <a:lnTo>
                    <a:pt x="72" y="118"/>
                  </a:lnTo>
                  <a:lnTo>
                    <a:pt x="64" y="98"/>
                  </a:lnTo>
                  <a:lnTo>
                    <a:pt x="56" y="81"/>
                  </a:lnTo>
                  <a:lnTo>
                    <a:pt x="48" y="67"/>
                  </a:lnTo>
                  <a:lnTo>
                    <a:pt x="40" y="54"/>
                  </a:lnTo>
                  <a:lnTo>
                    <a:pt x="25" y="35"/>
                  </a:lnTo>
                  <a:lnTo>
                    <a:pt x="14" y="21"/>
                  </a:lnTo>
                  <a:lnTo>
                    <a:pt x="5" y="13"/>
                  </a:lnTo>
                  <a:lnTo>
                    <a:pt x="3" y="11"/>
                  </a:lnTo>
                  <a:lnTo>
                    <a:pt x="3" y="11"/>
                  </a:lnTo>
                  <a:lnTo>
                    <a:pt x="2" y="10"/>
                  </a:lnTo>
                  <a:lnTo>
                    <a:pt x="0" y="7"/>
                  </a:lnTo>
                  <a:lnTo>
                    <a:pt x="0" y="5"/>
                  </a:lnTo>
                  <a:lnTo>
                    <a:pt x="2" y="2"/>
                  </a:lnTo>
                  <a:lnTo>
                    <a:pt x="2" y="2"/>
                  </a:lnTo>
                  <a:lnTo>
                    <a:pt x="3" y="1"/>
                  </a:lnTo>
                  <a:lnTo>
                    <a:pt x="5" y="0"/>
                  </a:lnTo>
                  <a:lnTo>
                    <a:pt x="8" y="0"/>
                  </a:lnTo>
                  <a:lnTo>
                    <a:pt x="10" y="1"/>
                  </a:lnTo>
                  <a:lnTo>
                    <a:pt x="10" y="1"/>
                  </a:lnTo>
                  <a:lnTo>
                    <a:pt x="14" y="3"/>
                  </a:lnTo>
                  <a:lnTo>
                    <a:pt x="23" y="12"/>
                  </a:lnTo>
                  <a:lnTo>
                    <a:pt x="35" y="26"/>
                  </a:lnTo>
                  <a:lnTo>
                    <a:pt x="51" y="46"/>
                  </a:lnTo>
                  <a:lnTo>
                    <a:pt x="58" y="60"/>
                  </a:lnTo>
                  <a:lnTo>
                    <a:pt x="67" y="75"/>
                  </a:lnTo>
                  <a:lnTo>
                    <a:pt x="74" y="91"/>
                  </a:lnTo>
                  <a:lnTo>
                    <a:pt x="83" y="111"/>
                  </a:lnTo>
                  <a:lnTo>
                    <a:pt x="92" y="133"/>
                  </a:lnTo>
                  <a:lnTo>
                    <a:pt x="100" y="158"/>
                  </a:lnTo>
                  <a:lnTo>
                    <a:pt x="107" y="184"/>
                  </a:lnTo>
                  <a:lnTo>
                    <a:pt x="113" y="214"/>
                  </a:lnTo>
                  <a:lnTo>
                    <a:pt x="113" y="214"/>
                  </a:lnTo>
                  <a:lnTo>
                    <a:pt x="118" y="245"/>
                  </a:lnTo>
                  <a:lnTo>
                    <a:pt x="123" y="277"/>
                  </a:lnTo>
                  <a:lnTo>
                    <a:pt x="127" y="314"/>
                  </a:lnTo>
                  <a:lnTo>
                    <a:pt x="130" y="354"/>
                  </a:lnTo>
                  <a:lnTo>
                    <a:pt x="131" y="397"/>
                  </a:lnTo>
                  <a:lnTo>
                    <a:pt x="131" y="444"/>
                  </a:lnTo>
                  <a:lnTo>
                    <a:pt x="130" y="495"/>
                  </a:lnTo>
                  <a:lnTo>
                    <a:pt x="126" y="550"/>
                  </a:lnTo>
                  <a:lnTo>
                    <a:pt x="121" y="609"/>
                  </a:lnTo>
                  <a:lnTo>
                    <a:pt x="113" y="672"/>
                  </a:lnTo>
                  <a:lnTo>
                    <a:pt x="103" y="740"/>
                  </a:lnTo>
                  <a:lnTo>
                    <a:pt x="91" y="811"/>
                  </a:lnTo>
                  <a:lnTo>
                    <a:pt x="76" y="888"/>
                  </a:lnTo>
                  <a:lnTo>
                    <a:pt x="58" y="968"/>
                  </a:lnTo>
                  <a:lnTo>
                    <a:pt x="37" y="1054"/>
                  </a:lnTo>
                  <a:lnTo>
                    <a:pt x="13" y="1144"/>
                  </a:lnTo>
                  <a:lnTo>
                    <a:pt x="13" y="1144"/>
                  </a:lnTo>
                  <a:lnTo>
                    <a:pt x="10" y="1148"/>
                  </a:lnTo>
                  <a:lnTo>
                    <a:pt x="7" y="1149"/>
                  </a:lnTo>
                  <a:lnTo>
                    <a:pt x="7" y="1149"/>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53" name="Freeform 105"/>
            <p:cNvSpPr>
              <a:spLocks noEditPoints="1"/>
            </p:cNvSpPr>
            <p:nvPr/>
          </p:nvSpPr>
          <p:spPr bwMode="auto">
            <a:xfrm>
              <a:off x="4914325" y="2691852"/>
              <a:ext cx="316187" cy="124434"/>
            </a:xfrm>
            <a:custGeom>
              <a:avLst/>
              <a:gdLst>
                <a:gd name="T0" fmla="*/ 156 w 310"/>
                <a:gd name="T1" fmla="*/ 120 h 120"/>
                <a:gd name="T2" fmla="*/ 94 w 310"/>
                <a:gd name="T3" fmla="*/ 116 h 120"/>
                <a:gd name="T4" fmla="*/ 44 w 310"/>
                <a:gd name="T5" fmla="*/ 104 h 120"/>
                <a:gd name="T6" fmla="*/ 26 w 310"/>
                <a:gd name="T7" fmla="*/ 94 h 120"/>
                <a:gd name="T8" fmla="*/ 11 w 310"/>
                <a:gd name="T9" fmla="*/ 84 h 120"/>
                <a:gd name="T10" fmla="*/ 2 w 310"/>
                <a:gd name="T11" fmla="*/ 72 h 120"/>
                <a:gd name="T12" fmla="*/ 0 w 310"/>
                <a:gd name="T13" fmla="*/ 60 h 120"/>
                <a:gd name="T14" fmla="*/ 1 w 310"/>
                <a:gd name="T15" fmla="*/ 54 h 120"/>
                <a:gd name="T16" fmla="*/ 6 w 310"/>
                <a:gd name="T17" fmla="*/ 41 h 120"/>
                <a:gd name="T18" fmla="*/ 19 w 310"/>
                <a:gd name="T19" fmla="*/ 31 h 120"/>
                <a:gd name="T20" fmla="*/ 35 w 310"/>
                <a:gd name="T21" fmla="*/ 21 h 120"/>
                <a:gd name="T22" fmla="*/ 68 w 310"/>
                <a:gd name="T23" fmla="*/ 10 h 120"/>
                <a:gd name="T24" fmla="*/ 123 w 310"/>
                <a:gd name="T25" fmla="*/ 1 h 120"/>
                <a:gd name="T26" fmla="*/ 156 w 310"/>
                <a:gd name="T27" fmla="*/ 0 h 120"/>
                <a:gd name="T28" fmla="*/ 217 w 310"/>
                <a:gd name="T29" fmla="*/ 5 h 120"/>
                <a:gd name="T30" fmla="*/ 266 w 310"/>
                <a:gd name="T31" fmla="*/ 17 h 120"/>
                <a:gd name="T32" fmla="*/ 285 w 310"/>
                <a:gd name="T33" fmla="*/ 26 h 120"/>
                <a:gd name="T34" fmla="*/ 299 w 310"/>
                <a:gd name="T35" fmla="*/ 36 h 120"/>
                <a:gd name="T36" fmla="*/ 308 w 310"/>
                <a:gd name="T37" fmla="*/ 47 h 120"/>
                <a:gd name="T38" fmla="*/ 310 w 310"/>
                <a:gd name="T39" fmla="*/ 60 h 120"/>
                <a:gd name="T40" fmla="*/ 310 w 310"/>
                <a:gd name="T41" fmla="*/ 66 h 120"/>
                <a:gd name="T42" fmla="*/ 304 w 310"/>
                <a:gd name="T43" fmla="*/ 79 h 120"/>
                <a:gd name="T44" fmla="*/ 293 w 310"/>
                <a:gd name="T45" fmla="*/ 89 h 120"/>
                <a:gd name="T46" fmla="*/ 276 w 310"/>
                <a:gd name="T47" fmla="*/ 99 h 120"/>
                <a:gd name="T48" fmla="*/ 244 w 310"/>
                <a:gd name="T49" fmla="*/ 110 h 120"/>
                <a:gd name="T50" fmla="*/ 187 w 310"/>
                <a:gd name="T51" fmla="*/ 119 h 120"/>
                <a:gd name="T52" fmla="*/ 156 w 310"/>
                <a:gd name="T53" fmla="*/ 120 h 120"/>
                <a:gd name="T54" fmla="*/ 156 w 310"/>
                <a:gd name="T55" fmla="*/ 12 h 120"/>
                <a:gd name="T56" fmla="*/ 98 w 310"/>
                <a:gd name="T57" fmla="*/ 16 h 120"/>
                <a:gd name="T58" fmla="*/ 53 w 310"/>
                <a:gd name="T59" fmla="*/ 27 h 120"/>
                <a:gd name="T60" fmla="*/ 23 w 310"/>
                <a:gd name="T61" fmla="*/ 44 h 120"/>
                <a:gd name="T62" fmla="*/ 15 w 310"/>
                <a:gd name="T63" fmla="*/ 51 h 120"/>
                <a:gd name="T64" fmla="*/ 13 w 310"/>
                <a:gd name="T65" fmla="*/ 60 h 120"/>
                <a:gd name="T66" fmla="*/ 14 w 310"/>
                <a:gd name="T67" fmla="*/ 65 h 120"/>
                <a:gd name="T68" fmla="*/ 19 w 310"/>
                <a:gd name="T69" fmla="*/ 72 h 120"/>
                <a:gd name="T70" fmla="*/ 35 w 310"/>
                <a:gd name="T71" fmla="*/ 85 h 120"/>
                <a:gd name="T72" fmla="*/ 73 w 310"/>
                <a:gd name="T73" fmla="*/ 99 h 120"/>
                <a:gd name="T74" fmla="*/ 126 w 310"/>
                <a:gd name="T75" fmla="*/ 106 h 120"/>
                <a:gd name="T76" fmla="*/ 156 w 310"/>
                <a:gd name="T77" fmla="*/ 108 h 120"/>
                <a:gd name="T78" fmla="*/ 214 w 310"/>
                <a:gd name="T79" fmla="*/ 104 h 120"/>
                <a:gd name="T80" fmla="*/ 259 w 310"/>
                <a:gd name="T81" fmla="*/ 93 h 120"/>
                <a:gd name="T82" fmla="*/ 288 w 310"/>
                <a:gd name="T83" fmla="*/ 77 h 120"/>
                <a:gd name="T84" fmla="*/ 295 w 310"/>
                <a:gd name="T85" fmla="*/ 69 h 120"/>
                <a:gd name="T86" fmla="*/ 298 w 310"/>
                <a:gd name="T87" fmla="*/ 60 h 120"/>
                <a:gd name="T88" fmla="*/ 298 w 310"/>
                <a:gd name="T89" fmla="*/ 56 h 120"/>
                <a:gd name="T90" fmla="*/ 293 w 310"/>
                <a:gd name="T91" fmla="*/ 47 h 120"/>
                <a:gd name="T92" fmla="*/ 275 w 310"/>
                <a:gd name="T93" fmla="*/ 35 h 120"/>
                <a:gd name="T94" fmla="*/ 237 w 310"/>
                <a:gd name="T95" fmla="*/ 21 h 120"/>
                <a:gd name="T96" fmla="*/ 186 w 310"/>
                <a:gd name="T97" fmla="*/ 13 h 120"/>
                <a:gd name="T98" fmla="*/ 156 w 310"/>
                <a:gd name="T99" fmla="*/ 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0" h="120">
                  <a:moveTo>
                    <a:pt x="156" y="120"/>
                  </a:moveTo>
                  <a:lnTo>
                    <a:pt x="156" y="120"/>
                  </a:lnTo>
                  <a:lnTo>
                    <a:pt x="123" y="119"/>
                  </a:lnTo>
                  <a:lnTo>
                    <a:pt x="94" y="116"/>
                  </a:lnTo>
                  <a:lnTo>
                    <a:pt x="68" y="110"/>
                  </a:lnTo>
                  <a:lnTo>
                    <a:pt x="44" y="104"/>
                  </a:lnTo>
                  <a:lnTo>
                    <a:pt x="35" y="99"/>
                  </a:lnTo>
                  <a:lnTo>
                    <a:pt x="26" y="94"/>
                  </a:lnTo>
                  <a:lnTo>
                    <a:pt x="19" y="89"/>
                  </a:lnTo>
                  <a:lnTo>
                    <a:pt x="11" y="84"/>
                  </a:lnTo>
                  <a:lnTo>
                    <a:pt x="6" y="79"/>
                  </a:lnTo>
                  <a:lnTo>
                    <a:pt x="2" y="72"/>
                  </a:lnTo>
                  <a:lnTo>
                    <a:pt x="1" y="66"/>
                  </a:lnTo>
                  <a:lnTo>
                    <a:pt x="0" y="60"/>
                  </a:lnTo>
                  <a:lnTo>
                    <a:pt x="0" y="60"/>
                  </a:lnTo>
                  <a:lnTo>
                    <a:pt x="1" y="54"/>
                  </a:lnTo>
                  <a:lnTo>
                    <a:pt x="2" y="47"/>
                  </a:lnTo>
                  <a:lnTo>
                    <a:pt x="6" y="41"/>
                  </a:lnTo>
                  <a:lnTo>
                    <a:pt x="11" y="36"/>
                  </a:lnTo>
                  <a:lnTo>
                    <a:pt x="19" y="31"/>
                  </a:lnTo>
                  <a:lnTo>
                    <a:pt x="26" y="26"/>
                  </a:lnTo>
                  <a:lnTo>
                    <a:pt x="35" y="21"/>
                  </a:lnTo>
                  <a:lnTo>
                    <a:pt x="44" y="17"/>
                  </a:lnTo>
                  <a:lnTo>
                    <a:pt x="68" y="10"/>
                  </a:lnTo>
                  <a:lnTo>
                    <a:pt x="94" y="5"/>
                  </a:lnTo>
                  <a:lnTo>
                    <a:pt x="123" y="1"/>
                  </a:lnTo>
                  <a:lnTo>
                    <a:pt x="156" y="0"/>
                  </a:lnTo>
                  <a:lnTo>
                    <a:pt x="156" y="0"/>
                  </a:lnTo>
                  <a:lnTo>
                    <a:pt x="187" y="1"/>
                  </a:lnTo>
                  <a:lnTo>
                    <a:pt x="217" y="5"/>
                  </a:lnTo>
                  <a:lnTo>
                    <a:pt x="244" y="10"/>
                  </a:lnTo>
                  <a:lnTo>
                    <a:pt x="266" y="17"/>
                  </a:lnTo>
                  <a:lnTo>
                    <a:pt x="276" y="21"/>
                  </a:lnTo>
                  <a:lnTo>
                    <a:pt x="285" y="26"/>
                  </a:lnTo>
                  <a:lnTo>
                    <a:pt x="293" y="31"/>
                  </a:lnTo>
                  <a:lnTo>
                    <a:pt x="299" y="36"/>
                  </a:lnTo>
                  <a:lnTo>
                    <a:pt x="304" y="41"/>
                  </a:lnTo>
                  <a:lnTo>
                    <a:pt x="308" y="47"/>
                  </a:lnTo>
                  <a:lnTo>
                    <a:pt x="310" y="54"/>
                  </a:lnTo>
                  <a:lnTo>
                    <a:pt x="310" y="60"/>
                  </a:lnTo>
                  <a:lnTo>
                    <a:pt x="310" y="60"/>
                  </a:lnTo>
                  <a:lnTo>
                    <a:pt x="310" y="66"/>
                  </a:lnTo>
                  <a:lnTo>
                    <a:pt x="308" y="72"/>
                  </a:lnTo>
                  <a:lnTo>
                    <a:pt x="304" y="79"/>
                  </a:lnTo>
                  <a:lnTo>
                    <a:pt x="299" y="84"/>
                  </a:lnTo>
                  <a:lnTo>
                    <a:pt x="293" y="89"/>
                  </a:lnTo>
                  <a:lnTo>
                    <a:pt x="285" y="94"/>
                  </a:lnTo>
                  <a:lnTo>
                    <a:pt x="276" y="99"/>
                  </a:lnTo>
                  <a:lnTo>
                    <a:pt x="266" y="104"/>
                  </a:lnTo>
                  <a:lnTo>
                    <a:pt x="244" y="110"/>
                  </a:lnTo>
                  <a:lnTo>
                    <a:pt x="217" y="116"/>
                  </a:lnTo>
                  <a:lnTo>
                    <a:pt x="187" y="119"/>
                  </a:lnTo>
                  <a:lnTo>
                    <a:pt x="156" y="120"/>
                  </a:lnTo>
                  <a:lnTo>
                    <a:pt x="156" y="120"/>
                  </a:lnTo>
                  <a:close/>
                  <a:moveTo>
                    <a:pt x="156" y="12"/>
                  </a:moveTo>
                  <a:lnTo>
                    <a:pt x="156" y="12"/>
                  </a:lnTo>
                  <a:lnTo>
                    <a:pt x="126" y="13"/>
                  </a:lnTo>
                  <a:lnTo>
                    <a:pt x="98" y="16"/>
                  </a:lnTo>
                  <a:lnTo>
                    <a:pt x="73" y="21"/>
                  </a:lnTo>
                  <a:lnTo>
                    <a:pt x="53" y="27"/>
                  </a:lnTo>
                  <a:lnTo>
                    <a:pt x="35" y="35"/>
                  </a:lnTo>
                  <a:lnTo>
                    <a:pt x="23" y="44"/>
                  </a:lnTo>
                  <a:lnTo>
                    <a:pt x="19" y="47"/>
                  </a:lnTo>
                  <a:lnTo>
                    <a:pt x="15" y="51"/>
                  </a:lnTo>
                  <a:lnTo>
                    <a:pt x="14" y="56"/>
                  </a:lnTo>
                  <a:lnTo>
                    <a:pt x="13" y="60"/>
                  </a:lnTo>
                  <a:lnTo>
                    <a:pt x="13" y="60"/>
                  </a:lnTo>
                  <a:lnTo>
                    <a:pt x="14" y="65"/>
                  </a:lnTo>
                  <a:lnTo>
                    <a:pt x="15" y="69"/>
                  </a:lnTo>
                  <a:lnTo>
                    <a:pt x="19" y="72"/>
                  </a:lnTo>
                  <a:lnTo>
                    <a:pt x="23" y="77"/>
                  </a:lnTo>
                  <a:lnTo>
                    <a:pt x="35" y="85"/>
                  </a:lnTo>
                  <a:lnTo>
                    <a:pt x="53" y="93"/>
                  </a:lnTo>
                  <a:lnTo>
                    <a:pt x="73" y="99"/>
                  </a:lnTo>
                  <a:lnTo>
                    <a:pt x="98" y="104"/>
                  </a:lnTo>
                  <a:lnTo>
                    <a:pt x="126" y="106"/>
                  </a:lnTo>
                  <a:lnTo>
                    <a:pt x="156" y="108"/>
                  </a:lnTo>
                  <a:lnTo>
                    <a:pt x="156" y="108"/>
                  </a:lnTo>
                  <a:lnTo>
                    <a:pt x="186" y="106"/>
                  </a:lnTo>
                  <a:lnTo>
                    <a:pt x="214" y="104"/>
                  </a:lnTo>
                  <a:lnTo>
                    <a:pt x="237" y="99"/>
                  </a:lnTo>
                  <a:lnTo>
                    <a:pt x="259" y="93"/>
                  </a:lnTo>
                  <a:lnTo>
                    <a:pt x="275" y="85"/>
                  </a:lnTo>
                  <a:lnTo>
                    <a:pt x="288" y="77"/>
                  </a:lnTo>
                  <a:lnTo>
                    <a:pt x="293" y="72"/>
                  </a:lnTo>
                  <a:lnTo>
                    <a:pt x="295" y="69"/>
                  </a:lnTo>
                  <a:lnTo>
                    <a:pt x="298" y="65"/>
                  </a:lnTo>
                  <a:lnTo>
                    <a:pt x="298" y="60"/>
                  </a:lnTo>
                  <a:lnTo>
                    <a:pt x="298" y="60"/>
                  </a:lnTo>
                  <a:lnTo>
                    <a:pt x="298" y="56"/>
                  </a:lnTo>
                  <a:lnTo>
                    <a:pt x="295" y="51"/>
                  </a:lnTo>
                  <a:lnTo>
                    <a:pt x="293" y="47"/>
                  </a:lnTo>
                  <a:lnTo>
                    <a:pt x="288" y="44"/>
                  </a:lnTo>
                  <a:lnTo>
                    <a:pt x="275" y="35"/>
                  </a:lnTo>
                  <a:lnTo>
                    <a:pt x="259" y="27"/>
                  </a:lnTo>
                  <a:lnTo>
                    <a:pt x="237" y="21"/>
                  </a:lnTo>
                  <a:lnTo>
                    <a:pt x="214" y="16"/>
                  </a:lnTo>
                  <a:lnTo>
                    <a:pt x="186" y="13"/>
                  </a:lnTo>
                  <a:lnTo>
                    <a:pt x="156" y="12"/>
                  </a:lnTo>
                  <a:lnTo>
                    <a:pt x="156" y="12"/>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54" name="Freeform 106"/>
            <p:cNvSpPr>
              <a:spLocks noEditPoints="1"/>
            </p:cNvSpPr>
            <p:nvPr/>
          </p:nvSpPr>
          <p:spPr bwMode="auto">
            <a:xfrm>
              <a:off x="4991840" y="2712251"/>
              <a:ext cx="206030" cy="83638"/>
            </a:xfrm>
            <a:custGeom>
              <a:avLst/>
              <a:gdLst>
                <a:gd name="T0" fmla="*/ 84 w 202"/>
                <a:gd name="T1" fmla="*/ 83 h 83"/>
                <a:gd name="T2" fmla="*/ 41 w 202"/>
                <a:gd name="T3" fmla="*/ 81 h 83"/>
                <a:gd name="T4" fmla="*/ 5 w 202"/>
                <a:gd name="T5" fmla="*/ 73 h 83"/>
                <a:gd name="T6" fmla="*/ 1 w 202"/>
                <a:gd name="T7" fmla="*/ 71 h 83"/>
                <a:gd name="T8" fmla="*/ 0 w 202"/>
                <a:gd name="T9" fmla="*/ 17 h 83"/>
                <a:gd name="T10" fmla="*/ 1 w 202"/>
                <a:gd name="T11" fmla="*/ 13 h 83"/>
                <a:gd name="T12" fmla="*/ 5 w 202"/>
                <a:gd name="T13" fmla="*/ 10 h 83"/>
                <a:gd name="T14" fmla="*/ 41 w 202"/>
                <a:gd name="T15" fmla="*/ 3 h 83"/>
                <a:gd name="T16" fmla="*/ 84 w 202"/>
                <a:gd name="T17" fmla="*/ 0 h 83"/>
                <a:gd name="T18" fmla="*/ 106 w 202"/>
                <a:gd name="T19" fmla="*/ 0 h 83"/>
                <a:gd name="T20" fmla="*/ 148 w 202"/>
                <a:gd name="T21" fmla="*/ 7 h 83"/>
                <a:gd name="T22" fmla="*/ 181 w 202"/>
                <a:gd name="T23" fmla="*/ 17 h 83"/>
                <a:gd name="T24" fmla="*/ 192 w 202"/>
                <a:gd name="T25" fmla="*/ 24 h 83"/>
                <a:gd name="T26" fmla="*/ 199 w 202"/>
                <a:gd name="T27" fmla="*/ 32 h 83"/>
                <a:gd name="T28" fmla="*/ 202 w 202"/>
                <a:gd name="T29" fmla="*/ 42 h 83"/>
                <a:gd name="T30" fmla="*/ 202 w 202"/>
                <a:gd name="T31" fmla="*/ 47 h 83"/>
                <a:gd name="T32" fmla="*/ 197 w 202"/>
                <a:gd name="T33" fmla="*/ 56 h 83"/>
                <a:gd name="T34" fmla="*/ 187 w 202"/>
                <a:gd name="T35" fmla="*/ 65 h 83"/>
                <a:gd name="T36" fmla="*/ 166 w 202"/>
                <a:gd name="T37" fmla="*/ 73 h 83"/>
                <a:gd name="T38" fmla="*/ 128 w 202"/>
                <a:gd name="T39" fmla="*/ 81 h 83"/>
                <a:gd name="T40" fmla="*/ 84 w 202"/>
                <a:gd name="T41" fmla="*/ 83 h 83"/>
                <a:gd name="T42" fmla="*/ 12 w 202"/>
                <a:gd name="T43" fmla="*/ 63 h 83"/>
                <a:gd name="T44" fmla="*/ 29 w 202"/>
                <a:gd name="T45" fmla="*/ 67 h 83"/>
                <a:gd name="T46" fmla="*/ 64 w 202"/>
                <a:gd name="T47" fmla="*/ 71 h 83"/>
                <a:gd name="T48" fmla="*/ 84 w 202"/>
                <a:gd name="T49" fmla="*/ 71 h 83"/>
                <a:gd name="T50" fmla="*/ 128 w 202"/>
                <a:gd name="T51" fmla="*/ 68 h 83"/>
                <a:gd name="T52" fmla="*/ 162 w 202"/>
                <a:gd name="T53" fmla="*/ 61 h 83"/>
                <a:gd name="T54" fmla="*/ 183 w 202"/>
                <a:gd name="T55" fmla="*/ 52 h 83"/>
                <a:gd name="T56" fmla="*/ 189 w 202"/>
                <a:gd name="T57" fmla="*/ 44 h 83"/>
                <a:gd name="T58" fmla="*/ 189 w 202"/>
                <a:gd name="T59" fmla="*/ 42 h 83"/>
                <a:gd name="T60" fmla="*/ 188 w 202"/>
                <a:gd name="T61" fmla="*/ 37 h 83"/>
                <a:gd name="T62" fmla="*/ 174 w 202"/>
                <a:gd name="T63" fmla="*/ 27 h 83"/>
                <a:gd name="T64" fmla="*/ 147 w 202"/>
                <a:gd name="T65" fmla="*/ 19 h 83"/>
                <a:gd name="T66" fmla="*/ 108 w 202"/>
                <a:gd name="T67" fmla="*/ 13 h 83"/>
                <a:gd name="T68" fmla="*/ 84 w 202"/>
                <a:gd name="T69" fmla="*/ 13 h 83"/>
                <a:gd name="T70" fmla="*/ 46 w 202"/>
                <a:gd name="T71" fmla="*/ 16 h 83"/>
                <a:gd name="T72" fmla="*/ 12 w 202"/>
                <a:gd name="T73" fmla="*/ 2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2" h="83">
                  <a:moveTo>
                    <a:pt x="84" y="83"/>
                  </a:moveTo>
                  <a:lnTo>
                    <a:pt x="84" y="83"/>
                  </a:lnTo>
                  <a:lnTo>
                    <a:pt x="62" y="83"/>
                  </a:lnTo>
                  <a:lnTo>
                    <a:pt x="41" y="81"/>
                  </a:lnTo>
                  <a:lnTo>
                    <a:pt x="21" y="78"/>
                  </a:lnTo>
                  <a:lnTo>
                    <a:pt x="5" y="73"/>
                  </a:lnTo>
                  <a:lnTo>
                    <a:pt x="5" y="73"/>
                  </a:lnTo>
                  <a:lnTo>
                    <a:pt x="1" y="71"/>
                  </a:lnTo>
                  <a:lnTo>
                    <a:pt x="0" y="68"/>
                  </a:lnTo>
                  <a:lnTo>
                    <a:pt x="0" y="17"/>
                  </a:lnTo>
                  <a:lnTo>
                    <a:pt x="0" y="17"/>
                  </a:lnTo>
                  <a:lnTo>
                    <a:pt x="1" y="13"/>
                  </a:lnTo>
                  <a:lnTo>
                    <a:pt x="5" y="10"/>
                  </a:lnTo>
                  <a:lnTo>
                    <a:pt x="5" y="10"/>
                  </a:lnTo>
                  <a:lnTo>
                    <a:pt x="21" y="5"/>
                  </a:lnTo>
                  <a:lnTo>
                    <a:pt x="41" y="3"/>
                  </a:lnTo>
                  <a:lnTo>
                    <a:pt x="62" y="0"/>
                  </a:lnTo>
                  <a:lnTo>
                    <a:pt x="84" y="0"/>
                  </a:lnTo>
                  <a:lnTo>
                    <a:pt x="84" y="0"/>
                  </a:lnTo>
                  <a:lnTo>
                    <a:pt x="106" y="0"/>
                  </a:lnTo>
                  <a:lnTo>
                    <a:pt x="128" y="3"/>
                  </a:lnTo>
                  <a:lnTo>
                    <a:pt x="148" y="7"/>
                  </a:lnTo>
                  <a:lnTo>
                    <a:pt x="166" y="10"/>
                  </a:lnTo>
                  <a:lnTo>
                    <a:pt x="181" y="17"/>
                  </a:lnTo>
                  <a:lnTo>
                    <a:pt x="187" y="21"/>
                  </a:lnTo>
                  <a:lnTo>
                    <a:pt x="192" y="24"/>
                  </a:lnTo>
                  <a:lnTo>
                    <a:pt x="197" y="28"/>
                  </a:lnTo>
                  <a:lnTo>
                    <a:pt x="199" y="32"/>
                  </a:lnTo>
                  <a:lnTo>
                    <a:pt x="202" y="37"/>
                  </a:lnTo>
                  <a:lnTo>
                    <a:pt x="202" y="42"/>
                  </a:lnTo>
                  <a:lnTo>
                    <a:pt x="202" y="42"/>
                  </a:lnTo>
                  <a:lnTo>
                    <a:pt x="202" y="47"/>
                  </a:lnTo>
                  <a:lnTo>
                    <a:pt x="199" y="52"/>
                  </a:lnTo>
                  <a:lnTo>
                    <a:pt x="197" y="56"/>
                  </a:lnTo>
                  <a:lnTo>
                    <a:pt x="192" y="61"/>
                  </a:lnTo>
                  <a:lnTo>
                    <a:pt x="187" y="65"/>
                  </a:lnTo>
                  <a:lnTo>
                    <a:pt x="181" y="67"/>
                  </a:lnTo>
                  <a:lnTo>
                    <a:pt x="166" y="73"/>
                  </a:lnTo>
                  <a:lnTo>
                    <a:pt x="148" y="78"/>
                  </a:lnTo>
                  <a:lnTo>
                    <a:pt x="128" y="81"/>
                  </a:lnTo>
                  <a:lnTo>
                    <a:pt x="106" y="83"/>
                  </a:lnTo>
                  <a:lnTo>
                    <a:pt x="84" y="83"/>
                  </a:lnTo>
                  <a:lnTo>
                    <a:pt x="84" y="83"/>
                  </a:lnTo>
                  <a:close/>
                  <a:moveTo>
                    <a:pt x="12" y="63"/>
                  </a:moveTo>
                  <a:lnTo>
                    <a:pt x="12" y="63"/>
                  </a:lnTo>
                  <a:lnTo>
                    <a:pt x="29" y="67"/>
                  </a:lnTo>
                  <a:lnTo>
                    <a:pt x="46" y="70"/>
                  </a:lnTo>
                  <a:lnTo>
                    <a:pt x="64" y="71"/>
                  </a:lnTo>
                  <a:lnTo>
                    <a:pt x="84" y="71"/>
                  </a:lnTo>
                  <a:lnTo>
                    <a:pt x="84" y="71"/>
                  </a:lnTo>
                  <a:lnTo>
                    <a:pt x="108" y="71"/>
                  </a:lnTo>
                  <a:lnTo>
                    <a:pt x="128" y="68"/>
                  </a:lnTo>
                  <a:lnTo>
                    <a:pt x="147" y="66"/>
                  </a:lnTo>
                  <a:lnTo>
                    <a:pt x="162" y="61"/>
                  </a:lnTo>
                  <a:lnTo>
                    <a:pt x="174" y="57"/>
                  </a:lnTo>
                  <a:lnTo>
                    <a:pt x="183" y="52"/>
                  </a:lnTo>
                  <a:lnTo>
                    <a:pt x="188" y="47"/>
                  </a:lnTo>
                  <a:lnTo>
                    <a:pt x="189" y="44"/>
                  </a:lnTo>
                  <a:lnTo>
                    <a:pt x="189" y="42"/>
                  </a:lnTo>
                  <a:lnTo>
                    <a:pt x="189" y="42"/>
                  </a:lnTo>
                  <a:lnTo>
                    <a:pt x="189" y="39"/>
                  </a:lnTo>
                  <a:lnTo>
                    <a:pt x="188" y="37"/>
                  </a:lnTo>
                  <a:lnTo>
                    <a:pt x="183" y="32"/>
                  </a:lnTo>
                  <a:lnTo>
                    <a:pt x="174" y="27"/>
                  </a:lnTo>
                  <a:lnTo>
                    <a:pt x="162" y="23"/>
                  </a:lnTo>
                  <a:lnTo>
                    <a:pt x="147" y="19"/>
                  </a:lnTo>
                  <a:lnTo>
                    <a:pt x="128" y="16"/>
                  </a:lnTo>
                  <a:lnTo>
                    <a:pt x="108" y="13"/>
                  </a:lnTo>
                  <a:lnTo>
                    <a:pt x="84" y="13"/>
                  </a:lnTo>
                  <a:lnTo>
                    <a:pt x="84" y="13"/>
                  </a:lnTo>
                  <a:lnTo>
                    <a:pt x="64" y="13"/>
                  </a:lnTo>
                  <a:lnTo>
                    <a:pt x="46" y="16"/>
                  </a:lnTo>
                  <a:lnTo>
                    <a:pt x="29" y="18"/>
                  </a:lnTo>
                  <a:lnTo>
                    <a:pt x="12" y="22"/>
                  </a:lnTo>
                  <a:lnTo>
                    <a:pt x="12" y="63"/>
                  </a:lnTo>
                  <a:close/>
                </a:path>
              </a:pathLst>
            </a:custGeom>
            <a:solidFill>
              <a:srgbClr val="0078D7"/>
            </a:solidFill>
            <a:ln>
              <a:solidFill>
                <a:srgbClr val="0078D7"/>
              </a:solid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spTree>
    <p:extLst>
      <p:ext uri="{BB962C8B-B14F-4D97-AF65-F5344CB8AC3E}">
        <p14:creationId xmlns:p14="http://schemas.microsoft.com/office/powerpoint/2010/main" val="122141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type="secHead">
  <p:cSld name="1_Section header">
    <p:bg>
      <p:bgPr>
        <a:solidFill>
          <a:srgbClr val="000000"/>
        </a:solidFill>
        <a:effectLst/>
      </p:bgPr>
    </p:bg>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415600" y="3058987"/>
            <a:ext cx="11360800" cy="1197227"/>
          </a:xfrm>
          <a:prstGeom prst="rect">
            <a:avLst/>
          </a:prstGeom>
          <a:noFill/>
          <a:ln>
            <a:noFill/>
          </a:ln>
        </p:spPr>
        <p:txBody>
          <a:bodyPr lIns="91425" tIns="91425" rIns="91425" bIns="91425" anchor="ctr" anchorCtr="0"/>
          <a:lstStyle>
            <a:lvl1pPr marL="0" marR="0" lvl="0" indent="0" algn="ctr" rtl="0">
              <a:spcBef>
                <a:spcPts val="0"/>
              </a:spcBef>
              <a:buClr>
                <a:schemeClr val="lt1"/>
              </a:buClr>
              <a:buNone/>
              <a:defRPr sz="4800" b="1" i="0" u="none" strike="noStrike" cap="none">
                <a:solidFill>
                  <a:schemeClr val="lt1"/>
                </a:solidFill>
                <a:latin typeface="Calibri"/>
                <a:ea typeface="Calibri"/>
                <a:cs typeface="Calibri"/>
                <a:sym typeface="Calibri"/>
              </a:defRPr>
            </a:lvl1pPr>
            <a:lvl2pPr marL="0" marR="0" lvl="1" indent="0" algn="ctr" rtl="0">
              <a:spcBef>
                <a:spcPts val="0"/>
              </a:spcBef>
              <a:buNone/>
              <a:defRPr sz="4800" b="1" i="0" u="none" strike="noStrike" cap="none">
                <a:solidFill>
                  <a:srgbClr val="151615"/>
                </a:solidFill>
                <a:latin typeface="Calibri"/>
                <a:ea typeface="Calibri"/>
                <a:cs typeface="Calibri"/>
                <a:sym typeface="Calibri"/>
              </a:defRPr>
            </a:lvl2pPr>
            <a:lvl3pPr marL="0" marR="0" lvl="2" indent="0" algn="ctr" rtl="0">
              <a:spcBef>
                <a:spcPts val="0"/>
              </a:spcBef>
              <a:buNone/>
              <a:defRPr sz="4800" b="1" i="0" u="none" strike="noStrike" cap="none">
                <a:solidFill>
                  <a:srgbClr val="151615"/>
                </a:solidFill>
                <a:latin typeface="Calibri"/>
                <a:ea typeface="Calibri"/>
                <a:cs typeface="Calibri"/>
                <a:sym typeface="Calibri"/>
              </a:defRPr>
            </a:lvl3pPr>
            <a:lvl4pPr marL="0" marR="0" lvl="3" indent="0" algn="ctr" rtl="0">
              <a:spcBef>
                <a:spcPts val="0"/>
              </a:spcBef>
              <a:buNone/>
              <a:defRPr sz="4800" b="1" i="0" u="none" strike="noStrike" cap="none">
                <a:solidFill>
                  <a:srgbClr val="151615"/>
                </a:solidFill>
                <a:latin typeface="Calibri"/>
                <a:ea typeface="Calibri"/>
                <a:cs typeface="Calibri"/>
                <a:sym typeface="Calibri"/>
              </a:defRPr>
            </a:lvl4pPr>
            <a:lvl5pPr marL="0" marR="0" lvl="4" indent="0" algn="ctr" rtl="0">
              <a:spcBef>
                <a:spcPts val="0"/>
              </a:spcBef>
              <a:buNone/>
              <a:defRPr sz="4800" b="1" i="0" u="none" strike="noStrike" cap="none">
                <a:solidFill>
                  <a:srgbClr val="151615"/>
                </a:solidFill>
                <a:latin typeface="Calibri"/>
                <a:ea typeface="Calibri"/>
                <a:cs typeface="Calibri"/>
                <a:sym typeface="Calibri"/>
              </a:defRPr>
            </a:lvl5pPr>
            <a:lvl6pPr marL="0" marR="0" lvl="5" indent="0" algn="ctr" rtl="0">
              <a:spcBef>
                <a:spcPts val="0"/>
              </a:spcBef>
              <a:buNone/>
              <a:defRPr sz="4800" b="1" i="0" u="none" strike="noStrike" cap="none">
                <a:solidFill>
                  <a:srgbClr val="151615"/>
                </a:solidFill>
                <a:latin typeface="Calibri"/>
                <a:ea typeface="Calibri"/>
                <a:cs typeface="Calibri"/>
                <a:sym typeface="Calibri"/>
              </a:defRPr>
            </a:lvl6pPr>
            <a:lvl7pPr marL="0" marR="0" lvl="6" indent="0" algn="ctr" rtl="0">
              <a:spcBef>
                <a:spcPts val="0"/>
              </a:spcBef>
              <a:buNone/>
              <a:defRPr sz="4800" b="1" i="0" u="none" strike="noStrike" cap="none">
                <a:solidFill>
                  <a:srgbClr val="151615"/>
                </a:solidFill>
                <a:latin typeface="Calibri"/>
                <a:ea typeface="Calibri"/>
                <a:cs typeface="Calibri"/>
                <a:sym typeface="Calibri"/>
              </a:defRPr>
            </a:lvl7pPr>
            <a:lvl8pPr marL="0" marR="0" lvl="7" indent="0" algn="ctr" rtl="0">
              <a:spcBef>
                <a:spcPts val="0"/>
              </a:spcBef>
              <a:buNone/>
              <a:defRPr sz="4800" b="1" i="0" u="none" strike="noStrike" cap="none">
                <a:solidFill>
                  <a:srgbClr val="151615"/>
                </a:solidFill>
                <a:latin typeface="Calibri"/>
                <a:ea typeface="Calibri"/>
                <a:cs typeface="Calibri"/>
                <a:sym typeface="Calibri"/>
              </a:defRPr>
            </a:lvl8pPr>
            <a:lvl9pPr marL="0" marR="0" lvl="8" indent="0" algn="ctr" rtl="0">
              <a:spcBef>
                <a:spcPts val="0"/>
              </a:spcBef>
              <a:buNone/>
              <a:defRPr sz="4800" b="1" i="0" u="none" strike="noStrike" cap="none">
                <a:solidFill>
                  <a:srgbClr val="151615"/>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360756574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501405"/>
            <a:ext cx="1423303" cy="325150"/>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1373" y="2801302"/>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963944"/>
            <a:ext cx="6274974" cy="1028680"/>
          </a:xfrm>
        </p:spPr>
        <p:txBody>
          <a:bodyPr lIns="182880" tIns="146304" rIns="182880" bIns="146304"/>
          <a:lstStyle>
            <a:lvl1pPr marL="0" indent="0">
              <a:buNone/>
              <a:defRPr sz="5294"/>
            </a:lvl1pPr>
          </a:lstStyle>
          <a:p>
            <a:pPr lvl="0"/>
            <a:r>
              <a:rPr lang="en-US"/>
              <a:t>&lt;theme word here&gt;</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4478001"/>
            <a:ext cx="6274974" cy="1028680"/>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639651"/>
            <a:ext cx="5661415" cy="1022871"/>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639651"/>
            <a:ext cx="6274974" cy="1028680"/>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628510" y="2801302"/>
            <a:ext cx="553618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id="{08D9541E-22DB-4D52-8181-A1AA5720B347}"/>
              </a:ext>
            </a:extLst>
          </p:cNvPr>
          <p:cNvSpPr txBox="1"/>
          <p:nvPr userDrawn="1"/>
        </p:nvSpPr>
        <p:spPr>
          <a:xfrm>
            <a:off x="202095" y="1125596"/>
            <a:ext cx="5661415" cy="1022871"/>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id="{15DD86FF-CF8D-4D5A-97BA-7526A8303C36}"/>
              </a:ext>
            </a:extLst>
          </p:cNvPr>
          <p:cNvSpPr>
            <a:spLocks noGrp="1"/>
          </p:cNvSpPr>
          <p:nvPr>
            <p:ph type="body" sz="quarter" idx="13" hasCustomPrompt="1"/>
          </p:nvPr>
        </p:nvSpPr>
        <p:spPr>
          <a:xfrm>
            <a:off x="5628510" y="1125596"/>
            <a:ext cx="6274974" cy="1028680"/>
          </a:xfrm>
        </p:spPr>
        <p:txBody>
          <a:bodyPr lIns="182880" tIns="146304" rIns="182880" bIns="146304"/>
          <a:lstStyle>
            <a:lvl1pPr marL="0" indent="0">
              <a:buNone/>
              <a:defRPr sz="5294"/>
            </a:lvl1pPr>
          </a:lstStyle>
          <a:p>
            <a:pPr lvl="0"/>
            <a:r>
              <a:rPr lang="en-US"/>
              <a:t>&lt;theme word here&gt;</a:t>
            </a:r>
          </a:p>
        </p:txBody>
      </p:sp>
      <p:sp>
        <p:nvSpPr>
          <p:cNvPr id="19" name="TextBox 18">
            <a:extLst>
              <a:ext uri="{FF2B5EF4-FFF2-40B4-BE49-F238E27FC236}">
                <a16:creationId xmlns:a16="http://schemas.microsoft.com/office/drawing/2014/main" id="{01931529-E991-4DB3-B887-1383B877392A}"/>
              </a:ext>
            </a:extLst>
          </p:cNvPr>
          <p:cNvSpPr txBox="1"/>
          <p:nvPr userDrawn="1"/>
        </p:nvSpPr>
        <p:spPr>
          <a:xfrm>
            <a:off x="202095" y="1962954"/>
            <a:ext cx="5661415" cy="1022871"/>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id="{C6B98947-DEBB-40AF-8C56-C6A65155B05A}"/>
              </a:ext>
            </a:extLst>
          </p:cNvPr>
          <p:cNvSpPr txBox="1"/>
          <p:nvPr userDrawn="1"/>
        </p:nvSpPr>
        <p:spPr>
          <a:xfrm>
            <a:off x="202095" y="4478001"/>
            <a:ext cx="5661415" cy="1022871"/>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id="{401AB3B0-9D9C-4DCF-AD0D-97258F1220DE}"/>
              </a:ext>
            </a:extLst>
          </p:cNvPr>
          <p:cNvGrpSpPr/>
          <p:nvPr userDrawn="1"/>
        </p:nvGrpSpPr>
        <p:grpSpPr>
          <a:xfrm>
            <a:off x="7342825" y="6399420"/>
            <a:ext cx="4637360" cy="621325"/>
            <a:chOff x="274638" y="4554931"/>
            <a:chExt cx="4730349" cy="594088"/>
          </a:xfrm>
        </p:grpSpPr>
        <p:sp>
          <p:nvSpPr>
            <p:cNvPr id="22" name="TextBox 21">
              <a:extLst>
                <a:ext uri="{FF2B5EF4-FFF2-40B4-BE49-F238E27FC236}">
                  <a16:creationId xmlns:a16="http://schemas.microsoft.com/office/drawing/2014/main" id="{A51D9E96-E652-43D7-AD1D-25CF06E38D9D}"/>
                </a:ext>
              </a:extLst>
            </p:cNvPr>
            <p:cNvSpPr txBox="1"/>
            <p:nvPr userDrawn="1"/>
          </p:nvSpPr>
          <p:spPr>
            <a:xfrm>
              <a:off x="274638" y="4554931"/>
              <a:ext cx="4730349" cy="594088"/>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211386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501405"/>
            <a:ext cx="1423303" cy="325150"/>
          </a:xfrm>
          <a:prstGeom prst="rect">
            <a:avLst/>
          </a:prstGeom>
        </p:spPr>
      </p:pic>
      <p:grpSp>
        <p:nvGrpSpPr>
          <p:cNvPr id="12" name="Group 11"/>
          <p:cNvGrpSpPr/>
          <p:nvPr userDrawn="1"/>
        </p:nvGrpSpPr>
        <p:grpSpPr>
          <a:xfrm>
            <a:off x="7342825" y="6399420"/>
            <a:ext cx="4637360" cy="621325"/>
            <a:chOff x="274638" y="4554931"/>
            <a:chExt cx="4730349" cy="594088"/>
          </a:xfrm>
        </p:grpSpPr>
        <p:sp>
          <p:nvSpPr>
            <p:cNvPr id="7" name="TextBox 6"/>
            <p:cNvSpPr txBox="1"/>
            <p:nvPr userDrawn="1"/>
          </p:nvSpPr>
          <p:spPr>
            <a:xfrm>
              <a:off x="274638" y="4554931"/>
              <a:ext cx="4730349" cy="594088"/>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Seattle, WA	Jan 29–Feb 2, 2018</a:t>
              </a:r>
            </a:p>
          </p:txBody>
        </p:sp>
        <p:cxnSp>
          <p:nvCxnSpPr>
            <p:cNvPr id="10" name="Straight Connector 9"/>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2801302"/>
            <a:ext cx="11052947"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 keep transforming</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3639651"/>
            <a:ext cx="5661415" cy="1022871"/>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grow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4478001"/>
            <a:ext cx="5661415" cy="1022871"/>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succeed</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1962954"/>
            <a:ext cx="2535359"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learn</a:t>
            </a:r>
          </a:p>
        </p:txBody>
      </p:sp>
      <p:sp>
        <p:nvSpPr>
          <p:cNvPr id="13" name="TextBox 12">
            <a:extLst>
              <a:ext uri="{FF2B5EF4-FFF2-40B4-BE49-F238E27FC236}">
                <a16:creationId xmlns:a16="http://schemas.microsoft.com/office/drawing/2014/main" id="{AA75F147-F187-406F-B1C7-8708AB3B7EBF}"/>
              </a:ext>
            </a:extLst>
          </p:cNvPr>
          <p:cNvSpPr txBox="1"/>
          <p:nvPr userDrawn="1"/>
        </p:nvSpPr>
        <p:spPr>
          <a:xfrm>
            <a:off x="4927287" y="1125596"/>
            <a:ext cx="2958167"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dream</a:t>
            </a:r>
          </a:p>
        </p:txBody>
      </p:sp>
    </p:spTree>
    <p:extLst>
      <p:ext uri="{BB962C8B-B14F-4D97-AF65-F5344CB8AC3E}">
        <p14:creationId xmlns:p14="http://schemas.microsoft.com/office/powerpoint/2010/main" val="12717635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223133"/>
            <a:ext cx="8964185" cy="191263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4137146"/>
            <a:ext cx="7171337" cy="1911815"/>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501405"/>
            <a:ext cx="1423303" cy="325150"/>
          </a:xfrm>
          <a:prstGeom prst="rect">
            <a:avLst/>
          </a:prstGeom>
        </p:spPr>
      </p:pic>
      <p:sp>
        <p:nvSpPr>
          <p:cNvPr id="7" name="Text Placeholder 16"/>
          <p:cNvSpPr>
            <a:spLocks noGrp="1"/>
          </p:cNvSpPr>
          <p:nvPr>
            <p:ph type="body" sz="quarter" idx="13" hasCustomPrompt="1"/>
          </p:nvPr>
        </p:nvSpPr>
        <p:spPr>
          <a:xfrm>
            <a:off x="8339677" y="307797"/>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6434686"/>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17648610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268455"/>
            <a:ext cx="11655078" cy="2266583"/>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25506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266821"/>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52461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266820"/>
            <a:ext cx="5378548" cy="2085507"/>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266820"/>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
        <p:nvSpPr>
          <p:cNvPr id="6"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10227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4219959"/>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266820"/>
            <a:ext cx="5378548" cy="2085507"/>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266820"/>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
        <p:nvSpPr>
          <p:cNvPr id="6"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60439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A275160-05B4-411D-9826-B4B67D5B8F10}"/>
              </a:ext>
            </a:extLst>
          </p:cNvPr>
          <p:cNvPicPr>
            <a:picLocks noChangeAspect="1"/>
          </p:cNvPicPr>
          <p:nvPr userDrawn="1"/>
        </p:nvPicPr>
        <p:blipFill rotWithShape="1">
          <a:blip r:embed="rId2" cstate="screen">
            <a:grayscl/>
            <a:extLst>
              <a:ext uri="{28A0092B-C50C-407E-A947-70E740481C1C}">
                <a14:useLocalDpi xmlns:a14="http://schemas.microsoft.com/office/drawing/2010/main"/>
              </a:ext>
            </a:extLst>
          </a:blip>
          <a:srcRect/>
          <a:stretch/>
        </p:blipFill>
        <p:spPr>
          <a:xfrm>
            <a:off x="1" y="6875023"/>
            <a:ext cx="12191999" cy="440174"/>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grpSp>
        <p:nvGrpSpPr>
          <p:cNvPr id="4" name="Group 3">
            <a:extLst>
              <a:ext uri="{FF2B5EF4-FFF2-40B4-BE49-F238E27FC236}">
                <a16:creationId xmlns:a16="http://schemas.microsoft.com/office/drawing/2014/main" id="{9FD74742-F3FC-4175-AF51-88F3F05073D4}"/>
              </a:ext>
            </a:extLst>
          </p:cNvPr>
          <p:cNvGrpSpPr/>
          <p:nvPr userDrawn="1"/>
        </p:nvGrpSpPr>
        <p:grpSpPr>
          <a:xfrm>
            <a:off x="0" y="1543560"/>
            <a:ext cx="12192000" cy="5771640"/>
            <a:chOff x="0" y="1475895"/>
            <a:chExt cx="12436475" cy="5518630"/>
          </a:xfrm>
        </p:grpSpPr>
        <p:sp>
          <p:nvSpPr>
            <p:cNvPr id="5" name="Rectangle 4">
              <a:extLst>
                <a:ext uri="{FF2B5EF4-FFF2-40B4-BE49-F238E27FC236}">
                  <a16:creationId xmlns:a16="http://schemas.microsoft.com/office/drawing/2014/main" id="{1E565A15-A3D9-45B2-B007-5F80A5284162}"/>
                </a:ext>
              </a:extLst>
            </p:cNvPr>
            <p:cNvSpPr/>
            <p:nvPr/>
          </p:nvSpPr>
          <p:spPr bwMode="auto">
            <a:xfrm>
              <a:off x="1" y="1475895"/>
              <a:ext cx="12436474" cy="509774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 name="TextBox 7">
              <a:extLst>
                <a:ext uri="{FF2B5EF4-FFF2-40B4-BE49-F238E27FC236}">
                  <a16:creationId xmlns:a16="http://schemas.microsoft.com/office/drawing/2014/main" id="{87524DF3-887B-43C7-A14A-42718EC88E5D}"/>
                </a:ext>
              </a:extLst>
            </p:cNvPr>
            <p:cNvSpPr txBox="1"/>
            <p:nvPr/>
          </p:nvSpPr>
          <p:spPr>
            <a:xfrm>
              <a:off x="0" y="6574971"/>
              <a:ext cx="12436475" cy="419554"/>
            </a:xfrm>
            <a:prstGeom prst="rect">
              <a:avLst/>
            </a:prstGeom>
            <a:solidFill>
              <a:srgbClr val="002050">
                <a:alpha val="70000"/>
              </a:srgbClr>
            </a:solidFill>
          </p:spPr>
          <p:txBody>
            <a:bodyPr wrap="square" lIns="182880" tIns="146304" rIns="274320" bIns="146304"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grpSp>
    </p:spTree>
    <p:extLst>
      <p:ext uri="{BB962C8B-B14F-4D97-AF65-F5344CB8AC3E}">
        <p14:creationId xmlns:p14="http://schemas.microsoft.com/office/powerpoint/2010/main" val="2681336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A275160-05B4-411D-9826-B4B67D5B8F10}"/>
              </a:ext>
            </a:extLst>
          </p:cNvPr>
          <p:cNvPicPr>
            <a:picLocks noChangeAspect="1"/>
          </p:cNvPicPr>
          <p:nvPr userDrawn="1"/>
        </p:nvPicPr>
        <p:blipFill rotWithShape="1">
          <a:blip r:embed="rId2" cstate="screen">
            <a:grayscl/>
            <a:extLst>
              <a:ext uri="{28A0092B-C50C-407E-A947-70E740481C1C}">
                <a14:useLocalDpi xmlns:a14="http://schemas.microsoft.com/office/drawing/2010/main"/>
              </a:ext>
            </a:extLst>
          </a:blip>
          <a:srcRect/>
          <a:stretch/>
        </p:blipFill>
        <p:spPr>
          <a:xfrm>
            <a:off x="1" y="6875023"/>
            <a:ext cx="12191999" cy="440174"/>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grpSp>
        <p:nvGrpSpPr>
          <p:cNvPr id="6" name="Group 5">
            <a:extLst>
              <a:ext uri="{FF2B5EF4-FFF2-40B4-BE49-F238E27FC236}">
                <a16:creationId xmlns:a16="http://schemas.microsoft.com/office/drawing/2014/main" id="{80B01348-DD19-484F-B62E-92CC275348A8}"/>
              </a:ext>
            </a:extLst>
          </p:cNvPr>
          <p:cNvGrpSpPr/>
          <p:nvPr/>
        </p:nvGrpSpPr>
        <p:grpSpPr>
          <a:xfrm>
            <a:off x="0" y="6876408"/>
            <a:ext cx="12192000" cy="438789"/>
            <a:chOff x="0" y="6574971"/>
            <a:chExt cx="12436475" cy="419554"/>
          </a:xfrm>
        </p:grpSpPr>
        <p:sp>
          <p:nvSpPr>
            <p:cNvPr id="8" name="TextBox 7">
              <a:extLst>
                <a:ext uri="{FF2B5EF4-FFF2-40B4-BE49-F238E27FC236}">
                  <a16:creationId xmlns:a16="http://schemas.microsoft.com/office/drawing/2014/main" id="{87524DF3-887B-43C7-A14A-42718EC88E5D}"/>
                </a:ext>
              </a:extLst>
            </p:cNvPr>
            <p:cNvSpPr txBox="1"/>
            <p:nvPr/>
          </p:nvSpPr>
          <p:spPr>
            <a:xfrm>
              <a:off x="0" y="6574971"/>
              <a:ext cx="12436475" cy="419554"/>
            </a:xfrm>
            <a:prstGeom prst="rect">
              <a:avLst/>
            </a:prstGeom>
            <a:solidFill>
              <a:srgbClr val="002050">
                <a:alpha val="70000"/>
              </a:srgbClr>
            </a:solidFill>
          </p:spPr>
          <p:txBody>
            <a:bodyPr wrap="square" lIns="182880" tIns="146304" rIns="274320" bIns="146304"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9" name="TextBox 7">
              <a:extLst>
                <a:ext uri="{FF2B5EF4-FFF2-40B4-BE49-F238E27FC236}">
                  <a16:creationId xmlns:a16="http://schemas.microsoft.com/office/drawing/2014/main" id="{010A3816-B306-4728-8C5D-DDE017F6E854}"/>
                </a:ext>
              </a:extLst>
            </p:cNvPr>
            <p:cNvSpPr txBox="1"/>
            <p:nvPr/>
          </p:nvSpPr>
          <p:spPr bwMode="black">
            <a:xfrm>
              <a:off x="4449106" y="6702700"/>
              <a:ext cx="3538261" cy="151434"/>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grpSp>
    </p:spTree>
    <p:extLst>
      <p:ext uri="{BB962C8B-B14F-4D97-AF65-F5344CB8AC3E}">
        <p14:creationId xmlns:p14="http://schemas.microsoft.com/office/powerpoint/2010/main" val="4040074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8B7E2FD-5C4A-4D50-912A-6BA9C0B6DF41}"/>
              </a:ext>
            </a:extLst>
          </p:cNvPr>
          <p:cNvPicPr>
            <a:picLocks noChangeAspect="1"/>
          </p:cNvPicPr>
          <p:nvPr userDrawn="1"/>
        </p:nvPicPr>
        <p:blipFill rotWithShape="1">
          <a:blip r:embed="rId2" cstate="screen">
            <a:grayscl/>
            <a:extLst>
              <a:ext uri="{28A0092B-C50C-407E-A947-70E740481C1C}">
                <a14:useLocalDpi xmlns:a14="http://schemas.microsoft.com/office/drawing/2010/main"/>
              </a:ext>
            </a:extLst>
          </a:blip>
          <a:srcRect/>
          <a:stretch/>
        </p:blipFill>
        <p:spPr>
          <a:xfrm flipH="1">
            <a:off x="0" y="1"/>
            <a:ext cx="12192001" cy="7315200"/>
          </a:xfrm>
          <a:prstGeom prst="rect">
            <a:avLst/>
          </a:prstGeom>
        </p:spPr>
      </p:pic>
      <p:sp>
        <p:nvSpPr>
          <p:cNvPr id="7" name="TextBox 6">
            <a:extLst>
              <a:ext uri="{FF2B5EF4-FFF2-40B4-BE49-F238E27FC236}">
                <a16:creationId xmlns:a16="http://schemas.microsoft.com/office/drawing/2014/main" id="{FB028A17-DBC2-4B20-934F-99DDD0013C8D}"/>
              </a:ext>
            </a:extLst>
          </p:cNvPr>
          <p:cNvSpPr txBox="1"/>
          <p:nvPr userDrawn="1"/>
        </p:nvSpPr>
        <p:spPr>
          <a:xfrm>
            <a:off x="0" y="-1"/>
            <a:ext cx="12192000" cy="7315199"/>
          </a:xfrm>
          <a:prstGeom prst="rect">
            <a:avLst/>
          </a:prstGeom>
          <a:solidFill>
            <a:schemeClr val="bg1">
              <a:alpha val="70000"/>
            </a:scheme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2" name="Title 1"/>
          <p:cNvSpPr>
            <a:spLocks noGrp="1"/>
          </p:cNvSpPr>
          <p:nvPr>
            <p:ph type="title" hasCustomPrompt="1"/>
          </p:nvPr>
        </p:nvSpPr>
        <p:spPr>
          <a:xfrm>
            <a:off x="269239" y="2223132"/>
            <a:ext cx="9859116" cy="1162178"/>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4135762"/>
            <a:ext cx="9860674"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56595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223132"/>
            <a:ext cx="9859116" cy="1162178"/>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120646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223116"/>
            <a:ext cx="11653523" cy="1162178"/>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51012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accent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A1A135C-DA47-44E7-A3DE-6DDB9A75D425}"/>
              </a:ext>
            </a:extLst>
          </p:cNvPr>
          <p:cNvPicPr>
            <a:picLocks noChangeAspect="1"/>
          </p:cNvPicPr>
          <p:nvPr userDrawn="1"/>
        </p:nvPicPr>
        <p:blipFill rotWithShape="1">
          <a:blip r:embed="rId2" cstate="screen">
            <a:grayscl/>
            <a:extLst>
              <a:ext uri="{28A0092B-C50C-407E-A947-70E740481C1C}">
                <a14:useLocalDpi xmlns:a14="http://schemas.microsoft.com/office/drawing/2010/main"/>
              </a:ext>
            </a:extLst>
          </a:blip>
          <a:srcRect/>
          <a:stretch/>
        </p:blipFill>
        <p:spPr>
          <a:xfrm>
            <a:off x="1" y="0"/>
            <a:ext cx="12191999" cy="7315197"/>
          </a:xfrm>
          <a:prstGeom prst="rect">
            <a:avLst/>
          </a:prstGeom>
        </p:spPr>
      </p:pic>
      <p:sp>
        <p:nvSpPr>
          <p:cNvPr id="5" name="TextBox 4">
            <a:extLst>
              <a:ext uri="{FF2B5EF4-FFF2-40B4-BE49-F238E27FC236}">
                <a16:creationId xmlns:a16="http://schemas.microsoft.com/office/drawing/2014/main" id="{BF657ABC-72DB-47DF-8812-CF0BA3D6D92C}"/>
              </a:ext>
            </a:extLst>
          </p:cNvPr>
          <p:cNvSpPr txBox="1"/>
          <p:nvPr userDrawn="1"/>
        </p:nvSpPr>
        <p:spPr>
          <a:xfrm>
            <a:off x="1" y="0"/>
            <a:ext cx="9315694"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0" name="TextBox 9">
            <a:extLst>
              <a:ext uri="{FF2B5EF4-FFF2-40B4-BE49-F238E27FC236}">
                <a16:creationId xmlns:a16="http://schemas.microsoft.com/office/drawing/2014/main" id="{60E5C1B4-0A9F-4C8D-BD32-1E7A772383CB}"/>
              </a:ext>
            </a:extLst>
          </p:cNvPr>
          <p:cNvSpPr txBox="1"/>
          <p:nvPr userDrawn="1"/>
        </p:nvSpPr>
        <p:spPr>
          <a:xfrm>
            <a:off x="8945573" y="0"/>
            <a:ext cx="821823"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1" name="TextBox 10">
            <a:extLst>
              <a:ext uri="{FF2B5EF4-FFF2-40B4-BE49-F238E27FC236}">
                <a16:creationId xmlns:a16="http://schemas.microsoft.com/office/drawing/2014/main" id="{08AE6F62-1F03-4198-BF2B-C5F6669F443C}"/>
              </a:ext>
            </a:extLst>
          </p:cNvPr>
          <p:cNvSpPr txBox="1"/>
          <p:nvPr userDrawn="1"/>
        </p:nvSpPr>
        <p:spPr>
          <a:xfrm>
            <a:off x="11410589" y="0"/>
            <a:ext cx="190096"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3" name="TextBox 12">
            <a:extLst>
              <a:ext uri="{FF2B5EF4-FFF2-40B4-BE49-F238E27FC236}">
                <a16:creationId xmlns:a16="http://schemas.microsoft.com/office/drawing/2014/main" id="{8F1A0E23-E11B-4D3E-AE24-FE6FC596CD35}"/>
              </a:ext>
            </a:extLst>
          </p:cNvPr>
          <p:cNvSpPr txBox="1"/>
          <p:nvPr userDrawn="1"/>
        </p:nvSpPr>
        <p:spPr>
          <a:xfrm>
            <a:off x="10054640" y="0"/>
            <a:ext cx="422130"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4" name="TextBox 13">
            <a:extLst>
              <a:ext uri="{FF2B5EF4-FFF2-40B4-BE49-F238E27FC236}">
                <a16:creationId xmlns:a16="http://schemas.microsoft.com/office/drawing/2014/main" id="{41E9FC35-75F1-4489-8D90-B025217016C8}"/>
              </a:ext>
            </a:extLst>
          </p:cNvPr>
          <p:cNvSpPr txBox="1"/>
          <p:nvPr userDrawn="1"/>
        </p:nvSpPr>
        <p:spPr>
          <a:xfrm>
            <a:off x="10334868" y="0"/>
            <a:ext cx="659419"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6" name="TextBox 7">
            <a:extLst>
              <a:ext uri="{FF2B5EF4-FFF2-40B4-BE49-F238E27FC236}">
                <a16:creationId xmlns:a16="http://schemas.microsoft.com/office/drawing/2014/main" id="{261787D0-DB36-4685-93EE-6C728FDE1673}"/>
              </a:ext>
            </a:extLst>
          </p:cNvPr>
          <p:cNvSpPr txBox="1"/>
          <p:nvPr userDrawn="1"/>
        </p:nvSpPr>
        <p:spPr bwMode="black">
          <a:xfrm>
            <a:off x="4361647"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2" name="Title 1"/>
          <p:cNvSpPr>
            <a:spLocks noGrp="1"/>
          </p:cNvSpPr>
          <p:nvPr>
            <p:ph type="title" hasCustomPrompt="1"/>
          </p:nvPr>
        </p:nvSpPr>
        <p:spPr>
          <a:xfrm>
            <a:off x="269239" y="2223116"/>
            <a:ext cx="11653523" cy="1162178"/>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cxnSp>
        <p:nvCxnSpPr>
          <p:cNvPr id="7" name="Straight Connector 6">
            <a:extLst>
              <a:ext uri="{FF2B5EF4-FFF2-40B4-BE49-F238E27FC236}">
                <a16:creationId xmlns:a16="http://schemas.microsoft.com/office/drawing/2014/main" id="{4B0C30F8-CBB8-491E-9645-65AB0A2C1EC9}"/>
              </a:ext>
            </a:extLst>
          </p:cNvPr>
          <p:cNvCxnSpPr>
            <a:cxnSpLocks/>
          </p:cNvCxnSpPr>
          <p:nvPr userDrawn="1"/>
        </p:nvCxnSpPr>
        <p:spPr>
          <a:xfrm>
            <a:off x="0" y="3640606"/>
            <a:ext cx="10769548"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65345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1000"/>
                                        <p:tgtEl>
                                          <p:spTgt spid="7"/>
                                        </p:tgtEl>
                                      </p:cBhvr>
                                    </p:animEffect>
                                  </p:childTnLst>
                                </p:cTn>
                              </p:par>
                              <p:par>
                                <p:cTn id="8" presetID="2" presetClass="entr" presetSubtype="1" decel="10000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 calcmode="lin" valueType="num">
                                      <p:cBhvr additive="base">
                                        <p:cTn id="10" dur="500" fill="hold"/>
                                        <p:tgtEl>
                                          <p:spTgt spid="10"/>
                                        </p:tgtEl>
                                        <p:attrNameLst>
                                          <p:attrName>ppt_x</p:attrName>
                                        </p:attrNameLst>
                                      </p:cBhvr>
                                      <p:tavLst>
                                        <p:tav tm="0">
                                          <p:val>
                                            <p:strVal val="#ppt_x"/>
                                          </p:val>
                                        </p:tav>
                                        <p:tav tm="100000">
                                          <p:val>
                                            <p:strVal val="#ppt_x"/>
                                          </p:val>
                                        </p:tav>
                                      </p:tavLst>
                                    </p:anim>
                                    <p:anim calcmode="lin" valueType="num">
                                      <p:cBhvr additive="base">
                                        <p:cTn id="11" dur="500" fill="hold"/>
                                        <p:tgtEl>
                                          <p:spTgt spid="10"/>
                                        </p:tgtEl>
                                        <p:attrNameLst>
                                          <p:attrName>ppt_y</p:attrName>
                                        </p:attrNameLst>
                                      </p:cBhvr>
                                      <p:tavLst>
                                        <p:tav tm="0">
                                          <p:val>
                                            <p:strVal val="0-#ppt_h/2"/>
                                          </p:val>
                                        </p:tav>
                                        <p:tav tm="100000">
                                          <p:val>
                                            <p:strVal val="#ppt_y"/>
                                          </p:val>
                                        </p:tav>
                                      </p:tavLst>
                                    </p:anim>
                                  </p:childTnLst>
                                </p:cTn>
                              </p:par>
                              <p:par>
                                <p:cTn id="12" presetID="2" presetClass="entr" presetSubtype="4" decel="100000" fill="hold" grpId="0" nodeType="withEffect">
                                  <p:stCondLst>
                                    <p:cond delay="250"/>
                                  </p:stCondLst>
                                  <p:childTnLst>
                                    <p:set>
                                      <p:cBhvr>
                                        <p:cTn id="13" dur="1" fill="hold">
                                          <p:stCondLst>
                                            <p:cond delay="0"/>
                                          </p:stCondLst>
                                        </p:cTn>
                                        <p:tgtEl>
                                          <p:spTgt spid="13"/>
                                        </p:tgtEl>
                                        <p:attrNameLst>
                                          <p:attrName>style.visibility</p:attrName>
                                        </p:attrNameLst>
                                      </p:cBhvr>
                                      <p:to>
                                        <p:strVal val="visible"/>
                                      </p:to>
                                    </p:set>
                                    <p:anim calcmode="lin" valueType="num">
                                      <p:cBhvr additive="base">
                                        <p:cTn id="14" dur="500" fill="hold"/>
                                        <p:tgtEl>
                                          <p:spTgt spid="13"/>
                                        </p:tgtEl>
                                        <p:attrNameLst>
                                          <p:attrName>ppt_x</p:attrName>
                                        </p:attrNameLst>
                                      </p:cBhvr>
                                      <p:tavLst>
                                        <p:tav tm="0">
                                          <p:val>
                                            <p:strVal val="#ppt_x"/>
                                          </p:val>
                                        </p:tav>
                                        <p:tav tm="100000">
                                          <p:val>
                                            <p:strVal val="#ppt_x"/>
                                          </p:val>
                                        </p:tav>
                                      </p:tavLst>
                                    </p:anim>
                                    <p:anim calcmode="lin" valueType="num">
                                      <p:cBhvr additive="base">
                                        <p:cTn id="15" dur="500" fill="hold"/>
                                        <p:tgtEl>
                                          <p:spTgt spid="13"/>
                                        </p:tgtEl>
                                        <p:attrNameLst>
                                          <p:attrName>ppt_y</p:attrName>
                                        </p:attrNameLst>
                                      </p:cBhvr>
                                      <p:tavLst>
                                        <p:tav tm="0">
                                          <p:val>
                                            <p:strVal val="1+#ppt_h/2"/>
                                          </p:val>
                                        </p:tav>
                                        <p:tav tm="100000">
                                          <p:val>
                                            <p:strVal val="#ppt_y"/>
                                          </p:val>
                                        </p:tav>
                                      </p:tavLst>
                                    </p:anim>
                                  </p:childTnLst>
                                </p:cTn>
                              </p:par>
                              <p:par>
                                <p:cTn id="16" presetID="2" presetClass="entr" presetSubtype="4" decel="100000" fill="hold" grpId="0" nodeType="withEffect">
                                  <p:stCondLst>
                                    <p:cond delay="500"/>
                                  </p:stCondLst>
                                  <p:childTnLst>
                                    <p:set>
                                      <p:cBhvr>
                                        <p:cTn id="17" dur="1" fill="hold">
                                          <p:stCondLst>
                                            <p:cond delay="0"/>
                                          </p:stCondLst>
                                        </p:cTn>
                                        <p:tgtEl>
                                          <p:spTgt spid="11"/>
                                        </p:tgtEl>
                                        <p:attrNameLst>
                                          <p:attrName>style.visibility</p:attrName>
                                        </p:attrNameLst>
                                      </p:cBhvr>
                                      <p:to>
                                        <p:strVal val="visible"/>
                                      </p:to>
                                    </p:set>
                                    <p:anim calcmode="lin" valueType="num">
                                      <p:cBhvr additive="base">
                                        <p:cTn id="18" dur="500" fill="hold"/>
                                        <p:tgtEl>
                                          <p:spTgt spid="11"/>
                                        </p:tgtEl>
                                        <p:attrNameLst>
                                          <p:attrName>ppt_x</p:attrName>
                                        </p:attrNameLst>
                                      </p:cBhvr>
                                      <p:tavLst>
                                        <p:tav tm="0">
                                          <p:val>
                                            <p:strVal val="#ppt_x"/>
                                          </p:val>
                                        </p:tav>
                                        <p:tav tm="100000">
                                          <p:val>
                                            <p:strVal val="#ppt_x"/>
                                          </p:val>
                                        </p:tav>
                                      </p:tavLst>
                                    </p:anim>
                                    <p:anim calcmode="lin" valueType="num">
                                      <p:cBhvr additive="base">
                                        <p:cTn id="19" dur="500" fill="hold"/>
                                        <p:tgtEl>
                                          <p:spTgt spid="11"/>
                                        </p:tgtEl>
                                        <p:attrNameLst>
                                          <p:attrName>ppt_y</p:attrName>
                                        </p:attrNameLst>
                                      </p:cBhvr>
                                      <p:tavLst>
                                        <p:tav tm="0">
                                          <p:val>
                                            <p:strVal val="1+#ppt_h/2"/>
                                          </p:val>
                                        </p:tav>
                                        <p:tav tm="100000">
                                          <p:val>
                                            <p:strVal val="#ppt_y"/>
                                          </p:val>
                                        </p:tav>
                                      </p:tavLst>
                                    </p:anim>
                                  </p:childTnLst>
                                </p:cTn>
                              </p:par>
                              <p:par>
                                <p:cTn id="20" presetID="2" presetClass="entr" presetSubtype="1" decel="100000" fill="hold" grpId="0" nodeType="withEffect">
                                  <p:stCondLst>
                                    <p:cond delay="750"/>
                                  </p:stCondLst>
                                  <p:childTnLst>
                                    <p:set>
                                      <p:cBhvr>
                                        <p:cTn id="21" dur="1" fill="hold">
                                          <p:stCondLst>
                                            <p:cond delay="0"/>
                                          </p:stCondLst>
                                        </p:cTn>
                                        <p:tgtEl>
                                          <p:spTgt spid="14"/>
                                        </p:tgtEl>
                                        <p:attrNameLst>
                                          <p:attrName>style.visibility</p:attrName>
                                        </p:attrNameLst>
                                      </p:cBhvr>
                                      <p:to>
                                        <p:strVal val="visible"/>
                                      </p:to>
                                    </p:set>
                                    <p:anim calcmode="lin" valueType="num">
                                      <p:cBhvr additive="base">
                                        <p:cTn id="22" dur="500" fill="hold"/>
                                        <p:tgtEl>
                                          <p:spTgt spid="14"/>
                                        </p:tgtEl>
                                        <p:attrNameLst>
                                          <p:attrName>ppt_x</p:attrName>
                                        </p:attrNameLst>
                                      </p:cBhvr>
                                      <p:tavLst>
                                        <p:tav tm="0">
                                          <p:val>
                                            <p:strVal val="#ppt_x"/>
                                          </p:val>
                                        </p:tav>
                                        <p:tav tm="100000">
                                          <p:val>
                                            <p:strVal val="#ppt_x"/>
                                          </p:val>
                                        </p:tav>
                                      </p:tavLst>
                                    </p:anim>
                                    <p:anim calcmode="lin" valueType="num">
                                      <p:cBhvr additive="base">
                                        <p:cTn id="23" dur="500" fill="hold"/>
                                        <p:tgtEl>
                                          <p:spTgt spid="1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3" grpId="0" animBg="1"/>
      <p:bldP spid="14" grpId="0" animBg="1"/>
    </p:bld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3BC494E-9CBA-4343-8515-75CEA9E43BAA}"/>
              </a:ext>
            </a:extLst>
          </p:cNvPr>
          <p:cNvPicPr>
            <a:picLocks noChangeAspect="1"/>
          </p:cNvPicPr>
          <p:nvPr userDrawn="1"/>
        </p:nvPicPr>
        <p:blipFill rotWithShape="1">
          <a:blip r:embed="rId2" cstate="screen">
            <a:grayscl/>
            <a:extLst>
              <a:ext uri="{28A0092B-C50C-407E-A947-70E740481C1C}">
                <a14:useLocalDpi xmlns:a14="http://schemas.microsoft.com/office/drawing/2010/main"/>
              </a:ext>
            </a:extLst>
          </a:blip>
          <a:srcRect/>
          <a:stretch/>
        </p:blipFill>
        <p:spPr>
          <a:xfrm>
            <a:off x="1" y="0"/>
            <a:ext cx="12191999" cy="7312427"/>
          </a:xfrm>
          <a:prstGeom prst="rect">
            <a:avLst/>
          </a:prstGeom>
        </p:spPr>
      </p:pic>
      <p:sp>
        <p:nvSpPr>
          <p:cNvPr id="15" name="TextBox 14">
            <a:extLst>
              <a:ext uri="{FF2B5EF4-FFF2-40B4-BE49-F238E27FC236}">
                <a16:creationId xmlns:a16="http://schemas.microsoft.com/office/drawing/2014/main" id="{3173E7DB-641D-4104-B814-6F89F882A5D1}"/>
              </a:ext>
            </a:extLst>
          </p:cNvPr>
          <p:cNvSpPr txBox="1"/>
          <p:nvPr userDrawn="1"/>
        </p:nvSpPr>
        <p:spPr>
          <a:xfrm>
            <a:off x="1" y="0"/>
            <a:ext cx="9315694"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6" name="TextBox 15">
            <a:extLst>
              <a:ext uri="{FF2B5EF4-FFF2-40B4-BE49-F238E27FC236}">
                <a16:creationId xmlns:a16="http://schemas.microsoft.com/office/drawing/2014/main" id="{13AAA822-1F18-469A-A506-21D7702FC48B}"/>
              </a:ext>
            </a:extLst>
          </p:cNvPr>
          <p:cNvSpPr txBox="1"/>
          <p:nvPr userDrawn="1"/>
        </p:nvSpPr>
        <p:spPr>
          <a:xfrm>
            <a:off x="8945573" y="0"/>
            <a:ext cx="821823"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7" name="TextBox 16">
            <a:extLst>
              <a:ext uri="{FF2B5EF4-FFF2-40B4-BE49-F238E27FC236}">
                <a16:creationId xmlns:a16="http://schemas.microsoft.com/office/drawing/2014/main" id="{F5A7B030-FA75-4B3C-A9CC-9EEE7B31E571}"/>
              </a:ext>
            </a:extLst>
          </p:cNvPr>
          <p:cNvSpPr txBox="1"/>
          <p:nvPr userDrawn="1"/>
        </p:nvSpPr>
        <p:spPr>
          <a:xfrm>
            <a:off x="11410589" y="0"/>
            <a:ext cx="190096"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8" name="TextBox 17">
            <a:extLst>
              <a:ext uri="{FF2B5EF4-FFF2-40B4-BE49-F238E27FC236}">
                <a16:creationId xmlns:a16="http://schemas.microsoft.com/office/drawing/2014/main" id="{141115B3-9785-42EA-9921-0228D1296714}"/>
              </a:ext>
            </a:extLst>
          </p:cNvPr>
          <p:cNvSpPr txBox="1"/>
          <p:nvPr userDrawn="1"/>
        </p:nvSpPr>
        <p:spPr>
          <a:xfrm>
            <a:off x="10054640" y="0"/>
            <a:ext cx="422130"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9" name="TextBox 18">
            <a:extLst>
              <a:ext uri="{FF2B5EF4-FFF2-40B4-BE49-F238E27FC236}">
                <a16:creationId xmlns:a16="http://schemas.microsoft.com/office/drawing/2014/main" id="{BB967C0F-7165-4C99-AA15-EBA1065BF5D7}"/>
              </a:ext>
            </a:extLst>
          </p:cNvPr>
          <p:cNvSpPr txBox="1"/>
          <p:nvPr userDrawn="1"/>
        </p:nvSpPr>
        <p:spPr>
          <a:xfrm>
            <a:off x="10334868" y="0"/>
            <a:ext cx="659419"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cxnSp>
        <p:nvCxnSpPr>
          <p:cNvPr id="20" name="Straight Connector 19">
            <a:extLst>
              <a:ext uri="{FF2B5EF4-FFF2-40B4-BE49-F238E27FC236}">
                <a16:creationId xmlns:a16="http://schemas.microsoft.com/office/drawing/2014/main" id="{359E2195-018A-4040-BF3C-59E216FB0BC7}"/>
              </a:ext>
            </a:extLst>
          </p:cNvPr>
          <p:cNvCxnSpPr>
            <a:cxnSpLocks/>
          </p:cNvCxnSpPr>
          <p:nvPr userDrawn="1"/>
        </p:nvCxnSpPr>
        <p:spPr>
          <a:xfrm>
            <a:off x="0" y="3640606"/>
            <a:ext cx="10769548"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7">
            <a:extLst>
              <a:ext uri="{FF2B5EF4-FFF2-40B4-BE49-F238E27FC236}">
                <a16:creationId xmlns:a16="http://schemas.microsoft.com/office/drawing/2014/main" id="{261787D0-DB36-4685-93EE-6C728FDE1673}"/>
              </a:ext>
            </a:extLst>
          </p:cNvPr>
          <p:cNvSpPr txBox="1"/>
          <p:nvPr userDrawn="1"/>
        </p:nvSpPr>
        <p:spPr bwMode="black">
          <a:xfrm>
            <a:off x="4361647"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2" name="Title 1"/>
          <p:cNvSpPr>
            <a:spLocks noGrp="1"/>
          </p:cNvSpPr>
          <p:nvPr>
            <p:ph type="title" hasCustomPrompt="1"/>
          </p:nvPr>
        </p:nvSpPr>
        <p:spPr>
          <a:xfrm>
            <a:off x="269239" y="2223116"/>
            <a:ext cx="11653523" cy="1162178"/>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313036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left)">
                                      <p:cBhvr>
                                        <p:cTn id="7" dur="1000"/>
                                        <p:tgtEl>
                                          <p:spTgt spid="20"/>
                                        </p:tgtEl>
                                      </p:cBhvr>
                                    </p:animEffect>
                                  </p:childTnLst>
                                </p:cTn>
                              </p:par>
                              <p:par>
                                <p:cTn id="8" presetID="2" presetClass="entr" presetSubtype="1" decel="10000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 calcmode="lin" valueType="num">
                                      <p:cBhvr additive="base">
                                        <p:cTn id="10" dur="500" fill="hold"/>
                                        <p:tgtEl>
                                          <p:spTgt spid="16"/>
                                        </p:tgtEl>
                                        <p:attrNameLst>
                                          <p:attrName>ppt_x</p:attrName>
                                        </p:attrNameLst>
                                      </p:cBhvr>
                                      <p:tavLst>
                                        <p:tav tm="0">
                                          <p:val>
                                            <p:strVal val="#ppt_x"/>
                                          </p:val>
                                        </p:tav>
                                        <p:tav tm="100000">
                                          <p:val>
                                            <p:strVal val="#ppt_x"/>
                                          </p:val>
                                        </p:tav>
                                      </p:tavLst>
                                    </p:anim>
                                    <p:anim calcmode="lin" valueType="num">
                                      <p:cBhvr additive="base">
                                        <p:cTn id="11" dur="500" fill="hold"/>
                                        <p:tgtEl>
                                          <p:spTgt spid="16"/>
                                        </p:tgtEl>
                                        <p:attrNameLst>
                                          <p:attrName>ppt_y</p:attrName>
                                        </p:attrNameLst>
                                      </p:cBhvr>
                                      <p:tavLst>
                                        <p:tav tm="0">
                                          <p:val>
                                            <p:strVal val="0-#ppt_h/2"/>
                                          </p:val>
                                        </p:tav>
                                        <p:tav tm="100000">
                                          <p:val>
                                            <p:strVal val="#ppt_y"/>
                                          </p:val>
                                        </p:tav>
                                      </p:tavLst>
                                    </p:anim>
                                  </p:childTnLst>
                                </p:cTn>
                              </p:par>
                              <p:par>
                                <p:cTn id="12" presetID="2" presetClass="entr" presetSubtype="4" decel="100000" fill="hold" grpId="0" nodeType="withEffect">
                                  <p:stCondLst>
                                    <p:cond delay="250"/>
                                  </p:stCondLst>
                                  <p:childTnLst>
                                    <p:set>
                                      <p:cBhvr>
                                        <p:cTn id="13" dur="1" fill="hold">
                                          <p:stCondLst>
                                            <p:cond delay="0"/>
                                          </p:stCondLst>
                                        </p:cTn>
                                        <p:tgtEl>
                                          <p:spTgt spid="18"/>
                                        </p:tgtEl>
                                        <p:attrNameLst>
                                          <p:attrName>style.visibility</p:attrName>
                                        </p:attrNameLst>
                                      </p:cBhvr>
                                      <p:to>
                                        <p:strVal val="visible"/>
                                      </p:to>
                                    </p:set>
                                    <p:anim calcmode="lin" valueType="num">
                                      <p:cBhvr additive="base">
                                        <p:cTn id="14" dur="500" fill="hold"/>
                                        <p:tgtEl>
                                          <p:spTgt spid="18"/>
                                        </p:tgtEl>
                                        <p:attrNameLst>
                                          <p:attrName>ppt_x</p:attrName>
                                        </p:attrNameLst>
                                      </p:cBhvr>
                                      <p:tavLst>
                                        <p:tav tm="0">
                                          <p:val>
                                            <p:strVal val="#ppt_x"/>
                                          </p:val>
                                        </p:tav>
                                        <p:tav tm="100000">
                                          <p:val>
                                            <p:strVal val="#ppt_x"/>
                                          </p:val>
                                        </p:tav>
                                      </p:tavLst>
                                    </p:anim>
                                    <p:anim calcmode="lin" valueType="num">
                                      <p:cBhvr additive="base">
                                        <p:cTn id="15" dur="500" fill="hold"/>
                                        <p:tgtEl>
                                          <p:spTgt spid="18"/>
                                        </p:tgtEl>
                                        <p:attrNameLst>
                                          <p:attrName>ppt_y</p:attrName>
                                        </p:attrNameLst>
                                      </p:cBhvr>
                                      <p:tavLst>
                                        <p:tav tm="0">
                                          <p:val>
                                            <p:strVal val="1+#ppt_h/2"/>
                                          </p:val>
                                        </p:tav>
                                        <p:tav tm="100000">
                                          <p:val>
                                            <p:strVal val="#ppt_y"/>
                                          </p:val>
                                        </p:tav>
                                      </p:tavLst>
                                    </p:anim>
                                  </p:childTnLst>
                                </p:cTn>
                              </p:par>
                              <p:par>
                                <p:cTn id="16" presetID="2" presetClass="entr" presetSubtype="4" decel="100000" fill="hold" grpId="0" nodeType="withEffect">
                                  <p:stCondLst>
                                    <p:cond delay="500"/>
                                  </p:stCondLst>
                                  <p:childTnLst>
                                    <p:set>
                                      <p:cBhvr>
                                        <p:cTn id="17" dur="1" fill="hold">
                                          <p:stCondLst>
                                            <p:cond delay="0"/>
                                          </p:stCondLst>
                                        </p:cTn>
                                        <p:tgtEl>
                                          <p:spTgt spid="17"/>
                                        </p:tgtEl>
                                        <p:attrNameLst>
                                          <p:attrName>style.visibility</p:attrName>
                                        </p:attrNameLst>
                                      </p:cBhvr>
                                      <p:to>
                                        <p:strVal val="visible"/>
                                      </p:to>
                                    </p:set>
                                    <p:anim calcmode="lin" valueType="num">
                                      <p:cBhvr additive="base">
                                        <p:cTn id="18" dur="500" fill="hold"/>
                                        <p:tgtEl>
                                          <p:spTgt spid="17"/>
                                        </p:tgtEl>
                                        <p:attrNameLst>
                                          <p:attrName>ppt_x</p:attrName>
                                        </p:attrNameLst>
                                      </p:cBhvr>
                                      <p:tavLst>
                                        <p:tav tm="0">
                                          <p:val>
                                            <p:strVal val="#ppt_x"/>
                                          </p:val>
                                        </p:tav>
                                        <p:tav tm="100000">
                                          <p:val>
                                            <p:strVal val="#ppt_x"/>
                                          </p:val>
                                        </p:tav>
                                      </p:tavLst>
                                    </p:anim>
                                    <p:anim calcmode="lin" valueType="num">
                                      <p:cBhvr additive="base">
                                        <p:cTn id="19" dur="500" fill="hold"/>
                                        <p:tgtEl>
                                          <p:spTgt spid="17"/>
                                        </p:tgtEl>
                                        <p:attrNameLst>
                                          <p:attrName>ppt_y</p:attrName>
                                        </p:attrNameLst>
                                      </p:cBhvr>
                                      <p:tavLst>
                                        <p:tav tm="0">
                                          <p:val>
                                            <p:strVal val="1+#ppt_h/2"/>
                                          </p:val>
                                        </p:tav>
                                        <p:tav tm="100000">
                                          <p:val>
                                            <p:strVal val="#ppt_y"/>
                                          </p:val>
                                        </p:tav>
                                      </p:tavLst>
                                    </p:anim>
                                  </p:childTnLst>
                                </p:cTn>
                              </p:par>
                              <p:par>
                                <p:cTn id="20" presetID="2" presetClass="entr" presetSubtype="1" decel="100000" fill="hold" grpId="0" nodeType="withEffect">
                                  <p:stCondLst>
                                    <p:cond delay="750"/>
                                  </p:stCondLst>
                                  <p:childTnLst>
                                    <p:set>
                                      <p:cBhvr>
                                        <p:cTn id="21" dur="1" fill="hold">
                                          <p:stCondLst>
                                            <p:cond delay="0"/>
                                          </p:stCondLst>
                                        </p:cTn>
                                        <p:tgtEl>
                                          <p:spTgt spid="19"/>
                                        </p:tgtEl>
                                        <p:attrNameLst>
                                          <p:attrName>style.visibility</p:attrName>
                                        </p:attrNameLst>
                                      </p:cBhvr>
                                      <p:to>
                                        <p:strVal val="visible"/>
                                      </p:to>
                                    </p:set>
                                    <p:anim calcmode="lin" valueType="num">
                                      <p:cBhvr additive="base">
                                        <p:cTn id="22" dur="500" fill="hold"/>
                                        <p:tgtEl>
                                          <p:spTgt spid="19"/>
                                        </p:tgtEl>
                                        <p:attrNameLst>
                                          <p:attrName>ppt_x</p:attrName>
                                        </p:attrNameLst>
                                      </p:cBhvr>
                                      <p:tavLst>
                                        <p:tav tm="0">
                                          <p:val>
                                            <p:strVal val="#ppt_x"/>
                                          </p:val>
                                        </p:tav>
                                        <p:tav tm="100000">
                                          <p:val>
                                            <p:strVal val="#ppt_x"/>
                                          </p:val>
                                        </p:tav>
                                      </p:tavLst>
                                    </p:anim>
                                    <p:anim calcmode="lin" valueType="num">
                                      <p:cBhvr additive="base">
                                        <p:cTn id="23" dur="500" fill="hold"/>
                                        <p:tgtEl>
                                          <p:spTgt spid="19"/>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18" grpId="0" animBg="1"/>
      <p:bldP spid="19" grpId="0" animBg="1"/>
    </p:bld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15633B1-6F43-42CC-8C02-6043C779A5F3}"/>
              </a:ext>
            </a:extLst>
          </p:cNvPr>
          <p:cNvPicPr>
            <a:picLocks noChangeAspect="1"/>
          </p:cNvPicPr>
          <p:nvPr userDrawn="1"/>
        </p:nvPicPr>
        <p:blipFill rotWithShape="1">
          <a:blip r:embed="rId2" cstate="screen">
            <a:grayscl/>
            <a:extLst>
              <a:ext uri="{28A0092B-C50C-407E-A947-70E740481C1C}">
                <a14:useLocalDpi xmlns:a14="http://schemas.microsoft.com/office/drawing/2010/main"/>
              </a:ext>
            </a:extLst>
          </a:blip>
          <a:srcRect/>
          <a:stretch/>
        </p:blipFill>
        <p:spPr>
          <a:xfrm flipH="1">
            <a:off x="1" y="0"/>
            <a:ext cx="12191999" cy="7315196"/>
          </a:xfrm>
          <a:prstGeom prst="rect">
            <a:avLst/>
          </a:prstGeom>
        </p:spPr>
      </p:pic>
      <p:sp>
        <p:nvSpPr>
          <p:cNvPr id="10" name="TextBox 9">
            <a:extLst>
              <a:ext uri="{FF2B5EF4-FFF2-40B4-BE49-F238E27FC236}">
                <a16:creationId xmlns:a16="http://schemas.microsoft.com/office/drawing/2014/main" id="{23A92A59-0249-42EA-8763-D7387756D507}"/>
              </a:ext>
            </a:extLst>
          </p:cNvPr>
          <p:cNvSpPr txBox="1"/>
          <p:nvPr userDrawn="1"/>
        </p:nvSpPr>
        <p:spPr>
          <a:xfrm>
            <a:off x="1" y="0"/>
            <a:ext cx="9315694"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1" name="TextBox 10">
            <a:extLst>
              <a:ext uri="{FF2B5EF4-FFF2-40B4-BE49-F238E27FC236}">
                <a16:creationId xmlns:a16="http://schemas.microsoft.com/office/drawing/2014/main" id="{6547F100-7E24-4993-9B40-2FCD819E1218}"/>
              </a:ext>
            </a:extLst>
          </p:cNvPr>
          <p:cNvSpPr txBox="1"/>
          <p:nvPr userDrawn="1"/>
        </p:nvSpPr>
        <p:spPr>
          <a:xfrm>
            <a:off x="8945573" y="0"/>
            <a:ext cx="821823"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2" name="TextBox 11">
            <a:extLst>
              <a:ext uri="{FF2B5EF4-FFF2-40B4-BE49-F238E27FC236}">
                <a16:creationId xmlns:a16="http://schemas.microsoft.com/office/drawing/2014/main" id="{9C6E48A7-164D-4A28-8F5A-8F70EC65CB79}"/>
              </a:ext>
            </a:extLst>
          </p:cNvPr>
          <p:cNvSpPr txBox="1"/>
          <p:nvPr userDrawn="1"/>
        </p:nvSpPr>
        <p:spPr>
          <a:xfrm>
            <a:off x="11410589" y="0"/>
            <a:ext cx="190096"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3" name="TextBox 12">
            <a:extLst>
              <a:ext uri="{FF2B5EF4-FFF2-40B4-BE49-F238E27FC236}">
                <a16:creationId xmlns:a16="http://schemas.microsoft.com/office/drawing/2014/main" id="{C69D800A-D071-4B3F-8EBF-E746A69758F1}"/>
              </a:ext>
            </a:extLst>
          </p:cNvPr>
          <p:cNvSpPr txBox="1"/>
          <p:nvPr userDrawn="1"/>
        </p:nvSpPr>
        <p:spPr>
          <a:xfrm>
            <a:off x="10054640" y="0"/>
            <a:ext cx="422130"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4" name="TextBox 13">
            <a:extLst>
              <a:ext uri="{FF2B5EF4-FFF2-40B4-BE49-F238E27FC236}">
                <a16:creationId xmlns:a16="http://schemas.microsoft.com/office/drawing/2014/main" id="{20A65661-D96F-4398-B5F4-6B53FBB403D5}"/>
              </a:ext>
            </a:extLst>
          </p:cNvPr>
          <p:cNvSpPr txBox="1"/>
          <p:nvPr userDrawn="1"/>
        </p:nvSpPr>
        <p:spPr>
          <a:xfrm>
            <a:off x="10334868" y="0"/>
            <a:ext cx="659419"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cxnSp>
        <p:nvCxnSpPr>
          <p:cNvPr id="15" name="Straight Connector 14">
            <a:extLst>
              <a:ext uri="{FF2B5EF4-FFF2-40B4-BE49-F238E27FC236}">
                <a16:creationId xmlns:a16="http://schemas.microsoft.com/office/drawing/2014/main" id="{854C5AFB-09AC-4AA6-8253-080FECEC5C79}"/>
              </a:ext>
            </a:extLst>
          </p:cNvPr>
          <p:cNvCxnSpPr>
            <a:cxnSpLocks/>
          </p:cNvCxnSpPr>
          <p:nvPr userDrawn="1"/>
        </p:nvCxnSpPr>
        <p:spPr>
          <a:xfrm>
            <a:off x="0" y="3640606"/>
            <a:ext cx="10769548"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7">
            <a:extLst>
              <a:ext uri="{FF2B5EF4-FFF2-40B4-BE49-F238E27FC236}">
                <a16:creationId xmlns:a16="http://schemas.microsoft.com/office/drawing/2014/main" id="{261787D0-DB36-4685-93EE-6C728FDE1673}"/>
              </a:ext>
            </a:extLst>
          </p:cNvPr>
          <p:cNvSpPr txBox="1"/>
          <p:nvPr userDrawn="1"/>
        </p:nvSpPr>
        <p:spPr bwMode="black">
          <a:xfrm>
            <a:off x="4361647"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2" name="Title 1"/>
          <p:cNvSpPr>
            <a:spLocks noGrp="1"/>
          </p:cNvSpPr>
          <p:nvPr>
            <p:ph type="title" hasCustomPrompt="1"/>
          </p:nvPr>
        </p:nvSpPr>
        <p:spPr>
          <a:xfrm>
            <a:off x="269239" y="2223116"/>
            <a:ext cx="11653523" cy="1162178"/>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cxnSp>
        <p:nvCxnSpPr>
          <p:cNvPr id="7" name="Straight Connector 6">
            <a:extLst>
              <a:ext uri="{FF2B5EF4-FFF2-40B4-BE49-F238E27FC236}">
                <a16:creationId xmlns:a16="http://schemas.microsoft.com/office/drawing/2014/main" id="{4B0C30F8-CBB8-491E-9645-65AB0A2C1EC9}"/>
              </a:ext>
            </a:extLst>
          </p:cNvPr>
          <p:cNvCxnSpPr>
            <a:cxnSpLocks/>
          </p:cNvCxnSpPr>
          <p:nvPr userDrawn="1"/>
        </p:nvCxnSpPr>
        <p:spPr>
          <a:xfrm>
            <a:off x="0" y="3640606"/>
            <a:ext cx="10145253"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48928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1000"/>
                                        <p:tgtEl>
                                          <p:spTgt spid="7"/>
                                        </p:tgtEl>
                                      </p:cBhvr>
                                    </p:animEffect>
                                  </p:childTnLst>
                                </p:cTn>
                              </p:par>
                              <p:par>
                                <p:cTn id="8" presetID="22" presetClass="entr" presetSubtype="8"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wipe(left)">
                                      <p:cBhvr>
                                        <p:cTn id="10" dur="1000"/>
                                        <p:tgtEl>
                                          <p:spTgt spid="15"/>
                                        </p:tgtEl>
                                      </p:cBhvr>
                                    </p:animEffect>
                                  </p:childTnLst>
                                </p:cTn>
                              </p:par>
                              <p:par>
                                <p:cTn id="11" presetID="2" presetClass="entr" presetSubtype="1" decel="10000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ppt_x"/>
                                          </p:val>
                                        </p:tav>
                                        <p:tav tm="100000">
                                          <p:val>
                                            <p:strVal val="#ppt_x"/>
                                          </p:val>
                                        </p:tav>
                                      </p:tavLst>
                                    </p:anim>
                                    <p:anim calcmode="lin" valueType="num">
                                      <p:cBhvr additive="base">
                                        <p:cTn id="14" dur="500" fill="hold"/>
                                        <p:tgtEl>
                                          <p:spTgt spid="11"/>
                                        </p:tgtEl>
                                        <p:attrNameLst>
                                          <p:attrName>ppt_y</p:attrName>
                                        </p:attrNameLst>
                                      </p:cBhvr>
                                      <p:tavLst>
                                        <p:tav tm="0">
                                          <p:val>
                                            <p:strVal val="0-#ppt_h/2"/>
                                          </p:val>
                                        </p:tav>
                                        <p:tav tm="100000">
                                          <p:val>
                                            <p:strVal val="#ppt_y"/>
                                          </p:val>
                                        </p:tav>
                                      </p:tavLst>
                                    </p:anim>
                                  </p:childTnLst>
                                </p:cTn>
                              </p:par>
                              <p:par>
                                <p:cTn id="15" presetID="2" presetClass="entr" presetSubtype="4" decel="100000" fill="hold" grpId="0" nodeType="withEffect">
                                  <p:stCondLst>
                                    <p:cond delay="250"/>
                                  </p:stCondLst>
                                  <p:childTnLst>
                                    <p:set>
                                      <p:cBhvr>
                                        <p:cTn id="16" dur="1" fill="hold">
                                          <p:stCondLst>
                                            <p:cond delay="0"/>
                                          </p:stCondLst>
                                        </p:cTn>
                                        <p:tgtEl>
                                          <p:spTgt spid="13"/>
                                        </p:tgtEl>
                                        <p:attrNameLst>
                                          <p:attrName>style.visibility</p:attrName>
                                        </p:attrNameLst>
                                      </p:cBhvr>
                                      <p:to>
                                        <p:strVal val="visible"/>
                                      </p:to>
                                    </p:set>
                                    <p:anim calcmode="lin" valueType="num">
                                      <p:cBhvr additive="base">
                                        <p:cTn id="17" dur="500" fill="hold"/>
                                        <p:tgtEl>
                                          <p:spTgt spid="13"/>
                                        </p:tgtEl>
                                        <p:attrNameLst>
                                          <p:attrName>ppt_x</p:attrName>
                                        </p:attrNameLst>
                                      </p:cBhvr>
                                      <p:tavLst>
                                        <p:tav tm="0">
                                          <p:val>
                                            <p:strVal val="#ppt_x"/>
                                          </p:val>
                                        </p:tav>
                                        <p:tav tm="100000">
                                          <p:val>
                                            <p:strVal val="#ppt_x"/>
                                          </p:val>
                                        </p:tav>
                                      </p:tavLst>
                                    </p:anim>
                                    <p:anim calcmode="lin" valueType="num">
                                      <p:cBhvr additive="base">
                                        <p:cTn id="18" dur="500" fill="hold"/>
                                        <p:tgtEl>
                                          <p:spTgt spid="13"/>
                                        </p:tgtEl>
                                        <p:attrNameLst>
                                          <p:attrName>ppt_y</p:attrName>
                                        </p:attrNameLst>
                                      </p:cBhvr>
                                      <p:tavLst>
                                        <p:tav tm="0">
                                          <p:val>
                                            <p:strVal val="1+#ppt_h/2"/>
                                          </p:val>
                                        </p:tav>
                                        <p:tav tm="100000">
                                          <p:val>
                                            <p:strVal val="#ppt_y"/>
                                          </p:val>
                                        </p:tav>
                                      </p:tavLst>
                                    </p:anim>
                                  </p:childTnLst>
                                </p:cTn>
                              </p:par>
                              <p:par>
                                <p:cTn id="19" presetID="2" presetClass="entr" presetSubtype="4" decel="100000" fill="hold" grpId="0" nodeType="withEffect">
                                  <p:stCondLst>
                                    <p:cond delay="50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fill="hold"/>
                                        <p:tgtEl>
                                          <p:spTgt spid="12"/>
                                        </p:tgtEl>
                                        <p:attrNameLst>
                                          <p:attrName>ppt_x</p:attrName>
                                        </p:attrNameLst>
                                      </p:cBhvr>
                                      <p:tavLst>
                                        <p:tav tm="0">
                                          <p:val>
                                            <p:strVal val="#ppt_x"/>
                                          </p:val>
                                        </p:tav>
                                        <p:tav tm="100000">
                                          <p:val>
                                            <p:strVal val="#ppt_x"/>
                                          </p:val>
                                        </p:tav>
                                      </p:tavLst>
                                    </p:anim>
                                    <p:anim calcmode="lin" valueType="num">
                                      <p:cBhvr additive="base">
                                        <p:cTn id="22" dur="500" fill="hold"/>
                                        <p:tgtEl>
                                          <p:spTgt spid="12"/>
                                        </p:tgtEl>
                                        <p:attrNameLst>
                                          <p:attrName>ppt_y</p:attrName>
                                        </p:attrNameLst>
                                      </p:cBhvr>
                                      <p:tavLst>
                                        <p:tav tm="0">
                                          <p:val>
                                            <p:strVal val="1+#ppt_h/2"/>
                                          </p:val>
                                        </p:tav>
                                        <p:tav tm="100000">
                                          <p:val>
                                            <p:strVal val="#ppt_y"/>
                                          </p:val>
                                        </p:tav>
                                      </p:tavLst>
                                    </p:anim>
                                  </p:childTnLst>
                                </p:cTn>
                              </p:par>
                              <p:par>
                                <p:cTn id="23" presetID="2" presetClass="entr" presetSubtype="1" decel="100000" fill="hold" grpId="0" nodeType="withEffect">
                                  <p:stCondLst>
                                    <p:cond delay="750"/>
                                  </p:stCondLst>
                                  <p:childTnLst>
                                    <p:set>
                                      <p:cBhvr>
                                        <p:cTn id="24" dur="1" fill="hold">
                                          <p:stCondLst>
                                            <p:cond delay="0"/>
                                          </p:stCondLst>
                                        </p:cTn>
                                        <p:tgtEl>
                                          <p:spTgt spid="14"/>
                                        </p:tgtEl>
                                        <p:attrNameLst>
                                          <p:attrName>style.visibility</p:attrName>
                                        </p:attrNameLst>
                                      </p:cBhvr>
                                      <p:to>
                                        <p:strVal val="visible"/>
                                      </p:to>
                                    </p:set>
                                    <p:anim calcmode="lin" valueType="num">
                                      <p:cBhvr additive="base">
                                        <p:cTn id="25" dur="500" fill="hold"/>
                                        <p:tgtEl>
                                          <p:spTgt spid="14"/>
                                        </p:tgtEl>
                                        <p:attrNameLst>
                                          <p:attrName>ppt_x</p:attrName>
                                        </p:attrNameLst>
                                      </p:cBhvr>
                                      <p:tavLst>
                                        <p:tav tm="0">
                                          <p:val>
                                            <p:strVal val="#ppt_x"/>
                                          </p:val>
                                        </p:tav>
                                        <p:tav tm="100000">
                                          <p:val>
                                            <p:strVal val="#ppt_x"/>
                                          </p:val>
                                        </p:tav>
                                      </p:tavLst>
                                    </p:anim>
                                    <p:anim calcmode="lin" valueType="num">
                                      <p:cBhvr additive="base">
                                        <p:cTn id="26" dur="500" fill="hold"/>
                                        <p:tgtEl>
                                          <p:spTgt spid="1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accent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4F7F315-7BBE-4B28-A1C0-B477F33B6A04}"/>
              </a:ext>
            </a:extLst>
          </p:cNvPr>
          <p:cNvPicPr>
            <a:picLocks noChangeAspect="1"/>
          </p:cNvPicPr>
          <p:nvPr userDrawn="1"/>
        </p:nvPicPr>
        <p:blipFill rotWithShape="1">
          <a:blip r:embed="rId2" cstate="screen">
            <a:grayscl/>
            <a:extLst>
              <a:ext uri="{28A0092B-C50C-407E-A947-70E740481C1C}">
                <a14:useLocalDpi xmlns:a14="http://schemas.microsoft.com/office/drawing/2010/main"/>
              </a:ext>
            </a:extLst>
          </a:blip>
          <a:srcRect/>
          <a:stretch/>
        </p:blipFill>
        <p:spPr>
          <a:xfrm>
            <a:off x="1" y="1"/>
            <a:ext cx="12191999" cy="7315200"/>
          </a:xfrm>
          <a:prstGeom prst="rect">
            <a:avLst/>
          </a:prstGeom>
        </p:spPr>
      </p:pic>
      <p:sp>
        <p:nvSpPr>
          <p:cNvPr id="16" name="TextBox 15">
            <a:extLst>
              <a:ext uri="{FF2B5EF4-FFF2-40B4-BE49-F238E27FC236}">
                <a16:creationId xmlns:a16="http://schemas.microsoft.com/office/drawing/2014/main" id="{F00639A9-0E51-481D-B714-9E206207E979}"/>
              </a:ext>
            </a:extLst>
          </p:cNvPr>
          <p:cNvSpPr txBox="1"/>
          <p:nvPr userDrawn="1"/>
        </p:nvSpPr>
        <p:spPr>
          <a:xfrm>
            <a:off x="1" y="0"/>
            <a:ext cx="9315694"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7" name="TextBox 16">
            <a:extLst>
              <a:ext uri="{FF2B5EF4-FFF2-40B4-BE49-F238E27FC236}">
                <a16:creationId xmlns:a16="http://schemas.microsoft.com/office/drawing/2014/main" id="{B78B4856-B8F0-485C-B9E6-C118B3FB24FD}"/>
              </a:ext>
            </a:extLst>
          </p:cNvPr>
          <p:cNvSpPr txBox="1"/>
          <p:nvPr userDrawn="1"/>
        </p:nvSpPr>
        <p:spPr>
          <a:xfrm>
            <a:off x="8945573" y="0"/>
            <a:ext cx="821823"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8" name="TextBox 17">
            <a:extLst>
              <a:ext uri="{FF2B5EF4-FFF2-40B4-BE49-F238E27FC236}">
                <a16:creationId xmlns:a16="http://schemas.microsoft.com/office/drawing/2014/main" id="{DBD053D7-2AEA-4E17-B44A-91772B8AAFCB}"/>
              </a:ext>
            </a:extLst>
          </p:cNvPr>
          <p:cNvSpPr txBox="1"/>
          <p:nvPr userDrawn="1"/>
        </p:nvSpPr>
        <p:spPr>
          <a:xfrm>
            <a:off x="11410589" y="0"/>
            <a:ext cx="190096"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9" name="TextBox 18">
            <a:extLst>
              <a:ext uri="{FF2B5EF4-FFF2-40B4-BE49-F238E27FC236}">
                <a16:creationId xmlns:a16="http://schemas.microsoft.com/office/drawing/2014/main" id="{7724FCF4-2E47-4B74-9351-70ADA6FB1649}"/>
              </a:ext>
            </a:extLst>
          </p:cNvPr>
          <p:cNvSpPr txBox="1"/>
          <p:nvPr userDrawn="1"/>
        </p:nvSpPr>
        <p:spPr>
          <a:xfrm>
            <a:off x="10054640" y="0"/>
            <a:ext cx="422130"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20" name="TextBox 19">
            <a:extLst>
              <a:ext uri="{FF2B5EF4-FFF2-40B4-BE49-F238E27FC236}">
                <a16:creationId xmlns:a16="http://schemas.microsoft.com/office/drawing/2014/main" id="{52B4E45F-64D5-4314-BDD9-99EAB0153AD3}"/>
              </a:ext>
            </a:extLst>
          </p:cNvPr>
          <p:cNvSpPr txBox="1"/>
          <p:nvPr userDrawn="1"/>
        </p:nvSpPr>
        <p:spPr>
          <a:xfrm>
            <a:off x="10334868" y="0"/>
            <a:ext cx="659419"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cxnSp>
        <p:nvCxnSpPr>
          <p:cNvPr id="21" name="Straight Connector 20">
            <a:extLst>
              <a:ext uri="{FF2B5EF4-FFF2-40B4-BE49-F238E27FC236}">
                <a16:creationId xmlns:a16="http://schemas.microsoft.com/office/drawing/2014/main" id="{8BBF30D1-947F-47AF-A22A-F793BB1BECFA}"/>
              </a:ext>
            </a:extLst>
          </p:cNvPr>
          <p:cNvCxnSpPr>
            <a:cxnSpLocks/>
          </p:cNvCxnSpPr>
          <p:nvPr userDrawn="1"/>
        </p:nvCxnSpPr>
        <p:spPr>
          <a:xfrm>
            <a:off x="0" y="3640606"/>
            <a:ext cx="10769548"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7">
            <a:extLst>
              <a:ext uri="{FF2B5EF4-FFF2-40B4-BE49-F238E27FC236}">
                <a16:creationId xmlns:a16="http://schemas.microsoft.com/office/drawing/2014/main" id="{261787D0-DB36-4685-93EE-6C728FDE1673}"/>
              </a:ext>
            </a:extLst>
          </p:cNvPr>
          <p:cNvSpPr txBox="1"/>
          <p:nvPr userDrawn="1"/>
        </p:nvSpPr>
        <p:spPr bwMode="black">
          <a:xfrm>
            <a:off x="4361647"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2" name="Title 1"/>
          <p:cNvSpPr>
            <a:spLocks noGrp="1"/>
          </p:cNvSpPr>
          <p:nvPr>
            <p:ph type="title" hasCustomPrompt="1"/>
          </p:nvPr>
        </p:nvSpPr>
        <p:spPr>
          <a:xfrm>
            <a:off x="269239" y="2223116"/>
            <a:ext cx="11653523" cy="1162178"/>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cxnSp>
        <p:nvCxnSpPr>
          <p:cNvPr id="7" name="Straight Connector 6">
            <a:extLst>
              <a:ext uri="{FF2B5EF4-FFF2-40B4-BE49-F238E27FC236}">
                <a16:creationId xmlns:a16="http://schemas.microsoft.com/office/drawing/2014/main" id="{4B0C30F8-CBB8-491E-9645-65AB0A2C1EC9}"/>
              </a:ext>
            </a:extLst>
          </p:cNvPr>
          <p:cNvCxnSpPr>
            <a:cxnSpLocks/>
          </p:cNvCxnSpPr>
          <p:nvPr userDrawn="1"/>
        </p:nvCxnSpPr>
        <p:spPr>
          <a:xfrm>
            <a:off x="0" y="3640606"/>
            <a:ext cx="10145253"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34153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1000"/>
                                        <p:tgtEl>
                                          <p:spTgt spid="7"/>
                                        </p:tgtEl>
                                      </p:cBhvr>
                                    </p:animEffect>
                                  </p:childTnLst>
                                </p:cTn>
                              </p:par>
                              <p:par>
                                <p:cTn id="8" presetID="22" presetClass="entr" presetSubtype="8"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wipe(left)">
                                      <p:cBhvr>
                                        <p:cTn id="10" dur="1000"/>
                                        <p:tgtEl>
                                          <p:spTgt spid="21"/>
                                        </p:tgtEl>
                                      </p:cBhvr>
                                    </p:animEffect>
                                  </p:childTnLst>
                                </p:cTn>
                              </p:par>
                              <p:par>
                                <p:cTn id="11" presetID="2" presetClass="entr" presetSubtype="1" decel="100000"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 calcmode="lin" valueType="num">
                                      <p:cBhvr additive="base">
                                        <p:cTn id="13" dur="500" fill="hold"/>
                                        <p:tgtEl>
                                          <p:spTgt spid="17"/>
                                        </p:tgtEl>
                                        <p:attrNameLst>
                                          <p:attrName>ppt_x</p:attrName>
                                        </p:attrNameLst>
                                      </p:cBhvr>
                                      <p:tavLst>
                                        <p:tav tm="0">
                                          <p:val>
                                            <p:strVal val="#ppt_x"/>
                                          </p:val>
                                        </p:tav>
                                        <p:tav tm="100000">
                                          <p:val>
                                            <p:strVal val="#ppt_x"/>
                                          </p:val>
                                        </p:tav>
                                      </p:tavLst>
                                    </p:anim>
                                    <p:anim calcmode="lin" valueType="num">
                                      <p:cBhvr additive="base">
                                        <p:cTn id="14" dur="500" fill="hold"/>
                                        <p:tgtEl>
                                          <p:spTgt spid="17"/>
                                        </p:tgtEl>
                                        <p:attrNameLst>
                                          <p:attrName>ppt_y</p:attrName>
                                        </p:attrNameLst>
                                      </p:cBhvr>
                                      <p:tavLst>
                                        <p:tav tm="0">
                                          <p:val>
                                            <p:strVal val="0-#ppt_h/2"/>
                                          </p:val>
                                        </p:tav>
                                        <p:tav tm="100000">
                                          <p:val>
                                            <p:strVal val="#ppt_y"/>
                                          </p:val>
                                        </p:tav>
                                      </p:tavLst>
                                    </p:anim>
                                  </p:childTnLst>
                                </p:cTn>
                              </p:par>
                              <p:par>
                                <p:cTn id="15" presetID="2" presetClass="entr" presetSubtype="4" decel="100000" fill="hold" grpId="0" nodeType="withEffect">
                                  <p:stCondLst>
                                    <p:cond delay="250"/>
                                  </p:stCondLst>
                                  <p:childTnLst>
                                    <p:set>
                                      <p:cBhvr>
                                        <p:cTn id="16" dur="1" fill="hold">
                                          <p:stCondLst>
                                            <p:cond delay="0"/>
                                          </p:stCondLst>
                                        </p:cTn>
                                        <p:tgtEl>
                                          <p:spTgt spid="19"/>
                                        </p:tgtEl>
                                        <p:attrNameLst>
                                          <p:attrName>style.visibility</p:attrName>
                                        </p:attrNameLst>
                                      </p:cBhvr>
                                      <p:to>
                                        <p:strVal val="visible"/>
                                      </p:to>
                                    </p:set>
                                    <p:anim calcmode="lin" valueType="num">
                                      <p:cBhvr additive="base">
                                        <p:cTn id="17" dur="500" fill="hold"/>
                                        <p:tgtEl>
                                          <p:spTgt spid="19"/>
                                        </p:tgtEl>
                                        <p:attrNameLst>
                                          <p:attrName>ppt_x</p:attrName>
                                        </p:attrNameLst>
                                      </p:cBhvr>
                                      <p:tavLst>
                                        <p:tav tm="0">
                                          <p:val>
                                            <p:strVal val="#ppt_x"/>
                                          </p:val>
                                        </p:tav>
                                        <p:tav tm="100000">
                                          <p:val>
                                            <p:strVal val="#ppt_x"/>
                                          </p:val>
                                        </p:tav>
                                      </p:tavLst>
                                    </p:anim>
                                    <p:anim calcmode="lin" valueType="num">
                                      <p:cBhvr additive="base">
                                        <p:cTn id="18" dur="500" fill="hold"/>
                                        <p:tgtEl>
                                          <p:spTgt spid="19"/>
                                        </p:tgtEl>
                                        <p:attrNameLst>
                                          <p:attrName>ppt_y</p:attrName>
                                        </p:attrNameLst>
                                      </p:cBhvr>
                                      <p:tavLst>
                                        <p:tav tm="0">
                                          <p:val>
                                            <p:strVal val="1+#ppt_h/2"/>
                                          </p:val>
                                        </p:tav>
                                        <p:tav tm="100000">
                                          <p:val>
                                            <p:strVal val="#ppt_y"/>
                                          </p:val>
                                        </p:tav>
                                      </p:tavLst>
                                    </p:anim>
                                  </p:childTnLst>
                                </p:cTn>
                              </p:par>
                              <p:par>
                                <p:cTn id="19" presetID="2" presetClass="entr" presetSubtype="4" decel="100000" fill="hold" grpId="0" nodeType="withEffect">
                                  <p:stCondLst>
                                    <p:cond delay="500"/>
                                  </p:stCondLst>
                                  <p:childTnLst>
                                    <p:set>
                                      <p:cBhvr>
                                        <p:cTn id="20" dur="1" fill="hold">
                                          <p:stCondLst>
                                            <p:cond delay="0"/>
                                          </p:stCondLst>
                                        </p:cTn>
                                        <p:tgtEl>
                                          <p:spTgt spid="18"/>
                                        </p:tgtEl>
                                        <p:attrNameLst>
                                          <p:attrName>style.visibility</p:attrName>
                                        </p:attrNameLst>
                                      </p:cBhvr>
                                      <p:to>
                                        <p:strVal val="visible"/>
                                      </p:to>
                                    </p:set>
                                    <p:anim calcmode="lin" valueType="num">
                                      <p:cBhvr additive="base">
                                        <p:cTn id="21" dur="500" fill="hold"/>
                                        <p:tgtEl>
                                          <p:spTgt spid="18"/>
                                        </p:tgtEl>
                                        <p:attrNameLst>
                                          <p:attrName>ppt_x</p:attrName>
                                        </p:attrNameLst>
                                      </p:cBhvr>
                                      <p:tavLst>
                                        <p:tav tm="0">
                                          <p:val>
                                            <p:strVal val="#ppt_x"/>
                                          </p:val>
                                        </p:tav>
                                        <p:tav tm="100000">
                                          <p:val>
                                            <p:strVal val="#ppt_x"/>
                                          </p:val>
                                        </p:tav>
                                      </p:tavLst>
                                    </p:anim>
                                    <p:anim calcmode="lin" valueType="num">
                                      <p:cBhvr additive="base">
                                        <p:cTn id="22" dur="500" fill="hold"/>
                                        <p:tgtEl>
                                          <p:spTgt spid="18"/>
                                        </p:tgtEl>
                                        <p:attrNameLst>
                                          <p:attrName>ppt_y</p:attrName>
                                        </p:attrNameLst>
                                      </p:cBhvr>
                                      <p:tavLst>
                                        <p:tav tm="0">
                                          <p:val>
                                            <p:strVal val="1+#ppt_h/2"/>
                                          </p:val>
                                        </p:tav>
                                        <p:tav tm="100000">
                                          <p:val>
                                            <p:strVal val="#ppt_y"/>
                                          </p:val>
                                        </p:tav>
                                      </p:tavLst>
                                    </p:anim>
                                  </p:childTnLst>
                                </p:cTn>
                              </p:par>
                              <p:par>
                                <p:cTn id="23" presetID="2" presetClass="entr" presetSubtype="1" decel="100000" fill="hold" grpId="0" nodeType="withEffect">
                                  <p:stCondLst>
                                    <p:cond delay="750"/>
                                  </p:stCondLst>
                                  <p:childTnLst>
                                    <p:set>
                                      <p:cBhvr>
                                        <p:cTn id="24" dur="1" fill="hold">
                                          <p:stCondLst>
                                            <p:cond delay="0"/>
                                          </p:stCondLst>
                                        </p:cTn>
                                        <p:tgtEl>
                                          <p:spTgt spid="20"/>
                                        </p:tgtEl>
                                        <p:attrNameLst>
                                          <p:attrName>style.visibility</p:attrName>
                                        </p:attrNameLst>
                                      </p:cBhvr>
                                      <p:to>
                                        <p:strVal val="visible"/>
                                      </p:to>
                                    </p:set>
                                    <p:anim calcmode="lin" valueType="num">
                                      <p:cBhvr additive="base">
                                        <p:cTn id="25" dur="500" fill="hold"/>
                                        <p:tgtEl>
                                          <p:spTgt spid="20"/>
                                        </p:tgtEl>
                                        <p:attrNameLst>
                                          <p:attrName>ppt_x</p:attrName>
                                        </p:attrNameLst>
                                      </p:cBhvr>
                                      <p:tavLst>
                                        <p:tav tm="0">
                                          <p:val>
                                            <p:strVal val="#ppt_x"/>
                                          </p:val>
                                        </p:tav>
                                        <p:tav tm="100000">
                                          <p:val>
                                            <p:strVal val="#ppt_x"/>
                                          </p:val>
                                        </p:tav>
                                      </p:tavLst>
                                    </p:anim>
                                    <p:anim calcmode="lin" valueType="num">
                                      <p:cBhvr additive="base">
                                        <p:cTn id="26" dur="500" fill="hold"/>
                                        <p:tgtEl>
                                          <p:spTgt spid="20"/>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P spid="20" grpId="0" animBg="1"/>
    </p:bld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Section Title Accent Colo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703588" y="3804872"/>
            <a:ext cx="9564309" cy="1464378"/>
          </a:xfrm>
          <a:noFill/>
        </p:spPr>
        <p:txBody>
          <a:bodyPr tIns="91440" bIns="91440" anchor="t" anchorCtr="0"/>
          <a:lstStyle>
            <a:lvl1pPr algn="l">
              <a:defRPr sz="8627" spc="-98" baseline="0">
                <a:solidFill>
                  <a:srgbClr val="008BD7"/>
                </a:solidFill>
              </a:defRPr>
            </a:lvl1pPr>
          </a:lstStyle>
          <a:p>
            <a:r>
              <a:rPr lang="en-US" dirty="0"/>
              <a:t>Section / Area tit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759804" y="3217927"/>
            <a:ext cx="725939" cy="469653"/>
          </a:xfrm>
          <a:prstGeom prst="rect">
            <a:avLst/>
          </a:prstGeom>
        </p:spPr>
      </p:pic>
    </p:spTree>
    <p:extLst>
      <p:ext uri="{BB962C8B-B14F-4D97-AF65-F5344CB8AC3E}">
        <p14:creationId xmlns:p14="http://schemas.microsoft.com/office/powerpoint/2010/main" val="1044460243"/>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ection Title 5">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E4CB2A-8ECA-4D7B-9E97-434F62E7DDFA}"/>
              </a:ext>
            </a:extLst>
          </p:cNvPr>
          <p:cNvPicPr>
            <a:picLocks noChangeAspect="1"/>
          </p:cNvPicPr>
          <p:nvPr userDrawn="1"/>
        </p:nvPicPr>
        <p:blipFill rotWithShape="1">
          <a:blip r:embed="rId2" cstate="screen">
            <a:grayscl/>
            <a:extLst>
              <a:ext uri="{28A0092B-C50C-407E-A947-70E740481C1C}">
                <a14:useLocalDpi xmlns:a14="http://schemas.microsoft.com/office/drawing/2010/main"/>
              </a:ext>
            </a:extLst>
          </a:blip>
          <a:srcRect/>
          <a:stretch/>
        </p:blipFill>
        <p:spPr>
          <a:xfrm flipH="1">
            <a:off x="1" y="1"/>
            <a:ext cx="12191999" cy="7315200"/>
          </a:xfrm>
          <a:prstGeom prst="rect">
            <a:avLst/>
          </a:prstGeom>
        </p:spPr>
      </p:pic>
      <p:sp>
        <p:nvSpPr>
          <p:cNvPr id="10" name="TextBox 9">
            <a:extLst>
              <a:ext uri="{FF2B5EF4-FFF2-40B4-BE49-F238E27FC236}">
                <a16:creationId xmlns:a16="http://schemas.microsoft.com/office/drawing/2014/main" id="{20DA043A-DF4E-4A58-BC7D-6ED6F90AA877}"/>
              </a:ext>
            </a:extLst>
          </p:cNvPr>
          <p:cNvSpPr txBox="1"/>
          <p:nvPr userDrawn="1"/>
        </p:nvSpPr>
        <p:spPr>
          <a:xfrm>
            <a:off x="1" y="0"/>
            <a:ext cx="9315694"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1" name="TextBox 10">
            <a:extLst>
              <a:ext uri="{FF2B5EF4-FFF2-40B4-BE49-F238E27FC236}">
                <a16:creationId xmlns:a16="http://schemas.microsoft.com/office/drawing/2014/main" id="{3AB83DB0-8769-40F6-9953-DAD2CB2EDB3B}"/>
              </a:ext>
            </a:extLst>
          </p:cNvPr>
          <p:cNvSpPr txBox="1"/>
          <p:nvPr userDrawn="1"/>
        </p:nvSpPr>
        <p:spPr>
          <a:xfrm>
            <a:off x="8945573" y="0"/>
            <a:ext cx="821823"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2" name="TextBox 11">
            <a:extLst>
              <a:ext uri="{FF2B5EF4-FFF2-40B4-BE49-F238E27FC236}">
                <a16:creationId xmlns:a16="http://schemas.microsoft.com/office/drawing/2014/main" id="{DF30493D-43E7-4E53-94C0-FB1999424D06}"/>
              </a:ext>
            </a:extLst>
          </p:cNvPr>
          <p:cNvSpPr txBox="1"/>
          <p:nvPr userDrawn="1"/>
        </p:nvSpPr>
        <p:spPr>
          <a:xfrm>
            <a:off x="11410589" y="0"/>
            <a:ext cx="190096"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3" name="TextBox 12">
            <a:extLst>
              <a:ext uri="{FF2B5EF4-FFF2-40B4-BE49-F238E27FC236}">
                <a16:creationId xmlns:a16="http://schemas.microsoft.com/office/drawing/2014/main" id="{0AAE469B-6842-4E68-8659-90F9E170E137}"/>
              </a:ext>
            </a:extLst>
          </p:cNvPr>
          <p:cNvSpPr txBox="1"/>
          <p:nvPr userDrawn="1"/>
        </p:nvSpPr>
        <p:spPr>
          <a:xfrm>
            <a:off x="10054640" y="0"/>
            <a:ext cx="422130"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4" name="TextBox 13">
            <a:extLst>
              <a:ext uri="{FF2B5EF4-FFF2-40B4-BE49-F238E27FC236}">
                <a16:creationId xmlns:a16="http://schemas.microsoft.com/office/drawing/2014/main" id="{146C615B-24D2-47C3-8037-FD00C486BAEA}"/>
              </a:ext>
            </a:extLst>
          </p:cNvPr>
          <p:cNvSpPr txBox="1"/>
          <p:nvPr userDrawn="1"/>
        </p:nvSpPr>
        <p:spPr>
          <a:xfrm>
            <a:off x="10334868" y="0"/>
            <a:ext cx="659419"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cxnSp>
        <p:nvCxnSpPr>
          <p:cNvPr id="15" name="Straight Connector 14">
            <a:extLst>
              <a:ext uri="{FF2B5EF4-FFF2-40B4-BE49-F238E27FC236}">
                <a16:creationId xmlns:a16="http://schemas.microsoft.com/office/drawing/2014/main" id="{BAC16C34-A64C-49A0-A394-7B08954E00E2}"/>
              </a:ext>
            </a:extLst>
          </p:cNvPr>
          <p:cNvCxnSpPr>
            <a:cxnSpLocks/>
          </p:cNvCxnSpPr>
          <p:nvPr userDrawn="1"/>
        </p:nvCxnSpPr>
        <p:spPr>
          <a:xfrm>
            <a:off x="0" y="3640606"/>
            <a:ext cx="10769548"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7">
            <a:extLst>
              <a:ext uri="{FF2B5EF4-FFF2-40B4-BE49-F238E27FC236}">
                <a16:creationId xmlns:a16="http://schemas.microsoft.com/office/drawing/2014/main" id="{261787D0-DB36-4685-93EE-6C728FDE1673}"/>
              </a:ext>
            </a:extLst>
          </p:cNvPr>
          <p:cNvSpPr txBox="1"/>
          <p:nvPr userDrawn="1"/>
        </p:nvSpPr>
        <p:spPr bwMode="black">
          <a:xfrm>
            <a:off x="4361647"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2" name="Title 1"/>
          <p:cNvSpPr>
            <a:spLocks noGrp="1"/>
          </p:cNvSpPr>
          <p:nvPr>
            <p:ph type="title" hasCustomPrompt="1"/>
          </p:nvPr>
        </p:nvSpPr>
        <p:spPr>
          <a:xfrm>
            <a:off x="269239" y="2223116"/>
            <a:ext cx="11653523" cy="1162178"/>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cxnSp>
        <p:nvCxnSpPr>
          <p:cNvPr id="7" name="Straight Connector 6">
            <a:extLst>
              <a:ext uri="{FF2B5EF4-FFF2-40B4-BE49-F238E27FC236}">
                <a16:creationId xmlns:a16="http://schemas.microsoft.com/office/drawing/2014/main" id="{4B0C30F8-CBB8-491E-9645-65AB0A2C1EC9}"/>
              </a:ext>
            </a:extLst>
          </p:cNvPr>
          <p:cNvCxnSpPr>
            <a:cxnSpLocks/>
          </p:cNvCxnSpPr>
          <p:nvPr userDrawn="1"/>
        </p:nvCxnSpPr>
        <p:spPr>
          <a:xfrm>
            <a:off x="0" y="3640606"/>
            <a:ext cx="10145253"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1637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1000"/>
                                        <p:tgtEl>
                                          <p:spTgt spid="7"/>
                                        </p:tgtEl>
                                      </p:cBhvr>
                                    </p:animEffect>
                                  </p:childTnLst>
                                </p:cTn>
                              </p:par>
                              <p:par>
                                <p:cTn id="8" presetID="22" presetClass="entr" presetSubtype="8"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wipe(left)">
                                      <p:cBhvr>
                                        <p:cTn id="10" dur="1000"/>
                                        <p:tgtEl>
                                          <p:spTgt spid="15"/>
                                        </p:tgtEl>
                                      </p:cBhvr>
                                    </p:animEffect>
                                  </p:childTnLst>
                                </p:cTn>
                              </p:par>
                              <p:par>
                                <p:cTn id="11" presetID="2" presetClass="entr" presetSubtype="1" decel="10000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ppt_x"/>
                                          </p:val>
                                        </p:tav>
                                        <p:tav tm="100000">
                                          <p:val>
                                            <p:strVal val="#ppt_x"/>
                                          </p:val>
                                        </p:tav>
                                      </p:tavLst>
                                    </p:anim>
                                    <p:anim calcmode="lin" valueType="num">
                                      <p:cBhvr additive="base">
                                        <p:cTn id="14" dur="500" fill="hold"/>
                                        <p:tgtEl>
                                          <p:spTgt spid="11"/>
                                        </p:tgtEl>
                                        <p:attrNameLst>
                                          <p:attrName>ppt_y</p:attrName>
                                        </p:attrNameLst>
                                      </p:cBhvr>
                                      <p:tavLst>
                                        <p:tav tm="0">
                                          <p:val>
                                            <p:strVal val="0-#ppt_h/2"/>
                                          </p:val>
                                        </p:tav>
                                        <p:tav tm="100000">
                                          <p:val>
                                            <p:strVal val="#ppt_y"/>
                                          </p:val>
                                        </p:tav>
                                      </p:tavLst>
                                    </p:anim>
                                  </p:childTnLst>
                                </p:cTn>
                              </p:par>
                              <p:par>
                                <p:cTn id="15" presetID="2" presetClass="entr" presetSubtype="4" decel="100000" fill="hold" grpId="0" nodeType="withEffect">
                                  <p:stCondLst>
                                    <p:cond delay="250"/>
                                  </p:stCondLst>
                                  <p:childTnLst>
                                    <p:set>
                                      <p:cBhvr>
                                        <p:cTn id="16" dur="1" fill="hold">
                                          <p:stCondLst>
                                            <p:cond delay="0"/>
                                          </p:stCondLst>
                                        </p:cTn>
                                        <p:tgtEl>
                                          <p:spTgt spid="13"/>
                                        </p:tgtEl>
                                        <p:attrNameLst>
                                          <p:attrName>style.visibility</p:attrName>
                                        </p:attrNameLst>
                                      </p:cBhvr>
                                      <p:to>
                                        <p:strVal val="visible"/>
                                      </p:to>
                                    </p:set>
                                    <p:anim calcmode="lin" valueType="num">
                                      <p:cBhvr additive="base">
                                        <p:cTn id="17" dur="500" fill="hold"/>
                                        <p:tgtEl>
                                          <p:spTgt spid="13"/>
                                        </p:tgtEl>
                                        <p:attrNameLst>
                                          <p:attrName>ppt_x</p:attrName>
                                        </p:attrNameLst>
                                      </p:cBhvr>
                                      <p:tavLst>
                                        <p:tav tm="0">
                                          <p:val>
                                            <p:strVal val="#ppt_x"/>
                                          </p:val>
                                        </p:tav>
                                        <p:tav tm="100000">
                                          <p:val>
                                            <p:strVal val="#ppt_x"/>
                                          </p:val>
                                        </p:tav>
                                      </p:tavLst>
                                    </p:anim>
                                    <p:anim calcmode="lin" valueType="num">
                                      <p:cBhvr additive="base">
                                        <p:cTn id="18" dur="500" fill="hold"/>
                                        <p:tgtEl>
                                          <p:spTgt spid="13"/>
                                        </p:tgtEl>
                                        <p:attrNameLst>
                                          <p:attrName>ppt_y</p:attrName>
                                        </p:attrNameLst>
                                      </p:cBhvr>
                                      <p:tavLst>
                                        <p:tav tm="0">
                                          <p:val>
                                            <p:strVal val="1+#ppt_h/2"/>
                                          </p:val>
                                        </p:tav>
                                        <p:tav tm="100000">
                                          <p:val>
                                            <p:strVal val="#ppt_y"/>
                                          </p:val>
                                        </p:tav>
                                      </p:tavLst>
                                    </p:anim>
                                  </p:childTnLst>
                                </p:cTn>
                              </p:par>
                              <p:par>
                                <p:cTn id="19" presetID="2" presetClass="entr" presetSubtype="4" decel="100000" fill="hold" grpId="0" nodeType="withEffect">
                                  <p:stCondLst>
                                    <p:cond delay="50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fill="hold"/>
                                        <p:tgtEl>
                                          <p:spTgt spid="12"/>
                                        </p:tgtEl>
                                        <p:attrNameLst>
                                          <p:attrName>ppt_x</p:attrName>
                                        </p:attrNameLst>
                                      </p:cBhvr>
                                      <p:tavLst>
                                        <p:tav tm="0">
                                          <p:val>
                                            <p:strVal val="#ppt_x"/>
                                          </p:val>
                                        </p:tav>
                                        <p:tav tm="100000">
                                          <p:val>
                                            <p:strVal val="#ppt_x"/>
                                          </p:val>
                                        </p:tav>
                                      </p:tavLst>
                                    </p:anim>
                                    <p:anim calcmode="lin" valueType="num">
                                      <p:cBhvr additive="base">
                                        <p:cTn id="22" dur="500" fill="hold"/>
                                        <p:tgtEl>
                                          <p:spTgt spid="12"/>
                                        </p:tgtEl>
                                        <p:attrNameLst>
                                          <p:attrName>ppt_y</p:attrName>
                                        </p:attrNameLst>
                                      </p:cBhvr>
                                      <p:tavLst>
                                        <p:tav tm="0">
                                          <p:val>
                                            <p:strVal val="1+#ppt_h/2"/>
                                          </p:val>
                                        </p:tav>
                                        <p:tav tm="100000">
                                          <p:val>
                                            <p:strVal val="#ppt_y"/>
                                          </p:val>
                                        </p:tav>
                                      </p:tavLst>
                                    </p:anim>
                                  </p:childTnLst>
                                </p:cTn>
                              </p:par>
                              <p:par>
                                <p:cTn id="23" presetID="2" presetClass="entr" presetSubtype="1" decel="100000" fill="hold" grpId="0" nodeType="withEffect">
                                  <p:stCondLst>
                                    <p:cond delay="750"/>
                                  </p:stCondLst>
                                  <p:childTnLst>
                                    <p:set>
                                      <p:cBhvr>
                                        <p:cTn id="24" dur="1" fill="hold">
                                          <p:stCondLst>
                                            <p:cond delay="0"/>
                                          </p:stCondLst>
                                        </p:cTn>
                                        <p:tgtEl>
                                          <p:spTgt spid="14"/>
                                        </p:tgtEl>
                                        <p:attrNameLst>
                                          <p:attrName>style.visibility</p:attrName>
                                        </p:attrNameLst>
                                      </p:cBhvr>
                                      <p:to>
                                        <p:strVal val="visible"/>
                                      </p:to>
                                    </p:set>
                                    <p:anim calcmode="lin" valueType="num">
                                      <p:cBhvr additive="base">
                                        <p:cTn id="25" dur="500" fill="hold"/>
                                        <p:tgtEl>
                                          <p:spTgt spid="14"/>
                                        </p:tgtEl>
                                        <p:attrNameLst>
                                          <p:attrName>ppt_x</p:attrName>
                                        </p:attrNameLst>
                                      </p:cBhvr>
                                      <p:tavLst>
                                        <p:tav tm="0">
                                          <p:val>
                                            <p:strVal val="#ppt_x"/>
                                          </p:val>
                                        </p:tav>
                                        <p:tav tm="100000">
                                          <p:val>
                                            <p:strVal val="#ppt_x"/>
                                          </p:val>
                                        </p:tav>
                                      </p:tavLst>
                                    </p:anim>
                                    <p:anim calcmode="lin" valueType="num">
                                      <p:cBhvr additive="base">
                                        <p:cTn id="26" dur="500" fill="hold"/>
                                        <p:tgtEl>
                                          <p:spTgt spid="1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ection Title 6">
    <p:bg>
      <p:bgPr>
        <a:solidFill>
          <a:schemeClr val="accent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9DC279B-601C-448B-9679-13D14678B42A}"/>
              </a:ext>
            </a:extLst>
          </p:cNvPr>
          <p:cNvPicPr>
            <a:picLocks noChangeAspect="1"/>
          </p:cNvPicPr>
          <p:nvPr userDrawn="1"/>
        </p:nvPicPr>
        <p:blipFill rotWithShape="1">
          <a:blip r:embed="rId2" cstate="screen">
            <a:grayscl/>
            <a:extLst>
              <a:ext uri="{28A0092B-C50C-407E-A947-70E740481C1C}">
                <a14:useLocalDpi xmlns:a14="http://schemas.microsoft.com/office/drawing/2010/main"/>
              </a:ext>
            </a:extLst>
          </a:blip>
          <a:srcRect/>
          <a:stretch/>
        </p:blipFill>
        <p:spPr>
          <a:xfrm flipH="1">
            <a:off x="13511" y="1"/>
            <a:ext cx="12164979" cy="7315200"/>
          </a:xfrm>
          <a:prstGeom prst="rect">
            <a:avLst/>
          </a:prstGeom>
        </p:spPr>
      </p:pic>
      <p:sp>
        <p:nvSpPr>
          <p:cNvPr id="10" name="TextBox 9">
            <a:extLst>
              <a:ext uri="{FF2B5EF4-FFF2-40B4-BE49-F238E27FC236}">
                <a16:creationId xmlns:a16="http://schemas.microsoft.com/office/drawing/2014/main" id="{B7BB633D-C120-49F0-909F-84E9A3C9BBAA}"/>
              </a:ext>
            </a:extLst>
          </p:cNvPr>
          <p:cNvSpPr txBox="1"/>
          <p:nvPr userDrawn="1"/>
        </p:nvSpPr>
        <p:spPr>
          <a:xfrm>
            <a:off x="1" y="0"/>
            <a:ext cx="9315694"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1" name="TextBox 10">
            <a:extLst>
              <a:ext uri="{FF2B5EF4-FFF2-40B4-BE49-F238E27FC236}">
                <a16:creationId xmlns:a16="http://schemas.microsoft.com/office/drawing/2014/main" id="{92ACF23B-72DA-4BB5-872B-7CCD4E29FBE1}"/>
              </a:ext>
            </a:extLst>
          </p:cNvPr>
          <p:cNvSpPr txBox="1"/>
          <p:nvPr userDrawn="1"/>
        </p:nvSpPr>
        <p:spPr>
          <a:xfrm>
            <a:off x="8945573" y="0"/>
            <a:ext cx="821823"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2" name="TextBox 11">
            <a:extLst>
              <a:ext uri="{FF2B5EF4-FFF2-40B4-BE49-F238E27FC236}">
                <a16:creationId xmlns:a16="http://schemas.microsoft.com/office/drawing/2014/main" id="{3012E3A1-DDF1-45E2-AB2C-9447D36E7DAB}"/>
              </a:ext>
            </a:extLst>
          </p:cNvPr>
          <p:cNvSpPr txBox="1"/>
          <p:nvPr userDrawn="1"/>
        </p:nvSpPr>
        <p:spPr>
          <a:xfrm>
            <a:off x="11410589" y="0"/>
            <a:ext cx="190096"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3" name="TextBox 12">
            <a:extLst>
              <a:ext uri="{FF2B5EF4-FFF2-40B4-BE49-F238E27FC236}">
                <a16:creationId xmlns:a16="http://schemas.microsoft.com/office/drawing/2014/main" id="{CEF571EA-9077-4C54-BC3B-B64D898D6F14}"/>
              </a:ext>
            </a:extLst>
          </p:cNvPr>
          <p:cNvSpPr txBox="1"/>
          <p:nvPr userDrawn="1"/>
        </p:nvSpPr>
        <p:spPr>
          <a:xfrm>
            <a:off x="10054640" y="0"/>
            <a:ext cx="422130"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4" name="TextBox 13">
            <a:extLst>
              <a:ext uri="{FF2B5EF4-FFF2-40B4-BE49-F238E27FC236}">
                <a16:creationId xmlns:a16="http://schemas.microsoft.com/office/drawing/2014/main" id="{BAB573FF-99E2-4FE3-B5FA-93ADB5E7E086}"/>
              </a:ext>
            </a:extLst>
          </p:cNvPr>
          <p:cNvSpPr txBox="1"/>
          <p:nvPr userDrawn="1"/>
        </p:nvSpPr>
        <p:spPr>
          <a:xfrm>
            <a:off x="10334868" y="0"/>
            <a:ext cx="659419"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cxnSp>
        <p:nvCxnSpPr>
          <p:cNvPr id="15" name="Straight Connector 14">
            <a:extLst>
              <a:ext uri="{FF2B5EF4-FFF2-40B4-BE49-F238E27FC236}">
                <a16:creationId xmlns:a16="http://schemas.microsoft.com/office/drawing/2014/main" id="{301E5785-C39F-487A-9D78-E1AB361BA0C9}"/>
              </a:ext>
            </a:extLst>
          </p:cNvPr>
          <p:cNvCxnSpPr>
            <a:cxnSpLocks/>
          </p:cNvCxnSpPr>
          <p:nvPr userDrawn="1"/>
        </p:nvCxnSpPr>
        <p:spPr>
          <a:xfrm>
            <a:off x="0" y="3640606"/>
            <a:ext cx="10769548"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7">
            <a:extLst>
              <a:ext uri="{FF2B5EF4-FFF2-40B4-BE49-F238E27FC236}">
                <a16:creationId xmlns:a16="http://schemas.microsoft.com/office/drawing/2014/main" id="{261787D0-DB36-4685-93EE-6C728FDE1673}"/>
              </a:ext>
            </a:extLst>
          </p:cNvPr>
          <p:cNvSpPr txBox="1"/>
          <p:nvPr userDrawn="1"/>
        </p:nvSpPr>
        <p:spPr bwMode="black">
          <a:xfrm>
            <a:off x="4361647"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2" name="Title 1"/>
          <p:cNvSpPr>
            <a:spLocks noGrp="1"/>
          </p:cNvSpPr>
          <p:nvPr>
            <p:ph type="title" hasCustomPrompt="1"/>
          </p:nvPr>
        </p:nvSpPr>
        <p:spPr>
          <a:xfrm>
            <a:off x="269239" y="2223116"/>
            <a:ext cx="11653523" cy="1162178"/>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cxnSp>
        <p:nvCxnSpPr>
          <p:cNvPr id="7" name="Straight Connector 6">
            <a:extLst>
              <a:ext uri="{FF2B5EF4-FFF2-40B4-BE49-F238E27FC236}">
                <a16:creationId xmlns:a16="http://schemas.microsoft.com/office/drawing/2014/main" id="{4B0C30F8-CBB8-491E-9645-65AB0A2C1EC9}"/>
              </a:ext>
            </a:extLst>
          </p:cNvPr>
          <p:cNvCxnSpPr>
            <a:cxnSpLocks/>
          </p:cNvCxnSpPr>
          <p:nvPr userDrawn="1"/>
        </p:nvCxnSpPr>
        <p:spPr>
          <a:xfrm>
            <a:off x="0" y="3640606"/>
            <a:ext cx="10145253"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52496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1000"/>
                                        <p:tgtEl>
                                          <p:spTgt spid="7"/>
                                        </p:tgtEl>
                                      </p:cBhvr>
                                    </p:animEffect>
                                  </p:childTnLst>
                                </p:cTn>
                              </p:par>
                              <p:par>
                                <p:cTn id="8" presetID="22" presetClass="entr" presetSubtype="8"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wipe(left)">
                                      <p:cBhvr>
                                        <p:cTn id="10" dur="1000"/>
                                        <p:tgtEl>
                                          <p:spTgt spid="15"/>
                                        </p:tgtEl>
                                      </p:cBhvr>
                                    </p:animEffect>
                                  </p:childTnLst>
                                </p:cTn>
                              </p:par>
                              <p:par>
                                <p:cTn id="11" presetID="2" presetClass="entr" presetSubtype="1" decel="10000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ppt_x"/>
                                          </p:val>
                                        </p:tav>
                                        <p:tav tm="100000">
                                          <p:val>
                                            <p:strVal val="#ppt_x"/>
                                          </p:val>
                                        </p:tav>
                                      </p:tavLst>
                                    </p:anim>
                                    <p:anim calcmode="lin" valueType="num">
                                      <p:cBhvr additive="base">
                                        <p:cTn id="14" dur="500" fill="hold"/>
                                        <p:tgtEl>
                                          <p:spTgt spid="11"/>
                                        </p:tgtEl>
                                        <p:attrNameLst>
                                          <p:attrName>ppt_y</p:attrName>
                                        </p:attrNameLst>
                                      </p:cBhvr>
                                      <p:tavLst>
                                        <p:tav tm="0">
                                          <p:val>
                                            <p:strVal val="0-#ppt_h/2"/>
                                          </p:val>
                                        </p:tav>
                                        <p:tav tm="100000">
                                          <p:val>
                                            <p:strVal val="#ppt_y"/>
                                          </p:val>
                                        </p:tav>
                                      </p:tavLst>
                                    </p:anim>
                                  </p:childTnLst>
                                </p:cTn>
                              </p:par>
                              <p:par>
                                <p:cTn id="15" presetID="2" presetClass="entr" presetSubtype="4" decel="100000" fill="hold" grpId="0" nodeType="withEffect">
                                  <p:stCondLst>
                                    <p:cond delay="250"/>
                                  </p:stCondLst>
                                  <p:childTnLst>
                                    <p:set>
                                      <p:cBhvr>
                                        <p:cTn id="16" dur="1" fill="hold">
                                          <p:stCondLst>
                                            <p:cond delay="0"/>
                                          </p:stCondLst>
                                        </p:cTn>
                                        <p:tgtEl>
                                          <p:spTgt spid="13"/>
                                        </p:tgtEl>
                                        <p:attrNameLst>
                                          <p:attrName>style.visibility</p:attrName>
                                        </p:attrNameLst>
                                      </p:cBhvr>
                                      <p:to>
                                        <p:strVal val="visible"/>
                                      </p:to>
                                    </p:set>
                                    <p:anim calcmode="lin" valueType="num">
                                      <p:cBhvr additive="base">
                                        <p:cTn id="17" dur="500" fill="hold"/>
                                        <p:tgtEl>
                                          <p:spTgt spid="13"/>
                                        </p:tgtEl>
                                        <p:attrNameLst>
                                          <p:attrName>ppt_x</p:attrName>
                                        </p:attrNameLst>
                                      </p:cBhvr>
                                      <p:tavLst>
                                        <p:tav tm="0">
                                          <p:val>
                                            <p:strVal val="#ppt_x"/>
                                          </p:val>
                                        </p:tav>
                                        <p:tav tm="100000">
                                          <p:val>
                                            <p:strVal val="#ppt_x"/>
                                          </p:val>
                                        </p:tav>
                                      </p:tavLst>
                                    </p:anim>
                                    <p:anim calcmode="lin" valueType="num">
                                      <p:cBhvr additive="base">
                                        <p:cTn id="18" dur="500" fill="hold"/>
                                        <p:tgtEl>
                                          <p:spTgt spid="13"/>
                                        </p:tgtEl>
                                        <p:attrNameLst>
                                          <p:attrName>ppt_y</p:attrName>
                                        </p:attrNameLst>
                                      </p:cBhvr>
                                      <p:tavLst>
                                        <p:tav tm="0">
                                          <p:val>
                                            <p:strVal val="1+#ppt_h/2"/>
                                          </p:val>
                                        </p:tav>
                                        <p:tav tm="100000">
                                          <p:val>
                                            <p:strVal val="#ppt_y"/>
                                          </p:val>
                                        </p:tav>
                                      </p:tavLst>
                                    </p:anim>
                                  </p:childTnLst>
                                </p:cTn>
                              </p:par>
                              <p:par>
                                <p:cTn id="19" presetID="2" presetClass="entr" presetSubtype="4" decel="100000" fill="hold" grpId="0" nodeType="withEffect">
                                  <p:stCondLst>
                                    <p:cond delay="50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fill="hold"/>
                                        <p:tgtEl>
                                          <p:spTgt spid="12"/>
                                        </p:tgtEl>
                                        <p:attrNameLst>
                                          <p:attrName>ppt_x</p:attrName>
                                        </p:attrNameLst>
                                      </p:cBhvr>
                                      <p:tavLst>
                                        <p:tav tm="0">
                                          <p:val>
                                            <p:strVal val="#ppt_x"/>
                                          </p:val>
                                        </p:tav>
                                        <p:tav tm="100000">
                                          <p:val>
                                            <p:strVal val="#ppt_x"/>
                                          </p:val>
                                        </p:tav>
                                      </p:tavLst>
                                    </p:anim>
                                    <p:anim calcmode="lin" valueType="num">
                                      <p:cBhvr additive="base">
                                        <p:cTn id="22" dur="500" fill="hold"/>
                                        <p:tgtEl>
                                          <p:spTgt spid="12"/>
                                        </p:tgtEl>
                                        <p:attrNameLst>
                                          <p:attrName>ppt_y</p:attrName>
                                        </p:attrNameLst>
                                      </p:cBhvr>
                                      <p:tavLst>
                                        <p:tav tm="0">
                                          <p:val>
                                            <p:strVal val="1+#ppt_h/2"/>
                                          </p:val>
                                        </p:tav>
                                        <p:tav tm="100000">
                                          <p:val>
                                            <p:strVal val="#ppt_y"/>
                                          </p:val>
                                        </p:tav>
                                      </p:tavLst>
                                    </p:anim>
                                  </p:childTnLst>
                                </p:cTn>
                              </p:par>
                              <p:par>
                                <p:cTn id="23" presetID="2" presetClass="entr" presetSubtype="1" decel="100000" fill="hold" grpId="0" nodeType="withEffect">
                                  <p:stCondLst>
                                    <p:cond delay="750"/>
                                  </p:stCondLst>
                                  <p:childTnLst>
                                    <p:set>
                                      <p:cBhvr>
                                        <p:cTn id="24" dur="1" fill="hold">
                                          <p:stCondLst>
                                            <p:cond delay="0"/>
                                          </p:stCondLst>
                                        </p:cTn>
                                        <p:tgtEl>
                                          <p:spTgt spid="14"/>
                                        </p:tgtEl>
                                        <p:attrNameLst>
                                          <p:attrName>style.visibility</p:attrName>
                                        </p:attrNameLst>
                                      </p:cBhvr>
                                      <p:to>
                                        <p:strVal val="visible"/>
                                      </p:to>
                                    </p:set>
                                    <p:anim calcmode="lin" valueType="num">
                                      <p:cBhvr additive="base">
                                        <p:cTn id="25" dur="500" fill="hold"/>
                                        <p:tgtEl>
                                          <p:spTgt spid="14"/>
                                        </p:tgtEl>
                                        <p:attrNameLst>
                                          <p:attrName>ppt_x</p:attrName>
                                        </p:attrNameLst>
                                      </p:cBhvr>
                                      <p:tavLst>
                                        <p:tav tm="0">
                                          <p:val>
                                            <p:strVal val="#ppt_x"/>
                                          </p:val>
                                        </p:tav>
                                        <p:tav tm="100000">
                                          <p:val>
                                            <p:strVal val="#ppt_x"/>
                                          </p:val>
                                        </p:tav>
                                      </p:tavLst>
                                    </p:anim>
                                    <p:anim calcmode="lin" valueType="num">
                                      <p:cBhvr additive="base">
                                        <p:cTn id="26" dur="500" fill="hold"/>
                                        <p:tgtEl>
                                          <p:spTgt spid="1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ection Title 7">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08DE87D-69B9-438F-9F84-616D1EE99AA4}"/>
              </a:ext>
            </a:extLst>
          </p:cNvPr>
          <p:cNvPicPr>
            <a:picLocks noChangeAspect="1"/>
          </p:cNvPicPr>
          <p:nvPr userDrawn="1"/>
        </p:nvPicPr>
        <p:blipFill rotWithShape="1">
          <a:blip r:embed="rId2" cstate="screen">
            <a:grayscl/>
            <a:extLst>
              <a:ext uri="{28A0092B-C50C-407E-A947-70E740481C1C}">
                <a14:useLocalDpi xmlns:a14="http://schemas.microsoft.com/office/drawing/2010/main"/>
              </a:ext>
            </a:extLst>
          </a:blip>
          <a:srcRect/>
          <a:stretch/>
        </p:blipFill>
        <p:spPr>
          <a:xfrm flipH="1">
            <a:off x="0" y="1"/>
            <a:ext cx="12191999" cy="7315200"/>
          </a:xfrm>
          <a:prstGeom prst="rect">
            <a:avLst/>
          </a:prstGeom>
        </p:spPr>
      </p:pic>
      <p:sp>
        <p:nvSpPr>
          <p:cNvPr id="10" name="TextBox 9">
            <a:extLst>
              <a:ext uri="{FF2B5EF4-FFF2-40B4-BE49-F238E27FC236}">
                <a16:creationId xmlns:a16="http://schemas.microsoft.com/office/drawing/2014/main" id="{CD2BCA24-A629-42BE-943E-91435CF0AA2D}"/>
              </a:ext>
            </a:extLst>
          </p:cNvPr>
          <p:cNvSpPr txBox="1"/>
          <p:nvPr userDrawn="1"/>
        </p:nvSpPr>
        <p:spPr>
          <a:xfrm>
            <a:off x="1" y="0"/>
            <a:ext cx="9315694"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1" name="TextBox 10">
            <a:extLst>
              <a:ext uri="{FF2B5EF4-FFF2-40B4-BE49-F238E27FC236}">
                <a16:creationId xmlns:a16="http://schemas.microsoft.com/office/drawing/2014/main" id="{FD65505C-ADD0-4ABF-9E33-704C0F959967}"/>
              </a:ext>
            </a:extLst>
          </p:cNvPr>
          <p:cNvSpPr txBox="1"/>
          <p:nvPr userDrawn="1"/>
        </p:nvSpPr>
        <p:spPr>
          <a:xfrm>
            <a:off x="8945573" y="0"/>
            <a:ext cx="821823"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2" name="TextBox 11">
            <a:extLst>
              <a:ext uri="{FF2B5EF4-FFF2-40B4-BE49-F238E27FC236}">
                <a16:creationId xmlns:a16="http://schemas.microsoft.com/office/drawing/2014/main" id="{71EC0781-FE3C-4B93-AF2C-8FD436E6EC0A}"/>
              </a:ext>
            </a:extLst>
          </p:cNvPr>
          <p:cNvSpPr txBox="1"/>
          <p:nvPr userDrawn="1"/>
        </p:nvSpPr>
        <p:spPr>
          <a:xfrm>
            <a:off x="11410589" y="0"/>
            <a:ext cx="190096"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3" name="TextBox 12">
            <a:extLst>
              <a:ext uri="{FF2B5EF4-FFF2-40B4-BE49-F238E27FC236}">
                <a16:creationId xmlns:a16="http://schemas.microsoft.com/office/drawing/2014/main" id="{07CCEE93-B20F-4F72-B077-D35E7B9F237D}"/>
              </a:ext>
            </a:extLst>
          </p:cNvPr>
          <p:cNvSpPr txBox="1"/>
          <p:nvPr userDrawn="1"/>
        </p:nvSpPr>
        <p:spPr>
          <a:xfrm>
            <a:off x="10054640" y="0"/>
            <a:ext cx="422130"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4" name="TextBox 13">
            <a:extLst>
              <a:ext uri="{FF2B5EF4-FFF2-40B4-BE49-F238E27FC236}">
                <a16:creationId xmlns:a16="http://schemas.microsoft.com/office/drawing/2014/main" id="{E20AF453-D599-43C8-8315-DFEDB92F401E}"/>
              </a:ext>
            </a:extLst>
          </p:cNvPr>
          <p:cNvSpPr txBox="1"/>
          <p:nvPr userDrawn="1"/>
        </p:nvSpPr>
        <p:spPr>
          <a:xfrm>
            <a:off x="10334868" y="0"/>
            <a:ext cx="659419"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cxnSp>
        <p:nvCxnSpPr>
          <p:cNvPr id="15" name="Straight Connector 14">
            <a:extLst>
              <a:ext uri="{FF2B5EF4-FFF2-40B4-BE49-F238E27FC236}">
                <a16:creationId xmlns:a16="http://schemas.microsoft.com/office/drawing/2014/main" id="{BB8F8EB8-9C0C-48D7-979A-741AC308538A}"/>
              </a:ext>
            </a:extLst>
          </p:cNvPr>
          <p:cNvCxnSpPr>
            <a:cxnSpLocks/>
          </p:cNvCxnSpPr>
          <p:nvPr userDrawn="1"/>
        </p:nvCxnSpPr>
        <p:spPr>
          <a:xfrm>
            <a:off x="0" y="3640606"/>
            <a:ext cx="10769548"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7">
            <a:extLst>
              <a:ext uri="{FF2B5EF4-FFF2-40B4-BE49-F238E27FC236}">
                <a16:creationId xmlns:a16="http://schemas.microsoft.com/office/drawing/2014/main" id="{261787D0-DB36-4685-93EE-6C728FDE1673}"/>
              </a:ext>
            </a:extLst>
          </p:cNvPr>
          <p:cNvSpPr txBox="1"/>
          <p:nvPr userDrawn="1"/>
        </p:nvSpPr>
        <p:spPr bwMode="black">
          <a:xfrm>
            <a:off x="4361647"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2" name="Title 1"/>
          <p:cNvSpPr>
            <a:spLocks noGrp="1"/>
          </p:cNvSpPr>
          <p:nvPr>
            <p:ph type="title" hasCustomPrompt="1"/>
          </p:nvPr>
        </p:nvSpPr>
        <p:spPr>
          <a:xfrm>
            <a:off x="269239" y="2223116"/>
            <a:ext cx="11653523" cy="1162178"/>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cxnSp>
        <p:nvCxnSpPr>
          <p:cNvPr id="7" name="Straight Connector 6">
            <a:extLst>
              <a:ext uri="{FF2B5EF4-FFF2-40B4-BE49-F238E27FC236}">
                <a16:creationId xmlns:a16="http://schemas.microsoft.com/office/drawing/2014/main" id="{4B0C30F8-CBB8-491E-9645-65AB0A2C1EC9}"/>
              </a:ext>
            </a:extLst>
          </p:cNvPr>
          <p:cNvCxnSpPr>
            <a:cxnSpLocks/>
          </p:cNvCxnSpPr>
          <p:nvPr userDrawn="1"/>
        </p:nvCxnSpPr>
        <p:spPr>
          <a:xfrm>
            <a:off x="0" y="3640606"/>
            <a:ext cx="10145253"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4792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1000"/>
                                        <p:tgtEl>
                                          <p:spTgt spid="7"/>
                                        </p:tgtEl>
                                      </p:cBhvr>
                                    </p:animEffect>
                                  </p:childTnLst>
                                </p:cTn>
                              </p:par>
                              <p:par>
                                <p:cTn id="8" presetID="22" presetClass="entr" presetSubtype="8"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wipe(left)">
                                      <p:cBhvr>
                                        <p:cTn id="10" dur="1000"/>
                                        <p:tgtEl>
                                          <p:spTgt spid="15"/>
                                        </p:tgtEl>
                                      </p:cBhvr>
                                    </p:animEffect>
                                  </p:childTnLst>
                                </p:cTn>
                              </p:par>
                              <p:par>
                                <p:cTn id="11" presetID="2" presetClass="entr" presetSubtype="1" decel="10000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ppt_x"/>
                                          </p:val>
                                        </p:tav>
                                        <p:tav tm="100000">
                                          <p:val>
                                            <p:strVal val="#ppt_x"/>
                                          </p:val>
                                        </p:tav>
                                      </p:tavLst>
                                    </p:anim>
                                    <p:anim calcmode="lin" valueType="num">
                                      <p:cBhvr additive="base">
                                        <p:cTn id="14" dur="500" fill="hold"/>
                                        <p:tgtEl>
                                          <p:spTgt spid="11"/>
                                        </p:tgtEl>
                                        <p:attrNameLst>
                                          <p:attrName>ppt_y</p:attrName>
                                        </p:attrNameLst>
                                      </p:cBhvr>
                                      <p:tavLst>
                                        <p:tav tm="0">
                                          <p:val>
                                            <p:strVal val="0-#ppt_h/2"/>
                                          </p:val>
                                        </p:tav>
                                        <p:tav tm="100000">
                                          <p:val>
                                            <p:strVal val="#ppt_y"/>
                                          </p:val>
                                        </p:tav>
                                      </p:tavLst>
                                    </p:anim>
                                  </p:childTnLst>
                                </p:cTn>
                              </p:par>
                              <p:par>
                                <p:cTn id="15" presetID="2" presetClass="entr" presetSubtype="4" decel="100000" fill="hold" grpId="0" nodeType="withEffect">
                                  <p:stCondLst>
                                    <p:cond delay="250"/>
                                  </p:stCondLst>
                                  <p:childTnLst>
                                    <p:set>
                                      <p:cBhvr>
                                        <p:cTn id="16" dur="1" fill="hold">
                                          <p:stCondLst>
                                            <p:cond delay="0"/>
                                          </p:stCondLst>
                                        </p:cTn>
                                        <p:tgtEl>
                                          <p:spTgt spid="13"/>
                                        </p:tgtEl>
                                        <p:attrNameLst>
                                          <p:attrName>style.visibility</p:attrName>
                                        </p:attrNameLst>
                                      </p:cBhvr>
                                      <p:to>
                                        <p:strVal val="visible"/>
                                      </p:to>
                                    </p:set>
                                    <p:anim calcmode="lin" valueType="num">
                                      <p:cBhvr additive="base">
                                        <p:cTn id="17" dur="500" fill="hold"/>
                                        <p:tgtEl>
                                          <p:spTgt spid="13"/>
                                        </p:tgtEl>
                                        <p:attrNameLst>
                                          <p:attrName>ppt_x</p:attrName>
                                        </p:attrNameLst>
                                      </p:cBhvr>
                                      <p:tavLst>
                                        <p:tav tm="0">
                                          <p:val>
                                            <p:strVal val="#ppt_x"/>
                                          </p:val>
                                        </p:tav>
                                        <p:tav tm="100000">
                                          <p:val>
                                            <p:strVal val="#ppt_x"/>
                                          </p:val>
                                        </p:tav>
                                      </p:tavLst>
                                    </p:anim>
                                    <p:anim calcmode="lin" valueType="num">
                                      <p:cBhvr additive="base">
                                        <p:cTn id="18" dur="500" fill="hold"/>
                                        <p:tgtEl>
                                          <p:spTgt spid="13"/>
                                        </p:tgtEl>
                                        <p:attrNameLst>
                                          <p:attrName>ppt_y</p:attrName>
                                        </p:attrNameLst>
                                      </p:cBhvr>
                                      <p:tavLst>
                                        <p:tav tm="0">
                                          <p:val>
                                            <p:strVal val="1+#ppt_h/2"/>
                                          </p:val>
                                        </p:tav>
                                        <p:tav tm="100000">
                                          <p:val>
                                            <p:strVal val="#ppt_y"/>
                                          </p:val>
                                        </p:tav>
                                      </p:tavLst>
                                    </p:anim>
                                  </p:childTnLst>
                                </p:cTn>
                              </p:par>
                              <p:par>
                                <p:cTn id="19" presetID="2" presetClass="entr" presetSubtype="4" decel="100000" fill="hold" grpId="0" nodeType="withEffect">
                                  <p:stCondLst>
                                    <p:cond delay="50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fill="hold"/>
                                        <p:tgtEl>
                                          <p:spTgt spid="12"/>
                                        </p:tgtEl>
                                        <p:attrNameLst>
                                          <p:attrName>ppt_x</p:attrName>
                                        </p:attrNameLst>
                                      </p:cBhvr>
                                      <p:tavLst>
                                        <p:tav tm="0">
                                          <p:val>
                                            <p:strVal val="#ppt_x"/>
                                          </p:val>
                                        </p:tav>
                                        <p:tav tm="100000">
                                          <p:val>
                                            <p:strVal val="#ppt_x"/>
                                          </p:val>
                                        </p:tav>
                                      </p:tavLst>
                                    </p:anim>
                                    <p:anim calcmode="lin" valueType="num">
                                      <p:cBhvr additive="base">
                                        <p:cTn id="22" dur="500" fill="hold"/>
                                        <p:tgtEl>
                                          <p:spTgt spid="12"/>
                                        </p:tgtEl>
                                        <p:attrNameLst>
                                          <p:attrName>ppt_y</p:attrName>
                                        </p:attrNameLst>
                                      </p:cBhvr>
                                      <p:tavLst>
                                        <p:tav tm="0">
                                          <p:val>
                                            <p:strVal val="1+#ppt_h/2"/>
                                          </p:val>
                                        </p:tav>
                                        <p:tav tm="100000">
                                          <p:val>
                                            <p:strVal val="#ppt_y"/>
                                          </p:val>
                                        </p:tav>
                                      </p:tavLst>
                                    </p:anim>
                                  </p:childTnLst>
                                </p:cTn>
                              </p:par>
                              <p:par>
                                <p:cTn id="23" presetID="2" presetClass="entr" presetSubtype="1" decel="100000" fill="hold" grpId="0" nodeType="withEffect">
                                  <p:stCondLst>
                                    <p:cond delay="750"/>
                                  </p:stCondLst>
                                  <p:childTnLst>
                                    <p:set>
                                      <p:cBhvr>
                                        <p:cTn id="24" dur="1" fill="hold">
                                          <p:stCondLst>
                                            <p:cond delay="0"/>
                                          </p:stCondLst>
                                        </p:cTn>
                                        <p:tgtEl>
                                          <p:spTgt spid="14"/>
                                        </p:tgtEl>
                                        <p:attrNameLst>
                                          <p:attrName>style.visibility</p:attrName>
                                        </p:attrNameLst>
                                      </p:cBhvr>
                                      <p:to>
                                        <p:strVal val="visible"/>
                                      </p:to>
                                    </p:set>
                                    <p:anim calcmode="lin" valueType="num">
                                      <p:cBhvr additive="base">
                                        <p:cTn id="25" dur="500" fill="hold"/>
                                        <p:tgtEl>
                                          <p:spTgt spid="14"/>
                                        </p:tgtEl>
                                        <p:attrNameLst>
                                          <p:attrName>ppt_x</p:attrName>
                                        </p:attrNameLst>
                                      </p:cBhvr>
                                      <p:tavLst>
                                        <p:tav tm="0">
                                          <p:val>
                                            <p:strVal val="#ppt_x"/>
                                          </p:val>
                                        </p:tav>
                                        <p:tav tm="100000">
                                          <p:val>
                                            <p:strVal val="#ppt_x"/>
                                          </p:val>
                                        </p:tav>
                                      </p:tavLst>
                                    </p:anim>
                                    <p:anim calcmode="lin" valueType="num">
                                      <p:cBhvr additive="base">
                                        <p:cTn id="26" dur="500" fill="hold"/>
                                        <p:tgtEl>
                                          <p:spTgt spid="1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ection Title 8">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216C701-0971-4123-AB8C-9015E62BAA32}"/>
              </a:ext>
            </a:extLst>
          </p:cNvPr>
          <p:cNvPicPr>
            <a:picLocks noChangeAspect="1"/>
          </p:cNvPicPr>
          <p:nvPr userDrawn="1"/>
        </p:nvPicPr>
        <p:blipFill rotWithShape="1">
          <a:blip r:embed="rId2" cstate="screen">
            <a:grayscl/>
            <a:extLst>
              <a:ext uri="{28A0092B-C50C-407E-A947-70E740481C1C}">
                <a14:useLocalDpi xmlns:a14="http://schemas.microsoft.com/office/drawing/2010/main"/>
              </a:ext>
            </a:extLst>
          </a:blip>
          <a:srcRect/>
          <a:stretch/>
        </p:blipFill>
        <p:spPr>
          <a:xfrm>
            <a:off x="0" y="1"/>
            <a:ext cx="12192001" cy="7315200"/>
          </a:xfrm>
          <a:prstGeom prst="rect">
            <a:avLst/>
          </a:prstGeom>
        </p:spPr>
      </p:pic>
      <p:sp>
        <p:nvSpPr>
          <p:cNvPr id="10" name="TextBox 9">
            <a:extLst>
              <a:ext uri="{FF2B5EF4-FFF2-40B4-BE49-F238E27FC236}">
                <a16:creationId xmlns:a16="http://schemas.microsoft.com/office/drawing/2014/main" id="{AA3B8A36-049D-4565-930A-2A9E7B4FD377}"/>
              </a:ext>
            </a:extLst>
          </p:cNvPr>
          <p:cNvSpPr txBox="1"/>
          <p:nvPr userDrawn="1"/>
        </p:nvSpPr>
        <p:spPr>
          <a:xfrm>
            <a:off x="1" y="0"/>
            <a:ext cx="9315694"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1" name="TextBox 10">
            <a:extLst>
              <a:ext uri="{FF2B5EF4-FFF2-40B4-BE49-F238E27FC236}">
                <a16:creationId xmlns:a16="http://schemas.microsoft.com/office/drawing/2014/main" id="{2FE3C020-93E2-4E9B-AC3D-D835FA5E3AE6}"/>
              </a:ext>
            </a:extLst>
          </p:cNvPr>
          <p:cNvSpPr txBox="1"/>
          <p:nvPr userDrawn="1"/>
        </p:nvSpPr>
        <p:spPr>
          <a:xfrm>
            <a:off x="8945573" y="0"/>
            <a:ext cx="821823"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2" name="TextBox 11">
            <a:extLst>
              <a:ext uri="{FF2B5EF4-FFF2-40B4-BE49-F238E27FC236}">
                <a16:creationId xmlns:a16="http://schemas.microsoft.com/office/drawing/2014/main" id="{BEACE0DF-3B23-43AA-9D4F-2158F3E54F5C}"/>
              </a:ext>
            </a:extLst>
          </p:cNvPr>
          <p:cNvSpPr txBox="1"/>
          <p:nvPr userDrawn="1"/>
        </p:nvSpPr>
        <p:spPr>
          <a:xfrm>
            <a:off x="11410589" y="0"/>
            <a:ext cx="190096"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3" name="TextBox 12">
            <a:extLst>
              <a:ext uri="{FF2B5EF4-FFF2-40B4-BE49-F238E27FC236}">
                <a16:creationId xmlns:a16="http://schemas.microsoft.com/office/drawing/2014/main" id="{A78F1C5A-3E8C-4A42-AC47-F5BE090520EA}"/>
              </a:ext>
            </a:extLst>
          </p:cNvPr>
          <p:cNvSpPr txBox="1"/>
          <p:nvPr userDrawn="1"/>
        </p:nvSpPr>
        <p:spPr>
          <a:xfrm>
            <a:off x="10054640" y="0"/>
            <a:ext cx="422130"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4" name="TextBox 13">
            <a:extLst>
              <a:ext uri="{FF2B5EF4-FFF2-40B4-BE49-F238E27FC236}">
                <a16:creationId xmlns:a16="http://schemas.microsoft.com/office/drawing/2014/main" id="{9794AB20-41AE-4D4D-869D-A9F359AE2048}"/>
              </a:ext>
            </a:extLst>
          </p:cNvPr>
          <p:cNvSpPr txBox="1"/>
          <p:nvPr userDrawn="1"/>
        </p:nvSpPr>
        <p:spPr>
          <a:xfrm>
            <a:off x="10334868" y="0"/>
            <a:ext cx="659419"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cxnSp>
        <p:nvCxnSpPr>
          <p:cNvPr id="15" name="Straight Connector 14">
            <a:extLst>
              <a:ext uri="{FF2B5EF4-FFF2-40B4-BE49-F238E27FC236}">
                <a16:creationId xmlns:a16="http://schemas.microsoft.com/office/drawing/2014/main" id="{3D12142A-53E4-4AEF-A9C8-9B008F3D4469}"/>
              </a:ext>
            </a:extLst>
          </p:cNvPr>
          <p:cNvCxnSpPr>
            <a:cxnSpLocks/>
          </p:cNvCxnSpPr>
          <p:nvPr userDrawn="1"/>
        </p:nvCxnSpPr>
        <p:spPr>
          <a:xfrm>
            <a:off x="0" y="3640606"/>
            <a:ext cx="10769548"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7">
            <a:extLst>
              <a:ext uri="{FF2B5EF4-FFF2-40B4-BE49-F238E27FC236}">
                <a16:creationId xmlns:a16="http://schemas.microsoft.com/office/drawing/2014/main" id="{261787D0-DB36-4685-93EE-6C728FDE1673}"/>
              </a:ext>
            </a:extLst>
          </p:cNvPr>
          <p:cNvSpPr txBox="1"/>
          <p:nvPr userDrawn="1"/>
        </p:nvSpPr>
        <p:spPr bwMode="black">
          <a:xfrm>
            <a:off x="4361647"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2" name="Title 1"/>
          <p:cNvSpPr>
            <a:spLocks noGrp="1"/>
          </p:cNvSpPr>
          <p:nvPr>
            <p:ph type="title" hasCustomPrompt="1"/>
          </p:nvPr>
        </p:nvSpPr>
        <p:spPr>
          <a:xfrm>
            <a:off x="269239" y="2223116"/>
            <a:ext cx="11653523" cy="1162178"/>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cxnSp>
        <p:nvCxnSpPr>
          <p:cNvPr id="7" name="Straight Connector 6">
            <a:extLst>
              <a:ext uri="{FF2B5EF4-FFF2-40B4-BE49-F238E27FC236}">
                <a16:creationId xmlns:a16="http://schemas.microsoft.com/office/drawing/2014/main" id="{4B0C30F8-CBB8-491E-9645-65AB0A2C1EC9}"/>
              </a:ext>
            </a:extLst>
          </p:cNvPr>
          <p:cNvCxnSpPr>
            <a:cxnSpLocks/>
          </p:cNvCxnSpPr>
          <p:nvPr userDrawn="1"/>
        </p:nvCxnSpPr>
        <p:spPr>
          <a:xfrm>
            <a:off x="0" y="3640606"/>
            <a:ext cx="10145253"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90192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1000"/>
                                        <p:tgtEl>
                                          <p:spTgt spid="7"/>
                                        </p:tgtEl>
                                      </p:cBhvr>
                                    </p:animEffect>
                                  </p:childTnLst>
                                </p:cTn>
                              </p:par>
                              <p:par>
                                <p:cTn id="8" presetID="22" presetClass="entr" presetSubtype="8"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wipe(left)">
                                      <p:cBhvr>
                                        <p:cTn id="10" dur="1000"/>
                                        <p:tgtEl>
                                          <p:spTgt spid="15"/>
                                        </p:tgtEl>
                                      </p:cBhvr>
                                    </p:animEffect>
                                  </p:childTnLst>
                                </p:cTn>
                              </p:par>
                              <p:par>
                                <p:cTn id="11" presetID="2" presetClass="entr" presetSubtype="1" decel="10000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ppt_x"/>
                                          </p:val>
                                        </p:tav>
                                        <p:tav tm="100000">
                                          <p:val>
                                            <p:strVal val="#ppt_x"/>
                                          </p:val>
                                        </p:tav>
                                      </p:tavLst>
                                    </p:anim>
                                    <p:anim calcmode="lin" valueType="num">
                                      <p:cBhvr additive="base">
                                        <p:cTn id="14" dur="500" fill="hold"/>
                                        <p:tgtEl>
                                          <p:spTgt spid="11"/>
                                        </p:tgtEl>
                                        <p:attrNameLst>
                                          <p:attrName>ppt_y</p:attrName>
                                        </p:attrNameLst>
                                      </p:cBhvr>
                                      <p:tavLst>
                                        <p:tav tm="0">
                                          <p:val>
                                            <p:strVal val="0-#ppt_h/2"/>
                                          </p:val>
                                        </p:tav>
                                        <p:tav tm="100000">
                                          <p:val>
                                            <p:strVal val="#ppt_y"/>
                                          </p:val>
                                        </p:tav>
                                      </p:tavLst>
                                    </p:anim>
                                  </p:childTnLst>
                                </p:cTn>
                              </p:par>
                              <p:par>
                                <p:cTn id="15" presetID="2" presetClass="entr" presetSubtype="4" decel="100000" fill="hold" grpId="0" nodeType="withEffect">
                                  <p:stCondLst>
                                    <p:cond delay="250"/>
                                  </p:stCondLst>
                                  <p:childTnLst>
                                    <p:set>
                                      <p:cBhvr>
                                        <p:cTn id="16" dur="1" fill="hold">
                                          <p:stCondLst>
                                            <p:cond delay="0"/>
                                          </p:stCondLst>
                                        </p:cTn>
                                        <p:tgtEl>
                                          <p:spTgt spid="13"/>
                                        </p:tgtEl>
                                        <p:attrNameLst>
                                          <p:attrName>style.visibility</p:attrName>
                                        </p:attrNameLst>
                                      </p:cBhvr>
                                      <p:to>
                                        <p:strVal val="visible"/>
                                      </p:to>
                                    </p:set>
                                    <p:anim calcmode="lin" valueType="num">
                                      <p:cBhvr additive="base">
                                        <p:cTn id="17" dur="500" fill="hold"/>
                                        <p:tgtEl>
                                          <p:spTgt spid="13"/>
                                        </p:tgtEl>
                                        <p:attrNameLst>
                                          <p:attrName>ppt_x</p:attrName>
                                        </p:attrNameLst>
                                      </p:cBhvr>
                                      <p:tavLst>
                                        <p:tav tm="0">
                                          <p:val>
                                            <p:strVal val="#ppt_x"/>
                                          </p:val>
                                        </p:tav>
                                        <p:tav tm="100000">
                                          <p:val>
                                            <p:strVal val="#ppt_x"/>
                                          </p:val>
                                        </p:tav>
                                      </p:tavLst>
                                    </p:anim>
                                    <p:anim calcmode="lin" valueType="num">
                                      <p:cBhvr additive="base">
                                        <p:cTn id="18" dur="500" fill="hold"/>
                                        <p:tgtEl>
                                          <p:spTgt spid="13"/>
                                        </p:tgtEl>
                                        <p:attrNameLst>
                                          <p:attrName>ppt_y</p:attrName>
                                        </p:attrNameLst>
                                      </p:cBhvr>
                                      <p:tavLst>
                                        <p:tav tm="0">
                                          <p:val>
                                            <p:strVal val="1+#ppt_h/2"/>
                                          </p:val>
                                        </p:tav>
                                        <p:tav tm="100000">
                                          <p:val>
                                            <p:strVal val="#ppt_y"/>
                                          </p:val>
                                        </p:tav>
                                      </p:tavLst>
                                    </p:anim>
                                  </p:childTnLst>
                                </p:cTn>
                              </p:par>
                              <p:par>
                                <p:cTn id="19" presetID="2" presetClass="entr" presetSubtype="4" decel="100000" fill="hold" grpId="0" nodeType="withEffect">
                                  <p:stCondLst>
                                    <p:cond delay="50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fill="hold"/>
                                        <p:tgtEl>
                                          <p:spTgt spid="12"/>
                                        </p:tgtEl>
                                        <p:attrNameLst>
                                          <p:attrName>ppt_x</p:attrName>
                                        </p:attrNameLst>
                                      </p:cBhvr>
                                      <p:tavLst>
                                        <p:tav tm="0">
                                          <p:val>
                                            <p:strVal val="#ppt_x"/>
                                          </p:val>
                                        </p:tav>
                                        <p:tav tm="100000">
                                          <p:val>
                                            <p:strVal val="#ppt_x"/>
                                          </p:val>
                                        </p:tav>
                                      </p:tavLst>
                                    </p:anim>
                                    <p:anim calcmode="lin" valueType="num">
                                      <p:cBhvr additive="base">
                                        <p:cTn id="22" dur="500" fill="hold"/>
                                        <p:tgtEl>
                                          <p:spTgt spid="12"/>
                                        </p:tgtEl>
                                        <p:attrNameLst>
                                          <p:attrName>ppt_y</p:attrName>
                                        </p:attrNameLst>
                                      </p:cBhvr>
                                      <p:tavLst>
                                        <p:tav tm="0">
                                          <p:val>
                                            <p:strVal val="1+#ppt_h/2"/>
                                          </p:val>
                                        </p:tav>
                                        <p:tav tm="100000">
                                          <p:val>
                                            <p:strVal val="#ppt_y"/>
                                          </p:val>
                                        </p:tav>
                                      </p:tavLst>
                                    </p:anim>
                                  </p:childTnLst>
                                </p:cTn>
                              </p:par>
                              <p:par>
                                <p:cTn id="23" presetID="2" presetClass="entr" presetSubtype="1" decel="100000" fill="hold" grpId="0" nodeType="withEffect">
                                  <p:stCondLst>
                                    <p:cond delay="750"/>
                                  </p:stCondLst>
                                  <p:childTnLst>
                                    <p:set>
                                      <p:cBhvr>
                                        <p:cTn id="24" dur="1" fill="hold">
                                          <p:stCondLst>
                                            <p:cond delay="0"/>
                                          </p:stCondLst>
                                        </p:cTn>
                                        <p:tgtEl>
                                          <p:spTgt spid="14"/>
                                        </p:tgtEl>
                                        <p:attrNameLst>
                                          <p:attrName>style.visibility</p:attrName>
                                        </p:attrNameLst>
                                      </p:cBhvr>
                                      <p:to>
                                        <p:strVal val="visible"/>
                                      </p:to>
                                    </p:set>
                                    <p:anim calcmode="lin" valueType="num">
                                      <p:cBhvr additive="base">
                                        <p:cTn id="25" dur="500" fill="hold"/>
                                        <p:tgtEl>
                                          <p:spTgt spid="14"/>
                                        </p:tgtEl>
                                        <p:attrNameLst>
                                          <p:attrName>ppt_x</p:attrName>
                                        </p:attrNameLst>
                                      </p:cBhvr>
                                      <p:tavLst>
                                        <p:tav tm="0">
                                          <p:val>
                                            <p:strVal val="#ppt_x"/>
                                          </p:val>
                                        </p:tav>
                                        <p:tav tm="100000">
                                          <p:val>
                                            <p:strVal val="#ppt_x"/>
                                          </p:val>
                                        </p:tav>
                                      </p:tavLst>
                                    </p:anim>
                                    <p:anim calcmode="lin" valueType="num">
                                      <p:cBhvr additive="base">
                                        <p:cTn id="26" dur="500" fill="hold"/>
                                        <p:tgtEl>
                                          <p:spTgt spid="1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ection Title 9">
    <p:bg>
      <p:bgPr>
        <a:solidFill>
          <a:schemeClr val="accent1"/>
        </a:solidFill>
        <a:effectLst/>
      </p:bgPr>
    </p:bg>
    <p:spTree>
      <p:nvGrpSpPr>
        <p:cNvPr id="1" name=""/>
        <p:cNvGrpSpPr/>
        <p:nvPr/>
      </p:nvGrpSpPr>
      <p:grpSpPr>
        <a:xfrm>
          <a:off x="0" y="0"/>
          <a:ext cx="0" cy="0"/>
          <a:chOff x="0" y="0"/>
          <a:chExt cx="0" cy="0"/>
        </a:xfrm>
      </p:grpSpPr>
      <p:pic>
        <p:nvPicPr>
          <p:cNvPr id="5" name="Picture 4" descr="A close up of a logo&#10;&#10;Description generated with very high confidence">
            <a:extLst>
              <a:ext uri="{FF2B5EF4-FFF2-40B4-BE49-F238E27FC236}">
                <a16:creationId xmlns:a16="http://schemas.microsoft.com/office/drawing/2014/main" id="{4B85008B-BB51-4777-9E46-D0939D74553F}"/>
              </a:ext>
            </a:extLst>
          </p:cNvPr>
          <p:cNvPicPr>
            <a:picLocks noChangeAspect="1"/>
          </p:cNvPicPr>
          <p:nvPr userDrawn="1"/>
        </p:nvPicPr>
        <p:blipFill rotWithShape="1">
          <a:blip r:embed="rId2">
            <a:grayscl/>
          </a:blip>
          <a:srcRect r="47548"/>
          <a:stretch/>
        </p:blipFill>
        <p:spPr>
          <a:xfrm>
            <a:off x="1" y="0"/>
            <a:ext cx="12191999" cy="7315199"/>
          </a:xfrm>
          <a:prstGeom prst="rect">
            <a:avLst/>
          </a:prstGeom>
        </p:spPr>
      </p:pic>
      <p:sp>
        <p:nvSpPr>
          <p:cNvPr id="10" name="TextBox 9">
            <a:extLst>
              <a:ext uri="{FF2B5EF4-FFF2-40B4-BE49-F238E27FC236}">
                <a16:creationId xmlns:a16="http://schemas.microsoft.com/office/drawing/2014/main" id="{B4C6165D-FAC3-4336-93E2-9C9C52049AA6}"/>
              </a:ext>
            </a:extLst>
          </p:cNvPr>
          <p:cNvSpPr txBox="1"/>
          <p:nvPr userDrawn="1"/>
        </p:nvSpPr>
        <p:spPr>
          <a:xfrm>
            <a:off x="1" y="0"/>
            <a:ext cx="9315694"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1" name="TextBox 10">
            <a:extLst>
              <a:ext uri="{FF2B5EF4-FFF2-40B4-BE49-F238E27FC236}">
                <a16:creationId xmlns:a16="http://schemas.microsoft.com/office/drawing/2014/main" id="{DBE2201B-2D63-4ABF-97B6-4DC621DA1509}"/>
              </a:ext>
            </a:extLst>
          </p:cNvPr>
          <p:cNvSpPr txBox="1"/>
          <p:nvPr userDrawn="1"/>
        </p:nvSpPr>
        <p:spPr>
          <a:xfrm>
            <a:off x="8945573" y="0"/>
            <a:ext cx="821823"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2" name="TextBox 11">
            <a:extLst>
              <a:ext uri="{FF2B5EF4-FFF2-40B4-BE49-F238E27FC236}">
                <a16:creationId xmlns:a16="http://schemas.microsoft.com/office/drawing/2014/main" id="{F6CE52D3-D858-4663-BAC9-18FD2B58D4FB}"/>
              </a:ext>
            </a:extLst>
          </p:cNvPr>
          <p:cNvSpPr txBox="1"/>
          <p:nvPr userDrawn="1"/>
        </p:nvSpPr>
        <p:spPr>
          <a:xfrm>
            <a:off x="11410589" y="0"/>
            <a:ext cx="190096"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3" name="TextBox 12">
            <a:extLst>
              <a:ext uri="{FF2B5EF4-FFF2-40B4-BE49-F238E27FC236}">
                <a16:creationId xmlns:a16="http://schemas.microsoft.com/office/drawing/2014/main" id="{89017B8E-C7A7-4352-BC54-A084ED09A89F}"/>
              </a:ext>
            </a:extLst>
          </p:cNvPr>
          <p:cNvSpPr txBox="1"/>
          <p:nvPr userDrawn="1"/>
        </p:nvSpPr>
        <p:spPr>
          <a:xfrm>
            <a:off x="10054640" y="0"/>
            <a:ext cx="422130"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sp>
        <p:nvSpPr>
          <p:cNvPr id="14" name="TextBox 13">
            <a:extLst>
              <a:ext uri="{FF2B5EF4-FFF2-40B4-BE49-F238E27FC236}">
                <a16:creationId xmlns:a16="http://schemas.microsoft.com/office/drawing/2014/main" id="{AE27C41C-146A-42D1-B1CB-BBF0E9B15F14}"/>
              </a:ext>
            </a:extLst>
          </p:cNvPr>
          <p:cNvSpPr txBox="1"/>
          <p:nvPr userDrawn="1"/>
        </p:nvSpPr>
        <p:spPr>
          <a:xfrm>
            <a:off x="10334868" y="0"/>
            <a:ext cx="659419" cy="7315199"/>
          </a:xfrm>
          <a:prstGeom prst="rect">
            <a:avLst/>
          </a:prstGeom>
          <a:solidFill>
            <a:srgbClr val="002050">
              <a:alpha val="70000"/>
            </a:srgbClr>
          </a:solidFill>
        </p:spPr>
        <p:txBody>
          <a:bodyPr wrap="square" lIns="179285" tIns="143428" rIns="268927" bIns="143428" rtlCol="0">
            <a:noAutofit/>
          </a:bodyPr>
          <a:lstStyle/>
          <a:p>
            <a:pPr marL="0" marR="0" lvl="0" indent="0" algn="r" defTabSz="896386" eaLnBrk="1" fontAlgn="auto" latinLnBrk="0" hangingPunct="1">
              <a:lnSpc>
                <a:spcPct val="90000"/>
              </a:lnSpc>
              <a:spcBef>
                <a:spcPts val="0"/>
              </a:spcBef>
              <a:spcAft>
                <a:spcPts val="588"/>
              </a:spcAft>
              <a:buClrTx/>
              <a:buSzTx/>
              <a:buFontTx/>
              <a:buNone/>
              <a:tabLst/>
              <a:defRPr/>
            </a:pPr>
            <a:endParaRPr kumimoji="0" lang="en-US" sz="3137" b="0" i="0" u="none" strike="noStrike" kern="0" cap="none" spc="0" normalizeH="0" baseline="0" noProof="0">
              <a:ln>
                <a:noFill/>
              </a:ln>
              <a:solidFill>
                <a:srgbClr val="FFFFFF"/>
              </a:solidFill>
              <a:effectLst/>
              <a:uLnTx/>
              <a:uFillTx/>
              <a:latin typeface="Segoe UI Semibold" panose="020B0702040204020203" pitchFamily="34" charset="0"/>
            </a:endParaRPr>
          </a:p>
        </p:txBody>
      </p:sp>
      <p:cxnSp>
        <p:nvCxnSpPr>
          <p:cNvPr id="15" name="Straight Connector 14">
            <a:extLst>
              <a:ext uri="{FF2B5EF4-FFF2-40B4-BE49-F238E27FC236}">
                <a16:creationId xmlns:a16="http://schemas.microsoft.com/office/drawing/2014/main" id="{FB7FE8FF-D1CF-4049-B8B1-8C6B0552CDEB}"/>
              </a:ext>
            </a:extLst>
          </p:cNvPr>
          <p:cNvCxnSpPr>
            <a:cxnSpLocks/>
          </p:cNvCxnSpPr>
          <p:nvPr userDrawn="1"/>
        </p:nvCxnSpPr>
        <p:spPr>
          <a:xfrm>
            <a:off x="0" y="3640606"/>
            <a:ext cx="10769548"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7">
            <a:extLst>
              <a:ext uri="{FF2B5EF4-FFF2-40B4-BE49-F238E27FC236}">
                <a16:creationId xmlns:a16="http://schemas.microsoft.com/office/drawing/2014/main" id="{261787D0-DB36-4685-93EE-6C728FDE1673}"/>
              </a:ext>
            </a:extLst>
          </p:cNvPr>
          <p:cNvSpPr txBox="1"/>
          <p:nvPr userDrawn="1"/>
        </p:nvSpPr>
        <p:spPr bwMode="black">
          <a:xfrm>
            <a:off x="4361647"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2" name="Title 1"/>
          <p:cNvSpPr>
            <a:spLocks noGrp="1"/>
          </p:cNvSpPr>
          <p:nvPr>
            <p:ph type="title" hasCustomPrompt="1"/>
          </p:nvPr>
        </p:nvSpPr>
        <p:spPr>
          <a:xfrm>
            <a:off x="269239" y="2223116"/>
            <a:ext cx="11653523" cy="1162178"/>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cxnSp>
        <p:nvCxnSpPr>
          <p:cNvPr id="7" name="Straight Connector 6">
            <a:extLst>
              <a:ext uri="{FF2B5EF4-FFF2-40B4-BE49-F238E27FC236}">
                <a16:creationId xmlns:a16="http://schemas.microsoft.com/office/drawing/2014/main" id="{4B0C30F8-CBB8-491E-9645-65AB0A2C1EC9}"/>
              </a:ext>
            </a:extLst>
          </p:cNvPr>
          <p:cNvCxnSpPr>
            <a:cxnSpLocks/>
          </p:cNvCxnSpPr>
          <p:nvPr userDrawn="1"/>
        </p:nvCxnSpPr>
        <p:spPr>
          <a:xfrm>
            <a:off x="0" y="3640606"/>
            <a:ext cx="10145253" cy="0"/>
          </a:xfrm>
          <a:prstGeom prst="line">
            <a:avLst/>
          </a:prstGeom>
          <a:ln w="2540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632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1000"/>
                                        <p:tgtEl>
                                          <p:spTgt spid="7"/>
                                        </p:tgtEl>
                                      </p:cBhvr>
                                    </p:animEffect>
                                  </p:childTnLst>
                                </p:cTn>
                              </p:par>
                              <p:par>
                                <p:cTn id="8" presetID="22" presetClass="entr" presetSubtype="8"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wipe(left)">
                                      <p:cBhvr>
                                        <p:cTn id="10" dur="1000"/>
                                        <p:tgtEl>
                                          <p:spTgt spid="15"/>
                                        </p:tgtEl>
                                      </p:cBhvr>
                                    </p:animEffect>
                                  </p:childTnLst>
                                </p:cTn>
                              </p:par>
                              <p:par>
                                <p:cTn id="11" presetID="2" presetClass="entr" presetSubtype="1" decel="10000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ppt_x"/>
                                          </p:val>
                                        </p:tav>
                                        <p:tav tm="100000">
                                          <p:val>
                                            <p:strVal val="#ppt_x"/>
                                          </p:val>
                                        </p:tav>
                                      </p:tavLst>
                                    </p:anim>
                                    <p:anim calcmode="lin" valueType="num">
                                      <p:cBhvr additive="base">
                                        <p:cTn id="14" dur="500" fill="hold"/>
                                        <p:tgtEl>
                                          <p:spTgt spid="11"/>
                                        </p:tgtEl>
                                        <p:attrNameLst>
                                          <p:attrName>ppt_y</p:attrName>
                                        </p:attrNameLst>
                                      </p:cBhvr>
                                      <p:tavLst>
                                        <p:tav tm="0">
                                          <p:val>
                                            <p:strVal val="0-#ppt_h/2"/>
                                          </p:val>
                                        </p:tav>
                                        <p:tav tm="100000">
                                          <p:val>
                                            <p:strVal val="#ppt_y"/>
                                          </p:val>
                                        </p:tav>
                                      </p:tavLst>
                                    </p:anim>
                                  </p:childTnLst>
                                </p:cTn>
                              </p:par>
                              <p:par>
                                <p:cTn id="15" presetID="2" presetClass="entr" presetSubtype="4" decel="100000" fill="hold" grpId="0" nodeType="withEffect">
                                  <p:stCondLst>
                                    <p:cond delay="250"/>
                                  </p:stCondLst>
                                  <p:childTnLst>
                                    <p:set>
                                      <p:cBhvr>
                                        <p:cTn id="16" dur="1" fill="hold">
                                          <p:stCondLst>
                                            <p:cond delay="0"/>
                                          </p:stCondLst>
                                        </p:cTn>
                                        <p:tgtEl>
                                          <p:spTgt spid="13"/>
                                        </p:tgtEl>
                                        <p:attrNameLst>
                                          <p:attrName>style.visibility</p:attrName>
                                        </p:attrNameLst>
                                      </p:cBhvr>
                                      <p:to>
                                        <p:strVal val="visible"/>
                                      </p:to>
                                    </p:set>
                                    <p:anim calcmode="lin" valueType="num">
                                      <p:cBhvr additive="base">
                                        <p:cTn id="17" dur="500" fill="hold"/>
                                        <p:tgtEl>
                                          <p:spTgt spid="13"/>
                                        </p:tgtEl>
                                        <p:attrNameLst>
                                          <p:attrName>ppt_x</p:attrName>
                                        </p:attrNameLst>
                                      </p:cBhvr>
                                      <p:tavLst>
                                        <p:tav tm="0">
                                          <p:val>
                                            <p:strVal val="#ppt_x"/>
                                          </p:val>
                                        </p:tav>
                                        <p:tav tm="100000">
                                          <p:val>
                                            <p:strVal val="#ppt_x"/>
                                          </p:val>
                                        </p:tav>
                                      </p:tavLst>
                                    </p:anim>
                                    <p:anim calcmode="lin" valueType="num">
                                      <p:cBhvr additive="base">
                                        <p:cTn id="18" dur="500" fill="hold"/>
                                        <p:tgtEl>
                                          <p:spTgt spid="13"/>
                                        </p:tgtEl>
                                        <p:attrNameLst>
                                          <p:attrName>ppt_y</p:attrName>
                                        </p:attrNameLst>
                                      </p:cBhvr>
                                      <p:tavLst>
                                        <p:tav tm="0">
                                          <p:val>
                                            <p:strVal val="1+#ppt_h/2"/>
                                          </p:val>
                                        </p:tav>
                                        <p:tav tm="100000">
                                          <p:val>
                                            <p:strVal val="#ppt_y"/>
                                          </p:val>
                                        </p:tav>
                                      </p:tavLst>
                                    </p:anim>
                                  </p:childTnLst>
                                </p:cTn>
                              </p:par>
                              <p:par>
                                <p:cTn id="19" presetID="2" presetClass="entr" presetSubtype="4" decel="100000" fill="hold" grpId="0" nodeType="withEffect">
                                  <p:stCondLst>
                                    <p:cond delay="50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fill="hold"/>
                                        <p:tgtEl>
                                          <p:spTgt spid="12"/>
                                        </p:tgtEl>
                                        <p:attrNameLst>
                                          <p:attrName>ppt_x</p:attrName>
                                        </p:attrNameLst>
                                      </p:cBhvr>
                                      <p:tavLst>
                                        <p:tav tm="0">
                                          <p:val>
                                            <p:strVal val="#ppt_x"/>
                                          </p:val>
                                        </p:tav>
                                        <p:tav tm="100000">
                                          <p:val>
                                            <p:strVal val="#ppt_x"/>
                                          </p:val>
                                        </p:tav>
                                      </p:tavLst>
                                    </p:anim>
                                    <p:anim calcmode="lin" valueType="num">
                                      <p:cBhvr additive="base">
                                        <p:cTn id="22" dur="500" fill="hold"/>
                                        <p:tgtEl>
                                          <p:spTgt spid="12"/>
                                        </p:tgtEl>
                                        <p:attrNameLst>
                                          <p:attrName>ppt_y</p:attrName>
                                        </p:attrNameLst>
                                      </p:cBhvr>
                                      <p:tavLst>
                                        <p:tav tm="0">
                                          <p:val>
                                            <p:strVal val="1+#ppt_h/2"/>
                                          </p:val>
                                        </p:tav>
                                        <p:tav tm="100000">
                                          <p:val>
                                            <p:strVal val="#ppt_y"/>
                                          </p:val>
                                        </p:tav>
                                      </p:tavLst>
                                    </p:anim>
                                  </p:childTnLst>
                                </p:cTn>
                              </p:par>
                              <p:par>
                                <p:cTn id="23" presetID="2" presetClass="entr" presetSubtype="1" decel="100000" fill="hold" grpId="0" nodeType="withEffect">
                                  <p:stCondLst>
                                    <p:cond delay="750"/>
                                  </p:stCondLst>
                                  <p:childTnLst>
                                    <p:set>
                                      <p:cBhvr>
                                        <p:cTn id="24" dur="1" fill="hold">
                                          <p:stCondLst>
                                            <p:cond delay="0"/>
                                          </p:stCondLst>
                                        </p:cTn>
                                        <p:tgtEl>
                                          <p:spTgt spid="14"/>
                                        </p:tgtEl>
                                        <p:attrNameLst>
                                          <p:attrName>style.visibility</p:attrName>
                                        </p:attrNameLst>
                                      </p:cBhvr>
                                      <p:to>
                                        <p:strVal val="visible"/>
                                      </p:to>
                                    </p:set>
                                    <p:anim calcmode="lin" valueType="num">
                                      <p:cBhvr additive="base">
                                        <p:cTn id="25" dur="500" fill="hold"/>
                                        <p:tgtEl>
                                          <p:spTgt spid="14"/>
                                        </p:tgtEl>
                                        <p:attrNameLst>
                                          <p:attrName>ppt_x</p:attrName>
                                        </p:attrNameLst>
                                      </p:cBhvr>
                                      <p:tavLst>
                                        <p:tav tm="0">
                                          <p:val>
                                            <p:strVal val="#ppt_x"/>
                                          </p:val>
                                        </p:tav>
                                        <p:tav tm="100000">
                                          <p:val>
                                            <p:strVal val="#ppt_x"/>
                                          </p:val>
                                        </p:tav>
                                      </p:tavLst>
                                    </p:anim>
                                    <p:anim calcmode="lin" valueType="num">
                                      <p:cBhvr additive="base">
                                        <p:cTn id="26" dur="500" fill="hold"/>
                                        <p:tgtEl>
                                          <p:spTgt spid="1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13615"/>
            <a:ext cx="4795873" cy="1487971"/>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1"/>
            <a:ext cx="6857650" cy="7313173"/>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882971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73795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black">
          <a:xfrm>
            <a:off x="4361647" y="7009998"/>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74450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444123"/>
            <a:ext cx="10249783" cy="1077008"/>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607" y="4762214"/>
            <a:ext cx="10932786" cy="2177097"/>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chemeClr val="tx1"/>
                    </a:gs>
                    <a:gs pos="30000">
                      <a:schemeClr val="tx1"/>
                    </a:gs>
                  </a:gsLst>
                  <a:lin ang="5400000" scaled="0"/>
                </a:gradFill>
              </a:rPr>
              <a:t>Microsoft Ready content is </a:t>
            </a: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post Microsoft Ready content to any blogs or external websites</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13168434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68454"/>
            <a:ext cx="12192000" cy="604674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277143"/>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8469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_Section Title Accent Colo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4209" y="4357524"/>
            <a:ext cx="6116571" cy="2642883"/>
          </a:xfrm>
          <a:noFill/>
        </p:spPr>
        <p:txBody>
          <a:bodyPr tIns="91440" bIns="91440" anchor="t" anchorCtr="0"/>
          <a:lstStyle>
            <a:lvl1pPr algn="l">
              <a:defRPr sz="8627" spc="-98" baseline="0">
                <a:gradFill>
                  <a:gsLst>
                    <a:gs pos="100000">
                      <a:schemeClr val="tx1"/>
                    </a:gs>
                    <a:gs pos="0">
                      <a:schemeClr val="tx1"/>
                    </a:gs>
                  </a:gsLst>
                  <a:lin ang="5400000" scaled="0"/>
                </a:gradFill>
              </a:defRPr>
            </a:lvl1pPr>
          </a:lstStyle>
          <a:p>
            <a:r>
              <a:rPr lang="en-US"/>
              <a:t>Section / Area title</a:t>
            </a:r>
            <a:endParaRPr lang="en-US" dirty="0"/>
          </a:p>
        </p:txBody>
      </p:sp>
    </p:spTree>
    <p:extLst>
      <p:ext uri="{BB962C8B-B14F-4D97-AF65-F5344CB8AC3E}">
        <p14:creationId xmlns:p14="http://schemas.microsoft.com/office/powerpoint/2010/main" val="1857645253"/>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505803"/>
            <a:ext cx="4482124" cy="467613"/>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501405"/>
            <a:ext cx="1423303" cy="325150"/>
          </a:xfrm>
          <a:prstGeom prst="rect">
            <a:avLst/>
          </a:prstGeom>
        </p:spPr>
      </p:pic>
    </p:spTree>
    <p:extLst>
      <p:ext uri="{BB962C8B-B14F-4D97-AF65-F5344CB8AC3E}">
        <p14:creationId xmlns:p14="http://schemas.microsoft.com/office/powerpoint/2010/main" val="4412129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268455"/>
            <a:ext cx="11653523" cy="2399311"/>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654801"/>
            <a:ext cx="12192001" cy="66040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120889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cSld name="1_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310510"/>
            <a:ext cx="11653834" cy="956286"/>
          </a:xfrm>
        </p:spPr>
        <p:txBody>
          <a:bodyPr/>
          <a:lstStyle>
            <a:lvl1pPr>
              <a:defRPr sz="5399">
                <a:solidFill>
                  <a:srgbClr val="0072C6"/>
                </a:solidFill>
              </a:defRPr>
            </a:lvl1pPr>
          </a:lstStyle>
          <a:p>
            <a:r>
              <a:rPr lang="en-US"/>
              <a:t>Title of the page</a:t>
            </a:r>
          </a:p>
        </p:txBody>
      </p:sp>
      <p:sp>
        <p:nvSpPr>
          <p:cNvPr id="4" name="Content Placeholder 3"/>
          <p:cNvSpPr>
            <a:spLocks noGrp="1"/>
          </p:cNvSpPr>
          <p:nvPr>
            <p:ph sz="quarter" idx="10"/>
          </p:nvPr>
        </p:nvSpPr>
        <p:spPr>
          <a:xfrm>
            <a:off x="269239" y="1457304"/>
            <a:ext cx="11653523" cy="1926681"/>
          </a:xfrm>
        </p:spPr>
        <p:txBody>
          <a:bodyPr/>
          <a:lstStyle>
            <a:lvl1pPr>
              <a:spcBef>
                <a:spcPts val="1200"/>
              </a:spcBef>
              <a:defRPr sz="28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8" name="Group 7">
            <a:extLst>
              <a:ext uri="{FF2B5EF4-FFF2-40B4-BE49-F238E27FC236}">
                <a16:creationId xmlns:a16="http://schemas.microsoft.com/office/drawing/2014/main" id="{7C009F82-CA13-4C78-B916-15BF8BD018CB}"/>
              </a:ext>
            </a:extLst>
          </p:cNvPr>
          <p:cNvGrpSpPr>
            <a:grpSpLocks noChangeAspect="1"/>
          </p:cNvGrpSpPr>
          <p:nvPr userDrawn="1"/>
        </p:nvGrpSpPr>
        <p:grpSpPr bwMode="black">
          <a:xfrm>
            <a:off x="268929" y="6694157"/>
            <a:ext cx="1277765" cy="292608"/>
            <a:chOff x="457200" y="1643393"/>
            <a:chExt cx="4492753" cy="964540"/>
          </a:xfrm>
        </p:grpSpPr>
        <p:pic>
          <p:nvPicPr>
            <p:cNvPr id="9" name="Picture 8">
              <a:extLst>
                <a:ext uri="{FF2B5EF4-FFF2-40B4-BE49-F238E27FC236}">
                  <a16:creationId xmlns:a16="http://schemas.microsoft.com/office/drawing/2014/main" id="{ECA47D8E-AD61-44D3-AB19-FF10EE81C496}"/>
                </a:ext>
              </a:extLst>
            </p:cNvPr>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a:extLst>
                <a:ext uri="{FF2B5EF4-FFF2-40B4-BE49-F238E27FC236}">
                  <a16:creationId xmlns:a16="http://schemas.microsoft.com/office/drawing/2014/main" id="{A22CC2BE-92FF-4FF4-9A53-352FBEA998D4}"/>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13230501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4904C4-37E8-4773-BCE9-379DDAB760AA}"/>
              </a:ext>
            </a:extLst>
          </p:cNvPr>
          <p:cNvSpPr>
            <a:spLocks noGrp="1"/>
          </p:cNvSpPr>
          <p:nvPr>
            <p:ph type="ctrTitle"/>
          </p:nvPr>
        </p:nvSpPr>
        <p:spPr>
          <a:xfrm>
            <a:off x="1524000" y="1197187"/>
            <a:ext cx="9144000" cy="2546773"/>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A3EDDB5-DDCE-4B39-81A3-B44068FAE434}"/>
              </a:ext>
            </a:extLst>
          </p:cNvPr>
          <p:cNvSpPr>
            <a:spLocks noGrp="1"/>
          </p:cNvSpPr>
          <p:nvPr>
            <p:ph type="subTitle" idx="1"/>
          </p:nvPr>
        </p:nvSpPr>
        <p:spPr>
          <a:xfrm>
            <a:off x="1524000" y="3842174"/>
            <a:ext cx="9144000" cy="1766146"/>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C83507E-C010-4060-B945-EE50A3B471DD}"/>
              </a:ext>
            </a:extLst>
          </p:cNvPr>
          <p:cNvSpPr>
            <a:spLocks noGrp="1"/>
          </p:cNvSpPr>
          <p:nvPr>
            <p:ph type="dt" sz="half" idx="10"/>
          </p:nvPr>
        </p:nvSpPr>
        <p:spPr/>
        <p:txBody>
          <a:bodyPr/>
          <a:lstStyle/>
          <a:p>
            <a:fld id="{8C158B6E-2F9D-4078-848A-249A901CF6C7}" type="datetimeFigureOut">
              <a:rPr lang="en-US" smtClean="0"/>
              <a:t>1/8/2019</a:t>
            </a:fld>
            <a:endParaRPr lang="en-US"/>
          </a:p>
        </p:txBody>
      </p:sp>
      <p:sp>
        <p:nvSpPr>
          <p:cNvPr id="5" name="Footer Placeholder 4">
            <a:extLst>
              <a:ext uri="{FF2B5EF4-FFF2-40B4-BE49-F238E27FC236}">
                <a16:creationId xmlns:a16="http://schemas.microsoft.com/office/drawing/2014/main" id="{E91110CE-7327-4B33-933E-E9DE456379F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9304DA3-B5D5-40AA-BBC8-261E3A58EB37}"/>
              </a:ext>
            </a:extLst>
          </p:cNvPr>
          <p:cNvSpPr>
            <a:spLocks noGrp="1"/>
          </p:cNvSpPr>
          <p:nvPr>
            <p:ph type="sldNum" sz="quarter" idx="12"/>
          </p:nvPr>
        </p:nvSpPr>
        <p:spPr/>
        <p:txBody>
          <a:bodyPr/>
          <a:lstStyle/>
          <a:p>
            <a:fld id="{6C4E7F66-1C9A-4A32-A07E-DBE1F2A16A77}" type="slidenum">
              <a:rPr lang="en-US" smtClean="0"/>
              <a:t>‹#›</a:t>
            </a:fld>
            <a:endParaRPr lang="en-US"/>
          </a:p>
        </p:txBody>
      </p:sp>
    </p:spTree>
    <p:extLst>
      <p:ext uri="{BB962C8B-B14F-4D97-AF65-F5344CB8AC3E}">
        <p14:creationId xmlns:p14="http://schemas.microsoft.com/office/powerpoint/2010/main" val="2806929624"/>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6CA2B3-1D75-4CEC-BD89-BC2FF22B40B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1072607-5D23-4C37-A512-8503BC799D5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5ED32B5-C783-4D2D-AEF8-BFFE163D1F37}"/>
              </a:ext>
            </a:extLst>
          </p:cNvPr>
          <p:cNvSpPr>
            <a:spLocks noGrp="1"/>
          </p:cNvSpPr>
          <p:nvPr>
            <p:ph type="dt" sz="half" idx="10"/>
          </p:nvPr>
        </p:nvSpPr>
        <p:spPr/>
        <p:txBody>
          <a:bodyPr/>
          <a:lstStyle/>
          <a:p>
            <a:fld id="{8C158B6E-2F9D-4078-848A-249A901CF6C7}" type="datetimeFigureOut">
              <a:rPr lang="en-US" smtClean="0"/>
              <a:t>1/8/2019</a:t>
            </a:fld>
            <a:endParaRPr lang="en-US"/>
          </a:p>
        </p:txBody>
      </p:sp>
      <p:sp>
        <p:nvSpPr>
          <p:cNvPr id="5" name="Footer Placeholder 4">
            <a:extLst>
              <a:ext uri="{FF2B5EF4-FFF2-40B4-BE49-F238E27FC236}">
                <a16:creationId xmlns:a16="http://schemas.microsoft.com/office/drawing/2014/main" id="{A9333269-C2DE-4A49-888F-0F3B3DE5FF9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2239A63-72E0-4A5C-8FB3-BEF4F01A6E21}"/>
              </a:ext>
            </a:extLst>
          </p:cNvPr>
          <p:cNvSpPr>
            <a:spLocks noGrp="1"/>
          </p:cNvSpPr>
          <p:nvPr>
            <p:ph type="sldNum" sz="quarter" idx="12"/>
          </p:nvPr>
        </p:nvSpPr>
        <p:spPr/>
        <p:txBody>
          <a:bodyPr/>
          <a:lstStyle/>
          <a:p>
            <a:fld id="{6C4E7F66-1C9A-4A32-A07E-DBE1F2A16A77}" type="slidenum">
              <a:rPr lang="en-US" smtClean="0"/>
              <a:t>‹#›</a:t>
            </a:fld>
            <a:endParaRPr lang="en-US"/>
          </a:p>
        </p:txBody>
      </p:sp>
    </p:spTree>
    <p:extLst>
      <p:ext uri="{BB962C8B-B14F-4D97-AF65-F5344CB8AC3E}">
        <p14:creationId xmlns:p14="http://schemas.microsoft.com/office/powerpoint/2010/main" val="1290802804"/>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0D93AB-CD5F-4B7E-8550-D3A8ECC2536B}"/>
              </a:ext>
            </a:extLst>
          </p:cNvPr>
          <p:cNvSpPr>
            <a:spLocks noGrp="1"/>
          </p:cNvSpPr>
          <p:nvPr>
            <p:ph type="title"/>
          </p:nvPr>
        </p:nvSpPr>
        <p:spPr>
          <a:xfrm>
            <a:off x="831850" y="1823721"/>
            <a:ext cx="10515600" cy="3042919"/>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5C59F6B-88FB-44C2-830B-022E65488E3F}"/>
              </a:ext>
            </a:extLst>
          </p:cNvPr>
          <p:cNvSpPr>
            <a:spLocks noGrp="1"/>
          </p:cNvSpPr>
          <p:nvPr>
            <p:ph type="body" idx="1"/>
          </p:nvPr>
        </p:nvSpPr>
        <p:spPr>
          <a:xfrm>
            <a:off x="831850" y="4895428"/>
            <a:ext cx="10515600" cy="1600199"/>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E9F20E6B-DD64-4096-BED0-901274D7117C}"/>
              </a:ext>
            </a:extLst>
          </p:cNvPr>
          <p:cNvSpPr>
            <a:spLocks noGrp="1"/>
          </p:cNvSpPr>
          <p:nvPr>
            <p:ph type="dt" sz="half" idx="10"/>
          </p:nvPr>
        </p:nvSpPr>
        <p:spPr/>
        <p:txBody>
          <a:bodyPr/>
          <a:lstStyle/>
          <a:p>
            <a:fld id="{8C158B6E-2F9D-4078-848A-249A901CF6C7}" type="datetimeFigureOut">
              <a:rPr lang="en-US" smtClean="0"/>
              <a:t>1/8/2019</a:t>
            </a:fld>
            <a:endParaRPr lang="en-US"/>
          </a:p>
        </p:txBody>
      </p:sp>
      <p:sp>
        <p:nvSpPr>
          <p:cNvPr id="5" name="Footer Placeholder 4">
            <a:extLst>
              <a:ext uri="{FF2B5EF4-FFF2-40B4-BE49-F238E27FC236}">
                <a16:creationId xmlns:a16="http://schemas.microsoft.com/office/drawing/2014/main" id="{DB217D99-883D-482D-9DBB-5A6881F98A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32A2321-CCE3-457D-BC7A-EC281D099151}"/>
              </a:ext>
            </a:extLst>
          </p:cNvPr>
          <p:cNvSpPr>
            <a:spLocks noGrp="1"/>
          </p:cNvSpPr>
          <p:nvPr>
            <p:ph type="sldNum" sz="quarter" idx="12"/>
          </p:nvPr>
        </p:nvSpPr>
        <p:spPr/>
        <p:txBody>
          <a:bodyPr/>
          <a:lstStyle/>
          <a:p>
            <a:fld id="{6C4E7F66-1C9A-4A32-A07E-DBE1F2A16A77}" type="slidenum">
              <a:rPr lang="en-US" smtClean="0"/>
              <a:t>‹#›</a:t>
            </a:fld>
            <a:endParaRPr lang="en-US"/>
          </a:p>
        </p:txBody>
      </p:sp>
    </p:spTree>
    <p:extLst>
      <p:ext uri="{BB962C8B-B14F-4D97-AF65-F5344CB8AC3E}">
        <p14:creationId xmlns:p14="http://schemas.microsoft.com/office/powerpoint/2010/main" val="190713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9A0445-7334-45C4-B1ED-CCC2954EE57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A6D784C-2D04-40A5-852C-E8ED393440FC}"/>
              </a:ext>
            </a:extLst>
          </p:cNvPr>
          <p:cNvSpPr>
            <a:spLocks noGrp="1"/>
          </p:cNvSpPr>
          <p:nvPr>
            <p:ph sz="half" idx="1"/>
          </p:nvPr>
        </p:nvSpPr>
        <p:spPr>
          <a:xfrm>
            <a:off x="838200" y="1947333"/>
            <a:ext cx="5181600" cy="46414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F67139F-01DF-4E19-A283-F2CE1C435F81}"/>
              </a:ext>
            </a:extLst>
          </p:cNvPr>
          <p:cNvSpPr>
            <a:spLocks noGrp="1"/>
          </p:cNvSpPr>
          <p:nvPr>
            <p:ph sz="half" idx="2"/>
          </p:nvPr>
        </p:nvSpPr>
        <p:spPr>
          <a:xfrm>
            <a:off x="6172200" y="1947333"/>
            <a:ext cx="5181600" cy="46414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99DC10C-E133-4EBB-B754-33C11403D3DF}"/>
              </a:ext>
            </a:extLst>
          </p:cNvPr>
          <p:cNvSpPr>
            <a:spLocks noGrp="1"/>
          </p:cNvSpPr>
          <p:nvPr>
            <p:ph type="dt" sz="half" idx="10"/>
          </p:nvPr>
        </p:nvSpPr>
        <p:spPr/>
        <p:txBody>
          <a:bodyPr/>
          <a:lstStyle/>
          <a:p>
            <a:fld id="{8C158B6E-2F9D-4078-848A-249A901CF6C7}" type="datetimeFigureOut">
              <a:rPr lang="en-US" smtClean="0"/>
              <a:t>1/8/2019</a:t>
            </a:fld>
            <a:endParaRPr lang="en-US"/>
          </a:p>
        </p:txBody>
      </p:sp>
      <p:sp>
        <p:nvSpPr>
          <p:cNvPr id="6" name="Footer Placeholder 5">
            <a:extLst>
              <a:ext uri="{FF2B5EF4-FFF2-40B4-BE49-F238E27FC236}">
                <a16:creationId xmlns:a16="http://schemas.microsoft.com/office/drawing/2014/main" id="{85BE11DA-ADAF-4B23-92EC-DB9F8028688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BF757EA-DB1C-46BC-BF14-611368831A3C}"/>
              </a:ext>
            </a:extLst>
          </p:cNvPr>
          <p:cNvSpPr>
            <a:spLocks noGrp="1"/>
          </p:cNvSpPr>
          <p:nvPr>
            <p:ph type="sldNum" sz="quarter" idx="12"/>
          </p:nvPr>
        </p:nvSpPr>
        <p:spPr/>
        <p:txBody>
          <a:bodyPr/>
          <a:lstStyle/>
          <a:p>
            <a:fld id="{6C4E7F66-1C9A-4A32-A07E-DBE1F2A16A77}" type="slidenum">
              <a:rPr lang="en-US" smtClean="0"/>
              <a:t>‹#›</a:t>
            </a:fld>
            <a:endParaRPr lang="en-US"/>
          </a:p>
        </p:txBody>
      </p:sp>
    </p:spTree>
    <p:extLst>
      <p:ext uri="{BB962C8B-B14F-4D97-AF65-F5344CB8AC3E}">
        <p14:creationId xmlns:p14="http://schemas.microsoft.com/office/powerpoint/2010/main" val="385182577"/>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twoTxTwoObj" preserve="1">
  <p:cSld name="Comparison">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EB72EE-A612-4F30-9034-F6E5282298D3}"/>
              </a:ext>
            </a:extLst>
          </p:cNvPr>
          <p:cNvSpPr>
            <a:spLocks noGrp="1"/>
          </p:cNvSpPr>
          <p:nvPr>
            <p:ph type="title"/>
          </p:nvPr>
        </p:nvSpPr>
        <p:spPr>
          <a:xfrm>
            <a:off x="839788" y="389467"/>
            <a:ext cx="10515600" cy="1413934"/>
          </a:xfrm>
        </p:spPr>
        <p:txBody>
          <a:bodyPr/>
          <a:lstStyle/>
          <a:p>
            <a:r>
              <a:rPr lang="en-US"/>
              <a:t>Click to edit Master title style</a:t>
            </a:r>
          </a:p>
        </p:txBody>
      </p:sp>
      <p:sp>
        <p:nvSpPr>
          <p:cNvPr id="3" name="Text Placeholder 2">
            <a:extLst>
              <a:ext uri="{FF2B5EF4-FFF2-40B4-BE49-F238E27FC236}">
                <a16:creationId xmlns:a16="http://schemas.microsoft.com/office/drawing/2014/main" id="{2D3F4223-ACBA-4339-BAF0-3A32D1AB77ED}"/>
              </a:ext>
            </a:extLst>
          </p:cNvPr>
          <p:cNvSpPr>
            <a:spLocks noGrp="1"/>
          </p:cNvSpPr>
          <p:nvPr>
            <p:ph type="body" idx="1"/>
          </p:nvPr>
        </p:nvSpPr>
        <p:spPr>
          <a:xfrm>
            <a:off x="839789" y="1793241"/>
            <a:ext cx="5157787" cy="87883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96E9E844-838B-4CAA-85FD-0098FDA3C587}"/>
              </a:ext>
            </a:extLst>
          </p:cNvPr>
          <p:cNvSpPr>
            <a:spLocks noGrp="1"/>
          </p:cNvSpPr>
          <p:nvPr>
            <p:ph sz="half" idx="2"/>
          </p:nvPr>
        </p:nvSpPr>
        <p:spPr>
          <a:xfrm>
            <a:off x="839789" y="2672080"/>
            <a:ext cx="5157787" cy="39302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1736CB-9E60-41A6-8A26-FB3511538E14}"/>
              </a:ext>
            </a:extLst>
          </p:cNvPr>
          <p:cNvSpPr>
            <a:spLocks noGrp="1"/>
          </p:cNvSpPr>
          <p:nvPr>
            <p:ph type="body" sz="quarter" idx="3"/>
          </p:nvPr>
        </p:nvSpPr>
        <p:spPr>
          <a:xfrm>
            <a:off x="6172200" y="1793241"/>
            <a:ext cx="5183188" cy="87883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B9BB50CB-B391-4FC1-9E4D-09F7032BB45B}"/>
              </a:ext>
            </a:extLst>
          </p:cNvPr>
          <p:cNvSpPr>
            <a:spLocks noGrp="1"/>
          </p:cNvSpPr>
          <p:nvPr>
            <p:ph sz="quarter" idx="4"/>
          </p:nvPr>
        </p:nvSpPr>
        <p:spPr>
          <a:xfrm>
            <a:off x="6172200" y="2672080"/>
            <a:ext cx="5183188" cy="39302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EC8EF72-C601-4F60-BA9B-4D14061A3DD6}"/>
              </a:ext>
            </a:extLst>
          </p:cNvPr>
          <p:cNvSpPr>
            <a:spLocks noGrp="1"/>
          </p:cNvSpPr>
          <p:nvPr>
            <p:ph type="dt" sz="half" idx="10"/>
          </p:nvPr>
        </p:nvSpPr>
        <p:spPr/>
        <p:txBody>
          <a:bodyPr/>
          <a:lstStyle/>
          <a:p>
            <a:fld id="{8C158B6E-2F9D-4078-848A-249A901CF6C7}" type="datetimeFigureOut">
              <a:rPr lang="en-US" smtClean="0"/>
              <a:t>1/8/2019</a:t>
            </a:fld>
            <a:endParaRPr lang="en-US"/>
          </a:p>
        </p:txBody>
      </p:sp>
      <p:sp>
        <p:nvSpPr>
          <p:cNvPr id="8" name="Footer Placeholder 7">
            <a:extLst>
              <a:ext uri="{FF2B5EF4-FFF2-40B4-BE49-F238E27FC236}">
                <a16:creationId xmlns:a16="http://schemas.microsoft.com/office/drawing/2014/main" id="{6DC4C640-AE41-44E9-B8C5-98CC59E58CA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F89B592-FDF2-4BFD-B6AA-57CC367E6687}"/>
              </a:ext>
            </a:extLst>
          </p:cNvPr>
          <p:cNvSpPr>
            <a:spLocks noGrp="1"/>
          </p:cNvSpPr>
          <p:nvPr>
            <p:ph type="sldNum" sz="quarter" idx="12"/>
          </p:nvPr>
        </p:nvSpPr>
        <p:spPr/>
        <p:txBody>
          <a:bodyPr/>
          <a:lstStyle/>
          <a:p>
            <a:fld id="{6C4E7F66-1C9A-4A32-A07E-DBE1F2A16A77}" type="slidenum">
              <a:rPr lang="en-US" smtClean="0"/>
              <a:t>‹#›</a:t>
            </a:fld>
            <a:endParaRPr lang="en-US"/>
          </a:p>
        </p:txBody>
      </p:sp>
    </p:spTree>
    <p:extLst>
      <p:ext uri="{BB962C8B-B14F-4D97-AF65-F5344CB8AC3E}">
        <p14:creationId xmlns:p14="http://schemas.microsoft.com/office/powerpoint/2010/main" val="20018691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9A8320-071C-47E5-89F2-EF98355BA0B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8080C5F-A1F1-4724-878E-71F5ACFB9C60}"/>
              </a:ext>
            </a:extLst>
          </p:cNvPr>
          <p:cNvSpPr>
            <a:spLocks noGrp="1"/>
          </p:cNvSpPr>
          <p:nvPr>
            <p:ph type="dt" sz="half" idx="10"/>
          </p:nvPr>
        </p:nvSpPr>
        <p:spPr/>
        <p:txBody>
          <a:bodyPr/>
          <a:lstStyle/>
          <a:p>
            <a:fld id="{8C158B6E-2F9D-4078-848A-249A901CF6C7}" type="datetimeFigureOut">
              <a:rPr lang="en-US" smtClean="0"/>
              <a:t>1/8/2019</a:t>
            </a:fld>
            <a:endParaRPr lang="en-US"/>
          </a:p>
        </p:txBody>
      </p:sp>
      <p:sp>
        <p:nvSpPr>
          <p:cNvPr id="4" name="Footer Placeholder 3">
            <a:extLst>
              <a:ext uri="{FF2B5EF4-FFF2-40B4-BE49-F238E27FC236}">
                <a16:creationId xmlns:a16="http://schemas.microsoft.com/office/drawing/2014/main" id="{1FAF434A-AC9E-401E-8F88-EBD27347268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0A4DEF0-87EA-40FB-B681-2EA689AD7A43}"/>
              </a:ext>
            </a:extLst>
          </p:cNvPr>
          <p:cNvSpPr>
            <a:spLocks noGrp="1"/>
          </p:cNvSpPr>
          <p:nvPr>
            <p:ph type="sldNum" sz="quarter" idx="12"/>
          </p:nvPr>
        </p:nvSpPr>
        <p:spPr/>
        <p:txBody>
          <a:bodyPr/>
          <a:lstStyle/>
          <a:p>
            <a:fld id="{6C4E7F66-1C9A-4A32-A07E-DBE1F2A16A77}" type="slidenum">
              <a:rPr lang="en-US" smtClean="0"/>
              <a:t>‹#›</a:t>
            </a:fld>
            <a:endParaRPr lang="en-US"/>
          </a:p>
        </p:txBody>
      </p:sp>
    </p:spTree>
    <p:extLst>
      <p:ext uri="{BB962C8B-B14F-4D97-AF65-F5344CB8AC3E}">
        <p14:creationId xmlns:p14="http://schemas.microsoft.com/office/powerpoint/2010/main" val="407697645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tx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D819915-5DAC-4A58-8BB8-09DBF8BCC147}"/>
              </a:ext>
            </a:extLst>
          </p:cNvPr>
          <p:cNvSpPr>
            <a:spLocks noGrp="1"/>
          </p:cNvSpPr>
          <p:nvPr>
            <p:ph type="dt" sz="half" idx="10"/>
          </p:nvPr>
        </p:nvSpPr>
        <p:spPr/>
        <p:txBody>
          <a:bodyPr/>
          <a:lstStyle/>
          <a:p>
            <a:fld id="{8C158B6E-2F9D-4078-848A-249A901CF6C7}" type="datetimeFigureOut">
              <a:rPr lang="en-US" smtClean="0"/>
              <a:t>1/8/2019</a:t>
            </a:fld>
            <a:endParaRPr lang="en-US"/>
          </a:p>
        </p:txBody>
      </p:sp>
      <p:sp>
        <p:nvSpPr>
          <p:cNvPr id="3" name="Footer Placeholder 2">
            <a:extLst>
              <a:ext uri="{FF2B5EF4-FFF2-40B4-BE49-F238E27FC236}">
                <a16:creationId xmlns:a16="http://schemas.microsoft.com/office/drawing/2014/main" id="{BF1EC6C2-05D4-4C02-B53E-70AC560D172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215D9CE-ACF2-4DCA-875C-F65CC6AC6C0E}"/>
              </a:ext>
            </a:extLst>
          </p:cNvPr>
          <p:cNvSpPr>
            <a:spLocks noGrp="1"/>
          </p:cNvSpPr>
          <p:nvPr>
            <p:ph type="sldNum" sz="quarter" idx="12"/>
          </p:nvPr>
        </p:nvSpPr>
        <p:spPr/>
        <p:txBody>
          <a:bodyPr/>
          <a:lstStyle/>
          <a:p>
            <a:fld id="{6C4E7F66-1C9A-4A32-A07E-DBE1F2A16A77}" type="slidenum">
              <a:rPr lang="en-US" smtClean="0"/>
              <a:t>‹#›</a:t>
            </a:fld>
            <a:endParaRPr lang="en-US"/>
          </a:p>
        </p:txBody>
      </p:sp>
    </p:spTree>
    <p:extLst>
      <p:ext uri="{BB962C8B-B14F-4D97-AF65-F5344CB8AC3E}">
        <p14:creationId xmlns:p14="http://schemas.microsoft.com/office/powerpoint/2010/main" val="18181690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7" y="1614752"/>
            <a:ext cx="11653523" cy="2055306"/>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574122352"/>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783556"/>
            <a:ext cx="11653523" cy="1915965"/>
          </a:xfrm>
          <a:noFill/>
        </p:spPr>
        <p:txBody>
          <a:bodyPr tIns="91440" bIns="91440" anchor="t" anchorCtr="0"/>
          <a:lstStyle>
            <a:lvl1pPr algn="ctr">
              <a:defRPr sz="8627" spc="-98" baseline="0">
                <a:gradFill>
                  <a:gsLst>
                    <a:gs pos="100000">
                      <a:schemeClr val="tx1"/>
                    </a:gs>
                    <a:gs pos="0">
                      <a:schemeClr val="tx1"/>
                    </a:gs>
                  </a:gsLst>
                  <a:lin ang="5400000" scaled="0"/>
                </a:gradFill>
              </a:defRPr>
            </a:lvl1pPr>
          </a:lstStyle>
          <a:p>
            <a:r>
              <a:rPr lang="en-US"/>
              <a:t>Section / Area title</a:t>
            </a:r>
            <a:endParaRPr lang="en-US" dirty="0"/>
          </a:p>
        </p:txBody>
      </p:sp>
    </p:spTree>
    <p:extLst>
      <p:ext uri="{BB962C8B-B14F-4D97-AF65-F5344CB8AC3E}">
        <p14:creationId xmlns:p14="http://schemas.microsoft.com/office/powerpoint/2010/main" val="2152567929"/>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184768-FB1D-4E88-AE62-A13E8285A2E8}"/>
              </a:ext>
            </a:extLst>
          </p:cNvPr>
          <p:cNvSpPr>
            <a:spLocks noGrp="1"/>
          </p:cNvSpPr>
          <p:nvPr>
            <p:ph type="title"/>
          </p:nvPr>
        </p:nvSpPr>
        <p:spPr>
          <a:xfrm>
            <a:off x="839789" y="487680"/>
            <a:ext cx="3932237" cy="170688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FF3343A-CEC2-48DD-B635-F98F2CE1F0C5}"/>
              </a:ext>
            </a:extLst>
          </p:cNvPr>
          <p:cNvSpPr>
            <a:spLocks noGrp="1"/>
          </p:cNvSpPr>
          <p:nvPr>
            <p:ph idx="1"/>
          </p:nvPr>
        </p:nvSpPr>
        <p:spPr>
          <a:xfrm>
            <a:off x="5183188" y="1053254"/>
            <a:ext cx="6172200" cy="519853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6879C14-F87F-438A-B4AE-057950AB1613}"/>
              </a:ext>
            </a:extLst>
          </p:cNvPr>
          <p:cNvSpPr>
            <a:spLocks noGrp="1"/>
          </p:cNvSpPr>
          <p:nvPr>
            <p:ph type="body" sz="half" idx="2"/>
          </p:nvPr>
        </p:nvSpPr>
        <p:spPr>
          <a:xfrm>
            <a:off x="839789" y="2194560"/>
            <a:ext cx="3932237" cy="406569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F2692EFC-4330-4065-A187-A75881526AF7}"/>
              </a:ext>
            </a:extLst>
          </p:cNvPr>
          <p:cNvSpPr>
            <a:spLocks noGrp="1"/>
          </p:cNvSpPr>
          <p:nvPr>
            <p:ph type="dt" sz="half" idx="10"/>
          </p:nvPr>
        </p:nvSpPr>
        <p:spPr/>
        <p:txBody>
          <a:bodyPr/>
          <a:lstStyle/>
          <a:p>
            <a:fld id="{8C158B6E-2F9D-4078-848A-249A901CF6C7}" type="datetimeFigureOut">
              <a:rPr lang="en-US" smtClean="0"/>
              <a:t>1/8/2019</a:t>
            </a:fld>
            <a:endParaRPr lang="en-US"/>
          </a:p>
        </p:txBody>
      </p:sp>
      <p:sp>
        <p:nvSpPr>
          <p:cNvPr id="6" name="Footer Placeholder 5">
            <a:extLst>
              <a:ext uri="{FF2B5EF4-FFF2-40B4-BE49-F238E27FC236}">
                <a16:creationId xmlns:a16="http://schemas.microsoft.com/office/drawing/2014/main" id="{173EB518-07E2-45EA-8D2C-954029BD21C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0DB860E-59D3-42CA-A748-C450A0086BFE}"/>
              </a:ext>
            </a:extLst>
          </p:cNvPr>
          <p:cNvSpPr>
            <a:spLocks noGrp="1"/>
          </p:cNvSpPr>
          <p:nvPr>
            <p:ph type="sldNum" sz="quarter" idx="12"/>
          </p:nvPr>
        </p:nvSpPr>
        <p:spPr/>
        <p:txBody>
          <a:bodyPr/>
          <a:lstStyle/>
          <a:p>
            <a:fld id="{6C4E7F66-1C9A-4A32-A07E-DBE1F2A16A77}" type="slidenum">
              <a:rPr lang="en-US" smtClean="0"/>
              <a:t>‹#›</a:t>
            </a:fld>
            <a:endParaRPr lang="en-US"/>
          </a:p>
        </p:txBody>
      </p:sp>
    </p:spTree>
    <p:extLst>
      <p:ext uri="{BB962C8B-B14F-4D97-AF65-F5344CB8AC3E}">
        <p14:creationId xmlns:p14="http://schemas.microsoft.com/office/powerpoint/2010/main" val="3823621973"/>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picTx" preserve="1">
  <p:cSld name="Picture with Caption">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007C5D-4F6A-46DE-9756-27903B98E58C}"/>
              </a:ext>
            </a:extLst>
          </p:cNvPr>
          <p:cNvSpPr>
            <a:spLocks noGrp="1"/>
          </p:cNvSpPr>
          <p:nvPr>
            <p:ph type="title"/>
          </p:nvPr>
        </p:nvSpPr>
        <p:spPr>
          <a:xfrm>
            <a:off x="839789" y="487680"/>
            <a:ext cx="3932237" cy="170688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1D597B0-6EEC-4CC0-BE44-4B9355622DD9}"/>
              </a:ext>
            </a:extLst>
          </p:cNvPr>
          <p:cNvSpPr>
            <a:spLocks noGrp="1"/>
          </p:cNvSpPr>
          <p:nvPr>
            <p:ph type="pic" idx="1"/>
          </p:nvPr>
        </p:nvSpPr>
        <p:spPr>
          <a:xfrm>
            <a:off x="5183188" y="1053254"/>
            <a:ext cx="6172200" cy="519853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6C0F60E-DA35-4B15-9379-3500D3654921}"/>
              </a:ext>
            </a:extLst>
          </p:cNvPr>
          <p:cNvSpPr>
            <a:spLocks noGrp="1"/>
          </p:cNvSpPr>
          <p:nvPr>
            <p:ph type="body" sz="half" idx="2"/>
          </p:nvPr>
        </p:nvSpPr>
        <p:spPr>
          <a:xfrm>
            <a:off x="839789" y="2194560"/>
            <a:ext cx="3932237" cy="406569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DD486DDE-887E-4F15-B477-F13F5D217B28}"/>
              </a:ext>
            </a:extLst>
          </p:cNvPr>
          <p:cNvSpPr>
            <a:spLocks noGrp="1"/>
          </p:cNvSpPr>
          <p:nvPr>
            <p:ph type="dt" sz="half" idx="10"/>
          </p:nvPr>
        </p:nvSpPr>
        <p:spPr/>
        <p:txBody>
          <a:bodyPr/>
          <a:lstStyle/>
          <a:p>
            <a:fld id="{8C158B6E-2F9D-4078-848A-249A901CF6C7}" type="datetimeFigureOut">
              <a:rPr lang="en-US" smtClean="0"/>
              <a:t>1/8/2019</a:t>
            </a:fld>
            <a:endParaRPr lang="en-US"/>
          </a:p>
        </p:txBody>
      </p:sp>
      <p:sp>
        <p:nvSpPr>
          <p:cNvPr id="6" name="Footer Placeholder 5">
            <a:extLst>
              <a:ext uri="{FF2B5EF4-FFF2-40B4-BE49-F238E27FC236}">
                <a16:creationId xmlns:a16="http://schemas.microsoft.com/office/drawing/2014/main" id="{054CAAD5-A1AB-4BD9-B7DD-98212FF46C8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2B87FE5-1A4A-4FE4-ABA0-F9C0255A64F6}"/>
              </a:ext>
            </a:extLst>
          </p:cNvPr>
          <p:cNvSpPr>
            <a:spLocks noGrp="1"/>
          </p:cNvSpPr>
          <p:nvPr>
            <p:ph type="sldNum" sz="quarter" idx="12"/>
          </p:nvPr>
        </p:nvSpPr>
        <p:spPr/>
        <p:txBody>
          <a:bodyPr/>
          <a:lstStyle/>
          <a:p>
            <a:fld id="{6C4E7F66-1C9A-4A32-A07E-DBE1F2A16A77}" type="slidenum">
              <a:rPr lang="en-US" smtClean="0"/>
              <a:t>‹#›</a:t>
            </a:fld>
            <a:endParaRPr lang="en-US"/>
          </a:p>
        </p:txBody>
      </p:sp>
    </p:spTree>
    <p:extLst>
      <p:ext uri="{BB962C8B-B14F-4D97-AF65-F5344CB8AC3E}">
        <p14:creationId xmlns:p14="http://schemas.microsoft.com/office/powerpoint/2010/main" val="4015295357"/>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vertTx" preserve="1">
  <p:cSld name="Title and Vertical Tex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A477F7-62F4-4748-8B59-43C632C1B6F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40E00BE-5DED-4390-9875-E668FC436AE4}"/>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8CBDFD4-39AA-48BD-B26B-47241469F91D}"/>
              </a:ext>
            </a:extLst>
          </p:cNvPr>
          <p:cNvSpPr>
            <a:spLocks noGrp="1"/>
          </p:cNvSpPr>
          <p:nvPr>
            <p:ph type="dt" sz="half" idx="10"/>
          </p:nvPr>
        </p:nvSpPr>
        <p:spPr/>
        <p:txBody>
          <a:bodyPr/>
          <a:lstStyle/>
          <a:p>
            <a:fld id="{8C158B6E-2F9D-4078-848A-249A901CF6C7}" type="datetimeFigureOut">
              <a:rPr lang="en-US" smtClean="0"/>
              <a:t>1/8/2019</a:t>
            </a:fld>
            <a:endParaRPr lang="en-US"/>
          </a:p>
        </p:txBody>
      </p:sp>
      <p:sp>
        <p:nvSpPr>
          <p:cNvPr id="5" name="Footer Placeholder 4">
            <a:extLst>
              <a:ext uri="{FF2B5EF4-FFF2-40B4-BE49-F238E27FC236}">
                <a16:creationId xmlns:a16="http://schemas.microsoft.com/office/drawing/2014/main" id="{28A23EBC-E36A-4F94-9FC5-A38C4391195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2D90C30-2264-4AE1-9B5B-752DC618B83C}"/>
              </a:ext>
            </a:extLst>
          </p:cNvPr>
          <p:cNvSpPr>
            <a:spLocks noGrp="1"/>
          </p:cNvSpPr>
          <p:nvPr>
            <p:ph type="sldNum" sz="quarter" idx="12"/>
          </p:nvPr>
        </p:nvSpPr>
        <p:spPr/>
        <p:txBody>
          <a:bodyPr/>
          <a:lstStyle/>
          <a:p>
            <a:fld id="{6C4E7F66-1C9A-4A32-A07E-DBE1F2A16A77}" type="slidenum">
              <a:rPr lang="en-US" smtClean="0"/>
              <a:t>‹#›</a:t>
            </a:fld>
            <a:endParaRPr lang="en-US"/>
          </a:p>
        </p:txBody>
      </p:sp>
    </p:spTree>
    <p:extLst>
      <p:ext uri="{BB962C8B-B14F-4D97-AF65-F5344CB8AC3E}">
        <p14:creationId xmlns:p14="http://schemas.microsoft.com/office/powerpoint/2010/main" val="3375558352"/>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bg>
      <p:bgPr>
        <a:solidFill>
          <a:schemeClr val="tx1"/>
        </a:solidFill>
        <a:effectLst/>
      </p:bgPr>
    </p:bg>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2265D40-1CAF-49D6-BD8A-1699F528C3D6}"/>
              </a:ext>
            </a:extLst>
          </p:cNvPr>
          <p:cNvSpPr>
            <a:spLocks noGrp="1"/>
          </p:cNvSpPr>
          <p:nvPr>
            <p:ph type="title" orient="vert"/>
          </p:nvPr>
        </p:nvSpPr>
        <p:spPr>
          <a:xfrm>
            <a:off x="8724900" y="389467"/>
            <a:ext cx="2628900" cy="6199294"/>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C98207A-B509-49C3-B9CE-BC3ED49BC320}"/>
              </a:ext>
            </a:extLst>
          </p:cNvPr>
          <p:cNvSpPr>
            <a:spLocks noGrp="1"/>
          </p:cNvSpPr>
          <p:nvPr>
            <p:ph type="body" orient="vert" idx="1"/>
          </p:nvPr>
        </p:nvSpPr>
        <p:spPr>
          <a:xfrm>
            <a:off x="838200" y="389467"/>
            <a:ext cx="7734300" cy="619929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03EDC64-D1F8-442B-8450-4C3807EBC86C}"/>
              </a:ext>
            </a:extLst>
          </p:cNvPr>
          <p:cNvSpPr>
            <a:spLocks noGrp="1"/>
          </p:cNvSpPr>
          <p:nvPr>
            <p:ph type="dt" sz="half" idx="10"/>
          </p:nvPr>
        </p:nvSpPr>
        <p:spPr/>
        <p:txBody>
          <a:bodyPr/>
          <a:lstStyle/>
          <a:p>
            <a:fld id="{8C158B6E-2F9D-4078-848A-249A901CF6C7}" type="datetimeFigureOut">
              <a:rPr lang="en-US" smtClean="0"/>
              <a:t>1/8/2019</a:t>
            </a:fld>
            <a:endParaRPr lang="en-US"/>
          </a:p>
        </p:txBody>
      </p:sp>
      <p:sp>
        <p:nvSpPr>
          <p:cNvPr id="5" name="Footer Placeholder 4">
            <a:extLst>
              <a:ext uri="{FF2B5EF4-FFF2-40B4-BE49-F238E27FC236}">
                <a16:creationId xmlns:a16="http://schemas.microsoft.com/office/drawing/2014/main" id="{2061EEDC-3F3D-47DC-A8AB-7300283377C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FCC2135-7E5E-4322-8502-7705292450F5}"/>
              </a:ext>
            </a:extLst>
          </p:cNvPr>
          <p:cNvSpPr>
            <a:spLocks noGrp="1"/>
          </p:cNvSpPr>
          <p:nvPr>
            <p:ph type="sldNum" sz="quarter" idx="12"/>
          </p:nvPr>
        </p:nvSpPr>
        <p:spPr/>
        <p:txBody>
          <a:bodyPr/>
          <a:lstStyle/>
          <a:p>
            <a:fld id="{6C4E7F66-1C9A-4A32-A07E-DBE1F2A16A77}" type="slidenum">
              <a:rPr lang="en-US" smtClean="0"/>
              <a:t>‹#›</a:t>
            </a:fld>
            <a:endParaRPr lang="en-US"/>
          </a:p>
        </p:txBody>
      </p:sp>
    </p:spTree>
    <p:extLst>
      <p:ext uri="{BB962C8B-B14F-4D97-AF65-F5344CB8AC3E}">
        <p14:creationId xmlns:p14="http://schemas.microsoft.com/office/powerpoint/2010/main" val="1452722418"/>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Title and stage_left">
    <p:spTree>
      <p:nvGrpSpPr>
        <p:cNvPr id="1" name=""/>
        <p:cNvGrpSpPr/>
        <p:nvPr/>
      </p:nvGrpSpPr>
      <p:grpSpPr>
        <a:xfrm>
          <a:off x="0" y="0"/>
          <a:ext cx="0" cy="0"/>
          <a:chOff x="0" y="0"/>
          <a:chExt cx="0" cy="0"/>
        </a:xfrm>
      </p:grpSpPr>
      <p:sp>
        <p:nvSpPr>
          <p:cNvPr id="2" name="Title 1"/>
          <p:cNvSpPr>
            <a:spLocks noGrp="1"/>
          </p:cNvSpPr>
          <p:nvPr>
            <p:ph type="title"/>
          </p:nvPr>
        </p:nvSpPr>
        <p:spPr>
          <a:xfrm>
            <a:off x="269240" y="308812"/>
            <a:ext cx="11655840" cy="959643"/>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268454"/>
            <a:ext cx="12192000" cy="6054462"/>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9">
            <a:extLst>
              <a:ext uri="{FF2B5EF4-FFF2-40B4-BE49-F238E27FC236}">
                <a16:creationId xmlns:a16="http://schemas.microsoft.com/office/drawing/2014/main" id="{5835769B-D947-4F65-8B06-B00FA97D0BD9}"/>
              </a:ext>
            </a:extLst>
          </p:cNvPr>
          <p:cNvSpPr>
            <a:spLocks noGrp="1"/>
          </p:cNvSpPr>
          <p:nvPr>
            <p:ph type="body" sz="quarter" idx="11"/>
          </p:nvPr>
        </p:nvSpPr>
        <p:spPr>
          <a:xfrm>
            <a:off x="269875" y="1689767"/>
            <a:ext cx="5686789" cy="5068085"/>
          </a:xfrm>
        </p:spPr>
        <p:txBody>
          <a:bodyPr/>
          <a:lstStyle>
            <a:lvl1pPr marL="0" indent="0">
              <a:spcBef>
                <a:spcPts val="1200"/>
              </a:spcBef>
              <a:buNone/>
              <a:defRPr lang="en-US" sz="1600" b="1" kern="1200" spc="0" baseline="0" dirty="0" smtClean="0">
                <a:solidFill>
                  <a:schemeClr val="tx2"/>
                </a:solidFill>
                <a:latin typeface="Segoe UI Semibold" charset="0"/>
                <a:ea typeface="Segoe UI Semibold" charset="0"/>
                <a:cs typeface="Segoe UI Semibold" charset="0"/>
              </a:defRPr>
            </a:lvl1pPr>
            <a:lvl2pPr marL="236538" indent="-236538">
              <a:spcBef>
                <a:spcPts val="800"/>
              </a:spcBef>
              <a:spcAft>
                <a:spcPts val="400"/>
              </a:spcAft>
              <a:buClr>
                <a:schemeClr val="tx2"/>
              </a:buClr>
              <a:defRPr lang="en-US" sz="1600" kern="1200" spc="0" baseline="0" dirty="0" smtClean="0">
                <a:solidFill>
                  <a:schemeClr val="tx1"/>
                </a:solidFill>
                <a:latin typeface="Segoe UI Semilight" charset="0"/>
                <a:ea typeface="Segoe UI Semilight" charset="0"/>
                <a:cs typeface="Segoe UI Semilight" charset="0"/>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4249837"/>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Title Slide">
    <p:bg bwMode="gray">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CB9D2F-F5F8-42D4-BF59-2CA4DB9E49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7315200"/>
          </a:xfrm>
          <a:prstGeom prst="rect">
            <a:avLst/>
          </a:prstGeom>
        </p:spPr>
      </p:pic>
      <p:sp>
        <p:nvSpPr>
          <p:cNvPr id="4" name="Rectangle 3">
            <a:extLst>
              <a:ext uri="{FF2B5EF4-FFF2-40B4-BE49-F238E27FC236}">
                <a16:creationId xmlns:a16="http://schemas.microsoft.com/office/drawing/2014/main" id="{E6DB8C22-FB56-485D-B4F9-E8FC084E9ED0}"/>
              </a:ext>
            </a:extLst>
          </p:cNvPr>
          <p:cNvSpPr/>
          <p:nvPr userDrawn="1"/>
        </p:nvSpPr>
        <p:spPr bwMode="auto">
          <a:xfrm>
            <a:off x="269303" y="2943042"/>
            <a:ext cx="6545155" cy="3825827"/>
          </a:xfrm>
          <a:prstGeom prst="rect">
            <a:avLst/>
          </a:prstGeom>
          <a:solidFill>
            <a:schemeClr val="bg2">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3" y="2943041"/>
            <a:ext cx="6545155" cy="1912629"/>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3" y="4857054"/>
            <a:ext cx="6545155" cy="1911814"/>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290269" y="501405"/>
            <a:ext cx="1423303" cy="325150"/>
          </a:xfrm>
          <a:prstGeom prst="rect">
            <a:avLst/>
          </a:prstGeom>
        </p:spPr>
      </p:pic>
    </p:spTree>
    <p:extLst>
      <p:ext uri="{BB962C8B-B14F-4D97-AF65-F5344CB8AC3E}">
        <p14:creationId xmlns:p14="http://schemas.microsoft.com/office/powerpoint/2010/main" val="18361787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2_Title Slide">
    <p:bg bwMode="gray">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77" y="-1"/>
            <a:ext cx="12187647" cy="7315201"/>
          </a:xfrm>
          <a:prstGeom prst="rect">
            <a:avLst/>
          </a:prstGeom>
        </p:spPr>
      </p:pic>
      <p:sp>
        <p:nvSpPr>
          <p:cNvPr id="6" name="Rectangle 5"/>
          <p:cNvSpPr/>
          <p:nvPr userDrawn="1"/>
        </p:nvSpPr>
        <p:spPr bwMode="auto">
          <a:xfrm>
            <a:off x="0" y="0"/>
            <a:ext cx="9728200" cy="73152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3" y="1743587"/>
            <a:ext cx="6545155" cy="1912629"/>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3" y="3657600"/>
            <a:ext cx="6545155" cy="1911814"/>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4" y="501405"/>
            <a:ext cx="1423303" cy="325150"/>
          </a:xfrm>
          <a:prstGeom prst="rect">
            <a:avLst/>
          </a:prstGeom>
        </p:spPr>
      </p:pic>
    </p:spTree>
    <p:extLst>
      <p:ext uri="{BB962C8B-B14F-4D97-AF65-F5344CB8AC3E}">
        <p14:creationId xmlns:p14="http://schemas.microsoft.com/office/powerpoint/2010/main" val="14734639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268457"/>
            <a:ext cx="11653523" cy="1593770"/>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742216"/>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268457"/>
            <a:ext cx="11653523" cy="1593770"/>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0148963"/>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268455"/>
            <a:ext cx="11653523" cy="177709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214096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Quote Layout_Accent Color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223118"/>
            <a:ext cx="9860672" cy="959643"/>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9" y="5092067"/>
            <a:ext cx="5378549" cy="1053622"/>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5513595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268456"/>
            <a:ext cx="11653523" cy="1566583"/>
          </a:xfrm>
        </p:spPr>
        <p:txBody>
          <a:bodyPr>
            <a:spAutoFit/>
          </a:bodyPr>
          <a:lstStyle>
            <a:lvl1pPr>
              <a:defRPr sz="2400">
                <a:latin typeface="Segoe UI Semilight" panose="020B0402040204020203" pitchFamily="34" charset="0"/>
                <a:cs typeface="Segoe UI Semilight" panose="020B0402040204020203" pitchFamily="34" charset="0"/>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0FA09FA5-87FE-4058-ABAF-64E38F7870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51304571"/>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268453"/>
            <a:ext cx="5378548" cy="1756699"/>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268453"/>
            <a:ext cx="5378548" cy="1756699"/>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9805721"/>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268453"/>
            <a:ext cx="5378548" cy="1756699"/>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268453"/>
            <a:ext cx="5378548" cy="1756699"/>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1360386"/>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268456"/>
            <a:ext cx="5378548" cy="1823063"/>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268456"/>
            <a:ext cx="5378548" cy="1823063"/>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9491811"/>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268456"/>
            <a:ext cx="5378548" cy="1823063"/>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268456"/>
            <a:ext cx="5378548" cy="1823063"/>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8028084"/>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6413438"/>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4982960" y="1799048"/>
            <a:ext cx="7209040" cy="5523869"/>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4982960" y="1799048"/>
            <a:ext cx="6942120" cy="470898"/>
          </a:xfrm>
          <a:noFill/>
        </p:spPr>
        <p:txBody>
          <a:bodyPr wrap="square" lIns="182880" tIns="137160" rIns="182880" bIns="13716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3080939714"/>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4982960" y="1799048"/>
            <a:ext cx="7209040" cy="5516153"/>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Text Placeholder 6">
            <a:extLst>
              <a:ext uri="{FF2B5EF4-FFF2-40B4-BE49-F238E27FC236}">
                <a16:creationId xmlns:a16="http://schemas.microsoft.com/office/drawing/2014/main" id="{309954B7-C7F5-4EA9-AA42-42D1F68AA9A2}"/>
              </a:ext>
            </a:extLst>
          </p:cNvPr>
          <p:cNvSpPr>
            <a:spLocks noGrp="1"/>
          </p:cNvSpPr>
          <p:nvPr>
            <p:ph type="body" sz="quarter" idx="11"/>
          </p:nvPr>
        </p:nvSpPr>
        <p:spPr>
          <a:xfrm>
            <a:off x="266920" y="2050194"/>
            <a:ext cx="4372605" cy="1320361"/>
          </a:xfrm>
        </p:spPr>
        <p:txBody>
          <a:bodyPr/>
          <a:lstStyle>
            <a:lvl1pPr marL="285750" indent="-285750">
              <a:lnSpc>
                <a:spcPct val="100000"/>
              </a:lnSpc>
              <a:spcAft>
                <a:spcPts val="600"/>
              </a:spcAft>
              <a:buFont typeface="Arial" panose="020B0604020202020204" pitchFamily="34" charset="0"/>
              <a:buChar char="•"/>
              <a:defRPr sz="1600"/>
            </a:lvl1pPr>
            <a:lvl2pPr>
              <a:lnSpc>
                <a:spcPct val="100000"/>
              </a:lnSpc>
              <a:defRPr sz="1200"/>
            </a:lvl2pPr>
            <a:lvl3pPr>
              <a:lnSpc>
                <a:spcPct val="100000"/>
              </a:lnSpc>
              <a:defRPr sz="1100"/>
            </a:lvl3pPr>
            <a:lvl4pPr>
              <a:lnSpc>
                <a:spcPct val="100000"/>
              </a:lnSpc>
              <a:defRPr sz="1050"/>
            </a:lvl4pPr>
            <a:lvl5pPr>
              <a:lnSpc>
                <a:spcPct val="100000"/>
              </a:lnSpc>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80055677"/>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308812"/>
            <a:ext cx="5021217" cy="1116203"/>
          </a:xfrm>
        </p:spPr>
        <p:txBody>
          <a:bodyPr vert="horz" wrap="square" lIns="146304" tIns="91440" rIns="146304" bIns="91440" rtlCol="0" anchor="t">
            <a:noAutofit/>
          </a:bodyPr>
          <a:lstStyle>
            <a:lvl1pPr algn="l">
              <a:defRPr lang="en-US" sz="2800" cap="all" spc="500">
                <a:solidFill>
                  <a:schemeClr val="tx2"/>
                </a:solidFill>
                <a:latin typeface="Segoe UI Semilight" charset="0"/>
                <a:cs typeface="Segoe UI Semilight" charset="0"/>
              </a:defRPr>
            </a:lvl1pPr>
          </a:lstStyle>
          <a:p>
            <a:pPr marL="0" lvl="0" defTabSz="914400">
              <a:lnSpc>
                <a:spcPct val="100000"/>
              </a:lnSpc>
            </a:pPr>
            <a:r>
              <a:rPr lang="en-US"/>
              <a:t>Click to edit Master title style</a:t>
            </a:r>
          </a:p>
        </p:txBody>
      </p:sp>
    </p:spTree>
    <p:extLst>
      <p:ext uri="{BB962C8B-B14F-4D97-AF65-F5344CB8AC3E}">
        <p14:creationId xmlns:p14="http://schemas.microsoft.com/office/powerpoint/2010/main" val="3695138965"/>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1" y="2344216"/>
            <a:ext cx="5265119" cy="1898981"/>
          </a:xfrm>
        </p:spPr>
        <p:txBody>
          <a:bodyPr/>
          <a:lstStyle>
            <a:lvl1pPr marL="0" indent="0">
              <a:spcAft>
                <a:spcPts val="1800"/>
              </a:spcAft>
              <a:buNone/>
              <a:defRPr sz="2400" spc="100" baseline="0">
                <a:solidFill>
                  <a:schemeClr val="tx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2000" kern="1200" spc="100" baseline="0" dirty="0" smtClean="0">
                <a:solidFill>
                  <a:schemeClr val="tx1"/>
                </a:solidFill>
                <a:latin typeface="+mn-lt"/>
                <a:ea typeface="+mn-ea"/>
                <a:cs typeface="Times New Roman" panose="02020603050405020304" pitchFamily="18" charset="0"/>
              </a:defRPr>
            </a:lvl2pPr>
            <a:lvl3pPr marL="569913" indent="-228600" defTabSz="762000">
              <a:buClr>
                <a:schemeClr val="tx2"/>
              </a:buClr>
              <a:defRPr spc="100" baseline="0">
                <a:solidFill>
                  <a:schemeClr val="tx1"/>
                </a:solidFill>
              </a:defRPr>
            </a:lvl3pPr>
            <a:lvl4pPr marL="914400" indent="-228600" defTabSz="762000">
              <a:buClr>
                <a:schemeClr val="tx2"/>
              </a:buClr>
              <a:defRPr spc="100" baseline="0">
                <a:solidFill>
                  <a:schemeClr val="tx1"/>
                </a:solidFill>
              </a:defRPr>
            </a:lvl4pPr>
            <a:lvl5pPr marL="1258888" indent="-228600" defTabSz="762000">
              <a:buClr>
                <a:schemeClr val="tx2"/>
              </a:buClr>
              <a:defRPr spc="100" baseline="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3D3ED6A4-84B5-4E0F-AACB-5DDD65A08580}"/>
              </a:ext>
            </a:extLst>
          </p:cNvPr>
          <p:cNvSpPr/>
          <p:nvPr userDrawn="1"/>
        </p:nvSpPr>
        <p:spPr>
          <a:xfrm>
            <a:off x="6253843" y="1"/>
            <a:ext cx="5938157" cy="7322916"/>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1" y="308812"/>
            <a:ext cx="5265119" cy="1725510"/>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33351332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98342"/>
            <a:ext cx="5378548" cy="1976823"/>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Tree>
    <p:extLst>
      <p:ext uri="{BB962C8B-B14F-4D97-AF65-F5344CB8AC3E}">
        <p14:creationId xmlns:p14="http://schemas.microsoft.com/office/powerpoint/2010/main" val="19603120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6404DEB-A2FD-47E2-863C-BC52EB636058}"/>
              </a:ext>
            </a:extLst>
          </p:cNvPr>
          <p:cNvSpPr>
            <a:spLocks noGrp="1"/>
          </p:cNvSpPr>
          <p:nvPr>
            <p:ph type="title" hasCustomPrompt="1"/>
          </p:nvPr>
        </p:nvSpPr>
        <p:spPr>
          <a:xfrm>
            <a:off x="1166442" y="3290169"/>
            <a:ext cx="9859116" cy="738664"/>
          </a:xfrm>
          <a:noFill/>
        </p:spPr>
        <p:txBody>
          <a:bodyPr tIns="91440" bIns="91440" anchor="t" anchorCtr="0">
            <a:spAutoFit/>
          </a:bodyPr>
          <a:lstStyle>
            <a:lvl1pPr algn="ctr">
              <a:defRPr lang="en-US" sz="40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Demo title</a:t>
            </a:r>
          </a:p>
        </p:txBody>
      </p:sp>
      <p:sp>
        <p:nvSpPr>
          <p:cNvPr id="2" name="Rectangle 1"/>
          <p:cNvSpPr/>
          <p:nvPr userDrawn="1"/>
        </p:nvSpPr>
        <p:spPr>
          <a:xfrm>
            <a:off x="5550819" y="2896214"/>
            <a:ext cx="1090362" cy="369332"/>
          </a:xfrm>
          <a:prstGeom prst="rect">
            <a:avLst/>
          </a:prstGeom>
        </p:spPr>
        <p:txBody>
          <a:bodyPr wrap="none">
            <a:spAutoFit/>
          </a:bodyPr>
          <a:lstStyle/>
          <a:p>
            <a:pPr algn="ctr">
              <a:spcBef>
                <a:spcPts val="1200"/>
              </a:spcBef>
              <a:defRPr/>
            </a:pPr>
            <a:r>
              <a:rPr lang="en-US" sz="1800" cap="all" spc="500">
                <a:solidFill>
                  <a:srgbClr val="FFFFFF"/>
                </a:solidFill>
                <a:latin typeface="Segoe UI Semilight" charset="0"/>
                <a:ea typeface="Segoe UI Semilight" charset="0"/>
                <a:cs typeface="Segoe UI Semilight" charset="0"/>
              </a:rPr>
              <a:t>DEMO</a:t>
            </a:r>
          </a:p>
        </p:txBody>
      </p:sp>
    </p:spTree>
    <p:extLst>
      <p:ext uri="{BB962C8B-B14F-4D97-AF65-F5344CB8AC3E}">
        <p14:creationId xmlns:p14="http://schemas.microsoft.com/office/powerpoint/2010/main" val="19721251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290169"/>
            <a:ext cx="9859116" cy="849463"/>
          </a:xfrm>
          <a:noFill/>
        </p:spPr>
        <p:txBody>
          <a:bodyPr tIns="91440" bIns="91440" anchor="t" anchorCtr="0">
            <a:spAutoFit/>
          </a:bodyPr>
          <a:lstStyle>
            <a:lvl1pPr algn="l">
              <a:defRPr lang="en-US" sz="48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634238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223118"/>
            <a:ext cx="11653523" cy="1161921"/>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39901104"/>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223118"/>
            <a:ext cx="11653523" cy="1161921"/>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525846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ase study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044A0-101A-4FC0-8461-808AD7E0604F}"/>
              </a:ext>
            </a:extLst>
          </p:cNvPr>
          <p:cNvSpPr>
            <a:spLocks noGrp="1"/>
          </p:cNvSpPr>
          <p:nvPr>
            <p:ph type="title"/>
          </p:nvPr>
        </p:nvSpPr>
        <p:spPr>
          <a:xfrm>
            <a:off x="269241" y="308813"/>
            <a:ext cx="5606043" cy="959643"/>
          </a:xfrm>
        </p:spPr>
        <p:txBody>
          <a:bodyPr/>
          <a:lstStyle>
            <a:lvl1pPr algn="l">
              <a:defRPr/>
            </a:lvl1pPr>
          </a:lstStyle>
          <a:p>
            <a:r>
              <a:rPr lang="en-US"/>
              <a:t>Click to edit Master title style</a:t>
            </a:r>
          </a:p>
        </p:txBody>
      </p:sp>
      <p:sp>
        <p:nvSpPr>
          <p:cNvPr id="9" name="Text Placeholder 8">
            <a:extLst>
              <a:ext uri="{FF2B5EF4-FFF2-40B4-BE49-F238E27FC236}">
                <a16:creationId xmlns:a16="http://schemas.microsoft.com/office/drawing/2014/main" id="{90E9AADF-3FC2-4C6C-B73A-4CB1DCC20CFA}"/>
              </a:ext>
            </a:extLst>
          </p:cNvPr>
          <p:cNvSpPr>
            <a:spLocks noGrp="1"/>
          </p:cNvSpPr>
          <p:nvPr>
            <p:ph type="body" sz="quarter" idx="11"/>
          </p:nvPr>
        </p:nvSpPr>
        <p:spPr>
          <a:xfrm>
            <a:off x="269240" y="1982362"/>
            <a:ext cx="5606043" cy="889474"/>
          </a:xfrm>
        </p:spPr>
        <p:txBody>
          <a:bodyPr/>
          <a:lstStyle>
            <a:lvl1pPr marL="0" indent="0">
              <a:spcAft>
                <a:spcPts val="0"/>
              </a:spcAft>
              <a:buNone/>
              <a:defRPr kumimoji="0" lang="en-US" sz="1600" b="0" i="0" u="none" strike="noStrike" kern="1200" cap="none" spc="100" normalizeH="0" baseline="0" dirty="0" smtClean="0">
                <a:ln>
                  <a:noFill/>
                </a:ln>
                <a:solidFill>
                  <a:srgbClr val="0078D7"/>
                </a:solidFill>
                <a:effectLst/>
                <a:uLnTx/>
                <a:uFillTx/>
                <a:latin typeface="Segoe UI Semilight" charset="0"/>
                <a:ea typeface="Segoe UI Semilight" charset="0"/>
                <a:cs typeface="Segoe UI Semilight" charset="0"/>
              </a:defRPr>
            </a:lvl1pPr>
            <a:lvl2pPr marL="0" indent="0">
              <a:spcAft>
                <a:spcPts val="600"/>
              </a:spcAft>
              <a:buClr>
                <a:schemeClr val="tx2"/>
              </a:buClr>
              <a:buFont typeface="Arial" panose="020B0604020202020204" pitchFamily="34" charset="0"/>
              <a:buNone/>
              <a:defRPr kumimoji="0" lang="en-US" sz="1400" b="0" i="0" u="none" strike="noStrike" kern="1200" cap="none" spc="100" normalizeH="0" baseline="0" dirty="0" smtClean="0">
                <a:ln>
                  <a:noFill/>
                </a:ln>
                <a:solidFill>
                  <a:srgbClr val="D2D2D2">
                    <a:lumMod val="10000"/>
                  </a:srgbClr>
                </a:solidFill>
                <a:effectLst/>
                <a:uLnTx/>
                <a:uFillTx/>
                <a:latin typeface="Segoe UI Semilight" charset="0"/>
                <a:ea typeface="Segoe UI Semilight" charset="0"/>
                <a:cs typeface="Segoe UI Semilight" charset="0"/>
              </a:defRPr>
            </a:lvl2pPr>
            <a:lvl3pPr marL="0" indent="0">
              <a:buNone/>
              <a:defRPr kumimoji="0" lang="en-US" sz="1000" b="1" i="0" u="none" strike="noStrike" kern="1200" cap="none" spc="100" normalizeH="0" baseline="0" dirty="0" smtClean="0">
                <a:ln>
                  <a:noFill/>
                </a:ln>
                <a:solidFill>
                  <a:srgbClr val="0078D7"/>
                </a:solidFill>
                <a:effectLst/>
                <a:uLnTx/>
                <a:uFillTx/>
                <a:latin typeface="Segoe UI Semibold" charset="0"/>
                <a:ea typeface="Segoe UI Semibold" charset="0"/>
                <a:cs typeface="Segoe UI Semibold" charset="0"/>
              </a:defRPr>
            </a:lvl3pPr>
          </a:lstStyle>
          <a:p>
            <a:pPr lvl="0"/>
            <a:r>
              <a:rPr lang="en-US"/>
              <a:t>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780E5592-BCF2-4359-A15B-37F10939823B}"/>
              </a:ext>
            </a:extLst>
          </p:cNvPr>
          <p:cNvSpPr/>
          <p:nvPr userDrawn="1"/>
        </p:nvSpPr>
        <p:spPr bwMode="auto">
          <a:xfrm>
            <a:off x="0" y="5937719"/>
            <a:ext cx="12192000" cy="1377482"/>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err="1"/>
          </a:p>
        </p:txBody>
      </p:sp>
    </p:spTree>
    <p:extLst>
      <p:ext uri="{BB962C8B-B14F-4D97-AF65-F5344CB8AC3E}">
        <p14:creationId xmlns:p14="http://schemas.microsoft.com/office/powerpoint/2010/main" val="1495584824"/>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4035052"/>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1196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68454"/>
            <a:ext cx="12192000" cy="604674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277145"/>
            <a:ext cx="11653522" cy="1682127"/>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1024586"/>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583059"/>
            <a:ext cx="11653522" cy="39515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505050"/>
                    </a:gs>
                    <a:gs pos="100000">
                      <a:srgbClr val="505050"/>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5" y="3289229"/>
            <a:ext cx="3227129" cy="738194"/>
          </a:xfrm>
          <a:prstGeom prst="rect">
            <a:avLst/>
          </a:prstGeom>
        </p:spPr>
      </p:pic>
    </p:spTree>
    <p:extLst>
      <p:ext uri="{BB962C8B-B14F-4D97-AF65-F5344CB8AC3E}">
        <p14:creationId xmlns:p14="http://schemas.microsoft.com/office/powerpoint/2010/main" val="3442385288"/>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583059"/>
            <a:ext cx="11653522" cy="39515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7" y="3289229"/>
            <a:ext cx="3227129" cy="738196"/>
          </a:xfrm>
          <a:prstGeom prst="rect">
            <a:avLst/>
          </a:prstGeom>
        </p:spPr>
      </p:pic>
    </p:spTree>
    <p:extLst>
      <p:ext uri="{BB962C8B-B14F-4D97-AF65-F5344CB8AC3E}">
        <p14:creationId xmlns:p14="http://schemas.microsoft.com/office/powerpoint/2010/main" val="13481374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sz="1800" kern="0">
              <a:solidFill>
                <a:sysClr val="windowText" lastClr="000000"/>
              </a:solidFill>
            </a:endParaRPr>
          </a:p>
        </p:txBody>
      </p:sp>
      <p:sp>
        <p:nvSpPr>
          <p:cNvPr id="3" name="Footer Placeholder 2"/>
          <p:cNvSpPr>
            <a:spLocks noGrp="1"/>
          </p:cNvSpPr>
          <p:nvPr>
            <p:ph type="ftr" sz="quarter" idx="11"/>
          </p:nvPr>
        </p:nvSpPr>
        <p:spPr/>
        <p:txBody>
          <a:bodyPr/>
          <a:lstStyle/>
          <a:p>
            <a:endParaRPr lang="en-US" sz="1800" kern="0">
              <a:solidFill>
                <a:sysClr val="windowText" lastClr="000000"/>
              </a:solidFill>
            </a:endParaRPr>
          </a:p>
        </p:txBody>
      </p:sp>
      <p:sp>
        <p:nvSpPr>
          <p:cNvPr id="4" name="Slide Number Placeholder 3"/>
          <p:cNvSpPr>
            <a:spLocks noGrp="1"/>
          </p:cNvSpPr>
          <p:nvPr>
            <p:ph type="sldNum" sz="quarter" idx="12"/>
          </p:nvPr>
        </p:nvSpPr>
        <p:spPr/>
        <p:txBody>
          <a:bodyPr/>
          <a:lstStyle/>
          <a:p>
            <a:fld id="{F22B9F7F-7880-4EBE-82BD-2E156DF91094}" type="slidenum">
              <a:rPr lang="en-US" sz="1800" kern="0" smtClean="0">
                <a:solidFill>
                  <a:sysClr val="windowText" lastClr="000000"/>
                </a:solidFill>
              </a:rPr>
              <a:pPr/>
              <a:t>‹#›</a:t>
            </a:fld>
            <a:endParaRPr lang="en-US" sz="1800" kern="0">
              <a:solidFill>
                <a:sysClr val="windowText" lastClr="000000"/>
              </a:solidFill>
            </a:endParaRPr>
          </a:p>
        </p:txBody>
      </p:sp>
    </p:spTree>
    <p:extLst>
      <p:ext uri="{BB962C8B-B14F-4D97-AF65-F5344CB8AC3E}">
        <p14:creationId xmlns:p14="http://schemas.microsoft.com/office/powerpoint/2010/main" val="2789705416"/>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268457"/>
            <a:ext cx="11653523" cy="2398862"/>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654802"/>
            <a:ext cx="12192001" cy="66040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6582648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3236971"/>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1" y="0"/>
            <a:ext cx="5290457" cy="7315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308812"/>
            <a:ext cx="4720857" cy="1116203"/>
          </a:xfrm>
        </p:spPr>
        <p:txBody>
          <a:bodyPr vert="horz" wrap="square" lIns="146304" tIns="91440" rIns="146304" bIns="91440" rtlCol="0" anchor="t">
            <a:noAutofit/>
          </a:bodyPr>
          <a:lstStyle>
            <a:lvl1pPr>
              <a:defRPr lang="en-US" sz="2800" b="0" kern="1200" cap="all" spc="0" baseline="0" dirty="0">
                <a:ln w="3175">
                  <a:noFill/>
                </a:ln>
                <a:solidFill>
                  <a:schemeClr val="bg1"/>
                </a:solidFill>
                <a:effectLst/>
                <a:latin typeface="Segoe UI Semilight" charset="0"/>
                <a:ea typeface="+mn-ea"/>
                <a:cs typeface="Segoe UI Semilight" charset="0"/>
              </a:defRPr>
            </a:lvl1pPr>
          </a:lstStyle>
          <a:p>
            <a:pPr marL="0" lvl="0" algn="l" defTabSz="914400" rtl="0" eaLnBrk="1" latinLnBrk="0" hangingPunct="1">
              <a:lnSpc>
                <a:spcPct val="100000"/>
              </a:lnSpc>
              <a:spcBef>
                <a:spcPct val="0"/>
              </a:spcBef>
              <a:buNone/>
            </a:pPr>
            <a:r>
              <a:rPr lang="en-US"/>
              <a:t>Click to edit Master title style</a:t>
            </a:r>
          </a:p>
        </p:txBody>
      </p:sp>
      <p:sp>
        <p:nvSpPr>
          <p:cNvPr id="6" name="Text Placeholder 5">
            <a:extLst>
              <a:ext uri="{FF2B5EF4-FFF2-40B4-BE49-F238E27FC236}">
                <a16:creationId xmlns:a16="http://schemas.microsoft.com/office/drawing/2014/main" id="{812886AA-A156-4EC6-A1EA-17C1BB0CF527}"/>
              </a:ext>
            </a:extLst>
          </p:cNvPr>
          <p:cNvSpPr>
            <a:spLocks noGrp="1"/>
          </p:cNvSpPr>
          <p:nvPr>
            <p:ph type="body" sz="quarter" idx="10"/>
          </p:nvPr>
        </p:nvSpPr>
        <p:spPr>
          <a:xfrm>
            <a:off x="269241" y="1887958"/>
            <a:ext cx="4547689" cy="4318352"/>
          </a:xfrm>
        </p:spPr>
        <p:txBody>
          <a:bodyPr>
            <a:normAutofit/>
          </a:bodyPr>
          <a:lstStyle>
            <a:lvl1pPr marL="0" indent="0">
              <a:lnSpc>
                <a:spcPct val="100000"/>
              </a:lnSpc>
              <a:spcBef>
                <a:spcPts val="1800"/>
              </a:spcBef>
              <a:spcAft>
                <a:spcPts val="600"/>
              </a:spcAft>
              <a:buClr>
                <a:schemeClr val="bg1"/>
              </a:buClr>
              <a:buNone/>
              <a:defRPr lang="en-US" sz="1400" spc="100" smtClean="0">
                <a:solidFill>
                  <a:schemeClr val="bg1"/>
                </a:solidFill>
                <a:latin typeface="Segoe UI Semilight" charset="0"/>
                <a:cs typeface="Segoe UI Semilight" charset="0"/>
              </a:defRPr>
            </a:lvl1pPr>
            <a:lvl2pPr marL="236546" indent="0">
              <a:lnSpc>
                <a:spcPct val="100000"/>
              </a:lnSpc>
              <a:spcBef>
                <a:spcPts val="600"/>
              </a:spcBef>
              <a:spcAft>
                <a:spcPts val="400"/>
              </a:spcAft>
              <a:buNone/>
              <a:defRPr lang="en-US" sz="1200" spc="50" baseline="0" smtClean="0">
                <a:solidFill>
                  <a:schemeClr val="bg1"/>
                </a:solidFill>
              </a:defRPr>
            </a:lvl2pPr>
            <a:lvl3pPr>
              <a:defRPr lang="en-US" smtClean="0">
                <a:solidFill>
                  <a:schemeClr val="tx1"/>
                </a:solidFill>
              </a:defRPr>
            </a:lvl3pPr>
            <a:lvl4pPr>
              <a:defRPr lang="en-US" smtClean="0">
                <a:solidFill>
                  <a:schemeClr val="tx1"/>
                </a:solidFill>
              </a:defRPr>
            </a:lvl4pPr>
            <a:lvl5pPr>
              <a:defRPr lang="en-US">
                <a:solidFill>
                  <a:schemeClr val="tx1"/>
                </a:solidFill>
              </a:defRPr>
            </a:lvl5pPr>
          </a:lstStyle>
          <a:p>
            <a:pPr marL="336145" lvl="0" indent="-336145" defTabSz="914400">
              <a:spcBef>
                <a:spcPts val="1000"/>
              </a:spcBef>
            </a:pPr>
            <a:r>
              <a:rPr lang="en-US"/>
              <a:t>Edit Master text styles</a:t>
            </a:r>
          </a:p>
          <a:p>
            <a:pPr marL="572691" lvl="1" indent="-336145" defTabSz="914400">
              <a:spcBef>
                <a:spcPts val="1000"/>
              </a:spcBef>
            </a:pPr>
            <a:r>
              <a:rPr lang="en-US"/>
              <a:t>subtitle</a:t>
            </a:r>
          </a:p>
        </p:txBody>
      </p:sp>
    </p:spTree>
    <p:extLst>
      <p:ext uri="{BB962C8B-B14F-4D97-AF65-F5344CB8AC3E}">
        <p14:creationId xmlns:p14="http://schemas.microsoft.com/office/powerpoint/2010/main" val="1018840037"/>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268455"/>
            <a:ext cx="11655078" cy="2266583"/>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328457"/>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4112154"/>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97187"/>
            <a:ext cx="9144000" cy="2546773"/>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842174"/>
            <a:ext cx="9144000" cy="517065"/>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01120C9-890A-4013-ADCB-1DF4AE2150B6}" type="datetimeFigureOut">
              <a:rPr lang="en-US" smtClean="0"/>
              <a:t>1/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396585352"/>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8947671"/>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938529"/>
            <a:ext cx="0" cy="757936"/>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625152"/>
            <a:ext cx="1366440" cy="312115"/>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248460"/>
            <a:ext cx="11604624" cy="5753473"/>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279911"/>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3" y="3396003"/>
            <a:ext cx="2712307" cy="1458390"/>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a:srcRect r="6311"/>
          <a:stretch/>
        </p:blipFill>
        <p:spPr>
          <a:xfrm>
            <a:off x="8717520" y="1937237"/>
            <a:ext cx="3474481" cy="4425857"/>
          </a:xfrm>
          <a:prstGeom prst="rect">
            <a:avLst/>
          </a:prstGeom>
        </p:spPr>
      </p:pic>
    </p:spTree>
    <p:extLst>
      <p:ext uri="{BB962C8B-B14F-4D97-AF65-F5344CB8AC3E}">
        <p14:creationId xmlns:p14="http://schemas.microsoft.com/office/powerpoint/2010/main" val="3256125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73152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624841"/>
            <a:ext cx="1366440" cy="312115"/>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3215108"/>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4226561"/>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8" y="624841"/>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spTree>
    <p:extLst>
      <p:ext uri="{BB962C8B-B14F-4D97-AF65-F5344CB8AC3E}">
        <p14:creationId xmlns:p14="http://schemas.microsoft.com/office/powerpoint/2010/main" val="2722391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529995"/>
            <a:ext cx="11018520" cy="1612749"/>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999201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266821"/>
            <a:ext cx="11655078" cy="57362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14992785"/>
      </p:ext>
    </p:extLst>
  </p:cSld>
  <p:clrMapOvr>
    <a:masterClrMapping/>
  </p:clrMapOvr>
  <p:transition spd="slow">
    <p:push dir="r"/>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531197"/>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9066281"/>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530773"/>
            <a:ext cx="5212080" cy="1612749"/>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530773"/>
            <a:ext cx="5212080" cy="1612749"/>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3046140"/>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533313"/>
            <a:ext cx="5212080" cy="1612749"/>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533313"/>
            <a:ext cx="5212080" cy="1612749"/>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594900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4049340"/>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8809400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8768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3742896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73152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1" y="311574"/>
            <a:ext cx="6881813" cy="6690361"/>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78855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771245"/>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829113469"/>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1"/>
            <a:ext cx="5997398" cy="73152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1" y="3180413"/>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1" y="311574"/>
            <a:ext cx="6881813" cy="6690361"/>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89072751"/>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1"/>
            <a:ext cx="5997398" cy="73152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268678"/>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4242474"/>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315048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1"/>
            <a:ext cx="5997398" cy="73152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271435"/>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337592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10383587" cy="805237"/>
          </a:xfrm>
        </p:spPr>
        <p:txBody>
          <a:bodyPr vert="horz" wrap="square" lIns="274320" tIns="182880" rIns="146304" bIns="91440" rtlCol="0" anchor="t" anchorCtr="0">
            <a:noAutofit/>
          </a:bodyPr>
          <a:lstStyle>
            <a:lvl1pPr>
              <a:defRPr lang="en-US" dirty="0"/>
            </a:lvl1pPr>
          </a:lstStyle>
          <a:p>
            <a:pPr lvl="0"/>
            <a:r>
              <a:rPr lang="en-US"/>
              <a:t>Click to edit Master title style</a:t>
            </a:r>
          </a:p>
        </p:txBody>
      </p:sp>
      <p:sp>
        <p:nvSpPr>
          <p:cNvPr id="5" name="Text Placeholder 4"/>
          <p:cNvSpPr>
            <a:spLocks noGrp="1"/>
          </p:cNvSpPr>
          <p:nvPr>
            <p:ph type="body" sz="quarter" idx="10"/>
          </p:nvPr>
        </p:nvSpPr>
        <p:spPr>
          <a:xfrm>
            <a:off x="269241" y="1301662"/>
            <a:ext cx="11550807" cy="5657686"/>
          </a:xfrm>
        </p:spPr>
        <p:txBody>
          <a:bodyPr>
            <a:normAutofit/>
          </a:bodyPr>
          <a:lstStyle>
            <a:lvl1pPr marL="224097" indent="-224097">
              <a:defRPr sz="2745"/>
            </a:lvl1pPr>
            <a:lvl2pPr marL="448193" indent="-224097">
              <a:defRPr sz="2353"/>
            </a:lvl2pPr>
            <a:lvl3pPr marL="672290" indent="-224097">
              <a:defRPr sz="1961"/>
            </a:lvl3pPr>
            <a:lvl4pPr marL="896386" indent="-224097">
              <a:defRPr sz="1765"/>
            </a:lvl4pPr>
            <a:lvl5pPr marL="1120483" indent="-224097">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2"/>
          <p:cNvSpPr>
            <a:spLocks noGrp="1"/>
          </p:cNvSpPr>
          <p:nvPr>
            <p:ph type="ftr" sz="quarter" idx="3"/>
          </p:nvPr>
        </p:nvSpPr>
        <p:spPr>
          <a:xfrm>
            <a:off x="485055" y="6996049"/>
            <a:ext cx="3859607" cy="143449"/>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dirty="0">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1"/>
          </p:nvPr>
        </p:nvSpPr>
        <p:spPr/>
        <p:txBody>
          <a:bodyPr/>
          <a:lstStyle/>
          <a:p>
            <a:pPr defTabSz="914367"/>
            <a:fld id="{27258FFF-F925-446B-8502-81C933981705}" type="slidenum">
              <a:rPr lang="en-US" smtClean="0">
                <a:gradFill>
                  <a:gsLst>
                    <a:gs pos="2239">
                      <a:srgbClr val="505050"/>
                    </a:gs>
                    <a:gs pos="11940">
                      <a:srgbClr val="505050"/>
                    </a:gs>
                  </a:gsLst>
                  <a:lin ang="5400000" scaled="0"/>
                </a:gradFill>
              </a:rPr>
              <a:pPr defTabSz="914367"/>
              <a:t>‹#›</a:t>
            </a:fld>
            <a:endParaRPr lang="en-US"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1750301332"/>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1"/>
            <a:ext cx="5997398" cy="73152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271435"/>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77015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429734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53246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7843121"/>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57925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624841"/>
            <a:ext cx="1366440" cy="312115"/>
          </a:xfrm>
          <a:prstGeom prst="rect">
            <a:avLst/>
          </a:prstGeom>
        </p:spPr>
      </p:pic>
    </p:spTree>
    <p:extLst>
      <p:ext uri="{BB962C8B-B14F-4D97-AF65-F5344CB8AC3E}">
        <p14:creationId xmlns:p14="http://schemas.microsoft.com/office/powerpoint/2010/main" val="6886026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53246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686975"/>
            <a:ext cx="12192001" cy="628227"/>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0439562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1_Title Slide">
    <p:bg bwMode="gray">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CB9D2F-F5F8-42D4-BF59-2CA4DB9E49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7315200"/>
          </a:xfrm>
          <a:prstGeom prst="rect">
            <a:avLst/>
          </a:prstGeom>
        </p:spPr>
      </p:pic>
      <p:sp>
        <p:nvSpPr>
          <p:cNvPr id="4" name="Rectangle 3">
            <a:extLst>
              <a:ext uri="{FF2B5EF4-FFF2-40B4-BE49-F238E27FC236}">
                <a16:creationId xmlns:a16="http://schemas.microsoft.com/office/drawing/2014/main" id="{E6DB8C22-FB56-485D-B4F9-E8FC084E9ED0}"/>
              </a:ext>
            </a:extLst>
          </p:cNvPr>
          <p:cNvSpPr/>
          <p:nvPr userDrawn="1"/>
        </p:nvSpPr>
        <p:spPr bwMode="auto">
          <a:xfrm>
            <a:off x="269303" y="2943042"/>
            <a:ext cx="6545155" cy="3825827"/>
          </a:xfrm>
          <a:prstGeom prst="rect">
            <a:avLst/>
          </a:prstGeom>
          <a:solidFill>
            <a:schemeClr val="bg2">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3" y="2943041"/>
            <a:ext cx="6545155" cy="1912629"/>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3" y="4857054"/>
            <a:ext cx="6545155" cy="1911814"/>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4" y="501405"/>
            <a:ext cx="1423303" cy="325150"/>
          </a:xfrm>
          <a:prstGeom prst="rect">
            <a:avLst/>
          </a:prstGeom>
        </p:spPr>
      </p:pic>
    </p:spTree>
    <p:extLst>
      <p:ext uri="{BB962C8B-B14F-4D97-AF65-F5344CB8AC3E}">
        <p14:creationId xmlns:p14="http://schemas.microsoft.com/office/powerpoint/2010/main" val="23665951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2_Title Slide">
    <p:bg bwMode="gray">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77" y="0"/>
            <a:ext cx="12187646" cy="7315200"/>
          </a:xfrm>
          <a:prstGeom prst="rect">
            <a:avLst/>
          </a:prstGeom>
        </p:spPr>
      </p:pic>
      <p:sp>
        <p:nvSpPr>
          <p:cNvPr id="6" name="Rectangle 5"/>
          <p:cNvSpPr/>
          <p:nvPr userDrawn="1"/>
        </p:nvSpPr>
        <p:spPr bwMode="auto">
          <a:xfrm>
            <a:off x="-1" y="0"/>
            <a:ext cx="8065827" cy="7315200"/>
          </a:xfrm>
          <a:prstGeom prst="rect">
            <a:avLst/>
          </a:prstGeom>
          <a:gradFill>
            <a:gsLst>
              <a:gs pos="28000">
                <a:srgbClr val="000000">
                  <a:alpha val="56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3" y="1743587"/>
            <a:ext cx="6545155" cy="1912629"/>
          </a:xfrm>
          <a:noFill/>
        </p:spPr>
        <p:txBody>
          <a:bodyPr lIns="146304" tIns="91440" rIns="146304" bIns="91440" anchor="t" anchorCtr="0"/>
          <a:lstStyle>
            <a:lvl1pPr algn="l">
              <a:defRPr sz="5293" cap="none" spc="-98" baseline="0">
                <a:solidFill>
                  <a:schemeClr val="tx1"/>
                </a:solidFill>
                <a:latin typeface="+mj-lt"/>
              </a:defRPr>
            </a:lvl1pPr>
          </a:lstStyle>
          <a:p>
            <a:r>
              <a:rPr lang="en-US"/>
              <a:t>Presentation title</a:t>
            </a:r>
          </a:p>
        </p:txBody>
      </p:sp>
      <p:sp>
        <p:nvSpPr>
          <p:cNvPr id="5" name="Text Placeholder 4"/>
          <p:cNvSpPr>
            <a:spLocks noGrp="1"/>
          </p:cNvSpPr>
          <p:nvPr>
            <p:ph type="body" sz="quarter" idx="12" hasCustomPrompt="1"/>
          </p:nvPr>
        </p:nvSpPr>
        <p:spPr bwMode="gray">
          <a:xfrm>
            <a:off x="269303" y="3657600"/>
            <a:ext cx="6545155" cy="1911814"/>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4" y="501405"/>
            <a:ext cx="1423303" cy="325150"/>
          </a:xfrm>
          <a:prstGeom prst="rect">
            <a:avLst/>
          </a:prstGeom>
        </p:spPr>
      </p:pic>
    </p:spTree>
    <p:extLst>
      <p:ext uri="{BB962C8B-B14F-4D97-AF65-F5344CB8AC3E}">
        <p14:creationId xmlns:p14="http://schemas.microsoft.com/office/powerpoint/2010/main" val="33358318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268457"/>
            <a:ext cx="11653523" cy="1728615"/>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7355205"/>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268457"/>
            <a:ext cx="11653523" cy="1728615"/>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8422757"/>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268455"/>
            <a:ext cx="11653523" cy="1932837"/>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7201499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WWIC Rev Map ">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56" y="1662"/>
          <a:ext cx="1556" cy="1660"/>
        </p:xfrm>
        <a:graphic>
          <a:graphicData uri="http://schemas.openxmlformats.org/presentationml/2006/ole">
            <mc:AlternateContent xmlns:mc="http://schemas.openxmlformats.org/markup-compatibility/2006">
              <mc:Choice xmlns:v="urn:schemas-microsoft-com:vml" Requires="v">
                <p:oleObj spid="_x0000_s930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6" y="1662"/>
                        <a:ext cx="1556" cy="166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2"/>
          <p:cNvSpPr>
            <a:spLocks noGrp="1"/>
          </p:cNvSpPr>
          <p:nvPr>
            <p:ph type="title"/>
          </p:nvPr>
        </p:nvSpPr>
        <p:spPr>
          <a:xfrm>
            <a:off x="448216" y="-40221"/>
            <a:ext cx="10936849" cy="836907"/>
          </a:xfrm>
        </p:spPr>
        <p:txBody>
          <a:bodyPr/>
          <a:lstStyle>
            <a:lvl1pPr>
              <a:defRPr sz="392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084206656"/>
      </p:ext>
    </p:extLst>
  </p:cSld>
  <p:clrMapOvr>
    <a:overrideClrMapping bg1="lt1" tx1="dk1" bg2="lt2" tx2="dk2" accent1="accent1" accent2="accent2" accent3="accent3" accent4="accent4" accent5="accent5" accent6="accent6" hlink="hlink" folHlink="folHlink"/>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268456"/>
            <a:ext cx="11653523" cy="1698927"/>
          </a:xfrm>
        </p:spPr>
        <p:txBody>
          <a:bodyPr>
            <a:spAutoFit/>
          </a:bodyPr>
          <a:lstStyle>
            <a:lvl1pPr>
              <a:defRPr sz="2400">
                <a:latin typeface="Segoe UI Semilight" panose="020B0402040204020203" pitchFamily="34" charset="0"/>
                <a:cs typeface="Segoe UI Semilight" panose="020B0402040204020203" pitchFamily="34" charset="0"/>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0FA09FA5-87FE-4058-ABAF-64E38F7870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3435040"/>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268453"/>
            <a:ext cx="5378548" cy="1908471"/>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268453"/>
            <a:ext cx="5378548" cy="1908471"/>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7148095"/>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268453"/>
            <a:ext cx="5378548" cy="1908471"/>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268453"/>
            <a:ext cx="5378548" cy="1908471"/>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1850397"/>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268456"/>
            <a:ext cx="5378548" cy="1980863"/>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268456"/>
            <a:ext cx="5378548" cy="1980863"/>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8670677"/>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268456"/>
            <a:ext cx="5378548" cy="1980863"/>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268456"/>
            <a:ext cx="5378548" cy="1980863"/>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6528172"/>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27849133"/>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308812"/>
            <a:ext cx="11655840" cy="959643"/>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268454"/>
            <a:ext cx="12192000" cy="6054462"/>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40" y="2054065"/>
            <a:ext cx="11655839" cy="307777"/>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1391552977"/>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1_Title and stage">
    <p:spTree>
      <p:nvGrpSpPr>
        <p:cNvPr id="1" name=""/>
        <p:cNvGrpSpPr/>
        <p:nvPr/>
      </p:nvGrpSpPr>
      <p:grpSpPr>
        <a:xfrm>
          <a:off x="0" y="0"/>
          <a:ext cx="0" cy="0"/>
          <a:chOff x="0" y="0"/>
          <a:chExt cx="0" cy="0"/>
        </a:xfrm>
      </p:grpSpPr>
      <p:sp>
        <p:nvSpPr>
          <p:cNvPr id="2" name="Title 1"/>
          <p:cNvSpPr>
            <a:spLocks noGrp="1"/>
          </p:cNvSpPr>
          <p:nvPr>
            <p:ph type="title"/>
          </p:nvPr>
        </p:nvSpPr>
        <p:spPr>
          <a:xfrm>
            <a:off x="269240" y="308812"/>
            <a:ext cx="11655840" cy="959643"/>
          </a:xfrm>
        </p:spPr>
        <p:txBody>
          <a:bodyPr/>
          <a:lstStyle>
            <a:lvl1pPr algn="l">
              <a:defRPr/>
            </a:lvl1pPr>
          </a:lstStyle>
          <a:p>
            <a:r>
              <a:rPr lang="en-US"/>
              <a:t>Click to edit Master title style</a:t>
            </a:r>
          </a:p>
        </p:txBody>
      </p:sp>
      <p:sp>
        <p:nvSpPr>
          <p:cNvPr id="3" name="Rectangle 2">
            <a:extLst>
              <a:ext uri="{FF2B5EF4-FFF2-40B4-BE49-F238E27FC236}">
                <a16:creationId xmlns:a16="http://schemas.microsoft.com/office/drawing/2014/main" id="{E8FBB2BD-846C-4813-B494-1EA4319C74C7}"/>
              </a:ext>
            </a:extLst>
          </p:cNvPr>
          <p:cNvSpPr/>
          <p:nvPr userDrawn="1"/>
        </p:nvSpPr>
        <p:spPr>
          <a:xfrm>
            <a:off x="0" y="1567984"/>
            <a:ext cx="12192000" cy="5754932"/>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6" name="Text Placeholder 5">
            <a:extLst>
              <a:ext uri="{FF2B5EF4-FFF2-40B4-BE49-F238E27FC236}">
                <a16:creationId xmlns:a16="http://schemas.microsoft.com/office/drawing/2014/main" id="{D51B25BF-04D3-438D-B22A-D496C649A19B}"/>
              </a:ext>
            </a:extLst>
          </p:cNvPr>
          <p:cNvSpPr>
            <a:spLocks noGrp="1"/>
          </p:cNvSpPr>
          <p:nvPr>
            <p:ph type="body" sz="quarter" idx="10"/>
          </p:nvPr>
        </p:nvSpPr>
        <p:spPr>
          <a:xfrm>
            <a:off x="269240" y="2054065"/>
            <a:ext cx="11655839" cy="307777"/>
          </a:xfrm>
          <a:noFill/>
        </p:spPr>
        <p:txBody>
          <a:bodyPr wrap="square" lIns="91440" tIns="45720" rIns="91440" bIns="45720" rtlCol="0">
            <a:spAutoFit/>
          </a:bodyPr>
          <a:lstStyle>
            <a:lvl1pPr marL="0" indent="0">
              <a:buNone/>
              <a:defRPr lang="en-US" sz="1400" b="1" dirty="0" smtClean="0">
                <a:solidFill>
                  <a:schemeClr val="tx2"/>
                </a:solidFill>
                <a:latin typeface="Segoe UI Semibold" charset="0"/>
                <a:ea typeface="Segoe UI Semibold" charset="0"/>
                <a:cs typeface="Segoe UI Semibold" charset="0"/>
              </a:defRPr>
            </a:lvl1pPr>
          </a:lstStyle>
          <a:p>
            <a:pPr marL="0" lvl="0" defTabSz="914400"/>
            <a:r>
              <a:rPr lang="en-US"/>
              <a:t>Edit Master text styles</a:t>
            </a:r>
          </a:p>
        </p:txBody>
      </p:sp>
    </p:spTree>
    <p:extLst>
      <p:ext uri="{BB962C8B-B14F-4D97-AF65-F5344CB8AC3E}">
        <p14:creationId xmlns:p14="http://schemas.microsoft.com/office/powerpoint/2010/main" val="2061553026"/>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308812"/>
            <a:ext cx="5021217" cy="1116203"/>
          </a:xfrm>
        </p:spPr>
        <p:txBody>
          <a:bodyPr vert="horz" wrap="square" lIns="146304" tIns="91440" rIns="146304" bIns="91440" rtlCol="0" anchor="t">
            <a:noAutofit/>
          </a:bodyPr>
          <a:lstStyle>
            <a:lvl1pPr algn="l">
              <a:defRPr lang="en-US" sz="2800" cap="all" spc="500">
                <a:solidFill>
                  <a:schemeClr val="tx2"/>
                </a:solidFill>
                <a:latin typeface="Segoe UI Semilight" charset="0"/>
                <a:cs typeface="Segoe UI Semilight" charset="0"/>
              </a:defRPr>
            </a:lvl1pPr>
          </a:lstStyle>
          <a:p>
            <a:pPr marL="0" lvl="0" defTabSz="914400">
              <a:lnSpc>
                <a:spcPct val="100000"/>
              </a:lnSpc>
            </a:pPr>
            <a:r>
              <a:rPr lang="en-US"/>
              <a:t>Click to edit Master title style</a:t>
            </a:r>
          </a:p>
        </p:txBody>
      </p:sp>
    </p:spTree>
    <p:extLst>
      <p:ext uri="{BB962C8B-B14F-4D97-AF65-F5344CB8AC3E}">
        <p14:creationId xmlns:p14="http://schemas.microsoft.com/office/powerpoint/2010/main" val="849453872"/>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Pentagon 684"/>
          <p:cNvSpPr/>
          <p:nvPr userDrawn="1"/>
        </p:nvSpPr>
        <p:spPr>
          <a:xfrm>
            <a:off x="1" y="0"/>
            <a:ext cx="5347062" cy="7315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p:nvPr>
        </p:nvSpPr>
        <p:spPr>
          <a:xfrm>
            <a:off x="593989" y="2128763"/>
            <a:ext cx="4147828" cy="3057675"/>
          </a:xfrm>
        </p:spPr>
        <p:txBody>
          <a:bodyPr anchor="ctr">
            <a:normAutofit/>
          </a:bodyPr>
          <a:lstStyle>
            <a:lvl1pPr algn="l">
              <a:lnSpc>
                <a:spcPct val="100000"/>
              </a:lnSpc>
              <a:defRPr lang="en-US" sz="3200" kern="1200" cap="all" spc="500" dirty="0">
                <a:ln w="3175">
                  <a:noFill/>
                </a:ln>
                <a:solidFill>
                  <a:srgbClr val="FFFFFF"/>
                </a:solidFill>
                <a:latin typeface="Segoe UI Semilight" charset="0"/>
                <a:ea typeface="+mn-ea"/>
                <a:cs typeface="Segoe UI Semilight" charset="0"/>
              </a:defRPr>
            </a:lvl1pPr>
          </a:lstStyle>
          <a:p>
            <a:r>
              <a:rPr lang="en-US"/>
              <a:t>Click to edit Master title style</a:t>
            </a:r>
          </a:p>
        </p:txBody>
      </p:sp>
    </p:spTree>
    <p:extLst>
      <p:ext uri="{BB962C8B-B14F-4D97-AF65-F5344CB8AC3E}">
        <p14:creationId xmlns:p14="http://schemas.microsoft.com/office/powerpoint/2010/main" val="191513903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97187"/>
            <a:ext cx="9144000" cy="2546773"/>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842174"/>
            <a:ext cx="9144000" cy="1766146"/>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067255F4-7C58-4BBA-A3F5-26B4C4AB0335}" type="datetimeFigureOut">
              <a:rPr lang="en-US" smtClean="0"/>
              <a:t>1/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4BE7A9A-2538-4781-A015-FF1A92A0C2AB}" type="slidenum">
              <a:rPr lang="en-US" smtClean="0"/>
              <a:t>‹#›</a:t>
            </a:fld>
            <a:endParaRPr lang="en-US"/>
          </a:p>
        </p:txBody>
      </p:sp>
    </p:spTree>
    <p:extLst>
      <p:ext uri="{BB962C8B-B14F-4D97-AF65-F5344CB8AC3E}">
        <p14:creationId xmlns:p14="http://schemas.microsoft.com/office/powerpoint/2010/main" val="3362788082"/>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1" y="2344216"/>
            <a:ext cx="5265119" cy="2025580"/>
          </a:xfrm>
        </p:spPr>
        <p:txBody>
          <a:bodyPr/>
          <a:lstStyle>
            <a:lvl1pPr marL="0" indent="0">
              <a:spcAft>
                <a:spcPts val="1800"/>
              </a:spcAft>
              <a:buNone/>
              <a:defRPr sz="2400" spc="100" baseline="0">
                <a:solidFill>
                  <a:schemeClr val="tx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2000" kern="1200" spc="100" baseline="0" dirty="0" smtClean="0">
                <a:solidFill>
                  <a:schemeClr val="tx1"/>
                </a:solidFill>
                <a:latin typeface="+mn-lt"/>
                <a:ea typeface="+mn-ea"/>
                <a:cs typeface="Times New Roman" panose="02020603050405020304" pitchFamily="18" charset="0"/>
              </a:defRPr>
            </a:lvl2pPr>
            <a:lvl3pPr marL="569913" indent="-228600" defTabSz="762000">
              <a:buClr>
                <a:schemeClr val="tx2"/>
              </a:buClr>
              <a:defRPr spc="100" baseline="0">
                <a:solidFill>
                  <a:schemeClr val="tx1"/>
                </a:solidFill>
              </a:defRPr>
            </a:lvl3pPr>
            <a:lvl4pPr marL="914400" indent="-228600" defTabSz="762000">
              <a:buClr>
                <a:schemeClr val="tx2"/>
              </a:buClr>
              <a:defRPr spc="100" baseline="0">
                <a:solidFill>
                  <a:schemeClr val="tx1"/>
                </a:solidFill>
              </a:defRPr>
            </a:lvl4pPr>
            <a:lvl5pPr marL="1258888" indent="-228600" defTabSz="762000">
              <a:buClr>
                <a:schemeClr val="tx2"/>
              </a:buClr>
              <a:defRPr spc="100" baseline="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3D3ED6A4-84B5-4E0F-AACB-5DDD65A08580}"/>
              </a:ext>
            </a:extLst>
          </p:cNvPr>
          <p:cNvSpPr/>
          <p:nvPr userDrawn="1"/>
        </p:nvSpPr>
        <p:spPr>
          <a:xfrm>
            <a:off x="6253843" y="1"/>
            <a:ext cx="5938157" cy="7322916"/>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1" y="308812"/>
            <a:ext cx="5265119" cy="1725510"/>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28510639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1_Case study">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69241" y="2344216"/>
            <a:ext cx="5265119" cy="2025580"/>
          </a:xfrm>
        </p:spPr>
        <p:txBody>
          <a:bodyPr/>
          <a:lstStyle>
            <a:lvl1pPr marL="0" indent="0">
              <a:spcAft>
                <a:spcPts val="1800"/>
              </a:spcAft>
              <a:buNone/>
              <a:defRPr sz="2400" spc="100" baseline="0">
                <a:solidFill>
                  <a:schemeClr val="bg1"/>
                </a:solidFill>
              </a:defRPr>
            </a:lvl1pPr>
            <a:lvl2pPr marL="160020" indent="-160020" algn="l" defTabSz="762000" rtl="0" eaLnBrk="1" latinLnBrk="0" hangingPunct="1">
              <a:lnSpc>
                <a:spcPct val="107000"/>
              </a:lnSpc>
              <a:spcBef>
                <a:spcPts val="0"/>
              </a:spcBef>
              <a:spcAft>
                <a:spcPts val="600"/>
              </a:spcAft>
              <a:buClr>
                <a:schemeClr val="tx2"/>
              </a:buClr>
              <a:buFont typeface="Arial" panose="020B0604020202020204" pitchFamily="34" charset="0"/>
              <a:buChar char="•"/>
              <a:defRPr lang="en-US" sz="2000" kern="1200" spc="100" baseline="0" dirty="0" smtClean="0">
                <a:solidFill>
                  <a:schemeClr val="bg1"/>
                </a:solidFill>
                <a:latin typeface="+mn-lt"/>
                <a:ea typeface="+mn-ea"/>
                <a:cs typeface="Times New Roman" panose="02020603050405020304" pitchFamily="18" charset="0"/>
              </a:defRPr>
            </a:lvl2pPr>
            <a:lvl3pPr marL="569913" indent="-228600" defTabSz="762000">
              <a:buClr>
                <a:schemeClr val="tx2"/>
              </a:buClr>
              <a:defRPr spc="100" baseline="0">
                <a:solidFill>
                  <a:schemeClr val="bg1"/>
                </a:solidFill>
              </a:defRPr>
            </a:lvl3pPr>
            <a:lvl4pPr marL="914400" indent="-228600" defTabSz="762000">
              <a:buClr>
                <a:schemeClr val="tx2"/>
              </a:buClr>
              <a:defRPr spc="100" baseline="0">
                <a:solidFill>
                  <a:schemeClr val="bg1"/>
                </a:solidFill>
              </a:defRPr>
            </a:lvl4pPr>
            <a:lvl5pPr marL="1258888" indent="-228600" defTabSz="762000">
              <a:buClr>
                <a:schemeClr val="tx2"/>
              </a:buClr>
              <a:defRPr spc="100" baseline="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a:extLst>
              <a:ext uri="{FF2B5EF4-FFF2-40B4-BE49-F238E27FC236}">
                <a16:creationId xmlns:a16="http://schemas.microsoft.com/office/drawing/2014/main" id="{146F0AFE-AADD-4A6A-8100-DF623625BB3F}"/>
              </a:ext>
            </a:extLst>
          </p:cNvPr>
          <p:cNvSpPr>
            <a:spLocks noGrp="1"/>
          </p:cNvSpPr>
          <p:nvPr>
            <p:ph type="title"/>
          </p:nvPr>
        </p:nvSpPr>
        <p:spPr>
          <a:xfrm>
            <a:off x="269241" y="308812"/>
            <a:ext cx="5265119" cy="1725510"/>
          </a:xfrm>
        </p:spPr>
        <p:txBody>
          <a:bodyPr/>
          <a:lstStyle>
            <a:lvl1pPr algn="l">
              <a:defRPr>
                <a:solidFill>
                  <a:schemeClr val="bg1"/>
                </a:solidFill>
              </a:defRPr>
            </a:lvl1pPr>
          </a:lstStyle>
          <a:p>
            <a:r>
              <a:rPr lang="en-US"/>
              <a:t>Click to edit Master title style</a:t>
            </a:r>
          </a:p>
        </p:txBody>
      </p:sp>
      <p:sp>
        <p:nvSpPr>
          <p:cNvPr id="5" name="Rectangle 4">
            <a:extLst>
              <a:ext uri="{FF2B5EF4-FFF2-40B4-BE49-F238E27FC236}">
                <a16:creationId xmlns:a16="http://schemas.microsoft.com/office/drawing/2014/main" id="{3D3ED6A4-84B5-4E0F-AACB-5DDD65A08580}"/>
              </a:ext>
            </a:extLst>
          </p:cNvPr>
          <p:cNvSpPr/>
          <p:nvPr userDrawn="1"/>
        </p:nvSpPr>
        <p:spPr>
          <a:xfrm>
            <a:off x="6253843" y="1"/>
            <a:ext cx="5938157" cy="732291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17937445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6404DEB-A2FD-47E2-863C-BC52EB636058}"/>
              </a:ext>
            </a:extLst>
          </p:cNvPr>
          <p:cNvSpPr>
            <a:spLocks noGrp="1"/>
          </p:cNvSpPr>
          <p:nvPr>
            <p:ph type="title" hasCustomPrompt="1"/>
          </p:nvPr>
        </p:nvSpPr>
        <p:spPr>
          <a:xfrm>
            <a:off x="1166442" y="3290169"/>
            <a:ext cx="9859116" cy="738664"/>
          </a:xfrm>
          <a:noFill/>
        </p:spPr>
        <p:txBody>
          <a:bodyPr tIns="91440" bIns="91440" anchor="t" anchorCtr="0">
            <a:spAutoFit/>
          </a:bodyPr>
          <a:lstStyle>
            <a:lvl1pPr algn="ctr">
              <a:defRPr lang="en-US" sz="40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Demo title</a:t>
            </a:r>
          </a:p>
        </p:txBody>
      </p:sp>
      <p:sp>
        <p:nvSpPr>
          <p:cNvPr id="2" name="Rectangle 1"/>
          <p:cNvSpPr/>
          <p:nvPr userDrawn="1"/>
        </p:nvSpPr>
        <p:spPr>
          <a:xfrm>
            <a:off x="5550819" y="2896214"/>
            <a:ext cx="1090362" cy="369332"/>
          </a:xfrm>
          <a:prstGeom prst="rect">
            <a:avLst/>
          </a:prstGeom>
        </p:spPr>
        <p:txBody>
          <a:bodyPr wrap="none">
            <a:spAutoFit/>
          </a:bodyPr>
          <a:lstStyle/>
          <a:p>
            <a:pPr algn="ctr">
              <a:spcBef>
                <a:spcPts val="1200"/>
              </a:spcBef>
              <a:defRPr/>
            </a:pPr>
            <a:r>
              <a:rPr lang="en-US" sz="1800" cap="all" spc="500" dirty="0">
                <a:solidFill>
                  <a:srgbClr val="FFFFFF"/>
                </a:solidFill>
                <a:latin typeface="Segoe UI Semilight" charset="0"/>
                <a:ea typeface="Segoe UI Semilight" charset="0"/>
                <a:cs typeface="Segoe UI Semilight" charset="0"/>
              </a:rPr>
              <a:t>DEMO</a:t>
            </a:r>
          </a:p>
        </p:txBody>
      </p:sp>
    </p:spTree>
    <p:extLst>
      <p:ext uri="{BB962C8B-B14F-4D97-AF65-F5344CB8AC3E}">
        <p14:creationId xmlns:p14="http://schemas.microsoft.com/office/powerpoint/2010/main" val="30143664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290169"/>
            <a:ext cx="9859116" cy="849463"/>
          </a:xfrm>
          <a:noFill/>
        </p:spPr>
        <p:txBody>
          <a:bodyPr tIns="91440" bIns="91440" anchor="t" anchorCtr="0">
            <a:spAutoFit/>
          </a:bodyPr>
          <a:lstStyle>
            <a:lvl1pPr algn="l">
              <a:defRPr lang="en-US" sz="48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1532952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223118"/>
            <a:ext cx="11653523" cy="1161921"/>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08082083"/>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223118"/>
            <a:ext cx="11653523" cy="1161921"/>
          </a:xfrm>
          <a:noFill/>
        </p:spPr>
        <p:txBody>
          <a:bodyPr tIns="91440" bIns="91440" anchor="t" anchorCtr="0">
            <a:spAutoFit/>
          </a:bodyPr>
          <a:lstStyle>
            <a:lvl1pPr algn="l">
              <a:defRPr sz="7056" cap="none"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070958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Case study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044A0-101A-4FC0-8461-808AD7E0604F}"/>
              </a:ext>
            </a:extLst>
          </p:cNvPr>
          <p:cNvSpPr>
            <a:spLocks noGrp="1"/>
          </p:cNvSpPr>
          <p:nvPr>
            <p:ph type="title"/>
          </p:nvPr>
        </p:nvSpPr>
        <p:spPr>
          <a:xfrm>
            <a:off x="269241" y="308813"/>
            <a:ext cx="5606043" cy="959643"/>
          </a:xfrm>
        </p:spPr>
        <p:txBody>
          <a:bodyPr/>
          <a:lstStyle>
            <a:lvl1pPr algn="l">
              <a:defRPr/>
            </a:lvl1pPr>
          </a:lstStyle>
          <a:p>
            <a:r>
              <a:rPr lang="en-US"/>
              <a:t>Click to edit Master title style</a:t>
            </a:r>
          </a:p>
        </p:txBody>
      </p:sp>
      <p:sp>
        <p:nvSpPr>
          <p:cNvPr id="9" name="Text Placeholder 8">
            <a:extLst>
              <a:ext uri="{FF2B5EF4-FFF2-40B4-BE49-F238E27FC236}">
                <a16:creationId xmlns:a16="http://schemas.microsoft.com/office/drawing/2014/main" id="{90E9AADF-3FC2-4C6C-B73A-4CB1DCC20CFA}"/>
              </a:ext>
            </a:extLst>
          </p:cNvPr>
          <p:cNvSpPr>
            <a:spLocks noGrp="1"/>
          </p:cNvSpPr>
          <p:nvPr>
            <p:ph type="body" sz="quarter" idx="11"/>
          </p:nvPr>
        </p:nvSpPr>
        <p:spPr>
          <a:xfrm>
            <a:off x="269240" y="1982362"/>
            <a:ext cx="5606043" cy="948772"/>
          </a:xfrm>
        </p:spPr>
        <p:txBody>
          <a:bodyPr/>
          <a:lstStyle>
            <a:lvl1pPr marL="0" indent="0">
              <a:spcAft>
                <a:spcPts val="0"/>
              </a:spcAft>
              <a:buNone/>
              <a:defRPr kumimoji="0" lang="en-US" sz="1600" b="0" i="0" u="none" strike="noStrike" kern="1200" cap="none" spc="100" normalizeH="0" baseline="0" dirty="0" smtClean="0">
                <a:ln>
                  <a:noFill/>
                </a:ln>
                <a:solidFill>
                  <a:srgbClr val="0078D7"/>
                </a:solidFill>
                <a:effectLst/>
                <a:uLnTx/>
                <a:uFillTx/>
                <a:latin typeface="Segoe UI Semilight" charset="0"/>
                <a:ea typeface="Segoe UI Semilight" charset="0"/>
                <a:cs typeface="Segoe UI Semilight" charset="0"/>
              </a:defRPr>
            </a:lvl1pPr>
            <a:lvl2pPr marL="0" indent="0">
              <a:spcAft>
                <a:spcPts val="600"/>
              </a:spcAft>
              <a:buClr>
                <a:schemeClr val="tx2"/>
              </a:buClr>
              <a:buFont typeface="Arial" panose="020B0604020202020204" pitchFamily="34" charset="0"/>
              <a:buNone/>
              <a:defRPr kumimoji="0" lang="en-US" sz="1400" b="0" i="0" u="none" strike="noStrike" kern="1200" cap="none" spc="100" normalizeH="0" baseline="0" dirty="0" smtClean="0">
                <a:ln>
                  <a:noFill/>
                </a:ln>
                <a:solidFill>
                  <a:srgbClr val="D2D2D2">
                    <a:lumMod val="10000"/>
                  </a:srgbClr>
                </a:solidFill>
                <a:effectLst/>
                <a:uLnTx/>
                <a:uFillTx/>
                <a:latin typeface="Segoe UI Semilight" charset="0"/>
                <a:ea typeface="Segoe UI Semilight" charset="0"/>
                <a:cs typeface="Segoe UI Semilight" charset="0"/>
              </a:defRPr>
            </a:lvl2pPr>
            <a:lvl3pPr marL="0" indent="0">
              <a:buNone/>
              <a:defRPr kumimoji="0" lang="en-US" sz="1000" b="1" i="0" u="none" strike="noStrike" kern="1200" cap="none" spc="100" normalizeH="0" baseline="0" dirty="0" smtClean="0">
                <a:ln>
                  <a:noFill/>
                </a:ln>
                <a:solidFill>
                  <a:srgbClr val="0078D7"/>
                </a:solidFill>
                <a:effectLst/>
                <a:uLnTx/>
                <a:uFillTx/>
                <a:latin typeface="Segoe UI Semibold" charset="0"/>
                <a:ea typeface="Segoe UI Semibold" charset="0"/>
                <a:cs typeface="Segoe UI Semibold" charset="0"/>
              </a:defRPr>
            </a:lvl3pPr>
          </a:lstStyle>
          <a:p>
            <a:pPr lvl="0"/>
            <a:r>
              <a:rPr lang="en-US"/>
              <a:t>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780E5592-BCF2-4359-A15B-37F10939823B}"/>
              </a:ext>
            </a:extLst>
          </p:cNvPr>
          <p:cNvSpPr/>
          <p:nvPr userDrawn="1"/>
        </p:nvSpPr>
        <p:spPr bwMode="auto">
          <a:xfrm>
            <a:off x="0" y="5937719"/>
            <a:ext cx="12192000" cy="1377482"/>
          </a:xfrm>
          <a:prstGeom prst="rect">
            <a:avLst/>
          </a:prstGeom>
          <a:solidFill>
            <a:schemeClr val="bg1">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dirty="0"/>
          </a:p>
        </p:txBody>
      </p:sp>
    </p:spTree>
    <p:extLst>
      <p:ext uri="{BB962C8B-B14F-4D97-AF65-F5344CB8AC3E}">
        <p14:creationId xmlns:p14="http://schemas.microsoft.com/office/powerpoint/2010/main" val="2151217239"/>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0628428"/>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382089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68454"/>
            <a:ext cx="12192000" cy="604674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277145"/>
            <a:ext cx="11653522" cy="1827295"/>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299165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67255F4-7C58-4BBA-A3F5-26B4C4AB0335}" type="datetimeFigureOut">
              <a:rPr lang="en-US" smtClean="0"/>
              <a:t>1/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4BE7A9A-2538-4781-A015-FF1A92A0C2AB}" type="slidenum">
              <a:rPr lang="en-US" smtClean="0"/>
              <a:t>‹#›</a:t>
            </a:fld>
            <a:endParaRPr lang="en-US"/>
          </a:p>
        </p:txBody>
      </p:sp>
    </p:spTree>
    <p:extLst>
      <p:ext uri="{BB962C8B-B14F-4D97-AF65-F5344CB8AC3E}">
        <p14:creationId xmlns:p14="http://schemas.microsoft.com/office/powerpoint/2010/main" val="2229716765"/>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583059"/>
            <a:ext cx="11653522" cy="39515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5" y="3289229"/>
            <a:ext cx="3227129" cy="738194"/>
          </a:xfrm>
          <a:prstGeom prst="rect">
            <a:avLst/>
          </a:prstGeom>
        </p:spPr>
      </p:pic>
    </p:spTree>
    <p:extLst>
      <p:ext uri="{BB962C8B-B14F-4D97-AF65-F5344CB8AC3E}">
        <p14:creationId xmlns:p14="http://schemas.microsoft.com/office/powerpoint/2010/main" val="1878001802"/>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583059"/>
            <a:ext cx="11653522" cy="39515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7" y="3289229"/>
            <a:ext cx="3227129" cy="738196"/>
          </a:xfrm>
          <a:prstGeom prst="rect">
            <a:avLst/>
          </a:prstGeom>
        </p:spPr>
      </p:pic>
    </p:spTree>
    <p:extLst>
      <p:ext uri="{BB962C8B-B14F-4D97-AF65-F5344CB8AC3E}">
        <p14:creationId xmlns:p14="http://schemas.microsoft.com/office/powerpoint/2010/main" val="27256664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268457"/>
            <a:ext cx="11653523" cy="2610138"/>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654802"/>
            <a:ext cx="12192001" cy="66040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6707226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0826101"/>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1_Table">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7870FC6-F50E-42D7-B5D9-299E58ACDB1B}"/>
              </a:ext>
            </a:extLst>
          </p:cNvPr>
          <p:cNvSpPr>
            <a:spLocks noGrp="1"/>
          </p:cNvSpPr>
          <p:nvPr>
            <p:ph sz="quarter" idx="10"/>
          </p:nvPr>
        </p:nvSpPr>
        <p:spPr>
          <a:xfrm>
            <a:off x="648731" y="2054586"/>
            <a:ext cx="10894537" cy="553998"/>
          </a:xfrm>
        </p:spPr>
        <p:txBody>
          <a:bodyPr/>
          <a:lstStyle/>
          <a:p>
            <a:pPr lvl="0"/>
            <a:endParaRPr lang="en-US"/>
          </a:p>
        </p:txBody>
      </p:sp>
      <p:sp>
        <p:nvSpPr>
          <p:cNvPr id="7" name="Title 6">
            <a:extLst>
              <a:ext uri="{FF2B5EF4-FFF2-40B4-BE49-F238E27FC236}">
                <a16:creationId xmlns:a16="http://schemas.microsoft.com/office/drawing/2014/main" id="{EC4F5F8F-32BE-4960-A9DA-291DF4CDAEB0}"/>
              </a:ext>
            </a:extLst>
          </p:cNvPr>
          <p:cNvSpPr>
            <a:spLocks noGrp="1"/>
          </p:cNvSpPr>
          <p:nvPr>
            <p:ph type="title"/>
          </p:nvPr>
        </p:nvSpPr>
        <p:spPr/>
        <p:txBody>
          <a:bodyPr/>
          <a:lstStyle>
            <a:lvl1pPr algn="ctr">
              <a:defRPr lang="en-US" sz="2399" b="0" kern="1200" cap="all" spc="1067" baseline="0" dirty="0" smtClean="0">
                <a:ln w="3175">
                  <a:noFill/>
                </a:ln>
                <a:solidFill>
                  <a:srgbClr val="0078D7"/>
                </a:solidFill>
                <a:effectLst/>
                <a:latin typeface="Segoe UI Semilight" charset="0"/>
                <a:ea typeface="Segoe UI Semilight" charset="0"/>
                <a:cs typeface="Segoe UI Semilight" charset="0"/>
              </a:defRPr>
            </a:lvl1pPr>
          </a:lstStyle>
          <a:p>
            <a:r>
              <a:rPr lang="en-US"/>
              <a:t>Click to edit Master title style</a:t>
            </a:r>
          </a:p>
        </p:txBody>
      </p:sp>
    </p:spTree>
    <p:extLst>
      <p:ext uri="{BB962C8B-B14F-4D97-AF65-F5344CB8AC3E}">
        <p14:creationId xmlns:p14="http://schemas.microsoft.com/office/powerpoint/2010/main" val="3533180895"/>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3" y="0"/>
            <a:ext cx="10383587" cy="805237"/>
          </a:xfrm>
        </p:spPr>
        <p:txBody>
          <a:bodyPr vert="horz" wrap="square" lIns="274320" tIns="182880" rIns="146304" bIns="91440" rtlCol="0" anchor="t" anchorCtr="0">
            <a:noAutofit/>
          </a:bodyPr>
          <a:lstStyle>
            <a:lvl1pPr>
              <a:defRPr lang="en-US" dirty="0"/>
            </a:lvl1pPr>
          </a:lstStyle>
          <a:p>
            <a:pPr lvl="0"/>
            <a:r>
              <a:rPr lang="en-US"/>
              <a:t>Click to edit Master title style</a:t>
            </a:r>
          </a:p>
        </p:txBody>
      </p:sp>
      <p:sp>
        <p:nvSpPr>
          <p:cNvPr id="5" name="Text Placeholder 4"/>
          <p:cNvSpPr>
            <a:spLocks noGrp="1"/>
          </p:cNvSpPr>
          <p:nvPr>
            <p:ph type="body" sz="quarter" idx="10"/>
          </p:nvPr>
        </p:nvSpPr>
        <p:spPr>
          <a:xfrm>
            <a:off x="269243" y="1301663"/>
            <a:ext cx="11550807" cy="5657686"/>
          </a:xfrm>
        </p:spPr>
        <p:txBody>
          <a:bodyPr>
            <a:normAutofit/>
          </a:bodyPr>
          <a:lstStyle>
            <a:lvl1pPr marL="210091" indent="-210091">
              <a:defRPr sz="2573"/>
            </a:lvl1pPr>
            <a:lvl2pPr marL="420181" indent="-210091">
              <a:defRPr sz="2206"/>
            </a:lvl2pPr>
            <a:lvl3pPr marL="630272" indent="-210091">
              <a:defRPr sz="1838"/>
            </a:lvl3pPr>
            <a:lvl4pPr marL="840362" indent="-210091">
              <a:defRPr sz="1655"/>
            </a:lvl4pPr>
            <a:lvl5pPr marL="1050453" indent="-210091">
              <a:defRPr sz="165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2"/>
          <p:cNvSpPr>
            <a:spLocks noGrp="1"/>
          </p:cNvSpPr>
          <p:nvPr>
            <p:ph type="ftr" sz="quarter" idx="3"/>
          </p:nvPr>
        </p:nvSpPr>
        <p:spPr>
          <a:xfrm>
            <a:off x="485057" y="6996050"/>
            <a:ext cx="3859607" cy="143449"/>
          </a:xfrm>
          <a:prstGeom prst="rect">
            <a:avLst/>
          </a:prstGeom>
        </p:spPr>
        <p:txBody>
          <a:bodyPr vert="horz" lIns="0" tIns="0" rIns="91440" bIns="0" rtlCol="0" anchor="ctr"/>
          <a:lstStyle>
            <a:lvl1pPr marL="0" algn="l" defTabSz="857219" rtl="0" eaLnBrk="1" latinLnBrk="0" hangingPunct="1">
              <a:defRPr lang="en-US" sz="827" kern="1200">
                <a:gradFill>
                  <a:gsLst>
                    <a:gs pos="2239">
                      <a:schemeClr val="tx1"/>
                    </a:gs>
                    <a:gs pos="11940">
                      <a:schemeClr val="tx1"/>
                    </a:gs>
                  </a:gsLst>
                  <a:lin ang="5400000" scaled="0"/>
                </a:gradFill>
                <a:latin typeface="+mn-lt"/>
                <a:ea typeface="+mn-ea"/>
                <a:cs typeface="+mn-cs"/>
              </a:defRPr>
            </a:lvl1pPr>
          </a:lstStyle>
          <a:p>
            <a:r>
              <a:rPr lang="en-US" dirty="0">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1"/>
          </p:nvPr>
        </p:nvSpPr>
        <p:spPr/>
        <p:txBody>
          <a:bodyPr/>
          <a:lstStyle/>
          <a:p>
            <a:pPr defTabSz="857219"/>
            <a:fld id="{27258FFF-F925-446B-8502-81C933981705}" type="slidenum">
              <a:rPr lang="en-US" smtClean="0">
                <a:gradFill>
                  <a:gsLst>
                    <a:gs pos="2239">
                      <a:srgbClr val="505050"/>
                    </a:gs>
                    <a:gs pos="11940">
                      <a:srgbClr val="505050"/>
                    </a:gs>
                  </a:gsLst>
                  <a:lin ang="5400000" scaled="0"/>
                </a:gradFill>
              </a:rPr>
              <a:pPr defTabSz="857219"/>
              <a:t>‹#›</a:t>
            </a:fld>
            <a:endParaRPr lang="en-US"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392516911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823721"/>
            <a:ext cx="10515600" cy="3042919"/>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895428"/>
            <a:ext cx="10515600" cy="1600199"/>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67255F4-7C58-4BBA-A3F5-26B4C4AB0335}" type="datetimeFigureOut">
              <a:rPr lang="en-US" smtClean="0"/>
              <a:t>1/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4BE7A9A-2538-4781-A015-FF1A92A0C2AB}" type="slidenum">
              <a:rPr lang="en-US" smtClean="0"/>
              <a:t>‹#›</a:t>
            </a:fld>
            <a:endParaRPr lang="en-US"/>
          </a:p>
        </p:txBody>
      </p:sp>
    </p:spTree>
    <p:extLst>
      <p:ext uri="{BB962C8B-B14F-4D97-AF65-F5344CB8AC3E}">
        <p14:creationId xmlns:p14="http://schemas.microsoft.com/office/powerpoint/2010/main" val="26172041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7" y="1614752"/>
            <a:ext cx="11653523" cy="2055306"/>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65634040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74639" y="1583798"/>
            <a:ext cx="5745161" cy="5004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583798"/>
            <a:ext cx="5745160" cy="5004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67255F4-7C58-4BBA-A3F5-26B4C4AB0335}" type="datetimeFigureOut">
              <a:rPr lang="en-US" smtClean="0"/>
              <a:t>1/8/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4BE7A9A-2538-4781-A015-FF1A92A0C2AB}" type="slidenum">
              <a:rPr lang="en-US" smtClean="0"/>
              <a:t>‹#›</a:t>
            </a:fld>
            <a:endParaRPr lang="en-US"/>
          </a:p>
        </p:txBody>
      </p:sp>
    </p:spTree>
    <p:extLst>
      <p:ext uri="{BB962C8B-B14F-4D97-AF65-F5344CB8AC3E}">
        <p14:creationId xmlns:p14="http://schemas.microsoft.com/office/powerpoint/2010/main" val="392518085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se study">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4040" y="807598"/>
            <a:ext cx="8633819" cy="1413934"/>
          </a:xfrm>
        </p:spPr>
        <p:txBody>
          <a:bodyPr>
            <a:normAutofit/>
          </a:bodyPr>
          <a:lstStyle>
            <a:lvl1pPr>
              <a:defRPr sz="4400">
                <a:solidFill>
                  <a:schemeClr val="bg1"/>
                </a:solidFill>
              </a:defRPr>
            </a:lvl1pPr>
          </a:lstStyle>
          <a:p>
            <a:r>
              <a:rPr lang="en-US" dirty="0"/>
              <a:t>Click to edit Master title style</a:t>
            </a:r>
          </a:p>
        </p:txBody>
      </p:sp>
      <p:sp>
        <p:nvSpPr>
          <p:cNvPr id="9" name="Text Placeholder 8"/>
          <p:cNvSpPr>
            <a:spLocks noGrp="1"/>
          </p:cNvSpPr>
          <p:nvPr>
            <p:ph type="body" sz="quarter" idx="10"/>
          </p:nvPr>
        </p:nvSpPr>
        <p:spPr>
          <a:xfrm>
            <a:off x="404569" y="2715782"/>
            <a:ext cx="5129791" cy="3195319"/>
          </a:xfrm>
        </p:spPr>
        <p:txBody>
          <a:bodyPr/>
          <a:lstStyle>
            <a:lvl1pPr marL="0" indent="0">
              <a:spcAft>
                <a:spcPts val="1800"/>
              </a:spcAft>
              <a:buNone/>
              <a:defRPr sz="2400">
                <a:solidFill>
                  <a:schemeClr val="bg1"/>
                </a:solidFill>
              </a:defRPr>
            </a:lvl1pPr>
            <a:lvl2pPr marL="160020" indent="-160020" algn="l" defTabSz="762000" rtl="0" eaLnBrk="1" latinLnBrk="0" hangingPunct="1">
              <a:lnSpc>
                <a:spcPct val="107000"/>
              </a:lnSpc>
              <a:spcBef>
                <a:spcPts val="0"/>
              </a:spcBef>
              <a:spcAft>
                <a:spcPts val="600"/>
              </a:spcAft>
              <a:buClr>
                <a:schemeClr val="accent2"/>
              </a:buClr>
              <a:buFont typeface="Arial" panose="020B0604020202020204" pitchFamily="34" charset="0"/>
              <a:buChar char="•"/>
              <a:defRPr lang="en-US" sz="2000" kern="1200" dirty="0" smtClean="0">
                <a:solidFill>
                  <a:schemeClr val="bg1"/>
                </a:solidFill>
                <a:latin typeface="+mn-lt"/>
                <a:ea typeface="+mn-ea"/>
                <a:cs typeface="Times New Roman" panose="02020603050405020304" pitchFamily="18" charset="0"/>
              </a:defRPr>
            </a:lvl2pPr>
            <a:lvl3pPr marL="569913" indent="-228600" defTabSz="762000">
              <a:buClr>
                <a:schemeClr val="accent2"/>
              </a:buClr>
              <a:defRPr>
                <a:solidFill>
                  <a:schemeClr val="bg1"/>
                </a:solidFill>
              </a:defRPr>
            </a:lvl3pPr>
            <a:lvl4pPr marL="914400" indent="-228600" defTabSz="762000">
              <a:buClr>
                <a:schemeClr val="accent2"/>
              </a:buClr>
              <a:defRPr>
                <a:solidFill>
                  <a:schemeClr val="bg1"/>
                </a:solidFill>
              </a:defRPr>
            </a:lvl4pPr>
            <a:lvl5pPr marL="1258888" indent="-228600" defTabSz="762000">
              <a:buClr>
                <a:schemeClr val="accent2"/>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472756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0000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167021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Pentagon 684"/>
          <p:cNvSpPr/>
          <p:nvPr userDrawn="1"/>
        </p:nvSpPr>
        <p:spPr>
          <a:xfrm>
            <a:off x="1" y="0"/>
            <a:ext cx="6096000" cy="7315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Title 1"/>
          <p:cNvSpPr>
            <a:spLocks noGrp="1"/>
          </p:cNvSpPr>
          <p:nvPr>
            <p:ph type="title"/>
          </p:nvPr>
        </p:nvSpPr>
        <p:spPr>
          <a:xfrm>
            <a:off x="593989" y="2128763"/>
            <a:ext cx="4908024" cy="3057675"/>
          </a:xfrm>
        </p:spPr>
        <p:txBody>
          <a:bodyPr anchor="ctr">
            <a:normAutofit/>
          </a:bodyPr>
          <a:lstStyle>
            <a:lvl1pPr>
              <a:defRPr sz="3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48245855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75299444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00321610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488903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87680"/>
            <a:ext cx="3932237" cy="170688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1053254"/>
            <a:ext cx="6172200" cy="519853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194560"/>
            <a:ext cx="3932237" cy="406569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67255F4-7C58-4BBA-A3F5-26B4C4AB0335}" type="datetimeFigureOut">
              <a:rPr lang="en-US" smtClean="0"/>
              <a:t>1/8/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4BE7A9A-2538-4781-A015-FF1A92A0C2AB}" type="slidenum">
              <a:rPr lang="en-US" smtClean="0"/>
              <a:t>‹#›</a:t>
            </a:fld>
            <a:endParaRPr lang="en-US"/>
          </a:p>
        </p:txBody>
      </p:sp>
    </p:spTree>
    <p:extLst>
      <p:ext uri="{BB962C8B-B14F-4D97-AF65-F5344CB8AC3E}">
        <p14:creationId xmlns:p14="http://schemas.microsoft.com/office/powerpoint/2010/main" val="120563515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87680"/>
            <a:ext cx="3932237" cy="170688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1053254"/>
            <a:ext cx="6172200" cy="519853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9" y="2194560"/>
            <a:ext cx="3932237" cy="406569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67255F4-7C58-4BBA-A3F5-26B4C4AB0335}" type="datetimeFigureOut">
              <a:rPr lang="en-US" smtClean="0"/>
              <a:t>1/8/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4BE7A9A-2538-4781-A015-FF1A92A0C2AB}" type="slidenum">
              <a:rPr lang="en-US" smtClean="0"/>
              <a:t>‹#›</a:t>
            </a:fld>
            <a:endParaRPr lang="en-US"/>
          </a:p>
        </p:txBody>
      </p:sp>
    </p:spTree>
    <p:extLst>
      <p:ext uri="{BB962C8B-B14F-4D97-AF65-F5344CB8AC3E}">
        <p14:creationId xmlns:p14="http://schemas.microsoft.com/office/powerpoint/2010/main" val="411570021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Full">
    <p:bg>
      <p:bgPr>
        <a:solidFill>
          <a:srgbClr val="0000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58633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7" y="1614752"/>
            <a:ext cx="11653523" cy="2055306"/>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041531692"/>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Quote Layout_Accent Color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223119"/>
            <a:ext cx="9860672" cy="959643"/>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9" y="5092067"/>
            <a:ext cx="5378549" cy="1120166"/>
          </a:xfrm>
        </p:spPr>
        <p:txBody>
          <a:bodyPr/>
          <a:lstStyle>
            <a:lvl1pPr marL="0" indent="0" algn="r">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239732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268455"/>
            <a:ext cx="11655078" cy="184460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6189469"/>
      </p:ext>
    </p:extLst>
  </p:cSld>
  <p:clrMapOvr>
    <a:masterClrMapping/>
  </p:clrMapOvr>
  <p:transition spd="slow">
    <p:push dir="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_Title Only_3">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890689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Diagram layout">
    <p:bg>
      <p:bgPr>
        <a:solidFill>
          <a:srgbClr val="000000"/>
        </a:solidFill>
        <a:effectLst/>
      </p:bgPr>
    </p:bg>
    <p:spTree>
      <p:nvGrpSpPr>
        <p:cNvPr id="1" name=""/>
        <p:cNvGrpSpPr/>
        <p:nvPr/>
      </p:nvGrpSpPr>
      <p:grpSpPr>
        <a:xfrm>
          <a:off x="0" y="0"/>
          <a:ext cx="0" cy="0"/>
          <a:chOff x="0" y="0"/>
          <a:chExt cx="0" cy="0"/>
        </a:xfrm>
      </p:grpSpPr>
      <p:sp>
        <p:nvSpPr>
          <p:cNvPr id="8" name="Freeform: Shape 7"/>
          <p:cNvSpPr/>
          <p:nvPr userDrawn="1"/>
        </p:nvSpPr>
        <p:spPr>
          <a:xfrm>
            <a:off x="3" y="1523699"/>
            <a:ext cx="12191999" cy="5791504"/>
          </a:xfrm>
          <a:custGeom>
            <a:avLst/>
            <a:gdLst>
              <a:gd name="connsiteX0" fmla="*/ 0 w 12191999"/>
              <a:gd name="connsiteY0" fmla="*/ 0 h 5316786"/>
              <a:gd name="connsiteX1" fmla="*/ 12191999 w 12191999"/>
              <a:gd name="connsiteY1" fmla="*/ 0 h 5316786"/>
              <a:gd name="connsiteX2" fmla="*/ 12191999 w 12191999"/>
              <a:gd name="connsiteY2" fmla="*/ 119540 h 5316786"/>
              <a:gd name="connsiteX3" fmla="*/ 7315199 w 12191999"/>
              <a:gd name="connsiteY3" fmla="*/ 119540 h 5316786"/>
              <a:gd name="connsiteX4" fmla="*/ 7315199 w 12191999"/>
              <a:gd name="connsiteY4" fmla="*/ 5315056 h 5316786"/>
              <a:gd name="connsiteX5" fmla="*/ 12191999 w 12191999"/>
              <a:gd name="connsiteY5" fmla="*/ 5315056 h 5316786"/>
              <a:gd name="connsiteX6" fmla="*/ 12191999 w 12191999"/>
              <a:gd name="connsiteY6" fmla="*/ 5316786 h 5316786"/>
              <a:gd name="connsiteX7" fmla="*/ 0 w 12191999"/>
              <a:gd name="connsiteY7" fmla="*/ 5316786 h 5316786"/>
              <a:gd name="connsiteX0" fmla="*/ 0 w 12191999"/>
              <a:gd name="connsiteY0" fmla="*/ 0 h 5316786"/>
              <a:gd name="connsiteX1" fmla="*/ 12191999 w 12191999"/>
              <a:gd name="connsiteY1" fmla="*/ 0 h 5316786"/>
              <a:gd name="connsiteX2" fmla="*/ 12191999 w 12191999"/>
              <a:gd name="connsiteY2" fmla="*/ 119540 h 5316786"/>
              <a:gd name="connsiteX3" fmla="*/ 7315199 w 12191999"/>
              <a:gd name="connsiteY3" fmla="*/ 119540 h 5316786"/>
              <a:gd name="connsiteX4" fmla="*/ 7315199 w 12191999"/>
              <a:gd name="connsiteY4" fmla="*/ 5315056 h 5316786"/>
              <a:gd name="connsiteX5" fmla="*/ 12191999 w 12191999"/>
              <a:gd name="connsiteY5" fmla="*/ 5315056 h 5316786"/>
              <a:gd name="connsiteX6" fmla="*/ 0 w 12191999"/>
              <a:gd name="connsiteY6" fmla="*/ 5316786 h 5316786"/>
              <a:gd name="connsiteX7" fmla="*/ 0 w 12191999"/>
              <a:gd name="connsiteY7" fmla="*/ 0 h 5316786"/>
              <a:gd name="connsiteX0" fmla="*/ 0 w 12191999"/>
              <a:gd name="connsiteY0" fmla="*/ 0 h 5316786"/>
              <a:gd name="connsiteX1" fmla="*/ 12191999 w 12191999"/>
              <a:gd name="connsiteY1" fmla="*/ 0 h 5316786"/>
              <a:gd name="connsiteX2" fmla="*/ 12191999 w 12191999"/>
              <a:gd name="connsiteY2" fmla="*/ 119540 h 5316786"/>
              <a:gd name="connsiteX3" fmla="*/ 7315199 w 12191999"/>
              <a:gd name="connsiteY3" fmla="*/ 119540 h 5316786"/>
              <a:gd name="connsiteX4" fmla="*/ 7315199 w 12191999"/>
              <a:gd name="connsiteY4" fmla="*/ 5315056 h 5316786"/>
              <a:gd name="connsiteX5" fmla="*/ 0 w 12191999"/>
              <a:gd name="connsiteY5" fmla="*/ 5316786 h 5316786"/>
              <a:gd name="connsiteX6" fmla="*/ 0 w 12191999"/>
              <a:gd name="connsiteY6" fmla="*/ 0 h 531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1999" h="5316786">
                <a:moveTo>
                  <a:pt x="0" y="0"/>
                </a:moveTo>
                <a:lnTo>
                  <a:pt x="12191999" y="0"/>
                </a:lnTo>
                <a:lnTo>
                  <a:pt x="12191999" y="119540"/>
                </a:lnTo>
                <a:lnTo>
                  <a:pt x="7315199" y="119540"/>
                </a:lnTo>
                <a:lnTo>
                  <a:pt x="7315199" y="5315056"/>
                </a:lnTo>
                <a:lnTo>
                  <a:pt x="0" y="5316786"/>
                </a:lnTo>
                <a:lnTo>
                  <a:pt x="0" y="0"/>
                </a:lnTo>
                <a:close/>
              </a:path>
            </a:pathLst>
          </a:custGeom>
          <a:solidFill>
            <a:srgbClr val="E5F2FC"/>
          </a:solidFill>
          <a:ln w="12700" cap="flat" cmpd="sng" algn="ctr">
            <a:noFill/>
            <a:prstDash val="solid"/>
            <a:miter lim="800000"/>
          </a:ln>
          <a:effectLst/>
        </p:spPr>
        <p:txBody>
          <a:bodyPr wrap="square" rtlCol="0" anchor="ctr">
            <a:noAutofit/>
          </a:bodyPr>
          <a:lstStyle/>
          <a:p>
            <a:pPr algn="ctr" defTabSz="896214">
              <a:defRPr/>
            </a:pPr>
            <a:endParaRPr lang="en-US" sz="1765" kern="0">
              <a:solidFill>
                <a:prstClr val="white"/>
              </a:solidFill>
            </a:endParaRPr>
          </a:p>
        </p:txBody>
      </p:sp>
      <p:sp>
        <p:nvSpPr>
          <p:cNvPr id="4" name="Text Placeholder 3"/>
          <p:cNvSpPr>
            <a:spLocks noGrp="1"/>
          </p:cNvSpPr>
          <p:nvPr>
            <p:ph type="body" sz="quarter" idx="10"/>
          </p:nvPr>
        </p:nvSpPr>
        <p:spPr>
          <a:xfrm>
            <a:off x="7692556" y="2015143"/>
            <a:ext cx="3977545" cy="4882045"/>
          </a:xfrm>
        </p:spPr>
        <p:txBody>
          <a:bodyPr>
            <a:noAutofit/>
          </a:bodyPr>
          <a:lstStyle>
            <a:lvl1pPr>
              <a:buClr>
                <a:schemeClr val="accent1"/>
              </a:buClr>
              <a:defRPr sz="2000">
                <a:solidFill>
                  <a:schemeClr val="tx2"/>
                </a:solidFill>
                <a:latin typeface="+mj-lt"/>
              </a:defRPr>
            </a:lvl1pPr>
            <a:lvl2pPr>
              <a:buClr>
                <a:schemeClr val="accent1"/>
              </a:buClr>
              <a:defRPr sz="1800">
                <a:solidFill>
                  <a:schemeClr val="tx2"/>
                </a:solidFill>
                <a:latin typeface="+mj-lt"/>
              </a:defRPr>
            </a:lvl2pPr>
            <a:lvl3pPr>
              <a:buClr>
                <a:schemeClr val="accent1"/>
              </a:buClr>
              <a:defRPr sz="1600">
                <a:solidFill>
                  <a:schemeClr val="tx2"/>
                </a:solidFill>
                <a:latin typeface="+mj-lt"/>
              </a:defRPr>
            </a:lvl3pPr>
            <a:lvl4pPr>
              <a:buClr>
                <a:schemeClr val="accent1"/>
              </a:buClr>
              <a:defRPr sz="1400">
                <a:solidFill>
                  <a:schemeClr val="tx2"/>
                </a:solidFill>
                <a:latin typeface="+mj-lt"/>
              </a:defRPr>
            </a:lvl4pPr>
            <a:lvl5pPr>
              <a:buClr>
                <a:schemeClr val="accent1"/>
              </a:buClr>
              <a:defRPr sz="1400">
                <a:solidFill>
                  <a:schemeClr val="tx2"/>
                </a:solidFill>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3132132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74838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268455"/>
            <a:ext cx="11653523" cy="2187971"/>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82400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Quote Layout_Accent Color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223119"/>
            <a:ext cx="9860672" cy="959643"/>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5092067"/>
            <a:ext cx="5378549" cy="1120167"/>
          </a:xfrm>
        </p:spPr>
        <p:txBody>
          <a:bodyPr/>
          <a:lstStyle>
            <a:lvl1pPr marL="0" indent="0" algn="r">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4342554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Full">
    <p:bg>
      <p:bgPr>
        <a:solidFill>
          <a:srgbClr val="0000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809707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272455"/>
            <a:ext cx="10363200" cy="1568027"/>
          </a:xfrm>
        </p:spPr>
        <p:txBody>
          <a:bodyPr/>
          <a:lstStyle/>
          <a:p>
            <a:r>
              <a:rPr lang="en-US"/>
              <a:t>Click to edit Master title style</a:t>
            </a:r>
          </a:p>
        </p:txBody>
      </p:sp>
      <p:sp>
        <p:nvSpPr>
          <p:cNvPr id="3" name="Subtitle 2"/>
          <p:cNvSpPr>
            <a:spLocks noGrp="1"/>
          </p:cNvSpPr>
          <p:nvPr>
            <p:ph type="subTitle" idx="1"/>
          </p:nvPr>
        </p:nvSpPr>
        <p:spPr>
          <a:xfrm>
            <a:off x="1828800" y="4145280"/>
            <a:ext cx="8534400" cy="1869440"/>
          </a:xfrm>
        </p:spPr>
        <p:txBody>
          <a:bodyPr/>
          <a:lstStyle>
            <a:lvl1pPr marL="0" indent="0" algn="ctr">
              <a:buNone/>
              <a:defRPr>
                <a:solidFill>
                  <a:schemeClr val="tx1">
                    <a:tint val="75000"/>
                  </a:schemeClr>
                </a:solidFill>
              </a:defRPr>
            </a:lvl1pPr>
            <a:lvl2pPr marL="571402" indent="0" algn="ctr">
              <a:buNone/>
              <a:defRPr>
                <a:solidFill>
                  <a:schemeClr val="tx1">
                    <a:tint val="75000"/>
                  </a:schemeClr>
                </a:solidFill>
              </a:defRPr>
            </a:lvl2pPr>
            <a:lvl3pPr marL="1142804" indent="0" algn="ctr">
              <a:buNone/>
              <a:defRPr>
                <a:solidFill>
                  <a:schemeClr val="tx1">
                    <a:tint val="75000"/>
                  </a:schemeClr>
                </a:solidFill>
              </a:defRPr>
            </a:lvl3pPr>
            <a:lvl4pPr marL="1714206" indent="0" algn="ctr">
              <a:buNone/>
              <a:defRPr>
                <a:solidFill>
                  <a:schemeClr val="tx1">
                    <a:tint val="75000"/>
                  </a:schemeClr>
                </a:solidFill>
              </a:defRPr>
            </a:lvl4pPr>
            <a:lvl5pPr marL="2285609" indent="0" algn="ctr">
              <a:buNone/>
              <a:defRPr>
                <a:solidFill>
                  <a:schemeClr val="tx1">
                    <a:tint val="75000"/>
                  </a:schemeClr>
                </a:solidFill>
              </a:defRPr>
            </a:lvl5pPr>
            <a:lvl6pPr marL="2857011" indent="0" algn="ctr">
              <a:buNone/>
              <a:defRPr>
                <a:solidFill>
                  <a:schemeClr val="tx1">
                    <a:tint val="75000"/>
                  </a:schemeClr>
                </a:solidFill>
              </a:defRPr>
            </a:lvl6pPr>
            <a:lvl7pPr marL="3428413" indent="0" algn="ctr">
              <a:buNone/>
              <a:defRPr>
                <a:solidFill>
                  <a:schemeClr val="tx1">
                    <a:tint val="75000"/>
                  </a:schemeClr>
                </a:solidFill>
              </a:defRPr>
            </a:lvl7pPr>
            <a:lvl8pPr marL="3999814" indent="0" algn="ctr">
              <a:buNone/>
              <a:defRPr>
                <a:solidFill>
                  <a:schemeClr val="tx1">
                    <a:tint val="75000"/>
                  </a:schemeClr>
                </a:solidFill>
              </a:defRPr>
            </a:lvl8pPr>
            <a:lvl9pPr marL="4571217"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defTabSz="1142804"/>
            <a:fld id="{ACCEBF71-793A-440A-922C-1CBEC40F9778}" type="datetimeFigureOut">
              <a:rPr lang="en-US" sz="2250" kern="0" smtClean="0">
                <a:solidFill>
                  <a:sysClr val="windowText" lastClr="000000"/>
                </a:solidFill>
              </a:rPr>
              <a:pPr defTabSz="1142804"/>
              <a:t>1/8/2019</a:t>
            </a:fld>
            <a:endParaRPr lang="en-US" sz="2250" kern="0">
              <a:solidFill>
                <a:sysClr val="windowText" lastClr="000000"/>
              </a:solidFill>
            </a:endParaRPr>
          </a:p>
        </p:txBody>
      </p:sp>
      <p:sp>
        <p:nvSpPr>
          <p:cNvPr id="5" name="Footer Placeholder 4"/>
          <p:cNvSpPr>
            <a:spLocks noGrp="1"/>
          </p:cNvSpPr>
          <p:nvPr>
            <p:ph type="ftr" sz="quarter" idx="11"/>
          </p:nvPr>
        </p:nvSpPr>
        <p:spPr/>
        <p:txBody>
          <a:bodyPr/>
          <a:lstStyle/>
          <a:p>
            <a:pPr defTabSz="1142804"/>
            <a:endParaRPr lang="en-US" sz="2250" kern="0">
              <a:solidFill>
                <a:sysClr val="windowText" lastClr="000000"/>
              </a:solidFill>
            </a:endParaRPr>
          </a:p>
        </p:txBody>
      </p:sp>
      <p:sp>
        <p:nvSpPr>
          <p:cNvPr id="6" name="Slide Number Placeholder 5"/>
          <p:cNvSpPr>
            <a:spLocks noGrp="1"/>
          </p:cNvSpPr>
          <p:nvPr>
            <p:ph type="sldNum" sz="quarter" idx="12"/>
          </p:nvPr>
        </p:nvSpPr>
        <p:spPr/>
        <p:txBody>
          <a:bodyPr/>
          <a:lstStyle/>
          <a:p>
            <a:pPr defTabSz="1142804"/>
            <a:fld id="{704198DC-2EF7-4B34-A789-AD3A4CDEBD28}" type="slidenum">
              <a:rPr lang="en-US" sz="2250" kern="0" smtClean="0">
                <a:solidFill>
                  <a:sysClr val="windowText" lastClr="000000"/>
                </a:solidFill>
              </a:rPr>
              <a:pPr defTabSz="1142804"/>
              <a:t>‹#›</a:t>
            </a:fld>
            <a:endParaRPr lang="en-US" sz="2250" kern="0">
              <a:solidFill>
                <a:sysClr val="windowText" lastClr="000000"/>
              </a:solidFill>
            </a:endParaRPr>
          </a:p>
        </p:txBody>
      </p:sp>
    </p:spTree>
    <p:extLst>
      <p:ext uri="{BB962C8B-B14F-4D97-AF65-F5344CB8AC3E}">
        <p14:creationId xmlns:p14="http://schemas.microsoft.com/office/powerpoint/2010/main" val="41810635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cSld name="Title and Content">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1" y="6780107"/>
            <a:ext cx="2743200" cy="389467"/>
          </a:xfrm>
          <a:prstGeom prst="rect">
            <a:avLst/>
          </a:prstGeom>
        </p:spPr>
        <p:txBody>
          <a:bodyPr/>
          <a:lstStyle/>
          <a:p>
            <a:pPr defTabSz="914367"/>
            <a:fld id="{DA54C421-7452-45CF-A86E-600A1721C787}" type="datetime1">
              <a:rPr lang="en-US" smtClean="0">
                <a:solidFill>
                  <a:prstClr val="black">
                    <a:tint val="75000"/>
                  </a:prstClr>
                </a:solidFill>
              </a:rPr>
              <a:pPr defTabSz="914367"/>
              <a:t>1/8/2019</a:t>
            </a:fld>
            <a:endParaRPr lang="en-US">
              <a:solidFill>
                <a:prstClr val="black">
                  <a:tint val="75000"/>
                </a:prstClr>
              </a:solidFill>
            </a:endParaRPr>
          </a:p>
        </p:txBody>
      </p:sp>
      <p:sp>
        <p:nvSpPr>
          <p:cNvPr id="5" name="Footer Placeholder 4"/>
          <p:cNvSpPr>
            <a:spLocks noGrp="1"/>
          </p:cNvSpPr>
          <p:nvPr>
            <p:ph type="ftr" sz="quarter" idx="11"/>
          </p:nvPr>
        </p:nvSpPr>
        <p:spPr>
          <a:xfrm>
            <a:off x="4038600" y="6780107"/>
            <a:ext cx="4114800" cy="389467"/>
          </a:xfrm>
          <a:prstGeom prst="rect">
            <a:avLst/>
          </a:prstGeom>
        </p:spPr>
        <p:txBody>
          <a:bodyPr/>
          <a:lstStyle/>
          <a:p>
            <a:pPr defTabSz="914367"/>
            <a:endParaRPr lang="en-US">
              <a:solidFill>
                <a:prstClr val="black">
                  <a:tint val="75000"/>
                </a:prstClr>
              </a:solidFill>
            </a:endParaRPr>
          </a:p>
        </p:txBody>
      </p:sp>
      <p:sp>
        <p:nvSpPr>
          <p:cNvPr id="6" name="Slide Number Placeholder 5"/>
          <p:cNvSpPr>
            <a:spLocks noGrp="1"/>
          </p:cNvSpPr>
          <p:nvPr>
            <p:ph type="sldNum" sz="quarter" idx="12"/>
          </p:nvPr>
        </p:nvSpPr>
        <p:spPr>
          <a:xfrm>
            <a:off x="8610600" y="6780107"/>
            <a:ext cx="2743200" cy="389467"/>
          </a:xfrm>
          <a:prstGeom prst="rect">
            <a:avLst/>
          </a:prstGeom>
        </p:spPr>
        <p:txBody>
          <a:bodyPr/>
          <a:lstStyle/>
          <a:p>
            <a:pPr defTabSz="914367"/>
            <a:fld id="{E8A1165C-31A9-413F-A1AE-296F7D5CA11A}" type="slidenum">
              <a:rPr lang="en-US" smtClean="0">
                <a:solidFill>
                  <a:prstClr val="black">
                    <a:tint val="75000"/>
                  </a:prstClr>
                </a:solidFill>
              </a:rPr>
              <a:pPr defTabSz="914367"/>
              <a:t>‹#›</a:t>
            </a:fld>
            <a:endParaRPr lang="en-US">
              <a:solidFill>
                <a:prstClr val="black">
                  <a:tint val="75000"/>
                </a:prstClr>
              </a:solidFill>
            </a:endParaRPr>
          </a:p>
        </p:txBody>
      </p:sp>
    </p:spTree>
    <p:extLst>
      <p:ext uri="{BB962C8B-B14F-4D97-AF65-F5344CB8AC3E}">
        <p14:creationId xmlns:p14="http://schemas.microsoft.com/office/powerpoint/2010/main" val="37723394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6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7" y="1614752"/>
            <a:ext cx="11653523" cy="2055306"/>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780198845"/>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Diagram layout">
    <p:spTree>
      <p:nvGrpSpPr>
        <p:cNvPr id="1" name=""/>
        <p:cNvGrpSpPr/>
        <p:nvPr/>
      </p:nvGrpSpPr>
      <p:grpSpPr>
        <a:xfrm>
          <a:off x="0" y="0"/>
          <a:ext cx="0" cy="0"/>
          <a:chOff x="0" y="0"/>
          <a:chExt cx="0" cy="0"/>
        </a:xfrm>
      </p:grpSpPr>
      <p:sp>
        <p:nvSpPr>
          <p:cNvPr id="8" name="Freeform: Shape 7"/>
          <p:cNvSpPr/>
          <p:nvPr userDrawn="1"/>
        </p:nvSpPr>
        <p:spPr>
          <a:xfrm>
            <a:off x="2" y="1523699"/>
            <a:ext cx="12191999" cy="5791504"/>
          </a:xfrm>
          <a:custGeom>
            <a:avLst/>
            <a:gdLst>
              <a:gd name="connsiteX0" fmla="*/ 0 w 12191999"/>
              <a:gd name="connsiteY0" fmla="*/ 0 h 5316786"/>
              <a:gd name="connsiteX1" fmla="*/ 12191999 w 12191999"/>
              <a:gd name="connsiteY1" fmla="*/ 0 h 5316786"/>
              <a:gd name="connsiteX2" fmla="*/ 12191999 w 12191999"/>
              <a:gd name="connsiteY2" fmla="*/ 119540 h 5316786"/>
              <a:gd name="connsiteX3" fmla="*/ 7315199 w 12191999"/>
              <a:gd name="connsiteY3" fmla="*/ 119540 h 5316786"/>
              <a:gd name="connsiteX4" fmla="*/ 7315199 w 12191999"/>
              <a:gd name="connsiteY4" fmla="*/ 5315056 h 5316786"/>
              <a:gd name="connsiteX5" fmla="*/ 12191999 w 12191999"/>
              <a:gd name="connsiteY5" fmla="*/ 5315056 h 5316786"/>
              <a:gd name="connsiteX6" fmla="*/ 12191999 w 12191999"/>
              <a:gd name="connsiteY6" fmla="*/ 5316786 h 5316786"/>
              <a:gd name="connsiteX7" fmla="*/ 0 w 12191999"/>
              <a:gd name="connsiteY7" fmla="*/ 5316786 h 5316786"/>
              <a:gd name="connsiteX0" fmla="*/ 0 w 12191999"/>
              <a:gd name="connsiteY0" fmla="*/ 0 h 5316786"/>
              <a:gd name="connsiteX1" fmla="*/ 12191999 w 12191999"/>
              <a:gd name="connsiteY1" fmla="*/ 0 h 5316786"/>
              <a:gd name="connsiteX2" fmla="*/ 12191999 w 12191999"/>
              <a:gd name="connsiteY2" fmla="*/ 119540 h 5316786"/>
              <a:gd name="connsiteX3" fmla="*/ 7315199 w 12191999"/>
              <a:gd name="connsiteY3" fmla="*/ 119540 h 5316786"/>
              <a:gd name="connsiteX4" fmla="*/ 7315199 w 12191999"/>
              <a:gd name="connsiteY4" fmla="*/ 5315056 h 5316786"/>
              <a:gd name="connsiteX5" fmla="*/ 12191999 w 12191999"/>
              <a:gd name="connsiteY5" fmla="*/ 5315056 h 5316786"/>
              <a:gd name="connsiteX6" fmla="*/ 0 w 12191999"/>
              <a:gd name="connsiteY6" fmla="*/ 5316786 h 5316786"/>
              <a:gd name="connsiteX7" fmla="*/ 0 w 12191999"/>
              <a:gd name="connsiteY7" fmla="*/ 0 h 5316786"/>
              <a:gd name="connsiteX0" fmla="*/ 0 w 12191999"/>
              <a:gd name="connsiteY0" fmla="*/ 0 h 5316786"/>
              <a:gd name="connsiteX1" fmla="*/ 12191999 w 12191999"/>
              <a:gd name="connsiteY1" fmla="*/ 0 h 5316786"/>
              <a:gd name="connsiteX2" fmla="*/ 12191999 w 12191999"/>
              <a:gd name="connsiteY2" fmla="*/ 119540 h 5316786"/>
              <a:gd name="connsiteX3" fmla="*/ 7315199 w 12191999"/>
              <a:gd name="connsiteY3" fmla="*/ 119540 h 5316786"/>
              <a:gd name="connsiteX4" fmla="*/ 7315199 w 12191999"/>
              <a:gd name="connsiteY4" fmla="*/ 5315056 h 5316786"/>
              <a:gd name="connsiteX5" fmla="*/ 0 w 12191999"/>
              <a:gd name="connsiteY5" fmla="*/ 5316786 h 5316786"/>
              <a:gd name="connsiteX6" fmla="*/ 0 w 12191999"/>
              <a:gd name="connsiteY6" fmla="*/ 0 h 531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1999" h="5316786">
                <a:moveTo>
                  <a:pt x="0" y="0"/>
                </a:moveTo>
                <a:lnTo>
                  <a:pt x="12191999" y="0"/>
                </a:lnTo>
                <a:lnTo>
                  <a:pt x="12191999" y="119540"/>
                </a:lnTo>
                <a:lnTo>
                  <a:pt x="7315199" y="119540"/>
                </a:lnTo>
                <a:lnTo>
                  <a:pt x="7315199" y="5315056"/>
                </a:lnTo>
                <a:lnTo>
                  <a:pt x="0" y="5316786"/>
                </a:lnTo>
                <a:lnTo>
                  <a:pt x="0" y="0"/>
                </a:lnTo>
                <a:close/>
              </a:path>
            </a:pathLst>
          </a:custGeom>
          <a:solidFill>
            <a:srgbClr val="000000"/>
          </a:solidFill>
          <a:ln w="12700" cap="flat" cmpd="sng" algn="ctr">
            <a:noFill/>
            <a:prstDash val="solid"/>
            <a:miter lim="800000"/>
          </a:ln>
          <a:effectLst/>
        </p:spPr>
        <p:txBody>
          <a:bodyPr wrap="square" rtlCol="0" anchor="ctr">
            <a:no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a:ea typeface="+mn-ea"/>
              <a:cs typeface="+mn-cs"/>
            </a:endParaRPr>
          </a:p>
        </p:txBody>
      </p:sp>
      <p:sp>
        <p:nvSpPr>
          <p:cNvPr id="4" name="Text Placeholder 3"/>
          <p:cNvSpPr>
            <a:spLocks noGrp="1"/>
          </p:cNvSpPr>
          <p:nvPr>
            <p:ph type="body" sz="quarter" idx="10"/>
          </p:nvPr>
        </p:nvSpPr>
        <p:spPr>
          <a:xfrm>
            <a:off x="7692555" y="2015143"/>
            <a:ext cx="3977545" cy="4882045"/>
          </a:xfrm>
        </p:spPr>
        <p:txBody>
          <a:bodyPr>
            <a:noAutofit/>
          </a:bodyPr>
          <a:lstStyle>
            <a:lvl1pPr>
              <a:buClr>
                <a:schemeClr val="accent1"/>
              </a:buClr>
              <a:defRPr sz="2000">
                <a:solidFill>
                  <a:schemeClr val="tx2"/>
                </a:solidFill>
                <a:latin typeface="+mj-lt"/>
              </a:defRPr>
            </a:lvl1pPr>
            <a:lvl2pPr>
              <a:buClr>
                <a:schemeClr val="accent1"/>
              </a:buClr>
              <a:defRPr sz="1800">
                <a:solidFill>
                  <a:schemeClr val="tx2"/>
                </a:solidFill>
                <a:latin typeface="+mj-lt"/>
              </a:defRPr>
            </a:lvl2pPr>
            <a:lvl3pPr>
              <a:buClr>
                <a:schemeClr val="accent1"/>
              </a:buClr>
              <a:defRPr sz="1600">
                <a:solidFill>
                  <a:schemeClr val="tx2"/>
                </a:solidFill>
                <a:latin typeface="+mj-lt"/>
              </a:defRPr>
            </a:lvl3pPr>
            <a:lvl4pPr>
              <a:buClr>
                <a:schemeClr val="accent1"/>
              </a:buClr>
              <a:defRPr sz="1400">
                <a:solidFill>
                  <a:schemeClr val="tx2"/>
                </a:solidFill>
                <a:latin typeface="+mj-lt"/>
              </a:defRPr>
            </a:lvl4pPr>
            <a:lvl5pPr>
              <a:buClr>
                <a:schemeClr val="accent1"/>
              </a:buClr>
              <a:defRPr sz="1400">
                <a:solidFill>
                  <a:schemeClr val="tx2"/>
                </a:solidFill>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1168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266821"/>
            <a:ext cx="11655078" cy="22665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2956232"/>
      </p:ext>
    </p:extLst>
  </p:cSld>
  <p:clrMapOvr>
    <a:masterClrMapping/>
  </p:clrMapOvr>
  <p:transition spd="slow">
    <p:push dir="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2262035"/>
      </p:ext>
    </p:extLst>
  </p:cSld>
  <p:clrMapOvr>
    <a:overrideClrMapping bg1="dk1" tx1="lt1" bg2="dk2" tx2="lt2" accent1="accent1" accent2="accent2" accent3="accent3" accent4="accent4" accent5="accent5" accent6="accent6" hlink="hlink" folHlink="folHlink"/>
  </p:clrMapOvr>
  <p:transition spd="slow">
    <p:push dir="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367"/>
            <a:fld id="{3B8F3CB5-9225-4F5A-9B56-B748770810A2}" type="datetimeFigureOut">
              <a:rPr lang="en-US" sz="1765" smtClean="0">
                <a:solidFill>
                  <a:srgbClr val="FFFFFF"/>
                </a:solidFill>
              </a:rPr>
              <a:pPr defTabSz="914367"/>
              <a:t>1/8/2019</a:t>
            </a:fld>
            <a:endParaRPr lang="en-US" sz="1765" dirty="0">
              <a:solidFill>
                <a:srgbClr val="FFFFFF"/>
              </a:solidFill>
            </a:endParaRPr>
          </a:p>
        </p:txBody>
      </p:sp>
      <p:sp>
        <p:nvSpPr>
          <p:cNvPr id="3" name="Footer Placeholder 2"/>
          <p:cNvSpPr>
            <a:spLocks noGrp="1"/>
          </p:cNvSpPr>
          <p:nvPr>
            <p:ph type="ftr" sz="quarter" idx="11"/>
          </p:nvPr>
        </p:nvSpPr>
        <p:spPr/>
        <p:txBody>
          <a:bodyPr/>
          <a:lstStyle/>
          <a:p>
            <a:pPr defTabSz="914367"/>
            <a:endParaRPr lang="en-US" sz="1765" dirty="0">
              <a:solidFill>
                <a:srgbClr val="FFFFFF"/>
              </a:solidFill>
            </a:endParaRPr>
          </a:p>
        </p:txBody>
      </p:sp>
      <p:sp>
        <p:nvSpPr>
          <p:cNvPr id="4" name="Slide Number Placeholder 3"/>
          <p:cNvSpPr>
            <a:spLocks noGrp="1"/>
          </p:cNvSpPr>
          <p:nvPr>
            <p:ph type="sldNum" sz="quarter" idx="12"/>
          </p:nvPr>
        </p:nvSpPr>
        <p:spPr/>
        <p:txBody>
          <a:bodyPr/>
          <a:lstStyle/>
          <a:p>
            <a:pPr defTabSz="914367"/>
            <a:fld id="{437BDB02-CCAE-42BD-BC30-E87B59DCF8DF}" type="slidenum">
              <a:rPr lang="en-US" sz="1765" smtClean="0">
                <a:solidFill>
                  <a:srgbClr val="FFFFFF"/>
                </a:solidFill>
              </a:rPr>
              <a:pPr defTabSz="914367"/>
              <a:t>‹#›</a:t>
            </a:fld>
            <a:endParaRPr lang="en-US" sz="1765" dirty="0">
              <a:solidFill>
                <a:srgbClr val="FFFFFF"/>
              </a:solidFill>
            </a:endParaRPr>
          </a:p>
        </p:txBody>
      </p:sp>
    </p:spTree>
    <p:extLst>
      <p:ext uri="{BB962C8B-B14F-4D97-AF65-F5344CB8AC3E}">
        <p14:creationId xmlns:p14="http://schemas.microsoft.com/office/powerpoint/2010/main" val="57542451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Quote Layout_Accent Color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223119"/>
            <a:ext cx="9860672" cy="959643"/>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5092067"/>
            <a:ext cx="5378549" cy="1053237"/>
          </a:xfrm>
        </p:spPr>
        <p:txBody>
          <a:bodyPr/>
          <a:lstStyle>
            <a:lvl1pPr marL="0" indent="0" algn="r">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1242047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268454"/>
            <a:ext cx="11653523" cy="1779911"/>
          </a:xfrm>
        </p:spPr>
        <p:txBody>
          <a:bodyPr>
            <a:spAutoFit/>
          </a:bodyPr>
          <a:lstStyle>
            <a:lvl1pPr>
              <a:defRPr sz="3675"/>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5200884"/>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cSld name="Title and St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68451976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783557"/>
            <a:ext cx="11653523" cy="1915965"/>
          </a:xfrm>
          <a:noFill/>
        </p:spPr>
        <p:txBody>
          <a:bodyPr tIns="91440" bIns="91440" anchor="t" anchorCtr="0"/>
          <a:lstStyle>
            <a:lvl1pPr algn="ctr">
              <a:defRPr sz="8088" spc="-92" baseline="0">
                <a:gradFill>
                  <a:gsLst>
                    <a:gs pos="100000">
                      <a:schemeClr val="tx1"/>
                    </a:gs>
                    <a:gs pos="0">
                      <a:schemeClr val="tx1"/>
                    </a:gs>
                  </a:gsLst>
                  <a:lin ang="5400000" scaled="0"/>
                </a:gradFill>
              </a:defRPr>
            </a:lvl1pPr>
          </a:lstStyle>
          <a:p>
            <a:r>
              <a:rPr lang="en-US"/>
              <a:t>Section / Area title</a:t>
            </a:r>
            <a:endParaRPr lang="en-US" dirty="0"/>
          </a:p>
        </p:txBody>
      </p:sp>
    </p:spTree>
    <p:extLst>
      <p:ext uri="{BB962C8B-B14F-4D97-AF65-F5344CB8AC3E}">
        <p14:creationId xmlns:p14="http://schemas.microsoft.com/office/powerpoint/2010/main" val="307160710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857199"/>
            <a:endParaRPr lang="en-US" sz="1688" kern="0">
              <a:solidFill>
                <a:sysClr val="windowText" lastClr="000000"/>
              </a:solidFill>
              <a:sym typeface="Segoe UI"/>
            </a:endParaRPr>
          </a:p>
        </p:txBody>
      </p:sp>
      <p:sp>
        <p:nvSpPr>
          <p:cNvPr id="3" name="Footer Placeholder 2"/>
          <p:cNvSpPr>
            <a:spLocks noGrp="1"/>
          </p:cNvSpPr>
          <p:nvPr>
            <p:ph type="ftr" sz="quarter" idx="11"/>
          </p:nvPr>
        </p:nvSpPr>
        <p:spPr/>
        <p:txBody>
          <a:bodyPr/>
          <a:lstStyle/>
          <a:p>
            <a:pPr defTabSz="857199"/>
            <a:endParaRPr lang="en-US" sz="1688" kern="0">
              <a:solidFill>
                <a:sysClr val="windowText" lastClr="000000"/>
              </a:solidFill>
              <a:sym typeface="Segoe UI"/>
            </a:endParaRPr>
          </a:p>
        </p:txBody>
      </p:sp>
      <p:sp>
        <p:nvSpPr>
          <p:cNvPr id="4" name="Slide Number Placeholder 3"/>
          <p:cNvSpPr>
            <a:spLocks noGrp="1"/>
          </p:cNvSpPr>
          <p:nvPr>
            <p:ph type="sldNum" sz="quarter" idx="12"/>
          </p:nvPr>
        </p:nvSpPr>
        <p:spPr/>
        <p:txBody>
          <a:bodyPr/>
          <a:lstStyle/>
          <a:p>
            <a:pPr defTabSz="857199"/>
            <a:fld id="{F22B9F7F-7880-4EBE-82BD-2E156DF91094}" type="slidenum">
              <a:rPr lang="en-US" sz="1688" kern="0" smtClean="0">
                <a:solidFill>
                  <a:sysClr val="windowText" lastClr="000000"/>
                </a:solidFill>
                <a:sym typeface="Segoe UI"/>
              </a:rPr>
              <a:pPr defTabSz="857199"/>
              <a:t>‹#›</a:t>
            </a:fld>
            <a:endParaRPr lang="en-US" sz="1688" kern="0">
              <a:solidFill>
                <a:sysClr val="windowText" lastClr="000000"/>
              </a:solidFill>
              <a:sym typeface="Segoe UI"/>
            </a:endParaRPr>
          </a:p>
        </p:txBody>
      </p:sp>
    </p:spTree>
    <p:extLst>
      <p:ext uri="{BB962C8B-B14F-4D97-AF65-F5344CB8AC3E}">
        <p14:creationId xmlns:p14="http://schemas.microsoft.com/office/powerpoint/2010/main" val="394741863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Full">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23358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7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7" y="1614752"/>
            <a:ext cx="11653523" cy="2055306"/>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82281479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pPr defTabSz="457200" fontAlgn="base">
              <a:spcBef>
                <a:spcPct val="0"/>
              </a:spcBef>
              <a:spcAft>
                <a:spcPct val="0"/>
              </a:spcAft>
            </a:pPr>
            <a:endParaRPr lang="en-US">
              <a:solidFill>
                <a:prstClr val="black">
                  <a:tint val="75000"/>
                </a:prstClr>
              </a:solidFill>
              <a:latin typeface="Gill Sans" charset="0"/>
              <a:ea typeface="Heiti SC Light" charset="-122"/>
              <a:sym typeface="Gill Sans" charset="0"/>
            </a:endParaRPr>
          </a:p>
        </p:txBody>
      </p:sp>
      <p:sp>
        <p:nvSpPr>
          <p:cNvPr id="4" name="Footer Placeholder 3"/>
          <p:cNvSpPr>
            <a:spLocks noGrp="1"/>
          </p:cNvSpPr>
          <p:nvPr>
            <p:ph type="ftr" sz="quarter" idx="11"/>
          </p:nvPr>
        </p:nvSpPr>
        <p:spPr/>
        <p:txBody>
          <a:bodyPr/>
          <a:lstStyle/>
          <a:p>
            <a:pPr defTabSz="457200" fontAlgn="base">
              <a:spcBef>
                <a:spcPct val="0"/>
              </a:spcBef>
              <a:spcAft>
                <a:spcPct val="0"/>
              </a:spcAft>
            </a:pPr>
            <a:endParaRPr lang="en-US">
              <a:solidFill>
                <a:prstClr val="black">
                  <a:tint val="75000"/>
                </a:prstClr>
              </a:solidFill>
              <a:latin typeface="Gill Sans" charset="0"/>
              <a:ea typeface="Heiti SC Light" charset="-122"/>
              <a:sym typeface="Gill Sans" charset="0"/>
            </a:endParaRPr>
          </a:p>
        </p:txBody>
      </p:sp>
      <p:sp>
        <p:nvSpPr>
          <p:cNvPr id="5" name="Slide Number Placeholder 4"/>
          <p:cNvSpPr>
            <a:spLocks noGrp="1"/>
          </p:cNvSpPr>
          <p:nvPr>
            <p:ph type="sldNum" sz="quarter" idx="12"/>
          </p:nvPr>
        </p:nvSpPr>
        <p:spPr/>
        <p:txBody>
          <a:bodyPr/>
          <a:lstStyle/>
          <a:p>
            <a:pPr defTabSz="457200" fontAlgn="base">
              <a:spcBef>
                <a:spcPct val="0"/>
              </a:spcBef>
              <a:spcAft>
                <a:spcPct val="0"/>
              </a:spcAft>
            </a:pPr>
            <a:fld id="{F3451B78-826D-4FE9-99FE-428C8E62A634}" type="slidenum">
              <a:rPr lang="en-US" smtClean="0">
                <a:solidFill>
                  <a:prstClr val="black">
                    <a:tint val="75000"/>
                  </a:prstClr>
                </a:solidFill>
                <a:latin typeface="Gill Sans" charset="0"/>
                <a:ea typeface="Heiti SC Light" charset="-122"/>
                <a:sym typeface="Gill Sans" charset="0"/>
              </a:rPr>
              <a:pPr defTabSz="457200" fontAlgn="base">
                <a:spcBef>
                  <a:spcPct val="0"/>
                </a:spcBef>
                <a:spcAft>
                  <a:spcPct val="0"/>
                </a:spcAft>
              </a:pPr>
              <a:t>‹#›</a:t>
            </a:fld>
            <a:endParaRPr lang="en-US">
              <a:solidFill>
                <a:prstClr val="black">
                  <a:tint val="75000"/>
                </a:prstClr>
              </a:solidFill>
              <a:latin typeface="Gill Sans" charset="0"/>
              <a:ea typeface="Heiti SC Light" charset="-122"/>
              <a:sym typeface="Gill Sans" charset="0"/>
            </a:endParaRPr>
          </a:p>
        </p:txBody>
      </p:sp>
    </p:spTree>
    <p:extLst>
      <p:ext uri="{BB962C8B-B14F-4D97-AF65-F5344CB8AC3E}">
        <p14:creationId xmlns:p14="http://schemas.microsoft.com/office/powerpoint/2010/main" val="3186072470"/>
      </p:ext>
    </p:extLst>
  </p:cSld>
  <p:clrMapOvr>
    <a:masterClrMapping/>
  </p:clrMapOvr>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28750614"/>
      </p:ext>
    </p:extLst>
  </p:cSld>
  <p:clrMapOvr>
    <a:masterClrMapping/>
  </p:clrMapOvr>
  <p:transition spd="slow">
    <p:push dir="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307129"/>
            <a:ext cx="5378548" cy="1959254"/>
          </a:xfrm>
        </p:spPr>
        <p:txBody>
          <a:bodyPr>
            <a:spAutoFit/>
          </a:bodyPr>
          <a:lstStyle>
            <a:lvl1pPr>
              <a:defRPr sz="6066" baseline="0">
                <a:gradFill>
                  <a:gsLst>
                    <a:gs pos="1250">
                      <a:schemeClr val="tx1"/>
                    </a:gs>
                    <a:gs pos="100000">
                      <a:schemeClr val="tx1"/>
                    </a:gs>
                  </a:gsLst>
                  <a:lin ang="5400000" scaled="0"/>
                </a:gradFill>
              </a:defRPr>
            </a:lvl1pPr>
          </a:lstStyle>
          <a:p>
            <a:r>
              <a:rPr lang="en-US" dirty="0"/>
              <a:t>50/50 photo layout</a:t>
            </a:r>
          </a:p>
        </p:txBody>
      </p:sp>
    </p:spTree>
    <p:extLst>
      <p:ext uri="{BB962C8B-B14F-4D97-AF65-F5344CB8AC3E}">
        <p14:creationId xmlns:p14="http://schemas.microsoft.com/office/powerpoint/2010/main" val="1164363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F86C37-8939-460B-93FA-C89B66D36673}"/>
              </a:ext>
            </a:extLst>
          </p:cNvPr>
          <p:cNvSpPr>
            <a:spLocks noGrp="1"/>
          </p:cNvSpPr>
          <p:nvPr>
            <p:ph type="ctrTitle"/>
          </p:nvPr>
        </p:nvSpPr>
        <p:spPr>
          <a:xfrm>
            <a:off x="1524000" y="1197187"/>
            <a:ext cx="9144000" cy="2546773"/>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5FFC783-8900-425D-9FD1-E103BA04DF47}"/>
              </a:ext>
            </a:extLst>
          </p:cNvPr>
          <p:cNvSpPr>
            <a:spLocks noGrp="1"/>
          </p:cNvSpPr>
          <p:nvPr>
            <p:ph type="subTitle" idx="1"/>
          </p:nvPr>
        </p:nvSpPr>
        <p:spPr>
          <a:xfrm>
            <a:off x="1524000" y="3842174"/>
            <a:ext cx="9144000" cy="1766146"/>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93B7C58-1208-428F-A16E-02F80A627AE3}"/>
              </a:ext>
            </a:extLst>
          </p:cNvPr>
          <p:cNvSpPr>
            <a:spLocks noGrp="1"/>
          </p:cNvSpPr>
          <p:nvPr>
            <p:ph type="dt" sz="half" idx="10"/>
          </p:nvPr>
        </p:nvSpPr>
        <p:spPr/>
        <p:txBody>
          <a:bodyPr/>
          <a:lstStyle/>
          <a:p>
            <a:fld id="{D018EA7D-168D-4B26-AC02-ADC5565E25F2}" type="datetimeFigureOut">
              <a:rPr lang="en-US" smtClean="0"/>
              <a:t>1/8/2019</a:t>
            </a:fld>
            <a:endParaRPr lang="en-US"/>
          </a:p>
        </p:txBody>
      </p:sp>
      <p:sp>
        <p:nvSpPr>
          <p:cNvPr id="5" name="Footer Placeholder 4">
            <a:extLst>
              <a:ext uri="{FF2B5EF4-FFF2-40B4-BE49-F238E27FC236}">
                <a16:creationId xmlns:a16="http://schemas.microsoft.com/office/drawing/2014/main" id="{2C44F04F-89E2-465F-AC38-B5B9806086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89FF45E-5666-4635-820B-28924CD973F6}"/>
              </a:ext>
            </a:extLst>
          </p:cNvPr>
          <p:cNvSpPr>
            <a:spLocks noGrp="1"/>
          </p:cNvSpPr>
          <p:nvPr>
            <p:ph type="sldNum" sz="quarter" idx="12"/>
          </p:nvPr>
        </p:nvSpPr>
        <p:spPr/>
        <p:txBody>
          <a:bodyPr/>
          <a:lstStyle/>
          <a:p>
            <a:fld id="{9B1FFF44-CD96-445C-9E29-D3BEA58FBE79}" type="slidenum">
              <a:rPr lang="en-US" smtClean="0"/>
              <a:t>‹#›</a:t>
            </a:fld>
            <a:endParaRPr lang="en-US"/>
          </a:p>
        </p:txBody>
      </p:sp>
    </p:spTree>
    <p:extLst>
      <p:ext uri="{BB962C8B-B14F-4D97-AF65-F5344CB8AC3E}">
        <p14:creationId xmlns:p14="http://schemas.microsoft.com/office/powerpoint/2010/main" val="361438070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A35D21-86BE-476D-B249-CBB6BB793E8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ADDB674-5C95-4A1F-BCC6-F3511394D04C}"/>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1BB9C9F-0EC3-4760-9FC9-4735F67F87F0}"/>
              </a:ext>
            </a:extLst>
          </p:cNvPr>
          <p:cNvSpPr>
            <a:spLocks noGrp="1"/>
          </p:cNvSpPr>
          <p:nvPr>
            <p:ph type="dt" sz="half" idx="10"/>
          </p:nvPr>
        </p:nvSpPr>
        <p:spPr/>
        <p:txBody>
          <a:bodyPr/>
          <a:lstStyle/>
          <a:p>
            <a:fld id="{D018EA7D-168D-4B26-AC02-ADC5565E25F2}" type="datetimeFigureOut">
              <a:rPr lang="en-US" smtClean="0"/>
              <a:t>1/8/2019</a:t>
            </a:fld>
            <a:endParaRPr lang="en-US"/>
          </a:p>
        </p:txBody>
      </p:sp>
      <p:sp>
        <p:nvSpPr>
          <p:cNvPr id="5" name="Footer Placeholder 4">
            <a:extLst>
              <a:ext uri="{FF2B5EF4-FFF2-40B4-BE49-F238E27FC236}">
                <a16:creationId xmlns:a16="http://schemas.microsoft.com/office/drawing/2014/main" id="{08CFDA0F-FB0A-4A91-84B2-70247C32A3B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CDAAC67-2810-4787-B46A-AB091405CDE3}"/>
              </a:ext>
            </a:extLst>
          </p:cNvPr>
          <p:cNvSpPr>
            <a:spLocks noGrp="1"/>
          </p:cNvSpPr>
          <p:nvPr>
            <p:ph type="sldNum" sz="quarter" idx="12"/>
          </p:nvPr>
        </p:nvSpPr>
        <p:spPr/>
        <p:txBody>
          <a:bodyPr/>
          <a:lstStyle/>
          <a:p>
            <a:fld id="{9B1FFF44-CD96-445C-9E29-D3BEA58FBE79}" type="slidenum">
              <a:rPr lang="en-US" smtClean="0"/>
              <a:t>‹#›</a:t>
            </a:fld>
            <a:endParaRPr lang="en-US"/>
          </a:p>
        </p:txBody>
      </p:sp>
    </p:spTree>
    <p:extLst>
      <p:ext uri="{BB962C8B-B14F-4D97-AF65-F5344CB8AC3E}">
        <p14:creationId xmlns:p14="http://schemas.microsoft.com/office/powerpoint/2010/main" val="129386474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67A3EA-6AC8-4CFB-9B46-01737C7F3301}"/>
              </a:ext>
            </a:extLst>
          </p:cNvPr>
          <p:cNvSpPr>
            <a:spLocks noGrp="1"/>
          </p:cNvSpPr>
          <p:nvPr>
            <p:ph type="title"/>
          </p:nvPr>
        </p:nvSpPr>
        <p:spPr>
          <a:xfrm>
            <a:off x="831850" y="1823721"/>
            <a:ext cx="10515600" cy="3042919"/>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C12F337-DEB1-4FC5-8910-85E4F506B623}"/>
              </a:ext>
            </a:extLst>
          </p:cNvPr>
          <p:cNvSpPr>
            <a:spLocks noGrp="1"/>
          </p:cNvSpPr>
          <p:nvPr>
            <p:ph type="body" idx="1"/>
          </p:nvPr>
        </p:nvSpPr>
        <p:spPr>
          <a:xfrm>
            <a:off x="831850" y="4895428"/>
            <a:ext cx="10515600" cy="1600199"/>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E48C6861-DF86-4C8C-85B3-19B3B57AD626}"/>
              </a:ext>
            </a:extLst>
          </p:cNvPr>
          <p:cNvSpPr>
            <a:spLocks noGrp="1"/>
          </p:cNvSpPr>
          <p:nvPr>
            <p:ph type="dt" sz="half" idx="10"/>
          </p:nvPr>
        </p:nvSpPr>
        <p:spPr/>
        <p:txBody>
          <a:bodyPr/>
          <a:lstStyle/>
          <a:p>
            <a:fld id="{D018EA7D-168D-4B26-AC02-ADC5565E25F2}" type="datetimeFigureOut">
              <a:rPr lang="en-US" smtClean="0"/>
              <a:t>1/8/2019</a:t>
            </a:fld>
            <a:endParaRPr lang="en-US"/>
          </a:p>
        </p:txBody>
      </p:sp>
      <p:sp>
        <p:nvSpPr>
          <p:cNvPr id="5" name="Footer Placeholder 4">
            <a:extLst>
              <a:ext uri="{FF2B5EF4-FFF2-40B4-BE49-F238E27FC236}">
                <a16:creationId xmlns:a16="http://schemas.microsoft.com/office/drawing/2014/main" id="{AF774FFB-1EDC-45F0-9008-7B0E7FE30B3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D21F49-12D4-497D-ABC5-AC83FC3AE29A}"/>
              </a:ext>
            </a:extLst>
          </p:cNvPr>
          <p:cNvSpPr>
            <a:spLocks noGrp="1"/>
          </p:cNvSpPr>
          <p:nvPr>
            <p:ph type="sldNum" sz="quarter" idx="12"/>
          </p:nvPr>
        </p:nvSpPr>
        <p:spPr/>
        <p:txBody>
          <a:bodyPr/>
          <a:lstStyle/>
          <a:p>
            <a:fld id="{9B1FFF44-CD96-445C-9E29-D3BEA58FBE79}" type="slidenum">
              <a:rPr lang="en-US" smtClean="0"/>
              <a:t>‹#›</a:t>
            </a:fld>
            <a:endParaRPr lang="en-US"/>
          </a:p>
        </p:txBody>
      </p:sp>
    </p:spTree>
    <p:extLst>
      <p:ext uri="{BB962C8B-B14F-4D97-AF65-F5344CB8AC3E}">
        <p14:creationId xmlns:p14="http://schemas.microsoft.com/office/powerpoint/2010/main" val="64408450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A1ED08-E721-4D15-BB6D-8F916B2666C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2BDA809-C158-44E2-89B4-1D85FB6443CB}"/>
              </a:ext>
            </a:extLst>
          </p:cNvPr>
          <p:cNvSpPr>
            <a:spLocks noGrp="1"/>
          </p:cNvSpPr>
          <p:nvPr>
            <p:ph sz="half" idx="1"/>
          </p:nvPr>
        </p:nvSpPr>
        <p:spPr>
          <a:xfrm>
            <a:off x="838200" y="1947333"/>
            <a:ext cx="5181600" cy="46414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24960F9-A255-457F-9328-53A50D32734A}"/>
              </a:ext>
            </a:extLst>
          </p:cNvPr>
          <p:cNvSpPr>
            <a:spLocks noGrp="1"/>
          </p:cNvSpPr>
          <p:nvPr>
            <p:ph sz="half" idx="2"/>
          </p:nvPr>
        </p:nvSpPr>
        <p:spPr>
          <a:xfrm>
            <a:off x="6172200" y="1947333"/>
            <a:ext cx="5181600" cy="46414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35FC436-CFF4-4733-A5DF-683DF4F3FB76}"/>
              </a:ext>
            </a:extLst>
          </p:cNvPr>
          <p:cNvSpPr>
            <a:spLocks noGrp="1"/>
          </p:cNvSpPr>
          <p:nvPr>
            <p:ph type="dt" sz="half" idx="10"/>
          </p:nvPr>
        </p:nvSpPr>
        <p:spPr/>
        <p:txBody>
          <a:bodyPr/>
          <a:lstStyle/>
          <a:p>
            <a:fld id="{D018EA7D-168D-4B26-AC02-ADC5565E25F2}" type="datetimeFigureOut">
              <a:rPr lang="en-US" smtClean="0"/>
              <a:t>1/8/2019</a:t>
            </a:fld>
            <a:endParaRPr lang="en-US"/>
          </a:p>
        </p:txBody>
      </p:sp>
      <p:sp>
        <p:nvSpPr>
          <p:cNvPr id="6" name="Footer Placeholder 5">
            <a:extLst>
              <a:ext uri="{FF2B5EF4-FFF2-40B4-BE49-F238E27FC236}">
                <a16:creationId xmlns:a16="http://schemas.microsoft.com/office/drawing/2014/main" id="{81C661BB-EC23-4F3A-A915-54CD454BB1F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46B1178-F34E-460B-B47A-564114B203CC}"/>
              </a:ext>
            </a:extLst>
          </p:cNvPr>
          <p:cNvSpPr>
            <a:spLocks noGrp="1"/>
          </p:cNvSpPr>
          <p:nvPr>
            <p:ph type="sldNum" sz="quarter" idx="12"/>
          </p:nvPr>
        </p:nvSpPr>
        <p:spPr/>
        <p:txBody>
          <a:bodyPr/>
          <a:lstStyle/>
          <a:p>
            <a:fld id="{9B1FFF44-CD96-445C-9E29-D3BEA58FBE79}" type="slidenum">
              <a:rPr lang="en-US" smtClean="0"/>
              <a:t>‹#›</a:t>
            </a:fld>
            <a:endParaRPr lang="en-US"/>
          </a:p>
        </p:txBody>
      </p:sp>
    </p:spTree>
    <p:extLst>
      <p:ext uri="{BB962C8B-B14F-4D97-AF65-F5344CB8AC3E}">
        <p14:creationId xmlns:p14="http://schemas.microsoft.com/office/powerpoint/2010/main" val="161618656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CA7765-F1ED-4A3D-A4E5-160D77FE3F87}"/>
              </a:ext>
            </a:extLst>
          </p:cNvPr>
          <p:cNvSpPr>
            <a:spLocks noGrp="1"/>
          </p:cNvSpPr>
          <p:nvPr>
            <p:ph type="title"/>
          </p:nvPr>
        </p:nvSpPr>
        <p:spPr>
          <a:xfrm>
            <a:off x="839788" y="389467"/>
            <a:ext cx="10515600" cy="1413934"/>
          </a:xfrm>
        </p:spPr>
        <p:txBody>
          <a:bodyPr/>
          <a:lstStyle/>
          <a:p>
            <a:r>
              <a:rPr lang="en-US"/>
              <a:t>Click to edit Master title style</a:t>
            </a:r>
          </a:p>
        </p:txBody>
      </p:sp>
      <p:sp>
        <p:nvSpPr>
          <p:cNvPr id="3" name="Text Placeholder 2">
            <a:extLst>
              <a:ext uri="{FF2B5EF4-FFF2-40B4-BE49-F238E27FC236}">
                <a16:creationId xmlns:a16="http://schemas.microsoft.com/office/drawing/2014/main" id="{0CD03A72-BF77-4EE7-9B25-4844245818CE}"/>
              </a:ext>
            </a:extLst>
          </p:cNvPr>
          <p:cNvSpPr>
            <a:spLocks noGrp="1"/>
          </p:cNvSpPr>
          <p:nvPr>
            <p:ph type="body" idx="1"/>
          </p:nvPr>
        </p:nvSpPr>
        <p:spPr>
          <a:xfrm>
            <a:off x="839789" y="1793241"/>
            <a:ext cx="5157787" cy="87883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7B7167E4-7574-41EE-8392-DF3842FF274A}"/>
              </a:ext>
            </a:extLst>
          </p:cNvPr>
          <p:cNvSpPr>
            <a:spLocks noGrp="1"/>
          </p:cNvSpPr>
          <p:nvPr>
            <p:ph sz="half" idx="2"/>
          </p:nvPr>
        </p:nvSpPr>
        <p:spPr>
          <a:xfrm>
            <a:off x="839789" y="2672080"/>
            <a:ext cx="5157787" cy="39302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C350A4D-E011-4F48-9D5E-B63356DB5979}"/>
              </a:ext>
            </a:extLst>
          </p:cNvPr>
          <p:cNvSpPr>
            <a:spLocks noGrp="1"/>
          </p:cNvSpPr>
          <p:nvPr>
            <p:ph type="body" sz="quarter" idx="3"/>
          </p:nvPr>
        </p:nvSpPr>
        <p:spPr>
          <a:xfrm>
            <a:off x="6172200" y="1793241"/>
            <a:ext cx="5183188" cy="87883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A5FFE572-E9E0-4365-8361-E278CD428404}"/>
              </a:ext>
            </a:extLst>
          </p:cNvPr>
          <p:cNvSpPr>
            <a:spLocks noGrp="1"/>
          </p:cNvSpPr>
          <p:nvPr>
            <p:ph sz="quarter" idx="4"/>
          </p:nvPr>
        </p:nvSpPr>
        <p:spPr>
          <a:xfrm>
            <a:off x="6172200" y="2672080"/>
            <a:ext cx="5183188" cy="39302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3FC80C2-CFCD-445D-B0B1-4EF716973556}"/>
              </a:ext>
            </a:extLst>
          </p:cNvPr>
          <p:cNvSpPr>
            <a:spLocks noGrp="1"/>
          </p:cNvSpPr>
          <p:nvPr>
            <p:ph type="dt" sz="half" idx="10"/>
          </p:nvPr>
        </p:nvSpPr>
        <p:spPr/>
        <p:txBody>
          <a:bodyPr/>
          <a:lstStyle/>
          <a:p>
            <a:fld id="{D018EA7D-168D-4B26-AC02-ADC5565E25F2}" type="datetimeFigureOut">
              <a:rPr lang="en-US" smtClean="0"/>
              <a:t>1/8/2019</a:t>
            </a:fld>
            <a:endParaRPr lang="en-US"/>
          </a:p>
        </p:txBody>
      </p:sp>
      <p:sp>
        <p:nvSpPr>
          <p:cNvPr id="8" name="Footer Placeholder 7">
            <a:extLst>
              <a:ext uri="{FF2B5EF4-FFF2-40B4-BE49-F238E27FC236}">
                <a16:creationId xmlns:a16="http://schemas.microsoft.com/office/drawing/2014/main" id="{0C7AFE40-8B50-4D22-853E-D3361534133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234863E-F6C0-4079-9140-D6B67AEAA838}"/>
              </a:ext>
            </a:extLst>
          </p:cNvPr>
          <p:cNvSpPr>
            <a:spLocks noGrp="1"/>
          </p:cNvSpPr>
          <p:nvPr>
            <p:ph type="sldNum" sz="quarter" idx="12"/>
          </p:nvPr>
        </p:nvSpPr>
        <p:spPr/>
        <p:txBody>
          <a:bodyPr/>
          <a:lstStyle/>
          <a:p>
            <a:fld id="{9B1FFF44-CD96-445C-9E29-D3BEA58FBE79}" type="slidenum">
              <a:rPr lang="en-US" smtClean="0"/>
              <a:t>‹#›</a:t>
            </a:fld>
            <a:endParaRPr lang="en-US"/>
          </a:p>
        </p:txBody>
      </p:sp>
    </p:spTree>
    <p:extLst>
      <p:ext uri="{BB962C8B-B14F-4D97-AF65-F5344CB8AC3E}">
        <p14:creationId xmlns:p14="http://schemas.microsoft.com/office/powerpoint/2010/main" val="295821956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CC24BB-3347-4100-B18E-2D34A4DFF31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C0DD131-973B-456D-AC0E-B86882EB8FA4}"/>
              </a:ext>
            </a:extLst>
          </p:cNvPr>
          <p:cNvSpPr>
            <a:spLocks noGrp="1"/>
          </p:cNvSpPr>
          <p:nvPr>
            <p:ph type="dt" sz="half" idx="10"/>
          </p:nvPr>
        </p:nvSpPr>
        <p:spPr/>
        <p:txBody>
          <a:bodyPr/>
          <a:lstStyle/>
          <a:p>
            <a:fld id="{D018EA7D-168D-4B26-AC02-ADC5565E25F2}" type="datetimeFigureOut">
              <a:rPr lang="en-US" smtClean="0"/>
              <a:t>1/8/2019</a:t>
            </a:fld>
            <a:endParaRPr lang="en-US"/>
          </a:p>
        </p:txBody>
      </p:sp>
      <p:sp>
        <p:nvSpPr>
          <p:cNvPr id="4" name="Footer Placeholder 3">
            <a:extLst>
              <a:ext uri="{FF2B5EF4-FFF2-40B4-BE49-F238E27FC236}">
                <a16:creationId xmlns:a16="http://schemas.microsoft.com/office/drawing/2014/main" id="{1BADB920-49E2-41BD-8F4A-9A95366EA64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D76ECAB-AA13-4408-9DFC-8965F060FA8A}"/>
              </a:ext>
            </a:extLst>
          </p:cNvPr>
          <p:cNvSpPr>
            <a:spLocks noGrp="1"/>
          </p:cNvSpPr>
          <p:nvPr>
            <p:ph type="sldNum" sz="quarter" idx="12"/>
          </p:nvPr>
        </p:nvSpPr>
        <p:spPr/>
        <p:txBody>
          <a:bodyPr/>
          <a:lstStyle/>
          <a:p>
            <a:fld id="{9B1FFF44-CD96-445C-9E29-D3BEA58FBE79}" type="slidenum">
              <a:rPr lang="en-US" smtClean="0"/>
              <a:t>‹#›</a:t>
            </a:fld>
            <a:endParaRPr lang="en-US"/>
          </a:p>
        </p:txBody>
      </p:sp>
    </p:spTree>
    <p:extLst>
      <p:ext uri="{BB962C8B-B14F-4D97-AF65-F5344CB8AC3E}">
        <p14:creationId xmlns:p14="http://schemas.microsoft.com/office/powerpoint/2010/main" val="305907170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B762E83-45AD-429F-B7DF-4EE65B14AD88}"/>
              </a:ext>
            </a:extLst>
          </p:cNvPr>
          <p:cNvSpPr>
            <a:spLocks noGrp="1"/>
          </p:cNvSpPr>
          <p:nvPr>
            <p:ph type="dt" sz="half" idx="10"/>
          </p:nvPr>
        </p:nvSpPr>
        <p:spPr/>
        <p:txBody>
          <a:bodyPr/>
          <a:lstStyle/>
          <a:p>
            <a:fld id="{D018EA7D-168D-4B26-AC02-ADC5565E25F2}" type="datetimeFigureOut">
              <a:rPr lang="en-US" smtClean="0"/>
              <a:t>1/8/2019</a:t>
            </a:fld>
            <a:endParaRPr lang="en-US"/>
          </a:p>
        </p:txBody>
      </p:sp>
      <p:sp>
        <p:nvSpPr>
          <p:cNvPr id="3" name="Footer Placeholder 2">
            <a:extLst>
              <a:ext uri="{FF2B5EF4-FFF2-40B4-BE49-F238E27FC236}">
                <a16:creationId xmlns:a16="http://schemas.microsoft.com/office/drawing/2014/main" id="{94031427-7F28-45E3-BE3D-0DA46BCFB10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4F7D505-C431-4704-B3B2-DF9ED66255A2}"/>
              </a:ext>
            </a:extLst>
          </p:cNvPr>
          <p:cNvSpPr>
            <a:spLocks noGrp="1"/>
          </p:cNvSpPr>
          <p:nvPr>
            <p:ph type="sldNum" sz="quarter" idx="12"/>
          </p:nvPr>
        </p:nvSpPr>
        <p:spPr/>
        <p:txBody>
          <a:bodyPr/>
          <a:lstStyle/>
          <a:p>
            <a:fld id="{9B1FFF44-CD96-445C-9E29-D3BEA58FBE79}" type="slidenum">
              <a:rPr lang="en-US" smtClean="0"/>
              <a:t>‹#›</a:t>
            </a:fld>
            <a:endParaRPr lang="en-US"/>
          </a:p>
        </p:txBody>
      </p:sp>
    </p:spTree>
    <p:extLst>
      <p:ext uri="{BB962C8B-B14F-4D97-AF65-F5344CB8AC3E}">
        <p14:creationId xmlns:p14="http://schemas.microsoft.com/office/powerpoint/2010/main" val="22069847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8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7" y="1614752"/>
            <a:ext cx="11653523" cy="2055306"/>
          </a:xfrm>
        </p:spPr>
        <p:txBody>
          <a:bodyPr>
            <a:sp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398943969"/>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2368C8-2F63-4B3A-AF83-102FEE7A9FA0}"/>
              </a:ext>
            </a:extLst>
          </p:cNvPr>
          <p:cNvSpPr>
            <a:spLocks noGrp="1"/>
          </p:cNvSpPr>
          <p:nvPr>
            <p:ph type="title"/>
          </p:nvPr>
        </p:nvSpPr>
        <p:spPr>
          <a:xfrm>
            <a:off x="839789" y="487680"/>
            <a:ext cx="3932237" cy="170688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824DC07-CE9B-4458-B069-FFA3344CC5C7}"/>
              </a:ext>
            </a:extLst>
          </p:cNvPr>
          <p:cNvSpPr>
            <a:spLocks noGrp="1"/>
          </p:cNvSpPr>
          <p:nvPr>
            <p:ph idx="1"/>
          </p:nvPr>
        </p:nvSpPr>
        <p:spPr>
          <a:xfrm>
            <a:off x="5183188" y="1053254"/>
            <a:ext cx="6172200" cy="519853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535673F-649D-44FF-9ED4-4165DF419CDE}"/>
              </a:ext>
            </a:extLst>
          </p:cNvPr>
          <p:cNvSpPr>
            <a:spLocks noGrp="1"/>
          </p:cNvSpPr>
          <p:nvPr>
            <p:ph type="body" sz="half" idx="2"/>
          </p:nvPr>
        </p:nvSpPr>
        <p:spPr>
          <a:xfrm>
            <a:off x="839789" y="2194560"/>
            <a:ext cx="3932237" cy="406569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41B2680-A340-4BC0-8F7A-86C53270B816}"/>
              </a:ext>
            </a:extLst>
          </p:cNvPr>
          <p:cNvSpPr>
            <a:spLocks noGrp="1"/>
          </p:cNvSpPr>
          <p:nvPr>
            <p:ph type="dt" sz="half" idx="10"/>
          </p:nvPr>
        </p:nvSpPr>
        <p:spPr/>
        <p:txBody>
          <a:bodyPr/>
          <a:lstStyle/>
          <a:p>
            <a:fld id="{D018EA7D-168D-4B26-AC02-ADC5565E25F2}" type="datetimeFigureOut">
              <a:rPr lang="en-US" smtClean="0"/>
              <a:t>1/8/2019</a:t>
            </a:fld>
            <a:endParaRPr lang="en-US"/>
          </a:p>
        </p:txBody>
      </p:sp>
      <p:sp>
        <p:nvSpPr>
          <p:cNvPr id="6" name="Footer Placeholder 5">
            <a:extLst>
              <a:ext uri="{FF2B5EF4-FFF2-40B4-BE49-F238E27FC236}">
                <a16:creationId xmlns:a16="http://schemas.microsoft.com/office/drawing/2014/main" id="{DB199E52-9241-45B1-84C5-F141BFCF6C1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5F27EFA-8D4B-419A-88E1-C388912DE086}"/>
              </a:ext>
            </a:extLst>
          </p:cNvPr>
          <p:cNvSpPr>
            <a:spLocks noGrp="1"/>
          </p:cNvSpPr>
          <p:nvPr>
            <p:ph type="sldNum" sz="quarter" idx="12"/>
          </p:nvPr>
        </p:nvSpPr>
        <p:spPr/>
        <p:txBody>
          <a:bodyPr/>
          <a:lstStyle/>
          <a:p>
            <a:fld id="{9B1FFF44-CD96-445C-9E29-D3BEA58FBE79}" type="slidenum">
              <a:rPr lang="en-US" smtClean="0"/>
              <a:t>‹#›</a:t>
            </a:fld>
            <a:endParaRPr lang="en-US"/>
          </a:p>
        </p:txBody>
      </p:sp>
    </p:spTree>
    <p:extLst>
      <p:ext uri="{BB962C8B-B14F-4D97-AF65-F5344CB8AC3E}">
        <p14:creationId xmlns:p14="http://schemas.microsoft.com/office/powerpoint/2010/main" val="393773816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55D385-F0AA-45A3-8CE6-B71F089ACF88}"/>
              </a:ext>
            </a:extLst>
          </p:cNvPr>
          <p:cNvSpPr>
            <a:spLocks noGrp="1"/>
          </p:cNvSpPr>
          <p:nvPr>
            <p:ph type="title"/>
          </p:nvPr>
        </p:nvSpPr>
        <p:spPr>
          <a:xfrm>
            <a:off x="839789" y="487680"/>
            <a:ext cx="3932237" cy="170688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8EEC75F-0FD3-45B5-B024-C37B2770807A}"/>
              </a:ext>
            </a:extLst>
          </p:cNvPr>
          <p:cNvSpPr>
            <a:spLocks noGrp="1"/>
          </p:cNvSpPr>
          <p:nvPr>
            <p:ph type="pic" idx="1"/>
          </p:nvPr>
        </p:nvSpPr>
        <p:spPr>
          <a:xfrm>
            <a:off x="5183188" y="1053254"/>
            <a:ext cx="6172200" cy="519853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90F29F0-C395-4BDF-9D92-30959054D655}"/>
              </a:ext>
            </a:extLst>
          </p:cNvPr>
          <p:cNvSpPr>
            <a:spLocks noGrp="1"/>
          </p:cNvSpPr>
          <p:nvPr>
            <p:ph type="body" sz="half" idx="2"/>
          </p:nvPr>
        </p:nvSpPr>
        <p:spPr>
          <a:xfrm>
            <a:off x="839789" y="2194560"/>
            <a:ext cx="3932237" cy="406569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8A79A346-13AC-4139-96DF-615775807C76}"/>
              </a:ext>
            </a:extLst>
          </p:cNvPr>
          <p:cNvSpPr>
            <a:spLocks noGrp="1"/>
          </p:cNvSpPr>
          <p:nvPr>
            <p:ph type="dt" sz="half" idx="10"/>
          </p:nvPr>
        </p:nvSpPr>
        <p:spPr/>
        <p:txBody>
          <a:bodyPr/>
          <a:lstStyle/>
          <a:p>
            <a:fld id="{D018EA7D-168D-4B26-AC02-ADC5565E25F2}" type="datetimeFigureOut">
              <a:rPr lang="en-US" smtClean="0"/>
              <a:t>1/8/2019</a:t>
            </a:fld>
            <a:endParaRPr lang="en-US"/>
          </a:p>
        </p:txBody>
      </p:sp>
      <p:sp>
        <p:nvSpPr>
          <p:cNvPr id="6" name="Footer Placeholder 5">
            <a:extLst>
              <a:ext uri="{FF2B5EF4-FFF2-40B4-BE49-F238E27FC236}">
                <a16:creationId xmlns:a16="http://schemas.microsoft.com/office/drawing/2014/main" id="{E5D16A01-54F1-4A8D-92A6-5C591621E9F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3B55B9B-C9AA-41F7-B5D1-4D5A9E3F8560}"/>
              </a:ext>
            </a:extLst>
          </p:cNvPr>
          <p:cNvSpPr>
            <a:spLocks noGrp="1"/>
          </p:cNvSpPr>
          <p:nvPr>
            <p:ph type="sldNum" sz="quarter" idx="12"/>
          </p:nvPr>
        </p:nvSpPr>
        <p:spPr/>
        <p:txBody>
          <a:bodyPr/>
          <a:lstStyle/>
          <a:p>
            <a:fld id="{9B1FFF44-CD96-445C-9E29-D3BEA58FBE79}" type="slidenum">
              <a:rPr lang="en-US" smtClean="0"/>
              <a:t>‹#›</a:t>
            </a:fld>
            <a:endParaRPr lang="en-US"/>
          </a:p>
        </p:txBody>
      </p:sp>
    </p:spTree>
    <p:extLst>
      <p:ext uri="{BB962C8B-B14F-4D97-AF65-F5344CB8AC3E}">
        <p14:creationId xmlns:p14="http://schemas.microsoft.com/office/powerpoint/2010/main" val="25738236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C08E12-0A8D-4710-BA69-885C2C5F90A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5CA982F-D918-4FE0-B95E-53FAEABFB33D}"/>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2BA6BD4-8D0A-44DF-AEDA-474DD03438FB}"/>
              </a:ext>
            </a:extLst>
          </p:cNvPr>
          <p:cNvSpPr>
            <a:spLocks noGrp="1"/>
          </p:cNvSpPr>
          <p:nvPr>
            <p:ph type="dt" sz="half" idx="10"/>
          </p:nvPr>
        </p:nvSpPr>
        <p:spPr/>
        <p:txBody>
          <a:bodyPr/>
          <a:lstStyle/>
          <a:p>
            <a:fld id="{D018EA7D-168D-4B26-AC02-ADC5565E25F2}" type="datetimeFigureOut">
              <a:rPr lang="en-US" smtClean="0"/>
              <a:t>1/8/2019</a:t>
            </a:fld>
            <a:endParaRPr lang="en-US"/>
          </a:p>
        </p:txBody>
      </p:sp>
      <p:sp>
        <p:nvSpPr>
          <p:cNvPr id="5" name="Footer Placeholder 4">
            <a:extLst>
              <a:ext uri="{FF2B5EF4-FFF2-40B4-BE49-F238E27FC236}">
                <a16:creationId xmlns:a16="http://schemas.microsoft.com/office/drawing/2014/main" id="{5DC15A87-979F-4990-8A12-477D7CB39D1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E3286F1-8285-4266-8F13-970460C4B445}"/>
              </a:ext>
            </a:extLst>
          </p:cNvPr>
          <p:cNvSpPr>
            <a:spLocks noGrp="1"/>
          </p:cNvSpPr>
          <p:nvPr>
            <p:ph type="sldNum" sz="quarter" idx="12"/>
          </p:nvPr>
        </p:nvSpPr>
        <p:spPr/>
        <p:txBody>
          <a:bodyPr/>
          <a:lstStyle/>
          <a:p>
            <a:fld id="{9B1FFF44-CD96-445C-9E29-D3BEA58FBE79}" type="slidenum">
              <a:rPr lang="en-US" smtClean="0"/>
              <a:t>‹#›</a:t>
            </a:fld>
            <a:endParaRPr lang="en-US"/>
          </a:p>
        </p:txBody>
      </p:sp>
    </p:spTree>
    <p:extLst>
      <p:ext uri="{BB962C8B-B14F-4D97-AF65-F5344CB8AC3E}">
        <p14:creationId xmlns:p14="http://schemas.microsoft.com/office/powerpoint/2010/main" val="107479033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61D4DAE-534D-4E63-9F96-DD4E25D639A6}"/>
              </a:ext>
            </a:extLst>
          </p:cNvPr>
          <p:cNvSpPr>
            <a:spLocks noGrp="1"/>
          </p:cNvSpPr>
          <p:nvPr>
            <p:ph type="title" orient="vert"/>
          </p:nvPr>
        </p:nvSpPr>
        <p:spPr>
          <a:xfrm>
            <a:off x="8724900" y="389467"/>
            <a:ext cx="2628900" cy="6199294"/>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73B7780-AA4D-4CBC-B8F8-697FD79276DA}"/>
              </a:ext>
            </a:extLst>
          </p:cNvPr>
          <p:cNvSpPr>
            <a:spLocks noGrp="1"/>
          </p:cNvSpPr>
          <p:nvPr>
            <p:ph type="body" orient="vert" idx="1"/>
          </p:nvPr>
        </p:nvSpPr>
        <p:spPr>
          <a:xfrm>
            <a:off x="838200" y="389467"/>
            <a:ext cx="7734300" cy="619929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D4F9291-7492-456C-AB2F-8DABAC1EB7A7}"/>
              </a:ext>
            </a:extLst>
          </p:cNvPr>
          <p:cNvSpPr>
            <a:spLocks noGrp="1"/>
          </p:cNvSpPr>
          <p:nvPr>
            <p:ph type="dt" sz="half" idx="10"/>
          </p:nvPr>
        </p:nvSpPr>
        <p:spPr/>
        <p:txBody>
          <a:bodyPr/>
          <a:lstStyle/>
          <a:p>
            <a:fld id="{D018EA7D-168D-4B26-AC02-ADC5565E25F2}" type="datetimeFigureOut">
              <a:rPr lang="en-US" smtClean="0"/>
              <a:t>1/8/2019</a:t>
            </a:fld>
            <a:endParaRPr lang="en-US"/>
          </a:p>
        </p:txBody>
      </p:sp>
      <p:sp>
        <p:nvSpPr>
          <p:cNvPr id="5" name="Footer Placeholder 4">
            <a:extLst>
              <a:ext uri="{FF2B5EF4-FFF2-40B4-BE49-F238E27FC236}">
                <a16:creationId xmlns:a16="http://schemas.microsoft.com/office/drawing/2014/main" id="{214F88E9-9C3E-402C-83EC-4140E8AAD89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2C76F8-D155-4623-BE89-D50DBC54ACD4}"/>
              </a:ext>
            </a:extLst>
          </p:cNvPr>
          <p:cNvSpPr>
            <a:spLocks noGrp="1"/>
          </p:cNvSpPr>
          <p:nvPr>
            <p:ph type="sldNum" sz="quarter" idx="12"/>
          </p:nvPr>
        </p:nvSpPr>
        <p:spPr/>
        <p:txBody>
          <a:bodyPr/>
          <a:lstStyle/>
          <a:p>
            <a:fld id="{9B1FFF44-CD96-445C-9E29-D3BEA58FBE79}" type="slidenum">
              <a:rPr lang="en-US" smtClean="0"/>
              <a:t>‹#›</a:t>
            </a:fld>
            <a:endParaRPr lang="en-US"/>
          </a:p>
        </p:txBody>
      </p:sp>
    </p:spTree>
    <p:extLst>
      <p:ext uri="{BB962C8B-B14F-4D97-AF65-F5344CB8AC3E}">
        <p14:creationId xmlns:p14="http://schemas.microsoft.com/office/powerpoint/2010/main" val="78455500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Custom Layout">
    <p:bg>
      <p:bgPr>
        <a:solidFill>
          <a:srgbClr val="0000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061960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223132"/>
            <a:ext cx="9859116" cy="1162178"/>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135762"/>
            <a:ext cx="9860674"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7999983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and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358570" y="1434484"/>
            <a:ext cx="11474238" cy="1827423"/>
          </a:xfrm>
        </p:spPr>
        <p:txBody>
          <a:bodyPr>
            <a:spAutoFit/>
          </a:bodyPr>
          <a:lstStyle>
            <a:lvl1pPr marL="0" indent="0">
              <a:spcBef>
                <a:spcPts val="588"/>
              </a:spcBef>
              <a:buNone/>
              <a:defRPr sz="2745" spc="-29" baseline="0">
                <a:solidFill>
                  <a:srgbClr val="0072C6"/>
                </a:solidFill>
                <a:latin typeface="+mj-lt"/>
              </a:defRPr>
            </a:lvl1pPr>
            <a:lvl2pPr marL="224097" indent="-224097">
              <a:spcBef>
                <a:spcPts val="588"/>
              </a:spcBef>
              <a:buFont typeface="Arial" charset="0"/>
              <a:buChar char="•"/>
              <a:defRPr sz="1961"/>
            </a:lvl2pPr>
            <a:lvl3pPr marL="448193" indent="-224097">
              <a:spcBef>
                <a:spcPts val="588"/>
              </a:spcBef>
              <a:buFont typeface="Arial" charset="0"/>
              <a:buChar char="•"/>
              <a:defRPr/>
            </a:lvl3pPr>
            <a:lvl4pPr marL="672290" indent="-224097">
              <a:spcBef>
                <a:spcPts val="588"/>
              </a:spcBef>
              <a:buFont typeface="Arial" charset="0"/>
              <a:buChar char="•"/>
              <a:defRPr/>
            </a:lvl4pPr>
            <a:lvl5pPr marL="896386" indent="-224097">
              <a:spcBef>
                <a:spcPts val="588"/>
              </a:spcBef>
              <a:buFont typeface="Arial"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40163772"/>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NZ"/>
          </a:p>
        </p:txBody>
      </p:sp>
      <p:sp>
        <p:nvSpPr>
          <p:cNvPr id="3" name="Date Placeholder 2"/>
          <p:cNvSpPr>
            <a:spLocks noGrp="1"/>
          </p:cNvSpPr>
          <p:nvPr>
            <p:ph type="dt" sz="half" idx="10"/>
          </p:nvPr>
        </p:nvSpPr>
        <p:spPr>
          <a:xfrm>
            <a:off x="838843" y="6780590"/>
            <a:ext cx="2742188" cy="388506"/>
          </a:xfrm>
          <a:prstGeom prst="rect">
            <a:avLst/>
          </a:prstGeom>
        </p:spPr>
        <p:txBody>
          <a:bodyPr/>
          <a:lstStyle/>
          <a:p>
            <a:fld id="{0626A314-07C3-4D18-A5FC-2D5811D0A94B}" type="datetimeFigureOut">
              <a:rPr lang="en-NZ" smtClean="0"/>
              <a:t>8/01/2019</a:t>
            </a:fld>
            <a:endParaRPr lang="en-NZ" dirty="0"/>
          </a:p>
        </p:txBody>
      </p:sp>
      <p:sp>
        <p:nvSpPr>
          <p:cNvPr id="4" name="Footer Placeholder 3"/>
          <p:cNvSpPr>
            <a:spLocks noGrp="1"/>
          </p:cNvSpPr>
          <p:nvPr>
            <p:ph type="ftr" sz="quarter" idx="11"/>
          </p:nvPr>
        </p:nvSpPr>
        <p:spPr>
          <a:xfrm>
            <a:off x="4038581" y="6780590"/>
            <a:ext cx="4114839" cy="388506"/>
          </a:xfrm>
          <a:prstGeom prst="rect">
            <a:avLst/>
          </a:prstGeom>
        </p:spPr>
        <p:txBody>
          <a:bodyPr/>
          <a:lstStyle/>
          <a:p>
            <a:endParaRPr lang="en-NZ" dirty="0"/>
          </a:p>
        </p:txBody>
      </p:sp>
      <p:sp>
        <p:nvSpPr>
          <p:cNvPr id="5" name="Slide Number Placeholder 4"/>
          <p:cNvSpPr>
            <a:spLocks noGrp="1"/>
          </p:cNvSpPr>
          <p:nvPr>
            <p:ph type="sldNum" sz="quarter" idx="12"/>
          </p:nvPr>
        </p:nvSpPr>
        <p:spPr>
          <a:xfrm>
            <a:off x="8610971" y="6780590"/>
            <a:ext cx="2742188" cy="388506"/>
          </a:xfrm>
          <a:prstGeom prst="rect">
            <a:avLst/>
          </a:prstGeom>
        </p:spPr>
        <p:txBody>
          <a:bodyPr/>
          <a:lstStyle/>
          <a:p>
            <a:fld id="{FB0C7228-8968-4EAD-A859-852F0E05042B}" type="slidenum">
              <a:rPr lang="en-NZ" smtClean="0"/>
              <a:t>‹#›</a:t>
            </a:fld>
            <a:endParaRPr lang="en-NZ" dirty="0"/>
          </a:p>
        </p:txBody>
      </p:sp>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9569" y="1"/>
            <a:ext cx="12251139" cy="7323501"/>
          </a:xfrm>
          <a:prstGeom prst="rect">
            <a:avLst/>
          </a:prstGeom>
        </p:spPr>
      </p:pic>
      <p:sp>
        <p:nvSpPr>
          <p:cNvPr id="7" name="Rectangle 6"/>
          <p:cNvSpPr/>
          <p:nvPr userDrawn="1"/>
        </p:nvSpPr>
        <p:spPr bwMode="gray">
          <a:xfrm>
            <a:off x="-29569" y="6837039"/>
            <a:ext cx="12251139" cy="486463"/>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75740" y="6984392"/>
            <a:ext cx="806774" cy="183457"/>
          </a:xfrm>
          <a:prstGeom prst="rect">
            <a:avLst/>
          </a:prstGeom>
        </p:spPr>
      </p:pic>
      <p:pic>
        <p:nvPicPr>
          <p:cNvPr id="9" name="Picture 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997690" y="3006881"/>
            <a:ext cx="4178051" cy="2909574"/>
          </a:xfrm>
          <a:prstGeom prst="rect">
            <a:avLst/>
          </a:prstGeom>
        </p:spPr>
      </p:pic>
    </p:spTree>
    <p:extLst>
      <p:ext uri="{BB962C8B-B14F-4D97-AF65-F5344CB8AC3E}">
        <p14:creationId xmlns:p14="http://schemas.microsoft.com/office/powerpoint/2010/main" val="150524592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268456"/>
            <a:ext cx="11653523" cy="1988942"/>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1733335"/>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268456"/>
            <a:ext cx="11653523" cy="198894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037961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9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7" y="1614752"/>
            <a:ext cx="11653523" cy="2055306"/>
          </a:xfrm>
        </p:spPr>
        <p:txBody>
          <a:bodyPr>
            <a:sp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591236352"/>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268457"/>
            <a:ext cx="11653523" cy="2055306"/>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674429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268457"/>
            <a:ext cx="11653523" cy="2055306"/>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387445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268453"/>
            <a:ext cx="5378548" cy="1880387"/>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268453"/>
            <a:ext cx="5378548" cy="1880387"/>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4907398"/>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268453"/>
            <a:ext cx="5378548" cy="1880387"/>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268453"/>
            <a:ext cx="5378548" cy="1880387"/>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801955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268455"/>
            <a:ext cx="5378548" cy="2381229"/>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268455"/>
            <a:ext cx="5378548" cy="2381229"/>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1751405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268455"/>
            <a:ext cx="5378548" cy="2381229"/>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268455"/>
            <a:ext cx="5378548" cy="2381229"/>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2963656"/>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38606587"/>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6" y="1140"/>
            <a:ext cx="12185847" cy="7312546"/>
          </a:xfrm>
          <a:prstGeom prst="rect">
            <a:avLst/>
          </a:prstGeom>
        </p:spPr>
      </p:pic>
      <p:sp>
        <p:nvSpPr>
          <p:cNvPr id="2" name="Title 1"/>
          <p:cNvSpPr>
            <a:spLocks noGrp="1"/>
          </p:cNvSpPr>
          <p:nvPr>
            <p:ph type="title" hasCustomPrompt="1"/>
          </p:nvPr>
        </p:nvSpPr>
        <p:spPr>
          <a:xfrm>
            <a:off x="269240" y="2234741"/>
            <a:ext cx="9859116" cy="1162049"/>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5105055"/>
            <a:ext cx="9860674"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1" y="6837039"/>
            <a:ext cx="12191377" cy="478161"/>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984392"/>
            <a:ext cx="806774" cy="183457"/>
          </a:xfrm>
          <a:prstGeom prst="rect">
            <a:avLst/>
          </a:prstGeom>
        </p:spPr>
      </p:pic>
    </p:spTree>
    <p:extLst>
      <p:ext uri="{BB962C8B-B14F-4D97-AF65-F5344CB8AC3E}">
        <p14:creationId xmlns:p14="http://schemas.microsoft.com/office/powerpoint/2010/main" val="29809300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6" y="1140"/>
            <a:ext cx="12185847" cy="7312546"/>
          </a:xfrm>
          <a:prstGeom prst="rect">
            <a:avLst/>
          </a:prstGeom>
        </p:spPr>
      </p:pic>
      <p:sp>
        <p:nvSpPr>
          <p:cNvPr id="2" name="Title 1"/>
          <p:cNvSpPr>
            <a:spLocks noGrp="1"/>
          </p:cNvSpPr>
          <p:nvPr>
            <p:ph type="title" hasCustomPrompt="1"/>
          </p:nvPr>
        </p:nvSpPr>
        <p:spPr>
          <a:xfrm>
            <a:off x="269240" y="2223118"/>
            <a:ext cx="9859116" cy="1162049"/>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4" name="Rectangle 3"/>
          <p:cNvSpPr/>
          <p:nvPr userDrawn="1"/>
        </p:nvSpPr>
        <p:spPr bwMode="gray">
          <a:xfrm>
            <a:off x="1" y="6837039"/>
            <a:ext cx="12191377" cy="478161"/>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984392"/>
            <a:ext cx="806774" cy="183457"/>
          </a:xfrm>
          <a:prstGeom prst="rect">
            <a:avLst/>
          </a:prstGeom>
        </p:spPr>
      </p:pic>
    </p:spTree>
    <p:extLst>
      <p:ext uri="{BB962C8B-B14F-4D97-AF65-F5344CB8AC3E}">
        <p14:creationId xmlns:p14="http://schemas.microsoft.com/office/powerpoint/2010/main" val="11465006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Ligh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6" y="1140"/>
            <a:ext cx="12185847" cy="7312546"/>
          </a:xfrm>
          <a:prstGeom prst="rect">
            <a:avLst/>
          </a:prstGeom>
        </p:spPr>
      </p:pic>
      <p:sp>
        <p:nvSpPr>
          <p:cNvPr id="2" name="Title 1"/>
          <p:cNvSpPr>
            <a:spLocks noGrp="1"/>
          </p:cNvSpPr>
          <p:nvPr>
            <p:ph type="title" hasCustomPrompt="1"/>
          </p:nvPr>
        </p:nvSpPr>
        <p:spPr>
          <a:xfrm>
            <a:off x="269239" y="2223117"/>
            <a:ext cx="11653523" cy="1162049"/>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476923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0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7" y="1614752"/>
            <a:ext cx="11653523" cy="2055306"/>
          </a:xfrm>
        </p:spPr>
        <p:txBody>
          <a:bodyPr>
            <a:sp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25586114"/>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223117"/>
            <a:ext cx="11653523" cy="1162049"/>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576082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223117"/>
            <a:ext cx="11653523" cy="1162049"/>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7963533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223117"/>
            <a:ext cx="11653523" cy="1162049"/>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234164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223117"/>
            <a:ext cx="11653523" cy="1162049"/>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4304413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98342"/>
            <a:ext cx="5378548" cy="1976567"/>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1"/>
            <a:ext cx="6094444" cy="7313173"/>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86670524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Dar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09610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1175009"/>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0105153"/>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657354411"/>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268454"/>
            <a:ext cx="12192000" cy="604674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030" fontAlgn="base">
              <a:spcBef>
                <a:spcPct val="0"/>
              </a:spcBef>
              <a:spcAft>
                <a:spcPct val="0"/>
              </a:spcAft>
            </a:pPr>
            <a:endParaRPr lang="en-US" sz="2206"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277145"/>
            <a:ext cx="11653522" cy="1960345"/>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602563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2" Type="http://schemas.openxmlformats.org/officeDocument/2006/relationships/theme" Target="../theme/theme10.xml"/><Relationship Id="rId1" Type="http://schemas.openxmlformats.org/officeDocument/2006/relationships/slideLayout" Target="../slideLayouts/slideLayout53.xml"/></Relationships>
</file>

<file path=ppt/slideMasters/_rels/slideMaster11.xml.rels><?xml version="1.0" encoding="UTF-8" standalone="yes"?>
<Relationships xmlns="http://schemas.openxmlformats.org/package/2006/relationships"><Relationship Id="rId2" Type="http://schemas.openxmlformats.org/officeDocument/2006/relationships/theme" Target="../theme/theme11.xml"/><Relationship Id="rId1" Type="http://schemas.openxmlformats.org/officeDocument/2006/relationships/slideLayout" Target="../slideLayouts/slideLayout54.xml"/></Relationships>
</file>

<file path=ppt/slideMasters/_rels/slideMaster12.xml.rels><?xml version="1.0" encoding="UTF-8" standalone="yes"?>
<Relationships xmlns="http://schemas.openxmlformats.org/package/2006/relationships"><Relationship Id="rId2" Type="http://schemas.openxmlformats.org/officeDocument/2006/relationships/theme" Target="../theme/theme12.xml"/><Relationship Id="rId1" Type="http://schemas.openxmlformats.org/officeDocument/2006/relationships/slideLayout" Target="../slideLayouts/slideLayout55.xml"/></Relationships>
</file>

<file path=ppt/slideMasters/_rels/slideMaster13.xml.rels><?xml version="1.0" encoding="UTF-8" standalone="yes"?>
<Relationships xmlns="http://schemas.openxmlformats.org/package/2006/relationships"><Relationship Id="rId2" Type="http://schemas.openxmlformats.org/officeDocument/2006/relationships/theme" Target="../theme/theme13.xml"/><Relationship Id="rId1" Type="http://schemas.openxmlformats.org/officeDocument/2006/relationships/slideLayout" Target="../slideLayouts/slideLayout56.xml"/></Relationships>
</file>

<file path=ppt/slideMasters/_rels/slideMaster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4.xml"/><Relationship Id="rId1" Type="http://schemas.openxmlformats.org/officeDocument/2006/relationships/slideLayout" Target="../slideLayouts/slideLayout57.xml"/></Relationships>
</file>

<file path=ppt/slideMasters/_rels/slideMaster15.xml.rels><?xml version="1.0" encoding="UTF-8" standalone="yes"?>
<Relationships xmlns="http://schemas.openxmlformats.org/package/2006/relationships"><Relationship Id="rId2" Type="http://schemas.openxmlformats.org/officeDocument/2006/relationships/theme" Target="../theme/theme15.xml"/><Relationship Id="rId1" Type="http://schemas.openxmlformats.org/officeDocument/2006/relationships/slideLayout" Target="../slideLayouts/slideLayout58.xml"/></Relationships>
</file>

<file path=ppt/slideMasters/_rels/slideMaster16.xml.rels><?xml version="1.0" encoding="UTF-8" standalone="yes"?>
<Relationships xmlns="http://schemas.openxmlformats.org/package/2006/relationships"><Relationship Id="rId3" Type="http://schemas.openxmlformats.org/officeDocument/2006/relationships/theme" Target="../theme/theme16.xml"/><Relationship Id="rId2" Type="http://schemas.openxmlformats.org/officeDocument/2006/relationships/slideLayout" Target="../slideLayouts/slideLayout60.xml"/><Relationship Id="rId1" Type="http://schemas.openxmlformats.org/officeDocument/2006/relationships/slideLayout" Target="../slideLayouts/slideLayout59.xml"/></Relationships>
</file>

<file path=ppt/slideMasters/_rels/slideMaster17.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theme" Target="../theme/theme17.xml"/><Relationship Id="rId1" Type="http://schemas.openxmlformats.org/officeDocument/2006/relationships/slideLayout" Target="../slideLayouts/slideLayout61.xml"/></Relationships>
</file>

<file path=ppt/slideMasters/_rels/slideMaster18.xml.rels><?xml version="1.0" encoding="UTF-8" standalone="yes"?>
<Relationships xmlns="http://schemas.openxmlformats.org/package/2006/relationships"><Relationship Id="rId2" Type="http://schemas.openxmlformats.org/officeDocument/2006/relationships/theme" Target="../theme/theme18.xml"/><Relationship Id="rId1" Type="http://schemas.openxmlformats.org/officeDocument/2006/relationships/slideLayout" Target="../slideLayouts/slideLayout62.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theme" Target="../theme/theme19.xml"/><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26" Type="http://schemas.openxmlformats.org/officeDocument/2006/relationships/slideLayout" Target="../slideLayouts/slideLayout102.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slideLayout" Target="../slideLayouts/slideLayout101.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29" Type="http://schemas.openxmlformats.org/officeDocument/2006/relationships/theme" Target="../theme/theme20.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slideLayout" Target="../slideLayouts/slideLayout100.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28" Type="http://schemas.openxmlformats.org/officeDocument/2006/relationships/slideLayout" Target="../slideLayouts/slideLayout104.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 Id="rId27" Type="http://schemas.openxmlformats.org/officeDocument/2006/relationships/slideLayout" Target="../slideLayouts/slideLayout103.xml"/><Relationship Id="rId30" Type="http://schemas.openxmlformats.org/officeDocument/2006/relationships/image" Target="../media/image26.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5" Type="http://schemas.openxmlformats.org/officeDocument/2006/relationships/slideLayout" Target="../slideLayouts/slideLayout109.xml"/><Relationship Id="rId10" Type="http://schemas.openxmlformats.org/officeDocument/2006/relationships/slideLayout" Target="../slideLayouts/slideLayout114.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25.xml"/><Relationship Id="rId3" Type="http://schemas.openxmlformats.org/officeDocument/2006/relationships/slideLayout" Target="../slideLayouts/slideLayout120.xml"/><Relationship Id="rId7" Type="http://schemas.openxmlformats.org/officeDocument/2006/relationships/slideLayout" Target="../slideLayouts/slideLayout124.xml"/><Relationship Id="rId2" Type="http://schemas.openxmlformats.org/officeDocument/2006/relationships/slideLayout" Target="../slideLayouts/slideLayout119.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theme" Target="../theme/theme22.xml"/><Relationship Id="rId5" Type="http://schemas.openxmlformats.org/officeDocument/2006/relationships/slideLayout" Target="../slideLayouts/slideLayout122.xml"/><Relationship Id="rId10" Type="http://schemas.openxmlformats.org/officeDocument/2006/relationships/slideLayout" Target="../slideLayouts/slideLayout127.xml"/><Relationship Id="rId4" Type="http://schemas.openxmlformats.org/officeDocument/2006/relationships/slideLayout" Target="../slideLayouts/slideLayout121.xml"/><Relationship Id="rId9" Type="http://schemas.openxmlformats.org/officeDocument/2006/relationships/slideLayout" Target="../slideLayouts/slideLayout126.xml"/></Relationships>
</file>

<file path=ppt/slideMasters/_rels/slideMaster23.xml.rels><?xml version="1.0" encoding="UTF-8" standalone="yes"?>
<Relationships xmlns="http://schemas.openxmlformats.org/package/2006/relationships"><Relationship Id="rId3" Type="http://schemas.openxmlformats.org/officeDocument/2006/relationships/slideLayout" Target="../slideLayouts/slideLayout130.xml"/><Relationship Id="rId2" Type="http://schemas.openxmlformats.org/officeDocument/2006/relationships/slideLayout" Target="../slideLayouts/slideLayout129.xml"/><Relationship Id="rId1" Type="http://schemas.openxmlformats.org/officeDocument/2006/relationships/slideLayout" Target="../slideLayouts/slideLayout128.xml"/><Relationship Id="rId4" Type="http://schemas.openxmlformats.org/officeDocument/2006/relationships/theme" Target="../theme/theme23.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slideLayout" Target="../slideLayouts/slideLayout143.xml"/><Relationship Id="rId18" Type="http://schemas.openxmlformats.org/officeDocument/2006/relationships/slideLayout" Target="../slideLayouts/slideLayout148.xml"/><Relationship Id="rId3" Type="http://schemas.openxmlformats.org/officeDocument/2006/relationships/slideLayout" Target="../slideLayouts/slideLayout133.xml"/><Relationship Id="rId21" Type="http://schemas.openxmlformats.org/officeDocument/2006/relationships/vmlDrawing" Target="../drawings/vmlDrawing2.vml"/><Relationship Id="rId7" Type="http://schemas.openxmlformats.org/officeDocument/2006/relationships/slideLayout" Target="../slideLayouts/slideLayout137.xml"/><Relationship Id="rId12" Type="http://schemas.openxmlformats.org/officeDocument/2006/relationships/slideLayout" Target="../slideLayouts/slideLayout142.xml"/><Relationship Id="rId17" Type="http://schemas.openxmlformats.org/officeDocument/2006/relationships/slideLayout" Target="../slideLayouts/slideLayout147.xml"/><Relationship Id="rId2" Type="http://schemas.openxmlformats.org/officeDocument/2006/relationships/slideLayout" Target="../slideLayouts/slideLayout132.xml"/><Relationship Id="rId16" Type="http://schemas.openxmlformats.org/officeDocument/2006/relationships/slideLayout" Target="../slideLayouts/slideLayout146.xml"/><Relationship Id="rId20" Type="http://schemas.openxmlformats.org/officeDocument/2006/relationships/theme" Target="../theme/theme24.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24" Type="http://schemas.openxmlformats.org/officeDocument/2006/relationships/image" Target="../media/image38.emf"/><Relationship Id="rId5" Type="http://schemas.openxmlformats.org/officeDocument/2006/relationships/slideLayout" Target="../slideLayouts/slideLayout135.xml"/><Relationship Id="rId15" Type="http://schemas.openxmlformats.org/officeDocument/2006/relationships/slideLayout" Target="../slideLayouts/slideLayout145.xml"/><Relationship Id="rId23" Type="http://schemas.openxmlformats.org/officeDocument/2006/relationships/oleObject" Target="../embeddings/oleObject2.bin"/><Relationship Id="rId10" Type="http://schemas.openxmlformats.org/officeDocument/2006/relationships/slideLayout" Target="../slideLayouts/slideLayout140.xml"/><Relationship Id="rId19" Type="http://schemas.openxmlformats.org/officeDocument/2006/relationships/slideLayout" Target="../slideLayouts/slideLayout149.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 Id="rId22" Type="http://schemas.openxmlformats.org/officeDocument/2006/relationships/tags" Target="../tags/tag2.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157.xml"/><Relationship Id="rId13" Type="http://schemas.openxmlformats.org/officeDocument/2006/relationships/slideLayout" Target="../slideLayouts/slideLayout162.xml"/><Relationship Id="rId3" Type="http://schemas.openxmlformats.org/officeDocument/2006/relationships/slideLayout" Target="../slideLayouts/slideLayout152.xml"/><Relationship Id="rId7" Type="http://schemas.openxmlformats.org/officeDocument/2006/relationships/slideLayout" Target="../slideLayouts/slideLayout156.xml"/><Relationship Id="rId12" Type="http://schemas.openxmlformats.org/officeDocument/2006/relationships/slideLayout" Target="../slideLayouts/slideLayout161.xml"/><Relationship Id="rId2" Type="http://schemas.openxmlformats.org/officeDocument/2006/relationships/slideLayout" Target="../slideLayouts/slideLayout151.xml"/><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slideLayout" Target="../slideLayouts/slideLayout160.xml"/><Relationship Id="rId5" Type="http://schemas.openxmlformats.org/officeDocument/2006/relationships/slideLayout" Target="../slideLayouts/slideLayout154.xml"/><Relationship Id="rId15" Type="http://schemas.openxmlformats.org/officeDocument/2006/relationships/theme" Target="../theme/theme25.xml"/><Relationship Id="rId10" Type="http://schemas.openxmlformats.org/officeDocument/2006/relationships/slideLayout" Target="../slideLayouts/slideLayout159.xml"/><Relationship Id="rId4" Type="http://schemas.openxmlformats.org/officeDocument/2006/relationships/slideLayout" Target="../slideLayouts/slideLayout153.xml"/><Relationship Id="rId9" Type="http://schemas.openxmlformats.org/officeDocument/2006/relationships/slideLayout" Target="../slideLayouts/slideLayout158.xml"/><Relationship Id="rId14" Type="http://schemas.openxmlformats.org/officeDocument/2006/relationships/slideLayout" Target="../slideLayouts/slideLayout163.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171.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26" Type="http://schemas.openxmlformats.org/officeDocument/2006/relationships/slideLayout" Target="../slideLayouts/slideLayout189.xml"/><Relationship Id="rId3" Type="http://schemas.openxmlformats.org/officeDocument/2006/relationships/slideLayout" Target="../slideLayouts/slideLayout166.xml"/><Relationship Id="rId21" Type="http://schemas.openxmlformats.org/officeDocument/2006/relationships/slideLayout" Target="../slideLayouts/slideLayout184.xml"/><Relationship Id="rId7" Type="http://schemas.openxmlformats.org/officeDocument/2006/relationships/slideLayout" Target="../slideLayouts/slideLayout170.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2" Type="http://schemas.openxmlformats.org/officeDocument/2006/relationships/slideLayout" Target="../slideLayouts/slideLayout165.xml"/><Relationship Id="rId16" Type="http://schemas.openxmlformats.org/officeDocument/2006/relationships/slideLayout" Target="../slideLayouts/slideLayout179.xml"/><Relationship Id="rId20" Type="http://schemas.openxmlformats.org/officeDocument/2006/relationships/slideLayout" Target="../slideLayouts/slideLayout183.xml"/><Relationship Id="rId29" Type="http://schemas.openxmlformats.org/officeDocument/2006/relationships/slideLayout" Target="../slideLayouts/slideLayout192.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24" Type="http://schemas.openxmlformats.org/officeDocument/2006/relationships/slideLayout" Target="../slideLayouts/slideLayout187.xml"/><Relationship Id="rId5" Type="http://schemas.openxmlformats.org/officeDocument/2006/relationships/slideLayout" Target="../slideLayouts/slideLayout168.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10" Type="http://schemas.openxmlformats.org/officeDocument/2006/relationships/slideLayout" Target="../slideLayouts/slideLayout173.xml"/><Relationship Id="rId19" Type="http://schemas.openxmlformats.org/officeDocument/2006/relationships/slideLayout" Target="../slideLayouts/slideLayout182.xml"/><Relationship Id="rId31" Type="http://schemas.openxmlformats.org/officeDocument/2006/relationships/image" Target="../media/image25.emf"/><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theme" Target="../theme/theme26.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theme" Target="../theme/theme27.xml"/><Relationship Id="rId3" Type="http://schemas.openxmlformats.org/officeDocument/2006/relationships/slideLayout" Target="../slideLayouts/slideLayout195.xml"/><Relationship Id="rId7" Type="http://schemas.openxmlformats.org/officeDocument/2006/relationships/slideLayout" Target="../slideLayouts/slideLayout199.xml"/><Relationship Id="rId12" Type="http://schemas.openxmlformats.org/officeDocument/2006/relationships/slideLayout" Target="../slideLayouts/slideLayout204.xml"/><Relationship Id="rId2" Type="http://schemas.openxmlformats.org/officeDocument/2006/relationships/slideLayout" Target="../slideLayouts/slideLayout194.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5" Type="http://schemas.openxmlformats.org/officeDocument/2006/relationships/slideLayout" Target="../slideLayouts/slideLayout197.xml"/><Relationship Id="rId10" Type="http://schemas.openxmlformats.org/officeDocument/2006/relationships/slideLayout" Target="../slideLayouts/slideLayout202.xml"/><Relationship Id="rId4" Type="http://schemas.openxmlformats.org/officeDocument/2006/relationships/slideLayout" Target="../slideLayouts/slideLayout196.xml"/><Relationship Id="rId9" Type="http://schemas.openxmlformats.org/officeDocument/2006/relationships/slideLayout" Target="../slideLayouts/slideLayout201.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212.xml"/><Relationship Id="rId13" Type="http://schemas.openxmlformats.org/officeDocument/2006/relationships/slideLayout" Target="../slideLayouts/slideLayout217.xml"/><Relationship Id="rId18" Type="http://schemas.openxmlformats.org/officeDocument/2006/relationships/slideLayout" Target="../slideLayouts/slideLayout222.xml"/><Relationship Id="rId26" Type="http://schemas.openxmlformats.org/officeDocument/2006/relationships/slideLayout" Target="../slideLayouts/slideLayout230.xml"/><Relationship Id="rId3" Type="http://schemas.openxmlformats.org/officeDocument/2006/relationships/slideLayout" Target="../slideLayouts/slideLayout207.xml"/><Relationship Id="rId21" Type="http://schemas.openxmlformats.org/officeDocument/2006/relationships/slideLayout" Target="../slideLayouts/slideLayout225.xml"/><Relationship Id="rId7" Type="http://schemas.openxmlformats.org/officeDocument/2006/relationships/slideLayout" Target="../slideLayouts/slideLayout211.xml"/><Relationship Id="rId12" Type="http://schemas.openxmlformats.org/officeDocument/2006/relationships/slideLayout" Target="../slideLayouts/slideLayout216.xml"/><Relationship Id="rId17" Type="http://schemas.openxmlformats.org/officeDocument/2006/relationships/slideLayout" Target="../slideLayouts/slideLayout221.xml"/><Relationship Id="rId25" Type="http://schemas.openxmlformats.org/officeDocument/2006/relationships/slideLayout" Target="../slideLayouts/slideLayout229.xml"/><Relationship Id="rId2" Type="http://schemas.openxmlformats.org/officeDocument/2006/relationships/slideLayout" Target="../slideLayouts/slideLayout206.xml"/><Relationship Id="rId16" Type="http://schemas.openxmlformats.org/officeDocument/2006/relationships/slideLayout" Target="../slideLayouts/slideLayout220.xml"/><Relationship Id="rId20" Type="http://schemas.openxmlformats.org/officeDocument/2006/relationships/slideLayout" Target="../slideLayouts/slideLayout224.xml"/><Relationship Id="rId29" Type="http://schemas.openxmlformats.org/officeDocument/2006/relationships/theme" Target="../theme/theme28.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1" Type="http://schemas.openxmlformats.org/officeDocument/2006/relationships/slideLayout" Target="../slideLayouts/slideLayout215.xml"/><Relationship Id="rId24" Type="http://schemas.openxmlformats.org/officeDocument/2006/relationships/slideLayout" Target="../slideLayouts/slideLayout228.xml"/><Relationship Id="rId5" Type="http://schemas.openxmlformats.org/officeDocument/2006/relationships/slideLayout" Target="../slideLayouts/slideLayout209.xml"/><Relationship Id="rId15" Type="http://schemas.openxmlformats.org/officeDocument/2006/relationships/slideLayout" Target="../slideLayouts/slideLayout219.xml"/><Relationship Id="rId23" Type="http://schemas.openxmlformats.org/officeDocument/2006/relationships/slideLayout" Target="../slideLayouts/slideLayout227.xml"/><Relationship Id="rId28" Type="http://schemas.openxmlformats.org/officeDocument/2006/relationships/slideLayout" Target="../slideLayouts/slideLayout232.xml"/><Relationship Id="rId10" Type="http://schemas.openxmlformats.org/officeDocument/2006/relationships/slideLayout" Target="../slideLayouts/slideLayout214.xml"/><Relationship Id="rId19" Type="http://schemas.openxmlformats.org/officeDocument/2006/relationships/slideLayout" Target="../slideLayouts/slideLayout223.xml"/><Relationship Id="rId4" Type="http://schemas.openxmlformats.org/officeDocument/2006/relationships/slideLayout" Target="../slideLayouts/slideLayout208.xml"/><Relationship Id="rId9" Type="http://schemas.openxmlformats.org/officeDocument/2006/relationships/slideLayout" Target="../slideLayouts/slideLayout213.xml"/><Relationship Id="rId14" Type="http://schemas.openxmlformats.org/officeDocument/2006/relationships/slideLayout" Target="../slideLayouts/slideLayout218.xml"/><Relationship Id="rId22" Type="http://schemas.openxmlformats.org/officeDocument/2006/relationships/slideLayout" Target="../slideLayouts/slideLayout226.xml"/><Relationship Id="rId27" Type="http://schemas.openxmlformats.org/officeDocument/2006/relationships/slideLayout" Target="../slideLayouts/slideLayout231.xml"/></Relationships>
</file>

<file path=ppt/slideMasters/_rels/slideMaster29.xml.rels><?xml version="1.0" encoding="UTF-8" standalone="yes"?>
<Relationships xmlns="http://schemas.openxmlformats.org/package/2006/relationships"><Relationship Id="rId3" Type="http://schemas.openxmlformats.org/officeDocument/2006/relationships/slideLayout" Target="../slideLayouts/slideLayout235.xml"/><Relationship Id="rId2" Type="http://schemas.openxmlformats.org/officeDocument/2006/relationships/slideLayout" Target="../slideLayouts/slideLayout234.xml"/><Relationship Id="rId1" Type="http://schemas.openxmlformats.org/officeDocument/2006/relationships/slideLayout" Target="../slideLayouts/slideLayout233.xml"/><Relationship Id="rId5" Type="http://schemas.openxmlformats.org/officeDocument/2006/relationships/image" Target="../media/image25.emf"/><Relationship Id="rId4" Type="http://schemas.openxmlformats.org/officeDocument/2006/relationships/theme" Target="../theme/theme29.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slideLayout" Target="../slideLayouts/slideLayout24.xml"/><Relationship Id="rId1" Type="http://schemas.openxmlformats.org/officeDocument/2006/relationships/slideLayout" Target="../slideLayouts/slideLayout23.xml"/><Relationship Id="rId5" Type="http://schemas.openxmlformats.org/officeDocument/2006/relationships/theme" Target="../theme/theme3.xml"/><Relationship Id="rId4" Type="http://schemas.openxmlformats.org/officeDocument/2006/relationships/slideLayout" Target="../slideLayouts/slideLayout26.xml"/></Relationships>
</file>

<file path=ppt/slideMasters/_rels/slideMaster30.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theme" Target="../theme/theme30.xml"/><Relationship Id="rId1" Type="http://schemas.openxmlformats.org/officeDocument/2006/relationships/slideLayout" Target="../slideLayouts/slideLayout236.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44.xml"/><Relationship Id="rId13" Type="http://schemas.openxmlformats.org/officeDocument/2006/relationships/slideLayout" Target="../slideLayouts/slideLayout249.xml"/><Relationship Id="rId18" Type="http://schemas.openxmlformats.org/officeDocument/2006/relationships/slideLayout" Target="../slideLayouts/slideLayout254.xml"/><Relationship Id="rId3" Type="http://schemas.openxmlformats.org/officeDocument/2006/relationships/slideLayout" Target="../slideLayouts/slideLayout239.xml"/><Relationship Id="rId7" Type="http://schemas.openxmlformats.org/officeDocument/2006/relationships/slideLayout" Target="../slideLayouts/slideLayout243.xml"/><Relationship Id="rId12" Type="http://schemas.openxmlformats.org/officeDocument/2006/relationships/slideLayout" Target="../slideLayouts/slideLayout248.xml"/><Relationship Id="rId17" Type="http://schemas.openxmlformats.org/officeDocument/2006/relationships/slideLayout" Target="../slideLayouts/slideLayout253.xml"/><Relationship Id="rId2" Type="http://schemas.openxmlformats.org/officeDocument/2006/relationships/slideLayout" Target="../slideLayouts/slideLayout238.xml"/><Relationship Id="rId16" Type="http://schemas.openxmlformats.org/officeDocument/2006/relationships/slideLayout" Target="../slideLayouts/slideLayout252.xml"/><Relationship Id="rId20" Type="http://schemas.openxmlformats.org/officeDocument/2006/relationships/image" Target="../media/image57.emf"/><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5" Type="http://schemas.openxmlformats.org/officeDocument/2006/relationships/slideLayout" Target="../slideLayouts/slideLayout241.xml"/><Relationship Id="rId15" Type="http://schemas.openxmlformats.org/officeDocument/2006/relationships/slideLayout" Target="../slideLayouts/slideLayout251.xml"/><Relationship Id="rId10" Type="http://schemas.openxmlformats.org/officeDocument/2006/relationships/slideLayout" Target="../slideLayouts/slideLayout246.xml"/><Relationship Id="rId19" Type="http://schemas.openxmlformats.org/officeDocument/2006/relationships/theme" Target="../theme/theme31.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62.xml"/><Relationship Id="rId13" Type="http://schemas.openxmlformats.org/officeDocument/2006/relationships/slideLayout" Target="../slideLayouts/slideLayout267.xml"/><Relationship Id="rId18" Type="http://schemas.openxmlformats.org/officeDocument/2006/relationships/slideLayout" Target="../slideLayouts/slideLayout272.xml"/><Relationship Id="rId26" Type="http://schemas.openxmlformats.org/officeDocument/2006/relationships/slideLayout" Target="../slideLayouts/slideLayout280.xml"/><Relationship Id="rId3" Type="http://schemas.openxmlformats.org/officeDocument/2006/relationships/slideLayout" Target="../slideLayouts/slideLayout257.xml"/><Relationship Id="rId21" Type="http://schemas.openxmlformats.org/officeDocument/2006/relationships/slideLayout" Target="../slideLayouts/slideLayout275.xml"/><Relationship Id="rId7" Type="http://schemas.openxmlformats.org/officeDocument/2006/relationships/slideLayout" Target="../slideLayouts/slideLayout261.xml"/><Relationship Id="rId12" Type="http://schemas.openxmlformats.org/officeDocument/2006/relationships/slideLayout" Target="../slideLayouts/slideLayout266.xml"/><Relationship Id="rId17" Type="http://schemas.openxmlformats.org/officeDocument/2006/relationships/slideLayout" Target="../slideLayouts/slideLayout271.xml"/><Relationship Id="rId25" Type="http://schemas.openxmlformats.org/officeDocument/2006/relationships/slideLayout" Target="../slideLayouts/slideLayout279.xml"/><Relationship Id="rId2" Type="http://schemas.openxmlformats.org/officeDocument/2006/relationships/slideLayout" Target="../slideLayouts/slideLayout256.xml"/><Relationship Id="rId16" Type="http://schemas.openxmlformats.org/officeDocument/2006/relationships/slideLayout" Target="../slideLayouts/slideLayout270.xml"/><Relationship Id="rId20" Type="http://schemas.openxmlformats.org/officeDocument/2006/relationships/slideLayout" Target="../slideLayouts/slideLayout274.xml"/><Relationship Id="rId29" Type="http://schemas.openxmlformats.org/officeDocument/2006/relationships/slideLayout" Target="../slideLayouts/slideLayout283.xml"/><Relationship Id="rId1" Type="http://schemas.openxmlformats.org/officeDocument/2006/relationships/slideLayout" Target="../slideLayouts/slideLayout255.xml"/><Relationship Id="rId6" Type="http://schemas.openxmlformats.org/officeDocument/2006/relationships/slideLayout" Target="../slideLayouts/slideLayout260.xml"/><Relationship Id="rId11" Type="http://schemas.openxmlformats.org/officeDocument/2006/relationships/slideLayout" Target="../slideLayouts/slideLayout265.xml"/><Relationship Id="rId24" Type="http://schemas.openxmlformats.org/officeDocument/2006/relationships/slideLayout" Target="../slideLayouts/slideLayout278.xml"/><Relationship Id="rId32" Type="http://schemas.openxmlformats.org/officeDocument/2006/relationships/theme" Target="../theme/theme32.xml"/><Relationship Id="rId5" Type="http://schemas.openxmlformats.org/officeDocument/2006/relationships/slideLayout" Target="../slideLayouts/slideLayout259.xml"/><Relationship Id="rId15" Type="http://schemas.openxmlformats.org/officeDocument/2006/relationships/slideLayout" Target="../slideLayouts/slideLayout269.xml"/><Relationship Id="rId23" Type="http://schemas.openxmlformats.org/officeDocument/2006/relationships/slideLayout" Target="../slideLayouts/slideLayout277.xml"/><Relationship Id="rId28" Type="http://schemas.openxmlformats.org/officeDocument/2006/relationships/slideLayout" Target="../slideLayouts/slideLayout282.xml"/><Relationship Id="rId10" Type="http://schemas.openxmlformats.org/officeDocument/2006/relationships/slideLayout" Target="../slideLayouts/slideLayout264.xml"/><Relationship Id="rId19" Type="http://schemas.openxmlformats.org/officeDocument/2006/relationships/slideLayout" Target="../slideLayouts/slideLayout273.xml"/><Relationship Id="rId31" Type="http://schemas.openxmlformats.org/officeDocument/2006/relationships/slideLayout" Target="../slideLayouts/slideLayout285.xml"/><Relationship Id="rId4" Type="http://schemas.openxmlformats.org/officeDocument/2006/relationships/slideLayout" Target="../slideLayouts/slideLayout258.xml"/><Relationship Id="rId9" Type="http://schemas.openxmlformats.org/officeDocument/2006/relationships/slideLayout" Target="../slideLayouts/slideLayout263.xml"/><Relationship Id="rId14" Type="http://schemas.openxmlformats.org/officeDocument/2006/relationships/slideLayout" Target="../slideLayouts/slideLayout268.xml"/><Relationship Id="rId22" Type="http://schemas.openxmlformats.org/officeDocument/2006/relationships/slideLayout" Target="../slideLayouts/slideLayout276.xml"/><Relationship Id="rId27" Type="http://schemas.openxmlformats.org/officeDocument/2006/relationships/slideLayout" Target="../slideLayouts/slideLayout281.xml"/><Relationship Id="rId30" Type="http://schemas.openxmlformats.org/officeDocument/2006/relationships/slideLayout" Target="../slideLayouts/slideLayout28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theme" Target="../theme/theme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45.xml"/><Relationship Id="rId1" Type="http://schemas.openxmlformats.org/officeDocument/2006/relationships/slideLayout" Target="../slideLayouts/slideLayout44.xml"/><Relationship Id="rId4" Type="http://schemas.openxmlformats.org/officeDocument/2006/relationships/image" Target="../media/image22.png"/></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47.xml"/><Relationship Id="rId1" Type="http://schemas.openxmlformats.org/officeDocument/2006/relationships/slideLayout" Target="../slideLayouts/slideLayout46.xml"/></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2" Type="http://schemas.openxmlformats.org/officeDocument/2006/relationships/slideLayout" Target="../slideLayouts/slideLayout49.xml"/><Relationship Id="rId1" Type="http://schemas.openxmlformats.org/officeDocument/2006/relationships/slideLayout" Target="../slideLayouts/slideLayout48.xml"/></Relationships>
</file>

<file path=ppt/slideMasters/_rels/slideMaster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theme" Target="../theme/theme8.xml"/><Relationship Id="rId1" Type="http://schemas.openxmlformats.org/officeDocument/2006/relationships/slideLayout" Target="../slideLayouts/slideLayout50.xml"/><Relationship Id="rId4" Type="http://schemas.openxmlformats.org/officeDocument/2006/relationships/image" Target="../media/image24.png"/></Relationships>
</file>

<file path=ppt/slideMasters/_rels/slideMaster9.xml.rels><?xml version="1.0" encoding="UTF-8" standalone="yes"?>
<Relationships xmlns="http://schemas.openxmlformats.org/package/2006/relationships"><Relationship Id="rId3" Type="http://schemas.openxmlformats.org/officeDocument/2006/relationships/theme" Target="../theme/theme9.xml"/><Relationship Id="rId2" Type="http://schemas.openxmlformats.org/officeDocument/2006/relationships/slideLayout" Target="../slideLayouts/slideLayout52.xml"/><Relationship Id="rId1" Type="http://schemas.openxmlformats.org/officeDocument/2006/relationships/slideLayout" Target="../slideLayouts/slideLayout51.xml"/><Relationship Id="rId4" Type="http://schemas.openxmlformats.org/officeDocument/2006/relationships/image" Target="../media/image25.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23"/>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4376" y="655109"/>
            <a:ext cx="10955156" cy="959643"/>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95160" y="1696348"/>
            <a:ext cx="8534052" cy="2055306"/>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94551663"/>
      </p:ext>
    </p:extLst>
  </p:cSld>
  <p:clrMap bg1="dk1" tx1="lt1" bg2="dk2" tx2="lt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685" r:id="rId13"/>
    <p:sldLayoutId id="2147483720" r:id="rId14"/>
    <p:sldLayoutId id="2147483719" r:id="rId15"/>
    <p:sldLayoutId id="2147483721" r:id="rId16"/>
    <p:sldLayoutId id="2147483731" r:id="rId17"/>
    <p:sldLayoutId id="2147483723" r:id="rId18"/>
    <p:sldLayoutId id="2147483722" r:id="rId19"/>
    <p:sldLayoutId id="2147483665" r:id="rId20"/>
    <p:sldLayoutId id="2147483725" r:id="rId21"/>
  </p:sldLayoutIdLst>
  <p:transition>
    <p:fade/>
  </p:transition>
  <p:hf sldNum="0" hdr="0" ftr="0" dt="0"/>
  <p:txStyles>
    <p:titleStyle>
      <a:lvl1pPr algn="l" defTabSz="914367" rtl="0" eaLnBrk="1" latinLnBrk="0" hangingPunct="1">
        <a:lnSpc>
          <a:spcPct val="90000"/>
        </a:lnSpc>
        <a:spcBef>
          <a:spcPct val="0"/>
        </a:spcBef>
        <a:buNone/>
        <a:defRPr lang="en-US" sz="5500" b="0" kern="1200" cap="none" spc="-100" baseline="0" dirty="0" smtClean="0">
          <a:ln w="3175">
            <a:noFill/>
          </a:ln>
          <a:solidFill>
            <a:schemeClr val="tx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00000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308813"/>
            <a:ext cx="11655840" cy="959643"/>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268457"/>
            <a:ext cx="11653521" cy="205517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12976"/>
      </p:ext>
    </p:extLst>
  </p:cSld>
  <p:clrMap bg1="dk1" tx1="lt1" bg2="dk2" tx2="lt2" accent1="accent1" accent2="accent2" accent3="accent3" accent4="accent4" accent5="accent5" accent6="accent6" hlink="hlink" folHlink="folHlink"/>
  <p:sldLayoutIdLst>
    <p:sldLayoutId id="2147484017" r:id="rId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00000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308813"/>
            <a:ext cx="11655840" cy="959643"/>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268457"/>
            <a:ext cx="11653521" cy="205517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7" y="6271"/>
            <a:ext cx="935478" cy="6025091"/>
            <a:chOff x="12618967" y="5995"/>
            <a:chExt cx="954236" cy="5760970"/>
          </a:xfrm>
        </p:grpSpPr>
        <p:grpSp>
          <p:nvGrpSpPr>
            <p:cNvPr id="18" name="Group 17"/>
            <p:cNvGrpSpPr/>
            <p:nvPr userDrawn="1"/>
          </p:nvGrpSpPr>
          <p:grpSpPr>
            <a:xfrm>
              <a:off x="12618967" y="5995"/>
              <a:ext cx="954236" cy="5627068"/>
              <a:chOff x="12618967" y="5995"/>
              <a:chExt cx="954236" cy="5627068"/>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927"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3927"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3927"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3927"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3014187" y="258334"/>
                <a:ext cx="791197"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829417" y="4228746"/>
                <a:ext cx="2481800"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3927"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453906016"/>
      </p:ext>
    </p:extLst>
  </p:cSld>
  <p:clrMap bg1="lt1" tx1="dk1" bg2="lt2" tx2="dk2" accent1="accent1" accent2="accent2" accent3="accent3" accent4="accent4" accent5="accent5" accent6="accent6" hlink="hlink" folHlink="folHlink"/>
  <p:sldLayoutIdLst>
    <p:sldLayoutId id="2147484026" r:id="rId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89467"/>
            <a:ext cx="10515600" cy="141393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947335"/>
            <a:ext cx="10515600" cy="464142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780107"/>
            <a:ext cx="2743200" cy="389467"/>
          </a:xfrm>
          <a:prstGeom prst="rect">
            <a:avLst/>
          </a:prstGeom>
        </p:spPr>
        <p:txBody>
          <a:bodyPr vert="horz" lIns="91440" tIns="45720" rIns="91440" bIns="45720" rtlCol="0" anchor="ctr"/>
          <a:lstStyle>
            <a:lvl1pPr algn="l">
              <a:defRPr sz="1053">
                <a:solidFill>
                  <a:schemeClr val="tx1">
                    <a:tint val="75000"/>
                  </a:schemeClr>
                </a:solidFill>
              </a:defRPr>
            </a:lvl1pPr>
          </a:lstStyle>
          <a:p>
            <a:fld id="{0516FB27-2B57-44A4-BBB3-6A262D303CCE}" type="datetimeFigureOut">
              <a:rPr lang="en-US" smtClean="0"/>
              <a:t>1/8/2019</a:t>
            </a:fld>
            <a:endParaRPr lang="en-US"/>
          </a:p>
        </p:txBody>
      </p:sp>
      <p:sp>
        <p:nvSpPr>
          <p:cNvPr id="5" name="Footer Placeholder 4"/>
          <p:cNvSpPr>
            <a:spLocks noGrp="1"/>
          </p:cNvSpPr>
          <p:nvPr>
            <p:ph type="ftr" sz="quarter" idx="3"/>
          </p:nvPr>
        </p:nvSpPr>
        <p:spPr>
          <a:xfrm>
            <a:off x="4038600" y="6780107"/>
            <a:ext cx="4114800" cy="389467"/>
          </a:xfrm>
          <a:prstGeom prst="rect">
            <a:avLst/>
          </a:prstGeom>
        </p:spPr>
        <p:txBody>
          <a:bodyPr vert="horz" lIns="91440" tIns="45720" rIns="91440" bIns="45720" rtlCol="0" anchor="ctr"/>
          <a:lstStyle>
            <a:lvl1pPr algn="ctr">
              <a:defRPr sz="1053">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780107"/>
            <a:ext cx="2743200" cy="389467"/>
          </a:xfrm>
          <a:prstGeom prst="rect">
            <a:avLst/>
          </a:prstGeom>
        </p:spPr>
        <p:txBody>
          <a:bodyPr vert="horz" lIns="91440" tIns="45720" rIns="91440" bIns="45720" rtlCol="0" anchor="ctr"/>
          <a:lstStyle>
            <a:lvl1pPr algn="r">
              <a:defRPr sz="1053">
                <a:solidFill>
                  <a:schemeClr val="tx1">
                    <a:tint val="75000"/>
                  </a:schemeClr>
                </a:solidFill>
              </a:defRPr>
            </a:lvl1pPr>
          </a:lstStyle>
          <a:p>
            <a:fld id="{F22B9F7F-7880-4EBE-82BD-2E156DF91094}" type="slidenum">
              <a:rPr lang="en-US" smtClean="0"/>
              <a:t>‹#›</a:t>
            </a:fld>
            <a:endParaRPr lang="en-US"/>
          </a:p>
        </p:txBody>
      </p:sp>
    </p:spTree>
    <p:extLst>
      <p:ext uri="{BB962C8B-B14F-4D97-AF65-F5344CB8AC3E}">
        <p14:creationId xmlns:p14="http://schemas.microsoft.com/office/powerpoint/2010/main" val="1421422877"/>
      </p:ext>
    </p:extLst>
  </p:cSld>
  <p:clrMap bg1="lt1" tx1="dk1" bg2="lt2" tx2="dk2" accent1="accent1" accent2="accent2" accent3="accent3" accent4="accent4" accent5="accent5" accent6="accent6" hlink="hlink" folHlink="folHlink"/>
  <p:sldLayoutIdLst>
    <p:sldLayoutId id="2147484035" r:id="rId1"/>
  </p:sldLayoutIdLst>
  <p:txStyles>
    <p:titleStyle>
      <a:lvl1pPr algn="l" defTabSz="803505" rtl="0" eaLnBrk="1" latinLnBrk="0" hangingPunct="1">
        <a:lnSpc>
          <a:spcPct val="90000"/>
        </a:lnSpc>
        <a:spcBef>
          <a:spcPct val="0"/>
        </a:spcBef>
        <a:buNone/>
        <a:defRPr sz="3867" kern="1200">
          <a:solidFill>
            <a:schemeClr val="tx1"/>
          </a:solidFill>
          <a:latin typeface="+mj-lt"/>
          <a:ea typeface="+mj-ea"/>
          <a:cs typeface="+mj-cs"/>
        </a:defRPr>
      </a:lvl1pPr>
    </p:titleStyle>
    <p:bodyStyle>
      <a:lvl1pPr marL="200876" indent="-200876" algn="l" defTabSz="803505" rtl="0" eaLnBrk="1" latinLnBrk="0" hangingPunct="1">
        <a:lnSpc>
          <a:spcPct val="90000"/>
        </a:lnSpc>
        <a:spcBef>
          <a:spcPts val="879"/>
        </a:spcBef>
        <a:buFont typeface="Arial" panose="020B0604020202020204" pitchFamily="34" charset="0"/>
        <a:buChar char="•"/>
        <a:defRPr sz="2460" kern="1200">
          <a:solidFill>
            <a:schemeClr val="tx1"/>
          </a:solidFill>
          <a:latin typeface="+mn-lt"/>
          <a:ea typeface="+mn-ea"/>
          <a:cs typeface="+mn-cs"/>
        </a:defRPr>
      </a:lvl1pPr>
      <a:lvl2pPr marL="602629" indent="-200876" algn="l" defTabSz="803505" rtl="0" eaLnBrk="1" latinLnBrk="0" hangingPunct="1">
        <a:lnSpc>
          <a:spcPct val="90000"/>
        </a:lnSpc>
        <a:spcBef>
          <a:spcPts val="440"/>
        </a:spcBef>
        <a:buFont typeface="Arial" panose="020B0604020202020204" pitchFamily="34" charset="0"/>
        <a:buChar char="•"/>
        <a:defRPr sz="2109" kern="1200">
          <a:solidFill>
            <a:schemeClr val="tx1"/>
          </a:solidFill>
          <a:latin typeface="+mn-lt"/>
          <a:ea typeface="+mn-ea"/>
          <a:cs typeface="+mn-cs"/>
        </a:defRPr>
      </a:lvl2pPr>
      <a:lvl3pPr marL="1004383" indent="-200876" algn="l" defTabSz="803505" rtl="0" eaLnBrk="1" latinLnBrk="0" hangingPunct="1">
        <a:lnSpc>
          <a:spcPct val="90000"/>
        </a:lnSpc>
        <a:spcBef>
          <a:spcPts val="440"/>
        </a:spcBef>
        <a:buFont typeface="Arial" panose="020B0604020202020204" pitchFamily="34" charset="0"/>
        <a:buChar char="•"/>
        <a:defRPr sz="1757" kern="1200">
          <a:solidFill>
            <a:schemeClr val="tx1"/>
          </a:solidFill>
          <a:latin typeface="+mn-lt"/>
          <a:ea typeface="+mn-ea"/>
          <a:cs typeface="+mn-cs"/>
        </a:defRPr>
      </a:lvl3pPr>
      <a:lvl4pPr marL="1406136" indent="-200876" algn="l" defTabSz="803505" rtl="0" eaLnBrk="1" latinLnBrk="0" hangingPunct="1">
        <a:lnSpc>
          <a:spcPct val="90000"/>
        </a:lnSpc>
        <a:spcBef>
          <a:spcPts val="440"/>
        </a:spcBef>
        <a:buFont typeface="Arial" panose="020B0604020202020204" pitchFamily="34" charset="0"/>
        <a:buChar char="•"/>
        <a:defRPr sz="1581" kern="1200">
          <a:solidFill>
            <a:schemeClr val="tx1"/>
          </a:solidFill>
          <a:latin typeface="+mn-lt"/>
          <a:ea typeface="+mn-ea"/>
          <a:cs typeface="+mn-cs"/>
        </a:defRPr>
      </a:lvl4pPr>
      <a:lvl5pPr marL="1807887" indent="-200876" algn="l" defTabSz="803505" rtl="0" eaLnBrk="1" latinLnBrk="0" hangingPunct="1">
        <a:lnSpc>
          <a:spcPct val="90000"/>
        </a:lnSpc>
        <a:spcBef>
          <a:spcPts val="440"/>
        </a:spcBef>
        <a:buFont typeface="Arial" panose="020B0604020202020204" pitchFamily="34" charset="0"/>
        <a:buChar char="•"/>
        <a:defRPr sz="1581" kern="1200">
          <a:solidFill>
            <a:schemeClr val="tx1"/>
          </a:solidFill>
          <a:latin typeface="+mn-lt"/>
          <a:ea typeface="+mn-ea"/>
          <a:cs typeface="+mn-cs"/>
        </a:defRPr>
      </a:lvl5pPr>
      <a:lvl6pPr marL="2209641" indent="-200876" algn="l" defTabSz="803505" rtl="0" eaLnBrk="1" latinLnBrk="0" hangingPunct="1">
        <a:lnSpc>
          <a:spcPct val="90000"/>
        </a:lnSpc>
        <a:spcBef>
          <a:spcPts val="440"/>
        </a:spcBef>
        <a:buFont typeface="Arial" panose="020B0604020202020204" pitchFamily="34" charset="0"/>
        <a:buChar char="•"/>
        <a:defRPr sz="1581" kern="1200">
          <a:solidFill>
            <a:schemeClr val="tx1"/>
          </a:solidFill>
          <a:latin typeface="+mn-lt"/>
          <a:ea typeface="+mn-ea"/>
          <a:cs typeface="+mn-cs"/>
        </a:defRPr>
      </a:lvl6pPr>
      <a:lvl7pPr marL="2611393" indent="-200876" algn="l" defTabSz="803505" rtl="0" eaLnBrk="1" latinLnBrk="0" hangingPunct="1">
        <a:lnSpc>
          <a:spcPct val="90000"/>
        </a:lnSpc>
        <a:spcBef>
          <a:spcPts val="440"/>
        </a:spcBef>
        <a:buFont typeface="Arial" panose="020B0604020202020204" pitchFamily="34" charset="0"/>
        <a:buChar char="•"/>
        <a:defRPr sz="1581" kern="1200">
          <a:solidFill>
            <a:schemeClr val="tx1"/>
          </a:solidFill>
          <a:latin typeface="+mn-lt"/>
          <a:ea typeface="+mn-ea"/>
          <a:cs typeface="+mn-cs"/>
        </a:defRPr>
      </a:lvl7pPr>
      <a:lvl8pPr marL="3013146" indent="-200876" algn="l" defTabSz="803505" rtl="0" eaLnBrk="1" latinLnBrk="0" hangingPunct="1">
        <a:lnSpc>
          <a:spcPct val="90000"/>
        </a:lnSpc>
        <a:spcBef>
          <a:spcPts val="440"/>
        </a:spcBef>
        <a:buFont typeface="Arial" panose="020B0604020202020204" pitchFamily="34" charset="0"/>
        <a:buChar char="•"/>
        <a:defRPr sz="1581" kern="1200">
          <a:solidFill>
            <a:schemeClr val="tx1"/>
          </a:solidFill>
          <a:latin typeface="+mn-lt"/>
          <a:ea typeface="+mn-ea"/>
          <a:cs typeface="+mn-cs"/>
        </a:defRPr>
      </a:lvl8pPr>
      <a:lvl9pPr marL="3414899" indent="-200876" algn="l" defTabSz="803505" rtl="0" eaLnBrk="1" latinLnBrk="0" hangingPunct="1">
        <a:lnSpc>
          <a:spcPct val="90000"/>
        </a:lnSpc>
        <a:spcBef>
          <a:spcPts val="440"/>
        </a:spcBef>
        <a:buFont typeface="Arial" panose="020B0604020202020204" pitchFamily="34" charset="0"/>
        <a:buChar char="•"/>
        <a:defRPr sz="1581" kern="1200">
          <a:solidFill>
            <a:schemeClr val="tx1"/>
          </a:solidFill>
          <a:latin typeface="+mn-lt"/>
          <a:ea typeface="+mn-ea"/>
          <a:cs typeface="+mn-cs"/>
        </a:defRPr>
      </a:lvl9pPr>
    </p:bodyStyle>
    <p:otherStyle>
      <a:defPPr>
        <a:defRPr lang="en-US"/>
      </a:defPPr>
      <a:lvl1pPr marL="0" algn="l" defTabSz="803505" rtl="0" eaLnBrk="1" latinLnBrk="0" hangingPunct="1">
        <a:defRPr sz="1581" kern="1200">
          <a:solidFill>
            <a:schemeClr val="tx1"/>
          </a:solidFill>
          <a:latin typeface="+mn-lt"/>
          <a:ea typeface="+mn-ea"/>
          <a:cs typeface="+mn-cs"/>
        </a:defRPr>
      </a:lvl1pPr>
      <a:lvl2pPr marL="401754" algn="l" defTabSz="803505" rtl="0" eaLnBrk="1" latinLnBrk="0" hangingPunct="1">
        <a:defRPr sz="1581" kern="1200">
          <a:solidFill>
            <a:schemeClr val="tx1"/>
          </a:solidFill>
          <a:latin typeface="+mn-lt"/>
          <a:ea typeface="+mn-ea"/>
          <a:cs typeface="+mn-cs"/>
        </a:defRPr>
      </a:lvl2pPr>
      <a:lvl3pPr marL="803505" algn="l" defTabSz="803505" rtl="0" eaLnBrk="1" latinLnBrk="0" hangingPunct="1">
        <a:defRPr sz="1581" kern="1200">
          <a:solidFill>
            <a:schemeClr val="tx1"/>
          </a:solidFill>
          <a:latin typeface="+mn-lt"/>
          <a:ea typeface="+mn-ea"/>
          <a:cs typeface="+mn-cs"/>
        </a:defRPr>
      </a:lvl3pPr>
      <a:lvl4pPr marL="1205259" algn="l" defTabSz="803505" rtl="0" eaLnBrk="1" latinLnBrk="0" hangingPunct="1">
        <a:defRPr sz="1581" kern="1200">
          <a:solidFill>
            <a:schemeClr val="tx1"/>
          </a:solidFill>
          <a:latin typeface="+mn-lt"/>
          <a:ea typeface="+mn-ea"/>
          <a:cs typeface="+mn-cs"/>
        </a:defRPr>
      </a:lvl4pPr>
      <a:lvl5pPr marL="1607012" algn="l" defTabSz="803505" rtl="0" eaLnBrk="1" latinLnBrk="0" hangingPunct="1">
        <a:defRPr sz="1581" kern="1200">
          <a:solidFill>
            <a:schemeClr val="tx1"/>
          </a:solidFill>
          <a:latin typeface="+mn-lt"/>
          <a:ea typeface="+mn-ea"/>
          <a:cs typeface="+mn-cs"/>
        </a:defRPr>
      </a:lvl5pPr>
      <a:lvl6pPr marL="2008763" algn="l" defTabSz="803505" rtl="0" eaLnBrk="1" latinLnBrk="0" hangingPunct="1">
        <a:defRPr sz="1581" kern="1200">
          <a:solidFill>
            <a:schemeClr val="tx1"/>
          </a:solidFill>
          <a:latin typeface="+mn-lt"/>
          <a:ea typeface="+mn-ea"/>
          <a:cs typeface="+mn-cs"/>
        </a:defRPr>
      </a:lvl6pPr>
      <a:lvl7pPr marL="2410517" algn="l" defTabSz="803505" rtl="0" eaLnBrk="1" latinLnBrk="0" hangingPunct="1">
        <a:defRPr sz="1581" kern="1200">
          <a:solidFill>
            <a:schemeClr val="tx1"/>
          </a:solidFill>
          <a:latin typeface="+mn-lt"/>
          <a:ea typeface="+mn-ea"/>
          <a:cs typeface="+mn-cs"/>
        </a:defRPr>
      </a:lvl7pPr>
      <a:lvl8pPr marL="2812270" algn="l" defTabSz="803505" rtl="0" eaLnBrk="1" latinLnBrk="0" hangingPunct="1">
        <a:defRPr sz="1581" kern="1200">
          <a:solidFill>
            <a:schemeClr val="tx1"/>
          </a:solidFill>
          <a:latin typeface="+mn-lt"/>
          <a:ea typeface="+mn-ea"/>
          <a:cs typeface="+mn-cs"/>
        </a:defRPr>
      </a:lvl8pPr>
      <a:lvl9pPr marL="3214022" algn="l" defTabSz="803505" rtl="0" eaLnBrk="1" latinLnBrk="0" hangingPunct="1">
        <a:defRPr sz="1581"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1" y="379549"/>
            <a:ext cx="11642721" cy="978746"/>
          </a:xfrm>
          <a:prstGeom prst="rect">
            <a:avLst/>
          </a:prstGeom>
        </p:spPr>
        <p:txBody>
          <a:bodyPr vert="horz" lIns="91440" tIns="45720" rIns="91440" bIns="45720" rtlCol="0" anchor="t" anchorCtr="0">
            <a:normAutofit/>
          </a:bodyPr>
          <a:lstStyle/>
          <a:p>
            <a:r>
              <a:rPr lang="en-US" dirty="0"/>
              <a:t>Click to edit Master title style</a:t>
            </a:r>
          </a:p>
        </p:txBody>
      </p:sp>
      <p:sp>
        <p:nvSpPr>
          <p:cNvPr id="3" name="Text Placeholder 2"/>
          <p:cNvSpPr>
            <a:spLocks noGrp="1"/>
          </p:cNvSpPr>
          <p:nvPr>
            <p:ph type="body" idx="1"/>
          </p:nvPr>
        </p:nvSpPr>
        <p:spPr>
          <a:xfrm>
            <a:off x="274639" y="1549641"/>
            <a:ext cx="11642723" cy="503912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780107"/>
            <a:ext cx="2743200" cy="389467"/>
          </a:xfrm>
          <a:prstGeom prst="rect">
            <a:avLst/>
          </a:prstGeom>
        </p:spPr>
        <p:txBody>
          <a:bodyPr vert="horz" lIns="91440" tIns="45720" rIns="91440" bIns="45720" rtlCol="0" anchor="ctr"/>
          <a:lstStyle>
            <a:lvl1pPr algn="l">
              <a:defRPr sz="1125">
                <a:solidFill>
                  <a:schemeClr val="tx1">
                    <a:tint val="75000"/>
                  </a:schemeClr>
                </a:solidFill>
              </a:defRPr>
            </a:lvl1pPr>
          </a:lstStyle>
          <a:p>
            <a:fld id="{067255F4-7C58-4BBA-A3F5-26B4C4AB0335}" type="datetimeFigureOut">
              <a:rPr lang="en-US" smtClean="0"/>
              <a:t>1/8/2019</a:t>
            </a:fld>
            <a:endParaRPr lang="en-US"/>
          </a:p>
        </p:txBody>
      </p:sp>
      <p:sp>
        <p:nvSpPr>
          <p:cNvPr id="5" name="Footer Placeholder 4"/>
          <p:cNvSpPr>
            <a:spLocks noGrp="1"/>
          </p:cNvSpPr>
          <p:nvPr>
            <p:ph type="ftr" sz="quarter" idx="3"/>
          </p:nvPr>
        </p:nvSpPr>
        <p:spPr>
          <a:xfrm>
            <a:off x="4038600" y="6780107"/>
            <a:ext cx="4114800" cy="389467"/>
          </a:xfrm>
          <a:prstGeom prst="rect">
            <a:avLst/>
          </a:prstGeom>
        </p:spPr>
        <p:txBody>
          <a:bodyPr vert="horz" lIns="91440" tIns="45720" rIns="91440" bIns="45720" rtlCol="0" anchor="ctr"/>
          <a:lstStyle>
            <a:lvl1pPr algn="ctr">
              <a:defRPr sz="1125">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780107"/>
            <a:ext cx="2743200" cy="389467"/>
          </a:xfrm>
          <a:prstGeom prst="rect">
            <a:avLst/>
          </a:prstGeom>
        </p:spPr>
        <p:txBody>
          <a:bodyPr vert="horz" lIns="91440" tIns="45720" rIns="91440" bIns="45720" rtlCol="0" anchor="ctr"/>
          <a:lstStyle>
            <a:lvl1pPr algn="r">
              <a:defRPr sz="1125">
                <a:solidFill>
                  <a:schemeClr val="tx1">
                    <a:tint val="75000"/>
                  </a:schemeClr>
                </a:solidFill>
              </a:defRPr>
            </a:lvl1pPr>
          </a:lstStyle>
          <a:p>
            <a:fld id="{A4BE7A9A-2538-4781-A015-FF1A92A0C2AB}" type="slidenum">
              <a:rPr lang="en-US" smtClean="0"/>
              <a:t>‹#›</a:t>
            </a:fld>
            <a:endParaRPr lang="en-US"/>
          </a:p>
        </p:txBody>
      </p:sp>
    </p:spTree>
    <p:extLst>
      <p:ext uri="{BB962C8B-B14F-4D97-AF65-F5344CB8AC3E}">
        <p14:creationId xmlns:p14="http://schemas.microsoft.com/office/powerpoint/2010/main" val="183163524"/>
      </p:ext>
    </p:extLst>
  </p:cSld>
  <p:clrMap bg1="lt1" tx1="dk1" bg2="lt2" tx2="dk2" accent1="accent1" accent2="accent2" accent3="accent3" accent4="accent4" accent5="accent5" accent6="accent6" hlink="hlink" folHlink="folHlink"/>
  <p:sldLayoutIdLst>
    <p:sldLayoutId id="2147484037" r:id="rId1"/>
  </p:sldLayoutIdLst>
  <p:txStyles>
    <p:titleStyle>
      <a:lvl1pPr algn="l" defTabSz="857199" rtl="0" eaLnBrk="1" latinLnBrk="0" hangingPunct="1">
        <a:lnSpc>
          <a:spcPct val="90000"/>
        </a:lnSpc>
        <a:spcBef>
          <a:spcPct val="0"/>
        </a:spcBef>
        <a:buNone/>
        <a:defRPr sz="5063" b="0" i="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14300" indent="-214300" algn="l" defTabSz="857199" rtl="0" eaLnBrk="1" latinLnBrk="0" hangingPunct="1">
        <a:lnSpc>
          <a:spcPct val="90000"/>
        </a:lnSpc>
        <a:spcBef>
          <a:spcPts val="937"/>
        </a:spcBef>
        <a:buFont typeface="Arial" panose="020B0604020202020204" pitchFamily="34" charset="0"/>
        <a:buChar char="•"/>
        <a:defRPr sz="2625" kern="1200">
          <a:solidFill>
            <a:schemeClr val="tx1"/>
          </a:solidFill>
          <a:latin typeface="+mn-lt"/>
          <a:ea typeface="+mn-ea"/>
          <a:cs typeface="+mn-cs"/>
        </a:defRPr>
      </a:lvl1pPr>
      <a:lvl2pPr marL="642899" indent="-214300" algn="l" defTabSz="857199" rtl="0" eaLnBrk="1" latinLnBrk="0" hangingPunct="1">
        <a:lnSpc>
          <a:spcPct val="90000"/>
        </a:lnSpc>
        <a:spcBef>
          <a:spcPts val="469"/>
        </a:spcBef>
        <a:buFont typeface="Arial" panose="020B0604020202020204" pitchFamily="34" charset="0"/>
        <a:buChar char="•"/>
        <a:defRPr sz="2249" kern="1200">
          <a:solidFill>
            <a:schemeClr val="tx1"/>
          </a:solidFill>
          <a:latin typeface="+mn-lt"/>
          <a:ea typeface="+mn-ea"/>
          <a:cs typeface="+mn-cs"/>
        </a:defRPr>
      </a:lvl2pPr>
      <a:lvl3pPr marL="1071497" indent="-214300" algn="l" defTabSz="857199" rtl="0" eaLnBrk="1" latinLnBrk="0" hangingPunct="1">
        <a:lnSpc>
          <a:spcPct val="90000"/>
        </a:lnSpc>
        <a:spcBef>
          <a:spcPts val="469"/>
        </a:spcBef>
        <a:buFont typeface="Arial" panose="020B0604020202020204" pitchFamily="34" charset="0"/>
        <a:buChar char="•"/>
        <a:defRPr sz="1875" kern="1200">
          <a:solidFill>
            <a:schemeClr val="tx1"/>
          </a:solidFill>
          <a:latin typeface="+mn-lt"/>
          <a:ea typeface="+mn-ea"/>
          <a:cs typeface="+mn-cs"/>
        </a:defRPr>
      </a:lvl3pPr>
      <a:lvl4pPr marL="1500097"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4pPr>
      <a:lvl5pPr marL="1928696"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5pPr>
      <a:lvl6pPr marL="2357294"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6pPr>
      <a:lvl7pPr marL="2785894"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7pPr>
      <a:lvl8pPr marL="3214493"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8pPr>
      <a:lvl9pPr marL="3643092"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9pPr>
    </p:bodyStyle>
    <p:otherStyle>
      <a:defPPr>
        <a:defRPr lang="en-US"/>
      </a:defPPr>
      <a:lvl1pPr marL="0" algn="l" defTabSz="857199" rtl="0" eaLnBrk="1" latinLnBrk="0" hangingPunct="1">
        <a:defRPr sz="1688" kern="1200">
          <a:solidFill>
            <a:schemeClr val="tx1"/>
          </a:solidFill>
          <a:latin typeface="+mn-lt"/>
          <a:ea typeface="+mn-ea"/>
          <a:cs typeface="+mn-cs"/>
        </a:defRPr>
      </a:lvl1pPr>
      <a:lvl2pPr marL="428599" algn="l" defTabSz="857199" rtl="0" eaLnBrk="1" latinLnBrk="0" hangingPunct="1">
        <a:defRPr sz="1688" kern="1200">
          <a:solidFill>
            <a:schemeClr val="tx1"/>
          </a:solidFill>
          <a:latin typeface="+mn-lt"/>
          <a:ea typeface="+mn-ea"/>
          <a:cs typeface="+mn-cs"/>
        </a:defRPr>
      </a:lvl2pPr>
      <a:lvl3pPr marL="857199" algn="l" defTabSz="857199" rtl="0" eaLnBrk="1" latinLnBrk="0" hangingPunct="1">
        <a:defRPr sz="1688" kern="1200">
          <a:solidFill>
            <a:schemeClr val="tx1"/>
          </a:solidFill>
          <a:latin typeface="+mn-lt"/>
          <a:ea typeface="+mn-ea"/>
          <a:cs typeface="+mn-cs"/>
        </a:defRPr>
      </a:lvl3pPr>
      <a:lvl4pPr marL="1285797" algn="l" defTabSz="857199" rtl="0" eaLnBrk="1" latinLnBrk="0" hangingPunct="1">
        <a:defRPr sz="1688" kern="1200">
          <a:solidFill>
            <a:schemeClr val="tx1"/>
          </a:solidFill>
          <a:latin typeface="+mn-lt"/>
          <a:ea typeface="+mn-ea"/>
          <a:cs typeface="+mn-cs"/>
        </a:defRPr>
      </a:lvl4pPr>
      <a:lvl5pPr marL="1714396" algn="l" defTabSz="857199" rtl="0" eaLnBrk="1" latinLnBrk="0" hangingPunct="1">
        <a:defRPr sz="1688" kern="1200">
          <a:solidFill>
            <a:schemeClr val="tx1"/>
          </a:solidFill>
          <a:latin typeface="+mn-lt"/>
          <a:ea typeface="+mn-ea"/>
          <a:cs typeface="+mn-cs"/>
        </a:defRPr>
      </a:lvl5pPr>
      <a:lvl6pPr marL="2142996" algn="l" defTabSz="857199" rtl="0" eaLnBrk="1" latinLnBrk="0" hangingPunct="1">
        <a:defRPr sz="1688" kern="1200">
          <a:solidFill>
            <a:schemeClr val="tx1"/>
          </a:solidFill>
          <a:latin typeface="+mn-lt"/>
          <a:ea typeface="+mn-ea"/>
          <a:cs typeface="+mn-cs"/>
        </a:defRPr>
      </a:lvl6pPr>
      <a:lvl7pPr marL="2571594" algn="l" defTabSz="857199" rtl="0" eaLnBrk="1" latinLnBrk="0" hangingPunct="1">
        <a:defRPr sz="1688" kern="1200">
          <a:solidFill>
            <a:schemeClr val="tx1"/>
          </a:solidFill>
          <a:latin typeface="+mn-lt"/>
          <a:ea typeface="+mn-ea"/>
          <a:cs typeface="+mn-cs"/>
        </a:defRPr>
      </a:lvl7pPr>
      <a:lvl8pPr marL="3000193" algn="l" defTabSz="857199" rtl="0" eaLnBrk="1" latinLnBrk="0" hangingPunct="1">
        <a:defRPr sz="1688" kern="1200">
          <a:solidFill>
            <a:schemeClr val="tx1"/>
          </a:solidFill>
          <a:latin typeface="+mn-lt"/>
          <a:ea typeface="+mn-ea"/>
          <a:cs typeface="+mn-cs"/>
        </a:defRPr>
      </a:lvl8pPr>
      <a:lvl9pPr marL="3428793" algn="l" defTabSz="857199" rtl="0" eaLnBrk="1" latinLnBrk="0" hangingPunct="1">
        <a:defRPr sz="1688"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3"/>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4377" y="655110"/>
            <a:ext cx="10955156" cy="959643"/>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95161" y="1696349"/>
            <a:ext cx="8534052" cy="193867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07820165"/>
      </p:ext>
    </p:extLst>
  </p:cSld>
  <p:clrMap bg1="dk1" tx1="lt1" bg2="dk2" tx2="lt2" accent1="accent1" accent2="accent2" accent3="accent3" accent4="accent4" accent5="accent5" accent6="accent6" hlink="hlink" folHlink="folHlink"/>
  <p:sldLayoutIdLst>
    <p:sldLayoutId id="2147484039" r:id="rId1"/>
  </p:sldLayoutIdLst>
  <p:transition>
    <p:fade/>
  </p:transition>
  <p:hf sldNum="0" hdr="0" ftr="0" dt="0"/>
  <p:txStyles>
    <p:titleStyle>
      <a:lvl1pPr algn="l" defTabSz="857167" rtl="0" eaLnBrk="1" latinLnBrk="0" hangingPunct="1">
        <a:lnSpc>
          <a:spcPct val="90000"/>
        </a:lnSpc>
        <a:spcBef>
          <a:spcPct val="0"/>
        </a:spcBef>
        <a:buNone/>
        <a:defRPr lang="en-US" sz="5156" b="0" kern="1200" cap="none" spc="-93" baseline="0" dirty="0" smtClean="0">
          <a:ln w="3175">
            <a:noFill/>
          </a:ln>
          <a:solidFill>
            <a:schemeClr val="tx1"/>
          </a:solidFill>
          <a:effectLst/>
          <a:latin typeface="+mj-lt"/>
          <a:ea typeface="+mn-ea"/>
          <a:cs typeface="Segoe UI" pitchFamily="34" charset="0"/>
        </a:defRPr>
      </a:lvl1pPr>
    </p:titleStyle>
    <p:bodyStyle>
      <a:lvl1pPr marL="315117" marR="0" indent="-315117" algn="l" defTabSz="857167" rtl="0" eaLnBrk="1" fontAlgn="auto" latinLnBrk="0" hangingPunct="1">
        <a:lnSpc>
          <a:spcPct val="90000"/>
        </a:lnSpc>
        <a:spcBef>
          <a:spcPct val="20000"/>
        </a:spcBef>
        <a:spcAft>
          <a:spcPts val="0"/>
        </a:spcAft>
        <a:buClrTx/>
        <a:buSzPct val="90000"/>
        <a:buFont typeface="Arial" pitchFamily="34" charset="0"/>
        <a:buChar char="•"/>
        <a:tabLst/>
        <a:defRPr sz="3676" kern="1200" spc="0" baseline="0">
          <a:gradFill>
            <a:gsLst>
              <a:gs pos="1250">
                <a:schemeClr val="tx1"/>
              </a:gs>
              <a:gs pos="100000">
                <a:schemeClr val="tx1"/>
              </a:gs>
            </a:gsLst>
            <a:lin ang="5400000" scaled="0"/>
          </a:gradFill>
          <a:latin typeface="+mj-lt"/>
          <a:ea typeface="+mn-ea"/>
          <a:cs typeface="+mn-cs"/>
        </a:defRPr>
      </a:lvl1pPr>
      <a:lvl2pPr marL="536865" marR="0" indent="-221748" algn="l" defTabSz="857167" rtl="0" eaLnBrk="1" fontAlgn="auto" latinLnBrk="0" hangingPunct="1">
        <a:lnSpc>
          <a:spcPct val="90000"/>
        </a:lnSpc>
        <a:spcBef>
          <a:spcPct val="20000"/>
        </a:spcBef>
        <a:spcAft>
          <a:spcPts val="0"/>
        </a:spcAft>
        <a:buClrTx/>
        <a:buSzPct val="90000"/>
        <a:buFont typeface="Arial" pitchFamily="34" charset="0"/>
        <a:buChar char="•"/>
        <a:tabLst/>
        <a:defRPr sz="2205" kern="1200" spc="0" baseline="0">
          <a:gradFill>
            <a:gsLst>
              <a:gs pos="1250">
                <a:schemeClr val="tx1"/>
              </a:gs>
              <a:gs pos="100000">
                <a:schemeClr val="tx1"/>
              </a:gs>
            </a:gsLst>
            <a:lin ang="5400000" scaled="0"/>
          </a:gradFill>
          <a:latin typeface="+mn-lt"/>
          <a:ea typeface="+mn-ea"/>
          <a:cs typeface="+mn-cs"/>
        </a:defRPr>
      </a:lvl2pPr>
      <a:lvl3pPr marL="735272" marR="0" indent="-210079" algn="l" defTabSz="857167" rtl="0" eaLnBrk="1" fontAlgn="auto" latinLnBrk="0" hangingPunct="1">
        <a:lnSpc>
          <a:spcPct val="90000"/>
        </a:lnSpc>
        <a:spcBef>
          <a:spcPct val="20000"/>
        </a:spcBef>
        <a:spcAft>
          <a:spcPts val="0"/>
        </a:spcAft>
        <a:buClrTx/>
        <a:buSzPct val="90000"/>
        <a:buFont typeface="Arial" pitchFamily="34" charset="0"/>
        <a:buChar char="•"/>
        <a:tabLst/>
        <a:defRPr sz="1839" kern="1200" spc="0" baseline="0">
          <a:gradFill>
            <a:gsLst>
              <a:gs pos="1250">
                <a:schemeClr val="tx1"/>
              </a:gs>
              <a:gs pos="100000">
                <a:schemeClr val="tx1"/>
              </a:gs>
            </a:gsLst>
            <a:lin ang="5400000" scaled="0"/>
          </a:gradFill>
          <a:latin typeface="+mn-lt"/>
          <a:ea typeface="+mn-ea"/>
          <a:cs typeface="+mn-cs"/>
        </a:defRPr>
      </a:lvl3pPr>
      <a:lvl4pPr marL="945351" marR="0" indent="-210079" algn="l" defTabSz="857167" rtl="0" eaLnBrk="1" fontAlgn="auto" latinLnBrk="0" hangingPunct="1">
        <a:lnSpc>
          <a:spcPct val="90000"/>
        </a:lnSpc>
        <a:spcBef>
          <a:spcPct val="20000"/>
        </a:spcBef>
        <a:spcAft>
          <a:spcPts val="0"/>
        </a:spcAft>
        <a:buClrTx/>
        <a:buSzPct val="90000"/>
        <a:buFont typeface="Arial" pitchFamily="34" charset="0"/>
        <a:buChar char="•"/>
        <a:tabLst/>
        <a:defRPr sz="1655" kern="1200" spc="0" baseline="0">
          <a:gradFill>
            <a:gsLst>
              <a:gs pos="1250">
                <a:schemeClr val="tx1"/>
              </a:gs>
              <a:gs pos="100000">
                <a:schemeClr val="tx1"/>
              </a:gs>
            </a:gsLst>
            <a:lin ang="5400000" scaled="0"/>
          </a:gradFill>
          <a:latin typeface="+mn-lt"/>
          <a:ea typeface="+mn-ea"/>
          <a:cs typeface="+mn-cs"/>
        </a:defRPr>
      </a:lvl4pPr>
      <a:lvl5pPr marL="1155428" marR="0" indent="-210079" algn="l" defTabSz="857167" rtl="0" eaLnBrk="1" fontAlgn="auto" latinLnBrk="0" hangingPunct="1">
        <a:lnSpc>
          <a:spcPct val="90000"/>
        </a:lnSpc>
        <a:spcBef>
          <a:spcPct val="20000"/>
        </a:spcBef>
        <a:spcAft>
          <a:spcPts val="0"/>
        </a:spcAft>
        <a:buClrTx/>
        <a:buSzPct val="90000"/>
        <a:buFont typeface="Arial" pitchFamily="34" charset="0"/>
        <a:buChar char="•"/>
        <a:tabLst/>
        <a:defRPr sz="1655" kern="1200" spc="0" baseline="0">
          <a:gradFill>
            <a:gsLst>
              <a:gs pos="1250">
                <a:schemeClr val="tx1"/>
              </a:gs>
              <a:gs pos="100000">
                <a:schemeClr val="tx1"/>
              </a:gs>
            </a:gsLst>
            <a:lin ang="5400000" scaled="0"/>
          </a:gradFill>
          <a:latin typeface="+mn-lt"/>
          <a:ea typeface="+mn-ea"/>
          <a:cs typeface="+mn-cs"/>
        </a:defRPr>
      </a:lvl5pPr>
      <a:lvl6pPr marL="2357209" indent="-214292" algn="l" defTabSz="857167" rtl="0" eaLnBrk="1" latinLnBrk="0" hangingPunct="1">
        <a:spcBef>
          <a:spcPct val="20000"/>
        </a:spcBef>
        <a:buFont typeface="Arial" pitchFamily="34" charset="0"/>
        <a:buChar char="•"/>
        <a:defRPr sz="1839" kern="1200">
          <a:solidFill>
            <a:schemeClr val="tx1"/>
          </a:solidFill>
          <a:latin typeface="+mn-lt"/>
          <a:ea typeface="+mn-ea"/>
          <a:cs typeface="+mn-cs"/>
        </a:defRPr>
      </a:lvl6pPr>
      <a:lvl7pPr marL="2785793" indent="-214292" algn="l" defTabSz="857167" rtl="0" eaLnBrk="1" latinLnBrk="0" hangingPunct="1">
        <a:spcBef>
          <a:spcPct val="20000"/>
        </a:spcBef>
        <a:buFont typeface="Arial" pitchFamily="34" charset="0"/>
        <a:buChar char="•"/>
        <a:defRPr sz="1839" kern="1200">
          <a:solidFill>
            <a:schemeClr val="tx1"/>
          </a:solidFill>
          <a:latin typeface="+mn-lt"/>
          <a:ea typeface="+mn-ea"/>
          <a:cs typeface="+mn-cs"/>
        </a:defRPr>
      </a:lvl7pPr>
      <a:lvl8pPr marL="3214377" indent="-214292" algn="l" defTabSz="857167" rtl="0" eaLnBrk="1" latinLnBrk="0" hangingPunct="1">
        <a:spcBef>
          <a:spcPct val="20000"/>
        </a:spcBef>
        <a:buFont typeface="Arial" pitchFamily="34" charset="0"/>
        <a:buChar char="•"/>
        <a:defRPr sz="1839" kern="1200">
          <a:solidFill>
            <a:schemeClr val="tx1"/>
          </a:solidFill>
          <a:latin typeface="+mn-lt"/>
          <a:ea typeface="+mn-ea"/>
          <a:cs typeface="+mn-cs"/>
        </a:defRPr>
      </a:lvl8pPr>
      <a:lvl9pPr marL="3642961" indent="-214292" algn="l" defTabSz="857167" rtl="0" eaLnBrk="1" latinLnBrk="0" hangingPunct="1">
        <a:spcBef>
          <a:spcPct val="20000"/>
        </a:spcBef>
        <a:buFont typeface="Arial" pitchFamily="34" charset="0"/>
        <a:buChar char="•"/>
        <a:defRPr sz="1839" kern="1200">
          <a:solidFill>
            <a:schemeClr val="tx1"/>
          </a:solidFill>
          <a:latin typeface="+mn-lt"/>
          <a:ea typeface="+mn-ea"/>
          <a:cs typeface="+mn-cs"/>
        </a:defRPr>
      </a:lvl9pPr>
    </p:bodyStyle>
    <p:otherStyle>
      <a:defPPr>
        <a:defRPr lang="en-US"/>
      </a:defPPr>
      <a:lvl1pPr marL="0" algn="l" defTabSz="857167" rtl="0" eaLnBrk="1" latinLnBrk="0" hangingPunct="1">
        <a:defRPr sz="1655" kern="1200">
          <a:solidFill>
            <a:schemeClr val="tx1"/>
          </a:solidFill>
          <a:latin typeface="+mn-lt"/>
          <a:ea typeface="+mn-ea"/>
          <a:cs typeface="+mn-cs"/>
        </a:defRPr>
      </a:lvl1pPr>
      <a:lvl2pPr marL="428583" algn="l" defTabSz="857167" rtl="0" eaLnBrk="1" latinLnBrk="0" hangingPunct="1">
        <a:defRPr sz="1655" kern="1200">
          <a:solidFill>
            <a:schemeClr val="tx1"/>
          </a:solidFill>
          <a:latin typeface="+mn-lt"/>
          <a:ea typeface="+mn-ea"/>
          <a:cs typeface="+mn-cs"/>
        </a:defRPr>
      </a:lvl2pPr>
      <a:lvl3pPr marL="857167" algn="l" defTabSz="857167" rtl="0" eaLnBrk="1" latinLnBrk="0" hangingPunct="1">
        <a:defRPr sz="1655" kern="1200">
          <a:solidFill>
            <a:schemeClr val="tx1"/>
          </a:solidFill>
          <a:latin typeface="+mn-lt"/>
          <a:ea typeface="+mn-ea"/>
          <a:cs typeface="+mn-cs"/>
        </a:defRPr>
      </a:lvl3pPr>
      <a:lvl4pPr marL="1285751" algn="l" defTabSz="857167" rtl="0" eaLnBrk="1" latinLnBrk="0" hangingPunct="1">
        <a:defRPr sz="1655" kern="1200">
          <a:solidFill>
            <a:schemeClr val="tx1"/>
          </a:solidFill>
          <a:latin typeface="+mn-lt"/>
          <a:ea typeface="+mn-ea"/>
          <a:cs typeface="+mn-cs"/>
        </a:defRPr>
      </a:lvl4pPr>
      <a:lvl5pPr marL="1714334" algn="l" defTabSz="857167" rtl="0" eaLnBrk="1" latinLnBrk="0" hangingPunct="1">
        <a:defRPr sz="1655" kern="1200">
          <a:solidFill>
            <a:schemeClr val="tx1"/>
          </a:solidFill>
          <a:latin typeface="+mn-lt"/>
          <a:ea typeface="+mn-ea"/>
          <a:cs typeface="+mn-cs"/>
        </a:defRPr>
      </a:lvl5pPr>
      <a:lvl6pPr marL="2142918" algn="l" defTabSz="857167" rtl="0" eaLnBrk="1" latinLnBrk="0" hangingPunct="1">
        <a:defRPr sz="1655" kern="1200">
          <a:solidFill>
            <a:schemeClr val="tx1"/>
          </a:solidFill>
          <a:latin typeface="+mn-lt"/>
          <a:ea typeface="+mn-ea"/>
          <a:cs typeface="+mn-cs"/>
        </a:defRPr>
      </a:lvl6pPr>
      <a:lvl7pPr marL="2571501" algn="l" defTabSz="857167" rtl="0" eaLnBrk="1" latinLnBrk="0" hangingPunct="1">
        <a:defRPr sz="1655" kern="1200">
          <a:solidFill>
            <a:schemeClr val="tx1"/>
          </a:solidFill>
          <a:latin typeface="+mn-lt"/>
          <a:ea typeface="+mn-ea"/>
          <a:cs typeface="+mn-cs"/>
        </a:defRPr>
      </a:lvl7pPr>
      <a:lvl8pPr marL="3000085" algn="l" defTabSz="857167" rtl="0" eaLnBrk="1" latinLnBrk="0" hangingPunct="1">
        <a:defRPr sz="1655" kern="1200">
          <a:solidFill>
            <a:schemeClr val="tx1"/>
          </a:solidFill>
          <a:latin typeface="+mn-lt"/>
          <a:ea typeface="+mn-ea"/>
          <a:cs typeface="+mn-cs"/>
        </a:defRPr>
      </a:lvl8pPr>
      <a:lvl9pPr marL="3428669" algn="l" defTabSz="857167" rtl="0" eaLnBrk="1" latinLnBrk="0" hangingPunct="1">
        <a:defRPr sz="1655"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89467"/>
            <a:ext cx="10515600" cy="141393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947335"/>
            <a:ext cx="10515600" cy="464142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780107"/>
            <a:ext cx="2743200" cy="389467"/>
          </a:xfrm>
          <a:prstGeom prst="rect">
            <a:avLst/>
          </a:prstGeom>
        </p:spPr>
        <p:txBody>
          <a:bodyPr vert="horz" lIns="91440" tIns="45720" rIns="91440" bIns="45720" rtlCol="0" anchor="ctr"/>
          <a:lstStyle>
            <a:lvl1pPr algn="l">
              <a:defRPr sz="1125">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780107"/>
            <a:ext cx="4114800" cy="389467"/>
          </a:xfrm>
          <a:prstGeom prst="rect">
            <a:avLst/>
          </a:prstGeom>
        </p:spPr>
        <p:txBody>
          <a:bodyPr vert="horz" lIns="91440" tIns="45720" rIns="91440" bIns="45720" rtlCol="0" anchor="ctr"/>
          <a:lstStyle>
            <a:lvl1pPr algn="ctr">
              <a:defRPr sz="1125">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780107"/>
            <a:ext cx="2743200" cy="389467"/>
          </a:xfrm>
          <a:prstGeom prst="rect">
            <a:avLst/>
          </a:prstGeom>
        </p:spPr>
        <p:txBody>
          <a:bodyPr vert="horz" lIns="91440" tIns="45720" rIns="91440" bIns="45720" rtlCol="0" anchor="ctr"/>
          <a:lstStyle>
            <a:lvl1pPr algn="r">
              <a:defRPr sz="1125">
                <a:solidFill>
                  <a:schemeClr val="tx1">
                    <a:tint val="75000"/>
                  </a:schemeClr>
                </a:solidFill>
              </a:defRPr>
            </a:lvl1pPr>
          </a:lstStyle>
          <a:p>
            <a:fld id="{F22B9F7F-7880-4EBE-82BD-2E156DF91094}" type="slidenum">
              <a:rPr lang="en-US" smtClean="0"/>
              <a:t>‹#›</a:t>
            </a:fld>
            <a:endParaRPr lang="en-US"/>
          </a:p>
        </p:txBody>
      </p:sp>
    </p:spTree>
    <p:extLst>
      <p:ext uri="{BB962C8B-B14F-4D97-AF65-F5344CB8AC3E}">
        <p14:creationId xmlns:p14="http://schemas.microsoft.com/office/powerpoint/2010/main" val="1899132087"/>
      </p:ext>
    </p:extLst>
  </p:cSld>
  <p:clrMap bg1="lt1" tx1="dk1" bg2="lt2" tx2="dk2" accent1="accent1" accent2="accent2" accent3="accent3" accent4="accent4" accent5="accent5" accent6="accent6" hlink="hlink" folHlink="folHlink"/>
  <p:sldLayoutIdLst>
    <p:sldLayoutId id="2147484057" r:id="rId1"/>
  </p:sldLayoutIdLst>
  <p:hf sldNum="0" hdr="0" ftr="0" dt="0"/>
  <p:txStyles>
    <p:titleStyle>
      <a:lvl1pPr algn="l" defTabSz="857199" rtl="0" eaLnBrk="1" latinLnBrk="0" hangingPunct="1">
        <a:lnSpc>
          <a:spcPct val="90000"/>
        </a:lnSpc>
        <a:spcBef>
          <a:spcPct val="0"/>
        </a:spcBef>
        <a:buNone/>
        <a:defRPr sz="4125" kern="1200">
          <a:solidFill>
            <a:schemeClr val="tx1"/>
          </a:solidFill>
          <a:latin typeface="+mj-lt"/>
          <a:ea typeface="+mj-ea"/>
          <a:cs typeface="+mj-cs"/>
        </a:defRPr>
      </a:lvl1pPr>
    </p:titleStyle>
    <p:bodyStyle>
      <a:lvl1pPr marL="214300" indent="-214300" algn="l" defTabSz="857199" rtl="0" eaLnBrk="1" latinLnBrk="0" hangingPunct="1">
        <a:lnSpc>
          <a:spcPct val="90000"/>
        </a:lnSpc>
        <a:spcBef>
          <a:spcPts val="937"/>
        </a:spcBef>
        <a:buFont typeface="Arial" panose="020B0604020202020204" pitchFamily="34" charset="0"/>
        <a:buChar char="•"/>
        <a:defRPr sz="2625" kern="1200">
          <a:solidFill>
            <a:schemeClr val="tx1"/>
          </a:solidFill>
          <a:latin typeface="+mn-lt"/>
          <a:ea typeface="+mn-ea"/>
          <a:cs typeface="+mn-cs"/>
        </a:defRPr>
      </a:lvl1pPr>
      <a:lvl2pPr marL="642899" indent="-214300" algn="l" defTabSz="857199" rtl="0" eaLnBrk="1" latinLnBrk="0" hangingPunct="1">
        <a:lnSpc>
          <a:spcPct val="90000"/>
        </a:lnSpc>
        <a:spcBef>
          <a:spcPts val="469"/>
        </a:spcBef>
        <a:buFont typeface="Arial" panose="020B0604020202020204" pitchFamily="34" charset="0"/>
        <a:buChar char="•"/>
        <a:defRPr sz="2249" kern="1200">
          <a:solidFill>
            <a:schemeClr val="tx1"/>
          </a:solidFill>
          <a:latin typeface="+mn-lt"/>
          <a:ea typeface="+mn-ea"/>
          <a:cs typeface="+mn-cs"/>
        </a:defRPr>
      </a:lvl2pPr>
      <a:lvl3pPr marL="1071497" indent="-214300" algn="l" defTabSz="857199" rtl="0" eaLnBrk="1" latinLnBrk="0" hangingPunct="1">
        <a:lnSpc>
          <a:spcPct val="90000"/>
        </a:lnSpc>
        <a:spcBef>
          <a:spcPts val="469"/>
        </a:spcBef>
        <a:buFont typeface="Arial" panose="020B0604020202020204" pitchFamily="34" charset="0"/>
        <a:buChar char="•"/>
        <a:defRPr sz="1875" kern="1200">
          <a:solidFill>
            <a:schemeClr val="tx1"/>
          </a:solidFill>
          <a:latin typeface="+mn-lt"/>
          <a:ea typeface="+mn-ea"/>
          <a:cs typeface="+mn-cs"/>
        </a:defRPr>
      </a:lvl3pPr>
      <a:lvl4pPr marL="1500097"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4pPr>
      <a:lvl5pPr marL="1928696"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5pPr>
      <a:lvl6pPr marL="2357294"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6pPr>
      <a:lvl7pPr marL="2785894"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7pPr>
      <a:lvl8pPr marL="3214493"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8pPr>
      <a:lvl9pPr marL="3643092"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9pPr>
    </p:bodyStyle>
    <p:otherStyle>
      <a:defPPr>
        <a:defRPr lang="en-US"/>
      </a:defPPr>
      <a:lvl1pPr marL="0" algn="l" defTabSz="857199" rtl="0" eaLnBrk="1" latinLnBrk="0" hangingPunct="1">
        <a:defRPr sz="1688" kern="1200">
          <a:solidFill>
            <a:schemeClr val="tx1"/>
          </a:solidFill>
          <a:latin typeface="+mn-lt"/>
          <a:ea typeface="+mn-ea"/>
          <a:cs typeface="+mn-cs"/>
        </a:defRPr>
      </a:lvl1pPr>
      <a:lvl2pPr marL="428599" algn="l" defTabSz="857199" rtl="0" eaLnBrk="1" latinLnBrk="0" hangingPunct="1">
        <a:defRPr sz="1688" kern="1200">
          <a:solidFill>
            <a:schemeClr val="tx1"/>
          </a:solidFill>
          <a:latin typeface="+mn-lt"/>
          <a:ea typeface="+mn-ea"/>
          <a:cs typeface="+mn-cs"/>
        </a:defRPr>
      </a:lvl2pPr>
      <a:lvl3pPr marL="857199" algn="l" defTabSz="857199" rtl="0" eaLnBrk="1" latinLnBrk="0" hangingPunct="1">
        <a:defRPr sz="1688" kern="1200">
          <a:solidFill>
            <a:schemeClr val="tx1"/>
          </a:solidFill>
          <a:latin typeface="+mn-lt"/>
          <a:ea typeface="+mn-ea"/>
          <a:cs typeface="+mn-cs"/>
        </a:defRPr>
      </a:lvl3pPr>
      <a:lvl4pPr marL="1285797" algn="l" defTabSz="857199" rtl="0" eaLnBrk="1" latinLnBrk="0" hangingPunct="1">
        <a:defRPr sz="1688" kern="1200">
          <a:solidFill>
            <a:schemeClr val="tx1"/>
          </a:solidFill>
          <a:latin typeface="+mn-lt"/>
          <a:ea typeface="+mn-ea"/>
          <a:cs typeface="+mn-cs"/>
        </a:defRPr>
      </a:lvl4pPr>
      <a:lvl5pPr marL="1714396" algn="l" defTabSz="857199" rtl="0" eaLnBrk="1" latinLnBrk="0" hangingPunct="1">
        <a:defRPr sz="1688" kern="1200">
          <a:solidFill>
            <a:schemeClr val="tx1"/>
          </a:solidFill>
          <a:latin typeface="+mn-lt"/>
          <a:ea typeface="+mn-ea"/>
          <a:cs typeface="+mn-cs"/>
        </a:defRPr>
      </a:lvl5pPr>
      <a:lvl6pPr marL="2142996" algn="l" defTabSz="857199" rtl="0" eaLnBrk="1" latinLnBrk="0" hangingPunct="1">
        <a:defRPr sz="1688" kern="1200">
          <a:solidFill>
            <a:schemeClr val="tx1"/>
          </a:solidFill>
          <a:latin typeface="+mn-lt"/>
          <a:ea typeface="+mn-ea"/>
          <a:cs typeface="+mn-cs"/>
        </a:defRPr>
      </a:lvl6pPr>
      <a:lvl7pPr marL="2571594" algn="l" defTabSz="857199" rtl="0" eaLnBrk="1" latinLnBrk="0" hangingPunct="1">
        <a:defRPr sz="1688" kern="1200">
          <a:solidFill>
            <a:schemeClr val="tx1"/>
          </a:solidFill>
          <a:latin typeface="+mn-lt"/>
          <a:ea typeface="+mn-ea"/>
          <a:cs typeface="+mn-cs"/>
        </a:defRPr>
      </a:lvl7pPr>
      <a:lvl8pPr marL="3000193" algn="l" defTabSz="857199" rtl="0" eaLnBrk="1" latinLnBrk="0" hangingPunct="1">
        <a:defRPr sz="1688" kern="1200">
          <a:solidFill>
            <a:schemeClr val="tx1"/>
          </a:solidFill>
          <a:latin typeface="+mn-lt"/>
          <a:ea typeface="+mn-ea"/>
          <a:cs typeface="+mn-cs"/>
        </a:defRPr>
      </a:lvl8pPr>
      <a:lvl9pPr marL="3428793" algn="l" defTabSz="857199" rtl="0" eaLnBrk="1" latinLnBrk="0" hangingPunct="1">
        <a:defRPr sz="1688"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89468"/>
            <a:ext cx="10515600" cy="141393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947334"/>
            <a:ext cx="10515600" cy="464142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780108"/>
            <a:ext cx="2743200" cy="389467"/>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8/2019</a:t>
            </a:fld>
            <a:endParaRPr lang="en-US" dirty="0"/>
          </a:p>
        </p:txBody>
      </p:sp>
      <p:sp>
        <p:nvSpPr>
          <p:cNvPr id="5" name="Footer Placeholder 4"/>
          <p:cNvSpPr>
            <a:spLocks noGrp="1"/>
          </p:cNvSpPr>
          <p:nvPr>
            <p:ph type="ftr" sz="quarter" idx="3"/>
          </p:nvPr>
        </p:nvSpPr>
        <p:spPr>
          <a:xfrm>
            <a:off x="4038600" y="6780108"/>
            <a:ext cx="4114800" cy="38946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780108"/>
            <a:ext cx="2743200" cy="389467"/>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284314491"/>
      </p:ext>
    </p:extLst>
  </p:cSld>
  <p:clrMap bg1="lt1" tx1="dk1" bg2="lt2" tx2="dk2" accent1="accent1" accent2="accent2" accent3="accent3" accent4="accent4" accent5="accent5" accent6="accent6" hlink="hlink" folHlink="folHlink"/>
  <p:sldLayoutIdLst>
    <p:sldLayoutId id="2147484059" r:id="rId1"/>
    <p:sldLayoutId id="2147484350" r:id="rId2"/>
  </p:sldLayoutIdLst>
  <p:hf sldNum="0" hdr="0" ftr="0" dt="0"/>
  <p:txStyles>
    <p:titleStyle>
      <a:lvl1pPr algn="l" defTabSz="914412"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3" indent="-228603" algn="l" defTabSz="91441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9" indent="-228603" algn="l" defTabSz="91441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15" indent="-228603" algn="l" defTabSz="91441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20" indent="-228603" algn="l" defTabSz="91441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26" indent="-228603" algn="l" defTabSz="91441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32" indent="-228603" algn="l" defTabSz="91441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37" indent="-228603" algn="l" defTabSz="91441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43" indent="-228603" algn="l" defTabSz="91441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49" indent="-228603" algn="l" defTabSz="91441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12" rtl="0" eaLnBrk="1" latinLnBrk="0" hangingPunct="1">
        <a:defRPr sz="1800" kern="1200">
          <a:solidFill>
            <a:schemeClr val="tx1"/>
          </a:solidFill>
          <a:latin typeface="+mn-lt"/>
          <a:ea typeface="+mn-ea"/>
          <a:cs typeface="+mn-cs"/>
        </a:defRPr>
      </a:lvl1pPr>
      <a:lvl2pPr marL="457206" algn="l" defTabSz="914412" rtl="0" eaLnBrk="1" latinLnBrk="0" hangingPunct="1">
        <a:defRPr sz="1800" kern="1200">
          <a:solidFill>
            <a:schemeClr val="tx1"/>
          </a:solidFill>
          <a:latin typeface="+mn-lt"/>
          <a:ea typeface="+mn-ea"/>
          <a:cs typeface="+mn-cs"/>
        </a:defRPr>
      </a:lvl2pPr>
      <a:lvl3pPr marL="914412" algn="l" defTabSz="914412" rtl="0" eaLnBrk="1" latinLnBrk="0" hangingPunct="1">
        <a:defRPr sz="1800" kern="1200">
          <a:solidFill>
            <a:schemeClr val="tx1"/>
          </a:solidFill>
          <a:latin typeface="+mn-lt"/>
          <a:ea typeface="+mn-ea"/>
          <a:cs typeface="+mn-cs"/>
        </a:defRPr>
      </a:lvl3pPr>
      <a:lvl4pPr marL="1371617" algn="l" defTabSz="914412" rtl="0" eaLnBrk="1" latinLnBrk="0" hangingPunct="1">
        <a:defRPr sz="1800" kern="1200">
          <a:solidFill>
            <a:schemeClr val="tx1"/>
          </a:solidFill>
          <a:latin typeface="+mn-lt"/>
          <a:ea typeface="+mn-ea"/>
          <a:cs typeface="+mn-cs"/>
        </a:defRPr>
      </a:lvl4pPr>
      <a:lvl5pPr marL="1828823" algn="l" defTabSz="914412" rtl="0" eaLnBrk="1" latinLnBrk="0" hangingPunct="1">
        <a:defRPr sz="1800" kern="1200">
          <a:solidFill>
            <a:schemeClr val="tx1"/>
          </a:solidFill>
          <a:latin typeface="+mn-lt"/>
          <a:ea typeface="+mn-ea"/>
          <a:cs typeface="+mn-cs"/>
        </a:defRPr>
      </a:lvl5pPr>
      <a:lvl6pPr marL="2286029" algn="l" defTabSz="914412" rtl="0" eaLnBrk="1" latinLnBrk="0" hangingPunct="1">
        <a:defRPr sz="1800" kern="1200">
          <a:solidFill>
            <a:schemeClr val="tx1"/>
          </a:solidFill>
          <a:latin typeface="+mn-lt"/>
          <a:ea typeface="+mn-ea"/>
          <a:cs typeface="+mn-cs"/>
        </a:defRPr>
      </a:lvl6pPr>
      <a:lvl7pPr marL="2743235" algn="l" defTabSz="914412" rtl="0" eaLnBrk="1" latinLnBrk="0" hangingPunct="1">
        <a:defRPr sz="1800" kern="1200">
          <a:solidFill>
            <a:schemeClr val="tx1"/>
          </a:solidFill>
          <a:latin typeface="+mn-lt"/>
          <a:ea typeface="+mn-ea"/>
          <a:cs typeface="+mn-cs"/>
        </a:defRPr>
      </a:lvl7pPr>
      <a:lvl8pPr marL="3200440" algn="l" defTabSz="914412" rtl="0" eaLnBrk="1" latinLnBrk="0" hangingPunct="1">
        <a:defRPr sz="1800" kern="1200">
          <a:solidFill>
            <a:schemeClr val="tx1"/>
          </a:solidFill>
          <a:latin typeface="+mn-lt"/>
          <a:ea typeface="+mn-ea"/>
          <a:cs typeface="+mn-cs"/>
        </a:defRPr>
      </a:lvl8pPr>
      <a:lvl9pPr marL="3657646" algn="l" defTabSz="91441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308813"/>
            <a:ext cx="11655840" cy="959643"/>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268456"/>
            <a:ext cx="11653520" cy="231967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rot="5400000">
            <a:off x="8958459" y="3240991"/>
            <a:ext cx="7315864" cy="833219"/>
          </a:xfrm>
          <a:prstGeom prst="rect">
            <a:avLst/>
          </a:prstGeom>
        </p:spPr>
      </p:pic>
    </p:spTree>
    <p:extLst>
      <p:ext uri="{BB962C8B-B14F-4D97-AF65-F5344CB8AC3E}">
        <p14:creationId xmlns:p14="http://schemas.microsoft.com/office/powerpoint/2010/main" val="1741446053"/>
      </p:ext>
    </p:extLst>
  </p:cSld>
  <p:clrMap bg1="lt1" tx1="dk1" bg2="lt2" tx2="dk2" accent1="accent1" accent2="accent2" accent3="accent3" accent4="accent4" accent5="accent5" accent6="accent6" hlink="hlink" folHlink="folHlink"/>
  <p:sldLayoutIdLst>
    <p:sldLayoutId id="2147484061" r:id="rId1"/>
  </p:sldLayoutIdLst>
  <p:transition spd="slow">
    <p:push dir="r"/>
  </p:transition>
  <p:hf sldNum="0" hdr="0" ftr="0" dt="0"/>
  <p:txStyles>
    <p:titleStyle>
      <a:lvl1pPr algn="l" defTabSz="914472" rtl="0" eaLnBrk="1" latinLnBrk="0" hangingPunct="1">
        <a:lnSpc>
          <a:spcPct val="90000"/>
        </a:lnSpc>
        <a:spcBef>
          <a:spcPct val="0"/>
        </a:spcBef>
        <a:buNone/>
        <a:defRPr lang="en-US" sz="4706"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23" marR="0" indent="-224123" algn="l" defTabSz="91447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30" kern="1200" spc="0" baseline="0">
          <a:gradFill>
            <a:gsLst>
              <a:gs pos="1250">
                <a:schemeClr val="tx1"/>
              </a:gs>
              <a:gs pos="100000">
                <a:schemeClr val="tx1"/>
              </a:gs>
            </a:gsLst>
            <a:lin ang="5400000" scaled="0"/>
          </a:gradFill>
          <a:latin typeface="+mj-lt"/>
          <a:ea typeface="+mn-ea"/>
          <a:cs typeface="+mn-cs"/>
        </a:defRPr>
      </a:lvl1pPr>
      <a:lvl2pPr marL="448245" marR="0" indent="-224123" algn="l" defTabSz="91447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6" kern="1200" spc="0" baseline="0">
          <a:gradFill>
            <a:gsLst>
              <a:gs pos="1250">
                <a:schemeClr val="tx1"/>
              </a:gs>
              <a:gs pos="100000">
                <a:schemeClr val="tx1"/>
              </a:gs>
            </a:gsLst>
            <a:lin ang="5400000" scaled="0"/>
          </a:gradFill>
          <a:latin typeface="+mn-lt"/>
          <a:ea typeface="+mn-ea"/>
          <a:cs typeface="+mn-cs"/>
        </a:defRPr>
      </a:lvl2pPr>
      <a:lvl3pPr marL="672367" marR="0" indent="-224123" algn="l" defTabSz="91447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4" kern="1200" spc="0" baseline="0">
          <a:gradFill>
            <a:gsLst>
              <a:gs pos="1250">
                <a:schemeClr val="tx1"/>
              </a:gs>
              <a:gs pos="100000">
                <a:schemeClr val="tx1"/>
              </a:gs>
            </a:gsLst>
            <a:lin ang="5400000" scaled="0"/>
          </a:gradFill>
          <a:latin typeface="+mn-lt"/>
          <a:ea typeface="+mn-ea"/>
          <a:cs typeface="+mn-cs"/>
        </a:defRPr>
      </a:lvl3pPr>
      <a:lvl4pPr marL="896489" marR="0" indent="-224123" algn="l" defTabSz="91447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8" kern="1200" spc="0" baseline="0">
          <a:gradFill>
            <a:gsLst>
              <a:gs pos="1250">
                <a:schemeClr val="tx1"/>
              </a:gs>
              <a:gs pos="100000">
                <a:schemeClr val="tx1"/>
              </a:gs>
            </a:gsLst>
            <a:lin ang="5400000" scaled="0"/>
          </a:gradFill>
          <a:latin typeface="+mn-lt"/>
          <a:ea typeface="+mn-ea"/>
          <a:cs typeface="+mn-cs"/>
        </a:defRPr>
      </a:lvl4pPr>
      <a:lvl5pPr marL="1120612" marR="0" indent="-224123" algn="l" defTabSz="91447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8" kern="1200" spc="0" baseline="0">
          <a:gradFill>
            <a:gsLst>
              <a:gs pos="1250">
                <a:schemeClr val="tx1"/>
              </a:gs>
              <a:gs pos="100000">
                <a:schemeClr val="tx1"/>
              </a:gs>
            </a:gsLst>
            <a:lin ang="5400000" scaled="0"/>
          </a:gradFill>
          <a:latin typeface="+mn-lt"/>
          <a:ea typeface="+mn-ea"/>
          <a:cs typeface="+mn-cs"/>
        </a:defRPr>
      </a:lvl5pPr>
      <a:lvl6pPr marL="2514797" indent="-228619" algn="l" defTabSz="91447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2033" indent="-228619" algn="l" defTabSz="91447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270" indent="-228619" algn="l" defTabSz="91447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506" indent="-228619" algn="l" defTabSz="91447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72" rtl="0" eaLnBrk="1" latinLnBrk="0" hangingPunct="1">
        <a:defRPr sz="1766" kern="1200">
          <a:solidFill>
            <a:schemeClr val="tx1"/>
          </a:solidFill>
          <a:latin typeface="+mn-lt"/>
          <a:ea typeface="+mn-ea"/>
          <a:cs typeface="+mn-cs"/>
        </a:defRPr>
      </a:lvl1pPr>
      <a:lvl2pPr marL="457237" algn="l" defTabSz="914472" rtl="0" eaLnBrk="1" latinLnBrk="0" hangingPunct="1">
        <a:defRPr sz="1766" kern="1200">
          <a:solidFill>
            <a:schemeClr val="tx1"/>
          </a:solidFill>
          <a:latin typeface="+mn-lt"/>
          <a:ea typeface="+mn-ea"/>
          <a:cs typeface="+mn-cs"/>
        </a:defRPr>
      </a:lvl2pPr>
      <a:lvl3pPr marL="914472" algn="l" defTabSz="914472" rtl="0" eaLnBrk="1" latinLnBrk="0" hangingPunct="1">
        <a:defRPr sz="1766" kern="1200">
          <a:solidFill>
            <a:schemeClr val="tx1"/>
          </a:solidFill>
          <a:latin typeface="+mn-lt"/>
          <a:ea typeface="+mn-ea"/>
          <a:cs typeface="+mn-cs"/>
        </a:defRPr>
      </a:lvl3pPr>
      <a:lvl4pPr marL="1371708" algn="l" defTabSz="914472" rtl="0" eaLnBrk="1" latinLnBrk="0" hangingPunct="1">
        <a:defRPr sz="1766" kern="1200">
          <a:solidFill>
            <a:schemeClr val="tx1"/>
          </a:solidFill>
          <a:latin typeface="+mn-lt"/>
          <a:ea typeface="+mn-ea"/>
          <a:cs typeface="+mn-cs"/>
        </a:defRPr>
      </a:lvl4pPr>
      <a:lvl5pPr marL="1828943" algn="l" defTabSz="914472" rtl="0" eaLnBrk="1" latinLnBrk="0" hangingPunct="1">
        <a:defRPr sz="1766" kern="1200">
          <a:solidFill>
            <a:schemeClr val="tx1"/>
          </a:solidFill>
          <a:latin typeface="+mn-lt"/>
          <a:ea typeface="+mn-ea"/>
          <a:cs typeface="+mn-cs"/>
        </a:defRPr>
      </a:lvl5pPr>
      <a:lvl6pPr marL="2286181" algn="l" defTabSz="914472" rtl="0" eaLnBrk="1" latinLnBrk="0" hangingPunct="1">
        <a:defRPr sz="1766" kern="1200">
          <a:solidFill>
            <a:schemeClr val="tx1"/>
          </a:solidFill>
          <a:latin typeface="+mn-lt"/>
          <a:ea typeface="+mn-ea"/>
          <a:cs typeface="+mn-cs"/>
        </a:defRPr>
      </a:lvl6pPr>
      <a:lvl7pPr marL="2743416" algn="l" defTabSz="914472" rtl="0" eaLnBrk="1" latinLnBrk="0" hangingPunct="1">
        <a:defRPr sz="1766" kern="1200">
          <a:solidFill>
            <a:schemeClr val="tx1"/>
          </a:solidFill>
          <a:latin typeface="+mn-lt"/>
          <a:ea typeface="+mn-ea"/>
          <a:cs typeface="+mn-cs"/>
        </a:defRPr>
      </a:lvl7pPr>
      <a:lvl8pPr marL="3200651" algn="l" defTabSz="914472" rtl="0" eaLnBrk="1" latinLnBrk="0" hangingPunct="1">
        <a:defRPr sz="1766" kern="1200">
          <a:solidFill>
            <a:schemeClr val="tx1"/>
          </a:solidFill>
          <a:latin typeface="+mn-lt"/>
          <a:ea typeface="+mn-ea"/>
          <a:cs typeface="+mn-cs"/>
        </a:defRPr>
      </a:lvl8pPr>
      <a:lvl9pPr marL="3657889" algn="l" defTabSz="914472" rtl="0" eaLnBrk="1" latinLnBrk="0" hangingPunct="1">
        <a:defRPr sz="176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8">
          <p15:clr>
            <a:srgbClr val="5ACBF0"/>
          </p15:clr>
        </p15:guide>
        <p15:guide id="2" pos="127">
          <p15:clr>
            <a:srgbClr val="5ACBF0"/>
          </p15:clr>
        </p15:guide>
        <p15:guide id="3" pos="551">
          <p15:clr>
            <a:srgbClr val="5ACBF0"/>
          </p15:clr>
        </p15:guide>
        <p15:guide id="4" pos="974">
          <p15:clr>
            <a:srgbClr val="5ACBF0"/>
          </p15:clr>
        </p15:guide>
        <p15:guide id="5" pos="1398">
          <p15:clr>
            <a:srgbClr val="5ACBF0"/>
          </p15:clr>
        </p15:guide>
        <p15:guide id="6" pos="1821">
          <p15:clr>
            <a:srgbClr val="5ACBF0"/>
          </p15:clr>
        </p15:guide>
        <p15:guide id="7" pos="2245">
          <p15:clr>
            <a:srgbClr val="5ACBF0"/>
          </p15:clr>
        </p15:guide>
        <p15:guide id="8" pos="2668">
          <p15:clr>
            <a:srgbClr val="5ACBF0"/>
          </p15:clr>
        </p15:guide>
        <p15:guide id="9" pos="3092">
          <p15:clr>
            <a:srgbClr val="5ACBF0"/>
          </p15:clr>
        </p15:guide>
        <p15:guide id="10" pos="3515">
          <p15:clr>
            <a:srgbClr val="5ACBF0"/>
          </p15:clr>
        </p15:guide>
        <p15:guide id="11" pos="3939">
          <p15:clr>
            <a:srgbClr val="5ACBF0"/>
          </p15:clr>
        </p15:guide>
        <p15:guide id="12" pos="4362">
          <p15:clr>
            <a:srgbClr val="5ACBF0"/>
          </p15:clr>
        </p15:guide>
        <p15:guide id="13" pos="4786">
          <p15:clr>
            <a:srgbClr val="5ACBF0"/>
          </p15:clr>
        </p15:guide>
        <p15:guide id="14" pos="5209">
          <p15:clr>
            <a:srgbClr val="5ACBF0"/>
          </p15:clr>
        </p15:guide>
        <p15:guide id="15" pos="5633">
          <p15:clr>
            <a:srgbClr val="5ACBF0"/>
          </p15:clr>
        </p15:guide>
        <p15:guide id="16" pos="212">
          <p15:clr>
            <a:srgbClr val="C35EA4"/>
          </p15:clr>
        </p15:guide>
        <p15:guide id="17" pos="5548">
          <p15:clr>
            <a:srgbClr val="C35EA4"/>
          </p15:clr>
        </p15:guide>
        <p15:guide id="18" orient="horz" pos="561">
          <p15:clr>
            <a:srgbClr val="5ACBF0"/>
          </p15:clr>
        </p15:guide>
        <p15:guide id="19" orient="horz" pos="985">
          <p15:clr>
            <a:srgbClr val="5ACBF0"/>
          </p15:clr>
        </p15:guide>
        <p15:guide id="20" orient="horz" pos="1408">
          <p15:clr>
            <a:srgbClr val="5ACBF0"/>
          </p15:clr>
        </p15:guide>
        <p15:guide id="21" orient="horz" pos="1832">
          <p15:clr>
            <a:srgbClr val="5ACBF0"/>
          </p15:clr>
        </p15:guide>
        <p15:guide id="22" orient="horz" pos="2255">
          <p15:clr>
            <a:srgbClr val="5ACBF0"/>
          </p15:clr>
        </p15:guide>
        <p15:guide id="23" orient="horz" pos="2679">
          <p15:clr>
            <a:srgbClr val="5ACBF0"/>
          </p15:clr>
        </p15:guide>
        <p15:guide id="24" orient="horz" pos="3102">
          <p15:clr>
            <a:srgbClr val="5ACBF0"/>
          </p15:clr>
        </p15:guide>
        <p15:guide id="25" orient="horz" pos="222">
          <p15:clr>
            <a:srgbClr val="C35EA4"/>
          </p15:clr>
        </p15:guide>
        <p15:guide id="26" orient="horz" pos="3018">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92948"/>
            <a:ext cx="10972800" cy="12192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706884"/>
            <a:ext cx="10972800" cy="482769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780109"/>
            <a:ext cx="2844800" cy="389467"/>
          </a:xfrm>
          <a:prstGeom prst="rect">
            <a:avLst/>
          </a:prstGeom>
        </p:spPr>
        <p:txBody>
          <a:bodyPr vert="horz" lIns="91440" tIns="45720" rIns="91440" bIns="45720" rtlCol="0" anchor="ctr"/>
          <a:lstStyle>
            <a:lvl1pPr algn="l">
              <a:defRPr sz="1500">
                <a:solidFill>
                  <a:schemeClr val="tx1">
                    <a:tint val="75000"/>
                  </a:schemeClr>
                </a:solidFill>
              </a:defRPr>
            </a:lvl1pPr>
          </a:lstStyle>
          <a:p>
            <a:pPr defTabSz="857223"/>
            <a:endParaRPr lang="en-US" dirty="0">
              <a:solidFill>
                <a:prstClr val="black">
                  <a:tint val="75000"/>
                </a:prstClr>
              </a:solidFill>
            </a:endParaRPr>
          </a:p>
        </p:txBody>
      </p:sp>
      <p:sp>
        <p:nvSpPr>
          <p:cNvPr id="5" name="Footer Placeholder 4"/>
          <p:cNvSpPr>
            <a:spLocks noGrp="1"/>
          </p:cNvSpPr>
          <p:nvPr>
            <p:ph type="ftr" sz="quarter" idx="3"/>
          </p:nvPr>
        </p:nvSpPr>
        <p:spPr>
          <a:xfrm>
            <a:off x="4165600" y="6780109"/>
            <a:ext cx="3860800" cy="389467"/>
          </a:xfrm>
          <a:prstGeom prst="rect">
            <a:avLst/>
          </a:prstGeom>
        </p:spPr>
        <p:txBody>
          <a:bodyPr vert="horz" lIns="91440" tIns="45720" rIns="91440" bIns="45720" rtlCol="0" anchor="ctr"/>
          <a:lstStyle>
            <a:lvl1pPr algn="ctr">
              <a:defRPr sz="1500">
                <a:solidFill>
                  <a:schemeClr val="tx1">
                    <a:tint val="75000"/>
                  </a:schemeClr>
                </a:solidFill>
              </a:defRPr>
            </a:lvl1pPr>
          </a:lstStyle>
          <a:p>
            <a:pPr defTabSz="857223"/>
            <a:endParaRPr lang="en-US" dirty="0">
              <a:solidFill>
                <a:prstClr val="black">
                  <a:tint val="75000"/>
                </a:prstClr>
              </a:solidFill>
            </a:endParaRPr>
          </a:p>
        </p:txBody>
      </p:sp>
      <p:sp>
        <p:nvSpPr>
          <p:cNvPr id="6" name="Slide Number Placeholder 5"/>
          <p:cNvSpPr>
            <a:spLocks noGrp="1"/>
          </p:cNvSpPr>
          <p:nvPr>
            <p:ph type="sldNum" sz="quarter" idx="4"/>
          </p:nvPr>
        </p:nvSpPr>
        <p:spPr>
          <a:xfrm>
            <a:off x="8737600" y="6780109"/>
            <a:ext cx="2844800" cy="389467"/>
          </a:xfrm>
          <a:prstGeom prst="rect">
            <a:avLst/>
          </a:prstGeom>
        </p:spPr>
        <p:txBody>
          <a:bodyPr vert="horz" lIns="91440" tIns="45720" rIns="91440" bIns="45720" rtlCol="0" anchor="ctr"/>
          <a:lstStyle>
            <a:lvl1pPr algn="r">
              <a:defRPr sz="1500">
                <a:solidFill>
                  <a:schemeClr val="tx1">
                    <a:tint val="75000"/>
                  </a:schemeClr>
                </a:solidFill>
              </a:defRPr>
            </a:lvl1pPr>
          </a:lstStyle>
          <a:p>
            <a:pPr defTabSz="857223"/>
            <a:fld id="{704198DC-2EF7-4B34-A789-AD3A4CDEBD28}" type="slidenum">
              <a:rPr lang="en-US" smtClean="0">
                <a:solidFill>
                  <a:prstClr val="black">
                    <a:tint val="75000"/>
                  </a:prstClr>
                </a:solidFill>
              </a:rPr>
              <a:pPr defTabSz="857223"/>
              <a:t>‹#›</a:t>
            </a:fld>
            <a:endParaRPr lang="en-US" dirty="0">
              <a:solidFill>
                <a:prstClr val="black">
                  <a:tint val="75000"/>
                </a:prstClr>
              </a:solidFill>
            </a:endParaRPr>
          </a:p>
        </p:txBody>
      </p:sp>
    </p:spTree>
    <p:extLst>
      <p:ext uri="{BB962C8B-B14F-4D97-AF65-F5344CB8AC3E}">
        <p14:creationId xmlns:p14="http://schemas.microsoft.com/office/powerpoint/2010/main" val="2224344682"/>
      </p:ext>
    </p:extLst>
  </p:cSld>
  <p:clrMap bg1="lt1" tx1="dk1" bg2="lt2" tx2="dk2" accent1="accent1" accent2="accent2" accent3="accent3" accent4="accent4" accent5="accent5" accent6="accent6" hlink="hlink" folHlink="folHlink"/>
  <p:sldLayoutIdLst>
    <p:sldLayoutId id="2147484064" r:id="rId1"/>
  </p:sldLayoutIdLst>
  <p:hf sldNum="0" hdr="0" ftr="0" dt="0"/>
  <p:txStyles>
    <p:titleStyle>
      <a:lvl1pPr algn="ctr" defTabSz="1142936" rtl="0" eaLnBrk="1" latinLnBrk="0" hangingPunct="1">
        <a:spcBef>
          <a:spcPct val="0"/>
        </a:spcBef>
        <a:buNone/>
        <a:defRPr sz="5500" kern="1200">
          <a:solidFill>
            <a:schemeClr val="tx1"/>
          </a:solidFill>
          <a:latin typeface="+mj-lt"/>
          <a:ea typeface="+mj-ea"/>
          <a:cs typeface="+mj-cs"/>
        </a:defRPr>
      </a:lvl1pPr>
    </p:titleStyle>
    <p:bodyStyle>
      <a:lvl1pPr marL="428602" indent="-428602" algn="l" defTabSz="1142936" rtl="0" eaLnBrk="1" latinLnBrk="0" hangingPunct="1">
        <a:spcBef>
          <a:spcPct val="20000"/>
        </a:spcBef>
        <a:buFont typeface="Arial" pitchFamily="34" charset="0"/>
        <a:buChar char="•"/>
        <a:defRPr sz="4000" kern="1200">
          <a:solidFill>
            <a:schemeClr val="tx1"/>
          </a:solidFill>
          <a:latin typeface="+mn-lt"/>
          <a:ea typeface="+mn-ea"/>
          <a:cs typeface="+mn-cs"/>
        </a:defRPr>
      </a:lvl1pPr>
      <a:lvl2pPr marL="928635" indent="-357167" algn="l" defTabSz="1142936" rtl="0" eaLnBrk="1" latinLnBrk="0" hangingPunct="1">
        <a:spcBef>
          <a:spcPct val="20000"/>
        </a:spcBef>
        <a:buFont typeface="Arial" pitchFamily="34" charset="0"/>
        <a:buChar char="–"/>
        <a:defRPr sz="3499" kern="1200">
          <a:solidFill>
            <a:schemeClr val="tx1"/>
          </a:solidFill>
          <a:latin typeface="+mn-lt"/>
          <a:ea typeface="+mn-ea"/>
          <a:cs typeface="+mn-cs"/>
        </a:defRPr>
      </a:lvl2pPr>
      <a:lvl3pPr marL="1428669" indent="-285733" algn="l" defTabSz="1142936" rtl="0" eaLnBrk="1" latinLnBrk="0" hangingPunct="1">
        <a:spcBef>
          <a:spcPct val="20000"/>
        </a:spcBef>
        <a:buFont typeface="Arial" pitchFamily="34" charset="0"/>
        <a:buChar char="•"/>
        <a:defRPr sz="3000" kern="1200">
          <a:solidFill>
            <a:schemeClr val="tx1"/>
          </a:solidFill>
          <a:latin typeface="+mn-lt"/>
          <a:ea typeface="+mn-ea"/>
          <a:cs typeface="+mn-cs"/>
        </a:defRPr>
      </a:lvl3pPr>
      <a:lvl4pPr marL="2000137" indent="-285733" algn="l" defTabSz="1142936" rtl="0" eaLnBrk="1" latinLnBrk="0" hangingPunct="1">
        <a:spcBef>
          <a:spcPct val="20000"/>
        </a:spcBef>
        <a:buFont typeface="Arial" pitchFamily="34" charset="0"/>
        <a:buChar char="–"/>
        <a:defRPr sz="2500" kern="1200">
          <a:solidFill>
            <a:schemeClr val="tx1"/>
          </a:solidFill>
          <a:latin typeface="+mn-lt"/>
          <a:ea typeface="+mn-ea"/>
          <a:cs typeface="+mn-cs"/>
        </a:defRPr>
      </a:lvl4pPr>
      <a:lvl5pPr marL="2571604" indent="-285733" algn="l" defTabSz="1142936" rtl="0" eaLnBrk="1" latinLnBrk="0" hangingPunct="1">
        <a:spcBef>
          <a:spcPct val="20000"/>
        </a:spcBef>
        <a:buFont typeface="Arial" pitchFamily="34" charset="0"/>
        <a:buChar char="»"/>
        <a:defRPr sz="2500" kern="1200">
          <a:solidFill>
            <a:schemeClr val="tx1"/>
          </a:solidFill>
          <a:latin typeface="+mn-lt"/>
          <a:ea typeface="+mn-ea"/>
          <a:cs typeface="+mn-cs"/>
        </a:defRPr>
      </a:lvl5pPr>
      <a:lvl6pPr marL="3143072" indent="-285733" algn="l" defTabSz="1142936"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714539" indent="-285733" algn="l" defTabSz="1142936"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286007" indent="-285733" algn="l" defTabSz="1142936"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857474" indent="-285733" algn="l" defTabSz="1142936"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142936" rtl="0" eaLnBrk="1" latinLnBrk="0" hangingPunct="1">
        <a:defRPr sz="2251" kern="1200">
          <a:solidFill>
            <a:schemeClr val="tx1"/>
          </a:solidFill>
          <a:latin typeface="+mn-lt"/>
          <a:ea typeface="+mn-ea"/>
          <a:cs typeface="+mn-cs"/>
        </a:defRPr>
      </a:lvl1pPr>
      <a:lvl2pPr marL="571467" algn="l" defTabSz="1142936" rtl="0" eaLnBrk="1" latinLnBrk="0" hangingPunct="1">
        <a:defRPr sz="2251" kern="1200">
          <a:solidFill>
            <a:schemeClr val="tx1"/>
          </a:solidFill>
          <a:latin typeface="+mn-lt"/>
          <a:ea typeface="+mn-ea"/>
          <a:cs typeface="+mn-cs"/>
        </a:defRPr>
      </a:lvl2pPr>
      <a:lvl3pPr marL="1142936" algn="l" defTabSz="1142936" rtl="0" eaLnBrk="1" latinLnBrk="0" hangingPunct="1">
        <a:defRPr sz="2251" kern="1200">
          <a:solidFill>
            <a:schemeClr val="tx1"/>
          </a:solidFill>
          <a:latin typeface="+mn-lt"/>
          <a:ea typeface="+mn-ea"/>
          <a:cs typeface="+mn-cs"/>
        </a:defRPr>
      </a:lvl3pPr>
      <a:lvl4pPr marL="1714403" algn="l" defTabSz="1142936" rtl="0" eaLnBrk="1" latinLnBrk="0" hangingPunct="1">
        <a:defRPr sz="2251" kern="1200">
          <a:solidFill>
            <a:schemeClr val="tx1"/>
          </a:solidFill>
          <a:latin typeface="+mn-lt"/>
          <a:ea typeface="+mn-ea"/>
          <a:cs typeface="+mn-cs"/>
        </a:defRPr>
      </a:lvl4pPr>
      <a:lvl5pPr marL="2285870" algn="l" defTabSz="1142936" rtl="0" eaLnBrk="1" latinLnBrk="0" hangingPunct="1">
        <a:defRPr sz="2251" kern="1200">
          <a:solidFill>
            <a:schemeClr val="tx1"/>
          </a:solidFill>
          <a:latin typeface="+mn-lt"/>
          <a:ea typeface="+mn-ea"/>
          <a:cs typeface="+mn-cs"/>
        </a:defRPr>
      </a:lvl5pPr>
      <a:lvl6pPr marL="2857339" algn="l" defTabSz="1142936" rtl="0" eaLnBrk="1" latinLnBrk="0" hangingPunct="1">
        <a:defRPr sz="2251" kern="1200">
          <a:solidFill>
            <a:schemeClr val="tx1"/>
          </a:solidFill>
          <a:latin typeface="+mn-lt"/>
          <a:ea typeface="+mn-ea"/>
          <a:cs typeface="+mn-cs"/>
        </a:defRPr>
      </a:lvl6pPr>
      <a:lvl7pPr marL="3428806" algn="l" defTabSz="1142936" rtl="0" eaLnBrk="1" latinLnBrk="0" hangingPunct="1">
        <a:defRPr sz="2251" kern="1200">
          <a:solidFill>
            <a:schemeClr val="tx1"/>
          </a:solidFill>
          <a:latin typeface="+mn-lt"/>
          <a:ea typeface="+mn-ea"/>
          <a:cs typeface="+mn-cs"/>
        </a:defRPr>
      </a:lvl7pPr>
      <a:lvl8pPr marL="4000273" algn="l" defTabSz="1142936" rtl="0" eaLnBrk="1" latinLnBrk="0" hangingPunct="1">
        <a:defRPr sz="2251" kern="1200">
          <a:solidFill>
            <a:schemeClr val="tx1"/>
          </a:solidFill>
          <a:latin typeface="+mn-lt"/>
          <a:ea typeface="+mn-ea"/>
          <a:cs typeface="+mn-cs"/>
        </a:defRPr>
      </a:lvl8pPr>
      <a:lvl9pPr marL="4571741" algn="l" defTabSz="1142936" rtl="0" eaLnBrk="1" latinLnBrk="0" hangingPunct="1">
        <a:defRPr sz="2251"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5C30E3-7673-478F-A6A5-753506765149}"/>
              </a:ext>
            </a:extLst>
          </p:cNvPr>
          <p:cNvSpPr>
            <a:spLocks noGrp="1"/>
          </p:cNvSpPr>
          <p:nvPr>
            <p:ph type="title"/>
          </p:nvPr>
        </p:nvSpPr>
        <p:spPr>
          <a:xfrm>
            <a:off x="838200" y="389467"/>
            <a:ext cx="10515600" cy="141393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9F4AD9F-6F45-4505-8B1E-658BB6A95678}"/>
              </a:ext>
            </a:extLst>
          </p:cNvPr>
          <p:cNvSpPr>
            <a:spLocks noGrp="1"/>
          </p:cNvSpPr>
          <p:nvPr>
            <p:ph type="body" idx="1"/>
          </p:nvPr>
        </p:nvSpPr>
        <p:spPr>
          <a:xfrm>
            <a:off x="838200" y="1947333"/>
            <a:ext cx="10515600" cy="4641427"/>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E656207-D742-468F-97DF-9537FD02E2A7}"/>
              </a:ext>
            </a:extLst>
          </p:cNvPr>
          <p:cNvSpPr>
            <a:spLocks noGrp="1"/>
          </p:cNvSpPr>
          <p:nvPr>
            <p:ph type="dt" sz="half" idx="2"/>
          </p:nvPr>
        </p:nvSpPr>
        <p:spPr>
          <a:xfrm>
            <a:off x="838200" y="6780107"/>
            <a:ext cx="2743200" cy="389467"/>
          </a:xfrm>
          <a:prstGeom prst="rect">
            <a:avLst/>
          </a:prstGeom>
        </p:spPr>
        <p:txBody>
          <a:bodyPr vert="horz" lIns="91440" tIns="45720" rIns="91440" bIns="45720" rtlCol="0" anchor="ctr"/>
          <a:lstStyle>
            <a:lvl1pPr algn="l">
              <a:defRPr sz="1200">
                <a:solidFill>
                  <a:schemeClr val="tx1">
                    <a:tint val="75000"/>
                  </a:schemeClr>
                </a:solidFill>
              </a:defRPr>
            </a:lvl1pPr>
          </a:lstStyle>
          <a:p>
            <a:fld id="{D018EA7D-168D-4B26-AC02-ADC5565E25F2}" type="datetimeFigureOut">
              <a:rPr lang="en-US" smtClean="0"/>
              <a:t>1/8/2019</a:t>
            </a:fld>
            <a:endParaRPr lang="en-US"/>
          </a:p>
        </p:txBody>
      </p:sp>
      <p:sp>
        <p:nvSpPr>
          <p:cNvPr id="5" name="Footer Placeholder 4">
            <a:extLst>
              <a:ext uri="{FF2B5EF4-FFF2-40B4-BE49-F238E27FC236}">
                <a16:creationId xmlns:a16="http://schemas.microsoft.com/office/drawing/2014/main" id="{CA0B3D75-48FB-48D9-A865-249C1D3671D0}"/>
              </a:ext>
            </a:extLst>
          </p:cNvPr>
          <p:cNvSpPr>
            <a:spLocks noGrp="1"/>
          </p:cNvSpPr>
          <p:nvPr>
            <p:ph type="ftr" sz="quarter" idx="3"/>
          </p:nvPr>
        </p:nvSpPr>
        <p:spPr>
          <a:xfrm>
            <a:off x="4038600" y="6780107"/>
            <a:ext cx="4114800" cy="38946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2F91E78-AD99-4EC2-8B0C-1330ADCAF748}"/>
              </a:ext>
            </a:extLst>
          </p:cNvPr>
          <p:cNvSpPr>
            <a:spLocks noGrp="1"/>
          </p:cNvSpPr>
          <p:nvPr>
            <p:ph type="sldNum" sz="quarter" idx="4"/>
          </p:nvPr>
        </p:nvSpPr>
        <p:spPr>
          <a:xfrm>
            <a:off x="8610600" y="6780107"/>
            <a:ext cx="2743200" cy="389467"/>
          </a:xfrm>
          <a:prstGeom prst="rect">
            <a:avLst/>
          </a:prstGeom>
        </p:spPr>
        <p:txBody>
          <a:bodyPr vert="horz" lIns="91440" tIns="45720" rIns="91440" bIns="45720" rtlCol="0" anchor="ctr"/>
          <a:lstStyle>
            <a:lvl1pPr algn="r">
              <a:defRPr sz="1200">
                <a:solidFill>
                  <a:schemeClr val="tx1">
                    <a:tint val="75000"/>
                  </a:schemeClr>
                </a:solidFill>
              </a:defRPr>
            </a:lvl1pPr>
          </a:lstStyle>
          <a:p>
            <a:fld id="{9B1FFF44-CD96-445C-9E29-D3BEA58FBE79}" type="slidenum">
              <a:rPr lang="en-US" smtClean="0"/>
              <a:t>‹#›</a:t>
            </a:fld>
            <a:endParaRPr lang="en-US"/>
          </a:p>
        </p:txBody>
      </p:sp>
    </p:spTree>
    <p:extLst>
      <p:ext uri="{BB962C8B-B14F-4D97-AF65-F5344CB8AC3E}">
        <p14:creationId xmlns:p14="http://schemas.microsoft.com/office/powerpoint/2010/main" val="3651758148"/>
      </p:ext>
    </p:extLst>
  </p:cSld>
  <p:clrMap bg1="lt1" tx1="dk1" bg2="lt2" tx2="dk2" accent1="accent1" accent2="accent2" accent3="accent3" accent4="accent4" accent5="accent5" accent6="accent6" hlink="hlink" folHlink="folHlink"/>
  <p:sldLayoutIdLst>
    <p:sldLayoutId id="2147484067" r:id="rId1"/>
    <p:sldLayoutId id="2147484068" r:id="rId2"/>
    <p:sldLayoutId id="2147484069" r:id="rId3"/>
    <p:sldLayoutId id="2147484070" r:id="rId4"/>
    <p:sldLayoutId id="2147484071" r:id="rId5"/>
    <p:sldLayoutId id="2147484072" r:id="rId6"/>
    <p:sldLayoutId id="2147484073" r:id="rId7"/>
    <p:sldLayoutId id="2147484074" r:id="rId8"/>
    <p:sldLayoutId id="2147484075" r:id="rId9"/>
    <p:sldLayoutId id="2147484076" r:id="rId10"/>
    <p:sldLayoutId id="2147484077" r:id="rId11"/>
    <p:sldLayoutId id="2147484080" r:id="rId12"/>
    <p:sldLayoutId id="2147484081" r:id="rId13"/>
    <p:sldLayoutId id="214748408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92948"/>
            <a:ext cx="10972800" cy="12192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706882"/>
            <a:ext cx="10972800" cy="482769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780108"/>
            <a:ext cx="2844800" cy="389467"/>
          </a:xfrm>
          <a:prstGeom prst="rect">
            <a:avLst/>
          </a:prstGeom>
        </p:spPr>
        <p:txBody>
          <a:bodyPr vert="horz" lIns="91440" tIns="45720" rIns="91440" bIns="45720" rtlCol="0" anchor="ctr"/>
          <a:lstStyle>
            <a:lvl1pPr algn="l">
              <a:defRPr sz="16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165600" y="6780108"/>
            <a:ext cx="3860800" cy="389467"/>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780108"/>
            <a:ext cx="2844800" cy="389467"/>
          </a:xfrm>
          <a:prstGeom prst="rect">
            <a:avLst/>
          </a:prstGeom>
        </p:spPr>
        <p:txBody>
          <a:bodyPr vert="horz" lIns="91440" tIns="45720" rIns="91440" bIns="45720" rtlCol="0" anchor="ctr"/>
          <a:lstStyle>
            <a:lvl1pPr algn="r">
              <a:defRPr sz="1600">
                <a:solidFill>
                  <a:schemeClr val="tx1">
                    <a:tint val="75000"/>
                  </a:schemeClr>
                </a:solidFill>
              </a:defRPr>
            </a:lvl1pPr>
          </a:lstStyle>
          <a:p>
            <a:fld id="{704198DC-2EF7-4B34-A789-AD3A4CDEBD28}" type="slidenum">
              <a:rPr lang="en-US" smtClean="0"/>
              <a:t>‹#›</a:t>
            </a:fld>
            <a:endParaRPr lang="en-US"/>
          </a:p>
        </p:txBody>
      </p:sp>
    </p:spTree>
    <p:extLst>
      <p:ext uri="{BB962C8B-B14F-4D97-AF65-F5344CB8AC3E}">
        <p14:creationId xmlns:p14="http://schemas.microsoft.com/office/powerpoint/2010/main" val="2122553834"/>
      </p:ext>
    </p:extLst>
  </p:cSld>
  <p:clrMap bg1="lt1" tx1="dk1" bg2="lt2" tx2="dk2" accent1="accent1" accent2="accent2" accent3="accent3" accent4="accent4" accent5="accent5" accent6="accent6" hlink="hlink" folHlink="folHlink"/>
  <p:sldLayoutIdLst>
    <p:sldLayoutId id="2147483749" r:id="rId1"/>
  </p:sldLayoutIdLst>
  <p:hf sldNum="0" hdr="0" ftr="0" dt="0"/>
  <p:txStyles>
    <p:titleStyle>
      <a:lvl1pPr algn="ctr" defTabSz="1219170"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1219170" rtl="0" eaLnBrk="1" latinLnBrk="0" hangingPunct="1">
        <a:spcBef>
          <a:spcPct val="20000"/>
        </a:spcBef>
        <a:buFont typeface="Arial" pitchFamily="34" charset="0"/>
        <a:buChar char="•"/>
        <a:defRPr sz="4267" kern="1200">
          <a:solidFill>
            <a:schemeClr val="tx1"/>
          </a:solidFill>
          <a:latin typeface="+mn-lt"/>
          <a:ea typeface="+mn-ea"/>
          <a:cs typeface="+mn-cs"/>
        </a:defRPr>
      </a:lvl1pPr>
      <a:lvl2pPr marL="990575" indent="-380990" algn="l" defTabSz="1219170" rtl="0" eaLnBrk="1" latinLnBrk="0" hangingPunct="1">
        <a:spcBef>
          <a:spcPct val="20000"/>
        </a:spcBef>
        <a:buFont typeface="Arial" pitchFamily="34" charset="0"/>
        <a:buChar char="–"/>
        <a:defRPr sz="3733" kern="1200">
          <a:solidFill>
            <a:schemeClr val="tx1"/>
          </a:solidFill>
          <a:latin typeface="+mn-lt"/>
          <a:ea typeface="+mn-ea"/>
          <a:cs typeface="+mn-cs"/>
        </a:defRPr>
      </a:lvl2pPr>
      <a:lvl3pPr marL="1523962" indent="-304792" algn="l" defTabSz="1219170"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547"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4pPr>
      <a:lvl5pPr marL="274313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308813"/>
            <a:ext cx="11655840" cy="959643"/>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268458"/>
            <a:ext cx="11653521" cy="205530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a:stretch>
            <a:fillRect/>
          </a:stretch>
        </p:blipFill>
        <p:spPr>
          <a:xfrm rot="5400000">
            <a:off x="8980127" y="3219654"/>
            <a:ext cx="7315865" cy="876557"/>
          </a:xfrm>
          <a:prstGeom prst="rect">
            <a:avLst/>
          </a:prstGeom>
        </p:spPr>
      </p:pic>
    </p:spTree>
    <p:extLst>
      <p:ext uri="{BB962C8B-B14F-4D97-AF65-F5344CB8AC3E}">
        <p14:creationId xmlns:p14="http://schemas.microsoft.com/office/powerpoint/2010/main" val="1611690532"/>
      </p:ext>
    </p:extLst>
  </p:cSld>
  <p:clrMap bg1="dk1" tx1="lt1" bg2="dk2" tx2="lt2" accent1="accent1" accent2="accent2" accent3="accent3" accent4="accent4" accent5="accent5" accent6="accent6" hlink="hlink" folHlink="folHlink"/>
  <p:sldLayoutIdLst>
    <p:sldLayoutId id="2147484087" r:id="rId1"/>
    <p:sldLayoutId id="2147484088" r:id="rId2"/>
    <p:sldLayoutId id="2147484089" r:id="rId3"/>
    <p:sldLayoutId id="2147484090" r:id="rId4"/>
    <p:sldLayoutId id="2147484091" r:id="rId5"/>
    <p:sldLayoutId id="2147484092" r:id="rId6"/>
    <p:sldLayoutId id="2147484093" r:id="rId7"/>
    <p:sldLayoutId id="2147484094" r:id="rId8"/>
    <p:sldLayoutId id="2147484095" r:id="rId9"/>
    <p:sldLayoutId id="2147484096" r:id="rId10"/>
    <p:sldLayoutId id="2147484097" r:id="rId11"/>
    <p:sldLayoutId id="2147484098" r:id="rId12"/>
    <p:sldLayoutId id="2147484099" r:id="rId13"/>
    <p:sldLayoutId id="2147484100" r:id="rId14"/>
    <p:sldLayoutId id="2147484101" r:id="rId15"/>
    <p:sldLayoutId id="2147484102" r:id="rId16"/>
    <p:sldLayoutId id="2147484103" r:id="rId17"/>
    <p:sldLayoutId id="2147484104" r:id="rId18"/>
    <p:sldLayoutId id="2147484105" r:id="rId19"/>
    <p:sldLayoutId id="2147484106" r:id="rId20"/>
    <p:sldLayoutId id="2147484107" r:id="rId21"/>
    <p:sldLayoutId id="2147484108" r:id="rId22"/>
    <p:sldLayoutId id="2147484109" r:id="rId23"/>
    <p:sldLayoutId id="2147484110" r:id="rId24"/>
    <p:sldLayoutId id="2147484111" r:id="rId25"/>
    <p:sldLayoutId id="2147484112" r:id="rId26"/>
    <p:sldLayoutId id="2147484113" r:id="rId27"/>
    <p:sldLayoutId id="2147484114" r:id="rId28"/>
  </p:sldLayoutIdLst>
  <p:transition>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89467"/>
            <a:ext cx="10515600" cy="141393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947333"/>
            <a:ext cx="10515600" cy="4641427"/>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780107"/>
            <a:ext cx="2743200" cy="389467"/>
          </a:xfrm>
          <a:prstGeom prst="rect">
            <a:avLst/>
          </a:prstGeom>
        </p:spPr>
        <p:txBody>
          <a:bodyPr vert="horz" lIns="91440" tIns="45720" rIns="91440" bIns="45720" rtlCol="0" anchor="ctr"/>
          <a:lstStyle>
            <a:lvl1pPr algn="l">
              <a:defRPr sz="1200">
                <a:solidFill>
                  <a:schemeClr val="tx1">
                    <a:tint val="75000"/>
                  </a:schemeClr>
                </a:solidFill>
              </a:defRPr>
            </a:lvl1pPr>
          </a:lstStyle>
          <a:p>
            <a:fld id="{D01120C9-890A-4013-ADCB-1DF4AE2150B6}" type="datetimeFigureOut">
              <a:rPr lang="en-US" smtClean="0"/>
              <a:t>1/8/2019</a:t>
            </a:fld>
            <a:endParaRPr lang="en-US"/>
          </a:p>
        </p:txBody>
      </p:sp>
      <p:sp>
        <p:nvSpPr>
          <p:cNvPr id="5" name="Footer Placeholder 4"/>
          <p:cNvSpPr>
            <a:spLocks noGrp="1"/>
          </p:cNvSpPr>
          <p:nvPr>
            <p:ph type="ftr" sz="quarter" idx="3"/>
          </p:nvPr>
        </p:nvSpPr>
        <p:spPr>
          <a:xfrm>
            <a:off x="4038600" y="6780107"/>
            <a:ext cx="4114800" cy="38946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780107"/>
            <a:ext cx="2743200" cy="389467"/>
          </a:xfrm>
          <a:prstGeom prst="rect">
            <a:avLst/>
          </a:prstGeom>
        </p:spPr>
        <p:txBody>
          <a:bodyPr vert="horz" lIns="91440" tIns="45720" rIns="91440" bIns="45720" rtlCol="0" anchor="ctr"/>
          <a:lstStyle>
            <a:lvl1pPr algn="r">
              <a:defRPr sz="1200">
                <a:solidFill>
                  <a:schemeClr val="tx1">
                    <a:tint val="75000"/>
                  </a:schemeClr>
                </a:solidFill>
              </a:defRPr>
            </a:lvl1pPr>
          </a:lstStyle>
          <a:p>
            <a:fld id="{3EC3BC81-F2B5-4BD2-808C-0E2507328F7C}" type="slidenum">
              <a:rPr lang="en-US" smtClean="0"/>
              <a:t>‹#›</a:t>
            </a:fld>
            <a:endParaRPr lang="en-US"/>
          </a:p>
        </p:txBody>
      </p:sp>
    </p:spTree>
    <p:extLst>
      <p:ext uri="{BB962C8B-B14F-4D97-AF65-F5344CB8AC3E}">
        <p14:creationId xmlns:p14="http://schemas.microsoft.com/office/powerpoint/2010/main" val="3170983987"/>
      </p:ext>
    </p:extLst>
  </p:cSld>
  <p:clrMap bg1="lt1" tx1="dk1" bg2="lt2" tx2="dk2" accent1="accent1" accent2="accent2" accent3="accent3" accent4="accent4" accent5="accent5" accent6="accent6" hlink="hlink" folHlink="folHlink"/>
  <p:sldLayoutIdLst>
    <p:sldLayoutId id="2147484154" r:id="rId1"/>
    <p:sldLayoutId id="2147484155" r:id="rId2"/>
    <p:sldLayoutId id="2147484156" r:id="rId3"/>
    <p:sldLayoutId id="2147484157" r:id="rId4"/>
    <p:sldLayoutId id="2147484158" r:id="rId5"/>
    <p:sldLayoutId id="2147484159" r:id="rId6"/>
    <p:sldLayoutId id="2147484160" r:id="rId7"/>
    <p:sldLayoutId id="2147484161" r:id="rId8"/>
    <p:sldLayoutId id="2147484162" r:id="rId9"/>
    <p:sldLayoutId id="2147484163" r:id="rId10"/>
    <p:sldLayoutId id="2147484164" r:id="rId11"/>
    <p:sldLayoutId id="2147484165" r:id="rId12"/>
    <p:sldLayoutId id="2147484166"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5550365"/>
      </p:ext>
    </p:extLst>
  </p:cSld>
  <p:clrMap bg1="lt1" tx1="dk1" bg2="lt2" tx2="dk2" accent1="accent1" accent2="accent2" accent3="accent3" accent4="accent4" accent5="accent5" accent6="accent6" hlink="hlink" folHlink="folHlink"/>
  <p:sldLayoutIdLst>
    <p:sldLayoutId id="2147484245" r:id="rId1"/>
    <p:sldLayoutId id="2147484246" r:id="rId2"/>
    <p:sldLayoutId id="2147484247" r:id="rId3"/>
    <p:sldLayoutId id="2147484248" r:id="rId4"/>
    <p:sldLayoutId id="2147484249" r:id="rId5"/>
    <p:sldLayoutId id="2147484250" r:id="rId6"/>
    <p:sldLayoutId id="2147484251" r:id="rId7"/>
    <p:sldLayoutId id="2147484252" r:id="rId8"/>
    <p:sldLayoutId id="2147484253" r:id="rId9"/>
    <p:sldLayoutId id="2147484254"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77" rtl="0" eaLnBrk="1" latinLnBrk="1"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1"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1" hangingPunct="1">
        <a:defRPr sz="1800" kern="1200">
          <a:solidFill>
            <a:schemeClr val="tx1"/>
          </a:solidFill>
          <a:latin typeface="+mn-lt"/>
          <a:ea typeface="+mn-ea"/>
          <a:cs typeface="+mn-cs"/>
        </a:defRPr>
      </a:lvl1pPr>
      <a:lvl2pPr marL="457189" algn="l" defTabSz="914377" rtl="0" eaLnBrk="1" latinLnBrk="1" hangingPunct="1">
        <a:defRPr sz="1800" kern="1200">
          <a:solidFill>
            <a:schemeClr val="tx1"/>
          </a:solidFill>
          <a:latin typeface="+mn-lt"/>
          <a:ea typeface="+mn-ea"/>
          <a:cs typeface="+mn-cs"/>
        </a:defRPr>
      </a:lvl2pPr>
      <a:lvl3pPr marL="914377" algn="l" defTabSz="914377" rtl="0" eaLnBrk="1" latinLnBrk="1" hangingPunct="1">
        <a:defRPr sz="1800" kern="1200">
          <a:solidFill>
            <a:schemeClr val="tx1"/>
          </a:solidFill>
          <a:latin typeface="+mn-lt"/>
          <a:ea typeface="+mn-ea"/>
          <a:cs typeface="+mn-cs"/>
        </a:defRPr>
      </a:lvl3pPr>
      <a:lvl4pPr marL="1371566" algn="l" defTabSz="914377" rtl="0" eaLnBrk="1" latinLnBrk="1" hangingPunct="1">
        <a:defRPr sz="1800" kern="1200">
          <a:solidFill>
            <a:schemeClr val="tx1"/>
          </a:solidFill>
          <a:latin typeface="+mn-lt"/>
          <a:ea typeface="+mn-ea"/>
          <a:cs typeface="+mn-cs"/>
        </a:defRPr>
      </a:lvl4pPr>
      <a:lvl5pPr marL="1828754" algn="l" defTabSz="914377" rtl="0" eaLnBrk="1" latinLnBrk="1" hangingPunct="1">
        <a:defRPr sz="1800" kern="1200">
          <a:solidFill>
            <a:schemeClr val="tx1"/>
          </a:solidFill>
          <a:latin typeface="+mn-lt"/>
          <a:ea typeface="+mn-ea"/>
          <a:cs typeface="+mn-cs"/>
        </a:defRPr>
      </a:lvl5pPr>
      <a:lvl6pPr marL="2285943" algn="l" defTabSz="914377" rtl="0" eaLnBrk="1" latinLnBrk="1" hangingPunct="1">
        <a:defRPr sz="1800" kern="1200">
          <a:solidFill>
            <a:schemeClr val="tx1"/>
          </a:solidFill>
          <a:latin typeface="+mn-lt"/>
          <a:ea typeface="+mn-ea"/>
          <a:cs typeface="+mn-cs"/>
        </a:defRPr>
      </a:lvl6pPr>
      <a:lvl7pPr marL="2743131" algn="l" defTabSz="914377" rtl="0" eaLnBrk="1" latinLnBrk="1" hangingPunct="1">
        <a:defRPr sz="1800" kern="1200">
          <a:solidFill>
            <a:schemeClr val="tx1"/>
          </a:solidFill>
          <a:latin typeface="+mn-lt"/>
          <a:ea typeface="+mn-ea"/>
          <a:cs typeface="+mn-cs"/>
        </a:defRPr>
      </a:lvl7pPr>
      <a:lvl8pPr marL="3200320" algn="l" defTabSz="914377" rtl="0" eaLnBrk="1" latinLnBrk="1" hangingPunct="1">
        <a:defRPr sz="1800" kern="1200">
          <a:solidFill>
            <a:schemeClr val="tx1"/>
          </a:solidFill>
          <a:latin typeface="+mn-lt"/>
          <a:ea typeface="+mn-ea"/>
          <a:cs typeface="+mn-cs"/>
        </a:defRPr>
      </a:lvl8pPr>
      <a:lvl9pPr marL="3657509" algn="l" defTabSz="914377" rtl="0" eaLnBrk="1" latinLnBrk="1"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89467"/>
            <a:ext cx="10515600" cy="141393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947335"/>
            <a:ext cx="10515600" cy="464142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780107"/>
            <a:ext cx="2743200" cy="389467"/>
          </a:xfrm>
          <a:prstGeom prst="rect">
            <a:avLst/>
          </a:prstGeom>
        </p:spPr>
        <p:txBody>
          <a:bodyPr vert="horz" lIns="91440" tIns="45720" rIns="91440" bIns="45720" rtlCol="0" anchor="ctr"/>
          <a:lstStyle>
            <a:lvl1pPr algn="l">
              <a:defRPr sz="1125">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780107"/>
            <a:ext cx="4114800" cy="389467"/>
          </a:xfrm>
          <a:prstGeom prst="rect">
            <a:avLst/>
          </a:prstGeom>
        </p:spPr>
        <p:txBody>
          <a:bodyPr vert="horz" lIns="91440" tIns="45720" rIns="91440" bIns="45720" rtlCol="0" anchor="ctr"/>
          <a:lstStyle>
            <a:lvl1pPr algn="ctr">
              <a:defRPr sz="1125">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780107"/>
            <a:ext cx="2743200" cy="389467"/>
          </a:xfrm>
          <a:prstGeom prst="rect">
            <a:avLst/>
          </a:prstGeom>
        </p:spPr>
        <p:txBody>
          <a:bodyPr vert="horz" lIns="91440" tIns="45720" rIns="91440" bIns="45720" rtlCol="0" anchor="ctr"/>
          <a:lstStyle>
            <a:lvl1pPr algn="r">
              <a:defRPr sz="1125">
                <a:solidFill>
                  <a:schemeClr val="tx1">
                    <a:tint val="75000"/>
                  </a:schemeClr>
                </a:solidFill>
              </a:defRPr>
            </a:lvl1pPr>
          </a:lstStyle>
          <a:p>
            <a:fld id="{F22B9F7F-7880-4EBE-82BD-2E156DF91094}" type="slidenum">
              <a:rPr lang="en-US" smtClean="0"/>
              <a:t>‹#›</a:t>
            </a:fld>
            <a:endParaRPr lang="en-US"/>
          </a:p>
        </p:txBody>
      </p:sp>
    </p:spTree>
    <p:extLst>
      <p:ext uri="{BB962C8B-B14F-4D97-AF65-F5344CB8AC3E}">
        <p14:creationId xmlns:p14="http://schemas.microsoft.com/office/powerpoint/2010/main" val="2870498411"/>
      </p:ext>
    </p:extLst>
  </p:cSld>
  <p:clrMap bg1="lt1" tx1="dk1" bg2="lt2" tx2="dk2" accent1="accent1" accent2="accent2" accent3="accent3" accent4="accent4" accent5="accent5" accent6="accent6" hlink="hlink" folHlink="folHlink"/>
  <p:sldLayoutIdLst>
    <p:sldLayoutId id="2147484260" r:id="rId1"/>
    <p:sldLayoutId id="2147484261" r:id="rId2"/>
    <p:sldLayoutId id="2147484262" r:id="rId3"/>
  </p:sldLayoutIdLst>
  <p:hf sldNum="0" hdr="0" ftr="0" dt="0"/>
  <p:txStyles>
    <p:titleStyle>
      <a:lvl1pPr algn="l" defTabSz="857199" rtl="0" eaLnBrk="1" latinLnBrk="0" hangingPunct="1">
        <a:lnSpc>
          <a:spcPct val="90000"/>
        </a:lnSpc>
        <a:spcBef>
          <a:spcPct val="0"/>
        </a:spcBef>
        <a:buNone/>
        <a:defRPr sz="4125" kern="1200">
          <a:solidFill>
            <a:schemeClr val="tx1"/>
          </a:solidFill>
          <a:latin typeface="+mj-lt"/>
          <a:ea typeface="+mj-ea"/>
          <a:cs typeface="+mj-cs"/>
        </a:defRPr>
      </a:lvl1pPr>
    </p:titleStyle>
    <p:bodyStyle>
      <a:lvl1pPr marL="214300" indent="-214300" algn="l" defTabSz="857199" rtl="0" eaLnBrk="1" latinLnBrk="0" hangingPunct="1">
        <a:lnSpc>
          <a:spcPct val="90000"/>
        </a:lnSpc>
        <a:spcBef>
          <a:spcPts val="937"/>
        </a:spcBef>
        <a:buFont typeface="Arial" panose="020B0604020202020204" pitchFamily="34" charset="0"/>
        <a:buChar char="•"/>
        <a:defRPr sz="2625" kern="1200">
          <a:solidFill>
            <a:schemeClr val="tx1"/>
          </a:solidFill>
          <a:latin typeface="+mn-lt"/>
          <a:ea typeface="+mn-ea"/>
          <a:cs typeface="+mn-cs"/>
        </a:defRPr>
      </a:lvl1pPr>
      <a:lvl2pPr marL="642899" indent="-214300" algn="l" defTabSz="857199" rtl="0" eaLnBrk="1" latinLnBrk="0" hangingPunct="1">
        <a:lnSpc>
          <a:spcPct val="90000"/>
        </a:lnSpc>
        <a:spcBef>
          <a:spcPts val="469"/>
        </a:spcBef>
        <a:buFont typeface="Arial" panose="020B0604020202020204" pitchFamily="34" charset="0"/>
        <a:buChar char="•"/>
        <a:defRPr sz="2249" kern="1200">
          <a:solidFill>
            <a:schemeClr val="tx1"/>
          </a:solidFill>
          <a:latin typeface="+mn-lt"/>
          <a:ea typeface="+mn-ea"/>
          <a:cs typeface="+mn-cs"/>
        </a:defRPr>
      </a:lvl2pPr>
      <a:lvl3pPr marL="1071497" indent="-214300" algn="l" defTabSz="857199" rtl="0" eaLnBrk="1" latinLnBrk="0" hangingPunct="1">
        <a:lnSpc>
          <a:spcPct val="90000"/>
        </a:lnSpc>
        <a:spcBef>
          <a:spcPts val="469"/>
        </a:spcBef>
        <a:buFont typeface="Arial" panose="020B0604020202020204" pitchFamily="34" charset="0"/>
        <a:buChar char="•"/>
        <a:defRPr sz="1875" kern="1200">
          <a:solidFill>
            <a:schemeClr val="tx1"/>
          </a:solidFill>
          <a:latin typeface="+mn-lt"/>
          <a:ea typeface="+mn-ea"/>
          <a:cs typeface="+mn-cs"/>
        </a:defRPr>
      </a:lvl3pPr>
      <a:lvl4pPr marL="1500097"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4pPr>
      <a:lvl5pPr marL="1928696"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5pPr>
      <a:lvl6pPr marL="2357294"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6pPr>
      <a:lvl7pPr marL="2785894"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7pPr>
      <a:lvl8pPr marL="3214493"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8pPr>
      <a:lvl9pPr marL="3643092"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9pPr>
    </p:bodyStyle>
    <p:otherStyle>
      <a:defPPr>
        <a:defRPr lang="en-US"/>
      </a:defPPr>
      <a:lvl1pPr marL="0" algn="l" defTabSz="857199" rtl="0" eaLnBrk="1" latinLnBrk="0" hangingPunct="1">
        <a:defRPr sz="1688" kern="1200">
          <a:solidFill>
            <a:schemeClr val="tx1"/>
          </a:solidFill>
          <a:latin typeface="+mn-lt"/>
          <a:ea typeface="+mn-ea"/>
          <a:cs typeface="+mn-cs"/>
        </a:defRPr>
      </a:lvl1pPr>
      <a:lvl2pPr marL="428599" algn="l" defTabSz="857199" rtl="0" eaLnBrk="1" latinLnBrk="0" hangingPunct="1">
        <a:defRPr sz="1688" kern="1200">
          <a:solidFill>
            <a:schemeClr val="tx1"/>
          </a:solidFill>
          <a:latin typeface="+mn-lt"/>
          <a:ea typeface="+mn-ea"/>
          <a:cs typeface="+mn-cs"/>
        </a:defRPr>
      </a:lvl2pPr>
      <a:lvl3pPr marL="857199" algn="l" defTabSz="857199" rtl="0" eaLnBrk="1" latinLnBrk="0" hangingPunct="1">
        <a:defRPr sz="1688" kern="1200">
          <a:solidFill>
            <a:schemeClr val="tx1"/>
          </a:solidFill>
          <a:latin typeface="+mn-lt"/>
          <a:ea typeface="+mn-ea"/>
          <a:cs typeface="+mn-cs"/>
        </a:defRPr>
      </a:lvl3pPr>
      <a:lvl4pPr marL="1285797" algn="l" defTabSz="857199" rtl="0" eaLnBrk="1" latinLnBrk="0" hangingPunct="1">
        <a:defRPr sz="1688" kern="1200">
          <a:solidFill>
            <a:schemeClr val="tx1"/>
          </a:solidFill>
          <a:latin typeface="+mn-lt"/>
          <a:ea typeface="+mn-ea"/>
          <a:cs typeface="+mn-cs"/>
        </a:defRPr>
      </a:lvl4pPr>
      <a:lvl5pPr marL="1714396" algn="l" defTabSz="857199" rtl="0" eaLnBrk="1" latinLnBrk="0" hangingPunct="1">
        <a:defRPr sz="1688" kern="1200">
          <a:solidFill>
            <a:schemeClr val="tx1"/>
          </a:solidFill>
          <a:latin typeface="+mn-lt"/>
          <a:ea typeface="+mn-ea"/>
          <a:cs typeface="+mn-cs"/>
        </a:defRPr>
      </a:lvl5pPr>
      <a:lvl6pPr marL="2142996" algn="l" defTabSz="857199" rtl="0" eaLnBrk="1" latinLnBrk="0" hangingPunct="1">
        <a:defRPr sz="1688" kern="1200">
          <a:solidFill>
            <a:schemeClr val="tx1"/>
          </a:solidFill>
          <a:latin typeface="+mn-lt"/>
          <a:ea typeface="+mn-ea"/>
          <a:cs typeface="+mn-cs"/>
        </a:defRPr>
      </a:lvl6pPr>
      <a:lvl7pPr marL="2571594" algn="l" defTabSz="857199" rtl="0" eaLnBrk="1" latinLnBrk="0" hangingPunct="1">
        <a:defRPr sz="1688" kern="1200">
          <a:solidFill>
            <a:schemeClr val="tx1"/>
          </a:solidFill>
          <a:latin typeface="+mn-lt"/>
          <a:ea typeface="+mn-ea"/>
          <a:cs typeface="+mn-cs"/>
        </a:defRPr>
      </a:lvl7pPr>
      <a:lvl8pPr marL="3000193" algn="l" defTabSz="857199" rtl="0" eaLnBrk="1" latinLnBrk="0" hangingPunct="1">
        <a:defRPr sz="1688" kern="1200">
          <a:solidFill>
            <a:schemeClr val="tx1"/>
          </a:solidFill>
          <a:latin typeface="+mn-lt"/>
          <a:ea typeface="+mn-ea"/>
          <a:cs typeface="+mn-cs"/>
        </a:defRPr>
      </a:lvl8pPr>
      <a:lvl9pPr marL="3428793" algn="l" defTabSz="857199" rtl="0" eaLnBrk="1" latinLnBrk="0" hangingPunct="1">
        <a:defRPr sz="1688"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2"/>
            </p:custDataLst>
            <p:extLst/>
          </p:nvPr>
        </p:nvGraphicFramePr>
        <p:xfrm>
          <a:off x="1589" y="1696"/>
          <a:ext cx="1587" cy="1692"/>
        </p:xfrm>
        <a:graphic>
          <a:graphicData uri="http://schemas.openxmlformats.org/presentationml/2006/ole">
            <mc:AlternateContent xmlns:mc="http://schemas.openxmlformats.org/markup-compatibility/2006">
              <mc:Choice xmlns:v="urn:schemas-microsoft-com:vml" Requires="v">
                <p:oleObj spid="_x0000_s3202" name="think-cell Slide" r:id="rId23" imgW="425" imgH="426" progId="TCLayout.ActiveDocument.1">
                  <p:embed/>
                </p:oleObj>
              </mc:Choice>
              <mc:Fallback>
                <p:oleObj name="think-cell Slide" r:id="rId23" imgW="425" imgH="426" progId="TCLayout.ActiveDocument.1">
                  <p:embed/>
                  <p:pic>
                    <p:nvPicPr>
                      <p:cNvPr id="3" name="Object 2" hidden="1"/>
                      <p:cNvPicPr/>
                      <p:nvPr/>
                    </p:nvPicPr>
                    <p:blipFill>
                      <a:blip r:embed="rId24"/>
                      <a:stretch>
                        <a:fillRect/>
                      </a:stretch>
                    </p:blipFill>
                    <p:spPr>
                      <a:xfrm>
                        <a:off x="1589" y="1696"/>
                        <a:ext cx="1587" cy="1692"/>
                      </a:xfrm>
                      <a:prstGeom prst="rect">
                        <a:avLst/>
                      </a:prstGeom>
                    </p:spPr>
                  </p:pic>
                </p:oleObj>
              </mc:Fallback>
            </mc:AlternateContent>
          </a:graphicData>
        </a:graphic>
      </p:graphicFrame>
      <p:sp>
        <p:nvSpPr>
          <p:cNvPr id="2" name="Title Placeholder 1"/>
          <p:cNvSpPr>
            <a:spLocks noGrp="1"/>
          </p:cNvSpPr>
          <p:nvPr>
            <p:ph type="title"/>
          </p:nvPr>
        </p:nvSpPr>
        <p:spPr>
          <a:xfrm>
            <a:off x="268928" y="310510"/>
            <a:ext cx="11465872" cy="959643"/>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419165"/>
            <a:ext cx="11465559" cy="2172903"/>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58430549"/>
      </p:ext>
    </p:extLst>
  </p:cSld>
  <p:clrMap bg1="dk1" tx1="lt1" bg2="dk2" tx2="lt2" accent1="accent1" accent2="accent2" accent3="accent3" accent4="accent4" accent5="accent5" accent6="accent6" hlink="hlink" folHlink="folHlink"/>
  <p:sldLayoutIdLst>
    <p:sldLayoutId id="2147484282" r:id="rId1"/>
    <p:sldLayoutId id="2147484283" r:id="rId2"/>
    <p:sldLayoutId id="2147484284" r:id="rId3"/>
    <p:sldLayoutId id="2147484285" r:id="rId4"/>
    <p:sldLayoutId id="2147484286" r:id="rId5"/>
    <p:sldLayoutId id="2147484287" r:id="rId6"/>
    <p:sldLayoutId id="2147484288" r:id="rId7"/>
    <p:sldLayoutId id="2147484289" r:id="rId8"/>
    <p:sldLayoutId id="2147484290" r:id="rId9"/>
    <p:sldLayoutId id="2147484291" r:id="rId10"/>
    <p:sldLayoutId id="2147484292" r:id="rId11"/>
    <p:sldLayoutId id="2147484293" r:id="rId12"/>
    <p:sldLayoutId id="2147484294" r:id="rId13"/>
    <p:sldLayoutId id="2147484295" r:id="rId14"/>
    <p:sldLayoutId id="2147484296" r:id="rId15"/>
    <p:sldLayoutId id="2147484297" r:id="rId16"/>
    <p:sldLayoutId id="2147484298" r:id="rId17"/>
    <p:sldLayoutId id="2147484299" r:id="rId18"/>
    <p:sldLayoutId id="2147484300" r:id="rId19"/>
  </p:sldLayoutIdLst>
  <p:transition spd="slow">
    <p:fade/>
  </p:transition>
  <p:hf sldNum="0" hdr="0" ftr="0" dt="0"/>
  <p:txStyles>
    <p:titleStyle>
      <a:lvl1pPr algn="l" defTabSz="914344" rtl="0" eaLnBrk="1" latinLnBrk="0" hangingPunct="1">
        <a:lnSpc>
          <a:spcPct val="90000"/>
        </a:lnSpc>
        <a:spcBef>
          <a:spcPct val="0"/>
        </a:spcBef>
        <a:buNone/>
        <a:defRPr lang="en-US" sz="4000" b="0" i="0" kern="1200" cap="none" spc="-100" baseline="0" dirty="0" smtClean="0">
          <a:ln w="3175">
            <a:noFill/>
          </a:ln>
          <a:solidFill>
            <a:schemeClr val="bg1"/>
          </a:solidFill>
          <a:effectLst/>
          <a:latin typeface="+mj-lt"/>
          <a:ea typeface="Segoe UI Semilight" charset="0"/>
          <a:cs typeface="Segoe UI Semilight" charset="0"/>
        </a:defRPr>
      </a:lvl1pPr>
    </p:titleStyle>
    <p:bodyStyle>
      <a:lvl1pPr marL="336137" marR="0" indent="-336137" algn="l" defTabSz="914344" rtl="0" eaLnBrk="1" fontAlgn="auto" latinLnBrk="0" hangingPunct="1">
        <a:lnSpc>
          <a:spcPct val="90000"/>
        </a:lnSpc>
        <a:spcBef>
          <a:spcPct val="20000"/>
        </a:spcBef>
        <a:spcAft>
          <a:spcPts val="0"/>
        </a:spcAft>
        <a:buClrTx/>
        <a:buSzPct val="90000"/>
        <a:buFont typeface="Arial" pitchFamily="34" charset="0"/>
        <a:buChar char="•"/>
        <a:tabLst/>
        <a:defRPr sz="3600" b="0" i="0" kern="1200" spc="0" baseline="0">
          <a:solidFill>
            <a:schemeClr val="bg1"/>
          </a:solidFill>
          <a:latin typeface="+mn-lt"/>
          <a:ea typeface="Segoe UI" charset="0"/>
          <a:cs typeface="Segoe UI" charset="0"/>
        </a:defRPr>
      </a:lvl1pPr>
      <a:lvl2pPr marL="572676" marR="0" indent="-236541" algn="l" defTabSz="91434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bg1"/>
          </a:solidFill>
          <a:latin typeface="+mn-lt"/>
          <a:ea typeface="+mn-ea"/>
          <a:cs typeface="+mn-cs"/>
        </a:defRPr>
      </a:lvl2pPr>
      <a:lvl3pPr marL="784319" marR="0" indent="-224092" algn="l" defTabSz="91434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bg1"/>
          </a:solidFill>
          <a:latin typeface="+mn-lt"/>
          <a:ea typeface="+mn-ea"/>
          <a:cs typeface="+mn-cs"/>
        </a:defRPr>
      </a:lvl3pPr>
      <a:lvl4pPr marL="1008409" marR="0" indent="-224092" algn="l" defTabSz="91434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bg1"/>
          </a:solidFill>
          <a:latin typeface="+mn-lt"/>
          <a:ea typeface="+mn-ea"/>
          <a:cs typeface="+mn-cs"/>
        </a:defRPr>
      </a:lvl4pPr>
      <a:lvl5pPr marL="1232500" marR="0" indent="-224092" algn="l" defTabSz="91434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bg1"/>
          </a:solidFill>
          <a:latin typeface="+mn-lt"/>
          <a:ea typeface="+mn-ea"/>
          <a:cs typeface="+mn-cs"/>
        </a:defRPr>
      </a:lvl5pPr>
      <a:lvl6pPr marL="2514446"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19"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792"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964"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44" rtl="0" eaLnBrk="1" latinLnBrk="0" hangingPunct="1">
        <a:defRPr sz="1765" kern="1200">
          <a:solidFill>
            <a:schemeClr val="tx1"/>
          </a:solidFill>
          <a:latin typeface="+mn-lt"/>
          <a:ea typeface="+mn-ea"/>
          <a:cs typeface="+mn-cs"/>
        </a:defRPr>
      </a:lvl1pPr>
      <a:lvl2pPr marL="457171" algn="l" defTabSz="914344" rtl="0" eaLnBrk="1" latinLnBrk="0" hangingPunct="1">
        <a:defRPr sz="1765" kern="1200">
          <a:solidFill>
            <a:schemeClr val="tx1"/>
          </a:solidFill>
          <a:latin typeface="+mn-lt"/>
          <a:ea typeface="+mn-ea"/>
          <a:cs typeface="+mn-cs"/>
        </a:defRPr>
      </a:lvl2pPr>
      <a:lvl3pPr marL="914344" algn="l" defTabSz="914344" rtl="0" eaLnBrk="1" latinLnBrk="0" hangingPunct="1">
        <a:defRPr sz="1765" kern="1200">
          <a:solidFill>
            <a:schemeClr val="tx1"/>
          </a:solidFill>
          <a:latin typeface="+mn-lt"/>
          <a:ea typeface="+mn-ea"/>
          <a:cs typeface="+mn-cs"/>
        </a:defRPr>
      </a:lvl3pPr>
      <a:lvl4pPr marL="1371516" algn="l" defTabSz="914344" rtl="0" eaLnBrk="1" latinLnBrk="0" hangingPunct="1">
        <a:defRPr sz="1765" kern="1200">
          <a:solidFill>
            <a:schemeClr val="tx1"/>
          </a:solidFill>
          <a:latin typeface="+mn-lt"/>
          <a:ea typeface="+mn-ea"/>
          <a:cs typeface="+mn-cs"/>
        </a:defRPr>
      </a:lvl4pPr>
      <a:lvl5pPr marL="1828689" algn="l" defTabSz="914344" rtl="0" eaLnBrk="1" latinLnBrk="0" hangingPunct="1">
        <a:defRPr sz="1765" kern="1200">
          <a:solidFill>
            <a:schemeClr val="tx1"/>
          </a:solidFill>
          <a:latin typeface="+mn-lt"/>
          <a:ea typeface="+mn-ea"/>
          <a:cs typeface="+mn-cs"/>
        </a:defRPr>
      </a:lvl5pPr>
      <a:lvl6pPr marL="2285862" algn="l" defTabSz="914344" rtl="0" eaLnBrk="1" latinLnBrk="0" hangingPunct="1">
        <a:defRPr sz="1765" kern="1200">
          <a:solidFill>
            <a:schemeClr val="tx1"/>
          </a:solidFill>
          <a:latin typeface="+mn-lt"/>
          <a:ea typeface="+mn-ea"/>
          <a:cs typeface="+mn-cs"/>
        </a:defRPr>
      </a:lvl6pPr>
      <a:lvl7pPr marL="2743033" algn="l" defTabSz="914344" rtl="0" eaLnBrk="1" latinLnBrk="0" hangingPunct="1">
        <a:defRPr sz="1765" kern="1200">
          <a:solidFill>
            <a:schemeClr val="tx1"/>
          </a:solidFill>
          <a:latin typeface="+mn-lt"/>
          <a:ea typeface="+mn-ea"/>
          <a:cs typeface="+mn-cs"/>
        </a:defRPr>
      </a:lvl7pPr>
      <a:lvl8pPr marL="3200204" algn="l" defTabSz="914344" rtl="0" eaLnBrk="1" latinLnBrk="0" hangingPunct="1">
        <a:defRPr sz="1765" kern="1200">
          <a:solidFill>
            <a:schemeClr val="tx1"/>
          </a:solidFill>
          <a:latin typeface="+mn-lt"/>
          <a:ea typeface="+mn-ea"/>
          <a:cs typeface="+mn-cs"/>
        </a:defRPr>
      </a:lvl8pPr>
      <a:lvl9pPr marL="3657378" algn="l" defTabSz="914344"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288">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24">
          <p15:clr>
            <a:srgbClr val="A4A3A4"/>
          </p15:clr>
        </p15:guide>
        <p15:guide id="9" orient="horz" pos="4104">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3" pos="7392">
          <p15:clr>
            <a:srgbClr val="5ACBF0"/>
          </p15:clr>
        </p15:guide>
        <p15:guide id="24" orient="horz" pos="4152">
          <p15:clr>
            <a:srgbClr val="5ACBF0"/>
          </p15:clr>
        </p15:guide>
        <p15:guide id="25" orient="horz" pos="832">
          <p15:clr>
            <a:srgbClr val="5ACBF0"/>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05639A6-8092-5F4F-9295-F6C65731D144}"/>
              </a:ext>
            </a:extLst>
          </p:cNvPr>
          <p:cNvSpPr>
            <a:spLocks noGrp="1"/>
          </p:cNvSpPr>
          <p:nvPr>
            <p:ph type="title"/>
          </p:nvPr>
        </p:nvSpPr>
        <p:spPr>
          <a:xfrm>
            <a:off x="838200" y="389467"/>
            <a:ext cx="10515600" cy="141393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A6E42FE-9C26-1D42-814D-29F123C6D7C6}"/>
              </a:ext>
            </a:extLst>
          </p:cNvPr>
          <p:cNvSpPr>
            <a:spLocks noGrp="1"/>
          </p:cNvSpPr>
          <p:nvPr>
            <p:ph type="body" idx="1"/>
          </p:nvPr>
        </p:nvSpPr>
        <p:spPr>
          <a:xfrm>
            <a:off x="838200" y="1947333"/>
            <a:ext cx="10515600" cy="4641427"/>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7C40490-BC02-4948-A8C5-08681AC73EA8}"/>
              </a:ext>
            </a:extLst>
          </p:cNvPr>
          <p:cNvSpPr>
            <a:spLocks noGrp="1"/>
          </p:cNvSpPr>
          <p:nvPr>
            <p:ph type="dt" sz="half" idx="2"/>
          </p:nvPr>
        </p:nvSpPr>
        <p:spPr>
          <a:xfrm>
            <a:off x="838200" y="6780107"/>
            <a:ext cx="2743200" cy="389467"/>
          </a:xfrm>
          <a:prstGeom prst="rect">
            <a:avLst/>
          </a:prstGeom>
        </p:spPr>
        <p:txBody>
          <a:bodyPr vert="horz" lIns="91440" tIns="45720" rIns="91440" bIns="45720" rtlCol="0" anchor="ctr"/>
          <a:lstStyle>
            <a:lvl1pPr algn="l">
              <a:defRPr sz="1200">
                <a:solidFill>
                  <a:schemeClr val="tx1">
                    <a:tint val="75000"/>
                  </a:schemeClr>
                </a:solidFill>
              </a:defRPr>
            </a:lvl1pPr>
          </a:lstStyle>
          <a:p>
            <a:fld id="{CA6D4DB6-DB82-1641-9B2A-EADAF8245C83}" type="datetimeFigureOut">
              <a:rPr lang="en-US" smtClean="0"/>
              <a:t>1/8/2019</a:t>
            </a:fld>
            <a:endParaRPr lang="en-US"/>
          </a:p>
        </p:txBody>
      </p:sp>
      <p:sp>
        <p:nvSpPr>
          <p:cNvPr id="5" name="Footer Placeholder 4">
            <a:extLst>
              <a:ext uri="{FF2B5EF4-FFF2-40B4-BE49-F238E27FC236}">
                <a16:creationId xmlns:a16="http://schemas.microsoft.com/office/drawing/2014/main" id="{8E916BE8-6724-3A4B-B9F5-AF459C919E41}"/>
              </a:ext>
            </a:extLst>
          </p:cNvPr>
          <p:cNvSpPr>
            <a:spLocks noGrp="1"/>
          </p:cNvSpPr>
          <p:nvPr>
            <p:ph type="ftr" sz="quarter" idx="3"/>
          </p:nvPr>
        </p:nvSpPr>
        <p:spPr>
          <a:xfrm>
            <a:off x="4038600" y="6780107"/>
            <a:ext cx="4114800" cy="38946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A95D811-1BF6-E34A-A187-E72F14FB200C}"/>
              </a:ext>
            </a:extLst>
          </p:cNvPr>
          <p:cNvSpPr>
            <a:spLocks noGrp="1"/>
          </p:cNvSpPr>
          <p:nvPr>
            <p:ph type="sldNum" sz="quarter" idx="4"/>
          </p:nvPr>
        </p:nvSpPr>
        <p:spPr>
          <a:xfrm>
            <a:off x="8610600" y="6780107"/>
            <a:ext cx="2743200" cy="389467"/>
          </a:xfrm>
          <a:prstGeom prst="rect">
            <a:avLst/>
          </a:prstGeom>
        </p:spPr>
        <p:txBody>
          <a:bodyPr vert="horz" lIns="91440" tIns="45720" rIns="91440" bIns="45720" rtlCol="0" anchor="ctr"/>
          <a:lstStyle>
            <a:lvl1pPr algn="r">
              <a:defRPr sz="1200">
                <a:solidFill>
                  <a:schemeClr val="tx1">
                    <a:tint val="75000"/>
                  </a:schemeClr>
                </a:solidFill>
              </a:defRPr>
            </a:lvl1pPr>
          </a:lstStyle>
          <a:p>
            <a:fld id="{3E402A1F-89C0-7D47-A4AF-5A151B27DE79}" type="slidenum">
              <a:rPr lang="en-US" smtClean="0"/>
              <a:t>‹#›</a:t>
            </a:fld>
            <a:endParaRPr lang="en-US"/>
          </a:p>
        </p:txBody>
      </p:sp>
    </p:spTree>
    <p:extLst>
      <p:ext uri="{BB962C8B-B14F-4D97-AF65-F5344CB8AC3E}">
        <p14:creationId xmlns:p14="http://schemas.microsoft.com/office/powerpoint/2010/main" val="280672227"/>
      </p:ext>
    </p:extLst>
  </p:cSld>
  <p:clrMap bg1="lt1" tx1="dk1" bg2="lt2" tx2="dk2" accent1="accent1" accent2="accent2" accent3="accent3" accent4="accent4" accent5="accent5" accent6="accent6" hlink="hlink" folHlink="folHlink"/>
  <p:sldLayoutIdLst>
    <p:sldLayoutId id="2147484305" r:id="rId1"/>
    <p:sldLayoutId id="2147484306" r:id="rId2"/>
    <p:sldLayoutId id="2147484307" r:id="rId3"/>
    <p:sldLayoutId id="2147484308" r:id="rId4"/>
    <p:sldLayoutId id="2147484309" r:id="rId5"/>
    <p:sldLayoutId id="2147484310" r:id="rId6"/>
    <p:sldLayoutId id="2147484311" r:id="rId7"/>
    <p:sldLayoutId id="2147484312" r:id="rId8"/>
    <p:sldLayoutId id="2147484313" r:id="rId9"/>
    <p:sldLayoutId id="2147484314" r:id="rId10"/>
    <p:sldLayoutId id="2147484315" r:id="rId11"/>
    <p:sldLayoutId id="2147484316" r:id="rId12"/>
    <p:sldLayoutId id="2147484318" r:id="rId13"/>
    <p:sldLayoutId id="2147484351"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308812"/>
            <a:ext cx="11655840" cy="959643"/>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268456"/>
            <a:ext cx="11653521" cy="2266583"/>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8958458" y="3240990"/>
            <a:ext cx="7315864" cy="833218"/>
          </a:xfrm>
          <a:prstGeom prst="rect">
            <a:avLst/>
          </a:prstGeom>
        </p:spPr>
      </p:pic>
    </p:spTree>
    <p:extLst>
      <p:ext uri="{BB962C8B-B14F-4D97-AF65-F5344CB8AC3E}">
        <p14:creationId xmlns:p14="http://schemas.microsoft.com/office/powerpoint/2010/main" val="2231427544"/>
      </p:ext>
    </p:extLst>
  </p:cSld>
  <p:clrMap bg1="lt1" tx1="dk1" bg2="lt2" tx2="dk2" accent1="accent1" accent2="accent2" accent3="accent3" accent4="accent4" accent5="accent5" accent6="accent6" hlink="hlink" folHlink="folHlink"/>
  <p:sldLayoutIdLst>
    <p:sldLayoutId id="2147484321" r:id="rId1"/>
    <p:sldLayoutId id="2147484322" r:id="rId2"/>
    <p:sldLayoutId id="2147484323" r:id="rId3"/>
    <p:sldLayoutId id="2147484324" r:id="rId4"/>
    <p:sldLayoutId id="2147484325" r:id="rId5"/>
    <p:sldLayoutId id="2147484326" r:id="rId6"/>
    <p:sldLayoutId id="2147484327" r:id="rId7"/>
    <p:sldLayoutId id="2147484328" r:id="rId8"/>
    <p:sldLayoutId id="2147484329" r:id="rId9"/>
    <p:sldLayoutId id="2147484330" r:id="rId10"/>
    <p:sldLayoutId id="2147484331" r:id="rId11"/>
    <p:sldLayoutId id="2147484332" r:id="rId12"/>
    <p:sldLayoutId id="2147484333" r:id="rId13"/>
    <p:sldLayoutId id="2147484334" r:id="rId14"/>
    <p:sldLayoutId id="2147484335" r:id="rId15"/>
    <p:sldLayoutId id="2147484336" r:id="rId16"/>
    <p:sldLayoutId id="2147484337" r:id="rId17"/>
    <p:sldLayoutId id="2147484338" r:id="rId18"/>
    <p:sldLayoutId id="2147484339" r:id="rId19"/>
    <p:sldLayoutId id="2147484340" r:id="rId20"/>
    <p:sldLayoutId id="2147484341" r:id="rId21"/>
    <p:sldLayoutId id="2147484342" r:id="rId22"/>
    <p:sldLayoutId id="2147484343" r:id="rId23"/>
    <p:sldLayoutId id="2147484344" r:id="rId24"/>
    <p:sldLayoutId id="2147484345" r:id="rId25"/>
    <p:sldLayoutId id="2147484346" r:id="rId26"/>
    <p:sldLayoutId id="2147484347" r:id="rId27"/>
    <p:sldLayoutId id="2147484348" r:id="rId28"/>
    <p:sldLayoutId id="2147484349"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FA487D0-E4BF-461F-BADD-27D1E70BAE67}"/>
              </a:ext>
            </a:extLst>
          </p:cNvPr>
          <p:cNvSpPr>
            <a:spLocks noGrp="1"/>
          </p:cNvSpPr>
          <p:nvPr>
            <p:ph type="title"/>
          </p:nvPr>
        </p:nvSpPr>
        <p:spPr>
          <a:xfrm>
            <a:off x="838200" y="389467"/>
            <a:ext cx="10515600" cy="1413934"/>
          </a:xfrm>
          <a:prstGeom prst="rect">
            <a:avLst/>
          </a:prstGeom>
          <a:solidFill>
            <a:schemeClr val="tx1"/>
          </a:solidFill>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A34CA4C-68BC-451F-BBEF-038283C86BD8}"/>
              </a:ext>
            </a:extLst>
          </p:cNvPr>
          <p:cNvSpPr>
            <a:spLocks noGrp="1"/>
          </p:cNvSpPr>
          <p:nvPr>
            <p:ph type="body" idx="1"/>
          </p:nvPr>
        </p:nvSpPr>
        <p:spPr>
          <a:xfrm>
            <a:off x="838200" y="1947333"/>
            <a:ext cx="10515600" cy="4641427"/>
          </a:xfrm>
          <a:prstGeom prst="rect">
            <a:avLst/>
          </a:prstGeom>
          <a:solidFill>
            <a:schemeClr val="tx1"/>
          </a:solidFill>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03DA2A6-44FE-493F-B415-1005068BBE50}"/>
              </a:ext>
            </a:extLst>
          </p:cNvPr>
          <p:cNvSpPr>
            <a:spLocks noGrp="1"/>
          </p:cNvSpPr>
          <p:nvPr>
            <p:ph type="dt" sz="half" idx="2"/>
          </p:nvPr>
        </p:nvSpPr>
        <p:spPr>
          <a:xfrm>
            <a:off x="838200" y="6780107"/>
            <a:ext cx="2743200" cy="389467"/>
          </a:xfrm>
          <a:prstGeom prst="rect">
            <a:avLst/>
          </a:prstGeom>
          <a:solidFill>
            <a:schemeClr val="tx1"/>
          </a:solidFill>
        </p:spPr>
        <p:txBody>
          <a:bodyPr vert="horz" lIns="91440" tIns="45720" rIns="91440" bIns="45720" rtlCol="0" anchor="ctr"/>
          <a:lstStyle>
            <a:lvl1pPr algn="l">
              <a:defRPr sz="1200">
                <a:solidFill>
                  <a:schemeClr val="bg1"/>
                </a:solidFill>
                <a:latin typeface="Segoe UI Light" panose="020B0502040204020203" pitchFamily="34" charset="0"/>
                <a:cs typeface="Segoe UI Light" panose="020B0502040204020203" pitchFamily="34" charset="0"/>
              </a:defRPr>
            </a:lvl1pPr>
          </a:lstStyle>
          <a:p>
            <a:fld id="{8C158B6E-2F9D-4078-848A-249A901CF6C7}" type="datetimeFigureOut">
              <a:rPr lang="en-US" smtClean="0"/>
              <a:pPr/>
              <a:t>1/8/2019</a:t>
            </a:fld>
            <a:endParaRPr lang="en-US"/>
          </a:p>
        </p:txBody>
      </p:sp>
      <p:sp>
        <p:nvSpPr>
          <p:cNvPr id="5" name="Footer Placeholder 4">
            <a:extLst>
              <a:ext uri="{FF2B5EF4-FFF2-40B4-BE49-F238E27FC236}">
                <a16:creationId xmlns:a16="http://schemas.microsoft.com/office/drawing/2014/main" id="{8741735F-02A7-4F56-9FB0-CBB8604CAC63}"/>
              </a:ext>
            </a:extLst>
          </p:cNvPr>
          <p:cNvSpPr>
            <a:spLocks noGrp="1"/>
          </p:cNvSpPr>
          <p:nvPr>
            <p:ph type="ftr" sz="quarter" idx="3"/>
          </p:nvPr>
        </p:nvSpPr>
        <p:spPr>
          <a:xfrm>
            <a:off x="4038600" y="6780107"/>
            <a:ext cx="4114800" cy="389467"/>
          </a:xfrm>
          <a:prstGeom prst="rect">
            <a:avLst/>
          </a:prstGeom>
          <a:solidFill>
            <a:schemeClr val="tx1"/>
          </a:solidFill>
        </p:spPr>
        <p:txBody>
          <a:bodyPr vert="horz" lIns="91440" tIns="45720" rIns="91440" bIns="45720" rtlCol="0" anchor="ctr"/>
          <a:lstStyle>
            <a:lvl1pPr algn="ctr">
              <a:defRPr sz="1200">
                <a:solidFill>
                  <a:schemeClr val="bg1"/>
                </a:solidFill>
                <a:latin typeface="Segoe UI Light" panose="020B0502040204020203" pitchFamily="34" charset="0"/>
                <a:cs typeface="Segoe UI Light" panose="020B0502040204020203" pitchFamily="34" charset="0"/>
              </a:defRPr>
            </a:lvl1pPr>
          </a:lstStyle>
          <a:p>
            <a:endParaRPr lang="en-US"/>
          </a:p>
        </p:txBody>
      </p:sp>
      <p:sp>
        <p:nvSpPr>
          <p:cNvPr id="6" name="Slide Number Placeholder 5">
            <a:extLst>
              <a:ext uri="{FF2B5EF4-FFF2-40B4-BE49-F238E27FC236}">
                <a16:creationId xmlns:a16="http://schemas.microsoft.com/office/drawing/2014/main" id="{964466EC-EA6A-4D1D-B2B9-71A2AD8069B6}"/>
              </a:ext>
            </a:extLst>
          </p:cNvPr>
          <p:cNvSpPr>
            <a:spLocks noGrp="1"/>
          </p:cNvSpPr>
          <p:nvPr>
            <p:ph type="sldNum" sz="quarter" idx="4"/>
          </p:nvPr>
        </p:nvSpPr>
        <p:spPr>
          <a:xfrm>
            <a:off x="8610600" y="6780107"/>
            <a:ext cx="2743200" cy="389467"/>
          </a:xfrm>
          <a:prstGeom prst="rect">
            <a:avLst/>
          </a:prstGeom>
          <a:solidFill>
            <a:schemeClr val="tx1"/>
          </a:solidFill>
        </p:spPr>
        <p:txBody>
          <a:bodyPr vert="horz" lIns="91440" tIns="45720" rIns="91440" bIns="45720" rtlCol="0" anchor="ctr"/>
          <a:lstStyle>
            <a:lvl1pPr algn="r">
              <a:defRPr sz="1200">
                <a:solidFill>
                  <a:schemeClr val="bg1"/>
                </a:solidFill>
                <a:latin typeface="Segoe UI Light" panose="020B0502040204020203" pitchFamily="34" charset="0"/>
                <a:cs typeface="Segoe UI Light" panose="020B0502040204020203" pitchFamily="34" charset="0"/>
              </a:defRPr>
            </a:lvl1pPr>
          </a:lstStyle>
          <a:p>
            <a:fld id="{6C4E7F66-1C9A-4A32-A07E-DBE1F2A16A77}" type="slidenum">
              <a:rPr lang="en-US" smtClean="0"/>
              <a:pPr/>
              <a:t>‹#›</a:t>
            </a:fld>
            <a:endParaRPr lang="en-US"/>
          </a:p>
        </p:txBody>
      </p:sp>
    </p:spTree>
    <p:extLst>
      <p:ext uri="{BB962C8B-B14F-4D97-AF65-F5344CB8AC3E}">
        <p14:creationId xmlns:p14="http://schemas.microsoft.com/office/powerpoint/2010/main" val="1593590265"/>
      </p:ext>
    </p:extLst>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 id="2147484363" r:id="rId11"/>
    <p:sldLayoutId id="2147484364" r:id="rId12"/>
  </p:sldLayoutIdLst>
  <p:txStyles>
    <p:titleStyle>
      <a:lvl1pPr algn="l" defTabSz="914400" rtl="0" eaLnBrk="1" latinLnBrk="0" hangingPunct="1">
        <a:lnSpc>
          <a:spcPct val="90000"/>
        </a:lnSpc>
        <a:spcBef>
          <a:spcPct val="0"/>
        </a:spcBef>
        <a:buNone/>
        <a:defRPr sz="4400" kern="1200">
          <a:solidFill>
            <a:schemeClr val="bg1"/>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308812"/>
            <a:ext cx="11655840" cy="959643"/>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268457"/>
            <a:ext cx="11653521" cy="1566583"/>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1695568"/>
      </p:ext>
    </p:extLst>
  </p:cSld>
  <p:clrMap bg1="lt1" tx1="dk1" bg2="lt2" tx2="dk2" accent1="accent1" accent2="accent2" accent3="accent3" accent4="accent4" accent5="accent5" accent6="accent6" hlink="hlink" folHlink="folHlink"/>
  <p:sldLayoutIdLst>
    <p:sldLayoutId id="2147484366" r:id="rId1"/>
    <p:sldLayoutId id="2147484367" r:id="rId2"/>
    <p:sldLayoutId id="2147484368" r:id="rId3"/>
    <p:sldLayoutId id="2147484369" r:id="rId4"/>
    <p:sldLayoutId id="2147484370" r:id="rId5"/>
    <p:sldLayoutId id="2147484371" r:id="rId6"/>
    <p:sldLayoutId id="2147484372" r:id="rId7"/>
    <p:sldLayoutId id="2147484373" r:id="rId8"/>
    <p:sldLayoutId id="2147484374" r:id="rId9"/>
    <p:sldLayoutId id="2147484375" r:id="rId10"/>
    <p:sldLayoutId id="2147484376" r:id="rId11"/>
    <p:sldLayoutId id="2147484377" r:id="rId12"/>
    <p:sldLayoutId id="2147484378" r:id="rId13"/>
    <p:sldLayoutId id="2147484379" r:id="rId14"/>
    <p:sldLayoutId id="2147484380" r:id="rId15"/>
    <p:sldLayoutId id="2147484381" r:id="rId16"/>
    <p:sldLayoutId id="2147484382" r:id="rId17"/>
    <p:sldLayoutId id="2147484383" r:id="rId18"/>
    <p:sldLayoutId id="2147484384" r:id="rId19"/>
    <p:sldLayoutId id="2147484385" r:id="rId20"/>
    <p:sldLayoutId id="2147484386" r:id="rId21"/>
    <p:sldLayoutId id="2147484387" r:id="rId22"/>
    <p:sldLayoutId id="2147484388" r:id="rId23"/>
    <p:sldLayoutId id="2147484389" r:id="rId24"/>
    <p:sldLayoutId id="2147484390" r:id="rId25"/>
    <p:sldLayoutId id="2147484391" r:id="rId26"/>
    <p:sldLayoutId id="2147484392" r:id="rId27"/>
    <p:sldLayoutId id="2147484393" r:id="rId28"/>
  </p:sldLayoutIdLst>
  <p:transition>
    <p:fade/>
  </p:transition>
  <p:txStyles>
    <p:titleStyle>
      <a:lvl1pPr algn="ctr" defTabSz="914367" rtl="0" eaLnBrk="1" latinLnBrk="0" hangingPunct="1">
        <a:lnSpc>
          <a:spcPct val="90000"/>
        </a:lnSpc>
        <a:spcBef>
          <a:spcPct val="0"/>
        </a:spcBef>
        <a:buNone/>
        <a:defRPr lang="en-US" sz="2800" b="0" kern="1200" cap="all" spc="500" baseline="0" dirty="0">
          <a:ln w="3175">
            <a:noFill/>
          </a:ln>
          <a:solidFill>
            <a:schemeClr val="tx2"/>
          </a:solidFill>
          <a:effectLst/>
          <a:latin typeface="Segoe UI Semilight" charset="0"/>
          <a:ea typeface="+mn-ea"/>
          <a:cs typeface="Segoe UI Semilight"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308812"/>
            <a:ext cx="11655840" cy="959643"/>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268456"/>
            <a:ext cx="11653521" cy="2266583"/>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5"/>
          <a:stretch>
            <a:fillRect/>
          </a:stretch>
        </p:blipFill>
        <p:spPr>
          <a:xfrm rot="5400000">
            <a:off x="8958459" y="3240991"/>
            <a:ext cx="7315865" cy="833218"/>
          </a:xfrm>
          <a:prstGeom prst="rect">
            <a:avLst/>
          </a:prstGeom>
        </p:spPr>
      </p:pic>
    </p:spTree>
    <p:extLst>
      <p:ext uri="{BB962C8B-B14F-4D97-AF65-F5344CB8AC3E}">
        <p14:creationId xmlns:p14="http://schemas.microsoft.com/office/powerpoint/2010/main" val="3873033902"/>
      </p:ext>
    </p:extLst>
  </p:cSld>
  <p:clrMap bg1="lt1" tx1="dk1" bg2="lt2" tx2="dk2" accent1="accent1" accent2="accent2" accent3="accent3" accent4="accent4" accent5="accent5" accent6="accent6" hlink="hlink" folHlink="folHlink"/>
  <p:sldLayoutIdLst>
    <p:sldLayoutId id="2147484395" r:id="rId1"/>
    <p:sldLayoutId id="2147484396" r:id="rId2"/>
    <p:sldLayoutId id="2147484397" r:id="rId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89467"/>
            <a:ext cx="10515600" cy="141393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947333"/>
            <a:ext cx="10515600" cy="46414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780107"/>
            <a:ext cx="2743200" cy="389467"/>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780107"/>
            <a:ext cx="4114800" cy="38946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780107"/>
            <a:ext cx="2743200" cy="389467"/>
          </a:xfrm>
          <a:prstGeom prst="rect">
            <a:avLst/>
          </a:prstGeom>
        </p:spPr>
        <p:txBody>
          <a:bodyPr vert="horz" lIns="91440" tIns="45720" rIns="91440" bIns="45720" rtlCol="0" anchor="ctr"/>
          <a:lstStyle>
            <a:lvl1pPr algn="r">
              <a:defRPr sz="1200">
                <a:solidFill>
                  <a:schemeClr val="tx1">
                    <a:tint val="75000"/>
                  </a:schemeClr>
                </a:solidFill>
              </a:defRPr>
            </a:lvl1pPr>
          </a:lstStyle>
          <a:p>
            <a:fld id="{F22B9F7F-7880-4EBE-82BD-2E156DF91094}" type="slidenum">
              <a:rPr lang="en-US" smtClean="0"/>
              <a:t>‹#›</a:t>
            </a:fld>
            <a:endParaRPr lang="en-US"/>
          </a:p>
        </p:txBody>
      </p:sp>
    </p:spTree>
    <p:extLst>
      <p:ext uri="{BB962C8B-B14F-4D97-AF65-F5344CB8AC3E}">
        <p14:creationId xmlns:p14="http://schemas.microsoft.com/office/powerpoint/2010/main" val="1609299814"/>
      </p:ext>
    </p:extLst>
  </p:cSld>
  <p:clrMap bg1="lt1" tx1="dk1" bg2="lt2" tx2="dk2" accent1="accent1" accent2="accent2" accent3="accent3" accent4="accent4" accent5="accent5" accent6="accent6" hlink="hlink" folHlink="folHlink"/>
  <p:sldLayoutIdLst>
    <p:sldLayoutId id="2147483745" r:id="rId1"/>
    <p:sldLayoutId id="2147483754" r:id="rId2"/>
    <p:sldLayoutId id="2147484055" r:id="rId3"/>
    <p:sldLayoutId id="2147484303" r:id="rId4"/>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308812"/>
            <a:ext cx="11655840" cy="959643"/>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268456"/>
            <a:ext cx="11653521" cy="2266583"/>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
          <a:stretch>
            <a:fillRect/>
          </a:stretch>
        </p:blipFill>
        <p:spPr>
          <a:xfrm rot="5400000">
            <a:off x="8958459" y="3240991"/>
            <a:ext cx="7315865" cy="833218"/>
          </a:xfrm>
          <a:prstGeom prst="rect">
            <a:avLst/>
          </a:prstGeom>
        </p:spPr>
      </p:pic>
    </p:spTree>
    <p:extLst>
      <p:ext uri="{BB962C8B-B14F-4D97-AF65-F5344CB8AC3E}">
        <p14:creationId xmlns:p14="http://schemas.microsoft.com/office/powerpoint/2010/main" val="529399301"/>
      </p:ext>
    </p:extLst>
  </p:cSld>
  <p:clrMap bg1="lt1" tx1="dk1" bg2="lt2" tx2="dk2" accent1="accent1" accent2="accent2" accent3="accent3" accent4="accent4" accent5="accent5" accent6="accent6" hlink="hlink" folHlink="folHlink"/>
  <p:sldLayoutIdLst>
    <p:sldLayoutId id="2147484399" r:id="rId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8768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5312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0">
            <a:extLst>
              <a:ext uri="{28A0092B-C50C-407E-A947-70E740481C1C}">
                <a14:useLocalDpi xmlns:a14="http://schemas.microsoft.com/office/drawing/2010/main"/>
              </a:ext>
            </a:extLst>
          </a:blip>
          <a:stretch>
            <a:fillRect/>
          </a:stretch>
        </p:blipFill>
        <p:spPr>
          <a:xfrm rot="5400000">
            <a:off x="9060388" y="3171244"/>
            <a:ext cx="73152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73152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624230"/>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312115"/>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81009793"/>
      </p:ext>
    </p:extLst>
  </p:cSld>
  <p:clrMap bg1="lt1" tx1="dk1" bg2="lt2" tx2="dk2" accent1="accent1" accent2="accent2" accent3="accent3" accent4="accent4" accent5="accent5" accent6="accent6" hlink="hlink" folHlink="folHlink"/>
  <p:sldLayoutIdLst>
    <p:sldLayoutId id="2147484401" r:id="rId1"/>
    <p:sldLayoutId id="2147484402" r:id="rId2"/>
    <p:sldLayoutId id="2147484403" r:id="rId3"/>
    <p:sldLayoutId id="2147484404" r:id="rId4"/>
    <p:sldLayoutId id="2147484405" r:id="rId5"/>
    <p:sldLayoutId id="2147484406" r:id="rId6"/>
    <p:sldLayoutId id="2147484407" r:id="rId7"/>
    <p:sldLayoutId id="2147484408" r:id="rId8"/>
    <p:sldLayoutId id="2147484409" r:id="rId9"/>
    <p:sldLayoutId id="2147484410" r:id="rId10"/>
    <p:sldLayoutId id="2147484411" r:id="rId11"/>
    <p:sldLayoutId id="2147484412" r:id="rId12"/>
    <p:sldLayoutId id="2147484413" r:id="rId13"/>
    <p:sldLayoutId id="2147484414" r:id="rId14"/>
    <p:sldLayoutId id="2147484415" r:id="rId15"/>
    <p:sldLayoutId id="2147484416" r:id="rId16"/>
    <p:sldLayoutId id="2147484417" r:id="rId17"/>
    <p:sldLayoutId id="2147484418" r:id="rId1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308812"/>
            <a:ext cx="11655840" cy="959643"/>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268457"/>
            <a:ext cx="11653521" cy="169892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4622365"/>
      </p:ext>
    </p:extLst>
  </p:cSld>
  <p:clrMap bg1="lt1" tx1="dk1" bg2="lt2" tx2="dk2" accent1="accent1" accent2="accent2" accent3="accent3" accent4="accent4" accent5="accent5" accent6="accent6" hlink="hlink" folHlink="folHlink"/>
  <p:sldLayoutIdLst>
    <p:sldLayoutId id="2147484454" r:id="rId1"/>
    <p:sldLayoutId id="2147484455" r:id="rId2"/>
    <p:sldLayoutId id="2147484456" r:id="rId3"/>
    <p:sldLayoutId id="2147484457" r:id="rId4"/>
    <p:sldLayoutId id="2147484458" r:id="rId5"/>
    <p:sldLayoutId id="2147484459" r:id="rId6"/>
    <p:sldLayoutId id="2147484460" r:id="rId7"/>
    <p:sldLayoutId id="2147484461" r:id="rId8"/>
    <p:sldLayoutId id="2147484462" r:id="rId9"/>
    <p:sldLayoutId id="2147484463" r:id="rId10"/>
    <p:sldLayoutId id="2147484464" r:id="rId11"/>
    <p:sldLayoutId id="2147484465" r:id="rId12"/>
    <p:sldLayoutId id="2147484466" r:id="rId13"/>
    <p:sldLayoutId id="2147484467" r:id="rId14"/>
    <p:sldLayoutId id="2147484468" r:id="rId15"/>
    <p:sldLayoutId id="2147484469" r:id="rId16"/>
    <p:sldLayoutId id="2147484470" r:id="rId17"/>
    <p:sldLayoutId id="2147484471" r:id="rId18"/>
    <p:sldLayoutId id="2147484472" r:id="rId19"/>
    <p:sldLayoutId id="2147484473" r:id="rId20"/>
    <p:sldLayoutId id="2147484474" r:id="rId21"/>
    <p:sldLayoutId id="2147484475" r:id="rId22"/>
    <p:sldLayoutId id="2147484476" r:id="rId23"/>
    <p:sldLayoutId id="2147484477" r:id="rId24"/>
    <p:sldLayoutId id="2147484478" r:id="rId25"/>
    <p:sldLayoutId id="2147484479" r:id="rId26"/>
    <p:sldLayoutId id="2147484480" r:id="rId27"/>
    <p:sldLayoutId id="2147484481" r:id="rId28"/>
    <p:sldLayoutId id="2147484482" r:id="rId29"/>
    <p:sldLayoutId id="2147484483" r:id="rId30"/>
    <p:sldLayoutId id="2147484484" r:id="rId31"/>
  </p:sldLayoutIdLst>
  <p:transition>
    <p:fade/>
  </p:transition>
  <p:txStyles>
    <p:titleStyle>
      <a:lvl1pPr algn="ctr" defTabSz="914367" rtl="0" eaLnBrk="1" latinLnBrk="0" hangingPunct="1">
        <a:lnSpc>
          <a:spcPct val="90000"/>
        </a:lnSpc>
        <a:spcBef>
          <a:spcPct val="0"/>
        </a:spcBef>
        <a:buNone/>
        <a:defRPr lang="en-US" sz="2800" b="0" kern="1200" cap="all" spc="500" baseline="0" dirty="0">
          <a:ln w="3175">
            <a:noFill/>
          </a:ln>
          <a:solidFill>
            <a:schemeClr val="tx2"/>
          </a:solidFill>
          <a:effectLst/>
          <a:latin typeface="Segoe UI Semilight" charset="0"/>
          <a:ea typeface="+mn-ea"/>
          <a:cs typeface="Segoe UI Semilight" charset="0"/>
        </a:defRPr>
      </a:lvl1pPr>
    </p:titleStyle>
    <p:bodyStyle>
      <a:lvl1pPr marL="336145" marR="0" indent="-336145" algn="l" defTabSz="914367"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solidFill>
            <a:schemeClr val="tx1"/>
          </a:solidFill>
          <a:latin typeface="+mj-lt"/>
          <a:ea typeface="+mn-ea"/>
          <a:cs typeface="+mn-cs"/>
        </a:defRPr>
      </a:lvl1pPr>
      <a:lvl2pPr marL="572691" marR="0" indent="-236546" algn="l" defTabSz="91436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2pPr>
      <a:lvl3pPr marL="784338"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3pPr>
      <a:lvl4pPr marL="1008435"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4pPr>
      <a:lvl5pPr marL="1232531"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0" y="379548"/>
            <a:ext cx="11642721" cy="978747"/>
          </a:xfrm>
          <a:prstGeom prst="rect">
            <a:avLst/>
          </a:prstGeom>
        </p:spPr>
        <p:txBody>
          <a:bodyPr vert="horz" lIns="91440" tIns="45720" rIns="91440" bIns="45720" rtlCol="0" anchor="t" anchorCtr="0">
            <a:normAutofit/>
          </a:bodyPr>
          <a:lstStyle/>
          <a:p>
            <a:r>
              <a:rPr lang="en-US" dirty="0"/>
              <a:t>Click to edit Master title style</a:t>
            </a:r>
          </a:p>
        </p:txBody>
      </p:sp>
      <p:sp>
        <p:nvSpPr>
          <p:cNvPr id="3" name="Text Placeholder 2"/>
          <p:cNvSpPr>
            <a:spLocks noGrp="1"/>
          </p:cNvSpPr>
          <p:nvPr>
            <p:ph type="body" idx="1"/>
          </p:nvPr>
        </p:nvSpPr>
        <p:spPr>
          <a:xfrm>
            <a:off x="274639" y="1549641"/>
            <a:ext cx="11642722" cy="503912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780107"/>
            <a:ext cx="2743200" cy="389467"/>
          </a:xfrm>
          <a:prstGeom prst="rect">
            <a:avLst/>
          </a:prstGeom>
        </p:spPr>
        <p:txBody>
          <a:bodyPr vert="horz" lIns="91440" tIns="45720" rIns="91440" bIns="45720" rtlCol="0" anchor="ctr"/>
          <a:lstStyle>
            <a:lvl1pPr algn="l">
              <a:defRPr sz="1200">
                <a:solidFill>
                  <a:schemeClr val="tx1">
                    <a:tint val="75000"/>
                  </a:schemeClr>
                </a:solidFill>
              </a:defRPr>
            </a:lvl1pPr>
          </a:lstStyle>
          <a:p>
            <a:fld id="{067255F4-7C58-4BBA-A3F5-26B4C4AB0335}" type="datetimeFigureOut">
              <a:rPr lang="en-US" smtClean="0"/>
              <a:t>1/8/2019</a:t>
            </a:fld>
            <a:endParaRPr lang="en-US"/>
          </a:p>
        </p:txBody>
      </p:sp>
      <p:sp>
        <p:nvSpPr>
          <p:cNvPr id="5" name="Footer Placeholder 4"/>
          <p:cNvSpPr>
            <a:spLocks noGrp="1"/>
          </p:cNvSpPr>
          <p:nvPr>
            <p:ph type="ftr" sz="quarter" idx="3"/>
          </p:nvPr>
        </p:nvSpPr>
        <p:spPr>
          <a:xfrm>
            <a:off x="4038600" y="6780107"/>
            <a:ext cx="4114800" cy="38946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780107"/>
            <a:ext cx="2743200" cy="389467"/>
          </a:xfrm>
          <a:prstGeom prst="rect">
            <a:avLst/>
          </a:prstGeom>
        </p:spPr>
        <p:txBody>
          <a:bodyPr vert="horz" lIns="91440" tIns="45720" rIns="91440" bIns="45720" rtlCol="0" anchor="ctr"/>
          <a:lstStyle>
            <a:lvl1pPr algn="r">
              <a:defRPr sz="1200">
                <a:solidFill>
                  <a:schemeClr val="tx1">
                    <a:tint val="75000"/>
                  </a:schemeClr>
                </a:solidFill>
              </a:defRPr>
            </a:lvl1pPr>
          </a:lstStyle>
          <a:p>
            <a:fld id="{A4BE7A9A-2538-4781-A015-FF1A92A0C2AB}" type="slidenum">
              <a:rPr lang="en-US" smtClean="0"/>
              <a:t>‹#›</a:t>
            </a:fld>
            <a:endParaRPr lang="en-US"/>
          </a:p>
        </p:txBody>
      </p:sp>
    </p:spTree>
    <p:extLst>
      <p:ext uri="{BB962C8B-B14F-4D97-AF65-F5344CB8AC3E}">
        <p14:creationId xmlns:p14="http://schemas.microsoft.com/office/powerpoint/2010/main" val="312563832"/>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774" r:id="rId13"/>
    <p:sldLayoutId id="2147483775" r:id="rId14"/>
    <p:sldLayoutId id="2147483776" r:id="rId15"/>
    <p:sldLayoutId id="2147483777" r:id="rId16"/>
    <p:sldLayoutId id="2147483778" r:id="rId17"/>
  </p:sldLayoutIdLst>
  <p:txStyles>
    <p:titleStyle>
      <a:lvl1pPr algn="l" defTabSz="914400" rtl="0" eaLnBrk="1" latinLnBrk="0" hangingPunct="1">
        <a:lnSpc>
          <a:spcPct val="90000"/>
        </a:lnSpc>
        <a:spcBef>
          <a:spcPct val="0"/>
        </a:spcBef>
        <a:buNone/>
        <a:defRPr sz="5400" b="0" i="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308812"/>
            <a:ext cx="11655840" cy="959643"/>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268456"/>
            <a:ext cx="11653521" cy="218797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rot="5400000">
            <a:off x="10184581" y="2046884"/>
            <a:ext cx="4495069" cy="401304"/>
          </a:xfrm>
          <a:prstGeom prst="rect">
            <a:avLst/>
          </a:prstGeom>
        </p:spPr>
      </p:pic>
    </p:spTree>
    <p:extLst>
      <p:ext uri="{BB962C8B-B14F-4D97-AF65-F5344CB8AC3E}">
        <p14:creationId xmlns:p14="http://schemas.microsoft.com/office/powerpoint/2010/main" val="36647837"/>
      </p:ext>
    </p:extLst>
  </p:cSld>
  <p:clrMap bg1="lt1" tx1="dk1" bg2="lt2" tx2="dk2" accent1="accent1" accent2="accent2" accent3="accent3" accent4="accent4" accent5="accent5" accent6="accent6" hlink="hlink" folHlink="folHlink"/>
  <p:sldLayoutIdLst>
    <p:sldLayoutId id="2147483838" r:id="rId1"/>
    <p:sldLayoutId id="2147483839"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89467"/>
            <a:ext cx="10515600" cy="141393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947333"/>
            <a:ext cx="10515600" cy="46414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780107"/>
            <a:ext cx="2743200" cy="389467"/>
          </a:xfrm>
          <a:prstGeom prst="rect">
            <a:avLst/>
          </a:prstGeom>
        </p:spPr>
        <p:txBody>
          <a:bodyPr vert="horz" lIns="91440" tIns="45720" rIns="91440" bIns="45720" rtlCol="0" anchor="ctr"/>
          <a:lstStyle>
            <a:lvl1pPr algn="l">
              <a:defRPr sz="1124">
                <a:solidFill>
                  <a:schemeClr val="tx1">
                    <a:tint val="75000"/>
                  </a:schemeClr>
                </a:solidFill>
              </a:defRPr>
            </a:lvl1pPr>
          </a:lstStyle>
          <a:p>
            <a:fld id="{0516FB27-2B57-44A4-BBB3-6A262D303CCE}" type="datetimeFigureOut">
              <a:rPr lang="en-US" smtClean="0"/>
              <a:t>1/8/2019</a:t>
            </a:fld>
            <a:endParaRPr lang="en-US"/>
          </a:p>
        </p:txBody>
      </p:sp>
      <p:sp>
        <p:nvSpPr>
          <p:cNvPr id="5" name="Footer Placeholder 4"/>
          <p:cNvSpPr>
            <a:spLocks noGrp="1"/>
          </p:cNvSpPr>
          <p:nvPr>
            <p:ph type="ftr" sz="quarter" idx="3"/>
          </p:nvPr>
        </p:nvSpPr>
        <p:spPr>
          <a:xfrm>
            <a:off x="4038600" y="6780107"/>
            <a:ext cx="4114800" cy="389467"/>
          </a:xfrm>
          <a:prstGeom prst="rect">
            <a:avLst/>
          </a:prstGeom>
        </p:spPr>
        <p:txBody>
          <a:bodyPr vert="horz" lIns="91440" tIns="45720" rIns="91440" bIns="45720" rtlCol="0" anchor="ctr"/>
          <a:lstStyle>
            <a:lvl1pPr algn="ctr">
              <a:defRPr sz="11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780107"/>
            <a:ext cx="2743200" cy="389467"/>
          </a:xfrm>
          <a:prstGeom prst="rect">
            <a:avLst/>
          </a:prstGeom>
        </p:spPr>
        <p:txBody>
          <a:bodyPr vert="horz" lIns="91440" tIns="45720" rIns="91440" bIns="45720" rtlCol="0" anchor="ctr"/>
          <a:lstStyle>
            <a:lvl1pPr algn="r">
              <a:defRPr sz="1124">
                <a:solidFill>
                  <a:schemeClr val="tx1">
                    <a:tint val="75000"/>
                  </a:schemeClr>
                </a:solidFill>
              </a:defRPr>
            </a:lvl1pPr>
          </a:lstStyle>
          <a:p>
            <a:fld id="{F22B9F7F-7880-4EBE-82BD-2E156DF91094}" type="slidenum">
              <a:rPr lang="en-US" smtClean="0"/>
              <a:t>‹#›</a:t>
            </a:fld>
            <a:endParaRPr lang="en-US"/>
          </a:p>
        </p:txBody>
      </p:sp>
    </p:spTree>
    <p:extLst>
      <p:ext uri="{BB962C8B-B14F-4D97-AF65-F5344CB8AC3E}">
        <p14:creationId xmlns:p14="http://schemas.microsoft.com/office/powerpoint/2010/main" val="1767893942"/>
      </p:ext>
    </p:extLst>
  </p:cSld>
  <p:clrMap bg1="lt1" tx1="dk1" bg2="lt2" tx2="dk2" accent1="accent1" accent2="accent2" accent3="accent3" accent4="accent4" accent5="accent5" accent6="accent6" hlink="hlink" folHlink="folHlink"/>
  <p:sldLayoutIdLst>
    <p:sldLayoutId id="2147484022" r:id="rId1"/>
    <p:sldLayoutId id="2147484023" r:id="rId2"/>
  </p:sldLayoutIdLst>
  <p:txStyles>
    <p:titleStyle>
      <a:lvl1pPr algn="l" defTabSz="857124" rtl="0" eaLnBrk="1" latinLnBrk="0" hangingPunct="1">
        <a:lnSpc>
          <a:spcPct val="90000"/>
        </a:lnSpc>
        <a:spcBef>
          <a:spcPct val="0"/>
        </a:spcBef>
        <a:buNone/>
        <a:defRPr sz="4124" kern="1200">
          <a:solidFill>
            <a:schemeClr val="tx1"/>
          </a:solidFill>
          <a:latin typeface="+mj-lt"/>
          <a:ea typeface="+mj-ea"/>
          <a:cs typeface="+mj-cs"/>
        </a:defRPr>
      </a:lvl1pPr>
    </p:titleStyle>
    <p:bodyStyle>
      <a:lvl1pPr marL="214281" indent="-214281" algn="l" defTabSz="857124" rtl="0" eaLnBrk="1" latinLnBrk="0" hangingPunct="1">
        <a:lnSpc>
          <a:spcPct val="90000"/>
        </a:lnSpc>
        <a:spcBef>
          <a:spcPts val="937"/>
        </a:spcBef>
        <a:buFont typeface="Arial" panose="020B0604020202020204" pitchFamily="34" charset="0"/>
        <a:buChar char="•"/>
        <a:defRPr sz="2624" kern="1200">
          <a:solidFill>
            <a:schemeClr val="tx1"/>
          </a:solidFill>
          <a:latin typeface="+mn-lt"/>
          <a:ea typeface="+mn-ea"/>
          <a:cs typeface="+mn-cs"/>
        </a:defRPr>
      </a:lvl1pPr>
      <a:lvl2pPr marL="642843" indent="-214281" algn="l" defTabSz="857124" rtl="0" eaLnBrk="1" latinLnBrk="0" hangingPunct="1">
        <a:lnSpc>
          <a:spcPct val="90000"/>
        </a:lnSpc>
        <a:spcBef>
          <a:spcPts val="469"/>
        </a:spcBef>
        <a:buFont typeface="Arial" panose="020B0604020202020204" pitchFamily="34" charset="0"/>
        <a:buChar char="•"/>
        <a:defRPr sz="2250" kern="1200">
          <a:solidFill>
            <a:schemeClr val="tx1"/>
          </a:solidFill>
          <a:latin typeface="+mn-lt"/>
          <a:ea typeface="+mn-ea"/>
          <a:cs typeface="+mn-cs"/>
        </a:defRPr>
      </a:lvl2pPr>
      <a:lvl3pPr marL="1071406" indent="-214281" algn="l" defTabSz="857124" rtl="0" eaLnBrk="1" latinLnBrk="0" hangingPunct="1">
        <a:lnSpc>
          <a:spcPct val="90000"/>
        </a:lnSpc>
        <a:spcBef>
          <a:spcPts val="469"/>
        </a:spcBef>
        <a:buFont typeface="Arial" panose="020B0604020202020204" pitchFamily="34" charset="0"/>
        <a:buChar char="•"/>
        <a:defRPr sz="1874" kern="1200">
          <a:solidFill>
            <a:schemeClr val="tx1"/>
          </a:solidFill>
          <a:latin typeface="+mn-lt"/>
          <a:ea typeface="+mn-ea"/>
          <a:cs typeface="+mn-cs"/>
        </a:defRPr>
      </a:lvl3pPr>
      <a:lvl4pPr marL="1499968" indent="-214281" algn="l" defTabSz="857124" rtl="0" eaLnBrk="1" latinLnBrk="0" hangingPunct="1">
        <a:lnSpc>
          <a:spcPct val="90000"/>
        </a:lnSpc>
        <a:spcBef>
          <a:spcPts val="469"/>
        </a:spcBef>
        <a:buFont typeface="Arial" panose="020B0604020202020204" pitchFamily="34" charset="0"/>
        <a:buChar char="•"/>
        <a:defRPr sz="1687" kern="1200">
          <a:solidFill>
            <a:schemeClr val="tx1"/>
          </a:solidFill>
          <a:latin typeface="+mn-lt"/>
          <a:ea typeface="+mn-ea"/>
          <a:cs typeface="+mn-cs"/>
        </a:defRPr>
      </a:lvl4pPr>
      <a:lvl5pPr marL="1928530" indent="-214281" algn="l" defTabSz="857124" rtl="0" eaLnBrk="1" latinLnBrk="0" hangingPunct="1">
        <a:lnSpc>
          <a:spcPct val="90000"/>
        </a:lnSpc>
        <a:spcBef>
          <a:spcPts val="469"/>
        </a:spcBef>
        <a:buFont typeface="Arial" panose="020B0604020202020204" pitchFamily="34" charset="0"/>
        <a:buChar char="•"/>
        <a:defRPr sz="1687" kern="1200">
          <a:solidFill>
            <a:schemeClr val="tx1"/>
          </a:solidFill>
          <a:latin typeface="+mn-lt"/>
          <a:ea typeface="+mn-ea"/>
          <a:cs typeface="+mn-cs"/>
        </a:defRPr>
      </a:lvl5pPr>
      <a:lvl6pPr marL="2357093" indent="-214281" algn="l" defTabSz="857124" rtl="0" eaLnBrk="1" latinLnBrk="0" hangingPunct="1">
        <a:lnSpc>
          <a:spcPct val="90000"/>
        </a:lnSpc>
        <a:spcBef>
          <a:spcPts val="469"/>
        </a:spcBef>
        <a:buFont typeface="Arial" panose="020B0604020202020204" pitchFamily="34" charset="0"/>
        <a:buChar char="•"/>
        <a:defRPr sz="1687" kern="1200">
          <a:solidFill>
            <a:schemeClr val="tx1"/>
          </a:solidFill>
          <a:latin typeface="+mn-lt"/>
          <a:ea typeface="+mn-ea"/>
          <a:cs typeface="+mn-cs"/>
        </a:defRPr>
      </a:lvl6pPr>
      <a:lvl7pPr marL="2785655" indent="-214281" algn="l" defTabSz="857124" rtl="0" eaLnBrk="1" latinLnBrk="0" hangingPunct="1">
        <a:lnSpc>
          <a:spcPct val="90000"/>
        </a:lnSpc>
        <a:spcBef>
          <a:spcPts val="469"/>
        </a:spcBef>
        <a:buFont typeface="Arial" panose="020B0604020202020204" pitchFamily="34" charset="0"/>
        <a:buChar char="•"/>
        <a:defRPr sz="1687" kern="1200">
          <a:solidFill>
            <a:schemeClr val="tx1"/>
          </a:solidFill>
          <a:latin typeface="+mn-lt"/>
          <a:ea typeface="+mn-ea"/>
          <a:cs typeface="+mn-cs"/>
        </a:defRPr>
      </a:lvl7pPr>
      <a:lvl8pPr marL="3214217" indent="-214281" algn="l" defTabSz="857124" rtl="0" eaLnBrk="1" latinLnBrk="0" hangingPunct="1">
        <a:lnSpc>
          <a:spcPct val="90000"/>
        </a:lnSpc>
        <a:spcBef>
          <a:spcPts val="469"/>
        </a:spcBef>
        <a:buFont typeface="Arial" panose="020B0604020202020204" pitchFamily="34" charset="0"/>
        <a:buChar char="•"/>
        <a:defRPr sz="1687" kern="1200">
          <a:solidFill>
            <a:schemeClr val="tx1"/>
          </a:solidFill>
          <a:latin typeface="+mn-lt"/>
          <a:ea typeface="+mn-ea"/>
          <a:cs typeface="+mn-cs"/>
        </a:defRPr>
      </a:lvl8pPr>
      <a:lvl9pPr marL="3642779" indent="-214281" algn="l" defTabSz="857124" rtl="0" eaLnBrk="1" latinLnBrk="0" hangingPunct="1">
        <a:lnSpc>
          <a:spcPct val="90000"/>
        </a:lnSpc>
        <a:spcBef>
          <a:spcPts val="469"/>
        </a:spcBef>
        <a:buFont typeface="Arial" panose="020B0604020202020204" pitchFamily="34" charset="0"/>
        <a:buChar char="•"/>
        <a:defRPr sz="1687" kern="1200">
          <a:solidFill>
            <a:schemeClr val="tx1"/>
          </a:solidFill>
          <a:latin typeface="+mn-lt"/>
          <a:ea typeface="+mn-ea"/>
          <a:cs typeface="+mn-cs"/>
        </a:defRPr>
      </a:lvl9pPr>
    </p:bodyStyle>
    <p:otherStyle>
      <a:defPPr>
        <a:defRPr lang="en-US"/>
      </a:defPPr>
      <a:lvl1pPr marL="0" algn="l" defTabSz="857124" rtl="0" eaLnBrk="1" latinLnBrk="0" hangingPunct="1">
        <a:defRPr sz="1687" kern="1200">
          <a:solidFill>
            <a:schemeClr val="tx1"/>
          </a:solidFill>
          <a:latin typeface="+mn-lt"/>
          <a:ea typeface="+mn-ea"/>
          <a:cs typeface="+mn-cs"/>
        </a:defRPr>
      </a:lvl1pPr>
      <a:lvl2pPr marL="428563" algn="l" defTabSz="857124" rtl="0" eaLnBrk="1" latinLnBrk="0" hangingPunct="1">
        <a:defRPr sz="1687" kern="1200">
          <a:solidFill>
            <a:schemeClr val="tx1"/>
          </a:solidFill>
          <a:latin typeface="+mn-lt"/>
          <a:ea typeface="+mn-ea"/>
          <a:cs typeface="+mn-cs"/>
        </a:defRPr>
      </a:lvl2pPr>
      <a:lvl3pPr marL="857124" algn="l" defTabSz="857124" rtl="0" eaLnBrk="1" latinLnBrk="0" hangingPunct="1">
        <a:defRPr sz="1687" kern="1200">
          <a:solidFill>
            <a:schemeClr val="tx1"/>
          </a:solidFill>
          <a:latin typeface="+mn-lt"/>
          <a:ea typeface="+mn-ea"/>
          <a:cs typeface="+mn-cs"/>
        </a:defRPr>
      </a:lvl3pPr>
      <a:lvl4pPr marL="1285687" algn="l" defTabSz="857124" rtl="0" eaLnBrk="1" latinLnBrk="0" hangingPunct="1">
        <a:defRPr sz="1687" kern="1200">
          <a:solidFill>
            <a:schemeClr val="tx1"/>
          </a:solidFill>
          <a:latin typeface="+mn-lt"/>
          <a:ea typeface="+mn-ea"/>
          <a:cs typeface="+mn-cs"/>
        </a:defRPr>
      </a:lvl4pPr>
      <a:lvl5pPr marL="1714250" algn="l" defTabSz="857124" rtl="0" eaLnBrk="1" latinLnBrk="0" hangingPunct="1">
        <a:defRPr sz="1687" kern="1200">
          <a:solidFill>
            <a:schemeClr val="tx1"/>
          </a:solidFill>
          <a:latin typeface="+mn-lt"/>
          <a:ea typeface="+mn-ea"/>
          <a:cs typeface="+mn-cs"/>
        </a:defRPr>
      </a:lvl5pPr>
      <a:lvl6pPr marL="2142811" algn="l" defTabSz="857124" rtl="0" eaLnBrk="1" latinLnBrk="0" hangingPunct="1">
        <a:defRPr sz="1687" kern="1200">
          <a:solidFill>
            <a:schemeClr val="tx1"/>
          </a:solidFill>
          <a:latin typeface="+mn-lt"/>
          <a:ea typeface="+mn-ea"/>
          <a:cs typeface="+mn-cs"/>
        </a:defRPr>
      </a:lvl6pPr>
      <a:lvl7pPr marL="2571374" algn="l" defTabSz="857124" rtl="0" eaLnBrk="1" latinLnBrk="0" hangingPunct="1">
        <a:defRPr sz="1687" kern="1200">
          <a:solidFill>
            <a:schemeClr val="tx1"/>
          </a:solidFill>
          <a:latin typeface="+mn-lt"/>
          <a:ea typeface="+mn-ea"/>
          <a:cs typeface="+mn-cs"/>
        </a:defRPr>
      </a:lvl7pPr>
      <a:lvl8pPr marL="2999936" algn="l" defTabSz="857124" rtl="0" eaLnBrk="1" latinLnBrk="0" hangingPunct="1">
        <a:defRPr sz="1687" kern="1200">
          <a:solidFill>
            <a:schemeClr val="tx1"/>
          </a:solidFill>
          <a:latin typeface="+mn-lt"/>
          <a:ea typeface="+mn-ea"/>
          <a:cs typeface="+mn-cs"/>
        </a:defRPr>
      </a:lvl8pPr>
      <a:lvl9pPr marL="3428498" algn="l" defTabSz="857124" rtl="0" eaLnBrk="1" latinLnBrk="0" hangingPunct="1">
        <a:defRPr sz="1687"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92948"/>
            <a:ext cx="10972800" cy="12192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706883"/>
            <a:ext cx="10972800" cy="482769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780108"/>
            <a:ext cx="2844800" cy="389467"/>
          </a:xfrm>
          <a:prstGeom prst="rect">
            <a:avLst/>
          </a:prstGeom>
        </p:spPr>
        <p:txBody>
          <a:bodyPr vert="horz" lIns="91440" tIns="45720" rIns="91440" bIns="45720" rtlCol="0" anchor="ctr"/>
          <a:lstStyle>
            <a:lvl1pPr algn="l">
              <a:defRPr sz="1500">
                <a:solidFill>
                  <a:schemeClr val="tx1">
                    <a:tint val="75000"/>
                  </a:schemeClr>
                </a:solidFill>
              </a:defRPr>
            </a:lvl1pPr>
          </a:lstStyle>
          <a:p>
            <a:fld id="{ACCEBF71-793A-440A-922C-1CBEC40F9778}" type="datetimeFigureOut">
              <a:rPr lang="en-US" smtClean="0"/>
              <a:t>1/8/2019</a:t>
            </a:fld>
            <a:endParaRPr lang="en-US"/>
          </a:p>
        </p:txBody>
      </p:sp>
      <p:sp>
        <p:nvSpPr>
          <p:cNvPr id="5" name="Footer Placeholder 4"/>
          <p:cNvSpPr>
            <a:spLocks noGrp="1"/>
          </p:cNvSpPr>
          <p:nvPr>
            <p:ph type="ftr" sz="quarter" idx="3"/>
          </p:nvPr>
        </p:nvSpPr>
        <p:spPr>
          <a:xfrm>
            <a:off x="4165600" y="6780108"/>
            <a:ext cx="3860800" cy="389467"/>
          </a:xfrm>
          <a:prstGeom prst="rect">
            <a:avLst/>
          </a:prstGeom>
        </p:spPr>
        <p:txBody>
          <a:bodyPr vert="horz" lIns="91440" tIns="45720" rIns="91440" bIns="45720" rtlCol="0" anchor="ctr"/>
          <a:lstStyle>
            <a:lvl1pPr algn="ctr">
              <a:defRPr sz="15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780108"/>
            <a:ext cx="2844800" cy="389467"/>
          </a:xfrm>
          <a:prstGeom prst="rect">
            <a:avLst/>
          </a:prstGeom>
        </p:spPr>
        <p:txBody>
          <a:bodyPr vert="horz" lIns="91440" tIns="45720" rIns="91440" bIns="45720" rtlCol="0" anchor="ctr"/>
          <a:lstStyle>
            <a:lvl1pPr algn="r">
              <a:defRPr sz="1500">
                <a:solidFill>
                  <a:schemeClr val="tx1">
                    <a:tint val="75000"/>
                  </a:schemeClr>
                </a:solidFill>
              </a:defRPr>
            </a:lvl1pPr>
          </a:lstStyle>
          <a:p>
            <a:fld id="{704198DC-2EF7-4B34-A789-AD3A4CDEBD28}" type="slidenum">
              <a:rPr lang="en-US" smtClean="0"/>
              <a:t>‹#›</a:t>
            </a:fld>
            <a:endParaRPr lang="en-US"/>
          </a:p>
        </p:txBody>
      </p:sp>
    </p:spTree>
    <p:extLst>
      <p:ext uri="{BB962C8B-B14F-4D97-AF65-F5344CB8AC3E}">
        <p14:creationId xmlns:p14="http://schemas.microsoft.com/office/powerpoint/2010/main" val="3936773361"/>
      </p:ext>
    </p:extLst>
  </p:cSld>
  <p:clrMap bg1="lt1" tx1="dk1" bg2="lt2" tx2="dk2" accent1="accent1" accent2="accent2" accent3="accent3" accent4="accent4" accent5="accent5" accent6="accent6" hlink="hlink" folHlink="folHlink"/>
  <p:sldLayoutIdLst>
    <p:sldLayoutId id="2147484010" r:id="rId1"/>
    <p:sldLayoutId id="2147484013" r:id="rId2"/>
  </p:sldLayoutIdLst>
  <p:txStyles>
    <p:titleStyle>
      <a:lvl1pPr algn="ctr" defTabSz="1142804" rtl="0" eaLnBrk="1" latinLnBrk="0" hangingPunct="1">
        <a:spcBef>
          <a:spcPct val="0"/>
        </a:spcBef>
        <a:buNone/>
        <a:defRPr sz="5499" kern="1200">
          <a:solidFill>
            <a:schemeClr val="tx1"/>
          </a:solidFill>
          <a:latin typeface="+mj-lt"/>
          <a:ea typeface="+mj-ea"/>
          <a:cs typeface="+mj-cs"/>
        </a:defRPr>
      </a:lvl1pPr>
    </p:titleStyle>
    <p:bodyStyle>
      <a:lvl1pPr marL="428552" indent="-428552" algn="l" defTabSz="1142804" rtl="0" eaLnBrk="1" latinLnBrk="0" hangingPunct="1">
        <a:spcBef>
          <a:spcPct val="20000"/>
        </a:spcBef>
        <a:buFont typeface="Arial" pitchFamily="34" charset="0"/>
        <a:buChar char="•"/>
        <a:defRPr sz="4000" kern="1200">
          <a:solidFill>
            <a:schemeClr val="tx1"/>
          </a:solidFill>
          <a:latin typeface="+mn-lt"/>
          <a:ea typeface="+mn-ea"/>
          <a:cs typeface="+mn-cs"/>
        </a:defRPr>
      </a:lvl1pPr>
      <a:lvl2pPr marL="928528" indent="-357126" algn="l" defTabSz="1142804" rtl="0" eaLnBrk="1" latinLnBrk="0" hangingPunct="1">
        <a:spcBef>
          <a:spcPct val="20000"/>
        </a:spcBef>
        <a:buFont typeface="Arial" pitchFamily="34" charset="0"/>
        <a:buChar char="–"/>
        <a:defRPr sz="3499" kern="1200">
          <a:solidFill>
            <a:schemeClr val="tx1"/>
          </a:solidFill>
          <a:latin typeface="+mn-lt"/>
          <a:ea typeface="+mn-ea"/>
          <a:cs typeface="+mn-cs"/>
        </a:defRPr>
      </a:lvl2pPr>
      <a:lvl3pPr marL="1428505" indent="-285701" algn="l" defTabSz="1142804" rtl="0" eaLnBrk="1" latinLnBrk="0" hangingPunct="1">
        <a:spcBef>
          <a:spcPct val="20000"/>
        </a:spcBef>
        <a:buFont typeface="Arial" pitchFamily="34" charset="0"/>
        <a:buChar char="•"/>
        <a:defRPr sz="3000" kern="1200">
          <a:solidFill>
            <a:schemeClr val="tx1"/>
          </a:solidFill>
          <a:latin typeface="+mn-lt"/>
          <a:ea typeface="+mn-ea"/>
          <a:cs typeface="+mn-cs"/>
        </a:defRPr>
      </a:lvl3pPr>
      <a:lvl4pPr marL="1999908" indent="-285701" algn="l" defTabSz="1142804" rtl="0" eaLnBrk="1" latinLnBrk="0" hangingPunct="1">
        <a:spcBef>
          <a:spcPct val="20000"/>
        </a:spcBef>
        <a:buFont typeface="Arial" pitchFamily="34" charset="0"/>
        <a:buChar char="–"/>
        <a:defRPr sz="2500" kern="1200">
          <a:solidFill>
            <a:schemeClr val="tx1"/>
          </a:solidFill>
          <a:latin typeface="+mn-lt"/>
          <a:ea typeface="+mn-ea"/>
          <a:cs typeface="+mn-cs"/>
        </a:defRPr>
      </a:lvl4pPr>
      <a:lvl5pPr marL="2571309" indent="-285701" algn="l" defTabSz="1142804" rtl="0" eaLnBrk="1" latinLnBrk="0" hangingPunct="1">
        <a:spcBef>
          <a:spcPct val="20000"/>
        </a:spcBef>
        <a:buFont typeface="Arial" pitchFamily="34" charset="0"/>
        <a:buChar char="»"/>
        <a:defRPr sz="2500" kern="1200">
          <a:solidFill>
            <a:schemeClr val="tx1"/>
          </a:solidFill>
          <a:latin typeface="+mn-lt"/>
          <a:ea typeface="+mn-ea"/>
          <a:cs typeface="+mn-cs"/>
        </a:defRPr>
      </a:lvl5pPr>
      <a:lvl6pPr marL="3142711" indent="-285701" algn="l" defTabSz="1142804"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714114" indent="-285701" algn="l" defTabSz="1142804"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285516" indent="-285701" algn="l" defTabSz="1142804"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856918" indent="-285701" algn="l" defTabSz="1142804"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142804" rtl="0" eaLnBrk="1" latinLnBrk="0" hangingPunct="1">
        <a:defRPr sz="2250" kern="1200">
          <a:solidFill>
            <a:schemeClr val="tx1"/>
          </a:solidFill>
          <a:latin typeface="+mn-lt"/>
          <a:ea typeface="+mn-ea"/>
          <a:cs typeface="+mn-cs"/>
        </a:defRPr>
      </a:lvl1pPr>
      <a:lvl2pPr marL="571402" algn="l" defTabSz="1142804" rtl="0" eaLnBrk="1" latinLnBrk="0" hangingPunct="1">
        <a:defRPr sz="2250" kern="1200">
          <a:solidFill>
            <a:schemeClr val="tx1"/>
          </a:solidFill>
          <a:latin typeface="+mn-lt"/>
          <a:ea typeface="+mn-ea"/>
          <a:cs typeface="+mn-cs"/>
        </a:defRPr>
      </a:lvl2pPr>
      <a:lvl3pPr marL="1142804" algn="l" defTabSz="1142804" rtl="0" eaLnBrk="1" latinLnBrk="0" hangingPunct="1">
        <a:defRPr sz="2250" kern="1200">
          <a:solidFill>
            <a:schemeClr val="tx1"/>
          </a:solidFill>
          <a:latin typeface="+mn-lt"/>
          <a:ea typeface="+mn-ea"/>
          <a:cs typeface="+mn-cs"/>
        </a:defRPr>
      </a:lvl3pPr>
      <a:lvl4pPr marL="1714206" algn="l" defTabSz="1142804" rtl="0" eaLnBrk="1" latinLnBrk="0" hangingPunct="1">
        <a:defRPr sz="2250" kern="1200">
          <a:solidFill>
            <a:schemeClr val="tx1"/>
          </a:solidFill>
          <a:latin typeface="+mn-lt"/>
          <a:ea typeface="+mn-ea"/>
          <a:cs typeface="+mn-cs"/>
        </a:defRPr>
      </a:lvl4pPr>
      <a:lvl5pPr marL="2285609" algn="l" defTabSz="1142804" rtl="0" eaLnBrk="1" latinLnBrk="0" hangingPunct="1">
        <a:defRPr sz="2250" kern="1200">
          <a:solidFill>
            <a:schemeClr val="tx1"/>
          </a:solidFill>
          <a:latin typeface="+mn-lt"/>
          <a:ea typeface="+mn-ea"/>
          <a:cs typeface="+mn-cs"/>
        </a:defRPr>
      </a:lvl5pPr>
      <a:lvl6pPr marL="2857011" algn="l" defTabSz="1142804" rtl="0" eaLnBrk="1" latinLnBrk="0" hangingPunct="1">
        <a:defRPr sz="2250" kern="1200">
          <a:solidFill>
            <a:schemeClr val="tx1"/>
          </a:solidFill>
          <a:latin typeface="+mn-lt"/>
          <a:ea typeface="+mn-ea"/>
          <a:cs typeface="+mn-cs"/>
        </a:defRPr>
      </a:lvl6pPr>
      <a:lvl7pPr marL="3428413" algn="l" defTabSz="1142804" rtl="0" eaLnBrk="1" latinLnBrk="0" hangingPunct="1">
        <a:defRPr sz="2250" kern="1200">
          <a:solidFill>
            <a:schemeClr val="tx1"/>
          </a:solidFill>
          <a:latin typeface="+mn-lt"/>
          <a:ea typeface="+mn-ea"/>
          <a:cs typeface="+mn-cs"/>
        </a:defRPr>
      </a:lvl7pPr>
      <a:lvl8pPr marL="3999814" algn="l" defTabSz="1142804" rtl="0" eaLnBrk="1" latinLnBrk="0" hangingPunct="1">
        <a:defRPr sz="2250" kern="1200">
          <a:solidFill>
            <a:schemeClr val="tx1"/>
          </a:solidFill>
          <a:latin typeface="+mn-lt"/>
          <a:ea typeface="+mn-ea"/>
          <a:cs typeface="+mn-cs"/>
        </a:defRPr>
      </a:lvl8pPr>
      <a:lvl9pPr marL="4571217" algn="l" defTabSz="1142804" rtl="0" eaLnBrk="1" latinLnBrk="0" hangingPunct="1">
        <a:defRPr sz="22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4465" y="356449"/>
            <a:ext cx="11384209" cy="952055"/>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324465" y="1358538"/>
            <a:ext cx="11384209" cy="4406027"/>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9035131" y="3156872"/>
            <a:ext cx="7173067" cy="859326"/>
          </a:xfrm>
          <a:prstGeom prst="rect">
            <a:avLst/>
          </a:prstGeom>
        </p:spPr>
      </p:pic>
      <p:pic>
        <p:nvPicPr>
          <p:cNvPr id="8" name="Picture 7" descr="https://upload.wikimedia.org/wikipedia/commons/thumb/9/96/Microsoft_logo_(2012).svg/2000px-Microsoft_logo_(2012).svg.png"/>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954982" y="-427963"/>
            <a:ext cx="1143000" cy="262806"/>
          </a:xfrm>
          <a:prstGeom prst="rect">
            <a:avLst/>
          </a:prstGeom>
          <a:noFill/>
          <a:extLst/>
        </p:spPr>
      </p:pic>
    </p:spTree>
    <p:extLst>
      <p:ext uri="{BB962C8B-B14F-4D97-AF65-F5344CB8AC3E}">
        <p14:creationId xmlns:p14="http://schemas.microsoft.com/office/powerpoint/2010/main" val="2479465515"/>
      </p:ext>
    </p:extLst>
  </p:cSld>
  <p:clrMap bg1="lt1" tx1="dk1" bg2="lt2" tx2="dk2" accent1="accent1" accent2="accent2" accent3="accent3" accent4="accent4" accent5="accent5" accent6="accent6" hlink="hlink" folHlink="folHlink"/>
  <p:sldLayoutIdLst>
    <p:sldLayoutId id="2147484012" r:id="rId1"/>
  </p:sldLayoutIdLst>
  <p:txStyles>
    <p:titleStyle>
      <a:lvl1pPr algn="l" defTabSz="914225" rtl="0" eaLnBrk="1" latinLnBrk="0" hangingPunct="1">
        <a:lnSpc>
          <a:spcPct val="90000"/>
        </a:lnSpc>
        <a:spcBef>
          <a:spcPct val="0"/>
        </a:spcBef>
        <a:buNone/>
        <a:defRPr sz="5399" kern="1200">
          <a:solidFill>
            <a:schemeClr val="tx1"/>
          </a:solidFill>
          <a:latin typeface="Segoe UI Light" panose="020B0502040204020203" pitchFamily="34" charset="0"/>
          <a:ea typeface="+mj-ea"/>
          <a:cs typeface="Segoe UI Light" panose="020B0502040204020203" pitchFamily="34" charset="0"/>
        </a:defRPr>
      </a:lvl1pPr>
    </p:titleStyle>
    <p:bodyStyle>
      <a:lvl1pPr marL="228556" indent="-228556" algn="l" defTabSz="914225" rtl="0" eaLnBrk="1" latinLnBrk="0" hangingPunct="1">
        <a:lnSpc>
          <a:spcPct val="90000"/>
        </a:lnSpc>
        <a:spcBef>
          <a:spcPts val="1000"/>
        </a:spcBef>
        <a:buClr>
          <a:schemeClr val="bg2"/>
        </a:buClr>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668" indent="-228556" algn="l" defTabSz="914225" rtl="0" eaLnBrk="1" latinLnBrk="0" hangingPunct="1">
        <a:lnSpc>
          <a:spcPct val="90000"/>
        </a:lnSpc>
        <a:spcBef>
          <a:spcPts val="500"/>
        </a:spcBef>
        <a:buClr>
          <a:schemeClr val="bg2"/>
        </a:buClr>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2781" indent="-228556" algn="l" defTabSz="914225" rtl="0" eaLnBrk="1" latinLnBrk="0" hangingPunct="1">
        <a:lnSpc>
          <a:spcPct val="90000"/>
        </a:lnSpc>
        <a:spcBef>
          <a:spcPts val="500"/>
        </a:spcBef>
        <a:buClr>
          <a:schemeClr val="bg2"/>
        </a:buClr>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599893" indent="-228556" algn="l" defTabSz="914225" rtl="0" eaLnBrk="1" latinLnBrk="0" hangingPunct="1">
        <a:lnSpc>
          <a:spcPct val="90000"/>
        </a:lnSpc>
        <a:spcBef>
          <a:spcPts val="500"/>
        </a:spcBef>
        <a:buClr>
          <a:schemeClr val="bg2"/>
        </a:buClr>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005" indent="-228556" algn="l" defTabSz="914225" rtl="0" eaLnBrk="1" latinLnBrk="0" hangingPunct="1">
        <a:lnSpc>
          <a:spcPct val="90000"/>
        </a:lnSpc>
        <a:spcBef>
          <a:spcPts val="500"/>
        </a:spcBef>
        <a:buClr>
          <a:schemeClr val="bg2"/>
        </a:buClr>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308812"/>
            <a:ext cx="11655840" cy="959643"/>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268456"/>
            <a:ext cx="11653521" cy="2266583"/>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rot="5400000">
            <a:off x="8958458" y="3240990"/>
            <a:ext cx="7315864" cy="833218"/>
          </a:xfrm>
          <a:prstGeom prst="rect">
            <a:avLst/>
          </a:prstGeom>
        </p:spPr>
      </p:pic>
    </p:spTree>
    <p:extLst>
      <p:ext uri="{BB962C8B-B14F-4D97-AF65-F5344CB8AC3E}">
        <p14:creationId xmlns:p14="http://schemas.microsoft.com/office/powerpoint/2010/main" val="4239103471"/>
      </p:ext>
    </p:extLst>
  </p:cSld>
  <p:clrMap bg1="lt1" tx1="dk1" bg2="lt2" tx2="dk2" accent1="accent1" accent2="accent2" accent3="accent3" accent4="accent4" accent5="accent5" accent6="accent6" hlink="hlink" folHlink="folHlink"/>
  <p:sldLayoutIdLst>
    <p:sldLayoutId id="2147484015" r:id="rId1"/>
    <p:sldLayoutId id="2147484024" r:id="rId2"/>
  </p:sldLayoutIdLst>
  <p:transition spd="slow">
    <p:push dir="r"/>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9.jpg"/><Relationship Id="rId2" Type="http://schemas.openxmlformats.org/officeDocument/2006/relationships/notesSlide" Target="../notesSlides/notesSlide1.xml"/><Relationship Id="rId1" Type="http://schemas.openxmlformats.org/officeDocument/2006/relationships/slideLayout" Target="../slideLayouts/slideLayout23.xml"/><Relationship Id="rId4" Type="http://schemas.openxmlformats.org/officeDocument/2006/relationships/image" Target="../media/image70.png"/></Relationships>
</file>

<file path=ppt/slides/_rels/slide10.xml.rels><?xml version="1.0" encoding="UTF-8" standalone="yes"?>
<Relationships xmlns="http://schemas.openxmlformats.org/package/2006/relationships"><Relationship Id="rId8" Type="http://schemas.openxmlformats.org/officeDocument/2006/relationships/image" Target="../media/image108.png"/><Relationship Id="rId13" Type="http://schemas.openxmlformats.org/officeDocument/2006/relationships/image" Target="../media/image129.png"/><Relationship Id="rId18" Type="http://schemas.openxmlformats.org/officeDocument/2006/relationships/image" Target="../media/image110.png"/><Relationship Id="rId3" Type="http://schemas.openxmlformats.org/officeDocument/2006/relationships/image" Target="../media/image93.png"/><Relationship Id="rId21" Type="http://schemas.openxmlformats.org/officeDocument/2006/relationships/image" Target="../media/image124.png"/><Relationship Id="rId7" Type="http://schemas.openxmlformats.org/officeDocument/2006/relationships/image" Target="../media/image106.png"/><Relationship Id="rId12" Type="http://schemas.openxmlformats.org/officeDocument/2006/relationships/image" Target="../media/image128.png"/><Relationship Id="rId17" Type="http://schemas.openxmlformats.org/officeDocument/2006/relationships/image" Target="../media/image104.png"/><Relationship Id="rId2" Type="http://schemas.openxmlformats.org/officeDocument/2006/relationships/image" Target="../media/image92.png"/><Relationship Id="rId16" Type="http://schemas.openxmlformats.org/officeDocument/2006/relationships/image" Target="../media/image103.png"/><Relationship Id="rId20" Type="http://schemas.microsoft.com/office/2007/relationships/hdphoto" Target="../media/hdphoto2.wdp"/><Relationship Id="rId1" Type="http://schemas.openxmlformats.org/officeDocument/2006/relationships/slideLayout" Target="../slideLayouts/slideLayout265.xml"/><Relationship Id="rId6" Type="http://schemas.openxmlformats.org/officeDocument/2006/relationships/image" Target="../media/image127.jpeg"/><Relationship Id="rId11" Type="http://schemas.openxmlformats.org/officeDocument/2006/relationships/image" Target="../media/image98.png"/><Relationship Id="rId5" Type="http://schemas.openxmlformats.org/officeDocument/2006/relationships/image" Target="../media/image126.jpeg"/><Relationship Id="rId15" Type="http://schemas.openxmlformats.org/officeDocument/2006/relationships/image" Target="../media/image131.png"/><Relationship Id="rId10" Type="http://schemas.openxmlformats.org/officeDocument/2006/relationships/image" Target="../media/image97.png"/><Relationship Id="rId19" Type="http://schemas.openxmlformats.org/officeDocument/2006/relationships/image" Target="../media/image132.png"/><Relationship Id="rId4" Type="http://schemas.openxmlformats.org/officeDocument/2006/relationships/image" Target="../media/image94.png"/><Relationship Id="rId9" Type="http://schemas.openxmlformats.org/officeDocument/2006/relationships/image" Target="../media/image116.png"/><Relationship Id="rId14" Type="http://schemas.openxmlformats.org/officeDocument/2006/relationships/image" Target="../media/image130.png"/></Relationships>
</file>

<file path=ppt/slides/_rels/slide100.xml.rels><?xml version="1.0" encoding="UTF-8" standalone="yes"?>
<Relationships xmlns="http://schemas.openxmlformats.org/package/2006/relationships"><Relationship Id="rId3" Type="http://schemas.openxmlformats.org/officeDocument/2006/relationships/hyperlink" Target="https://github.com/Azure/azure-cosmosdb-dotnet/tree/master/samples/partition-stats" TargetMode="External"/><Relationship Id="rId2" Type="http://schemas.openxmlformats.org/officeDocument/2006/relationships/notesSlide" Target="../notesSlides/notesSlide96.xml"/><Relationship Id="rId1" Type="http://schemas.openxmlformats.org/officeDocument/2006/relationships/slideLayout" Target="../slideLayouts/slideLayout239.xml"/></Relationships>
</file>

<file path=ppt/slides/_rels/slide101.xml.rels><?xml version="1.0" encoding="UTF-8" standalone="yes"?>
<Relationships xmlns="http://schemas.openxmlformats.org/package/2006/relationships"><Relationship Id="rId3" Type="http://schemas.openxmlformats.org/officeDocument/2006/relationships/image" Target="../media/image212.jpeg"/><Relationship Id="rId2" Type="http://schemas.openxmlformats.org/officeDocument/2006/relationships/notesSlide" Target="../notesSlides/notesSlide97.xml"/><Relationship Id="rId1" Type="http://schemas.openxmlformats.org/officeDocument/2006/relationships/slideLayout" Target="../slideLayouts/slideLayout239.xml"/><Relationship Id="rId4" Type="http://schemas.openxmlformats.org/officeDocument/2006/relationships/image" Target="../media/image213.png"/></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239.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239.xml"/></Relationships>
</file>

<file path=ppt/slides/_rels/slide104.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100.xml"/><Relationship Id="rId1" Type="http://schemas.openxmlformats.org/officeDocument/2006/relationships/slideLayout" Target="../slideLayouts/slideLayout239.xml"/></Relationships>
</file>

<file path=ppt/slides/_rels/slide105.xml.rels><?xml version="1.0" encoding="UTF-8" standalone="yes"?>
<Relationships xmlns="http://schemas.openxmlformats.org/package/2006/relationships"><Relationship Id="rId8" Type="http://schemas.openxmlformats.org/officeDocument/2006/relationships/image" Target="../media/image220.png"/><Relationship Id="rId3" Type="http://schemas.openxmlformats.org/officeDocument/2006/relationships/image" Target="../media/image215.png"/><Relationship Id="rId7" Type="http://schemas.openxmlformats.org/officeDocument/2006/relationships/image" Target="../media/image219.png"/><Relationship Id="rId2" Type="http://schemas.openxmlformats.org/officeDocument/2006/relationships/notesSlide" Target="../notesSlides/notesSlide101.xml"/><Relationship Id="rId1" Type="http://schemas.openxmlformats.org/officeDocument/2006/relationships/slideLayout" Target="../slideLayouts/slideLayout239.xml"/><Relationship Id="rId6" Type="http://schemas.openxmlformats.org/officeDocument/2006/relationships/image" Target="../media/image218.png"/><Relationship Id="rId5" Type="http://schemas.openxmlformats.org/officeDocument/2006/relationships/image" Target="../media/image217.png"/><Relationship Id="rId4" Type="http://schemas.openxmlformats.org/officeDocument/2006/relationships/image" Target="../media/image216.png"/><Relationship Id="rId9" Type="http://schemas.openxmlformats.org/officeDocument/2006/relationships/image" Target="../media/image221.png"/></Relationships>
</file>

<file path=ppt/slides/_rels/slide106.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notesSlide" Target="../notesSlides/notesSlide102.xml"/><Relationship Id="rId1" Type="http://schemas.openxmlformats.org/officeDocument/2006/relationships/slideLayout" Target="../slideLayouts/slideLayout239.xml"/></Relationships>
</file>

<file path=ppt/slides/_rels/slide107.xml.rels><?xml version="1.0" encoding="UTF-8" standalone="yes"?>
<Relationships xmlns="http://schemas.openxmlformats.org/package/2006/relationships"><Relationship Id="rId3" Type="http://schemas.openxmlformats.org/officeDocument/2006/relationships/image" Target="../media/image2120.png"/><Relationship Id="rId2" Type="http://schemas.openxmlformats.org/officeDocument/2006/relationships/notesSlide" Target="../notesSlides/notesSlide103.xml"/><Relationship Id="rId1" Type="http://schemas.openxmlformats.org/officeDocument/2006/relationships/slideLayout" Target="../slideLayouts/slideLayout239.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250.xml"/></Relationships>
</file>

<file path=ppt/slides/_rels/slide109.xml.rels><?xml version="1.0" encoding="UTF-8" standalone="yes"?>
<Relationships xmlns="http://schemas.openxmlformats.org/package/2006/relationships"><Relationship Id="rId8" Type="http://schemas.openxmlformats.org/officeDocument/2006/relationships/image" Target="../media/image228.jpeg"/><Relationship Id="rId3" Type="http://schemas.openxmlformats.org/officeDocument/2006/relationships/image" Target="../media/image223.png"/><Relationship Id="rId7" Type="http://schemas.openxmlformats.org/officeDocument/2006/relationships/image" Target="../media/image227.png"/><Relationship Id="rId12" Type="http://schemas.openxmlformats.org/officeDocument/2006/relationships/image" Target="../media/image229.png"/><Relationship Id="rId2" Type="http://schemas.openxmlformats.org/officeDocument/2006/relationships/notesSlide" Target="../notesSlides/notesSlide105.xml"/><Relationship Id="rId1" Type="http://schemas.openxmlformats.org/officeDocument/2006/relationships/slideLayout" Target="../slideLayouts/slideLayout239.xml"/><Relationship Id="rId6" Type="http://schemas.openxmlformats.org/officeDocument/2006/relationships/image" Target="../media/image226.png"/><Relationship Id="rId11" Type="http://schemas.openxmlformats.org/officeDocument/2006/relationships/image" Target="../media/image98.png"/><Relationship Id="rId5" Type="http://schemas.openxmlformats.org/officeDocument/2006/relationships/image" Target="../media/image225.svg"/><Relationship Id="rId10" Type="http://schemas.openxmlformats.org/officeDocument/2006/relationships/image" Target="../media/image97.png"/><Relationship Id="rId4" Type="http://schemas.openxmlformats.org/officeDocument/2006/relationships/image" Target="../media/image224.png"/><Relationship Id="rId9" Type="http://schemas.openxmlformats.org/officeDocument/2006/relationships/image" Target="../media/image116.png"/></Relationships>
</file>

<file path=ppt/slides/_rels/slide11.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10.xml"/><Relationship Id="rId1" Type="http://schemas.openxmlformats.org/officeDocument/2006/relationships/slideLayout" Target="../slideLayouts/slideLayout25.xml"/><Relationship Id="rId5" Type="http://schemas.openxmlformats.org/officeDocument/2006/relationships/image" Target="../media/image92.png"/><Relationship Id="rId4" Type="http://schemas.openxmlformats.org/officeDocument/2006/relationships/image" Target="../media/image133.jpeg"/></Relationships>
</file>

<file path=ppt/slides/_rels/slide110.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notesSlide" Target="../notesSlides/notesSlide106.xml"/><Relationship Id="rId1" Type="http://schemas.openxmlformats.org/officeDocument/2006/relationships/slideLayout" Target="../slideLayouts/slideLayout239.xml"/></Relationships>
</file>

<file path=ppt/slides/_rels/slide111.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107.xml"/><Relationship Id="rId1" Type="http://schemas.openxmlformats.org/officeDocument/2006/relationships/slideLayout" Target="../slideLayouts/slideLayout240.xml"/><Relationship Id="rId4" Type="http://schemas.openxmlformats.org/officeDocument/2006/relationships/image" Target="../media/image221.png"/></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250.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239.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239.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239.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239.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239.xml"/></Relationships>
</file>

<file path=ppt/slides/_rels/slide118.xml.rels><?xml version="1.0" encoding="UTF-8" standalone="yes"?>
<Relationships xmlns="http://schemas.openxmlformats.org/package/2006/relationships"><Relationship Id="rId8" Type="http://schemas.openxmlformats.org/officeDocument/2006/relationships/image" Target="../media/image236.png"/><Relationship Id="rId13" Type="http://schemas.openxmlformats.org/officeDocument/2006/relationships/image" Target="../media/image241.png"/><Relationship Id="rId3" Type="http://schemas.openxmlformats.org/officeDocument/2006/relationships/image" Target="../media/image231.png"/><Relationship Id="rId7" Type="http://schemas.openxmlformats.org/officeDocument/2006/relationships/image" Target="../media/image235.tif"/><Relationship Id="rId12" Type="http://schemas.openxmlformats.org/officeDocument/2006/relationships/image" Target="../media/image240.png"/><Relationship Id="rId2" Type="http://schemas.openxmlformats.org/officeDocument/2006/relationships/notesSlide" Target="../notesSlides/notesSlide114.xml"/><Relationship Id="rId16" Type="http://schemas.openxmlformats.org/officeDocument/2006/relationships/image" Target="../media/image221.png"/><Relationship Id="rId1" Type="http://schemas.openxmlformats.org/officeDocument/2006/relationships/slideLayout" Target="../slideLayouts/slideLayout239.xml"/><Relationship Id="rId6" Type="http://schemas.openxmlformats.org/officeDocument/2006/relationships/image" Target="../media/image234.png"/><Relationship Id="rId11" Type="http://schemas.openxmlformats.org/officeDocument/2006/relationships/image" Target="../media/image239.png"/><Relationship Id="rId5" Type="http://schemas.openxmlformats.org/officeDocument/2006/relationships/image" Target="../media/image233.png"/><Relationship Id="rId15" Type="http://schemas.openxmlformats.org/officeDocument/2006/relationships/image" Target="../media/image243.png"/><Relationship Id="rId10" Type="http://schemas.openxmlformats.org/officeDocument/2006/relationships/image" Target="../media/image238.png"/><Relationship Id="rId4" Type="http://schemas.openxmlformats.org/officeDocument/2006/relationships/image" Target="../media/image232.png"/><Relationship Id="rId9" Type="http://schemas.openxmlformats.org/officeDocument/2006/relationships/image" Target="../media/image237.png"/><Relationship Id="rId14" Type="http://schemas.openxmlformats.org/officeDocument/2006/relationships/image" Target="../media/image242.png"/></Relationships>
</file>

<file path=ppt/slides/_rels/slide119.xml.rels><?xml version="1.0" encoding="UTF-8" standalone="yes"?>
<Relationships xmlns="http://schemas.openxmlformats.org/package/2006/relationships"><Relationship Id="rId8" Type="http://schemas.openxmlformats.org/officeDocument/2006/relationships/image" Target="../media/image221.png"/><Relationship Id="rId3" Type="http://schemas.openxmlformats.org/officeDocument/2006/relationships/image" Target="../media/image244.png"/><Relationship Id="rId7" Type="http://schemas.openxmlformats.org/officeDocument/2006/relationships/image" Target="../media/image248.png"/><Relationship Id="rId2" Type="http://schemas.openxmlformats.org/officeDocument/2006/relationships/notesSlide" Target="../notesSlides/notesSlide115.xml"/><Relationship Id="rId1" Type="http://schemas.openxmlformats.org/officeDocument/2006/relationships/slideLayout" Target="../slideLayouts/slideLayout239.xml"/><Relationship Id="rId6" Type="http://schemas.openxmlformats.org/officeDocument/2006/relationships/image" Target="../media/image247.png"/><Relationship Id="rId5" Type="http://schemas.openxmlformats.org/officeDocument/2006/relationships/image" Target="../media/image246.png"/><Relationship Id="rId4" Type="http://schemas.openxmlformats.org/officeDocument/2006/relationships/image" Target="../media/image245.tif"/></Relationships>
</file>

<file path=ppt/slides/_rels/slide12.xml.rels><?xml version="1.0" encoding="UTF-8" standalone="yes"?>
<Relationships xmlns="http://schemas.openxmlformats.org/package/2006/relationships"><Relationship Id="rId3" Type="http://schemas.openxmlformats.org/officeDocument/2006/relationships/image" Target="../media/image134.jpg"/><Relationship Id="rId2" Type="http://schemas.openxmlformats.org/officeDocument/2006/relationships/notesSlide" Target="../notesSlides/notesSlide11.xml"/><Relationship Id="rId1" Type="http://schemas.openxmlformats.org/officeDocument/2006/relationships/slideLayout" Target="../slideLayouts/slideLayout23.xml"/><Relationship Id="rId4" Type="http://schemas.openxmlformats.org/officeDocument/2006/relationships/image" Target="../media/image135.png"/></Relationships>
</file>

<file path=ppt/slides/_rels/slide120.xml.rels><?xml version="1.0" encoding="UTF-8" standalone="yes"?>
<Relationships xmlns="http://schemas.openxmlformats.org/package/2006/relationships"><Relationship Id="rId3" Type="http://schemas.openxmlformats.org/officeDocument/2006/relationships/image" Target="../media/image249.jpg"/><Relationship Id="rId2" Type="http://schemas.openxmlformats.org/officeDocument/2006/relationships/notesSlide" Target="../notesSlides/notesSlide116.xml"/><Relationship Id="rId1" Type="http://schemas.openxmlformats.org/officeDocument/2006/relationships/slideLayout" Target="../slideLayouts/slideLayout239.xml"/></Relationships>
</file>

<file path=ppt/slides/_rels/slide121.xml.rels><?xml version="1.0" encoding="UTF-8" standalone="yes"?>
<Relationships xmlns="http://schemas.openxmlformats.org/package/2006/relationships"><Relationship Id="rId8" Type="http://schemas.openxmlformats.org/officeDocument/2006/relationships/image" Target="../media/image252.png"/><Relationship Id="rId3" Type="http://schemas.openxmlformats.org/officeDocument/2006/relationships/image" Target="../media/image249.jpg"/><Relationship Id="rId7" Type="http://schemas.openxmlformats.org/officeDocument/2006/relationships/image" Target="../media/image251.png"/><Relationship Id="rId2" Type="http://schemas.openxmlformats.org/officeDocument/2006/relationships/notesSlide" Target="../notesSlides/notesSlide117.xml"/><Relationship Id="rId1" Type="http://schemas.openxmlformats.org/officeDocument/2006/relationships/slideLayout" Target="../slideLayouts/slideLayout239.xml"/><Relationship Id="rId6" Type="http://schemas.openxmlformats.org/officeDocument/2006/relationships/image" Target="../media/image245.tif"/><Relationship Id="rId11" Type="http://schemas.openxmlformats.org/officeDocument/2006/relationships/image" Target="../media/image221.png"/><Relationship Id="rId5" Type="http://schemas.openxmlformats.org/officeDocument/2006/relationships/image" Target="../media/image250.png"/><Relationship Id="rId10" Type="http://schemas.openxmlformats.org/officeDocument/2006/relationships/image" Target="../media/image254.png"/><Relationship Id="rId4" Type="http://schemas.openxmlformats.org/officeDocument/2006/relationships/image" Target="../media/image219.png"/><Relationship Id="rId9" Type="http://schemas.openxmlformats.org/officeDocument/2006/relationships/image" Target="../media/image253.tiff"/></Relationships>
</file>

<file path=ppt/slides/_rels/slide122.xml.rels><?xml version="1.0" encoding="UTF-8" standalone="yes"?>
<Relationships xmlns="http://schemas.openxmlformats.org/package/2006/relationships"><Relationship Id="rId8" Type="http://schemas.openxmlformats.org/officeDocument/2006/relationships/notesSlide" Target="../notesSlides/notesSlide118.xml"/><Relationship Id="rId3" Type="http://schemas.openxmlformats.org/officeDocument/2006/relationships/tags" Target="../tags/tag22.xml"/><Relationship Id="rId7" Type="http://schemas.openxmlformats.org/officeDocument/2006/relationships/slideLayout" Target="../slideLayouts/slideLayout239.xml"/><Relationship Id="rId12" Type="http://schemas.openxmlformats.org/officeDocument/2006/relationships/image" Target="../media/image258.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image" Target="../media/image257.png"/><Relationship Id="rId5" Type="http://schemas.openxmlformats.org/officeDocument/2006/relationships/tags" Target="../tags/tag24.xml"/><Relationship Id="rId10" Type="http://schemas.openxmlformats.org/officeDocument/2006/relationships/image" Target="../media/image256.png"/><Relationship Id="rId4" Type="http://schemas.openxmlformats.org/officeDocument/2006/relationships/tags" Target="../tags/tag23.xml"/><Relationship Id="rId9" Type="http://schemas.openxmlformats.org/officeDocument/2006/relationships/image" Target="../media/image255.png"/></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250.xml"/></Relationships>
</file>

<file path=ppt/slides/_rels/slide124.xml.rels><?xml version="1.0" encoding="UTF-8" standalone="yes"?>
<Relationships xmlns="http://schemas.openxmlformats.org/package/2006/relationships"><Relationship Id="rId3" Type="http://schemas.openxmlformats.org/officeDocument/2006/relationships/image" Target="../media/image259.png"/><Relationship Id="rId2" Type="http://schemas.openxmlformats.org/officeDocument/2006/relationships/notesSlide" Target="../notesSlides/notesSlide120.xml"/><Relationship Id="rId1" Type="http://schemas.openxmlformats.org/officeDocument/2006/relationships/slideLayout" Target="../slideLayouts/slideLayout239.xml"/></Relationships>
</file>

<file path=ppt/slides/_rels/slide125.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121.xml"/><Relationship Id="rId1" Type="http://schemas.openxmlformats.org/officeDocument/2006/relationships/slideLayout" Target="../slideLayouts/slideLayout239.xml"/></Relationships>
</file>

<file path=ppt/slides/_rels/slide126.xml.rels><?xml version="1.0" encoding="UTF-8" standalone="yes"?>
<Relationships xmlns="http://schemas.openxmlformats.org/package/2006/relationships"><Relationship Id="rId8" Type="http://schemas.openxmlformats.org/officeDocument/2006/relationships/image" Target="../media/image262.png"/><Relationship Id="rId13" Type="http://schemas.openxmlformats.org/officeDocument/2006/relationships/image" Target="../media/image266.png"/><Relationship Id="rId3" Type="http://schemas.openxmlformats.org/officeDocument/2006/relationships/image" Target="../media/image251.png"/><Relationship Id="rId7" Type="http://schemas.openxmlformats.org/officeDocument/2006/relationships/image" Target="../media/image252.png"/><Relationship Id="rId12" Type="http://schemas.openxmlformats.org/officeDocument/2006/relationships/image" Target="../media/image265.png"/><Relationship Id="rId2" Type="http://schemas.openxmlformats.org/officeDocument/2006/relationships/notesSlide" Target="../notesSlides/notesSlide122.xml"/><Relationship Id="rId1" Type="http://schemas.openxmlformats.org/officeDocument/2006/relationships/slideLayout" Target="../slideLayouts/slideLayout239.xml"/><Relationship Id="rId6" Type="http://schemas.openxmlformats.org/officeDocument/2006/relationships/image" Target="../media/image261.png"/><Relationship Id="rId11" Type="http://schemas.openxmlformats.org/officeDocument/2006/relationships/image" Target="../media/image253.tiff"/><Relationship Id="rId5" Type="http://schemas.openxmlformats.org/officeDocument/2006/relationships/image" Target="../media/image254.png"/><Relationship Id="rId10" Type="http://schemas.openxmlformats.org/officeDocument/2006/relationships/image" Target="../media/image264.png"/><Relationship Id="rId4" Type="http://schemas.openxmlformats.org/officeDocument/2006/relationships/image" Target="../media/image250.png"/><Relationship Id="rId9" Type="http://schemas.openxmlformats.org/officeDocument/2006/relationships/image" Target="../media/image263.png"/><Relationship Id="rId14" Type="http://schemas.openxmlformats.org/officeDocument/2006/relationships/image" Target="../media/image221.png"/></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250.xml"/></Relationships>
</file>

<file path=ppt/slides/_rels/slide128.xml.rels><?xml version="1.0" encoding="UTF-8" standalone="yes"?>
<Relationships xmlns="http://schemas.openxmlformats.org/package/2006/relationships"><Relationship Id="rId3" Type="http://schemas.openxmlformats.org/officeDocument/2006/relationships/image" Target="../media/image267.png"/><Relationship Id="rId2" Type="http://schemas.openxmlformats.org/officeDocument/2006/relationships/notesSlide" Target="../notesSlides/notesSlide124.xml"/><Relationship Id="rId1" Type="http://schemas.openxmlformats.org/officeDocument/2006/relationships/slideLayout" Target="../slideLayouts/slideLayout239.xml"/><Relationship Id="rId4" Type="http://schemas.openxmlformats.org/officeDocument/2006/relationships/hyperlink" Target="https://documentdbportalstorage.blob.core.windows.net/papers/11.15.2017/NoSQL%20TCO%20paper.pdf" TargetMode="Externa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125.xml"/><Relationship Id="rId1" Type="http://schemas.openxmlformats.org/officeDocument/2006/relationships/slideLayout" Target="../slideLayouts/slideLayout250.xml"/></Relationships>
</file>

<file path=ppt/slides/_rels/slide13.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12.xml"/><Relationship Id="rId1" Type="http://schemas.openxmlformats.org/officeDocument/2006/relationships/slideLayout" Target="../slideLayouts/slideLayout163.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126.xml"/><Relationship Id="rId1" Type="http://schemas.openxmlformats.org/officeDocument/2006/relationships/slideLayout" Target="../slideLayouts/slideLayout239.xml"/></Relationships>
</file>

<file path=ppt/slides/_rels/slide131.xml.rels><?xml version="1.0" encoding="UTF-8" standalone="yes"?>
<Relationships xmlns="http://schemas.openxmlformats.org/package/2006/relationships"><Relationship Id="rId3" Type="http://schemas.openxmlformats.org/officeDocument/2006/relationships/image" Target="../media/image268.png"/><Relationship Id="rId2" Type="http://schemas.openxmlformats.org/officeDocument/2006/relationships/notesSlide" Target="../notesSlides/notesSlide127.xml"/><Relationship Id="rId1" Type="http://schemas.openxmlformats.org/officeDocument/2006/relationships/slideLayout" Target="../slideLayouts/slideLayout239.xml"/><Relationship Id="rId5" Type="http://schemas.openxmlformats.org/officeDocument/2006/relationships/image" Target="../media/image270.png"/><Relationship Id="rId4" Type="http://schemas.openxmlformats.org/officeDocument/2006/relationships/image" Target="../media/image269.png"/></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128.xml"/><Relationship Id="rId1" Type="http://schemas.openxmlformats.org/officeDocument/2006/relationships/slideLayout" Target="../slideLayouts/slideLayout58.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129.xml"/><Relationship Id="rId1" Type="http://schemas.openxmlformats.org/officeDocument/2006/relationships/slideLayout" Target="../slideLayouts/slideLayout32.xml"/></Relationships>
</file>

<file path=ppt/slides/_rels/slide134.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notesSlide" Target="../notesSlides/notesSlide130.xml"/><Relationship Id="rId1" Type="http://schemas.openxmlformats.org/officeDocument/2006/relationships/slideLayout" Target="../slideLayouts/slideLayout74.xml"/></Relationships>
</file>

<file path=ppt/slides/_rels/slide135.xml.rels><?xml version="1.0" encoding="UTF-8" standalone="yes"?>
<Relationships xmlns="http://schemas.openxmlformats.org/package/2006/relationships"><Relationship Id="rId3" Type="http://schemas.openxmlformats.org/officeDocument/2006/relationships/image" Target="../media/image271.png"/><Relationship Id="rId2" Type="http://schemas.openxmlformats.org/officeDocument/2006/relationships/notesSlide" Target="../notesSlides/notesSlide131.xml"/><Relationship Id="rId1" Type="http://schemas.openxmlformats.org/officeDocument/2006/relationships/slideLayout" Target="../slideLayouts/slideLayout96.xml"/><Relationship Id="rId4" Type="http://schemas.openxmlformats.org/officeDocument/2006/relationships/image" Target="../media/image257.png"/></Relationships>
</file>

<file path=ppt/slides/_rels/slide136.xml.rels><?xml version="1.0" encoding="UTF-8" standalone="yes"?>
<Relationships xmlns="http://schemas.openxmlformats.org/package/2006/relationships"><Relationship Id="rId3" Type="http://schemas.openxmlformats.org/officeDocument/2006/relationships/image" Target="../media/image272.png"/><Relationship Id="rId2" Type="http://schemas.openxmlformats.org/officeDocument/2006/relationships/notesSlide" Target="../notesSlides/notesSlide132.xml"/><Relationship Id="rId1" Type="http://schemas.openxmlformats.org/officeDocument/2006/relationships/slideLayout" Target="../slideLayouts/slideLayout111.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194.xml"/></Relationships>
</file>

<file path=ppt/slides/_rels/slide138.xml.rels><?xml version="1.0" encoding="UTF-8" standalone="yes"?>
<Relationships xmlns="http://schemas.openxmlformats.org/package/2006/relationships"><Relationship Id="rId3" Type="http://schemas.openxmlformats.org/officeDocument/2006/relationships/image" Target="../media/image273.png"/><Relationship Id="rId2" Type="http://schemas.openxmlformats.org/officeDocument/2006/relationships/notesSlide" Target="../notesSlides/notesSlide133.xml"/><Relationship Id="rId1" Type="http://schemas.openxmlformats.org/officeDocument/2006/relationships/slideLayout" Target="../slideLayouts/slideLayout194.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134.xml"/><Relationship Id="rId1" Type="http://schemas.openxmlformats.org/officeDocument/2006/relationships/slideLayout" Target="../slideLayouts/slideLayout204.xml"/></Relationships>
</file>

<file path=ppt/slides/_rels/slide14.xml.rels><?xml version="1.0" encoding="UTF-8" standalone="yes"?>
<Relationships xmlns="http://schemas.openxmlformats.org/package/2006/relationships"><Relationship Id="rId3" Type="http://schemas.openxmlformats.org/officeDocument/2006/relationships/image" Target="../media/image137.jpeg"/><Relationship Id="rId2" Type="http://schemas.openxmlformats.org/officeDocument/2006/relationships/notesSlide" Target="../notesSlides/notesSlide13.xml"/><Relationship Id="rId1" Type="http://schemas.openxmlformats.org/officeDocument/2006/relationships/slideLayout" Target="../slideLayouts/slideLayout58.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135.xml"/><Relationship Id="rId1" Type="http://schemas.openxmlformats.org/officeDocument/2006/relationships/slideLayout" Target="../slideLayouts/slideLayout204.xml"/></Relationships>
</file>

<file path=ppt/slides/_rels/slide141.xml.rels><?xml version="1.0" encoding="UTF-8" standalone="yes"?>
<Relationships xmlns="http://schemas.openxmlformats.org/package/2006/relationships"><Relationship Id="rId3" Type="http://schemas.openxmlformats.org/officeDocument/2006/relationships/hyperlink" Target="https://aka.ms/bulkexecutordocsdotnet" TargetMode="External"/><Relationship Id="rId2" Type="http://schemas.openxmlformats.org/officeDocument/2006/relationships/notesSlide" Target="../notesSlides/notesSlide136.xml"/><Relationship Id="rId1" Type="http://schemas.openxmlformats.org/officeDocument/2006/relationships/slideLayout" Target="../slideLayouts/slideLayout196.xml"/><Relationship Id="rId5" Type="http://schemas.openxmlformats.org/officeDocument/2006/relationships/image" Target="../media/image274.png"/><Relationship Id="rId4" Type="http://schemas.openxmlformats.org/officeDocument/2006/relationships/hyperlink" Target="https://aka.ms/bulkexecutordocsjava" TargetMode="External"/></Relationships>
</file>

<file path=ppt/slides/_rels/slide142.xml.rels><?xml version="1.0" encoding="UTF-8" standalone="yes"?>
<Relationships xmlns="http://schemas.openxmlformats.org/package/2006/relationships"><Relationship Id="rId2" Type="http://schemas.openxmlformats.org/officeDocument/2006/relationships/hyperlink" Target="https://docs.microsoft.com/en-us/azure/cosmos-db/sql-api-sdk-async-java" TargetMode="External"/><Relationship Id="rId1" Type="http://schemas.openxmlformats.org/officeDocument/2006/relationships/slideLayout" Target="../slideLayouts/slideLayout196.xml"/></Relationships>
</file>

<file path=ppt/slides/_rels/slide143.xml.rels><?xml version="1.0" encoding="UTF-8" standalone="yes"?>
<Relationships xmlns="http://schemas.openxmlformats.org/package/2006/relationships"><Relationship Id="rId2" Type="http://schemas.openxmlformats.org/officeDocument/2006/relationships/image" Target="../media/image275.png"/><Relationship Id="rId1" Type="http://schemas.openxmlformats.org/officeDocument/2006/relationships/slideLayout" Target="../slideLayouts/slideLayout194.xml"/></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194.xml"/></Relationships>
</file>

<file path=ppt/slides/_rels/slide145.xml.rels><?xml version="1.0" encoding="UTF-8" standalone="yes"?>
<Relationships xmlns="http://schemas.openxmlformats.org/package/2006/relationships"><Relationship Id="rId2" Type="http://schemas.openxmlformats.org/officeDocument/2006/relationships/image" Target="../media/image151.png"/><Relationship Id="rId1" Type="http://schemas.openxmlformats.org/officeDocument/2006/relationships/slideLayout" Target="../slideLayouts/slideLayout194.xml"/></Relationships>
</file>

<file path=ppt/slides/_rels/slide146.xml.rels><?xml version="1.0" encoding="UTF-8" standalone="yes"?>
<Relationships xmlns="http://schemas.openxmlformats.org/package/2006/relationships"><Relationship Id="rId3" Type="http://schemas.openxmlformats.org/officeDocument/2006/relationships/image" Target="../media/image277.png"/><Relationship Id="rId2" Type="http://schemas.openxmlformats.org/officeDocument/2006/relationships/image" Target="../media/image276.png"/><Relationship Id="rId1" Type="http://schemas.openxmlformats.org/officeDocument/2006/relationships/slideLayout" Target="../slideLayouts/slideLayout194.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194.xml"/></Relationships>
</file>

<file path=ppt/slides/_rels/slide148.xml.rels><?xml version="1.0" encoding="UTF-8" standalone="yes"?>
<Relationships xmlns="http://schemas.openxmlformats.org/package/2006/relationships"><Relationship Id="rId2" Type="http://schemas.openxmlformats.org/officeDocument/2006/relationships/notesSlide" Target="../notesSlides/notesSlide137.xml"/><Relationship Id="rId1" Type="http://schemas.openxmlformats.org/officeDocument/2006/relationships/slideLayout" Target="../slideLayouts/slideLayout204.xml"/></Relationships>
</file>

<file path=ppt/slides/_rels/slide149.xml.rels><?xml version="1.0" encoding="UTF-8" standalone="yes"?>
<Relationships xmlns="http://schemas.openxmlformats.org/package/2006/relationships"><Relationship Id="rId3" Type="http://schemas.openxmlformats.org/officeDocument/2006/relationships/hyperlink" Target="https://docs.microsoft.com/en-us/azure/cosmos-db/sql-api-nodejs-get-started-preview" TargetMode="External"/><Relationship Id="rId2" Type="http://schemas.openxmlformats.org/officeDocument/2006/relationships/hyperlink" Target="https://github.com/Azure/azure-cosmos-js" TargetMode="External"/><Relationship Id="rId1" Type="http://schemas.openxmlformats.org/officeDocument/2006/relationships/slideLayout" Target="../slideLayouts/slideLayout194.xml"/><Relationship Id="rId4" Type="http://schemas.openxmlformats.org/officeDocument/2006/relationships/image" Target="../media/image278.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141.png"/><Relationship Id="rId2" Type="http://schemas.openxmlformats.org/officeDocument/2006/relationships/slideLayout" Target="../slideLayouts/slideLayout59.xml"/><Relationship Id="rId1" Type="http://schemas.openxmlformats.org/officeDocument/2006/relationships/tags" Target="../tags/tag9.xml"/><Relationship Id="rId6" Type="http://schemas.openxmlformats.org/officeDocument/2006/relationships/image" Target="../media/image140.emf"/><Relationship Id="rId5" Type="http://schemas.openxmlformats.org/officeDocument/2006/relationships/image" Target="../media/image139.emf"/><Relationship Id="rId4" Type="http://schemas.openxmlformats.org/officeDocument/2006/relationships/image" Target="../media/image138.emf"/></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194.xml"/></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194.xml"/></Relationships>
</file>

<file path=ppt/slides/_rels/slide152.xml.rels><?xml version="1.0" encoding="UTF-8" standalone="yes"?>
<Relationships xmlns="http://schemas.openxmlformats.org/package/2006/relationships"><Relationship Id="rId3" Type="http://schemas.openxmlformats.org/officeDocument/2006/relationships/image" Target="../media/image279.png"/><Relationship Id="rId2" Type="http://schemas.openxmlformats.org/officeDocument/2006/relationships/notesSlide" Target="../notesSlides/notesSlide138.xml"/><Relationship Id="rId1" Type="http://schemas.openxmlformats.org/officeDocument/2006/relationships/slideLayout" Target="../slideLayouts/slideLayout211.xml"/><Relationship Id="rId5" Type="http://schemas.openxmlformats.org/officeDocument/2006/relationships/image" Target="../media/image281.png"/><Relationship Id="rId4" Type="http://schemas.openxmlformats.org/officeDocument/2006/relationships/image" Target="../media/image280.png"/></Relationships>
</file>

<file path=ppt/slides/_rels/slide153.xml.rels><?xml version="1.0" encoding="UTF-8" standalone="yes"?>
<Relationships xmlns="http://schemas.openxmlformats.org/package/2006/relationships"><Relationship Id="rId3" Type="http://schemas.openxmlformats.org/officeDocument/2006/relationships/image" Target="../media/image279.png"/><Relationship Id="rId2" Type="http://schemas.openxmlformats.org/officeDocument/2006/relationships/notesSlide" Target="../notesSlides/notesSlide139.xml"/><Relationship Id="rId1" Type="http://schemas.openxmlformats.org/officeDocument/2006/relationships/slideLayout" Target="../slideLayouts/slideLayout211.xml"/><Relationship Id="rId5" Type="http://schemas.openxmlformats.org/officeDocument/2006/relationships/image" Target="../media/image281.png"/><Relationship Id="rId4" Type="http://schemas.openxmlformats.org/officeDocument/2006/relationships/image" Target="../media/image280.png"/></Relationships>
</file>

<file path=ppt/slides/_rels/slide154.xml.rels><?xml version="1.0" encoding="UTF-8" standalone="yes"?>
<Relationships xmlns="http://schemas.openxmlformats.org/package/2006/relationships"><Relationship Id="rId3" Type="http://schemas.openxmlformats.org/officeDocument/2006/relationships/image" Target="../media/image279.png"/><Relationship Id="rId2" Type="http://schemas.openxmlformats.org/officeDocument/2006/relationships/notesSlide" Target="../notesSlides/notesSlide140.xml"/><Relationship Id="rId1" Type="http://schemas.openxmlformats.org/officeDocument/2006/relationships/slideLayout" Target="../slideLayouts/slideLayout211.xml"/><Relationship Id="rId5" Type="http://schemas.openxmlformats.org/officeDocument/2006/relationships/image" Target="../media/image281.png"/><Relationship Id="rId4" Type="http://schemas.openxmlformats.org/officeDocument/2006/relationships/image" Target="../media/image280.png"/></Relationships>
</file>

<file path=ppt/slides/_rels/slide155.xml.rels><?xml version="1.0" encoding="UTF-8" standalone="yes"?>
<Relationships xmlns="http://schemas.openxmlformats.org/package/2006/relationships"><Relationship Id="rId3" Type="http://schemas.openxmlformats.org/officeDocument/2006/relationships/hyperlink" Target="https://www.microsoft.com/en-us/trustcenter/compliance/complianceofferings" TargetMode="External"/><Relationship Id="rId2" Type="http://schemas.openxmlformats.org/officeDocument/2006/relationships/notesSlide" Target="../notesSlides/notesSlide141.xml"/><Relationship Id="rId1" Type="http://schemas.openxmlformats.org/officeDocument/2006/relationships/slideLayout" Target="../slideLayouts/slideLayout215.xml"/></Relationships>
</file>

<file path=ppt/slides/_rels/slide156.xml.rels><?xml version="1.0" encoding="UTF-8" standalone="yes"?>
<Relationships xmlns="http://schemas.openxmlformats.org/package/2006/relationships"><Relationship Id="rId3" Type="http://schemas.openxmlformats.org/officeDocument/2006/relationships/image" Target="../media/image282.png"/><Relationship Id="rId2" Type="http://schemas.openxmlformats.org/officeDocument/2006/relationships/notesSlide" Target="../notesSlides/notesSlide142.xml"/><Relationship Id="rId1" Type="http://schemas.openxmlformats.org/officeDocument/2006/relationships/slideLayout" Target="../slideLayouts/slideLayout193.xml"/><Relationship Id="rId6" Type="http://schemas.openxmlformats.org/officeDocument/2006/relationships/image" Target="../media/image277.png"/><Relationship Id="rId5" Type="http://schemas.openxmlformats.org/officeDocument/2006/relationships/image" Target="../media/image195.png"/><Relationship Id="rId4" Type="http://schemas.openxmlformats.org/officeDocument/2006/relationships/image" Target="../media/image283.png"/></Relationships>
</file>

<file path=ppt/slides/_rels/slide16.xml.rels><?xml version="1.0" encoding="UTF-8" standalone="yes"?>
<Relationships xmlns="http://schemas.openxmlformats.org/package/2006/relationships"><Relationship Id="rId3" Type="http://schemas.openxmlformats.org/officeDocument/2006/relationships/image" Target="../media/image142.png"/><Relationship Id="rId7" Type="http://schemas.openxmlformats.org/officeDocument/2006/relationships/image" Target="../media/image146.png"/><Relationship Id="rId2" Type="http://schemas.openxmlformats.org/officeDocument/2006/relationships/notesSlide" Target="../notesSlides/notesSlide15.xml"/><Relationship Id="rId1" Type="http://schemas.openxmlformats.org/officeDocument/2006/relationships/slideLayout" Target="../slideLayouts/slideLayout61.xml"/><Relationship Id="rId6" Type="http://schemas.openxmlformats.org/officeDocument/2006/relationships/image" Target="../media/image145.png"/><Relationship Id="rId5" Type="http://schemas.openxmlformats.org/officeDocument/2006/relationships/image" Target="../media/image144.png"/><Relationship Id="rId4" Type="http://schemas.openxmlformats.org/officeDocument/2006/relationships/image" Target="../media/image143.png"/></Relationships>
</file>

<file path=ppt/slides/_rels/slide17.xml.rels><?xml version="1.0" encoding="UTF-8" standalone="yes"?>
<Relationships xmlns="http://schemas.openxmlformats.org/package/2006/relationships"><Relationship Id="rId3" Type="http://schemas.openxmlformats.org/officeDocument/2006/relationships/image" Target="../media/image71.jpg"/><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8" Type="http://schemas.openxmlformats.org/officeDocument/2006/relationships/image" Target="../media/image149.png"/><Relationship Id="rId3" Type="http://schemas.openxmlformats.org/officeDocument/2006/relationships/image" Target="../media/image77.png"/><Relationship Id="rId7" Type="http://schemas.openxmlformats.org/officeDocument/2006/relationships/image" Target="../media/image148.svg"/><Relationship Id="rId2" Type="http://schemas.openxmlformats.org/officeDocument/2006/relationships/notesSlide" Target="../notesSlides/notesSlide17.xml"/><Relationship Id="rId1" Type="http://schemas.openxmlformats.org/officeDocument/2006/relationships/slideLayout" Target="../slideLayouts/slideLayout42.xml"/><Relationship Id="rId6" Type="http://schemas.openxmlformats.org/officeDocument/2006/relationships/image" Target="../media/image147.png"/><Relationship Id="rId5" Type="http://schemas.openxmlformats.org/officeDocument/2006/relationships/image" Target="../media/image79.png"/><Relationship Id="rId4" Type="http://schemas.openxmlformats.org/officeDocument/2006/relationships/image" Target="../media/image78.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8.xml"/></Relationships>
</file>

<file path=ppt/slides/_rels/slide2.xml.rels><?xml version="1.0" encoding="UTF-8" standalone="yes"?>
<Relationships xmlns="http://schemas.openxmlformats.org/package/2006/relationships"><Relationship Id="rId3" Type="http://schemas.openxmlformats.org/officeDocument/2006/relationships/image" Target="../media/image71.jpg"/><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19.xml"/><Relationship Id="rId1" Type="http://schemas.openxmlformats.org/officeDocument/2006/relationships/slideLayout" Target="../slideLayouts/slideLayout50.xml"/></Relationships>
</file>

<file path=ppt/slides/_rels/slide21.xml.rels><?xml version="1.0" encoding="UTF-8" standalone="yes"?>
<Relationships xmlns="http://schemas.openxmlformats.org/package/2006/relationships"><Relationship Id="rId2" Type="http://schemas.openxmlformats.org/officeDocument/2006/relationships/image" Target="../media/image151.png"/><Relationship Id="rId1" Type="http://schemas.openxmlformats.org/officeDocument/2006/relationships/slideLayout" Target="../slideLayouts/slideLayout194.xml"/></Relationships>
</file>

<file path=ppt/slides/_rels/slide22.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20.xml"/><Relationship Id="rId1" Type="http://schemas.openxmlformats.org/officeDocument/2006/relationships/slideLayout" Target="../slideLayouts/slideLayout199.xml"/></Relationships>
</file>

<file path=ppt/slides/_rels/slide23.xml.rels><?xml version="1.0" encoding="UTF-8" standalone="yes"?>
<Relationships xmlns="http://schemas.openxmlformats.org/package/2006/relationships"><Relationship Id="rId8" Type="http://schemas.openxmlformats.org/officeDocument/2006/relationships/image" Target="../media/image149.png"/><Relationship Id="rId3" Type="http://schemas.openxmlformats.org/officeDocument/2006/relationships/image" Target="../media/image77.png"/><Relationship Id="rId7" Type="http://schemas.openxmlformats.org/officeDocument/2006/relationships/image" Target="../media/image148.svg"/><Relationship Id="rId2" Type="http://schemas.openxmlformats.org/officeDocument/2006/relationships/notesSlide" Target="../notesSlides/notesSlide21.xml"/><Relationship Id="rId1" Type="http://schemas.openxmlformats.org/officeDocument/2006/relationships/slideLayout" Target="../slideLayouts/slideLayout42.xml"/><Relationship Id="rId6" Type="http://schemas.openxmlformats.org/officeDocument/2006/relationships/image" Target="../media/image147.png"/><Relationship Id="rId5" Type="http://schemas.openxmlformats.org/officeDocument/2006/relationships/image" Target="../media/image79.png"/><Relationship Id="rId4" Type="http://schemas.openxmlformats.org/officeDocument/2006/relationships/image" Target="../media/image78.png"/></Relationships>
</file>

<file path=ppt/slides/_rels/slide24.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22.xml"/><Relationship Id="rId1" Type="http://schemas.openxmlformats.org/officeDocument/2006/relationships/slideLayout" Target="../slideLayouts/slideLayout35.xml"/><Relationship Id="rId6" Type="http://schemas.openxmlformats.org/officeDocument/2006/relationships/image" Target="../media/image156.svg"/><Relationship Id="rId5" Type="http://schemas.openxmlformats.org/officeDocument/2006/relationships/image" Target="../media/image155.png"/><Relationship Id="rId4" Type="http://schemas.openxmlformats.org/officeDocument/2006/relationships/image" Target="../media/image154.sv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1.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59.xml"/><Relationship Id="rId1" Type="http://schemas.openxmlformats.org/officeDocument/2006/relationships/tags" Target="../tags/tag10.xml"/><Relationship Id="rId6" Type="http://schemas.openxmlformats.org/officeDocument/2006/relationships/image" Target="../media/image140.emf"/><Relationship Id="rId5" Type="http://schemas.openxmlformats.org/officeDocument/2006/relationships/image" Target="../media/image139.emf"/><Relationship Id="rId4" Type="http://schemas.openxmlformats.org/officeDocument/2006/relationships/image" Target="../media/image138.emf"/></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59.xml"/><Relationship Id="rId1" Type="http://schemas.openxmlformats.org/officeDocument/2006/relationships/tags" Target="../tags/tag11.xml"/></Relationships>
</file>

<file path=ppt/slides/_rels/slide29.xml.rels><?xml version="1.0" encoding="UTF-8" standalone="yes"?>
<Relationships xmlns="http://schemas.openxmlformats.org/package/2006/relationships"><Relationship Id="rId8" Type="http://schemas.openxmlformats.org/officeDocument/2006/relationships/image" Target="../media/image140.emf"/><Relationship Id="rId3" Type="http://schemas.openxmlformats.org/officeDocument/2006/relationships/image" Target="../media/image157.png"/><Relationship Id="rId7" Type="http://schemas.openxmlformats.org/officeDocument/2006/relationships/image" Target="../media/image160.png"/><Relationship Id="rId2" Type="http://schemas.openxmlformats.org/officeDocument/2006/relationships/notesSlide" Target="../notesSlides/notesSlide27.xml"/><Relationship Id="rId1" Type="http://schemas.openxmlformats.org/officeDocument/2006/relationships/slideLayout" Target="../slideLayouts/slideLayout62.xml"/><Relationship Id="rId6" Type="http://schemas.openxmlformats.org/officeDocument/2006/relationships/image" Target="../media/image159.png"/><Relationship Id="rId5" Type="http://schemas.openxmlformats.org/officeDocument/2006/relationships/image" Target="../media/image138.emf"/><Relationship Id="rId4" Type="http://schemas.openxmlformats.org/officeDocument/2006/relationships/image" Target="../media/image158.png"/></Relationships>
</file>

<file path=ppt/slides/_rels/slide3.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3.xml"/><Relationship Id="rId1" Type="http://schemas.openxmlformats.org/officeDocument/2006/relationships/slideLayout" Target="../slideLayouts/slideLayout121.xml"/></Relationships>
</file>

<file path=ppt/slides/_rels/slide30.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28.xml"/><Relationship Id="rId1" Type="http://schemas.openxmlformats.org/officeDocument/2006/relationships/slideLayout" Target="../slideLayouts/slideLayout22.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59.xml"/><Relationship Id="rId1" Type="http://schemas.openxmlformats.org/officeDocument/2006/relationships/tags" Target="../tags/tag12.xml"/><Relationship Id="rId4" Type="http://schemas.openxmlformats.org/officeDocument/2006/relationships/image" Target="../media/image162.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59.xml"/><Relationship Id="rId1" Type="http://schemas.openxmlformats.org/officeDocument/2006/relationships/tags" Target="../tags/tag13.xml"/><Relationship Id="rId5" Type="http://schemas.openxmlformats.org/officeDocument/2006/relationships/image" Target="../media/image163.png"/><Relationship Id="rId4" Type="http://schemas.openxmlformats.org/officeDocument/2006/relationships/image" Target="../media/image138.emf"/></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59.xml"/><Relationship Id="rId1" Type="http://schemas.openxmlformats.org/officeDocument/2006/relationships/tags" Target="../tags/tag14.xml"/><Relationship Id="rId5" Type="http://schemas.openxmlformats.org/officeDocument/2006/relationships/image" Target="../media/image140.emf"/><Relationship Id="rId4" Type="http://schemas.openxmlformats.org/officeDocument/2006/relationships/image" Target="../media/image138.emf"/></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1.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59.xml"/><Relationship Id="rId1" Type="http://schemas.openxmlformats.org/officeDocument/2006/relationships/tags" Target="../tags/tag15.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59.xml"/><Relationship Id="rId1" Type="http://schemas.openxmlformats.org/officeDocument/2006/relationships/tags" Target="../tags/tag16.xml"/></Relationships>
</file>

<file path=ppt/slides/_rels/slide37.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35.xml"/><Relationship Id="rId1" Type="http://schemas.openxmlformats.org/officeDocument/2006/relationships/slideLayout" Target="../slideLayouts/slideLayout61.xml"/><Relationship Id="rId4" Type="http://schemas.openxmlformats.org/officeDocument/2006/relationships/image" Target="../media/image165.sv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59.xml"/><Relationship Id="rId1" Type="http://schemas.openxmlformats.org/officeDocument/2006/relationships/tags" Target="../tags/tag17.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59.xml"/><Relationship Id="rId1" Type="http://schemas.openxmlformats.org/officeDocument/2006/relationships/tags" Target="../tags/tag18.xml"/></Relationships>
</file>

<file path=ppt/slides/_rels/slide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4.xml"/><Relationship Id="rId1" Type="http://schemas.openxmlformats.org/officeDocument/2006/relationships/slideLayout" Target="../slideLayouts/slideLayout146.xml"/></Relationships>
</file>

<file path=ppt/slides/_rels/slide40.xml.rels><?xml version="1.0" encoding="UTF-8" standalone="yes"?>
<Relationships xmlns="http://schemas.openxmlformats.org/package/2006/relationships"><Relationship Id="rId8" Type="http://schemas.openxmlformats.org/officeDocument/2006/relationships/image" Target="../media/image149.png"/><Relationship Id="rId3" Type="http://schemas.openxmlformats.org/officeDocument/2006/relationships/image" Target="../media/image77.png"/><Relationship Id="rId7" Type="http://schemas.openxmlformats.org/officeDocument/2006/relationships/image" Target="../media/image148.svg"/><Relationship Id="rId2" Type="http://schemas.openxmlformats.org/officeDocument/2006/relationships/notesSlide" Target="../notesSlides/notesSlide38.xml"/><Relationship Id="rId1" Type="http://schemas.openxmlformats.org/officeDocument/2006/relationships/slideLayout" Target="../slideLayouts/slideLayout42.xml"/><Relationship Id="rId6" Type="http://schemas.openxmlformats.org/officeDocument/2006/relationships/image" Target="../media/image147.png"/><Relationship Id="rId5" Type="http://schemas.openxmlformats.org/officeDocument/2006/relationships/image" Target="../media/image79.png"/><Relationship Id="rId4" Type="http://schemas.openxmlformats.org/officeDocument/2006/relationships/image" Target="../media/image78.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51.xml"/></Relationships>
</file>

<file path=ppt/slides/_rels/slide42.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40.xml"/><Relationship Id="rId1" Type="http://schemas.openxmlformats.org/officeDocument/2006/relationships/slideLayout" Target="../slideLayouts/slideLayout53.xml"/><Relationship Id="rId6" Type="http://schemas.openxmlformats.org/officeDocument/2006/relationships/image" Target="../media/image169.png"/><Relationship Id="rId5" Type="http://schemas.openxmlformats.org/officeDocument/2006/relationships/image" Target="../media/image168.png"/><Relationship Id="rId4" Type="http://schemas.openxmlformats.org/officeDocument/2006/relationships/image" Target="../media/image167.png"/></Relationships>
</file>

<file path=ppt/slides/_rels/slide43.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41.xml"/><Relationship Id="rId1" Type="http://schemas.openxmlformats.org/officeDocument/2006/relationships/slideLayout" Target="../slideLayouts/slideLayout53.xml"/><Relationship Id="rId6" Type="http://schemas.openxmlformats.org/officeDocument/2006/relationships/image" Target="../media/image169.png"/><Relationship Id="rId5" Type="http://schemas.openxmlformats.org/officeDocument/2006/relationships/image" Target="../media/image170.png"/><Relationship Id="rId4" Type="http://schemas.openxmlformats.org/officeDocument/2006/relationships/image" Target="../media/image168.png"/></Relationships>
</file>

<file path=ppt/slides/_rels/slide44.xml.rels><?xml version="1.0" encoding="UTF-8" standalone="yes"?>
<Relationships xmlns="http://schemas.openxmlformats.org/package/2006/relationships"><Relationship Id="rId8" Type="http://schemas.openxmlformats.org/officeDocument/2006/relationships/image" Target="../media/image149.png"/><Relationship Id="rId3" Type="http://schemas.openxmlformats.org/officeDocument/2006/relationships/image" Target="../media/image77.png"/><Relationship Id="rId7" Type="http://schemas.openxmlformats.org/officeDocument/2006/relationships/image" Target="../media/image148.svg"/><Relationship Id="rId2" Type="http://schemas.openxmlformats.org/officeDocument/2006/relationships/notesSlide" Target="../notesSlides/notesSlide42.xml"/><Relationship Id="rId1" Type="http://schemas.openxmlformats.org/officeDocument/2006/relationships/slideLayout" Target="../slideLayouts/slideLayout42.xml"/><Relationship Id="rId6" Type="http://schemas.openxmlformats.org/officeDocument/2006/relationships/image" Target="../media/image147.png"/><Relationship Id="rId5" Type="http://schemas.openxmlformats.org/officeDocument/2006/relationships/image" Target="../media/image79.png"/><Relationship Id="rId4" Type="http://schemas.openxmlformats.org/officeDocument/2006/relationships/image" Target="../media/image78.png"/></Relationships>
</file>

<file path=ppt/slides/_rels/slide45.xml.rels><?xml version="1.0" encoding="UTF-8" standalone="yes"?>
<Relationships xmlns="http://schemas.openxmlformats.org/package/2006/relationships"><Relationship Id="rId3" Type="http://schemas.openxmlformats.org/officeDocument/2006/relationships/image" Target="../media/image171.jpeg"/><Relationship Id="rId2" Type="http://schemas.openxmlformats.org/officeDocument/2006/relationships/notesSlide" Target="../notesSlides/notesSlide43.xml"/><Relationship Id="rId1" Type="http://schemas.openxmlformats.org/officeDocument/2006/relationships/slideLayout" Target="../slideLayouts/slideLayout46.xml"/></Relationships>
</file>

<file path=ppt/slides/_rels/slide46.xml.rels><?xml version="1.0" encoding="UTF-8" standalone="yes"?>
<Relationships xmlns="http://schemas.openxmlformats.org/package/2006/relationships"><Relationship Id="rId3" Type="http://schemas.openxmlformats.org/officeDocument/2006/relationships/image" Target="../media/image172.jpeg"/><Relationship Id="rId2" Type="http://schemas.openxmlformats.org/officeDocument/2006/relationships/notesSlide" Target="../notesSlides/notesSlide44.xml"/><Relationship Id="rId1" Type="http://schemas.openxmlformats.org/officeDocument/2006/relationships/slideLayout" Target="../slideLayouts/slideLayout55.xml"/></Relationships>
</file>

<file path=ppt/slides/_rels/slide47.xml.rels><?xml version="1.0" encoding="UTF-8" standalone="yes"?>
<Relationships xmlns="http://schemas.openxmlformats.org/package/2006/relationships"><Relationship Id="rId3" Type="http://schemas.openxmlformats.org/officeDocument/2006/relationships/image" Target="../media/image173.jpeg"/><Relationship Id="rId2" Type="http://schemas.openxmlformats.org/officeDocument/2006/relationships/notesSlide" Target="../notesSlides/notesSlide45.xml"/><Relationship Id="rId1" Type="http://schemas.openxmlformats.org/officeDocument/2006/relationships/slideLayout" Target="../slideLayouts/slideLayout35.xml"/><Relationship Id="rId4" Type="http://schemas.openxmlformats.org/officeDocument/2006/relationships/image" Target="../media/image174.jpe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5.xml"/></Relationships>
</file>

<file path=ppt/slides/_rels/slide4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7.xml"/><Relationship Id="rId1" Type="http://schemas.openxmlformats.org/officeDocument/2006/relationships/slideLayout" Target="../slideLayouts/slideLayout56.xml"/><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5.xml"/><Relationship Id="rId1" Type="http://schemas.openxmlformats.org/officeDocument/2006/relationships/slideLayout" Target="../slideLayouts/slideLayout129.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59.xml"/><Relationship Id="rId1" Type="http://schemas.openxmlformats.org/officeDocument/2006/relationships/tags" Target="../tags/tag19.xml"/><Relationship Id="rId6" Type="http://schemas.openxmlformats.org/officeDocument/2006/relationships/image" Target="../media/image177.png"/><Relationship Id="rId5" Type="http://schemas.openxmlformats.org/officeDocument/2006/relationships/image" Target="../media/image176.png"/><Relationship Id="rId4" Type="http://schemas.openxmlformats.org/officeDocument/2006/relationships/image" Target="../media/image175.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52.xml.rels><?xml version="1.0" encoding="UTF-8" standalone="yes"?>
<Relationships xmlns="http://schemas.openxmlformats.org/package/2006/relationships"><Relationship Id="rId2" Type="http://schemas.openxmlformats.org/officeDocument/2006/relationships/image" Target="../media/image178.png"/><Relationship Id="rId1" Type="http://schemas.openxmlformats.org/officeDocument/2006/relationships/slideLayout" Target="../slideLayouts/slideLayout60.xml"/></Relationships>
</file>

<file path=ppt/slides/_rels/slide53.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49.xml"/><Relationship Id="rId1" Type="http://schemas.openxmlformats.org/officeDocument/2006/relationships/slideLayout" Target="../slideLayouts/slideLayout47.xml"/><Relationship Id="rId4" Type="http://schemas.openxmlformats.org/officeDocument/2006/relationships/image" Target="../media/image180.tiff"/></Relationships>
</file>

<file path=ppt/slides/_rels/slide54.xml.rels><?xml version="1.0" encoding="UTF-8" standalone="yes"?>
<Relationships xmlns="http://schemas.openxmlformats.org/package/2006/relationships"><Relationship Id="rId8" Type="http://schemas.openxmlformats.org/officeDocument/2006/relationships/image" Target="../media/image149.png"/><Relationship Id="rId3" Type="http://schemas.openxmlformats.org/officeDocument/2006/relationships/image" Target="../media/image77.png"/><Relationship Id="rId7" Type="http://schemas.openxmlformats.org/officeDocument/2006/relationships/image" Target="../media/image148.svg"/><Relationship Id="rId2" Type="http://schemas.openxmlformats.org/officeDocument/2006/relationships/notesSlide" Target="../notesSlides/notesSlide50.xml"/><Relationship Id="rId1" Type="http://schemas.openxmlformats.org/officeDocument/2006/relationships/slideLayout" Target="../slideLayouts/slideLayout42.xml"/><Relationship Id="rId6" Type="http://schemas.openxmlformats.org/officeDocument/2006/relationships/image" Target="../media/image147.png"/><Relationship Id="rId5" Type="http://schemas.openxmlformats.org/officeDocument/2006/relationships/image" Target="../media/image79.png"/><Relationship Id="rId4" Type="http://schemas.openxmlformats.org/officeDocument/2006/relationships/image" Target="../media/image78.png"/></Relationships>
</file>

<file path=ppt/slides/_rels/slide55.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51.xml"/><Relationship Id="rId1" Type="http://schemas.openxmlformats.org/officeDocument/2006/relationships/slideLayout" Target="../slideLayouts/slideLayout47.xml"/></Relationships>
</file>

<file path=ppt/slides/_rels/slide56.xml.rels><?xml version="1.0" encoding="UTF-8" standalone="yes"?>
<Relationships xmlns="http://schemas.openxmlformats.org/package/2006/relationships"><Relationship Id="rId8" Type="http://schemas.openxmlformats.org/officeDocument/2006/relationships/customXml" Target="../ink/ink3.xml"/><Relationship Id="rId13" Type="http://schemas.openxmlformats.org/officeDocument/2006/relationships/image" Target="../media/image1230.png"/><Relationship Id="rId3" Type="http://schemas.openxmlformats.org/officeDocument/2006/relationships/customXml" Target="../ink/ink1.xml"/><Relationship Id="rId7" Type="http://schemas.openxmlformats.org/officeDocument/2006/relationships/image" Target="../media/image1200.png"/><Relationship Id="rId12" Type="http://schemas.openxmlformats.org/officeDocument/2006/relationships/customXml" Target="../ink/ink5.xml"/><Relationship Id="rId2" Type="http://schemas.openxmlformats.org/officeDocument/2006/relationships/notesSlide" Target="../notesSlides/notesSlide52.xml"/><Relationship Id="rId16" Type="http://schemas.openxmlformats.org/officeDocument/2006/relationships/image" Target="../media/image182.png"/><Relationship Id="rId1" Type="http://schemas.openxmlformats.org/officeDocument/2006/relationships/slideLayout" Target="../slideLayouts/slideLayout49.xml"/><Relationship Id="rId6" Type="http://schemas.openxmlformats.org/officeDocument/2006/relationships/customXml" Target="../ink/ink2.xml"/><Relationship Id="rId11" Type="http://schemas.openxmlformats.org/officeDocument/2006/relationships/image" Target="../media/image1220.png"/><Relationship Id="rId5" Type="http://schemas.openxmlformats.org/officeDocument/2006/relationships/image" Target="../media/image1190.png"/><Relationship Id="rId15" Type="http://schemas.openxmlformats.org/officeDocument/2006/relationships/image" Target="../media/image1240.png"/><Relationship Id="rId10" Type="http://schemas.openxmlformats.org/officeDocument/2006/relationships/customXml" Target="../ink/ink4.xml"/><Relationship Id="rId9" Type="http://schemas.openxmlformats.org/officeDocument/2006/relationships/image" Target="../media/image1210.png"/><Relationship Id="rId14" Type="http://schemas.openxmlformats.org/officeDocument/2006/relationships/customXml" Target="../ink/ink6.xml"/></Relationships>
</file>

<file path=ppt/slides/_rels/slide57.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53.xml"/><Relationship Id="rId1" Type="http://schemas.openxmlformats.org/officeDocument/2006/relationships/slideLayout" Target="../slideLayouts/slideLayout52.xml"/><Relationship Id="rId4" Type="http://schemas.openxmlformats.org/officeDocument/2006/relationships/image" Target="../media/image184.png"/></Relationships>
</file>

<file path=ppt/slides/_rels/slide58.xml.rels><?xml version="1.0" encoding="UTF-8" standalone="yes"?>
<Relationships xmlns="http://schemas.openxmlformats.org/package/2006/relationships"><Relationship Id="rId8" Type="http://schemas.openxmlformats.org/officeDocument/2006/relationships/image" Target="../media/image149.png"/><Relationship Id="rId3" Type="http://schemas.openxmlformats.org/officeDocument/2006/relationships/image" Target="../media/image77.png"/><Relationship Id="rId7" Type="http://schemas.openxmlformats.org/officeDocument/2006/relationships/image" Target="../media/image148.svg"/><Relationship Id="rId2" Type="http://schemas.openxmlformats.org/officeDocument/2006/relationships/notesSlide" Target="../notesSlides/notesSlide54.xml"/><Relationship Id="rId1" Type="http://schemas.openxmlformats.org/officeDocument/2006/relationships/slideLayout" Target="../slideLayouts/slideLayout42.xml"/><Relationship Id="rId6" Type="http://schemas.openxmlformats.org/officeDocument/2006/relationships/image" Target="../media/image147.png"/><Relationship Id="rId5" Type="http://schemas.openxmlformats.org/officeDocument/2006/relationships/image" Target="../media/image79.png"/><Relationship Id="rId4" Type="http://schemas.openxmlformats.org/officeDocument/2006/relationships/image" Target="../media/image78.png"/></Relationships>
</file>

<file path=ppt/slides/_rels/slide59.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55.xml"/><Relationship Id="rId1" Type="http://schemas.openxmlformats.org/officeDocument/2006/relationships/slideLayout" Target="../slideLayouts/slideLayout51.xml"/></Relationships>
</file>

<file path=ppt/slides/_rels/slide6.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5.png"/><Relationship Id="rId7" Type="http://schemas.openxmlformats.org/officeDocument/2006/relationships/image" Target="../media/image79.png"/><Relationship Id="rId12" Type="http://schemas.openxmlformats.org/officeDocument/2006/relationships/comments" Target="../comments/comment1.xml"/><Relationship Id="rId2" Type="http://schemas.openxmlformats.org/officeDocument/2006/relationships/notesSlide" Target="../notesSlides/notesSlide6.xml"/><Relationship Id="rId1" Type="http://schemas.openxmlformats.org/officeDocument/2006/relationships/slideLayout" Target="../slideLayouts/slideLayout171.xml"/><Relationship Id="rId6" Type="http://schemas.openxmlformats.org/officeDocument/2006/relationships/image" Target="../media/image78.png"/><Relationship Id="rId11" Type="http://schemas.openxmlformats.org/officeDocument/2006/relationships/image" Target="../media/image83.png"/><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svg"/><Relationship Id="rId9" Type="http://schemas.openxmlformats.org/officeDocument/2006/relationships/image" Target="../media/image81.png"/></Relationships>
</file>

<file path=ppt/slides/_rels/slide60.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56.xml"/><Relationship Id="rId1" Type="http://schemas.openxmlformats.org/officeDocument/2006/relationships/slideLayout" Target="../slideLayouts/slideLayout54.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49.xml"/></Relationships>
</file>

<file path=ppt/slides/_rels/slide62.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58.xml"/><Relationship Id="rId1" Type="http://schemas.openxmlformats.org/officeDocument/2006/relationships/slideLayout" Target="../slideLayouts/slideLayout57.xml"/><Relationship Id="rId4" Type="http://schemas.openxmlformats.org/officeDocument/2006/relationships/image" Target="../media/image188.png"/></Relationships>
</file>

<file path=ppt/slides/_rels/slide63.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59.xml"/><Relationship Id="rId1" Type="http://schemas.openxmlformats.org/officeDocument/2006/relationships/slideLayout" Target="../slideLayouts/slideLayout35.xml"/></Relationships>
</file>

<file path=ppt/slides/_rels/slide64.xml.rels><?xml version="1.0" encoding="UTF-8" standalone="yes"?>
<Relationships xmlns="http://schemas.openxmlformats.org/package/2006/relationships"><Relationship Id="rId8" Type="http://schemas.openxmlformats.org/officeDocument/2006/relationships/image" Target="../media/image149.png"/><Relationship Id="rId3" Type="http://schemas.openxmlformats.org/officeDocument/2006/relationships/image" Target="../media/image77.png"/><Relationship Id="rId7" Type="http://schemas.openxmlformats.org/officeDocument/2006/relationships/image" Target="../media/image148.svg"/><Relationship Id="rId2" Type="http://schemas.openxmlformats.org/officeDocument/2006/relationships/notesSlide" Target="../notesSlides/notesSlide60.xml"/><Relationship Id="rId1" Type="http://schemas.openxmlformats.org/officeDocument/2006/relationships/slideLayout" Target="../slideLayouts/slideLayout42.xml"/><Relationship Id="rId6" Type="http://schemas.openxmlformats.org/officeDocument/2006/relationships/image" Target="../media/image147.png"/><Relationship Id="rId5" Type="http://schemas.openxmlformats.org/officeDocument/2006/relationships/image" Target="../media/image79.png"/><Relationship Id="rId4" Type="http://schemas.openxmlformats.org/officeDocument/2006/relationships/image" Target="../media/image78.png"/></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49.xml"/></Relationships>
</file>

<file path=ppt/slides/_rels/slide66.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62.xml"/><Relationship Id="rId1" Type="http://schemas.openxmlformats.org/officeDocument/2006/relationships/slideLayout" Target="../slideLayouts/slideLayout63.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11.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11.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11.xml"/></Relationships>
</file>

<file path=ppt/slides/_rels/slide7.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7.xml"/><Relationship Id="rId1" Type="http://schemas.openxmlformats.org/officeDocument/2006/relationships/slideLayout" Target="../slideLayouts/slideLayout26.xml"/><Relationship Id="rId4" Type="http://schemas.openxmlformats.org/officeDocument/2006/relationships/image" Target="../media/image85.png"/></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11.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11.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11.xml"/></Relationships>
</file>

<file path=ppt/slides/_rels/slide73.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69.xml"/><Relationship Id="rId1" Type="http://schemas.openxmlformats.org/officeDocument/2006/relationships/slideLayout" Target="../slideLayouts/slideLayout105.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105.xml"/></Relationships>
</file>

<file path=ppt/slides/_rels/slide75.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71.xml"/><Relationship Id="rId1" Type="http://schemas.openxmlformats.org/officeDocument/2006/relationships/slideLayout" Target="../slideLayouts/slideLayout105.xml"/></Relationships>
</file>

<file path=ppt/slides/_rels/slide76.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72.xml"/><Relationship Id="rId1" Type="http://schemas.openxmlformats.org/officeDocument/2006/relationships/slideLayout" Target="../slideLayouts/slideLayout106.xml"/></Relationships>
</file>

<file path=ppt/slides/_rels/slide77.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73.xml"/><Relationship Id="rId1" Type="http://schemas.openxmlformats.org/officeDocument/2006/relationships/slideLayout" Target="../slideLayouts/slideLayout106.xml"/></Relationships>
</file>

<file path=ppt/slides/_rels/slide78.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74.xml"/><Relationship Id="rId1" Type="http://schemas.openxmlformats.org/officeDocument/2006/relationships/slideLayout" Target="../slideLayouts/slideLayout63.xml"/></Relationships>
</file>

<file path=ppt/slides/_rels/slide79.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75.xml"/><Relationship Id="rId1" Type="http://schemas.openxmlformats.org/officeDocument/2006/relationships/slideLayout" Target="../slideLayouts/slideLayout233.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9.xml"/><Relationship Id="rId1" Type="http://schemas.openxmlformats.org/officeDocument/2006/relationships/tags" Target="../tags/tag8.xml"/></Relationships>
</file>

<file path=ppt/slides/_rels/slide80.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76.xml"/><Relationship Id="rId1" Type="http://schemas.openxmlformats.org/officeDocument/2006/relationships/slideLayout" Target="../slideLayouts/slideLayout233.xml"/></Relationships>
</file>

<file path=ppt/slides/_rels/slide81.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77.xml"/><Relationship Id="rId1" Type="http://schemas.openxmlformats.org/officeDocument/2006/relationships/slideLayout" Target="../slideLayouts/slideLayout234.xml"/><Relationship Id="rId4" Type="http://schemas.openxmlformats.org/officeDocument/2006/relationships/image" Target="../media/image196.png"/></Relationships>
</file>

<file path=ppt/slides/_rels/slide82.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78.xml"/><Relationship Id="rId1" Type="http://schemas.openxmlformats.org/officeDocument/2006/relationships/slideLayout" Target="../slideLayouts/slideLayout234.xml"/><Relationship Id="rId4" Type="http://schemas.openxmlformats.org/officeDocument/2006/relationships/image" Target="../media/image196.png"/></Relationships>
</file>

<file path=ppt/slides/_rels/slide83.xml.rels><?xml version="1.0" encoding="UTF-8" standalone="yes"?>
<Relationships xmlns="http://schemas.openxmlformats.org/package/2006/relationships"><Relationship Id="rId8" Type="http://schemas.openxmlformats.org/officeDocument/2006/relationships/image" Target="../media/image200.svg"/><Relationship Id="rId3" Type="http://schemas.openxmlformats.org/officeDocument/2006/relationships/image" Target="../media/image195.png"/><Relationship Id="rId7" Type="http://schemas.openxmlformats.org/officeDocument/2006/relationships/image" Target="../media/image199.png"/><Relationship Id="rId2" Type="http://schemas.openxmlformats.org/officeDocument/2006/relationships/notesSlide" Target="../notesSlides/notesSlide79.xml"/><Relationship Id="rId1" Type="http://schemas.openxmlformats.org/officeDocument/2006/relationships/slideLayout" Target="../slideLayouts/slideLayout236.xml"/><Relationship Id="rId6" Type="http://schemas.openxmlformats.org/officeDocument/2006/relationships/image" Target="../media/image198.svg"/><Relationship Id="rId5" Type="http://schemas.openxmlformats.org/officeDocument/2006/relationships/image" Target="../media/image197.png"/><Relationship Id="rId4" Type="http://schemas.openxmlformats.org/officeDocument/2006/relationships/image" Target="../media/image196.png"/></Relationships>
</file>

<file path=ppt/slides/_rels/slide84.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80.xml"/><Relationship Id="rId1" Type="http://schemas.openxmlformats.org/officeDocument/2006/relationships/slideLayout" Target="../slideLayouts/slideLayout233.xml"/></Relationships>
</file>

<file path=ppt/slides/_rels/slide85.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81.xml"/><Relationship Id="rId1" Type="http://schemas.openxmlformats.org/officeDocument/2006/relationships/slideLayout" Target="../slideLayouts/slideLayout233.xml"/></Relationships>
</file>

<file path=ppt/slides/_rels/slide86.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82.xml"/><Relationship Id="rId1" Type="http://schemas.openxmlformats.org/officeDocument/2006/relationships/slideLayout" Target="../slideLayouts/slideLayout233.xml"/></Relationships>
</file>

<file path=ppt/slides/_rels/slide87.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83.xml"/><Relationship Id="rId1" Type="http://schemas.openxmlformats.org/officeDocument/2006/relationships/slideLayout" Target="../slideLayouts/slideLayout233.xml"/></Relationships>
</file>

<file path=ppt/slides/_rels/slide88.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84.xml"/><Relationship Id="rId1" Type="http://schemas.openxmlformats.org/officeDocument/2006/relationships/slideLayout" Target="../slideLayouts/slideLayout233.xml"/></Relationships>
</file>

<file path=ppt/slides/_rels/slide89.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85.xml"/><Relationship Id="rId1" Type="http://schemas.openxmlformats.org/officeDocument/2006/relationships/slideLayout" Target="../slideLayouts/slideLayout233.xml"/></Relationships>
</file>

<file path=ppt/slides/_rels/slide9.xml.rels><?xml version="1.0" encoding="UTF-8" standalone="yes"?>
<Relationships xmlns="http://schemas.openxmlformats.org/package/2006/relationships"><Relationship Id="rId13" Type="http://schemas.openxmlformats.org/officeDocument/2006/relationships/hyperlink" Target="https://customers.microsoft.com/Pages/CustomerStory.aspx?recid=20542" TargetMode="External"/><Relationship Id="rId18" Type="http://schemas.openxmlformats.org/officeDocument/2006/relationships/image" Target="../media/image95.png"/><Relationship Id="rId26" Type="http://schemas.openxmlformats.org/officeDocument/2006/relationships/image" Target="../media/image103.png"/><Relationship Id="rId39" Type="http://schemas.openxmlformats.org/officeDocument/2006/relationships/image" Target="../media/image116.png"/><Relationship Id="rId21" Type="http://schemas.openxmlformats.org/officeDocument/2006/relationships/image" Target="../media/image98.png"/><Relationship Id="rId34" Type="http://schemas.openxmlformats.org/officeDocument/2006/relationships/image" Target="../media/image111.png"/><Relationship Id="rId42" Type="http://schemas.openxmlformats.org/officeDocument/2006/relationships/image" Target="../media/image119.gif"/><Relationship Id="rId47" Type="http://schemas.openxmlformats.org/officeDocument/2006/relationships/image" Target="../media/image124.png"/><Relationship Id="rId7" Type="http://schemas.openxmlformats.org/officeDocument/2006/relationships/hyperlink" Target="https://customers.microsoft.com/Pages/CustomerStory.aspx?recid=18356" TargetMode="External"/><Relationship Id="rId2" Type="http://schemas.openxmlformats.org/officeDocument/2006/relationships/notesSlide" Target="../notesSlides/notesSlide9.xml"/><Relationship Id="rId16" Type="http://schemas.openxmlformats.org/officeDocument/2006/relationships/image" Target="../media/image93.png"/><Relationship Id="rId29" Type="http://schemas.openxmlformats.org/officeDocument/2006/relationships/image" Target="../media/image106.png"/><Relationship Id="rId1" Type="http://schemas.openxmlformats.org/officeDocument/2006/relationships/slideLayout" Target="../slideLayouts/slideLayout44.xml"/><Relationship Id="rId6" Type="http://schemas.openxmlformats.org/officeDocument/2006/relationships/image" Target="../media/image87.png"/><Relationship Id="rId11" Type="http://schemas.openxmlformats.org/officeDocument/2006/relationships/hyperlink" Target="https://customers.microsoft.com/Pages/CustomerStory.aspx?recid=20703" TargetMode="External"/><Relationship Id="rId24" Type="http://schemas.openxmlformats.org/officeDocument/2006/relationships/image" Target="../media/image101.jpeg"/><Relationship Id="rId32" Type="http://schemas.openxmlformats.org/officeDocument/2006/relationships/image" Target="../media/image109.png"/><Relationship Id="rId37" Type="http://schemas.openxmlformats.org/officeDocument/2006/relationships/image" Target="../media/image114.png"/><Relationship Id="rId40" Type="http://schemas.openxmlformats.org/officeDocument/2006/relationships/image" Target="../media/image117.png"/><Relationship Id="rId45" Type="http://schemas.openxmlformats.org/officeDocument/2006/relationships/image" Target="../media/image122.png"/><Relationship Id="rId5" Type="http://schemas.openxmlformats.org/officeDocument/2006/relationships/hyperlink" Target="https://customers.microsoft.com/Pages/CustomerStory.aspx?recid=18945" TargetMode="External"/><Relationship Id="rId15" Type="http://schemas.openxmlformats.org/officeDocument/2006/relationships/image" Target="../media/image92.png"/><Relationship Id="rId23" Type="http://schemas.openxmlformats.org/officeDocument/2006/relationships/image" Target="../media/image100.jpeg"/><Relationship Id="rId28" Type="http://schemas.openxmlformats.org/officeDocument/2006/relationships/image" Target="../media/image105.jpeg"/><Relationship Id="rId36" Type="http://schemas.openxmlformats.org/officeDocument/2006/relationships/image" Target="../media/image113.png"/><Relationship Id="rId10" Type="http://schemas.openxmlformats.org/officeDocument/2006/relationships/image" Target="../media/image89.png"/><Relationship Id="rId19" Type="http://schemas.openxmlformats.org/officeDocument/2006/relationships/image" Target="../media/image96.png"/><Relationship Id="rId31" Type="http://schemas.openxmlformats.org/officeDocument/2006/relationships/image" Target="../media/image108.png"/><Relationship Id="rId44" Type="http://schemas.openxmlformats.org/officeDocument/2006/relationships/image" Target="../media/image121.png"/><Relationship Id="rId4" Type="http://schemas.microsoft.com/office/2007/relationships/hdphoto" Target="../media/hdphoto1.wdp"/><Relationship Id="rId9" Type="http://schemas.openxmlformats.org/officeDocument/2006/relationships/hyperlink" Target="https://customers.microsoft.com/Pages/CustomerStory.aspx?recid=8576" TargetMode="External"/><Relationship Id="rId14" Type="http://schemas.openxmlformats.org/officeDocument/2006/relationships/image" Target="../media/image91.png"/><Relationship Id="rId22" Type="http://schemas.openxmlformats.org/officeDocument/2006/relationships/image" Target="../media/image99.png"/><Relationship Id="rId27" Type="http://schemas.openxmlformats.org/officeDocument/2006/relationships/image" Target="../media/image104.png"/><Relationship Id="rId30" Type="http://schemas.openxmlformats.org/officeDocument/2006/relationships/image" Target="../media/image107.png"/><Relationship Id="rId35" Type="http://schemas.openxmlformats.org/officeDocument/2006/relationships/image" Target="../media/image112.jpeg"/><Relationship Id="rId43" Type="http://schemas.openxmlformats.org/officeDocument/2006/relationships/image" Target="../media/image120.png"/><Relationship Id="rId48" Type="http://schemas.openxmlformats.org/officeDocument/2006/relationships/image" Target="../media/image125.png"/><Relationship Id="rId8" Type="http://schemas.openxmlformats.org/officeDocument/2006/relationships/image" Target="../media/image88.png"/><Relationship Id="rId3" Type="http://schemas.openxmlformats.org/officeDocument/2006/relationships/image" Target="../media/image86.png"/><Relationship Id="rId12" Type="http://schemas.openxmlformats.org/officeDocument/2006/relationships/image" Target="../media/image90.png"/><Relationship Id="rId17" Type="http://schemas.openxmlformats.org/officeDocument/2006/relationships/image" Target="../media/image94.png"/><Relationship Id="rId25" Type="http://schemas.openxmlformats.org/officeDocument/2006/relationships/image" Target="../media/image102.png"/><Relationship Id="rId33" Type="http://schemas.openxmlformats.org/officeDocument/2006/relationships/image" Target="../media/image110.png"/><Relationship Id="rId38" Type="http://schemas.openxmlformats.org/officeDocument/2006/relationships/image" Target="../media/image115.jpeg"/><Relationship Id="rId46" Type="http://schemas.openxmlformats.org/officeDocument/2006/relationships/image" Target="../media/image123.png"/><Relationship Id="rId20" Type="http://schemas.openxmlformats.org/officeDocument/2006/relationships/image" Target="../media/image97.png"/><Relationship Id="rId41" Type="http://schemas.openxmlformats.org/officeDocument/2006/relationships/image" Target="../media/image118.png"/></Relationships>
</file>

<file path=ppt/slides/_rels/slide90.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notesSlide" Target="../notesSlides/notesSlide86.xml"/><Relationship Id="rId1" Type="http://schemas.openxmlformats.org/officeDocument/2006/relationships/slideLayout" Target="../slideLayouts/slideLayout233.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38.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250.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239.xml"/></Relationships>
</file>

<file path=ppt/slides/_rels/slide94.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90.xml"/><Relationship Id="rId1" Type="http://schemas.openxmlformats.org/officeDocument/2006/relationships/slideLayout" Target="../slideLayouts/slideLayout239.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239.xml"/></Relationships>
</file>

<file path=ppt/slides/_rels/slide96.xml.rels><?xml version="1.0" encoding="UTF-8" standalone="yes"?>
<Relationships xmlns="http://schemas.openxmlformats.org/package/2006/relationships"><Relationship Id="rId3" Type="http://schemas.openxmlformats.org/officeDocument/2006/relationships/image" Target="../media/image209.jpg"/><Relationship Id="rId2" Type="http://schemas.openxmlformats.org/officeDocument/2006/relationships/notesSlide" Target="../notesSlides/notesSlide92.xml"/><Relationship Id="rId1" Type="http://schemas.openxmlformats.org/officeDocument/2006/relationships/slideLayout" Target="../slideLayouts/slideLayout239.xml"/></Relationships>
</file>

<file path=ppt/slides/_rels/slide97.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93.xml"/><Relationship Id="rId1" Type="http://schemas.openxmlformats.org/officeDocument/2006/relationships/slideLayout" Target="../slideLayouts/slideLayout239.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250.xml"/></Relationships>
</file>

<file path=ppt/slides/_rels/slide99.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95.xml"/><Relationship Id="rId1" Type="http://schemas.openxmlformats.org/officeDocument/2006/relationships/slideLayout" Target="../slideLayouts/slideLayout23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7315200"/>
          </a:xfrm>
          <a:prstGeom prst="rect">
            <a:avLst/>
          </a:prstGeom>
        </p:spPr>
      </p:pic>
      <p:sp>
        <p:nvSpPr>
          <p:cNvPr id="3" name="Rectangle 22"/>
          <p:cNvSpPr>
            <a:spLocks noChangeArrowheads="1"/>
          </p:cNvSpPr>
          <p:nvPr/>
        </p:nvSpPr>
        <p:spPr bwMode="auto">
          <a:xfrm>
            <a:off x="988179" y="5652952"/>
            <a:ext cx="4661533"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defTabSz="1219170" fontAlgn="base">
              <a:spcBef>
                <a:spcPct val="0"/>
              </a:spcBef>
              <a:spcAft>
                <a:spcPct val="0"/>
              </a:spcAft>
            </a:pPr>
            <a:r>
              <a:rPr lang="en-US" sz="4800" kern="0" dirty="0">
                <a:solidFill>
                  <a:schemeClr val="bg1"/>
                </a:solidFill>
                <a:latin typeface="Segoe UI Light" panose="020B0502040204020203" pitchFamily="34" charset="0"/>
                <a:cs typeface="Segoe UI Light" panose="020B0502040204020203" pitchFamily="34" charset="0"/>
              </a:rPr>
              <a:t>Azure Cosmos DB</a:t>
            </a:r>
          </a:p>
        </p:txBody>
      </p:sp>
      <p:sp>
        <p:nvSpPr>
          <p:cNvPr id="8" name="TextBox 7"/>
          <p:cNvSpPr txBox="1"/>
          <p:nvPr/>
        </p:nvSpPr>
        <p:spPr>
          <a:xfrm>
            <a:off x="249498" y="6422520"/>
            <a:ext cx="4241989" cy="430887"/>
          </a:xfrm>
          <a:prstGeom prst="rect">
            <a:avLst/>
          </a:prstGeom>
          <a:noFill/>
        </p:spPr>
        <p:txBody>
          <a:bodyPr wrap="square" rtlCol="0">
            <a:spAutoFit/>
          </a:bodyPr>
          <a:lstStyle/>
          <a:p>
            <a:pPr defTabSz="1219170"/>
            <a:r>
              <a:rPr lang="en-US" sz="2200" kern="0" dirty="0">
                <a:solidFill>
                  <a:srgbClr val="00A1E3"/>
                </a:solidFill>
                <a:latin typeface="Segoe UI Light" panose="020B0502040204020203" pitchFamily="34" charset="0"/>
                <a:cs typeface="Segoe UI Light" panose="020B0502040204020203" pitchFamily="34" charset="0"/>
              </a:rPr>
              <a:t>Rimma Nehme, @</a:t>
            </a:r>
            <a:r>
              <a:rPr lang="en-US" sz="2200" kern="0" dirty="0" err="1">
                <a:solidFill>
                  <a:srgbClr val="00A1E3"/>
                </a:solidFill>
                <a:latin typeface="Segoe UI Light" panose="020B0502040204020203" pitchFamily="34" charset="0"/>
                <a:cs typeface="Segoe UI Light" panose="020B0502040204020203" pitchFamily="34" charset="0"/>
              </a:rPr>
              <a:t>rimmanehme</a:t>
            </a:r>
            <a:endParaRPr lang="en-US" sz="2200" kern="0" dirty="0">
              <a:solidFill>
                <a:srgbClr val="00A1E3"/>
              </a:solidFill>
              <a:latin typeface="Segoe UI Light" panose="020B0502040204020203" pitchFamily="34" charset="0"/>
              <a:cs typeface="Segoe UI Light" panose="020B0502040204020203" pitchFamily="34" charset="0"/>
            </a:endParaRPr>
          </a:p>
        </p:txBody>
      </p:sp>
      <p:pic>
        <p:nvPicPr>
          <p:cNvPr id="2050" name="Picture 2" descr="https://azure.microsoft.com/svghandler/cosmos-db/?width=600&amp;height=315">
            <a:extLst>
              <a:ext uri="{FF2B5EF4-FFF2-40B4-BE49-F238E27FC236}">
                <a16:creationId xmlns:a16="http://schemas.microsoft.com/office/drawing/2014/main" id="{46D087C0-54FF-4C26-89A1-9EA16495088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5779086"/>
            <a:ext cx="1166723" cy="6125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24623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BD3343B-9535-4B40-B16D-FAC201B5157C}"/>
              </a:ext>
            </a:extLst>
          </p:cNvPr>
          <p:cNvSpPr>
            <a:spLocks noGrp="1"/>
          </p:cNvSpPr>
          <p:nvPr>
            <p:ph type="title"/>
          </p:nvPr>
        </p:nvSpPr>
        <p:spPr>
          <a:xfrm>
            <a:off x="60960" y="202982"/>
            <a:ext cx="11655840" cy="899665"/>
          </a:xfrm>
        </p:spPr>
        <p:txBody>
          <a:bodyPr/>
          <a:lstStyle/>
          <a:p>
            <a:pPr algn="l"/>
            <a:r>
              <a:rPr lang="en-US" dirty="0"/>
              <a:t>Industry Use Cases </a:t>
            </a:r>
          </a:p>
        </p:txBody>
      </p:sp>
      <p:graphicFrame>
        <p:nvGraphicFramePr>
          <p:cNvPr id="2" name="Table 1">
            <a:extLst>
              <a:ext uri="{FF2B5EF4-FFF2-40B4-BE49-F238E27FC236}">
                <a16:creationId xmlns:a16="http://schemas.microsoft.com/office/drawing/2014/main" id="{CA61F0A8-B218-4863-8096-8243581FCE5C}"/>
              </a:ext>
            </a:extLst>
          </p:cNvPr>
          <p:cNvGraphicFramePr>
            <a:graphicFrameLocks noGrp="1"/>
          </p:cNvGraphicFramePr>
          <p:nvPr>
            <p:extLst/>
          </p:nvPr>
        </p:nvGraphicFramePr>
        <p:xfrm>
          <a:off x="104054" y="759424"/>
          <a:ext cx="11910608" cy="5988374"/>
        </p:xfrm>
        <a:graphic>
          <a:graphicData uri="http://schemas.openxmlformats.org/drawingml/2006/table">
            <a:tbl>
              <a:tblPr firstRow="1" bandRow="1">
                <a:tableStyleId>{5C22544A-7EE6-4342-B048-85BDC9FD1C3A}</a:tableStyleId>
              </a:tblPr>
              <a:tblGrid>
                <a:gridCol w="1386840">
                  <a:extLst>
                    <a:ext uri="{9D8B030D-6E8A-4147-A177-3AD203B41FA5}">
                      <a16:colId xmlns:a16="http://schemas.microsoft.com/office/drawing/2014/main" val="1762382734"/>
                    </a:ext>
                  </a:extLst>
                </a:gridCol>
                <a:gridCol w="2517226">
                  <a:extLst>
                    <a:ext uri="{9D8B030D-6E8A-4147-A177-3AD203B41FA5}">
                      <a16:colId xmlns:a16="http://schemas.microsoft.com/office/drawing/2014/main" val="3379883193"/>
                    </a:ext>
                  </a:extLst>
                </a:gridCol>
                <a:gridCol w="2006600">
                  <a:extLst>
                    <a:ext uri="{9D8B030D-6E8A-4147-A177-3AD203B41FA5}">
                      <a16:colId xmlns:a16="http://schemas.microsoft.com/office/drawing/2014/main" val="3584342612"/>
                    </a:ext>
                  </a:extLst>
                </a:gridCol>
                <a:gridCol w="2812156">
                  <a:extLst>
                    <a:ext uri="{9D8B030D-6E8A-4147-A177-3AD203B41FA5}">
                      <a16:colId xmlns:a16="http://schemas.microsoft.com/office/drawing/2014/main" val="789630151"/>
                    </a:ext>
                  </a:extLst>
                </a:gridCol>
                <a:gridCol w="3187786">
                  <a:extLst>
                    <a:ext uri="{9D8B030D-6E8A-4147-A177-3AD203B41FA5}">
                      <a16:colId xmlns:a16="http://schemas.microsoft.com/office/drawing/2014/main" val="1046277758"/>
                    </a:ext>
                  </a:extLst>
                </a:gridCol>
              </a:tblGrid>
              <a:tr h="354854">
                <a:tc>
                  <a:txBody>
                    <a:bodyPr/>
                    <a:lstStyle/>
                    <a:p>
                      <a:r>
                        <a:rPr lang="en-US" sz="1200" dirty="0"/>
                        <a:t>Industry </a:t>
                      </a:r>
                    </a:p>
                  </a:txBody>
                  <a:tcPr/>
                </a:tc>
                <a:tc>
                  <a:txBody>
                    <a:bodyPr/>
                    <a:lstStyle/>
                    <a:p>
                      <a:r>
                        <a:rPr lang="en-US" sz="1200" dirty="0"/>
                        <a:t>Top Challenges </a:t>
                      </a:r>
                    </a:p>
                  </a:txBody>
                  <a:tcPr/>
                </a:tc>
                <a:tc>
                  <a:txBody>
                    <a:bodyPr/>
                    <a:lstStyle/>
                    <a:p>
                      <a:r>
                        <a:rPr lang="en-US" sz="1200" dirty="0"/>
                        <a:t>Use Cases </a:t>
                      </a:r>
                    </a:p>
                  </a:txBody>
                  <a:tcPr/>
                </a:tc>
                <a:tc>
                  <a:txBody>
                    <a:bodyPr/>
                    <a:lstStyle/>
                    <a:p>
                      <a:r>
                        <a:rPr lang="en-US" sz="1200" dirty="0"/>
                        <a:t>Why Azure Cosmos DB Won </a:t>
                      </a:r>
                    </a:p>
                  </a:txBody>
                  <a:tcPr/>
                </a:tc>
                <a:tc>
                  <a:txBody>
                    <a:bodyPr/>
                    <a:lstStyle/>
                    <a:p>
                      <a:r>
                        <a:rPr lang="en-US" sz="1200" dirty="0"/>
                        <a:t>Cosmos DB Customers </a:t>
                      </a:r>
                    </a:p>
                  </a:txBody>
                  <a:tcPr/>
                </a:tc>
                <a:extLst>
                  <a:ext uri="{0D108BD9-81ED-4DB2-BD59-A6C34878D82A}">
                    <a16:rowId xmlns:a16="http://schemas.microsoft.com/office/drawing/2014/main" val="3468209326"/>
                  </a:ext>
                </a:extLst>
              </a:tr>
              <a:tr h="1201320">
                <a:tc>
                  <a:txBody>
                    <a:bodyPr/>
                    <a:lstStyle/>
                    <a:p>
                      <a:pPr lvl="0"/>
                      <a:r>
                        <a:rPr lang="en-US" sz="1400" b="1" dirty="0">
                          <a:latin typeface="+mn-lt"/>
                          <a:cs typeface="Segoe UI Semilight" panose="020B0402040204020203" pitchFamily="34" charset="0"/>
                        </a:rPr>
                        <a:t>Retail / </a:t>
                      </a:r>
                    </a:p>
                    <a:p>
                      <a:pPr lvl="0"/>
                      <a:r>
                        <a:rPr lang="en-US" sz="1400" b="1" dirty="0">
                          <a:latin typeface="+mn-lt"/>
                          <a:cs typeface="Segoe UI Semilight" panose="020B0402040204020203" pitchFamily="34" charset="0"/>
                        </a:rPr>
                        <a:t>e-commerce </a:t>
                      </a:r>
                    </a:p>
                    <a:p>
                      <a:endParaRPr lang="en-US" sz="1400" b="1" dirty="0">
                        <a:latin typeface="+mn-lt"/>
                      </a:endParaRPr>
                    </a:p>
                  </a:txBody>
                  <a:tcPr/>
                </a:tc>
                <a:tc>
                  <a:txBody>
                    <a:bodyPr/>
                    <a:lstStyle/>
                    <a:p>
                      <a:pPr marL="285750" indent="-285750">
                        <a:buFont typeface="Arial" panose="020B0604020202020204" pitchFamily="34" charset="0"/>
                        <a:buChar char="•"/>
                      </a:pPr>
                      <a:r>
                        <a:rPr lang="en-US" sz="1000" dirty="0"/>
                        <a:t>Ensure high performing app regardless of seasonal demands and peak traffic </a:t>
                      </a:r>
                    </a:p>
                    <a:p>
                      <a:pPr marL="285750" indent="-285750">
                        <a:buFont typeface="Arial" panose="020B0604020202020204" pitchFamily="34" charset="0"/>
                        <a:buChar char="•"/>
                      </a:pPr>
                      <a:r>
                        <a:rPr lang="en-US" sz="1000" dirty="0"/>
                        <a:t>Deliver differentiated customer experiences with personalization </a:t>
                      </a:r>
                    </a:p>
                    <a:p>
                      <a:pPr marL="285750" indent="-285750">
                        <a:buFont typeface="Arial" panose="020B0604020202020204" pitchFamily="34" charset="0"/>
                        <a:buChar char="•"/>
                      </a:pPr>
                      <a:r>
                        <a:rPr lang="en-US" sz="1000" dirty="0"/>
                        <a:t>Ability to be agile and ensure faster time to market</a:t>
                      </a:r>
                    </a:p>
                  </a:txBody>
                  <a:tcPr/>
                </a:tc>
                <a:tc>
                  <a:txBody>
                    <a:bodyPr/>
                    <a:lstStyle/>
                    <a:p>
                      <a:pPr marL="285750" indent="-285750">
                        <a:buFont typeface="Arial" panose="020B0604020202020204" pitchFamily="34" charset="0"/>
                        <a:buChar char="•"/>
                      </a:pPr>
                      <a:r>
                        <a:rPr lang="en-US" sz="1000" dirty="0"/>
                        <a:t>Order and payment  Processing</a:t>
                      </a:r>
                    </a:p>
                    <a:p>
                      <a:pPr marL="285750" indent="-285750">
                        <a:buFont typeface="Arial" panose="020B0604020202020204" pitchFamily="34" charset="0"/>
                        <a:buChar char="•"/>
                      </a:pPr>
                      <a:r>
                        <a:rPr lang="en-US" sz="1000" dirty="0"/>
                        <a:t>Retail-time Personalization</a:t>
                      </a:r>
                    </a:p>
                    <a:p>
                      <a:pPr marL="285750" indent="-285750">
                        <a:buFont typeface="Arial" panose="020B0604020202020204" pitchFamily="34" charset="0"/>
                        <a:buChar char="•"/>
                      </a:pPr>
                      <a:r>
                        <a:rPr lang="en-US" sz="1000" dirty="0"/>
                        <a:t>Inventory Management</a:t>
                      </a:r>
                    </a:p>
                    <a:p>
                      <a:pPr marL="285750" indent="-285750">
                        <a:buFont typeface="Arial" panose="020B0604020202020204" pitchFamily="34" charset="0"/>
                        <a:buChar char="•"/>
                      </a:pPr>
                      <a:r>
                        <a:rPr lang="en-US" sz="1000" dirty="0"/>
                        <a:t>Product Catalogs</a:t>
                      </a:r>
                    </a:p>
                  </a:txBody>
                  <a:tcPr/>
                </a:tc>
                <a:tc>
                  <a:txBody>
                    <a:bodyPr/>
                    <a:lstStyle/>
                    <a:p>
                      <a:pPr marL="285750" indent="-285750">
                        <a:buFont typeface="Arial" panose="020B0604020202020204" pitchFamily="34" charset="0"/>
                        <a:buChar char="•"/>
                      </a:pPr>
                      <a:r>
                        <a:rPr lang="en-US" sz="1000" dirty="0"/>
                        <a:t>Elastic scale to handle seasonal traffic</a:t>
                      </a:r>
                    </a:p>
                    <a:p>
                      <a:pPr marL="285750" indent="-285750">
                        <a:buFont typeface="Arial" panose="020B0604020202020204" pitchFamily="34" charset="0"/>
                        <a:buChar char="•"/>
                      </a:pPr>
                      <a:r>
                        <a:rPr lang="en-US" sz="1000" dirty="0"/>
                        <a:t>Guarantees high availability and low latency access across anywhere in the world</a:t>
                      </a:r>
                    </a:p>
                    <a:p>
                      <a:pPr marL="285750" indent="-285750">
                        <a:buFont typeface="Arial" panose="020B0604020202020204" pitchFamily="34" charset="0"/>
                        <a:buChar char="•"/>
                      </a:pPr>
                      <a:r>
                        <a:rPr lang="en-US" sz="1000" dirty="0"/>
                        <a:t>Schema-agnostic storage and automatic indexing to handle diverse product catalogs, orders, and events</a:t>
                      </a:r>
                    </a:p>
                  </a:txBody>
                  <a:tcPr/>
                </a:tc>
                <a:tc>
                  <a:txBody>
                    <a:bodyPr/>
                    <a:lstStyle/>
                    <a:p>
                      <a:endParaRPr lang="en-US" dirty="0"/>
                    </a:p>
                  </a:txBody>
                  <a:tcPr/>
                </a:tc>
                <a:extLst>
                  <a:ext uri="{0D108BD9-81ED-4DB2-BD59-A6C34878D82A}">
                    <a16:rowId xmlns:a16="http://schemas.microsoft.com/office/drawing/2014/main" val="631237934"/>
                  </a:ext>
                </a:extLst>
              </a:tr>
              <a:tr h="1201320">
                <a:tc>
                  <a:txBody>
                    <a:bodyPr/>
                    <a:lstStyle/>
                    <a:p>
                      <a:r>
                        <a:rPr lang="en-US" sz="1400" b="1" dirty="0">
                          <a:latin typeface="+mn-lt"/>
                        </a:rPr>
                        <a:t>Manufacturing /IOT</a:t>
                      </a:r>
                    </a:p>
                  </a:txBody>
                  <a:tcPr/>
                </a:tc>
                <a:tc>
                  <a:txBody>
                    <a:bodyPr/>
                    <a:lstStyle/>
                    <a:p>
                      <a:pPr marL="171450" indent="-171450">
                        <a:buFont typeface="Arial" panose="020B0604020202020204" pitchFamily="34" charset="0"/>
                        <a:buChar char="•"/>
                      </a:pPr>
                      <a:r>
                        <a:rPr lang="en-US" sz="1000" dirty="0"/>
                        <a:t>Leverage data from multiple devices to build differentiated experiences/ enhance processes or leverage for analytics  </a:t>
                      </a:r>
                    </a:p>
                    <a:p>
                      <a:pPr marL="171450" indent="-171450">
                        <a:buFont typeface="Arial" panose="020B0604020202020204" pitchFamily="34" charset="0"/>
                        <a:buChar char="•"/>
                      </a:pPr>
                      <a:r>
                        <a:rPr lang="en-US" sz="1000" dirty="0"/>
                        <a:t>Ingest huge volumes of data from multiple sources worldwide </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t>Ability to be agile and able to quickly respond to issues</a:t>
                      </a:r>
                    </a:p>
                    <a:p>
                      <a:pPr marL="171450" indent="-171450">
                        <a:buFont typeface="Arial" panose="020B0604020202020204" pitchFamily="34" charset="0"/>
                        <a:buChar char="•"/>
                      </a:pPr>
                      <a:endParaRPr lang="en-US" sz="1000" dirty="0"/>
                    </a:p>
                    <a:p>
                      <a:pPr marL="171450" indent="-171450">
                        <a:buFont typeface="Arial" panose="020B0604020202020204" pitchFamily="34" charset="0"/>
                        <a:buChar char="•"/>
                      </a:pPr>
                      <a:endParaRPr lang="en-US" sz="1000" dirty="0"/>
                    </a:p>
                    <a:p>
                      <a:pPr marL="171450" indent="-171450">
                        <a:buFont typeface="Arial" panose="020B0604020202020204" pitchFamily="34" charset="0"/>
                        <a:buChar char="•"/>
                      </a:pPr>
                      <a:endParaRPr lang="en-US" sz="1000" dirty="0"/>
                    </a:p>
                  </a:txBody>
                  <a:tcPr/>
                </a:tc>
                <a:tc>
                  <a:txBody>
                    <a:bodyPr/>
                    <a:lstStyle/>
                    <a:p>
                      <a:pPr marL="285750" indent="-285750">
                        <a:buFont typeface="Arial" panose="020B0604020202020204" pitchFamily="34" charset="0"/>
                        <a:buChar char="•"/>
                      </a:pPr>
                      <a:r>
                        <a:rPr lang="en-US" sz="1000" dirty="0"/>
                        <a:t>Device Telemetry</a:t>
                      </a:r>
                    </a:p>
                    <a:p>
                      <a:pPr marL="285750" indent="-285750">
                        <a:buFont typeface="Arial" panose="020B0604020202020204" pitchFamily="34" charset="0"/>
                        <a:buChar char="•"/>
                      </a:pPr>
                      <a:r>
                        <a:rPr lang="en-US" sz="1000" dirty="0"/>
                        <a:t>Device Registry</a:t>
                      </a:r>
                    </a:p>
                    <a:p>
                      <a:pPr marL="285750" indent="-285750">
                        <a:buFont typeface="Arial" panose="020B0604020202020204" pitchFamily="34" charset="0"/>
                        <a:buChar char="•"/>
                      </a:pPr>
                      <a:r>
                        <a:rPr lang="en-US" sz="1000" dirty="0"/>
                        <a:t>Dependency </a:t>
                      </a:r>
                    </a:p>
                    <a:p>
                      <a:endParaRPr lang="en-US" sz="1000" dirty="0"/>
                    </a:p>
                  </a:txBody>
                  <a:tcPr/>
                </a:tc>
                <a:tc>
                  <a:txBody>
                    <a:bodyPr/>
                    <a:lstStyle/>
                    <a:p>
                      <a:pPr marL="171450" indent="-171450">
                        <a:buFont typeface="Arial" panose="020B0604020202020204" pitchFamily="34" charset="0"/>
                        <a:buChar char="•"/>
                      </a:pPr>
                      <a:r>
                        <a:rPr lang="en-US" sz="1000" dirty="0"/>
                        <a:t>High scalability to ingest large # of events coming from many devices</a:t>
                      </a:r>
                    </a:p>
                    <a:p>
                      <a:pPr marL="171450" indent="-171450">
                        <a:buFont typeface="Arial" panose="020B0604020202020204" pitchFamily="34" charset="0"/>
                        <a:buChar char="•"/>
                      </a:pPr>
                      <a:r>
                        <a:rPr lang="en-US" sz="1000" dirty="0"/>
                        <a:t>Low latency queries and changes feeds for responding quickly to anomalies</a:t>
                      </a:r>
                    </a:p>
                    <a:p>
                      <a:pPr marL="171450" indent="-171450">
                        <a:buFont typeface="Arial" panose="020B0604020202020204" pitchFamily="34" charset="0"/>
                        <a:buChar char="•"/>
                      </a:pPr>
                      <a:r>
                        <a:rPr lang="en-US" sz="1000" dirty="0"/>
                        <a:t>Schema-agnostic storage and automatic indexing to support dynamic data coming from many different generations of devices</a:t>
                      </a:r>
                    </a:p>
                    <a:p>
                      <a:pPr marL="171450" indent="-171450">
                        <a:buFont typeface="Arial" panose="020B0604020202020204" pitchFamily="34" charset="0"/>
                        <a:buChar char="•"/>
                      </a:pPr>
                      <a:r>
                        <a:rPr lang="en-US" sz="1000" dirty="0"/>
                        <a:t>Guarantees high availability and low latency across multiple data centers</a:t>
                      </a:r>
                    </a:p>
                  </a:txBody>
                  <a:tcPr/>
                </a:tc>
                <a:tc>
                  <a:txBody>
                    <a:bodyPr/>
                    <a:lstStyle/>
                    <a:p>
                      <a:endParaRPr lang="en-US" dirty="0"/>
                    </a:p>
                  </a:txBody>
                  <a:tcPr/>
                </a:tc>
                <a:extLst>
                  <a:ext uri="{0D108BD9-81ED-4DB2-BD59-A6C34878D82A}">
                    <a16:rowId xmlns:a16="http://schemas.microsoft.com/office/drawing/2014/main" val="1100031154"/>
                  </a:ext>
                </a:extLst>
              </a:tr>
              <a:tr h="1201320">
                <a:tc>
                  <a:txBody>
                    <a:bodyPr/>
                    <a:lstStyle/>
                    <a:p>
                      <a:r>
                        <a:rPr lang="en-US" sz="1400" b="1" dirty="0">
                          <a:latin typeface="+mn-lt"/>
                        </a:rPr>
                        <a:t>Gaming </a:t>
                      </a:r>
                    </a:p>
                  </a:txBody>
                  <a:tcPr/>
                </a:tc>
                <a:tc>
                  <a:txBody>
                    <a:bodyPr/>
                    <a:lstStyle/>
                    <a:p>
                      <a:pPr marL="171450" indent="-171450">
                        <a:buFont typeface="Arial" panose="020B0604020202020204" pitchFamily="34" charset="0"/>
                        <a:buChar char="•"/>
                      </a:pPr>
                      <a:r>
                        <a:rPr lang="en-US" sz="1000" dirty="0"/>
                        <a:t>Ensure high quality game experience for large volumes users and handle bursts of traffic</a:t>
                      </a:r>
                    </a:p>
                    <a:p>
                      <a:pPr marL="171450" indent="-171450">
                        <a:buFont typeface="Arial" panose="020B0604020202020204" pitchFamily="34" charset="0"/>
                        <a:buChar char="•"/>
                      </a:pPr>
                      <a:r>
                        <a:rPr lang="en-US" sz="1000" dirty="0"/>
                        <a:t>Create fast and responsive gameplay for users all over the world</a:t>
                      </a:r>
                    </a:p>
                    <a:p>
                      <a:pPr marL="171450" indent="-171450">
                        <a:buFont typeface="Arial" panose="020B0604020202020204" pitchFamily="34" charset="0"/>
                        <a:buChar char="•"/>
                      </a:pPr>
                      <a:r>
                        <a:rPr lang="en-US" sz="1000" dirty="0"/>
                        <a:t>Agility to allows teams to iterate quickly to fit a demanding ship schedule</a:t>
                      </a:r>
                    </a:p>
                    <a:p>
                      <a:pPr marL="171450" indent="-171450">
                        <a:buFont typeface="Arial" panose="020B0604020202020204" pitchFamily="34" charset="0"/>
                        <a:buChar char="•"/>
                      </a:pPr>
                      <a:r>
                        <a:rPr lang="en-US" sz="1000" dirty="0"/>
                        <a:t>Support leaderboards and social gameplay</a:t>
                      </a:r>
                    </a:p>
                  </a:txBody>
                  <a:tcPr/>
                </a:tc>
                <a:tc>
                  <a:txBody>
                    <a:bodyPr/>
                    <a:lstStyle/>
                    <a:p>
                      <a:pPr marL="171450" indent="-171450">
                        <a:buFont typeface="Arial" panose="020B0604020202020204" pitchFamily="34" charset="0"/>
                        <a:buChar char="•"/>
                      </a:pPr>
                      <a:r>
                        <a:rPr lang="en-US" sz="1000" dirty="0"/>
                        <a:t>Social Clans / Guilds</a:t>
                      </a:r>
                    </a:p>
                    <a:p>
                      <a:pPr marL="171450" indent="-171450">
                        <a:buFont typeface="Arial" panose="020B0604020202020204" pitchFamily="34" charset="0"/>
                        <a:buChar char="•"/>
                      </a:pPr>
                      <a:r>
                        <a:rPr lang="en-US" sz="1000" dirty="0"/>
                        <a:t>Leaderboards</a:t>
                      </a:r>
                    </a:p>
                    <a:p>
                      <a:pPr marL="171450" indent="-171450">
                        <a:buFont typeface="Arial" panose="020B0604020202020204" pitchFamily="34" charset="0"/>
                        <a:buChar char="•"/>
                      </a:pPr>
                      <a:r>
                        <a:rPr lang="en-US" sz="1000" dirty="0"/>
                        <a:t>Messaging</a:t>
                      </a:r>
                    </a:p>
                    <a:p>
                      <a:endParaRPr lang="en-US" sz="1000" dirty="0"/>
                    </a:p>
                  </a:txBody>
                  <a:tcPr/>
                </a:tc>
                <a:tc>
                  <a:txBody>
                    <a:bodyPr/>
                    <a:lstStyle/>
                    <a:p>
                      <a:pPr marL="171450" indent="-171450">
                        <a:buFont typeface="Arial" panose="020B0604020202020204" pitchFamily="34" charset="0"/>
                        <a:buChar char="•"/>
                      </a:pPr>
                      <a:r>
                        <a:rPr lang="en-US" sz="1000" dirty="0"/>
                        <a:t>Elastic scale to handle seasonal traffic</a:t>
                      </a:r>
                    </a:p>
                    <a:p>
                      <a:pPr marL="171450" indent="-171450">
                        <a:buFont typeface="Arial" panose="020B0604020202020204" pitchFamily="34" charset="0"/>
                        <a:buChar char="•"/>
                      </a:pPr>
                      <a:r>
                        <a:rPr lang="en-US" sz="1000" dirty="0"/>
                        <a:t>Low-latency queries to support responsive gameplay for a global user-base</a:t>
                      </a:r>
                    </a:p>
                    <a:p>
                      <a:pPr marL="171450" indent="-171450">
                        <a:buFont typeface="Arial" panose="020B0604020202020204" pitchFamily="34" charset="0"/>
                        <a:buChar char="•"/>
                      </a:pPr>
                      <a:r>
                        <a:rPr lang="en-US" sz="1000" dirty="0"/>
                        <a:t>Schema-agnostic storage and indexing allows teams to iterate quickly to fit a demanding ship schedule</a:t>
                      </a:r>
                    </a:p>
                    <a:p>
                      <a:pPr marL="171450" indent="-171450">
                        <a:buFont typeface="Arial" panose="020B0604020202020204" pitchFamily="34" charset="0"/>
                        <a:buChar char="•"/>
                      </a:pPr>
                      <a:r>
                        <a:rPr lang="en-US" sz="1000" dirty="0"/>
                        <a:t>Change-feeds to support leaderboards and social gameplay</a:t>
                      </a:r>
                    </a:p>
                    <a:p>
                      <a:endParaRPr lang="en-US" sz="1000" dirty="0"/>
                    </a:p>
                  </a:txBody>
                  <a:tcPr/>
                </a:tc>
                <a:tc>
                  <a:txBody>
                    <a:bodyPr/>
                    <a:lstStyle/>
                    <a:p>
                      <a:endParaRPr lang="en-US" dirty="0"/>
                    </a:p>
                  </a:txBody>
                  <a:tcPr/>
                </a:tc>
                <a:extLst>
                  <a:ext uri="{0D108BD9-81ED-4DB2-BD59-A6C34878D82A}">
                    <a16:rowId xmlns:a16="http://schemas.microsoft.com/office/drawing/2014/main" val="2314274919"/>
                  </a:ext>
                </a:extLst>
              </a:tr>
              <a:tr h="1201320">
                <a:tc>
                  <a:txBody>
                    <a:bodyPr/>
                    <a:lstStyle/>
                    <a:p>
                      <a:r>
                        <a:rPr lang="en-US" sz="1400" b="1" dirty="0">
                          <a:latin typeface="+mn-lt"/>
                        </a:rPr>
                        <a:t>Financial Services</a:t>
                      </a:r>
                    </a:p>
                  </a:txBody>
                  <a:tcPr/>
                </a:tc>
                <a:tc>
                  <a:txBody>
                    <a:bodyPr/>
                    <a:lstStyle/>
                    <a:p>
                      <a:endParaRPr lang="en-US" sz="1000" dirty="0"/>
                    </a:p>
                  </a:txBody>
                  <a:tcPr/>
                </a:tc>
                <a:tc>
                  <a:txBody>
                    <a:bodyPr/>
                    <a:lstStyle/>
                    <a:p>
                      <a:pPr marL="285750" indent="-285750">
                        <a:buFont typeface="Arial" panose="020B0604020202020204" pitchFamily="34" charset="0"/>
                        <a:buChar char="•"/>
                      </a:pPr>
                      <a:r>
                        <a:rPr lang="en-US" sz="1000" dirty="0"/>
                        <a:t>Audit Trail</a:t>
                      </a:r>
                    </a:p>
                    <a:p>
                      <a:pPr marL="285750" indent="-285750">
                        <a:buFont typeface="Arial" panose="020B0604020202020204" pitchFamily="34" charset="0"/>
                        <a:buChar char="•"/>
                      </a:pPr>
                      <a:r>
                        <a:rPr lang="en-US" sz="1000" dirty="0"/>
                        <a:t>Tax Forms</a:t>
                      </a:r>
                    </a:p>
                    <a:p>
                      <a:pPr marL="285750" indent="-285750">
                        <a:buFont typeface="Arial" panose="020B0604020202020204" pitchFamily="34" charset="0"/>
                        <a:buChar char="•"/>
                      </a:pPr>
                      <a:r>
                        <a:rPr lang="en-US" sz="1000" dirty="0"/>
                        <a:t>Underwriting / Risk Analysis</a:t>
                      </a:r>
                    </a:p>
                  </a:txBody>
                  <a:tcPr/>
                </a:tc>
                <a:tc>
                  <a:txBody>
                    <a:bodyPr/>
                    <a:lstStyle/>
                    <a:p>
                      <a:endParaRPr lang="en-US" sz="1000" dirty="0"/>
                    </a:p>
                  </a:txBody>
                  <a:tcPr/>
                </a:tc>
                <a:tc>
                  <a:txBody>
                    <a:bodyPr/>
                    <a:lstStyle/>
                    <a:p>
                      <a:endParaRPr lang="en-US" dirty="0"/>
                    </a:p>
                  </a:txBody>
                  <a:tcPr/>
                </a:tc>
                <a:extLst>
                  <a:ext uri="{0D108BD9-81ED-4DB2-BD59-A6C34878D82A}">
                    <a16:rowId xmlns:a16="http://schemas.microsoft.com/office/drawing/2014/main" val="2267354683"/>
                  </a:ext>
                </a:extLst>
              </a:tr>
            </a:tbl>
          </a:graphicData>
        </a:graphic>
      </p:graphicFrame>
      <p:pic>
        <p:nvPicPr>
          <p:cNvPr id="6" name="Picture 10" descr="Image result for dominos logo png">
            <a:extLst>
              <a:ext uri="{FF2B5EF4-FFF2-40B4-BE49-F238E27FC236}">
                <a16:creationId xmlns:a16="http://schemas.microsoft.com/office/drawing/2014/main" id="{B0CF261B-9285-43FD-A8E7-DAEB70FDD9B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275113" y="1447184"/>
            <a:ext cx="649135" cy="64913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2" descr="Image result for walmart logo png">
            <a:extLst>
              <a:ext uri="{FF2B5EF4-FFF2-40B4-BE49-F238E27FC236}">
                <a16:creationId xmlns:a16="http://schemas.microsoft.com/office/drawing/2014/main" id="{8FD1139E-13BA-4794-98C5-ADD118D1435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334051" y="1929929"/>
            <a:ext cx="1015153" cy="24566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Image result for jet logo">
            <a:extLst>
              <a:ext uri="{FF2B5EF4-FFF2-40B4-BE49-F238E27FC236}">
                <a16:creationId xmlns:a16="http://schemas.microsoft.com/office/drawing/2014/main" id="{457646B8-6845-4481-8111-73B33DD8E08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921361" y="1422007"/>
            <a:ext cx="805434" cy="32899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Image result for sulekha.com logo png">
            <a:extLst>
              <a:ext uri="{FF2B5EF4-FFF2-40B4-BE49-F238E27FC236}">
                <a16:creationId xmlns:a16="http://schemas.microsoft.com/office/drawing/2014/main" id="{A4B75EE1-51E2-4CCC-8D55-DD06C640CB6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928092" y="1844912"/>
            <a:ext cx="1149250" cy="32868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8" descr="http://www.shaunbelding.com/customer-service-blog/wp-content/uploads/2016/07/asos-logo.jpg">
            <a:extLst>
              <a:ext uri="{FF2B5EF4-FFF2-40B4-BE49-F238E27FC236}">
                <a16:creationId xmlns:a16="http://schemas.microsoft.com/office/drawing/2014/main" id="{EAD3FBF4-4210-4EFF-8F33-204156BC0351}"/>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9053" t="13637" r="18822" b="19730"/>
          <a:stretch/>
        </p:blipFill>
        <p:spPr bwMode="auto">
          <a:xfrm>
            <a:off x="8971150" y="1457013"/>
            <a:ext cx="721911" cy="28552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8" descr="Image result for bentley systems logo png">
            <a:extLst>
              <a:ext uri="{FF2B5EF4-FFF2-40B4-BE49-F238E27FC236}">
                <a16:creationId xmlns:a16="http://schemas.microsoft.com/office/drawing/2014/main" id="{8F0BC6FE-1B80-4CA4-92BE-90E21AEF9AE4}"/>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968666" y="2494022"/>
            <a:ext cx="966084" cy="23707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32" descr="http://www.carlogos.org/logo/Rolls-Royce-text-logo-2000x600.png">
            <a:extLst>
              <a:ext uri="{FF2B5EF4-FFF2-40B4-BE49-F238E27FC236}">
                <a16:creationId xmlns:a16="http://schemas.microsoft.com/office/drawing/2014/main" id="{0654F2D0-C38F-4D5A-AE86-38EF3D7E700A}"/>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10302" t="21738" r="10345" b="22566"/>
          <a:stretch/>
        </p:blipFill>
        <p:spPr bwMode="auto">
          <a:xfrm>
            <a:off x="9093286" y="3385279"/>
            <a:ext cx="1133144" cy="23860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descr="Image result for toyota logo png">
            <a:extLst>
              <a:ext uri="{FF2B5EF4-FFF2-40B4-BE49-F238E27FC236}">
                <a16:creationId xmlns:a16="http://schemas.microsoft.com/office/drawing/2014/main" id="{07A1420B-1F6A-4501-8F5C-D066B810CE15}"/>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971150" y="2494022"/>
            <a:ext cx="588869" cy="49429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0" descr="Image result for honeywell logo png">
            <a:extLst>
              <a:ext uri="{FF2B5EF4-FFF2-40B4-BE49-F238E27FC236}">
                <a16:creationId xmlns:a16="http://schemas.microsoft.com/office/drawing/2014/main" id="{A2B84CB9-7889-431A-B8F5-BC036550F447}"/>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029632" y="2930392"/>
            <a:ext cx="939034" cy="166209"/>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Image result for schneider electric logo png">
            <a:extLst>
              <a:ext uri="{FF2B5EF4-FFF2-40B4-BE49-F238E27FC236}">
                <a16:creationId xmlns:a16="http://schemas.microsoft.com/office/drawing/2014/main" id="{24505883-6484-46C5-AAAF-5BDFAF80852B}"/>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814550" y="3383629"/>
            <a:ext cx="1179641" cy="355736"/>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6" descr="Image result for 343 studios games logo png">
            <a:extLst>
              <a:ext uri="{FF2B5EF4-FFF2-40B4-BE49-F238E27FC236}">
                <a16:creationId xmlns:a16="http://schemas.microsoft.com/office/drawing/2014/main" id="{5A241B68-377A-48E8-A91F-F9A7EBCE717A}"/>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a:stretch/>
        </p:blipFill>
        <p:spPr bwMode="auto">
          <a:xfrm>
            <a:off x="9265584" y="4756401"/>
            <a:ext cx="721329" cy="323074"/>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Gears of War logo.PNG">
            <a:extLst>
              <a:ext uri="{FF2B5EF4-FFF2-40B4-BE49-F238E27FC236}">
                <a16:creationId xmlns:a16="http://schemas.microsoft.com/office/drawing/2014/main" id="{DB60F614-B1D9-459E-BC47-65F8EE76F54F}"/>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a:stretch/>
        </p:blipFill>
        <p:spPr bwMode="auto">
          <a:xfrm>
            <a:off x="10633160" y="4606147"/>
            <a:ext cx="1142165" cy="597644"/>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Image result for next games logo png">
            <a:extLst>
              <a:ext uri="{FF2B5EF4-FFF2-40B4-BE49-F238E27FC236}">
                <a16:creationId xmlns:a16="http://schemas.microsoft.com/office/drawing/2014/main" id="{991B103B-8963-4BD3-ABE3-7EE4714DC660}"/>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a:stretch/>
        </p:blipFill>
        <p:spPr bwMode="auto">
          <a:xfrm>
            <a:off x="8959620" y="4209874"/>
            <a:ext cx="1374430" cy="32299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Image result for xbox live logo png">
            <a:extLst>
              <a:ext uri="{FF2B5EF4-FFF2-40B4-BE49-F238E27FC236}">
                <a16:creationId xmlns:a16="http://schemas.microsoft.com/office/drawing/2014/main" id="{682C6776-C541-4930-A3EE-0CF1376A14B5}"/>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a:stretch/>
        </p:blipFill>
        <p:spPr bwMode="auto">
          <a:xfrm>
            <a:off x="10625951" y="4111464"/>
            <a:ext cx="1271263" cy="45129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4" descr="Image result for jpmc logo png">
            <a:extLst>
              <a:ext uri="{FF2B5EF4-FFF2-40B4-BE49-F238E27FC236}">
                <a16:creationId xmlns:a16="http://schemas.microsoft.com/office/drawing/2014/main" id="{AD962D9C-F9CC-421C-A521-8FAAC5B72DE0}"/>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0049330" y="5682717"/>
            <a:ext cx="1870901" cy="209015"/>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0" descr="https://upload.wikimedia.org/wikipedia/commons/thumb/5/56/Deloitte.svg/2000px-Deloitte.svg.png">
            <a:extLst>
              <a:ext uri="{FF2B5EF4-FFF2-40B4-BE49-F238E27FC236}">
                <a16:creationId xmlns:a16="http://schemas.microsoft.com/office/drawing/2014/main" id="{70CD8AA5-770F-4BF7-B3A2-B23FB5F0927D}"/>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9011514" y="6400658"/>
            <a:ext cx="1097008" cy="238599"/>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4" descr="Image result for pwc logo png">
            <a:extLst>
              <a:ext uri="{FF2B5EF4-FFF2-40B4-BE49-F238E27FC236}">
                <a16:creationId xmlns:a16="http://schemas.microsoft.com/office/drawing/2014/main" id="{9635D0F3-D198-41A5-8C38-4BB30ED17335}"/>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1221508" y="6121864"/>
            <a:ext cx="713242" cy="54135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descr="Image result for fidelity investments logo">
            <a:extLst>
              <a:ext uri="{FF2B5EF4-FFF2-40B4-BE49-F238E27FC236}">
                <a16:creationId xmlns:a16="http://schemas.microsoft.com/office/drawing/2014/main" id="{39175FD0-1F71-4BFB-BBA1-AA9AFC527305}"/>
              </a:ext>
            </a:extLst>
          </p:cNvPr>
          <p:cNvPicPr>
            <a:picLocks noChangeAspect="1" noChangeArrowheads="1"/>
          </p:cNvPicPr>
          <p:nvPr/>
        </p:nvPicPr>
        <p:blipFill>
          <a:blip r:embed="rId19" cstate="print">
            <a:alphaModFix/>
            <a:extLst>
              <a:ext uri="{BEBA8EAE-BF5A-486C-A8C5-ECC9F3942E4B}">
                <a14:imgProps xmlns:a14="http://schemas.microsoft.com/office/drawing/2010/main">
                  <a14:imgLayer r:embed="rId20">
                    <a14:imgEffect>
                      <a14:backgroundRemoval t="10000" b="90000" l="10000" r="90000">
                        <a14:foregroundMark x1="27500" y1="62281" x2="27500" y2="62281"/>
                        <a14:foregroundMark x1="39091" y1="60526" x2="39091" y2="60526"/>
                        <a14:foregroundMark x1="39091" y1="60526" x2="77955" y2="64912"/>
                        <a14:foregroundMark x1="77955" y1="64912" x2="41364" y2="40351"/>
                        <a14:foregroundMark x1="41364" y1="40351" x2="77727" y2="69298"/>
                        <a14:foregroundMark x1="77727" y1="69298" x2="72500" y2="71053"/>
                        <a14:foregroundMark x1="15909" y1="44737" x2="16591" y2="24561"/>
                        <a14:foregroundMark x1="40682" y1="31579" x2="40682" y2="31579"/>
                        <a14:foregroundMark x1="43182" y1="35965" x2="79773" y2="62281"/>
                        <a14:foregroundMark x1="83537" y1="56693" x2="88636" y2="49123"/>
                        <a14:foregroundMark x1="79773" y1="62281" x2="81539" y2="59659"/>
                        <a14:backgroundMark x1="80682" y1="71053" x2="80682" y2="71053"/>
                        <a14:backgroundMark x1="83636" y1="85088" x2="83636" y2="57895"/>
                        <a14:backgroundMark x1="85227" y1="57895" x2="85227" y2="57895"/>
                        <a14:backgroundMark x1="82500" y1="57895" x2="82500" y2="56140"/>
                      </a14:backgroundRemoval>
                    </a14:imgEffect>
                  </a14:imgLayer>
                </a14:imgProps>
              </a:ext>
              <a:ext uri="{28A0092B-C50C-407E-A947-70E740481C1C}">
                <a14:useLocalDpi xmlns:a14="http://schemas.microsoft.com/office/drawing/2010/main" val="0"/>
              </a:ext>
            </a:extLst>
          </a:blip>
          <a:srcRect/>
          <a:stretch>
            <a:fillRect/>
          </a:stretch>
        </p:blipFill>
        <p:spPr bwMode="auto">
          <a:xfrm>
            <a:off x="9942812" y="6156514"/>
            <a:ext cx="1318771" cy="341681"/>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 descr="Image result for ernst and young logo">
            <a:extLst>
              <a:ext uri="{FF2B5EF4-FFF2-40B4-BE49-F238E27FC236}">
                <a16:creationId xmlns:a16="http://schemas.microsoft.com/office/drawing/2014/main" id="{5C290B17-879A-4534-94D1-14B47131D308}"/>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8811523" y="5303013"/>
            <a:ext cx="1496991" cy="11975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1167774"/>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AD61E2C-9C59-6543-9774-EA97B415316D}"/>
              </a:ext>
            </a:extLst>
          </p:cNvPr>
          <p:cNvSpPr/>
          <p:nvPr/>
        </p:nvSpPr>
        <p:spPr>
          <a:xfrm>
            <a:off x="2335238" y="4173785"/>
            <a:ext cx="9856763" cy="1015663"/>
          </a:xfrm>
          <a:prstGeom prst="rect">
            <a:avLst/>
          </a:prstGeom>
        </p:spPr>
        <p:txBody>
          <a:bodyPr wrap="square">
            <a:spAutoFit/>
          </a:bodyPr>
          <a:lstStyle/>
          <a:p>
            <a:pPr defTabSz="914367"/>
            <a:r>
              <a:rPr lang="en-US" sz="2000">
                <a:solidFill>
                  <a:srgbClr val="1A1A1A"/>
                </a:solidFill>
                <a:latin typeface="Segoe UI"/>
              </a:rPr>
              <a:t>Trick: </a:t>
            </a:r>
            <a:r>
              <a:rPr lang="en-US" sz="2000">
                <a:solidFill>
                  <a:srgbClr val="1A1A1A"/>
                </a:solidFill>
                <a:latin typeface="Segoe UI"/>
                <a:hlinkClick r:id="rId3"/>
              </a:rPr>
              <a:t>https://github.com/Azure/azure-cosmosdb-dotnet/tree/master/samples/partition-stats</a:t>
            </a:r>
            <a:endParaRPr lang="en-US" sz="2000">
              <a:solidFill>
                <a:srgbClr val="1A1A1A"/>
              </a:solidFill>
              <a:latin typeface="Segoe UI"/>
            </a:endParaRPr>
          </a:p>
          <a:p>
            <a:pPr defTabSz="914367"/>
            <a:endParaRPr lang="en-US" sz="2000">
              <a:solidFill>
                <a:srgbClr val="1A1A1A"/>
              </a:solidFill>
              <a:latin typeface="Segoe UI"/>
            </a:endParaRPr>
          </a:p>
        </p:txBody>
      </p:sp>
      <p:sp>
        <p:nvSpPr>
          <p:cNvPr id="6" name="Title 16">
            <a:extLst>
              <a:ext uri="{FF2B5EF4-FFF2-40B4-BE49-F238E27FC236}">
                <a16:creationId xmlns:a16="http://schemas.microsoft.com/office/drawing/2014/main" id="{3F70103F-0419-7D46-84DA-E740627AE2D7}"/>
              </a:ext>
            </a:extLst>
          </p:cNvPr>
          <p:cNvSpPr txBox="1">
            <a:spLocks/>
          </p:cNvSpPr>
          <p:nvPr/>
        </p:nvSpPr>
        <p:spPr>
          <a:xfrm>
            <a:off x="434411" y="1859897"/>
            <a:ext cx="11466856" cy="984885"/>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200">
                <a:gradFill>
                  <a:gsLst>
                    <a:gs pos="1250">
                      <a:srgbClr val="1A1A1A"/>
                    </a:gs>
                    <a:gs pos="100000">
                      <a:srgbClr val="1A1A1A"/>
                    </a:gs>
                  </a:gsLst>
                  <a:lin ang="5400000" scaled="0"/>
                </a:gradFill>
                <a:latin typeface="Segoe UI Semibold"/>
              </a:rPr>
              <a:t>How to efficiently retrieve the document count and storage consumed from my application?</a:t>
            </a:r>
          </a:p>
        </p:txBody>
      </p:sp>
      <p:sp>
        <p:nvSpPr>
          <p:cNvPr id="7" name="TextBox 6">
            <a:extLst>
              <a:ext uri="{FF2B5EF4-FFF2-40B4-BE49-F238E27FC236}">
                <a16:creationId xmlns:a16="http://schemas.microsoft.com/office/drawing/2014/main" id="{6BE58CF8-E856-1C4F-BEE6-46B90E5E0DEC}"/>
              </a:ext>
            </a:extLst>
          </p:cNvPr>
          <p:cNvSpPr txBox="1"/>
          <p:nvPr/>
        </p:nvSpPr>
        <p:spPr>
          <a:xfrm>
            <a:off x="1336431" y="3354264"/>
            <a:ext cx="6865034" cy="677108"/>
          </a:xfrm>
          <a:prstGeom prst="rect">
            <a:avLst/>
          </a:prstGeom>
          <a:noFill/>
        </p:spPr>
        <p:txBody>
          <a:bodyPr wrap="square" lIns="0" tIns="0" rIns="0" bIns="0" rtlCol="0">
            <a:spAutoFit/>
          </a:bodyPr>
          <a:lstStyle/>
          <a:p>
            <a:pPr defTabSz="914367"/>
            <a:r>
              <a:rPr lang="en-US" sz="2200">
                <a:gradFill>
                  <a:gsLst>
                    <a:gs pos="2917">
                      <a:srgbClr val="1A1A1A"/>
                    </a:gs>
                    <a:gs pos="30000">
                      <a:srgbClr val="1A1A1A"/>
                    </a:gs>
                  </a:gsLst>
                  <a:lin ang="5400000" scaled="0"/>
                </a:gradFill>
                <a:latin typeface="Segoe UI"/>
              </a:rPr>
              <a:t>Do I have to issue a ‘SELECT VALUE COUNT(1) from c’ query?</a:t>
            </a:r>
          </a:p>
        </p:txBody>
      </p:sp>
    </p:spTree>
    <p:extLst>
      <p:ext uri="{BB962C8B-B14F-4D97-AF65-F5344CB8AC3E}">
        <p14:creationId xmlns:p14="http://schemas.microsoft.com/office/powerpoint/2010/main" val="3336826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198EE8A2-F7E4-1348-A2B0-97E9BD6F3655}"/>
              </a:ext>
            </a:extLst>
          </p:cNvPr>
          <p:cNvGrpSpPr/>
          <p:nvPr/>
        </p:nvGrpSpPr>
        <p:grpSpPr>
          <a:xfrm>
            <a:off x="2968467" y="675641"/>
            <a:ext cx="5775482" cy="2183617"/>
            <a:chOff x="3292024" y="320430"/>
            <a:chExt cx="5775482" cy="2183617"/>
          </a:xfrm>
        </p:grpSpPr>
        <p:sp>
          <p:nvSpPr>
            <p:cNvPr id="6" name="Title 16">
              <a:extLst>
                <a:ext uri="{FF2B5EF4-FFF2-40B4-BE49-F238E27FC236}">
                  <a16:creationId xmlns:a16="http://schemas.microsoft.com/office/drawing/2014/main" id="{3F70103F-0419-7D46-84DA-E740627AE2D7}"/>
                </a:ext>
              </a:extLst>
            </p:cNvPr>
            <p:cNvSpPr txBox="1">
              <a:spLocks/>
            </p:cNvSpPr>
            <p:nvPr/>
          </p:nvSpPr>
          <p:spPr>
            <a:xfrm>
              <a:off x="3292024" y="1166016"/>
              <a:ext cx="2871497" cy="984885"/>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200">
                  <a:solidFill>
                    <a:srgbClr val="FF0000"/>
                  </a:solidFill>
                  <a:latin typeface="Segoe UI Semibold"/>
                </a:rPr>
                <a:t>Partition Skew =</a:t>
              </a:r>
            </a:p>
          </p:txBody>
        </p:sp>
        <p:pic>
          <p:nvPicPr>
            <p:cNvPr id="4" name="Picture 3">
              <a:extLst>
                <a:ext uri="{FF2B5EF4-FFF2-40B4-BE49-F238E27FC236}">
                  <a16:creationId xmlns:a16="http://schemas.microsoft.com/office/drawing/2014/main" id="{BC4044F3-542D-F04D-93B9-C16DD37CC234}"/>
                </a:ext>
              </a:extLst>
            </p:cNvPr>
            <p:cNvPicPr>
              <a:picLocks noChangeAspect="1"/>
            </p:cNvPicPr>
            <p:nvPr/>
          </p:nvPicPr>
          <p:blipFill>
            <a:blip r:embed="rId3"/>
            <a:stretch>
              <a:fillRect/>
            </a:stretch>
          </p:blipFill>
          <p:spPr>
            <a:xfrm>
              <a:off x="6163521" y="320430"/>
              <a:ext cx="2903985" cy="2183617"/>
            </a:xfrm>
            <a:prstGeom prst="rect">
              <a:avLst/>
            </a:prstGeom>
          </p:spPr>
        </p:pic>
      </p:grpSp>
      <p:sp>
        <p:nvSpPr>
          <p:cNvPr id="5" name="Rectangle 4">
            <a:extLst>
              <a:ext uri="{FF2B5EF4-FFF2-40B4-BE49-F238E27FC236}">
                <a16:creationId xmlns:a16="http://schemas.microsoft.com/office/drawing/2014/main" id="{48F24E78-44C8-3340-920E-1C1EE839169F}"/>
              </a:ext>
            </a:extLst>
          </p:cNvPr>
          <p:cNvSpPr/>
          <p:nvPr/>
        </p:nvSpPr>
        <p:spPr>
          <a:xfrm>
            <a:off x="343436" y="3746184"/>
            <a:ext cx="6105379" cy="2554545"/>
          </a:xfrm>
          <a:prstGeom prst="rect">
            <a:avLst/>
          </a:prstGeom>
        </p:spPr>
        <p:txBody>
          <a:bodyPr wrap="square">
            <a:spAutoFit/>
          </a:bodyPr>
          <a:lstStyle/>
          <a:p>
            <a:pPr defTabSz="914367" fontAlgn="base"/>
            <a:r>
              <a:rPr lang="en-US" sz="2000">
                <a:solidFill>
                  <a:srgbClr val="1A1A1A"/>
                </a:solidFill>
                <a:latin typeface="Segoe UI"/>
              </a:rPr>
              <a:t>​Choice of partition key is crucial. Choose one such that : ​</a:t>
            </a:r>
          </a:p>
          <a:p>
            <a:pPr marL="457200" indent="-457200" defTabSz="914367" fontAlgn="base">
              <a:buFont typeface="+mj-lt"/>
              <a:buAutoNum type="arabicPeriod"/>
            </a:pPr>
            <a:r>
              <a:rPr lang="en-US" sz="2000">
                <a:solidFill>
                  <a:srgbClr val="1A1A1A"/>
                </a:solidFill>
                <a:latin typeface="Segoe UI"/>
              </a:rPr>
              <a:t>Distribute data evenly​</a:t>
            </a:r>
          </a:p>
          <a:p>
            <a:pPr marL="457200" indent="-457200" defTabSz="914367" fontAlgn="base">
              <a:buFont typeface="+mj-lt"/>
              <a:buAutoNum type="arabicPeriod"/>
            </a:pPr>
            <a:r>
              <a:rPr lang="en-US" sz="2000">
                <a:solidFill>
                  <a:srgbClr val="1A1A1A"/>
                </a:solidFill>
                <a:latin typeface="Segoe UI"/>
              </a:rPr>
              <a:t>Requests are distributed equally ​</a:t>
            </a:r>
          </a:p>
          <a:p>
            <a:pPr marL="457200" indent="-457200" defTabSz="914367" fontAlgn="base">
              <a:buFont typeface="+mj-lt"/>
              <a:buAutoNum type="arabicPeriod"/>
            </a:pPr>
            <a:r>
              <a:rPr lang="en-US" sz="2000">
                <a:solidFill>
                  <a:srgbClr val="1A1A1A"/>
                </a:solidFill>
                <a:latin typeface="Segoe UI"/>
              </a:rPr>
              <a:t>Most of your queries will include these partition keys​</a:t>
            </a:r>
          </a:p>
          <a:p>
            <a:pPr marL="457200" indent="-457200" defTabSz="914367" fontAlgn="base">
              <a:buFont typeface="+mj-lt"/>
              <a:buAutoNum type="arabicPeriod"/>
            </a:pPr>
            <a:r>
              <a:rPr lang="en-US" sz="2000">
                <a:solidFill>
                  <a:srgbClr val="1A1A1A"/>
                </a:solidFill>
                <a:latin typeface="Segoe UI"/>
              </a:rPr>
              <a:t>There is a high cardinality of the key to ensure better distribution</a:t>
            </a:r>
          </a:p>
        </p:txBody>
      </p:sp>
      <p:pic>
        <p:nvPicPr>
          <p:cNvPr id="9" name="Picture 8">
            <a:extLst>
              <a:ext uri="{FF2B5EF4-FFF2-40B4-BE49-F238E27FC236}">
                <a16:creationId xmlns:a16="http://schemas.microsoft.com/office/drawing/2014/main" id="{B79A4C78-AB5C-E249-9473-E01FF8573F67}"/>
              </a:ext>
            </a:extLst>
          </p:cNvPr>
          <p:cNvPicPr>
            <a:picLocks noChangeAspect="1"/>
          </p:cNvPicPr>
          <p:nvPr/>
        </p:nvPicPr>
        <p:blipFill>
          <a:blip r:embed="rId4"/>
          <a:stretch>
            <a:fillRect/>
          </a:stretch>
        </p:blipFill>
        <p:spPr>
          <a:xfrm>
            <a:off x="6729369" y="3450121"/>
            <a:ext cx="5280384" cy="3063338"/>
          </a:xfrm>
          <a:prstGeom prst="rect">
            <a:avLst/>
          </a:prstGeom>
        </p:spPr>
      </p:pic>
      <p:cxnSp>
        <p:nvCxnSpPr>
          <p:cNvPr id="12" name="Curved Connector 11">
            <a:extLst>
              <a:ext uri="{FF2B5EF4-FFF2-40B4-BE49-F238E27FC236}">
                <a16:creationId xmlns:a16="http://schemas.microsoft.com/office/drawing/2014/main" id="{BDA90A4F-AB63-6144-9282-21BFF84ADD3F}"/>
              </a:ext>
            </a:extLst>
          </p:cNvPr>
          <p:cNvCxnSpPr>
            <a:cxnSpLocks/>
          </p:cNvCxnSpPr>
          <p:nvPr/>
        </p:nvCxnSpPr>
        <p:spPr>
          <a:xfrm>
            <a:off x="8940897" y="1767447"/>
            <a:ext cx="1272248" cy="1415366"/>
          </a:xfrm>
          <a:prstGeom prst="curvedConnector2">
            <a:avLst/>
          </a:prstGeom>
          <a:ln w="28575">
            <a:solidFill>
              <a:srgbClr val="FF0000"/>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8CE99E61-3ABE-6446-B6CF-166DE9439D84}"/>
              </a:ext>
            </a:extLst>
          </p:cNvPr>
          <p:cNvSpPr txBox="1"/>
          <p:nvPr/>
        </p:nvSpPr>
        <p:spPr>
          <a:xfrm>
            <a:off x="9955237" y="1736670"/>
            <a:ext cx="2138290" cy="553998"/>
          </a:xfrm>
          <a:prstGeom prst="rect">
            <a:avLst/>
          </a:prstGeom>
          <a:noFill/>
        </p:spPr>
        <p:txBody>
          <a:bodyPr wrap="square" lIns="0" tIns="0" rIns="0" bIns="0" rtlCol="0">
            <a:spAutoFit/>
          </a:bodyPr>
          <a:lstStyle/>
          <a:p>
            <a:pPr defTabSz="914367"/>
            <a:r>
              <a:rPr lang="en-US">
                <a:solidFill>
                  <a:srgbClr val="FF0000"/>
                </a:solidFill>
                <a:latin typeface="Segoe UI"/>
              </a:rPr>
              <a:t>Throughput &amp; latency implications</a:t>
            </a:r>
          </a:p>
        </p:txBody>
      </p:sp>
    </p:spTree>
    <p:extLst>
      <p:ext uri="{BB962C8B-B14F-4D97-AF65-F5344CB8AC3E}">
        <p14:creationId xmlns:p14="http://schemas.microsoft.com/office/powerpoint/2010/main" val="1154413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6">
            <a:extLst>
              <a:ext uri="{FF2B5EF4-FFF2-40B4-BE49-F238E27FC236}">
                <a16:creationId xmlns:a16="http://schemas.microsoft.com/office/drawing/2014/main" id="{6F86E5AB-548F-3E45-AD74-5E156EBD1FC1}"/>
              </a:ext>
            </a:extLst>
          </p:cNvPr>
          <p:cNvSpPr>
            <a:spLocks noGrp="1"/>
          </p:cNvSpPr>
          <p:nvPr>
            <p:ph type="title"/>
          </p:nvPr>
        </p:nvSpPr>
        <p:spPr>
          <a:xfrm>
            <a:off x="588263" y="685800"/>
            <a:ext cx="11018520" cy="553998"/>
          </a:xfrm>
        </p:spPr>
        <p:txBody>
          <a:bodyPr/>
          <a:lstStyle/>
          <a:p>
            <a:r>
              <a:rPr lang="en-US"/>
              <a:t>Storage – large documents – how to?</a:t>
            </a:r>
          </a:p>
        </p:txBody>
      </p:sp>
      <p:sp>
        <p:nvSpPr>
          <p:cNvPr id="23" name="Text Placeholder 5">
            <a:extLst>
              <a:ext uri="{FF2B5EF4-FFF2-40B4-BE49-F238E27FC236}">
                <a16:creationId xmlns:a16="http://schemas.microsoft.com/office/drawing/2014/main" id="{5070FE39-A636-9146-83B8-134CEBB2C5A2}"/>
              </a:ext>
            </a:extLst>
          </p:cNvPr>
          <p:cNvSpPr>
            <a:spLocks noGrp="1"/>
          </p:cNvSpPr>
          <p:nvPr>
            <p:ph type="body" sz="quarter" idx="10"/>
          </p:nvPr>
        </p:nvSpPr>
        <p:spPr>
          <a:xfrm>
            <a:off x="588263" y="1983412"/>
            <a:ext cx="10905020" cy="3767185"/>
          </a:xfrm>
        </p:spPr>
        <p:txBody>
          <a:bodyPr/>
          <a:lstStyle/>
          <a:p>
            <a:pPr marL="457200" indent="-457200">
              <a:buFont typeface="Arial" panose="020B0604020202020204" pitchFamily="34" charset="0"/>
              <a:buChar char="•"/>
            </a:pPr>
            <a:r>
              <a:rPr lang="en-US" sz="2400"/>
              <a:t>Large documents</a:t>
            </a:r>
          </a:p>
          <a:p>
            <a:pPr marL="685800" lvl="1" indent="-457200">
              <a:buFont typeface="Arial" panose="020B0604020202020204" pitchFamily="34" charset="0"/>
              <a:buChar char="•"/>
            </a:pPr>
            <a:r>
              <a:rPr lang="en-US"/>
              <a:t>Consume high RUs due to IO and indexing cost</a:t>
            </a:r>
          </a:p>
          <a:p>
            <a:pPr marL="685800" lvl="1" indent="-457200">
              <a:buFont typeface="Arial" panose="020B0604020202020204" pitchFamily="34" charset="0"/>
              <a:buChar char="•"/>
            </a:pPr>
            <a:r>
              <a:rPr lang="en-US"/>
              <a:t>Leads to partition key quota saturating fast</a:t>
            </a:r>
          </a:p>
          <a:p>
            <a:pPr marL="685800" lvl="1" indent="-457200">
              <a:buFont typeface="Arial" panose="020B0604020202020204" pitchFamily="34" charset="0"/>
              <a:buChar char="•"/>
            </a:pPr>
            <a:r>
              <a:rPr lang="en-US"/>
              <a:t>Leads to rate-limiting</a:t>
            </a:r>
          </a:p>
          <a:p>
            <a:pPr marL="457200" indent="-457200">
              <a:buFont typeface="Arial" panose="020B0604020202020204" pitchFamily="34" charset="0"/>
              <a:buChar char="•"/>
            </a:pPr>
            <a:r>
              <a:rPr lang="en-US" sz="2400"/>
              <a:t>Patterns to manage large documents</a:t>
            </a:r>
          </a:p>
          <a:p>
            <a:pPr marL="685800" lvl="1" indent="-457200">
              <a:buFont typeface="Arial" panose="020B0604020202020204" pitchFamily="34" charset="0"/>
              <a:buChar char="•"/>
            </a:pPr>
            <a:r>
              <a:rPr lang="en-US"/>
              <a:t>Storing large attributes in separate linked document/collection</a:t>
            </a:r>
          </a:p>
          <a:p>
            <a:pPr marL="685800" lvl="1" indent="-457200">
              <a:buFont typeface="Arial" panose="020B0604020202020204" pitchFamily="34" charset="0"/>
              <a:buChar char="•"/>
            </a:pPr>
            <a:r>
              <a:rPr lang="en-US"/>
              <a:t>Storing large attributes in Azure Blob Storage</a:t>
            </a:r>
          </a:p>
          <a:p>
            <a:pPr marL="685800" lvl="1" indent="-457200">
              <a:buFont typeface="Arial" panose="020B0604020202020204" pitchFamily="34" charset="0"/>
              <a:buChar char="•"/>
            </a:pPr>
            <a:r>
              <a:rPr lang="en-US"/>
              <a:t>Compress these attributes</a:t>
            </a:r>
          </a:p>
          <a:p>
            <a:pPr marL="685800" lvl="1" indent="-457200">
              <a:buFont typeface="Arial" panose="020B0604020202020204" pitchFamily="34" charset="0"/>
              <a:buChar char="•"/>
            </a:pPr>
            <a:r>
              <a:rPr lang="en-US"/>
              <a:t>Utilize a custom indexing policy, disable on subset of properties</a:t>
            </a:r>
          </a:p>
          <a:p>
            <a:pPr marL="685800" lvl="1" indent="-457200">
              <a:buFont typeface="Arial" panose="020B0604020202020204" pitchFamily="34" charset="0"/>
              <a:buChar char="•"/>
            </a:pPr>
            <a:endParaRPr lang="en-US"/>
          </a:p>
        </p:txBody>
      </p:sp>
    </p:spTree>
    <p:extLst>
      <p:ext uri="{BB962C8B-B14F-4D97-AF65-F5344CB8AC3E}">
        <p14:creationId xmlns:p14="http://schemas.microsoft.com/office/powerpoint/2010/main" val="853867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6">
            <a:extLst>
              <a:ext uri="{FF2B5EF4-FFF2-40B4-BE49-F238E27FC236}">
                <a16:creationId xmlns:a16="http://schemas.microsoft.com/office/drawing/2014/main" id="{6F86E5AB-548F-3E45-AD74-5E156EBD1FC1}"/>
              </a:ext>
            </a:extLst>
          </p:cNvPr>
          <p:cNvSpPr>
            <a:spLocks noGrp="1"/>
          </p:cNvSpPr>
          <p:nvPr>
            <p:ph type="title"/>
          </p:nvPr>
        </p:nvSpPr>
        <p:spPr>
          <a:xfrm>
            <a:off x="588263" y="685800"/>
            <a:ext cx="11018520" cy="553998"/>
          </a:xfrm>
        </p:spPr>
        <p:txBody>
          <a:bodyPr/>
          <a:lstStyle/>
          <a:p>
            <a:r>
              <a:rPr lang="en-US"/>
              <a:t>Storage – large partition keys &gt; 10GB</a:t>
            </a:r>
          </a:p>
        </p:txBody>
      </p:sp>
      <p:sp>
        <p:nvSpPr>
          <p:cNvPr id="23" name="Text Placeholder 5">
            <a:extLst>
              <a:ext uri="{FF2B5EF4-FFF2-40B4-BE49-F238E27FC236}">
                <a16:creationId xmlns:a16="http://schemas.microsoft.com/office/drawing/2014/main" id="{5070FE39-A636-9146-83B8-134CEBB2C5A2}"/>
              </a:ext>
            </a:extLst>
          </p:cNvPr>
          <p:cNvSpPr>
            <a:spLocks noGrp="1"/>
          </p:cNvSpPr>
          <p:nvPr>
            <p:ph type="body" sz="quarter" idx="10"/>
          </p:nvPr>
        </p:nvSpPr>
        <p:spPr>
          <a:xfrm>
            <a:off x="588263" y="1983412"/>
            <a:ext cx="10905020" cy="4136517"/>
          </a:xfrm>
        </p:spPr>
        <p:txBody>
          <a:bodyPr/>
          <a:lstStyle/>
          <a:p>
            <a:pPr marL="457200" indent="-457200">
              <a:buFont typeface="Arial" panose="020B0604020202020204" pitchFamily="34" charset="0"/>
              <a:buChar char="•"/>
            </a:pPr>
            <a:r>
              <a:rPr lang="en-US" sz="2400" dirty="0"/>
              <a:t>Common scenarios:</a:t>
            </a:r>
          </a:p>
          <a:p>
            <a:pPr marL="685800" lvl="1" indent="-457200">
              <a:buFont typeface="Arial" panose="020B0604020202020204" pitchFamily="34" charset="0"/>
              <a:buChar char="•"/>
            </a:pPr>
            <a:r>
              <a:rPr lang="en-US" dirty="0"/>
              <a:t>Multi-tenant applications where few tenants are very large</a:t>
            </a:r>
          </a:p>
          <a:p>
            <a:pPr marL="685800" lvl="1" indent="-457200">
              <a:buFont typeface="Arial" panose="020B0604020202020204" pitchFamily="34" charset="0"/>
              <a:buChar char="•"/>
            </a:pPr>
            <a:r>
              <a:rPr lang="en-US" dirty="0"/>
              <a:t>Router publishes telemetry at higher rate than sensors</a:t>
            </a:r>
          </a:p>
          <a:p>
            <a:pPr marL="685800" lvl="1" indent="-457200">
              <a:buFont typeface="Arial" panose="020B0604020202020204" pitchFamily="34" charset="0"/>
              <a:buChar char="•"/>
            </a:pPr>
            <a:r>
              <a:rPr lang="en-US" dirty="0"/>
              <a:t>Celebrity in social networking app, viral gaming tournament</a:t>
            </a:r>
          </a:p>
          <a:p>
            <a:pPr marL="685800" lvl="1" indent="-457200">
              <a:buFont typeface="Arial" panose="020B0604020202020204" pitchFamily="34" charset="0"/>
              <a:buChar char="•"/>
            </a:pPr>
            <a:endParaRPr lang="en-US" dirty="0"/>
          </a:p>
          <a:p>
            <a:pPr marL="457200" indent="-457200">
              <a:buFont typeface="Arial" panose="020B0604020202020204" pitchFamily="34" charset="0"/>
              <a:buChar char="•"/>
            </a:pPr>
            <a:r>
              <a:rPr lang="en-US" sz="2400" dirty="0"/>
              <a:t>Patterns to manage large partition keys</a:t>
            </a:r>
          </a:p>
          <a:p>
            <a:pPr marL="685800" lvl="1" indent="-457200">
              <a:buFont typeface="Arial" panose="020B0604020202020204" pitchFamily="34" charset="0"/>
              <a:buChar char="•"/>
            </a:pPr>
            <a:r>
              <a:rPr lang="en-US" dirty="0"/>
              <a:t>Have a surrogate partition key like tenant ID + 0-100 (</a:t>
            </a:r>
            <a:r>
              <a:rPr lang="en-US" b="1" dirty="0"/>
              <a:t>Salting</a:t>
            </a:r>
            <a:r>
              <a:rPr lang="en-US" dirty="0"/>
              <a:t>)</a:t>
            </a:r>
          </a:p>
          <a:p>
            <a:pPr marL="685800" lvl="1" indent="-457200">
              <a:buFont typeface="Arial" panose="020B0604020202020204" pitchFamily="34" charset="0"/>
              <a:buChar char="•"/>
            </a:pPr>
            <a:r>
              <a:rPr lang="en-US" dirty="0"/>
              <a:t>Use hybrid partitioning scheme for small tenants, and large tenants = 0-100</a:t>
            </a:r>
          </a:p>
          <a:p>
            <a:pPr marL="685800" lvl="1" indent="-457200">
              <a:buFont typeface="Arial" panose="020B0604020202020204" pitchFamily="34" charset="0"/>
              <a:buChar char="•"/>
            </a:pPr>
            <a:r>
              <a:rPr lang="en-US" dirty="0"/>
              <a:t>Move large tenants to their own collections</a:t>
            </a:r>
          </a:p>
          <a:p>
            <a:pPr marL="685800" lvl="1" indent="-457200">
              <a:buFont typeface="Arial" panose="020B0604020202020204" pitchFamily="34" charset="0"/>
              <a:buChar char="•"/>
            </a:pPr>
            <a:r>
              <a:rPr lang="en-US" dirty="0"/>
              <a:t>If the per-document size is large, use the patterns for large documents</a:t>
            </a:r>
          </a:p>
          <a:p>
            <a:pPr marL="685800" lvl="1" indent="-457200">
              <a:buFont typeface="Arial" panose="020B0604020202020204" pitchFamily="34" charset="0"/>
              <a:buChar char="•"/>
            </a:pPr>
            <a:endParaRPr lang="en-US" dirty="0"/>
          </a:p>
        </p:txBody>
      </p:sp>
    </p:spTree>
    <p:extLst>
      <p:ext uri="{BB962C8B-B14F-4D97-AF65-F5344CB8AC3E}">
        <p14:creationId xmlns:p14="http://schemas.microsoft.com/office/powerpoint/2010/main" val="2143164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 name="Title 16">
            <a:extLst>
              <a:ext uri="{FF2B5EF4-FFF2-40B4-BE49-F238E27FC236}">
                <a16:creationId xmlns:a16="http://schemas.microsoft.com/office/drawing/2014/main" id="{BBF91C7E-713D-DD46-9C9B-28C42005E073}"/>
              </a:ext>
            </a:extLst>
          </p:cNvPr>
          <p:cNvSpPr>
            <a:spLocks noGrp="1"/>
          </p:cNvSpPr>
          <p:nvPr>
            <p:ph type="title"/>
          </p:nvPr>
        </p:nvSpPr>
        <p:spPr>
          <a:xfrm>
            <a:off x="517924" y="545124"/>
            <a:ext cx="11018520" cy="553998"/>
          </a:xfrm>
        </p:spPr>
        <p:txBody>
          <a:bodyPr/>
          <a:lstStyle/>
          <a:p>
            <a:r>
              <a:rPr lang="en-US"/>
              <a:t>Monitoring throughput metrics</a:t>
            </a:r>
          </a:p>
        </p:txBody>
      </p:sp>
      <p:pic>
        <p:nvPicPr>
          <p:cNvPr id="3" name="Picture 2">
            <a:extLst>
              <a:ext uri="{FF2B5EF4-FFF2-40B4-BE49-F238E27FC236}">
                <a16:creationId xmlns:a16="http://schemas.microsoft.com/office/drawing/2014/main" id="{6A50F02B-FF6B-0949-BC6F-16B433B5D1F7}"/>
              </a:ext>
            </a:extLst>
          </p:cNvPr>
          <p:cNvPicPr>
            <a:picLocks noChangeAspect="1"/>
          </p:cNvPicPr>
          <p:nvPr/>
        </p:nvPicPr>
        <p:blipFill>
          <a:blip r:embed="rId3"/>
          <a:stretch>
            <a:fillRect/>
          </a:stretch>
        </p:blipFill>
        <p:spPr>
          <a:xfrm>
            <a:off x="3244956" y="1444204"/>
            <a:ext cx="5564456" cy="5343736"/>
          </a:xfrm>
          <a:prstGeom prst="rect">
            <a:avLst/>
          </a:prstGeom>
        </p:spPr>
      </p:pic>
    </p:spTree>
    <p:extLst>
      <p:ext uri="{BB962C8B-B14F-4D97-AF65-F5344CB8AC3E}">
        <p14:creationId xmlns:p14="http://schemas.microsoft.com/office/powerpoint/2010/main" val="2807844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5B5AA41-E3AD-1E47-BF2D-4260BF87712A}"/>
              </a:ext>
            </a:extLst>
          </p:cNvPr>
          <p:cNvPicPr>
            <a:picLocks noChangeAspect="1"/>
          </p:cNvPicPr>
          <p:nvPr/>
        </p:nvPicPr>
        <p:blipFill>
          <a:blip r:embed="rId3"/>
          <a:stretch>
            <a:fillRect/>
          </a:stretch>
        </p:blipFill>
        <p:spPr>
          <a:xfrm>
            <a:off x="2142166" y="2549524"/>
            <a:ext cx="658250" cy="975827"/>
          </a:xfrm>
          <a:prstGeom prst="rect">
            <a:avLst/>
          </a:prstGeom>
        </p:spPr>
      </p:pic>
      <p:pic>
        <p:nvPicPr>
          <p:cNvPr id="9" name="Picture 8">
            <a:extLst>
              <a:ext uri="{FF2B5EF4-FFF2-40B4-BE49-F238E27FC236}">
                <a16:creationId xmlns:a16="http://schemas.microsoft.com/office/drawing/2014/main" id="{47E49AB9-5A4A-8640-8762-ACB5BA3048DC}"/>
              </a:ext>
            </a:extLst>
          </p:cNvPr>
          <p:cNvPicPr>
            <a:picLocks noChangeAspect="1"/>
          </p:cNvPicPr>
          <p:nvPr/>
        </p:nvPicPr>
        <p:blipFill>
          <a:blip r:embed="rId3"/>
          <a:stretch>
            <a:fillRect/>
          </a:stretch>
        </p:blipFill>
        <p:spPr>
          <a:xfrm>
            <a:off x="2142166" y="4024881"/>
            <a:ext cx="658250" cy="975827"/>
          </a:xfrm>
          <a:prstGeom prst="rect">
            <a:avLst/>
          </a:prstGeom>
        </p:spPr>
      </p:pic>
      <p:pic>
        <p:nvPicPr>
          <p:cNvPr id="10" name="Picture 9">
            <a:extLst>
              <a:ext uri="{FF2B5EF4-FFF2-40B4-BE49-F238E27FC236}">
                <a16:creationId xmlns:a16="http://schemas.microsoft.com/office/drawing/2014/main" id="{92DF133A-970C-F140-8117-83D6EB466D9D}"/>
              </a:ext>
            </a:extLst>
          </p:cNvPr>
          <p:cNvPicPr>
            <a:picLocks noChangeAspect="1"/>
          </p:cNvPicPr>
          <p:nvPr/>
        </p:nvPicPr>
        <p:blipFill>
          <a:blip r:embed="rId3"/>
          <a:stretch>
            <a:fillRect/>
          </a:stretch>
        </p:blipFill>
        <p:spPr>
          <a:xfrm>
            <a:off x="2142166" y="5674208"/>
            <a:ext cx="658250" cy="975827"/>
          </a:xfrm>
          <a:prstGeom prst="rect">
            <a:avLst/>
          </a:prstGeom>
        </p:spPr>
      </p:pic>
      <p:pic>
        <p:nvPicPr>
          <p:cNvPr id="11" name="Picture 10">
            <a:extLst>
              <a:ext uri="{FF2B5EF4-FFF2-40B4-BE49-F238E27FC236}">
                <a16:creationId xmlns:a16="http://schemas.microsoft.com/office/drawing/2014/main" id="{D3F8CD22-237D-D94D-BA0B-AA09051F1922}"/>
              </a:ext>
            </a:extLst>
          </p:cNvPr>
          <p:cNvPicPr>
            <a:picLocks noChangeAspect="1"/>
          </p:cNvPicPr>
          <p:nvPr/>
        </p:nvPicPr>
        <p:blipFill>
          <a:blip r:embed="rId4"/>
          <a:stretch>
            <a:fillRect/>
          </a:stretch>
        </p:blipFill>
        <p:spPr>
          <a:xfrm>
            <a:off x="3748032" y="1355526"/>
            <a:ext cx="1587500" cy="838200"/>
          </a:xfrm>
          <a:prstGeom prst="rect">
            <a:avLst/>
          </a:prstGeom>
        </p:spPr>
      </p:pic>
      <p:pic>
        <p:nvPicPr>
          <p:cNvPr id="13" name="Picture 12">
            <a:extLst>
              <a:ext uri="{FF2B5EF4-FFF2-40B4-BE49-F238E27FC236}">
                <a16:creationId xmlns:a16="http://schemas.microsoft.com/office/drawing/2014/main" id="{4323E306-1E45-DB4F-A697-4AAE02AC6672}"/>
              </a:ext>
            </a:extLst>
          </p:cNvPr>
          <p:cNvPicPr>
            <a:picLocks noChangeAspect="1"/>
          </p:cNvPicPr>
          <p:nvPr/>
        </p:nvPicPr>
        <p:blipFill>
          <a:blip r:embed="rId5"/>
          <a:stretch>
            <a:fillRect/>
          </a:stretch>
        </p:blipFill>
        <p:spPr>
          <a:xfrm>
            <a:off x="9250475" y="2789973"/>
            <a:ext cx="1504329" cy="1218507"/>
          </a:xfrm>
          <a:prstGeom prst="rect">
            <a:avLst/>
          </a:prstGeom>
        </p:spPr>
      </p:pic>
      <p:cxnSp>
        <p:nvCxnSpPr>
          <p:cNvPr id="15" name="Straight Arrow Connector 14">
            <a:extLst>
              <a:ext uri="{FF2B5EF4-FFF2-40B4-BE49-F238E27FC236}">
                <a16:creationId xmlns:a16="http://schemas.microsoft.com/office/drawing/2014/main" id="{E1279046-360F-ED49-B3EE-584E99BF3F54}"/>
              </a:ext>
            </a:extLst>
          </p:cNvPr>
          <p:cNvCxnSpPr>
            <a:cxnSpLocks/>
          </p:cNvCxnSpPr>
          <p:nvPr/>
        </p:nvCxnSpPr>
        <p:spPr>
          <a:xfrm>
            <a:off x="2978446" y="3038047"/>
            <a:ext cx="2357087" cy="1474747"/>
          </a:xfrm>
          <a:prstGeom prst="straightConnector1">
            <a:avLst/>
          </a:prstGeom>
          <a:ln w="25400" cap="flat" cmpd="sng" algn="ctr">
            <a:solidFill>
              <a:schemeClr val="accent3"/>
            </a:solidFill>
            <a:prstDash val="solid"/>
            <a:round/>
            <a:headEnd type="triangle" w="med" len="med"/>
            <a:tailEnd type="arrow" w="med" len="med"/>
          </a:ln>
        </p:spPr>
        <p:style>
          <a:lnRef idx="0">
            <a:scrgbClr r="0" g="0" b="0"/>
          </a:lnRef>
          <a:fillRef idx="0">
            <a:scrgbClr r="0" g="0" b="0"/>
          </a:fillRef>
          <a:effectRef idx="0">
            <a:scrgbClr r="0" g="0" b="0"/>
          </a:effectRef>
          <a:fontRef idx="minor">
            <a:schemeClr val="tx1"/>
          </a:fontRef>
        </p:style>
      </p:cxnSp>
      <p:cxnSp>
        <p:nvCxnSpPr>
          <p:cNvPr id="17" name="Straight Arrow Connector 16">
            <a:extLst>
              <a:ext uri="{FF2B5EF4-FFF2-40B4-BE49-F238E27FC236}">
                <a16:creationId xmlns:a16="http://schemas.microsoft.com/office/drawing/2014/main" id="{7D3E80FB-EF0C-7441-9DEB-2449FF3D8379}"/>
              </a:ext>
            </a:extLst>
          </p:cNvPr>
          <p:cNvCxnSpPr>
            <a:cxnSpLocks/>
          </p:cNvCxnSpPr>
          <p:nvPr/>
        </p:nvCxnSpPr>
        <p:spPr>
          <a:xfrm>
            <a:off x="2973930" y="4497074"/>
            <a:ext cx="2361603" cy="48320"/>
          </a:xfrm>
          <a:prstGeom prst="straightConnector1">
            <a:avLst/>
          </a:prstGeom>
          <a:ln w="25400" cap="flat" cmpd="sng" algn="ctr">
            <a:solidFill>
              <a:schemeClr val="accent3"/>
            </a:solidFill>
            <a:prstDash val="solid"/>
            <a:round/>
            <a:headEnd type="triangle" w="med" len="med"/>
            <a:tailEnd type="arrow" w="med" len="med"/>
          </a:ln>
        </p:spPr>
        <p:style>
          <a:lnRef idx="0">
            <a:scrgbClr r="0" g="0" b="0"/>
          </a:lnRef>
          <a:fillRef idx="0">
            <a:scrgbClr r="0" g="0" b="0"/>
          </a:fillRef>
          <a:effectRef idx="0">
            <a:scrgbClr r="0" g="0" b="0"/>
          </a:effectRef>
          <a:fontRef idx="minor">
            <a:schemeClr val="tx1"/>
          </a:fontRef>
        </p:style>
      </p:cxnSp>
      <p:cxnSp>
        <p:nvCxnSpPr>
          <p:cNvPr id="19" name="Straight Arrow Connector 18">
            <a:extLst>
              <a:ext uri="{FF2B5EF4-FFF2-40B4-BE49-F238E27FC236}">
                <a16:creationId xmlns:a16="http://schemas.microsoft.com/office/drawing/2014/main" id="{F4C8B32E-2949-1D4F-9FB7-80506EC60727}"/>
              </a:ext>
            </a:extLst>
          </p:cNvPr>
          <p:cNvCxnSpPr>
            <a:cxnSpLocks/>
          </p:cNvCxnSpPr>
          <p:nvPr/>
        </p:nvCxnSpPr>
        <p:spPr>
          <a:xfrm flipV="1">
            <a:off x="2973930" y="4545394"/>
            <a:ext cx="2361603" cy="1682520"/>
          </a:xfrm>
          <a:prstGeom prst="straightConnector1">
            <a:avLst/>
          </a:prstGeom>
          <a:ln w="25400" cap="flat" cmpd="sng" algn="ctr">
            <a:solidFill>
              <a:schemeClr val="accent3"/>
            </a:solidFill>
            <a:prstDash val="solid"/>
            <a:round/>
            <a:headEnd type="triangle" w="med" len="med"/>
            <a:tailEnd type="arrow" w="med" len="med"/>
          </a:ln>
        </p:spPr>
        <p:style>
          <a:lnRef idx="0">
            <a:scrgbClr r="0" g="0" b="0"/>
          </a:lnRef>
          <a:fillRef idx="0">
            <a:scrgbClr r="0" g="0" b="0"/>
          </a:fillRef>
          <a:effectRef idx="0">
            <a:scrgbClr r="0" g="0" b="0"/>
          </a:effectRef>
          <a:fontRef idx="minor">
            <a:schemeClr val="tx1"/>
          </a:fontRef>
        </p:style>
      </p:cxnSp>
      <p:cxnSp>
        <p:nvCxnSpPr>
          <p:cNvPr id="21" name="Straight Arrow Connector 20">
            <a:extLst>
              <a:ext uri="{FF2B5EF4-FFF2-40B4-BE49-F238E27FC236}">
                <a16:creationId xmlns:a16="http://schemas.microsoft.com/office/drawing/2014/main" id="{46588921-F3D1-6C46-9723-F00D4BBA290C}"/>
              </a:ext>
            </a:extLst>
          </p:cNvPr>
          <p:cNvCxnSpPr>
            <a:cxnSpLocks/>
          </p:cNvCxnSpPr>
          <p:nvPr/>
        </p:nvCxnSpPr>
        <p:spPr>
          <a:xfrm>
            <a:off x="7249371" y="4512793"/>
            <a:ext cx="1589016" cy="0"/>
          </a:xfrm>
          <a:prstGeom prst="straightConnector1">
            <a:avLst/>
          </a:prstGeom>
          <a:ln w="476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23" name="Straight Arrow Connector 22">
            <a:extLst>
              <a:ext uri="{FF2B5EF4-FFF2-40B4-BE49-F238E27FC236}">
                <a16:creationId xmlns:a16="http://schemas.microsoft.com/office/drawing/2014/main" id="{4FF212F7-BB5D-AE4A-B389-26AB4932553F}"/>
              </a:ext>
            </a:extLst>
          </p:cNvPr>
          <p:cNvCxnSpPr>
            <a:cxnSpLocks/>
          </p:cNvCxnSpPr>
          <p:nvPr/>
        </p:nvCxnSpPr>
        <p:spPr>
          <a:xfrm flipV="1">
            <a:off x="2952766" y="2193726"/>
            <a:ext cx="1378866" cy="721494"/>
          </a:xfrm>
          <a:prstGeom prst="straightConnector1">
            <a:avLst/>
          </a:prstGeom>
          <a:ln w="47625" cap="flat" cmpd="sng" algn="ctr">
            <a:solidFill>
              <a:srgbClr val="92D050"/>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25" name="Straight Arrow Connector 24">
            <a:extLst>
              <a:ext uri="{FF2B5EF4-FFF2-40B4-BE49-F238E27FC236}">
                <a16:creationId xmlns:a16="http://schemas.microsoft.com/office/drawing/2014/main" id="{5F76B2CF-186C-5841-B212-21E213825305}"/>
              </a:ext>
            </a:extLst>
          </p:cNvPr>
          <p:cNvCxnSpPr>
            <a:cxnSpLocks/>
            <a:endCxn id="11" idx="2"/>
          </p:cNvCxnSpPr>
          <p:nvPr/>
        </p:nvCxnSpPr>
        <p:spPr>
          <a:xfrm flipV="1">
            <a:off x="2964946" y="2193726"/>
            <a:ext cx="1576837" cy="2175030"/>
          </a:xfrm>
          <a:prstGeom prst="straightConnector1">
            <a:avLst/>
          </a:prstGeom>
          <a:ln w="47625" cap="flat" cmpd="sng" algn="ctr">
            <a:solidFill>
              <a:srgbClr val="92D050"/>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27" name="Straight Arrow Connector 26">
            <a:extLst>
              <a:ext uri="{FF2B5EF4-FFF2-40B4-BE49-F238E27FC236}">
                <a16:creationId xmlns:a16="http://schemas.microsoft.com/office/drawing/2014/main" id="{E9ED1C7B-D4FE-7241-99C4-D53202170350}"/>
              </a:ext>
            </a:extLst>
          </p:cNvPr>
          <p:cNvCxnSpPr>
            <a:cxnSpLocks/>
          </p:cNvCxnSpPr>
          <p:nvPr/>
        </p:nvCxnSpPr>
        <p:spPr>
          <a:xfrm flipV="1">
            <a:off x="2973929" y="2193726"/>
            <a:ext cx="1862200" cy="3894496"/>
          </a:xfrm>
          <a:prstGeom prst="straightConnector1">
            <a:avLst/>
          </a:prstGeom>
          <a:ln w="47625" cap="flat" cmpd="sng" algn="ctr">
            <a:solidFill>
              <a:srgbClr val="92D050"/>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29" name="TextBox 28">
            <a:extLst>
              <a:ext uri="{FF2B5EF4-FFF2-40B4-BE49-F238E27FC236}">
                <a16:creationId xmlns:a16="http://schemas.microsoft.com/office/drawing/2014/main" id="{8A47A291-8254-B443-A50A-8A9B288D7DF1}"/>
              </a:ext>
            </a:extLst>
          </p:cNvPr>
          <p:cNvSpPr txBox="1"/>
          <p:nvPr/>
        </p:nvSpPr>
        <p:spPr>
          <a:xfrm rot="2100212">
            <a:off x="4062544" y="3637849"/>
            <a:ext cx="1304609" cy="523220"/>
          </a:xfrm>
          <a:prstGeom prst="rect">
            <a:avLst/>
          </a:prstGeom>
          <a:noFill/>
        </p:spPr>
        <p:txBody>
          <a:bodyPr wrap="square" rtlCol="0">
            <a:spAutoFit/>
          </a:bodyPr>
          <a:lstStyle/>
          <a:p>
            <a:pPr algn="ctr" defTabSz="914225">
              <a:defRPr/>
            </a:pPr>
            <a:r>
              <a:rPr lang="en-US" sz="1400" b="1" err="1">
                <a:solidFill>
                  <a:prstClr val="black"/>
                </a:solidFill>
                <a:latin typeface="Segoe UI Light" panose="020B0502040204020203" pitchFamily="34" charset="0"/>
                <a:cs typeface="Segoe UI Light" panose="020B0502040204020203" pitchFamily="34" charset="0"/>
              </a:rPr>
              <a:t>RequestCharge</a:t>
            </a:r>
            <a:endParaRPr lang="en-US" sz="1400" b="1">
              <a:solidFill>
                <a:prstClr val="black"/>
              </a:solidFill>
              <a:latin typeface="Segoe UI Light" panose="020B0502040204020203" pitchFamily="34" charset="0"/>
              <a:cs typeface="Segoe UI Light" panose="020B0502040204020203" pitchFamily="34" charset="0"/>
            </a:endParaRPr>
          </a:p>
        </p:txBody>
      </p:sp>
      <p:sp>
        <p:nvSpPr>
          <p:cNvPr id="30" name="TextBox 29">
            <a:extLst>
              <a:ext uri="{FF2B5EF4-FFF2-40B4-BE49-F238E27FC236}">
                <a16:creationId xmlns:a16="http://schemas.microsoft.com/office/drawing/2014/main" id="{28B28D15-1385-C544-A067-C616E04C27DB}"/>
              </a:ext>
            </a:extLst>
          </p:cNvPr>
          <p:cNvSpPr txBox="1"/>
          <p:nvPr/>
        </p:nvSpPr>
        <p:spPr>
          <a:xfrm rot="19397627">
            <a:off x="4130133" y="4955202"/>
            <a:ext cx="1304609" cy="307777"/>
          </a:xfrm>
          <a:prstGeom prst="rect">
            <a:avLst/>
          </a:prstGeom>
          <a:noFill/>
        </p:spPr>
        <p:txBody>
          <a:bodyPr wrap="square" rtlCol="0">
            <a:spAutoFit/>
          </a:bodyPr>
          <a:lstStyle/>
          <a:p>
            <a:pPr algn="ctr" defTabSz="914225">
              <a:defRPr/>
            </a:pPr>
            <a:r>
              <a:rPr lang="en-US" sz="1400" b="1" err="1">
                <a:solidFill>
                  <a:prstClr val="black"/>
                </a:solidFill>
                <a:latin typeface="Segoe UI Light" panose="020B0502040204020203" pitchFamily="34" charset="0"/>
                <a:cs typeface="Segoe UI Light" panose="020B0502040204020203" pitchFamily="34" charset="0"/>
              </a:rPr>
              <a:t>QueryMetrics</a:t>
            </a:r>
            <a:endParaRPr lang="en-US" sz="1400" b="1">
              <a:solidFill>
                <a:prstClr val="black"/>
              </a:solidFill>
              <a:latin typeface="Segoe UI Light" panose="020B0502040204020203" pitchFamily="34" charset="0"/>
              <a:cs typeface="Segoe UI Light" panose="020B0502040204020203" pitchFamily="34" charset="0"/>
            </a:endParaRPr>
          </a:p>
        </p:txBody>
      </p:sp>
      <p:pic>
        <p:nvPicPr>
          <p:cNvPr id="31" name="Picture 30">
            <a:extLst>
              <a:ext uri="{FF2B5EF4-FFF2-40B4-BE49-F238E27FC236}">
                <a16:creationId xmlns:a16="http://schemas.microsoft.com/office/drawing/2014/main" id="{8C4AC398-863C-4542-9677-086989AF333F}"/>
              </a:ext>
            </a:extLst>
          </p:cNvPr>
          <p:cNvPicPr>
            <a:picLocks noChangeAspect="1"/>
          </p:cNvPicPr>
          <p:nvPr/>
        </p:nvPicPr>
        <p:blipFill>
          <a:blip r:embed="rId6"/>
          <a:stretch>
            <a:fillRect/>
          </a:stretch>
        </p:blipFill>
        <p:spPr>
          <a:xfrm>
            <a:off x="9100938" y="5324957"/>
            <a:ext cx="1803400" cy="698500"/>
          </a:xfrm>
          <a:prstGeom prst="rect">
            <a:avLst/>
          </a:prstGeom>
        </p:spPr>
      </p:pic>
      <p:pic>
        <p:nvPicPr>
          <p:cNvPr id="33" name="Picture 32">
            <a:extLst>
              <a:ext uri="{FF2B5EF4-FFF2-40B4-BE49-F238E27FC236}">
                <a16:creationId xmlns:a16="http://schemas.microsoft.com/office/drawing/2014/main" id="{C2812C8E-E0B2-E246-A6F9-0F92BCFCA58D}"/>
              </a:ext>
            </a:extLst>
          </p:cNvPr>
          <p:cNvPicPr>
            <a:picLocks noChangeAspect="1"/>
          </p:cNvPicPr>
          <p:nvPr/>
        </p:nvPicPr>
        <p:blipFill>
          <a:blip r:embed="rId7"/>
          <a:stretch>
            <a:fillRect/>
          </a:stretch>
        </p:blipFill>
        <p:spPr>
          <a:xfrm>
            <a:off x="9586601" y="4140975"/>
            <a:ext cx="832074" cy="1033159"/>
          </a:xfrm>
          <a:prstGeom prst="rect">
            <a:avLst/>
          </a:prstGeom>
        </p:spPr>
      </p:pic>
      <p:sp>
        <p:nvSpPr>
          <p:cNvPr id="35" name="TextBox 34">
            <a:extLst>
              <a:ext uri="{FF2B5EF4-FFF2-40B4-BE49-F238E27FC236}">
                <a16:creationId xmlns:a16="http://schemas.microsoft.com/office/drawing/2014/main" id="{929E37FD-94A0-D148-B049-5B6A2389E774}"/>
              </a:ext>
            </a:extLst>
          </p:cNvPr>
          <p:cNvSpPr txBox="1"/>
          <p:nvPr/>
        </p:nvSpPr>
        <p:spPr>
          <a:xfrm>
            <a:off x="6683980" y="6174281"/>
            <a:ext cx="3318658" cy="738664"/>
          </a:xfrm>
          <a:prstGeom prst="rect">
            <a:avLst/>
          </a:prstGeom>
          <a:noFill/>
        </p:spPr>
        <p:txBody>
          <a:bodyPr wrap="square" rtlCol="0">
            <a:spAutoFit/>
          </a:bodyPr>
          <a:lstStyle/>
          <a:p>
            <a:pPr algn="ctr" defTabSz="914225">
              <a:defRPr/>
            </a:pPr>
            <a:r>
              <a:rPr lang="en-US" sz="1400">
                <a:solidFill>
                  <a:prstClr val="black"/>
                </a:solidFill>
                <a:latin typeface="Segoe UI Light" panose="020B0502040204020203" pitchFamily="34" charset="0"/>
                <a:cs typeface="Segoe UI Light" panose="020B0502040204020203" pitchFamily="34" charset="0"/>
              </a:rPr>
              <a:t>Part of Cosmos DB service</a:t>
            </a:r>
          </a:p>
          <a:p>
            <a:pPr algn="ctr" defTabSz="914225">
              <a:defRPr/>
            </a:pPr>
            <a:r>
              <a:rPr lang="en-US" sz="1400">
                <a:solidFill>
                  <a:prstClr val="black"/>
                </a:solidFill>
                <a:latin typeface="Segoe UI Light" panose="020B0502040204020203" pitchFamily="34" charset="0"/>
                <a:cs typeface="Segoe UI Light" panose="020B0502040204020203" pitchFamily="34" charset="0"/>
              </a:rPr>
              <a:t>Turn on diagnostic logs to be pushed to Log Analytics/</a:t>
            </a:r>
            <a:r>
              <a:rPr lang="en-US" sz="1400" err="1">
                <a:solidFill>
                  <a:prstClr val="black"/>
                </a:solidFill>
                <a:latin typeface="Segoe UI Light" panose="020B0502040204020203" pitchFamily="34" charset="0"/>
                <a:cs typeface="Segoe UI Light" panose="020B0502040204020203" pitchFamily="34" charset="0"/>
              </a:rPr>
              <a:t>EventHubs</a:t>
            </a:r>
            <a:r>
              <a:rPr lang="en-US" sz="1400">
                <a:solidFill>
                  <a:prstClr val="black"/>
                </a:solidFill>
                <a:latin typeface="Segoe UI Light" panose="020B0502040204020203" pitchFamily="34" charset="0"/>
                <a:cs typeface="Segoe UI Light" panose="020B0502040204020203" pitchFamily="34" charset="0"/>
              </a:rPr>
              <a:t>/Blob Storage</a:t>
            </a:r>
          </a:p>
        </p:txBody>
      </p:sp>
      <p:pic>
        <p:nvPicPr>
          <p:cNvPr id="36" name="Picture 35">
            <a:extLst>
              <a:ext uri="{FF2B5EF4-FFF2-40B4-BE49-F238E27FC236}">
                <a16:creationId xmlns:a16="http://schemas.microsoft.com/office/drawing/2014/main" id="{EA442BF6-1455-A747-83B5-D3231790CFD4}"/>
              </a:ext>
            </a:extLst>
          </p:cNvPr>
          <p:cNvPicPr>
            <a:picLocks noChangeAspect="1"/>
          </p:cNvPicPr>
          <p:nvPr/>
        </p:nvPicPr>
        <p:blipFill>
          <a:blip r:embed="rId8"/>
          <a:stretch>
            <a:fillRect/>
          </a:stretch>
        </p:blipFill>
        <p:spPr>
          <a:xfrm>
            <a:off x="7674833" y="1982646"/>
            <a:ext cx="965200" cy="914400"/>
          </a:xfrm>
          <a:prstGeom prst="rect">
            <a:avLst/>
          </a:prstGeom>
        </p:spPr>
      </p:pic>
      <p:cxnSp>
        <p:nvCxnSpPr>
          <p:cNvPr id="38" name="Straight Arrow Connector 37">
            <a:extLst>
              <a:ext uri="{FF2B5EF4-FFF2-40B4-BE49-F238E27FC236}">
                <a16:creationId xmlns:a16="http://schemas.microsoft.com/office/drawing/2014/main" id="{19AC02E3-6365-314E-9ACF-8B12C881FE77}"/>
              </a:ext>
            </a:extLst>
          </p:cNvPr>
          <p:cNvCxnSpPr>
            <a:cxnSpLocks/>
          </p:cNvCxnSpPr>
          <p:nvPr/>
        </p:nvCxnSpPr>
        <p:spPr>
          <a:xfrm flipV="1">
            <a:off x="7138871" y="3037437"/>
            <a:ext cx="1018563" cy="1012329"/>
          </a:xfrm>
          <a:prstGeom prst="straightConnector1">
            <a:avLst/>
          </a:prstGeom>
          <a:ln w="476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41" name="TextBox 40">
            <a:extLst>
              <a:ext uri="{FF2B5EF4-FFF2-40B4-BE49-F238E27FC236}">
                <a16:creationId xmlns:a16="http://schemas.microsoft.com/office/drawing/2014/main" id="{9B12DE62-5C98-9545-BD98-601747527D28}"/>
              </a:ext>
            </a:extLst>
          </p:cNvPr>
          <p:cNvSpPr txBox="1"/>
          <p:nvPr/>
        </p:nvSpPr>
        <p:spPr>
          <a:xfrm>
            <a:off x="1362896" y="1688033"/>
            <a:ext cx="1998085" cy="738664"/>
          </a:xfrm>
          <a:prstGeom prst="rect">
            <a:avLst/>
          </a:prstGeom>
          <a:noFill/>
        </p:spPr>
        <p:txBody>
          <a:bodyPr wrap="square" rtlCol="0">
            <a:spAutoFit/>
          </a:bodyPr>
          <a:lstStyle/>
          <a:p>
            <a:pPr algn="ctr" defTabSz="914225">
              <a:defRPr/>
            </a:pPr>
            <a:r>
              <a:rPr lang="en-US" sz="1400">
                <a:solidFill>
                  <a:prstClr val="black"/>
                </a:solidFill>
                <a:latin typeface="Segoe UI Light" panose="020B0502040204020203" pitchFamily="34" charset="0"/>
                <a:cs typeface="Segoe UI Light" panose="020B0502040204020203" pitchFamily="34" charset="0"/>
              </a:rPr>
              <a:t>Client’s responsibility of logging interested metrics to App Insights</a:t>
            </a:r>
          </a:p>
        </p:txBody>
      </p:sp>
      <p:sp>
        <p:nvSpPr>
          <p:cNvPr id="26" name="Title 16">
            <a:extLst>
              <a:ext uri="{FF2B5EF4-FFF2-40B4-BE49-F238E27FC236}">
                <a16:creationId xmlns:a16="http://schemas.microsoft.com/office/drawing/2014/main" id="{CB23582B-E506-9845-9568-DF9DD2208DBC}"/>
              </a:ext>
            </a:extLst>
          </p:cNvPr>
          <p:cNvSpPr>
            <a:spLocks noGrp="1"/>
          </p:cNvSpPr>
          <p:nvPr>
            <p:ph type="title"/>
          </p:nvPr>
        </p:nvSpPr>
        <p:spPr>
          <a:xfrm>
            <a:off x="517924" y="458283"/>
            <a:ext cx="11018520" cy="954107"/>
          </a:xfrm>
        </p:spPr>
        <p:txBody>
          <a:bodyPr/>
          <a:lstStyle/>
          <a:p>
            <a:r>
              <a:rPr lang="en-US" sz="3100"/>
              <a:t>Logging your application performance (Cosmos DB dependency)</a:t>
            </a:r>
          </a:p>
        </p:txBody>
      </p:sp>
      <p:sp>
        <p:nvSpPr>
          <p:cNvPr id="28" name="TextBox 27">
            <a:extLst>
              <a:ext uri="{FF2B5EF4-FFF2-40B4-BE49-F238E27FC236}">
                <a16:creationId xmlns:a16="http://schemas.microsoft.com/office/drawing/2014/main" id="{19D037E6-0C3F-D14B-A352-6B8EF2E3D1B4}"/>
              </a:ext>
            </a:extLst>
          </p:cNvPr>
          <p:cNvSpPr txBox="1"/>
          <p:nvPr/>
        </p:nvSpPr>
        <p:spPr>
          <a:xfrm>
            <a:off x="6126768" y="2520934"/>
            <a:ext cx="1304609" cy="400110"/>
          </a:xfrm>
          <a:prstGeom prst="rect">
            <a:avLst/>
          </a:prstGeom>
          <a:noFill/>
        </p:spPr>
        <p:txBody>
          <a:bodyPr wrap="square" rtlCol="0">
            <a:spAutoFit/>
          </a:bodyPr>
          <a:lstStyle/>
          <a:p>
            <a:pPr algn="ctr" defTabSz="914225">
              <a:defRPr/>
            </a:pPr>
            <a:r>
              <a:rPr lang="en-US" sz="2000" b="1">
                <a:solidFill>
                  <a:prstClr val="black"/>
                </a:solidFill>
                <a:latin typeface="Segoe UI Light" panose="020B0502040204020203" pitchFamily="34" charset="0"/>
                <a:cs typeface="Segoe UI Light" panose="020B0502040204020203" pitchFamily="34" charset="0"/>
              </a:rPr>
              <a:t>Alerts</a:t>
            </a:r>
          </a:p>
        </p:txBody>
      </p:sp>
      <p:cxnSp>
        <p:nvCxnSpPr>
          <p:cNvPr id="32" name="Straight Arrow Connector 31">
            <a:extLst>
              <a:ext uri="{FF2B5EF4-FFF2-40B4-BE49-F238E27FC236}">
                <a16:creationId xmlns:a16="http://schemas.microsoft.com/office/drawing/2014/main" id="{8422E6BF-86B9-7D4D-BDF2-14C8F27C61FF}"/>
              </a:ext>
            </a:extLst>
          </p:cNvPr>
          <p:cNvCxnSpPr>
            <a:cxnSpLocks/>
          </p:cNvCxnSpPr>
          <p:nvPr/>
        </p:nvCxnSpPr>
        <p:spPr>
          <a:xfrm flipV="1">
            <a:off x="6368965" y="2968016"/>
            <a:ext cx="377567" cy="902935"/>
          </a:xfrm>
          <a:prstGeom prst="straightConnector1">
            <a:avLst/>
          </a:prstGeom>
          <a:ln w="476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pic>
        <p:nvPicPr>
          <p:cNvPr id="8" name="Picture 7">
            <a:extLst>
              <a:ext uri="{FF2B5EF4-FFF2-40B4-BE49-F238E27FC236}">
                <a16:creationId xmlns:a16="http://schemas.microsoft.com/office/drawing/2014/main" id="{6E0BA1A3-54F3-2C44-82F6-3674FD5D6C48}"/>
              </a:ext>
            </a:extLst>
          </p:cNvPr>
          <p:cNvPicPr>
            <a:picLocks noChangeAspect="1"/>
          </p:cNvPicPr>
          <p:nvPr/>
        </p:nvPicPr>
        <p:blipFill>
          <a:blip r:embed="rId9"/>
          <a:stretch>
            <a:fillRect/>
          </a:stretch>
        </p:blipFill>
        <p:spPr>
          <a:xfrm>
            <a:off x="5710015" y="3939275"/>
            <a:ext cx="1234859" cy="1234859"/>
          </a:xfrm>
          <a:prstGeom prst="rect">
            <a:avLst/>
          </a:prstGeom>
        </p:spPr>
      </p:pic>
    </p:spTree>
    <p:extLst>
      <p:ext uri="{BB962C8B-B14F-4D97-AF65-F5344CB8AC3E}">
        <p14:creationId xmlns:p14="http://schemas.microsoft.com/office/powerpoint/2010/main" val="2458776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6">
            <a:extLst>
              <a:ext uri="{FF2B5EF4-FFF2-40B4-BE49-F238E27FC236}">
                <a16:creationId xmlns:a16="http://schemas.microsoft.com/office/drawing/2014/main" id="{6F86E5AB-548F-3E45-AD74-5E156EBD1FC1}"/>
              </a:ext>
            </a:extLst>
          </p:cNvPr>
          <p:cNvSpPr>
            <a:spLocks noGrp="1"/>
          </p:cNvSpPr>
          <p:nvPr>
            <p:ph type="title"/>
          </p:nvPr>
        </p:nvSpPr>
        <p:spPr>
          <a:xfrm>
            <a:off x="588263" y="685800"/>
            <a:ext cx="11018520" cy="553998"/>
          </a:xfrm>
        </p:spPr>
        <p:txBody>
          <a:bodyPr/>
          <a:lstStyle/>
          <a:p>
            <a:r>
              <a:rPr lang="en-US"/>
              <a:t>Analyzing Query Performance</a:t>
            </a:r>
          </a:p>
        </p:txBody>
      </p:sp>
      <p:pic>
        <p:nvPicPr>
          <p:cNvPr id="6" name="Picture 5">
            <a:extLst>
              <a:ext uri="{FF2B5EF4-FFF2-40B4-BE49-F238E27FC236}">
                <a16:creationId xmlns:a16="http://schemas.microsoft.com/office/drawing/2014/main" id="{AF652441-36B0-D843-913B-46F45D914F55}"/>
              </a:ext>
            </a:extLst>
          </p:cNvPr>
          <p:cNvPicPr>
            <a:picLocks noChangeAspect="1"/>
          </p:cNvPicPr>
          <p:nvPr/>
        </p:nvPicPr>
        <p:blipFill>
          <a:blip r:embed="rId3"/>
          <a:stretch>
            <a:fillRect/>
          </a:stretch>
        </p:blipFill>
        <p:spPr>
          <a:xfrm>
            <a:off x="4944229" y="2226213"/>
            <a:ext cx="6830527" cy="2845093"/>
          </a:xfrm>
          <a:prstGeom prst="rect">
            <a:avLst/>
          </a:prstGeom>
        </p:spPr>
      </p:pic>
      <p:sp>
        <p:nvSpPr>
          <p:cNvPr id="9" name="Text Placeholder 5">
            <a:extLst>
              <a:ext uri="{FF2B5EF4-FFF2-40B4-BE49-F238E27FC236}">
                <a16:creationId xmlns:a16="http://schemas.microsoft.com/office/drawing/2014/main" id="{16314D2D-2F49-DE4B-A0A0-39B147EA69DA}"/>
              </a:ext>
            </a:extLst>
          </p:cNvPr>
          <p:cNvSpPr>
            <a:spLocks noGrp="1"/>
          </p:cNvSpPr>
          <p:nvPr>
            <p:ph type="body" sz="quarter" idx="10"/>
          </p:nvPr>
        </p:nvSpPr>
        <p:spPr>
          <a:xfrm>
            <a:off x="447586" y="2356097"/>
            <a:ext cx="10905020" cy="2585323"/>
          </a:xfrm>
        </p:spPr>
        <p:txBody>
          <a:bodyPr/>
          <a:lstStyle/>
          <a:p>
            <a:pPr marL="457200" indent="-457200">
              <a:buFont typeface="Arial" panose="020B0604020202020204" pitchFamily="34" charset="0"/>
              <a:buChar char="•"/>
            </a:pPr>
            <a:r>
              <a:rPr lang="en-US" sz="2400" err="1"/>
              <a:t>QueryMetrics</a:t>
            </a:r>
            <a:endParaRPr lang="en-US" sz="2400"/>
          </a:p>
          <a:p>
            <a:pPr marL="685800" lvl="1" indent="-457200">
              <a:buFont typeface="Arial" panose="020B0604020202020204" pitchFamily="34" charset="0"/>
              <a:buChar char="•"/>
            </a:pPr>
            <a:r>
              <a:rPr lang="en-US" err="1"/>
              <a:t>RetrievedDocumentCount</a:t>
            </a:r>
            <a:endParaRPr lang="en-US"/>
          </a:p>
          <a:p>
            <a:pPr marL="685800" lvl="1" indent="-457200">
              <a:buFont typeface="Arial" panose="020B0604020202020204" pitchFamily="34" charset="0"/>
              <a:buChar char="•"/>
            </a:pPr>
            <a:r>
              <a:rPr lang="en-US" err="1"/>
              <a:t>WriteOutputTime</a:t>
            </a:r>
            <a:endParaRPr lang="en-US"/>
          </a:p>
          <a:p>
            <a:pPr marL="685800" lvl="1" indent="-457200">
              <a:buFont typeface="Arial" panose="020B0604020202020204" pitchFamily="34" charset="0"/>
              <a:buChar char="•"/>
            </a:pPr>
            <a:r>
              <a:rPr lang="en-US" err="1"/>
              <a:t>DocumentLoadTime</a:t>
            </a:r>
            <a:endParaRPr lang="en-US"/>
          </a:p>
          <a:p>
            <a:pPr marL="685800" lvl="1" indent="-457200">
              <a:buFont typeface="Arial" panose="020B0604020202020204" pitchFamily="34" charset="0"/>
              <a:buChar char="•"/>
            </a:pPr>
            <a:r>
              <a:rPr lang="en-US" err="1"/>
              <a:t>IndexLookupTime</a:t>
            </a:r>
            <a:endParaRPr lang="en-US"/>
          </a:p>
          <a:p>
            <a:pPr marL="685800" lvl="1" indent="-457200">
              <a:buFont typeface="Arial" panose="020B0604020202020204" pitchFamily="34" charset="0"/>
              <a:buChar char="•"/>
            </a:pPr>
            <a:r>
              <a:rPr lang="en-US" err="1"/>
              <a:t>UserDefinedFunctionExecutionTime</a:t>
            </a:r>
            <a:endParaRPr lang="en-US"/>
          </a:p>
          <a:p>
            <a:pPr marL="685800" lvl="1" indent="-457200">
              <a:buFont typeface="Arial" panose="020B0604020202020204" pitchFamily="34" charset="0"/>
              <a:buChar char="•"/>
            </a:pPr>
            <a:r>
              <a:rPr lang="en-US" err="1"/>
              <a:t>SystemFunctionExecutionTime</a:t>
            </a:r>
            <a:endParaRPr lang="en-US"/>
          </a:p>
        </p:txBody>
      </p:sp>
      <p:cxnSp>
        <p:nvCxnSpPr>
          <p:cNvPr id="3" name="Straight Arrow Connector 2">
            <a:extLst>
              <a:ext uri="{FF2B5EF4-FFF2-40B4-BE49-F238E27FC236}">
                <a16:creationId xmlns:a16="http://schemas.microsoft.com/office/drawing/2014/main" id="{05E43DCC-E537-CA40-8735-41116C806C13}"/>
              </a:ext>
            </a:extLst>
          </p:cNvPr>
          <p:cNvCxnSpPr/>
          <p:nvPr/>
        </p:nvCxnSpPr>
        <p:spPr>
          <a:xfrm>
            <a:off x="8257736" y="3648758"/>
            <a:ext cx="2419643" cy="2307101"/>
          </a:xfrm>
          <a:prstGeom prst="straightConnector1">
            <a:avLst/>
          </a:prstGeom>
          <a:ln w="28575">
            <a:solidFill>
              <a:srgbClr val="D83B01"/>
            </a:solidFill>
            <a:headEnd type="triangle" w="lg" len="med"/>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83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11D115D2-952F-5A46-8870-B4BE078E4B5D}"/>
              </a:ext>
            </a:extLst>
          </p:cNvPr>
          <p:cNvGraphicFramePr>
            <a:graphicFrameLocks noGrp="1"/>
          </p:cNvGraphicFramePr>
          <p:nvPr>
            <p:extLst/>
          </p:nvPr>
        </p:nvGraphicFramePr>
        <p:xfrm>
          <a:off x="1012871" y="1761728"/>
          <a:ext cx="9496436" cy="4886960"/>
        </p:xfrm>
        <a:graphic>
          <a:graphicData uri="http://schemas.openxmlformats.org/drawingml/2006/table">
            <a:tbl>
              <a:tblPr firstRow="1" bandRow="1">
                <a:tableStyleId>{5C22544A-7EE6-4342-B048-85BDC9FD1C3A}</a:tableStyleId>
              </a:tblPr>
              <a:tblGrid>
                <a:gridCol w="2374109">
                  <a:extLst>
                    <a:ext uri="{9D8B030D-6E8A-4147-A177-3AD203B41FA5}">
                      <a16:colId xmlns:a16="http://schemas.microsoft.com/office/drawing/2014/main" val="1464933577"/>
                    </a:ext>
                  </a:extLst>
                </a:gridCol>
                <a:gridCol w="2374109">
                  <a:extLst>
                    <a:ext uri="{9D8B030D-6E8A-4147-A177-3AD203B41FA5}">
                      <a16:colId xmlns:a16="http://schemas.microsoft.com/office/drawing/2014/main" val="2546812632"/>
                    </a:ext>
                  </a:extLst>
                </a:gridCol>
                <a:gridCol w="2374109">
                  <a:extLst>
                    <a:ext uri="{9D8B030D-6E8A-4147-A177-3AD203B41FA5}">
                      <a16:colId xmlns:a16="http://schemas.microsoft.com/office/drawing/2014/main" val="2429319732"/>
                    </a:ext>
                  </a:extLst>
                </a:gridCol>
                <a:gridCol w="2374109">
                  <a:extLst>
                    <a:ext uri="{9D8B030D-6E8A-4147-A177-3AD203B41FA5}">
                      <a16:colId xmlns:a16="http://schemas.microsoft.com/office/drawing/2014/main" val="3957307379"/>
                    </a:ext>
                  </a:extLst>
                </a:gridCol>
              </a:tblGrid>
              <a:tr h="370840">
                <a:tc>
                  <a:txBody>
                    <a:bodyPr/>
                    <a:lstStyle/>
                    <a:p>
                      <a:r>
                        <a:rPr lang="en-US"/>
                        <a:t>Operation Type</a:t>
                      </a:r>
                    </a:p>
                  </a:txBody>
                  <a:tcPr/>
                </a:tc>
                <a:tc>
                  <a:txBody>
                    <a:bodyPr/>
                    <a:lstStyle/>
                    <a:p>
                      <a:r>
                        <a:rPr lang="en-US"/>
                        <a:t>Average RU per op</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t>Average # op/sec</a:t>
                      </a:r>
                    </a:p>
                  </a:txBody>
                  <a:tcPr/>
                </a:tc>
                <a:tc>
                  <a:txBody>
                    <a:bodyPr/>
                    <a:lstStyle/>
                    <a:p>
                      <a:r>
                        <a:rPr lang="en-US"/>
                        <a:t>Average RU/sec need</a:t>
                      </a:r>
                    </a:p>
                  </a:txBody>
                  <a:tcPr/>
                </a:tc>
                <a:extLst>
                  <a:ext uri="{0D108BD9-81ED-4DB2-BD59-A6C34878D82A}">
                    <a16:rowId xmlns:a16="http://schemas.microsoft.com/office/drawing/2014/main" val="753286051"/>
                  </a:ext>
                </a:extLst>
              </a:tr>
              <a:tr h="370840">
                <a:tc>
                  <a:txBody>
                    <a:bodyPr/>
                    <a:lstStyle/>
                    <a:p>
                      <a:r>
                        <a:rPr lang="en-US"/>
                        <a:t>Point read – entity A</a:t>
                      </a:r>
                    </a:p>
                  </a:txBody>
                  <a:tcPr/>
                </a:tc>
                <a:tc>
                  <a:txBody>
                    <a:bodyPr/>
                    <a:lstStyle/>
                    <a:p>
                      <a:r>
                        <a:rPr lang="en-US"/>
                        <a:t>1.1</a:t>
                      </a:r>
                    </a:p>
                  </a:txBody>
                  <a:tcPr/>
                </a:tc>
                <a:tc>
                  <a:txBody>
                    <a:bodyPr/>
                    <a:lstStyle/>
                    <a:p>
                      <a:r>
                        <a:rPr lang="en-US"/>
                        <a:t>50</a:t>
                      </a:r>
                    </a:p>
                  </a:txBody>
                  <a:tcPr/>
                </a:tc>
                <a:tc>
                  <a:txBody>
                    <a:bodyPr/>
                    <a:lstStyle/>
                    <a:p>
                      <a:r>
                        <a:rPr lang="en-US"/>
                        <a:t>55</a:t>
                      </a:r>
                    </a:p>
                  </a:txBody>
                  <a:tcPr/>
                </a:tc>
                <a:extLst>
                  <a:ext uri="{0D108BD9-81ED-4DB2-BD59-A6C34878D82A}">
                    <a16:rowId xmlns:a16="http://schemas.microsoft.com/office/drawing/2014/main" val="3740253923"/>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t>Point read – entity B</a:t>
                      </a:r>
                    </a:p>
                  </a:txBody>
                  <a:tcPr/>
                </a:tc>
                <a:tc>
                  <a:txBody>
                    <a:bodyPr/>
                    <a:lstStyle/>
                    <a:p>
                      <a:r>
                        <a:rPr lang="en-US"/>
                        <a:t>1.3</a:t>
                      </a:r>
                    </a:p>
                  </a:txBody>
                  <a:tcPr/>
                </a:tc>
                <a:tc>
                  <a:txBody>
                    <a:bodyPr/>
                    <a:lstStyle/>
                    <a:p>
                      <a:r>
                        <a:rPr lang="en-US"/>
                        <a:t>75</a:t>
                      </a:r>
                    </a:p>
                  </a:txBody>
                  <a:tcPr/>
                </a:tc>
                <a:tc>
                  <a:txBody>
                    <a:bodyPr/>
                    <a:lstStyle/>
                    <a:p>
                      <a:r>
                        <a:rPr lang="en-US"/>
                        <a:t>97.5</a:t>
                      </a:r>
                    </a:p>
                  </a:txBody>
                  <a:tcPr/>
                </a:tc>
                <a:extLst>
                  <a:ext uri="{0D108BD9-81ED-4DB2-BD59-A6C34878D82A}">
                    <a16:rowId xmlns:a16="http://schemas.microsoft.com/office/drawing/2014/main" val="435473356"/>
                  </a:ext>
                </a:extLst>
              </a:tr>
              <a:tr h="370840">
                <a:tc>
                  <a:txBody>
                    <a:bodyPr/>
                    <a:lstStyle/>
                    <a:p>
                      <a:r>
                        <a:rPr lang="en-US"/>
                        <a:t>Point write – entity A</a:t>
                      </a:r>
                    </a:p>
                  </a:txBody>
                  <a:tcPr/>
                </a:tc>
                <a:tc>
                  <a:txBody>
                    <a:bodyPr/>
                    <a:lstStyle/>
                    <a:p>
                      <a:r>
                        <a:rPr lang="en-US"/>
                        <a:t>5.2</a:t>
                      </a:r>
                    </a:p>
                  </a:txBody>
                  <a:tcPr/>
                </a:tc>
                <a:tc>
                  <a:txBody>
                    <a:bodyPr/>
                    <a:lstStyle/>
                    <a:p>
                      <a:r>
                        <a:rPr lang="en-US"/>
                        <a:t>100</a:t>
                      </a:r>
                    </a:p>
                  </a:txBody>
                  <a:tcPr/>
                </a:tc>
                <a:tc>
                  <a:txBody>
                    <a:bodyPr/>
                    <a:lstStyle/>
                    <a:p>
                      <a:r>
                        <a:rPr lang="en-US"/>
                        <a:t>520</a:t>
                      </a:r>
                    </a:p>
                  </a:txBody>
                  <a:tcPr/>
                </a:tc>
                <a:extLst>
                  <a:ext uri="{0D108BD9-81ED-4DB2-BD59-A6C34878D82A}">
                    <a16:rowId xmlns:a16="http://schemas.microsoft.com/office/drawing/2014/main" val="3655307497"/>
                  </a:ext>
                </a:extLst>
              </a:tr>
              <a:tr h="370840">
                <a:tc>
                  <a:txBody>
                    <a:bodyPr/>
                    <a:lstStyle/>
                    <a:p>
                      <a:r>
                        <a:rPr lang="en-US"/>
                        <a:t>Point write – entity B</a:t>
                      </a:r>
                    </a:p>
                  </a:txBody>
                  <a:tcPr/>
                </a:tc>
                <a:tc>
                  <a:txBody>
                    <a:bodyPr/>
                    <a:lstStyle/>
                    <a:p>
                      <a:r>
                        <a:rPr lang="en-US"/>
                        <a:t>6.5</a:t>
                      </a:r>
                    </a:p>
                  </a:txBody>
                  <a:tcPr/>
                </a:tc>
                <a:tc>
                  <a:txBody>
                    <a:bodyPr/>
                    <a:lstStyle/>
                    <a:p>
                      <a:r>
                        <a:rPr lang="en-US"/>
                        <a:t>350</a:t>
                      </a:r>
                    </a:p>
                  </a:txBody>
                  <a:tcPr/>
                </a:tc>
                <a:tc>
                  <a:txBody>
                    <a:bodyPr/>
                    <a:lstStyle/>
                    <a:p>
                      <a:r>
                        <a:rPr lang="en-US"/>
                        <a:t>845</a:t>
                      </a:r>
                    </a:p>
                  </a:txBody>
                  <a:tcPr/>
                </a:tc>
                <a:extLst>
                  <a:ext uri="{0D108BD9-81ED-4DB2-BD59-A6C34878D82A}">
                    <a16:rowId xmlns:a16="http://schemas.microsoft.com/office/drawing/2014/main" val="3400761909"/>
                  </a:ext>
                </a:extLst>
              </a:tr>
              <a:tr h="370840">
                <a:tc>
                  <a:txBody>
                    <a:bodyPr/>
                    <a:lstStyle/>
                    <a:p>
                      <a:r>
                        <a:rPr lang="en-US"/>
                        <a:t>Point update - entity A</a:t>
                      </a:r>
                    </a:p>
                  </a:txBody>
                  <a:tcPr/>
                </a:tc>
                <a:tc>
                  <a:txBody>
                    <a:bodyPr/>
                    <a:lstStyle/>
                    <a:p>
                      <a:r>
                        <a:rPr lang="en-US"/>
                        <a:t>10</a:t>
                      </a:r>
                    </a:p>
                  </a:txBody>
                  <a:tcPr/>
                </a:tc>
                <a:tc>
                  <a:txBody>
                    <a:bodyPr/>
                    <a:lstStyle/>
                    <a:p>
                      <a:r>
                        <a:rPr lang="en-US"/>
                        <a:t>20</a:t>
                      </a:r>
                    </a:p>
                  </a:txBody>
                  <a:tcPr/>
                </a:tc>
                <a:tc>
                  <a:txBody>
                    <a:bodyPr/>
                    <a:lstStyle/>
                    <a:p>
                      <a:r>
                        <a:rPr lang="en-US"/>
                        <a:t>200</a:t>
                      </a:r>
                    </a:p>
                  </a:txBody>
                  <a:tcPr/>
                </a:tc>
                <a:extLst>
                  <a:ext uri="{0D108BD9-81ED-4DB2-BD59-A6C34878D82A}">
                    <a16:rowId xmlns:a16="http://schemas.microsoft.com/office/drawing/2014/main" val="181361777"/>
                  </a:ext>
                </a:extLst>
              </a:tr>
              <a:tr h="370840">
                <a:tc>
                  <a:txBody>
                    <a:bodyPr/>
                    <a:lstStyle/>
                    <a:p>
                      <a:r>
                        <a:rPr lang="en-US"/>
                        <a:t>Point delete – entity B</a:t>
                      </a:r>
                    </a:p>
                  </a:txBody>
                  <a:tcPr/>
                </a:tc>
                <a:tc>
                  <a:txBody>
                    <a:bodyPr/>
                    <a:lstStyle/>
                    <a:p>
                      <a:r>
                        <a:rPr lang="en-US"/>
                        <a:t>4</a:t>
                      </a:r>
                    </a:p>
                  </a:txBody>
                  <a:tcPr/>
                </a:tc>
                <a:tc>
                  <a:txBody>
                    <a:bodyPr/>
                    <a:lstStyle/>
                    <a:p>
                      <a:r>
                        <a:rPr lang="en-US"/>
                        <a:t>30</a:t>
                      </a:r>
                    </a:p>
                  </a:txBody>
                  <a:tcPr/>
                </a:tc>
                <a:tc>
                  <a:txBody>
                    <a:bodyPr/>
                    <a:lstStyle/>
                    <a:p>
                      <a:r>
                        <a:rPr lang="en-US"/>
                        <a:t>120</a:t>
                      </a:r>
                    </a:p>
                  </a:txBody>
                  <a:tcPr/>
                </a:tc>
                <a:extLst>
                  <a:ext uri="{0D108BD9-81ED-4DB2-BD59-A6C34878D82A}">
                    <a16:rowId xmlns:a16="http://schemas.microsoft.com/office/drawing/2014/main" val="844004151"/>
                  </a:ext>
                </a:extLst>
              </a:tr>
              <a:tr h="370840">
                <a:tc>
                  <a:txBody>
                    <a:bodyPr/>
                    <a:lstStyle/>
                    <a:p>
                      <a:r>
                        <a:rPr lang="en-US"/>
                        <a:t>Query - type 1</a:t>
                      </a:r>
                    </a:p>
                  </a:txBody>
                  <a:tcPr/>
                </a:tc>
                <a:tc>
                  <a:txBody>
                    <a:bodyPr/>
                    <a:lstStyle/>
                    <a:p>
                      <a:r>
                        <a:rPr lang="en-US"/>
                        <a:t>35</a:t>
                      </a:r>
                    </a:p>
                  </a:txBody>
                  <a:tcPr/>
                </a:tc>
                <a:tc>
                  <a:txBody>
                    <a:bodyPr/>
                    <a:lstStyle/>
                    <a:p>
                      <a:r>
                        <a:rPr lang="en-US"/>
                        <a:t>1</a:t>
                      </a:r>
                    </a:p>
                  </a:txBody>
                  <a:tcPr/>
                </a:tc>
                <a:tc>
                  <a:txBody>
                    <a:bodyPr/>
                    <a:lstStyle/>
                    <a:p>
                      <a:r>
                        <a:rPr lang="en-US"/>
                        <a:t>35</a:t>
                      </a:r>
                    </a:p>
                  </a:txBody>
                  <a:tcPr/>
                </a:tc>
                <a:extLst>
                  <a:ext uri="{0D108BD9-81ED-4DB2-BD59-A6C34878D82A}">
                    <a16:rowId xmlns:a16="http://schemas.microsoft.com/office/drawing/2014/main" val="1197337269"/>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t>Query - type 2</a:t>
                      </a:r>
                    </a:p>
                  </a:txBody>
                  <a:tcPr/>
                </a:tc>
                <a:tc>
                  <a:txBody>
                    <a:bodyPr/>
                    <a:lstStyle/>
                    <a:p>
                      <a:r>
                        <a:rPr lang="en-US"/>
                        <a:t>..</a:t>
                      </a:r>
                    </a:p>
                  </a:txBody>
                  <a:tcPr/>
                </a:tc>
                <a:tc>
                  <a:txBody>
                    <a:bodyPr/>
                    <a:lstStyle/>
                    <a:p>
                      <a:r>
                        <a:rPr lang="en-US"/>
                        <a:t>..</a:t>
                      </a:r>
                    </a:p>
                  </a:txBody>
                  <a:tcPr/>
                </a:tc>
                <a:tc>
                  <a:txBody>
                    <a:bodyPr/>
                    <a:lstStyle/>
                    <a:p>
                      <a:r>
                        <a:rPr lang="en-US"/>
                        <a:t>..</a:t>
                      </a:r>
                    </a:p>
                  </a:txBody>
                  <a:tcPr/>
                </a:tc>
                <a:extLst>
                  <a:ext uri="{0D108BD9-81ED-4DB2-BD59-A6C34878D82A}">
                    <a16:rowId xmlns:a16="http://schemas.microsoft.com/office/drawing/2014/main" val="3737990380"/>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t>Read feed</a:t>
                      </a:r>
                    </a:p>
                  </a:txBody>
                  <a:tcPr/>
                </a:tc>
                <a:tc>
                  <a:txBody>
                    <a:bodyPr/>
                    <a:lstStyle/>
                    <a:p>
                      <a:r>
                        <a:rPr lang="en-US"/>
                        <a:t>..</a:t>
                      </a:r>
                    </a:p>
                  </a:txBody>
                  <a:tcPr/>
                </a:tc>
                <a:tc>
                  <a:txBody>
                    <a:bodyPr/>
                    <a:lstStyle/>
                    <a:p>
                      <a:r>
                        <a:rPr lang="en-US"/>
                        <a:t>..</a:t>
                      </a:r>
                    </a:p>
                  </a:txBody>
                  <a:tcPr/>
                </a:tc>
                <a:tc>
                  <a:txBody>
                    <a:bodyPr/>
                    <a:lstStyle/>
                    <a:p>
                      <a:r>
                        <a:rPr lang="en-US"/>
                        <a:t>..</a:t>
                      </a:r>
                    </a:p>
                  </a:txBody>
                  <a:tcPr/>
                </a:tc>
                <a:extLst>
                  <a:ext uri="{0D108BD9-81ED-4DB2-BD59-A6C34878D82A}">
                    <a16:rowId xmlns:a16="http://schemas.microsoft.com/office/drawing/2014/main" val="3732049884"/>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a:t>..</a:t>
                      </a:r>
                    </a:p>
                  </a:txBody>
                  <a:tcPr/>
                </a:tc>
                <a:tc>
                  <a:txBody>
                    <a:bodyPr/>
                    <a:lstStyle/>
                    <a:p>
                      <a:r>
                        <a:rPr lang="en-US"/>
                        <a:t>..</a:t>
                      </a:r>
                    </a:p>
                  </a:txBody>
                  <a:tcPr/>
                </a:tc>
                <a:tc>
                  <a:txBody>
                    <a:bodyPr/>
                    <a:lstStyle/>
                    <a:p>
                      <a:r>
                        <a:rPr lang="en-US"/>
                        <a:t>..</a:t>
                      </a:r>
                    </a:p>
                  </a:txBody>
                  <a:tcPr/>
                </a:tc>
                <a:tc>
                  <a:txBody>
                    <a:bodyPr/>
                    <a:lstStyle/>
                    <a:p>
                      <a:r>
                        <a:rPr lang="en-US"/>
                        <a:t>..</a:t>
                      </a:r>
                    </a:p>
                  </a:txBody>
                  <a:tcPr/>
                </a:tc>
                <a:extLst>
                  <a:ext uri="{0D108BD9-81ED-4DB2-BD59-A6C34878D82A}">
                    <a16:rowId xmlns:a16="http://schemas.microsoft.com/office/drawing/2014/main" val="976564521"/>
                  </a:ext>
                </a:extLst>
              </a:tr>
            </a:tbl>
          </a:graphicData>
        </a:graphic>
      </p:graphicFrame>
      <p:sp>
        <p:nvSpPr>
          <p:cNvPr id="26" name="Title 16">
            <a:extLst>
              <a:ext uri="{FF2B5EF4-FFF2-40B4-BE49-F238E27FC236}">
                <a16:creationId xmlns:a16="http://schemas.microsoft.com/office/drawing/2014/main" id="{D16E4431-8022-3648-B7F7-04C396F5D274}"/>
              </a:ext>
            </a:extLst>
          </p:cNvPr>
          <p:cNvSpPr>
            <a:spLocks noGrp="1"/>
          </p:cNvSpPr>
          <p:nvPr>
            <p:ph type="title"/>
          </p:nvPr>
        </p:nvSpPr>
        <p:spPr>
          <a:xfrm>
            <a:off x="517924" y="545124"/>
            <a:ext cx="11018520" cy="1107996"/>
          </a:xfrm>
        </p:spPr>
        <p:txBody>
          <a:bodyPr/>
          <a:lstStyle/>
          <a:p>
            <a:r>
              <a:rPr lang="en-US"/>
              <a:t>Profile your application at steady state to provision RU/s</a:t>
            </a:r>
          </a:p>
        </p:txBody>
      </p: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91DB8646-C6AE-0B44-982E-D2BBECF6504C}"/>
                  </a:ext>
                </a:extLst>
              </p:cNvPr>
              <p:cNvSpPr txBox="1"/>
              <p:nvPr/>
            </p:nvSpPr>
            <p:spPr>
              <a:xfrm>
                <a:off x="6344529" y="6024490"/>
                <a:ext cx="4164779" cy="364908"/>
              </a:xfrm>
              <a:prstGeom prst="rect">
                <a:avLst/>
              </a:prstGeom>
              <a:noFill/>
            </p:spPr>
            <p:txBody>
              <a:bodyPr wrap="square" lIns="0" tIns="0" rIns="0" bIns="0" rtlCol="0">
                <a:spAutoFit/>
              </a:bodyPr>
              <a:lstStyle/>
              <a:p>
                <a:pPr defTabSz="914367"/>
                <a:r>
                  <a:rPr lang="en-US" sz="2000">
                    <a:gradFill>
                      <a:gsLst>
                        <a:gs pos="2917">
                          <a:srgbClr val="1A1A1A"/>
                        </a:gs>
                        <a:gs pos="30000">
                          <a:srgbClr val="1A1A1A"/>
                        </a:gs>
                      </a:gsLst>
                      <a:lin ang="5400000" scaled="0"/>
                    </a:gradFill>
                    <a:latin typeface="Segoe UI"/>
                  </a:rPr>
                  <a:t>Estimated RU/s = </a:t>
                </a:r>
                <a14:m>
                  <m:oMath xmlns:m="http://schemas.openxmlformats.org/officeDocument/2006/math">
                    <m:nary>
                      <m:naryPr>
                        <m:chr m:val="∑"/>
                        <m:ctrlPr>
                          <a:rPr lang="en-US" sz="2000" i="1">
                            <a:gradFill>
                              <a:gsLst>
                                <a:gs pos="2917">
                                  <a:srgbClr val="1A1A1A"/>
                                </a:gs>
                                <a:gs pos="30000">
                                  <a:srgbClr val="1A1A1A"/>
                                </a:gs>
                              </a:gsLst>
                              <a:lin ang="5400000" scaled="0"/>
                            </a:gradFill>
                            <a:latin typeface="Cambria Math" panose="02040503050406030204" pitchFamily="18" charset="0"/>
                          </a:rPr>
                        </m:ctrlPr>
                      </m:naryPr>
                      <m:sub>
                        <m:r>
                          <m:rPr>
                            <m:brk m:alnAt="23"/>
                          </m:rPr>
                          <a:rPr lang="en-US" sz="2000" i="1">
                            <a:gradFill>
                              <a:gsLst>
                                <a:gs pos="2917">
                                  <a:srgbClr val="1A1A1A"/>
                                </a:gs>
                                <a:gs pos="30000">
                                  <a:srgbClr val="1A1A1A"/>
                                </a:gs>
                              </a:gsLst>
                              <a:lin ang="5400000" scaled="0"/>
                            </a:gradFill>
                            <a:latin typeface="Cambria Math" panose="02040503050406030204" pitchFamily="18" charset="0"/>
                          </a:rPr>
                          <m:t>𝑜</m:t>
                        </m:r>
                        <m:r>
                          <a:rPr lang="en-US" sz="2000" i="1">
                            <a:gradFill>
                              <a:gsLst>
                                <a:gs pos="2917">
                                  <a:srgbClr val="1A1A1A"/>
                                </a:gs>
                                <a:gs pos="30000">
                                  <a:srgbClr val="1A1A1A"/>
                                </a:gs>
                              </a:gsLst>
                              <a:lin ang="5400000" scaled="0"/>
                            </a:gradFill>
                            <a:latin typeface="Cambria Math" panose="02040503050406030204" pitchFamily="18" charset="0"/>
                          </a:rPr>
                          <m:t>𝑝</m:t>
                        </m:r>
                      </m:sub>
                      <m:sup/>
                      <m:e>
                        <m:r>
                          <a:rPr lang="en-US" sz="2000" i="1">
                            <a:gradFill>
                              <a:gsLst>
                                <a:gs pos="2917">
                                  <a:srgbClr val="1A1A1A"/>
                                </a:gs>
                                <a:gs pos="30000">
                                  <a:srgbClr val="1A1A1A"/>
                                </a:gs>
                              </a:gsLst>
                              <a:lin ang="5400000" scaled="0"/>
                            </a:gradFill>
                            <a:latin typeface="Cambria Math" panose="02040503050406030204" pitchFamily="18" charset="0"/>
                          </a:rPr>
                          <m:t>𝑎𝑣𝑔</m:t>
                        </m:r>
                        <m:r>
                          <a:rPr lang="en-US" sz="2000" i="1">
                            <a:gradFill>
                              <a:gsLst>
                                <a:gs pos="2917">
                                  <a:srgbClr val="1A1A1A"/>
                                </a:gs>
                                <a:gs pos="30000">
                                  <a:srgbClr val="1A1A1A"/>
                                </a:gs>
                              </a:gsLst>
                              <a:lin ang="5400000" scaled="0"/>
                            </a:gradFill>
                            <a:latin typeface="Cambria Math" panose="02040503050406030204" pitchFamily="18" charset="0"/>
                          </a:rPr>
                          <m:t> </m:t>
                        </m:r>
                        <m:r>
                          <a:rPr lang="en-US" sz="2000" i="1">
                            <a:gradFill>
                              <a:gsLst>
                                <a:gs pos="2917">
                                  <a:srgbClr val="1A1A1A"/>
                                </a:gs>
                                <a:gs pos="30000">
                                  <a:srgbClr val="1A1A1A"/>
                                </a:gs>
                              </a:gsLst>
                              <a:lin ang="5400000" scaled="0"/>
                            </a:gradFill>
                            <a:latin typeface="Cambria Math" panose="02040503050406030204" pitchFamily="18" charset="0"/>
                          </a:rPr>
                          <m:t>𝑅𝑈</m:t>
                        </m:r>
                        <m:r>
                          <a:rPr lang="en-US" sz="2000" i="1">
                            <a:gradFill>
                              <a:gsLst>
                                <a:gs pos="2917">
                                  <a:srgbClr val="1A1A1A"/>
                                </a:gs>
                                <a:gs pos="30000">
                                  <a:srgbClr val="1A1A1A"/>
                                </a:gs>
                              </a:gsLst>
                              <a:lin ang="5400000" scaled="0"/>
                            </a:gradFill>
                            <a:latin typeface="Cambria Math" panose="02040503050406030204" pitchFamily="18" charset="0"/>
                          </a:rPr>
                          <m:t>/</m:t>
                        </m:r>
                        <m:r>
                          <a:rPr lang="en-US" sz="2000" i="1">
                            <a:gradFill>
                              <a:gsLst>
                                <a:gs pos="2917">
                                  <a:srgbClr val="1A1A1A"/>
                                </a:gs>
                                <a:gs pos="30000">
                                  <a:srgbClr val="1A1A1A"/>
                                </a:gs>
                              </a:gsLst>
                              <a:lin ang="5400000" scaled="0"/>
                            </a:gradFill>
                            <a:latin typeface="Cambria Math" panose="02040503050406030204" pitchFamily="18" charset="0"/>
                          </a:rPr>
                          <m:t>𝑠</m:t>
                        </m:r>
                      </m:e>
                    </m:nary>
                  </m:oMath>
                </a14:m>
                <a:endParaRPr lang="en-US" sz="2000">
                  <a:gradFill>
                    <a:gsLst>
                      <a:gs pos="2917">
                        <a:srgbClr val="1A1A1A"/>
                      </a:gs>
                      <a:gs pos="30000">
                        <a:srgbClr val="1A1A1A"/>
                      </a:gs>
                    </a:gsLst>
                    <a:lin ang="5400000" scaled="0"/>
                  </a:gradFill>
                  <a:latin typeface="Segoe UI"/>
                </a:endParaRPr>
              </a:p>
            </p:txBody>
          </p:sp>
        </mc:Choice>
        <mc:Fallback xmlns="">
          <p:sp>
            <p:nvSpPr>
              <p:cNvPr id="4" name="TextBox 3">
                <a:extLst>
                  <a:ext uri="{FF2B5EF4-FFF2-40B4-BE49-F238E27FC236}">
                    <a16:creationId xmlns:a16="http://schemas.microsoft.com/office/drawing/2014/main" id="{91DB8646-C6AE-0B44-982E-D2BBECF6504C}"/>
                  </a:ext>
                </a:extLst>
              </p:cNvPr>
              <p:cNvSpPr txBox="1">
                <a:spLocks noRot="1" noChangeAspect="1" noMove="1" noResize="1" noEditPoints="1" noAdjustHandles="1" noChangeArrowheads="1" noChangeShapeType="1" noTextEdit="1"/>
              </p:cNvSpPr>
              <p:nvPr/>
            </p:nvSpPr>
            <p:spPr>
              <a:xfrm>
                <a:off x="6344529" y="6024490"/>
                <a:ext cx="4164779" cy="364908"/>
              </a:xfrm>
              <a:prstGeom prst="rect">
                <a:avLst/>
              </a:prstGeom>
              <a:blipFill>
                <a:blip r:embed="rId3"/>
                <a:stretch>
                  <a:fillRect b="-1667"/>
                </a:stretch>
              </a:blipFill>
            </p:spPr>
            <p:txBody>
              <a:bodyPr/>
              <a:lstStyle/>
              <a:p>
                <a:r>
                  <a:rPr lang="en-US">
                    <a:noFill/>
                  </a:rPr>
                  <a:t> </a:t>
                </a:r>
              </a:p>
            </p:txBody>
          </p:sp>
        </mc:Fallback>
      </mc:AlternateContent>
    </p:spTree>
    <p:extLst>
      <p:ext uri="{BB962C8B-B14F-4D97-AF65-F5344CB8AC3E}">
        <p14:creationId xmlns:p14="http://schemas.microsoft.com/office/powerpoint/2010/main" val="98083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5215" y="2267212"/>
            <a:ext cx="7137948" cy="1495794"/>
          </a:xfrm>
        </p:spPr>
        <p:txBody>
          <a:bodyPr/>
          <a:lstStyle/>
          <a:p>
            <a:r>
              <a:rPr lang="en-US"/>
              <a:t>Building event driven architectures using Azure Cosmos DB Change Feed</a:t>
            </a:r>
          </a:p>
        </p:txBody>
      </p:sp>
    </p:spTree>
    <p:extLst>
      <p:ext uri="{BB962C8B-B14F-4D97-AF65-F5344CB8AC3E}">
        <p14:creationId xmlns:p14="http://schemas.microsoft.com/office/powerpoint/2010/main" val="1135753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AE596A8-5206-1449-832A-DB852DCE507B}"/>
              </a:ext>
            </a:extLst>
          </p:cNvPr>
          <p:cNvSpPr txBox="1">
            <a:spLocks/>
          </p:cNvSpPr>
          <p:nvPr/>
        </p:nvSpPr>
        <p:spPr>
          <a:xfrm>
            <a:off x="366852" y="1530954"/>
            <a:ext cx="10508140" cy="332399"/>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sz="2400">
                <a:gradFill>
                  <a:gsLst>
                    <a:gs pos="62564">
                      <a:srgbClr val="1A1A1A"/>
                    </a:gs>
                    <a:gs pos="55000">
                      <a:srgbClr val="1A1A1A"/>
                    </a:gs>
                  </a:gsLst>
                  <a:lin ang="5400000" scaled="0"/>
                </a:gradFill>
                <a:latin typeface="Segoe UI"/>
                <a:cs typeface="Segoe UI Semibold"/>
              </a:rPr>
              <a:t>Change feed enables reactive programming models for a wide range of scenarios</a:t>
            </a:r>
          </a:p>
        </p:txBody>
      </p:sp>
      <p:sp>
        <p:nvSpPr>
          <p:cNvPr id="9" name="Title 1">
            <a:extLst>
              <a:ext uri="{FF2B5EF4-FFF2-40B4-BE49-F238E27FC236}">
                <a16:creationId xmlns:a16="http://schemas.microsoft.com/office/drawing/2014/main" id="{B19E444D-9F52-7E45-8439-437CD0E1CD80}"/>
              </a:ext>
            </a:extLst>
          </p:cNvPr>
          <p:cNvSpPr txBox="1">
            <a:spLocks/>
          </p:cNvSpPr>
          <p:nvPr/>
        </p:nvSpPr>
        <p:spPr>
          <a:xfrm>
            <a:off x="1432571" y="3843499"/>
            <a:ext cx="10508140" cy="332399"/>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sz="2400">
                <a:gradFill>
                  <a:gsLst>
                    <a:gs pos="62564">
                      <a:srgbClr val="1A1A1A"/>
                    </a:gs>
                    <a:gs pos="55000">
                      <a:srgbClr val="1A1A1A"/>
                    </a:gs>
                  </a:gsLst>
                  <a:lin ang="5400000" scaled="0"/>
                </a:gradFill>
                <a:latin typeface="Segoe UI"/>
                <a:cs typeface="Segoe UI Semibold"/>
              </a:rPr>
              <a:t>IoT telemetry processing</a:t>
            </a:r>
          </a:p>
        </p:txBody>
      </p:sp>
      <p:pic>
        <p:nvPicPr>
          <p:cNvPr id="10" name="Picture 9">
            <a:extLst>
              <a:ext uri="{FF2B5EF4-FFF2-40B4-BE49-F238E27FC236}">
                <a16:creationId xmlns:a16="http://schemas.microsoft.com/office/drawing/2014/main" id="{0761FE01-2F0B-EF49-9779-7FE79F1A26AC}"/>
              </a:ext>
            </a:extLst>
          </p:cNvPr>
          <p:cNvPicPr>
            <a:picLocks noChangeAspect="1"/>
          </p:cNvPicPr>
          <p:nvPr/>
        </p:nvPicPr>
        <p:blipFill>
          <a:blip r:embed="rId3"/>
          <a:stretch>
            <a:fillRect/>
          </a:stretch>
        </p:blipFill>
        <p:spPr>
          <a:xfrm>
            <a:off x="5234198" y="3699833"/>
            <a:ext cx="1978926" cy="494732"/>
          </a:xfrm>
          <a:prstGeom prst="rect">
            <a:avLst/>
          </a:prstGeom>
        </p:spPr>
      </p:pic>
      <p:sp>
        <p:nvSpPr>
          <p:cNvPr id="11" name="Title 1">
            <a:extLst>
              <a:ext uri="{FF2B5EF4-FFF2-40B4-BE49-F238E27FC236}">
                <a16:creationId xmlns:a16="http://schemas.microsoft.com/office/drawing/2014/main" id="{3BEF58A3-3F63-A14D-B7F7-EEC27DD85CB5}"/>
              </a:ext>
            </a:extLst>
          </p:cNvPr>
          <p:cNvSpPr txBox="1">
            <a:spLocks/>
          </p:cNvSpPr>
          <p:nvPr/>
        </p:nvSpPr>
        <p:spPr>
          <a:xfrm>
            <a:off x="1432571" y="2694463"/>
            <a:ext cx="10508140" cy="332399"/>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sz="2400">
                <a:gradFill>
                  <a:gsLst>
                    <a:gs pos="62564">
                      <a:srgbClr val="1A1A1A"/>
                    </a:gs>
                    <a:gs pos="55000">
                      <a:srgbClr val="1A1A1A"/>
                    </a:gs>
                  </a:gsLst>
                  <a:lin ang="5400000" scaled="0"/>
                </a:gradFill>
                <a:latin typeface="Segoe UI"/>
                <a:cs typeface="Segoe UI Semibold"/>
              </a:rPr>
              <a:t>E-Commerce order processing</a:t>
            </a:r>
          </a:p>
        </p:txBody>
      </p:sp>
      <p:pic>
        <p:nvPicPr>
          <p:cNvPr id="12" name="Graphic 11">
            <a:extLst>
              <a:ext uri="{FF2B5EF4-FFF2-40B4-BE49-F238E27FC236}">
                <a16:creationId xmlns:a16="http://schemas.microsoft.com/office/drawing/2014/main" id="{6950CE44-A8B9-5A4C-9E24-170AF35F3A8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23662" y="2459048"/>
            <a:ext cx="1427897" cy="582582"/>
          </a:xfrm>
          <a:prstGeom prst="rect">
            <a:avLst/>
          </a:prstGeom>
        </p:spPr>
      </p:pic>
      <p:pic>
        <p:nvPicPr>
          <p:cNvPr id="13" name="Picture 12">
            <a:extLst>
              <a:ext uri="{FF2B5EF4-FFF2-40B4-BE49-F238E27FC236}">
                <a16:creationId xmlns:a16="http://schemas.microsoft.com/office/drawing/2014/main" id="{660B109C-BC8E-584C-A280-B754382CA37F}"/>
              </a:ext>
            </a:extLst>
          </p:cNvPr>
          <p:cNvPicPr>
            <a:picLocks noChangeAspect="1"/>
          </p:cNvPicPr>
          <p:nvPr/>
        </p:nvPicPr>
        <p:blipFill>
          <a:blip r:embed="rId6"/>
          <a:stretch>
            <a:fillRect/>
          </a:stretch>
        </p:blipFill>
        <p:spPr>
          <a:xfrm>
            <a:off x="8175010" y="2459048"/>
            <a:ext cx="1533097" cy="709058"/>
          </a:xfrm>
          <a:prstGeom prst="rect">
            <a:avLst/>
          </a:prstGeom>
        </p:spPr>
      </p:pic>
      <p:sp>
        <p:nvSpPr>
          <p:cNvPr id="14" name="Title 1">
            <a:extLst>
              <a:ext uri="{FF2B5EF4-FFF2-40B4-BE49-F238E27FC236}">
                <a16:creationId xmlns:a16="http://schemas.microsoft.com/office/drawing/2014/main" id="{1A38BA74-3C53-1544-9A44-0F934BDA9D56}"/>
              </a:ext>
            </a:extLst>
          </p:cNvPr>
          <p:cNvSpPr txBox="1">
            <a:spLocks/>
          </p:cNvSpPr>
          <p:nvPr/>
        </p:nvSpPr>
        <p:spPr>
          <a:xfrm>
            <a:off x="1432571" y="4972446"/>
            <a:ext cx="10508140" cy="332399"/>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sz="2400">
                <a:gradFill>
                  <a:gsLst>
                    <a:gs pos="62564">
                      <a:srgbClr val="1A1A1A"/>
                    </a:gs>
                    <a:gs pos="55000">
                      <a:srgbClr val="1A1A1A"/>
                    </a:gs>
                  </a:gsLst>
                  <a:lin ang="5400000" scaled="0"/>
                </a:gradFill>
                <a:latin typeface="Segoe UI"/>
                <a:cs typeface="Segoe UI Semibold"/>
              </a:rPr>
              <a:t>Real-time financial data processing</a:t>
            </a:r>
          </a:p>
        </p:txBody>
      </p:sp>
      <p:pic>
        <p:nvPicPr>
          <p:cNvPr id="15" name="Picture 4" descr="Image result for mojio logo">
            <a:extLst>
              <a:ext uri="{FF2B5EF4-FFF2-40B4-BE49-F238E27FC236}">
                <a16:creationId xmlns:a16="http://schemas.microsoft.com/office/drawing/2014/main" id="{CBA3D46D-408E-B144-ADE2-B46C8EB61574}"/>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605972" y="3718773"/>
            <a:ext cx="730759" cy="471672"/>
          </a:xfrm>
          <a:prstGeom prst="rect">
            <a:avLst/>
          </a:prstGeom>
          <a:solidFill>
            <a:schemeClr val="tx1"/>
          </a:solidFill>
          <a:extLst/>
        </p:spPr>
      </p:pic>
      <p:pic>
        <p:nvPicPr>
          <p:cNvPr id="18" name="Picture 17">
            <a:extLst>
              <a:ext uri="{FF2B5EF4-FFF2-40B4-BE49-F238E27FC236}">
                <a16:creationId xmlns:a16="http://schemas.microsoft.com/office/drawing/2014/main" id="{967839B5-32B0-C546-BA22-1AA43A18B01D}"/>
              </a:ext>
            </a:extLst>
          </p:cNvPr>
          <p:cNvPicPr>
            <a:picLocks noChangeAspect="1"/>
          </p:cNvPicPr>
          <p:nvPr/>
        </p:nvPicPr>
        <p:blipFill>
          <a:blip r:embed="rId8"/>
          <a:stretch>
            <a:fillRect/>
          </a:stretch>
        </p:blipFill>
        <p:spPr>
          <a:xfrm>
            <a:off x="6096001" y="4852769"/>
            <a:ext cx="1000845" cy="664795"/>
          </a:xfrm>
          <a:prstGeom prst="rect">
            <a:avLst/>
          </a:prstGeom>
        </p:spPr>
      </p:pic>
      <p:pic>
        <p:nvPicPr>
          <p:cNvPr id="20" name="Picture 8" descr="Image result for toyota logo png">
            <a:extLst>
              <a:ext uri="{FF2B5EF4-FFF2-40B4-BE49-F238E27FC236}">
                <a16:creationId xmlns:a16="http://schemas.microsoft.com/office/drawing/2014/main" id="{E52283D6-3804-AC42-B2AE-E39AB742454E}"/>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729577" y="3676754"/>
            <a:ext cx="699362" cy="587046"/>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descr="Image result for honeywell logo png">
            <a:extLst>
              <a:ext uri="{FF2B5EF4-FFF2-40B4-BE49-F238E27FC236}">
                <a16:creationId xmlns:a16="http://schemas.microsoft.com/office/drawing/2014/main" id="{A0250C92-E83E-C748-8300-6B17C022B263}"/>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386375" y="3711843"/>
            <a:ext cx="1213602" cy="214808"/>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Image result for schneider electric logo png">
            <a:extLst>
              <a:ext uri="{FF2B5EF4-FFF2-40B4-BE49-F238E27FC236}">
                <a16:creationId xmlns:a16="http://schemas.microsoft.com/office/drawing/2014/main" id="{37C160EB-B737-7A41-A2D6-292E6F3D2DB4}"/>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681239" y="4020197"/>
            <a:ext cx="1258284" cy="37945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6427CB7D-038B-1F40-9345-6115F241C696}"/>
              </a:ext>
            </a:extLst>
          </p:cNvPr>
          <p:cNvPicPr>
            <a:picLocks noChangeAspect="1"/>
          </p:cNvPicPr>
          <p:nvPr/>
        </p:nvPicPr>
        <p:blipFill>
          <a:blip r:embed="rId12"/>
          <a:stretch>
            <a:fillRect/>
          </a:stretch>
        </p:blipFill>
        <p:spPr>
          <a:xfrm>
            <a:off x="7470260" y="4968326"/>
            <a:ext cx="1732941" cy="463697"/>
          </a:xfrm>
          <a:prstGeom prst="rect">
            <a:avLst/>
          </a:prstGeom>
        </p:spPr>
      </p:pic>
    </p:spTree>
    <p:extLst>
      <p:ext uri="{BB962C8B-B14F-4D97-AF65-F5344CB8AC3E}">
        <p14:creationId xmlns:p14="http://schemas.microsoft.com/office/powerpoint/2010/main" val="3742248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5897" y="221073"/>
            <a:ext cx="10383587" cy="805237"/>
          </a:xfrm>
        </p:spPr>
        <p:txBody>
          <a:bodyPr/>
          <a:lstStyle/>
          <a:p>
            <a:r>
              <a:rPr lang="en-US" sz="4500" dirty="0"/>
              <a:t>Some Recent Customer Use Cases</a:t>
            </a:r>
          </a:p>
        </p:txBody>
      </p:sp>
      <p:sp>
        <p:nvSpPr>
          <p:cNvPr id="3" name="Rectangle 2"/>
          <p:cNvSpPr/>
          <p:nvPr/>
        </p:nvSpPr>
        <p:spPr>
          <a:xfrm>
            <a:off x="1376517" y="1496536"/>
            <a:ext cx="10766322" cy="5009064"/>
          </a:xfrm>
          <a:prstGeom prst="rect">
            <a:avLst/>
          </a:prstGeom>
        </p:spPr>
        <p:txBody>
          <a:bodyPr wrap="square">
            <a:spAutoFit/>
          </a:bodyPr>
          <a:lstStyle/>
          <a:p>
            <a:r>
              <a:rPr lang="en-US" sz="1400" b="1" dirty="0">
                <a:solidFill>
                  <a:srgbClr val="000000"/>
                </a:solidFill>
                <a:latin typeface="Calibri" charset="0"/>
              </a:rPr>
              <a:t>Company</a:t>
            </a:r>
            <a:r>
              <a:rPr lang="en-US" sz="1400" dirty="0">
                <a:solidFill>
                  <a:srgbClr val="000000"/>
                </a:solidFill>
                <a:latin typeface="Calibri" charset="0"/>
              </a:rPr>
              <a:t>: Toyota Motor Sales		</a:t>
            </a:r>
            <a:r>
              <a:rPr lang="en-US" sz="1400" b="1" dirty="0">
                <a:solidFill>
                  <a:srgbClr val="000000"/>
                </a:solidFill>
                <a:latin typeface="Calibri" charset="0"/>
              </a:rPr>
              <a:t>Project Name</a:t>
            </a:r>
            <a:r>
              <a:rPr lang="en-US" sz="1400" dirty="0">
                <a:solidFill>
                  <a:srgbClr val="000000"/>
                </a:solidFill>
                <a:latin typeface="Calibri" charset="0"/>
              </a:rPr>
              <a:t>: Business Reform - Remote Information (aka BRRI)</a:t>
            </a:r>
          </a:p>
          <a:p>
            <a:pPr>
              <a:spcBef>
                <a:spcPts val="300"/>
              </a:spcBef>
            </a:pPr>
            <a:r>
              <a:rPr lang="en-US" sz="1200" dirty="0">
                <a:solidFill>
                  <a:srgbClr val="000000"/>
                </a:solidFill>
                <a:latin typeface="Calibri" charset="0"/>
              </a:rPr>
              <a:t>Vehicle telematics for Lexus customers. Telematics services offered to Toyota's customers include:</a:t>
            </a:r>
          </a:p>
          <a:p>
            <a:pPr marL="342900" indent="-228600" fontAlgn="ctr"/>
            <a:r>
              <a:rPr lang="en-US" sz="1050" dirty="0">
                <a:solidFill>
                  <a:srgbClr val="000000"/>
                </a:solidFill>
                <a:latin typeface="Calibri" charset="0"/>
              </a:rPr>
              <a:t>·</a:t>
            </a:r>
            <a:r>
              <a:rPr lang="en-US" sz="500" dirty="0">
                <a:solidFill>
                  <a:srgbClr val="000000"/>
                </a:solidFill>
                <a:latin typeface="Times New Roman" charset="0"/>
              </a:rPr>
              <a:t>         </a:t>
            </a:r>
            <a:r>
              <a:rPr lang="en-US" sz="1200" dirty="0">
                <a:solidFill>
                  <a:srgbClr val="000000"/>
                </a:solidFill>
                <a:latin typeface="Calibri" charset="0"/>
              </a:rPr>
              <a:t>Safety service (e.g.., if owner has accident, will send out ambulance)</a:t>
            </a:r>
          </a:p>
          <a:p>
            <a:pPr marL="342900" indent="-228600" fontAlgn="ctr"/>
            <a:r>
              <a:rPr lang="en-US" sz="1050" dirty="0">
                <a:solidFill>
                  <a:srgbClr val="000000"/>
                </a:solidFill>
                <a:latin typeface="Calibri" charset="0"/>
              </a:rPr>
              <a:t>·</a:t>
            </a:r>
            <a:r>
              <a:rPr lang="en-US" sz="500" dirty="0">
                <a:solidFill>
                  <a:srgbClr val="000000"/>
                </a:solidFill>
                <a:latin typeface="Times New Roman" charset="0"/>
              </a:rPr>
              <a:t>         </a:t>
            </a:r>
            <a:r>
              <a:rPr lang="en-US" sz="1200" dirty="0">
                <a:solidFill>
                  <a:srgbClr val="000000"/>
                </a:solidFill>
                <a:latin typeface="Calibri" charset="0"/>
              </a:rPr>
              <a:t>Diagnostic service (e.g., information regarding vehicles’ performance, maintenance, and malfunctions is uploaded to database)</a:t>
            </a:r>
          </a:p>
          <a:p>
            <a:pPr marL="342900" indent="-228600" fontAlgn="ctr"/>
            <a:r>
              <a:rPr lang="en-US" sz="1050" dirty="0">
                <a:solidFill>
                  <a:srgbClr val="000000"/>
                </a:solidFill>
                <a:latin typeface="Calibri" charset="0"/>
              </a:rPr>
              <a:t>·</a:t>
            </a:r>
            <a:r>
              <a:rPr lang="en-US" sz="500" dirty="0">
                <a:solidFill>
                  <a:srgbClr val="000000"/>
                </a:solidFill>
                <a:latin typeface="Times New Roman" charset="0"/>
              </a:rPr>
              <a:t>         </a:t>
            </a:r>
            <a:r>
              <a:rPr lang="en-US" sz="1200" dirty="0">
                <a:solidFill>
                  <a:srgbClr val="000000"/>
                </a:solidFill>
                <a:latin typeface="Calibri" charset="0"/>
              </a:rPr>
              <a:t>Remote service (e.g., can turn on home heating or cooling from phone).</a:t>
            </a:r>
          </a:p>
          <a:p>
            <a:pPr>
              <a:spcBef>
                <a:spcPts val="300"/>
              </a:spcBef>
            </a:pPr>
            <a:r>
              <a:rPr lang="en-US" sz="1200" dirty="0">
                <a:solidFill>
                  <a:srgbClr val="000000"/>
                </a:solidFill>
                <a:latin typeface="Calibri" charset="0"/>
              </a:rPr>
              <a:t>Vehicle telemetry is collected and stored in Cosmos DB in real time. </a:t>
            </a:r>
            <a:r>
              <a:rPr lang="en-US" sz="1200" b="1" dirty="0">
                <a:solidFill>
                  <a:srgbClr val="000000"/>
                </a:solidFill>
                <a:highlight>
                  <a:srgbClr val="FFFF00"/>
                </a:highlight>
                <a:latin typeface="Calibri" charset="0"/>
              </a:rPr>
              <a:t>Cosmos DB was chosen due to its ability to ingest data at massive scale with high availability (99.99%) guarantee.</a:t>
            </a:r>
          </a:p>
          <a:p>
            <a:pPr>
              <a:spcBef>
                <a:spcPts val="300"/>
              </a:spcBef>
            </a:pPr>
            <a:r>
              <a:rPr lang="en-US" sz="1400" dirty="0">
                <a:solidFill>
                  <a:srgbClr val="000000"/>
                </a:solidFill>
                <a:latin typeface="Calibri" charset="0"/>
              </a:rPr>
              <a:t> </a:t>
            </a:r>
          </a:p>
          <a:p>
            <a:r>
              <a:rPr lang="en-US" sz="1400" b="1" dirty="0">
                <a:solidFill>
                  <a:srgbClr val="000000"/>
                </a:solidFill>
                <a:latin typeface="Calibri" charset="0"/>
              </a:rPr>
              <a:t>Company</a:t>
            </a:r>
            <a:r>
              <a:rPr lang="en-US" sz="1400" dirty="0">
                <a:solidFill>
                  <a:srgbClr val="000000"/>
                </a:solidFill>
                <a:latin typeface="Calibri" charset="0"/>
              </a:rPr>
              <a:t>: Citrix			</a:t>
            </a:r>
            <a:r>
              <a:rPr lang="en-US" sz="1400" b="1" dirty="0">
                <a:solidFill>
                  <a:srgbClr val="000000"/>
                </a:solidFill>
                <a:latin typeface="Calibri" charset="0"/>
              </a:rPr>
              <a:t>Project Name</a:t>
            </a:r>
            <a:r>
              <a:rPr lang="en-US" sz="1400" dirty="0">
                <a:solidFill>
                  <a:srgbClr val="000000"/>
                </a:solidFill>
                <a:latin typeface="Calibri" charset="0"/>
              </a:rPr>
              <a:t>: Athena</a:t>
            </a:r>
          </a:p>
          <a:p>
            <a:r>
              <a:rPr lang="en-US" sz="1200" dirty="0">
                <a:solidFill>
                  <a:srgbClr val="000000"/>
                </a:solidFill>
                <a:latin typeface="Calibri" charset="0"/>
              </a:rPr>
              <a:t>Athena is Citrix’s identity solution which provide an single-sign-on authentication solution for all Citrix products. It is an implementation of the OpenID Connect standard, and generates access tokens upon authentication for use in various Citrix systems. Athena uses Cosmos DB to handle storage and retrieval for all of the system’s authorization, client, customer, and principals data. </a:t>
            </a:r>
            <a:r>
              <a:rPr lang="en-US" sz="1200" b="1" dirty="0">
                <a:solidFill>
                  <a:srgbClr val="000000"/>
                </a:solidFill>
                <a:highlight>
                  <a:srgbClr val="FFFF00"/>
                </a:highlight>
                <a:latin typeface="Calibri" charset="0"/>
              </a:rPr>
              <a:t>Azure Cosmos DB was chosen to help Athena's requirements around:</a:t>
            </a:r>
          </a:p>
          <a:p>
            <a:pPr marL="342900" indent="-228600" fontAlgn="ctr"/>
            <a:r>
              <a:rPr lang="en-US" sz="1050" b="1" dirty="0">
                <a:solidFill>
                  <a:srgbClr val="000000"/>
                </a:solidFill>
                <a:highlight>
                  <a:srgbClr val="FFFF00"/>
                </a:highlight>
                <a:latin typeface="Calibri" charset="0"/>
              </a:rPr>
              <a:t>·</a:t>
            </a:r>
            <a:r>
              <a:rPr lang="en-US" sz="500" b="1" dirty="0">
                <a:solidFill>
                  <a:srgbClr val="000000"/>
                </a:solidFill>
                <a:highlight>
                  <a:srgbClr val="FFFF00"/>
                </a:highlight>
                <a:latin typeface="Times New Roman" charset="0"/>
              </a:rPr>
              <a:t>         </a:t>
            </a:r>
            <a:r>
              <a:rPr lang="en-US" sz="1200" b="1" dirty="0">
                <a:solidFill>
                  <a:srgbClr val="000000"/>
                </a:solidFill>
                <a:highlight>
                  <a:srgbClr val="FFFF00"/>
                </a:highlight>
                <a:latin typeface="Calibri" charset="0"/>
              </a:rPr>
              <a:t>99.99% availability</a:t>
            </a:r>
          </a:p>
          <a:p>
            <a:pPr marL="342900" indent="-228600" fontAlgn="ctr"/>
            <a:r>
              <a:rPr lang="en-US" sz="1050" b="1" dirty="0">
                <a:solidFill>
                  <a:srgbClr val="000000"/>
                </a:solidFill>
                <a:highlight>
                  <a:srgbClr val="FFFF00"/>
                </a:highlight>
                <a:latin typeface="Calibri" charset="0"/>
              </a:rPr>
              <a:t>·</a:t>
            </a:r>
            <a:r>
              <a:rPr lang="en-US" sz="500" b="1" dirty="0">
                <a:solidFill>
                  <a:srgbClr val="000000"/>
                </a:solidFill>
                <a:highlight>
                  <a:srgbClr val="FFFF00"/>
                </a:highlight>
                <a:latin typeface="Times New Roman" charset="0"/>
              </a:rPr>
              <a:t>         </a:t>
            </a:r>
            <a:r>
              <a:rPr lang="en-US" sz="1200" b="1" dirty="0">
                <a:solidFill>
                  <a:srgbClr val="000000"/>
                </a:solidFill>
                <a:highlight>
                  <a:srgbClr val="FFFF00"/>
                </a:highlight>
                <a:latin typeface="Calibri" charset="0"/>
              </a:rPr>
              <a:t>Durability of data that is resilient to failures</a:t>
            </a:r>
          </a:p>
          <a:p>
            <a:pPr marL="342900" indent="-228600" fontAlgn="ctr"/>
            <a:r>
              <a:rPr lang="en-US" sz="1050" b="1" dirty="0">
                <a:solidFill>
                  <a:srgbClr val="000000"/>
                </a:solidFill>
                <a:highlight>
                  <a:srgbClr val="FFFF00"/>
                </a:highlight>
                <a:latin typeface="Calibri" charset="0"/>
              </a:rPr>
              <a:t>·</a:t>
            </a:r>
            <a:r>
              <a:rPr lang="en-US" sz="500" b="1" dirty="0">
                <a:solidFill>
                  <a:srgbClr val="000000"/>
                </a:solidFill>
                <a:highlight>
                  <a:srgbClr val="FFFF00"/>
                </a:highlight>
                <a:latin typeface="Times New Roman" charset="0"/>
              </a:rPr>
              <a:t>         </a:t>
            </a:r>
            <a:r>
              <a:rPr lang="en-US" sz="1200" b="1" dirty="0">
                <a:solidFill>
                  <a:srgbClr val="000000"/>
                </a:solidFill>
                <a:highlight>
                  <a:srgbClr val="FFFF00"/>
                </a:highlight>
                <a:latin typeface="Calibri" charset="0"/>
              </a:rPr>
              <a:t>Low latency response times @ high load</a:t>
            </a:r>
          </a:p>
          <a:p>
            <a:pPr marL="342900" indent="-228600" fontAlgn="ctr"/>
            <a:r>
              <a:rPr lang="en-US" sz="1050" b="1" dirty="0">
                <a:solidFill>
                  <a:srgbClr val="000000"/>
                </a:solidFill>
                <a:highlight>
                  <a:srgbClr val="FFFF00"/>
                </a:highlight>
                <a:latin typeface="Calibri" charset="0"/>
              </a:rPr>
              <a:t>·</a:t>
            </a:r>
            <a:r>
              <a:rPr lang="en-US" sz="500" b="1" dirty="0">
                <a:solidFill>
                  <a:srgbClr val="000000"/>
                </a:solidFill>
                <a:highlight>
                  <a:srgbClr val="FFFF00"/>
                </a:highlight>
                <a:latin typeface="Times New Roman" charset="0"/>
              </a:rPr>
              <a:t>         </a:t>
            </a:r>
            <a:r>
              <a:rPr lang="en-US" sz="1200" b="1" dirty="0">
                <a:solidFill>
                  <a:srgbClr val="000000"/>
                </a:solidFill>
                <a:highlight>
                  <a:srgbClr val="FFFF00"/>
                </a:highlight>
                <a:latin typeface="Calibri" charset="0"/>
              </a:rPr>
              <a:t>Scale globally to respond to 300 logins/sec over 10 million user records</a:t>
            </a:r>
          </a:p>
          <a:p>
            <a:pPr marL="342900" indent="-228600" fontAlgn="ctr"/>
            <a:r>
              <a:rPr lang="en-US" sz="1050" b="1" dirty="0">
                <a:solidFill>
                  <a:srgbClr val="000000"/>
                </a:solidFill>
                <a:highlight>
                  <a:srgbClr val="FFFF00"/>
                </a:highlight>
                <a:latin typeface="Calibri" charset="0"/>
              </a:rPr>
              <a:t>·</a:t>
            </a:r>
            <a:r>
              <a:rPr lang="en-US" sz="500" b="1" dirty="0">
                <a:solidFill>
                  <a:srgbClr val="000000"/>
                </a:solidFill>
                <a:highlight>
                  <a:srgbClr val="FFFF00"/>
                </a:highlight>
                <a:latin typeface="Times New Roman" charset="0"/>
              </a:rPr>
              <a:t>         </a:t>
            </a:r>
            <a:r>
              <a:rPr lang="en-US" sz="1200" b="1" dirty="0">
                <a:solidFill>
                  <a:srgbClr val="000000"/>
                </a:solidFill>
                <a:highlight>
                  <a:srgbClr val="FFFF00"/>
                </a:highlight>
                <a:latin typeface="Calibri" charset="0"/>
              </a:rPr>
              <a:t>Support for rich queries over automatically indexed data</a:t>
            </a:r>
          </a:p>
          <a:p>
            <a:r>
              <a:rPr lang="en-US" sz="1400" dirty="0">
                <a:solidFill>
                  <a:srgbClr val="000000"/>
                </a:solidFill>
                <a:latin typeface="Calibri" charset="0"/>
              </a:rPr>
              <a:t> </a:t>
            </a:r>
          </a:p>
          <a:p>
            <a:r>
              <a:rPr lang="en-US" sz="1400" b="1" dirty="0">
                <a:solidFill>
                  <a:srgbClr val="000000"/>
                </a:solidFill>
                <a:latin typeface="Calibri" charset="0"/>
              </a:rPr>
              <a:t>Company</a:t>
            </a:r>
            <a:r>
              <a:rPr lang="en-US" sz="1400" dirty="0">
                <a:solidFill>
                  <a:srgbClr val="000000"/>
                </a:solidFill>
                <a:latin typeface="Calibri" charset="0"/>
              </a:rPr>
              <a:t>: Domino's Pizza Enterprises		</a:t>
            </a:r>
            <a:r>
              <a:rPr lang="en-US" sz="1400" b="1" dirty="0">
                <a:solidFill>
                  <a:srgbClr val="000000"/>
                </a:solidFill>
                <a:latin typeface="Calibri" charset="0"/>
              </a:rPr>
              <a:t>Project Name</a:t>
            </a:r>
            <a:r>
              <a:rPr lang="en-US" sz="1400" dirty="0">
                <a:solidFill>
                  <a:srgbClr val="000000"/>
                </a:solidFill>
                <a:latin typeface="Calibri" charset="0"/>
              </a:rPr>
              <a:t>: </a:t>
            </a:r>
            <a:r>
              <a:rPr lang="en-US" sz="1400" dirty="0" err="1">
                <a:solidFill>
                  <a:srgbClr val="000000"/>
                </a:solidFill>
                <a:latin typeface="Calibri" charset="0"/>
              </a:rPr>
              <a:t>OneDigital</a:t>
            </a:r>
            <a:r>
              <a:rPr lang="en-US" sz="1400" dirty="0">
                <a:solidFill>
                  <a:srgbClr val="000000"/>
                </a:solidFill>
                <a:latin typeface="Calibri" charset="0"/>
              </a:rPr>
              <a:t> - Online Ordering System</a:t>
            </a:r>
          </a:p>
          <a:p>
            <a:r>
              <a:rPr lang="en-US" sz="1200" dirty="0">
                <a:solidFill>
                  <a:srgbClr val="000000"/>
                </a:solidFill>
                <a:latin typeface="Calibri" charset="0"/>
              </a:rPr>
              <a:t>Domino’s Pizza Enterprises owns the master franchise rights and over 2,000 stores located across Australia, New Zealand, Japan, The Netherlands, Germany, Belgium and France. Domino's had a legacy online ordering system implemented as a monolithic SQL Server centric application running on top of AWS IAAS. A  single AWS regional outage brought down Domino's entire online ordering system across all &gt;2,000 stores around the globe. This led to </a:t>
            </a:r>
            <a:r>
              <a:rPr lang="en-US" sz="1200" b="1" dirty="0">
                <a:solidFill>
                  <a:srgbClr val="000000"/>
                </a:solidFill>
                <a:highlight>
                  <a:srgbClr val="FFFF00"/>
                </a:highlight>
                <a:latin typeface="Calibri" charset="0"/>
              </a:rPr>
              <a:t>Domino's migration and re-platforming the online ordering system on top of Azure Cosmos DB to take advantage of Cosmos DB’s global distribution features </a:t>
            </a:r>
            <a:r>
              <a:rPr lang="en-US" sz="1200" dirty="0">
                <a:solidFill>
                  <a:srgbClr val="000000"/>
                </a:solidFill>
                <a:latin typeface="Calibri" charset="0"/>
              </a:rPr>
              <a:t>- allowing Domino's to run an Active/Active/Active ordering system in Australia, Japan and Europe that is resilient to regional outages.</a:t>
            </a:r>
          </a:p>
          <a:p>
            <a:r>
              <a:rPr lang="en-US" sz="1400" dirty="0">
                <a:solidFill>
                  <a:srgbClr val="000000"/>
                </a:solidFill>
                <a:latin typeface="Calibri" charset="0"/>
              </a:rPr>
              <a:t> </a:t>
            </a:r>
            <a:endParaRPr lang="en-US" sz="1200" dirty="0">
              <a:solidFill>
                <a:srgbClr val="000000"/>
              </a:solidFill>
              <a:latin typeface="Calibri" charset="0"/>
            </a:endParaRPr>
          </a:p>
        </p:txBody>
      </p:sp>
      <p:pic>
        <p:nvPicPr>
          <p:cNvPr id="5" name="Picture 8" descr="Image result for toyota logo 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3675" y="1746383"/>
            <a:ext cx="822469" cy="69038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Image result for citrix logo 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31118" y="3948276"/>
            <a:ext cx="907581" cy="34215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0" descr="Image result for dominos logo 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29411" y="5137376"/>
            <a:ext cx="809287" cy="809287"/>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Connector 8"/>
          <p:cNvCxnSpPr/>
          <p:nvPr/>
        </p:nvCxnSpPr>
        <p:spPr>
          <a:xfrm flipV="1">
            <a:off x="0" y="3065207"/>
            <a:ext cx="12192000" cy="2458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V="1">
            <a:off x="34413" y="4977581"/>
            <a:ext cx="12192000" cy="2458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V="1">
            <a:off x="0" y="6324600"/>
            <a:ext cx="12192000" cy="2458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V="1">
            <a:off x="0" y="1430595"/>
            <a:ext cx="12192000" cy="2458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4386703"/>
      </p:ext>
    </p:extLst>
  </p:cSld>
  <p:clrMapOvr>
    <a:masterClrMapping/>
  </p:clrMapOvr>
  <p:transition>
    <p:fade/>
  </p:transition>
</p:sld>
</file>

<file path=ppt/slides/slide1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EEA4D1D5-980B-E746-9357-5700590D63F8}"/>
              </a:ext>
            </a:extLst>
          </p:cNvPr>
          <p:cNvPicPr>
            <a:picLocks noChangeAspect="1"/>
          </p:cNvPicPr>
          <p:nvPr/>
        </p:nvPicPr>
        <p:blipFill>
          <a:blip r:embed="rId3"/>
          <a:stretch>
            <a:fillRect/>
          </a:stretch>
        </p:blipFill>
        <p:spPr>
          <a:xfrm>
            <a:off x="2520557" y="1225419"/>
            <a:ext cx="8243087" cy="4616330"/>
          </a:xfrm>
          <a:prstGeom prst="rect">
            <a:avLst/>
          </a:prstGeom>
        </p:spPr>
      </p:pic>
      <p:sp>
        <p:nvSpPr>
          <p:cNvPr id="23" name="Title 1">
            <a:extLst>
              <a:ext uri="{FF2B5EF4-FFF2-40B4-BE49-F238E27FC236}">
                <a16:creationId xmlns:a16="http://schemas.microsoft.com/office/drawing/2014/main" id="{940076A5-6453-A741-A14B-6D9B11D6A1A0}"/>
              </a:ext>
            </a:extLst>
          </p:cNvPr>
          <p:cNvSpPr txBox="1">
            <a:spLocks/>
          </p:cNvSpPr>
          <p:nvPr/>
        </p:nvSpPr>
        <p:spPr>
          <a:xfrm>
            <a:off x="921334" y="5163305"/>
            <a:ext cx="3959410" cy="664797"/>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pPr algn="ctr"/>
            <a:r>
              <a:rPr lang="en-US" sz="1600">
                <a:solidFill>
                  <a:srgbClr val="1A1A1A"/>
                </a:solidFill>
                <a:latin typeface="Segoe UI Semibold"/>
                <a:cs typeface="Segoe UI Semibold"/>
              </a:rPr>
              <a:t>Persistent log of records within an Azure Cosmos DB container in the order in which they were modified</a:t>
            </a:r>
          </a:p>
        </p:txBody>
      </p:sp>
    </p:spTree>
    <p:extLst>
      <p:ext uri="{BB962C8B-B14F-4D97-AF65-F5344CB8AC3E}">
        <p14:creationId xmlns:p14="http://schemas.microsoft.com/office/powerpoint/2010/main" val="1659306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524177" y="361092"/>
            <a:ext cx="11018520" cy="1107996"/>
          </a:xfrm>
        </p:spPr>
        <p:txBody>
          <a:bodyPr/>
          <a:lstStyle/>
          <a:p>
            <a:r>
              <a:rPr lang="en-US" dirty="0"/>
              <a:t>Demo: Real time financial securities inventory processing</a:t>
            </a:r>
          </a:p>
        </p:txBody>
      </p:sp>
      <p:sp>
        <p:nvSpPr>
          <p:cNvPr id="9" name="Rectangle: Rounded Corners 4">
            <a:extLst>
              <a:ext uri="{FF2B5EF4-FFF2-40B4-BE49-F238E27FC236}">
                <a16:creationId xmlns:a16="http://schemas.microsoft.com/office/drawing/2014/main" id="{3BE2BB9E-3AA1-7845-952D-394D4B61FDA2}"/>
              </a:ext>
            </a:extLst>
          </p:cNvPr>
          <p:cNvSpPr/>
          <p:nvPr/>
        </p:nvSpPr>
        <p:spPr bwMode="auto">
          <a:xfrm>
            <a:off x="4376367" y="3199126"/>
            <a:ext cx="1265455" cy="1462175"/>
          </a:xfrm>
          <a:prstGeom prst="roundRect">
            <a:avLst/>
          </a:prstGeom>
          <a:no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68080" tIns="134464" rIns="168080" bIns="134464" numCol="1" spcCol="0" rtlCol="0" fromWordArt="0" anchor="t" anchorCtr="0" forceAA="0" compatLnSpc="1">
            <a:prstTxWarp prst="textNoShape">
              <a:avLst/>
            </a:prstTxWarp>
            <a:noAutofit/>
          </a:bodyPr>
          <a:lstStyle/>
          <a:p>
            <a:pPr algn="ctr" defTabSz="856971" fontAlgn="base">
              <a:lnSpc>
                <a:spcPct val="90000"/>
              </a:lnSpc>
              <a:spcBef>
                <a:spcPct val="0"/>
              </a:spcBef>
              <a:spcAft>
                <a:spcPct val="0"/>
              </a:spcAft>
              <a:defRPr/>
            </a:pPr>
            <a:endParaRPr lang="en-US" sz="2206"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 name="Straight Arrow Connector 9">
            <a:extLst>
              <a:ext uri="{FF2B5EF4-FFF2-40B4-BE49-F238E27FC236}">
                <a16:creationId xmlns:a16="http://schemas.microsoft.com/office/drawing/2014/main" id="{F7B03646-C486-1242-98E7-B934DE7FC677}"/>
              </a:ext>
            </a:extLst>
          </p:cNvPr>
          <p:cNvCxnSpPr/>
          <p:nvPr/>
        </p:nvCxnSpPr>
        <p:spPr>
          <a:xfrm>
            <a:off x="1011491" y="5600516"/>
            <a:ext cx="1400663"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5E9684A3-2558-1A4F-A9FC-EB1069ED383D}"/>
              </a:ext>
            </a:extLst>
          </p:cNvPr>
          <p:cNvSpPr txBox="1"/>
          <p:nvPr/>
        </p:nvSpPr>
        <p:spPr>
          <a:xfrm>
            <a:off x="524177" y="5099732"/>
            <a:ext cx="1285599" cy="500784"/>
          </a:xfrm>
          <a:prstGeom prst="rect">
            <a:avLst/>
          </a:prstGeom>
          <a:noFill/>
        </p:spPr>
        <p:txBody>
          <a:bodyPr wrap="none" lIns="168080" tIns="134464" rIns="168080" bIns="134464" rtlCol="0">
            <a:spAutoFit/>
          </a:bodyPr>
          <a:lstStyle/>
          <a:p>
            <a:pPr defTabSz="857250">
              <a:lnSpc>
                <a:spcPct val="90000"/>
              </a:lnSpc>
              <a:spcAft>
                <a:spcPts val="551"/>
              </a:spcAft>
              <a:defRPr/>
            </a:pPr>
            <a:r>
              <a:rPr lang="en-US" sz="1655" i="1">
                <a:solidFill>
                  <a:srgbClr val="1A1A1A"/>
                </a:solidFill>
                <a:latin typeface="Segoe UI"/>
              </a:rPr>
              <a:t>New trade</a:t>
            </a:r>
          </a:p>
        </p:txBody>
      </p:sp>
      <p:cxnSp>
        <p:nvCxnSpPr>
          <p:cNvPr id="12" name="Straight Arrow Connector 11">
            <a:extLst>
              <a:ext uri="{FF2B5EF4-FFF2-40B4-BE49-F238E27FC236}">
                <a16:creationId xmlns:a16="http://schemas.microsoft.com/office/drawing/2014/main" id="{C53CC3C2-B048-FF49-B117-D1F497CD734F}"/>
              </a:ext>
            </a:extLst>
          </p:cNvPr>
          <p:cNvCxnSpPr/>
          <p:nvPr/>
        </p:nvCxnSpPr>
        <p:spPr>
          <a:xfrm>
            <a:off x="3802229" y="5622486"/>
            <a:ext cx="770365"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3" name="Rectangle: Rounded Corners 14">
            <a:extLst>
              <a:ext uri="{FF2B5EF4-FFF2-40B4-BE49-F238E27FC236}">
                <a16:creationId xmlns:a16="http://schemas.microsoft.com/office/drawing/2014/main" id="{C737B83D-B282-1144-B4A2-1EA3A30954CC}"/>
              </a:ext>
            </a:extLst>
          </p:cNvPr>
          <p:cNvSpPr/>
          <p:nvPr/>
        </p:nvSpPr>
        <p:spPr bwMode="auto">
          <a:xfrm>
            <a:off x="8184236" y="4500190"/>
            <a:ext cx="1960929" cy="75417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80" tIns="134464" rIns="168080" bIns="134464" numCol="1" spcCol="0" rtlCol="0" fromWordArt="0" anchor="ctr" anchorCtr="0" forceAA="0" compatLnSpc="1">
            <a:prstTxWarp prst="textNoShape">
              <a:avLst/>
            </a:prstTxWarp>
            <a:noAutofit/>
          </a:bodyPr>
          <a:lstStyle/>
          <a:p>
            <a:pPr algn="ctr" defTabSz="856971" fontAlgn="base">
              <a:lnSpc>
                <a:spcPct val="90000"/>
              </a:lnSpc>
              <a:spcBef>
                <a:spcPct val="0"/>
              </a:spcBef>
              <a:spcAft>
                <a:spcPct val="0"/>
              </a:spcAft>
              <a:defRPr/>
            </a:pPr>
            <a:r>
              <a:rPr lang="en-US" sz="1838">
                <a:gradFill>
                  <a:gsLst>
                    <a:gs pos="0">
                      <a:srgbClr val="FFFFFF"/>
                    </a:gs>
                    <a:gs pos="100000">
                      <a:srgbClr val="FFFFFF"/>
                    </a:gs>
                  </a:gsLst>
                  <a:lin ang="5400000" scaled="0"/>
                </a:gradFill>
                <a:latin typeface="Segoe UI"/>
                <a:ea typeface="Segoe UI" pitchFamily="34" charset="0"/>
                <a:cs typeface="Segoe UI" pitchFamily="34" charset="0"/>
              </a:rPr>
              <a:t>Trades processor</a:t>
            </a:r>
          </a:p>
        </p:txBody>
      </p:sp>
      <p:cxnSp>
        <p:nvCxnSpPr>
          <p:cNvPr id="14" name="Straight Arrow Connector 13">
            <a:extLst>
              <a:ext uri="{FF2B5EF4-FFF2-40B4-BE49-F238E27FC236}">
                <a16:creationId xmlns:a16="http://schemas.microsoft.com/office/drawing/2014/main" id="{43DA3BEF-2920-A048-82E6-7A1257998FC1}"/>
              </a:ext>
            </a:extLst>
          </p:cNvPr>
          <p:cNvCxnSpPr>
            <a:cxnSpLocks/>
          </p:cNvCxnSpPr>
          <p:nvPr/>
        </p:nvCxnSpPr>
        <p:spPr>
          <a:xfrm flipV="1">
            <a:off x="5587762" y="4926651"/>
            <a:ext cx="2464415" cy="73108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6ACB98DA-3A90-0E47-A00D-261ABE269AE9}"/>
              </a:ext>
            </a:extLst>
          </p:cNvPr>
          <p:cNvSpPr txBox="1"/>
          <p:nvPr/>
        </p:nvSpPr>
        <p:spPr>
          <a:xfrm>
            <a:off x="6214448" y="5378210"/>
            <a:ext cx="1540730" cy="1047151"/>
          </a:xfrm>
          <a:prstGeom prst="rect">
            <a:avLst/>
          </a:prstGeom>
          <a:noFill/>
        </p:spPr>
        <p:txBody>
          <a:bodyPr wrap="square" lIns="168080" tIns="134464" rIns="168080" bIns="134464" rtlCol="0">
            <a:spAutoFit/>
          </a:bodyPr>
          <a:lstStyle/>
          <a:p>
            <a:pPr algn="ctr" defTabSz="857250">
              <a:lnSpc>
                <a:spcPct val="90000"/>
              </a:lnSpc>
              <a:spcAft>
                <a:spcPts val="551"/>
              </a:spcAft>
              <a:defRPr/>
            </a:pPr>
            <a:r>
              <a:rPr lang="en-US" sz="1400" i="1">
                <a:solidFill>
                  <a:srgbClr val="1A1A1A"/>
                </a:solidFill>
                <a:latin typeface="Segoe UI"/>
              </a:rPr>
              <a:t>1 – Read current trade from change feed stream</a:t>
            </a:r>
          </a:p>
        </p:txBody>
      </p:sp>
      <p:sp>
        <p:nvSpPr>
          <p:cNvPr id="16" name="TextBox 15">
            <a:extLst>
              <a:ext uri="{FF2B5EF4-FFF2-40B4-BE49-F238E27FC236}">
                <a16:creationId xmlns:a16="http://schemas.microsoft.com/office/drawing/2014/main" id="{0A521071-87AC-2947-8A9C-224BFCA5096C}"/>
              </a:ext>
            </a:extLst>
          </p:cNvPr>
          <p:cNvSpPr txBox="1"/>
          <p:nvPr/>
        </p:nvSpPr>
        <p:spPr>
          <a:xfrm>
            <a:off x="4303448" y="2307885"/>
            <a:ext cx="1411290" cy="1019451"/>
          </a:xfrm>
          <a:prstGeom prst="rect">
            <a:avLst/>
          </a:prstGeom>
          <a:noFill/>
        </p:spPr>
        <p:txBody>
          <a:bodyPr wrap="square" lIns="168080" tIns="134464" rIns="168080" bIns="134464" rtlCol="0">
            <a:spAutoFit/>
          </a:bodyPr>
          <a:lstStyle/>
          <a:p>
            <a:pPr algn="ctr" defTabSz="857250">
              <a:lnSpc>
                <a:spcPct val="90000"/>
              </a:lnSpc>
              <a:spcAft>
                <a:spcPts val="551"/>
              </a:spcAft>
              <a:defRPr/>
            </a:pPr>
            <a:r>
              <a:rPr lang="en-US">
                <a:solidFill>
                  <a:srgbClr val="1A1A1A"/>
                </a:solidFill>
                <a:latin typeface="Segoe UI"/>
              </a:rPr>
              <a:t>Current Positions Collection</a:t>
            </a:r>
          </a:p>
        </p:txBody>
      </p:sp>
      <p:sp>
        <p:nvSpPr>
          <p:cNvPr id="18" name="Title 1">
            <a:extLst>
              <a:ext uri="{FF2B5EF4-FFF2-40B4-BE49-F238E27FC236}">
                <a16:creationId xmlns:a16="http://schemas.microsoft.com/office/drawing/2014/main" id="{A00B2CFD-1412-9A46-A2FA-C102ECD5762E}"/>
              </a:ext>
            </a:extLst>
          </p:cNvPr>
          <p:cNvSpPr txBox="1">
            <a:spLocks/>
          </p:cNvSpPr>
          <p:nvPr/>
        </p:nvSpPr>
        <p:spPr>
          <a:xfrm>
            <a:off x="1966456" y="1653213"/>
            <a:ext cx="9248657" cy="332399"/>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sz="2400">
                <a:gradFill>
                  <a:gsLst>
                    <a:gs pos="62564">
                      <a:srgbClr val="1A1A1A"/>
                    </a:gs>
                    <a:gs pos="55000">
                      <a:srgbClr val="1A1A1A"/>
                    </a:gs>
                  </a:gsLst>
                  <a:lin ang="5400000" scaled="0"/>
                </a:gradFill>
                <a:latin typeface="Segoe UI Semibold"/>
                <a:cs typeface="Segoe UI Semibold"/>
              </a:rPr>
              <a:t>Excerpt from </a:t>
            </a:r>
            <a:r>
              <a:rPr lang="en-US" sz="2400" dirty="0">
                <a:gradFill>
                  <a:gsLst>
                    <a:gs pos="62564">
                      <a:srgbClr val="1A1A1A"/>
                    </a:gs>
                    <a:gs pos="55000">
                      <a:srgbClr val="1A1A1A"/>
                    </a:gs>
                  </a:gsLst>
                  <a:lin ang="5400000" scaled="0"/>
                </a:gradFill>
                <a:latin typeface="Segoe UI Semibold"/>
                <a:cs typeface="Segoe UI Semibold"/>
              </a:rPr>
              <a:t>proposed </a:t>
            </a:r>
            <a:r>
              <a:rPr lang="en-US" sz="2400">
                <a:gradFill>
                  <a:gsLst>
                    <a:gs pos="62564">
                      <a:srgbClr val="1A1A1A"/>
                    </a:gs>
                    <a:gs pos="55000">
                      <a:srgbClr val="1A1A1A"/>
                    </a:gs>
                  </a:gsLst>
                  <a:lin ang="5400000" scaled="0"/>
                </a:gradFill>
                <a:latin typeface="Segoe UI Semibold"/>
                <a:cs typeface="Segoe UI Semibold"/>
              </a:rPr>
              <a:t>architecture of one of the GSIBs</a:t>
            </a:r>
          </a:p>
        </p:txBody>
      </p:sp>
      <p:sp>
        <p:nvSpPr>
          <p:cNvPr id="21" name="Rectangle: Rounded Corners 4">
            <a:extLst>
              <a:ext uri="{FF2B5EF4-FFF2-40B4-BE49-F238E27FC236}">
                <a16:creationId xmlns:a16="http://schemas.microsoft.com/office/drawing/2014/main" id="{77F1BB53-1930-3F49-8686-080FBA3E5131}"/>
              </a:ext>
            </a:extLst>
          </p:cNvPr>
          <p:cNvSpPr/>
          <p:nvPr/>
        </p:nvSpPr>
        <p:spPr bwMode="auto">
          <a:xfrm>
            <a:off x="2467289" y="4926651"/>
            <a:ext cx="1265455" cy="1462175"/>
          </a:xfrm>
          <a:prstGeom prst="roundRect">
            <a:avLst/>
          </a:prstGeom>
          <a:no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68080" tIns="134464" rIns="168080" bIns="134464" numCol="1" spcCol="0" rtlCol="0" fromWordArt="0" anchor="t" anchorCtr="0" forceAA="0" compatLnSpc="1">
            <a:prstTxWarp prst="textNoShape">
              <a:avLst/>
            </a:prstTxWarp>
            <a:noAutofit/>
          </a:bodyPr>
          <a:lstStyle/>
          <a:p>
            <a:pPr algn="ctr" defTabSz="856971" fontAlgn="base">
              <a:lnSpc>
                <a:spcPct val="90000"/>
              </a:lnSpc>
              <a:spcBef>
                <a:spcPct val="0"/>
              </a:spcBef>
              <a:spcAft>
                <a:spcPct val="0"/>
              </a:spcAft>
              <a:defRPr/>
            </a:pPr>
            <a:endParaRPr lang="en-US" sz="2206"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TextBox 21">
            <a:extLst>
              <a:ext uri="{FF2B5EF4-FFF2-40B4-BE49-F238E27FC236}">
                <a16:creationId xmlns:a16="http://schemas.microsoft.com/office/drawing/2014/main" id="{A2638AEE-C804-F840-9CBA-7613BA05B18D}"/>
              </a:ext>
            </a:extLst>
          </p:cNvPr>
          <p:cNvSpPr txBox="1"/>
          <p:nvPr/>
        </p:nvSpPr>
        <p:spPr>
          <a:xfrm>
            <a:off x="2412153" y="3951993"/>
            <a:ext cx="1411290" cy="1019451"/>
          </a:xfrm>
          <a:prstGeom prst="rect">
            <a:avLst/>
          </a:prstGeom>
          <a:noFill/>
        </p:spPr>
        <p:txBody>
          <a:bodyPr wrap="square" lIns="168080" tIns="134464" rIns="168080" bIns="134464" rtlCol="0">
            <a:spAutoFit/>
          </a:bodyPr>
          <a:lstStyle/>
          <a:p>
            <a:pPr algn="ctr" defTabSz="857250">
              <a:lnSpc>
                <a:spcPct val="90000"/>
              </a:lnSpc>
              <a:spcAft>
                <a:spcPts val="551"/>
              </a:spcAft>
              <a:defRPr/>
            </a:pPr>
            <a:r>
              <a:rPr lang="en-US">
                <a:solidFill>
                  <a:srgbClr val="1A1A1A"/>
                </a:solidFill>
                <a:latin typeface="Segoe UI"/>
              </a:rPr>
              <a:t>Active Trades Collection</a:t>
            </a:r>
          </a:p>
        </p:txBody>
      </p:sp>
      <p:cxnSp>
        <p:nvCxnSpPr>
          <p:cNvPr id="23" name="Straight Arrow Connector 22">
            <a:extLst>
              <a:ext uri="{FF2B5EF4-FFF2-40B4-BE49-F238E27FC236}">
                <a16:creationId xmlns:a16="http://schemas.microsoft.com/office/drawing/2014/main" id="{C697A763-5C6A-E94B-BF5E-2D7913C0C3C1}"/>
              </a:ext>
            </a:extLst>
          </p:cNvPr>
          <p:cNvCxnSpPr>
            <a:cxnSpLocks/>
          </p:cNvCxnSpPr>
          <p:nvPr/>
        </p:nvCxnSpPr>
        <p:spPr>
          <a:xfrm>
            <a:off x="5696596" y="3951993"/>
            <a:ext cx="2355581" cy="80517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BB84A5E8-F744-B54B-8B0B-ED06D85DE754}"/>
              </a:ext>
            </a:extLst>
          </p:cNvPr>
          <p:cNvSpPr txBox="1"/>
          <p:nvPr/>
        </p:nvSpPr>
        <p:spPr>
          <a:xfrm>
            <a:off x="6677962" y="3584307"/>
            <a:ext cx="1378694" cy="853252"/>
          </a:xfrm>
          <a:prstGeom prst="rect">
            <a:avLst/>
          </a:prstGeom>
          <a:noFill/>
        </p:spPr>
        <p:txBody>
          <a:bodyPr wrap="square" lIns="168080" tIns="134464" rIns="168080" bIns="134464" rtlCol="0">
            <a:spAutoFit/>
          </a:bodyPr>
          <a:lstStyle/>
          <a:p>
            <a:pPr algn="ctr" defTabSz="857250">
              <a:lnSpc>
                <a:spcPct val="90000"/>
              </a:lnSpc>
              <a:spcAft>
                <a:spcPts val="551"/>
              </a:spcAft>
              <a:defRPr/>
            </a:pPr>
            <a:r>
              <a:rPr lang="en-US" sz="1400" i="1">
                <a:solidFill>
                  <a:srgbClr val="1A1A1A"/>
                </a:solidFill>
                <a:latin typeface="Segoe UI"/>
              </a:rPr>
              <a:t>2 – Read current position</a:t>
            </a:r>
          </a:p>
        </p:txBody>
      </p:sp>
      <p:sp>
        <p:nvSpPr>
          <p:cNvPr id="25" name="TextBox 24">
            <a:extLst>
              <a:ext uri="{FF2B5EF4-FFF2-40B4-BE49-F238E27FC236}">
                <a16:creationId xmlns:a16="http://schemas.microsoft.com/office/drawing/2014/main" id="{E6301656-2B0D-C84D-B10F-17DCF8BF7E3A}"/>
              </a:ext>
            </a:extLst>
          </p:cNvPr>
          <p:cNvSpPr txBox="1"/>
          <p:nvPr/>
        </p:nvSpPr>
        <p:spPr>
          <a:xfrm>
            <a:off x="8475352" y="5231111"/>
            <a:ext cx="1378694" cy="853252"/>
          </a:xfrm>
          <a:prstGeom prst="rect">
            <a:avLst/>
          </a:prstGeom>
          <a:noFill/>
        </p:spPr>
        <p:txBody>
          <a:bodyPr wrap="square" lIns="168080" tIns="134464" rIns="168080" bIns="134464" rtlCol="0">
            <a:spAutoFit/>
          </a:bodyPr>
          <a:lstStyle/>
          <a:p>
            <a:pPr algn="ctr" defTabSz="857250">
              <a:lnSpc>
                <a:spcPct val="90000"/>
              </a:lnSpc>
              <a:spcAft>
                <a:spcPts val="551"/>
              </a:spcAft>
              <a:defRPr/>
            </a:pPr>
            <a:r>
              <a:rPr lang="en-US" sz="1400" i="1">
                <a:solidFill>
                  <a:srgbClr val="1A1A1A"/>
                </a:solidFill>
                <a:latin typeface="Segoe UI"/>
              </a:rPr>
              <a:t>3 – Calculate updated position</a:t>
            </a:r>
          </a:p>
        </p:txBody>
      </p:sp>
      <p:sp>
        <p:nvSpPr>
          <p:cNvPr id="26" name="TextBox 25">
            <a:extLst>
              <a:ext uri="{FF2B5EF4-FFF2-40B4-BE49-F238E27FC236}">
                <a16:creationId xmlns:a16="http://schemas.microsoft.com/office/drawing/2014/main" id="{1C846D21-9CAD-6541-AC5B-0BCFAF0C10C7}"/>
              </a:ext>
            </a:extLst>
          </p:cNvPr>
          <p:cNvSpPr txBox="1"/>
          <p:nvPr/>
        </p:nvSpPr>
        <p:spPr>
          <a:xfrm>
            <a:off x="5692904" y="4264141"/>
            <a:ext cx="1378694" cy="659353"/>
          </a:xfrm>
          <a:prstGeom prst="rect">
            <a:avLst/>
          </a:prstGeom>
          <a:noFill/>
        </p:spPr>
        <p:txBody>
          <a:bodyPr wrap="square" lIns="168080" tIns="134464" rIns="168080" bIns="134464" rtlCol="0">
            <a:spAutoFit/>
          </a:bodyPr>
          <a:lstStyle/>
          <a:p>
            <a:pPr algn="ctr" defTabSz="857250">
              <a:lnSpc>
                <a:spcPct val="90000"/>
              </a:lnSpc>
              <a:spcAft>
                <a:spcPts val="551"/>
              </a:spcAft>
              <a:defRPr/>
            </a:pPr>
            <a:r>
              <a:rPr lang="en-US" sz="1400" i="1">
                <a:solidFill>
                  <a:srgbClr val="1A1A1A"/>
                </a:solidFill>
                <a:latin typeface="Segoe UI"/>
              </a:rPr>
              <a:t>4 – Update new position</a:t>
            </a:r>
          </a:p>
        </p:txBody>
      </p:sp>
      <p:cxnSp>
        <p:nvCxnSpPr>
          <p:cNvPr id="27" name="Straight Arrow Connector 26">
            <a:extLst>
              <a:ext uri="{FF2B5EF4-FFF2-40B4-BE49-F238E27FC236}">
                <a16:creationId xmlns:a16="http://schemas.microsoft.com/office/drawing/2014/main" id="{C8878DB1-28A3-7947-AA9F-2713B83B1495}"/>
              </a:ext>
            </a:extLst>
          </p:cNvPr>
          <p:cNvCxnSpPr/>
          <p:nvPr/>
        </p:nvCxnSpPr>
        <p:spPr>
          <a:xfrm>
            <a:off x="10191829" y="4853041"/>
            <a:ext cx="770365"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84F645C0-BCE1-F447-8818-36DBA82DB0ED}"/>
              </a:ext>
            </a:extLst>
          </p:cNvPr>
          <p:cNvSpPr txBox="1"/>
          <p:nvPr/>
        </p:nvSpPr>
        <p:spPr>
          <a:xfrm>
            <a:off x="10307562" y="4337692"/>
            <a:ext cx="1899357" cy="500784"/>
          </a:xfrm>
          <a:prstGeom prst="rect">
            <a:avLst/>
          </a:prstGeom>
          <a:noFill/>
        </p:spPr>
        <p:txBody>
          <a:bodyPr wrap="none" lIns="168080" tIns="134464" rIns="168080" bIns="134464" rtlCol="0">
            <a:spAutoFit/>
          </a:bodyPr>
          <a:lstStyle/>
          <a:p>
            <a:pPr defTabSz="857250">
              <a:lnSpc>
                <a:spcPct val="90000"/>
              </a:lnSpc>
              <a:spcAft>
                <a:spcPts val="551"/>
              </a:spcAft>
              <a:defRPr/>
            </a:pPr>
            <a:r>
              <a:rPr lang="en-US" sz="1655" i="1">
                <a:solidFill>
                  <a:srgbClr val="1A1A1A"/>
                </a:solidFill>
                <a:latin typeface="Segoe UI"/>
              </a:rPr>
              <a:t>Updated position</a:t>
            </a:r>
          </a:p>
        </p:txBody>
      </p:sp>
      <p:pic>
        <p:nvPicPr>
          <p:cNvPr id="29" name="Picture 28">
            <a:extLst>
              <a:ext uri="{FF2B5EF4-FFF2-40B4-BE49-F238E27FC236}">
                <a16:creationId xmlns:a16="http://schemas.microsoft.com/office/drawing/2014/main" id="{82F916A1-0BC2-2843-839C-EDE9D4F1A19E}"/>
              </a:ext>
            </a:extLst>
          </p:cNvPr>
          <p:cNvPicPr>
            <a:picLocks noChangeAspect="1"/>
          </p:cNvPicPr>
          <p:nvPr/>
        </p:nvPicPr>
        <p:blipFill>
          <a:blip r:embed="rId3"/>
          <a:stretch>
            <a:fillRect/>
          </a:stretch>
        </p:blipFill>
        <p:spPr>
          <a:xfrm>
            <a:off x="4687910" y="4853042"/>
            <a:ext cx="784534" cy="1709691"/>
          </a:xfrm>
          <a:prstGeom prst="rect">
            <a:avLst/>
          </a:prstGeom>
        </p:spPr>
      </p:pic>
      <p:pic>
        <p:nvPicPr>
          <p:cNvPr id="30" name="Picture 29">
            <a:extLst>
              <a:ext uri="{FF2B5EF4-FFF2-40B4-BE49-F238E27FC236}">
                <a16:creationId xmlns:a16="http://schemas.microsoft.com/office/drawing/2014/main" id="{679DCC24-9431-334D-AC0D-A6E05720391C}"/>
              </a:ext>
            </a:extLst>
          </p:cNvPr>
          <p:cNvPicPr>
            <a:picLocks noChangeAspect="1"/>
          </p:cNvPicPr>
          <p:nvPr/>
        </p:nvPicPr>
        <p:blipFill>
          <a:blip r:embed="rId4"/>
          <a:stretch>
            <a:fillRect/>
          </a:stretch>
        </p:blipFill>
        <p:spPr>
          <a:xfrm>
            <a:off x="4580268" y="3491642"/>
            <a:ext cx="920701" cy="920701"/>
          </a:xfrm>
          <a:prstGeom prst="rect">
            <a:avLst/>
          </a:prstGeom>
        </p:spPr>
      </p:pic>
      <p:pic>
        <p:nvPicPr>
          <p:cNvPr id="31" name="Picture 30">
            <a:extLst>
              <a:ext uri="{FF2B5EF4-FFF2-40B4-BE49-F238E27FC236}">
                <a16:creationId xmlns:a16="http://schemas.microsoft.com/office/drawing/2014/main" id="{3587FFA2-3E05-C44F-817B-14A112485A50}"/>
              </a:ext>
            </a:extLst>
          </p:cNvPr>
          <p:cNvPicPr>
            <a:picLocks noChangeAspect="1"/>
          </p:cNvPicPr>
          <p:nvPr/>
        </p:nvPicPr>
        <p:blipFill>
          <a:blip r:embed="rId4"/>
          <a:stretch>
            <a:fillRect/>
          </a:stretch>
        </p:blipFill>
        <p:spPr>
          <a:xfrm>
            <a:off x="2657448" y="5140166"/>
            <a:ext cx="920701" cy="920701"/>
          </a:xfrm>
          <a:prstGeom prst="rect">
            <a:avLst/>
          </a:prstGeom>
        </p:spPr>
      </p:pic>
    </p:spTree>
    <p:extLst>
      <p:ext uri="{BB962C8B-B14F-4D97-AF65-F5344CB8AC3E}">
        <p14:creationId xmlns:p14="http://schemas.microsoft.com/office/powerpoint/2010/main" val="543259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5216" y="2765810"/>
            <a:ext cx="6400800" cy="997196"/>
          </a:xfrm>
        </p:spPr>
        <p:txBody>
          <a:bodyPr/>
          <a:lstStyle/>
          <a:p>
            <a:r>
              <a:rPr lang="en-US"/>
              <a:t>Real-time big data processing on Azure Cosmos DB</a:t>
            </a:r>
          </a:p>
        </p:txBody>
      </p:sp>
    </p:spTree>
    <p:extLst>
      <p:ext uri="{BB962C8B-B14F-4D97-AF65-F5344CB8AC3E}">
        <p14:creationId xmlns:p14="http://schemas.microsoft.com/office/powerpoint/2010/main" val="4207933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16">
            <a:extLst>
              <a:ext uri="{FF2B5EF4-FFF2-40B4-BE49-F238E27FC236}">
                <a16:creationId xmlns:a16="http://schemas.microsoft.com/office/drawing/2014/main" id="{1B0F14DB-9255-9144-857F-5D2BB867B49A}"/>
              </a:ext>
            </a:extLst>
          </p:cNvPr>
          <p:cNvSpPr txBox="1">
            <a:spLocks/>
          </p:cNvSpPr>
          <p:nvPr/>
        </p:nvSpPr>
        <p:spPr>
          <a:xfrm>
            <a:off x="470700" y="661152"/>
            <a:ext cx="11018520" cy="1107996"/>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gradFill>
                  <a:gsLst>
                    <a:gs pos="1250">
                      <a:srgbClr val="1A1A1A"/>
                    </a:gs>
                    <a:gs pos="100000">
                      <a:srgbClr val="1A1A1A"/>
                    </a:gs>
                  </a:gsLst>
                  <a:lin ang="5400000" scaled="0"/>
                </a:gradFill>
                <a:latin typeface="Segoe UI Semibold"/>
              </a:rPr>
              <a:t>What constitutes a good architecture for real-time big data processing?</a:t>
            </a:r>
          </a:p>
        </p:txBody>
      </p:sp>
      <p:sp>
        <p:nvSpPr>
          <p:cNvPr id="5" name="Text Placeholder 5">
            <a:extLst>
              <a:ext uri="{FF2B5EF4-FFF2-40B4-BE49-F238E27FC236}">
                <a16:creationId xmlns:a16="http://schemas.microsoft.com/office/drawing/2014/main" id="{DAA2AED5-62C8-D246-9E83-052FFCDC5A61}"/>
              </a:ext>
            </a:extLst>
          </p:cNvPr>
          <p:cNvSpPr>
            <a:spLocks noGrp="1"/>
          </p:cNvSpPr>
          <p:nvPr>
            <p:ph type="body" sz="quarter" idx="10"/>
          </p:nvPr>
        </p:nvSpPr>
        <p:spPr>
          <a:xfrm>
            <a:off x="584200" y="2128554"/>
            <a:ext cx="10905020" cy="3016210"/>
          </a:xfrm>
        </p:spPr>
        <p:txBody>
          <a:bodyPr/>
          <a:lstStyle/>
          <a:p>
            <a:pPr marL="457200" indent="-457200">
              <a:buFont typeface="Arial" panose="020B0604020202020204" pitchFamily="34" charset="0"/>
              <a:buChar char="•"/>
            </a:pPr>
            <a:r>
              <a:rPr lang="en-US"/>
              <a:t>Fault-tolerance</a:t>
            </a:r>
          </a:p>
          <a:p>
            <a:pPr marL="457200" indent="-457200">
              <a:buFont typeface="Arial" panose="020B0604020202020204" pitchFamily="34" charset="0"/>
              <a:buChar char="•"/>
            </a:pPr>
            <a:r>
              <a:rPr lang="en-US"/>
              <a:t>Scalability</a:t>
            </a:r>
          </a:p>
          <a:p>
            <a:pPr marL="457200" indent="-457200">
              <a:buFont typeface="Arial" panose="020B0604020202020204" pitchFamily="34" charset="0"/>
              <a:buChar char="•"/>
            </a:pPr>
            <a:r>
              <a:rPr lang="en-US"/>
              <a:t>Predictability</a:t>
            </a:r>
          </a:p>
          <a:p>
            <a:pPr marL="457200" indent="-457200">
              <a:buFont typeface="Arial" panose="020B0604020202020204" pitchFamily="34" charset="0"/>
              <a:buChar char="•"/>
            </a:pPr>
            <a:r>
              <a:rPr lang="en-US"/>
              <a:t>Resiliency against stream imperfections</a:t>
            </a:r>
          </a:p>
          <a:p>
            <a:pPr marL="457200" indent="-457200">
              <a:buFont typeface="Arial" panose="020B0604020202020204" pitchFamily="34" charset="0"/>
              <a:buChar char="•"/>
            </a:pPr>
            <a:r>
              <a:rPr lang="en-US"/>
              <a:t>Ability to support batch and incremental updates</a:t>
            </a:r>
          </a:p>
          <a:p>
            <a:pPr marL="457200" indent="-457200">
              <a:buFont typeface="Arial" panose="020B0604020202020204" pitchFamily="34" charset="0"/>
              <a:buChar char="•"/>
            </a:pPr>
            <a:r>
              <a:rPr lang="en-US"/>
              <a:t>Extensibility</a:t>
            </a:r>
          </a:p>
        </p:txBody>
      </p:sp>
    </p:spTree>
    <p:extLst>
      <p:ext uri="{BB962C8B-B14F-4D97-AF65-F5344CB8AC3E}">
        <p14:creationId xmlns:p14="http://schemas.microsoft.com/office/powerpoint/2010/main" val="3169066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ounded Rectangle">
            <a:extLst>
              <a:ext uri="{FF2B5EF4-FFF2-40B4-BE49-F238E27FC236}">
                <a16:creationId xmlns:a16="http://schemas.microsoft.com/office/drawing/2014/main" id="{7E25D407-5947-B34F-856F-250123A01060}"/>
              </a:ext>
            </a:extLst>
          </p:cNvPr>
          <p:cNvSpPr/>
          <p:nvPr/>
        </p:nvSpPr>
        <p:spPr>
          <a:xfrm>
            <a:off x="2003992" y="1835736"/>
            <a:ext cx="2243853" cy="2493766"/>
          </a:xfrm>
          <a:prstGeom prst="roundRect">
            <a:avLst>
              <a:gd name="adj" fmla="val 12928"/>
            </a:avLst>
          </a:prstGeom>
          <a:solidFill>
            <a:srgbClr val="FFFFFF"/>
          </a:solidFill>
          <a:ln w="12700">
            <a:solidFill>
              <a:srgbClr val="535353"/>
            </a:solidFill>
            <a:prstDash val="sysDot"/>
            <a:miter lim="400000"/>
          </a:ln>
        </p:spPr>
        <p:txBody>
          <a:bodyPr lIns="45719" rIns="45719" anchor="ctr"/>
          <a:lstStyle/>
          <a:p>
            <a:pPr defTabSz="914367"/>
            <a:endParaRPr sz="1765">
              <a:solidFill>
                <a:srgbClr val="1A1A1A"/>
              </a:solidFill>
              <a:latin typeface="Segoe UI"/>
            </a:endParaRPr>
          </a:p>
        </p:txBody>
      </p:sp>
      <p:sp>
        <p:nvSpPr>
          <p:cNvPr id="44" name="Rounded Rectangle">
            <a:extLst>
              <a:ext uri="{FF2B5EF4-FFF2-40B4-BE49-F238E27FC236}">
                <a16:creationId xmlns:a16="http://schemas.microsoft.com/office/drawing/2014/main" id="{8A0043E5-9BFB-9647-8CC2-1128581FDF88}"/>
              </a:ext>
            </a:extLst>
          </p:cNvPr>
          <p:cNvSpPr/>
          <p:nvPr/>
        </p:nvSpPr>
        <p:spPr>
          <a:xfrm>
            <a:off x="4650671" y="1835736"/>
            <a:ext cx="2243852" cy="2493766"/>
          </a:xfrm>
          <a:prstGeom prst="roundRect">
            <a:avLst>
              <a:gd name="adj" fmla="val 12928"/>
            </a:avLst>
          </a:prstGeom>
          <a:solidFill>
            <a:srgbClr val="FFFFFF"/>
          </a:solidFill>
          <a:ln w="12700">
            <a:solidFill>
              <a:srgbClr val="535353"/>
            </a:solidFill>
            <a:prstDash val="sysDot"/>
            <a:miter lim="400000"/>
          </a:ln>
        </p:spPr>
        <p:txBody>
          <a:bodyPr lIns="45719" rIns="45719" anchor="ctr"/>
          <a:lstStyle/>
          <a:p>
            <a:pPr defTabSz="914367"/>
            <a:endParaRPr sz="1765">
              <a:solidFill>
                <a:srgbClr val="1A1A1A"/>
              </a:solidFill>
              <a:latin typeface="Segoe UI"/>
            </a:endParaRPr>
          </a:p>
        </p:txBody>
      </p:sp>
      <p:sp>
        <p:nvSpPr>
          <p:cNvPr id="45" name="Rounded Rectangle">
            <a:extLst>
              <a:ext uri="{FF2B5EF4-FFF2-40B4-BE49-F238E27FC236}">
                <a16:creationId xmlns:a16="http://schemas.microsoft.com/office/drawing/2014/main" id="{8A645920-8830-9942-ADCB-61F4640415D3}"/>
              </a:ext>
            </a:extLst>
          </p:cNvPr>
          <p:cNvSpPr/>
          <p:nvPr/>
        </p:nvSpPr>
        <p:spPr>
          <a:xfrm>
            <a:off x="2008580" y="4518408"/>
            <a:ext cx="4855489" cy="1685185"/>
          </a:xfrm>
          <a:prstGeom prst="roundRect">
            <a:avLst>
              <a:gd name="adj" fmla="val 17214"/>
            </a:avLst>
          </a:prstGeom>
          <a:solidFill>
            <a:srgbClr val="FFFFFF"/>
          </a:solidFill>
          <a:ln w="12700">
            <a:solidFill>
              <a:srgbClr val="535353"/>
            </a:solidFill>
            <a:prstDash val="sysDot"/>
            <a:miter lim="400000"/>
          </a:ln>
        </p:spPr>
        <p:txBody>
          <a:bodyPr lIns="45719" rIns="45719" anchor="ctr"/>
          <a:lstStyle/>
          <a:p>
            <a:pPr defTabSz="914367"/>
            <a:endParaRPr sz="1765">
              <a:solidFill>
                <a:srgbClr val="1A1A1A"/>
              </a:solidFill>
              <a:latin typeface="Segoe UI"/>
            </a:endParaRPr>
          </a:p>
        </p:txBody>
      </p:sp>
      <p:sp>
        <p:nvSpPr>
          <p:cNvPr id="46" name="speed layer">
            <a:extLst>
              <a:ext uri="{FF2B5EF4-FFF2-40B4-BE49-F238E27FC236}">
                <a16:creationId xmlns:a16="http://schemas.microsoft.com/office/drawing/2014/main" id="{87AEC6A3-9593-C341-994F-84658A61B07E}"/>
              </a:ext>
            </a:extLst>
          </p:cNvPr>
          <p:cNvSpPr txBox="1"/>
          <p:nvPr/>
        </p:nvSpPr>
        <p:spPr>
          <a:xfrm>
            <a:off x="2609588" y="4651302"/>
            <a:ext cx="953144" cy="307777"/>
          </a:xfrm>
          <a:prstGeom prst="rect">
            <a:avLst/>
          </a:prstGeom>
          <a:ln w="12700">
            <a:miter lim="400000"/>
          </a:ln>
          <a:extLst>
            <a:ext uri="{C572A759-6A51-4108-AA02-DFA0A04FC94B}">
              <ma14:wrappingTextBoxFlag xmlns="" xmlns:ma14="http://schemas.microsoft.com/office/mac/drawingml/2011/main" val="1"/>
            </a:ext>
          </a:extLst>
        </p:spPr>
        <p:txBody>
          <a:bodyPr wrap="none" lIns="45719" rIns="45719">
            <a:spAutoFit/>
          </a:bodyPr>
          <a:lstStyle>
            <a:lvl1pPr>
              <a:defRPr sz="1400">
                <a:latin typeface="Segoe UI Light"/>
                <a:ea typeface="Segoe UI Light"/>
                <a:cs typeface="Segoe UI Light"/>
                <a:sym typeface="Segoe UI Light"/>
              </a:defRPr>
            </a:lvl1pPr>
          </a:lstStyle>
          <a:p>
            <a:pPr defTabSz="914367"/>
            <a:r>
              <a:rPr>
                <a:solidFill>
                  <a:srgbClr val="1A1A1A"/>
                </a:solidFill>
              </a:rPr>
              <a:t>speed layer</a:t>
            </a:r>
          </a:p>
        </p:txBody>
      </p:sp>
      <p:sp>
        <p:nvSpPr>
          <p:cNvPr id="47" name="batch layer">
            <a:extLst>
              <a:ext uri="{FF2B5EF4-FFF2-40B4-BE49-F238E27FC236}">
                <a16:creationId xmlns:a16="http://schemas.microsoft.com/office/drawing/2014/main" id="{09B8E45F-4370-9C40-89BC-7B516C774435}"/>
              </a:ext>
            </a:extLst>
          </p:cNvPr>
          <p:cNvSpPr txBox="1"/>
          <p:nvPr/>
        </p:nvSpPr>
        <p:spPr>
          <a:xfrm>
            <a:off x="2601376" y="2024525"/>
            <a:ext cx="917878" cy="307777"/>
          </a:xfrm>
          <a:prstGeom prst="rect">
            <a:avLst/>
          </a:prstGeom>
          <a:ln w="12700">
            <a:miter lim="400000"/>
          </a:ln>
          <a:extLst>
            <a:ext uri="{C572A759-6A51-4108-AA02-DFA0A04FC94B}">
              <ma14:wrappingTextBoxFlag xmlns="" xmlns:ma14="http://schemas.microsoft.com/office/mac/drawingml/2011/main" val="1"/>
            </a:ext>
          </a:extLst>
        </p:spPr>
        <p:txBody>
          <a:bodyPr wrap="none" lIns="45719" rIns="45719">
            <a:spAutoFit/>
          </a:bodyPr>
          <a:lstStyle>
            <a:lvl1pPr>
              <a:defRPr sz="1400">
                <a:latin typeface="Segoe UI Light"/>
                <a:ea typeface="Segoe UI Light"/>
                <a:cs typeface="Segoe UI Light"/>
                <a:sym typeface="Segoe UI Light"/>
              </a:defRPr>
            </a:lvl1pPr>
          </a:lstStyle>
          <a:p>
            <a:pPr defTabSz="914367"/>
            <a:r>
              <a:rPr>
                <a:solidFill>
                  <a:srgbClr val="1A1A1A"/>
                </a:solidFill>
              </a:rPr>
              <a:t>batch layer</a:t>
            </a:r>
          </a:p>
        </p:txBody>
      </p:sp>
      <p:sp>
        <p:nvSpPr>
          <p:cNvPr id="48" name="serving layer">
            <a:extLst>
              <a:ext uri="{FF2B5EF4-FFF2-40B4-BE49-F238E27FC236}">
                <a16:creationId xmlns:a16="http://schemas.microsoft.com/office/drawing/2014/main" id="{EB089CAE-E84B-7E46-97BD-F2689979EE17}"/>
              </a:ext>
            </a:extLst>
          </p:cNvPr>
          <p:cNvSpPr txBox="1"/>
          <p:nvPr/>
        </p:nvSpPr>
        <p:spPr>
          <a:xfrm>
            <a:off x="5203444" y="1998804"/>
            <a:ext cx="1045862" cy="307777"/>
          </a:xfrm>
          <a:prstGeom prst="rect">
            <a:avLst/>
          </a:prstGeom>
          <a:ln w="12700">
            <a:miter lim="400000"/>
          </a:ln>
          <a:extLst>
            <a:ext uri="{C572A759-6A51-4108-AA02-DFA0A04FC94B}">
              <ma14:wrappingTextBoxFlag xmlns="" xmlns:ma14="http://schemas.microsoft.com/office/mac/drawingml/2011/main" val="1"/>
            </a:ext>
          </a:extLst>
        </p:spPr>
        <p:txBody>
          <a:bodyPr wrap="none" lIns="45719" rIns="45719">
            <a:spAutoFit/>
          </a:bodyPr>
          <a:lstStyle>
            <a:lvl1pPr>
              <a:defRPr sz="1400">
                <a:latin typeface="Segoe UI Light"/>
                <a:ea typeface="Segoe UI Light"/>
                <a:cs typeface="Segoe UI Light"/>
                <a:sym typeface="Segoe UI Light"/>
              </a:defRPr>
            </a:lvl1pPr>
          </a:lstStyle>
          <a:p>
            <a:pPr defTabSz="914367"/>
            <a:r>
              <a:rPr>
                <a:solidFill>
                  <a:srgbClr val="1A1A1A"/>
                </a:solidFill>
              </a:rPr>
              <a:t>serving layer</a:t>
            </a:r>
          </a:p>
        </p:txBody>
      </p:sp>
      <p:sp>
        <p:nvSpPr>
          <p:cNvPr id="50" name="real-time view">
            <a:extLst>
              <a:ext uri="{FF2B5EF4-FFF2-40B4-BE49-F238E27FC236}">
                <a16:creationId xmlns:a16="http://schemas.microsoft.com/office/drawing/2014/main" id="{F1D3C30B-1EBF-A248-A9C7-E77E8A0ED08A}"/>
              </a:ext>
            </a:extLst>
          </p:cNvPr>
          <p:cNvSpPr/>
          <p:nvPr/>
        </p:nvSpPr>
        <p:spPr>
          <a:xfrm>
            <a:off x="4936248" y="4814290"/>
            <a:ext cx="1270001" cy="517962"/>
          </a:xfrm>
          <a:prstGeom prst="rect">
            <a:avLst/>
          </a:prstGeom>
          <a:solidFill>
            <a:schemeClr val="accent1"/>
          </a:solidFill>
          <a:ln w="12700">
            <a:solidFill>
              <a:srgbClr val="42719B"/>
            </a:solidFill>
            <a:miter/>
          </a:ln>
          <a:extLst>
            <a:ext uri="{C572A759-6A51-4108-AA02-DFA0A04FC94B}">
              <ma14:wrappingTextBoxFlag xmlns="" xmlns:ma14="http://schemas.microsoft.com/office/mac/drawingml/2011/main" val="1"/>
            </a:ext>
          </a:extLst>
        </p:spPr>
        <p:txBody>
          <a:bodyPr lIns="45719" rIns="45719" anchor="ctr"/>
          <a:lstStyle>
            <a:lvl1pPr algn="ctr">
              <a:defRPr sz="1300">
                <a:solidFill>
                  <a:srgbClr val="FFFFFF"/>
                </a:solidFill>
                <a:latin typeface="Segoe UI Light"/>
                <a:ea typeface="Segoe UI Light"/>
                <a:cs typeface="Segoe UI Light"/>
                <a:sym typeface="Segoe UI Light"/>
              </a:defRPr>
            </a:lvl1pPr>
          </a:lstStyle>
          <a:p>
            <a:pPr defTabSz="914367"/>
            <a:r>
              <a:t>real-time view</a:t>
            </a:r>
          </a:p>
        </p:txBody>
      </p:sp>
      <p:sp>
        <p:nvSpPr>
          <p:cNvPr id="51" name="master dataset">
            <a:extLst>
              <a:ext uri="{FF2B5EF4-FFF2-40B4-BE49-F238E27FC236}">
                <a16:creationId xmlns:a16="http://schemas.microsoft.com/office/drawing/2014/main" id="{9FB340D4-DC90-694B-A350-7FBA0027662B}"/>
              </a:ext>
            </a:extLst>
          </p:cNvPr>
          <p:cNvSpPr/>
          <p:nvPr/>
        </p:nvSpPr>
        <p:spPr>
          <a:xfrm>
            <a:off x="2488551" y="3480910"/>
            <a:ext cx="1270001" cy="517963"/>
          </a:xfrm>
          <a:prstGeom prst="rect">
            <a:avLst/>
          </a:prstGeom>
          <a:solidFill>
            <a:srgbClr val="44546A"/>
          </a:solidFill>
          <a:ln w="12700">
            <a:miter lim="400000"/>
          </a:ln>
          <a:extLst>
            <a:ext uri="{C572A759-6A51-4108-AA02-DFA0A04FC94B}">
              <ma14:wrappingTextBoxFlag xmlns="" xmlns:ma14="http://schemas.microsoft.com/office/mac/drawingml/2011/main" val="1"/>
            </a:ext>
          </a:extLst>
        </p:spPr>
        <p:txBody>
          <a:bodyPr lIns="45719" rIns="45719" anchor="ctr"/>
          <a:lstStyle>
            <a:lvl1pPr algn="ctr">
              <a:lnSpc>
                <a:spcPct val="90000"/>
              </a:lnSpc>
              <a:defRPr sz="1300">
                <a:solidFill>
                  <a:srgbClr val="FFFFFF"/>
                </a:solidFill>
                <a:latin typeface="Segoe UI Light"/>
                <a:ea typeface="Segoe UI Light"/>
                <a:cs typeface="Segoe UI Light"/>
                <a:sym typeface="Segoe UI Light"/>
              </a:defRPr>
            </a:lvl1pPr>
          </a:lstStyle>
          <a:p>
            <a:pPr defTabSz="914367"/>
            <a:r>
              <a:t>master dataset</a:t>
            </a:r>
          </a:p>
        </p:txBody>
      </p:sp>
      <p:sp>
        <p:nvSpPr>
          <p:cNvPr id="52" name="batch view">
            <a:extLst>
              <a:ext uri="{FF2B5EF4-FFF2-40B4-BE49-F238E27FC236}">
                <a16:creationId xmlns:a16="http://schemas.microsoft.com/office/drawing/2014/main" id="{CC3EDB3F-B37D-2B4A-9A4F-C69A6B75372F}"/>
              </a:ext>
            </a:extLst>
          </p:cNvPr>
          <p:cNvSpPr/>
          <p:nvPr/>
        </p:nvSpPr>
        <p:spPr>
          <a:xfrm>
            <a:off x="5137598" y="2492049"/>
            <a:ext cx="1270001" cy="517962"/>
          </a:xfrm>
          <a:prstGeom prst="rect">
            <a:avLst/>
          </a:prstGeom>
          <a:solidFill>
            <a:srgbClr val="385724"/>
          </a:solidFill>
          <a:ln w="12700">
            <a:miter lim="400000"/>
          </a:ln>
          <a:extLst>
            <a:ext uri="{C572A759-6A51-4108-AA02-DFA0A04FC94B}">
              <ma14:wrappingTextBoxFlag xmlns="" xmlns:ma14="http://schemas.microsoft.com/office/mac/drawingml/2011/main" val="1"/>
            </a:ext>
          </a:extLst>
        </p:spPr>
        <p:txBody>
          <a:bodyPr lIns="45719" rIns="45719" anchor="ctr"/>
          <a:lstStyle>
            <a:lvl1pPr algn="ctr">
              <a:defRPr sz="1300">
                <a:solidFill>
                  <a:srgbClr val="FFFFFF"/>
                </a:solidFill>
                <a:latin typeface="Segoe UI Light"/>
                <a:ea typeface="Segoe UI Light"/>
                <a:cs typeface="Segoe UI Light"/>
                <a:sym typeface="Segoe UI Light"/>
              </a:defRPr>
            </a:lvl1pPr>
          </a:lstStyle>
          <a:p>
            <a:pPr defTabSz="914367"/>
            <a:r>
              <a:t>batch view</a:t>
            </a:r>
          </a:p>
        </p:txBody>
      </p:sp>
      <p:sp>
        <p:nvSpPr>
          <p:cNvPr id="53" name="batch view">
            <a:extLst>
              <a:ext uri="{FF2B5EF4-FFF2-40B4-BE49-F238E27FC236}">
                <a16:creationId xmlns:a16="http://schemas.microsoft.com/office/drawing/2014/main" id="{1EEA4258-3345-2B43-847F-D321A8A61398}"/>
              </a:ext>
            </a:extLst>
          </p:cNvPr>
          <p:cNvSpPr/>
          <p:nvPr/>
        </p:nvSpPr>
        <p:spPr>
          <a:xfrm>
            <a:off x="5137598" y="3400781"/>
            <a:ext cx="1270001" cy="517963"/>
          </a:xfrm>
          <a:prstGeom prst="rect">
            <a:avLst/>
          </a:prstGeom>
          <a:solidFill>
            <a:srgbClr val="385724"/>
          </a:solidFill>
          <a:ln w="12700">
            <a:miter lim="400000"/>
          </a:ln>
          <a:extLst>
            <a:ext uri="{C572A759-6A51-4108-AA02-DFA0A04FC94B}">
              <ma14:wrappingTextBoxFlag xmlns="" xmlns:ma14="http://schemas.microsoft.com/office/mac/drawingml/2011/main" val="1"/>
            </a:ext>
          </a:extLst>
        </p:spPr>
        <p:txBody>
          <a:bodyPr lIns="45719" rIns="45719" anchor="ctr"/>
          <a:lstStyle>
            <a:lvl1pPr algn="ctr">
              <a:defRPr sz="1300">
                <a:solidFill>
                  <a:srgbClr val="FFFFFF"/>
                </a:solidFill>
                <a:latin typeface="Segoe UI Light"/>
                <a:ea typeface="Segoe UI Light"/>
                <a:cs typeface="Segoe UI Light"/>
                <a:sym typeface="Segoe UI Light"/>
              </a:defRPr>
            </a:lvl1pPr>
          </a:lstStyle>
          <a:p>
            <a:pPr defTabSz="914367"/>
            <a:r>
              <a:t>batch view</a:t>
            </a:r>
          </a:p>
        </p:txBody>
      </p:sp>
      <p:sp>
        <p:nvSpPr>
          <p:cNvPr id="54" name="pre-compute">
            <a:extLst>
              <a:ext uri="{FF2B5EF4-FFF2-40B4-BE49-F238E27FC236}">
                <a16:creationId xmlns:a16="http://schemas.microsoft.com/office/drawing/2014/main" id="{91917361-EA2B-9945-9124-90C051BD3A01}"/>
              </a:ext>
            </a:extLst>
          </p:cNvPr>
          <p:cNvSpPr/>
          <p:nvPr/>
        </p:nvSpPr>
        <p:spPr>
          <a:xfrm>
            <a:off x="2488551" y="2572178"/>
            <a:ext cx="1270001" cy="517962"/>
          </a:xfrm>
          <a:prstGeom prst="rect">
            <a:avLst/>
          </a:prstGeom>
          <a:solidFill>
            <a:srgbClr val="385724"/>
          </a:solidFill>
          <a:ln w="12700">
            <a:miter lim="400000"/>
          </a:ln>
          <a:extLst>
            <a:ext uri="{C572A759-6A51-4108-AA02-DFA0A04FC94B}">
              <ma14:wrappingTextBoxFlag xmlns="" xmlns:ma14="http://schemas.microsoft.com/office/mac/drawingml/2011/main" val="1"/>
            </a:ext>
          </a:extLst>
        </p:spPr>
        <p:txBody>
          <a:bodyPr lIns="45719" rIns="45719" anchor="ctr"/>
          <a:lstStyle>
            <a:lvl1pPr algn="ctr">
              <a:defRPr sz="1300">
                <a:solidFill>
                  <a:srgbClr val="FFFFFF"/>
                </a:solidFill>
                <a:latin typeface="Segoe UI Light"/>
                <a:ea typeface="Segoe UI Light"/>
                <a:cs typeface="Segoe UI Light"/>
                <a:sym typeface="Segoe UI Light"/>
              </a:defRPr>
            </a:lvl1pPr>
          </a:lstStyle>
          <a:p>
            <a:pPr defTabSz="914367"/>
            <a:r>
              <a:rPr lang="en-US"/>
              <a:t>batch process </a:t>
            </a:r>
            <a:endParaRPr/>
          </a:p>
        </p:txBody>
      </p:sp>
      <p:sp>
        <p:nvSpPr>
          <p:cNvPr id="55" name="Arrow">
            <a:extLst>
              <a:ext uri="{FF2B5EF4-FFF2-40B4-BE49-F238E27FC236}">
                <a16:creationId xmlns:a16="http://schemas.microsoft.com/office/drawing/2014/main" id="{75F480FA-B261-9F47-98D6-6CAA78A1A44B}"/>
              </a:ext>
            </a:extLst>
          </p:cNvPr>
          <p:cNvSpPr/>
          <p:nvPr/>
        </p:nvSpPr>
        <p:spPr>
          <a:xfrm rot="19764966">
            <a:off x="1228492" y="3598928"/>
            <a:ext cx="754004" cy="312421"/>
          </a:xfrm>
          <a:prstGeom prst="rightArrow">
            <a:avLst>
              <a:gd name="adj1" fmla="val 51731"/>
              <a:gd name="adj2" fmla="val 78580"/>
            </a:avLst>
          </a:prstGeom>
          <a:solidFill>
            <a:schemeClr val="accent5"/>
          </a:solidFill>
          <a:ln w="12700">
            <a:miter lim="400000"/>
          </a:ln>
        </p:spPr>
        <p:txBody>
          <a:bodyPr lIns="45719" rIns="45719" anchor="ctr"/>
          <a:lstStyle/>
          <a:p>
            <a:pPr defTabSz="1219200">
              <a:defRPr sz="2400"/>
            </a:pPr>
            <a:endParaRPr sz="2400">
              <a:solidFill>
                <a:srgbClr val="1A1A1A"/>
              </a:solidFill>
              <a:latin typeface="Segoe UI"/>
            </a:endParaRPr>
          </a:p>
        </p:txBody>
      </p:sp>
      <p:sp>
        <p:nvSpPr>
          <p:cNvPr id="56" name="Arrow">
            <a:extLst>
              <a:ext uri="{FF2B5EF4-FFF2-40B4-BE49-F238E27FC236}">
                <a16:creationId xmlns:a16="http://schemas.microsoft.com/office/drawing/2014/main" id="{5094B523-562D-6C47-954E-A6B6447D12D5}"/>
              </a:ext>
            </a:extLst>
          </p:cNvPr>
          <p:cNvSpPr/>
          <p:nvPr/>
        </p:nvSpPr>
        <p:spPr>
          <a:xfrm rot="2052689">
            <a:off x="1215411" y="4600234"/>
            <a:ext cx="754004" cy="312421"/>
          </a:xfrm>
          <a:prstGeom prst="rightArrow">
            <a:avLst>
              <a:gd name="adj1" fmla="val 51731"/>
              <a:gd name="adj2" fmla="val 78580"/>
            </a:avLst>
          </a:prstGeom>
          <a:solidFill>
            <a:schemeClr val="accent5"/>
          </a:solidFill>
          <a:ln w="12700">
            <a:miter lim="400000"/>
          </a:ln>
        </p:spPr>
        <p:txBody>
          <a:bodyPr lIns="45719" rIns="45719" anchor="ctr"/>
          <a:lstStyle/>
          <a:p>
            <a:pPr defTabSz="1219200">
              <a:defRPr sz="2400"/>
            </a:pPr>
            <a:endParaRPr sz="2400">
              <a:solidFill>
                <a:srgbClr val="1A1A1A"/>
              </a:solidFill>
              <a:latin typeface="Segoe UI"/>
            </a:endParaRPr>
          </a:p>
        </p:txBody>
      </p:sp>
      <p:sp>
        <p:nvSpPr>
          <p:cNvPr id="59" name="2">
            <a:extLst>
              <a:ext uri="{FF2B5EF4-FFF2-40B4-BE49-F238E27FC236}">
                <a16:creationId xmlns:a16="http://schemas.microsoft.com/office/drawing/2014/main" id="{6E1FBEAC-BC33-E042-8D65-0E45BB0B6F05}"/>
              </a:ext>
            </a:extLst>
          </p:cNvPr>
          <p:cNvSpPr/>
          <p:nvPr/>
        </p:nvSpPr>
        <p:spPr>
          <a:xfrm>
            <a:off x="2313773" y="2955738"/>
            <a:ext cx="300991" cy="300991"/>
          </a:xfrm>
          <a:prstGeom prst="ellipse">
            <a:avLst/>
          </a:prstGeom>
          <a:gradFill>
            <a:gsLst>
              <a:gs pos="0">
                <a:schemeClr val="accent4">
                  <a:hueOff val="-406799"/>
                  <a:lumOff val="30382"/>
                </a:schemeClr>
              </a:gs>
              <a:gs pos="50000">
                <a:srgbClr val="FFD58D"/>
              </a:gs>
              <a:gs pos="100000">
                <a:schemeClr val="accent4">
                  <a:hueOff val="-362075"/>
                  <a:lumOff val="23565"/>
                </a:schemeClr>
              </a:gs>
            </a:gsLst>
            <a:lin ang="5400000"/>
          </a:gradFill>
          <a:ln w="6350">
            <a:solidFill>
              <a:schemeClr val="accent3">
                <a:lumOff val="-12941"/>
              </a:schemeClr>
            </a:solidFill>
            <a:miter/>
          </a:ln>
          <a:extLst>
            <a:ext uri="{C572A759-6A51-4108-AA02-DFA0A04FC94B}">
              <ma14:wrappingTextBoxFlag xmlns="" xmlns:ma14="http://schemas.microsoft.com/office/mac/drawingml/2011/main" val="1"/>
            </a:ext>
          </a:extLst>
        </p:spPr>
        <p:txBody>
          <a:bodyPr lIns="45719" rIns="45719" anchor="ctr"/>
          <a:lstStyle>
            <a:lvl1pPr algn="ctr">
              <a:defRPr sz="1200">
                <a:solidFill>
                  <a:srgbClr val="535353"/>
                </a:solidFill>
                <a:latin typeface="Segoe UI Light"/>
                <a:ea typeface="Segoe UI Light"/>
                <a:cs typeface="Segoe UI Light"/>
                <a:sym typeface="Segoe UI Light"/>
              </a:defRPr>
            </a:lvl1pPr>
          </a:lstStyle>
          <a:p>
            <a:pPr defTabSz="914367"/>
            <a:r>
              <a:rPr>
                <a:solidFill>
                  <a:srgbClr val="1A1A1A"/>
                </a:solidFill>
              </a:rPr>
              <a:t>2</a:t>
            </a:r>
          </a:p>
        </p:txBody>
      </p:sp>
      <p:sp>
        <p:nvSpPr>
          <p:cNvPr id="60" name="3">
            <a:extLst>
              <a:ext uri="{FF2B5EF4-FFF2-40B4-BE49-F238E27FC236}">
                <a16:creationId xmlns:a16="http://schemas.microsoft.com/office/drawing/2014/main" id="{BCBF452D-916D-CA48-9E76-5493824B5D97}"/>
              </a:ext>
            </a:extLst>
          </p:cNvPr>
          <p:cNvSpPr/>
          <p:nvPr/>
        </p:nvSpPr>
        <p:spPr>
          <a:xfrm>
            <a:off x="5026989" y="2932125"/>
            <a:ext cx="300991" cy="300991"/>
          </a:xfrm>
          <a:prstGeom prst="ellipse">
            <a:avLst/>
          </a:prstGeom>
          <a:gradFill>
            <a:gsLst>
              <a:gs pos="0">
                <a:schemeClr val="accent4">
                  <a:hueOff val="-406799"/>
                  <a:lumOff val="30382"/>
                </a:schemeClr>
              </a:gs>
              <a:gs pos="50000">
                <a:srgbClr val="FFD58D"/>
              </a:gs>
              <a:gs pos="100000">
                <a:schemeClr val="accent4">
                  <a:hueOff val="-362075"/>
                  <a:lumOff val="23565"/>
                </a:schemeClr>
              </a:gs>
            </a:gsLst>
            <a:lin ang="5400000"/>
          </a:gradFill>
          <a:ln w="6350">
            <a:solidFill>
              <a:schemeClr val="accent3">
                <a:lumOff val="-12941"/>
              </a:schemeClr>
            </a:solidFill>
            <a:miter/>
          </a:ln>
          <a:extLst>
            <a:ext uri="{C572A759-6A51-4108-AA02-DFA0A04FC94B}">
              <ma14:wrappingTextBoxFlag xmlns="" xmlns:ma14="http://schemas.microsoft.com/office/mac/drawingml/2011/main" val="1"/>
            </a:ext>
          </a:extLst>
        </p:spPr>
        <p:txBody>
          <a:bodyPr lIns="45719" rIns="45719" anchor="ctr"/>
          <a:lstStyle>
            <a:lvl1pPr algn="ctr">
              <a:defRPr sz="1200">
                <a:solidFill>
                  <a:srgbClr val="535353"/>
                </a:solidFill>
                <a:latin typeface="Segoe UI Light"/>
                <a:ea typeface="Segoe UI Light"/>
                <a:cs typeface="Segoe UI Light"/>
                <a:sym typeface="Segoe UI Light"/>
              </a:defRPr>
            </a:lvl1pPr>
          </a:lstStyle>
          <a:p>
            <a:pPr defTabSz="914367"/>
            <a:r>
              <a:rPr>
                <a:solidFill>
                  <a:srgbClr val="1A1A1A"/>
                </a:solidFill>
              </a:rPr>
              <a:t>3</a:t>
            </a:r>
          </a:p>
        </p:txBody>
      </p:sp>
      <p:sp>
        <p:nvSpPr>
          <p:cNvPr id="61" name="query">
            <a:extLst>
              <a:ext uri="{FF2B5EF4-FFF2-40B4-BE49-F238E27FC236}">
                <a16:creationId xmlns:a16="http://schemas.microsoft.com/office/drawing/2014/main" id="{CAE90F07-9E9A-FD4E-A34E-ECB08EEB1552}"/>
              </a:ext>
            </a:extLst>
          </p:cNvPr>
          <p:cNvSpPr/>
          <p:nvPr/>
        </p:nvSpPr>
        <p:spPr>
          <a:xfrm>
            <a:off x="7114515" y="3721256"/>
            <a:ext cx="980876" cy="812801"/>
          </a:xfrm>
          <a:prstGeom prst="wedgeEllipseCallout">
            <a:avLst>
              <a:gd name="adj1" fmla="val -48964"/>
              <a:gd name="adj2" fmla="val 70000"/>
            </a:avLst>
          </a:prstGeom>
          <a:solidFill>
            <a:srgbClr val="FFFFFF"/>
          </a:solidFill>
          <a:ln w="12700">
            <a:solidFill>
              <a:schemeClr val="accent1"/>
            </a:solidFill>
            <a:miter/>
          </a:ln>
          <a:extLst>
            <a:ext uri="{C572A759-6A51-4108-AA02-DFA0A04FC94B}">
              <ma14:wrappingTextBoxFlag xmlns="" xmlns:ma14="http://schemas.microsoft.com/office/mac/drawingml/2011/main" val="1"/>
            </a:ext>
          </a:extLst>
        </p:spPr>
        <p:txBody>
          <a:bodyPr lIns="45719" rIns="45719" anchor="ctr"/>
          <a:lstStyle>
            <a:lvl1pPr algn="ctr">
              <a:defRPr sz="1400">
                <a:latin typeface="Segoe UI Light"/>
                <a:ea typeface="Segoe UI Light"/>
                <a:cs typeface="Segoe UI Light"/>
                <a:sym typeface="Segoe UI Light"/>
              </a:defRPr>
            </a:lvl1pPr>
          </a:lstStyle>
          <a:p>
            <a:pPr defTabSz="914367"/>
            <a:r>
              <a:rPr>
                <a:solidFill>
                  <a:srgbClr val="1A1A1A"/>
                </a:solidFill>
              </a:rPr>
              <a:t>query</a:t>
            </a:r>
          </a:p>
        </p:txBody>
      </p:sp>
      <p:sp>
        <p:nvSpPr>
          <p:cNvPr id="62" name="5">
            <a:extLst>
              <a:ext uri="{FF2B5EF4-FFF2-40B4-BE49-F238E27FC236}">
                <a16:creationId xmlns:a16="http://schemas.microsoft.com/office/drawing/2014/main" id="{838DAA35-EABC-D344-BE60-1A02FB763BF3}"/>
              </a:ext>
            </a:extLst>
          </p:cNvPr>
          <p:cNvSpPr/>
          <p:nvPr/>
        </p:nvSpPr>
        <p:spPr>
          <a:xfrm>
            <a:off x="7787453" y="3634642"/>
            <a:ext cx="300991" cy="300991"/>
          </a:xfrm>
          <a:prstGeom prst="ellipse">
            <a:avLst/>
          </a:prstGeom>
          <a:gradFill>
            <a:gsLst>
              <a:gs pos="0">
                <a:schemeClr val="accent4">
                  <a:hueOff val="-406799"/>
                  <a:lumOff val="30382"/>
                </a:schemeClr>
              </a:gs>
              <a:gs pos="50000">
                <a:srgbClr val="FFD58D"/>
              </a:gs>
              <a:gs pos="100000">
                <a:schemeClr val="accent4">
                  <a:hueOff val="-362075"/>
                  <a:lumOff val="23565"/>
                </a:schemeClr>
              </a:gs>
            </a:gsLst>
            <a:lin ang="5400000"/>
          </a:gradFill>
          <a:ln w="6350">
            <a:solidFill>
              <a:schemeClr val="accent3">
                <a:lumOff val="-12941"/>
              </a:schemeClr>
            </a:solidFill>
            <a:miter/>
          </a:ln>
          <a:extLst>
            <a:ext uri="{C572A759-6A51-4108-AA02-DFA0A04FC94B}">
              <ma14:wrappingTextBoxFlag xmlns="" xmlns:ma14="http://schemas.microsoft.com/office/mac/drawingml/2011/main" val="1"/>
            </a:ext>
          </a:extLst>
        </p:spPr>
        <p:txBody>
          <a:bodyPr lIns="45719" rIns="45719" anchor="ctr"/>
          <a:lstStyle>
            <a:lvl1pPr algn="ctr">
              <a:defRPr sz="1200">
                <a:solidFill>
                  <a:srgbClr val="535353"/>
                </a:solidFill>
                <a:latin typeface="Segoe UI Light"/>
                <a:ea typeface="Segoe UI Light"/>
                <a:cs typeface="Segoe UI Light"/>
                <a:sym typeface="Segoe UI Light"/>
              </a:defRPr>
            </a:lvl1pPr>
          </a:lstStyle>
          <a:p>
            <a:pPr defTabSz="914367"/>
            <a:r>
              <a:rPr>
                <a:solidFill>
                  <a:srgbClr val="1A1A1A"/>
                </a:solidFill>
              </a:rPr>
              <a:t>5</a:t>
            </a:r>
          </a:p>
        </p:txBody>
      </p:sp>
      <p:cxnSp>
        <p:nvCxnSpPr>
          <p:cNvPr id="63" name="Connection Line">
            <a:extLst>
              <a:ext uri="{FF2B5EF4-FFF2-40B4-BE49-F238E27FC236}">
                <a16:creationId xmlns:a16="http://schemas.microsoft.com/office/drawing/2014/main" id="{BF3C5169-4498-6747-815E-D03F5A18E2CA}"/>
              </a:ext>
            </a:extLst>
          </p:cNvPr>
          <p:cNvCxnSpPr>
            <a:cxnSpLocks/>
          </p:cNvCxnSpPr>
          <p:nvPr/>
        </p:nvCxnSpPr>
        <p:spPr>
          <a:xfrm>
            <a:off x="5772598" y="3659762"/>
            <a:ext cx="1832357" cy="467895"/>
          </a:xfrm>
          <a:prstGeom prst="straightConnector1">
            <a:avLst/>
          </a:prstGeom>
          <a:ln w="12700">
            <a:solidFill>
              <a:schemeClr val="accent6">
                <a:lumOff val="-9568"/>
              </a:schemeClr>
            </a:solidFill>
            <a:miter/>
            <a:tailEnd type="triangle"/>
          </a:ln>
          <a:effectLst>
            <a:outerShdw blurRad="63500" dist="19050" dir="5400000" rotWithShape="0">
              <a:srgbClr val="000000">
                <a:alpha val="63000"/>
              </a:srgbClr>
            </a:outerShdw>
          </a:effectLst>
        </p:spPr>
      </p:cxnSp>
      <p:cxnSp>
        <p:nvCxnSpPr>
          <p:cNvPr id="64" name="Connection Line">
            <a:extLst>
              <a:ext uri="{FF2B5EF4-FFF2-40B4-BE49-F238E27FC236}">
                <a16:creationId xmlns:a16="http://schemas.microsoft.com/office/drawing/2014/main" id="{A7530F8F-5ECA-7249-A2FE-175CE8B87D99}"/>
              </a:ext>
            </a:extLst>
          </p:cNvPr>
          <p:cNvCxnSpPr>
            <a:cxnSpLocks/>
          </p:cNvCxnSpPr>
          <p:nvPr/>
        </p:nvCxnSpPr>
        <p:spPr>
          <a:xfrm>
            <a:off x="5772598" y="2751030"/>
            <a:ext cx="1832357" cy="1376626"/>
          </a:xfrm>
          <a:prstGeom prst="straightConnector1">
            <a:avLst/>
          </a:prstGeom>
          <a:ln w="12700">
            <a:solidFill>
              <a:schemeClr val="accent6">
                <a:lumOff val="-9568"/>
              </a:schemeClr>
            </a:solidFill>
            <a:miter/>
            <a:tailEnd type="arrow" w="med" len="med"/>
          </a:ln>
          <a:effectLst>
            <a:outerShdw blurRad="63500" dist="19050" dir="5400000" rotWithShape="0">
              <a:srgbClr val="000000">
                <a:alpha val="63000"/>
              </a:srgbClr>
            </a:outerShdw>
          </a:effectLst>
        </p:spPr>
      </p:cxnSp>
      <p:cxnSp>
        <p:nvCxnSpPr>
          <p:cNvPr id="66" name="Connection Line">
            <a:extLst>
              <a:ext uri="{FF2B5EF4-FFF2-40B4-BE49-F238E27FC236}">
                <a16:creationId xmlns:a16="http://schemas.microsoft.com/office/drawing/2014/main" id="{B44E7197-B1D9-4D41-8DCA-7DC775A251E1}"/>
              </a:ext>
            </a:extLst>
          </p:cNvPr>
          <p:cNvCxnSpPr>
            <a:cxnSpLocks/>
          </p:cNvCxnSpPr>
          <p:nvPr/>
        </p:nvCxnSpPr>
        <p:spPr>
          <a:xfrm flipV="1">
            <a:off x="6075396" y="4127657"/>
            <a:ext cx="1529559" cy="945615"/>
          </a:xfrm>
          <a:prstGeom prst="straightConnector1">
            <a:avLst/>
          </a:prstGeom>
          <a:ln w="12700">
            <a:solidFill>
              <a:schemeClr val="accent1"/>
            </a:solidFill>
            <a:miter/>
            <a:tailEnd type="triangle"/>
          </a:ln>
          <a:effectLst>
            <a:outerShdw blurRad="63500" dist="19050" dir="5400000" rotWithShape="0">
              <a:srgbClr val="000000">
                <a:alpha val="63000"/>
              </a:srgbClr>
            </a:outerShdw>
          </a:effectLst>
        </p:spPr>
      </p:cxnSp>
      <p:sp>
        <p:nvSpPr>
          <p:cNvPr id="67" name="The components of a Lambda Architecture…">
            <a:extLst>
              <a:ext uri="{FF2B5EF4-FFF2-40B4-BE49-F238E27FC236}">
                <a16:creationId xmlns:a16="http://schemas.microsoft.com/office/drawing/2014/main" id="{D87673B3-BA7F-714E-8177-EDCFCF6E276C}"/>
              </a:ext>
            </a:extLst>
          </p:cNvPr>
          <p:cNvSpPr txBox="1"/>
          <p:nvPr/>
        </p:nvSpPr>
        <p:spPr>
          <a:xfrm>
            <a:off x="8262334" y="1846420"/>
            <a:ext cx="3555341" cy="4180632"/>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p>
            <a:pPr defTabSz="914367">
              <a:spcBef>
                <a:spcPts val="1000"/>
              </a:spcBef>
              <a:defRPr sz="1400">
                <a:latin typeface="Segoe UI Light"/>
                <a:ea typeface="Segoe UI Light"/>
                <a:cs typeface="Segoe UI Light"/>
                <a:sym typeface="Segoe UI Light"/>
              </a:defRPr>
            </a:pPr>
            <a:r>
              <a:rPr sz="1400">
                <a:solidFill>
                  <a:srgbClr val="1A1A1A"/>
                </a:solidFill>
                <a:latin typeface="Segoe UI Light"/>
                <a:cs typeface="Segoe UI Light"/>
                <a:sym typeface="Segoe UI Light"/>
              </a:rPr>
              <a:t>The components of a Lambda Architecture</a:t>
            </a:r>
            <a:r>
              <a:rPr lang="en-US" sz="1400">
                <a:solidFill>
                  <a:srgbClr val="1A1A1A"/>
                </a:solidFill>
                <a:latin typeface="Segoe UI Light"/>
                <a:cs typeface="Segoe UI Light"/>
                <a:sym typeface="Segoe UI Light"/>
              </a:rPr>
              <a:t>:</a:t>
            </a:r>
            <a:endParaRPr sz="1400">
              <a:solidFill>
                <a:srgbClr val="1A1A1A"/>
              </a:solidFill>
              <a:latin typeface="Segoe UI Light"/>
              <a:cs typeface="Segoe UI Light"/>
              <a:sym typeface="Segoe UI Light"/>
            </a:endParaRPr>
          </a:p>
          <a:p>
            <a:pPr marL="187157" indent="-187157" defTabSz="914367">
              <a:spcBef>
                <a:spcPts val="1000"/>
              </a:spcBef>
              <a:buSzPct val="100000"/>
              <a:buFontTx/>
              <a:buAutoNum type="arabicPeriod"/>
              <a:defRPr sz="1400">
                <a:latin typeface="Segoe UI Light"/>
                <a:ea typeface="Segoe UI Light"/>
                <a:cs typeface="Segoe UI Light"/>
                <a:sym typeface="Segoe UI Light"/>
              </a:defRPr>
            </a:pPr>
            <a:r>
              <a:rPr sz="1400">
                <a:solidFill>
                  <a:srgbClr val="1A1A1A"/>
                </a:solidFill>
                <a:latin typeface="Segoe UI Light"/>
                <a:cs typeface="Segoe UI Light"/>
                <a:sym typeface="Segoe UI Light"/>
              </a:rPr>
              <a:t>All </a:t>
            </a:r>
            <a:r>
              <a:rPr sz="1400" b="1">
                <a:solidFill>
                  <a:srgbClr val="1A1A1A"/>
                </a:solidFill>
                <a:latin typeface="Segoe UI Light"/>
                <a:cs typeface="Segoe UI Light"/>
                <a:sym typeface="Segoe UI Light"/>
              </a:rPr>
              <a:t>data</a:t>
            </a:r>
            <a:r>
              <a:rPr sz="1400">
                <a:solidFill>
                  <a:srgbClr val="1A1A1A"/>
                </a:solidFill>
                <a:latin typeface="Segoe UI Light"/>
                <a:cs typeface="Segoe UI Light"/>
                <a:sym typeface="Segoe UI Light"/>
              </a:rPr>
              <a:t> pushed into </a:t>
            </a:r>
            <a:r>
              <a:rPr sz="1400" i="1">
                <a:solidFill>
                  <a:srgbClr val="1A1A1A"/>
                </a:solidFill>
                <a:latin typeface="Segoe UI Light"/>
                <a:cs typeface="Segoe UI Light"/>
                <a:sym typeface="Segoe UI Light"/>
              </a:rPr>
              <a:t>both</a:t>
            </a:r>
            <a:r>
              <a:rPr sz="1400">
                <a:solidFill>
                  <a:srgbClr val="1A1A1A"/>
                </a:solidFill>
                <a:latin typeface="Segoe UI Light"/>
                <a:cs typeface="Segoe UI Light"/>
                <a:sym typeface="Segoe UI Light"/>
              </a:rPr>
              <a:t> batch and speed layer for processing </a:t>
            </a:r>
          </a:p>
          <a:p>
            <a:pPr marL="187157" indent="-187157" defTabSz="914367">
              <a:spcBef>
                <a:spcPts val="1000"/>
              </a:spcBef>
              <a:buSzPct val="100000"/>
              <a:buFontTx/>
              <a:buAutoNum type="arabicPeriod"/>
              <a:defRPr sz="1400">
                <a:latin typeface="Segoe UI Light"/>
                <a:ea typeface="Segoe UI Light"/>
                <a:cs typeface="Segoe UI Light"/>
                <a:sym typeface="Segoe UI Light"/>
              </a:defRPr>
            </a:pPr>
            <a:r>
              <a:rPr sz="1400">
                <a:solidFill>
                  <a:srgbClr val="1A1A1A"/>
                </a:solidFill>
                <a:latin typeface="Segoe UI Light"/>
                <a:cs typeface="Segoe UI Light"/>
                <a:sym typeface="Segoe UI Light"/>
              </a:rPr>
              <a:t>The </a:t>
            </a:r>
            <a:r>
              <a:rPr sz="1400" b="1">
                <a:solidFill>
                  <a:srgbClr val="0078D4">
                    <a:lumMod val="60000"/>
                    <a:lumOff val="40000"/>
                  </a:srgbClr>
                </a:solidFill>
                <a:latin typeface="Segoe UI Light"/>
                <a:cs typeface="Segoe UI Light"/>
                <a:sym typeface="Segoe UI Light"/>
              </a:rPr>
              <a:t>batch</a:t>
            </a:r>
            <a:r>
              <a:rPr sz="1400">
                <a:solidFill>
                  <a:srgbClr val="1A1A1A"/>
                </a:solidFill>
                <a:latin typeface="Segoe UI Light"/>
                <a:cs typeface="Segoe UI Light"/>
                <a:sym typeface="Segoe UI Light"/>
              </a:rPr>
              <a:t> layer has a master dataset (immutable, append-only set of raw data) and pre-compute the batch views</a:t>
            </a:r>
          </a:p>
          <a:p>
            <a:pPr marL="187157" indent="-187157" defTabSz="914367">
              <a:spcBef>
                <a:spcPts val="1000"/>
              </a:spcBef>
              <a:buSzPct val="100000"/>
              <a:buFontTx/>
              <a:buAutoNum type="arabicPeriod"/>
              <a:defRPr sz="1400">
                <a:latin typeface="Segoe UI Light"/>
                <a:ea typeface="Segoe UI Light"/>
                <a:cs typeface="Segoe UI Light"/>
                <a:sym typeface="Segoe UI Light"/>
              </a:defRPr>
            </a:pPr>
            <a:r>
              <a:rPr sz="1400">
                <a:solidFill>
                  <a:srgbClr val="1A1A1A"/>
                </a:solidFill>
                <a:latin typeface="Segoe UI Light"/>
                <a:cs typeface="Segoe UI Light"/>
                <a:sym typeface="Segoe UI Light"/>
              </a:rPr>
              <a:t>The </a:t>
            </a:r>
            <a:r>
              <a:rPr sz="1400" b="1">
                <a:solidFill>
                  <a:srgbClr val="D83B01">
                    <a:lumMod val="75000"/>
                  </a:srgbClr>
                </a:solidFill>
                <a:latin typeface="Segoe UI Light"/>
                <a:cs typeface="Segoe UI Light"/>
                <a:sym typeface="Segoe UI Light"/>
              </a:rPr>
              <a:t>serving</a:t>
            </a:r>
            <a:r>
              <a:rPr sz="1400" b="1">
                <a:solidFill>
                  <a:srgbClr val="1A1A1A"/>
                </a:solidFill>
                <a:latin typeface="Segoe UI Light"/>
                <a:cs typeface="Segoe UI Light"/>
                <a:sym typeface="Segoe UI Light"/>
              </a:rPr>
              <a:t> </a:t>
            </a:r>
            <a:r>
              <a:rPr sz="1400">
                <a:solidFill>
                  <a:srgbClr val="1A1A1A"/>
                </a:solidFill>
                <a:latin typeface="Segoe UI Light"/>
                <a:cs typeface="Segoe UI Light"/>
                <a:sym typeface="Segoe UI Light"/>
              </a:rPr>
              <a:t>layer has batch views so data</a:t>
            </a:r>
            <a:r>
              <a:rPr lang="en-US" sz="1400">
                <a:solidFill>
                  <a:srgbClr val="1A1A1A"/>
                </a:solidFill>
                <a:latin typeface="Segoe UI Light"/>
                <a:cs typeface="Segoe UI Light"/>
                <a:sym typeface="Segoe UI Light"/>
              </a:rPr>
              <a:t> available</a:t>
            </a:r>
            <a:r>
              <a:rPr sz="1400">
                <a:solidFill>
                  <a:srgbClr val="1A1A1A"/>
                </a:solidFill>
                <a:latin typeface="Segoe UI Light"/>
                <a:cs typeface="Segoe UI Light"/>
                <a:sym typeface="Segoe UI Light"/>
              </a:rPr>
              <a:t> for fast queries.  </a:t>
            </a:r>
          </a:p>
          <a:p>
            <a:pPr marL="187157" indent="-187157" defTabSz="914367">
              <a:spcBef>
                <a:spcPts val="1000"/>
              </a:spcBef>
              <a:buSzPct val="100000"/>
              <a:buFontTx/>
              <a:buAutoNum type="arabicPeriod"/>
              <a:defRPr sz="1400">
                <a:latin typeface="Segoe UI Light"/>
                <a:ea typeface="Segoe UI Light"/>
                <a:cs typeface="Segoe UI Light"/>
                <a:sym typeface="Segoe UI Light"/>
              </a:defRPr>
            </a:pPr>
            <a:r>
              <a:rPr sz="1400">
                <a:solidFill>
                  <a:srgbClr val="1A1A1A"/>
                </a:solidFill>
                <a:latin typeface="Segoe UI Light"/>
                <a:cs typeface="Segoe UI Light"/>
                <a:sym typeface="Segoe UI Light"/>
              </a:rPr>
              <a:t>The </a:t>
            </a:r>
            <a:r>
              <a:rPr sz="1400" b="1">
                <a:solidFill>
                  <a:srgbClr val="737373">
                    <a:satOff val="-3547"/>
                    <a:lumOff val="-10352"/>
                  </a:srgbClr>
                </a:solidFill>
                <a:latin typeface="Segoe UI Light"/>
                <a:cs typeface="Segoe UI Light"/>
                <a:sym typeface="Segoe UI Light"/>
              </a:rPr>
              <a:t>speed</a:t>
            </a:r>
            <a:r>
              <a:rPr sz="1400">
                <a:solidFill>
                  <a:srgbClr val="1A1A1A"/>
                </a:solidFill>
                <a:latin typeface="Segoe UI Light"/>
                <a:cs typeface="Segoe UI Light"/>
                <a:sym typeface="Segoe UI Light"/>
              </a:rPr>
              <a:t> layer compensates for processing time (to serving layer) and deals with recent data only.</a:t>
            </a:r>
          </a:p>
          <a:p>
            <a:pPr marL="187157" indent="-187157" defTabSz="914367">
              <a:spcBef>
                <a:spcPts val="1000"/>
              </a:spcBef>
              <a:buSzPct val="100000"/>
              <a:buFontTx/>
              <a:buAutoNum type="arabicPeriod"/>
              <a:defRPr sz="1400">
                <a:latin typeface="Segoe UI Light"/>
                <a:ea typeface="Segoe UI Light"/>
                <a:cs typeface="Segoe UI Light"/>
                <a:sym typeface="Segoe UI Light"/>
              </a:defRPr>
            </a:pPr>
            <a:r>
              <a:rPr sz="1400">
                <a:solidFill>
                  <a:srgbClr val="1A1A1A"/>
                </a:solidFill>
                <a:latin typeface="Segoe UI Light"/>
                <a:cs typeface="Segoe UI Light"/>
                <a:sym typeface="Segoe UI Light"/>
              </a:rPr>
              <a:t>All queries can be answered by merging results from batch views and real-time views.</a:t>
            </a:r>
          </a:p>
          <a:p>
            <a:pPr defTabSz="914367">
              <a:defRPr sz="1400" i="1">
                <a:latin typeface="Segoe UI Light"/>
                <a:ea typeface="Segoe UI Light"/>
                <a:cs typeface="Segoe UI Light"/>
                <a:sym typeface="Segoe UI Light"/>
              </a:defRPr>
            </a:pPr>
            <a:endParaRPr sz="1400" i="1">
              <a:solidFill>
                <a:srgbClr val="1A1A1A"/>
              </a:solidFill>
              <a:latin typeface="Segoe UI Light"/>
              <a:cs typeface="Segoe UI Light"/>
              <a:sym typeface="Segoe UI Light"/>
            </a:endParaRPr>
          </a:p>
          <a:p>
            <a:pPr defTabSz="914367">
              <a:defRPr sz="1400" i="1">
                <a:latin typeface="Segoe UI Light"/>
                <a:ea typeface="Segoe UI Light"/>
                <a:cs typeface="Segoe UI Light"/>
                <a:sym typeface="Segoe UI Light"/>
              </a:defRPr>
            </a:pPr>
            <a:r>
              <a:rPr sz="1400" i="1">
                <a:solidFill>
                  <a:srgbClr val="1A1A1A"/>
                </a:solidFill>
                <a:latin typeface="Segoe UI Light"/>
                <a:cs typeface="Segoe UI Light"/>
                <a:sym typeface="Segoe UI Light"/>
              </a:rPr>
              <a:t>Source: http://lambda-</a:t>
            </a:r>
            <a:r>
              <a:rPr sz="1400" i="1" err="1">
                <a:solidFill>
                  <a:srgbClr val="1A1A1A"/>
                </a:solidFill>
                <a:latin typeface="Segoe UI Light"/>
                <a:cs typeface="Segoe UI Light"/>
                <a:sym typeface="Segoe UI Light"/>
              </a:rPr>
              <a:t>architecture.net</a:t>
            </a:r>
            <a:r>
              <a:rPr sz="1400" i="1">
                <a:solidFill>
                  <a:srgbClr val="1A1A1A"/>
                </a:solidFill>
                <a:latin typeface="Segoe UI Light"/>
                <a:cs typeface="Segoe UI Light"/>
                <a:sym typeface="Segoe UI Light"/>
              </a:rPr>
              <a:t>/</a:t>
            </a:r>
          </a:p>
        </p:txBody>
      </p:sp>
      <p:sp>
        <p:nvSpPr>
          <p:cNvPr id="68" name="new data">
            <a:extLst>
              <a:ext uri="{FF2B5EF4-FFF2-40B4-BE49-F238E27FC236}">
                <a16:creationId xmlns:a16="http://schemas.microsoft.com/office/drawing/2014/main" id="{E9B6D827-B630-7144-B7E5-9FEDF65B9938}"/>
              </a:ext>
            </a:extLst>
          </p:cNvPr>
          <p:cNvSpPr/>
          <p:nvPr/>
        </p:nvSpPr>
        <p:spPr>
          <a:xfrm>
            <a:off x="386055" y="3775913"/>
            <a:ext cx="875388" cy="875388"/>
          </a:xfrm>
          <a:prstGeom prst="ellipse">
            <a:avLst/>
          </a:prstGeom>
          <a:solidFill>
            <a:srgbClr val="FFFFFF"/>
          </a:solidFill>
          <a:ln w="12700">
            <a:solidFill>
              <a:srgbClr val="535353"/>
            </a:solidFill>
            <a:prstDash val="sysDot"/>
            <a:miter lim="400000"/>
          </a:ln>
          <a:extLst>
            <a:ext uri="{C572A759-6A51-4108-AA02-DFA0A04FC94B}">
              <ma14:wrappingTextBoxFlag xmlns="" xmlns:ma14="http://schemas.microsoft.com/office/mac/drawingml/2011/main" val="1"/>
            </a:ext>
          </a:extLst>
        </p:spPr>
        <p:txBody>
          <a:bodyPr lIns="45719" rIns="45719" anchor="ctr"/>
          <a:lstStyle>
            <a:lvl1pPr algn="ctr">
              <a:defRPr sz="1400">
                <a:latin typeface="Segoe UI Light"/>
                <a:ea typeface="Segoe UI Light"/>
                <a:cs typeface="Segoe UI Light"/>
                <a:sym typeface="Segoe UI Light"/>
              </a:defRPr>
            </a:lvl1pPr>
          </a:lstStyle>
          <a:p>
            <a:pPr defTabSz="914367"/>
            <a:r>
              <a:rPr>
                <a:solidFill>
                  <a:srgbClr val="1A1A1A"/>
                </a:solidFill>
              </a:rPr>
              <a:t>new data</a:t>
            </a:r>
          </a:p>
        </p:txBody>
      </p:sp>
      <p:sp>
        <p:nvSpPr>
          <p:cNvPr id="69" name="1">
            <a:extLst>
              <a:ext uri="{FF2B5EF4-FFF2-40B4-BE49-F238E27FC236}">
                <a16:creationId xmlns:a16="http://schemas.microsoft.com/office/drawing/2014/main" id="{8AF730BB-4553-E047-B83B-BAE77AD619C1}"/>
              </a:ext>
            </a:extLst>
          </p:cNvPr>
          <p:cNvSpPr/>
          <p:nvPr/>
        </p:nvSpPr>
        <p:spPr>
          <a:xfrm>
            <a:off x="317180" y="3787042"/>
            <a:ext cx="300992" cy="300991"/>
          </a:xfrm>
          <a:prstGeom prst="ellipse">
            <a:avLst/>
          </a:prstGeom>
          <a:gradFill>
            <a:gsLst>
              <a:gs pos="0">
                <a:schemeClr val="accent4">
                  <a:hueOff val="-406799"/>
                  <a:lumOff val="30382"/>
                </a:schemeClr>
              </a:gs>
              <a:gs pos="50000">
                <a:srgbClr val="FFD58D"/>
              </a:gs>
              <a:gs pos="100000">
                <a:schemeClr val="accent4">
                  <a:hueOff val="-362075"/>
                  <a:lumOff val="23565"/>
                </a:schemeClr>
              </a:gs>
            </a:gsLst>
            <a:lin ang="5400000"/>
          </a:gradFill>
          <a:ln w="6350">
            <a:solidFill>
              <a:schemeClr val="accent3">
                <a:lumOff val="-12941"/>
              </a:schemeClr>
            </a:solidFill>
            <a:miter/>
          </a:ln>
          <a:extLst>
            <a:ext uri="{C572A759-6A51-4108-AA02-DFA0A04FC94B}">
              <ma14:wrappingTextBoxFlag xmlns="" xmlns:ma14="http://schemas.microsoft.com/office/mac/drawingml/2011/main" val="1"/>
            </a:ext>
          </a:extLst>
        </p:spPr>
        <p:txBody>
          <a:bodyPr lIns="45719" rIns="45719" anchor="ctr"/>
          <a:lstStyle>
            <a:lvl1pPr algn="ctr">
              <a:defRPr sz="1200">
                <a:solidFill>
                  <a:srgbClr val="535353"/>
                </a:solidFill>
                <a:latin typeface="Segoe UI Light"/>
                <a:ea typeface="Segoe UI Light"/>
                <a:cs typeface="Segoe UI Light"/>
                <a:sym typeface="Segoe UI Light"/>
              </a:defRPr>
            </a:lvl1pPr>
          </a:lstStyle>
          <a:p>
            <a:pPr defTabSz="914367"/>
            <a:r>
              <a:rPr>
                <a:solidFill>
                  <a:srgbClr val="1A1A1A"/>
                </a:solidFill>
              </a:rPr>
              <a:t>1</a:t>
            </a:r>
          </a:p>
        </p:txBody>
      </p:sp>
      <p:sp>
        <p:nvSpPr>
          <p:cNvPr id="29" name="Title 16">
            <a:extLst>
              <a:ext uri="{FF2B5EF4-FFF2-40B4-BE49-F238E27FC236}">
                <a16:creationId xmlns:a16="http://schemas.microsoft.com/office/drawing/2014/main" id="{6F86E5AB-548F-3E45-AD74-5E156EBD1FC1}"/>
              </a:ext>
            </a:extLst>
          </p:cNvPr>
          <p:cNvSpPr>
            <a:spLocks noGrp="1"/>
          </p:cNvSpPr>
          <p:nvPr>
            <p:ph type="title"/>
          </p:nvPr>
        </p:nvSpPr>
        <p:spPr>
          <a:xfrm>
            <a:off x="588263" y="685800"/>
            <a:ext cx="11018520" cy="553998"/>
          </a:xfrm>
        </p:spPr>
        <p:txBody>
          <a:bodyPr/>
          <a:lstStyle/>
          <a:p>
            <a:r>
              <a:rPr lang="en-US"/>
              <a:t>Lambda architecture</a:t>
            </a:r>
          </a:p>
        </p:txBody>
      </p:sp>
      <p:sp>
        <p:nvSpPr>
          <p:cNvPr id="31" name="real-time view">
            <a:extLst>
              <a:ext uri="{FF2B5EF4-FFF2-40B4-BE49-F238E27FC236}">
                <a16:creationId xmlns:a16="http://schemas.microsoft.com/office/drawing/2014/main" id="{ECBC707A-9425-9D47-81FB-44FBAAFB0FA8}"/>
              </a:ext>
            </a:extLst>
          </p:cNvPr>
          <p:cNvSpPr/>
          <p:nvPr/>
        </p:nvSpPr>
        <p:spPr>
          <a:xfrm>
            <a:off x="2540293" y="5102018"/>
            <a:ext cx="1270001" cy="517962"/>
          </a:xfrm>
          <a:prstGeom prst="rect">
            <a:avLst/>
          </a:prstGeom>
          <a:solidFill>
            <a:schemeClr val="accent1"/>
          </a:solidFill>
          <a:ln w="12700">
            <a:solidFill>
              <a:srgbClr val="42719B"/>
            </a:solidFill>
            <a:miter/>
          </a:ln>
          <a:extLst>
            <a:ext uri="{C572A759-6A51-4108-AA02-DFA0A04FC94B}">
              <ma14:wrappingTextBoxFlag xmlns="" xmlns:ma14="http://schemas.microsoft.com/office/mac/drawingml/2011/main" val="1"/>
            </a:ext>
          </a:extLst>
        </p:spPr>
        <p:txBody>
          <a:bodyPr lIns="45719" rIns="45719" anchor="ctr"/>
          <a:lstStyle>
            <a:lvl1pPr algn="ctr">
              <a:defRPr sz="1300">
                <a:solidFill>
                  <a:srgbClr val="FFFFFF"/>
                </a:solidFill>
                <a:latin typeface="Segoe UI Light"/>
                <a:ea typeface="Segoe UI Light"/>
                <a:cs typeface="Segoe UI Light"/>
                <a:sym typeface="Segoe UI Light"/>
              </a:defRPr>
            </a:lvl1pPr>
          </a:lstStyle>
          <a:p>
            <a:pPr defTabSz="914367"/>
            <a:r>
              <a:rPr lang="en-US"/>
              <a:t>stream process</a:t>
            </a:r>
            <a:endParaRPr/>
          </a:p>
        </p:txBody>
      </p:sp>
      <p:sp>
        <p:nvSpPr>
          <p:cNvPr id="58" name="4">
            <a:extLst>
              <a:ext uri="{FF2B5EF4-FFF2-40B4-BE49-F238E27FC236}">
                <a16:creationId xmlns:a16="http://schemas.microsoft.com/office/drawing/2014/main" id="{BB22CBD3-9A2D-094B-B62A-6E6D19060881}"/>
              </a:ext>
            </a:extLst>
          </p:cNvPr>
          <p:cNvSpPr/>
          <p:nvPr/>
        </p:nvSpPr>
        <p:spPr>
          <a:xfrm>
            <a:off x="2300386" y="4930042"/>
            <a:ext cx="300991" cy="300991"/>
          </a:xfrm>
          <a:prstGeom prst="ellipse">
            <a:avLst/>
          </a:prstGeom>
          <a:gradFill>
            <a:gsLst>
              <a:gs pos="0">
                <a:schemeClr val="accent4">
                  <a:hueOff val="-406799"/>
                  <a:lumOff val="30382"/>
                </a:schemeClr>
              </a:gs>
              <a:gs pos="50000">
                <a:srgbClr val="FFD58D"/>
              </a:gs>
              <a:gs pos="100000">
                <a:schemeClr val="accent4">
                  <a:hueOff val="-362075"/>
                  <a:lumOff val="23565"/>
                </a:schemeClr>
              </a:gs>
            </a:gsLst>
            <a:lin ang="5400000"/>
          </a:gradFill>
          <a:ln w="6350">
            <a:solidFill>
              <a:schemeClr val="accent3">
                <a:lumOff val="-12941"/>
              </a:schemeClr>
            </a:solidFill>
            <a:miter/>
          </a:ln>
          <a:extLst>
            <a:ext uri="{C572A759-6A51-4108-AA02-DFA0A04FC94B}">
              <ma14:wrappingTextBoxFlag xmlns="" xmlns:ma14="http://schemas.microsoft.com/office/mac/drawingml/2011/main" val="1"/>
            </a:ext>
          </a:extLst>
        </p:spPr>
        <p:txBody>
          <a:bodyPr lIns="45719" rIns="45719" anchor="ctr"/>
          <a:lstStyle>
            <a:lvl1pPr algn="ctr">
              <a:defRPr sz="1200">
                <a:solidFill>
                  <a:srgbClr val="535353"/>
                </a:solidFill>
                <a:latin typeface="Segoe UI Light"/>
                <a:ea typeface="Segoe UI Light"/>
                <a:cs typeface="Segoe UI Light"/>
                <a:sym typeface="Segoe UI Light"/>
              </a:defRPr>
            </a:lvl1pPr>
          </a:lstStyle>
          <a:p>
            <a:pPr defTabSz="914367"/>
            <a:r>
              <a:rPr>
                <a:solidFill>
                  <a:srgbClr val="1A1A1A"/>
                </a:solidFill>
              </a:rPr>
              <a:t>4</a:t>
            </a:r>
          </a:p>
        </p:txBody>
      </p:sp>
      <p:cxnSp>
        <p:nvCxnSpPr>
          <p:cNvPr id="3" name="Straight Arrow Connector 2">
            <a:extLst>
              <a:ext uri="{FF2B5EF4-FFF2-40B4-BE49-F238E27FC236}">
                <a16:creationId xmlns:a16="http://schemas.microsoft.com/office/drawing/2014/main" id="{DADEB85D-FD57-8E4E-A967-B0797ACD10A1}"/>
              </a:ext>
            </a:extLst>
          </p:cNvPr>
          <p:cNvCxnSpPr/>
          <p:nvPr/>
        </p:nvCxnSpPr>
        <p:spPr>
          <a:xfrm flipV="1">
            <a:off x="3100038" y="3106233"/>
            <a:ext cx="0" cy="333111"/>
          </a:xfrm>
          <a:prstGeom prst="straightConnector1">
            <a:avLst/>
          </a:prstGeom>
          <a:ln w="12700">
            <a:solidFill>
              <a:srgbClr val="BDBDBD"/>
            </a:solidFill>
            <a:miter lim="800000"/>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4" name="real-time view">
            <a:extLst>
              <a:ext uri="{FF2B5EF4-FFF2-40B4-BE49-F238E27FC236}">
                <a16:creationId xmlns:a16="http://schemas.microsoft.com/office/drawing/2014/main" id="{2924C021-76EF-5C40-85E9-DB2AC4A8EA9C}"/>
              </a:ext>
            </a:extLst>
          </p:cNvPr>
          <p:cNvSpPr/>
          <p:nvPr/>
        </p:nvSpPr>
        <p:spPr>
          <a:xfrm>
            <a:off x="4228142" y="5552627"/>
            <a:ext cx="1270001" cy="517962"/>
          </a:xfrm>
          <a:prstGeom prst="rect">
            <a:avLst/>
          </a:prstGeom>
          <a:solidFill>
            <a:schemeClr val="accent1"/>
          </a:solidFill>
          <a:ln w="12700">
            <a:solidFill>
              <a:srgbClr val="42719B"/>
            </a:solidFill>
            <a:miter/>
          </a:ln>
          <a:extLst>
            <a:ext uri="{C572A759-6A51-4108-AA02-DFA0A04FC94B}">
              <ma14:wrappingTextBoxFlag xmlns="" xmlns:ma14="http://schemas.microsoft.com/office/mac/drawingml/2011/main" val="1"/>
            </a:ext>
          </a:extLst>
        </p:spPr>
        <p:txBody>
          <a:bodyPr lIns="45719" rIns="45719" anchor="ctr"/>
          <a:lstStyle>
            <a:lvl1pPr algn="ctr">
              <a:defRPr sz="1300">
                <a:solidFill>
                  <a:srgbClr val="FFFFFF"/>
                </a:solidFill>
                <a:latin typeface="Segoe UI Light"/>
                <a:ea typeface="Segoe UI Light"/>
                <a:cs typeface="Segoe UI Light"/>
                <a:sym typeface="Segoe UI Light"/>
              </a:defRPr>
            </a:lvl1pPr>
          </a:lstStyle>
          <a:p>
            <a:pPr defTabSz="914367"/>
            <a:r>
              <a:t>real-time view</a:t>
            </a:r>
          </a:p>
        </p:txBody>
      </p:sp>
      <p:cxnSp>
        <p:nvCxnSpPr>
          <p:cNvPr id="35" name="Connection Line">
            <a:extLst>
              <a:ext uri="{FF2B5EF4-FFF2-40B4-BE49-F238E27FC236}">
                <a16:creationId xmlns:a16="http://schemas.microsoft.com/office/drawing/2014/main" id="{4AC8905C-C7C7-6941-B3A2-9380423EFD8E}"/>
              </a:ext>
            </a:extLst>
          </p:cNvPr>
          <p:cNvCxnSpPr>
            <a:cxnSpLocks/>
          </p:cNvCxnSpPr>
          <p:nvPr/>
        </p:nvCxnSpPr>
        <p:spPr>
          <a:xfrm flipV="1">
            <a:off x="5498143" y="4127654"/>
            <a:ext cx="2106371" cy="1683954"/>
          </a:xfrm>
          <a:prstGeom prst="straightConnector1">
            <a:avLst/>
          </a:prstGeom>
          <a:ln w="12700">
            <a:solidFill>
              <a:schemeClr val="accent1"/>
            </a:solidFill>
            <a:miter/>
            <a:tailEnd type="triangle" w="med" len="med"/>
          </a:ln>
          <a:effectLst>
            <a:outerShdw blurRad="63500" dist="19050" dir="5400000" rotWithShape="0">
              <a:srgbClr val="000000">
                <a:alpha val="63000"/>
              </a:srgbClr>
            </a:outerShdw>
          </a:effectLst>
        </p:spPr>
      </p:cxnSp>
      <p:cxnSp>
        <p:nvCxnSpPr>
          <p:cNvPr id="39" name="Straight Arrow Connector 38">
            <a:extLst>
              <a:ext uri="{FF2B5EF4-FFF2-40B4-BE49-F238E27FC236}">
                <a16:creationId xmlns:a16="http://schemas.microsoft.com/office/drawing/2014/main" id="{8283A214-3D58-C449-9DD3-0874B3F30CE1}"/>
              </a:ext>
            </a:extLst>
          </p:cNvPr>
          <p:cNvCxnSpPr>
            <a:cxnSpLocks/>
          </p:cNvCxnSpPr>
          <p:nvPr/>
        </p:nvCxnSpPr>
        <p:spPr>
          <a:xfrm flipV="1">
            <a:off x="3810293" y="5073273"/>
            <a:ext cx="1125954" cy="287726"/>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18E8EF9D-8099-A344-A74D-1A28BDFB8E94}"/>
              </a:ext>
            </a:extLst>
          </p:cNvPr>
          <p:cNvCxnSpPr>
            <a:cxnSpLocks/>
          </p:cNvCxnSpPr>
          <p:nvPr/>
        </p:nvCxnSpPr>
        <p:spPr>
          <a:xfrm>
            <a:off x="3810294" y="5361000"/>
            <a:ext cx="417407" cy="40192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5AF01F0D-51B9-E84D-A692-5D29028F8ECD}"/>
              </a:ext>
            </a:extLst>
          </p:cNvPr>
          <p:cNvCxnSpPr>
            <a:cxnSpLocks/>
          </p:cNvCxnSpPr>
          <p:nvPr/>
        </p:nvCxnSpPr>
        <p:spPr>
          <a:xfrm flipV="1">
            <a:off x="3755399" y="2751031"/>
            <a:ext cx="1382198" cy="72132"/>
          </a:xfrm>
          <a:prstGeom prst="straightConnector1">
            <a:avLst/>
          </a:prstGeom>
          <a:ln w="12700">
            <a:solidFill>
              <a:srgbClr val="BDBDBD"/>
            </a:solidFill>
            <a:miter lim="800000"/>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5E235EAB-7CAB-0B49-A242-0E3167CFAF3D}"/>
              </a:ext>
            </a:extLst>
          </p:cNvPr>
          <p:cNvCxnSpPr>
            <a:cxnSpLocks/>
          </p:cNvCxnSpPr>
          <p:nvPr/>
        </p:nvCxnSpPr>
        <p:spPr>
          <a:xfrm>
            <a:off x="3758552" y="2831160"/>
            <a:ext cx="1356667" cy="792725"/>
          </a:xfrm>
          <a:prstGeom prst="straightConnector1">
            <a:avLst/>
          </a:prstGeom>
          <a:ln w="12700">
            <a:solidFill>
              <a:srgbClr val="BDBDBD"/>
            </a:solidFill>
            <a:miter lim="800000"/>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4512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he components of a Lambda Architecture…">
            <a:extLst>
              <a:ext uri="{FF2B5EF4-FFF2-40B4-BE49-F238E27FC236}">
                <a16:creationId xmlns:a16="http://schemas.microsoft.com/office/drawing/2014/main" id="{D87673B3-BA7F-714E-8177-EDCFCF6E276C}"/>
              </a:ext>
            </a:extLst>
          </p:cNvPr>
          <p:cNvSpPr txBox="1"/>
          <p:nvPr/>
        </p:nvSpPr>
        <p:spPr>
          <a:xfrm>
            <a:off x="8309953" y="2349520"/>
            <a:ext cx="3555341" cy="2759730"/>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p>
            <a:pPr defTabSz="914367">
              <a:spcBef>
                <a:spcPts val="1000"/>
              </a:spcBef>
              <a:defRPr sz="1400">
                <a:latin typeface="Segoe UI Light"/>
                <a:ea typeface="Segoe UI Light"/>
                <a:cs typeface="Segoe UI Light"/>
                <a:sym typeface="Segoe UI Light"/>
              </a:defRPr>
            </a:pPr>
            <a:r>
              <a:rPr sz="1400">
                <a:solidFill>
                  <a:srgbClr val="1A1A1A"/>
                </a:solidFill>
                <a:latin typeface="Segoe UI Light"/>
                <a:cs typeface="Segoe UI Light"/>
                <a:sym typeface="Segoe UI Light"/>
              </a:rPr>
              <a:t>The components of a </a:t>
            </a:r>
            <a:r>
              <a:rPr lang="en-US" sz="1400">
                <a:solidFill>
                  <a:srgbClr val="1A1A1A"/>
                </a:solidFill>
                <a:latin typeface="Segoe UI Light"/>
                <a:cs typeface="Segoe UI Light"/>
                <a:sym typeface="Segoe UI Light"/>
              </a:rPr>
              <a:t>Kappa</a:t>
            </a:r>
            <a:r>
              <a:rPr sz="1400">
                <a:solidFill>
                  <a:srgbClr val="1A1A1A"/>
                </a:solidFill>
                <a:latin typeface="Segoe UI Light"/>
                <a:cs typeface="Segoe UI Light"/>
                <a:sym typeface="Segoe UI Light"/>
              </a:rPr>
              <a:t> Architecture</a:t>
            </a:r>
            <a:r>
              <a:rPr lang="en-US" sz="1400">
                <a:solidFill>
                  <a:srgbClr val="1A1A1A"/>
                </a:solidFill>
                <a:latin typeface="Segoe UI Light"/>
                <a:cs typeface="Segoe UI Light"/>
                <a:sym typeface="Segoe UI Light"/>
              </a:rPr>
              <a:t>:</a:t>
            </a:r>
            <a:endParaRPr sz="1400">
              <a:solidFill>
                <a:srgbClr val="1A1A1A"/>
              </a:solidFill>
              <a:latin typeface="Segoe UI Light"/>
              <a:cs typeface="Segoe UI Light"/>
              <a:sym typeface="Segoe UI Light"/>
            </a:endParaRPr>
          </a:p>
          <a:p>
            <a:pPr marL="187157" indent="-187157" defTabSz="914367">
              <a:spcBef>
                <a:spcPts val="1000"/>
              </a:spcBef>
              <a:buSzPct val="100000"/>
              <a:buFontTx/>
              <a:buAutoNum type="arabicPeriod"/>
              <a:defRPr sz="1400">
                <a:latin typeface="Segoe UI Light"/>
                <a:ea typeface="Segoe UI Light"/>
                <a:cs typeface="Segoe UI Light"/>
                <a:sym typeface="Segoe UI Light"/>
              </a:defRPr>
            </a:pPr>
            <a:r>
              <a:rPr sz="1400">
                <a:solidFill>
                  <a:srgbClr val="1A1A1A"/>
                </a:solidFill>
                <a:latin typeface="Segoe UI Light"/>
                <a:cs typeface="Segoe UI Light"/>
                <a:sym typeface="Segoe UI Light"/>
              </a:rPr>
              <a:t>All </a:t>
            </a:r>
            <a:r>
              <a:rPr sz="1400" b="1">
                <a:solidFill>
                  <a:srgbClr val="1A1A1A"/>
                </a:solidFill>
                <a:latin typeface="Segoe UI Light"/>
                <a:cs typeface="Segoe UI Light"/>
                <a:sym typeface="Segoe UI Light"/>
              </a:rPr>
              <a:t>data</a:t>
            </a:r>
            <a:r>
              <a:rPr sz="1400">
                <a:solidFill>
                  <a:srgbClr val="1A1A1A"/>
                </a:solidFill>
                <a:latin typeface="Segoe UI Light"/>
                <a:cs typeface="Segoe UI Light"/>
                <a:sym typeface="Segoe UI Light"/>
              </a:rPr>
              <a:t> pushed into </a:t>
            </a:r>
            <a:r>
              <a:rPr lang="en-US" sz="1400" i="1">
                <a:solidFill>
                  <a:srgbClr val="1A1A1A"/>
                </a:solidFill>
                <a:latin typeface="Segoe UI Light"/>
                <a:cs typeface="Segoe UI Light"/>
                <a:sym typeface="Segoe UI Light"/>
              </a:rPr>
              <a:t>only</a:t>
            </a:r>
            <a:r>
              <a:rPr sz="1400">
                <a:solidFill>
                  <a:srgbClr val="1A1A1A"/>
                </a:solidFill>
                <a:latin typeface="Segoe UI Light"/>
                <a:cs typeface="Segoe UI Light"/>
                <a:sym typeface="Segoe UI Light"/>
              </a:rPr>
              <a:t> </a:t>
            </a:r>
            <a:r>
              <a:rPr lang="en-US" sz="1400">
                <a:solidFill>
                  <a:srgbClr val="1A1A1A"/>
                </a:solidFill>
                <a:latin typeface="Segoe UI Light"/>
                <a:cs typeface="Segoe UI Light"/>
                <a:sym typeface="Segoe UI Light"/>
              </a:rPr>
              <a:t>real-time </a:t>
            </a:r>
            <a:r>
              <a:rPr sz="1400">
                <a:solidFill>
                  <a:srgbClr val="1A1A1A"/>
                </a:solidFill>
                <a:latin typeface="Segoe UI Light"/>
                <a:cs typeface="Segoe UI Light"/>
                <a:sym typeface="Segoe UI Light"/>
              </a:rPr>
              <a:t>layer for processing </a:t>
            </a:r>
          </a:p>
          <a:p>
            <a:pPr marL="187157" indent="-187157" defTabSz="914367">
              <a:spcBef>
                <a:spcPts val="1000"/>
              </a:spcBef>
              <a:buSzPct val="100000"/>
              <a:buFontTx/>
              <a:buAutoNum type="arabicPeriod"/>
              <a:defRPr sz="1400">
                <a:latin typeface="Segoe UI Light"/>
                <a:ea typeface="Segoe UI Light"/>
                <a:cs typeface="Segoe UI Light"/>
                <a:sym typeface="Segoe UI Light"/>
              </a:defRPr>
            </a:pPr>
            <a:r>
              <a:rPr sz="1400">
                <a:solidFill>
                  <a:srgbClr val="1A1A1A"/>
                </a:solidFill>
                <a:latin typeface="Segoe UI Light"/>
                <a:cs typeface="Segoe UI Light"/>
                <a:sym typeface="Segoe UI Light"/>
              </a:rPr>
              <a:t>The </a:t>
            </a:r>
            <a:r>
              <a:rPr lang="en-US" sz="1400" b="1">
                <a:solidFill>
                  <a:srgbClr val="0078D4">
                    <a:lumMod val="60000"/>
                    <a:lumOff val="40000"/>
                  </a:srgbClr>
                </a:solidFill>
                <a:latin typeface="Segoe UI Light"/>
                <a:cs typeface="Segoe UI Light"/>
                <a:sym typeface="Segoe UI Light"/>
              </a:rPr>
              <a:t>real-time</a:t>
            </a:r>
            <a:r>
              <a:rPr sz="1400">
                <a:solidFill>
                  <a:srgbClr val="1A1A1A"/>
                </a:solidFill>
                <a:latin typeface="Segoe UI Light"/>
                <a:cs typeface="Segoe UI Light"/>
                <a:sym typeface="Segoe UI Light"/>
              </a:rPr>
              <a:t> layer has </a:t>
            </a:r>
            <a:r>
              <a:rPr lang="en-US" sz="1400">
                <a:solidFill>
                  <a:srgbClr val="1A1A1A"/>
                </a:solidFill>
                <a:latin typeface="Segoe UI Light"/>
                <a:cs typeface="Segoe UI Light"/>
                <a:sym typeface="Segoe UI Light"/>
              </a:rPr>
              <a:t>a stream processing engine to handle both real-time data processing and continuous reprocessing</a:t>
            </a:r>
            <a:endParaRPr sz="1400">
              <a:solidFill>
                <a:srgbClr val="1A1A1A"/>
              </a:solidFill>
              <a:latin typeface="Segoe UI Light"/>
              <a:cs typeface="Segoe UI Light"/>
              <a:sym typeface="Segoe UI Light"/>
            </a:endParaRPr>
          </a:p>
          <a:p>
            <a:pPr marL="187157" indent="-187157" defTabSz="914367">
              <a:spcBef>
                <a:spcPts val="1000"/>
              </a:spcBef>
              <a:buSzPct val="100000"/>
              <a:buFontTx/>
              <a:buAutoNum type="arabicPeriod"/>
              <a:defRPr sz="1400">
                <a:latin typeface="Segoe UI Light"/>
                <a:ea typeface="Segoe UI Light"/>
                <a:cs typeface="Segoe UI Light"/>
                <a:sym typeface="Segoe UI Light"/>
              </a:defRPr>
            </a:pPr>
            <a:r>
              <a:rPr sz="1400">
                <a:solidFill>
                  <a:srgbClr val="1A1A1A"/>
                </a:solidFill>
                <a:latin typeface="Segoe UI Light"/>
                <a:cs typeface="Segoe UI Light"/>
                <a:sym typeface="Segoe UI Light"/>
              </a:rPr>
              <a:t>The </a:t>
            </a:r>
            <a:r>
              <a:rPr sz="1400" b="1">
                <a:solidFill>
                  <a:srgbClr val="D83B01">
                    <a:lumMod val="75000"/>
                  </a:srgbClr>
                </a:solidFill>
                <a:latin typeface="Segoe UI Light"/>
                <a:cs typeface="Segoe UI Light"/>
                <a:sym typeface="Segoe UI Light"/>
              </a:rPr>
              <a:t>serving</a:t>
            </a:r>
            <a:r>
              <a:rPr sz="1400" b="1">
                <a:solidFill>
                  <a:srgbClr val="1A1A1A"/>
                </a:solidFill>
                <a:latin typeface="Segoe UI Light"/>
                <a:cs typeface="Segoe UI Light"/>
                <a:sym typeface="Segoe UI Light"/>
              </a:rPr>
              <a:t> </a:t>
            </a:r>
            <a:r>
              <a:rPr sz="1400">
                <a:solidFill>
                  <a:srgbClr val="1A1A1A"/>
                </a:solidFill>
                <a:latin typeface="Segoe UI Light"/>
                <a:cs typeface="Segoe UI Light"/>
                <a:sym typeface="Segoe UI Light"/>
              </a:rPr>
              <a:t>layer has </a:t>
            </a:r>
            <a:r>
              <a:rPr lang="en-US" sz="1400">
                <a:solidFill>
                  <a:srgbClr val="1A1A1A"/>
                </a:solidFill>
                <a:latin typeface="Segoe UI Light"/>
                <a:cs typeface="Segoe UI Light"/>
                <a:sym typeface="Segoe UI Light"/>
              </a:rPr>
              <a:t>real-time</a:t>
            </a:r>
            <a:r>
              <a:rPr sz="1400">
                <a:solidFill>
                  <a:srgbClr val="1A1A1A"/>
                </a:solidFill>
                <a:latin typeface="Segoe UI Light"/>
                <a:cs typeface="Segoe UI Light"/>
                <a:sym typeface="Segoe UI Light"/>
              </a:rPr>
              <a:t> views so data</a:t>
            </a:r>
            <a:r>
              <a:rPr lang="en-US" sz="1400">
                <a:solidFill>
                  <a:srgbClr val="1A1A1A"/>
                </a:solidFill>
                <a:latin typeface="Segoe UI Light"/>
                <a:cs typeface="Segoe UI Light"/>
                <a:sym typeface="Segoe UI Light"/>
              </a:rPr>
              <a:t> available</a:t>
            </a:r>
            <a:r>
              <a:rPr sz="1400">
                <a:solidFill>
                  <a:srgbClr val="1A1A1A"/>
                </a:solidFill>
                <a:latin typeface="Segoe UI Light"/>
                <a:cs typeface="Segoe UI Light"/>
                <a:sym typeface="Segoe UI Light"/>
              </a:rPr>
              <a:t> for fast queries.  </a:t>
            </a:r>
          </a:p>
          <a:p>
            <a:pPr marL="187157" indent="-187157" defTabSz="914367">
              <a:spcBef>
                <a:spcPts val="1000"/>
              </a:spcBef>
              <a:buSzPct val="100000"/>
              <a:buFontTx/>
              <a:buAutoNum type="arabicPeriod"/>
              <a:defRPr sz="1400">
                <a:latin typeface="Segoe UI Light"/>
                <a:ea typeface="Segoe UI Light"/>
                <a:cs typeface="Segoe UI Light"/>
                <a:sym typeface="Segoe UI Light"/>
              </a:defRPr>
            </a:pPr>
            <a:r>
              <a:rPr sz="1400">
                <a:solidFill>
                  <a:srgbClr val="1A1A1A"/>
                </a:solidFill>
                <a:latin typeface="Segoe UI Light"/>
                <a:cs typeface="Segoe UI Light"/>
                <a:sym typeface="Segoe UI Light"/>
              </a:rPr>
              <a:t>All queries can be answered </a:t>
            </a:r>
            <a:r>
              <a:rPr lang="en-US" sz="1400">
                <a:solidFill>
                  <a:srgbClr val="1A1A1A"/>
                </a:solidFill>
                <a:latin typeface="Segoe UI Light"/>
                <a:cs typeface="Segoe UI Light"/>
                <a:sym typeface="Segoe UI Light"/>
              </a:rPr>
              <a:t>from only </a:t>
            </a:r>
            <a:r>
              <a:rPr sz="1400">
                <a:solidFill>
                  <a:srgbClr val="1A1A1A"/>
                </a:solidFill>
                <a:latin typeface="Segoe UI Light"/>
                <a:cs typeface="Segoe UI Light"/>
                <a:sym typeface="Segoe UI Light"/>
              </a:rPr>
              <a:t>real-time views.</a:t>
            </a:r>
          </a:p>
        </p:txBody>
      </p:sp>
      <p:sp>
        <p:nvSpPr>
          <p:cNvPr id="29" name="Title 16">
            <a:extLst>
              <a:ext uri="{FF2B5EF4-FFF2-40B4-BE49-F238E27FC236}">
                <a16:creationId xmlns:a16="http://schemas.microsoft.com/office/drawing/2014/main" id="{6F86E5AB-548F-3E45-AD74-5E156EBD1FC1}"/>
              </a:ext>
            </a:extLst>
          </p:cNvPr>
          <p:cNvSpPr>
            <a:spLocks noGrp="1"/>
          </p:cNvSpPr>
          <p:nvPr>
            <p:ph type="title"/>
          </p:nvPr>
        </p:nvSpPr>
        <p:spPr>
          <a:xfrm>
            <a:off x="588263" y="685800"/>
            <a:ext cx="11018520" cy="553998"/>
          </a:xfrm>
        </p:spPr>
        <p:txBody>
          <a:bodyPr/>
          <a:lstStyle/>
          <a:p>
            <a:r>
              <a:rPr lang="en-US"/>
              <a:t>Kappa architecture</a:t>
            </a:r>
          </a:p>
        </p:txBody>
      </p:sp>
      <p:grpSp>
        <p:nvGrpSpPr>
          <p:cNvPr id="11" name="Group 10">
            <a:extLst>
              <a:ext uri="{FF2B5EF4-FFF2-40B4-BE49-F238E27FC236}">
                <a16:creationId xmlns:a16="http://schemas.microsoft.com/office/drawing/2014/main" id="{936CC390-E23D-5645-9507-C75218D7A1AA}"/>
              </a:ext>
            </a:extLst>
          </p:cNvPr>
          <p:cNvGrpSpPr/>
          <p:nvPr/>
        </p:nvGrpSpPr>
        <p:grpSpPr>
          <a:xfrm>
            <a:off x="246680" y="2582131"/>
            <a:ext cx="7880775" cy="2493766"/>
            <a:chOff x="333765" y="1607136"/>
            <a:chExt cx="7880775" cy="2493766"/>
          </a:xfrm>
        </p:grpSpPr>
        <p:sp>
          <p:nvSpPr>
            <p:cNvPr id="43" name="Rounded Rectangle">
              <a:extLst>
                <a:ext uri="{FF2B5EF4-FFF2-40B4-BE49-F238E27FC236}">
                  <a16:creationId xmlns:a16="http://schemas.microsoft.com/office/drawing/2014/main" id="{7E25D407-5947-B34F-856F-250123A01060}"/>
                </a:ext>
              </a:extLst>
            </p:cNvPr>
            <p:cNvSpPr/>
            <p:nvPr/>
          </p:nvSpPr>
          <p:spPr>
            <a:xfrm>
              <a:off x="2002567" y="1998036"/>
              <a:ext cx="2243853" cy="1663360"/>
            </a:xfrm>
            <a:prstGeom prst="roundRect">
              <a:avLst>
                <a:gd name="adj" fmla="val 12928"/>
              </a:avLst>
            </a:prstGeom>
            <a:solidFill>
              <a:srgbClr val="FFFFFF"/>
            </a:solidFill>
            <a:ln w="12700">
              <a:solidFill>
                <a:srgbClr val="535353"/>
              </a:solidFill>
              <a:prstDash val="sysDot"/>
              <a:miter lim="400000"/>
            </a:ln>
          </p:spPr>
          <p:txBody>
            <a:bodyPr lIns="45719" rIns="45719" anchor="ctr"/>
            <a:lstStyle/>
            <a:p>
              <a:pPr defTabSz="914367"/>
              <a:endParaRPr sz="1765">
                <a:solidFill>
                  <a:srgbClr val="1A1A1A"/>
                </a:solidFill>
                <a:latin typeface="Segoe UI"/>
              </a:endParaRPr>
            </a:p>
          </p:txBody>
        </p:sp>
        <p:sp>
          <p:nvSpPr>
            <p:cNvPr id="44" name="Rounded Rectangle">
              <a:extLst>
                <a:ext uri="{FF2B5EF4-FFF2-40B4-BE49-F238E27FC236}">
                  <a16:creationId xmlns:a16="http://schemas.microsoft.com/office/drawing/2014/main" id="{8A0043E5-9BFB-9647-8CC2-1128581FDF88}"/>
                </a:ext>
              </a:extLst>
            </p:cNvPr>
            <p:cNvSpPr/>
            <p:nvPr/>
          </p:nvSpPr>
          <p:spPr>
            <a:xfrm>
              <a:off x="4650671" y="1607136"/>
              <a:ext cx="2243852" cy="2493766"/>
            </a:xfrm>
            <a:prstGeom prst="roundRect">
              <a:avLst>
                <a:gd name="adj" fmla="val 12928"/>
              </a:avLst>
            </a:prstGeom>
            <a:solidFill>
              <a:srgbClr val="FFFFFF"/>
            </a:solidFill>
            <a:ln w="12700">
              <a:solidFill>
                <a:srgbClr val="535353"/>
              </a:solidFill>
              <a:prstDash val="sysDot"/>
              <a:miter lim="400000"/>
            </a:ln>
          </p:spPr>
          <p:txBody>
            <a:bodyPr lIns="45719" rIns="45719" anchor="ctr"/>
            <a:lstStyle/>
            <a:p>
              <a:pPr defTabSz="914367"/>
              <a:endParaRPr sz="1765">
                <a:solidFill>
                  <a:srgbClr val="1A1A1A"/>
                </a:solidFill>
                <a:latin typeface="Segoe UI"/>
              </a:endParaRPr>
            </a:p>
          </p:txBody>
        </p:sp>
        <p:sp>
          <p:nvSpPr>
            <p:cNvPr id="47" name="batch layer">
              <a:extLst>
                <a:ext uri="{FF2B5EF4-FFF2-40B4-BE49-F238E27FC236}">
                  <a16:creationId xmlns:a16="http://schemas.microsoft.com/office/drawing/2014/main" id="{09B8E45F-4370-9C40-89BC-7B516C774435}"/>
                </a:ext>
              </a:extLst>
            </p:cNvPr>
            <p:cNvSpPr txBox="1"/>
            <p:nvPr/>
          </p:nvSpPr>
          <p:spPr>
            <a:xfrm>
              <a:off x="2546066" y="2174371"/>
              <a:ext cx="1172370" cy="307777"/>
            </a:xfrm>
            <a:prstGeom prst="rect">
              <a:avLst/>
            </a:prstGeom>
            <a:ln w="12700">
              <a:miter lim="400000"/>
            </a:ln>
            <a:extLst>
              <a:ext uri="{C572A759-6A51-4108-AA02-DFA0A04FC94B}">
                <ma14:wrappingTextBoxFlag xmlns="" xmlns:ma14="http://schemas.microsoft.com/office/mac/drawingml/2011/main" val="1"/>
              </a:ext>
            </a:extLst>
          </p:spPr>
          <p:txBody>
            <a:bodyPr wrap="none" lIns="45719" rIns="45719">
              <a:spAutoFit/>
            </a:bodyPr>
            <a:lstStyle>
              <a:lvl1pPr>
                <a:defRPr sz="1400">
                  <a:latin typeface="Segoe UI Light"/>
                  <a:ea typeface="Segoe UI Light"/>
                  <a:cs typeface="Segoe UI Light"/>
                  <a:sym typeface="Segoe UI Light"/>
                </a:defRPr>
              </a:lvl1pPr>
            </a:lstStyle>
            <a:p>
              <a:pPr defTabSz="914367"/>
              <a:r>
                <a:rPr lang="en-US">
                  <a:solidFill>
                    <a:srgbClr val="1A1A1A"/>
                  </a:solidFill>
                </a:rPr>
                <a:t>real-time</a:t>
              </a:r>
              <a:r>
                <a:rPr>
                  <a:solidFill>
                    <a:srgbClr val="1A1A1A"/>
                  </a:solidFill>
                </a:rPr>
                <a:t> layer</a:t>
              </a:r>
            </a:p>
          </p:txBody>
        </p:sp>
        <p:sp>
          <p:nvSpPr>
            <p:cNvPr id="48" name="serving layer">
              <a:extLst>
                <a:ext uri="{FF2B5EF4-FFF2-40B4-BE49-F238E27FC236}">
                  <a16:creationId xmlns:a16="http://schemas.microsoft.com/office/drawing/2014/main" id="{EB089CAE-E84B-7E46-97BD-F2689979EE17}"/>
                </a:ext>
              </a:extLst>
            </p:cNvPr>
            <p:cNvSpPr txBox="1"/>
            <p:nvPr/>
          </p:nvSpPr>
          <p:spPr>
            <a:xfrm>
              <a:off x="5203444" y="1770203"/>
              <a:ext cx="1045862" cy="307777"/>
            </a:xfrm>
            <a:prstGeom prst="rect">
              <a:avLst/>
            </a:prstGeom>
            <a:ln w="12700">
              <a:miter lim="400000"/>
            </a:ln>
            <a:extLst>
              <a:ext uri="{C572A759-6A51-4108-AA02-DFA0A04FC94B}">
                <ma14:wrappingTextBoxFlag xmlns="" xmlns:ma14="http://schemas.microsoft.com/office/mac/drawingml/2011/main" val="1"/>
              </a:ext>
            </a:extLst>
          </p:spPr>
          <p:txBody>
            <a:bodyPr wrap="none" lIns="45719" rIns="45719">
              <a:spAutoFit/>
            </a:bodyPr>
            <a:lstStyle>
              <a:lvl1pPr>
                <a:defRPr sz="1400">
                  <a:latin typeface="Segoe UI Light"/>
                  <a:ea typeface="Segoe UI Light"/>
                  <a:cs typeface="Segoe UI Light"/>
                  <a:sym typeface="Segoe UI Light"/>
                </a:defRPr>
              </a:lvl1pPr>
            </a:lstStyle>
            <a:p>
              <a:pPr defTabSz="914367"/>
              <a:r>
                <a:rPr>
                  <a:solidFill>
                    <a:srgbClr val="1A1A1A"/>
                  </a:solidFill>
                </a:rPr>
                <a:t>serving layer</a:t>
              </a:r>
            </a:p>
          </p:txBody>
        </p:sp>
        <p:sp>
          <p:nvSpPr>
            <p:cNvPr id="55" name="Arrow">
              <a:extLst>
                <a:ext uri="{FF2B5EF4-FFF2-40B4-BE49-F238E27FC236}">
                  <a16:creationId xmlns:a16="http://schemas.microsoft.com/office/drawing/2014/main" id="{75F480FA-B261-9F47-98D6-6CAA78A1A44B}"/>
                </a:ext>
              </a:extLst>
            </p:cNvPr>
            <p:cNvSpPr/>
            <p:nvPr/>
          </p:nvSpPr>
          <p:spPr>
            <a:xfrm>
              <a:off x="1285127" y="2817478"/>
              <a:ext cx="754004" cy="312421"/>
            </a:xfrm>
            <a:prstGeom prst="rightArrow">
              <a:avLst>
                <a:gd name="adj1" fmla="val 51731"/>
                <a:gd name="adj2" fmla="val 78580"/>
              </a:avLst>
            </a:prstGeom>
            <a:solidFill>
              <a:schemeClr val="accent5"/>
            </a:solidFill>
            <a:ln w="12700">
              <a:miter lim="400000"/>
            </a:ln>
          </p:spPr>
          <p:txBody>
            <a:bodyPr lIns="45719" rIns="45719" anchor="ctr"/>
            <a:lstStyle/>
            <a:p>
              <a:pPr defTabSz="1219200">
                <a:defRPr sz="2400"/>
              </a:pPr>
              <a:endParaRPr sz="2400">
                <a:solidFill>
                  <a:srgbClr val="1A1A1A"/>
                </a:solidFill>
                <a:latin typeface="Segoe UI"/>
              </a:endParaRPr>
            </a:p>
          </p:txBody>
        </p:sp>
        <p:sp>
          <p:nvSpPr>
            <p:cNvPr id="61" name="query">
              <a:extLst>
                <a:ext uri="{FF2B5EF4-FFF2-40B4-BE49-F238E27FC236}">
                  <a16:creationId xmlns:a16="http://schemas.microsoft.com/office/drawing/2014/main" id="{CAE90F07-9E9A-FD4E-A34E-ECB08EEB1552}"/>
                </a:ext>
              </a:extLst>
            </p:cNvPr>
            <p:cNvSpPr/>
            <p:nvPr/>
          </p:nvSpPr>
          <p:spPr>
            <a:xfrm>
              <a:off x="7233664" y="2582483"/>
              <a:ext cx="980876" cy="812801"/>
            </a:xfrm>
            <a:prstGeom prst="wedgeEllipseCallout">
              <a:avLst>
                <a:gd name="adj1" fmla="val -48964"/>
                <a:gd name="adj2" fmla="val 70000"/>
              </a:avLst>
            </a:prstGeom>
            <a:solidFill>
              <a:srgbClr val="FFFFFF"/>
            </a:solidFill>
            <a:ln w="12700">
              <a:solidFill>
                <a:schemeClr val="accent1"/>
              </a:solidFill>
              <a:miter/>
            </a:ln>
            <a:extLst>
              <a:ext uri="{C572A759-6A51-4108-AA02-DFA0A04FC94B}">
                <ma14:wrappingTextBoxFlag xmlns="" xmlns:ma14="http://schemas.microsoft.com/office/mac/drawingml/2011/main" val="1"/>
              </a:ext>
            </a:extLst>
          </p:spPr>
          <p:txBody>
            <a:bodyPr lIns="45719" rIns="45719" anchor="ctr"/>
            <a:lstStyle>
              <a:lvl1pPr algn="ctr">
                <a:defRPr sz="1400">
                  <a:latin typeface="Segoe UI Light"/>
                  <a:ea typeface="Segoe UI Light"/>
                  <a:cs typeface="Segoe UI Light"/>
                  <a:sym typeface="Segoe UI Light"/>
                </a:defRPr>
              </a:lvl1pPr>
            </a:lstStyle>
            <a:p>
              <a:pPr defTabSz="914367"/>
              <a:r>
                <a:rPr>
                  <a:solidFill>
                    <a:srgbClr val="1A1A1A"/>
                  </a:solidFill>
                </a:rPr>
                <a:t>query</a:t>
              </a:r>
            </a:p>
          </p:txBody>
        </p:sp>
        <p:sp>
          <p:nvSpPr>
            <p:cNvPr id="62" name="5">
              <a:extLst>
                <a:ext uri="{FF2B5EF4-FFF2-40B4-BE49-F238E27FC236}">
                  <a16:creationId xmlns:a16="http://schemas.microsoft.com/office/drawing/2014/main" id="{838DAA35-EABC-D344-BE60-1A02FB763BF3}"/>
                </a:ext>
              </a:extLst>
            </p:cNvPr>
            <p:cNvSpPr/>
            <p:nvPr/>
          </p:nvSpPr>
          <p:spPr>
            <a:xfrm>
              <a:off x="7906601" y="2495869"/>
              <a:ext cx="300991" cy="300991"/>
            </a:xfrm>
            <a:prstGeom prst="ellipse">
              <a:avLst/>
            </a:prstGeom>
            <a:gradFill>
              <a:gsLst>
                <a:gs pos="0">
                  <a:schemeClr val="accent4">
                    <a:hueOff val="-406799"/>
                    <a:lumOff val="30382"/>
                  </a:schemeClr>
                </a:gs>
                <a:gs pos="50000">
                  <a:srgbClr val="FFD58D"/>
                </a:gs>
                <a:gs pos="100000">
                  <a:schemeClr val="accent4">
                    <a:hueOff val="-362075"/>
                    <a:lumOff val="23565"/>
                  </a:schemeClr>
                </a:gs>
              </a:gsLst>
              <a:lin ang="5400000"/>
            </a:gradFill>
            <a:ln w="6350">
              <a:solidFill>
                <a:schemeClr val="accent3">
                  <a:lumOff val="-12941"/>
                </a:schemeClr>
              </a:solidFill>
              <a:miter/>
            </a:ln>
            <a:extLst>
              <a:ext uri="{C572A759-6A51-4108-AA02-DFA0A04FC94B}">
                <ma14:wrappingTextBoxFlag xmlns="" xmlns:ma14="http://schemas.microsoft.com/office/mac/drawingml/2011/main" val="1"/>
              </a:ext>
            </a:extLst>
          </p:spPr>
          <p:txBody>
            <a:bodyPr lIns="45719" rIns="45719" anchor="ctr"/>
            <a:lstStyle>
              <a:lvl1pPr algn="ctr">
                <a:defRPr sz="1200">
                  <a:solidFill>
                    <a:srgbClr val="535353"/>
                  </a:solidFill>
                  <a:latin typeface="Segoe UI Light"/>
                  <a:ea typeface="Segoe UI Light"/>
                  <a:cs typeface="Segoe UI Light"/>
                  <a:sym typeface="Segoe UI Light"/>
                </a:defRPr>
              </a:lvl1pPr>
            </a:lstStyle>
            <a:p>
              <a:pPr defTabSz="914367"/>
              <a:r>
                <a:rPr lang="en-US">
                  <a:solidFill>
                    <a:srgbClr val="1A1A1A"/>
                  </a:solidFill>
                </a:rPr>
                <a:t>4</a:t>
              </a:r>
              <a:endParaRPr>
                <a:solidFill>
                  <a:srgbClr val="1A1A1A"/>
                </a:solidFill>
              </a:endParaRPr>
            </a:p>
          </p:txBody>
        </p:sp>
        <p:cxnSp>
          <p:nvCxnSpPr>
            <p:cNvPr id="63" name="Connection Line">
              <a:extLst>
                <a:ext uri="{FF2B5EF4-FFF2-40B4-BE49-F238E27FC236}">
                  <a16:creationId xmlns:a16="http://schemas.microsoft.com/office/drawing/2014/main" id="{BF3C5169-4498-6747-815E-D03F5A18E2CA}"/>
                </a:ext>
              </a:extLst>
            </p:cNvPr>
            <p:cNvCxnSpPr>
              <a:cxnSpLocks/>
            </p:cNvCxnSpPr>
            <p:nvPr/>
          </p:nvCxnSpPr>
          <p:spPr>
            <a:xfrm flipV="1">
              <a:off x="6220067" y="2988884"/>
              <a:ext cx="1504036" cy="520974"/>
            </a:xfrm>
            <a:prstGeom prst="straightConnector1">
              <a:avLst/>
            </a:prstGeom>
            <a:ln w="12700">
              <a:solidFill>
                <a:schemeClr val="accent6">
                  <a:lumOff val="-9568"/>
                </a:schemeClr>
              </a:solidFill>
              <a:miter/>
              <a:tailEnd type="triangle"/>
            </a:ln>
            <a:effectLst>
              <a:outerShdw blurRad="63500" dist="19050" dir="5400000" rotWithShape="0">
                <a:srgbClr val="000000">
                  <a:alpha val="63000"/>
                </a:srgbClr>
              </a:outerShdw>
            </a:effectLst>
          </p:spPr>
        </p:cxnSp>
        <p:cxnSp>
          <p:nvCxnSpPr>
            <p:cNvPr id="64" name="Connection Line">
              <a:extLst>
                <a:ext uri="{FF2B5EF4-FFF2-40B4-BE49-F238E27FC236}">
                  <a16:creationId xmlns:a16="http://schemas.microsoft.com/office/drawing/2014/main" id="{A7530F8F-5ECA-7249-A2FE-175CE8B87D99}"/>
                </a:ext>
              </a:extLst>
            </p:cNvPr>
            <p:cNvCxnSpPr>
              <a:cxnSpLocks/>
            </p:cNvCxnSpPr>
            <p:nvPr/>
          </p:nvCxnSpPr>
          <p:spPr>
            <a:xfrm>
              <a:off x="6290115" y="2519896"/>
              <a:ext cx="1433988" cy="468988"/>
            </a:xfrm>
            <a:prstGeom prst="straightConnector1">
              <a:avLst/>
            </a:prstGeom>
            <a:ln w="12700">
              <a:solidFill>
                <a:schemeClr val="accent6">
                  <a:lumOff val="-9568"/>
                </a:schemeClr>
              </a:solidFill>
              <a:miter/>
              <a:tailEnd type="arrow" w="med" len="med"/>
            </a:ln>
            <a:effectLst>
              <a:outerShdw blurRad="63500" dist="19050" dir="5400000" rotWithShape="0">
                <a:srgbClr val="000000">
                  <a:alpha val="63000"/>
                </a:srgbClr>
              </a:outerShdw>
            </a:effectLst>
          </p:spPr>
        </p:cxnSp>
        <p:sp>
          <p:nvSpPr>
            <p:cNvPr id="68" name="new data">
              <a:extLst>
                <a:ext uri="{FF2B5EF4-FFF2-40B4-BE49-F238E27FC236}">
                  <a16:creationId xmlns:a16="http://schemas.microsoft.com/office/drawing/2014/main" id="{E9B6D827-B630-7144-B7E5-9FEDF65B9938}"/>
                </a:ext>
              </a:extLst>
            </p:cNvPr>
            <p:cNvSpPr/>
            <p:nvPr/>
          </p:nvSpPr>
          <p:spPr>
            <a:xfrm>
              <a:off x="371985" y="2519896"/>
              <a:ext cx="875388" cy="875388"/>
            </a:xfrm>
            <a:prstGeom prst="ellipse">
              <a:avLst/>
            </a:prstGeom>
            <a:solidFill>
              <a:srgbClr val="FFFFFF"/>
            </a:solidFill>
            <a:ln w="12700">
              <a:solidFill>
                <a:srgbClr val="535353"/>
              </a:solidFill>
              <a:prstDash val="sysDot"/>
              <a:miter lim="400000"/>
            </a:ln>
            <a:extLst>
              <a:ext uri="{C572A759-6A51-4108-AA02-DFA0A04FC94B}">
                <ma14:wrappingTextBoxFlag xmlns="" xmlns:ma14="http://schemas.microsoft.com/office/mac/drawingml/2011/main" val="1"/>
              </a:ext>
            </a:extLst>
          </p:spPr>
          <p:txBody>
            <a:bodyPr lIns="45719" rIns="45719" anchor="ctr"/>
            <a:lstStyle>
              <a:lvl1pPr algn="ctr">
                <a:defRPr sz="1400">
                  <a:latin typeface="Segoe UI Light"/>
                  <a:ea typeface="Segoe UI Light"/>
                  <a:cs typeface="Segoe UI Light"/>
                  <a:sym typeface="Segoe UI Light"/>
                </a:defRPr>
              </a:lvl1pPr>
            </a:lstStyle>
            <a:p>
              <a:pPr defTabSz="914367"/>
              <a:r>
                <a:rPr>
                  <a:solidFill>
                    <a:srgbClr val="1A1A1A"/>
                  </a:solidFill>
                </a:rPr>
                <a:t>new data</a:t>
              </a:r>
            </a:p>
          </p:txBody>
        </p:sp>
        <p:sp>
          <p:nvSpPr>
            <p:cNvPr id="69" name="1">
              <a:extLst>
                <a:ext uri="{FF2B5EF4-FFF2-40B4-BE49-F238E27FC236}">
                  <a16:creationId xmlns:a16="http://schemas.microsoft.com/office/drawing/2014/main" id="{8AF730BB-4553-E047-B83B-BAE77AD619C1}"/>
                </a:ext>
              </a:extLst>
            </p:cNvPr>
            <p:cNvSpPr/>
            <p:nvPr/>
          </p:nvSpPr>
          <p:spPr>
            <a:xfrm>
              <a:off x="333765" y="3156374"/>
              <a:ext cx="300992" cy="300991"/>
            </a:xfrm>
            <a:prstGeom prst="ellipse">
              <a:avLst/>
            </a:prstGeom>
            <a:gradFill>
              <a:gsLst>
                <a:gs pos="0">
                  <a:schemeClr val="accent4">
                    <a:hueOff val="-406799"/>
                    <a:lumOff val="30382"/>
                  </a:schemeClr>
                </a:gs>
                <a:gs pos="50000">
                  <a:srgbClr val="FFD58D"/>
                </a:gs>
                <a:gs pos="100000">
                  <a:schemeClr val="accent4">
                    <a:hueOff val="-362075"/>
                    <a:lumOff val="23565"/>
                  </a:schemeClr>
                </a:gs>
              </a:gsLst>
              <a:lin ang="5400000"/>
            </a:gradFill>
            <a:ln w="6350">
              <a:solidFill>
                <a:schemeClr val="accent3">
                  <a:lumOff val="-12941"/>
                </a:schemeClr>
              </a:solidFill>
              <a:miter/>
            </a:ln>
            <a:extLst>
              <a:ext uri="{C572A759-6A51-4108-AA02-DFA0A04FC94B}">
                <ma14:wrappingTextBoxFlag xmlns="" xmlns:ma14="http://schemas.microsoft.com/office/mac/drawingml/2011/main" val="1"/>
              </a:ext>
            </a:extLst>
          </p:spPr>
          <p:txBody>
            <a:bodyPr lIns="45719" rIns="45719" anchor="ctr"/>
            <a:lstStyle>
              <a:lvl1pPr algn="ctr">
                <a:defRPr sz="1200">
                  <a:solidFill>
                    <a:srgbClr val="535353"/>
                  </a:solidFill>
                  <a:latin typeface="Segoe UI Light"/>
                  <a:ea typeface="Segoe UI Light"/>
                  <a:cs typeface="Segoe UI Light"/>
                  <a:sym typeface="Segoe UI Light"/>
                </a:defRPr>
              </a:lvl1pPr>
            </a:lstStyle>
            <a:p>
              <a:pPr defTabSz="914367"/>
              <a:r>
                <a:rPr>
                  <a:solidFill>
                    <a:srgbClr val="1A1A1A"/>
                  </a:solidFill>
                </a:rPr>
                <a:t>1</a:t>
              </a:r>
            </a:p>
          </p:txBody>
        </p:sp>
        <p:cxnSp>
          <p:nvCxnSpPr>
            <p:cNvPr id="73" name="Straight Arrow Connector 72">
              <a:extLst>
                <a:ext uri="{FF2B5EF4-FFF2-40B4-BE49-F238E27FC236}">
                  <a16:creationId xmlns:a16="http://schemas.microsoft.com/office/drawing/2014/main" id="{5AF01F0D-51B9-E84D-A692-5D29028F8ECD}"/>
                </a:ext>
              </a:extLst>
            </p:cNvPr>
            <p:cNvCxnSpPr>
              <a:cxnSpLocks/>
            </p:cNvCxnSpPr>
            <p:nvPr/>
          </p:nvCxnSpPr>
          <p:spPr>
            <a:xfrm flipV="1">
              <a:off x="3757447" y="2522431"/>
              <a:ext cx="1380150" cy="352499"/>
            </a:xfrm>
            <a:prstGeom prst="straightConnector1">
              <a:avLst/>
            </a:prstGeom>
            <a:ln w="28575">
              <a:solidFill>
                <a:srgbClr val="BDBDBD"/>
              </a:solidFill>
              <a:miter lim="800000"/>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5E235EAB-7CAB-0B49-A242-0E3167CFAF3D}"/>
                </a:ext>
              </a:extLst>
            </p:cNvPr>
            <p:cNvCxnSpPr>
              <a:cxnSpLocks/>
            </p:cNvCxnSpPr>
            <p:nvPr/>
          </p:nvCxnSpPr>
          <p:spPr>
            <a:xfrm>
              <a:off x="3769786" y="2917465"/>
              <a:ext cx="1345432" cy="477819"/>
            </a:xfrm>
            <a:prstGeom prst="straightConnector1">
              <a:avLst/>
            </a:prstGeom>
            <a:ln w="25400">
              <a:solidFill>
                <a:srgbClr val="BDBDBD"/>
              </a:solidFill>
              <a:miter lim="800000"/>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6" name="real-time view">
              <a:extLst>
                <a:ext uri="{FF2B5EF4-FFF2-40B4-BE49-F238E27FC236}">
                  <a16:creationId xmlns:a16="http://schemas.microsoft.com/office/drawing/2014/main" id="{C373E5B3-8593-6A44-AC8F-3EBF0E04B7A4}"/>
                </a:ext>
              </a:extLst>
            </p:cNvPr>
            <p:cNvSpPr/>
            <p:nvPr/>
          </p:nvSpPr>
          <p:spPr>
            <a:xfrm>
              <a:off x="2464267" y="2658484"/>
              <a:ext cx="1270001" cy="517962"/>
            </a:xfrm>
            <a:prstGeom prst="rect">
              <a:avLst/>
            </a:prstGeom>
            <a:solidFill>
              <a:schemeClr val="accent1"/>
            </a:solidFill>
            <a:ln w="12700">
              <a:solidFill>
                <a:srgbClr val="42719B"/>
              </a:solidFill>
              <a:miter/>
            </a:ln>
            <a:extLst>
              <a:ext uri="{C572A759-6A51-4108-AA02-DFA0A04FC94B}">
                <ma14:wrappingTextBoxFlag xmlns="" xmlns:ma14="http://schemas.microsoft.com/office/mac/drawingml/2011/main" val="1"/>
              </a:ext>
            </a:extLst>
          </p:spPr>
          <p:txBody>
            <a:bodyPr lIns="45719" rIns="45719" anchor="ctr"/>
            <a:lstStyle>
              <a:lvl1pPr algn="ctr">
                <a:defRPr sz="1300">
                  <a:solidFill>
                    <a:srgbClr val="FFFFFF"/>
                  </a:solidFill>
                  <a:latin typeface="Segoe UI Light"/>
                  <a:ea typeface="Segoe UI Light"/>
                  <a:cs typeface="Segoe UI Light"/>
                  <a:sym typeface="Segoe UI Light"/>
                </a:defRPr>
              </a:lvl1pPr>
            </a:lstStyle>
            <a:p>
              <a:pPr defTabSz="914367"/>
              <a:r>
                <a:rPr lang="en-US"/>
                <a:t>stream process</a:t>
              </a:r>
              <a:endParaRPr/>
            </a:p>
          </p:txBody>
        </p:sp>
        <p:sp>
          <p:nvSpPr>
            <p:cNvPr id="59" name="2">
              <a:extLst>
                <a:ext uri="{FF2B5EF4-FFF2-40B4-BE49-F238E27FC236}">
                  <a16:creationId xmlns:a16="http://schemas.microsoft.com/office/drawing/2014/main" id="{6E1FBEAC-BC33-E042-8D65-0E45BB0B6F05}"/>
                </a:ext>
              </a:extLst>
            </p:cNvPr>
            <p:cNvSpPr/>
            <p:nvPr/>
          </p:nvSpPr>
          <p:spPr>
            <a:xfrm>
              <a:off x="2281769" y="2992937"/>
              <a:ext cx="300991" cy="300991"/>
            </a:xfrm>
            <a:prstGeom prst="ellipse">
              <a:avLst/>
            </a:prstGeom>
            <a:gradFill>
              <a:gsLst>
                <a:gs pos="0">
                  <a:schemeClr val="accent4">
                    <a:hueOff val="-406799"/>
                    <a:lumOff val="30382"/>
                  </a:schemeClr>
                </a:gs>
                <a:gs pos="50000">
                  <a:srgbClr val="FFD58D"/>
                </a:gs>
                <a:gs pos="100000">
                  <a:schemeClr val="accent4">
                    <a:hueOff val="-362075"/>
                    <a:lumOff val="23565"/>
                  </a:schemeClr>
                </a:gs>
              </a:gsLst>
              <a:lin ang="5400000"/>
            </a:gradFill>
            <a:ln w="6350">
              <a:solidFill>
                <a:schemeClr val="accent3">
                  <a:lumOff val="-12941"/>
                </a:schemeClr>
              </a:solidFill>
              <a:miter/>
            </a:ln>
            <a:extLst>
              <a:ext uri="{C572A759-6A51-4108-AA02-DFA0A04FC94B}">
                <ma14:wrappingTextBoxFlag xmlns="" xmlns:ma14="http://schemas.microsoft.com/office/mac/drawingml/2011/main" val="1"/>
              </a:ext>
            </a:extLst>
          </p:spPr>
          <p:txBody>
            <a:bodyPr lIns="45719" rIns="45719" anchor="ctr"/>
            <a:lstStyle>
              <a:lvl1pPr algn="ctr">
                <a:defRPr sz="1200">
                  <a:solidFill>
                    <a:srgbClr val="535353"/>
                  </a:solidFill>
                  <a:latin typeface="Segoe UI Light"/>
                  <a:ea typeface="Segoe UI Light"/>
                  <a:cs typeface="Segoe UI Light"/>
                  <a:sym typeface="Segoe UI Light"/>
                </a:defRPr>
              </a:lvl1pPr>
            </a:lstStyle>
            <a:p>
              <a:pPr defTabSz="914367"/>
              <a:r>
                <a:rPr>
                  <a:solidFill>
                    <a:srgbClr val="1A1A1A"/>
                  </a:solidFill>
                </a:rPr>
                <a:t>2</a:t>
              </a:r>
            </a:p>
          </p:txBody>
        </p:sp>
        <p:sp>
          <p:nvSpPr>
            <p:cNvPr id="37" name="real-time view">
              <a:extLst>
                <a:ext uri="{FF2B5EF4-FFF2-40B4-BE49-F238E27FC236}">
                  <a16:creationId xmlns:a16="http://schemas.microsoft.com/office/drawing/2014/main" id="{4BAB0C3C-487E-9242-87C0-A59597317A5B}"/>
                </a:ext>
              </a:extLst>
            </p:cNvPr>
            <p:cNvSpPr/>
            <p:nvPr/>
          </p:nvSpPr>
          <p:spPr>
            <a:xfrm>
              <a:off x="5137596" y="2299516"/>
              <a:ext cx="1270001" cy="517962"/>
            </a:xfrm>
            <a:prstGeom prst="rect">
              <a:avLst/>
            </a:prstGeom>
            <a:solidFill>
              <a:schemeClr val="accent1"/>
            </a:solidFill>
            <a:ln w="12700">
              <a:solidFill>
                <a:srgbClr val="42719B"/>
              </a:solidFill>
              <a:miter/>
            </a:ln>
            <a:extLst>
              <a:ext uri="{C572A759-6A51-4108-AA02-DFA0A04FC94B}">
                <ma14:wrappingTextBoxFlag xmlns="" xmlns:ma14="http://schemas.microsoft.com/office/mac/drawingml/2011/main" val="1"/>
              </a:ext>
            </a:extLst>
          </p:spPr>
          <p:txBody>
            <a:bodyPr lIns="45719" rIns="45719" anchor="ctr"/>
            <a:lstStyle>
              <a:lvl1pPr algn="ctr">
                <a:defRPr sz="1300">
                  <a:solidFill>
                    <a:srgbClr val="FFFFFF"/>
                  </a:solidFill>
                  <a:latin typeface="Segoe UI Light"/>
                  <a:ea typeface="Segoe UI Light"/>
                  <a:cs typeface="Segoe UI Light"/>
                  <a:sym typeface="Segoe UI Light"/>
                </a:defRPr>
              </a:lvl1pPr>
            </a:lstStyle>
            <a:p>
              <a:pPr defTabSz="914367"/>
              <a:r>
                <a:t>real-time view</a:t>
              </a:r>
            </a:p>
          </p:txBody>
        </p:sp>
        <p:sp>
          <p:nvSpPr>
            <p:cNvPr id="38" name="real-time view">
              <a:extLst>
                <a:ext uri="{FF2B5EF4-FFF2-40B4-BE49-F238E27FC236}">
                  <a16:creationId xmlns:a16="http://schemas.microsoft.com/office/drawing/2014/main" id="{199C7504-E3D2-1340-B495-32B1DD36BBE9}"/>
                </a:ext>
              </a:extLst>
            </p:cNvPr>
            <p:cNvSpPr/>
            <p:nvPr/>
          </p:nvSpPr>
          <p:spPr>
            <a:xfrm>
              <a:off x="5118265" y="3143433"/>
              <a:ext cx="1270001" cy="517962"/>
            </a:xfrm>
            <a:prstGeom prst="rect">
              <a:avLst/>
            </a:prstGeom>
            <a:solidFill>
              <a:schemeClr val="accent1"/>
            </a:solidFill>
            <a:ln w="12700">
              <a:solidFill>
                <a:srgbClr val="42719B"/>
              </a:solidFill>
              <a:miter/>
            </a:ln>
            <a:extLst>
              <a:ext uri="{C572A759-6A51-4108-AA02-DFA0A04FC94B}">
                <ma14:wrappingTextBoxFlag xmlns="" xmlns:ma14="http://schemas.microsoft.com/office/mac/drawingml/2011/main" val="1"/>
              </a:ext>
            </a:extLst>
          </p:spPr>
          <p:txBody>
            <a:bodyPr lIns="45719" rIns="45719" anchor="ctr"/>
            <a:lstStyle>
              <a:lvl1pPr algn="ctr">
                <a:defRPr sz="1300">
                  <a:solidFill>
                    <a:srgbClr val="FFFFFF"/>
                  </a:solidFill>
                  <a:latin typeface="Segoe UI Light"/>
                  <a:ea typeface="Segoe UI Light"/>
                  <a:cs typeface="Segoe UI Light"/>
                  <a:sym typeface="Segoe UI Light"/>
                </a:defRPr>
              </a:lvl1pPr>
            </a:lstStyle>
            <a:p>
              <a:pPr defTabSz="914367"/>
              <a:r>
                <a:t>real-time view</a:t>
              </a:r>
            </a:p>
          </p:txBody>
        </p:sp>
        <p:sp>
          <p:nvSpPr>
            <p:cNvPr id="60" name="3">
              <a:extLst>
                <a:ext uri="{FF2B5EF4-FFF2-40B4-BE49-F238E27FC236}">
                  <a16:creationId xmlns:a16="http://schemas.microsoft.com/office/drawing/2014/main" id="{BCBF452D-916D-CA48-9E76-5493824B5D97}"/>
                </a:ext>
              </a:extLst>
            </p:cNvPr>
            <p:cNvSpPr/>
            <p:nvPr/>
          </p:nvSpPr>
          <p:spPr>
            <a:xfrm>
              <a:off x="5026988" y="2703524"/>
              <a:ext cx="300991" cy="300991"/>
            </a:xfrm>
            <a:prstGeom prst="ellipse">
              <a:avLst/>
            </a:prstGeom>
            <a:gradFill>
              <a:gsLst>
                <a:gs pos="0">
                  <a:schemeClr val="accent4">
                    <a:hueOff val="-406799"/>
                    <a:lumOff val="30382"/>
                  </a:schemeClr>
                </a:gs>
                <a:gs pos="50000">
                  <a:srgbClr val="FFD58D"/>
                </a:gs>
                <a:gs pos="100000">
                  <a:schemeClr val="accent4">
                    <a:hueOff val="-362075"/>
                    <a:lumOff val="23565"/>
                  </a:schemeClr>
                </a:gs>
              </a:gsLst>
              <a:lin ang="5400000"/>
            </a:gradFill>
            <a:ln w="6350">
              <a:solidFill>
                <a:schemeClr val="accent3">
                  <a:lumOff val="-12941"/>
                </a:schemeClr>
              </a:solidFill>
              <a:miter/>
            </a:ln>
            <a:extLst>
              <a:ext uri="{C572A759-6A51-4108-AA02-DFA0A04FC94B}">
                <ma14:wrappingTextBoxFlag xmlns="" xmlns:ma14="http://schemas.microsoft.com/office/mac/drawingml/2011/main" val="1"/>
              </a:ext>
            </a:extLst>
          </p:spPr>
          <p:txBody>
            <a:bodyPr lIns="45719" rIns="45719" anchor="ctr"/>
            <a:lstStyle>
              <a:lvl1pPr algn="ctr">
                <a:defRPr sz="1200">
                  <a:solidFill>
                    <a:srgbClr val="535353"/>
                  </a:solidFill>
                  <a:latin typeface="Segoe UI Light"/>
                  <a:ea typeface="Segoe UI Light"/>
                  <a:cs typeface="Segoe UI Light"/>
                  <a:sym typeface="Segoe UI Light"/>
                </a:defRPr>
              </a:lvl1pPr>
            </a:lstStyle>
            <a:p>
              <a:pPr defTabSz="914367"/>
              <a:r>
                <a:rPr>
                  <a:solidFill>
                    <a:srgbClr val="1A1A1A"/>
                  </a:solidFill>
                </a:rPr>
                <a:t>3</a:t>
              </a:r>
            </a:p>
          </p:txBody>
        </p:sp>
      </p:grpSp>
    </p:spTree>
    <p:extLst>
      <p:ext uri="{BB962C8B-B14F-4D97-AF65-F5344CB8AC3E}">
        <p14:creationId xmlns:p14="http://schemas.microsoft.com/office/powerpoint/2010/main" val="674229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 name="Title 16">
            <a:extLst>
              <a:ext uri="{FF2B5EF4-FFF2-40B4-BE49-F238E27FC236}">
                <a16:creationId xmlns:a16="http://schemas.microsoft.com/office/drawing/2014/main" id="{6F86E5AB-548F-3E45-AD74-5E156EBD1FC1}"/>
              </a:ext>
            </a:extLst>
          </p:cNvPr>
          <p:cNvSpPr>
            <a:spLocks noGrp="1"/>
          </p:cNvSpPr>
          <p:nvPr>
            <p:ph type="title"/>
          </p:nvPr>
        </p:nvSpPr>
        <p:spPr>
          <a:xfrm>
            <a:off x="588263" y="685800"/>
            <a:ext cx="11018520" cy="553998"/>
          </a:xfrm>
        </p:spPr>
        <p:txBody>
          <a:bodyPr/>
          <a:lstStyle/>
          <a:p>
            <a:r>
              <a:rPr lang="en-US"/>
              <a:t>Lambda vs Kappa ?</a:t>
            </a:r>
          </a:p>
        </p:txBody>
      </p:sp>
      <p:sp>
        <p:nvSpPr>
          <p:cNvPr id="23" name="Text Placeholder 5">
            <a:extLst>
              <a:ext uri="{FF2B5EF4-FFF2-40B4-BE49-F238E27FC236}">
                <a16:creationId xmlns:a16="http://schemas.microsoft.com/office/drawing/2014/main" id="{5070FE39-A636-9146-83B8-134CEBB2C5A2}"/>
              </a:ext>
            </a:extLst>
          </p:cNvPr>
          <p:cNvSpPr>
            <a:spLocks noGrp="1"/>
          </p:cNvSpPr>
          <p:nvPr>
            <p:ph type="body" sz="quarter" idx="10"/>
          </p:nvPr>
        </p:nvSpPr>
        <p:spPr>
          <a:xfrm>
            <a:off x="588263" y="1983412"/>
            <a:ext cx="10905020" cy="3791807"/>
          </a:xfrm>
        </p:spPr>
        <p:txBody>
          <a:bodyPr/>
          <a:lstStyle/>
          <a:p>
            <a:pPr marL="457200" indent="-457200">
              <a:buFont typeface="Arial" panose="020B0604020202020204" pitchFamily="34" charset="0"/>
              <a:buChar char="•"/>
            </a:pPr>
            <a:r>
              <a:rPr lang="en-US" sz="2400"/>
              <a:t>Kappa isn’t a drop-in replacement for Lambda</a:t>
            </a:r>
          </a:p>
          <a:p>
            <a:pPr marL="457200" indent="-457200">
              <a:buFont typeface="Arial" panose="020B0604020202020204" pitchFamily="34" charset="0"/>
              <a:buChar char="•"/>
            </a:pPr>
            <a:r>
              <a:rPr lang="en-US" sz="2400"/>
              <a:t>If the algorithms in batch and speed layer are identical, Kappa is likely better</a:t>
            </a:r>
          </a:p>
          <a:p>
            <a:pPr marL="457200" indent="-457200">
              <a:buFont typeface="Arial" panose="020B0604020202020204" pitchFamily="34" charset="0"/>
              <a:buChar char="•"/>
            </a:pPr>
            <a:r>
              <a:rPr lang="en-US" sz="2400"/>
              <a:t>In some cases, having access to complete historical data may yield optimizations to batch algorithm to outperform real-time processing</a:t>
            </a:r>
          </a:p>
          <a:p>
            <a:pPr marL="685800" lvl="1" indent="-457200">
              <a:buFont typeface="Arial" panose="020B0604020202020204" pitchFamily="34" charset="0"/>
              <a:buChar char="•"/>
            </a:pPr>
            <a:r>
              <a:rPr lang="en-US"/>
              <a:t>Choosing between Lambda and Kappa becomes a choice between favoring batch execution performance over code base simplicity</a:t>
            </a:r>
          </a:p>
          <a:p>
            <a:pPr marL="457200" indent="-457200">
              <a:buFont typeface="Arial" panose="020B0604020202020204" pitchFamily="34" charset="0"/>
              <a:buChar char="•"/>
            </a:pPr>
            <a:r>
              <a:rPr lang="en-US" sz="2400"/>
              <a:t>In some complex situations, batch and streaming algorithms produce different results requiring Lambda</a:t>
            </a:r>
          </a:p>
          <a:p>
            <a:pPr marL="685800" lvl="1" indent="-457200">
              <a:buFont typeface="Arial" panose="020B0604020202020204" pitchFamily="34" charset="0"/>
              <a:buChar char="•"/>
            </a:pPr>
            <a:r>
              <a:rPr lang="en-US"/>
              <a:t>E.g., Machine learning application – generation of batch model expensive in time and compute – best result achievable in real-time is approximation of batch model</a:t>
            </a:r>
          </a:p>
        </p:txBody>
      </p:sp>
    </p:spTree>
    <p:extLst>
      <p:ext uri="{BB962C8B-B14F-4D97-AF65-F5344CB8AC3E}">
        <p14:creationId xmlns:p14="http://schemas.microsoft.com/office/powerpoint/2010/main" val="4173795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6">
            <a:extLst>
              <a:ext uri="{FF2B5EF4-FFF2-40B4-BE49-F238E27FC236}">
                <a16:creationId xmlns:a16="http://schemas.microsoft.com/office/drawing/2014/main" id="{6F86E5AB-548F-3E45-AD74-5E156EBD1FC1}"/>
              </a:ext>
            </a:extLst>
          </p:cNvPr>
          <p:cNvSpPr>
            <a:spLocks noGrp="1"/>
          </p:cNvSpPr>
          <p:nvPr>
            <p:ph type="title"/>
          </p:nvPr>
        </p:nvSpPr>
        <p:spPr>
          <a:xfrm>
            <a:off x="617292" y="3182260"/>
            <a:ext cx="11429565" cy="984885"/>
          </a:xfrm>
        </p:spPr>
        <p:txBody>
          <a:bodyPr/>
          <a:lstStyle/>
          <a:p>
            <a:r>
              <a:rPr lang="en-US" sz="3200"/>
              <a:t>Great! So how do we implement such a Lambda pipeline efficiently?</a:t>
            </a:r>
          </a:p>
        </p:txBody>
      </p:sp>
    </p:spTree>
    <p:extLst>
      <p:ext uri="{BB962C8B-B14F-4D97-AF65-F5344CB8AC3E}">
        <p14:creationId xmlns:p14="http://schemas.microsoft.com/office/powerpoint/2010/main" val="1539204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Azure Cosmos DB &lt;3 Apache Spark</a:t>
            </a:r>
          </a:p>
        </p:txBody>
      </p:sp>
      <p:pic>
        <p:nvPicPr>
          <p:cNvPr id="7" name="Line" descr="Line">
            <a:extLst>
              <a:ext uri="{FF2B5EF4-FFF2-40B4-BE49-F238E27FC236}">
                <a16:creationId xmlns:a16="http://schemas.microsoft.com/office/drawing/2014/main" id="{E3811894-9364-6346-8DDE-6A5AC6BB516F}"/>
              </a:ext>
            </a:extLst>
          </p:cNvPr>
          <p:cNvPicPr>
            <a:picLocks/>
          </p:cNvPicPr>
          <p:nvPr/>
        </p:nvPicPr>
        <p:blipFill>
          <a:blip r:embed="rId3">
            <a:extLst/>
          </a:blip>
          <a:stretch>
            <a:fillRect/>
          </a:stretch>
        </p:blipFill>
        <p:spPr>
          <a:xfrm rot="13500000">
            <a:off x="1116382" y="3386028"/>
            <a:ext cx="1061172" cy="52695"/>
          </a:xfrm>
          <a:prstGeom prst="rect">
            <a:avLst/>
          </a:prstGeom>
        </p:spPr>
      </p:pic>
      <p:pic>
        <p:nvPicPr>
          <p:cNvPr id="8" name="image79.png" descr="image79.png">
            <a:extLst>
              <a:ext uri="{FF2B5EF4-FFF2-40B4-BE49-F238E27FC236}">
                <a16:creationId xmlns:a16="http://schemas.microsoft.com/office/drawing/2014/main" id="{1699ABE9-DB8A-324D-B717-80B4BB7CC0B3}"/>
              </a:ext>
            </a:extLst>
          </p:cNvPr>
          <p:cNvPicPr>
            <a:picLocks noChangeAspect="1"/>
          </p:cNvPicPr>
          <p:nvPr/>
        </p:nvPicPr>
        <p:blipFill>
          <a:blip r:embed="rId4">
            <a:extLst/>
          </a:blip>
          <a:stretch>
            <a:fillRect/>
          </a:stretch>
        </p:blipFill>
        <p:spPr>
          <a:xfrm>
            <a:off x="5475025" y="3232328"/>
            <a:ext cx="2070375" cy="1064790"/>
          </a:xfrm>
          <a:prstGeom prst="rect">
            <a:avLst/>
          </a:prstGeom>
          <a:ln w="12700">
            <a:miter lim="400000"/>
          </a:ln>
        </p:spPr>
      </p:pic>
      <p:sp>
        <p:nvSpPr>
          <p:cNvPr id="10" name="Circle">
            <a:extLst>
              <a:ext uri="{FF2B5EF4-FFF2-40B4-BE49-F238E27FC236}">
                <a16:creationId xmlns:a16="http://schemas.microsoft.com/office/drawing/2014/main" id="{A8D7E38F-A943-1249-B8D9-DA8FB5604566}"/>
              </a:ext>
            </a:extLst>
          </p:cNvPr>
          <p:cNvSpPr/>
          <p:nvPr/>
        </p:nvSpPr>
        <p:spPr>
          <a:xfrm>
            <a:off x="6165504" y="4594339"/>
            <a:ext cx="432532" cy="423715"/>
          </a:xfrm>
          <a:prstGeom prst="ellipse">
            <a:avLst/>
          </a:prstGeom>
          <a:blipFill>
            <a:blip r:embed="rId5"/>
          </a:blipFill>
          <a:ln w="3175">
            <a:miter lim="400000"/>
          </a:ln>
          <a:effectLst>
            <a:outerShdw blurRad="25400" dist="12700" dir="5400000" rotWithShape="0">
              <a:srgbClr val="000000">
                <a:alpha val="50000"/>
              </a:srgbClr>
            </a:outerShdw>
          </a:effectLst>
        </p:spPr>
        <p:txBody>
          <a:bodyPr lIns="35718" tIns="35718" rIns="35718" bIns="35718" anchor="ctr"/>
          <a:lstStyle/>
          <a:p>
            <a:pPr algn="ctr" defTabSz="410765">
              <a:defRPr sz="1600">
                <a:solidFill>
                  <a:srgbClr val="FFFFFF"/>
                </a:solidFill>
                <a:latin typeface="Helvetica Light"/>
                <a:ea typeface="Helvetica Light"/>
                <a:cs typeface="Helvetica Light"/>
                <a:sym typeface="Helvetica Light"/>
              </a:defRPr>
            </a:pPr>
            <a:endParaRPr sz="1600">
              <a:solidFill>
                <a:srgbClr val="FFFFFF"/>
              </a:solidFill>
              <a:latin typeface="Helvetica Light"/>
              <a:sym typeface="Helvetica Light"/>
            </a:endParaRPr>
          </a:p>
        </p:txBody>
      </p:sp>
      <p:sp>
        <p:nvSpPr>
          <p:cNvPr id="11" name="Circle">
            <a:extLst>
              <a:ext uri="{FF2B5EF4-FFF2-40B4-BE49-F238E27FC236}">
                <a16:creationId xmlns:a16="http://schemas.microsoft.com/office/drawing/2014/main" id="{E35B49B5-A4B4-7F48-86EE-ACA7DBD793A8}"/>
              </a:ext>
            </a:extLst>
          </p:cNvPr>
          <p:cNvSpPr/>
          <p:nvPr/>
        </p:nvSpPr>
        <p:spPr>
          <a:xfrm>
            <a:off x="5309061" y="3552865"/>
            <a:ext cx="432533" cy="423716"/>
          </a:xfrm>
          <a:prstGeom prst="ellipse">
            <a:avLst/>
          </a:prstGeom>
          <a:blipFill>
            <a:blip r:embed="rId6"/>
          </a:blipFill>
          <a:ln w="3175">
            <a:miter lim="400000"/>
          </a:ln>
          <a:effectLst>
            <a:outerShdw blurRad="25400" dist="12700" dir="5400000" rotWithShape="0">
              <a:srgbClr val="000000">
                <a:alpha val="50000"/>
              </a:srgbClr>
            </a:outerShdw>
          </a:effectLst>
        </p:spPr>
        <p:txBody>
          <a:bodyPr lIns="35718" tIns="35718" rIns="35718" bIns="35718" anchor="ctr"/>
          <a:lstStyle/>
          <a:p>
            <a:pPr algn="ctr" defTabSz="410765">
              <a:defRPr sz="1600">
                <a:solidFill>
                  <a:srgbClr val="FFFFFF"/>
                </a:solidFill>
                <a:latin typeface="Helvetica Light"/>
                <a:ea typeface="Helvetica Light"/>
                <a:cs typeface="Helvetica Light"/>
                <a:sym typeface="Helvetica Light"/>
              </a:defRPr>
            </a:pPr>
            <a:endParaRPr sz="1600">
              <a:solidFill>
                <a:srgbClr val="FFFFFF"/>
              </a:solidFill>
              <a:latin typeface="Helvetica Light"/>
              <a:sym typeface="Helvetica Light"/>
            </a:endParaRPr>
          </a:p>
        </p:txBody>
      </p:sp>
      <p:sp>
        <p:nvSpPr>
          <p:cNvPr id="12" name="Circle">
            <a:extLst>
              <a:ext uri="{FF2B5EF4-FFF2-40B4-BE49-F238E27FC236}">
                <a16:creationId xmlns:a16="http://schemas.microsoft.com/office/drawing/2014/main" id="{516D4D14-3B23-9E48-BC00-FB1A1AB3851E}"/>
              </a:ext>
            </a:extLst>
          </p:cNvPr>
          <p:cNvSpPr/>
          <p:nvPr/>
        </p:nvSpPr>
        <p:spPr>
          <a:xfrm>
            <a:off x="7074479" y="4306125"/>
            <a:ext cx="432532" cy="423716"/>
          </a:xfrm>
          <a:prstGeom prst="ellipse">
            <a:avLst/>
          </a:prstGeom>
          <a:blipFill>
            <a:blip r:embed="rId5"/>
          </a:blipFill>
          <a:ln w="3175">
            <a:miter lim="400000"/>
          </a:ln>
          <a:effectLst>
            <a:outerShdw blurRad="25400" dist="12700" dir="5400000" rotWithShape="0">
              <a:srgbClr val="000000">
                <a:alpha val="50000"/>
              </a:srgbClr>
            </a:outerShdw>
          </a:effectLst>
        </p:spPr>
        <p:txBody>
          <a:bodyPr lIns="35718" tIns="35718" rIns="35718" bIns="35718" anchor="ctr"/>
          <a:lstStyle/>
          <a:p>
            <a:pPr algn="ctr" defTabSz="410765">
              <a:defRPr sz="1600">
                <a:solidFill>
                  <a:srgbClr val="FFFFFF"/>
                </a:solidFill>
                <a:latin typeface="Helvetica Light"/>
                <a:ea typeface="Helvetica Light"/>
                <a:cs typeface="Helvetica Light"/>
                <a:sym typeface="Helvetica Light"/>
              </a:defRPr>
            </a:pPr>
            <a:endParaRPr sz="1600">
              <a:solidFill>
                <a:srgbClr val="FFFFFF"/>
              </a:solidFill>
              <a:latin typeface="Helvetica Light"/>
              <a:sym typeface="Helvetica Light"/>
            </a:endParaRPr>
          </a:p>
        </p:txBody>
      </p:sp>
      <p:sp>
        <p:nvSpPr>
          <p:cNvPr id="13" name="Circle">
            <a:extLst>
              <a:ext uri="{FF2B5EF4-FFF2-40B4-BE49-F238E27FC236}">
                <a16:creationId xmlns:a16="http://schemas.microsoft.com/office/drawing/2014/main" id="{53FFCCF4-0CF8-C743-BC02-8255EECE57EB}"/>
              </a:ext>
            </a:extLst>
          </p:cNvPr>
          <p:cNvSpPr/>
          <p:nvPr/>
        </p:nvSpPr>
        <p:spPr>
          <a:xfrm>
            <a:off x="7241345" y="3376967"/>
            <a:ext cx="432532" cy="423715"/>
          </a:xfrm>
          <a:prstGeom prst="ellipse">
            <a:avLst/>
          </a:prstGeom>
          <a:blipFill>
            <a:blip r:embed="rId5"/>
          </a:blipFill>
          <a:ln w="3175">
            <a:miter lim="400000"/>
          </a:ln>
          <a:effectLst>
            <a:outerShdw blurRad="25400" dist="12700" dir="5400000" rotWithShape="0">
              <a:srgbClr val="000000">
                <a:alpha val="50000"/>
              </a:srgbClr>
            </a:outerShdw>
          </a:effectLst>
        </p:spPr>
        <p:txBody>
          <a:bodyPr lIns="35718" tIns="35718" rIns="35718" bIns="35718" anchor="ctr"/>
          <a:lstStyle/>
          <a:p>
            <a:pPr algn="ctr" defTabSz="410765">
              <a:defRPr sz="1600">
                <a:solidFill>
                  <a:srgbClr val="FFFFFF"/>
                </a:solidFill>
                <a:latin typeface="Helvetica Light"/>
                <a:ea typeface="Helvetica Light"/>
                <a:cs typeface="Helvetica Light"/>
                <a:sym typeface="Helvetica Light"/>
              </a:defRPr>
            </a:pPr>
            <a:endParaRPr sz="1600">
              <a:solidFill>
                <a:srgbClr val="FFFFFF"/>
              </a:solidFill>
              <a:latin typeface="Helvetica Light"/>
              <a:sym typeface="Helvetica Light"/>
            </a:endParaRPr>
          </a:p>
        </p:txBody>
      </p:sp>
      <p:sp>
        <p:nvSpPr>
          <p:cNvPr id="14" name="Circle">
            <a:extLst>
              <a:ext uri="{FF2B5EF4-FFF2-40B4-BE49-F238E27FC236}">
                <a16:creationId xmlns:a16="http://schemas.microsoft.com/office/drawing/2014/main" id="{B3D20C8E-2DA4-7E46-BB7C-3C3ACFB8338A}"/>
              </a:ext>
            </a:extLst>
          </p:cNvPr>
          <p:cNvSpPr/>
          <p:nvPr/>
        </p:nvSpPr>
        <p:spPr>
          <a:xfrm>
            <a:off x="6609014" y="2688699"/>
            <a:ext cx="432532" cy="423716"/>
          </a:xfrm>
          <a:prstGeom prst="ellipse">
            <a:avLst/>
          </a:prstGeom>
          <a:blipFill>
            <a:blip r:embed="rId5"/>
          </a:blipFill>
          <a:ln w="3175">
            <a:miter lim="400000"/>
          </a:ln>
          <a:effectLst>
            <a:outerShdw blurRad="25400" dist="12700" dir="5400000" rotWithShape="0">
              <a:srgbClr val="000000">
                <a:alpha val="50000"/>
              </a:srgbClr>
            </a:outerShdw>
          </a:effectLst>
        </p:spPr>
        <p:txBody>
          <a:bodyPr lIns="35718" tIns="35718" rIns="35718" bIns="35718" anchor="ctr"/>
          <a:lstStyle/>
          <a:p>
            <a:pPr algn="ctr" defTabSz="410765">
              <a:defRPr sz="1600">
                <a:solidFill>
                  <a:srgbClr val="FFFFFF"/>
                </a:solidFill>
                <a:latin typeface="Helvetica Light"/>
                <a:ea typeface="Helvetica Light"/>
                <a:cs typeface="Helvetica Light"/>
                <a:sym typeface="Helvetica Light"/>
              </a:defRPr>
            </a:pPr>
            <a:endParaRPr sz="1600">
              <a:solidFill>
                <a:srgbClr val="FFFFFF"/>
              </a:solidFill>
              <a:latin typeface="Helvetica Light"/>
              <a:sym typeface="Helvetica Light"/>
            </a:endParaRPr>
          </a:p>
        </p:txBody>
      </p:sp>
      <p:sp>
        <p:nvSpPr>
          <p:cNvPr id="15" name="Circle">
            <a:extLst>
              <a:ext uri="{FF2B5EF4-FFF2-40B4-BE49-F238E27FC236}">
                <a16:creationId xmlns:a16="http://schemas.microsoft.com/office/drawing/2014/main" id="{ECBE3A73-700B-D64F-8D66-F9396207DA52}"/>
              </a:ext>
            </a:extLst>
          </p:cNvPr>
          <p:cNvSpPr/>
          <p:nvPr/>
        </p:nvSpPr>
        <p:spPr>
          <a:xfrm>
            <a:off x="5572694" y="2912387"/>
            <a:ext cx="432532" cy="423715"/>
          </a:xfrm>
          <a:prstGeom prst="ellipse">
            <a:avLst/>
          </a:prstGeom>
          <a:blipFill>
            <a:blip r:embed="rId5"/>
          </a:blipFill>
          <a:ln w="3175">
            <a:miter lim="400000"/>
          </a:ln>
          <a:effectLst>
            <a:outerShdw blurRad="25400" dist="12700" dir="5400000" rotWithShape="0">
              <a:srgbClr val="000000">
                <a:alpha val="50000"/>
              </a:srgbClr>
            </a:outerShdw>
          </a:effectLst>
        </p:spPr>
        <p:txBody>
          <a:bodyPr lIns="35718" tIns="35718" rIns="35718" bIns="35718" anchor="ctr"/>
          <a:lstStyle/>
          <a:p>
            <a:pPr algn="ctr" defTabSz="410765">
              <a:defRPr sz="1600">
                <a:solidFill>
                  <a:srgbClr val="FFFFFF"/>
                </a:solidFill>
                <a:latin typeface="Helvetica Light"/>
                <a:ea typeface="Helvetica Light"/>
                <a:cs typeface="Helvetica Light"/>
                <a:sym typeface="Helvetica Light"/>
              </a:defRPr>
            </a:pPr>
            <a:endParaRPr sz="1600">
              <a:solidFill>
                <a:srgbClr val="FFFFFF"/>
              </a:solidFill>
              <a:latin typeface="Helvetica Light"/>
              <a:sym typeface="Helvetica Light"/>
            </a:endParaRPr>
          </a:p>
        </p:txBody>
      </p:sp>
      <p:sp>
        <p:nvSpPr>
          <p:cNvPr id="16" name="Circle">
            <a:extLst>
              <a:ext uri="{FF2B5EF4-FFF2-40B4-BE49-F238E27FC236}">
                <a16:creationId xmlns:a16="http://schemas.microsoft.com/office/drawing/2014/main" id="{DB3D9A34-2467-174B-AD83-3E24116218A2}"/>
              </a:ext>
            </a:extLst>
          </p:cNvPr>
          <p:cNvSpPr/>
          <p:nvPr/>
        </p:nvSpPr>
        <p:spPr>
          <a:xfrm>
            <a:off x="5458524" y="4178564"/>
            <a:ext cx="432533" cy="423715"/>
          </a:xfrm>
          <a:prstGeom prst="ellipse">
            <a:avLst/>
          </a:prstGeom>
          <a:blipFill>
            <a:blip r:embed="rId5"/>
          </a:blipFill>
          <a:ln w="3175">
            <a:miter lim="400000"/>
          </a:ln>
          <a:effectLst>
            <a:outerShdw blurRad="25400" dist="12700" dir="5400000" rotWithShape="0">
              <a:srgbClr val="000000">
                <a:alpha val="50000"/>
              </a:srgbClr>
            </a:outerShdw>
          </a:effectLst>
        </p:spPr>
        <p:txBody>
          <a:bodyPr lIns="35718" tIns="35718" rIns="35718" bIns="35718" anchor="ctr"/>
          <a:lstStyle/>
          <a:p>
            <a:pPr algn="ctr" defTabSz="410765">
              <a:defRPr sz="1600">
                <a:solidFill>
                  <a:srgbClr val="FFFFFF"/>
                </a:solidFill>
                <a:latin typeface="Helvetica Light"/>
                <a:ea typeface="Helvetica Light"/>
                <a:cs typeface="Helvetica Light"/>
                <a:sym typeface="Helvetica Light"/>
              </a:defRPr>
            </a:pPr>
            <a:endParaRPr sz="1600">
              <a:solidFill>
                <a:srgbClr val="FFFFFF"/>
              </a:solidFill>
              <a:latin typeface="Helvetica Light"/>
              <a:sym typeface="Helvetica Light"/>
            </a:endParaRPr>
          </a:p>
        </p:txBody>
      </p:sp>
      <p:sp>
        <p:nvSpPr>
          <p:cNvPr id="18" name="gateway…">
            <a:extLst>
              <a:ext uri="{FF2B5EF4-FFF2-40B4-BE49-F238E27FC236}">
                <a16:creationId xmlns:a16="http://schemas.microsoft.com/office/drawing/2014/main" id="{BDC18935-9843-514B-A893-39BD41FE90A9}"/>
              </a:ext>
            </a:extLst>
          </p:cNvPr>
          <p:cNvSpPr txBox="1"/>
          <p:nvPr/>
        </p:nvSpPr>
        <p:spPr>
          <a:xfrm>
            <a:off x="4778989" y="3214610"/>
            <a:ext cx="658961" cy="441465"/>
          </a:xfrm>
          <a:prstGeom prst="rect">
            <a:avLst/>
          </a:prstGeom>
          <a:ln w="12700">
            <a:miter lim="400000"/>
          </a:ln>
          <a:extLst>
            <a:ext uri="{C572A759-6A51-4108-AA02-DFA0A04FC94B}">
              <ma14:wrappingTextBoxFlag xmlns:ma14="http://schemas.microsoft.com/office/mac/drawingml/2011/main" xmlns="" val="1"/>
            </a:ext>
          </a:extLst>
        </p:spPr>
        <p:txBody>
          <a:bodyPr wrap="none" lIns="35718" tIns="35718" rIns="35718" bIns="35718" anchor="ctr">
            <a:spAutoFit/>
          </a:bodyPr>
          <a:lstStyle/>
          <a:p>
            <a:pPr algn="ctr" defTabSz="410765">
              <a:defRPr sz="1200">
                <a:solidFill>
                  <a:srgbClr val="53585F"/>
                </a:solidFill>
                <a:latin typeface="Helvetica Light"/>
                <a:ea typeface="Helvetica Light"/>
                <a:cs typeface="Helvetica Light"/>
                <a:sym typeface="Helvetica Light"/>
              </a:defRPr>
            </a:pPr>
            <a:r>
              <a:rPr sz="1200">
                <a:solidFill>
                  <a:srgbClr val="53585F"/>
                </a:solidFill>
                <a:latin typeface="Helvetica Light"/>
                <a:sym typeface="Helvetica Light"/>
              </a:rPr>
              <a:t>gateway </a:t>
            </a:r>
          </a:p>
          <a:p>
            <a:pPr algn="ctr" defTabSz="410765">
              <a:defRPr sz="1200">
                <a:solidFill>
                  <a:srgbClr val="53585F"/>
                </a:solidFill>
                <a:latin typeface="Helvetica Light"/>
                <a:ea typeface="Helvetica Light"/>
                <a:cs typeface="Helvetica Light"/>
                <a:sym typeface="Helvetica Light"/>
              </a:defRPr>
            </a:pPr>
            <a:r>
              <a:rPr sz="1200">
                <a:solidFill>
                  <a:srgbClr val="53585F"/>
                </a:solidFill>
                <a:latin typeface="Helvetica Light"/>
                <a:sym typeface="Helvetica Light"/>
              </a:rPr>
              <a:t>node</a:t>
            </a:r>
          </a:p>
        </p:txBody>
      </p:sp>
      <p:sp>
        <p:nvSpPr>
          <p:cNvPr id="19" name="data…">
            <a:extLst>
              <a:ext uri="{FF2B5EF4-FFF2-40B4-BE49-F238E27FC236}">
                <a16:creationId xmlns:a16="http://schemas.microsoft.com/office/drawing/2014/main" id="{2E51D527-76D4-104D-B5B2-4E494E21DFA9}"/>
              </a:ext>
            </a:extLst>
          </p:cNvPr>
          <p:cNvSpPr txBox="1"/>
          <p:nvPr/>
        </p:nvSpPr>
        <p:spPr>
          <a:xfrm>
            <a:off x="7733334" y="3368092"/>
            <a:ext cx="476090" cy="441465"/>
          </a:xfrm>
          <a:prstGeom prst="rect">
            <a:avLst/>
          </a:prstGeom>
          <a:ln w="12700">
            <a:miter lim="400000"/>
          </a:ln>
          <a:extLst>
            <a:ext uri="{C572A759-6A51-4108-AA02-DFA0A04FC94B}">
              <ma14:wrappingTextBoxFlag xmlns:ma14="http://schemas.microsoft.com/office/mac/drawingml/2011/main" xmlns="" val="1"/>
            </a:ext>
          </a:extLst>
        </p:spPr>
        <p:txBody>
          <a:bodyPr wrap="none" lIns="35718" tIns="35718" rIns="35718" bIns="35718" anchor="ctr">
            <a:spAutoFit/>
          </a:bodyPr>
          <a:lstStyle/>
          <a:p>
            <a:pPr algn="ctr" defTabSz="410765">
              <a:defRPr sz="1200">
                <a:solidFill>
                  <a:srgbClr val="53585F"/>
                </a:solidFill>
                <a:latin typeface="Helvetica Light"/>
                <a:ea typeface="Helvetica Light"/>
                <a:cs typeface="Helvetica Light"/>
                <a:sym typeface="Helvetica Light"/>
              </a:defRPr>
            </a:pPr>
            <a:r>
              <a:rPr sz="1200">
                <a:solidFill>
                  <a:srgbClr val="53585F"/>
                </a:solidFill>
                <a:latin typeface="Helvetica Light"/>
                <a:sym typeface="Helvetica Light"/>
              </a:rPr>
              <a:t>data</a:t>
            </a:r>
          </a:p>
          <a:p>
            <a:pPr algn="ctr" defTabSz="410765">
              <a:defRPr sz="1200">
                <a:solidFill>
                  <a:srgbClr val="53585F"/>
                </a:solidFill>
                <a:latin typeface="Helvetica Light"/>
                <a:ea typeface="Helvetica Light"/>
                <a:cs typeface="Helvetica Light"/>
                <a:sym typeface="Helvetica Light"/>
              </a:defRPr>
            </a:pPr>
            <a:r>
              <a:rPr sz="1200">
                <a:solidFill>
                  <a:srgbClr val="53585F"/>
                </a:solidFill>
                <a:latin typeface="Helvetica Light"/>
                <a:sym typeface="Helvetica Light"/>
              </a:rPr>
              <a:t>nodes</a:t>
            </a:r>
          </a:p>
        </p:txBody>
      </p:sp>
      <p:pic>
        <p:nvPicPr>
          <p:cNvPr id="20" name="Image" descr="Image">
            <a:extLst>
              <a:ext uri="{FF2B5EF4-FFF2-40B4-BE49-F238E27FC236}">
                <a16:creationId xmlns:a16="http://schemas.microsoft.com/office/drawing/2014/main" id="{FDC9E9AD-000F-CA44-8858-A67F9F4C7B8A}"/>
              </a:ext>
            </a:extLst>
          </p:cNvPr>
          <p:cNvPicPr>
            <a:picLocks noChangeAspect="1"/>
          </p:cNvPicPr>
          <p:nvPr/>
        </p:nvPicPr>
        <p:blipFill>
          <a:blip r:embed="rId7">
            <a:extLst/>
          </a:blip>
          <a:stretch>
            <a:fillRect/>
          </a:stretch>
        </p:blipFill>
        <p:spPr>
          <a:xfrm>
            <a:off x="1763944" y="2741748"/>
            <a:ext cx="1239975" cy="646116"/>
          </a:xfrm>
          <a:prstGeom prst="rect">
            <a:avLst/>
          </a:prstGeom>
          <a:ln w="12700">
            <a:miter lim="400000"/>
          </a:ln>
        </p:spPr>
      </p:pic>
      <p:sp>
        <p:nvSpPr>
          <p:cNvPr id="21" name="Rounded Rectangle">
            <a:extLst>
              <a:ext uri="{FF2B5EF4-FFF2-40B4-BE49-F238E27FC236}">
                <a16:creationId xmlns:a16="http://schemas.microsoft.com/office/drawing/2014/main" id="{14EC1A49-EACB-1044-9E82-125F40AAE594}"/>
              </a:ext>
            </a:extLst>
          </p:cNvPr>
          <p:cNvSpPr/>
          <p:nvPr/>
        </p:nvSpPr>
        <p:spPr>
          <a:xfrm>
            <a:off x="509712" y="2841388"/>
            <a:ext cx="825352" cy="361869"/>
          </a:xfrm>
          <a:prstGeom prst="roundRect">
            <a:avLst>
              <a:gd name="adj" fmla="val 16107"/>
            </a:avLst>
          </a:prstGeom>
          <a:blipFill>
            <a:blip r:embed="rId5"/>
          </a:blipFill>
          <a:ln w="3175">
            <a:miter lim="400000"/>
          </a:ln>
          <a:effectLst>
            <a:outerShdw blurRad="25400" dist="12700" dir="5400000" rotWithShape="0">
              <a:srgbClr val="000000">
                <a:alpha val="50000"/>
              </a:srgbClr>
            </a:outerShdw>
          </a:effectLst>
        </p:spPr>
        <p:txBody>
          <a:bodyPr lIns="35718" tIns="35718" rIns="35718" bIns="35718" anchor="ctr"/>
          <a:lstStyle/>
          <a:p>
            <a:pPr algn="ctr" defTabSz="410765">
              <a:defRPr sz="1600">
                <a:solidFill>
                  <a:srgbClr val="FFFFFF"/>
                </a:solidFill>
                <a:latin typeface="Helvetica Light"/>
                <a:ea typeface="Helvetica Light"/>
                <a:cs typeface="Helvetica Light"/>
                <a:sym typeface="Helvetica Light"/>
              </a:defRPr>
            </a:pPr>
            <a:endParaRPr sz="1600">
              <a:solidFill>
                <a:srgbClr val="FFFFFF"/>
              </a:solidFill>
              <a:latin typeface="Helvetica Light"/>
              <a:sym typeface="Helvetica Light"/>
            </a:endParaRPr>
          </a:p>
        </p:txBody>
      </p:sp>
      <p:sp>
        <p:nvSpPr>
          <p:cNvPr id="22" name="master…">
            <a:extLst>
              <a:ext uri="{FF2B5EF4-FFF2-40B4-BE49-F238E27FC236}">
                <a16:creationId xmlns:a16="http://schemas.microsoft.com/office/drawing/2014/main" id="{E60918F6-E774-B846-AF93-5E907D783477}"/>
              </a:ext>
            </a:extLst>
          </p:cNvPr>
          <p:cNvSpPr txBox="1"/>
          <p:nvPr/>
        </p:nvSpPr>
        <p:spPr>
          <a:xfrm>
            <a:off x="2101226" y="4032036"/>
            <a:ext cx="565410" cy="441465"/>
          </a:xfrm>
          <a:prstGeom prst="rect">
            <a:avLst/>
          </a:prstGeom>
          <a:ln w="12700">
            <a:miter lim="400000"/>
          </a:ln>
          <a:extLst>
            <a:ext uri="{C572A759-6A51-4108-AA02-DFA0A04FC94B}">
              <ma14:wrappingTextBoxFlag xmlns:ma14="http://schemas.microsoft.com/office/mac/drawingml/2011/main" xmlns="" val="1"/>
            </a:ext>
          </a:extLst>
        </p:spPr>
        <p:txBody>
          <a:bodyPr wrap="none" lIns="35718" tIns="35718" rIns="35718" bIns="35718" anchor="ctr">
            <a:spAutoFit/>
          </a:bodyPr>
          <a:lstStyle/>
          <a:p>
            <a:pPr algn="ctr" defTabSz="410765">
              <a:defRPr sz="1200">
                <a:solidFill>
                  <a:srgbClr val="53585F"/>
                </a:solidFill>
                <a:latin typeface="Helvetica Light"/>
                <a:ea typeface="Helvetica Light"/>
                <a:cs typeface="Helvetica Light"/>
                <a:sym typeface="Helvetica Light"/>
              </a:defRPr>
            </a:pPr>
            <a:r>
              <a:rPr sz="1200">
                <a:solidFill>
                  <a:srgbClr val="53585F"/>
                </a:solidFill>
                <a:latin typeface="Helvetica Light"/>
                <a:sym typeface="Helvetica Light"/>
              </a:rPr>
              <a:t>master </a:t>
            </a:r>
          </a:p>
          <a:p>
            <a:pPr algn="ctr" defTabSz="410765">
              <a:defRPr sz="1200">
                <a:solidFill>
                  <a:srgbClr val="53585F"/>
                </a:solidFill>
                <a:latin typeface="Helvetica Light"/>
                <a:ea typeface="Helvetica Light"/>
                <a:cs typeface="Helvetica Light"/>
                <a:sym typeface="Helvetica Light"/>
              </a:defRPr>
            </a:pPr>
            <a:r>
              <a:rPr sz="1200">
                <a:solidFill>
                  <a:srgbClr val="53585F"/>
                </a:solidFill>
                <a:latin typeface="Helvetica Light"/>
                <a:sym typeface="Helvetica Light"/>
              </a:rPr>
              <a:t>node</a:t>
            </a:r>
          </a:p>
        </p:txBody>
      </p:sp>
      <p:sp>
        <p:nvSpPr>
          <p:cNvPr id="23" name="worker nodes">
            <a:extLst>
              <a:ext uri="{FF2B5EF4-FFF2-40B4-BE49-F238E27FC236}">
                <a16:creationId xmlns:a16="http://schemas.microsoft.com/office/drawing/2014/main" id="{A5D107CD-2E2D-AD42-9A1A-FF4D05923399}"/>
              </a:ext>
            </a:extLst>
          </p:cNvPr>
          <p:cNvSpPr txBox="1"/>
          <p:nvPr/>
        </p:nvSpPr>
        <p:spPr>
          <a:xfrm>
            <a:off x="441488" y="4830214"/>
            <a:ext cx="961800" cy="256800"/>
          </a:xfrm>
          <a:prstGeom prst="rect">
            <a:avLst/>
          </a:prstGeom>
          <a:ln w="12700">
            <a:miter lim="400000"/>
          </a:ln>
          <a:extLst>
            <a:ext uri="{C572A759-6A51-4108-AA02-DFA0A04FC94B}">
              <ma14:wrappingTextBoxFlag xmlns:ma14="http://schemas.microsoft.com/office/mac/drawingml/2011/main" xmlns="" val="1"/>
            </a:ext>
          </a:extLst>
        </p:spPr>
        <p:txBody>
          <a:bodyPr wrap="none" lIns="35718" tIns="35718" rIns="35718" bIns="35718" anchor="ctr">
            <a:spAutoFit/>
          </a:bodyPr>
          <a:lstStyle>
            <a:lvl1pPr algn="ctr" defTabSz="410765">
              <a:defRPr sz="1200">
                <a:solidFill>
                  <a:srgbClr val="53585F"/>
                </a:solidFill>
                <a:latin typeface="Helvetica Light"/>
                <a:ea typeface="Helvetica Light"/>
                <a:cs typeface="Helvetica Light"/>
                <a:sym typeface="Helvetica Light"/>
              </a:defRPr>
            </a:lvl1pPr>
          </a:lstStyle>
          <a:p>
            <a:r>
              <a:rPr>
                <a:solidFill>
                  <a:srgbClr val="1A1A1A"/>
                </a:solidFill>
              </a:rPr>
              <a:t>worker nodes</a:t>
            </a:r>
          </a:p>
        </p:txBody>
      </p:sp>
      <p:pic>
        <p:nvPicPr>
          <p:cNvPr id="24" name="Line" descr="Line">
            <a:extLst>
              <a:ext uri="{FF2B5EF4-FFF2-40B4-BE49-F238E27FC236}">
                <a16:creationId xmlns:a16="http://schemas.microsoft.com/office/drawing/2014/main" id="{FAB79667-066C-A248-8BD3-49124D1E7F6D}"/>
              </a:ext>
            </a:extLst>
          </p:cNvPr>
          <p:cNvPicPr>
            <a:picLocks/>
          </p:cNvPicPr>
          <p:nvPr/>
        </p:nvPicPr>
        <p:blipFill>
          <a:blip r:embed="rId8">
            <a:extLst/>
          </a:blip>
          <a:stretch>
            <a:fillRect/>
          </a:stretch>
        </p:blipFill>
        <p:spPr>
          <a:xfrm rot="11987784">
            <a:off x="1233377" y="3615018"/>
            <a:ext cx="827182" cy="51621"/>
          </a:xfrm>
          <a:prstGeom prst="rect">
            <a:avLst/>
          </a:prstGeom>
        </p:spPr>
      </p:pic>
      <p:pic>
        <p:nvPicPr>
          <p:cNvPr id="25" name="Line" descr="Line">
            <a:extLst>
              <a:ext uri="{FF2B5EF4-FFF2-40B4-BE49-F238E27FC236}">
                <a16:creationId xmlns:a16="http://schemas.microsoft.com/office/drawing/2014/main" id="{4AD7C60C-84E7-404A-9B31-B9E3A45473D9}"/>
              </a:ext>
            </a:extLst>
          </p:cNvPr>
          <p:cNvPicPr>
            <a:picLocks/>
          </p:cNvPicPr>
          <p:nvPr/>
        </p:nvPicPr>
        <p:blipFill>
          <a:blip r:embed="rId9">
            <a:extLst/>
          </a:blip>
          <a:stretch>
            <a:fillRect/>
          </a:stretch>
        </p:blipFill>
        <p:spPr>
          <a:xfrm rot="9547050">
            <a:off x="1230647" y="3900922"/>
            <a:ext cx="832642" cy="51621"/>
          </a:xfrm>
          <a:prstGeom prst="rect">
            <a:avLst/>
          </a:prstGeom>
        </p:spPr>
      </p:pic>
      <p:pic>
        <p:nvPicPr>
          <p:cNvPr id="26" name="Line" descr="Line">
            <a:extLst>
              <a:ext uri="{FF2B5EF4-FFF2-40B4-BE49-F238E27FC236}">
                <a16:creationId xmlns:a16="http://schemas.microsoft.com/office/drawing/2014/main" id="{76350B0D-1F35-2442-ACA2-C590255305F4}"/>
              </a:ext>
            </a:extLst>
          </p:cNvPr>
          <p:cNvPicPr>
            <a:picLocks/>
          </p:cNvPicPr>
          <p:nvPr/>
        </p:nvPicPr>
        <p:blipFill>
          <a:blip r:embed="rId10">
            <a:extLst/>
          </a:blip>
          <a:stretch>
            <a:fillRect/>
          </a:stretch>
        </p:blipFill>
        <p:spPr>
          <a:xfrm rot="8100000">
            <a:off x="1106048" y="4149849"/>
            <a:ext cx="1078424" cy="51621"/>
          </a:xfrm>
          <a:prstGeom prst="rect">
            <a:avLst/>
          </a:prstGeom>
        </p:spPr>
      </p:pic>
      <p:sp>
        <p:nvSpPr>
          <p:cNvPr id="27" name="Rounded Rectangle">
            <a:extLst>
              <a:ext uri="{FF2B5EF4-FFF2-40B4-BE49-F238E27FC236}">
                <a16:creationId xmlns:a16="http://schemas.microsoft.com/office/drawing/2014/main" id="{1D0104E9-6C9E-7045-AA6D-94A768FDF435}"/>
              </a:ext>
            </a:extLst>
          </p:cNvPr>
          <p:cNvSpPr/>
          <p:nvPr/>
        </p:nvSpPr>
        <p:spPr>
          <a:xfrm>
            <a:off x="1971256" y="3600675"/>
            <a:ext cx="825353" cy="361869"/>
          </a:xfrm>
          <a:prstGeom prst="roundRect">
            <a:avLst>
              <a:gd name="adj" fmla="val 16107"/>
            </a:avLst>
          </a:prstGeom>
          <a:blipFill>
            <a:blip r:embed="rId6"/>
          </a:blipFill>
          <a:ln w="3175">
            <a:miter lim="400000"/>
          </a:ln>
          <a:effectLst>
            <a:outerShdw blurRad="25400" dist="12700" dir="5400000" rotWithShape="0">
              <a:srgbClr val="000000">
                <a:alpha val="50000"/>
              </a:srgbClr>
            </a:outerShdw>
          </a:effectLst>
        </p:spPr>
        <p:txBody>
          <a:bodyPr lIns="35718" tIns="35718" rIns="35718" bIns="35718" anchor="ctr"/>
          <a:lstStyle/>
          <a:p>
            <a:pPr algn="ctr" defTabSz="410765">
              <a:defRPr sz="1600">
                <a:solidFill>
                  <a:srgbClr val="FFFFFF"/>
                </a:solidFill>
                <a:latin typeface="Helvetica Light"/>
                <a:ea typeface="Helvetica Light"/>
                <a:cs typeface="Helvetica Light"/>
                <a:sym typeface="Helvetica Light"/>
              </a:defRPr>
            </a:pPr>
            <a:endParaRPr sz="1600">
              <a:solidFill>
                <a:srgbClr val="FFFFFF"/>
              </a:solidFill>
              <a:latin typeface="Helvetica Light"/>
              <a:sym typeface="Helvetica Light"/>
            </a:endParaRPr>
          </a:p>
        </p:txBody>
      </p:sp>
      <p:sp>
        <p:nvSpPr>
          <p:cNvPr id="28" name="Rounded Rectangle">
            <a:extLst>
              <a:ext uri="{FF2B5EF4-FFF2-40B4-BE49-F238E27FC236}">
                <a16:creationId xmlns:a16="http://schemas.microsoft.com/office/drawing/2014/main" id="{C0103F50-14BE-0644-9601-5A8CB7395B65}"/>
              </a:ext>
            </a:extLst>
          </p:cNvPr>
          <p:cNvSpPr/>
          <p:nvPr/>
        </p:nvSpPr>
        <p:spPr>
          <a:xfrm>
            <a:off x="509712" y="3321855"/>
            <a:ext cx="825352" cy="361870"/>
          </a:xfrm>
          <a:prstGeom prst="roundRect">
            <a:avLst>
              <a:gd name="adj" fmla="val 16107"/>
            </a:avLst>
          </a:prstGeom>
          <a:blipFill>
            <a:blip r:embed="rId5"/>
          </a:blipFill>
          <a:ln w="3175">
            <a:miter lim="400000"/>
          </a:ln>
          <a:effectLst>
            <a:outerShdw blurRad="25400" dist="12700" dir="5400000" rotWithShape="0">
              <a:srgbClr val="000000">
                <a:alpha val="50000"/>
              </a:srgbClr>
            </a:outerShdw>
          </a:effectLst>
        </p:spPr>
        <p:txBody>
          <a:bodyPr lIns="35718" tIns="35718" rIns="35718" bIns="35718" anchor="ctr"/>
          <a:lstStyle/>
          <a:p>
            <a:pPr algn="ctr" defTabSz="410765">
              <a:defRPr sz="1600">
                <a:solidFill>
                  <a:srgbClr val="FFFFFF"/>
                </a:solidFill>
                <a:latin typeface="Helvetica Light"/>
                <a:ea typeface="Helvetica Light"/>
                <a:cs typeface="Helvetica Light"/>
                <a:sym typeface="Helvetica Light"/>
              </a:defRPr>
            </a:pPr>
            <a:endParaRPr sz="1600">
              <a:solidFill>
                <a:srgbClr val="FFFFFF"/>
              </a:solidFill>
              <a:latin typeface="Helvetica Light"/>
              <a:sym typeface="Helvetica Light"/>
            </a:endParaRPr>
          </a:p>
        </p:txBody>
      </p:sp>
      <p:sp>
        <p:nvSpPr>
          <p:cNvPr id="29" name="Rounded Rectangle">
            <a:extLst>
              <a:ext uri="{FF2B5EF4-FFF2-40B4-BE49-F238E27FC236}">
                <a16:creationId xmlns:a16="http://schemas.microsoft.com/office/drawing/2014/main" id="{9358002C-F794-BC4A-939F-FC124A6F8344}"/>
              </a:ext>
            </a:extLst>
          </p:cNvPr>
          <p:cNvSpPr/>
          <p:nvPr/>
        </p:nvSpPr>
        <p:spPr>
          <a:xfrm>
            <a:off x="509712" y="3835072"/>
            <a:ext cx="825352" cy="361870"/>
          </a:xfrm>
          <a:prstGeom prst="roundRect">
            <a:avLst>
              <a:gd name="adj" fmla="val 16107"/>
            </a:avLst>
          </a:prstGeom>
          <a:blipFill>
            <a:blip r:embed="rId5"/>
          </a:blipFill>
          <a:ln w="3175">
            <a:miter lim="400000"/>
          </a:ln>
          <a:effectLst>
            <a:outerShdw blurRad="25400" dist="12700" dir="5400000" rotWithShape="0">
              <a:srgbClr val="000000">
                <a:alpha val="50000"/>
              </a:srgbClr>
            </a:outerShdw>
          </a:effectLst>
        </p:spPr>
        <p:txBody>
          <a:bodyPr lIns="35718" tIns="35718" rIns="35718" bIns="35718" anchor="ctr"/>
          <a:lstStyle/>
          <a:p>
            <a:pPr algn="ctr" defTabSz="410765">
              <a:defRPr sz="1600">
                <a:solidFill>
                  <a:srgbClr val="FFFFFF"/>
                </a:solidFill>
                <a:latin typeface="Helvetica Light"/>
                <a:ea typeface="Helvetica Light"/>
                <a:cs typeface="Helvetica Light"/>
                <a:sym typeface="Helvetica Light"/>
              </a:defRPr>
            </a:pPr>
            <a:endParaRPr sz="1600">
              <a:solidFill>
                <a:srgbClr val="FFFFFF"/>
              </a:solidFill>
              <a:latin typeface="Helvetica Light"/>
              <a:sym typeface="Helvetica Light"/>
            </a:endParaRPr>
          </a:p>
        </p:txBody>
      </p:sp>
      <p:sp>
        <p:nvSpPr>
          <p:cNvPr id="30" name="Rounded Rectangle">
            <a:extLst>
              <a:ext uri="{FF2B5EF4-FFF2-40B4-BE49-F238E27FC236}">
                <a16:creationId xmlns:a16="http://schemas.microsoft.com/office/drawing/2014/main" id="{BBF50BF5-28BB-9749-8119-C91A6C36B3EF}"/>
              </a:ext>
            </a:extLst>
          </p:cNvPr>
          <p:cNvSpPr/>
          <p:nvPr/>
        </p:nvSpPr>
        <p:spPr>
          <a:xfrm>
            <a:off x="509712" y="4355633"/>
            <a:ext cx="825352" cy="361870"/>
          </a:xfrm>
          <a:prstGeom prst="roundRect">
            <a:avLst>
              <a:gd name="adj" fmla="val 16107"/>
            </a:avLst>
          </a:prstGeom>
          <a:blipFill>
            <a:blip r:embed="rId5"/>
          </a:blipFill>
          <a:ln w="3175">
            <a:miter lim="400000"/>
          </a:ln>
          <a:effectLst>
            <a:outerShdw blurRad="25400" dist="12700" dir="5400000" rotWithShape="0">
              <a:srgbClr val="000000">
                <a:alpha val="50000"/>
              </a:srgbClr>
            </a:outerShdw>
          </a:effectLst>
        </p:spPr>
        <p:txBody>
          <a:bodyPr lIns="35718" tIns="35718" rIns="35718" bIns="35718" anchor="ctr"/>
          <a:lstStyle/>
          <a:p>
            <a:pPr algn="ctr" defTabSz="410765">
              <a:defRPr sz="1600">
                <a:solidFill>
                  <a:srgbClr val="FFFFFF"/>
                </a:solidFill>
                <a:latin typeface="Helvetica Light"/>
                <a:ea typeface="Helvetica Light"/>
                <a:cs typeface="Helvetica Light"/>
                <a:sym typeface="Helvetica Light"/>
              </a:defRPr>
            </a:pPr>
            <a:endParaRPr sz="1600">
              <a:solidFill>
                <a:srgbClr val="FFFFFF"/>
              </a:solidFill>
              <a:latin typeface="Helvetica Light"/>
              <a:sym typeface="Helvetica Light"/>
            </a:endParaRPr>
          </a:p>
        </p:txBody>
      </p:sp>
      <p:pic>
        <p:nvPicPr>
          <p:cNvPr id="31" name="Line" descr="Line">
            <a:extLst>
              <a:ext uri="{FF2B5EF4-FFF2-40B4-BE49-F238E27FC236}">
                <a16:creationId xmlns:a16="http://schemas.microsoft.com/office/drawing/2014/main" id="{1EC4A669-1ABE-744A-AD08-40E99B8782F5}"/>
              </a:ext>
            </a:extLst>
          </p:cNvPr>
          <p:cNvPicPr>
            <a:picLocks/>
          </p:cNvPicPr>
          <p:nvPr/>
        </p:nvPicPr>
        <p:blipFill>
          <a:blip r:embed="rId11">
            <a:extLst/>
          </a:blip>
          <a:stretch>
            <a:fillRect/>
          </a:stretch>
        </p:blipFill>
        <p:spPr>
          <a:xfrm>
            <a:off x="3030640" y="3639272"/>
            <a:ext cx="2096939" cy="250544"/>
          </a:xfrm>
          <a:prstGeom prst="rect">
            <a:avLst/>
          </a:prstGeom>
        </p:spPr>
      </p:pic>
      <p:sp>
        <p:nvSpPr>
          <p:cNvPr id="32" name="Spark-DocumentDB…">
            <a:extLst>
              <a:ext uri="{FF2B5EF4-FFF2-40B4-BE49-F238E27FC236}">
                <a16:creationId xmlns:a16="http://schemas.microsoft.com/office/drawing/2014/main" id="{8009F3AA-CDCB-744C-8E7B-979604DC6E03}"/>
              </a:ext>
            </a:extLst>
          </p:cNvPr>
          <p:cNvSpPr txBox="1"/>
          <p:nvPr/>
        </p:nvSpPr>
        <p:spPr>
          <a:xfrm>
            <a:off x="3404096" y="4315837"/>
            <a:ext cx="1402626" cy="441465"/>
          </a:xfrm>
          <a:prstGeom prst="rect">
            <a:avLst/>
          </a:prstGeom>
          <a:ln w="12700">
            <a:miter lim="400000"/>
          </a:ln>
          <a:extLst>
            <a:ext uri="{C572A759-6A51-4108-AA02-DFA0A04FC94B}">
              <ma14:wrappingTextBoxFlag xmlns:ma14="http://schemas.microsoft.com/office/mac/drawingml/2011/main" xmlns="" val="1"/>
            </a:ext>
          </a:extLst>
        </p:spPr>
        <p:txBody>
          <a:bodyPr wrap="none" lIns="35718" tIns="35718" rIns="35718" bIns="35718" anchor="ctr">
            <a:spAutoFit/>
          </a:bodyPr>
          <a:lstStyle/>
          <a:p>
            <a:pPr algn="ctr" defTabSz="410765">
              <a:defRPr sz="1200">
                <a:latin typeface="Helvetica Light"/>
                <a:ea typeface="Helvetica Light"/>
                <a:cs typeface="Helvetica Light"/>
                <a:sym typeface="Helvetica Light"/>
              </a:defRPr>
            </a:pPr>
            <a:r>
              <a:rPr sz="1200">
                <a:solidFill>
                  <a:srgbClr val="1A1A1A"/>
                </a:solidFill>
                <a:latin typeface="Helvetica Light"/>
                <a:sym typeface="Helvetica Light"/>
              </a:rPr>
              <a:t>Spark-DocumentDB</a:t>
            </a:r>
          </a:p>
          <a:p>
            <a:pPr algn="ctr" defTabSz="410765">
              <a:defRPr sz="1200">
                <a:latin typeface="Helvetica Light"/>
                <a:ea typeface="Helvetica Light"/>
                <a:cs typeface="Helvetica Light"/>
                <a:sym typeface="Helvetica Light"/>
              </a:defRPr>
            </a:pPr>
            <a:r>
              <a:rPr sz="1200">
                <a:solidFill>
                  <a:srgbClr val="1A1A1A"/>
                </a:solidFill>
                <a:latin typeface="Helvetica Light"/>
                <a:sym typeface="Helvetica Light"/>
              </a:rPr>
              <a:t>Connector (Java)</a:t>
            </a:r>
          </a:p>
        </p:txBody>
      </p:sp>
      <p:sp>
        <p:nvSpPr>
          <p:cNvPr id="33" name="1">
            <a:extLst>
              <a:ext uri="{FF2B5EF4-FFF2-40B4-BE49-F238E27FC236}">
                <a16:creationId xmlns:a16="http://schemas.microsoft.com/office/drawing/2014/main" id="{2B17BAC4-428C-A64F-9C96-11D4226D0283}"/>
              </a:ext>
            </a:extLst>
          </p:cNvPr>
          <p:cNvSpPr/>
          <p:nvPr/>
        </p:nvSpPr>
        <p:spPr>
          <a:xfrm>
            <a:off x="4147201" y="3367826"/>
            <a:ext cx="451195" cy="441997"/>
          </a:xfrm>
          <a:prstGeom prst="ellipse">
            <a:avLst/>
          </a:prstGeom>
          <a:solidFill>
            <a:srgbClr val="FFFC79"/>
          </a:solidFill>
          <a:ln w="3175">
            <a:solidFill>
              <a:srgbClr val="85888D"/>
            </a:solidFill>
            <a:miter lim="400000"/>
          </a:ln>
          <a:extLst>
            <a:ext uri="{C572A759-6A51-4108-AA02-DFA0A04FC94B}">
              <ma14:wrappingTextBoxFlag xmlns:ma14="http://schemas.microsoft.com/office/mac/drawingml/2011/main" xmlns="" val="1"/>
            </a:ext>
          </a:extLst>
        </p:spPr>
        <p:txBody>
          <a:bodyPr lIns="35718" tIns="35718" rIns="35718" bIns="35718" anchor="ctr"/>
          <a:lstStyle>
            <a:lvl1pPr algn="ctr" defTabSz="410765">
              <a:defRPr sz="1600">
                <a:latin typeface="Helvetica Light"/>
                <a:ea typeface="Helvetica Light"/>
                <a:cs typeface="Helvetica Light"/>
                <a:sym typeface="Helvetica Light"/>
              </a:defRPr>
            </a:lvl1pPr>
          </a:lstStyle>
          <a:p>
            <a:r>
              <a:rPr>
                <a:solidFill>
                  <a:srgbClr val="1A1A1A"/>
                </a:solidFill>
              </a:rPr>
              <a:t>1</a:t>
            </a:r>
          </a:p>
        </p:txBody>
      </p:sp>
      <p:pic>
        <p:nvPicPr>
          <p:cNvPr id="34" name="Line" descr="Line">
            <a:extLst>
              <a:ext uri="{FF2B5EF4-FFF2-40B4-BE49-F238E27FC236}">
                <a16:creationId xmlns:a16="http://schemas.microsoft.com/office/drawing/2014/main" id="{48381D6B-876A-5E46-B31D-BC1D195297E6}"/>
              </a:ext>
            </a:extLst>
          </p:cNvPr>
          <p:cNvPicPr>
            <a:picLocks/>
          </p:cNvPicPr>
          <p:nvPr/>
        </p:nvPicPr>
        <p:blipFill>
          <a:blip r:embed="rId12">
            <a:extLst/>
          </a:blip>
          <a:stretch>
            <a:fillRect/>
          </a:stretch>
        </p:blipFill>
        <p:spPr>
          <a:xfrm rot="9711487">
            <a:off x="1312927" y="3822650"/>
            <a:ext cx="657382" cy="89481"/>
          </a:xfrm>
          <a:prstGeom prst="rect">
            <a:avLst/>
          </a:prstGeom>
        </p:spPr>
      </p:pic>
      <p:pic>
        <p:nvPicPr>
          <p:cNvPr id="35" name="Line" descr="Line">
            <a:extLst>
              <a:ext uri="{FF2B5EF4-FFF2-40B4-BE49-F238E27FC236}">
                <a16:creationId xmlns:a16="http://schemas.microsoft.com/office/drawing/2014/main" id="{8DAE384A-AD38-824C-B651-6168E659486C}"/>
              </a:ext>
            </a:extLst>
          </p:cNvPr>
          <p:cNvPicPr>
            <a:picLocks/>
          </p:cNvPicPr>
          <p:nvPr/>
        </p:nvPicPr>
        <p:blipFill>
          <a:blip r:embed="rId13">
            <a:extLst/>
          </a:blip>
          <a:stretch>
            <a:fillRect/>
          </a:stretch>
        </p:blipFill>
        <p:spPr>
          <a:xfrm rot="8100000">
            <a:off x="1196405" y="4191238"/>
            <a:ext cx="918357" cy="89481"/>
          </a:xfrm>
          <a:prstGeom prst="rect">
            <a:avLst/>
          </a:prstGeom>
        </p:spPr>
      </p:pic>
      <p:sp>
        <p:nvSpPr>
          <p:cNvPr id="36" name="3">
            <a:extLst>
              <a:ext uri="{FF2B5EF4-FFF2-40B4-BE49-F238E27FC236}">
                <a16:creationId xmlns:a16="http://schemas.microsoft.com/office/drawing/2014/main" id="{FE9B623D-87CA-7D47-A2F2-E8E89219E35A}"/>
              </a:ext>
            </a:extLst>
          </p:cNvPr>
          <p:cNvSpPr/>
          <p:nvPr/>
        </p:nvSpPr>
        <p:spPr>
          <a:xfrm>
            <a:off x="1594221" y="4296986"/>
            <a:ext cx="451195" cy="441997"/>
          </a:xfrm>
          <a:prstGeom prst="ellipse">
            <a:avLst/>
          </a:prstGeom>
          <a:solidFill>
            <a:srgbClr val="FFFC79"/>
          </a:solidFill>
          <a:ln w="3175">
            <a:solidFill>
              <a:srgbClr val="85888D"/>
            </a:solidFill>
            <a:miter lim="400000"/>
          </a:ln>
          <a:extLst>
            <a:ext uri="{C572A759-6A51-4108-AA02-DFA0A04FC94B}">
              <ma14:wrappingTextBoxFlag xmlns:ma14="http://schemas.microsoft.com/office/mac/drawingml/2011/main" xmlns="" val="1"/>
            </a:ext>
          </a:extLst>
        </p:spPr>
        <p:txBody>
          <a:bodyPr lIns="35718" tIns="35718" rIns="35718" bIns="35718" anchor="ctr"/>
          <a:lstStyle>
            <a:lvl1pPr algn="ctr" defTabSz="410765">
              <a:defRPr sz="1600">
                <a:latin typeface="Helvetica Light"/>
                <a:ea typeface="Helvetica Light"/>
                <a:cs typeface="Helvetica Light"/>
                <a:sym typeface="Helvetica Light"/>
              </a:defRPr>
            </a:lvl1pPr>
          </a:lstStyle>
          <a:p>
            <a:r>
              <a:rPr>
                <a:solidFill>
                  <a:srgbClr val="1A1A1A"/>
                </a:solidFill>
              </a:rPr>
              <a:t>3</a:t>
            </a:r>
          </a:p>
        </p:txBody>
      </p:sp>
      <p:pic>
        <p:nvPicPr>
          <p:cNvPr id="37" name="Line" descr="Line">
            <a:extLst>
              <a:ext uri="{FF2B5EF4-FFF2-40B4-BE49-F238E27FC236}">
                <a16:creationId xmlns:a16="http://schemas.microsoft.com/office/drawing/2014/main" id="{9426B0EB-32BD-7E44-BBC7-F06EA30229C0}"/>
              </a:ext>
            </a:extLst>
          </p:cNvPr>
          <p:cNvPicPr>
            <a:picLocks/>
          </p:cNvPicPr>
          <p:nvPr/>
        </p:nvPicPr>
        <p:blipFill>
          <a:blip r:embed="rId14">
            <a:extLst/>
          </a:blip>
          <a:stretch>
            <a:fillRect/>
          </a:stretch>
        </p:blipFill>
        <p:spPr>
          <a:xfrm>
            <a:off x="3001853" y="3801472"/>
            <a:ext cx="2096939" cy="250544"/>
          </a:xfrm>
          <a:prstGeom prst="rect">
            <a:avLst/>
          </a:prstGeom>
        </p:spPr>
      </p:pic>
      <p:sp>
        <p:nvSpPr>
          <p:cNvPr id="38" name="2">
            <a:extLst>
              <a:ext uri="{FF2B5EF4-FFF2-40B4-BE49-F238E27FC236}">
                <a16:creationId xmlns:a16="http://schemas.microsoft.com/office/drawing/2014/main" id="{CCF046A0-5AE5-8946-BAE5-8447132AED50}"/>
              </a:ext>
            </a:extLst>
          </p:cNvPr>
          <p:cNvSpPr/>
          <p:nvPr/>
        </p:nvSpPr>
        <p:spPr>
          <a:xfrm>
            <a:off x="3289540" y="3858135"/>
            <a:ext cx="451195" cy="441997"/>
          </a:xfrm>
          <a:prstGeom prst="ellipse">
            <a:avLst/>
          </a:prstGeom>
          <a:solidFill>
            <a:srgbClr val="FFFC79"/>
          </a:solidFill>
          <a:ln w="3175">
            <a:solidFill>
              <a:srgbClr val="85888D"/>
            </a:solidFill>
            <a:miter lim="400000"/>
          </a:ln>
          <a:extLst>
            <a:ext uri="{C572A759-6A51-4108-AA02-DFA0A04FC94B}">
              <ma14:wrappingTextBoxFlag xmlns:ma14="http://schemas.microsoft.com/office/mac/drawingml/2011/main" xmlns="" val="1"/>
            </a:ext>
          </a:extLst>
        </p:spPr>
        <p:txBody>
          <a:bodyPr lIns="35718" tIns="35718" rIns="35718" bIns="35718" anchor="ctr"/>
          <a:lstStyle>
            <a:lvl1pPr algn="ctr" defTabSz="410765">
              <a:defRPr sz="1600">
                <a:latin typeface="Helvetica Light"/>
                <a:ea typeface="Helvetica Light"/>
                <a:cs typeface="Helvetica Light"/>
                <a:sym typeface="Helvetica Light"/>
              </a:defRPr>
            </a:lvl1pPr>
          </a:lstStyle>
          <a:p>
            <a:r>
              <a:rPr>
                <a:solidFill>
                  <a:srgbClr val="1A1A1A"/>
                </a:solidFill>
              </a:rPr>
              <a:t>2</a:t>
            </a:r>
          </a:p>
        </p:txBody>
      </p:sp>
      <p:cxnSp>
        <p:nvCxnSpPr>
          <p:cNvPr id="39" name="Connection Line">
            <a:extLst>
              <a:ext uri="{FF2B5EF4-FFF2-40B4-BE49-F238E27FC236}">
                <a16:creationId xmlns:a16="http://schemas.microsoft.com/office/drawing/2014/main" id="{2380B31C-238E-4343-B293-5D7110F4AAF6}"/>
              </a:ext>
            </a:extLst>
          </p:cNvPr>
          <p:cNvCxnSpPr>
            <a:stCxn id="12" idx="0"/>
            <a:endCxn id="30" idx="0"/>
          </p:cNvCxnSpPr>
          <p:nvPr/>
        </p:nvCxnSpPr>
        <p:spPr>
          <a:xfrm flipH="1">
            <a:off x="922388" y="4517983"/>
            <a:ext cx="6368358" cy="18586"/>
          </a:xfrm>
          <a:prstGeom prst="straightConnector1">
            <a:avLst/>
          </a:prstGeom>
          <a:ln w="12700" cap="rnd">
            <a:solidFill>
              <a:srgbClr val="00882B"/>
            </a:solidFill>
            <a:miter lim="400000"/>
            <a:headEnd type="triangle"/>
            <a:tailEnd type="triangle"/>
          </a:ln>
        </p:spPr>
      </p:cxnSp>
      <p:cxnSp>
        <p:nvCxnSpPr>
          <p:cNvPr id="40" name="Connection Line">
            <a:extLst>
              <a:ext uri="{FF2B5EF4-FFF2-40B4-BE49-F238E27FC236}">
                <a16:creationId xmlns:a16="http://schemas.microsoft.com/office/drawing/2014/main" id="{2132A077-7ADC-A647-B80C-2392DFA3135E}"/>
              </a:ext>
            </a:extLst>
          </p:cNvPr>
          <p:cNvCxnSpPr>
            <a:stCxn id="10" idx="0"/>
            <a:endCxn id="29" idx="0"/>
          </p:cNvCxnSpPr>
          <p:nvPr/>
        </p:nvCxnSpPr>
        <p:spPr>
          <a:xfrm flipH="1" flipV="1">
            <a:off x="922389" y="4016007"/>
            <a:ext cx="5459383" cy="790188"/>
          </a:xfrm>
          <a:prstGeom prst="straightConnector1">
            <a:avLst/>
          </a:prstGeom>
          <a:ln w="12700" cap="rnd">
            <a:solidFill>
              <a:srgbClr val="00882B"/>
            </a:solidFill>
            <a:miter lim="400000"/>
            <a:headEnd type="triangle"/>
            <a:tailEnd type="triangle"/>
          </a:ln>
        </p:spPr>
      </p:cxnSp>
      <p:sp>
        <p:nvSpPr>
          <p:cNvPr id="41" name="4">
            <a:extLst>
              <a:ext uri="{FF2B5EF4-FFF2-40B4-BE49-F238E27FC236}">
                <a16:creationId xmlns:a16="http://schemas.microsoft.com/office/drawing/2014/main" id="{35E83BDE-4CCE-6849-AC37-F1B5A3FE8FB4}"/>
              </a:ext>
            </a:extLst>
          </p:cNvPr>
          <p:cNvSpPr/>
          <p:nvPr/>
        </p:nvSpPr>
        <p:spPr>
          <a:xfrm>
            <a:off x="5074131" y="4813424"/>
            <a:ext cx="451195" cy="441997"/>
          </a:xfrm>
          <a:prstGeom prst="ellipse">
            <a:avLst/>
          </a:prstGeom>
          <a:solidFill>
            <a:srgbClr val="FFFC79"/>
          </a:solidFill>
          <a:ln w="3175">
            <a:solidFill>
              <a:srgbClr val="85888D"/>
            </a:solidFill>
            <a:miter lim="400000"/>
          </a:ln>
          <a:extLst>
            <a:ext uri="{C572A759-6A51-4108-AA02-DFA0A04FC94B}">
              <ma14:wrappingTextBoxFlag xmlns:ma14="http://schemas.microsoft.com/office/mac/drawingml/2011/main" xmlns="" val="1"/>
            </a:ext>
          </a:extLst>
        </p:spPr>
        <p:txBody>
          <a:bodyPr lIns="35718" tIns="35718" rIns="35718" bIns="35718" anchor="ctr"/>
          <a:lstStyle>
            <a:lvl1pPr algn="ctr" defTabSz="410765">
              <a:defRPr sz="1600">
                <a:latin typeface="Helvetica Light"/>
                <a:ea typeface="Helvetica Light"/>
                <a:cs typeface="Helvetica Light"/>
                <a:sym typeface="Helvetica Light"/>
              </a:defRPr>
            </a:lvl1pPr>
          </a:lstStyle>
          <a:p>
            <a:r>
              <a:rPr>
                <a:solidFill>
                  <a:srgbClr val="1A1A1A"/>
                </a:solidFill>
              </a:rPr>
              <a:t>4</a:t>
            </a:r>
          </a:p>
        </p:txBody>
      </p:sp>
      <p:sp>
        <p:nvSpPr>
          <p:cNvPr id="42" name="Spark master node connects to the Cosmos DB gateway node…">
            <a:extLst>
              <a:ext uri="{FF2B5EF4-FFF2-40B4-BE49-F238E27FC236}">
                <a16:creationId xmlns:a16="http://schemas.microsoft.com/office/drawing/2014/main" id="{5A399AB9-E439-7241-8273-BFB9B2543D1E}"/>
              </a:ext>
            </a:extLst>
          </p:cNvPr>
          <p:cNvSpPr txBox="1"/>
          <p:nvPr/>
        </p:nvSpPr>
        <p:spPr>
          <a:xfrm>
            <a:off x="8571941" y="2440710"/>
            <a:ext cx="3320850" cy="3143083"/>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p>
            <a:pPr marL="240631" indent="-240631" defTabSz="914367">
              <a:spcBef>
                <a:spcPts val="1000"/>
              </a:spcBef>
              <a:buSzPct val="100000"/>
              <a:buFontTx/>
              <a:buAutoNum type="arabicPeriod"/>
              <a:defRPr sz="1700">
                <a:latin typeface="Segoe UI Light"/>
                <a:ea typeface="Segoe UI Light"/>
                <a:cs typeface="Segoe UI Light"/>
                <a:sym typeface="Segoe UI Light"/>
              </a:defRPr>
            </a:pPr>
            <a:r>
              <a:rPr sz="1700">
                <a:solidFill>
                  <a:srgbClr val="1A1A1A"/>
                </a:solidFill>
                <a:latin typeface="Segoe UI Light"/>
                <a:cs typeface="Segoe UI Light"/>
                <a:sym typeface="Segoe UI Light"/>
              </a:rPr>
              <a:t>Spark master node connects to the Cosmos DB gateway node</a:t>
            </a:r>
          </a:p>
          <a:p>
            <a:pPr marL="240631" indent="-240631" defTabSz="914367">
              <a:spcBef>
                <a:spcPts val="1000"/>
              </a:spcBef>
              <a:buSzPct val="100000"/>
              <a:buFontTx/>
              <a:buAutoNum type="arabicPeriod"/>
              <a:defRPr sz="1700">
                <a:latin typeface="Segoe UI Light"/>
                <a:ea typeface="Segoe UI Light"/>
                <a:cs typeface="Segoe UI Light"/>
                <a:sym typeface="Segoe UI Light"/>
              </a:defRPr>
            </a:pPr>
            <a:r>
              <a:rPr sz="1700">
                <a:solidFill>
                  <a:srgbClr val="1A1A1A"/>
                </a:solidFill>
                <a:latin typeface="Segoe UI Light"/>
                <a:cs typeface="Segoe UI Light"/>
                <a:sym typeface="Segoe UI Light"/>
              </a:rPr>
              <a:t>Metadata is returned to Spark master node</a:t>
            </a:r>
          </a:p>
          <a:p>
            <a:pPr marL="240631" indent="-240631" defTabSz="914367">
              <a:spcBef>
                <a:spcPts val="1000"/>
              </a:spcBef>
              <a:buSzPct val="100000"/>
              <a:buFontTx/>
              <a:buAutoNum type="arabicPeriod"/>
              <a:defRPr sz="1700">
                <a:latin typeface="Segoe UI Light"/>
                <a:ea typeface="Segoe UI Light"/>
                <a:cs typeface="Segoe UI Light"/>
                <a:sym typeface="Segoe UI Light"/>
              </a:defRPr>
            </a:pPr>
            <a:r>
              <a:rPr sz="1700">
                <a:solidFill>
                  <a:srgbClr val="1A1A1A"/>
                </a:solidFill>
                <a:latin typeface="Segoe UI Light"/>
                <a:cs typeface="Segoe UI Light"/>
                <a:sym typeface="Segoe UI Light"/>
              </a:rPr>
              <a:t>Query is executed from Spark worker nodes in parallel to the Cosmos DB data nodes</a:t>
            </a:r>
          </a:p>
          <a:p>
            <a:pPr marL="240631" indent="-240631" defTabSz="914367">
              <a:spcBef>
                <a:spcPts val="1000"/>
              </a:spcBef>
              <a:buSzPct val="100000"/>
              <a:buFontTx/>
              <a:buAutoNum type="arabicPeriod"/>
              <a:defRPr sz="1700">
                <a:latin typeface="Segoe UI Light"/>
                <a:ea typeface="Segoe UI Light"/>
                <a:cs typeface="Segoe UI Light"/>
                <a:sym typeface="Segoe UI Light"/>
              </a:defRPr>
            </a:pPr>
            <a:r>
              <a:rPr sz="1700">
                <a:solidFill>
                  <a:srgbClr val="1A1A1A"/>
                </a:solidFill>
                <a:latin typeface="Segoe UI Light"/>
                <a:cs typeface="Segoe UI Light"/>
                <a:sym typeface="Segoe UI Light"/>
              </a:rPr>
              <a:t>Query results are returned from the Cosmos DB data nodes to the Spark worker nodes. </a:t>
            </a:r>
          </a:p>
        </p:txBody>
      </p:sp>
      <p:grpSp>
        <p:nvGrpSpPr>
          <p:cNvPr id="4" name="Group 3">
            <a:extLst>
              <a:ext uri="{FF2B5EF4-FFF2-40B4-BE49-F238E27FC236}">
                <a16:creationId xmlns:a16="http://schemas.microsoft.com/office/drawing/2014/main" id="{C9BF0D6D-CDA1-7D4B-AE3A-500B55881E79}"/>
              </a:ext>
            </a:extLst>
          </p:cNvPr>
          <p:cNvGrpSpPr/>
          <p:nvPr/>
        </p:nvGrpSpPr>
        <p:grpSpPr>
          <a:xfrm>
            <a:off x="5501046" y="2879048"/>
            <a:ext cx="2018334" cy="1977188"/>
            <a:chOff x="5501046" y="2650448"/>
            <a:chExt cx="2018334" cy="1977188"/>
          </a:xfrm>
        </p:grpSpPr>
        <p:grpSp>
          <p:nvGrpSpPr>
            <p:cNvPr id="3" name="Group 2">
              <a:extLst>
                <a:ext uri="{FF2B5EF4-FFF2-40B4-BE49-F238E27FC236}">
                  <a16:creationId xmlns:a16="http://schemas.microsoft.com/office/drawing/2014/main" id="{EBD051D9-57AD-9A48-86E2-A030C2AD182B}"/>
                </a:ext>
              </a:extLst>
            </p:cNvPr>
            <p:cNvGrpSpPr/>
            <p:nvPr/>
          </p:nvGrpSpPr>
          <p:grpSpPr>
            <a:xfrm>
              <a:off x="5501046" y="2650448"/>
              <a:ext cx="2018334" cy="1977188"/>
              <a:chOff x="5501046" y="2650448"/>
              <a:chExt cx="2018334" cy="1977188"/>
            </a:xfrm>
          </p:grpSpPr>
          <p:pic>
            <p:nvPicPr>
              <p:cNvPr id="9" name="Circle" descr="Circle">
                <a:extLst>
                  <a:ext uri="{FF2B5EF4-FFF2-40B4-BE49-F238E27FC236}">
                    <a16:creationId xmlns:a16="http://schemas.microsoft.com/office/drawing/2014/main" id="{363A2B49-F71A-2444-9400-FB70DFEC8020}"/>
                  </a:ext>
                </a:extLst>
              </p:cNvPr>
              <p:cNvPicPr>
                <a:picLocks/>
              </p:cNvPicPr>
              <p:nvPr/>
            </p:nvPicPr>
            <p:blipFill>
              <a:blip r:embed="rId15">
                <a:extLst/>
              </a:blip>
              <a:stretch>
                <a:fillRect/>
              </a:stretch>
            </p:blipFill>
            <p:spPr>
              <a:xfrm>
                <a:off x="5501046" y="2650448"/>
                <a:ext cx="2018334" cy="1977188"/>
              </a:xfrm>
              <a:prstGeom prst="rect">
                <a:avLst/>
              </a:prstGeom>
            </p:spPr>
          </p:pic>
          <p:sp>
            <p:nvSpPr>
              <p:cNvPr id="2" name="Rectangle 1">
                <a:extLst>
                  <a:ext uri="{FF2B5EF4-FFF2-40B4-BE49-F238E27FC236}">
                    <a16:creationId xmlns:a16="http://schemas.microsoft.com/office/drawing/2014/main" id="{831A97FC-57C9-BE4A-B6A1-71DD80117BBD}"/>
                  </a:ext>
                </a:extLst>
              </p:cNvPr>
              <p:cNvSpPr/>
              <p:nvPr/>
            </p:nvSpPr>
            <p:spPr bwMode="auto">
              <a:xfrm>
                <a:off x="6005226" y="2974656"/>
                <a:ext cx="1036320" cy="1152377"/>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latin typeface="Segoe UI"/>
                </a:endParaRPr>
              </a:p>
            </p:txBody>
          </p:sp>
        </p:grpSp>
        <p:pic>
          <p:nvPicPr>
            <p:cNvPr id="45" name="Picture 44">
              <a:extLst>
                <a:ext uri="{FF2B5EF4-FFF2-40B4-BE49-F238E27FC236}">
                  <a16:creationId xmlns:a16="http://schemas.microsoft.com/office/drawing/2014/main" id="{2F482682-EC0D-374B-8D57-86D149EB8494}"/>
                </a:ext>
              </a:extLst>
            </p:cNvPr>
            <p:cNvPicPr>
              <a:picLocks noChangeAspect="1"/>
            </p:cNvPicPr>
            <p:nvPr/>
          </p:nvPicPr>
          <p:blipFill>
            <a:blip r:embed="rId16"/>
            <a:stretch>
              <a:fillRect/>
            </a:stretch>
          </p:blipFill>
          <p:spPr>
            <a:xfrm>
              <a:off x="6025975" y="3060824"/>
              <a:ext cx="1005793" cy="1005793"/>
            </a:xfrm>
            <a:prstGeom prst="rect">
              <a:avLst/>
            </a:prstGeom>
          </p:spPr>
        </p:pic>
      </p:grpSp>
    </p:spTree>
    <p:extLst>
      <p:ext uri="{BB962C8B-B14F-4D97-AF65-F5344CB8AC3E}">
        <p14:creationId xmlns:p14="http://schemas.microsoft.com/office/powerpoint/2010/main" val="825703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p:nvPr>
        </p:nvSpPr>
        <p:spPr>
          <a:xfrm>
            <a:off x="588263" y="685800"/>
            <a:ext cx="9832994" cy="1107996"/>
          </a:xfrm>
        </p:spPr>
        <p:txBody>
          <a:bodyPr/>
          <a:lstStyle/>
          <a:p>
            <a:r>
              <a:rPr lang="en-US"/>
              <a:t>Achieving Lambda with minimal moving parts using Azure Cosmos DB and Apache Spark</a:t>
            </a:r>
          </a:p>
        </p:txBody>
      </p:sp>
      <p:sp>
        <p:nvSpPr>
          <p:cNvPr id="30" name="Rectangle 29">
            <a:extLst>
              <a:ext uri="{FF2B5EF4-FFF2-40B4-BE49-F238E27FC236}">
                <a16:creationId xmlns:a16="http://schemas.microsoft.com/office/drawing/2014/main" id="{DAA28E52-F418-4744-96EB-54343647DDCF}"/>
              </a:ext>
            </a:extLst>
          </p:cNvPr>
          <p:cNvSpPr/>
          <p:nvPr/>
        </p:nvSpPr>
        <p:spPr bwMode="auto">
          <a:xfrm>
            <a:off x="334923" y="2098488"/>
            <a:ext cx="7771847" cy="451726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new data">
            <a:extLst>
              <a:ext uri="{FF2B5EF4-FFF2-40B4-BE49-F238E27FC236}">
                <a16:creationId xmlns:a16="http://schemas.microsoft.com/office/drawing/2014/main" id="{EA2B559F-FE99-D84F-B81F-DDD10E1AEC58}"/>
              </a:ext>
            </a:extLst>
          </p:cNvPr>
          <p:cNvSpPr/>
          <p:nvPr/>
        </p:nvSpPr>
        <p:spPr>
          <a:xfrm>
            <a:off x="734119" y="2550585"/>
            <a:ext cx="875388" cy="875389"/>
          </a:xfrm>
          <a:prstGeom prst="ellipse">
            <a:avLst/>
          </a:prstGeom>
          <a:solidFill>
            <a:srgbClr val="FFFFFF"/>
          </a:solidFill>
          <a:ln w="12700">
            <a:solidFill>
              <a:srgbClr val="535353"/>
            </a:solidFill>
            <a:prstDash val="sysDot"/>
            <a:miter lim="400000"/>
          </a:ln>
          <a:extLst>
            <a:ext uri="{C572A759-6A51-4108-AA02-DFA0A04FC94B}">
              <ma14:wrappingTextBoxFlag xmlns="" xmlns:ma14="http://schemas.microsoft.com/office/mac/drawingml/2011/main" val="1"/>
            </a:ext>
          </a:extLst>
        </p:spPr>
        <p:txBody>
          <a:bodyPr lIns="45719" rIns="45719" anchor="ctr"/>
          <a:lstStyle>
            <a:lvl1pPr algn="ctr">
              <a:defRPr sz="1400">
                <a:latin typeface="Segoe UI Light"/>
                <a:ea typeface="Segoe UI Light"/>
                <a:cs typeface="Segoe UI Light"/>
                <a:sym typeface="Segoe UI Light"/>
              </a:defRPr>
            </a:lvl1pPr>
          </a:lstStyle>
          <a:p>
            <a:pPr defTabSz="914367"/>
            <a:r>
              <a:rPr>
                <a:solidFill>
                  <a:srgbClr val="1A1A1A"/>
                </a:solidFill>
              </a:rPr>
              <a:t>new data</a:t>
            </a:r>
          </a:p>
        </p:txBody>
      </p:sp>
      <p:sp>
        <p:nvSpPr>
          <p:cNvPr id="32" name="Arrow">
            <a:extLst>
              <a:ext uri="{FF2B5EF4-FFF2-40B4-BE49-F238E27FC236}">
                <a16:creationId xmlns:a16="http://schemas.microsoft.com/office/drawing/2014/main" id="{D1F0D136-865E-BB41-9506-F0F8C04E8FE7}"/>
              </a:ext>
            </a:extLst>
          </p:cNvPr>
          <p:cNvSpPr/>
          <p:nvPr/>
        </p:nvSpPr>
        <p:spPr>
          <a:xfrm>
            <a:off x="2000921" y="2832069"/>
            <a:ext cx="754003" cy="312421"/>
          </a:xfrm>
          <a:prstGeom prst="rightArrow">
            <a:avLst>
              <a:gd name="adj1" fmla="val 51731"/>
              <a:gd name="adj2" fmla="val 78580"/>
            </a:avLst>
          </a:prstGeom>
          <a:solidFill>
            <a:schemeClr val="accent5"/>
          </a:solidFill>
          <a:ln w="12700">
            <a:miter lim="400000"/>
          </a:ln>
        </p:spPr>
        <p:txBody>
          <a:bodyPr lIns="45719" rIns="45719" anchor="ctr"/>
          <a:lstStyle/>
          <a:p>
            <a:pPr defTabSz="1219200">
              <a:defRPr sz="2400"/>
            </a:pPr>
            <a:endParaRPr sz="2400">
              <a:solidFill>
                <a:srgbClr val="FFFFFF"/>
              </a:solidFill>
              <a:latin typeface="Segoe UI"/>
            </a:endParaRPr>
          </a:p>
        </p:txBody>
      </p:sp>
      <p:sp>
        <p:nvSpPr>
          <p:cNvPr id="33" name="Arrow">
            <a:extLst>
              <a:ext uri="{FF2B5EF4-FFF2-40B4-BE49-F238E27FC236}">
                <a16:creationId xmlns:a16="http://schemas.microsoft.com/office/drawing/2014/main" id="{62BA2995-BA49-9140-9244-C95D170D4B53}"/>
              </a:ext>
            </a:extLst>
          </p:cNvPr>
          <p:cNvSpPr/>
          <p:nvPr/>
        </p:nvSpPr>
        <p:spPr>
          <a:xfrm>
            <a:off x="5303148" y="2832069"/>
            <a:ext cx="754004" cy="312421"/>
          </a:xfrm>
          <a:prstGeom prst="rightArrow">
            <a:avLst>
              <a:gd name="adj1" fmla="val 51731"/>
              <a:gd name="adj2" fmla="val 78580"/>
            </a:avLst>
          </a:prstGeom>
          <a:solidFill>
            <a:schemeClr val="accent5"/>
          </a:solidFill>
          <a:ln w="12700">
            <a:miter lim="400000"/>
          </a:ln>
        </p:spPr>
        <p:txBody>
          <a:bodyPr lIns="45719" rIns="45719" anchor="ctr"/>
          <a:lstStyle/>
          <a:p>
            <a:pPr defTabSz="1219200">
              <a:defRPr sz="2400"/>
            </a:pPr>
            <a:endParaRPr sz="2400">
              <a:solidFill>
                <a:srgbClr val="FFFFFF"/>
              </a:solidFill>
              <a:latin typeface="Segoe UI"/>
            </a:endParaRPr>
          </a:p>
        </p:txBody>
      </p:sp>
      <p:sp>
        <p:nvSpPr>
          <p:cNvPr id="34" name="1">
            <a:extLst>
              <a:ext uri="{FF2B5EF4-FFF2-40B4-BE49-F238E27FC236}">
                <a16:creationId xmlns:a16="http://schemas.microsoft.com/office/drawing/2014/main" id="{4C9FF4CB-BF8E-7540-8AA3-8CFE76133C4F}"/>
              </a:ext>
            </a:extLst>
          </p:cNvPr>
          <p:cNvSpPr/>
          <p:nvPr/>
        </p:nvSpPr>
        <p:spPr>
          <a:xfrm>
            <a:off x="646449" y="2501060"/>
            <a:ext cx="300991" cy="300991"/>
          </a:xfrm>
          <a:prstGeom prst="ellipse">
            <a:avLst/>
          </a:prstGeom>
          <a:gradFill>
            <a:gsLst>
              <a:gs pos="0">
                <a:schemeClr val="accent4">
                  <a:hueOff val="-406799"/>
                  <a:lumOff val="30382"/>
                </a:schemeClr>
              </a:gs>
              <a:gs pos="50000">
                <a:srgbClr val="FFD58D"/>
              </a:gs>
              <a:gs pos="100000">
                <a:schemeClr val="accent4">
                  <a:hueOff val="-362075"/>
                  <a:lumOff val="23565"/>
                </a:schemeClr>
              </a:gs>
            </a:gsLst>
            <a:lin ang="5400000"/>
          </a:gradFill>
          <a:ln w="6350">
            <a:solidFill>
              <a:schemeClr val="accent3">
                <a:lumOff val="-12941"/>
              </a:schemeClr>
            </a:solidFill>
            <a:miter/>
          </a:ln>
          <a:extLst>
            <a:ext uri="{C572A759-6A51-4108-AA02-DFA0A04FC94B}">
              <ma14:wrappingTextBoxFlag xmlns="" xmlns:ma14="http://schemas.microsoft.com/office/mac/drawingml/2011/main" val="1"/>
            </a:ext>
          </a:extLst>
        </p:spPr>
        <p:txBody>
          <a:bodyPr lIns="45719" rIns="45719" anchor="ctr"/>
          <a:lstStyle>
            <a:lvl1pPr algn="ctr">
              <a:defRPr sz="1200">
                <a:solidFill>
                  <a:srgbClr val="535353"/>
                </a:solidFill>
                <a:latin typeface="Segoe UI Light"/>
                <a:ea typeface="Segoe UI Light"/>
                <a:cs typeface="Segoe UI Light"/>
                <a:sym typeface="Segoe UI Light"/>
              </a:defRPr>
            </a:lvl1pPr>
          </a:lstStyle>
          <a:p>
            <a:pPr defTabSz="914367"/>
            <a:r>
              <a:rPr>
                <a:solidFill>
                  <a:srgbClr val="1A1A1A"/>
                </a:solidFill>
              </a:rPr>
              <a:t>1</a:t>
            </a:r>
          </a:p>
        </p:txBody>
      </p:sp>
      <p:sp>
        <p:nvSpPr>
          <p:cNvPr id="35" name="query">
            <a:extLst>
              <a:ext uri="{FF2B5EF4-FFF2-40B4-BE49-F238E27FC236}">
                <a16:creationId xmlns:a16="http://schemas.microsoft.com/office/drawing/2014/main" id="{83A2EAF3-E22E-0A42-8D88-F262F327E4F4}"/>
              </a:ext>
            </a:extLst>
          </p:cNvPr>
          <p:cNvSpPr/>
          <p:nvPr/>
        </p:nvSpPr>
        <p:spPr>
          <a:xfrm>
            <a:off x="1496805" y="5088109"/>
            <a:ext cx="980876" cy="812801"/>
          </a:xfrm>
          <a:prstGeom prst="wedgeEllipseCallout">
            <a:avLst>
              <a:gd name="adj1" fmla="val -48964"/>
              <a:gd name="adj2" fmla="val 70000"/>
            </a:avLst>
          </a:prstGeom>
          <a:solidFill>
            <a:srgbClr val="FFFFFF"/>
          </a:solidFill>
          <a:ln w="12700">
            <a:solidFill>
              <a:schemeClr val="accent1"/>
            </a:solidFill>
            <a:miter/>
          </a:ln>
          <a:extLst>
            <a:ext uri="{C572A759-6A51-4108-AA02-DFA0A04FC94B}">
              <ma14:wrappingTextBoxFlag xmlns="" xmlns:ma14="http://schemas.microsoft.com/office/mac/drawingml/2011/main" val="1"/>
            </a:ext>
          </a:extLst>
        </p:spPr>
        <p:txBody>
          <a:bodyPr lIns="45719" rIns="45719" anchor="ctr"/>
          <a:lstStyle>
            <a:lvl1pPr algn="ctr">
              <a:defRPr sz="1400">
                <a:latin typeface="Segoe UI Light"/>
                <a:ea typeface="Segoe UI Light"/>
                <a:cs typeface="Segoe UI Light"/>
                <a:sym typeface="Segoe UI Light"/>
              </a:defRPr>
            </a:lvl1pPr>
          </a:lstStyle>
          <a:p>
            <a:pPr defTabSz="914367"/>
            <a:r>
              <a:rPr>
                <a:solidFill>
                  <a:srgbClr val="1A1A1A"/>
                </a:solidFill>
              </a:rPr>
              <a:t>query</a:t>
            </a:r>
          </a:p>
        </p:txBody>
      </p:sp>
      <p:sp>
        <p:nvSpPr>
          <p:cNvPr id="36" name="5">
            <a:extLst>
              <a:ext uri="{FF2B5EF4-FFF2-40B4-BE49-F238E27FC236}">
                <a16:creationId xmlns:a16="http://schemas.microsoft.com/office/drawing/2014/main" id="{DB2E72C3-29D7-4447-8D5C-2D282BBAFAE5}"/>
              </a:ext>
            </a:extLst>
          </p:cNvPr>
          <p:cNvSpPr/>
          <p:nvPr/>
        </p:nvSpPr>
        <p:spPr>
          <a:xfrm>
            <a:off x="1486050" y="4994813"/>
            <a:ext cx="300991" cy="300991"/>
          </a:xfrm>
          <a:prstGeom prst="ellipse">
            <a:avLst/>
          </a:prstGeom>
          <a:gradFill>
            <a:gsLst>
              <a:gs pos="0">
                <a:schemeClr val="accent4">
                  <a:hueOff val="-406799"/>
                  <a:lumOff val="30382"/>
                </a:schemeClr>
              </a:gs>
              <a:gs pos="50000">
                <a:srgbClr val="FFD58D"/>
              </a:gs>
              <a:gs pos="100000">
                <a:schemeClr val="accent4">
                  <a:hueOff val="-362075"/>
                  <a:lumOff val="23565"/>
                </a:schemeClr>
              </a:gs>
            </a:gsLst>
            <a:lin ang="5400000"/>
          </a:gradFill>
          <a:ln w="6350">
            <a:solidFill>
              <a:schemeClr val="accent3">
                <a:lumOff val="-12941"/>
              </a:schemeClr>
            </a:solidFill>
            <a:miter/>
          </a:ln>
          <a:extLst>
            <a:ext uri="{C572A759-6A51-4108-AA02-DFA0A04FC94B}">
              <ma14:wrappingTextBoxFlag xmlns="" xmlns:ma14="http://schemas.microsoft.com/office/mac/drawingml/2011/main" val="1"/>
            </a:ext>
          </a:extLst>
        </p:spPr>
        <p:txBody>
          <a:bodyPr lIns="45719" rIns="45719" anchor="ctr"/>
          <a:lstStyle>
            <a:lvl1pPr algn="ctr">
              <a:defRPr sz="1200">
                <a:solidFill>
                  <a:srgbClr val="535353"/>
                </a:solidFill>
                <a:latin typeface="Segoe UI Light"/>
                <a:ea typeface="Segoe UI Light"/>
                <a:cs typeface="Segoe UI Light"/>
                <a:sym typeface="Segoe UI Light"/>
              </a:defRPr>
            </a:lvl1pPr>
          </a:lstStyle>
          <a:p>
            <a:pPr defTabSz="914367"/>
            <a:r>
              <a:rPr>
                <a:solidFill>
                  <a:srgbClr val="1A1A1A"/>
                </a:solidFill>
              </a:rPr>
              <a:t>5</a:t>
            </a:r>
          </a:p>
        </p:txBody>
      </p:sp>
      <p:pic>
        <p:nvPicPr>
          <p:cNvPr id="37" name="Connection Line" descr="Connection Line">
            <a:extLst>
              <a:ext uri="{FF2B5EF4-FFF2-40B4-BE49-F238E27FC236}">
                <a16:creationId xmlns:a16="http://schemas.microsoft.com/office/drawing/2014/main" id="{D8C442F3-3C95-084F-9807-C649F3302CCC}"/>
              </a:ext>
            </a:extLst>
          </p:cNvPr>
          <p:cNvPicPr>
            <a:picLocks/>
          </p:cNvPicPr>
          <p:nvPr/>
        </p:nvPicPr>
        <p:blipFill>
          <a:blip r:embed="rId3">
            <a:extLst/>
          </a:blip>
          <a:stretch>
            <a:fillRect/>
          </a:stretch>
        </p:blipFill>
        <p:spPr>
          <a:xfrm>
            <a:off x="7108255" y="3095369"/>
            <a:ext cx="709094" cy="1874820"/>
          </a:xfrm>
          <a:prstGeom prst="rect">
            <a:avLst/>
          </a:prstGeom>
          <a:effectLst>
            <a:outerShdw blurRad="355600" rotWithShape="0">
              <a:srgbClr val="000000">
                <a:alpha val="75000"/>
              </a:srgbClr>
            </a:outerShdw>
          </a:effectLst>
        </p:spPr>
      </p:pic>
      <p:sp>
        <p:nvSpPr>
          <p:cNvPr id="38" name="Rectangle">
            <a:extLst>
              <a:ext uri="{FF2B5EF4-FFF2-40B4-BE49-F238E27FC236}">
                <a16:creationId xmlns:a16="http://schemas.microsoft.com/office/drawing/2014/main" id="{7CE5AFFC-2936-9548-8044-B6201A3179F2}"/>
              </a:ext>
            </a:extLst>
          </p:cNvPr>
          <p:cNvSpPr/>
          <p:nvPr/>
        </p:nvSpPr>
        <p:spPr>
          <a:xfrm>
            <a:off x="6527614" y="2619272"/>
            <a:ext cx="599695" cy="163667"/>
          </a:xfrm>
          <a:prstGeom prst="rect">
            <a:avLst/>
          </a:prstGeom>
          <a:solidFill>
            <a:srgbClr val="0078D7"/>
          </a:solidFill>
          <a:ln w="12700">
            <a:miter lim="400000"/>
          </a:ln>
        </p:spPr>
        <p:txBody>
          <a:bodyPr lIns="45719" rIns="45719" anchor="ctr"/>
          <a:lstStyle/>
          <a:p>
            <a:pPr defTabSz="914367"/>
            <a:endParaRPr sz="1765">
              <a:solidFill>
                <a:srgbClr val="FFFFFF"/>
              </a:solidFill>
              <a:latin typeface="Segoe UI"/>
            </a:endParaRPr>
          </a:p>
        </p:txBody>
      </p:sp>
      <p:sp>
        <p:nvSpPr>
          <p:cNvPr id="39" name="Rectangle">
            <a:extLst>
              <a:ext uri="{FF2B5EF4-FFF2-40B4-BE49-F238E27FC236}">
                <a16:creationId xmlns:a16="http://schemas.microsoft.com/office/drawing/2014/main" id="{D5C8CC3E-C61B-EE43-A821-898084397F4D}"/>
              </a:ext>
            </a:extLst>
          </p:cNvPr>
          <p:cNvSpPr/>
          <p:nvPr/>
        </p:nvSpPr>
        <p:spPr>
          <a:xfrm>
            <a:off x="6527614" y="2811163"/>
            <a:ext cx="599695" cy="163666"/>
          </a:xfrm>
          <a:prstGeom prst="rect">
            <a:avLst/>
          </a:prstGeom>
          <a:solidFill>
            <a:srgbClr val="B9D80A"/>
          </a:solidFill>
          <a:ln w="12700">
            <a:miter lim="400000"/>
          </a:ln>
        </p:spPr>
        <p:txBody>
          <a:bodyPr lIns="45719" rIns="45719" anchor="ctr"/>
          <a:lstStyle/>
          <a:p>
            <a:pPr defTabSz="914367"/>
            <a:endParaRPr sz="1765">
              <a:solidFill>
                <a:srgbClr val="FFFFFF"/>
              </a:solidFill>
              <a:latin typeface="Segoe UI"/>
            </a:endParaRPr>
          </a:p>
        </p:txBody>
      </p:sp>
      <p:sp>
        <p:nvSpPr>
          <p:cNvPr id="40" name="Rectangle">
            <a:extLst>
              <a:ext uri="{FF2B5EF4-FFF2-40B4-BE49-F238E27FC236}">
                <a16:creationId xmlns:a16="http://schemas.microsoft.com/office/drawing/2014/main" id="{107B3467-93AC-7C4E-AD95-5F7B84CEFCEF}"/>
              </a:ext>
            </a:extLst>
          </p:cNvPr>
          <p:cNvSpPr/>
          <p:nvPr/>
        </p:nvSpPr>
        <p:spPr>
          <a:xfrm>
            <a:off x="6527614" y="3003989"/>
            <a:ext cx="599695" cy="163667"/>
          </a:xfrm>
          <a:prstGeom prst="rect">
            <a:avLst/>
          </a:prstGeom>
          <a:solidFill>
            <a:srgbClr val="0078D7"/>
          </a:solidFill>
          <a:ln w="12700">
            <a:miter lim="400000"/>
          </a:ln>
        </p:spPr>
        <p:txBody>
          <a:bodyPr lIns="45719" rIns="45719" anchor="ctr"/>
          <a:lstStyle/>
          <a:p>
            <a:pPr defTabSz="914367"/>
            <a:endParaRPr sz="1765">
              <a:solidFill>
                <a:srgbClr val="FFFFFF"/>
              </a:solidFill>
              <a:latin typeface="Segoe UI"/>
            </a:endParaRPr>
          </a:p>
        </p:txBody>
      </p:sp>
      <p:sp>
        <p:nvSpPr>
          <p:cNvPr id="41" name="Rectangle">
            <a:extLst>
              <a:ext uri="{FF2B5EF4-FFF2-40B4-BE49-F238E27FC236}">
                <a16:creationId xmlns:a16="http://schemas.microsoft.com/office/drawing/2014/main" id="{F120107E-E6EB-524B-97EB-9118EA513B48}"/>
              </a:ext>
            </a:extLst>
          </p:cNvPr>
          <p:cNvSpPr/>
          <p:nvPr/>
        </p:nvSpPr>
        <p:spPr>
          <a:xfrm>
            <a:off x="6527614" y="3195880"/>
            <a:ext cx="599695" cy="163667"/>
          </a:xfrm>
          <a:prstGeom prst="rect">
            <a:avLst/>
          </a:prstGeom>
          <a:solidFill>
            <a:srgbClr val="B9D80A"/>
          </a:solidFill>
          <a:ln w="12700">
            <a:miter lim="400000"/>
          </a:ln>
        </p:spPr>
        <p:txBody>
          <a:bodyPr lIns="45719" rIns="45719" anchor="ctr"/>
          <a:lstStyle/>
          <a:p>
            <a:pPr defTabSz="914367"/>
            <a:endParaRPr sz="1765">
              <a:solidFill>
                <a:srgbClr val="FFFFFF"/>
              </a:solidFill>
              <a:latin typeface="Segoe UI"/>
            </a:endParaRPr>
          </a:p>
        </p:txBody>
      </p:sp>
      <p:sp>
        <p:nvSpPr>
          <p:cNvPr id="42" name="change feed">
            <a:extLst>
              <a:ext uri="{FF2B5EF4-FFF2-40B4-BE49-F238E27FC236}">
                <a16:creationId xmlns:a16="http://schemas.microsoft.com/office/drawing/2014/main" id="{056D9465-4DEE-1248-B1A5-07752A6A8AAB}"/>
              </a:ext>
            </a:extLst>
          </p:cNvPr>
          <p:cNvSpPr txBox="1"/>
          <p:nvPr/>
        </p:nvSpPr>
        <p:spPr>
          <a:xfrm>
            <a:off x="6425221" y="3391857"/>
            <a:ext cx="1042747" cy="461665"/>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defRPr sz="1200">
                <a:latin typeface="Segoe UI Light"/>
                <a:ea typeface="Segoe UI Light"/>
                <a:cs typeface="Segoe UI Light"/>
                <a:sym typeface="Segoe UI Light"/>
              </a:defRPr>
            </a:lvl1pPr>
          </a:lstStyle>
          <a:p>
            <a:pPr defTabSz="914367"/>
            <a:r>
              <a:rPr lang="en-US">
                <a:solidFill>
                  <a:srgbClr val="1A1A1A"/>
                </a:solidFill>
              </a:rPr>
              <a:t>CosmosDB </a:t>
            </a:r>
            <a:r>
              <a:rPr>
                <a:solidFill>
                  <a:srgbClr val="1A1A1A"/>
                </a:solidFill>
              </a:rPr>
              <a:t>change feed</a:t>
            </a:r>
          </a:p>
        </p:txBody>
      </p:sp>
      <p:pic>
        <p:nvPicPr>
          <p:cNvPr id="70" name="Image" descr="Image">
            <a:extLst>
              <a:ext uri="{FF2B5EF4-FFF2-40B4-BE49-F238E27FC236}">
                <a16:creationId xmlns:a16="http://schemas.microsoft.com/office/drawing/2014/main" id="{60359490-4FD6-EC44-B6CD-B4069853BED7}"/>
              </a:ext>
            </a:extLst>
          </p:cNvPr>
          <p:cNvPicPr>
            <a:picLocks noChangeAspect="1"/>
          </p:cNvPicPr>
          <p:nvPr/>
        </p:nvPicPr>
        <p:blipFill>
          <a:blip r:embed="rId4">
            <a:extLst/>
          </a:blip>
          <a:stretch>
            <a:fillRect/>
          </a:stretch>
        </p:blipFill>
        <p:spPr>
          <a:xfrm>
            <a:off x="6009300" y="4927883"/>
            <a:ext cx="1224078" cy="637541"/>
          </a:xfrm>
          <a:prstGeom prst="rect">
            <a:avLst/>
          </a:prstGeom>
          <a:solidFill>
            <a:srgbClr val="E6E6E6"/>
          </a:solidFill>
          <a:ln w="12700">
            <a:miter lim="400000"/>
          </a:ln>
        </p:spPr>
      </p:pic>
      <p:sp>
        <p:nvSpPr>
          <p:cNvPr id="71" name="collections">
            <a:extLst>
              <a:ext uri="{FF2B5EF4-FFF2-40B4-BE49-F238E27FC236}">
                <a16:creationId xmlns:a16="http://schemas.microsoft.com/office/drawing/2014/main" id="{62B18C8D-8AF4-A242-A057-3821E87990ED}"/>
              </a:ext>
            </a:extLst>
          </p:cNvPr>
          <p:cNvSpPr/>
          <p:nvPr/>
        </p:nvSpPr>
        <p:spPr>
          <a:xfrm>
            <a:off x="3559902" y="3078580"/>
            <a:ext cx="1595121" cy="1717945"/>
          </a:xfrm>
          <a:prstGeom prst="roundRect">
            <a:avLst>
              <a:gd name="adj" fmla="val 15000"/>
            </a:avLst>
          </a:prstGeom>
          <a:solidFill>
            <a:srgbClr val="FFFFFF"/>
          </a:solidFill>
          <a:ln w="12700">
            <a:solidFill>
              <a:schemeClr val="accent1"/>
            </a:solidFill>
            <a:miter/>
          </a:ln>
          <a:extLst>
            <a:ext uri="{C572A759-6A51-4108-AA02-DFA0A04FC94B}">
              <ma14:wrappingTextBoxFlag xmlns="" xmlns:ma14="http://schemas.microsoft.com/office/mac/drawingml/2011/main" val="1"/>
            </a:ext>
          </a:extLst>
        </p:spPr>
        <p:txBody>
          <a:bodyPr lIns="45719" rIns="45719"/>
          <a:lstStyle>
            <a:lvl1pPr algn="ctr">
              <a:defRPr sz="1200">
                <a:latin typeface="Segoe UI Light"/>
                <a:ea typeface="Segoe UI Light"/>
                <a:cs typeface="Segoe UI Light"/>
                <a:sym typeface="Segoe UI Light"/>
              </a:defRPr>
            </a:lvl1pPr>
          </a:lstStyle>
          <a:p>
            <a:pPr defTabSz="914367"/>
            <a:r>
              <a:rPr>
                <a:solidFill>
                  <a:srgbClr val="FFFFFF"/>
                </a:solidFill>
              </a:rPr>
              <a:t>collections</a:t>
            </a:r>
          </a:p>
        </p:txBody>
      </p:sp>
      <p:sp>
        <p:nvSpPr>
          <p:cNvPr id="73" name="master dataset">
            <a:extLst>
              <a:ext uri="{FF2B5EF4-FFF2-40B4-BE49-F238E27FC236}">
                <a16:creationId xmlns:a16="http://schemas.microsoft.com/office/drawing/2014/main" id="{45401161-AF07-4948-A4C2-02C12EC99800}"/>
              </a:ext>
            </a:extLst>
          </p:cNvPr>
          <p:cNvSpPr/>
          <p:nvPr/>
        </p:nvSpPr>
        <p:spPr>
          <a:xfrm>
            <a:off x="3720994" y="3864085"/>
            <a:ext cx="1270001" cy="299721"/>
          </a:xfrm>
          <a:prstGeom prst="rect">
            <a:avLst/>
          </a:prstGeom>
          <a:solidFill>
            <a:srgbClr val="FFFFFF"/>
          </a:solidFill>
          <a:ln w="12700">
            <a:solidFill>
              <a:schemeClr val="accent6">
                <a:lumOff val="-9568"/>
              </a:schemeClr>
            </a:solidFill>
            <a:miter lim="400000"/>
          </a:ln>
          <a:extLst>
            <a:ext uri="{C572A759-6A51-4108-AA02-DFA0A04FC94B}">
              <ma14:wrappingTextBoxFlag xmlns="" xmlns:ma14="http://schemas.microsoft.com/office/mac/drawingml/2011/main" val="1"/>
            </a:ext>
          </a:extLst>
        </p:spPr>
        <p:txBody>
          <a:bodyPr lIns="45719" rIns="45719" anchor="ctr"/>
          <a:lstStyle>
            <a:lvl1pPr algn="ctr">
              <a:defRPr sz="1200">
                <a:solidFill>
                  <a:schemeClr val="accent6">
                    <a:lumOff val="-9568"/>
                  </a:schemeClr>
                </a:solidFill>
                <a:latin typeface="Segoe UI Light"/>
                <a:ea typeface="Segoe UI Light"/>
                <a:cs typeface="Segoe UI Light"/>
                <a:sym typeface="Segoe UI Light"/>
              </a:defRPr>
            </a:lvl1pPr>
          </a:lstStyle>
          <a:p>
            <a:pPr defTabSz="914367"/>
            <a:r>
              <a:rPr>
                <a:solidFill>
                  <a:srgbClr val="1A1A1A"/>
                </a:solidFill>
              </a:rPr>
              <a:t>master dataset</a:t>
            </a:r>
          </a:p>
        </p:txBody>
      </p:sp>
      <p:sp>
        <p:nvSpPr>
          <p:cNvPr id="74" name="computed batch">
            <a:extLst>
              <a:ext uri="{FF2B5EF4-FFF2-40B4-BE49-F238E27FC236}">
                <a16:creationId xmlns:a16="http://schemas.microsoft.com/office/drawing/2014/main" id="{ECCA6975-3E87-534A-9C7B-1DB597CFE810}"/>
              </a:ext>
            </a:extLst>
          </p:cNvPr>
          <p:cNvSpPr/>
          <p:nvPr/>
        </p:nvSpPr>
        <p:spPr>
          <a:xfrm>
            <a:off x="3723931" y="4265212"/>
            <a:ext cx="1270001" cy="299721"/>
          </a:xfrm>
          <a:prstGeom prst="rect">
            <a:avLst/>
          </a:prstGeom>
          <a:solidFill>
            <a:srgbClr val="FFFFFF"/>
          </a:solidFill>
          <a:ln w="12700">
            <a:solidFill>
              <a:schemeClr val="accent6">
                <a:lumOff val="-9568"/>
              </a:schemeClr>
            </a:solidFill>
            <a:miter lim="400000"/>
          </a:ln>
          <a:extLst>
            <a:ext uri="{C572A759-6A51-4108-AA02-DFA0A04FC94B}">
              <ma14:wrappingTextBoxFlag xmlns="" xmlns:ma14="http://schemas.microsoft.com/office/mac/drawingml/2011/main" val="1"/>
            </a:ext>
          </a:extLst>
        </p:spPr>
        <p:txBody>
          <a:bodyPr lIns="45719" rIns="45719" anchor="ctr"/>
          <a:lstStyle>
            <a:lvl1pPr algn="ctr">
              <a:defRPr sz="1200">
                <a:solidFill>
                  <a:schemeClr val="accent6">
                    <a:lumOff val="-9568"/>
                  </a:schemeClr>
                </a:solidFill>
                <a:latin typeface="Segoe UI Light"/>
                <a:ea typeface="Segoe UI Light"/>
                <a:cs typeface="Segoe UI Light"/>
                <a:sym typeface="Segoe UI Light"/>
              </a:defRPr>
            </a:lvl1pPr>
          </a:lstStyle>
          <a:p>
            <a:pPr defTabSz="914367"/>
            <a:r>
              <a:rPr>
                <a:solidFill>
                  <a:srgbClr val="1A1A1A"/>
                </a:solidFill>
              </a:rPr>
              <a:t>computed batch</a:t>
            </a:r>
          </a:p>
        </p:txBody>
      </p:sp>
      <p:sp>
        <p:nvSpPr>
          <p:cNvPr id="75" name="computed RT">
            <a:extLst>
              <a:ext uri="{FF2B5EF4-FFF2-40B4-BE49-F238E27FC236}">
                <a16:creationId xmlns:a16="http://schemas.microsoft.com/office/drawing/2014/main" id="{CFEF9493-0F81-0E4E-81C5-A994C3F9309A}"/>
              </a:ext>
            </a:extLst>
          </p:cNvPr>
          <p:cNvSpPr/>
          <p:nvPr/>
        </p:nvSpPr>
        <p:spPr>
          <a:xfrm>
            <a:off x="3723931" y="3462957"/>
            <a:ext cx="1270001" cy="299721"/>
          </a:xfrm>
          <a:prstGeom prst="rect">
            <a:avLst/>
          </a:prstGeom>
          <a:solidFill>
            <a:srgbClr val="FFFFFF"/>
          </a:solidFill>
          <a:ln w="12700">
            <a:solidFill>
              <a:schemeClr val="accent5">
                <a:satOff val="-3547"/>
                <a:lumOff val="-10352"/>
              </a:schemeClr>
            </a:solidFill>
            <a:miter lim="400000"/>
          </a:ln>
          <a:extLst>
            <a:ext uri="{C572A759-6A51-4108-AA02-DFA0A04FC94B}">
              <ma14:wrappingTextBoxFlag xmlns="" xmlns:ma14="http://schemas.microsoft.com/office/mac/drawingml/2011/main" val="1"/>
            </a:ext>
          </a:extLst>
        </p:spPr>
        <p:txBody>
          <a:bodyPr lIns="45719" rIns="45719" anchor="ctr"/>
          <a:lstStyle>
            <a:lvl1pPr algn="ctr">
              <a:defRPr sz="1200">
                <a:solidFill>
                  <a:schemeClr val="accent5">
                    <a:satOff val="-3547"/>
                    <a:lumOff val="-10352"/>
                  </a:schemeClr>
                </a:solidFill>
                <a:latin typeface="Segoe UI Light"/>
                <a:ea typeface="Segoe UI Light"/>
                <a:cs typeface="Segoe UI Light"/>
                <a:sym typeface="Segoe UI Light"/>
              </a:defRPr>
            </a:lvl1pPr>
          </a:lstStyle>
          <a:p>
            <a:pPr defTabSz="914367"/>
            <a:r>
              <a:rPr>
                <a:solidFill>
                  <a:srgbClr val="1A1A1A"/>
                </a:solidFill>
              </a:rPr>
              <a:t>computed RT</a:t>
            </a:r>
          </a:p>
        </p:txBody>
      </p:sp>
      <p:sp>
        <p:nvSpPr>
          <p:cNvPr id="76" name="2">
            <a:extLst>
              <a:ext uri="{FF2B5EF4-FFF2-40B4-BE49-F238E27FC236}">
                <a16:creationId xmlns:a16="http://schemas.microsoft.com/office/drawing/2014/main" id="{07B3E1EF-0E43-F748-936C-6E9E4BE4BCA3}"/>
              </a:ext>
            </a:extLst>
          </p:cNvPr>
          <p:cNvSpPr/>
          <p:nvPr/>
        </p:nvSpPr>
        <p:spPr>
          <a:xfrm>
            <a:off x="3462170" y="3858586"/>
            <a:ext cx="300991" cy="300991"/>
          </a:xfrm>
          <a:prstGeom prst="ellipse">
            <a:avLst/>
          </a:prstGeom>
          <a:gradFill>
            <a:gsLst>
              <a:gs pos="0">
                <a:schemeClr val="accent4">
                  <a:hueOff val="-406799"/>
                  <a:lumOff val="30382"/>
                </a:schemeClr>
              </a:gs>
              <a:gs pos="50000">
                <a:srgbClr val="FFD58D"/>
              </a:gs>
              <a:gs pos="100000">
                <a:schemeClr val="accent4">
                  <a:hueOff val="-362075"/>
                  <a:lumOff val="23565"/>
                </a:schemeClr>
              </a:gs>
            </a:gsLst>
            <a:lin ang="5400000"/>
          </a:gradFill>
          <a:ln w="6350">
            <a:solidFill>
              <a:schemeClr val="accent3">
                <a:lumOff val="-12941"/>
              </a:schemeClr>
            </a:solidFill>
            <a:miter/>
          </a:ln>
          <a:extLst>
            <a:ext uri="{C572A759-6A51-4108-AA02-DFA0A04FC94B}">
              <ma14:wrappingTextBoxFlag xmlns="" xmlns:ma14="http://schemas.microsoft.com/office/mac/drawingml/2011/main" val="1"/>
            </a:ext>
          </a:extLst>
        </p:spPr>
        <p:txBody>
          <a:bodyPr lIns="45719" rIns="45719" anchor="ctr"/>
          <a:lstStyle>
            <a:lvl1pPr algn="ctr">
              <a:defRPr sz="1200">
                <a:solidFill>
                  <a:srgbClr val="535353"/>
                </a:solidFill>
                <a:latin typeface="Segoe UI Light"/>
                <a:ea typeface="Segoe UI Light"/>
                <a:cs typeface="Segoe UI Light"/>
                <a:sym typeface="Segoe UI Light"/>
              </a:defRPr>
            </a:lvl1pPr>
          </a:lstStyle>
          <a:p>
            <a:pPr defTabSz="914367"/>
            <a:r>
              <a:rPr>
                <a:solidFill>
                  <a:srgbClr val="FFFFFF"/>
                </a:solidFill>
              </a:rPr>
              <a:t>2</a:t>
            </a:r>
          </a:p>
        </p:txBody>
      </p:sp>
      <p:pic>
        <p:nvPicPr>
          <p:cNvPr id="77" name="Connection Line" descr="Connection Line">
            <a:extLst>
              <a:ext uri="{FF2B5EF4-FFF2-40B4-BE49-F238E27FC236}">
                <a16:creationId xmlns:a16="http://schemas.microsoft.com/office/drawing/2014/main" id="{4C4989BB-59B9-6B46-A184-A4F0524D653F}"/>
              </a:ext>
            </a:extLst>
          </p:cNvPr>
          <p:cNvPicPr>
            <a:picLocks/>
          </p:cNvPicPr>
          <p:nvPr/>
        </p:nvPicPr>
        <p:blipFill>
          <a:blip r:embed="rId5">
            <a:extLst/>
          </a:blip>
          <a:stretch>
            <a:fillRect/>
          </a:stretch>
        </p:blipFill>
        <p:spPr>
          <a:xfrm>
            <a:off x="4248839" y="4151023"/>
            <a:ext cx="1665229" cy="1296782"/>
          </a:xfrm>
          <a:prstGeom prst="rect">
            <a:avLst/>
          </a:prstGeom>
          <a:effectLst>
            <a:outerShdw blurRad="355600" rotWithShape="0">
              <a:srgbClr val="000000">
                <a:alpha val="75000"/>
              </a:srgbClr>
            </a:outerShdw>
          </a:effectLst>
        </p:spPr>
      </p:pic>
      <p:pic>
        <p:nvPicPr>
          <p:cNvPr id="78" name="Connection Line" descr="Connection Line">
            <a:extLst>
              <a:ext uri="{FF2B5EF4-FFF2-40B4-BE49-F238E27FC236}">
                <a16:creationId xmlns:a16="http://schemas.microsoft.com/office/drawing/2014/main" id="{4B1B2155-F604-7440-BC30-F81803AFD3F0}"/>
              </a:ext>
            </a:extLst>
          </p:cNvPr>
          <p:cNvPicPr>
            <a:picLocks/>
          </p:cNvPicPr>
          <p:nvPr/>
        </p:nvPicPr>
        <p:blipFill>
          <a:blip r:embed="rId6">
            <a:extLst/>
          </a:blip>
          <a:stretch>
            <a:fillRect/>
          </a:stretch>
        </p:blipFill>
        <p:spPr>
          <a:xfrm>
            <a:off x="4981228" y="4326382"/>
            <a:ext cx="1191835" cy="799842"/>
          </a:xfrm>
          <a:prstGeom prst="rect">
            <a:avLst/>
          </a:prstGeom>
          <a:effectLst>
            <a:outerShdw blurRad="355600" rotWithShape="0">
              <a:srgbClr val="000000">
                <a:alpha val="75000"/>
              </a:srgbClr>
            </a:outerShdw>
          </a:effectLst>
        </p:spPr>
      </p:pic>
      <p:sp>
        <p:nvSpPr>
          <p:cNvPr id="79" name="pre-compute…">
            <a:extLst>
              <a:ext uri="{FF2B5EF4-FFF2-40B4-BE49-F238E27FC236}">
                <a16:creationId xmlns:a16="http://schemas.microsoft.com/office/drawing/2014/main" id="{73A101D8-5B45-1D41-AD91-0C49533EAF36}"/>
              </a:ext>
            </a:extLst>
          </p:cNvPr>
          <p:cNvSpPr txBox="1"/>
          <p:nvPr/>
        </p:nvSpPr>
        <p:spPr>
          <a:xfrm>
            <a:off x="4829209" y="4789289"/>
            <a:ext cx="980524" cy="461665"/>
          </a:xfrm>
          <a:prstGeom prst="rect">
            <a:avLst/>
          </a:prstGeom>
          <a:ln w="12700">
            <a:miter lim="400000"/>
          </a:ln>
          <a:extLst>
            <a:ext uri="{C572A759-6A51-4108-AA02-DFA0A04FC94B}">
              <ma14:wrappingTextBoxFlag xmlns="" xmlns:ma14="http://schemas.microsoft.com/office/mac/drawingml/2011/main" val="1"/>
            </a:ext>
          </a:extLst>
        </p:spPr>
        <p:txBody>
          <a:bodyPr wrap="none" lIns="45719" rIns="45719">
            <a:spAutoFit/>
          </a:bodyPr>
          <a:lstStyle/>
          <a:p>
            <a:pPr algn="ctr" defTabSz="914367">
              <a:defRPr sz="1200">
                <a:solidFill>
                  <a:srgbClr val="D2D2D2">
                    <a:lumOff val="-9568"/>
                  </a:srgbClr>
                </a:solidFill>
                <a:latin typeface="Segoe UI Light"/>
                <a:ea typeface="Segoe UI Light"/>
                <a:cs typeface="Segoe UI Light"/>
                <a:sym typeface="Segoe UI Light"/>
              </a:defRPr>
            </a:pPr>
            <a:r>
              <a:rPr sz="1200">
                <a:solidFill>
                  <a:srgbClr val="D2D2D2">
                    <a:lumOff val="-9568"/>
                  </a:srgbClr>
                </a:solidFill>
                <a:latin typeface="Segoe UI Light"/>
                <a:cs typeface="Segoe UI Light"/>
                <a:sym typeface="Segoe UI Light"/>
              </a:rPr>
              <a:t>pre-compute </a:t>
            </a:r>
          </a:p>
          <a:p>
            <a:pPr algn="ctr" defTabSz="914367">
              <a:defRPr sz="1200">
                <a:solidFill>
                  <a:srgbClr val="D2D2D2">
                    <a:lumOff val="-9568"/>
                  </a:srgbClr>
                </a:solidFill>
                <a:latin typeface="Segoe UI Light"/>
                <a:ea typeface="Segoe UI Light"/>
                <a:cs typeface="Segoe UI Light"/>
                <a:sym typeface="Segoe UI Light"/>
              </a:defRPr>
            </a:pPr>
            <a:r>
              <a:rPr sz="1200">
                <a:solidFill>
                  <a:srgbClr val="D2D2D2">
                    <a:lumOff val="-9568"/>
                  </a:srgbClr>
                </a:solidFill>
                <a:latin typeface="Segoe UI Light"/>
                <a:cs typeface="Segoe UI Light"/>
                <a:sym typeface="Segoe UI Light"/>
              </a:rPr>
              <a:t>batch</a:t>
            </a:r>
          </a:p>
        </p:txBody>
      </p:sp>
      <p:sp>
        <p:nvSpPr>
          <p:cNvPr id="80" name="3">
            <a:extLst>
              <a:ext uri="{FF2B5EF4-FFF2-40B4-BE49-F238E27FC236}">
                <a16:creationId xmlns:a16="http://schemas.microsoft.com/office/drawing/2014/main" id="{7BC66A4D-C2B7-D249-864F-AA9739806FD1}"/>
              </a:ext>
            </a:extLst>
          </p:cNvPr>
          <p:cNvSpPr/>
          <p:nvPr/>
        </p:nvSpPr>
        <p:spPr>
          <a:xfrm>
            <a:off x="3462170" y="4269186"/>
            <a:ext cx="300991" cy="300991"/>
          </a:xfrm>
          <a:prstGeom prst="ellipse">
            <a:avLst/>
          </a:prstGeom>
          <a:gradFill>
            <a:gsLst>
              <a:gs pos="0">
                <a:schemeClr val="accent4">
                  <a:hueOff val="-406799"/>
                  <a:lumOff val="30382"/>
                </a:schemeClr>
              </a:gs>
              <a:gs pos="50000">
                <a:srgbClr val="FFD58D"/>
              </a:gs>
              <a:gs pos="100000">
                <a:schemeClr val="accent4">
                  <a:hueOff val="-362075"/>
                  <a:lumOff val="23565"/>
                </a:schemeClr>
              </a:gs>
            </a:gsLst>
            <a:lin ang="5400000"/>
          </a:gradFill>
          <a:ln w="6350">
            <a:solidFill>
              <a:schemeClr val="accent3">
                <a:lumOff val="-12941"/>
              </a:schemeClr>
            </a:solidFill>
            <a:miter/>
          </a:ln>
          <a:extLst>
            <a:ext uri="{C572A759-6A51-4108-AA02-DFA0A04FC94B}">
              <ma14:wrappingTextBoxFlag xmlns="" xmlns:ma14="http://schemas.microsoft.com/office/mac/drawingml/2011/main" val="1"/>
            </a:ext>
          </a:extLst>
        </p:spPr>
        <p:txBody>
          <a:bodyPr lIns="45719" rIns="45719" anchor="ctr"/>
          <a:lstStyle>
            <a:lvl1pPr algn="ctr">
              <a:defRPr sz="1200">
                <a:solidFill>
                  <a:srgbClr val="535353"/>
                </a:solidFill>
                <a:latin typeface="Segoe UI Light"/>
                <a:ea typeface="Segoe UI Light"/>
                <a:cs typeface="Segoe UI Light"/>
                <a:sym typeface="Segoe UI Light"/>
              </a:defRPr>
            </a:lvl1pPr>
          </a:lstStyle>
          <a:p>
            <a:pPr defTabSz="914367"/>
            <a:r>
              <a:rPr>
                <a:solidFill>
                  <a:srgbClr val="FFFFFF"/>
                </a:solidFill>
              </a:rPr>
              <a:t>3</a:t>
            </a:r>
          </a:p>
        </p:txBody>
      </p:sp>
      <p:sp>
        <p:nvSpPr>
          <p:cNvPr id="81" name="2">
            <a:extLst>
              <a:ext uri="{FF2B5EF4-FFF2-40B4-BE49-F238E27FC236}">
                <a16:creationId xmlns:a16="http://schemas.microsoft.com/office/drawing/2014/main" id="{D24EC462-F2B9-094E-94F3-E5EA394BB686}"/>
              </a:ext>
            </a:extLst>
          </p:cNvPr>
          <p:cNvSpPr/>
          <p:nvPr/>
        </p:nvSpPr>
        <p:spPr>
          <a:xfrm>
            <a:off x="4483250" y="5073510"/>
            <a:ext cx="300991" cy="300991"/>
          </a:xfrm>
          <a:prstGeom prst="ellipse">
            <a:avLst/>
          </a:prstGeom>
          <a:gradFill>
            <a:gsLst>
              <a:gs pos="0">
                <a:schemeClr val="accent4">
                  <a:hueOff val="-406799"/>
                  <a:lumOff val="30382"/>
                </a:schemeClr>
              </a:gs>
              <a:gs pos="50000">
                <a:srgbClr val="FFD58D"/>
              </a:gs>
              <a:gs pos="100000">
                <a:schemeClr val="accent4">
                  <a:hueOff val="-362075"/>
                  <a:lumOff val="23565"/>
                </a:schemeClr>
              </a:gs>
            </a:gsLst>
            <a:lin ang="5400000"/>
          </a:gradFill>
          <a:ln w="6350">
            <a:solidFill>
              <a:schemeClr val="accent3">
                <a:lumOff val="-12941"/>
              </a:schemeClr>
            </a:solidFill>
            <a:miter/>
          </a:ln>
          <a:extLst>
            <a:ext uri="{C572A759-6A51-4108-AA02-DFA0A04FC94B}">
              <ma14:wrappingTextBoxFlag xmlns="" xmlns:ma14="http://schemas.microsoft.com/office/mac/drawingml/2011/main" val="1"/>
            </a:ext>
          </a:extLst>
        </p:spPr>
        <p:txBody>
          <a:bodyPr lIns="45719" rIns="45719" anchor="ctr"/>
          <a:lstStyle>
            <a:lvl1pPr algn="ctr">
              <a:defRPr sz="1200">
                <a:solidFill>
                  <a:srgbClr val="535353"/>
                </a:solidFill>
                <a:latin typeface="Segoe UI Light"/>
                <a:ea typeface="Segoe UI Light"/>
                <a:cs typeface="Segoe UI Light"/>
                <a:sym typeface="Segoe UI Light"/>
              </a:defRPr>
            </a:lvl1pPr>
          </a:lstStyle>
          <a:p>
            <a:pPr defTabSz="914367"/>
            <a:r>
              <a:rPr>
                <a:solidFill>
                  <a:srgbClr val="1A1A1A"/>
                </a:solidFill>
              </a:rPr>
              <a:t>2</a:t>
            </a:r>
          </a:p>
        </p:txBody>
      </p:sp>
      <p:sp>
        <p:nvSpPr>
          <p:cNvPr id="82" name="3">
            <a:extLst>
              <a:ext uri="{FF2B5EF4-FFF2-40B4-BE49-F238E27FC236}">
                <a16:creationId xmlns:a16="http://schemas.microsoft.com/office/drawing/2014/main" id="{60D136DF-DCF1-8E4F-BF7E-C23EC7B0FC81}"/>
              </a:ext>
            </a:extLst>
          </p:cNvPr>
          <p:cNvSpPr/>
          <p:nvPr/>
        </p:nvSpPr>
        <p:spPr>
          <a:xfrm>
            <a:off x="5367170" y="4375866"/>
            <a:ext cx="300991" cy="300991"/>
          </a:xfrm>
          <a:prstGeom prst="ellipse">
            <a:avLst/>
          </a:prstGeom>
          <a:gradFill>
            <a:gsLst>
              <a:gs pos="0">
                <a:schemeClr val="accent4">
                  <a:hueOff val="-406799"/>
                  <a:lumOff val="30382"/>
                </a:schemeClr>
              </a:gs>
              <a:gs pos="50000">
                <a:srgbClr val="FFD58D"/>
              </a:gs>
              <a:gs pos="100000">
                <a:schemeClr val="accent4">
                  <a:hueOff val="-362075"/>
                  <a:lumOff val="23565"/>
                </a:schemeClr>
              </a:gs>
            </a:gsLst>
            <a:lin ang="5400000"/>
          </a:gradFill>
          <a:ln w="6350">
            <a:solidFill>
              <a:schemeClr val="accent3">
                <a:lumOff val="-12941"/>
              </a:schemeClr>
            </a:solidFill>
            <a:miter/>
          </a:ln>
          <a:extLst>
            <a:ext uri="{C572A759-6A51-4108-AA02-DFA0A04FC94B}">
              <ma14:wrappingTextBoxFlag xmlns="" xmlns:ma14="http://schemas.microsoft.com/office/mac/drawingml/2011/main" val="1"/>
            </a:ext>
          </a:extLst>
        </p:spPr>
        <p:txBody>
          <a:bodyPr lIns="45719" rIns="45719" anchor="ctr"/>
          <a:lstStyle>
            <a:lvl1pPr algn="ctr">
              <a:defRPr sz="1200">
                <a:solidFill>
                  <a:srgbClr val="535353"/>
                </a:solidFill>
                <a:latin typeface="Segoe UI Light"/>
                <a:ea typeface="Segoe UI Light"/>
                <a:cs typeface="Segoe UI Light"/>
                <a:sym typeface="Segoe UI Light"/>
              </a:defRPr>
            </a:lvl1pPr>
          </a:lstStyle>
          <a:p>
            <a:pPr defTabSz="914367"/>
            <a:r>
              <a:rPr>
                <a:solidFill>
                  <a:srgbClr val="FFFFFF"/>
                </a:solidFill>
              </a:rPr>
              <a:t>3</a:t>
            </a:r>
          </a:p>
        </p:txBody>
      </p:sp>
      <p:sp>
        <p:nvSpPr>
          <p:cNvPr id="83" name="4">
            <a:extLst>
              <a:ext uri="{FF2B5EF4-FFF2-40B4-BE49-F238E27FC236}">
                <a16:creationId xmlns:a16="http://schemas.microsoft.com/office/drawing/2014/main" id="{955DEDCA-96AC-7C48-B9C3-AEEE5C3BC68D}"/>
              </a:ext>
            </a:extLst>
          </p:cNvPr>
          <p:cNvSpPr/>
          <p:nvPr/>
        </p:nvSpPr>
        <p:spPr>
          <a:xfrm>
            <a:off x="7630887" y="3787057"/>
            <a:ext cx="300991" cy="300991"/>
          </a:xfrm>
          <a:prstGeom prst="ellipse">
            <a:avLst/>
          </a:prstGeom>
          <a:gradFill>
            <a:gsLst>
              <a:gs pos="0">
                <a:schemeClr val="accent4">
                  <a:hueOff val="-406799"/>
                  <a:lumOff val="30382"/>
                </a:schemeClr>
              </a:gs>
              <a:gs pos="50000">
                <a:srgbClr val="FFD58D"/>
              </a:gs>
              <a:gs pos="100000">
                <a:schemeClr val="accent4">
                  <a:hueOff val="-362075"/>
                  <a:lumOff val="23565"/>
                </a:schemeClr>
              </a:gs>
            </a:gsLst>
            <a:lin ang="5400000"/>
          </a:gradFill>
          <a:ln w="6350">
            <a:solidFill>
              <a:schemeClr val="accent3">
                <a:lumOff val="-12941"/>
              </a:schemeClr>
            </a:solidFill>
            <a:miter/>
          </a:ln>
          <a:extLst>
            <a:ext uri="{C572A759-6A51-4108-AA02-DFA0A04FC94B}">
              <ma14:wrappingTextBoxFlag xmlns="" xmlns:ma14="http://schemas.microsoft.com/office/mac/drawingml/2011/main" val="1"/>
            </a:ext>
          </a:extLst>
        </p:spPr>
        <p:txBody>
          <a:bodyPr lIns="45719" rIns="45719" anchor="ctr"/>
          <a:lstStyle>
            <a:lvl1pPr algn="ctr">
              <a:defRPr sz="1200">
                <a:solidFill>
                  <a:srgbClr val="535353"/>
                </a:solidFill>
                <a:latin typeface="Segoe UI Light"/>
                <a:ea typeface="Segoe UI Light"/>
                <a:cs typeface="Segoe UI Light"/>
                <a:sym typeface="Segoe UI Light"/>
              </a:defRPr>
            </a:lvl1pPr>
          </a:lstStyle>
          <a:p>
            <a:pPr defTabSz="914367"/>
            <a:r>
              <a:rPr>
                <a:solidFill>
                  <a:srgbClr val="1A1A1A"/>
                </a:solidFill>
              </a:rPr>
              <a:t>4</a:t>
            </a:r>
          </a:p>
        </p:txBody>
      </p:sp>
      <p:pic>
        <p:nvPicPr>
          <p:cNvPr id="84" name="Connection Line" descr="Connection Line">
            <a:extLst>
              <a:ext uri="{FF2B5EF4-FFF2-40B4-BE49-F238E27FC236}">
                <a16:creationId xmlns:a16="http://schemas.microsoft.com/office/drawing/2014/main" id="{0A718516-BA95-5A46-9F95-53F7FF343D6D}"/>
              </a:ext>
            </a:extLst>
          </p:cNvPr>
          <p:cNvPicPr>
            <a:picLocks/>
          </p:cNvPicPr>
          <p:nvPr/>
        </p:nvPicPr>
        <p:blipFill>
          <a:blip r:embed="rId7">
            <a:extLst/>
          </a:blip>
          <a:stretch>
            <a:fillRect/>
          </a:stretch>
        </p:blipFill>
        <p:spPr>
          <a:xfrm>
            <a:off x="4981229" y="3514934"/>
            <a:ext cx="1913060" cy="1542904"/>
          </a:xfrm>
          <a:prstGeom prst="rect">
            <a:avLst/>
          </a:prstGeom>
          <a:effectLst>
            <a:outerShdw blurRad="355600" rotWithShape="0">
              <a:srgbClr val="000000">
                <a:alpha val="75000"/>
              </a:srgbClr>
            </a:outerShdw>
          </a:effectLst>
        </p:spPr>
      </p:pic>
      <p:sp>
        <p:nvSpPr>
          <p:cNvPr id="85" name="4">
            <a:extLst>
              <a:ext uri="{FF2B5EF4-FFF2-40B4-BE49-F238E27FC236}">
                <a16:creationId xmlns:a16="http://schemas.microsoft.com/office/drawing/2014/main" id="{38DA19F7-65C1-C845-B4E7-4AD2489BCD22}"/>
              </a:ext>
            </a:extLst>
          </p:cNvPr>
          <p:cNvSpPr/>
          <p:nvPr/>
        </p:nvSpPr>
        <p:spPr>
          <a:xfrm>
            <a:off x="5982352" y="3863450"/>
            <a:ext cx="300992" cy="300991"/>
          </a:xfrm>
          <a:prstGeom prst="ellipse">
            <a:avLst/>
          </a:prstGeom>
          <a:gradFill>
            <a:gsLst>
              <a:gs pos="0">
                <a:schemeClr val="accent4">
                  <a:hueOff val="-406799"/>
                  <a:lumOff val="30382"/>
                </a:schemeClr>
              </a:gs>
              <a:gs pos="50000">
                <a:srgbClr val="FFD58D"/>
              </a:gs>
              <a:gs pos="100000">
                <a:schemeClr val="accent4">
                  <a:hueOff val="-362075"/>
                  <a:lumOff val="23565"/>
                </a:schemeClr>
              </a:gs>
            </a:gsLst>
            <a:lin ang="5400000"/>
          </a:gradFill>
          <a:ln w="6350">
            <a:solidFill>
              <a:schemeClr val="accent3">
                <a:lumOff val="-12941"/>
              </a:schemeClr>
            </a:solidFill>
            <a:miter/>
          </a:ln>
          <a:extLst>
            <a:ext uri="{C572A759-6A51-4108-AA02-DFA0A04FC94B}">
              <ma14:wrappingTextBoxFlag xmlns="" xmlns:ma14="http://schemas.microsoft.com/office/mac/drawingml/2011/main" val="1"/>
            </a:ext>
          </a:extLst>
        </p:spPr>
        <p:txBody>
          <a:bodyPr lIns="45719" rIns="45719" anchor="ctr"/>
          <a:lstStyle>
            <a:lvl1pPr algn="ctr">
              <a:defRPr sz="1200">
                <a:solidFill>
                  <a:srgbClr val="535353"/>
                </a:solidFill>
                <a:latin typeface="Segoe UI Light"/>
                <a:ea typeface="Segoe UI Light"/>
                <a:cs typeface="Segoe UI Light"/>
                <a:sym typeface="Segoe UI Light"/>
              </a:defRPr>
            </a:lvl1pPr>
          </a:lstStyle>
          <a:p>
            <a:pPr defTabSz="914367"/>
            <a:r>
              <a:rPr>
                <a:solidFill>
                  <a:srgbClr val="1A1A1A"/>
                </a:solidFill>
              </a:rPr>
              <a:t>4</a:t>
            </a:r>
          </a:p>
        </p:txBody>
      </p:sp>
      <p:sp>
        <p:nvSpPr>
          <p:cNvPr id="86" name="The components of a Lambda Architecture…">
            <a:extLst>
              <a:ext uri="{FF2B5EF4-FFF2-40B4-BE49-F238E27FC236}">
                <a16:creationId xmlns:a16="http://schemas.microsoft.com/office/drawing/2014/main" id="{DDB994E7-2EC0-854E-BF73-9ED5D35A8B85}"/>
              </a:ext>
            </a:extLst>
          </p:cNvPr>
          <p:cNvSpPr txBox="1"/>
          <p:nvPr/>
        </p:nvSpPr>
        <p:spPr>
          <a:xfrm>
            <a:off x="8414770" y="2438208"/>
            <a:ext cx="3555341" cy="3749744"/>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p>
            <a:pPr defTabSz="914367">
              <a:spcBef>
                <a:spcPts val="1000"/>
              </a:spcBef>
              <a:defRPr sz="1400">
                <a:latin typeface="Segoe UI Light"/>
                <a:ea typeface="Segoe UI Light"/>
                <a:cs typeface="Segoe UI Light"/>
                <a:sym typeface="Segoe UI Light"/>
              </a:defRPr>
            </a:pPr>
            <a:r>
              <a:rPr sz="1400">
                <a:solidFill>
                  <a:srgbClr val="1A1A1A"/>
                </a:solidFill>
                <a:latin typeface="Segoe UI Light"/>
                <a:cs typeface="Segoe UI Light"/>
                <a:sym typeface="Segoe UI Light"/>
              </a:rPr>
              <a:t>The components of a Lambda Architecture</a:t>
            </a:r>
          </a:p>
          <a:p>
            <a:pPr marL="187157" indent="-187157" defTabSz="914367">
              <a:spcBef>
                <a:spcPts val="1000"/>
              </a:spcBef>
              <a:buSzPct val="100000"/>
              <a:buFontTx/>
              <a:buAutoNum type="arabicPeriod"/>
              <a:defRPr sz="1400">
                <a:latin typeface="Segoe UI Light"/>
                <a:ea typeface="Segoe UI Light"/>
                <a:cs typeface="Segoe UI Light"/>
                <a:sym typeface="Segoe UI Light"/>
              </a:defRPr>
            </a:pPr>
            <a:r>
              <a:rPr sz="1400">
                <a:solidFill>
                  <a:srgbClr val="1A1A1A"/>
                </a:solidFill>
                <a:latin typeface="Segoe UI Light"/>
                <a:cs typeface="Segoe UI Light"/>
                <a:sym typeface="Segoe UI Light"/>
              </a:rPr>
              <a:t>All </a:t>
            </a:r>
            <a:r>
              <a:rPr sz="1400" b="1">
                <a:solidFill>
                  <a:srgbClr val="1A1A1A"/>
                </a:solidFill>
                <a:latin typeface="Segoe UI Light"/>
                <a:cs typeface="Segoe UI Light"/>
                <a:sym typeface="Segoe UI Light"/>
              </a:rPr>
              <a:t>data</a:t>
            </a:r>
            <a:r>
              <a:rPr sz="1400">
                <a:solidFill>
                  <a:srgbClr val="1A1A1A"/>
                </a:solidFill>
                <a:latin typeface="Segoe UI Light"/>
                <a:cs typeface="Segoe UI Light"/>
                <a:sym typeface="Segoe UI Light"/>
              </a:rPr>
              <a:t> pushed into Cosmos DB layer for processing </a:t>
            </a:r>
          </a:p>
          <a:p>
            <a:pPr marL="187157" indent="-187157" defTabSz="914367">
              <a:spcBef>
                <a:spcPts val="1000"/>
              </a:spcBef>
              <a:buSzPct val="100000"/>
              <a:buFontTx/>
              <a:buAutoNum type="arabicPeriod"/>
              <a:defRPr sz="1400">
                <a:latin typeface="Segoe UI Light"/>
                <a:ea typeface="Segoe UI Light"/>
                <a:cs typeface="Segoe UI Light"/>
                <a:sym typeface="Segoe UI Light"/>
              </a:defRPr>
            </a:pPr>
            <a:r>
              <a:rPr sz="1400">
                <a:solidFill>
                  <a:srgbClr val="1A1A1A"/>
                </a:solidFill>
                <a:latin typeface="Segoe UI Light"/>
                <a:cs typeface="Segoe UI Light"/>
                <a:sym typeface="Segoe UI Light"/>
              </a:rPr>
              <a:t>The </a:t>
            </a:r>
            <a:r>
              <a:rPr sz="1400" b="1">
                <a:solidFill>
                  <a:srgbClr val="0078D4">
                    <a:lumMod val="60000"/>
                    <a:lumOff val="40000"/>
                  </a:srgbClr>
                </a:solidFill>
                <a:latin typeface="Segoe UI Light"/>
                <a:cs typeface="Segoe UI Light"/>
                <a:sym typeface="Segoe UI Light"/>
              </a:rPr>
              <a:t>batch</a:t>
            </a:r>
            <a:r>
              <a:rPr sz="1400">
                <a:solidFill>
                  <a:srgbClr val="1A1A1A"/>
                </a:solidFill>
                <a:latin typeface="Segoe UI Light"/>
                <a:cs typeface="Segoe UI Light"/>
                <a:sym typeface="Segoe UI Light"/>
              </a:rPr>
              <a:t> layer has a master dataset (immutable, append-only set of raw data) and pre-compute the batch views</a:t>
            </a:r>
          </a:p>
          <a:p>
            <a:pPr marL="187157" indent="-187157" defTabSz="914367">
              <a:spcBef>
                <a:spcPts val="1000"/>
              </a:spcBef>
              <a:buSzPct val="100000"/>
              <a:buFontTx/>
              <a:buAutoNum type="arabicPeriod"/>
              <a:defRPr sz="1400">
                <a:latin typeface="Segoe UI Light"/>
                <a:ea typeface="Segoe UI Light"/>
                <a:cs typeface="Segoe UI Light"/>
                <a:sym typeface="Segoe UI Light"/>
              </a:defRPr>
            </a:pPr>
            <a:r>
              <a:rPr sz="1400">
                <a:solidFill>
                  <a:srgbClr val="1A1A1A"/>
                </a:solidFill>
                <a:latin typeface="Segoe UI Light"/>
                <a:cs typeface="Segoe UI Light"/>
                <a:sym typeface="Segoe UI Light"/>
              </a:rPr>
              <a:t>The </a:t>
            </a:r>
            <a:r>
              <a:rPr sz="1400" b="1">
                <a:solidFill>
                  <a:srgbClr val="D83B01">
                    <a:lumMod val="75000"/>
                  </a:srgbClr>
                </a:solidFill>
                <a:latin typeface="Segoe UI Light"/>
                <a:cs typeface="Segoe UI Light"/>
                <a:sym typeface="Segoe UI Light"/>
              </a:rPr>
              <a:t>serving</a:t>
            </a:r>
            <a:r>
              <a:rPr sz="1400" b="1">
                <a:solidFill>
                  <a:srgbClr val="1A1A1A"/>
                </a:solidFill>
                <a:latin typeface="Segoe UI Light"/>
                <a:cs typeface="Segoe UI Light"/>
                <a:sym typeface="Segoe UI Light"/>
              </a:rPr>
              <a:t> </a:t>
            </a:r>
            <a:r>
              <a:rPr sz="1400">
                <a:solidFill>
                  <a:srgbClr val="1A1A1A"/>
                </a:solidFill>
                <a:latin typeface="Segoe UI Light"/>
                <a:cs typeface="Segoe UI Light"/>
                <a:sym typeface="Segoe UI Light"/>
              </a:rPr>
              <a:t>layer has batch views so data for fast queries.  </a:t>
            </a:r>
          </a:p>
          <a:p>
            <a:pPr marL="187157" indent="-187157" defTabSz="914367">
              <a:spcBef>
                <a:spcPts val="1000"/>
              </a:spcBef>
              <a:buSzPct val="100000"/>
              <a:buFontTx/>
              <a:buAutoNum type="arabicPeriod"/>
              <a:defRPr sz="1400">
                <a:latin typeface="Segoe UI Light"/>
                <a:ea typeface="Segoe UI Light"/>
                <a:cs typeface="Segoe UI Light"/>
                <a:sym typeface="Segoe UI Light"/>
              </a:defRPr>
            </a:pPr>
            <a:r>
              <a:rPr sz="1400">
                <a:solidFill>
                  <a:srgbClr val="1A1A1A"/>
                </a:solidFill>
                <a:latin typeface="Segoe UI Light"/>
                <a:cs typeface="Segoe UI Light"/>
                <a:sym typeface="Segoe UI Light"/>
              </a:rPr>
              <a:t>The </a:t>
            </a:r>
            <a:r>
              <a:rPr sz="1400" b="1">
                <a:solidFill>
                  <a:srgbClr val="737373">
                    <a:satOff val="-3547"/>
                    <a:lumOff val="-10352"/>
                  </a:srgbClr>
                </a:solidFill>
                <a:latin typeface="Segoe UI Light"/>
                <a:cs typeface="Segoe UI Light"/>
                <a:sym typeface="Segoe UI Light"/>
              </a:rPr>
              <a:t>speed</a:t>
            </a:r>
            <a:r>
              <a:rPr sz="1400">
                <a:solidFill>
                  <a:srgbClr val="1A1A1A"/>
                </a:solidFill>
                <a:latin typeface="Segoe UI Light"/>
                <a:cs typeface="Segoe UI Light"/>
                <a:sym typeface="Segoe UI Light"/>
              </a:rPr>
              <a:t> layer compensates for processing time (to serving layer) and deals with recent data only.</a:t>
            </a:r>
          </a:p>
          <a:p>
            <a:pPr marL="187157" indent="-187157" defTabSz="914367">
              <a:spcBef>
                <a:spcPts val="1000"/>
              </a:spcBef>
              <a:buSzPct val="100000"/>
              <a:buFontTx/>
              <a:buAutoNum type="arabicPeriod"/>
              <a:defRPr sz="1400">
                <a:latin typeface="Segoe UI Light"/>
                <a:ea typeface="Segoe UI Light"/>
                <a:cs typeface="Segoe UI Light"/>
                <a:sym typeface="Segoe UI Light"/>
              </a:defRPr>
            </a:pPr>
            <a:r>
              <a:rPr sz="1400">
                <a:solidFill>
                  <a:srgbClr val="1A1A1A"/>
                </a:solidFill>
                <a:latin typeface="Segoe UI Light"/>
                <a:cs typeface="Segoe UI Light"/>
                <a:sym typeface="Segoe UI Light"/>
              </a:rPr>
              <a:t>All queries can be answered by merging results from batch views and real-time views.</a:t>
            </a:r>
          </a:p>
        </p:txBody>
      </p:sp>
      <p:cxnSp>
        <p:nvCxnSpPr>
          <p:cNvPr id="87" name="Connection Line">
            <a:extLst>
              <a:ext uri="{FF2B5EF4-FFF2-40B4-BE49-F238E27FC236}">
                <a16:creationId xmlns:a16="http://schemas.microsoft.com/office/drawing/2014/main" id="{7026AA1B-CDDE-4E4E-8F6D-C1974D34441B}"/>
              </a:ext>
            </a:extLst>
          </p:cNvPr>
          <p:cNvCxnSpPr>
            <a:cxnSpLocks/>
          </p:cNvCxnSpPr>
          <p:nvPr/>
        </p:nvCxnSpPr>
        <p:spPr>
          <a:xfrm flipV="1">
            <a:off x="1987243" y="3612817"/>
            <a:ext cx="2371688" cy="1881693"/>
          </a:xfrm>
          <a:prstGeom prst="straightConnector1">
            <a:avLst/>
          </a:prstGeom>
          <a:ln w="19050">
            <a:solidFill>
              <a:schemeClr val="accent5">
                <a:satOff val="-3547"/>
                <a:lumOff val="-10352"/>
              </a:schemeClr>
            </a:solidFill>
            <a:prstDash val="sysDot"/>
            <a:miter lim="400000"/>
            <a:headEnd type="triangle"/>
          </a:ln>
        </p:spPr>
      </p:cxnSp>
      <p:sp>
        <p:nvSpPr>
          <p:cNvPr id="88" name="Connection Line">
            <a:extLst>
              <a:ext uri="{FF2B5EF4-FFF2-40B4-BE49-F238E27FC236}">
                <a16:creationId xmlns:a16="http://schemas.microsoft.com/office/drawing/2014/main" id="{5276B895-64B9-CC47-93E7-A55B0DA5094A}"/>
              </a:ext>
            </a:extLst>
          </p:cNvPr>
          <p:cNvSpPr/>
          <p:nvPr/>
        </p:nvSpPr>
        <p:spPr>
          <a:xfrm>
            <a:off x="2420593" y="5329532"/>
            <a:ext cx="4176960" cy="1099858"/>
          </a:xfrm>
          <a:custGeom>
            <a:avLst/>
            <a:gdLst/>
            <a:ahLst/>
            <a:cxnLst>
              <a:cxn ang="0">
                <a:pos x="wd2" y="hd2"/>
              </a:cxn>
              <a:cxn ang="5400000">
                <a:pos x="wd2" y="hd2"/>
              </a:cxn>
              <a:cxn ang="10800000">
                <a:pos x="wd2" y="hd2"/>
              </a:cxn>
              <a:cxn ang="16200000">
                <a:pos x="wd2" y="hd2"/>
              </a:cxn>
            </a:cxnLst>
            <a:rect l="0" t="0" r="r" b="b"/>
            <a:pathLst>
              <a:path w="21600" h="16338" extrusionOk="0">
                <a:moveTo>
                  <a:pt x="0" y="5448"/>
                </a:moveTo>
                <a:cubicBezTo>
                  <a:pt x="12548" y="21600"/>
                  <a:pt x="19748" y="19784"/>
                  <a:pt x="21600" y="0"/>
                </a:cubicBezTo>
              </a:path>
            </a:pathLst>
          </a:custGeom>
          <a:ln w="19050">
            <a:solidFill>
              <a:schemeClr val="accent5">
                <a:satOff val="-3547"/>
                <a:lumOff val="-10352"/>
              </a:schemeClr>
            </a:solidFill>
            <a:prstDash val="sysDot"/>
            <a:miter lim="400000"/>
            <a:headEnd type="triangle"/>
          </a:ln>
        </p:spPr>
        <p:txBody>
          <a:bodyPr/>
          <a:lstStyle/>
          <a:p>
            <a:pPr defTabSz="914367"/>
            <a:endParaRPr sz="1765">
              <a:solidFill>
                <a:srgbClr val="FFFFFF"/>
              </a:solidFill>
              <a:latin typeface="Segoe UI"/>
            </a:endParaRPr>
          </a:p>
        </p:txBody>
      </p:sp>
      <p:cxnSp>
        <p:nvCxnSpPr>
          <p:cNvPr id="89" name="Connection Line">
            <a:extLst>
              <a:ext uri="{FF2B5EF4-FFF2-40B4-BE49-F238E27FC236}">
                <a16:creationId xmlns:a16="http://schemas.microsoft.com/office/drawing/2014/main" id="{7215F98D-D27F-9140-BAE0-E6BEE33F84BD}"/>
              </a:ext>
            </a:extLst>
          </p:cNvPr>
          <p:cNvCxnSpPr>
            <a:cxnSpLocks/>
          </p:cNvCxnSpPr>
          <p:nvPr/>
        </p:nvCxnSpPr>
        <p:spPr>
          <a:xfrm flipV="1">
            <a:off x="1987243" y="4009081"/>
            <a:ext cx="1625422" cy="1485429"/>
          </a:xfrm>
          <a:prstGeom prst="straightConnector1">
            <a:avLst/>
          </a:prstGeom>
          <a:ln w="19050">
            <a:solidFill>
              <a:schemeClr val="accent6">
                <a:lumOff val="-9568"/>
              </a:schemeClr>
            </a:solidFill>
            <a:prstDash val="sysDot"/>
            <a:miter lim="400000"/>
            <a:headEnd type="triangle"/>
          </a:ln>
        </p:spPr>
      </p:cxnSp>
      <p:cxnSp>
        <p:nvCxnSpPr>
          <p:cNvPr id="90" name="Connection Line">
            <a:extLst>
              <a:ext uri="{FF2B5EF4-FFF2-40B4-BE49-F238E27FC236}">
                <a16:creationId xmlns:a16="http://schemas.microsoft.com/office/drawing/2014/main" id="{4FD5847C-B89E-4D4B-A708-84928C377B55}"/>
              </a:ext>
            </a:extLst>
          </p:cNvPr>
          <p:cNvCxnSpPr>
            <a:cxnSpLocks/>
          </p:cNvCxnSpPr>
          <p:nvPr/>
        </p:nvCxnSpPr>
        <p:spPr>
          <a:xfrm flipV="1">
            <a:off x="1987243" y="4419681"/>
            <a:ext cx="1625422" cy="1074829"/>
          </a:xfrm>
          <a:prstGeom prst="straightConnector1">
            <a:avLst/>
          </a:prstGeom>
          <a:ln w="19050">
            <a:solidFill>
              <a:schemeClr val="accent6">
                <a:lumOff val="-9568"/>
              </a:schemeClr>
            </a:solidFill>
            <a:prstDash val="sysDot"/>
            <a:miter lim="400000"/>
            <a:headEnd type="triangle"/>
          </a:ln>
        </p:spPr>
      </p:cxnSp>
      <p:pic>
        <p:nvPicPr>
          <p:cNvPr id="43" name="Picture 42">
            <a:extLst>
              <a:ext uri="{FF2B5EF4-FFF2-40B4-BE49-F238E27FC236}">
                <a16:creationId xmlns:a16="http://schemas.microsoft.com/office/drawing/2014/main" id="{C480B3A9-32AE-6E48-9E60-6B58FDFF27C9}"/>
              </a:ext>
            </a:extLst>
          </p:cNvPr>
          <p:cNvPicPr>
            <a:picLocks noChangeAspect="1"/>
          </p:cNvPicPr>
          <p:nvPr/>
        </p:nvPicPr>
        <p:blipFill>
          <a:blip r:embed="rId8"/>
          <a:stretch>
            <a:fillRect/>
          </a:stretch>
        </p:blipFill>
        <p:spPr>
          <a:xfrm>
            <a:off x="3127015" y="2543615"/>
            <a:ext cx="920701" cy="920701"/>
          </a:xfrm>
          <a:prstGeom prst="rect">
            <a:avLst/>
          </a:prstGeom>
        </p:spPr>
      </p:pic>
    </p:spTree>
    <p:extLst>
      <p:ext uri="{BB962C8B-B14F-4D97-AF65-F5344CB8AC3E}">
        <p14:creationId xmlns:p14="http://schemas.microsoft.com/office/powerpoint/2010/main" val="2573534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7027420" cy="5270565"/>
          </a:xfrm>
          <a:prstGeom prst="rect">
            <a:avLst/>
          </a:prstGeom>
        </p:spPr>
      </p:pic>
      <p:sp>
        <p:nvSpPr>
          <p:cNvPr id="3" name="Content Placeholder 2">
            <a:extLst>
              <a:ext uri="{FF2B5EF4-FFF2-40B4-BE49-F238E27FC236}">
                <a16:creationId xmlns:a16="http://schemas.microsoft.com/office/drawing/2014/main" id="{66693864-CA78-4262-8AD7-30B40F76C798}"/>
              </a:ext>
            </a:extLst>
          </p:cNvPr>
          <p:cNvSpPr txBox="1">
            <a:spLocks/>
          </p:cNvSpPr>
          <p:nvPr/>
        </p:nvSpPr>
        <p:spPr>
          <a:xfrm>
            <a:off x="7384774" y="2746651"/>
            <a:ext cx="4926496" cy="3355975"/>
          </a:xfrm>
          <a:prstGeom prst="rect">
            <a:avLst/>
          </a:prstGeom>
        </p:spPr>
        <p:txBody>
          <a:bodyPr>
            <a:normAutofit fontScale="40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4500" b="1" dirty="0"/>
              <a:t>Why Azure Cosmos DB:</a:t>
            </a:r>
            <a:endParaRPr lang="en-US" sz="3500" b="1" dirty="0"/>
          </a:p>
          <a:p>
            <a:r>
              <a:rPr lang="en-US" dirty="0"/>
              <a:t>Polyglot Hub for our IoT Data</a:t>
            </a:r>
            <a:br>
              <a:rPr lang="en-US" dirty="0"/>
            </a:br>
            <a:endParaRPr lang="en-US" dirty="0"/>
          </a:p>
          <a:p>
            <a:r>
              <a:rPr lang="en-US" dirty="0"/>
              <a:t>Either store directly or store pointers into other systems</a:t>
            </a:r>
          </a:p>
          <a:p>
            <a:pPr lvl="1"/>
            <a:r>
              <a:rPr lang="en-US" dirty="0"/>
              <a:t>Semi-structured data, with semantic translations/”Master” schema included</a:t>
            </a:r>
          </a:p>
          <a:p>
            <a:pPr lvl="1"/>
            <a:r>
              <a:rPr lang="en-US" dirty="0"/>
              <a:t>Attachments for other data types – easier for application and </a:t>
            </a:r>
            <a:r>
              <a:rPr lang="en-US" dirty="0" err="1"/>
              <a:t>mutli</a:t>
            </a:r>
            <a:r>
              <a:rPr lang="en-US" dirty="0"/>
              <a:t>-system transactions</a:t>
            </a:r>
            <a:br>
              <a:rPr lang="en-US" dirty="0"/>
            </a:br>
            <a:endParaRPr lang="en-US" dirty="0"/>
          </a:p>
          <a:p>
            <a:r>
              <a:rPr lang="en-US" dirty="0"/>
              <a:t>Multiple Access Types</a:t>
            </a:r>
          </a:p>
          <a:p>
            <a:pPr lvl="1"/>
            <a:r>
              <a:rPr lang="en-US" dirty="0"/>
              <a:t>Fast enough for simple Key-Value</a:t>
            </a:r>
          </a:p>
          <a:p>
            <a:pPr lvl="1"/>
            <a:r>
              <a:rPr lang="en-US" dirty="0"/>
              <a:t>Document for semi-structured data</a:t>
            </a:r>
          </a:p>
          <a:p>
            <a:pPr lvl="1"/>
            <a:r>
              <a:rPr lang="en-US" dirty="0"/>
              <a:t>SQL query language and built-in aggregations</a:t>
            </a:r>
            <a:br>
              <a:rPr lang="en-US" dirty="0"/>
            </a:br>
            <a:endParaRPr lang="en-US" dirty="0"/>
          </a:p>
          <a:p>
            <a:r>
              <a:rPr lang="en-US" dirty="0"/>
              <a:t>Integration with Azure Search</a:t>
            </a:r>
          </a:p>
          <a:p>
            <a:pPr marL="0" indent="0">
              <a:buFont typeface="Arial" panose="020B0604020202020204" pitchFamily="34" charset="0"/>
              <a:buNone/>
            </a:pPr>
            <a:endParaRPr lang="en-US" dirty="0"/>
          </a:p>
          <a:p>
            <a:r>
              <a:rPr lang="en-US" dirty="0"/>
              <a:t>Elasticity, easy scale up as needed, great performance</a:t>
            </a:r>
          </a:p>
          <a:p>
            <a:endParaRPr lang="en-US" dirty="0"/>
          </a:p>
        </p:txBody>
      </p:sp>
      <p:pic>
        <p:nvPicPr>
          <p:cNvPr id="6146" name="Picture 2" descr="Image result for johnson controls">
            <a:extLst>
              <a:ext uri="{FF2B5EF4-FFF2-40B4-BE49-F238E27FC236}">
                <a16:creationId xmlns:a16="http://schemas.microsoft.com/office/drawing/2014/main" id="{5FB8F206-F536-4206-9CD6-0D7B6686DDA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249996" y="185530"/>
            <a:ext cx="4809482" cy="2213113"/>
          </a:xfrm>
          <a:prstGeom prst="rect">
            <a:avLst/>
          </a:prstGeom>
          <a:noFill/>
          <a:extLst>
            <a:ext uri="{909E8E84-426E-40DD-AFC4-6F175D3DCCD1}">
              <a14:hiddenFill xmlns:a14="http://schemas.microsoft.com/office/drawing/2010/main">
                <a:solidFill>
                  <a:srgbClr val="FFFFFF"/>
                </a:solidFill>
              </a14:hiddenFill>
            </a:ext>
          </a:extLst>
        </p:spPr>
      </p:pic>
      <p:sp>
        <p:nvSpPr>
          <p:cNvPr id="6" name="Content Placeholder 2">
            <a:extLst>
              <a:ext uri="{FF2B5EF4-FFF2-40B4-BE49-F238E27FC236}">
                <a16:creationId xmlns:a16="http://schemas.microsoft.com/office/drawing/2014/main" id="{328E9FEB-8DE8-446B-A7D3-469FF51EA578}"/>
              </a:ext>
            </a:extLst>
          </p:cNvPr>
          <p:cNvSpPr txBox="1">
            <a:spLocks/>
          </p:cNvSpPr>
          <p:nvPr/>
        </p:nvSpPr>
        <p:spPr>
          <a:xfrm>
            <a:off x="347870" y="5233925"/>
            <a:ext cx="8100391" cy="1923015"/>
          </a:xfrm>
          <a:prstGeom prst="rect">
            <a:avLst/>
          </a:prstGeom>
        </p:spPr>
        <p:txBody>
          <a:bodyPr>
            <a:normAutofit fontScale="6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Time Series Processing System</a:t>
            </a:r>
          </a:p>
          <a:p>
            <a:pPr lvl="1"/>
            <a:r>
              <a:rPr lang="en-US" dirty="0"/>
              <a:t>Have our own processing engine – many logical streams</a:t>
            </a:r>
          </a:p>
          <a:p>
            <a:pPr lvl="2"/>
            <a:r>
              <a:rPr lang="en-US" dirty="0"/>
              <a:t>Streams may feed streams, each with different </a:t>
            </a:r>
          </a:p>
          <a:p>
            <a:pPr lvl="1"/>
            <a:r>
              <a:rPr lang="en-US" b="1" dirty="0"/>
              <a:t>Cosmos DB as an data platform</a:t>
            </a:r>
          </a:p>
          <a:p>
            <a:pPr lvl="1"/>
            <a:r>
              <a:rPr lang="en-US" b="1" dirty="0"/>
              <a:t>Flexibility is great: store single events or wide, densely packed samples</a:t>
            </a:r>
          </a:p>
          <a:p>
            <a:pPr lvl="1"/>
            <a:r>
              <a:rPr lang="en-US" b="1" dirty="0"/>
              <a:t>Scale up as needed</a:t>
            </a:r>
          </a:p>
          <a:p>
            <a:pPr lvl="1"/>
            <a:r>
              <a:rPr lang="en-US" b="1" dirty="0"/>
              <a:t>1000s of Chillers in our system, each with many sensors</a:t>
            </a:r>
          </a:p>
          <a:p>
            <a:pPr lvl="1"/>
            <a:r>
              <a:rPr lang="en-US" b="1" dirty="0"/>
              <a:t>Global Footprint</a:t>
            </a:r>
          </a:p>
        </p:txBody>
      </p:sp>
    </p:spTree>
    <p:extLst>
      <p:ext uri="{BB962C8B-B14F-4D97-AF65-F5344CB8AC3E}">
        <p14:creationId xmlns:p14="http://schemas.microsoft.com/office/powerpoint/2010/main" val="1906549312"/>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BB458DD-AD33-3140-A210-68D4BFC7FEAE}"/>
              </a:ext>
            </a:extLst>
          </p:cNvPr>
          <p:cNvSpPr>
            <a:spLocks noGrp="1"/>
          </p:cNvSpPr>
          <p:nvPr>
            <p:ph type="title"/>
          </p:nvPr>
        </p:nvSpPr>
        <p:spPr/>
        <p:txBody>
          <a:bodyPr/>
          <a:lstStyle/>
          <a:p>
            <a:r>
              <a:rPr lang="en-US"/>
              <a:t>Let’s consider a smart building scenario</a:t>
            </a:r>
          </a:p>
        </p:txBody>
      </p:sp>
      <p:pic>
        <p:nvPicPr>
          <p:cNvPr id="5" name="Picture 4">
            <a:extLst>
              <a:ext uri="{FF2B5EF4-FFF2-40B4-BE49-F238E27FC236}">
                <a16:creationId xmlns:a16="http://schemas.microsoft.com/office/drawing/2014/main" id="{6B6572D9-6D2B-E741-B6FA-AB7A1713A86C}"/>
              </a:ext>
            </a:extLst>
          </p:cNvPr>
          <p:cNvPicPr>
            <a:picLocks noChangeAspect="1"/>
          </p:cNvPicPr>
          <p:nvPr/>
        </p:nvPicPr>
        <p:blipFill>
          <a:blip r:embed="rId3"/>
          <a:stretch>
            <a:fillRect/>
          </a:stretch>
        </p:blipFill>
        <p:spPr>
          <a:xfrm>
            <a:off x="2441334" y="1666993"/>
            <a:ext cx="7312378" cy="4874919"/>
          </a:xfrm>
          <a:prstGeom prst="rect">
            <a:avLst/>
          </a:prstGeom>
        </p:spPr>
      </p:pic>
    </p:spTree>
    <p:extLst>
      <p:ext uri="{BB962C8B-B14F-4D97-AF65-F5344CB8AC3E}">
        <p14:creationId xmlns:p14="http://schemas.microsoft.com/office/powerpoint/2010/main" val="3692779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B6572D9-6D2B-E741-B6FA-AB7A1713A86C}"/>
              </a:ext>
            </a:extLst>
          </p:cNvPr>
          <p:cNvPicPr>
            <a:picLocks noChangeAspect="1"/>
          </p:cNvPicPr>
          <p:nvPr/>
        </p:nvPicPr>
        <p:blipFill>
          <a:blip r:embed="rId3"/>
          <a:stretch>
            <a:fillRect/>
          </a:stretch>
        </p:blipFill>
        <p:spPr>
          <a:xfrm>
            <a:off x="583464" y="4162108"/>
            <a:ext cx="3185153" cy="2123435"/>
          </a:xfrm>
          <a:prstGeom prst="rect">
            <a:avLst/>
          </a:prstGeom>
        </p:spPr>
      </p:pic>
      <p:pic>
        <p:nvPicPr>
          <p:cNvPr id="4" name="Picture 3">
            <a:extLst>
              <a:ext uri="{FF2B5EF4-FFF2-40B4-BE49-F238E27FC236}">
                <a16:creationId xmlns:a16="http://schemas.microsoft.com/office/drawing/2014/main" id="{465FF49B-FB1E-7042-99E9-155E526EAEDC}"/>
              </a:ext>
            </a:extLst>
          </p:cNvPr>
          <p:cNvPicPr>
            <a:picLocks noChangeAspect="1"/>
          </p:cNvPicPr>
          <p:nvPr/>
        </p:nvPicPr>
        <p:blipFill>
          <a:blip r:embed="rId4"/>
          <a:stretch>
            <a:fillRect/>
          </a:stretch>
        </p:blipFill>
        <p:spPr>
          <a:xfrm>
            <a:off x="2230517" y="2140896"/>
            <a:ext cx="832074" cy="1033159"/>
          </a:xfrm>
          <a:prstGeom prst="rect">
            <a:avLst/>
          </a:prstGeom>
        </p:spPr>
      </p:pic>
      <p:pic>
        <p:nvPicPr>
          <p:cNvPr id="6" name="Picture 2" descr="https://www.codeproject.com/KB/azure/1169531/iot-workflow.png">
            <a:extLst>
              <a:ext uri="{FF2B5EF4-FFF2-40B4-BE49-F238E27FC236}">
                <a16:creationId xmlns:a16="http://schemas.microsoft.com/office/drawing/2014/main" id="{A037E32D-0F03-5A47-9D4D-EEAB08FCC9C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54567" t="16331" r="28444" b="17187"/>
          <a:stretch/>
        </p:blipFill>
        <p:spPr bwMode="auto">
          <a:xfrm>
            <a:off x="4321564" y="2243841"/>
            <a:ext cx="858206" cy="735399"/>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descr="Image">
            <a:extLst>
              <a:ext uri="{FF2B5EF4-FFF2-40B4-BE49-F238E27FC236}">
                <a16:creationId xmlns:a16="http://schemas.microsoft.com/office/drawing/2014/main" id="{0DBDE443-0C31-9047-AEB6-C86E044DA824}"/>
              </a:ext>
            </a:extLst>
          </p:cNvPr>
          <p:cNvPicPr>
            <a:picLocks noChangeAspect="1"/>
          </p:cNvPicPr>
          <p:nvPr/>
        </p:nvPicPr>
        <p:blipFill>
          <a:blip r:embed="rId6">
            <a:extLst/>
          </a:blip>
          <a:stretch>
            <a:fillRect/>
          </a:stretch>
        </p:blipFill>
        <p:spPr>
          <a:xfrm>
            <a:off x="8190295" y="2412446"/>
            <a:ext cx="879431" cy="458037"/>
          </a:xfrm>
          <a:prstGeom prst="rect">
            <a:avLst/>
          </a:prstGeom>
          <a:solidFill>
            <a:srgbClr val="E6E6E6"/>
          </a:solidFill>
          <a:ln w="12700">
            <a:miter lim="400000"/>
          </a:ln>
        </p:spPr>
      </p:pic>
      <p:pic>
        <p:nvPicPr>
          <p:cNvPr id="10" name="Picture 4" descr="https://datasciencebe.files.wordpress.com/2015/10/spark-streaming-logo_0.png">
            <a:extLst>
              <a:ext uri="{FF2B5EF4-FFF2-40B4-BE49-F238E27FC236}">
                <a16:creationId xmlns:a16="http://schemas.microsoft.com/office/drawing/2014/main" id="{8CFA1DF7-A906-2E42-B2CF-DF82058327D8}"/>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601918" y="5652819"/>
            <a:ext cx="1021932" cy="696192"/>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77627ACA-4466-9A4B-B4AE-84FA609A4BD3}"/>
              </a:ext>
            </a:extLst>
          </p:cNvPr>
          <p:cNvGrpSpPr/>
          <p:nvPr/>
        </p:nvGrpSpPr>
        <p:grpSpPr>
          <a:xfrm>
            <a:off x="6601919" y="3944016"/>
            <a:ext cx="912339" cy="1045794"/>
            <a:chOff x="6425220" y="2390671"/>
            <a:chExt cx="1042747" cy="1383196"/>
          </a:xfrm>
        </p:grpSpPr>
        <p:sp>
          <p:nvSpPr>
            <p:cNvPr id="11" name="Rectangle">
              <a:extLst>
                <a:ext uri="{FF2B5EF4-FFF2-40B4-BE49-F238E27FC236}">
                  <a16:creationId xmlns:a16="http://schemas.microsoft.com/office/drawing/2014/main" id="{E22088E9-356A-B645-AD6F-390CC5167762}"/>
                </a:ext>
              </a:extLst>
            </p:cNvPr>
            <p:cNvSpPr/>
            <p:nvPr/>
          </p:nvSpPr>
          <p:spPr>
            <a:xfrm>
              <a:off x="6527613" y="2390671"/>
              <a:ext cx="599695" cy="163667"/>
            </a:xfrm>
            <a:prstGeom prst="rect">
              <a:avLst/>
            </a:prstGeom>
            <a:solidFill>
              <a:srgbClr val="0078D7"/>
            </a:solidFill>
            <a:ln w="12700">
              <a:miter lim="400000"/>
            </a:ln>
          </p:spPr>
          <p:txBody>
            <a:bodyPr lIns="45719" rIns="45719" anchor="ctr"/>
            <a:lstStyle/>
            <a:p>
              <a:pPr defTabSz="914367"/>
              <a:endParaRPr sz="1765">
                <a:solidFill>
                  <a:srgbClr val="FFFFFF"/>
                </a:solidFill>
                <a:latin typeface="Segoe UI"/>
              </a:endParaRPr>
            </a:p>
          </p:txBody>
        </p:sp>
        <p:sp>
          <p:nvSpPr>
            <p:cNvPr id="12" name="Rectangle">
              <a:extLst>
                <a:ext uri="{FF2B5EF4-FFF2-40B4-BE49-F238E27FC236}">
                  <a16:creationId xmlns:a16="http://schemas.microsoft.com/office/drawing/2014/main" id="{CC01018E-C6BA-D946-B7DA-B2FFFD6A5418}"/>
                </a:ext>
              </a:extLst>
            </p:cNvPr>
            <p:cNvSpPr/>
            <p:nvPr/>
          </p:nvSpPr>
          <p:spPr>
            <a:xfrm>
              <a:off x="6527613" y="2582563"/>
              <a:ext cx="599695" cy="163666"/>
            </a:xfrm>
            <a:prstGeom prst="rect">
              <a:avLst/>
            </a:prstGeom>
            <a:solidFill>
              <a:srgbClr val="B9D80A"/>
            </a:solidFill>
            <a:ln w="12700">
              <a:miter lim="400000"/>
            </a:ln>
          </p:spPr>
          <p:txBody>
            <a:bodyPr lIns="45719" rIns="45719" anchor="ctr"/>
            <a:lstStyle/>
            <a:p>
              <a:pPr defTabSz="914367"/>
              <a:endParaRPr sz="1765">
                <a:solidFill>
                  <a:srgbClr val="FFFFFF"/>
                </a:solidFill>
                <a:latin typeface="Segoe UI"/>
              </a:endParaRPr>
            </a:p>
          </p:txBody>
        </p:sp>
        <p:sp>
          <p:nvSpPr>
            <p:cNvPr id="13" name="Rectangle">
              <a:extLst>
                <a:ext uri="{FF2B5EF4-FFF2-40B4-BE49-F238E27FC236}">
                  <a16:creationId xmlns:a16="http://schemas.microsoft.com/office/drawing/2014/main" id="{78680DB5-666F-AF49-B72E-C943A97070C6}"/>
                </a:ext>
              </a:extLst>
            </p:cNvPr>
            <p:cNvSpPr/>
            <p:nvPr/>
          </p:nvSpPr>
          <p:spPr>
            <a:xfrm>
              <a:off x="6527613" y="2775388"/>
              <a:ext cx="599695" cy="163667"/>
            </a:xfrm>
            <a:prstGeom prst="rect">
              <a:avLst/>
            </a:prstGeom>
            <a:solidFill>
              <a:srgbClr val="0078D7"/>
            </a:solidFill>
            <a:ln w="12700">
              <a:miter lim="400000"/>
            </a:ln>
          </p:spPr>
          <p:txBody>
            <a:bodyPr lIns="45719" rIns="45719" anchor="ctr"/>
            <a:lstStyle/>
            <a:p>
              <a:pPr defTabSz="914367"/>
              <a:endParaRPr sz="1765">
                <a:solidFill>
                  <a:srgbClr val="FFFFFF"/>
                </a:solidFill>
                <a:latin typeface="Segoe UI"/>
              </a:endParaRPr>
            </a:p>
          </p:txBody>
        </p:sp>
        <p:sp>
          <p:nvSpPr>
            <p:cNvPr id="14" name="Rectangle">
              <a:extLst>
                <a:ext uri="{FF2B5EF4-FFF2-40B4-BE49-F238E27FC236}">
                  <a16:creationId xmlns:a16="http://schemas.microsoft.com/office/drawing/2014/main" id="{8468C18A-6A05-EA48-83BE-AE0093B0D6B7}"/>
                </a:ext>
              </a:extLst>
            </p:cNvPr>
            <p:cNvSpPr/>
            <p:nvPr/>
          </p:nvSpPr>
          <p:spPr>
            <a:xfrm>
              <a:off x="6527613" y="2967279"/>
              <a:ext cx="599695" cy="163667"/>
            </a:xfrm>
            <a:prstGeom prst="rect">
              <a:avLst/>
            </a:prstGeom>
            <a:solidFill>
              <a:srgbClr val="B9D80A"/>
            </a:solidFill>
            <a:ln w="12700">
              <a:miter lim="400000"/>
            </a:ln>
          </p:spPr>
          <p:txBody>
            <a:bodyPr lIns="45719" rIns="45719" anchor="ctr"/>
            <a:lstStyle/>
            <a:p>
              <a:pPr defTabSz="914367"/>
              <a:endParaRPr sz="1765">
                <a:solidFill>
                  <a:srgbClr val="FFFFFF"/>
                </a:solidFill>
                <a:latin typeface="Segoe UI"/>
              </a:endParaRPr>
            </a:p>
          </p:txBody>
        </p:sp>
        <p:sp>
          <p:nvSpPr>
            <p:cNvPr id="15" name="change feed">
              <a:extLst>
                <a:ext uri="{FF2B5EF4-FFF2-40B4-BE49-F238E27FC236}">
                  <a16:creationId xmlns:a16="http://schemas.microsoft.com/office/drawing/2014/main" id="{2061A6AD-1DA7-DC46-9472-CB2CDA3AAFF9}"/>
                </a:ext>
              </a:extLst>
            </p:cNvPr>
            <p:cNvSpPr txBox="1"/>
            <p:nvPr/>
          </p:nvSpPr>
          <p:spPr>
            <a:xfrm>
              <a:off x="6425220" y="3163256"/>
              <a:ext cx="1042747" cy="610611"/>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defRPr sz="1200">
                  <a:latin typeface="Segoe UI Light"/>
                  <a:ea typeface="Segoe UI Light"/>
                  <a:cs typeface="Segoe UI Light"/>
                  <a:sym typeface="Segoe UI Light"/>
                </a:defRPr>
              </a:lvl1pPr>
            </a:lstStyle>
            <a:p>
              <a:pPr defTabSz="914367"/>
              <a:r>
                <a:rPr lang="en-US">
                  <a:solidFill>
                    <a:srgbClr val="1A1A1A"/>
                  </a:solidFill>
                </a:rPr>
                <a:t>CosmosDB </a:t>
              </a:r>
              <a:r>
                <a:rPr>
                  <a:solidFill>
                    <a:srgbClr val="1A1A1A"/>
                  </a:solidFill>
                </a:rPr>
                <a:t>change feed</a:t>
              </a:r>
            </a:p>
          </p:txBody>
        </p:sp>
      </p:grpSp>
      <p:pic>
        <p:nvPicPr>
          <p:cNvPr id="16" name="Picture 15">
            <a:extLst>
              <a:ext uri="{FF2B5EF4-FFF2-40B4-BE49-F238E27FC236}">
                <a16:creationId xmlns:a16="http://schemas.microsoft.com/office/drawing/2014/main" id="{4FB938DC-A282-DE44-B6FF-DC1FF675B6A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769777" y="4818166"/>
            <a:ext cx="837006" cy="985414"/>
          </a:xfrm>
          <a:prstGeom prst="rect">
            <a:avLst/>
          </a:prstGeom>
        </p:spPr>
      </p:pic>
      <p:pic>
        <p:nvPicPr>
          <p:cNvPr id="17" name="Picture 16">
            <a:extLst>
              <a:ext uri="{FF2B5EF4-FFF2-40B4-BE49-F238E27FC236}">
                <a16:creationId xmlns:a16="http://schemas.microsoft.com/office/drawing/2014/main" id="{89E1EED1-E6FB-8B41-8BDB-24AAAC4919F4}"/>
              </a:ext>
            </a:extLst>
          </p:cNvPr>
          <p:cNvPicPr>
            <a:picLocks noChangeAspect="1"/>
          </p:cNvPicPr>
          <p:nvPr/>
        </p:nvPicPr>
        <p:blipFill>
          <a:blip r:embed="rId9"/>
          <a:stretch>
            <a:fillRect/>
          </a:stretch>
        </p:blipFill>
        <p:spPr>
          <a:xfrm>
            <a:off x="8112091" y="1845125"/>
            <a:ext cx="517919" cy="608613"/>
          </a:xfrm>
          <a:prstGeom prst="rect">
            <a:avLst/>
          </a:prstGeom>
        </p:spPr>
      </p:pic>
      <p:cxnSp>
        <p:nvCxnSpPr>
          <p:cNvPr id="18" name="Straight Arrow Connector 17">
            <a:extLst>
              <a:ext uri="{FF2B5EF4-FFF2-40B4-BE49-F238E27FC236}">
                <a16:creationId xmlns:a16="http://schemas.microsoft.com/office/drawing/2014/main" id="{31DA927F-B652-C34D-A62D-F9FAFA9284E9}"/>
              </a:ext>
            </a:extLst>
          </p:cNvPr>
          <p:cNvCxnSpPr>
            <a:cxnSpLocks/>
          </p:cNvCxnSpPr>
          <p:nvPr/>
        </p:nvCxnSpPr>
        <p:spPr>
          <a:xfrm flipV="1">
            <a:off x="2176040" y="3244828"/>
            <a:ext cx="470515" cy="8442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18D831F6-9EA0-BD46-9BDA-7A65714C73B3}"/>
              </a:ext>
            </a:extLst>
          </p:cNvPr>
          <p:cNvCxnSpPr>
            <a:cxnSpLocks/>
          </p:cNvCxnSpPr>
          <p:nvPr/>
        </p:nvCxnSpPr>
        <p:spPr>
          <a:xfrm>
            <a:off x="3191984" y="2641464"/>
            <a:ext cx="1000189"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42416E84-C3E0-4440-B401-6DF44DC640E4}"/>
              </a:ext>
            </a:extLst>
          </p:cNvPr>
          <p:cNvCxnSpPr>
            <a:cxnSpLocks/>
          </p:cNvCxnSpPr>
          <p:nvPr/>
        </p:nvCxnSpPr>
        <p:spPr>
          <a:xfrm>
            <a:off x="5313861" y="2632340"/>
            <a:ext cx="1000189"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ED8505FA-4863-0B42-AA9F-99A69433BA8A}"/>
              </a:ext>
            </a:extLst>
          </p:cNvPr>
          <p:cNvCxnSpPr>
            <a:cxnSpLocks/>
          </p:cNvCxnSpPr>
          <p:nvPr/>
        </p:nvCxnSpPr>
        <p:spPr>
          <a:xfrm>
            <a:off x="7461127" y="2611538"/>
            <a:ext cx="594586"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B7559457-4D91-7247-BB08-F0DAC4D1B013}"/>
              </a:ext>
            </a:extLst>
          </p:cNvPr>
          <p:cNvCxnSpPr>
            <a:cxnSpLocks/>
          </p:cNvCxnSpPr>
          <p:nvPr/>
        </p:nvCxnSpPr>
        <p:spPr>
          <a:xfrm>
            <a:off x="9258783" y="2641463"/>
            <a:ext cx="594586"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45A754AE-6AE7-6143-A2B1-67D0FA11EB3C}"/>
              </a:ext>
            </a:extLst>
          </p:cNvPr>
          <p:cNvCxnSpPr>
            <a:cxnSpLocks/>
          </p:cNvCxnSpPr>
          <p:nvPr/>
        </p:nvCxnSpPr>
        <p:spPr>
          <a:xfrm>
            <a:off x="10730010" y="3148805"/>
            <a:ext cx="458271" cy="155386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1E6C4A58-46C0-CF4A-ADDC-17C62EF0F177}"/>
              </a:ext>
            </a:extLst>
          </p:cNvPr>
          <p:cNvCxnSpPr>
            <a:cxnSpLocks/>
          </p:cNvCxnSpPr>
          <p:nvPr/>
        </p:nvCxnSpPr>
        <p:spPr>
          <a:xfrm>
            <a:off x="6950161" y="3150862"/>
            <a:ext cx="0" cy="56296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FC37A477-F0AA-604E-B487-2400E4D12FC4}"/>
              </a:ext>
            </a:extLst>
          </p:cNvPr>
          <p:cNvCxnSpPr>
            <a:cxnSpLocks/>
          </p:cNvCxnSpPr>
          <p:nvPr/>
        </p:nvCxnSpPr>
        <p:spPr>
          <a:xfrm>
            <a:off x="6950161" y="5089859"/>
            <a:ext cx="0" cy="56296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A15153A1-8830-8347-A3DC-0B32BC3EFBCB}"/>
              </a:ext>
            </a:extLst>
          </p:cNvPr>
          <p:cNvSpPr txBox="1"/>
          <p:nvPr/>
        </p:nvSpPr>
        <p:spPr>
          <a:xfrm>
            <a:off x="6248545" y="1719019"/>
            <a:ext cx="1312690" cy="430887"/>
          </a:xfrm>
          <a:prstGeom prst="rect">
            <a:avLst/>
          </a:prstGeom>
          <a:noFill/>
        </p:spPr>
        <p:txBody>
          <a:bodyPr wrap="square" rtlCol="0">
            <a:spAutoFit/>
          </a:bodyPr>
          <a:lstStyle/>
          <a:p>
            <a:pPr algn="ctr" defTabSz="914225">
              <a:defRPr/>
            </a:pPr>
            <a:r>
              <a:rPr lang="en-US" sz="1100">
                <a:solidFill>
                  <a:prstClr val="black"/>
                </a:solidFill>
                <a:latin typeface="Segoe UI Light" panose="020B0502040204020203" pitchFamily="34" charset="0"/>
                <a:cs typeface="Segoe UI Light" panose="020B0502040204020203" pitchFamily="34" charset="0"/>
              </a:rPr>
              <a:t>Azure Cosmos DB (raw event data)</a:t>
            </a:r>
          </a:p>
        </p:txBody>
      </p:sp>
      <p:sp>
        <p:nvSpPr>
          <p:cNvPr id="33" name="TextBox 32">
            <a:extLst>
              <a:ext uri="{FF2B5EF4-FFF2-40B4-BE49-F238E27FC236}">
                <a16:creationId xmlns:a16="http://schemas.microsoft.com/office/drawing/2014/main" id="{69D6A94D-6CF0-3842-A446-A2D6BC58476A}"/>
              </a:ext>
            </a:extLst>
          </p:cNvPr>
          <p:cNvSpPr txBox="1"/>
          <p:nvPr/>
        </p:nvSpPr>
        <p:spPr>
          <a:xfrm>
            <a:off x="9860253" y="1719019"/>
            <a:ext cx="1312690" cy="430887"/>
          </a:xfrm>
          <a:prstGeom prst="rect">
            <a:avLst/>
          </a:prstGeom>
          <a:noFill/>
        </p:spPr>
        <p:txBody>
          <a:bodyPr wrap="square" rtlCol="0">
            <a:spAutoFit/>
          </a:bodyPr>
          <a:lstStyle/>
          <a:p>
            <a:pPr algn="ctr" defTabSz="914225">
              <a:defRPr/>
            </a:pPr>
            <a:r>
              <a:rPr lang="en-US" sz="1100">
                <a:solidFill>
                  <a:prstClr val="black"/>
                </a:solidFill>
                <a:latin typeface="Segoe UI Light" panose="020B0502040204020203" pitchFamily="34" charset="0"/>
                <a:cs typeface="Segoe UI Light" panose="020B0502040204020203" pitchFamily="34" charset="0"/>
              </a:rPr>
              <a:t>Azure Cosmos DB (materialized view)</a:t>
            </a:r>
          </a:p>
        </p:txBody>
      </p:sp>
      <p:sp>
        <p:nvSpPr>
          <p:cNvPr id="34" name="TextBox 33">
            <a:extLst>
              <a:ext uri="{FF2B5EF4-FFF2-40B4-BE49-F238E27FC236}">
                <a16:creationId xmlns:a16="http://schemas.microsoft.com/office/drawing/2014/main" id="{2AB22BC5-0636-0E43-A098-255BA1430AE0}"/>
              </a:ext>
            </a:extLst>
          </p:cNvPr>
          <p:cNvSpPr txBox="1"/>
          <p:nvPr/>
        </p:nvSpPr>
        <p:spPr>
          <a:xfrm>
            <a:off x="7849077" y="2902080"/>
            <a:ext cx="1312690" cy="600164"/>
          </a:xfrm>
          <a:prstGeom prst="rect">
            <a:avLst/>
          </a:prstGeom>
          <a:noFill/>
        </p:spPr>
        <p:txBody>
          <a:bodyPr wrap="square" rtlCol="0">
            <a:spAutoFit/>
          </a:bodyPr>
          <a:lstStyle/>
          <a:p>
            <a:pPr algn="ctr" defTabSz="914225">
              <a:defRPr/>
            </a:pPr>
            <a:r>
              <a:rPr lang="en-US" sz="1100">
                <a:solidFill>
                  <a:prstClr val="black"/>
                </a:solidFill>
                <a:latin typeface="Segoe UI Light" panose="020B0502040204020203" pitchFamily="34" charset="0"/>
                <a:cs typeface="Segoe UI Light" panose="020B0502040204020203" pitchFamily="34" charset="0"/>
              </a:rPr>
              <a:t>Batch processing using Spark SQL and Azure ML </a:t>
            </a:r>
          </a:p>
        </p:txBody>
      </p:sp>
      <p:pic>
        <p:nvPicPr>
          <p:cNvPr id="35" name="Picture 34">
            <a:extLst>
              <a:ext uri="{FF2B5EF4-FFF2-40B4-BE49-F238E27FC236}">
                <a16:creationId xmlns:a16="http://schemas.microsoft.com/office/drawing/2014/main" id="{591225FA-3214-BB4B-AA9E-6363CB80B1B8}"/>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887004" y="5580243"/>
            <a:ext cx="700117" cy="707098"/>
          </a:xfrm>
          <a:prstGeom prst="rect">
            <a:avLst/>
          </a:prstGeom>
        </p:spPr>
      </p:pic>
      <p:cxnSp>
        <p:nvCxnSpPr>
          <p:cNvPr id="36" name="Straight Arrow Connector 35">
            <a:extLst>
              <a:ext uri="{FF2B5EF4-FFF2-40B4-BE49-F238E27FC236}">
                <a16:creationId xmlns:a16="http://schemas.microsoft.com/office/drawing/2014/main" id="{EB6DF2F9-F385-E243-8E96-E366527BC9AD}"/>
              </a:ext>
            </a:extLst>
          </p:cNvPr>
          <p:cNvCxnSpPr>
            <a:cxnSpLocks/>
          </p:cNvCxnSpPr>
          <p:nvPr/>
        </p:nvCxnSpPr>
        <p:spPr>
          <a:xfrm flipH="1">
            <a:off x="9420054" y="3174055"/>
            <a:ext cx="1051668" cy="219728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4AEC6968-37FF-0C49-BD0D-D0432EAC0E70}"/>
              </a:ext>
            </a:extLst>
          </p:cNvPr>
          <p:cNvCxnSpPr>
            <a:cxnSpLocks/>
          </p:cNvCxnSpPr>
          <p:nvPr/>
        </p:nvCxnSpPr>
        <p:spPr>
          <a:xfrm flipV="1">
            <a:off x="7623851" y="5937892"/>
            <a:ext cx="1087319" cy="1993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BFAE2B01-E0F7-6743-909F-57F141219281}"/>
              </a:ext>
            </a:extLst>
          </p:cNvPr>
          <p:cNvSpPr txBox="1"/>
          <p:nvPr/>
        </p:nvSpPr>
        <p:spPr>
          <a:xfrm>
            <a:off x="8711169" y="6303621"/>
            <a:ext cx="1208960" cy="600164"/>
          </a:xfrm>
          <a:prstGeom prst="rect">
            <a:avLst/>
          </a:prstGeom>
          <a:noFill/>
        </p:spPr>
        <p:txBody>
          <a:bodyPr wrap="square" rtlCol="0">
            <a:spAutoFit/>
          </a:bodyPr>
          <a:lstStyle/>
          <a:p>
            <a:pPr algn="ctr" defTabSz="914225">
              <a:defRPr/>
            </a:pPr>
            <a:r>
              <a:rPr lang="en-US" sz="1100">
                <a:solidFill>
                  <a:prstClr val="black"/>
                </a:solidFill>
                <a:latin typeface="Segoe UI Light" panose="020B0502040204020203" pitchFamily="34" charset="0"/>
                <a:cs typeface="Segoe UI Light" panose="020B0502040204020203" pitchFamily="34" charset="0"/>
              </a:rPr>
              <a:t>Azure Web App (querying batch &amp; real-time view)</a:t>
            </a:r>
          </a:p>
        </p:txBody>
      </p:sp>
      <p:sp>
        <p:nvSpPr>
          <p:cNvPr id="45" name="TextBox 44">
            <a:extLst>
              <a:ext uri="{FF2B5EF4-FFF2-40B4-BE49-F238E27FC236}">
                <a16:creationId xmlns:a16="http://schemas.microsoft.com/office/drawing/2014/main" id="{54F26CDF-56A4-2C4D-ADEB-065EC0344C26}"/>
              </a:ext>
            </a:extLst>
          </p:cNvPr>
          <p:cNvSpPr txBox="1"/>
          <p:nvPr/>
        </p:nvSpPr>
        <p:spPr>
          <a:xfrm>
            <a:off x="6182786" y="6285543"/>
            <a:ext cx="1531647" cy="600164"/>
          </a:xfrm>
          <a:prstGeom prst="rect">
            <a:avLst/>
          </a:prstGeom>
          <a:noFill/>
        </p:spPr>
        <p:txBody>
          <a:bodyPr wrap="square" rtlCol="0">
            <a:spAutoFit/>
          </a:bodyPr>
          <a:lstStyle/>
          <a:p>
            <a:pPr algn="ctr" defTabSz="914225">
              <a:defRPr/>
            </a:pPr>
            <a:r>
              <a:rPr lang="en-US" sz="1100">
                <a:solidFill>
                  <a:prstClr val="black"/>
                </a:solidFill>
                <a:latin typeface="Segoe UI Light" panose="020B0502040204020203" pitchFamily="34" charset="0"/>
                <a:cs typeface="Segoe UI Light" panose="020B0502040204020203" pitchFamily="34" charset="0"/>
              </a:rPr>
              <a:t>Stream processing using Spark Structured Streaming</a:t>
            </a:r>
          </a:p>
        </p:txBody>
      </p:sp>
      <p:sp>
        <p:nvSpPr>
          <p:cNvPr id="46" name="TextBox 45">
            <a:extLst>
              <a:ext uri="{FF2B5EF4-FFF2-40B4-BE49-F238E27FC236}">
                <a16:creationId xmlns:a16="http://schemas.microsoft.com/office/drawing/2014/main" id="{FF642908-1D69-EC4F-9113-FFA52A9AED18}"/>
              </a:ext>
            </a:extLst>
          </p:cNvPr>
          <p:cNvSpPr txBox="1"/>
          <p:nvPr/>
        </p:nvSpPr>
        <p:spPr>
          <a:xfrm>
            <a:off x="1990209" y="1629681"/>
            <a:ext cx="1312690" cy="430887"/>
          </a:xfrm>
          <a:prstGeom prst="rect">
            <a:avLst/>
          </a:prstGeom>
          <a:noFill/>
        </p:spPr>
        <p:txBody>
          <a:bodyPr wrap="square" rtlCol="0">
            <a:spAutoFit/>
          </a:bodyPr>
          <a:lstStyle/>
          <a:p>
            <a:pPr algn="ctr" defTabSz="914225">
              <a:defRPr/>
            </a:pPr>
            <a:r>
              <a:rPr lang="en-US" sz="1100">
                <a:solidFill>
                  <a:prstClr val="black"/>
                </a:solidFill>
                <a:latin typeface="Segoe UI Light" panose="020B0502040204020203" pitchFamily="34" charset="0"/>
                <a:cs typeface="Segoe UI Light" panose="020B0502040204020203" pitchFamily="34" charset="0"/>
              </a:rPr>
              <a:t>Event Hubs</a:t>
            </a:r>
          </a:p>
          <a:p>
            <a:pPr algn="ctr" defTabSz="914225">
              <a:defRPr/>
            </a:pPr>
            <a:r>
              <a:rPr lang="en-US" sz="1100">
                <a:solidFill>
                  <a:prstClr val="black"/>
                </a:solidFill>
                <a:latin typeface="Segoe UI Light" panose="020B0502040204020203" pitchFamily="34" charset="0"/>
                <a:cs typeface="Segoe UI Light" panose="020B0502040204020203" pitchFamily="34" charset="0"/>
              </a:rPr>
              <a:t>(Message queue)</a:t>
            </a:r>
          </a:p>
        </p:txBody>
      </p:sp>
      <p:sp>
        <p:nvSpPr>
          <p:cNvPr id="47" name="TextBox 46">
            <a:extLst>
              <a:ext uri="{FF2B5EF4-FFF2-40B4-BE49-F238E27FC236}">
                <a16:creationId xmlns:a16="http://schemas.microsoft.com/office/drawing/2014/main" id="{0AE9BDDD-E03B-C946-8CC1-8A51445155C3}"/>
              </a:ext>
            </a:extLst>
          </p:cNvPr>
          <p:cNvSpPr txBox="1"/>
          <p:nvPr/>
        </p:nvSpPr>
        <p:spPr>
          <a:xfrm>
            <a:off x="4094322" y="1618893"/>
            <a:ext cx="1434951" cy="600164"/>
          </a:xfrm>
          <a:prstGeom prst="rect">
            <a:avLst/>
          </a:prstGeom>
          <a:noFill/>
        </p:spPr>
        <p:txBody>
          <a:bodyPr wrap="square" rtlCol="0">
            <a:spAutoFit/>
          </a:bodyPr>
          <a:lstStyle/>
          <a:p>
            <a:pPr algn="ctr" defTabSz="914225">
              <a:defRPr/>
            </a:pPr>
            <a:r>
              <a:rPr lang="en-US" sz="1100">
                <a:solidFill>
                  <a:prstClr val="black"/>
                </a:solidFill>
                <a:latin typeface="Segoe UI Light" panose="020B0502040204020203" pitchFamily="34" charset="0"/>
                <a:cs typeface="Segoe UI Light" panose="020B0502040204020203" pitchFamily="34" charset="0"/>
              </a:rPr>
              <a:t>Azure Function</a:t>
            </a:r>
          </a:p>
          <a:p>
            <a:pPr algn="ctr" defTabSz="914225">
              <a:defRPr/>
            </a:pPr>
            <a:r>
              <a:rPr lang="en-US" sz="1100">
                <a:solidFill>
                  <a:prstClr val="black"/>
                </a:solidFill>
                <a:latin typeface="Segoe UI Light" panose="020B0502040204020203" pitchFamily="34" charset="0"/>
                <a:cs typeface="Segoe UI Light" panose="020B0502040204020203" pitchFamily="34" charset="0"/>
              </a:rPr>
              <a:t>(Schema conversion, pre-processing)</a:t>
            </a:r>
          </a:p>
        </p:txBody>
      </p:sp>
      <p:sp>
        <p:nvSpPr>
          <p:cNvPr id="48" name="TextBox 47">
            <a:extLst>
              <a:ext uri="{FF2B5EF4-FFF2-40B4-BE49-F238E27FC236}">
                <a16:creationId xmlns:a16="http://schemas.microsoft.com/office/drawing/2014/main" id="{5013E0F2-B9ED-D64E-991F-32ACADB58E62}"/>
              </a:ext>
            </a:extLst>
          </p:cNvPr>
          <p:cNvSpPr txBox="1"/>
          <p:nvPr/>
        </p:nvSpPr>
        <p:spPr>
          <a:xfrm>
            <a:off x="826547" y="3857109"/>
            <a:ext cx="1312690" cy="292388"/>
          </a:xfrm>
          <a:prstGeom prst="rect">
            <a:avLst/>
          </a:prstGeom>
          <a:noFill/>
        </p:spPr>
        <p:txBody>
          <a:bodyPr wrap="square" rtlCol="0">
            <a:spAutoFit/>
          </a:bodyPr>
          <a:lstStyle/>
          <a:p>
            <a:pPr algn="ctr" defTabSz="914225">
              <a:defRPr/>
            </a:pPr>
            <a:r>
              <a:rPr lang="en-US" sz="1300">
                <a:solidFill>
                  <a:prstClr val="black"/>
                </a:solidFill>
                <a:latin typeface="Segoe UI Light" panose="020B0502040204020203" pitchFamily="34" charset="0"/>
                <a:cs typeface="Segoe UI Light" panose="020B0502040204020203" pitchFamily="34" charset="0"/>
              </a:rPr>
              <a:t>Sensor inputs</a:t>
            </a:r>
          </a:p>
        </p:txBody>
      </p:sp>
      <p:sp>
        <p:nvSpPr>
          <p:cNvPr id="53" name="TextBox 52">
            <a:extLst>
              <a:ext uri="{FF2B5EF4-FFF2-40B4-BE49-F238E27FC236}">
                <a16:creationId xmlns:a16="http://schemas.microsoft.com/office/drawing/2014/main" id="{74C2FDF9-B5C1-9E45-8D1A-F6D63A842FA1}"/>
              </a:ext>
            </a:extLst>
          </p:cNvPr>
          <p:cNvSpPr txBox="1"/>
          <p:nvPr/>
        </p:nvSpPr>
        <p:spPr>
          <a:xfrm>
            <a:off x="10544280" y="5866444"/>
            <a:ext cx="1312690" cy="430887"/>
          </a:xfrm>
          <a:prstGeom prst="rect">
            <a:avLst/>
          </a:prstGeom>
          <a:noFill/>
        </p:spPr>
        <p:txBody>
          <a:bodyPr wrap="square" rtlCol="0">
            <a:spAutoFit/>
          </a:bodyPr>
          <a:lstStyle/>
          <a:p>
            <a:pPr algn="ctr" defTabSz="914225">
              <a:defRPr/>
            </a:pPr>
            <a:r>
              <a:rPr lang="en-US" sz="1100">
                <a:solidFill>
                  <a:prstClr val="black"/>
                </a:solidFill>
                <a:latin typeface="Segoe UI Light" panose="020B0502040204020203" pitchFamily="34" charset="0"/>
                <a:cs typeface="Segoe UI Light" panose="020B0502040204020203" pitchFamily="34" charset="0"/>
              </a:rPr>
              <a:t>Reporting &amp; Analysis</a:t>
            </a:r>
          </a:p>
        </p:txBody>
      </p:sp>
      <p:sp>
        <p:nvSpPr>
          <p:cNvPr id="55" name="Title 54">
            <a:extLst>
              <a:ext uri="{FF2B5EF4-FFF2-40B4-BE49-F238E27FC236}">
                <a16:creationId xmlns:a16="http://schemas.microsoft.com/office/drawing/2014/main" id="{D9E515B8-4AE8-FE41-9CEF-3A704A83AEA0}"/>
              </a:ext>
            </a:extLst>
          </p:cNvPr>
          <p:cNvSpPr>
            <a:spLocks noGrp="1"/>
          </p:cNvSpPr>
          <p:nvPr>
            <p:ph type="title"/>
          </p:nvPr>
        </p:nvSpPr>
        <p:spPr/>
        <p:txBody>
          <a:bodyPr/>
          <a:lstStyle/>
          <a:p>
            <a:r>
              <a:rPr lang="en-US"/>
              <a:t>Streaming at scale in Azure demo</a:t>
            </a:r>
          </a:p>
        </p:txBody>
      </p:sp>
      <p:pic>
        <p:nvPicPr>
          <p:cNvPr id="38" name="Picture 37">
            <a:extLst>
              <a:ext uri="{FF2B5EF4-FFF2-40B4-BE49-F238E27FC236}">
                <a16:creationId xmlns:a16="http://schemas.microsoft.com/office/drawing/2014/main" id="{4BBF0BAD-98E5-6448-9309-6133120870AD}"/>
              </a:ext>
            </a:extLst>
          </p:cNvPr>
          <p:cNvPicPr>
            <a:picLocks noChangeAspect="1"/>
          </p:cNvPicPr>
          <p:nvPr/>
        </p:nvPicPr>
        <p:blipFill>
          <a:blip r:embed="rId11"/>
          <a:stretch>
            <a:fillRect/>
          </a:stretch>
        </p:blipFill>
        <p:spPr>
          <a:xfrm>
            <a:off x="6438744" y="2149431"/>
            <a:ext cx="920701" cy="920701"/>
          </a:xfrm>
          <a:prstGeom prst="rect">
            <a:avLst/>
          </a:prstGeom>
        </p:spPr>
      </p:pic>
      <p:pic>
        <p:nvPicPr>
          <p:cNvPr id="39" name="Picture 38">
            <a:extLst>
              <a:ext uri="{FF2B5EF4-FFF2-40B4-BE49-F238E27FC236}">
                <a16:creationId xmlns:a16="http://schemas.microsoft.com/office/drawing/2014/main" id="{9A32F927-7537-F14E-AFD2-60144FC36F17}"/>
              </a:ext>
            </a:extLst>
          </p:cNvPr>
          <p:cNvPicPr>
            <a:picLocks noChangeAspect="1"/>
          </p:cNvPicPr>
          <p:nvPr/>
        </p:nvPicPr>
        <p:blipFill>
          <a:blip r:embed="rId11"/>
          <a:stretch>
            <a:fillRect/>
          </a:stretch>
        </p:blipFill>
        <p:spPr>
          <a:xfrm>
            <a:off x="10038444" y="2120636"/>
            <a:ext cx="920701" cy="920701"/>
          </a:xfrm>
          <a:prstGeom prst="rect">
            <a:avLst/>
          </a:prstGeom>
        </p:spPr>
      </p:pic>
    </p:spTree>
    <p:extLst>
      <p:ext uri="{BB962C8B-B14F-4D97-AF65-F5344CB8AC3E}">
        <p14:creationId xmlns:p14="http://schemas.microsoft.com/office/powerpoint/2010/main" val="2414925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0EE4C495-C6EB-B44B-AA06-082CCB1BCC7C}"/>
              </a:ext>
            </a:extLst>
          </p:cNvPr>
          <p:cNvGrpSpPr/>
          <p:nvPr/>
        </p:nvGrpSpPr>
        <p:grpSpPr>
          <a:xfrm>
            <a:off x="369824" y="1311812"/>
            <a:ext cx="11048550" cy="5123085"/>
            <a:chOff x="355756" y="1674054"/>
            <a:chExt cx="11048550" cy="5123085"/>
          </a:xfrm>
        </p:grpSpPr>
        <p:cxnSp>
          <p:nvCxnSpPr>
            <p:cNvPr id="207" name="2 fg">
              <a:extLst>
                <a:ext uri="{FF2B5EF4-FFF2-40B4-BE49-F238E27FC236}">
                  <a16:creationId xmlns:a16="http://schemas.microsoft.com/office/drawing/2014/main" id="{70454A9D-3B55-064C-B8EC-B41F3DF2139F}"/>
                </a:ext>
              </a:extLst>
            </p:cNvPr>
            <p:cNvCxnSpPr/>
            <p:nvPr/>
          </p:nvCxnSpPr>
          <p:spPr>
            <a:xfrm>
              <a:off x="1189831" y="5280447"/>
              <a:ext cx="317572" cy="98015"/>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208" name="2   Arrow fg">
              <a:extLst>
                <a:ext uri="{FF2B5EF4-FFF2-40B4-BE49-F238E27FC236}">
                  <a16:creationId xmlns:a16="http://schemas.microsoft.com/office/drawing/2014/main" id="{7A8E5725-EC4B-D043-A64D-2783EA32C507}"/>
                </a:ext>
              </a:extLst>
            </p:cNvPr>
            <p:cNvCxnSpPr/>
            <p:nvPr/>
          </p:nvCxnSpPr>
          <p:spPr>
            <a:xfrm>
              <a:off x="2290466" y="5594515"/>
              <a:ext cx="1493775" cy="2976"/>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209" name="2 Arrow">
              <a:extLst>
                <a:ext uri="{FF2B5EF4-FFF2-40B4-BE49-F238E27FC236}">
                  <a16:creationId xmlns:a16="http://schemas.microsoft.com/office/drawing/2014/main" id="{B9C02F6A-0A82-014C-AA77-E76B66892757}"/>
                </a:ext>
              </a:extLst>
            </p:cNvPr>
            <p:cNvCxnSpPr/>
            <p:nvPr/>
          </p:nvCxnSpPr>
          <p:spPr>
            <a:xfrm>
              <a:off x="1194037" y="2568253"/>
              <a:ext cx="2607080" cy="12241"/>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grpSp>
          <p:nvGrpSpPr>
            <p:cNvPr id="210" name="2 Field Gateway">
              <a:extLst>
                <a:ext uri="{FF2B5EF4-FFF2-40B4-BE49-F238E27FC236}">
                  <a16:creationId xmlns:a16="http://schemas.microsoft.com/office/drawing/2014/main" id="{25E5EF19-A193-A34F-B5FC-0615C00E8076}"/>
                </a:ext>
              </a:extLst>
            </p:cNvPr>
            <p:cNvGrpSpPr/>
            <p:nvPr/>
          </p:nvGrpSpPr>
          <p:grpSpPr>
            <a:xfrm>
              <a:off x="1546726" y="5090941"/>
              <a:ext cx="721023" cy="997133"/>
              <a:chOff x="1547306" y="5067599"/>
              <a:chExt cx="769091" cy="1063609"/>
            </a:xfrm>
          </p:grpSpPr>
          <p:sp>
            <p:nvSpPr>
              <p:cNvPr id="211" name="Rectangle 210">
                <a:extLst>
                  <a:ext uri="{FF2B5EF4-FFF2-40B4-BE49-F238E27FC236}">
                    <a16:creationId xmlns:a16="http://schemas.microsoft.com/office/drawing/2014/main" id="{BF61D6B5-7E81-7749-9AF1-0EAD08EA4061}"/>
                  </a:ext>
                </a:extLst>
              </p:cNvPr>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25" tIns="85725" rIns="0" bIns="85700" numCol="1" spcCol="0" rtlCol="0" fromWordArt="0" anchor="b" anchorCtr="0" forceAA="0" compatLnSpc="1">
                <a:prstTxWarp prst="textNoShape">
                  <a:avLst/>
                </a:prstTxWarp>
                <a:noAutofit/>
              </a:bodyPr>
              <a:lstStyle/>
              <a:p>
                <a:pPr defTabSz="856587" fontAlgn="base">
                  <a:lnSpc>
                    <a:spcPct val="90000"/>
                  </a:lnSpc>
                  <a:spcBef>
                    <a:spcPct val="0"/>
                  </a:spcBef>
                  <a:spcAft>
                    <a:spcPts val="563"/>
                  </a:spcAft>
                </a:pPr>
                <a:r>
                  <a:rPr lang="en-US" sz="1031">
                    <a:solidFill>
                      <a:srgbClr val="404040">
                        <a:lumMod val="50000"/>
                      </a:srgbClr>
                    </a:solidFill>
                    <a:latin typeface="Segoe UI Semibold" panose="020B0702040204020203" pitchFamily="34" charset="0"/>
                    <a:ea typeface="Segoe UI" pitchFamily="34" charset="0"/>
                    <a:cs typeface="Segoe UI" pitchFamily="34" charset="0"/>
                    <a:sym typeface="Segoe UI"/>
                  </a:rPr>
                  <a:t>Field Gateway</a:t>
                </a:r>
              </a:p>
            </p:txBody>
          </p:sp>
          <p:sp>
            <p:nvSpPr>
              <p:cNvPr id="212" name="Frame 5">
                <a:extLst>
                  <a:ext uri="{FF2B5EF4-FFF2-40B4-BE49-F238E27FC236}">
                    <a16:creationId xmlns:a16="http://schemas.microsoft.com/office/drawing/2014/main" id="{33DD35CA-91C4-9547-915F-75862658C5B0}"/>
                  </a:ext>
                </a:extLst>
              </p:cNvPr>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00" tIns="42849" rIns="42849" bIns="85700" numCol="1" spcCol="0" rtlCol="0" fromWordArt="0" anchor="b" anchorCtr="0" forceAA="0" compatLnSpc="1">
                <a:prstTxWarp prst="textNoShape">
                  <a:avLst/>
                </a:prstTxWarp>
                <a:noAutofit/>
              </a:bodyPr>
              <a:lstStyle/>
              <a:p>
                <a:pPr algn="ctr" defTabSz="856587" fontAlgn="base">
                  <a:spcBef>
                    <a:spcPct val="0"/>
                  </a:spcBef>
                  <a:spcAft>
                    <a:spcPct val="0"/>
                  </a:spcAft>
                </a:pPr>
                <a:endParaRPr lang="en-US" sz="1688" spc="-47">
                  <a:solidFill>
                    <a:prstClr val="black"/>
                  </a:solidFill>
                  <a:latin typeface="Calibri" panose="020F0502020204030204"/>
                  <a:ea typeface="Segoe UI" pitchFamily="34" charset="0"/>
                  <a:cs typeface="Segoe UI" pitchFamily="34" charset="0"/>
                  <a:sym typeface="Segoe UI"/>
                </a:endParaRPr>
              </a:p>
            </p:txBody>
          </p:sp>
        </p:grpSp>
        <p:sp>
          <p:nvSpPr>
            <p:cNvPr id="213" name="2 Device">
              <a:extLst>
                <a:ext uri="{FF2B5EF4-FFF2-40B4-BE49-F238E27FC236}">
                  <a16:creationId xmlns:a16="http://schemas.microsoft.com/office/drawing/2014/main" id="{F7E67591-15A6-0447-95C9-F08FF5ADA53D}"/>
                </a:ext>
              </a:extLst>
            </p:cNvPr>
            <p:cNvSpPr txBox="1"/>
            <p:nvPr/>
          </p:nvSpPr>
          <p:spPr>
            <a:xfrm>
              <a:off x="1529053" y="6162350"/>
              <a:ext cx="3359929" cy="634789"/>
            </a:xfrm>
            <a:prstGeom prst="rect">
              <a:avLst/>
            </a:prstGeom>
            <a:gradFill>
              <a:gsLst>
                <a:gs pos="28000">
                  <a:srgbClr val="5EB6DA"/>
                </a:gs>
                <a:gs pos="28000">
                  <a:srgbClr val="3999C6"/>
                </a:gs>
              </a:gsLst>
              <a:lin ang="8100000" scaled="1"/>
            </a:gradFill>
          </p:spPr>
          <p:txBody>
            <a:bodyPr wrap="square" lIns="85725" tIns="85725" rIns="0" bIns="85725" rtlCol="0">
              <a:spAutoFit/>
            </a:bodyPr>
            <a:lstStyle>
              <a:defPPr>
                <a:defRPr lang="en-US"/>
              </a:defPPr>
              <a:lvl1pPr defTabSz="932597">
                <a:defRPr sz="1600">
                  <a:solidFill>
                    <a:schemeClr val="bg2"/>
                  </a:solidFill>
                </a:defRPr>
              </a:lvl1pPr>
            </a:lstStyle>
            <a:p>
              <a:pPr defTabSz="874257"/>
              <a:r>
                <a:rPr lang="en-US" sz="1500">
                  <a:solidFill>
                    <a:srgbClr val="FFFFFF"/>
                  </a:solidFill>
                  <a:latin typeface="Calibri" panose="020F0502020204030204"/>
                  <a:sym typeface="Segoe UI"/>
                </a:rPr>
                <a:t>Device </a:t>
              </a:r>
            </a:p>
            <a:p>
              <a:pPr defTabSz="874257"/>
              <a:r>
                <a:rPr lang="en-US" sz="1500">
                  <a:solidFill>
                    <a:srgbClr val="FFFFFF"/>
                  </a:solidFill>
                  <a:latin typeface="Calibri" panose="020F0502020204030204"/>
                  <a:sym typeface="Segoe UI"/>
                </a:rPr>
                <a:t>Connectivity &amp; Management</a:t>
              </a:r>
            </a:p>
          </p:txBody>
        </p:sp>
        <p:sp>
          <p:nvSpPr>
            <p:cNvPr id="214" name="3">
              <a:extLst>
                <a:ext uri="{FF2B5EF4-FFF2-40B4-BE49-F238E27FC236}">
                  <a16:creationId xmlns:a16="http://schemas.microsoft.com/office/drawing/2014/main" id="{4DC0FBCD-2EEC-C144-B909-7877FBE57C59}"/>
                </a:ext>
              </a:extLst>
            </p:cNvPr>
            <p:cNvSpPr txBox="1"/>
            <p:nvPr/>
          </p:nvSpPr>
          <p:spPr>
            <a:xfrm>
              <a:off x="5356827" y="6162350"/>
              <a:ext cx="3451343" cy="634789"/>
            </a:xfrm>
            <a:prstGeom prst="rect">
              <a:avLst/>
            </a:prstGeom>
            <a:gradFill>
              <a:gsLst>
                <a:gs pos="28000">
                  <a:srgbClr val="5EB6DA"/>
                </a:gs>
                <a:gs pos="28000">
                  <a:srgbClr val="3999C6"/>
                </a:gs>
              </a:gsLst>
              <a:lin ang="8100000" scaled="1"/>
            </a:gradFill>
          </p:spPr>
          <p:txBody>
            <a:bodyPr wrap="square" lIns="85725" tIns="85725" rIns="0" bIns="85725" rtlCol="0">
              <a:spAutoFit/>
            </a:bodyPr>
            <a:lstStyle/>
            <a:p>
              <a:pPr defTabSz="874257"/>
              <a:r>
                <a:rPr lang="en-US" sz="1500">
                  <a:solidFill>
                    <a:srgbClr val="FFFFFF"/>
                  </a:solidFill>
                  <a:latin typeface="Calibri" panose="020F0502020204030204"/>
                  <a:sym typeface="Segoe UI"/>
                </a:rPr>
                <a:t>Analytics &amp; </a:t>
              </a:r>
            </a:p>
            <a:p>
              <a:pPr defTabSz="874257"/>
              <a:r>
                <a:rPr lang="en-US" sz="1500">
                  <a:solidFill>
                    <a:srgbClr val="FFFFFF"/>
                  </a:solidFill>
                  <a:latin typeface="Calibri" panose="020F0502020204030204"/>
                  <a:sym typeface="Segoe UI"/>
                </a:rPr>
                <a:t>Operationalized Insights</a:t>
              </a:r>
            </a:p>
          </p:txBody>
        </p:sp>
        <p:sp>
          <p:nvSpPr>
            <p:cNvPr id="215" name="7 Presentation">
              <a:extLst>
                <a:ext uri="{FF2B5EF4-FFF2-40B4-BE49-F238E27FC236}">
                  <a16:creationId xmlns:a16="http://schemas.microsoft.com/office/drawing/2014/main" id="{10B5687B-46A3-444C-96CE-7D16D78C208F}"/>
                </a:ext>
              </a:extLst>
            </p:cNvPr>
            <p:cNvSpPr txBox="1"/>
            <p:nvPr/>
          </p:nvSpPr>
          <p:spPr>
            <a:xfrm>
              <a:off x="9355323" y="6162350"/>
              <a:ext cx="2043157" cy="634789"/>
            </a:xfrm>
            <a:prstGeom prst="rect">
              <a:avLst/>
            </a:prstGeom>
            <a:gradFill>
              <a:gsLst>
                <a:gs pos="28000">
                  <a:srgbClr val="5EB6DA"/>
                </a:gs>
                <a:gs pos="28000">
                  <a:srgbClr val="3999C6"/>
                </a:gs>
              </a:gsLst>
              <a:lin ang="8100000" scaled="1"/>
            </a:gradFill>
          </p:spPr>
          <p:txBody>
            <a:bodyPr wrap="square" lIns="85725" tIns="85725" rIns="0" bIns="85725" rtlCol="0">
              <a:spAutoFit/>
            </a:bodyPr>
            <a:lstStyle>
              <a:defPPr>
                <a:defRPr lang="en-US"/>
              </a:defPPr>
              <a:lvl1pPr defTabSz="932597">
                <a:defRPr sz="1600">
                  <a:solidFill>
                    <a:schemeClr val="bg2"/>
                  </a:solidFill>
                </a:defRPr>
              </a:lvl1pPr>
            </a:lstStyle>
            <a:p>
              <a:pPr defTabSz="874257"/>
              <a:r>
                <a:rPr lang="en-US" sz="1500">
                  <a:solidFill>
                    <a:srgbClr val="FFFFFF"/>
                  </a:solidFill>
                  <a:latin typeface="Calibri" panose="020F0502020204030204"/>
                  <a:sym typeface="Segoe UI"/>
                </a:rPr>
                <a:t>Presentation &amp; </a:t>
              </a:r>
            </a:p>
            <a:p>
              <a:pPr defTabSz="874257"/>
              <a:r>
                <a:rPr lang="en-US" sz="1500">
                  <a:solidFill>
                    <a:srgbClr val="FFFFFF"/>
                  </a:solidFill>
                  <a:latin typeface="Calibri" panose="020F0502020204030204"/>
                  <a:sym typeface="Segoe UI"/>
                </a:rPr>
                <a:t>Business Connectivity</a:t>
              </a:r>
            </a:p>
          </p:txBody>
        </p:sp>
        <p:cxnSp>
          <p:nvCxnSpPr>
            <p:cNvPr id="216" name="Straight Arrow Connector 215">
              <a:extLst>
                <a:ext uri="{FF2B5EF4-FFF2-40B4-BE49-F238E27FC236}">
                  <a16:creationId xmlns:a16="http://schemas.microsoft.com/office/drawing/2014/main" id="{FBACF491-51AE-EC40-BDA8-83EE1121E112}"/>
                </a:ext>
              </a:extLst>
            </p:cNvPr>
            <p:cNvCxnSpPr/>
            <p:nvPr/>
          </p:nvCxnSpPr>
          <p:spPr>
            <a:xfrm>
              <a:off x="4888981" y="5248445"/>
              <a:ext cx="428625" cy="0"/>
            </a:xfrm>
            <a:prstGeom prst="straightConnector1">
              <a:avLst/>
            </a:prstGeom>
            <a:ln w="19050">
              <a:headEnd type="triangle"/>
              <a:tailEnd type="triangle"/>
            </a:ln>
          </p:spPr>
          <p:style>
            <a:lnRef idx="1">
              <a:schemeClr val="accent2"/>
            </a:lnRef>
            <a:fillRef idx="0">
              <a:schemeClr val="accent2"/>
            </a:fillRef>
            <a:effectRef idx="0">
              <a:schemeClr val="accent2"/>
            </a:effectRef>
            <a:fontRef idx="minor">
              <a:schemeClr val="tx1"/>
            </a:fontRef>
          </p:style>
        </p:cxnSp>
        <p:cxnSp>
          <p:nvCxnSpPr>
            <p:cNvPr id="217" name="Straight Arrow Connector 216">
              <a:extLst>
                <a:ext uri="{FF2B5EF4-FFF2-40B4-BE49-F238E27FC236}">
                  <a16:creationId xmlns:a16="http://schemas.microsoft.com/office/drawing/2014/main" id="{2F11832F-7FC3-EC4C-A4C4-ED9C088751C5}"/>
                </a:ext>
              </a:extLst>
            </p:cNvPr>
            <p:cNvCxnSpPr/>
            <p:nvPr/>
          </p:nvCxnSpPr>
          <p:spPr>
            <a:xfrm>
              <a:off x="4888981" y="4038137"/>
              <a:ext cx="428625" cy="0"/>
            </a:xfrm>
            <a:prstGeom prst="straightConnector1">
              <a:avLst/>
            </a:prstGeom>
            <a:ln w="19050">
              <a:headEnd type="triangle"/>
              <a:tailEnd type="triangle"/>
            </a:ln>
          </p:spPr>
          <p:style>
            <a:lnRef idx="1">
              <a:schemeClr val="accent2"/>
            </a:lnRef>
            <a:fillRef idx="0">
              <a:schemeClr val="accent2"/>
            </a:fillRef>
            <a:effectRef idx="0">
              <a:schemeClr val="accent2"/>
            </a:effectRef>
            <a:fontRef idx="minor">
              <a:schemeClr val="tx1"/>
            </a:fontRef>
          </p:style>
        </p:cxnSp>
        <p:cxnSp>
          <p:nvCxnSpPr>
            <p:cNvPr id="218" name="Straight Arrow Connector 217">
              <a:extLst>
                <a:ext uri="{FF2B5EF4-FFF2-40B4-BE49-F238E27FC236}">
                  <a16:creationId xmlns:a16="http://schemas.microsoft.com/office/drawing/2014/main" id="{45272919-956C-F941-9550-65E2B754A98A}"/>
                </a:ext>
              </a:extLst>
            </p:cNvPr>
            <p:cNvCxnSpPr/>
            <p:nvPr/>
          </p:nvCxnSpPr>
          <p:spPr>
            <a:xfrm>
              <a:off x="4888981" y="2899420"/>
              <a:ext cx="428625" cy="0"/>
            </a:xfrm>
            <a:prstGeom prst="straightConnector1">
              <a:avLst/>
            </a:prstGeom>
            <a:ln w="19050">
              <a:headEnd type="none"/>
              <a:tailEnd type="triangle"/>
            </a:ln>
          </p:spPr>
          <p:style>
            <a:lnRef idx="1">
              <a:schemeClr val="accent2"/>
            </a:lnRef>
            <a:fillRef idx="0">
              <a:schemeClr val="accent2"/>
            </a:fillRef>
            <a:effectRef idx="0">
              <a:schemeClr val="accent2"/>
            </a:effectRef>
            <a:fontRef idx="minor">
              <a:schemeClr val="tx1"/>
            </a:fontRef>
          </p:style>
        </p:cxnSp>
        <p:cxnSp>
          <p:nvCxnSpPr>
            <p:cNvPr id="219" name="Straight Arrow Connector 218">
              <a:extLst>
                <a:ext uri="{FF2B5EF4-FFF2-40B4-BE49-F238E27FC236}">
                  <a16:creationId xmlns:a16="http://schemas.microsoft.com/office/drawing/2014/main" id="{ED340024-0F82-CB45-962B-1AE3D897B681}"/>
                </a:ext>
              </a:extLst>
            </p:cNvPr>
            <p:cNvCxnSpPr/>
            <p:nvPr/>
          </p:nvCxnSpPr>
          <p:spPr>
            <a:xfrm>
              <a:off x="8922841" y="5248445"/>
              <a:ext cx="342900" cy="0"/>
            </a:xfrm>
            <a:prstGeom prst="straightConnector1">
              <a:avLst/>
            </a:prstGeom>
            <a:ln w="19050">
              <a:headEnd type="none"/>
              <a:tailEnd type="triangle"/>
            </a:ln>
          </p:spPr>
          <p:style>
            <a:lnRef idx="1">
              <a:schemeClr val="accent2"/>
            </a:lnRef>
            <a:fillRef idx="0">
              <a:schemeClr val="accent2"/>
            </a:fillRef>
            <a:effectRef idx="0">
              <a:schemeClr val="accent2"/>
            </a:effectRef>
            <a:fontRef idx="minor">
              <a:schemeClr val="tx1"/>
            </a:fontRef>
          </p:style>
        </p:cxnSp>
        <p:cxnSp>
          <p:nvCxnSpPr>
            <p:cNvPr id="220" name="Straight Arrow Connector 219">
              <a:extLst>
                <a:ext uri="{FF2B5EF4-FFF2-40B4-BE49-F238E27FC236}">
                  <a16:creationId xmlns:a16="http://schemas.microsoft.com/office/drawing/2014/main" id="{3D2629F6-5C00-8E45-8651-6452EE7D243B}"/>
                </a:ext>
              </a:extLst>
            </p:cNvPr>
            <p:cNvCxnSpPr/>
            <p:nvPr/>
          </p:nvCxnSpPr>
          <p:spPr>
            <a:xfrm>
              <a:off x="8922841" y="4163733"/>
              <a:ext cx="342900" cy="0"/>
            </a:xfrm>
            <a:prstGeom prst="straightConnector1">
              <a:avLst/>
            </a:prstGeom>
            <a:ln w="19050">
              <a:headEnd type="none"/>
              <a:tailEnd type="triangle"/>
            </a:ln>
          </p:spPr>
          <p:style>
            <a:lnRef idx="1">
              <a:schemeClr val="accent2"/>
            </a:lnRef>
            <a:fillRef idx="0">
              <a:schemeClr val="accent2"/>
            </a:fillRef>
            <a:effectRef idx="0">
              <a:schemeClr val="accent2"/>
            </a:effectRef>
            <a:fontRef idx="minor">
              <a:schemeClr val="tx1"/>
            </a:fontRef>
          </p:style>
        </p:cxnSp>
        <p:cxnSp>
          <p:nvCxnSpPr>
            <p:cNvPr id="221" name="Straight Arrow Connector 220">
              <a:extLst>
                <a:ext uri="{FF2B5EF4-FFF2-40B4-BE49-F238E27FC236}">
                  <a16:creationId xmlns:a16="http://schemas.microsoft.com/office/drawing/2014/main" id="{148B67CD-B7BF-844E-A5E6-1D072530FF1D}"/>
                </a:ext>
              </a:extLst>
            </p:cNvPr>
            <p:cNvCxnSpPr/>
            <p:nvPr/>
          </p:nvCxnSpPr>
          <p:spPr>
            <a:xfrm>
              <a:off x="8922841" y="2899420"/>
              <a:ext cx="342900" cy="0"/>
            </a:xfrm>
            <a:prstGeom prst="straightConnector1">
              <a:avLst/>
            </a:prstGeom>
            <a:ln w="19050">
              <a:headEnd type="none"/>
              <a:tailEnd type="triangle"/>
            </a:ln>
          </p:spPr>
          <p:style>
            <a:lnRef idx="1">
              <a:schemeClr val="accent2"/>
            </a:lnRef>
            <a:fillRef idx="0">
              <a:schemeClr val="accent2"/>
            </a:fillRef>
            <a:effectRef idx="0">
              <a:schemeClr val="accent2"/>
            </a:effectRef>
            <a:fontRef idx="minor">
              <a:schemeClr val="tx1"/>
            </a:fontRef>
          </p:style>
        </p:cxnSp>
        <p:grpSp>
          <p:nvGrpSpPr>
            <p:cNvPr id="222" name="1 Devices - sensors">
              <a:extLst>
                <a:ext uri="{FF2B5EF4-FFF2-40B4-BE49-F238E27FC236}">
                  <a16:creationId xmlns:a16="http://schemas.microsoft.com/office/drawing/2014/main" id="{701A813A-8749-9A40-994A-EC9A61280052}"/>
                </a:ext>
              </a:extLst>
            </p:cNvPr>
            <p:cNvGrpSpPr/>
            <p:nvPr/>
          </p:nvGrpSpPr>
          <p:grpSpPr>
            <a:xfrm>
              <a:off x="355756" y="2358298"/>
              <a:ext cx="816680" cy="3742112"/>
              <a:chOff x="276943" y="1995489"/>
              <a:chExt cx="871125" cy="3991586"/>
            </a:xfrm>
          </p:grpSpPr>
          <p:sp>
            <p:nvSpPr>
              <p:cNvPr id="223" name="Rectangle 222">
                <a:extLst>
                  <a:ext uri="{FF2B5EF4-FFF2-40B4-BE49-F238E27FC236}">
                    <a16:creationId xmlns:a16="http://schemas.microsoft.com/office/drawing/2014/main" id="{E4A979AB-52C0-7845-A584-A126FF8D5E44}"/>
                  </a:ext>
                </a:extLst>
              </p:cNvPr>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00" tIns="42849" rIns="42849" bIns="85700" numCol="1" spcCol="0" rtlCol="0" fromWordArt="0" anchor="b" anchorCtr="0" forceAA="0" compatLnSpc="1">
                <a:prstTxWarp prst="textNoShape">
                  <a:avLst/>
                </a:prstTxWarp>
                <a:noAutofit/>
              </a:bodyPr>
              <a:lstStyle/>
              <a:p>
                <a:pPr algn="ctr" defTabSz="856587" fontAlgn="base">
                  <a:spcBef>
                    <a:spcPct val="0"/>
                  </a:spcBef>
                  <a:spcAft>
                    <a:spcPct val="0"/>
                  </a:spcAft>
                </a:pPr>
                <a:endParaRPr lang="en-US" sz="1688" spc="-47">
                  <a:solidFill>
                    <a:prstClr val="black"/>
                  </a:solidFill>
                  <a:latin typeface="Calibri" panose="020F0502020204030204"/>
                  <a:ea typeface="Segoe UI" pitchFamily="34" charset="0"/>
                  <a:cs typeface="Segoe UI" pitchFamily="34" charset="0"/>
                  <a:sym typeface="Segoe UI"/>
                </a:endParaRPr>
              </a:p>
            </p:txBody>
          </p:sp>
          <p:sp>
            <p:nvSpPr>
              <p:cNvPr id="224" name="TextBox 223">
                <a:extLst>
                  <a:ext uri="{FF2B5EF4-FFF2-40B4-BE49-F238E27FC236}">
                    <a16:creationId xmlns:a16="http://schemas.microsoft.com/office/drawing/2014/main" id="{FAEE0000-1EE2-B24A-AF3B-FAE4243F6040}"/>
                  </a:ext>
                </a:extLst>
              </p:cNvPr>
              <p:cNvSpPr txBox="1"/>
              <p:nvPr/>
            </p:nvSpPr>
            <p:spPr>
              <a:xfrm rot="16200000">
                <a:off x="-1511456" y="3783888"/>
                <a:ext cx="3976839" cy="400041"/>
              </a:xfrm>
              <a:prstGeom prst="rect">
                <a:avLst/>
              </a:prstGeom>
              <a:noFill/>
              <a:ln>
                <a:noFill/>
                <a:headEnd type="none" w="med" len="med"/>
                <a:tailEnd type="none" w="med" len="med"/>
              </a:ln>
            </p:spPr>
            <p:txBody>
              <a:bodyPr wrap="square" lIns="0" tIns="0" rIns="0" bIns="0" rtlCol="0">
                <a:spAutoFit/>
              </a:bodyPr>
              <a:lstStyle/>
              <a:p>
                <a:pPr algn="ctr" defTabSz="874057"/>
                <a:r>
                  <a:rPr lang="en-US" sz="1312" spc="-36">
                    <a:solidFill>
                      <a:prstClr val="black"/>
                    </a:solidFill>
                    <a:latin typeface="Segoe UI Black" panose="020B0A02040204020203" pitchFamily="34" charset="0"/>
                    <a:ea typeface="Segoe UI Black" panose="020B0A02040204020203" pitchFamily="34" charset="0"/>
                    <a:cs typeface="Segoe UI Black" panose="020B0A02040204020203" pitchFamily="34" charset="0"/>
                    <a:sym typeface="Segoe UI"/>
                  </a:rPr>
                  <a:t>Edge Devices</a:t>
                </a:r>
              </a:p>
              <a:p>
                <a:pPr algn="ctr" defTabSz="874057"/>
                <a:r>
                  <a:rPr lang="en-US" sz="1125" spc="-36">
                    <a:solidFill>
                      <a:prstClr val="black"/>
                    </a:solidFill>
                    <a:latin typeface="Segoe UI Semibold" panose="020B0702040204020203" pitchFamily="34" charset="0"/>
                    <a:ea typeface="Segoe UI" pitchFamily="34" charset="0"/>
                    <a:cs typeface="Segoe UI Semibold" panose="020B0702040204020203" pitchFamily="34" charset="0"/>
                    <a:sym typeface="Segoe UI"/>
                  </a:rPr>
                  <a:t>RTOS, Linux, Windows, Android, iOS </a:t>
                </a:r>
              </a:p>
            </p:txBody>
          </p:sp>
          <p:sp>
            <p:nvSpPr>
              <p:cNvPr id="225" name="Frame 5">
                <a:extLst>
                  <a:ext uri="{FF2B5EF4-FFF2-40B4-BE49-F238E27FC236}">
                    <a16:creationId xmlns:a16="http://schemas.microsoft.com/office/drawing/2014/main" id="{3F3FACC4-3FB1-204F-98D5-D62D3D364802}"/>
                  </a:ext>
                </a:extLst>
              </p:cNvPr>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0819" tIns="50411" rIns="50411" bIns="100819" numCol="1" spcCol="0" rtlCol="0" fromWordArt="0" anchor="b" anchorCtr="0" forceAA="0" compatLnSpc="1">
                <a:prstTxWarp prst="textNoShape">
                  <a:avLst/>
                </a:prstTxWarp>
                <a:noAutofit/>
              </a:bodyPr>
              <a:lstStyle/>
              <a:p>
                <a:pPr algn="ctr" defTabSz="1007653" fontAlgn="base">
                  <a:spcBef>
                    <a:spcPct val="0"/>
                  </a:spcBef>
                  <a:spcAft>
                    <a:spcPct val="0"/>
                  </a:spcAft>
                  <a:defRPr/>
                </a:pPr>
                <a:endParaRPr lang="en-US" sz="2205" kern="0" spc="-55">
                  <a:gradFill>
                    <a:gsLst>
                      <a:gs pos="0">
                        <a:srgbClr val="FFFFFF"/>
                      </a:gs>
                      <a:gs pos="100000">
                        <a:srgbClr val="FFFFFF"/>
                      </a:gs>
                    </a:gsLst>
                    <a:lin ang="5400000" scaled="0"/>
                  </a:gradFill>
                  <a:latin typeface="Calibri" panose="020F0502020204030204"/>
                  <a:ea typeface="Segoe UI" pitchFamily="34" charset="0"/>
                  <a:cs typeface="Segoe UI" pitchFamily="34" charset="0"/>
                  <a:sym typeface="Segoe UI"/>
                </a:endParaRPr>
              </a:p>
            </p:txBody>
          </p:sp>
          <p:sp>
            <p:nvSpPr>
              <p:cNvPr id="226" name="Rectangle 225">
                <a:extLst>
                  <a:ext uri="{FF2B5EF4-FFF2-40B4-BE49-F238E27FC236}">
                    <a16:creationId xmlns:a16="http://schemas.microsoft.com/office/drawing/2014/main" id="{02F710E9-BF38-174C-9E32-665B5EEC5080}"/>
                  </a:ext>
                </a:extLst>
              </p:cNvPr>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00" tIns="42849" rIns="42849" bIns="85700" numCol="1" spcCol="0" rtlCol="0" fromWordArt="0" anchor="b" anchorCtr="0" forceAA="0" compatLnSpc="1">
                <a:prstTxWarp prst="textNoShape">
                  <a:avLst/>
                </a:prstTxWarp>
                <a:noAutofit/>
              </a:bodyPr>
              <a:lstStyle/>
              <a:p>
                <a:pPr algn="ctr" defTabSz="856587" fontAlgn="base">
                  <a:spcBef>
                    <a:spcPct val="0"/>
                  </a:spcBef>
                  <a:spcAft>
                    <a:spcPct val="0"/>
                  </a:spcAft>
                </a:pPr>
                <a:endParaRPr lang="en-US" sz="1688" spc="-47">
                  <a:solidFill>
                    <a:prstClr val="black"/>
                  </a:solidFill>
                  <a:latin typeface="Calibri" panose="020F0502020204030204"/>
                  <a:ea typeface="Segoe UI" pitchFamily="34" charset="0"/>
                  <a:cs typeface="Segoe UI" pitchFamily="34" charset="0"/>
                  <a:sym typeface="Segoe UI"/>
                </a:endParaRPr>
              </a:p>
            </p:txBody>
          </p:sp>
          <p:sp>
            <p:nvSpPr>
              <p:cNvPr id="227" name="Frame 5">
                <a:extLst>
                  <a:ext uri="{FF2B5EF4-FFF2-40B4-BE49-F238E27FC236}">
                    <a16:creationId xmlns:a16="http://schemas.microsoft.com/office/drawing/2014/main" id="{FAE6E35D-4B3B-144E-8CC3-AF64F2674978}"/>
                  </a:ext>
                </a:extLst>
              </p:cNvPr>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0819" tIns="50411" rIns="50411" bIns="100819" numCol="1" spcCol="0" rtlCol="0" fromWordArt="0" anchor="b" anchorCtr="0" forceAA="0" compatLnSpc="1">
                <a:prstTxWarp prst="textNoShape">
                  <a:avLst/>
                </a:prstTxWarp>
                <a:noAutofit/>
              </a:bodyPr>
              <a:lstStyle/>
              <a:p>
                <a:pPr algn="ctr" defTabSz="1007653" fontAlgn="base">
                  <a:spcBef>
                    <a:spcPct val="0"/>
                  </a:spcBef>
                  <a:spcAft>
                    <a:spcPct val="0"/>
                  </a:spcAft>
                  <a:defRPr/>
                </a:pPr>
                <a:endParaRPr lang="en-US" sz="2205" kern="0" spc="-55">
                  <a:gradFill>
                    <a:gsLst>
                      <a:gs pos="0">
                        <a:srgbClr val="FFFFFF"/>
                      </a:gs>
                      <a:gs pos="100000">
                        <a:srgbClr val="FFFFFF"/>
                      </a:gs>
                    </a:gsLst>
                    <a:lin ang="5400000" scaled="0"/>
                  </a:gradFill>
                  <a:latin typeface="Calibri" panose="020F0502020204030204"/>
                  <a:ea typeface="Segoe UI" pitchFamily="34" charset="0"/>
                  <a:cs typeface="Segoe UI" pitchFamily="34" charset="0"/>
                  <a:sym typeface="Segoe UI"/>
                </a:endParaRPr>
              </a:p>
            </p:txBody>
          </p:sp>
          <p:sp>
            <p:nvSpPr>
              <p:cNvPr id="228" name="Rectangle 227">
                <a:extLst>
                  <a:ext uri="{FF2B5EF4-FFF2-40B4-BE49-F238E27FC236}">
                    <a16:creationId xmlns:a16="http://schemas.microsoft.com/office/drawing/2014/main" id="{78C5E0A4-D3E0-8148-AFF9-735D5CECFC6E}"/>
                  </a:ext>
                </a:extLst>
              </p:cNvPr>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00" tIns="42849" rIns="42849" bIns="85700" numCol="1" spcCol="0" rtlCol="0" fromWordArt="0" anchor="b" anchorCtr="0" forceAA="0" compatLnSpc="1">
                <a:prstTxWarp prst="textNoShape">
                  <a:avLst/>
                </a:prstTxWarp>
                <a:noAutofit/>
              </a:bodyPr>
              <a:lstStyle/>
              <a:p>
                <a:pPr algn="ctr" defTabSz="856587" fontAlgn="base">
                  <a:spcBef>
                    <a:spcPct val="0"/>
                  </a:spcBef>
                  <a:spcAft>
                    <a:spcPct val="0"/>
                  </a:spcAft>
                </a:pPr>
                <a:endParaRPr lang="en-US" sz="1688" spc="-47">
                  <a:solidFill>
                    <a:prstClr val="black"/>
                  </a:solidFill>
                  <a:latin typeface="Calibri" panose="020F0502020204030204"/>
                  <a:ea typeface="Segoe UI" pitchFamily="34" charset="0"/>
                  <a:cs typeface="Segoe UI" pitchFamily="34" charset="0"/>
                  <a:sym typeface="Segoe UI"/>
                </a:endParaRPr>
              </a:p>
            </p:txBody>
          </p:sp>
          <p:sp>
            <p:nvSpPr>
              <p:cNvPr id="229" name="Frame 5">
                <a:extLst>
                  <a:ext uri="{FF2B5EF4-FFF2-40B4-BE49-F238E27FC236}">
                    <a16:creationId xmlns:a16="http://schemas.microsoft.com/office/drawing/2014/main" id="{14EF8D3F-CD89-3544-B1AE-3DA12698A446}"/>
                  </a:ext>
                </a:extLst>
              </p:cNvPr>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0819" tIns="50411" rIns="50411" bIns="100819" numCol="1" spcCol="0" rtlCol="0" fromWordArt="0" anchor="b" anchorCtr="0" forceAA="0" compatLnSpc="1">
                <a:prstTxWarp prst="textNoShape">
                  <a:avLst/>
                </a:prstTxWarp>
                <a:noAutofit/>
              </a:bodyPr>
              <a:lstStyle/>
              <a:p>
                <a:pPr algn="ctr" defTabSz="1007653" fontAlgn="base">
                  <a:spcBef>
                    <a:spcPct val="0"/>
                  </a:spcBef>
                  <a:spcAft>
                    <a:spcPct val="0"/>
                  </a:spcAft>
                  <a:defRPr/>
                </a:pPr>
                <a:endParaRPr lang="en-US" sz="2205" kern="0" spc="-55">
                  <a:gradFill>
                    <a:gsLst>
                      <a:gs pos="0">
                        <a:srgbClr val="FFFFFF"/>
                      </a:gs>
                      <a:gs pos="100000">
                        <a:srgbClr val="FFFFFF"/>
                      </a:gs>
                    </a:gsLst>
                    <a:lin ang="5400000" scaled="0"/>
                  </a:gradFill>
                  <a:latin typeface="Calibri" panose="020F0502020204030204"/>
                  <a:ea typeface="Segoe UI" pitchFamily="34" charset="0"/>
                  <a:cs typeface="Segoe UI" pitchFamily="34" charset="0"/>
                  <a:sym typeface="Segoe UI"/>
                </a:endParaRPr>
              </a:p>
            </p:txBody>
          </p:sp>
          <p:sp>
            <p:nvSpPr>
              <p:cNvPr id="230" name="Rectangle 229">
                <a:extLst>
                  <a:ext uri="{FF2B5EF4-FFF2-40B4-BE49-F238E27FC236}">
                    <a16:creationId xmlns:a16="http://schemas.microsoft.com/office/drawing/2014/main" id="{15AB2188-8C05-2C4C-9B8E-2CB2C927CC64}"/>
                  </a:ext>
                </a:extLst>
              </p:cNvPr>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00" tIns="42849" rIns="42849" bIns="85700" numCol="1" spcCol="0" rtlCol="0" fromWordArt="0" anchor="b" anchorCtr="0" forceAA="0" compatLnSpc="1">
                <a:prstTxWarp prst="textNoShape">
                  <a:avLst/>
                </a:prstTxWarp>
                <a:noAutofit/>
              </a:bodyPr>
              <a:lstStyle/>
              <a:p>
                <a:pPr algn="ctr" defTabSz="856587" fontAlgn="base">
                  <a:spcBef>
                    <a:spcPct val="0"/>
                  </a:spcBef>
                  <a:spcAft>
                    <a:spcPct val="0"/>
                  </a:spcAft>
                </a:pPr>
                <a:endParaRPr lang="en-US" sz="1688" spc="-47">
                  <a:solidFill>
                    <a:prstClr val="black"/>
                  </a:solidFill>
                  <a:latin typeface="Calibri" panose="020F0502020204030204"/>
                  <a:ea typeface="Segoe UI" pitchFamily="34" charset="0"/>
                  <a:cs typeface="Segoe UI" pitchFamily="34" charset="0"/>
                  <a:sym typeface="Segoe UI"/>
                </a:endParaRPr>
              </a:p>
            </p:txBody>
          </p:sp>
          <p:sp>
            <p:nvSpPr>
              <p:cNvPr id="231" name="Frame 5">
                <a:extLst>
                  <a:ext uri="{FF2B5EF4-FFF2-40B4-BE49-F238E27FC236}">
                    <a16:creationId xmlns:a16="http://schemas.microsoft.com/office/drawing/2014/main" id="{04632F52-D163-4645-BE91-5B168BB7AA5C}"/>
                  </a:ext>
                </a:extLst>
              </p:cNvPr>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0819" tIns="50411" rIns="50411" bIns="100819" numCol="1" spcCol="0" rtlCol="0" fromWordArt="0" anchor="b" anchorCtr="0" forceAA="0" compatLnSpc="1">
                <a:prstTxWarp prst="textNoShape">
                  <a:avLst/>
                </a:prstTxWarp>
                <a:noAutofit/>
              </a:bodyPr>
              <a:lstStyle/>
              <a:p>
                <a:pPr algn="ctr" defTabSz="1007653" fontAlgn="base">
                  <a:spcBef>
                    <a:spcPct val="0"/>
                  </a:spcBef>
                  <a:spcAft>
                    <a:spcPct val="0"/>
                  </a:spcAft>
                  <a:defRPr/>
                </a:pPr>
                <a:endParaRPr lang="en-US" sz="2205" kern="0" spc="-55">
                  <a:gradFill>
                    <a:gsLst>
                      <a:gs pos="0">
                        <a:srgbClr val="FFFFFF"/>
                      </a:gs>
                      <a:gs pos="100000">
                        <a:srgbClr val="FFFFFF"/>
                      </a:gs>
                    </a:gsLst>
                    <a:lin ang="5400000" scaled="0"/>
                  </a:gradFill>
                  <a:latin typeface="Calibri" panose="020F0502020204030204"/>
                  <a:ea typeface="Segoe UI" pitchFamily="34" charset="0"/>
                  <a:cs typeface="Segoe UI" pitchFamily="34" charset="0"/>
                  <a:sym typeface="Segoe UI"/>
                </a:endParaRPr>
              </a:p>
            </p:txBody>
          </p:sp>
          <p:sp>
            <p:nvSpPr>
              <p:cNvPr id="232" name="Rectangle 231">
                <a:extLst>
                  <a:ext uri="{FF2B5EF4-FFF2-40B4-BE49-F238E27FC236}">
                    <a16:creationId xmlns:a16="http://schemas.microsoft.com/office/drawing/2014/main" id="{5E11CF4A-970C-DE4C-8E96-445803D833FA}"/>
                  </a:ext>
                </a:extLst>
              </p:cNvPr>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00" tIns="42849" rIns="42849" bIns="85700" numCol="1" spcCol="0" rtlCol="0" fromWordArt="0" anchor="b" anchorCtr="0" forceAA="0" compatLnSpc="1">
                <a:prstTxWarp prst="textNoShape">
                  <a:avLst/>
                </a:prstTxWarp>
                <a:noAutofit/>
              </a:bodyPr>
              <a:lstStyle/>
              <a:p>
                <a:pPr algn="ctr" defTabSz="856587" fontAlgn="base">
                  <a:spcBef>
                    <a:spcPct val="0"/>
                  </a:spcBef>
                  <a:spcAft>
                    <a:spcPct val="0"/>
                  </a:spcAft>
                </a:pPr>
                <a:endParaRPr lang="en-US" sz="1688" spc="-47">
                  <a:solidFill>
                    <a:prstClr val="black"/>
                  </a:solidFill>
                  <a:latin typeface="Calibri" panose="020F0502020204030204"/>
                  <a:ea typeface="Segoe UI" pitchFamily="34" charset="0"/>
                  <a:cs typeface="Segoe UI" pitchFamily="34" charset="0"/>
                  <a:sym typeface="Segoe UI"/>
                </a:endParaRPr>
              </a:p>
            </p:txBody>
          </p:sp>
          <p:sp>
            <p:nvSpPr>
              <p:cNvPr id="233" name="Frame 5">
                <a:extLst>
                  <a:ext uri="{FF2B5EF4-FFF2-40B4-BE49-F238E27FC236}">
                    <a16:creationId xmlns:a16="http://schemas.microsoft.com/office/drawing/2014/main" id="{EEA43C89-1AF5-3245-B3B3-810DCCA8C6AA}"/>
                  </a:ext>
                </a:extLst>
              </p:cNvPr>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0819" tIns="50411" rIns="50411" bIns="100819" numCol="1" spcCol="0" rtlCol="0" fromWordArt="0" anchor="b" anchorCtr="0" forceAA="0" compatLnSpc="1">
                <a:prstTxWarp prst="textNoShape">
                  <a:avLst/>
                </a:prstTxWarp>
                <a:noAutofit/>
              </a:bodyPr>
              <a:lstStyle/>
              <a:p>
                <a:pPr algn="ctr" defTabSz="1007653" fontAlgn="base">
                  <a:spcBef>
                    <a:spcPct val="0"/>
                  </a:spcBef>
                  <a:spcAft>
                    <a:spcPct val="0"/>
                  </a:spcAft>
                  <a:defRPr/>
                </a:pPr>
                <a:endParaRPr lang="en-US" sz="2205" kern="0" spc="-55">
                  <a:gradFill>
                    <a:gsLst>
                      <a:gs pos="0">
                        <a:srgbClr val="FFFFFF"/>
                      </a:gs>
                      <a:gs pos="100000">
                        <a:srgbClr val="FFFFFF"/>
                      </a:gs>
                    </a:gsLst>
                    <a:lin ang="5400000" scaled="0"/>
                  </a:gradFill>
                  <a:latin typeface="Calibri" panose="020F0502020204030204"/>
                  <a:ea typeface="Segoe UI" pitchFamily="34" charset="0"/>
                  <a:cs typeface="Segoe UI" pitchFamily="34" charset="0"/>
                  <a:sym typeface="Segoe UI"/>
                </a:endParaRPr>
              </a:p>
            </p:txBody>
          </p:sp>
          <p:sp>
            <p:nvSpPr>
              <p:cNvPr id="234" name="Rectangle 233">
                <a:extLst>
                  <a:ext uri="{FF2B5EF4-FFF2-40B4-BE49-F238E27FC236}">
                    <a16:creationId xmlns:a16="http://schemas.microsoft.com/office/drawing/2014/main" id="{79E4B9B9-07A3-494A-B363-0E9337931406}"/>
                  </a:ext>
                </a:extLst>
              </p:cNvPr>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00" tIns="42849" rIns="42849" bIns="85700" numCol="1" spcCol="0" rtlCol="0" fromWordArt="0" anchor="b" anchorCtr="0" forceAA="0" compatLnSpc="1">
                <a:prstTxWarp prst="textNoShape">
                  <a:avLst/>
                </a:prstTxWarp>
                <a:noAutofit/>
              </a:bodyPr>
              <a:lstStyle/>
              <a:p>
                <a:pPr algn="ctr" defTabSz="856587" fontAlgn="base">
                  <a:spcBef>
                    <a:spcPct val="0"/>
                  </a:spcBef>
                  <a:spcAft>
                    <a:spcPct val="0"/>
                  </a:spcAft>
                </a:pPr>
                <a:endParaRPr lang="en-US" sz="1688" spc="-47">
                  <a:solidFill>
                    <a:prstClr val="black"/>
                  </a:solidFill>
                  <a:latin typeface="Calibri" panose="020F0502020204030204"/>
                  <a:ea typeface="Segoe UI" pitchFamily="34" charset="0"/>
                  <a:cs typeface="Segoe UI" pitchFamily="34" charset="0"/>
                  <a:sym typeface="Segoe UI"/>
                </a:endParaRPr>
              </a:p>
            </p:txBody>
          </p:sp>
          <p:sp>
            <p:nvSpPr>
              <p:cNvPr id="235" name="Frame 5">
                <a:extLst>
                  <a:ext uri="{FF2B5EF4-FFF2-40B4-BE49-F238E27FC236}">
                    <a16:creationId xmlns:a16="http://schemas.microsoft.com/office/drawing/2014/main" id="{9CA678BC-5425-FD47-8A74-34865C7AB4BA}"/>
                  </a:ext>
                </a:extLst>
              </p:cNvPr>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0819" tIns="50411" rIns="50411" bIns="100819" numCol="1" spcCol="0" rtlCol="0" fromWordArt="0" anchor="b" anchorCtr="0" forceAA="0" compatLnSpc="1">
                <a:prstTxWarp prst="textNoShape">
                  <a:avLst/>
                </a:prstTxWarp>
                <a:noAutofit/>
              </a:bodyPr>
              <a:lstStyle/>
              <a:p>
                <a:pPr algn="ctr" defTabSz="1007653" fontAlgn="base">
                  <a:spcBef>
                    <a:spcPct val="0"/>
                  </a:spcBef>
                  <a:spcAft>
                    <a:spcPct val="0"/>
                  </a:spcAft>
                  <a:defRPr/>
                </a:pPr>
                <a:endParaRPr lang="en-US" sz="2205" kern="0" spc="-55">
                  <a:gradFill>
                    <a:gsLst>
                      <a:gs pos="0">
                        <a:srgbClr val="FFFFFF"/>
                      </a:gs>
                      <a:gs pos="100000">
                        <a:srgbClr val="FFFFFF"/>
                      </a:gs>
                    </a:gsLst>
                    <a:lin ang="5400000" scaled="0"/>
                  </a:gradFill>
                  <a:latin typeface="Calibri" panose="020F0502020204030204"/>
                  <a:ea typeface="Segoe UI" pitchFamily="34" charset="0"/>
                  <a:cs typeface="Segoe UI" pitchFamily="34" charset="0"/>
                  <a:sym typeface="Segoe UI"/>
                </a:endParaRPr>
              </a:p>
            </p:txBody>
          </p:sp>
          <p:sp>
            <p:nvSpPr>
              <p:cNvPr id="236" name="Rectangle 235">
                <a:extLst>
                  <a:ext uri="{FF2B5EF4-FFF2-40B4-BE49-F238E27FC236}">
                    <a16:creationId xmlns:a16="http://schemas.microsoft.com/office/drawing/2014/main" id="{FB0D9CC2-0CFE-FA4E-A365-9E3352F1817D}"/>
                  </a:ext>
                </a:extLst>
              </p:cNvPr>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00" tIns="42849" rIns="42849" bIns="85700" numCol="1" spcCol="0" rtlCol="0" fromWordArt="0" anchor="b" anchorCtr="0" forceAA="0" compatLnSpc="1">
                <a:prstTxWarp prst="textNoShape">
                  <a:avLst/>
                </a:prstTxWarp>
                <a:noAutofit/>
              </a:bodyPr>
              <a:lstStyle/>
              <a:p>
                <a:pPr algn="ctr" defTabSz="856587" fontAlgn="base">
                  <a:spcBef>
                    <a:spcPct val="0"/>
                  </a:spcBef>
                  <a:spcAft>
                    <a:spcPct val="0"/>
                  </a:spcAft>
                </a:pPr>
                <a:endParaRPr lang="en-US" sz="1688" spc="-47">
                  <a:solidFill>
                    <a:prstClr val="black"/>
                  </a:solidFill>
                  <a:latin typeface="Calibri" panose="020F0502020204030204"/>
                  <a:ea typeface="Segoe UI" pitchFamily="34" charset="0"/>
                  <a:cs typeface="Segoe UI" pitchFamily="34" charset="0"/>
                  <a:sym typeface="Segoe UI"/>
                </a:endParaRPr>
              </a:p>
            </p:txBody>
          </p:sp>
          <p:sp>
            <p:nvSpPr>
              <p:cNvPr id="237" name="Frame 5">
                <a:extLst>
                  <a:ext uri="{FF2B5EF4-FFF2-40B4-BE49-F238E27FC236}">
                    <a16:creationId xmlns:a16="http://schemas.microsoft.com/office/drawing/2014/main" id="{A0FB93FE-BF37-0748-9463-FC7430A7B524}"/>
                  </a:ext>
                </a:extLst>
              </p:cNvPr>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0819" tIns="50411" rIns="50411" bIns="100819" numCol="1" spcCol="0" rtlCol="0" fromWordArt="0" anchor="b" anchorCtr="0" forceAA="0" compatLnSpc="1">
                <a:prstTxWarp prst="textNoShape">
                  <a:avLst/>
                </a:prstTxWarp>
                <a:noAutofit/>
              </a:bodyPr>
              <a:lstStyle/>
              <a:p>
                <a:pPr algn="ctr" defTabSz="1007653" fontAlgn="base">
                  <a:spcBef>
                    <a:spcPct val="0"/>
                  </a:spcBef>
                  <a:spcAft>
                    <a:spcPct val="0"/>
                  </a:spcAft>
                  <a:defRPr/>
                </a:pPr>
                <a:endParaRPr lang="en-US" sz="2205" kern="0" spc="-55">
                  <a:gradFill>
                    <a:gsLst>
                      <a:gs pos="0">
                        <a:srgbClr val="FFFFFF"/>
                      </a:gs>
                      <a:gs pos="100000">
                        <a:srgbClr val="FFFFFF"/>
                      </a:gs>
                    </a:gsLst>
                    <a:lin ang="5400000" scaled="0"/>
                  </a:gradFill>
                  <a:latin typeface="Calibri" panose="020F0502020204030204"/>
                  <a:ea typeface="Segoe UI" pitchFamily="34" charset="0"/>
                  <a:cs typeface="Segoe UI" pitchFamily="34" charset="0"/>
                  <a:sym typeface="Segoe UI"/>
                </a:endParaRPr>
              </a:p>
            </p:txBody>
          </p:sp>
          <p:sp>
            <p:nvSpPr>
              <p:cNvPr id="238" name="Rectangle 237">
                <a:extLst>
                  <a:ext uri="{FF2B5EF4-FFF2-40B4-BE49-F238E27FC236}">
                    <a16:creationId xmlns:a16="http://schemas.microsoft.com/office/drawing/2014/main" id="{9A21B846-6A7C-0C4A-B178-2BC4231360DA}"/>
                  </a:ext>
                </a:extLst>
              </p:cNvPr>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00" tIns="42849" rIns="42849" bIns="85700" numCol="1" spcCol="0" rtlCol="0" fromWordArt="0" anchor="b" anchorCtr="0" forceAA="0" compatLnSpc="1">
                <a:prstTxWarp prst="textNoShape">
                  <a:avLst/>
                </a:prstTxWarp>
                <a:noAutofit/>
              </a:bodyPr>
              <a:lstStyle/>
              <a:p>
                <a:pPr algn="ctr" defTabSz="856587" fontAlgn="base">
                  <a:spcBef>
                    <a:spcPct val="0"/>
                  </a:spcBef>
                  <a:spcAft>
                    <a:spcPct val="0"/>
                  </a:spcAft>
                </a:pPr>
                <a:endParaRPr lang="en-US" sz="1688" spc="-47">
                  <a:solidFill>
                    <a:prstClr val="black"/>
                  </a:solidFill>
                  <a:latin typeface="Calibri" panose="020F0502020204030204"/>
                  <a:ea typeface="Segoe UI" pitchFamily="34" charset="0"/>
                  <a:cs typeface="Segoe UI" pitchFamily="34" charset="0"/>
                  <a:sym typeface="Segoe UI"/>
                </a:endParaRPr>
              </a:p>
            </p:txBody>
          </p:sp>
          <p:sp>
            <p:nvSpPr>
              <p:cNvPr id="239" name="Frame 5">
                <a:extLst>
                  <a:ext uri="{FF2B5EF4-FFF2-40B4-BE49-F238E27FC236}">
                    <a16:creationId xmlns:a16="http://schemas.microsoft.com/office/drawing/2014/main" id="{EED66A39-BA3D-E443-AF2B-B94E03BB7EA9}"/>
                  </a:ext>
                </a:extLst>
              </p:cNvPr>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0819" tIns="50411" rIns="50411" bIns="100819" numCol="1" spcCol="0" rtlCol="0" fromWordArt="0" anchor="b" anchorCtr="0" forceAA="0" compatLnSpc="1">
                <a:prstTxWarp prst="textNoShape">
                  <a:avLst/>
                </a:prstTxWarp>
                <a:noAutofit/>
              </a:bodyPr>
              <a:lstStyle/>
              <a:p>
                <a:pPr algn="ctr" defTabSz="1007653" fontAlgn="base">
                  <a:spcBef>
                    <a:spcPct val="0"/>
                  </a:spcBef>
                  <a:spcAft>
                    <a:spcPct val="0"/>
                  </a:spcAft>
                  <a:defRPr/>
                </a:pPr>
                <a:endParaRPr lang="en-US" sz="2205" kern="0" spc="-55">
                  <a:gradFill>
                    <a:gsLst>
                      <a:gs pos="0">
                        <a:srgbClr val="FFFFFF"/>
                      </a:gs>
                      <a:gs pos="100000">
                        <a:srgbClr val="FFFFFF"/>
                      </a:gs>
                    </a:gsLst>
                    <a:lin ang="5400000" scaled="0"/>
                  </a:gradFill>
                  <a:latin typeface="Calibri" panose="020F0502020204030204"/>
                  <a:ea typeface="Segoe UI" pitchFamily="34" charset="0"/>
                  <a:cs typeface="Segoe UI" pitchFamily="34" charset="0"/>
                  <a:sym typeface="Segoe UI"/>
                </a:endParaRPr>
              </a:p>
            </p:txBody>
          </p:sp>
          <p:sp>
            <p:nvSpPr>
              <p:cNvPr id="240" name="Rectangle 239">
                <a:extLst>
                  <a:ext uri="{FF2B5EF4-FFF2-40B4-BE49-F238E27FC236}">
                    <a16:creationId xmlns:a16="http://schemas.microsoft.com/office/drawing/2014/main" id="{1123CE0C-1C1A-C545-A751-C65795CC67EE}"/>
                  </a:ext>
                </a:extLst>
              </p:cNvPr>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00" tIns="42849" rIns="42849" bIns="85700" numCol="1" spcCol="0" rtlCol="0" fromWordArt="0" anchor="b" anchorCtr="0" forceAA="0" compatLnSpc="1">
                <a:prstTxWarp prst="textNoShape">
                  <a:avLst/>
                </a:prstTxWarp>
                <a:noAutofit/>
              </a:bodyPr>
              <a:lstStyle/>
              <a:p>
                <a:pPr algn="ctr" defTabSz="856587" fontAlgn="base">
                  <a:spcBef>
                    <a:spcPct val="0"/>
                  </a:spcBef>
                  <a:spcAft>
                    <a:spcPct val="0"/>
                  </a:spcAft>
                </a:pPr>
                <a:endParaRPr lang="en-US" sz="1688" spc="-47">
                  <a:solidFill>
                    <a:prstClr val="black"/>
                  </a:solidFill>
                  <a:latin typeface="Calibri" panose="020F0502020204030204"/>
                  <a:ea typeface="Segoe UI" pitchFamily="34" charset="0"/>
                  <a:cs typeface="Segoe UI" pitchFamily="34" charset="0"/>
                  <a:sym typeface="Segoe UI"/>
                </a:endParaRPr>
              </a:p>
            </p:txBody>
          </p:sp>
          <p:sp>
            <p:nvSpPr>
              <p:cNvPr id="241" name="Frame 5">
                <a:extLst>
                  <a:ext uri="{FF2B5EF4-FFF2-40B4-BE49-F238E27FC236}">
                    <a16:creationId xmlns:a16="http://schemas.microsoft.com/office/drawing/2014/main" id="{67422F38-C1FB-3247-8516-A9CA6A004905}"/>
                  </a:ext>
                </a:extLst>
              </p:cNvPr>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0819" tIns="50411" rIns="50411" bIns="100819" numCol="1" spcCol="0" rtlCol="0" fromWordArt="0" anchor="b" anchorCtr="0" forceAA="0" compatLnSpc="1">
                <a:prstTxWarp prst="textNoShape">
                  <a:avLst/>
                </a:prstTxWarp>
                <a:noAutofit/>
              </a:bodyPr>
              <a:lstStyle/>
              <a:p>
                <a:pPr algn="ctr" defTabSz="1007653" fontAlgn="base">
                  <a:spcBef>
                    <a:spcPct val="0"/>
                  </a:spcBef>
                  <a:spcAft>
                    <a:spcPct val="0"/>
                  </a:spcAft>
                  <a:defRPr/>
                </a:pPr>
                <a:endParaRPr lang="en-US" sz="2205" kern="0" spc="-55">
                  <a:gradFill>
                    <a:gsLst>
                      <a:gs pos="0">
                        <a:srgbClr val="FFFFFF"/>
                      </a:gs>
                      <a:gs pos="100000">
                        <a:srgbClr val="FFFFFF"/>
                      </a:gs>
                    </a:gsLst>
                    <a:lin ang="5400000" scaled="0"/>
                  </a:gradFill>
                  <a:latin typeface="Calibri" panose="020F0502020204030204"/>
                  <a:ea typeface="Segoe UI" pitchFamily="34" charset="0"/>
                  <a:cs typeface="Segoe UI" pitchFamily="34" charset="0"/>
                  <a:sym typeface="Segoe UI"/>
                </a:endParaRPr>
              </a:p>
            </p:txBody>
          </p:sp>
          <p:sp>
            <p:nvSpPr>
              <p:cNvPr id="242" name="Rectangle 241">
                <a:extLst>
                  <a:ext uri="{FF2B5EF4-FFF2-40B4-BE49-F238E27FC236}">
                    <a16:creationId xmlns:a16="http://schemas.microsoft.com/office/drawing/2014/main" id="{E2CD6837-FDD1-E649-B7B6-83FC565C481B}"/>
                  </a:ext>
                </a:extLst>
              </p:cNvPr>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00" tIns="42849" rIns="42849" bIns="85700" numCol="1" spcCol="0" rtlCol="0" fromWordArt="0" anchor="b" anchorCtr="0" forceAA="0" compatLnSpc="1">
                <a:prstTxWarp prst="textNoShape">
                  <a:avLst/>
                </a:prstTxWarp>
                <a:noAutofit/>
              </a:bodyPr>
              <a:lstStyle/>
              <a:p>
                <a:pPr algn="ctr" defTabSz="856587" fontAlgn="base">
                  <a:spcBef>
                    <a:spcPct val="0"/>
                  </a:spcBef>
                  <a:spcAft>
                    <a:spcPct val="0"/>
                  </a:spcAft>
                </a:pPr>
                <a:endParaRPr lang="en-US" sz="1688" spc="-47">
                  <a:solidFill>
                    <a:prstClr val="black"/>
                  </a:solidFill>
                  <a:latin typeface="Calibri" panose="020F0502020204030204"/>
                  <a:ea typeface="Segoe UI" pitchFamily="34" charset="0"/>
                  <a:cs typeface="Segoe UI" pitchFamily="34" charset="0"/>
                  <a:sym typeface="Segoe UI"/>
                </a:endParaRPr>
              </a:p>
            </p:txBody>
          </p:sp>
          <p:sp>
            <p:nvSpPr>
              <p:cNvPr id="243" name="Frame 5">
                <a:extLst>
                  <a:ext uri="{FF2B5EF4-FFF2-40B4-BE49-F238E27FC236}">
                    <a16:creationId xmlns:a16="http://schemas.microsoft.com/office/drawing/2014/main" id="{29A25F75-C7DA-BD47-9573-CDE9C9F2E2EF}"/>
                  </a:ext>
                </a:extLst>
              </p:cNvPr>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0819" tIns="50411" rIns="50411" bIns="100819" numCol="1" spcCol="0" rtlCol="0" fromWordArt="0" anchor="b" anchorCtr="0" forceAA="0" compatLnSpc="1">
                <a:prstTxWarp prst="textNoShape">
                  <a:avLst/>
                </a:prstTxWarp>
                <a:noAutofit/>
              </a:bodyPr>
              <a:lstStyle/>
              <a:p>
                <a:pPr algn="ctr" defTabSz="1007653" fontAlgn="base">
                  <a:spcBef>
                    <a:spcPct val="0"/>
                  </a:spcBef>
                  <a:spcAft>
                    <a:spcPct val="0"/>
                  </a:spcAft>
                  <a:defRPr/>
                </a:pPr>
                <a:endParaRPr lang="en-US" sz="2205" kern="0" spc="-55">
                  <a:gradFill>
                    <a:gsLst>
                      <a:gs pos="0">
                        <a:srgbClr val="FFFFFF"/>
                      </a:gs>
                      <a:gs pos="100000">
                        <a:srgbClr val="FFFFFF"/>
                      </a:gs>
                    </a:gsLst>
                    <a:lin ang="5400000" scaled="0"/>
                  </a:gradFill>
                  <a:latin typeface="Calibri" panose="020F0502020204030204"/>
                  <a:ea typeface="Segoe UI" pitchFamily="34" charset="0"/>
                  <a:cs typeface="Segoe UI" pitchFamily="34" charset="0"/>
                  <a:sym typeface="Segoe UI"/>
                </a:endParaRPr>
              </a:p>
            </p:txBody>
          </p:sp>
          <p:sp>
            <p:nvSpPr>
              <p:cNvPr id="244" name="Rectangle 243">
                <a:extLst>
                  <a:ext uri="{FF2B5EF4-FFF2-40B4-BE49-F238E27FC236}">
                    <a16:creationId xmlns:a16="http://schemas.microsoft.com/office/drawing/2014/main" id="{66E97D80-BFB5-084B-8361-F1EAE7A432A3}"/>
                  </a:ext>
                </a:extLst>
              </p:cNvPr>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00" tIns="42849" rIns="42849" bIns="85700" numCol="1" spcCol="0" rtlCol="0" fromWordArt="0" anchor="b" anchorCtr="0" forceAA="0" compatLnSpc="1">
                <a:prstTxWarp prst="textNoShape">
                  <a:avLst/>
                </a:prstTxWarp>
                <a:noAutofit/>
              </a:bodyPr>
              <a:lstStyle/>
              <a:p>
                <a:pPr algn="ctr" defTabSz="856587" fontAlgn="base">
                  <a:spcBef>
                    <a:spcPct val="0"/>
                  </a:spcBef>
                  <a:spcAft>
                    <a:spcPct val="0"/>
                  </a:spcAft>
                </a:pPr>
                <a:endParaRPr lang="en-US" sz="1688" spc="-47">
                  <a:solidFill>
                    <a:prstClr val="black"/>
                  </a:solidFill>
                  <a:latin typeface="Calibri" panose="020F0502020204030204"/>
                  <a:ea typeface="Segoe UI" pitchFamily="34" charset="0"/>
                  <a:cs typeface="Segoe UI" pitchFamily="34" charset="0"/>
                  <a:sym typeface="Segoe UI"/>
                </a:endParaRPr>
              </a:p>
            </p:txBody>
          </p:sp>
          <p:sp>
            <p:nvSpPr>
              <p:cNvPr id="245" name="Frame 5">
                <a:extLst>
                  <a:ext uri="{FF2B5EF4-FFF2-40B4-BE49-F238E27FC236}">
                    <a16:creationId xmlns:a16="http://schemas.microsoft.com/office/drawing/2014/main" id="{B00B41C6-1810-A347-82CD-F6A122008314}"/>
                  </a:ext>
                </a:extLst>
              </p:cNvPr>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0819" tIns="50411" rIns="50411" bIns="100819" numCol="1" spcCol="0" rtlCol="0" fromWordArt="0" anchor="b" anchorCtr="0" forceAA="0" compatLnSpc="1">
                <a:prstTxWarp prst="textNoShape">
                  <a:avLst/>
                </a:prstTxWarp>
                <a:noAutofit/>
              </a:bodyPr>
              <a:lstStyle/>
              <a:p>
                <a:pPr algn="ctr" defTabSz="1007653" fontAlgn="base">
                  <a:spcBef>
                    <a:spcPct val="0"/>
                  </a:spcBef>
                  <a:spcAft>
                    <a:spcPct val="0"/>
                  </a:spcAft>
                  <a:defRPr/>
                </a:pPr>
                <a:endParaRPr lang="en-US" sz="2205" kern="0" spc="-55">
                  <a:gradFill>
                    <a:gsLst>
                      <a:gs pos="0">
                        <a:srgbClr val="FFFFFF"/>
                      </a:gs>
                      <a:gs pos="100000">
                        <a:srgbClr val="FFFFFF"/>
                      </a:gs>
                    </a:gsLst>
                    <a:lin ang="5400000" scaled="0"/>
                  </a:gradFill>
                  <a:latin typeface="Calibri" panose="020F0502020204030204"/>
                  <a:ea typeface="Segoe UI" pitchFamily="34" charset="0"/>
                  <a:cs typeface="Segoe UI" pitchFamily="34" charset="0"/>
                  <a:sym typeface="Segoe UI"/>
                </a:endParaRPr>
              </a:p>
            </p:txBody>
          </p:sp>
        </p:grpSp>
        <p:grpSp>
          <p:nvGrpSpPr>
            <p:cNvPr id="246" name="3 Protocol Adaptation">
              <a:extLst>
                <a:ext uri="{FF2B5EF4-FFF2-40B4-BE49-F238E27FC236}">
                  <a16:creationId xmlns:a16="http://schemas.microsoft.com/office/drawing/2014/main" id="{95C2D4CB-4E44-5245-BC6E-900A74A4F348}"/>
                </a:ext>
              </a:extLst>
            </p:cNvPr>
            <p:cNvGrpSpPr/>
            <p:nvPr/>
          </p:nvGrpSpPr>
          <p:grpSpPr>
            <a:xfrm>
              <a:off x="3019763" y="2721471"/>
              <a:ext cx="778489" cy="995840"/>
              <a:chOff x="2503269" y="3539000"/>
              <a:chExt cx="901479" cy="1062230"/>
            </a:xfrm>
          </p:grpSpPr>
          <p:sp>
            <p:nvSpPr>
              <p:cNvPr id="247" name="Rectangle 246">
                <a:extLst>
                  <a:ext uri="{FF2B5EF4-FFF2-40B4-BE49-F238E27FC236}">
                    <a16:creationId xmlns:a16="http://schemas.microsoft.com/office/drawing/2014/main" id="{E094F12F-355D-FB40-B250-577EB4325ADF}"/>
                  </a:ext>
                </a:extLst>
              </p:cNvPr>
              <p:cNvSpPr/>
              <p:nvPr/>
            </p:nvSpPr>
            <p:spPr bwMode="auto">
              <a:xfrm>
                <a:off x="2503269" y="3539000"/>
                <a:ext cx="901479"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85725" rIns="0" bIns="85700" numCol="1" spcCol="0" rtlCol="0" fromWordArt="0" anchor="b" anchorCtr="0" forceAA="0" compatLnSpc="1">
                <a:prstTxWarp prst="textNoShape">
                  <a:avLst/>
                </a:prstTxWarp>
                <a:noAutofit/>
              </a:bodyPr>
              <a:lstStyle/>
              <a:p>
                <a:pPr defTabSz="856587" fontAlgn="base">
                  <a:lnSpc>
                    <a:spcPct val="90000"/>
                  </a:lnSpc>
                  <a:spcBef>
                    <a:spcPct val="0"/>
                  </a:spcBef>
                  <a:spcAft>
                    <a:spcPts val="563"/>
                  </a:spcAft>
                </a:pPr>
                <a:r>
                  <a:rPr lang="en-US" sz="1031">
                    <a:solidFill>
                      <a:srgbClr val="404040">
                        <a:lumMod val="50000"/>
                      </a:srgbClr>
                    </a:solidFill>
                    <a:latin typeface="Segoe UI Semibold" panose="020B0702040204020203" pitchFamily="34" charset="0"/>
                    <a:ea typeface="Segoe UI" pitchFamily="34" charset="0"/>
                    <a:cs typeface="Segoe UI" pitchFamily="34" charset="0"/>
                    <a:sym typeface="Segoe UI"/>
                  </a:rPr>
                  <a:t>Protocol Adaptation</a:t>
                </a:r>
              </a:p>
            </p:txBody>
          </p:sp>
          <p:sp>
            <p:nvSpPr>
              <p:cNvPr id="248" name="Rectangle 31">
                <a:extLst>
                  <a:ext uri="{FF2B5EF4-FFF2-40B4-BE49-F238E27FC236}">
                    <a16:creationId xmlns:a16="http://schemas.microsoft.com/office/drawing/2014/main" id="{6C2827B7-91D9-1B45-87EB-1135A5190B26}"/>
                  </a:ext>
                </a:extLst>
              </p:cNvPr>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249" name="Rectangle 32">
                <a:extLst>
                  <a:ext uri="{FF2B5EF4-FFF2-40B4-BE49-F238E27FC236}">
                    <a16:creationId xmlns:a16="http://schemas.microsoft.com/office/drawing/2014/main" id="{E7F5CBCD-A7AF-394D-A0B0-F9934A56A7C9}"/>
                  </a:ext>
                </a:extLst>
              </p:cNvPr>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250" name="Rectangle 33">
                <a:extLst>
                  <a:ext uri="{FF2B5EF4-FFF2-40B4-BE49-F238E27FC236}">
                    <a16:creationId xmlns:a16="http://schemas.microsoft.com/office/drawing/2014/main" id="{8CD12F48-BBF8-0547-858C-FFEB73DD8CD2}"/>
                  </a:ext>
                </a:extLst>
              </p:cNvPr>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251" name="Rectangle 35">
                <a:extLst>
                  <a:ext uri="{FF2B5EF4-FFF2-40B4-BE49-F238E27FC236}">
                    <a16:creationId xmlns:a16="http://schemas.microsoft.com/office/drawing/2014/main" id="{9964CEAA-3E09-D249-BAA1-ABDB18060A02}"/>
                  </a:ext>
                </a:extLst>
              </p:cNvPr>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252" name="Rectangle 38">
                <a:extLst>
                  <a:ext uri="{FF2B5EF4-FFF2-40B4-BE49-F238E27FC236}">
                    <a16:creationId xmlns:a16="http://schemas.microsoft.com/office/drawing/2014/main" id="{A49E4D0C-27F1-6845-9570-30D97CCCF7F3}"/>
                  </a:ext>
                </a:extLst>
              </p:cNvPr>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cxnSp>
            <p:nvCxnSpPr>
              <p:cNvPr id="253" name="Elbow Connector 252">
                <a:extLst>
                  <a:ext uri="{FF2B5EF4-FFF2-40B4-BE49-F238E27FC236}">
                    <a16:creationId xmlns:a16="http://schemas.microsoft.com/office/drawing/2014/main" id="{CAEA59EA-3D1A-C749-8701-EBB3F58F80E3}"/>
                  </a:ext>
                </a:extLst>
              </p:cNvPr>
              <p:cNvCxnSpPr>
                <a:stCxn id="262" idx="3"/>
                <a:endCxn id="265"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4" name="Elbow Connector 253">
                <a:extLst>
                  <a:ext uri="{FF2B5EF4-FFF2-40B4-BE49-F238E27FC236}">
                    <a16:creationId xmlns:a16="http://schemas.microsoft.com/office/drawing/2014/main" id="{C15E1AFF-6B9D-2E4C-84BB-FA7578A42616}"/>
                  </a:ext>
                </a:extLst>
              </p:cNvPr>
              <p:cNvCxnSpPr>
                <a:stCxn id="263" idx="3"/>
                <a:endCxn id="265"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5" name="Elbow Connector 254">
                <a:extLst>
                  <a:ext uri="{FF2B5EF4-FFF2-40B4-BE49-F238E27FC236}">
                    <a16:creationId xmlns:a16="http://schemas.microsoft.com/office/drawing/2014/main" id="{813D48F2-FA25-234B-92D1-277D9450CD20}"/>
                  </a:ext>
                </a:extLst>
              </p:cNvPr>
              <p:cNvCxnSpPr>
                <a:stCxn id="264" idx="3"/>
                <a:endCxn id="265"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6" name="Elbow Connector 255">
                <a:extLst>
                  <a:ext uri="{FF2B5EF4-FFF2-40B4-BE49-F238E27FC236}">
                    <a16:creationId xmlns:a16="http://schemas.microsoft.com/office/drawing/2014/main" id="{AF0FBA86-3A14-EC40-99D5-CDF1756E5179}"/>
                  </a:ext>
                </a:extLst>
              </p:cNvPr>
              <p:cNvCxnSpPr>
                <a:stCxn id="266" idx="3"/>
                <a:endCxn id="265"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57" name="4  Batch Analytics &amp; Visualizations">
              <a:extLst>
                <a:ext uri="{FF2B5EF4-FFF2-40B4-BE49-F238E27FC236}">
                  <a16:creationId xmlns:a16="http://schemas.microsoft.com/office/drawing/2014/main" id="{D4C3D416-BBDD-364B-9A80-B208DAB097E1}"/>
                </a:ext>
              </a:extLst>
            </p:cNvPr>
            <p:cNvGrpSpPr/>
            <p:nvPr/>
          </p:nvGrpSpPr>
          <p:grpSpPr>
            <a:xfrm>
              <a:off x="5356829" y="2325644"/>
              <a:ext cx="3442601" cy="1129031"/>
              <a:chOff x="5450423" y="2008244"/>
              <a:chExt cx="3672108" cy="1204299"/>
            </a:xfrm>
            <a:solidFill>
              <a:schemeClr val="bg1"/>
            </a:solidFill>
          </p:grpSpPr>
          <p:sp>
            <p:nvSpPr>
              <p:cNvPr id="258" name="Rectangle 257">
                <a:extLst>
                  <a:ext uri="{FF2B5EF4-FFF2-40B4-BE49-F238E27FC236}">
                    <a16:creationId xmlns:a16="http://schemas.microsoft.com/office/drawing/2014/main" id="{CD073AE6-8971-124F-A202-1E3140357A0B}"/>
                  </a:ext>
                </a:extLst>
              </p:cNvPr>
              <p:cNvSpPr/>
              <p:nvPr/>
            </p:nvSpPr>
            <p:spPr bwMode="auto">
              <a:xfrm rot="16200000">
                <a:off x="6684327" y="774340"/>
                <a:ext cx="1204299" cy="3672108"/>
              </a:xfrm>
              <a:prstGeom prst="rect">
                <a:avLst/>
              </a:prstGeom>
              <a:solidFill>
                <a:schemeClr val="bg1"/>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85725" tIns="85725" rIns="0" bIns="85700" numCol="1" spcCol="0" rtlCol="0" fromWordArt="0" anchor="b" anchorCtr="0" forceAA="0" compatLnSpc="1">
                <a:prstTxWarp prst="textNoShape">
                  <a:avLst/>
                </a:prstTxWarp>
                <a:noAutofit/>
              </a:bodyPr>
              <a:lstStyle/>
              <a:p>
                <a:pPr defTabSz="856587" fontAlgn="base">
                  <a:lnSpc>
                    <a:spcPct val="90000"/>
                  </a:lnSpc>
                  <a:spcBef>
                    <a:spcPct val="0"/>
                  </a:spcBef>
                  <a:spcAft>
                    <a:spcPts val="563"/>
                  </a:spcAft>
                </a:pPr>
                <a:r>
                  <a:rPr lang="en-US" sz="1031" b="1">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sym typeface="Segoe UI"/>
                  </a:rPr>
                  <a:t>Cold Path Analytics</a:t>
                </a:r>
              </a:p>
            </p:txBody>
          </p:sp>
          <p:sp>
            <p:nvSpPr>
              <p:cNvPr id="259" name="Donut 15">
                <a:extLst>
                  <a:ext uri="{FF2B5EF4-FFF2-40B4-BE49-F238E27FC236}">
                    <a16:creationId xmlns:a16="http://schemas.microsoft.com/office/drawing/2014/main" id="{285C3450-74DD-E043-9BA6-0782BAF349B4}"/>
                  </a:ext>
                </a:extLst>
              </p:cNvPr>
              <p:cNvSpPr/>
              <p:nvPr/>
            </p:nvSpPr>
            <p:spPr bwMode="auto">
              <a:xfrm>
                <a:off x="8211129" y="2347651"/>
                <a:ext cx="201211" cy="200210"/>
              </a:xfrm>
              <a:custGeom>
                <a:avLst/>
                <a:gdLst/>
                <a:ahLst/>
                <a:cxnLst/>
                <a:rect l="l" t="t" r="r" b="b"/>
                <a:pathLst>
                  <a:path w="786988" h="783276">
                    <a:moveTo>
                      <a:pt x="469995" y="99669"/>
                    </a:moveTo>
                    <a:cubicBezTo>
                      <a:pt x="349970" y="99669"/>
                      <a:pt x="252671" y="196968"/>
                      <a:pt x="252671" y="316993"/>
                    </a:cubicBezTo>
                    <a:cubicBezTo>
                      <a:pt x="252671" y="437018"/>
                      <a:pt x="349970" y="534317"/>
                      <a:pt x="469995" y="534317"/>
                    </a:cubicBezTo>
                    <a:cubicBezTo>
                      <a:pt x="590020" y="534317"/>
                      <a:pt x="687319" y="437018"/>
                      <a:pt x="687319" y="316993"/>
                    </a:cubicBezTo>
                    <a:cubicBezTo>
                      <a:pt x="687319" y="196968"/>
                      <a:pt x="590020" y="99669"/>
                      <a:pt x="469995" y="99669"/>
                    </a:cubicBezTo>
                    <a:close/>
                    <a:moveTo>
                      <a:pt x="469995" y="0"/>
                    </a:moveTo>
                    <a:cubicBezTo>
                      <a:pt x="645065" y="0"/>
                      <a:pt x="786988" y="141923"/>
                      <a:pt x="786988" y="316993"/>
                    </a:cubicBezTo>
                    <a:cubicBezTo>
                      <a:pt x="786988" y="492063"/>
                      <a:pt x="645065" y="633986"/>
                      <a:pt x="469995" y="633986"/>
                    </a:cubicBezTo>
                    <a:cubicBezTo>
                      <a:pt x="406791" y="633986"/>
                      <a:pt x="347908" y="615489"/>
                      <a:pt x="298782" y="583117"/>
                    </a:cubicBezTo>
                    <a:lnTo>
                      <a:pt x="118646" y="762954"/>
                    </a:lnTo>
                    <a:cubicBezTo>
                      <a:pt x="91472" y="790083"/>
                      <a:pt x="47451" y="790046"/>
                      <a:pt x="20322" y="762872"/>
                    </a:cubicBezTo>
                    <a:cubicBezTo>
                      <a:pt x="-6806" y="735698"/>
                      <a:pt x="-6770" y="691678"/>
                      <a:pt x="20404" y="664549"/>
                    </a:cubicBezTo>
                    <a:lnTo>
                      <a:pt x="201471" y="483783"/>
                    </a:lnTo>
                    <a:cubicBezTo>
                      <a:pt x="170460" y="435720"/>
                      <a:pt x="153002" y="378395"/>
                      <a:pt x="153002" y="316993"/>
                    </a:cubicBezTo>
                    <a:cubicBezTo>
                      <a:pt x="153002" y="141923"/>
                      <a:pt x="294925" y="0"/>
                      <a:pt x="46999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25" tIns="42863" rIns="42863" bIns="85725" numCol="1" spcCol="0" rtlCol="0" fromWordArt="0" anchor="b" anchorCtr="0" forceAA="0" compatLnSpc="1">
                <a:prstTxWarp prst="textNoShape">
                  <a:avLst/>
                </a:prstTxWarp>
                <a:noAutofit/>
              </a:bodyPr>
              <a:lstStyle/>
              <a:p>
                <a:pPr algn="ctr" defTabSz="856916" fontAlgn="base">
                  <a:spcBef>
                    <a:spcPct val="0"/>
                  </a:spcBef>
                  <a:spcAft>
                    <a:spcPct val="0"/>
                  </a:spcAft>
                </a:pPr>
                <a:endParaRPr lang="en-US" sz="1500" spc="-47">
                  <a:gradFill>
                    <a:gsLst>
                      <a:gs pos="0">
                        <a:srgbClr val="FFFFFF"/>
                      </a:gs>
                      <a:gs pos="100000">
                        <a:srgbClr val="FFFFFF"/>
                      </a:gs>
                    </a:gsLst>
                    <a:lin ang="5400000" scaled="0"/>
                  </a:gradFill>
                  <a:latin typeface="Calibri" panose="020F0502020204030204"/>
                  <a:ea typeface="Segoe UI" pitchFamily="34" charset="0"/>
                  <a:cs typeface="Segoe UI" pitchFamily="34" charset="0"/>
                  <a:sym typeface="Segoe UI"/>
                </a:endParaRPr>
              </a:p>
            </p:txBody>
          </p:sp>
        </p:grpSp>
        <p:grpSp>
          <p:nvGrpSpPr>
            <p:cNvPr id="260" name="5 Hot Path Analytics">
              <a:extLst>
                <a:ext uri="{FF2B5EF4-FFF2-40B4-BE49-F238E27FC236}">
                  <a16:creationId xmlns:a16="http://schemas.microsoft.com/office/drawing/2014/main" id="{12E05C9E-D95A-1B47-9037-952DF967367E}"/>
                </a:ext>
              </a:extLst>
            </p:cNvPr>
            <p:cNvGrpSpPr/>
            <p:nvPr/>
          </p:nvGrpSpPr>
          <p:grpSpPr>
            <a:xfrm>
              <a:off x="5356827" y="3563599"/>
              <a:ext cx="3442601" cy="1197320"/>
              <a:chOff x="5450422" y="3278736"/>
              <a:chExt cx="3672108" cy="1184581"/>
            </a:xfrm>
          </p:grpSpPr>
          <p:sp>
            <p:nvSpPr>
              <p:cNvPr id="261" name="Rectangle 260">
                <a:extLst>
                  <a:ext uri="{FF2B5EF4-FFF2-40B4-BE49-F238E27FC236}">
                    <a16:creationId xmlns:a16="http://schemas.microsoft.com/office/drawing/2014/main" id="{49AB554D-1888-DB49-BF13-140CD5A74218}"/>
                  </a:ext>
                </a:extLst>
              </p:cNvPr>
              <p:cNvSpPr/>
              <p:nvPr/>
            </p:nvSpPr>
            <p:spPr bwMode="auto">
              <a:xfrm rot="16200000">
                <a:off x="6709892" y="2019266"/>
                <a:ext cx="1153167"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85725" tIns="85725" rIns="0" bIns="85700" numCol="1" spcCol="0" rtlCol="0" fromWordArt="0" anchor="b" anchorCtr="0" forceAA="0" compatLnSpc="1">
                <a:prstTxWarp prst="textNoShape">
                  <a:avLst/>
                </a:prstTxWarp>
                <a:noAutofit/>
              </a:bodyPr>
              <a:lstStyle/>
              <a:p>
                <a:pPr defTabSz="856587" fontAlgn="base">
                  <a:lnSpc>
                    <a:spcPct val="90000"/>
                  </a:lnSpc>
                  <a:spcBef>
                    <a:spcPct val="0"/>
                  </a:spcBef>
                  <a:spcAft>
                    <a:spcPts val="563"/>
                  </a:spcAft>
                </a:pPr>
                <a:r>
                  <a:rPr lang="en-US" sz="1031">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sym typeface="Segoe UI"/>
                  </a:rPr>
                  <a:t>Hot Path Analytics</a:t>
                </a:r>
              </a:p>
            </p:txBody>
          </p:sp>
          <p:sp>
            <p:nvSpPr>
              <p:cNvPr id="262" name="Freeform 261">
                <a:extLst>
                  <a:ext uri="{FF2B5EF4-FFF2-40B4-BE49-F238E27FC236}">
                    <a16:creationId xmlns:a16="http://schemas.microsoft.com/office/drawing/2014/main" id="{5C1D6FFA-7BF1-5147-9521-89B0F0B38A3E}"/>
                  </a:ext>
                </a:extLst>
              </p:cNvPr>
              <p:cNvSpPr/>
              <p:nvPr/>
            </p:nvSpPr>
            <p:spPr bwMode="auto">
              <a:xfrm>
                <a:off x="8082643" y="3758837"/>
                <a:ext cx="562569" cy="704480"/>
              </a:xfrm>
              <a:custGeom>
                <a:avLst/>
                <a:gdLst>
                  <a:gd name="connsiteX0" fmla="*/ 0 w 562569"/>
                  <a:gd name="connsiteY0" fmla="*/ 0 h 704480"/>
                  <a:gd name="connsiteX1" fmla="*/ 0 w 562569"/>
                  <a:gd name="connsiteY1" fmla="*/ 0 h 704480"/>
                  <a:gd name="connsiteX2" fmla="*/ 506186 w 562569"/>
                  <a:gd name="connsiteY2" fmla="*/ 568234 h 704480"/>
                  <a:gd name="connsiteX3" fmla="*/ 522514 w 562569"/>
                  <a:gd name="connsiteY3" fmla="*/ 620486 h 704480"/>
                  <a:gd name="connsiteX4" fmla="*/ 535577 w 562569"/>
                  <a:gd name="connsiteY4" fmla="*/ 649877 h 704480"/>
                  <a:gd name="connsiteX5" fmla="*/ 538843 w 562569"/>
                  <a:gd name="connsiteY5" fmla="*/ 666206 h 704480"/>
                  <a:gd name="connsiteX6" fmla="*/ 551906 w 562569"/>
                  <a:gd name="connsiteY6" fmla="*/ 679269 h 704480"/>
                  <a:gd name="connsiteX7" fmla="*/ 551906 w 562569"/>
                  <a:gd name="connsiteY7" fmla="*/ 672737 h 70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569" h="704480">
                    <a:moveTo>
                      <a:pt x="0" y="0"/>
                    </a:moveTo>
                    <a:lnTo>
                      <a:pt x="0" y="0"/>
                    </a:lnTo>
                    <a:cubicBezTo>
                      <a:pt x="168729" y="189411"/>
                      <a:pt x="340331" y="376301"/>
                      <a:pt x="506186" y="568234"/>
                    </a:cubicBezTo>
                    <a:cubicBezTo>
                      <a:pt x="525364" y="590428"/>
                      <a:pt x="515255" y="598709"/>
                      <a:pt x="522514" y="620486"/>
                    </a:cubicBezTo>
                    <a:cubicBezTo>
                      <a:pt x="533359" y="653020"/>
                      <a:pt x="530233" y="628504"/>
                      <a:pt x="535577" y="649877"/>
                    </a:cubicBezTo>
                    <a:cubicBezTo>
                      <a:pt x="536923" y="655262"/>
                      <a:pt x="536089" y="661387"/>
                      <a:pt x="538843" y="666206"/>
                    </a:cubicBezTo>
                    <a:cubicBezTo>
                      <a:pt x="601893" y="776543"/>
                      <a:pt x="515111" y="605679"/>
                      <a:pt x="551906" y="679269"/>
                    </a:cubicBezTo>
                    <a:lnTo>
                      <a:pt x="551906" y="672737"/>
                    </a:ln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57199"/>
                <a:endParaRPr lang="en-US" sz="1688">
                  <a:solidFill>
                    <a:srgbClr val="FFFFFF"/>
                  </a:solidFill>
                  <a:latin typeface="Calibri" panose="020F0502020204030204"/>
                  <a:sym typeface="Segoe UI"/>
                </a:endParaRPr>
              </a:p>
            </p:txBody>
          </p:sp>
          <p:grpSp>
            <p:nvGrpSpPr>
              <p:cNvPr id="263" name="Group 262">
                <a:extLst>
                  <a:ext uri="{FF2B5EF4-FFF2-40B4-BE49-F238E27FC236}">
                    <a16:creationId xmlns:a16="http://schemas.microsoft.com/office/drawing/2014/main" id="{ADFA6B1C-4C00-294E-9745-516FD63D7695}"/>
                  </a:ext>
                </a:extLst>
              </p:cNvPr>
              <p:cNvGrpSpPr/>
              <p:nvPr/>
            </p:nvGrpSpPr>
            <p:grpSpPr>
              <a:xfrm>
                <a:off x="8442841" y="3937201"/>
                <a:ext cx="290005" cy="203468"/>
                <a:chOff x="9441838" y="3565088"/>
                <a:chExt cx="1231545" cy="864052"/>
              </a:xfrm>
              <a:solidFill>
                <a:schemeClr val="bg1"/>
              </a:solidFill>
            </p:grpSpPr>
            <p:sp>
              <p:nvSpPr>
                <p:cNvPr id="264" name="Oval 263">
                  <a:extLst>
                    <a:ext uri="{FF2B5EF4-FFF2-40B4-BE49-F238E27FC236}">
                      <a16:creationId xmlns:a16="http://schemas.microsoft.com/office/drawing/2014/main" id="{1D9ED89A-0057-8D48-BB23-5882491DF1D3}"/>
                    </a:ext>
                  </a:extLst>
                </p:cNvPr>
                <p:cNvSpPr/>
                <p:nvPr/>
              </p:nvSpPr>
              <p:spPr bwMode="auto">
                <a:xfrm>
                  <a:off x="9916043" y="3671804"/>
                  <a:ext cx="757340" cy="75733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5725" tIns="85725" rIns="32151" bIns="32151" rtlCol="0" anchor="b" anchorCtr="0"/>
                <a:lstStyle/>
                <a:p>
                  <a:pPr algn="ctr" defTabSz="874078"/>
                  <a:endParaRPr lang="en-US" sz="749">
                    <a:gradFill>
                      <a:gsLst>
                        <a:gs pos="0">
                          <a:srgbClr val="FFFFFF"/>
                        </a:gs>
                        <a:gs pos="100000">
                          <a:srgbClr val="FFFFFF"/>
                        </a:gs>
                      </a:gsLst>
                      <a:lin ang="5400000" scaled="0"/>
                    </a:gradFill>
                    <a:latin typeface="Calibri" panose="020F0502020204030204"/>
                    <a:ea typeface="Segoe UI" pitchFamily="34" charset="0"/>
                    <a:cs typeface="Segoe UI" pitchFamily="34" charset="0"/>
                    <a:sym typeface="Segoe UI"/>
                  </a:endParaRPr>
                </a:p>
              </p:txBody>
            </p:sp>
            <p:sp>
              <p:nvSpPr>
                <p:cNvPr id="265" name="Oval 264">
                  <a:extLst>
                    <a:ext uri="{FF2B5EF4-FFF2-40B4-BE49-F238E27FC236}">
                      <a16:creationId xmlns:a16="http://schemas.microsoft.com/office/drawing/2014/main" id="{5F0DEFD0-F312-AD46-9E8D-BE710567B1BB}"/>
                    </a:ext>
                  </a:extLst>
                </p:cNvPr>
                <p:cNvSpPr/>
                <p:nvPr/>
              </p:nvSpPr>
              <p:spPr bwMode="auto">
                <a:xfrm>
                  <a:off x="9441838" y="3565088"/>
                  <a:ext cx="971392" cy="57492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5725" tIns="85725" rIns="32151" bIns="32151" rtlCol="0" anchor="b" anchorCtr="0"/>
                <a:lstStyle/>
                <a:p>
                  <a:pPr algn="ctr" defTabSz="874078"/>
                  <a:endParaRPr lang="en-US" sz="749">
                    <a:gradFill>
                      <a:gsLst>
                        <a:gs pos="0">
                          <a:srgbClr val="FFFFFF"/>
                        </a:gs>
                        <a:gs pos="100000">
                          <a:srgbClr val="FFFFFF"/>
                        </a:gs>
                      </a:gsLst>
                      <a:lin ang="5400000" scaled="0"/>
                    </a:gradFill>
                    <a:latin typeface="Calibri" panose="020F0502020204030204"/>
                    <a:ea typeface="Segoe UI" pitchFamily="34" charset="0"/>
                    <a:cs typeface="Segoe UI" pitchFamily="34" charset="0"/>
                    <a:sym typeface="Segoe UI"/>
                  </a:endParaRPr>
                </a:p>
              </p:txBody>
            </p:sp>
          </p:grpSp>
        </p:grpSp>
        <p:grpSp>
          <p:nvGrpSpPr>
            <p:cNvPr id="266" name="8">
              <a:extLst>
                <a:ext uri="{FF2B5EF4-FFF2-40B4-BE49-F238E27FC236}">
                  <a16:creationId xmlns:a16="http://schemas.microsoft.com/office/drawing/2014/main" id="{DBBE8250-5DE3-FD49-A46C-FB8BFB6B4747}"/>
                </a:ext>
              </a:extLst>
            </p:cNvPr>
            <p:cNvGrpSpPr/>
            <p:nvPr/>
          </p:nvGrpSpPr>
          <p:grpSpPr>
            <a:xfrm>
              <a:off x="9355323" y="2327200"/>
              <a:ext cx="2048983" cy="3728287"/>
              <a:chOff x="9715484" y="2009904"/>
              <a:chExt cx="2185582" cy="3976839"/>
            </a:xfrm>
          </p:grpSpPr>
          <p:sp>
            <p:nvSpPr>
              <p:cNvPr id="267" name="Rectangle 266">
                <a:extLst>
                  <a:ext uri="{FF2B5EF4-FFF2-40B4-BE49-F238E27FC236}">
                    <a16:creationId xmlns:a16="http://schemas.microsoft.com/office/drawing/2014/main" id="{74D29F97-B5AA-504E-9664-109D1CF130AD}"/>
                  </a:ext>
                </a:extLst>
              </p:cNvPr>
              <p:cNvSpPr/>
              <p:nvPr/>
            </p:nvSpPr>
            <p:spPr bwMode="auto">
              <a:xfrm>
                <a:off x="9715484" y="2009904"/>
                <a:ext cx="2185582"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25" tIns="85725" rIns="0" bIns="85700" numCol="1" spcCol="0" rtlCol="0" fromWordArt="0" anchor="b" anchorCtr="0" forceAA="0" compatLnSpc="1">
                <a:prstTxWarp prst="textNoShape">
                  <a:avLst/>
                </a:prstTxWarp>
                <a:noAutofit/>
              </a:bodyPr>
              <a:lstStyle/>
              <a:p>
                <a:pPr defTabSz="856587" fontAlgn="base">
                  <a:lnSpc>
                    <a:spcPct val="90000"/>
                  </a:lnSpc>
                  <a:spcBef>
                    <a:spcPct val="0"/>
                  </a:spcBef>
                  <a:spcAft>
                    <a:spcPts val="563"/>
                  </a:spcAft>
                </a:pPr>
                <a:endParaRPr lang="en-US" sz="1031">
                  <a:solidFill>
                    <a:srgbClr val="404040">
                      <a:lumMod val="50000"/>
                    </a:srgbClr>
                  </a:solidFill>
                  <a:latin typeface="Segoe UI Semibold" panose="020B0702040204020203" pitchFamily="34" charset="0"/>
                  <a:ea typeface="Segoe UI" pitchFamily="34" charset="0"/>
                  <a:cs typeface="Segoe UI" pitchFamily="34" charset="0"/>
                  <a:sym typeface="Segoe UI"/>
                </a:endParaRPr>
              </a:p>
              <a:p>
                <a:pPr defTabSz="856587" fontAlgn="base">
                  <a:lnSpc>
                    <a:spcPct val="90000"/>
                  </a:lnSpc>
                  <a:spcBef>
                    <a:spcPct val="0"/>
                  </a:spcBef>
                  <a:spcAft>
                    <a:spcPts val="563"/>
                  </a:spcAft>
                </a:pPr>
                <a:endParaRPr lang="en-US" sz="1031">
                  <a:solidFill>
                    <a:srgbClr val="404040">
                      <a:lumMod val="50000"/>
                    </a:srgbClr>
                  </a:solidFill>
                  <a:latin typeface="Segoe UI Semibold" panose="020B0702040204020203" pitchFamily="34" charset="0"/>
                  <a:ea typeface="Segoe UI" pitchFamily="34" charset="0"/>
                  <a:cs typeface="Segoe UI" pitchFamily="34" charset="0"/>
                  <a:sym typeface="Segoe UI"/>
                </a:endParaRPr>
              </a:p>
              <a:p>
                <a:pPr defTabSz="856587" fontAlgn="base">
                  <a:lnSpc>
                    <a:spcPct val="90000"/>
                  </a:lnSpc>
                  <a:spcBef>
                    <a:spcPct val="0"/>
                  </a:spcBef>
                  <a:spcAft>
                    <a:spcPts val="563"/>
                  </a:spcAft>
                </a:pPr>
                <a:endParaRPr lang="en-US" sz="1031">
                  <a:solidFill>
                    <a:srgbClr val="404040">
                      <a:lumMod val="50000"/>
                    </a:srgbClr>
                  </a:solidFill>
                  <a:latin typeface="Segoe UI Semibold" panose="020B0702040204020203" pitchFamily="34" charset="0"/>
                  <a:ea typeface="Segoe UI" pitchFamily="34" charset="0"/>
                  <a:cs typeface="Segoe UI" pitchFamily="34" charset="0"/>
                  <a:sym typeface="Segoe UI"/>
                </a:endParaRPr>
              </a:p>
              <a:p>
                <a:pPr defTabSz="856587" fontAlgn="base">
                  <a:lnSpc>
                    <a:spcPct val="90000"/>
                  </a:lnSpc>
                  <a:spcBef>
                    <a:spcPct val="0"/>
                  </a:spcBef>
                  <a:spcAft>
                    <a:spcPts val="563"/>
                  </a:spcAft>
                </a:pPr>
                <a:endParaRPr lang="en-US" sz="1031">
                  <a:solidFill>
                    <a:srgbClr val="404040">
                      <a:lumMod val="50000"/>
                    </a:srgbClr>
                  </a:solidFill>
                  <a:latin typeface="Segoe UI Semibold" panose="020B0702040204020203" pitchFamily="34" charset="0"/>
                  <a:ea typeface="Segoe UI" pitchFamily="34" charset="0"/>
                  <a:cs typeface="Segoe UI" pitchFamily="34" charset="0"/>
                  <a:sym typeface="Segoe UI"/>
                </a:endParaRPr>
              </a:p>
              <a:p>
                <a:pPr defTabSz="856587" fontAlgn="base">
                  <a:lnSpc>
                    <a:spcPct val="90000"/>
                  </a:lnSpc>
                  <a:spcBef>
                    <a:spcPct val="0"/>
                  </a:spcBef>
                  <a:spcAft>
                    <a:spcPts val="563"/>
                  </a:spcAft>
                </a:pPr>
                <a:r>
                  <a:rPr lang="en-US" sz="1031">
                    <a:solidFill>
                      <a:srgbClr val="404040">
                        <a:lumMod val="50000"/>
                      </a:srgbClr>
                    </a:solidFill>
                    <a:latin typeface="Segoe UI Semibold" panose="020B0702040204020203" pitchFamily="34" charset="0"/>
                    <a:ea typeface="Segoe UI" pitchFamily="34" charset="0"/>
                    <a:cs typeface="Segoe UI" pitchFamily="34" charset="0"/>
                    <a:sym typeface="Segoe UI"/>
                  </a:rPr>
                  <a:t>App Service, Websites</a:t>
                </a:r>
              </a:p>
              <a:p>
                <a:pPr defTabSz="856587" fontAlgn="base">
                  <a:lnSpc>
                    <a:spcPct val="90000"/>
                  </a:lnSpc>
                  <a:spcBef>
                    <a:spcPct val="0"/>
                  </a:spcBef>
                  <a:spcAft>
                    <a:spcPts val="563"/>
                  </a:spcAft>
                </a:pPr>
                <a:endParaRPr lang="en-US" sz="1031">
                  <a:solidFill>
                    <a:srgbClr val="404040">
                      <a:lumMod val="50000"/>
                    </a:srgbClr>
                  </a:solidFill>
                  <a:latin typeface="Segoe UI Semibold" panose="020B0702040204020203" pitchFamily="34" charset="0"/>
                  <a:ea typeface="Segoe UI" pitchFamily="34" charset="0"/>
                  <a:cs typeface="Segoe UI" pitchFamily="34" charset="0"/>
                  <a:sym typeface="Segoe UI"/>
                </a:endParaRPr>
              </a:p>
              <a:p>
                <a:pPr defTabSz="856587" fontAlgn="base">
                  <a:lnSpc>
                    <a:spcPct val="90000"/>
                  </a:lnSpc>
                  <a:spcBef>
                    <a:spcPct val="0"/>
                  </a:spcBef>
                  <a:spcAft>
                    <a:spcPts val="563"/>
                  </a:spcAft>
                </a:pPr>
                <a:endParaRPr lang="en-US" sz="1031">
                  <a:solidFill>
                    <a:srgbClr val="404040">
                      <a:lumMod val="50000"/>
                    </a:srgbClr>
                  </a:solidFill>
                  <a:latin typeface="Segoe UI Semibold" panose="020B0702040204020203" pitchFamily="34" charset="0"/>
                  <a:ea typeface="Segoe UI" pitchFamily="34" charset="0"/>
                  <a:cs typeface="Segoe UI" pitchFamily="34" charset="0"/>
                  <a:sym typeface="Segoe UI"/>
                </a:endParaRPr>
              </a:p>
              <a:p>
                <a:pPr defTabSz="856587" fontAlgn="base">
                  <a:lnSpc>
                    <a:spcPct val="90000"/>
                  </a:lnSpc>
                  <a:spcBef>
                    <a:spcPct val="0"/>
                  </a:spcBef>
                  <a:spcAft>
                    <a:spcPts val="563"/>
                  </a:spcAft>
                </a:pPr>
                <a:endParaRPr lang="en-US" sz="1031">
                  <a:solidFill>
                    <a:srgbClr val="404040">
                      <a:lumMod val="50000"/>
                    </a:srgbClr>
                  </a:solidFill>
                  <a:latin typeface="Segoe UI Semibold" panose="020B0702040204020203" pitchFamily="34" charset="0"/>
                  <a:ea typeface="Segoe UI" pitchFamily="34" charset="0"/>
                  <a:cs typeface="Segoe UI" pitchFamily="34" charset="0"/>
                  <a:sym typeface="Segoe UI"/>
                </a:endParaRPr>
              </a:p>
              <a:p>
                <a:pPr defTabSz="856587" fontAlgn="base">
                  <a:lnSpc>
                    <a:spcPct val="90000"/>
                  </a:lnSpc>
                  <a:spcBef>
                    <a:spcPct val="0"/>
                  </a:spcBef>
                  <a:spcAft>
                    <a:spcPts val="563"/>
                  </a:spcAft>
                </a:pPr>
                <a:endParaRPr lang="en-US" sz="1031">
                  <a:solidFill>
                    <a:srgbClr val="404040">
                      <a:lumMod val="50000"/>
                    </a:srgbClr>
                  </a:solidFill>
                  <a:latin typeface="Segoe UI Semibold" panose="020B0702040204020203" pitchFamily="34" charset="0"/>
                  <a:ea typeface="Segoe UI" pitchFamily="34" charset="0"/>
                  <a:cs typeface="Segoe UI" pitchFamily="34" charset="0"/>
                  <a:sym typeface="Segoe UI"/>
                </a:endParaRPr>
              </a:p>
              <a:p>
                <a:pPr defTabSz="856587" fontAlgn="base">
                  <a:lnSpc>
                    <a:spcPct val="90000"/>
                  </a:lnSpc>
                  <a:spcBef>
                    <a:spcPct val="0"/>
                  </a:spcBef>
                  <a:spcAft>
                    <a:spcPts val="563"/>
                  </a:spcAft>
                </a:pPr>
                <a:endParaRPr lang="en-US" sz="1031">
                  <a:solidFill>
                    <a:srgbClr val="404040">
                      <a:lumMod val="50000"/>
                    </a:srgbClr>
                  </a:solidFill>
                  <a:latin typeface="Segoe UI Semibold" panose="020B0702040204020203" pitchFamily="34" charset="0"/>
                  <a:ea typeface="Segoe UI" pitchFamily="34" charset="0"/>
                  <a:cs typeface="Segoe UI" pitchFamily="34" charset="0"/>
                  <a:sym typeface="Segoe UI"/>
                </a:endParaRPr>
              </a:p>
              <a:p>
                <a:pPr defTabSz="856587" fontAlgn="base">
                  <a:lnSpc>
                    <a:spcPct val="90000"/>
                  </a:lnSpc>
                  <a:spcBef>
                    <a:spcPct val="0"/>
                  </a:spcBef>
                  <a:spcAft>
                    <a:spcPts val="563"/>
                  </a:spcAft>
                </a:pPr>
                <a:r>
                  <a:rPr lang="en-US" sz="1031">
                    <a:solidFill>
                      <a:srgbClr val="404040">
                        <a:lumMod val="50000"/>
                      </a:srgbClr>
                    </a:solidFill>
                    <a:latin typeface="Segoe UI Semibold" panose="020B0702040204020203" pitchFamily="34" charset="0"/>
                    <a:ea typeface="Segoe UI" pitchFamily="34" charset="0"/>
                    <a:cs typeface="Segoe UI" pitchFamily="34" charset="0"/>
                    <a:sym typeface="Segoe UI"/>
                  </a:rPr>
                  <a:t>Logic Apps, BizTalk Services, Notification Hubs</a:t>
                </a:r>
              </a:p>
            </p:txBody>
          </p:sp>
          <p:sp>
            <p:nvSpPr>
              <p:cNvPr id="268" name="Freeform 267">
                <a:extLst>
                  <a:ext uri="{FF2B5EF4-FFF2-40B4-BE49-F238E27FC236}">
                    <a16:creationId xmlns:a16="http://schemas.microsoft.com/office/drawing/2014/main" id="{22976E1F-4321-9B43-8C88-994CBEA05323}"/>
                  </a:ext>
                </a:extLst>
              </p:cNvPr>
              <p:cNvSpPr>
                <a:spLocks noChangeAspect="1" noEditPoints="1"/>
              </p:cNvSpPr>
              <p:nvPr/>
            </p:nvSpPr>
            <p:spPr bwMode="black">
              <a:xfrm>
                <a:off x="9806884" y="4624635"/>
                <a:ext cx="998284" cy="312942"/>
              </a:xfrm>
              <a:custGeom>
                <a:avLst/>
                <a:gdLst>
                  <a:gd name="T0" fmla="*/ 1075 w 1264"/>
                  <a:gd name="T1" fmla="*/ 202 h 394"/>
                  <a:gd name="T2" fmla="*/ 1075 w 1264"/>
                  <a:gd name="T3" fmla="*/ 243 h 394"/>
                  <a:gd name="T4" fmla="*/ 595 w 1264"/>
                  <a:gd name="T5" fmla="*/ 29 h 394"/>
                  <a:gd name="T6" fmla="*/ 480 w 1264"/>
                  <a:gd name="T7" fmla="*/ 29 h 394"/>
                  <a:gd name="T8" fmla="*/ 486 w 1264"/>
                  <a:gd name="T9" fmla="*/ 10 h 394"/>
                  <a:gd name="T10" fmla="*/ 611 w 1264"/>
                  <a:gd name="T11" fmla="*/ 10 h 394"/>
                  <a:gd name="T12" fmla="*/ 677 w 1264"/>
                  <a:gd name="T13" fmla="*/ 105 h 394"/>
                  <a:gd name="T14" fmla="*/ 704 w 1264"/>
                  <a:gd name="T15" fmla="*/ 74 h 394"/>
                  <a:gd name="T16" fmla="*/ 827 w 1264"/>
                  <a:gd name="T17" fmla="*/ 68 h 394"/>
                  <a:gd name="T18" fmla="*/ 773 w 1264"/>
                  <a:gd name="T19" fmla="*/ 51 h 394"/>
                  <a:gd name="T20" fmla="*/ 827 w 1264"/>
                  <a:gd name="T21" fmla="*/ 51 h 394"/>
                  <a:gd name="T22" fmla="*/ 829 w 1264"/>
                  <a:gd name="T23" fmla="*/ 104 h 394"/>
                  <a:gd name="T24" fmla="*/ 905 w 1264"/>
                  <a:gd name="T25" fmla="*/ 73 h 394"/>
                  <a:gd name="T26" fmla="*/ 905 w 1264"/>
                  <a:gd name="T27" fmla="*/ 132 h 394"/>
                  <a:gd name="T28" fmla="*/ 943 w 1264"/>
                  <a:gd name="T29" fmla="*/ 133 h 394"/>
                  <a:gd name="T30" fmla="*/ 943 w 1264"/>
                  <a:gd name="T31" fmla="*/ 79 h 394"/>
                  <a:gd name="T32" fmla="*/ 965 w 1264"/>
                  <a:gd name="T33" fmla="*/ 67 h 394"/>
                  <a:gd name="T34" fmla="*/ 1118 w 1264"/>
                  <a:gd name="T35" fmla="*/ 102 h 394"/>
                  <a:gd name="T36" fmla="*/ 1069 w 1264"/>
                  <a:gd name="T37" fmla="*/ 49 h 394"/>
                  <a:gd name="T38" fmla="*/ 1043 w 1264"/>
                  <a:gd name="T39" fmla="*/ 73 h 394"/>
                  <a:gd name="T40" fmla="*/ 1185 w 1264"/>
                  <a:gd name="T41" fmla="*/ 16 h 394"/>
                  <a:gd name="T42" fmla="*/ 1157 w 1264"/>
                  <a:gd name="T43" fmla="*/ 65 h 394"/>
                  <a:gd name="T44" fmla="*/ 1140 w 1264"/>
                  <a:gd name="T45" fmla="*/ 51 h 394"/>
                  <a:gd name="T46" fmla="*/ 1241 w 1264"/>
                  <a:gd name="T47" fmla="*/ 153 h 394"/>
                  <a:gd name="T48" fmla="*/ 1198 w 1264"/>
                  <a:gd name="T49" fmla="*/ 51 h 394"/>
                  <a:gd name="T50" fmla="*/ 1215 w 1264"/>
                  <a:gd name="T51" fmla="*/ 65 h 394"/>
                  <a:gd name="T52" fmla="*/ 682 w 1264"/>
                  <a:gd name="T53" fmla="*/ 243 h 394"/>
                  <a:gd name="T54" fmla="*/ 617 w 1264"/>
                  <a:gd name="T55" fmla="*/ 365 h 394"/>
                  <a:gd name="T56" fmla="*/ 634 w 1264"/>
                  <a:gd name="T57" fmla="*/ 330 h 394"/>
                  <a:gd name="T58" fmla="*/ 763 w 1264"/>
                  <a:gd name="T59" fmla="*/ 287 h 394"/>
                  <a:gd name="T60" fmla="*/ 694 w 1264"/>
                  <a:gd name="T61" fmla="*/ 243 h 394"/>
                  <a:gd name="T62" fmla="*/ 779 w 1264"/>
                  <a:gd name="T63" fmla="*/ 283 h 394"/>
                  <a:gd name="T64" fmla="*/ 829 w 1264"/>
                  <a:gd name="T65" fmla="*/ 349 h 394"/>
                  <a:gd name="T66" fmla="*/ 807 w 1264"/>
                  <a:gd name="T67" fmla="*/ 267 h 394"/>
                  <a:gd name="T68" fmla="*/ 861 w 1264"/>
                  <a:gd name="T69" fmla="*/ 294 h 394"/>
                  <a:gd name="T70" fmla="*/ 853 w 1264"/>
                  <a:gd name="T71" fmla="*/ 326 h 394"/>
                  <a:gd name="T72" fmla="*/ 1027 w 1264"/>
                  <a:gd name="T73" fmla="*/ 262 h 394"/>
                  <a:gd name="T74" fmla="*/ 968 w 1264"/>
                  <a:gd name="T75" fmla="*/ 285 h 394"/>
                  <a:gd name="T76" fmla="*/ 903 w 1264"/>
                  <a:gd name="T77" fmla="*/ 243 h 394"/>
                  <a:gd name="T78" fmla="*/ 981 w 1264"/>
                  <a:gd name="T79" fmla="*/ 262 h 394"/>
                  <a:gd name="T80" fmla="*/ 1135 w 1264"/>
                  <a:gd name="T81" fmla="*/ 342 h 394"/>
                  <a:gd name="T82" fmla="*/ 1188 w 1264"/>
                  <a:gd name="T83" fmla="*/ 263 h 394"/>
                  <a:gd name="T84" fmla="*/ 1188 w 1264"/>
                  <a:gd name="T85" fmla="*/ 326 h 394"/>
                  <a:gd name="T86" fmla="*/ 1200 w 1264"/>
                  <a:gd name="T87" fmla="*/ 325 h 394"/>
                  <a:gd name="T88" fmla="*/ 1201 w 1264"/>
                  <a:gd name="T89" fmla="*/ 271 h 394"/>
                  <a:gd name="T90" fmla="*/ 1222 w 1264"/>
                  <a:gd name="T91" fmla="*/ 259 h 394"/>
                  <a:gd name="T92" fmla="*/ 660 w 1264"/>
                  <a:gd name="T93" fmla="*/ 17 h 394"/>
                  <a:gd name="T94" fmla="*/ 649 w 1264"/>
                  <a:gd name="T95" fmla="*/ 7 h 394"/>
                  <a:gd name="T96" fmla="*/ 657 w 1264"/>
                  <a:gd name="T97" fmla="*/ 51 h 394"/>
                  <a:gd name="T98" fmla="*/ 465 w 1264"/>
                  <a:gd name="T99" fmla="*/ 346 h 394"/>
                  <a:gd name="T100" fmla="*/ 482 w 1264"/>
                  <a:gd name="T101" fmla="*/ 217 h 394"/>
                  <a:gd name="T102" fmla="*/ 273 w 1264"/>
                  <a:gd name="T103" fmla="*/ 67 h 394"/>
                  <a:gd name="T104" fmla="*/ 269 w 1264"/>
                  <a:gd name="T105" fmla="*/ 306 h 394"/>
                  <a:gd name="T106" fmla="*/ 308 w 1264"/>
                  <a:gd name="T107" fmla="*/ 172 h 394"/>
                  <a:gd name="T108" fmla="*/ 2 w 1264"/>
                  <a:gd name="T109" fmla="*/ 348 h 394"/>
                  <a:gd name="T110" fmla="*/ 180 w 1264"/>
                  <a:gd name="T111" fmla="*/ 10 h 394"/>
                  <a:gd name="T112" fmla="*/ 119 w 1264"/>
                  <a:gd name="T113" fmla="*/ 154 h 394"/>
                  <a:gd name="T114" fmla="*/ 180 w 1264"/>
                  <a:gd name="T115" fmla="*/ 1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64" h="394">
                    <a:moveTo>
                      <a:pt x="1094" y="209"/>
                    </a:moveTo>
                    <a:cubicBezTo>
                      <a:pt x="1094" y="213"/>
                      <a:pt x="1093" y="215"/>
                      <a:pt x="1091" y="217"/>
                    </a:cubicBezTo>
                    <a:cubicBezTo>
                      <a:pt x="1089" y="219"/>
                      <a:pt x="1086" y="220"/>
                      <a:pt x="1083" y="220"/>
                    </a:cubicBezTo>
                    <a:cubicBezTo>
                      <a:pt x="1080" y="220"/>
                      <a:pt x="1077" y="219"/>
                      <a:pt x="1075" y="217"/>
                    </a:cubicBezTo>
                    <a:cubicBezTo>
                      <a:pt x="1073" y="215"/>
                      <a:pt x="1072" y="213"/>
                      <a:pt x="1072" y="209"/>
                    </a:cubicBezTo>
                    <a:cubicBezTo>
                      <a:pt x="1072" y="207"/>
                      <a:pt x="1073" y="204"/>
                      <a:pt x="1075" y="202"/>
                    </a:cubicBezTo>
                    <a:cubicBezTo>
                      <a:pt x="1077" y="200"/>
                      <a:pt x="1080" y="199"/>
                      <a:pt x="1083" y="199"/>
                    </a:cubicBezTo>
                    <a:cubicBezTo>
                      <a:pt x="1086" y="199"/>
                      <a:pt x="1089" y="200"/>
                      <a:pt x="1091" y="202"/>
                    </a:cubicBezTo>
                    <a:cubicBezTo>
                      <a:pt x="1093" y="204"/>
                      <a:pt x="1094" y="207"/>
                      <a:pt x="1094" y="209"/>
                    </a:cubicBezTo>
                    <a:close/>
                    <a:moveTo>
                      <a:pt x="1091" y="346"/>
                    </a:moveTo>
                    <a:cubicBezTo>
                      <a:pt x="1075" y="346"/>
                      <a:pt x="1075" y="346"/>
                      <a:pt x="1075" y="346"/>
                    </a:cubicBezTo>
                    <a:cubicBezTo>
                      <a:pt x="1075" y="243"/>
                      <a:pt x="1075" y="243"/>
                      <a:pt x="1075" y="243"/>
                    </a:cubicBezTo>
                    <a:cubicBezTo>
                      <a:pt x="1091" y="243"/>
                      <a:pt x="1091" y="243"/>
                      <a:pt x="1091" y="243"/>
                    </a:cubicBezTo>
                    <a:lnTo>
                      <a:pt x="1091" y="346"/>
                    </a:lnTo>
                    <a:close/>
                    <a:moveTo>
                      <a:pt x="611" y="154"/>
                    </a:moveTo>
                    <a:cubicBezTo>
                      <a:pt x="594" y="154"/>
                      <a:pt x="594" y="154"/>
                      <a:pt x="594" y="154"/>
                    </a:cubicBezTo>
                    <a:cubicBezTo>
                      <a:pt x="594" y="57"/>
                      <a:pt x="594" y="57"/>
                      <a:pt x="594" y="57"/>
                    </a:cubicBezTo>
                    <a:cubicBezTo>
                      <a:pt x="594" y="50"/>
                      <a:pt x="594" y="40"/>
                      <a:pt x="595" y="29"/>
                    </a:cubicBezTo>
                    <a:cubicBezTo>
                      <a:pt x="595" y="29"/>
                      <a:pt x="595" y="29"/>
                      <a:pt x="595" y="29"/>
                    </a:cubicBezTo>
                    <a:cubicBezTo>
                      <a:pt x="593" y="36"/>
                      <a:pt x="592" y="41"/>
                      <a:pt x="590" y="43"/>
                    </a:cubicBezTo>
                    <a:cubicBezTo>
                      <a:pt x="541" y="154"/>
                      <a:pt x="541" y="154"/>
                      <a:pt x="541" y="154"/>
                    </a:cubicBezTo>
                    <a:cubicBezTo>
                      <a:pt x="533" y="154"/>
                      <a:pt x="533" y="154"/>
                      <a:pt x="533" y="154"/>
                    </a:cubicBezTo>
                    <a:cubicBezTo>
                      <a:pt x="484" y="44"/>
                      <a:pt x="484" y="44"/>
                      <a:pt x="484" y="44"/>
                    </a:cubicBezTo>
                    <a:cubicBezTo>
                      <a:pt x="483" y="41"/>
                      <a:pt x="481" y="36"/>
                      <a:pt x="480" y="29"/>
                    </a:cubicBezTo>
                    <a:cubicBezTo>
                      <a:pt x="479" y="29"/>
                      <a:pt x="479" y="29"/>
                      <a:pt x="479" y="29"/>
                    </a:cubicBezTo>
                    <a:cubicBezTo>
                      <a:pt x="480" y="35"/>
                      <a:pt x="480" y="45"/>
                      <a:pt x="480" y="58"/>
                    </a:cubicBezTo>
                    <a:cubicBezTo>
                      <a:pt x="480" y="154"/>
                      <a:pt x="480" y="154"/>
                      <a:pt x="480" y="154"/>
                    </a:cubicBezTo>
                    <a:cubicBezTo>
                      <a:pt x="464" y="154"/>
                      <a:pt x="464" y="154"/>
                      <a:pt x="464" y="154"/>
                    </a:cubicBezTo>
                    <a:cubicBezTo>
                      <a:pt x="464" y="10"/>
                      <a:pt x="464" y="10"/>
                      <a:pt x="464" y="10"/>
                    </a:cubicBezTo>
                    <a:cubicBezTo>
                      <a:pt x="486" y="10"/>
                      <a:pt x="486" y="10"/>
                      <a:pt x="486" y="10"/>
                    </a:cubicBezTo>
                    <a:cubicBezTo>
                      <a:pt x="530" y="110"/>
                      <a:pt x="530" y="110"/>
                      <a:pt x="530" y="110"/>
                    </a:cubicBezTo>
                    <a:cubicBezTo>
                      <a:pt x="534" y="118"/>
                      <a:pt x="536" y="124"/>
                      <a:pt x="537" y="128"/>
                    </a:cubicBezTo>
                    <a:cubicBezTo>
                      <a:pt x="537" y="128"/>
                      <a:pt x="537" y="128"/>
                      <a:pt x="537" y="128"/>
                    </a:cubicBezTo>
                    <a:cubicBezTo>
                      <a:pt x="541" y="119"/>
                      <a:pt x="543" y="113"/>
                      <a:pt x="544" y="110"/>
                    </a:cubicBezTo>
                    <a:cubicBezTo>
                      <a:pt x="589" y="10"/>
                      <a:pt x="589" y="10"/>
                      <a:pt x="589" y="10"/>
                    </a:cubicBezTo>
                    <a:cubicBezTo>
                      <a:pt x="611" y="10"/>
                      <a:pt x="611" y="10"/>
                      <a:pt x="611" y="10"/>
                    </a:cubicBezTo>
                    <a:lnTo>
                      <a:pt x="611" y="154"/>
                    </a:lnTo>
                    <a:close/>
                    <a:moveTo>
                      <a:pt x="754" y="149"/>
                    </a:moveTo>
                    <a:cubicBezTo>
                      <a:pt x="746" y="154"/>
                      <a:pt x="737" y="157"/>
                      <a:pt x="726" y="157"/>
                    </a:cubicBezTo>
                    <a:cubicBezTo>
                      <a:pt x="717" y="157"/>
                      <a:pt x="708" y="154"/>
                      <a:pt x="701" y="150"/>
                    </a:cubicBezTo>
                    <a:cubicBezTo>
                      <a:pt x="693" y="146"/>
                      <a:pt x="687" y="140"/>
                      <a:pt x="683" y="132"/>
                    </a:cubicBezTo>
                    <a:cubicBezTo>
                      <a:pt x="679" y="124"/>
                      <a:pt x="677" y="115"/>
                      <a:pt x="677" y="105"/>
                    </a:cubicBezTo>
                    <a:cubicBezTo>
                      <a:pt x="677" y="88"/>
                      <a:pt x="682" y="75"/>
                      <a:pt x="692" y="64"/>
                    </a:cubicBezTo>
                    <a:cubicBezTo>
                      <a:pt x="701" y="54"/>
                      <a:pt x="714" y="49"/>
                      <a:pt x="731" y="49"/>
                    </a:cubicBezTo>
                    <a:cubicBezTo>
                      <a:pt x="740" y="49"/>
                      <a:pt x="747" y="50"/>
                      <a:pt x="754" y="54"/>
                    </a:cubicBezTo>
                    <a:cubicBezTo>
                      <a:pt x="754" y="71"/>
                      <a:pt x="754" y="71"/>
                      <a:pt x="754" y="71"/>
                    </a:cubicBezTo>
                    <a:cubicBezTo>
                      <a:pt x="747" y="65"/>
                      <a:pt x="738" y="63"/>
                      <a:pt x="730" y="63"/>
                    </a:cubicBezTo>
                    <a:cubicBezTo>
                      <a:pt x="719" y="63"/>
                      <a:pt x="711" y="67"/>
                      <a:pt x="704" y="74"/>
                    </a:cubicBezTo>
                    <a:cubicBezTo>
                      <a:pt x="697" y="82"/>
                      <a:pt x="694" y="92"/>
                      <a:pt x="694" y="104"/>
                    </a:cubicBezTo>
                    <a:cubicBezTo>
                      <a:pt x="694" y="116"/>
                      <a:pt x="697" y="125"/>
                      <a:pt x="703" y="132"/>
                    </a:cubicBezTo>
                    <a:cubicBezTo>
                      <a:pt x="710" y="139"/>
                      <a:pt x="718" y="143"/>
                      <a:pt x="729" y="143"/>
                    </a:cubicBezTo>
                    <a:cubicBezTo>
                      <a:pt x="738" y="143"/>
                      <a:pt x="746" y="140"/>
                      <a:pt x="754" y="134"/>
                    </a:cubicBezTo>
                    <a:lnTo>
                      <a:pt x="754" y="149"/>
                    </a:lnTo>
                    <a:close/>
                    <a:moveTo>
                      <a:pt x="827" y="68"/>
                    </a:moveTo>
                    <a:cubicBezTo>
                      <a:pt x="824" y="66"/>
                      <a:pt x="820" y="65"/>
                      <a:pt x="815" y="65"/>
                    </a:cubicBezTo>
                    <a:cubicBezTo>
                      <a:pt x="807" y="65"/>
                      <a:pt x="801" y="68"/>
                      <a:pt x="797" y="75"/>
                    </a:cubicBezTo>
                    <a:cubicBezTo>
                      <a:pt x="792" y="82"/>
                      <a:pt x="790" y="91"/>
                      <a:pt x="790" y="102"/>
                    </a:cubicBezTo>
                    <a:cubicBezTo>
                      <a:pt x="790" y="154"/>
                      <a:pt x="790" y="154"/>
                      <a:pt x="790" y="154"/>
                    </a:cubicBezTo>
                    <a:cubicBezTo>
                      <a:pt x="773" y="154"/>
                      <a:pt x="773" y="154"/>
                      <a:pt x="773" y="154"/>
                    </a:cubicBezTo>
                    <a:cubicBezTo>
                      <a:pt x="773" y="51"/>
                      <a:pt x="773" y="51"/>
                      <a:pt x="773" y="51"/>
                    </a:cubicBezTo>
                    <a:cubicBezTo>
                      <a:pt x="790" y="51"/>
                      <a:pt x="790" y="51"/>
                      <a:pt x="790" y="51"/>
                    </a:cubicBezTo>
                    <a:cubicBezTo>
                      <a:pt x="790" y="72"/>
                      <a:pt x="790" y="72"/>
                      <a:pt x="790" y="72"/>
                    </a:cubicBezTo>
                    <a:cubicBezTo>
                      <a:pt x="790" y="72"/>
                      <a:pt x="790" y="72"/>
                      <a:pt x="790" y="72"/>
                    </a:cubicBezTo>
                    <a:cubicBezTo>
                      <a:pt x="793" y="65"/>
                      <a:pt x="796" y="60"/>
                      <a:pt x="801" y="56"/>
                    </a:cubicBezTo>
                    <a:cubicBezTo>
                      <a:pt x="806" y="52"/>
                      <a:pt x="811" y="49"/>
                      <a:pt x="817" y="49"/>
                    </a:cubicBezTo>
                    <a:cubicBezTo>
                      <a:pt x="822" y="49"/>
                      <a:pt x="825" y="50"/>
                      <a:pt x="827" y="51"/>
                    </a:cubicBezTo>
                    <a:lnTo>
                      <a:pt x="827" y="68"/>
                    </a:lnTo>
                    <a:close/>
                    <a:moveTo>
                      <a:pt x="930" y="102"/>
                    </a:moveTo>
                    <a:cubicBezTo>
                      <a:pt x="930" y="119"/>
                      <a:pt x="926" y="132"/>
                      <a:pt x="916" y="142"/>
                    </a:cubicBezTo>
                    <a:cubicBezTo>
                      <a:pt x="907" y="152"/>
                      <a:pt x="895" y="157"/>
                      <a:pt x="879" y="157"/>
                    </a:cubicBezTo>
                    <a:cubicBezTo>
                      <a:pt x="864" y="157"/>
                      <a:pt x="852" y="152"/>
                      <a:pt x="843" y="142"/>
                    </a:cubicBezTo>
                    <a:cubicBezTo>
                      <a:pt x="833" y="132"/>
                      <a:pt x="829" y="120"/>
                      <a:pt x="829" y="104"/>
                    </a:cubicBezTo>
                    <a:cubicBezTo>
                      <a:pt x="829" y="87"/>
                      <a:pt x="834" y="73"/>
                      <a:pt x="843" y="64"/>
                    </a:cubicBezTo>
                    <a:cubicBezTo>
                      <a:pt x="852" y="54"/>
                      <a:pt x="865" y="49"/>
                      <a:pt x="881" y="49"/>
                    </a:cubicBezTo>
                    <a:cubicBezTo>
                      <a:pt x="897" y="49"/>
                      <a:pt x="909" y="54"/>
                      <a:pt x="917" y="63"/>
                    </a:cubicBezTo>
                    <a:cubicBezTo>
                      <a:pt x="926" y="73"/>
                      <a:pt x="930" y="86"/>
                      <a:pt x="930" y="102"/>
                    </a:cubicBezTo>
                    <a:close/>
                    <a:moveTo>
                      <a:pt x="913" y="103"/>
                    </a:moveTo>
                    <a:cubicBezTo>
                      <a:pt x="913" y="90"/>
                      <a:pt x="910" y="80"/>
                      <a:pt x="905" y="73"/>
                    </a:cubicBezTo>
                    <a:cubicBezTo>
                      <a:pt x="899" y="66"/>
                      <a:pt x="891" y="63"/>
                      <a:pt x="880" y="63"/>
                    </a:cubicBezTo>
                    <a:cubicBezTo>
                      <a:pt x="870" y="63"/>
                      <a:pt x="861" y="66"/>
                      <a:pt x="855" y="73"/>
                    </a:cubicBezTo>
                    <a:cubicBezTo>
                      <a:pt x="849" y="80"/>
                      <a:pt x="846" y="90"/>
                      <a:pt x="846" y="103"/>
                    </a:cubicBezTo>
                    <a:cubicBezTo>
                      <a:pt x="846" y="116"/>
                      <a:pt x="849" y="125"/>
                      <a:pt x="855" y="132"/>
                    </a:cubicBezTo>
                    <a:cubicBezTo>
                      <a:pt x="861" y="139"/>
                      <a:pt x="870" y="143"/>
                      <a:pt x="880" y="143"/>
                    </a:cubicBezTo>
                    <a:cubicBezTo>
                      <a:pt x="891" y="143"/>
                      <a:pt x="899" y="139"/>
                      <a:pt x="905" y="132"/>
                    </a:cubicBezTo>
                    <a:cubicBezTo>
                      <a:pt x="910" y="125"/>
                      <a:pt x="913" y="116"/>
                      <a:pt x="913" y="103"/>
                    </a:cubicBezTo>
                    <a:close/>
                    <a:moveTo>
                      <a:pt x="1006" y="127"/>
                    </a:moveTo>
                    <a:cubicBezTo>
                      <a:pt x="1006" y="135"/>
                      <a:pt x="1003" y="143"/>
                      <a:pt x="996" y="148"/>
                    </a:cubicBezTo>
                    <a:cubicBezTo>
                      <a:pt x="989" y="154"/>
                      <a:pt x="980" y="157"/>
                      <a:pt x="969" y="157"/>
                    </a:cubicBezTo>
                    <a:cubicBezTo>
                      <a:pt x="959" y="157"/>
                      <a:pt x="950" y="154"/>
                      <a:pt x="943" y="150"/>
                    </a:cubicBezTo>
                    <a:cubicBezTo>
                      <a:pt x="943" y="133"/>
                      <a:pt x="943" y="133"/>
                      <a:pt x="943" y="133"/>
                    </a:cubicBezTo>
                    <a:cubicBezTo>
                      <a:pt x="951" y="139"/>
                      <a:pt x="960" y="143"/>
                      <a:pt x="970" y="143"/>
                    </a:cubicBezTo>
                    <a:cubicBezTo>
                      <a:pt x="983" y="143"/>
                      <a:pt x="989" y="138"/>
                      <a:pt x="989" y="128"/>
                    </a:cubicBezTo>
                    <a:cubicBezTo>
                      <a:pt x="989" y="124"/>
                      <a:pt x="988" y="121"/>
                      <a:pt x="986" y="119"/>
                    </a:cubicBezTo>
                    <a:cubicBezTo>
                      <a:pt x="983" y="116"/>
                      <a:pt x="977" y="113"/>
                      <a:pt x="968" y="109"/>
                    </a:cubicBezTo>
                    <a:cubicBezTo>
                      <a:pt x="959" y="105"/>
                      <a:pt x="953" y="101"/>
                      <a:pt x="949" y="96"/>
                    </a:cubicBezTo>
                    <a:cubicBezTo>
                      <a:pt x="945" y="92"/>
                      <a:pt x="943" y="86"/>
                      <a:pt x="943" y="79"/>
                    </a:cubicBezTo>
                    <a:cubicBezTo>
                      <a:pt x="943" y="70"/>
                      <a:pt x="947" y="63"/>
                      <a:pt x="954" y="57"/>
                    </a:cubicBezTo>
                    <a:cubicBezTo>
                      <a:pt x="960" y="52"/>
                      <a:pt x="969" y="49"/>
                      <a:pt x="980" y="49"/>
                    </a:cubicBezTo>
                    <a:cubicBezTo>
                      <a:pt x="988" y="49"/>
                      <a:pt x="995" y="50"/>
                      <a:pt x="1002" y="54"/>
                    </a:cubicBezTo>
                    <a:cubicBezTo>
                      <a:pt x="1002" y="70"/>
                      <a:pt x="1002" y="70"/>
                      <a:pt x="1002" y="70"/>
                    </a:cubicBezTo>
                    <a:cubicBezTo>
                      <a:pt x="995" y="65"/>
                      <a:pt x="987" y="63"/>
                      <a:pt x="978" y="63"/>
                    </a:cubicBezTo>
                    <a:cubicBezTo>
                      <a:pt x="973" y="63"/>
                      <a:pt x="968" y="64"/>
                      <a:pt x="965" y="67"/>
                    </a:cubicBezTo>
                    <a:cubicBezTo>
                      <a:pt x="962" y="69"/>
                      <a:pt x="960" y="73"/>
                      <a:pt x="960" y="77"/>
                    </a:cubicBezTo>
                    <a:cubicBezTo>
                      <a:pt x="960" y="82"/>
                      <a:pt x="961" y="85"/>
                      <a:pt x="964" y="88"/>
                    </a:cubicBezTo>
                    <a:cubicBezTo>
                      <a:pt x="966" y="90"/>
                      <a:pt x="972" y="93"/>
                      <a:pt x="980" y="96"/>
                    </a:cubicBezTo>
                    <a:cubicBezTo>
                      <a:pt x="989" y="100"/>
                      <a:pt x="996" y="105"/>
                      <a:pt x="1000" y="109"/>
                    </a:cubicBezTo>
                    <a:cubicBezTo>
                      <a:pt x="1004" y="114"/>
                      <a:pt x="1006" y="120"/>
                      <a:pt x="1006" y="127"/>
                    </a:cubicBezTo>
                    <a:close/>
                    <a:moveTo>
                      <a:pt x="1118" y="102"/>
                    </a:moveTo>
                    <a:cubicBezTo>
                      <a:pt x="1118" y="119"/>
                      <a:pt x="1113" y="132"/>
                      <a:pt x="1104" y="142"/>
                    </a:cubicBezTo>
                    <a:cubicBezTo>
                      <a:pt x="1095" y="152"/>
                      <a:pt x="1083" y="157"/>
                      <a:pt x="1067" y="157"/>
                    </a:cubicBezTo>
                    <a:cubicBezTo>
                      <a:pt x="1052" y="157"/>
                      <a:pt x="1040" y="152"/>
                      <a:pt x="1031" y="142"/>
                    </a:cubicBezTo>
                    <a:cubicBezTo>
                      <a:pt x="1021" y="132"/>
                      <a:pt x="1017" y="120"/>
                      <a:pt x="1017" y="104"/>
                    </a:cubicBezTo>
                    <a:cubicBezTo>
                      <a:pt x="1017" y="87"/>
                      <a:pt x="1022" y="73"/>
                      <a:pt x="1031" y="64"/>
                    </a:cubicBezTo>
                    <a:cubicBezTo>
                      <a:pt x="1040" y="54"/>
                      <a:pt x="1053" y="49"/>
                      <a:pt x="1069" y="49"/>
                    </a:cubicBezTo>
                    <a:cubicBezTo>
                      <a:pt x="1085" y="49"/>
                      <a:pt x="1097" y="54"/>
                      <a:pt x="1105" y="63"/>
                    </a:cubicBezTo>
                    <a:cubicBezTo>
                      <a:pt x="1114" y="73"/>
                      <a:pt x="1118" y="86"/>
                      <a:pt x="1118" y="102"/>
                    </a:cubicBezTo>
                    <a:close/>
                    <a:moveTo>
                      <a:pt x="1101" y="103"/>
                    </a:moveTo>
                    <a:cubicBezTo>
                      <a:pt x="1101" y="90"/>
                      <a:pt x="1098" y="80"/>
                      <a:pt x="1093" y="73"/>
                    </a:cubicBezTo>
                    <a:cubicBezTo>
                      <a:pt x="1087" y="66"/>
                      <a:pt x="1079" y="63"/>
                      <a:pt x="1068" y="63"/>
                    </a:cubicBezTo>
                    <a:cubicBezTo>
                      <a:pt x="1058" y="63"/>
                      <a:pt x="1049" y="66"/>
                      <a:pt x="1043" y="73"/>
                    </a:cubicBezTo>
                    <a:cubicBezTo>
                      <a:pt x="1037" y="80"/>
                      <a:pt x="1034" y="90"/>
                      <a:pt x="1034" y="103"/>
                    </a:cubicBezTo>
                    <a:cubicBezTo>
                      <a:pt x="1034" y="116"/>
                      <a:pt x="1037" y="125"/>
                      <a:pt x="1043" y="132"/>
                    </a:cubicBezTo>
                    <a:cubicBezTo>
                      <a:pt x="1049" y="139"/>
                      <a:pt x="1058" y="143"/>
                      <a:pt x="1068" y="143"/>
                    </a:cubicBezTo>
                    <a:cubicBezTo>
                      <a:pt x="1079" y="143"/>
                      <a:pt x="1087" y="139"/>
                      <a:pt x="1093" y="132"/>
                    </a:cubicBezTo>
                    <a:cubicBezTo>
                      <a:pt x="1098" y="125"/>
                      <a:pt x="1101" y="116"/>
                      <a:pt x="1101" y="103"/>
                    </a:cubicBezTo>
                    <a:close/>
                    <a:moveTo>
                      <a:pt x="1185" y="16"/>
                    </a:moveTo>
                    <a:cubicBezTo>
                      <a:pt x="1182" y="15"/>
                      <a:pt x="1178" y="14"/>
                      <a:pt x="1174" y="14"/>
                    </a:cubicBezTo>
                    <a:cubicBezTo>
                      <a:pt x="1163" y="14"/>
                      <a:pt x="1157" y="21"/>
                      <a:pt x="1157" y="35"/>
                    </a:cubicBezTo>
                    <a:cubicBezTo>
                      <a:pt x="1157" y="51"/>
                      <a:pt x="1157" y="51"/>
                      <a:pt x="1157" y="51"/>
                    </a:cubicBezTo>
                    <a:cubicBezTo>
                      <a:pt x="1181" y="51"/>
                      <a:pt x="1181" y="51"/>
                      <a:pt x="1181" y="51"/>
                    </a:cubicBezTo>
                    <a:cubicBezTo>
                      <a:pt x="1181" y="65"/>
                      <a:pt x="1181" y="65"/>
                      <a:pt x="1181" y="65"/>
                    </a:cubicBezTo>
                    <a:cubicBezTo>
                      <a:pt x="1157" y="65"/>
                      <a:pt x="1157" y="65"/>
                      <a:pt x="1157" y="65"/>
                    </a:cubicBezTo>
                    <a:cubicBezTo>
                      <a:pt x="1157" y="154"/>
                      <a:pt x="1157" y="154"/>
                      <a:pt x="1157" y="154"/>
                    </a:cubicBezTo>
                    <a:cubicBezTo>
                      <a:pt x="1140" y="154"/>
                      <a:pt x="1140" y="154"/>
                      <a:pt x="1140" y="154"/>
                    </a:cubicBezTo>
                    <a:cubicBezTo>
                      <a:pt x="1140" y="65"/>
                      <a:pt x="1140" y="65"/>
                      <a:pt x="1140" y="65"/>
                    </a:cubicBezTo>
                    <a:cubicBezTo>
                      <a:pt x="1123" y="65"/>
                      <a:pt x="1123" y="65"/>
                      <a:pt x="1123" y="65"/>
                    </a:cubicBezTo>
                    <a:cubicBezTo>
                      <a:pt x="1123" y="51"/>
                      <a:pt x="1123" y="51"/>
                      <a:pt x="1123" y="51"/>
                    </a:cubicBezTo>
                    <a:cubicBezTo>
                      <a:pt x="1140" y="51"/>
                      <a:pt x="1140" y="51"/>
                      <a:pt x="1140" y="51"/>
                    </a:cubicBezTo>
                    <a:cubicBezTo>
                      <a:pt x="1140" y="35"/>
                      <a:pt x="1140" y="35"/>
                      <a:pt x="1140" y="35"/>
                    </a:cubicBezTo>
                    <a:cubicBezTo>
                      <a:pt x="1140" y="24"/>
                      <a:pt x="1144" y="16"/>
                      <a:pt x="1150" y="9"/>
                    </a:cubicBezTo>
                    <a:cubicBezTo>
                      <a:pt x="1156" y="3"/>
                      <a:pt x="1164" y="0"/>
                      <a:pt x="1173" y="0"/>
                    </a:cubicBezTo>
                    <a:cubicBezTo>
                      <a:pt x="1178" y="0"/>
                      <a:pt x="1182" y="0"/>
                      <a:pt x="1185" y="1"/>
                    </a:cubicBezTo>
                    <a:lnTo>
                      <a:pt x="1185" y="16"/>
                    </a:lnTo>
                    <a:close/>
                    <a:moveTo>
                      <a:pt x="1241" y="153"/>
                    </a:moveTo>
                    <a:cubicBezTo>
                      <a:pt x="1237" y="155"/>
                      <a:pt x="1232" y="156"/>
                      <a:pt x="1225" y="156"/>
                    </a:cubicBezTo>
                    <a:cubicBezTo>
                      <a:pt x="1207" y="156"/>
                      <a:pt x="1198" y="146"/>
                      <a:pt x="1198" y="126"/>
                    </a:cubicBezTo>
                    <a:cubicBezTo>
                      <a:pt x="1198" y="65"/>
                      <a:pt x="1198" y="65"/>
                      <a:pt x="1198" y="65"/>
                    </a:cubicBezTo>
                    <a:cubicBezTo>
                      <a:pt x="1181" y="65"/>
                      <a:pt x="1181" y="65"/>
                      <a:pt x="1181" y="65"/>
                    </a:cubicBezTo>
                    <a:cubicBezTo>
                      <a:pt x="1181" y="51"/>
                      <a:pt x="1181" y="51"/>
                      <a:pt x="1181" y="51"/>
                    </a:cubicBezTo>
                    <a:cubicBezTo>
                      <a:pt x="1198" y="51"/>
                      <a:pt x="1198" y="51"/>
                      <a:pt x="1198" y="51"/>
                    </a:cubicBezTo>
                    <a:cubicBezTo>
                      <a:pt x="1198" y="26"/>
                      <a:pt x="1198" y="26"/>
                      <a:pt x="1198" y="26"/>
                    </a:cubicBezTo>
                    <a:cubicBezTo>
                      <a:pt x="1215" y="21"/>
                      <a:pt x="1215" y="21"/>
                      <a:pt x="1215" y="21"/>
                    </a:cubicBezTo>
                    <a:cubicBezTo>
                      <a:pt x="1215" y="51"/>
                      <a:pt x="1215" y="51"/>
                      <a:pt x="1215" y="51"/>
                    </a:cubicBezTo>
                    <a:cubicBezTo>
                      <a:pt x="1241" y="51"/>
                      <a:pt x="1241" y="51"/>
                      <a:pt x="1241" y="51"/>
                    </a:cubicBezTo>
                    <a:cubicBezTo>
                      <a:pt x="1241" y="65"/>
                      <a:pt x="1241" y="65"/>
                      <a:pt x="1241" y="65"/>
                    </a:cubicBezTo>
                    <a:cubicBezTo>
                      <a:pt x="1215" y="65"/>
                      <a:pt x="1215" y="65"/>
                      <a:pt x="1215" y="65"/>
                    </a:cubicBezTo>
                    <a:cubicBezTo>
                      <a:pt x="1215" y="123"/>
                      <a:pt x="1215" y="123"/>
                      <a:pt x="1215" y="123"/>
                    </a:cubicBezTo>
                    <a:cubicBezTo>
                      <a:pt x="1215" y="130"/>
                      <a:pt x="1216" y="135"/>
                      <a:pt x="1218" y="138"/>
                    </a:cubicBezTo>
                    <a:cubicBezTo>
                      <a:pt x="1221" y="141"/>
                      <a:pt x="1225" y="142"/>
                      <a:pt x="1230" y="142"/>
                    </a:cubicBezTo>
                    <a:cubicBezTo>
                      <a:pt x="1234" y="142"/>
                      <a:pt x="1238" y="141"/>
                      <a:pt x="1241" y="139"/>
                    </a:cubicBezTo>
                    <a:lnTo>
                      <a:pt x="1241" y="153"/>
                    </a:lnTo>
                    <a:close/>
                    <a:moveTo>
                      <a:pt x="682" y="243"/>
                    </a:moveTo>
                    <a:cubicBezTo>
                      <a:pt x="635" y="363"/>
                      <a:pt x="635" y="363"/>
                      <a:pt x="635" y="363"/>
                    </a:cubicBezTo>
                    <a:cubicBezTo>
                      <a:pt x="626" y="384"/>
                      <a:pt x="614" y="394"/>
                      <a:pt x="599" y="394"/>
                    </a:cubicBezTo>
                    <a:cubicBezTo>
                      <a:pt x="595" y="394"/>
                      <a:pt x="591" y="394"/>
                      <a:pt x="588" y="393"/>
                    </a:cubicBezTo>
                    <a:cubicBezTo>
                      <a:pt x="588" y="378"/>
                      <a:pt x="588" y="378"/>
                      <a:pt x="588" y="378"/>
                    </a:cubicBezTo>
                    <a:cubicBezTo>
                      <a:pt x="592" y="380"/>
                      <a:pt x="595" y="380"/>
                      <a:pt x="598" y="380"/>
                    </a:cubicBezTo>
                    <a:cubicBezTo>
                      <a:pt x="606" y="380"/>
                      <a:pt x="613" y="375"/>
                      <a:pt x="617" y="365"/>
                    </a:cubicBezTo>
                    <a:cubicBezTo>
                      <a:pt x="625" y="346"/>
                      <a:pt x="625" y="346"/>
                      <a:pt x="625" y="346"/>
                    </a:cubicBezTo>
                    <a:cubicBezTo>
                      <a:pt x="585" y="243"/>
                      <a:pt x="585" y="243"/>
                      <a:pt x="585" y="243"/>
                    </a:cubicBezTo>
                    <a:cubicBezTo>
                      <a:pt x="603" y="243"/>
                      <a:pt x="603" y="243"/>
                      <a:pt x="603" y="243"/>
                    </a:cubicBezTo>
                    <a:cubicBezTo>
                      <a:pt x="631" y="322"/>
                      <a:pt x="631" y="322"/>
                      <a:pt x="631" y="322"/>
                    </a:cubicBezTo>
                    <a:cubicBezTo>
                      <a:pt x="633" y="330"/>
                      <a:pt x="633" y="330"/>
                      <a:pt x="633" y="330"/>
                    </a:cubicBezTo>
                    <a:cubicBezTo>
                      <a:pt x="634" y="330"/>
                      <a:pt x="634" y="330"/>
                      <a:pt x="634" y="330"/>
                    </a:cubicBezTo>
                    <a:cubicBezTo>
                      <a:pt x="634" y="329"/>
                      <a:pt x="635" y="326"/>
                      <a:pt x="636" y="323"/>
                    </a:cubicBezTo>
                    <a:cubicBezTo>
                      <a:pt x="665" y="243"/>
                      <a:pt x="665" y="243"/>
                      <a:pt x="665" y="243"/>
                    </a:cubicBezTo>
                    <a:lnTo>
                      <a:pt x="682" y="243"/>
                    </a:lnTo>
                    <a:close/>
                    <a:moveTo>
                      <a:pt x="779" y="346"/>
                    </a:moveTo>
                    <a:cubicBezTo>
                      <a:pt x="763" y="346"/>
                      <a:pt x="763" y="346"/>
                      <a:pt x="763" y="346"/>
                    </a:cubicBezTo>
                    <a:cubicBezTo>
                      <a:pt x="763" y="287"/>
                      <a:pt x="763" y="287"/>
                      <a:pt x="763" y="287"/>
                    </a:cubicBezTo>
                    <a:cubicBezTo>
                      <a:pt x="763" y="266"/>
                      <a:pt x="755" y="255"/>
                      <a:pt x="739" y="255"/>
                    </a:cubicBezTo>
                    <a:cubicBezTo>
                      <a:pt x="731" y="255"/>
                      <a:pt x="724" y="258"/>
                      <a:pt x="719" y="264"/>
                    </a:cubicBezTo>
                    <a:cubicBezTo>
                      <a:pt x="713" y="270"/>
                      <a:pt x="711" y="278"/>
                      <a:pt x="711" y="287"/>
                    </a:cubicBezTo>
                    <a:cubicBezTo>
                      <a:pt x="711" y="346"/>
                      <a:pt x="711" y="346"/>
                      <a:pt x="711" y="346"/>
                    </a:cubicBezTo>
                    <a:cubicBezTo>
                      <a:pt x="694" y="346"/>
                      <a:pt x="694" y="346"/>
                      <a:pt x="694" y="346"/>
                    </a:cubicBezTo>
                    <a:cubicBezTo>
                      <a:pt x="694" y="243"/>
                      <a:pt x="694" y="243"/>
                      <a:pt x="694" y="243"/>
                    </a:cubicBezTo>
                    <a:cubicBezTo>
                      <a:pt x="711" y="243"/>
                      <a:pt x="711" y="243"/>
                      <a:pt x="711" y="243"/>
                    </a:cubicBezTo>
                    <a:cubicBezTo>
                      <a:pt x="711" y="260"/>
                      <a:pt x="711" y="260"/>
                      <a:pt x="711" y="260"/>
                    </a:cubicBezTo>
                    <a:cubicBezTo>
                      <a:pt x="711" y="260"/>
                      <a:pt x="711" y="260"/>
                      <a:pt x="711" y="260"/>
                    </a:cubicBezTo>
                    <a:cubicBezTo>
                      <a:pt x="719" y="247"/>
                      <a:pt x="730" y="241"/>
                      <a:pt x="745" y="241"/>
                    </a:cubicBezTo>
                    <a:cubicBezTo>
                      <a:pt x="756" y="241"/>
                      <a:pt x="765" y="244"/>
                      <a:pt x="771" y="252"/>
                    </a:cubicBezTo>
                    <a:cubicBezTo>
                      <a:pt x="776" y="259"/>
                      <a:pt x="779" y="270"/>
                      <a:pt x="779" y="283"/>
                    </a:cubicBezTo>
                    <a:lnTo>
                      <a:pt x="779" y="346"/>
                    </a:lnTo>
                    <a:close/>
                    <a:moveTo>
                      <a:pt x="878" y="346"/>
                    </a:moveTo>
                    <a:cubicBezTo>
                      <a:pt x="861" y="346"/>
                      <a:pt x="861" y="346"/>
                      <a:pt x="861" y="346"/>
                    </a:cubicBezTo>
                    <a:cubicBezTo>
                      <a:pt x="861" y="330"/>
                      <a:pt x="861" y="330"/>
                      <a:pt x="861" y="330"/>
                    </a:cubicBezTo>
                    <a:cubicBezTo>
                      <a:pt x="861" y="330"/>
                      <a:pt x="861" y="330"/>
                      <a:pt x="861" y="330"/>
                    </a:cubicBezTo>
                    <a:cubicBezTo>
                      <a:pt x="854" y="342"/>
                      <a:pt x="843" y="349"/>
                      <a:pt x="829" y="349"/>
                    </a:cubicBezTo>
                    <a:cubicBezTo>
                      <a:pt x="819" y="349"/>
                      <a:pt x="811" y="346"/>
                      <a:pt x="805" y="340"/>
                    </a:cubicBezTo>
                    <a:cubicBezTo>
                      <a:pt x="799" y="335"/>
                      <a:pt x="796" y="328"/>
                      <a:pt x="796" y="319"/>
                    </a:cubicBezTo>
                    <a:cubicBezTo>
                      <a:pt x="796" y="300"/>
                      <a:pt x="808" y="288"/>
                      <a:pt x="830" y="285"/>
                    </a:cubicBezTo>
                    <a:cubicBezTo>
                      <a:pt x="861" y="281"/>
                      <a:pt x="861" y="281"/>
                      <a:pt x="861" y="281"/>
                    </a:cubicBezTo>
                    <a:cubicBezTo>
                      <a:pt x="861" y="264"/>
                      <a:pt x="854" y="255"/>
                      <a:pt x="840" y="255"/>
                    </a:cubicBezTo>
                    <a:cubicBezTo>
                      <a:pt x="828" y="255"/>
                      <a:pt x="816" y="259"/>
                      <a:pt x="807" y="267"/>
                    </a:cubicBezTo>
                    <a:cubicBezTo>
                      <a:pt x="807" y="250"/>
                      <a:pt x="807" y="250"/>
                      <a:pt x="807" y="250"/>
                    </a:cubicBezTo>
                    <a:cubicBezTo>
                      <a:pt x="810" y="248"/>
                      <a:pt x="815" y="246"/>
                      <a:pt x="822" y="244"/>
                    </a:cubicBezTo>
                    <a:cubicBezTo>
                      <a:pt x="829" y="242"/>
                      <a:pt x="836" y="241"/>
                      <a:pt x="841" y="241"/>
                    </a:cubicBezTo>
                    <a:cubicBezTo>
                      <a:pt x="866" y="241"/>
                      <a:pt x="878" y="254"/>
                      <a:pt x="878" y="279"/>
                    </a:cubicBezTo>
                    <a:lnTo>
                      <a:pt x="878" y="346"/>
                    </a:lnTo>
                    <a:close/>
                    <a:moveTo>
                      <a:pt x="861" y="294"/>
                    </a:moveTo>
                    <a:cubicBezTo>
                      <a:pt x="836" y="298"/>
                      <a:pt x="836" y="298"/>
                      <a:pt x="836" y="298"/>
                    </a:cubicBezTo>
                    <a:cubicBezTo>
                      <a:pt x="828" y="299"/>
                      <a:pt x="822" y="301"/>
                      <a:pt x="818" y="304"/>
                    </a:cubicBezTo>
                    <a:cubicBezTo>
                      <a:pt x="815" y="306"/>
                      <a:pt x="813" y="311"/>
                      <a:pt x="813" y="317"/>
                    </a:cubicBezTo>
                    <a:cubicBezTo>
                      <a:pt x="813" y="323"/>
                      <a:pt x="815" y="327"/>
                      <a:pt x="819" y="330"/>
                    </a:cubicBezTo>
                    <a:cubicBezTo>
                      <a:pt x="823" y="333"/>
                      <a:pt x="827" y="335"/>
                      <a:pt x="833" y="335"/>
                    </a:cubicBezTo>
                    <a:cubicBezTo>
                      <a:pt x="841" y="335"/>
                      <a:pt x="848" y="332"/>
                      <a:pt x="853" y="326"/>
                    </a:cubicBezTo>
                    <a:cubicBezTo>
                      <a:pt x="859" y="320"/>
                      <a:pt x="861" y="313"/>
                      <a:pt x="861" y="304"/>
                    </a:cubicBezTo>
                    <a:lnTo>
                      <a:pt x="861" y="294"/>
                    </a:lnTo>
                    <a:close/>
                    <a:moveTo>
                      <a:pt x="1049" y="346"/>
                    </a:moveTo>
                    <a:cubicBezTo>
                      <a:pt x="1033" y="346"/>
                      <a:pt x="1033" y="346"/>
                      <a:pt x="1033" y="346"/>
                    </a:cubicBezTo>
                    <a:cubicBezTo>
                      <a:pt x="1033" y="287"/>
                      <a:pt x="1033" y="287"/>
                      <a:pt x="1033" y="287"/>
                    </a:cubicBezTo>
                    <a:cubicBezTo>
                      <a:pt x="1033" y="276"/>
                      <a:pt x="1031" y="267"/>
                      <a:pt x="1027" y="262"/>
                    </a:cubicBezTo>
                    <a:cubicBezTo>
                      <a:pt x="1024" y="257"/>
                      <a:pt x="1018" y="255"/>
                      <a:pt x="1010" y="255"/>
                    </a:cubicBezTo>
                    <a:cubicBezTo>
                      <a:pt x="1003" y="255"/>
                      <a:pt x="997" y="258"/>
                      <a:pt x="992" y="264"/>
                    </a:cubicBezTo>
                    <a:cubicBezTo>
                      <a:pt x="987" y="271"/>
                      <a:pt x="984" y="279"/>
                      <a:pt x="984" y="287"/>
                    </a:cubicBezTo>
                    <a:cubicBezTo>
                      <a:pt x="984" y="346"/>
                      <a:pt x="984" y="346"/>
                      <a:pt x="984" y="346"/>
                    </a:cubicBezTo>
                    <a:cubicBezTo>
                      <a:pt x="968" y="346"/>
                      <a:pt x="968" y="346"/>
                      <a:pt x="968" y="346"/>
                    </a:cubicBezTo>
                    <a:cubicBezTo>
                      <a:pt x="968" y="285"/>
                      <a:pt x="968" y="285"/>
                      <a:pt x="968" y="285"/>
                    </a:cubicBezTo>
                    <a:cubicBezTo>
                      <a:pt x="968" y="265"/>
                      <a:pt x="960" y="255"/>
                      <a:pt x="945" y="255"/>
                    </a:cubicBezTo>
                    <a:cubicBezTo>
                      <a:pt x="937" y="255"/>
                      <a:pt x="931" y="258"/>
                      <a:pt x="927" y="264"/>
                    </a:cubicBezTo>
                    <a:cubicBezTo>
                      <a:pt x="922" y="270"/>
                      <a:pt x="920" y="278"/>
                      <a:pt x="920" y="287"/>
                    </a:cubicBezTo>
                    <a:cubicBezTo>
                      <a:pt x="920" y="346"/>
                      <a:pt x="920" y="346"/>
                      <a:pt x="920" y="346"/>
                    </a:cubicBezTo>
                    <a:cubicBezTo>
                      <a:pt x="903" y="346"/>
                      <a:pt x="903" y="346"/>
                      <a:pt x="903" y="346"/>
                    </a:cubicBezTo>
                    <a:cubicBezTo>
                      <a:pt x="903" y="243"/>
                      <a:pt x="903" y="243"/>
                      <a:pt x="903" y="243"/>
                    </a:cubicBezTo>
                    <a:cubicBezTo>
                      <a:pt x="920" y="243"/>
                      <a:pt x="920" y="243"/>
                      <a:pt x="920" y="243"/>
                    </a:cubicBezTo>
                    <a:cubicBezTo>
                      <a:pt x="920" y="260"/>
                      <a:pt x="920" y="260"/>
                      <a:pt x="920" y="260"/>
                    </a:cubicBezTo>
                    <a:cubicBezTo>
                      <a:pt x="920" y="260"/>
                      <a:pt x="920" y="260"/>
                      <a:pt x="920" y="260"/>
                    </a:cubicBezTo>
                    <a:cubicBezTo>
                      <a:pt x="927" y="247"/>
                      <a:pt x="938" y="241"/>
                      <a:pt x="952" y="241"/>
                    </a:cubicBezTo>
                    <a:cubicBezTo>
                      <a:pt x="959" y="241"/>
                      <a:pt x="965" y="243"/>
                      <a:pt x="970" y="246"/>
                    </a:cubicBezTo>
                    <a:cubicBezTo>
                      <a:pt x="975" y="250"/>
                      <a:pt x="979" y="255"/>
                      <a:pt x="981" y="262"/>
                    </a:cubicBezTo>
                    <a:cubicBezTo>
                      <a:pt x="989" y="248"/>
                      <a:pt x="1000" y="241"/>
                      <a:pt x="1015" y="241"/>
                    </a:cubicBezTo>
                    <a:cubicBezTo>
                      <a:pt x="1038" y="241"/>
                      <a:pt x="1049" y="255"/>
                      <a:pt x="1049" y="283"/>
                    </a:cubicBezTo>
                    <a:lnTo>
                      <a:pt x="1049" y="346"/>
                    </a:lnTo>
                    <a:close/>
                    <a:moveTo>
                      <a:pt x="1188" y="341"/>
                    </a:moveTo>
                    <a:cubicBezTo>
                      <a:pt x="1180" y="346"/>
                      <a:pt x="1171" y="349"/>
                      <a:pt x="1160" y="349"/>
                    </a:cubicBezTo>
                    <a:cubicBezTo>
                      <a:pt x="1151" y="349"/>
                      <a:pt x="1142" y="346"/>
                      <a:pt x="1135" y="342"/>
                    </a:cubicBezTo>
                    <a:cubicBezTo>
                      <a:pt x="1127" y="338"/>
                      <a:pt x="1121" y="332"/>
                      <a:pt x="1117" y="324"/>
                    </a:cubicBezTo>
                    <a:cubicBezTo>
                      <a:pt x="1113" y="316"/>
                      <a:pt x="1111" y="307"/>
                      <a:pt x="1111" y="297"/>
                    </a:cubicBezTo>
                    <a:cubicBezTo>
                      <a:pt x="1111" y="280"/>
                      <a:pt x="1116" y="267"/>
                      <a:pt x="1126" y="256"/>
                    </a:cubicBezTo>
                    <a:cubicBezTo>
                      <a:pt x="1135" y="246"/>
                      <a:pt x="1148" y="241"/>
                      <a:pt x="1165" y="241"/>
                    </a:cubicBezTo>
                    <a:cubicBezTo>
                      <a:pt x="1173" y="241"/>
                      <a:pt x="1181" y="242"/>
                      <a:pt x="1188" y="246"/>
                    </a:cubicBezTo>
                    <a:cubicBezTo>
                      <a:pt x="1188" y="263"/>
                      <a:pt x="1188" y="263"/>
                      <a:pt x="1188" y="263"/>
                    </a:cubicBezTo>
                    <a:cubicBezTo>
                      <a:pt x="1181" y="257"/>
                      <a:pt x="1172" y="255"/>
                      <a:pt x="1164" y="255"/>
                    </a:cubicBezTo>
                    <a:cubicBezTo>
                      <a:pt x="1153" y="255"/>
                      <a:pt x="1145" y="259"/>
                      <a:pt x="1138" y="266"/>
                    </a:cubicBezTo>
                    <a:cubicBezTo>
                      <a:pt x="1131" y="274"/>
                      <a:pt x="1128" y="284"/>
                      <a:pt x="1128" y="296"/>
                    </a:cubicBezTo>
                    <a:cubicBezTo>
                      <a:pt x="1128" y="308"/>
                      <a:pt x="1131" y="317"/>
                      <a:pt x="1137" y="324"/>
                    </a:cubicBezTo>
                    <a:cubicBezTo>
                      <a:pt x="1144" y="331"/>
                      <a:pt x="1152" y="335"/>
                      <a:pt x="1163" y="335"/>
                    </a:cubicBezTo>
                    <a:cubicBezTo>
                      <a:pt x="1172" y="335"/>
                      <a:pt x="1180" y="332"/>
                      <a:pt x="1188" y="326"/>
                    </a:cubicBezTo>
                    <a:lnTo>
                      <a:pt x="1188" y="341"/>
                    </a:lnTo>
                    <a:close/>
                    <a:moveTo>
                      <a:pt x="1264" y="319"/>
                    </a:moveTo>
                    <a:cubicBezTo>
                      <a:pt x="1264" y="327"/>
                      <a:pt x="1260" y="335"/>
                      <a:pt x="1253" y="340"/>
                    </a:cubicBezTo>
                    <a:cubicBezTo>
                      <a:pt x="1246" y="346"/>
                      <a:pt x="1237" y="349"/>
                      <a:pt x="1226" y="349"/>
                    </a:cubicBezTo>
                    <a:cubicBezTo>
                      <a:pt x="1216" y="349"/>
                      <a:pt x="1208" y="346"/>
                      <a:pt x="1200" y="342"/>
                    </a:cubicBezTo>
                    <a:cubicBezTo>
                      <a:pt x="1200" y="325"/>
                      <a:pt x="1200" y="325"/>
                      <a:pt x="1200" y="325"/>
                    </a:cubicBezTo>
                    <a:cubicBezTo>
                      <a:pt x="1209" y="331"/>
                      <a:pt x="1217" y="335"/>
                      <a:pt x="1227" y="335"/>
                    </a:cubicBezTo>
                    <a:cubicBezTo>
                      <a:pt x="1240" y="335"/>
                      <a:pt x="1247" y="330"/>
                      <a:pt x="1247" y="320"/>
                    </a:cubicBezTo>
                    <a:cubicBezTo>
                      <a:pt x="1247" y="316"/>
                      <a:pt x="1245" y="313"/>
                      <a:pt x="1243" y="311"/>
                    </a:cubicBezTo>
                    <a:cubicBezTo>
                      <a:pt x="1240" y="308"/>
                      <a:pt x="1235" y="305"/>
                      <a:pt x="1226" y="301"/>
                    </a:cubicBezTo>
                    <a:cubicBezTo>
                      <a:pt x="1216" y="297"/>
                      <a:pt x="1210" y="293"/>
                      <a:pt x="1206" y="288"/>
                    </a:cubicBezTo>
                    <a:cubicBezTo>
                      <a:pt x="1202" y="284"/>
                      <a:pt x="1201" y="278"/>
                      <a:pt x="1201" y="271"/>
                    </a:cubicBezTo>
                    <a:cubicBezTo>
                      <a:pt x="1201" y="262"/>
                      <a:pt x="1204" y="255"/>
                      <a:pt x="1211" y="249"/>
                    </a:cubicBezTo>
                    <a:cubicBezTo>
                      <a:pt x="1218" y="244"/>
                      <a:pt x="1226" y="241"/>
                      <a:pt x="1237" y="241"/>
                    </a:cubicBezTo>
                    <a:cubicBezTo>
                      <a:pt x="1245" y="241"/>
                      <a:pt x="1252" y="242"/>
                      <a:pt x="1259" y="246"/>
                    </a:cubicBezTo>
                    <a:cubicBezTo>
                      <a:pt x="1259" y="262"/>
                      <a:pt x="1259" y="262"/>
                      <a:pt x="1259" y="262"/>
                    </a:cubicBezTo>
                    <a:cubicBezTo>
                      <a:pt x="1252" y="257"/>
                      <a:pt x="1244" y="255"/>
                      <a:pt x="1236" y="255"/>
                    </a:cubicBezTo>
                    <a:cubicBezTo>
                      <a:pt x="1230" y="255"/>
                      <a:pt x="1226" y="256"/>
                      <a:pt x="1222" y="259"/>
                    </a:cubicBezTo>
                    <a:cubicBezTo>
                      <a:pt x="1219" y="261"/>
                      <a:pt x="1217" y="265"/>
                      <a:pt x="1217" y="269"/>
                    </a:cubicBezTo>
                    <a:cubicBezTo>
                      <a:pt x="1217" y="274"/>
                      <a:pt x="1219" y="277"/>
                      <a:pt x="1221" y="280"/>
                    </a:cubicBezTo>
                    <a:cubicBezTo>
                      <a:pt x="1224" y="282"/>
                      <a:pt x="1229" y="285"/>
                      <a:pt x="1237" y="288"/>
                    </a:cubicBezTo>
                    <a:cubicBezTo>
                      <a:pt x="1247" y="292"/>
                      <a:pt x="1254" y="297"/>
                      <a:pt x="1258" y="301"/>
                    </a:cubicBezTo>
                    <a:cubicBezTo>
                      <a:pt x="1262" y="306"/>
                      <a:pt x="1264" y="312"/>
                      <a:pt x="1264" y="319"/>
                    </a:cubicBezTo>
                    <a:close/>
                    <a:moveTo>
                      <a:pt x="660" y="17"/>
                    </a:moveTo>
                    <a:cubicBezTo>
                      <a:pt x="660" y="21"/>
                      <a:pt x="659" y="23"/>
                      <a:pt x="657" y="25"/>
                    </a:cubicBezTo>
                    <a:cubicBezTo>
                      <a:pt x="655" y="27"/>
                      <a:pt x="652" y="28"/>
                      <a:pt x="649" y="28"/>
                    </a:cubicBezTo>
                    <a:cubicBezTo>
                      <a:pt x="646" y="28"/>
                      <a:pt x="643" y="27"/>
                      <a:pt x="641" y="25"/>
                    </a:cubicBezTo>
                    <a:cubicBezTo>
                      <a:pt x="639" y="23"/>
                      <a:pt x="638" y="21"/>
                      <a:pt x="638" y="17"/>
                    </a:cubicBezTo>
                    <a:cubicBezTo>
                      <a:pt x="638" y="15"/>
                      <a:pt x="639" y="12"/>
                      <a:pt x="641" y="10"/>
                    </a:cubicBezTo>
                    <a:cubicBezTo>
                      <a:pt x="643" y="8"/>
                      <a:pt x="646" y="7"/>
                      <a:pt x="649" y="7"/>
                    </a:cubicBezTo>
                    <a:cubicBezTo>
                      <a:pt x="652" y="7"/>
                      <a:pt x="655" y="8"/>
                      <a:pt x="657" y="10"/>
                    </a:cubicBezTo>
                    <a:cubicBezTo>
                      <a:pt x="659" y="12"/>
                      <a:pt x="660" y="15"/>
                      <a:pt x="660" y="17"/>
                    </a:cubicBezTo>
                    <a:close/>
                    <a:moveTo>
                      <a:pt x="657" y="154"/>
                    </a:moveTo>
                    <a:cubicBezTo>
                      <a:pt x="641" y="154"/>
                      <a:pt x="641" y="154"/>
                      <a:pt x="641" y="154"/>
                    </a:cubicBezTo>
                    <a:cubicBezTo>
                      <a:pt x="641" y="51"/>
                      <a:pt x="641" y="51"/>
                      <a:pt x="641" y="51"/>
                    </a:cubicBezTo>
                    <a:cubicBezTo>
                      <a:pt x="657" y="51"/>
                      <a:pt x="657" y="51"/>
                      <a:pt x="657" y="51"/>
                    </a:cubicBezTo>
                    <a:lnTo>
                      <a:pt x="657" y="154"/>
                    </a:lnTo>
                    <a:close/>
                    <a:moveTo>
                      <a:pt x="580" y="272"/>
                    </a:moveTo>
                    <a:cubicBezTo>
                      <a:pt x="580" y="287"/>
                      <a:pt x="577" y="300"/>
                      <a:pt x="571" y="311"/>
                    </a:cubicBezTo>
                    <a:cubicBezTo>
                      <a:pt x="564" y="322"/>
                      <a:pt x="555" y="331"/>
                      <a:pt x="543" y="337"/>
                    </a:cubicBezTo>
                    <a:cubicBezTo>
                      <a:pt x="532" y="343"/>
                      <a:pt x="518" y="346"/>
                      <a:pt x="503" y="346"/>
                    </a:cubicBezTo>
                    <a:cubicBezTo>
                      <a:pt x="465" y="346"/>
                      <a:pt x="465" y="346"/>
                      <a:pt x="465" y="346"/>
                    </a:cubicBezTo>
                    <a:cubicBezTo>
                      <a:pt x="465" y="202"/>
                      <a:pt x="465" y="202"/>
                      <a:pt x="465" y="202"/>
                    </a:cubicBezTo>
                    <a:cubicBezTo>
                      <a:pt x="504" y="202"/>
                      <a:pt x="504" y="202"/>
                      <a:pt x="504" y="202"/>
                    </a:cubicBezTo>
                    <a:cubicBezTo>
                      <a:pt x="555" y="202"/>
                      <a:pt x="580" y="225"/>
                      <a:pt x="580" y="272"/>
                    </a:cubicBezTo>
                    <a:close/>
                    <a:moveTo>
                      <a:pt x="563" y="272"/>
                    </a:moveTo>
                    <a:cubicBezTo>
                      <a:pt x="563" y="236"/>
                      <a:pt x="543" y="217"/>
                      <a:pt x="504" y="217"/>
                    </a:cubicBezTo>
                    <a:cubicBezTo>
                      <a:pt x="482" y="217"/>
                      <a:pt x="482" y="217"/>
                      <a:pt x="482" y="217"/>
                    </a:cubicBezTo>
                    <a:cubicBezTo>
                      <a:pt x="482" y="331"/>
                      <a:pt x="482" y="331"/>
                      <a:pt x="482" y="331"/>
                    </a:cubicBezTo>
                    <a:cubicBezTo>
                      <a:pt x="503" y="331"/>
                      <a:pt x="503" y="331"/>
                      <a:pt x="503" y="331"/>
                    </a:cubicBezTo>
                    <a:cubicBezTo>
                      <a:pt x="522" y="331"/>
                      <a:pt x="537" y="325"/>
                      <a:pt x="547" y="315"/>
                    </a:cubicBezTo>
                    <a:cubicBezTo>
                      <a:pt x="558" y="305"/>
                      <a:pt x="563" y="291"/>
                      <a:pt x="563" y="272"/>
                    </a:cubicBezTo>
                    <a:close/>
                    <a:moveTo>
                      <a:pt x="273" y="67"/>
                    </a:moveTo>
                    <a:cubicBezTo>
                      <a:pt x="273" y="67"/>
                      <a:pt x="273" y="67"/>
                      <a:pt x="273" y="67"/>
                    </a:cubicBezTo>
                    <a:cubicBezTo>
                      <a:pt x="251" y="119"/>
                      <a:pt x="219" y="167"/>
                      <a:pt x="186" y="201"/>
                    </a:cubicBezTo>
                    <a:cubicBezTo>
                      <a:pt x="186" y="282"/>
                      <a:pt x="186" y="282"/>
                      <a:pt x="186" y="282"/>
                    </a:cubicBezTo>
                    <a:cubicBezTo>
                      <a:pt x="183" y="284"/>
                      <a:pt x="183" y="284"/>
                      <a:pt x="183" y="284"/>
                    </a:cubicBezTo>
                    <a:cubicBezTo>
                      <a:pt x="178" y="284"/>
                      <a:pt x="178" y="284"/>
                      <a:pt x="178" y="284"/>
                    </a:cubicBezTo>
                    <a:cubicBezTo>
                      <a:pt x="66" y="292"/>
                      <a:pt x="0" y="348"/>
                      <a:pt x="0" y="348"/>
                    </a:cubicBezTo>
                    <a:cubicBezTo>
                      <a:pt x="126" y="270"/>
                      <a:pt x="269" y="306"/>
                      <a:pt x="269" y="306"/>
                    </a:cubicBezTo>
                    <a:cubicBezTo>
                      <a:pt x="280" y="304"/>
                      <a:pt x="280" y="304"/>
                      <a:pt x="280" y="304"/>
                    </a:cubicBezTo>
                    <a:cubicBezTo>
                      <a:pt x="280" y="69"/>
                      <a:pt x="280" y="69"/>
                      <a:pt x="280" y="69"/>
                    </a:cubicBezTo>
                    <a:lnTo>
                      <a:pt x="273" y="67"/>
                    </a:lnTo>
                    <a:close/>
                    <a:moveTo>
                      <a:pt x="357" y="123"/>
                    </a:moveTo>
                    <a:cubicBezTo>
                      <a:pt x="357" y="123"/>
                      <a:pt x="357" y="123"/>
                      <a:pt x="357" y="123"/>
                    </a:cubicBezTo>
                    <a:cubicBezTo>
                      <a:pt x="357" y="123"/>
                      <a:pt x="345" y="139"/>
                      <a:pt x="308" y="172"/>
                    </a:cubicBezTo>
                    <a:cubicBezTo>
                      <a:pt x="300" y="180"/>
                      <a:pt x="295" y="184"/>
                      <a:pt x="287" y="191"/>
                    </a:cubicBezTo>
                    <a:cubicBezTo>
                      <a:pt x="287" y="312"/>
                      <a:pt x="287" y="312"/>
                      <a:pt x="287" y="312"/>
                    </a:cubicBezTo>
                    <a:cubicBezTo>
                      <a:pt x="279" y="314"/>
                      <a:pt x="279" y="314"/>
                      <a:pt x="279" y="314"/>
                    </a:cubicBezTo>
                    <a:cubicBezTo>
                      <a:pt x="279" y="314"/>
                      <a:pt x="248" y="304"/>
                      <a:pt x="194" y="302"/>
                    </a:cubicBezTo>
                    <a:cubicBezTo>
                      <a:pt x="140" y="300"/>
                      <a:pt x="61" y="315"/>
                      <a:pt x="0" y="348"/>
                    </a:cubicBezTo>
                    <a:cubicBezTo>
                      <a:pt x="2" y="348"/>
                      <a:pt x="2" y="348"/>
                      <a:pt x="2" y="348"/>
                    </a:cubicBezTo>
                    <a:cubicBezTo>
                      <a:pt x="2" y="348"/>
                      <a:pt x="166" y="284"/>
                      <a:pt x="356" y="349"/>
                    </a:cubicBezTo>
                    <a:cubicBezTo>
                      <a:pt x="356" y="349"/>
                      <a:pt x="356" y="349"/>
                      <a:pt x="356" y="349"/>
                    </a:cubicBezTo>
                    <a:cubicBezTo>
                      <a:pt x="363" y="347"/>
                      <a:pt x="363" y="347"/>
                      <a:pt x="363" y="347"/>
                    </a:cubicBezTo>
                    <a:cubicBezTo>
                      <a:pt x="363" y="127"/>
                      <a:pt x="363" y="127"/>
                      <a:pt x="363" y="127"/>
                    </a:cubicBezTo>
                    <a:lnTo>
                      <a:pt x="357" y="123"/>
                    </a:lnTo>
                    <a:close/>
                    <a:moveTo>
                      <a:pt x="180" y="10"/>
                    </a:moveTo>
                    <a:cubicBezTo>
                      <a:pt x="171" y="8"/>
                      <a:pt x="171" y="8"/>
                      <a:pt x="171" y="8"/>
                    </a:cubicBezTo>
                    <a:cubicBezTo>
                      <a:pt x="171" y="8"/>
                      <a:pt x="171" y="8"/>
                      <a:pt x="171" y="8"/>
                    </a:cubicBezTo>
                    <a:cubicBezTo>
                      <a:pt x="171" y="8"/>
                      <a:pt x="171" y="8"/>
                      <a:pt x="171" y="8"/>
                    </a:cubicBezTo>
                    <a:cubicBezTo>
                      <a:pt x="171" y="8"/>
                      <a:pt x="171" y="8"/>
                      <a:pt x="171" y="8"/>
                    </a:cubicBezTo>
                    <a:cubicBezTo>
                      <a:pt x="171" y="9"/>
                      <a:pt x="171" y="9"/>
                      <a:pt x="171" y="9"/>
                    </a:cubicBezTo>
                    <a:cubicBezTo>
                      <a:pt x="170" y="16"/>
                      <a:pt x="160" y="73"/>
                      <a:pt x="119" y="154"/>
                    </a:cubicBezTo>
                    <a:cubicBezTo>
                      <a:pt x="94" y="201"/>
                      <a:pt x="57" y="261"/>
                      <a:pt x="0" y="320"/>
                    </a:cubicBezTo>
                    <a:cubicBezTo>
                      <a:pt x="0" y="348"/>
                      <a:pt x="0" y="348"/>
                      <a:pt x="0" y="348"/>
                    </a:cubicBezTo>
                    <a:cubicBezTo>
                      <a:pt x="0" y="348"/>
                      <a:pt x="60" y="290"/>
                      <a:pt x="170" y="279"/>
                    </a:cubicBezTo>
                    <a:cubicBezTo>
                      <a:pt x="173" y="278"/>
                      <a:pt x="173" y="278"/>
                      <a:pt x="173" y="278"/>
                    </a:cubicBezTo>
                    <a:cubicBezTo>
                      <a:pt x="180" y="276"/>
                      <a:pt x="180" y="276"/>
                      <a:pt x="180" y="276"/>
                    </a:cubicBezTo>
                    <a:lnTo>
                      <a:pt x="180" y="10"/>
                    </a:lnTo>
                    <a:close/>
                  </a:path>
                </a:pathLst>
              </a:custGeom>
              <a:solidFill>
                <a:srgbClr val="002050"/>
              </a:solidFill>
              <a:ln>
                <a:noFill/>
              </a:ln>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269" name="Freeform 13">
                <a:extLst>
                  <a:ext uri="{FF2B5EF4-FFF2-40B4-BE49-F238E27FC236}">
                    <a16:creationId xmlns:a16="http://schemas.microsoft.com/office/drawing/2014/main" id="{6767C07B-F929-EA4C-816F-62E11CFEF1C5}"/>
                  </a:ext>
                </a:extLst>
              </p:cNvPr>
              <p:cNvSpPr>
                <a:spLocks noChangeAspect="1" noEditPoints="1"/>
              </p:cNvSpPr>
              <p:nvPr/>
            </p:nvSpPr>
            <p:spPr bwMode="black">
              <a:xfrm>
                <a:off x="11077576" y="4605874"/>
                <a:ext cx="614310" cy="446066"/>
              </a:xfrm>
              <a:custGeom>
                <a:avLst/>
                <a:gdLst>
                  <a:gd name="T0" fmla="*/ 187 w 1098"/>
                  <a:gd name="T1" fmla="*/ 61 h 796"/>
                  <a:gd name="T2" fmla="*/ 33 w 1098"/>
                  <a:gd name="T3" fmla="*/ 81 h 796"/>
                  <a:gd name="T4" fmla="*/ 112 w 1098"/>
                  <a:gd name="T5" fmla="*/ 180 h 796"/>
                  <a:gd name="T6" fmla="*/ 285 w 1098"/>
                  <a:gd name="T7" fmla="*/ 21 h 796"/>
                  <a:gd name="T8" fmla="*/ 269 w 1098"/>
                  <a:gd name="T9" fmla="*/ 6 h 796"/>
                  <a:gd name="T10" fmla="*/ 281 w 1098"/>
                  <a:gd name="T11" fmla="*/ 72 h 796"/>
                  <a:gd name="T12" fmla="*/ 309 w 1098"/>
                  <a:gd name="T13" fmla="*/ 148 h 796"/>
                  <a:gd name="T14" fmla="*/ 346 w 1098"/>
                  <a:gd name="T15" fmla="*/ 104 h 796"/>
                  <a:gd name="T16" fmla="*/ 519 w 1098"/>
                  <a:gd name="T17" fmla="*/ 96 h 796"/>
                  <a:gd name="T18" fmla="*/ 444 w 1098"/>
                  <a:gd name="T19" fmla="*/ 72 h 796"/>
                  <a:gd name="T20" fmla="*/ 519 w 1098"/>
                  <a:gd name="T21" fmla="*/ 72 h 796"/>
                  <a:gd name="T22" fmla="*/ 521 w 1098"/>
                  <a:gd name="T23" fmla="*/ 146 h 796"/>
                  <a:gd name="T24" fmla="*/ 627 w 1098"/>
                  <a:gd name="T25" fmla="*/ 103 h 796"/>
                  <a:gd name="T26" fmla="*/ 628 w 1098"/>
                  <a:gd name="T27" fmla="*/ 186 h 796"/>
                  <a:gd name="T28" fmla="*/ 681 w 1098"/>
                  <a:gd name="T29" fmla="*/ 186 h 796"/>
                  <a:gd name="T30" fmla="*/ 681 w 1098"/>
                  <a:gd name="T31" fmla="*/ 111 h 796"/>
                  <a:gd name="T32" fmla="*/ 712 w 1098"/>
                  <a:gd name="T33" fmla="*/ 94 h 796"/>
                  <a:gd name="T34" fmla="*/ 926 w 1098"/>
                  <a:gd name="T35" fmla="*/ 144 h 796"/>
                  <a:gd name="T36" fmla="*/ 858 w 1098"/>
                  <a:gd name="T37" fmla="*/ 69 h 796"/>
                  <a:gd name="T38" fmla="*/ 821 w 1098"/>
                  <a:gd name="T39" fmla="*/ 103 h 796"/>
                  <a:gd name="T40" fmla="*/ 1020 w 1098"/>
                  <a:gd name="T41" fmla="*/ 23 h 796"/>
                  <a:gd name="T42" fmla="*/ 981 w 1098"/>
                  <a:gd name="T43" fmla="*/ 92 h 796"/>
                  <a:gd name="T44" fmla="*/ 958 w 1098"/>
                  <a:gd name="T45" fmla="*/ 72 h 796"/>
                  <a:gd name="T46" fmla="*/ 1098 w 1098"/>
                  <a:gd name="T47" fmla="*/ 215 h 796"/>
                  <a:gd name="T48" fmla="*/ 1039 w 1098"/>
                  <a:gd name="T49" fmla="*/ 72 h 796"/>
                  <a:gd name="T50" fmla="*/ 1062 w 1098"/>
                  <a:gd name="T51" fmla="*/ 92 h 796"/>
                  <a:gd name="T52" fmla="*/ 134 w 1098"/>
                  <a:gd name="T53" fmla="*/ 446 h 796"/>
                  <a:gd name="T54" fmla="*/ 108 w 1098"/>
                  <a:gd name="T55" fmla="*/ 315 h 796"/>
                  <a:gd name="T56" fmla="*/ 134 w 1098"/>
                  <a:gd name="T57" fmla="*/ 446 h 796"/>
                  <a:gd name="T58" fmla="*/ 88 w 1098"/>
                  <a:gd name="T59" fmla="*/ 380 h 796"/>
                  <a:gd name="T60" fmla="*/ 65 w 1098"/>
                  <a:gd name="T61" fmla="*/ 483 h 796"/>
                  <a:gd name="T62" fmla="*/ 165 w 1098"/>
                  <a:gd name="T63" fmla="*/ 320 h 796"/>
                  <a:gd name="T64" fmla="*/ 187 w 1098"/>
                  <a:gd name="T65" fmla="*/ 504 h 796"/>
                  <a:gd name="T66" fmla="*/ 241 w 1098"/>
                  <a:gd name="T67" fmla="*/ 485 h 796"/>
                  <a:gd name="T68" fmla="*/ 215 w 1098"/>
                  <a:gd name="T69" fmla="*/ 380 h 796"/>
                  <a:gd name="T70" fmla="*/ 398 w 1098"/>
                  <a:gd name="T71" fmla="*/ 504 h 796"/>
                  <a:gd name="T72" fmla="*/ 456 w 1098"/>
                  <a:gd name="T73" fmla="*/ 324 h 796"/>
                  <a:gd name="T74" fmla="*/ 447 w 1098"/>
                  <a:gd name="T75" fmla="*/ 497 h 796"/>
                  <a:gd name="T76" fmla="*/ 449 w 1098"/>
                  <a:gd name="T77" fmla="*/ 370 h 796"/>
                  <a:gd name="T78" fmla="*/ 491 w 1098"/>
                  <a:gd name="T79" fmla="*/ 436 h 796"/>
                  <a:gd name="T80" fmla="*/ 526 w 1098"/>
                  <a:gd name="T81" fmla="*/ 446 h 796"/>
                  <a:gd name="T82" fmla="*/ 607 w 1098"/>
                  <a:gd name="T83" fmla="*/ 504 h 796"/>
                  <a:gd name="T84" fmla="*/ 646 w 1098"/>
                  <a:gd name="T85" fmla="*/ 504 h 796"/>
                  <a:gd name="T86" fmla="*/ 761 w 1098"/>
                  <a:gd name="T87" fmla="*/ 360 h 796"/>
                  <a:gd name="T88" fmla="*/ 20 w 1098"/>
                  <a:gd name="T89" fmla="*/ 792 h 796"/>
                  <a:gd name="T90" fmla="*/ 80 w 1098"/>
                  <a:gd name="T91" fmla="*/ 723 h 796"/>
                  <a:gd name="T92" fmla="*/ 104 w 1098"/>
                  <a:gd name="T93" fmla="*/ 594 h 796"/>
                  <a:gd name="T94" fmla="*/ 39 w 1098"/>
                  <a:gd name="T95" fmla="*/ 667 h 796"/>
                  <a:gd name="T96" fmla="*/ 168 w 1098"/>
                  <a:gd name="T97" fmla="*/ 763 h 796"/>
                  <a:gd name="T98" fmla="*/ 131 w 1098"/>
                  <a:gd name="T99" fmla="*/ 721 h 796"/>
                  <a:gd name="T100" fmla="*/ 257 w 1098"/>
                  <a:gd name="T101" fmla="*/ 726 h 796"/>
                  <a:gd name="T102" fmla="*/ 233 w 1098"/>
                  <a:gd name="T103" fmla="*/ 707 h 796"/>
                  <a:gd name="T104" fmla="*/ 283 w 1098"/>
                  <a:gd name="T105" fmla="*/ 792 h 796"/>
                  <a:gd name="T106" fmla="*/ 344 w 1098"/>
                  <a:gd name="T107" fmla="*/ 646 h 796"/>
                  <a:gd name="T108" fmla="*/ 365 w 1098"/>
                  <a:gd name="T109" fmla="*/ 648 h 796"/>
                  <a:gd name="T110" fmla="*/ 476 w 1098"/>
                  <a:gd name="T111" fmla="*/ 648 h 796"/>
                  <a:gd name="T112" fmla="*/ 621 w 1098"/>
                  <a:gd name="T113" fmla="*/ 760 h 796"/>
                  <a:gd name="T114" fmla="*/ 538 w 1098"/>
                  <a:gd name="T115" fmla="*/ 655 h 796"/>
                  <a:gd name="T116" fmla="*/ 598 w 1098"/>
                  <a:gd name="T117" fmla="*/ 676 h 796"/>
                  <a:gd name="T118" fmla="*/ 715 w 1098"/>
                  <a:gd name="T119" fmla="*/ 667 h 796"/>
                  <a:gd name="T120" fmla="*/ 681 w 1098"/>
                  <a:gd name="T121" fmla="*/ 648 h 796"/>
                  <a:gd name="T122" fmla="*/ 733 w 1098"/>
                  <a:gd name="T123" fmla="*/ 672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98" h="796">
                    <a:moveTo>
                      <a:pt x="216" y="216"/>
                    </a:moveTo>
                    <a:cubicBezTo>
                      <a:pt x="192" y="216"/>
                      <a:pt x="192" y="216"/>
                      <a:pt x="192" y="216"/>
                    </a:cubicBezTo>
                    <a:cubicBezTo>
                      <a:pt x="192" y="81"/>
                      <a:pt x="192" y="81"/>
                      <a:pt x="192" y="81"/>
                    </a:cubicBezTo>
                    <a:cubicBezTo>
                      <a:pt x="192" y="70"/>
                      <a:pt x="193" y="57"/>
                      <a:pt x="194" y="42"/>
                    </a:cubicBezTo>
                    <a:cubicBezTo>
                      <a:pt x="193" y="42"/>
                      <a:pt x="193" y="42"/>
                      <a:pt x="193" y="42"/>
                    </a:cubicBezTo>
                    <a:cubicBezTo>
                      <a:pt x="191" y="51"/>
                      <a:pt x="189" y="57"/>
                      <a:pt x="187" y="61"/>
                    </a:cubicBezTo>
                    <a:cubicBezTo>
                      <a:pt x="118" y="216"/>
                      <a:pt x="118" y="216"/>
                      <a:pt x="118" y="216"/>
                    </a:cubicBezTo>
                    <a:cubicBezTo>
                      <a:pt x="107" y="216"/>
                      <a:pt x="107" y="216"/>
                      <a:pt x="107" y="216"/>
                    </a:cubicBezTo>
                    <a:cubicBezTo>
                      <a:pt x="38" y="63"/>
                      <a:pt x="38" y="63"/>
                      <a:pt x="38" y="63"/>
                    </a:cubicBezTo>
                    <a:cubicBezTo>
                      <a:pt x="36" y="58"/>
                      <a:pt x="34" y="51"/>
                      <a:pt x="32" y="42"/>
                    </a:cubicBezTo>
                    <a:cubicBezTo>
                      <a:pt x="31" y="42"/>
                      <a:pt x="31" y="42"/>
                      <a:pt x="31" y="42"/>
                    </a:cubicBezTo>
                    <a:cubicBezTo>
                      <a:pt x="32" y="50"/>
                      <a:pt x="33" y="63"/>
                      <a:pt x="33" y="81"/>
                    </a:cubicBezTo>
                    <a:cubicBezTo>
                      <a:pt x="33" y="216"/>
                      <a:pt x="33" y="216"/>
                      <a:pt x="33" y="216"/>
                    </a:cubicBezTo>
                    <a:cubicBezTo>
                      <a:pt x="10" y="216"/>
                      <a:pt x="10" y="216"/>
                      <a:pt x="10" y="216"/>
                    </a:cubicBezTo>
                    <a:cubicBezTo>
                      <a:pt x="10" y="15"/>
                      <a:pt x="10" y="15"/>
                      <a:pt x="10" y="15"/>
                    </a:cubicBezTo>
                    <a:cubicBezTo>
                      <a:pt x="41" y="15"/>
                      <a:pt x="41" y="15"/>
                      <a:pt x="41" y="15"/>
                    </a:cubicBezTo>
                    <a:cubicBezTo>
                      <a:pt x="103" y="155"/>
                      <a:pt x="103" y="155"/>
                      <a:pt x="103" y="155"/>
                    </a:cubicBezTo>
                    <a:cubicBezTo>
                      <a:pt x="108" y="166"/>
                      <a:pt x="111" y="174"/>
                      <a:pt x="112" y="180"/>
                    </a:cubicBezTo>
                    <a:cubicBezTo>
                      <a:pt x="113" y="180"/>
                      <a:pt x="113" y="180"/>
                      <a:pt x="113" y="180"/>
                    </a:cubicBezTo>
                    <a:cubicBezTo>
                      <a:pt x="118" y="167"/>
                      <a:pt x="121" y="158"/>
                      <a:pt x="123" y="155"/>
                    </a:cubicBezTo>
                    <a:cubicBezTo>
                      <a:pt x="186" y="15"/>
                      <a:pt x="186" y="15"/>
                      <a:pt x="186" y="15"/>
                    </a:cubicBezTo>
                    <a:cubicBezTo>
                      <a:pt x="216" y="15"/>
                      <a:pt x="216" y="15"/>
                      <a:pt x="216" y="15"/>
                    </a:cubicBezTo>
                    <a:lnTo>
                      <a:pt x="216" y="216"/>
                    </a:lnTo>
                    <a:close/>
                    <a:moveTo>
                      <a:pt x="285" y="21"/>
                    </a:moveTo>
                    <a:cubicBezTo>
                      <a:pt x="285" y="25"/>
                      <a:pt x="283" y="29"/>
                      <a:pt x="280" y="32"/>
                    </a:cubicBezTo>
                    <a:cubicBezTo>
                      <a:pt x="277" y="34"/>
                      <a:pt x="273" y="36"/>
                      <a:pt x="269" y="36"/>
                    </a:cubicBezTo>
                    <a:cubicBezTo>
                      <a:pt x="265" y="36"/>
                      <a:pt x="262" y="34"/>
                      <a:pt x="259" y="32"/>
                    </a:cubicBezTo>
                    <a:cubicBezTo>
                      <a:pt x="256" y="29"/>
                      <a:pt x="254" y="25"/>
                      <a:pt x="254" y="21"/>
                    </a:cubicBezTo>
                    <a:cubicBezTo>
                      <a:pt x="254" y="17"/>
                      <a:pt x="256" y="13"/>
                      <a:pt x="259" y="10"/>
                    </a:cubicBezTo>
                    <a:cubicBezTo>
                      <a:pt x="261" y="7"/>
                      <a:pt x="265" y="6"/>
                      <a:pt x="269" y="6"/>
                    </a:cubicBezTo>
                    <a:cubicBezTo>
                      <a:pt x="274" y="6"/>
                      <a:pt x="277" y="7"/>
                      <a:pt x="280" y="10"/>
                    </a:cubicBezTo>
                    <a:cubicBezTo>
                      <a:pt x="283" y="13"/>
                      <a:pt x="285" y="17"/>
                      <a:pt x="285" y="21"/>
                    </a:cubicBezTo>
                    <a:close/>
                    <a:moveTo>
                      <a:pt x="281" y="216"/>
                    </a:moveTo>
                    <a:cubicBezTo>
                      <a:pt x="258" y="216"/>
                      <a:pt x="258" y="216"/>
                      <a:pt x="258" y="216"/>
                    </a:cubicBezTo>
                    <a:cubicBezTo>
                      <a:pt x="258" y="72"/>
                      <a:pt x="258" y="72"/>
                      <a:pt x="258" y="72"/>
                    </a:cubicBezTo>
                    <a:cubicBezTo>
                      <a:pt x="281" y="72"/>
                      <a:pt x="281" y="72"/>
                      <a:pt x="281" y="72"/>
                    </a:cubicBezTo>
                    <a:lnTo>
                      <a:pt x="281" y="216"/>
                    </a:lnTo>
                    <a:close/>
                    <a:moveTo>
                      <a:pt x="417" y="210"/>
                    </a:moveTo>
                    <a:cubicBezTo>
                      <a:pt x="405" y="216"/>
                      <a:pt x="392" y="220"/>
                      <a:pt x="377" y="220"/>
                    </a:cubicBezTo>
                    <a:cubicBezTo>
                      <a:pt x="364" y="220"/>
                      <a:pt x="352" y="217"/>
                      <a:pt x="342" y="211"/>
                    </a:cubicBezTo>
                    <a:cubicBezTo>
                      <a:pt x="331" y="205"/>
                      <a:pt x="323" y="196"/>
                      <a:pt x="317" y="185"/>
                    </a:cubicBezTo>
                    <a:cubicBezTo>
                      <a:pt x="311" y="174"/>
                      <a:pt x="309" y="162"/>
                      <a:pt x="309" y="148"/>
                    </a:cubicBezTo>
                    <a:cubicBezTo>
                      <a:pt x="309" y="124"/>
                      <a:pt x="315" y="105"/>
                      <a:pt x="329" y="90"/>
                    </a:cubicBezTo>
                    <a:cubicBezTo>
                      <a:pt x="343" y="76"/>
                      <a:pt x="361" y="69"/>
                      <a:pt x="383" y="69"/>
                    </a:cubicBezTo>
                    <a:cubicBezTo>
                      <a:pt x="396" y="69"/>
                      <a:pt x="407" y="71"/>
                      <a:pt x="417" y="76"/>
                    </a:cubicBezTo>
                    <a:cubicBezTo>
                      <a:pt x="417" y="100"/>
                      <a:pt x="417" y="100"/>
                      <a:pt x="417" y="100"/>
                    </a:cubicBezTo>
                    <a:cubicBezTo>
                      <a:pt x="406" y="92"/>
                      <a:pt x="395" y="89"/>
                      <a:pt x="383" y="89"/>
                    </a:cubicBezTo>
                    <a:cubicBezTo>
                      <a:pt x="368" y="89"/>
                      <a:pt x="355" y="94"/>
                      <a:pt x="346" y="104"/>
                    </a:cubicBezTo>
                    <a:cubicBezTo>
                      <a:pt x="337" y="115"/>
                      <a:pt x="332" y="129"/>
                      <a:pt x="332" y="146"/>
                    </a:cubicBezTo>
                    <a:cubicBezTo>
                      <a:pt x="332" y="163"/>
                      <a:pt x="337" y="176"/>
                      <a:pt x="345" y="186"/>
                    </a:cubicBezTo>
                    <a:cubicBezTo>
                      <a:pt x="354" y="195"/>
                      <a:pt x="366" y="200"/>
                      <a:pt x="381" y="200"/>
                    </a:cubicBezTo>
                    <a:cubicBezTo>
                      <a:pt x="394" y="200"/>
                      <a:pt x="405" y="196"/>
                      <a:pt x="417" y="188"/>
                    </a:cubicBezTo>
                    <a:lnTo>
                      <a:pt x="417" y="210"/>
                    </a:lnTo>
                    <a:close/>
                    <a:moveTo>
                      <a:pt x="519" y="96"/>
                    </a:moveTo>
                    <a:cubicBezTo>
                      <a:pt x="515" y="93"/>
                      <a:pt x="509" y="91"/>
                      <a:pt x="501" y="91"/>
                    </a:cubicBezTo>
                    <a:cubicBezTo>
                      <a:pt x="491" y="91"/>
                      <a:pt x="483" y="96"/>
                      <a:pt x="476" y="105"/>
                    </a:cubicBezTo>
                    <a:cubicBezTo>
                      <a:pt x="470" y="115"/>
                      <a:pt x="467" y="128"/>
                      <a:pt x="467" y="143"/>
                    </a:cubicBezTo>
                    <a:cubicBezTo>
                      <a:pt x="467" y="216"/>
                      <a:pt x="467" y="216"/>
                      <a:pt x="467" y="216"/>
                    </a:cubicBezTo>
                    <a:cubicBezTo>
                      <a:pt x="444" y="216"/>
                      <a:pt x="444" y="216"/>
                      <a:pt x="444" y="216"/>
                    </a:cubicBezTo>
                    <a:cubicBezTo>
                      <a:pt x="444" y="72"/>
                      <a:pt x="444" y="72"/>
                      <a:pt x="444" y="72"/>
                    </a:cubicBezTo>
                    <a:cubicBezTo>
                      <a:pt x="467" y="72"/>
                      <a:pt x="467" y="72"/>
                      <a:pt x="467" y="72"/>
                    </a:cubicBezTo>
                    <a:cubicBezTo>
                      <a:pt x="467" y="102"/>
                      <a:pt x="467" y="102"/>
                      <a:pt x="467" y="102"/>
                    </a:cubicBezTo>
                    <a:cubicBezTo>
                      <a:pt x="467" y="102"/>
                      <a:pt x="467" y="102"/>
                      <a:pt x="467" y="102"/>
                    </a:cubicBezTo>
                    <a:cubicBezTo>
                      <a:pt x="470" y="92"/>
                      <a:pt x="475" y="84"/>
                      <a:pt x="482" y="78"/>
                    </a:cubicBezTo>
                    <a:cubicBezTo>
                      <a:pt x="489" y="73"/>
                      <a:pt x="496" y="70"/>
                      <a:pt x="505" y="70"/>
                    </a:cubicBezTo>
                    <a:cubicBezTo>
                      <a:pt x="511" y="70"/>
                      <a:pt x="516" y="70"/>
                      <a:pt x="519" y="72"/>
                    </a:cubicBezTo>
                    <a:lnTo>
                      <a:pt x="519" y="96"/>
                    </a:lnTo>
                    <a:close/>
                    <a:moveTo>
                      <a:pt x="663" y="144"/>
                    </a:moveTo>
                    <a:cubicBezTo>
                      <a:pt x="663" y="167"/>
                      <a:pt x="657" y="185"/>
                      <a:pt x="644" y="199"/>
                    </a:cubicBezTo>
                    <a:cubicBezTo>
                      <a:pt x="631" y="213"/>
                      <a:pt x="613" y="220"/>
                      <a:pt x="591" y="220"/>
                    </a:cubicBezTo>
                    <a:cubicBezTo>
                      <a:pt x="570" y="220"/>
                      <a:pt x="553" y="213"/>
                      <a:pt x="540" y="200"/>
                    </a:cubicBezTo>
                    <a:cubicBezTo>
                      <a:pt x="528" y="186"/>
                      <a:pt x="521" y="168"/>
                      <a:pt x="521" y="146"/>
                    </a:cubicBezTo>
                    <a:cubicBezTo>
                      <a:pt x="521" y="122"/>
                      <a:pt x="528" y="103"/>
                      <a:pt x="541" y="90"/>
                    </a:cubicBezTo>
                    <a:cubicBezTo>
                      <a:pt x="554" y="76"/>
                      <a:pt x="572" y="69"/>
                      <a:pt x="595" y="69"/>
                    </a:cubicBezTo>
                    <a:cubicBezTo>
                      <a:pt x="616" y="69"/>
                      <a:pt x="633" y="76"/>
                      <a:pt x="645" y="89"/>
                    </a:cubicBezTo>
                    <a:cubicBezTo>
                      <a:pt x="657" y="102"/>
                      <a:pt x="663" y="121"/>
                      <a:pt x="663" y="144"/>
                    </a:cubicBezTo>
                    <a:close/>
                    <a:moveTo>
                      <a:pt x="639" y="145"/>
                    </a:moveTo>
                    <a:cubicBezTo>
                      <a:pt x="639" y="127"/>
                      <a:pt x="635" y="113"/>
                      <a:pt x="627" y="103"/>
                    </a:cubicBezTo>
                    <a:cubicBezTo>
                      <a:pt x="619" y="93"/>
                      <a:pt x="608" y="89"/>
                      <a:pt x="593" y="89"/>
                    </a:cubicBezTo>
                    <a:cubicBezTo>
                      <a:pt x="578" y="89"/>
                      <a:pt x="567" y="93"/>
                      <a:pt x="558" y="103"/>
                    </a:cubicBezTo>
                    <a:cubicBezTo>
                      <a:pt x="549" y="113"/>
                      <a:pt x="545" y="127"/>
                      <a:pt x="545" y="145"/>
                    </a:cubicBezTo>
                    <a:cubicBezTo>
                      <a:pt x="545" y="162"/>
                      <a:pt x="549" y="176"/>
                      <a:pt x="558" y="186"/>
                    </a:cubicBezTo>
                    <a:cubicBezTo>
                      <a:pt x="567" y="195"/>
                      <a:pt x="578" y="200"/>
                      <a:pt x="593" y="200"/>
                    </a:cubicBezTo>
                    <a:cubicBezTo>
                      <a:pt x="608" y="200"/>
                      <a:pt x="620" y="195"/>
                      <a:pt x="628" y="186"/>
                    </a:cubicBezTo>
                    <a:cubicBezTo>
                      <a:pt x="635" y="176"/>
                      <a:pt x="639" y="163"/>
                      <a:pt x="639" y="145"/>
                    </a:cubicBezTo>
                    <a:close/>
                    <a:moveTo>
                      <a:pt x="770" y="178"/>
                    </a:moveTo>
                    <a:cubicBezTo>
                      <a:pt x="770" y="190"/>
                      <a:pt x="765" y="200"/>
                      <a:pt x="755" y="208"/>
                    </a:cubicBezTo>
                    <a:cubicBezTo>
                      <a:pt x="746" y="216"/>
                      <a:pt x="733" y="220"/>
                      <a:pt x="717" y="220"/>
                    </a:cubicBezTo>
                    <a:cubicBezTo>
                      <a:pt x="703" y="220"/>
                      <a:pt x="691" y="217"/>
                      <a:pt x="681" y="211"/>
                    </a:cubicBezTo>
                    <a:cubicBezTo>
                      <a:pt x="681" y="186"/>
                      <a:pt x="681" y="186"/>
                      <a:pt x="681" y="186"/>
                    </a:cubicBezTo>
                    <a:cubicBezTo>
                      <a:pt x="693" y="196"/>
                      <a:pt x="705" y="200"/>
                      <a:pt x="719" y="200"/>
                    </a:cubicBezTo>
                    <a:cubicBezTo>
                      <a:pt x="737" y="200"/>
                      <a:pt x="746" y="193"/>
                      <a:pt x="746" y="180"/>
                    </a:cubicBezTo>
                    <a:cubicBezTo>
                      <a:pt x="746" y="175"/>
                      <a:pt x="744" y="170"/>
                      <a:pt x="741" y="167"/>
                    </a:cubicBezTo>
                    <a:cubicBezTo>
                      <a:pt x="737" y="163"/>
                      <a:pt x="729" y="159"/>
                      <a:pt x="716" y="153"/>
                    </a:cubicBezTo>
                    <a:cubicBezTo>
                      <a:pt x="704" y="148"/>
                      <a:pt x="695" y="142"/>
                      <a:pt x="689" y="135"/>
                    </a:cubicBezTo>
                    <a:cubicBezTo>
                      <a:pt x="684" y="129"/>
                      <a:pt x="681" y="121"/>
                      <a:pt x="681" y="111"/>
                    </a:cubicBezTo>
                    <a:cubicBezTo>
                      <a:pt x="681" y="99"/>
                      <a:pt x="686" y="89"/>
                      <a:pt x="696" y="81"/>
                    </a:cubicBezTo>
                    <a:cubicBezTo>
                      <a:pt x="705" y="73"/>
                      <a:pt x="718" y="69"/>
                      <a:pt x="732" y="69"/>
                    </a:cubicBezTo>
                    <a:cubicBezTo>
                      <a:pt x="744" y="69"/>
                      <a:pt x="754" y="71"/>
                      <a:pt x="763" y="76"/>
                    </a:cubicBezTo>
                    <a:cubicBezTo>
                      <a:pt x="763" y="99"/>
                      <a:pt x="763" y="99"/>
                      <a:pt x="763" y="99"/>
                    </a:cubicBezTo>
                    <a:cubicBezTo>
                      <a:pt x="754" y="92"/>
                      <a:pt x="743" y="89"/>
                      <a:pt x="730" y="89"/>
                    </a:cubicBezTo>
                    <a:cubicBezTo>
                      <a:pt x="723" y="89"/>
                      <a:pt x="717" y="90"/>
                      <a:pt x="712" y="94"/>
                    </a:cubicBezTo>
                    <a:cubicBezTo>
                      <a:pt x="707" y="98"/>
                      <a:pt x="705" y="103"/>
                      <a:pt x="705" y="109"/>
                    </a:cubicBezTo>
                    <a:cubicBezTo>
                      <a:pt x="705" y="115"/>
                      <a:pt x="707" y="120"/>
                      <a:pt x="710" y="123"/>
                    </a:cubicBezTo>
                    <a:cubicBezTo>
                      <a:pt x="714" y="127"/>
                      <a:pt x="721" y="131"/>
                      <a:pt x="733" y="135"/>
                    </a:cubicBezTo>
                    <a:cubicBezTo>
                      <a:pt x="746" y="141"/>
                      <a:pt x="756" y="147"/>
                      <a:pt x="761" y="154"/>
                    </a:cubicBezTo>
                    <a:cubicBezTo>
                      <a:pt x="767" y="160"/>
                      <a:pt x="770" y="168"/>
                      <a:pt x="770" y="178"/>
                    </a:cubicBezTo>
                    <a:close/>
                    <a:moveTo>
                      <a:pt x="926" y="144"/>
                    </a:moveTo>
                    <a:cubicBezTo>
                      <a:pt x="926" y="167"/>
                      <a:pt x="920" y="185"/>
                      <a:pt x="907" y="199"/>
                    </a:cubicBezTo>
                    <a:cubicBezTo>
                      <a:pt x="894" y="213"/>
                      <a:pt x="877" y="220"/>
                      <a:pt x="855" y="220"/>
                    </a:cubicBezTo>
                    <a:cubicBezTo>
                      <a:pt x="833" y="220"/>
                      <a:pt x="816" y="213"/>
                      <a:pt x="804" y="200"/>
                    </a:cubicBezTo>
                    <a:cubicBezTo>
                      <a:pt x="791" y="186"/>
                      <a:pt x="785" y="168"/>
                      <a:pt x="785" y="146"/>
                    </a:cubicBezTo>
                    <a:cubicBezTo>
                      <a:pt x="785" y="122"/>
                      <a:pt x="791" y="103"/>
                      <a:pt x="804" y="90"/>
                    </a:cubicBezTo>
                    <a:cubicBezTo>
                      <a:pt x="817" y="76"/>
                      <a:pt x="835" y="69"/>
                      <a:pt x="858" y="69"/>
                    </a:cubicBezTo>
                    <a:cubicBezTo>
                      <a:pt x="879" y="69"/>
                      <a:pt x="896" y="76"/>
                      <a:pt x="908" y="89"/>
                    </a:cubicBezTo>
                    <a:cubicBezTo>
                      <a:pt x="920" y="102"/>
                      <a:pt x="926" y="121"/>
                      <a:pt x="926" y="144"/>
                    </a:cubicBezTo>
                    <a:close/>
                    <a:moveTo>
                      <a:pt x="903" y="145"/>
                    </a:moveTo>
                    <a:cubicBezTo>
                      <a:pt x="903" y="127"/>
                      <a:pt x="899" y="113"/>
                      <a:pt x="891" y="103"/>
                    </a:cubicBezTo>
                    <a:cubicBezTo>
                      <a:pt x="883" y="93"/>
                      <a:pt x="871" y="89"/>
                      <a:pt x="856" y="89"/>
                    </a:cubicBezTo>
                    <a:cubicBezTo>
                      <a:pt x="842" y="89"/>
                      <a:pt x="830" y="93"/>
                      <a:pt x="821" y="103"/>
                    </a:cubicBezTo>
                    <a:cubicBezTo>
                      <a:pt x="813" y="113"/>
                      <a:pt x="808" y="127"/>
                      <a:pt x="808" y="145"/>
                    </a:cubicBezTo>
                    <a:cubicBezTo>
                      <a:pt x="808" y="162"/>
                      <a:pt x="813" y="176"/>
                      <a:pt x="821" y="186"/>
                    </a:cubicBezTo>
                    <a:cubicBezTo>
                      <a:pt x="830" y="195"/>
                      <a:pt x="842" y="200"/>
                      <a:pt x="856" y="200"/>
                    </a:cubicBezTo>
                    <a:cubicBezTo>
                      <a:pt x="871" y="200"/>
                      <a:pt x="883" y="195"/>
                      <a:pt x="891" y="186"/>
                    </a:cubicBezTo>
                    <a:cubicBezTo>
                      <a:pt x="899" y="176"/>
                      <a:pt x="903" y="163"/>
                      <a:pt x="903" y="145"/>
                    </a:cubicBezTo>
                    <a:close/>
                    <a:moveTo>
                      <a:pt x="1020" y="23"/>
                    </a:moveTo>
                    <a:cubicBezTo>
                      <a:pt x="1016" y="21"/>
                      <a:pt x="1011" y="20"/>
                      <a:pt x="1005" y="20"/>
                    </a:cubicBezTo>
                    <a:cubicBezTo>
                      <a:pt x="989" y="20"/>
                      <a:pt x="981" y="30"/>
                      <a:pt x="981" y="50"/>
                    </a:cubicBezTo>
                    <a:cubicBezTo>
                      <a:pt x="981" y="72"/>
                      <a:pt x="981" y="72"/>
                      <a:pt x="981" y="72"/>
                    </a:cubicBezTo>
                    <a:cubicBezTo>
                      <a:pt x="1015" y="72"/>
                      <a:pt x="1015" y="72"/>
                      <a:pt x="1015" y="72"/>
                    </a:cubicBezTo>
                    <a:cubicBezTo>
                      <a:pt x="1015" y="92"/>
                      <a:pt x="1015" y="92"/>
                      <a:pt x="1015" y="92"/>
                    </a:cubicBezTo>
                    <a:cubicBezTo>
                      <a:pt x="981" y="92"/>
                      <a:pt x="981" y="92"/>
                      <a:pt x="981" y="92"/>
                    </a:cubicBezTo>
                    <a:cubicBezTo>
                      <a:pt x="981" y="216"/>
                      <a:pt x="981" y="216"/>
                      <a:pt x="981" y="216"/>
                    </a:cubicBezTo>
                    <a:cubicBezTo>
                      <a:pt x="958" y="216"/>
                      <a:pt x="958" y="216"/>
                      <a:pt x="958" y="216"/>
                    </a:cubicBezTo>
                    <a:cubicBezTo>
                      <a:pt x="958" y="92"/>
                      <a:pt x="958" y="92"/>
                      <a:pt x="958" y="92"/>
                    </a:cubicBezTo>
                    <a:cubicBezTo>
                      <a:pt x="933" y="92"/>
                      <a:pt x="933" y="92"/>
                      <a:pt x="933" y="92"/>
                    </a:cubicBezTo>
                    <a:cubicBezTo>
                      <a:pt x="933" y="72"/>
                      <a:pt x="933" y="72"/>
                      <a:pt x="933" y="72"/>
                    </a:cubicBezTo>
                    <a:cubicBezTo>
                      <a:pt x="958" y="72"/>
                      <a:pt x="958" y="72"/>
                      <a:pt x="958" y="72"/>
                    </a:cubicBezTo>
                    <a:cubicBezTo>
                      <a:pt x="958" y="49"/>
                      <a:pt x="958" y="49"/>
                      <a:pt x="958" y="49"/>
                    </a:cubicBezTo>
                    <a:cubicBezTo>
                      <a:pt x="958" y="34"/>
                      <a:pt x="962" y="23"/>
                      <a:pt x="971" y="14"/>
                    </a:cubicBezTo>
                    <a:cubicBezTo>
                      <a:pt x="979" y="5"/>
                      <a:pt x="990" y="0"/>
                      <a:pt x="1004" y="0"/>
                    </a:cubicBezTo>
                    <a:cubicBezTo>
                      <a:pt x="1011" y="0"/>
                      <a:pt x="1016" y="1"/>
                      <a:pt x="1020" y="3"/>
                    </a:cubicBezTo>
                    <a:lnTo>
                      <a:pt x="1020" y="23"/>
                    </a:lnTo>
                    <a:close/>
                    <a:moveTo>
                      <a:pt x="1098" y="215"/>
                    </a:moveTo>
                    <a:cubicBezTo>
                      <a:pt x="1093" y="218"/>
                      <a:pt x="1086" y="220"/>
                      <a:pt x="1077" y="220"/>
                    </a:cubicBezTo>
                    <a:cubicBezTo>
                      <a:pt x="1052" y="220"/>
                      <a:pt x="1039" y="205"/>
                      <a:pt x="1039" y="177"/>
                    </a:cubicBezTo>
                    <a:cubicBezTo>
                      <a:pt x="1039" y="92"/>
                      <a:pt x="1039" y="92"/>
                      <a:pt x="1039" y="92"/>
                    </a:cubicBezTo>
                    <a:cubicBezTo>
                      <a:pt x="1014" y="92"/>
                      <a:pt x="1014" y="92"/>
                      <a:pt x="1014" y="92"/>
                    </a:cubicBezTo>
                    <a:cubicBezTo>
                      <a:pt x="1014" y="72"/>
                      <a:pt x="1014" y="72"/>
                      <a:pt x="1014" y="72"/>
                    </a:cubicBezTo>
                    <a:cubicBezTo>
                      <a:pt x="1039" y="72"/>
                      <a:pt x="1039" y="72"/>
                      <a:pt x="1039" y="72"/>
                    </a:cubicBezTo>
                    <a:cubicBezTo>
                      <a:pt x="1039" y="37"/>
                      <a:pt x="1039" y="37"/>
                      <a:pt x="1039" y="37"/>
                    </a:cubicBezTo>
                    <a:cubicBezTo>
                      <a:pt x="1062" y="30"/>
                      <a:pt x="1062" y="30"/>
                      <a:pt x="1062" y="30"/>
                    </a:cubicBezTo>
                    <a:cubicBezTo>
                      <a:pt x="1062" y="72"/>
                      <a:pt x="1062" y="72"/>
                      <a:pt x="1062" y="72"/>
                    </a:cubicBezTo>
                    <a:cubicBezTo>
                      <a:pt x="1098" y="72"/>
                      <a:pt x="1098" y="72"/>
                      <a:pt x="1098" y="72"/>
                    </a:cubicBezTo>
                    <a:cubicBezTo>
                      <a:pt x="1098" y="92"/>
                      <a:pt x="1098" y="92"/>
                      <a:pt x="1098" y="92"/>
                    </a:cubicBezTo>
                    <a:cubicBezTo>
                      <a:pt x="1062" y="92"/>
                      <a:pt x="1062" y="92"/>
                      <a:pt x="1062" y="92"/>
                    </a:cubicBezTo>
                    <a:cubicBezTo>
                      <a:pt x="1062" y="173"/>
                      <a:pt x="1062" y="173"/>
                      <a:pt x="1062" y="173"/>
                    </a:cubicBezTo>
                    <a:cubicBezTo>
                      <a:pt x="1062" y="183"/>
                      <a:pt x="1064" y="190"/>
                      <a:pt x="1067" y="194"/>
                    </a:cubicBezTo>
                    <a:cubicBezTo>
                      <a:pt x="1070" y="198"/>
                      <a:pt x="1076" y="200"/>
                      <a:pt x="1083" y="200"/>
                    </a:cubicBezTo>
                    <a:cubicBezTo>
                      <a:pt x="1089" y="200"/>
                      <a:pt x="1094" y="198"/>
                      <a:pt x="1098" y="195"/>
                    </a:cubicBezTo>
                    <a:lnTo>
                      <a:pt x="1098" y="215"/>
                    </a:lnTo>
                    <a:close/>
                    <a:moveTo>
                      <a:pt x="134" y="446"/>
                    </a:moveTo>
                    <a:cubicBezTo>
                      <a:pt x="134" y="463"/>
                      <a:pt x="128" y="477"/>
                      <a:pt x="116" y="488"/>
                    </a:cubicBezTo>
                    <a:cubicBezTo>
                      <a:pt x="103" y="499"/>
                      <a:pt x="88" y="504"/>
                      <a:pt x="69" y="504"/>
                    </a:cubicBezTo>
                    <a:cubicBezTo>
                      <a:pt x="10" y="504"/>
                      <a:pt x="10" y="504"/>
                      <a:pt x="10" y="504"/>
                    </a:cubicBezTo>
                    <a:cubicBezTo>
                      <a:pt x="10" y="303"/>
                      <a:pt x="10" y="303"/>
                      <a:pt x="10" y="303"/>
                    </a:cubicBezTo>
                    <a:cubicBezTo>
                      <a:pt x="67" y="303"/>
                      <a:pt x="67" y="303"/>
                      <a:pt x="67" y="303"/>
                    </a:cubicBezTo>
                    <a:cubicBezTo>
                      <a:pt x="84" y="303"/>
                      <a:pt x="98" y="307"/>
                      <a:pt x="108" y="315"/>
                    </a:cubicBezTo>
                    <a:cubicBezTo>
                      <a:pt x="119" y="324"/>
                      <a:pt x="124" y="335"/>
                      <a:pt x="124" y="349"/>
                    </a:cubicBezTo>
                    <a:cubicBezTo>
                      <a:pt x="124" y="360"/>
                      <a:pt x="121" y="370"/>
                      <a:pt x="115" y="378"/>
                    </a:cubicBezTo>
                    <a:cubicBezTo>
                      <a:pt x="108" y="387"/>
                      <a:pt x="100" y="393"/>
                      <a:pt x="89" y="397"/>
                    </a:cubicBezTo>
                    <a:cubicBezTo>
                      <a:pt x="89" y="397"/>
                      <a:pt x="89" y="397"/>
                      <a:pt x="89" y="397"/>
                    </a:cubicBezTo>
                    <a:cubicBezTo>
                      <a:pt x="103" y="399"/>
                      <a:pt x="114" y="404"/>
                      <a:pt x="122" y="413"/>
                    </a:cubicBezTo>
                    <a:cubicBezTo>
                      <a:pt x="130" y="421"/>
                      <a:pt x="134" y="433"/>
                      <a:pt x="134" y="446"/>
                    </a:cubicBezTo>
                    <a:close/>
                    <a:moveTo>
                      <a:pt x="99" y="353"/>
                    </a:moveTo>
                    <a:cubicBezTo>
                      <a:pt x="99" y="334"/>
                      <a:pt x="86" y="324"/>
                      <a:pt x="61" y="324"/>
                    </a:cubicBezTo>
                    <a:cubicBezTo>
                      <a:pt x="33" y="324"/>
                      <a:pt x="33" y="324"/>
                      <a:pt x="33" y="324"/>
                    </a:cubicBezTo>
                    <a:cubicBezTo>
                      <a:pt x="33" y="389"/>
                      <a:pt x="33" y="389"/>
                      <a:pt x="33" y="389"/>
                    </a:cubicBezTo>
                    <a:cubicBezTo>
                      <a:pt x="58" y="389"/>
                      <a:pt x="58" y="389"/>
                      <a:pt x="58" y="389"/>
                    </a:cubicBezTo>
                    <a:cubicBezTo>
                      <a:pt x="70" y="389"/>
                      <a:pt x="81" y="386"/>
                      <a:pt x="88" y="380"/>
                    </a:cubicBezTo>
                    <a:cubicBezTo>
                      <a:pt x="95" y="374"/>
                      <a:pt x="99" y="365"/>
                      <a:pt x="99" y="353"/>
                    </a:cubicBezTo>
                    <a:close/>
                    <a:moveTo>
                      <a:pt x="109" y="446"/>
                    </a:moveTo>
                    <a:cubicBezTo>
                      <a:pt x="109" y="422"/>
                      <a:pt x="93" y="410"/>
                      <a:pt x="61" y="410"/>
                    </a:cubicBezTo>
                    <a:cubicBezTo>
                      <a:pt x="33" y="410"/>
                      <a:pt x="33" y="410"/>
                      <a:pt x="33" y="410"/>
                    </a:cubicBezTo>
                    <a:cubicBezTo>
                      <a:pt x="33" y="483"/>
                      <a:pt x="33" y="483"/>
                      <a:pt x="33" y="483"/>
                    </a:cubicBezTo>
                    <a:cubicBezTo>
                      <a:pt x="65" y="483"/>
                      <a:pt x="65" y="483"/>
                      <a:pt x="65" y="483"/>
                    </a:cubicBezTo>
                    <a:cubicBezTo>
                      <a:pt x="79" y="483"/>
                      <a:pt x="90" y="480"/>
                      <a:pt x="98" y="473"/>
                    </a:cubicBezTo>
                    <a:cubicBezTo>
                      <a:pt x="105" y="466"/>
                      <a:pt x="109" y="457"/>
                      <a:pt x="109" y="446"/>
                    </a:cubicBezTo>
                    <a:close/>
                    <a:moveTo>
                      <a:pt x="191" y="309"/>
                    </a:moveTo>
                    <a:cubicBezTo>
                      <a:pt x="191" y="313"/>
                      <a:pt x="190" y="317"/>
                      <a:pt x="187" y="320"/>
                    </a:cubicBezTo>
                    <a:cubicBezTo>
                      <a:pt x="184" y="322"/>
                      <a:pt x="180" y="324"/>
                      <a:pt x="176" y="324"/>
                    </a:cubicBezTo>
                    <a:cubicBezTo>
                      <a:pt x="172" y="324"/>
                      <a:pt x="168" y="322"/>
                      <a:pt x="165" y="320"/>
                    </a:cubicBezTo>
                    <a:cubicBezTo>
                      <a:pt x="162" y="317"/>
                      <a:pt x="161" y="313"/>
                      <a:pt x="161" y="309"/>
                    </a:cubicBezTo>
                    <a:cubicBezTo>
                      <a:pt x="161" y="305"/>
                      <a:pt x="162" y="301"/>
                      <a:pt x="165" y="298"/>
                    </a:cubicBezTo>
                    <a:cubicBezTo>
                      <a:pt x="168" y="295"/>
                      <a:pt x="172" y="294"/>
                      <a:pt x="176" y="294"/>
                    </a:cubicBezTo>
                    <a:cubicBezTo>
                      <a:pt x="180" y="294"/>
                      <a:pt x="184" y="295"/>
                      <a:pt x="187" y="298"/>
                    </a:cubicBezTo>
                    <a:cubicBezTo>
                      <a:pt x="190" y="301"/>
                      <a:pt x="191" y="305"/>
                      <a:pt x="191" y="309"/>
                    </a:cubicBezTo>
                    <a:close/>
                    <a:moveTo>
                      <a:pt x="187" y="504"/>
                    </a:moveTo>
                    <a:cubicBezTo>
                      <a:pt x="164" y="504"/>
                      <a:pt x="164" y="504"/>
                      <a:pt x="164" y="504"/>
                    </a:cubicBezTo>
                    <a:cubicBezTo>
                      <a:pt x="164" y="360"/>
                      <a:pt x="164" y="360"/>
                      <a:pt x="164" y="360"/>
                    </a:cubicBezTo>
                    <a:cubicBezTo>
                      <a:pt x="187" y="360"/>
                      <a:pt x="187" y="360"/>
                      <a:pt x="187" y="360"/>
                    </a:cubicBezTo>
                    <a:lnTo>
                      <a:pt x="187" y="504"/>
                    </a:lnTo>
                    <a:close/>
                    <a:moveTo>
                      <a:pt x="327" y="367"/>
                    </a:moveTo>
                    <a:cubicBezTo>
                      <a:pt x="241" y="485"/>
                      <a:pt x="241" y="485"/>
                      <a:pt x="241" y="485"/>
                    </a:cubicBezTo>
                    <a:cubicBezTo>
                      <a:pt x="326" y="485"/>
                      <a:pt x="326" y="485"/>
                      <a:pt x="326" y="485"/>
                    </a:cubicBezTo>
                    <a:cubicBezTo>
                      <a:pt x="326" y="504"/>
                      <a:pt x="326" y="504"/>
                      <a:pt x="326" y="504"/>
                    </a:cubicBezTo>
                    <a:cubicBezTo>
                      <a:pt x="207" y="504"/>
                      <a:pt x="207" y="504"/>
                      <a:pt x="207" y="504"/>
                    </a:cubicBezTo>
                    <a:cubicBezTo>
                      <a:pt x="207" y="497"/>
                      <a:pt x="207" y="497"/>
                      <a:pt x="207" y="497"/>
                    </a:cubicBezTo>
                    <a:cubicBezTo>
                      <a:pt x="293" y="380"/>
                      <a:pt x="293" y="380"/>
                      <a:pt x="293" y="380"/>
                    </a:cubicBezTo>
                    <a:cubicBezTo>
                      <a:pt x="215" y="380"/>
                      <a:pt x="215" y="380"/>
                      <a:pt x="215" y="380"/>
                    </a:cubicBezTo>
                    <a:cubicBezTo>
                      <a:pt x="215" y="360"/>
                      <a:pt x="215" y="360"/>
                      <a:pt x="215" y="360"/>
                    </a:cubicBezTo>
                    <a:cubicBezTo>
                      <a:pt x="327" y="360"/>
                      <a:pt x="327" y="360"/>
                      <a:pt x="327" y="360"/>
                    </a:cubicBezTo>
                    <a:lnTo>
                      <a:pt x="327" y="367"/>
                    </a:lnTo>
                    <a:close/>
                    <a:moveTo>
                      <a:pt x="456" y="324"/>
                    </a:moveTo>
                    <a:cubicBezTo>
                      <a:pt x="398" y="324"/>
                      <a:pt x="398" y="324"/>
                      <a:pt x="398" y="324"/>
                    </a:cubicBezTo>
                    <a:cubicBezTo>
                      <a:pt x="398" y="504"/>
                      <a:pt x="398" y="504"/>
                      <a:pt x="398" y="504"/>
                    </a:cubicBezTo>
                    <a:cubicBezTo>
                      <a:pt x="375" y="504"/>
                      <a:pt x="375" y="504"/>
                      <a:pt x="375" y="504"/>
                    </a:cubicBezTo>
                    <a:cubicBezTo>
                      <a:pt x="375" y="324"/>
                      <a:pt x="375" y="324"/>
                      <a:pt x="375" y="324"/>
                    </a:cubicBezTo>
                    <a:cubicBezTo>
                      <a:pt x="316" y="324"/>
                      <a:pt x="316" y="324"/>
                      <a:pt x="316" y="324"/>
                    </a:cubicBezTo>
                    <a:cubicBezTo>
                      <a:pt x="316" y="303"/>
                      <a:pt x="316" y="303"/>
                      <a:pt x="316" y="303"/>
                    </a:cubicBezTo>
                    <a:cubicBezTo>
                      <a:pt x="456" y="303"/>
                      <a:pt x="456" y="303"/>
                      <a:pt x="456" y="303"/>
                    </a:cubicBezTo>
                    <a:lnTo>
                      <a:pt x="456" y="324"/>
                    </a:lnTo>
                    <a:close/>
                    <a:moveTo>
                      <a:pt x="549" y="504"/>
                    </a:moveTo>
                    <a:cubicBezTo>
                      <a:pt x="526" y="504"/>
                      <a:pt x="526" y="504"/>
                      <a:pt x="526" y="504"/>
                    </a:cubicBezTo>
                    <a:cubicBezTo>
                      <a:pt x="526" y="482"/>
                      <a:pt x="526" y="482"/>
                      <a:pt x="526" y="482"/>
                    </a:cubicBezTo>
                    <a:cubicBezTo>
                      <a:pt x="525" y="482"/>
                      <a:pt x="525" y="482"/>
                      <a:pt x="525" y="482"/>
                    </a:cubicBezTo>
                    <a:cubicBezTo>
                      <a:pt x="515" y="499"/>
                      <a:pt x="500" y="508"/>
                      <a:pt x="481" y="508"/>
                    </a:cubicBezTo>
                    <a:cubicBezTo>
                      <a:pt x="467" y="508"/>
                      <a:pt x="456" y="504"/>
                      <a:pt x="447" y="497"/>
                    </a:cubicBezTo>
                    <a:cubicBezTo>
                      <a:pt x="439" y="489"/>
                      <a:pt x="435" y="479"/>
                      <a:pt x="435" y="466"/>
                    </a:cubicBezTo>
                    <a:cubicBezTo>
                      <a:pt x="435" y="439"/>
                      <a:pt x="451" y="424"/>
                      <a:pt x="482" y="419"/>
                    </a:cubicBezTo>
                    <a:cubicBezTo>
                      <a:pt x="526" y="413"/>
                      <a:pt x="526" y="413"/>
                      <a:pt x="526" y="413"/>
                    </a:cubicBezTo>
                    <a:cubicBezTo>
                      <a:pt x="526" y="389"/>
                      <a:pt x="516" y="377"/>
                      <a:pt x="496" y="377"/>
                    </a:cubicBezTo>
                    <a:cubicBezTo>
                      <a:pt x="479" y="377"/>
                      <a:pt x="463" y="382"/>
                      <a:pt x="449" y="394"/>
                    </a:cubicBezTo>
                    <a:cubicBezTo>
                      <a:pt x="449" y="370"/>
                      <a:pt x="449" y="370"/>
                      <a:pt x="449" y="370"/>
                    </a:cubicBezTo>
                    <a:cubicBezTo>
                      <a:pt x="453" y="367"/>
                      <a:pt x="460" y="364"/>
                      <a:pt x="471" y="361"/>
                    </a:cubicBezTo>
                    <a:cubicBezTo>
                      <a:pt x="481" y="358"/>
                      <a:pt x="490" y="357"/>
                      <a:pt x="498" y="357"/>
                    </a:cubicBezTo>
                    <a:cubicBezTo>
                      <a:pt x="532" y="357"/>
                      <a:pt x="549" y="375"/>
                      <a:pt x="549" y="411"/>
                    </a:cubicBezTo>
                    <a:lnTo>
                      <a:pt x="549" y="504"/>
                    </a:lnTo>
                    <a:close/>
                    <a:moveTo>
                      <a:pt x="526" y="432"/>
                    </a:moveTo>
                    <a:cubicBezTo>
                      <a:pt x="491" y="436"/>
                      <a:pt x="491" y="436"/>
                      <a:pt x="491" y="436"/>
                    </a:cubicBezTo>
                    <a:cubicBezTo>
                      <a:pt x="479" y="438"/>
                      <a:pt x="470" y="441"/>
                      <a:pt x="466" y="445"/>
                    </a:cubicBezTo>
                    <a:cubicBezTo>
                      <a:pt x="461" y="449"/>
                      <a:pt x="458" y="455"/>
                      <a:pt x="458" y="464"/>
                    </a:cubicBezTo>
                    <a:cubicBezTo>
                      <a:pt x="458" y="472"/>
                      <a:pt x="461" y="477"/>
                      <a:pt x="466" y="482"/>
                    </a:cubicBezTo>
                    <a:cubicBezTo>
                      <a:pt x="471" y="486"/>
                      <a:pt x="478" y="488"/>
                      <a:pt x="486" y="488"/>
                    </a:cubicBezTo>
                    <a:cubicBezTo>
                      <a:pt x="497" y="488"/>
                      <a:pt x="507" y="484"/>
                      <a:pt x="514" y="476"/>
                    </a:cubicBezTo>
                    <a:cubicBezTo>
                      <a:pt x="522" y="468"/>
                      <a:pt x="526" y="458"/>
                      <a:pt x="526" y="446"/>
                    </a:cubicBezTo>
                    <a:lnTo>
                      <a:pt x="526" y="432"/>
                    </a:lnTo>
                    <a:close/>
                    <a:moveTo>
                      <a:pt x="607" y="504"/>
                    </a:moveTo>
                    <a:cubicBezTo>
                      <a:pt x="584" y="504"/>
                      <a:pt x="584" y="504"/>
                      <a:pt x="584" y="504"/>
                    </a:cubicBezTo>
                    <a:cubicBezTo>
                      <a:pt x="584" y="291"/>
                      <a:pt x="584" y="291"/>
                      <a:pt x="584" y="291"/>
                    </a:cubicBezTo>
                    <a:cubicBezTo>
                      <a:pt x="607" y="291"/>
                      <a:pt x="607" y="291"/>
                      <a:pt x="607" y="291"/>
                    </a:cubicBezTo>
                    <a:lnTo>
                      <a:pt x="607" y="504"/>
                    </a:lnTo>
                    <a:close/>
                    <a:moveTo>
                      <a:pt x="766" y="504"/>
                    </a:moveTo>
                    <a:cubicBezTo>
                      <a:pt x="733" y="504"/>
                      <a:pt x="733" y="504"/>
                      <a:pt x="733" y="504"/>
                    </a:cubicBezTo>
                    <a:cubicBezTo>
                      <a:pt x="670" y="435"/>
                      <a:pt x="670" y="435"/>
                      <a:pt x="670" y="435"/>
                    </a:cubicBezTo>
                    <a:cubicBezTo>
                      <a:pt x="669" y="435"/>
                      <a:pt x="669" y="435"/>
                      <a:pt x="669" y="435"/>
                    </a:cubicBezTo>
                    <a:cubicBezTo>
                      <a:pt x="669" y="504"/>
                      <a:pt x="669" y="504"/>
                      <a:pt x="669" y="504"/>
                    </a:cubicBezTo>
                    <a:cubicBezTo>
                      <a:pt x="646" y="504"/>
                      <a:pt x="646" y="504"/>
                      <a:pt x="646" y="504"/>
                    </a:cubicBezTo>
                    <a:cubicBezTo>
                      <a:pt x="646" y="291"/>
                      <a:pt x="646" y="291"/>
                      <a:pt x="646" y="291"/>
                    </a:cubicBezTo>
                    <a:cubicBezTo>
                      <a:pt x="669" y="291"/>
                      <a:pt x="669" y="291"/>
                      <a:pt x="669" y="291"/>
                    </a:cubicBezTo>
                    <a:cubicBezTo>
                      <a:pt x="669" y="426"/>
                      <a:pt x="669" y="426"/>
                      <a:pt x="669" y="426"/>
                    </a:cubicBezTo>
                    <a:cubicBezTo>
                      <a:pt x="670" y="426"/>
                      <a:pt x="670" y="426"/>
                      <a:pt x="670" y="426"/>
                    </a:cubicBezTo>
                    <a:cubicBezTo>
                      <a:pt x="730" y="360"/>
                      <a:pt x="730" y="360"/>
                      <a:pt x="730" y="360"/>
                    </a:cubicBezTo>
                    <a:cubicBezTo>
                      <a:pt x="761" y="360"/>
                      <a:pt x="761" y="360"/>
                      <a:pt x="761" y="360"/>
                    </a:cubicBezTo>
                    <a:cubicBezTo>
                      <a:pt x="694" y="430"/>
                      <a:pt x="694" y="430"/>
                      <a:pt x="694" y="430"/>
                    </a:cubicBezTo>
                    <a:lnTo>
                      <a:pt x="766" y="504"/>
                    </a:lnTo>
                    <a:close/>
                    <a:moveTo>
                      <a:pt x="113" y="741"/>
                    </a:moveTo>
                    <a:cubicBezTo>
                      <a:pt x="113" y="758"/>
                      <a:pt x="107" y="772"/>
                      <a:pt x="95" y="781"/>
                    </a:cubicBezTo>
                    <a:cubicBezTo>
                      <a:pt x="83" y="791"/>
                      <a:pt x="66" y="796"/>
                      <a:pt x="46" y="796"/>
                    </a:cubicBezTo>
                    <a:cubicBezTo>
                      <a:pt x="38" y="796"/>
                      <a:pt x="30" y="795"/>
                      <a:pt x="20" y="792"/>
                    </a:cubicBezTo>
                    <a:cubicBezTo>
                      <a:pt x="11" y="790"/>
                      <a:pt x="4" y="787"/>
                      <a:pt x="0" y="784"/>
                    </a:cubicBezTo>
                    <a:cubicBezTo>
                      <a:pt x="0" y="756"/>
                      <a:pt x="0" y="756"/>
                      <a:pt x="0" y="756"/>
                    </a:cubicBezTo>
                    <a:cubicBezTo>
                      <a:pt x="6" y="762"/>
                      <a:pt x="14" y="766"/>
                      <a:pt x="23" y="769"/>
                    </a:cubicBezTo>
                    <a:cubicBezTo>
                      <a:pt x="32" y="773"/>
                      <a:pt x="41" y="774"/>
                      <a:pt x="49" y="774"/>
                    </a:cubicBezTo>
                    <a:cubicBezTo>
                      <a:pt x="75" y="774"/>
                      <a:pt x="88" y="764"/>
                      <a:pt x="88" y="744"/>
                    </a:cubicBezTo>
                    <a:cubicBezTo>
                      <a:pt x="88" y="736"/>
                      <a:pt x="85" y="729"/>
                      <a:pt x="80" y="723"/>
                    </a:cubicBezTo>
                    <a:cubicBezTo>
                      <a:pt x="74" y="716"/>
                      <a:pt x="63" y="709"/>
                      <a:pt x="46" y="699"/>
                    </a:cubicBezTo>
                    <a:cubicBezTo>
                      <a:pt x="29" y="689"/>
                      <a:pt x="17" y="680"/>
                      <a:pt x="11" y="672"/>
                    </a:cubicBezTo>
                    <a:cubicBezTo>
                      <a:pt x="4" y="664"/>
                      <a:pt x="1" y="653"/>
                      <a:pt x="1" y="641"/>
                    </a:cubicBezTo>
                    <a:cubicBezTo>
                      <a:pt x="1" y="625"/>
                      <a:pt x="7" y="612"/>
                      <a:pt x="19" y="602"/>
                    </a:cubicBezTo>
                    <a:cubicBezTo>
                      <a:pt x="30" y="592"/>
                      <a:pt x="46" y="587"/>
                      <a:pt x="65" y="587"/>
                    </a:cubicBezTo>
                    <a:cubicBezTo>
                      <a:pt x="83" y="587"/>
                      <a:pt x="96" y="590"/>
                      <a:pt x="104" y="594"/>
                    </a:cubicBezTo>
                    <a:cubicBezTo>
                      <a:pt x="104" y="621"/>
                      <a:pt x="104" y="621"/>
                      <a:pt x="104" y="621"/>
                    </a:cubicBezTo>
                    <a:cubicBezTo>
                      <a:pt x="94" y="613"/>
                      <a:pt x="80" y="609"/>
                      <a:pt x="63" y="609"/>
                    </a:cubicBezTo>
                    <a:cubicBezTo>
                      <a:pt x="52" y="609"/>
                      <a:pt x="43" y="611"/>
                      <a:pt x="36" y="617"/>
                    </a:cubicBezTo>
                    <a:cubicBezTo>
                      <a:pt x="29" y="623"/>
                      <a:pt x="25" y="630"/>
                      <a:pt x="25" y="639"/>
                    </a:cubicBezTo>
                    <a:cubicBezTo>
                      <a:pt x="25" y="646"/>
                      <a:pt x="26" y="651"/>
                      <a:pt x="29" y="655"/>
                    </a:cubicBezTo>
                    <a:cubicBezTo>
                      <a:pt x="31" y="659"/>
                      <a:pt x="34" y="663"/>
                      <a:pt x="39" y="667"/>
                    </a:cubicBezTo>
                    <a:cubicBezTo>
                      <a:pt x="44" y="671"/>
                      <a:pt x="53" y="676"/>
                      <a:pt x="65" y="683"/>
                    </a:cubicBezTo>
                    <a:cubicBezTo>
                      <a:pt x="82" y="693"/>
                      <a:pt x="95" y="702"/>
                      <a:pt x="102" y="711"/>
                    </a:cubicBezTo>
                    <a:cubicBezTo>
                      <a:pt x="109" y="720"/>
                      <a:pt x="113" y="730"/>
                      <a:pt x="113" y="741"/>
                    </a:cubicBezTo>
                    <a:close/>
                    <a:moveTo>
                      <a:pt x="257" y="726"/>
                    </a:moveTo>
                    <a:cubicBezTo>
                      <a:pt x="155" y="726"/>
                      <a:pt x="155" y="726"/>
                      <a:pt x="155" y="726"/>
                    </a:cubicBezTo>
                    <a:cubicBezTo>
                      <a:pt x="155" y="742"/>
                      <a:pt x="160" y="755"/>
                      <a:pt x="168" y="763"/>
                    </a:cubicBezTo>
                    <a:cubicBezTo>
                      <a:pt x="176" y="772"/>
                      <a:pt x="187" y="776"/>
                      <a:pt x="202" y="776"/>
                    </a:cubicBezTo>
                    <a:cubicBezTo>
                      <a:pt x="218" y="776"/>
                      <a:pt x="233" y="771"/>
                      <a:pt x="247" y="760"/>
                    </a:cubicBezTo>
                    <a:cubicBezTo>
                      <a:pt x="247" y="782"/>
                      <a:pt x="247" y="782"/>
                      <a:pt x="247" y="782"/>
                    </a:cubicBezTo>
                    <a:cubicBezTo>
                      <a:pt x="234" y="791"/>
                      <a:pt x="217" y="796"/>
                      <a:pt x="196" y="796"/>
                    </a:cubicBezTo>
                    <a:cubicBezTo>
                      <a:pt x="176" y="796"/>
                      <a:pt x="160" y="789"/>
                      <a:pt x="148" y="776"/>
                    </a:cubicBezTo>
                    <a:cubicBezTo>
                      <a:pt x="137" y="763"/>
                      <a:pt x="131" y="744"/>
                      <a:pt x="131" y="721"/>
                    </a:cubicBezTo>
                    <a:cubicBezTo>
                      <a:pt x="131" y="707"/>
                      <a:pt x="134" y="694"/>
                      <a:pt x="140" y="682"/>
                    </a:cubicBezTo>
                    <a:cubicBezTo>
                      <a:pt x="146" y="670"/>
                      <a:pt x="153" y="661"/>
                      <a:pt x="164" y="655"/>
                    </a:cubicBezTo>
                    <a:cubicBezTo>
                      <a:pt x="174" y="648"/>
                      <a:pt x="185" y="645"/>
                      <a:pt x="197" y="645"/>
                    </a:cubicBezTo>
                    <a:cubicBezTo>
                      <a:pt x="216" y="645"/>
                      <a:pt x="231" y="651"/>
                      <a:pt x="241" y="663"/>
                    </a:cubicBezTo>
                    <a:cubicBezTo>
                      <a:pt x="251" y="675"/>
                      <a:pt x="257" y="692"/>
                      <a:pt x="257" y="714"/>
                    </a:cubicBezTo>
                    <a:lnTo>
                      <a:pt x="257" y="726"/>
                    </a:lnTo>
                    <a:close/>
                    <a:moveTo>
                      <a:pt x="233" y="707"/>
                    </a:moveTo>
                    <a:cubicBezTo>
                      <a:pt x="233" y="693"/>
                      <a:pt x="230" y="683"/>
                      <a:pt x="223" y="676"/>
                    </a:cubicBezTo>
                    <a:cubicBezTo>
                      <a:pt x="217" y="668"/>
                      <a:pt x="208" y="665"/>
                      <a:pt x="197" y="665"/>
                    </a:cubicBezTo>
                    <a:cubicBezTo>
                      <a:pt x="186" y="665"/>
                      <a:pt x="177" y="668"/>
                      <a:pt x="170" y="676"/>
                    </a:cubicBezTo>
                    <a:cubicBezTo>
                      <a:pt x="162" y="684"/>
                      <a:pt x="157" y="694"/>
                      <a:pt x="155" y="707"/>
                    </a:cubicBezTo>
                    <a:lnTo>
                      <a:pt x="233" y="707"/>
                    </a:lnTo>
                    <a:close/>
                    <a:moveTo>
                      <a:pt x="358" y="672"/>
                    </a:moveTo>
                    <a:cubicBezTo>
                      <a:pt x="354" y="669"/>
                      <a:pt x="348" y="667"/>
                      <a:pt x="340" y="667"/>
                    </a:cubicBezTo>
                    <a:cubicBezTo>
                      <a:pt x="330" y="667"/>
                      <a:pt x="322" y="672"/>
                      <a:pt x="315" y="681"/>
                    </a:cubicBezTo>
                    <a:cubicBezTo>
                      <a:pt x="309" y="691"/>
                      <a:pt x="306" y="704"/>
                      <a:pt x="306" y="719"/>
                    </a:cubicBezTo>
                    <a:cubicBezTo>
                      <a:pt x="306" y="792"/>
                      <a:pt x="306" y="792"/>
                      <a:pt x="306" y="792"/>
                    </a:cubicBezTo>
                    <a:cubicBezTo>
                      <a:pt x="283" y="792"/>
                      <a:pt x="283" y="792"/>
                      <a:pt x="283" y="792"/>
                    </a:cubicBezTo>
                    <a:cubicBezTo>
                      <a:pt x="283" y="648"/>
                      <a:pt x="283" y="648"/>
                      <a:pt x="283" y="648"/>
                    </a:cubicBezTo>
                    <a:cubicBezTo>
                      <a:pt x="306" y="648"/>
                      <a:pt x="306" y="648"/>
                      <a:pt x="306" y="648"/>
                    </a:cubicBezTo>
                    <a:cubicBezTo>
                      <a:pt x="306" y="678"/>
                      <a:pt x="306" y="678"/>
                      <a:pt x="306" y="678"/>
                    </a:cubicBezTo>
                    <a:cubicBezTo>
                      <a:pt x="306" y="678"/>
                      <a:pt x="306" y="678"/>
                      <a:pt x="306" y="678"/>
                    </a:cubicBezTo>
                    <a:cubicBezTo>
                      <a:pt x="309" y="668"/>
                      <a:pt x="314" y="660"/>
                      <a:pt x="321" y="654"/>
                    </a:cubicBezTo>
                    <a:cubicBezTo>
                      <a:pt x="328" y="649"/>
                      <a:pt x="335" y="646"/>
                      <a:pt x="344" y="646"/>
                    </a:cubicBezTo>
                    <a:cubicBezTo>
                      <a:pt x="350" y="646"/>
                      <a:pt x="355" y="646"/>
                      <a:pt x="358" y="648"/>
                    </a:cubicBezTo>
                    <a:lnTo>
                      <a:pt x="358" y="672"/>
                    </a:lnTo>
                    <a:close/>
                    <a:moveTo>
                      <a:pt x="500" y="648"/>
                    </a:moveTo>
                    <a:cubicBezTo>
                      <a:pt x="443" y="792"/>
                      <a:pt x="443" y="792"/>
                      <a:pt x="443" y="792"/>
                    </a:cubicBezTo>
                    <a:cubicBezTo>
                      <a:pt x="420" y="792"/>
                      <a:pt x="420" y="792"/>
                      <a:pt x="420" y="792"/>
                    </a:cubicBezTo>
                    <a:cubicBezTo>
                      <a:pt x="365" y="648"/>
                      <a:pt x="365" y="648"/>
                      <a:pt x="365" y="648"/>
                    </a:cubicBezTo>
                    <a:cubicBezTo>
                      <a:pt x="391" y="648"/>
                      <a:pt x="391" y="648"/>
                      <a:pt x="391" y="648"/>
                    </a:cubicBezTo>
                    <a:cubicBezTo>
                      <a:pt x="427" y="753"/>
                      <a:pt x="427" y="753"/>
                      <a:pt x="427" y="753"/>
                    </a:cubicBezTo>
                    <a:cubicBezTo>
                      <a:pt x="429" y="758"/>
                      <a:pt x="431" y="765"/>
                      <a:pt x="432" y="773"/>
                    </a:cubicBezTo>
                    <a:cubicBezTo>
                      <a:pt x="433" y="773"/>
                      <a:pt x="433" y="773"/>
                      <a:pt x="433" y="773"/>
                    </a:cubicBezTo>
                    <a:cubicBezTo>
                      <a:pt x="434" y="766"/>
                      <a:pt x="435" y="760"/>
                      <a:pt x="437" y="754"/>
                    </a:cubicBezTo>
                    <a:cubicBezTo>
                      <a:pt x="476" y="648"/>
                      <a:pt x="476" y="648"/>
                      <a:pt x="476" y="648"/>
                    </a:cubicBezTo>
                    <a:lnTo>
                      <a:pt x="500" y="648"/>
                    </a:lnTo>
                    <a:close/>
                    <a:moveTo>
                      <a:pt x="631" y="726"/>
                    </a:moveTo>
                    <a:cubicBezTo>
                      <a:pt x="530" y="726"/>
                      <a:pt x="530" y="726"/>
                      <a:pt x="530" y="726"/>
                    </a:cubicBezTo>
                    <a:cubicBezTo>
                      <a:pt x="530" y="742"/>
                      <a:pt x="534" y="755"/>
                      <a:pt x="543" y="763"/>
                    </a:cubicBezTo>
                    <a:cubicBezTo>
                      <a:pt x="551" y="772"/>
                      <a:pt x="562" y="776"/>
                      <a:pt x="577" y="776"/>
                    </a:cubicBezTo>
                    <a:cubicBezTo>
                      <a:pt x="593" y="776"/>
                      <a:pt x="608" y="771"/>
                      <a:pt x="621" y="760"/>
                    </a:cubicBezTo>
                    <a:cubicBezTo>
                      <a:pt x="621" y="782"/>
                      <a:pt x="621" y="782"/>
                      <a:pt x="621" y="782"/>
                    </a:cubicBezTo>
                    <a:cubicBezTo>
                      <a:pt x="609" y="791"/>
                      <a:pt x="592" y="796"/>
                      <a:pt x="571" y="796"/>
                    </a:cubicBezTo>
                    <a:cubicBezTo>
                      <a:pt x="551" y="796"/>
                      <a:pt x="535" y="789"/>
                      <a:pt x="523" y="776"/>
                    </a:cubicBezTo>
                    <a:cubicBezTo>
                      <a:pt x="512" y="763"/>
                      <a:pt x="506" y="744"/>
                      <a:pt x="506" y="721"/>
                    </a:cubicBezTo>
                    <a:cubicBezTo>
                      <a:pt x="506" y="707"/>
                      <a:pt x="509" y="694"/>
                      <a:pt x="515" y="682"/>
                    </a:cubicBezTo>
                    <a:cubicBezTo>
                      <a:pt x="520" y="670"/>
                      <a:pt x="528" y="661"/>
                      <a:pt x="538" y="655"/>
                    </a:cubicBezTo>
                    <a:cubicBezTo>
                      <a:pt x="548" y="648"/>
                      <a:pt x="560" y="645"/>
                      <a:pt x="572" y="645"/>
                    </a:cubicBezTo>
                    <a:cubicBezTo>
                      <a:pt x="591" y="645"/>
                      <a:pt x="605" y="651"/>
                      <a:pt x="616" y="663"/>
                    </a:cubicBezTo>
                    <a:cubicBezTo>
                      <a:pt x="626" y="675"/>
                      <a:pt x="631" y="692"/>
                      <a:pt x="631" y="714"/>
                    </a:cubicBezTo>
                    <a:lnTo>
                      <a:pt x="631" y="726"/>
                    </a:lnTo>
                    <a:close/>
                    <a:moveTo>
                      <a:pt x="608" y="707"/>
                    </a:moveTo>
                    <a:cubicBezTo>
                      <a:pt x="608" y="693"/>
                      <a:pt x="604" y="683"/>
                      <a:pt x="598" y="676"/>
                    </a:cubicBezTo>
                    <a:cubicBezTo>
                      <a:pt x="592" y="668"/>
                      <a:pt x="583" y="665"/>
                      <a:pt x="572" y="665"/>
                    </a:cubicBezTo>
                    <a:cubicBezTo>
                      <a:pt x="561" y="665"/>
                      <a:pt x="552" y="668"/>
                      <a:pt x="544" y="676"/>
                    </a:cubicBezTo>
                    <a:cubicBezTo>
                      <a:pt x="537" y="684"/>
                      <a:pt x="532" y="694"/>
                      <a:pt x="530" y="707"/>
                    </a:cubicBezTo>
                    <a:lnTo>
                      <a:pt x="608" y="707"/>
                    </a:lnTo>
                    <a:close/>
                    <a:moveTo>
                      <a:pt x="733" y="672"/>
                    </a:moveTo>
                    <a:cubicBezTo>
                      <a:pt x="728" y="669"/>
                      <a:pt x="723" y="667"/>
                      <a:pt x="715" y="667"/>
                    </a:cubicBezTo>
                    <a:cubicBezTo>
                      <a:pt x="705" y="667"/>
                      <a:pt x="696" y="672"/>
                      <a:pt x="690" y="681"/>
                    </a:cubicBezTo>
                    <a:cubicBezTo>
                      <a:pt x="684" y="691"/>
                      <a:pt x="681" y="704"/>
                      <a:pt x="681" y="719"/>
                    </a:cubicBezTo>
                    <a:cubicBezTo>
                      <a:pt x="681" y="792"/>
                      <a:pt x="681" y="792"/>
                      <a:pt x="681" y="792"/>
                    </a:cubicBezTo>
                    <a:cubicBezTo>
                      <a:pt x="657" y="792"/>
                      <a:pt x="657" y="792"/>
                      <a:pt x="657" y="792"/>
                    </a:cubicBezTo>
                    <a:cubicBezTo>
                      <a:pt x="657" y="648"/>
                      <a:pt x="657" y="648"/>
                      <a:pt x="657" y="648"/>
                    </a:cubicBezTo>
                    <a:cubicBezTo>
                      <a:pt x="681" y="648"/>
                      <a:pt x="681" y="648"/>
                      <a:pt x="681" y="648"/>
                    </a:cubicBezTo>
                    <a:cubicBezTo>
                      <a:pt x="681" y="678"/>
                      <a:pt x="681" y="678"/>
                      <a:pt x="681" y="678"/>
                    </a:cubicBezTo>
                    <a:cubicBezTo>
                      <a:pt x="681" y="678"/>
                      <a:pt x="681" y="678"/>
                      <a:pt x="681" y="678"/>
                    </a:cubicBezTo>
                    <a:cubicBezTo>
                      <a:pt x="684" y="668"/>
                      <a:pt x="689" y="660"/>
                      <a:pt x="696" y="654"/>
                    </a:cubicBezTo>
                    <a:cubicBezTo>
                      <a:pt x="702" y="649"/>
                      <a:pt x="710" y="646"/>
                      <a:pt x="719" y="646"/>
                    </a:cubicBezTo>
                    <a:cubicBezTo>
                      <a:pt x="725" y="646"/>
                      <a:pt x="729" y="646"/>
                      <a:pt x="733" y="648"/>
                    </a:cubicBezTo>
                    <a:lnTo>
                      <a:pt x="733" y="6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pic>
            <p:nvPicPr>
              <p:cNvPr id="270" name="Picture 269">
                <a:extLst>
                  <a:ext uri="{FF2B5EF4-FFF2-40B4-BE49-F238E27FC236}">
                    <a16:creationId xmlns:a16="http://schemas.microsoft.com/office/drawing/2014/main" id="{D1C331DC-21A9-5343-92CF-6C90C56DCC05}"/>
                  </a:ext>
                </a:extLst>
              </p:cNvPr>
              <p:cNvPicPr>
                <a:picLocks noChangeAspect="1"/>
              </p:cNvPicPr>
              <p:nvPr/>
            </p:nvPicPr>
            <p:blipFill>
              <a:blip r:embed="rId9"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10501313" y="5079163"/>
                <a:ext cx="420687" cy="420687"/>
              </a:xfrm>
              <a:prstGeom prst="rect">
                <a:avLst/>
              </a:prstGeom>
            </p:spPr>
          </p:pic>
          <p:grpSp>
            <p:nvGrpSpPr>
              <p:cNvPr id="271" name="Group 57">
                <a:extLst>
                  <a:ext uri="{FF2B5EF4-FFF2-40B4-BE49-F238E27FC236}">
                    <a16:creationId xmlns:a16="http://schemas.microsoft.com/office/drawing/2014/main" id="{DD57D0B1-CFDB-A14A-BF0B-B579048D9C0A}"/>
                  </a:ext>
                </a:extLst>
              </p:cNvPr>
              <p:cNvGrpSpPr>
                <a:grpSpLocks noChangeAspect="1"/>
              </p:cNvGrpSpPr>
              <p:nvPr/>
            </p:nvGrpSpPr>
            <p:grpSpPr bwMode="auto">
              <a:xfrm>
                <a:off x="9926638" y="3368675"/>
                <a:ext cx="777875" cy="800100"/>
                <a:chOff x="6253" y="2122"/>
                <a:chExt cx="490" cy="504"/>
              </a:xfrm>
            </p:grpSpPr>
            <p:sp>
              <p:nvSpPr>
                <p:cNvPr id="287" name="AutoShape 56">
                  <a:extLst>
                    <a:ext uri="{FF2B5EF4-FFF2-40B4-BE49-F238E27FC236}">
                      <a16:creationId xmlns:a16="http://schemas.microsoft.com/office/drawing/2014/main" id="{6976BC2E-B73E-4B47-8EB0-726A9498B75E}"/>
                    </a:ext>
                  </a:extLst>
                </p:cNvPr>
                <p:cNvSpPr>
                  <a:spLocks noChangeAspect="1" noChangeArrowheads="1" noTextEdit="1"/>
                </p:cNvSpPr>
                <p:nvPr/>
              </p:nvSpPr>
              <p:spPr bwMode="auto">
                <a:xfrm>
                  <a:off x="6253" y="2122"/>
                  <a:ext cx="488" cy="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288" name="Freeform 58">
                  <a:extLst>
                    <a:ext uri="{FF2B5EF4-FFF2-40B4-BE49-F238E27FC236}">
                      <a16:creationId xmlns:a16="http://schemas.microsoft.com/office/drawing/2014/main" id="{64815ACE-4211-4B41-AA7C-F86F22F7B139}"/>
                    </a:ext>
                  </a:extLst>
                </p:cNvPr>
                <p:cNvSpPr>
                  <a:spLocks/>
                </p:cNvSpPr>
                <p:nvPr/>
              </p:nvSpPr>
              <p:spPr bwMode="auto">
                <a:xfrm>
                  <a:off x="6255" y="2122"/>
                  <a:ext cx="488" cy="489"/>
                </a:xfrm>
                <a:custGeom>
                  <a:avLst/>
                  <a:gdLst>
                    <a:gd name="T0" fmla="*/ 178 w 306"/>
                    <a:gd name="T1" fmla="*/ 305 h 307"/>
                    <a:gd name="T2" fmla="*/ 173 w 306"/>
                    <a:gd name="T3" fmla="*/ 305 h 307"/>
                    <a:gd name="T4" fmla="*/ 1 w 306"/>
                    <a:gd name="T5" fmla="*/ 133 h 307"/>
                    <a:gd name="T6" fmla="*/ 1 w 306"/>
                    <a:gd name="T7" fmla="*/ 128 h 307"/>
                    <a:gd name="T8" fmla="*/ 128 w 306"/>
                    <a:gd name="T9" fmla="*/ 2 h 307"/>
                    <a:gd name="T10" fmla="*/ 133 w 306"/>
                    <a:gd name="T11" fmla="*/ 2 h 307"/>
                    <a:gd name="T12" fmla="*/ 305 w 306"/>
                    <a:gd name="T13" fmla="*/ 174 h 307"/>
                    <a:gd name="T14" fmla="*/ 305 w 306"/>
                    <a:gd name="T15" fmla="*/ 179 h 307"/>
                    <a:gd name="T16" fmla="*/ 178 w 306"/>
                    <a:gd name="T17" fmla="*/ 30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6" h="307">
                      <a:moveTo>
                        <a:pt x="178" y="305"/>
                      </a:moveTo>
                      <a:cubicBezTo>
                        <a:pt x="177" y="307"/>
                        <a:pt x="175" y="307"/>
                        <a:pt x="173" y="305"/>
                      </a:cubicBezTo>
                      <a:cubicBezTo>
                        <a:pt x="1" y="133"/>
                        <a:pt x="1" y="133"/>
                        <a:pt x="1" y="133"/>
                      </a:cubicBezTo>
                      <a:cubicBezTo>
                        <a:pt x="0" y="132"/>
                        <a:pt x="0" y="130"/>
                        <a:pt x="1" y="128"/>
                      </a:cubicBezTo>
                      <a:cubicBezTo>
                        <a:pt x="128" y="2"/>
                        <a:pt x="128" y="2"/>
                        <a:pt x="128" y="2"/>
                      </a:cubicBezTo>
                      <a:cubicBezTo>
                        <a:pt x="129" y="0"/>
                        <a:pt x="131" y="0"/>
                        <a:pt x="133" y="2"/>
                      </a:cubicBezTo>
                      <a:cubicBezTo>
                        <a:pt x="305" y="174"/>
                        <a:pt x="305" y="174"/>
                        <a:pt x="305" y="174"/>
                      </a:cubicBezTo>
                      <a:cubicBezTo>
                        <a:pt x="306" y="175"/>
                        <a:pt x="306" y="177"/>
                        <a:pt x="305" y="179"/>
                      </a:cubicBezTo>
                      <a:lnTo>
                        <a:pt x="178" y="30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289" name="Freeform 59">
                  <a:extLst>
                    <a:ext uri="{FF2B5EF4-FFF2-40B4-BE49-F238E27FC236}">
                      <a16:creationId xmlns:a16="http://schemas.microsoft.com/office/drawing/2014/main" id="{50DC9E32-310E-6D46-8D10-E22B7A736E60}"/>
                    </a:ext>
                  </a:extLst>
                </p:cNvPr>
                <p:cNvSpPr>
                  <a:spLocks/>
                </p:cNvSpPr>
                <p:nvPr/>
              </p:nvSpPr>
              <p:spPr bwMode="auto">
                <a:xfrm>
                  <a:off x="6298" y="2165"/>
                  <a:ext cx="403" cy="402"/>
                </a:xfrm>
                <a:custGeom>
                  <a:avLst/>
                  <a:gdLst>
                    <a:gd name="T0" fmla="*/ 151 w 253"/>
                    <a:gd name="T1" fmla="*/ 251 h 252"/>
                    <a:gd name="T2" fmla="*/ 147 w 253"/>
                    <a:gd name="T3" fmla="*/ 251 h 252"/>
                    <a:gd name="T4" fmla="*/ 2 w 253"/>
                    <a:gd name="T5" fmla="*/ 105 h 252"/>
                    <a:gd name="T6" fmla="*/ 2 w 253"/>
                    <a:gd name="T7" fmla="*/ 101 h 252"/>
                    <a:gd name="T8" fmla="*/ 102 w 253"/>
                    <a:gd name="T9" fmla="*/ 1 h 252"/>
                    <a:gd name="T10" fmla="*/ 106 w 253"/>
                    <a:gd name="T11" fmla="*/ 1 h 252"/>
                    <a:gd name="T12" fmla="*/ 251 w 253"/>
                    <a:gd name="T13" fmla="*/ 147 h 252"/>
                    <a:gd name="T14" fmla="*/ 251 w 253"/>
                    <a:gd name="T15" fmla="*/ 151 h 252"/>
                    <a:gd name="T16" fmla="*/ 151 w 253"/>
                    <a:gd name="T17" fmla="*/ 25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2">
                      <a:moveTo>
                        <a:pt x="151" y="251"/>
                      </a:moveTo>
                      <a:cubicBezTo>
                        <a:pt x="150" y="252"/>
                        <a:pt x="148" y="252"/>
                        <a:pt x="147" y="251"/>
                      </a:cubicBezTo>
                      <a:cubicBezTo>
                        <a:pt x="2" y="105"/>
                        <a:pt x="2" y="105"/>
                        <a:pt x="2" y="105"/>
                      </a:cubicBezTo>
                      <a:cubicBezTo>
                        <a:pt x="0" y="104"/>
                        <a:pt x="0" y="102"/>
                        <a:pt x="2" y="101"/>
                      </a:cubicBezTo>
                      <a:cubicBezTo>
                        <a:pt x="102" y="1"/>
                        <a:pt x="102" y="1"/>
                        <a:pt x="102" y="1"/>
                      </a:cubicBezTo>
                      <a:cubicBezTo>
                        <a:pt x="103" y="0"/>
                        <a:pt x="105" y="0"/>
                        <a:pt x="106" y="1"/>
                      </a:cubicBezTo>
                      <a:cubicBezTo>
                        <a:pt x="251" y="147"/>
                        <a:pt x="251" y="147"/>
                        <a:pt x="251" y="147"/>
                      </a:cubicBezTo>
                      <a:cubicBezTo>
                        <a:pt x="253" y="148"/>
                        <a:pt x="253" y="150"/>
                        <a:pt x="251" y="151"/>
                      </a:cubicBezTo>
                      <a:lnTo>
                        <a:pt x="151" y="251"/>
                      </a:lnTo>
                      <a:close/>
                    </a:path>
                  </a:pathLst>
                </a:custGeom>
                <a:gradFill flip="none" rotWithShape="1">
                  <a:gsLst>
                    <a:gs pos="50000">
                      <a:srgbClr val="5EB6DA"/>
                    </a:gs>
                    <a:gs pos="50000">
                      <a:srgbClr val="3999C6"/>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290" name="Freeform 60">
                  <a:extLst>
                    <a:ext uri="{FF2B5EF4-FFF2-40B4-BE49-F238E27FC236}">
                      <a16:creationId xmlns:a16="http://schemas.microsoft.com/office/drawing/2014/main" id="{D8AB1DDF-0C50-4B45-9B7D-F1AC234DEF8F}"/>
                    </a:ext>
                  </a:extLst>
                </p:cNvPr>
                <p:cNvSpPr>
                  <a:spLocks/>
                </p:cNvSpPr>
                <p:nvPr/>
              </p:nvSpPr>
              <p:spPr bwMode="auto">
                <a:xfrm>
                  <a:off x="6591" y="2269"/>
                  <a:ext cx="7" cy="6"/>
                </a:xfrm>
                <a:custGeom>
                  <a:avLst/>
                  <a:gdLst>
                    <a:gd name="T0" fmla="*/ 3 w 4"/>
                    <a:gd name="T1" fmla="*/ 3 h 4"/>
                    <a:gd name="T2" fmla="*/ 0 w 4"/>
                    <a:gd name="T3" fmla="*/ 3 h 4"/>
                    <a:gd name="T4" fmla="*/ 1 w 4"/>
                    <a:gd name="T5" fmla="*/ 0 h 4"/>
                    <a:gd name="T6" fmla="*/ 3 w 4"/>
                    <a:gd name="T7" fmla="*/ 0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4"/>
                        <a:pt x="1" y="4"/>
                        <a:pt x="0" y="3"/>
                      </a:cubicBezTo>
                      <a:cubicBezTo>
                        <a:pt x="0" y="2"/>
                        <a:pt x="0" y="1"/>
                        <a:pt x="1" y="0"/>
                      </a:cubicBezTo>
                      <a:cubicBezTo>
                        <a:pt x="1" y="0"/>
                        <a:pt x="2" y="0"/>
                        <a:pt x="3" y="0"/>
                      </a:cubicBezTo>
                      <a:cubicBezTo>
                        <a:pt x="4" y="1"/>
                        <a:pt x="4" y="2"/>
                        <a:pt x="3" y="3"/>
                      </a:cubicBezTo>
                      <a:close/>
                    </a:path>
                  </a:pathLst>
                </a:cu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291" name="Rectangle 61">
                  <a:extLst>
                    <a:ext uri="{FF2B5EF4-FFF2-40B4-BE49-F238E27FC236}">
                      <a16:creationId xmlns:a16="http://schemas.microsoft.com/office/drawing/2014/main" id="{29573246-7EF9-0A4B-835B-A7D92B28355B}"/>
                    </a:ext>
                  </a:extLst>
                </p:cNvPr>
                <p:cNvSpPr>
                  <a:spLocks noChangeArrowheads="1"/>
                </p:cNvSpPr>
                <p:nvPr/>
              </p:nvSpPr>
              <p:spPr bwMode="auto">
                <a:xfrm>
                  <a:off x="6610" y="2584"/>
                  <a:ext cx="16" cy="3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292" name="Rectangle 62">
                  <a:extLst>
                    <a:ext uri="{FF2B5EF4-FFF2-40B4-BE49-F238E27FC236}">
                      <a16:creationId xmlns:a16="http://schemas.microsoft.com/office/drawing/2014/main" id="{820C369D-33A6-DF4F-99B7-FC94E3710208}"/>
                    </a:ext>
                  </a:extLst>
                </p:cNvPr>
                <p:cNvSpPr>
                  <a:spLocks noChangeArrowheads="1"/>
                </p:cNvSpPr>
                <p:nvPr/>
              </p:nvSpPr>
              <p:spPr bwMode="auto">
                <a:xfrm>
                  <a:off x="6610" y="2444"/>
                  <a:ext cx="16" cy="14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293" name="Freeform 63">
                  <a:extLst>
                    <a:ext uri="{FF2B5EF4-FFF2-40B4-BE49-F238E27FC236}">
                      <a16:creationId xmlns:a16="http://schemas.microsoft.com/office/drawing/2014/main" id="{CF6802FF-C54B-BC43-800B-33B2E4719FEE}"/>
                    </a:ext>
                  </a:extLst>
                </p:cNvPr>
                <p:cNvSpPr>
                  <a:spLocks/>
                </p:cNvSpPr>
                <p:nvPr/>
              </p:nvSpPr>
              <p:spPr bwMode="auto">
                <a:xfrm>
                  <a:off x="6610" y="2621"/>
                  <a:ext cx="16" cy="5"/>
                </a:xfrm>
                <a:custGeom>
                  <a:avLst/>
                  <a:gdLst>
                    <a:gd name="T0" fmla="*/ 10 w 10"/>
                    <a:gd name="T1" fmla="*/ 1 h 3"/>
                    <a:gd name="T2" fmla="*/ 10 w 10"/>
                    <a:gd name="T3" fmla="*/ 0 h 3"/>
                    <a:gd name="T4" fmla="*/ 0 w 10"/>
                    <a:gd name="T5" fmla="*/ 0 h 3"/>
                    <a:gd name="T6" fmla="*/ 0 w 10"/>
                    <a:gd name="T7" fmla="*/ 1 h 3"/>
                    <a:gd name="T8" fmla="*/ 2 w 10"/>
                    <a:gd name="T9" fmla="*/ 3 h 3"/>
                    <a:gd name="T10" fmla="*/ 8 w 10"/>
                    <a:gd name="T11" fmla="*/ 3 h 3"/>
                    <a:gd name="T12" fmla="*/ 10 w 10"/>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10" h="3">
                      <a:moveTo>
                        <a:pt x="10" y="1"/>
                      </a:moveTo>
                      <a:cubicBezTo>
                        <a:pt x="10" y="0"/>
                        <a:pt x="10" y="0"/>
                        <a:pt x="10" y="0"/>
                      </a:cubicBezTo>
                      <a:cubicBezTo>
                        <a:pt x="0" y="0"/>
                        <a:pt x="0" y="0"/>
                        <a:pt x="0" y="0"/>
                      </a:cubicBezTo>
                      <a:cubicBezTo>
                        <a:pt x="0" y="1"/>
                        <a:pt x="0" y="1"/>
                        <a:pt x="0" y="1"/>
                      </a:cubicBezTo>
                      <a:cubicBezTo>
                        <a:pt x="0" y="2"/>
                        <a:pt x="1" y="3"/>
                        <a:pt x="2" y="3"/>
                      </a:cubicBezTo>
                      <a:cubicBezTo>
                        <a:pt x="8" y="3"/>
                        <a:pt x="8" y="3"/>
                        <a:pt x="8" y="3"/>
                      </a:cubicBezTo>
                      <a:cubicBezTo>
                        <a:pt x="9" y="3"/>
                        <a:pt x="10" y="2"/>
                        <a:pt x="10" y="1"/>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294" name="Freeform 64">
                  <a:extLst>
                    <a:ext uri="{FF2B5EF4-FFF2-40B4-BE49-F238E27FC236}">
                      <a16:creationId xmlns:a16="http://schemas.microsoft.com/office/drawing/2014/main" id="{09E45EF1-6277-F94B-957C-35161EA1A2EC}"/>
                    </a:ext>
                  </a:extLst>
                </p:cNvPr>
                <p:cNvSpPr>
                  <a:spLocks/>
                </p:cNvSpPr>
                <p:nvPr/>
              </p:nvSpPr>
              <p:spPr bwMode="auto">
                <a:xfrm>
                  <a:off x="6615" y="2401"/>
                  <a:ext cx="7" cy="9"/>
                </a:xfrm>
                <a:custGeom>
                  <a:avLst/>
                  <a:gdLst>
                    <a:gd name="T0" fmla="*/ 0 w 4"/>
                    <a:gd name="T1" fmla="*/ 2 h 6"/>
                    <a:gd name="T2" fmla="*/ 0 w 4"/>
                    <a:gd name="T3" fmla="*/ 6 h 6"/>
                    <a:gd name="T4" fmla="*/ 4 w 4"/>
                    <a:gd name="T5" fmla="*/ 6 h 6"/>
                    <a:gd name="T6" fmla="*/ 4 w 4"/>
                    <a:gd name="T7" fmla="*/ 2 h 6"/>
                    <a:gd name="T8" fmla="*/ 2 w 4"/>
                    <a:gd name="T9" fmla="*/ 0 h 6"/>
                    <a:gd name="T10" fmla="*/ 2 w 4"/>
                    <a:gd name="T11" fmla="*/ 0 h 6"/>
                    <a:gd name="T12" fmla="*/ 0 w 4"/>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2"/>
                      </a:moveTo>
                      <a:cubicBezTo>
                        <a:pt x="0" y="6"/>
                        <a:pt x="0" y="6"/>
                        <a:pt x="0" y="6"/>
                      </a:cubicBezTo>
                      <a:cubicBezTo>
                        <a:pt x="4" y="6"/>
                        <a:pt x="4" y="6"/>
                        <a:pt x="4" y="6"/>
                      </a:cubicBezTo>
                      <a:cubicBezTo>
                        <a:pt x="4" y="2"/>
                        <a:pt x="4" y="2"/>
                        <a:pt x="4" y="2"/>
                      </a:cubicBezTo>
                      <a:cubicBezTo>
                        <a:pt x="4" y="1"/>
                        <a:pt x="3" y="0"/>
                        <a:pt x="2" y="0"/>
                      </a:cubicBezTo>
                      <a:cubicBezTo>
                        <a:pt x="2" y="0"/>
                        <a:pt x="2" y="0"/>
                        <a:pt x="2" y="0"/>
                      </a:cubicBezTo>
                      <a:cubicBezTo>
                        <a:pt x="1" y="0"/>
                        <a:pt x="0"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295" name="Freeform 65">
                  <a:extLst>
                    <a:ext uri="{FF2B5EF4-FFF2-40B4-BE49-F238E27FC236}">
                      <a16:creationId xmlns:a16="http://schemas.microsoft.com/office/drawing/2014/main" id="{03B7A8BC-9FF2-F349-BFAD-32A149D555C4}"/>
                    </a:ext>
                  </a:extLst>
                </p:cNvPr>
                <p:cNvSpPr>
                  <a:spLocks/>
                </p:cNvSpPr>
                <p:nvPr/>
              </p:nvSpPr>
              <p:spPr bwMode="auto">
                <a:xfrm>
                  <a:off x="6610" y="2410"/>
                  <a:ext cx="16" cy="34"/>
                </a:xfrm>
                <a:custGeom>
                  <a:avLst/>
                  <a:gdLst>
                    <a:gd name="T0" fmla="*/ 10 w 10"/>
                    <a:gd name="T1" fmla="*/ 10 h 21"/>
                    <a:gd name="T2" fmla="*/ 7 w 10"/>
                    <a:gd name="T3" fmla="*/ 0 h 21"/>
                    <a:gd name="T4" fmla="*/ 3 w 10"/>
                    <a:gd name="T5" fmla="*/ 0 h 21"/>
                    <a:gd name="T6" fmla="*/ 0 w 10"/>
                    <a:gd name="T7" fmla="*/ 10 h 21"/>
                    <a:gd name="T8" fmla="*/ 0 w 10"/>
                    <a:gd name="T9" fmla="*/ 21 h 21"/>
                    <a:gd name="T10" fmla="*/ 4 w 10"/>
                    <a:gd name="T11" fmla="*/ 21 h 21"/>
                    <a:gd name="T12" fmla="*/ 5 w 10"/>
                    <a:gd name="T13" fmla="*/ 21 h 21"/>
                    <a:gd name="T14" fmla="*/ 10 w 10"/>
                    <a:gd name="T15" fmla="*/ 21 h 21"/>
                    <a:gd name="T16" fmla="*/ 10 w 10"/>
                    <a:gd name="T17"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1">
                      <a:moveTo>
                        <a:pt x="10" y="10"/>
                      </a:moveTo>
                      <a:cubicBezTo>
                        <a:pt x="10" y="7"/>
                        <a:pt x="9" y="1"/>
                        <a:pt x="7" y="0"/>
                      </a:cubicBezTo>
                      <a:cubicBezTo>
                        <a:pt x="3" y="0"/>
                        <a:pt x="3" y="0"/>
                        <a:pt x="3" y="0"/>
                      </a:cubicBezTo>
                      <a:cubicBezTo>
                        <a:pt x="1" y="1"/>
                        <a:pt x="0" y="7"/>
                        <a:pt x="0" y="10"/>
                      </a:cubicBezTo>
                      <a:cubicBezTo>
                        <a:pt x="0" y="21"/>
                        <a:pt x="0" y="21"/>
                        <a:pt x="0" y="21"/>
                      </a:cubicBezTo>
                      <a:cubicBezTo>
                        <a:pt x="4" y="21"/>
                        <a:pt x="4" y="21"/>
                        <a:pt x="4" y="21"/>
                      </a:cubicBezTo>
                      <a:cubicBezTo>
                        <a:pt x="5" y="21"/>
                        <a:pt x="5" y="21"/>
                        <a:pt x="5" y="21"/>
                      </a:cubicBezTo>
                      <a:cubicBezTo>
                        <a:pt x="10" y="21"/>
                        <a:pt x="10" y="21"/>
                        <a:pt x="10" y="21"/>
                      </a:cubicBezTo>
                      <a:lnTo>
                        <a:pt x="10"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296" name="Freeform 66">
                  <a:extLst>
                    <a:ext uri="{FF2B5EF4-FFF2-40B4-BE49-F238E27FC236}">
                      <a16:creationId xmlns:a16="http://schemas.microsoft.com/office/drawing/2014/main" id="{857017FA-CC69-5241-8116-E7D90249D6A9}"/>
                    </a:ext>
                  </a:extLst>
                </p:cNvPr>
                <p:cNvSpPr>
                  <a:spLocks/>
                </p:cNvSpPr>
                <p:nvPr/>
              </p:nvSpPr>
              <p:spPr bwMode="auto">
                <a:xfrm>
                  <a:off x="6615" y="2602"/>
                  <a:ext cx="7" cy="19"/>
                </a:xfrm>
                <a:custGeom>
                  <a:avLst/>
                  <a:gdLst>
                    <a:gd name="T0" fmla="*/ 1 w 4"/>
                    <a:gd name="T1" fmla="*/ 12 h 12"/>
                    <a:gd name="T2" fmla="*/ 0 w 4"/>
                    <a:gd name="T3" fmla="*/ 11 h 12"/>
                    <a:gd name="T4" fmla="*/ 0 w 4"/>
                    <a:gd name="T5" fmla="*/ 1 h 12"/>
                    <a:gd name="T6" fmla="*/ 1 w 4"/>
                    <a:gd name="T7" fmla="*/ 0 h 12"/>
                    <a:gd name="T8" fmla="*/ 2 w 4"/>
                    <a:gd name="T9" fmla="*/ 0 h 12"/>
                    <a:gd name="T10" fmla="*/ 4 w 4"/>
                    <a:gd name="T11" fmla="*/ 1 h 12"/>
                    <a:gd name="T12" fmla="*/ 4 w 4"/>
                    <a:gd name="T13" fmla="*/ 11 h 12"/>
                    <a:gd name="T14" fmla="*/ 2 w 4"/>
                    <a:gd name="T15" fmla="*/ 12 h 12"/>
                    <a:gd name="T16" fmla="*/ 1 w 4"/>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1" y="12"/>
                      </a:moveTo>
                      <a:cubicBezTo>
                        <a:pt x="0" y="12"/>
                        <a:pt x="0" y="12"/>
                        <a:pt x="0" y="11"/>
                      </a:cubicBezTo>
                      <a:cubicBezTo>
                        <a:pt x="0" y="1"/>
                        <a:pt x="0" y="1"/>
                        <a:pt x="0" y="1"/>
                      </a:cubicBezTo>
                      <a:cubicBezTo>
                        <a:pt x="0" y="0"/>
                        <a:pt x="0" y="0"/>
                        <a:pt x="1" y="0"/>
                      </a:cubicBezTo>
                      <a:cubicBezTo>
                        <a:pt x="2" y="0"/>
                        <a:pt x="2" y="0"/>
                        <a:pt x="2" y="0"/>
                      </a:cubicBezTo>
                      <a:cubicBezTo>
                        <a:pt x="3" y="0"/>
                        <a:pt x="4" y="0"/>
                        <a:pt x="4" y="1"/>
                      </a:cubicBezTo>
                      <a:cubicBezTo>
                        <a:pt x="4" y="11"/>
                        <a:pt x="4" y="11"/>
                        <a:pt x="4" y="11"/>
                      </a:cubicBezTo>
                      <a:cubicBezTo>
                        <a:pt x="4" y="12"/>
                        <a:pt x="3" y="12"/>
                        <a:pt x="2" y="12"/>
                      </a:cubicBezTo>
                      <a:lnTo>
                        <a:pt x="1" y="12"/>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grpSp>
          <p:grpSp>
            <p:nvGrpSpPr>
              <p:cNvPr id="272" name="Group 69">
                <a:extLst>
                  <a:ext uri="{FF2B5EF4-FFF2-40B4-BE49-F238E27FC236}">
                    <a16:creationId xmlns:a16="http://schemas.microsoft.com/office/drawing/2014/main" id="{C4AA5061-39B9-0E45-856C-FB19021FC25C}"/>
                  </a:ext>
                </a:extLst>
              </p:cNvPr>
              <p:cNvGrpSpPr>
                <a:grpSpLocks noChangeAspect="1"/>
              </p:cNvGrpSpPr>
              <p:nvPr/>
            </p:nvGrpSpPr>
            <p:grpSpPr bwMode="auto">
              <a:xfrm>
                <a:off x="11045825" y="3357563"/>
                <a:ext cx="385763" cy="696912"/>
                <a:chOff x="6958" y="2115"/>
                <a:chExt cx="243" cy="439"/>
              </a:xfrm>
            </p:grpSpPr>
            <p:sp>
              <p:nvSpPr>
                <p:cNvPr id="280" name="AutoShape 68">
                  <a:extLst>
                    <a:ext uri="{FF2B5EF4-FFF2-40B4-BE49-F238E27FC236}">
                      <a16:creationId xmlns:a16="http://schemas.microsoft.com/office/drawing/2014/main" id="{40A14C60-0DB7-174B-B418-83862E7C40C8}"/>
                    </a:ext>
                  </a:extLst>
                </p:cNvPr>
                <p:cNvSpPr>
                  <a:spLocks noChangeAspect="1" noChangeArrowheads="1" noTextEdit="1"/>
                </p:cNvSpPr>
                <p:nvPr/>
              </p:nvSpPr>
              <p:spPr bwMode="auto">
                <a:xfrm>
                  <a:off x="6958" y="2115"/>
                  <a:ext cx="243" cy="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281" name="Freeform 70">
                  <a:extLst>
                    <a:ext uri="{FF2B5EF4-FFF2-40B4-BE49-F238E27FC236}">
                      <a16:creationId xmlns:a16="http://schemas.microsoft.com/office/drawing/2014/main" id="{B0A23530-54AE-BF44-B951-528A6E9EF5A9}"/>
                    </a:ext>
                  </a:extLst>
                </p:cNvPr>
                <p:cNvSpPr>
                  <a:spLocks/>
                </p:cNvSpPr>
                <p:nvPr/>
              </p:nvSpPr>
              <p:spPr bwMode="auto">
                <a:xfrm>
                  <a:off x="6960" y="2117"/>
                  <a:ext cx="243" cy="435"/>
                </a:xfrm>
                <a:custGeom>
                  <a:avLst/>
                  <a:gdLst>
                    <a:gd name="T0" fmla="*/ 108 w 108"/>
                    <a:gd name="T1" fmla="*/ 188 h 196"/>
                    <a:gd name="T2" fmla="*/ 100 w 108"/>
                    <a:gd name="T3" fmla="*/ 196 h 196"/>
                    <a:gd name="T4" fmla="*/ 9 w 108"/>
                    <a:gd name="T5" fmla="*/ 196 h 196"/>
                    <a:gd name="T6" fmla="*/ 0 w 108"/>
                    <a:gd name="T7" fmla="*/ 188 h 196"/>
                    <a:gd name="T8" fmla="*/ 0 w 108"/>
                    <a:gd name="T9" fmla="*/ 9 h 196"/>
                    <a:gd name="T10" fmla="*/ 9 w 108"/>
                    <a:gd name="T11" fmla="*/ 0 h 196"/>
                    <a:gd name="T12" fmla="*/ 100 w 108"/>
                    <a:gd name="T13" fmla="*/ 0 h 196"/>
                    <a:gd name="T14" fmla="*/ 108 w 108"/>
                    <a:gd name="T15" fmla="*/ 9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3"/>
                        <a:pt x="104" y="196"/>
                        <a:pt x="100" y="196"/>
                      </a:cubicBezTo>
                      <a:cubicBezTo>
                        <a:pt x="9" y="196"/>
                        <a:pt x="9" y="196"/>
                        <a:pt x="9" y="196"/>
                      </a:cubicBezTo>
                      <a:cubicBezTo>
                        <a:pt x="4" y="196"/>
                        <a:pt x="0" y="193"/>
                        <a:pt x="0" y="188"/>
                      </a:cubicBezTo>
                      <a:cubicBezTo>
                        <a:pt x="0" y="9"/>
                        <a:pt x="0" y="9"/>
                        <a:pt x="0" y="9"/>
                      </a:cubicBezTo>
                      <a:cubicBezTo>
                        <a:pt x="0" y="4"/>
                        <a:pt x="4" y="0"/>
                        <a:pt x="9" y="0"/>
                      </a:cubicBezTo>
                      <a:cubicBezTo>
                        <a:pt x="100" y="0"/>
                        <a:pt x="100" y="0"/>
                        <a:pt x="100" y="0"/>
                      </a:cubicBezTo>
                      <a:cubicBezTo>
                        <a:pt x="104" y="0"/>
                        <a:pt x="108" y="4"/>
                        <a:pt x="108" y="9"/>
                      </a:cubicBezTo>
                      <a:lnTo>
                        <a:pt x="108" y="188"/>
                      </a:lnTo>
                      <a:close/>
                    </a:path>
                  </a:pathLst>
                </a:custGeom>
                <a:gradFill flip="none" rotWithShape="1">
                  <a:gsLst>
                    <a:gs pos="50000">
                      <a:srgbClr val="5EB6DA"/>
                    </a:gs>
                    <a:gs pos="50000">
                      <a:srgbClr val="3999C6"/>
                    </a:gs>
                  </a:gsLst>
                  <a:lin ang="81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282" name="Rectangle 71">
                  <a:extLst>
                    <a:ext uri="{FF2B5EF4-FFF2-40B4-BE49-F238E27FC236}">
                      <a16:creationId xmlns:a16="http://schemas.microsoft.com/office/drawing/2014/main" id="{4388BF12-08B2-0345-96F8-A8A6C523B390}"/>
                    </a:ext>
                  </a:extLst>
                </p:cNvPr>
                <p:cNvSpPr>
                  <a:spLocks noChangeArrowheads="1"/>
                </p:cNvSpPr>
                <p:nvPr/>
              </p:nvSpPr>
              <p:spPr bwMode="auto">
                <a:xfrm>
                  <a:off x="6974" y="2179"/>
                  <a:ext cx="216" cy="311"/>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283" name="Freeform 72">
                  <a:extLst>
                    <a:ext uri="{FF2B5EF4-FFF2-40B4-BE49-F238E27FC236}">
                      <a16:creationId xmlns:a16="http://schemas.microsoft.com/office/drawing/2014/main" id="{46997F4C-1E74-7144-8038-DB15B550FC24}"/>
                    </a:ext>
                  </a:extLst>
                </p:cNvPr>
                <p:cNvSpPr>
                  <a:spLocks/>
                </p:cNvSpPr>
                <p:nvPr/>
              </p:nvSpPr>
              <p:spPr bwMode="auto">
                <a:xfrm>
                  <a:off x="7014" y="2142"/>
                  <a:ext cx="135" cy="6"/>
                </a:xfrm>
                <a:custGeom>
                  <a:avLst/>
                  <a:gdLst>
                    <a:gd name="T0" fmla="*/ 60 w 60"/>
                    <a:gd name="T1" fmla="*/ 2 h 3"/>
                    <a:gd name="T2" fmla="*/ 58 w 60"/>
                    <a:gd name="T3" fmla="*/ 3 h 3"/>
                    <a:gd name="T4" fmla="*/ 2 w 60"/>
                    <a:gd name="T5" fmla="*/ 3 h 3"/>
                    <a:gd name="T6" fmla="*/ 0 w 60"/>
                    <a:gd name="T7" fmla="*/ 2 h 3"/>
                    <a:gd name="T8" fmla="*/ 0 w 60"/>
                    <a:gd name="T9" fmla="*/ 2 h 3"/>
                    <a:gd name="T10" fmla="*/ 2 w 60"/>
                    <a:gd name="T11" fmla="*/ 0 h 3"/>
                    <a:gd name="T12" fmla="*/ 58 w 60"/>
                    <a:gd name="T13" fmla="*/ 0 h 3"/>
                    <a:gd name="T14" fmla="*/ 60 w 60"/>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3">
                      <a:moveTo>
                        <a:pt x="60" y="2"/>
                      </a:moveTo>
                      <a:cubicBezTo>
                        <a:pt x="60" y="3"/>
                        <a:pt x="59" y="3"/>
                        <a:pt x="58" y="3"/>
                      </a:cubicBezTo>
                      <a:cubicBezTo>
                        <a:pt x="2" y="3"/>
                        <a:pt x="2" y="3"/>
                        <a:pt x="2" y="3"/>
                      </a:cubicBezTo>
                      <a:cubicBezTo>
                        <a:pt x="1" y="3"/>
                        <a:pt x="0" y="3"/>
                        <a:pt x="0" y="2"/>
                      </a:cubicBezTo>
                      <a:cubicBezTo>
                        <a:pt x="0" y="2"/>
                        <a:pt x="0" y="2"/>
                        <a:pt x="0" y="2"/>
                      </a:cubicBezTo>
                      <a:cubicBezTo>
                        <a:pt x="0" y="1"/>
                        <a:pt x="1" y="0"/>
                        <a:pt x="2" y="0"/>
                      </a:cubicBezTo>
                      <a:cubicBezTo>
                        <a:pt x="58" y="0"/>
                        <a:pt x="58" y="0"/>
                        <a:pt x="58" y="0"/>
                      </a:cubicBezTo>
                      <a:cubicBezTo>
                        <a:pt x="59" y="0"/>
                        <a:pt x="60" y="1"/>
                        <a:pt x="60" y="2"/>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284" name="Freeform 73">
                  <a:extLst>
                    <a:ext uri="{FF2B5EF4-FFF2-40B4-BE49-F238E27FC236}">
                      <a16:creationId xmlns:a16="http://schemas.microsoft.com/office/drawing/2014/main" id="{07F37BA0-D0E4-9545-A884-23736F3805ED}"/>
                    </a:ext>
                  </a:extLst>
                </p:cNvPr>
                <p:cNvSpPr>
                  <a:spLocks/>
                </p:cNvSpPr>
                <p:nvPr/>
              </p:nvSpPr>
              <p:spPr bwMode="auto">
                <a:xfrm>
                  <a:off x="6974" y="2514"/>
                  <a:ext cx="25" cy="1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285" name="Freeform 74">
                  <a:extLst>
                    <a:ext uri="{FF2B5EF4-FFF2-40B4-BE49-F238E27FC236}">
                      <a16:creationId xmlns:a16="http://schemas.microsoft.com/office/drawing/2014/main" id="{50DCDF85-079C-9742-92F7-D5C17CB3134A}"/>
                    </a:ext>
                  </a:extLst>
                </p:cNvPr>
                <p:cNvSpPr>
                  <a:spLocks/>
                </p:cNvSpPr>
                <p:nvPr/>
              </p:nvSpPr>
              <p:spPr bwMode="auto">
                <a:xfrm>
                  <a:off x="7165" y="2514"/>
                  <a:ext cx="25" cy="1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2" y="6"/>
                        <a:pt x="0" y="5"/>
                        <a:pt x="0" y="3"/>
                      </a:cubicBezTo>
                      <a:cubicBezTo>
                        <a:pt x="0" y="3"/>
                        <a:pt x="0" y="3"/>
                        <a:pt x="0" y="3"/>
                      </a:cubicBezTo>
                      <a:cubicBezTo>
                        <a:pt x="0" y="2"/>
                        <a:pt x="2" y="0"/>
                        <a:pt x="3" y="0"/>
                      </a:cubicBezTo>
                      <a:cubicBezTo>
                        <a:pt x="8" y="0"/>
                        <a:pt x="8" y="0"/>
                        <a:pt x="8" y="0"/>
                      </a:cubicBezTo>
                      <a:cubicBezTo>
                        <a:pt x="10"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286" name="Freeform 75">
                  <a:extLst>
                    <a:ext uri="{FF2B5EF4-FFF2-40B4-BE49-F238E27FC236}">
                      <a16:creationId xmlns:a16="http://schemas.microsoft.com/office/drawing/2014/main" id="{0090E0AA-E225-0C41-9C22-E270C3061F4C}"/>
                    </a:ext>
                  </a:extLst>
                </p:cNvPr>
                <p:cNvSpPr>
                  <a:spLocks/>
                </p:cNvSpPr>
                <p:nvPr/>
              </p:nvSpPr>
              <p:spPr bwMode="auto">
                <a:xfrm>
                  <a:off x="7057" y="2507"/>
                  <a:ext cx="52" cy="29"/>
                </a:xfrm>
                <a:custGeom>
                  <a:avLst/>
                  <a:gdLst>
                    <a:gd name="T0" fmla="*/ 23 w 23"/>
                    <a:gd name="T1" fmla="*/ 6 h 13"/>
                    <a:gd name="T2" fmla="*/ 17 w 23"/>
                    <a:gd name="T3" fmla="*/ 13 h 13"/>
                    <a:gd name="T4" fmla="*/ 6 w 23"/>
                    <a:gd name="T5" fmla="*/ 13 h 13"/>
                    <a:gd name="T6" fmla="*/ 0 w 23"/>
                    <a:gd name="T7" fmla="*/ 6 h 13"/>
                    <a:gd name="T8" fmla="*/ 0 w 23"/>
                    <a:gd name="T9" fmla="*/ 6 h 13"/>
                    <a:gd name="T10" fmla="*/ 6 w 23"/>
                    <a:gd name="T11" fmla="*/ 0 h 13"/>
                    <a:gd name="T12" fmla="*/ 17 w 23"/>
                    <a:gd name="T13" fmla="*/ 0 h 13"/>
                    <a:gd name="T14" fmla="*/ 23 w 23"/>
                    <a:gd name="T15" fmla="*/ 6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3">
                      <a:moveTo>
                        <a:pt x="23" y="6"/>
                      </a:moveTo>
                      <a:cubicBezTo>
                        <a:pt x="23" y="10"/>
                        <a:pt x="20" y="13"/>
                        <a:pt x="17" y="13"/>
                      </a:cubicBezTo>
                      <a:cubicBezTo>
                        <a:pt x="6" y="13"/>
                        <a:pt x="6" y="13"/>
                        <a:pt x="6" y="13"/>
                      </a:cubicBezTo>
                      <a:cubicBezTo>
                        <a:pt x="2" y="13"/>
                        <a:pt x="0" y="10"/>
                        <a:pt x="0" y="6"/>
                      </a:cubicBezTo>
                      <a:cubicBezTo>
                        <a:pt x="0" y="6"/>
                        <a:pt x="0" y="6"/>
                        <a:pt x="0" y="6"/>
                      </a:cubicBezTo>
                      <a:cubicBezTo>
                        <a:pt x="0" y="3"/>
                        <a:pt x="2" y="0"/>
                        <a:pt x="6" y="0"/>
                      </a:cubicBezTo>
                      <a:cubicBezTo>
                        <a:pt x="17" y="0"/>
                        <a:pt x="17" y="0"/>
                        <a:pt x="17" y="0"/>
                      </a:cubicBezTo>
                      <a:cubicBezTo>
                        <a:pt x="20" y="0"/>
                        <a:pt x="23" y="3"/>
                        <a:pt x="23" y="6"/>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grpSp>
          <p:grpSp>
            <p:nvGrpSpPr>
              <p:cNvPr id="273" name="Group 78">
                <a:extLst>
                  <a:ext uri="{FF2B5EF4-FFF2-40B4-BE49-F238E27FC236}">
                    <a16:creationId xmlns:a16="http://schemas.microsoft.com/office/drawing/2014/main" id="{38B4228F-E838-DF4B-8CF6-FC0C5FA78A59}"/>
                  </a:ext>
                </a:extLst>
              </p:cNvPr>
              <p:cNvGrpSpPr>
                <a:grpSpLocks noChangeAspect="1"/>
              </p:cNvGrpSpPr>
              <p:nvPr/>
            </p:nvGrpSpPr>
            <p:grpSpPr bwMode="auto">
              <a:xfrm>
                <a:off x="10161588" y="2198688"/>
                <a:ext cx="1373187" cy="590550"/>
                <a:chOff x="6401" y="1385"/>
                <a:chExt cx="865" cy="372"/>
              </a:xfrm>
            </p:grpSpPr>
            <p:sp>
              <p:nvSpPr>
                <p:cNvPr id="274" name="AutoShape 77">
                  <a:extLst>
                    <a:ext uri="{FF2B5EF4-FFF2-40B4-BE49-F238E27FC236}">
                      <a16:creationId xmlns:a16="http://schemas.microsoft.com/office/drawing/2014/main" id="{A769EEA3-9458-1448-9658-236A434C00E5}"/>
                    </a:ext>
                  </a:extLst>
                </p:cNvPr>
                <p:cNvSpPr>
                  <a:spLocks noChangeAspect="1" noChangeArrowheads="1" noTextEdit="1"/>
                </p:cNvSpPr>
                <p:nvPr/>
              </p:nvSpPr>
              <p:spPr bwMode="auto">
                <a:xfrm>
                  <a:off x="6401" y="1385"/>
                  <a:ext cx="865" cy="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275" name="Rectangle 79">
                  <a:extLst>
                    <a:ext uri="{FF2B5EF4-FFF2-40B4-BE49-F238E27FC236}">
                      <a16:creationId xmlns:a16="http://schemas.microsoft.com/office/drawing/2014/main" id="{DF291C37-0351-524C-8C17-8FADB787246C}"/>
                    </a:ext>
                  </a:extLst>
                </p:cNvPr>
                <p:cNvSpPr>
                  <a:spLocks noChangeArrowheads="1"/>
                </p:cNvSpPr>
                <p:nvPr/>
              </p:nvSpPr>
              <p:spPr bwMode="auto">
                <a:xfrm>
                  <a:off x="6701" y="1385"/>
                  <a:ext cx="497" cy="339"/>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276" name="Rectangle 80">
                  <a:extLst>
                    <a:ext uri="{FF2B5EF4-FFF2-40B4-BE49-F238E27FC236}">
                      <a16:creationId xmlns:a16="http://schemas.microsoft.com/office/drawing/2014/main" id="{4BDEB697-A6D1-B742-8F36-A0ED29D64DBE}"/>
                    </a:ext>
                  </a:extLst>
                </p:cNvPr>
                <p:cNvSpPr>
                  <a:spLocks noChangeArrowheads="1"/>
                </p:cNvSpPr>
                <p:nvPr/>
              </p:nvSpPr>
              <p:spPr bwMode="auto">
                <a:xfrm>
                  <a:off x="6717" y="1412"/>
                  <a:ext cx="465" cy="297"/>
                </a:xfrm>
                <a:prstGeom prst="rect">
                  <a:avLst/>
                </a:prstGeom>
                <a:gradFill>
                  <a:gsLst>
                    <a:gs pos="50000">
                      <a:srgbClr val="5EB6DA"/>
                    </a:gs>
                    <a:gs pos="50000">
                      <a:srgbClr val="3999C6"/>
                    </a:gs>
                  </a:gsLst>
                  <a:lin ang="81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277" name="Freeform 81">
                  <a:extLst>
                    <a:ext uri="{FF2B5EF4-FFF2-40B4-BE49-F238E27FC236}">
                      <a16:creationId xmlns:a16="http://schemas.microsoft.com/office/drawing/2014/main" id="{10253B19-78E1-F44B-A0B0-2DEA40754A01}"/>
                    </a:ext>
                  </a:extLst>
                </p:cNvPr>
                <p:cNvSpPr>
                  <a:spLocks/>
                </p:cNvSpPr>
                <p:nvPr/>
              </p:nvSpPr>
              <p:spPr bwMode="auto">
                <a:xfrm>
                  <a:off x="6624" y="1730"/>
                  <a:ext cx="642" cy="26"/>
                </a:xfrm>
                <a:custGeom>
                  <a:avLst/>
                  <a:gdLst>
                    <a:gd name="T0" fmla="*/ 0 w 510"/>
                    <a:gd name="T1" fmla="*/ 0 h 20"/>
                    <a:gd name="T2" fmla="*/ 0 w 510"/>
                    <a:gd name="T3" fmla="*/ 1 h 20"/>
                    <a:gd name="T4" fmla="*/ 19 w 510"/>
                    <a:gd name="T5" fmla="*/ 20 h 20"/>
                    <a:gd name="T6" fmla="*/ 491 w 510"/>
                    <a:gd name="T7" fmla="*/ 20 h 20"/>
                    <a:gd name="T8" fmla="*/ 510 w 510"/>
                    <a:gd name="T9" fmla="*/ 1 h 20"/>
                    <a:gd name="T10" fmla="*/ 510 w 510"/>
                    <a:gd name="T11" fmla="*/ 0 h 20"/>
                    <a:gd name="T12" fmla="*/ 0 w 510"/>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510" h="20">
                      <a:moveTo>
                        <a:pt x="0" y="0"/>
                      </a:moveTo>
                      <a:cubicBezTo>
                        <a:pt x="0" y="1"/>
                        <a:pt x="0" y="1"/>
                        <a:pt x="0" y="1"/>
                      </a:cubicBezTo>
                      <a:cubicBezTo>
                        <a:pt x="0" y="11"/>
                        <a:pt x="9" y="20"/>
                        <a:pt x="19" y="20"/>
                      </a:cubicBezTo>
                      <a:cubicBezTo>
                        <a:pt x="491" y="20"/>
                        <a:pt x="491" y="20"/>
                        <a:pt x="491" y="20"/>
                      </a:cubicBezTo>
                      <a:cubicBezTo>
                        <a:pt x="501" y="20"/>
                        <a:pt x="510" y="11"/>
                        <a:pt x="510" y="1"/>
                      </a:cubicBezTo>
                      <a:cubicBezTo>
                        <a:pt x="510" y="0"/>
                        <a:pt x="510" y="0"/>
                        <a:pt x="510" y="0"/>
                      </a:cubicBezTo>
                      <a:lnTo>
                        <a:pt x="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278" name="Freeform 82">
                  <a:extLst>
                    <a:ext uri="{FF2B5EF4-FFF2-40B4-BE49-F238E27FC236}">
                      <a16:creationId xmlns:a16="http://schemas.microsoft.com/office/drawing/2014/main" id="{18159AD4-5B96-A141-8C0C-368F164CCA59}"/>
                    </a:ext>
                  </a:extLst>
                </p:cNvPr>
                <p:cNvSpPr>
                  <a:spLocks noEditPoints="1"/>
                </p:cNvSpPr>
                <p:nvPr/>
              </p:nvSpPr>
              <p:spPr bwMode="auto">
                <a:xfrm>
                  <a:off x="6401" y="1463"/>
                  <a:ext cx="165" cy="204"/>
                </a:xfrm>
                <a:custGeom>
                  <a:avLst/>
                  <a:gdLst>
                    <a:gd name="T0" fmla="*/ 65 w 131"/>
                    <a:gd name="T1" fmla="*/ 0 h 161"/>
                    <a:gd name="T2" fmla="*/ 0 w 131"/>
                    <a:gd name="T3" fmla="*/ 66 h 161"/>
                    <a:gd name="T4" fmla="*/ 0 w 131"/>
                    <a:gd name="T5" fmla="*/ 161 h 161"/>
                    <a:gd name="T6" fmla="*/ 109 w 131"/>
                    <a:gd name="T7" fmla="*/ 161 h 161"/>
                    <a:gd name="T8" fmla="*/ 109 w 131"/>
                    <a:gd name="T9" fmla="*/ 135 h 161"/>
                    <a:gd name="T10" fmla="*/ 107 w 131"/>
                    <a:gd name="T11" fmla="*/ 135 h 161"/>
                    <a:gd name="T12" fmla="*/ 86 w 131"/>
                    <a:gd name="T13" fmla="*/ 123 h 161"/>
                    <a:gd name="T14" fmla="*/ 109 w 131"/>
                    <a:gd name="T15" fmla="*/ 123 h 161"/>
                    <a:gd name="T16" fmla="*/ 109 w 131"/>
                    <a:gd name="T17" fmla="*/ 104 h 161"/>
                    <a:gd name="T18" fmla="*/ 131 w 131"/>
                    <a:gd name="T19" fmla="*/ 104 h 161"/>
                    <a:gd name="T20" fmla="*/ 131 w 131"/>
                    <a:gd name="T21" fmla="*/ 66 h 161"/>
                    <a:gd name="T22" fmla="*/ 65 w 131"/>
                    <a:gd name="T23" fmla="*/ 0 h 161"/>
                    <a:gd name="T24" fmla="*/ 88 w 131"/>
                    <a:gd name="T25" fmla="*/ 82 h 161"/>
                    <a:gd name="T26" fmla="*/ 80 w 131"/>
                    <a:gd name="T27" fmla="*/ 74 h 161"/>
                    <a:gd name="T28" fmla="*/ 88 w 131"/>
                    <a:gd name="T29" fmla="*/ 66 h 161"/>
                    <a:gd name="T30" fmla="*/ 96 w 131"/>
                    <a:gd name="T31" fmla="*/ 74 h 161"/>
                    <a:gd name="T32" fmla="*/ 88 w 131"/>
                    <a:gd name="T33" fmla="*/ 8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61">
                      <a:moveTo>
                        <a:pt x="65" y="0"/>
                      </a:moveTo>
                      <a:cubicBezTo>
                        <a:pt x="29" y="0"/>
                        <a:pt x="0" y="30"/>
                        <a:pt x="0" y="66"/>
                      </a:cubicBezTo>
                      <a:cubicBezTo>
                        <a:pt x="0" y="161"/>
                        <a:pt x="0" y="161"/>
                        <a:pt x="0" y="161"/>
                      </a:cubicBezTo>
                      <a:cubicBezTo>
                        <a:pt x="109" y="161"/>
                        <a:pt x="109" y="161"/>
                        <a:pt x="109" y="161"/>
                      </a:cubicBezTo>
                      <a:cubicBezTo>
                        <a:pt x="109" y="135"/>
                        <a:pt x="109" y="135"/>
                        <a:pt x="109" y="135"/>
                      </a:cubicBezTo>
                      <a:cubicBezTo>
                        <a:pt x="108" y="135"/>
                        <a:pt x="108" y="135"/>
                        <a:pt x="107" y="135"/>
                      </a:cubicBezTo>
                      <a:cubicBezTo>
                        <a:pt x="98" y="135"/>
                        <a:pt x="90" y="130"/>
                        <a:pt x="86" y="123"/>
                      </a:cubicBezTo>
                      <a:cubicBezTo>
                        <a:pt x="109" y="123"/>
                        <a:pt x="109" y="123"/>
                        <a:pt x="109" y="123"/>
                      </a:cubicBezTo>
                      <a:cubicBezTo>
                        <a:pt x="109" y="104"/>
                        <a:pt x="109" y="104"/>
                        <a:pt x="109" y="104"/>
                      </a:cubicBezTo>
                      <a:cubicBezTo>
                        <a:pt x="131" y="104"/>
                        <a:pt x="131" y="104"/>
                        <a:pt x="131" y="104"/>
                      </a:cubicBezTo>
                      <a:cubicBezTo>
                        <a:pt x="131" y="66"/>
                        <a:pt x="131" y="66"/>
                        <a:pt x="131" y="66"/>
                      </a:cubicBezTo>
                      <a:cubicBezTo>
                        <a:pt x="131" y="30"/>
                        <a:pt x="102" y="0"/>
                        <a:pt x="65" y="0"/>
                      </a:cubicBezTo>
                      <a:close/>
                      <a:moveTo>
                        <a:pt x="88" y="82"/>
                      </a:moveTo>
                      <a:cubicBezTo>
                        <a:pt x="84" y="82"/>
                        <a:pt x="80" y="78"/>
                        <a:pt x="80" y="74"/>
                      </a:cubicBezTo>
                      <a:cubicBezTo>
                        <a:pt x="80" y="70"/>
                        <a:pt x="84" y="66"/>
                        <a:pt x="88" y="66"/>
                      </a:cubicBezTo>
                      <a:cubicBezTo>
                        <a:pt x="92" y="66"/>
                        <a:pt x="96" y="70"/>
                        <a:pt x="96" y="74"/>
                      </a:cubicBezTo>
                      <a:cubicBezTo>
                        <a:pt x="96" y="78"/>
                        <a:pt x="92" y="82"/>
                        <a:pt x="88" y="82"/>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279" name="Freeform 83">
                  <a:extLst>
                    <a:ext uri="{FF2B5EF4-FFF2-40B4-BE49-F238E27FC236}">
                      <a16:creationId xmlns:a16="http://schemas.microsoft.com/office/drawing/2014/main" id="{FDCCFD2F-68ED-BE4E-9E63-A12BD47D86C0}"/>
                    </a:ext>
                  </a:extLst>
                </p:cNvPr>
                <p:cNvSpPr>
                  <a:spLocks noEditPoints="1"/>
                </p:cNvSpPr>
                <p:nvPr/>
              </p:nvSpPr>
              <p:spPr bwMode="auto">
                <a:xfrm>
                  <a:off x="6856" y="1463"/>
                  <a:ext cx="164" cy="204"/>
                </a:xfrm>
                <a:custGeom>
                  <a:avLst/>
                  <a:gdLst>
                    <a:gd name="T0" fmla="*/ 0 w 131"/>
                    <a:gd name="T1" fmla="*/ 66 h 161"/>
                    <a:gd name="T2" fmla="*/ 0 w 131"/>
                    <a:gd name="T3" fmla="*/ 104 h 161"/>
                    <a:gd name="T4" fmla="*/ 22 w 131"/>
                    <a:gd name="T5" fmla="*/ 104 h 161"/>
                    <a:gd name="T6" fmla="*/ 22 w 131"/>
                    <a:gd name="T7" fmla="*/ 123 h 161"/>
                    <a:gd name="T8" fmla="*/ 45 w 131"/>
                    <a:gd name="T9" fmla="*/ 123 h 161"/>
                    <a:gd name="T10" fmla="*/ 23 w 131"/>
                    <a:gd name="T11" fmla="*/ 135 h 161"/>
                    <a:gd name="T12" fmla="*/ 22 w 131"/>
                    <a:gd name="T13" fmla="*/ 135 h 161"/>
                    <a:gd name="T14" fmla="*/ 22 w 131"/>
                    <a:gd name="T15" fmla="*/ 161 h 161"/>
                    <a:gd name="T16" fmla="*/ 131 w 131"/>
                    <a:gd name="T17" fmla="*/ 161 h 161"/>
                    <a:gd name="T18" fmla="*/ 131 w 131"/>
                    <a:gd name="T19" fmla="*/ 66 h 161"/>
                    <a:gd name="T20" fmla="*/ 65 w 131"/>
                    <a:gd name="T21" fmla="*/ 0 h 161"/>
                    <a:gd name="T22" fmla="*/ 0 w 131"/>
                    <a:gd name="T23" fmla="*/ 66 h 161"/>
                    <a:gd name="T24" fmla="*/ 35 w 131"/>
                    <a:gd name="T25" fmla="*/ 74 h 161"/>
                    <a:gd name="T26" fmla="*/ 43 w 131"/>
                    <a:gd name="T27" fmla="*/ 66 h 161"/>
                    <a:gd name="T28" fmla="*/ 50 w 131"/>
                    <a:gd name="T29" fmla="*/ 74 h 161"/>
                    <a:gd name="T30" fmla="*/ 43 w 131"/>
                    <a:gd name="T31" fmla="*/ 82 h 161"/>
                    <a:gd name="T32" fmla="*/ 35 w 131"/>
                    <a:gd name="T33" fmla="*/ 7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61">
                      <a:moveTo>
                        <a:pt x="0" y="66"/>
                      </a:moveTo>
                      <a:cubicBezTo>
                        <a:pt x="0" y="104"/>
                        <a:pt x="0" y="104"/>
                        <a:pt x="0" y="104"/>
                      </a:cubicBezTo>
                      <a:cubicBezTo>
                        <a:pt x="22" y="104"/>
                        <a:pt x="22" y="104"/>
                        <a:pt x="22" y="104"/>
                      </a:cubicBezTo>
                      <a:cubicBezTo>
                        <a:pt x="22" y="123"/>
                        <a:pt x="22" y="123"/>
                        <a:pt x="22" y="123"/>
                      </a:cubicBezTo>
                      <a:cubicBezTo>
                        <a:pt x="45" y="123"/>
                        <a:pt x="45" y="123"/>
                        <a:pt x="45" y="123"/>
                      </a:cubicBezTo>
                      <a:cubicBezTo>
                        <a:pt x="40" y="130"/>
                        <a:pt x="32" y="135"/>
                        <a:pt x="23" y="135"/>
                      </a:cubicBezTo>
                      <a:cubicBezTo>
                        <a:pt x="23" y="135"/>
                        <a:pt x="22" y="135"/>
                        <a:pt x="22" y="135"/>
                      </a:cubicBezTo>
                      <a:cubicBezTo>
                        <a:pt x="22" y="161"/>
                        <a:pt x="22" y="161"/>
                        <a:pt x="22" y="161"/>
                      </a:cubicBezTo>
                      <a:cubicBezTo>
                        <a:pt x="131" y="161"/>
                        <a:pt x="131" y="161"/>
                        <a:pt x="131" y="161"/>
                      </a:cubicBezTo>
                      <a:cubicBezTo>
                        <a:pt x="131" y="66"/>
                        <a:pt x="131" y="66"/>
                        <a:pt x="131" y="66"/>
                      </a:cubicBezTo>
                      <a:cubicBezTo>
                        <a:pt x="131" y="30"/>
                        <a:pt x="102" y="0"/>
                        <a:pt x="65" y="0"/>
                      </a:cubicBezTo>
                      <a:cubicBezTo>
                        <a:pt x="29" y="0"/>
                        <a:pt x="0" y="30"/>
                        <a:pt x="0" y="66"/>
                      </a:cubicBezTo>
                      <a:close/>
                      <a:moveTo>
                        <a:pt x="35" y="74"/>
                      </a:moveTo>
                      <a:cubicBezTo>
                        <a:pt x="35" y="70"/>
                        <a:pt x="38" y="66"/>
                        <a:pt x="43" y="66"/>
                      </a:cubicBezTo>
                      <a:cubicBezTo>
                        <a:pt x="47" y="66"/>
                        <a:pt x="50" y="70"/>
                        <a:pt x="50" y="74"/>
                      </a:cubicBezTo>
                      <a:cubicBezTo>
                        <a:pt x="50" y="78"/>
                        <a:pt x="47" y="82"/>
                        <a:pt x="43" y="82"/>
                      </a:cubicBezTo>
                      <a:cubicBezTo>
                        <a:pt x="38" y="82"/>
                        <a:pt x="35" y="78"/>
                        <a:pt x="35"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grpSp>
        </p:grpSp>
        <p:sp>
          <p:nvSpPr>
            <p:cNvPr id="297" name="Rectangle 296">
              <a:extLst>
                <a:ext uri="{FF2B5EF4-FFF2-40B4-BE49-F238E27FC236}">
                  <a16:creationId xmlns:a16="http://schemas.microsoft.com/office/drawing/2014/main" id="{C2A7B1B6-2400-8D40-99B9-E5A3C349FF91}"/>
                </a:ext>
              </a:extLst>
            </p:cNvPr>
            <p:cNvSpPr/>
            <p:nvPr/>
          </p:nvSpPr>
          <p:spPr bwMode="auto">
            <a:xfrm rot="16200000">
              <a:off x="6457956" y="3721979"/>
              <a:ext cx="1240347" cy="3442601"/>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85725" tIns="85725" rIns="0" bIns="85700" numCol="1" spcCol="0" rtlCol="0" fromWordArt="0" anchor="b" anchorCtr="0" forceAA="0" compatLnSpc="1">
              <a:prstTxWarp prst="textNoShape">
                <a:avLst/>
              </a:prstTxWarp>
              <a:noAutofit/>
            </a:bodyPr>
            <a:lstStyle/>
            <a:p>
              <a:pPr defTabSz="856587" fontAlgn="base">
                <a:lnSpc>
                  <a:spcPct val="90000"/>
                </a:lnSpc>
                <a:spcBef>
                  <a:spcPct val="0"/>
                </a:spcBef>
                <a:spcAft>
                  <a:spcPts val="563"/>
                </a:spcAft>
              </a:pPr>
              <a:r>
                <a:rPr lang="en-US" sz="1031">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sym typeface="Segoe UI"/>
                </a:rPr>
                <a:t>Hot Path Business Logic</a:t>
              </a:r>
            </a:p>
          </p:txBody>
        </p:sp>
        <p:grpSp>
          <p:nvGrpSpPr>
            <p:cNvPr id="298" name="2 Cloud Gateway">
              <a:extLst>
                <a:ext uri="{FF2B5EF4-FFF2-40B4-BE49-F238E27FC236}">
                  <a16:creationId xmlns:a16="http://schemas.microsoft.com/office/drawing/2014/main" id="{2D07CC51-7028-4343-9E01-9993CED7219F}"/>
                </a:ext>
              </a:extLst>
            </p:cNvPr>
            <p:cNvGrpSpPr/>
            <p:nvPr/>
          </p:nvGrpSpPr>
          <p:grpSpPr>
            <a:xfrm>
              <a:off x="3803331" y="2327200"/>
              <a:ext cx="1078751" cy="3728287"/>
              <a:chOff x="3791485" y="2035023"/>
              <a:chExt cx="1150668" cy="3976839"/>
            </a:xfrm>
          </p:grpSpPr>
          <p:sp>
            <p:nvSpPr>
              <p:cNvPr id="299" name="Rectangle 298">
                <a:extLst>
                  <a:ext uri="{FF2B5EF4-FFF2-40B4-BE49-F238E27FC236}">
                    <a16:creationId xmlns:a16="http://schemas.microsoft.com/office/drawing/2014/main" id="{0E4FDB87-5A5E-7749-BF1D-16C2560A61FA}"/>
                  </a:ext>
                </a:extLst>
              </p:cNvPr>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25" tIns="85725" rIns="0" bIns="85700" numCol="1" spcCol="0" rtlCol="0" fromWordArt="0" anchor="b" anchorCtr="0" forceAA="0" compatLnSpc="1">
                <a:prstTxWarp prst="textNoShape">
                  <a:avLst/>
                </a:prstTxWarp>
                <a:noAutofit/>
              </a:bodyPr>
              <a:lstStyle/>
              <a:p>
                <a:pPr defTabSz="856587" fontAlgn="base">
                  <a:lnSpc>
                    <a:spcPct val="90000"/>
                  </a:lnSpc>
                  <a:spcBef>
                    <a:spcPct val="0"/>
                  </a:spcBef>
                </a:pPr>
                <a:r>
                  <a:rPr lang="en-US" sz="1031">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sym typeface="Segoe UI"/>
                  </a:rPr>
                  <a:t>Cloud Gateway</a:t>
                </a:r>
              </a:p>
              <a:p>
                <a:pPr defTabSz="856587" fontAlgn="base">
                  <a:lnSpc>
                    <a:spcPct val="90000"/>
                  </a:lnSpc>
                  <a:spcBef>
                    <a:spcPct val="0"/>
                  </a:spcBef>
                </a:pPr>
                <a:endParaRPr lang="en-US" sz="749">
                  <a:solidFill>
                    <a:srgbClr val="404040">
                      <a:lumMod val="50000"/>
                    </a:srgbClr>
                  </a:solidFill>
                  <a:latin typeface="Segoe UI Semibold" panose="020B0702040204020203" pitchFamily="34" charset="0"/>
                  <a:ea typeface="Segoe UI" pitchFamily="34" charset="0"/>
                  <a:cs typeface="Segoe UI" pitchFamily="34" charset="0"/>
                  <a:sym typeface="Segoe UI"/>
                </a:endParaRPr>
              </a:p>
              <a:p>
                <a:pPr defTabSz="856587" fontAlgn="base">
                  <a:lnSpc>
                    <a:spcPct val="90000"/>
                  </a:lnSpc>
                  <a:spcBef>
                    <a:spcPct val="0"/>
                  </a:spcBef>
                </a:pPr>
                <a:r>
                  <a:rPr lang="en-US" sz="1031">
                    <a:solidFill>
                      <a:srgbClr val="404040">
                        <a:lumMod val="50000"/>
                      </a:srgbClr>
                    </a:solidFill>
                    <a:latin typeface="Segoe UI Semibold" panose="020B0702040204020203" pitchFamily="34" charset="0"/>
                    <a:ea typeface="Segoe UI" pitchFamily="34" charset="0"/>
                    <a:cs typeface="Segoe UI" pitchFamily="34" charset="0"/>
                    <a:sym typeface="Segoe UI"/>
                  </a:rPr>
                  <a:t>IoT Hub</a:t>
                </a:r>
              </a:p>
            </p:txBody>
          </p:sp>
          <p:grpSp>
            <p:nvGrpSpPr>
              <p:cNvPr id="300" name="Group 299">
                <a:extLst>
                  <a:ext uri="{FF2B5EF4-FFF2-40B4-BE49-F238E27FC236}">
                    <a16:creationId xmlns:a16="http://schemas.microsoft.com/office/drawing/2014/main" id="{9929AE50-2C89-F546-8522-F1F42815F2B7}"/>
                  </a:ext>
                </a:extLst>
              </p:cNvPr>
              <p:cNvGrpSpPr/>
              <p:nvPr/>
            </p:nvGrpSpPr>
            <p:grpSpPr>
              <a:xfrm>
                <a:off x="3937962" y="4220312"/>
                <a:ext cx="828568" cy="927456"/>
                <a:chOff x="3889806" y="5487539"/>
                <a:chExt cx="981584" cy="1503221"/>
              </a:xfrm>
            </p:grpSpPr>
            <p:grpSp>
              <p:nvGrpSpPr>
                <p:cNvPr id="301" name="Group 300">
                  <a:extLst>
                    <a:ext uri="{FF2B5EF4-FFF2-40B4-BE49-F238E27FC236}">
                      <a16:creationId xmlns:a16="http://schemas.microsoft.com/office/drawing/2014/main" id="{BFC47BE6-1CD8-1746-87E2-A2460EF21DF5}"/>
                    </a:ext>
                  </a:extLst>
                </p:cNvPr>
                <p:cNvGrpSpPr/>
                <p:nvPr/>
              </p:nvGrpSpPr>
              <p:grpSpPr>
                <a:xfrm>
                  <a:off x="4088810" y="5729796"/>
                  <a:ext cx="640698" cy="978963"/>
                  <a:chOff x="3994663" y="7008709"/>
                  <a:chExt cx="745465" cy="1374671"/>
                </a:xfrm>
              </p:grpSpPr>
              <p:sp>
                <p:nvSpPr>
                  <p:cNvPr id="304" name="Rectangle 303">
                    <a:extLst>
                      <a:ext uri="{FF2B5EF4-FFF2-40B4-BE49-F238E27FC236}">
                        <a16:creationId xmlns:a16="http://schemas.microsoft.com/office/drawing/2014/main" id="{03B64CB4-5CE1-564E-8AE3-77F04EAC1E1A}"/>
                      </a:ext>
                    </a:extLst>
                  </p:cNvPr>
                  <p:cNvSpPr/>
                  <p:nvPr>
                    <p:custDataLst>
                      <p:tags r:id="rId1"/>
                    </p:custDataLst>
                  </p:nvPr>
                </p:nvSpPr>
                <p:spPr bwMode="auto">
                  <a:xfrm>
                    <a:off x="3994666" y="7008709"/>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4293" tIns="42863" rIns="64293" bIns="42863" rtlCol="0" anchor="b" anchorCtr="0"/>
                  <a:lstStyle/>
                  <a:p>
                    <a:pPr defTabSz="874078"/>
                    <a:endParaRPr lang="en-US" sz="1407">
                      <a:gradFill flip="none" rotWithShape="1">
                        <a:gsLst>
                          <a:gs pos="0">
                            <a:srgbClr val="FFFFFF"/>
                          </a:gs>
                          <a:gs pos="100000">
                            <a:srgbClr val="FFFFFF"/>
                          </a:gs>
                        </a:gsLst>
                        <a:lin ang="5400000" scaled="0"/>
                        <a:tileRect/>
                      </a:gradFill>
                      <a:latin typeface="Calibri" panose="020F0502020204030204"/>
                      <a:ea typeface="Segoe UI" pitchFamily="34" charset="0"/>
                      <a:cs typeface="Segoe UI" pitchFamily="34" charset="0"/>
                      <a:sym typeface="Segoe UI"/>
                    </a:endParaRPr>
                  </a:p>
                </p:txBody>
              </p:sp>
              <p:sp>
                <p:nvSpPr>
                  <p:cNvPr id="305" name="Rectangle 304">
                    <a:extLst>
                      <a:ext uri="{FF2B5EF4-FFF2-40B4-BE49-F238E27FC236}">
                        <a16:creationId xmlns:a16="http://schemas.microsoft.com/office/drawing/2014/main" id="{2A2B6AB8-ADDF-7B4A-BC50-25CE5B88FE40}"/>
                      </a:ext>
                    </a:extLst>
                  </p:cNvPr>
                  <p:cNvSpPr/>
                  <p:nvPr>
                    <p:custDataLst>
                      <p:tags r:id="rId2"/>
                    </p:custDataLst>
                  </p:nvPr>
                </p:nvSpPr>
                <p:spPr bwMode="auto">
                  <a:xfrm>
                    <a:off x="4285373" y="7262725"/>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4293" tIns="42863" rIns="64293" bIns="42863" rtlCol="0" anchor="b" anchorCtr="0"/>
                  <a:lstStyle/>
                  <a:p>
                    <a:pPr defTabSz="874078"/>
                    <a:endParaRPr lang="en-US" sz="1407">
                      <a:gradFill flip="none" rotWithShape="1">
                        <a:gsLst>
                          <a:gs pos="0">
                            <a:srgbClr val="FFFFFF"/>
                          </a:gs>
                          <a:gs pos="100000">
                            <a:srgbClr val="FFFFFF"/>
                          </a:gs>
                        </a:gsLst>
                        <a:lin ang="5400000" scaled="0"/>
                        <a:tileRect/>
                      </a:gradFill>
                      <a:latin typeface="Calibri" panose="020F0502020204030204"/>
                      <a:ea typeface="Segoe UI" pitchFamily="34" charset="0"/>
                      <a:cs typeface="Segoe UI" pitchFamily="34" charset="0"/>
                      <a:sym typeface="Segoe UI"/>
                    </a:endParaRPr>
                  </a:p>
                </p:txBody>
              </p:sp>
              <p:sp>
                <p:nvSpPr>
                  <p:cNvPr id="306" name="Rectangle 305">
                    <a:extLst>
                      <a:ext uri="{FF2B5EF4-FFF2-40B4-BE49-F238E27FC236}">
                        <a16:creationId xmlns:a16="http://schemas.microsoft.com/office/drawing/2014/main" id="{D4BEA7AC-3A4C-0449-9D33-4DD26FFDA31F}"/>
                      </a:ext>
                    </a:extLst>
                  </p:cNvPr>
                  <p:cNvSpPr/>
                  <p:nvPr>
                    <p:custDataLst>
                      <p:tags r:id="rId3"/>
                    </p:custDataLst>
                  </p:nvPr>
                </p:nvSpPr>
                <p:spPr bwMode="auto">
                  <a:xfrm>
                    <a:off x="3994666" y="7513163"/>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4293" tIns="42863" rIns="64293" bIns="42863" rtlCol="0" anchor="b" anchorCtr="0"/>
                  <a:lstStyle/>
                  <a:p>
                    <a:pPr defTabSz="874078"/>
                    <a:endParaRPr lang="en-US" sz="1407">
                      <a:gradFill flip="none" rotWithShape="1">
                        <a:gsLst>
                          <a:gs pos="0">
                            <a:srgbClr val="FFFFFF"/>
                          </a:gs>
                          <a:gs pos="100000">
                            <a:srgbClr val="FFFFFF"/>
                          </a:gs>
                        </a:gsLst>
                        <a:lin ang="5400000" scaled="0"/>
                        <a:tileRect/>
                      </a:gradFill>
                      <a:latin typeface="Calibri" panose="020F0502020204030204"/>
                      <a:ea typeface="Segoe UI" pitchFamily="34" charset="0"/>
                      <a:cs typeface="Segoe UI" pitchFamily="34" charset="0"/>
                      <a:sym typeface="Segoe UI"/>
                    </a:endParaRPr>
                  </a:p>
                </p:txBody>
              </p:sp>
              <p:sp>
                <p:nvSpPr>
                  <p:cNvPr id="307" name="Rectangle 306">
                    <a:extLst>
                      <a:ext uri="{FF2B5EF4-FFF2-40B4-BE49-F238E27FC236}">
                        <a16:creationId xmlns:a16="http://schemas.microsoft.com/office/drawing/2014/main" id="{A0E2EA0A-8CED-7741-9DBD-7B3BD8E8AB0E}"/>
                      </a:ext>
                    </a:extLst>
                  </p:cNvPr>
                  <p:cNvSpPr/>
                  <p:nvPr>
                    <p:custDataLst>
                      <p:tags r:id="rId4"/>
                    </p:custDataLst>
                  </p:nvPr>
                </p:nvSpPr>
                <p:spPr bwMode="auto">
                  <a:xfrm>
                    <a:off x="4285373" y="7799841"/>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4293" tIns="42863" rIns="64293" bIns="42863" rtlCol="0" anchor="b" anchorCtr="0"/>
                  <a:lstStyle/>
                  <a:p>
                    <a:pPr defTabSz="874078"/>
                    <a:endParaRPr lang="en-US" sz="1407">
                      <a:gradFill flip="none" rotWithShape="1">
                        <a:gsLst>
                          <a:gs pos="0">
                            <a:srgbClr val="FFFFFF"/>
                          </a:gs>
                          <a:gs pos="100000">
                            <a:srgbClr val="FFFFFF"/>
                          </a:gs>
                        </a:gsLst>
                        <a:lin ang="5400000" scaled="0"/>
                        <a:tileRect/>
                      </a:gradFill>
                      <a:latin typeface="Calibri" panose="020F0502020204030204"/>
                      <a:ea typeface="Segoe UI" pitchFamily="34" charset="0"/>
                      <a:cs typeface="Segoe UI" pitchFamily="34" charset="0"/>
                      <a:sym typeface="Segoe UI"/>
                    </a:endParaRPr>
                  </a:p>
                </p:txBody>
              </p:sp>
              <p:sp>
                <p:nvSpPr>
                  <p:cNvPr id="308" name="Rectangle 307">
                    <a:extLst>
                      <a:ext uri="{FF2B5EF4-FFF2-40B4-BE49-F238E27FC236}">
                        <a16:creationId xmlns:a16="http://schemas.microsoft.com/office/drawing/2014/main" id="{BB452731-697B-E949-BB3B-F27DFDCCD411}"/>
                      </a:ext>
                    </a:extLst>
                  </p:cNvPr>
                  <p:cNvSpPr/>
                  <p:nvPr>
                    <p:custDataLst>
                      <p:tags r:id="rId5"/>
                    </p:custDataLst>
                  </p:nvPr>
                </p:nvSpPr>
                <p:spPr bwMode="auto">
                  <a:xfrm>
                    <a:off x="3994663" y="8017622"/>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4293" tIns="42863" rIns="64293" bIns="42863" rtlCol="0" anchor="b" anchorCtr="0"/>
                  <a:lstStyle/>
                  <a:p>
                    <a:pPr defTabSz="874078"/>
                    <a:endParaRPr lang="en-US" sz="1407">
                      <a:gradFill flip="none" rotWithShape="1">
                        <a:gsLst>
                          <a:gs pos="0">
                            <a:srgbClr val="FFFFFF"/>
                          </a:gs>
                          <a:gs pos="100000">
                            <a:srgbClr val="FFFFFF"/>
                          </a:gs>
                        </a:gsLst>
                        <a:lin ang="5400000" scaled="0"/>
                        <a:tileRect/>
                      </a:gradFill>
                      <a:latin typeface="Calibri" panose="020F0502020204030204"/>
                      <a:ea typeface="Segoe UI" pitchFamily="34" charset="0"/>
                      <a:cs typeface="Segoe UI" pitchFamily="34" charset="0"/>
                      <a:sym typeface="Segoe UI"/>
                    </a:endParaRPr>
                  </a:p>
                </p:txBody>
              </p:sp>
              <p:sp>
                <p:nvSpPr>
                  <p:cNvPr id="309" name="Rectangle 308">
                    <a:extLst>
                      <a:ext uri="{FF2B5EF4-FFF2-40B4-BE49-F238E27FC236}">
                        <a16:creationId xmlns:a16="http://schemas.microsoft.com/office/drawing/2014/main" id="{93B5A32C-A5D9-6B4D-A693-E398356E3700}"/>
                      </a:ext>
                    </a:extLst>
                  </p:cNvPr>
                  <p:cNvSpPr/>
                  <p:nvPr>
                    <p:custDataLst>
                      <p:tags r:id="rId6"/>
                    </p:custDataLst>
                  </p:nvPr>
                </p:nvSpPr>
                <p:spPr bwMode="auto">
                  <a:xfrm>
                    <a:off x="4557249" y="7511750"/>
                    <a:ext cx="182879"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4293" tIns="42863" rIns="64293" bIns="42863" rtlCol="0" anchor="b" anchorCtr="0"/>
                  <a:lstStyle/>
                  <a:p>
                    <a:pPr defTabSz="874078"/>
                    <a:endParaRPr lang="en-US" sz="1407">
                      <a:gradFill flip="none" rotWithShape="1">
                        <a:gsLst>
                          <a:gs pos="0">
                            <a:srgbClr val="FFFFFF"/>
                          </a:gs>
                          <a:gs pos="100000">
                            <a:srgbClr val="FFFFFF"/>
                          </a:gs>
                        </a:gsLst>
                        <a:lin ang="5400000" scaled="0"/>
                        <a:tileRect/>
                      </a:gradFill>
                      <a:latin typeface="Calibri" panose="020F0502020204030204"/>
                      <a:ea typeface="Segoe UI" pitchFamily="34" charset="0"/>
                      <a:cs typeface="Segoe UI" pitchFamily="34" charset="0"/>
                      <a:sym typeface="Segoe UI"/>
                    </a:endParaRPr>
                  </a:p>
                </p:txBody>
              </p:sp>
            </p:grpSp>
            <p:sp>
              <p:nvSpPr>
                <p:cNvPr id="302" name="Freeform 301">
                  <a:extLst>
                    <a:ext uri="{FF2B5EF4-FFF2-40B4-BE49-F238E27FC236}">
                      <a16:creationId xmlns:a16="http://schemas.microsoft.com/office/drawing/2014/main" id="{312AD8EA-4E11-8B4B-8E80-E985FD795A53}"/>
                    </a:ext>
                  </a:extLst>
                </p:cNvPr>
                <p:cNvSpPr/>
                <p:nvPr/>
              </p:nvSpPr>
              <p:spPr bwMode="auto">
                <a:xfrm rot="5400000">
                  <a:off x="4215162" y="5164755"/>
                  <a:ext cx="333444" cy="979012"/>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303" name="Freeform 302">
                  <a:extLst>
                    <a:ext uri="{FF2B5EF4-FFF2-40B4-BE49-F238E27FC236}">
                      <a16:creationId xmlns:a16="http://schemas.microsoft.com/office/drawing/2014/main" id="{04CC48B0-B7B1-BC4B-9E71-10D82471A340}"/>
                    </a:ext>
                  </a:extLst>
                </p:cNvPr>
                <p:cNvSpPr/>
                <p:nvPr/>
              </p:nvSpPr>
              <p:spPr bwMode="auto">
                <a:xfrm rot="16200000" flipV="1">
                  <a:off x="4212592" y="6334530"/>
                  <a:ext cx="333444" cy="979016"/>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grpSp>
        </p:grpSp>
        <p:cxnSp>
          <p:nvCxnSpPr>
            <p:cNvPr id="310" name="2 fg">
              <a:extLst>
                <a:ext uri="{FF2B5EF4-FFF2-40B4-BE49-F238E27FC236}">
                  <a16:creationId xmlns:a16="http://schemas.microsoft.com/office/drawing/2014/main" id="{F78E2FB5-9D9E-9B45-A679-AFC971736475}"/>
                </a:ext>
              </a:extLst>
            </p:cNvPr>
            <p:cNvCxnSpPr/>
            <p:nvPr/>
          </p:nvCxnSpPr>
          <p:spPr>
            <a:xfrm flipV="1">
              <a:off x="1186293" y="5613469"/>
              <a:ext cx="324021" cy="3349"/>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311" name="2 fg">
              <a:extLst>
                <a:ext uri="{FF2B5EF4-FFF2-40B4-BE49-F238E27FC236}">
                  <a16:creationId xmlns:a16="http://schemas.microsoft.com/office/drawing/2014/main" id="{88EBFF70-A574-F647-8AAE-A10605014615}"/>
                </a:ext>
              </a:extLst>
            </p:cNvPr>
            <p:cNvCxnSpPr/>
            <p:nvPr/>
          </p:nvCxnSpPr>
          <p:spPr>
            <a:xfrm flipV="1">
              <a:off x="1181072" y="5847173"/>
              <a:ext cx="318792" cy="105392"/>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312" name="2 fg">
              <a:extLst>
                <a:ext uri="{FF2B5EF4-FFF2-40B4-BE49-F238E27FC236}">
                  <a16:creationId xmlns:a16="http://schemas.microsoft.com/office/drawing/2014/main" id="{4F20F35F-1230-874E-B2DE-E20C43215EC5}"/>
                </a:ext>
              </a:extLst>
            </p:cNvPr>
            <p:cNvCxnSpPr/>
            <p:nvPr/>
          </p:nvCxnSpPr>
          <p:spPr>
            <a:xfrm flipV="1">
              <a:off x="1187686" y="4753057"/>
              <a:ext cx="312873" cy="187629"/>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grpSp>
          <p:nvGrpSpPr>
            <p:cNvPr id="313" name="2 Field Gateway">
              <a:extLst>
                <a:ext uri="{FF2B5EF4-FFF2-40B4-BE49-F238E27FC236}">
                  <a16:creationId xmlns:a16="http://schemas.microsoft.com/office/drawing/2014/main" id="{4A16AC35-19FF-6C40-B8E4-98E06942D384}"/>
                </a:ext>
              </a:extLst>
            </p:cNvPr>
            <p:cNvGrpSpPr/>
            <p:nvPr/>
          </p:nvGrpSpPr>
          <p:grpSpPr>
            <a:xfrm>
              <a:off x="1544879" y="3904783"/>
              <a:ext cx="721023" cy="997133"/>
              <a:chOff x="1547306" y="5067599"/>
              <a:chExt cx="769091" cy="1063609"/>
            </a:xfrm>
          </p:grpSpPr>
          <p:sp>
            <p:nvSpPr>
              <p:cNvPr id="314" name="Rectangle 313">
                <a:extLst>
                  <a:ext uri="{FF2B5EF4-FFF2-40B4-BE49-F238E27FC236}">
                    <a16:creationId xmlns:a16="http://schemas.microsoft.com/office/drawing/2014/main" id="{49AAA800-0E1B-2D4A-9E42-283BA1AA9393}"/>
                  </a:ext>
                </a:extLst>
              </p:cNvPr>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25" tIns="85725" rIns="0" bIns="85700" numCol="1" spcCol="0" rtlCol="0" fromWordArt="0" anchor="b" anchorCtr="0" forceAA="0" compatLnSpc="1">
                <a:prstTxWarp prst="textNoShape">
                  <a:avLst/>
                </a:prstTxWarp>
                <a:noAutofit/>
              </a:bodyPr>
              <a:lstStyle/>
              <a:p>
                <a:pPr defTabSz="856587" fontAlgn="base">
                  <a:lnSpc>
                    <a:spcPct val="90000"/>
                  </a:lnSpc>
                  <a:spcBef>
                    <a:spcPct val="0"/>
                  </a:spcBef>
                  <a:spcAft>
                    <a:spcPts val="563"/>
                  </a:spcAft>
                </a:pPr>
                <a:r>
                  <a:rPr lang="en-US" sz="1031">
                    <a:solidFill>
                      <a:srgbClr val="404040">
                        <a:lumMod val="50000"/>
                      </a:srgbClr>
                    </a:solidFill>
                    <a:latin typeface="Segoe UI Semibold" panose="020B0702040204020203" pitchFamily="34" charset="0"/>
                    <a:ea typeface="Segoe UI" pitchFamily="34" charset="0"/>
                    <a:cs typeface="Segoe UI" pitchFamily="34" charset="0"/>
                    <a:sym typeface="Segoe UI"/>
                  </a:rPr>
                  <a:t>Field Gateway</a:t>
                </a:r>
              </a:p>
            </p:txBody>
          </p:sp>
          <p:sp>
            <p:nvSpPr>
              <p:cNvPr id="315" name="Frame 5">
                <a:extLst>
                  <a:ext uri="{FF2B5EF4-FFF2-40B4-BE49-F238E27FC236}">
                    <a16:creationId xmlns:a16="http://schemas.microsoft.com/office/drawing/2014/main" id="{84627B9A-7DE5-0246-8BD7-BFF0521305BD}"/>
                  </a:ext>
                </a:extLst>
              </p:cNvPr>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5700" tIns="42849" rIns="42849" bIns="85700" numCol="1" spcCol="0" rtlCol="0" fromWordArt="0" anchor="b" anchorCtr="0" forceAA="0" compatLnSpc="1">
                <a:prstTxWarp prst="textNoShape">
                  <a:avLst/>
                </a:prstTxWarp>
                <a:noAutofit/>
              </a:bodyPr>
              <a:lstStyle/>
              <a:p>
                <a:pPr algn="ctr" defTabSz="856587" fontAlgn="base">
                  <a:spcBef>
                    <a:spcPct val="0"/>
                  </a:spcBef>
                  <a:spcAft>
                    <a:spcPct val="0"/>
                  </a:spcAft>
                </a:pPr>
                <a:endParaRPr lang="en-US" sz="1688" spc="-47">
                  <a:solidFill>
                    <a:prstClr val="black"/>
                  </a:solidFill>
                  <a:latin typeface="Calibri" panose="020F0502020204030204"/>
                  <a:ea typeface="Segoe UI" pitchFamily="34" charset="0"/>
                  <a:cs typeface="Segoe UI" pitchFamily="34" charset="0"/>
                  <a:sym typeface="Segoe UI"/>
                </a:endParaRPr>
              </a:p>
            </p:txBody>
          </p:sp>
        </p:grpSp>
        <p:grpSp>
          <p:nvGrpSpPr>
            <p:cNvPr id="316" name="3 Protocol Adaptation">
              <a:extLst>
                <a:ext uri="{FF2B5EF4-FFF2-40B4-BE49-F238E27FC236}">
                  <a16:creationId xmlns:a16="http://schemas.microsoft.com/office/drawing/2014/main" id="{2B66C057-7B0A-9349-8CB4-84198072FB84}"/>
                </a:ext>
              </a:extLst>
            </p:cNvPr>
            <p:cNvGrpSpPr/>
            <p:nvPr/>
          </p:nvGrpSpPr>
          <p:grpSpPr>
            <a:xfrm>
              <a:off x="2261927" y="3906073"/>
              <a:ext cx="757837" cy="995840"/>
              <a:chOff x="2505117" y="3539000"/>
              <a:chExt cx="877565" cy="1062230"/>
            </a:xfrm>
          </p:grpSpPr>
          <p:sp>
            <p:nvSpPr>
              <p:cNvPr id="317" name="Rectangle 316">
                <a:extLst>
                  <a:ext uri="{FF2B5EF4-FFF2-40B4-BE49-F238E27FC236}">
                    <a16:creationId xmlns:a16="http://schemas.microsoft.com/office/drawing/2014/main" id="{15CAF95B-7844-CA44-B428-5A7DF63D7EDA}"/>
                  </a:ext>
                </a:extLst>
              </p:cNvPr>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85725" rIns="0" bIns="85700" numCol="1" spcCol="0" rtlCol="0" fromWordArt="0" anchor="b" anchorCtr="0" forceAA="0" compatLnSpc="1">
                <a:prstTxWarp prst="textNoShape">
                  <a:avLst/>
                </a:prstTxWarp>
                <a:noAutofit/>
              </a:bodyPr>
              <a:lstStyle/>
              <a:p>
                <a:pPr defTabSz="856587" fontAlgn="base">
                  <a:lnSpc>
                    <a:spcPct val="90000"/>
                  </a:lnSpc>
                  <a:spcBef>
                    <a:spcPct val="0"/>
                  </a:spcBef>
                  <a:spcAft>
                    <a:spcPts val="563"/>
                  </a:spcAft>
                </a:pPr>
                <a:r>
                  <a:rPr lang="en-US" sz="1031">
                    <a:solidFill>
                      <a:srgbClr val="404040">
                        <a:lumMod val="50000"/>
                      </a:srgbClr>
                    </a:solidFill>
                    <a:latin typeface="Segoe UI Semibold" panose="020B0702040204020203" pitchFamily="34" charset="0"/>
                    <a:ea typeface="Segoe UI" pitchFamily="34" charset="0"/>
                    <a:cs typeface="Segoe UI" pitchFamily="34" charset="0"/>
                    <a:sym typeface="Segoe UI"/>
                  </a:rPr>
                  <a:t>Protocol Adaptation</a:t>
                </a:r>
              </a:p>
            </p:txBody>
          </p:sp>
          <p:sp>
            <p:nvSpPr>
              <p:cNvPr id="318" name="Rectangle 31">
                <a:extLst>
                  <a:ext uri="{FF2B5EF4-FFF2-40B4-BE49-F238E27FC236}">
                    <a16:creationId xmlns:a16="http://schemas.microsoft.com/office/drawing/2014/main" id="{693CF53F-7172-AD48-AFA3-B149C5CB923D}"/>
                  </a:ext>
                </a:extLst>
              </p:cNvPr>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319" name="Rectangle 32">
                <a:extLst>
                  <a:ext uri="{FF2B5EF4-FFF2-40B4-BE49-F238E27FC236}">
                    <a16:creationId xmlns:a16="http://schemas.microsoft.com/office/drawing/2014/main" id="{55D860F4-48E6-7C48-ABE8-F37C392A9F91}"/>
                  </a:ext>
                </a:extLst>
              </p:cNvPr>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320" name="Rectangle 33">
                <a:extLst>
                  <a:ext uri="{FF2B5EF4-FFF2-40B4-BE49-F238E27FC236}">
                    <a16:creationId xmlns:a16="http://schemas.microsoft.com/office/drawing/2014/main" id="{348CE4BA-EA53-EE4D-AA6D-34DF9CC72FC8}"/>
                  </a:ext>
                </a:extLst>
              </p:cNvPr>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321" name="Rectangle 35">
                <a:extLst>
                  <a:ext uri="{FF2B5EF4-FFF2-40B4-BE49-F238E27FC236}">
                    <a16:creationId xmlns:a16="http://schemas.microsoft.com/office/drawing/2014/main" id="{16E7A007-A775-004F-B9CA-CA2A059969C7}"/>
                  </a:ext>
                </a:extLst>
              </p:cNvPr>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sp>
            <p:nvSpPr>
              <p:cNvPr id="322" name="Rectangle 38">
                <a:extLst>
                  <a:ext uri="{FF2B5EF4-FFF2-40B4-BE49-F238E27FC236}">
                    <a16:creationId xmlns:a16="http://schemas.microsoft.com/office/drawing/2014/main" id="{01FD5AD4-5B91-8147-B3E3-4C0DF79300F3}"/>
                  </a:ext>
                </a:extLst>
              </p:cNvPr>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85725" tIns="42863" rIns="85725" bIns="42863" numCol="1" anchor="t" anchorCtr="0" compatLnSpc="1">
                <a:prstTxWarp prst="textNoShape">
                  <a:avLst/>
                </a:prstTxWarp>
              </a:bodyPr>
              <a:lstStyle/>
              <a:p>
                <a:pPr defTabSz="857199"/>
                <a:endParaRPr lang="en-US" sz="1688">
                  <a:solidFill>
                    <a:srgbClr val="404040"/>
                  </a:solidFill>
                  <a:latin typeface="Calibri" panose="020F0502020204030204"/>
                  <a:sym typeface="Segoe UI"/>
                </a:endParaRPr>
              </a:p>
            </p:txBody>
          </p:sp>
          <p:cxnSp>
            <p:nvCxnSpPr>
              <p:cNvPr id="323" name="Elbow Connector 322">
                <a:extLst>
                  <a:ext uri="{FF2B5EF4-FFF2-40B4-BE49-F238E27FC236}">
                    <a16:creationId xmlns:a16="http://schemas.microsoft.com/office/drawing/2014/main" id="{5D564721-EA22-CD4C-8CD2-2F85796D311B}"/>
                  </a:ext>
                </a:extLst>
              </p:cNvPr>
              <p:cNvCxnSpPr>
                <a:stCxn id="341" idx="3"/>
                <a:endCxn id="344"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4" name="Elbow Connector 323">
                <a:extLst>
                  <a:ext uri="{FF2B5EF4-FFF2-40B4-BE49-F238E27FC236}">
                    <a16:creationId xmlns:a16="http://schemas.microsoft.com/office/drawing/2014/main" id="{47DE71CD-8943-9E44-9447-D420E2434030}"/>
                  </a:ext>
                </a:extLst>
              </p:cNvPr>
              <p:cNvCxnSpPr>
                <a:stCxn id="342" idx="3"/>
                <a:endCxn id="344"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5" name="Elbow Connector 324">
                <a:extLst>
                  <a:ext uri="{FF2B5EF4-FFF2-40B4-BE49-F238E27FC236}">
                    <a16:creationId xmlns:a16="http://schemas.microsoft.com/office/drawing/2014/main" id="{2F9E73DC-244E-2D46-BF4E-7A8C5CFA1CAC}"/>
                  </a:ext>
                </a:extLst>
              </p:cNvPr>
              <p:cNvCxnSpPr>
                <a:stCxn id="343" idx="3"/>
                <a:endCxn id="344"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6" name="Elbow Connector 325">
                <a:extLst>
                  <a:ext uri="{FF2B5EF4-FFF2-40B4-BE49-F238E27FC236}">
                    <a16:creationId xmlns:a16="http://schemas.microsoft.com/office/drawing/2014/main" id="{4496B1EA-4126-104A-BC36-411BFDF7F1B5}"/>
                  </a:ext>
                </a:extLst>
              </p:cNvPr>
              <p:cNvCxnSpPr>
                <a:stCxn id="345" idx="3"/>
                <a:endCxn id="344"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327" name="2   Arrow fg">
              <a:extLst>
                <a:ext uri="{FF2B5EF4-FFF2-40B4-BE49-F238E27FC236}">
                  <a16:creationId xmlns:a16="http://schemas.microsoft.com/office/drawing/2014/main" id="{3FEDFE0E-C666-D546-98AC-6A4BFC2E6AAC}"/>
                </a:ext>
              </a:extLst>
            </p:cNvPr>
            <p:cNvCxnSpPr/>
            <p:nvPr/>
          </p:nvCxnSpPr>
          <p:spPr>
            <a:xfrm>
              <a:off x="3037218" y="4407833"/>
              <a:ext cx="717735" cy="2080"/>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328" name="2   Arrow fg">
              <a:extLst>
                <a:ext uri="{FF2B5EF4-FFF2-40B4-BE49-F238E27FC236}">
                  <a16:creationId xmlns:a16="http://schemas.microsoft.com/office/drawing/2014/main" id="{0DBD1591-CD9A-F94D-8745-CE2016782536}"/>
                </a:ext>
              </a:extLst>
            </p:cNvPr>
            <p:cNvCxnSpPr/>
            <p:nvPr/>
          </p:nvCxnSpPr>
          <p:spPr>
            <a:xfrm flipV="1">
              <a:off x="1193980" y="3254114"/>
              <a:ext cx="1789733" cy="2457"/>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329" name="2   Arrow fg">
              <a:extLst>
                <a:ext uri="{FF2B5EF4-FFF2-40B4-BE49-F238E27FC236}">
                  <a16:creationId xmlns:a16="http://schemas.microsoft.com/office/drawing/2014/main" id="{0B07EF81-0DC8-344D-A2BA-1040359D1AF9}"/>
                </a:ext>
              </a:extLst>
            </p:cNvPr>
            <p:cNvCxnSpPr/>
            <p:nvPr/>
          </p:nvCxnSpPr>
          <p:spPr>
            <a:xfrm flipV="1">
              <a:off x="1193979" y="2921423"/>
              <a:ext cx="1789733" cy="2457"/>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330" name="2   Arrow fg">
              <a:extLst>
                <a:ext uri="{FF2B5EF4-FFF2-40B4-BE49-F238E27FC236}">
                  <a16:creationId xmlns:a16="http://schemas.microsoft.com/office/drawing/2014/main" id="{890810E6-A416-AF4F-94A8-424667D55DDD}"/>
                </a:ext>
              </a:extLst>
            </p:cNvPr>
            <p:cNvCxnSpPr/>
            <p:nvPr/>
          </p:nvCxnSpPr>
          <p:spPr>
            <a:xfrm flipV="1">
              <a:off x="1193979" y="3578753"/>
              <a:ext cx="1789733" cy="2457"/>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331" name="2 fg">
              <a:extLst>
                <a:ext uri="{FF2B5EF4-FFF2-40B4-BE49-F238E27FC236}">
                  <a16:creationId xmlns:a16="http://schemas.microsoft.com/office/drawing/2014/main" id="{B159ABA7-94CA-374C-A92F-AFB9CF688120}"/>
                </a:ext>
              </a:extLst>
            </p:cNvPr>
            <p:cNvCxnSpPr/>
            <p:nvPr/>
          </p:nvCxnSpPr>
          <p:spPr>
            <a:xfrm>
              <a:off x="1190090" y="3930189"/>
              <a:ext cx="305305" cy="150084"/>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332" name="2 fg">
              <a:extLst>
                <a:ext uri="{FF2B5EF4-FFF2-40B4-BE49-F238E27FC236}">
                  <a16:creationId xmlns:a16="http://schemas.microsoft.com/office/drawing/2014/main" id="{D466D9B3-4887-8F42-AC03-D7E74AD04B4B}"/>
                </a:ext>
              </a:extLst>
            </p:cNvPr>
            <p:cNvCxnSpPr/>
            <p:nvPr/>
          </p:nvCxnSpPr>
          <p:spPr>
            <a:xfrm>
              <a:off x="1193277" y="4280039"/>
              <a:ext cx="306588" cy="54513"/>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333" name="2 fg">
              <a:extLst>
                <a:ext uri="{FF2B5EF4-FFF2-40B4-BE49-F238E27FC236}">
                  <a16:creationId xmlns:a16="http://schemas.microsoft.com/office/drawing/2014/main" id="{1E7256E2-076D-F946-B635-E9168ACAAAA4}"/>
                </a:ext>
              </a:extLst>
            </p:cNvPr>
            <p:cNvCxnSpPr/>
            <p:nvPr/>
          </p:nvCxnSpPr>
          <p:spPr>
            <a:xfrm flipV="1">
              <a:off x="1195628" y="4542763"/>
              <a:ext cx="299767" cy="81511"/>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pic>
          <p:nvPicPr>
            <p:cNvPr id="334" name="Picture 333">
              <a:extLst>
                <a:ext uri="{FF2B5EF4-FFF2-40B4-BE49-F238E27FC236}">
                  <a16:creationId xmlns:a16="http://schemas.microsoft.com/office/drawing/2014/main" id="{B0F067C4-5F93-E145-AAB4-6B387CBDD1EC}"/>
                </a:ext>
              </a:extLst>
            </p:cNvPr>
            <p:cNvPicPr>
              <a:picLocks noChangeAspect="1"/>
            </p:cNvPicPr>
            <p:nvPr/>
          </p:nvPicPr>
          <p:blipFill rotWithShape="1">
            <a:blip r:embed="rId10"/>
            <a:srcRect l="4124" t="4367" r="3458" b="2343"/>
            <a:stretch/>
          </p:blipFill>
          <p:spPr>
            <a:xfrm>
              <a:off x="9543425" y="3187622"/>
              <a:ext cx="213360" cy="214435"/>
            </a:xfrm>
            <a:prstGeom prst="rect">
              <a:avLst/>
            </a:prstGeom>
          </p:spPr>
        </p:pic>
        <p:sp>
          <p:nvSpPr>
            <p:cNvPr id="335" name="Rectangle 334">
              <a:extLst>
                <a:ext uri="{FF2B5EF4-FFF2-40B4-BE49-F238E27FC236}">
                  <a16:creationId xmlns:a16="http://schemas.microsoft.com/office/drawing/2014/main" id="{75BDA8D3-C701-3C4E-9967-2F2D45B5D42A}"/>
                </a:ext>
              </a:extLst>
            </p:cNvPr>
            <p:cNvSpPr/>
            <p:nvPr/>
          </p:nvSpPr>
          <p:spPr>
            <a:xfrm>
              <a:off x="9778163" y="3181731"/>
              <a:ext cx="715260" cy="250966"/>
            </a:xfrm>
            <a:prstGeom prst="rect">
              <a:avLst/>
            </a:prstGeom>
          </p:spPr>
          <p:txBody>
            <a:bodyPr wrap="none">
              <a:spAutoFit/>
            </a:bodyPr>
            <a:lstStyle/>
            <a:p>
              <a:pPr defTabSz="857199"/>
              <a:r>
                <a:rPr lang="en-US" sz="1031">
                  <a:solidFill>
                    <a:srgbClr val="404040">
                      <a:lumMod val="50000"/>
                    </a:srgbClr>
                  </a:solidFill>
                  <a:latin typeface="Segoe UI Semibold" panose="020B0702040204020203" pitchFamily="34" charset="0"/>
                  <a:ea typeface="Segoe UI" pitchFamily="34" charset="0"/>
                  <a:cs typeface="Segoe UI" pitchFamily="34" charset="0"/>
                  <a:sym typeface="Segoe UI"/>
                </a:rPr>
                <a:t>Power BI</a:t>
              </a:r>
              <a:endParaRPr lang="en-US" sz="1031">
                <a:solidFill>
                  <a:prstClr val="black"/>
                </a:solidFill>
                <a:latin typeface="Calibri" panose="020F0502020204030204"/>
                <a:sym typeface="Segoe UI"/>
              </a:endParaRPr>
            </a:p>
          </p:txBody>
        </p:sp>
        <p:sp>
          <p:nvSpPr>
            <p:cNvPr id="336" name="Rectangle 335">
              <a:extLst>
                <a:ext uri="{FF2B5EF4-FFF2-40B4-BE49-F238E27FC236}">
                  <a16:creationId xmlns:a16="http://schemas.microsoft.com/office/drawing/2014/main" id="{FAA2D21E-0033-C84E-A4C4-2E871E3CCD5D}"/>
                </a:ext>
              </a:extLst>
            </p:cNvPr>
            <p:cNvSpPr/>
            <p:nvPr/>
          </p:nvSpPr>
          <p:spPr bwMode="auto">
            <a:xfrm rot="16200000">
              <a:off x="7317017" y="-1844708"/>
              <a:ext cx="562707" cy="7600231"/>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85725" tIns="85725" rIns="0" bIns="85700" numCol="1" spcCol="0" rtlCol="0" fromWordArt="0" anchor="b" anchorCtr="0" forceAA="0" compatLnSpc="1">
              <a:prstTxWarp prst="textNoShape">
                <a:avLst/>
              </a:prstTxWarp>
              <a:noAutofit/>
            </a:bodyPr>
            <a:lstStyle/>
            <a:p>
              <a:pPr algn="ctr" defTabSz="856587" fontAlgn="base">
                <a:lnSpc>
                  <a:spcPct val="150000"/>
                </a:lnSpc>
                <a:spcBef>
                  <a:spcPct val="0"/>
                </a:spcBef>
                <a:spcAft>
                  <a:spcPts val="563"/>
                </a:spcAft>
              </a:pPr>
              <a:r>
                <a:rPr lang="en-US" sz="2800">
                  <a:solidFill>
                    <a:srgbClr val="404040">
                      <a:lumMod val="50000"/>
                    </a:srgbClr>
                  </a:solidFill>
                  <a:latin typeface="Segoe UI Semibold"/>
                  <a:ea typeface="Segoe UI Black" panose="020B0A02040204020203" pitchFamily="34" charset="0"/>
                  <a:cs typeface="Segoe UI Light" panose="020B0502040204020203" pitchFamily="34" charset="0"/>
                  <a:sym typeface="Segoe UI"/>
                </a:rPr>
                <a:t>Intelligent Solutions</a:t>
              </a:r>
            </a:p>
          </p:txBody>
        </p:sp>
        <p:pic>
          <p:nvPicPr>
            <p:cNvPr id="337" name="Picture 336">
              <a:extLst>
                <a:ext uri="{FF2B5EF4-FFF2-40B4-BE49-F238E27FC236}">
                  <a16:creationId xmlns:a16="http://schemas.microsoft.com/office/drawing/2014/main" id="{073B7916-0856-C446-AB94-F22197DCA75E}"/>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631787" y="2358300"/>
              <a:ext cx="878677" cy="807207"/>
            </a:xfrm>
            <a:prstGeom prst="rect">
              <a:avLst/>
            </a:prstGeom>
          </p:spPr>
        </p:pic>
        <p:pic>
          <p:nvPicPr>
            <p:cNvPr id="338" name="Picture 337">
              <a:extLst>
                <a:ext uri="{FF2B5EF4-FFF2-40B4-BE49-F238E27FC236}">
                  <a16:creationId xmlns:a16="http://schemas.microsoft.com/office/drawing/2014/main" id="{02683E6B-D715-5F4A-8545-7623E8B8FCDE}"/>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704728" y="3776360"/>
              <a:ext cx="878677" cy="807207"/>
            </a:xfrm>
            <a:prstGeom prst="rect">
              <a:avLst/>
            </a:prstGeom>
          </p:spPr>
        </p:pic>
        <p:pic>
          <p:nvPicPr>
            <p:cNvPr id="339" name="Picture 338">
              <a:extLst>
                <a:ext uri="{FF2B5EF4-FFF2-40B4-BE49-F238E27FC236}">
                  <a16:creationId xmlns:a16="http://schemas.microsoft.com/office/drawing/2014/main" id="{CCED6E0F-26A5-4845-88B5-E72843DCBB0C}"/>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734652" y="5056624"/>
              <a:ext cx="878677" cy="807207"/>
            </a:xfrm>
            <a:prstGeom prst="rect">
              <a:avLst/>
            </a:prstGeom>
          </p:spPr>
        </p:pic>
        <p:sp>
          <p:nvSpPr>
            <p:cNvPr id="340" name="TextBox 339">
              <a:extLst>
                <a:ext uri="{FF2B5EF4-FFF2-40B4-BE49-F238E27FC236}">
                  <a16:creationId xmlns:a16="http://schemas.microsoft.com/office/drawing/2014/main" id="{49AF1555-D4A9-2345-AAA2-B56BFC94775D}"/>
                </a:ext>
              </a:extLst>
            </p:cNvPr>
            <p:cNvSpPr txBox="1"/>
            <p:nvPr/>
          </p:nvSpPr>
          <p:spPr>
            <a:xfrm>
              <a:off x="6559341" y="2643838"/>
              <a:ext cx="2397988" cy="338554"/>
            </a:xfrm>
            <a:prstGeom prst="rect">
              <a:avLst/>
            </a:prstGeom>
            <a:noFill/>
          </p:spPr>
          <p:txBody>
            <a:bodyPr wrap="square" rtlCol="0">
              <a:spAutoFit/>
            </a:bodyPr>
            <a:lstStyle/>
            <a:p>
              <a:pPr defTabSz="609585" hangingPunct="0"/>
              <a:r>
                <a:rPr lang="en-US" sz="1600" kern="0">
                  <a:solidFill>
                    <a:srgbClr val="000000"/>
                  </a:solidFill>
                  <a:latin typeface="Calibri" panose="020F0502020204030204"/>
                  <a:sym typeface="Segoe UI"/>
                </a:rPr>
                <a:t>Storage-optimized offer</a:t>
              </a:r>
            </a:p>
          </p:txBody>
        </p:sp>
        <p:sp>
          <p:nvSpPr>
            <p:cNvPr id="341" name="TextBox 340">
              <a:extLst>
                <a:ext uri="{FF2B5EF4-FFF2-40B4-BE49-F238E27FC236}">
                  <a16:creationId xmlns:a16="http://schemas.microsoft.com/office/drawing/2014/main" id="{F0C95BED-2753-4043-9B83-5ADA785EA54D}"/>
                </a:ext>
              </a:extLst>
            </p:cNvPr>
            <p:cNvSpPr txBox="1"/>
            <p:nvPr/>
          </p:nvSpPr>
          <p:spPr>
            <a:xfrm>
              <a:off x="5260629" y="4012210"/>
              <a:ext cx="2664219" cy="338554"/>
            </a:xfrm>
            <a:prstGeom prst="rect">
              <a:avLst/>
            </a:prstGeom>
            <a:noFill/>
          </p:spPr>
          <p:txBody>
            <a:bodyPr wrap="square" rtlCol="0">
              <a:spAutoFit/>
            </a:bodyPr>
            <a:lstStyle/>
            <a:p>
              <a:pPr defTabSz="609585" hangingPunct="0"/>
              <a:r>
                <a:rPr lang="en-US" sz="1600" kern="0">
                  <a:solidFill>
                    <a:srgbClr val="000000"/>
                  </a:solidFill>
                  <a:latin typeface="Calibri" panose="020F0502020204030204"/>
                  <a:sym typeface="Segoe UI"/>
                </a:rPr>
                <a:t>Throughput-optimized offer</a:t>
              </a:r>
            </a:p>
          </p:txBody>
        </p:sp>
        <p:sp>
          <p:nvSpPr>
            <p:cNvPr id="342" name="TextBox 341">
              <a:extLst>
                <a:ext uri="{FF2B5EF4-FFF2-40B4-BE49-F238E27FC236}">
                  <a16:creationId xmlns:a16="http://schemas.microsoft.com/office/drawing/2014/main" id="{082CBA10-CB7A-2B47-B706-F87756C552CE}"/>
                </a:ext>
              </a:extLst>
            </p:cNvPr>
            <p:cNvSpPr txBox="1"/>
            <p:nvPr/>
          </p:nvSpPr>
          <p:spPr>
            <a:xfrm>
              <a:off x="5340748" y="5193795"/>
              <a:ext cx="2664219" cy="584775"/>
            </a:xfrm>
            <a:prstGeom prst="rect">
              <a:avLst/>
            </a:prstGeom>
            <a:noFill/>
          </p:spPr>
          <p:txBody>
            <a:bodyPr wrap="square" rtlCol="0">
              <a:spAutoFit/>
            </a:bodyPr>
            <a:lstStyle/>
            <a:p>
              <a:pPr defTabSz="609585" hangingPunct="0"/>
              <a:r>
                <a:rPr lang="en-US" sz="1600" kern="0">
                  <a:solidFill>
                    <a:srgbClr val="000000"/>
                  </a:solidFill>
                  <a:latin typeface="Calibri" panose="020F0502020204030204"/>
                  <a:sym typeface="Segoe UI"/>
                </a:rPr>
                <a:t>Throughput-optimized offer</a:t>
              </a:r>
            </a:p>
            <a:p>
              <a:pPr defTabSz="609585" hangingPunct="0"/>
              <a:r>
                <a:rPr lang="en-US" sz="1600" kern="0">
                  <a:solidFill>
                    <a:srgbClr val="000000"/>
                  </a:solidFill>
                  <a:latin typeface="Calibri" panose="020F0502020204030204"/>
                  <a:sym typeface="Segoe UI"/>
                </a:rPr>
                <a:t>+ Azure Functions</a:t>
              </a:r>
            </a:p>
          </p:txBody>
        </p:sp>
        <p:grpSp>
          <p:nvGrpSpPr>
            <p:cNvPr id="343" name="Group 342">
              <a:extLst>
                <a:ext uri="{FF2B5EF4-FFF2-40B4-BE49-F238E27FC236}">
                  <a16:creationId xmlns:a16="http://schemas.microsoft.com/office/drawing/2014/main" id="{17CBE249-1279-6442-A29D-5552FEED82C8}"/>
                </a:ext>
              </a:extLst>
            </p:cNvPr>
            <p:cNvGrpSpPr/>
            <p:nvPr/>
          </p:nvGrpSpPr>
          <p:grpSpPr>
            <a:xfrm>
              <a:off x="7585032" y="3013496"/>
              <a:ext cx="1034027" cy="461665"/>
              <a:chOff x="5688773" y="2088671"/>
              <a:chExt cx="775520" cy="346249"/>
            </a:xfrm>
          </p:grpSpPr>
          <p:pic>
            <p:nvPicPr>
              <p:cNvPr id="344" name="Picture 2" descr="Image result for spark logo">
                <a:extLst>
                  <a:ext uri="{FF2B5EF4-FFF2-40B4-BE49-F238E27FC236}">
                    <a16:creationId xmlns:a16="http://schemas.microsoft.com/office/drawing/2014/main" id="{21FA4C98-DB9D-5F4A-BF4E-F3CC9243F40B}"/>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943635" y="2090872"/>
                <a:ext cx="520658" cy="276946"/>
              </a:xfrm>
              <a:prstGeom prst="rect">
                <a:avLst/>
              </a:prstGeom>
              <a:noFill/>
              <a:extLst>
                <a:ext uri="{909E8E84-426E-40DD-AFC4-6F175D3DCCD1}">
                  <a14:hiddenFill xmlns:a14="http://schemas.microsoft.com/office/drawing/2010/main">
                    <a:solidFill>
                      <a:srgbClr val="FFFFFF"/>
                    </a:solidFill>
                  </a14:hiddenFill>
                </a:ext>
              </a:extLst>
            </p:spPr>
          </p:pic>
          <p:sp>
            <p:nvSpPr>
              <p:cNvPr id="345" name="TextBox 344">
                <a:extLst>
                  <a:ext uri="{FF2B5EF4-FFF2-40B4-BE49-F238E27FC236}">
                    <a16:creationId xmlns:a16="http://schemas.microsoft.com/office/drawing/2014/main" id="{1B4FEE1A-15D7-7242-8F65-47C639BBAE04}"/>
                  </a:ext>
                </a:extLst>
              </p:cNvPr>
              <p:cNvSpPr txBox="1"/>
              <p:nvPr/>
            </p:nvSpPr>
            <p:spPr>
              <a:xfrm>
                <a:off x="5688773" y="2088671"/>
                <a:ext cx="253915" cy="346249"/>
              </a:xfrm>
              <a:prstGeom prst="rect">
                <a:avLst/>
              </a:prstGeom>
              <a:noFill/>
            </p:spPr>
            <p:txBody>
              <a:bodyPr wrap="none" rtlCol="0">
                <a:spAutoFit/>
              </a:bodyPr>
              <a:lstStyle/>
              <a:p>
                <a:pPr defTabSz="609585" hangingPunct="0"/>
                <a:r>
                  <a:rPr lang="en-US" sz="2400" kern="0">
                    <a:solidFill>
                      <a:srgbClr val="000000"/>
                    </a:solidFill>
                    <a:latin typeface="Calibri" panose="020F0502020204030204"/>
                    <a:sym typeface="Segoe UI"/>
                  </a:rPr>
                  <a:t>+</a:t>
                </a:r>
              </a:p>
            </p:txBody>
          </p:sp>
        </p:grpSp>
        <p:grpSp>
          <p:nvGrpSpPr>
            <p:cNvPr id="346" name="Group 345">
              <a:extLst>
                <a:ext uri="{FF2B5EF4-FFF2-40B4-BE49-F238E27FC236}">
                  <a16:creationId xmlns:a16="http://schemas.microsoft.com/office/drawing/2014/main" id="{7E146B45-1135-7847-B8C2-8DE6ED7494C9}"/>
                </a:ext>
              </a:extLst>
            </p:cNvPr>
            <p:cNvGrpSpPr/>
            <p:nvPr/>
          </p:nvGrpSpPr>
          <p:grpSpPr>
            <a:xfrm>
              <a:off x="6625861" y="4306061"/>
              <a:ext cx="1034027" cy="461665"/>
              <a:chOff x="5688773" y="2088671"/>
              <a:chExt cx="775520" cy="346249"/>
            </a:xfrm>
          </p:grpSpPr>
          <p:pic>
            <p:nvPicPr>
              <p:cNvPr id="347" name="Picture 2" descr="Image result for spark logo">
                <a:extLst>
                  <a:ext uri="{FF2B5EF4-FFF2-40B4-BE49-F238E27FC236}">
                    <a16:creationId xmlns:a16="http://schemas.microsoft.com/office/drawing/2014/main" id="{8FC68D10-A005-264E-87D3-33089FA88F63}"/>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943635" y="2090872"/>
                <a:ext cx="520658" cy="276946"/>
              </a:xfrm>
              <a:prstGeom prst="rect">
                <a:avLst/>
              </a:prstGeom>
              <a:noFill/>
              <a:extLst>
                <a:ext uri="{909E8E84-426E-40DD-AFC4-6F175D3DCCD1}">
                  <a14:hiddenFill xmlns:a14="http://schemas.microsoft.com/office/drawing/2010/main">
                    <a:solidFill>
                      <a:srgbClr val="FFFFFF"/>
                    </a:solidFill>
                  </a14:hiddenFill>
                </a:ext>
              </a:extLst>
            </p:spPr>
          </p:pic>
          <p:sp>
            <p:nvSpPr>
              <p:cNvPr id="348" name="TextBox 347">
                <a:extLst>
                  <a:ext uri="{FF2B5EF4-FFF2-40B4-BE49-F238E27FC236}">
                    <a16:creationId xmlns:a16="http://schemas.microsoft.com/office/drawing/2014/main" id="{5A76201E-A19C-AF48-B4FB-0A963EFEE7B9}"/>
                  </a:ext>
                </a:extLst>
              </p:cNvPr>
              <p:cNvSpPr txBox="1"/>
              <p:nvPr/>
            </p:nvSpPr>
            <p:spPr>
              <a:xfrm>
                <a:off x="5688773" y="2088671"/>
                <a:ext cx="253915" cy="346249"/>
              </a:xfrm>
              <a:prstGeom prst="rect">
                <a:avLst/>
              </a:prstGeom>
              <a:noFill/>
            </p:spPr>
            <p:txBody>
              <a:bodyPr wrap="none" rtlCol="0">
                <a:spAutoFit/>
              </a:bodyPr>
              <a:lstStyle/>
              <a:p>
                <a:pPr defTabSz="609585" hangingPunct="0"/>
                <a:r>
                  <a:rPr lang="en-US" sz="2400" kern="0">
                    <a:solidFill>
                      <a:srgbClr val="000000"/>
                    </a:solidFill>
                    <a:latin typeface="Calibri" panose="020F0502020204030204"/>
                    <a:sym typeface="Segoe UI"/>
                  </a:rPr>
                  <a:t>+</a:t>
                </a:r>
              </a:p>
            </p:txBody>
          </p:sp>
        </p:grpSp>
      </p:grpSp>
    </p:spTree>
    <p:extLst>
      <p:ext uri="{BB962C8B-B14F-4D97-AF65-F5344CB8AC3E}">
        <p14:creationId xmlns:p14="http://schemas.microsoft.com/office/powerpoint/2010/main" val="3366390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5216" y="2267212"/>
            <a:ext cx="6400800" cy="1495794"/>
          </a:xfrm>
        </p:spPr>
        <p:txBody>
          <a:bodyPr/>
          <a:lstStyle/>
          <a:p>
            <a:r>
              <a:rPr lang="en-US"/>
              <a:t>Flexibility in modelling time series data on Azure Cosmos DB</a:t>
            </a:r>
          </a:p>
        </p:txBody>
      </p:sp>
    </p:spTree>
    <p:extLst>
      <p:ext uri="{BB962C8B-B14F-4D97-AF65-F5344CB8AC3E}">
        <p14:creationId xmlns:p14="http://schemas.microsoft.com/office/powerpoint/2010/main" val="3056357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16">
            <a:extLst>
              <a:ext uri="{FF2B5EF4-FFF2-40B4-BE49-F238E27FC236}">
                <a16:creationId xmlns:a16="http://schemas.microsoft.com/office/drawing/2014/main" id="{1B0F14DB-9255-9144-857F-5D2BB867B49A}"/>
              </a:ext>
            </a:extLst>
          </p:cNvPr>
          <p:cNvSpPr txBox="1">
            <a:spLocks/>
          </p:cNvSpPr>
          <p:nvPr/>
        </p:nvSpPr>
        <p:spPr>
          <a:xfrm>
            <a:off x="470700" y="492844"/>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gradFill>
                  <a:gsLst>
                    <a:gs pos="1250">
                      <a:srgbClr val="1A1A1A"/>
                    </a:gs>
                    <a:gs pos="100000">
                      <a:srgbClr val="1A1A1A"/>
                    </a:gs>
                  </a:gsLst>
                  <a:lin ang="5400000" scaled="0"/>
                </a:gradFill>
                <a:latin typeface="Segoe UI Semibold"/>
              </a:rPr>
              <a:t>Time series modelling for oil &amp; gas drilling</a:t>
            </a:r>
          </a:p>
        </p:txBody>
      </p:sp>
      <p:sp>
        <p:nvSpPr>
          <p:cNvPr id="4" name="Rectangle 3">
            <a:extLst>
              <a:ext uri="{FF2B5EF4-FFF2-40B4-BE49-F238E27FC236}">
                <a16:creationId xmlns:a16="http://schemas.microsoft.com/office/drawing/2014/main" id="{57B7AE96-FD8D-CA46-92B2-188083053903}"/>
              </a:ext>
            </a:extLst>
          </p:cNvPr>
          <p:cNvSpPr/>
          <p:nvPr/>
        </p:nvSpPr>
        <p:spPr>
          <a:xfrm>
            <a:off x="336282" y="1562140"/>
            <a:ext cx="5848336" cy="2403863"/>
          </a:xfrm>
          <a:prstGeom prst="rect">
            <a:avLst/>
          </a:prstGeom>
        </p:spPr>
        <p:txBody>
          <a:bodyPr wrap="square">
            <a:spAutoFit/>
          </a:bodyPr>
          <a:lstStyle/>
          <a:p>
            <a:pPr defTabSz="914367"/>
            <a:r>
              <a:rPr lang="en-US">
                <a:solidFill>
                  <a:srgbClr val="1A1A1A"/>
                </a:solidFill>
                <a:latin typeface="Segoe UI"/>
                <a:ea typeface="EMprint" panose="020B0503020204020204" pitchFamily="34" charset="0"/>
              </a:rPr>
              <a:t>     Drilling Data</a:t>
            </a:r>
          </a:p>
          <a:p>
            <a:pPr marL="742950" lvl="1" indent="-285750" defTabSz="914367">
              <a:lnSpc>
                <a:spcPct val="150000"/>
              </a:lnSpc>
              <a:buFont typeface="Arial" panose="020B0604020202020204" pitchFamily="34" charset="0"/>
              <a:buChar char="•"/>
            </a:pPr>
            <a:r>
              <a:rPr lang="en-US">
                <a:solidFill>
                  <a:srgbClr val="1A1A1A"/>
                </a:solidFill>
                <a:latin typeface="Segoe UI"/>
                <a:ea typeface="EMprint" panose="020B0503020204020204" pitchFamily="34" charset="0"/>
              </a:rPr>
              <a:t>Series data</a:t>
            </a:r>
          </a:p>
          <a:p>
            <a:pPr marL="742950" lvl="1" indent="-285750" defTabSz="914367">
              <a:lnSpc>
                <a:spcPct val="150000"/>
              </a:lnSpc>
              <a:buFont typeface="Arial" panose="020B0604020202020204" pitchFamily="34" charset="0"/>
              <a:buChar char="•"/>
            </a:pPr>
            <a:r>
              <a:rPr lang="en-US" u="sng">
                <a:solidFill>
                  <a:srgbClr val="1A1A1A"/>
                </a:solidFill>
                <a:latin typeface="Segoe UI"/>
                <a:ea typeface="EMprint" panose="020B0503020204020204" pitchFamily="34" charset="0"/>
              </a:rPr>
              <a:t>Time</a:t>
            </a:r>
            <a:r>
              <a:rPr lang="en-US">
                <a:solidFill>
                  <a:srgbClr val="1A1A1A"/>
                </a:solidFill>
                <a:latin typeface="Segoe UI"/>
                <a:ea typeface="EMprint" panose="020B0503020204020204" pitchFamily="34" charset="0"/>
              </a:rPr>
              <a:t>: Pressure/Rates/Volume/Temp/ etc.</a:t>
            </a:r>
          </a:p>
          <a:p>
            <a:pPr marL="1257300" lvl="2" indent="-342900" defTabSz="914367">
              <a:lnSpc>
                <a:spcPct val="150000"/>
              </a:lnSpc>
              <a:buFont typeface="Courier New" panose="02070309020205020404" pitchFamily="49" charset="0"/>
              <a:buChar char="o"/>
            </a:pPr>
            <a:r>
              <a:rPr lang="en-US">
                <a:solidFill>
                  <a:srgbClr val="1A1A1A"/>
                </a:solidFill>
                <a:latin typeface="Segoe UI"/>
                <a:ea typeface="EMprint" panose="020B0503020204020204" pitchFamily="34" charset="0"/>
              </a:rPr>
              <a:t>Various Frequencies: 1sec, 1min, 1hr</a:t>
            </a:r>
          </a:p>
          <a:p>
            <a:pPr marL="742950" lvl="1" indent="-285750" defTabSz="914367">
              <a:lnSpc>
                <a:spcPct val="150000"/>
              </a:lnSpc>
              <a:buFont typeface="Arial" panose="020B0604020202020204" pitchFamily="34" charset="0"/>
              <a:buChar char="•"/>
            </a:pPr>
            <a:r>
              <a:rPr lang="en-US" u="sng">
                <a:solidFill>
                  <a:srgbClr val="1A1A1A"/>
                </a:solidFill>
                <a:latin typeface="Segoe UI"/>
                <a:ea typeface="EMprint" panose="020B0503020204020204" pitchFamily="34" charset="0"/>
              </a:rPr>
              <a:t>Depth</a:t>
            </a:r>
            <a:r>
              <a:rPr lang="en-US">
                <a:solidFill>
                  <a:srgbClr val="1A1A1A"/>
                </a:solidFill>
                <a:latin typeface="Segoe UI"/>
                <a:ea typeface="EMprint" panose="020B0503020204020204" pitchFamily="34" charset="0"/>
              </a:rPr>
              <a:t>: </a:t>
            </a:r>
            <a:r>
              <a:rPr lang="en-US" err="1">
                <a:solidFill>
                  <a:srgbClr val="1A1A1A"/>
                </a:solidFill>
                <a:latin typeface="Segoe UI"/>
                <a:ea typeface="EMprint" panose="020B0503020204020204" pitchFamily="34" charset="0"/>
              </a:rPr>
              <a:t>Petrophysical</a:t>
            </a:r>
            <a:r>
              <a:rPr lang="en-US">
                <a:solidFill>
                  <a:srgbClr val="1A1A1A"/>
                </a:solidFill>
                <a:latin typeface="Segoe UI"/>
                <a:ea typeface="EMprint" panose="020B0503020204020204" pitchFamily="34" charset="0"/>
              </a:rPr>
              <a:t> Props/ Well Trajectory/ etc.</a:t>
            </a:r>
          </a:p>
          <a:p>
            <a:pPr marL="1200150" lvl="2" indent="-285750" defTabSz="914367">
              <a:lnSpc>
                <a:spcPct val="150000"/>
              </a:lnSpc>
              <a:buFont typeface="Courier New" panose="02070309020205020404" pitchFamily="49" charset="0"/>
              <a:buChar char="o"/>
            </a:pPr>
            <a:r>
              <a:rPr lang="en-US">
                <a:solidFill>
                  <a:srgbClr val="1A1A1A"/>
                </a:solidFill>
                <a:latin typeface="Segoe UI"/>
                <a:ea typeface="EMprint" panose="020B0503020204020204" pitchFamily="34" charset="0"/>
              </a:rPr>
              <a:t>Various Frequencies: 0.5m, 1m, 100m</a:t>
            </a:r>
          </a:p>
        </p:txBody>
      </p:sp>
      <p:pic>
        <p:nvPicPr>
          <p:cNvPr id="7" name="Picture 6">
            <a:extLst>
              <a:ext uri="{FF2B5EF4-FFF2-40B4-BE49-F238E27FC236}">
                <a16:creationId xmlns:a16="http://schemas.microsoft.com/office/drawing/2014/main" id="{0667119A-AF48-4C4E-8524-49ED817692EF}"/>
              </a:ext>
            </a:extLst>
          </p:cNvPr>
          <p:cNvPicPr>
            <a:picLocks noChangeAspect="1"/>
          </p:cNvPicPr>
          <p:nvPr/>
        </p:nvPicPr>
        <p:blipFill rotWithShape="1">
          <a:blip r:embed="rId3"/>
          <a:srcRect t="10970"/>
          <a:stretch/>
        </p:blipFill>
        <p:spPr>
          <a:xfrm>
            <a:off x="5886605" y="2985868"/>
            <a:ext cx="5929716" cy="3695466"/>
          </a:xfrm>
          <a:prstGeom prst="rect">
            <a:avLst/>
          </a:prstGeom>
        </p:spPr>
      </p:pic>
      <p:grpSp>
        <p:nvGrpSpPr>
          <p:cNvPr id="12" name="Group 11">
            <a:extLst>
              <a:ext uri="{FF2B5EF4-FFF2-40B4-BE49-F238E27FC236}">
                <a16:creationId xmlns:a16="http://schemas.microsoft.com/office/drawing/2014/main" id="{E05AD528-FB4E-4A44-AAA5-343AE2872EA9}"/>
              </a:ext>
            </a:extLst>
          </p:cNvPr>
          <p:cNvGrpSpPr/>
          <p:nvPr/>
        </p:nvGrpSpPr>
        <p:grpSpPr>
          <a:xfrm>
            <a:off x="2420822" y="4481299"/>
            <a:ext cx="1381243" cy="1773972"/>
            <a:chOff x="2039168" y="4266767"/>
            <a:chExt cx="1357007" cy="2043155"/>
          </a:xfrm>
        </p:grpSpPr>
        <p:sp>
          <p:nvSpPr>
            <p:cNvPr id="6" name="TextBox 5">
              <a:extLst>
                <a:ext uri="{FF2B5EF4-FFF2-40B4-BE49-F238E27FC236}">
                  <a16:creationId xmlns:a16="http://schemas.microsoft.com/office/drawing/2014/main" id="{B12D88F4-51D0-8148-B3B9-36378026E891}"/>
                </a:ext>
              </a:extLst>
            </p:cNvPr>
            <p:cNvSpPr txBox="1"/>
            <p:nvPr/>
          </p:nvSpPr>
          <p:spPr>
            <a:xfrm>
              <a:off x="2229728" y="4266767"/>
              <a:ext cx="1139483" cy="354479"/>
            </a:xfrm>
            <a:prstGeom prst="rect">
              <a:avLst/>
            </a:prstGeom>
            <a:noFill/>
          </p:spPr>
          <p:txBody>
            <a:bodyPr wrap="square" lIns="0" tIns="0" rIns="0" bIns="0" rtlCol="0">
              <a:spAutoFit/>
            </a:bodyPr>
            <a:lstStyle/>
            <a:p>
              <a:pPr defTabSz="914367"/>
              <a:r>
                <a:rPr lang="en-US" sz="2000">
                  <a:gradFill>
                    <a:gsLst>
                      <a:gs pos="2917">
                        <a:srgbClr val="1A1A1A"/>
                      </a:gs>
                      <a:gs pos="30000">
                        <a:srgbClr val="1A1A1A"/>
                      </a:gs>
                    </a:gsLst>
                    <a:lin ang="5400000" scaled="0"/>
                  </a:gradFill>
                  <a:latin typeface="Segoe UI"/>
                </a:rPr>
                <a:t>Well</a:t>
              </a:r>
            </a:p>
          </p:txBody>
        </p:sp>
        <p:sp>
          <p:nvSpPr>
            <p:cNvPr id="9" name="TextBox 8">
              <a:extLst>
                <a:ext uri="{FF2B5EF4-FFF2-40B4-BE49-F238E27FC236}">
                  <a16:creationId xmlns:a16="http://schemas.microsoft.com/office/drawing/2014/main" id="{9CF3A304-5B3D-B04B-9986-A73E8F0FE8A3}"/>
                </a:ext>
              </a:extLst>
            </p:cNvPr>
            <p:cNvSpPr txBox="1"/>
            <p:nvPr/>
          </p:nvSpPr>
          <p:spPr>
            <a:xfrm>
              <a:off x="2256692" y="5026495"/>
              <a:ext cx="1139483" cy="354479"/>
            </a:xfrm>
            <a:prstGeom prst="rect">
              <a:avLst/>
            </a:prstGeom>
            <a:noFill/>
          </p:spPr>
          <p:txBody>
            <a:bodyPr wrap="square" lIns="0" tIns="0" rIns="0" bIns="0" rtlCol="0">
              <a:spAutoFit/>
            </a:bodyPr>
            <a:lstStyle/>
            <a:p>
              <a:pPr defTabSz="914367"/>
              <a:r>
                <a:rPr lang="en-US" sz="2000">
                  <a:gradFill>
                    <a:gsLst>
                      <a:gs pos="2917">
                        <a:srgbClr val="1A1A1A"/>
                      </a:gs>
                      <a:gs pos="30000">
                        <a:srgbClr val="1A1A1A"/>
                      </a:gs>
                    </a:gsLst>
                    <a:lin ang="5400000" scaled="0"/>
                  </a:gradFill>
                  <a:latin typeface="Segoe UI"/>
                </a:rPr>
                <a:t>Log</a:t>
              </a:r>
            </a:p>
          </p:txBody>
        </p:sp>
        <p:sp>
          <p:nvSpPr>
            <p:cNvPr id="10" name="TextBox 9">
              <a:extLst>
                <a:ext uri="{FF2B5EF4-FFF2-40B4-BE49-F238E27FC236}">
                  <a16:creationId xmlns:a16="http://schemas.microsoft.com/office/drawing/2014/main" id="{B5A53155-1F12-C246-9EDE-CE0F4C1E591D}"/>
                </a:ext>
              </a:extLst>
            </p:cNvPr>
            <p:cNvSpPr txBox="1"/>
            <p:nvPr/>
          </p:nvSpPr>
          <p:spPr>
            <a:xfrm>
              <a:off x="2039168" y="5955443"/>
              <a:ext cx="1357003" cy="354479"/>
            </a:xfrm>
            <a:prstGeom prst="rect">
              <a:avLst/>
            </a:prstGeom>
            <a:noFill/>
          </p:spPr>
          <p:txBody>
            <a:bodyPr wrap="square" lIns="0" tIns="0" rIns="0" bIns="0" rtlCol="0">
              <a:spAutoFit/>
            </a:bodyPr>
            <a:lstStyle/>
            <a:p>
              <a:pPr defTabSz="914367"/>
              <a:r>
                <a:rPr lang="en-US" sz="2000" dirty="0">
                  <a:gradFill>
                    <a:gsLst>
                      <a:gs pos="2917">
                        <a:srgbClr val="1A1A1A"/>
                      </a:gs>
                      <a:gs pos="30000">
                        <a:srgbClr val="1A1A1A"/>
                      </a:gs>
                    </a:gsLst>
                    <a:lin ang="5400000" scaled="0"/>
                  </a:gradFill>
                  <a:latin typeface="Segoe UI"/>
                </a:rPr>
                <a:t>Mnemonic</a:t>
              </a:r>
            </a:p>
          </p:txBody>
        </p:sp>
        <p:cxnSp>
          <p:nvCxnSpPr>
            <p:cNvPr id="11" name="Straight Arrow Connector 10">
              <a:extLst>
                <a:ext uri="{FF2B5EF4-FFF2-40B4-BE49-F238E27FC236}">
                  <a16:creationId xmlns:a16="http://schemas.microsoft.com/office/drawing/2014/main" id="{8FD8D5CE-60F2-7E4F-AFB7-DE783F8EFE90}"/>
                </a:ext>
              </a:extLst>
            </p:cNvPr>
            <p:cNvCxnSpPr/>
            <p:nvPr/>
          </p:nvCxnSpPr>
          <p:spPr>
            <a:xfrm>
              <a:off x="2461845" y="4617060"/>
              <a:ext cx="0" cy="409435"/>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15D5230B-6F99-A249-B8D1-80C2B2C8AD45}"/>
                </a:ext>
              </a:extLst>
            </p:cNvPr>
            <p:cNvCxnSpPr/>
            <p:nvPr/>
          </p:nvCxnSpPr>
          <p:spPr>
            <a:xfrm>
              <a:off x="2461845" y="5440140"/>
              <a:ext cx="0" cy="409435"/>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65924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 name="Rectangle 144">
            <a:extLst>
              <a:ext uri="{FF2B5EF4-FFF2-40B4-BE49-F238E27FC236}">
                <a16:creationId xmlns:a16="http://schemas.microsoft.com/office/drawing/2014/main" id="{AE54D631-6339-7E49-B5BB-17027D8D37C7}"/>
              </a:ext>
            </a:extLst>
          </p:cNvPr>
          <p:cNvSpPr/>
          <p:nvPr/>
        </p:nvSpPr>
        <p:spPr>
          <a:xfrm>
            <a:off x="433806" y="546591"/>
            <a:ext cx="6096000" cy="2031325"/>
          </a:xfrm>
          <a:prstGeom prst="rect">
            <a:avLst/>
          </a:prstGeom>
        </p:spPr>
        <p:txBody>
          <a:bodyPr>
            <a:spAutoFit/>
          </a:bodyPr>
          <a:lstStyle/>
          <a:p>
            <a:pPr marL="285750" indent="-285750" defTabSz="914367">
              <a:buFont typeface="Arial" panose="020B0604020202020204" pitchFamily="34" charset="0"/>
              <a:buChar char="•"/>
            </a:pPr>
            <a:r>
              <a:rPr lang="en-US" sz="1765">
                <a:solidFill>
                  <a:srgbClr val="1A1A1A"/>
                </a:solidFill>
                <a:latin typeface="EMprint" panose="020B0503020204020204" pitchFamily="34" charset="0"/>
                <a:ea typeface="EMprint" panose="020B0503020204020204" pitchFamily="34" charset="0"/>
              </a:rPr>
              <a:t>Great flexibility in modelling drilling data as documents in Cosmos DB to optimize based on query patterns and business needs</a:t>
            </a:r>
          </a:p>
          <a:p>
            <a:pPr marL="742950" lvl="1" indent="-285750" defTabSz="914367">
              <a:buFont typeface="Arial" panose="020B0604020202020204" pitchFamily="34" charset="0"/>
              <a:buChar char="•"/>
            </a:pPr>
            <a:r>
              <a:rPr lang="en-US" sz="1765">
                <a:solidFill>
                  <a:srgbClr val="1A1A1A"/>
                </a:solidFill>
                <a:latin typeface="EMprint" panose="020B0503020204020204" pitchFamily="34" charset="0"/>
                <a:ea typeface="EMprint" panose="020B0503020204020204" pitchFamily="34" charset="0"/>
              </a:rPr>
              <a:t>Aggregation can be performed at different levels</a:t>
            </a:r>
          </a:p>
          <a:p>
            <a:pPr marL="1200150" lvl="2" indent="-285750" defTabSz="914367">
              <a:buFont typeface="Arial" panose="020B0604020202020204" pitchFamily="34" charset="0"/>
              <a:buChar char="•"/>
            </a:pPr>
            <a:r>
              <a:rPr lang="en-US" sz="1765">
                <a:solidFill>
                  <a:srgbClr val="1A1A1A"/>
                </a:solidFill>
                <a:latin typeface="EMprint" panose="020B0503020204020204" pitchFamily="34" charset="0"/>
                <a:ea typeface="EMprint" panose="020B0503020204020204" pitchFamily="34" charset="0"/>
              </a:rPr>
              <a:t>Well / Well bore</a:t>
            </a:r>
          </a:p>
          <a:p>
            <a:pPr marL="1200150" lvl="2" indent="-285750" defTabSz="914367">
              <a:buFont typeface="Arial" panose="020B0604020202020204" pitchFamily="34" charset="0"/>
              <a:buChar char="•"/>
            </a:pPr>
            <a:r>
              <a:rPr lang="en-US" sz="1765">
                <a:solidFill>
                  <a:srgbClr val="1A1A1A"/>
                </a:solidFill>
                <a:latin typeface="EMprint" panose="020B0503020204020204" pitchFamily="34" charset="0"/>
                <a:ea typeface="EMprint" panose="020B0503020204020204" pitchFamily="34" charset="0"/>
              </a:rPr>
              <a:t>Log / Log curve</a:t>
            </a:r>
          </a:p>
          <a:p>
            <a:pPr marL="742950" lvl="1" indent="-285750" defTabSz="914367">
              <a:buFont typeface="Arial" panose="020B0604020202020204" pitchFamily="34" charset="0"/>
              <a:buChar char="•"/>
            </a:pPr>
            <a:r>
              <a:rPr lang="en-US" sz="1765">
                <a:solidFill>
                  <a:srgbClr val="1A1A1A"/>
                </a:solidFill>
                <a:latin typeface="EMprint" panose="020B0503020204020204" pitchFamily="34" charset="0"/>
                <a:ea typeface="EMprint" panose="020B0503020204020204" pitchFamily="34" charset="0"/>
              </a:rPr>
              <a:t>Pivot on time / mnemonic</a:t>
            </a:r>
          </a:p>
        </p:txBody>
      </p:sp>
      <p:pic>
        <p:nvPicPr>
          <p:cNvPr id="146" name="Picture 145">
            <a:extLst>
              <a:ext uri="{FF2B5EF4-FFF2-40B4-BE49-F238E27FC236}">
                <a16:creationId xmlns:a16="http://schemas.microsoft.com/office/drawing/2014/main" id="{9DB6005E-18C7-1649-8E1B-24B6BB9520D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56719" y="2774432"/>
            <a:ext cx="8343900" cy="3791468"/>
          </a:xfrm>
          <a:prstGeom prst="rect">
            <a:avLst/>
          </a:prstGeom>
        </p:spPr>
      </p:pic>
      <p:sp>
        <p:nvSpPr>
          <p:cNvPr id="147" name="TextBox 146">
            <a:extLst>
              <a:ext uri="{FF2B5EF4-FFF2-40B4-BE49-F238E27FC236}">
                <a16:creationId xmlns:a16="http://schemas.microsoft.com/office/drawing/2014/main" id="{E37EA0FD-8CDE-4F46-8E1D-91F488EA6210}"/>
              </a:ext>
            </a:extLst>
          </p:cNvPr>
          <p:cNvSpPr txBox="1"/>
          <p:nvPr/>
        </p:nvSpPr>
        <p:spPr>
          <a:xfrm>
            <a:off x="8191500" y="1377587"/>
            <a:ext cx="3517900" cy="1200329"/>
          </a:xfrm>
          <a:prstGeom prst="rect">
            <a:avLst/>
          </a:prstGeom>
          <a:noFill/>
        </p:spPr>
        <p:txBody>
          <a:bodyPr wrap="square" rtlCol="0">
            <a:spAutoFit/>
          </a:bodyPr>
          <a:lstStyle/>
          <a:p>
            <a:pPr defTabSz="914367"/>
            <a:r>
              <a:rPr lang="en-US" sz="1765" i="1">
                <a:solidFill>
                  <a:srgbClr val="FF0000"/>
                </a:solidFill>
                <a:latin typeface="Segoe UI"/>
              </a:rPr>
              <a:t>A major O&amp;G player has successfully modelled over 2TB of WITSML data in pilot on Azure using Cosmos DB!</a:t>
            </a:r>
          </a:p>
        </p:txBody>
      </p:sp>
    </p:spTree>
    <p:extLst>
      <p:ext uri="{BB962C8B-B14F-4D97-AF65-F5344CB8AC3E}">
        <p14:creationId xmlns:p14="http://schemas.microsoft.com/office/powerpoint/2010/main" val="3670987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7" grpId="0"/>
    </p:bld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9" name="Group 348">
            <a:extLst>
              <a:ext uri="{FF2B5EF4-FFF2-40B4-BE49-F238E27FC236}">
                <a16:creationId xmlns:a16="http://schemas.microsoft.com/office/drawing/2014/main" id="{F5777F52-9096-C348-ADEE-2F0756727360}"/>
              </a:ext>
            </a:extLst>
          </p:cNvPr>
          <p:cNvGrpSpPr/>
          <p:nvPr/>
        </p:nvGrpSpPr>
        <p:grpSpPr>
          <a:xfrm>
            <a:off x="153649" y="1184233"/>
            <a:ext cx="12242075" cy="5025393"/>
            <a:chOff x="111445" y="1448001"/>
            <a:chExt cx="12242075" cy="5025393"/>
          </a:xfrm>
        </p:grpSpPr>
        <p:grpSp>
          <p:nvGrpSpPr>
            <p:cNvPr id="350" name="Group 349">
              <a:extLst>
                <a:ext uri="{FF2B5EF4-FFF2-40B4-BE49-F238E27FC236}">
                  <a16:creationId xmlns:a16="http://schemas.microsoft.com/office/drawing/2014/main" id="{714D0B34-F4B2-A848-823E-A7836D9AA7DE}"/>
                </a:ext>
              </a:extLst>
            </p:cNvPr>
            <p:cNvGrpSpPr/>
            <p:nvPr/>
          </p:nvGrpSpPr>
          <p:grpSpPr>
            <a:xfrm>
              <a:off x="111445" y="1448001"/>
              <a:ext cx="12242075" cy="5025393"/>
              <a:chOff x="98745" y="1613101"/>
              <a:chExt cx="12242075" cy="5025393"/>
            </a:xfrm>
          </p:grpSpPr>
          <p:cxnSp>
            <p:nvCxnSpPr>
              <p:cNvPr id="352" name="Straight Arrow Connector 351">
                <a:extLst>
                  <a:ext uri="{FF2B5EF4-FFF2-40B4-BE49-F238E27FC236}">
                    <a16:creationId xmlns:a16="http://schemas.microsoft.com/office/drawing/2014/main" id="{EB84A44B-1F23-B24B-8E02-29F839A10C37}"/>
                  </a:ext>
                </a:extLst>
              </p:cNvPr>
              <p:cNvCxnSpPr>
                <a:cxnSpLocks/>
                <a:stCxn id="371" idx="0"/>
                <a:endCxn id="358" idx="2"/>
              </p:cNvCxnSpPr>
              <p:nvPr/>
            </p:nvCxnSpPr>
            <p:spPr>
              <a:xfrm flipH="1" flipV="1">
                <a:off x="1674937" y="2923762"/>
                <a:ext cx="998332" cy="2545666"/>
              </a:xfrm>
              <a:prstGeom prst="straightConnector1">
                <a:avLst/>
              </a:prstGeom>
              <a:ln w="95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nvGrpSpPr>
              <p:cNvPr id="353" name="Group 352">
                <a:extLst>
                  <a:ext uri="{FF2B5EF4-FFF2-40B4-BE49-F238E27FC236}">
                    <a16:creationId xmlns:a16="http://schemas.microsoft.com/office/drawing/2014/main" id="{9A5B6F5B-BB78-9746-A680-51A63142D24B}"/>
                  </a:ext>
                </a:extLst>
              </p:cNvPr>
              <p:cNvGrpSpPr/>
              <p:nvPr/>
            </p:nvGrpSpPr>
            <p:grpSpPr>
              <a:xfrm>
                <a:off x="98745" y="1613101"/>
                <a:ext cx="12242075" cy="5025393"/>
                <a:chOff x="187645" y="1346401"/>
                <a:chExt cx="12242075" cy="5025393"/>
              </a:xfrm>
            </p:grpSpPr>
            <p:cxnSp>
              <p:nvCxnSpPr>
                <p:cNvPr id="354" name="Straight Arrow Connector 353">
                  <a:extLst>
                    <a:ext uri="{FF2B5EF4-FFF2-40B4-BE49-F238E27FC236}">
                      <a16:creationId xmlns:a16="http://schemas.microsoft.com/office/drawing/2014/main" id="{49DC8256-D63A-3249-81FE-74C2A1F34938}"/>
                    </a:ext>
                  </a:extLst>
                </p:cNvPr>
                <p:cNvCxnSpPr>
                  <a:cxnSpLocks/>
                </p:cNvCxnSpPr>
                <p:nvPr/>
              </p:nvCxnSpPr>
              <p:spPr>
                <a:xfrm flipV="1">
                  <a:off x="2136368" y="2187471"/>
                  <a:ext cx="1431489" cy="609"/>
                </a:xfrm>
                <a:prstGeom prst="straightConnector1">
                  <a:avLst/>
                </a:prstGeom>
                <a:ln w="95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98" name="TextBox 397">
                  <a:extLst>
                    <a:ext uri="{FF2B5EF4-FFF2-40B4-BE49-F238E27FC236}">
                      <a16:creationId xmlns:a16="http://schemas.microsoft.com/office/drawing/2014/main" id="{330A8FFB-5786-B648-9D10-AF391881D818}"/>
                    </a:ext>
                  </a:extLst>
                </p:cNvPr>
                <p:cNvSpPr txBox="1"/>
                <p:nvPr/>
              </p:nvSpPr>
              <p:spPr>
                <a:xfrm>
                  <a:off x="6873742" y="2317829"/>
                  <a:ext cx="1312690" cy="430887"/>
                </a:xfrm>
                <a:prstGeom prst="rect">
                  <a:avLst/>
                </a:prstGeom>
                <a:noFill/>
              </p:spPr>
              <p:txBody>
                <a:bodyPr wrap="square" rtlCol="0">
                  <a:spAutoFit/>
                </a:bodyPr>
                <a:lstStyle/>
                <a:p>
                  <a:pPr algn="ctr" defTabSz="914225">
                    <a:defRPr/>
                  </a:pPr>
                  <a:r>
                    <a:rPr lang="en-US" sz="1100" dirty="0">
                      <a:solidFill>
                        <a:prstClr val="black"/>
                      </a:solidFill>
                      <a:latin typeface="Segoe UI Light" panose="020B0502040204020203" pitchFamily="34" charset="0"/>
                      <a:cs typeface="Segoe UI Light" panose="020B0502040204020203" pitchFamily="34" charset="0"/>
                    </a:rPr>
                    <a:t>Azure Cosmos DB collections</a:t>
                  </a:r>
                </a:p>
              </p:txBody>
            </p:sp>
            <p:cxnSp>
              <p:nvCxnSpPr>
                <p:cNvPr id="356" name="Straight Arrow Connector 355">
                  <a:extLst>
                    <a:ext uri="{FF2B5EF4-FFF2-40B4-BE49-F238E27FC236}">
                      <a16:creationId xmlns:a16="http://schemas.microsoft.com/office/drawing/2014/main" id="{63057199-B6EA-C846-B76C-61E4B69020BB}"/>
                    </a:ext>
                  </a:extLst>
                </p:cNvPr>
                <p:cNvCxnSpPr>
                  <a:cxnSpLocks/>
                </p:cNvCxnSpPr>
                <p:nvPr/>
              </p:nvCxnSpPr>
              <p:spPr>
                <a:xfrm flipV="1">
                  <a:off x="5231793" y="2187471"/>
                  <a:ext cx="1575814" cy="1"/>
                </a:xfrm>
                <a:prstGeom prst="straightConnector1">
                  <a:avLst/>
                </a:prstGeom>
                <a:ln w="95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57" name="Straight Arrow Connector 356">
                  <a:extLst>
                    <a:ext uri="{FF2B5EF4-FFF2-40B4-BE49-F238E27FC236}">
                      <a16:creationId xmlns:a16="http://schemas.microsoft.com/office/drawing/2014/main" id="{57201A33-2EFF-2847-A60A-0372B9A17DD7}"/>
                    </a:ext>
                  </a:extLst>
                </p:cNvPr>
                <p:cNvCxnSpPr>
                  <a:cxnSpLocks/>
                  <a:stCxn id="398" idx="2"/>
                </p:cNvCxnSpPr>
                <p:nvPr/>
              </p:nvCxnSpPr>
              <p:spPr>
                <a:xfrm flipH="1">
                  <a:off x="6553200" y="2748716"/>
                  <a:ext cx="976887" cy="1127139"/>
                </a:xfrm>
                <a:prstGeom prst="straightConnector1">
                  <a:avLst/>
                </a:prstGeom>
                <a:ln w="95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58" name="TextBox 357">
                  <a:extLst>
                    <a:ext uri="{FF2B5EF4-FFF2-40B4-BE49-F238E27FC236}">
                      <a16:creationId xmlns:a16="http://schemas.microsoft.com/office/drawing/2014/main" id="{F2728A5B-B94E-C84E-A78C-2085A453297B}"/>
                    </a:ext>
                  </a:extLst>
                </p:cNvPr>
                <p:cNvSpPr txBox="1"/>
                <p:nvPr/>
              </p:nvSpPr>
              <p:spPr>
                <a:xfrm>
                  <a:off x="1051174" y="2226175"/>
                  <a:ext cx="1425326" cy="430887"/>
                </a:xfrm>
                <a:prstGeom prst="rect">
                  <a:avLst/>
                </a:prstGeom>
                <a:noFill/>
              </p:spPr>
              <p:txBody>
                <a:bodyPr wrap="square" rtlCol="0">
                  <a:spAutoFit/>
                </a:bodyPr>
                <a:lstStyle/>
                <a:p>
                  <a:pPr algn="ctr" defTabSz="914225">
                    <a:defRPr/>
                  </a:pPr>
                  <a:r>
                    <a:rPr lang="en-US" sz="1100" dirty="0">
                      <a:solidFill>
                        <a:prstClr val="black"/>
                      </a:solidFill>
                      <a:latin typeface="Segoe UI Light" panose="020B0502040204020203" pitchFamily="34" charset="0"/>
                      <a:cs typeface="Segoe UI Light" panose="020B0502040204020203" pitchFamily="34" charset="0"/>
                    </a:rPr>
                    <a:t>Azure </a:t>
                  </a:r>
                </a:p>
                <a:p>
                  <a:pPr algn="ctr" defTabSz="914225">
                    <a:defRPr/>
                  </a:pPr>
                  <a:r>
                    <a:rPr lang="en-US" sz="1100" dirty="0">
                      <a:solidFill>
                        <a:prstClr val="black"/>
                      </a:solidFill>
                      <a:latin typeface="Segoe UI Light" panose="020B0502040204020203" pitchFamily="34" charset="0"/>
                      <a:cs typeface="Segoe UI Light" panose="020B0502040204020203" pitchFamily="34" charset="0"/>
                    </a:rPr>
                    <a:t>IoT Hub</a:t>
                  </a:r>
                </a:p>
              </p:txBody>
            </p:sp>
            <p:grpSp>
              <p:nvGrpSpPr>
                <p:cNvPr id="359" name="Group 358">
                  <a:extLst>
                    <a:ext uri="{FF2B5EF4-FFF2-40B4-BE49-F238E27FC236}">
                      <a16:creationId xmlns:a16="http://schemas.microsoft.com/office/drawing/2014/main" id="{455DC9A5-0E84-EA4A-97DE-17372D36E44B}"/>
                    </a:ext>
                  </a:extLst>
                </p:cNvPr>
                <p:cNvGrpSpPr/>
                <p:nvPr/>
              </p:nvGrpSpPr>
              <p:grpSpPr>
                <a:xfrm>
                  <a:off x="3341873" y="1403476"/>
                  <a:ext cx="1994820" cy="2036547"/>
                  <a:chOff x="3778550" y="1200276"/>
                  <a:chExt cx="1994820" cy="2036547"/>
                </a:xfrm>
              </p:grpSpPr>
              <p:sp>
                <p:nvSpPr>
                  <p:cNvPr id="394" name="TextBox 393">
                    <a:extLst>
                      <a:ext uri="{FF2B5EF4-FFF2-40B4-BE49-F238E27FC236}">
                        <a16:creationId xmlns:a16="http://schemas.microsoft.com/office/drawing/2014/main" id="{9871A578-F910-A64B-9077-224406039D8C}"/>
                      </a:ext>
                    </a:extLst>
                  </p:cNvPr>
                  <p:cNvSpPr txBox="1"/>
                  <p:nvPr/>
                </p:nvSpPr>
                <p:spPr>
                  <a:xfrm>
                    <a:off x="4080745" y="1839452"/>
                    <a:ext cx="1312690" cy="600164"/>
                  </a:xfrm>
                  <a:prstGeom prst="rect">
                    <a:avLst/>
                  </a:prstGeom>
                  <a:noFill/>
                </p:spPr>
                <p:txBody>
                  <a:bodyPr wrap="square" rtlCol="0">
                    <a:spAutoFit/>
                  </a:bodyPr>
                  <a:lstStyle/>
                  <a:p>
                    <a:pPr algn="ctr" defTabSz="914225">
                      <a:defRPr/>
                    </a:pPr>
                    <a:r>
                      <a:rPr lang="en-US" sz="1100" dirty="0">
                        <a:solidFill>
                          <a:prstClr val="black"/>
                        </a:solidFill>
                        <a:latin typeface="Segoe UI Light" panose="020B0502040204020203" pitchFamily="34" charset="0"/>
                        <a:cs typeface="Segoe UI Light" panose="020B0502040204020203" pitchFamily="34" charset="0"/>
                      </a:rPr>
                      <a:t>Apache Spark Streaming on</a:t>
                    </a:r>
                  </a:p>
                  <a:p>
                    <a:pPr algn="ctr" defTabSz="914225">
                      <a:defRPr/>
                    </a:pPr>
                    <a:r>
                      <a:rPr lang="en-US" sz="1100" dirty="0">
                        <a:solidFill>
                          <a:prstClr val="black"/>
                        </a:solidFill>
                        <a:latin typeface="Segoe UI Light" panose="020B0502040204020203" pitchFamily="34" charset="0"/>
                        <a:cs typeface="Segoe UI Light" panose="020B0502040204020203" pitchFamily="34" charset="0"/>
                      </a:rPr>
                      <a:t>Azure Databricks</a:t>
                    </a:r>
                  </a:p>
                </p:txBody>
              </p:sp>
              <p:sp>
                <p:nvSpPr>
                  <p:cNvPr id="395" name="TextBox 394">
                    <a:extLst>
                      <a:ext uri="{FF2B5EF4-FFF2-40B4-BE49-F238E27FC236}">
                        <a16:creationId xmlns:a16="http://schemas.microsoft.com/office/drawing/2014/main" id="{55B589FA-FD31-3A4D-B0E5-20F5304625C9}"/>
                      </a:ext>
                    </a:extLst>
                  </p:cNvPr>
                  <p:cNvSpPr txBox="1"/>
                  <p:nvPr/>
                </p:nvSpPr>
                <p:spPr>
                  <a:xfrm>
                    <a:off x="3778550" y="2467382"/>
                    <a:ext cx="1994820" cy="769441"/>
                  </a:xfrm>
                  <a:prstGeom prst="rect">
                    <a:avLst/>
                  </a:prstGeom>
                  <a:noFill/>
                </p:spPr>
                <p:txBody>
                  <a:bodyPr wrap="square" rtlCol="0">
                    <a:spAutoFit/>
                  </a:bodyPr>
                  <a:lstStyle/>
                  <a:p>
                    <a:pPr algn="ctr" defTabSz="914225">
                      <a:defRPr/>
                    </a:pPr>
                    <a:r>
                      <a:rPr lang="en-US" sz="1100" dirty="0">
                        <a:solidFill>
                          <a:prstClr val="black"/>
                        </a:solidFill>
                        <a:latin typeface="Segoe UI Light" panose="020B0502040204020203" pitchFamily="34" charset="0"/>
                        <a:cs typeface="Segoe UI Light" panose="020B0502040204020203" pitchFamily="34" charset="0"/>
                      </a:rPr>
                      <a:t>(ETL / Schema conversion / Aggregations over sliding windows / Streaming analytics )</a:t>
                    </a:r>
                  </a:p>
                </p:txBody>
              </p:sp>
              <p:pic>
                <p:nvPicPr>
                  <p:cNvPr id="396" name="Picture 4" descr="https://datasciencebe.files.wordpress.com/2015/10/spark-streaming-logo_0.png">
                    <a:extLst>
                      <a:ext uri="{FF2B5EF4-FFF2-40B4-BE49-F238E27FC236}">
                        <a16:creationId xmlns:a16="http://schemas.microsoft.com/office/drawing/2014/main" id="{02B321BC-31A4-9F48-B62C-35008A145F0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67440" y="1200276"/>
                    <a:ext cx="1021932" cy="696192"/>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360" name="Straight Arrow Connector 359">
                  <a:extLst>
                    <a:ext uri="{FF2B5EF4-FFF2-40B4-BE49-F238E27FC236}">
                      <a16:creationId xmlns:a16="http://schemas.microsoft.com/office/drawing/2014/main" id="{66CEDC38-812E-9040-89A0-939A97E01016}"/>
                    </a:ext>
                  </a:extLst>
                </p:cNvPr>
                <p:cNvCxnSpPr>
                  <a:cxnSpLocks/>
                  <a:stCxn id="398" idx="2"/>
                  <a:endCxn id="391" idx="0"/>
                </p:cNvCxnSpPr>
                <p:nvPr/>
              </p:nvCxnSpPr>
              <p:spPr>
                <a:xfrm flipH="1">
                  <a:off x="7249922" y="2748716"/>
                  <a:ext cx="280165" cy="1177711"/>
                </a:xfrm>
                <a:prstGeom prst="straightConnector1">
                  <a:avLst/>
                </a:prstGeom>
                <a:ln w="95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61" name="Straight Arrow Connector 360">
                  <a:extLst>
                    <a:ext uri="{FF2B5EF4-FFF2-40B4-BE49-F238E27FC236}">
                      <a16:creationId xmlns:a16="http://schemas.microsoft.com/office/drawing/2014/main" id="{D59C564E-DCD1-0644-BC6F-F906EAA98663}"/>
                    </a:ext>
                  </a:extLst>
                </p:cNvPr>
                <p:cNvCxnSpPr>
                  <a:cxnSpLocks/>
                </p:cNvCxnSpPr>
                <p:nvPr/>
              </p:nvCxnSpPr>
              <p:spPr>
                <a:xfrm>
                  <a:off x="7530087" y="2772964"/>
                  <a:ext cx="581554" cy="1073901"/>
                </a:xfrm>
                <a:prstGeom prst="straightConnector1">
                  <a:avLst/>
                </a:prstGeom>
                <a:ln w="95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nvGrpSpPr>
                <p:cNvPr id="362" name="Group 361">
                  <a:extLst>
                    <a:ext uri="{FF2B5EF4-FFF2-40B4-BE49-F238E27FC236}">
                      <a16:creationId xmlns:a16="http://schemas.microsoft.com/office/drawing/2014/main" id="{7D2B3294-1146-1048-8668-7D5B6BCDBA40}"/>
                    </a:ext>
                  </a:extLst>
                </p:cNvPr>
                <p:cNvGrpSpPr/>
                <p:nvPr/>
              </p:nvGrpSpPr>
              <p:grpSpPr>
                <a:xfrm>
                  <a:off x="6050106" y="3926427"/>
                  <a:ext cx="2742181" cy="1914455"/>
                  <a:chOff x="6044468" y="3886944"/>
                  <a:chExt cx="2742181" cy="1914455"/>
                </a:xfrm>
              </p:grpSpPr>
              <p:sp>
                <p:nvSpPr>
                  <p:cNvPr id="384" name="TextBox 383">
                    <a:extLst>
                      <a:ext uri="{FF2B5EF4-FFF2-40B4-BE49-F238E27FC236}">
                        <a16:creationId xmlns:a16="http://schemas.microsoft.com/office/drawing/2014/main" id="{A1C48BA9-2B39-BC4A-9824-566CAA1651E0}"/>
                      </a:ext>
                    </a:extLst>
                  </p:cNvPr>
                  <p:cNvSpPr txBox="1"/>
                  <p:nvPr/>
                </p:nvSpPr>
                <p:spPr>
                  <a:xfrm>
                    <a:off x="7501683" y="5031958"/>
                    <a:ext cx="1284966" cy="769441"/>
                  </a:xfrm>
                  <a:prstGeom prst="rect">
                    <a:avLst/>
                  </a:prstGeom>
                  <a:noFill/>
                </p:spPr>
                <p:txBody>
                  <a:bodyPr wrap="square" rtlCol="0">
                    <a:spAutoFit/>
                  </a:bodyPr>
                  <a:lstStyle/>
                  <a:p>
                    <a:pPr algn="ctr" defTabSz="914225">
                      <a:defRPr/>
                    </a:pPr>
                    <a:r>
                      <a:rPr lang="en-US" sz="1100" dirty="0">
                        <a:solidFill>
                          <a:prstClr val="black"/>
                        </a:solidFill>
                        <a:latin typeface="Segoe UI Light" panose="020B0502040204020203" pitchFamily="34" charset="0"/>
                        <a:cs typeface="Segoe UI Light" panose="020B0502040204020203" pitchFamily="34" charset="0"/>
                      </a:rPr>
                      <a:t>(Monitoring service to track progress of drilling)</a:t>
                    </a:r>
                  </a:p>
                </p:txBody>
              </p:sp>
              <p:grpSp>
                <p:nvGrpSpPr>
                  <p:cNvPr id="385" name="Group 384">
                    <a:extLst>
                      <a:ext uri="{FF2B5EF4-FFF2-40B4-BE49-F238E27FC236}">
                        <a16:creationId xmlns:a16="http://schemas.microsoft.com/office/drawing/2014/main" id="{20001B76-4ED9-D945-9B39-54FA8D4A4754}"/>
                      </a:ext>
                    </a:extLst>
                  </p:cNvPr>
                  <p:cNvGrpSpPr/>
                  <p:nvPr/>
                </p:nvGrpSpPr>
                <p:grpSpPr>
                  <a:xfrm>
                    <a:off x="6044468" y="3886944"/>
                    <a:ext cx="2496138" cy="1148263"/>
                    <a:chOff x="6870247" y="3311110"/>
                    <a:chExt cx="2496138" cy="1148263"/>
                  </a:xfrm>
                </p:grpSpPr>
                <p:pic>
                  <p:nvPicPr>
                    <p:cNvPr id="387" name="Picture 2" descr="https://www.codeproject.com/KB/azure/1169531/iot-workflow.png">
                      <a:extLst>
                        <a:ext uri="{FF2B5EF4-FFF2-40B4-BE49-F238E27FC236}">
                          <a16:creationId xmlns:a16="http://schemas.microsoft.com/office/drawing/2014/main" id="{97822FA3-A826-B84B-A1DE-F1F9CA53C59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54567" t="16331" r="28444" b="17187"/>
                    <a:stretch/>
                  </p:blipFill>
                  <p:spPr bwMode="auto">
                    <a:xfrm>
                      <a:off x="6897683" y="3358835"/>
                      <a:ext cx="738008" cy="632401"/>
                    </a:xfrm>
                    <a:prstGeom prst="rect">
                      <a:avLst/>
                    </a:prstGeom>
                    <a:noFill/>
                    <a:extLst>
                      <a:ext uri="{909E8E84-426E-40DD-AFC4-6F175D3DCCD1}">
                        <a14:hiddenFill xmlns:a14="http://schemas.microsoft.com/office/drawing/2010/main">
                          <a:solidFill>
                            <a:srgbClr val="FFFFFF"/>
                          </a:solidFill>
                        </a14:hiddenFill>
                      </a:ext>
                    </a:extLst>
                  </p:spPr>
                </p:pic>
                <p:grpSp>
                  <p:nvGrpSpPr>
                    <p:cNvPr id="388" name="Group 387">
                      <a:extLst>
                        <a:ext uri="{FF2B5EF4-FFF2-40B4-BE49-F238E27FC236}">
                          <a16:creationId xmlns:a16="http://schemas.microsoft.com/office/drawing/2014/main" id="{7730C501-B2AB-884B-96CF-1406053CAB2D}"/>
                        </a:ext>
                      </a:extLst>
                    </p:cNvPr>
                    <p:cNvGrpSpPr/>
                    <p:nvPr/>
                  </p:nvGrpSpPr>
                  <p:grpSpPr>
                    <a:xfrm>
                      <a:off x="6870247" y="3311110"/>
                      <a:ext cx="2496138" cy="1148263"/>
                      <a:chOff x="6870247" y="3311110"/>
                      <a:chExt cx="2496138" cy="1148263"/>
                    </a:xfrm>
                  </p:grpSpPr>
                  <p:pic>
                    <p:nvPicPr>
                      <p:cNvPr id="389" name="Picture 388">
                        <a:extLst>
                          <a:ext uri="{FF2B5EF4-FFF2-40B4-BE49-F238E27FC236}">
                            <a16:creationId xmlns:a16="http://schemas.microsoft.com/office/drawing/2014/main" id="{6EE69FBB-15BE-9248-A482-85EA39FF596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667207" y="3401006"/>
                        <a:ext cx="542647" cy="548058"/>
                      </a:xfrm>
                      <a:prstGeom prst="rect">
                        <a:avLst/>
                      </a:prstGeom>
                    </p:spPr>
                  </p:pic>
                  <p:sp>
                    <p:nvSpPr>
                      <p:cNvPr id="390" name="TextBox 389">
                        <a:extLst>
                          <a:ext uri="{FF2B5EF4-FFF2-40B4-BE49-F238E27FC236}">
                            <a16:creationId xmlns:a16="http://schemas.microsoft.com/office/drawing/2014/main" id="{2829F374-45C1-EA42-BFFC-9F0508541BF1}"/>
                          </a:ext>
                        </a:extLst>
                      </p:cNvPr>
                      <p:cNvSpPr txBox="1"/>
                      <p:nvPr/>
                    </p:nvSpPr>
                    <p:spPr>
                      <a:xfrm>
                        <a:off x="8573505" y="4028486"/>
                        <a:ext cx="792880" cy="430887"/>
                      </a:xfrm>
                      <a:prstGeom prst="rect">
                        <a:avLst/>
                      </a:prstGeom>
                      <a:noFill/>
                    </p:spPr>
                    <p:txBody>
                      <a:bodyPr wrap="square" rtlCol="0">
                        <a:spAutoFit/>
                      </a:bodyPr>
                      <a:lstStyle/>
                      <a:p>
                        <a:pPr algn="ctr" defTabSz="914225">
                          <a:defRPr/>
                        </a:pPr>
                        <a:r>
                          <a:rPr lang="en-US" sz="1100" dirty="0">
                            <a:solidFill>
                              <a:prstClr val="black"/>
                            </a:solidFill>
                            <a:latin typeface="Segoe UI Light" panose="020B0502040204020203" pitchFamily="34" charset="0"/>
                            <a:cs typeface="Segoe UI Light" panose="020B0502040204020203" pitchFamily="34" charset="0"/>
                          </a:rPr>
                          <a:t>Azure Web App</a:t>
                        </a:r>
                      </a:p>
                    </p:txBody>
                  </p:sp>
                  <p:pic>
                    <p:nvPicPr>
                      <p:cNvPr id="391" name="Picture 390">
                        <a:extLst>
                          <a:ext uri="{FF2B5EF4-FFF2-40B4-BE49-F238E27FC236}">
                            <a16:creationId xmlns:a16="http://schemas.microsoft.com/office/drawing/2014/main" id="{BCD5CD10-4842-9241-BF57-8CD045969D01}"/>
                          </a:ext>
                        </a:extLst>
                      </p:cNvPr>
                      <p:cNvPicPr>
                        <a:picLocks noChangeAspect="1"/>
                      </p:cNvPicPr>
                      <p:nvPr/>
                    </p:nvPicPr>
                    <p:blipFill rotWithShape="1">
                      <a:blip r:embed="rId6">
                        <a:extLst>
                          <a:ext uri="{28A0092B-C50C-407E-A947-70E740481C1C}">
                            <a14:useLocalDpi xmlns:a14="http://schemas.microsoft.com/office/drawing/2010/main" val="0"/>
                          </a:ext>
                        </a:extLst>
                      </a:blip>
                      <a:srcRect t="4306"/>
                      <a:stretch/>
                    </p:blipFill>
                    <p:spPr>
                      <a:xfrm>
                        <a:off x="7635691" y="3311110"/>
                        <a:ext cx="868744" cy="768987"/>
                      </a:xfrm>
                      <a:prstGeom prst="rect">
                        <a:avLst/>
                      </a:prstGeom>
                    </p:spPr>
                  </p:pic>
                  <p:sp>
                    <p:nvSpPr>
                      <p:cNvPr id="392" name="TextBox 391">
                        <a:extLst>
                          <a:ext uri="{FF2B5EF4-FFF2-40B4-BE49-F238E27FC236}">
                            <a16:creationId xmlns:a16="http://schemas.microsoft.com/office/drawing/2014/main" id="{CC91EE53-EDD5-3249-9DA5-D875996FAAD5}"/>
                          </a:ext>
                        </a:extLst>
                      </p:cNvPr>
                      <p:cNvSpPr txBox="1"/>
                      <p:nvPr/>
                    </p:nvSpPr>
                    <p:spPr>
                      <a:xfrm>
                        <a:off x="7673623" y="4000989"/>
                        <a:ext cx="792880" cy="430887"/>
                      </a:xfrm>
                      <a:prstGeom prst="rect">
                        <a:avLst/>
                      </a:prstGeom>
                      <a:noFill/>
                    </p:spPr>
                    <p:txBody>
                      <a:bodyPr wrap="square" rtlCol="0">
                        <a:spAutoFit/>
                      </a:bodyPr>
                      <a:lstStyle/>
                      <a:p>
                        <a:pPr algn="ctr" defTabSz="914225">
                          <a:defRPr/>
                        </a:pPr>
                        <a:r>
                          <a:rPr lang="en-US" sz="1100">
                            <a:solidFill>
                              <a:prstClr val="black"/>
                            </a:solidFill>
                            <a:latin typeface="Segoe UI Light" panose="020B0502040204020203" pitchFamily="34" charset="0"/>
                            <a:cs typeface="Segoe UI Light" panose="020B0502040204020203" pitchFamily="34" charset="0"/>
                          </a:rPr>
                          <a:t>Azure Logic App</a:t>
                        </a:r>
                        <a:endParaRPr lang="en-US" sz="1100" dirty="0">
                          <a:solidFill>
                            <a:prstClr val="black"/>
                          </a:solidFill>
                          <a:latin typeface="Segoe UI Light" panose="020B0502040204020203" pitchFamily="34" charset="0"/>
                          <a:cs typeface="Segoe UI Light" panose="020B0502040204020203" pitchFamily="34" charset="0"/>
                        </a:endParaRPr>
                      </a:p>
                    </p:txBody>
                  </p:sp>
                  <p:sp>
                    <p:nvSpPr>
                      <p:cNvPr id="393" name="TextBox 392">
                        <a:extLst>
                          <a:ext uri="{FF2B5EF4-FFF2-40B4-BE49-F238E27FC236}">
                            <a16:creationId xmlns:a16="http://schemas.microsoft.com/office/drawing/2014/main" id="{37A7D86B-66B5-054A-98C7-D1829D087827}"/>
                          </a:ext>
                        </a:extLst>
                      </p:cNvPr>
                      <p:cNvSpPr txBox="1"/>
                      <p:nvPr/>
                    </p:nvSpPr>
                    <p:spPr>
                      <a:xfrm>
                        <a:off x="6870247" y="4015484"/>
                        <a:ext cx="792880" cy="430887"/>
                      </a:xfrm>
                      <a:prstGeom prst="rect">
                        <a:avLst/>
                      </a:prstGeom>
                      <a:noFill/>
                    </p:spPr>
                    <p:txBody>
                      <a:bodyPr wrap="square" rtlCol="0">
                        <a:spAutoFit/>
                      </a:bodyPr>
                      <a:lstStyle/>
                      <a:p>
                        <a:pPr algn="ctr" defTabSz="914225">
                          <a:defRPr/>
                        </a:pPr>
                        <a:r>
                          <a:rPr lang="en-US" sz="1100" dirty="0">
                            <a:solidFill>
                              <a:prstClr val="black"/>
                            </a:solidFill>
                            <a:latin typeface="Segoe UI Light" panose="020B0502040204020203" pitchFamily="34" charset="0"/>
                            <a:cs typeface="Segoe UI Light" panose="020B0502040204020203" pitchFamily="34" charset="0"/>
                          </a:rPr>
                          <a:t>Azure Function</a:t>
                        </a:r>
                      </a:p>
                    </p:txBody>
                  </p:sp>
                </p:grpSp>
              </p:grpSp>
              <p:sp>
                <p:nvSpPr>
                  <p:cNvPr id="386" name="TextBox 385">
                    <a:extLst>
                      <a:ext uri="{FF2B5EF4-FFF2-40B4-BE49-F238E27FC236}">
                        <a16:creationId xmlns:a16="http://schemas.microsoft.com/office/drawing/2014/main" id="{AC02F8F3-EB52-C94F-A6E4-00321BA25014}"/>
                      </a:ext>
                    </a:extLst>
                  </p:cNvPr>
                  <p:cNvSpPr txBox="1"/>
                  <p:nvPr/>
                </p:nvSpPr>
                <p:spPr>
                  <a:xfrm>
                    <a:off x="6248366" y="5007710"/>
                    <a:ext cx="1284966" cy="769441"/>
                  </a:xfrm>
                  <a:prstGeom prst="rect">
                    <a:avLst/>
                  </a:prstGeom>
                  <a:noFill/>
                </p:spPr>
                <p:txBody>
                  <a:bodyPr wrap="square" rtlCol="0">
                    <a:spAutoFit/>
                  </a:bodyPr>
                  <a:lstStyle/>
                  <a:p>
                    <a:pPr algn="ctr" defTabSz="914225">
                      <a:defRPr/>
                    </a:pPr>
                    <a:r>
                      <a:rPr lang="en-US" sz="1100" dirty="0">
                        <a:solidFill>
                          <a:prstClr val="black"/>
                        </a:solidFill>
                        <a:latin typeface="Segoe UI Light" panose="020B0502040204020203" pitchFamily="34" charset="0"/>
                        <a:cs typeface="Segoe UI Light" panose="020B0502040204020203" pitchFamily="34" charset="0"/>
                      </a:rPr>
                      <a:t>(Push notifications or updates to downstream processes)</a:t>
                    </a:r>
                  </a:p>
                </p:txBody>
              </p:sp>
            </p:grpSp>
            <p:cxnSp>
              <p:nvCxnSpPr>
                <p:cNvPr id="363" name="Straight Arrow Connector 362">
                  <a:extLst>
                    <a:ext uri="{FF2B5EF4-FFF2-40B4-BE49-F238E27FC236}">
                      <a16:creationId xmlns:a16="http://schemas.microsoft.com/office/drawing/2014/main" id="{4AD80B2D-1706-F045-B0F7-95D61ECD9F41}"/>
                    </a:ext>
                  </a:extLst>
                </p:cNvPr>
                <p:cNvCxnSpPr>
                  <a:cxnSpLocks/>
                </p:cNvCxnSpPr>
                <p:nvPr/>
              </p:nvCxnSpPr>
              <p:spPr>
                <a:xfrm flipV="1">
                  <a:off x="8285049" y="2186677"/>
                  <a:ext cx="1250973" cy="796"/>
                </a:xfrm>
                <a:prstGeom prst="straightConnector1">
                  <a:avLst/>
                </a:prstGeom>
                <a:ln w="95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nvGrpSpPr>
                <p:cNvPr id="364" name="Group 363">
                  <a:extLst>
                    <a:ext uri="{FF2B5EF4-FFF2-40B4-BE49-F238E27FC236}">
                      <a16:creationId xmlns:a16="http://schemas.microsoft.com/office/drawing/2014/main" id="{A3500381-E4AF-2041-BCB6-D37519093F2A}"/>
                    </a:ext>
                  </a:extLst>
                </p:cNvPr>
                <p:cNvGrpSpPr/>
                <p:nvPr/>
              </p:nvGrpSpPr>
              <p:grpSpPr>
                <a:xfrm>
                  <a:off x="8958811" y="3943701"/>
                  <a:ext cx="2095922" cy="1372961"/>
                  <a:chOff x="9213954" y="3270375"/>
                  <a:chExt cx="2325669" cy="1457819"/>
                </a:xfrm>
              </p:grpSpPr>
              <p:pic>
                <p:nvPicPr>
                  <p:cNvPr id="381" name="Picture 380">
                    <a:extLst>
                      <a:ext uri="{FF2B5EF4-FFF2-40B4-BE49-F238E27FC236}">
                        <a16:creationId xmlns:a16="http://schemas.microsoft.com/office/drawing/2014/main" id="{29AB79DC-D2C0-204C-B00A-571D0E735ED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213954" y="3270375"/>
                    <a:ext cx="885639" cy="997745"/>
                  </a:xfrm>
                  <a:prstGeom prst="rect">
                    <a:avLst/>
                  </a:prstGeom>
                </p:spPr>
              </p:pic>
              <p:sp>
                <p:nvSpPr>
                  <p:cNvPr id="382" name="TextBox 381">
                    <a:extLst>
                      <a:ext uri="{FF2B5EF4-FFF2-40B4-BE49-F238E27FC236}">
                        <a16:creationId xmlns:a16="http://schemas.microsoft.com/office/drawing/2014/main" id="{18DBC223-4F11-2245-BD79-39F4357BB677}"/>
                      </a:ext>
                    </a:extLst>
                  </p:cNvPr>
                  <p:cNvSpPr txBox="1"/>
                  <p:nvPr/>
                </p:nvSpPr>
                <p:spPr>
                  <a:xfrm>
                    <a:off x="9360851" y="4270675"/>
                    <a:ext cx="1994820" cy="457519"/>
                  </a:xfrm>
                  <a:prstGeom prst="rect">
                    <a:avLst/>
                  </a:prstGeom>
                  <a:noFill/>
                </p:spPr>
                <p:txBody>
                  <a:bodyPr wrap="square" rtlCol="0">
                    <a:spAutoFit/>
                  </a:bodyPr>
                  <a:lstStyle/>
                  <a:p>
                    <a:pPr algn="ctr" defTabSz="914225">
                      <a:defRPr/>
                    </a:pPr>
                    <a:r>
                      <a:rPr lang="en-US" sz="1100" dirty="0">
                        <a:solidFill>
                          <a:prstClr val="black"/>
                        </a:solidFill>
                        <a:latin typeface="Segoe UI Light" panose="020B0502040204020203" pitchFamily="34" charset="0"/>
                        <a:cs typeface="Segoe UI Light" panose="020B0502040204020203" pitchFamily="34" charset="0"/>
                      </a:rPr>
                      <a:t>(Business reporting / visualization)</a:t>
                    </a:r>
                  </a:p>
                </p:txBody>
              </p:sp>
              <p:pic>
                <p:nvPicPr>
                  <p:cNvPr id="383" name="Picture 382">
                    <a:extLst>
                      <a:ext uri="{FF2B5EF4-FFF2-40B4-BE49-F238E27FC236}">
                        <a16:creationId xmlns:a16="http://schemas.microsoft.com/office/drawing/2014/main" id="{7505A683-3137-E84B-8DCA-C28D5FD08F38}"/>
                      </a:ext>
                    </a:extLst>
                  </p:cNvPr>
                  <p:cNvPicPr>
                    <a:picLocks noChangeAspect="1"/>
                  </p:cNvPicPr>
                  <p:nvPr/>
                </p:nvPicPr>
                <p:blipFill>
                  <a:blip r:embed="rId8"/>
                  <a:stretch>
                    <a:fillRect/>
                  </a:stretch>
                </p:blipFill>
                <p:spPr>
                  <a:xfrm>
                    <a:off x="10099593" y="3566739"/>
                    <a:ext cx="1440030" cy="343494"/>
                  </a:xfrm>
                  <a:prstGeom prst="rect">
                    <a:avLst/>
                  </a:prstGeom>
                </p:spPr>
              </p:pic>
            </p:grpSp>
            <p:grpSp>
              <p:nvGrpSpPr>
                <p:cNvPr id="365" name="Group 364">
                  <a:extLst>
                    <a:ext uri="{FF2B5EF4-FFF2-40B4-BE49-F238E27FC236}">
                      <a16:creationId xmlns:a16="http://schemas.microsoft.com/office/drawing/2014/main" id="{76375FD1-CFD8-B14F-8AD5-E0936220A08D}"/>
                    </a:ext>
                  </a:extLst>
                </p:cNvPr>
                <p:cNvGrpSpPr/>
                <p:nvPr/>
              </p:nvGrpSpPr>
              <p:grpSpPr>
                <a:xfrm>
                  <a:off x="10631964" y="4037271"/>
                  <a:ext cx="1797756" cy="1266850"/>
                  <a:chOff x="10785033" y="3515552"/>
                  <a:chExt cx="1797756" cy="1266850"/>
                </a:xfrm>
              </p:grpSpPr>
              <p:pic>
                <p:nvPicPr>
                  <p:cNvPr id="379" name="Picture 378">
                    <a:extLst>
                      <a:ext uri="{FF2B5EF4-FFF2-40B4-BE49-F238E27FC236}">
                        <a16:creationId xmlns:a16="http://schemas.microsoft.com/office/drawing/2014/main" id="{E6DBBFB4-C89F-5B44-95F7-FD04112B62F9}"/>
                      </a:ext>
                    </a:extLst>
                  </p:cNvPr>
                  <p:cNvPicPr>
                    <a:picLocks noChangeAspect="1"/>
                  </p:cNvPicPr>
                  <p:nvPr/>
                </p:nvPicPr>
                <p:blipFill>
                  <a:blip r:embed="rId9"/>
                  <a:stretch>
                    <a:fillRect/>
                  </a:stretch>
                </p:blipFill>
                <p:spPr>
                  <a:xfrm>
                    <a:off x="11261003" y="3515552"/>
                    <a:ext cx="729730" cy="615179"/>
                  </a:xfrm>
                  <a:prstGeom prst="rect">
                    <a:avLst/>
                  </a:prstGeom>
                </p:spPr>
              </p:pic>
              <p:sp>
                <p:nvSpPr>
                  <p:cNvPr id="380" name="TextBox 379">
                    <a:extLst>
                      <a:ext uri="{FF2B5EF4-FFF2-40B4-BE49-F238E27FC236}">
                        <a16:creationId xmlns:a16="http://schemas.microsoft.com/office/drawing/2014/main" id="{4EB374AA-AB0E-FD4A-BFC2-38F4B7AD42A5}"/>
                      </a:ext>
                    </a:extLst>
                  </p:cNvPr>
                  <p:cNvSpPr txBox="1"/>
                  <p:nvPr/>
                </p:nvSpPr>
                <p:spPr>
                  <a:xfrm>
                    <a:off x="10785033" y="4351515"/>
                    <a:ext cx="1797756" cy="430887"/>
                  </a:xfrm>
                  <a:prstGeom prst="rect">
                    <a:avLst/>
                  </a:prstGeom>
                  <a:noFill/>
                </p:spPr>
                <p:txBody>
                  <a:bodyPr wrap="square" rtlCol="0">
                    <a:spAutoFit/>
                  </a:bodyPr>
                  <a:lstStyle/>
                  <a:p>
                    <a:pPr algn="ctr" defTabSz="914225">
                      <a:defRPr/>
                    </a:pPr>
                    <a:r>
                      <a:rPr lang="en-US" sz="1100" dirty="0">
                        <a:solidFill>
                          <a:prstClr val="black"/>
                        </a:solidFill>
                        <a:latin typeface="Segoe UI Light" panose="020B0502040204020203" pitchFamily="34" charset="0"/>
                        <a:cs typeface="Segoe UI Light" panose="020B0502040204020203" pitchFamily="34" charset="0"/>
                      </a:rPr>
                      <a:t>(Feature engineering / Machine learning)</a:t>
                    </a:r>
                  </a:p>
                </p:txBody>
              </p:sp>
            </p:grpSp>
            <p:grpSp>
              <p:nvGrpSpPr>
                <p:cNvPr id="366" name="Group 365">
                  <a:extLst>
                    <a:ext uri="{FF2B5EF4-FFF2-40B4-BE49-F238E27FC236}">
                      <a16:creationId xmlns:a16="http://schemas.microsoft.com/office/drawing/2014/main" id="{377FE7CA-F6E8-984D-9AC9-9F70A0550096}"/>
                    </a:ext>
                  </a:extLst>
                </p:cNvPr>
                <p:cNvGrpSpPr/>
                <p:nvPr/>
              </p:nvGrpSpPr>
              <p:grpSpPr>
                <a:xfrm>
                  <a:off x="9536022" y="1346401"/>
                  <a:ext cx="1994820" cy="1693873"/>
                  <a:chOff x="9200792" y="1214619"/>
                  <a:chExt cx="1994820" cy="1693873"/>
                </a:xfrm>
              </p:grpSpPr>
              <p:sp>
                <p:nvSpPr>
                  <p:cNvPr id="376" name="TextBox 375">
                    <a:extLst>
                      <a:ext uri="{FF2B5EF4-FFF2-40B4-BE49-F238E27FC236}">
                        <a16:creationId xmlns:a16="http://schemas.microsoft.com/office/drawing/2014/main" id="{988FC53B-4337-6C4A-BD07-9F38C24E9018}"/>
                      </a:ext>
                    </a:extLst>
                  </p:cNvPr>
                  <p:cNvSpPr txBox="1"/>
                  <p:nvPr/>
                </p:nvSpPr>
                <p:spPr>
                  <a:xfrm>
                    <a:off x="9515138" y="1839452"/>
                    <a:ext cx="1312690" cy="430887"/>
                  </a:xfrm>
                  <a:prstGeom prst="rect">
                    <a:avLst/>
                  </a:prstGeom>
                  <a:noFill/>
                </p:spPr>
                <p:txBody>
                  <a:bodyPr wrap="square" rtlCol="0">
                    <a:spAutoFit/>
                  </a:bodyPr>
                  <a:lstStyle/>
                  <a:p>
                    <a:pPr algn="ctr" defTabSz="914225">
                      <a:defRPr/>
                    </a:pPr>
                    <a:r>
                      <a:rPr lang="en-US" sz="1100" dirty="0">
                        <a:solidFill>
                          <a:prstClr val="black"/>
                        </a:solidFill>
                        <a:latin typeface="Segoe UI Light" panose="020B0502040204020203" pitchFamily="34" charset="0"/>
                        <a:cs typeface="Segoe UI Light" panose="020B0502040204020203" pitchFamily="34" charset="0"/>
                      </a:rPr>
                      <a:t>Apache Spark on</a:t>
                    </a:r>
                  </a:p>
                  <a:p>
                    <a:pPr algn="ctr" defTabSz="914225">
                      <a:defRPr/>
                    </a:pPr>
                    <a:r>
                      <a:rPr lang="en-US" sz="1100" dirty="0">
                        <a:solidFill>
                          <a:prstClr val="black"/>
                        </a:solidFill>
                        <a:latin typeface="Segoe UI Light" panose="020B0502040204020203" pitchFamily="34" charset="0"/>
                        <a:cs typeface="Segoe UI Light" panose="020B0502040204020203" pitchFamily="34" charset="0"/>
                      </a:rPr>
                      <a:t>Azure Databricks</a:t>
                    </a:r>
                  </a:p>
                </p:txBody>
              </p:sp>
              <p:sp>
                <p:nvSpPr>
                  <p:cNvPr id="377" name="TextBox 376">
                    <a:extLst>
                      <a:ext uri="{FF2B5EF4-FFF2-40B4-BE49-F238E27FC236}">
                        <a16:creationId xmlns:a16="http://schemas.microsoft.com/office/drawing/2014/main" id="{81A48DE0-D836-2241-A82E-D550C5C04AE9}"/>
                      </a:ext>
                    </a:extLst>
                  </p:cNvPr>
                  <p:cNvSpPr txBox="1"/>
                  <p:nvPr/>
                </p:nvSpPr>
                <p:spPr>
                  <a:xfrm>
                    <a:off x="9200792" y="2308328"/>
                    <a:ext cx="1994820" cy="600164"/>
                  </a:xfrm>
                  <a:prstGeom prst="rect">
                    <a:avLst/>
                  </a:prstGeom>
                  <a:noFill/>
                </p:spPr>
                <p:txBody>
                  <a:bodyPr wrap="square" rtlCol="0">
                    <a:spAutoFit/>
                  </a:bodyPr>
                  <a:lstStyle/>
                  <a:p>
                    <a:pPr algn="ctr" defTabSz="914225">
                      <a:defRPr/>
                    </a:pPr>
                    <a:r>
                      <a:rPr lang="en-US" sz="1100" dirty="0">
                        <a:solidFill>
                          <a:prstClr val="black"/>
                        </a:solidFill>
                        <a:latin typeface="Segoe UI Light" panose="020B0502040204020203" pitchFamily="34" charset="0"/>
                        <a:cs typeface="Segoe UI Light" panose="020B0502040204020203" pitchFamily="34" charset="0"/>
                      </a:rPr>
                      <a:t>(Spark SQL ad-hoc querying for data scientists / Complex aggregations / ETL)</a:t>
                    </a:r>
                  </a:p>
                </p:txBody>
              </p:sp>
              <p:pic>
                <p:nvPicPr>
                  <p:cNvPr id="378" name="Picture 377">
                    <a:extLst>
                      <a:ext uri="{FF2B5EF4-FFF2-40B4-BE49-F238E27FC236}">
                        <a16:creationId xmlns:a16="http://schemas.microsoft.com/office/drawing/2014/main" id="{0DF84C4D-55D1-FB46-88A5-ED3EB5F1A5A4}"/>
                      </a:ext>
                    </a:extLst>
                  </p:cNvPr>
                  <p:cNvPicPr>
                    <a:picLocks noChangeAspect="1"/>
                  </p:cNvPicPr>
                  <p:nvPr/>
                </p:nvPicPr>
                <p:blipFill rotWithShape="1">
                  <a:blip r:embed="rId10"/>
                  <a:srcRect l="1" r="1749"/>
                  <a:stretch/>
                </p:blipFill>
                <p:spPr>
                  <a:xfrm>
                    <a:off x="9698536" y="1214619"/>
                    <a:ext cx="905099" cy="570816"/>
                  </a:xfrm>
                  <a:prstGeom prst="rect">
                    <a:avLst/>
                  </a:prstGeom>
                </p:spPr>
              </p:pic>
            </p:grpSp>
            <p:cxnSp>
              <p:nvCxnSpPr>
                <p:cNvPr id="367" name="Straight Arrow Connector 366">
                  <a:extLst>
                    <a:ext uri="{FF2B5EF4-FFF2-40B4-BE49-F238E27FC236}">
                      <a16:creationId xmlns:a16="http://schemas.microsoft.com/office/drawing/2014/main" id="{CD7A31BF-81C6-CD42-8CCF-8D86174AA9E5}"/>
                    </a:ext>
                  </a:extLst>
                </p:cNvPr>
                <p:cNvCxnSpPr>
                  <a:cxnSpLocks/>
                  <a:stCxn id="377" idx="2"/>
                </p:cNvCxnSpPr>
                <p:nvPr/>
              </p:nvCxnSpPr>
              <p:spPr>
                <a:xfrm flipH="1">
                  <a:off x="9990069" y="3040274"/>
                  <a:ext cx="543363" cy="989703"/>
                </a:xfrm>
                <a:prstGeom prst="straightConnector1">
                  <a:avLst/>
                </a:prstGeom>
                <a:ln w="95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68" name="Straight Arrow Connector 367">
                  <a:extLst>
                    <a:ext uri="{FF2B5EF4-FFF2-40B4-BE49-F238E27FC236}">
                      <a16:creationId xmlns:a16="http://schemas.microsoft.com/office/drawing/2014/main" id="{C0E5AC18-18BD-CA4E-BD91-13B7D87E86A0}"/>
                    </a:ext>
                  </a:extLst>
                </p:cNvPr>
                <p:cNvCxnSpPr>
                  <a:cxnSpLocks/>
                  <a:stCxn id="377" idx="2"/>
                </p:cNvCxnSpPr>
                <p:nvPr/>
              </p:nvCxnSpPr>
              <p:spPr>
                <a:xfrm>
                  <a:off x="10533432" y="3040274"/>
                  <a:ext cx="939367" cy="894788"/>
                </a:xfrm>
                <a:prstGeom prst="straightConnector1">
                  <a:avLst/>
                </a:prstGeom>
                <a:ln w="95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69" name="TextBox 368">
                  <a:extLst>
                    <a:ext uri="{FF2B5EF4-FFF2-40B4-BE49-F238E27FC236}">
                      <a16:creationId xmlns:a16="http://schemas.microsoft.com/office/drawing/2014/main" id="{44356E26-B5C7-904B-8961-38D7D742245D}"/>
                    </a:ext>
                  </a:extLst>
                </p:cNvPr>
                <p:cNvSpPr txBox="1"/>
                <p:nvPr/>
              </p:nvSpPr>
              <p:spPr>
                <a:xfrm>
                  <a:off x="7930531" y="1777634"/>
                  <a:ext cx="1994820" cy="400110"/>
                </a:xfrm>
                <a:prstGeom prst="rect">
                  <a:avLst/>
                </a:prstGeom>
                <a:noFill/>
              </p:spPr>
              <p:txBody>
                <a:bodyPr wrap="square" rtlCol="0">
                  <a:spAutoFit/>
                </a:bodyPr>
                <a:lstStyle/>
                <a:p>
                  <a:pPr algn="ctr" defTabSz="914225">
                    <a:defRPr/>
                  </a:pPr>
                  <a:r>
                    <a:rPr lang="en-US" sz="1000" dirty="0">
                      <a:solidFill>
                        <a:prstClr val="black"/>
                      </a:solidFill>
                      <a:latin typeface="Segoe UI Light" panose="020B0502040204020203" pitchFamily="34" charset="0"/>
                      <a:cs typeface="Segoe UI Light" panose="020B0502040204020203" pitchFamily="34" charset="0"/>
                    </a:rPr>
                    <a:t>(Predictive push</a:t>
                  </a:r>
                </a:p>
                <a:p>
                  <a:pPr algn="ctr" defTabSz="914225">
                    <a:defRPr/>
                  </a:pPr>
                  <a:r>
                    <a:rPr lang="en-US" sz="1000" dirty="0">
                      <a:solidFill>
                        <a:prstClr val="black"/>
                      </a:solidFill>
                      <a:latin typeface="Segoe UI Light" panose="020B0502040204020203" pitchFamily="34" charset="0"/>
                      <a:cs typeface="Segoe UI Light" panose="020B0502040204020203" pitchFamily="34" charset="0"/>
                    </a:rPr>
                    <a:t>down filtering)</a:t>
                  </a:r>
                </a:p>
              </p:txBody>
            </p:sp>
            <p:pic>
              <p:nvPicPr>
                <p:cNvPr id="370" name="Picture 369">
                  <a:extLst>
                    <a:ext uri="{FF2B5EF4-FFF2-40B4-BE49-F238E27FC236}">
                      <a16:creationId xmlns:a16="http://schemas.microsoft.com/office/drawing/2014/main" id="{2757CF42-A748-854D-80E0-A1BF9DAFF68A}"/>
                    </a:ext>
                  </a:extLst>
                </p:cNvPr>
                <p:cNvPicPr>
                  <a:picLocks noChangeAspect="1"/>
                </p:cNvPicPr>
                <p:nvPr/>
              </p:nvPicPr>
              <p:blipFill>
                <a:blip r:embed="rId11"/>
                <a:stretch>
                  <a:fillRect/>
                </a:stretch>
              </p:blipFill>
              <p:spPr>
                <a:xfrm>
                  <a:off x="8256160" y="3430445"/>
                  <a:ext cx="523644" cy="615341"/>
                </a:xfrm>
                <a:prstGeom prst="rect">
                  <a:avLst/>
                </a:prstGeom>
              </p:spPr>
            </p:pic>
            <p:pic>
              <p:nvPicPr>
                <p:cNvPr id="371" name="Picture 370">
                  <a:extLst>
                    <a:ext uri="{FF2B5EF4-FFF2-40B4-BE49-F238E27FC236}">
                      <a16:creationId xmlns:a16="http://schemas.microsoft.com/office/drawing/2014/main" id="{59E728FA-E01B-DC44-8E90-39746BB03DC5}"/>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87645" y="5202728"/>
                  <a:ext cx="5149048" cy="1169066"/>
                </a:xfrm>
                <a:prstGeom prst="rect">
                  <a:avLst/>
                </a:prstGeom>
              </p:spPr>
            </p:pic>
            <p:cxnSp>
              <p:nvCxnSpPr>
                <p:cNvPr id="372" name="Straight Arrow Connector 371">
                  <a:extLst>
                    <a:ext uri="{FF2B5EF4-FFF2-40B4-BE49-F238E27FC236}">
                      <a16:creationId xmlns:a16="http://schemas.microsoft.com/office/drawing/2014/main" id="{4496761C-912B-7A4D-A6C4-DC5EF1664C34}"/>
                    </a:ext>
                  </a:extLst>
                </p:cNvPr>
                <p:cNvCxnSpPr>
                  <a:cxnSpLocks/>
                  <a:endCxn id="358" idx="2"/>
                </p:cNvCxnSpPr>
                <p:nvPr/>
              </p:nvCxnSpPr>
              <p:spPr>
                <a:xfrm flipH="1" flipV="1">
                  <a:off x="1763837" y="2657062"/>
                  <a:ext cx="2016504" cy="2543399"/>
                </a:xfrm>
                <a:prstGeom prst="straightConnector1">
                  <a:avLst/>
                </a:prstGeom>
                <a:ln w="95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73" name="Straight Arrow Connector 372">
                  <a:extLst>
                    <a:ext uri="{FF2B5EF4-FFF2-40B4-BE49-F238E27FC236}">
                      <a16:creationId xmlns:a16="http://schemas.microsoft.com/office/drawing/2014/main" id="{F45EF154-6823-6A47-8A94-EC23FA037D3F}"/>
                    </a:ext>
                  </a:extLst>
                </p:cNvPr>
                <p:cNvCxnSpPr>
                  <a:cxnSpLocks/>
                  <a:endCxn id="358" idx="2"/>
                </p:cNvCxnSpPr>
                <p:nvPr/>
              </p:nvCxnSpPr>
              <p:spPr>
                <a:xfrm flipH="1" flipV="1">
                  <a:off x="1763837" y="2657062"/>
                  <a:ext cx="3042474" cy="2543397"/>
                </a:xfrm>
                <a:prstGeom prst="straightConnector1">
                  <a:avLst/>
                </a:prstGeom>
                <a:ln w="95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74" name="TextBox 373">
                  <a:extLst>
                    <a:ext uri="{FF2B5EF4-FFF2-40B4-BE49-F238E27FC236}">
                      <a16:creationId xmlns:a16="http://schemas.microsoft.com/office/drawing/2014/main" id="{EE9582CE-EEAF-CA48-89CF-9A7D493466A7}"/>
                    </a:ext>
                  </a:extLst>
                </p:cNvPr>
                <p:cNvSpPr txBox="1"/>
                <p:nvPr/>
              </p:nvSpPr>
              <p:spPr>
                <a:xfrm>
                  <a:off x="409747" y="4704126"/>
                  <a:ext cx="1965152" cy="430887"/>
                </a:xfrm>
                <a:prstGeom prst="rect">
                  <a:avLst/>
                </a:prstGeom>
                <a:noFill/>
              </p:spPr>
              <p:txBody>
                <a:bodyPr wrap="square" rtlCol="0">
                  <a:spAutoFit/>
                </a:bodyPr>
                <a:lstStyle/>
                <a:p>
                  <a:pPr algn="ctr" defTabSz="914225">
                    <a:defRPr/>
                  </a:pPr>
                  <a:r>
                    <a:rPr lang="en-US" sz="1100" dirty="0">
                      <a:solidFill>
                        <a:prstClr val="black"/>
                      </a:solidFill>
                      <a:latin typeface="Segoe UI Light" panose="020B0502040204020203" pitchFamily="34" charset="0"/>
                      <a:cs typeface="Segoe UI Light" panose="020B0502040204020203" pitchFamily="34" charset="0"/>
                    </a:rPr>
                    <a:t>(Deployed on Azure IoT Edge Runtime w/ Edge Hub)</a:t>
                  </a:r>
                </a:p>
              </p:txBody>
            </p:sp>
            <p:sp>
              <p:nvSpPr>
                <p:cNvPr id="375" name="TextBox 374">
                  <a:extLst>
                    <a:ext uri="{FF2B5EF4-FFF2-40B4-BE49-F238E27FC236}">
                      <a16:creationId xmlns:a16="http://schemas.microsoft.com/office/drawing/2014/main" id="{A8844E9A-2FBE-454B-A7A2-F51DFD87C451}"/>
                    </a:ext>
                  </a:extLst>
                </p:cNvPr>
                <p:cNvSpPr txBox="1"/>
                <p:nvPr/>
              </p:nvSpPr>
              <p:spPr>
                <a:xfrm>
                  <a:off x="868549" y="3535060"/>
                  <a:ext cx="1351234" cy="600164"/>
                </a:xfrm>
                <a:prstGeom prst="rect">
                  <a:avLst/>
                </a:prstGeom>
                <a:noFill/>
              </p:spPr>
              <p:txBody>
                <a:bodyPr wrap="square" rtlCol="0">
                  <a:spAutoFit/>
                </a:bodyPr>
                <a:lstStyle/>
                <a:p>
                  <a:pPr algn="ctr" defTabSz="914225">
                    <a:defRPr/>
                  </a:pPr>
                  <a:r>
                    <a:rPr lang="en-US" sz="1100" dirty="0">
                      <a:solidFill>
                        <a:prstClr val="black"/>
                      </a:solidFill>
                      <a:latin typeface="Segoe UI Light" panose="020B0502040204020203" pitchFamily="34" charset="0"/>
                      <a:cs typeface="Segoe UI Light" panose="020B0502040204020203" pitchFamily="34" charset="0"/>
                    </a:rPr>
                    <a:t>(Telemetry + Insights + </a:t>
                  </a:r>
                </a:p>
                <a:p>
                  <a:pPr algn="ctr" defTabSz="914225">
                    <a:defRPr/>
                  </a:pPr>
                  <a:r>
                    <a:rPr lang="en-US" sz="1100" dirty="0">
                      <a:solidFill>
                        <a:prstClr val="black"/>
                      </a:solidFill>
                      <a:latin typeface="Segoe UI Light" panose="020B0502040204020203" pitchFamily="34" charset="0"/>
                      <a:cs typeface="Segoe UI Light" panose="020B0502040204020203" pitchFamily="34" charset="0"/>
                    </a:rPr>
                    <a:t>Module health)</a:t>
                  </a:r>
                </a:p>
              </p:txBody>
            </p:sp>
          </p:grpSp>
        </p:grpSp>
        <p:pic>
          <p:nvPicPr>
            <p:cNvPr id="351" name="Picture 350">
              <a:extLst>
                <a:ext uri="{FF2B5EF4-FFF2-40B4-BE49-F238E27FC236}">
                  <a16:creationId xmlns:a16="http://schemas.microsoft.com/office/drawing/2014/main" id="{82F0B741-1251-CA41-8BA2-07EBEC0A0D14}"/>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356641" y="1709954"/>
              <a:ext cx="648280" cy="640608"/>
            </a:xfrm>
            <a:prstGeom prst="rect">
              <a:avLst/>
            </a:prstGeom>
          </p:spPr>
        </p:pic>
      </p:grpSp>
      <p:pic>
        <p:nvPicPr>
          <p:cNvPr id="52" name="Picture 51">
            <a:extLst>
              <a:ext uri="{FF2B5EF4-FFF2-40B4-BE49-F238E27FC236}">
                <a16:creationId xmlns:a16="http://schemas.microsoft.com/office/drawing/2014/main" id="{E0A9340F-56E2-3942-92C6-1F7D97EEDD47}"/>
              </a:ext>
            </a:extLst>
          </p:cNvPr>
          <p:cNvPicPr>
            <a:picLocks noChangeAspect="1"/>
          </p:cNvPicPr>
          <p:nvPr/>
        </p:nvPicPr>
        <p:blipFill>
          <a:blip r:embed="rId14"/>
          <a:stretch>
            <a:fillRect/>
          </a:stretch>
        </p:blipFill>
        <p:spPr>
          <a:xfrm>
            <a:off x="7065501" y="1283218"/>
            <a:ext cx="792880" cy="792880"/>
          </a:xfrm>
          <a:prstGeom prst="rect">
            <a:avLst/>
          </a:prstGeom>
        </p:spPr>
      </p:pic>
    </p:spTree>
    <p:extLst>
      <p:ext uri="{BB962C8B-B14F-4D97-AF65-F5344CB8AC3E}">
        <p14:creationId xmlns:p14="http://schemas.microsoft.com/office/powerpoint/2010/main" val="2976840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5216" y="2267212"/>
            <a:ext cx="6983202" cy="1495794"/>
          </a:xfrm>
        </p:spPr>
        <p:txBody>
          <a:bodyPr/>
          <a:lstStyle/>
          <a:p>
            <a:r>
              <a:rPr lang="en-US"/>
              <a:t>“This is too good to be true. Is there a total cost of ownership comparison?”</a:t>
            </a:r>
          </a:p>
        </p:txBody>
      </p:sp>
    </p:spTree>
    <p:extLst>
      <p:ext uri="{BB962C8B-B14F-4D97-AF65-F5344CB8AC3E}">
        <p14:creationId xmlns:p14="http://schemas.microsoft.com/office/powerpoint/2010/main" val="786145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883992F-4CF2-6945-87DF-37AC5BA2285D}"/>
              </a:ext>
            </a:extLst>
          </p:cNvPr>
          <p:cNvSpPr>
            <a:spLocks noGrp="1"/>
          </p:cNvSpPr>
          <p:nvPr>
            <p:ph type="title"/>
          </p:nvPr>
        </p:nvSpPr>
        <p:spPr>
          <a:xfrm>
            <a:off x="497306" y="496284"/>
            <a:ext cx="10515600" cy="725738"/>
          </a:xfrm>
        </p:spPr>
        <p:txBody>
          <a:bodyPr vert="horz" wrap="square" lIns="91440" tIns="45720" rIns="91440" bIns="45720" rtlCol="0" anchor="ctr">
            <a:normAutofit/>
          </a:bodyPr>
          <a:lstStyle/>
          <a:p>
            <a:r>
              <a:rPr lang="en-US" sz="2600" dirty="0"/>
              <a:t>The TCO perspective...</a:t>
            </a:r>
          </a:p>
        </p:txBody>
      </p:sp>
      <p:sp>
        <p:nvSpPr>
          <p:cNvPr id="4" name="TextBox 3">
            <a:extLst>
              <a:ext uri="{FF2B5EF4-FFF2-40B4-BE49-F238E27FC236}">
                <a16:creationId xmlns:a16="http://schemas.microsoft.com/office/drawing/2014/main" id="{AF27162F-0CCA-A44D-88BF-CF6211F67A99}"/>
              </a:ext>
            </a:extLst>
          </p:cNvPr>
          <p:cNvSpPr txBox="1"/>
          <p:nvPr/>
        </p:nvSpPr>
        <p:spPr>
          <a:xfrm>
            <a:off x="370697" y="1480625"/>
            <a:ext cx="4668252" cy="4799764"/>
          </a:xfrm>
          <a:prstGeom prst="rect">
            <a:avLst/>
          </a:prstGeom>
        </p:spPr>
        <p:txBody>
          <a:bodyPr vert="horz" lIns="91440" tIns="45720" rIns="91440" bIns="45720" rtlCol="0">
            <a:noAutofit/>
          </a:bodyPr>
          <a:lstStyle/>
          <a:p>
            <a:pPr indent="-228600" defTabSz="914367">
              <a:lnSpc>
                <a:spcPct val="90000"/>
              </a:lnSpc>
              <a:spcAft>
                <a:spcPts val="600"/>
              </a:spcAft>
              <a:buFont typeface="Arial" panose="020B0604020202020204" pitchFamily="34" charset="0"/>
              <a:buChar char="•"/>
            </a:pPr>
            <a:r>
              <a:rPr lang="en-US" sz="1765" dirty="0">
                <a:solidFill>
                  <a:srgbClr val="1A1A1A"/>
                </a:solidFill>
                <a:latin typeface="Segoe UI"/>
              </a:rPr>
              <a:t>Managed cloud services can be 5x-10x more cost effective</a:t>
            </a:r>
          </a:p>
          <a:p>
            <a:pPr marL="457183" lvl="1" indent="-228600" defTabSz="914367">
              <a:lnSpc>
                <a:spcPct val="90000"/>
              </a:lnSpc>
              <a:spcAft>
                <a:spcPts val="600"/>
              </a:spcAft>
              <a:buFont typeface="Arial" panose="020B0604020202020204" pitchFamily="34" charset="0"/>
              <a:buChar char="•"/>
            </a:pPr>
            <a:r>
              <a:rPr lang="en-US" sz="1765" dirty="0">
                <a:solidFill>
                  <a:srgbClr val="1A1A1A"/>
                </a:solidFill>
                <a:latin typeface="Segoe UI"/>
              </a:rPr>
              <a:t>No NoSQL administration dev/ops required</a:t>
            </a:r>
          </a:p>
          <a:p>
            <a:pPr marL="457183" lvl="1" indent="-228600" defTabSz="914367">
              <a:lnSpc>
                <a:spcPct val="90000"/>
              </a:lnSpc>
              <a:spcAft>
                <a:spcPts val="600"/>
              </a:spcAft>
              <a:buFont typeface="Arial" panose="020B0604020202020204" pitchFamily="34" charset="0"/>
              <a:buChar char="•"/>
            </a:pPr>
            <a:r>
              <a:rPr lang="en-US" sz="1765" dirty="0">
                <a:solidFill>
                  <a:srgbClr val="1A1A1A"/>
                </a:solidFill>
                <a:latin typeface="Segoe UI"/>
              </a:rPr>
              <a:t>Superior elasticity</a:t>
            </a:r>
          </a:p>
          <a:p>
            <a:pPr marL="457183" lvl="1" indent="-228600" defTabSz="914367">
              <a:lnSpc>
                <a:spcPct val="90000"/>
              </a:lnSpc>
              <a:spcAft>
                <a:spcPts val="600"/>
              </a:spcAft>
              <a:buFont typeface="Arial" panose="020B0604020202020204" pitchFamily="34" charset="0"/>
              <a:buChar char="•"/>
            </a:pPr>
            <a:r>
              <a:rPr lang="en-US" sz="1765" dirty="0">
                <a:solidFill>
                  <a:srgbClr val="1A1A1A"/>
                </a:solidFill>
                <a:latin typeface="Segoe UI"/>
              </a:rPr>
              <a:t>Economy of scale</a:t>
            </a:r>
          </a:p>
          <a:p>
            <a:pPr marL="457183" lvl="1" indent="-228600" defTabSz="914367">
              <a:lnSpc>
                <a:spcPct val="90000"/>
              </a:lnSpc>
              <a:spcAft>
                <a:spcPts val="600"/>
              </a:spcAft>
              <a:buFont typeface="Arial" panose="020B0604020202020204" pitchFamily="34" charset="0"/>
              <a:buChar char="•"/>
            </a:pPr>
            <a:r>
              <a:rPr lang="en-US" sz="1765" dirty="0">
                <a:solidFill>
                  <a:srgbClr val="1A1A1A"/>
                </a:solidFill>
                <a:latin typeface="Segoe UI"/>
              </a:rPr>
              <a:t>Optimized for cloud</a:t>
            </a:r>
          </a:p>
          <a:p>
            <a:pPr marL="457183" lvl="1" indent="-228600" defTabSz="914367">
              <a:lnSpc>
                <a:spcPct val="90000"/>
              </a:lnSpc>
              <a:spcAft>
                <a:spcPts val="600"/>
              </a:spcAft>
              <a:buFont typeface="Arial" panose="020B0604020202020204" pitchFamily="34" charset="0"/>
              <a:buChar char="•"/>
            </a:pPr>
            <a:endParaRPr lang="en-US" sz="1765" dirty="0">
              <a:solidFill>
                <a:srgbClr val="1A1A1A"/>
              </a:solidFill>
              <a:latin typeface="Segoe UI"/>
            </a:endParaRPr>
          </a:p>
          <a:p>
            <a:pPr marL="285750" indent="-228600" defTabSz="914367">
              <a:lnSpc>
                <a:spcPct val="90000"/>
              </a:lnSpc>
              <a:spcAft>
                <a:spcPts val="600"/>
              </a:spcAft>
              <a:buFont typeface="Arial" panose="020B0604020202020204" pitchFamily="34" charset="0"/>
              <a:buChar char="•"/>
            </a:pPr>
            <a:r>
              <a:rPr lang="en-US" sz="1765" dirty="0">
                <a:solidFill>
                  <a:srgbClr val="1A1A1A"/>
                </a:solidFill>
                <a:latin typeface="Segoe UI"/>
              </a:rPr>
              <a:t>Azure Cosmos DB vs Amazon Dynamo DB</a:t>
            </a:r>
          </a:p>
          <a:p>
            <a:pPr marL="742950" lvl="1" indent="-228600" defTabSz="914367">
              <a:lnSpc>
                <a:spcPct val="90000"/>
              </a:lnSpc>
              <a:spcAft>
                <a:spcPts val="600"/>
              </a:spcAft>
              <a:buFont typeface="Arial" panose="020B0604020202020204" pitchFamily="34" charset="0"/>
              <a:buChar char="•"/>
            </a:pPr>
            <a:r>
              <a:rPr lang="en-US" sz="1600" dirty="0">
                <a:solidFill>
                  <a:srgbClr val="1A1A1A"/>
                </a:solidFill>
                <a:latin typeface="Segoe UI"/>
              </a:rPr>
              <a:t>For common workload with 50% reads/50% writes, Azure Cosmos DB is ~1.52 times cheaper than DynamoDB,</a:t>
            </a:r>
          </a:p>
          <a:p>
            <a:pPr marL="742950" lvl="1" indent="-228600" defTabSz="914367">
              <a:lnSpc>
                <a:spcPct val="90000"/>
              </a:lnSpc>
              <a:spcAft>
                <a:spcPts val="600"/>
              </a:spcAft>
              <a:buFont typeface="Arial" panose="020B0604020202020204" pitchFamily="34" charset="0"/>
              <a:buChar char="•"/>
            </a:pPr>
            <a:r>
              <a:rPr lang="en-US" sz="1600" dirty="0">
                <a:solidFill>
                  <a:srgbClr val="1A1A1A"/>
                </a:solidFill>
                <a:latin typeface="Segoe UI"/>
              </a:rPr>
              <a:t>For any workload that has at least 5% writes, Azure Cosmos DB is cheaper</a:t>
            </a:r>
          </a:p>
          <a:p>
            <a:pPr marL="742950" lvl="1" indent="-228600" defTabSz="914367">
              <a:lnSpc>
                <a:spcPct val="90000"/>
              </a:lnSpc>
              <a:spcAft>
                <a:spcPts val="600"/>
              </a:spcAft>
              <a:buFont typeface="Arial" panose="020B0604020202020204" pitchFamily="34" charset="0"/>
              <a:buChar char="•"/>
            </a:pPr>
            <a:endParaRPr lang="en-US" sz="1765" dirty="0">
              <a:solidFill>
                <a:srgbClr val="1A1A1A"/>
              </a:solidFill>
              <a:latin typeface="Segoe UI"/>
            </a:endParaRPr>
          </a:p>
          <a:p>
            <a:pPr marL="285750" indent="-228600" defTabSz="914367">
              <a:lnSpc>
                <a:spcPct val="90000"/>
              </a:lnSpc>
              <a:spcAft>
                <a:spcPts val="600"/>
              </a:spcAft>
              <a:buFont typeface="Arial" panose="020B0604020202020204" pitchFamily="34" charset="0"/>
              <a:buChar char="•"/>
            </a:pPr>
            <a:r>
              <a:rPr lang="en-US" sz="1765" dirty="0">
                <a:solidFill>
                  <a:srgbClr val="1A1A1A"/>
                </a:solidFill>
                <a:latin typeface="Segoe UI"/>
              </a:rPr>
              <a:t>Azure Cosmos DB is 4x cheaper than Cassandra on Azure VMs in 3 out of 4 scenarios</a:t>
            </a:r>
          </a:p>
        </p:txBody>
      </p:sp>
      <p:grpSp>
        <p:nvGrpSpPr>
          <p:cNvPr id="6" name="Group 5">
            <a:extLst>
              <a:ext uri="{FF2B5EF4-FFF2-40B4-BE49-F238E27FC236}">
                <a16:creationId xmlns:a16="http://schemas.microsoft.com/office/drawing/2014/main" id="{E185DF0C-9EBF-9F48-81AA-7813C63A5F07}"/>
              </a:ext>
            </a:extLst>
          </p:cNvPr>
          <p:cNvGrpSpPr/>
          <p:nvPr/>
        </p:nvGrpSpPr>
        <p:grpSpPr>
          <a:xfrm>
            <a:off x="5165558" y="2326941"/>
            <a:ext cx="6801854" cy="3323891"/>
            <a:chOff x="5165558" y="2098340"/>
            <a:chExt cx="6801854" cy="3323891"/>
          </a:xfrm>
        </p:grpSpPr>
        <p:pic>
          <p:nvPicPr>
            <p:cNvPr id="7" name="Picture 6">
              <a:extLst>
                <a:ext uri="{FF2B5EF4-FFF2-40B4-BE49-F238E27FC236}">
                  <a16:creationId xmlns:a16="http://schemas.microsoft.com/office/drawing/2014/main" id="{5207A040-735E-F747-9CB0-B895406F522D}"/>
                </a:ext>
              </a:extLst>
            </p:cNvPr>
            <p:cNvPicPr>
              <a:picLocks noChangeAspect="1"/>
            </p:cNvPicPr>
            <p:nvPr/>
          </p:nvPicPr>
          <p:blipFill rotWithShape="1">
            <a:blip r:embed="rId3">
              <a:extLst>
                <a:ext uri="{28A0092B-C50C-407E-A947-70E740481C1C}">
                  <a14:useLocalDpi xmlns:a14="http://schemas.microsoft.com/office/drawing/2010/main" val="0"/>
                </a:ext>
              </a:extLst>
            </a:blip>
            <a:srcRect l="1545" r="4900" b="8015"/>
            <a:stretch/>
          </p:blipFill>
          <p:spPr>
            <a:xfrm>
              <a:off x="5165558" y="2098340"/>
              <a:ext cx="6801854" cy="3323891"/>
            </a:xfrm>
            <a:prstGeom prst="rect">
              <a:avLst/>
            </a:prstGeom>
          </p:spPr>
        </p:pic>
        <p:sp>
          <p:nvSpPr>
            <p:cNvPr id="8" name="TextBox 7">
              <a:extLst>
                <a:ext uri="{FF2B5EF4-FFF2-40B4-BE49-F238E27FC236}">
                  <a16:creationId xmlns:a16="http://schemas.microsoft.com/office/drawing/2014/main" id="{9A3A5737-180F-E742-9451-3A4BAE274CC2}"/>
                </a:ext>
              </a:extLst>
            </p:cNvPr>
            <p:cNvSpPr txBox="1"/>
            <p:nvPr/>
          </p:nvSpPr>
          <p:spPr>
            <a:xfrm>
              <a:off x="7437746" y="5033914"/>
              <a:ext cx="791851" cy="230832"/>
            </a:xfrm>
            <a:prstGeom prst="rect">
              <a:avLst/>
            </a:prstGeom>
            <a:solidFill>
              <a:schemeClr val="bg1"/>
            </a:solidFill>
          </p:spPr>
          <p:txBody>
            <a:bodyPr wrap="square" rtlCol="0">
              <a:spAutoFit/>
            </a:bodyPr>
            <a:lstStyle/>
            <a:p>
              <a:pPr defTabSz="914367"/>
              <a:r>
                <a:rPr lang="en-US" sz="900" dirty="0">
                  <a:solidFill>
                    <a:srgbClr val="E6E6E6">
                      <a:lumMod val="25000"/>
                    </a:srgbClr>
                  </a:solidFill>
                  <a:latin typeface="Helvetica Neue" charset="0"/>
                  <a:ea typeface="Helvetica Neue" charset="0"/>
                  <a:cs typeface="Helvetica Neue" charset="0"/>
                </a:rPr>
                <a:t>CosmosDB</a:t>
              </a:r>
            </a:p>
          </p:txBody>
        </p:sp>
      </p:grpSp>
      <p:sp>
        <p:nvSpPr>
          <p:cNvPr id="2" name="Rectangle 1">
            <a:extLst>
              <a:ext uri="{FF2B5EF4-FFF2-40B4-BE49-F238E27FC236}">
                <a16:creationId xmlns:a16="http://schemas.microsoft.com/office/drawing/2014/main" id="{7BA40128-6CEA-C944-BE11-A4D0B903025C}"/>
              </a:ext>
            </a:extLst>
          </p:cNvPr>
          <p:cNvSpPr/>
          <p:nvPr/>
        </p:nvSpPr>
        <p:spPr>
          <a:xfrm>
            <a:off x="2157046" y="6651542"/>
            <a:ext cx="10034955" cy="635559"/>
          </a:xfrm>
          <a:prstGeom prst="rect">
            <a:avLst/>
          </a:prstGeom>
        </p:spPr>
        <p:txBody>
          <a:bodyPr wrap="square">
            <a:spAutoFit/>
          </a:bodyPr>
          <a:lstStyle/>
          <a:p>
            <a:pPr defTabSz="914367"/>
            <a:r>
              <a:rPr lang="en-US" sz="1765" dirty="0">
                <a:solidFill>
                  <a:srgbClr val="1A1A1A"/>
                </a:solidFill>
                <a:latin typeface="Segoe UI"/>
                <a:hlinkClick r:id="rId4"/>
              </a:rPr>
              <a:t>https://documentdbportalstorage.blob.core.windows.net/papers/11.15.2017/NoSQL%20TCO%20paper.pdf</a:t>
            </a:r>
            <a:endParaRPr lang="en-US" sz="1765" dirty="0">
              <a:solidFill>
                <a:srgbClr val="1A1A1A"/>
              </a:solidFill>
              <a:latin typeface="Segoe UI"/>
            </a:endParaRPr>
          </a:p>
        </p:txBody>
      </p:sp>
    </p:spTree>
    <p:extLst>
      <p:ext uri="{BB962C8B-B14F-4D97-AF65-F5344CB8AC3E}">
        <p14:creationId xmlns:p14="http://schemas.microsoft.com/office/powerpoint/2010/main" val="772661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1150" y="2590769"/>
            <a:ext cx="6814389" cy="1495794"/>
          </a:xfrm>
        </p:spPr>
        <p:txBody>
          <a:bodyPr/>
          <a:lstStyle/>
          <a:p>
            <a:r>
              <a:rPr lang="en-US"/>
              <a:t>“Awesome! I love Azure Cosmos DB! How do I migrate all my datasets to Cosmos DB?”</a:t>
            </a:r>
          </a:p>
        </p:txBody>
      </p:sp>
    </p:spTree>
    <p:extLst>
      <p:ext uri="{BB962C8B-B14F-4D97-AF65-F5344CB8AC3E}">
        <p14:creationId xmlns:p14="http://schemas.microsoft.com/office/powerpoint/2010/main" val="2217688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Shape 106"/>
        <p:cNvGrpSpPr/>
        <p:nvPr/>
      </p:nvGrpSpPr>
      <p:grpSpPr>
        <a:xfrm>
          <a:off x="0" y="0"/>
          <a:ext cx="0" cy="0"/>
          <a:chOff x="0" y="0"/>
          <a:chExt cx="0" cy="0"/>
        </a:xfrm>
      </p:grpSpPr>
      <p:sp>
        <p:nvSpPr>
          <p:cNvPr id="107" name="Shape 107"/>
          <p:cNvSpPr txBox="1">
            <a:spLocks noGrp="1"/>
          </p:cNvSpPr>
          <p:nvPr>
            <p:ph type="title"/>
          </p:nvPr>
        </p:nvSpPr>
        <p:spPr>
          <a:xfrm>
            <a:off x="415600" y="3096400"/>
            <a:ext cx="11360800" cy="1122400"/>
          </a:xfrm>
          <a:prstGeom prst="rect">
            <a:avLst/>
          </a:prstGeom>
        </p:spPr>
        <p:txBody>
          <a:bodyPr vert="horz" lIns="121900" tIns="121900" rIns="121900" bIns="121900" rtlCol="0" anchor="ctr" anchorCtr="0">
            <a:noAutofit/>
          </a:bodyPr>
          <a:lstStyle/>
          <a:p>
            <a:r>
              <a:rPr lang="en-US"/>
              <a:t>Demo page</a:t>
            </a:r>
          </a:p>
        </p:txBody>
      </p:sp>
      <p:pic>
        <p:nvPicPr>
          <p:cNvPr id="2" name="Picture 1"/>
          <p:cNvPicPr>
            <a:picLocks noChangeAspect="1"/>
          </p:cNvPicPr>
          <p:nvPr/>
        </p:nvPicPr>
        <p:blipFill>
          <a:blip r:embed="rId3"/>
          <a:stretch>
            <a:fillRect/>
          </a:stretch>
        </p:blipFill>
        <p:spPr>
          <a:xfrm>
            <a:off x="-1" y="0"/>
            <a:ext cx="12240743" cy="7315200"/>
          </a:xfrm>
          <a:prstGeom prst="rect">
            <a:avLst/>
          </a:prstGeom>
        </p:spPr>
      </p:pic>
      <p:sp>
        <p:nvSpPr>
          <p:cNvPr id="4" name="Title 5">
            <a:extLst>
              <a:ext uri="{FF2B5EF4-FFF2-40B4-BE49-F238E27FC236}">
                <a16:creationId xmlns:a16="http://schemas.microsoft.com/office/drawing/2014/main" id="{25C48AC3-E4C7-4DE5-B876-9C0C3FD46A9A}"/>
              </a:ext>
            </a:extLst>
          </p:cNvPr>
          <p:cNvSpPr txBox="1">
            <a:spLocks/>
          </p:cNvSpPr>
          <p:nvPr/>
        </p:nvSpPr>
        <p:spPr>
          <a:xfrm>
            <a:off x="388010" y="208734"/>
            <a:ext cx="11642721" cy="917575"/>
          </a:xfrm>
          <a:prstGeom prst="rect">
            <a:avLst/>
          </a:prstGeom>
          <a:solidFill>
            <a:schemeClr val="tx1"/>
          </a:solidFill>
          <a:ln>
            <a:noFill/>
          </a:ln>
        </p:spPr>
        <p:txBody>
          <a:bodyPr vert="horz" lIns="91425" tIns="91425" rIns="91425" bIns="91425" rtlCol="0" anchor="ctr" anchorCtr="0">
            <a:noAutofit/>
          </a:bodyPr>
          <a:lstStyle>
            <a:lvl1pPr marL="0" marR="0" lvl="0" indent="0" algn="ctr" defTabSz="914400" rtl="0" eaLnBrk="1" latinLnBrk="0" hangingPunct="1">
              <a:lnSpc>
                <a:spcPct val="90000"/>
              </a:lnSpc>
              <a:spcBef>
                <a:spcPts val="0"/>
              </a:spcBef>
              <a:buClr>
                <a:schemeClr val="lt1"/>
              </a:buClr>
              <a:buNone/>
              <a:defRPr sz="4800" b="1" i="0" u="none" strike="noStrike" kern="1200" cap="none">
                <a:solidFill>
                  <a:schemeClr val="lt1"/>
                </a:solidFill>
                <a:latin typeface="Calibri"/>
                <a:ea typeface="Calibri"/>
                <a:cs typeface="Calibri"/>
                <a:sym typeface="Calibri"/>
              </a:defRPr>
            </a:lvl1pPr>
            <a:lvl2pPr marL="0" marR="0" lvl="1" indent="0" algn="ctr" rtl="0">
              <a:spcBef>
                <a:spcPts val="0"/>
              </a:spcBef>
              <a:buNone/>
              <a:defRPr sz="4800" b="1" i="0" u="none" strike="noStrike" cap="none">
                <a:solidFill>
                  <a:srgbClr val="151615"/>
                </a:solidFill>
                <a:latin typeface="Calibri"/>
                <a:ea typeface="Calibri"/>
                <a:cs typeface="Calibri"/>
                <a:sym typeface="Calibri"/>
              </a:defRPr>
            </a:lvl2pPr>
            <a:lvl3pPr marL="0" marR="0" lvl="2" indent="0" algn="ctr" rtl="0">
              <a:spcBef>
                <a:spcPts val="0"/>
              </a:spcBef>
              <a:buNone/>
              <a:defRPr sz="4800" b="1" i="0" u="none" strike="noStrike" cap="none">
                <a:solidFill>
                  <a:srgbClr val="151615"/>
                </a:solidFill>
                <a:latin typeface="Calibri"/>
                <a:ea typeface="Calibri"/>
                <a:cs typeface="Calibri"/>
                <a:sym typeface="Calibri"/>
              </a:defRPr>
            </a:lvl3pPr>
            <a:lvl4pPr marL="0" marR="0" lvl="3" indent="0" algn="ctr" rtl="0">
              <a:spcBef>
                <a:spcPts val="0"/>
              </a:spcBef>
              <a:buNone/>
              <a:defRPr sz="4800" b="1" i="0" u="none" strike="noStrike" cap="none">
                <a:solidFill>
                  <a:srgbClr val="151615"/>
                </a:solidFill>
                <a:latin typeface="Calibri"/>
                <a:ea typeface="Calibri"/>
                <a:cs typeface="Calibri"/>
                <a:sym typeface="Calibri"/>
              </a:defRPr>
            </a:lvl4pPr>
            <a:lvl5pPr marL="0" marR="0" lvl="4" indent="0" algn="ctr" rtl="0">
              <a:spcBef>
                <a:spcPts val="0"/>
              </a:spcBef>
              <a:buNone/>
              <a:defRPr sz="4800" b="1" i="0" u="none" strike="noStrike" cap="none">
                <a:solidFill>
                  <a:srgbClr val="151615"/>
                </a:solidFill>
                <a:latin typeface="Calibri"/>
                <a:ea typeface="Calibri"/>
                <a:cs typeface="Calibri"/>
                <a:sym typeface="Calibri"/>
              </a:defRPr>
            </a:lvl5pPr>
            <a:lvl6pPr marL="0" marR="0" lvl="5" indent="0" algn="ctr" rtl="0">
              <a:spcBef>
                <a:spcPts val="0"/>
              </a:spcBef>
              <a:buNone/>
              <a:defRPr sz="4800" b="1" i="0" u="none" strike="noStrike" cap="none">
                <a:solidFill>
                  <a:srgbClr val="151615"/>
                </a:solidFill>
                <a:latin typeface="Calibri"/>
                <a:ea typeface="Calibri"/>
                <a:cs typeface="Calibri"/>
                <a:sym typeface="Calibri"/>
              </a:defRPr>
            </a:lvl6pPr>
            <a:lvl7pPr marL="0" marR="0" lvl="6" indent="0" algn="ctr" rtl="0">
              <a:spcBef>
                <a:spcPts val="0"/>
              </a:spcBef>
              <a:buNone/>
              <a:defRPr sz="4800" b="1" i="0" u="none" strike="noStrike" cap="none">
                <a:solidFill>
                  <a:srgbClr val="151615"/>
                </a:solidFill>
                <a:latin typeface="Calibri"/>
                <a:ea typeface="Calibri"/>
                <a:cs typeface="Calibri"/>
                <a:sym typeface="Calibri"/>
              </a:defRPr>
            </a:lvl7pPr>
            <a:lvl8pPr marL="0" marR="0" lvl="7" indent="0" algn="ctr" rtl="0">
              <a:spcBef>
                <a:spcPts val="0"/>
              </a:spcBef>
              <a:buNone/>
              <a:defRPr sz="4800" b="1" i="0" u="none" strike="noStrike" cap="none">
                <a:solidFill>
                  <a:srgbClr val="151615"/>
                </a:solidFill>
                <a:latin typeface="Calibri"/>
                <a:ea typeface="Calibri"/>
                <a:cs typeface="Calibri"/>
                <a:sym typeface="Calibri"/>
              </a:defRPr>
            </a:lvl8pPr>
            <a:lvl9pPr marL="0" marR="0" lvl="8" indent="0" algn="ctr" rtl="0">
              <a:spcBef>
                <a:spcPts val="0"/>
              </a:spcBef>
              <a:buNone/>
              <a:defRPr sz="4800" b="1" i="0" u="none" strike="noStrike" cap="none">
                <a:solidFill>
                  <a:srgbClr val="151615"/>
                </a:solidFill>
                <a:latin typeface="Calibri"/>
                <a:ea typeface="Calibri"/>
                <a:cs typeface="Calibri"/>
                <a:sym typeface="Calibri"/>
              </a:defRPr>
            </a:lvl9pPr>
          </a:lstStyle>
          <a:p>
            <a:r>
              <a:rPr lang="en-US" spc="-281" dirty="0">
                <a:solidFill>
                  <a:schemeClr val="bg1"/>
                </a:solidFill>
                <a:ea typeface="Segoe UI Black" panose="020B0A02040204020203" pitchFamily="34" charset="0"/>
              </a:rPr>
              <a:t>Planet-Scale Games</a:t>
            </a:r>
          </a:p>
        </p:txBody>
      </p:sp>
    </p:spTree>
    <p:extLst>
      <p:ext uri="{BB962C8B-B14F-4D97-AF65-F5344CB8AC3E}">
        <p14:creationId xmlns:p14="http://schemas.microsoft.com/office/powerpoint/2010/main" val="3789836925"/>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5">
            <a:extLst>
              <a:ext uri="{FF2B5EF4-FFF2-40B4-BE49-F238E27FC236}">
                <a16:creationId xmlns:a16="http://schemas.microsoft.com/office/drawing/2014/main" id="{3BF9A0AF-7AE6-824B-B322-049C88E391C0}"/>
              </a:ext>
            </a:extLst>
          </p:cNvPr>
          <p:cNvSpPr txBox="1">
            <a:spLocks/>
          </p:cNvSpPr>
          <p:nvPr/>
        </p:nvSpPr>
        <p:spPr>
          <a:xfrm>
            <a:off x="796934" y="1854459"/>
            <a:ext cx="10905020" cy="437042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fontAlgn="base">
              <a:buFont typeface="Arial" panose="020B0604020202020204" pitchFamily="34" charset="0"/>
              <a:buChar char="•"/>
            </a:pPr>
            <a:r>
              <a:rPr lang="en-US" sz="2400">
                <a:gradFill>
                  <a:gsLst>
                    <a:gs pos="1250">
                      <a:srgbClr val="1A1A1A"/>
                    </a:gs>
                    <a:gs pos="100000">
                      <a:srgbClr val="1A1A1A"/>
                    </a:gs>
                  </a:gsLst>
                  <a:lin ang="5400000" scaled="0"/>
                </a:gradFill>
                <a:latin typeface="Segoe UI"/>
              </a:rPr>
              <a:t>Today, our top customers store greater than 100 TB of data in their containers</a:t>
            </a:r>
          </a:p>
          <a:p>
            <a:pPr marL="342900" indent="-342900" fontAlgn="base">
              <a:buFont typeface="Arial" panose="020B0604020202020204" pitchFamily="34" charset="0"/>
              <a:buChar char="•"/>
            </a:pPr>
            <a:endParaRPr lang="en-US" sz="2400">
              <a:gradFill>
                <a:gsLst>
                  <a:gs pos="1250">
                    <a:srgbClr val="1A1A1A"/>
                  </a:gs>
                  <a:gs pos="100000">
                    <a:srgbClr val="1A1A1A"/>
                  </a:gs>
                </a:gsLst>
                <a:lin ang="5400000" scaled="0"/>
              </a:gradFill>
              <a:latin typeface="Segoe UI"/>
            </a:endParaRPr>
          </a:p>
          <a:p>
            <a:pPr marL="457200" indent="-457200" fontAlgn="base">
              <a:buFont typeface="Arial" panose="020B0604020202020204" pitchFamily="34" charset="0"/>
              <a:buChar char="•"/>
            </a:pPr>
            <a:r>
              <a:rPr lang="en-US" sz="2400">
                <a:gradFill>
                  <a:gsLst>
                    <a:gs pos="1250">
                      <a:srgbClr val="1A1A1A"/>
                    </a:gs>
                    <a:gs pos="100000">
                      <a:srgbClr val="1A1A1A"/>
                    </a:gs>
                  </a:gsLst>
                  <a:lin ang="5400000" scaled="0"/>
                </a:gradFill>
                <a:latin typeface="Segoe UI"/>
              </a:rPr>
              <a:t>Announced </a:t>
            </a:r>
            <a:r>
              <a:rPr lang="en-US" sz="2400" b="1">
                <a:gradFill>
                  <a:gsLst>
                    <a:gs pos="1250">
                      <a:srgbClr val="1A1A1A"/>
                    </a:gs>
                    <a:gs pos="100000">
                      <a:srgbClr val="1A1A1A"/>
                    </a:gs>
                  </a:gsLst>
                  <a:lin ang="5400000" scaled="0"/>
                </a:gradFill>
                <a:latin typeface="Segoe UI"/>
              </a:rPr>
              <a:t>Azure Cosmos DB BulkExecutor </a:t>
            </a:r>
            <a:r>
              <a:rPr lang="en-US" sz="2400">
                <a:gradFill>
                  <a:gsLst>
                    <a:gs pos="1250">
                      <a:srgbClr val="1A1A1A"/>
                    </a:gs>
                    <a:gs pos="100000">
                      <a:srgbClr val="1A1A1A"/>
                    </a:gs>
                  </a:gsLst>
                  <a:lin ang="5400000" scaled="0"/>
                </a:gradFill>
                <a:latin typeface="Segoe UI"/>
              </a:rPr>
              <a:t>in .NET and Java at //Build this year </a:t>
            </a:r>
          </a:p>
          <a:p>
            <a:pPr marL="685800" lvl="1" indent="-457200" fontAlgn="base">
              <a:buFont typeface="Arial" panose="020B0604020202020204" pitchFamily="34" charset="0"/>
              <a:buChar char="•"/>
            </a:pPr>
            <a:r>
              <a:rPr lang="en-US">
                <a:gradFill>
                  <a:gsLst>
                    <a:gs pos="1250">
                      <a:srgbClr val="1A1A1A"/>
                    </a:gs>
                    <a:gs pos="100000">
                      <a:srgbClr val="1A1A1A"/>
                    </a:gs>
                  </a:gsLst>
                  <a:lin ang="5400000" scaled="0"/>
                </a:gradFill>
                <a:latin typeface="Segoe UI"/>
              </a:rPr>
              <a:t>Bulk Import API achieves </a:t>
            </a:r>
            <a:r>
              <a:rPr lang="en-US" b="1">
                <a:gradFill>
                  <a:gsLst>
                    <a:gs pos="1250">
                      <a:srgbClr val="1A1A1A"/>
                    </a:gs>
                    <a:gs pos="100000">
                      <a:srgbClr val="1A1A1A"/>
                    </a:gs>
                  </a:gsLst>
                  <a:lin ang="5400000" scaled="0"/>
                </a:gradFill>
                <a:latin typeface="Segoe UI"/>
              </a:rPr>
              <a:t>10x</a:t>
            </a:r>
            <a:r>
              <a:rPr lang="en-US">
                <a:gradFill>
                  <a:gsLst>
                    <a:gs pos="1250">
                      <a:srgbClr val="1A1A1A"/>
                    </a:gs>
                    <a:gs pos="100000">
                      <a:srgbClr val="1A1A1A"/>
                    </a:gs>
                  </a:gsLst>
                  <a:lin ang="5400000" scaled="0"/>
                </a:gradFill>
                <a:latin typeface="Segoe UI"/>
              </a:rPr>
              <a:t> greater ingestion throughput for given compute resource​</a:t>
            </a:r>
          </a:p>
          <a:p>
            <a:pPr marL="685800" lvl="1" indent="-457200" fontAlgn="base">
              <a:buFont typeface="Arial" panose="020B0604020202020204" pitchFamily="34" charset="0"/>
              <a:buChar char="•"/>
            </a:pPr>
            <a:r>
              <a:rPr lang="en-US">
                <a:gradFill>
                  <a:gsLst>
                    <a:gs pos="1250">
                      <a:srgbClr val="1A1A1A"/>
                    </a:gs>
                    <a:gs pos="100000">
                      <a:srgbClr val="1A1A1A"/>
                    </a:gs>
                  </a:gsLst>
                  <a:lin ang="5400000" scaled="0"/>
                </a:gradFill>
                <a:latin typeface="Segoe UI"/>
              </a:rPr>
              <a:t>Performs intelligent congestion control while abstracting away transient exception handling </a:t>
            </a:r>
          </a:p>
          <a:p>
            <a:pPr marL="457200" indent="-457200" fontAlgn="base">
              <a:buFont typeface="Arial" panose="020B0604020202020204" pitchFamily="34" charset="0"/>
              <a:buChar char="•"/>
            </a:pPr>
            <a:endParaRPr lang="en-US" sz="2400">
              <a:gradFill>
                <a:gsLst>
                  <a:gs pos="1250">
                    <a:srgbClr val="1A1A1A"/>
                  </a:gs>
                  <a:gs pos="100000">
                    <a:srgbClr val="1A1A1A"/>
                  </a:gs>
                </a:gsLst>
                <a:lin ang="5400000" scaled="0"/>
              </a:gradFill>
              <a:latin typeface="Segoe UI"/>
            </a:endParaRPr>
          </a:p>
          <a:p>
            <a:pPr marL="457200" indent="-457200" fontAlgn="base">
              <a:buFont typeface="Arial" panose="020B0604020202020204" pitchFamily="34" charset="0"/>
              <a:buChar char="•"/>
            </a:pPr>
            <a:r>
              <a:rPr lang="en-US" sz="2400">
                <a:gradFill>
                  <a:gsLst>
                    <a:gs pos="1250">
                      <a:srgbClr val="1A1A1A"/>
                    </a:gs>
                    <a:gs pos="100000">
                      <a:srgbClr val="1A1A1A"/>
                    </a:gs>
                  </a:gsLst>
                  <a:lin ang="5400000" scaled="0"/>
                </a:gradFill>
                <a:latin typeface="Segoe UI"/>
              </a:rPr>
              <a:t>Provides ability to import over 1 TB of data in &lt; 1hour using a scaled-out architecture​</a:t>
            </a:r>
          </a:p>
          <a:p>
            <a:pPr marL="342900" indent="-342900" fontAlgn="base">
              <a:buFont typeface="Arial" panose="020B0604020202020204" pitchFamily="34" charset="0"/>
              <a:buChar char="•"/>
            </a:pPr>
            <a:endParaRPr lang="en-US" sz="2400">
              <a:gradFill>
                <a:gsLst>
                  <a:gs pos="1250">
                    <a:srgbClr val="1A1A1A"/>
                  </a:gs>
                  <a:gs pos="100000">
                    <a:srgbClr val="1A1A1A"/>
                  </a:gs>
                </a:gsLst>
                <a:lin ang="5400000" scaled="0"/>
              </a:gradFill>
              <a:latin typeface="Segoe UI"/>
            </a:endParaRPr>
          </a:p>
        </p:txBody>
      </p:sp>
    </p:spTree>
    <p:extLst>
      <p:ext uri="{BB962C8B-B14F-4D97-AF65-F5344CB8AC3E}">
        <p14:creationId xmlns:p14="http://schemas.microsoft.com/office/powerpoint/2010/main" val="1834931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5">
            <a:extLst>
              <a:ext uri="{FF2B5EF4-FFF2-40B4-BE49-F238E27FC236}">
                <a16:creationId xmlns:a16="http://schemas.microsoft.com/office/drawing/2014/main" id="{3BF9A0AF-7AE6-824B-B322-049C88E391C0}"/>
              </a:ext>
            </a:extLst>
          </p:cNvPr>
          <p:cNvSpPr txBox="1">
            <a:spLocks/>
          </p:cNvSpPr>
          <p:nvPr/>
        </p:nvSpPr>
        <p:spPr>
          <a:xfrm>
            <a:off x="657939" y="1222954"/>
            <a:ext cx="10905020" cy="493058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fontAlgn="base">
              <a:buFont typeface="Arial" panose="020B0604020202020204" pitchFamily="34" charset="0"/>
              <a:buChar char="•"/>
            </a:pPr>
            <a:r>
              <a:rPr lang="en-US" sz="2400">
                <a:gradFill>
                  <a:gsLst>
                    <a:gs pos="1250">
                      <a:srgbClr val="1A1A1A"/>
                    </a:gs>
                    <a:gs pos="100000">
                      <a:srgbClr val="1A1A1A"/>
                    </a:gs>
                  </a:gsLst>
                  <a:lin ang="5400000" scaled="0"/>
                </a:gradFill>
                <a:latin typeface="Segoe UI"/>
              </a:rPr>
              <a:t>Native integration of BulkExecutor library with ADFv2</a:t>
            </a:r>
          </a:p>
          <a:p>
            <a:pPr marL="685800" lvl="1" indent="-457200" fontAlgn="base">
              <a:buFont typeface="Arial" panose="020B0604020202020204" pitchFamily="34" charset="0"/>
              <a:buChar char="•"/>
            </a:pPr>
            <a:r>
              <a:rPr lang="en-US" sz="2100">
                <a:gradFill>
                  <a:gsLst>
                    <a:gs pos="1250">
                      <a:srgbClr val="1A1A1A"/>
                    </a:gs>
                    <a:gs pos="100000">
                      <a:srgbClr val="1A1A1A"/>
                    </a:gs>
                  </a:gsLst>
                  <a:lin ang="5400000" scaled="0"/>
                </a:gradFill>
                <a:latin typeface="Segoe UI"/>
              </a:rPr>
              <a:t>Supports &gt; 70 data sources both on-</a:t>
            </a:r>
            <a:r>
              <a:rPr lang="en-US" sz="2100" err="1">
                <a:gradFill>
                  <a:gsLst>
                    <a:gs pos="1250">
                      <a:srgbClr val="1A1A1A"/>
                    </a:gs>
                    <a:gs pos="100000">
                      <a:srgbClr val="1A1A1A"/>
                    </a:gs>
                  </a:gsLst>
                  <a:lin ang="5400000" scaled="0"/>
                </a:gradFill>
                <a:latin typeface="Segoe UI"/>
              </a:rPr>
              <a:t>prem</a:t>
            </a:r>
            <a:r>
              <a:rPr lang="en-US" sz="2100">
                <a:gradFill>
                  <a:gsLst>
                    <a:gs pos="1250">
                      <a:srgbClr val="1A1A1A"/>
                    </a:gs>
                    <a:gs pos="100000">
                      <a:srgbClr val="1A1A1A"/>
                    </a:gs>
                  </a:gsLst>
                  <a:lin ang="5400000" scaled="0"/>
                </a:gradFill>
                <a:latin typeface="Segoe UI"/>
              </a:rPr>
              <a:t> and on cloud (Azure + external)​</a:t>
            </a:r>
          </a:p>
          <a:p>
            <a:pPr marL="685800" lvl="1" indent="-457200" fontAlgn="base">
              <a:buFont typeface="Arial" panose="020B0604020202020204" pitchFamily="34" charset="0"/>
              <a:buChar char="•"/>
            </a:pPr>
            <a:r>
              <a:rPr lang="en-US" sz="2100">
                <a:gradFill>
                  <a:gsLst>
                    <a:gs pos="1250">
                      <a:srgbClr val="1A1A1A"/>
                    </a:gs>
                    <a:gs pos="100000">
                      <a:srgbClr val="1A1A1A"/>
                    </a:gs>
                  </a:gsLst>
                  <a:lin ang="5400000" scaled="0"/>
                </a:gradFill>
                <a:latin typeface="Segoe UI"/>
              </a:rPr>
              <a:t>Provides a managed cloud-platform to set up complex ETL and data integration pipelines</a:t>
            </a:r>
            <a:r>
              <a:rPr lang="en-US" sz="2400">
                <a:gradFill>
                  <a:gsLst>
                    <a:gs pos="1250">
                      <a:srgbClr val="1A1A1A"/>
                    </a:gs>
                    <a:gs pos="100000">
                      <a:srgbClr val="1A1A1A"/>
                    </a:gs>
                  </a:gsLst>
                  <a:lin ang="5400000" scaled="0"/>
                </a:gradFill>
                <a:latin typeface="Segoe UI"/>
              </a:rPr>
              <a:t>   </a:t>
            </a:r>
          </a:p>
          <a:p>
            <a:pPr marL="342900" indent="-342900" fontAlgn="base">
              <a:buFont typeface="Arial" panose="020B0604020202020204" pitchFamily="34" charset="0"/>
              <a:buChar char="•"/>
            </a:pPr>
            <a:endParaRPr lang="en-US" sz="2400">
              <a:gradFill>
                <a:gsLst>
                  <a:gs pos="1250">
                    <a:srgbClr val="1A1A1A"/>
                  </a:gs>
                  <a:gs pos="100000">
                    <a:srgbClr val="1A1A1A"/>
                  </a:gs>
                </a:gsLst>
                <a:lin ang="5400000" scaled="0"/>
              </a:gradFill>
              <a:latin typeface="Segoe UI"/>
            </a:endParaRPr>
          </a:p>
          <a:p>
            <a:pPr marL="342900" indent="-342900" fontAlgn="base">
              <a:buFont typeface="Arial" panose="020B0604020202020204" pitchFamily="34" charset="0"/>
              <a:buChar char="•"/>
            </a:pPr>
            <a:r>
              <a:rPr lang="en-US" sz="2400">
                <a:gradFill>
                  <a:gsLst>
                    <a:gs pos="1250">
                      <a:srgbClr val="1A1A1A"/>
                    </a:gs>
                    <a:gs pos="100000">
                      <a:srgbClr val="1A1A1A"/>
                    </a:gs>
                  </a:gsLst>
                  <a:lin ang="5400000" scaled="0"/>
                </a:gradFill>
                <a:latin typeface="Segoe UI"/>
              </a:rPr>
              <a:t>Native integration with Data Migration Service for migrating from MongoDB (</a:t>
            </a:r>
            <a:r>
              <a:rPr lang="en-US" sz="2400" b="1">
                <a:gradFill>
                  <a:gsLst>
                    <a:gs pos="1250">
                      <a:srgbClr val="1A1A1A"/>
                    </a:gs>
                    <a:gs pos="100000">
                      <a:srgbClr val="1A1A1A"/>
                    </a:gs>
                  </a:gsLst>
                  <a:lin ang="5400000" scaled="0"/>
                </a:gradFill>
                <a:latin typeface="Segoe UI"/>
              </a:rPr>
              <a:t>latest</a:t>
            </a:r>
            <a:r>
              <a:rPr lang="en-US" sz="2400">
                <a:gradFill>
                  <a:gsLst>
                    <a:gs pos="1250">
                      <a:srgbClr val="1A1A1A"/>
                    </a:gs>
                    <a:gs pos="100000">
                      <a:srgbClr val="1A1A1A"/>
                    </a:gs>
                  </a:gsLst>
                  <a:lin ang="5400000" scaled="0"/>
                </a:gradFill>
                <a:latin typeface="Segoe UI"/>
              </a:rPr>
              <a:t>)</a:t>
            </a:r>
          </a:p>
          <a:p>
            <a:pPr marL="342900" indent="-342900" fontAlgn="base">
              <a:buFont typeface="Arial" panose="020B0604020202020204" pitchFamily="34" charset="0"/>
              <a:buChar char="•"/>
            </a:pPr>
            <a:endParaRPr lang="en-US" sz="2400">
              <a:gradFill>
                <a:gsLst>
                  <a:gs pos="1250">
                    <a:srgbClr val="1A1A1A"/>
                  </a:gs>
                  <a:gs pos="100000">
                    <a:srgbClr val="1A1A1A"/>
                  </a:gs>
                </a:gsLst>
                <a:lin ang="5400000" scaled="0"/>
              </a:gradFill>
              <a:latin typeface="Segoe UI"/>
            </a:endParaRPr>
          </a:p>
          <a:p>
            <a:pPr marL="342900" indent="-342900" fontAlgn="base">
              <a:buFont typeface="Arial" panose="020B0604020202020204" pitchFamily="34" charset="0"/>
              <a:buChar char="•"/>
            </a:pPr>
            <a:endParaRPr lang="en-US" sz="2400">
              <a:gradFill>
                <a:gsLst>
                  <a:gs pos="1250">
                    <a:srgbClr val="1A1A1A"/>
                  </a:gs>
                  <a:gs pos="100000">
                    <a:srgbClr val="1A1A1A"/>
                  </a:gs>
                </a:gsLst>
                <a:lin ang="5400000" scaled="0"/>
              </a:gradFill>
              <a:latin typeface="Segoe UI"/>
            </a:endParaRPr>
          </a:p>
          <a:p>
            <a:pPr marL="342900" indent="-342900" fontAlgn="base">
              <a:buFont typeface="Arial" panose="020B0604020202020204" pitchFamily="34" charset="0"/>
              <a:buChar char="•"/>
            </a:pPr>
            <a:endParaRPr lang="en-US" sz="2400">
              <a:gradFill>
                <a:gsLst>
                  <a:gs pos="1250">
                    <a:srgbClr val="1A1A1A"/>
                  </a:gs>
                  <a:gs pos="100000">
                    <a:srgbClr val="1A1A1A"/>
                  </a:gs>
                </a:gsLst>
                <a:lin ang="5400000" scaled="0"/>
              </a:gradFill>
              <a:latin typeface="Segoe UI"/>
            </a:endParaRPr>
          </a:p>
          <a:p>
            <a:pPr marL="457200" indent="-457200" fontAlgn="base">
              <a:buFont typeface="Arial" panose="020B0604020202020204" pitchFamily="34" charset="0"/>
              <a:buChar char="•"/>
            </a:pPr>
            <a:r>
              <a:rPr lang="en-US" sz="2400">
                <a:gradFill>
                  <a:gsLst>
                    <a:gs pos="1250">
                      <a:srgbClr val="1A1A1A"/>
                    </a:gs>
                    <a:gs pos="100000">
                      <a:srgbClr val="1A1A1A"/>
                    </a:gs>
                  </a:gsLst>
                  <a:lin ang="5400000" scaled="0"/>
                </a:gradFill>
                <a:latin typeface="Segoe UI"/>
              </a:rPr>
              <a:t>Native integration with Spark Cosmos DB connector​</a:t>
            </a:r>
          </a:p>
          <a:p>
            <a:pPr marL="571500" lvl="1" indent="-342900" fontAlgn="base">
              <a:buFont typeface="Arial" panose="020B0604020202020204" pitchFamily="34" charset="0"/>
              <a:buChar char="•"/>
            </a:pPr>
            <a:r>
              <a:rPr lang="en-US" sz="2100">
                <a:gradFill>
                  <a:gsLst>
                    <a:gs pos="1250">
                      <a:srgbClr val="1A1A1A"/>
                    </a:gs>
                    <a:gs pos="100000">
                      <a:srgbClr val="1A1A1A"/>
                    </a:gs>
                  </a:gsLst>
                  <a:lin ang="5400000" scaled="0"/>
                </a:gradFill>
                <a:latin typeface="Segoe UI"/>
              </a:rPr>
              <a:t>Allows Cosmos DB to act as the output sink or input source for Spark jobs​</a:t>
            </a:r>
          </a:p>
        </p:txBody>
      </p:sp>
      <p:sp>
        <p:nvSpPr>
          <p:cNvPr id="3" name="AutoShape 4" descr="data:image/png;base64,%20iVBORw0KGgoAAAANSUhEUgAAAXUAAADDCAYAAAEKHrGCAAAAAXNSR0IArs4c6QAAAARnQU1BAACxjwv8YQUAAAAJcEhZcwAADsMAAA7DAcdvqGQAACR9SURBVHhe7d0JlBtXmS/w71aVpFYv7rbbdhwc29m8ZD+BEJIwkAw5IQk4eAAv6rbnEWAOcGBeeLx5D+YRHk6GLTALj+WQsCQw5ECMCSHpzXaWY2BCdkjAS6u7bbftOHbi3W73Iqmq7vuudDtu9yp1qyRV6f/zKavuVUsqXX366taiWzQVUsq3ua77qO04nbZtr9HVBSP0bdZ4Yd1jfTvEi7tjuuZM0fDb6N0Lf0SC6SrPGPo2a2qhBhfcEAb1pRLpSc0r/ck/pW/vf+nVe9MzpeSae5/maDltx6GnZfz1p2QildQ1Uv7nXw7Ihpb4/fohnsn5o732h89IPZumCq4r6YJ5MzMVb5IPPLR0ycd1wRM5h81w6t17H92jm/LCFxMWvlgKvvCNG3Ym9ewIDS0dZySDiRR04RvbuqR07JAuniHXBVcKtvBq4aTr6tKZJrPgSkEWfryFm+yCK54v/FgL19C0/dqpLLji5cJPH3PB27qOkWE+o4uT5uHCiw/qmZFct07PTUnBvrBewMIP99DSxWJw0lXj1kmSXboqJ2j5KZNi9LXXBKa8MaK4UtL55wzfGJmcoWE1EYRNseS88MIwR5/M/EwF47rud1O2vVPteOJphq4umJy/sGrXRtuWS8g0KnTNUC7dfMnL6m/mGYaxT1d6JqewUQv+VPsH0gsu+F/Kcel44iQlHFvtjOK/MGjTtrep+VczjyghKk0Odaxvv3xpzyOy+8hzuiZjql3dbOUUNqPtcFL/nXtO/YgnyiVfT9aUUqVaOhUtni/lGLCSKhYsfC5Wb9g5ZiZa1bT9vXo2KwVd+LFS6KqWjtsnk14LsvArf/PKpWMtnPokeCF+qos58XzheaEPmpHoFl08Q2Nrp3R57TxZni68ju9ZmdKZ1CfBdGlyPFt4tXCjtSpvbI8Z+7kqSMwPJR1Hz40kzEyPI1sFX/jxOJJy2hAuqYWnsT+UUXmy8IM7kzgIHlNl7rjd+2adNlgeWscbgv5teWkYpRPznFnSgeDq24nwFli9ns1KTl3x0XY4KefOzek1xyRJ3LVu6aK7dXFCpfWFdV0fZ5sc5bTwo+5sUtMoO48mM5EhRu1KjKVgm5+u6z7HX8h36CIl7ZO058jT1JPYwst8hBy3mgyjnpactYIqQrOHn4zxt/zY3+n5QPC04Qd7jRu3XskNObVv182XZE6g4g+gYMHiJU/fxL1/3CU/dd156fmknaCvb67kuewPgaR4xbZsyTfo6nP/WdeozZcOz8+fKgRPG37o6ljtkb1pwXT66q0XcWrJ7mXbdhyln7UfIssY+vfen7hWCAVr+Ilkf0AuGA3v626Nn6HhiwQNXyRl0fCx5viktgFiLV236Nm8C3TDr960K30o2LRC1+uqCX20rXOWekx657WbmtTpP9kIXMPzNpsYbDg3ldK1E4u1djyrHjPgyoO6ylOBafhVzfHvqIZrbO3MKUpXb8x8K4Ska3RVQfi+4dds6k43HG+U3aGrJrRi/XpTPUZNrp39tyKffNvwgw3npMb84cYIq5o7HlSPsSqvmPwh0zzxYcOLj6nG04WsqIOo6jGGoIL/VnQsgVu55pNrUH6O8YwCDV8kvtlJxt2Or3HP44xA4SdfLkgs1EXVl3yZ39FGXUrjp3WFEHfqYpow5NelO/y9i0/yf2ecQSwd9451yy76ni7mlW8afuhB/UENzR2P8jtYpovqzdz7y6WLP62Lbxq+ThjtuWIt8c4zPkTmZcMj1YzHND07h943EV8MuZ73kAtE/HhyPGcjF2j4IkHDj0MI7/rxnub4sbiuO42n9xuGsZKLS2zHjVqm8QrP77Ft+6FwOPxc+g8DqiCNzg18Jfej/6yL5LiSehN7aefhh3ntdZyjKsEr1nqaXnkNza17K4WtGv2Xqg8ut/GHc6kuBoKnjc6NfQ43dvqHdE/FbyPbeY3nsn9J203Re5Y8TdHQNNX4Ljd+AX+U6R3PGp0bSQ2Tkt5dqH7FOBW2PIfef2n6ZOlAnD3m2cr0uR2H/qpnR8i0m6ABO5Ue10z91FTdqrSjTm4a3qqCTqebIPAsaq6575n2Zz957RJdpBe6v06PdtxJ4SwThNrKCokIfeFveyhkZsYW+t+bd9G/vecC30e6p43OQbvkK9efTzcuPkvXnpbkKN9/8k80kOyj3uQJqqucTfVV51Nd9Gz9F6epc1xXtnRSyBAF+bmv1zxvdF2kpCPpB7csoqvPy26D71TCprv/uJf29tlkDllKNPo4hjf6aNI7avTemvPmzUxH9EQLFIRGL+pWqWo9tU5NT7pcDrAroAjQ6EWARi8CNHoRoNGLAI1eBGj0IiiLRv9E02vqN5o5aWiJn/59Zp4FutHXrl1rqHNhjs50sj5LQWlo7eziTbVv6GLeBbbRVzW339D59sYcB1BJj/UuScoLddETgWz0hub2XxnC2KyLWVM/tZFTGKQqW4FrdE4Nx0mkD3jnRKWhXH5mMxWBavQ1T+xRqaFWF7OytOmlylzPi5+qwDS6unyFkxjQpew0tLXfVmPU9OpiwQSi0VWkjnXZjbHEWuIbyTWadLGgfN3ojS27FkwmNfBjEoLEzbpYcL5tdG64OyWlduti1tY8vlt9SOFMqTh82egNbV0dfPPVTCl7ja2c95MJXSoe3zW66kuT6y7Sxay4h/vSaYgTv64pLt81+mT60hFDtOvZkuDrFalfodGLAI1eBGj0IkCjF4FnJ1Vlc1rdUOedkzmtblRSHuIl/YkupQnD4B6g/KIuanLEgQd+ys8IIabpIpPb+L8zNv+5EdQJfcOey7tT+HzR6Fy9Zd1tiy/XxTcN3wUwxi+k9/Am/3xdVK/xy3W3LVmti28abXeCV42O9FIEaPQiQKMXgS8aXYgp7DRR14s5Q3YXd/CSL1akxYIVaYCg0YsAjV4EaPQiQKMXARq9CDxrdENd2Gn4xaLGm4ZdEKoUJsiR67pncb//LsdxdvFtXvFzH+Dp2zyb9XYIFJ9nG6WFxIH3Ob7596HDwajt256Bbmo/8HO+fYYS9j4yDEGGUINqDP7ZRG9/cCPZJVfa5LgmVUXmU130fbTwrGVUHXmLvj9DfxG+bFlWzqflgPd8G+wcVO/l2N6ki+ngfqL9Zr59g0uFXRW6MkWV4evo+kX36ZoMjv3LDcMY9VrZUHi+7LBzoH9+aKD3p47Rpu1XcHAd5lLh+3xqbTGQepE2bL1M12TwMv71he4jt+oiFJkvM/ttP3u+vekjV4/oL/9xx2e4y/IHDrKwCrT0mzuR6KfDfUfoaOIEpRw1FmTmCEf6jQ9594Ozb+7d55nBeXWfGtwtalXRjIppVB+dQdXhSPp+zt78nEnu0txK71r4rfTfD/WhpvYHfrvsYt9fPDEIhnzc/qEOUvHNkuvn1tA9S8ceqzRlO9R1pIWe2/MQHer9HfXyGsDhwFRXUFXTRG9edY1cNfG8SRb31+tpduW76B3zb6eFM2+mkGVl/nAY25H0j0/upJO2emQwrhQaBL4N9qFHZNMZlqPy7y89iz561XyqrMiM7Fgo+04M0H9ufYP+cnRg2LWIFQR7qQhEsI8lnZU5PasxZusjJs2bVkHTqyP0zjnVtGh2DVWETQqZBtVET/8YTDXIiYSdvj3Um6L2Y/20tydJR/pT1H0qSSa/cGbNMHLM2tEh2EtFoIN9MtSX44J5s9J98fxAsJcKHD6FsoFgh7KBYIeygWCHsoFgh7KBYIeygWCHsoFgDxIpC3bcZMX69b77lQWCPQAaWjv3rd6wUy5/9tUKXeWZWHP7o2ooZKPi0ht1lW8g2H0q9nj7W1Zv2i3TQwpJOVdXe0LyGoMDvEe9lhDGslyHoC4VCHafaWyJf05lcZE0XnNT3g44vLJp+1vVSNKNrZ0uB3i1rvYtBLtPcFbdojKrJPEfrscXWok1x3+ouiqmYf6pFEbwzhcEewlbsf6l2sa2Ha4e/XDsE/fzJNbScTjTVRGf8GtXZTwI9hK0qqm9cfWmbmlV1hyXruPpHpY1j229cM3je9J9f36hel0dSAj2EhJrjf9eBZ1hGL9wU0ld641VrfGv8FpDOmaoy0nmdpEpv0KwF9mK9VvDDa07MplVinfras80tHXuTn+hpPgSrzV0bXlAsBfJ8tbOm1Zv3MVdlVDC60FtV7RsnbN6Y3dmN6UrF+jqsoNgL7BYa8ej6jplISkfd21vr6bKG5z/Pf2FotAB1/a2W+QHCPYC4SDvz3RVaJnX14fj1/lL+rWIvuv1F8pPEOyeMz6mg9zTQ/lq33vkRKov3VUhGnEhGECwF0C+frg9Ma8PNvkdgh0mxTX8t08ewQ5lA8EOZQPBDmUDwQ6TYjpipp71DQx/N8xUhr/jh4x6/efRNDR3PMqtv0wXR+AP5t5fLl38aV0c1/BrRw/H72XUa0mPhp+rk59roS6OSTruHeuWXfQ9XfQFZHYoGwh2KBsIdpgUYRnYzw7lQaoTIHwGG6jDTG18dn6QFFmeryvN9IWfxpJegCyfS0hrvI+Sn0ryRme2z2XyfxPGhSRx17qli+7WRV9AZs8rDhJBVnbTBAGVuQLaKI8bZeL/xsNPlctzTRjofoVgh8ny3X52BDtMjg9HH0CwQ9lAsEPZQLDD5Bjos0OZEJmr4gNAKQrsPtXRuK67wHGcxaZpXsbFv8nUkjpbMGo7bqUqWKZxiG/28aQOwryYTCa3RyKRLp7vEiLbA0YABcJBvZSnR3hy1NHDfOIvyxN8cztPZZUo/CwwHxQHXYinu3j2s5x5qzK1Z0ra/fz/AB3q2UXH++KUcF7lsiBDHE7fqnFcJM3meZci1vlUX7WEZlTNJyGiFDIjXD8Sv6YakOUBnj5rGEZwxnUOGN8HOmfsWXyzmYP7kkxNRl+yhw72PE+vHXuATg50c0CeINMI8T2Dl//J5q1ntrsk2fw6Nn8hZlFNxYW06KxPU13l5Rz86vlO46DfyTfv5oDfn6mBUuHrQOcuxK85qJbrogo02nbgR7Tv6P2chdVItGcGYj65MsFfnFpaNPtOOnfm+3RtBn/5fsXbATFdhBLg20DnYDrIWVxl87Tdh5to+4H/w8Hn+fWyhuF87ybpmvMf467OBbou/aXr5C/hYl2EIvPl/nQO8t8MDfJXj2yk+OtfLkKQK4IsI0IvdC+jE/1v6DquFWKRbbt36CIUmS8DnYPoQ3o2bcdh1VUp7qU3DRGhV/b9QpcyeNP2W3oWisyXXRfuFpxxdO543256btdSDvbR94wo/OVIv1n1f8p1ubvh8JQZ+zDFXQ91wM/gf1Z6g5X41qKwYRJ3P7ikrq6Y/j9932hUn/1dC5+m6kidrsnsiLfUC0PR+fJD2HW4T55XH9WljKO93Rzsf8fdFxWYHLIcX0nHoSP9x+joQA+dSBxTGTYdsEr6jet3P7QR3gzldGBnGPwHpjBoemQGTY/WUn1FLb+OSP9iSeXtlGPTdRduohmVb8k8QFvXdZIaFtX6so2Dxpcfwtt/9Lx87uNX6Wx7pr1HN9PGjn+m7hMvcFZWAarvyCPH5YljfOH0d9J7Ft5DC2YMHmQ9bf+JAfqn5w/SupsXINBLgC8/hOvuf1GmEkl6eOXlNL9+7OvLHj61j/6y/9f0yuvfpoFUD/Wmjqez8+A0EZeDeXCqCtVRJBSlK+d8ni4/eyXNqjkzew/1xK6j9ONth6giWkkP3jQfgV4CfBvo0k5xVpV0xcwq+u5tl1BF2NL3js/hqE2k+qjX3ksn+49yAwg61nd6b0ld5Vn8v6RpFdOpMjSfIlYVWVmuFl7lLP4vz75KvSrdMysSRaCXCF8H+qAk9yUWVIfpzhsupLfOm65rC0N9cZ7cfYwejB8mm+N7aGcKgV46AhHog1QXw3FdmhGx6LaLz6IGnuqnnbnRmg+dh3rpyb0n6A8HetJ99dAY/SAEeukIVKAPp7o2KuOqYFxUG6HZ1RU0r7aCrp07jebWRUn97Lee64ZK2C4leA1h8+N2Hxugl4/204kBm97oTdLRpKv3wHCHJ4uWQ6CXjkAH+lgyPWjtjALRzOnVVF2V2R8/1cZBoJeOkfvnyoCKvDcn/m/EpO+D4CjLQIfyg0CHsoBAh7KAQIeygECHsoBAh7KAQIeygECHsoBAh7KAQIeygECHsoBAh7KAQIeygECHsoBAh7KAQA+ItZs3Z/fr8DKFQA+A/9bcMbfz1Nl/1UVPrd0srYa2rqQu+gYC3ediLfFb3EhknyTy/CIEy9s6Z+1I7U4J6eF43B5BoPtYrKX9S4YZ2uAkvb/QRuNj8XdWWOGDbpKTuQ9/Z4hA96lVLe2PCGF9RTqZgVK9FGtqv0OEw08X4gvlFQS6D8WaO3caZHyQpPfX6W9obn/QMK3vuM7kR10oBQh0H1mxXpqNrV0DQsjzdZWnGlo6tpAw1qiLmPkdAt0nPvLb7rpwbbfNQTf2IPB5FGvpOsE3l2ZK/odA94HYo+1XOVXimJvyvvuwYv3W6sYNOxxB7jRdFQgI9BLX0NT+SbMi8mIhNgRX/mb7pZHpNT3ScQIXFwj0EhZrbv+JsKz73CkMv5etWMv2hlB1dIuTUJetDB4EeoniDcE/CWF8XLrebwiubG7/d8MI/9JN+e6AZ9YQ6CWoobXzGN+8NVPyFr/W703D/J/SVZcWCy4EeglZ/szeaOPGnQ5JefrSdh5qbO16jV/r3W9ewSzAEOgl4u9aty+qOOX0Sdv2/DO5pa0z0tDalZTSHftCTAGDQC8B3H34cJUV7XDUeSQeW9G0df5MKzxA0vXdiVlTgUAvslhT/Gu80flwITYEVzfFb4xUVO/x8zkrk4VAL6KG5vjjwjS+WIgNwZXN2z5PodCT5RjkCgK9SGItXa+SEDcVYkMw1hJ/2DRC33QLcKZjqUKgF9j1mzdbja2dCUHuObrKUw3NnXFB4sPlsGdlPAj0AlrR0j3nnOS5KSllWFd5qrFtxykScrEuljUEeoEsb9p+fSRsHCjERuey33bXrd60W3Lfv0pXlT0EegE0tnTcEQ6Ff+ckvT+PJNbaflVN+kzH8tzoHAsC3UPqBwurmuI/443O70jH4z0rQoRXtsb/wTDCBTnT0W8Q6B5SAWcY4iPcJ9c13hFCXGyR+eNC/IbUjxDoQcFfpiD85M0rCHQoCwh0KAsIdJgE/41ghECHsoBAh7KAQIeygECHsoBAh7KAQIeygECHsoBAh5wJ4b/96D68dgHRdfe/KKVHw7TNnF5N1ZW5D1grDIOkdL5Lknp11Zi40aUwQ18c66dthmmR6zpfJemaumo804VhfmqsEb2Eaarnukdkc2aZEFEhjP8x0ehgavl+cesFvoodBPowkw10wwqRkzg1Z92yy9/QVeNa88QeOdY4h1YkSg/eND+rz2b5Y10XRsJG11hfGjMcoQtuWmDeLcSEZ3wtbXppZm14xqGJxnr0Y6Cj6wJlAYEOZQGBDmUBgQ5lAYEOZQGBDrnz4X50BDqUBQQ6lAUEeh5ZtpufcS1y6BmYzoCc6O/vvusuPTe+aT3hwF7fxX+dLVaKR0bTJGU/qIogS8+NLtvnEpI/QzH+qQL5XC6mjgL/4pbzfRU7yOj5pIIk22kioz1mtGmiIFdGe9xYU0Ah0KEsINChLCDQIXfYjw5QmhDoUBYQ6FAWEOhQFhDoUBYQ6FAWEOhQFhDokDM/juuCQIeygECHsuDL03Tf+dM/e3uabtUkT9MtE2pQpAdvnOfL2AEINHwrfUxKGeJpBs/O4mkRT5dw+SLeWJzP89N4qhmcuC7Mt55wpXQNIXr4tdW4kyf4tfp4fj9PHTy/hes6eNrH88fUfeoxAOANJPUSx4mxmqfLePadPN3I0xU81XuZpL3G70eNeXqSb7v59nf8Xjby7cuGYRxS9wPA5CGplxDXdVWv+zaeYjzdyMkupOon4roOHet9jfrt/eTIA5RIHaGjvXvoVGIX2e5hMsRJzqQuSXK5V61+7s/z6duh1DAGw4cyUGW1H3pomBgkhJ543uBbKcMkRR2FzbOptuICml41j+vrKGTOo5qKuTypt5UdTvRqwV7g6Rf8/n/D0+vpOwAgK0jqRcQJzOJpJc9+iZPXRZna0aWcAXrt2At0cuA5OtyzhfpTnWQYam9H5iM00qMCqPlSORioVghq5aFWJqdXFkKcRXXRS6g2ejnNqnk3zaxeqO8ZG7eR2n3zdW4jlegDOwgNQD4gqRcBJ6kbePoRJ6gxM9qJ/tdo18Gf0sFTT5CT7m1b6d5xsM7gyGwxOJzzq8KX0NzpK2n+jFsoYkX1/SNxu73M7fYxnl7RVQAwBJJ6AbmueyknpTbDMObpqjNxcou/8WPqPvwDTuJqt3Ngx9EakyuT/N7n0OVzv0Vn112pa0fidnyKbz7IbdmTqQEABUm9QJLJ5HWmaf6ek9ComTrl9NEL3XfQyYHnOan59hhoXqigTDj9dM70L9GV8xozlaOwHWerZZpv5V67Nye3AvgQfo1RIK+fHPjaWAldCZmVNC16IfdAsx/2eTLE4D8xclIHPYdPI/7uzX9eEuS4NoW5TcbDCf3S33cdulsXAYChp14g9zzZ0f6FGxct0cUx7T/+J9q2//+S7e7hpFqha0enPjyVaNWcK6WeHH6sQwk7xb3dzDTg9KbrHL7f4Vt14FLNq7Nmhkq5qTMOanJaJ2vYesgyzPRrmpzw1aTKFVYlhY0whfhvI1aIk7GV+Tv+xyuy9HKq55X8muNTy5Xk2wu5h/4NOrt23GPHdDBBdOfmzgd+cuvij+sqgLKHpF4gV/3g6fabz5+15K4bLyDLmvj6Fepslz1HHqd9x9ZTfzLOn1Q/J0WLE3SKTib66ESih/rtXk7EbjoZD1I5vhQ+VJW+B3O4wQsVMkI8mTQtXEe1FVVUFaqgiGnySijFUxVFQxfTufWrad6MG3irZeIzOeOHeunbW4/R0VO9Dzz8gSVI6gAaknqBXHPfM+3CspakUkm6/bKz6R/ePp8i4ewPhKqr4fUmj3JPvp22H1xHR/u28bSfjic6Mol8SDJX8+nbzE3BqWQ+2Cc/PW9RbeRCmh6dQzOr3k6LZ36A5tZdRNWRGemkn62uw3304y1vUPepJEWjlWQn+h54aCmSOsCgYn3vy45K6kYotEQNWKOSXMp26S1VYfrYFWfTLRfPoYocEvxYUk6CTvYfpRMDh+lwXzsd6XuWEqkB6kv20AD36vvtk9zL76Y+u3vUD360vSOj5Vv1Z1XWeVQdXkBV4enc445SNFzD0zSaUXE1zaxcRLXRWTQtOoN73VMfRGfX0T56pPMIvXioL71Apl4mKxJFUgcYBkm9QIYm9aHSCd6RnKgkXTm7mpYtnkXXnldPdZO98K/P2dwW3cf76PevnqTnXj9Fx5MuWYY6iKv/YAgkdYCRkNQLZKykPpxK8uqAYpKTW23IoLnTKujqOTX09nl1dO7MKprFyd6y/H3SknQlnUo5dOBUkjoO93EPvJcO9qXo8ICTTt4m/5dNYCKpA4yEpF4g2Sb18aifI6merOO6VBexqCJk0jlVYbpsZiXNnR6lGdUVdE5NhGr5vsqwSVG+30yvALz/mF1epoQtqd92qZcT9qEBm471JengqRTt6UnQXk7aAym+j+9XJ21aQ3ajTBaSOsBISOoFko+kng11QFWdrpiZV6cRZn6MoHZhpHvA/IkP7Qeny6PtONfUVsPMuswA84OnJKr/1euo51c/8Vfz6ikGtx/Ugc/RdpfkG5I6wEj48VHAqGQa4v/UFDENquCeepgng8uDyTh9vrqebK5IOe6YU5InWyfvwUk9R+a1Bl9HUJhv1YpjrP3fAFAYSOoAAAGCpA4AECBI6gAAAYKkDgAQIEjqAAABgqQOABAgSOoAAAGCpA4AECBI6gAAAYKkDgAQIEjqAAABgqQOABAgSOoAAAGCpA4AECBI6gAAAYKkDgAQIEjqACWkoSk+c1VT+/9as+lAla4KjFUt8b+PPbrtHboIHkFSBygBnOyujLV0/NWqrDokhLl6oCalLknrex94tL1mVXPH91dv3GlbVvjn0hC1+i7wCJI6QLFIKWJt7R9rbOs6YlZE/yyILnNTSb7D//m8oXnbwlhz/JmaaOSkIegzrm2b0nX0veAlJHWAAsv0XuP3NbbtcAyy7peuO8P1+ILkhRJr7lze0NL5hhmu7BRCXOumgvG+/ARJHaBAGpriSxpaOp6dVlXFvVfjk1K6ghO6vte/PvHSS6FYS/s9jRt2SMM0fs2bILOd9BYHFAOSOoDH0r3X1s7DRiTSzsVrnEQ/38j0fX7W2LJtAa+knuw/NjspyPyCdBzCLpbiQ1IH8MDyZ/ZGG1ri/9a4YWcq3XuVsj6zv9z/Glvjt8Za4vtEKLqbizfaAVlJBQWSOkAeLX/slfO497q5osfpIxL/JB3bCkLvdcX6reFY0/a1jRt2JMiw2gSJudhfXpqQ1AHyYNVj8WUNzR0HKirqdnHxhqDsU/5Iy9Y53CtvDddWJYRp3SUdJ6x2s0DpQlIHmKRP/PClUKy54+7Gti7bDFuPkqA5Tiqh7/W3hqbt13OvfIcTrjnAvfL3pXcdSexi8QMkdYAcrWjaOr+htbOl77yZSWGIL0vXNYPQe10rpdHYEv8cv7d+IxT5Hb+nC5zkgL4X/AJJHSBLscfi7+Ge+e5wuHIP91rf7yS5Vx6A3uuaTTtmNzbFH9qxaZcjhfEf/J4qXMfW94LfIKkDjEOdg72qOf6FxtYdA0Y49JQQtCAoPxRqeGTr1bGW+DYprDekIWKuzYkcu1h8D0kdYBR6YK1Heo/UJ03DvEdKJyID0ntd0dT+qcYNO3qMqqrnBYmLXbXFAYGBpA4wxKqW9utirZ3tZkX0kGGYH1QHCKX0/68+1dAEseb4T1dv3CVDlnWvdJzqoJw3D2dCUgdgsabtn2lo6eyxzMgfhZRLMgcI/b8rYmXzrisa2jpfnFZZeVIIcbvadRSEoQlgbEjqULY+vnHvjIaW+M/WbOqWwgx9n5N4tesEZGCtlviahpaO4yGLXiFXXoWzWMoHkjqUnZXNHVdwwvtLwpBHiMRH0j8UCsQulqdrVjW3f79xw05pGOaDXFUblJUUZA9JHcpGQ1P7Rxtau46HwqFXuHh5UHqvyze0L+YtjmenVc49ycn8M+qALnaxlC8kdQi0pU2vVa5qjt/b2LZDCst6gLNdbVDGLGl8bPuH+H29HhGROG9xXOMk8atPQFKHgFrZvP3SWGvHs3UVqV5DiE+pQbWC0HtVA2vxFsc3G9q6bAqFf8Pv66ygnDcP+YGkDoGyqiW+oqG163AoVLFFSOLeazDOwV7+q1fOizW3Pxmpq06QaX6e1NAEGLscRoGkDj4nkrR2rRFrjv9rY1uXaxrWeu6S1/u59yqIV0evZuZjj8VvaWzt3FsxvW6XEMaNQRmaALwj9C147Jr7nmk3QqEl0mfJxuUEMntGDdVUVXAuKcFkIskWlmWQ6xgluXyTk5Qk3xDCmi0ERYLSIxeGQY6duvlXH7j4cV0FHkBPHfxNkCUdO0gJXQlzb30eqaEJsIsFcoSkDgAQIEjqAAABgqQOAAVjWKalZ8EjSOoAUCCCbNep1QXwCJI6AECAIKkDAAQIkjoAQIAgqQMABAiSOgBAgCCpAwAECJI6ABSGIDJtEdUl8AgG9CoQDOiVGyEMMsMRNaNr8kONcjiV8VQM0yIjFNal/FDtmr4K0xTa1zBNXi5ur3xKLxe3V54u9afazkkm71i37KLv6SrwAJJ6gSCpZ8+wQuSk7Fdsk9778PsWHdLVeRFriT8cilR+2E7065rsWRVRshN9333o/Us+q6vyorGl43xu2qeMkHWua9u6Nntq5ZdKDvz8V+9ffDuvBPP2IS377ct10VDls6YVWpKPoYyR1AsDu1+gREnTSg3kPT6FFJakSeY9fhg/PqRLeZN0DEMKaUx2sRRO5dbaPHfSHNOx1Oegi+ATSOoAAAGCpA4AECBI6gAAAYKkDgAQIEjqAFAY6jCugfPUvYakDgAFwlldGEjqHkNSBwAIECR1AIAAwS9KCwS/KM2eME1ybXsPue5aSdYRXoop/wBG8MK7BknTNO80rNA73FRS35M9NTyAmxzYKB3j+1LIvFxrU0hhk+HOE0L8izCtWZMZwiDzC9zkH2zH/X8WCUfyk+m7Jo3fn2sYolaQ+CZ/Hm+RzuSHVhiUXk7bvmvd0kV36yrwAJJ6gSCp506N/5Jv+RjHpCSXi/O4+pdv+Rr3RUFSLwzsfoGSpRJKvqd8GO15pzpNGa9wR3veqU7gP0jqAAABgqQOAIWR3kXk1ugSeARJHQAKRrqU50HfYTgkdQCAAEFSBwAIECR1AIAAQVIHAAgQJHUAgABBUgcACBAkdQAoCDUkjTANnKfuMSR1ACgc1w3rOfAIkjoAQIAgqQMABAiG3i2Qv/nBf52fClkRw3ULO35tHtRX11BNDbaaYWpcQwgRdk+se+9F+3UV5B3R/wcOI9uclRUE8gAAAABJRU5ErkJggg==">
            <a:extLst>
              <a:ext uri="{FF2B5EF4-FFF2-40B4-BE49-F238E27FC236}">
                <a16:creationId xmlns:a16="http://schemas.microsoft.com/office/drawing/2014/main" id="{B96F71C3-CDBF-1948-97E8-6E0177620C78}"/>
              </a:ext>
            </a:extLst>
          </p:cNvPr>
          <p:cNvSpPr>
            <a:spLocks noChangeAspect="1" noChangeArrowheads="1"/>
          </p:cNvSpPr>
          <p:nvPr/>
        </p:nvSpPr>
        <p:spPr bwMode="auto">
          <a:xfrm>
            <a:off x="5943600" y="1158240"/>
            <a:ext cx="2651760" cy="265176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solidFill>
                <a:srgbClr val="1A1A1A"/>
              </a:solidFill>
              <a:latin typeface="Segoe UI"/>
            </a:endParaRPr>
          </a:p>
        </p:txBody>
      </p:sp>
      <p:pic>
        <p:nvPicPr>
          <p:cNvPr id="6" name="Picture 5">
            <a:extLst>
              <a:ext uri="{FF2B5EF4-FFF2-40B4-BE49-F238E27FC236}">
                <a16:creationId xmlns:a16="http://schemas.microsoft.com/office/drawing/2014/main" id="{9FB8CD08-E014-C94B-8A28-6C1708D8ABE2}"/>
              </a:ext>
            </a:extLst>
          </p:cNvPr>
          <p:cNvPicPr>
            <a:picLocks noChangeAspect="1"/>
          </p:cNvPicPr>
          <p:nvPr/>
        </p:nvPicPr>
        <p:blipFill>
          <a:blip r:embed="rId3"/>
          <a:stretch>
            <a:fillRect/>
          </a:stretch>
        </p:blipFill>
        <p:spPr>
          <a:xfrm>
            <a:off x="9383150" y="710822"/>
            <a:ext cx="1953044" cy="1024263"/>
          </a:xfrm>
          <a:prstGeom prst="rect">
            <a:avLst/>
          </a:prstGeom>
        </p:spPr>
      </p:pic>
      <p:pic>
        <p:nvPicPr>
          <p:cNvPr id="8" name="Picture 7">
            <a:extLst>
              <a:ext uri="{FF2B5EF4-FFF2-40B4-BE49-F238E27FC236}">
                <a16:creationId xmlns:a16="http://schemas.microsoft.com/office/drawing/2014/main" id="{A0EB2319-6BA5-CD45-ABCD-2611820AAAB3}"/>
              </a:ext>
            </a:extLst>
          </p:cNvPr>
          <p:cNvPicPr>
            <a:picLocks noChangeAspect="1"/>
          </p:cNvPicPr>
          <p:nvPr/>
        </p:nvPicPr>
        <p:blipFill>
          <a:blip r:embed="rId4"/>
          <a:stretch>
            <a:fillRect/>
          </a:stretch>
        </p:blipFill>
        <p:spPr>
          <a:xfrm>
            <a:off x="9495693" y="5534984"/>
            <a:ext cx="1730619" cy="917869"/>
          </a:xfrm>
          <a:prstGeom prst="rect">
            <a:avLst/>
          </a:prstGeom>
        </p:spPr>
      </p:pic>
      <p:pic>
        <p:nvPicPr>
          <p:cNvPr id="10" name="Picture 9">
            <a:extLst>
              <a:ext uri="{FF2B5EF4-FFF2-40B4-BE49-F238E27FC236}">
                <a16:creationId xmlns:a16="http://schemas.microsoft.com/office/drawing/2014/main" id="{0FA17F1C-E3DF-224F-93F9-0EAFFC92D7FD}"/>
              </a:ext>
            </a:extLst>
          </p:cNvPr>
          <p:cNvPicPr>
            <a:picLocks noChangeAspect="1"/>
          </p:cNvPicPr>
          <p:nvPr/>
        </p:nvPicPr>
        <p:blipFill>
          <a:blip r:embed="rId5"/>
          <a:stretch>
            <a:fillRect/>
          </a:stretch>
        </p:blipFill>
        <p:spPr>
          <a:xfrm>
            <a:off x="6716483" y="3918618"/>
            <a:ext cx="3576026" cy="958228"/>
          </a:xfrm>
          <a:prstGeom prst="rect">
            <a:avLst/>
          </a:prstGeom>
        </p:spPr>
      </p:pic>
    </p:spTree>
    <p:extLst>
      <p:ext uri="{BB962C8B-B14F-4D97-AF65-F5344CB8AC3E}">
        <p14:creationId xmlns:p14="http://schemas.microsoft.com/office/powerpoint/2010/main" val="1297536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2.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158" name="Title 2"/>
          <p:cNvSpPr txBox="1">
            <a:spLocks/>
          </p:cNvSpPr>
          <p:nvPr/>
        </p:nvSpPr>
        <p:spPr>
          <a:xfrm>
            <a:off x="619649" y="417506"/>
            <a:ext cx="10270459" cy="89966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57199"/>
            <a:r>
              <a:rPr lang="en-US" sz="5063" dirty="0">
                <a:solidFill>
                  <a:prstClr val="white"/>
                </a:solidFill>
                <a:latin typeface="Segoe UI Light" panose="020B0502040204020203" pitchFamily="34" charset="0"/>
                <a:cs typeface="Segoe UI Light" panose="020B0502040204020203" pitchFamily="34" charset="0"/>
                <a:sym typeface="Segoe UI"/>
              </a:rPr>
              <a:t>Running the Service </a:t>
            </a:r>
          </a:p>
        </p:txBody>
      </p:sp>
      <p:sp>
        <p:nvSpPr>
          <p:cNvPr id="4" name="TextBox 3"/>
          <p:cNvSpPr txBox="1"/>
          <p:nvPr/>
        </p:nvSpPr>
        <p:spPr>
          <a:xfrm>
            <a:off x="512494" y="1468831"/>
            <a:ext cx="10632377" cy="5122684"/>
          </a:xfrm>
          <a:prstGeom prst="rect">
            <a:avLst/>
          </a:prstGeom>
          <a:noFill/>
        </p:spPr>
        <p:txBody>
          <a:bodyPr wrap="square" lIns="171451" tIns="137160" rIns="171451" bIns="137160" rtlCol="0">
            <a:spAutoFit/>
          </a:bodyPr>
          <a:lstStyle/>
          <a:p>
            <a:pPr marL="321449" indent="-321449" defTabSz="840311">
              <a:buFont typeface="Arial" panose="020B0604020202020204" pitchFamily="34" charset="0"/>
              <a:buChar char="•"/>
            </a:pPr>
            <a:r>
              <a:rPr lang="en-US" sz="2249" kern="0" dirty="0">
                <a:solidFill>
                  <a:srgbClr val="5B9BD5"/>
                </a:solidFill>
                <a:latin typeface="Calibri Light" panose="020F0302020204030204"/>
                <a:sym typeface="Segoe UI"/>
              </a:rPr>
              <a:t>Weekly deployments of the entire stack worldwide</a:t>
            </a:r>
          </a:p>
          <a:p>
            <a:pPr marL="321449" indent="-321449" defTabSz="840311">
              <a:buFont typeface="Arial" panose="020B0604020202020204" pitchFamily="34" charset="0"/>
              <a:buChar char="•"/>
            </a:pPr>
            <a:r>
              <a:rPr lang="en-US" sz="2249" kern="0" dirty="0">
                <a:solidFill>
                  <a:srgbClr val="5B9BD5"/>
                </a:solidFill>
                <a:latin typeface="Calibri Light" panose="020F0302020204030204"/>
                <a:sym typeface="Segoe UI"/>
              </a:rPr>
              <a:t>Quality gates</a:t>
            </a:r>
          </a:p>
          <a:p>
            <a:pPr marL="750048" lvl="1" indent="-321449" defTabSz="840311">
              <a:buFont typeface="Arial" panose="020B0604020202020204" pitchFamily="34" charset="0"/>
              <a:buChar char="•"/>
            </a:pPr>
            <a:r>
              <a:rPr lang="en-US" sz="2249" kern="0" dirty="0">
                <a:solidFill>
                  <a:prstClr val="white"/>
                </a:solidFill>
                <a:latin typeface="Calibri Light" panose="020F0302020204030204"/>
                <a:sym typeface="Segoe UI"/>
              </a:rPr>
              <a:t>Chaos, component and functional test coverage</a:t>
            </a:r>
          </a:p>
          <a:p>
            <a:pPr marL="750048" lvl="1" indent="-321449" defTabSz="840311">
              <a:buFont typeface="Arial" panose="020B0604020202020204" pitchFamily="34" charset="0"/>
              <a:buChar char="•"/>
            </a:pPr>
            <a:r>
              <a:rPr lang="en-US" sz="2249" kern="0" dirty="0">
                <a:solidFill>
                  <a:prstClr val="white"/>
                </a:solidFill>
                <a:latin typeface="Calibri Light" panose="020F0302020204030204"/>
                <a:sym typeface="Segoe UI"/>
              </a:rPr>
              <a:t>Automated performance, RG and consistency runs every 4 hours</a:t>
            </a:r>
          </a:p>
          <a:p>
            <a:pPr marL="750048" lvl="1" indent="-321449" defTabSz="840311">
              <a:buFont typeface="Arial" panose="020B0604020202020204" pitchFamily="34" charset="0"/>
              <a:buChar char="•"/>
            </a:pPr>
            <a:r>
              <a:rPr lang="en-US" sz="2249" kern="0" dirty="0">
                <a:solidFill>
                  <a:prstClr val="white"/>
                </a:solidFill>
                <a:latin typeface="Calibri Light" panose="020F0302020204030204"/>
                <a:sym typeface="Segoe UI"/>
              </a:rPr>
              <a:t>16+ hours of stress run every day</a:t>
            </a:r>
          </a:p>
          <a:p>
            <a:pPr marL="1178648" lvl="2" indent="-321449" defTabSz="840311">
              <a:buFont typeface="Arial" panose="020B0604020202020204" pitchFamily="34" charset="0"/>
              <a:buChar char="•"/>
            </a:pPr>
            <a:r>
              <a:rPr lang="en-US" sz="2249" kern="0" dirty="0">
                <a:solidFill>
                  <a:prstClr val="white"/>
                </a:solidFill>
                <a:latin typeface="Calibri Light" panose="020F0302020204030204"/>
                <a:sym typeface="Segoe UI"/>
              </a:rPr>
              <a:t>Full stack upgrades with customer workloads</a:t>
            </a:r>
          </a:p>
          <a:p>
            <a:pPr marL="1178648" lvl="2" indent="-321449" defTabSz="840311">
              <a:buFont typeface="Arial" panose="020B0604020202020204" pitchFamily="34" charset="0"/>
              <a:buChar char="•"/>
            </a:pPr>
            <a:r>
              <a:rPr lang="en-US" sz="2249" kern="0" dirty="0">
                <a:solidFill>
                  <a:prstClr val="white"/>
                </a:solidFill>
                <a:latin typeface="Calibri Light" panose="020F0302020204030204"/>
                <a:sym typeface="Segoe UI"/>
              </a:rPr>
              <a:t>Chaos tests</a:t>
            </a:r>
          </a:p>
          <a:p>
            <a:pPr marL="1178648" lvl="2" indent="-321449" defTabSz="840311">
              <a:buFont typeface="Arial" panose="020B0604020202020204" pitchFamily="34" charset="0"/>
              <a:buChar char="•"/>
            </a:pPr>
            <a:r>
              <a:rPr lang="en-US" sz="2249" kern="0" dirty="0">
                <a:solidFill>
                  <a:prstClr val="white"/>
                </a:solidFill>
                <a:latin typeface="Calibri Light" panose="020F0302020204030204"/>
                <a:sym typeface="Segoe UI"/>
              </a:rPr>
              <a:t>Automated linearizability checker and Jepsen tests</a:t>
            </a:r>
          </a:p>
          <a:p>
            <a:pPr marL="321449" indent="-321449" defTabSz="840311">
              <a:buFont typeface="Arial" panose="020B0604020202020204" pitchFamily="34" charset="0"/>
              <a:buChar char="•"/>
            </a:pPr>
            <a:r>
              <a:rPr lang="en-US" sz="2249" kern="0" dirty="0">
                <a:solidFill>
                  <a:srgbClr val="5B9BD5"/>
                </a:solidFill>
                <a:latin typeface="Calibri Light" panose="020F0302020204030204"/>
                <a:sym typeface="Segoe UI"/>
              </a:rPr>
              <a:t>Invariant checks</a:t>
            </a:r>
          </a:p>
          <a:p>
            <a:pPr marL="750048" lvl="1" indent="-321449" defTabSz="840311">
              <a:buFont typeface="Arial" panose="020B0604020202020204" pitchFamily="34" charset="0"/>
              <a:buChar char="•"/>
            </a:pPr>
            <a:r>
              <a:rPr lang="en-US" sz="2249" kern="0" dirty="0">
                <a:solidFill>
                  <a:prstClr val="white"/>
                </a:solidFill>
                <a:latin typeface="Calibri Light" panose="020F0302020204030204"/>
                <a:sym typeface="Segoe UI"/>
              </a:rPr>
              <a:t>All invariant violations are traced</a:t>
            </a:r>
          </a:p>
          <a:p>
            <a:pPr marL="750048" lvl="1" indent="-321449" defTabSz="840311">
              <a:buFont typeface="Arial" panose="020B0604020202020204" pitchFamily="34" charset="0"/>
              <a:buChar char="•"/>
            </a:pPr>
            <a:r>
              <a:rPr lang="en-US" sz="2249" kern="0" dirty="0">
                <a:solidFill>
                  <a:prstClr val="white"/>
                </a:solidFill>
                <a:latin typeface="Calibri Light" panose="020F0302020204030204"/>
                <a:sym typeface="Segoe UI"/>
              </a:rPr>
              <a:t>SEV2 alerts on any invariant violation either pre or post production</a:t>
            </a:r>
          </a:p>
          <a:p>
            <a:pPr marL="750048" lvl="1" indent="-321449" defTabSz="840311">
              <a:buFont typeface="Arial" panose="020B0604020202020204" pitchFamily="34" charset="0"/>
              <a:buChar char="•"/>
            </a:pPr>
            <a:r>
              <a:rPr lang="en-US" sz="2249" kern="0" dirty="0">
                <a:solidFill>
                  <a:prstClr val="white"/>
                </a:solidFill>
                <a:latin typeface="Calibri Light" panose="020F0302020204030204"/>
                <a:sym typeface="Segoe UI"/>
              </a:rPr>
              <a:t>Hot fix all invariant violation within 5 days</a:t>
            </a:r>
          </a:p>
          <a:p>
            <a:pPr marL="321449" indent="-321449" defTabSz="840311">
              <a:buFont typeface="Arial" panose="020B0604020202020204" pitchFamily="34" charset="0"/>
              <a:buChar char="•"/>
            </a:pPr>
            <a:r>
              <a:rPr lang="en-US" sz="2249" kern="0" dirty="0">
                <a:solidFill>
                  <a:srgbClr val="5B9BD5"/>
                </a:solidFill>
                <a:latin typeface="Calibri Light" panose="020F0302020204030204"/>
                <a:sym typeface="Segoe UI"/>
              </a:rPr>
              <a:t>Transparently making all important metrics  available to customers</a:t>
            </a:r>
          </a:p>
          <a:p>
            <a:pPr marL="750048" lvl="1" indent="-321449" defTabSz="840311">
              <a:buFont typeface="Arial" panose="020B0604020202020204" pitchFamily="34" charset="0"/>
              <a:buChar char="•"/>
            </a:pPr>
            <a:r>
              <a:rPr lang="en-US" sz="2249" kern="0" dirty="0">
                <a:solidFill>
                  <a:prstClr val="white"/>
                </a:solidFill>
                <a:latin typeface="Calibri Light" panose="020F0302020204030204"/>
                <a:sym typeface="Segoe UI"/>
              </a:rPr>
              <a:t>SLA violations, workload metrics, PBS etc.</a:t>
            </a:r>
          </a:p>
        </p:txBody>
      </p:sp>
    </p:spTree>
    <p:extLst>
      <p:ext uri="{BB962C8B-B14F-4D97-AF65-F5344CB8AC3E}">
        <p14:creationId xmlns:p14="http://schemas.microsoft.com/office/powerpoint/2010/main" val="3267780969"/>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show="0">
  <p:cSld>
    <p:bg>
      <p:bgPr>
        <a:solidFill>
          <a:srgbClr val="000000"/>
        </a:solidFill>
        <a:effectLst/>
      </p:bgPr>
    </p:bg>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417399" y="323360"/>
            <a:ext cx="7950447" cy="1469784"/>
          </a:xfrm>
        </p:spPr>
        <p:txBody>
          <a:bodyPr>
            <a:noAutofit/>
          </a:bodyPr>
          <a:lstStyle/>
          <a:p>
            <a:r>
              <a:rPr lang="en-US" sz="5400" dirty="0">
                <a:solidFill>
                  <a:schemeClr val="bg1"/>
                </a:solidFill>
                <a:latin typeface="Segoe UI Light" panose="020B0502040204020203" pitchFamily="34" charset="0"/>
                <a:cs typeface="Segoe UI Light" panose="020B0502040204020203" pitchFamily="34" charset="0"/>
              </a:rPr>
              <a:t>Security &amp; Compliance</a:t>
            </a:r>
          </a:p>
        </p:txBody>
      </p:sp>
      <p:sp>
        <p:nvSpPr>
          <p:cNvPr id="3" name="Content Placeholder 1">
            <a:extLst/>
          </p:cNvPr>
          <p:cNvSpPr txBox="1">
            <a:spLocks/>
          </p:cNvSpPr>
          <p:nvPr/>
        </p:nvSpPr>
        <p:spPr>
          <a:xfrm>
            <a:off x="258838" y="1935277"/>
            <a:ext cx="5556626" cy="4832867"/>
          </a:xfrm>
          <a:prstGeom prst="rect">
            <a:avLst/>
          </a:prstGeom>
          <a:noFill/>
        </p:spPr>
        <p:txBody>
          <a:bodyPr vert="horz" lIns="89642" tIns="44821" rIns="89642" bIns="44821"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defTabSz="857124">
              <a:defRPr/>
            </a:pPr>
            <a:r>
              <a:rPr lang="en-US" sz="1800" kern="0" dirty="0">
                <a:solidFill>
                  <a:srgbClr val="FFFFFF"/>
                </a:solidFill>
                <a:latin typeface="Segoe UI Semibold" panose="020B0702040204020203" pitchFamily="34" charset="0"/>
                <a:cs typeface="Segoe UI Semibold" panose="020B0702040204020203" pitchFamily="34" charset="0"/>
              </a:rPr>
              <a:t>Enterprise grade security </a:t>
            </a:r>
          </a:p>
          <a:p>
            <a:pPr algn="l" defTabSz="857124">
              <a:defRPr/>
            </a:pPr>
            <a:r>
              <a:rPr lang="en-US" sz="1800" kern="0" dirty="0">
                <a:solidFill>
                  <a:srgbClr val="FFFFFF"/>
                </a:solidFill>
                <a:latin typeface="Segoe UI Semibold" panose="020B0702040204020203" pitchFamily="34" charset="0"/>
                <a:cs typeface="Segoe UI Semibold" panose="020B0702040204020203" pitchFamily="34" charset="0"/>
              </a:rPr>
              <a:t>Encryption at Rest</a:t>
            </a:r>
          </a:p>
          <a:p>
            <a:pPr marL="512007" lvl="1" indent="-280121" algn="l" defTabSz="878727">
              <a:buFont typeface="Arial" panose="020B0604020202020204" pitchFamily="34" charset="0"/>
              <a:buChar char="•"/>
              <a:defRPr/>
            </a:pPr>
            <a:r>
              <a:rPr lang="en-US" sz="1800" dirty="0">
                <a:solidFill>
                  <a:srgbClr val="FFFFFF"/>
                </a:solidFill>
                <a:latin typeface="Segoe UI Light"/>
                <a:cs typeface="Segoe UI Semibold" panose="020B0702040204020203" pitchFamily="34" charset="0"/>
              </a:rPr>
              <a:t>Always encrypted at rest and in motion</a:t>
            </a:r>
          </a:p>
          <a:p>
            <a:pPr marL="512007" lvl="1" indent="-280121" algn="l" defTabSz="878727">
              <a:buFont typeface="Arial" panose="020B0604020202020204" pitchFamily="34" charset="0"/>
              <a:buChar char="•"/>
              <a:defRPr/>
            </a:pPr>
            <a:r>
              <a:rPr lang="en-US" sz="1800" dirty="0">
                <a:solidFill>
                  <a:srgbClr val="FFFFFF"/>
                </a:solidFill>
                <a:latin typeface="Segoe UI Light"/>
                <a:cs typeface="Segoe UI Semibold" panose="020B0702040204020203" pitchFamily="34" charset="0"/>
              </a:rPr>
              <a:t>Data, index, backups, and attachments encrypted</a:t>
            </a:r>
          </a:p>
          <a:p>
            <a:pPr algn="l" defTabSz="857124">
              <a:defRPr/>
            </a:pPr>
            <a:r>
              <a:rPr lang="en-US" sz="1800" kern="0" dirty="0">
                <a:solidFill>
                  <a:srgbClr val="FFFFFF"/>
                </a:solidFill>
                <a:latin typeface="Segoe UI Semibold" panose="020B0702040204020203" pitchFamily="34" charset="0"/>
                <a:cs typeface="Segoe UI Semibold" panose="020B0702040204020203" pitchFamily="34" charset="0"/>
              </a:rPr>
              <a:t>Encryption is enabled automatically </a:t>
            </a:r>
            <a:r>
              <a:rPr lang="en-US" sz="1800" u="sng" kern="0" dirty="0">
                <a:solidFill>
                  <a:srgbClr val="FFFFFF"/>
                </a:solidFill>
                <a:latin typeface="Segoe UI Semibold" panose="020B0702040204020203" pitchFamily="34" charset="0"/>
                <a:cs typeface="Segoe UI Semibold" panose="020B0702040204020203" pitchFamily="34" charset="0"/>
              </a:rPr>
              <a:t>by default</a:t>
            </a:r>
            <a:r>
              <a:rPr lang="en-US" sz="1800" kern="0" dirty="0">
                <a:solidFill>
                  <a:srgbClr val="FFFFFF"/>
                </a:solidFill>
                <a:latin typeface="Segoe UI Semibold" panose="020B0702040204020203" pitchFamily="34" charset="0"/>
                <a:cs typeface="Segoe UI Semibold" panose="020B0702040204020203" pitchFamily="34" charset="0"/>
              </a:rPr>
              <a:t> </a:t>
            </a:r>
          </a:p>
          <a:p>
            <a:pPr marL="512007" lvl="1" indent="-280121" algn="l" defTabSz="878727">
              <a:buFont typeface="Arial" panose="020B0604020202020204" pitchFamily="34" charset="0"/>
              <a:buChar char="•"/>
              <a:defRPr/>
            </a:pPr>
            <a:r>
              <a:rPr lang="en-US" sz="1800" dirty="0">
                <a:solidFill>
                  <a:srgbClr val="FFFFFF"/>
                </a:solidFill>
                <a:latin typeface="Segoe UI Light"/>
                <a:cs typeface="Segoe UI Semibold" panose="020B0702040204020203" pitchFamily="34" charset="0"/>
              </a:rPr>
              <a:t>No impact on performance, throughput or availability</a:t>
            </a:r>
          </a:p>
          <a:p>
            <a:pPr marL="512007" lvl="1" indent="-280121" algn="l" defTabSz="878727">
              <a:buFont typeface="Arial" panose="020B0604020202020204" pitchFamily="34" charset="0"/>
              <a:buChar char="•"/>
              <a:defRPr/>
            </a:pPr>
            <a:r>
              <a:rPr lang="en-US" sz="1800" dirty="0">
                <a:solidFill>
                  <a:srgbClr val="FFFFFF"/>
                </a:solidFill>
                <a:latin typeface="Segoe UI Light"/>
                <a:cs typeface="Segoe UI Semibold" panose="020B0702040204020203" pitchFamily="34" charset="0"/>
              </a:rPr>
              <a:t>Transparent to your application</a:t>
            </a:r>
          </a:p>
          <a:p>
            <a:pPr algn="l" defTabSz="878727">
              <a:defRPr/>
            </a:pPr>
            <a:r>
              <a:rPr lang="en-US" sz="1800" kern="0" dirty="0">
                <a:solidFill>
                  <a:srgbClr val="FFFFFF"/>
                </a:solidFill>
                <a:latin typeface="Segoe UI Semibold" panose="020B0702040204020203" pitchFamily="34" charset="0"/>
                <a:cs typeface="Segoe UI Semibold" panose="020B0702040204020203" pitchFamily="34" charset="0"/>
              </a:rPr>
              <a:t>Comprehensive Azure compliance certification</a:t>
            </a:r>
          </a:p>
          <a:p>
            <a:pPr marL="512007" lvl="1" indent="-280121" algn="l" defTabSz="878727">
              <a:buFont typeface="Arial" panose="020B0604020202020204" pitchFamily="34" charset="0"/>
              <a:buChar char="•"/>
              <a:defRPr/>
            </a:pPr>
            <a:r>
              <a:rPr lang="en-US" sz="1800" dirty="0">
                <a:solidFill>
                  <a:srgbClr val="FFFFFF"/>
                </a:solidFill>
                <a:latin typeface="Segoe UI Light"/>
                <a:cs typeface="Segoe UI Semibold" panose="020B0702040204020203" pitchFamily="34" charset="0"/>
              </a:rPr>
              <a:t>ISO 27001, ISO 27018, EUMC, HIPAA, PCI</a:t>
            </a:r>
          </a:p>
          <a:p>
            <a:pPr marL="512007" lvl="1" indent="-280121" algn="l" defTabSz="878727">
              <a:buFont typeface="Arial" panose="020B0604020202020204" pitchFamily="34" charset="0"/>
              <a:buChar char="•"/>
              <a:defRPr/>
            </a:pPr>
            <a:r>
              <a:rPr lang="en-US" sz="1800" dirty="0">
                <a:solidFill>
                  <a:srgbClr val="FFFFFF"/>
                </a:solidFill>
                <a:latin typeface="Segoe UI Light"/>
                <a:cs typeface="Segoe UI Semibold" panose="020B0702040204020203" pitchFamily="34" charset="0"/>
              </a:rPr>
              <a:t>SOC1 and SOC2 (Audit complete, Certification in Q2 2017)</a:t>
            </a:r>
          </a:p>
          <a:p>
            <a:pPr marL="512007" lvl="1" indent="-280121" algn="l" defTabSz="878727">
              <a:buFont typeface="Arial" panose="020B0604020202020204" pitchFamily="34" charset="0"/>
              <a:buChar char="•"/>
              <a:defRPr/>
            </a:pPr>
            <a:r>
              <a:rPr lang="en-US" sz="1800" dirty="0">
                <a:solidFill>
                  <a:srgbClr val="FFFFFF"/>
                </a:solidFill>
                <a:latin typeface="Segoe UI Light"/>
                <a:cs typeface="Segoe UI Semibold" panose="020B0702040204020203" pitchFamily="34" charset="0"/>
              </a:rPr>
              <a:t>FedRAMP, IRS 1075, UK Official (IL2) (Q2 2017) </a:t>
            </a:r>
          </a:p>
          <a:p>
            <a:pPr marL="512007" lvl="1" indent="-280121" algn="l" defTabSz="878727">
              <a:buFont typeface="Arial" panose="020B0604020202020204" pitchFamily="34" charset="0"/>
              <a:buChar char="•"/>
              <a:defRPr/>
            </a:pPr>
            <a:r>
              <a:rPr lang="en-US" sz="1800" dirty="0">
                <a:solidFill>
                  <a:srgbClr val="FFFFFF"/>
                </a:solidFill>
                <a:latin typeface="Segoe UI Light"/>
                <a:cs typeface="Segoe UI Semibold" panose="020B0702040204020203" pitchFamily="34" charset="0"/>
              </a:rPr>
              <a:t>HITRUST (H2 2017)</a:t>
            </a:r>
          </a:p>
          <a:p>
            <a:pPr marL="63814" indent="-280121" algn="l" defTabSz="878727">
              <a:buFont typeface="Arial" panose="020B0604020202020204" pitchFamily="34" charset="0"/>
              <a:buChar char="•"/>
              <a:defRPr/>
            </a:pPr>
            <a:endParaRPr lang="en-US" sz="1800" dirty="0">
              <a:solidFill>
                <a:srgbClr val="FFFFFF"/>
              </a:solidFill>
              <a:latin typeface="Segoe UI Semibold" panose="020B0702040204020203" pitchFamily="34" charset="0"/>
              <a:cs typeface="Segoe UI Semibold" panose="020B0702040204020203" pitchFamily="34" charset="0"/>
            </a:endParaRPr>
          </a:p>
          <a:p>
            <a:pPr marL="512007" lvl="1" indent="-280121" algn="l" defTabSz="878727">
              <a:buFont typeface="Arial" panose="020B0604020202020204" pitchFamily="34" charset="0"/>
              <a:buChar char="•"/>
              <a:defRPr/>
            </a:pPr>
            <a:endParaRPr lang="en-US" sz="1800" dirty="0">
              <a:solidFill>
                <a:srgbClr val="FFFFFF"/>
              </a:solidFill>
              <a:latin typeface="Segoe UI Semibold" panose="020B0702040204020203" pitchFamily="34" charset="0"/>
              <a:cs typeface="Segoe UI Semibold" panose="020B0702040204020203" pitchFamily="34" charset="0"/>
            </a:endParaRPr>
          </a:p>
        </p:txBody>
      </p:sp>
      <p:grpSp>
        <p:nvGrpSpPr>
          <p:cNvPr id="237" name="Group 236">
            <a:extLst>
              <a:ext uri="{FF2B5EF4-FFF2-40B4-BE49-F238E27FC236}">
                <a16:creationId xmlns:a16="http://schemas.microsoft.com/office/drawing/2014/main" id="{1914F97F-4227-4848-B77D-DC7204973F07}"/>
              </a:ext>
            </a:extLst>
          </p:cNvPr>
          <p:cNvGrpSpPr/>
          <p:nvPr/>
        </p:nvGrpSpPr>
        <p:grpSpPr>
          <a:xfrm>
            <a:off x="7197546" y="2555045"/>
            <a:ext cx="3958471" cy="2009755"/>
            <a:chOff x="7766655" y="4445310"/>
            <a:chExt cx="2400671" cy="1244793"/>
          </a:xfrm>
        </p:grpSpPr>
        <p:grpSp>
          <p:nvGrpSpPr>
            <p:cNvPr id="239" name="Group 238">
              <a:extLst>
                <a:ext uri="{FF2B5EF4-FFF2-40B4-BE49-F238E27FC236}">
                  <a16:creationId xmlns:a16="http://schemas.microsoft.com/office/drawing/2014/main" id="{A1706AEB-8C0F-4BD7-9827-8826D94BE127}"/>
                </a:ext>
              </a:extLst>
            </p:cNvPr>
            <p:cNvGrpSpPr/>
            <p:nvPr/>
          </p:nvGrpSpPr>
          <p:grpSpPr>
            <a:xfrm>
              <a:off x="8359876" y="4445310"/>
              <a:ext cx="1250349" cy="1244793"/>
              <a:chOff x="1749729" y="3638263"/>
              <a:chExt cx="1250349" cy="1244793"/>
            </a:xfrm>
          </p:grpSpPr>
          <p:sp>
            <p:nvSpPr>
              <p:cNvPr id="250" name="Freeform 763">
                <a:extLst>
                  <a:ext uri="{FF2B5EF4-FFF2-40B4-BE49-F238E27FC236}">
                    <a16:creationId xmlns:a16="http://schemas.microsoft.com/office/drawing/2014/main" id="{5D6F1C0A-53B4-4599-95EC-0FB8FB7B523D}"/>
                  </a:ext>
                </a:extLst>
              </p:cNvPr>
              <p:cNvSpPr>
                <a:spLocks/>
              </p:cNvSpPr>
              <p:nvPr/>
            </p:nvSpPr>
            <p:spPr bwMode="auto">
              <a:xfrm>
                <a:off x="1749729" y="3638263"/>
                <a:ext cx="1250349" cy="1244793"/>
              </a:xfrm>
              <a:custGeom>
                <a:avLst/>
                <a:gdLst>
                  <a:gd name="T0" fmla="*/ 558 w 609"/>
                  <a:gd name="T1" fmla="*/ 80 h 607"/>
                  <a:gd name="T2" fmla="*/ 305 w 609"/>
                  <a:gd name="T3" fmla="*/ 0 h 607"/>
                  <a:gd name="T4" fmla="*/ 51 w 609"/>
                  <a:gd name="T5" fmla="*/ 80 h 607"/>
                  <a:gd name="T6" fmla="*/ 305 w 609"/>
                  <a:gd name="T7" fmla="*/ 607 h 607"/>
                  <a:gd name="T8" fmla="*/ 558 w 609"/>
                  <a:gd name="T9" fmla="*/ 80 h 607"/>
                </a:gdLst>
                <a:ahLst/>
                <a:cxnLst>
                  <a:cxn ang="0">
                    <a:pos x="T0" y="T1"/>
                  </a:cxn>
                  <a:cxn ang="0">
                    <a:pos x="T2" y="T3"/>
                  </a:cxn>
                  <a:cxn ang="0">
                    <a:pos x="T4" y="T5"/>
                  </a:cxn>
                  <a:cxn ang="0">
                    <a:pos x="T6" y="T7"/>
                  </a:cxn>
                  <a:cxn ang="0">
                    <a:pos x="T8" y="T9"/>
                  </a:cxn>
                </a:cxnLst>
                <a:rect l="0" t="0" r="r" b="b"/>
                <a:pathLst>
                  <a:path w="609" h="607">
                    <a:moveTo>
                      <a:pt x="558" y="80"/>
                    </a:moveTo>
                    <a:cubicBezTo>
                      <a:pt x="397" y="93"/>
                      <a:pt x="305" y="0"/>
                      <a:pt x="305" y="0"/>
                    </a:cubicBezTo>
                    <a:cubicBezTo>
                      <a:pt x="305" y="0"/>
                      <a:pt x="213" y="93"/>
                      <a:pt x="51" y="80"/>
                    </a:cubicBezTo>
                    <a:cubicBezTo>
                      <a:pt x="51" y="80"/>
                      <a:pt x="0" y="511"/>
                      <a:pt x="305" y="607"/>
                    </a:cubicBezTo>
                    <a:cubicBezTo>
                      <a:pt x="609" y="511"/>
                      <a:pt x="558" y="80"/>
                      <a:pt x="558" y="80"/>
                    </a:cubicBezTo>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sp>
            <p:nvSpPr>
              <p:cNvPr id="251" name="Freeform 764">
                <a:extLst>
                  <a:ext uri="{FF2B5EF4-FFF2-40B4-BE49-F238E27FC236}">
                    <a16:creationId xmlns:a16="http://schemas.microsoft.com/office/drawing/2014/main" id="{3CE76370-EDC0-4DD4-8920-C40300765F56}"/>
                  </a:ext>
                </a:extLst>
              </p:cNvPr>
              <p:cNvSpPr>
                <a:spLocks/>
              </p:cNvSpPr>
              <p:nvPr/>
            </p:nvSpPr>
            <p:spPr bwMode="auto">
              <a:xfrm>
                <a:off x="1908107" y="3767466"/>
                <a:ext cx="933594" cy="1010005"/>
              </a:xfrm>
              <a:custGeom>
                <a:avLst/>
                <a:gdLst>
                  <a:gd name="T0" fmla="*/ 440 w 455"/>
                  <a:gd name="T1" fmla="*/ 67 h 493"/>
                  <a:gd name="T2" fmla="*/ 228 w 455"/>
                  <a:gd name="T3" fmla="*/ 0 h 493"/>
                  <a:gd name="T4" fmla="*/ 16 w 455"/>
                  <a:gd name="T5" fmla="*/ 67 h 493"/>
                  <a:gd name="T6" fmla="*/ 228 w 455"/>
                  <a:gd name="T7" fmla="*/ 493 h 493"/>
                  <a:gd name="T8" fmla="*/ 440 w 455"/>
                  <a:gd name="T9" fmla="*/ 67 h 493"/>
                </a:gdLst>
                <a:ahLst/>
                <a:cxnLst>
                  <a:cxn ang="0">
                    <a:pos x="T0" y="T1"/>
                  </a:cxn>
                  <a:cxn ang="0">
                    <a:pos x="T2" y="T3"/>
                  </a:cxn>
                  <a:cxn ang="0">
                    <a:pos x="T4" y="T5"/>
                  </a:cxn>
                  <a:cxn ang="0">
                    <a:pos x="T6" y="T7"/>
                  </a:cxn>
                  <a:cxn ang="0">
                    <a:pos x="T8" y="T9"/>
                  </a:cxn>
                </a:cxnLst>
                <a:rect l="0" t="0" r="r" b="b"/>
                <a:pathLst>
                  <a:path w="455" h="493">
                    <a:moveTo>
                      <a:pt x="440" y="67"/>
                    </a:moveTo>
                    <a:cubicBezTo>
                      <a:pt x="324" y="67"/>
                      <a:pt x="228" y="0"/>
                      <a:pt x="228" y="0"/>
                    </a:cubicBezTo>
                    <a:cubicBezTo>
                      <a:pt x="228" y="0"/>
                      <a:pt x="131" y="67"/>
                      <a:pt x="16" y="67"/>
                    </a:cubicBezTo>
                    <a:cubicBezTo>
                      <a:pt x="16" y="67"/>
                      <a:pt x="0" y="414"/>
                      <a:pt x="228" y="493"/>
                    </a:cubicBezTo>
                    <a:cubicBezTo>
                      <a:pt x="455" y="414"/>
                      <a:pt x="440" y="67"/>
                      <a:pt x="440" y="67"/>
                    </a:cubicBezTo>
                  </a:path>
                </a:pathLst>
              </a:custGeom>
              <a:solidFill>
                <a:schemeClr val="accent5">
                  <a:lumMod val="75000"/>
                </a:schemeClr>
              </a:solidFill>
              <a:ln>
                <a:noFill/>
              </a:ln>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sp>
            <p:nvSpPr>
              <p:cNvPr id="252" name="Freeform 765">
                <a:extLst>
                  <a:ext uri="{FF2B5EF4-FFF2-40B4-BE49-F238E27FC236}">
                    <a16:creationId xmlns:a16="http://schemas.microsoft.com/office/drawing/2014/main" id="{DD8FC2C3-39D2-41C6-8786-005AA48A7A6B}"/>
                  </a:ext>
                </a:extLst>
              </p:cNvPr>
              <p:cNvSpPr>
                <a:spLocks/>
              </p:cNvSpPr>
              <p:nvPr/>
            </p:nvSpPr>
            <p:spPr bwMode="auto">
              <a:xfrm>
                <a:off x="1933114" y="3792473"/>
                <a:ext cx="883580" cy="958601"/>
              </a:xfrm>
              <a:custGeom>
                <a:avLst/>
                <a:gdLst>
                  <a:gd name="T0" fmla="*/ 417 w 431"/>
                  <a:gd name="T1" fmla="*/ 64 h 468"/>
                  <a:gd name="T2" fmla="*/ 216 w 431"/>
                  <a:gd name="T3" fmla="*/ 0 h 468"/>
                  <a:gd name="T4" fmla="*/ 15 w 431"/>
                  <a:gd name="T5" fmla="*/ 64 h 468"/>
                  <a:gd name="T6" fmla="*/ 216 w 431"/>
                  <a:gd name="T7" fmla="*/ 468 h 468"/>
                  <a:gd name="T8" fmla="*/ 417 w 431"/>
                  <a:gd name="T9" fmla="*/ 64 h 468"/>
                </a:gdLst>
                <a:ahLst/>
                <a:cxnLst>
                  <a:cxn ang="0">
                    <a:pos x="T0" y="T1"/>
                  </a:cxn>
                  <a:cxn ang="0">
                    <a:pos x="T2" y="T3"/>
                  </a:cxn>
                  <a:cxn ang="0">
                    <a:pos x="T4" y="T5"/>
                  </a:cxn>
                  <a:cxn ang="0">
                    <a:pos x="T6" y="T7"/>
                  </a:cxn>
                  <a:cxn ang="0">
                    <a:pos x="T8" y="T9"/>
                  </a:cxn>
                </a:cxnLst>
                <a:rect l="0" t="0" r="r" b="b"/>
                <a:pathLst>
                  <a:path w="431" h="468">
                    <a:moveTo>
                      <a:pt x="417" y="64"/>
                    </a:moveTo>
                    <a:cubicBezTo>
                      <a:pt x="307" y="64"/>
                      <a:pt x="216" y="0"/>
                      <a:pt x="216" y="0"/>
                    </a:cubicBezTo>
                    <a:cubicBezTo>
                      <a:pt x="216" y="0"/>
                      <a:pt x="124" y="64"/>
                      <a:pt x="15" y="64"/>
                    </a:cubicBezTo>
                    <a:cubicBezTo>
                      <a:pt x="15" y="64"/>
                      <a:pt x="0" y="393"/>
                      <a:pt x="216" y="468"/>
                    </a:cubicBezTo>
                    <a:cubicBezTo>
                      <a:pt x="431" y="393"/>
                      <a:pt x="417" y="64"/>
                      <a:pt x="417" y="64"/>
                    </a:cubicBezTo>
                  </a:path>
                </a:pathLst>
              </a:custGeom>
              <a:solidFill>
                <a:schemeClr val="accent5">
                  <a:lumMod val="60000"/>
                  <a:lumOff val="40000"/>
                </a:schemeClr>
              </a:solidFill>
              <a:ln>
                <a:noFill/>
              </a:ln>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sp>
            <p:nvSpPr>
              <p:cNvPr id="253" name="Freeform 766">
                <a:extLst>
                  <a:ext uri="{FF2B5EF4-FFF2-40B4-BE49-F238E27FC236}">
                    <a16:creationId xmlns:a16="http://schemas.microsoft.com/office/drawing/2014/main" id="{853F33A6-FE55-4F4C-AD5A-67297F5BA180}"/>
                  </a:ext>
                </a:extLst>
              </p:cNvPr>
              <p:cNvSpPr>
                <a:spLocks/>
              </p:cNvSpPr>
              <p:nvPr/>
            </p:nvSpPr>
            <p:spPr bwMode="auto">
              <a:xfrm>
                <a:off x="1977571" y="4259270"/>
                <a:ext cx="398723" cy="518200"/>
              </a:xfrm>
              <a:custGeom>
                <a:avLst/>
                <a:gdLst>
                  <a:gd name="T0" fmla="*/ 10 w 194"/>
                  <a:gd name="T1" fmla="*/ 0 h 253"/>
                  <a:gd name="T2" fmla="*/ 0 w 194"/>
                  <a:gd name="T3" fmla="*/ 0 h 253"/>
                  <a:gd name="T4" fmla="*/ 194 w 194"/>
                  <a:gd name="T5" fmla="*/ 253 h 253"/>
                  <a:gd name="T6" fmla="*/ 194 w 194"/>
                  <a:gd name="T7" fmla="*/ 253 h 253"/>
                  <a:gd name="T8" fmla="*/ 194 w 194"/>
                  <a:gd name="T9" fmla="*/ 240 h 253"/>
                  <a:gd name="T10" fmla="*/ 194 w 194"/>
                  <a:gd name="T11" fmla="*/ 240 h 253"/>
                  <a:gd name="T12" fmla="*/ 10 w 194"/>
                  <a:gd name="T13" fmla="*/ 0 h 253"/>
                </a:gdLst>
                <a:ahLst/>
                <a:cxnLst>
                  <a:cxn ang="0">
                    <a:pos x="T0" y="T1"/>
                  </a:cxn>
                  <a:cxn ang="0">
                    <a:pos x="T2" y="T3"/>
                  </a:cxn>
                  <a:cxn ang="0">
                    <a:pos x="T4" y="T5"/>
                  </a:cxn>
                  <a:cxn ang="0">
                    <a:pos x="T6" y="T7"/>
                  </a:cxn>
                  <a:cxn ang="0">
                    <a:pos x="T8" y="T9"/>
                  </a:cxn>
                  <a:cxn ang="0">
                    <a:pos x="T10" y="T11"/>
                  </a:cxn>
                  <a:cxn ang="0">
                    <a:pos x="T12" y="T13"/>
                  </a:cxn>
                </a:cxnLst>
                <a:rect l="0" t="0" r="r" b="b"/>
                <a:pathLst>
                  <a:path w="194" h="253">
                    <a:moveTo>
                      <a:pt x="10" y="0"/>
                    </a:moveTo>
                    <a:cubicBezTo>
                      <a:pt x="0" y="0"/>
                      <a:pt x="0" y="0"/>
                      <a:pt x="0" y="0"/>
                    </a:cubicBezTo>
                    <a:cubicBezTo>
                      <a:pt x="23" y="99"/>
                      <a:pt x="76" y="212"/>
                      <a:pt x="194" y="253"/>
                    </a:cubicBezTo>
                    <a:cubicBezTo>
                      <a:pt x="194" y="253"/>
                      <a:pt x="194" y="253"/>
                      <a:pt x="194" y="253"/>
                    </a:cubicBezTo>
                    <a:cubicBezTo>
                      <a:pt x="194" y="240"/>
                      <a:pt x="194" y="240"/>
                      <a:pt x="194" y="240"/>
                    </a:cubicBezTo>
                    <a:cubicBezTo>
                      <a:pt x="194" y="240"/>
                      <a:pt x="194" y="240"/>
                      <a:pt x="194" y="240"/>
                    </a:cubicBezTo>
                    <a:cubicBezTo>
                      <a:pt x="82" y="201"/>
                      <a:pt x="32" y="94"/>
                      <a:pt x="10" y="0"/>
                    </a:cubicBezTo>
                  </a:path>
                </a:pathLst>
              </a:custGeom>
              <a:solidFill>
                <a:schemeClr val="accent5">
                  <a:lumMod val="75000"/>
                </a:schemeClr>
              </a:solidFill>
              <a:ln>
                <a:noFill/>
              </a:ln>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sp>
            <p:nvSpPr>
              <p:cNvPr id="254" name="Freeform 767">
                <a:extLst>
                  <a:ext uri="{FF2B5EF4-FFF2-40B4-BE49-F238E27FC236}">
                    <a16:creationId xmlns:a16="http://schemas.microsoft.com/office/drawing/2014/main" id="{58B2CC42-B934-45D1-84E5-13A3312D6D96}"/>
                  </a:ext>
                </a:extLst>
              </p:cNvPr>
              <p:cNvSpPr>
                <a:spLocks/>
              </p:cNvSpPr>
              <p:nvPr/>
            </p:nvSpPr>
            <p:spPr bwMode="auto">
              <a:xfrm>
                <a:off x="1998410" y="4259270"/>
                <a:ext cx="377883" cy="491804"/>
              </a:xfrm>
              <a:custGeom>
                <a:avLst/>
                <a:gdLst>
                  <a:gd name="T0" fmla="*/ 184 w 184"/>
                  <a:gd name="T1" fmla="*/ 0 h 240"/>
                  <a:gd name="T2" fmla="*/ 0 w 184"/>
                  <a:gd name="T3" fmla="*/ 0 h 240"/>
                  <a:gd name="T4" fmla="*/ 184 w 184"/>
                  <a:gd name="T5" fmla="*/ 240 h 240"/>
                  <a:gd name="T6" fmla="*/ 184 w 184"/>
                  <a:gd name="T7" fmla="*/ 240 h 240"/>
                  <a:gd name="T8" fmla="*/ 184 w 184"/>
                  <a:gd name="T9" fmla="*/ 0 h 240"/>
                </a:gdLst>
                <a:ahLst/>
                <a:cxnLst>
                  <a:cxn ang="0">
                    <a:pos x="T0" y="T1"/>
                  </a:cxn>
                  <a:cxn ang="0">
                    <a:pos x="T2" y="T3"/>
                  </a:cxn>
                  <a:cxn ang="0">
                    <a:pos x="T4" y="T5"/>
                  </a:cxn>
                  <a:cxn ang="0">
                    <a:pos x="T6" y="T7"/>
                  </a:cxn>
                  <a:cxn ang="0">
                    <a:pos x="T8" y="T9"/>
                  </a:cxn>
                </a:cxnLst>
                <a:rect l="0" t="0" r="r" b="b"/>
                <a:pathLst>
                  <a:path w="184" h="240">
                    <a:moveTo>
                      <a:pt x="184" y="0"/>
                    </a:moveTo>
                    <a:cubicBezTo>
                      <a:pt x="0" y="0"/>
                      <a:pt x="0" y="0"/>
                      <a:pt x="0" y="0"/>
                    </a:cubicBezTo>
                    <a:cubicBezTo>
                      <a:pt x="22" y="94"/>
                      <a:pt x="72" y="201"/>
                      <a:pt x="184" y="240"/>
                    </a:cubicBezTo>
                    <a:cubicBezTo>
                      <a:pt x="184" y="240"/>
                      <a:pt x="184" y="240"/>
                      <a:pt x="184" y="240"/>
                    </a:cubicBezTo>
                    <a:cubicBezTo>
                      <a:pt x="184" y="0"/>
                      <a:pt x="184" y="0"/>
                      <a:pt x="184" y="0"/>
                    </a:cubicBezTo>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sp>
            <p:nvSpPr>
              <p:cNvPr id="255" name="Freeform 768">
                <a:extLst>
                  <a:ext uri="{FF2B5EF4-FFF2-40B4-BE49-F238E27FC236}">
                    <a16:creationId xmlns:a16="http://schemas.microsoft.com/office/drawing/2014/main" id="{45F9611D-BB11-4D19-92D2-5FE07A1A46A3}"/>
                  </a:ext>
                </a:extLst>
              </p:cNvPr>
              <p:cNvSpPr>
                <a:spLocks noEditPoints="1"/>
              </p:cNvSpPr>
              <p:nvPr/>
            </p:nvSpPr>
            <p:spPr bwMode="auto">
              <a:xfrm>
                <a:off x="2376293" y="3767466"/>
                <a:ext cx="434844" cy="137538"/>
              </a:xfrm>
              <a:custGeom>
                <a:avLst/>
                <a:gdLst>
                  <a:gd name="T0" fmla="*/ 212 w 212"/>
                  <a:gd name="T1" fmla="*/ 67 h 67"/>
                  <a:gd name="T2" fmla="*/ 212 w 212"/>
                  <a:gd name="T3" fmla="*/ 67 h 67"/>
                  <a:gd name="T4" fmla="*/ 212 w 212"/>
                  <a:gd name="T5" fmla="*/ 67 h 67"/>
                  <a:gd name="T6" fmla="*/ 212 w 212"/>
                  <a:gd name="T7" fmla="*/ 67 h 67"/>
                  <a:gd name="T8" fmla="*/ 212 w 212"/>
                  <a:gd name="T9" fmla="*/ 67 h 67"/>
                  <a:gd name="T10" fmla="*/ 212 w 212"/>
                  <a:gd name="T11" fmla="*/ 67 h 67"/>
                  <a:gd name="T12" fmla="*/ 0 w 212"/>
                  <a:gd name="T13" fmla="*/ 0 h 67"/>
                  <a:gd name="T14" fmla="*/ 0 w 212"/>
                  <a:gd name="T15" fmla="*/ 0 h 67"/>
                  <a:gd name="T16" fmla="*/ 76 w 212"/>
                  <a:gd name="T17" fmla="*/ 39 h 67"/>
                  <a:gd name="T18" fmla="*/ 0 w 212"/>
                  <a:gd name="T1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2" h="67">
                    <a:moveTo>
                      <a:pt x="212" y="67"/>
                    </a:moveTo>
                    <a:cubicBezTo>
                      <a:pt x="212" y="67"/>
                      <a:pt x="212" y="67"/>
                      <a:pt x="212" y="67"/>
                    </a:cubicBezTo>
                    <a:cubicBezTo>
                      <a:pt x="212" y="67"/>
                      <a:pt x="212" y="67"/>
                      <a:pt x="212" y="67"/>
                    </a:cubicBezTo>
                    <a:moveTo>
                      <a:pt x="212" y="67"/>
                    </a:moveTo>
                    <a:cubicBezTo>
                      <a:pt x="212" y="67"/>
                      <a:pt x="212" y="67"/>
                      <a:pt x="212" y="67"/>
                    </a:cubicBezTo>
                    <a:cubicBezTo>
                      <a:pt x="212" y="67"/>
                      <a:pt x="212" y="67"/>
                      <a:pt x="212" y="67"/>
                    </a:cubicBezTo>
                    <a:moveTo>
                      <a:pt x="0" y="0"/>
                    </a:moveTo>
                    <a:cubicBezTo>
                      <a:pt x="0" y="0"/>
                      <a:pt x="0" y="0"/>
                      <a:pt x="0" y="0"/>
                    </a:cubicBezTo>
                    <a:cubicBezTo>
                      <a:pt x="0" y="0"/>
                      <a:pt x="30" y="21"/>
                      <a:pt x="76" y="39"/>
                    </a:cubicBezTo>
                    <a:cubicBezTo>
                      <a:pt x="30" y="21"/>
                      <a:pt x="0" y="0"/>
                      <a:pt x="0" y="0"/>
                    </a:cubicBezTo>
                  </a:path>
                </a:pathLst>
              </a:custGeom>
              <a:solidFill>
                <a:srgbClr val="E67A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sp>
            <p:nvSpPr>
              <p:cNvPr id="256" name="Freeform 769">
                <a:extLst>
                  <a:ext uri="{FF2B5EF4-FFF2-40B4-BE49-F238E27FC236}">
                    <a16:creationId xmlns:a16="http://schemas.microsoft.com/office/drawing/2014/main" id="{93006B9F-A7C1-40CE-ACFE-162BC983B531}"/>
                  </a:ext>
                </a:extLst>
              </p:cNvPr>
              <p:cNvSpPr>
                <a:spLocks/>
              </p:cNvSpPr>
              <p:nvPr/>
            </p:nvSpPr>
            <p:spPr bwMode="auto">
              <a:xfrm>
                <a:off x="2376293" y="3767466"/>
                <a:ext cx="440401" cy="491804"/>
              </a:xfrm>
              <a:custGeom>
                <a:avLst/>
                <a:gdLst>
                  <a:gd name="T0" fmla="*/ 0 w 215"/>
                  <a:gd name="T1" fmla="*/ 0 h 240"/>
                  <a:gd name="T2" fmla="*/ 0 w 215"/>
                  <a:gd name="T3" fmla="*/ 12 h 240"/>
                  <a:gd name="T4" fmla="*/ 201 w 215"/>
                  <a:gd name="T5" fmla="*/ 76 h 240"/>
                  <a:gd name="T6" fmla="*/ 183 w 215"/>
                  <a:gd name="T7" fmla="*/ 240 h 240"/>
                  <a:gd name="T8" fmla="*/ 193 w 215"/>
                  <a:gd name="T9" fmla="*/ 240 h 240"/>
                  <a:gd name="T10" fmla="*/ 212 w 215"/>
                  <a:gd name="T11" fmla="*/ 67 h 240"/>
                  <a:gd name="T12" fmla="*/ 212 w 215"/>
                  <a:gd name="T13" fmla="*/ 67 h 240"/>
                  <a:gd name="T14" fmla="*/ 212 w 215"/>
                  <a:gd name="T15" fmla="*/ 67 h 240"/>
                  <a:gd name="T16" fmla="*/ 212 w 215"/>
                  <a:gd name="T17" fmla="*/ 67 h 240"/>
                  <a:gd name="T18" fmla="*/ 212 w 215"/>
                  <a:gd name="T19" fmla="*/ 67 h 240"/>
                  <a:gd name="T20" fmla="*/ 212 w 215"/>
                  <a:gd name="T21" fmla="*/ 67 h 240"/>
                  <a:gd name="T22" fmla="*/ 212 w 215"/>
                  <a:gd name="T23" fmla="*/ 67 h 240"/>
                  <a:gd name="T24" fmla="*/ 76 w 215"/>
                  <a:gd name="T25" fmla="*/ 39 h 240"/>
                  <a:gd name="T26" fmla="*/ 0 w 215"/>
                  <a:gd name="T27"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5" h="240">
                    <a:moveTo>
                      <a:pt x="0" y="0"/>
                    </a:moveTo>
                    <a:cubicBezTo>
                      <a:pt x="0" y="12"/>
                      <a:pt x="0" y="12"/>
                      <a:pt x="0" y="12"/>
                    </a:cubicBezTo>
                    <a:cubicBezTo>
                      <a:pt x="0" y="13"/>
                      <a:pt x="91" y="76"/>
                      <a:pt x="201" y="76"/>
                    </a:cubicBezTo>
                    <a:cubicBezTo>
                      <a:pt x="201" y="76"/>
                      <a:pt x="204" y="153"/>
                      <a:pt x="183" y="240"/>
                    </a:cubicBezTo>
                    <a:cubicBezTo>
                      <a:pt x="193" y="240"/>
                      <a:pt x="193" y="240"/>
                      <a:pt x="193" y="240"/>
                    </a:cubicBezTo>
                    <a:cubicBezTo>
                      <a:pt x="215" y="149"/>
                      <a:pt x="212" y="68"/>
                      <a:pt x="212" y="67"/>
                    </a:cubicBezTo>
                    <a:cubicBezTo>
                      <a:pt x="212" y="67"/>
                      <a:pt x="212" y="67"/>
                      <a:pt x="212" y="67"/>
                    </a:cubicBezTo>
                    <a:cubicBezTo>
                      <a:pt x="212" y="67"/>
                      <a:pt x="212" y="67"/>
                      <a:pt x="212" y="67"/>
                    </a:cubicBezTo>
                    <a:cubicBezTo>
                      <a:pt x="212" y="67"/>
                      <a:pt x="212" y="67"/>
                      <a:pt x="212" y="67"/>
                    </a:cubicBezTo>
                    <a:cubicBezTo>
                      <a:pt x="212" y="67"/>
                      <a:pt x="212" y="67"/>
                      <a:pt x="212" y="67"/>
                    </a:cubicBezTo>
                    <a:cubicBezTo>
                      <a:pt x="212" y="67"/>
                      <a:pt x="212" y="67"/>
                      <a:pt x="212" y="67"/>
                    </a:cubicBezTo>
                    <a:cubicBezTo>
                      <a:pt x="212" y="67"/>
                      <a:pt x="212" y="67"/>
                      <a:pt x="212" y="67"/>
                    </a:cubicBezTo>
                    <a:cubicBezTo>
                      <a:pt x="160" y="67"/>
                      <a:pt x="113" y="54"/>
                      <a:pt x="76" y="39"/>
                    </a:cubicBezTo>
                    <a:cubicBezTo>
                      <a:pt x="30" y="21"/>
                      <a:pt x="0" y="0"/>
                      <a:pt x="0" y="0"/>
                    </a:cubicBezTo>
                  </a:path>
                </a:pathLst>
              </a:custGeom>
              <a:solidFill>
                <a:schemeClr val="accent5">
                  <a:lumMod val="75000"/>
                </a:schemeClr>
              </a:solidFill>
              <a:ln>
                <a:noFill/>
              </a:ln>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sp>
            <p:nvSpPr>
              <p:cNvPr id="257" name="Freeform 770">
                <a:extLst>
                  <a:ext uri="{FF2B5EF4-FFF2-40B4-BE49-F238E27FC236}">
                    <a16:creationId xmlns:a16="http://schemas.microsoft.com/office/drawing/2014/main" id="{08640D29-131D-4781-BD75-146C4EAF7C52}"/>
                  </a:ext>
                </a:extLst>
              </p:cNvPr>
              <p:cNvSpPr>
                <a:spLocks/>
              </p:cNvSpPr>
              <p:nvPr/>
            </p:nvSpPr>
            <p:spPr bwMode="auto">
              <a:xfrm>
                <a:off x="2376293" y="3792473"/>
                <a:ext cx="418172" cy="466797"/>
              </a:xfrm>
              <a:custGeom>
                <a:avLst/>
                <a:gdLst>
                  <a:gd name="T0" fmla="*/ 0 w 204"/>
                  <a:gd name="T1" fmla="*/ 0 h 228"/>
                  <a:gd name="T2" fmla="*/ 0 w 204"/>
                  <a:gd name="T3" fmla="*/ 228 h 228"/>
                  <a:gd name="T4" fmla="*/ 183 w 204"/>
                  <a:gd name="T5" fmla="*/ 228 h 228"/>
                  <a:gd name="T6" fmla="*/ 201 w 204"/>
                  <a:gd name="T7" fmla="*/ 64 h 228"/>
                  <a:gd name="T8" fmla="*/ 0 w 204"/>
                  <a:gd name="T9" fmla="*/ 0 h 228"/>
                </a:gdLst>
                <a:ahLst/>
                <a:cxnLst>
                  <a:cxn ang="0">
                    <a:pos x="T0" y="T1"/>
                  </a:cxn>
                  <a:cxn ang="0">
                    <a:pos x="T2" y="T3"/>
                  </a:cxn>
                  <a:cxn ang="0">
                    <a:pos x="T4" y="T5"/>
                  </a:cxn>
                  <a:cxn ang="0">
                    <a:pos x="T6" y="T7"/>
                  </a:cxn>
                  <a:cxn ang="0">
                    <a:pos x="T8" y="T9"/>
                  </a:cxn>
                </a:cxnLst>
                <a:rect l="0" t="0" r="r" b="b"/>
                <a:pathLst>
                  <a:path w="204" h="228">
                    <a:moveTo>
                      <a:pt x="0" y="0"/>
                    </a:moveTo>
                    <a:cubicBezTo>
                      <a:pt x="0" y="228"/>
                      <a:pt x="0" y="228"/>
                      <a:pt x="0" y="228"/>
                    </a:cubicBezTo>
                    <a:cubicBezTo>
                      <a:pt x="183" y="228"/>
                      <a:pt x="183" y="228"/>
                      <a:pt x="183" y="228"/>
                    </a:cubicBezTo>
                    <a:cubicBezTo>
                      <a:pt x="204" y="141"/>
                      <a:pt x="201" y="64"/>
                      <a:pt x="201" y="64"/>
                    </a:cubicBezTo>
                    <a:cubicBezTo>
                      <a:pt x="91" y="64"/>
                      <a:pt x="0" y="1"/>
                      <a:pt x="0" y="0"/>
                    </a:cubicBezTo>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sp>
            <p:nvSpPr>
              <p:cNvPr id="258" name="Freeform 771">
                <a:extLst>
                  <a:ext uri="{FF2B5EF4-FFF2-40B4-BE49-F238E27FC236}">
                    <a16:creationId xmlns:a16="http://schemas.microsoft.com/office/drawing/2014/main" id="{A16F7C87-2F88-4EFB-822C-7773B19F7FFA}"/>
                  </a:ext>
                </a:extLst>
              </p:cNvPr>
              <p:cNvSpPr>
                <a:spLocks/>
              </p:cNvSpPr>
              <p:nvPr/>
            </p:nvSpPr>
            <p:spPr bwMode="auto">
              <a:xfrm>
                <a:off x="2209580" y="4141181"/>
                <a:ext cx="332037" cy="325091"/>
              </a:xfrm>
              <a:custGeom>
                <a:avLst/>
                <a:gdLst>
                  <a:gd name="T0" fmla="*/ 162 w 162"/>
                  <a:gd name="T1" fmla="*/ 147 h 159"/>
                  <a:gd name="T2" fmla="*/ 150 w 162"/>
                  <a:gd name="T3" fmla="*/ 159 h 159"/>
                  <a:gd name="T4" fmla="*/ 12 w 162"/>
                  <a:gd name="T5" fmla="*/ 159 h 159"/>
                  <a:gd name="T6" fmla="*/ 0 w 162"/>
                  <a:gd name="T7" fmla="*/ 147 h 159"/>
                  <a:gd name="T8" fmla="*/ 0 w 162"/>
                  <a:gd name="T9" fmla="*/ 12 h 159"/>
                  <a:gd name="T10" fmla="*/ 12 w 162"/>
                  <a:gd name="T11" fmla="*/ 0 h 159"/>
                  <a:gd name="T12" fmla="*/ 150 w 162"/>
                  <a:gd name="T13" fmla="*/ 0 h 159"/>
                  <a:gd name="T14" fmla="*/ 162 w 162"/>
                  <a:gd name="T15" fmla="*/ 12 h 159"/>
                  <a:gd name="T16" fmla="*/ 162 w 162"/>
                  <a:gd name="T17" fmla="*/ 14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159">
                    <a:moveTo>
                      <a:pt x="162" y="147"/>
                    </a:moveTo>
                    <a:cubicBezTo>
                      <a:pt x="162" y="154"/>
                      <a:pt x="156" y="159"/>
                      <a:pt x="150" y="159"/>
                    </a:cubicBezTo>
                    <a:cubicBezTo>
                      <a:pt x="12" y="159"/>
                      <a:pt x="12" y="159"/>
                      <a:pt x="12" y="159"/>
                    </a:cubicBezTo>
                    <a:cubicBezTo>
                      <a:pt x="5" y="159"/>
                      <a:pt x="0" y="154"/>
                      <a:pt x="0" y="147"/>
                    </a:cubicBezTo>
                    <a:cubicBezTo>
                      <a:pt x="0" y="12"/>
                      <a:pt x="0" y="12"/>
                      <a:pt x="0" y="12"/>
                    </a:cubicBezTo>
                    <a:cubicBezTo>
                      <a:pt x="0" y="5"/>
                      <a:pt x="5" y="0"/>
                      <a:pt x="12" y="0"/>
                    </a:cubicBezTo>
                    <a:cubicBezTo>
                      <a:pt x="150" y="0"/>
                      <a:pt x="150" y="0"/>
                      <a:pt x="150" y="0"/>
                    </a:cubicBezTo>
                    <a:cubicBezTo>
                      <a:pt x="156" y="0"/>
                      <a:pt x="162" y="5"/>
                      <a:pt x="162" y="12"/>
                    </a:cubicBezTo>
                    <a:lnTo>
                      <a:pt x="162" y="1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sp>
            <p:nvSpPr>
              <p:cNvPr id="259" name="Freeform 772">
                <a:extLst>
                  <a:ext uri="{FF2B5EF4-FFF2-40B4-BE49-F238E27FC236}">
                    <a16:creationId xmlns:a16="http://schemas.microsoft.com/office/drawing/2014/main" id="{FF1BCD5C-6D3E-4B00-A000-CD3C899C29D2}"/>
                  </a:ext>
                </a:extLst>
              </p:cNvPr>
              <p:cNvSpPr>
                <a:spLocks noEditPoints="1"/>
              </p:cNvSpPr>
              <p:nvPr/>
            </p:nvSpPr>
            <p:spPr bwMode="auto">
              <a:xfrm>
                <a:off x="2266540" y="3970300"/>
                <a:ext cx="216727" cy="240345"/>
              </a:xfrm>
              <a:custGeom>
                <a:avLst/>
                <a:gdLst>
                  <a:gd name="T0" fmla="*/ 105 w 105"/>
                  <a:gd name="T1" fmla="*/ 117 h 117"/>
                  <a:gd name="T2" fmla="*/ 0 w 105"/>
                  <a:gd name="T3" fmla="*/ 117 h 117"/>
                  <a:gd name="T4" fmla="*/ 0 w 105"/>
                  <a:gd name="T5" fmla="*/ 53 h 117"/>
                  <a:gd name="T6" fmla="*/ 53 w 105"/>
                  <a:gd name="T7" fmla="*/ 0 h 117"/>
                  <a:gd name="T8" fmla="*/ 105 w 105"/>
                  <a:gd name="T9" fmla="*/ 53 h 117"/>
                  <a:gd name="T10" fmla="*/ 105 w 105"/>
                  <a:gd name="T11" fmla="*/ 117 h 117"/>
                  <a:gd name="T12" fmla="*/ 23 w 105"/>
                  <a:gd name="T13" fmla="*/ 94 h 117"/>
                  <a:gd name="T14" fmla="*/ 82 w 105"/>
                  <a:gd name="T15" fmla="*/ 94 h 117"/>
                  <a:gd name="T16" fmla="*/ 82 w 105"/>
                  <a:gd name="T17" fmla="*/ 53 h 117"/>
                  <a:gd name="T18" fmla="*/ 53 w 105"/>
                  <a:gd name="T19" fmla="*/ 23 h 117"/>
                  <a:gd name="T20" fmla="*/ 23 w 105"/>
                  <a:gd name="T21" fmla="*/ 53 h 117"/>
                  <a:gd name="T22" fmla="*/ 23 w 105"/>
                  <a:gd name="T23" fmla="*/ 9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17">
                    <a:moveTo>
                      <a:pt x="105" y="117"/>
                    </a:moveTo>
                    <a:cubicBezTo>
                      <a:pt x="0" y="117"/>
                      <a:pt x="0" y="117"/>
                      <a:pt x="0" y="117"/>
                    </a:cubicBezTo>
                    <a:cubicBezTo>
                      <a:pt x="0" y="53"/>
                      <a:pt x="0" y="53"/>
                      <a:pt x="0" y="53"/>
                    </a:cubicBezTo>
                    <a:cubicBezTo>
                      <a:pt x="0" y="24"/>
                      <a:pt x="24" y="0"/>
                      <a:pt x="53" y="0"/>
                    </a:cubicBezTo>
                    <a:cubicBezTo>
                      <a:pt x="81" y="0"/>
                      <a:pt x="105" y="24"/>
                      <a:pt x="105" y="53"/>
                    </a:cubicBezTo>
                    <a:lnTo>
                      <a:pt x="105" y="117"/>
                    </a:lnTo>
                    <a:close/>
                    <a:moveTo>
                      <a:pt x="23" y="94"/>
                    </a:moveTo>
                    <a:cubicBezTo>
                      <a:pt x="82" y="94"/>
                      <a:pt x="82" y="94"/>
                      <a:pt x="82" y="94"/>
                    </a:cubicBezTo>
                    <a:cubicBezTo>
                      <a:pt x="82" y="53"/>
                      <a:pt x="82" y="53"/>
                      <a:pt x="82" y="53"/>
                    </a:cubicBezTo>
                    <a:cubicBezTo>
                      <a:pt x="82" y="37"/>
                      <a:pt x="69" y="23"/>
                      <a:pt x="53" y="23"/>
                    </a:cubicBezTo>
                    <a:cubicBezTo>
                      <a:pt x="37" y="23"/>
                      <a:pt x="23" y="37"/>
                      <a:pt x="23" y="53"/>
                    </a:cubicBezTo>
                    <a:lnTo>
                      <a:pt x="23" y="9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sp>
            <p:nvSpPr>
              <p:cNvPr id="260" name="Freeform 787">
                <a:extLst>
                  <a:ext uri="{FF2B5EF4-FFF2-40B4-BE49-F238E27FC236}">
                    <a16:creationId xmlns:a16="http://schemas.microsoft.com/office/drawing/2014/main" id="{75C122AE-E9C0-4B67-981E-E1D9CCE8BBAE}"/>
                  </a:ext>
                </a:extLst>
              </p:cNvPr>
              <p:cNvSpPr>
                <a:spLocks noChangeArrowheads="1"/>
              </p:cNvSpPr>
              <p:nvPr/>
            </p:nvSpPr>
            <p:spPr bwMode="auto">
              <a:xfrm>
                <a:off x="2329058" y="4223149"/>
                <a:ext cx="91692" cy="166713"/>
              </a:xfrm>
              <a:custGeom>
                <a:avLst/>
                <a:gdLst>
                  <a:gd name="connsiteX0" fmla="*/ 45846 w 91692"/>
                  <a:gd name="connsiteY0" fmla="*/ 0 h 166713"/>
                  <a:gd name="connsiteX1" fmla="*/ 91692 w 91692"/>
                  <a:gd name="connsiteY1" fmla="*/ 46541 h 166713"/>
                  <a:gd name="connsiteX2" fmla="*/ 78264 w 91692"/>
                  <a:gd name="connsiteY2" fmla="*/ 79451 h 166713"/>
                  <a:gd name="connsiteX3" fmla="*/ 68618 w 91692"/>
                  <a:gd name="connsiteY3" fmla="*/ 83507 h 166713"/>
                  <a:gd name="connsiteX4" fmla="*/ 86135 w 91692"/>
                  <a:gd name="connsiteY4" fmla="*/ 166713 h 166713"/>
                  <a:gd name="connsiteX5" fmla="*/ 47235 w 91692"/>
                  <a:gd name="connsiteY5" fmla="*/ 166713 h 166713"/>
                  <a:gd name="connsiteX6" fmla="*/ 5557 w 91692"/>
                  <a:gd name="connsiteY6" fmla="*/ 166713 h 166713"/>
                  <a:gd name="connsiteX7" fmla="*/ 23074 w 91692"/>
                  <a:gd name="connsiteY7" fmla="*/ 83507 h 166713"/>
                  <a:gd name="connsiteX8" fmla="*/ 13428 w 91692"/>
                  <a:gd name="connsiteY8" fmla="*/ 79451 h 166713"/>
                  <a:gd name="connsiteX9" fmla="*/ 0 w 91692"/>
                  <a:gd name="connsiteY9" fmla="*/ 46541 h 166713"/>
                  <a:gd name="connsiteX10" fmla="*/ 45846 w 91692"/>
                  <a:gd name="connsiteY10" fmla="*/ 0 h 166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692" h="166713">
                    <a:moveTo>
                      <a:pt x="45846" y="0"/>
                    </a:moveTo>
                    <a:cubicBezTo>
                      <a:pt x="71166" y="0"/>
                      <a:pt x="91692" y="20837"/>
                      <a:pt x="91692" y="46541"/>
                    </a:cubicBezTo>
                    <a:cubicBezTo>
                      <a:pt x="91692" y="59393"/>
                      <a:pt x="86561" y="71029"/>
                      <a:pt x="78264" y="79451"/>
                    </a:cubicBezTo>
                    <a:lnTo>
                      <a:pt x="68618" y="83507"/>
                    </a:lnTo>
                    <a:lnTo>
                      <a:pt x="86135" y="166713"/>
                    </a:lnTo>
                    <a:lnTo>
                      <a:pt x="47235" y="166713"/>
                    </a:lnTo>
                    <a:lnTo>
                      <a:pt x="5557" y="166713"/>
                    </a:lnTo>
                    <a:lnTo>
                      <a:pt x="23074" y="83507"/>
                    </a:lnTo>
                    <a:lnTo>
                      <a:pt x="13428" y="79451"/>
                    </a:lnTo>
                    <a:cubicBezTo>
                      <a:pt x="5132" y="71029"/>
                      <a:pt x="0" y="59393"/>
                      <a:pt x="0" y="46541"/>
                    </a:cubicBezTo>
                    <a:cubicBezTo>
                      <a:pt x="0" y="20837"/>
                      <a:pt x="20526" y="0"/>
                      <a:pt x="45846" y="0"/>
                    </a:cubicBezTo>
                    <a:close/>
                  </a:path>
                </a:pathLst>
              </a:custGeom>
              <a:solidFill>
                <a:schemeClr val="accent5"/>
              </a:solidFill>
              <a:ln>
                <a:noFill/>
              </a:ln>
            </p:spPr>
            <p:txBody>
              <a:bodyPr vert="horz" wrap="square" lIns="89642" tIns="44821" rIns="89642" bIns="44821" numCol="1" anchor="t" anchorCtr="0" compatLnSpc="1">
                <a:prstTxWarp prst="textNoShape">
                  <a:avLst/>
                </a:prstTxWarp>
                <a:noAutofit/>
              </a:bodyPr>
              <a:lstStyle/>
              <a:p>
                <a:endParaRPr lang="en-US" sz="1765">
                  <a:solidFill>
                    <a:srgbClr val="000000"/>
                  </a:solidFill>
                  <a:latin typeface="Segoe UI"/>
                </a:endParaRPr>
              </a:p>
            </p:txBody>
          </p:sp>
        </p:grpSp>
        <p:grpSp>
          <p:nvGrpSpPr>
            <p:cNvPr id="240" name="Group 239">
              <a:extLst>
                <a:ext uri="{FF2B5EF4-FFF2-40B4-BE49-F238E27FC236}">
                  <a16:creationId xmlns:a16="http://schemas.microsoft.com/office/drawing/2014/main" id="{222E4EE6-CAE2-4324-8296-CB2DB578DAD1}"/>
                </a:ext>
              </a:extLst>
            </p:cNvPr>
            <p:cNvGrpSpPr/>
            <p:nvPr/>
          </p:nvGrpSpPr>
          <p:grpSpPr>
            <a:xfrm>
              <a:off x="7766655" y="5035753"/>
              <a:ext cx="614060" cy="111142"/>
              <a:chOff x="1114304" y="4228706"/>
              <a:chExt cx="614060" cy="111142"/>
            </a:xfrm>
            <a:solidFill>
              <a:schemeClr val="tx2">
                <a:lumMod val="20000"/>
                <a:lumOff val="80000"/>
              </a:schemeClr>
            </a:solidFill>
          </p:grpSpPr>
          <p:sp>
            <p:nvSpPr>
              <p:cNvPr id="246" name="Oval 775">
                <a:extLst>
                  <a:ext uri="{FF2B5EF4-FFF2-40B4-BE49-F238E27FC236}">
                    <a16:creationId xmlns:a16="http://schemas.microsoft.com/office/drawing/2014/main" id="{EDE5AB4C-D111-44EE-9AD3-8EA3BFED9531}"/>
                  </a:ext>
                </a:extLst>
              </p:cNvPr>
              <p:cNvSpPr>
                <a:spLocks noChangeArrowheads="1"/>
              </p:cNvSpPr>
              <p:nvPr/>
            </p:nvSpPr>
            <p:spPr bwMode="auto">
              <a:xfrm>
                <a:off x="1114304" y="4228706"/>
                <a:ext cx="106974" cy="111142"/>
              </a:xfrm>
              <a:prstGeom prst="ellipse">
                <a:avLst/>
              </a:prstGeom>
              <a:grpFill/>
              <a:ln>
                <a:noFill/>
              </a:ln>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sp>
            <p:nvSpPr>
              <p:cNvPr id="247" name="Oval 776">
                <a:extLst>
                  <a:ext uri="{FF2B5EF4-FFF2-40B4-BE49-F238E27FC236}">
                    <a16:creationId xmlns:a16="http://schemas.microsoft.com/office/drawing/2014/main" id="{BDE9CB35-56B5-4B33-AAFF-36907FF310B0}"/>
                  </a:ext>
                </a:extLst>
              </p:cNvPr>
              <p:cNvSpPr>
                <a:spLocks noChangeArrowheads="1"/>
              </p:cNvSpPr>
              <p:nvPr/>
            </p:nvSpPr>
            <p:spPr bwMode="auto">
              <a:xfrm>
                <a:off x="1283796" y="4228706"/>
                <a:ext cx="108364" cy="111142"/>
              </a:xfrm>
              <a:prstGeom prst="ellipse">
                <a:avLst/>
              </a:prstGeom>
              <a:grpFill/>
              <a:ln>
                <a:noFill/>
              </a:ln>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sp>
            <p:nvSpPr>
              <p:cNvPr id="248" name="Oval 777">
                <a:extLst>
                  <a:ext uri="{FF2B5EF4-FFF2-40B4-BE49-F238E27FC236}">
                    <a16:creationId xmlns:a16="http://schemas.microsoft.com/office/drawing/2014/main" id="{FCE03B43-96C3-4CD4-9686-E1030BB56860}"/>
                  </a:ext>
                </a:extLst>
              </p:cNvPr>
              <p:cNvSpPr>
                <a:spLocks noChangeArrowheads="1"/>
              </p:cNvSpPr>
              <p:nvPr/>
            </p:nvSpPr>
            <p:spPr bwMode="auto">
              <a:xfrm>
                <a:off x="1451898" y="4228706"/>
                <a:ext cx="108364" cy="111142"/>
              </a:xfrm>
              <a:prstGeom prst="ellipse">
                <a:avLst/>
              </a:prstGeom>
              <a:grpFill/>
              <a:ln>
                <a:noFill/>
              </a:ln>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sp>
            <p:nvSpPr>
              <p:cNvPr id="249" name="Oval 778">
                <a:extLst>
                  <a:ext uri="{FF2B5EF4-FFF2-40B4-BE49-F238E27FC236}">
                    <a16:creationId xmlns:a16="http://schemas.microsoft.com/office/drawing/2014/main" id="{CBF04002-866B-4A1C-BFAF-1CC9FED47F00}"/>
                  </a:ext>
                </a:extLst>
              </p:cNvPr>
              <p:cNvSpPr>
                <a:spLocks noChangeArrowheads="1"/>
              </p:cNvSpPr>
              <p:nvPr/>
            </p:nvSpPr>
            <p:spPr bwMode="auto">
              <a:xfrm>
                <a:off x="1621390" y="4228706"/>
                <a:ext cx="106974" cy="111142"/>
              </a:xfrm>
              <a:prstGeom prst="ellipse">
                <a:avLst/>
              </a:prstGeom>
              <a:grpFill/>
              <a:ln>
                <a:noFill/>
              </a:ln>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grpSp>
        <p:grpSp>
          <p:nvGrpSpPr>
            <p:cNvPr id="241" name="Group 240">
              <a:extLst>
                <a:ext uri="{FF2B5EF4-FFF2-40B4-BE49-F238E27FC236}">
                  <a16:creationId xmlns:a16="http://schemas.microsoft.com/office/drawing/2014/main" id="{8A5EFEB0-5567-4778-A320-BC7B6912CD41}"/>
                </a:ext>
              </a:extLst>
            </p:cNvPr>
            <p:cNvGrpSpPr/>
            <p:nvPr/>
          </p:nvGrpSpPr>
          <p:grpSpPr>
            <a:xfrm>
              <a:off x="9554655" y="5035753"/>
              <a:ext cx="612671" cy="111142"/>
              <a:chOff x="2902304" y="4228706"/>
              <a:chExt cx="612671" cy="111142"/>
            </a:xfrm>
            <a:solidFill>
              <a:schemeClr val="tx2">
                <a:lumMod val="20000"/>
                <a:lumOff val="80000"/>
              </a:schemeClr>
            </a:solidFill>
          </p:grpSpPr>
          <p:sp>
            <p:nvSpPr>
              <p:cNvPr id="242" name="Oval 779">
                <a:extLst>
                  <a:ext uri="{FF2B5EF4-FFF2-40B4-BE49-F238E27FC236}">
                    <a16:creationId xmlns:a16="http://schemas.microsoft.com/office/drawing/2014/main" id="{EC51978C-96FA-403B-9842-ECF1A2E0D21C}"/>
                  </a:ext>
                </a:extLst>
              </p:cNvPr>
              <p:cNvSpPr>
                <a:spLocks noChangeArrowheads="1"/>
              </p:cNvSpPr>
              <p:nvPr/>
            </p:nvSpPr>
            <p:spPr bwMode="auto">
              <a:xfrm>
                <a:off x="3406611" y="4228706"/>
                <a:ext cx="108364" cy="111142"/>
              </a:xfrm>
              <a:prstGeom prst="ellipse">
                <a:avLst/>
              </a:prstGeom>
              <a:grpFill/>
              <a:ln>
                <a:noFill/>
              </a:ln>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sp>
            <p:nvSpPr>
              <p:cNvPr id="243" name="Oval 780">
                <a:extLst>
                  <a:ext uri="{FF2B5EF4-FFF2-40B4-BE49-F238E27FC236}">
                    <a16:creationId xmlns:a16="http://schemas.microsoft.com/office/drawing/2014/main" id="{246C691F-55CC-4590-A4BD-281A9A223729}"/>
                  </a:ext>
                </a:extLst>
              </p:cNvPr>
              <p:cNvSpPr>
                <a:spLocks noChangeArrowheads="1"/>
              </p:cNvSpPr>
              <p:nvPr/>
            </p:nvSpPr>
            <p:spPr bwMode="auto">
              <a:xfrm>
                <a:off x="3238509" y="4228706"/>
                <a:ext cx="106974" cy="111142"/>
              </a:xfrm>
              <a:prstGeom prst="ellipse">
                <a:avLst/>
              </a:prstGeom>
              <a:grpFill/>
              <a:ln>
                <a:noFill/>
              </a:ln>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sp>
            <p:nvSpPr>
              <p:cNvPr id="244" name="Oval 781">
                <a:extLst>
                  <a:ext uri="{FF2B5EF4-FFF2-40B4-BE49-F238E27FC236}">
                    <a16:creationId xmlns:a16="http://schemas.microsoft.com/office/drawing/2014/main" id="{B11321CC-608C-4587-96A6-14544015D897}"/>
                  </a:ext>
                </a:extLst>
              </p:cNvPr>
              <p:cNvSpPr>
                <a:spLocks noChangeArrowheads="1"/>
              </p:cNvSpPr>
              <p:nvPr/>
            </p:nvSpPr>
            <p:spPr bwMode="auto">
              <a:xfrm>
                <a:off x="3070406" y="4228706"/>
                <a:ext cx="106974" cy="111142"/>
              </a:xfrm>
              <a:prstGeom prst="ellipse">
                <a:avLst/>
              </a:prstGeom>
              <a:grpFill/>
              <a:ln>
                <a:noFill/>
              </a:ln>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sp>
            <p:nvSpPr>
              <p:cNvPr id="245" name="Oval 782">
                <a:extLst>
                  <a:ext uri="{FF2B5EF4-FFF2-40B4-BE49-F238E27FC236}">
                    <a16:creationId xmlns:a16="http://schemas.microsoft.com/office/drawing/2014/main" id="{8C82393A-4BAE-4F44-AD7D-B180D5C2FFAD}"/>
                  </a:ext>
                </a:extLst>
              </p:cNvPr>
              <p:cNvSpPr>
                <a:spLocks noChangeArrowheads="1"/>
              </p:cNvSpPr>
              <p:nvPr/>
            </p:nvSpPr>
            <p:spPr bwMode="auto">
              <a:xfrm>
                <a:off x="2902304" y="4228706"/>
                <a:ext cx="106974" cy="111142"/>
              </a:xfrm>
              <a:prstGeom prst="ellipse">
                <a:avLst/>
              </a:prstGeom>
              <a:grpFill/>
              <a:ln>
                <a:noFill/>
              </a:ln>
            </p:spPr>
            <p:txBody>
              <a:bodyPr vert="horz" wrap="square" lIns="89642" tIns="44821" rIns="89642" bIns="44821" numCol="1" anchor="t" anchorCtr="0" compatLnSpc="1">
                <a:prstTxWarp prst="textNoShape">
                  <a:avLst/>
                </a:prstTxWarp>
              </a:bodyPr>
              <a:lstStyle/>
              <a:p>
                <a:endParaRPr lang="en-US" sz="1765">
                  <a:solidFill>
                    <a:srgbClr val="000000"/>
                  </a:solidFill>
                  <a:latin typeface="Segoe UI"/>
                </a:endParaRPr>
              </a:p>
            </p:txBody>
          </p:sp>
        </p:grpSp>
      </p:grpSp>
    </p:spTree>
    <p:extLst>
      <p:ext uri="{BB962C8B-B14F-4D97-AF65-F5344CB8AC3E}">
        <p14:creationId xmlns:p14="http://schemas.microsoft.com/office/powerpoint/2010/main" val="1672448303"/>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5"/>
          <p:cNvSpPr txBox="1">
            <a:spLocks/>
          </p:cNvSpPr>
          <p:nvPr/>
        </p:nvSpPr>
        <p:spPr>
          <a:xfrm>
            <a:off x="877019" y="418147"/>
            <a:ext cx="10384188" cy="860227"/>
          </a:xfrm>
          <a:prstGeom prst="rect">
            <a:avLst/>
          </a:prstGeom>
        </p:spPr>
        <p:txBody>
          <a:bodyPr>
            <a:noAutofit/>
          </a:bodyPr>
          <a:lstStyle>
            <a:lvl1pPr algn="l" defTabSz="914400" rtl="0" eaLnBrk="1" latinLnBrk="0" hangingPunct="1">
              <a:lnSpc>
                <a:spcPct val="90000"/>
              </a:lnSpc>
              <a:spcBef>
                <a:spcPct val="0"/>
              </a:spcBef>
              <a:buNone/>
              <a:defRPr sz="5400" b="0" i="0" kern="1200">
                <a:solidFill>
                  <a:schemeClr val="tx1"/>
                </a:solidFill>
                <a:latin typeface="Segoe UI Semilight" panose="020B0402040204020203" pitchFamily="34" charset="0"/>
                <a:ea typeface="+mj-ea"/>
                <a:cs typeface="Segoe UI Semilight" panose="020B0402040204020203" pitchFamily="34" charset="0"/>
              </a:defRPr>
            </a:lvl1pPr>
          </a:lstStyle>
          <a:p>
            <a:pPr algn="ctr" defTabSz="857250">
              <a:defRPr/>
            </a:pPr>
            <a:r>
              <a:rPr lang="en-US" sz="5063" spc="-263" dirty="0">
                <a:solidFill>
                  <a:srgbClr val="FFFFFF"/>
                </a:solidFill>
                <a:ea typeface="Segoe UI Black" panose="020B0A02040204020203" pitchFamily="34" charset="0"/>
              </a:rPr>
              <a:t>Azure Cosmos DB Change Feed</a:t>
            </a:r>
            <a:br>
              <a:rPr lang="en-US" sz="5063" spc="-263" dirty="0">
                <a:solidFill>
                  <a:srgbClr val="FFFFFF"/>
                </a:solidFill>
                <a:ea typeface="Segoe UI Black" panose="020B0A02040204020203" pitchFamily="34" charset="0"/>
              </a:rPr>
            </a:br>
            <a:endParaRPr lang="en-US" sz="5063" spc="-263" dirty="0">
              <a:solidFill>
                <a:srgbClr val="FFFFFF"/>
              </a:solidFill>
              <a:ea typeface="Segoe UI Black" panose="020B0A02040204020203" pitchFamily="34" charset="0"/>
            </a:endParaRPr>
          </a:p>
        </p:txBody>
      </p:sp>
      <p:sp>
        <p:nvSpPr>
          <p:cNvPr id="2" name="Rectangle 1"/>
          <p:cNvSpPr/>
          <p:nvPr/>
        </p:nvSpPr>
        <p:spPr>
          <a:xfrm>
            <a:off x="1158752" y="5993820"/>
            <a:ext cx="9629094" cy="1169551"/>
          </a:xfrm>
          <a:prstGeom prst="rect">
            <a:avLst/>
          </a:prstGeom>
        </p:spPr>
        <p:txBody>
          <a:bodyPr wrap="square">
            <a:spAutoFit/>
          </a:bodyPr>
          <a:lstStyle/>
          <a:p>
            <a:pPr defTabSz="857250">
              <a:defRPr/>
            </a:pPr>
            <a:r>
              <a:rPr lang="en-US" sz="1400" dirty="0">
                <a:solidFill>
                  <a:srgbClr val="4472C4"/>
                </a:solidFill>
                <a:latin typeface="Calibri" panose="020F0502020204030204"/>
              </a:rPr>
              <a:t>Implement lambda pipelines on Azure. </a:t>
            </a:r>
          </a:p>
          <a:p>
            <a:pPr marL="285750" indent="-285750">
              <a:buFont typeface="Arial" panose="020B0604020202020204" pitchFamily="34" charset="0"/>
              <a:buChar char="•"/>
              <a:defRPr/>
            </a:pPr>
            <a:r>
              <a:rPr lang="en-US" sz="1400" dirty="0">
                <a:solidFill>
                  <a:prstClr val="white"/>
                </a:solidFill>
                <a:latin typeface="Calibri" panose="020F0502020204030204"/>
              </a:rPr>
              <a:t>Trigger a call to an API when a document is inserted or modified</a:t>
            </a:r>
          </a:p>
          <a:p>
            <a:pPr marL="285750" indent="-285750">
              <a:buFont typeface="Arial" panose="020B0604020202020204" pitchFamily="34" charset="0"/>
              <a:buChar char="•"/>
              <a:defRPr/>
            </a:pPr>
            <a:r>
              <a:rPr lang="en-US" sz="1400" dirty="0">
                <a:solidFill>
                  <a:prstClr val="white"/>
                </a:solidFill>
                <a:latin typeface="Calibri" panose="020F0502020204030204"/>
              </a:rPr>
              <a:t>Perform real-time (stream) processing on updates</a:t>
            </a:r>
          </a:p>
          <a:p>
            <a:pPr marL="285750" indent="-285750">
              <a:buFont typeface="Arial" panose="020B0604020202020204" pitchFamily="34" charset="0"/>
              <a:buChar char="•"/>
              <a:defRPr/>
            </a:pPr>
            <a:r>
              <a:rPr lang="en-US" sz="1400" dirty="0">
                <a:solidFill>
                  <a:prstClr val="white"/>
                </a:solidFill>
                <a:latin typeface="Calibri" panose="020F0502020204030204"/>
              </a:rPr>
              <a:t>Synchronize data with a cache, search engine, or data warehouse</a:t>
            </a:r>
          </a:p>
          <a:p>
            <a:pPr defTabSz="857250">
              <a:defRPr/>
            </a:pPr>
            <a:endParaRPr lang="en-US" sz="1400" dirty="0">
              <a:solidFill>
                <a:srgbClr val="FFFFFF"/>
              </a:solidFill>
              <a:latin typeface="Calibri" panose="020F0502020204030204"/>
            </a:endParaRPr>
          </a:p>
        </p:txBody>
      </p:sp>
      <p:pic>
        <p:nvPicPr>
          <p:cNvPr id="5" name="Picture 4"/>
          <p:cNvPicPr>
            <a:picLocks noChangeAspect="1"/>
          </p:cNvPicPr>
          <p:nvPr/>
        </p:nvPicPr>
        <p:blipFill>
          <a:blip r:embed="rId3"/>
          <a:stretch>
            <a:fillRect/>
          </a:stretch>
        </p:blipFill>
        <p:spPr>
          <a:xfrm>
            <a:off x="1947571" y="1278373"/>
            <a:ext cx="8243087" cy="4616330"/>
          </a:xfrm>
          <a:prstGeom prst="rect">
            <a:avLst/>
          </a:prstGeom>
        </p:spPr>
      </p:pic>
    </p:spTree>
    <p:extLst>
      <p:ext uri="{BB962C8B-B14F-4D97-AF65-F5344CB8AC3E}">
        <p14:creationId xmlns:p14="http://schemas.microsoft.com/office/powerpoint/2010/main" val="1711804057"/>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pic>
        <p:nvPicPr>
          <p:cNvPr id="1026" name="Picture 2" descr="Image result for lambda pattern serving batch">
            <a:extLst>
              <a:ext uri="{FF2B5EF4-FFF2-40B4-BE49-F238E27FC236}">
                <a16:creationId xmlns:a16="http://schemas.microsoft.com/office/drawing/2014/main" id="{A9484F01-1DE5-4CC6-80E8-F62DC016B0C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4868" y="2148841"/>
            <a:ext cx="10231838" cy="4201479"/>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1B68FC4E-1845-47D9-8EB7-FEE25377E28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60601" y="2729827"/>
            <a:ext cx="1575686" cy="1447521"/>
          </a:xfrm>
          <a:prstGeom prst="rect">
            <a:avLst/>
          </a:prstGeom>
        </p:spPr>
      </p:pic>
      <p:pic>
        <p:nvPicPr>
          <p:cNvPr id="4" name="Picture 3">
            <a:extLst>
              <a:ext uri="{FF2B5EF4-FFF2-40B4-BE49-F238E27FC236}">
                <a16:creationId xmlns:a16="http://schemas.microsoft.com/office/drawing/2014/main" id="{28CAF8DE-A03C-4673-85AF-CC17FAC75AE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13941" y="4758334"/>
            <a:ext cx="1575686" cy="1447521"/>
          </a:xfrm>
          <a:prstGeom prst="rect">
            <a:avLst/>
          </a:prstGeom>
        </p:spPr>
      </p:pic>
      <p:pic>
        <p:nvPicPr>
          <p:cNvPr id="5" name="Picture 4">
            <a:extLst>
              <a:ext uri="{FF2B5EF4-FFF2-40B4-BE49-F238E27FC236}">
                <a16:creationId xmlns:a16="http://schemas.microsoft.com/office/drawing/2014/main" id="{F40CEF38-369D-44E2-B7BD-3F489EE3498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24700" y="3888067"/>
            <a:ext cx="1575686" cy="1447521"/>
          </a:xfrm>
          <a:prstGeom prst="rect">
            <a:avLst/>
          </a:prstGeom>
        </p:spPr>
      </p:pic>
      <p:sp>
        <p:nvSpPr>
          <p:cNvPr id="6" name="Title 16">
            <a:extLst>
              <a:ext uri="{FF2B5EF4-FFF2-40B4-BE49-F238E27FC236}">
                <a16:creationId xmlns:a16="http://schemas.microsoft.com/office/drawing/2014/main" id="{E37B8B73-5B5B-4221-A2E6-14307FB2E22E}"/>
              </a:ext>
            </a:extLst>
          </p:cNvPr>
          <p:cNvSpPr txBox="1">
            <a:spLocks/>
          </p:cNvSpPr>
          <p:nvPr/>
        </p:nvSpPr>
        <p:spPr>
          <a:xfrm>
            <a:off x="633415" y="714750"/>
            <a:ext cx="10927351" cy="795539"/>
          </a:xfrm>
          <a:prstGeom prst="rect">
            <a:avLst/>
          </a:prstGeom>
        </p:spPr>
        <p:txBody>
          <a:bodyPr/>
          <a:lst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US" sz="4411" dirty="0">
                <a:solidFill>
                  <a:srgbClr val="FFFFFF"/>
                </a:solidFill>
                <a:latin typeface="Segoe UI Light"/>
              </a:rPr>
              <a:t>Lambda Pattern w/ Azure Cosmos DB </a:t>
            </a:r>
          </a:p>
          <a:p>
            <a:pPr algn="ctr"/>
            <a:r>
              <a:rPr lang="en-US" sz="4411" dirty="0">
                <a:solidFill>
                  <a:srgbClr val="FFFFFF"/>
                </a:solidFill>
                <a:latin typeface="Segoe UI Light"/>
              </a:rPr>
              <a:t>Lowest TCO</a:t>
            </a:r>
          </a:p>
        </p:txBody>
      </p:sp>
    </p:spTree>
    <p:extLst>
      <p:ext uri="{BB962C8B-B14F-4D97-AF65-F5344CB8AC3E}">
        <p14:creationId xmlns:p14="http://schemas.microsoft.com/office/powerpoint/2010/main" val="4536383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 calcmode="lin" valueType="num">
                                      <p:cBhvr>
                                        <p:cTn id="14" dur="500" fill="hold"/>
                                        <p:tgtEl>
                                          <p:spTgt spid="4"/>
                                        </p:tgtEl>
                                        <p:attrNameLst>
                                          <p:attrName>ppt_w</p:attrName>
                                        </p:attrNameLst>
                                      </p:cBhvr>
                                      <p:tavLst>
                                        <p:tav tm="0">
                                          <p:val>
                                            <p:fltVal val="0"/>
                                          </p:val>
                                        </p:tav>
                                        <p:tav tm="100000">
                                          <p:val>
                                            <p:strVal val="#ppt_w"/>
                                          </p:val>
                                        </p:tav>
                                      </p:tavLst>
                                    </p:anim>
                                    <p:anim calcmode="lin" valueType="num">
                                      <p:cBhvr>
                                        <p:cTn id="15" dur="500" fill="hold"/>
                                        <p:tgtEl>
                                          <p:spTgt spid="4"/>
                                        </p:tgtEl>
                                        <p:attrNameLst>
                                          <p:attrName>ppt_h</p:attrName>
                                        </p:attrNameLst>
                                      </p:cBhvr>
                                      <p:tavLst>
                                        <p:tav tm="0">
                                          <p:val>
                                            <p:fltVal val="0"/>
                                          </p:val>
                                        </p:tav>
                                        <p:tav tm="100000">
                                          <p:val>
                                            <p:strVal val="#ppt_h"/>
                                          </p:val>
                                        </p:tav>
                                      </p:tavLst>
                                    </p:anim>
                                    <p:animEffect transition="in" filter="fade">
                                      <p:cBhvr>
                                        <p:cTn id="16" dur="500"/>
                                        <p:tgtEl>
                                          <p:spTgt spid="4"/>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anim calcmode="lin" valueType="num">
                                      <p:cBhvr>
                                        <p:cTn id="21" dur="500" fill="hold"/>
                                        <p:tgtEl>
                                          <p:spTgt spid="5"/>
                                        </p:tgtEl>
                                        <p:attrNameLst>
                                          <p:attrName>ppt_w</p:attrName>
                                        </p:attrNameLst>
                                      </p:cBhvr>
                                      <p:tavLst>
                                        <p:tav tm="0">
                                          <p:val>
                                            <p:fltVal val="0"/>
                                          </p:val>
                                        </p:tav>
                                        <p:tav tm="100000">
                                          <p:val>
                                            <p:strVal val="#ppt_w"/>
                                          </p:val>
                                        </p:tav>
                                      </p:tavLst>
                                    </p:anim>
                                    <p:anim calcmode="lin" valueType="num">
                                      <p:cBhvr>
                                        <p:cTn id="22" dur="500" fill="hold"/>
                                        <p:tgtEl>
                                          <p:spTgt spid="5"/>
                                        </p:tgtEl>
                                        <p:attrNameLst>
                                          <p:attrName>ppt_h</p:attrName>
                                        </p:attrNameLst>
                                      </p:cBhvr>
                                      <p:tavLst>
                                        <p:tav tm="0">
                                          <p:val>
                                            <p:fltVal val="0"/>
                                          </p:val>
                                        </p:tav>
                                        <p:tav tm="100000">
                                          <p:val>
                                            <p:strVal val="#ppt_h"/>
                                          </p:val>
                                        </p:tav>
                                      </p:tavLst>
                                    </p:anim>
                                    <p:animEffect transition="in" filter="fade">
                                      <p:cBhvr>
                                        <p:cTn id="2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159EF34-B903-414F-A3DA-8F00A6C40ED0}"/>
              </a:ext>
            </a:extLst>
          </p:cNvPr>
          <p:cNvSpPr/>
          <p:nvPr/>
        </p:nvSpPr>
        <p:spPr>
          <a:xfrm>
            <a:off x="-66261" y="0"/>
            <a:ext cx="12258261" cy="7315200"/>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a:endParaRPr>
          </a:p>
        </p:txBody>
      </p:sp>
      <p:pic>
        <p:nvPicPr>
          <p:cNvPr id="5" name="Picture 4">
            <a:extLst>
              <a:ext uri="{FF2B5EF4-FFF2-40B4-BE49-F238E27FC236}">
                <a16:creationId xmlns:a16="http://schemas.microsoft.com/office/drawing/2014/main" id="{8BCAAAE5-4E7D-4717-9809-2A52A42A2B6C}"/>
              </a:ext>
            </a:extLst>
          </p:cNvPr>
          <p:cNvPicPr>
            <a:picLocks noChangeAspect="1"/>
          </p:cNvPicPr>
          <p:nvPr/>
        </p:nvPicPr>
        <p:blipFill>
          <a:blip r:embed="rId3"/>
          <a:stretch>
            <a:fillRect/>
          </a:stretch>
        </p:blipFill>
        <p:spPr>
          <a:xfrm>
            <a:off x="8752089" y="3857626"/>
            <a:ext cx="3067050" cy="3228975"/>
          </a:xfrm>
          <a:prstGeom prst="rect">
            <a:avLst/>
          </a:prstGeom>
        </p:spPr>
      </p:pic>
      <p:sp>
        <p:nvSpPr>
          <p:cNvPr id="6" name="TextBox 5">
            <a:extLst>
              <a:ext uri="{FF2B5EF4-FFF2-40B4-BE49-F238E27FC236}">
                <a16:creationId xmlns:a16="http://schemas.microsoft.com/office/drawing/2014/main" id="{0DEBA98C-98C3-4219-BAA6-CE472C432A5D}"/>
              </a:ext>
            </a:extLst>
          </p:cNvPr>
          <p:cNvSpPr txBox="1"/>
          <p:nvPr/>
        </p:nvSpPr>
        <p:spPr>
          <a:xfrm>
            <a:off x="678873" y="1595498"/>
            <a:ext cx="10562892" cy="2062103"/>
          </a:xfrm>
          <a:prstGeom prst="rect">
            <a:avLst/>
          </a:prstGeom>
          <a:noFill/>
        </p:spPr>
        <p:txBody>
          <a:bodyPr wrap="none" rtlCol="0">
            <a:spAutoFit/>
          </a:bodyPr>
          <a:lstStyle/>
          <a:p>
            <a:r>
              <a:rPr lang="en-US" sz="6400" dirty="0">
                <a:solidFill>
                  <a:prstClr val="white"/>
                </a:solidFill>
                <a:latin typeface="Segoe UI Light" panose="020B0502040204020203" pitchFamily="34" charset="0"/>
                <a:cs typeface="Segoe UI Light" panose="020B0502040204020203" pitchFamily="34" charset="0"/>
              </a:rPr>
              <a:t>Try Azure Cosmos DB for free!</a:t>
            </a:r>
          </a:p>
          <a:p>
            <a:endParaRPr lang="en-US" sz="3200" dirty="0">
              <a:solidFill>
                <a:prstClr val="white"/>
              </a:solidFill>
              <a:latin typeface="Segoe UI" panose="020B0502040204020203" pitchFamily="34" charset="0"/>
              <a:cs typeface="Segoe UI" panose="020B0502040204020203" pitchFamily="34" charset="0"/>
            </a:endParaRPr>
          </a:p>
          <a:p>
            <a:r>
              <a:rPr lang="en-US" sz="3200" dirty="0">
                <a:solidFill>
                  <a:prstClr val="white"/>
                </a:solidFill>
                <a:latin typeface="Segoe UI" panose="020B0502040204020203" pitchFamily="34" charset="0"/>
                <a:cs typeface="Segoe UI" panose="020B0502040204020203" pitchFamily="34" charset="0"/>
              </a:rPr>
              <a:t>https://azure.microsoft.com/en-us/try/cosmosdb/</a:t>
            </a:r>
          </a:p>
        </p:txBody>
      </p:sp>
    </p:spTree>
    <p:extLst>
      <p:ext uri="{BB962C8B-B14F-4D97-AF65-F5344CB8AC3E}">
        <p14:creationId xmlns:p14="http://schemas.microsoft.com/office/powerpoint/2010/main" val="3034974400"/>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93DB10-E4DA-4440-9616-226C0DFF0886}"/>
              </a:ext>
            </a:extLst>
          </p:cNvPr>
          <p:cNvSpPr>
            <a:spLocks noGrp="1"/>
          </p:cNvSpPr>
          <p:nvPr>
            <p:ph type="title"/>
          </p:nvPr>
        </p:nvSpPr>
        <p:spPr>
          <a:xfrm>
            <a:off x="2613659" y="2871413"/>
            <a:ext cx="6964682" cy="1325563"/>
          </a:xfrm>
        </p:spPr>
        <p:txBody>
          <a:bodyPr>
            <a:normAutofit/>
          </a:bodyPr>
          <a:lstStyle/>
          <a:p>
            <a:pPr algn="ctr"/>
            <a:r>
              <a:rPr lang="en-US" dirty="0">
                <a:latin typeface="Segoe UI Light" panose="020B0502040204020203" pitchFamily="34" charset="0"/>
                <a:cs typeface="Segoe UI Light" panose="020B0502040204020203" pitchFamily="34" charset="0"/>
              </a:rPr>
              <a:t>Build 2018 Announcements</a:t>
            </a:r>
          </a:p>
        </p:txBody>
      </p:sp>
    </p:spTree>
    <p:extLst>
      <p:ext uri="{BB962C8B-B14F-4D97-AF65-F5344CB8AC3E}">
        <p14:creationId xmlns:p14="http://schemas.microsoft.com/office/powerpoint/2010/main" val="2439266610"/>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A484FD-F658-4F2C-9A32-E9531D8DFE4C}"/>
              </a:ext>
            </a:extLst>
          </p:cNvPr>
          <p:cNvSpPr>
            <a:spLocks noGrp="1"/>
          </p:cNvSpPr>
          <p:nvPr>
            <p:ph type="title"/>
          </p:nvPr>
        </p:nvSpPr>
        <p:spPr>
          <a:xfrm>
            <a:off x="838200" y="593726"/>
            <a:ext cx="10515600" cy="1325563"/>
          </a:xfrm>
        </p:spPr>
        <p:txBody>
          <a:bodyPr>
            <a:normAutofit/>
          </a:bodyPr>
          <a:lstStyle/>
          <a:p>
            <a:r>
              <a:rPr lang="en-US" dirty="0">
                <a:latin typeface="Segoe UI Light" panose="020B0502040204020203" pitchFamily="34" charset="0"/>
                <a:cs typeface="Segoe UI Light" panose="020B0502040204020203" pitchFamily="34" charset="0"/>
              </a:rPr>
              <a:t>Vnet Service Endpoints</a:t>
            </a:r>
          </a:p>
        </p:txBody>
      </p:sp>
      <p:sp>
        <p:nvSpPr>
          <p:cNvPr id="3" name="Content Placeholder 2">
            <a:extLst>
              <a:ext uri="{FF2B5EF4-FFF2-40B4-BE49-F238E27FC236}">
                <a16:creationId xmlns:a16="http://schemas.microsoft.com/office/drawing/2014/main" id="{16B587F4-1D5A-41B2-AA69-DC925549EB53}"/>
              </a:ext>
            </a:extLst>
          </p:cNvPr>
          <p:cNvSpPr>
            <a:spLocks noGrp="1"/>
          </p:cNvSpPr>
          <p:nvPr>
            <p:ph idx="1"/>
          </p:nvPr>
        </p:nvSpPr>
        <p:spPr>
          <a:xfrm>
            <a:off x="838201" y="2054225"/>
            <a:ext cx="3797807" cy="4351338"/>
          </a:xfrm>
        </p:spPr>
        <p:txBody>
          <a:bodyPr>
            <a:normAutofit/>
          </a:bodyPr>
          <a:lstStyle/>
          <a:p>
            <a:r>
              <a:rPr lang="en-US" sz="2000" dirty="0"/>
              <a:t>GA in May</a:t>
            </a:r>
          </a:p>
          <a:p>
            <a:r>
              <a:rPr lang="en-US" sz="2000" dirty="0"/>
              <a:t>Restrict traffic to selected Vnet/Subnets.</a:t>
            </a:r>
          </a:p>
          <a:p>
            <a:r>
              <a:rPr lang="en-US" sz="2000" dirty="0"/>
              <a:t>Combine with Firewall ACLs to control access.</a:t>
            </a:r>
          </a:p>
          <a:p>
            <a:endParaRPr lang="en-US" sz="2000" dirty="0"/>
          </a:p>
          <a:p>
            <a:r>
              <a:rPr lang="en-US" sz="2000" dirty="0"/>
              <a:t>Now available for ALL APIs</a:t>
            </a:r>
          </a:p>
          <a:p>
            <a:r>
              <a:rPr lang="en-US" sz="2000" dirty="0"/>
              <a:t>And available in ALL Clouds</a:t>
            </a:r>
          </a:p>
        </p:txBody>
      </p:sp>
      <p:pic>
        <p:nvPicPr>
          <p:cNvPr id="1026" name="Picture 2" descr="VNet">
            <a:extLst>
              <a:ext uri="{FF2B5EF4-FFF2-40B4-BE49-F238E27FC236}">
                <a16:creationId xmlns:a16="http://schemas.microsoft.com/office/drawing/2014/main" id="{051FF777-A56B-4CC2-821E-5DADDBBD8F5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893" r="3" b="3"/>
          <a:stretch/>
        </p:blipFill>
        <p:spPr bwMode="auto">
          <a:xfrm>
            <a:off x="5245049" y="1919289"/>
            <a:ext cx="6233160" cy="4272681"/>
          </a:xfrm>
          <a:prstGeom prst="rect">
            <a:avLst/>
          </a:prstGeom>
          <a:solidFill>
            <a:schemeClr val="bg1"/>
          </a:solidFill>
          <a:extLst/>
        </p:spPr>
      </p:pic>
      <p:sp>
        <p:nvSpPr>
          <p:cNvPr id="5" name="Rectangle 4">
            <a:extLst>
              <a:ext uri="{FF2B5EF4-FFF2-40B4-BE49-F238E27FC236}">
                <a16:creationId xmlns:a16="http://schemas.microsoft.com/office/drawing/2014/main" id="{69952AE0-BFE6-4093-9461-CEC1DA71349B}"/>
              </a:ext>
            </a:extLst>
          </p:cNvPr>
          <p:cNvSpPr/>
          <p:nvPr/>
        </p:nvSpPr>
        <p:spPr>
          <a:xfrm>
            <a:off x="9359900" y="211138"/>
            <a:ext cx="2832100" cy="698500"/>
          </a:xfrm>
          <a:prstGeom prst="rect">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prstClr val="white"/>
                </a:solidFill>
                <a:latin typeface="Segoe UI Light" panose="020B0502040204020203" pitchFamily="34" charset="0"/>
                <a:cs typeface="Segoe UI Light" panose="020B0502040204020203" pitchFamily="34" charset="0"/>
              </a:rPr>
              <a:t>Generally Available</a:t>
            </a:r>
          </a:p>
        </p:txBody>
      </p:sp>
    </p:spTree>
    <p:extLst>
      <p:ext uri="{BB962C8B-B14F-4D97-AF65-F5344CB8AC3E}">
        <p14:creationId xmlns:p14="http://schemas.microsoft.com/office/powerpoint/2010/main" val="2593983672"/>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08383C-EEBC-42FF-ADAC-6ED8083141A9}"/>
              </a:ext>
            </a:extLst>
          </p:cNvPr>
          <p:cNvSpPr>
            <a:spLocks noGrp="1"/>
          </p:cNvSpPr>
          <p:nvPr>
            <p:ph type="title"/>
          </p:nvPr>
        </p:nvSpPr>
        <p:spPr/>
        <p:txBody>
          <a:bodyPr/>
          <a:lstStyle/>
          <a:p>
            <a:r>
              <a:rPr lang="en-US" dirty="0"/>
              <a:t>Azure Cosmos DB logical resources</a:t>
            </a:r>
          </a:p>
        </p:txBody>
      </p:sp>
      <p:sp>
        <p:nvSpPr>
          <p:cNvPr id="9" name="Text Placeholder 8">
            <a:extLst>
              <a:ext uri="{FF2B5EF4-FFF2-40B4-BE49-F238E27FC236}">
                <a16:creationId xmlns:a16="http://schemas.microsoft.com/office/drawing/2014/main" id="{7D2EDA87-0671-4269-A73C-8D454D57E1A0}"/>
              </a:ext>
            </a:extLst>
          </p:cNvPr>
          <p:cNvSpPr>
            <a:spLocks noGrp="1"/>
          </p:cNvSpPr>
          <p:nvPr>
            <p:ph type="body" sz="quarter" idx="11"/>
          </p:nvPr>
        </p:nvSpPr>
        <p:spPr>
          <a:xfrm>
            <a:off x="5984670" y="1519420"/>
            <a:ext cx="5147774" cy="5150128"/>
          </a:xfrm>
          <a:noFill/>
        </p:spPr>
        <p:txBody>
          <a:bodyPr vert="horz" wrap="square" lIns="146304" tIns="91440" rIns="146304" bIns="91440" rtlCol="0" anchor="t">
            <a:spAutoFit/>
          </a:bodyPr>
          <a:lstStyle/>
          <a:p>
            <a:pPr lvl="0"/>
            <a:r>
              <a:rPr lang="en-US" dirty="0"/>
              <a:t>CONTAINERS</a:t>
            </a:r>
          </a:p>
          <a:p>
            <a:pPr marL="0" lvl="1" indent="0">
              <a:buNone/>
            </a:pPr>
            <a:r>
              <a:rPr lang="en-US" dirty="0"/>
              <a:t>Logical resources “surfaced” to APIs as tables, collections or graphs</a:t>
            </a:r>
          </a:p>
          <a:p>
            <a:pPr marL="0" lvl="1" indent="0">
              <a:buNone/>
            </a:pPr>
            <a:endParaRPr lang="en-US" dirty="0"/>
          </a:p>
          <a:p>
            <a:pPr marL="0" lvl="1" indent="0">
              <a:buNone/>
            </a:pPr>
            <a:endParaRPr lang="en-US" dirty="0"/>
          </a:p>
          <a:p>
            <a:endParaRPr lang="en-US" dirty="0"/>
          </a:p>
          <a:p>
            <a:endParaRPr lang="en-US" dirty="0"/>
          </a:p>
          <a:p>
            <a:endParaRPr lang="en-US" dirty="0"/>
          </a:p>
          <a:p>
            <a:endParaRPr lang="en-US" dirty="0"/>
          </a:p>
          <a:p>
            <a:endParaRPr lang="en-US" dirty="0"/>
          </a:p>
          <a:p>
            <a:pPr lvl="0"/>
            <a:r>
              <a:rPr lang="en-US" dirty="0"/>
              <a:t>RESOURCE PARTITIONS</a:t>
            </a:r>
            <a:endParaRPr lang="en-US" dirty="0">
              <a:solidFill>
                <a:schemeClr val="tx1"/>
              </a:solidFill>
            </a:endParaRPr>
          </a:p>
          <a:p>
            <a:pPr marL="236220" lvl="1" indent="-236220"/>
            <a:r>
              <a:rPr lang="en-US" dirty="0"/>
              <a:t>Consistent, highly available, and resource-governed coordination primitives</a:t>
            </a:r>
          </a:p>
          <a:p>
            <a:pPr marL="236220" lvl="1" indent="-236220"/>
            <a:r>
              <a:rPr lang="en-US" dirty="0"/>
              <a:t>Consist of replica sets, with each replica hosting an instance of the database engine</a:t>
            </a:r>
          </a:p>
        </p:txBody>
      </p:sp>
      <p:grpSp>
        <p:nvGrpSpPr>
          <p:cNvPr id="24" name="Group 23">
            <a:extLst>
              <a:ext uri="{FF2B5EF4-FFF2-40B4-BE49-F238E27FC236}">
                <a16:creationId xmlns:a16="http://schemas.microsoft.com/office/drawing/2014/main" id="{C04245BF-BA20-4E4A-A652-798B49F4639F}"/>
              </a:ext>
            </a:extLst>
          </p:cNvPr>
          <p:cNvGrpSpPr/>
          <p:nvPr/>
        </p:nvGrpSpPr>
        <p:grpSpPr>
          <a:xfrm>
            <a:off x="949812" y="1941394"/>
            <a:ext cx="3749040" cy="4388874"/>
            <a:chOff x="7324898" y="1712794"/>
            <a:chExt cx="3749040" cy="4388874"/>
          </a:xfrm>
        </p:grpSpPr>
        <p:grpSp>
          <p:nvGrpSpPr>
            <p:cNvPr id="65" name="Group 64">
              <a:extLst>
                <a:ext uri="{FF2B5EF4-FFF2-40B4-BE49-F238E27FC236}">
                  <a16:creationId xmlns:a16="http://schemas.microsoft.com/office/drawing/2014/main" id="{0FF86804-50E1-4056-8238-66CD3C664FDE}"/>
                </a:ext>
              </a:extLst>
            </p:cNvPr>
            <p:cNvGrpSpPr/>
            <p:nvPr/>
          </p:nvGrpSpPr>
          <p:grpSpPr>
            <a:xfrm>
              <a:off x="8577593" y="4114860"/>
              <a:ext cx="1243650" cy="357484"/>
              <a:chOff x="8262742" y="4265547"/>
              <a:chExt cx="1243650" cy="357484"/>
            </a:xfrm>
            <a:noFill/>
          </p:grpSpPr>
          <p:sp>
            <p:nvSpPr>
              <p:cNvPr id="116" name="Cylinder 513">
                <a:extLst>
                  <a:ext uri="{FF2B5EF4-FFF2-40B4-BE49-F238E27FC236}">
                    <a16:creationId xmlns:a16="http://schemas.microsoft.com/office/drawing/2014/main" id="{38C9792D-C444-4323-8977-8C434A73A472}"/>
                  </a:ext>
                </a:extLst>
              </p:cNvPr>
              <p:cNvSpPr/>
              <p:nvPr/>
            </p:nvSpPr>
            <p:spPr bwMode="auto">
              <a:xfrm>
                <a:off x="9125309" y="4265547"/>
                <a:ext cx="381083" cy="357484"/>
              </a:xfrm>
              <a:prstGeom prst="can">
                <a:avLst>
                  <a:gd name="adj" fmla="val 39530"/>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a:solidFill>
                    <a:srgbClr val="0078D7"/>
                  </a:solidFill>
                  <a:latin typeface="Segoe UI Light"/>
                  <a:ea typeface="Segoe UI" pitchFamily="34" charset="0"/>
                  <a:cs typeface="Segoe UI" pitchFamily="34" charset="0"/>
                </a:endParaRPr>
              </a:p>
            </p:txBody>
          </p:sp>
          <p:sp>
            <p:nvSpPr>
              <p:cNvPr id="117" name="Cylinder 513">
                <a:extLst>
                  <a:ext uri="{FF2B5EF4-FFF2-40B4-BE49-F238E27FC236}">
                    <a16:creationId xmlns:a16="http://schemas.microsoft.com/office/drawing/2014/main" id="{8B8E3569-BDB7-4A8F-A5BC-C675F3F93079}"/>
                  </a:ext>
                </a:extLst>
              </p:cNvPr>
              <p:cNvSpPr/>
              <p:nvPr/>
            </p:nvSpPr>
            <p:spPr bwMode="auto">
              <a:xfrm>
                <a:off x="8694025" y="4265547"/>
                <a:ext cx="381083" cy="357484"/>
              </a:xfrm>
              <a:prstGeom prst="can">
                <a:avLst>
                  <a:gd name="adj" fmla="val 39530"/>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a:solidFill>
                    <a:srgbClr val="0078D7"/>
                  </a:solidFill>
                  <a:latin typeface="Segoe UI Light"/>
                  <a:ea typeface="Segoe UI" pitchFamily="34" charset="0"/>
                  <a:cs typeface="Segoe UI" pitchFamily="34" charset="0"/>
                </a:endParaRPr>
              </a:p>
            </p:txBody>
          </p:sp>
          <p:sp>
            <p:nvSpPr>
              <p:cNvPr id="51" name="Cylinder 513">
                <a:extLst>
                  <a:ext uri="{FF2B5EF4-FFF2-40B4-BE49-F238E27FC236}">
                    <a16:creationId xmlns:a16="http://schemas.microsoft.com/office/drawing/2014/main" id="{E4D30A2C-D8F7-490A-99D6-0C0D61C31314}"/>
                  </a:ext>
                </a:extLst>
              </p:cNvPr>
              <p:cNvSpPr/>
              <p:nvPr/>
            </p:nvSpPr>
            <p:spPr bwMode="auto">
              <a:xfrm>
                <a:off x="8262742" y="4265547"/>
                <a:ext cx="381083" cy="357484"/>
              </a:xfrm>
              <a:prstGeom prst="can">
                <a:avLst>
                  <a:gd name="adj" fmla="val 39530"/>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a:solidFill>
                    <a:srgbClr val="0078D7"/>
                  </a:solidFill>
                  <a:latin typeface="Segoe UI Light"/>
                  <a:ea typeface="Segoe UI" pitchFamily="34" charset="0"/>
                  <a:cs typeface="Segoe UI" pitchFamily="34" charset="0"/>
                </a:endParaRPr>
              </a:p>
            </p:txBody>
          </p:sp>
        </p:grpSp>
        <p:grpSp>
          <p:nvGrpSpPr>
            <p:cNvPr id="67" name="Group 66">
              <a:extLst>
                <a:ext uri="{FF2B5EF4-FFF2-40B4-BE49-F238E27FC236}">
                  <a16:creationId xmlns:a16="http://schemas.microsoft.com/office/drawing/2014/main" id="{93E9D72B-D275-41A5-B45B-420882CFA457}"/>
                </a:ext>
              </a:extLst>
            </p:cNvPr>
            <p:cNvGrpSpPr>
              <a:grpSpLocks noChangeAspect="1"/>
            </p:cNvGrpSpPr>
            <p:nvPr/>
          </p:nvGrpSpPr>
          <p:grpSpPr>
            <a:xfrm>
              <a:off x="7478986" y="5190511"/>
              <a:ext cx="457200" cy="457200"/>
              <a:chOff x="678426" y="2868561"/>
              <a:chExt cx="811162" cy="811162"/>
            </a:xfrm>
          </p:grpSpPr>
          <p:sp>
            <p:nvSpPr>
              <p:cNvPr id="68" name="Oval 67">
                <a:extLst>
                  <a:ext uri="{FF2B5EF4-FFF2-40B4-BE49-F238E27FC236}">
                    <a16:creationId xmlns:a16="http://schemas.microsoft.com/office/drawing/2014/main" id="{02403132-4E05-4059-B23D-F2EEDB44D4AC}"/>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9" name="Rectangle 68">
                <a:extLst>
                  <a:ext uri="{FF2B5EF4-FFF2-40B4-BE49-F238E27FC236}">
                    <a16:creationId xmlns:a16="http://schemas.microsoft.com/office/drawing/2014/main" id="{231D905F-FA86-454D-A87B-B41DFDF93512}"/>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70" name="Rectangle 69">
                <a:extLst>
                  <a:ext uri="{FF2B5EF4-FFF2-40B4-BE49-F238E27FC236}">
                    <a16:creationId xmlns:a16="http://schemas.microsoft.com/office/drawing/2014/main" id="{EC69BED5-B30A-4E21-9518-615C02B6448B}"/>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71" name="Rectangle 70">
                <a:extLst>
                  <a:ext uri="{FF2B5EF4-FFF2-40B4-BE49-F238E27FC236}">
                    <a16:creationId xmlns:a16="http://schemas.microsoft.com/office/drawing/2014/main" id="{E787D04A-EA41-4EA3-BEDA-DC33E3398F7C}"/>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72" name="Rectangle 71">
                <a:extLst>
                  <a:ext uri="{FF2B5EF4-FFF2-40B4-BE49-F238E27FC236}">
                    <a16:creationId xmlns:a16="http://schemas.microsoft.com/office/drawing/2014/main" id="{45A3B903-29E0-4265-AFE1-FECF95F826DE}"/>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73" name="Connector: Curved 72">
                <a:extLst>
                  <a:ext uri="{FF2B5EF4-FFF2-40B4-BE49-F238E27FC236}">
                    <a16:creationId xmlns:a16="http://schemas.microsoft.com/office/drawing/2014/main" id="{5CA15B8D-FF4E-47BA-9F3D-A15B93EE771A}"/>
                  </a:ext>
                </a:extLst>
              </p:cNvPr>
              <p:cNvCxnSpPr>
                <a:stCxn id="69" idx="3"/>
                <a:endCxn id="70"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74" name="Connector: Curved 73">
                <a:extLst>
                  <a:ext uri="{FF2B5EF4-FFF2-40B4-BE49-F238E27FC236}">
                    <a16:creationId xmlns:a16="http://schemas.microsoft.com/office/drawing/2014/main" id="{6A4565C9-5B69-4E52-B8B9-13B50B0E44DF}"/>
                  </a:ext>
                </a:extLst>
              </p:cNvPr>
              <p:cNvCxnSpPr>
                <a:cxnSpLocks/>
                <a:stCxn id="69" idx="3"/>
                <a:endCxn id="71"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75" name="Connector: Curved 74">
                <a:extLst>
                  <a:ext uri="{FF2B5EF4-FFF2-40B4-BE49-F238E27FC236}">
                    <a16:creationId xmlns:a16="http://schemas.microsoft.com/office/drawing/2014/main" id="{15EE9A63-8F37-43E0-BB31-97516C9B6F41}"/>
                  </a:ext>
                </a:extLst>
              </p:cNvPr>
              <p:cNvCxnSpPr>
                <a:cxnSpLocks/>
                <a:stCxn id="69" idx="3"/>
                <a:endCxn id="72"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sp>
          <p:nvSpPr>
            <p:cNvPr id="130" name="TextBox 129">
              <a:extLst>
                <a:ext uri="{FF2B5EF4-FFF2-40B4-BE49-F238E27FC236}">
                  <a16:creationId xmlns:a16="http://schemas.microsoft.com/office/drawing/2014/main" id="{ECBBBFF1-82BE-454C-A417-9532F36EE56A}"/>
                </a:ext>
              </a:extLst>
            </p:cNvPr>
            <p:cNvSpPr txBox="1"/>
            <p:nvPr/>
          </p:nvSpPr>
          <p:spPr>
            <a:xfrm>
              <a:off x="8825758" y="4501395"/>
              <a:ext cx="747320" cy="230832"/>
            </a:xfrm>
            <a:prstGeom prst="rect">
              <a:avLst/>
            </a:prstGeom>
            <a:noFill/>
          </p:spPr>
          <p:txBody>
            <a:bodyPr wrap="none" lIns="91440" rtlCol="0">
              <a:spAutoFit/>
            </a:bodyPr>
            <a:lstStyle/>
            <a:p>
              <a:pPr algn="ctr">
                <a:defRPr/>
              </a:pPr>
              <a:r>
                <a:rPr lang="en-US" sz="900">
                  <a:solidFill>
                    <a:srgbClr val="0078D7"/>
                  </a:solidFill>
                  <a:latin typeface="Segoe UI Semibold" panose="020B0702040204020203" pitchFamily="34" charset="0"/>
                  <a:cs typeface="Segoe UI Semibold" panose="020B0702040204020203" pitchFamily="34" charset="0"/>
                </a:rPr>
                <a:t>Containers</a:t>
              </a:r>
            </a:p>
          </p:txBody>
        </p:sp>
        <p:sp>
          <p:nvSpPr>
            <p:cNvPr id="131" name="Right Bracket 130">
              <a:extLst>
                <a:ext uri="{FF2B5EF4-FFF2-40B4-BE49-F238E27FC236}">
                  <a16:creationId xmlns:a16="http://schemas.microsoft.com/office/drawing/2014/main" id="{73577B31-FFEA-4807-9ABB-EC7172AD59E1}"/>
                </a:ext>
              </a:extLst>
            </p:cNvPr>
            <p:cNvSpPr/>
            <p:nvPr/>
          </p:nvSpPr>
          <p:spPr>
            <a:xfrm rot="5400000" flipV="1">
              <a:off x="9150228" y="3839050"/>
              <a:ext cx="98379" cy="3749040"/>
            </a:xfrm>
            <a:prstGeom prst="rightBracket">
              <a:avLst/>
            </a:prstGeom>
            <a:ln w="190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defRPr/>
              </a:pPr>
              <a:endParaRPr lang="en-US">
                <a:solidFill>
                  <a:srgbClr val="505050"/>
                </a:solidFill>
                <a:latin typeface="Segoe UI Semilight"/>
              </a:endParaRPr>
            </a:p>
          </p:txBody>
        </p:sp>
        <p:sp>
          <p:nvSpPr>
            <p:cNvPr id="132" name="TextBox 131">
              <a:extLst>
                <a:ext uri="{FF2B5EF4-FFF2-40B4-BE49-F238E27FC236}">
                  <a16:creationId xmlns:a16="http://schemas.microsoft.com/office/drawing/2014/main" id="{C4AA1559-A225-4AB7-B100-316DACFD5EFF}"/>
                </a:ext>
              </a:extLst>
            </p:cNvPr>
            <p:cNvSpPr txBox="1"/>
            <p:nvPr/>
          </p:nvSpPr>
          <p:spPr>
            <a:xfrm>
              <a:off x="8601338" y="5870836"/>
              <a:ext cx="1196161" cy="230832"/>
            </a:xfrm>
            <a:prstGeom prst="rect">
              <a:avLst/>
            </a:prstGeom>
            <a:noFill/>
          </p:spPr>
          <p:txBody>
            <a:bodyPr wrap="none" lIns="91440" rtlCol="0">
              <a:spAutoFit/>
            </a:bodyPr>
            <a:lstStyle/>
            <a:p>
              <a:pPr algn="ctr">
                <a:defRPr/>
              </a:pPr>
              <a:r>
                <a:rPr lang="en-US" sz="900">
                  <a:solidFill>
                    <a:srgbClr val="0078D7"/>
                  </a:solidFill>
                  <a:latin typeface="Segoe UI Semibold" panose="020B0702040204020203" pitchFamily="34" charset="0"/>
                  <a:cs typeface="Segoe UI Semibold" panose="020B0702040204020203" pitchFamily="34" charset="0"/>
                </a:rPr>
                <a:t>Resource Partitions</a:t>
              </a:r>
            </a:p>
          </p:txBody>
        </p:sp>
        <p:cxnSp>
          <p:nvCxnSpPr>
            <p:cNvPr id="137" name="Straight Arrow Connector 136">
              <a:extLst>
                <a:ext uri="{FF2B5EF4-FFF2-40B4-BE49-F238E27FC236}">
                  <a16:creationId xmlns:a16="http://schemas.microsoft.com/office/drawing/2014/main" id="{6782A08A-FFAB-48D7-91D0-1AE921B09D6F}"/>
                </a:ext>
              </a:extLst>
            </p:cNvPr>
            <p:cNvCxnSpPr>
              <a:cxnSpLocks/>
            </p:cNvCxnSpPr>
            <p:nvPr/>
          </p:nvCxnSpPr>
          <p:spPr>
            <a:xfrm>
              <a:off x="9199418" y="3394974"/>
              <a:ext cx="0" cy="578632"/>
            </a:xfrm>
            <a:prstGeom prst="straightConnector1">
              <a:avLst/>
            </a:prstGeom>
            <a:ln w="19050">
              <a:solidFill>
                <a:schemeClr val="bg1">
                  <a:lumMod val="5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48" name="Straight Arrow Connector 147">
              <a:extLst>
                <a:ext uri="{FF2B5EF4-FFF2-40B4-BE49-F238E27FC236}">
                  <a16:creationId xmlns:a16="http://schemas.microsoft.com/office/drawing/2014/main" id="{F10B7690-A04E-4B62-9D1F-3F360ADEFF7B}"/>
                </a:ext>
              </a:extLst>
            </p:cNvPr>
            <p:cNvCxnSpPr>
              <a:cxnSpLocks/>
            </p:cNvCxnSpPr>
            <p:nvPr/>
          </p:nvCxnSpPr>
          <p:spPr>
            <a:xfrm>
              <a:off x="9199417" y="2490281"/>
              <a:ext cx="0" cy="317151"/>
            </a:xfrm>
            <a:prstGeom prst="straightConnector1">
              <a:avLst/>
            </a:prstGeom>
            <a:ln w="19050">
              <a:solidFill>
                <a:schemeClr val="bg1">
                  <a:lumMod val="5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63" name="Straight Arrow Connector 162">
              <a:extLst>
                <a:ext uri="{FF2B5EF4-FFF2-40B4-BE49-F238E27FC236}">
                  <a16:creationId xmlns:a16="http://schemas.microsoft.com/office/drawing/2014/main" id="{46B0B352-FE46-4D07-B711-F75781955A71}"/>
                </a:ext>
              </a:extLst>
            </p:cNvPr>
            <p:cNvCxnSpPr>
              <a:cxnSpLocks/>
            </p:cNvCxnSpPr>
            <p:nvPr/>
          </p:nvCxnSpPr>
          <p:spPr>
            <a:xfrm>
              <a:off x="9199418" y="4738631"/>
              <a:ext cx="0" cy="410443"/>
            </a:xfrm>
            <a:prstGeom prst="straightConnector1">
              <a:avLst/>
            </a:prstGeom>
            <a:ln w="19050">
              <a:solidFill>
                <a:schemeClr val="bg1">
                  <a:lumMod val="5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41" name="Freeform 5">
              <a:extLst>
                <a:ext uri="{FF2B5EF4-FFF2-40B4-BE49-F238E27FC236}">
                  <a16:creationId xmlns:a16="http://schemas.microsoft.com/office/drawing/2014/main" id="{932153C4-43A4-42B7-8810-E75DD6E3493D}"/>
                </a:ext>
              </a:extLst>
            </p:cNvPr>
            <p:cNvSpPr>
              <a:spLocks noEditPoints="1"/>
            </p:cNvSpPr>
            <p:nvPr/>
          </p:nvSpPr>
          <p:spPr bwMode="auto">
            <a:xfrm>
              <a:off x="8892749" y="1712794"/>
              <a:ext cx="613338" cy="518491"/>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latin typeface="Segoe UI Semilight"/>
              </a:endParaRPr>
            </a:p>
          </p:txBody>
        </p:sp>
        <p:grpSp>
          <p:nvGrpSpPr>
            <p:cNvPr id="138" name="Group 137">
              <a:extLst>
                <a:ext uri="{FF2B5EF4-FFF2-40B4-BE49-F238E27FC236}">
                  <a16:creationId xmlns:a16="http://schemas.microsoft.com/office/drawing/2014/main" id="{7C055C48-0CCE-4722-81A8-31339A90670F}"/>
                </a:ext>
              </a:extLst>
            </p:cNvPr>
            <p:cNvGrpSpPr/>
            <p:nvPr/>
          </p:nvGrpSpPr>
          <p:grpSpPr>
            <a:xfrm>
              <a:off x="7854024" y="2860733"/>
              <a:ext cx="2690789" cy="538174"/>
              <a:chOff x="7596797" y="3011420"/>
              <a:chExt cx="2690789" cy="538174"/>
            </a:xfrm>
          </p:grpSpPr>
          <p:grpSp>
            <p:nvGrpSpPr>
              <p:cNvPr id="120" name="Group 119">
                <a:extLst>
                  <a:ext uri="{FF2B5EF4-FFF2-40B4-BE49-F238E27FC236}">
                    <a16:creationId xmlns:a16="http://schemas.microsoft.com/office/drawing/2014/main" id="{1D4879CE-10E2-4C9A-97A8-9228F2165D76}"/>
                  </a:ext>
                </a:extLst>
              </p:cNvPr>
              <p:cNvGrpSpPr>
                <a:grpSpLocks noChangeAspect="1"/>
              </p:cNvGrpSpPr>
              <p:nvPr/>
            </p:nvGrpSpPr>
            <p:grpSpPr>
              <a:xfrm>
                <a:off x="8544487" y="3015353"/>
                <a:ext cx="760143" cy="530308"/>
                <a:chOff x="6800717" y="3085807"/>
                <a:chExt cx="1223737" cy="853732"/>
              </a:xfrm>
            </p:grpSpPr>
            <p:grpSp>
              <p:nvGrpSpPr>
                <p:cNvPr id="6" name="Group 5">
                  <a:extLst>
                    <a:ext uri="{FF2B5EF4-FFF2-40B4-BE49-F238E27FC236}">
                      <a16:creationId xmlns:a16="http://schemas.microsoft.com/office/drawing/2014/main" id="{659A4D5B-10F8-4638-9E48-65749D0C1D92}"/>
                    </a:ext>
                  </a:extLst>
                </p:cNvPr>
                <p:cNvGrpSpPr/>
                <p:nvPr/>
              </p:nvGrpSpPr>
              <p:grpSpPr>
                <a:xfrm>
                  <a:off x="7092749" y="3085807"/>
                  <a:ext cx="499208" cy="473323"/>
                  <a:chOff x="7128988" y="4166153"/>
                  <a:chExt cx="604908" cy="573541"/>
                </a:xfrm>
                <a:solidFill>
                  <a:schemeClr val="tx2"/>
                </a:solidFill>
              </p:grpSpPr>
              <p:cxnSp>
                <p:nvCxnSpPr>
                  <p:cNvPr id="27" name="Straight Connector 26">
                    <a:extLst>
                      <a:ext uri="{FF2B5EF4-FFF2-40B4-BE49-F238E27FC236}">
                        <a16:creationId xmlns:a16="http://schemas.microsoft.com/office/drawing/2014/main" id="{617D09A0-3E3E-488D-AF7A-61EF9537E97C}"/>
                      </a:ext>
                    </a:extLst>
                  </p:cNvPr>
                  <p:cNvCxnSpPr>
                    <a:cxnSpLocks/>
                  </p:cNvCxnSpPr>
                  <p:nvPr/>
                </p:nvCxnSpPr>
                <p:spPr>
                  <a:xfrm>
                    <a:off x="7128988" y="4451736"/>
                    <a:ext cx="238107" cy="72556"/>
                  </a:xfrm>
                  <a:prstGeom prst="line">
                    <a:avLst/>
                  </a:prstGeom>
                  <a:grpFill/>
                  <a:ln w="12700" cap="flat" cmpd="sng" algn="ctr">
                    <a:solidFill>
                      <a:schemeClr val="tx1"/>
                    </a:solidFill>
                    <a:prstDash val="sysDot"/>
                    <a:miter lim="800000"/>
                    <a:headEnd type="none"/>
                    <a:tailEnd type="none"/>
                  </a:ln>
                  <a:effectLst/>
                </p:spPr>
              </p:cxnSp>
              <p:cxnSp>
                <p:nvCxnSpPr>
                  <p:cNvPr id="28" name="Straight Connector 27">
                    <a:extLst>
                      <a:ext uri="{FF2B5EF4-FFF2-40B4-BE49-F238E27FC236}">
                        <a16:creationId xmlns:a16="http://schemas.microsoft.com/office/drawing/2014/main" id="{BDE09C59-F484-4C01-B8BA-3C5425794B94}"/>
                      </a:ext>
                    </a:extLst>
                  </p:cNvPr>
                  <p:cNvCxnSpPr>
                    <a:cxnSpLocks/>
                  </p:cNvCxnSpPr>
                  <p:nvPr/>
                </p:nvCxnSpPr>
                <p:spPr>
                  <a:xfrm flipV="1">
                    <a:off x="7128988" y="4379180"/>
                    <a:ext cx="233873" cy="72556"/>
                  </a:xfrm>
                  <a:prstGeom prst="line">
                    <a:avLst/>
                  </a:prstGeom>
                  <a:grpFill/>
                  <a:ln w="12700" cap="flat" cmpd="sng" algn="ctr">
                    <a:solidFill>
                      <a:schemeClr val="tx1"/>
                    </a:solidFill>
                    <a:prstDash val="sysDot"/>
                    <a:miter lim="800000"/>
                    <a:headEnd type="none"/>
                    <a:tailEnd type="none"/>
                  </a:ln>
                  <a:effectLst/>
                </p:spPr>
              </p:cxnSp>
              <p:sp>
                <p:nvSpPr>
                  <p:cNvPr id="29" name="Oval 28">
                    <a:extLst>
                      <a:ext uri="{FF2B5EF4-FFF2-40B4-BE49-F238E27FC236}">
                        <a16:creationId xmlns:a16="http://schemas.microsoft.com/office/drawing/2014/main" id="{08A774E5-617D-4BEC-A9DB-727E9A84067A}"/>
                      </a:ext>
                    </a:extLst>
                  </p:cNvPr>
                  <p:cNvSpPr/>
                  <p:nvPr/>
                </p:nvSpPr>
                <p:spPr bwMode="auto">
                  <a:xfrm>
                    <a:off x="7128988" y="4383154"/>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solidFill>
                        <a:srgbClr val="FFFFFF"/>
                      </a:solidFill>
                      <a:latin typeface="Segoe UI"/>
                    </a:endParaRPr>
                  </a:p>
                </p:txBody>
              </p:sp>
              <p:cxnSp>
                <p:nvCxnSpPr>
                  <p:cNvPr id="30" name="Straight Connector 29">
                    <a:extLst>
                      <a:ext uri="{FF2B5EF4-FFF2-40B4-BE49-F238E27FC236}">
                        <a16:creationId xmlns:a16="http://schemas.microsoft.com/office/drawing/2014/main" id="{EB5078F8-4626-49E1-856D-A9CD53C90466}"/>
                      </a:ext>
                    </a:extLst>
                  </p:cNvPr>
                  <p:cNvCxnSpPr>
                    <a:cxnSpLocks/>
                  </p:cNvCxnSpPr>
                  <p:nvPr/>
                </p:nvCxnSpPr>
                <p:spPr>
                  <a:xfrm>
                    <a:off x="7367095" y="4524292"/>
                    <a:ext cx="241432" cy="108368"/>
                  </a:xfrm>
                  <a:prstGeom prst="line">
                    <a:avLst/>
                  </a:prstGeom>
                  <a:grpFill/>
                  <a:ln w="12700" cap="flat" cmpd="sng" algn="ctr">
                    <a:solidFill>
                      <a:schemeClr val="tx1"/>
                    </a:solidFill>
                    <a:prstDash val="sysDot"/>
                    <a:miter lim="800000"/>
                    <a:headEnd type="none"/>
                    <a:tailEnd type="none"/>
                  </a:ln>
                  <a:effectLst/>
                </p:spPr>
              </p:cxnSp>
              <p:cxnSp>
                <p:nvCxnSpPr>
                  <p:cNvPr id="31" name="Straight Connector 30">
                    <a:extLst>
                      <a:ext uri="{FF2B5EF4-FFF2-40B4-BE49-F238E27FC236}">
                        <a16:creationId xmlns:a16="http://schemas.microsoft.com/office/drawing/2014/main" id="{9385CEED-04F8-447C-939D-4C486351997A}"/>
                      </a:ext>
                    </a:extLst>
                  </p:cNvPr>
                  <p:cNvCxnSpPr>
                    <a:cxnSpLocks/>
                  </p:cNvCxnSpPr>
                  <p:nvPr/>
                </p:nvCxnSpPr>
                <p:spPr>
                  <a:xfrm>
                    <a:off x="7367095" y="4524292"/>
                    <a:ext cx="229638" cy="1361"/>
                  </a:xfrm>
                  <a:prstGeom prst="line">
                    <a:avLst/>
                  </a:prstGeom>
                  <a:grpFill/>
                  <a:ln w="12700" cap="flat" cmpd="sng" algn="ctr">
                    <a:solidFill>
                      <a:schemeClr val="tx1"/>
                    </a:solidFill>
                    <a:prstDash val="sysDot"/>
                    <a:miter lim="800000"/>
                    <a:headEnd type="none"/>
                    <a:tailEnd type="none"/>
                  </a:ln>
                  <a:effectLst/>
                </p:spPr>
              </p:cxnSp>
              <p:sp>
                <p:nvSpPr>
                  <p:cNvPr id="32" name="Oval 31">
                    <a:extLst>
                      <a:ext uri="{FF2B5EF4-FFF2-40B4-BE49-F238E27FC236}">
                        <a16:creationId xmlns:a16="http://schemas.microsoft.com/office/drawing/2014/main" id="{1F1CE837-05E1-4B2F-9394-C5790F2E7A3E}"/>
                      </a:ext>
                    </a:extLst>
                  </p:cNvPr>
                  <p:cNvSpPr/>
                  <p:nvPr/>
                </p:nvSpPr>
                <p:spPr bwMode="auto">
                  <a:xfrm rot="20946206">
                    <a:off x="7596733" y="4602531"/>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solidFill>
                        <a:srgbClr val="FFFFFF"/>
                      </a:solidFill>
                      <a:latin typeface="Segoe UI"/>
                    </a:endParaRPr>
                  </a:p>
                </p:txBody>
              </p:sp>
              <p:sp>
                <p:nvSpPr>
                  <p:cNvPr id="33" name="Oval 32">
                    <a:extLst>
                      <a:ext uri="{FF2B5EF4-FFF2-40B4-BE49-F238E27FC236}">
                        <a16:creationId xmlns:a16="http://schemas.microsoft.com/office/drawing/2014/main" id="{3DCE6935-79A3-4569-994F-06564BE4C17E}"/>
                      </a:ext>
                    </a:extLst>
                  </p:cNvPr>
                  <p:cNvSpPr/>
                  <p:nvPr/>
                </p:nvSpPr>
                <p:spPr bwMode="auto">
                  <a:xfrm>
                    <a:off x="7596733" y="4457071"/>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solidFill>
                        <a:srgbClr val="FFFFFF"/>
                      </a:solidFill>
                      <a:latin typeface="Segoe UI"/>
                    </a:endParaRPr>
                  </a:p>
                </p:txBody>
              </p:sp>
              <p:cxnSp>
                <p:nvCxnSpPr>
                  <p:cNvPr id="34" name="Straight Connector 33">
                    <a:extLst>
                      <a:ext uri="{FF2B5EF4-FFF2-40B4-BE49-F238E27FC236}">
                        <a16:creationId xmlns:a16="http://schemas.microsoft.com/office/drawing/2014/main" id="{50EDFD4F-5185-4EB5-8C65-8131D88FA76E}"/>
                      </a:ext>
                    </a:extLst>
                  </p:cNvPr>
                  <p:cNvCxnSpPr>
                    <a:cxnSpLocks/>
                  </p:cNvCxnSpPr>
                  <p:nvPr/>
                </p:nvCxnSpPr>
                <p:spPr>
                  <a:xfrm>
                    <a:off x="7362861" y="4379181"/>
                    <a:ext cx="233872" cy="1013"/>
                  </a:xfrm>
                  <a:prstGeom prst="line">
                    <a:avLst/>
                  </a:prstGeom>
                  <a:grpFill/>
                  <a:ln w="12700" cap="flat" cmpd="sng" algn="ctr">
                    <a:solidFill>
                      <a:schemeClr val="tx1"/>
                    </a:solidFill>
                    <a:prstDash val="sysDot"/>
                    <a:miter lim="800000"/>
                    <a:headEnd type="none"/>
                    <a:tailEnd type="none"/>
                  </a:ln>
                  <a:effectLst/>
                </p:spPr>
              </p:cxnSp>
              <p:sp>
                <p:nvSpPr>
                  <p:cNvPr id="35" name="Oval 34">
                    <a:extLst>
                      <a:ext uri="{FF2B5EF4-FFF2-40B4-BE49-F238E27FC236}">
                        <a16:creationId xmlns:a16="http://schemas.microsoft.com/office/drawing/2014/main" id="{DAA40A47-3939-40FC-B72A-911E78003348}"/>
                      </a:ext>
                    </a:extLst>
                  </p:cNvPr>
                  <p:cNvSpPr/>
                  <p:nvPr/>
                </p:nvSpPr>
                <p:spPr bwMode="auto">
                  <a:xfrm>
                    <a:off x="7367095" y="4455710"/>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solidFill>
                        <a:srgbClr val="FFFFFF"/>
                      </a:solidFill>
                      <a:latin typeface="Segoe UI"/>
                    </a:endParaRPr>
                  </a:p>
                </p:txBody>
              </p:sp>
              <p:cxnSp>
                <p:nvCxnSpPr>
                  <p:cNvPr id="36" name="Straight Connector 35">
                    <a:extLst>
                      <a:ext uri="{FF2B5EF4-FFF2-40B4-BE49-F238E27FC236}">
                        <a16:creationId xmlns:a16="http://schemas.microsoft.com/office/drawing/2014/main" id="{4F9BD353-4675-42D0-AE5E-5D5DA4F67C6E}"/>
                      </a:ext>
                    </a:extLst>
                  </p:cNvPr>
                  <p:cNvCxnSpPr>
                    <a:cxnSpLocks/>
                  </p:cNvCxnSpPr>
                  <p:nvPr/>
                </p:nvCxnSpPr>
                <p:spPr>
                  <a:xfrm flipV="1">
                    <a:off x="7362861" y="4277619"/>
                    <a:ext cx="248934" cy="101562"/>
                  </a:xfrm>
                  <a:prstGeom prst="line">
                    <a:avLst/>
                  </a:prstGeom>
                  <a:grpFill/>
                  <a:ln w="12700" cap="flat" cmpd="sng" algn="ctr">
                    <a:solidFill>
                      <a:schemeClr val="tx1"/>
                    </a:solidFill>
                    <a:prstDash val="sysDot"/>
                    <a:miter lim="800000"/>
                    <a:headEnd type="none"/>
                    <a:tailEnd type="none"/>
                  </a:ln>
                  <a:effectLst/>
                </p:spPr>
              </p:cxnSp>
              <p:sp>
                <p:nvSpPr>
                  <p:cNvPr id="37" name="Oval 36">
                    <a:extLst>
                      <a:ext uri="{FF2B5EF4-FFF2-40B4-BE49-F238E27FC236}">
                        <a16:creationId xmlns:a16="http://schemas.microsoft.com/office/drawing/2014/main" id="{C469DC97-D1DE-4D91-AA6E-B0B8F1C6956F}"/>
                      </a:ext>
                    </a:extLst>
                  </p:cNvPr>
                  <p:cNvSpPr/>
                  <p:nvPr/>
                </p:nvSpPr>
                <p:spPr bwMode="auto">
                  <a:xfrm>
                    <a:off x="7362861" y="4310599"/>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solidFill>
                        <a:srgbClr val="FFFFFF"/>
                      </a:solidFill>
                      <a:latin typeface="Segoe UI"/>
                    </a:endParaRPr>
                  </a:p>
                </p:txBody>
              </p:sp>
              <p:sp>
                <p:nvSpPr>
                  <p:cNvPr id="38" name="Oval 37">
                    <a:extLst>
                      <a:ext uri="{FF2B5EF4-FFF2-40B4-BE49-F238E27FC236}">
                        <a16:creationId xmlns:a16="http://schemas.microsoft.com/office/drawing/2014/main" id="{3B7D735E-541B-41C3-90BB-375DC261F60A}"/>
                      </a:ext>
                    </a:extLst>
                  </p:cNvPr>
                  <p:cNvSpPr/>
                  <p:nvPr/>
                </p:nvSpPr>
                <p:spPr bwMode="auto">
                  <a:xfrm>
                    <a:off x="7596733" y="4311612"/>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solidFill>
                        <a:srgbClr val="FFFFFF"/>
                      </a:solidFill>
                      <a:latin typeface="Segoe UI"/>
                    </a:endParaRPr>
                  </a:p>
                </p:txBody>
              </p:sp>
              <p:sp>
                <p:nvSpPr>
                  <p:cNvPr id="39" name="Oval 38">
                    <a:extLst>
                      <a:ext uri="{FF2B5EF4-FFF2-40B4-BE49-F238E27FC236}">
                        <a16:creationId xmlns:a16="http://schemas.microsoft.com/office/drawing/2014/main" id="{7657B084-6E62-4CB3-A14F-DAE09534CE88}"/>
                      </a:ext>
                    </a:extLst>
                  </p:cNvPr>
                  <p:cNvSpPr/>
                  <p:nvPr/>
                </p:nvSpPr>
                <p:spPr bwMode="auto">
                  <a:xfrm rot="377738">
                    <a:off x="7596733" y="4166153"/>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solidFill>
                        <a:srgbClr val="FFFFFF"/>
                      </a:solidFill>
                      <a:latin typeface="Segoe UI"/>
                    </a:endParaRPr>
                  </a:p>
                </p:txBody>
              </p:sp>
            </p:grpSp>
            <p:sp>
              <p:nvSpPr>
                <p:cNvPr id="8" name="TextBox 7">
                  <a:extLst>
                    <a:ext uri="{FF2B5EF4-FFF2-40B4-BE49-F238E27FC236}">
                      <a16:creationId xmlns:a16="http://schemas.microsoft.com/office/drawing/2014/main" id="{BFA3E3CF-872E-409D-8E48-07686DE81748}"/>
                    </a:ext>
                  </a:extLst>
                </p:cNvPr>
                <p:cNvSpPr txBox="1"/>
                <p:nvPr/>
              </p:nvSpPr>
              <p:spPr>
                <a:xfrm>
                  <a:off x="6800717" y="3567927"/>
                  <a:ext cx="1223737" cy="371612"/>
                </a:xfrm>
                <a:prstGeom prst="rect">
                  <a:avLst/>
                </a:prstGeom>
                <a:noFill/>
              </p:spPr>
              <p:txBody>
                <a:bodyPr wrap="none" lIns="91440" rtlCol="0">
                  <a:spAutoFit/>
                </a:bodyPr>
                <a:lstStyle/>
                <a:p>
                  <a:pPr algn="ctr">
                    <a:defRPr/>
                  </a:pPr>
                  <a:r>
                    <a:rPr lang="en-US" sz="900">
                      <a:solidFill>
                        <a:srgbClr val="0078D7"/>
                      </a:solidFill>
                      <a:latin typeface="Segoe UI Semibold" panose="020B0702040204020203" pitchFamily="34" charset="0"/>
                      <a:cs typeface="Segoe UI Semibold" panose="020B0702040204020203" pitchFamily="34" charset="0"/>
                    </a:rPr>
                    <a:t>Collections</a:t>
                  </a:r>
                </a:p>
              </p:txBody>
            </p:sp>
          </p:grpSp>
          <p:grpSp>
            <p:nvGrpSpPr>
              <p:cNvPr id="119" name="Group 118">
                <a:extLst>
                  <a:ext uri="{FF2B5EF4-FFF2-40B4-BE49-F238E27FC236}">
                    <a16:creationId xmlns:a16="http://schemas.microsoft.com/office/drawing/2014/main" id="{46CD7D70-8D36-432A-866D-1791A6F1B515}"/>
                  </a:ext>
                </a:extLst>
              </p:cNvPr>
              <p:cNvGrpSpPr>
                <a:grpSpLocks noChangeAspect="1"/>
              </p:cNvGrpSpPr>
              <p:nvPr/>
            </p:nvGrpSpPr>
            <p:grpSpPr>
              <a:xfrm>
                <a:off x="7596797" y="3011420"/>
                <a:ext cx="519693" cy="538174"/>
                <a:chOff x="3203733" y="3055226"/>
                <a:chExt cx="880559" cy="911871"/>
              </a:xfrm>
            </p:grpSpPr>
            <p:grpSp>
              <p:nvGrpSpPr>
                <p:cNvPr id="10" name="Group 9">
                  <a:extLst>
                    <a:ext uri="{FF2B5EF4-FFF2-40B4-BE49-F238E27FC236}">
                      <a16:creationId xmlns:a16="http://schemas.microsoft.com/office/drawing/2014/main" id="{8D915B5A-2FBE-4CA5-A3A6-10E7DB02F887}"/>
                    </a:ext>
                  </a:extLst>
                </p:cNvPr>
                <p:cNvGrpSpPr/>
                <p:nvPr/>
              </p:nvGrpSpPr>
              <p:grpSpPr>
                <a:xfrm>
                  <a:off x="3319100" y="3055226"/>
                  <a:ext cx="643737" cy="429517"/>
                  <a:chOff x="2573581" y="3248112"/>
                  <a:chExt cx="643737" cy="429517"/>
                </a:xfrm>
              </p:grpSpPr>
              <p:cxnSp>
                <p:nvCxnSpPr>
                  <p:cNvPr id="13" name="Straight Connector 12">
                    <a:extLst>
                      <a:ext uri="{FF2B5EF4-FFF2-40B4-BE49-F238E27FC236}">
                        <a16:creationId xmlns:a16="http://schemas.microsoft.com/office/drawing/2014/main" id="{88BDC102-E1E6-4BAC-A375-838D48099E85}"/>
                      </a:ext>
                    </a:extLst>
                  </p:cNvPr>
                  <p:cNvCxnSpPr>
                    <a:cxnSpLocks/>
                  </p:cNvCxnSpPr>
                  <p:nvPr/>
                </p:nvCxnSpPr>
                <p:spPr>
                  <a:xfrm>
                    <a:off x="2688446" y="3306383"/>
                    <a:ext cx="424425" cy="0"/>
                  </a:xfrm>
                  <a:prstGeom prst="line">
                    <a:avLst/>
                  </a:prstGeom>
                  <a:noFill/>
                  <a:ln w="12700" cap="flat" cmpd="sng" algn="ctr">
                    <a:solidFill>
                      <a:schemeClr val="tx1"/>
                    </a:solidFill>
                    <a:prstDash val="sysDot"/>
                    <a:miter lim="800000"/>
                    <a:headEnd type="none"/>
                    <a:tailEnd type="none"/>
                  </a:ln>
                  <a:effectLst/>
                </p:spPr>
              </p:cxnSp>
              <p:sp>
                <p:nvSpPr>
                  <p:cNvPr id="14" name="Oval 13">
                    <a:extLst>
                      <a:ext uri="{FF2B5EF4-FFF2-40B4-BE49-F238E27FC236}">
                        <a16:creationId xmlns:a16="http://schemas.microsoft.com/office/drawing/2014/main" id="{B3FD2B9F-6BF6-4527-A6E8-0722C63A3A67}"/>
                      </a:ext>
                    </a:extLst>
                  </p:cNvPr>
                  <p:cNvSpPr/>
                  <p:nvPr/>
                </p:nvSpPr>
                <p:spPr bwMode="auto">
                  <a:xfrm>
                    <a:off x="2573581" y="3248112"/>
                    <a:ext cx="114865" cy="116544"/>
                  </a:xfrm>
                  <a:prstGeom prst="ellipse">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sp>
                <p:nvSpPr>
                  <p:cNvPr id="15" name="Oval 14">
                    <a:extLst>
                      <a:ext uri="{FF2B5EF4-FFF2-40B4-BE49-F238E27FC236}">
                        <a16:creationId xmlns:a16="http://schemas.microsoft.com/office/drawing/2014/main" id="{F7B91590-6E40-44CF-9232-4C9BBC6D3887}"/>
                      </a:ext>
                    </a:extLst>
                  </p:cNvPr>
                  <p:cNvSpPr/>
                  <p:nvPr/>
                </p:nvSpPr>
                <p:spPr bwMode="auto">
                  <a:xfrm>
                    <a:off x="3112870" y="3253396"/>
                    <a:ext cx="104448" cy="105974"/>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cxnSp>
                <p:nvCxnSpPr>
                  <p:cNvPr id="16" name="Straight Connector 15">
                    <a:extLst>
                      <a:ext uri="{FF2B5EF4-FFF2-40B4-BE49-F238E27FC236}">
                        <a16:creationId xmlns:a16="http://schemas.microsoft.com/office/drawing/2014/main" id="{36BE2259-73DD-4ED1-B3F0-E0E1298DA6B9}"/>
                      </a:ext>
                    </a:extLst>
                  </p:cNvPr>
                  <p:cNvCxnSpPr>
                    <a:cxnSpLocks/>
                  </p:cNvCxnSpPr>
                  <p:nvPr/>
                </p:nvCxnSpPr>
                <p:spPr>
                  <a:xfrm>
                    <a:off x="2688446" y="3460548"/>
                    <a:ext cx="424425" cy="0"/>
                  </a:xfrm>
                  <a:prstGeom prst="line">
                    <a:avLst/>
                  </a:prstGeom>
                  <a:noFill/>
                  <a:ln w="12700" cap="flat" cmpd="sng" algn="ctr">
                    <a:solidFill>
                      <a:schemeClr val="tx1"/>
                    </a:solidFill>
                    <a:prstDash val="sysDot"/>
                    <a:miter lim="800000"/>
                    <a:headEnd type="none"/>
                    <a:tailEnd type="none"/>
                  </a:ln>
                  <a:effectLst/>
                </p:spPr>
              </p:cxnSp>
              <p:sp>
                <p:nvSpPr>
                  <p:cNvPr id="17" name="Oval 16">
                    <a:extLst>
                      <a:ext uri="{FF2B5EF4-FFF2-40B4-BE49-F238E27FC236}">
                        <a16:creationId xmlns:a16="http://schemas.microsoft.com/office/drawing/2014/main" id="{FD93C7FB-E2F5-42C6-8908-39F6F4AEEF38}"/>
                      </a:ext>
                    </a:extLst>
                  </p:cNvPr>
                  <p:cNvSpPr/>
                  <p:nvPr/>
                </p:nvSpPr>
                <p:spPr bwMode="auto">
                  <a:xfrm>
                    <a:off x="2573581" y="3402277"/>
                    <a:ext cx="114865" cy="116544"/>
                  </a:xfrm>
                  <a:prstGeom prst="ellipse">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sp>
                <p:nvSpPr>
                  <p:cNvPr id="18" name="Oval 17">
                    <a:extLst>
                      <a:ext uri="{FF2B5EF4-FFF2-40B4-BE49-F238E27FC236}">
                        <a16:creationId xmlns:a16="http://schemas.microsoft.com/office/drawing/2014/main" id="{6F702022-A8CF-4790-9E03-7F899CBEF75A}"/>
                      </a:ext>
                    </a:extLst>
                  </p:cNvPr>
                  <p:cNvSpPr/>
                  <p:nvPr/>
                </p:nvSpPr>
                <p:spPr bwMode="auto">
                  <a:xfrm>
                    <a:off x="3112870" y="3407561"/>
                    <a:ext cx="104448" cy="105974"/>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cxnSp>
                <p:nvCxnSpPr>
                  <p:cNvPr id="19" name="Straight Connector 18">
                    <a:extLst>
                      <a:ext uri="{FF2B5EF4-FFF2-40B4-BE49-F238E27FC236}">
                        <a16:creationId xmlns:a16="http://schemas.microsoft.com/office/drawing/2014/main" id="{60AB46A1-D08C-4BD2-9020-71E55AC120BE}"/>
                      </a:ext>
                    </a:extLst>
                  </p:cNvPr>
                  <p:cNvCxnSpPr>
                    <a:cxnSpLocks/>
                  </p:cNvCxnSpPr>
                  <p:nvPr/>
                </p:nvCxnSpPr>
                <p:spPr>
                  <a:xfrm>
                    <a:off x="2688446" y="3619357"/>
                    <a:ext cx="424425" cy="0"/>
                  </a:xfrm>
                  <a:prstGeom prst="line">
                    <a:avLst/>
                  </a:prstGeom>
                  <a:noFill/>
                  <a:ln w="12700" cap="flat" cmpd="sng" algn="ctr">
                    <a:solidFill>
                      <a:schemeClr val="tx1"/>
                    </a:solidFill>
                    <a:prstDash val="sysDot"/>
                    <a:miter lim="800000"/>
                    <a:headEnd type="none"/>
                    <a:tailEnd type="none"/>
                  </a:ln>
                  <a:effectLst/>
                </p:spPr>
              </p:cxnSp>
              <p:sp>
                <p:nvSpPr>
                  <p:cNvPr id="20" name="Oval 19">
                    <a:extLst>
                      <a:ext uri="{FF2B5EF4-FFF2-40B4-BE49-F238E27FC236}">
                        <a16:creationId xmlns:a16="http://schemas.microsoft.com/office/drawing/2014/main" id="{7AAC53CD-882F-4ABC-BD0E-41C8C2788F67}"/>
                      </a:ext>
                    </a:extLst>
                  </p:cNvPr>
                  <p:cNvSpPr/>
                  <p:nvPr/>
                </p:nvSpPr>
                <p:spPr bwMode="auto">
                  <a:xfrm>
                    <a:off x="2573581" y="3561085"/>
                    <a:ext cx="114865" cy="116544"/>
                  </a:xfrm>
                  <a:prstGeom prst="ellipse">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sp>
                <p:nvSpPr>
                  <p:cNvPr id="21" name="Oval 20">
                    <a:extLst>
                      <a:ext uri="{FF2B5EF4-FFF2-40B4-BE49-F238E27FC236}">
                        <a16:creationId xmlns:a16="http://schemas.microsoft.com/office/drawing/2014/main" id="{908B9D8E-1062-4FE6-9EE7-75477FED1573}"/>
                      </a:ext>
                    </a:extLst>
                  </p:cNvPr>
                  <p:cNvSpPr/>
                  <p:nvPr/>
                </p:nvSpPr>
                <p:spPr bwMode="auto">
                  <a:xfrm>
                    <a:off x="3112870" y="3566370"/>
                    <a:ext cx="104448" cy="105974"/>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grpSp>
            <p:sp>
              <p:nvSpPr>
                <p:cNvPr id="11" name="TextBox 10">
                  <a:extLst>
                    <a:ext uri="{FF2B5EF4-FFF2-40B4-BE49-F238E27FC236}">
                      <a16:creationId xmlns:a16="http://schemas.microsoft.com/office/drawing/2014/main" id="{FA8B38AE-080B-44E0-BE19-63113CEE57B2}"/>
                    </a:ext>
                  </a:extLst>
                </p:cNvPr>
                <p:cNvSpPr txBox="1"/>
                <p:nvPr/>
              </p:nvSpPr>
              <p:spPr>
                <a:xfrm>
                  <a:off x="3203733" y="3575980"/>
                  <a:ext cx="880559" cy="391117"/>
                </a:xfrm>
                <a:prstGeom prst="rect">
                  <a:avLst/>
                </a:prstGeom>
                <a:noFill/>
              </p:spPr>
              <p:txBody>
                <a:bodyPr wrap="none" lIns="91440" rtlCol="0">
                  <a:spAutoFit/>
                </a:bodyPr>
                <a:lstStyle/>
                <a:p>
                  <a:pPr algn="ctr">
                    <a:defRPr/>
                  </a:pPr>
                  <a:r>
                    <a:rPr lang="en-US" sz="900">
                      <a:solidFill>
                        <a:srgbClr val="0078D7"/>
                      </a:solidFill>
                      <a:latin typeface="Segoe UI Semibold" panose="020B0702040204020203" pitchFamily="34" charset="0"/>
                      <a:cs typeface="Segoe UI Semibold" panose="020B0702040204020203" pitchFamily="34" charset="0"/>
                    </a:rPr>
                    <a:t>Tables</a:t>
                  </a:r>
                </a:p>
              </p:txBody>
            </p:sp>
          </p:grpSp>
          <p:grpSp>
            <p:nvGrpSpPr>
              <p:cNvPr id="121" name="Group 120">
                <a:extLst>
                  <a:ext uri="{FF2B5EF4-FFF2-40B4-BE49-F238E27FC236}">
                    <a16:creationId xmlns:a16="http://schemas.microsoft.com/office/drawing/2014/main" id="{9036448A-25E7-4247-82EC-31C0586018CD}"/>
                  </a:ext>
                </a:extLst>
              </p:cNvPr>
              <p:cNvGrpSpPr>
                <a:grpSpLocks noChangeAspect="1"/>
              </p:cNvGrpSpPr>
              <p:nvPr/>
            </p:nvGrpSpPr>
            <p:grpSpPr>
              <a:xfrm>
                <a:off x="9732626" y="3025349"/>
                <a:ext cx="554960" cy="510316"/>
                <a:chOff x="8644574" y="3156797"/>
                <a:chExt cx="792910" cy="729125"/>
              </a:xfrm>
            </p:grpSpPr>
            <p:grpSp>
              <p:nvGrpSpPr>
                <p:cNvPr id="5" name="Group 4">
                  <a:extLst>
                    <a:ext uri="{FF2B5EF4-FFF2-40B4-BE49-F238E27FC236}">
                      <a16:creationId xmlns:a16="http://schemas.microsoft.com/office/drawing/2014/main" id="{AE54E7CB-49FE-442E-9116-521E9B4EAC40}"/>
                    </a:ext>
                  </a:extLst>
                </p:cNvPr>
                <p:cNvGrpSpPr/>
                <p:nvPr/>
              </p:nvGrpSpPr>
              <p:grpSpPr>
                <a:xfrm>
                  <a:off x="8667216" y="3156797"/>
                  <a:ext cx="586303" cy="377163"/>
                  <a:chOff x="7117181" y="5146654"/>
                  <a:chExt cx="663064" cy="426544"/>
                </a:xfrm>
                <a:solidFill>
                  <a:schemeClr val="tx2"/>
                </a:solidFill>
              </p:grpSpPr>
              <p:sp>
                <p:nvSpPr>
                  <p:cNvPr id="40" name="Oval 39">
                    <a:extLst>
                      <a:ext uri="{FF2B5EF4-FFF2-40B4-BE49-F238E27FC236}">
                        <a16:creationId xmlns:a16="http://schemas.microsoft.com/office/drawing/2014/main" id="{A2645E78-9076-45A2-96FF-C6DB2B5EAB97}"/>
                      </a:ext>
                    </a:extLst>
                  </p:cNvPr>
                  <p:cNvSpPr/>
                  <p:nvPr/>
                </p:nvSpPr>
                <p:spPr bwMode="auto">
                  <a:xfrm rot="715722">
                    <a:off x="7117181" y="5146654"/>
                    <a:ext cx="124646" cy="124646"/>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sp>
                <p:nvSpPr>
                  <p:cNvPr id="41" name="Oval 40">
                    <a:extLst>
                      <a:ext uri="{FF2B5EF4-FFF2-40B4-BE49-F238E27FC236}">
                        <a16:creationId xmlns:a16="http://schemas.microsoft.com/office/drawing/2014/main" id="{59BB8D96-A772-457F-A5E0-A2AA1605971E}"/>
                      </a:ext>
                    </a:extLst>
                  </p:cNvPr>
                  <p:cNvSpPr/>
                  <p:nvPr/>
                </p:nvSpPr>
                <p:spPr bwMode="auto">
                  <a:xfrm>
                    <a:off x="7476127" y="5224668"/>
                    <a:ext cx="124646" cy="124646"/>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sp>
                <p:nvSpPr>
                  <p:cNvPr id="42" name="Oval 41">
                    <a:extLst>
                      <a:ext uri="{FF2B5EF4-FFF2-40B4-BE49-F238E27FC236}">
                        <a16:creationId xmlns:a16="http://schemas.microsoft.com/office/drawing/2014/main" id="{5A4EFB87-857D-4EB1-BF8C-F7A136F2ACEF}"/>
                      </a:ext>
                    </a:extLst>
                  </p:cNvPr>
                  <p:cNvSpPr/>
                  <p:nvPr/>
                </p:nvSpPr>
                <p:spPr bwMode="auto">
                  <a:xfrm>
                    <a:off x="7296654" y="5448552"/>
                    <a:ext cx="124646" cy="124646"/>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sp>
                <p:nvSpPr>
                  <p:cNvPr id="43" name="Oval 42">
                    <a:extLst>
                      <a:ext uri="{FF2B5EF4-FFF2-40B4-BE49-F238E27FC236}">
                        <a16:creationId xmlns:a16="http://schemas.microsoft.com/office/drawing/2014/main" id="{CEFEA834-0B6A-422B-9825-90C530969C3E}"/>
                      </a:ext>
                    </a:extLst>
                  </p:cNvPr>
                  <p:cNvSpPr/>
                  <p:nvPr/>
                </p:nvSpPr>
                <p:spPr bwMode="auto">
                  <a:xfrm>
                    <a:off x="7655599" y="5448552"/>
                    <a:ext cx="124646" cy="124646"/>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cxnSp>
                <p:nvCxnSpPr>
                  <p:cNvPr id="44" name="Straight Connector 43">
                    <a:extLst>
                      <a:ext uri="{FF2B5EF4-FFF2-40B4-BE49-F238E27FC236}">
                        <a16:creationId xmlns:a16="http://schemas.microsoft.com/office/drawing/2014/main" id="{A0ADD767-B417-41B0-8350-F79A837DFB23}"/>
                      </a:ext>
                    </a:extLst>
                  </p:cNvPr>
                  <p:cNvCxnSpPr>
                    <a:cxnSpLocks/>
                  </p:cNvCxnSpPr>
                  <p:nvPr/>
                </p:nvCxnSpPr>
                <p:spPr>
                  <a:xfrm>
                    <a:off x="7240481" y="5221859"/>
                    <a:ext cx="235646" cy="65132"/>
                  </a:xfrm>
                  <a:prstGeom prst="line">
                    <a:avLst/>
                  </a:prstGeom>
                  <a:grpFill/>
                  <a:ln w="12700" cap="flat" cmpd="sng" algn="ctr">
                    <a:solidFill>
                      <a:schemeClr val="tx1"/>
                    </a:solidFill>
                    <a:prstDash val="sysDot"/>
                    <a:miter lim="800000"/>
                    <a:headEnd type="none"/>
                    <a:tailEnd type="none"/>
                  </a:ln>
                  <a:effectLst/>
                </p:spPr>
              </p:cxnSp>
              <p:cxnSp>
                <p:nvCxnSpPr>
                  <p:cNvPr id="45" name="Straight Connector 44">
                    <a:extLst>
                      <a:ext uri="{FF2B5EF4-FFF2-40B4-BE49-F238E27FC236}">
                        <a16:creationId xmlns:a16="http://schemas.microsoft.com/office/drawing/2014/main" id="{BAC6B8F2-33CF-41D2-91A3-57E98A83E4E4}"/>
                      </a:ext>
                    </a:extLst>
                  </p:cNvPr>
                  <p:cNvCxnSpPr>
                    <a:cxnSpLocks/>
                  </p:cNvCxnSpPr>
                  <p:nvPr/>
                </p:nvCxnSpPr>
                <p:spPr>
                  <a:xfrm>
                    <a:off x="7421300" y="5510875"/>
                    <a:ext cx="234299" cy="0"/>
                  </a:xfrm>
                  <a:prstGeom prst="line">
                    <a:avLst/>
                  </a:prstGeom>
                  <a:grpFill/>
                  <a:ln w="12700" cap="flat" cmpd="sng" algn="ctr">
                    <a:solidFill>
                      <a:schemeClr val="tx1"/>
                    </a:solidFill>
                    <a:prstDash val="sysDot"/>
                    <a:miter lim="800000"/>
                    <a:headEnd type="none"/>
                    <a:tailEnd type="none"/>
                  </a:ln>
                  <a:effectLst/>
                </p:spPr>
              </p:cxnSp>
              <p:cxnSp>
                <p:nvCxnSpPr>
                  <p:cNvPr id="46" name="Straight Connector 45">
                    <a:extLst>
                      <a:ext uri="{FF2B5EF4-FFF2-40B4-BE49-F238E27FC236}">
                        <a16:creationId xmlns:a16="http://schemas.microsoft.com/office/drawing/2014/main" id="{56E67412-02E8-43E1-8448-CE5A0FD99A9B}"/>
                      </a:ext>
                    </a:extLst>
                  </p:cNvPr>
                  <p:cNvCxnSpPr>
                    <a:cxnSpLocks/>
                  </p:cNvCxnSpPr>
                  <p:nvPr/>
                </p:nvCxnSpPr>
                <p:spPr>
                  <a:xfrm>
                    <a:off x="7582519" y="5331060"/>
                    <a:ext cx="91334" cy="135746"/>
                  </a:xfrm>
                  <a:prstGeom prst="line">
                    <a:avLst/>
                  </a:prstGeom>
                  <a:grpFill/>
                  <a:ln w="12700" cap="flat" cmpd="sng" algn="ctr">
                    <a:solidFill>
                      <a:schemeClr val="tx1"/>
                    </a:solidFill>
                    <a:prstDash val="sysDot"/>
                    <a:miter lim="800000"/>
                    <a:headEnd type="none"/>
                    <a:tailEnd type="none"/>
                  </a:ln>
                  <a:effectLst/>
                </p:spPr>
              </p:cxnSp>
              <p:cxnSp>
                <p:nvCxnSpPr>
                  <p:cNvPr id="47" name="Straight Connector 46">
                    <a:extLst>
                      <a:ext uri="{FF2B5EF4-FFF2-40B4-BE49-F238E27FC236}">
                        <a16:creationId xmlns:a16="http://schemas.microsoft.com/office/drawing/2014/main" id="{011FF54B-AA43-4323-AB02-F4E363083E01}"/>
                      </a:ext>
                    </a:extLst>
                  </p:cNvPr>
                  <p:cNvCxnSpPr>
                    <a:cxnSpLocks/>
                  </p:cNvCxnSpPr>
                  <p:nvPr/>
                </p:nvCxnSpPr>
                <p:spPr>
                  <a:xfrm flipV="1">
                    <a:off x="7403046" y="5331060"/>
                    <a:ext cx="91335" cy="135746"/>
                  </a:xfrm>
                  <a:prstGeom prst="line">
                    <a:avLst/>
                  </a:prstGeom>
                  <a:grpFill/>
                  <a:ln w="12700" cap="flat" cmpd="sng" algn="ctr">
                    <a:solidFill>
                      <a:schemeClr val="tx1"/>
                    </a:solidFill>
                    <a:prstDash val="sysDot"/>
                    <a:miter lim="800000"/>
                    <a:headEnd type="none"/>
                    <a:tailEnd type="none"/>
                  </a:ln>
                  <a:effectLst/>
                </p:spPr>
              </p:cxnSp>
            </p:grpSp>
            <p:sp>
              <p:nvSpPr>
                <p:cNvPr id="12" name="TextBox 11">
                  <a:extLst>
                    <a:ext uri="{FF2B5EF4-FFF2-40B4-BE49-F238E27FC236}">
                      <a16:creationId xmlns:a16="http://schemas.microsoft.com/office/drawing/2014/main" id="{2D5439DB-298F-4583-8994-06523662E652}"/>
                    </a:ext>
                  </a:extLst>
                </p:cNvPr>
                <p:cNvSpPr txBox="1"/>
                <p:nvPr/>
              </p:nvSpPr>
              <p:spPr>
                <a:xfrm>
                  <a:off x="8644574" y="3556116"/>
                  <a:ext cx="792910" cy="329806"/>
                </a:xfrm>
                <a:prstGeom prst="rect">
                  <a:avLst/>
                </a:prstGeom>
                <a:noFill/>
              </p:spPr>
              <p:txBody>
                <a:bodyPr wrap="none" lIns="91440" rtlCol="0">
                  <a:spAutoFit/>
                </a:bodyPr>
                <a:lstStyle/>
                <a:p>
                  <a:pPr algn="ctr">
                    <a:defRPr/>
                  </a:pPr>
                  <a:r>
                    <a:rPr lang="en-US" sz="900">
                      <a:solidFill>
                        <a:srgbClr val="0078D7"/>
                      </a:solidFill>
                      <a:latin typeface="Segoe UI Semibold" panose="020B0702040204020203" pitchFamily="34" charset="0"/>
                      <a:cs typeface="Segoe UI Semibold" panose="020B0702040204020203" pitchFamily="34" charset="0"/>
                    </a:rPr>
                    <a:t>Graphs</a:t>
                  </a:r>
                </a:p>
              </p:txBody>
            </p:sp>
          </p:grpSp>
        </p:grpSp>
        <p:cxnSp>
          <p:nvCxnSpPr>
            <p:cNvPr id="114" name="Connector: Elbow 113">
              <a:extLst>
                <a:ext uri="{FF2B5EF4-FFF2-40B4-BE49-F238E27FC236}">
                  <a16:creationId xmlns:a16="http://schemas.microsoft.com/office/drawing/2014/main" id="{F7D00F28-4F5A-4819-982A-30A6FA51F4BB}"/>
                </a:ext>
              </a:extLst>
            </p:cNvPr>
            <p:cNvCxnSpPr>
              <a:stCxn id="11" idx="2"/>
              <a:endCxn id="12" idx="2"/>
            </p:cNvCxnSpPr>
            <p:nvPr/>
          </p:nvCxnSpPr>
          <p:spPr>
            <a:xfrm rot="5400000" flipH="1" flipV="1">
              <a:off x="9183637" y="2315212"/>
              <a:ext cx="13929" cy="2153462"/>
            </a:xfrm>
            <a:prstGeom prst="bentConnector3">
              <a:avLst>
                <a:gd name="adj1" fmla="val -1641180"/>
              </a:avLst>
            </a:prstGeom>
            <a:ln w="19050">
              <a:solidFill>
                <a:schemeClr val="bg1">
                  <a:lumMod val="50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44" name="Connector: Elbow 143">
              <a:extLst>
                <a:ext uri="{FF2B5EF4-FFF2-40B4-BE49-F238E27FC236}">
                  <a16:creationId xmlns:a16="http://schemas.microsoft.com/office/drawing/2014/main" id="{62A7D338-C7A4-4FC4-B7D9-1BFCF03135A5}"/>
                </a:ext>
              </a:extLst>
            </p:cNvPr>
            <p:cNvCxnSpPr>
              <a:cxnSpLocks/>
            </p:cNvCxnSpPr>
            <p:nvPr/>
          </p:nvCxnSpPr>
          <p:spPr>
            <a:xfrm rot="5400000" flipH="1" flipV="1">
              <a:off x="9183639" y="1715276"/>
              <a:ext cx="13929" cy="2153462"/>
            </a:xfrm>
            <a:prstGeom prst="bentConnector3">
              <a:avLst>
                <a:gd name="adj1" fmla="val 1741180"/>
              </a:avLst>
            </a:prstGeom>
            <a:ln w="19050">
              <a:solidFill>
                <a:schemeClr val="bg1">
                  <a:lumMod val="50000"/>
                </a:schemeClr>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1" name="Connector: Elbow 150">
              <a:extLst>
                <a:ext uri="{FF2B5EF4-FFF2-40B4-BE49-F238E27FC236}">
                  <a16:creationId xmlns:a16="http://schemas.microsoft.com/office/drawing/2014/main" id="{02D3E6C0-61FE-4A6A-BC6A-08247DB929C5}"/>
                </a:ext>
              </a:extLst>
            </p:cNvPr>
            <p:cNvCxnSpPr>
              <a:cxnSpLocks/>
            </p:cNvCxnSpPr>
            <p:nvPr/>
          </p:nvCxnSpPr>
          <p:spPr>
            <a:xfrm rot="5400000" flipH="1" flipV="1">
              <a:off x="9192453" y="4443633"/>
              <a:ext cx="13929" cy="1337131"/>
            </a:xfrm>
            <a:prstGeom prst="bentConnector3">
              <a:avLst>
                <a:gd name="adj1" fmla="val 1741180"/>
              </a:avLst>
            </a:prstGeom>
            <a:ln w="19050">
              <a:solidFill>
                <a:schemeClr val="bg1">
                  <a:lumMod val="50000"/>
                </a:schemeClr>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23" name="Group 122">
              <a:extLst>
                <a:ext uri="{FF2B5EF4-FFF2-40B4-BE49-F238E27FC236}">
                  <a16:creationId xmlns:a16="http://schemas.microsoft.com/office/drawing/2014/main" id="{4C9084AA-BD57-4BB6-B39C-F7A8CD0C2B06}"/>
                </a:ext>
              </a:extLst>
            </p:cNvPr>
            <p:cNvGrpSpPr>
              <a:grpSpLocks noChangeAspect="1"/>
            </p:cNvGrpSpPr>
            <p:nvPr/>
          </p:nvGrpSpPr>
          <p:grpSpPr>
            <a:xfrm>
              <a:off x="8075719" y="5190511"/>
              <a:ext cx="457200" cy="457200"/>
              <a:chOff x="678426" y="2868561"/>
              <a:chExt cx="811162" cy="811162"/>
            </a:xfrm>
          </p:grpSpPr>
          <p:sp>
            <p:nvSpPr>
              <p:cNvPr id="124" name="Oval 123">
                <a:extLst>
                  <a:ext uri="{FF2B5EF4-FFF2-40B4-BE49-F238E27FC236}">
                    <a16:creationId xmlns:a16="http://schemas.microsoft.com/office/drawing/2014/main" id="{F1D469D5-8191-45BA-B275-23110970FB5A}"/>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5" name="Rectangle 124">
                <a:extLst>
                  <a:ext uri="{FF2B5EF4-FFF2-40B4-BE49-F238E27FC236}">
                    <a16:creationId xmlns:a16="http://schemas.microsoft.com/office/drawing/2014/main" id="{792430B9-623E-4F3A-A058-564D7E33A74C}"/>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26" name="Rectangle 125">
                <a:extLst>
                  <a:ext uri="{FF2B5EF4-FFF2-40B4-BE49-F238E27FC236}">
                    <a16:creationId xmlns:a16="http://schemas.microsoft.com/office/drawing/2014/main" id="{28030C76-C4C0-4049-ACE5-5D0C817EB055}"/>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27" name="Rectangle 126">
                <a:extLst>
                  <a:ext uri="{FF2B5EF4-FFF2-40B4-BE49-F238E27FC236}">
                    <a16:creationId xmlns:a16="http://schemas.microsoft.com/office/drawing/2014/main" id="{7D314E13-9EC7-45AE-BFF3-4316F6EC984A}"/>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28" name="Rectangle 127">
                <a:extLst>
                  <a:ext uri="{FF2B5EF4-FFF2-40B4-BE49-F238E27FC236}">
                    <a16:creationId xmlns:a16="http://schemas.microsoft.com/office/drawing/2014/main" id="{22127C56-0E0E-4D98-8D2B-E4AE1B419E3C}"/>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129" name="Connector: Curved 128">
                <a:extLst>
                  <a:ext uri="{FF2B5EF4-FFF2-40B4-BE49-F238E27FC236}">
                    <a16:creationId xmlns:a16="http://schemas.microsoft.com/office/drawing/2014/main" id="{2C0383EF-51D9-4C1C-9FE5-874D254EE55A}"/>
                  </a:ext>
                </a:extLst>
              </p:cNvPr>
              <p:cNvCxnSpPr>
                <a:stCxn id="125" idx="3"/>
                <a:endCxn id="126"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133" name="Connector: Curved 132">
                <a:extLst>
                  <a:ext uri="{FF2B5EF4-FFF2-40B4-BE49-F238E27FC236}">
                    <a16:creationId xmlns:a16="http://schemas.microsoft.com/office/drawing/2014/main" id="{20B19020-9B96-41C2-A511-E36615F97B65}"/>
                  </a:ext>
                </a:extLst>
              </p:cNvPr>
              <p:cNvCxnSpPr>
                <a:cxnSpLocks/>
                <a:stCxn id="125" idx="3"/>
                <a:endCxn id="127"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134" name="Connector: Curved 133">
                <a:extLst>
                  <a:ext uri="{FF2B5EF4-FFF2-40B4-BE49-F238E27FC236}">
                    <a16:creationId xmlns:a16="http://schemas.microsoft.com/office/drawing/2014/main" id="{A87AA096-9F11-4128-B412-E12608F98446}"/>
                  </a:ext>
                </a:extLst>
              </p:cNvPr>
              <p:cNvCxnSpPr>
                <a:cxnSpLocks/>
                <a:stCxn id="125" idx="3"/>
                <a:endCxn id="128"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grpSp>
          <p:nvGrpSpPr>
            <p:cNvPr id="135" name="Group 134">
              <a:extLst>
                <a:ext uri="{FF2B5EF4-FFF2-40B4-BE49-F238E27FC236}">
                  <a16:creationId xmlns:a16="http://schemas.microsoft.com/office/drawing/2014/main" id="{4482B5EE-0E9C-40BF-83C7-A4ABE4FE7CF1}"/>
                </a:ext>
              </a:extLst>
            </p:cNvPr>
            <p:cNvGrpSpPr>
              <a:grpSpLocks noChangeAspect="1"/>
            </p:cNvGrpSpPr>
            <p:nvPr/>
          </p:nvGrpSpPr>
          <p:grpSpPr>
            <a:xfrm>
              <a:off x="8672452" y="5190511"/>
              <a:ext cx="457200" cy="457200"/>
              <a:chOff x="678426" y="2868561"/>
              <a:chExt cx="811162" cy="811162"/>
            </a:xfrm>
          </p:grpSpPr>
          <p:sp>
            <p:nvSpPr>
              <p:cNvPr id="136" name="Oval 135">
                <a:extLst>
                  <a:ext uri="{FF2B5EF4-FFF2-40B4-BE49-F238E27FC236}">
                    <a16:creationId xmlns:a16="http://schemas.microsoft.com/office/drawing/2014/main" id="{5187C637-5CAB-4127-B457-2CAB30DED790}"/>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9" name="Rectangle 138">
                <a:extLst>
                  <a:ext uri="{FF2B5EF4-FFF2-40B4-BE49-F238E27FC236}">
                    <a16:creationId xmlns:a16="http://schemas.microsoft.com/office/drawing/2014/main" id="{620B9502-F05E-45A4-8A9B-B1B1471F980C}"/>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40" name="Rectangle 139">
                <a:extLst>
                  <a:ext uri="{FF2B5EF4-FFF2-40B4-BE49-F238E27FC236}">
                    <a16:creationId xmlns:a16="http://schemas.microsoft.com/office/drawing/2014/main" id="{5E75A8CB-7280-4146-9E6F-D4B224900EE2}"/>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42" name="Rectangle 141">
                <a:extLst>
                  <a:ext uri="{FF2B5EF4-FFF2-40B4-BE49-F238E27FC236}">
                    <a16:creationId xmlns:a16="http://schemas.microsoft.com/office/drawing/2014/main" id="{A0DD2998-36C7-4CBF-954D-F1F1DDFE53C7}"/>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43" name="Rectangle 142">
                <a:extLst>
                  <a:ext uri="{FF2B5EF4-FFF2-40B4-BE49-F238E27FC236}">
                    <a16:creationId xmlns:a16="http://schemas.microsoft.com/office/drawing/2014/main" id="{7078CC2E-40B3-4B3E-A7B5-DAA471A4FB41}"/>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145" name="Connector: Curved 144">
                <a:extLst>
                  <a:ext uri="{FF2B5EF4-FFF2-40B4-BE49-F238E27FC236}">
                    <a16:creationId xmlns:a16="http://schemas.microsoft.com/office/drawing/2014/main" id="{CFCFCBE9-0FC0-407A-885C-748EE78EC15C}"/>
                  </a:ext>
                </a:extLst>
              </p:cNvPr>
              <p:cNvCxnSpPr>
                <a:stCxn id="139" idx="3"/>
                <a:endCxn id="140"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147" name="Connector: Curved 146">
                <a:extLst>
                  <a:ext uri="{FF2B5EF4-FFF2-40B4-BE49-F238E27FC236}">
                    <a16:creationId xmlns:a16="http://schemas.microsoft.com/office/drawing/2014/main" id="{A201F2CB-105E-471B-A0E6-F3AD873669B2}"/>
                  </a:ext>
                </a:extLst>
              </p:cNvPr>
              <p:cNvCxnSpPr>
                <a:cxnSpLocks/>
                <a:stCxn id="139" idx="3"/>
                <a:endCxn id="142"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149" name="Connector: Curved 148">
                <a:extLst>
                  <a:ext uri="{FF2B5EF4-FFF2-40B4-BE49-F238E27FC236}">
                    <a16:creationId xmlns:a16="http://schemas.microsoft.com/office/drawing/2014/main" id="{91E6A889-05DD-4DF4-9ED2-9E60C6FF2685}"/>
                  </a:ext>
                </a:extLst>
              </p:cNvPr>
              <p:cNvCxnSpPr>
                <a:cxnSpLocks/>
                <a:stCxn id="139" idx="3"/>
                <a:endCxn id="143"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grpSp>
          <p:nvGrpSpPr>
            <p:cNvPr id="150" name="Group 149">
              <a:extLst>
                <a:ext uri="{FF2B5EF4-FFF2-40B4-BE49-F238E27FC236}">
                  <a16:creationId xmlns:a16="http://schemas.microsoft.com/office/drawing/2014/main" id="{215651CB-80E4-42C2-93BE-1EAE1ED2F682}"/>
                </a:ext>
              </a:extLst>
            </p:cNvPr>
            <p:cNvGrpSpPr>
              <a:grpSpLocks noChangeAspect="1"/>
            </p:cNvGrpSpPr>
            <p:nvPr/>
          </p:nvGrpSpPr>
          <p:grpSpPr>
            <a:xfrm>
              <a:off x="9269185" y="5190511"/>
              <a:ext cx="457200" cy="457200"/>
              <a:chOff x="678426" y="2868561"/>
              <a:chExt cx="811162" cy="811162"/>
            </a:xfrm>
          </p:grpSpPr>
          <p:sp>
            <p:nvSpPr>
              <p:cNvPr id="152" name="Oval 151">
                <a:extLst>
                  <a:ext uri="{FF2B5EF4-FFF2-40B4-BE49-F238E27FC236}">
                    <a16:creationId xmlns:a16="http://schemas.microsoft.com/office/drawing/2014/main" id="{F39DE355-F643-4899-AE3F-7E0713A7FAE2}"/>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3" name="Rectangle 152">
                <a:extLst>
                  <a:ext uri="{FF2B5EF4-FFF2-40B4-BE49-F238E27FC236}">
                    <a16:creationId xmlns:a16="http://schemas.microsoft.com/office/drawing/2014/main" id="{E9C448DD-B6D6-48E9-86F7-6148D10DF89A}"/>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54" name="Rectangle 153">
                <a:extLst>
                  <a:ext uri="{FF2B5EF4-FFF2-40B4-BE49-F238E27FC236}">
                    <a16:creationId xmlns:a16="http://schemas.microsoft.com/office/drawing/2014/main" id="{C9C1351F-5CD4-47AC-A0FD-9CFC463DEB9E}"/>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55" name="Rectangle 154">
                <a:extLst>
                  <a:ext uri="{FF2B5EF4-FFF2-40B4-BE49-F238E27FC236}">
                    <a16:creationId xmlns:a16="http://schemas.microsoft.com/office/drawing/2014/main" id="{4B7191BB-FB5E-410E-994A-5BC24D44F292}"/>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56" name="Rectangle 155">
                <a:extLst>
                  <a:ext uri="{FF2B5EF4-FFF2-40B4-BE49-F238E27FC236}">
                    <a16:creationId xmlns:a16="http://schemas.microsoft.com/office/drawing/2014/main" id="{4D9E5416-3B81-4535-BCC9-191E978E5191}"/>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157" name="Connector: Curved 156">
                <a:extLst>
                  <a:ext uri="{FF2B5EF4-FFF2-40B4-BE49-F238E27FC236}">
                    <a16:creationId xmlns:a16="http://schemas.microsoft.com/office/drawing/2014/main" id="{FE485A6C-9D79-4522-893F-17C6C76129B8}"/>
                  </a:ext>
                </a:extLst>
              </p:cNvPr>
              <p:cNvCxnSpPr>
                <a:stCxn id="153" idx="3"/>
                <a:endCxn id="154"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158" name="Connector: Curved 157">
                <a:extLst>
                  <a:ext uri="{FF2B5EF4-FFF2-40B4-BE49-F238E27FC236}">
                    <a16:creationId xmlns:a16="http://schemas.microsoft.com/office/drawing/2014/main" id="{3427751D-995F-43D8-8389-E3C9A9967259}"/>
                  </a:ext>
                </a:extLst>
              </p:cNvPr>
              <p:cNvCxnSpPr>
                <a:cxnSpLocks/>
                <a:stCxn id="153" idx="3"/>
                <a:endCxn id="155"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159" name="Connector: Curved 158">
                <a:extLst>
                  <a:ext uri="{FF2B5EF4-FFF2-40B4-BE49-F238E27FC236}">
                    <a16:creationId xmlns:a16="http://schemas.microsoft.com/office/drawing/2014/main" id="{8A3A4975-AF39-4613-B585-1AA3C473908A}"/>
                  </a:ext>
                </a:extLst>
              </p:cNvPr>
              <p:cNvCxnSpPr>
                <a:cxnSpLocks/>
                <a:stCxn id="153" idx="3"/>
                <a:endCxn id="156"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grpSp>
          <p:nvGrpSpPr>
            <p:cNvPr id="160" name="Group 159">
              <a:extLst>
                <a:ext uri="{FF2B5EF4-FFF2-40B4-BE49-F238E27FC236}">
                  <a16:creationId xmlns:a16="http://schemas.microsoft.com/office/drawing/2014/main" id="{80E71E31-A2DB-4F03-87BB-8809F6C635FA}"/>
                </a:ext>
              </a:extLst>
            </p:cNvPr>
            <p:cNvGrpSpPr>
              <a:grpSpLocks noChangeAspect="1"/>
            </p:cNvGrpSpPr>
            <p:nvPr/>
          </p:nvGrpSpPr>
          <p:grpSpPr>
            <a:xfrm>
              <a:off x="9865918" y="5190511"/>
              <a:ext cx="457200" cy="457200"/>
              <a:chOff x="678426" y="2868561"/>
              <a:chExt cx="811162" cy="811162"/>
            </a:xfrm>
          </p:grpSpPr>
          <p:sp>
            <p:nvSpPr>
              <p:cNvPr id="161" name="Oval 160">
                <a:extLst>
                  <a:ext uri="{FF2B5EF4-FFF2-40B4-BE49-F238E27FC236}">
                    <a16:creationId xmlns:a16="http://schemas.microsoft.com/office/drawing/2014/main" id="{159854A4-1101-4C86-A83E-F6C67D08ABE6}"/>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2" name="Rectangle 161">
                <a:extLst>
                  <a:ext uri="{FF2B5EF4-FFF2-40B4-BE49-F238E27FC236}">
                    <a16:creationId xmlns:a16="http://schemas.microsoft.com/office/drawing/2014/main" id="{0E4F5C90-C416-4B90-BD7F-1F958460D7B1}"/>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64" name="Rectangle 163">
                <a:extLst>
                  <a:ext uri="{FF2B5EF4-FFF2-40B4-BE49-F238E27FC236}">
                    <a16:creationId xmlns:a16="http://schemas.microsoft.com/office/drawing/2014/main" id="{481DEB43-14E5-4543-9EE7-FA9E1C2BFEF4}"/>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65" name="Rectangle 164">
                <a:extLst>
                  <a:ext uri="{FF2B5EF4-FFF2-40B4-BE49-F238E27FC236}">
                    <a16:creationId xmlns:a16="http://schemas.microsoft.com/office/drawing/2014/main" id="{39E64801-541D-4A47-B78A-5CC289CFF5CC}"/>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66" name="Rectangle 165">
                <a:extLst>
                  <a:ext uri="{FF2B5EF4-FFF2-40B4-BE49-F238E27FC236}">
                    <a16:creationId xmlns:a16="http://schemas.microsoft.com/office/drawing/2014/main" id="{A96E1B50-B60E-485B-825B-09A29A31A173}"/>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167" name="Connector: Curved 166">
                <a:extLst>
                  <a:ext uri="{FF2B5EF4-FFF2-40B4-BE49-F238E27FC236}">
                    <a16:creationId xmlns:a16="http://schemas.microsoft.com/office/drawing/2014/main" id="{96AF699E-7AE5-4B03-A1EA-11B19DB14024}"/>
                  </a:ext>
                </a:extLst>
              </p:cNvPr>
              <p:cNvCxnSpPr>
                <a:stCxn id="162" idx="3"/>
                <a:endCxn id="164"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168" name="Connector: Curved 167">
                <a:extLst>
                  <a:ext uri="{FF2B5EF4-FFF2-40B4-BE49-F238E27FC236}">
                    <a16:creationId xmlns:a16="http://schemas.microsoft.com/office/drawing/2014/main" id="{17E188AB-DC5E-4852-8365-47729C31CF17}"/>
                  </a:ext>
                </a:extLst>
              </p:cNvPr>
              <p:cNvCxnSpPr>
                <a:cxnSpLocks/>
                <a:stCxn id="162" idx="3"/>
                <a:endCxn id="165"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169" name="Connector: Curved 168">
                <a:extLst>
                  <a:ext uri="{FF2B5EF4-FFF2-40B4-BE49-F238E27FC236}">
                    <a16:creationId xmlns:a16="http://schemas.microsoft.com/office/drawing/2014/main" id="{45AC80F9-D351-4ECB-85A8-6CDE6C1FC752}"/>
                  </a:ext>
                </a:extLst>
              </p:cNvPr>
              <p:cNvCxnSpPr>
                <a:cxnSpLocks/>
                <a:stCxn id="162" idx="3"/>
                <a:endCxn id="166"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grpSp>
          <p:nvGrpSpPr>
            <p:cNvPr id="170" name="Group 169">
              <a:extLst>
                <a:ext uri="{FF2B5EF4-FFF2-40B4-BE49-F238E27FC236}">
                  <a16:creationId xmlns:a16="http://schemas.microsoft.com/office/drawing/2014/main" id="{2086C8B7-4482-47BD-98D2-F371A665F363}"/>
                </a:ext>
              </a:extLst>
            </p:cNvPr>
            <p:cNvGrpSpPr>
              <a:grpSpLocks noChangeAspect="1"/>
            </p:cNvGrpSpPr>
            <p:nvPr/>
          </p:nvGrpSpPr>
          <p:grpSpPr>
            <a:xfrm>
              <a:off x="10462650" y="5190511"/>
              <a:ext cx="457200" cy="457200"/>
              <a:chOff x="678426" y="2868561"/>
              <a:chExt cx="811162" cy="811162"/>
            </a:xfrm>
          </p:grpSpPr>
          <p:sp>
            <p:nvSpPr>
              <p:cNvPr id="171" name="Oval 170">
                <a:extLst>
                  <a:ext uri="{FF2B5EF4-FFF2-40B4-BE49-F238E27FC236}">
                    <a16:creationId xmlns:a16="http://schemas.microsoft.com/office/drawing/2014/main" id="{F2D1D0FC-C097-4AFE-B877-3F476C199BAD}"/>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2" name="Rectangle 171">
                <a:extLst>
                  <a:ext uri="{FF2B5EF4-FFF2-40B4-BE49-F238E27FC236}">
                    <a16:creationId xmlns:a16="http://schemas.microsoft.com/office/drawing/2014/main" id="{A33F71F3-89A5-4D67-B698-4C4B14839B39}"/>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73" name="Rectangle 172">
                <a:extLst>
                  <a:ext uri="{FF2B5EF4-FFF2-40B4-BE49-F238E27FC236}">
                    <a16:creationId xmlns:a16="http://schemas.microsoft.com/office/drawing/2014/main" id="{FE910ECA-A62B-4B85-889F-3BA0B955AE18}"/>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74" name="Rectangle 173">
                <a:extLst>
                  <a:ext uri="{FF2B5EF4-FFF2-40B4-BE49-F238E27FC236}">
                    <a16:creationId xmlns:a16="http://schemas.microsoft.com/office/drawing/2014/main" id="{5B4DA1C8-0BA4-4FFF-97B6-42638F6EC277}"/>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75" name="Rectangle 174">
                <a:extLst>
                  <a:ext uri="{FF2B5EF4-FFF2-40B4-BE49-F238E27FC236}">
                    <a16:creationId xmlns:a16="http://schemas.microsoft.com/office/drawing/2014/main" id="{9A1CB318-105B-412D-B5C7-FC7CF8598ADD}"/>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176" name="Connector: Curved 175">
                <a:extLst>
                  <a:ext uri="{FF2B5EF4-FFF2-40B4-BE49-F238E27FC236}">
                    <a16:creationId xmlns:a16="http://schemas.microsoft.com/office/drawing/2014/main" id="{8625A1E9-8BDD-44C7-BF1D-C283B5CA4062}"/>
                  </a:ext>
                </a:extLst>
              </p:cNvPr>
              <p:cNvCxnSpPr>
                <a:stCxn id="172" idx="3"/>
                <a:endCxn id="173"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177" name="Connector: Curved 176">
                <a:extLst>
                  <a:ext uri="{FF2B5EF4-FFF2-40B4-BE49-F238E27FC236}">
                    <a16:creationId xmlns:a16="http://schemas.microsoft.com/office/drawing/2014/main" id="{8CD9A86F-9287-43B2-ABD7-1EA8708C4E7E}"/>
                  </a:ext>
                </a:extLst>
              </p:cNvPr>
              <p:cNvCxnSpPr>
                <a:cxnSpLocks/>
                <a:stCxn id="172" idx="3"/>
                <a:endCxn id="174"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178" name="Connector: Curved 177">
                <a:extLst>
                  <a:ext uri="{FF2B5EF4-FFF2-40B4-BE49-F238E27FC236}">
                    <a16:creationId xmlns:a16="http://schemas.microsoft.com/office/drawing/2014/main" id="{2BB72F11-EEA6-45BE-A53F-BCDA71C4D4D0}"/>
                  </a:ext>
                </a:extLst>
              </p:cNvPr>
              <p:cNvCxnSpPr>
                <a:cxnSpLocks/>
                <a:stCxn id="172" idx="3"/>
                <a:endCxn id="175"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sp>
          <p:nvSpPr>
            <p:cNvPr id="112" name="TextBox 111">
              <a:extLst>
                <a:ext uri="{FF2B5EF4-FFF2-40B4-BE49-F238E27FC236}">
                  <a16:creationId xmlns:a16="http://schemas.microsoft.com/office/drawing/2014/main" id="{5009E4D5-BD93-42C5-90BC-227EE0535A7F}"/>
                </a:ext>
              </a:extLst>
            </p:cNvPr>
            <p:cNvSpPr txBox="1"/>
            <p:nvPr/>
          </p:nvSpPr>
          <p:spPr>
            <a:xfrm>
              <a:off x="8908658" y="2257323"/>
              <a:ext cx="596638" cy="230832"/>
            </a:xfrm>
            <a:prstGeom prst="rect">
              <a:avLst/>
            </a:prstGeom>
            <a:noFill/>
          </p:spPr>
          <p:txBody>
            <a:bodyPr wrap="none" lIns="91440" rtlCol="0">
              <a:spAutoFit/>
            </a:bodyPr>
            <a:lstStyle/>
            <a:p>
              <a:pPr algn="ctr">
                <a:defRPr/>
              </a:pPr>
              <a:r>
                <a:rPr lang="en-US" sz="900">
                  <a:solidFill>
                    <a:srgbClr val="0078D7"/>
                  </a:solidFill>
                  <a:latin typeface="Segoe UI Semibold" panose="020B0702040204020203" pitchFamily="34" charset="0"/>
                  <a:cs typeface="Segoe UI Semibold" panose="020B0702040204020203" pitchFamily="34" charset="0"/>
                </a:rPr>
                <a:t>Tenants</a:t>
              </a:r>
            </a:p>
          </p:txBody>
        </p:sp>
      </p:grpSp>
      <p:grpSp>
        <p:nvGrpSpPr>
          <p:cNvPr id="23" name="Group 22">
            <a:extLst>
              <a:ext uri="{FF2B5EF4-FFF2-40B4-BE49-F238E27FC236}">
                <a16:creationId xmlns:a16="http://schemas.microsoft.com/office/drawing/2014/main" id="{1311BC43-6AD1-42BB-8049-7CF115686409}"/>
              </a:ext>
            </a:extLst>
          </p:cNvPr>
          <p:cNvGrpSpPr/>
          <p:nvPr/>
        </p:nvGrpSpPr>
        <p:grpSpPr>
          <a:xfrm>
            <a:off x="6801935" y="2806364"/>
            <a:ext cx="1970647" cy="2363288"/>
            <a:chOff x="5551543" y="2658108"/>
            <a:chExt cx="1970647" cy="2363288"/>
          </a:xfrm>
        </p:grpSpPr>
        <p:grpSp>
          <p:nvGrpSpPr>
            <p:cNvPr id="115" name="Group 114">
              <a:extLst>
                <a:ext uri="{FF2B5EF4-FFF2-40B4-BE49-F238E27FC236}">
                  <a16:creationId xmlns:a16="http://schemas.microsoft.com/office/drawing/2014/main" id="{BED58322-895A-48D5-9EC1-F2DF9DD81E0C}"/>
                </a:ext>
              </a:extLst>
            </p:cNvPr>
            <p:cNvGrpSpPr>
              <a:grpSpLocks noChangeAspect="1"/>
            </p:cNvGrpSpPr>
            <p:nvPr/>
          </p:nvGrpSpPr>
          <p:grpSpPr>
            <a:xfrm>
              <a:off x="5595965" y="2658108"/>
              <a:ext cx="1843287" cy="1843287"/>
              <a:chOff x="678425" y="2868561"/>
              <a:chExt cx="811161" cy="811162"/>
            </a:xfrm>
          </p:grpSpPr>
          <p:sp>
            <p:nvSpPr>
              <p:cNvPr id="118" name="Oval 117">
                <a:extLst>
                  <a:ext uri="{FF2B5EF4-FFF2-40B4-BE49-F238E27FC236}">
                    <a16:creationId xmlns:a16="http://schemas.microsoft.com/office/drawing/2014/main" id="{4311BEAB-3069-4C4C-8588-33062DCF9030}"/>
                  </a:ext>
                </a:extLst>
              </p:cNvPr>
              <p:cNvSpPr/>
              <p:nvPr/>
            </p:nvSpPr>
            <p:spPr bwMode="auto">
              <a:xfrm>
                <a:off x="678425" y="2868561"/>
                <a:ext cx="811161"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2" name="Rectangle 121">
                <a:extLst>
                  <a:ext uri="{FF2B5EF4-FFF2-40B4-BE49-F238E27FC236}">
                    <a16:creationId xmlns:a16="http://schemas.microsoft.com/office/drawing/2014/main" id="{E09CF479-7081-42A6-86E1-DCF9567E5EC6}"/>
                  </a:ext>
                </a:extLst>
              </p:cNvPr>
              <p:cNvSpPr/>
              <p:nvPr/>
            </p:nvSpPr>
            <p:spPr bwMode="auto">
              <a:xfrm>
                <a:off x="769973"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46" name="Rectangle 145">
                <a:extLst>
                  <a:ext uri="{FF2B5EF4-FFF2-40B4-BE49-F238E27FC236}">
                    <a16:creationId xmlns:a16="http://schemas.microsoft.com/office/drawing/2014/main" id="{6EF5C4E1-1329-446F-A04B-6994DFBB7C2E}"/>
                  </a:ext>
                </a:extLst>
              </p:cNvPr>
              <p:cNvSpPr/>
              <p:nvPr/>
            </p:nvSpPr>
            <p:spPr bwMode="auto">
              <a:xfrm>
                <a:off x="1092481"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79" name="Rectangle 178">
                <a:extLst>
                  <a:ext uri="{FF2B5EF4-FFF2-40B4-BE49-F238E27FC236}">
                    <a16:creationId xmlns:a16="http://schemas.microsoft.com/office/drawing/2014/main" id="{20497F74-E742-4F27-8B99-CA2342F6787A}"/>
                  </a:ext>
                </a:extLst>
              </p:cNvPr>
              <p:cNvSpPr/>
              <p:nvPr/>
            </p:nvSpPr>
            <p:spPr bwMode="auto">
              <a:xfrm>
                <a:off x="1092481" y="318656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80" name="Rectangle 179">
                <a:extLst>
                  <a:ext uri="{FF2B5EF4-FFF2-40B4-BE49-F238E27FC236}">
                    <a16:creationId xmlns:a16="http://schemas.microsoft.com/office/drawing/2014/main" id="{4D6D74CE-E2AF-429F-B3A2-AFA9EE0FCB6D}"/>
                  </a:ext>
                </a:extLst>
              </p:cNvPr>
              <p:cNvSpPr/>
              <p:nvPr/>
            </p:nvSpPr>
            <p:spPr bwMode="auto">
              <a:xfrm>
                <a:off x="1092482"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181" name="Connector: Curved 180">
                <a:extLst>
                  <a:ext uri="{FF2B5EF4-FFF2-40B4-BE49-F238E27FC236}">
                    <a16:creationId xmlns:a16="http://schemas.microsoft.com/office/drawing/2014/main" id="{5DCABF42-D474-484B-BD64-809BCDA0081A}"/>
                  </a:ext>
                </a:extLst>
              </p:cNvPr>
              <p:cNvCxnSpPr>
                <a:stCxn id="122" idx="3"/>
                <a:endCxn id="146" idx="1"/>
              </p:cNvCxnSpPr>
              <p:nvPr/>
            </p:nvCxnSpPr>
            <p:spPr>
              <a:xfrm flipV="1">
                <a:off x="861413" y="3042940"/>
                <a:ext cx="231068" cy="235486"/>
              </a:xfrm>
              <a:prstGeom prst="curvedConnector3">
                <a:avLst/>
              </a:prstGeom>
              <a:noFill/>
              <a:ln w="12700" cap="flat" cmpd="sng" algn="ctr">
                <a:solidFill>
                  <a:schemeClr val="tx1"/>
                </a:solidFill>
                <a:prstDash val="sysDot"/>
                <a:miter lim="800000"/>
                <a:headEnd type="none"/>
                <a:tailEnd type="none"/>
              </a:ln>
              <a:effectLst/>
            </p:spPr>
          </p:cxnSp>
          <p:cxnSp>
            <p:nvCxnSpPr>
              <p:cNvPr id="182" name="Connector: Curved 181">
                <a:extLst>
                  <a:ext uri="{FF2B5EF4-FFF2-40B4-BE49-F238E27FC236}">
                    <a16:creationId xmlns:a16="http://schemas.microsoft.com/office/drawing/2014/main" id="{31B980A5-D126-452F-840F-B55C757E57BC}"/>
                  </a:ext>
                </a:extLst>
              </p:cNvPr>
              <p:cNvCxnSpPr>
                <a:cxnSpLocks/>
                <a:stCxn id="122" idx="3"/>
                <a:endCxn id="179" idx="1"/>
              </p:cNvCxnSpPr>
              <p:nvPr/>
            </p:nvCxnSpPr>
            <p:spPr>
              <a:xfrm flipV="1">
                <a:off x="861413" y="3276334"/>
                <a:ext cx="231068" cy="2091"/>
              </a:xfrm>
              <a:prstGeom prst="curvedConnector3">
                <a:avLst/>
              </a:prstGeom>
              <a:noFill/>
              <a:ln w="12700" cap="flat" cmpd="sng" algn="ctr">
                <a:solidFill>
                  <a:schemeClr val="tx1"/>
                </a:solidFill>
                <a:prstDash val="sysDot"/>
                <a:miter lim="800000"/>
                <a:headEnd type="none"/>
                <a:tailEnd type="none"/>
              </a:ln>
              <a:effectLst/>
            </p:spPr>
          </p:cxnSp>
          <p:cxnSp>
            <p:nvCxnSpPr>
              <p:cNvPr id="183" name="Connector: Curved 182">
                <a:extLst>
                  <a:ext uri="{FF2B5EF4-FFF2-40B4-BE49-F238E27FC236}">
                    <a16:creationId xmlns:a16="http://schemas.microsoft.com/office/drawing/2014/main" id="{2AFF44C1-B3FF-42DF-820C-39E60C4BF215}"/>
                  </a:ext>
                </a:extLst>
              </p:cNvPr>
              <p:cNvCxnSpPr>
                <a:cxnSpLocks/>
                <a:stCxn id="122" idx="3"/>
                <a:endCxn id="180" idx="1"/>
              </p:cNvCxnSpPr>
              <p:nvPr/>
            </p:nvCxnSpPr>
            <p:spPr>
              <a:xfrm>
                <a:off x="861414" y="3278427"/>
                <a:ext cx="231068" cy="226916"/>
              </a:xfrm>
              <a:prstGeom prst="curvedConnector3">
                <a:avLst/>
              </a:prstGeom>
              <a:noFill/>
              <a:ln w="12700" cap="flat" cmpd="sng" algn="ctr">
                <a:solidFill>
                  <a:schemeClr val="tx1"/>
                </a:solidFill>
                <a:prstDash val="sysDot"/>
                <a:miter lim="800000"/>
                <a:headEnd type="none"/>
                <a:tailEnd type="none"/>
              </a:ln>
              <a:effectLst/>
            </p:spPr>
          </p:cxnSp>
        </p:grpSp>
        <p:sp>
          <p:nvSpPr>
            <p:cNvPr id="184" name="TextBox 183">
              <a:extLst>
                <a:ext uri="{FF2B5EF4-FFF2-40B4-BE49-F238E27FC236}">
                  <a16:creationId xmlns:a16="http://schemas.microsoft.com/office/drawing/2014/main" id="{56D90EBA-6EDC-468E-BCF0-37669F6EF8C6}"/>
                </a:ext>
              </a:extLst>
            </p:cNvPr>
            <p:cNvSpPr txBox="1"/>
            <p:nvPr/>
          </p:nvSpPr>
          <p:spPr>
            <a:xfrm>
              <a:off x="5649349" y="3793487"/>
              <a:ext cx="535724" cy="230832"/>
            </a:xfrm>
            <a:prstGeom prst="rect">
              <a:avLst/>
            </a:prstGeom>
            <a:noFill/>
          </p:spPr>
          <p:txBody>
            <a:bodyPr wrap="none" lIns="91440" rtlCol="0">
              <a:spAutoFit/>
            </a:bodyPr>
            <a:lstStyle/>
            <a:p>
              <a:pPr algn="ctr">
                <a:defRPr/>
              </a:pPr>
              <a:r>
                <a:rPr lang="en-US" sz="900">
                  <a:solidFill>
                    <a:srgbClr val="0078D7"/>
                  </a:solidFill>
                  <a:latin typeface="Segoe UI Semibold" panose="020B0702040204020203" pitchFamily="34" charset="0"/>
                  <a:cs typeface="Segoe UI Semibold" panose="020B0702040204020203" pitchFamily="34" charset="0"/>
                </a:rPr>
                <a:t>Leader</a:t>
              </a:r>
            </a:p>
          </p:txBody>
        </p:sp>
        <p:sp>
          <p:nvSpPr>
            <p:cNvPr id="185" name="TextBox 184">
              <a:extLst>
                <a:ext uri="{FF2B5EF4-FFF2-40B4-BE49-F238E27FC236}">
                  <a16:creationId xmlns:a16="http://schemas.microsoft.com/office/drawing/2014/main" id="{98396E32-8E6D-4A6A-85A7-23E39A47F8CF}"/>
                </a:ext>
              </a:extLst>
            </p:cNvPr>
            <p:cNvSpPr txBox="1"/>
            <p:nvPr/>
          </p:nvSpPr>
          <p:spPr>
            <a:xfrm>
              <a:off x="6686874" y="2953417"/>
              <a:ext cx="631904" cy="230832"/>
            </a:xfrm>
            <a:prstGeom prst="rect">
              <a:avLst/>
            </a:prstGeom>
            <a:noFill/>
          </p:spPr>
          <p:txBody>
            <a:bodyPr wrap="none" lIns="91440" rtlCol="0">
              <a:spAutoFit/>
            </a:bodyPr>
            <a:lstStyle/>
            <a:p>
              <a:pPr algn="ctr">
                <a:defRPr/>
              </a:pPr>
              <a:r>
                <a:rPr lang="en-US" sz="900">
                  <a:solidFill>
                    <a:srgbClr val="0078D7"/>
                  </a:solidFill>
                  <a:latin typeface="Segoe UI Semibold" panose="020B0702040204020203" pitchFamily="34" charset="0"/>
                  <a:cs typeface="Segoe UI Semibold" panose="020B0702040204020203" pitchFamily="34" charset="0"/>
                </a:rPr>
                <a:t>Follower</a:t>
              </a:r>
            </a:p>
          </p:txBody>
        </p:sp>
        <p:sp>
          <p:nvSpPr>
            <p:cNvPr id="187" name="TextBox 186">
              <a:extLst>
                <a:ext uri="{FF2B5EF4-FFF2-40B4-BE49-F238E27FC236}">
                  <a16:creationId xmlns:a16="http://schemas.microsoft.com/office/drawing/2014/main" id="{9A46D55B-D026-477F-AA98-073914F02EAD}"/>
                </a:ext>
              </a:extLst>
            </p:cNvPr>
            <p:cNvSpPr txBox="1"/>
            <p:nvPr/>
          </p:nvSpPr>
          <p:spPr>
            <a:xfrm>
              <a:off x="6687872" y="3443267"/>
              <a:ext cx="631904" cy="230832"/>
            </a:xfrm>
            <a:prstGeom prst="rect">
              <a:avLst/>
            </a:prstGeom>
            <a:noFill/>
          </p:spPr>
          <p:txBody>
            <a:bodyPr wrap="none" lIns="91440" rtlCol="0">
              <a:spAutoFit/>
            </a:bodyPr>
            <a:lstStyle/>
            <a:p>
              <a:pPr algn="ctr">
                <a:defRPr/>
              </a:pPr>
              <a:r>
                <a:rPr lang="en-US" sz="900">
                  <a:solidFill>
                    <a:srgbClr val="0078D7"/>
                  </a:solidFill>
                  <a:latin typeface="Segoe UI Semibold" panose="020B0702040204020203" pitchFamily="34" charset="0"/>
                  <a:cs typeface="Segoe UI Semibold" panose="020B0702040204020203" pitchFamily="34" charset="0"/>
                </a:rPr>
                <a:t>Follower</a:t>
              </a:r>
            </a:p>
          </p:txBody>
        </p:sp>
        <p:sp>
          <p:nvSpPr>
            <p:cNvPr id="188" name="TextBox 187">
              <a:extLst>
                <a:ext uri="{FF2B5EF4-FFF2-40B4-BE49-F238E27FC236}">
                  <a16:creationId xmlns:a16="http://schemas.microsoft.com/office/drawing/2014/main" id="{A94267FA-C7DE-4276-A17E-7CE9F7AA3141}"/>
                </a:ext>
              </a:extLst>
            </p:cNvPr>
            <p:cNvSpPr txBox="1"/>
            <p:nvPr/>
          </p:nvSpPr>
          <p:spPr>
            <a:xfrm>
              <a:off x="6679485" y="3910643"/>
              <a:ext cx="718466" cy="230832"/>
            </a:xfrm>
            <a:prstGeom prst="rect">
              <a:avLst/>
            </a:prstGeom>
            <a:noFill/>
          </p:spPr>
          <p:txBody>
            <a:bodyPr wrap="none" lIns="91440" rtlCol="0">
              <a:spAutoFit/>
            </a:bodyPr>
            <a:lstStyle/>
            <a:p>
              <a:pPr algn="ctr">
                <a:defRPr/>
              </a:pPr>
              <a:r>
                <a:rPr lang="en-US" sz="900">
                  <a:solidFill>
                    <a:srgbClr val="0078D7"/>
                  </a:solidFill>
                  <a:latin typeface="Segoe UI Semibold" panose="020B0702040204020203" pitchFamily="34" charset="0"/>
                  <a:cs typeface="Segoe UI Semibold" panose="020B0702040204020203" pitchFamily="34" charset="0"/>
                </a:rPr>
                <a:t>Forwarder</a:t>
              </a:r>
            </a:p>
          </p:txBody>
        </p:sp>
        <p:sp>
          <p:nvSpPr>
            <p:cNvPr id="189" name="TextBox 188">
              <a:extLst>
                <a:ext uri="{FF2B5EF4-FFF2-40B4-BE49-F238E27FC236}">
                  <a16:creationId xmlns:a16="http://schemas.microsoft.com/office/drawing/2014/main" id="{EFA92A6A-0B75-49DE-A55B-52A5703358F5}"/>
                </a:ext>
              </a:extLst>
            </p:cNvPr>
            <p:cNvSpPr txBox="1"/>
            <p:nvPr/>
          </p:nvSpPr>
          <p:spPr>
            <a:xfrm>
              <a:off x="6137536" y="4790564"/>
              <a:ext cx="760144" cy="230832"/>
            </a:xfrm>
            <a:prstGeom prst="rect">
              <a:avLst/>
            </a:prstGeom>
            <a:noFill/>
          </p:spPr>
          <p:txBody>
            <a:bodyPr wrap="none" lIns="91440" rtlCol="0">
              <a:spAutoFit/>
            </a:bodyPr>
            <a:lstStyle/>
            <a:p>
              <a:pPr algn="ctr">
                <a:defRPr/>
              </a:pPr>
              <a:r>
                <a:rPr lang="en-US" sz="900">
                  <a:solidFill>
                    <a:srgbClr val="0078D7"/>
                  </a:solidFill>
                  <a:latin typeface="Segoe UI Semibold" panose="020B0702040204020203" pitchFamily="34" charset="0"/>
                  <a:cs typeface="Segoe UI Semibold" panose="020B0702040204020203" pitchFamily="34" charset="0"/>
                </a:rPr>
                <a:t>Replica Set</a:t>
              </a:r>
            </a:p>
          </p:txBody>
        </p:sp>
        <p:sp>
          <p:nvSpPr>
            <p:cNvPr id="4" name="Right Brace 3">
              <a:extLst>
                <a:ext uri="{FF2B5EF4-FFF2-40B4-BE49-F238E27FC236}">
                  <a16:creationId xmlns:a16="http://schemas.microsoft.com/office/drawing/2014/main" id="{1D8CB8CB-546B-41D4-8722-820DEC817754}"/>
                </a:ext>
              </a:extLst>
            </p:cNvPr>
            <p:cNvSpPr/>
            <p:nvPr/>
          </p:nvSpPr>
          <p:spPr>
            <a:xfrm rot="5400000">
              <a:off x="6465864" y="3637332"/>
              <a:ext cx="142005" cy="1970647"/>
            </a:xfrm>
            <a:prstGeom prst="rightBrace">
              <a:avLst/>
            </a:prstGeom>
            <a:ln w="19050">
              <a:solidFill>
                <a:schemeClr val="bg1">
                  <a:lumMod val="50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defRPr/>
              </a:pPr>
              <a:endParaRPr lang="en-US">
                <a:solidFill>
                  <a:srgbClr val="505050"/>
                </a:solidFill>
                <a:latin typeface="Segoe UI Semilight"/>
              </a:endParaRPr>
            </a:p>
          </p:txBody>
        </p:sp>
      </p:grpSp>
      <p:cxnSp>
        <p:nvCxnSpPr>
          <p:cNvPr id="190" name="Straight Arrow Connector 189">
            <a:extLst>
              <a:ext uri="{FF2B5EF4-FFF2-40B4-BE49-F238E27FC236}">
                <a16:creationId xmlns:a16="http://schemas.microsoft.com/office/drawing/2014/main" id="{0A674D74-C333-410E-9E7C-F9AA78D7E2AD}"/>
              </a:ext>
            </a:extLst>
          </p:cNvPr>
          <p:cNvCxnSpPr>
            <a:cxnSpLocks/>
          </p:cNvCxnSpPr>
          <p:nvPr/>
        </p:nvCxnSpPr>
        <p:spPr>
          <a:xfrm flipV="1">
            <a:off x="4441557" y="4058900"/>
            <a:ext cx="2281129" cy="1232315"/>
          </a:xfrm>
          <a:prstGeom prst="straightConnector1">
            <a:avLst/>
          </a:prstGeom>
          <a:ln w="19050">
            <a:solidFill>
              <a:schemeClr val="bg1">
                <a:lumMod val="5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54" name="Freeform: Shape 53">
            <a:extLst>
              <a:ext uri="{FF2B5EF4-FFF2-40B4-BE49-F238E27FC236}">
                <a16:creationId xmlns:a16="http://schemas.microsoft.com/office/drawing/2014/main" id="{1395003B-76E0-433D-83B6-6E13A0872C98}"/>
              </a:ext>
            </a:extLst>
          </p:cNvPr>
          <p:cNvSpPr/>
          <p:nvPr/>
        </p:nvSpPr>
        <p:spPr bwMode="auto">
          <a:xfrm>
            <a:off x="8088402" y="4278089"/>
            <a:ext cx="1368358" cy="316435"/>
          </a:xfrm>
          <a:custGeom>
            <a:avLst/>
            <a:gdLst>
              <a:gd name="connsiteX0" fmla="*/ 0 w 1368358"/>
              <a:gd name="connsiteY0" fmla="*/ 11635 h 316435"/>
              <a:gd name="connsiteX1" fmla="*/ 642026 w 1368358"/>
              <a:gd name="connsiteY1" fmla="*/ 31090 h 316435"/>
              <a:gd name="connsiteX2" fmla="*/ 1005192 w 1368358"/>
              <a:gd name="connsiteY2" fmla="*/ 277524 h 316435"/>
              <a:gd name="connsiteX3" fmla="*/ 1368358 w 1368358"/>
              <a:gd name="connsiteY3" fmla="*/ 316435 h 316435"/>
            </a:gdLst>
            <a:ahLst/>
            <a:cxnLst>
              <a:cxn ang="0">
                <a:pos x="connsiteX0" y="connsiteY0"/>
              </a:cxn>
              <a:cxn ang="0">
                <a:pos x="connsiteX1" y="connsiteY1"/>
              </a:cxn>
              <a:cxn ang="0">
                <a:pos x="connsiteX2" y="connsiteY2"/>
              </a:cxn>
              <a:cxn ang="0">
                <a:pos x="connsiteX3" y="connsiteY3"/>
              </a:cxn>
            </a:cxnLst>
            <a:rect l="l" t="t" r="r" b="b"/>
            <a:pathLst>
              <a:path w="1368358" h="316435">
                <a:moveTo>
                  <a:pt x="0" y="11635"/>
                </a:moveTo>
                <a:cubicBezTo>
                  <a:pt x="237247" y="-795"/>
                  <a:pt x="474494" y="-13225"/>
                  <a:pt x="642026" y="31090"/>
                </a:cubicBezTo>
                <a:cubicBezTo>
                  <a:pt x="809558" y="75405"/>
                  <a:pt x="884137" y="229967"/>
                  <a:pt x="1005192" y="277524"/>
                </a:cubicBezTo>
                <a:cubicBezTo>
                  <a:pt x="1126247" y="325081"/>
                  <a:pt x="1311073" y="302384"/>
                  <a:pt x="1368358" y="316435"/>
                </a:cubicBezTo>
              </a:path>
            </a:pathLst>
          </a:custGeom>
          <a:ln>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algn="ctr">
              <a:defRPr/>
            </a:pPr>
            <a:endParaRPr lang="en-US">
              <a:solidFill>
                <a:srgbClr val="505050"/>
              </a:solidFill>
              <a:latin typeface="Segoe UI Semilight"/>
            </a:endParaRPr>
          </a:p>
        </p:txBody>
      </p:sp>
      <p:sp>
        <p:nvSpPr>
          <p:cNvPr id="191" name="TextBox 190">
            <a:extLst>
              <a:ext uri="{FF2B5EF4-FFF2-40B4-BE49-F238E27FC236}">
                <a16:creationId xmlns:a16="http://schemas.microsoft.com/office/drawing/2014/main" id="{55B286D9-8D0D-4525-9D50-2DDC6ACB12AB}"/>
              </a:ext>
            </a:extLst>
          </p:cNvPr>
          <p:cNvSpPr txBox="1"/>
          <p:nvPr/>
        </p:nvSpPr>
        <p:spPr>
          <a:xfrm>
            <a:off x="9456760" y="4470881"/>
            <a:ext cx="1821332" cy="230832"/>
          </a:xfrm>
          <a:prstGeom prst="rect">
            <a:avLst/>
          </a:prstGeom>
          <a:noFill/>
        </p:spPr>
        <p:txBody>
          <a:bodyPr wrap="none" lIns="91440" rtlCol="0">
            <a:spAutoFit/>
          </a:bodyPr>
          <a:lstStyle/>
          <a:p>
            <a:pPr algn="ctr">
              <a:defRPr/>
            </a:pPr>
            <a:r>
              <a:rPr lang="en-US" sz="900">
                <a:solidFill>
                  <a:srgbClr val="0078D7"/>
                </a:solidFill>
                <a:latin typeface="Segoe UI Semibold" panose="020B0702040204020203" pitchFamily="34" charset="0"/>
                <a:cs typeface="Segoe UI Semibold" panose="020B0702040204020203" pitchFamily="34" charset="0"/>
              </a:rPr>
              <a:t>To remote resource partition(s)</a:t>
            </a:r>
          </a:p>
        </p:txBody>
      </p:sp>
    </p:spTree>
    <p:extLst>
      <p:ext uri="{BB962C8B-B14F-4D97-AF65-F5344CB8AC3E}">
        <p14:creationId xmlns:p14="http://schemas.microsoft.com/office/powerpoint/2010/main" val="129497274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2" descr="http://www.outwardon.com/wp-content/uploads/2016/07/Our-earth-in-cosmos-and-bright-sun.-Elements-of-this-image-furnished-by-NASA-805x55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7609621"/>
          </a:xfrm>
          <a:prstGeom prst="rect">
            <a:avLst/>
          </a:prstGeom>
          <a:noFill/>
          <a:extLst>
            <a:ext uri="{909E8E84-426E-40DD-AFC4-6F175D3DCCD1}">
              <a14:hiddenFill xmlns:a14="http://schemas.microsoft.com/office/drawing/2010/main">
                <a:solidFill>
                  <a:srgbClr val="FFFFFF"/>
                </a:solidFill>
              </a14:hiddenFill>
            </a:ext>
          </a:extLst>
        </p:spPr>
      </p:pic>
      <p:sp>
        <p:nvSpPr>
          <p:cNvPr id="3" name="Title 1"/>
          <p:cNvSpPr txBox="1">
            <a:spLocks/>
          </p:cNvSpPr>
          <p:nvPr/>
        </p:nvSpPr>
        <p:spPr>
          <a:xfrm>
            <a:off x="555459" y="6196553"/>
            <a:ext cx="4505173" cy="776795"/>
          </a:xfrm>
          <a:prstGeom prst="rect">
            <a:avLst/>
          </a:prstGeom>
        </p:spPr>
        <p:txBody>
          <a:bodyPr vert="horz" lIns="85725" tIns="42863" rIns="85725" bIns="4286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57199"/>
            <a:r>
              <a:rPr lang="en-US" sz="4500" dirty="0">
                <a:solidFill>
                  <a:prstClr val="white"/>
                </a:solidFill>
                <a:latin typeface="Segoe UI Light" panose="020B0502040204020203" pitchFamily="34" charset="0"/>
                <a:ea typeface="Segoe UI Black" panose="020B0A02040204020203" pitchFamily="34" charset="0"/>
                <a:cs typeface="Segoe UI Light" panose="020B0502040204020203" pitchFamily="34" charset="0"/>
                <a:sym typeface="Segoe UI"/>
              </a:rPr>
              <a:t>System Design</a:t>
            </a:r>
          </a:p>
        </p:txBody>
      </p:sp>
    </p:spTree>
    <p:extLst>
      <p:ext uri="{BB962C8B-B14F-4D97-AF65-F5344CB8AC3E}">
        <p14:creationId xmlns:p14="http://schemas.microsoft.com/office/powerpoint/2010/main" val="862784615"/>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08383C-EEBC-42FF-ADAC-6ED8083141A9}"/>
              </a:ext>
            </a:extLst>
          </p:cNvPr>
          <p:cNvSpPr>
            <a:spLocks noGrp="1"/>
          </p:cNvSpPr>
          <p:nvPr>
            <p:ph type="title"/>
          </p:nvPr>
        </p:nvSpPr>
        <p:spPr>
          <a:xfrm>
            <a:off x="269241" y="363037"/>
            <a:ext cx="8864965" cy="899665"/>
          </a:xfrm>
        </p:spPr>
        <p:txBody>
          <a:bodyPr>
            <a:noAutofit/>
          </a:bodyPr>
          <a:lstStyle/>
          <a:p>
            <a:r>
              <a:rPr lang="en-US" sz="3600" dirty="0"/>
              <a:t>Provisioning throughput at database level</a:t>
            </a:r>
          </a:p>
        </p:txBody>
      </p:sp>
      <p:cxnSp>
        <p:nvCxnSpPr>
          <p:cNvPr id="148" name="Straight Arrow Connector 147">
            <a:extLst>
              <a:ext uri="{FF2B5EF4-FFF2-40B4-BE49-F238E27FC236}">
                <a16:creationId xmlns:a16="http://schemas.microsoft.com/office/drawing/2014/main" id="{F10B7690-A04E-4B62-9D1F-3F360ADEFF7B}"/>
              </a:ext>
            </a:extLst>
          </p:cNvPr>
          <p:cNvCxnSpPr>
            <a:cxnSpLocks/>
          </p:cNvCxnSpPr>
          <p:nvPr/>
        </p:nvCxnSpPr>
        <p:spPr>
          <a:xfrm>
            <a:off x="5741383" y="2503631"/>
            <a:ext cx="0" cy="317151"/>
          </a:xfrm>
          <a:prstGeom prst="straightConnector1">
            <a:avLst/>
          </a:prstGeom>
          <a:ln w="19050">
            <a:solidFill>
              <a:schemeClr val="bg1">
                <a:lumMod val="5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41" name="Freeform 5">
            <a:extLst>
              <a:ext uri="{FF2B5EF4-FFF2-40B4-BE49-F238E27FC236}">
                <a16:creationId xmlns:a16="http://schemas.microsoft.com/office/drawing/2014/main" id="{932153C4-43A4-42B7-8810-E75DD6E3493D}"/>
              </a:ext>
            </a:extLst>
          </p:cNvPr>
          <p:cNvSpPr>
            <a:spLocks noEditPoints="1"/>
          </p:cNvSpPr>
          <p:nvPr/>
        </p:nvSpPr>
        <p:spPr bwMode="auto">
          <a:xfrm>
            <a:off x="5434715" y="1726144"/>
            <a:ext cx="613338" cy="518491"/>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latin typeface="Segoe UI Semilight"/>
            </a:endParaRPr>
          </a:p>
        </p:txBody>
      </p:sp>
      <p:grpSp>
        <p:nvGrpSpPr>
          <p:cNvPr id="138" name="Group 137">
            <a:extLst>
              <a:ext uri="{FF2B5EF4-FFF2-40B4-BE49-F238E27FC236}">
                <a16:creationId xmlns:a16="http://schemas.microsoft.com/office/drawing/2014/main" id="{7C055C48-0CCE-4722-81A8-31339A90670F}"/>
              </a:ext>
            </a:extLst>
          </p:cNvPr>
          <p:cNvGrpSpPr/>
          <p:nvPr/>
        </p:nvGrpSpPr>
        <p:grpSpPr>
          <a:xfrm>
            <a:off x="4395991" y="2874082"/>
            <a:ext cx="2690789" cy="538174"/>
            <a:chOff x="7596797" y="3011420"/>
            <a:chExt cx="2690789" cy="538174"/>
          </a:xfrm>
        </p:grpSpPr>
        <p:grpSp>
          <p:nvGrpSpPr>
            <p:cNvPr id="120" name="Group 119">
              <a:extLst>
                <a:ext uri="{FF2B5EF4-FFF2-40B4-BE49-F238E27FC236}">
                  <a16:creationId xmlns:a16="http://schemas.microsoft.com/office/drawing/2014/main" id="{1D4879CE-10E2-4C9A-97A8-9228F2165D76}"/>
                </a:ext>
              </a:extLst>
            </p:cNvPr>
            <p:cNvGrpSpPr>
              <a:grpSpLocks noChangeAspect="1"/>
            </p:cNvGrpSpPr>
            <p:nvPr/>
          </p:nvGrpSpPr>
          <p:grpSpPr>
            <a:xfrm>
              <a:off x="8544487" y="3015353"/>
              <a:ext cx="760143" cy="530308"/>
              <a:chOff x="6800717" y="3085807"/>
              <a:chExt cx="1223737" cy="853732"/>
            </a:xfrm>
          </p:grpSpPr>
          <p:grpSp>
            <p:nvGrpSpPr>
              <p:cNvPr id="6" name="Group 5">
                <a:extLst>
                  <a:ext uri="{FF2B5EF4-FFF2-40B4-BE49-F238E27FC236}">
                    <a16:creationId xmlns:a16="http://schemas.microsoft.com/office/drawing/2014/main" id="{659A4D5B-10F8-4638-9E48-65749D0C1D92}"/>
                  </a:ext>
                </a:extLst>
              </p:cNvPr>
              <p:cNvGrpSpPr/>
              <p:nvPr/>
            </p:nvGrpSpPr>
            <p:grpSpPr>
              <a:xfrm>
                <a:off x="7092749" y="3085807"/>
                <a:ext cx="499208" cy="473323"/>
                <a:chOff x="7128988" y="4166153"/>
                <a:chExt cx="604908" cy="573541"/>
              </a:xfrm>
              <a:solidFill>
                <a:schemeClr val="tx2"/>
              </a:solidFill>
            </p:grpSpPr>
            <p:cxnSp>
              <p:nvCxnSpPr>
                <p:cNvPr id="27" name="Straight Connector 26">
                  <a:extLst>
                    <a:ext uri="{FF2B5EF4-FFF2-40B4-BE49-F238E27FC236}">
                      <a16:creationId xmlns:a16="http://schemas.microsoft.com/office/drawing/2014/main" id="{617D09A0-3E3E-488D-AF7A-61EF9537E97C}"/>
                    </a:ext>
                  </a:extLst>
                </p:cNvPr>
                <p:cNvCxnSpPr>
                  <a:cxnSpLocks/>
                </p:cNvCxnSpPr>
                <p:nvPr/>
              </p:nvCxnSpPr>
              <p:spPr>
                <a:xfrm>
                  <a:off x="7128988" y="4451736"/>
                  <a:ext cx="238107" cy="72556"/>
                </a:xfrm>
                <a:prstGeom prst="line">
                  <a:avLst/>
                </a:prstGeom>
                <a:grpFill/>
                <a:ln w="12700" cap="flat" cmpd="sng" algn="ctr">
                  <a:solidFill>
                    <a:schemeClr val="tx1"/>
                  </a:solidFill>
                  <a:prstDash val="sysDot"/>
                  <a:miter lim="800000"/>
                  <a:headEnd type="none"/>
                  <a:tailEnd type="none"/>
                </a:ln>
                <a:effectLst/>
              </p:spPr>
            </p:cxnSp>
            <p:cxnSp>
              <p:nvCxnSpPr>
                <p:cNvPr id="28" name="Straight Connector 27">
                  <a:extLst>
                    <a:ext uri="{FF2B5EF4-FFF2-40B4-BE49-F238E27FC236}">
                      <a16:creationId xmlns:a16="http://schemas.microsoft.com/office/drawing/2014/main" id="{BDE09C59-F484-4C01-B8BA-3C5425794B94}"/>
                    </a:ext>
                  </a:extLst>
                </p:cNvPr>
                <p:cNvCxnSpPr>
                  <a:cxnSpLocks/>
                </p:cNvCxnSpPr>
                <p:nvPr/>
              </p:nvCxnSpPr>
              <p:spPr>
                <a:xfrm flipV="1">
                  <a:off x="7128988" y="4379180"/>
                  <a:ext cx="233873" cy="72556"/>
                </a:xfrm>
                <a:prstGeom prst="line">
                  <a:avLst/>
                </a:prstGeom>
                <a:grpFill/>
                <a:ln w="12700" cap="flat" cmpd="sng" algn="ctr">
                  <a:solidFill>
                    <a:schemeClr val="tx1"/>
                  </a:solidFill>
                  <a:prstDash val="sysDot"/>
                  <a:miter lim="800000"/>
                  <a:headEnd type="none"/>
                  <a:tailEnd type="none"/>
                </a:ln>
                <a:effectLst/>
              </p:spPr>
            </p:cxnSp>
            <p:sp>
              <p:nvSpPr>
                <p:cNvPr id="29" name="Oval 28">
                  <a:extLst>
                    <a:ext uri="{FF2B5EF4-FFF2-40B4-BE49-F238E27FC236}">
                      <a16:creationId xmlns:a16="http://schemas.microsoft.com/office/drawing/2014/main" id="{08A774E5-617D-4BEC-A9DB-727E9A84067A}"/>
                    </a:ext>
                  </a:extLst>
                </p:cNvPr>
                <p:cNvSpPr/>
                <p:nvPr/>
              </p:nvSpPr>
              <p:spPr bwMode="auto">
                <a:xfrm>
                  <a:off x="7128988" y="4383154"/>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solidFill>
                      <a:srgbClr val="FFFFFF"/>
                    </a:solidFill>
                    <a:latin typeface="Segoe UI"/>
                  </a:endParaRPr>
                </a:p>
              </p:txBody>
            </p:sp>
            <p:cxnSp>
              <p:nvCxnSpPr>
                <p:cNvPr id="30" name="Straight Connector 29">
                  <a:extLst>
                    <a:ext uri="{FF2B5EF4-FFF2-40B4-BE49-F238E27FC236}">
                      <a16:creationId xmlns:a16="http://schemas.microsoft.com/office/drawing/2014/main" id="{EB5078F8-4626-49E1-856D-A9CD53C90466}"/>
                    </a:ext>
                  </a:extLst>
                </p:cNvPr>
                <p:cNvCxnSpPr>
                  <a:cxnSpLocks/>
                </p:cNvCxnSpPr>
                <p:nvPr/>
              </p:nvCxnSpPr>
              <p:spPr>
                <a:xfrm>
                  <a:off x="7367095" y="4524292"/>
                  <a:ext cx="241432" cy="108368"/>
                </a:xfrm>
                <a:prstGeom prst="line">
                  <a:avLst/>
                </a:prstGeom>
                <a:grpFill/>
                <a:ln w="12700" cap="flat" cmpd="sng" algn="ctr">
                  <a:solidFill>
                    <a:schemeClr val="tx1"/>
                  </a:solidFill>
                  <a:prstDash val="sysDot"/>
                  <a:miter lim="800000"/>
                  <a:headEnd type="none"/>
                  <a:tailEnd type="none"/>
                </a:ln>
                <a:effectLst/>
              </p:spPr>
            </p:cxnSp>
            <p:cxnSp>
              <p:nvCxnSpPr>
                <p:cNvPr id="31" name="Straight Connector 30">
                  <a:extLst>
                    <a:ext uri="{FF2B5EF4-FFF2-40B4-BE49-F238E27FC236}">
                      <a16:creationId xmlns:a16="http://schemas.microsoft.com/office/drawing/2014/main" id="{9385CEED-04F8-447C-939D-4C486351997A}"/>
                    </a:ext>
                  </a:extLst>
                </p:cNvPr>
                <p:cNvCxnSpPr>
                  <a:cxnSpLocks/>
                </p:cNvCxnSpPr>
                <p:nvPr/>
              </p:nvCxnSpPr>
              <p:spPr>
                <a:xfrm>
                  <a:off x="7367095" y="4524292"/>
                  <a:ext cx="229638" cy="1361"/>
                </a:xfrm>
                <a:prstGeom prst="line">
                  <a:avLst/>
                </a:prstGeom>
                <a:grpFill/>
                <a:ln w="12700" cap="flat" cmpd="sng" algn="ctr">
                  <a:solidFill>
                    <a:schemeClr val="tx1"/>
                  </a:solidFill>
                  <a:prstDash val="sysDot"/>
                  <a:miter lim="800000"/>
                  <a:headEnd type="none"/>
                  <a:tailEnd type="none"/>
                </a:ln>
                <a:effectLst/>
              </p:spPr>
            </p:cxnSp>
            <p:sp>
              <p:nvSpPr>
                <p:cNvPr id="32" name="Oval 31">
                  <a:extLst>
                    <a:ext uri="{FF2B5EF4-FFF2-40B4-BE49-F238E27FC236}">
                      <a16:creationId xmlns:a16="http://schemas.microsoft.com/office/drawing/2014/main" id="{1F1CE837-05E1-4B2F-9394-C5790F2E7A3E}"/>
                    </a:ext>
                  </a:extLst>
                </p:cNvPr>
                <p:cNvSpPr/>
                <p:nvPr/>
              </p:nvSpPr>
              <p:spPr bwMode="auto">
                <a:xfrm rot="20946206">
                  <a:off x="7596733" y="4602531"/>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solidFill>
                      <a:srgbClr val="FFFFFF"/>
                    </a:solidFill>
                    <a:latin typeface="Segoe UI"/>
                  </a:endParaRPr>
                </a:p>
              </p:txBody>
            </p:sp>
            <p:sp>
              <p:nvSpPr>
                <p:cNvPr id="33" name="Oval 32">
                  <a:extLst>
                    <a:ext uri="{FF2B5EF4-FFF2-40B4-BE49-F238E27FC236}">
                      <a16:creationId xmlns:a16="http://schemas.microsoft.com/office/drawing/2014/main" id="{3DCE6935-79A3-4569-994F-06564BE4C17E}"/>
                    </a:ext>
                  </a:extLst>
                </p:cNvPr>
                <p:cNvSpPr/>
                <p:nvPr/>
              </p:nvSpPr>
              <p:spPr bwMode="auto">
                <a:xfrm>
                  <a:off x="7596733" y="4457071"/>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solidFill>
                      <a:srgbClr val="FFFFFF"/>
                    </a:solidFill>
                    <a:latin typeface="Segoe UI"/>
                  </a:endParaRPr>
                </a:p>
              </p:txBody>
            </p:sp>
            <p:cxnSp>
              <p:nvCxnSpPr>
                <p:cNvPr id="34" name="Straight Connector 33">
                  <a:extLst>
                    <a:ext uri="{FF2B5EF4-FFF2-40B4-BE49-F238E27FC236}">
                      <a16:creationId xmlns:a16="http://schemas.microsoft.com/office/drawing/2014/main" id="{50EDFD4F-5185-4EB5-8C65-8131D88FA76E}"/>
                    </a:ext>
                  </a:extLst>
                </p:cNvPr>
                <p:cNvCxnSpPr>
                  <a:cxnSpLocks/>
                </p:cNvCxnSpPr>
                <p:nvPr/>
              </p:nvCxnSpPr>
              <p:spPr>
                <a:xfrm>
                  <a:off x="7362861" y="4379181"/>
                  <a:ext cx="233872" cy="1013"/>
                </a:xfrm>
                <a:prstGeom prst="line">
                  <a:avLst/>
                </a:prstGeom>
                <a:grpFill/>
                <a:ln w="12700" cap="flat" cmpd="sng" algn="ctr">
                  <a:solidFill>
                    <a:schemeClr val="tx1"/>
                  </a:solidFill>
                  <a:prstDash val="sysDot"/>
                  <a:miter lim="800000"/>
                  <a:headEnd type="none"/>
                  <a:tailEnd type="none"/>
                </a:ln>
                <a:effectLst/>
              </p:spPr>
            </p:cxnSp>
            <p:sp>
              <p:nvSpPr>
                <p:cNvPr id="35" name="Oval 34">
                  <a:extLst>
                    <a:ext uri="{FF2B5EF4-FFF2-40B4-BE49-F238E27FC236}">
                      <a16:creationId xmlns:a16="http://schemas.microsoft.com/office/drawing/2014/main" id="{DAA40A47-3939-40FC-B72A-911E78003348}"/>
                    </a:ext>
                  </a:extLst>
                </p:cNvPr>
                <p:cNvSpPr/>
                <p:nvPr/>
              </p:nvSpPr>
              <p:spPr bwMode="auto">
                <a:xfrm>
                  <a:off x="7367095" y="4455710"/>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solidFill>
                      <a:srgbClr val="FFFFFF"/>
                    </a:solidFill>
                    <a:latin typeface="Segoe UI"/>
                  </a:endParaRPr>
                </a:p>
              </p:txBody>
            </p:sp>
            <p:cxnSp>
              <p:nvCxnSpPr>
                <p:cNvPr id="36" name="Straight Connector 35">
                  <a:extLst>
                    <a:ext uri="{FF2B5EF4-FFF2-40B4-BE49-F238E27FC236}">
                      <a16:creationId xmlns:a16="http://schemas.microsoft.com/office/drawing/2014/main" id="{4F9BD353-4675-42D0-AE5E-5D5DA4F67C6E}"/>
                    </a:ext>
                  </a:extLst>
                </p:cNvPr>
                <p:cNvCxnSpPr>
                  <a:cxnSpLocks/>
                </p:cNvCxnSpPr>
                <p:nvPr/>
              </p:nvCxnSpPr>
              <p:spPr>
                <a:xfrm flipV="1">
                  <a:off x="7362861" y="4277619"/>
                  <a:ext cx="248934" cy="101562"/>
                </a:xfrm>
                <a:prstGeom prst="line">
                  <a:avLst/>
                </a:prstGeom>
                <a:grpFill/>
                <a:ln w="12700" cap="flat" cmpd="sng" algn="ctr">
                  <a:solidFill>
                    <a:schemeClr val="tx1"/>
                  </a:solidFill>
                  <a:prstDash val="sysDot"/>
                  <a:miter lim="800000"/>
                  <a:headEnd type="none"/>
                  <a:tailEnd type="none"/>
                </a:ln>
                <a:effectLst/>
              </p:spPr>
            </p:cxnSp>
            <p:sp>
              <p:nvSpPr>
                <p:cNvPr id="37" name="Oval 36">
                  <a:extLst>
                    <a:ext uri="{FF2B5EF4-FFF2-40B4-BE49-F238E27FC236}">
                      <a16:creationId xmlns:a16="http://schemas.microsoft.com/office/drawing/2014/main" id="{C469DC97-D1DE-4D91-AA6E-B0B8F1C6956F}"/>
                    </a:ext>
                  </a:extLst>
                </p:cNvPr>
                <p:cNvSpPr/>
                <p:nvPr/>
              </p:nvSpPr>
              <p:spPr bwMode="auto">
                <a:xfrm>
                  <a:off x="7362861" y="4310599"/>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solidFill>
                      <a:srgbClr val="FFFFFF"/>
                    </a:solidFill>
                    <a:latin typeface="Segoe UI"/>
                  </a:endParaRPr>
                </a:p>
              </p:txBody>
            </p:sp>
            <p:sp>
              <p:nvSpPr>
                <p:cNvPr id="38" name="Oval 37">
                  <a:extLst>
                    <a:ext uri="{FF2B5EF4-FFF2-40B4-BE49-F238E27FC236}">
                      <a16:creationId xmlns:a16="http://schemas.microsoft.com/office/drawing/2014/main" id="{3B7D735E-541B-41C3-90BB-375DC261F60A}"/>
                    </a:ext>
                  </a:extLst>
                </p:cNvPr>
                <p:cNvSpPr/>
                <p:nvPr/>
              </p:nvSpPr>
              <p:spPr bwMode="auto">
                <a:xfrm>
                  <a:off x="7596733" y="4311612"/>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solidFill>
                      <a:srgbClr val="FFFFFF"/>
                    </a:solidFill>
                    <a:latin typeface="Segoe UI"/>
                  </a:endParaRPr>
                </a:p>
              </p:txBody>
            </p:sp>
            <p:sp>
              <p:nvSpPr>
                <p:cNvPr id="39" name="Oval 38">
                  <a:extLst>
                    <a:ext uri="{FF2B5EF4-FFF2-40B4-BE49-F238E27FC236}">
                      <a16:creationId xmlns:a16="http://schemas.microsoft.com/office/drawing/2014/main" id="{7657B084-6E62-4CB3-A14F-DAE09534CE88}"/>
                    </a:ext>
                  </a:extLst>
                </p:cNvPr>
                <p:cNvSpPr/>
                <p:nvPr/>
              </p:nvSpPr>
              <p:spPr bwMode="auto">
                <a:xfrm rot="377738">
                  <a:off x="7596733" y="4166153"/>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solidFill>
                      <a:srgbClr val="FFFFFF"/>
                    </a:solidFill>
                    <a:latin typeface="Segoe UI"/>
                  </a:endParaRPr>
                </a:p>
              </p:txBody>
            </p:sp>
          </p:grpSp>
          <p:sp>
            <p:nvSpPr>
              <p:cNvPr id="8" name="TextBox 7">
                <a:extLst>
                  <a:ext uri="{FF2B5EF4-FFF2-40B4-BE49-F238E27FC236}">
                    <a16:creationId xmlns:a16="http://schemas.microsoft.com/office/drawing/2014/main" id="{BFA3E3CF-872E-409D-8E48-07686DE81748}"/>
                  </a:ext>
                </a:extLst>
              </p:cNvPr>
              <p:cNvSpPr txBox="1"/>
              <p:nvPr/>
            </p:nvSpPr>
            <p:spPr>
              <a:xfrm>
                <a:off x="6800717" y="3567927"/>
                <a:ext cx="1223737" cy="371612"/>
              </a:xfrm>
              <a:prstGeom prst="rect">
                <a:avLst/>
              </a:prstGeom>
              <a:noFill/>
            </p:spPr>
            <p:txBody>
              <a:bodyPr wrap="none" lIns="91440" rtlCol="0">
                <a:spAutoFit/>
              </a:bodyPr>
              <a:lstStyle/>
              <a:p>
                <a:pPr algn="ctr">
                  <a:defRPr/>
                </a:pPr>
                <a:r>
                  <a:rPr lang="en-US" sz="900">
                    <a:solidFill>
                      <a:srgbClr val="0078D7"/>
                    </a:solidFill>
                    <a:latin typeface="Segoe UI Semibold" panose="020B0702040204020203" pitchFamily="34" charset="0"/>
                    <a:cs typeface="Segoe UI Semibold" panose="020B0702040204020203" pitchFamily="34" charset="0"/>
                  </a:rPr>
                  <a:t>Collections</a:t>
                </a:r>
              </a:p>
            </p:txBody>
          </p:sp>
        </p:grpSp>
        <p:grpSp>
          <p:nvGrpSpPr>
            <p:cNvPr id="119" name="Group 118">
              <a:extLst>
                <a:ext uri="{FF2B5EF4-FFF2-40B4-BE49-F238E27FC236}">
                  <a16:creationId xmlns:a16="http://schemas.microsoft.com/office/drawing/2014/main" id="{46CD7D70-8D36-432A-866D-1791A6F1B515}"/>
                </a:ext>
              </a:extLst>
            </p:cNvPr>
            <p:cNvGrpSpPr>
              <a:grpSpLocks noChangeAspect="1"/>
            </p:cNvGrpSpPr>
            <p:nvPr/>
          </p:nvGrpSpPr>
          <p:grpSpPr>
            <a:xfrm>
              <a:off x="7596797" y="3011420"/>
              <a:ext cx="519693" cy="538174"/>
              <a:chOff x="3203733" y="3055226"/>
              <a:chExt cx="880559" cy="911871"/>
            </a:xfrm>
          </p:grpSpPr>
          <p:grpSp>
            <p:nvGrpSpPr>
              <p:cNvPr id="10" name="Group 9">
                <a:extLst>
                  <a:ext uri="{FF2B5EF4-FFF2-40B4-BE49-F238E27FC236}">
                    <a16:creationId xmlns:a16="http://schemas.microsoft.com/office/drawing/2014/main" id="{8D915B5A-2FBE-4CA5-A3A6-10E7DB02F887}"/>
                  </a:ext>
                </a:extLst>
              </p:cNvPr>
              <p:cNvGrpSpPr/>
              <p:nvPr/>
            </p:nvGrpSpPr>
            <p:grpSpPr>
              <a:xfrm>
                <a:off x="3319100" y="3055226"/>
                <a:ext cx="643737" cy="429517"/>
                <a:chOff x="2573581" y="3248112"/>
                <a:chExt cx="643737" cy="429517"/>
              </a:xfrm>
            </p:grpSpPr>
            <p:cxnSp>
              <p:nvCxnSpPr>
                <p:cNvPr id="13" name="Straight Connector 12">
                  <a:extLst>
                    <a:ext uri="{FF2B5EF4-FFF2-40B4-BE49-F238E27FC236}">
                      <a16:creationId xmlns:a16="http://schemas.microsoft.com/office/drawing/2014/main" id="{88BDC102-E1E6-4BAC-A375-838D48099E85}"/>
                    </a:ext>
                  </a:extLst>
                </p:cNvPr>
                <p:cNvCxnSpPr>
                  <a:cxnSpLocks/>
                </p:cNvCxnSpPr>
                <p:nvPr/>
              </p:nvCxnSpPr>
              <p:spPr>
                <a:xfrm>
                  <a:off x="2688446" y="3306383"/>
                  <a:ext cx="424425" cy="0"/>
                </a:xfrm>
                <a:prstGeom prst="line">
                  <a:avLst/>
                </a:prstGeom>
                <a:noFill/>
                <a:ln w="12700" cap="flat" cmpd="sng" algn="ctr">
                  <a:solidFill>
                    <a:schemeClr val="tx1"/>
                  </a:solidFill>
                  <a:prstDash val="sysDot"/>
                  <a:miter lim="800000"/>
                  <a:headEnd type="none"/>
                  <a:tailEnd type="none"/>
                </a:ln>
                <a:effectLst/>
              </p:spPr>
            </p:cxnSp>
            <p:sp>
              <p:nvSpPr>
                <p:cNvPr id="14" name="Oval 13">
                  <a:extLst>
                    <a:ext uri="{FF2B5EF4-FFF2-40B4-BE49-F238E27FC236}">
                      <a16:creationId xmlns:a16="http://schemas.microsoft.com/office/drawing/2014/main" id="{B3FD2B9F-6BF6-4527-A6E8-0722C63A3A67}"/>
                    </a:ext>
                  </a:extLst>
                </p:cNvPr>
                <p:cNvSpPr/>
                <p:nvPr/>
              </p:nvSpPr>
              <p:spPr bwMode="auto">
                <a:xfrm>
                  <a:off x="2573581" y="3248112"/>
                  <a:ext cx="114865" cy="116544"/>
                </a:xfrm>
                <a:prstGeom prst="ellipse">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sp>
              <p:nvSpPr>
                <p:cNvPr id="15" name="Oval 14">
                  <a:extLst>
                    <a:ext uri="{FF2B5EF4-FFF2-40B4-BE49-F238E27FC236}">
                      <a16:creationId xmlns:a16="http://schemas.microsoft.com/office/drawing/2014/main" id="{F7B91590-6E40-44CF-9232-4C9BBC6D3887}"/>
                    </a:ext>
                  </a:extLst>
                </p:cNvPr>
                <p:cNvSpPr/>
                <p:nvPr/>
              </p:nvSpPr>
              <p:spPr bwMode="auto">
                <a:xfrm>
                  <a:off x="3112870" y="3253396"/>
                  <a:ext cx="104448" cy="105974"/>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cxnSp>
              <p:nvCxnSpPr>
                <p:cNvPr id="16" name="Straight Connector 15">
                  <a:extLst>
                    <a:ext uri="{FF2B5EF4-FFF2-40B4-BE49-F238E27FC236}">
                      <a16:creationId xmlns:a16="http://schemas.microsoft.com/office/drawing/2014/main" id="{36BE2259-73DD-4ED1-B3F0-E0E1298DA6B9}"/>
                    </a:ext>
                  </a:extLst>
                </p:cNvPr>
                <p:cNvCxnSpPr>
                  <a:cxnSpLocks/>
                </p:cNvCxnSpPr>
                <p:nvPr/>
              </p:nvCxnSpPr>
              <p:spPr>
                <a:xfrm>
                  <a:off x="2688446" y="3460548"/>
                  <a:ext cx="424425" cy="0"/>
                </a:xfrm>
                <a:prstGeom prst="line">
                  <a:avLst/>
                </a:prstGeom>
                <a:noFill/>
                <a:ln w="12700" cap="flat" cmpd="sng" algn="ctr">
                  <a:solidFill>
                    <a:schemeClr val="tx1"/>
                  </a:solidFill>
                  <a:prstDash val="sysDot"/>
                  <a:miter lim="800000"/>
                  <a:headEnd type="none"/>
                  <a:tailEnd type="none"/>
                </a:ln>
                <a:effectLst/>
              </p:spPr>
            </p:cxnSp>
            <p:sp>
              <p:nvSpPr>
                <p:cNvPr id="17" name="Oval 16">
                  <a:extLst>
                    <a:ext uri="{FF2B5EF4-FFF2-40B4-BE49-F238E27FC236}">
                      <a16:creationId xmlns:a16="http://schemas.microsoft.com/office/drawing/2014/main" id="{FD93C7FB-E2F5-42C6-8908-39F6F4AEEF38}"/>
                    </a:ext>
                  </a:extLst>
                </p:cNvPr>
                <p:cNvSpPr/>
                <p:nvPr/>
              </p:nvSpPr>
              <p:spPr bwMode="auto">
                <a:xfrm>
                  <a:off x="2573581" y="3402277"/>
                  <a:ext cx="114865" cy="116544"/>
                </a:xfrm>
                <a:prstGeom prst="ellipse">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sp>
              <p:nvSpPr>
                <p:cNvPr id="18" name="Oval 17">
                  <a:extLst>
                    <a:ext uri="{FF2B5EF4-FFF2-40B4-BE49-F238E27FC236}">
                      <a16:creationId xmlns:a16="http://schemas.microsoft.com/office/drawing/2014/main" id="{6F702022-A8CF-4790-9E03-7F899CBEF75A}"/>
                    </a:ext>
                  </a:extLst>
                </p:cNvPr>
                <p:cNvSpPr/>
                <p:nvPr/>
              </p:nvSpPr>
              <p:spPr bwMode="auto">
                <a:xfrm>
                  <a:off x="3112870" y="3407561"/>
                  <a:ext cx="104448" cy="105974"/>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cxnSp>
              <p:nvCxnSpPr>
                <p:cNvPr id="19" name="Straight Connector 18">
                  <a:extLst>
                    <a:ext uri="{FF2B5EF4-FFF2-40B4-BE49-F238E27FC236}">
                      <a16:creationId xmlns:a16="http://schemas.microsoft.com/office/drawing/2014/main" id="{60AB46A1-D08C-4BD2-9020-71E55AC120BE}"/>
                    </a:ext>
                  </a:extLst>
                </p:cNvPr>
                <p:cNvCxnSpPr>
                  <a:cxnSpLocks/>
                </p:cNvCxnSpPr>
                <p:nvPr/>
              </p:nvCxnSpPr>
              <p:spPr>
                <a:xfrm>
                  <a:off x="2688446" y="3619357"/>
                  <a:ext cx="424425" cy="0"/>
                </a:xfrm>
                <a:prstGeom prst="line">
                  <a:avLst/>
                </a:prstGeom>
                <a:noFill/>
                <a:ln w="12700" cap="flat" cmpd="sng" algn="ctr">
                  <a:solidFill>
                    <a:schemeClr val="tx1"/>
                  </a:solidFill>
                  <a:prstDash val="sysDot"/>
                  <a:miter lim="800000"/>
                  <a:headEnd type="none"/>
                  <a:tailEnd type="none"/>
                </a:ln>
                <a:effectLst/>
              </p:spPr>
            </p:cxnSp>
            <p:sp>
              <p:nvSpPr>
                <p:cNvPr id="20" name="Oval 19">
                  <a:extLst>
                    <a:ext uri="{FF2B5EF4-FFF2-40B4-BE49-F238E27FC236}">
                      <a16:creationId xmlns:a16="http://schemas.microsoft.com/office/drawing/2014/main" id="{7AAC53CD-882F-4ABC-BD0E-41C8C2788F67}"/>
                    </a:ext>
                  </a:extLst>
                </p:cNvPr>
                <p:cNvSpPr/>
                <p:nvPr/>
              </p:nvSpPr>
              <p:spPr bwMode="auto">
                <a:xfrm>
                  <a:off x="2573581" y="3561085"/>
                  <a:ext cx="114865" cy="116544"/>
                </a:xfrm>
                <a:prstGeom prst="ellipse">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sp>
              <p:nvSpPr>
                <p:cNvPr id="21" name="Oval 20">
                  <a:extLst>
                    <a:ext uri="{FF2B5EF4-FFF2-40B4-BE49-F238E27FC236}">
                      <a16:creationId xmlns:a16="http://schemas.microsoft.com/office/drawing/2014/main" id="{908B9D8E-1062-4FE6-9EE7-75477FED1573}"/>
                    </a:ext>
                  </a:extLst>
                </p:cNvPr>
                <p:cNvSpPr/>
                <p:nvPr/>
              </p:nvSpPr>
              <p:spPr bwMode="auto">
                <a:xfrm>
                  <a:off x="3112870" y="3566370"/>
                  <a:ext cx="104448" cy="105974"/>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grpSp>
          <p:sp>
            <p:nvSpPr>
              <p:cNvPr id="11" name="TextBox 10">
                <a:extLst>
                  <a:ext uri="{FF2B5EF4-FFF2-40B4-BE49-F238E27FC236}">
                    <a16:creationId xmlns:a16="http://schemas.microsoft.com/office/drawing/2014/main" id="{FA8B38AE-080B-44E0-BE19-63113CEE57B2}"/>
                  </a:ext>
                </a:extLst>
              </p:cNvPr>
              <p:cNvSpPr txBox="1"/>
              <p:nvPr/>
            </p:nvSpPr>
            <p:spPr>
              <a:xfrm>
                <a:off x="3203733" y="3575980"/>
                <a:ext cx="880559" cy="391117"/>
              </a:xfrm>
              <a:prstGeom prst="rect">
                <a:avLst/>
              </a:prstGeom>
              <a:noFill/>
            </p:spPr>
            <p:txBody>
              <a:bodyPr wrap="none" lIns="91440" rtlCol="0">
                <a:spAutoFit/>
              </a:bodyPr>
              <a:lstStyle/>
              <a:p>
                <a:pPr algn="ctr">
                  <a:defRPr/>
                </a:pPr>
                <a:r>
                  <a:rPr lang="en-US" sz="900">
                    <a:solidFill>
                      <a:srgbClr val="0078D7"/>
                    </a:solidFill>
                    <a:latin typeface="Segoe UI Semibold" panose="020B0702040204020203" pitchFamily="34" charset="0"/>
                    <a:cs typeface="Segoe UI Semibold" panose="020B0702040204020203" pitchFamily="34" charset="0"/>
                  </a:rPr>
                  <a:t>Tables</a:t>
                </a:r>
              </a:p>
            </p:txBody>
          </p:sp>
        </p:grpSp>
        <p:grpSp>
          <p:nvGrpSpPr>
            <p:cNvPr id="121" name="Group 120">
              <a:extLst>
                <a:ext uri="{FF2B5EF4-FFF2-40B4-BE49-F238E27FC236}">
                  <a16:creationId xmlns:a16="http://schemas.microsoft.com/office/drawing/2014/main" id="{9036448A-25E7-4247-82EC-31C0586018CD}"/>
                </a:ext>
              </a:extLst>
            </p:cNvPr>
            <p:cNvGrpSpPr>
              <a:grpSpLocks noChangeAspect="1"/>
            </p:cNvGrpSpPr>
            <p:nvPr/>
          </p:nvGrpSpPr>
          <p:grpSpPr>
            <a:xfrm>
              <a:off x="9732626" y="3025349"/>
              <a:ext cx="554960" cy="510316"/>
              <a:chOff x="8644574" y="3156797"/>
              <a:chExt cx="792910" cy="729125"/>
            </a:xfrm>
          </p:grpSpPr>
          <p:grpSp>
            <p:nvGrpSpPr>
              <p:cNvPr id="5" name="Group 4">
                <a:extLst>
                  <a:ext uri="{FF2B5EF4-FFF2-40B4-BE49-F238E27FC236}">
                    <a16:creationId xmlns:a16="http://schemas.microsoft.com/office/drawing/2014/main" id="{AE54E7CB-49FE-442E-9116-521E9B4EAC40}"/>
                  </a:ext>
                </a:extLst>
              </p:cNvPr>
              <p:cNvGrpSpPr/>
              <p:nvPr/>
            </p:nvGrpSpPr>
            <p:grpSpPr>
              <a:xfrm>
                <a:off x="8667216" y="3156797"/>
                <a:ext cx="586303" cy="377163"/>
                <a:chOff x="7117181" y="5146654"/>
                <a:chExt cx="663064" cy="426544"/>
              </a:xfrm>
              <a:solidFill>
                <a:schemeClr val="tx2"/>
              </a:solidFill>
            </p:grpSpPr>
            <p:sp>
              <p:nvSpPr>
                <p:cNvPr id="40" name="Oval 39">
                  <a:extLst>
                    <a:ext uri="{FF2B5EF4-FFF2-40B4-BE49-F238E27FC236}">
                      <a16:creationId xmlns:a16="http://schemas.microsoft.com/office/drawing/2014/main" id="{A2645E78-9076-45A2-96FF-C6DB2B5EAB97}"/>
                    </a:ext>
                  </a:extLst>
                </p:cNvPr>
                <p:cNvSpPr/>
                <p:nvPr/>
              </p:nvSpPr>
              <p:spPr bwMode="auto">
                <a:xfrm rot="715722">
                  <a:off x="7117181" y="5146654"/>
                  <a:ext cx="124646" cy="124646"/>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sp>
              <p:nvSpPr>
                <p:cNvPr id="41" name="Oval 40">
                  <a:extLst>
                    <a:ext uri="{FF2B5EF4-FFF2-40B4-BE49-F238E27FC236}">
                      <a16:creationId xmlns:a16="http://schemas.microsoft.com/office/drawing/2014/main" id="{59BB8D96-A772-457F-A5E0-A2AA1605971E}"/>
                    </a:ext>
                  </a:extLst>
                </p:cNvPr>
                <p:cNvSpPr/>
                <p:nvPr/>
              </p:nvSpPr>
              <p:spPr bwMode="auto">
                <a:xfrm>
                  <a:off x="7476127" y="5224668"/>
                  <a:ext cx="124646" cy="124646"/>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sp>
              <p:nvSpPr>
                <p:cNvPr id="42" name="Oval 41">
                  <a:extLst>
                    <a:ext uri="{FF2B5EF4-FFF2-40B4-BE49-F238E27FC236}">
                      <a16:creationId xmlns:a16="http://schemas.microsoft.com/office/drawing/2014/main" id="{5A4EFB87-857D-4EB1-BF8C-F7A136F2ACEF}"/>
                    </a:ext>
                  </a:extLst>
                </p:cNvPr>
                <p:cNvSpPr/>
                <p:nvPr/>
              </p:nvSpPr>
              <p:spPr bwMode="auto">
                <a:xfrm>
                  <a:off x="7296654" y="5448552"/>
                  <a:ext cx="124646" cy="124646"/>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sp>
              <p:nvSpPr>
                <p:cNvPr id="43" name="Oval 42">
                  <a:extLst>
                    <a:ext uri="{FF2B5EF4-FFF2-40B4-BE49-F238E27FC236}">
                      <a16:creationId xmlns:a16="http://schemas.microsoft.com/office/drawing/2014/main" id="{CEFEA834-0B6A-422B-9825-90C530969C3E}"/>
                    </a:ext>
                  </a:extLst>
                </p:cNvPr>
                <p:cNvSpPr/>
                <p:nvPr/>
              </p:nvSpPr>
              <p:spPr bwMode="auto">
                <a:xfrm>
                  <a:off x="7655599" y="5448552"/>
                  <a:ext cx="124646" cy="124646"/>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cxnSp>
              <p:nvCxnSpPr>
                <p:cNvPr id="44" name="Straight Connector 43">
                  <a:extLst>
                    <a:ext uri="{FF2B5EF4-FFF2-40B4-BE49-F238E27FC236}">
                      <a16:creationId xmlns:a16="http://schemas.microsoft.com/office/drawing/2014/main" id="{A0ADD767-B417-41B0-8350-F79A837DFB23}"/>
                    </a:ext>
                  </a:extLst>
                </p:cNvPr>
                <p:cNvCxnSpPr>
                  <a:cxnSpLocks/>
                </p:cNvCxnSpPr>
                <p:nvPr/>
              </p:nvCxnSpPr>
              <p:spPr>
                <a:xfrm>
                  <a:off x="7240481" y="5221859"/>
                  <a:ext cx="235646" cy="65132"/>
                </a:xfrm>
                <a:prstGeom prst="line">
                  <a:avLst/>
                </a:prstGeom>
                <a:grpFill/>
                <a:ln w="12700" cap="flat" cmpd="sng" algn="ctr">
                  <a:solidFill>
                    <a:schemeClr val="tx1"/>
                  </a:solidFill>
                  <a:prstDash val="sysDot"/>
                  <a:miter lim="800000"/>
                  <a:headEnd type="none"/>
                  <a:tailEnd type="none"/>
                </a:ln>
                <a:effectLst/>
              </p:spPr>
            </p:cxnSp>
            <p:cxnSp>
              <p:nvCxnSpPr>
                <p:cNvPr id="45" name="Straight Connector 44">
                  <a:extLst>
                    <a:ext uri="{FF2B5EF4-FFF2-40B4-BE49-F238E27FC236}">
                      <a16:creationId xmlns:a16="http://schemas.microsoft.com/office/drawing/2014/main" id="{BAC6B8F2-33CF-41D2-91A3-57E98A83E4E4}"/>
                    </a:ext>
                  </a:extLst>
                </p:cNvPr>
                <p:cNvCxnSpPr>
                  <a:cxnSpLocks/>
                </p:cNvCxnSpPr>
                <p:nvPr/>
              </p:nvCxnSpPr>
              <p:spPr>
                <a:xfrm>
                  <a:off x="7421300" y="5510875"/>
                  <a:ext cx="234299" cy="0"/>
                </a:xfrm>
                <a:prstGeom prst="line">
                  <a:avLst/>
                </a:prstGeom>
                <a:grpFill/>
                <a:ln w="12700" cap="flat" cmpd="sng" algn="ctr">
                  <a:solidFill>
                    <a:schemeClr val="tx1"/>
                  </a:solidFill>
                  <a:prstDash val="sysDot"/>
                  <a:miter lim="800000"/>
                  <a:headEnd type="none"/>
                  <a:tailEnd type="none"/>
                </a:ln>
                <a:effectLst/>
              </p:spPr>
            </p:cxnSp>
            <p:cxnSp>
              <p:nvCxnSpPr>
                <p:cNvPr id="46" name="Straight Connector 45">
                  <a:extLst>
                    <a:ext uri="{FF2B5EF4-FFF2-40B4-BE49-F238E27FC236}">
                      <a16:creationId xmlns:a16="http://schemas.microsoft.com/office/drawing/2014/main" id="{56E67412-02E8-43E1-8448-CE5A0FD99A9B}"/>
                    </a:ext>
                  </a:extLst>
                </p:cNvPr>
                <p:cNvCxnSpPr>
                  <a:cxnSpLocks/>
                </p:cNvCxnSpPr>
                <p:nvPr/>
              </p:nvCxnSpPr>
              <p:spPr>
                <a:xfrm>
                  <a:off x="7582519" y="5331060"/>
                  <a:ext cx="91334" cy="135746"/>
                </a:xfrm>
                <a:prstGeom prst="line">
                  <a:avLst/>
                </a:prstGeom>
                <a:grpFill/>
                <a:ln w="12700" cap="flat" cmpd="sng" algn="ctr">
                  <a:solidFill>
                    <a:schemeClr val="tx1"/>
                  </a:solidFill>
                  <a:prstDash val="sysDot"/>
                  <a:miter lim="800000"/>
                  <a:headEnd type="none"/>
                  <a:tailEnd type="none"/>
                </a:ln>
                <a:effectLst/>
              </p:spPr>
            </p:cxnSp>
            <p:cxnSp>
              <p:nvCxnSpPr>
                <p:cNvPr id="47" name="Straight Connector 46">
                  <a:extLst>
                    <a:ext uri="{FF2B5EF4-FFF2-40B4-BE49-F238E27FC236}">
                      <a16:creationId xmlns:a16="http://schemas.microsoft.com/office/drawing/2014/main" id="{011FF54B-AA43-4323-AB02-F4E363083E01}"/>
                    </a:ext>
                  </a:extLst>
                </p:cNvPr>
                <p:cNvCxnSpPr>
                  <a:cxnSpLocks/>
                </p:cNvCxnSpPr>
                <p:nvPr/>
              </p:nvCxnSpPr>
              <p:spPr>
                <a:xfrm flipV="1">
                  <a:off x="7403046" y="5331060"/>
                  <a:ext cx="91335" cy="135746"/>
                </a:xfrm>
                <a:prstGeom prst="line">
                  <a:avLst/>
                </a:prstGeom>
                <a:grpFill/>
                <a:ln w="12700" cap="flat" cmpd="sng" algn="ctr">
                  <a:solidFill>
                    <a:schemeClr val="tx1"/>
                  </a:solidFill>
                  <a:prstDash val="sysDot"/>
                  <a:miter lim="800000"/>
                  <a:headEnd type="none"/>
                  <a:tailEnd type="none"/>
                </a:ln>
                <a:effectLst/>
              </p:spPr>
            </p:cxnSp>
          </p:grpSp>
          <p:sp>
            <p:nvSpPr>
              <p:cNvPr id="12" name="TextBox 11">
                <a:extLst>
                  <a:ext uri="{FF2B5EF4-FFF2-40B4-BE49-F238E27FC236}">
                    <a16:creationId xmlns:a16="http://schemas.microsoft.com/office/drawing/2014/main" id="{2D5439DB-298F-4583-8994-06523662E652}"/>
                  </a:ext>
                </a:extLst>
              </p:cNvPr>
              <p:cNvSpPr txBox="1"/>
              <p:nvPr/>
            </p:nvSpPr>
            <p:spPr>
              <a:xfrm>
                <a:off x="8644574" y="3556116"/>
                <a:ext cx="792910" cy="329806"/>
              </a:xfrm>
              <a:prstGeom prst="rect">
                <a:avLst/>
              </a:prstGeom>
              <a:noFill/>
            </p:spPr>
            <p:txBody>
              <a:bodyPr wrap="none" lIns="91440" rtlCol="0">
                <a:spAutoFit/>
              </a:bodyPr>
              <a:lstStyle/>
              <a:p>
                <a:pPr algn="ctr">
                  <a:defRPr/>
                </a:pPr>
                <a:r>
                  <a:rPr lang="en-US" sz="900">
                    <a:solidFill>
                      <a:srgbClr val="0078D7"/>
                    </a:solidFill>
                    <a:latin typeface="Segoe UI Semibold" panose="020B0702040204020203" pitchFamily="34" charset="0"/>
                    <a:cs typeface="Segoe UI Semibold" panose="020B0702040204020203" pitchFamily="34" charset="0"/>
                  </a:rPr>
                  <a:t>Graphs</a:t>
                </a:r>
              </a:p>
            </p:txBody>
          </p:sp>
        </p:grpSp>
      </p:grpSp>
      <p:cxnSp>
        <p:nvCxnSpPr>
          <p:cNvPr id="114" name="Connector: Elbow 113">
            <a:extLst>
              <a:ext uri="{FF2B5EF4-FFF2-40B4-BE49-F238E27FC236}">
                <a16:creationId xmlns:a16="http://schemas.microsoft.com/office/drawing/2014/main" id="{F7D00F28-4F5A-4819-982A-30A6FA51F4BB}"/>
              </a:ext>
            </a:extLst>
          </p:cNvPr>
          <p:cNvCxnSpPr>
            <a:stCxn id="11" idx="2"/>
            <a:endCxn id="12" idx="2"/>
          </p:cNvCxnSpPr>
          <p:nvPr/>
        </p:nvCxnSpPr>
        <p:spPr>
          <a:xfrm rot="5400000" flipH="1" flipV="1">
            <a:off x="5725604" y="2328561"/>
            <a:ext cx="13929" cy="2153462"/>
          </a:xfrm>
          <a:prstGeom prst="bentConnector3">
            <a:avLst>
              <a:gd name="adj1" fmla="val -1641180"/>
            </a:avLst>
          </a:prstGeom>
          <a:ln w="19050">
            <a:solidFill>
              <a:schemeClr val="bg1">
                <a:lumMod val="50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44" name="Connector: Elbow 143">
            <a:extLst>
              <a:ext uri="{FF2B5EF4-FFF2-40B4-BE49-F238E27FC236}">
                <a16:creationId xmlns:a16="http://schemas.microsoft.com/office/drawing/2014/main" id="{62A7D338-C7A4-4FC4-B7D9-1BFCF03135A5}"/>
              </a:ext>
            </a:extLst>
          </p:cNvPr>
          <p:cNvCxnSpPr>
            <a:cxnSpLocks/>
          </p:cNvCxnSpPr>
          <p:nvPr/>
        </p:nvCxnSpPr>
        <p:spPr>
          <a:xfrm rot="5400000" flipH="1" flipV="1">
            <a:off x="5725606" y="1728625"/>
            <a:ext cx="13929" cy="2153462"/>
          </a:xfrm>
          <a:prstGeom prst="bentConnector3">
            <a:avLst>
              <a:gd name="adj1" fmla="val 1741180"/>
            </a:avLst>
          </a:prstGeom>
          <a:ln w="19050">
            <a:solidFill>
              <a:schemeClr val="bg1">
                <a:lumMod val="50000"/>
              </a:schemeClr>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78F6F80A-BF4C-4CE1-B09B-419A833F743F}"/>
              </a:ext>
            </a:extLst>
          </p:cNvPr>
          <p:cNvGrpSpPr/>
          <p:nvPr/>
        </p:nvGrpSpPr>
        <p:grpSpPr>
          <a:xfrm>
            <a:off x="949812" y="4343460"/>
            <a:ext cx="3749040" cy="1986808"/>
            <a:chOff x="949812" y="4114860"/>
            <a:chExt cx="3749040" cy="1986808"/>
          </a:xfrm>
        </p:grpSpPr>
        <p:sp>
          <p:nvSpPr>
            <p:cNvPr id="117" name="Cylinder 513">
              <a:extLst>
                <a:ext uri="{FF2B5EF4-FFF2-40B4-BE49-F238E27FC236}">
                  <a16:creationId xmlns:a16="http://schemas.microsoft.com/office/drawing/2014/main" id="{8B8E3569-BDB7-4A8F-A5BC-C675F3F93079}"/>
                </a:ext>
              </a:extLst>
            </p:cNvPr>
            <p:cNvSpPr/>
            <p:nvPr/>
          </p:nvSpPr>
          <p:spPr bwMode="auto">
            <a:xfrm>
              <a:off x="2633790" y="4114860"/>
              <a:ext cx="381083" cy="357484"/>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a:solidFill>
                  <a:srgbClr val="0078D7"/>
                </a:solidFill>
                <a:latin typeface="Segoe UI Light"/>
                <a:ea typeface="Segoe UI" pitchFamily="34" charset="0"/>
                <a:cs typeface="Segoe UI" pitchFamily="34" charset="0"/>
              </a:endParaRPr>
            </a:p>
          </p:txBody>
        </p:sp>
        <p:grpSp>
          <p:nvGrpSpPr>
            <p:cNvPr id="67" name="Group 66">
              <a:extLst>
                <a:ext uri="{FF2B5EF4-FFF2-40B4-BE49-F238E27FC236}">
                  <a16:creationId xmlns:a16="http://schemas.microsoft.com/office/drawing/2014/main" id="{93E9D72B-D275-41A5-B45B-420882CFA457}"/>
                </a:ext>
              </a:extLst>
            </p:cNvPr>
            <p:cNvGrpSpPr>
              <a:grpSpLocks noChangeAspect="1"/>
            </p:cNvGrpSpPr>
            <p:nvPr/>
          </p:nvGrpSpPr>
          <p:grpSpPr>
            <a:xfrm>
              <a:off x="1103900" y="5190511"/>
              <a:ext cx="457200" cy="457200"/>
              <a:chOff x="678426" y="2868561"/>
              <a:chExt cx="811162" cy="811162"/>
            </a:xfrm>
          </p:grpSpPr>
          <p:sp>
            <p:nvSpPr>
              <p:cNvPr id="68" name="Oval 67">
                <a:extLst>
                  <a:ext uri="{FF2B5EF4-FFF2-40B4-BE49-F238E27FC236}">
                    <a16:creationId xmlns:a16="http://schemas.microsoft.com/office/drawing/2014/main" id="{02403132-4E05-4059-B23D-F2EEDB44D4AC}"/>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9" name="Rectangle 68">
                <a:extLst>
                  <a:ext uri="{FF2B5EF4-FFF2-40B4-BE49-F238E27FC236}">
                    <a16:creationId xmlns:a16="http://schemas.microsoft.com/office/drawing/2014/main" id="{231D905F-FA86-454D-A87B-B41DFDF93512}"/>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70" name="Rectangle 69">
                <a:extLst>
                  <a:ext uri="{FF2B5EF4-FFF2-40B4-BE49-F238E27FC236}">
                    <a16:creationId xmlns:a16="http://schemas.microsoft.com/office/drawing/2014/main" id="{EC69BED5-B30A-4E21-9518-615C02B6448B}"/>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71" name="Rectangle 70">
                <a:extLst>
                  <a:ext uri="{FF2B5EF4-FFF2-40B4-BE49-F238E27FC236}">
                    <a16:creationId xmlns:a16="http://schemas.microsoft.com/office/drawing/2014/main" id="{E787D04A-EA41-4EA3-BEDA-DC33E3398F7C}"/>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72" name="Rectangle 71">
                <a:extLst>
                  <a:ext uri="{FF2B5EF4-FFF2-40B4-BE49-F238E27FC236}">
                    <a16:creationId xmlns:a16="http://schemas.microsoft.com/office/drawing/2014/main" id="{45A3B903-29E0-4265-AFE1-FECF95F826DE}"/>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73" name="Connector: Curved 72">
                <a:extLst>
                  <a:ext uri="{FF2B5EF4-FFF2-40B4-BE49-F238E27FC236}">
                    <a16:creationId xmlns:a16="http://schemas.microsoft.com/office/drawing/2014/main" id="{5CA15B8D-FF4E-47BA-9F3D-A15B93EE771A}"/>
                  </a:ext>
                </a:extLst>
              </p:cNvPr>
              <p:cNvCxnSpPr>
                <a:stCxn id="69" idx="3"/>
                <a:endCxn id="70"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74" name="Connector: Curved 73">
                <a:extLst>
                  <a:ext uri="{FF2B5EF4-FFF2-40B4-BE49-F238E27FC236}">
                    <a16:creationId xmlns:a16="http://schemas.microsoft.com/office/drawing/2014/main" id="{6A4565C9-5B69-4E52-B8B9-13B50B0E44DF}"/>
                  </a:ext>
                </a:extLst>
              </p:cNvPr>
              <p:cNvCxnSpPr>
                <a:cxnSpLocks/>
                <a:stCxn id="69" idx="3"/>
                <a:endCxn id="71"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75" name="Connector: Curved 74">
                <a:extLst>
                  <a:ext uri="{FF2B5EF4-FFF2-40B4-BE49-F238E27FC236}">
                    <a16:creationId xmlns:a16="http://schemas.microsoft.com/office/drawing/2014/main" id="{15EE9A63-8F37-43E0-BB31-97516C9B6F41}"/>
                  </a:ext>
                </a:extLst>
              </p:cNvPr>
              <p:cNvCxnSpPr>
                <a:cxnSpLocks/>
                <a:stCxn id="69" idx="3"/>
                <a:endCxn id="72"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sp>
          <p:nvSpPr>
            <p:cNvPr id="130" name="TextBox 129">
              <a:extLst>
                <a:ext uri="{FF2B5EF4-FFF2-40B4-BE49-F238E27FC236}">
                  <a16:creationId xmlns:a16="http://schemas.microsoft.com/office/drawing/2014/main" id="{ECBBBFF1-82BE-454C-A417-9532F36EE56A}"/>
                </a:ext>
              </a:extLst>
            </p:cNvPr>
            <p:cNvSpPr txBox="1"/>
            <p:nvPr/>
          </p:nvSpPr>
          <p:spPr>
            <a:xfrm>
              <a:off x="2475518" y="4501395"/>
              <a:ext cx="697627" cy="230832"/>
            </a:xfrm>
            <a:prstGeom prst="rect">
              <a:avLst/>
            </a:prstGeom>
            <a:noFill/>
          </p:spPr>
          <p:txBody>
            <a:bodyPr wrap="none" lIns="91440" rtlCol="0">
              <a:spAutoFit/>
            </a:bodyPr>
            <a:lstStyle/>
            <a:p>
              <a:pPr algn="ctr">
                <a:defRPr/>
              </a:pPr>
              <a:r>
                <a:rPr lang="en-US" sz="900" dirty="0">
                  <a:solidFill>
                    <a:srgbClr val="0078D7"/>
                  </a:solidFill>
                  <a:latin typeface="Segoe UI Semibold" panose="020B0702040204020203" pitchFamily="34" charset="0"/>
                  <a:cs typeface="Segoe UI Semibold" panose="020B0702040204020203" pitchFamily="34" charset="0"/>
                </a:rPr>
                <a:t>Container</a:t>
              </a:r>
            </a:p>
          </p:txBody>
        </p:sp>
        <p:sp>
          <p:nvSpPr>
            <p:cNvPr id="131" name="Right Bracket 130">
              <a:extLst>
                <a:ext uri="{FF2B5EF4-FFF2-40B4-BE49-F238E27FC236}">
                  <a16:creationId xmlns:a16="http://schemas.microsoft.com/office/drawing/2014/main" id="{73577B31-FFEA-4807-9ABB-EC7172AD59E1}"/>
                </a:ext>
              </a:extLst>
            </p:cNvPr>
            <p:cNvSpPr/>
            <p:nvPr/>
          </p:nvSpPr>
          <p:spPr>
            <a:xfrm rot="5400000" flipV="1">
              <a:off x="2775142" y="3839050"/>
              <a:ext cx="98379" cy="3749040"/>
            </a:xfrm>
            <a:prstGeom prst="rightBracket">
              <a:avLst/>
            </a:prstGeom>
            <a:ln w="190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defRPr/>
              </a:pPr>
              <a:endParaRPr lang="en-US">
                <a:solidFill>
                  <a:srgbClr val="505050"/>
                </a:solidFill>
                <a:latin typeface="Segoe UI Semilight"/>
              </a:endParaRPr>
            </a:p>
          </p:txBody>
        </p:sp>
        <p:sp>
          <p:nvSpPr>
            <p:cNvPr id="132" name="TextBox 131">
              <a:extLst>
                <a:ext uri="{FF2B5EF4-FFF2-40B4-BE49-F238E27FC236}">
                  <a16:creationId xmlns:a16="http://schemas.microsoft.com/office/drawing/2014/main" id="{C4AA1559-A225-4AB7-B100-316DACFD5EFF}"/>
                </a:ext>
              </a:extLst>
            </p:cNvPr>
            <p:cNvSpPr txBox="1"/>
            <p:nvPr/>
          </p:nvSpPr>
          <p:spPr>
            <a:xfrm>
              <a:off x="2226252" y="5870836"/>
              <a:ext cx="1196161" cy="230832"/>
            </a:xfrm>
            <a:prstGeom prst="rect">
              <a:avLst/>
            </a:prstGeom>
            <a:noFill/>
          </p:spPr>
          <p:txBody>
            <a:bodyPr wrap="none" lIns="91440" rtlCol="0">
              <a:spAutoFit/>
            </a:bodyPr>
            <a:lstStyle/>
            <a:p>
              <a:pPr algn="ctr">
                <a:defRPr/>
              </a:pPr>
              <a:r>
                <a:rPr lang="en-US" sz="900">
                  <a:solidFill>
                    <a:srgbClr val="0078D7"/>
                  </a:solidFill>
                  <a:latin typeface="Segoe UI Semibold" panose="020B0702040204020203" pitchFamily="34" charset="0"/>
                  <a:cs typeface="Segoe UI Semibold" panose="020B0702040204020203" pitchFamily="34" charset="0"/>
                </a:rPr>
                <a:t>Resource Partitions</a:t>
              </a:r>
            </a:p>
          </p:txBody>
        </p:sp>
        <p:cxnSp>
          <p:nvCxnSpPr>
            <p:cNvPr id="163" name="Straight Arrow Connector 162">
              <a:extLst>
                <a:ext uri="{FF2B5EF4-FFF2-40B4-BE49-F238E27FC236}">
                  <a16:creationId xmlns:a16="http://schemas.microsoft.com/office/drawing/2014/main" id="{46B0B352-FE46-4D07-B711-F75781955A71}"/>
                </a:ext>
              </a:extLst>
            </p:cNvPr>
            <p:cNvCxnSpPr>
              <a:cxnSpLocks/>
            </p:cNvCxnSpPr>
            <p:nvPr/>
          </p:nvCxnSpPr>
          <p:spPr>
            <a:xfrm>
              <a:off x="2824332" y="4738631"/>
              <a:ext cx="0" cy="410443"/>
            </a:xfrm>
            <a:prstGeom prst="straightConnector1">
              <a:avLst/>
            </a:prstGeom>
            <a:ln w="19050">
              <a:solidFill>
                <a:schemeClr val="bg1">
                  <a:lumMod val="5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51" name="Connector: Elbow 150">
              <a:extLst>
                <a:ext uri="{FF2B5EF4-FFF2-40B4-BE49-F238E27FC236}">
                  <a16:creationId xmlns:a16="http://schemas.microsoft.com/office/drawing/2014/main" id="{02D3E6C0-61FE-4A6A-BC6A-08247DB929C5}"/>
                </a:ext>
              </a:extLst>
            </p:cNvPr>
            <p:cNvCxnSpPr>
              <a:cxnSpLocks/>
            </p:cNvCxnSpPr>
            <p:nvPr/>
          </p:nvCxnSpPr>
          <p:spPr>
            <a:xfrm rot="5400000" flipH="1" flipV="1">
              <a:off x="2817367" y="4443633"/>
              <a:ext cx="13929" cy="1337131"/>
            </a:xfrm>
            <a:prstGeom prst="bentConnector3">
              <a:avLst>
                <a:gd name="adj1" fmla="val 1741180"/>
              </a:avLst>
            </a:prstGeom>
            <a:ln w="19050">
              <a:solidFill>
                <a:schemeClr val="bg1">
                  <a:lumMod val="50000"/>
                </a:schemeClr>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23" name="Group 122">
              <a:extLst>
                <a:ext uri="{FF2B5EF4-FFF2-40B4-BE49-F238E27FC236}">
                  <a16:creationId xmlns:a16="http://schemas.microsoft.com/office/drawing/2014/main" id="{4C9084AA-BD57-4BB6-B39C-F7A8CD0C2B06}"/>
                </a:ext>
              </a:extLst>
            </p:cNvPr>
            <p:cNvGrpSpPr>
              <a:grpSpLocks noChangeAspect="1"/>
            </p:cNvGrpSpPr>
            <p:nvPr/>
          </p:nvGrpSpPr>
          <p:grpSpPr>
            <a:xfrm>
              <a:off x="1700633" y="5190511"/>
              <a:ext cx="457200" cy="457200"/>
              <a:chOff x="678426" y="2868561"/>
              <a:chExt cx="811162" cy="811162"/>
            </a:xfrm>
          </p:grpSpPr>
          <p:sp>
            <p:nvSpPr>
              <p:cNvPr id="124" name="Oval 123">
                <a:extLst>
                  <a:ext uri="{FF2B5EF4-FFF2-40B4-BE49-F238E27FC236}">
                    <a16:creationId xmlns:a16="http://schemas.microsoft.com/office/drawing/2014/main" id="{F1D469D5-8191-45BA-B275-23110970FB5A}"/>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5" name="Rectangle 124">
                <a:extLst>
                  <a:ext uri="{FF2B5EF4-FFF2-40B4-BE49-F238E27FC236}">
                    <a16:creationId xmlns:a16="http://schemas.microsoft.com/office/drawing/2014/main" id="{792430B9-623E-4F3A-A058-564D7E33A74C}"/>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26" name="Rectangle 125">
                <a:extLst>
                  <a:ext uri="{FF2B5EF4-FFF2-40B4-BE49-F238E27FC236}">
                    <a16:creationId xmlns:a16="http://schemas.microsoft.com/office/drawing/2014/main" id="{28030C76-C4C0-4049-ACE5-5D0C817EB055}"/>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27" name="Rectangle 126">
                <a:extLst>
                  <a:ext uri="{FF2B5EF4-FFF2-40B4-BE49-F238E27FC236}">
                    <a16:creationId xmlns:a16="http://schemas.microsoft.com/office/drawing/2014/main" id="{7D314E13-9EC7-45AE-BFF3-4316F6EC984A}"/>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28" name="Rectangle 127">
                <a:extLst>
                  <a:ext uri="{FF2B5EF4-FFF2-40B4-BE49-F238E27FC236}">
                    <a16:creationId xmlns:a16="http://schemas.microsoft.com/office/drawing/2014/main" id="{22127C56-0E0E-4D98-8D2B-E4AE1B419E3C}"/>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129" name="Connector: Curved 128">
                <a:extLst>
                  <a:ext uri="{FF2B5EF4-FFF2-40B4-BE49-F238E27FC236}">
                    <a16:creationId xmlns:a16="http://schemas.microsoft.com/office/drawing/2014/main" id="{2C0383EF-51D9-4C1C-9FE5-874D254EE55A}"/>
                  </a:ext>
                </a:extLst>
              </p:cNvPr>
              <p:cNvCxnSpPr>
                <a:stCxn id="125" idx="3"/>
                <a:endCxn id="126"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133" name="Connector: Curved 132">
                <a:extLst>
                  <a:ext uri="{FF2B5EF4-FFF2-40B4-BE49-F238E27FC236}">
                    <a16:creationId xmlns:a16="http://schemas.microsoft.com/office/drawing/2014/main" id="{20B19020-9B96-41C2-A511-E36615F97B65}"/>
                  </a:ext>
                </a:extLst>
              </p:cNvPr>
              <p:cNvCxnSpPr>
                <a:cxnSpLocks/>
                <a:stCxn id="125" idx="3"/>
                <a:endCxn id="127"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134" name="Connector: Curved 133">
                <a:extLst>
                  <a:ext uri="{FF2B5EF4-FFF2-40B4-BE49-F238E27FC236}">
                    <a16:creationId xmlns:a16="http://schemas.microsoft.com/office/drawing/2014/main" id="{A87AA096-9F11-4128-B412-E12608F98446}"/>
                  </a:ext>
                </a:extLst>
              </p:cNvPr>
              <p:cNvCxnSpPr>
                <a:cxnSpLocks/>
                <a:stCxn id="125" idx="3"/>
                <a:endCxn id="128"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grpSp>
          <p:nvGrpSpPr>
            <p:cNvPr id="135" name="Group 134">
              <a:extLst>
                <a:ext uri="{FF2B5EF4-FFF2-40B4-BE49-F238E27FC236}">
                  <a16:creationId xmlns:a16="http://schemas.microsoft.com/office/drawing/2014/main" id="{4482B5EE-0E9C-40BF-83C7-A4ABE4FE7CF1}"/>
                </a:ext>
              </a:extLst>
            </p:cNvPr>
            <p:cNvGrpSpPr>
              <a:grpSpLocks noChangeAspect="1"/>
            </p:cNvGrpSpPr>
            <p:nvPr/>
          </p:nvGrpSpPr>
          <p:grpSpPr>
            <a:xfrm>
              <a:off x="2297366" y="5190511"/>
              <a:ext cx="457200" cy="457200"/>
              <a:chOff x="678426" y="2868561"/>
              <a:chExt cx="811162" cy="811162"/>
            </a:xfrm>
          </p:grpSpPr>
          <p:sp>
            <p:nvSpPr>
              <p:cNvPr id="136" name="Oval 135">
                <a:extLst>
                  <a:ext uri="{FF2B5EF4-FFF2-40B4-BE49-F238E27FC236}">
                    <a16:creationId xmlns:a16="http://schemas.microsoft.com/office/drawing/2014/main" id="{5187C637-5CAB-4127-B457-2CAB30DED790}"/>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9" name="Rectangle 138">
                <a:extLst>
                  <a:ext uri="{FF2B5EF4-FFF2-40B4-BE49-F238E27FC236}">
                    <a16:creationId xmlns:a16="http://schemas.microsoft.com/office/drawing/2014/main" id="{620B9502-F05E-45A4-8A9B-B1B1471F980C}"/>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40" name="Rectangle 139">
                <a:extLst>
                  <a:ext uri="{FF2B5EF4-FFF2-40B4-BE49-F238E27FC236}">
                    <a16:creationId xmlns:a16="http://schemas.microsoft.com/office/drawing/2014/main" id="{5E75A8CB-7280-4146-9E6F-D4B224900EE2}"/>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42" name="Rectangle 141">
                <a:extLst>
                  <a:ext uri="{FF2B5EF4-FFF2-40B4-BE49-F238E27FC236}">
                    <a16:creationId xmlns:a16="http://schemas.microsoft.com/office/drawing/2014/main" id="{A0DD2998-36C7-4CBF-954D-F1F1DDFE53C7}"/>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43" name="Rectangle 142">
                <a:extLst>
                  <a:ext uri="{FF2B5EF4-FFF2-40B4-BE49-F238E27FC236}">
                    <a16:creationId xmlns:a16="http://schemas.microsoft.com/office/drawing/2014/main" id="{7078CC2E-40B3-4B3E-A7B5-DAA471A4FB41}"/>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145" name="Connector: Curved 144">
                <a:extLst>
                  <a:ext uri="{FF2B5EF4-FFF2-40B4-BE49-F238E27FC236}">
                    <a16:creationId xmlns:a16="http://schemas.microsoft.com/office/drawing/2014/main" id="{CFCFCBE9-0FC0-407A-885C-748EE78EC15C}"/>
                  </a:ext>
                </a:extLst>
              </p:cNvPr>
              <p:cNvCxnSpPr>
                <a:stCxn id="139" idx="3"/>
                <a:endCxn id="140"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147" name="Connector: Curved 146">
                <a:extLst>
                  <a:ext uri="{FF2B5EF4-FFF2-40B4-BE49-F238E27FC236}">
                    <a16:creationId xmlns:a16="http://schemas.microsoft.com/office/drawing/2014/main" id="{A201F2CB-105E-471B-A0E6-F3AD873669B2}"/>
                  </a:ext>
                </a:extLst>
              </p:cNvPr>
              <p:cNvCxnSpPr>
                <a:cxnSpLocks/>
                <a:stCxn id="139" idx="3"/>
                <a:endCxn id="142"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149" name="Connector: Curved 148">
                <a:extLst>
                  <a:ext uri="{FF2B5EF4-FFF2-40B4-BE49-F238E27FC236}">
                    <a16:creationId xmlns:a16="http://schemas.microsoft.com/office/drawing/2014/main" id="{91E6A889-05DD-4DF4-9ED2-9E60C6FF2685}"/>
                  </a:ext>
                </a:extLst>
              </p:cNvPr>
              <p:cNvCxnSpPr>
                <a:cxnSpLocks/>
                <a:stCxn id="139" idx="3"/>
                <a:endCxn id="143"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grpSp>
          <p:nvGrpSpPr>
            <p:cNvPr id="150" name="Group 149">
              <a:extLst>
                <a:ext uri="{FF2B5EF4-FFF2-40B4-BE49-F238E27FC236}">
                  <a16:creationId xmlns:a16="http://schemas.microsoft.com/office/drawing/2014/main" id="{215651CB-80E4-42C2-93BE-1EAE1ED2F682}"/>
                </a:ext>
              </a:extLst>
            </p:cNvPr>
            <p:cNvGrpSpPr>
              <a:grpSpLocks noChangeAspect="1"/>
            </p:cNvGrpSpPr>
            <p:nvPr/>
          </p:nvGrpSpPr>
          <p:grpSpPr>
            <a:xfrm>
              <a:off x="2894099" y="5190511"/>
              <a:ext cx="457200" cy="457200"/>
              <a:chOff x="678426" y="2868561"/>
              <a:chExt cx="811162" cy="811162"/>
            </a:xfrm>
          </p:grpSpPr>
          <p:sp>
            <p:nvSpPr>
              <p:cNvPr id="152" name="Oval 151">
                <a:extLst>
                  <a:ext uri="{FF2B5EF4-FFF2-40B4-BE49-F238E27FC236}">
                    <a16:creationId xmlns:a16="http://schemas.microsoft.com/office/drawing/2014/main" id="{F39DE355-F643-4899-AE3F-7E0713A7FAE2}"/>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3" name="Rectangle 152">
                <a:extLst>
                  <a:ext uri="{FF2B5EF4-FFF2-40B4-BE49-F238E27FC236}">
                    <a16:creationId xmlns:a16="http://schemas.microsoft.com/office/drawing/2014/main" id="{E9C448DD-B6D6-48E9-86F7-6148D10DF89A}"/>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54" name="Rectangle 153">
                <a:extLst>
                  <a:ext uri="{FF2B5EF4-FFF2-40B4-BE49-F238E27FC236}">
                    <a16:creationId xmlns:a16="http://schemas.microsoft.com/office/drawing/2014/main" id="{C9C1351F-5CD4-47AC-A0FD-9CFC463DEB9E}"/>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55" name="Rectangle 154">
                <a:extLst>
                  <a:ext uri="{FF2B5EF4-FFF2-40B4-BE49-F238E27FC236}">
                    <a16:creationId xmlns:a16="http://schemas.microsoft.com/office/drawing/2014/main" id="{4B7191BB-FB5E-410E-994A-5BC24D44F292}"/>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56" name="Rectangle 155">
                <a:extLst>
                  <a:ext uri="{FF2B5EF4-FFF2-40B4-BE49-F238E27FC236}">
                    <a16:creationId xmlns:a16="http://schemas.microsoft.com/office/drawing/2014/main" id="{4D9E5416-3B81-4535-BCC9-191E978E5191}"/>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157" name="Connector: Curved 156">
                <a:extLst>
                  <a:ext uri="{FF2B5EF4-FFF2-40B4-BE49-F238E27FC236}">
                    <a16:creationId xmlns:a16="http://schemas.microsoft.com/office/drawing/2014/main" id="{FE485A6C-9D79-4522-893F-17C6C76129B8}"/>
                  </a:ext>
                </a:extLst>
              </p:cNvPr>
              <p:cNvCxnSpPr>
                <a:stCxn id="153" idx="3"/>
                <a:endCxn id="154"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158" name="Connector: Curved 157">
                <a:extLst>
                  <a:ext uri="{FF2B5EF4-FFF2-40B4-BE49-F238E27FC236}">
                    <a16:creationId xmlns:a16="http://schemas.microsoft.com/office/drawing/2014/main" id="{3427751D-995F-43D8-8389-E3C9A9967259}"/>
                  </a:ext>
                </a:extLst>
              </p:cNvPr>
              <p:cNvCxnSpPr>
                <a:cxnSpLocks/>
                <a:stCxn id="153" idx="3"/>
                <a:endCxn id="155"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159" name="Connector: Curved 158">
                <a:extLst>
                  <a:ext uri="{FF2B5EF4-FFF2-40B4-BE49-F238E27FC236}">
                    <a16:creationId xmlns:a16="http://schemas.microsoft.com/office/drawing/2014/main" id="{8A3A4975-AF39-4613-B585-1AA3C473908A}"/>
                  </a:ext>
                </a:extLst>
              </p:cNvPr>
              <p:cNvCxnSpPr>
                <a:cxnSpLocks/>
                <a:stCxn id="153" idx="3"/>
                <a:endCxn id="156"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grpSp>
          <p:nvGrpSpPr>
            <p:cNvPr id="160" name="Group 159">
              <a:extLst>
                <a:ext uri="{FF2B5EF4-FFF2-40B4-BE49-F238E27FC236}">
                  <a16:creationId xmlns:a16="http://schemas.microsoft.com/office/drawing/2014/main" id="{80E71E31-A2DB-4F03-87BB-8809F6C635FA}"/>
                </a:ext>
              </a:extLst>
            </p:cNvPr>
            <p:cNvGrpSpPr>
              <a:grpSpLocks noChangeAspect="1"/>
            </p:cNvGrpSpPr>
            <p:nvPr/>
          </p:nvGrpSpPr>
          <p:grpSpPr>
            <a:xfrm>
              <a:off x="3490832" y="5190511"/>
              <a:ext cx="457200" cy="457200"/>
              <a:chOff x="678426" y="2868561"/>
              <a:chExt cx="811162" cy="811162"/>
            </a:xfrm>
          </p:grpSpPr>
          <p:sp>
            <p:nvSpPr>
              <p:cNvPr id="161" name="Oval 160">
                <a:extLst>
                  <a:ext uri="{FF2B5EF4-FFF2-40B4-BE49-F238E27FC236}">
                    <a16:creationId xmlns:a16="http://schemas.microsoft.com/office/drawing/2014/main" id="{159854A4-1101-4C86-A83E-F6C67D08ABE6}"/>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2" name="Rectangle 161">
                <a:extLst>
                  <a:ext uri="{FF2B5EF4-FFF2-40B4-BE49-F238E27FC236}">
                    <a16:creationId xmlns:a16="http://schemas.microsoft.com/office/drawing/2014/main" id="{0E4F5C90-C416-4B90-BD7F-1F958460D7B1}"/>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64" name="Rectangle 163">
                <a:extLst>
                  <a:ext uri="{FF2B5EF4-FFF2-40B4-BE49-F238E27FC236}">
                    <a16:creationId xmlns:a16="http://schemas.microsoft.com/office/drawing/2014/main" id="{481DEB43-14E5-4543-9EE7-FA9E1C2BFEF4}"/>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65" name="Rectangle 164">
                <a:extLst>
                  <a:ext uri="{FF2B5EF4-FFF2-40B4-BE49-F238E27FC236}">
                    <a16:creationId xmlns:a16="http://schemas.microsoft.com/office/drawing/2014/main" id="{39E64801-541D-4A47-B78A-5CC289CFF5CC}"/>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66" name="Rectangle 165">
                <a:extLst>
                  <a:ext uri="{FF2B5EF4-FFF2-40B4-BE49-F238E27FC236}">
                    <a16:creationId xmlns:a16="http://schemas.microsoft.com/office/drawing/2014/main" id="{A96E1B50-B60E-485B-825B-09A29A31A173}"/>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167" name="Connector: Curved 166">
                <a:extLst>
                  <a:ext uri="{FF2B5EF4-FFF2-40B4-BE49-F238E27FC236}">
                    <a16:creationId xmlns:a16="http://schemas.microsoft.com/office/drawing/2014/main" id="{96AF699E-7AE5-4B03-A1EA-11B19DB14024}"/>
                  </a:ext>
                </a:extLst>
              </p:cNvPr>
              <p:cNvCxnSpPr>
                <a:stCxn id="162" idx="3"/>
                <a:endCxn id="164"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168" name="Connector: Curved 167">
                <a:extLst>
                  <a:ext uri="{FF2B5EF4-FFF2-40B4-BE49-F238E27FC236}">
                    <a16:creationId xmlns:a16="http://schemas.microsoft.com/office/drawing/2014/main" id="{17E188AB-DC5E-4852-8365-47729C31CF17}"/>
                  </a:ext>
                </a:extLst>
              </p:cNvPr>
              <p:cNvCxnSpPr>
                <a:cxnSpLocks/>
                <a:stCxn id="162" idx="3"/>
                <a:endCxn id="165"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169" name="Connector: Curved 168">
                <a:extLst>
                  <a:ext uri="{FF2B5EF4-FFF2-40B4-BE49-F238E27FC236}">
                    <a16:creationId xmlns:a16="http://schemas.microsoft.com/office/drawing/2014/main" id="{45AC80F9-D351-4ECB-85A8-6CDE6C1FC752}"/>
                  </a:ext>
                </a:extLst>
              </p:cNvPr>
              <p:cNvCxnSpPr>
                <a:cxnSpLocks/>
                <a:stCxn id="162" idx="3"/>
                <a:endCxn id="166"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grpSp>
          <p:nvGrpSpPr>
            <p:cNvPr id="170" name="Group 169">
              <a:extLst>
                <a:ext uri="{FF2B5EF4-FFF2-40B4-BE49-F238E27FC236}">
                  <a16:creationId xmlns:a16="http://schemas.microsoft.com/office/drawing/2014/main" id="{2086C8B7-4482-47BD-98D2-F371A665F363}"/>
                </a:ext>
              </a:extLst>
            </p:cNvPr>
            <p:cNvGrpSpPr>
              <a:grpSpLocks noChangeAspect="1"/>
            </p:cNvGrpSpPr>
            <p:nvPr/>
          </p:nvGrpSpPr>
          <p:grpSpPr>
            <a:xfrm>
              <a:off x="4087564" y="5190511"/>
              <a:ext cx="457200" cy="457200"/>
              <a:chOff x="678426" y="2868561"/>
              <a:chExt cx="811162" cy="811162"/>
            </a:xfrm>
          </p:grpSpPr>
          <p:sp>
            <p:nvSpPr>
              <p:cNvPr id="171" name="Oval 170">
                <a:extLst>
                  <a:ext uri="{FF2B5EF4-FFF2-40B4-BE49-F238E27FC236}">
                    <a16:creationId xmlns:a16="http://schemas.microsoft.com/office/drawing/2014/main" id="{F2D1D0FC-C097-4AFE-B877-3F476C199BAD}"/>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2" name="Rectangle 171">
                <a:extLst>
                  <a:ext uri="{FF2B5EF4-FFF2-40B4-BE49-F238E27FC236}">
                    <a16:creationId xmlns:a16="http://schemas.microsoft.com/office/drawing/2014/main" id="{A33F71F3-89A5-4D67-B698-4C4B14839B39}"/>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73" name="Rectangle 172">
                <a:extLst>
                  <a:ext uri="{FF2B5EF4-FFF2-40B4-BE49-F238E27FC236}">
                    <a16:creationId xmlns:a16="http://schemas.microsoft.com/office/drawing/2014/main" id="{FE910ECA-A62B-4B85-889F-3BA0B955AE18}"/>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74" name="Rectangle 173">
                <a:extLst>
                  <a:ext uri="{FF2B5EF4-FFF2-40B4-BE49-F238E27FC236}">
                    <a16:creationId xmlns:a16="http://schemas.microsoft.com/office/drawing/2014/main" id="{5B4DA1C8-0BA4-4FFF-97B6-42638F6EC277}"/>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75" name="Rectangle 174">
                <a:extLst>
                  <a:ext uri="{FF2B5EF4-FFF2-40B4-BE49-F238E27FC236}">
                    <a16:creationId xmlns:a16="http://schemas.microsoft.com/office/drawing/2014/main" id="{9A1CB318-105B-412D-B5C7-FC7CF8598ADD}"/>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176" name="Connector: Curved 175">
                <a:extLst>
                  <a:ext uri="{FF2B5EF4-FFF2-40B4-BE49-F238E27FC236}">
                    <a16:creationId xmlns:a16="http://schemas.microsoft.com/office/drawing/2014/main" id="{8625A1E9-8BDD-44C7-BF1D-C283B5CA4062}"/>
                  </a:ext>
                </a:extLst>
              </p:cNvPr>
              <p:cNvCxnSpPr>
                <a:stCxn id="172" idx="3"/>
                <a:endCxn id="173"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177" name="Connector: Curved 176">
                <a:extLst>
                  <a:ext uri="{FF2B5EF4-FFF2-40B4-BE49-F238E27FC236}">
                    <a16:creationId xmlns:a16="http://schemas.microsoft.com/office/drawing/2014/main" id="{8CD9A86F-9287-43B2-ABD7-1EA8708C4E7E}"/>
                  </a:ext>
                </a:extLst>
              </p:cNvPr>
              <p:cNvCxnSpPr>
                <a:cxnSpLocks/>
                <a:stCxn id="172" idx="3"/>
                <a:endCxn id="174"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178" name="Connector: Curved 177">
                <a:extLst>
                  <a:ext uri="{FF2B5EF4-FFF2-40B4-BE49-F238E27FC236}">
                    <a16:creationId xmlns:a16="http://schemas.microsoft.com/office/drawing/2014/main" id="{2BB72F11-EEA6-45BE-A53F-BCDA71C4D4D0}"/>
                  </a:ext>
                </a:extLst>
              </p:cNvPr>
              <p:cNvCxnSpPr>
                <a:cxnSpLocks/>
                <a:stCxn id="172" idx="3"/>
                <a:endCxn id="175"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grpSp>
      <p:sp>
        <p:nvSpPr>
          <p:cNvPr id="112" name="TextBox 111">
            <a:extLst>
              <a:ext uri="{FF2B5EF4-FFF2-40B4-BE49-F238E27FC236}">
                <a16:creationId xmlns:a16="http://schemas.microsoft.com/office/drawing/2014/main" id="{5009E4D5-BD93-42C5-90BC-227EE0535A7F}"/>
              </a:ext>
            </a:extLst>
          </p:cNvPr>
          <p:cNvSpPr txBox="1"/>
          <p:nvPr/>
        </p:nvSpPr>
        <p:spPr>
          <a:xfrm>
            <a:off x="5450624" y="2270672"/>
            <a:ext cx="596638" cy="230832"/>
          </a:xfrm>
          <a:prstGeom prst="rect">
            <a:avLst/>
          </a:prstGeom>
          <a:noFill/>
        </p:spPr>
        <p:txBody>
          <a:bodyPr wrap="none" lIns="91440" rtlCol="0">
            <a:spAutoFit/>
          </a:bodyPr>
          <a:lstStyle/>
          <a:p>
            <a:pPr algn="ctr">
              <a:defRPr/>
            </a:pPr>
            <a:r>
              <a:rPr lang="en-US" sz="900">
                <a:solidFill>
                  <a:srgbClr val="0078D7"/>
                </a:solidFill>
                <a:latin typeface="Segoe UI Semibold" panose="020B0702040204020203" pitchFamily="34" charset="0"/>
                <a:cs typeface="Segoe UI Semibold" panose="020B0702040204020203" pitchFamily="34" charset="0"/>
              </a:rPr>
              <a:t>Tenants</a:t>
            </a:r>
          </a:p>
        </p:txBody>
      </p:sp>
      <p:cxnSp>
        <p:nvCxnSpPr>
          <p:cNvPr id="190" name="Straight Arrow Connector 189">
            <a:extLst>
              <a:ext uri="{FF2B5EF4-FFF2-40B4-BE49-F238E27FC236}">
                <a16:creationId xmlns:a16="http://schemas.microsoft.com/office/drawing/2014/main" id="{0A674D74-C333-410E-9E7C-F9AA78D7E2AD}"/>
              </a:ext>
            </a:extLst>
          </p:cNvPr>
          <p:cNvCxnSpPr>
            <a:cxnSpLocks/>
            <a:endCxn id="236" idx="2"/>
          </p:cNvCxnSpPr>
          <p:nvPr/>
        </p:nvCxnSpPr>
        <p:spPr>
          <a:xfrm>
            <a:off x="5715282" y="3642677"/>
            <a:ext cx="2657248" cy="864482"/>
          </a:xfrm>
          <a:prstGeom prst="straightConnector1">
            <a:avLst/>
          </a:prstGeom>
          <a:ln w="19050">
            <a:solidFill>
              <a:schemeClr val="bg1">
                <a:lumMod val="50000"/>
              </a:schemeClr>
            </a:solidFill>
            <a:prstDash val="dash"/>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C03147CD-17D1-4DF7-8C95-4DE8ABB6466C}"/>
              </a:ext>
            </a:extLst>
          </p:cNvPr>
          <p:cNvSpPr>
            <a:spLocks noGrp="1"/>
          </p:cNvSpPr>
          <p:nvPr>
            <p:ph type="body" sz="quarter" idx="11"/>
          </p:nvPr>
        </p:nvSpPr>
        <p:spPr>
          <a:xfrm>
            <a:off x="1177334" y="2217336"/>
            <a:ext cx="2743972" cy="677108"/>
          </a:xfrm>
          <a:noFill/>
        </p:spPr>
        <p:txBody>
          <a:bodyPr/>
          <a:lstStyle/>
          <a:p>
            <a:pPr algn="ctr"/>
            <a:r>
              <a:rPr lang="en-US" dirty="0"/>
              <a:t>Provisioning Throughput at </a:t>
            </a:r>
            <a:r>
              <a:rPr lang="en-US" u="sng" dirty="0"/>
              <a:t>Container Level</a:t>
            </a:r>
          </a:p>
        </p:txBody>
      </p:sp>
      <p:sp>
        <p:nvSpPr>
          <p:cNvPr id="116" name="Cylinder 513">
            <a:extLst>
              <a:ext uri="{FF2B5EF4-FFF2-40B4-BE49-F238E27FC236}">
                <a16:creationId xmlns:a16="http://schemas.microsoft.com/office/drawing/2014/main" id="{6622A98C-3238-45AA-80E9-77BC8211A762}"/>
              </a:ext>
            </a:extLst>
          </p:cNvPr>
          <p:cNvSpPr/>
          <p:nvPr/>
        </p:nvSpPr>
        <p:spPr bwMode="auto">
          <a:xfrm>
            <a:off x="8814479" y="4340430"/>
            <a:ext cx="260307" cy="357484"/>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a:solidFill>
                <a:srgbClr val="0078D7"/>
              </a:solidFill>
              <a:latin typeface="Segoe UI Light"/>
              <a:ea typeface="Segoe UI" pitchFamily="34" charset="0"/>
              <a:cs typeface="Segoe UI" pitchFamily="34" charset="0"/>
            </a:endParaRPr>
          </a:p>
        </p:txBody>
      </p:sp>
      <p:grpSp>
        <p:nvGrpSpPr>
          <p:cNvPr id="118" name="Group 117">
            <a:extLst>
              <a:ext uri="{FF2B5EF4-FFF2-40B4-BE49-F238E27FC236}">
                <a16:creationId xmlns:a16="http://schemas.microsoft.com/office/drawing/2014/main" id="{8FA8D8B8-6A46-4BBB-89C2-3309EC6F7B3B}"/>
              </a:ext>
            </a:extLst>
          </p:cNvPr>
          <p:cNvGrpSpPr>
            <a:grpSpLocks noChangeAspect="1"/>
          </p:cNvGrpSpPr>
          <p:nvPr/>
        </p:nvGrpSpPr>
        <p:grpSpPr>
          <a:xfrm>
            <a:off x="7240867" y="5416081"/>
            <a:ext cx="457200" cy="457200"/>
            <a:chOff x="678426" y="2868561"/>
            <a:chExt cx="811162" cy="811162"/>
          </a:xfrm>
        </p:grpSpPr>
        <p:sp>
          <p:nvSpPr>
            <p:cNvPr id="228" name="Oval 227">
              <a:extLst>
                <a:ext uri="{FF2B5EF4-FFF2-40B4-BE49-F238E27FC236}">
                  <a16:creationId xmlns:a16="http://schemas.microsoft.com/office/drawing/2014/main" id="{CFAF1B4B-5F88-425C-B295-1EC95E986A2D}"/>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9" name="Rectangle 228">
              <a:extLst>
                <a:ext uri="{FF2B5EF4-FFF2-40B4-BE49-F238E27FC236}">
                  <a16:creationId xmlns:a16="http://schemas.microsoft.com/office/drawing/2014/main" id="{2D9218B3-DDFF-4FD3-9253-C86EED985118}"/>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30" name="Rectangle 229">
              <a:extLst>
                <a:ext uri="{FF2B5EF4-FFF2-40B4-BE49-F238E27FC236}">
                  <a16:creationId xmlns:a16="http://schemas.microsoft.com/office/drawing/2014/main" id="{16EA39BF-3986-49E7-8BF5-833B1E7A9486}"/>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31" name="Rectangle 230">
              <a:extLst>
                <a:ext uri="{FF2B5EF4-FFF2-40B4-BE49-F238E27FC236}">
                  <a16:creationId xmlns:a16="http://schemas.microsoft.com/office/drawing/2014/main" id="{0B1A1A20-E589-4E51-AABF-6ADC443EA3CF}"/>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32" name="Rectangle 231">
              <a:extLst>
                <a:ext uri="{FF2B5EF4-FFF2-40B4-BE49-F238E27FC236}">
                  <a16:creationId xmlns:a16="http://schemas.microsoft.com/office/drawing/2014/main" id="{FE38234F-164B-4825-80AD-D3F18F656D4D}"/>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233" name="Connector: Curved 232">
              <a:extLst>
                <a:ext uri="{FF2B5EF4-FFF2-40B4-BE49-F238E27FC236}">
                  <a16:creationId xmlns:a16="http://schemas.microsoft.com/office/drawing/2014/main" id="{AB5E992E-8BF8-434D-AAE9-2336B86EC372}"/>
                </a:ext>
              </a:extLst>
            </p:cNvPr>
            <p:cNvCxnSpPr>
              <a:stCxn id="229" idx="3"/>
              <a:endCxn id="230"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234" name="Connector: Curved 233">
              <a:extLst>
                <a:ext uri="{FF2B5EF4-FFF2-40B4-BE49-F238E27FC236}">
                  <a16:creationId xmlns:a16="http://schemas.microsoft.com/office/drawing/2014/main" id="{5E2FB9C0-F3AF-4F6E-B12A-CD6C7CE82B72}"/>
                </a:ext>
              </a:extLst>
            </p:cNvPr>
            <p:cNvCxnSpPr>
              <a:cxnSpLocks/>
              <a:stCxn id="229" idx="3"/>
              <a:endCxn id="231"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235" name="Connector: Curved 234">
              <a:extLst>
                <a:ext uri="{FF2B5EF4-FFF2-40B4-BE49-F238E27FC236}">
                  <a16:creationId xmlns:a16="http://schemas.microsoft.com/office/drawing/2014/main" id="{3C73894F-FA2A-4239-93EE-9B3361B191BC}"/>
                </a:ext>
              </a:extLst>
            </p:cNvPr>
            <p:cNvCxnSpPr>
              <a:cxnSpLocks/>
              <a:stCxn id="229" idx="3"/>
              <a:endCxn id="232"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sp>
        <p:nvSpPr>
          <p:cNvPr id="122" name="TextBox 121">
            <a:extLst>
              <a:ext uri="{FF2B5EF4-FFF2-40B4-BE49-F238E27FC236}">
                <a16:creationId xmlns:a16="http://schemas.microsoft.com/office/drawing/2014/main" id="{9BD5B57C-8954-4F4F-8455-2BC319565B81}"/>
              </a:ext>
            </a:extLst>
          </p:cNvPr>
          <p:cNvSpPr txBox="1"/>
          <p:nvPr/>
        </p:nvSpPr>
        <p:spPr>
          <a:xfrm>
            <a:off x="8157895" y="4726965"/>
            <a:ext cx="1853392" cy="230832"/>
          </a:xfrm>
          <a:prstGeom prst="rect">
            <a:avLst/>
          </a:prstGeom>
          <a:noFill/>
        </p:spPr>
        <p:txBody>
          <a:bodyPr wrap="none" lIns="91440" rtlCol="0">
            <a:spAutoFit/>
          </a:bodyPr>
          <a:lstStyle/>
          <a:p>
            <a:pPr algn="ctr">
              <a:defRPr/>
            </a:pPr>
            <a:r>
              <a:rPr lang="en-US" sz="900" dirty="0">
                <a:solidFill>
                  <a:srgbClr val="0078D7"/>
                </a:solidFill>
                <a:latin typeface="Segoe UI Semibold" panose="020B0702040204020203" pitchFamily="34" charset="0"/>
                <a:cs typeface="Segoe UI Semibold" panose="020B0702040204020203" pitchFamily="34" charset="0"/>
              </a:rPr>
              <a:t>A set of containers (a Database)</a:t>
            </a:r>
          </a:p>
        </p:txBody>
      </p:sp>
      <p:sp>
        <p:nvSpPr>
          <p:cNvPr id="146" name="Right Bracket 145">
            <a:extLst>
              <a:ext uri="{FF2B5EF4-FFF2-40B4-BE49-F238E27FC236}">
                <a16:creationId xmlns:a16="http://schemas.microsoft.com/office/drawing/2014/main" id="{14BD55B9-39FE-4983-A96D-85690E09975D}"/>
              </a:ext>
            </a:extLst>
          </p:cNvPr>
          <p:cNvSpPr/>
          <p:nvPr/>
        </p:nvSpPr>
        <p:spPr>
          <a:xfrm rot="5400000" flipV="1">
            <a:off x="8912110" y="4064620"/>
            <a:ext cx="98379" cy="3749040"/>
          </a:xfrm>
          <a:prstGeom prst="rightBracket">
            <a:avLst/>
          </a:prstGeom>
          <a:ln w="190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defRPr/>
            </a:pPr>
            <a:endParaRPr lang="en-US">
              <a:solidFill>
                <a:srgbClr val="505050"/>
              </a:solidFill>
              <a:latin typeface="Segoe UI Semilight"/>
            </a:endParaRPr>
          </a:p>
        </p:txBody>
      </p:sp>
      <p:sp>
        <p:nvSpPr>
          <p:cNvPr id="179" name="TextBox 178">
            <a:extLst>
              <a:ext uri="{FF2B5EF4-FFF2-40B4-BE49-F238E27FC236}">
                <a16:creationId xmlns:a16="http://schemas.microsoft.com/office/drawing/2014/main" id="{0EF5C6EE-9494-4467-ADDD-BA64EC1A4D83}"/>
              </a:ext>
            </a:extLst>
          </p:cNvPr>
          <p:cNvSpPr txBox="1"/>
          <p:nvPr/>
        </p:nvSpPr>
        <p:spPr>
          <a:xfrm>
            <a:off x="8363220" y="6096406"/>
            <a:ext cx="1196161" cy="230832"/>
          </a:xfrm>
          <a:prstGeom prst="rect">
            <a:avLst/>
          </a:prstGeom>
          <a:noFill/>
        </p:spPr>
        <p:txBody>
          <a:bodyPr wrap="none" lIns="91440" rtlCol="0">
            <a:spAutoFit/>
          </a:bodyPr>
          <a:lstStyle/>
          <a:p>
            <a:pPr algn="ctr">
              <a:defRPr/>
            </a:pPr>
            <a:r>
              <a:rPr lang="en-US" sz="900">
                <a:solidFill>
                  <a:srgbClr val="0078D7"/>
                </a:solidFill>
                <a:latin typeface="Segoe UI Semibold" panose="020B0702040204020203" pitchFamily="34" charset="0"/>
                <a:cs typeface="Segoe UI Semibold" panose="020B0702040204020203" pitchFamily="34" charset="0"/>
              </a:rPr>
              <a:t>Resource Partitions</a:t>
            </a:r>
          </a:p>
        </p:txBody>
      </p:sp>
      <p:cxnSp>
        <p:nvCxnSpPr>
          <p:cNvPr id="180" name="Straight Arrow Connector 179">
            <a:extLst>
              <a:ext uri="{FF2B5EF4-FFF2-40B4-BE49-F238E27FC236}">
                <a16:creationId xmlns:a16="http://schemas.microsoft.com/office/drawing/2014/main" id="{2FDC3D01-ADB8-4725-BB31-3724CB47774F}"/>
              </a:ext>
            </a:extLst>
          </p:cNvPr>
          <p:cNvCxnSpPr>
            <a:cxnSpLocks/>
          </p:cNvCxnSpPr>
          <p:nvPr/>
        </p:nvCxnSpPr>
        <p:spPr>
          <a:xfrm>
            <a:off x="8961299" y="4964202"/>
            <a:ext cx="0" cy="410443"/>
          </a:xfrm>
          <a:prstGeom prst="straightConnector1">
            <a:avLst/>
          </a:prstGeom>
          <a:ln w="19050">
            <a:solidFill>
              <a:schemeClr val="bg1">
                <a:lumMod val="5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81" name="Connector: Elbow 180">
            <a:extLst>
              <a:ext uri="{FF2B5EF4-FFF2-40B4-BE49-F238E27FC236}">
                <a16:creationId xmlns:a16="http://schemas.microsoft.com/office/drawing/2014/main" id="{D869AB4A-59A7-4749-9A9A-FFE4A63D830D}"/>
              </a:ext>
            </a:extLst>
          </p:cNvPr>
          <p:cNvCxnSpPr>
            <a:cxnSpLocks/>
          </p:cNvCxnSpPr>
          <p:nvPr/>
        </p:nvCxnSpPr>
        <p:spPr>
          <a:xfrm rot="5400000" flipH="1" flipV="1">
            <a:off x="8954335" y="4669204"/>
            <a:ext cx="13929" cy="1337131"/>
          </a:xfrm>
          <a:prstGeom prst="bentConnector3">
            <a:avLst>
              <a:gd name="adj1" fmla="val 1741180"/>
            </a:avLst>
          </a:prstGeom>
          <a:ln w="19050">
            <a:solidFill>
              <a:schemeClr val="bg1">
                <a:lumMod val="50000"/>
              </a:schemeClr>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82" name="Group 181">
            <a:extLst>
              <a:ext uri="{FF2B5EF4-FFF2-40B4-BE49-F238E27FC236}">
                <a16:creationId xmlns:a16="http://schemas.microsoft.com/office/drawing/2014/main" id="{B446C7B7-D1DE-44D1-B7EE-FFD3835C8DF8}"/>
              </a:ext>
            </a:extLst>
          </p:cNvPr>
          <p:cNvGrpSpPr>
            <a:grpSpLocks noChangeAspect="1"/>
          </p:cNvGrpSpPr>
          <p:nvPr/>
        </p:nvGrpSpPr>
        <p:grpSpPr>
          <a:xfrm>
            <a:off x="7837600" y="5416081"/>
            <a:ext cx="457200" cy="457200"/>
            <a:chOff x="678426" y="2868561"/>
            <a:chExt cx="811162" cy="811162"/>
          </a:xfrm>
        </p:grpSpPr>
        <p:sp>
          <p:nvSpPr>
            <p:cNvPr id="220" name="Oval 219">
              <a:extLst>
                <a:ext uri="{FF2B5EF4-FFF2-40B4-BE49-F238E27FC236}">
                  <a16:creationId xmlns:a16="http://schemas.microsoft.com/office/drawing/2014/main" id="{D5F5155B-589C-4AED-895A-3FEE7613A10F}"/>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1" name="Rectangle 220">
              <a:extLst>
                <a:ext uri="{FF2B5EF4-FFF2-40B4-BE49-F238E27FC236}">
                  <a16:creationId xmlns:a16="http://schemas.microsoft.com/office/drawing/2014/main" id="{C39A80F4-183E-4127-8E79-A92ABA16D2B0}"/>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22" name="Rectangle 221">
              <a:extLst>
                <a:ext uri="{FF2B5EF4-FFF2-40B4-BE49-F238E27FC236}">
                  <a16:creationId xmlns:a16="http://schemas.microsoft.com/office/drawing/2014/main" id="{E0AFC401-A393-47EB-9E99-7457D0E7357F}"/>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23" name="Rectangle 222">
              <a:extLst>
                <a:ext uri="{FF2B5EF4-FFF2-40B4-BE49-F238E27FC236}">
                  <a16:creationId xmlns:a16="http://schemas.microsoft.com/office/drawing/2014/main" id="{31CDD77A-0BA4-402F-A22C-1653DEB0E388}"/>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24" name="Rectangle 223">
              <a:extLst>
                <a:ext uri="{FF2B5EF4-FFF2-40B4-BE49-F238E27FC236}">
                  <a16:creationId xmlns:a16="http://schemas.microsoft.com/office/drawing/2014/main" id="{90268DD7-DAC8-47CD-96EC-3C3B199A9A66}"/>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225" name="Connector: Curved 224">
              <a:extLst>
                <a:ext uri="{FF2B5EF4-FFF2-40B4-BE49-F238E27FC236}">
                  <a16:creationId xmlns:a16="http://schemas.microsoft.com/office/drawing/2014/main" id="{05F1CFB4-5969-4294-8DCE-5CE047C2C6F0}"/>
                </a:ext>
              </a:extLst>
            </p:cNvPr>
            <p:cNvCxnSpPr>
              <a:stCxn id="221" idx="3"/>
              <a:endCxn id="222"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226" name="Connector: Curved 225">
              <a:extLst>
                <a:ext uri="{FF2B5EF4-FFF2-40B4-BE49-F238E27FC236}">
                  <a16:creationId xmlns:a16="http://schemas.microsoft.com/office/drawing/2014/main" id="{C1D979F5-E167-4E43-9CF5-99F83304D996}"/>
                </a:ext>
              </a:extLst>
            </p:cNvPr>
            <p:cNvCxnSpPr>
              <a:cxnSpLocks/>
              <a:stCxn id="221" idx="3"/>
              <a:endCxn id="223"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227" name="Connector: Curved 226">
              <a:extLst>
                <a:ext uri="{FF2B5EF4-FFF2-40B4-BE49-F238E27FC236}">
                  <a16:creationId xmlns:a16="http://schemas.microsoft.com/office/drawing/2014/main" id="{58E28509-88D6-41B7-B1B7-7024D7A771D6}"/>
                </a:ext>
              </a:extLst>
            </p:cNvPr>
            <p:cNvCxnSpPr>
              <a:cxnSpLocks/>
              <a:stCxn id="221" idx="3"/>
              <a:endCxn id="224"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grpSp>
        <p:nvGrpSpPr>
          <p:cNvPr id="183" name="Group 182">
            <a:extLst>
              <a:ext uri="{FF2B5EF4-FFF2-40B4-BE49-F238E27FC236}">
                <a16:creationId xmlns:a16="http://schemas.microsoft.com/office/drawing/2014/main" id="{B9D3A2F6-BC2B-4E2B-89B0-4ACF5E452667}"/>
              </a:ext>
            </a:extLst>
          </p:cNvPr>
          <p:cNvGrpSpPr>
            <a:grpSpLocks noChangeAspect="1"/>
          </p:cNvGrpSpPr>
          <p:nvPr/>
        </p:nvGrpSpPr>
        <p:grpSpPr>
          <a:xfrm>
            <a:off x="8434333" y="5416081"/>
            <a:ext cx="457200" cy="457200"/>
            <a:chOff x="678426" y="2868561"/>
            <a:chExt cx="811162" cy="811162"/>
          </a:xfrm>
        </p:grpSpPr>
        <p:sp>
          <p:nvSpPr>
            <p:cNvPr id="212" name="Oval 211">
              <a:extLst>
                <a:ext uri="{FF2B5EF4-FFF2-40B4-BE49-F238E27FC236}">
                  <a16:creationId xmlns:a16="http://schemas.microsoft.com/office/drawing/2014/main" id="{AB433128-08D6-44EE-9CA8-53C519810B2E}"/>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3" name="Rectangle 212">
              <a:extLst>
                <a:ext uri="{FF2B5EF4-FFF2-40B4-BE49-F238E27FC236}">
                  <a16:creationId xmlns:a16="http://schemas.microsoft.com/office/drawing/2014/main" id="{8D84030D-6259-49ED-95F8-499F6EF8116A}"/>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14" name="Rectangle 213">
              <a:extLst>
                <a:ext uri="{FF2B5EF4-FFF2-40B4-BE49-F238E27FC236}">
                  <a16:creationId xmlns:a16="http://schemas.microsoft.com/office/drawing/2014/main" id="{E9B9E360-95AB-4692-99BF-7A4F26583DBE}"/>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15" name="Rectangle 214">
              <a:extLst>
                <a:ext uri="{FF2B5EF4-FFF2-40B4-BE49-F238E27FC236}">
                  <a16:creationId xmlns:a16="http://schemas.microsoft.com/office/drawing/2014/main" id="{861CF2DA-1C26-4C95-95E5-044519ABC7F6}"/>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16" name="Rectangle 215">
              <a:extLst>
                <a:ext uri="{FF2B5EF4-FFF2-40B4-BE49-F238E27FC236}">
                  <a16:creationId xmlns:a16="http://schemas.microsoft.com/office/drawing/2014/main" id="{7B6BBEE6-4657-4931-889D-6925834F7ECE}"/>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217" name="Connector: Curved 216">
              <a:extLst>
                <a:ext uri="{FF2B5EF4-FFF2-40B4-BE49-F238E27FC236}">
                  <a16:creationId xmlns:a16="http://schemas.microsoft.com/office/drawing/2014/main" id="{3802A78B-94D9-46F8-AA8D-3EFC8E0892B8}"/>
                </a:ext>
              </a:extLst>
            </p:cNvPr>
            <p:cNvCxnSpPr>
              <a:stCxn id="213" idx="3"/>
              <a:endCxn id="214"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218" name="Connector: Curved 217">
              <a:extLst>
                <a:ext uri="{FF2B5EF4-FFF2-40B4-BE49-F238E27FC236}">
                  <a16:creationId xmlns:a16="http://schemas.microsoft.com/office/drawing/2014/main" id="{1F7AA89F-9FD1-4FC7-B765-0E11DABC47AE}"/>
                </a:ext>
              </a:extLst>
            </p:cNvPr>
            <p:cNvCxnSpPr>
              <a:cxnSpLocks/>
              <a:stCxn id="213" idx="3"/>
              <a:endCxn id="215"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219" name="Connector: Curved 218">
              <a:extLst>
                <a:ext uri="{FF2B5EF4-FFF2-40B4-BE49-F238E27FC236}">
                  <a16:creationId xmlns:a16="http://schemas.microsoft.com/office/drawing/2014/main" id="{BD0187A8-D52E-4F1F-97E0-B2C5E854F234}"/>
                </a:ext>
              </a:extLst>
            </p:cNvPr>
            <p:cNvCxnSpPr>
              <a:cxnSpLocks/>
              <a:stCxn id="213" idx="3"/>
              <a:endCxn id="216"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grpSp>
        <p:nvGrpSpPr>
          <p:cNvPr id="184" name="Group 183">
            <a:extLst>
              <a:ext uri="{FF2B5EF4-FFF2-40B4-BE49-F238E27FC236}">
                <a16:creationId xmlns:a16="http://schemas.microsoft.com/office/drawing/2014/main" id="{D0EE4235-0D87-4E97-B1C0-7D47F47D813A}"/>
              </a:ext>
            </a:extLst>
          </p:cNvPr>
          <p:cNvGrpSpPr>
            <a:grpSpLocks noChangeAspect="1"/>
          </p:cNvGrpSpPr>
          <p:nvPr/>
        </p:nvGrpSpPr>
        <p:grpSpPr>
          <a:xfrm>
            <a:off x="9031066" y="5416081"/>
            <a:ext cx="457200" cy="457200"/>
            <a:chOff x="678426" y="2868561"/>
            <a:chExt cx="811162" cy="811162"/>
          </a:xfrm>
        </p:grpSpPr>
        <p:sp>
          <p:nvSpPr>
            <p:cNvPr id="204" name="Oval 203">
              <a:extLst>
                <a:ext uri="{FF2B5EF4-FFF2-40B4-BE49-F238E27FC236}">
                  <a16:creationId xmlns:a16="http://schemas.microsoft.com/office/drawing/2014/main" id="{F7EE4E09-82DF-495D-8A0A-028DA0ACD5E1}"/>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5" name="Rectangle 204">
              <a:extLst>
                <a:ext uri="{FF2B5EF4-FFF2-40B4-BE49-F238E27FC236}">
                  <a16:creationId xmlns:a16="http://schemas.microsoft.com/office/drawing/2014/main" id="{A8ACDC30-C2BB-48A2-970A-4571BA76E02A}"/>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06" name="Rectangle 205">
              <a:extLst>
                <a:ext uri="{FF2B5EF4-FFF2-40B4-BE49-F238E27FC236}">
                  <a16:creationId xmlns:a16="http://schemas.microsoft.com/office/drawing/2014/main" id="{6BF1A9C5-37EF-4298-8434-009D55C7181E}"/>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07" name="Rectangle 206">
              <a:extLst>
                <a:ext uri="{FF2B5EF4-FFF2-40B4-BE49-F238E27FC236}">
                  <a16:creationId xmlns:a16="http://schemas.microsoft.com/office/drawing/2014/main" id="{9C53E1DC-C865-4B25-8078-1DDE70804DF5}"/>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08" name="Rectangle 207">
              <a:extLst>
                <a:ext uri="{FF2B5EF4-FFF2-40B4-BE49-F238E27FC236}">
                  <a16:creationId xmlns:a16="http://schemas.microsoft.com/office/drawing/2014/main" id="{BFC36C5E-FF88-41BE-B62D-939D7787AF79}"/>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209" name="Connector: Curved 208">
              <a:extLst>
                <a:ext uri="{FF2B5EF4-FFF2-40B4-BE49-F238E27FC236}">
                  <a16:creationId xmlns:a16="http://schemas.microsoft.com/office/drawing/2014/main" id="{4DD6A526-08DD-4646-822C-093E7837F170}"/>
                </a:ext>
              </a:extLst>
            </p:cNvPr>
            <p:cNvCxnSpPr>
              <a:stCxn id="205" idx="3"/>
              <a:endCxn id="206"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210" name="Connector: Curved 209">
              <a:extLst>
                <a:ext uri="{FF2B5EF4-FFF2-40B4-BE49-F238E27FC236}">
                  <a16:creationId xmlns:a16="http://schemas.microsoft.com/office/drawing/2014/main" id="{BD9C2CCE-7343-492E-914C-D6CC19F67DF0}"/>
                </a:ext>
              </a:extLst>
            </p:cNvPr>
            <p:cNvCxnSpPr>
              <a:cxnSpLocks/>
              <a:stCxn id="205" idx="3"/>
              <a:endCxn id="207"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211" name="Connector: Curved 210">
              <a:extLst>
                <a:ext uri="{FF2B5EF4-FFF2-40B4-BE49-F238E27FC236}">
                  <a16:creationId xmlns:a16="http://schemas.microsoft.com/office/drawing/2014/main" id="{F64ACFA3-8DC7-4325-9106-C07B569FFF83}"/>
                </a:ext>
              </a:extLst>
            </p:cNvPr>
            <p:cNvCxnSpPr>
              <a:cxnSpLocks/>
              <a:stCxn id="205" idx="3"/>
              <a:endCxn id="208"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grpSp>
        <p:nvGrpSpPr>
          <p:cNvPr id="185" name="Group 184">
            <a:extLst>
              <a:ext uri="{FF2B5EF4-FFF2-40B4-BE49-F238E27FC236}">
                <a16:creationId xmlns:a16="http://schemas.microsoft.com/office/drawing/2014/main" id="{B6000FAB-0FD4-4074-8229-FFDFF14C9D4E}"/>
              </a:ext>
            </a:extLst>
          </p:cNvPr>
          <p:cNvGrpSpPr>
            <a:grpSpLocks noChangeAspect="1"/>
          </p:cNvGrpSpPr>
          <p:nvPr/>
        </p:nvGrpSpPr>
        <p:grpSpPr>
          <a:xfrm>
            <a:off x="9627799" y="5416081"/>
            <a:ext cx="457200" cy="457200"/>
            <a:chOff x="678426" y="2868561"/>
            <a:chExt cx="811162" cy="811162"/>
          </a:xfrm>
        </p:grpSpPr>
        <p:sp>
          <p:nvSpPr>
            <p:cNvPr id="196" name="Oval 195">
              <a:extLst>
                <a:ext uri="{FF2B5EF4-FFF2-40B4-BE49-F238E27FC236}">
                  <a16:creationId xmlns:a16="http://schemas.microsoft.com/office/drawing/2014/main" id="{AFBE604A-5967-4D28-8DFA-76599CAAF18A}"/>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7" name="Rectangle 196">
              <a:extLst>
                <a:ext uri="{FF2B5EF4-FFF2-40B4-BE49-F238E27FC236}">
                  <a16:creationId xmlns:a16="http://schemas.microsoft.com/office/drawing/2014/main" id="{0830F477-4CF3-47AD-A15A-474F20DC7B81}"/>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98" name="Rectangle 197">
              <a:extLst>
                <a:ext uri="{FF2B5EF4-FFF2-40B4-BE49-F238E27FC236}">
                  <a16:creationId xmlns:a16="http://schemas.microsoft.com/office/drawing/2014/main" id="{5B549ABA-D2B6-461D-9207-8A711C5B299A}"/>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99" name="Rectangle 198">
              <a:extLst>
                <a:ext uri="{FF2B5EF4-FFF2-40B4-BE49-F238E27FC236}">
                  <a16:creationId xmlns:a16="http://schemas.microsoft.com/office/drawing/2014/main" id="{8FE600B8-C81C-4FE6-9699-A9BD6409D28B}"/>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00" name="Rectangle 199">
              <a:extLst>
                <a:ext uri="{FF2B5EF4-FFF2-40B4-BE49-F238E27FC236}">
                  <a16:creationId xmlns:a16="http://schemas.microsoft.com/office/drawing/2014/main" id="{80246FAF-7C03-4636-8BF5-00D9B2A9735D}"/>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201" name="Connector: Curved 200">
              <a:extLst>
                <a:ext uri="{FF2B5EF4-FFF2-40B4-BE49-F238E27FC236}">
                  <a16:creationId xmlns:a16="http://schemas.microsoft.com/office/drawing/2014/main" id="{6C11F379-7503-43BA-AB64-CCF227EB8CDC}"/>
                </a:ext>
              </a:extLst>
            </p:cNvPr>
            <p:cNvCxnSpPr>
              <a:stCxn id="197" idx="3"/>
              <a:endCxn id="198"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202" name="Connector: Curved 201">
              <a:extLst>
                <a:ext uri="{FF2B5EF4-FFF2-40B4-BE49-F238E27FC236}">
                  <a16:creationId xmlns:a16="http://schemas.microsoft.com/office/drawing/2014/main" id="{7CB88F3F-6D25-4F25-B91A-F9BAA3EC7D19}"/>
                </a:ext>
              </a:extLst>
            </p:cNvPr>
            <p:cNvCxnSpPr>
              <a:cxnSpLocks/>
              <a:stCxn id="197" idx="3"/>
              <a:endCxn id="199"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203" name="Connector: Curved 202">
              <a:extLst>
                <a:ext uri="{FF2B5EF4-FFF2-40B4-BE49-F238E27FC236}">
                  <a16:creationId xmlns:a16="http://schemas.microsoft.com/office/drawing/2014/main" id="{FB80FEA5-6343-48D2-A8D2-A60900B737C3}"/>
                </a:ext>
              </a:extLst>
            </p:cNvPr>
            <p:cNvCxnSpPr>
              <a:cxnSpLocks/>
              <a:stCxn id="197" idx="3"/>
              <a:endCxn id="200"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grpSp>
        <p:nvGrpSpPr>
          <p:cNvPr id="186" name="Group 185">
            <a:extLst>
              <a:ext uri="{FF2B5EF4-FFF2-40B4-BE49-F238E27FC236}">
                <a16:creationId xmlns:a16="http://schemas.microsoft.com/office/drawing/2014/main" id="{068C4C2A-AD5F-44FA-BA4E-FE4291789F09}"/>
              </a:ext>
            </a:extLst>
          </p:cNvPr>
          <p:cNvGrpSpPr>
            <a:grpSpLocks noChangeAspect="1"/>
          </p:cNvGrpSpPr>
          <p:nvPr/>
        </p:nvGrpSpPr>
        <p:grpSpPr>
          <a:xfrm>
            <a:off x="10224531" y="5416081"/>
            <a:ext cx="457200" cy="457200"/>
            <a:chOff x="678426" y="2868561"/>
            <a:chExt cx="811162" cy="811162"/>
          </a:xfrm>
        </p:grpSpPr>
        <p:sp>
          <p:nvSpPr>
            <p:cNvPr id="187" name="Oval 186">
              <a:extLst>
                <a:ext uri="{FF2B5EF4-FFF2-40B4-BE49-F238E27FC236}">
                  <a16:creationId xmlns:a16="http://schemas.microsoft.com/office/drawing/2014/main" id="{1A6E406B-A6B0-41F1-97B8-852E2E3F182F}"/>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8" name="Rectangle 187">
              <a:extLst>
                <a:ext uri="{FF2B5EF4-FFF2-40B4-BE49-F238E27FC236}">
                  <a16:creationId xmlns:a16="http://schemas.microsoft.com/office/drawing/2014/main" id="{ED5D9F1A-E5FF-403C-9C40-F2BC5247B7E0}"/>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89" name="Rectangle 188">
              <a:extLst>
                <a:ext uri="{FF2B5EF4-FFF2-40B4-BE49-F238E27FC236}">
                  <a16:creationId xmlns:a16="http://schemas.microsoft.com/office/drawing/2014/main" id="{379E7796-6699-40CC-B684-F8CC8D456FCE}"/>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91" name="Rectangle 190">
              <a:extLst>
                <a:ext uri="{FF2B5EF4-FFF2-40B4-BE49-F238E27FC236}">
                  <a16:creationId xmlns:a16="http://schemas.microsoft.com/office/drawing/2014/main" id="{012DD8D7-5CA4-44DF-979A-B0DBE02CCD75}"/>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92" name="Rectangle 191">
              <a:extLst>
                <a:ext uri="{FF2B5EF4-FFF2-40B4-BE49-F238E27FC236}">
                  <a16:creationId xmlns:a16="http://schemas.microsoft.com/office/drawing/2014/main" id="{9E0229D2-E0C4-4B4F-B7C5-CD8EAFD3B1CC}"/>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193" name="Connector: Curved 192">
              <a:extLst>
                <a:ext uri="{FF2B5EF4-FFF2-40B4-BE49-F238E27FC236}">
                  <a16:creationId xmlns:a16="http://schemas.microsoft.com/office/drawing/2014/main" id="{238C9B2B-B39E-4166-BD41-CBD0367A1946}"/>
                </a:ext>
              </a:extLst>
            </p:cNvPr>
            <p:cNvCxnSpPr>
              <a:stCxn id="188" idx="3"/>
              <a:endCxn id="189"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194" name="Connector: Curved 193">
              <a:extLst>
                <a:ext uri="{FF2B5EF4-FFF2-40B4-BE49-F238E27FC236}">
                  <a16:creationId xmlns:a16="http://schemas.microsoft.com/office/drawing/2014/main" id="{C591BC4B-4A91-4EF6-B129-C154D01CB715}"/>
                </a:ext>
              </a:extLst>
            </p:cNvPr>
            <p:cNvCxnSpPr>
              <a:cxnSpLocks/>
              <a:stCxn id="188" idx="3"/>
              <a:endCxn id="191"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195" name="Connector: Curved 194">
              <a:extLst>
                <a:ext uri="{FF2B5EF4-FFF2-40B4-BE49-F238E27FC236}">
                  <a16:creationId xmlns:a16="http://schemas.microsoft.com/office/drawing/2014/main" id="{962EFF86-AB87-46C6-A921-893886323E78}"/>
                </a:ext>
              </a:extLst>
            </p:cNvPr>
            <p:cNvCxnSpPr>
              <a:cxnSpLocks/>
              <a:stCxn id="188" idx="3"/>
              <a:endCxn id="192"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sp>
        <p:nvSpPr>
          <p:cNvPr id="236" name="Cylinder 513">
            <a:extLst>
              <a:ext uri="{FF2B5EF4-FFF2-40B4-BE49-F238E27FC236}">
                <a16:creationId xmlns:a16="http://schemas.microsoft.com/office/drawing/2014/main" id="{522BC099-A9ED-4A13-8FB4-5C2793D7D82E}"/>
              </a:ext>
            </a:extLst>
          </p:cNvPr>
          <p:cNvSpPr/>
          <p:nvPr/>
        </p:nvSpPr>
        <p:spPr bwMode="auto">
          <a:xfrm>
            <a:off x="8372531" y="4328417"/>
            <a:ext cx="381083" cy="357484"/>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a:solidFill>
                <a:srgbClr val="0078D7"/>
              </a:solidFill>
              <a:latin typeface="Segoe UI Light"/>
              <a:ea typeface="Segoe UI" pitchFamily="34" charset="0"/>
              <a:cs typeface="Segoe UI" pitchFamily="34" charset="0"/>
            </a:endParaRPr>
          </a:p>
        </p:txBody>
      </p:sp>
      <p:sp>
        <p:nvSpPr>
          <p:cNvPr id="237" name="Cylinder 513">
            <a:extLst>
              <a:ext uri="{FF2B5EF4-FFF2-40B4-BE49-F238E27FC236}">
                <a16:creationId xmlns:a16="http://schemas.microsoft.com/office/drawing/2014/main" id="{C7A29505-FAD4-44DC-9300-C401608C5DD6}"/>
              </a:ext>
            </a:extLst>
          </p:cNvPr>
          <p:cNvSpPr/>
          <p:nvPr/>
        </p:nvSpPr>
        <p:spPr bwMode="auto">
          <a:xfrm>
            <a:off x="9137536" y="4338747"/>
            <a:ext cx="638327" cy="357484"/>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a:solidFill>
                <a:srgbClr val="0078D7"/>
              </a:solidFill>
              <a:latin typeface="Segoe UI Light"/>
              <a:ea typeface="Segoe UI" pitchFamily="34" charset="0"/>
              <a:cs typeface="Segoe UI" pitchFamily="34" charset="0"/>
            </a:endParaRPr>
          </a:p>
        </p:txBody>
      </p:sp>
      <p:sp>
        <p:nvSpPr>
          <p:cNvPr id="22" name="Rectangle 21">
            <a:extLst>
              <a:ext uri="{FF2B5EF4-FFF2-40B4-BE49-F238E27FC236}">
                <a16:creationId xmlns:a16="http://schemas.microsoft.com/office/drawing/2014/main" id="{9061F937-2F96-4A1A-861C-0400F0C56493}"/>
              </a:ext>
            </a:extLst>
          </p:cNvPr>
          <p:cNvSpPr/>
          <p:nvPr/>
        </p:nvSpPr>
        <p:spPr bwMode="auto">
          <a:xfrm>
            <a:off x="8219327" y="4245797"/>
            <a:ext cx="1678847" cy="524361"/>
          </a:xfrm>
          <a:prstGeom prst="rect">
            <a:avLst/>
          </a:prstGeom>
          <a:noFill/>
          <a:ln>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cxnSp>
        <p:nvCxnSpPr>
          <p:cNvPr id="238" name="Straight Arrow Connector 237">
            <a:extLst>
              <a:ext uri="{FF2B5EF4-FFF2-40B4-BE49-F238E27FC236}">
                <a16:creationId xmlns:a16="http://schemas.microsoft.com/office/drawing/2014/main" id="{81F106FA-1298-4A00-AE89-C24BA94D5FE4}"/>
              </a:ext>
            </a:extLst>
          </p:cNvPr>
          <p:cNvCxnSpPr>
            <a:cxnSpLocks/>
          </p:cNvCxnSpPr>
          <p:nvPr/>
        </p:nvCxnSpPr>
        <p:spPr>
          <a:xfrm flipH="1">
            <a:off x="3014874" y="3632546"/>
            <a:ext cx="2756030" cy="764135"/>
          </a:xfrm>
          <a:prstGeom prst="straightConnector1">
            <a:avLst/>
          </a:prstGeom>
          <a:ln w="19050">
            <a:solidFill>
              <a:schemeClr val="bg1">
                <a:lumMod val="50000"/>
              </a:schemeClr>
            </a:solidFill>
            <a:prstDash val="dash"/>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241" name="Text Placeholder 3">
            <a:extLst>
              <a:ext uri="{FF2B5EF4-FFF2-40B4-BE49-F238E27FC236}">
                <a16:creationId xmlns:a16="http://schemas.microsoft.com/office/drawing/2014/main" id="{BC8CC175-546B-4DB8-B612-01D6728B9820}"/>
              </a:ext>
            </a:extLst>
          </p:cNvPr>
          <p:cNvSpPr txBox="1">
            <a:spLocks/>
          </p:cNvSpPr>
          <p:nvPr/>
        </p:nvSpPr>
        <p:spPr>
          <a:xfrm>
            <a:off x="7589907" y="2231365"/>
            <a:ext cx="2743972" cy="677108"/>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100000"/>
              </a:lnSpc>
              <a:spcBef>
                <a:spcPts val="1200"/>
              </a:spcBef>
              <a:spcAft>
                <a:spcPts val="0"/>
              </a:spcAft>
              <a:buClrTx/>
              <a:buSzPct val="90000"/>
              <a:buFont typeface="Arial" pitchFamily="34" charset="0"/>
              <a:buNone/>
              <a:tabLst/>
              <a:defRPr lang="en-US" sz="1600" b="1" kern="1200" spc="0" baseline="0" dirty="0" smtClean="0">
                <a:solidFill>
                  <a:schemeClr val="tx2"/>
                </a:solidFill>
                <a:latin typeface="Segoe UI Semibold" charset="0"/>
                <a:ea typeface="Segoe UI Semibold" charset="0"/>
                <a:cs typeface="Segoe UI Semibold" charset="0"/>
              </a:defRPr>
            </a:lvl1pPr>
            <a:lvl2pPr marL="236538" marR="0" indent="-236538" algn="l" defTabSz="914367" rtl="0" eaLnBrk="1" fontAlgn="auto" latinLnBrk="0" hangingPunct="1">
              <a:lnSpc>
                <a:spcPct val="100000"/>
              </a:lnSpc>
              <a:spcBef>
                <a:spcPts val="800"/>
              </a:spcBef>
              <a:spcAft>
                <a:spcPts val="400"/>
              </a:spcAft>
              <a:buClr>
                <a:schemeClr val="tx2"/>
              </a:buClr>
              <a:buSzPct val="90000"/>
              <a:buFont typeface="Arial" pitchFamily="34" charset="0"/>
              <a:buChar char="•"/>
              <a:tabLst/>
              <a:defRPr lang="en-US" sz="1600" kern="1200" spc="0" baseline="0" dirty="0" smtClean="0">
                <a:solidFill>
                  <a:schemeClr val="tx1"/>
                </a:solidFill>
                <a:latin typeface="Segoe UI Semilight" charset="0"/>
                <a:ea typeface="Segoe UI Semilight" charset="0"/>
                <a:cs typeface="Segoe UI Semilight" charset="0"/>
              </a:defRPr>
            </a:lvl2pPr>
            <a:lvl3pPr marL="784338"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3pPr>
            <a:lvl4pPr marL="1008435"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4pPr>
            <a:lvl5pPr marL="1232531"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dirty="0">
                <a:solidFill>
                  <a:srgbClr val="44546A"/>
                </a:solidFill>
              </a:rPr>
              <a:t>Provisioning Throughput at </a:t>
            </a:r>
            <a:r>
              <a:rPr lang="en-US" u="sng" dirty="0">
                <a:solidFill>
                  <a:srgbClr val="44546A"/>
                </a:solidFill>
              </a:rPr>
              <a:t>Database Level</a:t>
            </a:r>
          </a:p>
        </p:txBody>
      </p:sp>
      <p:grpSp>
        <p:nvGrpSpPr>
          <p:cNvPr id="48" name="Group 47">
            <a:extLst>
              <a:ext uri="{FF2B5EF4-FFF2-40B4-BE49-F238E27FC236}">
                <a16:creationId xmlns:a16="http://schemas.microsoft.com/office/drawing/2014/main" id="{930B3E6A-A312-45E6-A2E9-BD79DFA34137}"/>
              </a:ext>
            </a:extLst>
          </p:cNvPr>
          <p:cNvGrpSpPr/>
          <p:nvPr/>
        </p:nvGrpSpPr>
        <p:grpSpPr>
          <a:xfrm>
            <a:off x="7931218" y="3624909"/>
            <a:ext cx="2172787" cy="562143"/>
            <a:chOff x="7931217" y="3396308"/>
            <a:chExt cx="2172787" cy="562143"/>
          </a:xfrm>
        </p:grpSpPr>
        <p:sp>
          <p:nvSpPr>
            <p:cNvPr id="247" name="Freeform: Shape 83">
              <a:extLst>
                <a:ext uri="{FF2B5EF4-FFF2-40B4-BE49-F238E27FC236}">
                  <a16:creationId xmlns:a16="http://schemas.microsoft.com/office/drawing/2014/main" id="{CE913EA9-6AA1-4B5E-BAB1-4E50764D905D}"/>
                </a:ext>
              </a:extLst>
            </p:cNvPr>
            <p:cNvSpPr/>
            <p:nvPr/>
          </p:nvSpPr>
          <p:spPr>
            <a:xfrm>
              <a:off x="8336926" y="3501890"/>
              <a:ext cx="1480028" cy="339368"/>
            </a:xfrm>
            <a:custGeom>
              <a:avLst/>
              <a:gdLst>
                <a:gd name="connsiteX0" fmla="*/ 0 w 4763589"/>
                <a:gd name="connsiteY0" fmla="*/ 2403565 h 2504203"/>
                <a:gd name="connsiteX1" fmla="*/ 2669177 w 4763589"/>
                <a:gd name="connsiteY1" fmla="*/ 2220685 h 2504203"/>
                <a:gd name="connsiteX2" fmla="*/ 4763589 w 4763589"/>
                <a:gd name="connsiteY2" fmla="*/ 0 h 2504203"/>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14882"/>
                <a:gd name="connsiteX1" fmla="*/ 4763589 w 4763589"/>
                <a:gd name="connsiteY1" fmla="*/ 0 h 2414882"/>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Lst>
              <a:ahLst/>
              <a:cxnLst>
                <a:cxn ang="0">
                  <a:pos x="connsiteX0" y="connsiteY0"/>
                </a:cxn>
                <a:cxn ang="0">
                  <a:pos x="connsiteX1" y="connsiteY1"/>
                </a:cxn>
              </a:cxnLst>
              <a:rect l="l" t="t" r="r" b="b"/>
              <a:pathLst>
                <a:path w="4763589" h="2403565">
                  <a:moveTo>
                    <a:pt x="0" y="2403565"/>
                  </a:moveTo>
                  <a:cubicBezTo>
                    <a:pt x="1612078" y="2269470"/>
                    <a:pt x="3695453" y="1313760"/>
                    <a:pt x="4763589" y="0"/>
                  </a:cubicBezTo>
                </a:path>
              </a:pathLst>
            </a:custGeom>
            <a:noFill/>
            <a:ln w="19050" cap="sq">
              <a:solidFill>
                <a:schemeClr val="tx2"/>
              </a:solidFill>
              <a:prstDash val="sysDot"/>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Semilight"/>
              </a:endParaRPr>
            </a:p>
          </p:txBody>
        </p:sp>
        <p:sp>
          <p:nvSpPr>
            <p:cNvPr id="252" name="Freeform: Shape 251">
              <a:extLst>
                <a:ext uri="{FF2B5EF4-FFF2-40B4-BE49-F238E27FC236}">
                  <a16:creationId xmlns:a16="http://schemas.microsoft.com/office/drawing/2014/main" id="{EA049852-ABB3-456F-8D0C-48DD0C4C802C}"/>
                </a:ext>
              </a:extLst>
            </p:cNvPr>
            <p:cNvSpPr/>
            <p:nvPr/>
          </p:nvSpPr>
          <p:spPr bwMode="auto">
            <a:xfrm>
              <a:off x="9869492" y="3396308"/>
              <a:ext cx="234512" cy="105582"/>
            </a:xfrm>
            <a:custGeom>
              <a:avLst/>
              <a:gdLst/>
              <a:ahLst/>
              <a:cxnLst/>
              <a:rect l="l" t="t" r="r" b="b"/>
              <a:pathLst>
                <a:path w="367526" h="185858">
                  <a:moveTo>
                    <a:pt x="87999" y="0"/>
                  </a:moveTo>
                  <a:cubicBezTo>
                    <a:pt x="126946" y="0"/>
                    <a:pt x="158908" y="24075"/>
                    <a:pt x="183886" y="72224"/>
                  </a:cubicBezTo>
                  <a:cubicBezTo>
                    <a:pt x="197033" y="48889"/>
                    <a:pt x="212151" y="31018"/>
                    <a:pt x="229242" y="18611"/>
                  </a:cubicBezTo>
                  <a:cubicBezTo>
                    <a:pt x="246332" y="6204"/>
                    <a:pt x="263176" y="0"/>
                    <a:pt x="279773" y="0"/>
                  </a:cubicBezTo>
                  <a:cubicBezTo>
                    <a:pt x="306066" y="0"/>
                    <a:pt x="327265" y="8504"/>
                    <a:pt x="343370" y="25512"/>
                  </a:cubicBezTo>
                  <a:cubicBezTo>
                    <a:pt x="359474" y="42521"/>
                    <a:pt x="367526" y="64664"/>
                    <a:pt x="367526" y="91943"/>
                  </a:cubicBezTo>
                  <a:cubicBezTo>
                    <a:pt x="367526" y="117415"/>
                    <a:pt x="359104" y="139435"/>
                    <a:pt x="342260" y="158004"/>
                  </a:cubicBezTo>
                  <a:cubicBezTo>
                    <a:pt x="325416" y="176574"/>
                    <a:pt x="304587" y="185858"/>
                    <a:pt x="279773" y="185858"/>
                  </a:cubicBezTo>
                  <a:cubicBezTo>
                    <a:pt x="241156" y="185858"/>
                    <a:pt x="209029" y="161784"/>
                    <a:pt x="183393" y="113635"/>
                  </a:cubicBezTo>
                  <a:cubicBezTo>
                    <a:pt x="169918" y="137134"/>
                    <a:pt x="154718" y="155046"/>
                    <a:pt x="137791" y="167371"/>
                  </a:cubicBezTo>
                  <a:cubicBezTo>
                    <a:pt x="120865" y="179696"/>
                    <a:pt x="104268" y="185858"/>
                    <a:pt x="87999" y="185858"/>
                  </a:cubicBezTo>
                  <a:cubicBezTo>
                    <a:pt x="61870" y="185858"/>
                    <a:pt x="40672" y="177395"/>
                    <a:pt x="24403" y="160469"/>
                  </a:cubicBezTo>
                  <a:cubicBezTo>
                    <a:pt x="8134" y="143543"/>
                    <a:pt x="0" y="121359"/>
                    <a:pt x="0" y="93915"/>
                  </a:cubicBezTo>
                  <a:cubicBezTo>
                    <a:pt x="0" y="68444"/>
                    <a:pt x="8463" y="46424"/>
                    <a:pt x="25389" y="27854"/>
                  </a:cubicBezTo>
                  <a:cubicBezTo>
                    <a:pt x="42315" y="9285"/>
                    <a:pt x="63185" y="0"/>
                    <a:pt x="87999" y="0"/>
                  </a:cubicBezTo>
                  <a:close/>
                  <a:moveTo>
                    <a:pt x="87999" y="19720"/>
                  </a:moveTo>
                  <a:cubicBezTo>
                    <a:pt x="67786" y="19720"/>
                    <a:pt x="51518" y="26663"/>
                    <a:pt x="39193" y="40549"/>
                  </a:cubicBezTo>
                  <a:cubicBezTo>
                    <a:pt x="26868" y="54435"/>
                    <a:pt x="20706" y="72224"/>
                    <a:pt x="20706" y="93915"/>
                  </a:cubicBezTo>
                  <a:cubicBezTo>
                    <a:pt x="20706" y="114128"/>
                    <a:pt x="27032" y="131136"/>
                    <a:pt x="39686" y="144940"/>
                  </a:cubicBezTo>
                  <a:cubicBezTo>
                    <a:pt x="52339" y="158744"/>
                    <a:pt x="68444" y="165646"/>
                    <a:pt x="87999" y="165646"/>
                  </a:cubicBezTo>
                  <a:cubicBezTo>
                    <a:pt x="119386" y="165646"/>
                    <a:pt x="148144" y="141407"/>
                    <a:pt x="174273" y="92929"/>
                  </a:cubicBezTo>
                  <a:cubicBezTo>
                    <a:pt x="150609" y="44123"/>
                    <a:pt x="121851" y="19720"/>
                    <a:pt x="87999" y="19720"/>
                  </a:cubicBezTo>
                  <a:close/>
                  <a:moveTo>
                    <a:pt x="279773" y="19720"/>
                  </a:moveTo>
                  <a:cubicBezTo>
                    <a:pt x="248222" y="19720"/>
                    <a:pt x="219464" y="44123"/>
                    <a:pt x="193500" y="92929"/>
                  </a:cubicBezTo>
                  <a:cubicBezTo>
                    <a:pt x="216670" y="141407"/>
                    <a:pt x="245428" y="165646"/>
                    <a:pt x="279773" y="165646"/>
                  </a:cubicBezTo>
                  <a:cubicBezTo>
                    <a:pt x="299986" y="165646"/>
                    <a:pt x="316132" y="158744"/>
                    <a:pt x="328210" y="144940"/>
                  </a:cubicBezTo>
                  <a:cubicBezTo>
                    <a:pt x="340288" y="131136"/>
                    <a:pt x="346328" y="113471"/>
                    <a:pt x="346328" y="91943"/>
                  </a:cubicBezTo>
                  <a:cubicBezTo>
                    <a:pt x="346328" y="71402"/>
                    <a:pt x="340042" y="54229"/>
                    <a:pt x="327471" y="40426"/>
                  </a:cubicBezTo>
                  <a:cubicBezTo>
                    <a:pt x="314899" y="26622"/>
                    <a:pt x="299000" y="19720"/>
                    <a:pt x="279773" y="19720"/>
                  </a:cubicBezTo>
                  <a:close/>
                </a:path>
              </a:pathLst>
            </a:custGeom>
            <a:solidFill>
              <a:schemeClr val="tx2"/>
            </a:solidFill>
            <a:ln w="95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89" name="TextBox 288">
              <a:extLst>
                <a:ext uri="{FF2B5EF4-FFF2-40B4-BE49-F238E27FC236}">
                  <a16:creationId xmlns:a16="http://schemas.microsoft.com/office/drawing/2014/main" id="{B256ADEF-8E46-4007-A573-ED2E60B4B9F6}"/>
                </a:ext>
              </a:extLst>
            </p:cNvPr>
            <p:cNvSpPr txBox="1"/>
            <p:nvPr/>
          </p:nvSpPr>
          <p:spPr>
            <a:xfrm>
              <a:off x="7931217" y="3727619"/>
              <a:ext cx="388248" cy="230832"/>
            </a:xfrm>
            <a:prstGeom prst="rect">
              <a:avLst/>
            </a:prstGeom>
            <a:noFill/>
          </p:spPr>
          <p:txBody>
            <a:bodyPr wrap="none" lIns="91440" rtlCol="0">
              <a:spAutoFit/>
            </a:bodyPr>
            <a:lstStyle/>
            <a:p>
              <a:pPr algn="ctr">
                <a:defRPr/>
              </a:pPr>
              <a:r>
                <a:rPr lang="en-US" sz="900" dirty="0">
                  <a:solidFill>
                    <a:srgbClr val="0078D7"/>
                  </a:solidFill>
                  <a:latin typeface="Segoe UI Semibold" panose="020B0702040204020203" pitchFamily="34" charset="0"/>
                  <a:cs typeface="Segoe UI Semibold" panose="020B0702040204020203" pitchFamily="34" charset="0"/>
                </a:rPr>
                <a:t>RUs</a:t>
              </a:r>
            </a:p>
          </p:txBody>
        </p:sp>
      </p:grpSp>
      <p:grpSp>
        <p:nvGrpSpPr>
          <p:cNvPr id="290" name="Group 289">
            <a:extLst>
              <a:ext uri="{FF2B5EF4-FFF2-40B4-BE49-F238E27FC236}">
                <a16:creationId xmlns:a16="http://schemas.microsoft.com/office/drawing/2014/main" id="{5879476B-4C07-4256-954F-C60CFCD9CD8B}"/>
              </a:ext>
            </a:extLst>
          </p:cNvPr>
          <p:cNvGrpSpPr/>
          <p:nvPr/>
        </p:nvGrpSpPr>
        <p:grpSpPr>
          <a:xfrm>
            <a:off x="1819278" y="3814152"/>
            <a:ext cx="2172787" cy="562143"/>
            <a:chOff x="7931217" y="3396308"/>
            <a:chExt cx="2172787" cy="562143"/>
          </a:xfrm>
        </p:grpSpPr>
        <p:sp>
          <p:nvSpPr>
            <p:cNvPr id="291" name="Freeform: Shape 83">
              <a:extLst>
                <a:ext uri="{FF2B5EF4-FFF2-40B4-BE49-F238E27FC236}">
                  <a16:creationId xmlns:a16="http://schemas.microsoft.com/office/drawing/2014/main" id="{F52F5E67-E654-4570-B71F-B283A3532A54}"/>
                </a:ext>
              </a:extLst>
            </p:cNvPr>
            <p:cNvSpPr/>
            <p:nvPr/>
          </p:nvSpPr>
          <p:spPr>
            <a:xfrm>
              <a:off x="8336926" y="3501890"/>
              <a:ext cx="1480028" cy="339368"/>
            </a:xfrm>
            <a:custGeom>
              <a:avLst/>
              <a:gdLst>
                <a:gd name="connsiteX0" fmla="*/ 0 w 4763589"/>
                <a:gd name="connsiteY0" fmla="*/ 2403565 h 2504203"/>
                <a:gd name="connsiteX1" fmla="*/ 2669177 w 4763589"/>
                <a:gd name="connsiteY1" fmla="*/ 2220685 h 2504203"/>
                <a:gd name="connsiteX2" fmla="*/ 4763589 w 4763589"/>
                <a:gd name="connsiteY2" fmla="*/ 0 h 2504203"/>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14882"/>
                <a:gd name="connsiteX1" fmla="*/ 4763589 w 4763589"/>
                <a:gd name="connsiteY1" fmla="*/ 0 h 2414882"/>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Lst>
              <a:ahLst/>
              <a:cxnLst>
                <a:cxn ang="0">
                  <a:pos x="connsiteX0" y="connsiteY0"/>
                </a:cxn>
                <a:cxn ang="0">
                  <a:pos x="connsiteX1" y="connsiteY1"/>
                </a:cxn>
              </a:cxnLst>
              <a:rect l="l" t="t" r="r" b="b"/>
              <a:pathLst>
                <a:path w="4763589" h="2403565">
                  <a:moveTo>
                    <a:pt x="0" y="2403565"/>
                  </a:moveTo>
                  <a:cubicBezTo>
                    <a:pt x="1612078" y="2269470"/>
                    <a:pt x="3695453" y="1313760"/>
                    <a:pt x="4763589" y="0"/>
                  </a:cubicBezTo>
                </a:path>
              </a:pathLst>
            </a:custGeom>
            <a:noFill/>
            <a:ln w="19050" cap="sq">
              <a:solidFill>
                <a:schemeClr val="tx2"/>
              </a:solidFill>
              <a:prstDash val="sysDot"/>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Semilight"/>
              </a:endParaRPr>
            </a:p>
          </p:txBody>
        </p:sp>
        <p:sp>
          <p:nvSpPr>
            <p:cNvPr id="292" name="Freeform: Shape 291">
              <a:extLst>
                <a:ext uri="{FF2B5EF4-FFF2-40B4-BE49-F238E27FC236}">
                  <a16:creationId xmlns:a16="http://schemas.microsoft.com/office/drawing/2014/main" id="{1DF3C627-7D7E-480C-8172-1606AFBB8583}"/>
                </a:ext>
              </a:extLst>
            </p:cNvPr>
            <p:cNvSpPr/>
            <p:nvPr/>
          </p:nvSpPr>
          <p:spPr bwMode="auto">
            <a:xfrm>
              <a:off x="9869492" y="3396308"/>
              <a:ext cx="234512" cy="105582"/>
            </a:xfrm>
            <a:custGeom>
              <a:avLst/>
              <a:gdLst/>
              <a:ahLst/>
              <a:cxnLst/>
              <a:rect l="l" t="t" r="r" b="b"/>
              <a:pathLst>
                <a:path w="367526" h="185858">
                  <a:moveTo>
                    <a:pt x="87999" y="0"/>
                  </a:moveTo>
                  <a:cubicBezTo>
                    <a:pt x="126946" y="0"/>
                    <a:pt x="158908" y="24075"/>
                    <a:pt x="183886" y="72224"/>
                  </a:cubicBezTo>
                  <a:cubicBezTo>
                    <a:pt x="197033" y="48889"/>
                    <a:pt x="212151" y="31018"/>
                    <a:pt x="229242" y="18611"/>
                  </a:cubicBezTo>
                  <a:cubicBezTo>
                    <a:pt x="246332" y="6204"/>
                    <a:pt x="263176" y="0"/>
                    <a:pt x="279773" y="0"/>
                  </a:cubicBezTo>
                  <a:cubicBezTo>
                    <a:pt x="306066" y="0"/>
                    <a:pt x="327265" y="8504"/>
                    <a:pt x="343370" y="25512"/>
                  </a:cubicBezTo>
                  <a:cubicBezTo>
                    <a:pt x="359474" y="42521"/>
                    <a:pt x="367526" y="64664"/>
                    <a:pt x="367526" y="91943"/>
                  </a:cubicBezTo>
                  <a:cubicBezTo>
                    <a:pt x="367526" y="117415"/>
                    <a:pt x="359104" y="139435"/>
                    <a:pt x="342260" y="158004"/>
                  </a:cubicBezTo>
                  <a:cubicBezTo>
                    <a:pt x="325416" y="176574"/>
                    <a:pt x="304587" y="185858"/>
                    <a:pt x="279773" y="185858"/>
                  </a:cubicBezTo>
                  <a:cubicBezTo>
                    <a:pt x="241156" y="185858"/>
                    <a:pt x="209029" y="161784"/>
                    <a:pt x="183393" y="113635"/>
                  </a:cubicBezTo>
                  <a:cubicBezTo>
                    <a:pt x="169918" y="137134"/>
                    <a:pt x="154718" y="155046"/>
                    <a:pt x="137791" y="167371"/>
                  </a:cubicBezTo>
                  <a:cubicBezTo>
                    <a:pt x="120865" y="179696"/>
                    <a:pt x="104268" y="185858"/>
                    <a:pt x="87999" y="185858"/>
                  </a:cubicBezTo>
                  <a:cubicBezTo>
                    <a:pt x="61870" y="185858"/>
                    <a:pt x="40672" y="177395"/>
                    <a:pt x="24403" y="160469"/>
                  </a:cubicBezTo>
                  <a:cubicBezTo>
                    <a:pt x="8134" y="143543"/>
                    <a:pt x="0" y="121359"/>
                    <a:pt x="0" y="93915"/>
                  </a:cubicBezTo>
                  <a:cubicBezTo>
                    <a:pt x="0" y="68444"/>
                    <a:pt x="8463" y="46424"/>
                    <a:pt x="25389" y="27854"/>
                  </a:cubicBezTo>
                  <a:cubicBezTo>
                    <a:pt x="42315" y="9285"/>
                    <a:pt x="63185" y="0"/>
                    <a:pt x="87999" y="0"/>
                  </a:cubicBezTo>
                  <a:close/>
                  <a:moveTo>
                    <a:pt x="87999" y="19720"/>
                  </a:moveTo>
                  <a:cubicBezTo>
                    <a:pt x="67786" y="19720"/>
                    <a:pt x="51518" y="26663"/>
                    <a:pt x="39193" y="40549"/>
                  </a:cubicBezTo>
                  <a:cubicBezTo>
                    <a:pt x="26868" y="54435"/>
                    <a:pt x="20706" y="72224"/>
                    <a:pt x="20706" y="93915"/>
                  </a:cubicBezTo>
                  <a:cubicBezTo>
                    <a:pt x="20706" y="114128"/>
                    <a:pt x="27032" y="131136"/>
                    <a:pt x="39686" y="144940"/>
                  </a:cubicBezTo>
                  <a:cubicBezTo>
                    <a:pt x="52339" y="158744"/>
                    <a:pt x="68444" y="165646"/>
                    <a:pt x="87999" y="165646"/>
                  </a:cubicBezTo>
                  <a:cubicBezTo>
                    <a:pt x="119386" y="165646"/>
                    <a:pt x="148144" y="141407"/>
                    <a:pt x="174273" y="92929"/>
                  </a:cubicBezTo>
                  <a:cubicBezTo>
                    <a:pt x="150609" y="44123"/>
                    <a:pt x="121851" y="19720"/>
                    <a:pt x="87999" y="19720"/>
                  </a:cubicBezTo>
                  <a:close/>
                  <a:moveTo>
                    <a:pt x="279773" y="19720"/>
                  </a:moveTo>
                  <a:cubicBezTo>
                    <a:pt x="248222" y="19720"/>
                    <a:pt x="219464" y="44123"/>
                    <a:pt x="193500" y="92929"/>
                  </a:cubicBezTo>
                  <a:cubicBezTo>
                    <a:pt x="216670" y="141407"/>
                    <a:pt x="245428" y="165646"/>
                    <a:pt x="279773" y="165646"/>
                  </a:cubicBezTo>
                  <a:cubicBezTo>
                    <a:pt x="299986" y="165646"/>
                    <a:pt x="316132" y="158744"/>
                    <a:pt x="328210" y="144940"/>
                  </a:cubicBezTo>
                  <a:cubicBezTo>
                    <a:pt x="340288" y="131136"/>
                    <a:pt x="346328" y="113471"/>
                    <a:pt x="346328" y="91943"/>
                  </a:cubicBezTo>
                  <a:cubicBezTo>
                    <a:pt x="346328" y="71402"/>
                    <a:pt x="340042" y="54229"/>
                    <a:pt x="327471" y="40426"/>
                  </a:cubicBezTo>
                  <a:cubicBezTo>
                    <a:pt x="314899" y="26622"/>
                    <a:pt x="299000" y="19720"/>
                    <a:pt x="279773" y="19720"/>
                  </a:cubicBezTo>
                  <a:close/>
                </a:path>
              </a:pathLst>
            </a:custGeom>
            <a:solidFill>
              <a:schemeClr val="tx2"/>
            </a:solidFill>
            <a:ln w="95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93" name="TextBox 292">
              <a:extLst>
                <a:ext uri="{FF2B5EF4-FFF2-40B4-BE49-F238E27FC236}">
                  <a16:creationId xmlns:a16="http://schemas.microsoft.com/office/drawing/2014/main" id="{7270D844-3201-4306-A55B-99A8FF976BD3}"/>
                </a:ext>
              </a:extLst>
            </p:cNvPr>
            <p:cNvSpPr txBox="1"/>
            <p:nvPr/>
          </p:nvSpPr>
          <p:spPr>
            <a:xfrm>
              <a:off x="7931217" y="3727619"/>
              <a:ext cx="388248" cy="230832"/>
            </a:xfrm>
            <a:prstGeom prst="rect">
              <a:avLst/>
            </a:prstGeom>
            <a:noFill/>
          </p:spPr>
          <p:txBody>
            <a:bodyPr wrap="none" lIns="91440" rtlCol="0">
              <a:spAutoFit/>
            </a:bodyPr>
            <a:lstStyle/>
            <a:p>
              <a:pPr algn="ctr">
                <a:defRPr/>
              </a:pPr>
              <a:r>
                <a:rPr lang="en-US" sz="900" dirty="0">
                  <a:solidFill>
                    <a:srgbClr val="0078D7"/>
                  </a:solidFill>
                  <a:latin typeface="Segoe UI Semibold" panose="020B0702040204020203" pitchFamily="34" charset="0"/>
                  <a:cs typeface="Segoe UI Semibold" panose="020B0702040204020203" pitchFamily="34" charset="0"/>
                </a:rPr>
                <a:t>RUs</a:t>
              </a:r>
            </a:p>
          </p:txBody>
        </p:sp>
      </p:grpSp>
      <p:sp>
        <p:nvSpPr>
          <p:cNvPr id="239" name="Content Placeholder 2">
            <a:extLst>
              <a:ext uri="{FF2B5EF4-FFF2-40B4-BE49-F238E27FC236}">
                <a16:creationId xmlns:a16="http://schemas.microsoft.com/office/drawing/2014/main" id="{9D882223-EEB3-454C-A38E-46B98E3367FB}"/>
              </a:ext>
            </a:extLst>
          </p:cNvPr>
          <p:cNvSpPr txBox="1">
            <a:spLocks/>
          </p:cNvSpPr>
          <p:nvPr/>
        </p:nvSpPr>
        <p:spPr>
          <a:xfrm>
            <a:off x="226602" y="6378758"/>
            <a:ext cx="9111512" cy="1415685"/>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US" sz="1200" dirty="0">
                <a:solidFill>
                  <a:prstClr val="black"/>
                </a:solidFill>
              </a:rPr>
              <a:t>Provision throughput on a database and share across containers.</a:t>
            </a:r>
          </a:p>
          <a:p>
            <a:pPr>
              <a:spcBef>
                <a:spcPts val="0"/>
              </a:spcBef>
            </a:pPr>
            <a:r>
              <a:rPr lang="en-US" sz="1200" dirty="0">
                <a:solidFill>
                  <a:prstClr val="black"/>
                </a:solidFill>
              </a:rPr>
              <a:t>Defined throughput based on your application’s data model.</a:t>
            </a:r>
          </a:p>
          <a:p>
            <a:pPr>
              <a:spcBef>
                <a:spcPts val="0"/>
              </a:spcBef>
            </a:pPr>
            <a:r>
              <a:rPr lang="en-US" sz="1200" dirty="0">
                <a:solidFill>
                  <a:prstClr val="black"/>
                </a:solidFill>
              </a:rPr>
              <a:t>Ability to control costs at different granularities.</a:t>
            </a:r>
          </a:p>
          <a:p>
            <a:endParaRPr lang="en-US" sz="1200" dirty="0">
              <a:solidFill>
                <a:prstClr val="black"/>
              </a:solidFill>
            </a:endParaRPr>
          </a:p>
        </p:txBody>
      </p:sp>
      <p:sp>
        <p:nvSpPr>
          <p:cNvPr id="240" name="Rectangle 239">
            <a:extLst>
              <a:ext uri="{FF2B5EF4-FFF2-40B4-BE49-F238E27FC236}">
                <a16:creationId xmlns:a16="http://schemas.microsoft.com/office/drawing/2014/main" id="{6522E43C-C2D0-4BD2-8748-3ED3CF426E54}"/>
              </a:ext>
            </a:extLst>
          </p:cNvPr>
          <p:cNvSpPr/>
          <p:nvPr/>
        </p:nvSpPr>
        <p:spPr>
          <a:xfrm>
            <a:off x="9359900" y="244475"/>
            <a:ext cx="2832100" cy="698500"/>
          </a:xfrm>
          <a:prstGeom prst="rect">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prstClr val="white"/>
                </a:solidFill>
                <a:latin typeface="Segoe UI Light" panose="020B0502040204020203" pitchFamily="34" charset="0"/>
                <a:cs typeface="Segoe UI Light" panose="020B0502040204020203" pitchFamily="34" charset="0"/>
              </a:rPr>
              <a:t>Public Preview</a:t>
            </a:r>
          </a:p>
        </p:txBody>
      </p:sp>
    </p:spTree>
    <p:extLst>
      <p:ext uri="{BB962C8B-B14F-4D97-AF65-F5344CB8AC3E}">
        <p14:creationId xmlns:p14="http://schemas.microsoft.com/office/powerpoint/2010/main" val="880605235"/>
      </p:ext>
    </p:extLst>
  </p:cSld>
  <p:clrMapOvr>
    <a:masterClrMapping/>
  </p:clrMapOvr>
  <p:transition>
    <p:fade/>
  </p:transition>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A484FD-F658-4F2C-9A32-E9531D8DFE4C}"/>
              </a:ext>
            </a:extLst>
          </p:cNvPr>
          <p:cNvSpPr>
            <a:spLocks noGrp="1"/>
          </p:cNvSpPr>
          <p:nvPr>
            <p:ph type="title"/>
          </p:nvPr>
        </p:nvSpPr>
        <p:spPr/>
        <p:txBody>
          <a:bodyPr>
            <a:normAutofit/>
          </a:bodyPr>
          <a:lstStyle/>
          <a:p>
            <a:r>
              <a:rPr lang="en-US" dirty="0">
                <a:latin typeface="Segoe UI Light" panose="020B0502040204020203" pitchFamily="34" charset="0"/>
                <a:cs typeface="Segoe UI Light" panose="020B0502040204020203" pitchFamily="34" charset="0"/>
              </a:rPr>
              <a:t>Bulk Executor Library</a:t>
            </a:r>
          </a:p>
        </p:txBody>
      </p:sp>
      <p:sp>
        <p:nvSpPr>
          <p:cNvPr id="3" name="Content Placeholder 2">
            <a:extLst>
              <a:ext uri="{FF2B5EF4-FFF2-40B4-BE49-F238E27FC236}">
                <a16:creationId xmlns:a16="http://schemas.microsoft.com/office/drawing/2014/main" id="{16B587F4-1D5A-41B2-AA69-DC925549EB53}"/>
              </a:ext>
            </a:extLst>
          </p:cNvPr>
          <p:cNvSpPr>
            <a:spLocks noGrp="1"/>
          </p:cNvSpPr>
          <p:nvPr>
            <p:ph sz="half" idx="1"/>
          </p:nvPr>
        </p:nvSpPr>
        <p:spPr/>
        <p:txBody>
          <a:bodyPr>
            <a:normAutofit/>
          </a:bodyPr>
          <a:lstStyle/>
          <a:p>
            <a:r>
              <a:rPr lang="en-US" sz="2000" dirty="0"/>
              <a:t>Perform bulk-operations.</a:t>
            </a:r>
          </a:p>
          <a:p>
            <a:r>
              <a:rPr lang="en-US" sz="2000" dirty="0"/>
              <a:t>&gt;10x better write throughput</a:t>
            </a:r>
          </a:p>
          <a:p>
            <a:r>
              <a:rPr lang="en-US" sz="2000" dirty="0"/>
              <a:t>Handling for:</a:t>
            </a:r>
          </a:p>
          <a:p>
            <a:pPr lvl="1"/>
            <a:r>
              <a:rPr lang="en-US" sz="1600" dirty="0"/>
              <a:t>Rate-limiting</a:t>
            </a:r>
          </a:p>
          <a:p>
            <a:pPr lvl="1"/>
            <a:r>
              <a:rPr lang="en-US" sz="1600" dirty="0"/>
              <a:t>Timeouts</a:t>
            </a:r>
          </a:p>
          <a:p>
            <a:pPr lvl="1"/>
            <a:r>
              <a:rPr lang="en-US" sz="1600" dirty="0"/>
              <a:t>Transient faults</a:t>
            </a:r>
          </a:p>
          <a:p>
            <a:r>
              <a:rPr lang="en-US" sz="2000" dirty="0"/>
              <a:t>Integrated with ADF v2</a:t>
            </a:r>
          </a:p>
        </p:txBody>
      </p:sp>
      <p:sp>
        <p:nvSpPr>
          <p:cNvPr id="4" name="Content Placeholder 3">
            <a:extLst>
              <a:ext uri="{FF2B5EF4-FFF2-40B4-BE49-F238E27FC236}">
                <a16:creationId xmlns:a16="http://schemas.microsoft.com/office/drawing/2014/main" id="{70319F09-414A-4346-8E79-1E49253C532E}"/>
              </a:ext>
            </a:extLst>
          </p:cNvPr>
          <p:cNvSpPr>
            <a:spLocks noGrp="1"/>
          </p:cNvSpPr>
          <p:nvPr>
            <p:ph sz="half" idx="2"/>
          </p:nvPr>
        </p:nvSpPr>
        <p:spPr>
          <a:xfrm>
            <a:off x="6172200" y="2054225"/>
            <a:ext cx="5181600" cy="4351338"/>
          </a:xfrm>
        </p:spPr>
        <p:txBody>
          <a:bodyPr/>
          <a:lstStyle/>
          <a:p>
            <a:r>
              <a:rPr lang="en-US" sz="2000" dirty="0"/>
              <a:t>Available for…</a:t>
            </a:r>
          </a:p>
          <a:p>
            <a:pPr lvl="1"/>
            <a:endParaRPr lang="en-US" sz="1600" dirty="0"/>
          </a:p>
          <a:p>
            <a:r>
              <a:rPr lang="en-US" sz="2000" dirty="0"/>
              <a:t>.NET: </a:t>
            </a:r>
          </a:p>
          <a:p>
            <a:r>
              <a:rPr lang="en-US" sz="1800" dirty="0">
                <a:hlinkClick r:id="rId3"/>
              </a:rPr>
              <a:t>https://aka.ms/bulkexecutordocsdotnet</a:t>
            </a:r>
            <a:r>
              <a:rPr lang="en-US" sz="1800" dirty="0"/>
              <a:t> </a:t>
            </a:r>
            <a:endParaRPr lang="en-US" sz="4000" dirty="0"/>
          </a:p>
          <a:p>
            <a:r>
              <a:rPr lang="en-US" sz="2000" dirty="0"/>
              <a:t>Java:</a:t>
            </a:r>
          </a:p>
          <a:p>
            <a:r>
              <a:rPr lang="en-US" sz="1800" dirty="0">
                <a:hlinkClick r:id="rId4"/>
              </a:rPr>
              <a:t>https://aka.ms/bulkexecutordocsjava</a:t>
            </a:r>
            <a:r>
              <a:rPr lang="en-US" sz="1800" dirty="0"/>
              <a:t> </a:t>
            </a:r>
          </a:p>
          <a:p>
            <a:endParaRPr lang="en-US" dirty="0"/>
          </a:p>
        </p:txBody>
      </p:sp>
      <p:sp>
        <p:nvSpPr>
          <p:cNvPr id="5" name="Rectangle 4">
            <a:extLst>
              <a:ext uri="{FF2B5EF4-FFF2-40B4-BE49-F238E27FC236}">
                <a16:creationId xmlns:a16="http://schemas.microsoft.com/office/drawing/2014/main" id="{69952AE0-BFE6-4093-9461-CEC1DA71349B}"/>
              </a:ext>
            </a:extLst>
          </p:cNvPr>
          <p:cNvSpPr/>
          <p:nvPr/>
        </p:nvSpPr>
        <p:spPr>
          <a:xfrm>
            <a:off x="9359900" y="244475"/>
            <a:ext cx="2832100" cy="698500"/>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prstClr val="white"/>
                </a:solidFill>
                <a:latin typeface="Segoe UI Light" panose="020B0502040204020203" pitchFamily="34" charset="0"/>
                <a:cs typeface="Segoe UI Light" panose="020B0502040204020203" pitchFamily="34" charset="0"/>
              </a:rPr>
              <a:t>Generally Available</a:t>
            </a:r>
          </a:p>
        </p:txBody>
      </p:sp>
      <p:grpSp>
        <p:nvGrpSpPr>
          <p:cNvPr id="6" name="Group 5">
            <a:extLst>
              <a:ext uri="{FF2B5EF4-FFF2-40B4-BE49-F238E27FC236}">
                <a16:creationId xmlns:a16="http://schemas.microsoft.com/office/drawing/2014/main" id="{125D47F4-F5B3-43F6-B335-93DDC639C7AE}"/>
              </a:ext>
            </a:extLst>
          </p:cNvPr>
          <p:cNvGrpSpPr/>
          <p:nvPr/>
        </p:nvGrpSpPr>
        <p:grpSpPr>
          <a:xfrm>
            <a:off x="3055615" y="5196059"/>
            <a:ext cx="5846824" cy="1265647"/>
            <a:chOff x="6026029" y="849888"/>
            <a:chExt cx="5846824" cy="1265647"/>
          </a:xfrm>
        </p:grpSpPr>
        <p:pic>
          <p:nvPicPr>
            <p:cNvPr id="7" name="Picture 6">
              <a:extLst>
                <a:ext uri="{FF2B5EF4-FFF2-40B4-BE49-F238E27FC236}">
                  <a16:creationId xmlns:a16="http://schemas.microsoft.com/office/drawing/2014/main" id="{9B5003C2-D747-4829-98D6-2847B36250DE}"/>
                </a:ext>
              </a:extLst>
            </p:cNvPr>
            <p:cNvPicPr>
              <a:picLocks noChangeAspect="1"/>
            </p:cNvPicPr>
            <p:nvPr/>
          </p:nvPicPr>
          <p:blipFill>
            <a:blip r:embed="rId5"/>
            <a:stretch>
              <a:fillRect/>
            </a:stretch>
          </p:blipFill>
          <p:spPr>
            <a:xfrm>
              <a:off x="6026029" y="849888"/>
              <a:ext cx="5846824" cy="1265647"/>
            </a:xfrm>
            <a:prstGeom prst="rect">
              <a:avLst/>
            </a:prstGeom>
            <a:ln>
              <a:noFill/>
            </a:ln>
            <a:effectLst>
              <a:outerShdw blurRad="292100" dist="139700" dir="2700000" algn="tl" rotWithShape="0">
                <a:srgbClr val="333333">
                  <a:alpha val="65000"/>
                </a:srgbClr>
              </a:outerShdw>
            </a:effectLst>
          </p:spPr>
        </p:pic>
        <p:sp>
          <p:nvSpPr>
            <p:cNvPr id="8" name="Rectangle 7">
              <a:extLst>
                <a:ext uri="{FF2B5EF4-FFF2-40B4-BE49-F238E27FC236}">
                  <a16:creationId xmlns:a16="http://schemas.microsoft.com/office/drawing/2014/main" id="{1FC11414-DC49-468E-A63A-1DA65783D1A5}"/>
                </a:ext>
              </a:extLst>
            </p:cNvPr>
            <p:cNvSpPr/>
            <p:nvPr/>
          </p:nvSpPr>
          <p:spPr bwMode="auto">
            <a:xfrm>
              <a:off x="10366625" y="1268858"/>
              <a:ext cx="806521" cy="277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spTree>
    <p:extLst>
      <p:ext uri="{BB962C8B-B14F-4D97-AF65-F5344CB8AC3E}">
        <p14:creationId xmlns:p14="http://schemas.microsoft.com/office/powerpoint/2010/main" val="1357880217"/>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A484FD-F658-4F2C-9A32-E9531D8DFE4C}"/>
              </a:ext>
            </a:extLst>
          </p:cNvPr>
          <p:cNvSpPr>
            <a:spLocks noGrp="1"/>
          </p:cNvSpPr>
          <p:nvPr>
            <p:ph type="title"/>
          </p:nvPr>
        </p:nvSpPr>
        <p:spPr/>
        <p:txBody>
          <a:bodyPr>
            <a:normAutofit/>
          </a:bodyPr>
          <a:lstStyle/>
          <a:p>
            <a:r>
              <a:rPr lang="en-US" dirty="0">
                <a:latin typeface="Segoe UI Light" panose="020B0502040204020203" pitchFamily="34" charset="0"/>
                <a:cs typeface="Segoe UI Light" panose="020B0502040204020203" pitchFamily="34" charset="0"/>
              </a:rPr>
              <a:t>Asynchronous Java SDK</a:t>
            </a:r>
          </a:p>
        </p:txBody>
      </p:sp>
      <p:sp>
        <p:nvSpPr>
          <p:cNvPr id="3" name="Content Placeholder 2">
            <a:extLst>
              <a:ext uri="{FF2B5EF4-FFF2-40B4-BE49-F238E27FC236}">
                <a16:creationId xmlns:a16="http://schemas.microsoft.com/office/drawing/2014/main" id="{16B587F4-1D5A-41B2-AA69-DC925549EB53}"/>
              </a:ext>
            </a:extLst>
          </p:cNvPr>
          <p:cNvSpPr>
            <a:spLocks noGrp="1"/>
          </p:cNvSpPr>
          <p:nvPr>
            <p:ph sz="half" idx="1"/>
          </p:nvPr>
        </p:nvSpPr>
        <p:spPr/>
        <p:txBody>
          <a:bodyPr>
            <a:normAutofit/>
          </a:bodyPr>
          <a:lstStyle/>
          <a:p>
            <a:r>
              <a:rPr lang="en-US" sz="2000" dirty="0"/>
              <a:t>Leverages the popular </a:t>
            </a:r>
            <a:r>
              <a:rPr lang="en-US" sz="2000" dirty="0" err="1"/>
              <a:t>RxJava</a:t>
            </a:r>
            <a:r>
              <a:rPr lang="en-US" sz="2000" dirty="0"/>
              <a:t> library to add a new async API surface area for composing event-based programs with observable sequences. </a:t>
            </a:r>
          </a:p>
          <a:p>
            <a:endParaRPr lang="en-US" sz="2000" dirty="0"/>
          </a:p>
          <a:p>
            <a:r>
              <a:rPr lang="en-US" sz="2000" dirty="0"/>
              <a:t>It also features an improved user experience and is also lighter weight than our previous synchronous Java SDK (yielding a 2x performance improvement on the client-side)!</a:t>
            </a:r>
          </a:p>
          <a:p>
            <a:endParaRPr lang="en-US" sz="2000" dirty="0"/>
          </a:p>
          <a:p>
            <a:r>
              <a:rPr lang="en-US" sz="2000" dirty="0"/>
              <a:t>Compose event-based programs with observable sequences.</a:t>
            </a:r>
          </a:p>
        </p:txBody>
      </p:sp>
      <p:sp>
        <p:nvSpPr>
          <p:cNvPr id="4" name="Content Placeholder 3">
            <a:extLst>
              <a:ext uri="{FF2B5EF4-FFF2-40B4-BE49-F238E27FC236}">
                <a16:creationId xmlns:a16="http://schemas.microsoft.com/office/drawing/2014/main" id="{70319F09-414A-4346-8E79-1E49253C532E}"/>
              </a:ext>
            </a:extLst>
          </p:cNvPr>
          <p:cNvSpPr>
            <a:spLocks noGrp="1"/>
          </p:cNvSpPr>
          <p:nvPr>
            <p:ph sz="half" idx="2"/>
          </p:nvPr>
        </p:nvSpPr>
        <p:spPr>
          <a:xfrm>
            <a:off x="6172200" y="2054225"/>
            <a:ext cx="5181600" cy="4351338"/>
          </a:xfrm>
        </p:spPr>
        <p:txBody>
          <a:bodyPr>
            <a:normAutofit/>
          </a:bodyPr>
          <a:lstStyle/>
          <a:p>
            <a:r>
              <a:rPr lang="en-US" sz="2000" dirty="0"/>
              <a:t>Learn more and download…</a:t>
            </a:r>
          </a:p>
          <a:p>
            <a:pPr lvl="1"/>
            <a:endParaRPr lang="en-US" sz="1600" dirty="0"/>
          </a:p>
          <a:p>
            <a:r>
              <a:rPr lang="en-US" dirty="0">
                <a:latin typeface="Segoe UI Light" panose="020B0502040204020203" pitchFamily="34" charset="0"/>
                <a:cs typeface="Segoe UI Light" panose="020B0502040204020203" pitchFamily="34" charset="0"/>
                <a:hlinkClick r:id="rId2"/>
              </a:rPr>
              <a:t>https://docs.microsoft.com/en-us/azure/cosmos-db/sql-api-sdk-async-java</a:t>
            </a:r>
            <a:r>
              <a:rPr lang="en-US" dirty="0">
                <a:latin typeface="Segoe UI Light" panose="020B0502040204020203" pitchFamily="34" charset="0"/>
                <a:cs typeface="Segoe UI Light" panose="020B0502040204020203" pitchFamily="34" charset="0"/>
              </a:rPr>
              <a:t> </a:t>
            </a:r>
          </a:p>
        </p:txBody>
      </p:sp>
      <p:sp>
        <p:nvSpPr>
          <p:cNvPr id="5" name="Rectangle 4">
            <a:extLst>
              <a:ext uri="{FF2B5EF4-FFF2-40B4-BE49-F238E27FC236}">
                <a16:creationId xmlns:a16="http://schemas.microsoft.com/office/drawing/2014/main" id="{69952AE0-BFE6-4093-9461-CEC1DA71349B}"/>
              </a:ext>
            </a:extLst>
          </p:cNvPr>
          <p:cNvSpPr/>
          <p:nvPr/>
        </p:nvSpPr>
        <p:spPr>
          <a:xfrm>
            <a:off x="9359900" y="211137"/>
            <a:ext cx="2832100" cy="698500"/>
          </a:xfrm>
          <a:prstGeom prst="rect">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prstClr val="white"/>
                </a:solidFill>
                <a:latin typeface="Segoe UI Light" panose="020B0502040204020203" pitchFamily="34" charset="0"/>
                <a:cs typeface="Segoe UI Light" panose="020B0502040204020203" pitchFamily="34" charset="0"/>
              </a:rPr>
              <a:t>Generally Available</a:t>
            </a:r>
          </a:p>
        </p:txBody>
      </p:sp>
    </p:spTree>
    <p:extLst>
      <p:ext uri="{BB962C8B-B14F-4D97-AF65-F5344CB8AC3E}">
        <p14:creationId xmlns:p14="http://schemas.microsoft.com/office/powerpoint/2010/main" val="550464548"/>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DE2C9A-E9FD-4B18-9A6C-2616AA2E5BBD}"/>
              </a:ext>
            </a:extLst>
          </p:cNvPr>
          <p:cNvSpPr>
            <a:spLocks noGrp="1"/>
          </p:cNvSpPr>
          <p:nvPr>
            <p:ph type="title"/>
          </p:nvPr>
        </p:nvSpPr>
        <p:spPr>
          <a:xfrm>
            <a:off x="838200" y="593726"/>
            <a:ext cx="10515600" cy="1325563"/>
          </a:xfrm>
        </p:spPr>
        <p:txBody>
          <a:bodyPr>
            <a:normAutofit/>
          </a:bodyPr>
          <a:lstStyle/>
          <a:p>
            <a:r>
              <a:rPr lang="en-US" dirty="0">
                <a:latin typeface="Segoe UI Light" panose="020B0502040204020203" pitchFamily="34" charset="0"/>
                <a:cs typeface="Segoe UI Light" panose="020B0502040204020203" pitchFamily="34" charset="0"/>
              </a:rPr>
              <a:t>Data Explorer</a:t>
            </a:r>
          </a:p>
        </p:txBody>
      </p:sp>
      <p:sp>
        <p:nvSpPr>
          <p:cNvPr id="3" name="Content Placeholder 2">
            <a:extLst>
              <a:ext uri="{FF2B5EF4-FFF2-40B4-BE49-F238E27FC236}">
                <a16:creationId xmlns:a16="http://schemas.microsoft.com/office/drawing/2014/main" id="{D56BC421-DF38-470E-A054-E0C6196A5C34}"/>
              </a:ext>
            </a:extLst>
          </p:cNvPr>
          <p:cNvSpPr>
            <a:spLocks noGrp="1"/>
          </p:cNvSpPr>
          <p:nvPr>
            <p:ph idx="1"/>
          </p:nvPr>
        </p:nvSpPr>
        <p:spPr>
          <a:xfrm>
            <a:off x="838201" y="2054225"/>
            <a:ext cx="3797807" cy="4351338"/>
          </a:xfrm>
        </p:spPr>
        <p:txBody>
          <a:bodyPr>
            <a:normAutofit/>
          </a:bodyPr>
          <a:lstStyle/>
          <a:p>
            <a:r>
              <a:rPr lang="en-US" sz="2000" dirty="0"/>
              <a:t>Full screen editor to write queries and read results.</a:t>
            </a:r>
          </a:p>
          <a:p>
            <a:r>
              <a:rPr lang="en-US" sz="2000" dirty="0"/>
              <a:t>Share query results with authorized users w/o portal access.</a:t>
            </a:r>
          </a:p>
          <a:p>
            <a:r>
              <a:rPr lang="en-US" sz="2000" dirty="0"/>
              <a:t>No connection strings needed.</a:t>
            </a:r>
          </a:p>
          <a:p>
            <a:r>
              <a:rPr lang="en-US" sz="2000" dirty="0"/>
              <a:t>Standalone experience from Azure Portal</a:t>
            </a:r>
          </a:p>
        </p:txBody>
      </p:sp>
      <p:pic>
        <p:nvPicPr>
          <p:cNvPr id="6146" name="Picture 2" descr="image">
            <a:extLst>
              <a:ext uri="{FF2B5EF4-FFF2-40B4-BE49-F238E27FC236}">
                <a16:creationId xmlns:a16="http://schemas.microsoft.com/office/drawing/2014/main" id="{1AF71F4F-C78F-42E9-A11A-9CD7666E31A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3102" r="14685" b="-1"/>
          <a:stretch/>
        </p:blipFill>
        <p:spPr bwMode="auto">
          <a:xfrm>
            <a:off x="5120640" y="2132882"/>
            <a:ext cx="6233160" cy="4272681"/>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1BF23363-EF16-44A4-94D6-FC50239C91FB}"/>
              </a:ext>
            </a:extLst>
          </p:cNvPr>
          <p:cNvSpPr/>
          <p:nvPr/>
        </p:nvSpPr>
        <p:spPr>
          <a:xfrm>
            <a:off x="9359900" y="244475"/>
            <a:ext cx="2832100" cy="698500"/>
          </a:xfrm>
          <a:prstGeom prst="rect">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prstClr val="white"/>
                </a:solidFill>
                <a:latin typeface="Segoe UI Light" panose="020B0502040204020203" pitchFamily="34" charset="0"/>
                <a:cs typeface="Segoe UI Light" panose="020B0502040204020203" pitchFamily="34" charset="0"/>
              </a:rPr>
              <a:t>Public Preview</a:t>
            </a:r>
          </a:p>
        </p:txBody>
      </p:sp>
    </p:spTree>
    <p:extLst>
      <p:ext uri="{BB962C8B-B14F-4D97-AF65-F5344CB8AC3E}">
        <p14:creationId xmlns:p14="http://schemas.microsoft.com/office/powerpoint/2010/main" val="4056064157"/>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93DB10-E4DA-4440-9616-226C0DFF0886}"/>
              </a:ext>
            </a:extLst>
          </p:cNvPr>
          <p:cNvSpPr>
            <a:spLocks noGrp="1"/>
          </p:cNvSpPr>
          <p:nvPr>
            <p:ph type="title"/>
          </p:nvPr>
        </p:nvSpPr>
        <p:spPr>
          <a:xfrm>
            <a:off x="2613659" y="2871413"/>
            <a:ext cx="6964682" cy="1325563"/>
          </a:xfrm>
        </p:spPr>
        <p:txBody>
          <a:bodyPr>
            <a:normAutofit/>
          </a:bodyPr>
          <a:lstStyle/>
          <a:p>
            <a:pPr algn="ctr"/>
            <a:r>
              <a:rPr lang="en-US" dirty="0">
                <a:latin typeface="Segoe UI Light" panose="020B0502040204020203" pitchFamily="34" charset="0"/>
                <a:cs typeface="Segoe UI Light" panose="020B0502040204020203" pitchFamily="34" charset="0"/>
              </a:rPr>
              <a:t>Ignite 2018 Announcements</a:t>
            </a:r>
          </a:p>
        </p:txBody>
      </p:sp>
    </p:spTree>
    <p:extLst>
      <p:ext uri="{BB962C8B-B14F-4D97-AF65-F5344CB8AC3E}">
        <p14:creationId xmlns:p14="http://schemas.microsoft.com/office/powerpoint/2010/main" val="1844946794"/>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4EBB03-040D-49FF-9B09-DFACC7B69FB1}"/>
              </a:ext>
            </a:extLst>
          </p:cNvPr>
          <p:cNvSpPr>
            <a:spLocks noGrp="1"/>
          </p:cNvSpPr>
          <p:nvPr>
            <p:ph type="title"/>
          </p:nvPr>
        </p:nvSpPr>
        <p:spPr>
          <a:xfrm>
            <a:off x="361603" y="421930"/>
            <a:ext cx="10515600" cy="1325563"/>
          </a:xfrm>
        </p:spPr>
        <p:txBody>
          <a:bodyPr>
            <a:normAutofit/>
          </a:bodyPr>
          <a:lstStyle/>
          <a:p>
            <a:r>
              <a:rPr lang="en-US" dirty="0">
                <a:latin typeface="Segoe UI Light" panose="020B0502040204020203" pitchFamily="34" charset="0"/>
                <a:cs typeface="Segoe UI Light" panose="020B0502040204020203" pitchFamily="34" charset="0"/>
              </a:rPr>
              <a:t>Azure Cosmos DB Multi-Master</a:t>
            </a:r>
          </a:p>
        </p:txBody>
      </p:sp>
      <p:pic>
        <p:nvPicPr>
          <p:cNvPr id="2054" name="Picture 6" descr="Inserting image...">
            <a:extLst>
              <a:ext uri="{FF2B5EF4-FFF2-40B4-BE49-F238E27FC236}">
                <a16:creationId xmlns:a16="http://schemas.microsoft.com/office/drawing/2014/main" id="{928B6C77-02B5-4744-B320-4F6972362DB0}"/>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0086" r="10773" b="1"/>
          <a:stretch/>
        </p:blipFill>
        <p:spPr bwMode="auto">
          <a:xfrm>
            <a:off x="5120640" y="1866875"/>
            <a:ext cx="6233160" cy="4272681"/>
          </a:xfrm>
          <a:prstGeom prst="rect">
            <a:avLst/>
          </a:prstGeom>
          <a:solidFill>
            <a:schemeClr val="bg1"/>
          </a:solidFill>
          <a:extLst/>
        </p:spPr>
      </p:pic>
      <p:sp>
        <p:nvSpPr>
          <p:cNvPr id="9" name="Rectangle 8">
            <a:extLst>
              <a:ext uri="{FF2B5EF4-FFF2-40B4-BE49-F238E27FC236}">
                <a16:creationId xmlns:a16="http://schemas.microsoft.com/office/drawing/2014/main" id="{8422B40C-26C6-42F7-BA34-E35F1DFFB544}"/>
              </a:ext>
            </a:extLst>
          </p:cNvPr>
          <p:cNvSpPr/>
          <p:nvPr/>
        </p:nvSpPr>
        <p:spPr>
          <a:xfrm>
            <a:off x="9359900" y="228600"/>
            <a:ext cx="2832100" cy="698500"/>
          </a:xfrm>
          <a:prstGeom prst="rect">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prstClr val="white"/>
                </a:solidFill>
                <a:latin typeface="Segoe UI Light" panose="020B0502040204020203" pitchFamily="34" charset="0"/>
                <a:cs typeface="Segoe UI Light" panose="020B0502040204020203" pitchFamily="34" charset="0"/>
              </a:rPr>
              <a:t>Generally Available</a:t>
            </a:r>
          </a:p>
        </p:txBody>
      </p:sp>
      <p:sp>
        <p:nvSpPr>
          <p:cNvPr id="4" name="Rectangle 3">
            <a:extLst>
              <a:ext uri="{FF2B5EF4-FFF2-40B4-BE49-F238E27FC236}">
                <a16:creationId xmlns:a16="http://schemas.microsoft.com/office/drawing/2014/main" id="{D4D23604-C7D8-4116-B900-2635391411A8}"/>
              </a:ext>
            </a:extLst>
          </p:cNvPr>
          <p:cNvSpPr/>
          <p:nvPr/>
        </p:nvSpPr>
        <p:spPr>
          <a:xfrm>
            <a:off x="487681" y="1695078"/>
            <a:ext cx="4350327" cy="5201424"/>
          </a:xfrm>
          <a:prstGeom prst="rect">
            <a:avLst/>
          </a:prstGeom>
        </p:spPr>
        <p:txBody>
          <a:bodyPr wrap="square">
            <a:spAutoFit/>
          </a:bodyPr>
          <a:lstStyle/>
          <a:p>
            <a:r>
              <a:rPr lang="en-US" b="1" dirty="0">
                <a:solidFill>
                  <a:srgbClr val="92D050"/>
                </a:solidFill>
                <a:latin typeface="Segoe UI Light" panose="020B0502040204020203" pitchFamily="34" charset="0"/>
                <a:cs typeface="Segoe UI Light" panose="020B0502040204020203" pitchFamily="34" charset="0"/>
              </a:rPr>
              <a:t>High Write Availability </a:t>
            </a:r>
          </a:p>
          <a:p>
            <a:pPr lvl="1"/>
            <a:r>
              <a:rPr lang="en-US" sz="1600" dirty="0">
                <a:solidFill>
                  <a:prstClr val="white"/>
                </a:solidFill>
                <a:latin typeface="Segoe UI Light" panose="020B0502040204020203" pitchFamily="34" charset="0"/>
                <a:cs typeface="Segoe UI Light" panose="020B0502040204020203" pitchFamily="34" charset="0"/>
              </a:rPr>
              <a:t>99.999 SLA worldwide</a:t>
            </a:r>
          </a:p>
          <a:p>
            <a:r>
              <a:rPr lang="en-US" b="1" dirty="0">
                <a:solidFill>
                  <a:srgbClr val="92D050"/>
                </a:solidFill>
                <a:latin typeface="Segoe UI Light" panose="020B0502040204020203" pitchFamily="34" charset="0"/>
                <a:cs typeface="Segoe UI Light" panose="020B0502040204020203" pitchFamily="34" charset="0"/>
              </a:rPr>
              <a:t>Low Write Latency</a:t>
            </a:r>
          </a:p>
          <a:p>
            <a:pPr lvl="1"/>
            <a:r>
              <a:rPr lang="en-US" sz="1600" dirty="0">
                <a:solidFill>
                  <a:prstClr val="white"/>
                </a:solidFill>
                <a:latin typeface="Segoe UI Light" panose="020B0502040204020203" pitchFamily="34" charset="0"/>
                <a:cs typeface="Segoe UI Light" panose="020B0502040204020203" pitchFamily="34" charset="0"/>
              </a:rPr>
              <a:t> &lt;10 </a:t>
            </a:r>
            <a:r>
              <a:rPr lang="en-US" sz="1600" dirty="0" err="1">
                <a:solidFill>
                  <a:prstClr val="white"/>
                </a:solidFill>
                <a:latin typeface="Segoe UI Light" panose="020B0502040204020203" pitchFamily="34" charset="0"/>
                <a:cs typeface="Segoe UI Light" panose="020B0502040204020203" pitchFamily="34" charset="0"/>
              </a:rPr>
              <a:t>ms</a:t>
            </a:r>
            <a:r>
              <a:rPr lang="en-US" sz="1600" dirty="0">
                <a:solidFill>
                  <a:prstClr val="white"/>
                </a:solidFill>
                <a:latin typeface="Segoe UI Light" panose="020B0502040204020203" pitchFamily="34" charset="0"/>
                <a:cs typeface="Segoe UI Light" panose="020B0502040204020203" pitchFamily="34" charset="0"/>
              </a:rPr>
              <a:t> P99 from any Azure regions</a:t>
            </a:r>
          </a:p>
          <a:p>
            <a:r>
              <a:rPr lang="en-US" b="1" dirty="0">
                <a:solidFill>
                  <a:srgbClr val="92D050"/>
                </a:solidFill>
                <a:latin typeface="Segoe UI Light" panose="020B0502040204020203" pitchFamily="34" charset="0"/>
                <a:cs typeface="Segoe UI Light" panose="020B0502040204020203" pitchFamily="34" charset="0"/>
              </a:rPr>
              <a:t>Write Scalability</a:t>
            </a:r>
          </a:p>
          <a:p>
            <a:pPr lvl="1"/>
            <a:r>
              <a:rPr lang="en-US" sz="1600" dirty="0">
                <a:solidFill>
                  <a:prstClr val="white"/>
                </a:solidFill>
                <a:latin typeface="Segoe UI Light" panose="020B0502040204020203" pitchFamily="34" charset="0"/>
                <a:cs typeface="Segoe UI Light" panose="020B0502040204020203" pitchFamily="34" charset="0"/>
              </a:rPr>
              <a:t>N Times write throughput; N = Number of regions</a:t>
            </a:r>
          </a:p>
          <a:p>
            <a:r>
              <a:rPr lang="en-US" b="1" dirty="0">
                <a:solidFill>
                  <a:srgbClr val="92D050"/>
                </a:solidFill>
                <a:latin typeface="Segoe UI Light" panose="020B0502040204020203" pitchFamily="34" charset="0"/>
                <a:cs typeface="Segoe UI Light" panose="020B0502040204020203" pitchFamily="34" charset="0"/>
              </a:rPr>
              <a:t>Tunable Consistency</a:t>
            </a:r>
          </a:p>
          <a:p>
            <a:pPr lvl="1"/>
            <a:r>
              <a:rPr lang="en-US" sz="1600" dirty="0">
                <a:solidFill>
                  <a:prstClr val="white"/>
                </a:solidFill>
                <a:latin typeface="Segoe UI Light" panose="020B0502040204020203" pitchFamily="34" charset="0"/>
                <a:cs typeface="Segoe UI Light" panose="020B0502040204020203" pitchFamily="34" charset="0"/>
              </a:rPr>
              <a:t>Composes well w/ consistency models</a:t>
            </a:r>
          </a:p>
          <a:p>
            <a:r>
              <a:rPr lang="en-US" b="1" dirty="0">
                <a:solidFill>
                  <a:srgbClr val="92D050"/>
                </a:solidFill>
                <a:latin typeface="Segoe UI Light" panose="020B0502040204020203" pitchFamily="34" charset="0"/>
                <a:cs typeface="Segoe UI Light" panose="020B0502040204020203" pitchFamily="34" charset="0"/>
              </a:rPr>
              <a:t>Flexible and Comprehensive Conflict Resolution</a:t>
            </a:r>
          </a:p>
          <a:p>
            <a:pPr lvl="2"/>
            <a:r>
              <a:rPr lang="en-US" sz="1200" dirty="0">
                <a:solidFill>
                  <a:prstClr val="white"/>
                </a:solidFill>
                <a:latin typeface="Segoe UI Light" panose="020B0502040204020203" pitchFamily="34" charset="0"/>
                <a:cs typeface="Segoe UI Light" panose="020B0502040204020203" pitchFamily="34" charset="0"/>
              </a:rPr>
              <a:t>Automatic (CRDTs)</a:t>
            </a:r>
          </a:p>
          <a:p>
            <a:pPr lvl="2"/>
            <a:r>
              <a:rPr lang="en-US" sz="1200" dirty="0">
                <a:solidFill>
                  <a:prstClr val="white"/>
                </a:solidFill>
                <a:latin typeface="Segoe UI Light" panose="020B0502040204020203" pitchFamily="34" charset="0"/>
                <a:cs typeface="Segoe UI Light" panose="020B0502040204020203" pitchFamily="34" charset="0"/>
              </a:rPr>
              <a:t>LWW</a:t>
            </a:r>
          </a:p>
          <a:p>
            <a:pPr lvl="2"/>
            <a:r>
              <a:rPr lang="en-US" sz="1200" dirty="0">
                <a:solidFill>
                  <a:prstClr val="white"/>
                </a:solidFill>
                <a:latin typeface="Segoe UI Light" panose="020B0502040204020203" pitchFamily="34" charset="0"/>
                <a:cs typeface="Segoe UI Light" panose="020B0502040204020203" pitchFamily="34" charset="0"/>
              </a:rPr>
              <a:t>Custom</a:t>
            </a:r>
          </a:p>
          <a:p>
            <a:pPr lvl="1"/>
            <a:r>
              <a:rPr lang="en-US" sz="1600" dirty="0">
                <a:solidFill>
                  <a:prstClr val="white"/>
                </a:solidFill>
                <a:latin typeface="Segoe UI Light" panose="020B0502040204020203" pitchFamily="34" charset="0"/>
                <a:cs typeface="Segoe UI Light" panose="020B0502040204020203" pitchFamily="34" charset="0"/>
              </a:rPr>
              <a:t>The support of multi-master applies to </a:t>
            </a:r>
            <a:r>
              <a:rPr lang="en-US" sz="1600" b="1" u="sng" dirty="0">
                <a:solidFill>
                  <a:prstClr val="white"/>
                </a:solidFill>
                <a:latin typeface="Segoe UI Light" panose="020B0502040204020203" pitchFamily="34" charset="0"/>
                <a:cs typeface="Segoe UI Light" panose="020B0502040204020203" pitchFamily="34" charset="0"/>
              </a:rPr>
              <a:t>all APIs</a:t>
            </a:r>
            <a:endParaRPr lang="en-US" sz="1600" dirty="0">
              <a:solidFill>
                <a:prstClr val="white"/>
              </a:solidFill>
              <a:latin typeface="Segoe UI Light" panose="020B0502040204020203" pitchFamily="34" charset="0"/>
              <a:cs typeface="Segoe UI Light" panose="020B0502040204020203" pitchFamily="34" charset="0"/>
            </a:endParaRPr>
          </a:p>
          <a:p>
            <a:pPr lvl="1"/>
            <a:r>
              <a:rPr lang="en-US" sz="1600" u="sng" dirty="0">
                <a:solidFill>
                  <a:srgbClr val="FFC000"/>
                </a:solidFill>
                <a:latin typeface="Segoe UI Light" panose="020B0502040204020203" pitchFamily="34" charset="0"/>
                <a:cs typeface="Segoe UI Light" panose="020B0502040204020203" pitchFamily="34" charset="0"/>
              </a:rPr>
              <a:t>First to offer capability for MongoDB, Graph and Table</a:t>
            </a:r>
          </a:p>
          <a:p>
            <a:pPr lvl="1"/>
            <a:endParaRPr lang="en-US" sz="1600" dirty="0">
              <a:solidFill>
                <a:prstClr val="white"/>
              </a:solidFill>
              <a:latin typeface="Segoe UI Light" panose="020B0502040204020203" pitchFamily="34" charset="0"/>
              <a:cs typeface="Segoe UI Light" panose="020B0502040204020203" pitchFamily="34" charset="0"/>
            </a:endParaRPr>
          </a:p>
          <a:p>
            <a:pPr lvl="1"/>
            <a:endParaRPr lang="en-US" sz="1600" dirty="0">
              <a:solidFill>
                <a:prstClr val="white"/>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738903077"/>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34EFFA-9A21-4A2C-B242-92E1346122A0}"/>
              </a:ext>
            </a:extLst>
          </p:cNvPr>
          <p:cNvSpPr>
            <a:spLocks noGrp="1"/>
          </p:cNvSpPr>
          <p:nvPr>
            <p:ph type="title"/>
          </p:nvPr>
        </p:nvSpPr>
        <p:spPr>
          <a:xfrm>
            <a:off x="838200" y="593726"/>
            <a:ext cx="10515600" cy="1325563"/>
          </a:xfrm>
        </p:spPr>
        <p:txBody>
          <a:bodyPr/>
          <a:lstStyle/>
          <a:p>
            <a:r>
              <a:rPr lang="en-US" dirty="0">
                <a:latin typeface="Segoe UI Light" panose="020B0502040204020203" pitchFamily="34" charset="0"/>
                <a:cs typeface="Segoe UI Light" panose="020B0502040204020203" pitchFamily="34" charset="0"/>
              </a:rPr>
              <a:t>Cassandra API</a:t>
            </a:r>
          </a:p>
        </p:txBody>
      </p:sp>
      <p:sp>
        <p:nvSpPr>
          <p:cNvPr id="3" name="Content Placeholder 2">
            <a:extLst>
              <a:ext uri="{FF2B5EF4-FFF2-40B4-BE49-F238E27FC236}">
                <a16:creationId xmlns:a16="http://schemas.microsoft.com/office/drawing/2014/main" id="{F6A98928-0C8B-4266-9EEA-53D3CF3657BC}"/>
              </a:ext>
            </a:extLst>
          </p:cNvPr>
          <p:cNvSpPr>
            <a:spLocks noGrp="1"/>
          </p:cNvSpPr>
          <p:nvPr>
            <p:ph idx="1"/>
          </p:nvPr>
        </p:nvSpPr>
        <p:spPr>
          <a:xfrm>
            <a:off x="838200" y="2054225"/>
            <a:ext cx="10515600" cy="4351338"/>
          </a:xfrm>
        </p:spPr>
        <p:txBody>
          <a:bodyPr/>
          <a:lstStyle/>
          <a:p>
            <a:r>
              <a:rPr lang="en-US" dirty="0">
                <a:latin typeface="Segoe UI Light" panose="020B0502040204020203" pitchFamily="34" charset="0"/>
                <a:cs typeface="Segoe UI Light" panose="020B0502040204020203" pitchFamily="34" charset="0"/>
              </a:rPr>
              <a:t>General availability for Azure Cosmos DB Cassandra API.</a:t>
            </a:r>
          </a:p>
          <a:p>
            <a:r>
              <a:rPr lang="en-US" dirty="0">
                <a:latin typeface="Segoe UI Light" panose="020B0502040204020203" pitchFamily="34" charset="0"/>
                <a:cs typeface="Segoe UI Light" panose="020B0502040204020203" pitchFamily="34" charset="0"/>
              </a:rPr>
              <a:t>No need to manage clusters, nodes, JVM’s or configuration settings.</a:t>
            </a:r>
          </a:p>
          <a:p>
            <a:r>
              <a:rPr lang="en-US" dirty="0">
                <a:latin typeface="Segoe UI Light" panose="020B0502040204020203" pitchFamily="34" charset="0"/>
                <a:cs typeface="Segoe UI Light" panose="020B0502040204020203" pitchFamily="34" charset="0"/>
              </a:rPr>
              <a:t>Single-digit latency, 99.999% availability, financially-backed SLA’s.</a:t>
            </a:r>
          </a:p>
          <a:p>
            <a:r>
              <a:rPr lang="en-US" dirty="0">
                <a:latin typeface="Segoe UI Light" panose="020B0502040204020203" pitchFamily="34" charset="0"/>
                <a:cs typeface="Segoe UI Light" panose="020B0502040204020203" pitchFamily="34" charset="0"/>
              </a:rPr>
              <a:t>Full support/capability with Apache Cassandra 3.11 (3.0+), CQL binary protocol v4, CQL protocol 3.4.4.</a:t>
            </a:r>
          </a:p>
        </p:txBody>
      </p:sp>
      <p:sp>
        <p:nvSpPr>
          <p:cNvPr id="14" name="Rectangle 13">
            <a:extLst>
              <a:ext uri="{FF2B5EF4-FFF2-40B4-BE49-F238E27FC236}">
                <a16:creationId xmlns:a16="http://schemas.microsoft.com/office/drawing/2014/main" id="{3AB417DA-2F6F-4225-BB72-267B8E1D78B6}"/>
              </a:ext>
            </a:extLst>
          </p:cNvPr>
          <p:cNvSpPr/>
          <p:nvPr/>
        </p:nvSpPr>
        <p:spPr>
          <a:xfrm>
            <a:off x="9359900" y="228600"/>
            <a:ext cx="2832100" cy="698500"/>
          </a:xfrm>
          <a:prstGeom prst="rect">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prstClr val="white"/>
                </a:solidFill>
                <a:latin typeface="Segoe UI Light" panose="020B0502040204020203" pitchFamily="34" charset="0"/>
                <a:cs typeface="Segoe UI Light" panose="020B0502040204020203" pitchFamily="34" charset="0"/>
              </a:rPr>
              <a:t>Generally Available</a:t>
            </a:r>
          </a:p>
        </p:txBody>
      </p:sp>
      <p:pic>
        <p:nvPicPr>
          <p:cNvPr id="5122" name="Picture 2" descr="Image result for cassandra">
            <a:extLst>
              <a:ext uri="{FF2B5EF4-FFF2-40B4-BE49-F238E27FC236}">
                <a16:creationId xmlns:a16="http://schemas.microsoft.com/office/drawing/2014/main" id="{4261808B-51D2-41F2-8E51-3E56CC4D5436}"/>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406173" y="5052221"/>
            <a:ext cx="1960502" cy="131450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A picture containing vector graphics&#10;&#10;Description generated with high confidence">
            <a:extLst>
              <a:ext uri="{FF2B5EF4-FFF2-40B4-BE49-F238E27FC236}">
                <a16:creationId xmlns:a16="http://schemas.microsoft.com/office/drawing/2014/main" id="{2390367E-A216-4823-8F4A-0CD95D8E32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54851" y="4694657"/>
            <a:ext cx="3410775" cy="1790657"/>
          </a:xfrm>
          <a:prstGeom prst="rect">
            <a:avLst/>
          </a:prstGeom>
        </p:spPr>
      </p:pic>
      <p:sp>
        <p:nvSpPr>
          <p:cNvPr id="6" name="Arrow: Right 5">
            <a:extLst>
              <a:ext uri="{FF2B5EF4-FFF2-40B4-BE49-F238E27FC236}">
                <a16:creationId xmlns:a16="http://schemas.microsoft.com/office/drawing/2014/main" id="{FFA8E831-375C-4234-87C6-48FC928BCD6E}"/>
              </a:ext>
            </a:extLst>
          </p:cNvPr>
          <p:cNvSpPr/>
          <p:nvPr/>
        </p:nvSpPr>
        <p:spPr>
          <a:xfrm>
            <a:off x="5081849" y="5589984"/>
            <a:ext cx="1149011" cy="410094"/>
          </a:xfrm>
          <a:prstGeom prst="rightArrow">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Tree>
    <p:extLst>
      <p:ext uri="{BB962C8B-B14F-4D97-AF65-F5344CB8AC3E}">
        <p14:creationId xmlns:p14="http://schemas.microsoft.com/office/powerpoint/2010/main" val="1227492032"/>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B4D057-89AF-4D96-8AE3-B92543B85441}"/>
              </a:ext>
            </a:extLst>
          </p:cNvPr>
          <p:cNvSpPr>
            <a:spLocks noGrp="1"/>
          </p:cNvSpPr>
          <p:nvPr>
            <p:ph type="title"/>
          </p:nvPr>
        </p:nvSpPr>
        <p:spPr>
          <a:xfrm>
            <a:off x="648929" y="857867"/>
            <a:ext cx="4944152" cy="1622321"/>
          </a:xfrm>
        </p:spPr>
        <p:txBody>
          <a:bodyPr>
            <a:normAutofit/>
          </a:bodyPr>
          <a:lstStyle/>
          <a:p>
            <a:r>
              <a:rPr lang="en-US" dirty="0">
                <a:latin typeface="Segoe UI Light" panose="020B0502040204020203" pitchFamily="34" charset="0"/>
                <a:cs typeface="Segoe UI Light" panose="020B0502040204020203" pitchFamily="34" charset="0"/>
              </a:rPr>
              <a:t>Reserved Capacity</a:t>
            </a:r>
          </a:p>
        </p:txBody>
      </p:sp>
      <p:sp>
        <p:nvSpPr>
          <p:cNvPr id="3" name="Content Placeholder 2">
            <a:extLst>
              <a:ext uri="{FF2B5EF4-FFF2-40B4-BE49-F238E27FC236}">
                <a16:creationId xmlns:a16="http://schemas.microsoft.com/office/drawing/2014/main" id="{6EBCCCFD-FC57-431E-BC85-4A2BD491E7B2}"/>
              </a:ext>
            </a:extLst>
          </p:cNvPr>
          <p:cNvSpPr>
            <a:spLocks noGrp="1"/>
          </p:cNvSpPr>
          <p:nvPr>
            <p:ph idx="1"/>
          </p:nvPr>
        </p:nvSpPr>
        <p:spPr>
          <a:xfrm>
            <a:off x="648930" y="2533997"/>
            <a:ext cx="4944151" cy="3785419"/>
          </a:xfrm>
        </p:spPr>
        <p:txBody>
          <a:bodyPr>
            <a:normAutofit lnSpcReduction="10000"/>
          </a:bodyPr>
          <a:lstStyle/>
          <a:p>
            <a:r>
              <a:rPr lang="en-US" sz="2400" dirty="0"/>
              <a:t>Upfront commitment on Cosmos DB Provisioned Throughput (Request Units).</a:t>
            </a:r>
          </a:p>
          <a:p>
            <a:r>
              <a:rPr lang="en-US" sz="2400" dirty="0"/>
              <a:t>Tiered discounts</a:t>
            </a:r>
          </a:p>
          <a:p>
            <a:pPr lvl="1"/>
            <a:r>
              <a:rPr lang="en-US" sz="2000" dirty="0"/>
              <a:t>More request units = more discounts.  </a:t>
            </a:r>
          </a:p>
          <a:p>
            <a:r>
              <a:rPr lang="en-US" sz="2400" dirty="0"/>
              <a:t>Discounts applied immediately</a:t>
            </a:r>
          </a:p>
          <a:p>
            <a:r>
              <a:rPr lang="en-US" sz="2400" dirty="0"/>
              <a:t>Region agnostic, will apply discounts to all regions and all APIs.</a:t>
            </a:r>
          </a:p>
          <a:p>
            <a:r>
              <a:rPr lang="en-US" sz="2400" dirty="0"/>
              <a:t>Applies to Cosmos DB usage only</a:t>
            </a:r>
          </a:p>
          <a:p>
            <a:endParaRPr lang="en-US" sz="2400" dirty="0"/>
          </a:p>
        </p:txBody>
      </p:sp>
      <p:sp>
        <p:nvSpPr>
          <p:cNvPr id="15" name="Rectangle 14">
            <a:extLst>
              <a:ext uri="{FF2B5EF4-FFF2-40B4-BE49-F238E27FC236}">
                <a16:creationId xmlns:a16="http://schemas.microsoft.com/office/drawing/2014/main" id="{46F7435D-E3DB-47B1-BA61-B00ACC83A9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092950" y="228600"/>
            <a:ext cx="6099050" cy="6858000"/>
          </a:xfrm>
          <a:prstGeom prst="rect">
            <a:avLst/>
          </a:prstGeom>
          <a:solidFill>
            <a:srgbClr val="C8CA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7" name="Rounded Rectangle 9">
            <a:extLst>
              <a:ext uri="{FF2B5EF4-FFF2-40B4-BE49-F238E27FC236}">
                <a16:creationId xmlns:a16="http://schemas.microsoft.com/office/drawing/2014/main" id="{F263A0B5-F8C4-4116-809F-78A768EA79A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577582" y="713233"/>
            <a:ext cx="5130204" cy="5739187"/>
          </a:xfrm>
          <a:prstGeom prst="roundRect">
            <a:avLst>
              <a:gd name="adj" fmla="val 0"/>
            </a:avLst>
          </a:prstGeom>
          <a:solidFill>
            <a:srgbClr val="FFFFFF"/>
          </a:solidFill>
          <a:ln w="9525">
            <a:solidFill>
              <a:srgbClr val="C8CACA"/>
            </a:solid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4" name="Rectangle 13">
            <a:extLst>
              <a:ext uri="{FF2B5EF4-FFF2-40B4-BE49-F238E27FC236}">
                <a16:creationId xmlns:a16="http://schemas.microsoft.com/office/drawing/2014/main" id="{7EE20FBD-1FAB-4F68-A7EF-ACA42713EE87}"/>
              </a:ext>
            </a:extLst>
          </p:cNvPr>
          <p:cNvSpPr/>
          <p:nvPr/>
        </p:nvSpPr>
        <p:spPr>
          <a:xfrm>
            <a:off x="9359900" y="244475"/>
            <a:ext cx="2832100" cy="698500"/>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prstClr val="white"/>
                </a:solidFill>
                <a:latin typeface="Segoe UI Light" panose="020B0502040204020203" pitchFamily="34" charset="0"/>
                <a:cs typeface="Segoe UI Light" panose="020B0502040204020203" pitchFamily="34" charset="0"/>
              </a:rPr>
              <a:t>Generally Available</a:t>
            </a:r>
          </a:p>
        </p:txBody>
      </p:sp>
      <p:graphicFrame>
        <p:nvGraphicFramePr>
          <p:cNvPr id="8" name="Table 7">
            <a:extLst>
              <a:ext uri="{FF2B5EF4-FFF2-40B4-BE49-F238E27FC236}">
                <a16:creationId xmlns:a16="http://schemas.microsoft.com/office/drawing/2014/main" id="{2E512532-3040-4EE1-9F56-7AA241A792D8}"/>
              </a:ext>
            </a:extLst>
          </p:cNvPr>
          <p:cNvGraphicFramePr>
            <a:graphicFrameLocks noGrp="1"/>
          </p:cNvGraphicFramePr>
          <p:nvPr>
            <p:extLst/>
          </p:nvPr>
        </p:nvGraphicFramePr>
        <p:xfrm>
          <a:off x="6695093" y="1035354"/>
          <a:ext cx="4669322" cy="2889666"/>
        </p:xfrm>
        <a:graphic>
          <a:graphicData uri="http://schemas.openxmlformats.org/drawingml/2006/table">
            <a:tbl>
              <a:tblPr firstRow="1" firstCol="1" bandRow="1">
                <a:noFill/>
                <a:tableStyleId>{5C22544A-7EE6-4342-B048-85BDC9FD1C3A}</a:tableStyleId>
              </a:tblPr>
              <a:tblGrid>
                <a:gridCol w="1505634">
                  <a:extLst>
                    <a:ext uri="{9D8B030D-6E8A-4147-A177-3AD203B41FA5}">
                      <a16:colId xmlns:a16="http://schemas.microsoft.com/office/drawing/2014/main" val="1232228675"/>
                    </a:ext>
                  </a:extLst>
                </a:gridCol>
                <a:gridCol w="717776">
                  <a:extLst>
                    <a:ext uri="{9D8B030D-6E8A-4147-A177-3AD203B41FA5}">
                      <a16:colId xmlns:a16="http://schemas.microsoft.com/office/drawing/2014/main" val="3898732442"/>
                    </a:ext>
                  </a:extLst>
                </a:gridCol>
                <a:gridCol w="864068">
                  <a:extLst>
                    <a:ext uri="{9D8B030D-6E8A-4147-A177-3AD203B41FA5}">
                      <a16:colId xmlns:a16="http://schemas.microsoft.com/office/drawing/2014/main" val="1073098866"/>
                    </a:ext>
                  </a:extLst>
                </a:gridCol>
                <a:gridCol w="717776">
                  <a:extLst>
                    <a:ext uri="{9D8B030D-6E8A-4147-A177-3AD203B41FA5}">
                      <a16:colId xmlns:a16="http://schemas.microsoft.com/office/drawing/2014/main" val="3817410430"/>
                    </a:ext>
                  </a:extLst>
                </a:gridCol>
                <a:gridCol w="864068">
                  <a:extLst>
                    <a:ext uri="{9D8B030D-6E8A-4147-A177-3AD203B41FA5}">
                      <a16:colId xmlns:a16="http://schemas.microsoft.com/office/drawing/2014/main" val="237717581"/>
                    </a:ext>
                  </a:extLst>
                </a:gridCol>
              </a:tblGrid>
              <a:tr h="315809">
                <a:tc>
                  <a:txBody>
                    <a:bodyPr/>
                    <a:lstStyle/>
                    <a:p>
                      <a:pPr marL="0" marR="0" algn="r">
                        <a:lnSpc>
                          <a:spcPct val="107000"/>
                        </a:lnSpc>
                        <a:spcBef>
                          <a:spcPts val="0"/>
                        </a:spcBef>
                        <a:spcAft>
                          <a:spcPts val="800"/>
                        </a:spcAft>
                      </a:pPr>
                      <a:r>
                        <a:rPr lang="en-US" sz="1000" b="1">
                          <a:solidFill>
                            <a:schemeClr val="tx1">
                              <a:lumMod val="75000"/>
                              <a:lumOff val="25000"/>
                            </a:schemeClr>
                          </a:solidFill>
                          <a:effectLst/>
                        </a:rPr>
                        <a:t> </a:t>
                      </a:r>
                      <a:endParaRPr lang="en-US" sz="1000" b="1">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216983" marT="72328" marB="72328">
                    <a:lnL w="12700" cmpd="sng">
                      <a:noFill/>
                      <a:prstDash val="solid"/>
                    </a:lnL>
                    <a:lnR w="12700" cmpd="sng">
                      <a:noFill/>
                      <a:prstDash val="solid"/>
                    </a:lnR>
                    <a:lnT w="12700" cmpd="sng">
                      <a:noFill/>
                      <a:prstDash val="solid"/>
                    </a:lnT>
                    <a:lnB w="9525" cap="flat" cmpd="sng" algn="ctr">
                      <a:solidFill>
                        <a:srgbClr val="D8DCDC"/>
                      </a:solidFill>
                      <a:prstDash val="solid"/>
                    </a:lnB>
                    <a:noFill/>
                  </a:tcPr>
                </a:tc>
                <a:tc gridSpan="2">
                  <a:txBody>
                    <a:bodyPr/>
                    <a:lstStyle/>
                    <a:p>
                      <a:pPr marL="0" marR="0">
                        <a:lnSpc>
                          <a:spcPct val="107000"/>
                        </a:lnSpc>
                        <a:spcBef>
                          <a:spcPts val="0"/>
                        </a:spcBef>
                        <a:spcAft>
                          <a:spcPts val="800"/>
                        </a:spcAft>
                      </a:pPr>
                      <a:r>
                        <a:rPr lang="en-US" sz="1000" b="1">
                          <a:solidFill>
                            <a:schemeClr val="tx1">
                              <a:lumMod val="75000"/>
                              <a:lumOff val="25000"/>
                            </a:schemeClr>
                          </a:solidFill>
                          <a:effectLst/>
                        </a:rPr>
                        <a:t>1 Year</a:t>
                      </a:r>
                      <a:endParaRPr lang="en-US" sz="1000" b="1">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48027" marT="72328" marB="72328">
                    <a:lnL w="12700" cmpd="sng">
                      <a:noFill/>
                      <a:prstDash val="solid"/>
                    </a:lnL>
                    <a:lnR w="12700" cmpd="sng">
                      <a:noFill/>
                      <a:prstDash val="solid"/>
                    </a:lnR>
                    <a:lnT w="12700" cmpd="sng">
                      <a:noFill/>
                      <a:prstDash val="solid"/>
                    </a:lnT>
                    <a:lnB w="9525" cap="flat" cmpd="sng" algn="ctr">
                      <a:solidFill>
                        <a:srgbClr val="D8DCDC"/>
                      </a:solidFill>
                      <a:prstDash val="solid"/>
                    </a:lnB>
                    <a:noFill/>
                  </a:tcPr>
                </a:tc>
                <a:tc hMerge="1">
                  <a:txBody>
                    <a:bodyPr/>
                    <a:lstStyle/>
                    <a:p>
                      <a:endParaRPr lang="en-US"/>
                    </a:p>
                  </a:txBody>
                  <a:tcPr/>
                </a:tc>
                <a:tc gridSpan="2">
                  <a:txBody>
                    <a:bodyPr/>
                    <a:lstStyle/>
                    <a:p>
                      <a:pPr marL="0" marR="0">
                        <a:lnSpc>
                          <a:spcPct val="107000"/>
                        </a:lnSpc>
                        <a:spcBef>
                          <a:spcPts val="0"/>
                        </a:spcBef>
                        <a:spcAft>
                          <a:spcPts val="800"/>
                        </a:spcAft>
                      </a:pPr>
                      <a:r>
                        <a:rPr lang="en-US" sz="1000" b="1">
                          <a:solidFill>
                            <a:schemeClr val="tx1">
                              <a:lumMod val="75000"/>
                              <a:lumOff val="25000"/>
                            </a:schemeClr>
                          </a:solidFill>
                          <a:effectLst/>
                        </a:rPr>
                        <a:t>3 Year</a:t>
                      </a:r>
                      <a:endParaRPr lang="en-US" sz="1000" b="1">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48027" marT="72328" marB="72328">
                    <a:lnL w="12700" cmpd="sng">
                      <a:noFill/>
                      <a:prstDash val="solid"/>
                    </a:lnL>
                    <a:lnR w="12700" cmpd="sng">
                      <a:noFill/>
                      <a:prstDash val="solid"/>
                    </a:lnR>
                    <a:lnT w="12700" cmpd="sng">
                      <a:noFill/>
                      <a:prstDash val="solid"/>
                    </a:lnT>
                    <a:lnB w="9525" cap="flat" cmpd="sng" algn="ctr">
                      <a:solidFill>
                        <a:srgbClr val="D8DCDC"/>
                      </a:solidFill>
                      <a:prstDash val="solid"/>
                    </a:lnB>
                    <a:noFill/>
                  </a:tcPr>
                </a:tc>
                <a:tc hMerge="1">
                  <a:txBody>
                    <a:bodyPr/>
                    <a:lstStyle/>
                    <a:p>
                      <a:endParaRPr lang="en-US"/>
                    </a:p>
                  </a:txBody>
                  <a:tcPr/>
                </a:tc>
                <a:extLst>
                  <a:ext uri="{0D108BD9-81ED-4DB2-BD59-A6C34878D82A}">
                    <a16:rowId xmlns:a16="http://schemas.microsoft.com/office/drawing/2014/main" val="685877820"/>
                  </a:ext>
                </a:extLst>
              </a:tr>
              <a:tr h="552926">
                <a:tc>
                  <a:txBody>
                    <a:bodyPr/>
                    <a:lstStyle/>
                    <a:p>
                      <a:pPr marL="0" marR="0" algn="r">
                        <a:lnSpc>
                          <a:spcPct val="107000"/>
                        </a:lnSpc>
                        <a:spcBef>
                          <a:spcPts val="0"/>
                        </a:spcBef>
                        <a:spcAft>
                          <a:spcPts val="800"/>
                        </a:spcAft>
                      </a:pPr>
                      <a:r>
                        <a:rPr lang="en-US" sz="1000" b="1">
                          <a:solidFill>
                            <a:schemeClr val="tx1">
                              <a:lumMod val="75000"/>
                              <a:lumOff val="25000"/>
                            </a:schemeClr>
                          </a:solidFill>
                          <a:effectLst/>
                        </a:rPr>
                        <a:t>Throughput</a:t>
                      </a:r>
                      <a:endParaRPr lang="en-US" sz="1000" b="1">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216983" marT="72328" marB="72328">
                    <a:lnL w="12700" cmpd="sng">
                      <a:noFill/>
                      <a:prstDash val="solid"/>
                    </a:lnL>
                    <a:lnR w="9525" cap="flat" cmpd="sng" algn="ctr">
                      <a:solidFill>
                        <a:srgbClr val="D8DCDC"/>
                      </a:solidFill>
                      <a:prstDash val="solid"/>
                    </a:lnR>
                    <a:lnT w="9525" cap="flat" cmpd="sng" algn="ctr">
                      <a:solidFill>
                        <a:srgbClr val="D8DCDC"/>
                      </a:solidFill>
                      <a:prstDash val="solid"/>
                    </a:lnT>
                    <a:lnB w="12700" cmpd="sng">
                      <a:noFill/>
                      <a:prstDash val="solid"/>
                    </a:lnB>
                    <a:noFill/>
                  </a:tcPr>
                </a:tc>
                <a:tc>
                  <a:txBody>
                    <a:bodyPr/>
                    <a:lstStyle/>
                    <a:p>
                      <a:pPr marL="0" marR="0">
                        <a:lnSpc>
                          <a:spcPct val="107000"/>
                        </a:lnSpc>
                        <a:spcBef>
                          <a:spcPts val="0"/>
                        </a:spcBef>
                        <a:spcAft>
                          <a:spcPts val="800"/>
                        </a:spcAft>
                      </a:pPr>
                      <a:r>
                        <a:rPr lang="en-US" sz="1000" dirty="0">
                          <a:solidFill>
                            <a:schemeClr val="tx1">
                              <a:lumMod val="75000"/>
                              <a:lumOff val="25000"/>
                            </a:schemeClr>
                          </a:solidFill>
                          <a:effectLst/>
                        </a:rPr>
                        <a:t>Single Region Writes</a:t>
                      </a:r>
                      <a:endParaRPr lang="en-US" sz="1000" dirty="0">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48027" marT="72328" marB="72328">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solidFill>
                      <a:srgbClr val="D8DEDC">
                        <a:alpha val="20000"/>
                      </a:srgbClr>
                    </a:solidFill>
                  </a:tcPr>
                </a:tc>
                <a:tc>
                  <a:txBody>
                    <a:bodyPr/>
                    <a:lstStyle/>
                    <a:p>
                      <a:pPr marL="0" marR="0">
                        <a:lnSpc>
                          <a:spcPct val="107000"/>
                        </a:lnSpc>
                        <a:spcBef>
                          <a:spcPts val="0"/>
                        </a:spcBef>
                        <a:spcAft>
                          <a:spcPts val="800"/>
                        </a:spcAft>
                      </a:pPr>
                      <a:r>
                        <a:rPr lang="en-US" sz="1000" dirty="0">
                          <a:solidFill>
                            <a:schemeClr val="tx1">
                              <a:lumMod val="75000"/>
                              <a:lumOff val="25000"/>
                            </a:schemeClr>
                          </a:solidFill>
                          <a:effectLst/>
                        </a:rPr>
                        <a:t>Multiple Regions Writes</a:t>
                      </a:r>
                      <a:endParaRPr lang="en-US" sz="1000" dirty="0">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48027" marT="72328" marB="72328">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solidFill>
                      <a:srgbClr val="D8DEDC">
                        <a:alpha val="20000"/>
                      </a:srgbClr>
                    </a:solidFill>
                  </a:tcPr>
                </a:tc>
                <a:tc>
                  <a:txBody>
                    <a:bodyPr/>
                    <a:lstStyle/>
                    <a:p>
                      <a:pPr marL="0" marR="0">
                        <a:lnSpc>
                          <a:spcPct val="107000"/>
                        </a:lnSpc>
                        <a:spcBef>
                          <a:spcPts val="0"/>
                        </a:spcBef>
                        <a:spcAft>
                          <a:spcPts val="800"/>
                        </a:spcAft>
                      </a:pPr>
                      <a:r>
                        <a:rPr lang="en-US" sz="1000" dirty="0">
                          <a:solidFill>
                            <a:schemeClr val="tx1">
                              <a:lumMod val="75000"/>
                              <a:lumOff val="25000"/>
                            </a:schemeClr>
                          </a:solidFill>
                          <a:effectLst/>
                        </a:rPr>
                        <a:t>Single Region Writes</a:t>
                      </a:r>
                      <a:endParaRPr lang="en-US" sz="1000" dirty="0">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48027" marT="72328" marB="72328">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solidFill>
                      <a:srgbClr val="D8DEDC">
                        <a:alpha val="20000"/>
                      </a:srgbClr>
                    </a:solidFill>
                  </a:tcPr>
                </a:tc>
                <a:tc>
                  <a:txBody>
                    <a:bodyPr/>
                    <a:lstStyle/>
                    <a:p>
                      <a:pPr marL="0" marR="0">
                        <a:lnSpc>
                          <a:spcPct val="107000"/>
                        </a:lnSpc>
                        <a:spcBef>
                          <a:spcPts val="0"/>
                        </a:spcBef>
                        <a:spcAft>
                          <a:spcPts val="800"/>
                        </a:spcAft>
                      </a:pPr>
                      <a:r>
                        <a:rPr lang="en-US" sz="1000" dirty="0">
                          <a:solidFill>
                            <a:schemeClr val="tx1">
                              <a:lumMod val="75000"/>
                              <a:lumOff val="25000"/>
                            </a:schemeClr>
                          </a:solidFill>
                          <a:effectLst/>
                        </a:rPr>
                        <a:t>Multiple Regions Writes</a:t>
                      </a:r>
                      <a:endParaRPr lang="en-US" sz="1000" dirty="0">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48027" marT="72328" marB="72328">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solidFill>
                      <a:srgbClr val="D8DEDC">
                        <a:alpha val="20000"/>
                      </a:srgbClr>
                    </a:solidFill>
                  </a:tcPr>
                </a:tc>
                <a:extLst>
                  <a:ext uri="{0D108BD9-81ED-4DB2-BD59-A6C34878D82A}">
                    <a16:rowId xmlns:a16="http://schemas.microsoft.com/office/drawing/2014/main" val="2465949622"/>
                  </a:ext>
                </a:extLst>
              </a:tr>
              <a:tr h="486809">
                <a:tc>
                  <a:txBody>
                    <a:bodyPr/>
                    <a:lstStyle/>
                    <a:p>
                      <a:pPr marL="0" marR="0" algn="r">
                        <a:lnSpc>
                          <a:spcPct val="107000"/>
                        </a:lnSpc>
                        <a:spcBef>
                          <a:spcPts val="0"/>
                        </a:spcBef>
                        <a:spcAft>
                          <a:spcPts val="800"/>
                        </a:spcAft>
                      </a:pPr>
                      <a:r>
                        <a:rPr lang="en-US" sz="1000" b="1">
                          <a:solidFill>
                            <a:schemeClr val="tx1">
                              <a:lumMod val="75000"/>
                              <a:lumOff val="25000"/>
                            </a:schemeClr>
                          </a:solidFill>
                          <a:effectLst/>
                        </a:rPr>
                        <a:t>First 100K RU/s</a:t>
                      </a:r>
                      <a:endParaRPr lang="en-US" sz="1000" b="1">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216983" marT="72328" marB="72328">
                    <a:lnL w="12700" cmpd="sng">
                      <a:noFill/>
                      <a:prstDash val="solid"/>
                    </a:lnL>
                    <a:lnR w="9525" cap="flat" cmpd="sng" algn="ctr">
                      <a:solidFill>
                        <a:srgbClr val="D8DCDC"/>
                      </a:solidFill>
                      <a:prstDash val="solid"/>
                    </a:lnR>
                    <a:lnT w="12700" cmpd="sng">
                      <a:noFill/>
                      <a:prstDash val="solid"/>
                    </a:lnT>
                    <a:lnB w="12700" cmpd="sng">
                      <a:noFill/>
                      <a:prstDash val="solid"/>
                    </a:lnB>
                    <a:noFill/>
                  </a:tcPr>
                </a:tc>
                <a:tc>
                  <a:txBody>
                    <a:bodyPr/>
                    <a:lstStyle/>
                    <a:p>
                      <a:pPr marL="0" marR="0">
                        <a:lnSpc>
                          <a:spcPct val="107000"/>
                        </a:lnSpc>
                        <a:spcBef>
                          <a:spcPts val="0"/>
                        </a:spcBef>
                        <a:spcAft>
                          <a:spcPts val="800"/>
                        </a:spcAft>
                      </a:pPr>
                      <a:r>
                        <a:rPr lang="en-US" sz="1000">
                          <a:solidFill>
                            <a:schemeClr val="tx1">
                              <a:lumMod val="75000"/>
                              <a:lumOff val="25000"/>
                            </a:schemeClr>
                          </a:solidFill>
                          <a:effectLst/>
                        </a:rPr>
                        <a:t>20%</a:t>
                      </a:r>
                      <a:endParaRPr lang="en-US" sz="1000">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48027" marT="72328" marB="72328">
                    <a:lnL w="9525" cap="flat" cmpd="sng" algn="ctr">
                      <a:solidFill>
                        <a:srgbClr val="D8DC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noFill/>
                  </a:tcPr>
                </a:tc>
                <a:tc>
                  <a:txBody>
                    <a:bodyPr/>
                    <a:lstStyle/>
                    <a:p>
                      <a:pPr marL="0" marR="0">
                        <a:lnSpc>
                          <a:spcPct val="107000"/>
                        </a:lnSpc>
                        <a:spcBef>
                          <a:spcPts val="0"/>
                        </a:spcBef>
                        <a:spcAft>
                          <a:spcPts val="800"/>
                        </a:spcAft>
                      </a:pPr>
                      <a:r>
                        <a:rPr lang="en-US" sz="1000">
                          <a:solidFill>
                            <a:schemeClr val="tx1">
                              <a:lumMod val="75000"/>
                              <a:lumOff val="25000"/>
                            </a:schemeClr>
                          </a:solidFill>
                          <a:effectLst/>
                        </a:rPr>
                        <a:t>25%</a:t>
                      </a:r>
                      <a:endParaRPr lang="en-US" sz="1000">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48027" marT="72328" marB="72328">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noFill/>
                  </a:tcPr>
                </a:tc>
                <a:tc>
                  <a:txBody>
                    <a:bodyPr/>
                    <a:lstStyle/>
                    <a:p>
                      <a:pPr marL="0" marR="0">
                        <a:lnSpc>
                          <a:spcPct val="107000"/>
                        </a:lnSpc>
                        <a:spcBef>
                          <a:spcPts val="0"/>
                        </a:spcBef>
                        <a:spcAft>
                          <a:spcPts val="800"/>
                        </a:spcAft>
                      </a:pPr>
                      <a:r>
                        <a:rPr lang="en-US" sz="1000">
                          <a:solidFill>
                            <a:schemeClr val="tx1">
                              <a:lumMod val="75000"/>
                              <a:lumOff val="25000"/>
                            </a:schemeClr>
                          </a:solidFill>
                          <a:effectLst/>
                        </a:rPr>
                        <a:t>30%</a:t>
                      </a:r>
                      <a:endParaRPr lang="en-US" sz="1000">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48027" marT="72328" marB="72328">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noFill/>
                  </a:tcPr>
                </a:tc>
                <a:tc>
                  <a:txBody>
                    <a:bodyPr/>
                    <a:lstStyle/>
                    <a:p>
                      <a:pPr marL="0" marR="0">
                        <a:lnSpc>
                          <a:spcPct val="107000"/>
                        </a:lnSpc>
                        <a:spcBef>
                          <a:spcPts val="0"/>
                        </a:spcBef>
                        <a:spcAft>
                          <a:spcPts val="800"/>
                        </a:spcAft>
                      </a:pPr>
                      <a:r>
                        <a:rPr lang="en-US" sz="1000">
                          <a:solidFill>
                            <a:schemeClr val="tx1">
                              <a:lumMod val="75000"/>
                              <a:lumOff val="25000"/>
                            </a:schemeClr>
                          </a:solidFill>
                          <a:effectLst/>
                        </a:rPr>
                        <a:t>35%</a:t>
                      </a:r>
                      <a:endParaRPr lang="en-US" sz="1000">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48027" marT="72328" marB="72328">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noFill/>
                  </a:tcPr>
                </a:tc>
                <a:extLst>
                  <a:ext uri="{0D108BD9-81ED-4DB2-BD59-A6C34878D82A}">
                    <a16:rowId xmlns:a16="http://schemas.microsoft.com/office/drawing/2014/main" val="1910818947"/>
                  </a:ext>
                </a:extLst>
              </a:tr>
              <a:tr h="486809">
                <a:tc>
                  <a:txBody>
                    <a:bodyPr/>
                    <a:lstStyle/>
                    <a:p>
                      <a:pPr marL="0" marR="0" algn="r">
                        <a:lnSpc>
                          <a:spcPct val="107000"/>
                        </a:lnSpc>
                        <a:spcBef>
                          <a:spcPts val="0"/>
                        </a:spcBef>
                        <a:spcAft>
                          <a:spcPts val="800"/>
                        </a:spcAft>
                      </a:pPr>
                      <a:r>
                        <a:rPr lang="en-US" sz="1000" b="1">
                          <a:solidFill>
                            <a:schemeClr val="tx1">
                              <a:lumMod val="75000"/>
                              <a:lumOff val="25000"/>
                            </a:schemeClr>
                          </a:solidFill>
                          <a:effectLst/>
                        </a:rPr>
                        <a:t>Next 400K RU/s</a:t>
                      </a:r>
                      <a:endParaRPr lang="en-US" sz="1000" b="1">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216983" marT="72328" marB="72328">
                    <a:lnL w="12700" cmpd="sng">
                      <a:noFill/>
                      <a:prstDash val="solid"/>
                    </a:lnL>
                    <a:lnR w="9525" cap="flat" cmpd="sng" algn="ctr">
                      <a:solidFill>
                        <a:srgbClr val="D8DCDC"/>
                      </a:solidFill>
                      <a:prstDash val="solid"/>
                    </a:lnR>
                    <a:lnT w="12700" cmpd="sng">
                      <a:noFill/>
                      <a:prstDash val="solid"/>
                    </a:lnT>
                    <a:lnB w="12700" cmpd="sng">
                      <a:noFill/>
                      <a:prstDash val="solid"/>
                    </a:lnB>
                    <a:noFill/>
                  </a:tcPr>
                </a:tc>
                <a:tc>
                  <a:txBody>
                    <a:bodyPr/>
                    <a:lstStyle/>
                    <a:p>
                      <a:pPr marL="0" marR="0">
                        <a:lnSpc>
                          <a:spcPct val="107000"/>
                        </a:lnSpc>
                        <a:spcBef>
                          <a:spcPts val="0"/>
                        </a:spcBef>
                        <a:spcAft>
                          <a:spcPts val="800"/>
                        </a:spcAft>
                      </a:pPr>
                      <a:r>
                        <a:rPr lang="en-US" sz="1000">
                          <a:solidFill>
                            <a:schemeClr val="tx1">
                              <a:lumMod val="75000"/>
                              <a:lumOff val="25000"/>
                            </a:schemeClr>
                          </a:solidFill>
                          <a:effectLst/>
                        </a:rPr>
                        <a:t>25%</a:t>
                      </a:r>
                      <a:endParaRPr lang="en-US" sz="1000">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48027" marT="72328" marB="72328">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solidFill>
                      <a:srgbClr val="D8DEDC">
                        <a:alpha val="20000"/>
                      </a:srgbClr>
                    </a:solidFill>
                  </a:tcPr>
                </a:tc>
                <a:tc>
                  <a:txBody>
                    <a:bodyPr/>
                    <a:lstStyle/>
                    <a:p>
                      <a:pPr marL="0" marR="0">
                        <a:lnSpc>
                          <a:spcPct val="107000"/>
                        </a:lnSpc>
                        <a:spcBef>
                          <a:spcPts val="0"/>
                        </a:spcBef>
                        <a:spcAft>
                          <a:spcPts val="800"/>
                        </a:spcAft>
                      </a:pPr>
                      <a:r>
                        <a:rPr lang="en-US" sz="1000">
                          <a:solidFill>
                            <a:schemeClr val="tx1">
                              <a:lumMod val="75000"/>
                              <a:lumOff val="25000"/>
                            </a:schemeClr>
                          </a:solidFill>
                          <a:effectLst/>
                        </a:rPr>
                        <a:t>30%</a:t>
                      </a:r>
                      <a:endParaRPr lang="en-US" sz="1000">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48027" marT="72328" marB="72328">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solidFill>
                      <a:srgbClr val="D8DEDC">
                        <a:alpha val="20000"/>
                      </a:srgbClr>
                    </a:solidFill>
                  </a:tcPr>
                </a:tc>
                <a:tc>
                  <a:txBody>
                    <a:bodyPr/>
                    <a:lstStyle/>
                    <a:p>
                      <a:pPr marL="0" marR="0">
                        <a:lnSpc>
                          <a:spcPct val="107000"/>
                        </a:lnSpc>
                        <a:spcBef>
                          <a:spcPts val="0"/>
                        </a:spcBef>
                        <a:spcAft>
                          <a:spcPts val="800"/>
                        </a:spcAft>
                      </a:pPr>
                      <a:r>
                        <a:rPr lang="en-US" sz="1000">
                          <a:solidFill>
                            <a:schemeClr val="tx1">
                              <a:lumMod val="75000"/>
                              <a:lumOff val="25000"/>
                            </a:schemeClr>
                          </a:solidFill>
                          <a:effectLst/>
                        </a:rPr>
                        <a:t>35%</a:t>
                      </a:r>
                      <a:endParaRPr lang="en-US" sz="1000">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48027" marT="72328" marB="72328">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solidFill>
                      <a:srgbClr val="D8DEDC">
                        <a:alpha val="20000"/>
                      </a:srgbClr>
                    </a:solidFill>
                  </a:tcPr>
                </a:tc>
                <a:tc>
                  <a:txBody>
                    <a:bodyPr/>
                    <a:lstStyle/>
                    <a:p>
                      <a:pPr marL="0" marR="0">
                        <a:lnSpc>
                          <a:spcPct val="107000"/>
                        </a:lnSpc>
                        <a:spcBef>
                          <a:spcPts val="0"/>
                        </a:spcBef>
                        <a:spcAft>
                          <a:spcPts val="800"/>
                        </a:spcAft>
                      </a:pPr>
                      <a:r>
                        <a:rPr lang="en-US" sz="1000">
                          <a:solidFill>
                            <a:schemeClr val="tx1">
                              <a:lumMod val="75000"/>
                              <a:lumOff val="25000"/>
                            </a:schemeClr>
                          </a:solidFill>
                          <a:effectLst/>
                        </a:rPr>
                        <a:t>40%</a:t>
                      </a:r>
                      <a:endParaRPr lang="en-US" sz="1000">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48027" marT="72328" marB="72328">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solidFill>
                      <a:srgbClr val="D8DEDC">
                        <a:alpha val="20000"/>
                      </a:srgbClr>
                    </a:solidFill>
                  </a:tcPr>
                </a:tc>
                <a:extLst>
                  <a:ext uri="{0D108BD9-81ED-4DB2-BD59-A6C34878D82A}">
                    <a16:rowId xmlns:a16="http://schemas.microsoft.com/office/drawing/2014/main" val="2324899003"/>
                  </a:ext>
                </a:extLst>
              </a:tr>
              <a:tr h="486809">
                <a:tc>
                  <a:txBody>
                    <a:bodyPr/>
                    <a:lstStyle/>
                    <a:p>
                      <a:pPr marL="0" marR="0" algn="r">
                        <a:lnSpc>
                          <a:spcPct val="107000"/>
                        </a:lnSpc>
                        <a:spcBef>
                          <a:spcPts val="0"/>
                        </a:spcBef>
                        <a:spcAft>
                          <a:spcPts val="800"/>
                        </a:spcAft>
                      </a:pPr>
                      <a:r>
                        <a:rPr lang="en-US" sz="1000" b="1">
                          <a:solidFill>
                            <a:schemeClr val="tx1">
                              <a:lumMod val="75000"/>
                              <a:lumOff val="25000"/>
                            </a:schemeClr>
                          </a:solidFill>
                          <a:effectLst/>
                        </a:rPr>
                        <a:t>Next 2.5M RU/s</a:t>
                      </a:r>
                      <a:endParaRPr lang="en-US" sz="1000" b="1">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216983" marT="72328" marB="72328">
                    <a:lnL w="12700" cmpd="sng">
                      <a:noFill/>
                      <a:prstDash val="solid"/>
                    </a:lnL>
                    <a:lnR w="9525" cap="flat" cmpd="sng" algn="ctr">
                      <a:solidFill>
                        <a:srgbClr val="D8DCDC"/>
                      </a:solidFill>
                      <a:prstDash val="solid"/>
                    </a:lnR>
                    <a:lnT w="12700" cmpd="sng">
                      <a:noFill/>
                      <a:prstDash val="solid"/>
                    </a:lnT>
                    <a:lnB w="12700" cmpd="sng">
                      <a:noFill/>
                      <a:prstDash val="solid"/>
                    </a:lnB>
                    <a:noFill/>
                  </a:tcPr>
                </a:tc>
                <a:tc>
                  <a:txBody>
                    <a:bodyPr/>
                    <a:lstStyle/>
                    <a:p>
                      <a:pPr marL="0" marR="0">
                        <a:lnSpc>
                          <a:spcPct val="107000"/>
                        </a:lnSpc>
                        <a:spcBef>
                          <a:spcPts val="0"/>
                        </a:spcBef>
                        <a:spcAft>
                          <a:spcPts val="800"/>
                        </a:spcAft>
                      </a:pPr>
                      <a:r>
                        <a:rPr lang="en-US" sz="1000">
                          <a:solidFill>
                            <a:schemeClr val="tx1">
                              <a:lumMod val="75000"/>
                              <a:lumOff val="25000"/>
                            </a:schemeClr>
                          </a:solidFill>
                          <a:effectLst/>
                        </a:rPr>
                        <a:t>30%</a:t>
                      </a:r>
                      <a:endParaRPr lang="en-US" sz="1000">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48027" marT="72328" marB="72328">
                    <a:lnL w="9525" cap="flat" cmpd="sng" algn="ctr">
                      <a:solidFill>
                        <a:srgbClr val="D8DC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noFill/>
                  </a:tcPr>
                </a:tc>
                <a:tc>
                  <a:txBody>
                    <a:bodyPr/>
                    <a:lstStyle/>
                    <a:p>
                      <a:pPr marL="0" marR="0">
                        <a:lnSpc>
                          <a:spcPct val="107000"/>
                        </a:lnSpc>
                        <a:spcBef>
                          <a:spcPts val="0"/>
                        </a:spcBef>
                        <a:spcAft>
                          <a:spcPts val="800"/>
                        </a:spcAft>
                      </a:pPr>
                      <a:r>
                        <a:rPr lang="en-US" sz="1000">
                          <a:solidFill>
                            <a:schemeClr val="tx1">
                              <a:lumMod val="75000"/>
                              <a:lumOff val="25000"/>
                            </a:schemeClr>
                          </a:solidFill>
                          <a:effectLst/>
                        </a:rPr>
                        <a:t>35%</a:t>
                      </a:r>
                      <a:endParaRPr lang="en-US" sz="1000">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48027" marT="72328" marB="72328">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noFill/>
                  </a:tcPr>
                </a:tc>
                <a:tc>
                  <a:txBody>
                    <a:bodyPr/>
                    <a:lstStyle/>
                    <a:p>
                      <a:pPr marL="0" marR="0">
                        <a:lnSpc>
                          <a:spcPct val="107000"/>
                        </a:lnSpc>
                        <a:spcBef>
                          <a:spcPts val="0"/>
                        </a:spcBef>
                        <a:spcAft>
                          <a:spcPts val="800"/>
                        </a:spcAft>
                      </a:pPr>
                      <a:r>
                        <a:rPr lang="en-US" sz="1000">
                          <a:solidFill>
                            <a:schemeClr val="tx1">
                              <a:lumMod val="75000"/>
                              <a:lumOff val="25000"/>
                            </a:schemeClr>
                          </a:solidFill>
                          <a:effectLst/>
                        </a:rPr>
                        <a:t>45%</a:t>
                      </a:r>
                      <a:endParaRPr lang="en-US" sz="1000">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48027" marT="72328" marB="72328">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noFill/>
                  </a:tcPr>
                </a:tc>
                <a:tc>
                  <a:txBody>
                    <a:bodyPr/>
                    <a:lstStyle/>
                    <a:p>
                      <a:pPr marL="0" marR="0">
                        <a:lnSpc>
                          <a:spcPct val="107000"/>
                        </a:lnSpc>
                        <a:spcBef>
                          <a:spcPts val="0"/>
                        </a:spcBef>
                        <a:spcAft>
                          <a:spcPts val="800"/>
                        </a:spcAft>
                      </a:pPr>
                      <a:r>
                        <a:rPr lang="en-US" sz="1000">
                          <a:solidFill>
                            <a:schemeClr val="tx1">
                              <a:lumMod val="75000"/>
                              <a:lumOff val="25000"/>
                            </a:schemeClr>
                          </a:solidFill>
                          <a:effectLst/>
                        </a:rPr>
                        <a:t>50%</a:t>
                      </a:r>
                      <a:endParaRPr lang="en-US" sz="1000">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48027" marT="72328" marB="72328">
                    <a:lnL w="9525" cap="flat" cmpd="sng" algn="ctr">
                      <a:solidFill>
                        <a:srgbClr val="D8DEDC"/>
                      </a:solidFill>
                      <a:prstDash val="soli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noFill/>
                  </a:tcPr>
                </a:tc>
                <a:extLst>
                  <a:ext uri="{0D108BD9-81ED-4DB2-BD59-A6C34878D82A}">
                    <a16:rowId xmlns:a16="http://schemas.microsoft.com/office/drawing/2014/main" val="2710328848"/>
                  </a:ext>
                </a:extLst>
              </a:tr>
              <a:tr h="486809">
                <a:tc>
                  <a:txBody>
                    <a:bodyPr/>
                    <a:lstStyle/>
                    <a:p>
                      <a:pPr marL="0" marR="0" algn="r">
                        <a:lnSpc>
                          <a:spcPct val="107000"/>
                        </a:lnSpc>
                        <a:spcBef>
                          <a:spcPts val="0"/>
                        </a:spcBef>
                        <a:spcAft>
                          <a:spcPts val="800"/>
                        </a:spcAft>
                      </a:pPr>
                      <a:r>
                        <a:rPr lang="en-US" sz="1000" b="1">
                          <a:solidFill>
                            <a:schemeClr val="tx1">
                              <a:lumMod val="75000"/>
                              <a:lumOff val="25000"/>
                            </a:schemeClr>
                          </a:solidFill>
                          <a:effectLst/>
                        </a:rPr>
                        <a:t>Over 3M RU/s</a:t>
                      </a:r>
                      <a:endParaRPr lang="en-US" sz="1000" b="1">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216983" marT="72328" marB="72328">
                    <a:lnL w="12700" cmpd="sng">
                      <a:noFill/>
                      <a:prstDash val="solid"/>
                    </a:lnL>
                    <a:lnR w="9525" cap="flat" cmpd="sng" algn="ctr">
                      <a:solidFill>
                        <a:srgbClr val="D8DCDC"/>
                      </a:solidFill>
                      <a:prstDash val="solid"/>
                    </a:lnR>
                    <a:lnT w="12700" cmpd="sng">
                      <a:noFill/>
                      <a:prstDash val="solid"/>
                    </a:lnT>
                    <a:lnB w="12700" cmpd="sng">
                      <a:noFill/>
                      <a:prstDash val="solid"/>
                    </a:lnB>
                    <a:noFill/>
                  </a:tcPr>
                </a:tc>
                <a:tc>
                  <a:txBody>
                    <a:bodyPr/>
                    <a:lstStyle/>
                    <a:p>
                      <a:pPr marL="0" marR="0">
                        <a:lnSpc>
                          <a:spcPct val="107000"/>
                        </a:lnSpc>
                        <a:spcBef>
                          <a:spcPts val="0"/>
                        </a:spcBef>
                        <a:spcAft>
                          <a:spcPts val="800"/>
                        </a:spcAft>
                      </a:pPr>
                      <a:r>
                        <a:rPr lang="en-US" sz="1000">
                          <a:solidFill>
                            <a:schemeClr val="tx1">
                              <a:lumMod val="75000"/>
                              <a:lumOff val="25000"/>
                            </a:schemeClr>
                          </a:solidFill>
                          <a:effectLst/>
                        </a:rPr>
                        <a:t>45%</a:t>
                      </a:r>
                      <a:endParaRPr lang="en-US" sz="1000">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48027" marT="72328" marB="72328">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solidFill>
                      <a:srgbClr val="D8DEDC">
                        <a:alpha val="20000"/>
                      </a:srgbClr>
                    </a:solidFill>
                  </a:tcPr>
                </a:tc>
                <a:tc>
                  <a:txBody>
                    <a:bodyPr/>
                    <a:lstStyle/>
                    <a:p>
                      <a:pPr marL="0" marR="0">
                        <a:lnSpc>
                          <a:spcPct val="107000"/>
                        </a:lnSpc>
                        <a:spcBef>
                          <a:spcPts val="0"/>
                        </a:spcBef>
                        <a:spcAft>
                          <a:spcPts val="800"/>
                        </a:spcAft>
                      </a:pPr>
                      <a:r>
                        <a:rPr lang="en-US" sz="1000">
                          <a:solidFill>
                            <a:schemeClr val="tx1">
                              <a:lumMod val="75000"/>
                              <a:lumOff val="25000"/>
                            </a:schemeClr>
                          </a:solidFill>
                          <a:effectLst/>
                        </a:rPr>
                        <a:t>50%</a:t>
                      </a:r>
                      <a:endParaRPr lang="en-US" sz="1000">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48027" marT="72328" marB="72328">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solidFill>
                      <a:srgbClr val="D8DEDC">
                        <a:alpha val="20000"/>
                      </a:srgbClr>
                    </a:solidFill>
                  </a:tcPr>
                </a:tc>
                <a:tc>
                  <a:txBody>
                    <a:bodyPr/>
                    <a:lstStyle/>
                    <a:p>
                      <a:pPr marL="0" marR="0">
                        <a:lnSpc>
                          <a:spcPct val="107000"/>
                        </a:lnSpc>
                        <a:spcBef>
                          <a:spcPts val="0"/>
                        </a:spcBef>
                        <a:spcAft>
                          <a:spcPts val="800"/>
                        </a:spcAft>
                      </a:pPr>
                      <a:r>
                        <a:rPr lang="en-US" sz="1000">
                          <a:solidFill>
                            <a:schemeClr val="tx1">
                              <a:lumMod val="75000"/>
                              <a:lumOff val="25000"/>
                            </a:schemeClr>
                          </a:solidFill>
                          <a:effectLst/>
                        </a:rPr>
                        <a:t>60%</a:t>
                      </a:r>
                      <a:endParaRPr lang="en-US" sz="1000">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48027" marT="72328" marB="72328">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solidFill>
                      <a:srgbClr val="D8DEDC">
                        <a:alpha val="20000"/>
                      </a:srgbClr>
                    </a:solidFill>
                  </a:tcPr>
                </a:tc>
                <a:tc>
                  <a:txBody>
                    <a:bodyPr/>
                    <a:lstStyle/>
                    <a:p>
                      <a:pPr marL="0" marR="0">
                        <a:lnSpc>
                          <a:spcPct val="107000"/>
                        </a:lnSpc>
                        <a:spcBef>
                          <a:spcPts val="0"/>
                        </a:spcBef>
                        <a:spcAft>
                          <a:spcPts val="800"/>
                        </a:spcAft>
                      </a:pPr>
                      <a:r>
                        <a:rPr lang="en-US" sz="1000" dirty="0">
                          <a:solidFill>
                            <a:schemeClr val="tx1">
                              <a:lumMod val="75000"/>
                              <a:lumOff val="25000"/>
                            </a:schemeClr>
                          </a:solidFill>
                          <a:effectLst/>
                        </a:rPr>
                        <a:t>65%</a:t>
                      </a:r>
                      <a:endParaRPr lang="en-US" sz="1000" dirty="0">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44656" marR="48027" marT="72328" marB="72328">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solidFill>
                      <a:srgbClr val="D8DEDC">
                        <a:alpha val="20000"/>
                      </a:srgbClr>
                    </a:solidFill>
                  </a:tcPr>
                </a:tc>
                <a:extLst>
                  <a:ext uri="{0D108BD9-81ED-4DB2-BD59-A6C34878D82A}">
                    <a16:rowId xmlns:a16="http://schemas.microsoft.com/office/drawing/2014/main" val="1821259956"/>
                  </a:ext>
                </a:extLst>
              </a:tr>
            </a:tbl>
          </a:graphicData>
        </a:graphic>
      </p:graphicFrame>
      <p:sp>
        <p:nvSpPr>
          <p:cNvPr id="9" name="TextBox 8">
            <a:extLst>
              <a:ext uri="{FF2B5EF4-FFF2-40B4-BE49-F238E27FC236}">
                <a16:creationId xmlns:a16="http://schemas.microsoft.com/office/drawing/2014/main" id="{C694C947-AA7C-411E-855F-4ECA07F1D4F4}"/>
              </a:ext>
            </a:extLst>
          </p:cNvPr>
          <p:cNvSpPr txBox="1"/>
          <p:nvPr/>
        </p:nvSpPr>
        <p:spPr>
          <a:xfrm>
            <a:off x="8396040" y="4714751"/>
            <a:ext cx="1318492" cy="553998"/>
          </a:xfrm>
          <a:prstGeom prst="rect">
            <a:avLst/>
          </a:prstGeom>
          <a:noFill/>
        </p:spPr>
        <p:txBody>
          <a:bodyPr wrap="square" lIns="0" tIns="0" rIns="0" bIns="0" rtlCol="0">
            <a:spAutoFit/>
          </a:bodyPr>
          <a:lstStyle/>
          <a:p>
            <a:pPr algn="ctr"/>
            <a:r>
              <a:rPr lang="en-US" b="1" dirty="0">
                <a:solidFill>
                  <a:srgbClr val="0078D7"/>
                </a:solidFill>
                <a:latin typeface="Segoe UI Semibold" charset="0"/>
                <a:ea typeface="Segoe UI Semibold" charset="0"/>
                <a:cs typeface="Segoe UI Semibold" charset="0"/>
              </a:rPr>
              <a:t>+ Up to 65% savings</a:t>
            </a:r>
            <a:endParaRPr lang="en-US" b="1" baseline="30000" dirty="0">
              <a:solidFill>
                <a:srgbClr val="0078D7"/>
              </a:solidFill>
              <a:latin typeface="Segoe UI Semibold" charset="0"/>
              <a:ea typeface="Segoe UI Semibold" charset="0"/>
              <a:cs typeface="Segoe UI Semibold" charset="0"/>
            </a:endParaRPr>
          </a:p>
        </p:txBody>
      </p:sp>
      <p:sp>
        <p:nvSpPr>
          <p:cNvPr id="11" name="TextBox 10">
            <a:extLst>
              <a:ext uri="{FF2B5EF4-FFF2-40B4-BE49-F238E27FC236}">
                <a16:creationId xmlns:a16="http://schemas.microsoft.com/office/drawing/2014/main" id="{59BD4F04-23F1-434E-ADBE-586C55632D39}"/>
              </a:ext>
            </a:extLst>
          </p:cNvPr>
          <p:cNvSpPr txBox="1"/>
          <p:nvPr/>
        </p:nvSpPr>
        <p:spPr>
          <a:xfrm>
            <a:off x="10351419" y="5717084"/>
            <a:ext cx="769083" cy="400110"/>
          </a:xfrm>
          <a:prstGeom prst="rect">
            <a:avLst/>
          </a:prstGeom>
          <a:noFill/>
        </p:spPr>
        <p:txBody>
          <a:bodyPr wrap="square" rtlCol="0">
            <a:spAutoFit/>
          </a:bodyPr>
          <a:lstStyle/>
          <a:p>
            <a:r>
              <a:rPr lang="en-US" sz="1000" b="1" dirty="0">
                <a:solidFill>
                  <a:srgbClr val="0078D7"/>
                </a:solidFill>
                <a:latin typeface="Segoe UI Semibold" charset="0"/>
                <a:cs typeface="Segoe UI Semibold" charset="0"/>
              </a:rPr>
              <a:t>Customer cost</a:t>
            </a:r>
          </a:p>
        </p:txBody>
      </p:sp>
      <p:sp>
        <p:nvSpPr>
          <p:cNvPr id="12" name="Freeform: Shape 11">
            <a:extLst>
              <a:ext uri="{FF2B5EF4-FFF2-40B4-BE49-F238E27FC236}">
                <a16:creationId xmlns:a16="http://schemas.microsoft.com/office/drawing/2014/main" id="{0760A699-05EA-4B34-A685-68B4066A52B7}"/>
              </a:ext>
            </a:extLst>
          </p:cNvPr>
          <p:cNvSpPr/>
          <p:nvPr/>
        </p:nvSpPr>
        <p:spPr>
          <a:xfrm>
            <a:off x="10082894" y="5088795"/>
            <a:ext cx="1306132" cy="146733"/>
          </a:xfrm>
          <a:custGeom>
            <a:avLst/>
            <a:gdLst>
              <a:gd name="connsiteX0" fmla="*/ 29758 w 1190311"/>
              <a:gd name="connsiteY0" fmla="*/ 138438 h 310516"/>
              <a:gd name="connsiteX1" fmla="*/ 60809 w 1190311"/>
              <a:gd name="connsiteY1" fmla="*/ 112562 h 310516"/>
              <a:gd name="connsiteX2" fmla="*/ 84098 w 1190311"/>
              <a:gd name="connsiteY2" fmla="*/ 99624 h 310516"/>
              <a:gd name="connsiteX3" fmla="*/ 599037 w 1190311"/>
              <a:gd name="connsiteY3" fmla="*/ 19407 h 310516"/>
              <a:gd name="connsiteX4" fmla="*/ 1173492 w 1190311"/>
              <a:gd name="connsiteY4" fmla="*/ 151377 h 310516"/>
              <a:gd name="connsiteX5" fmla="*/ 1176080 w 1190311"/>
              <a:gd name="connsiteY5" fmla="*/ 164315 h 310516"/>
              <a:gd name="connsiteX6" fmla="*/ 599037 w 1190311"/>
              <a:gd name="connsiteY6" fmla="*/ 304047 h 310516"/>
              <a:gd name="connsiteX7" fmla="*/ 19407 w 1190311"/>
              <a:gd name="connsiteY7" fmla="*/ 164315 h 310516"/>
              <a:gd name="connsiteX8" fmla="*/ 29758 w 1190311"/>
              <a:gd name="connsiteY8" fmla="*/ 138438 h 310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0311" h="310516">
                <a:moveTo>
                  <a:pt x="29758" y="138438"/>
                </a:moveTo>
                <a:cubicBezTo>
                  <a:pt x="37521" y="130676"/>
                  <a:pt x="47871" y="120325"/>
                  <a:pt x="60809" y="112562"/>
                </a:cubicBezTo>
                <a:cubicBezTo>
                  <a:pt x="68572" y="107387"/>
                  <a:pt x="76335" y="104799"/>
                  <a:pt x="84098" y="99624"/>
                </a:cubicBezTo>
                <a:cubicBezTo>
                  <a:pt x="179841" y="55634"/>
                  <a:pt x="363563" y="19407"/>
                  <a:pt x="599037" y="19407"/>
                </a:cubicBezTo>
                <a:cubicBezTo>
                  <a:pt x="917316" y="19407"/>
                  <a:pt x="1145028" y="86686"/>
                  <a:pt x="1173492" y="151377"/>
                </a:cubicBezTo>
                <a:cubicBezTo>
                  <a:pt x="1176080" y="156552"/>
                  <a:pt x="1176080" y="159139"/>
                  <a:pt x="1176080" y="164315"/>
                </a:cubicBezTo>
                <a:cubicBezTo>
                  <a:pt x="1176080" y="231593"/>
                  <a:pt x="940605" y="304047"/>
                  <a:pt x="599037" y="304047"/>
                </a:cubicBezTo>
                <a:cubicBezTo>
                  <a:pt x="252294" y="304047"/>
                  <a:pt x="19407" y="231593"/>
                  <a:pt x="19407" y="164315"/>
                </a:cubicBezTo>
                <a:cubicBezTo>
                  <a:pt x="19407" y="156552"/>
                  <a:pt x="21995" y="146201"/>
                  <a:pt x="29758" y="138438"/>
                </a:cubicBezTo>
                <a:close/>
              </a:path>
            </a:pathLst>
          </a:custGeom>
          <a:solidFill>
            <a:srgbClr val="FFFFFF"/>
          </a:solidFill>
          <a:ln w="9525" cap="flat">
            <a:noFill/>
            <a:prstDash val="solid"/>
            <a:miter/>
          </a:ln>
        </p:spPr>
        <p:txBody>
          <a:bodyPr rtlCol="0" anchor="ctr"/>
          <a:lstStyle/>
          <a:p>
            <a:pPr defTabSz="914460">
              <a:defRPr/>
            </a:pPr>
            <a:endParaRPr lang="en-US" sz="1765" kern="0">
              <a:solidFill>
                <a:srgbClr val="002050"/>
              </a:solidFill>
              <a:latin typeface="Calibri" panose="020F0502020204030204"/>
            </a:endParaRPr>
          </a:p>
        </p:txBody>
      </p:sp>
      <p:grpSp>
        <p:nvGrpSpPr>
          <p:cNvPr id="13" name="Group 12">
            <a:extLst>
              <a:ext uri="{FF2B5EF4-FFF2-40B4-BE49-F238E27FC236}">
                <a16:creationId xmlns:a16="http://schemas.microsoft.com/office/drawing/2014/main" id="{6DA7426D-4C61-4AC5-8783-4CA248CF548B}"/>
              </a:ext>
            </a:extLst>
          </p:cNvPr>
          <p:cNvGrpSpPr/>
          <p:nvPr/>
        </p:nvGrpSpPr>
        <p:grpSpPr>
          <a:xfrm>
            <a:off x="8081296" y="4247142"/>
            <a:ext cx="1947984" cy="2072273"/>
            <a:chOff x="3714366" y="2621907"/>
            <a:chExt cx="1242064" cy="2666880"/>
          </a:xfrm>
        </p:grpSpPr>
        <p:grpSp>
          <p:nvGrpSpPr>
            <p:cNvPr id="16" name="Group 15">
              <a:extLst>
                <a:ext uri="{FF2B5EF4-FFF2-40B4-BE49-F238E27FC236}">
                  <a16:creationId xmlns:a16="http://schemas.microsoft.com/office/drawing/2014/main" id="{7E85AEEE-CDBE-437D-9E5C-B5CECD9120FC}"/>
                </a:ext>
              </a:extLst>
            </p:cNvPr>
            <p:cNvGrpSpPr/>
            <p:nvPr/>
          </p:nvGrpSpPr>
          <p:grpSpPr>
            <a:xfrm>
              <a:off x="3727304" y="2621907"/>
              <a:ext cx="1216188" cy="2660413"/>
              <a:chOff x="466128" y="2421774"/>
              <a:chExt cx="1216188" cy="2660413"/>
            </a:xfrm>
          </p:grpSpPr>
          <p:sp>
            <p:nvSpPr>
              <p:cNvPr id="21" name="Freeform: Shape 20">
                <a:extLst>
                  <a:ext uri="{FF2B5EF4-FFF2-40B4-BE49-F238E27FC236}">
                    <a16:creationId xmlns:a16="http://schemas.microsoft.com/office/drawing/2014/main" id="{0E750E85-6563-4CBF-9552-871A9AD24ACD}"/>
                  </a:ext>
                </a:extLst>
              </p:cNvPr>
              <p:cNvSpPr/>
              <p:nvPr/>
            </p:nvSpPr>
            <p:spPr>
              <a:xfrm>
                <a:off x="466128" y="2421775"/>
                <a:ext cx="1216188" cy="2660412"/>
              </a:xfrm>
              <a:custGeom>
                <a:avLst/>
                <a:gdLst>
                  <a:gd name="connsiteX0" fmla="*/ 1138910 w 1216188"/>
                  <a:gd name="connsiteY0" fmla="*/ 107683 h 2660412"/>
                  <a:gd name="connsiteX1" fmla="*/ 611895 w 1216188"/>
                  <a:gd name="connsiteY1" fmla="*/ 19003 h 2660412"/>
                  <a:gd name="connsiteX2" fmla="*/ 611895 w 1216188"/>
                  <a:gd name="connsiteY2" fmla="*/ 19003 h 2660412"/>
                  <a:gd name="connsiteX3" fmla="*/ 611895 w 1216188"/>
                  <a:gd name="connsiteY3" fmla="*/ 19003 h 2660412"/>
                  <a:gd name="connsiteX4" fmla="*/ 69677 w 1216188"/>
                  <a:gd name="connsiteY4" fmla="*/ 115285 h 2660412"/>
                  <a:gd name="connsiteX5" fmla="*/ 19003 w 1216188"/>
                  <a:gd name="connsiteY5" fmla="*/ 186229 h 2660412"/>
                  <a:gd name="connsiteX6" fmla="*/ 19003 w 1216188"/>
                  <a:gd name="connsiteY6" fmla="*/ 2496987 h 2660412"/>
                  <a:gd name="connsiteX7" fmla="*/ 611895 w 1216188"/>
                  <a:gd name="connsiteY7" fmla="*/ 2659145 h 2660412"/>
                  <a:gd name="connsiteX8" fmla="*/ 1202253 w 1216188"/>
                  <a:gd name="connsiteY8" fmla="*/ 2496987 h 2660412"/>
                  <a:gd name="connsiteX9" fmla="*/ 1202253 w 1216188"/>
                  <a:gd name="connsiteY9" fmla="*/ 186229 h 2660412"/>
                  <a:gd name="connsiteX10" fmla="*/ 1138910 w 1216188"/>
                  <a:gd name="connsiteY10" fmla="*/ 107683 h 2660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6188" h="2660412">
                    <a:moveTo>
                      <a:pt x="1138910" y="107683"/>
                    </a:moveTo>
                    <a:cubicBezTo>
                      <a:pt x="1035027" y="51941"/>
                      <a:pt x="822194" y="19003"/>
                      <a:pt x="611895" y="19003"/>
                    </a:cubicBezTo>
                    <a:lnTo>
                      <a:pt x="611895" y="19003"/>
                    </a:lnTo>
                    <a:lnTo>
                      <a:pt x="611895" y="19003"/>
                    </a:lnTo>
                    <a:cubicBezTo>
                      <a:pt x="393994" y="19003"/>
                      <a:pt x="168493" y="54475"/>
                      <a:pt x="69677" y="115285"/>
                    </a:cubicBezTo>
                    <a:cubicBezTo>
                      <a:pt x="36739" y="135554"/>
                      <a:pt x="19003" y="160892"/>
                      <a:pt x="19003" y="186229"/>
                    </a:cubicBezTo>
                    <a:lnTo>
                      <a:pt x="19003" y="2496987"/>
                    </a:lnTo>
                    <a:cubicBezTo>
                      <a:pt x="19003" y="2603404"/>
                      <a:pt x="325584" y="2659145"/>
                      <a:pt x="611895" y="2659145"/>
                    </a:cubicBezTo>
                    <a:cubicBezTo>
                      <a:pt x="898206" y="2659145"/>
                      <a:pt x="1202253" y="2600870"/>
                      <a:pt x="1202253" y="2496987"/>
                    </a:cubicBezTo>
                    <a:lnTo>
                      <a:pt x="1202253" y="186229"/>
                    </a:lnTo>
                    <a:cubicBezTo>
                      <a:pt x="1202253" y="155824"/>
                      <a:pt x="1179449" y="130487"/>
                      <a:pt x="1138910" y="107683"/>
                    </a:cubicBezTo>
                    <a:close/>
                  </a:path>
                </a:pathLst>
              </a:custGeom>
              <a:noFill/>
              <a:ln w="19050" cap="flat">
                <a:solidFill>
                  <a:srgbClr val="505050">
                    <a:lumMod val="20000"/>
                    <a:lumOff val="80000"/>
                  </a:srgbClr>
                </a:solidFill>
                <a:prstDash val="solid"/>
                <a:miter/>
              </a:ln>
            </p:spPr>
            <p:txBody>
              <a:bodyPr rtlCol="0" anchor="ctr"/>
              <a:lstStyle/>
              <a:p>
                <a:pPr defTabSz="914460">
                  <a:defRPr/>
                </a:pPr>
                <a:endParaRPr lang="en-US" sz="1765" kern="0">
                  <a:solidFill>
                    <a:srgbClr val="002050"/>
                  </a:solidFill>
                  <a:latin typeface="Calibri" panose="020F0502020204030204"/>
                </a:endParaRPr>
              </a:p>
            </p:txBody>
          </p:sp>
          <p:sp>
            <p:nvSpPr>
              <p:cNvPr id="22" name="Freeform: Shape 21">
                <a:extLst>
                  <a:ext uri="{FF2B5EF4-FFF2-40B4-BE49-F238E27FC236}">
                    <a16:creationId xmlns:a16="http://schemas.microsoft.com/office/drawing/2014/main" id="{12428E3E-4C90-490B-95A0-29883F7AD057}"/>
                  </a:ext>
                </a:extLst>
              </p:cNvPr>
              <p:cNvSpPr/>
              <p:nvPr/>
            </p:nvSpPr>
            <p:spPr>
              <a:xfrm>
                <a:off x="466128" y="2421774"/>
                <a:ext cx="1216188" cy="317266"/>
              </a:xfrm>
              <a:custGeom>
                <a:avLst/>
                <a:gdLst>
                  <a:gd name="connsiteX0" fmla="*/ 29138 w 1165513"/>
                  <a:gd name="connsiteY0" fmla="*/ 135554 h 304047"/>
                  <a:gd name="connsiteX1" fmla="*/ 59543 w 1165513"/>
                  <a:gd name="connsiteY1" fmla="*/ 110217 h 304047"/>
                  <a:gd name="connsiteX2" fmla="*/ 82346 w 1165513"/>
                  <a:gd name="connsiteY2" fmla="*/ 97548 h 304047"/>
                  <a:gd name="connsiteX3" fmla="*/ 586557 w 1165513"/>
                  <a:gd name="connsiteY3" fmla="*/ 19003 h 304047"/>
                  <a:gd name="connsiteX4" fmla="*/ 1149045 w 1165513"/>
                  <a:gd name="connsiteY4" fmla="*/ 148223 h 304047"/>
                  <a:gd name="connsiteX5" fmla="*/ 1151578 w 1165513"/>
                  <a:gd name="connsiteY5" fmla="*/ 160892 h 304047"/>
                  <a:gd name="connsiteX6" fmla="*/ 586557 w 1165513"/>
                  <a:gd name="connsiteY6" fmla="*/ 297713 h 304047"/>
                  <a:gd name="connsiteX7" fmla="*/ 19003 w 1165513"/>
                  <a:gd name="connsiteY7" fmla="*/ 160892 h 304047"/>
                  <a:gd name="connsiteX8" fmla="*/ 29138 w 1165513"/>
                  <a:gd name="connsiteY8" fmla="*/ 135554 h 30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5513" h="304047">
                    <a:moveTo>
                      <a:pt x="29138" y="135554"/>
                    </a:moveTo>
                    <a:cubicBezTo>
                      <a:pt x="36739" y="127953"/>
                      <a:pt x="46874" y="117818"/>
                      <a:pt x="59543" y="110217"/>
                    </a:cubicBezTo>
                    <a:cubicBezTo>
                      <a:pt x="67144" y="105150"/>
                      <a:pt x="74745" y="102616"/>
                      <a:pt x="82346" y="97548"/>
                    </a:cubicBezTo>
                    <a:cubicBezTo>
                      <a:pt x="176094" y="54475"/>
                      <a:pt x="355988" y="19003"/>
                      <a:pt x="586557" y="19003"/>
                    </a:cubicBezTo>
                    <a:cubicBezTo>
                      <a:pt x="898206" y="19003"/>
                      <a:pt x="1121174" y="84880"/>
                      <a:pt x="1149045" y="148223"/>
                    </a:cubicBezTo>
                    <a:cubicBezTo>
                      <a:pt x="1151578" y="153290"/>
                      <a:pt x="1151578" y="155824"/>
                      <a:pt x="1151578" y="160892"/>
                    </a:cubicBezTo>
                    <a:cubicBezTo>
                      <a:pt x="1151578" y="226768"/>
                      <a:pt x="921009" y="297713"/>
                      <a:pt x="586557" y="297713"/>
                    </a:cubicBezTo>
                    <a:cubicBezTo>
                      <a:pt x="247038" y="297713"/>
                      <a:pt x="19003" y="226768"/>
                      <a:pt x="19003" y="160892"/>
                    </a:cubicBezTo>
                    <a:cubicBezTo>
                      <a:pt x="19003" y="153290"/>
                      <a:pt x="21537" y="143156"/>
                      <a:pt x="29138" y="135554"/>
                    </a:cubicBezTo>
                    <a:close/>
                  </a:path>
                </a:pathLst>
              </a:custGeom>
              <a:noFill/>
              <a:ln w="19050" cap="flat">
                <a:solidFill>
                  <a:srgbClr val="505050">
                    <a:lumMod val="20000"/>
                    <a:lumOff val="80000"/>
                  </a:srgbClr>
                </a:solidFill>
                <a:prstDash val="solid"/>
                <a:miter/>
              </a:ln>
            </p:spPr>
            <p:txBody>
              <a:bodyPr rtlCol="0" anchor="ctr"/>
              <a:lstStyle/>
              <a:p>
                <a:pPr defTabSz="914460">
                  <a:defRPr/>
                </a:pPr>
                <a:endParaRPr lang="en-US" sz="1765" kern="0">
                  <a:solidFill>
                    <a:srgbClr val="002050"/>
                  </a:solidFill>
                  <a:latin typeface="Calibri" panose="020F0502020204030204"/>
                </a:endParaRPr>
              </a:p>
            </p:txBody>
          </p:sp>
        </p:grpSp>
        <p:grpSp>
          <p:nvGrpSpPr>
            <p:cNvPr id="18" name="Group 17">
              <a:extLst>
                <a:ext uri="{FF2B5EF4-FFF2-40B4-BE49-F238E27FC236}">
                  <a16:creationId xmlns:a16="http://schemas.microsoft.com/office/drawing/2014/main" id="{ACAB8D72-58A8-414E-BF87-9F3217667B1B}"/>
                </a:ext>
              </a:extLst>
            </p:cNvPr>
            <p:cNvGrpSpPr/>
            <p:nvPr/>
          </p:nvGrpSpPr>
          <p:grpSpPr>
            <a:xfrm>
              <a:off x="3714366" y="4221168"/>
              <a:ext cx="1242064" cy="1067619"/>
              <a:chOff x="2326321" y="4021035"/>
              <a:chExt cx="1242064" cy="1067619"/>
            </a:xfrm>
          </p:grpSpPr>
          <p:sp>
            <p:nvSpPr>
              <p:cNvPr id="19" name="Freeform: Shape 18">
                <a:extLst>
                  <a:ext uri="{FF2B5EF4-FFF2-40B4-BE49-F238E27FC236}">
                    <a16:creationId xmlns:a16="http://schemas.microsoft.com/office/drawing/2014/main" id="{261EA619-C06F-4EB8-980B-08AFB9DB52F6}"/>
                  </a:ext>
                </a:extLst>
              </p:cNvPr>
              <p:cNvSpPr/>
              <p:nvPr/>
            </p:nvSpPr>
            <p:spPr>
              <a:xfrm>
                <a:off x="2326321" y="4021035"/>
                <a:ext cx="1242064" cy="1067619"/>
              </a:xfrm>
              <a:custGeom>
                <a:avLst/>
                <a:gdLst>
                  <a:gd name="connsiteX0" fmla="*/ 1163142 w 1242064"/>
                  <a:gd name="connsiteY0" fmla="*/ 109974 h 1552580"/>
                  <a:gd name="connsiteX1" fmla="*/ 624914 w 1242064"/>
                  <a:gd name="connsiteY1" fmla="*/ 19407 h 1552580"/>
                  <a:gd name="connsiteX2" fmla="*/ 624914 w 1242064"/>
                  <a:gd name="connsiteY2" fmla="*/ 19407 h 1552580"/>
                  <a:gd name="connsiteX3" fmla="*/ 624914 w 1242064"/>
                  <a:gd name="connsiteY3" fmla="*/ 19407 h 1552580"/>
                  <a:gd name="connsiteX4" fmla="*/ 71160 w 1242064"/>
                  <a:gd name="connsiteY4" fmla="*/ 117737 h 1552580"/>
                  <a:gd name="connsiteX5" fmla="*/ 19407 w 1242064"/>
                  <a:gd name="connsiteY5" fmla="*/ 190191 h 1552580"/>
                  <a:gd name="connsiteX6" fmla="*/ 19407 w 1242064"/>
                  <a:gd name="connsiteY6" fmla="*/ 1385678 h 1552580"/>
                  <a:gd name="connsiteX7" fmla="*/ 624914 w 1242064"/>
                  <a:gd name="connsiteY7" fmla="*/ 1551287 h 1552580"/>
                  <a:gd name="connsiteX8" fmla="*/ 1227832 w 1242064"/>
                  <a:gd name="connsiteY8" fmla="*/ 1385678 h 1552580"/>
                  <a:gd name="connsiteX9" fmla="*/ 1227832 w 1242064"/>
                  <a:gd name="connsiteY9" fmla="*/ 190191 h 1552580"/>
                  <a:gd name="connsiteX10" fmla="*/ 1163142 w 1242064"/>
                  <a:gd name="connsiteY10" fmla="*/ 109974 h 1552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2064" h="1552580">
                    <a:moveTo>
                      <a:pt x="1163142" y="109974"/>
                    </a:moveTo>
                    <a:cubicBezTo>
                      <a:pt x="1057049" y="53046"/>
                      <a:pt x="839687" y="19407"/>
                      <a:pt x="624914" y="19407"/>
                    </a:cubicBezTo>
                    <a:lnTo>
                      <a:pt x="624914" y="19407"/>
                    </a:lnTo>
                    <a:lnTo>
                      <a:pt x="624914" y="19407"/>
                    </a:lnTo>
                    <a:cubicBezTo>
                      <a:pt x="402377" y="19407"/>
                      <a:pt x="172078" y="55634"/>
                      <a:pt x="71160" y="117737"/>
                    </a:cubicBezTo>
                    <a:cubicBezTo>
                      <a:pt x="37521" y="138438"/>
                      <a:pt x="19407" y="164315"/>
                      <a:pt x="19407" y="190191"/>
                    </a:cubicBezTo>
                    <a:lnTo>
                      <a:pt x="19407" y="1385678"/>
                    </a:lnTo>
                    <a:cubicBezTo>
                      <a:pt x="19407" y="1494359"/>
                      <a:pt x="332511" y="1551287"/>
                      <a:pt x="624914" y="1551287"/>
                    </a:cubicBezTo>
                    <a:cubicBezTo>
                      <a:pt x="917316" y="1551287"/>
                      <a:pt x="1227832" y="1491771"/>
                      <a:pt x="1227832" y="1385678"/>
                    </a:cubicBezTo>
                    <a:lnTo>
                      <a:pt x="1227832" y="190191"/>
                    </a:lnTo>
                    <a:cubicBezTo>
                      <a:pt x="1227832" y="159139"/>
                      <a:pt x="1204544" y="133263"/>
                      <a:pt x="1163142" y="109974"/>
                    </a:cubicBezTo>
                    <a:close/>
                  </a:path>
                </a:pathLst>
              </a:custGeom>
              <a:solidFill>
                <a:srgbClr val="0078D7"/>
              </a:solidFill>
              <a:ln w="9525" cap="flat">
                <a:noFill/>
                <a:prstDash val="solid"/>
                <a:miter/>
              </a:ln>
            </p:spPr>
            <p:txBody>
              <a:bodyPr rtlCol="0" anchor="ctr"/>
              <a:lstStyle/>
              <a:p>
                <a:pPr defTabSz="914460">
                  <a:defRPr/>
                </a:pPr>
                <a:endParaRPr lang="en-US" sz="1765" kern="0" dirty="0">
                  <a:solidFill>
                    <a:srgbClr val="002050"/>
                  </a:solidFill>
                  <a:latin typeface="Calibri" panose="020F0502020204030204"/>
                </a:endParaRPr>
              </a:p>
            </p:txBody>
          </p:sp>
          <p:sp>
            <p:nvSpPr>
              <p:cNvPr id="20" name="Freeform: Shape 19">
                <a:extLst>
                  <a:ext uri="{FF2B5EF4-FFF2-40B4-BE49-F238E27FC236}">
                    <a16:creationId xmlns:a16="http://schemas.microsoft.com/office/drawing/2014/main" id="{2F2C2D77-9FB2-4E96-A5E8-246BE97ABF6E}"/>
                  </a:ext>
                </a:extLst>
              </p:cNvPr>
              <p:cNvSpPr/>
              <p:nvPr/>
            </p:nvSpPr>
            <p:spPr>
              <a:xfrm>
                <a:off x="2352196" y="4053434"/>
                <a:ext cx="1190312" cy="223554"/>
              </a:xfrm>
              <a:custGeom>
                <a:avLst/>
                <a:gdLst>
                  <a:gd name="connsiteX0" fmla="*/ 29758 w 1190311"/>
                  <a:gd name="connsiteY0" fmla="*/ 138438 h 310516"/>
                  <a:gd name="connsiteX1" fmla="*/ 60809 w 1190311"/>
                  <a:gd name="connsiteY1" fmla="*/ 112562 h 310516"/>
                  <a:gd name="connsiteX2" fmla="*/ 84098 w 1190311"/>
                  <a:gd name="connsiteY2" fmla="*/ 99624 h 310516"/>
                  <a:gd name="connsiteX3" fmla="*/ 599037 w 1190311"/>
                  <a:gd name="connsiteY3" fmla="*/ 19407 h 310516"/>
                  <a:gd name="connsiteX4" fmla="*/ 1173492 w 1190311"/>
                  <a:gd name="connsiteY4" fmla="*/ 151377 h 310516"/>
                  <a:gd name="connsiteX5" fmla="*/ 1176080 w 1190311"/>
                  <a:gd name="connsiteY5" fmla="*/ 164315 h 310516"/>
                  <a:gd name="connsiteX6" fmla="*/ 599037 w 1190311"/>
                  <a:gd name="connsiteY6" fmla="*/ 304047 h 310516"/>
                  <a:gd name="connsiteX7" fmla="*/ 19407 w 1190311"/>
                  <a:gd name="connsiteY7" fmla="*/ 164315 h 310516"/>
                  <a:gd name="connsiteX8" fmla="*/ 29758 w 1190311"/>
                  <a:gd name="connsiteY8" fmla="*/ 138438 h 310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0311" h="310516">
                    <a:moveTo>
                      <a:pt x="29758" y="138438"/>
                    </a:moveTo>
                    <a:cubicBezTo>
                      <a:pt x="37521" y="130676"/>
                      <a:pt x="47871" y="120325"/>
                      <a:pt x="60809" y="112562"/>
                    </a:cubicBezTo>
                    <a:cubicBezTo>
                      <a:pt x="68572" y="107387"/>
                      <a:pt x="76335" y="104799"/>
                      <a:pt x="84098" y="99624"/>
                    </a:cubicBezTo>
                    <a:cubicBezTo>
                      <a:pt x="179841" y="55634"/>
                      <a:pt x="363563" y="19407"/>
                      <a:pt x="599037" y="19407"/>
                    </a:cubicBezTo>
                    <a:cubicBezTo>
                      <a:pt x="917316" y="19407"/>
                      <a:pt x="1145028" y="86686"/>
                      <a:pt x="1173492" y="151377"/>
                    </a:cubicBezTo>
                    <a:cubicBezTo>
                      <a:pt x="1176080" y="156552"/>
                      <a:pt x="1176080" y="159139"/>
                      <a:pt x="1176080" y="164315"/>
                    </a:cubicBezTo>
                    <a:cubicBezTo>
                      <a:pt x="1176080" y="231593"/>
                      <a:pt x="940605" y="304047"/>
                      <a:pt x="599037" y="304047"/>
                    </a:cubicBezTo>
                    <a:cubicBezTo>
                      <a:pt x="252294" y="304047"/>
                      <a:pt x="19407" y="231593"/>
                      <a:pt x="19407" y="164315"/>
                    </a:cubicBezTo>
                    <a:cubicBezTo>
                      <a:pt x="19407" y="156552"/>
                      <a:pt x="21995" y="146201"/>
                      <a:pt x="29758" y="138438"/>
                    </a:cubicBezTo>
                    <a:close/>
                  </a:path>
                </a:pathLst>
              </a:custGeom>
              <a:solidFill>
                <a:srgbClr val="FFFFFF"/>
              </a:solidFill>
              <a:ln w="9525" cap="flat">
                <a:noFill/>
                <a:prstDash val="solid"/>
                <a:miter/>
              </a:ln>
            </p:spPr>
            <p:txBody>
              <a:bodyPr rtlCol="0" anchor="ctr"/>
              <a:lstStyle/>
              <a:p>
                <a:pPr defTabSz="914460">
                  <a:defRPr/>
                </a:pPr>
                <a:endParaRPr lang="en-US" sz="1765" kern="0">
                  <a:solidFill>
                    <a:srgbClr val="002050"/>
                  </a:solidFill>
                  <a:latin typeface="Calibri" panose="020F0502020204030204"/>
                </a:endParaRPr>
              </a:p>
            </p:txBody>
          </p:sp>
        </p:grpSp>
      </p:grpSp>
      <p:sp>
        <p:nvSpPr>
          <p:cNvPr id="23" name="Right Brace 22">
            <a:extLst>
              <a:ext uri="{FF2B5EF4-FFF2-40B4-BE49-F238E27FC236}">
                <a16:creationId xmlns:a16="http://schemas.microsoft.com/office/drawing/2014/main" id="{88CB4844-EFC1-4945-8DF5-65796F75D38D}"/>
              </a:ext>
            </a:extLst>
          </p:cNvPr>
          <p:cNvSpPr/>
          <p:nvPr/>
        </p:nvSpPr>
        <p:spPr>
          <a:xfrm>
            <a:off x="10189566" y="5530833"/>
            <a:ext cx="164580" cy="632908"/>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latin typeface="Calibri" panose="020F0502020204030204"/>
            </a:endParaRPr>
          </a:p>
        </p:txBody>
      </p:sp>
      <p:grpSp>
        <p:nvGrpSpPr>
          <p:cNvPr id="25" name="Group 24">
            <a:extLst>
              <a:ext uri="{FF2B5EF4-FFF2-40B4-BE49-F238E27FC236}">
                <a16:creationId xmlns:a16="http://schemas.microsoft.com/office/drawing/2014/main" id="{5EC63156-BF2E-455D-8750-7F0CEFA75203}"/>
              </a:ext>
            </a:extLst>
          </p:cNvPr>
          <p:cNvGrpSpPr/>
          <p:nvPr/>
        </p:nvGrpSpPr>
        <p:grpSpPr>
          <a:xfrm>
            <a:off x="8816068" y="5751945"/>
            <a:ext cx="543833" cy="499217"/>
            <a:chOff x="8376458" y="5925518"/>
            <a:chExt cx="1045926" cy="901512"/>
          </a:xfrm>
          <a:noFill/>
        </p:grpSpPr>
        <p:sp>
          <p:nvSpPr>
            <p:cNvPr id="26" name="Star: 4 Points 8">
              <a:extLst>
                <a:ext uri="{FF2B5EF4-FFF2-40B4-BE49-F238E27FC236}">
                  <a16:creationId xmlns:a16="http://schemas.microsoft.com/office/drawing/2014/main" id="{ADFB4477-3A83-484F-80D8-3AC7F019EC0B}"/>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grp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27" name="Star: 4 Points 8">
              <a:extLst>
                <a:ext uri="{FF2B5EF4-FFF2-40B4-BE49-F238E27FC236}">
                  <a16:creationId xmlns:a16="http://schemas.microsoft.com/office/drawing/2014/main" id="{CFB25845-3693-40EF-8E57-D93E03C072F5}"/>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grp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28" name="Oval 27">
              <a:extLst>
                <a:ext uri="{FF2B5EF4-FFF2-40B4-BE49-F238E27FC236}">
                  <a16:creationId xmlns:a16="http://schemas.microsoft.com/office/drawing/2014/main" id="{40D7CEBF-D408-4E20-81DD-B1A5A6408E6B}"/>
                </a:ext>
              </a:extLst>
            </p:cNvPr>
            <p:cNvSpPr/>
            <p:nvPr/>
          </p:nvSpPr>
          <p:spPr bwMode="auto">
            <a:xfrm>
              <a:off x="8567675" y="6095745"/>
              <a:ext cx="647663" cy="647662"/>
            </a:xfrm>
            <a:prstGeom prst="ellipse">
              <a:avLst/>
            </a:prstGeom>
            <a:grp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29" name="Oval 9">
              <a:extLst>
                <a:ext uri="{FF2B5EF4-FFF2-40B4-BE49-F238E27FC236}">
                  <a16:creationId xmlns:a16="http://schemas.microsoft.com/office/drawing/2014/main" id="{E3B17D9F-EFA5-4F2E-B23C-BAAA73BA09B4}"/>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grp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spTree>
    <p:extLst>
      <p:ext uri="{BB962C8B-B14F-4D97-AF65-F5344CB8AC3E}">
        <p14:creationId xmlns:p14="http://schemas.microsoft.com/office/powerpoint/2010/main" val="1192386987"/>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08383C-EEBC-42FF-ADAC-6ED8083141A9}"/>
              </a:ext>
            </a:extLst>
          </p:cNvPr>
          <p:cNvSpPr>
            <a:spLocks noGrp="1"/>
          </p:cNvSpPr>
          <p:nvPr>
            <p:ph type="title"/>
          </p:nvPr>
        </p:nvSpPr>
        <p:spPr>
          <a:xfrm>
            <a:off x="1546324" y="387629"/>
            <a:ext cx="8864965" cy="899665"/>
          </a:xfrm>
        </p:spPr>
        <p:txBody>
          <a:bodyPr>
            <a:noAutofit/>
          </a:bodyPr>
          <a:lstStyle/>
          <a:p>
            <a:pPr algn="ctr"/>
            <a:r>
              <a:rPr lang="en-US" sz="3600" dirty="0"/>
              <a:t>Provisioning throughput at database level </a:t>
            </a:r>
            <a:r>
              <a:rPr lang="en-US" sz="3600" dirty="0">
                <a:solidFill>
                  <a:srgbClr val="92D050"/>
                </a:solidFill>
              </a:rPr>
              <a:t>(min entry ↓ by 5X)</a:t>
            </a:r>
          </a:p>
        </p:txBody>
      </p:sp>
      <p:cxnSp>
        <p:nvCxnSpPr>
          <p:cNvPr id="148" name="Straight Arrow Connector 147">
            <a:extLst>
              <a:ext uri="{FF2B5EF4-FFF2-40B4-BE49-F238E27FC236}">
                <a16:creationId xmlns:a16="http://schemas.microsoft.com/office/drawing/2014/main" id="{F10B7690-A04E-4B62-9D1F-3F360ADEFF7B}"/>
              </a:ext>
            </a:extLst>
          </p:cNvPr>
          <p:cNvCxnSpPr>
            <a:cxnSpLocks/>
          </p:cNvCxnSpPr>
          <p:nvPr/>
        </p:nvCxnSpPr>
        <p:spPr>
          <a:xfrm>
            <a:off x="5741383" y="2503631"/>
            <a:ext cx="0" cy="317151"/>
          </a:xfrm>
          <a:prstGeom prst="straightConnector1">
            <a:avLst/>
          </a:prstGeom>
          <a:ln w="19050">
            <a:solidFill>
              <a:schemeClr val="bg1">
                <a:lumMod val="5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41" name="Freeform 5">
            <a:extLst>
              <a:ext uri="{FF2B5EF4-FFF2-40B4-BE49-F238E27FC236}">
                <a16:creationId xmlns:a16="http://schemas.microsoft.com/office/drawing/2014/main" id="{932153C4-43A4-42B7-8810-E75DD6E3493D}"/>
              </a:ext>
            </a:extLst>
          </p:cNvPr>
          <p:cNvSpPr>
            <a:spLocks noEditPoints="1"/>
          </p:cNvSpPr>
          <p:nvPr/>
        </p:nvSpPr>
        <p:spPr bwMode="auto">
          <a:xfrm>
            <a:off x="5434715" y="1726144"/>
            <a:ext cx="613338" cy="518491"/>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en-US">
              <a:solidFill>
                <a:srgbClr val="505050"/>
              </a:solidFill>
              <a:latin typeface="Segoe UI Semilight"/>
            </a:endParaRPr>
          </a:p>
        </p:txBody>
      </p:sp>
      <p:grpSp>
        <p:nvGrpSpPr>
          <p:cNvPr id="138" name="Group 137">
            <a:extLst>
              <a:ext uri="{FF2B5EF4-FFF2-40B4-BE49-F238E27FC236}">
                <a16:creationId xmlns:a16="http://schemas.microsoft.com/office/drawing/2014/main" id="{7C055C48-0CCE-4722-81A8-31339A90670F}"/>
              </a:ext>
            </a:extLst>
          </p:cNvPr>
          <p:cNvGrpSpPr/>
          <p:nvPr/>
        </p:nvGrpSpPr>
        <p:grpSpPr>
          <a:xfrm>
            <a:off x="4395991" y="2874082"/>
            <a:ext cx="2690789" cy="538174"/>
            <a:chOff x="7596797" y="3011420"/>
            <a:chExt cx="2690789" cy="538174"/>
          </a:xfrm>
        </p:grpSpPr>
        <p:grpSp>
          <p:nvGrpSpPr>
            <p:cNvPr id="120" name="Group 119">
              <a:extLst>
                <a:ext uri="{FF2B5EF4-FFF2-40B4-BE49-F238E27FC236}">
                  <a16:creationId xmlns:a16="http://schemas.microsoft.com/office/drawing/2014/main" id="{1D4879CE-10E2-4C9A-97A8-9228F2165D76}"/>
                </a:ext>
              </a:extLst>
            </p:cNvPr>
            <p:cNvGrpSpPr>
              <a:grpSpLocks noChangeAspect="1"/>
            </p:cNvGrpSpPr>
            <p:nvPr/>
          </p:nvGrpSpPr>
          <p:grpSpPr>
            <a:xfrm>
              <a:off x="8544487" y="3015353"/>
              <a:ext cx="760143" cy="530308"/>
              <a:chOff x="6800717" y="3085807"/>
              <a:chExt cx="1223737" cy="853732"/>
            </a:xfrm>
          </p:grpSpPr>
          <p:grpSp>
            <p:nvGrpSpPr>
              <p:cNvPr id="6" name="Group 5">
                <a:extLst>
                  <a:ext uri="{FF2B5EF4-FFF2-40B4-BE49-F238E27FC236}">
                    <a16:creationId xmlns:a16="http://schemas.microsoft.com/office/drawing/2014/main" id="{659A4D5B-10F8-4638-9E48-65749D0C1D92}"/>
                  </a:ext>
                </a:extLst>
              </p:cNvPr>
              <p:cNvGrpSpPr/>
              <p:nvPr/>
            </p:nvGrpSpPr>
            <p:grpSpPr>
              <a:xfrm>
                <a:off x="7092749" y="3085807"/>
                <a:ext cx="499208" cy="473323"/>
                <a:chOff x="7128988" y="4166153"/>
                <a:chExt cx="604908" cy="573541"/>
              </a:xfrm>
              <a:solidFill>
                <a:schemeClr val="tx2"/>
              </a:solidFill>
            </p:grpSpPr>
            <p:cxnSp>
              <p:nvCxnSpPr>
                <p:cNvPr id="27" name="Straight Connector 26">
                  <a:extLst>
                    <a:ext uri="{FF2B5EF4-FFF2-40B4-BE49-F238E27FC236}">
                      <a16:creationId xmlns:a16="http://schemas.microsoft.com/office/drawing/2014/main" id="{617D09A0-3E3E-488D-AF7A-61EF9537E97C}"/>
                    </a:ext>
                  </a:extLst>
                </p:cNvPr>
                <p:cNvCxnSpPr>
                  <a:cxnSpLocks/>
                </p:cNvCxnSpPr>
                <p:nvPr/>
              </p:nvCxnSpPr>
              <p:spPr>
                <a:xfrm>
                  <a:off x="7128988" y="4451736"/>
                  <a:ext cx="238107" cy="72556"/>
                </a:xfrm>
                <a:prstGeom prst="line">
                  <a:avLst/>
                </a:prstGeom>
                <a:grpFill/>
                <a:ln w="12700" cap="flat" cmpd="sng" algn="ctr">
                  <a:solidFill>
                    <a:schemeClr val="tx1"/>
                  </a:solidFill>
                  <a:prstDash val="sysDot"/>
                  <a:miter lim="800000"/>
                  <a:headEnd type="none"/>
                  <a:tailEnd type="none"/>
                </a:ln>
                <a:effectLst/>
              </p:spPr>
            </p:cxnSp>
            <p:cxnSp>
              <p:nvCxnSpPr>
                <p:cNvPr id="28" name="Straight Connector 27">
                  <a:extLst>
                    <a:ext uri="{FF2B5EF4-FFF2-40B4-BE49-F238E27FC236}">
                      <a16:creationId xmlns:a16="http://schemas.microsoft.com/office/drawing/2014/main" id="{BDE09C59-F484-4C01-B8BA-3C5425794B94}"/>
                    </a:ext>
                  </a:extLst>
                </p:cNvPr>
                <p:cNvCxnSpPr>
                  <a:cxnSpLocks/>
                </p:cNvCxnSpPr>
                <p:nvPr/>
              </p:nvCxnSpPr>
              <p:spPr>
                <a:xfrm flipV="1">
                  <a:off x="7128988" y="4379180"/>
                  <a:ext cx="233873" cy="72556"/>
                </a:xfrm>
                <a:prstGeom prst="line">
                  <a:avLst/>
                </a:prstGeom>
                <a:grpFill/>
                <a:ln w="12700" cap="flat" cmpd="sng" algn="ctr">
                  <a:solidFill>
                    <a:schemeClr val="tx1"/>
                  </a:solidFill>
                  <a:prstDash val="sysDot"/>
                  <a:miter lim="800000"/>
                  <a:headEnd type="none"/>
                  <a:tailEnd type="none"/>
                </a:ln>
                <a:effectLst/>
              </p:spPr>
            </p:cxnSp>
            <p:sp>
              <p:nvSpPr>
                <p:cNvPr id="29" name="Oval 28">
                  <a:extLst>
                    <a:ext uri="{FF2B5EF4-FFF2-40B4-BE49-F238E27FC236}">
                      <a16:creationId xmlns:a16="http://schemas.microsoft.com/office/drawing/2014/main" id="{08A774E5-617D-4BEC-A9DB-727E9A84067A}"/>
                    </a:ext>
                  </a:extLst>
                </p:cNvPr>
                <p:cNvSpPr/>
                <p:nvPr/>
              </p:nvSpPr>
              <p:spPr bwMode="auto">
                <a:xfrm>
                  <a:off x="7128988" y="4383154"/>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solidFill>
                      <a:srgbClr val="FFFFFF"/>
                    </a:solidFill>
                    <a:latin typeface="Segoe UI"/>
                  </a:endParaRPr>
                </a:p>
              </p:txBody>
            </p:sp>
            <p:cxnSp>
              <p:nvCxnSpPr>
                <p:cNvPr id="30" name="Straight Connector 29">
                  <a:extLst>
                    <a:ext uri="{FF2B5EF4-FFF2-40B4-BE49-F238E27FC236}">
                      <a16:creationId xmlns:a16="http://schemas.microsoft.com/office/drawing/2014/main" id="{EB5078F8-4626-49E1-856D-A9CD53C90466}"/>
                    </a:ext>
                  </a:extLst>
                </p:cNvPr>
                <p:cNvCxnSpPr>
                  <a:cxnSpLocks/>
                </p:cNvCxnSpPr>
                <p:nvPr/>
              </p:nvCxnSpPr>
              <p:spPr>
                <a:xfrm>
                  <a:off x="7367095" y="4524292"/>
                  <a:ext cx="241432" cy="108368"/>
                </a:xfrm>
                <a:prstGeom prst="line">
                  <a:avLst/>
                </a:prstGeom>
                <a:grpFill/>
                <a:ln w="12700" cap="flat" cmpd="sng" algn="ctr">
                  <a:solidFill>
                    <a:schemeClr val="tx1"/>
                  </a:solidFill>
                  <a:prstDash val="sysDot"/>
                  <a:miter lim="800000"/>
                  <a:headEnd type="none"/>
                  <a:tailEnd type="none"/>
                </a:ln>
                <a:effectLst/>
              </p:spPr>
            </p:cxnSp>
            <p:cxnSp>
              <p:nvCxnSpPr>
                <p:cNvPr id="31" name="Straight Connector 30">
                  <a:extLst>
                    <a:ext uri="{FF2B5EF4-FFF2-40B4-BE49-F238E27FC236}">
                      <a16:creationId xmlns:a16="http://schemas.microsoft.com/office/drawing/2014/main" id="{9385CEED-04F8-447C-939D-4C486351997A}"/>
                    </a:ext>
                  </a:extLst>
                </p:cNvPr>
                <p:cNvCxnSpPr>
                  <a:cxnSpLocks/>
                </p:cNvCxnSpPr>
                <p:nvPr/>
              </p:nvCxnSpPr>
              <p:spPr>
                <a:xfrm>
                  <a:off x="7367095" y="4524292"/>
                  <a:ext cx="229638" cy="1361"/>
                </a:xfrm>
                <a:prstGeom prst="line">
                  <a:avLst/>
                </a:prstGeom>
                <a:grpFill/>
                <a:ln w="12700" cap="flat" cmpd="sng" algn="ctr">
                  <a:solidFill>
                    <a:schemeClr val="tx1"/>
                  </a:solidFill>
                  <a:prstDash val="sysDot"/>
                  <a:miter lim="800000"/>
                  <a:headEnd type="none"/>
                  <a:tailEnd type="none"/>
                </a:ln>
                <a:effectLst/>
              </p:spPr>
            </p:cxnSp>
            <p:sp>
              <p:nvSpPr>
                <p:cNvPr id="32" name="Oval 31">
                  <a:extLst>
                    <a:ext uri="{FF2B5EF4-FFF2-40B4-BE49-F238E27FC236}">
                      <a16:creationId xmlns:a16="http://schemas.microsoft.com/office/drawing/2014/main" id="{1F1CE837-05E1-4B2F-9394-C5790F2E7A3E}"/>
                    </a:ext>
                  </a:extLst>
                </p:cNvPr>
                <p:cNvSpPr/>
                <p:nvPr/>
              </p:nvSpPr>
              <p:spPr bwMode="auto">
                <a:xfrm rot="20946206">
                  <a:off x="7596733" y="4602531"/>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solidFill>
                      <a:srgbClr val="FFFFFF"/>
                    </a:solidFill>
                    <a:latin typeface="Segoe UI"/>
                  </a:endParaRPr>
                </a:p>
              </p:txBody>
            </p:sp>
            <p:sp>
              <p:nvSpPr>
                <p:cNvPr id="33" name="Oval 32">
                  <a:extLst>
                    <a:ext uri="{FF2B5EF4-FFF2-40B4-BE49-F238E27FC236}">
                      <a16:creationId xmlns:a16="http://schemas.microsoft.com/office/drawing/2014/main" id="{3DCE6935-79A3-4569-994F-06564BE4C17E}"/>
                    </a:ext>
                  </a:extLst>
                </p:cNvPr>
                <p:cNvSpPr/>
                <p:nvPr/>
              </p:nvSpPr>
              <p:spPr bwMode="auto">
                <a:xfrm>
                  <a:off x="7596733" y="4457071"/>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solidFill>
                      <a:srgbClr val="FFFFFF"/>
                    </a:solidFill>
                    <a:latin typeface="Segoe UI"/>
                  </a:endParaRPr>
                </a:p>
              </p:txBody>
            </p:sp>
            <p:cxnSp>
              <p:nvCxnSpPr>
                <p:cNvPr id="34" name="Straight Connector 33">
                  <a:extLst>
                    <a:ext uri="{FF2B5EF4-FFF2-40B4-BE49-F238E27FC236}">
                      <a16:creationId xmlns:a16="http://schemas.microsoft.com/office/drawing/2014/main" id="{50EDFD4F-5185-4EB5-8C65-8131D88FA76E}"/>
                    </a:ext>
                  </a:extLst>
                </p:cNvPr>
                <p:cNvCxnSpPr>
                  <a:cxnSpLocks/>
                </p:cNvCxnSpPr>
                <p:nvPr/>
              </p:nvCxnSpPr>
              <p:spPr>
                <a:xfrm>
                  <a:off x="7362861" y="4379181"/>
                  <a:ext cx="233872" cy="1013"/>
                </a:xfrm>
                <a:prstGeom prst="line">
                  <a:avLst/>
                </a:prstGeom>
                <a:grpFill/>
                <a:ln w="12700" cap="flat" cmpd="sng" algn="ctr">
                  <a:solidFill>
                    <a:schemeClr val="tx1"/>
                  </a:solidFill>
                  <a:prstDash val="sysDot"/>
                  <a:miter lim="800000"/>
                  <a:headEnd type="none"/>
                  <a:tailEnd type="none"/>
                </a:ln>
                <a:effectLst/>
              </p:spPr>
            </p:cxnSp>
            <p:sp>
              <p:nvSpPr>
                <p:cNvPr id="35" name="Oval 34">
                  <a:extLst>
                    <a:ext uri="{FF2B5EF4-FFF2-40B4-BE49-F238E27FC236}">
                      <a16:creationId xmlns:a16="http://schemas.microsoft.com/office/drawing/2014/main" id="{DAA40A47-3939-40FC-B72A-911E78003348}"/>
                    </a:ext>
                  </a:extLst>
                </p:cNvPr>
                <p:cNvSpPr/>
                <p:nvPr/>
              </p:nvSpPr>
              <p:spPr bwMode="auto">
                <a:xfrm>
                  <a:off x="7367095" y="4455710"/>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solidFill>
                      <a:srgbClr val="FFFFFF"/>
                    </a:solidFill>
                    <a:latin typeface="Segoe UI"/>
                  </a:endParaRPr>
                </a:p>
              </p:txBody>
            </p:sp>
            <p:cxnSp>
              <p:nvCxnSpPr>
                <p:cNvPr id="36" name="Straight Connector 35">
                  <a:extLst>
                    <a:ext uri="{FF2B5EF4-FFF2-40B4-BE49-F238E27FC236}">
                      <a16:creationId xmlns:a16="http://schemas.microsoft.com/office/drawing/2014/main" id="{4F9BD353-4675-42D0-AE5E-5D5DA4F67C6E}"/>
                    </a:ext>
                  </a:extLst>
                </p:cNvPr>
                <p:cNvCxnSpPr>
                  <a:cxnSpLocks/>
                </p:cNvCxnSpPr>
                <p:nvPr/>
              </p:nvCxnSpPr>
              <p:spPr>
                <a:xfrm flipV="1">
                  <a:off x="7362861" y="4277619"/>
                  <a:ext cx="248934" cy="101562"/>
                </a:xfrm>
                <a:prstGeom prst="line">
                  <a:avLst/>
                </a:prstGeom>
                <a:grpFill/>
                <a:ln w="12700" cap="flat" cmpd="sng" algn="ctr">
                  <a:solidFill>
                    <a:schemeClr val="tx1"/>
                  </a:solidFill>
                  <a:prstDash val="sysDot"/>
                  <a:miter lim="800000"/>
                  <a:headEnd type="none"/>
                  <a:tailEnd type="none"/>
                </a:ln>
                <a:effectLst/>
              </p:spPr>
            </p:cxnSp>
            <p:sp>
              <p:nvSpPr>
                <p:cNvPr id="37" name="Oval 36">
                  <a:extLst>
                    <a:ext uri="{FF2B5EF4-FFF2-40B4-BE49-F238E27FC236}">
                      <a16:creationId xmlns:a16="http://schemas.microsoft.com/office/drawing/2014/main" id="{C469DC97-D1DE-4D91-AA6E-B0B8F1C6956F}"/>
                    </a:ext>
                  </a:extLst>
                </p:cNvPr>
                <p:cNvSpPr/>
                <p:nvPr/>
              </p:nvSpPr>
              <p:spPr bwMode="auto">
                <a:xfrm>
                  <a:off x="7362861" y="4310599"/>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solidFill>
                      <a:srgbClr val="FFFFFF"/>
                    </a:solidFill>
                    <a:latin typeface="Segoe UI"/>
                  </a:endParaRPr>
                </a:p>
              </p:txBody>
            </p:sp>
            <p:sp>
              <p:nvSpPr>
                <p:cNvPr id="38" name="Oval 37">
                  <a:extLst>
                    <a:ext uri="{FF2B5EF4-FFF2-40B4-BE49-F238E27FC236}">
                      <a16:creationId xmlns:a16="http://schemas.microsoft.com/office/drawing/2014/main" id="{3B7D735E-541B-41C3-90BB-375DC261F60A}"/>
                    </a:ext>
                  </a:extLst>
                </p:cNvPr>
                <p:cNvSpPr/>
                <p:nvPr/>
              </p:nvSpPr>
              <p:spPr bwMode="auto">
                <a:xfrm>
                  <a:off x="7596733" y="4311612"/>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solidFill>
                      <a:srgbClr val="FFFFFF"/>
                    </a:solidFill>
                    <a:latin typeface="Segoe UI"/>
                  </a:endParaRPr>
                </a:p>
              </p:txBody>
            </p:sp>
            <p:sp>
              <p:nvSpPr>
                <p:cNvPr id="39" name="Oval 38">
                  <a:extLst>
                    <a:ext uri="{FF2B5EF4-FFF2-40B4-BE49-F238E27FC236}">
                      <a16:creationId xmlns:a16="http://schemas.microsoft.com/office/drawing/2014/main" id="{7657B084-6E62-4CB3-A14F-DAE09534CE88}"/>
                    </a:ext>
                  </a:extLst>
                </p:cNvPr>
                <p:cNvSpPr/>
                <p:nvPr/>
              </p:nvSpPr>
              <p:spPr bwMode="auto">
                <a:xfrm rot="377738">
                  <a:off x="7596733" y="4166153"/>
                  <a:ext cx="137163" cy="137163"/>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solidFill>
                      <a:srgbClr val="FFFFFF"/>
                    </a:solidFill>
                    <a:latin typeface="Segoe UI"/>
                  </a:endParaRPr>
                </a:p>
              </p:txBody>
            </p:sp>
          </p:grpSp>
          <p:sp>
            <p:nvSpPr>
              <p:cNvPr id="8" name="TextBox 7">
                <a:extLst>
                  <a:ext uri="{FF2B5EF4-FFF2-40B4-BE49-F238E27FC236}">
                    <a16:creationId xmlns:a16="http://schemas.microsoft.com/office/drawing/2014/main" id="{BFA3E3CF-872E-409D-8E48-07686DE81748}"/>
                  </a:ext>
                </a:extLst>
              </p:cNvPr>
              <p:cNvSpPr txBox="1"/>
              <p:nvPr/>
            </p:nvSpPr>
            <p:spPr>
              <a:xfrm>
                <a:off x="6800717" y="3567927"/>
                <a:ext cx="1223737" cy="371612"/>
              </a:xfrm>
              <a:prstGeom prst="rect">
                <a:avLst/>
              </a:prstGeom>
              <a:noFill/>
            </p:spPr>
            <p:txBody>
              <a:bodyPr wrap="none" lIns="91440" rtlCol="0">
                <a:spAutoFit/>
              </a:bodyPr>
              <a:lstStyle/>
              <a:p>
                <a:pPr algn="ctr">
                  <a:defRPr/>
                </a:pPr>
                <a:r>
                  <a:rPr lang="en-US" sz="900">
                    <a:solidFill>
                      <a:srgbClr val="0078D7"/>
                    </a:solidFill>
                    <a:latin typeface="Segoe UI Semibold" panose="020B0702040204020203" pitchFamily="34" charset="0"/>
                    <a:cs typeface="Segoe UI Semibold" panose="020B0702040204020203" pitchFamily="34" charset="0"/>
                  </a:rPr>
                  <a:t>Collections</a:t>
                </a:r>
              </a:p>
            </p:txBody>
          </p:sp>
        </p:grpSp>
        <p:grpSp>
          <p:nvGrpSpPr>
            <p:cNvPr id="119" name="Group 118">
              <a:extLst>
                <a:ext uri="{FF2B5EF4-FFF2-40B4-BE49-F238E27FC236}">
                  <a16:creationId xmlns:a16="http://schemas.microsoft.com/office/drawing/2014/main" id="{46CD7D70-8D36-432A-866D-1791A6F1B515}"/>
                </a:ext>
              </a:extLst>
            </p:cNvPr>
            <p:cNvGrpSpPr>
              <a:grpSpLocks noChangeAspect="1"/>
            </p:cNvGrpSpPr>
            <p:nvPr/>
          </p:nvGrpSpPr>
          <p:grpSpPr>
            <a:xfrm>
              <a:off x="7596797" y="3011420"/>
              <a:ext cx="519693" cy="538174"/>
              <a:chOff x="3203733" y="3055226"/>
              <a:chExt cx="880559" cy="911871"/>
            </a:xfrm>
          </p:grpSpPr>
          <p:grpSp>
            <p:nvGrpSpPr>
              <p:cNvPr id="10" name="Group 9">
                <a:extLst>
                  <a:ext uri="{FF2B5EF4-FFF2-40B4-BE49-F238E27FC236}">
                    <a16:creationId xmlns:a16="http://schemas.microsoft.com/office/drawing/2014/main" id="{8D915B5A-2FBE-4CA5-A3A6-10E7DB02F887}"/>
                  </a:ext>
                </a:extLst>
              </p:cNvPr>
              <p:cNvGrpSpPr/>
              <p:nvPr/>
            </p:nvGrpSpPr>
            <p:grpSpPr>
              <a:xfrm>
                <a:off x="3319100" y="3055226"/>
                <a:ext cx="643737" cy="429517"/>
                <a:chOff x="2573581" y="3248112"/>
                <a:chExt cx="643737" cy="429517"/>
              </a:xfrm>
            </p:grpSpPr>
            <p:cxnSp>
              <p:nvCxnSpPr>
                <p:cNvPr id="13" name="Straight Connector 12">
                  <a:extLst>
                    <a:ext uri="{FF2B5EF4-FFF2-40B4-BE49-F238E27FC236}">
                      <a16:creationId xmlns:a16="http://schemas.microsoft.com/office/drawing/2014/main" id="{88BDC102-E1E6-4BAC-A375-838D48099E85}"/>
                    </a:ext>
                  </a:extLst>
                </p:cNvPr>
                <p:cNvCxnSpPr>
                  <a:cxnSpLocks/>
                </p:cNvCxnSpPr>
                <p:nvPr/>
              </p:nvCxnSpPr>
              <p:spPr>
                <a:xfrm>
                  <a:off x="2688446" y="3306383"/>
                  <a:ext cx="424425" cy="0"/>
                </a:xfrm>
                <a:prstGeom prst="line">
                  <a:avLst/>
                </a:prstGeom>
                <a:noFill/>
                <a:ln w="12700" cap="flat" cmpd="sng" algn="ctr">
                  <a:solidFill>
                    <a:schemeClr val="tx1"/>
                  </a:solidFill>
                  <a:prstDash val="sysDot"/>
                  <a:miter lim="800000"/>
                  <a:headEnd type="none"/>
                  <a:tailEnd type="none"/>
                </a:ln>
                <a:effectLst/>
              </p:spPr>
            </p:cxnSp>
            <p:sp>
              <p:nvSpPr>
                <p:cNvPr id="14" name="Oval 13">
                  <a:extLst>
                    <a:ext uri="{FF2B5EF4-FFF2-40B4-BE49-F238E27FC236}">
                      <a16:creationId xmlns:a16="http://schemas.microsoft.com/office/drawing/2014/main" id="{B3FD2B9F-6BF6-4527-A6E8-0722C63A3A67}"/>
                    </a:ext>
                  </a:extLst>
                </p:cNvPr>
                <p:cNvSpPr/>
                <p:nvPr/>
              </p:nvSpPr>
              <p:spPr bwMode="auto">
                <a:xfrm>
                  <a:off x="2573581" y="3248112"/>
                  <a:ext cx="114865" cy="116544"/>
                </a:xfrm>
                <a:prstGeom prst="ellipse">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sp>
              <p:nvSpPr>
                <p:cNvPr id="15" name="Oval 14">
                  <a:extLst>
                    <a:ext uri="{FF2B5EF4-FFF2-40B4-BE49-F238E27FC236}">
                      <a16:creationId xmlns:a16="http://schemas.microsoft.com/office/drawing/2014/main" id="{F7B91590-6E40-44CF-9232-4C9BBC6D3887}"/>
                    </a:ext>
                  </a:extLst>
                </p:cNvPr>
                <p:cNvSpPr/>
                <p:nvPr/>
              </p:nvSpPr>
              <p:spPr bwMode="auto">
                <a:xfrm>
                  <a:off x="3112870" y="3253396"/>
                  <a:ext cx="104448" cy="105974"/>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cxnSp>
              <p:nvCxnSpPr>
                <p:cNvPr id="16" name="Straight Connector 15">
                  <a:extLst>
                    <a:ext uri="{FF2B5EF4-FFF2-40B4-BE49-F238E27FC236}">
                      <a16:creationId xmlns:a16="http://schemas.microsoft.com/office/drawing/2014/main" id="{36BE2259-73DD-4ED1-B3F0-E0E1298DA6B9}"/>
                    </a:ext>
                  </a:extLst>
                </p:cNvPr>
                <p:cNvCxnSpPr>
                  <a:cxnSpLocks/>
                </p:cNvCxnSpPr>
                <p:nvPr/>
              </p:nvCxnSpPr>
              <p:spPr>
                <a:xfrm>
                  <a:off x="2688446" y="3460548"/>
                  <a:ext cx="424425" cy="0"/>
                </a:xfrm>
                <a:prstGeom prst="line">
                  <a:avLst/>
                </a:prstGeom>
                <a:noFill/>
                <a:ln w="12700" cap="flat" cmpd="sng" algn="ctr">
                  <a:solidFill>
                    <a:schemeClr val="tx1"/>
                  </a:solidFill>
                  <a:prstDash val="sysDot"/>
                  <a:miter lim="800000"/>
                  <a:headEnd type="none"/>
                  <a:tailEnd type="none"/>
                </a:ln>
                <a:effectLst/>
              </p:spPr>
            </p:cxnSp>
            <p:sp>
              <p:nvSpPr>
                <p:cNvPr id="17" name="Oval 16">
                  <a:extLst>
                    <a:ext uri="{FF2B5EF4-FFF2-40B4-BE49-F238E27FC236}">
                      <a16:creationId xmlns:a16="http://schemas.microsoft.com/office/drawing/2014/main" id="{FD93C7FB-E2F5-42C6-8908-39F6F4AEEF38}"/>
                    </a:ext>
                  </a:extLst>
                </p:cNvPr>
                <p:cNvSpPr/>
                <p:nvPr/>
              </p:nvSpPr>
              <p:spPr bwMode="auto">
                <a:xfrm>
                  <a:off x="2573581" y="3402277"/>
                  <a:ext cx="114865" cy="116544"/>
                </a:xfrm>
                <a:prstGeom prst="ellipse">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sp>
              <p:nvSpPr>
                <p:cNvPr id="18" name="Oval 17">
                  <a:extLst>
                    <a:ext uri="{FF2B5EF4-FFF2-40B4-BE49-F238E27FC236}">
                      <a16:creationId xmlns:a16="http://schemas.microsoft.com/office/drawing/2014/main" id="{6F702022-A8CF-4790-9E03-7F899CBEF75A}"/>
                    </a:ext>
                  </a:extLst>
                </p:cNvPr>
                <p:cNvSpPr/>
                <p:nvPr/>
              </p:nvSpPr>
              <p:spPr bwMode="auto">
                <a:xfrm>
                  <a:off x="3112870" y="3407561"/>
                  <a:ext cx="104448" cy="105974"/>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cxnSp>
              <p:nvCxnSpPr>
                <p:cNvPr id="19" name="Straight Connector 18">
                  <a:extLst>
                    <a:ext uri="{FF2B5EF4-FFF2-40B4-BE49-F238E27FC236}">
                      <a16:creationId xmlns:a16="http://schemas.microsoft.com/office/drawing/2014/main" id="{60AB46A1-D08C-4BD2-9020-71E55AC120BE}"/>
                    </a:ext>
                  </a:extLst>
                </p:cNvPr>
                <p:cNvCxnSpPr>
                  <a:cxnSpLocks/>
                </p:cNvCxnSpPr>
                <p:nvPr/>
              </p:nvCxnSpPr>
              <p:spPr>
                <a:xfrm>
                  <a:off x="2688446" y="3619357"/>
                  <a:ext cx="424425" cy="0"/>
                </a:xfrm>
                <a:prstGeom prst="line">
                  <a:avLst/>
                </a:prstGeom>
                <a:noFill/>
                <a:ln w="12700" cap="flat" cmpd="sng" algn="ctr">
                  <a:solidFill>
                    <a:schemeClr val="tx1"/>
                  </a:solidFill>
                  <a:prstDash val="sysDot"/>
                  <a:miter lim="800000"/>
                  <a:headEnd type="none"/>
                  <a:tailEnd type="none"/>
                </a:ln>
                <a:effectLst/>
              </p:spPr>
            </p:cxnSp>
            <p:sp>
              <p:nvSpPr>
                <p:cNvPr id="20" name="Oval 19">
                  <a:extLst>
                    <a:ext uri="{FF2B5EF4-FFF2-40B4-BE49-F238E27FC236}">
                      <a16:creationId xmlns:a16="http://schemas.microsoft.com/office/drawing/2014/main" id="{7AAC53CD-882F-4ABC-BD0E-41C8C2788F67}"/>
                    </a:ext>
                  </a:extLst>
                </p:cNvPr>
                <p:cNvSpPr/>
                <p:nvPr/>
              </p:nvSpPr>
              <p:spPr bwMode="auto">
                <a:xfrm>
                  <a:off x="2573581" y="3561085"/>
                  <a:ext cx="114865" cy="116544"/>
                </a:xfrm>
                <a:prstGeom prst="ellipse">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sp>
              <p:nvSpPr>
                <p:cNvPr id="21" name="Oval 20">
                  <a:extLst>
                    <a:ext uri="{FF2B5EF4-FFF2-40B4-BE49-F238E27FC236}">
                      <a16:creationId xmlns:a16="http://schemas.microsoft.com/office/drawing/2014/main" id="{908B9D8E-1062-4FE6-9EE7-75477FED1573}"/>
                    </a:ext>
                  </a:extLst>
                </p:cNvPr>
                <p:cNvSpPr/>
                <p:nvPr/>
              </p:nvSpPr>
              <p:spPr bwMode="auto">
                <a:xfrm>
                  <a:off x="3112870" y="3566370"/>
                  <a:ext cx="104448" cy="105974"/>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grpSp>
          <p:sp>
            <p:nvSpPr>
              <p:cNvPr id="11" name="TextBox 10">
                <a:extLst>
                  <a:ext uri="{FF2B5EF4-FFF2-40B4-BE49-F238E27FC236}">
                    <a16:creationId xmlns:a16="http://schemas.microsoft.com/office/drawing/2014/main" id="{FA8B38AE-080B-44E0-BE19-63113CEE57B2}"/>
                  </a:ext>
                </a:extLst>
              </p:cNvPr>
              <p:cNvSpPr txBox="1"/>
              <p:nvPr/>
            </p:nvSpPr>
            <p:spPr>
              <a:xfrm>
                <a:off x="3203733" y="3575980"/>
                <a:ext cx="880559" cy="391117"/>
              </a:xfrm>
              <a:prstGeom prst="rect">
                <a:avLst/>
              </a:prstGeom>
              <a:noFill/>
            </p:spPr>
            <p:txBody>
              <a:bodyPr wrap="none" lIns="91440" rtlCol="0">
                <a:spAutoFit/>
              </a:bodyPr>
              <a:lstStyle/>
              <a:p>
                <a:pPr algn="ctr">
                  <a:defRPr/>
                </a:pPr>
                <a:r>
                  <a:rPr lang="en-US" sz="900">
                    <a:solidFill>
                      <a:srgbClr val="0078D7"/>
                    </a:solidFill>
                    <a:latin typeface="Segoe UI Semibold" panose="020B0702040204020203" pitchFamily="34" charset="0"/>
                    <a:cs typeface="Segoe UI Semibold" panose="020B0702040204020203" pitchFamily="34" charset="0"/>
                  </a:rPr>
                  <a:t>Tables</a:t>
                </a:r>
              </a:p>
            </p:txBody>
          </p:sp>
        </p:grpSp>
        <p:grpSp>
          <p:nvGrpSpPr>
            <p:cNvPr id="121" name="Group 120">
              <a:extLst>
                <a:ext uri="{FF2B5EF4-FFF2-40B4-BE49-F238E27FC236}">
                  <a16:creationId xmlns:a16="http://schemas.microsoft.com/office/drawing/2014/main" id="{9036448A-25E7-4247-82EC-31C0586018CD}"/>
                </a:ext>
              </a:extLst>
            </p:cNvPr>
            <p:cNvGrpSpPr>
              <a:grpSpLocks noChangeAspect="1"/>
            </p:cNvGrpSpPr>
            <p:nvPr/>
          </p:nvGrpSpPr>
          <p:grpSpPr>
            <a:xfrm>
              <a:off x="9732626" y="3025349"/>
              <a:ext cx="554960" cy="510316"/>
              <a:chOff x="8644574" y="3156797"/>
              <a:chExt cx="792910" cy="729125"/>
            </a:xfrm>
          </p:grpSpPr>
          <p:grpSp>
            <p:nvGrpSpPr>
              <p:cNvPr id="5" name="Group 4">
                <a:extLst>
                  <a:ext uri="{FF2B5EF4-FFF2-40B4-BE49-F238E27FC236}">
                    <a16:creationId xmlns:a16="http://schemas.microsoft.com/office/drawing/2014/main" id="{AE54E7CB-49FE-442E-9116-521E9B4EAC40}"/>
                  </a:ext>
                </a:extLst>
              </p:cNvPr>
              <p:cNvGrpSpPr/>
              <p:nvPr/>
            </p:nvGrpSpPr>
            <p:grpSpPr>
              <a:xfrm>
                <a:off x="8667216" y="3156797"/>
                <a:ext cx="586303" cy="377163"/>
                <a:chOff x="7117181" y="5146654"/>
                <a:chExt cx="663064" cy="426544"/>
              </a:xfrm>
              <a:solidFill>
                <a:schemeClr val="tx2"/>
              </a:solidFill>
            </p:grpSpPr>
            <p:sp>
              <p:nvSpPr>
                <p:cNvPr id="40" name="Oval 39">
                  <a:extLst>
                    <a:ext uri="{FF2B5EF4-FFF2-40B4-BE49-F238E27FC236}">
                      <a16:creationId xmlns:a16="http://schemas.microsoft.com/office/drawing/2014/main" id="{A2645E78-9076-45A2-96FF-C6DB2B5EAB97}"/>
                    </a:ext>
                  </a:extLst>
                </p:cNvPr>
                <p:cNvSpPr/>
                <p:nvPr/>
              </p:nvSpPr>
              <p:spPr bwMode="auto">
                <a:xfrm rot="715722">
                  <a:off x="7117181" y="5146654"/>
                  <a:ext cx="124646" cy="124646"/>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sp>
              <p:nvSpPr>
                <p:cNvPr id="41" name="Oval 40">
                  <a:extLst>
                    <a:ext uri="{FF2B5EF4-FFF2-40B4-BE49-F238E27FC236}">
                      <a16:creationId xmlns:a16="http://schemas.microsoft.com/office/drawing/2014/main" id="{59BB8D96-A772-457F-A5E0-A2AA1605971E}"/>
                    </a:ext>
                  </a:extLst>
                </p:cNvPr>
                <p:cNvSpPr/>
                <p:nvPr/>
              </p:nvSpPr>
              <p:spPr bwMode="auto">
                <a:xfrm>
                  <a:off x="7476127" y="5224668"/>
                  <a:ext cx="124646" cy="124646"/>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sp>
              <p:nvSpPr>
                <p:cNvPr id="42" name="Oval 41">
                  <a:extLst>
                    <a:ext uri="{FF2B5EF4-FFF2-40B4-BE49-F238E27FC236}">
                      <a16:creationId xmlns:a16="http://schemas.microsoft.com/office/drawing/2014/main" id="{5A4EFB87-857D-4EB1-BF8C-F7A136F2ACEF}"/>
                    </a:ext>
                  </a:extLst>
                </p:cNvPr>
                <p:cNvSpPr/>
                <p:nvPr/>
              </p:nvSpPr>
              <p:spPr bwMode="auto">
                <a:xfrm>
                  <a:off x="7296654" y="5448552"/>
                  <a:ext cx="124646" cy="124646"/>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sp>
              <p:nvSpPr>
                <p:cNvPr id="43" name="Oval 42">
                  <a:extLst>
                    <a:ext uri="{FF2B5EF4-FFF2-40B4-BE49-F238E27FC236}">
                      <a16:creationId xmlns:a16="http://schemas.microsoft.com/office/drawing/2014/main" id="{CEFEA834-0B6A-422B-9825-90C530969C3E}"/>
                    </a:ext>
                  </a:extLst>
                </p:cNvPr>
                <p:cNvSpPr/>
                <p:nvPr/>
              </p:nvSpPr>
              <p:spPr bwMode="auto">
                <a:xfrm>
                  <a:off x="7655599" y="5448552"/>
                  <a:ext cx="124646" cy="124646"/>
                </a:xfrm>
                <a:prstGeom prst="ellipse">
                  <a:avLst/>
                </a:prstGeom>
                <a:solidFill>
                  <a:srgbClr val="FFFFFF"/>
                </a:solidFill>
                <a:ln w="12700" cap="flat" cmpd="sng" algn="ctr">
                  <a:solidFill>
                    <a:schemeClr val="tx2"/>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a:gradFill>
                      <a:gsLst>
                        <a:gs pos="0">
                          <a:srgbClr val="FFFFFF"/>
                        </a:gs>
                        <a:gs pos="100000">
                          <a:srgbClr val="FFFFFF"/>
                        </a:gs>
                      </a:gsLst>
                      <a:lin ang="5400000" scaled="0"/>
                    </a:gradFill>
                    <a:latin typeface="Segoe UI"/>
                  </a:endParaRPr>
                </a:p>
              </p:txBody>
            </p:sp>
            <p:cxnSp>
              <p:nvCxnSpPr>
                <p:cNvPr id="44" name="Straight Connector 43">
                  <a:extLst>
                    <a:ext uri="{FF2B5EF4-FFF2-40B4-BE49-F238E27FC236}">
                      <a16:creationId xmlns:a16="http://schemas.microsoft.com/office/drawing/2014/main" id="{A0ADD767-B417-41B0-8350-F79A837DFB23}"/>
                    </a:ext>
                  </a:extLst>
                </p:cNvPr>
                <p:cNvCxnSpPr>
                  <a:cxnSpLocks/>
                </p:cNvCxnSpPr>
                <p:nvPr/>
              </p:nvCxnSpPr>
              <p:spPr>
                <a:xfrm>
                  <a:off x="7240481" y="5221859"/>
                  <a:ext cx="235646" cy="65132"/>
                </a:xfrm>
                <a:prstGeom prst="line">
                  <a:avLst/>
                </a:prstGeom>
                <a:grpFill/>
                <a:ln w="12700" cap="flat" cmpd="sng" algn="ctr">
                  <a:solidFill>
                    <a:schemeClr val="tx1"/>
                  </a:solidFill>
                  <a:prstDash val="sysDot"/>
                  <a:miter lim="800000"/>
                  <a:headEnd type="none"/>
                  <a:tailEnd type="none"/>
                </a:ln>
                <a:effectLst/>
              </p:spPr>
            </p:cxnSp>
            <p:cxnSp>
              <p:nvCxnSpPr>
                <p:cNvPr id="45" name="Straight Connector 44">
                  <a:extLst>
                    <a:ext uri="{FF2B5EF4-FFF2-40B4-BE49-F238E27FC236}">
                      <a16:creationId xmlns:a16="http://schemas.microsoft.com/office/drawing/2014/main" id="{BAC6B8F2-33CF-41D2-91A3-57E98A83E4E4}"/>
                    </a:ext>
                  </a:extLst>
                </p:cNvPr>
                <p:cNvCxnSpPr>
                  <a:cxnSpLocks/>
                </p:cNvCxnSpPr>
                <p:nvPr/>
              </p:nvCxnSpPr>
              <p:spPr>
                <a:xfrm>
                  <a:off x="7421300" y="5510875"/>
                  <a:ext cx="234299" cy="0"/>
                </a:xfrm>
                <a:prstGeom prst="line">
                  <a:avLst/>
                </a:prstGeom>
                <a:grpFill/>
                <a:ln w="12700" cap="flat" cmpd="sng" algn="ctr">
                  <a:solidFill>
                    <a:schemeClr val="tx1"/>
                  </a:solidFill>
                  <a:prstDash val="sysDot"/>
                  <a:miter lim="800000"/>
                  <a:headEnd type="none"/>
                  <a:tailEnd type="none"/>
                </a:ln>
                <a:effectLst/>
              </p:spPr>
            </p:cxnSp>
            <p:cxnSp>
              <p:nvCxnSpPr>
                <p:cNvPr id="46" name="Straight Connector 45">
                  <a:extLst>
                    <a:ext uri="{FF2B5EF4-FFF2-40B4-BE49-F238E27FC236}">
                      <a16:creationId xmlns:a16="http://schemas.microsoft.com/office/drawing/2014/main" id="{56E67412-02E8-43E1-8448-CE5A0FD99A9B}"/>
                    </a:ext>
                  </a:extLst>
                </p:cNvPr>
                <p:cNvCxnSpPr>
                  <a:cxnSpLocks/>
                </p:cNvCxnSpPr>
                <p:nvPr/>
              </p:nvCxnSpPr>
              <p:spPr>
                <a:xfrm>
                  <a:off x="7582519" y="5331060"/>
                  <a:ext cx="91334" cy="135746"/>
                </a:xfrm>
                <a:prstGeom prst="line">
                  <a:avLst/>
                </a:prstGeom>
                <a:grpFill/>
                <a:ln w="12700" cap="flat" cmpd="sng" algn="ctr">
                  <a:solidFill>
                    <a:schemeClr val="tx1"/>
                  </a:solidFill>
                  <a:prstDash val="sysDot"/>
                  <a:miter lim="800000"/>
                  <a:headEnd type="none"/>
                  <a:tailEnd type="none"/>
                </a:ln>
                <a:effectLst/>
              </p:spPr>
            </p:cxnSp>
            <p:cxnSp>
              <p:nvCxnSpPr>
                <p:cNvPr id="47" name="Straight Connector 46">
                  <a:extLst>
                    <a:ext uri="{FF2B5EF4-FFF2-40B4-BE49-F238E27FC236}">
                      <a16:creationId xmlns:a16="http://schemas.microsoft.com/office/drawing/2014/main" id="{011FF54B-AA43-4323-AB02-F4E363083E01}"/>
                    </a:ext>
                  </a:extLst>
                </p:cNvPr>
                <p:cNvCxnSpPr>
                  <a:cxnSpLocks/>
                </p:cNvCxnSpPr>
                <p:nvPr/>
              </p:nvCxnSpPr>
              <p:spPr>
                <a:xfrm flipV="1">
                  <a:off x="7403046" y="5331060"/>
                  <a:ext cx="91335" cy="135746"/>
                </a:xfrm>
                <a:prstGeom prst="line">
                  <a:avLst/>
                </a:prstGeom>
                <a:grpFill/>
                <a:ln w="12700" cap="flat" cmpd="sng" algn="ctr">
                  <a:solidFill>
                    <a:schemeClr val="tx1"/>
                  </a:solidFill>
                  <a:prstDash val="sysDot"/>
                  <a:miter lim="800000"/>
                  <a:headEnd type="none"/>
                  <a:tailEnd type="none"/>
                </a:ln>
                <a:effectLst/>
              </p:spPr>
            </p:cxnSp>
          </p:grpSp>
          <p:sp>
            <p:nvSpPr>
              <p:cNvPr id="12" name="TextBox 11">
                <a:extLst>
                  <a:ext uri="{FF2B5EF4-FFF2-40B4-BE49-F238E27FC236}">
                    <a16:creationId xmlns:a16="http://schemas.microsoft.com/office/drawing/2014/main" id="{2D5439DB-298F-4583-8994-06523662E652}"/>
                  </a:ext>
                </a:extLst>
              </p:cNvPr>
              <p:cNvSpPr txBox="1"/>
              <p:nvPr/>
            </p:nvSpPr>
            <p:spPr>
              <a:xfrm>
                <a:off x="8644574" y="3556116"/>
                <a:ext cx="792910" cy="329806"/>
              </a:xfrm>
              <a:prstGeom prst="rect">
                <a:avLst/>
              </a:prstGeom>
              <a:noFill/>
            </p:spPr>
            <p:txBody>
              <a:bodyPr wrap="none" lIns="91440" rtlCol="0">
                <a:spAutoFit/>
              </a:bodyPr>
              <a:lstStyle/>
              <a:p>
                <a:pPr algn="ctr">
                  <a:defRPr/>
                </a:pPr>
                <a:r>
                  <a:rPr lang="en-US" sz="900">
                    <a:solidFill>
                      <a:srgbClr val="0078D7"/>
                    </a:solidFill>
                    <a:latin typeface="Segoe UI Semibold" panose="020B0702040204020203" pitchFamily="34" charset="0"/>
                    <a:cs typeface="Segoe UI Semibold" panose="020B0702040204020203" pitchFamily="34" charset="0"/>
                  </a:rPr>
                  <a:t>Graphs</a:t>
                </a:r>
              </a:p>
            </p:txBody>
          </p:sp>
        </p:grpSp>
      </p:grpSp>
      <p:cxnSp>
        <p:nvCxnSpPr>
          <p:cNvPr id="114" name="Connector: Elbow 113">
            <a:extLst>
              <a:ext uri="{FF2B5EF4-FFF2-40B4-BE49-F238E27FC236}">
                <a16:creationId xmlns:a16="http://schemas.microsoft.com/office/drawing/2014/main" id="{F7D00F28-4F5A-4819-982A-30A6FA51F4BB}"/>
              </a:ext>
            </a:extLst>
          </p:cNvPr>
          <p:cNvCxnSpPr>
            <a:stCxn id="11" idx="2"/>
            <a:endCxn id="12" idx="2"/>
          </p:cNvCxnSpPr>
          <p:nvPr/>
        </p:nvCxnSpPr>
        <p:spPr>
          <a:xfrm rot="5400000" flipH="1" flipV="1">
            <a:off x="5725604" y="2328561"/>
            <a:ext cx="13929" cy="2153462"/>
          </a:xfrm>
          <a:prstGeom prst="bentConnector3">
            <a:avLst>
              <a:gd name="adj1" fmla="val -1641180"/>
            </a:avLst>
          </a:prstGeom>
          <a:ln w="19050">
            <a:solidFill>
              <a:schemeClr val="bg1">
                <a:lumMod val="50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44" name="Connector: Elbow 143">
            <a:extLst>
              <a:ext uri="{FF2B5EF4-FFF2-40B4-BE49-F238E27FC236}">
                <a16:creationId xmlns:a16="http://schemas.microsoft.com/office/drawing/2014/main" id="{62A7D338-C7A4-4FC4-B7D9-1BFCF03135A5}"/>
              </a:ext>
            </a:extLst>
          </p:cNvPr>
          <p:cNvCxnSpPr>
            <a:cxnSpLocks/>
          </p:cNvCxnSpPr>
          <p:nvPr/>
        </p:nvCxnSpPr>
        <p:spPr>
          <a:xfrm rot="5400000" flipH="1" flipV="1">
            <a:off x="5725606" y="1728625"/>
            <a:ext cx="13929" cy="2153462"/>
          </a:xfrm>
          <a:prstGeom prst="bentConnector3">
            <a:avLst>
              <a:gd name="adj1" fmla="val 1741180"/>
            </a:avLst>
          </a:prstGeom>
          <a:ln w="19050">
            <a:solidFill>
              <a:schemeClr val="bg1">
                <a:lumMod val="50000"/>
              </a:schemeClr>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78F6F80A-BF4C-4CE1-B09B-419A833F743F}"/>
              </a:ext>
            </a:extLst>
          </p:cNvPr>
          <p:cNvGrpSpPr/>
          <p:nvPr/>
        </p:nvGrpSpPr>
        <p:grpSpPr>
          <a:xfrm>
            <a:off x="949812" y="4343460"/>
            <a:ext cx="3749040" cy="1986808"/>
            <a:chOff x="949812" y="4114860"/>
            <a:chExt cx="3749040" cy="1986808"/>
          </a:xfrm>
        </p:grpSpPr>
        <p:sp>
          <p:nvSpPr>
            <p:cNvPr id="117" name="Cylinder 513">
              <a:extLst>
                <a:ext uri="{FF2B5EF4-FFF2-40B4-BE49-F238E27FC236}">
                  <a16:creationId xmlns:a16="http://schemas.microsoft.com/office/drawing/2014/main" id="{8B8E3569-BDB7-4A8F-A5BC-C675F3F93079}"/>
                </a:ext>
              </a:extLst>
            </p:cNvPr>
            <p:cNvSpPr/>
            <p:nvPr/>
          </p:nvSpPr>
          <p:spPr bwMode="auto">
            <a:xfrm>
              <a:off x="2633790" y="4114860"/>
              <a:ext cx="381083" cy="357484"/>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a:solidFill>
                  <a:srgbClr val="0078D7"/>
                </a:solidFill>
                <a:latin typeface="Segoe UI Light"/>
                <a:ea typeface="Segoe UI" pitchFamily="34" charset="0"/>
                <a:cs typeface="Segoe UI" pitchFamily="34" charset="0"/>
              </a:endParaRPr>
            </a:p>
          </p:txBody>
        </p:sp>
        <p:grpSp>
          <p:nvGrpSpPr>
            <p:cNvPr id="67" name="Group 66">
              <a:extLst>
                <a:ext uri="{FF2B5EF4-FFF2-40B4-BE49-F238E27FC236}">
                  <a16:creationId xmlns:a16="http://schemas.microsoft.com/office/drawing/2014/main" id="{93E9D72B-D275-41A5-B45B-420882CFA457}"/>
                </a:ext>
              </a:extLst>
            </p:cNvPr>
            <p:cNvGrpSpPr>
              <a:grpSpLocks noChangeAspect="1"/>
            </p:cNvGrpSpPr>
            <p:nvPr/>
          </p:nvGrpSpPr>
          <p:grpSpPr>
            <a:xfrm>
              <a:off x="1103900" y="5190511"/>
              <a:ext cx="457200" cy="457200"/>
              <a:chOff x="678426" y="2868561"/>
              <a:chExt cx="811162" cy="811162"/>
            </a:xfrm>
          </p:grpSpPr>
          <p:sp>
            <p:nvSpPr>
              <p:cNvPr id="68" name="Oval 67">
                <a:extLst>
                  <a:ext uri="{FF2B5EF4-FFF2-40B4-BE49-F238E27FC236}">
                    <a16:creationId xmlns:a16="http://schemas.microsoft.com/office/drawing/2014/main" id="{02403132-4E05-4059-B23D-F2EEDB44D4AC}"/>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9" name="Rectangle 68">
                <a:extLst>
                  <a:ext uri="{FF2B5EF4-FFF2-40B4-BE49-F238E27FC236}">
                    <a16:creationId xmlns:a16="http://schemas.microsoft.com/office/drawing/2014/main" id="{231D905F-FA86-454D-A87B-B41DFDF93512}"/>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70" name="Rectangle 69">
                <a:extLst>
                  <a:ext uri="{FF2B5EF4-FFF2-40B4-BE49-F238E27FC236}">
                    <a16:creationId xmlns:a16="http://schemas.microsoft.com/office/drawing/2014/main" id="{EC69BED5-B30A-4E21-9518-615C02B6448B}"/>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71" name="Rectangle 70">
                <a:extLst>
                  <a:ext uri="{FF2B5EF4-FFF2-40B4-BE49-F238E27FC236}">
                    <a16:creationId xmlns:a16="http://schemas.microsoft.com/office/drawing/2014/main" id="{E787D04A-EA41-4EA3-BEDA-DC33E3398F7C}"/>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72" name="Rectangle 71">
                <a:extLst>
                  <a:ext uri="{FF2B5EF4-FFF2-40B4-BE49-F238E27FC236}">
                    <a16:creationId xmlns:a16="http://schemas.microsoft.com/office/drawing/2014/main" id="{45A3B903-29E0-4265-AFE1-FECF95F826DE}"/>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73" name="Connector: Curved 72">
                <a:extLst>
                  <a:ext uri="{FF2B5EF4-FFF2-40B4-BE49-F238E27FC236}">
                    <a16:creationId xmlns:a16="http://schemas.microsoft.com/office/drawing/2014/main" id="{5CA15B8D-FF4E-47BA-9F3D-A15B93EE771A}"/>
                  </a:ext>
                </a:extLst>
              </p:cNvPr>
              <p:cNvCxnSpPr>
                <a:stCxn id="69" idx="3"/>
                <a:endCxn id="70"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74" name="Connector: Curved 73">
                <a:extLst>
                  <a:ext uri="{FF2B5EF4-FFF2-40B4-BE49-F238E27FC236}">
                    <a16:creationId xmlns:a16="http://schemas.microsoft.com/office/drawing/2014/main" id="{6A4565C9-5B69-4E52-B8B9-13B50B0E44DF}"/>
                  </a:ext>
                </a:extLst>
              </p:cNvPr>
              <p:cNvCxnSpPr>
                <a:cxnSpLocks/>
                <a:stCxn id="69" idx="3"/>
                <a:endCxn id="71"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75" name="Connector: Curved 74">
                <a:extLst>
                  <a:ext uri="{FF2B5EF4-FFF2-40B4-BE49-F238E27FC236}">
                    <a16:creationId xmlns:a16="http://schemas.microsoft.com/office/drawing/2014/main" id="{15EE9A63-8F37-43E0-BB31-97516C9B6F41}"/>
                  </a:ext>
                </a:extLst>
              </p:cNvPr>
              <p:cNvCxnSpPr>
                <a:cxnSpLocks/>
                <a:stCxn id="69" idx="3"/>
                <a:endCxn id="72"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sp>
          <p:nvSpPr>
            <p:cNvPr id="130" name="TextBox 129">
              <a:extLst>
                <a:ext uri="{FF2B5EF4-FFF2-40B4-BE49-F238E27FC236}">
                  <a16:creationId xmlns:a16="http://schemas.microsoft.com/office/drawing/2014/main" id="{ECBBBFF1-82BE-454C-A417-9532F36EE56A}"/>
                </a:ext>
              </a:extLst>
            </p:cNvPr>
            <p:cNvSpPr txBox="1"/>
            <p:nvPr/>
          </p:nvSpPr>
          <p:spPr>
            <a:xfrm>
              <a:off x="2475518" y="4501395"/>
              <a:ext cx="697627" cy="230832"/>
            </a:xfrm>
            <a:prstGeom prst="rect">
              <a:avLst/>
            </a:prstGeom>
            <a:noFill/>
          </p:spPr>
          <p:txBody>
            <a:bodyPr wrap="none" lIns="91440" rtlCol="0">
              <a:spAutoFit/>
            </a:bodyPr>
            <a:lstStyle/>
            <a:p>
              <a:pPr algn="ctr">
                <a:defRPr/>
              </a:pPr>
              <a:r>
                <a:rPr lang="en-US" sz="900" dirty="0">
                  <a:solidFill>
                    <a:srgbClr val="0078D7"/>
                  </a:solidFill>
                  <a:latin typeface="Segoe UI Semibold" panose="020B0702040204020203" pitchFamily="34" charset="0"/>
                  <a:cs typeface="Segoe UI Semibold" panose="020B0702040204020203" pitchFamily="34" charset="0"/>
                </a:rPr>
                <a:t>Container</a:t>
              </a:r>
            </a:p>
          </p:txBody>
        </p:sp>
        <p:sp>
          <p:nvSpPr>
            <p:cNvPr id="131" name="Right Bracket 130">
              <a:extLst>
                <a:ext uri="{FF2B5EF4-FFF2-40B4-BE49-F238E27FC236}">
                  <a16:creationId xmlns:a16="http://schemas.microsoft.com/office/drawing/2014/main" id="{73577B31-FFEA-4807-9ABB-EC7172AD59E1}"/>
                </a:ext>
              </a:extLst>
            </p:cNvPr>
            <p:cNvSpPr/>
            <p:nvPr/>
          </p:nvSpPr>
          <p:spPr>
            <a:xfrm rot="5400000" flipV="1">
              <a:off x="2775142" y="3839050"/>
              <a:ext cx="98379" cy="3749040"/>
            </a:xfrm>
            <a:prstGeom prst="rightBracket">
              <a:avLst/>
            </a:prstGeom>
            <a:ln w="190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defRPr/>
              </a:pPr>
              <a:endParaRPr lang="en-US">
                <a:solidFill>
                  <a:srgbClr val="505050"/>
                </a:solidFill>
                <a:latin typeface="Segoe UI Semilight"/>
              </a:endParaRPr>
            </a:p>
          </p:txBody>
        </p:sp>
        <p:sp>
          <p:nvSpPr>
            <p:cNvPr id="132" name="TextBox 131">
              <a:extLst>
                <a:ext uri="{FF2B5EF4-FFF2-40B4-BE49-F238E27FC236}">
                  <a16:creationId xmlns:a16="http://schemas.microsoft.com/office/drawing/2014/main" id="{C4AA1559-A225-4AB7-B100-316DACFD5EFF}"/>
                </a:ext>
              </a:extLst>
            </p:cNvPr>
            <p:cNvSpPr txBox="1"/>
            <p:nvPr/>
          </p:nvSpPr>
          <p:spPr>
            <a:xfrm>
              <a:off x="2226252" y="5870836"/>
              <a:ext cx="1196161" cy="230832"/>
            </a:xfrm>
            <a:prstGeom prst="rect">
              <a:avLst/>
            </a:prstGeom>
            <a:noFill/>
          </p:spPr>
          <p:txBody>
            <a:bodyPr wrap="none" lIns="91440" rtlCol="0">
              <a:spAutoFit/>
            </a:bodyPr>
            <a:lstStyle/>
            <a:p>
              <a:pPr algn="ctr">
                <a:defRPr/>
              </a:pPr>
              <a:r>
                <a:rPr lang="en-US" sz="900">
                  <a:solidFill>
                    <a:srgbClr val="0078D7"/>
                  </a:solidFill>
                  <a:latin typeface="Segoe UI Semibold" panose="020B0702040204020203" pitchFamily="34" charset="0"/>
                  <a:cs typeface="Segoe UI Semibold" panose="020B0702040204020203" pitchFamily="34" charset="0"/>
                </a:rPr>
                <a:t>Resource Partitions</a:t>
              </a:r>
            </a:p>
          </p:txBody>
        </p:sp>
        <p:cxnSp>
          <p:nvCxnSpPr>
            <p:cNvPr id="163" name="Straight Arrow Connector 162">
              <a:extLst>
                <a:ext uri="{FF2B5EF4-FFF2-40B4-BE49-F238E27FC236}">
                  <a16:creationId xmlns:a16="http://schemas.microsoft.com/office/drawing/2014/main" id="{46B0B352-FE46-4D07-B711-F75781955A71}"/>
                </a:ext>
              </a:extLst>
            </p:cNvPr>
            <p:cNvCxnSpPr>
              <a:cxnSpLocks/>
            </p:cNvCxnSpPr>
            <p:nvPr/>
          </p:nvCxnSpPr>
          <p:spPr>
            <a:xfrm>
              <a:off x="2824332" y="4738631"/>
              <a:ext cx="0" cy="410443"/>
            </a:xfrm>
            <a:prstGeom prst="straightConnector1">
              <a:avLst/>
            </a:prstGeom>
            <a:ln w="19050">
              <a:solidFill>
                <a:schemeClr val="bg1">
                  <a:lumMod val="5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51" name="Connector: Elbow 150">
              <a:extLst>
                <a:ext uri="{FF2B5EF4-FFF2-40B4-BE49-F238E27FC236}">
                  <a16:creationId xmlns:a16="http://schemas.microsoft.com/office/drawing/2014/main" id="{02D3E6C0-61FE-4A6A-BC6A-08247DB929C5}"/>
                </a:ext>
              </a:extLst>
            </p:cNvPr>
            <p:cNvCxnSpPr>
              <a:cxnSpLocks/>
            </p:cNvCxnSpPr>
            <p:nvPr/>
          </p:nvCxnSpPr>
          <p:spPr>
            <a:xfrm rot="5400000" flipH="1" flipV="1">
              <a:off x="2817367" y="4443633"/>
              <a:ext cx="13929" cy="1337131"/>
            </a:xfrm>
            <a:prstGeom prst="bentConnector3">
              <a:avLst>
                <a:gd name="adj1" fmla="val 1741180"/>
              </a:avLst>
            </a:prstGeom>
            <a:ln w="19050">
              <a:solidFill>
                <a:schemeClr val="bg1">
                  <a:lumMod val="50000"/>
                </a:schemeClr>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23" name="Group 122">
              <a:extLst>
                <a:ext uri="{FF2B5EF4-FFF2-40B4-BE49-F238E27FC236}">
                  <a16:creationId xmlns:a16="http://schemas.microsoft.com/office/drawing/2014/main" id="{4C9084AA-BD57-4BB6-B39C-F7A8CD0C2B06}"/>
                </a:ext>
              </a:extLst>
            </p:cNvPr>
            <p:cNvGrpSpPr>
              <a:grpSpLocks noChangeAspect="1"/>
            </p:cNvGrpSpPr>
            <p:nvPr/>
          </p:nvGrpSpPr>
          <p:grpSpPr>
            <a:xfrm>
              <a:off x="1700633" y="5190511"/>
              <a:ext cx="457200" cy="457200"/>
              <a:chOff x="678426" y="2868561"/>
              <a:chExt cx="811162" cy="811162"/>
            </a:xfrm>
          </p:grpSpPr>
          <p:sp>
            <p:nvSpPr>
              <p:cNvPr id="124" name="Oval 123">
                <a:extLst>
                  <a:ext uri="{FF2B5EF4-FFF2-40B4-BE49-F238E27FC236}">
                    <a16:creationId xmlns:a16="http://schemas.microsoft.com/office/drawing/2014/main" id="{F1D469D5-8191-45BA-B275-23110970FB5A}"/>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5" name="Rectangle 124">
                <a:extLst>
                  <a:ext uri="{FF2B5EF4-FFF2-40B4-BE49-F238E27FC236}">
                    <a16:creationId xmlns:a16="http://schemas.microsoft.com/office/drawing/2014/main" id="{792430B9-623E-4F3A-A058-564D7E33A74C}"/>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26" name="Rectangle 125">
                <a:extLst>
                  <a:ext uri="{FF2B5EF4-FFF2-40B4-BE49-F238E27FC236}">
                    <a16:creationId xmlns:a16="http://schemas.microsoft.com/office/drawing/2014/main" id="{28030C76-C4C0-4049-ACE5-5D0C817EB055}"/>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27" name="Rectangle 126">
                <a:extLst>
                  <a:ext uri="{FF2B5EF4-FFF2-40B4-BE49-F238E27FC236}">
                    <a16:creationId xmlns:a16="http://schemas.microsoft.com/office/drawing/2014/main" id="{7D314E13-9EC7-45AE-BFF3-4316F6EC984A}"/>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28" name="Rectangle 127">
                <a:extLst>
                  <a:ext uri="{FF2B5EF4-FFF2-40B4-BE49-F238E27FC236}">
                    <a16:creationId xmlns:a16="http://schemas.microsoft.com/office/drawing/2014/main" id="{22127C56-0E0E-4D98-8D2B-E4AE1B419E3C}"/>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129" name="Connector: Curved 128">
                <a:extLst>
                  <a:ext uri="{FF2B5EF4-FFF2-40B4-BE49-F238E27FC236}">
                    <a16:creationId xmlns:a16="http://schemas.microsoft.com/office/drawing/2014/main" id="{2C0383EF-51D9-4C1C-9FE5-874D254EE55A}"/>
                  </a:ext>
                </a:extLst>
              </p:cNvPr>
              <p:cNvCxnSpPr>
                <a:stCxn id="125" idx="3"/>
                <a:endCxn id="126"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133" name="Connector: Curved 132">
                <a:extLst>
                  <a:ext uri="{FF2B5EF4-FFF2-40B4-BE49-F238E27FC236}">
                    <a16:creationId xmlns:a16="http://schemas.microsoft.com/office/drawing/2014/main" id="{20B19020-9B96-41C2-A511-E36615F97B65}"/>
                  </a:ext>
                </a:extLst>
              </p:cNvPr>
              <p:cNvCxnSpPr>
                <a:cxnSpLocks/>
                <a:stCxn id="125" idx="3"/>
                <a:endCxn id="127"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134" name="Connector: Curved 133">
                <a:extLst>
                  <a:ext uri="{FF2B5EF4-FFF2-40B4-BE49-F238E27FC236}">
                    <a16:creationId xmlns:a16="http://schemas.microsoft.com/office/drawing/2014/main" id="{A87AA096-9F11-4128-B412-E12608F98446}"/>
                  </a:ext>
                </a:extLst>
              </p:cNvPr>
              <p:cNvCxnSpPr>
                <a:cxnSpLocks/>
                <a:stCxn id="125" idx="3"/>
                <a:endCxn id="128"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grpSp>
          <p:nvGrpSpPr>
            <p:cNvPr id="135" name="Group 134">
              <a:extLst>
                <a:ext uri="{FF2B5EF4-FFF2-40B4-BE49-F238E27FC236}">
                  <a16:creationId xmlns:a16="http://schemas.microsoft.com/office/drawing/2014/main" id="{4482B5EE-0E9C-40BF-83C7-A4ABE4FE7CF1}"/>
                </a:ext>
              </a:extLst>
            </p:cNvPr>
            <p:cNvGrpSpPr>
              <a:grpSpLocks noChangeAspect="1"/>
            </p:cNvGrpSpPr>
            <p:nvPr/>
          </p:nvGrpSpPr>
          <p:grpSpPr>
            <a:xfrm>
              <a:off x="2297366" y="5190511"/>
              <a:ext cx="457200" cy="457200"/>
              <a:chOff x="678426" y="2868561"/>
              <a:chExt cx="811162" cy="811162"/>
            </a:xfrm>
          </p:grpSpPr>
          <p:sp>
            <p:nvSpPr>
              <p:cNvPr id="136" name="Oval 135">
                <a:extLst>
                  <a:ext uri="{FF2B5EF4-FFF2-40B4-BE49-F238E27FC236}">
                    <a16:creationId xmlns:a16="http://schemas.microsoft.com/office/drawing/2014/main" id="{5187C637-5CAB-4127-B457-2CAB30DED790}"/>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9" name="Rectangle 138">
                <a:extLst>
                  <a:ext uri="{FF2B5EF4-FFF2-40B4-BE49-F238E27FC236}">
                    <a16:creationId xmlns:a16="http://schemas.microsoft.com/office/drawing/2014/main" id="{620B9502-F05E-45A4-8A9B-B1B1471F980C}"/>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40" name="Rectangle 139">
                <a:extLst>
                  <a:ext uri="{FF2B5EF4-FFF2-40B4-BE49-F238E27FC236}">
                    <a16:creationId xmlns:a16="http://schemas.microsoft.com/office/drawing/2014/main" id="{5E75A8CB-7280-4146-9E6F-D4B224900EE2}"/>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42" name="Rectangle 141">
                <a:extLst>
                  <a:ext uri="{FF2B5EF4-FFF2-40B4-BE49-F238E27FC236}">
                    <a16:creationId xmlns:a16="http://schemas.microsoft.com/office/drawing/2014/main" id="{A0DD2998-36C7-4CBF-954D-F1F1DDFE53C7}"/>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43" name="Rectangle 142">
                <a:extLst>
                  <a:ext uri="{FF2B5EF4-FFF2-40B4-BE49-F238E27FC236}">
                    <a16:creationId xmlns:a16="http://schemas.microsoft.com/office/drawing/2014/main" id="{7078CC2E-40B3-4B3E-A7B5-DAA471A4FB41}"/>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145" name="Connector: Curved 144">
                <a:extLst>
                  <a:ext uri="{FF2B5EF4-FFF2-40B4-BE49-F238E27FC236}">
                    <a16:creationId xmlns:a16="http://schemas.microsoft.com/office/drawing/2014/main" id="{CFCFCBE9-0FC0-407A-885C-748EE78EC15C}"/>
                  </a:ext>
                </a:extLst>
              </p:cNvPr>
              <p:cNvCxnSpPr>
                <a:stCxn id="139" idx="3"/>
                <a:endCxn id="140"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147" name="Connector: Curved 146">
                <a:extLst>
                  <a:ext uri="{FF2B5EF4-FFF2-40B4-BE49-F238E27FC236}">
                    <a16:creationId xmlns:a16="http://schemas.microsoft.com/office/drawing/2014/main" id="{A201F2CB-105E-471B-A0E6-F3AD873669B2}"/>
                  </a:ext>
                </a:extLst>
              </p:cNvPr>
              <p:cNvCxnSpPr>
                <a:cxnSpLocks/>
                <a:stCxn id="139" idx="3"/>
                <a:endCxn id="142"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149" name="Connector: Curved 148">
                <a:extLst>
                  <a:ext uri="{FF2B5EF4-FFF2-40B4-BE49-F238E27FC236}">
                    <a16:creationId xmlns:a16="http://schemas.microsoft.com/office/drawing/2014/main" id="{91E6A889-05DD-4DF4-9ED2-9E60C6FF2685}"/>
                  </a:ext>
                </a:extLst>
              </p:cNvPr>
              <p:cNvCxnSpPr>
                <a:cxnSpLocks/>
                <a:stCxn id="139" idx="3"/>
                <a:endCxn id="143"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grpSp>
          <p:nvGrpSpPr>
            <p:cNvPr id="150" name="Group 149">
              <a:extLst>
                <a:ext uri="{FF2B5EF4-FFF2-40B4-BE49-F238E27FC236}">
                  <a16:creationId xmlns:a16="http://schemas.microsoft.com/office/drawing/2014/main" id="{215651CB-80E4-42C2-93BE-1EAE1ED2F682}"/>
                </a:ext>
              </a:extLst>
            </p:cNvPr>
            <p:cNvGrpSpPr>
              <a:grpSpLocks noChangeAspect="1"/>
            </p:cNvGrpSpPr>
            <p:nvPr/>
          </p:nvGrpSpPr>
          <p:grpSpPr>
            <a:xfrm>
              <a:off x="2894099" y="5190511"/>
              <a:ext cx="457200" cy="457200"/>
              <a:chOff x="678426" y="2868561"/>
              <a:chExt cx="811162" cy="811162"/>
            </a:xfrm>
          </p:grpSpPr>
          <p:sp>
            <p:nvSpPr>
              <p:cNvPr id="152" name="Oval 151">
                <a:extLst>
                  <a:ext uri="{FF2B5EF4-FFF2-40B4-BE49-F238E27FC236}">
                    <a16:creationId xmlns:a16="http://schemas.microsoft.com/office/drawing/2014/main" id="{F39DE355-F643-4899-AE3F-7E0713A7FAE2}"/>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3" name="Rectangle 152">
                <a:extLst>
                  <a:ext uri="{FF2B5EF4-FFF2-40B4-BE49-F238E27FC236}">
                    <a16:creationId xmlns:a16="http://schemas.microsoft.com/office/drawing/2014/main" id="{E9C448DD-B6D6-48E9-86F7-6148D10DF89A}"/>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54" name="Rectangle 153">
                <a:extLst>
                  <a:ext uri="{FF2B5EF4-FFF2-40B4-BE49-F238E27FC236}">
                    <a16:creationId xmlns:a16="http://schemas.microsoft.com/office/drawing/2014/main" id="{C9C1351F-5CD4-47AC-A0FD-9CFC463DEB9E}"/>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55" name="Rectangle 154">
                <a:extLst>
                  <a:ext uri="{FF2B5EF4-FFF2-40B4-BE49-F238E27FC236}">
                    <a16:creationId xmlns:a16="http://schemas.microsoft.com/office/drawing/2014/main" id="{4B7191BB-FB5E-410E-994A-5BC24D44F292}"/>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56" name="Rectangle 155">
                <a:extLst>
                  <a:ext uri="{FF2B5EF4-FFF2-40B4-BE49-F238E27FC236}">
                    <a16:creationId xmlns:a16="http://schemas.microsoft.com/office/drawing/2014/main" id="{4D9E5416-3B81-4535-BCC9-191E978E5191}"/>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157" name="Connector: Curved 156">
                <a:extLst>
                  <a:ext uri="{FF2B5EF4-FFF2-40B4-BE49-F238E27FC236}">
                    <a16:creationId xmlns:a16="http://schemas.microsoft.com/office/drawing/2014/main" id="{FE485A6C-9D79-4522-893F-17C6C76129B8}"/>
                  </a:ext>
                </a:extLst>
              </p:cNvPr>
              <p:cNvCxnSpPr>
                <a:stCxn id="153" idx="3"/>
                <a:endCxn id="154"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158" name="Connector: Curved 157">
                <a:extLst>
                  <a:ext uri="{FF2B5EF4-FFF2-40B4-BE49-F238E27FC236}">
                    <a16:creationId xmlns:a16="http://schemas.microsoft.com/office/drawing/2014/main" id="{3427751D-995F-43D8-8389-E3C9A9967259}"/>
                  </a:ext>
                </a:extLst>
              </p:cNvPr>
              <p:cNvCxnSpPr>
                <a:cxnSpLocks/>
                <a:stCxn id="153" idx="3"/>
                <a:endCxn id="155"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159" name="Connector: Curved 158">
                <a:extLst>
                  <a:ext uri="{FF2B5EF4-FFF2-40B4-BE49-F238E27FC236}">
                    <a16:creationId xmlns:a16="http://schemas.microsoft.com/office/drawing/2014/main" id="{8A3A4975-AF39-4613-B585-1AA3C473908A}"/>
                  </a:ext>
                </a:extLst>
              </p:cNvPr>
              <p:cNvCxnSpPr>
                <a:cxnSpLocks/>
                <a:stCxn id="153" idx="3"/>
                <a:endCxn id="156"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grpSp>
          <p:nvGrpSpPr>
            <p:cNvPr id="160" name="Group 159">
              <a:extLst>
                <a:ext uri="{FF2B5EF4-FFF2-40B4-BE49-F238E27FC236}">
                  <a16:creationId xmlns:a16="http://schemas.microsoft.com/office/drawing/2014/main" id="{80E71E31-A2DB-4F03-87BB-8809F6C635FA}"/>
                </a:ext>
              </a:extLst>
            </p:cNvPr>
            <p:cNvGrpSpPr>
              <a:grpSpLocks noChangeAspect="1"/>
            </p:cNvGrpSpPr>
            <p:nvPr/>
          </p:nvGrpSpPr>
          <p:grpSpPr>
            <a:xfrm>
              <a:off x="3490832" y="5190511"/>
              <a:ext cx="457200" cy="457200"/>
              <a:chOff x="678426" y="2868561"/>
              <a:chExt cx="811162" cy="811162"/>
            </a:xfrm>
          </p:grpSpPr>
          <p:sp>
            <p:nvSpPr>
              <p:cNvPr id="161" name="Oval 160">
                <a:extLst>
                  <a:ext uri="{FF2B5EF4-FFF2-40B4-BE49-F238E27FC236}">
                    <a16:creationId xmlns:a16="http://schemas.microsoft.com/office/drawing/2014/main" id="{159854A4-1101-4C86-A83E-F6C67D08ABE6}"/>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2" name="Rectangle 161">
                <a:extLst>
                  <a:ext uri="{FF2B5EF4-FFF2-40B4-BE49-F238E27FC236}">
                    <a16:creationId xmlns:a16="http://schemas.microsoft.com/office/drawing/2014/main" id="{0E4F5C90-C416-4B90-BD7F-1F958460D7B1}"/>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64" name="Rectangle 163">
                <a:extLst>
                  <a:ext uri="{FF2B5EF4-FFF2-40B4-BE49-F238E27FC236}">
                    <a16:creationId xmlns:a16="http://schemas.microsoft.com/office/drawing/2014/main" id="{481DEB43-14E5-4543-9EE7-FA9E1C2BFEF4}"/>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65" name="Rectangle 164">
                <a:extLst>
                  <a:ext uri="{FF2B5EF4-FFF2-40B4-BE49-F238E27FC236}">
                    <a16:creationId xmlns:a16="http://schemas.microsoft.com/office/drawing/2014/main" id="{39E64801-541D-4A47-B78A-5CC289CFF5CC}"/>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66" name="Rectangle 165">
                <a:extLst>
                  <a:ext uri="{FF2B5EF4-FFF2-40B4-BE49-F238E27FC236}">
                    <a16:creationId xmlns:a16="http://schemas.microsoft.com/office/drawing/2014/main" id="{A96E1B50-B60E-485B-825B-09A29A31A173}"/>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167" name="Connector: Curved 166">
                <a:extLst>
                  <a:ext uri="{FF2B5EF4-FFF2-40B4-BE49-F238E27FC236}">
                    <a16:creationId xmlns:a16="http://schemas.microsoft.com/office/drawing/2014/main" id="{96AF699E-7AE5-4B03-A1EA-11B19DB14024}"/>
                  </a:ext>
                </a:extLst>
              </p:cNvPr>
              <p:cNvCxnSpPr>
                <a:stCxn id="162" idx="3"/>
                <a:endCxn id="164"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168" name="Connector: Curved 167">
                <a:extLst>
                  <a:ext uri="{FF2B5EF4-FFF2-40B4-BE49-F238E27FC236}">
                    <a16:creationId xmlns:a16="http://schemas.microsoft.com/office/drawing/2014/main" id="{17E188AB-DC5E-4852-8365-47729C31CF17}"/>
                  </a:ext>
                </a:extLst>
              </p:cNvPr>
              <p:cNvCxnSpPr>
                <a:cxnSpLocks/>
                <a:stCxn id="162" idx="3"/>
                <a:endCxn id="165"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169" name="Connector: Curved 168">
                <a:extLst>
                  <a:ext uri="{FF2B5EF4-FFF2-40B4-BE49-F238E27FC236}">
                    <a16:creationId xmlns:a16="http://schemas.microsoft.com/office/drawing/2014/main" id="{45AC80F9-D351-4ECB-85A8-6CDE6C1FC752}"/>
                  </a:ext>
                </a:extLst>
              </p:cNvPr>
              <p:cNvCxnSpPr>
                <a:cxnSpLocks/>
                <a:stCxn id="162" idx="3"/>
                <a:endCxn id="166"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grpSp>
          <p:nvGrpSpPr>
            <p:cNvPr id="170" name="Group 169">
              <a:extLst>
                <a:ext uri="{FF2B5EF4-FFF2-40B4-BE49-F238E27FC236}">
                  <a16:creationId xmlns:a16="http://schemas.microsoft.com/office/drawing/2014/main" id="{2086C8B7-4482-47BD-98D2-F371A665F363}"/>
                </a:ext>
              </a:extLst>
            </p:cNvPr>
            <p:cNvGrpSpPr>
              <a:grpSpLocks noChangeAspect="1"/>
            </p:cNvGrpSpPr>
            <p:nvPr/>
          </p:nvGrpSpPr>
          <p:grpSpPr>
            <a:xfrm>
              <a:off x="4087564" y="5190511"/>
              <a:ext cx="457200" cy="457200"/>
              <a:chOff x="678426" y="2868561"/>
              <a:chExt cx="811162" cy="811162"/>
            </a:xfrm>
          </p:grpSpPr>
          <p:sp>
            <p:nvSpPr>
              <p:cNvPr id="171" name="Oval 170">
                <a:extLst>
                  <a:ext uri="{FF2B5EF4-FFF2-40B4-BE49-F238E27FC236}">
                    <a16:creationId xmlns:a16="http://schemas.microsoft.com/office/drawing/2014/main" id="{F2D1D0FC-C097-4AFE-B877-3F476C199BAD}"/>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2" name="Rectangle 171">
                <a:extLst>
                  <a:ext uri="{FF2B5EF4-FFF2-40B4-BE49-F238E27FC236}">
                    <a16:creationId xmlns:a16="http://schemas.microsoft.com/office/drawing/2014/main" id="{A33F71F3-89A5-4D67-B698-4C4B14839B39}"/>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73" name="Rectangle 172">
                <a:extLst>
                  <a:ext uri="{FF2B5EF4-FFF2-40B4-BE49-F238E27FC236}">
                    <a16:creationId xmlns:a16="http://schemas.microsoft.com/office/drawing/2014/main" id="{FE910ECA-A62B-4B85-889F-3BA0B955AE18}"/>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74" name="Rectangle 173">
                <a:extLst>
                  <a:ext uri="{FF2B5EF4-FFF2-40B4-BE49-F238E27FC236}">
                    <a16:creationId xmlns:a16="http://schemas.microsoft.com/office/drawing/2014/main" id="{5B4DA1C8-0BA4-4FFF-97B6-42638F6EC277}"/>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75" name="Rectangle 174">
                <a:extLst>
                  <a:ext uri="{FF2B5EF4-FFF2-40B4-BE49-F238E27FC236}">
                    <a16:creationId xmlns:a16="http://schemas.microsoft.com/office/drawing/2014/main" id="{9A1CB318-105B-412D-B5C7-FC7CF8598ADD}"/>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176" name="Connector: Curved 175">
                <a:extLst>
                  <a:ext uri="{FF2B5EF4-FFF2-40B4-BE49-F238E27FC236}">
                    <a16:creationId xmlns:a16="http://schemas.microsoft.com/office/drawing/2014/main" id="{8625A1E9-8BDD-44C7-BF1D-C283B5CA4062}"/>
                  </a:ext>
                </a:extLst>
              </p:cNvPr>
              <p:cNvCxnSpPr>
                <a:stCxn id="172" idx="3"/>
                <a:endCxn id="173"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177" name="Connector: Curved 176">
                <a:extLst>
                  <a:ext uri="{FF2B5EF4-FFF2-40B4-BE49-F238E27FC236}">
                    <a16:creationId xmlns:a16="http://schemas.microsoft.com/office/drawing/2014/main" id="{8CD9A86F-9287-43B2-ABD7-1EA8708C4E7E}"/>
                  </a:ext>
                </a:extLst>
              </p:cNvPr>
              <p:cNvCxnSpPr>
                <a:cxnSpLocks/>
                <a:stCxn id="172" idx="3"/>
                <a:endCxn id="174"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178" name="Connector: Curved 177">
                <a:extLst>
                  <a:ext uri="{FF2B5EF4-FFF2-40B4-BE49-F238E27FC236}">
                    <a16:creationId xmlns:a16="http://schemas.microsoft.com/office/drawing/2014/main" id="{2BB72F11-EEA6-45BE-A53F-BCDA71C4D4D0}"/>
                  </a:ext>
                </a:extLst>
              </p:cNvPr>
              <p:cNvCxnSpPr>
                <a:cxnSpLocks/>
                <a:stCxn id="172" idx="3"/>
                <a:endCxn id="175"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grpSp>
      <p:sp>
        <p:nvSpPr>
          <p:cNvPr id="112" name="TextBox 111">
            <a:extLst>
              <a:ext uri="{FF2B5EF4-FFF2-40B4-BE49-F238E27FC236}">
                <a16:creationId xmlns:a16="http://schemas.microsoft.com/office/drawing/2014/main" id="{5009E4D5-BD93-42C5-90BC-227EE0535A7F}"/>
              </a:ext>
            </a:extLst>
          </p:cNvPr>
          <p:cNvSpPr txBox="1"/>
          <p:nvPr/>
        </p:nvSpPr>
        <p:spPr>
          <a:xfrm>
            <a:off x="5450624" y="2270672"/>
            <a:ext cx="596638" cy="230832"/>
          </a:xfrm>
          <a:prstGeom prst="rect">
            <a:avLst/>
          </a:prstGeom>
          <a:noFill/>
        </p:spPr>
        <p:txBody>
          <a:bodyPr wrap="none" lIns="91440" rtlCol="0">
            <a:spAutoFit/>
          </a:bodyPr>
          <a:lstStyle/>
          <a:p>
            <a:pPr algn="ctr">
              <a:defRPr/>
            </a:pPr>
            <a:r>
              <a:rPr lang="en-US" sz="900">
                <a:solidFill>
                  <a:srgbClr val="0078D7"/>
                </a:solidFill>
                <a:latin typeface="Segoe UI Semibold" panose="020B0702040204020203" pitchFamily="34" charset="0"/>
                <a:cs typeface="Segoe UI Semibold" panose="020B0702040204020203" pitchFamily="34" charset="0"/>
              </a:rPr>
              <a:t>Tenants</a:t>
            </a:r>
          </a:p>
        </p:txBody>
      </p:sp>
      <p:cxnSp>
        <p:nvCxnSpPr>
          <p:cNvPr id="190" name="Straight Arrow Connector 189">
            <a:extLst>
              <a:ext uri="{FF2B5EF4-FFF2-40B4-BE49-F238E27FC236}">
                <a16:creationId xmlns:a16="http://schemas.microsoft.com/office/drawing/2014/main" id="{0A674D74-C333-410E-9E7C-F9AA78D7E2AD}"/>
              </a:ext>
            </a:extLst>
          </p:cNvPr>
          <p:cNvCxnSpPr>
            <a:cxnSpLocks/>
            <a:endCxn id="236" idx="2"/>
          </p:cNvCxnSpPr>
          <p:nvPr/>
        </p:nvCxnSpPr>
        <p:spPr>
          <a:xfrm>
            <a:off x="5715282" y="3642677"/>
            <a:ext cx="2657248" cy="864482"/>
          </a:xfrm>
          <a:prstGeom prst="straightConnector1">
            <a:avLst/>
          </a:prstGeom>
          <a:ln w="19050">
            <a:solidFill>
              <a:schemeClr val="bg1">
                <a:lumMod val="50000"/>
              </a:schemeClr>
            </a:solidFill>
            <a:prstDash val="dash"/>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C03147CD-17D1-4DF7-8C95-4DE8ABB6466C}"/>
              </a:ext>
            </a:extLst>
          </p:cNvPr>
          <p:cNvSpPr>
            <a:spLocks noGrp="1"/>
          </p:cNvSpPr>
          <p:nvPr>
            <p:ph type="body" sz="quarter" idx="11"/>
          </p:nvPr>
        </p:nvSpPr>
        <p:spPr>
          <a:xfrm>
            <a:off x="1177334" y="2217336"/>
            <a:ext cx="2743972" cy="677108"/>
          </a:xfrm>
          <a:noFill/>
        </p:spPr>
        <p:txBody>
          <a:bodyPr/>
          <a:lstStyle/>
          <a:p>
            <a:pPr algn="ctr"/>
            <a:r>
              <a:rPr lang="en-US" dirty="0"/>
              <a:t>Provisioning Throughput at </a:t>
            </a:r>
            <a:r>
              <a:rPr lang="en-US" u="sng" dirty="0"/>
              <a:t>Container Level</a:t>
            </a:r>
          </a:p>
        </p:txBody>
      </p:sp>
      <p:sp>
        <p:nvSpPr>
          <p:cNvPr id="116" name="Cylinder 513">
            <a:extLst>
              <a:ext uri="{FF2B5EF4-FFF2-40B4-BE49-F238E27FC236}">
                <a16:creationId xmlns:a16="http://schemas.microsoft.com/office/drawing/2014/main" id="{6622A98C-3238-45AA-80E9-77BC8211A762}"/>
              </a:ext>
            </a:extLst>
          </p:cNvPr>
          <p:cNvSpPr/>
          <p:nvPr/>
        </p:nvSpPr>
        <p:spPr bwMode="auto">
          <a:xfrm>
            <a:off x="8814479" y="4340430"/>
            <a:ext cx="260307" cy="357484"/>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a:solidFill>
                <a:srgbClr val="0078D7"/>
              </a:solidFill>
              <a:latin typeface="Segoe UI Light"/>
              <a:ea typeface="Segoe UI" pitchFamily="34" charset="0"/>
              <a:cs typeface="Segoe UI" pitchFamily="34" charset="0"/>
            </a:endParaRPr>
          </a:p>
        </p:txBody>
      </p:sp>
      <p:grpSp>
        <p:nvGrpSpPr>
          <p:cNvPr id="118" name="Group 117">
            <a:extLst>
              <a:ext uri="{FF2B5EF4-FFF2-40B4-BE49-F238E27FC236}">
                <a16:creationId xmlns:a16="http://schemas.microsoft.com/office/drawing/2014/main" id="{8FA8D8B8-6A46-4BBB-89C2-3309EC6F7B3B}"/>
              </a:ext>
            </a:extLst>
          </p:cNvPr>
          <p:cNvGrpSpPr>
            <a:grpSpLocks noChangeAspect="1"/>
          </p:cNvGrpSpPr>
          <p:nvPr/>
        </p:nvGrpSpPr>
        <p:grpSpPr>
          <a:xfrm>
            <a:off x="7240867" y="5416081"/>
            <a:ext cx="457200" cy="457200"/>
            <a:chOff x="678426" y="2868561"/>
            <a:chExt cx="811162" cy="811162"/>
          </a:xfrm>
        </p:grpSpPr>
        <p:sp>
          <p:nvSpPr>
            <p:cNvPr id="228" name="Oval 227">
              <a:extLst>
                <a:ext uri="{FF2B5EF4-FFF2-40B4-BE49-F238E27FC236}">
                  <a16:creationId xmlns:a16="http://schemas.microsoft.com/office/drawing/2014/main" id="{CFAF1B4B-5F88-425C-B295-1EC95E986A2D}"/>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9" name="Rectangle 228">
              <a:extLst>
                <a:ext uri="{FF2B5EF4-FFF2-40B4-BE49-F238E27FC236}">
                  <a16:creationId xmlns:a16="http://schemas.microsoft.com/office/drawing/2014/main" id="{2D9218B3-DDFF-4FD3-9253-C86EED985118}"/>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30" name="Rectangle 229">
              <a:extLst>
                <a:ext uri="{FF2B5EF4-FFF2-40B4-BE49-F238E27FC236}">
                  <a16:creationId xmlns:a16="http://schemas.microsoft.com/office/drawing/2014/main" id="{16EA39BF-3986-49E7-8BF5-833B1E7A9486}"/>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31" name="Rectangle 230">
              <a:extLst>
                <a:ext uri="{FF2B5EF4-FFF2-40B4-BE49-F238E27FC236}">
                  <a16:creationId xmlns:a16="http://schemas.microsoft.com/office/drawing/2014/main" id="{0B1A1A20-E589-4E51-AABF-6ADC443EA3CF}"/>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32" name="Rectangle 231">
              <a:extLst>
                <a:ext uri="{FF2B5EF4-FFF2-40B4-BE49-F238E27FC236}">
                  <a16:creationId xmlns:a16="http://schemas.microsoft.com/office/drawing/2014/main" id="{FE38234F-164B-4825-80AD-D3F18F656D4D}"/>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233" name="Connector: Curved 232">
              <a:extLst>
                <a:ext uri="{FF2B5EF4-FFF2-40B4-BE49-F238E27FC236}">
                  <a16:creationId xmlns:a16="http://schemas.microsoft.com/office/drawing/2014/main" id="{AB5E992E-8BF8-434D-AAE9-2336B86EC372}"/>
                </a:ext>
              </a:extLst>
            </p:cNvPr>
            <p:cNvCxnSpPr>
              <a:stCxn id="229" idx="3"/>
              <a:endCxn id="230"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234" name="Connector: Curved 233">
              <a:extLst>
                <a:ext uri="{FF2B5EF4-FFF2-40B4-BE49-F238E27FC236}">
                  <a16:creationId xmlns:a16="http://schemas.microsoft.com/office/drawing/2014/main" id="{5E2FB9C0-F3AF-4F6E-B12A-CD6C7CE82B72}"/>
                </a:ext>
              </a:extLst>
            </p:cNvPr>
            <p:cNvCxnSpPr>
              <a:cxnSpLocks/>
              <a:stCxn id="229" idx="3"/>
              <a:endCxn id="231"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235" name="Connector: Curved 234">
              <a:extLst>
                <a:ext uri="{FF2B5EF4-FFF2-40B4-BE49-F238E27FC236}">
                  <a16:creationId xmlns:a16="http://schemas.microsoft.com/office/drawing/2014/main" id="{3C73894F-FA2A-4239-93EE-9B3361B191BC}"/>
                </a:ext>
              </a:extLst>
            </p:cNvPr>
            <p:cNvCxnSpPr>
              <a:cxnSpLocks/>
              <a:stCxn id="229" idx="3"/>
              <a:endCxn id="232"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sp>
        <p:nvSpPr>
          <p:cNvPr id="122" name="TextBox 121">
            <a:extLst>
              <a:ext uri="{FF2B5EF4-FFF2-40B4-BE49-F238E27FC236}">
                <a16:creationId xmlns:a16="http://schemas.microsoft.com/office/drawing/2014/main" id="{9BD5B57C-8954-4F4F-8455-2BC319565B81}"/>
              </a:ext>
            </a:extLst>
          </p:cNvPr>
          <p:cNvSpPr txBox="1"/>
          <p:nvPr/>
        </p:nvSpPr>
        <p:spPr>
          <a:xfrm>
            <a:off x="8157895" y="4726965"/>
            <a:ext cx="1853392" cy="230832"/>
          </a:xfrm>
          <a:prstGeom prst="rect">
            <a:avLst/>
          </a:prstGeom>
          <a:noFill/>
        </p:spPr>
        <p:txBody>
          <a:bodyPr wrap="none" lIns="91440" rtlCol="0">
            <a:spAutoFit/>
          </a:bodyPr>
          <a:lstStyle/>
          <a:p>
            <a:pPr algn="ctr">
              <a:defRPr/>
            </a:pPr>
            <a:r>
              <a:rPr lang="en-US" sz="900" dirty="0">
                <a:solidFill>
                  <a:srgbClr val="0078D7"/>
                </a:solidFill>
                <a:latin typeface="Segoe UI Semibold" panose="020B0702040204020203" pitchFamily="34" charset="0"/>
                <a:cs typeface="Segoe UI Semibold" panose="020B0702040204020203" pitchFamily="34" charset="0"/>
              </a:rPr>
              <a:t>A set of containers (a Database)</a:t>
            </a:r>
          </a:p>
        </p:txBody>
      </p:sp>
      <p:sp>
        <p:nvSpPr>
          <p:cNvPr id="146" name="Right Bracket 145">
            <a:extLst>
              <a:ext uri="{FF2B5EF4-FFF2-40B4-BE49-F238E27FC236}">
                <a16:creationId xmlns:a16="http://schemas.microsoft.com/office/drawing/2014/main" id="{14BD55B9-39FE-4983-A96D-85690E09975D}"/>
              </a:ext>
            </a:extLst>
          </p:cNvPr>
          <p:cNvSpPr/>
          <p:nvPr/>
        </p:nvSpPr>
        <p:spPr>
          <a:xfrm rot="5400000" flipV="1">
            <a:off x="8912110" y="4064620"/>
            <a:ext cx="98379" cy="3749040"/>
          </a:xfrm>
          <a:prstGeom prst="rightBracket">
            <a:avLst/>
          </a:prstGeom>
          <a:ln w="190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defRPr/>
            </a:pPr>
            <a:endParaRPr lang="en-US">
              <a:solidFill>
                <a:srgbClr val="505050"/>
              </a:solidFill>
              <a:latin typeface="Segoe UI Semilight"/>
            </a:endParaRPr>
          </a:p>
        </p:txBody>
      </p:sp>
      <p:sp>
        <p:nvSpPr>
          <p:cNvPr id="179" name="TextBox 178">
            <a:extLst>
              <a:ext uri="{FF2B5EF4-FFF2-40B4-BE49-F238E27FC236}">
                <a16:creationId xmlns:a16="http://schemas.microsoft.com/office/drawing/2014/main" id="{0EF5C6EE-9494-4467-ADDD-BA64EC1A4D83}"/>
              </a:ext>
            </a:extLst>
          </p:cNvPr>
          <p:cNvSpPr txBox="1"/>
          <p:nvPr/>
        </p:nvSpPr>
        <p:spPr>
          <a:xfrm>
            <a:off x="8363220" y="6096406"/>
            <a:ext cx="1196161" cy="230832"/>
          </a:xfrm>
          <a:prstGeom prst="rect">
            <a:avLst/>
          </a:prstGeom>
          <a:noFill/>
        </p:spPr>
        <p:txBody>
          <a:bodyPr wrap="none" lIns="91440" rtlCol="0">
            <a:spAutoFit/>
          </a:bodyPr>
          <a:lstStyle/>
          <a:p>
            <a:pPr algn="ctr">
              <a:defRPr/>
            </a:pPr>
            <a:r>
              <a:rPr lang="en-US" sz="900">
                <a:solidFill>
                  <a:srgbClr val="0078D7"/>
                </a:solidFill>
                <a:latin typeface="Segoe UI Semibold" panose="020B0702040204020203" pitchFamily="34" charset="0"/>
                <a:cs typeface="Segoe UI Semibold" panose="020B0702040204020203" pitchFamily="34" charset="0"/>
              </a:rPr>
              <a:t>Resource Partitions</a:t>
            </a:r>
          </a:p>
        </p:txBody>
      </p:sp>
      <p:cxnSp>
        <p:nvCxnSpPr>
          <p:cNvPr id="180" name="Straight Arrow Connector 179">
            <a:extLst>
              <a:ext uri="{FF2B5EF4-FFF2-40B4-BE49-F238E27FC236}">
                <a16:creationId xmlns:a16="http://schemas.microsoft.com/office/drawing/2014/main" id="{2FDC3D01-ADB8-4725-BB31-3724CB47774F}"/>
              </a:ext>
            </a:extLst>
          </p:cNvPr>
          <p:cNvCxnSpPr>
            <a:cxnSpLocks/>
          </p:cNvCxnSpPr>
          <p:nvPr/>
        </p:nvCxnSpPr>
        <p:spPr>
          <a:xfrm>
            <a:off x="8961299" y="4964202"/>
            <a:ext cx="0" cy="410443"/>
          </a:xfrm>
          <a:prstGeom prst="straightConnector1">
            <a:avLst/>
          </a:prstGeom>
          <a:ln w="19050">
            <a:solidFill>
              <a:schemeClr val="bg1">
                <a:lumMod val="5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81" name="Connector: Elbow 180">
            <a:extLst>
              <a:ext uri="{FF2B5EF4-FFF2-40B4-BE49-F238E27FC236}">
                <a16:creationId xmlns:a16="http://schemas.microsoft.com/office/drawing/2014/main" id="{D869AB4A-59A7-4749-9A9A-FFE4A63D830D}"/>
              </a:ext>
            </a:extLst>
          </p:cNvPr>
          <p:cNvCxnSpPr>
            <a:cxnSpLocks/>
          </p:cNvCxnSpPr>
          <p:nvPr/>
        </p:nvCxnSpPr>
        <p:spPr>
          <a:xfrm rot="5400000" flipH="1" flipV="1">
            <a:off x="8954335" y="4669204"/>
            <a:ext cx="13929" cy="1337131"/>
          </a:xfrm>
          <a:prstGeom prst="bentConnector3">
            <a:avLst>
              <a:gd name="adj1" fmla="val 1741180"/>
            </a:avLst>
          </a:prstGeom>
          <a:ln w="19050">
            <a:solidFill>
              <a:schemeClr val="bg1">
                <a:lumMod val="50000"/>
              </a:schemeClr>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82" name="Group 181">
            <a:extLst>
              <a:ext uri="{FF2B5EF4-FFF2-40B4-BE49-F238E27FC236}">
                <a16:creationId xmlns:a16="http://schemas.microsoft.com/office/drawing/2014/main" id="{B446C7B7-D1DE-44D1-B7EE-FFD3835C8DF8}"/>
              </a:ext>
            </a:extLst>
          </p:cNvPr>
          <p:cNvGrpSpPr>
            <a:grpSpLocks noChangeAspect="1"/>
          </p:cNvGrpSpPr>
          <p:nvPr/>
        </p:nvGrpSpPr>
        <p:grpSpPr>
          <a:xfrm>
            <a:off x="7837600" y="5416081"/>
            <a:ext cx="457200" cy="457200"/>
            <a:chOff x="678426" y="2868561"/>
            <a:chExt cx="811162" cy="811162"/>
          </a:xfrm>
        </p:grpSpPr>
        <p:sp>
          <p:nvSpPr>
            <p:cNvPr id="220" name="Oval 219">
              <a:extLst>
                <a:ext uri="{FF2B5EF4-FFF2-40B4-BE49-F238E27FC236}">
                  <a16:creationId xmlns:a16="http://schemas.microsoft.com/office/drawing/2014/main" id="{D5F5155B-589C-4AED-895A-3FEE7613A10F}"/>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1" name="Rectangle 220">
              <a:extLst>
                <a:ext uri="{FF2B5EF4-FFF2-40B4-BE49-F238E27FC236}">
                  <a16:creationId xmlns:a16="http://schemas.microsoft.com/office/drawing/2014/main" id="{C39A80F4-183E-4127-8E79-A92ABA16D2B0}"/>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22" name="Rectangle 221">
              <a:extLst>
                <a:ext uri="{FF2B5EF4-FFF2-40B4-BE49-F238E27FC236}">
                  <a16:creationId xmlns:a16="http://schemas.microsoft.com/office/drawing/2014/main" id="{E0AFC401-A393-47EB-9E99-7457D0E7357F}"/>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23" name="Rectangle 222">
              <a:extLst>
                <a:ext uri="{FF2B5EF4-FFF2-40B4-BE49-F238E27FC236}">
                  <a16:creationId xmlns:a16="http://schemas.microsoft.com/office/drawing/2014/main" id="{31CDD77A-0BA4-402F-A22C-1653DEB0E388}"/>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24" name="Rectangle 223">
              <a:extLst>
                <a:ext uri="{FF2B5EF4-FFF2-40B4-BE49-F238E27FC236}">
                  <a16:creationId xmlns:a16="http://schemas.microsoft.com/office/drawing/2014/main" id="{90268DD7-DAC8-47CD-96EC-3C3B199A9A66}"/>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225" name="Connector: Curved 224">
              <a:extLst>
                <a:ext uri="{FF2B5EF4-FFF2-40B4-BE49-F238E27FC236}">
                  <a16:creationId xmlns:a16="http://schemas.microsoft.com/office/drawing/2014/main" id="{05F1CFB4-5969-4294-8DCE-5CE047C2C6F0}"/>
                </a:ext>
              </a:extLst>
            </p:cNvPr>
            <p:cNvCxnSpPr>
              <a:stCxn id="221" idx="3"/>
              <a:endCxn id="222"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226" name="Connector: Curved 225">
              <a:extLst>
                <a:ext uri="{FF2B5EF4-FFF2-40B4-BE49-F238E27FC236}">
                  <a16:creationId xmlns:a16="http://schemas.microsoft.com/office/drawing/2014/main" id="{C1D979F5-E167-4E43-9CF5-99F83304D996}"/>
                </a:ext>
              </a:extLst>
            </p:cNvPr>
            <p:cNvCxnSpPr>
              <a:cxnSpLocks/>
              <a:stCxn id="221" idx="3"/>
              <a:endCxn id="223"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227" name="Connector: Curved 226">
              <a:extLst>
                <a:ext uri="{FF2B5EF4-FFF2-40B4-BE49-F238E27FC236}">
                  <a16:creationId xmlns:a16="http://schemas.microsoft.com/office/drawing/2014/main" id="{58E28509-88D6-41B7-B1B7-7024D7A771D6}"/>
                </a:ext>
              </a:extLst>
            </p:cNvPr>
            <p:cNvCxnSpPr>
              <a:cxnSpLocks/>
              <a:stCxn id="221" idx="3"/>
              <a:endCxn id="224"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grpSp>
        <p:nvGrpSpPr>
          <p:cNvPr id="183" name="Group 182">
            <a:extLst>
              <a:ext uri="{FF2B5EF4-FFF2-40B4-BE49-F238E27FC236}">
                <a16:creationId xmlns:a16="http://schemas.microsoft.com/office/drawing/2014/main" id="{B9D3A2F6-BC2B-4E2B-89B0-4ACF5E452667}"/>
              </a:ext>
            </a:extLst>
          </p:cNvPr>
          <p:cNvGrpSpPr>
            <a:grpSpLocks noChangeAspect="1"/>
          </p:cNvGrpSpPr>
          <p:nvPr/>
        </p:nvGrpSpPr>
        <p:grpSpPr>
          <a:xfrm>
            <a:off x="8434333" y="5416081"/>
            <a:ext cx="457200" cy="457200"/>
            <a:chOff x="678426" y="2868561"/>
            <a:chExt cx="811162" cy="811162"/>
          </a:xfrm>
        </p:grpSpPr>
        <p:sp>
          <p:nvSpPr>
            <p:cNvPr id="212" name="Oval 211">
              <a:extLst>
                <a:ext uri="{FF2B5EF4-FFF2-40B4-BE49-F238E27FC236}">
                  <a16:creationId xmlns:a16="http://schemas.microsoft.com/office/drawing/2014/main" id="{AB433128-08D6-44EE-9CA8-53C519810B2E}"/>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3" name="Rectangle 212">
              <a:extLst>
                <a:ext uri="{FF2B5EF4-FFF2-40B4-BE49-F238E27FC236}">
                  <a16:creationId xmlns:a16="http://schemas.microsoft.com/office/drawing/2014/main" id="{8D84030D-6259-49ED-95F8-499F6EF8116A}"/>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14" name="Rectangle 213">
              <a:extLst>
                <a:ext uri="{FF2B5EF4-FFF2-40B4-BE49-F238E27FC236}">
                  <a16:creationId xmlns:a16="http://schemas.microsoft.com/office/drawing/2014/main" id="{E9B9E360-95AB-4692-99BF-7A4F26583DBE}"/>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15" name="Rectangle 214">
              <a:extLst>
                <a:ext uri="{FF2B5EF4-FFF2-40B4-BE49-F238E27FC236}">
                  <a16:creationId xmlns:a16="http://schemas.microsoft.com/office/drawing/2014/main" id="{861CF2DA-1C26-4C95-95E5-044519ABC7F6}"/>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16" name="Rectangle 215">
              <a:extLst>
                <a:ext uri="{FF2B5EF4-FFF2-40B4-BE49-F238E27FC236}">
                  <a16:creationId xmlns:a16="http://schemas.microsoft.com/office/drawing/2014/main" id="{7B6BBEE6-4657-4931-889D-6925834F7ECE}"/>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217" name="Connector: Curved 216">
              <a:extLst>
                <a:ext uri="{FF2B5EF4-FFF2-40B4-BE49-F238E27FC236}">
                  <a16:creationId xmlns:a16="http://schemas.microsoft.com/office/drawing/2014/main" id="{3802A78B-94D9-46F8-AA8D-3EFC8E0892B8}"/>
                </a:ext>
              </a:extLst>
            </p:cNvPr>
            <p:cNvCxnSpPr>
              <a:stCxn id="213" idx="3"/>
              <a:endCxn id="214"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218" name="Connector: Curved 217">
              <a:extLst>
                <a:ext uri="{FF2B5EF4-FFF2-40B4-BE49-F238E27FC236}">
                  <a16:creationId xmlns:a16="http://schemas.microsoft.com/office/drawing/2014/main" id="{1F7AA89F-9FD1-4FC7-B765-0E11DABC47AE}"/>
                </a:ext>
              </a:extLst>
            </p:cNvPr>
            <p:cNvCxnSpPr>
              <a:cxnSpLocks/>
              <a:stCxn id="213" idx="3"/>
              <a:endCxn id="215"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219" name="Connector: Curved 218">
              <a:extLst>
                <a:ext uri="{FF2B5EF4-FFF2-40B4-BE49-F238E27FC236}">
                  <a16:creationId xmlns:a16="http://schemas.microsoft.com/office/drawing/2014/main" id="{BD0187A8-D52E-4F1F-97E0-B2C5E854F234}"/>
                </a:ext>
              </a:extLst>
            </p:cNvPr>
            <p:cNvCxnSpPr>
              <a:cxnSpLocks/>
              <a:stCxn id="213" idx="3"/>
              <a:endCxn id="216"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grpSp>
        <p:nvGrpSpPr>
          <p:cNvPr id="184" name="Group 183">
            <a:extLst>
              <a:ext uri="{FF2B5EF4-FFF2-40B4-BE49-F238E27FC236}">
                <a16:creationId xmlns:a16="http://schemas.microsoft.com/office/drawing/2014/main" id="{D0EE4235-0D87-4E97-B1C0-7D47F47D813A}"/>
              </a:ext>
            </a:extLst>
          </p:cNvPr>
          <p:cNvGrpSpPr>
            <a:grpSpLocks noChangeAspect="1"/>
          </p:cNvGrpSpPr>
          <p:nvPr/>
        </p:nvGrpSpPr>
        <p:grpSpPr>
          <a:xfrm>
            <a:off x="9031066" y="5416081"/>
            <a:ext cx="457200" cy="457200"/>
            <a:chOff x="678426" y="2868561"/>
            <a:chExt cx="811162" cy="811162"/>
          </a:xfrm>
        </p:grpSpPr>
        <p:sp>
          <p:nvSpPr>
            <p:cNvPr id="204" name="Oval 203">
              <a:extLst>
                <a:ext uri="{FF2B5EF4-FFF2-40B4-BE49-F238E27FC236}">
                  <a16:creationId xmlns:a16="http://schemas.microsoft.com/office/drawing/2014/main" id="{F7EE4E09-82DF-495D-8A0A-028DA0ACD5E1}"/>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5" name="Rectangle 204">
              <a:extLst>
                <a:ext uri="{FF2B5EF4-FFF2-40B4-BE49-F238E27FC236}">
                  <a16:creationId xmlns:a16="http://schemas.microsoft.com/office/drawing/2014/main" id="{A8ACDC30-C2BB-48A2-970A-4571BA76E02A}"/>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06" name="Rectangle 205">
              <a:extLst>
                <a:ext uri="{FF2B5EF4-FFF2-40B4-BE49-F238E27FC236}">
                  <a16:creationId xmlns:a16="http://schemas.microsoft.com/office/drawing/2014/main" id="{6BF1A9C5-37EF-4298-8434-009D55C7181E}"/>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07" name="Rectangle 206">
              <a:extLst>
                <a:ext uri="{FF2B5EF4-FFF2-40B4-BE49-F238E27FC236}">
                  <a16:creationId xmlns:a16="http://schemas.microsoft.com/office/drawing/2014/main" id="{9C53E1DC-C865-4B25-8078-1DDE70804DF5}"/>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08" name="Rectangle 207">
              <a:extLst>
                <a:ext uri="{FF2B5EF4-FFF2-40B4-BE49-F238E27FC236}">
                  <a16:creationId xmlns:a16="http://schemas.microsoft.com/office/drawing/2014/main" id="{BFC36C5E-FF88-41BE-B62D-939D7787AF79}"/>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209" name="Connector: Curved 208">
              <a:extLst>
                <a:ext uri="{FF2B5EF4-FFF2-40B4-BE49-F238E27FC236}">
                  <a16:creationId xmlns:a16="http://schemas.microsoft.com/office/drawing/2014/main" id="{4DD6A526-08DD-4646-822C-093E7837F170}"/>
                </a:ext>
              </a:extLst>
            </p:cNvPr>
            <p:cNvCxnSpPr>
              <a:stCxn id="205" idx="3"/>
              <a:endCxn id="206"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210" name="Connector: Curved 209">
              <a:extLst>
                <a:ext uri="{FF2B5EF4-FFF2-40B4-BE49-F238E27FC236}">
                  <a16:creationId xmlns:a16="http://schemas.microsoft.com/office/drawing/2014/main" id="{BD9C2CCE-7343-492E-914C-D6CC19F67DF0}"/>
                </a:ext>
              </a:extLst>
            </p:cNvPr>
            <p:cNvCxnSpPr>
              <a:cxnSpLocks/>
              <a:stCxn id="205" idx="3"/>
              <a:endCxn id="207"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211" name="Connector: Curved 210">
              <a:extLst>
                <a:ext uri="{FF2B5EF4-FFF2-40B4-BE49-F238E27FC236}">
                  <a16:creationId xmlns:a16="http://schemas.microsoft.com/office/drawing/2014/main" id="{F64ACFA3-8DC7-4325-9106-C07B569FFF83}"/>
                </a:ext>
              </a:extLst>
            </p:cNvPr>
            <p:cNvCxnSpPr>
              <a:cxnSpLocks/>
              <a:stCxn id="205" idx="3"/>
              <a:endCxn id="208"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grpSp>
        <p:nvGrpSpPr>
          <p:cNvPr id="185" name="Group 184">
            <a:extLst>
              <a:ext uri="{FF2B5EF4-FFF2-40B4-BE49-F238E27FC236}">
                <a16:creationId xmlns:a16="http://schemas.microsoft.com/office/drawing/2014/main" id="{B6000FAB-0FD4-4074-8229-FFDFF14C9D4E}"/>
              </a:ext>
            </a:extLst>
          </p:cNvPr>
          <p:cNvGrpSpPr>
            <a:grpSpLocks noChangeAspect="1"/>
          </p:cNvGrpSpPr>
          <p:nvPr/>
        </p:nvGrpSpPr>
        <p:grpSpPr>
          <a:xfrm>
            <a:off x="9627799" y="5416081"/>
            <a:ext cx="457200" cy="457200"/>
            <a:chOff x="678426" y="2868561"/>
            <a:chExt cx="811162" cy="811162"/>
          </a:xfrm>
        </p:grpSpPr>
        <p:sp>
          <p:nvSpPr>
            <p:cNvPr id="196" name="Oval 195">
              <a:extLst>
                <a:ext uri="{FF2B5EF4-FFF2-40B4-BE49-F238E27FC236}">
                  <a16:creationId xmlns:a16="http://schemas.microsoft.com/office/drawing/2014/main" id="{AFBE604A-5967-4D28-8DFA-76599CAAF18A}"/>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7" name="Rectangle 196">
              <a:extLst>
                <a:ext uri="{FF2B5EF4-FFF2-40B4-BE49-F238E27FC236}">
                  <a16:creationId xmlns:a16="http://schemas.microsoft.com/office/drawing/2014/main" id="{0830F477-4CF3-47AD-A15A-474F20DC7B81}"/>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98" name="Rectangle 197">
              <a:extLst>
                <a:ext uri="{FF2B5EF4-FFF2-40B4-BE49-F238E27FC236}">
                  <a16:creationId xmlns:a16="http://schemas.microsoft.com/office/drawing/2014/main" id="{5B549ABA-D2B6-461D-9207-8A711C5B299A}"/>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99" name="Rectangle 198">
              <a:extLst>
                <a:ext uri="{FF2B5EF4-FFF2-40B4-BE49-F238E27FC236}">
                  <a16:creationId xmlns:a16="http://schemas.microsoft.com/office/drawing/2014/main" id="{8FE600B8-C81C-4FE6-9699-A9BD6409D28B}"/>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200" name="Rectangle 199">
              <a:extLst>
                <a:ext uri="{FF2B5EF4-FFF2-40B4-BE49-F238E27FC236}">
                  <a16:creationId xmlns:a16="http://schemas.microsoft.com/office/drawing/2014/main" id="{80246FAF-7C03-4636-8BF5-00D9B2A9735D}"/>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201" name="Connector: Curved 200">
              <a:extLst>
                <a:ext uri="{FF2B5EF4-FFF2-40B4-BE49-F238E27FC236}">
                  <a16:creationId xmlns:a16="http://schemas.microsoft.com/office/drawing/2014/main" id="{6C11F379-7503-43BA-AB64-CCF227EB8CDC}"/>
                </a:ext>
              </a:extLst>
            </p:cNvPr>
            <p:cNvCxnSpPr>
              <a:stCxn id="197" idx="3"/>
              <a:endCxn id="198"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202" name="Connector: Curved 201">
              <a:extLst>
                <a:ext uri="{FF2B5EF4-FFF2-40B4-BE49-F238E27FC236}">
                  <a16:creationId xmlns:a16="http://schemas.microsoft.com/office/drawing/2014/main" id="{7CB88F3F-6D25-4F25-B91A-F9BAA3EC7D19}"/>
                </a:ext>
              </a:extLst>
            </p:cNvPr>
            <p:cNvCxnSpPr>
              <a:cxnSpLocks/>
              <a:stCxn id="197" idx="3"/>
              <a:endCxn id="199"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203" name="Connector: Curved 202">
              <a:extLst>
                <a:ext uri="{FF2B5EF4-FFF2-40B4-BE49-F238E27FC236}">
                  <a16:creationId xmlns:a16="http://schemas.microsoft.com/office/drawing/2014/main" id="{FB80FEA5-6343-48D2-A8D2-A60900B737C3}"/>
                </a:ext>
              </a:extLst>
            </p:cNvPr>
            <p:cNvCxnSpPr>
              <a:cxnSpLocks/>
              <a:stCxn id="197" idx="3"/>
              <a:endCxn id="200"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grpSp>
        <p:nvGrpSpPr>
          <p:cNvPr id="186" name="Group 185">
            <a:extLst>
              <a:ext uri="{FF2B5EF4-FFF2-40B4-BE49-F238E27FC236}">
                <a16:creationId xmlns:a16="http://schemas.microsoft.com/office/drawing/2014/main" id="{068C4C2A-AD5F-44FA-BA4E-FE4291789F09}"/>
              </a:ext>
            </a:extLst>
          </p:cNvPr>
          <p:cNvGrpSpPr>
            <a:grpSpLocks noChangeAspect="1"/>
          </p:cNvGrpSpPr>
          <p:nvPr/>
        </p:nvGrpSpPr>
        <p:grpSpPr>
          <a:xfrm>
            <a:off x="10224531" y="5416081"/>
            <a:ext cx="457200" cy="457200"/>
            <a:chOff x="678426" y="2868561"/>
            <a:chExt cx="811162" cy="811162"/>
          </a:xfrm>
        </p:grpSpPr>
        <p:sp>
          <p:nvSpPr>
            <p:cNvPr id="187" name="Oval 186">
              <a:extLst>
                <a:ext uri="{FF2B5EF4-FFF2-40B4-BE49-F238E27FC236}">
                  <a16:creationId xmlns:a16="http://schemas.microsoft.com/office/drawing/2014/main" id="{1A6E406B-A6B0-41F1-97B8-852E2E3F182F}"/>
                </a:ext>
              </a:extLst>
            </p:cNvPr>
            <p:cNvSpPr/>
            <p:nvPr/>
          </p:nvSpPr>
          <p:spPr bwMode="auto">
            <a:xfrm>
              <a:off x="678426" y="2868561"/>
              <a:ext cx="811162" cy="811162"/>
            </a:xfrm>
            <a:prstGeom prst="ellipse">
              <a:avLst/>
            </a:prstGeom>
            <a:no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8" name="Rectangle 187">
              <a:extLst>
                <a:ext uri="{FF2B5EF4-FFF2-40B4-BE49-F238E27FC236}">
                  <a16:creationId xmlns:a16="http://schemas.microsoft.com/office/drawing/2014/main" id="{ED5D9F1A-E5FF-403C-9C40-F2BC5247B7E0}"/>
                </a:ext>
              </a:extLst>
            </p:cNvPr>
            <p:cNvSpPr/>
            <p:nvPr/>
          </p:nvSpPr>
          <p:spPr bwMode="auto">
            <a:xfrm>
              <a:off x="769974" y="3188655"/>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89" name="Rectangle 188">
              <a:extLst>
                <a:ext uri="{FF2B5EF4-FFF2-40B4-BE49-F238E27FC236}">
                  <a16:creationId xmlns:a16="http://schemas.microsoft.com/office/drawing/2014/main" id="{379E7796-6699-40CC-B684-F8CC8D456FCE}"/>
                </a:ext>
              </a:extLst>
            </p:cNvPr>
            <p:cNvSpPr/>
            <p:nvPr/>
          </p:nvSpPr>
          <p:spPr bwMode="auto">
            <a:xfrm>
              <a:off x="1158123" y="2953169"/>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91" name="Rectangle 190">
              <a:extLst>
                <a:ext uri="{FF2B5EF4-FFF2-40B4-BE49-F238E27FC236}">
                  <a16:creationId xmlns:a16="http://schemas.microsoft.com/office/drawing/2014/main" id="{012DD8D7-5CA4-44DF-979A-B0DBE02CCD75}"/>
                </a:ext>
              </a:extLst>
            </p:cNvPr>
            <p:cNvSpPr/>
            <p:nvPr/>
          </p:nvSpPr>
          <p:spPr bwMode="auto">
            <a:xfrm>
              <a:off x="1158123" y="3186564"/>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sp>
          <p:nvSpPr>
            <p:cNvPr id="192" name="Rectangle 191">
              <a:extLst>
                <a:ext uri="{FF2B5EF4-FFF2-40B4-BE49-F238E27FC236}">
                  <a16:creationId xmlns:a16="http://schemas.microsoft.com/office/drawing/2014/main" id="{9E0229D2-E0C4-4B4F-B7C5-CD8EAFD3B1CC}"/>
                </a:ext>
              </a:extLst>
            </p:cNvPr>
            <p:cNvSpPr/>
            <p:nvPr/>
          </p:nvSpPr>
          <p:spPr bwMode="auto">
            <a:xfrm>
              <a:off x="1158123" y="3415571"/>
              <a:ext cx="91440" cy="179544"/>
            </a:xfrm>
            <a:prstGeom prst="rect">
              <a:avLst/>
            </a:prstGeom>
            <a:solidFill>
              <a:srgbClr val="FFFFFF"/>
            </a:solidFill>
            <a:ln w="12700" cap="flat" cmpd="sng" algn="ctr">
              <a:solidFill>
                <a:srgbClr val="0177D7"/>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600" kern="0" err="1">
                <a:gradFill>
                  <a:gsLst>
                    <a:gs pos="0">
                      <a:srgbClr val="FFFFFF"/>
                    </a:gs>
                    <a:gs pos="100000">
                      <a:srgbClr val="FFFFFF"/>
                    </a:gs>
                  </a:gsLst>
                  <a:lin ang="5400000" scaled="0"/>
                </a:gradFill>
                <a:latin typeface="Segoe UI"/>
              </a:endParaRPr>
            </a:p>
          </p:txBody>
        </p:sp>
        <p:cxnSp>
          <p:nvCxnSpPr>
            <p:cNvPr id="193" name="Connector: Curved 192">
              <a:extLst>
                <a:ext uri="{FF2B5EF4-FFF2-40B4-BE49-F238E27FC236}">
                  <a16:creationId xmlns:a16="http://schemas.microsoft.com/office/drawing/2014/main" id="{238C9B2B-B39E-4166-BD41-CBD0367A1946}"/>
                </a:ext>
              </a:extLst>
            </p:cNvPr>
            <p:cNvCxnSpPr>
              <a:stCxn id="188" idx="3"/>
              <a:endCxn id="189" idx="1"/>
            </p:cNvCxnSpPr>
            <p:nvPr/>
          </p:nvCxnSpPr>
          <p:spPr>
            <a:xfrm flipV="1">
              <a:off x="861414" y="3042941"/>
              <a:ext cx="296709" cy="235486"/>
            </a:xfrm>
            <a:prstGeom prst="curvedConnector3">
              <a:avLst/>
            </a:prstGeom>
            <a:noFill/>
            <a:ln w="12700" cap="flat" cmpd="sng" algn="ctr">
              <a:solidFill>
                <a:schemeClr val="tx1"/>
              </a:solidFill>
              <a:prstDash val="sysDot"/>
              <a:miter lim="800000"/>
              <a:headEnd type="none"/>
              <a:tailEnd type="none"/>
            </a:ln>
            <a:effectLst/>
          </p:spPr>
        </p:cxnSp>
        <p:cxnSp>
          <p:nvCxnSpPr>
            <p:cNvPr id="194" name="Connector: Curved 193">
              <a:extLst>
                <a:ext uri="{FF2B5EF4-FFF2-40B4-BE49-F238E27FC236}">
                  <a16:creationId xmlns:a16="http://schemas.microsoft.com/office/drawing/2014/main" id="{C591BC4B-4A91-4EF6-B129-C154D01CB715}"/>
                </a:ext>
              </a:extLst>
            </p:cNvPr>
            <p:cNvCxnSpPr>
              <a:cxnSpLocks/>
              <a:stCxn id="188" idx="3"/>
              <a:endCxn id="191" idx="1"/>
            </p:cNvCxnSpPr>
            <p:nvPr/>
          </p:nvCxnSpPr>
          <p:spPr>
            <a:xfrm flipV="1">
              <a:off x="861414" y="3276336"/>
              <a:ext cx="296709" cy="2091"/>
            </a:xfrm>
            <a:prstGeom prst="curvedConnector3">
              <a:avLst/>
            </a:prstGeom>
            <a:noFill/>
            <a:ln w="12700" cap="flat" cmpd="sng" algn="ctr">
              <a:solidFill>
                <a:schemeClr val="tx1"/>
              </a:solidFill>
              <a:prstDash val="sysDot"/>
              <a:miter lim="800000"/>
              <a:headEnd type="none"/>
              <a:tailEnd type="none"/>
            </a:ln>
            <a:effectLst/>
          </p:spPr>
        </p:cxnSp>
        <p:cxnSp>
          <p:nvCxnSpPr>
            <p:cNvPr id="195" name="Connector: Curved 194">
              <a:extLst>
                <a:ext uri="{FF2B5EF4-FFF2-40B4-BE49-F238E27FC236}">
                  <a16:creationId xmlns:a16="http://schemas.microsoft.com/office/drawing/2014/main" id="{962EFF86-AB87-46C6-A921-893886323E78}"/>
                </a:ext>
              </a:extLst>
            </p:cNvPr>
            <p:cNvCxnSpPr>
              <a:cxnSpLocks/>
              <a:stCxn id="188" idx="3"/>
              <a:endCxn id="192" idx="1"/>
            </p:cNvCxnSpPr>
            <p:nvPr/>
          </p:nvCxnSpPr>
          <p:spPr>
            <a:xfrm>
              <a:off x="861414" y="3278427"/>
              <a:ext cx="296709" cy="226916"/>
            </a:xfrm>
            <a:prstGeom prst="curvedConnector3">
              <a:avLst/>
            </a:prstGeom>
            <a:noFill/>
            <a:ln w="12700" cap="flat" cmpd="sng" algn="ctr">
              <a:solidFill>
                <a:schemeClr val="tx1"/>
              </a:solidFill>
              <a:prstDash val="sysDot"/>
              <a:miter lim="800000"/>
              <a:headEnd type="none"/>
              <a:tailEnd type="none"/>
            </a:ln>
            <a:effectLst/>
          </p:spPr>
        </p:cxnSp>
      </p:grpSp>
      <p:sp>
        <p:nvSpPr>
          <p:cNvPr id="236" name="Cylinder 513">
            <a:extLst>
              <a:ext uri="{FF2B5EF4-FFF2-40B4-BE49-F238E27FC236}">
                <a16:creationId xmlns:a16="http://schemas.microsoft.com/office/drawing/2014/main" id="{522BC099-A9ED-4A13-8FB4-5C2793D7D82E}"/>
              </a:ext>
            </a:extLst>
          </p:cNvPr>
          <p:cNvSpPr/>
          <p:nvPr/>
        </p:nvSpPr>
        <p:spPr bwMode="auto">
          <a:xfrm>
            <a:off x="8372531" y="4328417"/>
            <a:ext cx="381083" cy="357484"/>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a:solidFill>
                <a:srgbClr val="0078D7"/>
              </a:solidFill>
              <a:latin typeface="Segoe UI Light"/>
              <a:ea typeface="Segoe UI" pitchFamily="34" charset="0"/>
              <a:cs typeface="Segoe UI" pitchFamily="34" charset="0"/>
            </a:endParaRPr>
          </a:p>
        </p:txBody>
      </p:sp>
      <p:sp>
        <p:nvSpPr>
          <p:cNvPr id="237" name="Cylinder 513">
            <a:extLst>
              <a:ext uri="{FF2B5EF4-FFF2-40B4-BE49-F238E27FC236}">
                <a16:creationId xmlns:a16="http://schemas.microsoft.com/office/drawing/2014/main" id="{C7A29505-FAD4-44DC-9300-C401608C5DD6}"/>
              </a:ext>
            </a:extLst>
          </p:cNvPr>
          <p:cNvSpPr/>
          <p:nvPr/>
        </p:nvSpPr>
        <p:spPr bwMode="auto">
          <a:xfrm>
            <a:off x="9137536" y="4338747"/>
            <a:ext cx="638327" cy="357484"/>
          </a:xfrm>
          <a:prstGeom prst="can">
            <a:avLst>
              <a:gd name="adj" fmla="val 39530"/>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a:solidFill>
                <a:srgbClr val="0078D7"/>
              </a:solidFill>
              <a:latin typeface="Segoe UI Light"/>
              <a:ea typeface="Segoe UI" pitchFamily="34" charset="0"/>
              <a:cs typeface="Segoe UI" pitchFamily="34" charset="0"/>
            </a:endParaRPr>
          </a:p>
        </p:txBody>
      </p:sp>
      <p:sp>
        <p:nvSpPr>
          <p:cNvPr id="22" name="Rectangle 21">
            <a:extLst>
              <a:ext uri="{FF2B5EF4-FFF2-40B4-BE49-F238E27FC236}">
                <a16:creationId xmlns:a16="http://schemas.microsoft.com/office/drawing/2014/main" id="{9061F937-2F96-4A1A-861C-0400F0C56493}"/>
              </a:ext>
            </a:extLst>
          </p:cNvPr>
          <p:cNvSpPr/>
          <p:nvPr/>
        </p:nvSpPr>
        <p:spPr bwMode="auto">
          <a:xfrm>
            <a:off x="8219327" y="4245797"/>
            <a:ext cx="1678847" cy="524361"/>
          </a:xfrm>
          <a:prstGeom prst="rect">
            <a:avLst/>
          </a:prstGeom>
          <a:noFill/>
          <a:ln>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cxnSp>
        <p:nvCxnSpPr>
          <p:cNvPr id="238" name="Straight Arrow Connector 237">
            <a:extLst>
              <a:ext uri="{FF2B5EF4-FFF2-40B4-BE49-F238E27FC236}">
                <a16:creationId xmlns:a16="http://schemas.microsoft.com/office/drawing/2014/main" id="{81F106FA-1298-4A00-AE89-C24BA94D5FE4}"/>
              </a:ext>
            </a:extLst>
          </p:cNvPr>
          <p:cNvCxnSpPr>
            <a:cxnSpLocks/>
          </p:cNvCxnSpPr>
          <p:nvPr/>
        </p:nvCxnSpPr>
        <p:spPr>
          <a:xfrm flipH="1">
            <a:off x="3014874" y="3632546"/>
            <a:ext cx="2756030" cy="764135"/>
          </a:xfrm>
          <a:prstGeom prst="straightConnector1">
            <a:avLst/>
          </a:prstGeom>
          <a:ln w="19050">
            <a:solidFill>
              <a:schemeClr val="bg1">
                <a:lumMod val="50000"/>
              </a:schemeClr>
            </a:solidFill>
            <a:prstDash val="dash"/>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241" name="Text Placeholder 3">
            <a:extLst>
              <a:ext uri="{FF2B5EF4-FFF2-40B4-BE49-F238E27FC236}">
                <a16:creationId xmlns:a16="http://schemas.microsoft.com/office/drawing/2014/main" id="{BC8CC175-546B-4DB8-B612-01D6728B9820}"/>
              </a:ext>
            </a:extLst>
          </p:cNvPr>
          <p:cNvSpPr txBox="1">
            <a:spLocks/>
          </p:cNvSpPr>
          <p:nvPr/>
        </p:nvSpPr>
        <p:spPr>
          <a:xfrm>
            <a:off x="7589907" y="2231365"/>
            <a:ext cx="2743972" cy="677108"/>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100000"/>
              </a:lnSpc>
              <a:spcBef>
                <a:spcPts val="1200"/>
              </a:spcBef>
              <a:spcAft>
                <a:spcPts val="0"/>
              </a:spcAft>
              <a:buClrTx/>
              <a:buSzPct val="90000"/>
              <a:buFont typeface="Arial" pitchFamily="34" charset="0"/>
              <a:buNone/>
              <a:tabLst/>
              <a:defRPr lang="en-US" sz="1600" b="1" kern="1200" spc="0" baseline="0" dirty="0" smtClean="0">
                <a:solidFill>
                  <a:schemeClr val="tx2"/>
                </a:solidFill>
                <a:latin typeface="Segoe UI Semibold" charset="0"/>
                <a:ea typeface="Segoe UI Semibold" charset="0"/>
                <a:cs typeface="Segoe UI Semibold" charset="0"/>
              </a:defRPr>
            </a:lvl1pPr>
            <a:lvl2pPr marL="236538" marR="0" indent="-236538" algn="l" defTabSz="914367" rtl="0" eaLnBrk="1" fontAlgn="auto" latinLnBrk="0" hangingPunct="1">
              <a:lnSpc>
                <a:spcPct val="100000"/>
              </a:lnSpc>
              <a:spcBef>
                <a:spcPts val="800"/>
              </a:spcBef>
              <a:spcAft>
                <a:spcPts val="400"/>
              </a:spcAft>
              <a:buClr>
                <a:schemeClr val="tx2"/>
              </a:buClr>
              <a:buSzPct val="90000"/>
              <a:buFont typeface="Arial" pitchFamily="34" charset="0"/>
              <a:buChar char="•"/>
              <a:tabLst/>
              <a:defRPr lang="en-US" sz="1600" kern="1200" spc="0" baseline="0" dirty="0" smtClean="0">
                <a:solidFill>
                  <a:schemeClr val="tx1"/>
                </a:solidFill>
                <a:latin typeface="Segoe UI Semilight" charset="0"/>
                <a:ea typeface="Segoe UI Semilight" charset="0"/>
                <a:cs typeface="Segoe UI Semilight" charset="0"/>
              </a:defRPr>
            </a:lvl2pPr>
            <a:lvl3pPr marL="784338"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3pPr>
            <a:lvl4pPr marL="1008435"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4pPr>
            <a:lvl5pPr marL="1232531"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4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dirty="0">
                <a:solidFill>
                  <a:srgbClr val="44546A"/>
                </a:solidFill>
              </a:rPr>
              <a:t>Provisioning Throughput at </a:t>
            </a:r>
            <a:r>
              <a:rPr lang="en-US" u="sng" dirty="0">
                <a:solidFill>
                  <a:srgbClr val="44546A"/>
                </a:solidFill>
              </a:rPr>
              <a:t>Database Level</a:t>
            </a:r>
          </a:p>
        </p:txBody>
      </p:sp>
      <p:grpSp>
        <p:nvGrpSpPr>
          <p:cNvPr id="48" name="Group 47">
            <a:extLst>
              <a:ext uri="{FF2B5EF4-FFF2-40B4-BE49-F238E27FC236}">
                <a16:creationId xmlns:a16="http://schemas.microsoft.com/office/drawing/2014/main" id="{930B3E6A-A312-45E6-A2E9-BD79DFA34137}"/>
              </a:ext>
            </a:extLst>
          </p:cNvPr>
          <p:cNvGrpSpPr/>
          <p:nvPr/>
        </p:nvGrpSpPr>
        <p:grpSpPr>
          <a:xfrm>
            <a:off x="7931218" y="3624909"/>
            <a:ext cx="2172787" cy="562143"/>
            <a:chOff x="7931217" y="3396308"/>
            <a:chExt cx="2172787" cy="562143"/>
          </a:xfrm>
        </p:grpSpPr>
        <p:sp>
          <p:nvSpPr>
            <p:cNvPr id="247" name="Freeform: Shape 83">
              <a:extLst>
                <a:ext uri="{FF2B5EF4-FFF2-40B4-BE49-F238E27FC236}">
                  <a16:creationId xmlns:a16="http://schemas.microsoft.com/office/drawing/2014/main" id="{CE913EA9-6AA1-4B5E-BAB1-4E50764D905D}"/>
                </a:ext>
              </a:extLst>
            </p:cNvPr>
            <p:cNvSpPr/>
            <p:nvPr/>
          </p:nvSpPr>
          <p:spPr>
            <a:xfrm>
              <a:off x="8336926" y="3501890"/>
              <a:ext cx="1480028" cy="339368"/>
            </a:xfrm>
            <a:custGeom>
              <a:avLst/>
              <a:gdLst>
                <a:gd name="connsiteX0" fmla="*/ 0 w 4763589"/>
                <a:gd name="connsiteY0" fmla="*/ 2403565 h 2504203"/>
                <a:gd name="connsiteX1" fmla="*/ 2669177 w 4763589"/>
                <a:gd name="connsiteY1" fmla="*/ 2220685 h 2504203"/>
                <a:gd name="connsiteX2" fmla="*/ 4763589 w 4763589"/>
                <a:gd name="connsiteY2" fmla="*/ 0 h 2504203"/>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14882"/>
                <a:gd name="connsiteX1" fmla="*/ 4763589 w 4763589"/>
                <a:gd name="connsiteY1" fmla="*/ 0 h 2414882"/>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Lst>
              <a:ahLst/>
              <a:cxnLst>
                <a:cxn ang="0">
                  <a:pos x="connsiteX0" y="connsiteY0"/>
                </a:cxn>
                <a:cxn ang="0">
                  <a:pos x="connsiteX1" y="connsiteY1"/>
                </a:cxn>
              </a:cxnLst>
              <a:rect l="l" t="t" r="r" b="b"/>
              <a:pathLst>
                <a:path w="4763589" h="2403565">
                  <a:moveTo>
                    <a:pt x="0" y="2403565"/>
                  </a:moveTo>
                  <a:cubicBezTo>
                    <a:pt x="1612078" y="2269470"/>
                    <a:pt x="3695453" y="1313760"/>
                    <a:pt x="4763589" y="0"/>
                  </a:cubicBezTo>
                </a:path>
              </a:pathLst>
            </a:custGeom>
            <a:noFill/>
            <a:ln w="19050" cap="sq">
              <a:solidFill>
                <a:schemeClr val="tx2"/>
              </a:solidFill>
              <a:prstDash val="sysDot"/>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Semilight"/>
              </a:endParaRPr>
            </a:p>
          </p:txBody>
        </p:sp>
        <p:sp>
          <p:nvSpPr>
            <p:cNvPr id="252" name="Freeform: Shape 251">
              <a:extLst>
                <a:ext uri="{FF2B5EF4-FFF2-40B4-BE49-F238E27FC236}">
                  <a16:creationId xmlns:a16="http://schemas.microsoft.com/office/drawing/2014/main" id="{EA049852-ABB3-456F-8D0C-48DD0C4C802C}"/>
                </a:ext>
              </a:extLst>
            </p:cNvPr>
            <p:cNvSpPr/>
            <p:nvPr/>
          </p:nvSpPr>
          <p:spPr bwMode="auto">
            <a:xfrm>
              <a:off x="9869492" y="3396308"/>
              <a:ext cx="234512" cy="105582"/>
            </a:xfrm>
            <a:custGeom>
              <a:avLst/>
              <a:gdLst/>
              <a:ahLst/>
              <a:cxnLst/>
              <a:rect l="l" t="t" r="r" b="b"/>
              <a:pathLst>
                <a:path w="367526" h="185858">
                  <a:moveTo>
                    <a:pt x="87999" y="0"/>
                  </a:moveTo>
                  <a:cubicBezTo>
                    <a:pt x="126946" y="0"/>
                    <a:pt x="158908" y="24075"/>
                    <a:pt x="183886" y="72224"/>
                  </a:cubicBezTo>
                  <a:cubicBezTo>
                    <a:pt x="197033" y="48889"/>
                    <a:pt x="212151" y="31018"/>
                    <a:pt x="229242" y="18611"/>
                  </a:cubicBezTo>
                  <a:cubicBezTo>
                    <a:pt x="246332" y="6204"/>
                    <a:pt x="263176" y="0"/>
                    <a:pt x="279773" y="0"/>
                  </a:cubicBezTo>
                  <a:cubicBezTo>
                    <a:pt x="306066" y="0"/>
                    <a:pt x="327265" y="8504"/>
                    <a:pt x="343370" y="25512"/>
                  </a:cubicBezTo>
                  <a:cubicBezTo>
                    <a:pt x="359474" y="42521"/>
                    <a:pt x="367526" y="64664"/>
                    <a:pt x="367526" y="91943"/>
                  </a:cubicBezTo>
                  <a:cubicBezTo>
                    <a:pt x="367526" y="117415"/>
                    <a:pt x="359104" y="139435"/>
                    <a:pt x="342260" y="158004"/>
                  </a:cubicBezTo>
                  <a:cubicBezTo>
                    <a:pt x="325416" y="176574"/>
                    <a:pt x="304587" y="185858"/>
                    <a:pt x="279773" y="185858"/>
                  </a:cubicBezTo>
                  <a:cubicBezTo>
                    <a:pt x="241156" y="185858"/>
                    <a:pt x="209029" y="161784"/>
                    <a:pt x="183393" y="113635"/>
                  </a:cubicBezTo>
                  <a:cubicBezTo>
                    <a:pt x="169918" y="137134"/>
                    <a:pt x="154718" y="155046"/>
                    <a:pt x="137791" y="167371"/>
                  </a:cubicBezTo>
                  <a:cubicBezTo>
                    <a:pt x="120865" y="179696"/>
                    <a:pt x="104268" y="185858"/>
                    <a:pt x="87999" y="185858"/>
                  </a:cubicBezTo>
                  <a:cubicBezTo>
                    <a:pt x="61870" y="185858"/>
                    <a:pt x="40672" y="177395"/>
                    <a:pt x="24403" y="160469"/>
                  </a:cubicBezTo>
                  <a:cubicBezTo>
                    <a:pt x="8134" y="143543"/>
                    <a:pt x="0" y="121359"/>
                    <a:pt x="0" y="93915"/>
                  </a:cubicBezTo>
                  <a:cubicBezTo>
                    <a:pt x="0" y="68444"/>
                    <a:pt x="8463" y="46424"/>
                    <a:pt x="25389" y="27854"/>
                  </a:cubicBezTo>
                  <a:cubicBezTo>
                    <a:pt x="42315" y="9285"/>
                    <a:pt x="63185" y="0"/>
                    <a:pt x="87999" y="0"/>
                  </a:cubicBezTo>
                  <a:close/>
                  <a:moveTo>
                    <a:pt x="87999" y="19720"/>
                  </a:moveTo>
                  <a:cubicBezTo>
                    <a:pt x="67786" y="19720"/>
                    <a:pt x="51518" y="26663"/>
                    <a:pt x="39193" y="40549"/>
                  </a:cubicBezTo>
                  <a:cubicBezTo>
                    <a:pt x="26868" y="54435"/>
                    <a:pt x="20706" y="72224"/>
                    <a:pt x="20706" y="93915"/>
                  </a:cubicBezTo>
                  <a:cubicBezTo>
                    <a:pt x="20706" y="114128"/>
                    <a:pt x="27032" y="131136"/>
                    <a:pt x="39686" y="144940"/>
                  </a:cubicBezTo>
                  <a:cubicBezTo>
                    <a:pt x="52339" y="158744"/>
                    <a:pt x="68444" y="165646"/>
                    <a:pt x="87999" y="165646"/>
                  </a:cubicBezTo>
                  <a:cubicBezTo>
                    <a:pt x="119386" y="165646"/>
                    <a:pt x="148144" y="141407"/>
                    <a:pt x="174273" y="92929"/>
                  </a:cubicBezTo>
                  <a:cubicBezTo>
                    <a:pt x="150609" y="44123"/>
                    <a:pt x="121851" y="19720"/>
                    <a:pt x="87999" y="19720"/>
                  </a:cubicBezTo>
                  <a:close/>
                  <a:moveTo>
                    <a:pt x="279773" y="19720"/>
                  </a:moveTo>
                  <a:cubicBezTo>
                    <a:pt x="248222" y="19720"/>
                    <a:pt x="219464" y="44123"/>
                    <a:pt x="193500" y="92929"/>
                  </a:cubicBezTo>
                  <a:cubicBezTo>
                    <a:pt x="216670" y="141407"/>
                    <a:pt x="245428" y="165646"/>
                    <a:pt x="279773" y="165646"/>
                  </a:cubicBezTo>
                  <a:cubicBezTo>
                    <a:pt x="299986" y="165646"/>
                    <a:pt x="316132" y="158744"/>
                    <a:pt x="328210" y="144940"/>
                  </a:cubicBezTo>
                  <a:cubicBezTo>
                    <a:pt x="340288" y="131136"/>
                    <a:pt x="346328" y="113471"/>
                    <a:pt x="346328" y="91943"/>
                  </a:cubicBezTo>
                  <a:cubicBezTo>
                    <a:pt x="346328" y="71402"/>
                    <a:pt x="340042" y="54229"/>
                    <a:pt x="327471" y="40426"/>
                  </a:cubicBezTo>
                  <a:cubicBezTo>
                    <a:pt x="314899" y="26622"/>
                    <a:pt x="299000" y="19720"/>
                    <a:pt x="279773" y="19720"/>
                  </a:cubicBezTo>
                  <a:close/>
                </a:path>
              </a:pathLst>
            </a:custGeom>
            <a:solidFill>
              <a:schemeClr val="tx2"/>
            </a:solidFill>
            <a:ln w="95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89" name="TextBox 288">
              <a:extLst>
                <a:ext uri="{FF2B5EF4-FFF2-40B4-BE49-F238E27FC236}">
                  <a16:creationId xmlns:a16="http://schemas.microsoft.com/office/drawing/2014/main" id="{B256ADEF-8E46-4007-A573-ED2E60B4B9F6}"/>
                </a:ext>
              </a:extLst>
            </p:cNvPr>
            <p:cNvSpPr txBox="1"/>
            <p:nvPr/>
          </p:nvSpPr>
          <p:spPr>
            <a:xfrm>
              <a:off x="7931217" y="3727619"/>
              <a:ext cx="388248" cy="230832"/>
            </a:xfrm>
            <a:prstGeom prst="rect">
              <a:avLst/>
            </a:prstGeom>
            <a:noFill/>
          </p:spPr>
          <p:txBody>
            <a:bodyPr wrap="none" lIns="91440" rtlCol="0">
              <a:spAutoFit/>
            </a:bodyPr>
            <a:lstStyle/>
            <a:p>
              <a:pPr algn="ctr">
                <a:defRPr/>
              </a:pPr>
              <a:r>
                <a:rPr lang="en-US" sz="900" dirty="0">
                  <a:solidFill>
                    <a:srgbClr val="0078D7"/>
                  </a:solidFill>
                  <a:latin typeface="Segoe UI Semibold" panose="020B0702040204020203" pitchFamily="34" charset="0"/>
                  <a:cs typeface="Segoe UI Semibold" panose="020B0702040204020203" pitchFamily="34" charset="0"/>
                </a:rPr>
                <a:t>RUs</a:t>
              </a:r>
            </a:p>
          </p:txBody>
        </p:sp>
      </p:grpSp>
      <p:grpSp>
        <p:nvGrpSpPr>
          <p:cNvPr id="290" name="Group 289">
            <a:extLst>
              <a:ext uri="{FF2B5EF4-FFF2-40B4-BE49-F238E27FC236}">
                <a16:creationId xmlns:a16="http://schemas.microsoft.com/office/drawing/2014/main" id="{5879476B-4C07-4256-954F-C60CFCD9CD8B}"/>
              </a:ext>
            </a:extLst>
          </p:cNvPr>
          <p:cNvGrpSpPr/>
          <p:nvPr/>
        </p:nvGrpSpPr>
        <p:grpSpPr>
          <a:xfrm>
            <a:off x="1819278" y="3814152"/>
            <a:ext cx="2172787" cy="562143"/>
            <a:chOff x="7931217" y="3396308"/>
            <a:chExt cx="2172787" cy="562143"/>
          </a:xfrm>
        </p:grpSpPr>
        <p:sp>
          <p:nvSpPr>
            <p:cNvPr id="291" name="Freeform: Shape 83">
              <a:extLst>
                <a:ext uri="{FF2B5EF4-FFF2-40B4-BE49-F238E27FC236}">
                  <a16:creationId xmlns:a16="http://schemas.microsoft.com/office/drawing/2014/main" id="{F52F5E67-E654-4570-B71F-B283A3532A54}"/>
                </a:ext>
              </a:extLst>
            </p:cNvPr>
            <p:cNvSpPr/>
            <p:nvPr/>
          </p:nvSpPr>
          <p:spPr>
            <a:xfrm>
              <a:off x="8336926" y="3501890"/>
              <a:ext cx="1480028" cy="339368"/>
            </a:xfrm>
            <a:custGeom>
              <a:avLst/>
              <a:gdLst>
                <a:gd name="connsiteX0" fmla="*/ 0 w 4763589"/>
                <a:gd name="connsiteY0" fmla="*/ 2403565 h 2504203"/>
                <a:gd name="connsiteX1" fmla="*/ 2669177 w 4763589"/>
                <a:gd name="connsiteY1" fmla="*/ 2220685 h 2504203"/>
                <a:gd name="connsiteX2" fmla="*/ 4763589 w 4763589"/>
                <a:gd name="connsiteY2" fmla="*/ 0 h 2504203"/>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14882"/>
                <a:gd name="connsiteX1" fmla="*/ 4763589 w 4763589"/>
                <a:gd name="connsiteY1" fmla="*/ 0 h 2414882"/>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Lst>
              <a:ahLst/>
              <a:cxnLst>
                <a:cxn ang="0">
                  <a:pos x="connsiteX0" y="connsiteY0"/>
                </a:cxn>
                <a:cxn ang="0">
                  <a:pos x="connsiteX1" y="connsiteY1"/>
                </a:cxn>
              </a:cxnLst>
              <a:rect l="l" t="t" r="r" b="b"/>
              <a:pathLst>
                <a:path w="4763589" h="2403565">
                  <a:moveTo>
                    <a:pt x="0" y="2403565"/>
                  </a:moveTo>
                  <a:cubicBezTo>
                    <a:pt x="1612078" y="2269470"/>
                    <a:pt x="3695453" y="1313760"/>
                    <a:pt x="4763589" y="0"/>
                  </a:cubicBezTo>
                </a:path>
              </a:pathLst>
            </a:custGeom>
            <a:noFill/>
            <a:ln w="19050" cap="sq">
              <a:solidFill>
                <a:schemeClr val="tx2"/>
              </a:solidFill>
              <a:prstDash val="sysDot"/>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Semilight"/>
              </a:endParaRPr>
            </a:p>
          </p:txBody>
        </p:sp>
        <p:sp>
          <p:nvSpPr>
            <p:cNvPr id="292" name="Freeform: Shape 291">
              <a:extLst>
                <a:ext uri="{FF2B5EF4-FFF2-40B4-BE49-F238E27FC236}">
                  <a16:creationId xmlns:a16="http://schemas.microsoft.com/office/drawing/2014/main" id="{1DF3C627-7D7E-480C-8172-1606AFBB8583}"/>
                </a:ext>
              </a:extLst>
            </p:cNvPr>
            <p:cNvSpPr/>
            <p:nvPr/>
          </p:nvSpPr>
          <p:spPr bwMode="auto">
            <a:xfrm>
              <a:off x="9869492" y="3396308"/>
              <a:ext cx="234512" cy="105582"/>
            </a:xfrm>
            <a:custGeom>
              <a:avLst/>
              <a:gdLst/>
              <a:ahLst/>
              <a:cxnLst/>
              <a:rect l="l" t="t" r="r" b="b"/>
              <a:pathLst>
                <a:path w="367526" h="185858">
                  <a:moveTo>
                    <a:pt x="87999" y="0"/>
                  </a:moveTo>
                  <a:cubicBezTo>
                    <a:pt x="126946" y="0"/>
                    <a:pt x="158908" y="24075"/>
                    <a:pt x="183886" y="72224"/>
                  </a:cubicBezTo>
                  <a:cubicBezTo>
                    <a:pt x="197033" y="48889"/>
                    <a:pt x="212151" y="31018"/>
                    <a:pt x="229242" y="18611"/>
                  </a:cubicBezTo>
                  <a:cubicBezTo>
                    <a:pt x="246332" y="6204"/>
                    <a:pt x="263176" y="0"/>
                    <a:pt x="279773" y="0"/>
                  </a:cubicBezTo>
                  <a:cubicBezTo>
                    <a:pt x="306066" y="0"/>
                    <a:pt x="327265" y="8504"/>
                    <a:pt x="343370" y="25512"/>
                  </a:cubicBezTo>
                  <a:cubicBezTo>
                    <a:pt x="359474" y="42521"/>
                    <a:pt x="367526" y="64664"/>
                    <a:pt x="367526" y="91943"/>
                  </a:cubicBezTo>
                  <a:cubicBezTo>
                    <a:pt x="367526" y="117415"/>
                    <a:pt x="359104" y="139435"/>
                    <a:pt x="342260" y="158004"/>
                  </a:cubicBezTo>
                  <a:cubicBezTo>
                    <a:pt x="325416" y="176574"/>
                    <a:pt x="304587" y="185858"/>
                    <a:pt x="279773" y="185858"/>
                  </a:cubicBezTo>
                  <a:cubicBezTo>
                    <a:pt x="241156" y="185858"/>
                    <a:pt x="209029" y="161784"/>
                    <a:pt x="183393" y="113635"/>
                  </a:cubicBezTo>
                  <a:cubicBezTo>
                    <a:pt x="169918" y="137134"/>
                    <a:pt x="154718" y="155046"/>
                    <a:pt x="137791" y="167371"/>
                  </a:cubicBezTo>
                  <a:cubicBezTo>
                    <a:pt x="120865" y="179696"/>
                    <a:pt x="104268" y="185858"/>
                    <a:pt x="87999" y="185858"/>
                  </a:cubicBezTo>
                  <a:cubicBezTo>
                    <a:pt x="61870" y="185858"/>
                    <a:pt x="40672" y="177395"/>
                    <a:pt x="24403" y="160469"/>
                  </a:cubicBezTo>
                  <a:cubicBezTo>
                    <a:pt x="8134" y="143543"/>
                    <a:pt x="0" y="121359"/>
                    <a:pt x="0" y="93915"/>
                  </a:cubicBezTo>
                  <a:cubicBezTo>
                    <a:pt x="0" y="68444"/>
                    <a:pt x="8463" y="46424"/>
                    <a:pt x="25389" y="27854"/>
                  </a:cubicBezTo>
                  <a:cubicBezTo>
                    <a:pt x="42315" y="9285"/>
                    <a:pt x="63185" y="0"/>
                    <a:pt x="87999" y="0"/>
                  </a:cubicBezTo>
                  <a:close/>
                  <a:moveTo>
                    <a:pt x="87999" y="19720"/>
                  </a:moveTo>
                  <a:cubicBezTo>
                    <a:pt x="67786" y="19720"/>
                    <a:pt x="51518" y="26663"/>
                    <a:pt x="39193" y="40549"/>
                  </a:cubicBezTo>
                  <a:cubicBezTo>
                    <a:pt x="26868" y="54435"/>
                    <a:pt x="20706" y="72224"/>
                    <a:pt x="20706" y="93915"/>
                  </a:cubicBezTo>
                  <a:cubicBezTo>
                    <a:pt x="20706" y="114128"/>
                    <a:pt x="27032" y="131136"/>
                    <a:pt x="39686" y="144940"/>
                  </a:cubicBezTo>
                  <a:cubicBezTo>
                    <a:pt x="52339" y="158744"/>
                    <a:pt x="68444" y="165646"/>
                    <a:pt x="87999" y="165646"/>
                  </a:cubicBezTo>
                  <a:cubicBezTo>
                    <a:pt x="119386" y="165646"/>
                    <a:pt x="148144" y="141407"/>
                    <a:pt x="174273" y="92929"/>
                  </a:cubicBezTo>
                  <a:cubicBezTo>
                    <a:pt x="150609" y="44123"/>
                    <a:pt x="121851" y="19720"/>
                    <a:pt x="87999" y="19720"/>
                  </a:cubicBezTo>
                  <a:close/>
                  <a:moveTo>
                    <a:pt x="279773" y="19720"/>
                  </a:moveTo>
                  <a:cubicBezTo>
                    <a:pt x="248222" y="19720"/>
                    <a:pt x="219464" y="44123"/>
                    <a:pt x="193500" y="92929"/>
                  </a:cubicBezTo>
                  <a:cubicBezTo>
                    <a:pt x="216670" y="141407"/>
                    <a:pt x="245428" y="165646"/>
                    <a:pt x="279773" y="165646"/>
                  </a:cubicBezTo>
                  <a:cubicBezTo>
                    <a:pt x="299986" y="165646"/>
                    <a:pt x="316132" y="158744"/>
                    <a:pt x="328210" y="144940"/>
                  </a:cubicBezTo>
                  <a:cubicBezTo>
                    <a:pt x="340288" y="131136"/>
                    <a:pt x="346328" y="113471"/>
                    <a:pt x="346328" y="91943"/>
                  </a:cubicBezTo>
                  <a:cubicBezTo>
                    <a:pt x="346328" y="71402"/>
                    <a:pt x="340042" y="54229"/>
                    <a:pt x="327471" y="40426"/>
                  </a:cubicBezTo>
                  <a:cubicBezTo>
                    <a:pt x="314899" y="26622"/>
                    <a:pt x="299000" y="19720"/>
                    <a:pt x="279773" y="19720"/>
                  </a:cubicBezTo>
                  <a:close/>
                </a:path>
              </a:pathLst>
            </a:custGeom>
            <a:solidFill>
              <a:schemeClr val="tx2"/>
            </a:solidFill>
            <a:ln w="95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93" name="TextBox 292">
              <a:extLst>
                <a:ext uri="{FF2B5EF4-FFF2-40B4-BE49-F238E27FC236}">
                  <a16:creationId xmlns:a16="http://schemas.microsoft.com/office/drawing/2014/main" id="{7270D844-3201-4306-A55B-99A8FF976BD3}"/>
                </a:ext>
              </a:extLst>
            </p:cNvPr>
            <p:cNvSpPr txBox="1"/>
            <p:nvPr/>
          </p:nvSpPr>
          <p:spPr>
            <a:xfrm>
              <a:off x="7931217" y="3727619"/>
              <a:ext cx="388248" cy="230832"/>
            </a:xfrm>
            <a:prstGeom prst="rect">
              <a:avLst/>
            </a:prstGeom>
            <a:noFill/>
          </p:spPr>
          <p:txBody>
            <a:bodyPr wrap="none" lIns="91440" rtlCol="0">
              <a:spAutoFit/>
            </a:bodyPr>
            <a:lstStyle/>
            <a:p>
              <a:pPr algn="ctr">
                <a:defRPr/>
              </a:pPr>
              <a:r>
                <a:rPr lang="en-US" sz="900" dirty="0">
                  <a:solidFill>
                    <a:srgbClr val="0078D7"/>
                  </a:solidFill>
                  <a:latin typeface="Segoe UI Semibold" panose="020B0702040204020203" pitchFamily="34" charset="0"/>
                  <a:cs typeface="Segoe UI Semibold" panose="020B0702040204020203" pitchFamily="34" charset="0"/>
                </a:rPr>
                <a:t>RUs</a:t>
              </a:r>
            </a:p>
          </p:txBody>
        </p:sp>
      </p:grpSp>
      <p:sp>
        <p:nvSpPr>
          <p:cNvPr id="239" name="Content Placeholder 2">
            <a:extLst>
              <a:ext uri="{FF2B5EF4-FFF2-40B4-BE49-F238E27FC236}">
                <a16:creationId xmlns:a16="http://schemas.microsoft.com/office/drawing/2014/main" id="{9D882223-EEB3-454C-A38E-46B98E3367FB}"/>
              </a:ext>
            </a:extLst>
          </p:cNvPr>
          <p:cNvSpPr txBox="1">
            <a:spLocks/>
          </p:cNvSpPr>
          <p:nvPr/>
        </p:nvSpPr>
        <p:spPr>
          <a:xfrm>
            <a:off x="226602" y="6378758"/>
            <a:ext cx="9111512" cy="1415685"/>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US" sz="1200" dirty="0">
                <a:solidFill>
                  <a:prstClr val="black"/>
                </a:solidFill>
              </a:rPr>
              <a:t>Provision throughput on a database and share across containers.</a:t>
            </a:r>
          </a:p>
          <a:p>
            <a:pPr>
              <a:spcBef>
                <a:spcPts val="0"/>
              </a:spcBef>
            </a:pPr>
            <a:r>
              <a:rPr lang="en-US" sz="1200" dirty="0">
                <a:solidFill>
                  <a:prstClr val="black"/>
                </a:solidFill>
              </a:rPr>
              <a:t>Defined throughput based on your application’s data model.</a:t>
            </a:r>
          </a:p>
          <a:p>
            <a:pPr>
              <a:spcBef>
                <a:spcPts val="0"/>
              </a:spcBef>
            </a:pPr>
            <a:r>
              <a:rPr lang="en-US" sz="1200" dirty="0">
                <a:solidFill>
                  <a:prstClr val="black"/>
                </a:solidFill>
              </a:rPr>
              <a:t>Ability to control costs at different granularities.</a:t>
            </a:r>
          </a:p>
          <a:p>
            <a:endParaRPr lang="en-US" sz="1200" dirty="0">
              <a:solidFill>
                <a:prstClr val="black"/>
              </a:solidFill>
            </a:endParaRPr>
          </a:p>
        </p:txBody>
      </p:sp>
    </p:spTree>
    <p:extLst>
      <p:ext uri="{BB962C8B-B14F-4D97-AF65-F5344CB8AC3E}">
        <p14:creationId xmlns:p14="http://schemas.microsoft.com/office/powerpoint/2010/main" val="1936492767"/>
      </p:ext>
    </p:extLst>
  </p:cSld>
  <p:clrMapOvr>
    <a:masterClrMapping/>
  </p:clrMapOvr>
  <p:transition>
    <p:fade/>
  </p:transition>
</p:sld>
</file>

<file path=ppt/slides/slide14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248096-6B7A-4BF6-B830-0FD01D17DC2B}"/>
              </a:ext>
            </a:extLst>
          </p:cNvPr>
          <p:cNvSpPr>
            <a:spLocks noGrp="1"/>
          </p:cNvSpPr>
          <p:nvPr>
            <p:ph type="title"/>
          </p:nvPr>
        </p:nvSpPr>
        <p:spPr>
          <a:xfrm>
            <a:off x="838200" y="593726"/>
            <a:ext cx="10515600" cy="1325563"/>
          </a:xfrm>
        </p:spPr>
        <p:txBody>
          <a:bodyPr>
            <a:normAutofit/>
          </a:bodyPr>
          <a:lstStyle/>
          <a:p>
            <a:r>
              <a:rPr lang="en-US" dirty="0">
                <a:latin typeface="Segoe UI Light" panose="020B0502040204020203" pitchFamily="34" charset="0"/>
                <a:cs typeface="Segoe UI Light" panose="020B0502040204020203" pitchFamily="34" charset="0"/>
              </a:rPr>
              <a:t>JavaScript </a:t>
            </a:r>
            <a:r>
              <a:rPr lang="en-US">
                <a:latin typeface="Segoe UI Light" panose="020B0502040204020203" pitchFamily="34" charset="0"/>
                <a:cs typeface="Segoe UI Light" panose="020B0502040204020203" pitchFamily="34" charset="0"/>
              </a:rPr>
              <a:t>SDK</a:t>
            </a:r>
            <a:r>
              <a:rPr lang="en-US" dirty="0">
                <a:latin typeface="Segoe UI Light" panose="020B0502040204020203" pitchFamily="34" charset="0"/>
                <a:cs typeface="Segoe UI Light" panose="020B0502040204020203" pitchFamily="34" charset="0"/>
              </a:rPr>
              <a:t> v2</a:t>
            </a:r>
          </a:p>
        </p:txBody>
      </p:sp>
      <p:sp>
        <p:nvSpPr>
          <p:cNvPr id="3" name="Content Placeholder 2">
            <a:extLst>
              <a:ext uri="{FF2B5EF4-FFF2-40B4-BE49-F238E27FC236}">
                <a16:creationId xmlns:a16="http://schemas.microsoft.com/office/drawing/2014/main" id="{FD112703-1131-4026-A181-11008268606F}"/>
              </a:ext>
            </a:extLst>
          </p:cNvPr>
          <p:cNvSpPr>
            <a:spLocks noGrp="1"/>
          </p:cNvSpPr>
          <p:nvPr>
            <p:ph idx="1"/>
          </p:nvPr>
        </p:nvSpPr>
        <p:spPr>
          <a:xfrm>
            <a:off x="838201" y="2054225"/>
            <a:ext cx="3797807" cy="4351338"/>
          </a:xfrm>
        </p:spPr>
        <p:txBody>
          <a:bodyPr>
            <a:normAutofit/>
          </a:bodyPr>
          <a:lstStyle/>
          <a:p>
            <a:r>
              <a:rPr lang="en-US" sz="1900" dirty="0"/>
              <a:t>New, more intuitive object model</a:t>
            </a:r>
          </a:p>
          <a:p>
            <a:r>
              <a:rPr lang="en-US" sz="1900" dirty="0"/>
              <a:t>Support for promises</a:t>
            </a:r>
          </a:p>
          <a:p>
            <a:r>
              <a:rPr lang="en-US" sz="1900" dirty="0"/>
              <a:t>Rewritten in TypeScript</a:t>
            </a:r>
          </a:p>
          <a:p>
            <a:r>
              <a:rPr lang="en-US" sz="1900" dirty="0"/>
              <a:t>Support for multi-master</a:t>
            </a:r>
          </a:p>
          <a:p>
            <a:r>
              <a:rPr lang="en-US" sz="1900" dirty="0"/>
              <a:t>Download: </a:t>
            </a:r>
            <a:r>
              <a:rPr lang="en-US" sz="1900" dirty="0">
                <a:hlinkClick r:id="rId2"/>
              </a:rPr>
              <a:t>https://github.com/Azure/azure-cosmos-js</a:t>
            </a:r>
            <a:r>
              <a:rPr lang="en-US" sz="1900" dirty="0"/>
              <a:t> </a:t>
            </a:r>
          </a:p>
          <a:p>
            <a:r>
              <a:rPr lang="en-US" sz="1900" dirty="0"/>
              <a:t>Docs: </a:t>
            </a:r>
            <a:r>
              <a:rPr lang="en-US" sz="1900" dirty="0">
                <a:hlinkClick r:id="rId3"/>
              </a:rPr>
              <a:t>https://docs.microsoft.com/en-us/azure/cosmos-db/sql-api-nodejs-get-started-preview</a:t>
            </a:r>
            <a:r>
              <a:rPr lang="en-US" sz="1900" dirty="0"/>
              <a:t> </a:t>
            </a:r>
          </a:p>
        </p:txBody>
      </p:sp>
      <p:pic>
        <p:nvPicPr>
          <p:cNvPr id="6" name="Picture 5">
            <a:extLst>
              <a:ext uri="{FF2B5EF4-FFF2-40B4-BE49-F238E27FC236}">
                <a16:creationId xmlns:a16="http://schemas.microsoft.com/office/drawing/2014/main" id="{4FB0A2CB-6284-408F-8315-2D15794610B5}"/>
              </a:ext>
            </a:extLst>
          </p:cNvPr>
          <p:cNvPicPr>
            <a:picLocks noChangeAspect="1"/>
          </p:cNvPicPr>
          <p:nvPr/>
        </p:nvPicPr>
        <p:blipFill rotWithShape="1">
          <a:blip r:embed="rId4"/>
          <a:srcRect r="22540" b="1"/>
          <a:stretch/>
        </p:blipFill>
        <p:spPr>
          <a:xfrm>
            <a:off x="5120640" y="2132882"/>
            <a:ext cx="6233160" cy="4272681"/>
          </a:xfrm>
          <a:prstGeom prst="rect">
            <a:avLst/>
          </a:prstGeom>
        </p:spPr>
      </p:pic>
      <p:sp>
        <p:nvSpPr>
          <p:cNvPr id="7" name="Rectangle 6">
            <a:extLst>
              <a:ext uri="{FF2B5EF4-FFF2-40B4-BE49-F238E27FC236}">
                <a16:creationId xmlns:a16="http://schemas.microsoft.com/office/drawing/2014/main" id="{8A7C5EE3-777B-49B8-9585-2070515553DE}"/>
              </a:ext>
            </a:extLst>
          </p:cNvPr>
          <p:cNvSpPr/>
          <p:nvPr/>
        </p:nvSpPr>
        <p:spPr>
          <a:xfrm>
            <a:off x="9359900" y="228600"/>
            <a:ext cx="2832100" cy="698500"/>
          </a:xfrm>
          <a:prstGeom prst="rect">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prstClr val="white"/>
                </a:solidFill>
                <a:latin typeface="Segoe UI Light" panose="020B0502040204020203" pitchFamily="34" charset="0"/>
                <a:cs typeface="Segoe UI Light" panose="020B0502040204020203" pitchFamily="34" charset="0"/>
              </a:rPr>
              <a:t>Generally Available</a:t>
            </a:r>
          </a:p>
        </p:txBody>
      </p:sp>
    </p:spTree>
    <p:extLst>
      <p:ext uri="{BB962C8B-B14F-4D97-AF65-F5344CB8AC3E}">
        <p14:creationId xmlns:p14="http://schemas.microsoft.com/office/powerpoint/2010/main" val="41217046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57" name="Title 1"/>
          <p:cNvSpPr txBox="1">
            <a:spLocks/>
          </p:cNvSpPr>
          <p:nvPr/>
        </p:nvSpPr>
        <p:spPr>
          <a:xfrm>
            <a:off x="94565" y="354729"/>
            <a:ext cx="11298954" cy="574378"/>
          </a:xfrm>
          <a:prstGeom prst="rect">
            <a:avLst/>
          </a:prstGeom>
        </p:spPr>
        <p:txBody>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pPr defTabSz="1243478"/>
            <a:r>
              <a:rPr lang="en-US" sz="4000" dirty="0">
                <a:solidFill>
                  <a:prstClr val="white"/>
                </a:solidFill>
                <a:latin typeface="Segoe UI Light" panose="020B0502040204020203" pitchFamily="34" charset="0"/>
                <a:cs typeface="Segoe UI Light" panose="020B0502040204020203" pitchFamily="34" charset="0"/>
                <a:sym typeface="Gill Sans" charset="0"/>
              </a:rPr>
              <a:t>System design (logical)</a:t>
            </a:r>
          </a:p>
        </p:txBody>
      </p:sp>
      <p:sp>
        <p:nvSpPr>
          <p:cNvPr id="153" name="Flowchart: Document 152"/>
          <p:cNvSpPr/>
          <p:nvPr/>
        </p:nvSpPr>
        <p:spPr>
          <a:xfrm>
            <a:off x="2476500" y="4267200"/>
            <a:ext cx="1276775" cy="410356"/>
          </a:xfrm>
          <a:prstGeom prst="flowChartDocument">
            <a:avLst/>
          </a:prstGeom>
          <a:solidFill>
            <a:schemeClr val="accent5">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dirty="0">
                <a:solidFill>
                  <a:srgbClr val="FFFF00"/>
                </a:solidFill>
                <a:latin typeface="Segoe UI Light" panose="020B0502040204020203" pitchFamily="34" charset="0"/>
                <a:cs typeface="Segoe UI Light" panose="020B0502040204020203" pitchFamily="34" charset="0"/>
                <a:sym typeface="Gill Sans" charset="0"/>
              </a:rPr>
              <a:t>Container</a:t>
            </a:r>
          </a:p>
        </p:txBody>
      </p:sp>
      <p:sp>
        <p:nvSpPr>
          <p:cNvPr id="154" name="Flowchart: Document 153"/>
          <p:cNvSpPr/>
          <p:nvPr/>
        </p:nvSpPr>
        <p:spPr>
          <a:xfrm>
            <a:off x="2552700" y="4343400"/>
            <a:ext cx="1276775" cy="410356"/>
          </a:xfrm>
          <a:prstGeom prst="flowChartDocument">
            <a:avLst/>
          </a:prstGeom>
          <a:solidFill>
            <a:schemeClr val="accent5">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dirty="0">
                <a:solidFill>
                  <a:srgbClr val="FFFF00"/>
                </a:solidFill>
                <a:latin typeface="Segoe UI Light" panose="020B0502040204020203" pitchFamily="34" charset="0"/>
                <a:cs typeface="Segoe UI Light" panose="020B0502040204020203" pitchFamily="34" charset="0"/>
                <a:sym typeface="Gill Sans" charset="0"/>
              </a:rPr>
              <a:t>Container</a:t>
            </a:r>
          </a:p>
        </p:txBody>
      </p:sp>
      <p:sp>
        <p:nvSpPr>
          <p:cNvPr id="155" name="Flowchart: Document 154"/>
          <p:cNvSpPr/>
          <p:nvPr/>
        </p:nvSpPr>
        <p:spPr>
          <a:xfrm>
            <a:off x="2628900" y="4419600"/>
            <a:ext cx="1276775" cy="410356"/>
          </a:xfrm>
          <a:prstGeom prst="flowChartDocument">
            <a:avLst/>
          </a:prstGeom>
          <a:solidFill>
            <a:schemeClr val="accent5">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dirty="0">
                <a:solidFill>
                  <a:srgbClr val="FFFF00"/>
                </a:solidFill>
                <a:latin typeface="Segoe UI Light" panose="020B0502040204020203" pitchFamily="34" charset="0"/>
                <a:cs typeface="Segoe UI Light" panose="020B0502040204020203" pitchFamily="34" charset="0"/>
                <a:sym typeface="Gill Sans" charset="0"/>
              </a:rPr>
              <a:t>Container</a:t>
            </a:r>
          </a:p>
        </p:txBody>
      </p:sp>
      <p:sp>
        <p:nvSpPr>
          <p:cNvPr id="156" name="Flowchart: Document 155"/>
          <p:cNvSpPr/>
          <p:nvPr/>
        </p:nvSpPr>
        <p:spPr>
          <a:xfrm>
            <a:off x="2705100" y="4495800"/>
            <a:ext cx="1276775" cy="410356"/>
          </a:xfrm>
          <a:prstGeom prst="flowChartDocument">
            <a:avLst/>
          </a:prstGeom>
          <a:solidFill>
            <a:schemeClr val="accent5">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dirty="0">
                <a:solidFill>
                  <a:srgbClr val="FFFF00"/>
                </a:solidFill>
                <a:latin typeface="Segoe UI Light" panose="020B0502040204020203" pitchFamily="34" charset="0"/>
                <a:cs typeface="Segoe UI Light" panose="020B0502040204020203" pitchFamily="34" charset="0"/>
                <a:sym typeface="Gill Sans" charset="0"/>
              </a:rPr>
              <a:t>Containers</a:t>
            </a:r>
          </a:p>
        </p:txBody>
      </p:sp>
      <p:sp>
        <p:nvSpPr>
          <p:cNvPr id="157" name="TextBox 156"/>
          <p:cNvSpPr txBox="1"/>
          <p:nvPr/>
        </p:nvSpPr>
        <p:spPr>
          <a:xfrm>
            <a:off x="2768464" y="3314467"/>
            <a:ext cx="1315291" cy="369332"/>
          </a:xfrm>
          <a:prstGeom prst="rect">
            <a:avLst/>
          </a:prstGeom>
          <a:noFill/>
          <a:ln>
            <a:noFill/>
          </a:ln>
        </p:spPr>
        <p:txBody>
          <a:bodyPr wrap="square" rtlCol="0">
            <a:spAutoFit/>
          </a:bodyPr>
          <a:lstStyle/>
          <a:p>
            <a:pPr algn="ctr" defTabSz="457200" fontAlgn="base">
              <a:spcBef>
                <a:spcPct val="0"/>
              </a:spcBef>
              <a:spcAft>
                <a:spcPct val="0"/>
              </a:spcAft>
            </a:pPr>
            <a:r>
              <a:rPr lang="en-US"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Collections</a:t>
            </a:r>
          </a:p>
        </p:txBody>
      </p:sp>
      <p:sp>
        <p:nvSpPr>
          <p:cNvPr id="158" name="TextBox 157"/>
          <p:cNvSpPr txBox="1"/>
          <p:nvPr/>
        </p:nvSpPr>
        <p:spPr>
          <a:xfrm>
            <a:off x="1645854" y="3341908"/>
            <a:ext cx="992440" cy="369332"/>
          </a:xfrm>
          <a:prstGeom prst="rect">
            <a:avLst/>
          </a:prstGeom>
          <a:noFill/>
          <a:ln>
            <a:noFill/>
          </a:ln>
        </p:spPr>
        <p:txBody>
          <a:bodyPr wrap="square" rtlCol="0">
            <a:spAutoFit/>
          </a:bodyPr>
          <a:lstStyle/>
          <a:p>
            <a:pPr algn="ctr" defTabSz="457200" fontAlgn="base">
              <a:spcBef>
                <a:spcPct val="0"/>
              </a:spcBef>
              <a:spcAft>
                <a:spcPct val="0"/>
              </a:spcAft>
            </a:pPr>
            <a:r>
              <a:rPr lang="en-US"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Tables</a:t>
            </a:r>
            <a:endParaRPr lang="en-US" sz="2200" dirty="0">
              <a:solidFill>
                <a:prstClr val="white"/>
              </a:solidFill>
              <a:latin typeface="Segoe UI Light" panose="020B0502040204020203" pitchFamily="34" charset="0"/>
              <a:ea typeface="Heiti SC Light" charset="-122"/>
              <a:cs typeface="Segoe UI Light" panose="020B0502040204020203" pitchFamily="34" charset="0"/>
              <a:sym typeface="Gill Sans" charset="0"/>
            </a:endParaRPr>
          </a:p>
        </p:txBody>
      </p:sp>
      <p:sp>
        <p:nvSpPr>
          <p:cNvPr id="159" name="TextBox 158"/>
          <p:cNvSpPr txBox="1"/>
          <p:nvPr/>
        </p:nvSpPr>
        <p:spPr>
          <a:xfrm>
            <a:off x="4120308" y="3325342"/>
            <a:ext cx="900548" cy="369332"/>
          </a:xfrm>
          <a:prstGeom prst="rect">
            <a:avLst/>
          </a:prstGeom>
          <a:noFill/>
          <a:ln>
            <a:noFill/>
          </a:ln>
        </p:spPr>
        <p:txBody>
          <a:bodyPr wrap="square" rtlCol="0">
            <a:spAutoFit/>
          </a:bodyPr>
          <a:lstStyle/>
          <a:p>
            <a:pPr algn="ctr" defTabSz="457200" fontAlgn="base">
              <a:spcBef>
                <a:spcPct val="0"/>
              </a:spcBef>
              <a:spcAft>
                <a:spcPct val="0"/>
              </a:spcAft>
            </a:pPr>
            <a:r>
              <a:rPr lang="en-US"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Graphs</a:t>
            </a:r>
          </a:p>
        </p:txBody>
      </p:sp>
      <p:grpSp>
        <p:nvGrpSpPr>
          <p:cNvPr id="160" name="Group 159"/>
          <p:cNvGrpSpPr/>
          <p:nvPr/>
        </p:nvGrpSpPr>
        <p:grpSpPr>
          <a:xfrm>
            <a:off x="3100119" y="2765984"/>
            <a:ext cx="495957" cy="602954"/>
            <a:chOff x="1345497" y="1522604"/>
            <a:chExt cx="596149" cy="700081"/>
          </a:xfrm>
          <a:solidFill>
            <a:schemeClr val="accent2">
              <a:lumMod val="60000"/>
              <a:lumOff val="40000"/>
            </a:schemeClr>
          </a:solidFill>
        </p:grpSpPr>
        <p:pic>
          <p:nvPicPr>
            <p:cNvPr id="162" name="Picture 161"/>
            <p:cNvPicPr>
              <a:picLocks noChangeAspect="1"/>
            </p:cNvPicPr>
            <p:nvPr/>
          </p:nvPicPr>
          <p:blipFill>
            <a:blip r:embed="rId4"/>
            <a:stretch>
              <a:fillRect/>
            </a:stretch>
          </p:blipFill>
          <p:spPr>
            <a:xfrm>
              <a:off x="1345497" y="1522604"/>
              <a:ext cx="459514" cy="560559"/>
            </a:xfrm>
            <a:prstGeom prst="rect">
              <a:avLst/>
            </a:prstGeom>
            <a:grpFill/>
          </p:spPr>
        </p:pic>
        <p:pic>
          <p:nvPicPr>
            <p:cNvPr id="163" name="Picture 162"/>
            <p:cNvPicPr>
              <a:picLocks noChangeAspect="1"/>
            </p:cNvPicPr>
            <p:nvPr/>
          </p:nvPicPr>
          <p:blipFill>
            <a:blip r:embed="rId4"/>
            <a:stretch>
              <a:fillRect/>
            </a:stretch>
          </p:blipFill>
          <p:spPr>
            <a:xfrm>
              <a:off x="1408559" y="1593808"/>
              <a:ext cx="459514" cy="560559"/>
            </a:xfrm>
            <a:prstGeom prst="rect">
              <a:avLst/>
            </a:prstGeom>
            <a:grpFill/>
          </p:spPr>
        </p:pic>
        <p:pic>
          <p:nvPicPr>
            <p:cNvPr id="164" name="Picture 163"/>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165" name="Group 164"/>
          <p:cNvGrpSpPr/>
          <p:nvPr/>
        </p:nvGrpSpPr>
        <p:grpSpPr>
          <a:xfrm>
            <a:off x="4313238" y="2712251"/>
            <a:ext cx="477293" cy="647402"/>
            <a:chOff x="2707640" y="3871118"/>
            <a:chExt cx="529298" cy="639523"/>
          </a:xfrm>
          <a:solidFill>
            <a:schemeClr val="accent4">
              <a:lumMod val="40000"/>
              <a:lumOff val="60000"/>
            </a:schemeClr>
          </a:solidFill>
        </p:grpSpPr>
        <p:grpSp>
          <p:nvGrpSpPr>
            <p:cNvPr id="166" name="Group 165"/>
            <p:cNvGrpSpPr/>
            <p:nvPr/>
          </p:nvGrpSpPr>
          <p:grpSpPr>
            <a:xfrm>
              <a:off x="2707640" y="3871118"/>
              <a:ext cx="529298" cy="639523"/>
              <a:chOff x="1345497" y="1522604"/>
              <a:chExt cx="596149" cy="700081"/>
            </a:xfrm>
            <a:grpFill/>
          </p:grpSpPr>
          <p:pic>
            <p:nvPicPr>
              <p:cNvPr id="168" name="Picture 167"/>
              <p:cNvPicPr>
                <a:picLocks noChangeAspect="1"/>
              </p:cNvPicPr>
              <p:nvPr/>
            </p:nvPicPr>
            <p:blipFill>
              <a:blip r:embed="rId4"/>
              <a:stretch>
                <a:fillRect/>
              </a:stretch>
            </p:blipFill>
            <p:spPr>
              <a:xfrm>
                <a:off x="1345497" y="1522604"/>
                <a:ext cx="459514" cy="560559"/>
              </a:xfrm>
              <a:prstGeom prst="rect">
                <a:avLst/>
              </a:prstGeom>
              <a:grpFill/>
            </p:spPr>
          </p:pic>
          <p:pic>
            <p:nvPicPr>
              <p:cNvPr id="169" name="Picture 168"/>
              <p:cNvPicPr>
                <a:picLocks noChangeAspect="1"/>
              </p:cNvPicPr>
              <p:nvPr/>
            </p:nvPicPr>
            <p:blipFill>
              <a:blip r:embed="rId4"/>
              <a:stretch>
                <a:fillRect/>
              </a:stretch>
            </p:blipFill>
            <p:spPr>
              <a:xfrm>
                <a:off x="1408559" y="1593808"/>
                <a:ext cx="459514" cy="560559"/>
              </a:xfrm>
              <a:prstGeom prst="rect">
                <a:avLst/>
              </a:prstGeom>
              <a:grpFill/>
            </p:spPr>
          </p:pic>
          <p:pic>
            <p:nvPicPr>
              <p:cNvPr id="170" name="Picture 169"/>
              <p:cNvPicPr>
                <a:picLocks noChangeAspect="1"/>
              </p:cNvPicPr>
              <p:nvPr/>
            </p:nvPicPr>
            <p:blipFill>
              <a:blip r:embed="rId4"/>
              <a:stretch>
                <a:fillRect/>
              </a:stretch>
            </p:blipFill>
            <p:spPr>
              <a:xfrm>
                <a:off x="1482132" y="1662126"/>
                <a:ext cx="459514" cy="560559"/>
              </a:xfrm>
              <a:prstGeom prst="rect">
                <a:avLst/>
              </a:prstGeom>
              <a:grpFill/>
              <a:ln w="3175">
                <a:noFill/>
              </a:ln>
            </p:spPr>
          </p:pic>
        </p:grpSp>
        <p:pic>
          <p:nvPicPr>
            <p:cNvPr id="167" name="Picture 166"/>
            <p:cNvPicPr>
              <a:picLocks noChangeAspect="1"/>
            </p:cNvPicPr>
            <p:nvPr/>
          </p:nvPicPr>
          <p:blipFill>
            <a:blip r:embed="rId5"/>
            <a:stretch>
              <a:fillRect/>
            </a:stretch>
          </p:blipFill>
          <p:spPr>
            <a:xfrm>
              <a:off x="2888445" y="4116672"/>
              <a:ext cx="298935" cy="302442"/>
            </a:xfrm>
            <a:prstGeom prst="rect">
              <a:avLst/>
            </a:prstGeom>
            <a:grpFill/>
          </p:spPr>
        </p:pic>
      </p:grpSp>
      <p:grpSp>
        <p:nvGrpSpPr>
          <p:cNvPr id="171" name="Group 170"/>
          <p:cNvGrpSpPr/>
          <p:nvPr/>
        </p:nvGrpSpPr>
        <p:grpSpPr>
          <a:xfrm>
            <a:off x="1755145" y="2790220"/>
            <a:ext cx="566603" cy="569433"/>
            <a:chOff x="2624230" y="1291099"/>
            <a:chExt cx="529298" cy="639523"/>
          </a:xfrm>
          <a:solidFill>
            <a:srgbClr val="92D050"/>
          </a:solidFill>
        </p:grpSpPr>
        <p:grpSp>
          <p:nvGrpSpPr>
            <p:cNvPr id="172" name="Group 171"/>
            <p:cNvGrpSpPr/>
            <p:nvPr/>
          </p:nvGrpSpPr>
          <p:grpSpPr>
            <a:xfrm>
              <a:off x="2624230" y="1291099"/>
              <a:ext cx="529298" cy="639523"/>
              <a:chOff x="2624230" y="1291099"/>
              <a:chExt cx="529298" cy="639523"/>
            </a:xfrm>
            <a:grpFill/>
          </p:grpSpPr>
          <p:grpSp>
            <p:nvGrpSpPr>
              <p:cNvPr id="176" name="Group 175"/>
              <p:cNvGrpSpPr/>
              <p:nvPr/>
            </p:nvGrpSpPr>
            <p:grpSpPr>
              <a:xfrm>
                <a:off x="2624230" y="1291099"/>
                <a:ext cx="529298" cy="639523"/>
                <a:chOff x="1345497" y="1522604"/>
                <a:chExt cx="596149" cy="700081"/>
              </a:xfrm>
              <a:grpFill/>
            </p:grpSpPr>
            <p:pic>
              <p:nvPicPr>
                <p:cNvPr id="180" name="Picture 179"/>
                <p:cNvPicPr>
                  <a:picLocks noChangeAspect="1"/>
                </p:cNvPicPr>
                <p:nvPr/>
              </p:nvPicPr>
              <p:blipFill>
                <a:blip r:embed="rId4"/>
                <a:stretch>
                  <a:fillRect/>
                </a:stretch>
              </p:blipFill>
              <p:spPr>
                <a:xfrm>
                  <a:off x="1345497" y="1522604"/>
                  <a:ext cx="459514" cy="560559"/>
                </a:xfrm>
                <a:prstGeom prst="rect">
                  <a:avLst/>
                </a:prstGeom>
                <a:grpFill/>
              </p:spPr>
            </p:pic>
            <p:pic>
              <p:nvPicPr>
                <p:cNvPr id="181" name="Picture 180"/>
                <p:cNvPicPr>
                  <a:picLocks noChangeAspect="1"/>
                </p:cNvPicPr>
                <p:nvPr/>
              </p:nvPicPr>
              <p:blipFill>
                <a:blip r:embed="rId4"/>
                <a:stretch>
                  <a:fillRect/>
                </a:stretch>
              </p:blipFill>
              <p:spPr>
                <a:xfrm>
                  <a:off x="1408559" y="1593808"/>
                  <a:ext cx="459514" cy="560559"/>
                </a:xfrm>
                <a:prstGeom prst="rect">
                  <a:avLst/>
                </a:prstGeom>
                <a:grpFill/>
              </p:spPr>
            </p:pic>
            <p:pic>
              <p:nvPicPr>
                <p:cNvPr id="182" name="Picture 181"/>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177" name="Group 176"/>
              <p:cNvGrpSpPr/>
              <p:nvPr/>
            </p:nvGrpSpPr>
            <p:grpSpPr>
              <a:xfrm>
                <a:off x="2809635" y="1532333"/>
                <a:ext cx="275408" cy="347520"/>
                <a:chOff x="2809635" y="1532333"/>
                <a:chExt cx="275408" cy="347520"/>
              </a:xfrm>
              <a:grpFill/>
            </p:grpSpPr>
            <p:sp>
              <p:nvSpPr>
                <p:cNvPr id="178" name="Rectangle: Rounded Corners 232"/>
                <p:cNvSpPr/>
                <p:nvPr/>
              </p:nvSpPr>
              <p:spPr>
                <a:xfrm>
                  <a:off x="2809635" y="1532333"/>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sp>
              <p:nvSpPr>
                <p:cNvPr id="179" name="Rectangle: Rounded Corners 233"/>
                <p:cNvSpPr/>
                <p:nvPr/>
              </p:nvSpPr>
              <p:spPr>
                <a:xfrm>
                  <a:off x="2886954" y="1569660"/>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grpSp>
        </p:grpSp>
        <p:pic>
          <p:nvPicPr>
            <p:cNvPr id="173" name="Picture 172"/>
            <p:cNvPicPr>
              <a:picLocks noChangeAspect="1"/>
            </p:cNvPicPr>
            <p:nvPr/>
          </p:nvPicPr>
          <p:blipFill>
            <a:blip r:embed="rId6"/>
            <a:stretch>
              <a:fillRect/>
            </a:stretch>
          </p:blipFill>
          <p:spPr>
            <a:xfrm>
              <a:off x="2795295" y="1550332"/>
              <a:ext cx="309874" cy="136492"/>
            </a:xfrm>
            <a:prstGeom prst="rect">
              <a:avLst/>
            </a:prstGeom>
            <a:grpFill/>
          </p:spPr>
        </p:pic>
        <p:pic>
          <p:nvPicPr>
            <p:cNvPr id="174" name="Picture 173"/>
            <p:cNvPicPr>
              <a:picLocks noChangeAspect="1"/>
            </p:cNvPicPr>
            <p:nvPr/>
          </p:nvPicPr>
          <p:blipFill>
            <a:blip r:embed="rId6"/>
            <a:stretch>
              <a:fillRect/>
            </a:stretch>
          </p:blipFill>
          <p:spPr>
            <a:xfrm>
              <a:off x="2797939" y="1657523"/>
              <a:ext cx="309874" cy="136492"/>
            </a:xfrm>
            <a:prstGeom prst="rect">
              <a:avLst/>
            </a:prstGeom>
            <a:grpFill/>
          </p:spPr>
        </p:pic>
        <p:pic>
          <p:nvPicPr>
            <p:cNvPr id="175" name="Picture 174"/>
            <p:cNvPicPr>
              <a:picLocks noChangeAspect="1"/>
            </p:cNvPicPr>
            <p:nvPr/>
          </p:nvPicPr>
          <p:blipFill>
            <a:blip r:embed="rId6"/>
            <a:stretch>
              <a:fillRect/>
            </a:stretch>
          </p:blipFill>
          <p:spPr>
            <a:xfrm>
              <a:off x="2797939" y="1764714"/>
              <a:ext cx="309874" cy="136492"/>
            </a:xfrm>
            <a:prstGeom prst="rect">
              <a:avLst/>
            </a:prstGeom>
            <a:grpFill/>
          </p:spPr>
        </p:pic>
      </p:grpSp>
      <p:sp>
        <p:nvSpPr>
          <p:cNvPr id="7" name="Down Arrow 6"/>
          <p:cNvSpPr/>
          <p:nvPr/>
        </p:nvSpPr>
        <p:spPr>
          <a:xfrm rot="1800350">
            <a:off x="3996965" y="3712119"/>
            <a:ext cx="332023" cy="55588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sp>
        <p:nvSpPr>
          <p:cNvPr id="183" name="Down Arrow 182"/>
          <p:cNvSpPr/>
          <p:nvPr/>
        </p:nvSpPr>
        <p:spPr>
          <a:xfrm>
            <a:off x="3119883" y="3718677"/>
            <a:ext cx="393639" cy="522567"/>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sp>
        <p:nvSpPr>
          <p:cNvPr id="184" name="Down Arrow 183"/>
          <p:cNvSpPr/>
          <p:nvPr/>
        </p:nvSpPr>
        <p:spPr>
          <a:xfrm rot="19981856">
            <a:off x="2126895" y="3677281"/>
            <a:ext cx="404453" cy="52719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grpSp>
        <p:nvGrpSpPr>
          <p:cNvPr id="221" name="Group 220"/>
          <p:cNvGrpSpPr/>
          <p:nvPr/>
        </p:nvGrpSpPr>
        <p:grpSpPr>
          <a:xfrm>
            <a:off x="676958" y="5601823"/>
            <a:ext cx="785985" cy="685800"/>
            <a:chOff x="468086" y="2406098"/>
            <a:chExt cx="1110063" cy="1019598"/>
          </a:xfrm>
          <a:solidFill>
            <a:schemeClr val="accent1">
              <a:lumMod val="40000"/>
              <a:lumOff val="60000"/>
            </a:schemeClr>
          </a:solidFill>
        </p:grpSpPr>
        <p:sp>
          <p:nvSpPr>
            <p:cNvPr id="222" name="Oval 221"/>
            <p:cNvSpPr/>
            <p:nvPr/>
          </p:nvSpPr>
          <p:spPr>
            <a:xfrm>
              <a:off x="468086" y="2406098"/>
              <a:ext cx="1110063" cy="1019598"/>
            </a:xfrm>
            <a:prstGeom prst="ellipse">
              <a:avLst/>
            </a:prstGeom>
            <a:solidFill>
              <a:srgbClr val="00B0F0"/>
            </a:solidFill>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223" name="Rectangle 222"/>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24" name="Rectangle 223"/>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25" name="Rectangle 224"/>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26" name="Rectangle 225"/>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227" name="Curved Connector 226"/>
            <p:cNvCxnSpPr>
              <a:stCxn id="224" idx="3"/>
              <a:endCxn id="226"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228" name="Curved Connector 227"/>
            <p:cNvCxnSpPr>
              <a:endCxn id="223"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9" name="Curved Connector 228"/>
            <p:cNvCxnSpPr>
              <a:stCxn id="224" idx="3"/>
              <a:endCxn id="225"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230" name="Group 229"/>
          <p:cNvGrpSpPr/>
          <p:nvPr/>
        </p:nvGrpSpPr>
        <p:grpSpPr>
          <a:xfrm>
            <a:off x="1603570" y="5578202"/>
            <a:ext cx="785985" cy="685800"/>
            <a:chOff x="468086" y="2406098"/>
            <a:chExt cx="1110063" cy="1019598"/>
          </a:xfrm>
          <a:solidFill>
            <a:schemeClr val="accent1">
              <a:lumMod val="40000"/>
              <a:lumOff val="60000"/>
            </a:schemeClr>
          </a:solidFill>
        </p:grpSpPr>
        <p:sp>
          <p:nvSpPr>
            <p:cNvPr id="231" name="Oval 230"/>
            <p:cNvSpPr/>
            <p:nvPr/>
          </p:nvSpPr>
          <p:spPr>
            <a:xfrm>
              <a:off x="468086" y="2406098"/>
              <a:ext cx="1110063" cy="1019598"/>
            </a:xfrm>
            <a:prstGeom prst="ellipse">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232" name="Rectangle 231"/>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36" name="Rectangle 235"/>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37" name="Rectangle 236"/>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38" name="Rectangle 237"/>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240" name="Curved Connector 239"/>
            <p:cNvCxnSpPr>
              <a:stCxn id="236" idx="3"/>
              <a:endCxn id="238"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241" name="Curved Connector 240"/>
            <p:cNvCxnSpPr>
              <a:endCxn id="232"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2" name="Curved Connector 241"/>
            <p:cNvCxnSpPr>
              <a:stCxn id="236" idx="3"/>
              <a:endCxn id="237"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243" name="Group 242"/>
          <p:cNvGrpSpPr/>
          <p:nvPr/>
        </p:nvGrpSpPr>
        <p:grpSpPr>
          <a:xfrm>
            <a:off x="2520532" y="5569061"/>
            <a:ext cx="785985" cy="685800"/>
            <a:chOff x="468086" y="2406098"/>
            <a:chExt cx="1110063" cy="1019598"/>
          </a:xfrm>
          <a:solidFill>
            <a:schemeClr val="accent1">
              <a:lumMod val="40000"/>
              <a:lumOff val="60000"/>
            </a:schemeClr>
          </a:solidFill>
        </p:grpSpPr>
        <p:sp>
          <p:nvSpPr>
            <p:cNvPr id="244" name="Oval 243"/>
            <p:cNvSpPr/>
            <p:nvPr/>
          </p:nvSpPr>
          <p:spPr>
            <a:xfrm>
              <a:off x="468086" y="2406098"/>
              <a:ext cx="1110063" cy="1019598"/>
            </a:xfrm>
            <a:prstGeom prst="ellipse">
              <a:avLst/>
            </a:prstGeom>
            <a:solidFill>
              <a:schemeClr val="accent1">
                <a:lumMod val="40000"/>
                <a:lumOff val="60000"/>
              </a:schemeClr>
            </a:solidFill>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245" name="Rectangle 244"/>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46" name="Rectangle 245"/>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47" name="Rectangle 246"/>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48" name="Rectangle 247"/>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249" name="Curved Connector 248"/>
            <p:cNvCxnSpPr>
              <a:stCxn id="246" idx="3"/>
              <a:endCxn id="248"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250" name="Curved Connector 249"/>
            <p:cNvCxnSpPr>
              <a:endCxn id="245"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2" name="Curved Connector 251"/>
            <p:cNvCxnSpPr>
              <a:stCxn id="246" idx="3"/>
              <a:endCxn id="247"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255" name="Group 254"/>
          <p:cNvGrpSpPr/>
          <p:nvPr/>
        </p:nvGrpSpPr>
        <p:grpSpPr>
          <a:xfrm>
            <a:off x="3452056" y="5545658"/>
            <a:ext cx="785985" cy="685800"/>
            <a:chOff x="468086" y="2406098"/>
            <a:chExt cx="1110063" cy="1019598"/>
          </a:xfrm>
          <a:solidFill>
            <a:schemeClr val="accent1">
              <a:lumMod val="40000"/>
              <a:lumOff val="60000"/>
            </a:schemeClr>
          </a:solidFill>
        </p:grpSpPr>
        <p:sp>
          <p:nvSpPr>
            <p:cNvPr id="258" name="Oval 257"/>
            <p:cNvSpPr/>
            <p:nvPr/>
          </p:nvSpPr>
          <p:spPr>
            <a:xfrm>
              <a:off x="468086" y="2406098"/>
              <a:ext cx="1110063" cy="1019598"/>
            </a:xfrm>
            <a:prstGeom prst="ellipse">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259" name="Rectangle 258"/>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60" name="Rectangle 259"/>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65" name="Rectangle 264"/>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68" name="Rectangle 267"/>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269" name="Curved Connector 268"/>
            <p:cNvCxnSpPr>
              <a:stCxn id="260" idx="3"/>
              <a:endCxn id="268"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280" name="Curved Connector 279"/>
            <p:cNvCxnSpPr>
              <a:endCxn id="259"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1" name="Curved Connector 280"/>
            <p:cNvCxnSpPr>
              <a:stCxn id="260" idx="3"/>
              <a:endCxn id="265"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287" name="Group 286"/>
          <p:cNvGrpSpPr/>
          <p:nvPr/>
        </p:nvGrpSpPr>
        <p:grpSpPr>
          <a:xfrm>
            <a:off x="4383580" y="5536517"/>
            <a:ext cx="785985" cy="685800"/>
            <a:chOff x="468086" y="2406098"/>
            <a:chExt cx="1110063" cy="1019598"/>
          </a:xfrm>
          <a:solidFill>
            <a:schemeClr val="accent1">
              <a:lumMod val="40000"/>
              <a:lumOff val="60000"/>
            </a:schemeClr>
          </a:solidFill>
        </p:grpSpPr>
        <p:sp>
          <p:nvSpPr>
            <p:cNvPr id="288" name="Oval 287"/>
            <p:cNvSpPr/>
            <p:nvPr/>
          </p:nvSpPr>
          <p:spPr>
            <a:xfrm>
              <a:off x="468086" y="2406098"/>
              <a:ext cx="1110063" cy="1019598"/>
            </a:xfrm>
            <a:prstGeom prst="ellipse">
              <a:avLst/>
            </a:prstGeom>
            <a:solidFill>
              <a:schemeClr val="bg1">
                <a:lumMod val="85000"/>
              </a:schemeClr>
            </a:solidFill>
            <a:ln/>
          </p:spPr>
          <p:style>
            <a:lnRef idx="0">
              <a:schemeClr val="accent1"/>
            </a:lnRef>
            <a:fillRef idx="3">
              <a:schemeClr val="accent1"/>
            </a:fillRef>
            <a:effectRef idx="3">
              <a:schemeClr val="accent1"/>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289" name="Rectangle 288"/>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90" name="Rectangle 289"/>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91" name="Rectangle 290"/>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292" name="Rectangle 291"/>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293" name="Curved Connector 292"/>
            <p:cNvCxnSpPr>
              <a:stCxn id="290" idx="3"/>
              <a:endCxn id="292"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295" name="Curved Connector 294"/>
            <p:cNvCxnSpPr>
              <a:endCxn id="289"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8" name="Curved Connector 297"/>
            <p:cNvCxnSpPr>
              <a:stCxn id="290" idx="3"/>
              <a:endCxn id="291"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300" name="Group 299"/>
          <p:cNvGrpSpPr/>
          <p:nvPr/>
        </p:nvGrpSpPr>
        <p:grpSpPr>
          <a:xfrm>
            <a:off x="5315104" y="5536517"/>
            <a:ext cx="785985" cy="685800"/>
            <a:chOff x="468086" y="2406098"/>
            <a:chExt cx="1110063" cy="1019598"/>
          </a:xfrm>
          <a:solidFill>
            <a:schemeClr val="accent1">
              <a:lumMod val="40000"/>
              <a:lumOff val="60000"/>
            </a:schemeClr>
          </a:solidFill>
        </p:grpSpPr>
        <p:sp>
          <p:nvSpPr>
            <p:cNvPr id="301" name="Oval 300"/>
            <p:cNvSpPr/>
            <p:nvPr/>
          </p:nvSpPr>
          <p:spPr>
            <a:xfrm>
              <a:off x="468086" y="2406098"/>
              <a:ext cx="1110063" cy="1019598"/>
            </a:xfrm>
            <a:prstGeom prst="ellipse">
              <a:avLst/>
            </a:prstGeom>
            <a:solidFill>
              <a:schemeClr val="accent1">
                <a:lumMod val="75000"/>
              </a:schemeClr>
            </a:solidFill>
            <a:ln>
              <a:solidFill>
                <a:schemeClr val="bg1"/>
              </a:solidFill>
            </a:ln>
          </p:spPr>
          <p:style>
            <a:lnRef idx="1">
              <a:schemeClr val="dk1"/>
            </a:lnRef>
            <a:fillRef idx="2">
              <a:schemeClr val="dk1"/>
            </a:fillRef>
            <a:effectRef idx="1">
              <a:schemeClr val="dk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302" name="Rectangle 301"/>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303" name="Rectangle 302"/>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304" name="Rectangle 303"/>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305" name="Rectangle 304"/>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306" name="Curved Connector 305"/>
            <p:cNvCxnSpPr>
              <a:stCxn id="303" idx="3"/>
              <a:endCxn id="305"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307" name="Curved Connector 306"/>
            <p:cNvCxnSpPr>
              <a:endCxn id="302"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08" name="Curved Connector 307"/>
            <p:cNvCxnSpPr>
              <a:stCxn id="303" idx="3"/>
              <a:endCxn id="304"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sp>
        <p:nvSpPr>
          <p:cNvPr id="309" name="Right Brace 308"/>
          <p:cNvSpPr/>
          <p:nvPr/>
        </p:nvSpPr>
        <p:spPr>
          <a:xfrm rot="5400000">
            <a:off x="3579640" y="3299566"/>
            <a:ext cx="368223" cy="6194851"/>
          </a:xfrm>
          <a:prstGeom prst="rightBrace">
            <a:avLst/>
          </a:prstGeom>
          <a:noFill/>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310" name="TextBox 309"/>
          <p:cNvSpPr txBox="1"/>
          <p:nvPr/>
        </p:nvSpPr>
        <p:spPr>
          <a:xfrm>
            <a:off x="2429809" y="6536248"/>
            <a:ext cx="2646932" cy="369332"/>
          </a:xfrm>
          <a:prstGeom prst="rect">
            <a:avLst/>
          </a:prstGeom>
          <a:noFill/>
        </p:spPr>
        <p:txBody>
          <a:bodyPr wrap="square" rtlCol="0">
            <a:spAutoFit/>
          </a:bodyPr>
          <a:lstStyle/>
          <a:p>
            <a:pPr algn="ctr" defTabSz="457200" fontAlgn="base">
              <a:spcBef>
                <a:spcPct val="0"/>
              </a:spcBef>
              <a:spcAft>
                <a:spcPct val="0"/>
              </a:spcAft>
            </a:pPr>
            <a:r>
              <a:rPr lang="en-US"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source Partitions</a:t>
            </a:r>
          </a:p>
        </p:txBody>
      </p:sp>
      <p:sp>
        <p:nvSpPr>
          <p:cNvPr id="313" name="Down Arrow 312"/>
          <p:cNvSpPr/>
          <p:nvPr/>
        </p:nvSpPr>
        <p:spPr>
          <a:xfrm rot="21325308">
            <a:off x="3065578" y="2301595"/>
            <a:ext cx="385319" cy="372172"/>
          </a:xfrm>
          <a:prstGeom prst="downArrow">
            <a:avLst/>
          </a:prstGeom>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a:solidFill>
                <a:prstClr val="black"/>
              </a:solidFill>
              <a:latin typeface="Calibri" panose="020F0502020204030204"/>
              <a:sym typeface="Gill Sans" charset="0"/>
            </a:endParaRPr>
          </a:p>
        </p:txBody>
      </p:sp>
      <p:sp>
        <p:nvSpPr>
          <p:cNvPr id="314" name="Down Arrow 313"/>
          <p:cNvSpPr/>
          <p:nvPr/>
        </p:nvSpPr>
        <p:spPr>
          <a:xfrm rot="1335975">
            <a:off x="2031096" y="2188986"/>
            <a:ext cx="364063" cy="527196"/>
          </a:xfrm>
          <a:prstGeom prst="downArrow">
            <a:avLst/>
          </a:prstGeom>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a:solidFill>
                <a:prstClr val="black"/>
              </a:solidFill>
              <a:latin typeface="Calibri" panose="020F0502020204030204"/>
              <a:sym typeface="Gill Sans" charset="0"/>
            </a:endParaRPr>
          </a:p>
        </p:txBody>
      </p:sp>
      <p:sp>
        <p:nvSpPr>
          <p:cNvPr id="318" name="Down Arrow 317"/>
          <p:cNvSpPr/>
          <p:nvPr/>
        </p:nvSpPr>
        <p:spPr>
          <a:xfrm rot="19981856">
            <a:off x="4197959" y="2142213"/>
            <a:ext cx="315355" cy="527196"/>
          </a:xfrm>
          <a:prstGeom prst="downArrow">
            <a:avLst/>
          </a:prstGeom>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a:solidFill>
                <a:prstClr val="black"/>
              </a:solidFill>
              <a:latin typeface="Calibri" panose="020F0502020204030204"/>
              <a:sym typeface="Gill Sans" charset="0"/>
            </a:endParaRPr>
          </a:p>
        </p:txBody>
      </p:sp>
      <p:sp>
        <p:nvSpPr>
          <p:cNvPr id="319" name="Down Arrow 318"/>
          <p:cNvSpPr/>
          <p:nvPr/>
        </p:nvSpPr>
        <p:spPr>
          <a:xfrm>
            <a:off x="3119883" y="4977560"/>
            <a:ext cx="332174" cy="527196"/>
          </a:xfrm>
          <a:prstGeom prst="downArrow">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pPr>
            <a:endParaRPr lang="en-US" sz="5600">
              <a:solidFill>
                <a:prstClr val="black"/>
              </a:solidFill>
              <a:latin typeface="Calibri" panose="020F0502020204030204"/>
              <a:sym typeface="Gill Sans" charset="0"/>
            </a:endParaRPr>
          </a:p>
        </p:txBody>
      </p:sp>
      <p:sp>
        <p:nvSpPr>
          <p:cNvPr id="320" name="Down Arrow 319"/>
          <p:cNvSpPr/>
          <p:nvPr/>
        </p:nvSpPr>
        <p:spPr>
          <a:xfrm rot="1335975">
            <a:off x="2275231" y="4982687"/>
            <a:ext cx="277193" cy="527196"/>
          </a:xfrm>
          <a:prstGeom prst="downArrow">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pPr>
            <a:endParaRPr lang="en-US" sz="5600">
              <a:solidFill>
                <a:prstClr val="black"/>
              </a:solidFill>
              <a:latin typeface="Calibri" panose="020F0502020204030204"/>
              <a:sym typeface="Gill Sans" charset="0"/>
            </a:endParaRPr>
          </a:p>
        </p:txBody>
      </p:sp>
      <p:sp>
        <p:nvSpPr>
          <p:cNvPr id="321" name="Down Arrow 320"/>
          <p:cNvSpPr/>
          <p:nvPr/>
        </p:nvSpPr>
        <p:spPr>
          <a:xfrm rot="18946275">
            <a:off x="3904332" y="4957633"/>
            <a:ext cx="301995" cy="550829"/>
          </a:xfrm>
          <a:prstGeom prst="downArrow">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pPr>
            <a:endParaRPr lang="en-US" sz="5600">
              <a:solidFill>
                <a:prstClr val="black"/>
              </a:solidFill>
              <a:latin typeface="Calibri" panose="020F0502020204030204"/>
              <a:sym typeface="Gill Sans" charset="0"/>
            </a:endParaRPr>
          </a:p>
        </p:txBody>
      </p:sp>
      <p:sp>
        <p:nvSpPr>
          <p:cNvPr id="322" name="TextBox 321"/>
          <p:cNvSpPr txBox="1"/>
          <p:nvPr/>
        </p:nvSpPr>
        <p:spPr>
          <a:xfrm>
            <a:off x="6101089" y="5704662"/>
            <a:ext cx="706877" cy="507831"/>
          </a:xfrm>
          <a:prstGeom prst="rect">
            <a:avLst/>
          </a:prstGeom>
          <a:noFill/>
        </p:spPr>
        <p:txBody>
          <a:bodyPr wrap="square" rtlCol="0">
            <a:spAutoFit/>
          </a:bodyPr>
          <a:lstStyle/>
          <a:p>
            <a:pPr algn="ctr" defTabSz="457200" fontAlgn="base">
              <a:spcBef>
                <a:spcPct val="0"/>
              </a:spcBef>
              <a:spcAft>
                <a:spcPct val="0"/>
              </a:spcAft>
            </a:pPr>
            <a:r>
              <a:rPr lang="en-US" sz="2700" b="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t>
            </a:r>
          </a:p>
        </p:txBody>
      </p:sp>
      <p:grpSp>
        <p:nvGrpSpPr>
          <p:cNvPr id="2" name="Group 1"/>
          <p:cNvGrpSpPr/>
          <p:nvPr/>
        </p:nvGrpSpPr>
        <p:grpSpPr>
          <a:xfrm>
            <a:off x="6095512" y="2228053"/>
            <a:ext cx="5905988" cy="4440072"/>
            <a:chOff x="12191024" y="3998906"/>
            <a:chExt cx="11811976" cy="8880144"/>
          </a:xfrm>
        </p:grpSpPr>
        <p:grpSp>
          <p:nvGrpSpPr>
            <p:cNvPr id="323" name="Group 322"/>
            <p:cNvGrpSpPr/>
            <p:nvPr/>
          </p:nvGrpSpPr>
          <p:grpSpPr>
            <a:xfrm>
              <a:off x="13793511" y="3998906"/>
              <a:ext cx="10209489" cy="8880144"/>
              <a:chOff x="14170479" y="6188874"/>
              <a:chExt cx="10209489" cy="8880144"/>
            </a:xfrm>
          </p:grpSpPr>
          <p:sp>
            <p:nvSpPr>
              <p:cNvPr id="324" name="TextBox 323"/>
              <p:cNvSpPr txBox="1"/>
              <p:nvPr/>
            </p:nvSpPr>
            <p:spPr>
              <a:xfrm>
                <a:off x="14268939" y="10575481"/>
                <a:ext cx="10111029" cy="4493537"/>
              </a:xfrm>
              <a:prstGeom prst="rect">
                <a:avLst/>
              </a:prstGeom>
              <a:noFill/>
            </p:spPr>
            <p:txBody>
              <a:bodyPr wrap="square" rtlCol="0">
                <a:spAutoFit/>
              </a:bodyPr>
              <a:lstStyle/>
              <a:p>
                <a:pPr defTabSz="457200" fontAlgn="base">
                  <a:spcBef>
                    <a:spcPct val="0"/>
                  </a:spcBef>
                  <a:spcAft>
                    <a:spcPct val="0"/>
                  </a:spcAft>
                </a:pPr>
                <a:r>
                  <a:rPr lang="en-US" sz="2000" b="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source Partition</a:t>
                </a:r>
              </a:p>
              <a:p>
                <a:pPr marL="228600" indent="-228600" defTabSz="457200" fontAlgn="base">
                  <a:spcBef>
                    <a:spcPct val="0"/>
                  </a:spcBef>
                  <a:spcAft>
                    <a:spcPct val="0"/>
                  </a:spcAft>
                  <a:buFont typeface="Arial" panose="020B0604020202020204" pitchFamily="34" charset="0"/>
                  <a:buChar char="•"/>
                </a:pPr>
                <a:r>
                  <a:rPr lang="en-US" sz="20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 consistent, highly available, and resource governed coordination primitive</a:t>
                </a:r>
              </a:p>
              <a:p>
                <a:pPr marL="228600" indent="-228600" defTabSz="457200" fontAlgn="base">
                  <a:spcBef>
                    <a:spcPct val="0"/>
                  </a:spcBef>
                  <a:spcAft>
                    <a:spcPct val="0"/>
                  </a:spcAft>
                  <a:buFont typeface="Arial" panose="020B0604020202020204" pitchFamily="34" charset="0"/>
                  <a:buChar char="•"/>
                </a:pPr>
                <a:r>
                  <a:rPr lang="en-US" sz="20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Consists of a replica set with each replica hosting an instance of database engine</a:t>
                </a:r>
              </a:p>
              <a:p>
                <a:pPr marL="228600" indent="-228600" defTabSz="457200" fontAlgn="base">
                  <a:spcBef>
                    <a:spcPct val="0"/>
                  </a:spcBef>
                  <a:spcAft>
                    <a:spcPct val="0"/>
                  </a:spcAft>
                  <a:buFont typeface="Arial" panose="020B0604020202020204" pitchFamily="34" charset="0"/>
                  <a:buChar char="•"/>
                </a:pPr>
                <a:r>
                  <a:rPr lang="en-US" sz="20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Uniquely belongs to a tenant</a:t>
                </a:r>
              </a:p>
              <a:p>
                <a:pPr marL="228600" indent="-228600" defTabSz="457200" fontAlgn="base">
                  <a:spcBef>
                    <a:spcPct val="0"/>
                  </a:spcBef>
                  <a:spcAft>
                    <a:spcPct val="0"/>
                  </a:spcAft>
                  <a:buFont typeface="Arial" panose="020B0604020202020204" pitchFamily="34" charset="0"/>
                  <a:buChar char="•"/>
                </a:pPr>
                <a:r>
                  <a:rPr lang="en-US" sz="20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Owns a set of keys</a:t>
                </a:r>
              </a:p>
            </p:txBody>
          </p:sp>
          <p:grpSp>
            <p:nvGrpSpPr>
              <p:cNvPr id="325" name="Group 324"/>
              <p:cNvGrpSpPr/>
              <p:nvPr/>
            </p:nvGrpSpPr>
            <p:grpSpPr>
              <a:xfrm>
                <a:off x="14170479" y="6188874"/>
                <a:ext cx="9782602" cy="4360635"/>
                <a:chOff x="14170479" y="6188874"/>
                <a:chExt cx="9782602" cy="4360635"/>
              </a:xfrm>
            </p:grpSpPr>
            <p:grpSp>
              <p:nvGrpSpPr>
                <p:cNvPr id="326" name="Group 325"/>
                <p:cNvGrpSpPr/>
                <p:nvPr/>
              </p:nvGrpSpPr>
              <p:grpSpPr>
                <a:xfrm>
                  <a:off x="14170479" y="6188874"/>
                  <a:ext cx="4724402" cy="3944583"/>
                  <a:chOff x="376818" y="2357006"/>
                  <a:chExt cx="1414653" cy="1211378"/>
                </a:xfrm>
                <a:solidFill>
                  <a:schemeClr val="accent1">
                    <a:lumMod val="40000"/>
                    <a:lumOff val="60000"/>
                  </a:schemeClr>
                </a:solidFill>
              </p:grpSpPr>
              <p:sp>
                <p:nvSpPr>
                  <p:cNvPr id="335" name="Oval 334"/>
                  <p:cNvSpPr/>
                  <p:nvPr/>
                </p:nvSpPr>
                <p:spPr>
                  <a:xfrm>
                    <a:off x="376818" y="2357006"/>
                    <a:ext cx="1414653" cy="1211378"/>
                  </a:xfrm>
                  <a:prstGeom prst="ellipse">
                    <a:avLst/>
                  </a:prstGeom>
                  <a:solidFill>
                    <a:schemeClr val="accent1">
                      <a:lumMod val="75000"/>
                    </a:schemeClr>
                  </a:solidFill>
                  <a:ln>
                    <a:solidFill>
                      <a:schemeClr val="bg1"/>
                    </a:solidFill>
                  </a:ln>
                </p:spPr>
                <p:style>
                  <a:lnRef idx="0">
                    <a:schemeClr val="accent5"/>
                  </a:lnRef>
                  <a:fillRef idx="3">
                    <a:schemeClr val="accent5"/>
                  </a:fillRef>
                  <a:effectRef idx="3">
                    <a:schemeClr val="accent5"/>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336" name="Rectangle 335"/>
                  <p:cNvSpPr/>
                  <p:nvPr/>
                </p:nvSpPr>
                <p:spPr>
                  <a:xfrm>
                    <a:off x="976500" y="2505458"/>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337" name="Rectangle 336"/>
                  <p:cNvSpPr/>
                  <p:nvPr/>
                </p:nvSpPr>
                <p:spPr>
                  <a:xfrm>
                    <a:off x="612238" y="2731975"/>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338" name="Rectangle 337"/>
                  <p:cNvSpPr/>
                  <p:nvPr/>
                </p:nvSpPr>
                <p:spPr>
                  <a:xfrm>
                    <a:off x="976541" y="2787503"/>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339" name="Rectangle 338"/>
                  <p:cNvSpPr/>
                  <p:nvPr/>
                </p:nvSpPr>
                <p:spPr>
                  <a:xfrm>
                    <a:off x="976500" y="3077658"/>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340" name="Curved Connector 339"/>
                  <p:cNvCxnSpPr>
                    <a:stCxn id="337" idx="3"/>
                    <a:endCxn id="339" idx="1"/>
                  </p:cNvCxnSpPr>
                  <p:nvPr/>
                </p:nvCxnSpPr>
                <p:spPr>
                  <a:xfrm>
                    <a:off x="723964" y="2845174"/>
                    <a:ext cx="252536" cy="345683"/>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341" name="Curved Connector 340"/>
                  <p:cNvCxnSpPr>
                    <a:stCxn id="337" idx="3"/>
                    <a:endCxn id="336" idx="1"/>
                  </p:cNvCxnSpPr>
                  <p:nvPr/>
                </p:nvCxnSpPr>
                <p:spPr>
                  <a:xfrm flipV="1">
                    <a:off x="723964" y="2618657"/>
                    <a:ext cx="252536" cy="226517"/>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42" name="Curved Connector 341"/>
                  <p:cNvCxnSpPr>
                    <a:stCxn id="337" idx="3"/>
                    <a:endCxn id="338" idx="1"/>
                  </p:cNvCxnSpPr>
                  <p:nvPr/>
                </p:nvCxnSpPr>
                <p:spPr>
                  <a:xfrm>
                    <a:off x="723964" y="2845174"/>
                    <a:ext cx="252577" cy="55528"/>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sp>
              <p:nvSpPr>
                <p:cNvPr id="327" name="TextBox 326"/>
                <p:cNvSpPr txBox="1"/>
                <p:nvPr/>
              </p:nvSpPr>
              <p:spPr>
                <a:xfrm>
                  <a:off x="14385287" y="8133894"/>
                  <a:ext cx="1881978" cy="677108"/>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Leader</a:t>
                  </a:r>
                </a:p>
              </p:txBody>
            </p:sp>
            <p:sp>
              <p:nvSpPr>
                <p:cNvPr id="328" name="TextBox 327"/>
                <p:cNvSpPr txBox="1"/>
                <p:nvPr/>
              </p:nvSpPr>
              <p:spPr>
                <a:xfrm>
                  <a:off x="16589539" y="6723488"/>
                  <a:ext cx="1839970" cy="677108"/>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Follower</a:t>
                  </a:r>
                </a:p>
              </p:txBody>
            </p:sp>
            <p:sp>
              <p:nvSpPr>
                <p:cNvPr id="329" name="TextBox 328"/>
                <p:cNvSpPr txBox="1"/>
                <p:nvPr/>
              </p:nvSpPr>
              <p:spPr>
                <a:xfrm>
                  <a:off x="16613545" y="7503706"/>
                  <a:ext cx="1839970" cy="677108"/>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Follower</a:t>
                  </a:r>
                </a:p>
              </p:txBody>
            </p:sp>
            <p:sp>
              <p:nvSpPr>
                <p:cNvPr id="330" name="TextBox 329"/>
                <p:cNvSpPr txBox="1"/>
                <p:nvPr/>
              </p:nvSpPr>
              <p:spPr>
                <a:xfrm>
                  <a:off x="16589539" y="8362305"/>
                  <a:ext cx="2202412" cy="677108"/>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Forwarder</a:t>
                  </a:r>
                </a:p>
              </p:txBody>
            </p:sp>
            <p:sp>
              <p:nvSpPr>
                <p:cNvPr id="331" name="TextBox 330"/>
                <p:cNvSpPr txBox="1"/>
                <p:nvPr/>
              </p:nvSpPr>
              <p:spPr>
                <a:xfrm>
                  <a:off x="15261041" y="9366803"/>
                  <a:ext cx="2195108" cy="677108"/>
                </a:xfrm>
                <a:prstGeom prst="rect">
                  <a:avLst/>
                </a:prstGeom>
                <a:noFill/>
              </p:spPr>
              <p:txBody>
                <a:bodyPr wrap="square" rtlCol="0">
                  <a:spAutoFit/>
                </a:bodyPr>
                <a:lstStyle/>
                <a:p>
                  <a:pPr algn="ct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plica set</a:t>
                  </a:r>
                </a:p>
              </p:txBody>
            </p:sp>
            <p:sp>
              <p:nvSpPr>
                <p:cNvPr id="332" name="Right Brace 331"/>
                <p:cNvSpPr/>
                <p:nvPr/>
              </p:nvSpPr>
              <p:spPr>
                <a:xfrm rot="5400000">
                  <a:off x="16011031" y="8035038"/>
                  <a:ext cx="720890" cy="2638536"/>
                </a:xfrm>
                <a:prstGeom prst="rightBrac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457200" fontAlgn="base">
                    <a:spcBef>
                      <a:spcPct val="0"/>
                    </a:spcBef>
                    <a:spcAft>
                      <a:spcPct val="0"/>
                    </a:spcAft>
                  </a:pPr>
                  <a:endParaRPr lang="en-US" sz="5600">
                    <a:solidFill>
                      <a:prstClr val="black"/>
                    </a:solidFill>
                    <a:latin typeface="Calibri" panose="020F0502020204030204"/>
                    <a:sym typeface="Gill Sans" charset="0"/>
                  </a:endParaRPr>
                </a:p>
              </p:txBody>
            </p:sp>
            <p:cxnSp>
              <p:nvCxnSpPr>
                <p:cNvPr id="333" name="Curved Connector 332"/>
                <p:cNvCxnSpPr/>
                <p:nvPr/>
              </p:nvCxnSpPr>
              <p:spPr>
                <a:xfrm>
                  <a:off x="16517124" y="9036818"/>
                  <a:ext cx="3732888" cy="921223"/>
                </a:xfrm>
                <a:prstGeom prst="curvedConnector3">
                  <a:avLst>
                    <a:gd name="adj1" fmla="val 50000"/>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34" name="TextBox 333"/>
                <p:cNvSpPr txBox="1"/>
                <p:nvPr/>
              </p:nvSpPr>
              <p:spPr>
                <a:xfrm>
                  <a:off x="20150965" y="9379959"/>
                  <a:ext cx="3802116" cy="1169550"/>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To a remote resource partition(s)</a:t>
                  </a:r>
                </a:p>
              </p:txBody>
            </p:sp>
          </p:grpSp>
        </p:grpSp>
        <p:cxnSp>
          <p:nvCxnSpPr>
            <p:cNvPr id="9" name="Straight Arrow Connector 8"/>
            <p:cNvCxnSpPr/>
            <p:nvPr/>
          </p:nvCxnSpPr>
          <p:spPr>
            <a:xfrm flipV="1">
              <a:off x="12191024" y="7374577"/>
              <a:ext cx="2013862" cy="2912555"/>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grpSp>
      <p:sp>
        <p:nvSpPr>
          <p:cNvPr id="343" name="TextBox 342"/>
          <p:cNvSpPr txBox="1"/>
          <p:nvPr/>
        </p:nvSpPr>
        <p:spPr>
          <a:xfrm>
            <a:off x="2570409" y="1931122"/>
            <a:ext cx="1315291" cy="369332"/>
          </a:xfrm>
          <a:prstGeom prst="rect">
            <a:avLst/>
          </a:prstGeom>
          <a:noFill/>
          <a:ln>
            <a:noFill/>
          </a:ln>
        </p:spPr>
        <p:txBody>
          <a:bodyPr wrap="square" rtlCol="0">
            <a:spAutoFit/>
          </a:bodyPr>
          <a:lstStyle/>
          <a:p>
            <a:pPr algn="ctr" defTabSz="457200" fontAlgn="base">
              <a:spcBef>
                <a:spcPct val="0"/>
              </a:spcBef>
              <a:spcAft>
                <a:spcPct val="0"/>
              </a:spcAft>
            </a:pPr>
            <a:r>
              <a:rPr lang="en-US"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Tenants</a:t>
            </a:r>
          </a:p>
        </p:txBody>
      </p:sp>
      <p:grpSp>
        <p:nvGrpSpPr>
          <p:cNvPr id="137" name="Group 136"/>
          <p:cNvGrpSpPr/>
          <p:nvPr/>
        </p:nvGrpSpPr>
        <p:grpSpPr>
          <a:xfrm>
            <a:off x="2174291" y="1046444"/>
            <a:ext cx="2189436" cy="911744"/>
            <a:chOff x="8662987" y="4396646"/>
            <a:chExt cx="2370335" cy="994781"/>
          </a:xfrm>
        </p:grpSpPr>
        <p:sp>
          <p:nvSpPr>
            <p:cNvPr id="138" name="Freeform 137"/>
            <p:cNvSpPr>
              <a:spLocks/>
            </p:cNvSpPr>
            <p:nvPr/>
          </p:nvSpPr>
          <p:spPr bwMode="auto">
            <a:xfrm>
              <a:off x="9587308"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prstClr val="black"/>
                </a:solidFill>
                <a:latin typeface="Calibri" panose="020F0502020204030204"/>
                <a:sym typeface="Gill Sans" charset="0"/>
              </a:endParaRPr>
            </a:p>
          </p:txBody>
        </p:sp>
        <p:sp>
          <p:nvSpPr>
            <p:cNvPr id="187" name="Freeform 186"/>
            <p:cNvSpPr>
              <a:spLocks/>
            </p:cNvSpPr>
            <p:nvPr/>
          </p:nvSpPr>
          <p:spPr bwMode="auto">
            <a:xfrm>
              <a:off x="9115587"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prstClr val="black"/>
                </a:solidFill>
                <a:latin typeface="Calibri" panose="020F0502020204030204"/>
                <a:sym typeface="Gill Sans" charset="0"/>
              </a:endParaRPr>
            </a:p>
          </p:txBody>
        </p:sp>
        <p:sp>
          <p:nvSpPr>
            <p:cNvPr id="188" name="Freeform 187"/>
            <p:cNvSpPr>
              <a:spLocks/>
            </p:cNvSpPr>
            <p:nvPr/>
          </p:nvSpPr>
          <p:spPr bwMode="auto">
            <a:xfrm>
              <a:off x="10075934"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dirty="0">
                <a:solidFill>
                  <a:prstClr val="black"/>
                </a:solidFill>
                <a:latin typeface="Calibri" panose="020F0502020204030204"/>
                <a:sym typeface="Gill Sans" charset="0"/>
              </a:endParaRPr>
            </a:p>
          </p:txBody>
        </p:sp>
        <p:sp>
          <p:nvSpPr>
            <p:cNvPr id="189" name="Freeform 188"/>
            <p:cNvSpPr>
              <a:spLocks/>
            </p:cNvSpPr>
            <p:nvPr/>
          </p:nvSpPr>
          <p:spPr bwMode="auto">
            <a:xfrm>
              <a:off x="9359162"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8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prstClr val="black"/>
                </a:solidFill>
                <a:latin typeface="Calibri" panose="020F0502020204030204"/>
                <a:sym typeface="Gill Sans" charset="0"/>
              </a:endParaRPr>
            </a:p>
          </p:txBody>
        </p:sp>
        <p:sp>
          <p:nvSpPr>
            <p:cNvPr id="190" name="Freeform 189"/>
            <p:cNvSpPr>
              <a:spLocks/>
            </p:cNvSpPr>
            <p:nvPr/>
          </p:nvSpPr>
          <p:spPr bwMode="auto">
            <a:xfrm>
              <a:off x="9888078"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8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prstClr val="black"/>
                </a:solidFill>
                <a:latin typeface="Calibri" panose="020F0502020204030204"/>
                <a:sym typeface="Gill Sans" charset="0"/>
              </a:endParaRPr>
            </a:p>
          </p:txBody>
        </p:sp>
        <p:grpSp>
          <p:nvGrpSpPr>
            <p:cNvPr id="191" name="Group 190"/>
            <p:cNvGrpSpPr/>
            <p:nvPr/>
          </p:nvGrpSpPr>
          <p:grpSpPr>
            <a:xfrm>
              <a:off x="9646658" y="4819932"/>
              <a:ext cx="326294" cy="521835"/>
              <a:chOff x="9870594" y="4096783"/>
              <a:chExt cx="987037" cy="1578550"/>
            </a:xfrm>
          </p:grpSpPr>
          <p:sp>
            <p:nvSpPr>
              <p:cNvPr id="196" name="Rectangle: Rounded Corners 10"/>
              <p:cNvSpPr/>
              <p:nvPr/>
            </p:nvSpPr>
            <p:spPr>
              <a:xfrm>
                <a:off x="9870594" y="4096783"/>
                <a:ext cx="987037" cy="1578550"/>
              </a:xfrm>
              <a:prstGeom prst="roundRect">
                <a:avLst>
                  <a:gd name="adj" fmla="val 7576"/>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dirty="0">
                  <a:solidFill>
                    <a:prstClr val="white"/>
                  </a:solidFill>
                  <a:latin typeface="Calibri" panose="020F0502020204030204"/>
                  <a:sym typeface="Gill Sans" charset="0"/>
                </a:endParaRPr>
              </a:p>
            </p:txBody>
          </p:sp>
          <p:grpSp>
            <p:nvGrpSpPr>
              <p:cNvPr id="197" name="Group 196"/>
              <p:cNvGrpSpPr/>
              <p:nvPr/>
            </p:nvGrpSpPr>
            <p:grpSpPr>
              <a:xfrm>
                <a:off x="10040340" y="4272898"/>
                <a:ext cx="647543" cy="188007"/>
                <a:chOff x="10040340" y="4272898"/>
                <a:chExt cx="647543" cy="188007"/>
              </a:xfrm>
            </p:grpSpPr>
            <p:sp>
              <p:nvSpPr>
                <p:cNvPr id="204" name="Rectangle: Rounded Corners 18"/>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a:solidFill>
                      <a:prstClr val="white"/>
                    </a:solidFill>
                    <a:latin typeface="Calibri" panose="020F0502020204030204"/>
                    <a:sym typeface="Gill Sans" charset="0"/>
                  </a:endParaRPr>
                </a:p>
              </p:txBody>
            </p:sp>
            <p:sp>
              <p:nvSpPr>
                <p:cNvPr id="205" name="Oval 204"/>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a:solidFill>
                      <a:prstClr val="white"/>
                    </a:solidFill>
                    <a:latin typeface="Calibri" panose="020F0502020204030204"/>
                    <a:sym typeface="Gill Sans" charset="0"/>
                  </a:endParaRPr>
                </a:p>
              </p:txBody>
            </p:sp>
          </p:grpSp>
          <p:grpSp>
            <p:nvGrpSpPr>
              <p:cNvPr id="198" name="Group 197"/>
              <p:cNvGrpSpPr/>
              <p:nvPr/>
            </p:nvGrpSpPr>
            <p:grpSpPr>
              <a:xfrm>
                <a:off x="10040340" y="4533545"/>
                <a:ext cx="647543" cy="188007"/>
                <a:chOff x="10040340" y="4272898"/>
                <a:chExt cx="647543" cy="188007"/>
              </a:xfrm>
            </p:grpSpPr>
            <p:sp>
              <p:nvSpPr>
                <p:cNvPr id="202" name="Rectangle: Rounded Corners 16"/>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a:solidFill>
                      <a:prstClr val="white"/>
                    </a:solidFill>
                    <a:latin typeface="Calibri" panose="020F0502020204030204"/>
                    <a:sym typeface="Gill Sans" charset="0"/>
                  </a:endParaRPr>
                </a:p>
              </p:txBody>
            </p:sp>
            <p:sp>
              <p:nvSpPr>
                <p:cNvPr id="203" name="Oval 202"/>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a:solidFill>
                      <a:prstClr val="white"/>
                    </a:solidFill>
                    <a:latin typeface="Calibri" panose="020F0502020204030204"/>
                    <a:sym typeface="Gill Sans" charset="0"/>
                  </a:endParaRPr>
                </a:p>
              </p:txBody>
            </p:sp>
          </p:grpSp>
          <p:grpSp>
            <p:nvGrpSpPr>
              <p:cNvPr id="199" name="Group 198"/>
              <p:cNvGrpSpPr/>
              <p:nvPr/>
            </p:nvGrpSpPr>
            <p:grpSpPr>
              <a:xfrm>
                <a:off x="10040340" y="4786108"/>
                <a:ext cx="647543" cy="188007"/>
                <a:chOff x="10040340" y="4272898"/>
                <a:chExt cx="647543" cy="188007"/>
              </a:xfrm>
            </p:grpSpPr>
            <p:sp>
              <p:nvSpPr>
                <p:cNvPr id="200" name="Rectangle: Rounded Corners 14"/>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a:solidFill>
                      <a:prstClr val="white"/>
                    </a:solidFill>
                    <a:latin typeface="Calibri" panose="020F0502020204030204"/>
                    <a:sym typeface="Gill Sans" charset="0"/>
                  </a:endParaRPr>
                </a:p>
              </p:txBody>
            </p:sp>
            <p:sp>
              <p:nvSpPr>
                <p:cNvPr id="201" name="Oval 200"/>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a:solidFill>
                      <a:prstClr val="white"/>
                    </a:solidFill>
                    <a:latin typeface="Calibri" panose="020F0502020204030204"/>
                    <a:sym typeface="Gill Sans" charset="0"/>
                  </a:endParaRPr>
                </a:p>
              </p:txBody>
            </p:sp>
          </p:grpSp>
        </p:grpSp>
        <p:sp>
          <p:nvSpPr>
            <p:cNvPr id="192" name="Freeform 191"/>
            <p:cNvSpPr>
              <a:spLocks/>
            </p:cNvSpPr>
            <p:nvPr/>
          </p:nvSpPr>
          <p:spPr bwMode="auto">
            <a:xfrm>
              <a:off x="8662987"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prstClr val="black"/>
                </a:solidFill>
                <a:latin typeface="Calibri" panose="020F0502020204030204"/>
                <a:sym typeface="Gill Sans" charset="0"/>
              </a:endParaRPr>
            </a:p>
          </p:txBody>
        </p:sp>
        <p:sp>
          <p:nvSpPr>
            <p:cNvPr id="193" name="Freeform 192"/>
            <p:cNvSpPr>
              <a:spLocks/>
            </p:cNvSpPr>
            <p:nvPr/>
          </p:nvSpPr>
          <p:spPr bwMode="auto">
            <a:xfrm>
              <a:off x="8864723"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8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prstClr val="black"/>
                </a:solidFill>
                <a:latin typeface="Calibri" panose="020F0502020204030204"/>
                <a:sym typeface="Gill Sans" charset="0"/>
              </a:endParaRPr>
            </a:p>
          </p:txBody>
        </p:sp>
        <p:sp>
          <p:nvSpPr>
            <p:cNvPr id="194" name="Freeform 193"/>
            <p:cNvSpPr>
              <a:spLocks/>
            </p:cNvSpPr>
            <p:nvPr/>
          </p:nvSpPr>
          <p:spPr bwMode="auto">
            <a:xfrm>
              <a:off x="10657610"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dirty="0">
                <a:solidFill>
                  <a:prstClr val="black"/>
                </a:solidFill>
                <a:latin typeface="Calibri" panose="020F0502020204030204"/>
                <a:sym typeface="Gill Sans" charset="0"/>
              </a:endParaRPr>
            </a:p>
          </p:txBody>
        </p:sp>
        <p:sp>
          <p:nvSpPr>
            <p:cNvPr id="195" name="Freeform 194"/>
            <p:cNvSpPr>
              <a:spLocks/>
            </p:cNvSpPr>
            <p:nvPr/>
          </p:nvSpPr>
          <p:spPr bwMode="auto">
            <a:xfrm>
              <a:off x="10366535"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8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prstClr val="black"/>
                </a:solidFill>
                <a:latin typeface="Calibri" panose="020F0502020204030204"/>
                <a:sym typeface="Gill Sans" charset="0"/>
              </a:endParaRPr>
            </a:p>
          </p:txBody>
        </p:sp>
      </p:grpSp>
      <p:pic>
        <p:nvPicPr>
          <p:cNvPr id="3" name="Picture 2"/>
          <p:cNvPicPr>
            <a:picLocks noChangeAspect="1"/>
          </p:cNvPicPr>
          <p:nvPr/>
        </p:nvPicPr>
        <p:blipFill>
          <a:blip r:embed="rId7"/>
          <a:stretch>
            <a:fillRect/>
          </a:stretch>
        </p:blipFill>
        <p:spPr>
          <a:xfrm>
            <a:off x="9071822" y="657702"/>
            <a:ext cx="2971879" cy="2656746"/>
          </a:xfrm>
          <a:prstGeom prst="rect">
            <a:avLst/>
          </a:prstGeom>
        </p:spPr>
      </p:pic>
      <p:cxnSp>
        <p:nvCxnSpPr>
          <p:cNvPr id="143" name="Curved Connector 142"/>
          <p:cNvCxnSpPr/>
          <p:nvPr/>
        </p:nvCxnSpPr>
        <p:spPr>
          <a:xfrm rot="5400000" flipH="1" flipV="1">
            <a:off x="7972330" y="1244026"/>
            <a:ext cx="1443596" cy="1221850"/>
          </a:xfrm>
          <a:prstGeom prst="curvedConnector3">
            <a:avLst>
              <a:gd name="adj1" fmla="val 50000"/>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4017063525"/>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CB97F0-7442-41BA-A92F-B4E8F0BD4FA2}"/>
              </a:ext>
            </a:extLst>
          </p:cNvPr>
          <p:cNvSpPr>
            <a:spLocks noGrp="1"/>
          </p:cNvSpPr>
          <p:nvPr>
            <p:ph type="title"/>
          </p:nvPr>
        </p:nvSpPr>
        <p:spPr>
          <a:xfrm>
            <a:off x="838200" y="593726"/>
            <a:ext cx="10515600" cy="793892"/>
          </a:xfrm>
        </p:spPr>
        <p:txBody>
          <a:bodyPr/>
          <a:lstStyle/>
          <a:p>
            <a:r>
              <a:rPr lang="en-US" b="1" dirty="0"/>
              <a:t>Free options on Cosmos DB </a:t>
            </a:r>
            <a:endParaRPr lang="en-US" dirty="0"/>
          </a:p>
        </p:txBody>
      </p:sp>
      <p:sp>
        <p:nvSpPr>
          <p:cNvPr id="3" name="Content Placeholder 2">
            <a:extLst>
              <a:ext uri="{FF2B5EF4-FFF2-40B4-BE49-F238E27FC236}">
                <a16:creationId xmlns:a16="http://schemas.microsoft.com/office/drawing/2014/main" id="{06B091A4-AE90-473E-9810-512CE054B7A5}"/>
              </a:ext>
            </a:extLst>
          </p:cNvPr>
          <p:cNvSpPr>
            <a:spLocks noGrp="1"/>
          </p:cNvSpPr>
          <p:nvPr>
            <p:ph idx="1"/>
          </p:nvPr>
        </p:nvSpPr>
        <p:spPr>
          <a:xfrm>
            <a:off x="611542" y="1847729"/>
            <a:ext cx="10742259" cy="4557834"/>
          </a:xfrm>
        </p:spPr>
        <p:txBody>
          <a:bodyPr>
            <a:normAutofit/>
          </a:bodyPr>
          <a:lstStyle/>
          <a:p>
            <a:r>
              <a:rPr lang="en-US" dirty="0"/>
              <a:t>One of the most common asks from developers is the ability to play with the service for free. We offer numerous options for that:</a:t>
            </a:r>
          </a:p>
          <a:p>
            <a:endParaRPr lang="en-US" dirty="0"/>
          </a:p>
          <a:p>
            <a:pPr lvl="0"/>
            <a:r>
              <a:rPr lang="en-US" b="1" i="1" u="sng" dirty="0">
                <a:solidFill>
                  <a:schemeClr val="accent1"/>
                </a:solidFill>
              </a:rPr>
              <a:t>We provide a free tier (Cosmos DB is a part of free account)</a:t>
            </a:r>
            <a:r>
              <a:rPr lang="en-US" i="1" dirty="0">
                <a:solidFill>
                  <a:schemeClr val="accent1"/>
                </a:solidFill>
              </a:rPr>
              <a:t>:</a:t>
            </a:r>
          </a:p>
          <a:p>
            <a:pPr lvl="0"/>
            <a:endParaRPr lang="en-US" dirty="0"/>
          </a:p>
          <a:p>
            <a:pPr lvl="0"/>
            <a:r>
              <a:rPr lang="en-US" b="1" i="1" u="sng" dirty="0">
                <a:solidFill>
                  <a:schemeClr val="accent1"/>
                </a:solidFill>
              </a:rPr>
              <a:t>We provide Try Cosmos DB for free experience</a:t>
            </a:r>
            <a:endParaRPr lang="en-US" i="1" dirty="0">
              <a:solidFill>
                <a:schemeClr val="accent1"/>
              </a:solidFill>
            </a:endParaRPr>
          </a:p>
          <a:p>
            <a:pPr lvl="0"/>
            <a:endParaRPr lang="en-US" dirty="0"/>
          </a:p>
          <a:p>
            <a:pPr lvl="0"/>
            <a:r>
              <a:rPr lang="en-US" b="1" i="1" u="sng" dirty="0">
                <a:solidFill>
                  <a:schemeClr val="accent1"/>
                </a:solidFill>
              </a:rPr>
              <a:t>We offer Cosmos DB local version (Cosmos DB emulator)</a:t>
            </a:r>
            <a:endParaRPr lang="en-US" dirty="0"/>
          </a:p>
        </p:txBody>
      </p:sp>
    </p:spTree>
    <p:extLst>
      <p:ext uri="{BB962C8B-B14F-4D97-AF65-F5344CB8AC3E}">
        <p14:creationId xmlns:p14="http://schemas.microsoft.com/office/powerpoint/2010/main" val="24923873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subTnLst>
                                    <p:animClr clrSpc="rgb" dir="cw">
                                      <p:cBhvr override="childStyle">
                                        <p:cTn dur="1" fill="hold" display="0" masterRel="nextClick" afterEffect="1"/>
                                        <p:tgtEl>
                                          <p:spTgt spid="3">
                                            <p:txEl>
                                              <p:pRg st="0" end="0"/>
                                            </p:txEl>
                                          </p:spTgt>
                                        </p:tgtEl>
                                        <p:attrNameLst>
                                          <p:attrName>ppt_c</p:attrName>
                                        </p:attrNameLst>
                                      </p:cBhvr>
                                      <p:to>
                                        <a:schemeClr val="tx2"/>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subTnLst>
                                    <p:animClr clrSpc="rgb" dir="cw">
                                      <p:cBhvr override="childStyle">
                                        <p:cTn dur="1" fill="hold" display="0" masterRel="nextClick" afterEffect="1"/>
                                        <p:tgtEl>
                                          <p:spTgt spid="3">
                                            <p:txEl>
                                              <p:pRg st="2" end="2"/>
                                            </p:txEl>
                                          </p:spTgt>
                                        </p:tgtEl>
                                        <p:attrNameLst>
                                          <p:attrName>ppt_c</p:attrName>
                                        </p:attrNameLst>
                                      </p:cBhvr>
                                      <p:to>
                                        <a:schemeClr val="tx2"/>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fade">
                                      <p:cBhvr>
                                        <p:cTn id="17" dur="500"/>
                                        <p:tgtEl>
                                          <p:spTgt spid="3">
                                            <p:txEl>
                                              <p:pRg st="4" end="4"/>
                                            </p:txEl>
                                          </p:spTgt>
                                        </p:tgtEl>
                                      </p:cBhvr>
                                    </p:animEffect>
                                  </p:childTnLst>
                                  <p:subTnLst>
                                    <p:animClr clrSpc="rgb" dir="cw">
                                      <p:cBhvr override="childStyle">
                                        <p:cTn dur="1" fill="hold" display="0" masterRel="nextClick" afterEffect="1"/>
                                        <p:tgtEl>
                                          <p:spTgt spid="3">
                                            <p:txEl>
                                              <p:pRg st="4" end="4"/>
                                            </p:txEl>
                                          </p:spTgt>
                                        </p:tgtEl>
                                        <p:attrNameLst>
                                          <p:attrName>ppt_c</p:attrName>
                                        </p:attrNameLst>
                                      </p:cBhvr>
                                      <p:to>
                                        <a:schemeClr val="tx2"/>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6" end="6"/>
                                            </p:txEl>
                                          </p:spTgt>
                                        </p:tgtEl>
                                        <p:attrNameLst>
                                          <p:attrName>style.visibility</p:attrName>
                                        </p:attrNameLst>
                                      </p:cBhvr>
                                      <p:to>
                                        <p:strVal val="visible"/>
                                      </p:to>
                                    </p:set>
                                    <p:animEffect transition="in" filter="fade">
                                      <p:cBhvr>
                                        <p:cTn id="22" dur="500"/>
                                        <p:tgtEl>
                                          <p:spTgt spid="3">
                                            <p:txEl>
                                              <p:pRg st="6" end="6"/>
                                            </p:txEl>
                                          </p:spTgt>
                                        </p:tgtEl>
                                      </p:cBhvr>
                                    </p:animEffect>
                                  </p:childTnLst>
                                  <p:subTnLst>
                                    <p:animClr clrSpc="rgb" dir="cw">
                                      <p:cBhvr override="childStyle">
                                        <p:cTn dur="1" fill="hold" display="0" masterRel="nextClick" afterEffect="1"/>
                                        <p:tgtEl>
                                          <p:spTgt spid="3">
                                            <p:txEl>
                                              <p:pRg st="6" end="6"/>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27FC2E-20D1-4905-A834-3F8760E2DA1E}"/>
              </a:ext>
            </a:extLst>
          </p:cNvPr>
          <p:cNvSpPr>
            <a:spLocks noGrp="1"/>
          </p:cNvSpPr>
          <p:nvPr>
            <p:ph type="title"/>
          </p:nvPr>
        </p:nvSpPr>
        <p:spPr>
          <a:xfrm>
            <a:off x="4064810" y="2929232"/>
            <a:ext cx="3413469" cy="1325563"/>
          </a:xfrm>
        </p:spPr>
        <p:txBody>
          <a:bodyPr/>
          <a:lstStyle/>
          <a:p>
            <a:r>
              <a:rPr lang="en-US" dirty="0"/>
              <a:t>TCO Analysis</a:t>
            </a:r>
          </a:p>
        </p:txBody>
      </p:sp>
    </p:spTree>
    <p:extLst>
      <p:ext uri="{BB962C8B-B14F-4D97-AF65-F5344CB8AC3E}">
        <p14:creationId xmlns:p14="http://schemas.microsoft.com/office/powerpoint/2010/main" val="2805581463"/>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782BA1C4-51C8-4CD0-A38E-CC8B59247E17}"/>
              </a:ext>
            </a:extLst>
          </p:cNvPr>
          <p:cNvGraphicFramePr>
            <a:graphicFrameLocks noGrp="1"/>
          </p:cNvGraphicFramePr>
          <p:nvPr>
            <p:extLst/>
          </p:nvPr>
        </p:nvGraphicFramePr>
        <p:xfrm>
          <a:off x="213770" y="2138633"/>
          <a:ext cx="5441856" cy="4019598"/>
        </p:xfrm>
        <a:graphic>
          <a:graphicData uri="http://schemas.openxmlformats.org/drawingml/2006/table">
            <a:tbl>
              <a:tblPr firstRow="1" bandRow="1">
                <a:tableStyleId>{2D5ABB26-0587-4C30-8999-92F81FD0307C}</a:tableStyleId>
              </a:tblPr>
              <a:tblGrid>
                <a:gridCol w="1472155">
                  <a:extLst>
                    <a:ext uri="{9D8B030D-6E8A-4147-A177-3AD203B41FA5}">
                      <a16:colId xmlns:a16="http://schemas.microsoft.com/office/drawing/2014/main" val="2599182423"/>
                    </a:ext>
                  </a:extLst>
                </a:gridCol>
                <a:gridCol w="1642879">
                  <a:extLst>
                    <a:ext uri="{9D8B030D-6E8A-4147-A177-3AD203B41FA5}">
                      <a16:colId xmlns:a16="http://schemas.microsoft.com/office/drawing/2014/main" val="559073517"/>
                    </a:ext>
                  </a:extLst>
                </a:gridCol>
                <a:gridCol w="2326822">
                  <a:extLst>
                    <a:ext uri="{9D8B030D-6E8A-4147-A177-3AD203B41FA5}">
                      <a16:colId xmlns:a16="http://schemas.microsoft.com/office/drawing/2014/main" val="3428329668"/>
                    </a:ext>
                  </a:extLst>
                </a:gridCol>
              </a:tblGrid>
              <a:tr h="432757">
                <a:tc>
                  <a:txBody>
                    <a:bodyPr/>
                    <a:lstStyle/>
                    <a:p>
                      <a:r>
                        <a:rPr lang="en-US" sz="1800">
                          <a:solidFill>
                            <a:schemeClr val="bg1"/>
                          </a:solidFill>
                        </a:rPr>
                        <a:t>Cassandra</a:t>
                      </a:r>
                    </a:p>
                  </a:txBody>
                  <a:tcPr>
                    <a:solidFill>
                      <a:schemeClr val="accent1"/>
                    </a:solidFill>
                  </a:tcPr>
                </a:tc>
                <a:tc gridSpan="2">
                  <a:txBody>
                    <a:bodyPr/>
                    <a:lstStyle/>
                    <a:p>
                      <a:r>
                        <a:rPr lang="en-US" sz="1800">
                          <a:solidFill>
                            <a:schemeClr val="bg1"/>
                          </a:solidFill>
                        </a:rPr>
                        <a:t>Cosmos DB</a:t>
                      </a:r>
                    </a:p>
                  </a:txBody>
                  <a:tcPr>
                    <a:solidFill>
                      <a:schemeClr val="tx2"/>
                    </a:solidFill>
                  </a:tcPr>
                </a:tc>
                <a:tc hMerge="1">
                  <a:txBody>
                    <a:bodyPr/>
                    <a:lstStyle/>
                    <a:p>
                      <a:endParaRPr lang="en-US"/>
                    </a:p>
                  </a:txBody>
                  <a:tcPr>
                    <a:solidFill>
                      <a:schemeClr val="tx2"/>
                    </a:solidFill>
                  </a:tcPr>
                </a:tc>
                <a:extLst>
                  <a:ext uri="{0D108BD9-81ED-4DB2-BD59-A6C34878D82A}">
                    <a16:rowId xmlns:a16="http://schemas.microsoft.com/office/drawing/2014/main" val="1675171180"/>
                  </a:ext>
                </a:extLst>
              </a:tr>
              <a:tr h="1123129">
                <a:tc>
                  <a:txBody>
                    <a:bodyPr/>
                    <a:lstStyle/>
                    <a:p>
                      <a:r>
                        <a:rPr lang="en-US" sz="1400">
                          <a:solidFill>
                            <a:srgbClr val="FF0000"/>
                          </a:solidFill>
                        </a:rPr>
                        <a:t>High DevOps and license fees</a:t>
                      </a:r>
                    </a:p>
                  </a:txBody>
                  <a:tcPr>
                    <a:solidFill>
                      <a:srgbClr val="FF0000">
                        <a:alpha val="7000"/>
                      </a:srgbClr>
                    </a:solidFill>
                  </a:tcPr>
                </a:tc>
                <a:tc>
                  <a:txBody>
                    <a:bodyPr/>
                    <a:lstStyle/>
                    <a:p>
                      <a:r>
                        <a:rPr lang="en-US" sz="1400">
                          <a:solidFill>
                            <a:srgbClr val="00B050"/>
                          </a:solidFill>
                        </a:rPr>
                        <a:t>No DevOps or license fees</a:t>
                      </a:r>
                    </a:p>
                    <a:p>
                      <a:endParaRPr lang="en-US" sz="1400">
                        <a:solidFill>
                          <a:srgbClr val="00B050"/>
                        </a:solidFill>
                      </a:endParaRPr>
                    </a:p>
                    <a:p>
                      <a:r>
                        <a:rPr lang="en-US" sz="1400" b="1">
                          <a:solidFill>
                            <a:srgbClr val="00B050"/>
                          </a:solidFill>
                        </a:rPr>
                        <a:t>Up to 30% savings</a:t>
                      </a:r>
                    </a:p>
                  </a:txBody>
                  <a:tcPr>
                    <a:solidFill>
                      <a:srgbClr val="00B050">
                        <a:alpha val="9000"/>
                      </a:srgbClr>
                    </a:solidFill>
                  </a:tcPr>
                </a:tc>
                <a:tc>
                  <a:txBody>
                    <a:bodyPr/>
                    <a:lstStyle/>
                    <a:p>
                      <a:endParaRPr lang="en-US" sz="1200"/>
                    </a:p>
                  </a:txBody>
                  <a:tcPr/>
                </a:tc>
                <a:extLst>
                  <a:ext uri="{0D108BD9-81ED-4DB2-BD59-A6C34878D82A}">
                    <a16:rowId xmlns:a16="http://schemas.microsoft.com/office/drawing/2014/main" val="162463533"/>
                  </a:ext>
                </a:extLst>
              </a:tr>
              <a:tr h="1458777">
                <a:tc>
                  <a:txBody>
                    <a:bodyPr/>
                    <a:lstStyle/>
                    <a:p>
                      <a:r>
                        <a:rPr lang="en-US" sz="1400">
                          <a:solidFill>
                            <a:srgbClr val="FF0000"/>
                          </a:solidFill>
                        </a:rPr>
                        <a:t>No elasticity. Provision for the peak.</a:t>
                      </a:r>
                    </a:p>
                  </a:txBody>
                  <a:tcPr>
                    <a:solidFill>
                      <a:srgbClr val="FF0000">
                        <a:alpha val="7000"/>
                      </a:srgbClr>
                    </a:solidFill>
                  </a:tcPr>
                </a:tc>
                <a:tc>
                  <a:txBody>
                    <a:bodyPr/>
                    <a:lstStyle/>
                    <a:p>
                      <a:r>
                        <a:rPr lang="en-US" sz="1400">
                          <a:solidFill>
                            <a:srgbClr val="00B050"/>
                          </a:solidFill>
                        </a:rPr>
                        <a:t>Instant and limitless elasticity</a:t>
                      </a:r>
                    </a:p>
                    <a:p>
                      <a:endParaRPr lang="en-US" sz="1400">
                        <a:solidFill>
                          <a:srgbClr val="00B050"/>
                        </a:solidFill>
                      </a:endParaRPr>
                    </a:p>
                    <a:p>
                      <a:r>
                        <a:rPr lang="en-US" sz="1400" b="1">
                          <a:solidFill>
                            <a:srgbClr val="00B050"/>
                          </a:solidFill>
                        </a:rPr>
                        <a:t>Up to 40% savings</a:t>
                      </a:r>
                    </a:p>
                  </a:txBody>
                  <a:tcPr>
                    <a:solidFill>
                      <a:srgbClr val="00B050">
                        <a:alpha val="9000"/>
                      </a:srgbClr>
                    </a:solidFill>
                  </a:tcPr>
                </a:tc>
                <a:tc>
                  <a:txBody>
                    <a:bodyPr/>
                    <a:lstStyle/>
                    <a:p>
                      <a:endParaRPr lang="en-US" sz="1200"/>
                    </a:p>
                    <a:p>
                      <a:endParaRPr lang="en-US" sz="1200"/>
                    </a:p>
                    <a:p>
                      <a:endParaRPr lang="en-US" sz="1200"/>
                    </a:p>
                    <a:p>
                      <a:endParaRPr lang="en-US" sz="1200"/>
                    </a:p>
                    <a:p>
                      <a:endParaRPr lang="en-US" sz="1200"/>
                    </a:p>
                    <a:p>
                      <a:endParaRPr lang="en-US" sz="1200"/>
                    </a:p>
                    <a:p>
                      <a:endParaRPr lang="en-US" sz="1200"/>
                    </a:p>
                  </a:txBody>
                  <a:tcPr/>
                </a:tc>
                <a:extLst>
                  <a:ext uri="{0D108BD9-81ED-4DB2-BD59-A6C34878D82A}">
                    <a16:rowId xmlns:a16="http://schemas.microsoft.com/office/drawing/2014/main" val="1186243888"/>
                  </a:ext>
                </a:extLst>
              </a:tr>
              <a:tr h="1004935">
                <a:tc>
                  <a:txBody>
                    <a:bodyPr/>
                    <a:lstStyle/>
                    <a:p>
                      <a:r>
                        <a:rPr lang="en-US" sz="1400">
                          <a:solidFill>
                            <a:srgbClr val="FF0000"/>
                          </a:solidFill>
                        </a:rPr>
                        <a:t>High datacenter and hardware maintenance costs</a:t>
                      </a:r>
                    </a:p>
                  </a:txBody>
                  <a:tcPr>
                    <a:solidFill>
                      <a:srgbClr val="FF0000">
                        <a:alpha val="7000"/>
                      </a:srgbClr>
                    </a:solidFill>
                  </a:tcPr>
                </a:tc>
                <a:tc>
                  <a:txBody>
                    <a:bodyPr/>
                    <a:lstStyle/>
                    <a:p>
                      <a:r>
                        <a:rPr lang="en-US" sz="1400">
                          <a:solidFill>
                            <a:srgbClr val="00B050"/>
                          </a:solidFill>
                        </a:rPr>
                        <a:t>Economy of scale, lower cost</a:t>
                      </a:r>
                    </a:p>
                    <a:p>
                      <a:endParaRPr lang="en-US" sz="1400">
                        <a:solidFill>
                          <a:srgbClr val="00B050"/>
                        </a:solidFill>
                      </a:endParaRPr>
                    </a:p>
                    <a:p>
                      <a:r>
                        <a:rPr lang="en-US" sz="1400" b="1">
                          <a:solidFill>
                            <a:srgbClr val="00B050"/>
                          </a:solidFill>
                        </a:rPr>
                        <a:t>Up to 40% savings</a:t>
                      </a:r>
                    </a:p>
                  </a:txBody>
                  <a:tcPr>
                    <a:solidFill>
                      <a:srgbClr val="00B050">
                        <a:alpha val="9000"/>
                      </a:srgbClr>
                    </a:solidFill>
                  </a:tcPr>
                </a:tc>
                <a:tc>
                  <a:txBody>
                    <a:bodyPr/>
                    <a:lstStyle/>
                    <a:p>
                      <a:endParaRPr lang="en-US" sz="1200" dirty="0"/>
                    </a:p>
                  </a:txBody>
                  <a:tcPr/>
                </a:tc>
                <a:extLst>
                  <a:ext uri="{0D108BD9-81ED-4DB2-BD59-A6C34878D82A}">
                    <a16:rowId xmlns:a16="http://schemas.microsoft.com/office/drawing/2014/main" val="1768435425"/>
                  </a:ext>
                </a:extLst>
              </a:tr>
            </a:tbl>
          </a:graphicData>
        </a:graphic>
      </p:graphicFrame>
      <p:sp>
        <p:nvSpPr>
          <p:cNvPr id="2" name="Title 1">
            <a:extLst>
              <a:ext uri="{FF2B5EF4-FFF2-40B4-BE49-F238E27FC236}">
                <a16:creationId xmlns:a16="http://schemas.microsoft.com/office/drawing/2014/main" id="{24454B8B-1C53-4101-A372-63AE018E33B5}"/>
              </a:ext>
            </a:extLst>
          </p:cNvPr>
          <p:cNvSpPr>
            <a:spLocks noGrp="1"/>
          </p:cNvSpPr>
          <p:nvPr>
            <p:ph type="title"/>
          </p:nvPr>
        </p:nvSpPr>
        <p:spPr/>
        <p:txBody>
          <a:bodyPr/>
          <a:lstStyle/>
          <a:p>
            <a:r>
              <a:rPr lang="en-CA"/>
              <a:t>Save vs On-Prem Cassandra</a:t>
            </a:r>
            <a:endParaRPr lang="en-US"/>
          </a:p>
        </p:txBody>
      </p:sp>
      <p:sp>
        <p:nvSpPr>
          <p:cNvPr id="3" name="Text Placeholder 2">
            <a:extLst>
              <a:ext uri="{FF2B5EF4-FFF2-40B4-BE49-F238E27FC236}">
                <a16:creationId xmlns:a16="http://schemas.microsoft.com/office/drawing/2014/main" id="{589A15C5-9CE9-4300-99A2-9582D523FD2D}"/>
              </a:ext>
            </a:extLst>
          </p:cNvPr>
          <p:cNvSpPr>
            <a:spLocks noGrp="1"/>
          </p:cNvSpPr>
          <p:nvPr>
            <p:ph type="body" sz="quarter" idx="10"/>
          </p:nvPr>
        </p:nvSpPr>
        <p:spPr>
          <a:xfrm>
            <a:off x="118360" y="1409639"/>
            <a:ext cx="6044383" cy="572464"/>
          </a:xfrm>
        </p:spPr>
        <p:txBody>
          <a:bodyPr/>
          <a:lstStyle/>
          <a:p>
            <a:r>
              <a:rPr lang="en-CA" sz="2800"/>
              <a:t>On-prem Cassandra TCO Challenges</a:t>
            </a:r>
            <a:endParaRPr lang="en-CA" sz="1800"/>
          </a:p>
        </p:txBody>
      </p:sp>
      <p:sp>
        <p:nvSpPr>
          <p:cNvPr id="18" name="Freeform: Shape 637">
            <a:extLst>
              <a:ext uri="{FF2B5EF4-FFF2-40B4-BE49-F238E27FC236}">
                <a16:creationId xmlns:a16="http://schemas.microsoft.com/office/drawing/2014/main" id="{4A2A1A9F-CAD6-487D-B440-ABA3435B3035}"/>
              </a:ext>
            </a:extLst>
          </p:cNvPr>
          <p:cNvSpPr/>
          <p:nvPr/>
        </p:nvSpPr>
        <p:spPr bwMode="auto">
          <a:xfrm rot="19800000">
            <a:off x="10812657" y="3643311"/>
            <a:ext cx="438241" cy="933081"/>
          </a:xfrm>
          <a:custGeom>
            <a:avLst/>
            <a:gdLst>
              <a:gd name="connsiteX0" fmla="*/ 0 w 347650"/>
              <a:gd name="connsiteY0" fmla="*/ 0 h 740203"/>
              <a:gd name="connsiteX1" fmla="*/ 347650 w 347650"/>
              <a:gd name="connsiteY1" fmla="*/ 0 h 740203"/>
              <a:gd name="connsiteX2" fmla="*/ 347650 w 347650"/>
              <a:gd name="connsiteY2" fmla="*/ 740203 h 740203"/>
              <a:gd name="connsiteX3" fmla="*/ 172978 w 347650"/>
              <a:gd name="connsiteY3" fmla="*/ 602925 h 740203"/>
              <a:gd name="connsiteX4" fmla="*/ 0 w 347650"/>
              <a:gd name="connsiteY4" fmla="*/ 738872 h 740203"/>
              <a:gd name="connsiteX5" fmla="*/ 0 w 347650"/>
              <a:gd name="connsiteY5" fmla="*/ 0 h 7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650" h="740203">
                <a:moveTo>
                  <a:pt x="0" y="0"/>
                </a:moveTo>
                <a:lnTo>
                  <a:pt x="347650" y="0"/>
                </a:lnTo>
                <a:lnTo>
                  <a:pt x="347650" y="740203"/>
                </a:lnTo>
                <a:lnTo>
                  <a:pt x="172978" y="602925"/>
                </a:lnTo>
                <a:lnTo>
                  <a:pt x="0" y="738872"/>
                </a:lnTo>
                <a:lnTo>
                  <a:pt x="0" y="0"/>
                </a:lnTo>
                <a:close/>
              </a:path>
            </a:pathLst>
          </a:custGeom>
          <a:solidFill>
            <a:schemeClr val="bg1"/>
          </a:solidFill>
          <a:ln w="12700">
            <a:solidFill>
              <a:srgbClr val="017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9" name="Freeform: Shape 638">
            <a:extLst>
              <a:ext uri="{FF2B5EF4-FFF2-40B4-BE49-F238E27FC236}">
                <a16:creationId xmlns:a16="http://schemas.microsoft.com/office/drawing/2014/main" id="{B45B7550-423E-4C04-A527-7749CBF17A5F}"/>
              </a:ext>
            </a:extLst>
          </p:cNvPr>
          <p:cNvSpPr/>
          <p:nvPr/>
        </p:nvSpPr>
        <p:spPr bwMode="auto">
          <a:xfrm rot="1800000">
            <a:off x="10169326" y="3612203"/>
            <a:ext cx="438241" cy="933081"/>
          </a:xfrm>
          <a:custGeom>
            <a:avLst/>
            <a:gdLst>
              <a:gd name="connsiteX0" fmla="*/ 0 w 347650"/>
              <a:gd name="connsiteY0" fmla="*/ 0 h 740203"/>
              <a:gd name="connsiteX1" fmla="*/ 347650 w 347650"/>
              <a:gd name="connsiteY1" fmla="*/ 0 h 740203"/>
              <a:gd name="connsiteX2" fmla="*/ 347650 w 347650"/>
              <a:gd name="connsiteY2" fmla="*/ 740203 h 740203"/>
              <a:gd name="connsiteX3" fmla="*/ 172978 w 347650"/>
              <a:gd name="connsiteY3" fmla="*/ 602925 h 740203"/>
              <a:gd name="connsiteX4" fmla="*/ 0 w 347650"/>
              <a:gd name="connsiteY4" fmla="*/ 738872 h 740203"/>
              <a:gd name="connsiteX5" fmla="*/ 0 w 347650"/>
              <a:gd name="connsiteY5" fmla="*/ 0 h 7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650" h="740203">
                <a:moveTo>
                  <a:pt x="0" y="0"/>
                </a:moveTo>
                <a:lnTo>
                  <a:pt x="347650" y="0"/>
                </a:lnTo>
                <a:lnTo>
                  <a:pt x="347650" y="740203"/>
                </a:lnTo>
                <a:lnTo>
                  <a:pt x="172978" y="602925"/>
                </a:lnTo>
                <a:lnTo>
                  <a:pt x="0" y="738872"/>
                </a:lnTo>
                <a:lnTo>
                  <a:pt x="0" y="0"/>
                </a:lnTo>
                <a:close/>
              </a:path>
            </a:pathLst>
          </a:custGeom>
          <a:solidFill>
            <a:schemeClr val="bg1"/>
          </a:solidFill>
          <a:ln w="12700">
            <a:solidFill>
              <a:srgbClr val="017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0" name="Star: 12 Points 635">
            <a:extLst>
              <a:ext uri="{FF2B5EF4-FFF2-40B4-BE49-F238E27FC236}">
                <a16:creationId xmlns:a16="http://schemas.microsoft.com/office/drawing/2014/main" id="{6A852434-8462-4FA4-A922-99FCCE437023}"/>
              </a:ext>
            </a:extLst>
          </p:cNvPr>
          <p:cNvSpPr/>
          <p:nvPr/>
        </p:nvSpPr>
        <p:spPr bwMode="auto">
          <a:xfrm>
            <a:off x="9950136" y="2653145"/>
            <a:ext cx="1519948" cy="1519946"/>
          </a:xfrm>
          <a:prstGeom prst="star12">
            <a:avLst>
              <a:gd name="adj" fmla="val 40530"/>
            </a:avLst>
          </a:prstGeom>
          <a:solidFill>
            <a:schemeClr val="bg1"/>
          </a:solidFill>
          <a:ln w="12700">
            <a:solidFill>
              <a:srgbClr val="017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1" name="TextBox 20">
            <a:extLst>
              <a:ext uri="{FF2B5EF4-FFF2-40B4-BE49-F238E27FC236}">
                <a16:creationId xmlns:a16="http://schemas.microsoft.com/office/drawing/2014/main" id="{48880373-A225-4BAF-9506-4F0845201C72}"/>
              </a:ext>
            </a:extLst>
          </p:cNvPr>
          <p:cNvSpPr txBox="1"/>
          <p:nvPr/>
        </p:nvSpPr>
        <p:spPr>
          <a:xfrm>
            <a:off x="10188345" y="2986715"/>
            <a:ext cx="1089328" cy="835613"/>
          </a:xfrm>
          <a:prstGeom prst="rect">
            <a:avLst/>
          </a:prstGeom>
          <a:noFill/>
        </p:spPr>
        <p:txBody>
          <a:bodyPr wrap="square" lIns="182880" tIns="146304" rIns="182880" bIns="146304" rtlCol="0">
            <a:spAutoFit/>
          </a:bodyPr>
          <a:lstStyle/>
          <a:p>
            <a:pPr algn="ctr">
              <a:lnSpc>
                <a:spcPct val="90000"/>
              </a:lnSpc>
              <a:defRPr/>
            </a:pPr>
            <a:r>
              <a:rPr lang="en-CA" sz="2800" b="1">
                <a:solidFill>
                  <a:srgbClr val="0177D7"/>
                </a:solidFill>
                <a:latin typeface="Segoe UI Semilight"/>
              </a:rPr>
              <a:t>4-6x</a:t>
            </a:r>
            <a:endParaRPr lang="en-US" sz="2800" b="1">
              <a:solidFill>
                <a:srgbClr val="0177D7"/>
              </a:solidFill>
              <a:latin typeface="Segoe UI Semilight"/>
            </a:endParaRPr>
          </a:p>
          <a:p>
            <a:pPr algn="ctr">
              <a:lnSpc>
                <a:spcPct val="90000"/>
              </a:lnSpc>
              <a:defRPr/>
            </a:pPr>
            <a:r>
              <a:rPr lang="en-US" sz="1100">
                <a:solidFill>
                  <a:srgbClr val="0177D7"/>
                </a:solidFill>
                <a:latin typeface="Segoe UI Semilight"/>
              </a:rPr>
              <a:t>Savings</a:t>
            </a:r>
          </a:p>
        </p:txBody>
      </p:sp>
      <p:sp>
        <p:nvSpPr>
          <p:cNvPr id="22" name="Flowchart: Connector 21">
            <a:extLst>
              <a:ext uri="{FF2B5EF4-FFF2-40B4-BE49-F238E27FC236}">
                <a16:creationId xmlns:a16="http://schemas.microsoft.com/office/drawing/2014/main" id="{8DE5A860-6C28-4673-B97B-B407359E15D6}"/>
              </a:ext>
            </a:extLst>
          </p:cNvPr>
          <p:cNvSpPr/>
          <p:nvPr/>
        </p:nvSpPr>
        <p:spPr bwMode="auto">
          <a:xfrm>
            <a:off x="10359989" y="3034191"/>
            <a:ext cx="746043" cy="726756"/>
          </a:xfrm>
          <a:prstGeom prst="flowChartConnector">
            <a:avLst/>
          </a:prstGeom>
          <a:noFill/>
          <a:ln w="12700">
            <a:solidFill>
              <a:srgbClr val="017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8" name="TextBox 27">
            <a:extLst>
              <a:ext uri="{FF2B5EF4-FFF2-40B4-BE49-F238E27FC236}">
                <a16:creationId xmlns:a16="http://schemas.microsoft.com/office/drawing/2014/main" id="{44C77DF2-6F9F-439E-82B9-D1B77C8E39F9}"/>
              </a:ext>
            </a:extLst>
          </p:cNvPr>
          <p:cNvSpPr txBox="1"/>
          <p:nvPr/>
        </p:nvSpPr>
        <p:spPr>
          <a:xfrm>
            <a:off x="5893722" y="6496995"/>
            <a:ext cx="2266450" cy="350837"/>
          </a:xfrm>
          <a:prstGeom prst="rect">
            <a:avLst/>
          </a:prstGeom>
          <a:noFill/>
        </p:spPr>
        <p:txBody>
          <a:bodyPr wrap="square" lIns="182880" tIns="146304" rIns="182880" bIns="146304" rtlCol="0">
            <a:noAutofit/>
          </a:bodyPr>
          <a:lstStyle/>
          <a:p>
            <a:pPr algn="ctr">
              <a:lnSpc>
                <a:spcPct val="90000"/>
              </a:lnSpc>
              <a:defRPr/>
            </a:pPr>
            <a:r>
              <a:rPr lang="en-US" sz="1200" b="1">
                <a:gradFill>
                  <a:gsLst>
                    <a:gs pos="1250">
                      <a:prstClr val="black"/>
                    </a:gs>
                    <a:gs pos="99000">
                      <a:prstClr val="black"/>
                    </a:gs>
                  </a:gsLst>
                  <a:lin ang="5400000" scaled="0"/>
                </a:gradFill>
                <a:latin typeface="Segoe UI"/>
              </a:rPr>
              <a:t>18 node (L16) DataStax Cassandra cluster</a:t>
            </a:r>
          </a:p>
        </p:txBody>
      </p:sp>
      <p:sp>
        <p:nvSpPr>
          <p:cNvPr id="29" name="Rectangle 28">
            <a:extLst>
              <a:ext uri="{FF2B5EF4-FFF2-40B4-BE49-F238E27FC236}">
                <a16:creationId xmlns:a16="http://schemas.microsoft.com/office/drawing/2014/main" id="{D586A5D0-74B9-4B1E-AE96-FBDCA35F78B1}"/>
              </a:ext>
            </a:extLst>
          </p:cNvPr>
          <p:cNvSpPr/>
          <p:nvPr/>
        </p:nvSpPr>
        <p:spPr bwMode="auto">
          <a:xfrm>
            <a:off x="6203546" y="2554393"/>
            <a:ext cx="1635500" cy="1423126"/>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a:rPr>
              <a:t>DSE licenses</a:t>
            </a:r>
          </a:p>
        </p:txBody>
      </p:sp>
      <p:sp>
        <p:nvSpPr>
          <p:cNvPr id="30" name="TextBox 29">
            <a:extLst>
              <a:ext uri="{FF2B5EF4-FFF2-40B4-BE49-F238E27FC236}">
                <a16:creationId xmlns:a16="http://schemas.microsoft.com/office/drawing/2014/main" id="{2F383532-A7DD-45E0-AB65-2659FEA8723C}"/>
              </a:ext>
            </a:extLst>
          </p:cNvPr>
          <p:cNvSpPr txBox="1"/>
          <p:nvPr/>
        </p:nvSpPr>
        <p:spPr>
          <a:xfrm>
            <a:off x="6162744" y="2062106"/>
            <a:ext cx="1786271" cy="392721"/>
          </a:xfrm>
          <a:prstGeom prst="rect">
            <a:avLst/>
          </a:prstGeom>
          <a:noFill/>
        </p:spPr>
        <p:txBody>
          <a:bodyPr wrap="square" lIns="182880" tIns="146304" rIns="182880" bIns="146304" rtlCol="0">
            <a:noAutofit/>
          </a:bodyPr>
          <a:lstStyle/>
          <a:p>
            <a:pPr>
              <a:lnSpc>
                <a:spcPct val="90000"/>
              </a:lnSpc>
              <a:defRPr/>
            </a:pPr>
            <a:r>
              <a:rPr lang="en-US" sz="1500" b="1" i="1">
                <a:gradFill>
                  <a:gsLst>
                    <a:gs pos="1250">
                      <a:prstClr val="black"/>
                    </a:gs>
                    <a:gs pos="99000">
                      <a:prstClr val="black"/>
                    </a:gs>
                  </a:gsLst>
                  <a:lin ang="5400000" scaled="0"/>
                </a:gradFill>
                <a:latin typeface="Segoe UI" panose="020B0502040204020203" pitchFamily="34" charset="0"/>
                <a:cs typeface="Segoe UI" panose="020B0502040204020203" pitchFamily="34" charset="0"/>
              </a:rPr>
              <a:t>$41,382/ </a:t>
            </a:r>
            <a:r>
              <a:rPr lang="en-US" sz="1500" b="1" i="1" err="1">
                <a:gradFill>
                  <a:gsLst>
                    <a:gs pos="1250">
                      <a:prstClr val="black"/>
                    </a:gs>
                    <a:gs pos="99000">
                      <a:prstClr val="black"/>
                    </a:gs>
                  </a:gsLst>
                  <a:lin ang="5400000" scaled="0"/>
                </a:gradFill>
                <a:latin typeface="Segoe UI" panose="020B0502040204020203" pitchFamily="34" charset="0"/>
                <a:cs typeface="Segoe UI" panose="020B0502040204020203" pitchFamily="34" charset="0"/>
              </a:rPr>
              <a:t>mo</a:t>
            </a:r>
            <a:endParaRPr lang="en-US" sz="1500" b="1" i="1">
              <a:gradFill>
                <a:gsLst>
                  <a:gs pos="1250">
                    <a:prstClr val="black"/>
                  </a:gs>
                  <a:gs pos="99000">
                    <a:prstClr val="black"/>
                  </a:gs>
                </a:gsLst>
                <a:lin ang="5400000" scaled="0"/>
              </a:gradFill>
              <a:latin typeface="Segoe UI" panose="020B0502040204020203" pitchFamily="34" charset="0"/>
              <a:cs typeface="Segoe UI" panose="020B0502040204020203" pitchFamily="34" charset="0"/>
            </a:endParaRPr>
          </a:p>
        </p:txBody>
      </p:sp>
      <p:sp>
        <p:nvSpPr>
          <p:cNvPr id="32" name="TextBox 31">
            <a:extLst>
              <a:ext uri="{FF2B5EF4-FFF2-40B4-BE49-F238E27FC236}">
                <a16:creationId xmlns:a16="http://schemas.microsoft.com/office/drawing/2014/main" id="{5AC83107-E849-49F2-9887-77CA51A80D2E}"/>
              </a:ext>
            </a:extLst>
          </p:cNvPr>
          <p:cNvSpPr txBox="1"/>
          <p:nvPr/>
        </p:nvSpPr>
        <p:spPr>
          <a:xfrm>
            <a:off x="8163866" y="3616644"/>
            <a:ext cx="1786271" cy="489098"/>
          </a:xfrm>
          <a:prstGeom prst="rect">
            <a:avLst/>
          </a:prstGeom>
          <a:noFill/>
        </p:spPr>
        <p:txBody>
          <a:bodyPr wrap="square" lIns="182880" tIns="146304" rIns="182880" bIns="146304" rtlCol="0">
            <a:noAutofit/>
          </a:bodyPr>
          <a:lstStyle/>
          <a:p>
            <a:pPr>
              <a:lnSpc>
                <a:spcPct val="90000"/>
              </a:lnSpc>
              <a:defRPr/>
            </a:pPr>
            <a:r>
              <a:rPr lang="en-US" sz="1500" b="1" i="1">
                <a:gradFill>
                  <a:gsLst>
                    <a:gs pos="1250">
                      <a:prstClr val="black"/>
                    </a:gs>
                    <a:gs pos="99000">
                      <a:prstClr val="black"/>
                    </a:gs>
                  </a:gsLst>
                  <a:lin ang="5400000" scaled="0"/>
                </a:gradFill>
                <a:latin typeface="Segoe UI" panose="020B0502040204020203" pitchFamily="34" charset="0"/>
                <a:cs typeface="Segoe UI" panose="020B0502040204020203" pitchFamily="34" charset="0"/>
              </a:rPr>
              <a:t>$ 30,582 / </a:t>
            </a:r>
            <a:r>
              <a:rPr lang="en-US" sz="1500" b="1" i="1" err="1">
                <a:gradFill>
                  <a:gsLst>
                    <a:gs pos="1250">
                      <a:prstClr val="black"/>
                    </a:gs>
                    <a:gs pos="99000">
                      <a:prstClr val="black"/>
                    </a:gs>
                  </a:gsLst>
                  <a:lin ang="5400000" scaled="0"/>
                </a:gradFill>
                <a:latin typeface="Segoe UI" panose="020B0502040204020203" pitchFamily="34" charset="0"/>
                <a:cs typeface="Segoe UI" panose="020B0502040204020203" pitchFamily="34" charset="0"/>
              </a:rPr>
              <a:t>mo</a:t>
            </a:r>
            <a:endParaRPr lang="en-US" sz="1500" b="1" i="1">
              <a:gradFill>
                <a:gsLst>
                  <a:gs pos="1250">
                    <a:prstClr val="black"/>
                  </a:gs>
                  <a:gs pos="99000">
                    <a:prstClr val="black"/>
                  </a:gs>
                </a:gsLst>
                <a:lin ang="5400000" scaled="0"/>
              </a:gradFill>
              <a:latin typeface="Segoe UI" panose="020B0502040204020203" pitchFamily="34" charset="0"/>
              <a:cs typeface="Segoe UI" panose="020B0502040204020203" pitchFamily="34" charset="0"/>
            </a:endParaRPr>
          </a:p>
        </p:txBody>
      </p:sp>
      <p:sp>
        <p:nvSpPr>
          <p:cNvPr id="34" name="TextBox 33">
            <a:extLst>
              <a:ext uri="{FF2B5EF4-FFF2-40B4-BE49-F238E27FC236}">
                <a16:creationId xmlns:a16="http://schemas.microsoft.com/office/drawing/2014/main" id="{4ABBD65D-8FB9-436B-B335-68E0C14716CF}"/>
              </a:ext>
            </a:extLst>
          </p:cNvPr>
          <p:cNvSpPr txBox="1"/>
          <p:nvPr/>
        </p:nvSpPr>
        <p:spPr>
          <a:xfrm>
            <a:off x="7916756" y="6537902"/>
            <a:ext cx="2266450" cy="350837"/>
          </a:xfrm>
          <a:prstGeom prst="rect">
            <a:avLst/>
          </a:prstGeom>
          <a:noFill/>
        </p:spPr>
        <p:txBody>
          <a:bodyPr wrap="square" lIns="182880" tIns="146304" rIns="182880" bIns="146304" rtlCol="0">
            <a:noAutofit/>
          </a:bodyPr>
          <a:lstStyle/>
          <a:p>
            <a:pPr algn="ctr">
              <a:lnSpc>
                <a:spcPct val="90000"/>
              </a:lnSpc>
              <a:defRPr/>
            </a:pPr>
            <a:r>
              <a:rPr lang="en-US" sz="1200" b="1">
                <a:gradFill>
                  <a:gsLst>
                    <a:gs pos="1250">
                      <a:prstClr val="black"/>
                    </a:gs>
                    <a:gs pos="99000">
                      <a:prstClr val="black"/>
                    </a:gs>
                  </a:gsLst>
                  <a:lin ang="5400000" scaled="0"/>
                </a:gradFill>
                <a:latin typeface="Segoe UI"/>
              </a:rPr>
              <a:t>18 node (L16) Apache Cassandra cluster</a:t>
            </a:r>
          </a:p>
        </p:txBody>
      </p:sp>
      <p:sp>
        <p:nvSpPr>
          <p:cNvPr id="35" name="TextBox 34">
            <a:extLst>
              <a:ext uri="{FF2B5EF4-FFF2-40B4-BE49-F238E27FC236}">
                <a16:creationId xmlns:a16="http://schemas.microsoft.com/office/drawing/2014/main" id="{4DA95405-3C07-4855-88EA-E5FFD1DC59DE}"/>
              </a:ext>
            </a:extLst>
          </p:cNvPr>
          <p:cNvSpPr txBox="1"/>
          <p:nvPr/>
        </p:nvSpPr>
        <p:spPr>
          <a:xfrm>
            <a:off x="9787310" y="6509105"/>
            <a:ext cx="1709976" cy="350866"/>
          </a:xfrm>
          <a:prstGeom prst="rect">
            <a:avLst/>
          </a:prstGeom>
          <a:noFill/>
        </p:spPr>
        <p:txBody>
          <a:bodyPr wrap="square" lIns="182880" tIns="146304" rIns="182880" bIns="146304" rtlCol="0">
            <a:noAutofit/>
          </a:bodyPr>
          <a:lstStyle/>
          <a:p>
            <a:pPr algn="ctr">
              <a:lnSpc>
                <a:spcPct val="90000"/>
              </a:lnSpc>
              <a:defRPr/>
            </a:pPr>
            <a:r>
              <a:rPr lang="en-US" sz="1200" b="1">
                <a:gradFill>
                  <a:gsLst>
                    <a:gs pos="1250">
                      <a:prstClr val="black"/>
                    </a:gs>
                    <a:gs pos="99000">
                      <a:prstClr val="black"/>
                    </a:gs>
                  </a:gsLst>
                  <a:lin ang="5400000" scaled="0"/>
                </a:gradFill>
                <a:latin typeface="Segoe UI"/>
              </a:rPr>
              <a:t>Azure Cosmos DB</a:t>
            </a:r>
          </a:p>
          <a:p>
            <a:pPr algn="ctr">
              <a:lnSpc>
                <a:spcPct val="90000"/>
              </a:lnSpc>
              <a:defRPr/>
            </a:pPr>
            <a:r>
              <a:rPr lang="en-US" sz="1200" b="1">
                <a:gradFill>
                  <a:gsLst>
                    <a:gs pos="1250">
                      <a:prstClr val="black"/>
                    </a:gs>
                    <a:gs pos="99000">
                      <a:prstClr val="black"/>
                    </a:gs>
                  </a:gsLst>
                  <a:lin ang="5400000" scaled="0"/>
                </a:gradFill>
                <a:latin typeface="Segoe UI"/>
              </a:rPr>
              <a:t>(3Y reserved)</a:t>
            </a:r>
          </a:p>
        </p:txBody>
      </p:sp>
      <p:sp>
        <p:nvSpPr>
          <p:cNvPr id="37" name="TextBox 36">
            <a:extLst>
              <a:ext uri="{FF2B5EF4-FFF2-40B4-BE49-F238E27FC236}">
                <a16:creationId xmlns:a16="http://schemas.microsoft.com/office/drawing/2014/main" id="{C459F6FC-AAFE-4B65-8E85-C5D97B8A4389}"/>
              </a:ext>
            </a:extLst>
          </p:cNvPr>
          <p:cNvSpPr txBox="1"/>
          <p:nvPr/>
        </p:nvSpPr>
        <p:spPr>
          <a:xfrm>
            <a:off x="9835951" y="4835879"/>
            <a:ext cx="1618860" cy="489098"/>
          </a:xfrm>
          <a:prstGeom prst="rect">
            <a:avLst/>
          </a:prstGeom>
          <a:noFill/>
        </p:spPr>
        <p:txBody>
          <a:bodyPr wrap="square" lIns="182880" tIns="146304" rIns="182880" bIns="146304" rtlCol="0">
            <a:noAutofit/>
          </a:bodyPr>
          <a:lstStyle/>
          <a:p>
            <a:pPr algn="ctr">
              <a:lnSpc>
                <a:spcPct val="90000"/>
              </a:lnSpc>
              <a:defRPr/>
            </a:pPr>
            <a:r>
              <a:rPr lang="en-US" sz="1500" b="1" i="1">
                <a:gradFill>
                  <a:gsLst>
                    <a:gs pos="1250">
                      <a:prstClr val="black"/>
                    </a:gs>
                    <a:gs pos="99000">
                      <a:prstClr val="black"/>
                    </a:gs>
                  </a:gsLst>
                  <a:lin ang="5400000" scaled="0"/>
                </a:gradFill>
                <a:latin typeface="Segoe UI" panose="020B0502040204020203" pitchFamily="34" charset="0"/>
                <a:cs typeface="Segoe UI" panose="020B0502040204020203" pitchFamily="34" charset="0"/>
              </a:rPr>
              <a:t>$ 7,436/</a:t>
            </a:r>
            <a:r>
              <a:rPr lang="en-US" sz="1500" b="1" i="1" err="1">
                <a:gradFill>
                  <a:gsLst>
                    <a:gs pos="1250">
                      <a:prstClr val="black"/>
                    </a:gs>
                    <a:gs pos="99000">
                      <a:prstClr val="black"/>
                    </a:gs>
                  </a:gsLst>
                  <a:lin ang="5400000" scaled="0"/>
                </a:gradFill>
                <a:latin typeface="Segoe UI" panose="020B0502040204020203" pitchFamily="34" charset="0"/>
                <a:cs typeface="Segoe UI" panose="020B0502040204020203" pitchFamily="34" charset="0"/>
              </a:rPr>
              <a:t>mo</a:t>
            </a:r>
            <a:endParaRPr lang="en-US" sz="1500" b="1" i="1">
              <a:gradFill>
                <a:gsLst>
                  <a:gs pos="1250">
                    <a:prstClr val="black"/>
                  </a:gs>
                  <a:gs pos="99000">
                    <a:prstClr val="black"/>
                  </a:gs>
                </a:gsLst>
                <a:lin ang="5400000" scaled="0"/>
              </a:gradFill>
              <a:latin typeface="Segoe UI" panose="020B0502040204020203" pitchFamily="34" charset="0"/>
              <a:cs typeface="Segoe UI" panose="020B0502040204020203" pitchFamily="34" charset="0"/>
            </a:endParaRPr>
          </a:p>
          <a:p>
            <a:pPr algn="ctr">
              <a:lnSpc>
                <a:spcPct val="90000"/>
              </a:lnSpc>
              <a:defRPr/>
            </a:pPr>
            <a:endParaRPr lang="en-US" sz="1500" b="1" i="1">
              <a:gradFill>
                <a:gsLst>
                  <a:gs pos="1250">
                    <a:prstClr val="black"/>
                  </a:gs>
                  <a:gs pos="99000">
                    <a:prstClr val="black"/>
                  </a:gs>
                </a:gsLst>
                <a:lin ang="5400000" scaled="0"/>
              </a:gradFill>
              <a:latin typeface="Segoe UI"/>
            </a:endParaRPr>
          </a:p>
        </p:txBody>
      </p:sp>
      <p:grpSp>
        <p:nvGrpSpPr>
          <p:cNvPr id="4" name="Group 3">
            <a:extLst>
              <a:ext uri="{FF2B5EF4-FFF2-40B4-BE49-F238E27FC236}">
                <a16:creationId xmlns:a16="http://schemas.microsoft.com/office/drawing/2014/main" id="{D4D10084-AB1C-41EF-80DD-963C4746B0C7}"/>
              </a:ext>
            </a:extLst>
          </p:cNvPr>
          <p:cNvGrpSpPr/>
          <p:nvPr/>
        </p:nvGrpSpPr>
        <p:grpSpPr>
          <a:xfrm>
            <a:off x="9965074" y="5277553"/>
            <a:ext cx="1438058" cy="1339770"/>
            <a:chOff x="9965074" y="5048953"/>
            <a:chExt cx="1438058" cy="1339770"/>
          </a:xfrm>
        </p:grpSpPr>
        <p:sp>
          <p:nvSpPr>
            <p:cNvPr id="36" name="Rectangle 35">
              <a:extLst>
                <a:ext uri="{FF2B5EF4-FFF2-40B4-BE49-F238E27FC236}">
                  <a16:creationId xmlns:a16="http://schemas.microsoft.com/office/drawing/2014/main" id="{70416895-F230-4C25-86ED-3A06835AA5BC}"/>
                </a:ext>
              </a:extLst>
            </p:cNvPr>
            <p:cNvSpPr/>
            <p:nvPr/>
          </p:nvSpPr>
          <p:spPr bwMode="auto">
            <a:xfrm>
              <a:off x="9965074" y="5565114"/>
              <a:ext cx="1430139" cy="823609"/>
            </a:xfrm>
            <a:prstGeom prst="rect">
              <a:avLst/>
            </a:prstGeom>
            <a:solidFill>
              <a:schemeClr val="accent1">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a:rPr>
                <a:t>Throughput</a:t>
              </a:r>
            </a:p>
          </p:txBody>
        </p:sp>
        <p:sp>
          <p:nvSpPr>
            <p:cNvPr id="38" name="Rectangle 37">
              <a:extLst>
                <a:ext uri="{FF2B5EF4-FFF2-40B4-BE49-F238E27FC236}">
                  <a16:creationId xmlns:a16="http://schemas.microsoft.com/office/drawing/2014/main" id="{6049C420-25CB-4723-A683-E2D14CD926B3}"/>
                </a:ext>
              </a:extLst>
            </p:cNvPr>
            <p:cNvSpPr/>
            <p:nvPr/>
          </p:nvSpPr>
          <p:spPr bwMode="auto">
            <a:xfrm>
              <a:off x="9965074" y="5338178"/>
              <a:ext cx="1430139" cy="193254"/>
            </a:xfrm>
            <a:prstGeom prst="rect">
              <a:avLst/>
            </a:prstGeom>
            <a:solidFill>
              <a:schemeClr val="accent1">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a:rPr>
                <a:t>Storage</a:t>
              </a:r>
            </a:p>
          </p:txBody>
        </p:sp>
        <p:sp>
          <p:nvSpPr>
            <p:cNvPr id="39" name="Rectangle 38">
              <a:extLst>
                <a:ext uri="{FF2B5EF4-FFF2-40B4-BE49-F238E27FC236}">
                  <a16:creationId xmlns:a16="http://schemas.microsoft.com/office/drawing/2014/main" id="{C5CB4BDC-4D46-4416-BBFC-086E551A71C2}"/>
                </a:ext>
              </a:extLst>
            </p:cNvPr>
            <p:cNvSpPr/>
            <p:nvPr/>
          </p:nvSpPr>
          <p:spPr bwMode="auto">
            <a:xfrm>
              <a:off x="9965074" y="5048953"/>
              <a:ext cx="1438058" cy="245877"/>
            </a:xfrm>
            <a:prstGeom prst="rect">
              <a:avLst/>
            </a:prstGeom>
            <a:solidFill>
              <a:schemeClr val="accent1">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a:rPr>
                <a:t>Bandwidth</a:t>
              </a:r>
            </a:p>
          </p:txBody>
        </p:sp>
      </p:grpSp>
      <p:sp>
        <p:nvSpPr>
          <p:cNvPr id="27" name="Rectangle 26">
            <a:extLst>
              <a:ext uri="{FF2B5EF4-FFF2-40B4-BE49-F238E27FC236}">
                <a16:creationId xmlns:a16="http://schemas.microsoft.com/office/drawing/2014/main" id="{27F70186-B888-4A3B-83A9-E093F61E6884}"/>
              </a:ext>
            </a:extLst>
          </p:cNvPr>
          <p:cNvSpPr/>
          <p:nvPr/>
        </p:nvSpPr>
        <p:spPr bwMode="auto">
          <a:xfrm>
            <a:off x="6206511" y="6025996"/>
            <a:ext cx="1619503" cy="59035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Semilight"/>
              </a:rPr>
              <a:t>Data Center</a:t>
            </a:r>
          </a:p>
        </p:txBody>
      </p:sp>
      <p:sp>
        <p:nvSpPr>
          <p:cNvPr id="40" name="Rectangle 39">
            <a:extLst>
              <a:ext uri="{FF2B5EF4-FFF2-40B4-BE49-F238E27FC236}">
                <a16:creationId xmlns:a16="http://schemas.microsoft.com/office/drawing/2014/main" id="{FB43C470-0BA1-459D-9B6E-DE352CAAA044}"/>
              </a:ext>
            </a:extLst>
          </p:cNvPr>
          <p:cNvSpPr/>
          <p:nvPr/>
        </p:nvSpPr>
        <p:spPr bwMode="auto">
          <a:xfrm>
            <a:off x="6206511" y="5405640"/>
            <a:ext cx="1619503" cy="59035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Semilight"/>
              </a:rPr>
              <a:t>Servers</a:t>
            </a:r>
          </a:p>
        </p:txBody>
      </p:sp>
      <p:sp>
        <p:nvSpPr>
          <p:cNvPr id="41" name="Rectangle 40">
            <a:extLst>
              <a:ext uri="{FF2B5EF4-FFF2-40B4-BE49-F238E27FC236}">
                <a16:creationId xmlns:a16="http://schemas.microsoft.com/office/drawing/2014/main" id="{3AD43D7A-3A57-49E4-B293-3762C487AC97}"/>
              </a:ext>
            </a:extLst>
          </p:cNvPr>
          <p:cNvSpPr/>
          <p:nvPr/>
        </p:nvSpPr>
        <p:spPr bwMode="auto">
          <a:xfrm>
            <a:off x="6198875" y="4951624"/>
            <a:ext cx="1627139" cy="42401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Semilight"/>
              </a:rPr>
              <a:t>SSD storage</a:t>
            </a:r>
          </a:p>
        </p:txBody>
      </p:sp>
      <p:sp>
        <p:nvSpPr>
          <p:cNvPr id="42" name="Rectangle 41">
            <a:extLst>
              <a:ext uri="{FF2B5EF4-FFF2-40B4-BE49-F238E27FC236}">
                <a16:creationId xmlns:a16="http://schemas.microsoft.com/office/drawing/2014/main" id="{8E429FE3-1969-43B8-846E-67169CC57329}"/>
              </a:ext>
            </a:extLst>
          </p:cNvPr>
          <p:cNvSpPr/>
          <p:nvPr/>
        </p:nvSpPr>
        <p:spPr bwMode="auto">
          <a:xfrm>
            <a:off x="6206511" y="4523998"/>
            <a:ext cx="1627139" cy="40717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Semilight"/>
              </a:rPr>
              <a:t>Networking</a:t>
            </a:r>
          </a:p>
        </p:txBody>
      </p:sp>
      <p:sp>
        <p:nvSpPr>
          <p:cNvPr id="43" name="Rectangle 42">
            <a:extLst>
              <a:ext uri="{FF2B5EF4-FFF2-40B4-BE49-F238E27FC236}">
                <a16:creationId xmlns:a16="http://schemas.microsoft.com/office/drawing/2014/main" id="{24EBF3D6-81C1-465F-9F0C-17841246CD41}"/>
              </a:ext>
            </a:extLst>
          </p:cNvPr>
          <p:cNvSpPr/>
          <p:nvPr/>
        </p:nvSpPr>
        <p:spPr bwMode="auto">
          <a:xfrm>
            <a:off x="6206511" y="4014211"/>
            <a:ext cx="1615432" cy="47767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Semilight"/>
              </a:rPr>
              <a:t>Electricity</a:t>
            </a:r>
          </a:p>
        </p:txBody>
      </p:sp>
      <p:sp>
        <p:nvSpPr>
          <p:cNvPr id="44" name="Rectangle 43">
            <a:extLst>
              <a:ext uri="{FF2B5EF4-FFF2-40B4-BE49-F238E27FC236}">
                <a16:creationId xmlns:a16="http://schemas.microsoft.com/office/drawing/2014/main" id="{D2B263AB-F641-4A61-9DF3-56EF32419A01}"/>
              </a:ext>
            </a:extLst>
          </p:cNvPr>
          <p:cNvSpPr/>
          <p:nvPr/>
        </p:nvSpPr>
        <p:spPr bwMode="auto">
          <a:xfrm>
            <a:off x="8160172" y="6032535"/>
            <a:ext cx="1619503" cy="59035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Semilight"/>
              </a:rPr>
              <a:t>Data Center</a:t>
            </a:r>
          </a:p>
        </p:txBody>
      </p:sp>
      <p:sp>
        <p:nvSpPr>
          <p:cNvPr id="45" name="Rectangle 44">
            <a:extLst>
              <a:ext uri="{FF2B5EF4-FFF2-40B4-BE49-F238E27FC236}">
                <a16:creationId xmlns:a16="http://schemas.microsoft.com/office/drawing/2014/main" id="{C84FDD2C-EDA8-464B-A73D-09B2B85104DF}"/>
              </a:ext>
            </a:extLst>
          </p:cNvPr>
          <p:cNvSpPr/>
          <p:nvPr/>
        </p:nvSpPr>
        <p:spPr bwMode="auto">
          <a:xfrm>
            <a:off x="8160172" y="5412179"/>
            <a:ext cx="1619503" cy="59035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Semilight"/>
              </a:rPr>
              <a:t>Servers</a:t>
            </a:r>
          </a:p>
        </p:txBody>
      </p:sp>
      <p:sp>
        <p:nvSpPr>
          <p:cNvPr id="46" name="Rectangle 45">
            <a:extLst>
              <a:ext uri="{FF2B5EF4-FFF2-40B4-BE49-F238E27FC236}">
                <a16:creationId xmlns:a16="http://schemas.microsoft.com/office/drawing/2014/main" id="{56A2A974-7DB0-4A34-84C4-ED9DC0B570B3}"/>
              </a:ext>
            </a:extLst>
          </p:cNvPr>
          <p:cNvSpPr/>
          <p:nvPr/>
        </p:nvSpPr>
        <p:spPr bwMode="auto">
          <a:xfrm>
            <a:off x="8152536" y="4958163"/>
            <a:ext cx="1627139" cy="42401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Semilight"/>
              </a:rPr>
              <a:t>SSD storage</a:t>
            </a:r>
          </a:p>
        </p:txBody>
      </p:sp>
      <p:sp>
        <p:nvSpPr>
          <p:cNvPr id="47" name="Rectangle 46">
            <a:extLst>
              <a:ext uri="{FF2B5EF4-FFF2-40B4-BE49-F238E27FC236}">
                <a16:creationId xmlns:a16="http://schemas.microsoft.com/office/drawing/2014/main" id="{9A607F5F-656D-4948-8629-DDEB7367B158}"/>
              </a:ext>
            </a:extLst>
          </p:cNvPr>
          <p:cNvSpPr/>
          <p:nvPr/>
        </p:nvSpPr>
        <p:spPr bwMode="auto">
          <a:xfrm>
            <a:off x="8160172" y="4530537"/>
            <a:ext cx="1627139" cy="40717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Semilight"/>
              </a:rPr>
              <a:t>Networking</a:t>
            </a:r>
          </a:p>
        </p:txBody>
      </p:sp>
      <p:sp>
        <p:nvSpPr>
          <p:cNvPr id="48" name="Rectangle 47">
            <a:extLst>
              <a:ext uri="{FF2B5EF4-FFF2-40B4-BE49-F238E27FC236}">
                <a16:creationId xmlns:a16="http://schemas.microsoft.com/office/drawing/2014/main" id="{35107ED6-D400-4575-B666-D989374B987E}"/>
              </a:ext>
            </a:extLst>
          </p:cNvPr>
          <p:cNvSpPr/>
          <p:nvPr/>
        </p:nvSpPr>
        <p:spPr bwMode="auto">
          <a:xfrm>
            <a:off x="8160172" y="4020750"/>
            <a:ext cx="1615432" cy="47767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Semilight"/>
              </a:rPr>
              <a:t>Electricity</a:t>
            </a:r>
          </a:p>
        </p:txBody>
      </p:sp>
      <p:pic>
        <p:nvPicPr>
          <p:cNvPr id="7" name="Picture 6">
            <a:extLst>
              <a:ext uri="{FF2B5EF4-FFF2-40B4-BE49-F238E27FC236}">
                <a16:creationId xmlns:a16="http://schemas.microsoft.com/office/drawing/2014/main" id="{49631428-9EBB-4B39-A23B-E54C15984BF5}"/>
              </a:ext>
            </a:extLst>
          </p:cNvPr>
          <p:cNvPicPr>
            <a:picLocks noChangeAspect="1"/>
          </p:cNvPicPr>
          <p:nvPr/>
        </p:nvPicPr>
        <p:blipFill>
          <a:blip r:embed="rId3"/>
          <a:stretch>
            <a:fillRect/>
          </a:stretch>
        </p:blipFill>
        <p:spPr>
          <a:xfrm>
            <a:off x="3499527" y="2526197"/>
            <a:ext cx="1832695" cy="985768"/>
          </a:xfrm>
          <a:prstGeom prst="rect">
            <a:avLst/>
          </a:prstGeom>
        </p:spPr>
      </p:pic>
      <p:pic>
        <p:nvPicPr>
          <p:cNvPr id="12" name="Picture 11">
            <a:extLst>
              <a:ext uri="{FF2B5EF4-FFF2-40B4-BE49-F238E27FC236}">
                <a16:creationId xmlns:a16="http://schemas.microsoft.com/office/drawing/2014/main" id="{FF93BE72-376D-44A3-B615-D494D9E7E742}"/>
              </a:ext>
            </a:extLst>
          </p:cNvPr>
          <p:cNvPicPr>
            <a:picLocks noChangeAspect="1"/>
          </p:cNvPicPr>
          <p:nvPr/>
        </p:nvPicPr>
        <p:blipFill>
          <a:blip r:embed="rId4"/>
          <a:stretch>
            <a:fillRect/>
          </a:stretch>
        </p:blipFill>
        <p:spPr>
          <a:xfrm>
            <a:off x="3499527" y="3638138"/>
            <a:ext cx="1832695" cy="1065608"/>
          </a:xfrm>
          <a:prstGeom prst="rect">
            <a:avLst/>
          </a:prstGeom>
        </p:spPr>
      </p:pic>
      <p:pic>
        <p:nvPicPr>
          <p:cNvPr id="15" name="Picture 14">
            <a:extLst>
              <a:ext uri="{FF2B5EF4-FFF2-40B4-BE49-F238E27FC236}">
                <a16:creationId xmlns:a16="http://schemas.microsoft.com/office/drawing/2014/main" id="{5C5684C5-B42A-4102-9A36-EFBCC4422233}"/>
              </a:ext>
            </a:extLst>
          </p:cNvPr>
          <p:cNvPicPr>
            <a:picLocks noChangeAspect="1"/>
          </p:cNvPicPr>
          <p:nvPr/>
        </p:nvPicPr>
        <p:blipFill>
          <a:blip r:embed="rId5"/>
          <a:stretch>
            <a:fillRect/>
          </a:stretch>
        </p:blipFill>
        <p:spPr>
          <a:xfrm>
            <a:off x="3477623" y="4923054"/>
            <a:ext cx="1968001" cy="991688"/>
          </a:xfrm>
          <a:prstGeom prst="rect">
            <a:avLst/>
          </a:prstGeom>
        </p:spPr>
      </p:pic>
      <p:sp>
        <p:nvSpPr>
          <p:cNvPr id="57" name="TextBox 56">
            <a:extLst>
              <a:ext uri="{FF2B5EF4-FFF2-40B4-BE49-F238E27FC236}">
                <a16:creationId xmlns:a16="http://schemas.microsoft.com/office/drawing/2014/main" id="{28E96C8C-A107-435E-B68A-77E8AAD939E6}"/>
              </a:ext>
            </a:extLst>
          </p:cNvPr>
          <p:cNvSpPr txBox="1"/>
          <p:nvPr/>
        </p:nvSpPr>
        <p:spPr>
          <a:xfrm>
            <a:off x="72149" y="6158231"/>
            <a:ext cx="5730830" cy="350874"/>
          </a:xfrm>
          <a:prstGeom prst="rect">
            <a:avLst/>
          </a:prstGeom>
          <a:noFill/>
        </p:spPr>
        <p:txBody>
          <a:bodyPr wrap="square" lIns="182880" tIns="146304" rIns="182880" bIns="146304" rtlCol="0">
            <a:noAutofit/>
          </a:bodyPr>
          <a:lstStyle/>
          <a:p>
            <a:pPr>
              <a:lnSpc>
                <a:spcPct val="90000"/>
              </a:lnSpc>
              <a:defRPr/>
            </a:pPr>
            <a:r>
              <a:rPr lang="en-US" sz="1000" dirty="0">
                <a:gradFill>
                  <a:gsLst>
                    <a:gs pos="1250">
                      <a:prstClr val="black"/>
                    </a:gs>
                    <a:gs pos="99000">
                      <a:prstClr val="black"/>
                    </a:gs>
                  </a:gsLst>
                  <a:lin ang="5400000" scaled="0"/>
                </a:gradFill>
                <a:latin typeface="Segoe UI"/>
              </a:rPr>
              <a:t>6TB workload, 80K TPS, 50-50 read-write split observed among our customers, off-peak to peak ratio is 40%, 1K objects. 4 proc, 4 cores/proc server nodes. Hardware, datacenter costs estimated using Azure TCO calculator for 5 years pro-rated monthly. DSE license assumed $7,200 / year per node (assumes 8 cores). Azure 3Y reserved price was used for Cosmos DB. Findings based on Microsoft calculations.</a:t>
            </a:r>
          </a:p>
        </p:txBody>
      </p:sp>
      <p:sp>
        <p:nvSpPr>
          <p:cNvPr id="58" name="Text Placeholder 3">
            <a:extLst>
              <a:ext uri="{FF2B5EF4-FFF2-40B4-BE49-F238E27FC236}">
                <a16:creationId xmlns:a16="http://schemas.microsoft.com/office/drawing/2014/main" id="{DEBF6DCC-1A19-4B83-BB9E-2380524DD993}"/>
              </a:ext>
            </a:extLst>
          </p:cNvPr>
          <p:cNvSpPr txBox="1">
            <a:spLocks/>
          </p:cNvSpPr>
          <p:nvPr/>
        </p:nvSpPr>
        <p:spPr>
          <a:xfrm>
            <a:off x="6162743" y="1405218"/>
            <a:ext cx="5826758" cy="572464"/>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ts val="1200"/>
              </a:spcBef>
              <a:spcAft>
                <a:spcPts val="0"/>
              </a:spcAft>
              <a:buClr>
                <a:schemeClr val="tx1"/>
              </a:buClr>
              <a:buSzPct val="90000"/>
              <a:buFont typeface="Wingdings" pitchFamily="2" charset="2"/>
              <a:buNone/>
              <a:tabLst/>
              <a:defRPr sz="3136"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solidFill>
                <a:latin typeface="+mn-lt"/>
                <a:ea typeface="+mn-ea"/>
                <a:cs typeface="+mn-cs"/>
              </a:defRPr>
            </a:lvl2pPr>
            <a:lvl3pPr marL="22716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solidFill>
                <a:latin typeface="+mn-lt"/>
                <a:ea typeface="+mn-ea"/>
                <a:cs typeface="+mn-cs"/>
              </a:defRPr>
            </a:lvl3pPr>
            <a:lvl4pPr marL="451219"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400" kern="1200" spc="0" baseline="0">
                <a:solidFill>
                  <a:schemeClr val="tx1"/>
                </a:solidFill>
                <a:latin typeface="+mn-lt"/>
                <a:ea typeface="+mn-ea"/>
                <a:cs typeface="+mn-cs"/>
              </a:defRPr>
            </a:lvl4pPr>
            <a:lvl5pPr marL="672161"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4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buClr>
                <a:srgbClr val="505050"/>
              </a:buClr>
              <a:defRPr/>
            </a:pPr>
            <a:r>
              <a:rPr lang="en-CA" sz="2800">
                <a:gradFill>
                  <a:gsLst>
                    <a:gs pos="1250">
                      <a:srgbClr val="0078D7"/>
                    </a:gs>
                    <a:gs pos="99000">
                      <a:srgbClr val="0078D7"/>
                    </a:gs>
                  </a:gsLst>
                  <a:lin ang="5400000" scaled="0"/>
                </a:gradFill>
                <a:latin typeface="Segoe UI Light"/>
              </a:rPr>
              <a:t>TCO Savings with Azure Cosmos DB</a:t>
            </a:r>
            <a:endParaRPr lang="en-CA" sz="1800">
              <a:gradFill>
                <a:gsLst>
                  <a:gs pos="1250">
                    <a:srgbClr val="0078D7"/>
                  </a:gs>
                  <a:gs pos="99000">
                    <a:srgbClr val="0078D7"/>
                  </a:gs>
                </a:gsLst>
                <a:lin ang="5400000" scaled="0"/>
              </a:gradFill>
              <a:latin typeface="Segoe UI Light"/>
            </a:endParaRPr>
          </a:p>
        </p:txBody>
      </p:sp>
    </p:spTree>
    <p:extLst>
      <p:ext uri="{BB962C8B-B14F-4D97-AF65-F5344CB8AC3E}">
        <p14:creationId xmlns:p14="http://schemas.microsoft.com/office/powerpoint/2010/main" val="661214381"/>
      </p:ext>
    </p:extLst>
  </p:cSld>
  <p:clrMapOvr>
    <a:masterClrMapping/>
  </p:clrMapOvr>
  <p:transition>
    <p:fade/>
  </p:transition>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54B8B-1C53-4101-A372-63AE018E33B5}"/>
              </a:ext>
            </a:extLst>
          </p:cNvPr>
          <p:cNvSpPr>
            <a:spLocks noGrp="1"/>
          </p:cNvSpPr>
          <p:nvPr>
            <p:ph type="title"/>
          </p:nvPr>
        </p:nvSpPr>
        <p:spPr/>
        <p:txBody>
          <a:bodyPr/>
          <a:lstStyle/>
          <a:p>
            <a:r>
              <a:rPr lang="en-CA" dirty="0"/>
              <a:t>Save vs Cassandra on </a:t>
            </a:r>
            <a:r>
              <a:rPr lang="en-CA" dirty="0" err="1"/>
              <a:t>iaaS</a:t>
            </a:r>
            <a:endParaRPr lang="en-US" dirty="0"/>
          </a:p>
        </p:txBody>
      </p:sp>
      <p:sp>
        <p:nvSpPr>
          <p:cNvPr id="8" name="TextBox 7">
            <a:extLst>
              <a:ext uri="{FF2B5EF4-FFF2-40B4-BE49-F238E27FC236}">
                <a16:creationId xmlns:a16="http://schemas.microsoft.com/office/drawing/2014/main" id="{8CBAE5A9-F095-4B46-B481-C4DD873628E3}"/>
              </a:ext>
            </a:extLst>
          </p:cNvPr>
          <p:cNvSpPr txBox="1"/>
          <p:nvPr/>
        </p:nvSpPr>
        <p:spPr>
          <a:xfrm>
            <a:off x="6052130" y="6394067"/>
            <a:ext cx="2055351" cy="337572"/>
          </a:xfrm>
          <a:prstGeom prst="rect">
            <a:avLst/>
          </a:prstGeom>
          <a:noFill/>
        </p:spPr>
        <p:txBody>
          <a:bodyPr wrap="square" lIns="182880" tIns="146304" rIns="182880" bIns="146304" rtlCol="0">
            <a:noAutofit/>
          </a:bodyPr>
          <a:lstStyle/>
          <a:p>
            <a:pPr algn="ctr">
              <a:lnSpc>
                <a:spcPct val="90000"/>
              </a:lnSpc>
              <a:defRPr/>
            </a:pPr>
            <a:r>
              <a:rPr lang="en-US" sz="1200" b="1">
                <a:gradFill>
                  <a:gsLst>
                    <a:gs pos="1250">
                      <a:prstClr val="black"/>
                    </a:gs>
                    <a:gs pos="99000">
                      <a:prstClr val="black"/>
                    </a:gs>
                  </a:gsLst>
                  <a:lin ang="5400000" scaled="0"/>
                </a:gradFill>
                <a:latin typeface="Segoe UI"/>
              </a:rPr>
              <a:t>18 node (L16) DataStax Cassandra cluster</a:t>
            </a:r>
          </a:p>
        </p:txBody>
      </p:sp>
      <p:sp>
        <p:nvSpPr>
          <p:cNvPr id="9" name="Rectangle 8">
            <a:extLst>
              <a:ext uri="{FF2B5EF4-FFF2-40B4-BE49-F238E27FC236}">
                <a16:creationId xmlns:a16="http://schemas.microsoft.com/office/drawing/2014/main" id="{846979E5-6247-40DC-BB3B-037FBAD2D1C9}"/>
              </a:ext>
            </a:extLst>
          </p:cNvPr>
          <p:cNvSpPr/>
          <p:nvPr/>
        </p:nvSpPr>
        <p:spPr bwMode="auto">
          <a:xfrm>
            <a:off x="6370421" y="2496792"/>
            <a:ext cx="1541421" cy="1587945"/>
          </a:xfrm>
          <a:prstGeom prst="rect">
            <a:avLst/>
          </a:prstGeom>
          <a:solidFill>
            <a:schemeClr val="accent1"/>
          </a:solid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a:rPr>
              <a:t>DSE licenses</a:t>
            </a:r>
          </a:p>
        </p:txBody>
      </p:sp>
      <p:sp>
        <p:nvSpPr>
          <p:cNvPr id="10" name="TextBox 9">
            <a:extLst>
              <a:ext uri="{FF2B5EF4-FFF2-40B4-BE49-F238E27FC236}">
                <a16:creationId xmlns:a16="http://schemas.microsoft.com/office/drawing/2014/main" id="{D09750FD-BADE-4534-91A7-792C0260963D}"/>
              </a:ext>
            </a:extLst>
          </p:cNvPr>
          <p:cNvSpPr txBox="1"/>
          <p:nvPr/>
        </p:nvSpPr>
        <p:spPr>
          <a:xfrm>
            <a:off x="6383491" y="2005921"/>
            <a:ext cx="1519948" cy="489098"/>
          </a:xfrm>
          <a:prstGeom prst="rect">
            <a:avLst/>
          </a:prstGeom>
          <a:noFill/>
        </p:spPr>
        <p:txBody>
          <a:bodyPr wrap="square" lIns="182880" tIns="146304" rIns="182880" bIns="146304" rtlCol="0">
            <a:noAutofit/>
          </a:bodyPr>
          <a:lstStyle/>
          <a:p>
            <a:pPr>
              <a:lnSpc>
                <a:spcPct val="90000"/>
              </a:lnSpc>
              <a:defRPr/>
            </a:pPr>
            <a:r>
              <a:rPr lang="en-US" sz="1500" b="1" i="1">
                <a:gradFill>
                  <a:gsLst>
                    <a:gs pos="1250">
                      <a:prstClr val="black"/>
                    </a:gs>
                    <a:gs pos="99000">
                      <a:prstClr val="black"/>
                    </a:gs>
                  </a:gsLst>
                  <a:lin ang="5400000" scaled="0"/>
                </a:gradFill>
                <a:latin typeface="Segoe UI"/>
              </a:rPr>
              <a:t>$28,762/ mo</a:t>
            </a:r>
          </a:p>
        </p:txBody>
      </p:sp>
      <p:sp>
        <p:nvSpPr>
          <p:cNvPr id="11" name="Rectangle 10">
            <a:extLst>
              <a:ext uri="{FF2B5EF4-FFF2-40B4-BE49-F238E27FC236}">
                <a16:creationId xmlns:a16="http://schemas.microsoft.com/office/drawing/2014/main" id="{AAB62C91-D4AB-417E-B306-5BE6F856029D}"/>
              </a:ext>
            </a:extLst>
          </p:cNvPr>
          <p:cNvSpPr/>
          <p:nvPr/>
        </p:nvSpPr>
        <p:spPr bwMode="auto">
          <a:xfrm>
            <a:off x="6356280" y="4681709"/>
            <a:ext cx="1547159" cy="180242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a:rPr>
              <a:t>Virtual Machines</a:t>
            </a:r>
          </a:p>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a:rPr>
              <a:t>and Storage</a:t>
            </a:r>
          </a:p>
        </p:txBody>
      </p:sp>
      <p:sp>
        <p:nvSpPr>
          <p:cNvPr id="12" name="Rectangle 11">
            <a:extLst>
              <a:ext uri="{FF2B5EF4-FFF2-40B4-BE49-F238E27FC236}">
                <a16:creationId xmlns:a16="http://schemas.microsoft.com/office/drawing/2014/main" id="{66651476-30CE-4879-83D2-88E4F89E2F3B}"/>
              </a:ext>
            </a:extLst>
          </p:cNvPr>
          <p:cNvSpPr/>
          <p:nvPr/>
        </p:nvSpPr>
        <p:spPr bwMode="auto">
          <a:xfrm>
            <a:off x="6372775" y="4138673"/>
            <a:ext cx="1539500" cy="48909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a:rPr>
              <a:t>Bandwidth</a:t>
            </a:r>
          </a:p>
        </p:txBody>
      </p:sp>
      <p:sp>
        <p:nvSpPr>
          <p:cNvPr id="13" name="TextBox 12">
            <a:extLst>
              <a:ext uri="{FF2B5EF4-FFF2-40B4-BE49-F238E27FC236}">
                <a16:creationId xmlns:a16="http://schemas.microsoft.com/office/drawing/2014/main" id="{0E7B646C-390B-424E-A4C2-60552BF295B5}"/>
              </a:ext>
            </a:extLst>
          </p:cNvPr>
          <p:cNvSpPr txBox="1"/>
          <p:nvPr/>
        </p:nvSpPr>
        <p:spPr>
          <a:xfrm>
            <a:off x="10054962" y="6356919"/>
            <a:ext cx="1657312" cy="280820"/>
          </a:xfrm>
          <a:prstGeom prst="rect">
            <a:avLst/>
          </a:prstGeom>
          <a:noFill/>
        </p:spPr>
        <p:txBody>
          <a:bodyPr wrap="square" lIns="182880" tIns="146304" rIns="182880" bIns="146304" rtlCol="0">
            <a:noAutofit/>
          </a:bodyPr>
          <a:lstStyle/>
          <a:p>
            <a:pPr algn="ctr">
              <a:lnSpc>
                <a:spcPct val="90000"/>
              </a:lnSpc>
              <a:defRPr/>
            </a:pPr>
            <a:r>
              <a:rPr lang="en-US" sz="1200" b="1">
                <a:gradFill>
                  <a:gsLst>
                    <a:gs pos="1250">
                      <a:prstClr val="black"/>
                    </a:gs>
                    <a:gs pos="99000">
                      <a:prstClr val="black"/>
                    </a:gs>
                  </a:gsLst>
                  <a:lin ang="5400000" scaled="0"/>
                </a:gradFill>
                <a:latin typeface="Segoe UI"/>
              </a:rPr>
              <a:t>Azure Cosmos DB</a:t>
            </a:r>
          </a:p>
          <a:p>
            <a:pPr algn="ctr">
              <a:lnSpc>
                <a:spcPct val="90000"/>
              </a:lnSpc>
              <a:defRPr/>
            </a:pPr>
            <a:r>
              <a:rPr lang="en-US" sz="1200" b="1">
                <a:gradFill>
                  <a:gsLst>
                    <a:gs pos="1250">
                      <a:prstClr val="black"/>
                    </a:gs>
                    <a:gs pos="99000">
                      <a:prstClr val="black"/>
                    </a:gs>
                  </a:gsLst>
                  <a:lin ang="5400000" scaled="0"/>
                </a:gradFill>
                <a:latin typeface="Segoe UI"/>
              </a:rPr>
              <a:t>(list prices)</a:t>
            </a:r>
          </a:p>
        </p:txBody>
      </p:sp>
      <p:sp>
        <p:nvSpPr>
          <p:cNvPr id="15" name="TextBox 14">
            <a:extLst>
              <a:ext uri="{FF2B5EF4-FFF2-40B4-BE49-F238E27FC236}">
                <a16:creationId xmlns:a16="http://schemas.microsoft.com/office/drawing/2014/main" id="{DD9F3083-4B9D-456D-98C4-B683AB83B4A7}"/>
              </a:ext>
            </a:extLst>
          </p:cNvPr>
          <p:cNvSpPr txBox="1"/>
          <p:nvPr/>
        </p:nvSpPr>
        <p:spPr>
          <a:xfrm>
            <a:off x="10169956" y="4683184"/>
            <a:ext cx="1519950" cy="489098"/>
          </a:xfrm>
          <a:prstGeom prst="rect">
            <a:avLst/>
          </a:prstGeom>
          <a:noFill/>
        </p:spPr>
        <p:txBody>
          <a:bodyPr wrap="square" lIns="182880" tIns="146304" rIns="182880" bIns="146304" rtlCol="0">
            <a:noAutofit/>
          </a:bodyPr>
          <a:lstStyle/>
          <a:p>
            <a:pPr algn="ctr">
              <a:lnSpc>
                <a:spcPct val="90000"/>
              </a:lnSpc>
              <a:defRPr/>
            </a:pPr>
            <a:r>
              <a:rPr lang="en-US" sz="1500" b="1" i="1">
                <a:gradFill>
                  <a:gsLst>
                    <a:gs pos="1250">
                      <a:prstClr val="black"/>
                    </a:gs>
                    <a:gs pos="99000">
                      <a:prstClr val="black"/>
                    </a:gs>
                  </a:gsLst>
                  <a:lin ang="5400000" scaled="0"/>
                </a:gradFill>
                <a:latin typeface="Segoe UI"/>
              </a:rPr>
              <a:t>$9,924/</a:t>
            </a:r>
            <a:r>
              <a:rPr lang="en-US" sz="1500" b="1" i="1" err="1">
                <a:gradFill>
                  <a:gsLst>
                    <a:gs pos="1250">
                      <a:prstClr val="black"/>
                    </a:gs>
                    <a:gs pos="99000">
                      <a:prstClr val="black"/>
                    </a:gs>
                  </a:gsLst>
                  <a:lin ang="5400000" scaled="0"/>
                </a:gradFill>
                <a:latin typeface="Segoe UI"/>
              </a:rPr>
              <a:t>mo</a:t>
            </a:r>
            <a:endParaRPr lang="en-US" sz="1500" b="1" i="1">
              <a:gradFill>
                <a:gsLst>
                  <a:gs pos="1250">
                    <a:prstClr val="black"/>
                  </a:gs>
                  <a:gs pos="99000">
                    <a:prstClr val="black"/>
                  </a:gs>
                </a:gsLst>
                <a:lin ang="5400000" scaled="0"/>
              </a:gradFill>
              <a:latin typeface="Segoe UI"/>
            </a:endParaRPr>
          </a:p>
          <a:p>
            <a:pPr algn="ctr">
              <a:lnSpc>
                <a:spcPct val="90000"/>
              </a:lnSpc>
              <a:defRPr/>
            </a:pPr>
            <a:endParaRPr lang="en-US" sz="1500" b="1" i="1">
              <a:gradFill>
                <a:gsLst>
                  <a:gs pos="1250">
                    <a:prstClr val="black"/>
                  </a:gs>
                  <a:gs pos="99000">
                    <a:prstClr val="black"/>
                  </a:gs>
                </a:gsLst>
                <a:lin ang="5400000" scaled="0"/>
              </a:gradFill>
              <a:latin typeface="Segoe UI"/>
            </a:endParaRPr>
          </a:p>
        </p:txBody>
      </p:sp>
      <p:sp>
        <p:nvSpPr>
          <p:cNvPr id="18" name="Freeform: Shape 637">
            <a:extLst>
              <a:ext uri="{FF2B5EF4-FFF2-40B4-BE49-F238E27FC236}">
                <a16:creationId xmlns:a16="http://schemas.microsoft.com/office/drawing/2014/main" id="{4A2A1A9F-CAD6-487D-B440-ABA3435B3035}"/>
              </a:ext>
            </a:extLst>
          </p:cNvPr>
          <p:cNvSpPr/>
          <p:nvPr/>
        </p:nvSpPr>
        <p:spPr bwMode="auto">
          <a:xfrm rot="19800000">
            <a:off x="11046678" y="3237824"/>
            <a:ext cx="438241" cy="933081"/>
          </a:xfrm>
          <a:custGeom>
            <a:avLst/>
            <a:gdLst>
              <a:gd name="connsiteX0" fmla="*/ 0 w 347650"/>
              <a:gd name="connsiteY0" fmla="*/ 0 h 740203"/>
              <a:gd name="connsiteX1" fmla="*/ 347650 w 347650"/>
              <a:gd name="connsiteY1" fmla="*/ 0 h 740203"/>
              <a:gd name="connsiteX2" fmla="*/ 347650 w 347650"/>
              <a:gd name="connsiteY2" fmla="*/ 740203 h 740203"/>
              <a:gd name="connsiteX3" fmla="*/ 172978 w 347650"/>
              <a:gd name="connsiteY3" fmla="*/ 602925 h 740203"/>
              <a:gd name="connsiteX4" fmla="*/ 0 w 347650"/>
              <a:gd name="connsiteY4" fmla="*/ 738872 h 740203"/>
              <a:gd name="connsiteX5" fmla="*/ 0 w 347650"/>
              <a:gd name="connsiteY5" fmla="*/ 0 h 7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650" h="740203">
                <a:moveTo>
                  <a:pt x="0" y="0"/>
                </a:moveTo>
                <a:lnTo>
                  <a:pt x="347650" y="0"/>
                </a:lnTo>
                <a:lnTo>
                  <a:pt x="347650" y="740203"/>
                </a:lnTo>
                <a:lnTo>
                  <a:pt x="172978" y="602925"/>
                </a:lnTo>
                <a:lnTo>
                  <a:pt x="0" y="738872"/>
                </a:lnTo>
                <a:lnTo>
                  <a:pt x="0" y="0"/>
                </a:lnTo>
                <a:close/>
              </a:path>
            </a:pathLst>
          </a:custGeom>
          <a:solidFill>
            <a:schemeClr val="bg1"/>
          </a:solidFill>
          <a:ln w="12700">
            <a:solidFill>
              <a:srgbClr val="017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9" name="Freeform: Shape 638">
            <a:extLst>
              <a:ext uri="{FF2B5EF4-FFF2-40B4-BE49-F238E27FC236}">
                <a16:creationId xmlns:a16="http://schemas.microsoft.com/office/drawing/2014/main" id="{B45B7550-423E-4C04-A527-7749CBF17A5F}"/>
              </a:ext>
            </a:extLst>
          </p:cNvPr>
          <p:cNvSpPr/>
          <p:nvPr/>
        </p:nvSpPr>
        <p:spPr bwMode="auto">
          <a:xfrm rot="1800000">
            <a:off x="10403347" y="3206716"/>
            <a:ext cx="438241" cy="933081"/>
          </a:xfrm>
          <a:custGeom>
            <a:avLst/>
            <a:gdLst>
              <a:gd name="connsiteX0" fmla="*/ 0 w 347650"/>
              <a:gd name="connsiteY0" fmla="*/ 0 h 740203"/>
              <a:gd name="connsiteX1" fmla="*/ 347650 w 347650"/>
              <a:gd name="connsiteY1" fmla="*/ 0 h 740203"/>
              <a:gd name="connsiteX2" fmla="*/ 347650 w 347650"/>
              <a:gd name="connsiteY2" fmla="*/ 740203 h 740203"/>
              <a:gd name="connsiteX3" fmla="*/ 172978 w 347650"/>
              <a:gd name="connsiteY3" fmla="*/ 602925 h 740203"/>
              <a:gd name="connsiteX4" fmla="*/ 0 w 347650"/>
              <a:gd name="connsiteY4" fmla="*/ 738872 h 740203"/>
              <a:gd name="connsiteX5" fmla="*/ 0 w 347650"/>
              <a:gd name="connsiteY5" fmla="*/ 0 h 7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650" h="740203">
                <a:moveTo>
                  <a:pt x="0" y="0"/>
                </a:moveTo>
                <a:lnTo>
                  <a:pt x="347650" y="0"/>
                </a:lnTo>
                <a:lnTo>
                  <a:pt x="347650" y="740203"/>
                </a:lnTo>
                <a:lnTo>
                  <a:pt x="172978" y="602925"/>
                </a:lnTo>
                <a:lnTo>
                  <a:pt x="0" y="738872"/>
                </a:lnTo>
                <a:lnTo>
                  <a:pt x="0" y="0"/>
                </a:lnTo>
                <a:close/>
              </a:path>
            </a:pathLst>
          </a:custGeom>
          <a:solidFill>
            <a:schemeClr val="bg1"/>
          </a:solidFill>
          <a:ln w="12700">
            <a:solidFill>
              <a:srgbClr val="017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0" name="Star: 12 Points 635">
            <a:extLst>
              <a:ext uri="{FF2B5EF4-FFF2-40B4-BE49-F238E27FC236}">
                <a16:creationId xmlns:a16="http://schemas.microsoft.com/office/drawing/2014/main" id="{6A852434-8462-4FA4-A922-99FCCE437023}"/>
              </a:ext>
            </a:extLst>
          </p:cNvPr>
          <p:cNvSpPr/>
          <p:nvPr/>
        </p:nvSpPr>
        <p:spPr bwMode="auto">
          <a:xfrm>
            <a:off x="10184157" y="2247658"/>
            <a:ext cx="1519948" cy="1519946"/>
          </a:xfrm>
          <a:prstGeom prst="star12">
            <a:avLst>
              <a:gd name="adj" fmla="val 40530"/>
            </a:avLst>
          </a:prstGeom>
          <a:solidFill>
            <a:schemeClr val="bg1"/>
          </a:solidFill>
          <a:ln w="12700">
            <a:solidFill>
              <a:srgbClr val="017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1" name="TextBox 20">
            <a:extLst>
              <a:ext uri="{FF2B5EF4-FFF2-40B4-BE49-F238E27FC236}">
                <a16:creationId xmlns:a16="http://schemas.microsoft.com/office/drawing/2014/main" id="{48880373-A225-4BAF-9506-4F0845201C72}"/>
              </a:ext>
            </a:extLst>
          </p:cNvPr>
          <p:cNvSpPr txBox="1"/>
          <p:nvPr/>
        </p:nvSpPr>
        <p:spPr>
          <a:xfrm>
            <a:off x="10485600" y="2581052"/>
            <a:ext cx="957634" cy="835613"/>
          </a:xfrm>
          <a:prstGeom prst="rect">
            <a:avLst/>
          </a:prstGeom>
          <a:noFill/>
        </p:spPr>
        <p:txBody>
          <a:bodyPr wrap="square" lIns="182880" tIns="146304" rIns="182880" bIns="146304" rtlCol="0">
            <a:spAutoFit/>
          </a:bodyPr>
          <a:lstStyle/>
          <a:p>
            <a:pPr algn="ctr">
              <a:lnSpc>
                <a:spcPct val="90000"/>
              </a:lnSpc>
              <a:defRPr/>
            </a:pPr>
            <a:r>
              <a:rPr lang="en-CA" sz="2800" b="1">
                <a:solidFill>
                  <a:srgbClr val="0177D7"/>
                </a:solidFill>
                <a:latin typeface="Segoe UI Semilight"/>
              </a:rPr>
              <a:t>&gt;2x</a:t>
            </a:r>
            <a:endParaRPr lang="en-US" sz="1100" b="1">
              <a:solidFill>
                <a:srgbClr val="0177D7"/>
              </a:solidFill>
              <a:latin typeface="Segoe UI Semilight"/>
            </a:endParaRPr>
          </a:p>
          <a:p>
            <a:pPr algn="ctr">
              <a:lnSpc>
                <a:spcPct val="90000"/>
              </a:lnSpc>
              <a:defRPr/>
            </a:pPr>
            <a:r>
              <a:rPr lang="en-US" sz="1100">
                <a:solidFill>
                  <a:srgbClr val="0177D7"/>
                </a:solidFill>
                <a:latin typeface="Segoe UI Semilight"/>
              </a:rPr>
              <a:t>Savings</a:t>
            </a:r>
          </a:p>
        </p:txBody>
      </p:sp>
      <p:sp>
        <p:nvSpPr>
          <p:cNvPr id="22" name="Flowchart: Connector 21">
            <a:extLst>
              <a:ext uri="{FF2B5EF4-FFF2-40B4-BE49-F238E27FC236}">
                <a16:creationId xmlns:a16="http://schemas.microsoft.com/office/drawing/2014/main" id="{8DE5A860-6C28-4673-B97B-B407359E15D6}"/>
              </a:ext>
            </a:extLst>
          </p:cNvPr>
          <p:cNvSpPr/>
          <p:nvPr/>
        </p:nvSpPr>
        <p:spPr bwMode="auto">
          <a:xfrm>
            <a:off x="10594010" y="2628695"/>
            <a:ext cx="746043" cy="726756"/>
          </a:xfrm>
          <a:prstGeom prst="flowChartConnector">
            <a:avLst/>
          </a:prstGeom>
          <a:noFill/>
          <a:ln w="12700">
            <a:solidFill>
              <a:srgbClr val="017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4" name="TextBox 23">
            <a:extLst>
              <a:ext uri="{FF2B5EF4-FFF2-40B4-BE49-F238E27FC236}">
                <a16:creationId xmlns:a16="http://schemas.microsoft.com/office/drawing/2014/main" id="{E01EC834-D6F1-4245-9B0A-BBF63530E654}"/>
              </a:ext>
            </a:extLst>
          </p:cNvPr>
          <p:cNvSpPr txBox="1"/>
          <p:nvPr/>
        </p:nvSpPr>
        <p:spPr>
          <a:xfrm>
            <a:off x="8236258" y="3469358"/>
            <a:ext cx="1519948" cy="489098"/>
          </a:xfrm>
          <a:prstGeom prst="rect">
            <a:avLst/>
          </a:prstGeom>
          <a:noFill/>
        </p:spPr>
        <p:txBody>
          <a:bodyPr wrap="square" lIns="182880" tIns="146304" rIns="182880" bIns="146304" rtlCol="0">
            <a:noAutofit/>
          </a:bodyPr>
          <a:lstStyle/>
          <a:p>
            <a:pPr>
              <a:lnSpc>
                <a:spcPct val="90000"/>
              </a:lnSpc>
              <a:defRPr/>
            </a:pPr>
            <a:r>
              <a:rPr lang="en-US" sz="1500" b="1" i="1">
                <a:gradFill>
                  <a:gsLst>
                    <a:gs pos="1250">
                      <a:prstClr val="black"/>
                    </a:gs>
                    <a:gs pos="99000">
                      <a:prstClr val="black"/>
                    </a:gs>
                  </a:gsLst>
                  <a:lin ang="5400000" scaled="0"/>
                </a:gradFill>
                <a:latin typeface="Segoe UI"/>
              </a:rPr>
              <a:t>$17,952/ mo</a:t>
            </a:r>
          </a:p>
        </p:txBody>
      </p:sp>
      <p:sp>
        <p:nvSpPr>
          <p:cNvPr id="25" name="Rectangle 24">
            <a:extLst>
              <a:ext uri="{FF2B5EF4-FFF2-40B4-BE49-F238E27FC236}">
                <a16:creationId xmlns:a16="http://schemas.microsoft.com/office/drawing/2014/main" id="{010170C7-D0D5-42C6-9F6A-436517B97CB4}"/>
              </a:ext>
            </a:extLst>
          </p:cNvPr>
          <p:cNvSpPr/>
          <p:nvPr/>
        </p:nvSpPr>
        <p:spPr bwMode="auto">
          <a:xfrm>
            <a:off x="8234772" y="4546778"/>
            <a:ext cx="1539500" cy="195795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a:rPr>
              <a:t>Virtual Machines</a:t>
            </a:r>
          </a:p>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a:rPr>
              <a:t>and Storage</a:t>
            </a:r>
          </a:p>
        </p:txBody>
      </p:sp>
      <p:sp>
        <p:nvSpPr>
          <p:cNvPr id="26" name="Rectangle 25">
            <a:extLst>
              <a:ext uri="{FF2B5EF4-FFF2-40B4-BE49-F238E27FC236}">
                <a16:creationId xmlns:a16="http://schemas.microsoft.com/office/drawing/2014/main" id="{1046699A-9F5B-46AD-AD14-66ECA83F1BDF}"/>
              </a:ext>
            </a:extLst>
          </p:cNvPr>
          <p:cNvSpPr/>
          <p:nvPr/>
        </p:nvSpPr>
        <p:spPr bwMode="auto">
          <a:xfrm>
            <a:off x="8251267" y="4000900"/>
            <a:ext cx="1531879" cy="48909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a:rPr>
              <a:t>Bandwidth</a:t>
            </a:r>
          </a:p>
        </p:txBody>
      </p:sp>
      <p:sp>
        <p:nvSpPr>
          <p:cNvPr id="27" name="TextBox 26">
            <a:extLst>
              <a:ext uri="{FF2B5EF4-FFF2-40B4-BE49-F238E27FC236}">
                <a16:creationId xmlns:a16="http://schemas.microsoft.com/office/drawing/2014/main" id="{8B7F4F0A-EA5E-4B51-83B9-40A4B5B571AE}"/>
              </a:ext>
            </a:extLst>
          </p:cNvPr>
          <p:cNvSpPr txBox="1"/>
          <p:nvPr/>
        </p:nvSpPr>
        <p:spPr>
          <a:xfrm>
            <a:off x="7873896" y="6404655"/>
            <a:ext cx="2266450" cy="350837"/>
          </a:xfrm>
          <a:prstGeom prst="rect">
            <a:avLst/>
          </a:prstGeom>
          <a:noFill/>
        </p:spPr>
        <p:txBody>
          <a:bodyPr wrap="square" lIns="182880" tIns="146304" rIns="182880" bIns="146304" rtlCol="0">
            <a:noAutofit/>
          </a:bodyPr>
          <a:lstStyle/>
          <a:p>
            <a:pPr algn="ctr">
              <a:lnSpc>
                <a:spcPct val="90000"/>
              </a:lnSpc>
              <a:defRPr/>
            </a:pPr>
            <a:r>
              <a:rPr lang="en-US" sz="1200" b="1">
                <a:gradFill>
                  <a:gsLst>
                    <a:gs pos="1250">
                      <a:prstClr val="black"/>
                    </a:gs>
                    <a:gs pos="99000">
                      <a:prstClr val="black"/>
                    </a:gs>
                  </a:gsLst>
                  <a:lin ang="5400000" scaled="0"/>
                </a:gradFill>
                <a:latin typeface="Segoe UI"/>
              </a:rPr>
              <a:t>18 node (L16) Apache Cassandra cluster</a:t>
            </a:r>
          </a:p>
        </p:txBody>
      </p:sp>
      <p:sp>
        <p:nvSpPr>
          <p:cNvPr id="30" name="TextBox 29">
            <a:extLst>
              <a:ext uri="{FF2B5EF4-FFF2-40B4-BE49-F238E27FC236}">
                <a16:creationId xmlns:a16="http://schemas.microsoft.com/office/drawing/2014/main" id="{72797868-032F-47D2-BAE7-EB0CE5266365}"/>
              </a:ext>
            </a:extLst>
          </p:cNvPr>
          <p:cNvSpPr txBox="1"/>
          <p:nvPr/>
        </p:nvSpPr>
        <p:spPr>
          <a:xfrm>
            <a:off x="40609" y="6207172"/>
            <a:ext cx="5730830" cy="350874"/>
          </a:xfrm>
          <a:prstGeom prst="rect">
            <a:avLst/>
          </a:prstGeom>
          <a:noFill/>
        </p:spPr>
        <p:txBody>
          <a:bodyPr wrap="square" lIns="182880" tIns="146304" rIns="182880" bIns="146304" rtlCol="0">
            <a:noAutofit/>
          </a:bodyPr>
          <a:lstStyle/>
          <a:p>
            <a:pPr>
              <a:lnSpc>
                <a:spcPct val="90000"/>
              </a:lnSpc>
              <a:defRPr/>
            </a:pPr>
            <a:r>
              <a:rPr lang="en-US" sz="1000" dirty="0">
                <a:gradFill>
                  <a:gsLst>
                    <a:gs pos="1250">
                      <a:prstClr val="black"/>
                    </a:gs>
                    <a:gs pos="99000">
                      <a:prstClr val="black"/>
                    </a:gs>
                  </a:gsLst>
                  <a:lin ang="5400000" scaled="0"/>
                </a:gradFill>
                <a:latin typeface="Segoe UI"/>
              </a:rPr>
              <a:t>6TB workload, 80K TPS, 50-50 read-write split observed among our customers, off-peak to peak ratio is 40%, 1K objects. L16 VMs used per Azure guidance,. DSE license is $7,200 / year per node (assumes 8 cores). Azure monthly consumption prices were used. Findings based on Microsoft calculations.</a:t>
            </a:r>
          </a:p>
        </p:txBody>
      </p:sp>
      <p:graphicFrame>
        <p:nvGraphicFramePr>
          <p:cNvPr id="35" name="Table 34">
            <a:extLst>
              <a:ext uri="{FF2B5EF4-FFF2-40B4-BE49-F238E27FC236}">
                <a16:creationId xmlns:a16="http://schemas.microsoft.com/office/drawing/2014/main" id="{C1E6E3D4-604F-4B91-85E9-508E300B5E2F}"/>
              </a:ext>
            </a:extLst>
          </p:cNvPr>
          <p:cNvGraphicFramePr>
            <a:graphicFrameLocks noGrp="1"/>
          </p:cNvGraphicFramePr>
          <p:nvPr>
            <p:extLst/>
          </p:nvPr>
        </p:nvGraphicFramePr>
        <p:xfrm>
          <a:off x="213770" y="2023318"/>
          <a:ext cx="5441856" cy="4264906"/>
        </p:xfrm>
        <a:graphic>
          <a:graphicData uri="http://schemas.openxmlformats.org/drawingml/2006/table">
            <a:tbl>
              <a:tblPr firstRow="1" bandRow="1">
                <a:tableStyleId>{2D5ABB26-0587-4C30-8999-92F81FD0307C}</a:tableStyleId>
              </a:tblPr>
              <a:tblGrid>
                <a:gridCol w="1500730">
                  <a:extLst>
                    <a:ext uri="{9D8B030D-6E8A-4147-A177-3AD203B41FA5}">
                      <a16:colId xmlns:a16="http://schemas.microsoft.com/office/drawing/2014/main" val="2599182423"/>
                    </a:ext>
                  </a:extLst>
                </a:gridCol>
                <a:gridCol w="1614304">
                  <a:extLst>
                    <a:ext uri="{9D8B030D-6E8A-4147-A177-3AD203B41FA5}">
                      <a16:colId xmlns:a16="http://schemas.microsoft.com/office/drawing/2014/main" val="559073517"/>
                    </a:ext>
                  </a:extLst>
                </a:gridCol>
                <a:gridCol w="2326822">
                  <a:extLst>
                    <a:ext uri="{9D8B030D-6E8A-4147-A177-3AD203B41FA5}">
                      <a16:colId xmlns:a16="http://schemas.microsoft.com/office/drawing/2014/main" val="3428329668"/>
                    </a:ext>
                  </a:extLst>
                </a:gridCol>
              </a:tblGrid>
              <a:tr h="374145">
                <a:tc>
                  <a:txBody>
                    <a:bodyPr/>
                    <a:lstStyle/>
                    <a:p>
                      <a:r>
                        <a:rPr lang="en-US" sz="1800">
                          <a:solidFill>
                            <a:schemeClr val="bg1"/>
                          </a:solidFill>
                        </a:rPr>
                        <a:t>Cassandra</a:t>
                      </a:r>
                    </a:p>
                  </a:txBody>
                  <a:tcPr>
                    <a:solidFill>
                      <a:schemeClr val="accent1"/>
                    </a:solidFill>
                  </a:tcPr>
                </a:tc>
                <a:tc gridSpan="2">
                  <a:txBody>
                    <a:bodyPr/>
                    <a:lstStyle/>
                    <a:p>
                      <a:r>
                        <a:rPr lang="en-US" sz="1800">
                          <a:solidFill>
                            <a:schemeClr val="bg1"/>
                          </a:solidFill>
                        </a:rPr>
                        <a:t>Cosmos DB</a:t>
                      </a:r>
                    </a:p>
                  </a:txBody>
                  <a:tcPr>
                    <a:solidFill>
                      <a:schemeClr val="tx2"/>
                    </a:solidFill>
                  </a:tcPr>
                </a:tc>
                <a:tc hMerge="1">
                  <a:txBody>
                    <a:bodyPr/>
                    <a:lstStyle/>
                    <a:p>
                      <a:endParaRPr lang="en-US"/>
                    </a:p>
                  </a:txBody>
                  <a:tcPr>
                    <a:solidFill>
                      <a:schemeClr val="tx2"/>
                    </a:solidFill>
                  </a:tcPr>
                </a:tc>
                <a:extLst>
                  <a:ext uri="{0D108BD9-81ED-4DB2-BD59-A6C34878D82A}">
                    <a16:rowId xmlns:a16="http://schemas.microsoft.com/office/drawing/2014/main" val="1675171180"/>
                  </a:ext>
                </a:extLst>
              </a:tr>
              <a:tr h="1147561">
                <a:tc>
                  <a:txBody>
                    <a:bodyPr/>
                    <a:lstStyle/>
                    <a:p>
                      <a:r>
                        <a:rPr lang="en-US" sz="1400">
                          <a:solidFill>
                            <a:srgbClr val="FF0000"/>
                          </a:solidFill>
                        </a:rPr>
                        <a:t>High DevOps and license fees</a:t>
                      </a:r>
                    </a:p>
                  </a:txBody>
                  <a:tcPr>
                    <a:solidFill>
                      <a:srgbClr val="FF0000">
                        <a:alpha val="7000"/>
                      </a:srgbClr>
                    </a:solidFill>
                  </a:tcPr>
                </a:tc>
                <a:tc>
                  <a:txBody>
                    <a:bodyPr/>
                    <a:lstStyle/>
                    <a:p>
                      <a:r>
                        <a:rPr lang="en-US" sz="1400">
                          <a:solidFill>
                            <a:srgbClr val="00B050"/>
                          </a:solidFill>
                        </a:rPr>
                        <a:t>No DevOps or license fees</a:t>
                      </a:r>
                    </a:p>
                    <a:p>
                      <a:endParaRPr lang="en-US" sz="1400">
                        <a:solidFill>
                          <a:srgbClr val="00B050"/>
                        </a:solidFill>
                      </a:endParaRPr>
                    </a:p>
                    <a:p>
                      <a:r>
                        <a:rPr lang="en-US" sz="1400" b="1">
                          <a:solidFill>
                            <a:srgbClr val="00B050"/>
                          </a:solidFill>
                        </a:rPr>
                        <a:t>Up to 40% savings</a:t>
                      </a:r>
                    </a:p>
                  </a:txBody>
                  <a:tcPr>
                    <a:solidFill>
                      <a:srgbClr val="00B050">
                        <a:alpha val="9000"/>
                      </a:srgbClr>
                    </a:solidFill>
                  </a:tcPr>
                </a:tc>
                <a:tc>
                  <a:txBody>
                    <a:bodyPr/>
                    <a:lstStyle/>
                    <a:p>
                      <a:endParaRPr lang="en-US" sz="1200"/>
                    </a:p>
                  </a:txBody>
                  <a:tcPr/>
                </a:tc>
                <a:extLst>
                  <a:ext uri="{0D108BD9-81ED-4DB2-BD59-A6C34878D82A}">
                    <a16:rowId xmlns:a16="http://schemas.microsoft.com/office/drawing/2014/main" val="162463533"/>
                  </a:ext>
                </a:extLst>
              </a:tr>
              <a:tr h="1331074">
                <a:tc>
                  <a:txBody>
                    <a:bodyPr/>
                    <a:lstStyle/>
                    <a:p>
                      <a:r>
                        <a:rPr lang="en-US" sz="1400">
                          <a:solidFill>
                            <a:srgbClr val="FF0000"/>
                          </a:solidFill>
                        </a:rPr>
                        <a:t>Limited elasticity. Over- provisioning</a:t>
                      </a:r>
                    </a:p>
                  </a:txBody>
                  <a:tcPr>
                    <a:solidFill>
                      <a:srgbClr val="FF0000">
                        <a:alpha val="7000"/>
                      </a:srgbClr>
                    </a:solidFill>
                  </a:tcPr>
                </a:tc>
                <a:tc>
                  <a:txBody>
                    <a:bodyPr/>
                    <a:lstStyle/>
                    <a:p>
                      <a:r>
                        <a:rPr lang="en-US" sz="1400">
                          <a:solidFill>
                            <a:srgbClr val="00B050"/>
                          </a:solidFill>
                        </a:rPr>
                        <a:t>Instant and limitless elasticity</a:t>
                      </a:r>
                    </a:p>
                    <a:p>
                      <a:endParaRPr lang="en-US" sz="1400">
                        <a:solidFill>
                          <a:srgbClr val="00B050"/>
                        </a:solidFill>
                      </a:endParaRPr>
                    </a:p>
                    <a:p>
                      <a:r>
                        <a:rPr lang="en-US" sz="1400" b="1">
                          <a:solidFill>
                            <a:srgbClr val="00B050"/>
                          </a:solidFill>
                        </a:rPr>
                        <a:t>Up to 25% savings</a:t>
                      </a:r>
                    </a:p>
                  </a:txBody>
                  <a:tcPr>
                    <a:solidFill>
                      <a:srgbClr val="00B050">
                        <a:alpha val="9000"/>
                      </a:srgbClr>
                    </a:solidFill>
                  </a:tcPr>
                </a:tc>
                <a:tc>
                  <a:txBody>
                    <a:bodyPr/>
                    <a:lstStyle/>
                    <a:p>
                      <a:endParaRPr lang="en-US" sz="1200"/>
                    </a:p>
                    <a:p>
                      <a:endParaRPr lang="en-US" sz="1200"/>
                    </a:p>
                    <a:p>
                      <a:endParaRPr lang="en-US" sz="1200"/>
                    </a:p>
                    <a:p>
                      <a:endParaRPr lang="en-US" sz="1200"/>
                    </a:p>
                    <a:p>
                      <a:endParaRPr lang="en-US" sz="1200"/>
                    </a:p>
                    <a:p>
                      <a:endParaRPr lang="en-US" sz="1200"/>
                    </a:p>
                    <a:p>
                      <a:endParaRPr lang="en-US" sz="1200"/>
                    </a:p>
                  </a:txBody>
                  <a:tcPr/>
                </a:tc>
                <a:extLst>
                  <a:ext uri="{0D108BD9-81ED-4DB2-BD59-A6C34878D82A}">
                    <a16:rowId xmlns:a16="http://schemas.microsoft.com/office/drawing/2014/main" val="1186243888"/>
                  </a:ext>
                </a:extLst>
              </a:tr>
              <a:tr h="1331074">
                <a:tc>
                  <a:txBody>
                    <a:bodyPr/>
                    <a:lstStyle/>
                    <a:p>
                      <a:r>
                        <a:rPr lang="en-US" sz="1400">
                          <a:solidFill>
                            <a:srgbClr val="FF0000"/>
                          </a:solidFill>
                        </a:rPr>
                        <a:t>Not Cloud-optimized. Poor compute, network, and storage utilization. </a:t>
                      </a:r>
                    </a:p>
                  </a:txBody>
                  <a:tcPr>
                    <a:solidFill>
                      <a:srgbClr val="FF0000">
                        <a:alpha val="7000"/>
                      </a:srgbClr>
                    </a:solidFill>
                  </a:tcPr>
                </a:tc>
                <a:tc>
                  <a:txBody>
                    <a:bodyPr/>
                    <a:lstStyle/>
                    <a:p>
                      <a:r>
                        <a:rPr lang="en-US" sz="1400">
                          <a:solidFill>
                            <a:srgbClr val="00B050"/>
                          </a:solidFill>
                        </a:rPr>
                        <a:t>Azure-optimized. High compute and network utilization.</a:t>
                      </a:r>
                    </a:p>
                    <a:p>
                      <a:endParaRPr lang="en-US" sz="1400">
                        <a:solidFill>
                          <a:srgbClr val="00B050"/>
                        </a:solidFill>
                      </a:endParaRPr>
                    </a:p>
                    <a:p>
                      <a:r>
                        <a:rPr lang="en-US" sz="1400" b="1">
                          <a:solidFill>
                            <a:srgbClr val="00B050"/>
                          </a:solidFill>
                        </a:rPr>
                        <a:t>Up to 40% savings</a:t>
                      </a:r>
                    </a:p>
                  </a:txBody>
                  <a:tcPr>
                    <a:solidFill>
                      <a:srgbClr val="00B050">
                        <a:alpha val="9000"/>
                      </a:srgbClr>
                    </a:solidFill>
                  </a:tcPr>
                </a:tc>
                <a:tc>
                  <a:txBody>
                    <a:bodyPr/>
                    <a:lstStyle/>
                    <a:p>
                      <a:endParaRPr lang="en-US" sz="1200" dirty="0"/>
                    </a:p>
                  </a:txBody>
                  <a:tcPr/>
                </a:tc>
                <a:extLst>
                  <a:ext uri="{0D108BD9-81ED-4DB2-BD59-A6C34878D82A}">
                    <a16:rowId xmlns:a16="http://schemas.microsoft.com/office/drawing/2014/main" val="1768435425"/>
                  </a:ext>
                </a:extLst>
              </a:tr>
            </a:tbl>
          </a:graphicData>
        </a:graphic>
      </p:graphicFrame>
      <p:sp>
        <p:nvSpPr>
          <p:cNvPr id="36" name="Text Placeholder 2">
            <a:extLst>
              <a:ext uri="{FF2B5EF4-FFF2-40B4-BE49-F238E27FC236}">
                <a16:creationId xmlns:a16="http://schemas.microsoft.com/office/drawing/2014/main" id="{377E35EE-2E4B-4E41-BD10-1A0BF3897802}"/>
              </a:ext>
            </a:extLst>
          </p:cNvPr>
          <p:cNvSpPr>
            <a:spLocks noGrp="1"/>
          </p:cNvSpPr>
          <p:nvPr>
            <p:ph type="body" sz="quarter" idx="10"/>
          </p:nvPr>
        </p:nvSpPr>
        <p:spPr>
          <a:xfrm>
            <a:off x="118361" y="1403242"/>
            <a:ext cx="6044383" cy="572464"/>
          </a:xfrm>
        </p:spPr>
        <p:txBody>
          <a:bodyPr/>
          <a:lstStyle/>
          <a:p>
            <a:r>
              <a:rPr lang="en-CA" sz="2800"/>
              <a:t>Cloud Cassandra TCO Challenges</a:t>
            </a:r>
            <a:endParaRPr lang="en-CA" sz="1800"/>
          </a:p>
        </p:txBody>
      </p:sp>
      <p:pic>
        <p:nvPicPr>
          <p:cNvPr id="37" name="Picture 36">
            <a:extLst>
              <a:ext uri="{FF2B5EF4-FFF2-40B4-BE49-F238E27FC236}">
                <a16:creationId xmlns:a16="http://schemas.microsoft.com/office/drawing/2014/main" id="{372F0AE1-6C7D-4AFC-9C90-09D6EE8B1AD5}"/>
              </a:ext>
            </a:extLst>
          </p:cNvPr>
          <p:cNvPicPr>
            <a:picLocks noChangeAspect="1"/>
          </p:cNvPicPr>
          <p:nvPr/>
        </p:nvPicPr>
        <p:blipFill>
          <a:blip r:embed="rId3"/>
          <a:stretch>
            <a:fillRect/>
          </a:stretch>
        </p:blipFill>
        <p:spPr>
          <a:xfrm>
            <a:off x="3499527" y="2477557"/>
            <a:ext cx="1832695" cy="985768"/>
          </a:xfrm>
          <a:prstGeom prst="rect">
            <a:avLst/>
          </a:prstGeom>
        </p:spPr>
      </p:pic>
      <p:pic>
        <p:nvPicPr>
          <p:cNvPr id="38" name="Picture 37">
            <a:extLst>
              <a:ext uri="{FF2B5EF4-FFF2-40B4-BE49-F238E27FC236}">
                <a16:creationId xmlns:a16="http://schemas.microsoft.com/office/drawing/2014/main" id="{5D1DDC47-4569-4175-8B28-781277CF8CA0}"/>
              </a:ext>
            </a:extLst>
          </p:cNvPr>
          <p:cNvPicPr>
            <a:picLocks noChangeAspect="1"/>
          </p:cNvPicPr>
          <p:nvPr/>
        </p:nvPicPr>
        <p:blipFill>
          <a:blip r:embed="rId4"/>
          <a:stretch>
            <a:fillRect/>
          </a:stretch>
        </p:blipFill>
        <p:spPr>
          <a:xfrm>
            <a:off x="3499527" y="3589498"/>
            <a:ext cx="1832695" cy="1065608"/>
          </a:xfrm>
          <a:prstGeom prst="rect">
            <a:avLst/>
          </a:prstGeom>
        </p:spPr>
      </p:pic>
      <p:pic>
        <p:nvPicPr>
          <p:cNvPr id="39" name="Picture 38">
            <a:extLst>
              <a:ext uri="{FF2B5EF4-FFF2-40B4-BE49-F238E27FC236}">
                <a16:creationId xmlns:a16="http://schemas.microsoft.com/office/drawing/2014/main" id="{E7B128FF-1ECE-4DCC-9514-86733503FCD4}"/>
              </a:ext>
            </a:extLst>
          </p:cNvPr>
          <p:cNvPicPr>
            <a:picLocks noChangeAspect="1"/>
          </p:cNvPicPr>
          <p:nvPr/>
        </p:nvPicPr>
        <p:blipFill>
          <a:blip r:embed="rId5"/>
          <a:stretch>
            <a:fillRect/>
          </a:stretch>
        </p:blipFill>
        <p:spPr>
          <a:xfrm>
            <a:off x="3477623" y="4874414"/>
            <a:ext cx="1968001" cy="991688"/>
          </a:xfrm>
          <a:prstGeom prst="rect">
            <a:avLst/>
          </a:prstGeom>
        </p:spPr>
      </p:pic>
      <p:sp>
        <p:nvSpPr>
          <p:cNvPr id="41" name="Text Placeholder 3">
            <a:extLst>
              <a:ext uri="{FF2B5EF4-FFF2-40B4-BE49-F238E27FC236}">
                <a16:creationId xmlns:a16="http://schemas.microsoft.com/office/drawing/2014/main" id="{6638B02A-C05A-4D1A-83E5-5EB29ED6C9C5}"/>
              </a:ext>
            </a:extLst>
          </p:cNvPr>
          <p:cNvSpPr txBox="1">
            <a:spLocks/>
          </p:cNvSpPr>
          <p:nvPr/>
        </p:nvSpPr>
        <p:spPr>
          <a:xfrm>
            <a:off x="6162743" y="1405218"/>
            <a:ext cx="5826758" cy="572464"/>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ts val="1200"/>
              </a:spcBef>
              <a:spcAft>
                <a:spcPts val="0"/>
              </a:spcAft>
              <a:buClr>
                <a:schemeClr val="tx1"/>
              </a:buClr>
              <a:buSzPct val="90000"/>
              <a:buFont typeface="Wingdings" pitchFamily="2" charset="2"/>
              <a:buNone/>
              <a:tabLst/>
              <a:defRPr sz="3136"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solidFill>
                <a:latin typeface="+mn-lt"/>
                <a:ea typeface="+mn-ea"/>
                <a:cs typeface="+mn-cs"/>
              </a:defRPr>
            </a:lvl2pPr>
            <a:lvl3pPr marL="22716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solidFill>
                <a:latin typeface="+mn-lt"/>
                <a:ea typeface="+mn-ea"/>
                <a:cs typeface="+mn-cs"/>
              </a:defRPr>
            </a:lvl3pPr>
            <a:lvl4pPr marL="451219"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400" kern="1200" spc="0" baseline="0">
                <a:solidFill>
                  <a:schemeClr val="tx1"/>
                </a:solidFill>
                <a:latin typeface="+mn-lt"/>
                <a:ea typeface="+mn-ea"/>
                <a:cs typeface="+mn-cs"/>
              </a:defRPr>
            </a:lvl4pPr>
            <a:lvl5pPr marL="672161"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4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buClr>
                <a:srgbClr val="505050"/>
              </a:buClr>
              <a:defRPr/>
            </a:pPr>
            <a:r>
              <a:rPr lang="en-CA" sz="2800">
                <a:gradFill>
                  <a:gsLst>
                    <a:gs pos="1250">
                      <a:srgbClr val="0078D7"/>
                    </a:gs>
                    <a:gs pos="99000">
                      <a:srgbClr val="0078D7"/>
                    </a:gs>
                  </a:gsLst>
                  <a:lin ang="5400000" scaled="0"/>
                </a:gradFill>
                <a:latin typeface="Segoe UI Light"/>
              </a:rPr>
              <a:t>TCO Savings with Azure Cosmos DB</a:t>
            </a:r>
            <a:endParaRPr lang="en-CA" sz="1800">
              <a:gradFill>
                <a:gsLst>
                  <a:gs pos="1250">
                    <a:srgbClr val="0078D7"/>
                  </a:gs>
                  <a:gs pos="99000">
                    <a:srgbClr val="0078D7"/>
                  </a:gs>
                </a:gsLst>
                <a:lin ang="5400000" scaled="0"/>
              </a:gradFill>
              <a:latin typeface="Segoe UI Light"/>
            </a:endParaRPr>
          </a:p>
        </p:txBody>
      </p:sp>
      <p:grpSp>
        <p:nvGrpSpPr>
          <p:cNvPr id="29" name="Group 28">
            <a:extLst>
              <a:ext uri="{FF2B5EF4-FFF2-40B4-BE49-F238E27FC236}">
                <a16:creationId xmlns:a16="http://schemas.microsoft.com/office/drawing/2014/main" id="{7625242E-73BE-4A09-B120-874A561E2B55}"/>
              </a:ext>
            </a:extLst>
          </p:cNvPr>
          <p:cNvGrpSpPr/>
          <p:nvPr/>
        </p:nvGrpSpPr>
        <p:grpSpPr>
          <a:xfrm>
            <a:off x="10178692" y="5141174"/>
            <a:ext cx="1438058" cy="1339770"/>
            <a:chOff x="9965074" y="5048953"/>
            <a:chExt cx="1438058" cy="1339770"/>
          </a:xfrm>
        </p:grpSpPr>
        <p:sp>
          <p:nvSpPr>
            <p:cNvPr id="34" name="Rectangle 33">
              <a:extLst>
                <a:ext uri="{FF2B5EF4-FFF2-40B4-BE49-F238E27FC236}">
                  <a16:creationId xmlns:a16="http://schemas.microsoft.com/office/drawing/2014/main" id="{D611BAC2-475D-4498-BCCF-DEAB2F686741}"/>
                </a:ext>
              </a:extLst>
            </p:cNvPr>
            <p:cNvSpPr/>
            <p:nvPr/>
          </p:nvSpPr>
          <p:spPr bwMode="auto">
            <a:xfrm>
              <a:off x="9965074" y="5565114"/>
              <a:ext cx="1430139" cy="823609"/>
            </a:xfrm>
            <a:prstGeom prst="rect">
              <a:avLst/>
            </a:prstGeom>
            <a:solidFill>
              <a:schemeClr val="accent1">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a:rPr>
                <a:t>Throughput</a:t>
              </a:r>
            </a:p>
          </p:txBody>
        </p:sp>
        <p:sp>
          <p:nvSpPr>
            <p:cNvPr id="40" name="Rectangle 39">
              <a:extLst>
                <a:ext uri="{FF2B5EF4-FFF2-40B4-BE49-F238E27FC236}">
                  <a16:creationId xmlns:a16="http://schemas.microsoft.com/office/drawing/2014/main" id="{B3D49184-57A4-4E96-AF96-AD9C54368BAD}"/>
                </a:ext>
              </a:extLst>
            </p:cNvPr>
            <p:cNvSpPr/>
            <p:nvPr/>
          </p:nvSpPr>
          <p:spPr bwMode="auto">
            <a:xfrm>
              <a:off x="9965074" y="5338178"/>
              <a:ext cx="1430139" cy="193254"/>
            </a:xfrm>
            <a:prstGeom prst="rect">
              <a:avLst/>
            </a:prstGeom>
            <a:solidFill>
              <a:schemeClr val="accent1">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a:rPr>
                <a:t>Storage</a:t>
              </a:r>
            </a:p>
          </p:txBody>
        </p:sp>
        <p:sp>
          <p:nvSpPr>
            <p:cNvPr id="42" name="Rectangle 41">
              <a:extLst>
                <a:ext uri="{FF2B5EF4-FFF2-40B4-BE49-F238E27FC236}">
                  <a16:creationId xmlns:a16="http://schemas.microsoft.com/office/drawing/2014/main" id="{ECC2A8C8-5E0D-4E6D-89A7-947D797333FA}"/>
                </a:ext>
              </a:extLst>
            </p:cNvPr>
            <p:cNvSpPr/>
            <p:nvPr/>
          </p:nvSpPr>
          <p:spPr bwMode="auto">
            <a:xfrm>
              <a:off x="9965074" y="5048953"/>
              <a:ext cx="1438058" cy="245877"/>
            </a:xfrm>
            <a:prstGeom prst="rect">
              <a:avLst/>
            </a:prstGeom>
            <a:solidFill>
              <a:schemeClr val="accent1">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a:rPr>
                <a:t>Bandwidth</a:t>
              </a:r>
            </a:p>
          </p:txBody>
        </p:sp>
      </p:grpSp>
    </p:spTree>
    <p:extLst>
      <p:ext uri="{BB962C8B-B14F-4D97-AF65-F5344CB8AC3E}">
        <p14:creationId xmlns:p14="http://schemas.microsoft.com/office/powerpoint/2010/main" val="3765642716"/>
      </p:ext>
    </p:extLst>
  </p:cSld>
  <p:clrMapOvr>
    <a:masterClrMapping/>
  </p:clrMapOvr>
  <p:transition>
    <p:fade/>
  </p:transition>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54B8B-1C53-4101-A372-63AE018E33B5}"/>
              </a:ext>
            </a:extLst>
          </p:cNvPr>
          <p:cNvSpPr>
            <a:spLocks noGrp="1"/>
          </p:cNvSpPr>
          <p:nvPr>
            <p:ph type="title"/>
          </p:nvPr>
        </p:nvSpPr>
        <p:spPr/>
        <p:txBody>
          <a:bodyPr/>
          <a:lstStyle/>
          <a:p>
            <a:r>
              <a:rPr lang="en-CA" dirty="0"/>
              <a:t>Save vs MongoDB on </a:t>
            </a:r>
            <a:r>
              <a:rPr lang="en-CA" dirty="0" err="1"/>
              <a:t>iaas</a:t>
            </a:r>
            <a:endParaRPr lang="en-US" dirty="0"/>
          </a:p>
        </p:txBody>
      </p:sp>
      <p:sp>
        <p:nvSpPr>
          <p:cNvPr id="18" name="Freeform: Shape 637">
            <a:extLst>
              <a:ext uri="{FF2B5EF4-FFF2-40B4-BE49-F238E27FC236}">
                <a16:creationId xmlns:a16="http://schemas.microsoft.com/office/drawing/2014/main" id="{4A2A1A9F-CAD6-487D-B440-ABA3435B3035}"/>
              </a:ext>
            </a:extLst>
          </p:cNvPr>
          <p:cNvSpPr/>
          <p:nvPr/>
        </p:nvSpPr>
        <p:spPr bwMode="auto">
          <a:xfrm rot="19800000">
            <a:off x="11046678" y="3179797"/>
            <a:ext cx="438241" cy="933081"/>
          </a:xfrm>
          <a:custGeom>
            <a:avLst/>
            <a:gdLst>
              <a:gd name="connsiteX0" fmla="*/ 0 w 347650"/>
              <a:gd name="connsiteY0" fmla="*/ 0 h 740203"/>
              <a:gd name="connsiteX1" fmla="*/ 347650 w 347650"/>
              <a:gd name="connsiteY1" fmla="*/ 0 h 740203"/>
              <a:gd name="connsiteX2" fmla="*/ 347650 w 347650"/>
              <a:gd name="connsiteY2" fmla="*/ 740203 h 740203"/>
              <a:gd name="connsiteX3" fmla="*/ 172978 w 347650"/>
              <a:gd name="connsiteY3" fmla="*/ 602925 h 740203"/>
              <a:gd name="connsiteX4" fmla="*/ 0 w 347650"/>
              <a:gd name="connsiteY4" fmla="*/ 738872 h 740203"/>
              <a:gd name="connsiteX5" fmla="*/ 0 w 347650"/>
              <a:gd name="connsiteY5" fmla="*/ 0 h 7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650" h="740203">
                <a:moveTo>
                  <a:pt x="0" y="0"/>
                </a:moveTo>
                <a:lnTo>
                  <a:pt x="347650" y="0"/>
                </a:lnTo>
                <a:lnTo>
                  <a:pt x="347650" y="740203"/>
                </a:lnTo>
                <a:lnTo>
                  <a:pt x="172978" y="602925"/>
                </a:lnTo>
                <a:lnTo>
                  <a:pt x="0" y="738872"/>
                </a:lnTo>
                <a:lnTo>
                  <a:pt x="0" y="0"/>
                </a:lnTo>
                <a:close/>
              </a:path>
            </a:pathLst>
          </a:custGeom>
          <a:solidFill>
            <a:schemeClr val="bg1"/>
          </a:solidFill>
          <a:ln w="12700">
            <a:solidFill>
              <a:srgbClr val="017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9" name="Freeform: Shape 638">
            <a:extLst>
              <a:ext uri="{FF2B5EF4-FFF2-40B4-BE49-F238E27FC236}">
                <a16:creationId xmlns:a16="http://schemas.microsoft.com/office/drawing/2014/main" id="{B45B7550-423E-4C04-A527-7749CBF17A5F}"/>
              </a:ext>
            </a:extLst>
          </p:cNvPr>
          <p:cNvSpPr/>
          <p:nvPr/>
        </p:nvSpPr>
        <p:spPr bwMode="auto">
          <a:xfrm rot="1800000">
            <a:off x="10403347" y="3148689"/>
            <a:ext cx="438241" cy="933081"/>
          </a:xfrm>
          <a:custGeom>
            <a:avLst/>
            <a:gdLst>
              <a:gd name="connsiteX0" fmla="*/ 0 w 347650"/>
              <a:gd name="connsiteY0" fmla="*/ 0 h 740203"/>
              <a:gd name="connsiteX1" fmla="*/ 347650 w 347650"/>
              <a:gd name="connsiteY1" fmla="*/ 0 h 740203"/>
              <a:gd name="connsiteX2" fmla="*/ 347650 w 347650"/>
              <a:gd name="connsiteY2" fmla="*/ 740203 h 740203"/>
              <a:gd name="connsiteX3" fmla="*/ 172978 w 347650"/>
              <a:gd name="connsiteY3" fmla="*/ 602925 h 740203"/>
              <a:gd name="connsiteX4" fmla="*/ 0 w 347650"/>
              <a:gd name="connsiteY4" fmla="*/ 738872 h 740203"/>
              <a:gd name="connsiteX5" fmla="*/ 0 w 347650"/>
              <a:gd name="connsiteY5" fmla="*/ 0 h 7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650" h="740203">
                <a:moveTo>
                  <a:pt x="0" y="0"/>
                </a:moveTo>
                <a:lnTo>
                  <a:pt x="347650" y="0"/>
                </a:lnTo>
                <a:lnTo>
                  <a:pt x="347650" y="740203"/>
                </a:lnTo>
                <a:lnTo>
                  <a:pt x="172978" y="602925"/>
                </a:lnTo>
                <a:lnTo>
                  <a:pt x="0" y="738872"/>
                </a:lnTo>
                <a:lnTo>
                  <a:pt x="0" y="0"/>
                </a:lnTo>
                <a:close/>
              </a:path>
            </a:pathLst>
          </a:custGeom>
          <a:solidFill>
            <a:schemeClr val="bg1"/>
          </a:solidFill>
          <a:ln w="12700">
            <a:solidFill>
              <a:srgbClr val="017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0" name="Star: 12 Points 635">
            <a:extLst>
              <a:ext uri="{FF2B5EF4-FFF2-40B4-BE49-F238E27FC236}">
                <a16:creationId xmlns:a16="http://schemas.microsoft.com/office/drawing/2014/main" id="{6A852434-8462-4FA4-A922-99FCCE437023}"/>
              </a:ext>
            </a:extLst>
          </p:cNvPr>
          <p:cNvSpPr/>
          <p:nvPr/>
        </p:nvSpPr>
        <p:spPr bwMode="auto">
          <a:xfrm>
            <a:off x="10184157" y="2189631"/>
            <a:ext cx="1519948" cy="1519946"/>
          </a:xfrm>
          <a:prstGeom prst="star12">
            <a:avLst>
              <a:gd name="adj" fmla="val 40530"/>
            </a:avLst>
          </a:prstGeom>
          <a:solidFill>
            <a:schemeClr val="bg1"/>
          </a:solidFill>
          <a:ln w="12700">
            <a:solidFill>
              <a:srgbClr val="017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1" name="TextBox 20">
            <a:extLst>
              <a:ext uri="{FF2B5EF4-FFF2-40B4-BE49-F238E27FC236}">
                <a16:creationId xmlns:a16="http://schemas.microsoft.com/office/drawing/2014/main" id="{48880373-A225-4BAF-9506-4F0845201C72}"/>
              </a:ext>
            </a:extLst>
          </p:cNvPr>
          <p:cNvSpPr txBox="1"/>
          <p:nvPr/>
        </p:nvSpPr>
        <p:spPr>
          <a:xfrm>
            <a:off x="10437894" y="2523024"/>
            <a:ext cx="957634" cy="780214"/>
          </a:xfrm>
          <a:prstGeom prst="rect">
            <a:avLst/>
          </a:prstGeom>
          <a:noFill/>
        </p:spPr>
        <p:txBody>
          <a:bodyPr wrap="square" lIns="182880" tIns="146304" rIns="182880" bIns="146304" rtlCol="0">
            <a:spAutoFit/>
          </a:bodyPr>
          <a:lstStyle/>
          <a:p>
            <a:pPr algn="ctr">
              <a:lnSpc>
                <a:spcPct val="90000"/>
              </a:lnSpc>
              <a:defRPr/>
            </a:pPr>
            <a:r>
              <a:rPr lang="en-CA" sz="2400" b="1">
                <a:solidFill>
                  <a:srgbClr val="0177D7"/>
                </a:solidFill>
                <a:latin typeface="Segoe UI Semilight"/>
              </a:rPr>
              <a:t>5-6x</a:t>
            </a:r>
            <a:endParaRPr lang="en-US" sz="1050" b="1">
              <a:solidFill>
                <a:srgbClr val="0177D7"/>
              </a:solidFill>
              <a:latin typeface="Segoe UI Semilight"/>
            </a:endParaRPr>
          </a:p>
          <a:p>
            <a:pPr algn="ctr">
              <a:lnSpc>
                <a:spcPct val="90000"/>
              </a:lnSpc>
              <a:defRPr/>
            </a:pPr>
            <a:r>
              <a:rPr lang="en-US" sz="1100">
                <a:solidFill>
                  <a:srgbClr val="0177D7"/>
                </a:solidFill>
                <a:latin typeface="Segoe UI Semilight"/>
              </a:rPr>
              <a:t>Savings</a:t>
            </a:r>
          </a:p>
        </p:txBody>
      </p:sp>
      <p:sp>
        <p:nvSpPr>
          <p:cNvPr id="22" name="Flowchart: Connector 21">
            <a:extLst>
              <a:ext uri="{FF2B5EF4-FFF2-40B4-BE49-F238E27FC236}">
                <a16:creationId xmlns:a16="http://schemas.microsoft.com/office/drawing/2014/main" id="{8DE5A860-6C28-4673-B97B-B407359E15D6}"/>
              </a:ext>
            </a:extLst>
          </p:cNvPr>
          <p:cNvSpPr/>
          <p:nvPr/>
        </p:nvSpPr>
        <p:spPr bwMode="auto">
          <a:xfrm>
            <a:off x="10570157" y="2570668"/>
            <a:ext cx="746043" cy="726756"/>
          </a:xfrm>
          <a:prstGeom prst="flowChartConnector">
            <a:avLst/>
          </a:prstGeom>
          <a:noFill/>
          <a:ln w="12700">
            <a:solidFill>
              <a:srgbClr val="0177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8" name="TextBox 27">
            <a:extLst>
              <a:ext uri="{FF2B5EF4-FFF2-40B4-BE49-F238E27FC236}">
                <a16:creationId xmlns:a16="http://schemas.microsoft.com/office/drawing/2014/main" id="{023299F5-D7FD-4A43-BD51-BDB966AC95CA}"/>
              </a:ext>
            </a:extLst>
          </p:cNvPr>
          <p:cNvSpPr txBox="1"/>
          <p:nvPr/>
        </p:nvSpPr>
        <p:spPr>
          <a:xfrm>
            <a:off x="8281753" y="3648422"/>
            <a:ext cx="1519947" cy="397057"/>
          </a:xfrm>
          <a:prstGeom prst="rect">
            <a:avLst/>
          </a:prstGeom>
          <a:noFill/>
        </p:spPr>
        <p:txBody>
          <a:bodyPr wrap="square" lIns="182880" tIns="146304" rIns="182880" bIns="146304" rtlCol="0">
            <a:noAutofit/>
          </a:bodyPr>
          <a:lstStyle/>
          <a:p>
            <a:pPr>
              <a:lnSpc>
                <a:spcPct val="90000"/>
              </a:lnSpc>
              <a:defRPr/>
            </a:pPr>
            <a:r>
              <a:rPr lang="en-US" sz="1500" b="1" i="1">
                <a:gradFill>
                  <a:gsLst>
                    <a:gs pos="1250">
                      <a:prstClr val="black"/>
                    </a:gs>
                    <a:gs pos="99000">
                      <a:prstClr val="black"/>
                    </a:gs>
                  </a:gsLst>
                  <a:lin ang="5400000" scaled="0"/>
                </a:gradFill>
                <a:latin typeface="Segoe UI"/>
              </a:rPr>
              <a:t>$12,149/ mo</a:t>
            </a:r>
          </a:p>
        </p:txBody>
      </p:sp>
      <p:sp>
        <p:nvSpPr>
          <p:cNvPr id="29" name="TextBox 28">
            <a:extLst>
              <a:ext uri="{FF2B5EF4-FFF2-40B4-BE49-F238E27FC236}">
                <a16:creationId xmlns:a16="http://schemas.microsoft.com/office/drawing/2014/main" id="{5AE7E7C4-02C6-46F6-9525-A1BC1693D7B2}"/>
              </a:ext>
            </a:extLst>
          </p:cNvPr>
          <p:cNvSpPr txBox="1"/>
          <p:nvPr/>
        </p:nvSpPr>
        <p:spPr>
          <a:xfrm>
            <a:off x="6283677" y="6205871"/>
            <a:ext cx="2169936" cy="350837"/>
          </a:xfrm>
          <a:prstGeom prst="rect">
            <a:avLst/>
          </a:prstGeom>
          <a:noFill/>
        </p:spPr>
        <p:txBody>
          <a:bodyPr wrap="square" lIns="182880" tIns="146304" rIns="182880" bIns="146304" rtlCol="0">
            <a:noAutofit/>
          </a:bodyPr>
          <a:lstStyle/>
          <a:p>
            <a:pPr algn="ctr">
              <a:lnSpc>
                <a:spcPct val="90000"/>
              </a:lnSpc>
              <a:defRPr/>
            </a:pPr>
            <a:r>
              <a:rPr lang="en-US" sz="1200" b="1">
                <a:gradFill>
                  <a:gsLst>
                    <a:gs pos="1250">
                      <a:prstClr val="black"/>
                    </a:gs>
                    <a:gs pos="99000">
                      <a:prstClr val="black"/>
                    </a:gs>
                  </a:gsLst>
                  <a:lin ang="5400000" scaled="0"/>
                </a:gradFill>
                <a:latin typeface="Segoe UI"/>
              </a:rPr>
              <a:t>12 node (L16) MongoDB Enterprise cluster w support</a:t>
            </a:r>
          </a:p>
        </p:txBody>
      </p:sp>
      <p:sp>
        <p:nvSpPr>
          <p:cNvPr id="30" name="Rectangle 29">
            <a:extLst>
              <a:ext uri="{FF2B5EF4-FFF2-40B4-BE49-F238E27FC236}">
                <a16:creationId xmlns:a16="http://schemas.microsoft.com/office/drawing/2014/main" id="{A11CC05A-2F6F-431A-8ED7-5A40ECEF9D25}"/>
              </a:ext>
            </a:extLst>
          </p:cNvPr>
          <p:cNvSpPr/>
          <p:nvPr/>
        </p:nvSpPr>
        <p:spPr bwMode="auto">
          <a:xfrm>
            <a:off x="8381474" y="4640727"/>
            <a:ext cx="1508133" cy="158949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a:rPr>
              <a:t>Virtual Machines</a:t>
            </a:r>
          </a:p>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a:rPr>
              <a:t>and Storage</a:t>
            </a:r>
          </a:p>
        </p:txBody>
      </p:sp>
      <p:sp>
        <p:nvSpPr>
          <p:cNvPr id="31" name="Rectangle 30">
            <a:extLst>
              <a:ext uri="{FF2B5EF4-FFF2-40B4-BE49-F238E27FC236}">
                <a16:creationId xmlns:a16="http://schemas.microsoft.com/office/drawing/2014/main" id="{E26E4391-C6C7-4FC4-A055-355D6E3A5980}"/>
              </a:ext>
            </a:extLst>
          </p:cNvPr>
          <p:cNvSpPr/>
          <p:nvPr/>
        </p:nvSpPr>
        <p:spPr bwMode="auto">
          <a:xfrm>
            <a:off x="6479758" y="2877766"/>
            <a:ext cx="1641651" cy="1289117"/>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a:rPr>
              <a:t>MongoDB licenses</a:t>
            </a:r>
          </a:p>
        </p:txBody>
      </p:sp>
      <p:sp>
        <p:nvSpPr>
          <p:cNvPr id="32" name="TextBox 31">
            <a:extLst>
              <a:ext uri="{FF2B5EF4-FFF2-40B4-BE49-F238E27FC236}">
                <a16:creationId xmlns:a16="http://schemas.microsoft.com/office/drawing/2014/main" id="{DEBFA43D-F21D-47FA-8993-50A6C6B1C1DC}"/>
              </a:ext>
            </a:extLst>
          </p:cNvPr>
          <p:cNvSpPr txBox="1"/>
          <p:nvPr/>
        </p:nvSpPr>
        <p:spPr>
          <a:xfrm>
            <a:off x="6517360" y="2485637"/>
            <a:ext cx="1577068" cy="489098"/>
          </a:xfrm>
          <a:prstGeom prst="rect">
            <a:avLst/>
          </a:prstGeom>
          <a:noFill/>
        </p:spPr>
        <p:txBody>
          <a:bodyPr wrap="square" lIns="182880" tIns="146304" rIns="182880" bIns="146304" rtlCol="0">
            <a:noAutofit/>
          </a:bodyPr>
          <a:lstStyle/>
          <a:p>
            <a:pPr>
              <a:lnSpc>
                <a:spcPct val="90000"/>
              </a:lnSpc>
              <a:defRPr/>
            </a:pPr>
            <a:r>
              <a:rPr lang="en-US" sz="1500" b="1" i="1">
                <a:gradFill>
                  <a:gsLst>
                    <a:gs pos="1250">
                      <a:prstClr val="black"/>
                    </a:gs>
                    <a:gs pos="99000">
                      <a:prstClr val="black"/>
                    </a:gs>
                  </a:gsLst>
                  <a:lin ang="5400000" scaled="0"/>
                </a:gradFill>
                <a:latin typeface="Segoe UI"/>
              </a:rPr>
              <a:t>$16,949/ mo</a:t>
            </a:r>
          </a:p>
        </p:txBody>
      </p:sp>
      <p:sp>
        <p:nvSpPr>
          <p:cNvPr id="33" name="TextBox 32">
            <a:extLst>
              <a:ext uri="{FF2B5EF4-FFF2-40B4-BE49-F238E27FC236}">
                <a16:creationId xmlns:a16="http://schemas.microsoft.com/office/drawing/2014/main" id="{CC173155-46E8-4A2C-8A6A-453BCCD5E45D}"/>
              </a:ext>
            </a:extLst>
          </p:cNvPr>
          <p:cNvSpPr txBox="1"/>
          <p:nvPr/>
        </p:nvSpPr>
        <p:spPr>
          <a:xfrm>
            <a:off x="10089831" y="6173072"/>
            <a:ext cx="1676097" cy="350837"/>
          </a:xfrm>
          <a:prstGeom prst="rect">
            <a:avLst/>
          </a:prstGeom>
          <a:noFill/>
        </p:spPr>
        <p:txBody>
          <a:bodyPr wrap="square" lIns="182880" tIns="146304" rIns="182880" bIns="146304" rtlCol="0">
            <a:noAutofit/>
          </a:bodyPr>
          <a:lstStyle/>
          <a:p>
            <a:pPr algn="ctr">
              <a:lnSpc>
                <a:spcPct val="90000"/>
              </a:lnSpc>
              <a:defRPr/>
            </a:pPr>
            <a:r>
              <a:rPr lang="en-US" sz="1200" b="1">
                <a:gradFill>
                  <a:gsLst>
                    <a:gs pos="1250">
                      <a:prstClr val="black"/>
                    </a:gs>
                    <a:gs pos="99000">
                      <a:prstClr val="black"/>
                    </a:gs>
                  </a:gsLst>
                  <a:lin ang="5400000" scaled="0"/>
                </a:gradFill>
                <a:latin typeface="Segoe UI"/>
              </a:rPr>
              <a:t>Azure Cosmos DB</a:t>
            </a:r>
          </a:p>
          <a:p>
            <a:pPr algn="ctr">
              <a:lnSpc>
                <a:spcPct val="90000"/>
              </a:lnSpc>
              <a:defRPr/>
            </a:pPr>
            <a:r>
              <a:rPr lang="en-US" sz="1200" b="1">
                <a:gradFill>
                  <a:gsLst>
                    <a:gs pos="1250">
                      <a:prstClr val="black"/>
                    </a:gs>
                    <a:gs pos="99000">
                      <a:prstClr val="black"/>
                    </a:gs>
                  </a:gsLst>
                  <a:lin ang="5400000" scaled="0"/>
                </a:gradFill>
                <a:latin typeface="Segoe UI"/>
              </a:rPr>
              <a:t>(list prices)</a:t>
            </a:r>
          </a:p>
        </p:txBody>
      </p:sp>
      <p:sp>
        <p:nvSpPr>
          <p:cNvPr id="34" name="Rectangle 33">
            <a:extLst>
              <a:ext uri="{FF2B5EF4-FFF2-40B4-BE49-F238E27FC236}">
                <a16:creationId xmlns:a16="http://schemas.microsoft.com/office/drawing/2014/main" id="{7D2156E2-64E8-4A52-A1D4-C0DB67DCA40F}"/>
              </a:ext>
            </a:extLst>
          </p:cNvPr>
          <p:cNvSpPr/>
          <p:nvPr/>
        </p:nvSpPr>
        <p:spPr bwMode="auto">
          <a:xfrm>
            <a:off x="8388099" y="4142496"/>
            <a:ext cx="1500667" cy="480439"/>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a:rPr>
              <a:t>Bandwidth</a:t>
            </a:r>
          </a:p>
        </p:txBody>
      </p:sp>
      <p:sp>
        <p:nvSpPr>
          <p:cNvPr id="35" name="Rectangle 34">
            <a:extLst>
              <a:ext uri="{FF2B5EF4-FFF2-40B4-BE49-F238E27FC236}">
                <a16:creationId xmlns:a16="http://schemas.microsoft.com/office/drawing/2014/main" id="{F2545FA5-1E3D-4BCE-8A72-8AFF2A51456E}"/>
              </a:ext>
            </a:extLst>
          </p:cNvPr>
          <p:cNvSpPr/>
          <p:nvPr/>
        </p:nvSpPr>
        <p:spPr bwMode="auto">
          <a:xfrm>
            <a:off x="6467056" y="4631384"/>
            <a:ext cx="1647761" cy="158949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a:rPr>
              <a:t>Virtual Machines</a:t>
            </a:r>
          </a:p>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a:rPr>
              <a:t>and Storage</a:t>
            </a:r>
          </a:p>
        </p:txBody>
      </p:sp>
      <p:sp>
        <p:nvSpPr>
          <p:cNvPr id="36" name="Rectangle 35">
            <a:extLst>
              <a:ext uri="{FF2B5EF4-FFF2-40B4-BE49-F238E27FC236}">
                <a16:creationId xmlns:a16="http://schemas.microsoft.com/office/drawing/2014/main" id="{12FD32D4-BD3C-457B-91F0-58D936145D31}"/>
              </a:ext>
            </a:extLst>
          </p:cNvPr>
          <p:cNvSpPr/>
          <p:nvPr/>
        </p:nvSpPr>
        <p:spPr bwMode="auto">
          <a:xfrm>
            <a:off x="6481631" y="4181692"/>
            <a:ext cx="1639604" cy="43676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a:rPr>
              <a:t>Bandwidth</a:t>
            </a:r>
          </a:p>
        </p:txBody>
      </p:sp>
      <p:sp>
        <p:nvSpPr>
          <p:cNvPr id="38" name="TextBox 37">
            <a:extLst>
              <a:ext uri="{FF2B5EF4-FFF2-40B4-BE49-F238E27FC236}">
                <a16:creationId xmlns:a16="http://schemas.microsoft.com/office/drawing/2014/main" id="{A73BB671-DC0A-42E2-94EE-95F4CD6443FB}"/>
              </a:ext>
            </a:extLst>
          </p:cNvPr>
          <p:cNvSpPr txBox="1"/>
          <p:nvPr/>
        </p:nvSpPr>
        <p:spPr>
          <a:xfrm>
            <a:off x="10255218" y="4421186"/>
            <a:ext cx="1381778" cy="489098"/>
          </a:xfrm>
          <a:prstGeom prst="rect">
            <a:avLst/>
          </a:prstGeom>
          <a:noFill/>
        </p:spPr>
        <p:txBody>
          <a:bodyPr wrap="square" lIns="182880" tIns="146304" rIns="182880" bIns="146304" rtlCol="0">
            <a:noAutofit/>
          </a:bodyPr>
          <a:lstStyle/>
          <a:p>
            <a:pPr algn="ctr">
              <a:lnSpc>
                <a:spcPct val="90000"/>
              </a:lnSpc>
              <a:defRPr/>
            </a:pPr>
            <a:r>
              <a:rPr lang="en-US" sz="1500" b="1" i="1">
                <a:gradFill>
                  <a:gsLst>
                    <a:gs pos="1250">
                      <a:prstClr val="black"/>
                    </a:gs>
                    <a:gs pos="99000">
                      <a:prstClr val="black"/>
                    </a:gs>
                  </a:gsLst>
                  <a:lin ang="5400000" scaled="0"/>
                </a:gradFill>
                <a:latin typeface="Segoe UI"/>
              </a:rPr>
              <a:t>$2,574/</a:t>
            </a:r>
            <a:r>
              <a:rPr lang="en-US" sz="1500" b="1" i="1" err="1">
                <a:gradFill>
                  <a:gsLst>
                    <a:gs pos="1250">
                      <a:prstClr val="black"/>
                    </a:gs>
                    <a:gs pos="99000">
                      <a:prstClr val="black"/>
                    </a:gs>
                  </a:gsLst>
                  <a:lin ang="5400000" scaled="0"/>
                </a:gradFill>
                <a:latin typeface="Segoe UI"/>
              </a:rPr>
              <a:t>mo</a:t>
            </a:r>
            <a:endParaRPr lang="en-US" sz="1500" b="1" i="1">
              <a:gradFill>
                <a:gsLst>
                  <a:gs pos="1250">
                    <a:prstClr val="black"/>
                  </a:gs>
                  <a:gs pos="99000">
                    <a:prstClr val="black"/>
                  </a:gs>
                </a:gsLst>
                <a:lin ang="5400000" scaled="0"/>
              </a:gradFill>
              <a:latin typeface="Segoe UI"/>
            </a:endParaRPr>
          </a:p>
          <a:p>
            <a:pPr algn="ctr">
              <a:lnSpc>
                <a:spcPct val="90000"/>
              </a:lnSpc>
              <a:defRPr/>
            </a:pPr>
            <a:endParaRPr lang="en-US" sz="1500" b="1" i="1">
              <a:gradFill>
                <a:gsLst>
                  <a:gs pos="1250">
                    <a:prstClr val="black"/>
                  </a:gs>
                  <a:gs pos="99000">
                    <a:prstClr val="black"/>
                  </a:gs>
                </a:gsLst>
                <a:lin ang="5400000" scaled="0"/>
              </a:gradFill>
              <a:latin typeface="Segoe UI"/>
            </a:endParaRPr>
          </a:p>
        </p:txBody>
      </p:sp>
      <p:sp>
        <p:nvSpPr>
          <p:cNvPr id="41" name="TextBox 40">
            <a:extLst>
              <a:ext uri="{FF2B5EF4-FFF2-40B4-BE49-F238E27FC236}">
                <a16:creationId xmlns:a16="http://schemas.microsoft.com/office/drawing/2014/main" id="{9B1A0FB8-4F22-48B4-9693-E0B57F96BD7C}"/>
              </a:ext>
            </a:extLst>
          </p:cNvPr>
          <p:cNvSpPr txBox="1"/>
          <p:nvPr/>
        </p:nvSpPr>
        <p:spPr>
          <a:xfrm>
            <a:off x="8243169" y="6167671"/>
            <a:ext cx="1831448" cy="350837"/>
          </a:xfrm>
          <a:prstGeom prst="rect">
            <a:avLst/>
          </a:prstGeom>
          <a:noFill/>
        </p:spPr>
        <p:txBody>
          <a:bodyPr wrap="square" lIns="182880" tIns="146304" rIns="182880" bIns="146304" rtlCol="0">
            <a:noAutofit/>
          </a:bodyPr>
          <a:lstStyle/>
          <a:p>
            <a:pPr algn="ctr">
              <a:lnSpc>
                <a:spcPct val="90000"/>
              </a:lnSpc>
              <a:defRPr/>
            </a:pPr>
            <a:r>
              <a:rPr lang="en-US" sz="1200" b="1">
                <a:gradFill>
                  <a:gsLst>
                    <a:gs pos="1250">
                      <a:prstClr val="black"/>
                    </a:gs>
                    <a:gs pos="99000">
                      <a:prstClr val="black"/>
                    </a:gs>
                  </a:gsLst>
                  <a:lin ang="5400000" scaled="0"/>
                </a:gradFill>
                <a:latin typeface="Segoe UI"/>
              </a:rPr>
              <a:t>18 node (L16) MongoDB cluster</a:t>
            </a:r>
          </a:p>
        </p:txBody>
      </p:sp>
      <p:sp>
        <p:nvSpPr>
          <p:cNvPr id="25" name="TextBox 24">
            <a:extLst>
              <a:ext uri="{FF2B5EF4-FFF2-40B4-BE49-F238E27FC236}">
                <a16:creationId xmlns:a16="http://schemas.microsoft.com/office/drawing/2014/main" id="{BBE38823-D01D-4F7C-B076-4E3422D0F35A}"/>
              </a:ext>
            </a:extLst>
          </p:cNvPr>
          <p:cNvSpPr txBox="1"/>
          <p:nvPr/>
        </p:nvSpPr>
        <p:spPr>
          <a:xfrm>
            <a:off x="6594" y="6186724"/>
            <a:ext cx="6193805" cy="776631"/>
          </a:xfrm>
          <a:prstGeom prst="rect">
            <a:avLst/>
          </a:prstGeom>
          <a:noFill/>
        </p:spPr>
        <p:txBody>
          <a:bodyPr wrap="square" lIns="182880" tIns="146304" rIns="182880" bIns="146304" rtlCol="0">
            <a:noAutofit/>
          </a:bodyPr>
          <a:lstStyle/>
          <a:p>
            <a:pPr>
              <a:lnSpc>
                <a:spcPct val="90000"/>
              </a:lnSpc>
              <a:defRPr/>
            </a:pPr>
            <a:r>
              <a:rPr lang="en-US" sz="1000" dirty="0">
                <a:gradFill>
                  <a:gsLst>
                    <a:gs pos="1250">
                      <a:prstClr val="black"/>
                    </a:gs>
                    <a:gs pos="99000">
                      <a:prstClr val="black"/>
                    </a:gs>
                  </a:gsLst>
                  <a:lin ang="5400000" scaled="0"/>
                </a:gradFill>
                <a:latin typeface="Segoe UI"/>
              </a:rPr>
              <a:t>2TB workload, 20K TPS, 50-50 read-write split observed among our customers, off-peak to peak ratio is 40%, 1K objects. 4 shards, 3-way replication, L16 VMs used per Azure guidance,. MongoDB license assumed $4,800 / year per </a:t>
            </a:r>
            <a:r>
              <a:rPr lang="en-US" sz="1000" dirty="0">
                <a:gradFill>
                  <a:gsLst>
                    <a:gs pos="1250">
                      <a:prstClr val="black"/>
                    </a:gs>
                    <a:gs pos="99000">
                      <a:prstClr val="black"/>
                    </a:gs>
                  </a:gsLst>
                  <a:lin ang="5400000" scaled="0"/>
                </a:gradFill>
                <a:latin typeface="Segoe UI Semilight"/>
              </a:rPr>
              <a:t>node. Azure monthly consumption prices were used. Workload is smaller than Cassandra due to observed reliability/performance challenges with MongoDB at high load. </a:t>
            </a:r>
            <a:r>
              <a:rPr lang="en-US" sz="1000" dirty="0">
                <a:gradFill>
                  <a:gsLst>
                    <a:gs pos="1250">
                      <a:prstClr val="black"/>
                    </a:gs>
                    <a:gs pos="99000">
                      <a:prstClr val="black"/>
                    </a:gs>
                  </a:gsLst>
                  <a:lin ang="5400000" scaled="0"/>
                </a:gradFill>
                <a:latin typeface="Segoe UI"/>
              </a:rPr>
              <a:t>Findings based on Microsoft calculations.</a:t>
            </a:r>
          </a:p>
        </p:txBody>
      </p:sp>
      <p:graphicFrame>
        <p:nvGraphicFramePr>
          <p:cNvPr id="46" name="Table 45">
            <a:extLst>
              <a:ext uri="{FF2B5EF4-FFF2-40B4-BE49-F238E27FC236}">
                <a16:creationId xmlns:a16="http://schemas.microsoft.com/office/drawing/2014/main" id="{0A998F1B-CC0D-4BCC-B102-41E546C1E872}"/>
              </a:ext>
            </a:extLst>
          </p:cNvPr>
          <p:cNvGraphicFramePr>
            <a:graphicFrameLocks noGrp="1"/>
          </p:cNvGraphicFramePr>
          <p:nvPr>
            <p:extLst/>
          </p:nvPr>
        </p:nvGraphicFramePr>
        <p:xfrm>
          <a:off x="213770" y="2089994"/>
          <a:ext cx="5441856" cy="4206573"/>
        </p:xfrm>
        <a:graphic>
          <a:graphicData uri="http://schemas.openxmlformats.org/drawingml/2006/table">
            <a:tbl>
              <a:tblPr firstRow="1" bandRow="1">
                <a:tableStyleId>{2D5ABB26-0587-4C30-8999-92F81FD0307C}</a:tableStyleId>
              </a:tblPr>
              <a:tblGrid>
                <a:gridCol w="1586455">
                  <a:extLst>
                    <a:ext uri="{9D8B030D-6E8A-4147-A177-3AD203B41FA5}">
                      <a16:colId xmlns:a16="http://schemas.microsoft.com/office/drawing/2014/main" val="2599182423"/>
                    </a:ext>
                  </a:extLst>
                </a:gridCol>
                <a:gridCol w="1528579">
                  <a:extLst>
                    <a:ext uri="{9D8B030D-6E8A-4147-A177-3AD203B41FA5}">
                      <a16:colId xmlns:a16="http://schemas.microsoft.com/office/drawing/2014/main" val="559073517"/>
                    </a:ext>
                  </a:extLst>
                </a:gridCol>
                <a:gridCol w="2326822">
                  <a:extLst>
                    <a:ext uri="{9D8B030D-6E8A-4147-A177-3AD203B41FA5}">
                      <a16:colId xmlns:a16="http://schemas.microsoft.com/office/drawing/2014/main" val="3428329668"/>
                    </a:ext>
                  </a:extLst>
                </a:gridCol>
              </a:tblGrid>
              <a:tr h="350596">
                <a:tc>
                  <a:txBody>
                    <a:bodyPr/>
                    <a:lstStyle/>
                    <a:p>
                      <a:r>
                        <a:rPr lang="en-US" sz="1800">
                          <a:solidFill>
                            <a:schemeClr val="bg1"/>
                          </a:solidFill>
                        </a:rPr>
                        <a:t>MongoDB</a:t>
                      </a:r>
                    </a:p>
                  </a:txBody>
                  <a:tcPr>
                    <a:solidFill>
                      <a:schemeClr val="accent1"/>
                    </a:solidFill>
                  </a:tcPr>
                </a:tc>
                <a:tc gridSpan="2">
                  <a:txBody>
                    <a:bodyPr/>
                    <a:lstStyle/>
                    <a:p>
                      <a:r>
                        <a:rPr lang="en-US" sz="1800">
                          <a:solidFill>
                            <a:schemeClr val="bg1"/>
                          </a:solidFill>
                        </a:rPr>
                        <a:t>Cosmos DB</a:t>
                      </a:r>
                    </a:p>
                  </a:txBody>
                  <a:tcPr>
                    <a:solidFill>
                      <a:schemeClr val="tx2"/>
                    </a:solidFill>
                  </a:tcPr>
                </a:tc>
                <a:tc hMerge="1">
                  <a:txBody>
                    <a:bodyPr/>
                    <a:lstStyle/>
                    <a:p>
                      <a:endParaRPr lang="en-US"/>
                    </a:p>
                  </a:txBody>
                  <a:tcPr>
                    <a:solidFill>
                      <a:schemeClr val="tx2"/>
                    </a:solidFill>
                  </a:tcPr>
                </a:tc>
                <a:extLst>
                  <a:ext uri="{0D108BD9-81ED-4DB2-BD59-A6C34878D82A}">
                    <a16:rowId xmlns:a16="http://schemas.microsoft.com/office/drawing/2014/main" val="1675171180"/>
                  </a:ext>
                </a:extLst>
              </a:tr>
              <a:tr h="1097613">
                <a:tc>
                  <a:txBody>
                    <a:bodyPr/>
                    <a:lstStyle/>
                    <a:p>
                      <a:r>
                        <a:rPr lang="en-US" sz="1400">
                          <a:solidFill>
                            <a:srgbClr val="FF0000"/>
                          </a:solidFill>
                        </a:rPr>
                        <a:t>High DevOps and license fees</a:t>
                      </a:r>
                    </a:p>
                  </a:txBody>
                  <a:tcPr>
                    <a:solidFill>
                      <a:srgbClr val="FF0000">
                        <a:alpha val="7000"/>
                      </a:srgbClr>
                    </a:solidFill>
                  </a:tcPr>
                </a:tc>
                <a:tc>
                  <a:txBody>
                    <a:bodyPr/>
                    <a:lstStyle/>
                    <a:p>
                      <a:r>
                        <a:rPr lang="en-US" sz="1400">
                          <a:solidFill>
                            <a:srgbClr val="00B050"/>
                          </a:solidFill>
                        </a:rPr>
                        <a:t>No DevOps or license fees</a:t>
                      </a:r>
                    </a:p>
                    <a:p>
                      <a:r>
                        <a:rPr lang="en-US" sz="1400" b="1">
                          <a:solidFill>
                            <a:srgbClr val="00B050"/>
                          </a:solidFill>
                        </a:rPr>
                        <a:t>Up to 30% savings</a:t>
                      </a:r>
                    </a:p>
                  </a:txBody>
                  <a:tcPr>
                    <a:solidFill>
                      <a:srgbClr val="00B050">
                        <a:alpha val="9000"/>
                      </a:srgbClr>
                    </a:solidFill>
                  </a:tcPr>
                </a:tc>
                <a:tc>
                  <a:txBody>
                    <a:bodyPr/>
                    <a:lstStyle/>
                    <a:p>
                      <a:endParaRPr lang="en-US" sz="1200"/>
                    </a:p>
                  </a:txBody>
                  <a:tcPr/>
                </a:tc>
                <a:extLst>
                  <a:ext uri="{0D108BD9-81ED-4DB2-BD59-A6C34878D82A}">
                    <a16:rowId xmlns:a16="http://schemas.microsoft.com/office/drawing/2014/main" val="162463533"/>
                  </a:ext>
                </a:extLst>
              </a:tr>
              <a:tr h="1314734">
                <a:tc>
                  <a:txBody>
                    <a:bodyPr/>
                    <a:lstStyle/>
                    <a:p>
                      <a:r>
                        <a:rPr lang="en-US" sz="1400">
                          <a:solidFill>
                            <a:srgbClr val="FF0000"/>
                          </a:solidFill>
                        </a:rPr>
                        <a:t>Limited elasticity. Over- provisioning</a:t>
                      </a:r>
                    </a:p>
                  </a:txBody>
                  <a:tcPr>
                    <a:solidFill>
                      <a:srgbClr val="FF0000">
                        <a:alpha val="7000"/>
                      </a:srgbClr>
                    </a:solidFill>
                  </a:tcPr>
                </a:tc>
                <a:tc>
                  <a:txBody>
                    <a:bodyPr/>
                    <a:lstStyle/>
                    <a:p>
                      <a:r>
                        <a:rPr lang="en-US" sz="1400">
                          <a:solidFill>
                            <a:srgbClr val="00B050"/>
                          </a:solidFill>
                        </a:rPr>
                        <a:t>Instant and limitless elasticity</a:t>
                      </a:r>
                    </a:p>
                    <a:p>
                      <a:r>
                        <a:rPr lang="en-US" sz="1400" b="1">
                          <a:solidFill>
                            <a:srgbClr val="00B050"/>
                          </a:solidFill>
                        </a:rPr>
                        <a:t>Up to 25% savings</a:t>
                      </a:r>
                    </a:p>
                  </a:txBody>
                  <a:tcPr>
                    <a:solidFill>
                      <a:srgbClr val="00B050">
                        <a:alpha val="9000"/>
                      </a:srgbClr>
                    </a:solidFill>
                  </a:tcPr>
                </a:tc>
                <a:tc>
                  <a:txBody>
                    <a:bodyPr/>
                    <a:lstStyle/>
                    <a:p>
                      <a:endParaRPr lang="en-US" sz="1200"/>
                    </a:p>
                    <a:p>
                      <a:endParaRPr lang="en-US" sz="1200"/>
                    </a:p>
                    <a:p>
                      <a:endParaRPr lang="en-US" sz="1200"/>
                    </a:p>
                    <a:p>
                      <a:endParaRPr lang="en-US" sz="1200"/>
                    </a:p>
                    <a:p>
                      <a:endParaRPr lang="en-US" sz="1200"/>
                    </a:p>
                    <a:p>
                      <a:endParaRPr lang="en-US" sz="1200"/>
                    </a:p>
                    <a:p>
                      <a:endParaRPr lang="en-US" sz="1200"/>
                    </a:p>
                  </a:txBody>
                  <a:tcPr/>
                </a:tc>
                <a:extLst>
                  <a:ext uri="{0D108BD9-81ED-4DB2-BD59-A6C34878D82A}">
                    <a16:rowId xmlns:a16="http://schemas.microsoft.com/office/drawing/2014/main" val="1186243888"/>
                  </a:ext>
                </a:extLst>
              </a:tr>
              <a:tr h="1314734">
                <a:tc>
                  <a:txBody>
                    <a:bodyPr/>
                    <a:lstStyle/>
                    <a:p>
                      <a:r>
                        <a:rPr lang="en-US" sz="1400">
                          <a:solidFill>
                            <a:srgbClr val="FF0000"/>
                          </a:solidFill>
                        </a:rPr>
                        <a:t>Not Cloud-optimized. Poor compute, network, and storage utilization. </a:t>
                      </a:r>
                    </a:p>
                  </a:txBody>
                  <a:tcPr>
                    <a:solidFill>
                      <a:srgbClr val="FF0000">
                        <a:alpha val="7000"/>
                      </a:srgbClr>
                    </a:solidFill>
                  </a:tcPr>
                </a:tc>
                <a:tc>
                  <a:txBody>
                    <a:bodyPr/>
                    <a:lstStyle/>
                    <a:p>
                      <a:r>
                        <a:rPr lang="en-US" sz="1400">
                          <a:solidFill>
                            <a:srgbClr val="00B050"/>
                          </a:solidFill>
                        </a:rPr>
                        <a:t>Azure-optimized. High compute and network utilization.</a:t>
                      </a:r>
                    </a:p>
                    <a:p>
                      <a:r>
                        <a:rPr lang="en-US" sz="1400" b="1">
                          <a:solidFill>
                            <a:srgbClr val="00B050"/>
                          </a:solidFill>
                        </a:rPr>
                        <a:t>Up to 40% savings</a:t>
                      </a:r>
                    </a:p>
                  </a:txBody>
                  <a:tcPr>
                    <a:solidFill>
                      <a:srgbClr val="00B050">
                        <a:alpha val="9000"/>
                      </a:srgbClr>
                    </a:solidFill>
                  </a:tcPr>
                </a:tc>
                <a:tc>
                  <a:txBody>
                    <a:bodyPr/>
                    <a:lstStyle/>
                    <a:p>
                      <a:endParaRPr lang="en-US" sz="1200" dirty="0"/>
                    </a:p>
                  </a:txBody>
                  <a:tcPr/>
                </a:tc>
                <a:extLst>
                  <a:ext uri="{0D108BD9-81ED-4DB2-BD59-A6C34878D82A}">
                    <a16:rowId xmlns:a16="http://schemas.microsoft.com/office/drawing/2014/main" val="1768435425"/>
                  </a:ext>
                </a:extLst>
              </a:tr>
            </a:tbl>
          </a:graphicData>
        </a:graphic>
      </p:graphicFrame>
      <p:sp>
        <p:nvSpPr>
          <p:cNvPr id="47" name="Text Placeholder 2">
            <a:extLst>
              <a:ext uri="{FF2B5EF4-FFF2-40B4-BE49-F238E27FC236}">
                <a16:creationId xmlns:a16="http://schemas.microsoft.com/office/drawing/2014/main" id="{1BA9EEF4-98AF-4881-8DCB-8F78951DB9F2}"/>
              </a:ext>
            </a:extLst>
          </p:cNvPr>
          <p:cNvSpPr>
            <a:spLocks noGrp="1"/>
          </p:cNvSpPr>
          <p:nvPr>
            <p:ph type="body" sz="quarter" idx="10"/>
          </p:nvPr>
        </p:nvSpPr>
        <p:spPr>
          <a:xfrm>
            <a:off x="118361" y="1403242"/>
            <a:ext cx="6044383" cy="572464"/>
          </a:xfrm>
        </p:spPr>
        <p:txBody>
          <a:bodyPr/>
          <a:lstStyle/>
          <a:p>
            <a:r>
              <a:rPr lang="en-CA" sz="2800"/>
              <a:t>Cloud MongoDB TCO Challenges</a:t>
            </a:r>
            <a:endParaRPr lang="en-CA" sz="1800"/>
          </a:p>
        </p:txBody>
      </p:sp>
      <p:pic>
        <p:nvPicPr>
          <p:cNvPr id="48" name="Picture 47">
            <a:extLst>
              <a:ext uri="{FF2B5EF4-FFF2-40B4-BE49-F238E27FC236}">
                <a16:creationId xmlns:a16="http://schemas.microsoft.com/office/drawing/2014/main" id="{206C750F-EADB-4919-A1E8-0871DAD91FF5}"/>
              </a:ext>
            </a:extLst>
          </p:cNvPr>
          <p:cNvPicPr>
            <a:picLocks noChangeAspect="1"/>
          </p:cNvPicPr>
          <p:nvPr/>
        </p:nvPicPr>
        <p:blipFill>
          <a:blip r:embed="rId3"/>
          <a:stretch>
            <a:fillRect/>
          </a:stretch>
        </p:blipFill>
        <p:spPr>
          <a:xfrm>
            <a:off x="3499527" y="2477557"/>
            <a:ext cx="1832695" cy="985768"/>
          </a:xfrm>
          <a:prstGeom prst="rect">
            <a:avLst/>
          </a:prstGeom>
        </p:spPr>
      </p:pic>
      <p:pic>
        <p:nvPicPr>
          <p:cNvPr id="49" name="Picture 48">
            <a:extLst>
              <a:ext uri="{FF2B5EF4-FFF2-40B4-BE49-F238E27FC236}">
                <a16:creationId xmlns:a16="http://schemas.microsoft.com/office/drawing/2014/main" id="{D9A9E546-5124-4A7C-9CB0-29FF4E94C01A}"/>
              </a:ext>
            </a:extLst>
          </p:cNvPr>
          <p:cNvPicPr>
            <a:picLocks noChangeAspect="1"/>
          </p:cNvPicPr>
          <p:nvPr/>
        </p:nvPicPr>
        <p:blipFill>
          <a:blip r:embed="rId4"/>
          <a:stretch>
            <a:fillRect/>
          </a:stretch>
        </p:blipFill>
        <p:spPr>
          <a:xfrm>
            <a:off x="3499527" y="3589498"/>
            <a:ext cx="1832695" cy="1065608"/>
          </a:xfrm>
          <a:prstGeom prst="rect">
            <a:avLst/>
          </a:prstGeom>
        </p:spPr>
      </p:pic>
      <p:pic>
        <p:nvPicPr>
          <p:cNvPr id="50" name="Picture 49">
            <a:extLst>
              <a:ext uri="{FF2B5EF4-FFF2-40B4-BE49-F238E27FC236}">
                <a16:creationId xmlns:a16="http://schemas.microsoft.com/office/drawing/2014/main" id="{63C4D545-81D7-455C-80A5-D49A928D5E4B}"/>
              </a:ext>
            </a:extLst>
          </p:cNvPr>
          <p:cNvPicPr>
            <a:picLocks noChangeAspect="1"/>
          </p:cNvPicPr>
          <p:nvPr/>
        </p:nvPicPr>
        <p:blipFill>
          <a:blip r:embed="rId5"/>
          <a:stretch>
            <a:fillRect/>
          </a:stretch>
        </p:blipFill>
        <p:spPr>
          <a:xfrm>
            <a:off x="3477623" y="4874414"/>
            <a:ext cx="1968001" cy="991688"/>
          </a:xfrm>
          <a:prstGeom prst="rect">
            <a:avLst/>
          </a:prstGeom>
        </p:spPr>
      </p:pic>
      <p:sp>
        <p:nvSpPr>
          <p:cNvPr id="51" name="Text Placeholder 3">
            <a:extLst>
              <a:ext uri="{FF2B5EF4-FFF2-40B4-BE49-F238E27FC236}">
                <a16:creationId xmlns:a16="http://schemas.microsoft.com/office/drawing/2014/main" id="{3F8E3D34-DAF4-4780-B37B-F9A8CDF0AA21}"/>
              </a:ext>
            </a:extLst>
          </p:cNvPr>
          <p:cNvSpPr txBox="1">
            <a:spLocks/>
          </p:cNvSpPr>
          <p:nvPr/>
        </p:nvSpPr>
        <p:spPr>
          <a:xfrm>
            <a:off x="6162743" y="1405218"/>
            <a:ext cx="5826758" cy="572464"/>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ts val="1200"/>
              </a:spcBef>
              <a:spcAft>
                <a:spcPts val="0"/>
              </a:spcAft>
              <a:buClr>
                <a:schemeClr val="tx1"/>
              </a:buClr>
              <a:buSzPct val="90000"/>
              <a:buFont typeface="Wingdings" pitchFamily="2" charset="2"/>
              <a:buNone/>
              <a:tabLst/>
              <a:defRPr sz="3136"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solidFill>
                <a:latin typeface="+mn-lt"/>
                <a:ea typeface="+mn-ea"/>
                <a:cs typeface="+mn-cs"/>
              </a:defRPr>
            </a:lvl2pPr>
            <a:lvl3pPr marL="22716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solidFill>
                <a:latin typeface="+mn-lt"/>
                <a:ea typeface="+mn-ea"/>
                <a:cs typeface="+mn-cs"/>
              </a:defRPr>
            </a:lvl3pPr>
            <a:lvl4pPr marL="451219"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400" kern="1200" spc="0" baseline="0">
                <a:solidFill>
                  <a:schemeClr val="tx1"/>
                </a:solidFill>
                <a:latin typeface="+mn-lt"/>
                <a:ea typeface="+mn-ea"/>
                <a:cs typeface="+mn-cs"/>
              </a:defRPr>
            </a:lvl4pPr>
            <a:lvl5pPr marL="672161"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4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buClr>
                <a:srgbClr val="505050"/>
              </a:buClr>
              <a:defRPr/>
            </a:pPr>
            <a:r>
              <a:rPr lang="en-CA" sz="2800">
                <a:gradFill>
                  <a:gsLst>
                    <a:gs pos="1250">
                      <a:srgbClr val="0078D7"/>
                    </a:gs>
                    <a:gs pos="99000">
                      <a:srgbClr val="0078D7"/>
                    </a:gs>
                  </a:gsLst>
                  <a:lin ang="5400000" scaled="0"/>
                </a:gradFill>
                <a:latin typeface="Segoe UI Light"/>
              </a:rPr>
              <a:t>TCO Savings with Azure Cosmos DB</a:t>
            </a:r>
            <a:endParaRPr lang="en-CA" sz="1800">
              <a:gradFill>
                <a:gsLst>
                  <a:gs pos="1250">
                    <a:srgbClr val="0078D7"/>
                  </a:gs>
                  <a:gs pos="99000">
                    <a:srgbClr val="0078D7"/>
                  </a:gs>
                </a:gsLst>
                <a:lin ang="5400000" scaled="0"/>
              </a:gradFill>
              <a:latin typeface="Segoe UI Light"/>
            </a:endParaRPr>
          </a:p>
        </p:txBody>
      </p:sp>
      <p:grpSp>
        <p:nvGrpSpPr>
          <p:cNvPr id="37" name="Group 36">
            <a:extLst>
              <a:ext uri="{FF2B5EF4-FFF2-40B4-BE49-F238E27FC236}">
                <a16:creationId xmlns:a16="http://schemas.microsoft.com/office/drawing/2014/main" id="{27A3A3BA-B151-4E39-AC7C-CD57D279BCC5}"/>
              </a:ext>
            </a:extLst>
          </p:cNvPr>
          <p:cNvGrpSpPr/>
          <p:nvPr/>
        </p:nvGrpSpPr>
        <p:grpSpPr>
          <a:xfrm>
            <a:off x="10256059" y="4890451"/>
            <a:ext cx="1438058" cy="1339770"/>
            <a:chOff x="9965074" y="5048953"/>
            <a:chExt cx="1438058" cy="1339770"/>
          </a:xfrm>
        </p:grpSpPr>
        <p:sp>
          <p:nvSpPr>
            <p:cNvPr id="39" name="Rectangle 38">
              <a:extLst>
                <a:ext uri="{FF2B5EF4-FFF2-40B4-BE49-F238E27FC236}">
                  <a16:creationId xmlns:a16="http://schemas.microsoft.com/office/drawing/2014/main" id="{85129D2E-72F3-4D1F-9FB7-BD6768110467}"/>
                </a:ext>
              </a:extLst>
            </p:cNvPr>
            <p:cNvSpPr/>
            <p:nvPr/>
          </p:nvSpPr>
          <p:spPr bwMode="auto">
            <a:xfrm>
              <a:off x="9965074" y="5565114"/>
              <a:ext cx="1430139" cy="823609"/>
            </a:xfrm>
            <a:prstGeom prst="rect">
              <a:avLst/>
            </a:prstGeom>
            <a:solidFill>
              <a:schemeClr val="accent1">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a:rPr>
                <a:t>Throughput</a:t>
              </a:r>
            </a:p>
          </p:txBody>
        </p:sp>
        <p:sp>
          <p:nvSpPr>
            <p:cNvPr id="40" name="Rectangle 39">
              <a:extLst>
                <a:ext uri="{FF2B5EF4-FFF2-40B4-BE49-F238E27FC236}">
                  <a16:creationId xmlns:a16="http://schemas.microsoft.com/office/drawing/2014/main" id="{33110C12-2A22-4A02-9BED-04387CD2CC02}"/>
                </a:ext>
              </a:extLst>
            </p:cNvPr>
            <p:cNvSpPr/>
            <p:nvPr/>
          </p:nvSpPr>
          <p:spPr bwMode="auto">
            <a:xfrm>
              <a:off x="9965074" y="5338178"/>
              <a:ext cx="1430139" cy="193254"/>
            </a:xfrm>
            <a:prstGeom prst="rect">
              <a:avLst/>
            </a:prstGeom>
            <a:solidFill>
              <a:schemeClr val="accent1">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a:rPr>
                <a:t>Storage</a:t>
              </a:r>
            </a:p>
          </p:txBody>
        </p:sp>
        <p:sp>
          <p:nvSpPr>
            <p:cNvPr id="44" name="Rectangle 43">
              <a:extLst>
                <a:ext uri="{FF2B5EF4-FFF2-40B4-BE49-F238E27FC236}">
                  <a16:creationId xmlns:a16="http://schemas.microsoft.com/office/drawing/2014/main" id="{B7C821A9-9932-4B57-9935-11FDFB794344}"/>
                </a:ext>
              </a:extLst>
            </p:cNvPr>
            <p:cNvSpPr/>
            <p:nvPr/>
          </p:nvSpPr>
          <p:spPr bwMode="auto">
            <a:xfrm>
              <a:off x="9965074" y="5048953"/>
              <a:ext cx="1438058" cy="245877"/>
            </a:xfrm>
            <a:prstGeom prst="rect">
              <a:avLst/>
            </a:prstGeom>
            <a:solidFill>
              <a:schemeClr val="accent1">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defRPr/>
              </a:pPr>
              <a:r>
                <a:rPr lang="en-US" sz="1500">
                  <a:gradFill>
                    <a:gsLst>
                      <a:gs pos="0">
                        <a:prstClr val="white"/>
                      </a:gs>
                      <a:gs pos="100000">
                        <a:prstClr val="white"/>
                      </a:gs>
                    </a:gsLst>
                    <a:lin ang="5400000" scaled="0"/>
                  </a:gradFill>
                  <a:latin typeface="Segoe UI"/>
                </a:rPr>
                <a:t>Bandwidth</a:t>
              </a:r>
            </a:p>
          </p:txBody>
        </p:sp>
      </p:grpSp>
    </p:spTree>
    <p:extLst>
      <p:ext uri="{BB962C8B-B14F-4D97-AF65-F5344CB8AC3E}">
        <p14:creationId xmlns:p14="http://schemas.microsoft.com/office/powerpoint/2010/main" val="1101687759"/>
      </p:ext>
    </p:extLst>
  </p:cSld>
  <p:clrMapOvr>
    <a:masterClrMapping/>
  </p:clrMapOvr>
  <p:transition>
    <p:fade/>
  </p:transition>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a:t>Azure Cosmos DB vs On-Prem NoSQL</a:t>
            </a:r>
          </a:p>
        </p:txBody>
      </p:sp>
      <p:graphicFrame>
        <p:nvGraphicFramePr>
          <p:cNvPr id="4" name="Content Placeholder 3"/>
          <p:cNvGraphicFramePr>
            <a:graphicFrameLocks noGrp="1"/>
          </p:cNvGraphicFramePr>
          <p:nvPr>
            <p:ph idx="4294967295"/>
            <p:extLst/>
          </p:nvPr>
        </p:nvGraphicFramePr>
        <p:xfrm>
          <a:off x="352425" y="1065351"/>
          <a:ext cx="11468100" cy="5784128"/>
        </p:xfrm>
        <a:graphic>
          <a:graphicData uri="http://schemas.openxmlformats.org/drawingml/2006/table">
            <a:tbl>
              <a:tblPr firstRow="1" bandRow="1">
                <a:tableStyleId>{2D5ABB26-0587-4C30-8999-92F81FD0307C}</a:tableStyleId>
              </a:tblPr>
              <a:tblGrid>
                <a:gridCol w="1571781">
                  <a:extLst>
                    <a:ext uri="{9D8B030D-6E8A-4147-A177-3AD203B41FA5}">
                      <a16:colId xmlns:a16="http://schemas.microsoft.com/office/drawing/2014/main" val="20000"/>
                    </a:ext>
                  </a:extLst>
                </a:gridCol>
                <a:gridCol w="3686019">
                  <a:extLst>
                    <a:ext uri="{9D8B030D-6E8A-4147-A177-3AD203B41FA5}">
                      <a16:colId xmlns:a16="http://schemas.microsoft.com/office/drawing/2014/main" val="20001"/>
                    </a:ext>
                  </a:extLst>
                </a:gridCol>
                <a:gridCol w="3057525">
                  <a:extLst>
                    <a:ext uri="{9D8B030D-6E8A-4147-A177-3AD203B41FA5}">
                      <a16:colId xmlns:a16="http://schemas.microsoft.com/office/drawing/2014/main" val="20002"/>
                    </a:ext>
                  </a:extLst>
                </a:gridCol>
                <a:gridCol w="3152775">
                  <a:extLst>
                    <a:ext uri="{9D8B030D-6E8A-4147-A177-3AD203B41FA5}">
                      <a16:colId xmlns:a16="http://schemas.microsoft.com/office/drawing/2014/main" val="20003"/>
                    </a:ext>
                  </a:extLst>
                </a:gridCol>
              </a:tblGrid>
              <a:tr h="640080">
                <a:tc>
                  <a:txBody>
                    <a:bodyPr/>
                    <a:lstStyle/>
                    <a:p>
                      <a:pPr>
                        <a:spcBef>
                          <a:spcPts val="1000"/>
                        </a:spcBef>
                      </a:pPr>
                      <a:endParaRPr lang="en-US" sz="1200">
                        <a:solidFill>
                          <a:schemeClr val="bg1"/>
                        </a:solidFill>
                        <a:latin typeface="Segoe UI Semibold" panose="020B0702040204020203" pitchFamily="34" charset="0"/>
                        <a:cs typeface="Segoe UI Semibold" panose="020B0702040204020203" pitchFamily="34" charset="0"/>
                      </a:endParaRPr>
                    </a:p>
                  </a:txBody>
                  <a:tcPr>
                    <a:noFill/>
                  </a:tcPr>
                </a:tc>
                <a:tc>
                  <a:txBody>
                    <a:bodyPr/>
                    <a:lstStyle/>
                    <a:p>
                      <a:pPr>
                        <a:spcBef>
                          <a:spcPts val="1000"/>
                        </a:spcBef>
                      </a:pPr>
                      <a:r>
                        <a:rPr lang="en-US" sz="1200" dirty="0">
                          <a:solidFill>
                            <a:schemeClr val="bg1"/>
                          </a:solidFill>
                          <a:latin typeface="Segoe UI Semibold"/>
                          <a:cs typeface="Segoe UI Semibold"/>
                        </a:rPr>
                        <a:t>Azure</a:t>
                      </a:r>
                      <a:r>
                        <a:rPr lang="en-US" sz="1200" baseline="0" dirty="0">
                          <a:solidFill>
                            <a:schemeClr val="bg1"/>
                          </a:solidFill>
                          <a:latin typeface="Segoe UI Semibold"/>
                          <a:cs typeface="Segoe UI Semibold"/>
                        </a:rPr>
                        <a:t> Cosmos DB</a:t>
                      </a:r>
                      <a:endParaRPr lang="en-US" sz="1200" dirty="0">
                        <a:solidFill>
                          <a:schemeClr val="bg1"/>
                        </a:solidFill>
                        <a:latin typeface="Segoe UI Semibold"/>
                        <a:cs typeface="Segoe UI Semibold"/>
                      </a:endParaRPr>
                    </a:p>
                  </a:txBody>
                  <a:tcPr anchor="ctr">
                    <a:solidFill>
                      <a:schemeClr val="tx2"/>
                    </a:solidFill>
                  </a:tcPr>
                </a:tc>
                <a:tc>
                  <a:txBody>
                    <a:bodyPr/>
                    <a:lstStyle/>
                    <a:p>
                      <a:pPr>
                        <a:spcBef>
                          <a:spcPts val="1000"/>
                        </a:spcBef>
                      </a:pPr>
                      <a:r>
                        <a:rPr lang="en-US" sz="1200" dirty="0">
                          <a:solidFill>
                            <a:schemeClr val="bg1"/>
                          </a:solidFill>
                          <a:latin typeface="Segoe UI Semibold"/>
                          <a:cs typeface="Segoe UI Semibold"/>
                        </a:rPr>
                        <a:t>MongoDB on-prem</a:t>
                      </a:r>
                    </a:p>
                  </a:txBody>
                  <a:tcPr anchor="ctr">
                    <a:solidFill>
                      <a:schemeClr val="tx1"/>
                    </a:solidFill>
                  </a:tcPr>
                </a:tc>
                <a:tc>
                  <a:txBody>
                    <a:bodyPr/>
                    <a:lstStyle/>
                    <a:p>
                      <a:pPr>
                        <a:spcBef>
                          <a:spcPts val="1000"/>
                        </a:spcBef>
                      </a:pPr>
                      <a:r>
                        <a:rPr lang="en-US" sz="1200" dirty="0">
                          <a:solidFill>
                            <a:schemeClr val="bg1"/>
                          </a:solidFill>
                          <a:latin typeface="Segoe UI Semibold"/>
                          <a:cs typeface="Segoe UI Semibold"/>
                        </a:rPr>
                        <a:t>Cassandra on-prem</a:t>
                      </a:r>
                    </a:p>
                  </a:txBody>
                  <a:tcPr anchor="ctr">
                    <a:solidFill>
                      <a:schemeClr val="tx1"/>
                    </a:solidFill>
                  </a:tcPr>
                </a:tc>
                <a:extLst>
                  <a:ext uri="{0D108BD9-81ED-4DB2-BD59-A6C34878D82A}">
                    <a16:rowId xmlns:a16="http://schemas.microsoft.com/office/drawing/2014/main" val="10000"/>
                  </a:ext>
                </a:extLst>
              </a:tr>
              <a:tr h="351585">
                <a:tc>
                  <a:txBody>
                    <a:bodyPr/>
                    <a:lstStyle/>
                    <a:p>
                      <a:pPr>
                        <a:spcBef>
                          <a:spcPts val="1000"/>
                        </a:spcBef>
                      </a:pPr>
                      <a:r>
                        <a:rPr lang="en-US" sz="1200" dirty="0">
                          <a:latin typeface="Segoe UI Semibold"/>
                          <a:cs typeface="Segoe UI Semibold"/>
                        </a:rPr>
                        <a:t>TCO</a:t>
                      </a:r>
                      <a:endParaRPr lang="en-US" sz="1200" b="1" dirty="0">
                        <a:latin typeface="Segoe UI Semibold"/>
                        <a:cs typeface="Segoe UI Semibold"/>
                      </a:endParaRPr>
                    </a:p>
                  </a:txBody>
                  <a:tcPr>
                    <a:lnB w="12700" cap="flat" cmpd="sng" algn="ctr">
                      <a:solidFill>
                        <a:schemeClr val="bg1">
                          <a:lumMod val="75000"/>
                        </a:schemeClr>
                      </a:solidFill>
                      <a:prstDash val="solid"/>
                      <a:round/>
                      <a:headEnd type="none" w="med" len="med"/>
                      <a:tailEnd type="none" w="med" len="med"/>
                    </a:lnB>
                  </a:tcPr>
                </a:tc>
                <a:tc>
                  <a:txBody>
                    <a:bodyPr/>
                    <a:lstStyle/>
                    <a:p>
                      <a:pPr>
                        <a:spcBef>
                          <a:spcPts val="1000"/>
                        </a:spcBef>
                      </a:pPr>
                      <a:r>
                        <a:rPr lang="en-US" sz="1200" dirty="0">
                          <a:latin typeface="+mn-lt"/>
                        </a:rPr>
                        <a:t>No license fees or DevOps needed</a:t>
                      </a:r>
                      <a:endParaRPr lang="en-US" sz="1200" dirty="0">
                        <a:solidFill>
                          <a:srgbClr val="00B050"/>
                        </a:solidFill>
                        <a:latin typeface="+mn-lt"/>
                      </a:endParaRPr>
                    </a:p>
                  </a:txBody>
                  <a:tcPr>
                    <a:lnB w="12700" cap="flat" cmpd="sng" algn="ctr">
                      <a:solidFill>
                        <a:schemeClr val="bg1">
                          <a:lumMod val="75000"/>
                        </a:schemeClr>
                      </a:solidFill>
                      <a:prstDash val="solid"/>
                      <a:round/>
                      <a:headEnd type="none" w="med" len="med"/>
                      <a:tailEnd type="none" w="med" len="med"/>
                    </a:lnB>
                    <a:solidFill>
                      <a:schemeClr val="tx2">
                        <a:alpha val="7000"/>
                      </a:schemeClr>
                    </a:solidFill>
                  </a:tcPr>
                </a:tc>
                <a:tc>
                  <a:txBody>
                    <a:bodyPr/>
                    <a:lstStyle/>
                    <a:p>
                      <a:pPr>
                        <a:spcBef>
                          <a:spcPts val="1000"/>
                        </a:spcBef>
                      </a:pPr>
                      <a:r>
                        <a:rPr lang="en-US" sz="1200" baseline="0" dirty="0">
                          <a:latin typeface="+mn-lt"/>
                        </a:rPr>
                        <a:t>10% extra DevOps cost and 40% extra license fees</a:t>
                      </a:r>
                      <a:endParaRPr lang="en-US" sz="1200" dirty="0">
                        <a:latin typeface="+mn-lt"/>
                      </a:endParaRPr>
                    </a:p>
                  </a:txBody>
                  <a:tcPr>
                    <a:lnB w="12700" cap="flat" cmpd="sng" algn="ctr">
                      <a:solidFill>
                        <a:schemeClr val="bg1">
                          <a:lumMod val="75000"/>
                        </a:schemeClr>
                      </a:solidFill>
                      <a:prstDash val="solid"/>
                      <a:round/>
                      <a:headEnd type="none" w="med" len="med"/>
                      <a:tailEnd type="none" w="med" len="med"/>
                    </a:lnB>
                    <a:solidFill>
                      <a:schemeClr val="tx1">
                        <a:alpha val="7000"/>
                      </a:schemeClr>
                    </a:solidFill>
                  </a:tcPr>
                </a:tc>
                <a:tc>
                  <a:txBody>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lang="en-US" sz="1200" baseline="0" dirty="0">
                          <a:latin typeface="+mn-lt"/>
                        </a:rPr>
                        <a:t>10% extra DevOps cost and 60% extra license fees</a:t>
                      </a:r>
                      <a:endParaRPr lang="en-US" sz="1200" dirty="0">
                        <a:latin typeface="+mn-lt"/>
                      </a:endParaRPr>
                    </a:p>
                  </a:txBody>
                  <a:tcPr>
                    <a:lnB w="12700" cap="flat" cmpd="sng" algn="ctr">
                      <a:solidFill>
                        <a:schemeClr val="bg1">
                          <a:lumMod val="75000"/>
                        </a:schemeClr>
                      </a:solidFill>
                      <a:prstDash val="solid"/>
                      <a:round/>
                      <a:headEnd type="none" w="med" len="med"/>
                      <a:tailEnd type="none" w="med" len="med"/>
                    </a:lnB>
                    <a:solidFill>
                      <a:schemeClr val="tx1">
                        <a:alpha val="4000"/>
                      </a:schemeClr>
                    </a:solidFill>
                  </a:tcPr>
                </a:tc>
                <a:extLst>
                  <a:ext uri="{0D108BD9-81ED-4DB2-BD59-A6C34878D82A}">
                    <a16:rowId xmlns:a16="http://schemas.microsoft.com/office/drawing/2014/main" val="10001"/>
                  </a:ext>
                </a:extLst>
              </a:tr>
              <a:tr h="695709">
                <a:tc>
                  <a:txBody>
                    <a:bodyPr/>
                    <a:lstStyle/>
                    <a:p>
                      <a:pPr>
                        <a:spcBef>
                          <a:spcPts val="1000"/>
                        </a:spcBef>
                      </a:pPr>
                      <a:r>
                        <a:rPr lang="en-US" sz="1200" b="1" dirty="0">
                          <a:latin typeface="Segoe UI Semibold"/>
                          <a:cs typeface="Segoe UI Semibold"/>
                        </a:rPr>
                        <a:t>Enterprise Compliance</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0" indent="0" algn="l" defTabSz="914367" rtl="0" eaLnBrk="1" fontAlgn="auto" latinLnBrk="0" hangingPunct="1">
                        <a:lnSpc>
                          <a:spcPct val="100000"/>
                        </a:lnSpc>
                        <a:spcBef>
                          <a:spcPts val="1000"/>
                        </a:spcBef>
                        <a:spcAft>
                          <a:spcPts val="0"/>
                        </a:spcAft>
                        <a:buClrTx/>
                        <a:buSzTx/>
                        <a:buFontTx/>
                        <a:buNone/>
                        <a:tabLst/>
                        <a:defRPr/>
                      </a:pPr>
                      <a:r>
                        <a:rPr lang="en-US" sz="1200" b="0" i="0" u="none" strike="noStrike" kern="1200" dirty="0">
                          <a:solidFill>
                            <a:schemeClr val="dk1"/>
                          </a:solidFill>
                          <a:effectLst/>
                          <a:latin typeface="+mn-lt"/>
                          <a:ea typeface="+mn-ea"/>
                          <a:cs typeface="+mn-cs"/>
                        </a:rPr>
                        <a:t>Microsoft offers </a:t>
                      </a:r>
                      <a:r>
                        <a:rPr lang="en-US" sz="1200" b="0" i="0" u="none" strike="noStrike" kern="1200" dirty="0">
                          <a:solidFill>
                            <a:schemeClr val="dk1"/>
                          </a:solidFill>
                          <a:effectLst/>
                          <a:latin typeface="+mn-lt"/>
                          <a:ea typeface="+mn-ea"/>
                          <a:cs typeface="+mn-cs"/>
                          <a:hlinkClick r:id="rId3"/>
                        </a:rPr>
                        <a:t>the most comprehensive set of regional, national, and industry-specific compliance offerings </a:t>
                      </a:r>
                      <a:r>
                        <a:rPr lang="en-US" sz="1200" b="0" i="0" u="none" strike="noStrike" kern="1200" dirty="0">
                          <a:solidFill>
                            <a:schemeClr val="dk1"/>
                          </a:solidFill>
                          <a:effectLst/>
                          <a:latin typeface="+mn-lt"/>
                          <a:ea typeface="+mn-ea"/>
                          <a:cs typeface="+mn-cs"/>
                        </a:rPr>
                        <a:t>of any cloud service provider, including HIPAA, DoD, GDPR, etc.</a:t>
                      </a:r>
                      <a:endParaRPr lang="en-CA" sz="1200" b="0" dirty="0">
                        <a:solidFill>
                          <a:schemeClr val="tx1"/>
                        </a:solidFill>
                        <a:latin typeface="+mn-lt"/>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alpha val="7000"/>
                      </a:schemeClr>
                    </a:solidFill>
                  </a:tcPr>
                </a:tc>
                <a:tc>
                  <a:txBody>
                    <a:bodyPr/>
                    <a:lstStyle/>
                    <a:p>
                      <a:pPr>
                        <a:spcBef>
                          <a:spcPts val="1000"/>
                        </a:spcBef>
                      </a:pPr>
                      <a:r>
                        <a:rPr lang="en-US" sz="1200" dirty="0">
                          <a:latin typeface="+mn-lt"/>
                        </a:rPr>
                        <a:t>Limited and requires extra 40% license fee</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alpha val="7000"/>
                      </a:schemeClr>
                    </a:solidFill>
                  </a:tcPr>
                </a:tc>
                <a:tc>
                  <a:txBody>
                    <a:bodyPr/>
                    <a:lstStyle/>
                    <a:p>
                      <a:pPr marL="0" marR="0" indent="0" algn="l" defTabSz="914400" rtl="0" eaLnBrk="1" fontAlgn="auto" latinLnBrk="0" hangingPunct="1">
                        <a:lnSpc>
                          <a:spcPct val="100000"/>
                        </a:lnSpc>
                        <a:spcBef>
                          <a:spcPts val="1000"/>
                        </a:spcBef>
                        <a:spcAft>
                          <a:spcPts val="0"/>
                        </a:spcAft>
                        <a:buClrTx/>
                        <a:buSzTx/>
                        <a:buFontTx/>
                        <a:buNone/>
                        <a:tabLst/>
                        <a:defRPr/>
                      </a:pPr>
                      <a:r>
                        <a:rPr lang="en-US" sz="1200" dirty="0">
                          <a:latin typeface="+mn-lt"/>
                        </a:rPr>
                        <a:t>Limited and requires extra 60% license fee</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alpha val="4000"/>
                      </a:schemeClr>
                    </a:solidFill>
                  </a:tcPr>
                </a:tc>
                <a:extLst>
                  <a:ext uri="{0D108BD9-81ED-4DB2-BD59-A6C34878D82A}">
                    <a16:rowId xmlns:a16="http://schemas.microsoft.com/office/drawing/2014/main" val="314962121"/>
                  </a:ext>
                </a:extLst>
              </a:tr>
              <a:tr h="736779">
                <a:tc>
                  <a:txBody>
                    <a:bodyPr/>
                    <a:lstStyle/>
                    <a:p>
                      <a:pPr>
                        <a:spcBef>
                          <a:spcPts val="1000"/>
                        </a:spcBef>
                      </a:pPr>
                      <a:r>
                        <a:rPr lang="en-US" sz="1200" dirty="0">
                          <a:latin typeface="Segoe UI Semibold"/>
                          <a:cs typeface="Segoe UI Semibold"/>
                        </a:rPr>
                        <a:t>Security </a:t>
                      </a:r>
                      <a:endParaRPr lang="en-US" sz="1200" b="1">
                        <a:latin typeface="Segoe UI Semibold" panose="020B0702040204020203" pitchFamily="34" charset="0"/>
                        <a:cs typeface="Segoe UI Semibold" panose="020B07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spcBef>
                          <a:spcPts val="1000"/>
                        </a:spcBef>
                      </a:pPr>
                      <a:r>
                        <a:rPr lang="en-US" sz="1200" dirty="0">
                          <a:latin typeface="+mn-lt"/>
                        </a:rPr>
                        <a:t>Secure by default, built-in encryption at rest and motion, IP and VNet isolation, role-based</a:t>
                      </a:r>
                      <a:r>
                        <a:rPr lang="en-US" sz="1200" baseline="0" dirty="0">
                          <a:latin typeface="+mn-lt"/>
                        </a:rPr>
                        <a:t> access control</a:t>
                      </a:r>
                      <a:endParaRPr lang="en-US" sz="1200" dirty="0">
                        <a:solidFill>
                          <a:srgbClr val="00B050"/>
                        </a:solidFill>
                        <a:latin typeface="+mn-lt"/>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alpha val="7000"/>
                      </a:schemeClr>
                    </a:solidFill>
                  </a:tcPr>
                </a:tc>
                <a:tc>
                  <a:txBody>
                    <a:bodyPr/>
                    <a:lstStyle/>
                    <a:p>
                      <a:pPr>
                        <a:spcBef>
                          <a:spcPts val="1000"/>
                        </a:spcBef>
                      </a:pPr>
                      <a:r>
                        <a:rPr lang="en-US" sz="1200" dirty="0">
                          <a:latin typeface="+mn-lt"/>
                        </a:rPr>
                        <a:t>Limited, requires manual configuration and 40% extra license fee</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alpha val="7000"/>
                      </a:schemeClr>
                    </a:solidFill>
                  </a:tcPr>
                </a:tc>
                <a:tc>
                  <a:txBody>
                    <a:bodyPr/>
                    <a:lstStyle/>
                    <a:p>
                      <a:pPr marL="0" marR="0" lvl="0" indent="0" algn="l" defTabSz="914367" rtl="0" eaLnBrk="1" fontAlgn="auto" latinLnBrk="0" hangingPunct="1">
                        <a:lnSpc>
                          <a:spcPct val="100000"/>
                        </a:lnSpc>
                        <a:spcBef>
                          <a:spcPts val="1000"/>
                        </a:spcBef>
                        <a:spcAft>
                          <a:spcPts val="0"/>
                        </a:spcAft>
                        <a:buClrTx/>
                        <a:buSzTx/>
                        <a:buFontTx/>
                        <a:buNone/>
                        <a:tabLst/>
                        <a:defRPr/>
                      </a:pPr>
                      <a:r>
                        <a:rPr lang="en-US" sz="1200" dirty="0">
                          <a:latin typeface="+mn-lt"/>
                        </a:rPr>
                        <a:t>Limited, requires manual configuration and 60% extra license fee</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alpha val="4000"/>
                      </a:schemeClr>
                    </a:solidFill>
                  </a:tcPr>
                </a:tc>
                <a:extLst>
                  <a:ext uri="{0D108BD9-81ED-4DB2-BD59-A6C34878D82A}">
                    <a16:rowId xmlns:a16="http://schemas.microsoft.com/office/drawing/2014/main" val="1554364468"/>
                  </a:ext>
                </a:extLst>
              </a:tr>
              <a:tr h="622462">
                <a:tc>
                  <a:txBody>
                    <a:bodyPr/>
                    <a:lstStyle/>
                    <a:p>
                      <a:pPr>
                        <a:spcBef>
                          <a:spcPts val="1000"/>
                        </a:spcBef>
                      </a:pPr>
                      <a:r>
                        <a:rPr lang="en-US" sz="1200" dirty="0">
                          <a:latin typeface="Segoe UI Semibold"/>
                          <a:cs typeface="Segoe UI Semibold"/>
                        </a:rPr>
                        <a:t>High Availability</a:t>
                      </a:r>
                      <a:endParaRPr lang="en-US" sz="1200" b="1" dirty="0">
                        <a:latin typeface="Segoe UI Semibold"/>
                        <a:cs typeface="Segoe UI Semibold"/>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spcBef>
                          <a:spcPts val="1000"/>
                        </a:spcBef>
                      </a:pPr>
                      <a:r>
                        <a:rPr lang="en-US" sz="1200" dirty="0">
                          <a:latin typeface="+mn-lt"/>
                        </a:rPr>
                        <a:t>99.999% availability SLA</a:t>
                      </a:r>
                      <a:r>
                        <a:rPr lang="en-US" sz="1200" baseline="0" dirty="0">
                          <a:latin typeface="+mn-lt"/>
                        </a:rPr>
                        <a:t> with money-back guarantee</a:t>
                      </a:r>
                      <a:endParaRPr lang="en-US" sz="1200" dirty="0">
                        <a:solidFill>
                          <a:srgbClr val="00B050"/>
                        </a:solidFill>
                        <a:latin typeface="+mn-lt"/>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alpha val="7000"/>
                      </a:schemeClr>
                    </a:solidFill>
                  </a:tcPr>
                </a:tc>
                <a:tc>
                  <a:txBody>
                    <a:bodyPr/>
                    <a:lstStyle/>
                    <a:p>
                      <a:pPr>
                        <a:spcBef>
                          <a:spcPts val="1000"/>
                        </a:spcBef>
                      </a:pPr>
                      <a:r>
                        <a:rPr lang="en-US" sz="1200" dirty="0">
                          <a:latin typeface="+mn-lt"/>
                        </a:rPr>
                        <a:t>Limited, requires management </a:t>
                      </a:r>
                      <a:r>
                        <a:rPr lang="en-US" sz="1200" baseline="0" dirty="0">
                          <a:latin typeface="+mn-lt"/>
                        </a:rPr>
                        <a:t>of replica clusters across regions</a:t>
                      </a:r>
                      <a:endParaRPr lang="en-US" sz="1200" dirty="0">
                        <a:latin typeface="+mn-lt"/>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alpha val="7000"/>
                      </a:schemeClr>
                    </a:solidFill>
                  </a:tcPr>
                </a:tc>
                <a:tc>
                  <a:txBody>
                    <a:bodyPr/>
                    <a:lstStyle/>
                    <a:p>
                      <a:pPr marL="0" marR="0" indent="0" algn="l" defTabSz="914400" rtl="0" eaLnBrk="1" fontAlgn="auto" latinLnBrk="0" hangingPunct="1">
                        <a:lnSpc>
                          <a:spcPct val="100000"/>
                        </a:lnSpc>
                        <a:spcBef>
                          <a:spcPts val="1000"/>
                        </a:spcBef>
                        <a:spcAft>
                          <a:spcPts val="0"/>
                        </a:spcAft>
                        <a:buClrTx/>
                        <a:buSzTx/>
                        <a:buFontTx/>
                        <a:buNone/>
                        <a:tabLst/>
                        <a:defRPr/>
                      </a:pPr>
                      <a:r>
                        <a:rPr lang="en-US" sz="1200" dirty="0">
                          <a:latin typeface="+mn-lt"/>
                        </a:rPr>
                        <a:t>Limited, requires management of</a:t>
                      </a:r>
                      <a:r>
                        <a:rPr lang="en-US" sz="1200" baseline="0" dirty="0">
                          <a:latin typeface="+mn-lt"/>
                        </a:rPr>
                        <a:t> replica clusters across regions</a:t>
                      </a:r>
                      <a:endParaRPr lang="en-US" sz="1200" dirty="0">
                        <a:latin typeface="+mn-lt"/>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alpha val="4000"/>
                      </a:schemeClr>
                    </a:solidFill>
                  </a:tcPr>
                </a:tc>
                <a:extLst>
                  <a:ext uri="{0D108BD9-81ED-4DB2-BD59-A6C34878D82A}">
                    <a16:rowId xmlns:a16="http://schemas.microsoft.com/office/drawing/2014/main" val="10002"/>
                  </a:ext>
                </a:extLst>
              </a:tr>
              <a:tr h="622918">
                <a:tc>
                  <a:txBody>
                    <a:bodyPr/>
                    <a:lstStyle/>
                    <a:p>
                      <a:pPr>
                        <a:spcBef>
                          <a:spcPts val="1000"/>
                        </a:spcBef>
                      </a:pPr>
                      <a:r>
                        <a:rPr lang="en-US" sz="1200" b="1" dirty="0">
                          <a:latin typeface="Segoe UI Semibold"/>
                          <a:cs typeface="Segoe UI Semibold"/>
                        </a:rPr>
                        <a:t>Limitless Elastic Scale</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spcBef>
                          <a:spcPts val="1000"/>
                        </a:spcBef>
                      </a:pPr>
                      <a:r>
                        <a:rPr lang="en-US" sz="1200" dirty="0">
                          <a:latin typeface="+mn-lt"/>
                        </a:rPr>
                        <a:t>Instant and limitless elastic scale, per transaction cost reduces as workload grows</a:t>
                      </a:r>
                      <a:endParaRPr lang="en-US" sz="1200" dirty="0">
                        <a:solidFill>
                          <a:srgbClr val="00B050"/>
                        </a:solidFill>
                        <a:latin typeface="+mn-lt"/>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alpha val="7000"/>
                      </a:schemeClr>
                    </a:solidFill>
                  </a:tcPr>
                </a:tc>
                <a:tc>
                  <a:txBody>
                    <a:bodyPr/>
                    <a:lstStyle/>
                    <a:p>
                      <a:pPr>
                        <a:spcBef>
                          <a:spcPts val="1000"/>
                        </a:spcBef>
                      </a:pPr>
                      <a:r>
                        <a:rPr lang="en-US" sz="1200" dirty="0">
                          <a:latin typeface="+mn-lt"/>
                        </a:rPr>
                        <a:t>Manual provisioning, no elasticity, transaction cost grows with workload </a:t>
                      </a:r>
                      <a:endParaRPr lang="en-US" sz="1200">
                        <a:latin typeface="+mn-lt"/>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alpha val="7000"/>
                      </a:schemeClr>
                    </a:solidFill>
                  </a:tcPr>
                </a:tc>
                <a:tc>
                  <a:txBody>
                    <a:bodyPr/>
                    <a:lstStyle/>
                    <a:p>
                      <a:pPr marL="0" marR="0" lvl="0" indent="0" algn="l" defTabSz="914367" rtl="0" eaLnBrk="1" fontAlgn="auto" latinLnBrk="0" hangingPunct="1">
                        <a:lnSpc>
                          <a:spcPct val="100000"/>
                        </a:lnSpc>
                        <a:spcBef>
                          <a:spcPts val="1000"/>
                        </a:spcBef>
                        <a:spcAft>
                          <a:spcPts val="0"/>
                        </a:spcAft>
                        <a:buClrTx/>
                        <a:buSzTx/>
                        <a:buFontTx/>
                        <a:buNone/>
                        <a:tabLst/>
                        <a:defRPr/>
                      </a:pPr>
                      <a:r>
                        <a:rPr lang="en-US" sz="1200" dirty="0">
                          <a:latin typeface="+mn-lt"/>
                        </a:rPr>
                        <a:t>Manual provisioning, no elasticity, per transaction cost grows with workload </a:t>
                      </a:r>
                      <a:endParaRPr lang="en-US" sz="1200">
                        <a:latin typeface="+mn-lt"/>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alpha val="4000"/>
                      </a:schemeClr>
                    </a:solidFill>
                  </a:tcPr>
                </a:tc>
                <a:extLst>
                  <a:ext uri="{0D108BD9-81ED-4DB2-BD59-A6C34878D82A}">
                    <a16:rowId xmlns:a16="http://schemas.microsoft.com/office/drawing/2014/main" val="1090774661"/>
                  </a:ext>
                </a:extLst>
              </a:tr>
              <a:tr h="634365">
                <a:tc>
                  <a:txBody>
                    <a:bodyPr/>
                    <a:lstStyle/>
                    <a:p>
                      <a:pPr>
                        <a:spcBef>
                          <a:spcPts val="1000"/>
                        </a:spcBef>
                      </a:pPr>
                      <a:r>
                        <a:rPr lang="en-US" sz="1200" dirty="0">
                          <a:latin typeface="Segoe UI Semibold"/>
                          <a:cs typeface="Segoe UI Semibold"/>
                        </a:rPr>
                        <a:t>Fast</a:t>
                      </a:r>
                      <a:endParaRPr lang="en-US" sz="1200" b="1" dirty="0">
                        <a:latin typeface="Segoe UI Semibold"/>
                        <a:cs typeface="Segoe UI Semibold"/>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spcBef>
                          <a:spcPts val="1000"/>
                        </a:spcBef>
                      </a:pPr>
                      <a:r>
                        <a:rPr lang="en-US" sz="1200" dirty="0">
                          <a:latin typeface="+mn-lt"/>
                        </a:rPr>
                        <a:t>&lt;10ms Read</a:t>
                      </a:r>
                      <a:r>
                        <a:rPr lang="en-US" sz="1200" baseline="0" dirty="0">
                          <a:latin typeface="+mn-lt"/>
                        </a:rPr>
                        <a:t> and Write requests at 99</a:t>
                      </a:r>
                      <a:r>
                        <a:rPr lang="en-US" sz="1200" baseline="30000" dirty="0">
                          <a:latin typeface="+mn-lt"/>
                        </a:rPr>
                        <a:t>th</a:t>
                      </a:r>
                      <a:r>
                        <a:rPr lang="en-US" sz="1200" baseline="0" dirty="0">
                          <a:latin typeface="+mn-lt"/>
                        </a:rPr>
                        <a:t> percentile, with money-back guarantee</a:t>
                      </a:r>
                      <a:endParaRPr lang="en-US" sz="1200" dirty="0">
                        <a:solidFill>
                          <a:srgbClr val="00B050"/>
                        </a:solidFill>
                        <a:latin typeface="+mn-lt"/>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alpha val="7000"/>
                      </a:schemeClr>
                    </a:solidFill>
                  </a:tcPr>
                </a:tc>
                <a:tc>
                  <a:txBody>
                    <a:bodyPr/>
                    <a:lstStyle/>
                    <a:p>
                      <a:pPr>
                        <a:spcBef>
                          <a:spcPts val="1000"/>
                        </a:spcBef>
                      </a:pPr>
                      <a:r>
                        <a:rPr lang="en-US" sz="1200" dirty="0">
                          <a:latin typeface="+mn-lt"/>
                        </a:rPr>
                        <a:t>Requires manual fine-tuning; 100s of milliseconds at 99</a:t>
                      </a:r>
                      <a:r>
                        <a:rPr lang="en-US" sz="1200" baseline="30000" dirty="0">
                          <a:latin typeface="+mn-lt"/>
                        </a:rPr>
                        <a:t>th</a:t>
                      </a:r>
                      <a:r>
                        <a:rPr lang="en-US" sz="1200" dirty="0">
                          <a:latin typeface="+mn-lt"/>
                        </a:rPr>
                        <a:t> percentile</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alpha val="7000"/>
                      </a:schemeClr>
                    </a:solidFill>
                  </a:tcPr>
                </a:tc>
                <a:tc>
                  <a:txBody>
                    <a:bodyPr/>
                    <a:lstStyle/>
                    <a:p>
                      <a:pPr>
                        <a:spcBef>
                          <a:spcPts val="1000"/>
                        </a:spcBef>
                      </a:pPr>
                      <a:r>
                        <a:rPr lang="en-US" sz="1200" dirty="0">
                          <a:latin typeface="+mn-lt"/>
                        </a:rPr>
                        <a:t>Requires manual fine tuning, slower reads</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alpha val="4000"/>
                      </a:schemeClr>
                    </a:solidFill>
                  </a:tcPr>
                </a:tc>
                <a:extLst>
                  <a:ext uri="{0D108BD9-81ED-4DB2-BD59-A6C34878D82A}">
                    <a16:rowId xmlns:a16="http://schemas.microsoft.com/office/drawing/2014/main" val="10003"/>
                  </a:ext>
                </a:extLst>
              </a:tr>
              <a:tr h="607284">
                <a:tc>
                  <a:txBody>
                    <a:bodyPr/>
                    <a:lstStyle/>
                    <a:p>
                      <a:pPr>
                        <a:spcBef>
                          <a:spcPts val="1000"/>
                        </a:spcBef>
                      </a:pPr>
                      <a:r>
                        <a:rPr lang="en-US" sz="1200" dirty="0">
                          <a:latin typeface="Segoe UI Semibold"/>
                          <a:cs typeface="Segoe UI Semibold"/>
                        </a:rPr>
                        <a:t>Global distribution and Multi-Master</a:t>
                      </a:r>
                      <a:endParaRPr lang="en-US" sz="1200" b="1" dirty="0">
                        <a:latin typeface="Segoe UI Semibold" panose="020B0702040204020203" pitchFamily="34" charset="0"/>
                        <a:cs typeface="Segoe UI Semibold" panose="020B0702040204020203"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spcBef>
                          <a:spcPts val="1000"/>
                        </a:spcBef>
                      </a:pPr>
                      <a:r>
                        <a:rPr lang="en-US" sz="1200" dirty="0">
                          <a:latin typeface="+mn-lt"/>
                        </a:rPr>
                        <a:t>Turnkey global distribution of data across all Azure regions worldwide supporting reads and writes.</a:t>
                      </a:r>
                      <a:endParaRPr lang="en-US" sz="1200" dirty="0">
                        <a:solidFill>
                          <a:srgbClr val="00B050"/>
                        </a:solidFill>
                        <a:latin typeface="+mn-lt"/>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alpha val="7000"/>
                      </a:schemeClr>
                    </a:solidFill>
                  </a:tcPr>
                </a:tc>
                <a:tc>
                  <a:txBody>
                    <a:bodyPr/>
                    <a:lstStyle/>
                    <a:p>
                      <a:pPr>
                        <a:spcBef>
                          <a:spcPts val="1000"/>
                        </a:spcBef>
                      </a:pPr>
                      <a:r>
                        <a:rPr lang="en-US" sz="1200" dirty="0">
                          <a:latin typeface="+mn-lt"/>
                        </a:rPr>
                        <a:t>Manual provisioning of replica clusters</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alpha val="7000"/>
                      </a:schemeClr>
                    </a:solidFill>
                  </a:tcPr>
                </a:tc>
                <a:tc>
                  <a:txBody>
                    <a:bodyPr/>
                    <a:lstStyle/>
                    <a:p>
                      <a:pPr marL="0" marR="0" lvl="0" indent="0" algn="l" defTabSz="914367" rtl="0" eaLnBrk="1" fontAlgn="auto" latinLnBrk="0" hangingPunct="1">
                        <a:lnSpc>
                          <a:spcPct val="100000"/>
                        </a:lnSpc>
                        <a:spcBef>
                          <a:spcPts val="1000"/>
                        </a:spcBef>
                        <a:spcAft>
                          <a:spcPts val="0"/>
                        </a:spcAft>
                        <a:buClrTx/>
                        <a:buSzTx/>
                        <a:buFontTx/>
                        <a:buNone/>
                        <a:tabLst/>
                        <a:defRPr/>
                      </a:pPr>
                      <a:r>
                        <a:rPr lang="en-US" sz="1200" dirty="0">
                          <a:latin typeface="+mn-lt"/>
                        </a:rPr>
                        <a:t>Manual provisioning of replica clusters</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alpha val="4000"/>
                      </a:schemeClr>
                    </a:solidFill>
                  </a:tcPr>
                </a:tc>
                <a:extLst>
                  <a:ext uri="{0D108BD9-81ED-4DB2-BD59-A6C34878D82A}">
                    <a16:rowId xmlns:a16="http://schemas.microsoft.com/office/drawing/2014/main" val="10005"/>
                  </a:ext>
                </a:extLst>
              </a:tr>
              <a:tr h="607284">
                <a:tc>
                  <a:txBody>
                    <a:bodyPr/>
                    <a:lstStyle/>
                    <a:p>
                      <a:pPr>
                        <a:spcBef>
                          <a:spcPts val="1000"/>
                        </a:spcBef>
                      </a:pPr>
                      <a:r>
                        <a:rPr lang="en-US" sz="1200" dirty="0">
                          <a:latin typeface="Segoe UI Semibold"/>
                          <a:cs typeface="Segoe UI Semibold"/>
                        </a:rPr>
                        <a:t>Multi-model, rich query, automatic indexing</a:t>
                      </a:r>
                      <a:endParaRPr lang="en-US" sz="1200" b="1" dirty="0">
                        <a:latin typeface="Segoe UI Semibold"/>
                        <a:cs typeface="Segoe UI Semibold"/>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spcBef>
                          <a:spcPts val="1000"/>
                        </a:spcBef>
                      </a:pPr>
                      <a:r>
                        <a:rPr lang="en-US" sz="1200" dirty="0">
                          <a:latin typeface="+mn-lt"/>
                        </a:rPr>
                        <a:t>Built in support for documents, graphs, key-value, wide-column. Automatic indexing</a:t>
                      </a:r>
                      <a:endParaRPr lang="en-US" sz="1200" dirty="0">
                        <a:solidFill>
                          <a:srgbClr val="00B050"/>
                        </a:solidFill>
                        <a:latin typeface="+mn-lt"/>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alpha val="7000"/>
                      </a:schemeClr>
                    </a:solidFill>
                  </a:tcPr>
                </a:tc>
                <a:tc>
                  <a:txBody>
                    <a:bodyPr/>
                    <a:lstStyle/>
                    <a:p>
                      <a:pPr>
                        <a:spcBef>
                          <a:spcPts val="1000"/>
                        </a:spcBef>
                      </a:pPr>
                      <a:r>
                        <a:rPr lang="en-US" sz="1200" dirty="0">
                          <a:latin typeface="+mn-lt"/>
                        </a:rPr>
                        <a:t>Documents </a:t>
                      </a:r>
                      <a:endParaRPr lang="en-US" sz="1200">
                        <a:latin typeface="+mn-lt"/>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alpha val="7000"/>
                      </a:schemeClr>
                    </a:solidFill>
                  </a:tcPr>
                </a:tc>
                <a:tc>
                  <a:txBody>
                    <a:bodyPr/>
                    <a:lstStyle/>
                    <a:p>
                      <a:pPr marL="0" marR="0" indent="0" algn="l" defTabSz="914400" rtl="0" eaLnBrk="1" fontAlgn="auto" latinLnBrk="0" hangingPunct="1">
                        <a:lnSpc>
                          <a:spcPct val="100000"/>
                        </a:lnSpc>
                        <a:spcBef>
                          <a:spcPts val="1000"/>
                        </a:spcBef>
                        <a:spcAft>
                          <a:spcPts val="0"/>
                        </a:spcAft>
                        <a:buClrTx/>
                        <a:buSzTx/>
                        <a:buFontTx/>
                        <a:buNone/>
                        <a:tabLst/>
                        <a:defRPr/>
                      </a:pPr>
                      <a:r>
                        <a:rPr lang="en-US" sz="1200" dirty="0">
                          <a:latin typeface="+mn-lt"/>
                        </a:rPr>
                        <a:t>Wide column, limited query</a:t>
                      </a: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alpha val="4000"/>
                      </a:schemeClr>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584224841"/>
      </p:ext>
    </p:extLst>
  </p:cSld>
  <p:clrMapOvr>
    <a:masterClrMapping/>
  </p:clrMapOvr>
  <p:transition spd="slow">
    <p:push dir="u"/>
  </p:transition>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914943" y="3294313"/>
            <a:ext cx="5651987" cy="553998"/>
          </a:xfrm>
          <a:prstGeom prst="rect">
            <a:avLst/>
          </a:prstGeom>
          <a:noFill/>
        </p:spPr>
        <p:txBody>
          <a:bodyPr wrap="square" rtlCol="0">
            <a:spAutoFit/>
          </a:bodyPr>
          <a:lstStyle/>
          <a:p>
            <a:pPr>
              <a:defRPr/>
            </a:pPr>
            <a:r>
              <a:rPr lang="en-US" sz="3000" dirty="0">
                <a:solidFill>
                  <a:prstClr val="white"/>
                </a:solidFill>
                <a:latin typeface="Segoe UI Semibold" panose="020B0702040204020203" pitchFamily="34" charset="0"/>
                <a:cs typeface="Segoe UI Semibold" panose="020B0702040204020203" pitchFamily="34" charset="0"/>
              </a:rPr>
              <a:t>Thank you and Q&amp;A</a:t>
            </a:r>
            <a:endParaRPr lang="en-US" sz="3000" u="sng" dirty="0">
              <a:solidFill>
                <a:prstClr val="white"/>
              </a:solidFill>
              <a:latin typeface="Segoe UI Semibold" panose="020B0702040204020203" pitchFamily="34" charset="0"/>
              <a:cs typeface="Segoe UI Semibold" panose="020B0702040204020203" pitchFamily="34" charset="0"/>
            </a:endParaRPr>
          </a:p>
        </p:txBody>
      </p:sp>
      <p:grpSp>
        <p:nvGrpSpPr>
          <p:cNvPr id="2" name="Group 1">
            <a:extLst>
              <a:ext uri="{FF2B5EF4-FFF2-40B4-BE49-F238E27FC236}">
                <a16:creationId xmlns:a16="http://schemas.microsoft.com/office/drawing/2014/main" id="{E0706D3D-7E0B-4089-87AB-017F5A3035D3}"/>
              </a:ext>
            </a:extLst>
          </p:cNvPr>
          <p:cNvGrpSpPr/>
          <p:nvPr/>
        </p:nvGrpSpPr>
        <p:grpSpPr>
          <a:xfrm>
            <a:off x="877118" y="6074563"/>
            <a:ext cx="10792654" cy="991659"/>
            <a:chOff x="877118" y="5845962"/>
            <a:chExt cx="10792654" cy="991659"/>
          </a:xfrm>
        </p:grpSpPr>
        <p:grpSp>
          <p:nvGrpSpPr>
            <p:cNvPr id="4" name="Group 3">
              <a:extLst>
                <a:ext uri="{FF2B5EF4-FFF2-40B4-BE49-F238E27FC236}">
                  <a16:creationId xmlns:a16="http://schemas.microsoft.com/office/drawing/2014/main" id="{8297896D-4116-4025-B6F4-D5E17F4A0C30}"/>
                </a:ext>
              </a:extLst>
            </p:cNvPr>
            <p:cNvGrpSpPr/>
            <p:nvPr/>
          </p:nvGrpSpPr>
          <p:grpSpPr>
            <a:xfrm>
              <a:off x="1888249" y="5905418"/>
              <a:ext cx="9781523" cy="932203"/>
              <a:chOff x="261545" y="3803808"/>
              <a:chExt cx="9781523" cy="932203"/>
            </a:xfrm>
          </p:grpSpPr>
          <p:pic>
            <p:nvPicPr>
              <p:cNvPr id="7" name="Picture 6">
                <a:extLst>
                  <a:ext uri="{FF2B5EF4-FFF2-40B4-BE49-F238E27FC236}">
                    <a16:creationId xmlns:a16="http://schemas.microsoft.com/office/drawing/2014/main" id="{52404004-4C1F-412F-B5A8-F627CAF5496F}"/>
                  </a:ext>
                </a:extLst>
              </p:cNvPr>
              <p:cNvPicPr>
                <a:picLocks noChangeAspect="1"/>
              </p:cNvPicPr>
              <p:nvPr/>
            </p:nvPicPr>
            <p:blipFill>
              <a:blip r:embed="rId3"/>
              <a:stretch>
                <a:fillRect/>
              </a:stretch>
            </p:blipFill>
            <p:spPr>
              <a:xfrm>
                <a:off x="2503887" y="3803808"/>
                <a:ext cx="840566" cy="840566"/>
              </a:xfrm>
              <a:prstGeom prst="rect">
                <a:avLst/>
              </a:prstGeom>
            </p:spPr>
          </p:pic>
          <p:sp>
            <p:nvSpPr>
              <p:cNvPr id="8" name="Rectangle 7">
                <a:extLst>
                  <a:ext uri="{FF2B5EF4-FFF2-40B4-BE49-F238E27FC236}">
                    <a16:creationId xmlns:a16="http://schemas.microsoft.com/office/drawing/2014/main" id="{A3B1722D-2DDF-457A-8F24-9F504AB770F6}"/>
                  </a:ext>
                </a:extLst>
              </p:cNvPr>
              <p:cNvSpPr/>
              <p:nvPr/>
            </p:nvSpPr>
            <p:spPr>
              <a:xfrm>
                <a:off x="3597054" y="3822886"/>
                <a:ext cx="3034357" cy="720197"/>
              </a:xfrm>
              <a:prstGeom prst="rect">
                <a:avLst/>
              </a:prstGeom>
            </p:spPr>
            <p:txBody>
              <a:bodyPr wrap="none">
                <a:spAutoFit/>
              </a:bodyPr>
              <a:lstStyle/>
              <a:p>
                <a:pPr defTabSz="932597"/>
                <a:r>
                  <a:rPr lang="en-US" sz="2040" dirty="0">
                    <a:solidFill>
                      <a:prstClr val="white"/>
                    </a:solidFill>
                    <a:latin typeface="Segoe UI Light" panose="020B0502040204020203" pitchFamily="34" charset="0"/>
                    <a:cs typeface="Segoe UI Light" panose="020B0502040204020203" pitchFamily="34" charset="0"/>
                  </a:rPr>
                  <a:t>Follow @</a:t>
                </a:r>
                <a:r>
                  <a:rPr lang="en-US" sz="2040" dirty="0" err="1">
                    <a:solidFill>
                      <a:prstClr val="white"/>
                    </a:solidFill>
                    <a:latin typeface="Segoe UI Light" panose="020B0502040204020203" pitchFamily="34" charset="0"/>
                    <a:cs typeface="Segoe UI Light" panose="020B0502040204020203" pitchFamily="34" charset="0"/>
                  </a:rPr>
                  <a:t>AzureCosmosDB</a:t>
                </a:r>
                <a:endParaRPr lang="en-US" sz="2040" dirty="0">
                  <a:solidFill>
                    <a:prstClr val="white"/>
                  </a:solidFill>
                  <a:latin typeface="Segoe UI Light" panose="020B0502040204020203" pitchFamily="34" charset="0"/>
                  <a:cs typeface="Segoe UI Light" panose="020B0502040204020203" pitchFamily="34" charset="0"/>
                </a:endParaRPr>
              </a:p>
              <a:p>
                <a:pPr defTabSz="932597"/>
                <a:r>
                  <a:rPr lang="en-US" sz="2040" dirty="0">
                    <a:solidFill>
                      <a:prstClr val="white"/>
                    </a:solidFill>
                    <a:latin typeface="Segoe UI Light" panose="020B0502040204020203" pitchFamily="34" charset="0"/>
                    <a:cs typeface="Segoe UI Light" panose="020B0502040204020203" pitchFamily="34" charset="0"/>
                  </a:rPr>
                  <a:t>Use #CosmosDB</a:t>
                </a:r>
              </a:p>
            </p:txBody>
          </p:sp>
          <p:sp>
            <p:nvSpPr>
              <p:cNvPr id="9" name="Rectangle 8">
                <a:extLst>
                  <a:ext uri="{FF2B5EF4-FFF2-40B4-BE49-F238E27FC236}">
                    <a16:creationId xmlns:a16="http://schemas.microsoft.com/office/drawing/2014/main" id="{6FA6BE6D-4D92-4EAC-A487-CE27DE712857}"/>
                  </a:ext>
                </a:extLst>
              </p:cNvPr>
              <p:cNvSpPr/>
              <p:nvPr/>
            </p:nvSpPr>
            <p:spPr>
              <a:xfrm>
                <a:off x="261545" y="3961503"/>
                <a:ext cx="1838965" cy="406265"/>
              </a:xfrm>
              <a:prstGeom prst="rect">
                <a:avLst/>
              </a:prstGeom>
            </p:spPr>
            <p:txBody>
              <a:bodyPr wrap="none">
                <a:spAutoFit/>
              </a:bodyPr>
              <a:lstStyle/>
              <a:p>
                <a:pPr defTabSz="932597"/>
                <a:r>
                  <a:rPr lang="en-US" sz="2040" dirty="0">
                    <a:solidFill>
                      <a:prstClr val="white"/>
                    </a:solidFill>
                    <a:latin typeface="Segoe UI Light" panose="020B0502040204020203" pitchFamily="34" charset="0"/>
                    <a:cs typeface="Segoe UI Light" panose="020B0502040204020203" pitchFamily="34" charset="0"/>
                  </a:rPr>
                  <a:t>cosmosdb.com</a:t>
                </a:r>
              </a:p>
            </p:txBody>
          </p:sp>
          <p:sp>
            <p:nvSpPr>
              <p:cNvPr id="10" name="Rectangle 9">
                <a:extLst>
                  <a:ext uri="{FF2B5EF4-FFF2-40B4-BE49-F238E27FC236}">
                    <a16:creationId xmlns:a16="http://schemas.microsoft.com/office/drawing/2014/main" id="{FAD447CA-48E8-4242-B77F-1B1DC0BB3C4F}"/>
                  </a:ext>
                </a:extLst>
              </p:cNvPr>
              <p:cNvSpPr/>
              <p:nvPr/>
            </p:nvSpPr>
            <p:spPr>
              <a:xfrm>
                <a:off x="7795786" y="3999455"/>
                <a:ext cx="2247282" cy="406265"/>
              </a:xfrm>
              <a:prstGeom prst="rect">
                <a:avLst/>
              </a:prstGeom>
            </p:spPr>
            <p:txBody>
              <a:bodyPr wrap="none">
                <a:spAutoFit/>
              </a:bodyPr>
              <a:lstStyle/>
              <a:p>
                <a:pPr defTabSz="932597"/>
                <a:r>
                  <a:rPr lang="en-US" sz="2040" dirty="0">
                    <a:solidFill>
                      <a:prstClr val="white"/>
                    </a:solidFill>
                    <a:latin typeface="Segoe UI Light" panose="020B0502040204020203" pitchFamily="34" charset="0"/>
                    <a:cs typeface="Segoe UI Light" panose="020B0502040204020203" pitchFamily="34" charset="0"/>
                  </a:rPr>
                  <a:t>#azure-</a:t>
                </a:r>
                <a:r>
                  <a:rPr lang="en-US" sz="2040" dirty="0" err="1">
                    <a:solidFill>
                      <a:prstClr val="white"/>
                    </a:solidFill>
                    <a:latin typeface="Segoe UI Light" panose="020B0502040204020203" pitchFamily="34" charset="0"/>
                    <a:cs typeface="Segoe UI Light" panose="020B0502040204020203" pitchFamily="34" charset="0"/>
                  </a:rPr>
                  <a:t>cosmosdb</a:t>
                </a:r>
                <a:endParaRPr lang="en-US" sz="2040" dirty="0">
                  <a:solidFill>
                    <a:prstClr val="white"/>
                  </a:solidFill>
                  <a:latin typeface="Segoe UI Light" panose="020B0502040204020203" pitchFamily="34" charset="0"/>
                  <a:cs typeface="Segoe UI Light" panose="020B0502040204020203" pitchFamily="34" charset="0"/>
                </a:endParaRPr>
              </a:p>
            </p:txBody>
          </p:sp>
          <p:pic>
            <p:nvPicPr>
              <p:cNvPr id="11" name="Picture 10">
                <a:extLst>
                  <a:ext uri="{FF2B5EF4-FFF2-40B4-BE49-F238E27FC236}">
                    <a16:creationId xmlns:a16="http://schemas.microsoft.com/office/drawing/2014/main" id="{EFC31193-3967-46B3-AAF4-E87FFCDE908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20676" y="3857041"/>
                <a:ext cx="878970" cy="878970"/>
              </a:xfrm>
              <a:prstGeom prst="rect">
                <a:avLst/>
              </a:prstGeom>
            </p:spPr>
          </p:pic>
        </p:grpSp>
        <p:pic>
          <p:nvPicPr>
            <p:cNvPr id="13" name="Picture 12">
              <a:extLst>
                <a:ext uri="{FF2B5EF4-FFF2-40B4-BE49-F238E27FC236}">
                  <a16:creationId xmlns:a16="http://schemas.microsoft.com/office/drawing/2014/main" id="{5B76D304-63FF-40EA-B305-2EDB73134EC9}"/>
                </a:ext>
              </a:extLst>
            </p:cNvPr>
            <p:cNvPicPr>
              <a:picLocks noChangeAspect="1"/>
            </p:cNvPicPr>
            <p:nvPr/>
          </p:nvPicPr>
          <p:blipFill>
            <a:blip r:embed="rId5"/>
            <a:stretch>
              <a:fillRect/>
            </a:stretch>
          </p:blipFill>
          <p:spPr>
            <a:xfrm>
              <a:off x="877118" y="5845962"/>
              <a:ext cx="914991" cy="840566"/>
            </a:xfrm>
            <a:prstGeom prst="rect">
              <a:avLst/>
            </a:prstGeom>
          </p:spPr>
        </p:pic>
      </p:grpSp>
      <p:pic>
        <p:nvPicPr>
          <p:cNvPr id="2050" name="Picture 2" descr="Image result for cosmos db logo">
            <a:extLst>
              <a:ext uri="{FF2B5EF4-FFF2-40B4-BE49-F238E27FC236}">
                <a16:creationId xmlns:a16="http://schemas.microsoft.com/office/drawing/2014/main" id="{44E8C80B-0883-4B6B-8A34-1AC629BF643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96292" y="2675786"/>
            <a:ext cx="2981497" cy="15652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1701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a:spLocks noGrp="1"/>
          </p:cNvSpPr>
          <p:nvPr>
            <p:ph type="title"/>
          </p:nvPr>
        </p:nvSpPr>
        <p:spPr>
          <a:xfrm>
            <a:off x="124346" y="290160"/>
            <a:ext cx="5714900" cy="770170"/>
          </a:xfrm>
        </p:spPr>
        <p:txBody>
          <a:bodyPr/>
          <a:lstStyle/>
          <a:p>
            <a:r>
              <a:rPr lang="en-US" sz="4000" dirty="0"/>
              <a:t>System topology (physical)</a:t>
            </a:r>
          </a:p>
        </p:txBody>
      </p:sp>
      <p:pic>
        <p:nvPicPr>
          <p:cNvPr id="33" name="Picture 32"/>
          <p:cNvPicPr>
            <a:picLocks noChangeAspect="1"/>
          </p:cNvPicPr>
          <p:nvPr/>
        </p:nvPicPr>
        <p:blipFill rotWithShape="1">
          <a:blip r:embed="rId3" cstate="print">
            <a:extLst>
              <a:ext uri="{28A0092B-C50C-407E-A947-70E740481C1C}">
                <a14:useLocalDpi xmlns:a14="http://schemas.microsoft.com/office/drawing/2010/main" val="0"/>
              </a:ext>
            </a:extLst>
          </a:blip>
          <a:srcRect r="1884" b="5827"/>
          <a:stretch/>
        </p:blipFill>
        <p:spPr>
          <a:xfrm>
            <a:off x="3308455" y="1307326"/>
            <a:ext cx="1583324" cy="855577"/>
          </a:xfrm>
          <a:prstGeom prst="ellipse">
            <a:avLst/>
          </a:prstGeom>
        </p:spPr>
      </p:pic>
      <p:grpSp>
        <p:nvGrpSpPr>
          <p:cNvPr id="34" name="Group 33"/>
          <p:cNvGrpSpPr/>
          <p:nvPr/>
        </p:nvGrpSpPr>
        <p:grpSpPr>
          <a:xfrm>
            <a:off x="6238796" y="1089740"/>
            <a:ext cx="1609804" cy="615195"/>
            <a:chOff x="300248" y="4125156"/>
            <a:chExt cx="3557664" cy="1252062"/>
          </a:xfrm>
          <a:solidFill>
            <a:schemeClr val="accent2"/>
          </a:solidFill>
        </p:grpSpPr>
        <p:sp>
          <p:nvSpPr>
            <p:cNvPr id="35" name="Rectangle 34"/>
            <p:cNvSpPr/>
            <p:nvPr/>
          </p:nvSpPr>
          <p:spPr>
            <a:xfrm>
              <a:off x="300248" y="4125156"/>
              <a:ext cx="299275" cy="125206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6" name="Rectangle 35"/>
            <p:cNvSpPr/>
            <p:nvPr/>
          </p:nvSpPr>
          <p:spPr>
            <a:xfrm>
              <a:off x="384569" y="420748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7" name="Rectangle 36"/>
            <p:cNvSpPr/>
            <p:nvPr/>
          </p:nvSpPr>
          <p:spPr>
            <a:xfrm>
              <a:off x="384569" y="4399235"/>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8" name="Rectangle 37"/>
            <p:cNvSpPr/>
            <p:nvPr/>
          </p:nvSpPr>
          <p:spPr>
            <a:xfrm>
              <a:off x="384568" y="4600698"/>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9" name="Rectangle 38"/>
            <p:cNvSpPr/>
            <p:nvPr/>
          </p:nvSpPr>
          <p:spPr>
            <a:xfrm>
              <a:off x="384569" y="480216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40" name="Rectangle 39"/>
            <p:cNvSpPr/>
            <p:nvPr/>
          </p:nvSpPr>
          <p:spPr>
            <a:xfrm>
              <a:off x="384569" y="4993699"/>
              <a:ext cx="127278" cy="118701"/>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41" name="Rectangle 40"/>
            <p:cNvSpPr/>
            <p:nvPr/>
          </p:nvSpPr>
          <p:spPr>
            <a:xfrm>
              <a:off x="384568" y="5179633"/>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42" name="Rectangle 41"/>
            <p:cNvSpPr/>
            <p:nvPr/>
          </p:nvSpPr>
          <p:spPr>
            <a:xfrm>
              <a:off x="596166" y="4125156"/>
              <a:ext cx="299275" cy="125206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43" name="Rectangle 42"/>
            <p:cNvSpPr/>
            <p:nvPr/>
          </p:nvSpPr>
          <p:spPr>
            <a:xfrm>
              <a:off x="680487" y="420748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44" name="Rectangle 43"/>
            <p:cNvSpPr/>
            <p:nvPr/>
          </p:nvSpPr>
          <p:spPr>
            <a:xfrm>
              <a:off x="680487" y="4399235"/>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45" name="Rectangle 44"/>
            <p:cNvSpPr/>
            <p:nvPr/>
          </p:nvSpPr>
          <p:spPr>
            <a:xfrm>
              <a:off x="680486" y="4600698"/>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46" name="Rectangle 45"/>
            <p:cNvSpPr/>
            <p:nvPr/>
          </p:nvSpPr>
          <p:spPr>
            <a:xfrm>
              <a:off x="680487" y="480216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47" name="Rectangle 46"/>
            <p:cNvSpPr/>
            <p:nvPr/>
          </p:nvSpPr>
          <p:spPr>
            <a:xfrm>
              <a:off x="680487" y="4993699"/>
              <a:ext cx="127278" cy="118701"/>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48" name="Rectangle 47"/>
            <p:cNvSpPr/>
            <p:nvPr/>
          </p:nvSpPr>
          <p:spPr>
            <a:xfrm>
              <a:off x="680486" y="5179633"/>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49" name="Rectangle 48"/>
            <p:cNvSpPr/>
            <p:nvPr/>
          </p:nvSpPr>
          <p:spPr>
            <a:xfrm>
              <a:off x="895441" y="4125156"/>
              <a:ext cx="299275" cy="125206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50" name="Rectangle 49"/>
            <p:cNvSpPr/>
            <p:nvPr/>
          </p:nvSpPr>
          <p:spPr>
            <a:xfrm>
              <a:off x="979762" y="420748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51" name="Rectangle 50"/>
            <p:cNvSpPr/>
            <p:nvPr/>
          </p:nvSpPr>
          <p:spPr>
            <a:xfrm>
              <a:off x="979762" y="4399235"/>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52" name="Rectangle 51"/>
            <p:cNvSpPr/>
            <p:nvPr/>
          </p:nvSpPr>
          <p:spPr>
            <a:xfrm>
              <a:off x="979761" y="4600698"/>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53" name="Rectangle 52"/>
            <p:cNvSpPr/>
            <p:nvPr/>
          </p:nvSpPr>
          <p:spPr>
            <a:xfrm>
              <a:off x="979762" y="480216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54" name="Rectangle 53"/>
            <p:cNvSpPr/>
            <p:nvPr/>
          </p:nvSpPr>
          <p:spPr>
            <a:xfrm>
              <a:off x="979762" y="4993699"/>
              <a:ext cx="127278" cy="118701"/>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55" name="Rectangle 54"/>
            <p:cNvSpPr/>
            <p:nvPr/>
          </p:nvSpPr>
          <p:spPr>
            <a:xfrm>
              <a:off x="979761" y="5179633"/>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56" name="Rectangle 55"/>
            <p:cNvSpPr/>
            <p:nvPr/>
          </p:nvSpPr>
          <p:spPr>
            <a:xfrm>
              <a:off x="1196186" y="4125156"/>
              <a:ext cx="299275" cy="125206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57" name="Rectangle 56"/>
            <p:cNvSpPr/>
            <p:nvPr/>
          </p:nvSpPr>
          <p:spPr>
            <a:xfrm>
              <a:off x="1280507" y="420748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58" name="Rectangle 57"/>
            <p:cNvSpPr/>
            <p:nvPr/>
          </p:nvSpPr>
          <p:spPr>
            <a:xfrm>
              <a:off x="1280507" y="4399235"/>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59" name="Rectangle 58"/>
            <p:cNvSpPr/>
            <p:nvPr/>
          </p:nvSpPr>
          <p:spPr>
            <a:xfrm>
              <a:off x="1280506" y="4600698"/>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60" name="Rectangle 59"/>
            <p:cNvSpPr/>
            <p:nvPr/>
          </p:nvSpPr>
          <p:spPr>
            <a:xfrm>
              <a:off x="1280507" y="480216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61" name="Rectangle 60"/>
            <p:cNvSpPr/>
            <p:nvPr/>
          </p:nvSpPr>
          <p:spPr>
            <a:xfrm>
              <a:off x="1280507" y="4993699"/>
              <a:ext cx="127278" cy="118701"/>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62" name="Rectangle 61"/>
            <p:cNvSpPr/>
            <p:nvPr/>
          </p:nvSpPr>
          <p:spPr>
            <a:xfrm>
              <a:off x="1280506" y="5179633"/>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63" name="Rectangle 62"/>
            <p:cNvSpPr/>
            <p:nvPr/>
          </p:nvSpPr>
          <p:spPr>
            <a:xfrm>
              <a:off x="1493770" y="4125156"/>
              <a:ext cx="299275" cy="125206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64" name="Rectangle 63"/>
            <p:cNvSpPr/>
            <p:nvPr/>
          </p:nvSpPr>
          <p:spPr>
            <a:xfrm>
              <a:off x="1578091" y="420748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65" name="Rectangle 64"/>
            <p:cNvSpPr/>
            <p:nvPr/>
          </p:nvSpPr>
          <p:spPr>
            <a:xfrm>
              <a:off x="1578091" y="4399235"/>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66" name="Rectangle 65"/>
            <p:cNvSpPr/>
            <p:nvPr/>
          </p:nvSpPr>
          <p:spPr>
            <a:xfrm>
              <a:off x="1578090" y="4600698"/>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67" name="Rectangle 66"/>
            <p:cNvSpPr/>
            <p:nvPr/>
          </p:nvSpPr>
          <p:spPr>
            <a:xfrm>
              <a:off x="1578091" y="480216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68" name="Rectangle 67"/>
            <p:cNvSpPr/>
            <p:nvPr/>
          </p:nvSpPr>
          <p:spPr>
            <a:xfrm>
              <a:off x="1578091" y="4993699"/>
              <a:ext cx="127278" cy="118701"/>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69" name="Rectangle 68"/>
            <p:cNvSpPr/>
            <p:nvPr/>
          </p:nvSpPr>
          <p:spPr>
            <a:xfrm>
              <a:off x="1578090" y="5179633"/>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70" name="Rectangle 69"/>
            <p:cNvSpPr/>
            <p:nvPr/>
          </p:nvSpPr>
          <p:spPr>
            <a:xfrm>
              <a:off x="1779985" y="4125156"/>
              <a:ext cx="299275" cy="125206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71" name="Rectangle 70"/>
            <p:cNvSpPr/>
            <p:nvPr/>
          </p:nvSpPr>
          <p:spPr>
            <a:xfrm>
              <a:off x="1864306" y="420748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72" name="Rectangle 71"/>
            <p:cNvSpPr/>
            <p:nvPr/>
          </p:nvSpPr>
          <p:spPr>
            <a:xfrm>
              <a:off x="1864306" y="4399235"/>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73" name="Rectangle 72"/>
            <p:cNvSpPr/>
            <p:nvPr/>
          </p:nvSpPr>
          <p:spPr>
            <a:xfrm>
              <a:off x="1864305" y="4600698"/>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74" name="Rectangle 73"/>
            <p:cNvSpPr/>
            <p:nvPr/>
          </p:nvSpPr>
          <p:spPr>
            <a:xfrm>
              <a:off x="1864306" y="480216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75" name="Rectangle 74"/>
            <p:cNvSpPr/>
            <p:nvPr/>
          </p:nvSpPr>
          <p:spPr>
            <a:xfrm>
              <a:off x="1864306" y="4993699"/>
              <a:ext cx="127278" cy="118701"/>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76" name="Rectangle 75"/>
            <p:cNvSpPr/>
            <p:nvPr/>
          </p:nvSpPr>
          <p:spPr>
            <a:xfrm>
              <a:off x="1864305" y="5179633"/>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77" name="Rectangle 76"/>
            <p:cNvSpPr/>
            <p:nvPr/>
          </p:nvSpPr>
          <p:spPr>
            <a:xfrm>
              <a:off x="2078900" y="4125156"/>
              <a:ext cx="299275" cy="125206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78" name="Rectangle 77"/>
            <p:cNvSpPr/>
            <p:nvPr/>
          </p:nvSpPr>
          <p:spPr>
            <a:xfrm>
              <a:off x="2163221" y="420748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79" name="Rectangle 78"/>
            <p:cNvSpPr/>
            <p:nvPr/>
          </p:nvSpPr>
          <p:spPr>
            <a:xfrm>
              <a:off x="2163221" y="4399235"/>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80" name="Rectangle 79"/>
            <p:cNvSpPr/>
            <p:nvPr/>
          </p:nvSpPr>
          <p:spPr>
            <a:xfrm>
              <a:off x="2163220" y="4600698"/>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81" name="Rectangle 80"/>
            <p:cNvSpPr/>
            <p:nvPr/>
          </p:nvSpPr>
          <p:spPr>
            <a:xfrm>
              <a:off x="2163221" y="480216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82" name="Rectangle 81"/>
            <p:cNvSpPr/>
            <p:nvPr/>
          </p:nvSpPr>
          <p:spPr>
            <a:xfrm>
              <a:off x="2163221" y="4993699"/>
              <a:ext cx="127278" cy="118701"/>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83" name="Rectangle 82"/>
            <p:cNvSpPr/>
            <p:nvPr/>
          </p:nvSpPr>
          <p:spPr>
            <a:xfrm>
              <a:off x="2163220" y="5179633"/>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84" name="Rectangle 83"/>
            <p:cNvSpPr/>
            <p:nvPr/>
          </p:nvSpPr>
          <p:spPr>
            <a:xfrm>
              <a:off x="2374818" y="4125156"/>
              <a:ext cx="299275" cy="125206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85" name="Rectangle 84"/>
            <p:cNvSpPr/>
            <p:nvPr/>
          </p:nvSpPr>
          <p:spPr>
            <a:xfrm>
              <a:off x="2459139" y="420748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86" name="Rectangle 85"/>
            <p:cNvSpPr/>
            <p:nvPr/>
          </p:nvSpPr>
          <p:spPr>
            <a:xfrm>
              <a:off x="2459139" y="4399235"/>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87" name="Rectangle 86"/>
            <p:cNvSpPr/>
            <p:nvPr/>
          </p:nvSpPr>
          <p:spPr>
            <a:xfrm>
              <a:off x="2459138" y="4600698"/>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88" name="Rectangle 87"/>
            <p:cNvSpPr/>
            <p:nvPr/>
          </p:nvSpPr>
          <p:spPr>
            <a:xfrm>
              <a:off x="2459139" y="480216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89" name="Rectangle 88"/>
            <p:cNvSpPr/>
            <p:nvPr/>
          </p:nvSpPr>
          <p:spPr>
            <a:xfrm>
              <a:off x="2459139" y="4993699"/>
              <a:ext cx="127278" cy="118701"/>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90" name="Rectangle 89"/>
            <p:cNvSpPr/>
            <p:nvPr/>
          </p:nvSpPr>
          <p:spPr>
            <a:xfrm>
              <a:off x="2459138" y="5179633"/>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91" name="Rectangle 90"/>
            <p:cNvSpPr/>
            <p:nvPr/>
          </p:nvSpPr>
          <p:spPr>
            <a:xfrm>
              <a:off x="2674093" y="4125156"/>
              <a:ext cx="299275" cy="125206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92" name="Rectangle 91"/>
            <p:cNvSpPr/>
            <p:nvPr/>
          </p:nvSpPr>
          <p:spPr>
            <a:xfrm>
              <a:off x="2758414" y="420748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93" name="Rectangle 92"/>
            <p:cNvSpPr/>
            <p:nvPr/>
          </p:nvSpPr>
          <p:spPr>
            <a:xfrm>
              <a:off x="2758414" y="4399235"/>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94" name="Rectangle 93"/>
            <p:cNvSpPr/>
            <p:nvPr/>
          </p:nvSpPr>
          <p:spPr>
            <a:xfrm>
              <a:off x="2758413" y="4600698"/>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95" name="Rectangle 94"/>
            <p:cNvSpPr/>
            <p:nvPr/>
          </p:nvSpPr>
          <p:spPr>
            <a:xfrm>
              <a:off x="2758414" y="480216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96" name="Rectangle 95"/>
            <p:cNvSpPr/>
            <p:nvPr/>
          </p:nvSpPr>
          <p:spPr>
            <a:xfrm>
              <a:off x="2758414" y="4993699"/>
              <a:ext cx="127278" cy="118701"/>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97" name="Rectangle 96"/>
            <p:cNvSpPr/>
            <p:nvPr/>
          </p:nvSpPr>
          <p:spPr>
            <a:xfrm>
              <a:off x="2758413" y="5179633"/>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98" name="Rectangle 97"/>
            <p:cNvSpPr/>
            <p:nvPr/>
          </p:nvSpPr>
          <p:spPr>
            <a:xfrm>
              <a:off x="2974838" y="4125156"/>
              <a:ext cx="299275" cy="125206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99" name="Rectangle 98"/>
            <p:cNvSpPr/>
            <p:nvPr/>
          </p:nvSpPr>
          <p:spPr>
            <a:xfrm>
              <a:off x="3059159" y="420748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00" name="Rectangle 99"/>
            <p:cNvSpPr/>
            <p:nvPr/>
          </p:nvSpPr>
          <p:spPr>
            <a:xfrm>
              <a:off x="3059159" y="4399235"/>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01" name="Rectangle 100"/>
            <p:cNvSpPr/>
            <p:nvPr/>
          </p:nvSpPr>
          <p:spPr>
            <a:xfrm>
              <a:off x="3059158" y="4600698"/>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02" name="Rectangle 101"/>
            <p:cNvSpPr/>
            <p:nvPr/>
          </p:nvSpPr>
          <p:spPr>
            <a:xfrm>
              <a:off x="3059159" y="480216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03" name="Rectangle 102"/>
            <p:cNvSpPr/>
            <p:nvPr/>
          </p:nvSpPr>
          <p:spPr>
            <a:xfrm>
              <a:off x="3059159" y="4993699"/>
              <a:ext cx="127278" cy="118701"/>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04" name="Rectangle 103"/>
            <p:cNvSpPr/>
            <p:nvPr/>
          </p:nvSpPr>
          <p:spPr>
            <a:xfrm>
              <a:off x="3059158" y="5179633"/>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05" name="Rectangle 104"/>
            <p:cNvSpPr/>
            <p:nvPr/>
          </p:nvSpPr>
          <p:spPr>
            <a:xfrm>
              <a:off x="3272422" y="4125156"/>
              <a:ext cx="299275" cy="125206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06" name="Rectangle 105"/>
            <p:cNvSpPr/>
            <p:nvPr/>
          </p:nvSpPr>
          <p:spPr>
            <a:xfrm>
              <a:off x="3356743" y="420748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07" name="Rectangle 106"/>
            <p:cNvSpPr/>
            <p:nvPr/>
          </p:nvSpPr>
          <p:spPr>
            <a:xfrm>
              <a:off x="3356743" y="4399235"/>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08" name="Rectangle 107"/>
            <p:cNvSpPr/>
            <p:nvPr/>
          </p:nvSpPr>
          <p:spPr>
            <a:xfrm>
              <a:off x="3356742" y="4600698"/>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09" name="Rectangle 108"/>
            <p:cNvSpPr/>
            <p:nvPr/>
          </p:nvSpPr>
          <p:spPr>
            <a:xfrm>
              <a:off x="3356743" y="480216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10" name="Rectangle 109"/>
            <p:cNvSpPr/>
            <p:nvPr/>
          </p:nvSpPr>
          <p:spPr>
            <a:xfrm>
              <a:off x="3356743" y="4993699"/>
              <a:ext cx="127278" cy="118701"/>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11" name="Rectangle 110"/>
            <p:cNvSpPr/>
            <p:nvPr/>
          </p:nvSpPr>
          <p:spPr>
            <a:xfrm>
              <a:off x="3356742" y="5179633"/>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12" name="Rectangle 111"/>
            <p:cNvSpPr/>
            <p:nvPr/>
          </p:nvSpPr>
          <p:spPr>
            <a:xfrm>
              <a:off x="3558637" y="4125156"/>
              <a:ext cx="299275" cy="125206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13" name="Rectangle 112"/>
            <p:cNvSpPr/>
            <p:nvPr/>
          </p:nvSpPr>
          <p:spPr>
            <a:xfrm>
              <a:off x="3642958" y="420748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14" name="Rectangle 113"/>
            <p:cNvSpPr/>
            <p:nvPr/>
          </p:nvSpPr>
          <p:spPr>
            <a:xfrm>
              <a:off x="3642958" y="4399235"/>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15" name="Rectangle 114"/>
            <p:cNvSpPr/>
            <p:nvPr/>
          </p:nvSpPr>
          <p:spPr>
            <a:xfrm>
              <a:off x="3642957" y="4600698"/>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16" name="Rectangle 115"/>
            <p:cNvSpPr/>
            <p:nvPr/>
          </p:nvSpPr>
          <p:spPr>
            <a:xfrm>
              <a:off x="3642958" y="4802161"/>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17" name="Rectangle 116"/>
            <p:cNvSpPr/>
            <p:nvPr/>
          </p:nvSpPr>
          <p:spPr>
            <a:xfrm>
              <a:off x="3642958" y="4993699"/>
              <a:ext cx="127278" cy="118701"/>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118" name="Rectangle 117"/>
            <p:cNvSpPr/>
            <p:nvPr/>
          </p:nvSpPr>
          <p:spPr>
            <a:xfrm>
              <a:off x="3642957" y="5179633"/>
              <a:ext cx="127278" cy="124522"/>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grpSp>
      <p:sp>
        <p:nvSpPr>
          <p:cNvPr id="204" name="TextBox 203"/>
          <p:cNvSpPr txBox="1"/>
          <p:nvPr/>
        </p:nvSpPr>
        <p:spPr>
          <a:xfrm>
            <a:off x="3733464" y="2115251"/>
            <a:ext cx="200431" cy="861774"/>
          </a:xfrm>
          <a:prstGeom prst="rect">
            <a:avLst/>
          </a:prstGeom>
          <a:noFill/>
          <a:ln>
            <a:noFill/>
          </a:ln>
        </p:spPr>
        <p:txBody>
          <a:bodyPr wrap="square" lIns="0" tIns="0" rIns="0" bIns="0" rtlCol="0">
            <a:spAutoFit/>
          </a:bodyPr>
          <a:lstStyle/>
          <a:p>
            <a:pPr algn="ctr" defTabSz="457200" fontAlgn="base">
              <a:spcBef>
                <a:spcPct val="0"/>
              </a:spcBef>
              <a:spcAft>
                <a:spcPct val="0"/>
              </a:spcAft>
            </a:pPr>
            <a:r>
              <a:rPr lang="en-US" sz="5600" b="1" dirty="0">
                <a:solidFill>
                  <a:srgbClr val="000000"/>
                </a:solidFill>
                <a:latin typeface="Gill Sans" charset="0"/>
                <a:ea typeface="Heiti SC Light" charset="-122"/>
                <a:sym typeface="Gill Sans" charset="0"/>
              </a:rPr>
              <a:t>…</a:t>
            </a:r>
          </a:p>
        </p:txBody>
      </p:sp>
      <p:grpSp>
        <p:nvGrpSpPr>
          <p:cNvPr id="207" name="Group 206"/>
          <p:cNvGrpSpPr/>
          <p:nvPr/>
        </p:nvGrpSpPr>
        <p:grpSpPr>
          <a:xfrm>
            <a:off x="8888030" y="1045090"/>
            <a:ext cx="486004" cy="999713"/>
            <a:chOff x="5873305" y="2391509"/>
            <a:chExt cx="133176" cy="378605"/>
          </a:xfrm>
        </p:grpSpPr>
        <p:sp>
          <p:nvSpPr>
            <p:cNvPr id="208" name="Rectangle 207"/>
            <p:cNvSpPr/>
            <p:nvPr/>
          </p:nvSpPr>
          <p:spPr>
            <a:xfrm>
              <a:off x="5873305" y="2391509"/>
              <a:ext cx="133176" cy="378605"/>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defTabSz="457200" fontAlgn="base">
                <a:spcBef>
                  <a:spcPct val="0"/>
                </a:spcBef>
                <a:spcAft>
                  <a:spcPct val="0"/>
                </a:spcAft>
              </a:pPr>
              <a:endParaRPr lang="en-US" sz="5600" b="1">
                <a:solidFill>
                  <a:srgbClr val="FFFFFF"/>
                </a:solidFill>
                <a:latin typeface="Segoe UI Semilight"/>
                <a:sym typeface="Gill Sans" charset="0"/>
              </a:endParaRPr>
            </a:p>
          </p:txBody>
        </p:sp>
        <p:sp>
          <p:nvSpPr>
            <p:cNvPr id="209" name="Rectangle 208"/>
            <p:cNvSpPr/>
            <p:nvPr/>
          </p:nvSpPr>
          <p:spPr>
            <a:xfrm>
              <a:off x="5910828" y="2416403"/>
              <a:ext cx="56638" cy="3765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10" name="Rectangle 209"/>
            <p:cNvSpPr/>
            <p:nvPr/>
          </p:nvSpPr>
          <p:spPr>
            <a:xfrm>
              <a:off x="5910828" y="2474386"/>
              <a:ext cx="56638" cy="3765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11" name="Rectangle 210"/>
            <p:cNvSpPr/>
            <p:nvPr/>
          </p:nvSpPr>
          <p:spPr>
            <a:xfrm>
              <a:off x="5910827" y="2535306"/>
              <a:ext cx="56638" cy="3765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12" name="Rectangle 211"/>
            <p:cNvSpPr/>
            <p:nvPr/>
          </p:nvSpPr>
          <p:spPr>
            <a:xfrm>
              <a:off x="5910828" y="2596225"/>
              <a:ext cx="56638" cy="3765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13" name="Rectangle 212"/>
            <p:cNvSpPr/>
            <p:nvPr/>
          </p:nvSpPr>
          <p:spPr>
            <a:xfrm>
              <a:off x="5910828" y="2654144"/>
              <a:ext cx="56638" cy="3589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14" name="Rectangle 213"/>
            <p:cNvSpPr/>
            <p:nvPr/>
          </p:nvSpPr>
          <p:spPr>
            <a:xfrm>
              <a:off x="5910827" y="2710367"/>
              <a:ext cx="56638" cy="3765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grpSp>
      <p:cxnSp>
        <p:nvCxnSpPr>
          <p:cNvPr id="215" name="Straight Arrow Connector 214"/>
          <p:cNvCxnSpPr>
            <a:endCxn id="208" idx="1"/>
          </p:cNvCxnSpPr>
          <p:nvPr/>
        </p:nvCxnSpPr>
        <p:spPr>
          <a:xfrm flipV="1">
            <a:off x="8777118" y="1544947"/>
            <a:ext cx="110912" cy="6737"/>
          </a:xfrm>
          <a:prstGeom prst="straightConnector1">
            <a:avLst/>
          </a:prstGeom>
          <a:ln w="12700">
            <a:prstDash val="solid"/>
            <a:tailEnd type="triangle"/>
          </a:ln>
        </p:spPr>
        <p:style>
          <a:lnRef idx="2">
            <a:schemeClr val="dk1"/>
          </a:lnRef>
          <a:fillRef idx="0">
            <a:schemeClr val="dk1"/>
          </a:fillRef>
          <a:effectRef idx="1">
            <a:schemeClr val="dk1"/>
          </a:effectRef>
          <a:fontRef idx="minor">
            <a:schemeClr val="tx1"/>
          </a:fontRef>
        </p:style>
      </p:cxnSp>
      <p:pic>
        <p:nvPicPr>
          <p:cNvPr id="226" name="Picture 225"/>
          <p:cNvPicPr>
            <a:picLocks noChangeAspect="1"/>
          </p:cNvPicPr>
          <p:nvPr/>
        </p:nvPicPr>
        <p:blipFill rotWithShape="1">
          <a:blip r:embed="rId3" cstate="print">
            <a:extLst>
              <a:ext uri="{28A0092B-C50C-407E-A947-70E740481C1C}">
                <a14:useLocalDpi xmlns:a14="http://schemas.microsoft.com/office/drawing/2010/main" val="0"/>
              </a:ext>
            </a:extLst>
          </a:blip>
          <a:srcRect r="1884" b="5827"/>
          <a:stretch/>
        </p:blipFill>
        <p:spPr>
          <a:xfrm>
            <a:off x="3971361" y="1769907"/>
            <a:ext cx="1558547" cy="842188"/>
          </a:xfrm>
          <a:prstGeom prst="ellipse">
            <a:avLst/>
          </a:prstGeom>
        </p:spPr>
      </p:pic>
      <p:cxnSp>
        <p:nvCxnSpPr>
          <p:cNvPr id="227" name="Straight Arrow Connector 226"/>
          <p:cNvCxnSpPr/>
          <p:nvPr/>
        </p:nvCxnSpPr>
        <p:spPr>
          <a:xfrm flipV="1">
            <a:off x="3438065" y="1868753"/>
            <a:ext cx="367675" cy="280993"/>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grpSp>
        <p:nvGrpSpPr>
          <p:cNvPr id="228" name="Group 227"/>
          <p:cNvGrpSpPr/>
          <p:nvPr/>
        </p:nvGrpSpPr>
        <p:grpSpPr>
          <a:xfrm>
            <a:off x="9436492" y="1508199"/>
            <a:ext cx="486004" cy="999713"/>
            <a:chOff x="5873305" y="2391509"/>
            <a:chExt cx="133176" cy="378605"/>
          </a:xfrm>
        </p:grpSpPr>
        <p:sp>
          <p:nvSpPr>
            <p:cNvPr id="229" name="Rectangle 228"/>
            <p:cNvSpPr/>
            <p:nvPr/>
          </p:nvSpPr>
          <p:spPr>
            <a:xfrm>
              <a:off x="5873305" y="2391509"/>
              <a:ext cx="133176" cy="378605"/>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30" name="Rectangle 229"/>
            <p:cNvSpPr/>
            <p:nvPr/>
          </p:nvSpPr>
          <p:spPr>
            <a:xfrm>
              <a:off x="5910828" y="2416403"/>
              <a:ext cx="56638" cy="3765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31" name="Rectangle 230"/>
            <p:cNvSpPr/>
            <p:nvPr/>
          </p:nvSpPr>
          <p:spPr>
            <a:xfrm>
              <a:off x="5910828" y="2474386"/>
              <a:ext cx="56638" cy="3765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32" name="Rectangle 231"/>
            <p:cNvSpPr/>
            <p:nvPr/>
          </p:nvSpPr>
          <p:spPr>
            <a:xfrm>
              <a:off x="5910827" y="2535306"/>
              <a:ext cx="56638" cy="3765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33" name="Rectangle 232"/>
            <p:cNvSpPr/>
            <p:nvPr/>
          </p:nvSpPr>
          <p:spPr>
            <a:xfrm>
              <a:off x="5910828" y="2596225"/>
              <a:ext cx="56638" cy="3765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34" name="Rectangle 233"/>
            <p:cNvSpPr/>
            <p:nvPr/>
          </p:nvSpPr>
          <p:spPr>
            <a:xfrm>
              <a:off x="5910828" y="2654144"/>
              <a:ext cx="56638" cy="3589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35" name="Rectangle 234"/>
            <p:cNvSpPr/>
            <p:nvPr/>
          </p:nvSpPr>
          <p:spPr>
            <a:xfrm>
              <a:off x="5910827" y="2710367"/>
              <a:ext cx="56638" cy="3765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grpSp>
      <p:sp>
        <p:nvSpPr>
          <p:cNvPr id="2" name="TextBox 1"/>
          <p:cNvSpPr txBox="1"/>
          <p:nvPr/>
        </p:nvSpPr>
        <p:spPr>
          <a:xfrm>
            <a:off x="6775505" y="1562890"/>
            <a:ext cx="542235" cy="480131"/>
          </a:xfrm>
          <a:prstGeom prst="rect">
            <a:avLst/>
          </a:prstGeom>
          <a:noFill/>
        </p:spPr>
        <p:txBody>
          <a:bodyPr wrap="square" lIns="91440" tIns="73152" rIns="91440" bIns="73152" rtlCol="0">
            <a:spAutoFit/>
          </a:bodyPr>
          <a:lstStyle/>
          <a:p>
            <a:pPr defTabSz="457200" fontAlgn="base">
              <a:lnSpc>
                <a:spcPct val="90000"/>
              </a:lnSpc>
              <a:spcBef>
                <a:spcPct val="0"/>
              </a:spcBef>
              <a:spcAft>
                <a:spcPts val="300"/>
              </a:spcAft>
            </a:pPr>
            <a:r>
              <a:rPr lang="en-US" sz="2400" b="1" dirty="0">
                <a:solidFill>
                  <a:srgbClr val="FFFFFF"/>
                </a:solidFill>
                <a:latin typeface="Gill Sans" charset="0"/>
                <a:ea typeface="Heiti SC Light" charset="-122"/>
                <a:sym typeface="Gill Sans" charset="0"/>
              </a:rPr>
              <a:t>…</a:t>
            </a:r>
            <a:endParaRPr lang="en-US" sz="1200" b="1" dirty="0">
              <a:solidFill>
                <a:srgbClr val="FFFFFF"/>
              </a:solidFill>
              <a:latin typeface="Gill Sans" charset="0"/>
              <a:ea typeface="Heiti SC Light" charset="-122"/>
              <a:sym typeface="Gill Sans" charset="0"/>
            </a:endParaRPr>
          </a:p>
        </p:txBody>
      </p:sp>
      <p:sp>
        <p:nvSpPr>
          <p:cNvPr id="236" name="TextBox 235"/>
          <p:cNvSpPr txBox="1"/>
          <p:nvPr/>
        </p:nvSpPr>
        <p:spPr>
          <a:xfrm>
            <a:off x="10007196" y="1765495"/>
            <a:ext cx="542235" cy="480131"/>
          </a:xfrm>
          <a:prstGeom prst="rect">
            <a:avLst/>
          </a:prstGeom>
          <a:noFill/>
        </p:spPr>
        <p:txBody>
          <a:bodyPr wrap="square" lIns="91440" tIns="73152" rIns="91440" bIns="73152" rtlCol="0">
            <a:spAutoFit/>
          </a:bodyPr>
          <a:lstStyle/>
          <a:p>
            <a:pPr defTabSz="457200" fontAlgn="base">
              <a:lnSpc>
                <a:spcPct val="90000"/>
              </a:lnSpc>
              <a:spcBef>
                <a:spcPct val="0"/>
              </a:spcBef>
              <a:spcAft>
                <a:spcPts val="300"/>
              </a:spcAft>
            </a:pPr>
            <a:r>
              <a:rPr lang="en-US" sz="2400" b="1" dirty="0">
                <a:solidFill>
                  <a:srgbClr val="FFFFFF"/>
                </a:solidFill>
                <a:latin typeface="Gill Sans" charset="0"/>
                <a:ea typeface="Heiti SC Light" charset="-122"/>
                <a:sym typeface="Gill Sans" charset="0"/>
              </a:rPr>
              <a:t>…</a:t>
            </a:r>
            <a:endParaRPr lang="en-US" sz="1200" b="1" dirty="0">
              <a:solidFill>
                <a:srgbClr val="FFFFFF"/>
              </a:solidFill>
              <a:latin typeface="Gill Sans" charset="0"/>
              <a:ea typeface="Heiti SC Light" charset="-122"/>
              <a:sym typeface="Gill Sans" charset="0"/>
            </a:endParaRPr>
          </a:p>
        </p:txBody>
      </p:sp>
      <p:sp>
        <p:nvSpPr>
          <p:cNvPr id="237" name="Right Brace 236"/>
          <p:cNvSpPr/>
          <p:nvPr/>
        </p:nvSpPr>
        <p:spPr>
          <a:xfrm rot="5400000">
            <a:off x="9486509" y="1665782"/>
            <a:ext cx="551866" cy="2076815"/>
          </a:xfrm>
          <a:prstGeom prst="rightBrace">
            <a:avLst/>
          </a:prstGeom>
          <a:noFill/>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defTabSz="457200" fontAlgn="base">
              <a:spcBef>
                <a:spcPct val="0"/>
              </a:spcBef>
              <a:spcAft>
                <a:spcPct val="0"/>
              </a:spcAft>
            </a:pPr>
            <a:endParaRPr lang="en-US" sz="800">
              <a:solidFill>
                <a:srgbClr val="FFFFFF"/>
              </a:solidFill>
              <a:latin typeface="Segoe UI Semilight"/>
              <a:sym typeface="Gill Sans" charset="0"/>
            </a:endParaRPr>
          </a:p>
        </p:txBody>
      </p:sp>
      <p:sp>
        <p:nvSpPr>
          <p:cNvPr id="238" name="TextBox 237"/>
          <p:cNvSpPr txBox="1"/>
          <p:nvPr/>
        </p:nvSpPr>
        <p:spPr>
          <a:xfrm>
            <a:off x="9165296" y="2863867"/>
            <a:ext cx="1415151" cy="338554"/>
          </a:xfrm>
          <a:prstGeom prst="rect">
            <a:avLst/>
          </a:prstGeom>
          <a:noFill/>
        </p:spPr>
        <p:txBody>
          <a:bodyPr wrap="square" rtlCol="0">
            <a:spAutoFit/>
          </a:bodyPr>
          <a:lstStyle/>
          <a:p>
            <a:pPr defTabSz="457200" fontAlgn="base">
              <a:spcBef>
                <a:spcPct val="0"/>
              </a:spcBef>
              <a:spcAft>
                <a:spcPct val="0"/>
              </a:spcAft>
            </a:pPr>
            <a:r>
              <a:rPr lang="en-US" sz="1600" dirty="0">
                <a:solidFill>
                  <a:srgbClr val="FFFFFF"/>
                </a:solidFill>
                <a:latin typeface="Segoe UI Light" panose="020B0502040204020203" pitchFamily="34" charset="0"/>
                <a:ea typeface="Heiti SC Light" charset="-122"/>
                <a:cs typeface="Segoe UI Light" panose="020B0502040204020203" pitchFamily="34" charset="0"/>
                <a:sym typeface="Gill Sans" charset="0"/>
              </a:rPr>
              <a:t>Fault Domains</a:t>
            </a:r>
          </a:p>
        </p:txBody>
      </p:sp>
      <p:sp>
        <p:nvSpPr>
          <p:cNvPr id="239" name="Right Brace 238"/>
          <p:cNvSpPr/>
          <p:nvPr/>
        </p:nvSpPr>
        <p:spPr>
          <a:xfrm rot="5400000">
            <a:off x="6772366" y="1661123"/>
            <a:ext cx="551866" cy="2076815"/>
          </a:xfrm>
          <a:prstGeom prst="rightBrace">
            <a:avLst/>
          </a:prstGeom>
          <a:noFill/>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defTabSz="457200" fontAlgn="base">
              <a:spcBef>
                <a:spcPct val="0"/>
              </a:spcBef>
              <a:spcAft>
                <a:spcPct val="0"/>
              </a:spcAft>
            </a:pPr>
            <a:endParaRPr lang="en-US" sz="800">
              <a:solidFill>
                <a:srgbClr val="FFFFFF"/>
              </a:solidFill>
              <a:latin typeface="Segoe UI Semilight"/>
              <a:sym typeface="Gill Sans" charset="0"/>
            </a:endParaRPr>
          </a:p>
        </p:txBody>
      </p:sp>
      <p:sp>
        <p:nvSpPr>
          <p:cNvPr id="240" name="TextBox 239"/>
          <p:cNvSpPr txBox="1"/>
          <p:nvPr/>
        </p:nvSpPr>
        <p:spPr>
          <a:xfrm>
            <a:off x="6686133" y="2880985"/>
            <a:ext cx="858632" cy="338554"/>
          </a:xfrm>
          <a:prstGeom prst="rect">
            <a:avLst/>
          </a:prstGeom>
          <a:noFill/>
        </p:spPr>
        <p:txBody>
          <a:bodyPr wrap="square" rtlCol="0">
            <a:spAutoFit/>
          </a:bodyPr>
          <a:lstStyle/>
          <a:p>
            <a:pPr defTabSz="457200" fontAlgn="base">
              <a:spcBef>
                <a:spcPct val="0"/>
              </a:spcBef>
              <a:spcAft>
                <a:spcPct val="0"/>
              </a:spcAft>
            </a:pPr>
            <a:r>
              <a:rPr lang="en-US" sz="1600" dirty="0">
                <a:solidFill>
                  <a:srgbClr val="FFFFFF"/>
                </a:solidFill>
                <a:latin typeface="Segoe UI Light" panose="020B0502040204020203" pitchFamily="34" charset="0"/>
                <a:ea typeface="Heiti SC Light" charset="-122"/>
                <a:cs typeface="Segoe UI Light" panose="020B0502040204020203" pitchFamily="34" charset="0"/>
                <a:sym typeface="Gill Sans" charset="0"/>
              </a:rPr>
              <a:t>Stamps</a:t>
            </a:r>
          </a:p>
        </p:txBody>
      </p:sp>
      <p:sp>
        <p:nvSpPr>
          <p:cNvPr id="241" name="Right Brace 240"/>
          <p:cNvSpPr/>
          <p:nvPr/>
        </p:nvSpPr>
        <p:spPr>
          <a:xfrm rot="5400000">
            <a:off x="4140567" y="1695193"/>
            <a:ext cx="551866" cy="2076815"/>
          </a:xfrm>
          <a:prstGeom prst="rightBrace">
            <a:avLst/>
          </a:prstGeom>
          <a:noFill/>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defTabSz="457200" fontAlgn="base">
              <a:spcBef>
                <a:spcPct val="0"/>
              </a:spcBef>
              <a:spcAft>
                <a:spcPct val="0"/>
              </a:spcAft>
            </a:pPr>
            <a:endParaRPr lang="en-US" sz="800">
              <a:solidFill>
                <a:srgbClr val="FFFFFF"/>
              </a:solidFill>
              <a:latin typeface="Segoe UI Semilight"/>
              <a:sym typeface="Gill Sans" charset="0"/>
            </a:endParaRPr>
          </a:p>
        </p:txBody>
      </p:sp>
      <p:sp>
        <p:nvSpPr>
          <p:cNvPr id="242" name="TextBox 241"/>
          <p:cNvSpPr txBox="1"/>
          <p:nvPr/>
        </p:nvSpPr>
        <p:spPr>
          <a:xfrm>
            <a:off x="3733465" y="2906859"/>
            <a:ext cx="1313088" cy="338554"/>
          </a:xfrm>
          <a:prstGeom prst="rect">
            <a:avLst/>
          </a:prstGeom>
          <a:noFill/>
        </p:spPr>
        <p:txBody>
          <a:bodyPr wrap="square" rtlCol="0">
            <a:spAutoFit/>
          </a:bodyPr>
          <a:lstStyle/>
          <a:p>
            <a:pPr defTabSz="457200" fontAlgn="base">
              <a:spcBef>
                <a:spcPct val="0"/>
              </a:spcBef>
              <a:spcAft>
                <a:spcPct val="0"/>
              </a:spcAft>
            </a:pPr>
            <a:r>
              <a:rPr lang="en-US" sz="1600" dirty="0">
                <a:solidFill>
                  <a:srgbClr val="FFFFFF"/>
                </a:solidFill>
                <a:latin typeface="Segoe UI Light" panose="020B0502040204020203" pitchFamily="34" charset="0"/>
                <a:ea typeface="Heiti SC Light" charset="-122"/>
                <a:cs typeface="Segoe UI Light" panose="020B0502040204020203" pitchFamily="34" charset="0"/>
                <a:sym typeface="Gill Sans" charset="0"/>
              </a:rPr>
              <a:t>Datacenters</a:t>
            </a:r>
          </a:p>
        </p:txBody>
      </p:sp>
      <p:grpSp>
        <p:nvGrpSpPr>
          <p:cNvPr id="243" name="Group 242"/>
          <p:cNvGrpSpPr/>
          <p:nvPr/>
        </p:nvGrpSpPr>
        <p:grpSpPr>
          <a:xfrm>
            <a:off x="6246176" y="1972698"/>
            <a:ext cx="1609804" cy="615195"/>
            <a:chOff x="300248" y="4125156"/>
            <a:chExt cx="3557664" cy="1252062"/>
          </a:xfrm>
        </p:grpSpPr>
        <p:sp>
          <p:nvSpPr>
            <p:cNvPr id="244" name="Rectangle 243"/>
            <p:cNvSpPr/>
            <p:nvPr/>
          </p:nvSpPr>
          <p:spPr>
            <a:xfrm>
              <a:off x="300248" y="4125156"/>
              <a:ext cx="299275" cy="125206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45" name="Rectangle 244"/>
            <p:cNvSpPr/>
            <p:nvPr/>
          </p:nvSpPr>
          <p:spPr>
            <a:xfrm>
              <a:off x="384569" y="420748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46" name="Rectangle 245"/>
            <p:cNvSpPr/>
            <p:nvPr/>
          </p:nvSpPr>
          <p:spPr>
            <a:xfrm>
              <a:off x="384569" y="4399235"/>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47" name="Rectangle 246"/>
            <p:cNvSpPr/>
            <p:nvPr/>
          </p:nvSpPr>
          <p:spPr>
            <a:xfrm>
              <a:off x="384568" y="4600698"/>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48" name="Rectangle 247"/>
            <p:cNvSpPr/>
            <p:nvPr/>
          </p:nvSpPr>
          <p:spPr>
            <a:xfrm>
              <a:off x="384569" y="480216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49" name="Rectangle 248"/>
            <p:cNvSpPr/>
            <p:nvPr/>
          </p:nvSpPr>
          <p:spPr>
            <a:xfrm>
              <a:off x="384569" y="4993699"/>
              <a:ext cx="127278" cy="118701"/>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50" name="Rectangle 249"/>
            <p:cNvSpPr/>
            <p:nvPr/>
          </p:nvSpPr>
          <p:spPr>
            <a:xfrm>
              <a:off x="384568" y="5179633"/>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51" name="Rectangle 250"/>
            <p:cNvSpPr/>
            <p:nvPr/>
          </p:nvSpPr>
          <p:spPr>
            <a:xfrm>
              <a:off x="596166" y="4125156"/>
              <a:ext cx="299275" cy="125206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52" name="Rectangle 251"/>
            <p:cNvSpPr/>
            <p:nvPr/>
          </p:nvSpPr>
          <p:spPr>
            <a:xfrm>
              <a:off x="680487" y="420748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53" name="Rectangle 252"/>
            <p:cNvSpPr/>
            <p:nvPr/>
          </p:nvSpPr>
          <p:spPr>
            <a:xfrm>
              <a:off x="680487" y="4399235"/>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54" name="Rectangle 253"/>
            <p:cNvSpPr/>
            <p:nvPr/>
          </p:nvSpPr>
          <p:spPr>
            <a:xfrm>
              <a:off x="680486" y="4600698"/>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55" name="Rectangle 254"/>
            <p:cNvSpPr/>
            <p:nvPr/>
          </p:nvSpPr>
          <p:spPr>
            <a:xfrm>
              <a:off x="680487" y="480216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56" name="Rectangle 255"/>
            <p:cNvSpPr/>
            <p:nvPr/>
          </p:nvSpPr>
          <p:spPr>
            <a:xfrm>
              <a:off x="680487" y="4993699"/>
              <a:ext cx="127278" cy="118701"/>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57" name="Rectangle 256"/>
            <p:cNvSpPr/>
            <p:nvPr/>
          </p:nvSpPr>
          <p:spPr>
            <a:xfrm>
              <a:off x="680486" y="5179633"/>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58" name="Rectangle 257"/>
            <p:cNvSpPr/>
            <p:nvPr/>
          </p:nvSpPr>
          <p:spPr>
            <a:xfrm>
              <a:off x="895441" y="4125156"/>
              <a:ext cx="299275" cy="125206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59" name="Rectangle 258"/>
            <p:cNvSpPr/>
            <p:nvPr/>
          </p:nvSpPr>
          <p:spPr>
            <a:xfrm>
              <a:off x="979762" y="420748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60" name="Rectangle 259"/>
            <p:cNvSpPr/>
            <p:nvPr/>
          </p:nvSpPr>
          <p:spPr>
            <a:xfrm>
              <a:off x="979762" y="4399235"/>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61" name="Rectangle 260"/>
            <p:cNvSpPr/>
            <p:nvPr/>
          </p:nvSpPr>
          <p:spPr>
            <a:xfrm>
              <a:off x="979761" y="4600698"/>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62" name="Rectangle 261"/>
            <p:cNvSpPr/>
            <p:nvPr/>
          </p:nvSpPr>
          <p:spPr>
            <a:xfrm>
              <a:off x="979762" y="480216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63" name="Rectangle 262"/>
            <p:cNvSpPr/>
            <p:nvPr/>
          </p:nvSpPr>
          <p:spPr>
            <a:xfrm>
              <a:off x="979762" y="4993699"/>
              <a:ext cx="127278" cy="118701"/>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64" name="Rectangle 263"/>
            <p:cNvSpPr/>
            <p:nvPr/>
          </p:nvSpPr>
          <p:spPr>
            <a:xfrm>
              <a:off x="979761" y="5179633"/>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65" name="Rectangle 264"/>
            <p:cNvSpPr/>
            <p:nvPr/>
          </p:nvSpPr>
          <p:spPr>
            <a:xfrm>
              <a:off x="1196186" y="4125156"/>
              <a:ext cx="299275" cy="125206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66" name="Rectangle 265"/>
            <p:cNvSpPr/>
            <p:nvPr/>
          </p:nvSpPr>
          <p:spPr>
            <a:xfrm>
              <a:off x="1280507" y="420748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67" name="Rectangle 266"/>
            <p:cNvSpPr/>
            <p:nvPr/>
          </p:nvSpPr>
          <p:spPr>
            <a:xfrm>
              <a:off x="1280507" y="4399235"/>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68" name="Rectangle 267"/>
            <p:cNvSpPr/>
            <p:nvPr/>
          </p:nvSpPr>
          <p:spPr>
            <a:xfrm>
              <a:off x="1280506" y="4600698"/>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69" name="Rectangle 268"/>
            <p:cNvSpPr/>
            <p:nvPr/>
          </p:nvSpPr>
          <p:spPr>
            <a:xfrm>
              <a:off x="1280507" y="480216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70" name="Rectangle 269"/>
            <p:cNvSpPr/>
            <p:nvPr/>
          </p:nvSpPr>
          <p:spPr>
            <a:xfrm>
              <a:off x="1280507" y="4993699"/>
              <a:ext cx="127278" cy="118701"/>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71" name="Rectangle 270"/>
            <p:cNvSpPr/>
            <p:nvPr/>
          </p:nvSpPr>
          <p:spPr>
            <a:xfrm>
              <a:off x="1280506" y="5179633"/>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72" name="Rectangle 271"/>
            <p:cNvSpPr/>
            <p:nvPr/>
          </p:nvSpPr>
          <p:spPr>
            <a:xfrm>
              <a:off x="1493770" y="4125156"/>
              <a:ext cx="299275" cy="125206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73" name="Rectangle 272"/>
            <p:cNvSpPr/>
            <p:nvPr/>
          </p:nvSpPr>
          <p:spPr>
            <a:xfrm>
              <a:off x="1578091" y="420748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74" name="Rectangle 273"/>
            <p:cNvSpPr/>
            <p:nvPr/>
          </p:nvSpPr>
          <p:spPr>
            <a:xfrm>
              <a:off x="1578091" y="4399235"/>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75" name="Rectangle 274"/>
            <p:cNvSpPr/>
            <p:nvPr/>
          </p:nvSpPr>
          <p:spPr>
            <a:xfrm>
              <a:off x="1578090" y="4600698"/>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76" name="Rectangle 275"/>
            <p:cNvSpPr/>
            <p:nvPr/>
          </p:nvSpPr>
          <p:spPr>
            <a:xfrm>
              <a:off x="1578091" y="480216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77" name="Rectangle 276"/>
            <p:cNvSpPr/>
            <p:nvPr/>
          </p:nvSpPr>
          <p:spPr>
            <a:xfrm>
              <a:off x="1578091" y="4993699"/>
              <a:ext cx="127278" cy="118701"/>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78" name="Rectangle 277"/>
            <p:cNvSpPr/>
            <p:nvPr/>
          </p:nvSpPr>
          <p:spPr>
            <a:xfrm>
              <a:off x="1578090" y="5179633"/>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79" name="Rectangle 278"/>
            <p:cNvSpPr/>
            <p:nvPr/>
          </p:nvSpPr>
          <p:spPr>
            <a:xfrm>
              <a:off x="1779985" y="4125156"/>
              <a:ext cx="299275" cy="125206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80" name="Rectangle 279"/>
            <p:cNvSpPr/>
            <p:nvPr/>
          </p:nvSpPr>
          <p:spPr>
            <a:xfrm>
              <a:off x="1864306" y="420748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81" name="Rectangle 280"/>
            <p:cNvSpPr/>
            <p:nvPr/>
          </p:nvSpPr>
          <p:spPr>
            <a:xfrm>
              <a:off x="1864306" y="4399235"/>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82" name="Rectangle 281"/>
            <p:cNvSpPr/>
            <p:nvPr/>
          </p:nvSpPr>
          <p:spPr>
            <a:xfrm>
              <a:off x="1864305" y="4600698"/>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83" name="Rectangle 282"/>
            <p:cNvSpPr/>
            <p:nvPr/>
          </p:nvSpPr>
          <p:spPr>
            <a:xfrm>
              <a:off x="1864306" y="480216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84" name="Rectangle 283"/>
            <p:cNvSpPr/>
            <p:nvPr/>
          </p:nvSpPr>
          <p:spPr>
            <a:xfrm>
              <a:off x="1864306" y="4993699"/>
              <a:ext cx="127278" cy="118701"/>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85" name="Rectangle 284"/>
            <p:cNvSpPr/>
            <p:nvPr/>
          </p:nvSpPr>
          <p:spPr>
            <a:xfrm>
              <a:off x="1864305" y="5179633"/>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86" name="Rectangle 285"/>
            <p:cNvSpPr/>
            <p:nvPr/>
          </p:nvSpPr>
          <p:spPr>
            <a:xfrm>
              <a:off x="2078900" y="4125156"/>
              <a:ext cx="299275" cy="125206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87" name="Rectangle 286"/>
            <p:cNvSpPr/>
            <p:nvPr/>
          </p:nvSpPr>
          <p:spPr>
            <a:xfrm>
              <a:off x="2163221" y="420748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88" name="Rectangle 287"/>
            <p:cNvSpPr/>
            <p:nvPr/>
          </p:nvSpPr>
          <p:spPr>
            <a:xfrm>
              <a:off x="2163221" y="4399235"/>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89" name="Rectangle 288"/>
            <p:cNvSpPr/>
            <p:nvPr/>
          </p:nvSpPr>
          <p:spPr>
            <a:xfrm>
              <a:off x="2163220" y="4600698"/>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90" name="Rectangle 289"/>
            <p:cNvSpPr/>
            <p:nvPr/>
          </p:nvSpPr>
          <p:spPr>
            <a:xfrm>
              <a:off x="2163221" y="480216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91" name="Rectangle 290"/>
            <p:cNvSpPr/>
            <p:nvPr/>
          </p:nvSpPr>
          <p:spPr>
            <a:xfrm>
              <a:off x="2163221" y="4993699"/>
              <a:ext cx="127278" cy="118701"/>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92" name="Rectangle 291"/>
            <p:cNvSpPr/>
            <p:nvPr/>
          </p:nvSpPr>
          <p:spPr>
            <a:xfrm>
              <a:off x="2163220" y="5179633"/>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93" name="Rectangle 292"/>
            <p:cNvSpPr/>
            <p:nvPr/>
          </p:nvSpPr>
          <p:spPr>
            <a:xfrm>
              <a:off x="2374818" y="4125156"/>
              <a:ext cx="299275" cy="125206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94" name="Rectangle 293"/>
            <p:cNvSpPr/>
            <p:nvPr/>
          </p:nvSpPr>
          <p:spPr>
            <a:xfrm>
              <a:off x="2459139" y="420748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95" name="Rectangle 294"/>
            <p:cNvSpPr/>
            <p:nvPr/>
          </p:nvSpPr>
          <p:spPr>
            <a:xfrm>
              <a:off x="2459139" y="4399235"/>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96" name="Rectangle 295"/>
            <p:cNvSpPr/>
            <p:nvPr/>
          </p:nvSpPr>
          <p:spPr>
            <a:xfrm>
              <a:off x="2459138" y="4600698"/>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97" name="Rectangle 296"/>
            <p:cNvSpPr/>
            <p:nvPr/>
          </p:nvSpPr>
          <p:spPr>
            <a:xfrm>
              <a:off x="2459139" y="480216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98" name="Rectangle 297"/>
            <p:cNvSpPr/>
            <p:nvPr/>
          </p:nvSpPr>
          <p:spPr>
            <a:xfrm>
              <a:off x="2459139" y="4993699"/>
              <a:ext cx="127278" cy="118701"/>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299" name="Rectangle 298"/>
            <p:cNvSpPr/>
            <p:nvPr/>
          </p:nvSpPr>
          <p:spPr>
            <a:xfrm>
              <a:off x="2459138" y="5179633"/>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00" name="Rectangle 299"/>
            <p:cNvSpPr/>
            <p:nvPr/>
          </p:nvSpPr>
          <p:spPr>
            <a:xfrm>
              <a:off x="2674093" y="4125156"/>
              <a:ext cx="299275" cy="125206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01" name="Rectangle 300"/>
            <p:cNvSpPr/>
            <p:nvPr/>
          </p:nvSpPr>
          <p:spPr>
            <a:xfrm>
              <a:off x="2758414" y="420748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02" name="Rectangle 301"/>
            <p:cNvSpPr/>
            <p:nvPr/>
          </p:nvSpPr>
          <p:spPr>
            <a:xfrm>
              <a:off x="2758414" y="4399235"/>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03" name="Rectangle 302"/>
            <p:cNvSpPr/>
            <p:nvPr/>
          </p:nvSpPr>
          <p:spPr>
            <a:xfrm>
              <a:off x="2758413" y="4600698"/>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04" name="Rectangle 303"/>
            <p:cNvSpPr/>
            <p:nvPr/>
          </p:nvSpPr>
          <p:spPr>
            <a:xfrm>
              <a:off x="2758414" y="480216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05" name="Rectangle 304"/>
            <p:cNvSpPr/>
            <p:nvPr/>
          </p:nvSpPr>
          <p:spPr>
            <a:xfrm>
              <a:off x="2758414" y="4993699"/>
              <a:ext cx="127278" cy="118701"/>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06" name="Rectangle 305"/>
            <p:cNvSpPr/>
            <p:nvPr/>
          </p:nvSpPr>
          <p:spPr>
            <a:xfrm>
              <a:off x="2758413" y="5179633"/>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07" name="Rectangle 306"/>
            <p:cNvSpPr/>
            <p:nvPr/>
          </p:nvSpPr>
          <p:spPr>
            <a:xfrm>
              <a:off x="2974838" y="4125156"/>
              <a:ext cx="299275" cy="125206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08" name="Rectangle 307"/>
            <p:cNvSpPr/>
            <p:nvPr/>
          </p:nvSpPr>
          <p:spPr>
            <a:xfrm>
              <a:off x="3059159" y="420748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09" name="Rectangle 308"/>
            <p:cNvSpPr/>
            <p:nvPr/>
          </p:nvSpPr>
          <p:spPr>
            <a:xfrm>
              <a:off x="3059159" y="4399235"/>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10" name="Rectangle 309"/>
            <p:cNvSpPr/>
            <p:nvPr/>
          </p:nvSpPr>
          <p:spPr>
            <a:xfrm>
              <a:off x="3059158" y="4600698"/>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11" name="Rectangle 310"/>
            <p:cNvSpPr/>
            <p:nvPr/>
          </p:nvSpPr>
          <p:spPr>
            <a:xfrm>
              <a:off x="3059159" y="480216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12" name="Rectangle 311"/>
            <p:cNvSpPr/>
            <p:nvPr/>
          </p:nvSpPr>
          <p:spPr>
            <a:xfrm>
              <a:off x="3059159" y="4993699"/>
              <a:ext cx="127278" cy="118701"/>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13" name="Rectangle 312"/>
            <p:cNvSpPr/>
            <p:nvPr/>
          </p:nvSpPr>
          <p:spPr>
            <a:xfrm>
              <a:off x="3059158" y="5179633"/>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14" name="Rectangle 313"/>
            <p:cNvSpPr/>
            <p:nvPr/>
          </p:nvSpPr>
          <p:spPr>
            <a:xfrm>
              <a:off x="3272422" y="4125156"/>
              <a:ext cx="299275" cy="125206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15" name="Rectangle 314"/>
            <p:cNvSpPr/>
            <p:nvPr/>
          </p:nvSpPr>
          <p:spPr>
            <a:xfrm>
              <a:off x="3356743" y="420748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16" name="Rectangle 315"/>
            <p:cNvSpPr/>
            <p:nvPr/>
          </p:nvSpPr>
          <p:spPr>
            <a:xfrm>
              <a:off x="3356743" y="4399235"/>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17" name="Rectangle 316"/>
            <p:cNvSpPr/>
            <p:nvPr/>
          </p:nvSpPr>
          <p:spPr>
            <a:xfrm>
              <a:off x="3356742" y="4600698"/>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18" name="Rectangle 317"/>
            <p:cNvSpPr/>
            <p:nvPr/>
          </p:nvSpPr>
          <p:spPr>
            <a:xfrm>
              <a:off x="3356743" y="480216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19" name="Rectangle 318"/>
            <p:cNvSpPr/>
            <p:nvPr/>
          </p:nvSpPr>
          <p:spPr>
            <a:xfrm>
              <a:off x="3356743" y="4993699"/>
              <a:ext cx="127278" cy="118701"/>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20" name="Rectangle 319"/>
            <p:cNvSpPr/>
            <p:nvPr/>
          </p:nvSpPr>
          <p:spPr>
            <a:xfrm>
              <a:off x="3356742" y="5179633"/>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21" name="Rectangle 320"/>
            <p:cNvSpPr/>
            <p:nvPr/>
          </p:nvSpPr>
          <p:spPr>
            <a:xfrm>
              <a:off x="3558637" y="4125156"/>
              <a:ext cx="299275" cy="125206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22" name="Rectangle 321"/>
            <p:cNvSpPr/>
            <p:nvPr/>
          </p:nvSpPr>
          <p:spPr>
            <a:xfrm>
              <a:off x="3642958" y="420748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23" name="Rectangle 322"/>
            <p:cNvSpPr/>
            <p:nvPr/>
          </p:nvSpPr>
          <p:spPr>
            <a:xfrm>
              <a:off x="3642958" y="4399235"/>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24" name="Rectangle 323"/>
            <p:cNvSpPr/>
            <p:nvPr/>
          </p:nvSpPr>
          <p:spPr>
            <a:xfrm>
              <a:off x="3642957" y="4600698"/>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25" name="Rectangle 324"/>
            <p:cNvSpPr/>
            <p:nvPr/>
          </p:nvSpPr>
          <p:spPr>
            <a:xfrm>
              <a:off x="3642958" y="4802161"/>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26" name="Rectangle 325"/>
            <p:cNvSpPr/>
            <p:nvPr/>
          </p:nvSpPr>
          <p:spPr>
            <a:xfrm>
              <a:off x="3642958" y="4993699"/>
              <a:ext cx="127278" cy="118701"/>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sp>
          <p:nvSpPr>
            <p:cNvPr id="327" name="Rectangle 326"/>
            <p:cNvSpPr/>
            <p:nvPr/>
          </p:nvSpPr>
          <p:spPr>
            <a:xfrm>
              <a:off x="3642957" y="5179633"/>
              <a:ext cx="127278" cy="124522"/>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pPr>
              <a:endParaRPr lang="en-US" sz="5600" b="1">
                <a:solidFill>
                  <a:srgbClr val="505050"/>
                </a:solidFill>
                <a:latin typeface="Segoe UI Semilight"/>
                <a:sym typeface="Gill Sans" charset="0"/>
              </a:endParaRPr>
            </a:p>
          </p:txBody>
        </p:sp>
      </p:grpSp>
      <p:cxnSp>
        <p:nvCxnSpPr>
          <p:cNvPr id="329" name="Straight Arrow Connector 328"/>
          <p:cNvCxnSpPr>
            <a:stCxn id="26" idx="58"/>
          </p:cNvCxnSpPr>
          <p:nvPr/>
        </p:nvCxnSpPr>
        <p:spPr>
          <a:xfrm flipV="1">
            <a:off x="2675354" y="1994809"/>
            <a:ext cx="702739" cy="75388"/>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3" name="Straight Arrow Connector 332"/>
          <p:cNvCxnSpPr>
            <a:stCxn id="19" idx="7"/>
          </p:cNvCxnSpPr>
          <p:nvPr/>
        </p:nvCxnSpPr>
        <p:spPr>
          <a:xfrm>
            <a:off x="2668335" y="2068327"/>
            <a:ext cx="1110481" cy="331126"/>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6" name="Straight Arrow Connector 335"/>
          <p:cNvCxnSpPr/>
          <p:nvPr/>
        </p:nvCxnSpPr>
        <p:spPr>
          <a:xfrm flipV="1">
            <a:off x="5518534" y="1452810"/>
            <a:ext cx="645977" cy="392996"/>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9" name="Straight Arrow Connector 338"/>
          <p:cNvCxnSpPr/>
          <p:nvPr/>
        </p:nvCxnSpPr>
        <p:spPr>
          <a:xfrm>
            <a:off x="5594734" y="1922006"/>
            <a:ext cx="512030" cy="225739"/>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1" name="Straight Arrow Connector 340"/>
          <p:cNvCxnSpPr/>
          <p:nvPr/>
        </p:nvCxnSpPr>
        <p:spPr>
          <a:xfrm flipV="1">
            <a:off x="8033695" y="1755343"/>
            <a:ext cx="806740" cy="372166"/>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3" name="Straight Arrow Connector 342"/>
          <p:cNvCxnSpPr/>
          <p:nvPr/>
        </p:nvCxnSpPr>
        <p:spPr>
          <a:xfrm>
            <a:off x="8109895" y="2203709"/>
            <a:ext cx="1121757" cy="119382"/>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33" name="Straight Arrow Connector 532"/>
          <p:cNvCxnSpPr/>
          <p:nvPr/>
        </p:nvCxnSpPr>
        <p:spPr>
          <a:xfrm>
            <a:off x="2937456" y="4483073"/>
            <a:ext cx="896223" cy="67212"/>
          </a:xfrm>
          <a:prstGeom prst="straightConnector1">
            <a:avLst/>
          </a:prstGeom>
          <a:ln w="28575">
            <a:solidFill>
              <a:schemeClr val="bg1"/>
            </a:solidFill>
            <a:tailEnd type="triangle"/>
          </a:ln>
        </p:spPr>
        <p:style>
          <a:lnRef idx="1">
            <a:schemeClr val="accent1"/>
          </a:lnRef>
          <a:fillRef idx="2">
            <a:schemeClr val="accent1"/>
          </a:fillRef>
          <a:effectRef idx="1">
            <a:schemeClr val="accent1"/>
          </a:effectRef>
          <a:fontRef idx="minor">
            <a:schemeClr val="dk1"/>
          </a:fontRef>
        </p:style>
      </p:cxnSp>
      <p:cxnSp>
        <p:nvCxnSpPr>
          <p:cNvPr id="570" name="Straight Arrow Connector 569"/>
          <p:cNvCxnSpPr/>
          <p:nvPr/>
        </p:nvCxnSpPr>
        <p:spPr>
          <a:xfrm flipH="1">
            <a:off x="3778060" y="5674864"/>
            <a:ext cx="172774" cy="255727"/>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72" name="Straight Arrow Connector 571"/>
          <p:cNvCxnSpPr/>
          <p:nvPr/>
        </p:nvCxnSpPr>
        <p:spPr>
          <a:xfrm>
            <a:off x="4975050" y="5674864"/>
            <a:ext cx="341779" cy="279945"/>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040" name="Picture 1039"/>
          <p:cNvPicPr>
            <a:picLocks noChangeAspect="1"/>
          </p:cNvPicPr>
          <p:nvPr/>
        </p:nvPicPr>
        <p:blipFill>
          <a:blip r:embed="rId4"/>
          <a:stretch>
            <a:fillRect/>
          </a:stretch>
        </p:blipFill>
        <p:spPr>
          <a:xfrm>
            <a:off x="3947252" y="4023613"/>
            <a:ext cx="1008456" cy="1651251"/>
          </a:xfrm>
          <a:prstGeom prst="rect">
            <a:avLst/>
          </a:prstGeom>
        </p:spPr>
      </p:pic>
      <p:cxnSp>
        <p:nvCxnSpPr>
          <p:cNvPr id="530" name="Straight Arrow Connector 529"/>
          <p:cNvCxnSpPr/>
          <p:nvPr/>
        </p:nvCxnSpPr>
        <p:spPr>
          <a:xfrm flipH="1">
            <a:off x="4553699" y="3658632"/>
            <a:ext cx="421351" cy="581337"/>
          </a:xfrm>
          <a:prstGeom prst="straightConnector1">
            <a:avLst/>
          </a:prstGeom>
          <a:ln w="38100">
            <a:solidFill>
              <a:schemeClr val="bg1"/>
            </a:solidFill>
            <a:tailEnd type="triangle"/>
          </a:ln>
        </p:spPr>
        <p:style>
          <a:lnRef idx="1">
            <a:schemeClr val="accent1"/>
          </a:lnRef>
          <a:fillRef idx="2">
            <a:schemeClr val="accent1"/>
          </a:fillRef>
          <a:effectRef idx="1">
            <a:schemeClr val="accent1"/>
          </a:effectRef>
          <a:fontRef idx="minor">
            <a:schemeClr val="dk1"/>
          </a:fontRef>
        </p:style>
      </p:cxnSp>
      <p:sp>
        <p:nvSpPr>
          <p:cNvPr id="592" name="TextBox 591"/>
          <p:cNvSpPr txBox="1"/>
          <p:nvPr/>
        </p:nvSpPr>
        <p:spPr>
          <a:xfrm>
            <a:off x="3017236" y="4144667"/>
            <a:ext cx="955600" cy="338554"/>
          </a:xfrm>
          <a:prstGeom prst="rect">
            <a:avLst/>
          </a:prstGeom>
          <a:noFill/>
        </p:spPr>
        <p:txBody>
          <a:bodyPr wrap="square" rtlCol="0">
            <a:spAutoFit/>
          </a:bodyPr>
          <a:lstStyle/>
          <a:p>
            <a:pPr defTabSz="457200" fontAlgn="base">
              <a:spcBef>
                <a:spcPct val="0"/>
              </a:spcBef>
              <a:spcAft>
                <a:spcPct val="0"/>
              </a:spcAft>
            </a:pPr>
            <a:r>
              <a:rPr lang="en-US" sz="1600" dirty="0">
                <a:solidFill>
                  <a:srgbClr val="FFFFFF"/>
                </a:solidFill>
                <a:latin typeface="Segoe UI Light"/>
                <a:ea typeface="Heiti SC Light" charset="-122"/>
                <a:sym typeface="Gill Sans" charset="0"/>
              </a:rPr>
              <a:t>Machine</a:t>
            </a:r>
          </a:p>
        </p:txBody>
      </p:sp>
      <p:sp>
        <p:nvSpPr>
          <p:cNvPr id="593" name="TextBox 592"/>
          <p:cNvSpPr txBox="1"/>
          <p:nvPr/>
        </p:nvSpPr>
        <p:spPr>
          <a:xfrm>
            <a:off x="4817218" y="3399822"/>
            <a:ext cx="1262526" cy="338554"/>
          </a:xfrm>
          <a:prstGeom prst="rect">
            <a:avLst/>
          </a:prstGeom>
          <a:noFill/>
        </p:spPr>
        <p:txBody>
          <a:bodyPr wrap="square" rtlCol="0">
            <a:spAutoFit/>
          </a:bodyPr>
          <a:lstStyle/>
          <a:p>
            <a:pPr defTabSz="457200" fontAlgn="base">
              <a:spcBef>
                <a:spcPct val="0"/>
              </a:spcBef>
              <a:spcAft>
                <a:spcPct val="0"/>
              </a:spcAft>
            </a:pPr>
            <a:r>
              <a:rPr lang="en-US" sz="1600" dirty="0">
                <a:solidFill>
                  <a:srgbClr val="FFFFFF"/>
                </a:solidFill>
                <a:latin typeface="Segoe UI Light"/>
                <a:ea typeface="Heiti SC Light" charset="-122"/>
                <a:sym typeface="Gill Sans" charset="0"/>
              </a:rPr>
              <a:t>Container</a:t>
            </a:r>
          </a:p>
        </p:txBody>
      </p:sp>
      <p:pic>
        <p:nvPicPr>
          <p:cNvPr id="1044" name="Picture 1043"/>
          <p:cNvPicPr>
            <a:picLocks noChangeAspect="1"/>
          </p:cNvPicPr>
          <p:nvPr/>
        </p:nvPicPr>
        <p:blipFill>
          <a:blip r:embed="rId5"/>
          <a:stretch>
            <a:fillRect/>
          </a:stretch>
        </p:blipFill>
        <p:spPr>
          <a:xfrm>
            <a:off x="6193742" y="3723614"/>
            <a:ext cx="1262526" cy="2251251"/>
          </a:xfrm>
          <a:prstGeom prst="rect">
            <a:avLst/>
          </a:prstGeom>
        </p:spPr>
      </p:pic>
      <p:pic>
        <p:nvPicPr>
          <p:cNvPr id="1048" name="Picture 1047"/>
          <p:cNvPicPr>
            <a:picLocks noChangeAspect="1"/>
          </p:cNvPicPr>
          <p:nvPr/>
        </p:nvPicPr>
        <p:blipFill>
          <a:blip r:embed="rId6"/>
          <a:stretch>
            <a:fillRect/>
          </a:stretch>
        </p:blipFill>
        <p:spPr>
          <a:xfrm>
            <a:off x="8577580" y="3801548"/>
            <a:ext cx="3208268" cy="2256707"/>
          </a:xfrm>
          <a:prstGeom prst="rect">
            <a:avLst/>
          </a:prstGeom>
        </p:spPr>
      </p:pic>
      <p:cxnSp>
        <p:nvCxnSpPr>
          <p:cNvPr id="599" name="Straight Arrow Connector 598"/>
          <p:cNvCxnSpPr/>
          <p:nvPr/>
        </p:nvCxnSpPr>
        <p:spPr>
          <a:xfrm>
            <a:off x="7436633" y="5255896"/>
            <a:ext cx="1098771" cy="65365"/>
          </a:xfrm>
          <a:prstGeom prst="straightConnector1">
            <a:avLst/>
          </a:prstGeom>
          <a:ln w="38100">
            <a:solidFill>
              <a:schemeClr val="bg1"/>
            </a:solidFill>
            <a:prstDash val="solid"/>
            <a:tailEnd type="triangle"/>
          </a:ln>
        </p:spPr>
        <p:style>
          <a:lnRef idx="2">
            <a:schemeClr val="dk1"/>
          </a:lnRef>
          <a:fillRef idx="0">
            <a:schemeClr val="dk1"/>
          </a:fillRef>
          <a:effectRef idx="1">
            <a:schemeClr val="dk1"/>
          </a:effectRef>
          <a:fontRef idx="minor">
            <a:schemeClr val="tx1"/>
          </a:fontRef>
        </p:style>
      </p:cxnSp>
      <p:sp>
        <p:nvSpPr>
          <p:cNvPr id="608" name="TextBox 607"/>
          <p:cNvSpPr txBox="1"/>
          <p:nvPr/>
        </p:nvSpPr>
        <p:spPr>
          <a:xfrm>
            <a:off x="5166864" y="4119861"/>
            <a:ext cx="815721" cy="338554"/>
          </a:xfrm>
          <a:prstGeom prst="rect">
            <a:avLst/>
          </a:prstGeom>
          <a:noFill/>
        </p:spPr>
        <p:txBody>
          <a:bodyPr wrap="square" rtlCol="0">
            <a:spAutoFit/>
          </a:bodyPr>
          <a:lstStyle/>
          <a:p>
            <a:pPr defTabSz="457200" fontAlgn="base">
              <a:spcBef>
                <a:spcPct val="0"/>
              </a:spcBef>
              <a:spcAft>
                <a:spcPct val="0"/>
              </a:spcAft>
            </a:pPr>
            <a:r>
              <a:rPr lang="en-US" sz="1600" dirty="0">
                <a:solidFill>
                  <a:srgbClr val="FFFFFF"/>
                </a:solidFill>
                <a:latin typeface="Segoe UI Light"/>
                <a:ea typeface="Heiti SC Light" charset="-122"/>
                <a:sym typeface="Gill Sans" charset="0"/>
              </a:rPr>
              <a:t>Replica</a:t>
            </a:r>
          </a:p>
        </p:txBody>
      </p:sp>
      <p:sp>
        <p:nvSpPr>
          <p:cNvPr id="609" name="TextBox 608"/>
          <p:cNvSpPr txBox="1"/>
          <p:nvPr/>
        </p:nvSpPr>
        <p:spPr>
          <a:xfrm>
            <a:off x="7518079" y="4452502"/>
            <a:ext cx="1250581" cy="830997"/>
          </a:xfrm>
          <a:prstGeom prst="rect">
            <a:avLst/>
          </a:prstGeom>
          <a:noFill/>
        </p:spPr>
        <p:txBody>
          <a:bodyPr wrap="square" rtlCol="0">
            <a:spAutoFit/>
          </a:bodyPr>
          <a:lstStyle/>
          <a:p>
            <a:pPr defTabSz="457200" fontAlgn="base">
              <a:spcBef>
                <a:spcPct val="0"/>
              </a:spcBef>
              <a:spcAft>
                <a:spcPct val="0"/>
              </a:spcAft>
            </a:pPr>
            <a:r>
              <a:rPr lang="en-US" sz="1600" dirty="0">
                <a:solidFill>
                  <a:srgbClr val="FFFFFF"/>
                </a:solidFill>
                <a:latin typeface="Segoe UI Light"/>
                <a:ea typeface="Heiti SC Light" charset="-122"/>
                <a:sym typeface="Gill Sans" charset="0"/>
              </a:rPr>
              <a:t>Database Engine </a:t>
            </a:r>
          </a:p>
          <a:p>
            <a:pPr defTabSz="457200" fontAlgn="base">
              <a:spcBef>
                <a:spcPct val="0"/>
              </a:spcBef>
              <a:spcAft>
                <a:spcPct val="0"/>
              </a:spcAft>
            </a:pPr>
            <a:r>
              <a:rPr lang="en-US" sz="1600" dirty="0">
                <a:solidFill>
                  <a:srgbClr val="FFFFFF"/>
                </a:solidFill>
                <a:latin typeface="Segoe UI Light"/>
                <a:ea typeface="Heiti SC Light" charset="-122"/>
                <a:sym typeface="Gill Sans" charset="0"/>
              </a:rPr>
              <a:t>Instance</a:t>
            </a:r>
          </a:p>
        </p:txBody>
      </p:sp>
      <p:cxnSp>
        <p:nvCxnSpPr>
          <p:cNvPr id="538" name="Straight Arrow Connector 537"/>
          <p:cNvCxnSpPr/>
          <p:nvPr/>
        </p:nvCxnSpPr>
        <p:spPr>
          <a:xfrm>
            <a:off x="4774158" y="4343055"/>
            <a:ext cx="1302862" cy="186425"/>
          </a:xfrm>
          <a:prstGeom prst="straightConnector1">
            <a:avLst/>
          </a:prstGeom>
          <a:ln w="38100">
            <a:solidFill>
              <a:schemeClr val="bg1"/>
            </a:solidFill>
            <a:prstDash val="solid"/>
            <a:tailEnd type="triangle"/>
          </a:ln>
        </p:spPr>
        <p:style>
          <a:lnRef idx="2">
            <a:schemeClr val="dk1"/>
          </a:lnRef>
          <a:fillRef idx="0">
            <a:schemeClr val="dk1"/>
          </a:fillRef>
          <a:effectRef idx="1">
            <a:schemeClr val="dk1"/>
          </a:effectRef>
          <a:fontRef idx="minor">
            <a:schemeClr val="tx1"/>
          </a:fontRef>
        </p:style>
      </p:cxnSp>
      <p:grpSp>
        <p:nvGrpSpPr>
          <p:cNvPr id="330" name="Group 329"/>
          <p:cNvGrpSpPr/>
          <p:nvPr/>
        </p:nvGrpSpPr>
        <p:grpSpPr>
          <a:xfrm>
            <a:off x="3562142" y="5957762"/>
            <a:ext cx="2032592" cy="767029"/>
            <a:chOff x="8662987" y="4396646"/>
            <a:chExt cx="2370335" cy="994781"/>
          </a:xfrm>
        </p:grpSpPr>
        <p:sp>
          <p:nvSpPr>
            <p:cNvPr id="331" name="Freeform 330"/>
            <p:cNvSpPr>
              <a:spLocks/>
            </p:cNvSpPr>
            <p:nvPr/>
          </p:nvSpPr>
          <p:spPr bwMode="auto">
            <a:xfrm>
              <a:off x="9587308"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srgbClr val="505050"/>
                </a:solidFill>
                <a:latin typeface="Segoe UI Semilight"/>
                <a:sym typeface="Gill Sans" charset="0"/>
              </a:endParaRPr>
            </a:p>
          </p:txBody>
        </p:sp>
        <p:sp>
          <p:nvSpPr>
            <p:cNvPr id="332" name="Freeform 331"/>
            <p:cNvSpPr>
              <a:spLocks/>
            </p:cNvSpPr>
            <p:nvPr/>
          </p:nvSpPr>
          <p:spPr bwMode="auto">
            <a:xfrm>
              <a:off x="9115587"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srgbClr val="505050"/>
                </a:solidFill>
                <a:latin typeface="Segoe UI Semilight"/>
                <a:sym typeface="Gill Sans" charset="0"/>
              </a:endParaRPr>
            </a:p>
          </p:txBody>
        </p:sp>
        <p:sp>
          <p:nvSpPr>
            <p:cNvPr id="334" name="Freeform 333"/>
            <p:cNvSpPr>
              <a:spLocks/>
            </p:cNvSpPr>
            <p:nvPr/>
          </p:nvSpPr>
          <p:spPr bwMode="auto">
            <a:xfrm>
              <a:off x="10075934"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dirty="0">
                <a:solidFill>
                  <a:srgbClr val="505050"/>
                </a:solidFill>
                <a:latin typeface="Segoe UI Semilight"/>
                <a:sym typeface="Gill Sans" charset="0"/>
              </a:endParaRPr>
            </a:p>
          </p:txBody>
        </p:sp>
        <p:sp>
          <p:nvSpPr>
            <p:cNvPr id="335" name="Freeform 334"/>
            <p:cNvSpPr>
              <a:spLocks/>
            </p:cNvSpPr>
            <p:nvPr/>
          </p:nvSpPr>
          <p:spPr bwMode="auto">
            <a:xfrm>
              <a:off x="9359162"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8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srgbClr val="505050"/>
                </a:solidFill>
                <a:latin typeface="Segoe UI Semilight"/>
                <a:sym typeface="Gill Sans" charset="0"/>
              </a:endParaRPr>
            </a:p>
          </p:txBody>
        </p:sp>
        <p:sp>
          <p:nvSpPr>
            <p:cNvPr id="337" name="Freeform 336"/>
            <p:cNvSpPr>
              <a:spLocks/>
            </p:cNvSpPr>
            <p:nvPr/>
          </p:nvSpPr>
          <p:spPr bwMode="auto">
            <a:xfrm>
              <a:off x="9888078"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8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srgbClr val="505050"/>
                </a:solidFill>
                <a:latin typeface="Segoe UI Semilight"/>
                <a:sym typeface="Gill Sans" charset="0"/>
              </a:endParaRPr>
            </a:p>
          </p:txBody>
        </p:sp>
        <p:grpSp>
          <p:nvGrpSpPr>
            <p:cNvPr id="338" name="Group 337"/>
            <p:cNvGrpSpPr/>
            <p:nvPr/>
          </p:nvGrpSpPr>
          <p:grpSpPr>
            <a:xfrm>
              <a:off x="9646658" y="4819932"/>
              <a:ext cx="326294" cy="521835"/>
              <a:chOff x="9870594" y="4096783"/>
              <a:chExt cx="987037" cy="1578550"/>
            </a:xfrm>
          </p:grpSpPr>
          <p:sp>
            <p:nvSpPr>
              <p:cNvPr id="347" name="Rectangle: Rounded Corners 10"/>
              <p:cNvSpPr/>
              <p:nvPr/>
            </p:nvSpPr>
            <p:spPr>
              <a:xfrm>
                <a:off x="9870594" y="4096783"/>
                <a:ext cx="987037" cy="1578550"/>
              </a:xfrm>
              <a:prstGeom prst="roundRect">
                <a:avLst>
                  <a:gd name="adj" fmla="val 7576"/>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dirty="0">
                  <a:solidFill>
                    <a:srgbClr val="FFFFFF"/>
                  </a:solidFill>
                  <a:latin typeface="Segoe UI Semilight"/>
                  <a:sym typeface="Gill Sans" charset="0"/>
                </a:endParaRPr>
              </a:p>
            </p:txBody>
          </p:sp>
          <p:grpSp>
            <p:nvGrpSpPr>
              <p:cNvPr id="348" name="Group 347"/>
              <p:cNvGrpSpPr/>
              <p:nvPr/>
            </p:nvGrpSpPr>
            <p:grpSpPr>
              <a:xfrm>
                <a:off x="10040340" y="4272898"/>
                <a:ext cx="647543" cy="188007"/>
                <a:chOff x="10040340" y="4272898"/>
                <a:chExt cx="647543" cy="188007"/>
              </a:xfrm>
            </p:grpSpPr>
            <p:sp>
              <p:nvSpPr>
                <p:cNvPr id="355" name="Rectangle: Rounded Corners 18"/>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a:solidFill>
                      <a:srgbClr val="FFFFFF"/>
                    </a:solidFill>
                    <a:latin typeface="Segoe UI Semilight"/>
                    <a:sym typeface="Gill Sans" charset="0"/>
                  </a:endParaRPr>
                </a:p>
              </p:txBody>
            </p:sp>
            <p:sp>
              <p:nvSpPr>
                <p:cNvPr id="356" name="Oval 355"/>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a:solidFill>
                      <a:srgbClr val="FFFFFF"/>
                    </a:solidFill>
                    <a:latin typeface="Segoe UI Semilight"/>
                    <a:sym typeface="Gill Sans" charset="0"/>
                  </a:endParaRPr>
                </a:p>
              </p:txBody>
            </p:sp>
          </p:grpSp>
          <p:grpSp>
            <p:nvGrpSpPr>
              <p:cNvPr id="349" name="Group 348"/>
              <p:cNvGrpSpPr/>
              <p:nvPr/>
            </p:nvGrpSpPr>
            <p:grpSpPr>
              <a:xfrm>
                <a:off x="10040340" y="4533545"/>
                <a:ext cx="647543" cy="188007"/>
                <a:chOff x="10040340" y="4272898"/>
                <a:chExt cx="647543" cy="188007"/>
              </a:xfrm>
            </p:grpSpPr>
            <p:sp>
              <p:nvSpPr>
                <p:cNvPr id="353" name="Rectangle: Rounded Corners 16"/>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a:solidFill>
                      <a:srgbClr val="FFFFFF"/>
                    </a:solidFill>
                    <a:latin typeface="Segoe UI Semilight"/>
                    <a:sym typeface="Gill Sans" charset="0"/>
                  </a:endParaRPr>
                </a:p>
              </p:txBody>
            </p:sp>
            <p:sp>
              <p:nvSpPr>
                <p:cNvPr id="354" name="Oval 353"/>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a:solidFill>
                      <a:srgbClr val="FFFFFF"/>
                    </a:solidFill>
                    <a:latin typeface="Segoe UI Semilight"/>
                    <a:sym typeface="Gill Sans" charset="0"/>
                  </a:endParaRPr>
                </a:p>
              </p:txBody>
            </p:sp>
          </p:grpSp>
          <p:grpSp>
            <p:nvGrpSpPr>
              <p:cNvPr id="350" name="Group 349"/>
              <p:cNvGrpSpPr/>
              <p:nvPr/>
            </p:nvGrpSpPr>
            <p:grpSpPr>
              <a:xfrm>
                <a:off x="10040340" y="4786108"/>
                <a:ext cx="647543" cy="188007"/>
                <a:chOff x="10040340" y="4272898"/>
                <a:chExt cx="647543" cy="188007"/>
              </a:xfrm>
            </p:grpSpPr>
            <p:sp>
              <p:nvSpPr>
                <p:cNvPr id="351" name="Rectangle: Rounded Corners 14"/>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a:solidFill>
                      <a:srgbClr val="FFFFFF"/>
                    </a:solidFill>
                    <a:latin typeface="Segoe UI Semilight"/>
                    <a:sym typeface="Gill Sans" charset="0"/>
                  </a:endParaRPr>
                </a:p>
              </p:txBody>
            </p:sp>
            <p:sp>
              <p:nvSpPr>
                <p:cNvPr id="352" name="Oval 351"/>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pPr>
                  <a:endParaRPr lang="en-US" sz="900">
                    <a:solidFill>
                      <a:srgbClr val="FFFFFF"/>
                    </a:solidFill>
                    <a:latin typeface="Segoe UI Semilight"/>
                    <a:sym typeface="Gill Sans" charset="0"/>
                  </a:endParaRPr>
                </a:p>
              </p:txBody>
            </p:sp>
          </p:grpSp>
        </p:grpSp>
        <p:sp>
          <p:nvSpPr>
            <p:cNvPr id="340" name="Freeform 339"/>
            <p:cNvSpPr>
              <a:spLocks/>
            </p:cNvSpPr>
            <p:nvPr/>
          </p:nvSpPr>
          <p:spPr bwMode="auto">
            <a:xfrm>
              <a:off x="8662987"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srgbClr val="505050"/>
                </a:solidFill>
                <a:latin typeface="Segoe UI Semilight"/>
                <a:sym typeface="Gill Sans" charset="0"/>
              </a:endParaRPr>
            </a:p>
          </p:txBody>
        </p:sp>
        <p:sp>
          <p:nvSpPr>
            <p:cNvPr id="342" name="Freeform 341"/>
            <p:cNvSpPr>
              <a:spLocks/>
            </p:cNvSpPr>
            <p:nvPr/>
          </p:nvSpPr>
          <p:spPr bwMode="auto">
            <a:xfrm>
              <a:off x="8864723"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8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srgbClr val="505050"/>
                </a:solidFill>
                <a:latin typeface="Segoe UI Semilight"/>
                <a:sym typeface="Gill Sans" charset="0"/>
              </a:endParaRPr>
            </a:p>
          </p:txBody>
        </p:sp>
        <p:sp>
          <p:nvSpPr>
            <p:cNvPr id="344" name="Freeform 343"/>
            <p:cNvSpPr>
              <a:spLocks/>
            </p:cNvSpPr>
            <p:nvPr/>
          </p:nvSpPr>
          <p:spPr bwMode="auto">
            <a:xfrm>
              <a:off x="10657610"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dirty="0">
                <a:solidFill>
                  <a:srgbClr val="505050"/>
                </a:solidFill>
                <a:latin typeface="Segoe UI Semilight"/>
                <a:sym typeface="Gill Sans" charset="0"/>
              </a:endParaRPr>
            </a:p>
          </p:txBody>
        </p:sp>
        <p:sp>
          <p:nvSpPr>
            <p:cNvPr id="346" name="Freeform 345"/>
            <p:cNvSpPr>
              <a:spLocks/>
            </p:cNvSpPr>
            <p:nvPr/>
          </p:nvSpPr>
          <p:spPr bwMode="auto">
            <a:xfrm>
              <a:off x="10366535"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8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srgbClr val="505050"/>
                </a:solidFill>
                <a:latin typeface="Segoe UI Semilight"/>
                <a:sym typeface="Gill Sans" charset="0"/>
              </a:endParaRPr>
            </a:p>
          </p:txBody>
        </p:sp>
      </p:grpSp>
      <p:sp>
        <p:nvSpPr>
          <p:cNvPr id="357" name="Freeform 356"/>
          <p:cNvSpPr>
            <a:spLocks/>
          </p:cNvSpPr>
          <p:nvPr/>
        </p:nvSpPr>
        <p:spPr bwMode="auto">
          <a:xfrm>
            <a:off x="6711116" y="6023943"/>
            <a:ext cx="384057" cy="657003"/>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srgbClr val="505050"/>
              </a:solidFill>
              <a:latin typeface="Segoe UI Semilight"/>
              <a:sym typeface="Gill Sans" charset="0"/>
            </a:endParaRPr>
          </a:p>
        </p:txBody>
      </p:sp>
      <p:sp>
        <p:nvSpPr>
          <p:cNvPr id="358" name="Freeform 357"/>
          <p:cNvSpPr>
            <a:spLocks/>
          </p:cNvSpPr>
          <p:nvPr/>
        </p:nvSpPr>
        <p:spPr bwMode="auto">
          <a:xfrm>
            <a:off x="9686186" y="6131341"/>
            <a:ext cx="384057" cy="657003"/>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pPr>
            <a:endParaRPr lang="en-US" sz="900">
              <a:solidFill>
                <a:srgbClr val="505050"/>
              </a:solidFill>
              <a:latin typeface="Segoe UI Semilight"/>
              <a:sym typeface="Gill Sans" charset="0"/>
            </a:endParaRPr>
          </a:p>
        </p:txBody>
      </p:sp>
      <p:sp>
        <p:nvSpPr>
          <p:cNvPr id="359" name="TextBox 358"/>
          <p:cNvSpPr txBox="1"/>
          <p:nvPr/>
        </p:nvSpPr>
        <p:spPr>
          <a:xfrm>
            <a:off x="3438065" y="6734267"/>
            <a:ext cx="2598282" cy="584775"/>
          </a:xfrm>
          <a:prstGeom prst="rect">
            <a:avLst/>
          </a:prstGeom>
          <a:noFill/>
        </p:spPr>
        <p:txBody>
          <a:bodyPr wrap="square" rtlCol="0">
            <a:spAutoFit/>
          </a:bodyPr>
          <a:lstStyle/>
          <a:p>
            <a:pPr defTabSz="457200" fontAlgn="base">
              <a:spcBef>
                <a:spcPct val="0"/>
              </a:spcBef>
              <a:spcAft>
                <a:spcPct val="0"/>
              </a:spcAft>
            </a:pPr>
            <a:r>
              <a:rPr lang="en-US" sz="1600" dirty="0">
                <a:solidFill>
                  <a:srgbClr val="FFFFFF"/>
                </a:solidFill>
                <a:latin typeface="Segoe UI Light"/>
                <a:ea typeface="Heiti SC Light" charset="-122"/>
                <a:sym typeface="Gill Sans" charset="0"/>
              </a:rPr>
              <a:t>100s of tenants on a machine</a:t>
            </a:r>
          </a:p>
        </p:txBody>
      </p:sp>
      <p:pic>
        <p:nvPicPr>
          <p:cNvPr id="3" name="Picture 2"/>
          <p:cNvPicPr>
            <a:picLocks noChangeAspect="1"/>
          </p:cNvPicPr>
          <p:nvPr/>
        </p:nvPicPr>
        <p:blipFill>
          <a:blip r:embed="rId7"/>
          <a:stretch>
            <a:fillRect/>
          </a:stretch>
        </p:blipFill>
        <p:spPr>
          <a:xfrm>
            <a:off x="82716" y="1160536"/>
            <a:ext cx="2995477" cy="5840237"/>
          </a:xfrm>
          <a:prstGeom prst="rect">
            <a:avLst/>
          </a:prstGeom>
        </p:spPr>
      </p:pic>
      <p:sp>
        <p:nvSpPr>
          <p:cNvPr id="4" name="Rectangle 3">
            <a:extLst>
              <a:ext uri="{FF2B5EF4-FFF2-40B4-BE49-F238E27FC236}">
                <a16:creationId xmlns:a16="http://schemas.microsoft.com/office/drawing/2014/main" id="{7075C653-152C-4E25-AD83-97A23AAD9713}"/>
              </a:ext>
            </a:extLst>
          </p:cNvPr>
          <p:cNvSpPr/>
          <p:nvPr/>
        </p:nvSpPr>
        <p:spPr bwMode="auto">
          <a:xfrm>
            <a:off x="840503" y="2668914"/>
            <a:ext cx="2135729" cy="38990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latin typeface="+mj-lt"/>
                <a:ea typeface="Segoe UI" pitchFamily="34" charset="0"/>
                <a:cs typeface="Segoe UI" pitchFamily="34" charset="0"/>
              </a:rPr>
              <a:t>54 regions</a:t>
            </a:r>
          </a:p>
        </p:txBody>
      </p:sp>
    </p:spTree>
    <p:extLst>
      <p:ext uri="{BB962C8B-B14F-4D97-AF65-F5344CB8AC3E}">
        <p14:creationId xmlns:p14="http://schemas.microsoft.com/office/powerpoint/2010/main" val="1030730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7315200"/>
          </a:xfrm>
          <a:prstGeom prst="rect">
            <a:avLst/>
          </a:prstGeom>
        </p:spPr>
      </p:pic>
      <p:sp>
        <p:nvSpPr>
          <p:cNvPr id="4" name="Rectangle 22"/>
          <p:cNvSpPr>
            <a:spLocks noChangeArrowheads="1"/>
          </p:cNvSpPr>
          <p:nvPr/>
        </p:nvSpPr>
        <p:spPr bwMode="auto">
          <a:xfrm>
            <a:off x="1614029" y="5557525"/>
            <a:ext cx="10167848"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defTabSz="1219170" fontAlgn="base">
              <a:spcBef>
                <a:spcPct val="0"/>
              </a:spcBef>
              <a:spcAft>
                <a:spcPct val="0"/>
              </a:spcAft>
            </a:pPr>
            <a:r>
              <a:rPr lang="en-US" sz="6600" kern="0" dirty="0">
                <a:latin typeface="Segoe UI Light" panose="020B0502040204020203" pitchFamily="34" charset="0"/>
                <a:cs typeface="Segoe UI Light" panose="020B0502040204020203" pitchFamily="34" charset="0"/>
              </a:rPr>
              <a:t>Cosmos DB Core Value Prop</a:t>
            </a:r>
          </a:p>
        </p:txBody>
      </p:sp>
      <p:sp>
        <p:nvSpPr>
          <p:cNvPr id="5" name="Oval 4"/>
          <p:cNvSpPr/>
          <p:nvPr/>
        </p:nvSpPr>
        <p:spPr bwMode="auto">
          <a:xfrm>
            <a:off x="555172" y="5658788"/>
            <a:ext cx="914400" cy="914400"/>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400" b="1" dirty="0">
                <a:solidFill>
                  <a:schemeClr val="bg1"/>
                </a:solidFill>
              </a:rPr>
              <a:t>2</a:t>
            </a:r>
          </a:p>
        </p:txBody>
      </p:sp>
    </p:spTree>
    <p:extLst>
      <p:ext uri="{BB962C8B-B14F-4D97-AF65-F5344CB8AC3E}">
        <p14:creationId xmlns:p14="http://schemas.microsoft.com/office/powerpoint/2010/main" val="31209714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Oval 1"/>
          <p:cNvSpPr/>
          <p:nvPr/>
        </p:nvSpPr>
        <p:spPr>
          <a:xfrm>
            <a:off x="-953066" y="1879725"/>
            <a:ext cx="14166669" cy="795528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Freeform: Shape 99"/>
          <p:cNvSpPr/>
          <p:nvPr/>
        </p:nvSpPr>
        <p:spPr>
          <a:xfrm>
            <a:off x="35631" y="5341026"/>
            <a:ext cx="12189302" cy="1745574"/>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15361" h="1745574">
                <a:moveTo>
                  <a:pt x="5907680" y="0"/>
                </a:moveTo>
                <a:cubicBezTo>
                  <a:pt x="8502236" y="0"/>
                  <a:pt x="10736988" y="686989"/>
                  <a:pt x="11747164" y="1675322"/>
                </a:cubicBezTo>
                <a:lnTo>
                  <a:pt x="11815361" y="1745574"/>
                </a:lnTo>
                <a:lnTo>
                  <a:pt x="0" y="1745574"/>
                </a:lnTo>
                <a:lnTo>
                  <a:pt x="68197" y="1675322"/>
                </a:lnTo>
                <a:cubicBezTo>
                  <a:pt x="1078372" y="686989"/>
                  <a:pt x="3313125" y="0"/>
                  <a:pt x="5907680" y="0"/>
                </a:cubicBezTo>
                <a:close/>
              </a:path>
            </a:pathLst>
          </a:cu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925" name="Freeform: Shape 924"/>
          <p:cNvSpPr>
            <a:spLocks/>
          </p:cNvSpPr>
          <p:nvPr/>
        </p:nvSpPr>
        <p:spPr bwMode="auto">
          <a:xfrm>
            <a:off x="1281629" y="5592603"/>
            <a:ext cx="9922465" cy="1934496"/>
          </a:xfrm>
          <a:custGeom>
            <a:avLst/>
            <a:gdLst>
              <a:gd name="connsiteX0" fmla="*/ 8407318 w 9922465"/>
              <a:gd name="connsiteY0" fmla="*/ 1824114 h 1934496"/>
              <a:gd name="connsiteX1" fmla="*/ 8462510 w 9922465"/>
              <a:gd name="connsiteY1" fmla="*/ 1879305 h 1934496"/>
              <a:gd name="connsiteX2" fmla="*/ 8407318 w 9922465"/>
              <a:gd name="connsiteY2" fmla="*/ 1934496 h 1934496"/>
              <a:gd name="connsiteX3" fmla="*/ 8352126 w 9922465"/>
              <a:gd name="connsiteY3" fmla="*/ 1879305 h 1934496"/>
              <a:gd name="connsiteX4" fmla="*/ 8407318 w 9922465"/>
              <a:gd name="connsiteY4" fmla="*/ 1824114 h 1934496"/>
              <a:gd name="connsiteX5" fmla="*/ 8273682 w 9922465"/>
              <a:gd name="connsiteY5" fmla="*/ 1824114 h 1934496"/>
              <a:gd name="connsiteX6" fmla="*/ 8328874 w 9922465"/>
              <a:gd name="connsiteY6" fmla="*/ 1879305 h 1934496"/>
              <a:gd name="connsiteX7" fmla="*/ 8273682 w 9922465"/>
              <a:gd name="connsiteY7" fmla="*/ 1934496 h 1934496"/>
              <a:gd name="connsiteX8" fmla="*/ 8218490 w 9922465"/>
              <a:gd name="connsiteY8" fmla="*/ 1879305 h 1934496"/>
              <a:gd name="connsiteX9" fmla="*/ 8273682 w 9922465"/>
              <a:gd name="connsiteY9" fmla="*/ 1824114 h 1934496"/>
              <a:gd name="connsiteX10" fmla="*/ 8143386 w 9922465"/>
              <a:gd name="connsiteY10" fmla="*/ 1824114 h 1934496"/>
              <a:gd name="connsiteX11" fmla="*/ 8198578 w 9922465"/>
              <a:gd name="connsiteY11" fmla="*/ 1879305 h 1934496"/>
              <a:gd name="connsiteX12" fmla="*/ 8143386 w 9922465"/>
              <a:gd name="connsiteY12" fmla="*/ 1934496 h 1934496"/>
              <a:gd name="connsiteX13" fmla="*/ 8088194 w 9922465"/>
              <a:gd name="connsiteY13" fmla="*/ 1879305 h 1934496"/>
              <a:gd name="connsiteX14" fmla="*/ 8143386 w 9922465"/>
              <a:gd name="connsiteY14" fmla="*/ 1824114 h 1934496"/>
              <a:gd name="connsiteX15" fmla="*/ 8009752 w 9922465"/>
              <a:gd name="connsiteY15" fmla="*/ 1824114 h 1934496"/>
              <a:gd name="connsiteX16" fmla="*/ 8064944 w 9922465"/>
              <a:gd name="connsiteY16" fmla="*/ 1879305 h 1934496"/>
              <a:gd name="connsiteX17" fmla="*/ 8009752 w 9922465"/>
              <a:gd name="connsiteY17" fmla="*/ 1934496 h 1934496"/>
              <a:gd name="connsiteX18" fmla="*/ 7954560 w 9922465"/>
              <a:gd name="connsiteY18" fmla="*/ 1879305 h 1934496"/>
              <a:gd name="connsiteX19" fmla="*/ 8009752 w 9922465"/>
              <a:gd name="connsiteY19" fmla="*/ 1824114 h 1934496"/>
              <a:gd name="connsiteX20" fmla="*/ 7876117 w 9922465"/>
              <a:gd name="connsiteY20" fmla="*/ 1824114 h 1934496"/>
              <a:gd name="connsiteX21" fmla="*/ 7931309 w 9922465"/>
              <a:gd name="connsiteY21" fmla="*/ 1879305 h 1934496"/>
              <a:gd name="connsiteX22" fmla="*/ 7876117 w 9922465"/>
              <a:gd name="connsiteY22" fmla="*/ 1934496 h 1934496"/>
              <a:gd name="connsiteX23" fmla="*/ 7820925 w 9922465"/>
              <a:gd name="connsiteY23" fmla="*/ 1879305 h 1934496"/>
              <a:gd name="connsiteX24" fmla="*/ 7876117 w 9922465"/>
              <a:gd name="connsiteY24" fmla="*/ 1824114 h 1934496"/>
              <a:gd name="connsiteX25" fmla="*/ 7745824 w 9922465"/>
              <a:gd name="connsiteY25" fmla="*/ 1824114 h 1934496"/>
              <a:gd name="connsiteX26" fmla="*/ 7801016 w 9922465"/>
              <a:gd name="connsiteY26" fmla="*/ 1879305 h 1934496"/>
              <a:gd name="connsiteX27" fmla="*/ 7745824 w 9922465"/>
              <a:gd name="connsiteY27" fmla="*/ 1934496 h 1934496"/>
              <a:gd name="connsiteX28" fmla="*/ 7690632 w 9922465"/>
              <a:gd name="connsiteY28" fmla="*/ 1879305 h 1934496"/>
              <a:gd name="connsiteX29" fmla="*/ 7745824 w 9922465"/>
              <a:gd name="connsiteY29" fmla="*/ 1824114 h 1934496"/>
              <a:gd name="connsiteX30" fmla="*/ 7608849 w 9922465"/>
              <a:gd name="connsiteY30" fmla="*/ 1824114 h 1934496"/>
              <a:gd name="connsiteX31" fmla="*/ 7664041 w 9922465"/>
              <a:gd name="connsiteY31" fmla="*/ 1879305 h 1934496"/>
              <a:gd name="connsiteX32" fmla="*/ 7608849 w 9922465"/>
              <a:gd name="connsiteY32" fmla="*/ 1934496 h 1934496"/>
              <a:gd name="connsiteX33" fmla="*/ 7553657 w 9922465"/>
              <a:gd name="connsiteY33" fmla="*/ 1879305 h 1934496"/>
              <a:gd name="connsiteX34" fmla="*/ 7608849 w 9922465"/>
              <a:gd name="connsiteY34" fmla="*/ 1824114 h 1934496"/>
              <a:gd name="connsiteX35" fmla="*/ 7481895 w 9922465"/>
              <a:gd name="connsiteY35" fmla="*/ 1824114 h 1934496"/>
              <a:gd name="connsiteX36" fmla="*/ 7537087 w 9922465"/>
              <a:gd name="connsiteY36" fmla="*/ 1879305 h 1934496"/>
              <a:gd name="connsiteX37" fmla="*/ 7481895 w 9922465"/>
              <a:gd name="connsiteY37" fmla="*/ 1934496 h 1934496"/>
              <a:gd name="connsiteX38" fmla="*/ 7426703 w 9922465"/>
              <a:gd name="connsiteY38" fmla="*/ 1879305 h 1934496"/>
              <a:gd name="connsiteX39" fmla="*/ 7481895 w 9922465"/>
              <a:gd name="connsiteY39" fmla="*/ 1824114 h 1934496"/>
              <a:gd name="connsiteX40" fmla="*/ 7341579 w 9922465"/>
              <a:gd name="connsiteY40" fmla="*/ 1824114 h 1934496"/>
              <a:gd name="connsiteX41" fmla="*/ 7396771 w 9922465"/>
              <a:gd name="connsiteY41" fmla="*/ 1879305 h 1934496"/>
              <a:gd name="connsiteX42" fmla="*/ 7341579 w 9922465"/>
              <a:gd name="connsiteY42" fmla="*/ 1934496 h 1934496"/>
              <a:gd name="connsiteX43" fmla="*/ 7286387 w 9922465"/>
              <a:gd name="connsiteY43" fmla="*/ 1879305 h 1934496"/>
              <a:gd name="connsiteX44" fmla="*/ 7341579 w 9922465"/>
              <a:gd name="connsiteY44" fmla="*/ 1824114 h 1934496"/>
              <a:gd name="connsiteX45" fmla="*/ 7211286 w 9922465"/>
              <a:gd name="connsiteY45" fmla="*/ 1824114 h 1934496"/>
              <a:gd name="connsiteX46" fmla="*/ 7266478 w 9922465"/>
              <a:gd name="connsiteY46" fmla="*/ 1879305 h 1934496"/>
              <a:gd name="connsiteX47" fmla="*/ 7211286 w 9922465"/>
              <a:gd name="connsiteY47" fmla="*/ 1934496 h 1934496"/>
              <a:gd name="connsiteX48" fmla="*/ 7156094 w 9922465"/>
              <a:gd name="connsiteY48" fmla="*/ 1879305 h 1934496"/>
              <a:gd name="connsiteX49" fmla="*/ 7211286 w 9922465"/>
              <a:gd name="connsiteY49" fmla="*/ 1824114 h 1934496"/>
              <a:gd name="connsiteX50" fmla="*/ 7080993 w 9922465"/>
              <a:gd name="connsiteY50" fmla="*/ 1824114 h 1934496"/>
              <a:gd name="connsiteX51" fmla="*/ 7136185 w 9922465"/>
              <a:gd name="connsiteY51" fmla="*/ 1879305 h 1934496"/>
              <a:gd name="connsiteX52" fmla="*/ 7080993 w 9922465"/>
              <a:gd name="connsiteY52" fmla="*/ 1934496 h 1934496"/>
              <a:gd name="connsiteX53" fmla="*/ 7025801 w 9922465"/>
              <a:gd name="connsiteY53" fmla="*/ 1879305 h 1934496"/>
              <a:gd name="connsiteX54" fmla="*/ 7080993 w 9922465"/>
              <a:gd name="connsiteY54" fmla="*/ 1824114 h 1934496"/>
              <a:gd name="connsiteX55" fmla="*/ 6947357 w 9922465"/>
              <a:gd name="connsiteY55" fmla="*/ 1824114 h 1934496"/>
              <a:gd name="connsiteX56" fmla="*/ 7002549 w 9922465"/>
              <a:gd name="connsiteY56" fmla="*/ 1879305 h 1934496"/>
              <a:gd name="connsiteX57" fmla="*/ 6947357 w 9922465"/>
              <a:gd name="connsiteY57" fmla="*/ 1934496 h 1934496"/>
              <a:gd name="connsiteX58" fmla="*/ 6892165 w 9922465"/>
              <a:gd name="connsiteY58" fmla="*/ 1879305 h 1934496"/>
              <a:gd name="connsiteX59" fmla="*/ 6947357 w 9922465"/>
              <a:gd name="connsiteY59" fmla="*/ 1824114 h 1934496"/>
              <a:gd name="connsiteX60" fmla="*/ 6817063 w 9922465"/>
              <a:gd name="connsiteY60" fmla="*/ 1824114 h 1934496"/>
              <a:gd name="connsiteX61" fmla="*/ 6872255 w 9922465"/>
              <a:gd name="connsiteY61" fmla="*/ 1879305 h 1934496"/>
              <a:gd name="connsiteX62" fmla="*/ 6817063 w 9922465"/>
              <a:gd name="connsiteY62" fmla="*/ 1934496 h 1934496"/>
              <a:gd name="connsiteX63" fmla="*/ 6761871 w 9922465"/>
              <a:gd name="connsiteY63" fmla="*/ 1879305 h 1934496"/>
              <a:gd name="connsiteX64" fmla="*/ 6817063 w 9922465"/>
              <a:gd name="connsiteY64" fmla="*/ 1824114 h 1934496"/>
              <a:gd name="connsiteX65" fmla="*/ 6683431 w 9922465"/>
              <a:gd name="connsiteY65" fmla="*/ 1824114 h 1934496"/>
              <a:gd name="connsiteX66" fmla="*/ 6738623 w 9922465"/>
              <a:gd name="connsiteY66" fmla="*/ 1879305 h 1934496"/>
              <a:gd name="connsiteX67" fmla="*/ 6683431 w 9922465"/>
              <a:gd name="connsiteY67" fmla="*/ 1934496 h 1934496"/>
              <a:gd name="connsiteX68" fmla="*/ 6628239 w 9922465"/>
              <a:gd name="connsiteY68" fmla="*/ 1879305 h 1934496"/>
              <a:gd name="connsiteX69" fmla="*/ 6683431 w 9922465"/>
              <a:gd name="connsiteY69" fmla="*/ 1824114 h 1934496"/>
              <a:gd name="connsiteX70" fmla="*/ 6553137 w 9922465"/>
              <a:gd name="connsiteY70" fmla="*/ 1824114 h 1934496"/>
              <a:gd name="connsiteX71" fmla="*/ 6608329 w 9922465"/>
              <a:gd name="connsiteY71" fmla="*/ 1879305 h 1934496"/>
              <a:gd name="connsiteX72" fmla="*/ 6553137 w 9922465"/>
              <a:gd name="connsiteY72" fmla="*/ 1934496 h 1934496"/>
              <a:gd name="connsiteX73" fmla="*/ 6497945 w 9922465"/>
              <a:gd name="connsiteY73" fmla="*/ 1879305 h 1934496"/>
              <a:gd name="connsiteX74" fmla="*/ 6553137 w 9922465"/>
              <a:gd name="connsiteY74" fmla="*/ 1824114 h 1934496"/>
              <a:gd name="connsiteX75" fmla="*/ 6289207 w 9922465"/>
              <a:gd name="connsiteY75" fmla="*/ 1824114 h 1934496"/>
              <a:gd name="connsiteX76" fmla="*/ 6344399 w 9922465"/>
              <a:gd name="connsiteY76" fmla="*/ 1879305 h 1934496"/>
              <a:gd name="connsiteX77" fmla="*/ 6289207 w 9922465"/>
              <a:gd name="connsiteY77" fmla="*/ 1934496 h 1934496"/>
              <a:gd name="connsiteX78" fmla="*/ 6234015 w 9922465"/>
              <a:gd name="connsiteY78" fmla="*/ 1879305 h 1934496"/>
              <a:gd name="connsiteX79" fmla="*/ 6289207 w 9922465"/>
              <a:gd name="connsiteY79" fmla="*/ 1824114 h 1934496"/>
              <a:gd name="connsiteX80" fmla="*/ 6155572 w 9922465"/>
              <a:gd name="connsiteY80" fmla="*/ 1824114 h 1934496"/>
              <a:gd name="connsiteX81" fmla="*/ 6210764 w 9922465"/>
              <a:gd name="connsiteY81" fmla="*/ 1879305 h 1934496"/>
              <a:gd name="connsiteX82" fmla="*/ 6155572 w 9922465"/>
              <a:gd name="connsiteY82" fmla="*/ 1934496 h 1934496"/>
              <a:gd name="connsiteX83" fmla="*/ 6100380 w 9922465"/>
              <a:gd name="connsiteY83" fmla="*/ 1879305 h 1934496"/>
              <a:gd name="connsiteX84" fmla="*/ 6155572 w 9922465"/>
              <a:gd name="connsiteY84" fmla="*/ 1824114 h 1934496"/>
              <a:gd name="connsiteX85" fmla="*/ 6021938 w 9922465"/>
              <a:gd name="connsiteY85" fmla="*/ 1824114 h 1934496"/>
              <a:gd name="connsiteX86" fmla="*/ 6077130 w 9922465"/>
              <a:gd name="connsiteY86" fmla="*/ 1879305 h 1934496"/>
              <a:gd name="connsiteX87" fmla="*/ 6021938 w 9922465"/>
              <a:gd name="connsiteY87" fmla="*/ 1934496 h 1934496"/>
              <a:gd name="connsiteX88" fmla="*/ 5966746 w 9922465"/>
              <a:gd name="connsiteY88" fmla="*/ 1879305 h 1934496"/>
              <a:gd name="connsiteX89" fmla="*/ 6021938 w 9922465"/>
              <a:gd name="connsiteY89" fmla="*/ 1824114 h 1934496"/>
              <a:gd name="connsiteX90" fmla="*/ 5884964 w 9922465"/>
              <a:gd name="connsiteY90" fmla="*/ 1824114 h 1934496"/>
              <a:gd name="connsiteX91" fmla="*/ 5940156 w 9922465"/>
              <a:gd name="connsiteY91" fmla="*/ 1879305 h 1934496"/>
              <a:gd name="connsiteX92" fmla="*/ 5884964 w 9922465"/>
              <a:gd name="connsiteY92" fmla="*/ 1934496 h 1934496"/>
              <a:gd name="connsiteX93" fmla="*/ 5829772 w 9922465"/>
              <a:gd name="connsiteY93" fmla="*/ 1879305 h 1934496"/>
              <a:gd name="connsiteX94" fmla="*/ 5884964 w 9922465"/>
              <a:gd name="connsiteY94" fmla="*/ 1824114 h 1934496"/>
              <a:gd name="connsiteX95" fmla="*/ 5754670 w 9922465"/>
              <a:gd name="connsiteY95" fmla="*/ 1824114 h 1934496"/>
              <a:gd name="connsiteX96" fmla="*/ 5809862 w 9922465"/>
              <a:gd name="connsiteY96" fmla="*/ 1879305 h 1934496"/>
              <a:gd name="connsiteX97" fmla="*/ 5754670 w 9922465"/>
              <a:gd name="connsiteY97" fmla="*/ 1934496 h 1934496"/>
              <a:gd name="connsiteX98" fmla="*/ 5699478 w 9922465"/>
              <a:gd name="connsiteY98" fmla="*/ 1879305 h 1934496"/>
              <a:gd name="connsiteX99" fmla="*/ 5754670 w 9922465"/>
              <a:gd name="connsiteY99" fmla="*/ 1824114 h 1934496"/>
              <a:gd name="connsiteX100" fmla="*/ 5487399 w 9922465"/>
              <a:gd name="connsiteY100" fmla="*/ 1824114 h 1934496"/>
              <a:gd name="connsiteX101" fmla="*/ 5542591 w 9922465"/>
              <a:gd name="connsiteY101" fmla="*/ 1879305 h 1934496"/>
              <a:gd name="connsiteX102" fmla="*/ 5487399 w 9922465"/>
              <a:gd name="connsiteY102" fmla="*/ 1934496 h 1934496"/>
              <a:gd name="connsiteX103" fmla="*/ 5432207 w 9922465"/>
              <a:gd name="connsiteY103" fmla="*/ 1879305 h 1934496"/>
              <a:gd name="connsiteX104" fmla="*/ 5487399 w 9922465"/>
              <a:gd name="connsiteY104" fmla="*/ 1824114 h 1934496"/>
              <a:gd name="connsiteX105" fmla="*/ 5357105 w 9922465"/>
              <a:gd name="connsiteY105" fmla="*/ 1824114 h 1934496"/>
              <a:gd name="connsiteX106" fmla="*/ 5412297 w 9922465"/>
              <a:gd name="connsiteY106" fmla="*/ 1879305 h 1934496"/>
              <a:gd name="connsiteX107" fmla="*/ 5357105 w 9922465"/>
              <a:gd name="connsiteY107" fmla="*/ 1934496 h 1934496"/>
              <a:gd name="connsiteX108" fmla="*/ 5301913 w 9922465"/>
              <a:gd name="connsiteY108" fmla="*/ 1879305 h 1934496"/>
              <a:gd name="connsiteX109" fmla="*/ 5357105 w 9922465"/>
              <a:gd name="connsiteY109" fmla="*/ 1824114 h 1934496"/>
              <a:gd name="connsiteX110" fmla="*/ 5223473 w 9922465"/>
              <a:gd name="connsiteY110" fmla="*/ 1824114 h 1934496"/>
              <a:gd name="connsiteX111" fmla="*/ 5278665 w 9922465"/>
              <a:gd name="connsiteY111" fmla="*/ 1879305 h 1934496"/>
              <a:gd name="connsiteX112" fmla="*/ 5223473 w 9922465"/>
              <a:gd name="connsiteY112" fmla="*/ 1934496 h 1934496"/>
              <a:gd name="connsiteX113" fmla="*/ 5168281 w 9922465"/>
              <a:gd name="connsiteY113" fmla="*/ 1879305 h 1934496"/>
              <a:gd name="connsiteX114" fmla="*/ 5223473 w 9922465"/>
              <a:gd name="connsiteY114" fmla="*/ 1824114 h 1934496"/>
              <a:gd name="connsiteX115" fmla="*/ 5093178 w 9922465"/>
              <a:gd name="connsiteY115" fmla="*/ 1824114 h 1934496"/>
              <a:gd name="connsiteX116" fmla="*/ 5148370 w 9922465"/>
              <a:gd name="connsiteY116" fmla="*/ 1879305 h 1934496"/>
              <a:gd name="connsiteX117" fmla="*/ 5093178 w 9922465"/>
              <a:gd name="connsiteY117" fmla="*/ 1934496 h 1934496"/>
              <a:gd name="connsiteX118" fmla="*/ 5037986 w 9922465"/>
              <a:gd name="connsiteY118" fmla="*/ 1879305 h 1934496"/>
              <a:gd name="connsiteX119" fmla="*/ 5093178 w 9922465"/>
              <a:gd name="connsiteY119" fmla="*/ 1824114 h 1934496"/>
              <a:gd name="connsiteX120" fmla="*/ 4959543 w 9922465"/>
              <a:gd name="connsiteY120" fmla="*/ 1824114 h 1934496"/>
              <a:gd name="connsiteX121" fmla="*/ 5014735 w 9922465"/>
              <a:gd name="connsiteY121" fmla="*/ 1879305 h 1934496"/>
              <a:gd name="connsiteX122" fmla="*/ 4959543 w 9922465"/>
              <a:gd name="connsiteY122" fmla="*/ 1934496 h 1934496"/>
              <a:gd name="connsiteX123" fmla="*/ 4904351 w 9922465"/>
              <a:gd name="connsiteY123" fmla="*/ 1879305 h 1934496"/>
              <a:gd name="connsiteX124" fmla="*/ 4959543 w 9922465"/>
              <a:gd name="connsiteY124" fmla="*/ 1824114 h 1934496"/>
              <a:gd name="connsiteX125" fmla="*/ 4829250 w 9922465"/>
              <a:gd name="connsiteY125" fmla="*/ 1824114 h 1934496"/>
              <a:gd name="connsiteX126" fmla="*/ 4884442 w 9922465"/>
              <a:gd name="connsiteY126" fmla="*/ 1879305 h 1934496"/>
              <a:gd name="connsiteX127" fmla="*/ 4829250 w 9922465"/>
              <a:gd name="connsiteY127" fmla="*/ 1934496 h 1934496"/>
              <a:gd name="connsiteX128" fmla="*/ 4774058 w 9922465"/>
              <a:gd name="connsiteY128" fmla="*/ 1879305 h 1934496"/>
              <a:gd name="connsiteX129" fmla="*/ 4829250 w 9922465"/>
              <a:gd name="connsiteY129" fmla="*/ 1824114 h 1934496"/>
              <a:gd name="connsiteX130" fmla="*/ 4695613 w 9922465"/>
              <a:gd name="connsiteY130" fmla="*/ 1824114 h 1934496"/>
              <a:gd name="connsiteX131" fmla="*/ 4750805 w 9922465"/>
              <a:gd name="connsiteY131" fmla="*/ 1879305 h 1934496"/>
              <a:gd name="connsiteX132" fmla="*/ 4695613 w 9922465"/>
              <a:gd name="connsiteY132" fmla="*/ 1934496 h 1934496"/>
              <a:gd name="connsiteX133" fmla="*/ 4640421 w 9922465"/>
              <a:gd name="connsiteY133" fmla="*/ 1879305 h 1934496"/>
              <a:gd name="connsiteX134" fmla="*/ 4695613 w 9922465"/>
              <a:gd name="connsiteY134" fmla="*/ 1824114 h 1934496"/>
              <a:gd name="connsiteX135" fmla="*/ 2834762 w 9922465"/>
              <a:gd name="connsiteY135" fmla="*/ 1824114 h 1934496"/>
              <a:gd name="connsiteX136" fmla="*/ 2889954 w 9922465"/>
              <a:gd name="connsiteY136" fmla="*/ 1879305 h 1934496"/>
              <a:gd name="connsiteX137" fmla="*/ 2834762 w 9922465"/>
              <a:gd name="connsiteY137" fmla="*/ 1934496 h 1934496"/>
              <a:gd name="connsiteX138" fmla="*/ 2779570 w 9922465"/>
              <a:gd name="connsiteY138" fmla="*/ 1879305 h 1934496"/>
              <a:gd name="connsiteX139" fmla="*/ 2834762 w 9922465"/>
              <a:gd name="connsiteY139" fmla="*/ 1824114 h 1934496"/>
              <a:gd name="connsiteX140" fmla="*/ 2707807 w 9922465"/>
              <a:gd name="connsiteY140" fmla="*/ 1824114 h 1934496"/>
              <a:gd name="connsiteX141" fmla="*/ 2762999 w 9922465"/>
              <a:gd name="connsiteY141" fmla="*/ 1879305 h 1934496"/>
              <a:gd name="connsiteX142" fmla="*/ 2707807 w 9922465"/>
              <a:gd name="connsiteY142" fmla="*/ 1934496 h 1934496"/>
              <a:gd name="connsiteX143" fmla="*/ 2652615 w 9922465"/>
              <a:gd name="connsiteY143" fmla="*/ 1879305 h 1934496"/>
              <a:gd name="connsiteX144" fmla="*/ 2707807 w 9922465"/>
              <a:gd name="connsiteY144" fmla="*/ 1824114 h 1934496"/>
              <a:gd name="connsiteX145" fmla="*/ 2570834 w 9922465"/>
              <a:gd name="connsiteY145" fmla="*/ 1824114 h 1934496"/>
              <a:gd name="connsiteX146" fmla="*/ 2626025 w 9922465"/>
              <a:gd name="connsiteY146" fmla="*/ 1879305 h 1934496"/>
              <a:gd name="connsiteX147" fmla="*/ 2570834 w 9922465"/>
              <a:gd name="connsiteY147" fmla="*/ 1934496 h 1934496"/>
              <a:gd name="connsiteX148" fmla="*/ 2515641 w 9922465"/>
              <a:gd name="connsiteY148" fmla="*/ 1879305 h 1934496"/>
              <a:gd name="connsiteX149" fmla="*/ 2570834 w 9922465"/>
              <a:gd name="connsiteY149" fmla="*/ 1824114 h 1934496"/>
              <a:gd name="connsiteX150" fmla="*/ 2437196 w 9922465"/>
              <a:gd name="connsiteY150" fmla="*/ 1824114 h 1934496"/>
              <a:gd name="connsiteX151" fmla="*/ 2492389 w 9922465"/>
              <a:gd name="connsiteY151" fmla="*/ 1879305 h 1934496"/>
              <a:gd name="connsiteX152" fmla="*/ 2437196 w 9922465"/>
              <a:gd name="connsiteY152" fmla="*/ 1934496 h 1934496"/>
              <a:gd name="connsiteX153" fmla="*/ 2382005 w 9922465"/>
              <a:gd name="connsiteY153" fmla="*/ 1879305 h 1934496"/>
              <a:gd name="connsiteX154" fmla="*/ 2437196 w 9922465"/>
              <a:gd name="connsiteY154" fmla="*/ 1824114 h 1934496"/>
              <a:gd name="connsiteX155" fmla="*/ 2303564 w 9922465"/>
              <a:gd name="connsiteY155" fmla="*/ 1824114 h 1934496"/>
              <a:gd name="connsiteX156" fmla="*/ 2358756 w 9922465"/>
              <a:gd name="connsiteY156" fmla="*/ 1879305 h 1934496"/>
              <a:gd name="connsiteX157" fmla="*/ 2303564 w 9922465"/>
              <a:gd name="connsiteY157" fmla="*/ 1934496 h 1934496"/>
              <a:gd name="connsiteX158" fmla="*/ 2248372 w 9922465"/>
              <a:gd name="connsiteY158" fmla="*/ 1879305 h 1934496"/>
              <a:gd name="connsiteX159" fmla="*/ 2303564 w 9922465"/>
              <a:gd name="connsiteY159" fmla="*/ 1824114 h 1934496"/>
              <a:gd name="connsiteX160" fmla="*/ 2173271 w 9922465"/>
              <a:gd name="connsiteY160" fmla="*/ 1824114 h 1934496"/>
              <a:gd name="connsiteX161" fmla="*/ 2228463 w 9922465"/>
              <a:gd name="connsiteY161" fmla="*/ 1879305 h 1934496"/>
              <a:gd name="connsiteX162" fmla="*/ 2173271 w 9922465"/>
              <a:gd name="connsiteY162" fmla="*/ 1934496 h 1934496"/>
              <a:gd name="connsiteX163" fmla="*/ 2118079 w 9922465"/>
              <a:gd name="connsiteY163" fmla="*/ 1879305 h 1934496"/>
              <a:gd name="connsiteX164" fmla="*/ 2173271 w 9922465"/>
              <a:gd name="connsiteY164" fmla="*/ 1824114 h 1934496"/>
              <a:gd name="connsiteX165" fmla="*/ 2039637 w 9922465"/>
              <a:gd name="connsiteY165" fmla="*/ 1824114 h 1934496"/>
              <a:gd name="connsiteX166" fmla="*/ 2094830 w 9922465"/>
              <a:gd name="connsiteY166" fmla="*/ 1879305 h 1934496"/>
              <a:gd name="connsiteX167" fmla="*/ 2039637 w 9922465"/>
              <a:gd name="connsiteY167" fmla="*/ 1934496 h 1934496"/>
              <a:gd name="connsiteX168" fmla="*/ 1984445 w 9922465"/>
              <a:gd name="connsiteY168" fmla="*/ 1879305 h 1934496"/>
              <a:gd name="connsiteX169" fmla="*/ 2039637 w 9922465"/>
              <a:gd name="connsiteY169" fmla="*/ 1824114 h 1934496"/>
              <a:gd name="connsiteX170" fmla="*/ 1909341 w 9922465"/>
              <a:gd name="connsiteY170" fmla="*/ 1824114 h 1934496"/>
              <a:gd name="connsiteX171" fmla="*/ 1964533 w 9922465"/>
              <a:gd name="connsiteY171" fmla="*/ 1879305 h 1934496"/>
              <a:gd name="connsiteX172" fmla="*/ 1909341 w 9922465"/>
              <a:gd name="connsiteY172" fmla="*/ 1934496 h 1934496"/>
              <a:gd name="connsiteX173" fmla="*/ 1854149 w 9922465"/>
              <a:gd name="connsiteY173" fmla="*/ 1879305 h 1934496"/>
              <a:gd name="connsiteX174" fmla="*/ 1909341 w 9922465"/>
              <a:gd name="connsiteY174" fmla="*/ 1824114 h 1934496"/>
              <a:gd name="connsiteX175" fmla="*/ 1779049 w 9922465"/>
              <a:gd name="connsiteY175" fmla="*/ 1824114 h 1934496"/>
              <a:gd name="connsiteX176" fmla="*/ 1834241 w 9922465"/>
              <a:gd name="connsiteY176" fmla="*/ 1879305 h 1934496"/>
              <a:gd name="connsiteX177" fmla="*/ 1779049 w 9922465"/>
              <a:gd name="connsiteY177" fmla="*/ 1934496 h 1934496"/>
              <a:gd name="connsiteX178" fmla="*/ 1723856 w 9922465"/>
              <a:gd name="connsiteY178" fmla="*/ 1879305 h 1934496"/>
              <a:gd name="connsiteX179" fmla="*/ 1779049 w 9922465"/>
              <a:gd name="connsiteY179" fmla="*/ 1824114 h 1934496"/>
              <a:gd name="connsiteX180" fmla="*/ 1645413 w 9922465"/>
              <a:gd name="connsiteY180" fmla="*/ 1824114 h 1934496"/>
              <a:gd name="connsiteX181" fmla="*/ 1700604 w 9922465"/>
              <a:gd name="connsiteY181" fmla="*/ 1879305 h 1934496"/>
              <a:gd name="connsiteX182" fmla="*/ 1645413 w 9922465"/>
              <a:gd name="connsiteY182" fmla="*/ 1934496 h 1934496"/>
              <a:gd name="connsiteX183" fmla="*/ 1590220 w 9922465"/>
              <a:gd name="connsiteY183" fmla="*/ 1879305 h 1934496"/>
              <a:gd name="connsiteX184" fmla="*/ 1645413 w 9922465"/>
              <a:gd name="connsiteY184" fmla="*/ 1824114 h 1934496"/>
              <a:gd name="connsiteX185" fmla="*/ 1515120 w 9922465"/>
              <a:gd name="connsiteY185" fmla="*/ 1824114 h 1934496"/>
              <a:gd name="connsiteX186" fmla="*/ 1570311 w 9922465"/>
              <a:gd name="connsiteY186" fmla="*/ 1879305 h 1934496"/>
              <a:gd name="connsiteX187" fmla="*/ 1515120 w 9922465"/>
              <a:gd name="connsiteY187" fmla="*/ 1934496 h 1934496"/>
              <a:gd name="connsiteX188" fmla="*/ 1459927 w 9922465"/>
              <a:gd name="connsiteY188" fmla="*/ 1879305 h 1934496"/>
              <a:gd name="connsiteX189" fmla="*/ 1515120 w 9922465"/>
              <a:gd name="connsiteY189" fmla="*/ 1824114 h 1934496"/>
              <a:gd name="connsiteX190" fmla="*/ 1381486 w 9922465"/>
              <a:gd name="connsiteY190" fmla="*/ 1824114 h 1934496"/>
              <a:gd name="connsiteX191" fmla="*/ 1436678 w 9922465"/>
              <a:gd name="connsiteY191" fmla="*/ 1879305 h 1934496"/>
              <a:gd name="connsiteX192" fmla="*/ 1381486 w 9922465"/>
              <a:gd name="connsiteY192" fmla="*/ 1934496 h 1934496"/>
              <a:gd name="connsiteX193" fmla="*/ 1326294 w 9922465"/>
              <a:gd name="connsiteY193" fmla="*/ 1879305 h 1934496"/>
              <a:gd name="connsiteX194" fmla="*/ 1381486 w 9922465"/>
              <a:gd name="connsiteY194" fmla="*/ 1824114 h 1934496"/>
              <a:gd name="connsiteX195" fmla="*/ 1251193 w 9922465"/>
              <a:gd name="connsiteY195" fmla="*/ 1824114 h 1934496"/>
              <a:gd name="connsiteX196" fmla="*/ 1306386 w 9922465"/>
              <a:gd name="connsiteY196" fmla="*/ 1879305 h 1934496"/>
              <a:gd name="connsiteX197" fmla="*/ 1251193 w 9922465"/>
              <a:gd name="connsiteY197" fmla="*/ 1934496 h 1934496"/>
              <a:gd name="connsiteX198" fmla="*/ 1196001 w 9922465"/>
              <a:gd name="connsiteY198" fmla="*/ 1879305 h 1934496"/>
              <a:gd name="connsiteX199" fmla="*/ 1251193 w 9922465"/>
              <a:gd name="connsiteY199" fmla="*/ 1824114 h 1934496"/>
              <a:gd name="connsiteX200" fmla="*/ 4565336 w 9922465"/>
              <a:gd name="connsiteY200" fmla="*/ 1824106 h 1934496"/>
              <a:gd name="connsiteX201" fmla="*/ 4620528 w 9922465"/>
              <a:gd name="connsiteY201" fmla="*/ 1879297 h 1934496"/>
              <a:gd name="connsiteX202" fmla="*/ 4565336 w 9922465"/>
              <a:gd name="connsiteY202" fmla="*/ 1934488 h 1934496"/>
              <a:gd name="connsiteX203" fmla="*/ 4510144 w 9922465"/>
              <a:gd name="connsiteY203" fmla="*/ 1879297 h 1934496"/>
              <a:gd name="connsiteX204" fmla="*/ 4565336 w 9922465"/>
              <a:gd name="connsiteY204" fmla="*/ 1824106 h 1934496"/>
              <a:gd name="connsiteX205" fmla="*/ 4431689 w 9922465"/>
              <a:gd name="connsiteY205" fmla="*/ 1824098 h 1934496"/>
              <a:gd name="connsiteX206" fmla="*/ 4486881 w 9922465"/>
              <a:gd name="connsiteY206" fmla="*/ 1879289 h 1934496"/>
              <a:gd name="connsiteX207" fmla="*/ 4431689 w 9922465"/>
              <a:gd name="connsiteY207" fmla="*/ 1934480 h 1934496"/>
              <a:gd name="connsiteX208" fmla="*/ 4376497 w 9922465"/>
              <a:gd name="connsiteY208" fmla="*/ 1879289 h 1934496"/>
              <a:gd name="connsiteX209" fmla="*/ 4431689 w 9922465"/>
              <a:gd name="connsiteY209" fmla="*/ 1824098 h 1934496"/>
              <a:gd name="connsiteX210" fmla="*/ 8801537 w 9922465"/>
              <a:gd name="connsiteY210" fmla="*/ 1707182 h 1934496"/>
              <a:gd name="connsiteX211" fmla="*/ 8856729 w 9922465"/>
              <a:gd name="connsiteY211" fmla="*/ 1762373 h 1934496"/>
              <a:gd name="connsiteX212" fmla="*/ 8801537 w 9922465"/>
              <a:gd name="connsiteY212" fmla="*/ 1817564 h 1934496"/>
              <a:gd name="connsiteX213" fmla="*/ 8746345 w 9922465"/>
              <a:gd name="connsiteY213" fmla="*/ 1762373 h 1934496"/>
              <a:gd name="connsiteX214" fmla="*/ 8801537 w 9922465"/>
              <a:gd name="connsiteY214" fmla="*/ 1707182 h 1934496"/>
              <a:gd name="connsiteX215" fmla="*/ 8671243 w 9922465"/>
              <a:gd name="connsiteY215" fmla="*/ 1707182 h 1934496"/>
              <a:gd name="connsiteX216" fmla="*/ 8726435 w 9922465"/>
              <a:gd name="connsiteY216" fmla="*/ 1762373 h 1934496"/>
              <a:gd name="connsiteX217" fmla="*/ 8671243 w 9922465"/>
              <a:gd name="connsiteY217" fmla="*/ 1817564 h 1934496"/>
              <a:gd name="connsiteX218" fmla="*/ 8616051 w 9922465"/>
              <a:gd name="connsiteY218" fmla="*/ 1762373 h 1934496"/>
              <a:gd name="connsiteX219" fmla="*/ 8671243 w 9922465"/>
              <a:gd name="connsiteY219" fmla="*/ 1707182 h 1934496"/>
              <a:gd name="connsiteX220" fmla="*/ 8537609 w 9922465"/>
              <a:gd name="connsiteY220" fmla="*/ 1707182 h 1934496"/>
              <a:gd name="connsiteX221" fmla="*/ 8592801 w 9922465"/>
              <a:gd name="connsiteY221" fmla="*/ 1762373 h 1934496"/>
              <a:gd name="connsiteX222" fmla="*/ 8537609 w 9922465"/>
              <a:gd name="connsiteY222" fmla="*/ 1817564 h 1934496"/>
              <a:gd name="connsiteX223" fmla="*/ 8482417 w 9922465"/>
              <a:gd name="connsiteY223" fmla="*/ 1762373 h 1934496"/>
              <a:gd name="connsiteX224" fmla="*/ 8537609 w 9922465"/>
              <a:gd name="connsiteY224" fmla="*/ 1707182 h 1934496"/>
              <a:gd name="connsiteX225" fmla="*/ 8407318 w 9922465"/>
              <a:gd name="connsiteY225" fmla="*/ 1707182 h 1934496"/>
              <a:gd name="connsiteX226" fmla="*/ 8462510 w 9922465"/>
              <a:gd name="connsiteY226" fmla="*/ 1762373 h 1934496"/>
              <a:gd name="connsiteX227" fmla="*/ 8407318 w 9922465"/>
              <a:gd name="connsiteY227" fmla="*/ 1817564 h 1934496"/>
              <a:gd name="connsiteX228" fmla="*/ 8352126 w 9922465"/>
              <a:gd name="connsiteY228" fmla="*/ 1762373 h 1934496"/>
              <a:gd name="connsiteX229" fmla="*/ 8407318 w 9922465"/>
              <a:gd name="connsiteY229" fmla="*/ 1707182 h 1934496"/>
              <a:gd name="connsiteX230" fmla="*/ 8273682 w 9922465"/>
              <a:gd name="connsiteY230" fmla="*/ 1707182 h 1934496"/>
              <a:gd name="connsiteX231" fmla="*/ 8328874 w 9922465"/>
              <a:gd name="connsiteY231" fmla="*/ 1762373 h 1934496"/>
              <a:gd name="connsiteX232" fmla="*/ 8273682 w 9922465"/>
              <a:gd name="connsiteY232" fmla="*/ 1817564 h 1934496"/>
              <a:gd name="connsiteX233" fmla="*/ 8218490 w 9922465"/>
              <a:gd name="connsiteY233" fmla="*/ 1762373 h 1934496"/>
              <a:gd name="connsiteX234" fmla="*/ 8273682 w 9922465"/>
              <a:gd name="connsiteY234" fmla="*/ 1707182 h 1934496"/>
              <a:gd name="connsiteX235" fmla="*/ 8143386 w 9922465"/>
              <a:gd name="connsiteY235" fmla="*/ 1707182 h 1934496"/>
              <a:gd name="connsiteX236" fmla="*/ 8198578 w 9922465"/>
              <a:gd name="connsiteY236" fmla="*/ 1762373 h 1934496"/>
              <a:gd name="connsiteX237" fmla="*/ 8143386 w 9922465"/>
              <a:gd name="connsiteY237" fmla="*/ 1817564 h 1934496"/>
              <a:gd name="connsiteX238" fmla="*/ 8088194 w 9922465"/>
              <a:gd name="connsiteY238" fmla="*/ 1762373 h 1934496"/>
              <a:gd name="connsiteX239" fmla="*/ 8143386 w 9922465"/>
              <a:gd name="connsiteY239" fmla="*/ 1707182 h 1934496"/>
              <a:gd name="connsiteX240" fmla="*/ 8009752 w 9922465"/>
              <a:gd name="connsiteY240" fmla="*/ 1707182 h 1934496"/>
              <a:gd name="connsiteX241" fmla="*/ 8064944 w 9922465"/>
              <a:gd name="connsiteY241" fmla="*/ 1762373 h 1934496"/>
              <a:gd name="connsiteX242" fmla="*/ 8009752 w 9922465"/>
              <a:gd name="connsiteY242" fmla="*/ 1817564 h 1934496"/>
              <a:gd name="connsiteX243" fmla="*/ 7954560 w 9922465"/>
              <a:gd name="connsiteY243" fmla="*/ 1762373 h 1934496"/>
              <a:gd name="connsiteX244" fmla="*/ 8009752 w 9922465"/>
              <a:gd name="connsiteY244" fmla="*/ 1707182 h 1934496"/>
              <a:gd name="connsiteX245" fmla="*/ 7876117 w 9922465"/>
              <a:gd name="connsiteY245" fmla="*/ 1707182 h 1934496"/>
              <a:gd name="connsiteX246" fmla="*/ 7931309 w 9922465"/>
              <a:gd name="connsiteY246" fmla="*/ 1762373 h 1934496"/>
              <a:gd name="connsiteX247" fmla="*/ 7876117 w 9922465"/>
              <a:gd name="connsiteY247" fmla="*/ 1817564 h 1934496"/>
              <a:gd name="connsiteX248" fmla="*/ 7820925 w 9922465"/>
              <a:gd name="connsiteY248" fmla="*/ 1762373 h 1934496"/>
              <a:gd name="connsiteX249" fmla="*/ 7876117 w 9922465"/>
              <a:gd name="connsiteY249" fmla="*/ 1707182 h 1934496"/>
              <a:gd name="connsiteX250" fmla="*/ 7745824 w 9922465"/>
              <a:gd name="connsiteY250" fmla="*/ 1707182 h 1934496"/>
              <a:gd name="connsiteX251" fmla="*/ 7801016 w 9922465"/>
              <a:gd name="connsiteY251" fmla="*/ 1762373 h 1934496"/>
              <a:gd name="connsiteX252" fmla="*/ 7745824 w 9922465"/>
              <a:gd name="connsiteY252" fmla="*/ 1817564 h 1934496"/>
              <a:gd name="connsiteX253" fmla="*/ 7690632 w 9922465"/>
              <a:gd name="connsiteY253" fmla="*/ 1762373 h 1934496"/>
              <a:gd name="connsiteX254" fmla="*/ 7745824 w 9922465"/>
              <a:gd name="connsiteY254" fmla="*/ 1707182 h 1934496"/>
              <a:gd name="connsiteX255" fmla="*/ 7608849 w 9922465"/>
              <a:gd name="connsiteY255" fmla="*/ 1707182 h 1934496"/>
              <a:gd name="connsiteX256" fmla="*/ 7664041 w 9922465"/>
              <a:gd name="connsiteY256" fmla="*/ 1762373 h 1934496"/>
              <a:gd name="connsiteX257" fmla="*/ 7608849 w 9922465"/>
              <a:gd name="connsiteY257" fmla="*/ 1817564 h 1934496"/>
              <a:gd name="connsiteX258" fmla="*/ 7553657 w 9922465"/>
              <a:gd name="connsiteY258" fmla="*/ 1762373 h 1934496"/>
              <a:gd name="connsiteX259" fmla="*/ 7608849 w 9922465"/>
              <a:gd name="connsiteY259" fmla="*/ 1707182 h 1934496"/>
              <a:gd name="connsiteX260" fmla="*/ 7481895 w 9922465"/>
              <a:gd name="connsiteY260" fmla="*/ 1707182 h 1934496"/>
              <a:gd name="connsiteX261" fmla="*/ 7537087 w 9922465"/>
              <a:gd name="connsiteY261" fmla="*/ 1762373 h 1934496"/>
              <a:gd name="connsiteX262" fmla="*/ 7481895 w 9922465"/>
              <a:gd name="connsiteY262" fmla="*/ 1817564 h 1934496"/>
              <a:gd name="connsiteX263" fmla="*/ 7426703 w 9922465"/>
              <a:gd name="connsiteY263" fmla="*/ 1762373 h 1934496"/>
              <a:gd name="connsiteX264" fmla="*/ 7481895 w 9922465"/>
              <a:gd name="connsiteY264" fmla="*/ 1707182 h 1934496"/>
              <a:gd name="connsiteX265" fmla="*/ 7341579 w 9922465"/>
              <a:gd name="connsiteY265" fmla="*/ 1707182 h 1934496"/>
              <a:gd name="connsiteX266" fmla="*/ 7396771 w 9922465"/>
              <a:gd name="connsiteY266" fmla="*/ 1762373 h 1934496"/>
              <a:gd name="connsiteX267" fmla="*/ 7341579 w 9922465"/>
              <a:gd name="connsiteY267" fmla="*/ 1817564 h 1934496"/>
              <a:gd name="connsiteX268" fmla="*/ 7286387 w 9922465"/>
              <a:gd name="connsiteY268" fmla="*/ 1762373 h 1934496"/>
              <a:gd name="connsiteX269" fmla="*/ 7341579 w 9922465"/>
              <a:gd name="connsiteY269" fmla="*/ 1707182 h 1934496"/>
              <a:gd name="connsiteX270" fmla="*/ 7211286 w 9922465"/>
              <a:gd name="connsiteY270" fmla="*/ 1707182 h 1934496"/>
              <a:gd name="connsiteX271" fmla="*/ 7266478 w 9922465"/>
              <a:gd name="connsiteY271" fmla="*/ 1762373 h 1934496"/>
              <a:gd name="connsiteX272" fmla="*/ 7211286 w 9922465"/>
              <a:gd name="connsiteY272" fmla="*/ 1817564 h 1934496"/>
              <a:gd name="connsiteX273" fmla="*/ 7156094 w 9922465"/>
              <a:gd name="connsiteY273" fmla="*/ 1762373 h 1934496"/>
              <a:gd name="connsiteX274" fmla="*/ 7211286 w 9922465"/>
              <a:gd name="connsiteY274" fmla="*/ 1707182 h 1934496"/>
              <a:gd name="connsiteX275" fmla="*/ 7080993 w 9922465"/>
              <a:gd name="connsiteY275" fmla="*/ 1707182 h 1934496"/>
              <a:gd name="connsiteX276" fmla="*/ 7136185 w 9922465"/>
              <a:gd name="connsiteY276" fmla="*/ 1762373 h 1934496"/>
              <a:gd name="connsiteX277" fmla="*/ 7080993 w 9922465"/>
              <a:gd name="connsiteY277" fmla="*/ 1817564 h 1934496"/>
              <a:gd name="connsiteX278" fmla="*/ 7025801 w 9922465"/>
              <a:gd name="connsiteY278" fmla="*/ 1762373 h 1934496"/>
              <a:gd name="connsiteX279" fmla="*/ 7080993 w 9922465"/>
              <a:gd name="connsiteY279" fmla="*/ 1707182 h 1934496"/>
              <a:gd name="connsiteX280" fmla="*/ 6947357 w 9922465"/>
              <a:gd name="connsiteY280" fmla="*/ 1707182 h 1934496"/>
              <a:gd name="connsiteX281" fmla="*/ 7002549 w 9922465"/>
              <a:gd name="connsiteY281" fmla="*/ 1762373 h 1934496"/>
              <a:gd name="connsiteX282" fmla="*/ 6947357 w 9922465"/>
              <a:gd name="connsiteY282" fmla="*/ 1817564 h 1934496"/>
              <a:gd name="connsiteX283" fmla="*/ 6892165 w 9922465"/>
              <a:gd name="connsiteY283" fmla="*/ 1762373 h 1934496"/>
              <a:gd name="connsiteX284" fmla="*/ 6947357 w 9922465"/>
              <a:gd name="connsiteY284" fmla="*/ 1707182 h 1934496"/>
              <a:gd name="connsiteX285" fmla="*/ 6817063 w 9922465"/>
              <a:gd name="connsiteY285" fmla="*/ 1707182 h 1934496"/>
              <a:gd name="connsiteX286" fmla="*/ 6872255 w 9922465"/>
              <a:gd name="connsiteY286" fmla="*/ 1762373 h 1934496"/>
              <a:gd name="connsiteX287" fmla="*/ 6817063 w 9922465"/>
              <a:gd name="connsiteY287" fmla="*/ 1817564 h 1934496"/>
              <a:gd name="connsiteX288" fmla="*/ 6761871 w 9922465"/>
              <a:gd name="connsiteY288" fmla="*/ 1762373 h 1934496"/>
              <a:gd name="connsiteX289" fmla="*/ 6817063 w 9922465"/>
              <a:gd name="connsiteY289" fmla="*/ 1707182 h 1934496"/>
              <a:gd name="connsiteX290" fmla="*/ 6683431 w 9922465"/>
              <a:gd name="connsiteY290" fmla="*/ 1707182 h 1934496"/>
              <a:gd name="connsiteX291" fmla="*/ 6738623 w 9922465"/>
              <a:gd name="connsiteY291" fmla="*/ 1762373 h 1934496"/>
              <a:gd name="connsiteX292" fmla="*/ 6683431 w 9922465"/>
              <a:gd name="connsiteY292" fmla="*/ 1817564 h 1934496"/>
              <a:gd name="connsiteX293" fmla="*/ 6628239 w 9922465"/>
              <a:gd name="connsiteY293" fmla="*/ 1762373 h 1934496"/>
              <a:gd name="connsiteX294" fmla="*/ 6683431 w 9922465"/>
              <a:gd name="connsiteY294" fmla="*/ 1707182 h 1934496"/>
              <a:gd name="connsiteX295" fmla="*/ 6553137 w 9922465"/>
              <a:gd name="connsiteY295" fmla="*/ 1707182 h 1934496"/>
              <a:gd name="connsiteX296" fmla="*/ 6608329 w 9922465"/>
              <a:gd name="connsiteY296" fmla="*/ 1762373 h 1934496"/>
              <a:gd name="connsiteX297" fmla="*/ 6553137 w 9922465"/>
              <a:gd name="connsiteY297" fmla="*/ 1817564 h 1934496"/>
              <a:gd name="connsiteX298" fmla="*/ 6497945 w 9922465"/>
              <a:gd name="connsiteY298" fmla="*/ 1762373 h 1934496"/>
              <a:gd name="connsiteX299" fmla="*/ 6553137 w 9922465"/>
              <a:gd name="connsiteY299" fmla="*/ 1707182 h 1934496"/>
              <a:gd name="connsiteX300" fmla="*/ 6419502 w 9922465"/>
              <a:gd name="connsiteY300" fmla="*/ 1707182 h 1934496"/>
              <a:gd name="connsiteX301" fmla="*/ 6474694 w 9922465"/>
              <a:gd name="connsiteY301" fmla="*/ 1762373 h 1934496"/>
              <a:gd name="connsiteX302" fmla="*/ 6419502 w 9922465"/>
              <a:gd name="connsiteY302" fmla="*/ 1817564 h 1934496"/>
              <a:gd name="connsiteX303" fmla="*/ 6364310 w 9922465"/>
              <a:gd name="connsiteY303" fmla="*/ 1762373 h 1934496"/>
              <a:gd name="connsiteX304" fmla="*/ 6419502 w 9922465"/>
              <a:gd name="connsiteY304" fmla="*/ 1707182 h 1934496"/>
              <a:gd name="connsiteX305" fmla="*/ 6289207 w 9922465"/>
              <a:gd name="connsiteY305" fmla="*/ 1707182 h 1934496"/>
              <a:gd name="connsiteX306" fmla="*/ 6344399 w 9922465"/>
              <a:gd name="connsiteY306" fmla="*/ 1762373 h 1934496"/>
              <a:gd name="connsiteX307" fmla="*/ 6289207 w 9922465"/>
              <a:gd name="connsiteY307" fmla="*/ 1817564 h 1934496"/>
              <a:gd name="connsiteX308" fmla="*/ 6234015 w 9922465"/>
              <a:gd name="connsiteY308" fmla="*/ 1762373 h 1934496"/>
              <a:gd name="connsiteX309" fmla="*/ 6289207 w 9922465"/>
              <a:gd name="connsiteY309" fmla="*/ 1707182 h 1934496"/>
              <a:gd name="connsiteX310" fmla="*/ 6155572 w 9922465"/>
              <a:gd name="connsiteY310" fmla="*/ 1707182 h 1934496"/>
              <a:gd name="connsiteX311" fmla="*/ 6210764 w 9922465"/>
              <a:gd name="connsiteY311" fmla="*/ 1762373 h 1934496"/>
              <a:gd name="connsiteX312" fmla="*/ 6155572 w 9922465"/>
              <a:gd name="connsiteY312" fmla="*/ 1817564 h 1934496"/>
              <a:gd name="connsiteX313" fmla="*/ 6100380 w 9922465"/>
              <a:gd name="connsiteY313" fmla="*/ 1762373 h 1934496"/>
              <a:gd name="connsiteX314" fmla="*/ 6155572 w 9922465"/>
              <a:gd name="connsiteY314" fmla="*/ 1707182 h 1934496"/>
              <a:gd name="connsiteX315" fmla="*/ 6021938 w 9922465"/>
              <a:gd name="connsiteY315" fmla="*/ 1707182 h 1934496"/>
              <a:gd name="connsiteX316" fmla="*/ 6077130 w 9922465"/>
              <a:gd name="connsiteY316" fmla="*/ 1762373 h 1934496"/>
              <a:gd name="connsiteX317" fmla="*/ 6021938 w 9922465"/>
              <a:gd name="connsiteY317" fmla="*/ 1817564 h 1934496"/>
              <a:gd name="connsiteX318" fmla="*/ 5966746 w 9922465"/>
              <a:gd name="connsiteY318" fmla="*/ 1762373 h 1934496"/>
              <a:gd name="connsiteX319" fmla="*/ 6021938 w 9922465"/>
              <a:gd name="connsiteY319" fmla="*/ 1707182 h 1934496"/>
              <a:gd name="connsiteX320" fmla="*/ 5884964 w 9922465"/>
              <a:gd name="connsiteY320" fmla="*/ 1707182 h 1934496"/>
              <a:gd name="connsiteX321" fmla="*/ 5940156 w 9922465"/>
              <a:gd name="connsiteY321" fmla="*/ 1762373 h 1934496"/>
              <a:gd name="connsiteX322" fmla="*/ 5884964 w 9922465"/>
              <a:gd name="connsiteY322" fmla="*/ 1817564 h 1934496"/>
              <a:gd name="connsiteX323" fmla="*/ 5829772 w 9922465"/>
              <a:gd name="connsiteY323" fmla="*/ 1762373 h 1934496"/>
              <a:gd name="connsiteX324" fmla="*/ 5884964 w 9922465"/>
              <a:gd name="connsiteY324" fmla="*/ 1707182 h 1934496"/>
              <a:gd name="connsiteX325" fmla="*/ 5754670 w 9922465"/>
              <a:gd name="connsiteY325" fmla="*/ 1707182 h 1934496"/>
              <a:gd name="connsiteX326" fmla="*/ 5809862 w 9922465"/>
              <a:gd name="connsiteY326" fmla="*/ 1762373 h 1934496"/>
              <a:gd name="connsiteX327" fmla="*/ 5754670 w 9922465"/>
              <a:gd name="connsiteY327" fmla="*/ 1817564 h 1934496"/>
              <a:gd name="connsiteX328" fmla="*/ 5699478 w 9922465"/>
              <a:gd name="connsiteY328" fmla="*/ 1762373 h 1934496"/>
              <a:gd name="connsiteX329" fmla="*/ 5754670 w 9922465"/>
              <a:gd name="connsiteY329" fmla="*/ 1707182 h 1934496"/>
              <a:gd name="connsiteX330" fmla="*/ 5621035 w 9922465"/>
              <a:gd name="connsiteY330" fmla="*/ 1707182 h 1934496"/>
              <a:gd name="connsiteX331" fmla="*/ 5676227 w 9922465"/>
              <a:gd name="connsiteY331" fmla="*/ 1762373 h 1934496"/>
              <a:gd name="connsiteX332" fmla="*/ 5621035 w 9922465"/>
              <a:gd name="connsiteY332" fmla="*/ 1817564 h 1934496"/>
              <a:gd name="connsiteX333" fmla="*/ 5565843 w 9922465"/>
              <a:gd name="connsiteY333" fmla="*/ 1762373 h 1934496"/>
              <a:gd name="connsiteX334" fmla="*/ 5621035 w 9922465"/>
              <a:gd name="connsiteY334" fmla="*/ 1707182 h 1934496"/>
              <a:gd name="connsiteX335" fmla="*/ 5487399 w 9922465"/>
              <a:gd name="connsiteY335" fmla="*/ 1707182 h 1934496"/>
              <a:gd name="connsiteX336" fmla="*/ 5542591 w 9922465"/>
              <a:gd name="connsiteY336" fmla="*/ 1762373 h 1934496"/>
              <a:gd name="connsiteX337" fmla="*/ 5487399 w 9922465"/>
              <a:gd name="connsiteY337" fmla="*/ 1817564 h 1934496"/>
              <a:gd name="connsiteX338" fmla="*/ 5432207 w 9922465"/>
              <a:gd name="connsiteY338" fmla="*/ 1762373 h 1934496"/>
              <a:gd name="connsiteX339" fmla="*/ 5487399 w 9922465"/>
              <a:gd name="connsiteY339" fmla="*/ 1707182 h 1934496"/>
              <a:gd name="connsiteX340" fmla="*/ 5357105 w 9922465"/>
              <a:gd name="connsiteY340" fmla="*/ 1707182 h 1934496"/>
              <a:gd name="connsiteX341" fmla="*/ 5412297 w 9922465"/>
              <a:gd name="connsiteY341" fmla="*/ 1762373 h 1934496"/>
              <a:gd name="connsiteX342" fmla="*/ 5357105 w 9922465"/>
              <a:gd name="connsiteY342" fmla="*/ 1817564 h 1934496"/>
              <a:gd name="connsiteX343" fmla="*/ 5301913 w 9922465"/>
              <a:gd name="connsiteY343" fmla="*/ 1762373 h 1934496"/>
              <a:gd name="connsiteX344" fmla="*/ 5357105 w 9922465"/>
              <a:gd name="connsiteY344" fmla="*/ 1707182 h 1934496"/>
              <a:gd name="connsiteX345" fmla="*/ 5223473 w 9922465"/>
              <a:gd name="connsiteY345" fmla="*/ 1707182 h 1934496"/>
              <a:gd name="connsiteX346" fmla="*/ 5278665 w 9922465"/>
              <a:gd name="connsiteY346" fmla="*/ 1762373 h 1934496"/>
              <a:gd name="connsiteX347" fmla="*/ 5223473 w 9922465"/>
              <a:gd name="connsiteY347" fmla="*/ 1817564 h 1934496"/>
              <a:gd name="connsiteX348" fmla="*/ 5168281 w 9922465"/>
              <a:gd name="connsiteY348" fmla="*/ 1762373 h 1934496"/>
              <a:gd name="connsiteX349" fmla="*/ 5223473 w 9922465"/>
              <a:gd name="connsiteY349" fmla="*/ 1707182 h 1934496"/>
              <a:gd name="connsiteX350" fmla="*/ 5093178 w 9922465"/>
              <a:gd name="connsiteY350" fmla="*/ 1707182 h 1934496"/>
              <a:gd name="connsiteX351" fmla="*/ 5148370 w 9922465"/>
              <a:gd name="connsiteY351" fmla="*/ 1762373 h 1934496"/>
              <a:gd name="connsiteX352" fmla="*/ 5093178 w 9922465"/>
              <a:gd name="connsiteY352" fmla="*/ 1817564 h 1934496"/>
              <a:gd name="connsiteX353" fmla="*/ 5037986 w 9922465"/>
              <a:gd name="connsiteY353" fmla="*/ 1762373 h 1934496"/>
              <a:gd name="connsiteX354" fmla="*/ 5093178 w 9922465"/>
              <a:gd name="connsiteY354" fmla="*/ 1707182 h 1934496"/>
              <a:gd name="connsiteX355" fmla="*/ 4959543 w 9922465"/>
              <a:gd name="connsiteY355" fmla="*/ 1707182 h 1934496"/>
              <a:gd name="connsiteX356" fmla="*/ 5014735 w 9922465"/>
              <a:gd name="connsiteY356" fmla="*/ 1762373 h 1934496"/>
              <a:gd name="connsiteX357" fmla="*/ 4959543 w 9922465"/>
              <a:gd name="connsiteY357" fmla="*/ 1817564 h 1934496"/>
              <a:gd name="connsiteX358" fmla="*/ 4904351 w 9922465"/>
              <a:gd name="connsiteY358" fmla="*/ 1762373 h 1934496"/>
              <a:gd name="connsiteX359" fmla="*/ 4959543 w 9922465"/>
              <a:gd name="connsiteY359" fmla="*/ 1707182 h 1934496"/>
              <a:gd name="connsiteX360" fmla="*/ 4829251 w 9922465"/>
              <a:gd name="connsiteY360" fmla="*/ 1707182 h 1934496"/>
              <a:gd name="connsiteX361" fmla="*/ 4884443 w 9922465"/>
              <a:gd name="connsiteY361" fmla="*/ 1762373 h 1934496"/>
              <a:gd name="connsiteX362" fmla="*/ 4829251 w 9922465"/>
              <a:gd name="connsiteY362" fmla="*/ 1817564 h 1934496"/>
              <a:gd name="connsiteX363" fmla="*/ 4774059 w 9922465"/>
              <a:gd name="connsiteY363" fmla="*/ 1762373 h 1934496"/>
              <a:gd name="connsiteX364" fmla="*/ 4829251 w 9922465"/>
              <a:gd name="connsiteY364" fmla="*/ 1707182 h 1934496"/>
              <a:gd name="connsiteX365" fmla="*/ 4695613 w 9922465"/>
              <a:gd name="connsiteY365" fmla="*/ 1707182 h 1934496"/>
              <a:gd name="connsiteX366" fmla="*/ 4750805 w 9922465"/>
              <a:gd name="connsiteY366" fmla="*/ 1762373 h 1934496"/>
              <a:gd name="connsiteX367" fmla="*/ 4695613 w 9922465"/>
              <a:gd name="connsiteY367" fmla="*/ 1817564 h 1934496"/>
              <a:gd name="connsiteX368" fmla="*/ 4640421 w 9922465"/>
              <a:gd name="connsiteY368" fmla="*/ 1762373 h 1934496"/>
              <a:gd name="connsiteX369" fmla="*/ 4695613 w 9922465"/>
              <a:gd name="connsiteY369" fmla="*/ 1707182 h 1934496"/>
              <a:gd name="connsiteX370" fmla="*/ 3098681 w 9922465"/>
              <a:gd name="connsiteY370" fmla="*/ 1707182 h 1934496"/>
              <a:gd name="connsiteX371" fmla="*/ 3153873 w 9922465"/>
              <a:gd name="connsiteY371" fmla="*/ 1762373 h 1934496"/>
              <a:gd name="connsiteX372" fmla="*/ 3098681 w 9922465"/>
              <a:gd name="connsiteY372" fmla="*/ 1817564 h 1934496"/>
              <a:gd name="connsiteX373" fmla="*/ 3043489 w 9922465"/>
              <a:gd name="connsiteY373" fmla="*/ 1762373 h 1934496"/>
              <a:gd name="connsiteX374" fmla="*/ 3098681 w 9922465"/>
              <a:gd name="connsiteY374" fmla="*/ 1707182 h 1934496"/>
              <a:gd name="connsiteX375" fmla="*/ 2971729 w 9922465"/>
              <a:gd name="connsiteY375" fmla="*/ 1707182 h 1934496"/>
              <a:gd name="connsiteX376" fmla="*/ 3026921 w 9922465"/>
              <a:gd name="connsiteY376" fmla="*/ 1762373 h 1934496"/>
              <a:gd name="connsiteX377" fmla="*/ 2971729 w 9922465"/>
              <a:gd name="connsiteY377" fmla="*/ 1817564 h 1934496"/>
              <a:gd name="connsiteX378" fmla="*/ 2916537 w 9922465"/>
              <a:gd name="connsiteY378" fmla="*/ 1762373 h 1934496"/>
              <a:gd name="connsiteX379" fmla="*/ 2971729 w 9922465"/>
              <a:gd name="connsiteY379" fmla="*/ 1707182 h 1934496"/>
              <a:gd name="connsiteX380" fmla="*/ 2834772 w 9922465"/>
              <a:gd name="connsiteY380" fmla="*/ 1707182 h 1934496"/>
              <a:gd name="connsiteX381" fmla="*/ 2889964 w 9922465"/>
              <a:gd name="connsiteY381" fmla="*/ 1762373 h 1934496"/>
              <a:gd name="connsiteX382" fmla="*/ 2834772 w 9922465"/>
              <a:gd name="connsiteY382" fmla="*/ 1817564 h 1934496"/>
              <a:gd name="connsiteX383" fmla="*/ 2779580 w 9922465"/>
              <a:gd name="connsiteY383" fmla="*/ 1762373 h 1934496"/>
              <a:gd name="connsiteX384" fmla="*/ 2834772 w 9922465"/>
              <a:gd name="connsiteY384" fmla="*/ 1707182 h 1934496"/>
              <a:gd name="connsiteX385" fmla="*/ 2707817 w 9922465"/>
              <a:gd name="connsiteY385" fmla="*/ 1707182 h 1934496"/>
              <a:gd name="connsiteX386" fmla="*/ 2763009 w 9922465"/>
              <a:gd name="connsiteY386" fmla="*/ 1762373 h 1934496"/>
              <a:gd name="connsiteX387" fmla="*/ 2707817 w 9922465"/>
              <a:gd name="connsiteY387" fmla="*/ 1817564 h 1934496"/>
              <a:gd name="connsiteX388" fmla="*/ 2652625 w 9922465"/>
              <a:gd name="connsiteY388" fmla="*/ 1762373 h 1934496"/>
              <a:gd name="connsiteX389" fmla="*/ 2707817 w 9922465"/>
              <a:gd name="connsiteY389" fmla="*/ 1707182 h 1934496"/>
              <a:gd name="connsiteX390" fmla="*/ 2570843 w 9922465"/>
              <a:gd name="connsiteY390" fmla="*/ 1707182 h 1934496"/>
              <a:gd name="connsiteX391" fmla="*/ 2626036 w 9922465"/>
              <a:gd name="connsiteY391" fmla="*/ 1762373 h 1934496"/>
              <a:gd name="connsiteX392" fmla="*/ 2570843 w 9922465"/>
              <a:gd name="connsiteY392" fmla="*/ 1817564 h 1934496"/>
              <a:gd name="connsiteX393" fmla="*/ 2515651 w 9922465"/>
              <a:gd name="connsiteY393" fmla="*/ 1762373 h 1934496"/>
              <a:gd name="connsiteX394" fmla="*/ 2570843 w 9922465"/>
              <a:gd name="connsiteY394" fmla="*/ 1707182 h 1934496"/>
              <a:gd name="connsiteX395" fmla="*/ 2437207 w 9922465"/>
              <a:gd name="connsiteY395" fmla="*/ 1707182 h 1934496"/>
              <a:gd name="connsiteX396" fmla="*/ 2492398 w 9922465"/>
              <a:gd name="connsiteY396" fmla="*/ 1762373 h 1934496"/>
              <a:gd name="connsiteX397" fmla="*/ 2437207 w 9922465"/>
              <a:gd name="connsiteY397" fmla="*/ 1817564 h 1934496"/>
              <a:gd name="connsiteX398" fmla="*/ 2382015 w 9922465"/>
              <a:gd name="connsiteY398" fmla="*/ 1762373 h 1934496"/>
              <a:gd name="connsiteX399" fmla="*/ 2437207 w 9922465"/>
              <a:gd name="connsiteY399" fmla="*/ 1707182 h 1934496"/>
              <a:gd name="connsiteX400" fmla="*/ 2303575 w 9922465"/>
              <a:gd name="connsiteY400" fmla="*/ 1707182 h 1934496"/>
              <a:gd name="connsiteX401" fmla="*/ 2358767 w 9922465"/>
              <a:gd name="connsiteY401" fmla="*/ 1762373 h 1934496"/>
              <a:gd name="connsiteX402" fmla="*/ 2303575 w 9922465"/>
              <a:gd name="connsiteY402" fmla="*/ 1817564 h 1934496"/>
              <a:gd name="connsiteX403" fmla="*/ 2248383 w 9922465"/>
              <a:gd name="connsiteY403" fmla="*/ 1762373 h 1934496"/>
              <a:gd name="connsiteX404" fmla="*/ 2303575 w 9922465"/>
              <a:gd name="connsiteY404" fmla="*/ 1707182 h 1934496"/>
              <a:gd name="connsiteX405" fmla="*/ 2173282 w 9922465"/>
              <a:gd name="connsiteY405" fmla="*/ 1707182 h 1934496"/>
              <a:gd name="connsiteX406" fmla="*/ 2228474 w 9922465"/>
              <a:gd name="connsiteY406" fmla="*/ 1762373 h 1934496"/>
              <a:gd name="connsiteX407" fmla="*/ 2173282 w 9922465"/>
              <a:gd name="connsiteY407" fmla="*/ 1817564 h 1934496"/>
              <a:gd name="connsiteX408" fmla="*/ 2118090 w 9922465"/>
              <a:gd name="connsiteY408" fmla="*/ 1762373 h 1934496"/>
              <a:gd name="connsiteX409" fmla="*/ 2173282 w 9922465"/>
              <a:gd name="connsiteY409" fmla="*/ 1707182 h 1934496"/>
              <a:gd name="connsiteX410" fmla="*/ 2039648 w 9922465"/>
              <a:gd name="connsiteY410" fmla="*/ 1707182 h 1934496"/>
              <a:gd name="connsiteX411" fmla="*/ 2094840 w 9922465"/>
              <a:gd name="connsiteY411" fmla="*/ 1762373 h 1934496"/>
              <a:gd name="connsiteX412" fmla="*/ 2039648 w 9922465"/>
              <a:gd name="connsiteY412" fmla="*/ 1817564 h 1934496"/>
              <a:gd name="connsiteX413" fmla="*/ 1984455 w 9922465"/>
              <a:gd name="connsiteY413" fmla="*/ 1762373 h 1934496"/>
              <a:gd name="connsiteX414" fmla="*/ 2039648 w 9922465"/>
              <a:gd name="connsiteY414" fmla="*/ 1707182 h 1934496"/>
              <a:gd name="connsiteX415" fmla="*/ 1909353 w 9922465"/>
              <a:gd name="connsiteY415" fmla="*/ 1707182 h 1934496"/>
              <a:gd name="connsiteX416" fmla="*/ 1964545 w 9922465"/>
              <a:gd name="connsiteY416" fmla="*/ 1762373 h 1934496"/>
              <a:gd name="connsiteX417" fmla="*/ 1909353 w 9922465"/>
              <a:gd name="connsiteY417" fmla="*/ 1817564 h 1934496"/>
              <a:gd name="connsiteX418" fmla="*/ 1854161 w 9922465"/>
              <a:gd name="connsiteY418" fmla="*/ 1762373 h 1934496"/>
              <a:gd name="connsiteX419" fmla="*/ 1909353 w 9922465"/>
              <a:gd name="connsiteY419" fmla="*/ 1707182 h 1934496"/>
              <a:gd name="connsiteX420" fmla="*/ 1779058 w 9922465"/>
              <a:gd name="connsiteY420" fmla="*/ 1707182 h 1934496"/>
              <a:gd name="connsiteX421" fmla="*/ 1834251 w 9922465"/>
              <a:gd name="connsiteY421" fmla="*/ 1762373 h 1934496"/>
              <a:gd name="connsiteX422" fmla="*/ 1779058 w 9922465"/>
              <a:gd name="connsiteY422" fmla="*/ 1817564 h 1934496"/>
              <a:gd name="connsiteX423" fmla="*/ 1723867 w 9922465"/>
              <a:gd name="connsiteY423" fmla="*/ 1762373 h 1934496"/>
              <a:gd name="connsiteX424" fmla="*/ 1779058 w 9922465"/>
              <a:gd name="connsiteY424" fmla="*/ 1707182 h 1934496"/>
              <a:gd name="connsiteX425" fmla="*/ 1645422 w 9922465"/>
              <a:gd name="connsiteY425" fmla="*/ 1707182 h 1934496"/>
              <a:gd name="connsiteX426" fmla="*/ 1700617 w 9922465"/>
              <a:gd name="connsiteY426" fmla="*/ 1762373 h 1934496"/>
              <a:gd name="connsiteX427" fmla="*/ 1645422 w 9922465"/>
              <a:gd name="connsiteY427" fmla="*/ 1817564 h 1934496"/>
              <a:gd name="connsiteX428" fmla="*/ 1590230 w 9922465"/>
              <a:gd name="connsiteY428" fmla="*/ 1762373 h 1934496"/>
              <a:gd name="connsiteX429" fmla="*/ 1645422 w 9922465"/>
              <a:gd name="connsiteY429" fmla="*/ 1707182 h 1934496"/>
              <a:gd name="connsiteX430" fmla="*/ 1515130 w 9922465"/>
              <a:gd name="connsiteY430" fmla="*/ 1707182 h 1934496"/>
              <a:gd name="connsiteX431" fmla="*/ 1570322 w 9922465"/>
              <a:gd name="connsiteY431" fmla="*/ 1762373 h 1934496"/>
              <a:gd name="connsiteX432" fmla="*/ 1515130 w 9922465"/>
              <a:gd name="connsiteY432" fmla="*/ 1817564 h 1934496"/>
              <a:gd name="connsiteX433" fmla="*/ 1459938 w 9922465"/>
              <a:gd name="connsiteY433" fmla="*/ 1762373 h 1934496"/>
              <a:gd name="connsiteX434" fmla="*/ 1515130 w 9922465"/>
              <a:gd name="connsiteY434" fmla="*/ 1707182 h 1934496"/>
              <a:gd name="connsiteX435" fmla="*/ 1381494 w 9922465"/>
              <a:gd name="connsiteY435" fmla="*/ 1707182 h 1934496"/>
              <a:gd name="connsiteX436" fmla="*/ 1436688 w 9922465"/>
              <a:gd name="connsiteY436" fmla="*/ 1762373 h 1934496"/>
              <a:gd name="connsiteX437" fmla="*/ 1381494 w 9922465"/>
              <a:gd name="connsiteY437" fmla="*/ 1817564 h 1934496"/>
              <a:gd name="connsiteX438" fmla="*/ 1326303 w 9922465"/>
              <a:gd name="connsiteY438" fmla="*/ 1762373 h 1934496"/>
              <a:gd name="connsiteX439" fmla="*/ 1381494 w 9922465"/>
              <a:gd name="connsiteY439" fmla="*/ 1707182 h 1934496"/>
              <a:gd name="connsiteX440" fmla="*/ 1251201 w 9922465"/>
              <a:gd name="connsiteY440" fmla="*/ 1707182 h 1934496"/>
              <a:gd name="connsiteX441" fmla="*/ 1306393 w 9922465"/>
              <a:gd name="connsiteY441" fmla="*/ 1762373 h 1934496"/>
              <a:gd name="connsiteX442" fmla="*/ 1251201 w 9922465"/>
              <a:gd name="connsiteY442" fmla="*/ 1817564 h 1934496"/>
              <a:gd name="connsiteX443" fmla="*/ 1196010 w 9922465"/>
              <a:gd name="connsiteY443" fmla="*/ 1762373 h 1934496"/>
              <a:gd name="connsiteX444" fmla="*/ 1251201 w 9922465"/>
              <a:gd name="connsiteY444" fmla="*/ 1707182 h 1934496"/>
              <a:gd name="connsiteX445" fmla="*/ 1909361 w 9922465"/>
              <a:gd name="connsiteY445" fmla="*/ 1580232 h 1934496"/>
              <a:gd name="connsiteX446" fmla="*/ 1964554 w 9922465"/>
              <a:gd name="connsiteY446" fmla="*/ 1635423 h 1934496"/>
              <a:gd name="connsiteX447" fmla="*/ 1909361 w 9922465"/>
              <a:gd name="connsiteY447" fmla="*/ 1690614 h 1934496"/>
              <a:gd name="connsiteX448" fmla="*/ 1854168 w 9922465"/>
              <a:gd name="connsiteY448" fmla="*/ 1635423 h 1934496"/>
              <a:gd name="connsiteX449" fmla="*/ 1909361 w 9922465"/>
              <a:gd name="connsiteY449" fmla="*/ 1580232 h 1934496"/>
              <a:gd name="connsiteX450" fmla="*/ 1779065 w 9922465"/>
              <a:gd name="connsiteY450" fmla="*/ 1580232 h 1934496"/>
              <a:gd name="connsiteX451" fmla="*/ 1834257 w 9922465"/>
              <a:gd name="connsiteY451" fmla="*/ 1635423 h 1934496"/>
              <a:gd name="connsiteX452" fmla="*/ 1779065 w 9922465"/>
              <a:gd name="connsiteY452" fmla="*/ 1690614 h 1934496"/>
              <a:gd name="connsiteX453" fmla="*/ 1723872 w 9922465"/>
              <a:gd name="connsiteY453" fmla="*/ 1635423 h 1934496"/>
              <a:gd name="connsiteX454" fmla="*/ 1779065 w 9922465"/>
              <a:gd name="connsiteY454" fmla="*/ 1580232 h 1934496"/>
              <a:gd name="connsiteX455" fmla="*/ 1645431 w 9922465"/>
              <a:gd name="connsiteY455" fmla="*/ 1580232 h 1934496"/>
              <a:gd name="connsiteX456" fmla="*/ 1700623 w 9922465"/>
              <a:gd name="connsiteY456" fmla="*/ 1635423 h 1934496"/>
              <a:gd name="connsiteX457" fmla="*/ 1645431 w 9922465"/>
              <a:gd name="connsiteY457" fmla="*/ 1690614 h 1934496"/>
              <a:gd name="connsiteX458" fmla="*/ 1590238 w 9922465"/>
              <a:gd name="connsiteY458" fmla="*/ 1635423 h 1934496"/>
              <a:gd name="connsiteX459" fmla="*/ 1645431 w 9922465"/>
              <a:gd name="connsiteY459" fmla="*/ 1580232 h 1934496"/>
              <a:gd name="connsiteX460" fmla="*/ 1515140 w 9922465"/>
              <a:gd name="connsiteY460" fmla="*/ 1580232 h 1934496"/>
              <a:gd name="connsiteX461" fmla="*/ 1570329 w 9922465"/>
              <a:gd name="connsiteY461" fmla="*/ 1635423 h 1934496"/>
              <a:gd name="connsiteX462" fmla="*/ 1515140 w 9922465"/>
              <a:gd name="connsiteY462" fmla="*/ 1690614 h 1934496"/>
              <a:gd name="connsiteX463" fmla="*/ 1459945 w 9922465"/>
              <a:gd name="connsiteY463" fmla="*/ 1635423 h 1934496"/>
              <a:gd name="connsiteX464" fmla="*/ 1515140 w 9922465"/>
              <a:gd name="connsiteY464" fmla="*/ 1580232 h 1934496"/>
              <a:gd name="connsiteX465" fmla="*/ 1381504 w 9922465"/>
              <a:gd name="connsiteY465" fmla="*/ 1580232 h 1934496"/>
              <a:gd name="connsiteX466" fmla="*/ 1436697 w 9922465"/>
              <a:gd name="connsiteY466" fmla="*/ 1635423 h 1934496"/>
              <a:gd name="connsiteX467" fmla="*/ 1381504 w 9922465"/>
              <a:gd name="connsiteY467" fmla="*/ 1690614 h 1934496"/>
              <a:gd name="connsiteX468" fmla="*/ 1326312 w 9922465"/>
              <a:gd name="connsiteY468" fmla="*/ 1635423 h 1934496"/>
              <a:gd name="connsiteX469" fmla="*/ 1381504 w 9922465"/>
              <a:gd name="connsiteY469" fmla="*/ 1580232 h 1934496"/>
              <a:gd name="connsiteX470" fmla="*/ 1251210 w 9922465"/>
              <a:gd name="connsiteY470" fmla="*/ 1580232 h 1934496"/>
              <a:gd name="connsiteX471" fmla="*/ 1306401 w 9922465"/>
              <a:gd name="connsiteY471" fmla="*/ 1635423 h 1934496"/>
              <a:gd name="connsiteX472" fmla="*/ 1251210 w 9922465"/>
              <a:gd name="connsiteY472" fmla="*/ 1690614 h 1934496"/>
              <a:gd name="connsiteX473" fmla="*/ 1196016 w 9922465"/>
              <a:gd name="connsiteY473" fmla="*/ 1635423 h 1934496"/>
              <a:gd name="connsiteX474" fmla="*/ 1251210 w 9922465"/>
              <a:gd name="connsiteY474" fmla="*/ 1580232 h 1934496"/>
              <a:gd name="connsiteX475" fmla="*/ 9068806 w 9922465"/>
              <a:gd name="connsiteY475" fmla="*/ 1580228 h 1934496"/>
              <a:gd name="connsiteX476" fmla="*/ 9123998 w 9922465"/>
              <a:gd name="connsiteY476" fmla="*/ 1635419 h 1934496"/>
              <a:gd name="connsiteX477" fmla="*/ 9068806 w 9922465"/>
              <a:gd name="connsiteY477" fmla="*/ 1690610 h 1934496"/>
              <a:gd name="connsiteX478" fmla="*/ 9013614 w 9922465"/>
              <a:gd name="connsiteY478" fmla="*/ 1635419 h 1934496"/>
              <a:gd name="connsiteX479" fmla="*/ 9068806 w 9922465"/>
              <a:gd name="connsiteY479" fmla="*/ 1580228 h 1934496"/>
              <a:gd name="connsiteX480" fmla="*/ 8671243 w 9922465"/>
              <a:gd name="connsiteY480" fmla="*/ 1580228 h 1934496"/>
              <a:gd name="connsiteX481" fmla="*/ 8726435 w 9922465"/>
              <a:gd name="connsiteY481" fmla="*/ 1635419 h 1934496"/>
              <a:gd name="connsiteX482" fmla="*/ 8671243 w 9922465"/>
              <a:gd name="connsiteY482" fmla="*/ 1690610 h 1934496"/>
              <a:gd name="connsiteX483" fmla="*/ 8616051 w 9922465"/>
              <a:gd name="connsiteY483" fmla="*/ 1635419 h 1934496"/>
              <a:gd name="connsiteX484" fmla="*/ 8671243 w 9922465"/>
              <a:gd name="connsiteY484" fmla="*/ 1580228 h 1934496"/>
              <a:gd name="connsiteX485" fmla="*/ 8537609 w 9922465"/>
              <a:gd name="connsiteY485" fmla="*/ 1580228 h 1934496"/>
              <a:gd name="connsiteX486" fmla="*/ 8592801 w 9922465"/>
              <a:gd name="connsiteY486" fmla="*/ 1635419 h 1934496"/>
              <a:gd name="connsiteX487" fmla="*/ 8537609 w 9922465"/>
              <a:gd name="connsiteY487" fmla="*/ 1690610 h 1934496"/>
              <a:gd name="connsiteX488" fmla="*/ 8482417 w 9922465"/>
              <a:gd name="connsiteY488" fmla="*/ 1635419 h 1934496"/>
              <a:gd name="connsiteX489" fmla="*/ 8537609 w 9922465"/>
              <a:gd name="connsiteY489" fmla="*/ 1580228 h 1934496"/>
              <a:gd name="connsiteX490" fmla="*/ 8407318 w 9922465"/>
              <a:gd name="connsiteY490" fmla="*/ 1580228 h 1934496"/>
              <a:gd name="connsiteX491" fmla="*/ 8462510 w 9922465"/>
              <a:gd name="connsiteY491" fmla="*/ 1635419 h 1934496"/>
              <a:gd name="connsiteX492" fmla="*/ 8407318 w 9922465"/>
              <a:gd name="connsiteY492" fmla="*/ 1690610 h 1934496"/>
              <a:gd name="connsiteX493" fmla="*/ 8352126 w 9922465"/>
              <a:gd name="connsiteY493" fmla="*/ 1635419 h 1934496"/>
              <a:gd name="connsiteX494" fmla="*/ 8407318 w 9922465"/>
              <a:gd name="connsiteY494" fmla="*/ 1580228 h 1934496"/>
              <a:gd name="connsiteX495" fmla="*/ 8273682 w 9922465"/>
              <a:gd name="connsiteY495" fmla="*/ 1580228 h 1934496"/>
              <a:gd name="connsiteX496" fmla="*/ 8328874 w 9922465"/>
              <a:gd name="connsiteY496" fmla="*/ 1635419 h 1934496"/>
              <a:gd name="connsiteX497" fmla="*/ 8273682 w 9922465"/>
              <a:gd name="connsiteY497" fmla="*/ 1690610 h 1934496"/>
              <a:gd name="connsiteX498" fmla="*/ 8218490 w 9922465"/>
              <a:gd name="connsiteY498" fmla="*/ 1635419 h 1934496"/>
              <a:gd name="connsiteX499" fmla="*/ 8273682 w 9922465"/>
              <a:gd name="connsiteY499" fmla="*/ 1580228 h 1934496"/>
              <a:gd name="connsiteX500" fmla="*/ 8143386 w 9922465"/>
              <a:gd name="connsiteY500" fmla="*/ 1580228 h 1934496"/>
              <a:gd name="connsiteX501" fmla="*/ 8198578 w 9922465"/>
              <a:gd name="connsiteY501" fmla="*/ 1635419 h 1934496"/>
              <a:gd name="connsiteX502" fmla="*/ 8143386 w 9922465"/>
              <a:gd name="connsiteY502" fmla="*/ 1690610 h 1934496"/>
              <a:gd name="connsiteX503" fmla="*/ 8088194 w 9922465"/>
              <a:gd name="connsiteY503" fmla="*/ 1635419 h 1934496"/>
              <a:gd name="connsiteX504" fmla="*/ 8143386 w 9922465"/>
              <a:gd name="connsiteY504" fmla="*/ 1580228 h 1934496"/>
              <a:gd name="connsiteX505" fmla="*/ 8009752 w 9922465"/>
              <a:gd name="connsiteY505" fmla="*/ 1580228 h 1934496"/>
              <a:gd name="connsiteX506" fmla="*/ 8064944 w 9922465"/>
              <a:gd name="connsiteY506" fmla="*/ 1635419 h 1934496"/>
              <a:gd name="connsiteX507" fmla="*/ 8009752 w 9922465"/>
              <a:gd name="connsiteY507" fmla="*/ 1690610 h 1934496"/>
              <a:gd name="connsiteX508" fmla="*/ 7954560 w 9922465"/>
              <a:gd name="connsiteY508" fmla="*/ 1635419 h 1934496"/>
              <a:gd name="connsiteX509" fmla="*/ 8009752 w 9922465"/>
              <a:gd name="connsiteY509" fmla="*/ 1580228 h 1934496"/>
              <a:gd name="connsiteX510" fmla="*/ 7876117 w 9922465"/>
              <a:gd name="connsiteY510" fmla="*/ 1580228 h 1934496"/>
              <a:gd name="connsiteX511" fmla="*/ 7931309 w 9922465"/>
              <a:gd name="connsiteY511" fmla="*/ 1635419 h 1934496"/>
              <a:gd name="connsiteX512" fmla="*/ 7876117 w 9922465"/>
              <a:gd name="connsiteY512" fmla="*/ 1690610 h 1934496"/>
              <a:gd name="connsiteX513" fmla="*/ 7820925 w 9922465"/>
              <a:gd name="connsiteY513" fmla="*/ 1635419 h 1934496"/>
              <a:gd name="connsiteX514" fmla="*/ 7876117 w 9922465"/>
              <a:gd name="connsiteY514" fmla="*/ 1580228 h 1934496"/>
              <a:gd name="connsiteX515" fmla="*/ 7745824 w 9922465"/>
              <a:gd name="connsiteY515" fmla="*/ 1580228 h 1934496"/>
              <a:gd name="connsiteX516" fmla="*/ 7801016 w 9922465"/>
              <a:gd name="connsiteY516" fmla="*/ 1635419 h 1934496"/>
              <a:gd name="connsiteX517" fmla="*/ 7745824 w 9922465"/>
              <a:gd name="connsiteY517" fmla="*/ 1690610 h 1934496"/>
              <a:gd name="connsiteX518" fmla="*/ 7690632 w 9922465"/>
              <a:gd name="connsiteY518" fmla="*/ 1635419 h 1934496"/>
              <a:gd name="connsiteX519" fmla="*/ 7745824 w 9922465"/>
              <a:gd name="connsiteY519" fmla="*/ 1580228 h 1934496"/>
              <a:gd name="connsiteX520" fmla="*/ 7608849 w 9922465"/>
              <a:gd name="connsiteY520" fmla="*/ 1580228 h 1934496"/>
              <a:gd name="connsiteX521" fmla="*/ 7664041 w 9922465"/>
              <a:gd name="connsiteY521" fmla="*/ 1635419 h 1934496"/>
              <a:gd name="connsiteX522" fmla="*/ 7608849 w 9922465"/>
              <a:gd name="connsiteY522" fmla="*/ 1690610 h 1934496"/>
              <a:gd name="connsiteX523" fmla="*/ 7553657 w 9922465"/>
              <a:gd name="connsiteY523" fmla="*/ 1635419 h 1934496"/>
              <a:gd name="connsiteX524" fmla="*/ 7608849 w 9922465"/>
              <a:gd name="connsiteY524" fmla="*/ 1580228 h 1934496"/>
              <a:gd name="connsiteX525" fmla="*/ 7481895 w 9922465"/>
              <a:gd name="connsiteY525" fmla="*/ 1580228 h 1934496"/>
              <a:gd name="connsiteX526" fmla="*/ 7537087 w 9922465"/>
              <a:gd name="connsiteY526" fmla="*/ 1635419 h 1934496"/>
              <a:gd name="connsiteX527" fmla="*/ 7481895 w 9922465"/>
              <a:gd name="connsiteY527" fmla="*/ 1690610 h 1934496"/>
              <a:gd name="connsiteX528" fmla="*/ 7426703 w 9922465"/>
              <a:gd name="connsiteY528" fmla="*/ 1635419 h 1934496"/>
              <a:gd name="connsiteX529" fmla="*/ 7481895 w 9922465"/>
              <a:gd name="connsiteY529" fmla="*/ 1580228 h 1934496"/>
              <a:gd name="connsiteX530" fmla="*/ 7341579 w 9922465"/>
              <a:gd name="connsiteY530" fmla="*/ 1580228 h 1934496"/>
              <a:gd name="connsiteX531" fmla="*/ 7396771 w 9922465"/>
              <a:gd name="connsiteY531" fmla="*/ 1635419 h 1934496"/>
              <a:gd name="connsiteX532" fmla="*/ 7341579 w 9922465"/>
              <a:gd name="connsiteY532" fmla="*/ 1690610 h 1934496"/>
              <a:gd name="connsiteX533" fmla="*/ 7286387 w 9922465"/>
              <a:gd name="connsiteY533" fmla="*/ 1635419 h 1934496"/>
              <a:gd name="connsiteX534" fmla="*/ 7341579 w 9922465"/>
              <a:gd name="connsiteY534" fmla="*/ 1580228 h 1934496"/>
              <a:gd name="connsiteX535" fmla="*/ 7211286 w 9922465"/>
              <a:gd name="connsiteY535" fmla="*/ 1580228 h 1934496"/>
              <a:gd name="connsiteX536" fmla="*/ 7266478 w 9922465"/>
              <a:gd name="connsiteY536" fmla="*/ 1635419 h 1934496"/>
              <a:gd name="connsiteX537" fmla="*/ 7211286 w 9922465"/>
              <a:gd name="connsiteY537" fmla="*/ 1690610 h 1934496"/>
              <a:gd name="connsiteX538" fmla="*/ 7156094 w 9922465"/>
              <a:gd name="connsiteY538" fmla="*/ 1635419 h 1934496"/>
              <a:gd name="connsiteX539" fmla="*/ 7211286 w 9922465"/>
              <a:gd name="connsiteY539" fmla="*/ 1580228 h 1934496"/>
              <a:gd name="connsiteX540" fmla="*/ 7080993 w 9922465"/>
              <a:gd name="connsiteY540" fmla="*/ 1580228 h 1934496"/>
              <a:gd name="connsiteX541" fmla="*/ 7136185 w 9922465"/>
              <a:gd name="connsiteY541" fmla="*/ 1635419 h 1934496"/>
              <a:gd name="connsiteX542" fmla="*/ 7080993 w 9922465"/>
              <a:gd name="connsiteY542" fmla="*/ 1690610 h 1934496"/>
              <a:gd name="connsiteX543" fmla="*/ 7025801 w 9922465"/>
              <a:gd name="connsiteY543" fmla="*/ 1635419 h 1934496"/>
              <a:gd name="connsiteX544" fmla="*/ 7080993 w 9922465"/>
              <a:gd name="connsiteY544" fmla="*/ 1580228 h 1934496"/>
              <a:gd name="connsiteX545" fmla="*/ 6947357 w 9922465"/>
              <a:gd name="connsiteY545" fmla="*/ 1580228 h 1934496"/>
              <a:gd name="connsiteX546" fmla="*/ 7002549 w 9922465"/>
              <a:gd name="connsiteY546" fmla="*/ 1635419 h 1934496"/>
              <a:gd name="connsiteX547" fmla="*/ 6947357 w 9922465"/>
              <a:gd name="connsiteY547" fmla="*/ 1690610 h 1934496"/>
              <a:gd name="connsiteX548" fmla="*/ 6892165 w 9922465"/>
              <a:gd name="connsiteY548" fmla="*/ 1635419 h 1934496"/>
              <a:gd name="connsiteX549" fmla="*/ 6947357 w 9922465"/>
              <a:gd name="connsiteY549" fmla="*/ 1580228 h 1934496"/>
              <a:gd name="connsiteX550" fmla="*/ 6817063 w 9922465"/>
              <a:gd name="connsiteY550" fmla="*/ 1580228 h 1934496"/>
              <a:gd name="connsiteX551" fmla="*/ 6872255 w 9922465"/>
              <a:gd name="connsiteY551" fmla="*/ 1635419 h 1934496"/>
              <a:gd name="connsiteX552" fmla="*/ 6817063 w 9922465"/>
              <a:gd name="connsiteY552" fmla="*/ 1690610 h 1934496"/>
              <a:gd name="connsiteX553" fmla="*/ 6761871 w 9922465"/>
              <a:gd name="connsiteY553" fmla="*/ 1635419 h 1934496"/>
              <a:gd name="connsiteX554" fmla="*/ 6817063 w 9922465"/>
              <a:gd name="connsiteY554" fmla="*/ 1580228 h 1934496"/>
              <a:gd name="connsiteX555" fmla="*/ 6683431 w 9922465"/>
              <a:gd name="connsiteY555" fmla="*/ 1580228 h 1934496"/>
              <a:gd name="connsiteX556" fmla="*/ 6738623 w 9922465"/>
              <a:gd name="connsiteY556" fmla="*/ 1635419 h 1934496"/>
              <a:gd name="connsiteX557" fmla="*/ 6683431 w 9922465"/>
              <a:gd name="connsiteY557" fmla="*/ 1690610 h 1934496"/>
              <a:gd name="connsiteX558" fmla="*/ 6628239 w 9922465"/>
              <a:gd name="connsiteY558" fmla="*/ 1635419 h 1934496"/>
              <a:gd name="connsiteX559" fmla="*/ 6683431 w 9922465"/>
              <a:gd name="connsiteY559" fmla="*/ 1580228 h 1934496"/>
              <a:gd name="connsiteX560" fmla="*/ 6553137 w 9922465"/>
              <a:gd name="connsiteY560" fmla="*/ 1580228 h 1934496"/>
              <a:gd name="connsiteX561" fmla="*/ 6608329 w 9922465"/>
              <a:gd name="connsiteY561" fmla="*/ 1635419 h 1934496"/>
              <a:gd name="connsiteX562" fmla="*/ 6553137 w 9922465"/>
              <a:gd name="connsiteY562" fmla="*/ 1690610 h 1934496"/>
              <a:gd name="connsiteX563" fmla="*/ 6497945 w 9922465"/>
              <a:gd name="connsiteY563" fmla="*/ 1635419 h 1934496"/>
              <a:gd name="connsiteX564" fmla="*/ 6553137 w 9922465"/>
              <a:gd name="connsiteY564" fmla="*/ 1580228 h 1934496"/>
              <a:gd name="connsiteX565" fmla="*/ 6419502 w 9922465"/>
              <a:gd name="connsiteY565" fmla="*/ 1580228 h 1934496"/>
              <a:gd name="connsiteX566" fmla="*/ 6474694 w 9922465"/>
              <a:gd name="connsiteY566" fmla="*/ 1635419 h 1934496"/>
              <a:gd name="connsiteX567" fmla="*/ 6419502 w 9922465"/>
              <a:gd name="connsiteY567" fmla="*/ 1690610 h 1934496"/>
              <a:gd name="connsiteX568" fmla="*/ 6364310 w 9922465"/>
              <a:gd name="connsiteY568" fmla="*/ 1635419 h 1934496"/>
              <a:gd name="connsiteX569" fmla="*/ 6419502 w 9922465"/>
              <a:gd name="connsiteY569" fmla="*/ 1580228 h 1934496"/>
              <a:gd name="connsiteX570" fmla="*/ 6289208 w 9922465"/>
              <a:gd name="connsiteY570" fmla="*/ 1580228 h 1934496"/>
              <a:gd name="connsiteX571" fmla="*/ 6344400 w 9922465"/>
              <a:gd name="connsiteY571" fmla="*/ 1635419 h 1934496"/>
              <a:gd name="connsiteX572" fmla="*/ 6289208 w 9922465"/>
              <a:gd name="connsiteY572" fmla="*/ 1690610 h 1934496"/>
              <a:gd name="connsiteX573" fmla="*/ 6234016 w 9922465"/>
              <a:gd name="connsiteY573" fmla="*/ 1635419 h 1934496"/>
              <a:gd name="connsiteX574" fmla="*/ 6289208 w 9922465"/>
              <a:gd name="connsiteY574" fmla="*/ 1580228 h 1934496"/>
              <a:gd name="connsiteX575" fmla="*/ 6155572 w 9922465"/>
              <a:gd name="connsiteY575" fmla="*/ 1580228 h 1934496"/>
              <a:gd name="connsiteX576" fmla="*/ 6210764 w 9922465"/>
              <a:gd name="connsiteY576" fmla="*/ 1635419 h 1934496"/>
              <a:gd name="connsiteX577" fmla="*/ 6155572 w 9922465"/>
              <a:gd name="connsiteY577" fmla="*/ 1690610 h 1934496"/>
              <a:gd name="connsiteX578" fmla="*/ 6100380 w 9922465"/>
              <a:gd name="connsiteY578" fmla="*/ 1635419 h 1934496"/>
              <a:gd name="connsiteX579" fmla="*/ 6155572 w 9922465"/>
              <a:gd name="connsiteY579" fmla="*/ 1580228 h 1934496"/>
              <a:gd name="connsiteX580" fmla="*/ 6021938 w 9922465"/>
              <a:gd name="connsiteY580" fmla="*/ 1580228 h 1934496"/>
              <a:gd name="connsiteX581" fmla="*/ 6077130 w 9922465"/>
              <a:gd name="connsiteY581" fmla="*/ 1635419 h 1934496"/>
              <a:gd name="connsiteX582" fmla="*/ 6021938 w 9922465"/>
              <a:gd name="connsiteY582" fmla="*/ 1690610 h 1934496"/>
              <a:gd name="connsiteX583" fmla="*/ 5966746 w 9922465"/>
              <a:gd name="connsiteY583" fmla="*/ 1635419 h 1934496"/>
              <a:gd name="connsiteX584" fmla="*/ 6021938 w 9922465"/>
              <a:gd name="connsiteY584" fmla="*/ 1580228 h 1934496"/>
              <a:gd name="connsiteX585" fmla="*/ 5884964 w 9922465"/>
              <a:gd name="connsiteY585" fmla="*/ 1580228 h 1934496"/>
              <a:gd name="connsiteX586" fmla="*/ 5940156 w 9922465"/>
              <a:gd name="connsiteY586" fmla="*/ 1635419 h 1934496"/>
              <a:gd name="connsiteX587" fmla="*/ 5884964 w 9922465"/>
              <a:gd name="connsiteY587" fmla="*/ 1690610 h 1934496"/>
              <a:gd name="connsiteX588" fmla="*/ 5829772 w 9922465"/>
              <a:gd name="connsiteY588" fmla="*/ 1635419 h 1934496"/>
              <a:gd name="connsiteX589" fmla="*/ 5884964 w 9922465"/>
              <a:gd name="connsiteY589" fmla="*/ 1580228 h 1934496"/>
              <a:gd name="connsiteX590" fmla="*/ 5754670 w 9922465"/>
              <a:gd name="connsiteY590" fmla="*/ 1580228 h 1934496"/>
              <a:gd name="connsiteX591" fmla="*/ 5809862 w 9922465"/>
              <a:gd name="connsiteY591" fmla="*/ 1635419 h 1934496"/>
              <a:gd name="connsiteX592" fmla="*/ 5754670 w 9922465"/>
              <a:gd name="connsiteY592" fmla="*/ 1690610 h 1934496"/>
              <a:gd name="connsiteX593" fmla="*/ 5699478 w 9922465"/>
              <a:gd name="connsiteY593" fmla="*/ 1635419 h 1934496"/>
              <a:gd name="connsiteX594" fmla="*/ 5754670 w 9922465"/>
              <a:gd name="connsiteY594" fmla="*/ 1580228 h 1934496"/>
              <a:gd name="connsiteX595" fmla="*/ 5621035 w 9922465"/>
              <a:gd name="connsiteY595" fmla="*/ 1580228 h 1934496"/>
              <a:gd name="connsiteX596" fmla="*/ 5676227 w 9922465"/>
              <a:gd name="connsiteY596" fmla="*/ 1635419 h 1934496"/>
              <a:gd name="connsiteX597" fmla="*/ 5621035 w 9922465"/>
              <a:gd name="connsiteY597" fmla="*/ 1690610 h 1934496"/>
              <a:gd name="connsiteX598" fmla="*/ 5565843 w 9922465"/>
              <a:gd name="connsiteY598" fmla="*/ 1635419 h 1934496"/>
              <a:gd name="connsiteX599" fmla="*/ 5621035 w 9922465"/>
              <a:gd name="connsiteY599" fmla="*/ 1580228 h 1934496"/>
              <a:gd name="connsiteX600" fmla="*/ 5357105 w 9922465"/>
              <a:gd name="connsiteY600" fmla="*/ 1580228 h 1934496"/>
              <a:gd name="connsiteX601" fmla="*/ 5412297 w 9922465"/>
              <a:gd name="connsiteY601" fmla="*/ 1635419 h 1934496"/>
              <a:gd name="connsiteX602" fmla="*/ 5357105 w 9922465"/>
              <a:gd name="connsiteY602" fmla="*/ 1690610 h 1934496"/>
              <a:gd name="connsiteX603" fmla="*/ 5301913 w 9922465"/>
              <a:gd name="connsiteY603" fmla="*/ 1635419 h 1934496"/>
              <a:gd name="connsiteX604" fmla="*/ 5357105 w 9922465"/>
              <a:gd name="connsiteY604" fmla="*/ 1580228 h 1934496"/>
              <a:gd name="connsiteX605" fmla="*/ 5223473 w 9922465"/>
              <a:gd name="connsiteY605" fmla="*/ 1580228 h 1934496"/>
              <a:gd name="connsiteX606" fmla="*/ 5278665 w 9922465"/>
              <a:gd name="connsiteY606" fmla="*/ 1635419 h 1934496"/>
              <a:gd name="connsiteX607" fmla="*/ 5223473 w 9922465"/>
              <a:gd name="connsiteY607" fmla="*/ 1690610 h 1934496"/>
              <a:gd name="connsiteX608" fmla="*/ 5168281 w 9922465"/>
              <a:gd name="connsiteY608" fmla="*/ 1635419 h 1934496"/>
              <a:gd name="connsiteX609" fmla="*/ 5223473 w 9922465"/>
              <a:gd name="connsiteY609" fmla="*/ 1580228 h 1934496"/>
              <a:gd name="connsiteX610" fmla="*/ 5093178 w 9922465"/>
              <a:gd name="connsiteY610" fmla="*/ 1580228 h 1934496"/>
              <a:gd name="connsiteX611" fmla="*/ 5148370 w 9922465"/>
              <a:gd name="connsiteY611" fmla="*/ 1635419 h 1934496"/>
              <a:gd name="connsiteX612" fmla="*/ 5093178 w 9922465"/>
              <a:gd name="connsiteY612" fmla="*/ 1690610 h 1934496"/>
              <a:gd name="connsiteX613" fmla="*/ 5037986 w 9922465"/>
              <a:gd name="connsiteY613" fmla="*/ 1635419 h 1934496"/>
              <a:gd name="connsiteX614" fmla="*/ 5093178 w 9922465"/>
              <a:gd name="connsiteY614" fmla="*/ 1580228 h 1934496"/>
              <a:gd name="connsiteX615" fmla="*/ 4959543 w 9922465"/>
              <a:gd name="connsiteY615" fmla="*/ 1580228 h 1934496"/>
              <a:gd name="connsiteX616" fmla="*/ 5014735 w 9922465"/>
              <a:gd name="connsiteY616" fmla="*/ 1635419 h 1934496"/>
              <a:gd name="connsiteX617" fmla="*/ 4959543 w 9922465"/>
              <a:gd name="connsiteY617" fmla="*/ 1690610 h 1934496"/>
              <a:gd name="connsiteX618" fmla="*/ 4904351 w 9922465"/>
              <a:gd name="connsiteY618" fmla="*/ 1635419 h 1934496"/>
              <a:gd name="connsiteX619" fmla="*/ 4959543 w 9922465"/>
              <a:gd name="connsiteY619" fmla="*/ 1580228 h 1934496"/>
              <a:gd name="connsiteX620" fmla="*/ 4829251 w 9922465"/>
              <a:gd name="connsiteY620" fmla="*/ 1580228 h 1934496"/>
              <a:gd name="connsiteX621" fmla="*/ 4884443 w 9922465"/>
              <a:gd name="connsiteY621" fmla="*/ 1635419 h 1934496"/>
              <a:gd name="connsiteX622" fmla="*/ 4829251 w 9922465"/>
              <a:gd name="connsiteY622" fmla="*/ 1690610 h 1934496"/>
              <a:gd name="connsiteX623" fmla="*/ 4774059 w 9922465"/>
              <a:gd name="connsiteY623" fmla="*/ 1635419 h 1934496"/>
              <a:gd name="connsiteX624" fmla="*/ 4829251 w 9922465"/>
              <a:gd name="connsiteY624" fmla="*/ 1580228 h 1934496"/>
              <a:gd name="connsiteX625" fmla="*/ 4695613 w 9922465"/>
              <a:gd name="connsiteY625" fmla="*/ 1580228 h 1934496"/>
              <a:gd name="connsiteX626" fmla="*/ 4750805 w 9922465"/>
              <a:gd name="connsiteY626" fmla="*/ 1635419 h 1934496"/>
              <a:gd name="connsiteX627" fmla="*/ 4695613 w 9922465"/>
              <a:gd name="connsiteY627" fmla="*/ 1690610 h 1934496"/>
              <a:gd name="connsiteX628" fmla="*/ 4640421 w 9922465"/>
              <a:gd name="connsiteY628" fmla="*/ 1635419 h 1934496"/>
              <a:gd name="connsiteX629" fmla="*/ 4695613 w 9922465"/>
              <a:gd name="connsiteY629" fmla="*/ 1580228 h 1934496"/>
              <a:gd name="connsiteX630" fmla="*/ 4565322 w 9922465"/>
              <a:gd name="connsiteY630" fmla="*/ 1580228 h 1934496"/>
              <a:gd name="connsiteX631" fmla="*/ 4620514 w 9922465"/>
              <a:gd name="connsiteY631" fmla="*/ 1635419 h 1934496"/>
              <a:gd name="connsiteX632" fmla="*/ 4565322 w 9922465"/>
              <a:gd name="connsiteY632" fmla="*/ 1690610 h 1934496"/>
              <a:gd name="connsiteX633" fmla="*/ 4510130 w 9922465"/>
              <a:gd name="connsiteY633" fmla="*/ 1635419 h 1934496"/>
              <a:gd name="connsiteX634" fmla="*/ 4565322 w 9922465"/>
              <a:gd name="connsiteY634" fmla="*/ 1580228 h 1934496"/>
              <a:gd name="connsiteX635" fmla="*/ 3098681 w 9922465"/>
              <a:gd name="connsiteY635" fmla="*/ 1580228 h 1934496"/>
              <a:gd name="connsiteX636" fmla="*/ 3153873 w 9922465"/>
              <a:gd name="connsiteY636" fmla="*/ 1635419 h 1934496"/>
              <a:gd name="connsiteX637" fmla="*/ 3098681 w 9922465"/>
              <a:gd name="connsiteY637" fmla="*/ 1690610 h 1934496"/>
              <a:gd name="connsiteX638" fmla="*/ 3043489 w 9922465"/>
              <a:gd name="connsiteY638" fmla="*/ 1635419 h 1934496"/>
              <a:gd name="connsiteX639" fmla="*/ 3098681 w 9922465"/>
              <a:gd name="connsiteY639" fmla="*/ 1580228 h 1934496"/>
              <a:gd name="connsiteX640" fmla="*/ 2971729 w 9922465"/>
              <a:gd name="connsiteY640" fmla="*/ 1580228 h 1934496"/>
              <a:gd name="connsiteX641" fmla="*/ 3026921 w 9922465"/>
              <a:gd name="connsiteY641" fmla="*/ 1635419 h 1934496"/>
              <a:gd name="connsiteX642" fmla="*/ 2971729 w 9922465"/>
              <a:gd name="connsiteY642" fmla="*/ 1690610 h 1934496"/>
              <a:gd name="connsiteX643" fmla="*/ 2916537 w 9922465"/>
              <a:gd name="connsiteY643" fmla="*/ 1635419 h 1934496"/>
              <a:gd name="connsiteX644" fmla="*/ 2971729 w 9922465"/>
              <a:gd name="connsiteY644" fmla="*/ 1580228 h 1934496"/>
              <a:gd name="connsiteX645" fmla="*/ 2834783 w 9922465"/>
              <a:gd name="connsiteY645" fmla="*/ 1580228 h 1934496"/>
              <a:gd name="connsiteX646" fmla="*/ 2889974 w 9922465"/>
              <a:gd name="connsiteY646" fmla="*/ 1635419 h 1934496"/>
              <a:gd name="connsiteX647" fmla="*/ 2834783 w 9922465"/>
              <a:gd name="connsiteY647" fmla="*/ 1690610 h 1934496"/>
              <a:gd name="connsiteX648" fmla="*/ 2779590 w 9922465"/>
              <a:gd name="connsiteY648" fmla="*/ 1635419 h 1934496"/>
              <a:gd name="connsiteX649" fmla="*/ 2834783 w 9922465"/>
              <a:gd name="connsiteY649" fmla="*/ 1580228 h 1934496"/>
              <a:gd name="connsiteX650" fmla="*/ 2707828 w 9922465"/>
              <a:gd name="connsiteY650" fmla="*/ 1580228 h 1934496"/>
              <a:gd name="connsiteX651" fmla="*/ 2763021 w 9922465"/>
              <a:gd name="connsiteY651" fmla="*/ 1635419 h 1934496"/>
              <a:gd name="connsiteX652" fmla="*/ 2707828 w 9922465"/>
              <a:gd name="connsiteY652" fmla="*/ 1690610 h 1934496"/>
              <a:gd name="connsiteX653" fmla="*/ 2652636 w 9922465"/>
              <a:gd name="connsiteY653" fmla="*/ 1635419 h 1934496"/>
              <a:gd name="connsiteX654" fmla="*/ 2707828 w 9922465"/>
              <a:gd name="connsiteY654" fmla="*/ 1580228 h 1934496"/>
              <a:gd name="connsiteX655" fmla="*/ 2570854 w 9922465"/>
              <a:gd name="connsiteY655" fmla="*/ 1580228 h 1934496"/>
              <a:gd name="connsiteX656" fmla="*/ 2626046 w 9922465"/>
              <a:gd name="connsiteY656" fmla="*/ 1635419 h 1934496"/>
              <a:gd name="connsiteX657" fmla="*/ 2570854 w 9922465"/>
              <a:gd name="connsiteY657" fmla="*/ 1690610 h 1934496"/>
              <a:gd name="connsiteX658" fmla="*/ 2515662 w 9922465"/>
              <a:gd name="connsiteY658" fmla="*/ 1635419 h 1934496"/>
              <a:gd name="connsiteX659" fmla="*/ 2570854 w 9922465"/>
              <a:gd name="connsiteY659" fmla="*/ 1580228 h 1934496"/>
              <a:gd name="connsiteX660" fmla="*/ 2437218 w 9922465"/>
              <a:gd name="connsiteY660" fmla="*/ 1580228 h 1934496"/>
              <a:gd name="connsiteX661" fmla="*/ 2492409 w 9922465"/>
              <a:gd name="connsiteY661" fmla="*/ 1635419 h 1934496"/>
              <a:gd name="connsiteX662" fmla="*/ 2437218 w 9922465"/>
              <a:gd name="connsiteY662" fmla="*/ 1690610 h 1934496"/>
              <a:gd name="connsiteX663" fmla="*/ 2382026 w 9922465"/>
              <a:gd name="connsiteY663" fmla="*/ 1635419 h 1934496"/>
              <a:gd name="connsiteX664" fmla="*/ 2437218 w 9922465"/>
              <a:gd name="connsiteY664" fmla="*/ 1580228 h 1934496"/>
              <a:gd name="connsiteX665" fmla="*/ 2303586 w 9922465"/>
              <a:gd name="connsiteY665" fmla="*/ 1580228 h 1934496"/>
              <a:gd name="connsiteX666" fmla="*/ 2358778 w 9922465"/>
              <a:gd name="connsiteY666" fmla="*/ 1635419 h 1934496"/>
              <a:gd name="connsiteX667" fmla="*/ 2303586 w 9922465"/>
              <a:gd name="connsiteY667" fmla="*/ 1690610 h 1934496"/>
              <a:gd name="connsiteX668" fmla="*/ 2248394 w 9922465"/>
              <a:gd name="connsiteY668" fmla="*/ 1635419 h 1934496"/>
              <a:gd name="connsiteX669" fmla="*/ 2303586 w 9922465"/>
              <a:gd name="connsiteY669" fmla="*/ 1580228 h 1934496"/>
              <a:gd name="connsiteX670" fmla="*/ 2173293 w 9922465"/>
              <a:gd name="connsiteY670" fmla="*/ 1580228 h 1934496"/>
              <a:gd name="connsiteX671" fmla="*/ 2228486 w 9922465"/>
              <a:gd name="connsiteY671" fmla="*/ 1635419 h 1934496"/>
              <a:gd name="connsiteX672" fmla="*/ 2173293 w 9922465"/>
              <a:gd name="connsiteY672" fmla="*/ 1690610 h 1934496"/>
              <a:gd name="connsiteX673" fmla="*/ 2118101 w 9922465"/>
              <a:gd name="connsiteY673" fmla="*/ 1635419 h 1934496"/>
              <a:gd name="connsiteX674" fmla="*/ 2173293 w 9922465"/>
              <a:gd name="connsiteY674" fmla="*/ 1580228 h 1934496"/>
              <a:gd name="connsiteX675" fmla="*/ 2039658 w 9922465"/>
              <a:gd name="connsiteY675" fmla="*/ 1580228 h 1934496"/>
              <a:gd name="connsiteX676" fmla="*/ 2094851 w 9922465"/>
              <a:gd name="connsiteY676" fmla="*/ 1635419 h 1934496"/>
              <a:gd name="connsiteX677" fmla="*/ 2039658 w 9922465"/>
              <a:gd name="connsiteY677" fmla="*/ 1690610 h 1934496"/>
              <a:gd name="connsiteX678" fmla="*/ 1984465 w 9922465"/>
              <a:gd name="connsiteY678" fmla="*/ 1635419 h 1934496"/>
              <a:gd name="connsiteX679" fmla="*/ 2039658 w 9922465"/>
              <a:gd name="connsiteY679" fmla="*/ 1580228 h 1934496"/>
              <a:gd name="connsiteX680" fmla="*/ 9068807 w 9922465"/>
              <a:gd name="connsiteY680" fmla="*/ 1459958 h 1934496"/>
              <a:gd name="connsiteX681" fmla="*/ 9123999 w 9922465"/>
              <a:gd name="connsiteY681" fmla="*/ 1515149 h 1934496"/>
              <a:gd name="connsiteX682" fmla="*/ 9068807 w 9922465"/>
              <a:gd name="connsiteY682" fmla="*/ 1570340 h 1934496"/>
              <a:gd name="connsiteX683" fmla="*/ 9013615 w 9922465"/>
              <a:gd name="connsiteY683" fmla="*/ 1515149 h 1934496"/>
              <a:gd name="connsiteX684" fmla="*/ 9068807 w 9922465"/>
              <a:gd name="connsiteY684" fmla="*/ 1459958 h 1934496"/>
              <a:gd name="connsiteX685" fmla="*/ 8671244 w 9922465"/>
              <a:gd name="connsiteY685" fmla="*/ 1459958 h 1934496"/>
              <a:gd name="connsiteX686" fmla="*/ 8726436 w 9922465"/>
              <a:gd name="connsiteY686" fmla="*/ 1515149 h 1934496"/>
              <a:gd name="connsiteX687" fmla="*/ 8671244 w 9922465"/>
              <a:gd name="connsiteY687" fmla="*/ 1570340 h 1934496"/>
              <a:gd name="connsiteX688" fmla="*/ 8616052 w 9922465"/>
              <a:gd name="connsiteY688" fmla="*/ 1515149 h 1934496"/>
              <a:gd name="connsiteX689" fmla="*/ 8671244 w 9922465"/>
              <a:gd name="connsiteY689" fmla="*/ 1459958 h 1934496"/>
              <a:gd name="connsiteX690" fmla="*/ 8537612 w 9922465"/>
              <a:gd name="connsiteY690" fmla="*/ 1459958 h 1934496"/>
              <a:gd name="connsiteX691" fmla="*/ 8592804 w 9922465"/>
              <a:gd name="connsiteY691" fmla="*/ 1515149 h 1934496"/>
              <a:gd name="connsiteX692" fmla="*/ 8537612 w 9922465"/>
              <a:gd name="connsiteY692" fmla="*/ 1570340 h 1934496"/>
              <a:gd name="connsiteX693" fmla="*/ 8482420 w 9922465"/>
              <a:gd name="connsiteY693" fmla="*/ 1515149 h 1934496"/>
              <a:gd name="connsiteX694" fmla="*/ 8537612 w 9922465"/>
              <a:gd name="connsiteY694" fmla="*/ 1459958 h 1934496"/>
              <a:gd name="connsiteX695" fmla="*/ 8407316 w 9922465"/>
              <a:gd name="connsiteY695" fmla="*/ 1459958 h 1934496"/>
              <a:gd name="connsiteX696" fmla="*/ 8462508 w 9922465"/>
              <a:gd name="connsiteY696" fmla="*/ 1515149 h 1934496"/>
              <a:gd name="connsiteX697" fmla="*/ 8407316 w 9922465"/>
              <a:gd name="connsiteY697" fmla="*/ 1570340 h 1934496"/>
              <a:gd name="connsiteX698" fmla="*/ 8352124 w 9922465"/>
              <a:gd name="connsiteY698" fmla="*/ 1515149 h 1934496"/>
              <a:gd name="connsiteX699" fmla="*/ 8407316 w 9922465"/>
              <a:gd name="connsiteY699" fmla="*/ 1459958 h 1934496"/>
              <a:gd name="connsiteX700" fmla="*/ 8273682 w 9922465"/>
              <a:gd name="connsiteY700" fmla="*/ 1459958 h 1934496"/>
              <a:gd name="connsiteX701" fmla="*/ 8328874 w 9922465"/>
              <a:gd name="connsiteY701" fmla="*/ 1515149 h 1934496"/>
              <a:gd name="connsiteX702" fmla="*/ 8273682 w 9922465"/>
              <a:gd name="connsiteY702" fmla="*/ 1570340 h 1934496"/>
              <a:gd name="connsiteX703" fmla="*/ 8218490 w 9922465"/>
              <a:gd name="connsiteY703" fmla="*/ 1515149 h 1934496"/>
              <a:gd name="connsiteX704" fmla="*/ 8273682 w 9922465"/>
              <a:gd name="connsiteY704" fmla="*/ 1459958 h 1934496"/>
              <a:gd name="connsiteX705" fmla="*/ 8143388 w 9922465"/>
              <a:gd name="connsiteY705" fmla="*/ 1459958 h 1934496"/>
              <a:gd name="connsiteX706" fmla="*/ 8198580 w 9922465"/>
              <a:gd name="connsiteY706" fmla="*/ 1515149 h 1934496"/>
              <a:gd name="connsiteX707" fmla="*/ 8143388 w 9922465"/>
              <a:gd name="connsiteY707" fmla="*/ 1570340 h 1934496"/>
              <a:gd name="connsiteX708" fmla="*/ 8088196 w 9922465"/>
              <a:gd name="connsiteY708" fmla="*/ 1515149 h 1934496"/>
              <a:gd name="connsiteX709" fmla="*/ 8143388 w 9922465"/>
              <a:gd name="connsiteY709" fmla="*/ 1459958 h 1934496"/>
              <a:gd name="connsiteX710" fmla="*/ 8009753 w 9922465"/>
              <a:gd name="connsiteY710" fmla="*/ 1459958 h 1934496"/>
              <a:gd name="connsiteX711" fmla="*/ 8064945 w 9922465"/>
              <a:gd name="connsiteY711" fmla="*/ 1515149 h 1934496"/>
              <a:gd name="connsiteX712" fmla="*/ 8009753 w 9922465"/>
              <a:gd name="connsiteY712" fmla="*/ 1570340 h 1934496"/>
              <a:gd name="connsiteX713" fmla="*/ 7954561 w 9922465"/>
              <a:gd name="connsiteY713" fmla="*/ 1515149 h 1934496"/>
              <a:gd name="connsiteX714" fmla="*/ 8009753 w 9922465"/>
              <a:gd name="connsiteY714" fmla="*/ 1459958 h 1934496"/>
              <a:gd name="connsiteX715" fmla="*/ 7876118 w 9922465"/>
              <a:gd name="connsiteY715" fmla="*/ 1459958 h 1934496"/>
              <a:gd name="connsiteX716" fmla="*/ 7931310 w 9922465"/>
              <a:gd name="connsiteY716" fmla="*/ 1515149 h 1934496"/>
              <a:gd name="connsiteX717" fmla="*/ 7876118 w 9922465"/>
              <a:gd name="connsiteY717" fmla="*/ 1570340 h 1934496"/>
              <a:gd name="connsiteX718" fmla="*/ 7820926 w 9922465"/>
              <a:gd name="connsiteY718" fmla="*/ 1515149 h 1934496"/>
              <a:gd name="connsiteX719" fmla="*/ 7876118 w 9922465"/>
              <a:gd name="connsiteY719" fmla="*/ 1459958 h 1934496"/>
              <a:gd name="connsiteX720" fmla="*/ 7745823 w 9922465"/>
              <a:gd name="connsiteY720" fmla="*/ 1459958 h 1934496"/>
              <a:gd name="connsiteX721" fmla="*/ 7801015 w 9922465"/>
              <a:gd name="connsiteY721" fmla="*/ 1515149 h 1934496"/>
              <a:gd name="connsiteX722" fmla="*/ 7745823 w 9922465"/>
              <a:gd name="connsiteY722" fmla="*/ 1570340 h 1934496"/>
              <a:gd name="connsiteX723" fmla="*/ 7690631 w 9922465"/>
              <a:gd name="connsiteY723" fmla="*/ 1515149 h 1934496"/>
              <a:gd name="connsiteX724" fmla="*/ 7745823 w 9922465"/>
              <a:gd name="connsiteY724" fmla="*/ 1459958 h 1934496"/>
              <a:gd name="connsiteX725" fmla="*/ 7608849 w 9922465"/>
              <a:gd name="connsiteY725" fmla="*/ 1459958 h 1934496"/>
              <a:gd name="connsiteX726" fmla="*/ 7664041 w 9922465"/>
              <a:gd name="connsiteY726" fmla="*/ 1515149 h 1934496"/>
              <a:gd name="connsiteX727" fmla="*/ 7608849 w 9922465"/>
              <a:gd name="connsiteY727" fmla="*/ 1570340 h 1934496"/>
              <a:gd name="connsiteX728" fmla="*/ 7553657 w 9922465"/>
              <a:gd name="connsiteY728" fmla="*/ 1515149 h 1934496"/>
              <a:gd name="connsiteX729" fmla="*/ 7608849 w 9922465"/>
              <a:gd name="connsiteY729" fmla="*/ 1459958 h 1934496"/>
              <a:gd name="connsiteX730" fmla="*/ 7481897 w 9922465"/>
              <a:gd name="connsiteY730" fmla="*/ 1459958 h 1934496"/>
              <a:gd name="connsiteX731" fmla="*/ 7537089 w 9922465"/>
              <a:gd name="connsiteY731" fmla="*/ 1515149 h 1934496"/>
              <a:gd name="connsiteX732" fmla="*/ 7481897 w 9922465"/>
              <a:gd name="connsiteY732" fmla="*/ 1570340 h 1934496"/>
              <a:gd name="connsiteX733" fmla="*/ 7426705 w 9922465"/>
              <a:gd name="connsiteY733" fmla="*/ 1515149 h 1934496"/>
              <a:gd name="connsiteX734" fmla="*/ 7481897 w 9922465"/>
              <a:gd name="connsiteY734" fmla="*/ 1459958 h 1934496"/>
              <a:gd name="connsiteX735" fmla="*/ 7341579 w 9922465"/>
              <a:gd name="connsiteY735" fmla="*/ 1459958 h 1934496"/>
              <a:gd name="connsiteX736" fmla="*/ 7396771 w 9922465"/>
              <a:gd name="connsiteY736" fmla="*/ 1515149 h 1934496"/>
              <a:gd name="connsiteX737" fmla="*/ 7341579 w 9922465"/>
              <a:gd name="connsiteY737" fmla="*/ 1570340 h 1934496"/>
              <a:gd name="connsiteX738" fmla="*/ 7286387 w 9922465"/>
              <a:gd name="connsiteY738" fmla="*/ 1515149 h 1934496"/>
              <a:gd name="connsiteX739" fmla="*/ 7341579 w 9922465"/>
              <a:gd name="connsiteY739" fmla="*/ 1459958 h 1934496"/>
              <a:gd name="connsiteX740" fmla="*/ 7211286 w 9922465"/>
              <a:gd name="connsiteY740" fmla="*/ 1459958 h 1934496"/>
              <a:gd name="connsiteX741" fmla="*/ 7266478 w 9922465"/>
              <a:gd name="connsiteY741" fmla="*/ 1515149 h 1934496"/>
              <a:gd name="connsiteX742" fmla="*/ 7211286 w 9922465"/>
              <a:gd name="connsiteY742" fmla="*/ 1570340 h 1934496"/>
              <a:gd name="connsiteX743" fmla="*/ 7156094 w 9922465"/>
              <a:gd name="connsiteY743" fmla="*/ 1515149 h 1934496"/>
              <a:gd name="connsiteX744" fmla="*/ 7211286 w 9922465"/>
              <a:gd name="connsiteY744" fmla="*/ 1459958 h 1934496"/>
              <a:gd name="connsiteX745" fmla="*/ 7080993 w 9922465"/>
              <a:gd name="connsiteY745" fmla="*/ 1459958 h 1934496"/>
              <a:gd name="connsiteX746" fmla="*/ 7136185 w 9922465"/>
              <a:gd name="connsiteY746" fmla="*/ 1515149 h 1934496"/>
              <a:gd name="connsiteX747" fmla="*/ 7080993 w 9922465"/>
              <a:gd name="connsiteY747" fmla="*/ 1570340 h 1934496"/>
              <a:gd name="connsiteX748" fmla="*/ 7025801 w 9922465"/>
              <a:gd name="connsiteY748" fmla="*/ 1515149 h 1934496"/>
              <a:gd name="connsiteX749" fmla="*/ 7080993 w 9922465"/>
              <a:gd name="connsiteY749" fmla="*/ 1459958 h 1934496"/>
              <a:gd name="connsiteX750" fmla="*/ 6947357 w 9922465"/>
              <a:gd name="connsiteY750" fmla="*/ 1459958 h 1934496"/>
              <a:gd name="connsiteX751" fmla="*/ 7002549 w 9922465"/>
              <a:gd name="connsiteY751" fmla="*/ 1515149 h 1934496"/>
              <a:gd name="connsiteX752" fmla="*/ 6947357 w 9922465"/>
              <a:gd name="connsiteY752" fmla="*/ 1570340 h 1934496"/>
              <a:gd name="connsiteX753" fmla="*/ 6892165 w 9922465"/>
              <a:gd name="connsiteY753" fmla="*/ 1515149 h 1934496"/>
              <a:gd name="connsiteX754" fmla="*/ 6947357 w 9922465"/>
              <a:gd name="connsiteY754" fmla="*/ 1459958 h 1934496"/>
              <a:gd name="connsiteX755" fmla="*/ 6817064 w 9922465"/>
              <a:gd name="connsiteY755" fmla="*/ 1459958 h 1934496"/>
              <a:gd name="connsiteX756" fmla="*/ 6872256 w 9922465"/>
              <a:gd name="connsiteY756" fmla="*/ 1515149 h 1934496"/>
              <a:gd name="connsiteX757" fmla="*/ 6817064 w 9922465"/>
              <a:gd name="connsiteY757" fmla="*/ 1570340 h 1934496"/>
              <a:gd name="connsiteX758" fmla="*/ 6761872 w 9922465"/>
              <a:gd name="connsiteY758" fmla="*/ 1515149 h 1934496"/>
              <a:gd name="connsiteX759" fmla="*/ 6817064 w 9922465"/>
              <a:gd name="connsiteY759" fmla="*/ 1459958 h 1934496"/>
              <a:gd name="connsiteX760" fmla="*/ 6683431 w 9922465"/>
              <a:gd name="connsiteY760" fmla="*/ 1459958 h 1934496"/>
              <a:gd name="connsiteX761" fmla="*/ 6738623 w 9922465"/>
              <a:gd name="connsiteY761" fmla="*/ 1515149 h 1934496"/>
              <a:gd name="connsiteX762" fmla="*/ 6683431 w 9922465"/>
              <a:gd name="connsiteY762" fmla="*/ 1570340 h 1934496"/>
              <a:gd name="connsiteX763" fmla="*/ 6628239 w 9922465"/>
              <a:gd name="connsiteY763" fmla="*/ 1515149 h 1934496"/>
              <a:gd name="connsiteX764" fmla="*/ 6683431 w 9922465"/>
              <a:gd name="connsiteY764" fmla="*/ 1459958 h 1934496"/>
              <a:gd name="connsiteX765" fmla="*/ 6553137 w 9922465"/>
              <a:gd name="connsiteY765" fmla="*/ 1459958 h 1934496"/>
              <a:gd name="connsiteX766" fmla="*/ 6608329 w 9922465"/>
              <a:gd name="connsiteY766" fmla="*/ 1515149 h 1934496"/>
              <a:gd name="connsiteX767" fmla="*/ 6553137 w 9922465"/>
              <a:gd name="connsiteY767" fmla="*/ 1570340 h 1934496"/>
              <a:gd name="connsiteX768" fmla="*/ 6497945 w 9922465"/>
              <a:gd name="connsiteY768" fmla="*/ 1515149 h 1934496"/>
              <a:gd name="connsiteX769" fmla="*/ 6553137 w 9922465"/>
              <a:gd name="connsiteY769" fmla="*/ 1459958 h 1934496"/>
              <a:gd name="connsiteX770" fmla="*/ 6419502 w 9922465"/>
              <a:gd name="connsiteY770" fmla="*/ 1459958 h 1934496"/>
              <a:gd name="connsiteX771" fmla="*/ 6474694 w 9922465"/>
              <a:gd name="connsiteY771" fmla="*/ 1515149 h 1934496"/>
              <a:gd name="connsiteX772" fmla="*/ 6419502 w 9922465"/>
              <a:gd name="connsiteY772" fmla="*/ 1570340 h 1934496"/>
              <a:gd name="connsiteX773" fmla="*/ 6364310 w 9922465"/>
              <a:gd name="connsiteY773" fmla="*/ 1515149 h 1934496"/>
              <a:gd name="connsiteX774" fmla="*/ 6419502 w 9922465"/>
              <a:gd name="connsiteY774" fmla="*/ 1459958 h 1934496"/>
              <a:gd name="connsiteX775" fmla="*/ 6289207 w 9922465"/>
              <a:gd name="connsiteY775" fmla="*/ 1459958 h 1934496"/>
              <a:gd name="connsiteX776" fmla="*/ 6344399 w 9922465"/>
              <a:gd name="connsiteY776" fmla="*/ 1515149 h 1934496"/>
              <a:gd name="connsiteX777" fmla="*/ 6289207 w 9922465"/>
              <a:gd name="connsiteY777" fmla="*/ 1570340 h 1934496"/>
              <a:gd name="connsiteX778" fmla="*/ 6234015 w 9922465"/>
              <a:gd name="connsiteY778" fmla="*/ 1515149 h 1934496"/>
              <a:gd name="connsiteX779" fmla="*/ 6289207 w 9922465"/>
              <a:gd name="connsiteY779" fmla="*/ 1459958 h 1934496"/>
              <a:gd name="connsiteX780" fmla="*/ 6155573 w 9922465"/>
              <a:gd name="connsiteY780" fmla="*/ 1459958 h 1934496"/>
              <a:gd name="connsiteX781" fmla="*/ 6210765 w 9922465"/>
              <a:gd name="connsiteY781" fmla="*/ 1515149 h 1934496"/>
              <a:gd name="connsiteX782" fmla="*/ 6155573 w 9922465"/>
              <a:gd name="connsiteY782" fmla="*/ 1570340 h 1934496"/>
              <a:gd name="connsiteX783" fmla="*/ 6100381 w 9922465"/>
              <a:gd name="connsiteY783" fmla="*/ 1515149 h 1934496"/>
              <a:gd name="connsiteX784" fmla="*/ 6155573 w 9922465"/>
              <a:gd name="connsiteY784" fmla="*/ 1459958 h 1934496"/>
              <a:gd name="connsiteX785" fmla="*/ 6021939 w 9922465"/>
              <a:gd name="connsiteY785" fmla="*/ 1459958 h 1934496"/>
              <a:gd name="connsiteX786" fmla="*/ 6077131 w 9922465"/>
              <a:gd name="connsiteY786" fmla="*/ 1515149 h 1934496"/>
              <a:gd name="connsiteX787" fmla="*/ 6021939 w 9922465"/>
              <a:gd name="connsiteY787" fmla="*/ 1570340 h 1934496"/>
              <a:gd name="connsiteX788" fmla="*/ 5966747 w 9922465"/>
              <a:gd name="connsiteY788" fmla="*/ 1515149 h 1934496"/>
              <a:gd name="connsiteX789" fmla="*/ 6021939 w 9922465"/>
              <a:gd name="connsiteY789" fmla="*/ 1459958 h 1934496"/>
              <a:gd name="connsiteX790" fmla="*/ 5884964 w 9922465"/>
              <a:gd name="connsiteY790" fmla="*/ 1459958 h 1934496"/>
              <a:gd name="connsiteX791" fmla="*/ 5940156 w 9922465"/>
              <a:gd name="connsiteY791" fmla="*/ 1515149 h 1934496"/>
              <a:gd name="connsiteX792" fmla="*/ 5884964 w 9922465"/>
              <a:gd name="connsiteY792" fmla="*/ 1570340 h 1934496"/>
              <a:gd name="connsiteX793" fmla="*/ 5829772 w 9922465"/>
              <a:gd name="connsiteY793" fmla="*/ 1515149 h 1934496"/>
              <a:gd name="connsiteX794" fmla="*/ 5884964 w 9922465"/>
              <a:gd name="connsiteY794" fmla="*/ 1459958 h 1934496"/>
              <a:gd name="connsiteX795" fmla="*/ 5754668 w 9922465"/>
              <a:gd name="connsiteY795" fmla="*/ 1459958 h 1934496"/>
              <a:gd name="connsiteX796" fmla="*/ 5809860 w 9922465"/>
              <a:gd name="connsiteY796" fmla="*/ 1515149 h 1934496"/>
              <a:gd name="connsiteX797" fmla="*/ 5754668 w 9922465"/>
              <a:gd name="connsiteY797" fmla="*/ 1570340 h 1934496"/>
              <a:gd name="connsiteX798" fmla="*/ 5699476 w 9922465"/>
              <a:gd name="connsiteY798" fmla="*/ 1515149 h 1934496"/>
              <a:gd name="connsiteX799" fmla="*/ 5754668 w 9922465"/>
              <a:gd name="connsiteY799" fmla="*/ 1459958 h 1934496"/>
              <a:gd name="connsiteX800" fmla="*/ 5621034 w 9922465"/>
              <a:gd name="connsiteY800" fmla="*/ 1459958 h 1934496"/>
              <a:gd name="connsiteX801" fmla="*/ 5676226 w 9922465"/>
              <a:gd name="connsiteY801" fmla="*/ 1515149 h 1934496"/>
              <a:gd name="connsiteX802" fmla="*/ 5621034 w 9922465"/>
              <a:gd name="connsiteY802" fmla="*/ 1570340 h 1934496"/>
              <a:gd name="connsiteX803" fmla="*/ 5565842 w 9922465"/>
              <a:gd name="connsiteY803" fmla="*/ 1515149 h 1934496"/>
              <a:gd name="connsiteX804" fmla="*/ 5621034 w 9922465"/>
              <a:gd name="connsiteY804" fmla="*/ 1459958 h 1934496"/>
              <a:gd name="connsiteX805" fmla="*/ 5487399 w 9922465"/>
              <a:gd name="connsiteY805" fmla="*/ 1459958 h 1934496"/>
              <a:gd name="connsiteX806" fmla="*/ 5542591 w 9922465"/>
              <a:gd name="connsiteY806" fmla="*/ 1515149 h 1934496"/>
              <a:gd name="connsiteX807" fmla="*/ 5487399 w 9922465"/>
              <a:gd name="connsiteY807" fmla="*/ 1570340 h 1934496"/>
              <a:gd name="connsiteX808" fmla="*/ 5432207 w 9922465"/>
              <a:gd name="connsiteY808" fmla="*/ 1515149 h 1934496"/>
              <a:gd name="connsiteX809" fmla="*/ 5487399 w 9922465"/>
              <a:gd name="connsiteY809" fmla="*/ 1459958 h 1934496"/>
              <a:gd name="connsiteX810" fmla="*/ 5357106 w 9922465"/>
              <a:gd name="connsiteY810" fmla="*/ 1459958 h 1934496"/>
              <a:gd name="connsiteX811" fmla="*/ 5412298 w 9922465"/>
              <a:gd name="connsiteY811" fmla="*/ 1515149 h 1934496"/>
              <a:gd name="connsiteX812" fmla="*/ 5357106 w 9922465"/>
              <a:gd name="connsiteY812" fmla="*/ 1570340 h 1934496"/>
              <a:gd name="connsiteX813" fmla="*/ 5301914 w 9922465"/>
              <a:gd name="connsiteY813" fmla="*/ 1515149 h 1934496"/>
              <a:gd name="connsiteX814" fmla="*/ 5357106 w 9922465"/>
              <a:gd name="connsiteY814" fmla="*/ 1459958 h 1934496"/>
              <a:gd name="connsiteX815" fmla="*/ 5223473 w 9922465"/>
              <a:gd name="connsiteY815" fmla="*/ 1459958 h 1934496"/>
              <a:gd name="connsiteX816" fmla="*/ 5278665 w 9922465"/>
              <a:gd name="connsiteY816" fmla="*/ 1515149 h 1934496"/>
              <a:gd name="connsiteX817" fmla="*/ 5223473 w 9922465"/>
              <a:gd name="connsiteY817" fmla="*/ 1570340 h 1934496"/>
              <a:gd name="connsiteX818" fmla="*/ 5168281 w 9922465"/>
              <a:gd name="connsiteY818" fmla="*/ 1515149 h 1934496"/>
              <a:gd name="connsiteX819" fmla="*/ 5223473 w 9922465"/>
              <a:gd name="connsiteY819" fmla="*/ 1459958 h 1934496"/>
              <a:gd name="connsiteX820" fmla="*/ 5093178 w 9922465"/>
              <a:gd name="connsiteY820" fmla="*/ 1459958 h 1934496"/>
              <a:gd name="connsiteX821" fmla="*/ 5148370 w 9922465"/>
              <a:gd name="connsiteY821" fmla="*/ 1515149 h 1934496"/>
              <a:gd name="connsiteX822" fmla="*/ 5093178 w 9922465"/>
              <a:gd name="connsiteY822" fmla="*/ 1570340 h 1934496"/>
              <a:gd name="connsiteX823" fmla="*/ 5037986 w 9922465"/>
              <a:gd name="connsiteY823" fmla="*/ 1515149 h 1934496"/>
              <a:gd name="connsiteX824" fmla="*/ 5093178 w 9922465"/>
              <a:gd name="connsiteY824" fmla="*/ 1459958 h 1934496"/>
              <a:gd name="connsiteX825" fmla="*/ 4959542 w 9922465"/>
              <a:gd name="connsiteY825" fmla="*/ 1459958 h 1934496"/>
              <a:gd name="connsiteX826" fmla="*/ 5014734 w 9922465"/>
              <a:gd name="connsiteY826" fmla="*/ 1515149 h 1934496"/>
              <a:gd name="connsiteX827" fmla="*/ 4959542 w 9922465"/>
              <a:gd name="connsiteY827" fmla="*/ 1570340 h 1934496"/>
              <a:gd name="connsiteX828" fmla="*/ 4904350 w 9922465"/>
              <a:gd name="connsiteY828" fmla="*/ 1515149 h 1934496"/>
              <a:gd name="connsiteX829" fmla="*/ 4959542 w 9922465"/>
              <a:gd name="connsiteY829" fmla="*/ 1459958 h 1934496"/>
              <a:gd name="connsiteX830" fmla="*/ 4829250 w 9922465"/>
              <a:gd name="connsiteY830" fmla="*/ 1459958 h 1934496"/>
              <a:gd name="connsiteX831" fmla="*/ 4884442 w 9922465"/>
              <a:gd name="connsiteY831" fmla="*/ 1515149 h 1934496"/>
              <a:gd name="connsiteX832" fmla="*/ 4829250 w 9922465"/>
              <a:gd name="connsiteY832" fmla="*/ 1570340 h 1934496"/>
              <a:gd name="connsiteX833" fmla="*/ 4774058 w 9922465"/>
              <a:gd name="connsiteY833" fmla="*/ 1515149 h 1934496"/>
              <a:gd name="connsiteX834" fmla="*/ 4829250 w 9922465"/>
              <a:gd name="connsiteY834" fmla="*/ 1459958 h 1934496"/>
              <a:gd name="connsiteX835" fmla="*/ 4695614 w 9922465"/>
              <a:gd name="connsiteY835" fmla="*/ 1459958 h 1934496"/>
              <a:gd name="connsiteX836" fmla="*/ 4750806 w 9922465"/>
              <a:gd name="connsiteY836" fmla="*/ 1515149 h 1934496"/>
              <a:gd name="connsiteX837" fmla="*/ 4695614 w 9922465"/>
              <a:gd name="connsiteY837" fmla="*/ 1570340 h 1934496"/>
              <a:gd name="connsiteX838" fmla="*/ 4640422 w 9922465"/>
              <a:gd name="connsiteY838" fmla="*/ 1515149 h 1934496"/>
              <a:gd name="connsiteX839" fmla="*/ 4695614 w 9922465"/>
              <a:gd name="connsiteY839" fmla="*/ 1459958 h 1934496"/>
              <a:gd name="connsiteX840" fmla="*/ 4565322 w 9922465"/>
              <a:gd name="connsiteY840" fmla="*/ 1459958 h 1934496"/>
              <a:gd name="connsiteX841" fmla="*/ 4620514 w 9922465"/>
              <a:gd name="connsiteY841" fmla="*/ 1515149 h 1934496"/>
              <a:gd name="connsiteX842" fmla="*/ 4565322 w 9922465"/>
              <a:gd name="connsiteY842" fmla="*/ 1570340 h 1934496"/>
              <a:gd name="connsiteX843" fmla="*/ 4510130 w 9922465"/>
              <a:gd name="connsiteY843" fmla="*/ 1515149 h 1934496"/>
              <a:gd name="connsiteX844" fmla="*/ 4565322 w 9922465"/>
              <a:gd name="connsiteY844" fmla="*/ 1459958 h 1934496"/>
              <a:gd name="connsiteX845" fmla="*/ 4431687 w 9922465"/>
              <a:gd name="connsiteY845" fmla="*/ 1459958 h 1934496"/>
              <a:gd name="connsiteX846" fmla="*/ 4486879 w 9922465"/>
              <a:gd name="connsiteY846" fmla="*/ 1515149 h 1934496"/>
              <a:gd name="connsiteX847" fmla="*/ 4431687 w 9922465"/>
              <a:gd name="connsiteY847" fmla="*/ 1570340 h 1934496"/>
              <a:gd name="connsiteX848" fmla="*/ 4376495 w 9922465"/>
              <a:gd name="connsiteY848" fmla="*/ 1515149 h 1934496"/>
              <a:gd name="connsiteX849" fmla="*/ 4431687 w 9922465"/>
              <a:gd name="connsiteY849" fmla="*/ 1459958 h 1934496"/>
              <a:gd name="connsiteX850" fmla="*/ 3098681 w 9922465"/>
              <a:gd name="connsiteY850" fmla="*/ 1459958 h 1934496"/>
              <a:gd name="connsiteX851" fmla="*/ 3153873 w 9922465"/>
              <a:gd name="connsiteY851" fmla="*/ 1515149 h 1934496"/>
              <a:gd name="connsiteX852" fmla="*/ 3098681 w 9922465"/>
              <a:gd name="connsiteY852" fmla="*/ 1570340 h 1934496"/>
              <a:gd name="connsiteX853" fmla="*/ 3043489 w 9922465"/>
              <a:gd name="connsiteY853" fmla="*/ 1515149 h 1934496"/>
              <a:gd name="connsiteX854" fmla="*/ 3098681 w 9922465"/>
              <a:gd name="connsiteY854" fmla="*/ 1459958 h 1934496"/>
              <a:gd name="connsiteX855" fmla="*/ 2971729 w 9922465"/>
              <a:gd name="connsiteY855" fmla="*/ 1459958 h 1934496"/>
              <a:gd name="connsiteX856" fmla="*/ 3026921 w 9922465"/>
              <a:gd name="connsiteY856" fmla="*/ 1515149 h 1934496"/>
              <a:gd name="connsiteX857" fmla="*/ 2971729 w 9922465"/>
              <a:gd name="connsiteY857" fmla="*/ 1570340 h 1934496"/>
              <a:gd name="connsiteX858" fmla="*/ 2916537 w 9922465"/>
              <a:gd name="connsiteY858" fmla="*/ 1515149 h 1934496"/>
              <a:gd name="connsiteX859" fmla="*/ 2971729 w 9922465"/>
              <a:gd name="connsiteY859" fmla="*/ 1459958 h 1934496"/>
              <a:gd name="connsiteX860" fmla="*/ 2834792 w 9922465"/>
              <a:gd name="connsiteY860" fmla="*/ 1459958 h 1934496"/>
              <a:gd name="connsiteX861" fmla="*/ 2889984 w 9922465"/>
              <a:gd name="connsiteY861" fmla="*/ 1515149 h 1934496"/>
              <a:gd name="connsiteX862" fmla="*/ 2834792 w 9922465"/>
              <a:gd name="connsiteY862" fmla="*/ 1570340 h 1934496"/>
              <a:gd name="connsiteX863" fmla="*/ 2779600 w 9922465"/>
              <a:gd name="connsiteY863" fmla="*/ 1515149 h 1934496"/>
              <a:gd name="connsiteX864" fmla="*/ 2834792 w 9922465"/>
              <a:gd name="connsiteY864" fmla="*/ 1459958 h 1934496"/>
              <a:gd name="connsiteX865" fmla="*/ 2707839 w 9922465"/>
              <a:gd name="connsiteY865" fmla="*/ 1459958 h 1934496"/>
              <a:gd name="connsiteX866" fmla="*/ 2763031 w 9922465"/>
              <a:gd name="connsiteY866" fmla="*/ 1515149 h 1934496"/>
              <a:gd name="connsiteX867" fmla="*/ 2707839 w 9922465"/>
              <a:gd name="connsiteY867" fmla="*/ 1570340 h 1934496"/>
              <a:gd name="connsiteX868" fmla="*/ 2652646 w 9922465"/>
              <a:gd name="connsiteY868" fmla="*/ 1515149 h 1934496"/>
              <a:gd name="connsiteX869" fmla="*/ 2707839 w 9922465"/>
              <a:gd name="connsiteY869" fmla="*/ 1459958 h 1934496"/>
              <a:gd name="connsiteX870" fmla="*/ 2570864 w 9922465"/>
              <a:gd name="connsiteY870" fmla="*/ 1459958 h 1934496"/>
              <a:gd name="connsiteX871" fmla="*/ 2626056 w 9922465"/>
              <a:gd name="connsiteY871" fmla="*/ 1515149 h 1934496"/>
              <a:gd name="connsiteX872" fmla="*/ 2570864 w 9922465"/>
              <a:gd name="connsiteY872" fmla="*/ 1570340 h 1934496"/>
              <a:gd name="connsiteX873" fmla="*/ 2515671 w 9922465"/>
              <a:gd name="connsiteY873" fmla="*/ 1515149 h 1934496"/>
              <a:gd name="connsiteX874" fmla="*/ 2570864 w 9922465"/>
              <a:gd name="connsiteY874" fmla="*/ 1459958 h 1934496"/>
              <a:gd name="connsiteX875" fmla="*/ 2437228 w 9922465"/>
              <a:gd name="connsiteY875" fmla="*/ 1459958 h 1934496"/>
              <a:gd name="connsiteX876" fmla="*/ 2492419 w 9922465"/>
              <a:gd name="connsiteY876" fmla="*/ 1515149 h 1934496"/>
              <a:gd name="connsiteX877" fmla="*/ 2437228 w 9922465"/>
              <a:gd name="connsiteY877" fmla="*/ 1570340 h 1934496"/>
              <a:gd name="connsiteX878" fmla="*/ 2382037 w 9922465"/>
              <a:gd name="connsiteY878" fmla="*/ 1515149 h 1934496"/>
              <a:gd name="connsiteX879" fmla="*/ 2437228 w 9922465"/>
              <a:gd name="connsiteY879" fmla="*/ 1459958 h 1934496"/>
              <a:gd name="connsiteX880" fmla="*/ 2303596 w 9922465"/>
              <a:gd name="connsiteY880" fmla="*/ 1459958 h 1934496"/>
              <a:gd name="connsiteX881" fmla="*/ 2358787 w 9922465"/>
              <a:gd name="connsiteY881" fmla="*/ 1515149 h 1934496"/>
              <a:gd name="connsiteX882" fmla="*/ 2303596 w 9922465"/>
              <a:gd name="connsiteY882" fmla="*/ 1570340 h 1934496"/>
              <a:gd name="connsiteX883" fmla="*/ 2248404 w 9922465"/>
              <a:gd name="connsiteY883" fmla="*/ 1515149 h 1934496"/>
              <a:gd name="connsiteX884" fmla="*/ 2303596 w 9922465"/>
              <a:gd name="connsiteY884" fmla="*/ 1459958 h 1934496"/>
              <a:gd name="connsiteX885" fmla="*/ 2173305 w 9922465"/>
              <a:gd name="connsiteY885" fmla="*/ 1459958 h 1934496"/>
              <a:gd name="connsiteX886" fmla="*/ 2228497 w 9922465"/>
              <a:gd name="connsiteY886" fmla="*/ 1515149 h 1934496"/>
              <a:gd name="connsiteX887" fmla="*/ 2173305 w 9922465"/>
              <a:gd name="connsiteY887" fmla="*/ 1570340 h 1934496"/>
              <a:gd name="connsiteX888" fmla="*/ 2118111 w 9922465"/>
              <a:gd name="connsiteY888" fmla="*/ 1515149 h 1934496"/>
              <a:gd name="connsiteX889" fmla="*/ 2173305 w 9922465"/>
              <a:gd name="connsiteY889" fmla="*/ 1459958 h 1934496"/>
              <a:gd name="connsiteX890" fmla="*/ 2039668 w 9922465"/>
              <a:gd name="connsiteY890" fmla="*/ 1459958 h 1934496"/>
              <a:gd name="connsiteX891" fmla="*/ 2094860 w 9922465"/>
              <a:gd name="connsiteY891" fmla="*/ 1515149 h 1934496"/>
              <a:gd name="connsiteX892" fmla="*/ 2039668 w 9922465"/>
              <a:gd name="connsiteY892" fmla="*/ 1570340 h 1934496"/>
              <a:gd name="connsiteX893" fmla="*/ 1984475 w 9922465"/>
              <a:gd name="connsiteY893" fmla="*/ 1515149 h 1934496"/>
              <a:gd name="connsiteX894" fmla="*/ 2039668 w 9922465"/>
              <a:gd name="connsiteY894" fmla="*/ 1459958 h 1934496"/>
              <a:gd name="connsiteX895" fmla="*/ 1909371 w 9922465"/>
              <a:gd name="connsiteY895" fmla="*/ 1459958 h 1934496"/>
              <a:gd name="connsiteX896" fmla="*/ 1964564 w 9922465"/>
              <a:gd name="connsiteY896" fmla="*/ 1515149 h 1934496"/>
              <a:gd name="connsiteX897" fmla="*/ 1909371 w 9922465"/>
              <a:gd name="connsiteY897" fmla="*/ 1570340 h 1934496"/>
              <a:gd name="connsiteX898" fmla="*/ 1854178 w 9922465"/>
              <a:gd name="connsiteY898" fmla="*/ 1515149 h 1934496"/>
              <a:gd name="connsiteX899" fmla="*/ 1909371 w 9922465"/>
              <a:gd name="connsiteY899" fmla="*/ 1459958 h 1934496"/>
              <a:gd name="connsiteX900" fmla="*/ 1779076 w 9922465"/>
              <a:gd name="connsiteY900" fmla="*/ 1459958 h 1934496"/>
              <a:gd name="connsiteX901" fmla="*/ 1834269 w 9922465"/>
              <a:gd name="connsiteY901" fmla="*/ 1515149 h 1934496"/>
              <a:gd name="connsiteX902" fmla="*/ 1779076 w 9922465"/>
              <a:gd name="connsiteY902" fmla="*/ 1570340 h 1934496"/>
              <a:gd name="connsiteX903" fmla="*/ 1723884 w 9922465"/>
              <a:gd name="connsiteY903" fmla="*/ 1515149 h 1934496"/>
              <a:gd name="connsiteX904" fmla="*/ 1779076 w 9922465"/>
              <a:gd name="connsiteY904" fmla="*/ 1459958 h 1934496"/>
              <a:gd name="connsiteX905" fmla="*/ 1645440 w 9922465"/>
              <a:gd name="connsiteY905" fmla="*/ 1459958 h 1934496"/>
              <a:gd name="connsiteX906" fmla="*/ 1700637 w 9922465"/>
              <a:gd name="connsiteY906" fmla="*/ 1515149 h 1934496"/>
              <a:gd name="connsiteX907" fmla="*/ 1645440 w 9922465"/>
              <a:gd name="connsiteY907" fmla="*/ 1570340 h 1934496"/>
              <a:gd name="connsiteX908" fmla="*/ 1590248 w 9922465"/>
              <a:gd name="connsiteY908" fmla="*/ 1515149 h 1934496"/>
              <a:gd name="connsiteX909" fmla="*/ 1645440 w 9922465"/>
              <a:gd name="connsiteY909" fmla="*/ 1459958 h 1934496"/>
              <a:gd name="connsiteX910" fmla="*/ 1515149 w 9922465"/>
              <a:gd name="connsiteY910" fmla="*/ 1459958 h 1934496"/>
              <a:gd name="connsiteX911" fmla="*/ 1570338 w 9922465"/>
              <a:gd name="connsiteY911" fmla="*/ 1515149 h 1934496"/>
              <a:gd name="connsiteX912" fmla="*/ 1515149 w 9922465"/>
              <a:gd name="connsiteY912" fmla="*/ 1570340 h 1934496"/>
              <a:gd name="connsiteX913" fmla="*/ 1459956 w 9922465"/>
              <a:gd name="connsiteY913" fmla="*/ 1515149 h 1934496"/>
              <a:gd name="connsiteX914" fmla="*/ 1515149 w 9922465"/>
              <a:gd name="connsiteY914" fmla="*/ 1459958 h 1934496"/>
              <a:gd name="connsiteX915" fmla="*/ 1381511 w 9922465"/>
              <a:gd name="connsiteY915" fmla="*/ 1459958 h 1934496"/>
              <a:gd name="connsiteX916" fmla="*/ 1436705 w 9922465"/>
              <a:gd name="connsiteY916" fmla="*/ 1515149 h 1934496"/>
              <a:gd name="connsiteX917" fmla="*/ 1381511 w 9922465"/>
              <a:gd name="connsiteY917" fmla="*/ 1570340 h 1934496"/>
              <a:gd name="connsiteX918" fmla="*/ 1326322 w 9922465"/>
              <a:gd name="connsiteY918" fmla="*/ 1515149 h 1934496"/>
              <a:gd name="connsiteX919" fmla="*/ 1381511 w 9922465"/>
              <a:gd name="connsiteY919" fmla="*/ 1459958 h 1934496"/>
              <a:gd name="connsiteX920" fmla="*/ 1251220 w 9922465"/>
              <a:gd name="connsiteY920" fmla="*/ 1459958 h 1934496"/>
              <a:gd name="connsiteX921" fmla="*/ 1306413 w 9922465"/>
              <a:gd name="connsiteY921" fmla="*/ 1515149 h 1934496"/>
              <a:gd name="connsiteX922" fmla="*/ 1251220 w 9922465"/>
              <a:gd name="connsiteY922" fmla="*/ 1570340 h 1934496"/>
              <a:gd name="connsiteX923" fmla="*/ 1196028 w 9922465"/>
              <a:gd name="connsiteY923" fmla="*/ 1515149 h 1934496"/>
              <a:gd name="connsiteX924" fmla="*/ 1251220 w 9922465"/>
              <a:gd name="connsiteY924" fmla="*/ 1459958 h 1934496"/>
              <a:gd name="connsiteX925" fmla="*/ 1117583 w 9922465"/>
              <a:gd name="connsiteY925" fmla="*/ 1459958 h 1934496"/>
              <a:gd name="connsiteX926" fmla="*/ 1172776 w 9922465"/>
              <a:gd name="connsiteY926" fmla="*/ 1515149 h 1934496"/>
              <a:gd name="connsiteX927" fmla="*/ 1117583 w 9922465"/>
              <a:gd name="connsiteY927" fmla="*/ 1570340 h 1934496"/>
              <a:gd name="connsiteX928" fmla="*/ 1062390 w 9922465"/>
              <a:gd name="connsiteY928" fmla="*/ 1515149 h 1934496"/>
              <a:gd name="connsiteX929" fmla="*/ 1117583 w 9922465"/>
              <a:gd name="connsiteY929" fmla="*/ 1459958 h 1934496"/>
              <a:gd name="connsiteX930" fmla="*/ 980607 w 9922465"/>
              <a:gd name="connsiteY930" fmla="*/ 1459958 h 1934496"/>
              <a:gd name="connsiteX931" fmla="*/ 1035800 w 9922465"/>
              <a:gd name="connsiteY931" fmla="*/ 1515149 h 1934496"/>
              <a:gd name="connsiteX932" fmla="*/ 980607 w 9922465"/>
              <a:gd name="connsiteY932" fmla="*/ 1570340 h 1934496"/>
              <a:gd name="connsiteX933" fmla="*/ 925415 w 9922465"/>
              <a:gd name="connsiteY933" fmla="*/ 1515149 h 1934496"/>
              <a:gd name="connsiteX934" fmla="*/ 980607 w 9922465"/>
              <a:gd name="connsiteY934" fmla="*/ 1459958 h 1934496"/>
              <a:gd name="connsiteX935" fmla="*/ 7608849 w 9922465"/>
              <a:gd name="connsiteY935" fmla="*/ 1336350 h 1934496"/>
              <a:gd name="connsiteX936" fmla="*/ 7664041 w 9922465"/>
              <a:gd name="connsiteY936" fmla="*/ 1391541 h 1934496"/>
              <a:gd name="connsiteX937" fmla="*/ 7608849 w 9922465"/>
              <a:gd name="connsiteY937" fmla="*/ 1446732 h 1934496"/>
              <a:gd name="connsiteX938" fmla="*/ 7553657 w 9922465"/>
              <a:gd name="connsiteY938" fmla="*/ 1391541 h 1934496"/>
              <a:gd name="connsiteX939" fmla="*/ 7608849 w 9922465"/>
              <a:gd name="connsiteY939" fmla="*/ 1336350 h 1934496"/>
              <a:gd name="connsiteX940" fmla="*/ 7481897 w 9922465"/>
              <a:gd name="connsiteY940" fmla="*/ 1336350 h 1934496"/>
              <a:gd name="connsiteX941" fmla="*/ 7537089 w 9922465"/>
              <a:gd name="connsiteY941" fmla="*/ 1391541 h 1934496"/>
              <a:gd name="connsiteX942" fmla="*/ 7481897 w 9922465"/>
              <a:gd name="connsiteY942" fmla="*/ 1446732 h 1934496"/>
              <a:gd name="connsiteX943" fmla="*/ 7426705 w 9922465"/>
              <a:gd name="connsiteY943" fmla="*/ 1391541 h 1934496"/>
              <a:gd name="connsiteX944" fmla="*/ 7481897 w 9922465"/>
              <a:gd name="connsiteY944" fmla="*/ 1336350 h 1934496"/>
              <a:gd name="connsiteX945" fmla="*/ 7341579 w 9922465"/>
              <a:gd name="connsiteY945" fmla="*/ 1336350 h 1934496"/>
              <a:gd name="connsiteX946" fmla="*/ 7396771 w 9922465"/>
              <a:gd name="connsiteY946" fmla="*/ 1391541 h 1934496"/>
              <a:gd name="connsiteX947" fmla="*/ 7341579 w 9922465"/>
              <a:gd name="connsiteY947" fmla="*/ 1446732 h 1934496"/>
              <a:gd name="connsiteX948" fmla="*/ 7286387 w 9922465"/>
              <a:gd name="connsiteY948" fmla="*/ 1391541 h 1934496"/>
              <a:gd name="connsiteX949" fmla="*/ 7341579 w 9922465"/>
              <a:gd name="connsiteY949" fmla="*/ 1336350 h 1934496"/>
              <a:gd name="connsiteX950" fmla="*/ 7211286 w 9922465"/>
              <a:gd name="connsiteY950" fmla="*/ 1336350 h 1934496"/>
              <a:gd name="connsiteX951" fmla="*/ 7266478 w 9922465"/>
              <a:gd name="connsiteY951" fmla="*/ 1391541 h 1934496"/>
              <a:gd name="connsiteX952" fmla="*/ 7211286 w 9922465"/>
              <a:gd name="connsiteY952" fmla="*/ 1446732 h 1934496"/>
              <a:gd name="connsiteX953" fmla="*/ 7156094 w 9922465"/>
              <a:gd name="connsiteY953" fmla="*/ 1391541 h 1934496"/>
              <a:gd name="connsiteX954" fmla="*/ 7211286 w 9922465"/>
              <a:gd name="connsiteY954" fmla="*/ 1336350 h 1934496"/>
              <a:gd name="connsiteX955" fmla="*/ 7080993 w 9922465"/>
              <a:gd name="connsiteY955" fmla="*/ 1336350 h 1934496"/>
              <a:gd name="connsiteX956" fmla="*/ 7136185 w 9922465"/>
              <a:gd name="connsiteY956" fmla="*/ 1391541 h 1934496"/>
              <a:gd name="connsiteX957" fmla="*/ 7080993 w 9922465"/>
              <a:gd name="connsiteY957" fmla="*/ 1446732 h 1934496"/>
              <a:gd name="connsiteX958" fmla="*/ 7025801 w 9922465"/>
              <a:gd name="connsiteY958" fmla="*/ 1391541 h 1934496"/>
              <a:gd name="connsiteX959" fmla="*/ 7080993 w 9922465"/>
              <a:gd name="connsiteY959" fmla="*/ 1336350 h 1934496"/>
              <a:gd name="connsiteX960" fmla="*/ 6947357 w 9922465"/>
              <a:gd name="connsiteY960" fmla="*/ 1336350 h 1934496"/>
              <a:gd name="connsiteX961" fmla="*/ 7002549 w 9922465"/>
              <a:gd name="connsiteY961" fmla="*/ 1391541 h 1934496"/>
              <a:gd name="connsiteX962" fmla="*/ 6947357 w 9922465"/>
              <a:gd name="connsiteY962" fmla="*/ 1446732 h 1934496"/>
              <a:gd name="connsiteX963" fmla="*/ 6892165 w 9922465"/>
              <a:gd name="connsiteY963" fmla="*/ 1391541 h 1934496"/>
              <a:gd name="connsiteX964" fmla="*/ 6947357 w 9922465"/>
              <a:gd name="connsiteY964" fmla="*/ 1336350 h 1934496"/>
              <a:gd name="connsiteX965" fmla="*/ 6817064 w 9922465"/>
              <a:gd name="connsiteY965" fmla="*/ 1336350 h 1934496"/>
              <a:gd name="connsiteX966" fmla="*/ 6872256 w 9922465"/>
              <a:gd name="connsiteY966" fmla="*/ 1391541 h 1934496"/>
              <a:gd name="connsiteX967" fmla="*/ 6817064 w 9922465"/>
              <a:gd name="connsiteY967" fmla="*/ 1446732 h 1934496"/>
              <a:gd name="connsiteX968" fmla="*/ 6761872 w 9922465"/>
              <a:gd name="connsiteY968" fmla="*/ 1391541 h 1934496"/>
              <a:gd name="connsiteX969" fmla="*/ 6817064 w 9922465"/>
              <a:gd name="connsiteY969" fmla="*/ 1336350 h 1934496"/>
              <a:gd name="connsiteX970" fmla="*/ 6683431 w 9922465"/>
              <a:gd name="connsiteY970" fmla="*/ 1336350 h 1934496"/>
              <a:gd name="connsiteX971" fmla="*/ 6738623 w 9922465"/>
              <a:gd name="connsiteY971" fmla="*/ 1391541 h 1934496"/>
              <a:gd name="connsiteX972" fmla="*/ 6683431 w 9922465"/>
              <a:gd name="connsiteY972" fmla="*/ 1446732 h 1934496"/>
              <a:gd name="connsiteX973" fmla="*/ 6628239 w 9922465"/>
              <a:gd name="connsiteY973" fmla="*/ 1391541 h 1934496"/>
              <a:gd name="connsiteX974" fmla="*/ 6683431 w 9922465"/>
              <a:gd name="connsiteY974" fmla="*/ 1336350 h 1934496"/>
              <a:gd name="connsiteX975" fmla="*/ 6553137 w 9922465"/>
              <a:gd name="connsiteY975" fmla="*/ 1336350 h 1934496"/>
              <a:gd name="connsiteX976" fmla="*/ 6608329 w 9922465"/>
              <a:gd name="connsiteY976" fmla="*/ 1391541 h 1934496"/>
              <a:gd name="connsiteX977" fmla="*/ 6553137 w 9922465"/>
              <a:gd name="connsiteY977" fmla="*/ 1446732 h 1934496"/>
              <a:gd name="connsiteX978" fmla="*/ 6497945 w 9922465"/>
              <a:gd name="connsiteY978" fmla="*/ 1391541 h 1934496"/>
              <a:gd name="connsiteX979" fmla="*/ 6553137 w 9922465"/>
              <a:gd name="connsiteY979" fmla="*/ 1336350 h 1934496"/>
              <a:gd name="connsiteX980" fmla="*/ 6419502 w 9922465"/>
              <a:gd name="connsiteY980" fmla="*/ 1336350 h 1934496"/>
              <a:gd name="connsiteX981" fmla="*/ 6474694 w 9922465"/>
              <a:gd name="connsiteY981" fmla="*/ 1391541 h 1934496"/>
              <a:gd name="connsiteX982" fmla="*/ 6419502 w 9922465"/>
              <a:gd name="connsiteY982" fmla="*/ 1446732 h 1934496"/>
              <a:gd name="connsiteX983" fmla="*/ 6364310 w 9922465"/>
              <a:gd name="connsiteY983" fmla="*/ 1391541 h 1934496"/>
              <a:gd name="connsiteX984" fmla="*/ 6419502 w 9922465"/>
              <a:gd name="connsiteY984" fmla="*/ 1336350 h 1934496"/>
              <a:gd name="connsiteX985" fmla="*/ 6289207 w 9922465"/>
              <a:gd name="connsiteY985" fmla="*/ 1336350 h 1934496"/>
              <a:gd name="connsiteX986" fmla="*/ 6344399 w 9922465"/>
              <a:gd name="connsiteY986" fmla="*/ 1391541 h 1934496"/>
              <a:gd name="connsiteX987" fmla="*/ 6289207 w 9922465"/>
              <a:gd name="connsiteY987" fmla="*/ 1446732 h 1934496"/>
              <a:gd name="connsiteX988" fmla="*/ 6234015 w 9922465"/>
              <a:gd name="connsiteY988" fmla="*/ 1391541 h 1934496"/>
              <a:gd name="connsiteX989" fmla="*/ 6289207 w 9922465"/>
              <a:gd name="connsiteY989" fmla="*/ 1336350 h 1934496"/>
              <a:gd name="connsiteX990" fmla="*/ 6155573 w 9922465"/>
              <a:gd name="connsiteY990" fmla="*/ 1336350 h 1934496"/>
              <a:gd name="connsiteX991" fmla="*/ 6210765 w 9922465"/>
              <a:gd name="connsiteY991" fmla="*/ 1391541 h 1934496"/>
              <a:gd name="connsiteX992" fmla="*/ 6155573 w 9922465"/>
              <a:gd name="connsiteY992" fmla="*/ 1446732 h 1934496"/>
              <a:gd name="connsiteX993" fmla="*/ 6100381 w 9922465"/>
              <a:gd name="connsiteY993" fmla="*/ 1391541 h 1934496"/>
              <a:gd name="connsiteX994" fmla="*/ 6155573 w 9922465"/>
              <a:gd name="connsiteY994" fmla="*/ 1336350 h 1934496"/>
              <a:gd name="connsiteX995" fmla="*/ 6021939 w 9922465"/>
              <a:gd name="connsiteY995" fmla="*/ 1336350 h 1934496"/>
              <a:gd name="connsiteX996" fmla="*/ 6077131 w 9922465"/>
              <a:gd name="connsiteY996" fmla="*/ 1391541 h 1934496"/>
              <a:gd name="connsiteX997" fmla="*/ 6021939 w 9922465"/>
              <a:gd name="connsiteY997" fmla="*/ 1446732 h 1934496"/>
              <a:gd name="connsiteX998" fmla="*/ 5966747 w 9922465"/>
              <a:gd name="connsiteY998" fmla="*/ 1391541 h 1934496"/>
              <a:gd name="connsiteX999" fmla="*/ 6021939 w 9922465"/>
              <a:gd name="connsiteY999" fmla="*/ 1336350 h 1934496"/>
              <a:gd name="connsiteX1000" fmla="*/ 5884964 w 9922465"/>
              <a:gd name="connsiteY1000" fmla="*/ 1336350 h 1934496"/>
              <a:gd name="connsiteX1001" fmla="*/ 5940156 w 9922465"/>
              <a:gd name="connsiteY1001" fmla="*/ 1391541 h 1934496"/>
              <a:gd name="connsiteX1002" fmla="*/ 5884964 w 9922465"/>
              <a:gd name="connsiteY1002" fmla="*/ 1446732 h 1934496"/>
              <a:gd name="connsiteX1003" fmla="*/ 5829772 w 9922465"/>
              <a:gd name="connsiteY1003" fmla="*/ 1391541 h 1934496"/>
              <a:gd name="connsiteX1004" fmla="*/ 5884964 w 9922465"/>
              <a:gd name="connsiteY1004" fmla="*/ 1336350 h 1934496"/>
              <a:gd name="connsiteX1005" fmla="*/ 5754668 w 9922465"/>
              <a:gd name="connsiteY1005" fmla="*/ 1336350 h 1934496"/>
              <a:gd name="connsiteX1006" fmla="*/ 5809860 w 9922465"/>
              <a:gd name="connsiteY1006" fmla="*/ 1391541 h 1934496"/>
              <a:gd name="connsiteX1007" fmla="*/ 5754668 w 9922465"/>
              <a:gd name="connsiteY1007" fmla="*/ 1446732 h 1934496"/>
              <a:gd name="connsiteX1008" fmla="*/ 5699476 w 9922465"/>
              <a:gd name="connsiteY1008" fmla="*/ 1391541 h 1934496"/>
              <a:gd name="connsiteX1009" fmla="*/ 5754668 w 9922465"/>
              <a:gd name="connsiteY1009" fmla="*/ 1336350 h 1934496"/>
              <a:gd name="connsiteX1010" fmla="*/ 5621035 w 9922465"/>
              <a:gd name="connsiteY1010" fmla="*/ 1336350 h 1934496"/>
              <a:gd name="connsiteX1011" fmla="*/ 5676227 w 9922465"/>
              <a:gd name="connsiteY1011" fmla="*/ 1391541 h 1934496"/>
              <a:gd name="connsiteX1012" fmla="*/ 5621035 w 9922465"/>
              <a:gd name="connsiteY1012" fmla="*/ 1446732 h 1934496"/>
              <a:gd name="connsiteX1013" fmla="*/ 5565843 w 9922465"/>
              <a:gd name="connsiteY1013" fmla="*/ 1391541 h 1934496"/>
              <a:gd name="connsiteX1014" fmla="*/ 5621035 w 9922465"/>
              <a:gd name="connsiteY1014" fmla="*/ 1336350 h 1934496"/>
              <a:gd name="connsiteX1015" fmla="*/ 5487399 w 9922465"/>
              <a:gd name="connsiteY1015" fmla="*/ 1336350 h 1934496"/>
              <a:gd name="connsiteX1016" fmla="*/ 5542591 w 9922465"/>
              <a:gd name="connsiteY1016" fmla="*/ 1391541 h 1934496"/>
              <a:gd name="connsiteX1017" fmla="*/ 5487399 w 9922465"/>
              <a:gd name="connsiteY1017" fmla="*/ 1446732 h 1934496"/>
              <a:gd name="connsiteX1018" fmla="*/ 5432207 w 9922465"/>
              <a:gd name="connsiteY1018" fmla="*/ 1391541 h 1934496"/>
              <a:gd name="connsiteX1019" fmla="*/ 5487399 w 9922465"/>
              <a:gd name="connsiteY1019" fmla="*/ 1336350 h 1934496"/>
              <a:gd name="connsiteX1020" fmla="*/ 5357106 w 9922465"/>
              <a:gd name="connsiteY1020" fmla="*/ 1336350 h 1934496"/>
              <a:gd name="connsiteX1021" fmla="*/ 5412298 w 9922465"/>
              <a:gd name="connsiteY1021" fmla="*/ 1391541 h 1934496"/>
              <a:gd name="connsiteX1022" fmla="*/ 5357106 w 9922465"/>
              <a:gd name="connsiteY1022" fmla="*/ 1446732 h 1934496"/>
              <a:gd name="connsiteX1023" fmla="*/ 5301914 w 9922465"/>
              <a:gd name="connsiteY1023" fmla="*/ 1391541 h 1934496"/>
              <a:gd name="connsiteX1024" fmla="*/ 5357106 w 9922465"/>
              <a:gd name="connsiteY1024" fmla="*/ 1336350 h 1934496"/>
              <a:gd name="connsiteX1025" fmla="*/ 4959543 w 9922465"/>
              <a:gd name="connsiteY1025" fmla="*/ 1336350 h 1934496"/>
              <a:gd name="connsiteX1026" fmla="*/ 5014735 w 9922465"/>
              <a:gd name="connsiteY1026" fmla="*/ 1391541 h 1934496"/>
              <a:gd name="connsiteX1027" fmla="*/ 4959543 w 9922465"/>
              <a:gd name="connsiteY1027" fmla="*/ 1446732 h 1934496"/>
              <a:gd name="connsiteX1028" fmla="*/ 4904351 w 9922465"/>
              <a:gd name="connsiteY1028" fmla="*/ 1391541 h 1934496"/>
              <a:gd name="connsiteX1029" fmla="*/ 4959543 w 9922465"/>
              <a:gd name="connsiteY1029" fmla="*/ 1336350 h 1934496"/>
              <a:gd name="connsiteX1030" fmla="*/ 4565322 w 9922465"/>
              <a:gd name="connsiteY1030" fmla="*/ 1336350 h 1934496"/>
              <a:gd name="connsiteX1031" fmla="*/ 4620514 w 9922465"/>
              <a:gd name="connsiteY1031" fmla="*/ 1391541 h 1934496"/>
              <a:gd name="connsiteX1032" fmla="*/ 4565322 w 9922465"/>
              <a:gd name="connsiteY1032" fmla="*/ 1446732 h 1934496"/>
              <a:gd name="connsiteX1033" fmla="*/ 4510130 w 9922465"/>
              <a:gd name="connsiteY1033" fmla="*/ 1391541 h 1934496"/>
              <a:gd name="connsiteX1034" fmla="*/ 4565322 w 9922465"/>
              <a:gd name="connsiteY1034" fmla="*/ 1336350 h 1934496"/>
              <a:gd name="connsiteX1035" fmla="*/ 2971729 w 9922465"/>
              <a:gd name="connsiteY1035" fmla="*/ 1336350 h 1934496"/>
              <a:gd name="connsiteX1036" fmla="*/ 3026921 w 9922465"/>
              <a:gd name="connsiteY1036" fmla="*/ 1391541 h 1934496"/>
              <a:gd name="connsiteX1037" fmla="*/ 2971729 w 9922465"/>
              <a:gd name="connsiteY1037" fmla="*/ 1446732 h 1934496"/>
              <a:gd name="connsiteX1038" fmla="*/ 2916537 w 9922465"/>
              <a:gd name="connsiteY1038" fmla="*/ 1391541 h 1934496"/>
              <a:gd name="connsiteX1039" fmla="*/ 2971729 w 9922465"/>
              <a:gd name="connsiteY1039" fmla="*/ 1336350 h 1934496"/>
              <a:gd name="connsiteX1040" fmla="*/ 2834801 w 9922465"/>
              <a:gd name="connsiteY1040" fmla="*/ 1336350 h 1934496"/>
              <a:gd name="connsiteX1041" fmla="*/ 2889994 w 9922465"/>
              <a:gd name="connsiteY1041" fmla="*/ 1391541 h 1934496"/>
              <a:gd name="connsiteX1042" fmla="*/ 2834801 w 9922465"/>
              <a:gd name="connsiteY1042" fmla="*/ 1446732 h 1934496"/>
              <a:gd name="connsiteX1043" fmla="*/ 2779610 w 9922465"/>
              <a:gd name="connsiteY1043" fmla="*/ 1391541 h 1934496"/>
              <a:gd name="connsiteX1044" fmla="*/ 2834801 w 9922465"/>
              <a:gd name="connsiteY1044" fmla="*/ 1336350 h 1934496"/>
              <a:gd name="connsiteX1045" fmla="*/ 2707848 w 9922465"/>
              <a:gd name="connsiteY1045" fmla="*/ 1336350 h 1934496"/>
              <a:gd name="connsiteX1046" fmla="*/ 2763042 w 9922465"/>
              <a:gd name="connsiteY1046" fmla="*/ 1391541 h 1934496"/>
              <a:gd name="connsiteX1047" fmla="*/ 2707848 w 9922465"/>
              <a:gd name="connsiteY1047" fmla="*/ 1446732 h 1934496"/>
              <a:gd name="connsiteX1048" fmla="*/ 2652656 w 9922465"/>
              <a:gd name="connsiteY1048" fmla="*/ 1391541 h 1934496"/>
              <a:gd name="connsiteX1049" fmla="*/ 2707848 w 9922465"/>
              <a:gd name="connsiteY1049" fmla="*/ 1336350 h 1934496"/>
              <a:gd name="connsiteX1050" fmla="*/ 2570875 w 9922465"/>
              <a:gd name="connsiteY1050" fmla="*/ 1336350 h 1934496"/>
              <a:gd name="connsiteX1051" fmla="*/ 2626067 w 9922465"/>
              <a:gd name="connsiteY1051" fmla="*/ 1391541 h 1934496"/>
              <a:gd name="connsiteX1052" fmla="*/ 2570875 w 9922465"/>
              <a:gd name="connsiteY1052" fmla="*/ 1446732 h 1934496"/>
              <a:gd name="connsiteX1053" fmla="*/ 2515683 w 9922465"/>
              <a:gd name="connsiteY1053" fmla="*/ 1391541 h 1934496"/>
              <a:gd name="connsiteX1054" fmla="*/ 2570875 w 9922465"/>
              <a:gd name="connsiteY1054" fmla="*/ 1336350 h 1934496"/>
              <a:gd name="connsiteX1055" fmla="*/ 2173314 w 9922465"/>
              <a:gd name="connsiteY1055" fmla="*/ 1336350 h 1934496"/>
              <a:gd name="connsiteX1056" fmla="*/ 2228507 w 9922465"/>
              <a:gd name="connsiteY1056" fmla="*/ 1391541 h 1934496"/>
              <a:gd name="connsiteX1057" fmla="*/ 2173314 w 9922465"/>
              <a:gd name="connsiteY1057" fmla="*/ 1446732 h 1934496"/>
              <a:gd name="connsiteX1058" fmla="*/ 2118122 w 9922465"/>
              <a:gd name="connsiteY1058" fmla="*/ 1391541 h 1934496"/>
              <a:gd name="connsiteX1059" fmla="*/ 2173314 w 9922465"/>
              <a:gd name="connsiteY1059" fmla="*/ 1336350 h 1934496"/>
              <a:gd name="connsiteX1060" fmla="*/ 2039678 w 9922465"/>
              <a:gd name="connsiteY1060" fmla="*/ 1336350 h 1934496"/>
              <a:gd name="connsiteX1061" fmla="*/ 2094870 w 9922465"/>
              <a:gd name="connsiteY1061" fmla="*/ 1391541 h 1934496"/>
              <a:gd name="connsiteX1062" fmla="*/ 2039678 w 9922465"/>
              <a:gd name="connsiteY1062" fmla="*/ 1446732 h 1934496"/>
              <a:gd name="connsiteX1063" fmla="*/ 1984484 w 9922465"/>
              <a:gd name="connsiteY1063" fmla="*/ 1391541 h 1934496"/>
              <a:gd name="connsiteX1064" fmla="*/ 2039678 w 9922465"/>
              <a:gd name="connsiteY1064" fmla="*/ 1336350 h 1934496"/>
              <a:gd name="connsiteX1065" fmla="*/ 1909381 w 9922465"/>
              <a:gd name="connsiteY1065" fmla="*/ 1336350 h 1934496"/>
              <a:gd name="connsiteX1066" fmla="*/ 1964575 w 9922465"/>
              <a:gd name="connsiteY1066" fmla="*/ 1391541 h 1934496"/>
              <a:gd name="connsiteX1067" fmla="*/ 1909381 w 9922465"/>
              <a:gd name="connsiteY1067" fmla="*/ 1446732 h 1934496"/>
              <a:gd name="connsiteX1068" fmla="*/ 1854188 w 9922465"/>
              <a:gd name="connsiteY1068" fmla="*/ 1391541 h 1934496"/>
              <a:gd name="connsiteX1069" fmla="*/ 1909381 w 9922465"/>
              <a:gd name="connsiteY1069" fmla="*/ 1336350 h 1934496"/>
              <a:gd name="connsiteX1070" fmla="*/ 1779086 w 9922465"/>
              <a:gd name="connsiteY1070" fmla="*/ 1336350 h 1934496"/>
              <a:gd name="connsiteX1071" fmla="*/ 1834278 w 9922465"/>
              <a:gd name="connsiteY1071" fmla="*/ 1391541 h 1934496"/>
              <a:gd name="connsiteX1072" fmla="*/ 1779086 w 9922465"/>
              <a:gd name="connsiteY1072" fmla="*/ 1446732 h 1934496"/>
              <a:gd name="connsiteX1073" fmla="*/ 1723892 w 9922465"/>
              <a:gd name="connsiteY1073" fmla="*/ 1391541 h 1934496"/>
              <a:gd name="connsiteX1074" fmla="*/ 1779086 w 9922465"/>
              <a:gd name="connsiteY1074" fmla="*/ 1336350 h 1934496"/>
              <a:gd name="connsiteX1075" fmla="*/ 1645448 w 9922465"/>
              <a:gd name="connsiteY1075" fmla="*/ 1336350 h 1934496"/>
              <a:gd name="connsiteX1076" fmla="*/ 1700644 w 9922465"/>
              <a:gd name="connsiteY1076" fmla="*/ 1391541 h 1934496"/>
              <a:gd name="connsiteX1077" fmla="*/ 1645448 w 9922465"/>
              <a:gd name="connsiteY1077" fmla="*/ 1446732 h 1934496"/>
              <a:gd name="connsiteX1078" fmla="*/ 1590256 w 9922465"/>
              <a:gd name="connsiteY1078" fmla="*/ 1391541 h 1934496"/>
              <a:gd name="connsiteX1079" fmla="*/ 1645448 w 9922465"/>
              <a:gd name="connsiteY1079" fmla="*/ 1336350 h 1934496"/>
              <a:gd name="connsiteX1080" fmla="*/ 1515160 w 9922465"/>
              <a:gd name="connsiteY1080" fmla="*/ 1336350 h 1934496"/>
              <a:gd name="connsiteX1081" fmla="*/ 1570346 w 9922465"/>
              <a:gd name="connsiteY1081" fmla="*/ 1391541 h 1934496"/>
              <a:gd name="connsiteX1082" fmla="*/ 1515160 w 9922465"/>
              <a:gd name="connsiteY1082" fmla="*/ 1446732 h 1934496"/>
              <a:gd name="connsiteX1083" fmla="*/ 1459963 w 9922465"/>
              <a:gd name="connsiteY1083" fmla="*/ 1391541 h 1934496"/>
              <a:gd name="connsiteX1084" fmla="*/ 1515160 w 9922465"/>
              <a:gd name="connsiteY1084" fmla="*/ 1336350 h 1934496"/>
              <a:gd name="connsiteX1085" fmla="*/ 1381522 w 9922465"/>
              <a:gd name="connsiteY1085" fmla="*/ 1336350 h 1934496"/>
              <a:gd name="connsiteX1086" fmla="*/ 1436714 w 9922465"/>
              <a:gd name="connsiteY1086" fmla="*/ 1391541 h 1934496"/>
              <a:gd name="connsiteX1087" fmla="*/ 1381522 w 9922465"/>
              <a:gd name="connsiteY1087" fmla="*/ 1446732 h 1934496"/>
              <a:gd name="connsiteX1088" fmla="*/ 1326330 w 9922465"/>
              <a:gd name="connsiteY1088" fmla="*/ 1391541 h 1934496"/>
              <a:gd name="connsiteX1089" fmla="*/ 1381522 w 9922465"/>
              <a:gd name="connsiteY1089" fmla="*/ 1336350 h 1934496"/>
              <a:gd name="connsiteX1090" fmla="*/ 1251229 w 9922465"/>
              <a:gd name="connsiteY1090" fmla="*/ 1336350 h 1934496"/>
              <a:gd name="connsiteX1091" fmla="*/ 1306421 w 9922465"/>
              <a:gd name="connsiteY1091" fmla="*/ 1391541 h 1934496"/>
              <a:gd name="connsiteX1092" fmla="*/ 1251229 w 9922465"/>
              <a:gd name="connsiteY1092" fmla="*/ 1446732 h 1934496"/>
              <a:gd name="connsiteX1093" fmla="*/ 1196037 w 9922465"/>
              <a:gd name="connsiteY1093" fmla="*/ 1391541 h 1934496"/>
              <a:gd name="connsiteX1094" fmla="*/ 1251229 w 9922465"/>
              <a:gd name="connsiteY1094" fmla="*/ 1336350 h 1934496"/>
              <a:gd name="connsiteX1095" fmla="*/ 1117592 w 9922465"/>
              <a:gd name="connsiteY1095" fmla="*/ 1336350 h 1934496"/>
              <a:gd name="connsiteX1096" fmla="*/ 1172785 w 9922465"/>
              <a:gd name="connsiteY1096" fmla="*/ 1391541 h 1934496"/>
              <a:gd name="connsiteX1097" fmla="*/ 1117592 w 9922465"/>
              <a:gd name="connsiteY1097" fmla="*/ 1446732 h 1934496"/>
              <a:gd name="connsiteX1098" fmla="*/ 1062400 w 9922465"/>
              <a:gd name="connsiteY1098" fmla="*/ 1391541 h 1934496"/>
              <a:gd name="connsiteX1099" fmla="*/ 1117592 w 9922465"/>
              <a:gd name="connsiteY1099" fmla="*/ 1336350 h 1934496"/>
              <a:gd name="connsiteX1100" fmla="*/ 980615 w 9922465"/>
              <a:gd name="connsiteY1100" fmla="*/ 1336350 h 1934496"/>
              <a:gd name="connsiteX1101" fmla="*/ 1035808 w 9922465"/>
              <a:gd name="connsiteY1101" fmla="*/ 1391541 h 1934496"/>
              <a:gd name="connsiteX1102" fmla="*/ 980615 w 9922465"/>
              <a:gd name="connsiteY1102" fmla="*/ 1446732 h 1934496"/>
              <a:gd name="connsiteX1103" fmla="*/ 925422 w 9922465"/>
              <a:gd name="connsiteY1103" fmla="*/ 1391541 h 1934496"/>
              <a:gd name="connsiteX1104" fmla="*/ 980615 w 9922465"/>
              <a:gd name="connsiteY1104" fmla="*/ 1336350 h 1934496"/>
              <a:gd name="connsiteX1105" fmla="*/ 9199101 w 9922465"/>
              <a:gd name="connsiteY1105" fmla="*/ 1336348 h 1934496"/>
              <a:gd name="connsiteX1106" fmla="*/ 9254293 w 9922465"/>
              <a:gd name="connsiteY1106" fmla="*/ 1391539 h 1934496"/>
              <a:gd name="connsiteX1107" fmla="*/ 9199101 w 9922465"/>
              <a:gd name="connsiteY1107" fmla="*/ 1446730 h 1934496"/>
              <a:gd name="connsiteX1108" fmla="*/ 9143909 w 9922465"/>
              <a:gd name="connsiteY1108" fmla="*/ 1391539 h 1934496"/>
              <a:gd name="connsiteX1109" fmla="*/ 9199101 w 9922465"/>
              <a:gd name="connsiteY1109" fmla="*/ 1336348 h 1934496"/>
              <a:gd name="connsiteX1110" fmla="*/ 9068807 w 9922465"/>
              <a:gd name="connsiteY1110" fmla="*/ 1336348 h 1934496"/>
              <a:gd name="connsiteX1111" fmla="*/ 9123999 w 9922465"/>
              <a:gd name="connsiteY1111" fmla="*/ 1391539 h 1934496"/>
              <a:gd name="connsiteX1112" fmla="*/ 9068807 w 9922465"/>
              <a:gd name="connsiteY1112" fmla="*/ 1446730 h 1934496"/>
              <a:gd name="connsiteX1113" fmla="*/ 9013615 w 9922465"/>
              <a:gd name="connsiteY1113" fmla="*/ 1391539 h 1934496"/>
              <a:gd name="connsiteX1114" fmla="*/ 9068807 w 9922465"/>
              <a:gd name="connsiteY1114" fmla="*/ 1336348 h 1934496"/>
              <a:gd name="connsiteX1115" fmla="*/ 8407316 w 9922465"/>
              <a:gd name="connsiteY1115" fmla="*/ 1336348 h 1934496"/>
              <a:gd name="connsiteX1116" fmla="*/ 8462508 w 9922465"/>
              <a:gd name="connsiteY1116" fmla="*/ 1391539 h 1934496"/>
              <a:gd name="connsiteX1117" fmla="*/ 8407316 w 9922465"/>
              <a:gd name="connsiteY1117" fmla="*/ 1446730 h 1934496"/>
              <a:gd name="connsiteX1118" fmla="*/ 8352124 w 9922465"/>
              <a:gd name="connsiteY1118" fmla="*/ 1391539 h 1934496"/>
              <a:gd name="connsiteX1119" fmla="*/ 8407316 w 9922465"/>
              <a:gd name="connsiteY1119" fmla="*/ 1336348 h 1934496"/>
              <a:gd name="connsiteX1120" fmla="*/ 8273682 w 9922465"/>
              <a:gd name="connsiteY1120" fmla="*/ 1336348 h 1934496"/>
              <a:gd name="connsiteX1121" fmla="*/ 8328874 w 9922465"/>
              <a:gd name="connsiteY1121" fmla="*/ 1391539 h 1934496"/>
              <a:gd name="connsiteX1122" fmla="*/ 8273682 w 9922465"/>
              <a:gd name="connsiteY1122" fmla="*/ 1446730 h 1934496"/>
              <a:gd name="connsiteX1123" fmla="*/ 8218490 w 9922465"/>
              <a:gd name="connsiteY1123" fmla="*/ 1391539 h 1934496"/>
              <a:gd name="connsiteX1124" fmla="*/ 8273682 w 9922465"/>
              <a:gd name="connsiteY1124" fmla="*/ 1336348 h 1934496"/>
              <a:gd name="connsiteX1125" fmla="*/ 8143388 w 9922465"/>
              <a:gd name="connsiteY1125" fmla="*/ 1336348 h 1934496"/>
              <a:gd name="connsiteX1126" fmla="*/ 8198580 w 9922465"/>
              <a:gd name="connsiteY1126" fmla="*/ 1391539 h 1934496"/>
              <a:gd name="connsiteX1127" fmla="*/ 8143388 w 9922465"/>
              <a:gd name="connsiteY1127" fmla="*/ 1446730 h 1934496"/>
              <a:gd name="connsiteX1128" fmla="*/ 8088196 w 9922465"/>
              <a:gd name="connsiteY1128" fmla="*/ 1391539 h 1934496"/>
              <a:gd name="connsiteX1129" fmla="*/ 8143388 w 9922465"/>
              <a:gd name="connsiteY1129" fmla="*/ 1336348 h 1934496"/>
              <a:gd name="connsiteX1130" fmla="*/ 8009753 w 9922465"/>
              <a:gd name="connsiteY1130" fmla="*/ 1336348 h 1934496"/>
              <a:gd name="connsiteX1131" fmla="*/ 8064945 w 9922465"/>
              <a:gd name="connsiteY1131" fmla="*/ 1391539 h 1934496"/>
              <a:gd name="connsiteX1132" fmla="*/ 8009753 w 9922465"/>
              <a:gd name="connsiteY1132" fmla="*/ 1446730 h 1934496"/>
              <a:gd name="connsiteX1133" fmla="*/ 7954561 w 9922465"/>
              <a:gd name="connsiteY1133" fmla="*/ 1391539 h 1934496"/>
              <a:gd name="connsiteX1134" fmla="*/ 8009753 w 9922465"/>
              <a:gd name="connsiteY1134" fmla="*/ 1336348 h 1934496"/>
              <a:gd name="connsiteX1135" fmla="*/ 7876118 w 9922465"/>
              <a:gd name="connsiteY1135" fmla="*/ 1336348 h 1934496"/>
              <a:gd name="connsiteX1136" fmla="*/ 7931310 w 9922465"/>
              <a:gd name="connsiteY1136" fmla="*/ 1391539 h 1934496"/>
              <a:gd name="connsiteX1137" fmla="*/ 7876118 w 9922465"/>
              <a:gd name="connsiteY1137" fmla="*/ 1446730 h 1934496"/>
              <a:gd name="connsiteX1138" fmla="*/ 7820926 w 9922465"/>
              <a:gd name="connsiteY1138" fmla="*/ 1391539 h 1934496"/>
              <a:gd name="connsiteX1139" fmla="*/ 7876118 w 9922465"/>
              <a:gd name="connsiteY1139" fmla="*/ 1336348 h 1934496"/>
              <a:gd name="connsiteX1140" fmla="*/ 7745823 w 9922465"/>
              <a:gd name="connsiteY1140" fmla="*/ 1336348 h 1934496"/>
              <a:gd name="connsiteX1141" fmla="*/ 7801015 w 9922465"/>
              <a:gd name="connsiteY1141" fmla="*/ 1391539 h 1934496"/>
              <a:gd name="connsiteX1142" fmla="*/ 7745823 w 9922465"/>
              <a:gd name="connsiteY1142" fmla="*/ 1446730 h 1934496"/>
              <a:gd name="connsiteX1143" fmla="*/ 7690631 w 9922465"/>
              <a:gd name="connsiteY1143" fmla="*/ 1391539 h 1934496"/>
              <a:gd name="connsiteX1144" fmla="*/ 7745823 w 9922465"/>
              <a:gd name="connsiteY1144" fmla="*/ 1336348 h 1934496"/>
              <a:gd name="connsiteX1145" fmla="*/ 185475 w 9922465"/>
              <a:gd name="connsiteY1145" fmla="*/ 1336348 h 1934496"/>
              <a:gd name="connsiteX1146" fmla="*/ 240666 w 9922465"/>
              <a:gd name="connsiteY1146" fmla="*/ 1391539 h 1934496"/>
              <a:gd name="connsiteX1147" fmla="*/ 185475 w 9922465"/>
              <a:gd name="connsiteY1147" fmla="*/ 1446730 h 1934496"/>
              <a:gd name="connsiteX1148" fmla="*/ 130283 w 9922465"/>
              <a:gd name="connsiteY1148" fmla="*/ 1391539 h 1934496"/>
              <a:gd name="connsiteX1149" fmla="*/ 185475 w 9922465"/>
              <a:gd name="connsiteY1149" fmla="*/ 1336348 h 1934496"/>
              <a:gd name="connsiteX1150" fmla="*/ 9199101 w 9922465"/>
              <a:gd name="connsiteY1150" fmla="*/ 1219421 h 1934496"/>
              <a:gd name="connsiteX1151" fmla="*/ 9254293 w 9922465"/>
              <a:gd name="connsiteY1151" fmla="*/ 1274612 h 1934496"/>
              <a:gd name="connsiteX1152" fmla="*/ 9199101 w 9922465"/>
              <a:gd name="connsiteY1152" fmla="*/ 1329803 h 1934496"/>
              <a:gd name="connsiteX1153" fmla="*/ 9143909 w 9922465"/>
              <a:gd name="connsiteY1153" fmla="*/ 1274612 h 1934496"/>
              <a:gd name="connsiteX1154" fmla="*/ 9199101 w 9922465"/>
              <a:gd name="connsiteY1154" fmla="*/ 1219421 h 1934496"/>
              <a:gd name="connsiteX1155" fmla="*/ 9068807 w 9922465"/>
              <a:gd name="connsiteY1155" fmla="*/ 1219421 h 1934496"/>
              <a:gd name="connsiteX1156" fmla="*/ 9123999 w 9922465"/>
              <a:gd name="connsiteY1156" fmla="*/ 1274612 h 1934496"/>
              <a:gd name="connsiteX1157" fmla="*/ 9068807 w 9922465"/>
              <a:gd name="connsiteY1157" fmla="*/ 1329803 h 1934496"/>
              <a:gd name="connsiteX1158" fmla="*/ 9013615 w 9922465"/>
              <a:gd name="connsiteY1158" fmla="*/ 1274612 h 1934496"/>
              <a:gd name="connsiteX1159" fmla="*/ 9068807 w 9922465"/>
              <a:gd name="connsiteY1159" fmla="*/ 1219421 h 1934496"/>
              <a:gd name="connsiteX1160" fmla="*/ 8537612 w 9922465"/>
              <a:gd name="connsiteY1160" fmla="*/ 1219421 h 1934496"/>
              <a:gd name="connsiteX1161" fmla="*/ 8592804 w 9922465"/>
              <a:gd name="connsiteY1161" fmla="*/ 1274612 h 1934496"/>
              <a:gd name="connsiteX1162" fmla="*/ 8537612 w 9922465"/>
              <a:gd name="connsiteY1162" fmla="*/ 1329803 h 1934496"/>
              <a:gd name="connsiteX1163" fmla="*/ 8482420 w 9922465"/>
              <a:gd name="connsiteY1163" fmla="*/ 1274612 h 1934496"/>
              <a:gd name="connsiteX1164" fmla="*/ 8537612 w 9922465"/>
              <a:gd name="connsiteY1164" fmla="*/ 1219421 h 1934496"/>
              <a:gd name="connsiteX1165" fmla="*/ 8407316 w 9922465"/>
              <a:gd name="connsiteY1165" fmla="*/ 1219421 h 1934496"/>
              <a:gd name="connsiteX1166" fmla="*/ 8462508 w 9922465"/>
              <a:gd name="connsiteY1166" fmla="*/ 1274612 h 1934496"/>
              <a:gd name="connsiteX1167" fmla="*/ 8407316 w 9922465"/>
              <a:gd name="connsiteY1167" fmla="*/ 1329803 h 1934496"/>
              <a:gd name="connsiteX1168" fmla="*/ 8352124 w 9922465"/>
              <a:gd name="connsiteY1168" fmla="*/ 1274612 h 1934496"/>
              <a:gd name="connsiteX1169" fmla="*/ 8407316 w 9922465"/>
              <a:gd name="connsiteY1169" fmla="*/ 1219421 h 1934496"/>
              <a:gd name="connsiteX1170" fmla="*/ 8273682 w 9922465"/>
              <a:gd name="connsiteY1170" fmla="*/ 1219421 h 1934496"/>
              <a:gd name="connsiteX1171" fmla="*/ 8328874 w 9922465"/>
              <a:gd name="connsiteY1171" fmla="*/ 1274612 h 1934496"/>
              <a:gd name="connsiteX1172" fmla="*/ 8273682 w 9922465"/>
              <a:gd name="connsiteY1172" fmla="*/ 1329803 h 1934496"/>
              <a:gd name="connsiteX1173" fmla="*/ 8218490 w 9922465"/>
              <a:gd name="connsiteY1173" fmla="*/ 1274612 h 1934496"/>
              <a:gd name="connsiteX1174" fmla="*/ 8273682 w 9922465"/>
              <a:gd name="connsiteY1174" fmla="*/ 1219421 h 1934496"/>
              <a:gd name="connsiteX1175" fmla="*/ 8143388 w 9922465"/>
              <a:gd name="connsiteY1175" fmla="*/ 1219421 h 1934496"/>
              <a:gd name="connsiteX1176" fmla="*/ 8198580 w 9922465"/>
              <a:gd name="connsiteY1176" fmla="*/ 1274612 h 1934496"/>
              <a:gd name="connsiteX1177" fmla="*/ 8143388 w 9922465"/>
              <a:gd name="connsiteY1177" fmla="*/ 1329803 h 1934496"/>
              <a:gd name="connsiteX1178" fmla="*/ 8088196 w 9922465"/>
              <a:gd name="connsiteY1178" fmla="*/ 1274612 h 1934496"/>
              <a:gd name="connsiteX1179" fmla="*/ 8143388 w 9922465"/>
              <a:gd name="connsiteY1179" fmla="*/ 1219421 h 1934496"/>
              <a:gd name="connsiteX1180" fmla="*/ 8009753 w 9922465"/>
              <a:gd name="connsiteY1180" fmla="*/ 1219421 h 1934496"/>
              <a:gd name="connsiteX1181" fmla="*/ 8064945 w 9922465"/>
              <a:gd name="connsiteY1181" fmla="*/ 1274612 h 1934496"/>
              <a:gd name="connsiteX1182" fmla="*/ 8009753 w 9922465"/>
              <a:gd name="connsiteY1182" fmla="*/ 1329803 h 1934496"/>
              <a:gd name="connsiteX1183" fmla="*/ 7954561 w 9922465"/>
              <a:gd name="connsiteY1183" fmla="*/ 1274612 h 1934496"/>
              <a:gd name="connsiteX1184" fmla="*/ 8009753 w 9922465"/>
              <a:gd name="connsiteY1184" fmla="*/ 1219421 h 1934496"/>
              <a:gd name="connsiteX1185" fmla="*/ 7876118 w 9922465"/>
              <a:gd name="connsiteY1185" fmla="*/ 1219421 h 1934496"/>
              <a:gd name="connsiteX1186" fmla="*/ 7931310 w 9922465"/>
              <a:gd name="connsiteY1186" fmla="*/ 1274612 h 1934496"/>
              <a:gd name="connsiteX1187" fmla="*/ 7876118 w 9922465"/>
              <a:gd name="connsiteY1187" fmla="*/ 1329803 h 1934496"/>
              <a:gd name="connsiteX1188" fmla="*/ 7820926 w 9922465"/>
              <a:gd name="connsiteY1188" fmla="*/ 1274612 h 1934496"/>
              <a:gd name="connsiteX1189" fmla="*/ 7876118 w 9922465"/>
              <a:gd name="connsiteY1189" fmla="*/ 1219421 h 1934496"/>
              <a:gd name="connsiteX1190" fmla="*/ 7745823 w 9922465"/>
              <a:gd name="connsiteY1190" fmla="*/ 1219421 h 1934496"/>
              <a:gd name="connsiteX1191" fmla="*/ 7801015 w 9922465"/>
              <a:gd name="connsiteY1191" fmla="*/ 1274612 h 1934496"/>
              <a:gd name="connsiteX1192" fmla="*/ 7745823 w 9922465"/>
              <a:gd name="connsiteY1192" fmla="*/ 1329803 h 1934496"/>
              <a:gd name="connsiteX1193" fmla="*/ 7690631 w 9922465"/>
              <a:gd name="connsiteY1193" fmla="*/ 1274612 h 1934496"/>
              <a:gd name="connsiteX1194" fmla="*/ 7745823 w 9922465"/>
              <a:gd name="connsiteY1194" fmla="*/ 1219421 h 1934496"/>
              <a:gd name="connsiteX1195" fmla="*/ 7608849 w 9922465"/>
              <a:gd name="connsiteY1195" fmla="*/ 1219421 h 1934496"/>
              <a:gd name="connsiteX1196" fmla="*/ 7664041 w 9922465"/>
              <a:gd name="connsiteY1196" fmla="*/ 1274612 h 1934496"/>
              <a:gd name="connsiteX1197" fmla="*/ 7608849 w 9922465"/>
              <a:gd name="connsiteY1197" fmla="*/ 1329803 h 1934496"/>
              <a:gd name="connsiteX1198" fmla="*/ 7553657 w 9922465"/>
              <a:gd name="connsiteY1198" fmla="*/ 1274612 h 1934496"/>
              <a:gd name="connsiteX1199" fmla="*/ 7608849 w 9922465"/>
              <a:gd name="connsiteY1199" fmla="*/ 1219421 h 1934496"/>
              <a:gd name="connsiteX1200" fmla="*/ 7481897 w 9922465"/>
              <a:gd name="connsiteY1200" fmla="*/ 1219421 h 1934496"/>
              <a:gd name="connsiteX1201" fmla="*/ 7537089 w 9922465"/>
              <a:gd name="connsiteY1201" fmla="*/ 1274612 h 1934496"/>
              <a:gd name="connsiteX1202" fmla="*/ 7481897 w 9922465"/>
              <a:gd name="connsiteY1202" fmla="*/ 1329803 h 1934496"/>
              <a:gd name="connsiteX1203" fmla="*/ 7426705 w 9922465"/>
              <a:gd name="connsiteY1203" fmla="*/ 1274612 h 1934496"/>
              <a:gd name="connsiteX1204" fmla="*/ 7481897 w 9922465"/>
              <a:gd name="connsiteY1204" fmla="*/ 1219421 h 1934496"/>
              <a:gd name="connsiteX1205" fmla="*/ 7341579 w 9922465"/>
              <a:gd name="connsiteY1205" fmla="*/ 1219421 h 1934496"/>
              <a:gd name="connsiteX1206" fmla="*/ 7396771 w 9922465"/>
              <a:gd name="connsiteY1206" fmla="*/ 1274612 h 1934496"/>
              <a:gd name="connsiteX1207" fmla="*/ 7341579 w 9922465"/>
              <a:gd name="connsiteY1207" fmla="*/ 1329803 h 1934496"/>
              <a:gd name="connsiteX1208" fmla="*/ 7286387 w 9922465"/>
              <a:gd name="connsiteY1208" fmla="*/ 1274612 h 1934496"/>
              <a:gd name="connsiteX1209" fmla="*/ 7341579 w 9922465"/>
              <a:gd name="connsiteY1209" fmla="*/ 1219421 h 1934496"/>
              <a:gd name="connsiteX1210" fmla="*/ 7211286 w 9922465"/>
              <a:gd name="connsiteY1210" fmla="*/ 1219421 h 1934496"/>
              <a:gd name="connsiteX1211" fmla="*/ 7266478 w 9922465"/>
              <a:gd name="connsiteY1211" fmla="*/ 1274612 h 1934496"/>
              <a:gd name="connsiteX1212" fmla="*/ 7211286 w 9922465"/>
              <a:gd name="connsiteY1212" fmla="*/ 1329803 h 1934496"/>
              <a:gd name="connsiteX1213" fmla="*/ 7156094 w 9922465"/>
              <a:gd name="connsiteY1213" fmla="*/ 1274612 h 1934496"/>
              <a:gd name="connsiteX1214" fmla="*/ 7211286 w 9922465"/>
              <a:gd name="connsiteY1214" fmla="*/ 1219421 h 1934496"/>
              <a:gd name="connsiteX1215" fmla="*/ 7080993 w 9922465"/>
              <a:gd name="connsiteY1215" fmla="*/ 1219421 h 1934496"/>
              <a:gd name="connsiteX1216" fmla="*/ 7136185 w 9922465"/>
              <a:gd name="connsiteY1216" fmla="*/ 1274612 h 1934496"/>
              <a:gd name="connsiteX1217" fmla="*/ 7080993 w 9922465"/>
              <a:gd name="connsiteY1217" fmla="*/ 1329803 h 1934496"/>
              <a:gd name="connsiteX1218" fmla="*/ 7025801 w 9922465"/>
              <a:gd name="connsiteY1218" fmla="*/ 1274612 h 1934496"/>
              <a:gd name="connsiteX1219" fmla="*/ 7080993 w 9922465"/>
              <a:gd name="connsiteY1219" fmla="*/ 1219421 h 1934496"/>
              <a:gd name="connsiteX1220" fmla="*/ 6947357 w 9922465"/>
              <a:gd name="connsiteY1220" fmla="*/ 1219421 h 1934496"/>
              <a:gd name="connsiteX1221" fmla="*/ 7002549 w 9922465"/>
              <a:gd name="connsiteY1221" fmla="*/ 1274612 h 1934496"/>
              <a:gd name="connsiteX1222" fmla="*/ 6947357 w 9922465"/>
              <a:gd name="connsiteY1222" fmla="*/ 1329803 h 1934496"/>
              <a:gd name="connsiteX1223" fmla="*/ 6892165 w 9922465"/>
              <a:gd name="connsiteY1223" fmla="*/ 1274612 h 1934496"/>
              <a:gd name="connsiteX1224" fmla="*/ 6947357 w 9922465"/>
              <a:gd name="connsiteY1224" fmla="*/ 1219421 h 1934496"/>
              <a:gd name="connsiteX1225" fmla="*/ 6817064 w 9922465"/>
              <a:gd name="connsiteY1225" fmla="*/ 1219421 h 1934496"/>
              <a:gd name="connsiteX1226" fmla="*/ 6872256 w 9922465"/>
              <a:gd name="connsiteY1226" fmla="*/ 1274612 h 1934496"/>
              <a:gd name="connsiteX1227" fmla="*/ 6817064 w 9922465"/>
              <a:gd name="connsiteY1227" fmla="*/ 1329803 h 1934496"/>
              <a:gd name="connsiteX1228" fmla="*/ 6761872 w 9922465"/>
              <a:gd name="connsiteY1228" fmla="*/ 1274612 h 1934496"/>
              <a:gd name="connsiteX1229" fmla="*/ 6817064 w 9922465"/>
              <a:gd name="connsiteY1229" fmla="*/ 1219421 h 1934496"/>
              <a:gd name="connsiteX1230" fmla="*/ 6683431 w 9922465"/>
              <a:gd name="connsiteY1230" fmla="*/ 1219421 h 1934496"/>
              <a:gd name="connsiteX1231" fmla="*/ 6738623 w 9922465"/>
              <a:gd name="connsiteY1231" fmla="*/ 1274612 h 1934496"/>
              <a:gd name="connsiteX1232" fmla="*/ 6683431 w 9922465"/>
              <a:gd name="connsiteY1232" fmla="*/ 1329803 h 1934496"/>
              <a:gd name="connsiteX1233" fmla="*/ 6628239 w 9922465"/>
              <a:gd name="connsiteY1233" fmla="*/ 1274612 h 1934496"/>
              <a:gd name="connsiteX1234" fmla="*/ 6683431 w 9922465"/>
              <a:gd name="connsiteY1234" fmla="*/ 1219421 h 1934496"/>
              <a:gd name="connsiteX1235" fmla="*/ 6553137 w 9922465"/>
              <a:gd name="connsiteY1235" fmla="*/ 1219421 h 1934496"/>
              <a:gd name="connsiteX1236" fmla="*/ 6608329 w 9922465"/>
              <a:gd name="connsiteY1236" fmla="*/ 1274612 h 1934496"/>
              <a:gd name="connsiteX1237" fmla="*/ 6553137 w 9922465"/>
              <a:gd name="connsiteY1237" fmla="*/ 1329803 h 1934496"/>
              <a:gd name="connsiteX1238" fmla="*/ 6497945 w 9922465"/>
              <a:gd name="connsiteY1238" fmla="*/ 1274612 h 1934496"/>
              <a:gd name="connsiteX1239" fmla="*/ 6553137 w 9922465"/>
              <a:gd name="connsiteY1239" fmla="*/ 1219421 h 1934496"/>
              <a:gd name="connsiteX1240" fmla="*/ 6419502 w 9922465"/>
              <a:gd name="connsiteY1240" fmla="*/ 1219421 h 1934496"/>
              <a:gd name="connsiteX1241" fmla="*/ 6474694 w 9922465"/>
              <a:gd name="connsiteY1241" fmla="*/ 1274612 h 1934496"/>
              <a:gd name="connsiteX1242" fmla="*/ 6419502 w 9922465"/>
              <a:gd name="connsiteY1242" fmla="*/ 1329803 h 1934496"/>
              <a:gd name="connsiteX1243" fmla="*/ 6364310 w 9922465"/>
              <a:gd name="connsiteY1243" fmla="*/ 1274612 h 1934496"/>
              <a:gd name="connsiteX1244" fmla="*/ 6419502 w 9922465"/>
              <a:gd name="connsiteY1244" fmla="*/ 1219421 h 1934496"/>
              <a:gd name="connsiteX1245" fmla="*/ 6289207 w 9922465"/>
              <a:gd name="connsiteY1245" fmla="*/ 1219421 h 1934496"/>
              <a:gd name="connsiteX1246" fmla="*/ 6344399 w 9922465"/>
              <a:gd name="connsiteY1246" fmla="*/ 1274612 h 1934496"/>
              <a:gd name="connsiteX1247" fmla="*/ 6289207 w 9922465"/>
              <a:gd name="connsiteY1247" fmla="*/ 1329803 h 1934496"/>
              <a:gd name="connsiteX1248" fmla="*/ 6234015 w 9922465"/>
              <a:gd name="connsiteY1248" fmla="*/ 1274612 h 1934496"/>
              <a:gd name="connsiteX1249" fmla="*/ 6289207 w 9922465"/>
              <a:gd name="connsiteY1249" fmla="*/ 1219421 h 1934496"/>
              <a:gd name="connsiteX1250" fmla="*/ 6155573 w 9922465"/>
              <a:gd name="connsiteY1250" fmla="*/ 1219421 h 1934496"/>
              <a:gd name="connsiteX1251" fmla="*/ 6210765 w 9922465"/>
              <a:gd name="connsiteY1251" fmla="*/ 1274612 h 1934496"/>
              <a:gd name="connsiteX1252" fmla="*/ 6155573 w 9922465"/>
              <a:gd name="connsiteY1252" fmla="*/ 1329803 h 1934496"/>
              <a:gd name="connsiteX1253" fmla="*/ 6100381 w 9922465"/>
              <a:gd name="connsiteY1253" fmla="*/ 1274612 h 1934496"/>
              <a:gd name="connsiteX1254" fmla="*/ 6155573 w 9922465"/>
              <a:gd name="connsiteY1254" fmla="*/ 1219421 h 1934496"/>
              <a:gd name="connsiteX1255" fmla="*/ 6021939 w 9922465"/>
              <a:gd name="connsiteY1255" fmla="*/ 1219421 h 1934496"/>
              <a:gd name="connsiteX1256" fmla="*/ 6077131 w 9922465"/>
              <a:gd name="connsiteY1256" fmla="*/ 1274612 h 1934496"/>
              <a:gd name="connsiteX1257" fmla="*/ 6021939 w 9922465"/>
              <a:gd name="connsiteY1257" fmla="*/ 1329803 h 1934496"/>
              <a:gd name="connsiteX1258" fmla="*/ 5966747 w 9922465"/>
              <a:gd name="connsiteY1258" fmla="*/ 1274612 h 1934496"/>
              <a:gd name="connsiteX1259" fmla="*/ 6021939 w 9922465"/>
              <a:gd name="connsiteY1259" fmla="*/ 1219421 h 1934496"/>
              <a:gd name="connsiteX1260" fmla="*/ 5884964 w 9922465"/>
              <a:gd name="connsiteY1260" fmla="*/ 1219421 h 1934496"/>
              <a:gd name="connsiteX1261" fmla="*/ 5940156 w 9922465"/>
              <a:gd name="connsiteY1261" fmla="*/ 1274612 h 1934496"/>
              <a:gd name="connsiteX1262" fmla="*/ 5884964 w 9922465"/>
              <a:gd name="connsiteY1262" fmla="*/ 1329803 h 1934496"/>
              <a:gd name="connsiteX1263" fmla="*/ 5829772 w 9922465"/>
              <a:gd name="connsiteY1263" fmla="*/ 1274612 h 1934496"/>
              <a:gd name="connsiteX1264" fmla="*/ 5884964 w 9922465"/>
              <a:gd name="connsiteY1264" fmla="*/ 1219421 h 1934496"/>
              <a:gd name="connsiteX1265" fmla="*/ 5754668 w 9922465"/>
              <a:gd name="connsiteY1265" fmla="*/ 1219421 h 1934496"/>
              <a:gd name="connsiteX1266" fmla="*/ 5809860 w 9922465"/>
              <a:gd name="connsiteY1266" fmla="*/ 1274612 h 1934496"/>
              <a:gd name="connsiteX1267" fmla="*/ 5754668 w 9922465"/>
              <a:gd name="connsiteY1267" fmla="*/ 1329803 h 1934496"/>
              <a:gd name="connsiteX1268" fmla="*/ 5699476 w 9922465"/>
              <a:gd name="connsiteY1268" fmla="*/ 1274612 h 1934496"/>
              <a:gd name="connsiteX1269" fmla="*/ 5754668 w 9922465"/>
              <a:gd name="connsiteY1269" fmla="*/ 1219421 h 1934496"/>
              <a:gd name="connsiteX1270" fmla="*/ 5621034 w 9922465"/>
              <a:gd name="connsiteY1270" fmla="*/ 1219421 h 1934496"/>
              <a:gd name="connsiteX1271" fmla="*/ 5676226 w 9922465"/>
              <a:gd name="connsiteY1271" fmla="*/ 1274612 h 1934496"/>
              <a:gd name="connsiteX1272" fmla="*/ 5621034 w 9922465"/>
              <a:gd name="connsiteY1272" fmla="*/ 1329803 h 1934496"/>
              <a:gd name="connsiteX1273" fmla="*/ 5565842 w 9922465"/>
              <a:gd name="connsiteY1273" fmla="*/ 1274612 h 1934496"/>
              <a:gd name="connsiteX1274" fmla="*/ 5621034 w 9922465"/>
              <a:gd name="connsiteY1274" fmla="*/ 1219421 h 1934496"/>
              <a:gd name="connsiteX1275" fmla="*/ 5487399 w 9922465"/>
              <a:gd name="connsiteY1275" fmla="*/ 1219421 h 1934496"/>
              <a:gd name="connsiteX1276" fmla="*/ 5542591 w 9922465"/>
              <a:gd name="connsiteY1276" fmla="*/ 1274612 h 1934496"/>
              <a:gd name="connsiteX1277" fmla="*/ 5487399 w 9922465"/>
              <a:gd name="connsiteY1277" fmla="*/ 1329803 h 1934496"/>
              <a:gd name="connsiteX1278" fmla="*/ 5432207 w 9922465"/>
              <a:gd name="connsiteY1278" fmla="*/ 1274612 h 1934496"/>
              <a:gd name="connsiteX1279" fmla="*/ 5487399 w 9922465"/>
              <a:gd name="connsiteY1279" fmla="*/ 1219421 h 1934496"/>
              <a:gd name="connsiteX1280" fmla="*/ 5357106 w 9922465"/>
              <a:gd name="connsiteY1280" fmla="*/ 1219421 h 1934496"/>
              <a:gd name="connsiteX1281" fmla="*/ 5412298 w 9922465"/>
              <a:gd name="connsiteY1281" fmla="*/ 1274612 h 1934496"/>
              <a:gd name="connsiteX1282" fmla="*/ 5357106 w 9922465"/>
              <a:gd name="connsiteY1282" fmla="*/ 1329803 h 1934496"/>
              <a:gd name="connsiteX1283" fmla="*/ 5301914 w 9922465"/>
              <a:gd name="connsiteY1283" fmla="*/ 1274612 h 1934496"/>
              <a:gd name="connsiteX1284" fmla="*/ 5357106 w 9922465"/>
              <a:gd name="connsiteY1284" fmla="*/ 1219421 h 1934496"/>
              <a:gd name="connsiteX1285" fmla="*/ 5093178 w 9922465"/>
              <a:gd name="connsiteY1285" fmla="*/ 1219421 h 1934496"/>
              <a:gd name="connsiteX1286" fmla="*/ 5148370 w 9922465"/>
              <a:gd name="connsiteY1286" fmla="*/ 1274612 h 1934496"/>
              <a:gd name="connsiteX1287" fmla="*/ 5093178 w 9922465"/>
              <a:gd name="connsiteY1287" fmla="*/ 1329803 h 1934496"/>
              <a:gd name="connsiteX1288" fmla="*/ 5037986 w 9922465"/>
              <a:gd name="connsiteY1288" fmla="*/ 1274612 h 1934496"/>
              <a:gd name="connsiteX1289" fmla="*/ 5093178 w 9922465"/>
              <a:gd name="connsiteY1289" fmla="*/ 1219421 h 1934496"/>
              <a:gd name="connsiteX1290" fmla="*/ 4959542 w 9922465"/>
              <a:gd name="connsiteY1290" fmla="*/ 1219421 h 1934496"/>
              <a:gd name="connsiteX1291" fmla="*/ 5014734 w 9922465"/>
              <a:gd name="connsiteY1291" fmla="*/ 1274612 h 1934496"/>
              <a:gd name="connsiteX1292" fmla="*/ 4959542 w 9922465"/>
              <a:gd name="connsiteY1292" fmla="*/ 1329803 h 1934496"/>
              <a:gd name="connsiteX1293" fmla="*/ 4904350 w 9922465"/>
              <a:gd name="connsiteY1293" fmla="*/ 1274612 h 1934496"/>
              <a:gd name="connsiteX1294" fmla="*/ 4959542 w 9922465"/>
              <a:gd name="connsiteY1294" fmla="*/ 1219421 h 1934496"/>
              <a:gd name="connsiteX1295" fmla="*/ 4829250 w 9922465"/>
              <a:gd name="connsiteY1295" fmla="*/ 1219421 h 1934496"/>
              <a:gd name="connsiteX1296" fmla="*/ 4884442 w 9922465"/>
              <a:gd name="connsiteY1296" fmla="*/ 1274612 h 1934496"/>
              <a:gd name="connsiteX1297" fmla="*/ 4829250 w 9922465"/>
              <a:gd name="connsiteY1297" fmla="*/ 1329803 h 1934496"/>
              <a:gd name="connsiteX1298" fmla="*/ 4774058 w 9922465"/>
              <a:gd name="connsiteY1298" fmla="*/ 1274612 h 1934496"/>
              <a:gd name="connsiteX1299" fmla="*/ 4829250 w 9922465"/>
              <a:gd name="connsiteY1299" fmla="*/ 1219421 h 1934496"/>
              <a:gd name="connsiteX1300" fmla="*/ 319111 w 9922465"/>
              <a:gd name="connsiteY1300" fmla="*/ 1219421 h 1934496"/>
              <a:gd name="connsiteX1301" fmla="*/ 374305 w 9922465"/>
              <a:gd name="connsiteY1301" fmla="*/ 1274612 h 1934496"/>
              <a:gd name="connsiteX1302" fmla="*/ 319111 w 9922465"/>
              <a:gd name="connsiteY1302" fmla="*/ 1329803 h 1934496"/>
              <a:gd name="connsiteX1303" fmla="*/ 263920 w 9922465"/>
              <a:gd name="connsiteY1303" fmla="*/ 1274612 h 1934496"/>
              <a:gd name="connsiteX1304" fmla="*/ 319111 w 9922465"/>
              <a:gd name="connsiteY1304" fmla="*/ 1219421 h 1934496"/>
              <a:gd name="connsiteX1305" fmla="*/ 185480 w 9922465"/>
              <a:gd name="connsiteY1305" fmla="*/ 1219421 h 1934496"/>
              <a:gd name="connsiteX1306" fmla="*/ 240671 w 9922465"/>
              <a:gd name="connsiteY1306" fmla="*/ 1274612 h 1934496"/>
              <a:gd name="connsiteX1307" fmla="*/ 185480 w 9922465"/>
              <a:gd name="connsiteY1307" fmla="*/ 1329803 h 1934496"/>
              <a:gd name="connsiteX1308" fmla="*/ 130288 w 9922465"/>
              <a:gd name="connsiteY1308" fmla="*/ 1274612 h 1934496"/>
              <a:gd name="connsiteX1309" fmla="*/ 185480 w 9922465"/>
              <a:gd name="connsiteY1309" fmla="*/ 1219421 h 1934496"/>
              <a:gd name="connsiteX1310" fmla="*/ 449407 w 9922465"/>
              <a:gd name="connsiteY1310" fmla="*/ 1219419 h 1934496"/>
              <a:gd name="connsiteX1311" fmla="*/ 504600 w 9922465"/>
              <a:gd name="connsiteY1311" fmla="*/ 1274610 h 1934496"/>
              <a:gd name="connsiteX1312" fmla="*/ 449407 w 9922465"/>
              <a:gd name="connsiteY1312" fmla="*/ 1329801 h 1934496"/>
              <a:gd name="connsiteX1313" fmla="*/ 394214 w 9922465"/>
              <a:gd name="connsiteY1313" fmla="*/ 1274610 h 1934496"/>
              <a:gd name="connsiteX1314" fmla="*/ 449407 w 9922465"/>
              <a:gd name="connsiteY1314" fmla="*/ 1219419 h 1934496"/>
              <a:gd name="connsiteX1315" fmla="*/ 4565322 w 9922465"/>
              <a:gd name="connsiteY1315" fmla="*/ 1219417 h 1934496"/>
              <a:gd name="connsiteX1316" fmla="*/ 4620514 w 9922465"/>
              <a:gd name="connsiteY1316" fmla="*/ 1274608 h 1934496"/>
              <a:gd name="connsiteX1317" fmla="*/ 4565322 w 9922465"/>
              <a:gd name="connsiteY1317" fmla="*/ 1329799 h 1934496"/>
              <a:gd name="connsiteX1318" fmla="*/ 4510130 w 9922465"/>
              <a:gd name="connsiteY1318" fmla="*/ 1274608 h 1934496"/>
              <a:gd name="connsiteX1319" fmla="*/ 4565322 w 9922465"/>
              <a:gd name="connsiteY1319" fmla="*/ 1219417 h 1934496"/>
              <a:gd name="connsiteX1320" fmla="*/ 2834811 w 9922465"/>
              <a:gd name="connsiteY1320" fmla="*/ 1219417 h 1934496"/>
              <a:gd name="connsiteX1321" fmla="*/ 2890003 w 9922465"/>
              <a:gd name="connsiteY1321" fmla="*/ 1274608 h 1934496"/>
              <a:gd name="connsiteX1322" fmla="*/ 2834811 w 9922465"/>
              <a:gd name="connsiteY1322" fmla="*/ 1329799 h 1934496"/>
              <a:gd name="connsiteX1323" fmla="*/ 2779620 w 9922465"/>
              <a:gd name="connsiteY1323" fmla="*/ 1274608 h 1934496"/>
              <a:gd name="connsiteX1324" fmla="*/ 2834811 w 9922465"/>
              <a:gd name="connsiteY1324" fmla="*/ 1219417 h 1934496"/>
              <a:gd name="connsiteX1325" fmla="*/ 2707858 w 9922465"/>
              <a:gd name="connsiteY1325" fmla="*/ 1219417 h 1934496"/>
              <a:gd name="connsiteX1326" fmla="*/ 2763052 w 9922465"/>
              <a:gd name="connsiteY1326" fmla="*/ 1274608 h 1934496"/>
              <a:gd name="connsiteX1327" fmla="*/ 2707858 w 9922465"/>
              <a:gd name="connsiteY1327" fmla="*/ 1329799 h 1934496"/>
              <a:gd name="connsiteX1328" fmla="*/ 2652667 w 9922465"/>
              <a:gd name="connsiteY1328" fmla="*/ 1274608 h 1934496"/>
              <a:gd name="connsiteX1329" fmla="*/ 2707858 w 9922465"/>
              <a:gd name="connsiteY1329" fmla="*/ 1219417 h 1934496"/>
              <a:gd name="connsiteX1330" fmla="*/ 2570885 w 9922465"/>
              <a:gd name="connsiteY1330" fmla="*/ 1219417 h 1934496"/>
              <a:gd name="connsiteX1331" fmla="*/ 2626075 w 9922465"/>
              <a:gd name="connsiteY1331" fmla="*/ 1274608 h 1934496"/>
              <a:gd name="connsiteX1332" fmla="*/ 2570885 w 9922465"/>
              <a:gd name="connsiteY1332" fmla="*/ 1329799 h 1934496"/>
              <a:gd name="connsiteX1333" fmla="*/ 2515692 w 9922465"/>
              <a:gd name="connsiteY1333" fmla="*/ 1274608 h 1934496"/>
              <a:gd name="connsiteX1334" fmla="*/ 2570885 w 9922465"/>
              <a:gd name="connsiteY1334" fmla="*/ 1219417 h 1934496"/>
              <a:gd name="connsiteX1335" fmla="*/ 2039686 w 9922465"/>
              <a:gd name="connsiteY1335" fmla="*/ 1219417 h 1934496"/>
              <a:gd name="connsiteX1336" fmla="*/ 2094880 w 9922465"/>
              <a:gd name="connsiteY1336" fmla="*/ 1274608 h 1934496"/>
              <a:gd name="connsiteX1337" fmla="*/ 2039686 w 9922465"/>
              <a:gd name="connsiteY1337" fmla="*/ 1329799 h 1934496"/>
              <a:gd name="connsiteX1338" fmla="*/ 1984493 w 9922465"/>
              <a:gd name="connsiteY1338" fmla="*/ 1274608 h 1934496"/>
              <a:gd name="connsiteX1339" fmla="*/ 2039686 w 9922465"/>
              <a:gd name="connsiteY1339" fmla="*/ 1219417 h 1934496"/>
              <a:gd name="connsiteX1340" fmla="*/ 1909390 w 9922465"/>
              <a:gd name="connsiteY1340" fmla="*/ 1219417 h 1934496"/>
              <a:gd name="connsiteX1341" fmla="*/ 1964583 w 9922465"/>
              <a:gd name="connsiteY1341" fmla="*/ 1274608 h 1934496"/>
              <a:gd name="connsiteX1342" fmla="*/ 1909390 w 9922465"/>
              <a:gd name="connsiteY1342" fmla="*/ 1329799 h 1934496"/>
              <a:gd name="connsiteX1343" fmla="*/ 1854197 w 9922465"/>
              <a:gd name="connsiteY1343" fmla="*/ 1274608 h 1934496"/>
              <a:gd name="connsiteX1344" fmla="*/ 1909390 w 9922465"/>
              <a:gd name="connsiteY1344" fmla="*/ 1219417 h 1934496"/>
              <a:gd name="connsiteX1345" fmla="*/ 1779095 w 9922465"/>
              <a:gd name="connsiteY1345" fmla="*/ 1219417 h 1934496"/>
              <a:gd name="connsiteX1346" fmla="*/ 1834287 w 9922465"/>
              <a:gd name="connsiteY1346" fmla="*/ 1274608 h 1934496"/>
              <a:gd name="connsiteX1347" fmla="*/ 1779095 w 9922465"/>
              <a:gd name="connsiteY1347" fmla="*/ 1329799 h 1934496"/>
              <a:gd name="connsiteX1348" fmla="*/ 1723902 w 9922465"/>
              <a:gd name="connsiteY1348" fmla="*/ 1274608 h 1934496"/>
              <a:gd name="connsiteX1349" fmla="*/ 1779095 w 9922465"/>
              <a:gd name="connsiteY1349" fmla="*/ 1219417 h 1934496"/>
              <a:gd name="connsiteX1350" fmla="*/ 1645457 w 9922465"/>
              <a:gd name="connsiteY1350" fmla="*/ 1219417 h 1934496"/>
              <a:gd name="connsiteX1351" fmla="*/ 1700655 w 9922465"/>
              <a:gd name="connsiteY1351" fmla="*/ 1274608 h 1934496"/>
              <a:gd name="connsiteX1352" fmla="*/ 1645457 w 9922465"/>
              <a:gd name="connsiteY1352" fmla="*/ 1329799 h 1934496"/>
              <a:gd name="connsiteX1353" fmla="*/ 1590265 w 9922465"/>
              <a:gd name="connsiteY1353" fmla="*/ 1274608 h 1934496"/>
              <a:gd name="connsiteX1354" fmla="*/ 1645457 w 9922465"/>
              <a:gd name="connsiteY1354" fmla="*/ 1219417 h 1934496"/>
              <a:gd name="connsiteX1355" fmla="*/ 1515168 w 9922465"/>
              <a:gd name="connsiteY1355" fmla="*/ 1219417 h 1934496"/>
              <a:gd name="connsiteX1356" fmla="*/ 1570354 w 9922465"/>
              <a:gd name="connsiteY1356" fmla="*/ 1274608 h 1934496"/>
              <a:gd name="connsiteX1357" fmla="*/ 1515168 w 9922465"/>
              <a:gd name="connsiteY1357" fmla="*/ 1329799 h 1934496"/>
              <a:gd name="connsiteX1358" fmla="*/ 1459973 w 9922465"/>
              <a:gd name="connsiteY1358" fmla="*/ 1274608 h 1934496"/>
              <a:gd name="connsiteX1359" fmla="*/ 1515168 w 9922465"/>
              <a:gd name="connsiteY1359" fmla="*/ 1219417 h 1934496"/>
              <a:gd name="connsiteX1360" fmla="*/ 1381528 w 9922465"/>
              <a:gd name="connsiteY1360" fmla="*/ 1219417 h 1934496"/>
              <a:gd name="connsiteX1361" fmla="*/ 1436723 w 9922465"/>
              <a:gd name="connsiteY1361" fmla="*/ 1274608 h 1934496"/>
              <a:gd name="connsiteX1362" fmla="*/ 1381528 w 9922465"/>
              <a:gd name="connsiteY1362" fmla="*/ 1329799 h 1934496"/>
              <a:gd name="connsiteX1363" fmla="*/ 1326339 w 9922465"/>
              <a:gd name="connsiteY1363" fmla="*/ 1274608 h 1934496"/>
              <a:gd name="connsiteX1364" fmla="*/ 1381528 w 9922465"/>
              <a:gd name="connsiteY1364" fmla="*/ 1219417 h 1934496"/>
              <a:gd name="connsiteX1365" fmla="*/ 1251239 w 9922465"/>
              <a:gd name="connsiteY1365" fmla="*/ 1219417 h 1934496"/>
              <a:gd name="connsiteX1366" fmla="*/ 1306431 w 9922465"/>
              <a:gd name="connsiteY1366" fmla="*/ 1274608 h 1934496"/>
              <a:gd name="connsiteX1367" fmla="*/ 1251239 w 9922465"/>
              <a:gd name="connsiteY1367" fmla="*/ 1329799 h 1934496"/>
              <a:gd name="connsiteX1368" fmla="*/ 1196046 w 9922465"/>
              <a:gd name="connsiteY1368" fmla="*/ 1274608 h 1934496"/>
              <a:gd name="connsiteX1369" fmla="*/ 1251239 w 9922465"/>
              <a:gd name="connsiteY1369" fmla="*/ 1219417 h 1934496"/>
              <a:gd name="connsiteX1370" fmla="*/ 1117601 w 9922465"/>
              <a:gd name="connsiteY1370" fmla="*/ 1219417 h 1934496"/>
              <a:gd name="connsiteX1371" fmla="*/ 1172794 w 9922465"/>
              <a:gd name="connsiteY1371" fmla="*/ 1274608 h 1934496"/>
              <a:gd name="connsiteX1372" fmla="*/ 1117601 w 9922465"/>
              <a:gd name="connsiteY1372" fmla="*/ 1329799 h 1934496"/>
              <a:gd name="connsiteX1373" fmla="*/ 1062408 w 9922465"/>
              <a:gd name="connsiteY1373" fmla="*/ 1274608 h 1934496"/>
              <a:gd name="connsiteX1374" fmla="*/ 1117601 w 9922465"/>
              <a:gd name="connsiteY1374" fmla="*/ 1219417 h 1934496"/>
              <a:gd name="connsiteX1375" fmla="*/ 980622 w 9922465"/>
              <a:gd name="connsiteY1375" fmla="*/ 1219417 h 1934496"/>
              <a:gd name="connsiteX1376" fmla="*/ 1035816 w 9922465"/>
              <a:gd name="connsiteY1376" fmla="*/ 1274608 h 1934496"/>
              <a:gd name="connsiteX1377" fmla="*/ 980622 w 9922465"/>
              <a:gd name="connsiteY1377" fmla="*/ 1329799 h 1934496"/>
              <a:gd name="connsiteX1378" fmla="*/ 925429 w 9922465"/>
              <a:gd name="connsiteY1378" fmla="*/ 1274608 h 1934496"/>
              <a:gd name="connsiteX1379" fmla="*/ 980622 w 9922465"/>
              <a:gd name="connsiteY1379" fmla="*/ 1219417 h 1934496"/>
              <a:gd name="connsiteX1380" fmla="*/ 9469710 w 9922465"/>
              <a:gd name="connsiteY1380" fmla="*/ 1099147 h 1934496"/>
              <a:gd name="connsiteX1381" fmla="*/ 9524902 w 9922465"/>
              <a:gd name="connsiteY1381" fmla="*/ 1154338 h 1934496"/>
              <a:gd name="connsiteX1382" fmla="*/ 9469710 w 9922465"/>
              <a:gd name="connsiteY1382" fmla="*/ 1209529 h 1934496"/>
              <a:gd name="connsiteX1383" fmla="*/ 9414518 w 9922465"/>
              <a:gd name="connsiteY1383" fmla="*/ 1154338 h 1934496"/>
              <a:gd name="connsiteX1384" fmla="*/ 9469710 w 9922465"/>
              <a:gd name="connsiteY1384" fmla="*/ 1099147 h 1934496"/>
              <a:gd name="connsiteX1385" fmla="*/ 9336075 w 9922465"/>
              <a:gd name="connsiteY1385" fmla="*/ 1099147 h 1934496"/>
              <a:gd name="connsiteX1386" fmla="*/ 9391267 w 9922465"/>
              <a:gd name="connsiteY1386" fmla="*/ 1154338 h 1934496"/>
              <a:gd name="connsiteX1387" fmla="*/ 9336075 w 9922465"/>
              <a:gd name="connsiteY1387" fmla="*/ 1209529 h 1934496"/>
              <a:gd name="connsiteX1388" fmla="*/ 9280883 w 9922465"/>
              <a:gd name="connsiteY1388" fmla="*/ 1154338 h 1934496"/>
              <a:gd name="connsiteX1389" fmla="*/ 9336075 w 9922465"/>
              <a:gd name="connsiteY1389" fmla="*/ 1099147 h 1934496"/>
              <a:gd name="connsiteX1390" fmla="*/ 9199100 w 9922465"/>
              <a:gd name="connsiteY1390" fmla="*/ 1099147 h 1934496"/>
              <a:gd name="connsiteX1391" fmla="*/ 9254292 w 9922465"/>
              <a:gd name="connsiteY1391" fmla="*/ 1154338 h 1934496"/>
              <a:gd name="connsiteX1392" fmla="*/ 9199100 w 9922465"/>
              <a:gd name="connsiteY1392" fmla="*/ 1209529 h 1934496"/>
              <a:gd name="connsiteX1393" fmla="*/ 9143908 w 9922465"/>
              <a:gd name="connsiteY1393" fmla="*/ 1154338 h 1934496"/>
              <a:gd name="connsiteX1394" fmla="*/ 9199100 w 9922465"/>
              <a:gd name="connsiteY1394" fmla="*/ 1099147 h 1934496"/>
              <a:gd name="connsiteX1395" fmla="*/ 9068805 w 9922465"/>
              <a:gd name="connsiteY1395" fmla="*/ 1099147 h 1934496"/>
              <a:gd name="connsiteX1396" fmla="*/ 9123997 w 9922465"/>
              <a:gd name="connsiteY1396" fmla="*/ 1154338 h 1934496"/>
              <a:gd name="connsiteX1397" fmla="*/ 9068805 w 9922465"/>
              <a:gd name="connsiteY1397" fmla="*/ 1209529 h 1934496"/>
              <a:gd name="connsiteX1398" fmla="*/ 9013613 w 9922465"/>
              <a:gd name="connsiteY1398" fmla="*/ 1154338 h 1934496"/>
              <a:gd name="connsiteX1399" fmla="*/ 9068805 w 9922465"/>
              <a:gd name="connsiteY1399" fmla="*/ 1099147 h 1934496"/>
              <a:gd name="connsiteX1400" fmla="*/ 8935170 w 9922465"/>
              <a:gd name="connsiteY1400" fmla="*/ 1099147 h 1934496"/>
              <a:gd name="connsiteX1401" fmla="*/ 8990362 w 9922465"/>
              <a:gd name="connsiteY1401" fmla="*/ 1154338 h 1934496"/>
              <a:gd name="connsiteX1402" fmla="*/ 8935170 w 9922465"/>
              <a:gd name="connsiteY1402" fmla="*/ 1209529 h 1934496"/>
              <a:gd name="connsiteX1403" fmla="*/ 8879978 w 9922465"/>
              <a:gd name="connsiteY1403" fmla="*/ 1154338 h 1934496"/>
              <a:gd name="connsiteX1404" fmla="*/ 8935170 w 9922465"/>
              <a:gd name="connsiteY1404" fmla="*/ 1099147 h 1934496"/>
              <a:gd name="connsiteX1405" fmla="*/ 8801536 w 9922465"/>
              <a:gd name="connsiteY1405" fmla="*/ 1099147 h 1934496"/>
              <a:gd name="connsiteX1406" fmla="*/ 8856728 w 9922465"/>
              <a:gd name="connsiteY1406" fmla="*/ 1154338 h 1934496"/>
              <a:gd name="connsiteX1407" fmla="*/ 8801536 w 9922465"/>
              <a:gd name="connsiteY1407" fmla="*/ 1209529 h 1934496"/>
              <a:gd name="connsiteX1408" fmla="*/ 8746344 w 9922465"/>
              <a:gd name="connsiteY1408" fmla="*/ 1154338 h 1934496"/>
              <a:gd name="connsiteX1409" fmla="*/ 8801536 w 9922465"/>
              <a:gd name="connsiteY1409" fmla="*/ 1099147 h 1934496"/>
              <a:gd name="connsiteX1410" fmla="*/ 8671243 w 9922465"/>
              <a:gd name="connsiteY1410" fmla="*/ 1099147 h 1934496"/>
              <a:gd name="connsiteX1411" fmla="*/ 8726435 w 9922465"/>
              <a:gd name="connsiteY1411" fmla="*/ 1154338 h 1934496"/>
              <a:gd name="connsiteX1412" fmla="*/ 8671243 w 9922465"/>
              <a:gd name="connsiteY1412" fmla="*/ 1209529 h 1934496"/>
              <a:gd name="connsiteX1413" fmla="*/ 8616051 w 9922465"/>
              <a:gd name="connsiteY1413" fmla="*/ 1154338 h 1934496"/>
              <a:gd name="connsiteX1414" fmla="*/ 8671243 w 9922465"/>
              <a:gd name="connsiteY1414" fmla="*/ 1099147 h 1934496"/>
              <a:gd name="connsiteX1415" fmla="*/ 8537609 w 9922465"/>
              <a:gd name="connsiteY1415" fmla="*/ 1099147 h 1934496"/>
              <a:gd name="connsiteX1416" fmla="*/ 8592801 w 9922465"/>
              <a:gd name="connsiteY1416" fmla="*/ 1154338 h 1934496"/>
              <a:gd name="connsiteX1417" fmla="*/ 8537609 w 9922465"/>
              <a:gd name="connsiteY1417" fmla="*/ 1209529 h 1934496"/>
              <a:gd name="connsiteX1418" fmla="*/ 8482417 w 9922465"/>
              <a:gd name="connsiteY1418" fmla="*/ 1154338 h 1934496"/>
              <a:gd name="connsiteX1419" fmla="*/ 8537609 w 9922465"/>
              <a:gd name="connsiteY1419" fmla="*/ 1099147 h 1934496"/>
              <a:gd name="connsiteX1420" fmla="*/ 8407315 w 9922465"/>
              <a:gd name="connsiteY1420" fmla="*/ 1099147 h 1934496"/>
              <a:gd name="connsiteX1421" fmla="*/ 8462507 w 9922465"/>
              <a:gd name="connsiteY1421" fmla="*/ 1154338 h 1934496"/>
              <a:gd name="connsiteX1422" fmla="*/ 8407315 w 9922465"/>
              <a:gd name="connsiteY1422" fmla="*/ 1209529 h 1934496"/>
              <a:gd name="connsiteX1423" fmla="*/ 8352123 w 9922465"/>
              <a:gd name="connsiteY1423" fmla="*/ 1154338 h 1934496"/>
              <a:gd name="connsiteX1424" fmla="*/ 8407315 w 9922465"/>
              <a:gd name="connsiteY1424" fmla="*/ 1099147 h 1934496"/>
              <a:gd name="connsiteX1425" fmla="*/ 8273681 w 9922465"/>
              <a:gd name="connsiteY1425" fmla="*/ 1099147 h 1934496"/>
              <a:gd name="connsiteX1426" fmla="*/ 8328873 w 9922465"/>
              <a:gd name="connsiteY1426" fmla="*/ 1154338 h 1934496"/>
              <a:gd name="connsiteX1427" fmla="*/ 8273681 w 9922465"/>
              <a:gd name="connsiteY1427" fmla="*/ 1209529 h 1934496"/>
              <a:gd name="connsiteX1428" fmla="*/ 8218489 w 9922465"/>
              <a:gd name="connsiteY1428" fmla="*/ 1154338 h 1934496"/>
              <a:gd name="connsiteX1429" fmla="*/ 8273681 w 9922465"/>
              <a:gd name="connsiteY1429" fmla="*/ 1099147 h 1934496"/>
              <a:gd name="connsiteX1430" fmla="*/ 8143386 w 9922465"/>
              <a:gd name="connsiteY1430" fmla="*/ 1099147 h 1934496"/>
              <a:gd name="connsiteX1431" fmla="*/ 8198578 w 9922465"/>
              <a:gd name="connsiteY1431" fmla="*/ 1154338 h 1934496"/>
              <a:gd name="connsiteX1432" fmla="*/ 8143386 w 9922465"/>
              <a:gd name="connsiteY1432" fmla="*/ 1209529 h 1934496"/>
              <a:gd name="connsiteX1433" fmla="*/ 8088194 w 9922465"/>
              <a:gd name="connsiteY1433" fmla="*/ 1154338 h 1934496"/>
              <a:gd name="connsiteX1434" fmla="*/ 8143386 w 9922465"/>
              <a:gd name="connsiteY1434" fmla="*/ 1099147 h 1934496"/>
              <a:gd name="connsiteX1435" fmla="*/ 8009752 w 9922465"/>
              <a:gd name="connsiteY1435" fmla="*/ 1099147 h 1934496"/>
              <a:gd name="connsiteX1436" fmla="*/ 8064944 w 9922465"/>
              <a:gd name="connsiteY1436" fmla="*/ 1154338 h 1934496"/>
              <a:gd name="connsiteX1437" fmla="*/ 8009752 w 9922465"/>
              <a:gd name="connsiteY1437" fmla="*/ 1209529 h 1934496"/>
              <a:gd name="connsiteX1438" fmla="*/ 7954560 w 9922465"/>
              <a:gd name="connsiteY1438" fmla="*/ 1154338 h 1934496"/>
              <a:gd name="connsiteX1439" fmla="*/ 8009752 w 9922465"/>
              <a:gd name="connsiteY1439" fmla="*/ 1099147 h 1934496"/>
              <a:gd name="connsiteX1440" fmla="*/ 7876117 w 9922465"/>
              <a:gd name="connsiteY1440" fmla="*/ 1099147 h 1934496"/>
              <a:gd name="connsiteX1441" fmla="*/ 7931309 w 9922465"/>
              <a:gd name="connsiteY1441" fmla="*/ 1154338 h 1934496"/>
              <a:gd name="connsiteX1442" fmla="*/ 7876117 w 9922465"/>
              <a:gd name="connsiteY1442" fmla="*/ 1209529 h 1934496"/>
              <a:gd name="connsiteX1443" fmla="*/ 7820925 w 9922465"/>
              <a:gd name="connsiteY1443" fmla="*/ 1154338 h 1934496"/>
              <a:gd name="connsiteX1444" fmla="*/ 7876117 w 9922465"/>
              <a:gd name="connsiteY1444" fmla="*/ 1099147 h 1934496"/>
              <a:gd name="connsiteX1445" fmla="*/ 7745822 w 9922465"/>
              <a:gd name="connsiteY1445" fmla="*/ 1099147 h 1934496"/>
              <a:gd name="connsiteX1446" fmla="*/ 7801014 w 9922465"/>
              <a:gd name="connsiteY1446" fmla="*/ 1154338 h 1934496"/>
              <a:gd name="connsiteX1447" fmla="*/ 7745822 w 9922465"/>
              <a:gd name="connsiteY1447" fmla="*/ 1209529 h 1934496"/>
              <a:gd name="connsiteX1448" fmla="*/ 7690630 w 9922465"/>
              <a:gd name="connsiteY1448" fmla="*/ 1154338 h 1934496"/>
              <a:gd name="connsiteX1449" fmla="*/ 7745822 w 9922465"/>
              <a:gd name="connsiteY1449" fmla="*/ 1099147 h 1934496"/>
              <a:gd name="connsiteX1450" fmla="*/ 7608847 w 9922465"/>
              <a:gd name="connsiteY1450" fmla="*/ 1099147 h 1934496"/>
              <a:gd name="connsiteX1451" fmla="*/ 7664039 w 9922465"/>
              <a:gd name="connsiteY1451" fmla="*/ 1154338 h 1934496"/>
              <a:gd name="connsiteX1452" fmla="*/ 7608847 w 9922465"/>
              <a:gd name="connsiteY1452" fmla="*/ 1209529 h 1934496"/>
              <a:gd name="connsiteX1453" fmla="*/ 7553655 w 9922465"/>
              <a:gd name="connsiteY1453" fmla="*/ 1154338 h 1934496"/>
              <a:gd name="connsiteX1454" fmla="*/ 7608847 w 9922465"/>
              <a:gd name="connsiteY1454" fmla="*/ 1099147 h 1934496"/>
              <a:gd name="connsiteX1455" fmla="*/ 7481895 w 9922465"/>
              <a:gd name="connsiteY1455" fmla="*/ 1099147 h 1934496"/>
              <a:gd name="connsiteX1456" fmla="*/ 7537087 w 9922465"/>
              <a:gd name="connsiteY1456" fmla="*/ 1154338 h 1934496"/>
              <a:gd name="connsiteX1457" fmla="*/ 7481895 w 9922465"/>
              <a:gd name="connsiteY1457" fmla="*/ 1209529 h 1934496"/>
              <a:gd name="connsiteX1458" fmla="*/ 7426703 w 9922465"/>
              <a:gd name="connsiteY1458" fmla="*/ 1154338 h 1934496"/>
              <a:gd name="connsiteX1459" fmla="*/ 7481895 w 9922465"/>
              <a:gd name="connsiteY1459" fmla="*/ 1099147 h 1934496"/>
              <a:gd name="connsiteX1460" fmla="*/ 7341578 w 9922465"/>
              <a:gd name="connsiteY1460" fmla="*/ 1099147 h 1934496"/>
              <a:gd name="connsiteX1461" fmla="*/ 7396770 w 9922465"/>
              <a:gd name="connsiteY1461" fmla="*/ 1154338 h 1934496"/>
              <a:gd name="connsiteX1462" fmla="*/ 7341578 w 9922465"/>
              <a:gd name="connsiteY1462" fmla="*/ 1209529 h 1934496"/>
              <a:gd name="connsiteX1463" fmla="*/ 7286386 w 9922465"/>
              <a:gd name="connsiteY1463" fmla="*/ 1154338 h 1934496"/>
              <a:gd name="connsiteX1464" fmla="*/ 7341578 w 9922465"/>
              <a:gd name="connsiteY1464" fmla="*/ 1099147 h 1934496"/>
              <a:gd name="connsiteX1465" fmla="*/ 7211285 w 9922465"/>
              <a:gd name="connsiteY1465" fmla="*/ 1099147 h 1934496"/>
              <a:gd name="connsiteX1466" fmla="*/ 7266477 w 9922465"/>
              <a:gd name="connsiteY1466" fmla="*/ 1154338 h 1934496"/>
              <a:gd name="connsiteX1467" fmla="*/ 7211285 w 9922465"/>
              <a:gd name="connsiteY1467" fmla="*/ 1209529 h 1934496"/>
              <a:gd name="connsiteX1468" fmla="*/ 7156093 w 9922465"/>
              <a:gd name="connsiteY1468" fmla="*/ 1154338 h 1934496"/>
              <a:gd name="connsiteX1469" fmla="*/ 7211285 w 9922465"/>
              <a:gd name="connsiteY1469" fmla="*/ 1099147 h 1934496"/>
              <a:gd name="connsiteX1470" fmla="*/ 7080991 w 9922465"/>
              <a:gd name="connsiteY1470" fmla="*/ 1099147 h 1934496"/>
              <a:gd name="connsiteX1471" fmla="*/ 7136183 w 9922465"/>
              <a:gd name="connsiteY1471" fmla="*/ 1154338 h 1934496"/>
              <a:gd name="connsiteX1472" fmla="*/ 7080991 w 9922465"/>
              <a:gd name="connsiteY1472" fmla="*/ 1209529 h 1934496"/>
              <a:gd name="connsiteX1473" fmla="*/ 7025799 w 9922465"/>
              <a:gd name="connsiteY1473" fmla="*/ 1154338 h 1934496"/>
              <a:gd name="connsiteX1474" fmla="*/ 7080991 w 9922465"/>
              <a:gd name="connsiteY1474" fmla="*/ 1099147 h 1934496"/>
              <a:gd name="connsiteX1475" fmla="*/ 6947356 w 9922465"/>
              <a:gd name="connsiteY1475" fmla="*/ 1099147 h 1934496"/>
              <a:gd name="connsiteX1476" fmla="*/ 7002548 w 9922465"/>
              <a:gd name="connsiteY1476" fmla="*/ 1154338 h 1934496"/>
              <a:gd name="connsiteX1477" fmla="*/ 6947356 w 9922465"/>
              <a:gd name="connsiteY1477" fmla="*/ 1209529 h 1934496"/>
              <a:gd name="connsiteX1478" fmla="*/ 6892164 w 9922465"/>
              <a:gd name="connsiteY1478" fmla="*/ 1154338 h 1934496"/>
              <a:gd name="connsiteX1479" fmla="*/ 6947356 w 9922465"/>
              <a:gd name="connsiteY1479" fmla="*/ 1099147 h 1934496"/>
              <a:gd name="connsiteX1480" fmla="*/ 6817063 w 9922465"/>
              <a:gd name="connsiteY1480" fmla="*/ 1099147 h 1934496"/>
              <a:gd name="connsiteX1481" fmla="*/ 6872255 w 9922465"/>
              <a:gd name="connsiteY1481" fmla="*/ 1154338 h 1934496"/>
              <a:gd name="connsiteX1482" fmla="*/ 6817063 w 9922465"/>
              <a:gd name="connsiteY1482" fmla="*/ 1209529 h 1934496"/>
              <a:gd name="connsiteX1483" fmla="*/ 6761871 w 9922465"/>
              <a:gd name="connsiteY1483" fmla="*/ 1154338 h 1934496"/>
              <a:gd name="connsiteX1484" fmla="*/ 6817063 w 9922465"/>
              <a:gd name="connsiteY1484" fmla="*/ 1099147 h 1934496"/>
              <a:gd name="connsiteX1485" fmla="*/ 6683430 w 9922465"/>
              <a:gd name="connsiteY1485" fmla="*/ 1099147 h 1934496"/>
              <a:gd name="connsiteX1486" fmla="*/ 6738622 w 9922465"/>
              <a:gd name="connsiteY1486" fmla="*/ 1154338 h 1934496"/>
              <a:gd name="connsiteX1487" fmla="*/ 6683430 w 9922465"/>
              <a:gd name="connsiteY1487" fmla="*/ 1209529 h 1934496"/>
              <a:gd name="connsiteX1488" fmla="*/ 6628238 w 9922465"/>
              <a:gd name="connsiteY1488" fmla="*/ 1154338 h 1934496"/>
              <a:gd name="connsiteX1489" fmla="*/ 6683430 w 9922465"/>
              <a:gd name="connsiteY1489" fmla="*/ 1099147 h 1934496"/>
              <a:gd name="connsiteX1490" fmla="*/ 6553135 w 9922465"/>
              <a:gd name="connsiteY1490" fmla="*/ 1099147 h 1934496"/>
              <a:gd name="connsiteX1491" fmla="*/ 6608327 w 9922465"/>
              <a:gd name="connsiteY1491" fmla="*/ 1154338 h 1934496"/>
              <a:gd name="connsiteX1492" fmla="*/ 6553135 w 9922465"/>
              <a:gd name="connsiteY1492" fmla="*/ 1209529 h 1934496"/>
              <a:gd name="connsiteX1493" fmla="*/ 6497943 w 9922465"/>
              <a:gd name="connsiteY1493" fmla="*/ 1154338 h 1934496"/>
              <a:gd name="connsiteX1494" fmla="*/ 6553135 w 9922465"/>
              <a:gd name="connsiteY1494" fmla="*/ 1099147 h 1934496"/>
              <a:gd name="connsiteX1495" fmla="*/ 6419501 w 9922465"/>
              <a:gd name="connsiteY1495" fmla="*/ 1099147 h 1934496"/>
              <a:gd name="connsiteX1496" fmla="*/ 6474693 w 9922465"/>
              <a:gd name="connsiteY1496" fmla="*/ 1154338 h 1934496"/>
              <a:gd name="connsiteX1497" fmla="*/ 6419501 w 9922465"/>
              <a:gd name="connsiteY1497" fmla="*/ 1209529 h 1934496"/>
              <a:gd name="connsiteX1498" fmla="*/ 6364309 w 9922465"/>
              <a:gd name="connsiteY1498" fmla="*/ 1154338 h 1934496"/>
              <a:gd name="connsiteX1499" fmla="*/ 6419501 w 9922465"/>
              <a:gd name="connsiteY1499" fmla="*/ 1099147 h 1934496"/>
              <a:gd name="connsiteX1500" fmla="*/ 6289206 w 9922465"/>
              <a:gd name="connsiteY1500" fmla="*/ 1099147 h 1934496"/>
              <a:gd name="connsiteX1501" fmla="*/ 6344398 w 9922465"/>
              <a:gd name="connsiteY1501" fmla="*/ 1154338 h 1934496"/>
              <a:gd name="connsiteX1502" fmla="*/ 6289206 w 9922465"/>
              <a:gd name="connsiteY1502" fmla="*/ 1209529 h 1934496"/>
              <a:gd name="connsiteX1503" fmla="*/ 6234014 w 9922465"/>
              <a:gd name="connsiteY1503" fmla="*/ 1154338 h 1934496"/>
              <a:gd name="connsiteX1504" fmla="*/ 6289206 w 9922465"/>
              <a:gd name="connsiteY1504" fmla="*/ 1099147 h 1934496"/>
              <a:gd name="connsiteX1505" fmla="*/ 6155571 w 9922465"/>
              <a:gd name="connsiteY1505" fmla="*/ 1099147 h 1934496"/>
              <a:gd name="connsiteX1506" fmla="*/ 6210763 w 9922465"/>
              <a:gd name="connsiteY1506" fmla="*/ 1154338 h 1934496"/>
              <a:gd name="connsiteX1507" fmla="*/ 6155571 w 9922465"/>
              <a:gd name="connsiteY1507" fmla="*/ 1209529 h 1934496"/>
              <a:gd name="connsiteX1508" fmla="*/ 6100379 w 9922465"/>
              <a:gd name="connsiteY1508" fmla="*/ 1154338 h 1934496"/>
              <a:gd name="connsiteX1509" fmla="*/ 6155571 w 9922465"/>
              <a:gd name="connsiteY1509" fmla="*/ 1099147 h 1934496"/>
              <a:gd name="connsiteX1510" fmla="*/ 6021938 w 9922465"/>
              <a:gd name="connsiteY1510" fmla="*/ 1099147 h 1934496"/>
              <a:gd name="connsiteX1511" fmla="*/ 6077130 w 9922465"/>
              <a:gd name="connsiteY1511" fmla="*/ 1154338 h 1934496"/>
              <a:gd name="connsiteX1512" fmla="*/ 6021938 w 9922465"/>
              <a:gd name="connsiteY1512" fmla="*/ 1209529 h 1934496"/>
              <a:gd name="connsiteX1513" fmla="*/ 5966746 w 9922465"/>
              <a:gd name="connsiteY1513" fmla="*/ 1154338 h 1934496"/>
              <a:gd name="connsiteX1514" fmla="*/ 6021938 w 9922465"/>
              <a:gd name="connsiteY1514" fmla="*/ 1099147 h 1934496"/>
              <a:gd name="connsiteX1515" fmla="*/ 5884963 w 9922465"/>
              <a:gd name="connsiteY1515" fmla="*/ 1099147 h 1934496"/>
              <a:gd name="connsiteX1516" fmla="*/ 5940155 w 9922465"/>
              <a:gd name="connsiteY1516" fmla="*/ 1154338 h 1934496"/>
              <a:gd name="connsiteX1517" fmla="*/ 5884963 w 9922465"/>
              <a:gd name="connsiteY1517" fmla="*/ 1209529 h 1934496"/>
              <a:gd name="connsiteX1518" fmla="*/ 5829771 w 9922465"/>
              <a:gd name="connsiteY1518" fmla="*/ 1154338 h 1934496"/>
              <a:gd name="connsiteX1519" fmla="*/ 5884963 w 9922465"/>
              <a:gd name="connsiteY1519" fmla="*/ 1099147 h 1934496"/>
              <a:gd name="connsiteX1520" fmla="*/ 5754668 w 9922465"/>
              <a:gd name="connsiteY1520" fmla="*/ 1099147 h 1934496"/>
              <a:gd name="connsiteX1521" fmla="*/ 5809860 w 9922465"/>
              <a:gd name="connsiteY1521" fmla="*/ 1154338 h 1934496"/>
              <a:gd name="connsiteX1522" fmla="*/ 5754668 w 9922465"/>
              <a:gd name="connsiteY1522" fmla="*/ 1209529 h 1934496"/>
              <a:gd name="connsiteX1523" fmla="*/ 5699476 w 9922465"/>
              <a:gd name="connsiteY1523" fmla="*/ 1154338 h 1934496"/>
              <a:gd name="connsiteX1524" fmla="*/ 5754668 w 9922465"/>
              <a:gd name="connsiteY1524" fmla="*/ 1099147 h 1934496"/>
              <a:gd name="connsiteX1525" fmla="*/ 5621031 w 9922465"/>
              <a:gd name="connsiteY1525" fmla="*/ 1099147 h 1934496"/>
              <a:gd name="connsiteX1526" fmla="*/ 5676223 w 9922465"/>
              <a:gd name="connsiteY1526" fmla="*/ 1154338 h 1934496"/>
              <a:gd name="connsiteX1527" fmla="*/ 5621031 w 9922465"/>
              <a:gd name="connsiteY1527" fmla="*/ 1209529 h 1934496"/>
              <a:gd name="connsiteX1528" fmla="*/ 5565839 w 9922465"/>
              <a:gd name="connsiteY1528" fmla="*/ 1154338 h 1934496"/>
              <a:gd name="connsiteX1529" fmla="*/ 5621031 w 9922465"/>
              <a:gd name="connsiteY1529" fmla="*/ 1099147 h 1934496"/>
              <a:gd name="connsiteX1530" fmla="*/ 5487398 w 9922465"/>
              <a:gd name="connsiteY1530" fmla="*/ 1099147 h 1934496"/>
              <a:gd name="connsiteX1531" fmla="*/ 5542590 w 9922465"/>
              <a:gd name="connsiteY1531" fmla="*/ 1154338 h 1934496"/>
              <a:gd name="connsiteX1532" fmla="*/ 5487398 w 9922465"/>
              <a:gd name="connsiteY1532" fmla="*/ 1209529 h 1934496"/>
              <a:gd name="connsiteX1533" fmla="*/ 5432206 w 9922465"/>
              <a:gd name="connsiteY1533" fmla="*/ 1154338 h 1934496"/>
              <a:gd name="connsiteX1534" fmla="*/ 5487398 w 9922465"/>
              <a:gd name="connsiteY1534" fmla="*/ 1099147 h 1934496"/>
              <a:gd name="connsiteX1535" fmla="*/ 5357105 w 9922465"/>
              <a:gd name="connsiteY1535" fmla="*/ 1099147 h 1934496"/>
              <a:gd name="connsiteX1536" fmla="*/ 5412297 w 9922465"/>
              <a:gd name="connsiteY1536" fmla="*/ 1154338 h 1934496"/>
              <a:gd name="connsiteX1537" fmla="*/ 5357105 w 9922465"/>
              <a:gd name="connsiteY1537" fmla="*/ 1209529 h 1934496"/>
              <a:gd name="connsiteX1538" fmla="*/ 5301913 w 9922465"/>
              <a:gd name="connsiteY1538" fmla="*/ 1154338 h 1934496"/>
              <a:gd name="connsiteX1539" fmla="*/ 5357105 w 9922465"/>
              <a:gd name="connsiteY1539" fmla="*/ 1099147 h 1934496"/>
              <a:gd name="connsiteX1540" fmla="*/ 5093176 w 9922465"/>
              <a:gd name="connsiteY1540" fmla="*/ 1099147 h 1934496"/>
              <a:gd name="connsiteX1541" fmla="*/ 5148368 w 9922465"/>
              <a:gd name="connsiteY1541" fmla="*/ 1154338 h 1934496"/>
              <a:gd name="connsiteX1542" fmla="*/ 5093176 w 9922465"/>
              <a:gd name="connsiteY1542" fmla="*/ 1209529 h 1934496"/>
              <a:gd name="connsiteX1543" fmla="*/ 5037984 w 9922465"/>
              <a:gd name="connsiteY1543" fmla="*/ 1154338 h 1934496"/>
              <a:gd name="connsiteX1544" fmla="*/ 5093176 w 9922465"/>
              <a:gd name="connsiteY1544" fmla="*/ 1099147 h 1934496"/>
              <a:gd name="connsiteX1545" fmla="*/ 4959540 w 9922465"/>
              <a:gd name="connsiteY1545" fmla="*/ 1099147 h 1934496"/>
              <a:gd name="connsiteX1546" fmla="*/ 5014732 w 9922465"/>
              <a:gd name="connsiteY1546" fmla="*/ 1154338 h 1934496"/>
              <a:gd name="connsiteX1547" fmla="*/ 4959540 w 9922465"/>
              <a:gd name="connsiteY1547" fmla="*/ 1209529 h 1934496"/>
              <a:gd name="connsiteX1548" fmla="*/ 4904348 w 9922465"/>
              <a:gd name="connsiteY1548" fmla="*/ 1154338 h 1934496"/>
              <a:gd name="connsiteX1549" fmla="*/ 4959540 w 9922465"/>
              <a:gd name="connsiteY1549" fmla="*/ 1099147 h 1934496"/>
              <a:gd name="connsiteX1550" fmla="*/ 4829246 w 9922465"/>
              <a:gd name="connsiteY1550" fmla="*/ 1099147 h 1934496"/>
              <a:gd name="connsiteX1551" fmla="*/ 4884438 w 9922465"/>
              <a:gd name="connsiteY1551" fmla="*/ 1154338 h 1934496"/>
              <a:gd name="connsiteX1552" fmla="*/ 4829246 w 9922465"/>
              <a:gd name="connsiteY1552" fmla="*/ 1209529 h 1934496"/>
              <a:gd name="connsiteX1553" fmla="*/ 4774054 w 9922465"/>
              <a:gd name="connsiteY1553" fmla="*/ 1154338 h 1934496"/>
              <a:gd name="connsiteX1554" fmla="*/ 4829246 w 9922465"/>
              <a:gd name="connsiteY1554" fmla="*/ 1099147 h 1934496"/>
              <a:gd name="connsiteX1555" fmla="*/ 319117 w 9922465"/>
              <a:gd name="connsiteY1555" fmla="*/ 1099147 h 1934496"/>
              <a:gd name="connsiteX1556" fmla="*/ 374310 w 9922465"/>
              <a:gd name="connsiteY1556" fmla="*/ 1154338 h 1934496"/>
              <a:gd name="connsiteX1557" fmla="*/ 319117 w 9922465"/>
              <a:gd name="connsiteY1557" fmla="*/ 1209529 h 1934496"/>
              <a:gd name="connsiteX1558" fmla="*/ 263926 w 9922465"/>
              <a:gd name="connsiteY1558" fmla="*/ 1154338 h 1934496"/>
              <a:gd name="connsiteX1559" fmla="*/ 319117 w 9922465"/>
              <a:gd name="connsiteY1559" fmla="*/ 1099147 h 1934496"/>
              <a:gd name="connsiteX1560" fmla="*/ 185484 w 9922465"/>
              <a:gd name="connsiteY1560" fmla="*/ 1099147 h 1934496"/>
              <a:gd name="connsiteX1561" fmla="*/ 240675 w 9922465"/>
              <a:gd name="connsiteY1561" fmla="*/ 1154338 h 1934496"/>
              <a:gd name="connsiteX1562" fmla="*/ 185484 w 9922465"/>
              <a:gd name="connsiteY1562" fmla="*/ 1209529 h 1934496"/>
              <a:gd name="connsiteX1563" fmla="*/ 130292 w 9922465"/>
              <a:gd name="connsiteY1563" fmla="*/ 1154338 h 1934496"/>
              <a:gd name="connsiteX1564" fmla="*/ 185484 w 9922465"/>
              <a:gd name="connsiteY1564" fmla="*/ 1099147 h 1934496"/>
              <a:gd name="connsiteX1565" fmla="*/ 55190 w 9922465"/>
              <a:gd name="connsiteY1565" fmla="*/ 1099147 h 1934496"/>
              <a:gd name="connsiteX1566" fmla="*/ 110381 w 9922465"/>
              <a:gd name="connsiteY1566" fmla="*/ 1154338 h 1934496"/>
              <a:gd name="connsiteX1567" fmla="*/ 55190 w 9922465"/>
              <a:gd name="connsiteY1567" fmla="*/ 1209529 h 1934496"/>
              <a:gd name="connsiteX1568" fmla="*/ 0 w 9922465"/>
              <a:gd name="connsiteY1568" fmla="*/ 1154338 h 1934496"/>
              <a:gd name="connsiteX1569" fmla="*/ 55190 w 9922465"/>
              <a:gd name="connsiteY1569" fmla="*/ 1099147 h 1934496"/>
              <a:gd name="connsiteX1570" fmla="*/ 3499584 w 9922465"/>
              <a:gd name="connsiteY1570" fmla="*/ 1099146 h 1934496"/>
              <a:gd name="connsiteX1571" fmla="*/ 3554776 w 9922465"/>
              <a:gd name="connsiteY1571" fmla="*/ 1154337 h 1934496"/>
              <a:gd name="connsiteX1572" fmla="*/ 3499584 w 9922465"/>
              <a:gd name="connsiteY1572" fmla="*/ 1209528 h 1934496"/>
              <a:gd name="connsiteX1573" fmla="*/ 3444392 w 9922465"/>
              <a:gd name="connsiteY1573" fmla="*/ 1154337 h 1934496"/>
              <a:gd name="connsiteX1574" fmla="*/ 3499584 w 9922465"/>
              <a:gd name="connsiteY1574" fmla="*/ 1099146 h 1934496"/>
              <a:gd name="connsiteX1575" fmla="*/ 2570894 w 9922465"/>
              <a:gd name="connsiteY1575" fmla="*/ 1099146 h 1934496"/>
              <a:gd name="connsiteX1576" fmla="*/ 2626086 w 9922465"/>
              <a:gd name="connsiteY1576" fmla="*/ 1154337 h 1934496"/>
              <a:gd name="connsiteX1577" fmla="*/ 2570894 w 9922465"/>
              <a:gd name="connsiteY1577" fmla="*/ 1209528 h 1934496"/>
              <a:gd name="connsiteX1578" fmla="*/ 2515701 w 9922465"/>
              <a:gd name="connsiteY1578" fmla="*/ 1154337 h 1934496"/>
              <a:gd name="connsiteX1579" fmla="*/ 2570894 w 9922465"/>
              <a:gd name="connsiteY1579" fmla="*/ 1099146 h 1934496"/>
              <a:gd name="connsiteX1580" fmla="*/ 2039698 w 9922465"/>
              <a:gd name="connsiteY1580" fmla="*/ 1099146 h 1934496"/>
              <a:gd name="connsiteX1581" fmla="*/ 2094891 w 9922465"/>
              <a:gd name="connsiteY1581" fmla="*/ 1154337 h 1934496"/>
              <a:gd name="connsiteX1582" fmla="*/ 2039698 w 9922465"/>
              <a:gd name="connsiteY1582" fmla="*/ 1209528 h 1934496"/>
              <a:gd name="connsiteX1583" fmla="*/ 1984505 w 9922465"/>
              <a:gd name="connsiteY1583" fmla="*/ 1154337 h 1934496"/>
              <a:gd name="connsiteX1584" fmla="*/ 2039698 w 9922465"/>
              <a:gd name="connsiteY1584" fmla="*/ 1099146 h 1934496"/>
              <a:gd name="connsiteX1585" fmla="*/ 1909401 w 9922465"/>
              <a:gd name="connsiteY1585" fmla="*/ 1099146 h 1934496"/>
              <a:gd name="connsiteX1586" fmla="*/ 1964592 w 9922465"/>
              <a:gd name="connsiteY1586" fmla="*/ 1154337 h 1934496"/>
              <a:gd name="connsiteX1587" fmla="*/ 1909401 w 9922465"/>
              <a:gd name="connsiteY1587" fmla="*/ 1209528 h 1934496"/>
              <a:gd name="connsiteX1588" fmla="*/ 1854207 w 9922465"/>
              <a:gd name="connsiteY1588" fmla="*/ 1154337 h 1934496"/>
              <a:gd name="connsiteX1589" fmla="*/ 1909401 w 9922465"/>
              <a:gd name="connsiteY1589" fmla="*/ 1099146 h 1934496"/>
              <a:gd name="connsiteX1590" fmla="*/ 1779104 w 9922465"/>
              <a:gd name="connsiteY1590" fmla="*/ 1099146 h 1934496"/>
              <a:gd name="connsiteX1591" fmla="*/ 1834296 w 9922465"/>
              <a:gd name="connsiteY1591" fmla="*/ 1154337 h 1934496"/>
              <a:gd name="connsiteX1592" fmla="*/ 1779104 w 9922465"/>
              <a:gd name="connsiteY1592" fmla="*/ 1209528 h 1934496"/>
              <a:gd name="connsiteX1593" fmla="*/ 1723910 w 9922465"/>
              <a:gd name="connsiteY1593" fmla="*/ 1154337 h 1934496"/>
              <a:gd name="connsiteX1594" fmla="*/ 1779104 w 9922465"/>
              <a:gd name="connsiteY1594" fmla="*/ 1099146 h 1934496"/>
              <a:gd name="connsiteX1595" fmla="*/ 1645469 w 9922465"/>
              <a:gd name="connsiteY1595" fmla="*/ 1099146 h 1934496"/>
              <a:gd name="connsiteX1596" fmla="*/ 1700664 w 9922465"/>
              <a:gd name="connsiteY1596" fmla="*/ 1154337 h 1934496"/>
              <a:gd name="connsiteX1597" fmla="*/ 1645469 w 9922465"/>
              <a:gd name="connsiteY1597" fmla="*/ 1209528 h 1934496"/>
              <a:gd name="connsiteX1598" fmla="*/ 1590275 w 9922465"/>
              <a:gd name="connsiteY1598" fmla="*/ 1154337 h 1934496"/>
              <a:gd name="connsiteX1599" fmla="*/ 1645469 w 9922465"/>
              <a:gd name="connsiteY1599" fmla="*/ 1099146 h 1934496"/>
              <a:gd name="connsiteX1600" fmla="*/ 1515179 w 9922465"/>
              <a:gd name="connsiteY1600" fmla="*/ 1099146 h 1934496"/>
              <a:gd name="connsiteX1601" fmla="*/ 1570364 w 9922465"/>
              <a:gd name="connsiteY1601" fmla="*/ 1154337 h 1934496"/>
              <a:gd name="connsiteX1602" fmla="*/ 1515179 w 9922465"/>
              <a:gd name="connsiteY1602" fmla="*/ 1209528 h 1934496"/>
              <a:gd name="connsiteX1603" fmla="*/ 1459982 w 9922465"/>
              <a:gd name="connsiteY1603" fmla="*/ 1154337 h 1934496"/>
              <a:gd name="connsiteX1604" fmla="*/ 1515179 w 9922465"/>
              <a:gd name="connsiteY1604" fmla="*/ 1099146 h 1934496"/>
              <a:gd name="connsiteX1605" fmla="*/ 1381539 w 9922465"/>
              <a:gd name="connsiteY1605" fmla="*/ 1099146 h 1934496"/>
              <a:gd name="connsiteX1606" fmla="*/ 1436731 w 9922465"/>
              <a:gd name="connsiteY1606" fmla="*/ 1154337 h 1934496"/>
              <a:gd name="connsiteX1607" fmla="*/ 1381539 w 9922465"/>
              <a:gd name="connsiteY1607" fmla="*/ 1209528 h 1934496"/>
              <a:gd name="connsiteX1608" fmla="*/ 1326349 w 9922465"/>
              <a:gd name="connsiteY1608" fmla="*/ 1154337 h 1934496"/>
              <a:gd name="connsiteX1609" fmla="*/ 1381539 w 9922465"/>
              <a:gd name="connsiteY1609" fmla="*/ 1099146 h 1934496"/>
              <a:gd name="connsiteX1610" fmla="*/ 1251245 w 9922465"/>
              <a:gd name="connsiteY1610" fmla="*/ 1099146 h 1934496"/>
              <a:gd name="connsiteX1611" fmla="*/ 1306439 w 9922465"/>
              <a:gd name="connsiteY1611" fmla="*/ 1154337 h 1934496"/>
              <a:gd name="connsiteX1612" fmla="*/ 1251245 w 9922465"/>
              <a:gd name="connsiteY1612" fmla="*/ 1209528 h 1934496"/>
              <a:gd name="connsiteX1613" fmla="*/ 1196054 w 9922465"/>
              <a:gd name="connsiteY1613" fmla="*/ 1154337 h 1934496"/>
              <a:gd name="connsiteX1614" fmla="*/ 1251245 w 9922465"/>
              <a:gd name="connsiteY1614" fmla="*/ 1099146 h 1934496"/>
              <a:gd name="connsiteX1615" fmla="*/ 1117610 w 9922465"/>
              <a:gd name="connsiteY1615" fmla="*/ 1099146 h 1934496"/>
              <a:gd name="connsiteX1616" fmla="*/ 1172803 w 9922465"/>
              <a:gd name="connsiteY1616" fmla="*/ 1154337 h 1934496"/>
              <a:gd name="connsiteX1617" fmla="*/ 1117610 w 9922465"/>
              <a:gd name="connsiteY1617" fmla="*/ 1209528 h 1934496"/>
              <a:gd name="connsiteX1618" fmla="*/ 1062416 w 9922465"/>
              <a:gd name="connsiteY1618" fmla="*/ 1154337 h 1934496"/>
              <a:gd name="connsiteX1619" fmla="*/ 1117610 w 9922465"/>
              <a:gd name="connsiteY1619" fmla="*/ 1099146 h 1934496"/>
              <a:gd name="connsiteX1620" fmla="*/ 980631 w 9922465"/>
              <a:gd name="connsiteY1620" fmla="*/ 1099146 h 1934496"/>
              <a:gd name="connsiteX1621" fmla="*/ 1035825 w 9922465"/>
              <a:gd name="connsiteY1621" fmla="*/ 1154337 h 1934496"/>
              <a:gd name="connsiteX1622" fmla="*/ 980631 w 9922465"/>
              <a:gd name="connsiteY1622" fmla="*/ 1209528 h 1934496"/>
              <a:gd name="connsiteX1623" fmla="*/ 925438 w 9922465"/>
              <a:gd name="connsiteY1623" fmla="*/ 1154337 h 1934496"/>
              <a:gd name="connsiteX1624" fmla="*/ 980631 w 9922465"/>
              <a:gd name="connsiteY1624" fmla="*/ 1099146 h 1934496"/>
              <a:gd name="connsiteX1625" fmla="*/ 846993 w 9922465"/>
              <a:gd name="connsiteY1625" fmla="*/ 1099146 h 1934496"/>
              <a:gd name="connsiteX1626" fmla="*/ 902186 w 9922465"/>
              <a:gd name="connsiteY1626" fmla="*/ 1154337 h 1934496"/>
              <a:gd name="connsiteX1627" fmla="*/ 846993 w 9922465"/>
              <a:gd name="connsiteY1627" fmla="*/ 1209528 h 1934496"/>
              <a:gd name="connsiteX1628" fmla="*/ 791796 w 9922465"/>
              <a:gd name="connsiteY1628" fmla="*/ 1154337 h 1934496"/>
              <a:gd name="connsiteX1629" fmla="*/ 846993 w 9922465"/>
              <a:gd name="connsiteY1629" fmla="*/ 1099146 h 1934496"/>
              <a:gd name="connsiteX1630" fmla="*/ 716690 w 9922465"/>
              <a:gd name="connsiteY1630" fmla="*/ 1099146 h 1934496"/>
              <a:gd name="connsiteX1631" fmla="*/ 771886 w 9922465"/>
              <a:gd name="connsiteY1631" fmla="*/ 1154337 h 1934496"/>
              <a:gd name="connsiteX1632" fmla="*/ 716690 w 9922465"/>
              <a:gd name="connsiteY1632" fmla="*/ 1209528 h 1934496"/>
              <a:gd name="connsiteX1633" fmla="*/ 661502 w 9922465"/>
              <a:gd name="connsiteY1633" fmla="*/ 1154337 h 1934496"/>
              <a:gd name="connsiteX1634" fmla="*/ 716690 w 9922465"/>
              <a:gd name="connsiteY1634" fmla="*/ 1099146 h 1934496"/>
              <a:gd name="connsiteX1635" fmla="*/ 583057 w 9922465"/>
              <a:gd name="connsiteY1635" fmla="*/ 1099146 h 1934496"/>
              <a:gd name="connsiteX1636" fmla="*/ 638250 w 9922465"/>
              <a:gd name="connsiteY1636" fmla="*/ 1154337 h 1934496"/>
              <a:gd name="connsiteX1637" fmla="*/ 583057 w 9922465"/>
              <a:gd name="connsiteY1637" fmla="*/ 1209528 h 1934496"/>
              <a:gd name="connsiteX1638" fmla="*/ 527863 w 9922465"/>
              <a:gd name="connsiteY1638" fmla="*/ 1154337 h 1934496"/>
              <a:gd name="connsiteX1639" fmla="*/ 583057 w 9922465"/>
              <a:gd name="connsiteY1639" fmla="*/ 1099146 h 1934496"/>
              <a:gd name="connsiteX1640" fmla="*/ 449413 w 9922465"/>
              <a:gd name="connsiteY1640" fmla="*/ 1099146 h 1934496"/>
              <a:gd name="connsiteX1641" fmla="*/ 504606 w 9922465"/>
              <a:gd name="connsiteY1641" fmla="*/ 1154337 h 1934496"/>
              <a:gd name="connsiteX1642" fmla="*/ 449413 w 9922465"/>
              <a:gd name="connsiteY1642" fmla="*/ 1209528 h 1934496"/>
              <a:gd name="connsiteX1643" fmla="*/ 394220 w 9922465"/>
              <a:gd name="connsiteY1643" fmla="*/ 1154337 h 1934496"/>
              <a:gd name="connsiteX1644" fmla="*/ 449413 w 9922465"/>
              <a:gd name="connsiteY1644" fmla="*/ 1099146 h 1934496"/>
              <a:gd name="connsiteX1645" fmla="*/ 9603343 w 9922465"/>
              <a:gd name="connsiteY1645" fmla="*/ 975533 h 1934496"/>
              <a:gd name="connsiteX1646" fmla="*/ 9658535 w 9922465"/>
              <a:gd name="connsiteY1646" fmla="*/ 1030724 h 1934496"/>
              <a:gd name="connsiteX1647" fmla="*/ 9603343 w 9922465"/>
              <a:gd name="connsiteY1647" fmla="*/ 1085915 h 1934496"/>
              <a:gd name="connsiteX1648" fmla="*/ 9548151 w 9922465"/>
              <a:gd name="connsiteY1648" fmla="*/ 1030724 h 1934496"/>
              <a:gd name="connsiteX1649" fmla="*/ 9603343 w 9922465"/>
              <a:gd name="connsiteY1649" fmla="*/ 975533 h 1934496"/>
              <a:gd name="connsiteX1650" fmla="*/ 9469708 w 9922465"/>
              <a:gd name="connsiteY1650" fmla="*/ 975533 h 1934496"/>
              <a:gd name="connsiteX1651" fmla="*/ 9524900 w 9922465"/>
              <a:gd name="connsiteY1651" fmla="*/ 1030724 h 1934496"/>
              <a:gd name="connsiteX1652" fmla="*/ 9469708 w 9922465"/>
              <a:gd name="connsiteY1652" fmla="*/ 1085915 h 1934496"/>
              <a:gd name="connsiteX1653" fmla="*/ 9414516 w 9922465"/>
              <a:gd name="connsiteY1653" fmla="*/ 1030724 h 1934496"/>
              <a:gd name="connsiteX1654" fmla="*/ 9469708 w 9922465"/>
              <a:gd name="connsiteY1654" fmla="*/ 975533 h 1934496"/>
              <a:gd name="connsiteX1655" fmla="*/ 8935170 w 9922465"/>
              <a:gd name="connsiteY1655" fmla="*/ 975533 h 1934496"/>
              <a:gd name="connsiteX1656" fmla="*/ 8990362 w 9922465"/>
              <a:gd name="connsiteY1656" fmla="*/ 1030724 h 1934496"/>
              <a:gd name="connsiteX1657" fmla="*/ 8935170 w 9922465"/>
              <a:gd name="connsiteY1657" fmla="*/ 1085915 h 1934496"/>
              <a:gd name="connsiteX1658" fmla="*/ 8879978 w 9922465"/>
              <a:gd name="connsiteY1658" fmla="*/ 1030724 h 1934496"/>
              <a:gd name="connsiteX1659" fmla="*/ 8935170 w 9922465"/>
              <a:gd name="connsiteY1659" fmla="*/ 975533 h 1934496"/>
              <a:gd name="connsiteX1660" fmla="*/ 8407315 w 9922465"/>
              <a:gd name="connsiteY1660" fmla="*/ 975533 h 1934496"/>
              <a:gd name="connsiteX1661" fmla="*/ 8462507 w 9922465"/>
              <a:gd name="connsiteY1661" fmla="*/ 1030724 h 1934496"/>
              <a:gd name="connsiteX1662" fmla="*/ 8407315 w 9922465"/>
              <a:gd name="connsiteY1662" fmla="*/ 1085915 h 1934496"/>
              <a:gd name="connsiteX1663" fmla="*/ 8352123 w 9922465"/>
              <a:gd name="connsiteY1663" fmla="*/ 1030724 h 1934496"/>
              <a:gd name="connsiteX1664" fmla="*/ 8407315 w 9922465"/>
              <a:gd name="connsiteY1664" fmla="*/ 975533 h 1934496"/>
              <a:gd name="connsiteX1665" fmla="*/ 7876116 w 9922465"/>
              <a:gd name="connsiteY1665" fmla="*/ 975533 h 1934496"/>
              <a:gd name="connsiteX1666" fmla="*/ 7931308 w 9922465"/>
              <a:gd name="connsiteY1666" fmla="*/ 1030724 h 1934496"/>
              <a:gd name="connsiteX1667" fmla="*/ 7876116 w 9922465"/>
              <a:gd name="connsiteY1667" fmla="*/ 1085915 h 1934496"/>
              <a:gd name="connsiteX1668" fmla="*/ 7820924 w 9922465"/>
              <a:gd name="connsiteY1668" fmla="*/ 1030724 h 1934496"/>
              <a:gd name="connsiteX1669" fmla="*/ 7876116 w 9922465"/>
              <a:gd name="connsiteY1669" fmla="*/ 975533 h 1934496"/>
              <a:gd name="connsiteX1670" fmla="*/ 7745822 w 9922465"/>
              <a:gd name="connsiteY1670" fmla="*/ 975533 h 1934496"/>
              <a:gd name="connsiteX1671" fmla="*/ 7801014 w 9922465"/>
              <a:gd name="connsiteY1671" fmla="*/ 1030724 h 1934496"/>
              <a:gd name="connsiteX1672" fmla="*/ 7745822 w 9922465"/>
              <a:gd name="connsiteY1672" fmla="*/ 1085915 h 1934496"/>
              <a:gd name="connsiteX1673" fmla="*/ 7690630 w 9922465"/>
              <a:gd name="connsiteY1673" fmla="*/ 1030724 h 1934496"/>
              <a:gd name="connsiteX1674" fmla="*/ 7745822 w 9922465"/>
              <a:gd name="connsiteY1674" fmla="*/ 975533 h 1934496"/>
              <a:gd name="connsiteX1675" fmla="*/ 7481894 w 9922465"/>
              <a:gd name="connsiteY1675" fmla="*/ 975533 h 1934496"/>
              <a:gd name="connsiteX1676" fmla="*/ 7537086 w 9922465"/>
              <a:gd name="connsiteY1676" fmla="*/ 1030724 h 1934496"/>
              <a:gd name="connsiteX1677" fmla="*/ 7481894 w 9922465"/>
              <a:gd name="connsiteY1677" fmla="*/ 1085915 h 1934496"/>
              <a:gd name="connsiteX1678" fmla="*/ 7426702 w 9922465"/>
              <a:gd name="connsiteY1678" fmla="*/ 1030724 h 1934496"/>
              <a:gd name="connsiteX1679" fmla="*/ 7481894 w 9922465"/>
              <a:gd name="connsiteY1679" fmla="*/ 975533 h 1934496"/>
              <a:gd name="connsiteX1680" fmla="*/ 7341578 w 9922465"/>
              <a:gd name="connsiteY1680" fmla="*/ 975533 h 1934496"/>
              <a:gd name="connsiteX1681" fmla="*/ 7396770 w 9922465"/>
              <a:gd name="connsiteY1681" fmla="*/ 1030724 h 1934496"/>
              <a:gd name="connsiteX1682" fmla="*/ 7341578 w 9922465"/>
              <a:gd name="connsiteY1682" fmla="*/ 1085915 h 1934496"/>
              <a:gd name="connsiteX1683" fmla="*/ 7286386 w 9922465"/>
              <a:gd name="connsiteY1683" fmla="*/ 1030724 h 1934496"/>
              <a:gd name="connsiteX1684" fmla="*/ 7341578 w 9922465"/>
              <a:gd name="connsiteY1684" fmla="*/ 975533 h 1934496"/>
              <a:gd name="connsiteX1685" fmla="*/ 7211285 w 9922465"/>
              <a:gd name="connsiteY1685" fmla="*/ 975533 h 1934496"/>
              <a:gd name="connsiteX1686" fmla="*/ 7266477 w 9922465"/>
              <a:gd name="connsiteY1686" fmla="*/ 1030724 h 1934496"/>
              <a:gd name="connsiteX1687" fmla="*/ 7211285 w 9922465"/>
              <a:gd name="connsiteY1687" fmla="*/ 1085915 h 1934496"/>
              <a:gd name="connsiteX1688" fmla="*/ 7156093 w 9922465"/>
              <a:gd name="connsiteY1688" fmla="*/ 1030724 h 1934496"/>
              <a:gd name="connsiteX1689" fmla="*/ 7211285 w 9922465"/>
              <a:gd name="connsiteY1689" fmla="*/ 975533 h 1934496"/>
              <a:gd name="connsiteX1690" fmla="*/ 6947356 w 9922465"/>
              <a:gd name="connsiteY1690" fmla="*/ 975533 h 1934496"/>
              <a:gd name="connsiteX1691" fmla="*/ 7002548 w 9922465"/>
              <a:gd name="connsiteY1691" fmla="*/ 1030724 h 1934496"/>
              <a:gd name="connsiteX1692" fmla="*/ 6947356 w 9922465"/>
              <a:gd name="connsiteY1692" fmla="*/ 1085915 h 1934496"/>
              <a:gd name="connsiteX1693" fmla="*/ 6892164 w 9922465"/>
              <a:gd name="connsiteY1693" fmla="*/ 1030724 h 1934496"/>
              <a:gd name="connsiteX1694" fmla="*/ 6947356 w 9922465"/>
              <a:gd name="connsiteY1694" fmla="*/ 975533 h 1934496"/>
              <a:gd name="connsiteX1695" fmla="*/ 6817063 w 9922465"/>
              <a:gd name="connsiteY1695" fmla="*/ 975533 h 1934496"/>
              <a:gd name="connsiteX1696" fmla="*/ 6872255 w 9922465"/>
              <a:gd name="connsiteY1696" fmla="*/ 1030724 h 1934496"/>
              <a:gd name="connsiteX1697" fmla="*/ 6817063 w 9922465"/>
              <a:gd name="connsiteY1697" fmla="*/ 1085915 h 1934496"/>
              <a:gd name="connsiteX1698" fmla="*/ 6761871 w 9922465"/>
              <a:gd name="connsiteY1698" fmla="*/ 1030724 h 1934496"/>
              <a:gd name="connsiteX1699" fmla="*/ 6817063 w 9922465"/>
              <a:gd name="connsiteY1699" fmla="*/ 975533 h 1934496"/>
              <a:gd name="connsiteX1700" fmla="*/ 6683430 w 9922465"/>
              <a:gd name="connsiteY1700" fmla="*/ 975533 h 1934496"/>
              <a:gd name="connsiteX1701" fmla="*/ 6738622 w 9922465"/>
              <a:gd name="connsiteY1701" fmla="*/ 1030724 h 1934496"/>
              <a:gd name="connsiteX1702" fmla="*/ 6683430 w 9922465"/>
              <a:gd name="connsiteY1702" fmla="*/ 1085915 h 1934496"/>
              <a:gd name="connsiteX1703" fmla="*/ 6628238 w 9922465"/>
              <a:gd name="connsiteY1703" fmla="*/ 1030724 h 1934496"/>
              <a:gd name="connsiteX1704" fmla="*/ 6683430 w 9922465"/>
              <a:gd name="connsiteY1704" fmla="*/ 975533 h 1934496"/>
              <a:gd name="connsiteX1705" fmla="*/ 6289206 w 9922465"/>
              <a:gd name="connsiteY1705" fmla="*/ 975533 h 1934496"/>
              <a:gd name="connsiteX1706" fmla="*/ 6344398 w 9922465"/>
              <a:gd name="connsiteY1706" fmla="*/ 1030724 h 1934496"/>
              <a:gd name="connsiteX1707" fmla="*/ 6289206 w 9922465"/>
              <a:gd name="connsiteY1707" fmla="*/ 1085915 h 1934496"/>
              <a:gd name="connsiteX1708" fmla="*/ 6234014 w 9922465"/>
              <a:gd name="connsiteY1708" fmla="*/ 1030724 h 1934496"/>
              <a:gd name="connsiteX1709" fmla="*/ 6289206 w 9922465"/>
              <a:gd name="connsiteY1709" fmla="*/ 975533 h 1934496"/>
              <a:gd name="connsiteX1710" fmla="*/ 5754667 w 9922465"/>
              <a:gd name="connsiteY1710" fmla="*/ 975533 h 1934496"/>
              <a:gd name="connsiteX1711" fmla="*/ 5809859 w 9922465"/>
              <a:gd name="connsiteY1711" fmla="*/ 1030724 h 1934496"/>
              <a:gd name="connsiteX1712" fmla="*/ 5754667 w 9922465"/>
              <a:gd name="connsiteY1712" fmla="*/ 1085915 h 1934496"/>
              <a:gd name="connsiteX1713" fmla="*/ 5699475 w 9922465"/>
              <a:gd name="connsiteY1713" fmla="*/ 1030724 h 1934496"/>
              <a:gd name="connsiteX1714" fmla="*/ 5754667 w 9922465"/>
              <a:gd name="connsiteY1714" fmla="*/ 975533 h 1934496"/>
              <a:gd name="connsiteX1715" fmla="*/ 5487398 w 9922465"/>
              <a:gd name="connsiteY1715" fmla="*/ 975533 h 1934496"/>
              <a:gd name="connsiteX1716" fmla="*/ 5542590 w 9922465"/>
              <a:gd name="connsiteY1716" fmla="*/ 1030724 h 1934496"/>
              <a:gd name="connsiteX1717" fmla="*/ 5487398 w 9922465"/>
              <a:gd name="connsiteY1717" fmla="*/ 1085915 h 1934496"/>
              <a:gd name="connsiteX1718" fmla="*/ 5432206 w 9922465"/>
              <a:gd name="connsiteY1718" fmla="*/ 1030724 h 1934496"/>
              <a:gd name="connsiteX1719" fmla="*/ 5487398 w 9922465"/>
              <a:gd name="connsiteY1719" fmla="*/ 975533 h 1934496"/>
              <a:gd name="connsiteX1720" fmla="*/ 5357105 w 9922465"/>
              <a:gd name="connsiteY1720" fmla="*/ 975533 h 1934496"/>
              <a:gd name="connsiteX1721" fmla="*/ 5412297 w 9922465"/>
              <a:gd name="connsiteY1721" fmla="*/ 1030724 h 1934496"/>
              <a:gd name="connsiteX1722" fmla="*/ 5357105 w 9922465"/>
              <a:gd name="connsiteY1722" fmla="*/ 1085915 h 1934496"/>
              <a:gd name="connsiteX1723" fmla="*/ 5301913 w 9922465"/>
              <a:gd name="connsiteY1723" fmla="*/ 1030724 h 1934496"/>
              <a:gd name="connsiteX1724" fmla="*/ 5357105 w 9922465"/>
              <a:gd name="connsiteY1724" fmla="*/ 975533 h 1934496"/>
              <a:gd name="connsiteX1725" fmla="*/ 5093176 w 9922465"/>
              <a:gd name="connsiteY1725" fmla="*/ 975533 h 1934496"/>
              <a:gd name="connsiteX1726" fmla="*/ 5148368 w 9922465"/>
              <a:gd name="connsiteY1726" fmla="*/ 1030724 h 1934496"/>
              <a:gd name="connsiteX1727" fmla="*/ 5093176 w 9922465"/>
              <a:gd name="connsiteY1727" fmla="*/ 1085915 h 1934496"/>
              <a:gd name="connsiteX1728" fmla="*/ 5037984 w 9922465"/>
              <a:gd name="connsiteY1728" fmla="*/ 1030724 h 1934496"/>
              <a:gd name="connsiteX1729" fmla="*/ 5093176 w 9922465"/>
              <a:gd name="connsiteY1729" fmla="*/ 975533 h 1934496"/>
              <a:gd name="connsiteX1730" fmla="*/ 4959540 w 9922465"/>
              <a:gd name="connsiteY1730" fmla="*/ 975533 h 1934496"/>
              <a:gd name="connsiteX1731" fmla="*/ 5014732 w 9922465"/>
              <a:gd name="connsiteY1731" fmla="*/ 1030724 h 1934496"/>
              <a:gd name="connsiteX1732" fmla="*/ 4959540 w 9922465"/>
              <a:gd name="connsiteY1732" fmla="*/ 1085915 h 1934496"/>
              <a:gd name="connsiteX1733" fmla="*/ 4904348 w 9922465"/>
              <a:gd name="connsiteY1733" fmla="*/ 1030724 h 1934496"/>
              <a:gd name="connsiteX1734" fmla="*/ 4959540 w 9922465"/>
              <a:gd name="connsiteY1734" fmla="*/ 975533 h 1934496"/>
              <a:gd name="connsiteX1735" fmla="*/ 4161075 w 9922465"/>
              <a:gd name="connsiteY1735" fmla="*/ 975533 h 1934496"/>
              <a:gd name="connsiteX1736" fmla="*/ 4216267 w 9922465"/>
              <a:gd name="connsiteY1736" fmla="*/ 1030724 h 1934496"/>
              <a:gd name="connsiteX1737" fmla="*/ 4161075 w 9922465"/>
              <a:gd name="connsiteY1737" fmla="*/ 1085915 h 1934496"/>
              <a:gd name="connsiteX1738" fmla="*/ 4105883 w 9922465"/>
              <a:gd name="connsiteY1738" fmla="*/ 1030724 h 1934496"/>
              <a:gd name="connsiteX1739" fmla="*/ 4161075 w 9922465"/>
              <a:gd name="connsiteY1739" fmla="*/ 975533 h 1934496"/>
              <a:gd name="connsiteX1740" fmla="*/ 4030782 w 9922465"/>
              <a:gd name="connsiteY1740" fmla="*/ 975533 h 1934496"/>
              <a:gd name="connsiteX1741" fmla="*/ 4085974 w 9922465"/>
              <a:gd name="connsiteY1741" fmla="*/ 1030724 h 1934496"/>
              <a:gd name="connsiteX1742" fmla="*/ 4030782 w 9922465"/>
              <a:gd name="connsiteY1742" fmla="*/ 1085915 h 1934496"/>
              <a:gd name="connsiteX1743" fmla="*/ 3975590 w 9922465"/>
              <a:gd name="connsiteY1743" fmla="*/ 1030724 h 1934496"/>
              <a:gd name="connsiteX1744" fmla="*/ 4030782 w 9922465"/>
              <a:gd name="connsiteY1744" fmla="*/ 975533 h 1934496"/>
              <a:gd name="connsiteX1745" fmla="*/ 3369290 w 9922465"/>
              <a:gd name="connsiteY1745" fmla="*/ 975533 h 1934496"/>
              <a:gd name="connsiteX1746" fmla="*/ 3424482 w 9922465"/>
              <a:gd name="connsiteY1746" fmla="*/ 1030724 h 1934496"/>
              <a:gd name="connsiteX1747" fmla="*/ 3369290 w 9922465"/>
              <a:gd name="connsiteY1747" fmla="*/ 1085915 h 1934496"/>
              <a:gd name="connsiteX1748" fmla="*/ 3314098 w 9922465"/>
              <a:gd name="connsiteY1748" fmla="*/ 1030724 h 1934496"/>
              <a:gd name="connsiteX1749" fmla="*/ 3369290 w 9922465"/>
              <a:gd name="connsiteY1749" fmla="*/ 975533 h 1934496"/>
              <a:gd name="connsiteX1750" fmla="*/ 2707880 w 9922465"/>
              <a:gd name="connsiteY1750" fmla="*/ 975533 h 1934496"/>
              <a:gd name="connsiteX1751" fmla="*/ 2763074 w 9922465"/>
              <a:gd name="connsiteY1751" fmla="*/ 1030724 h 1934496"/>
              <a:gd name="connsiteX1752" fmla="*/ 2707880 w 9922465"/>
              <a:gd name="connsiteY1752" fmla="*/ 1085915 h 1934496"/>
              <a:gd name="connsiteX1753" fmla="*/ 2652689 w 9922465"/>
              <a:gd name="connsiteY1753" fmla="*/ 1030724 h 1934496"/>
              <a:gd name="connsiteX1754" fmla="*/ 2707880 w 9922465"/>
              <a:gd name="connsiteY1754" fmla="*/ 975533 h 1934496"/>
              <a:gd name="connsiteX1755" fmla="*/ 2173347 w 9922465"/>
              <a:gd name="connsiteY1755" fmla="*/ 975533 h 1934496"/>
              <a:gd name="connsiteX1756" fmla="*/ 2228540 w 9922465"/>
              <a:gd name="connsiteY1756" fmla="*/ 1030724 h 1934496"/>
              <a:gd name="connsiteX1757" fmla="*/ 2173347 w 9922465"/>
              <a:gd name="connsiteY1757" fmla="*/ 1085915 h 1934496"/>
              <a:gd name="connsiteX1758" fmla="*/ 2118154 w 9922465"/>
              <a:gd name="connsiteY1758" fmla="*/ 1030724 h 1934496"/>
              <a:gd name="connsiteX1759" fmla="*/ 2173347 w 9922465"/>
              <a:gd name="connsiteY1759" fmla="*/ 975533 h 1934496"/>
              <a:gd name="connsiteX1760" fmla="*/ 1251258 w 9922465"/>
              <a:gd name="connsiteY1760" fmla="*/ 975533 h 1934496"/>
              <a:gd name="connsiteX1761" fmla="*/ 1306450 w 9922465"/>
              <a:gd name="connsiteY1761" fmla="*/ 1030724 h 1934496"/>
              <a:gd name="connsiteX1762" fmla="*/ 1251258 w 9922465"/>
              <a:gd name="connsiteY1762" fmla="*/ 1085915 h 1934496"/>
              <a:gd name="connsiteX1763" fmla="*/ 1196066 w 9922465"/>
              <a:gd name="connsiteY1763" fmla="*/ 1030724 h 1934496"/>
              <a:gd name="connsiteX1764" fmla="*/ 1251258 w 9922465"/>
              <a:gd name="connsiteY1764" fmla="*/ 975533 h 1934496"/>
              <a:gd name="connsiteX1765" fmla="*/ 847001 w 9922465"/>
              <a:gd name="connsiteY1765" fmla="*/ 975533 h 1934496"/>
              <a:gd name="connsiteX1766" fmla="*/ 902196 w 9922465"/>
              <a:gd name="connsiteY1766" fmla="*/ 1030724 h 1934496"/>
              <a:gd name="connsiteX1767" fmla="*/ 847001 w 9922465"/>
              <a:gd name="connsiteY1767" fmla="*/ 1085915 h 1934496"/>
              <a:gd name="connsiteX1768" fmla="*/ 791804 w 9922465"/>
              <a:gd name="connsiteY1768" fmla="*/ 1030724 h 1934496"/>
              <a:gd name="connsiteX1769" fmla="*/ 847001 w 9922465"/>
              <a:gd name="connsiteY1769" fmla="*/ 975533 h 1934496"/>
              <a:gd name="connsiteX1770" fmla="*/ 9336074 w 9922465"/>
              <a:gd name="connsiteY1770" fmla="*/ 975532 h 1934496"/>
              <a:gd name="connsiteX1771" fmla="*/ 9391266 w 9922465"/>
              <a:gd name="connsiteY1771" fmla="*/ 1030723 h 1934496"/>
              <a:gd name="connsiteX1772" fmla="*/ 9336074 w 9922465"/>
              <a:gd name="connsiteY1772" fmla="*/ 1085914 h 1934496"/>
              <a:gd name="connsiteX1773" fmla="*/ 9280882 w 9922465"/>
              <a:gd name="connsiteY1773" fmla="*/ 1030723 h 1934496"/>
              <a:gd name="connsiteX1774" fmla="*/ 9336074 w 9922465"/>
              <a:gd name="connsiteY1774" fmla="*/ 975532 h 1934496"/>
              <a:gd name="connsiteX1775" fmla="*/ 9199098 w 9922465"/>
              <a:gd name="connsiteY1775" fmla="*/ 975532 h 1934496"/>
              <a:gd name="connsiteX1776" fmla="*/ 9254290 w 9922465"/>
              <a:gd name="connsiteY1776" fmla="*/ 1030723 h 1934496"/>
              <a:gd name="connsiteX1777" fmla="*/ 9199098 w 9922465"/>
              <a:gd name="connsiteY1777" fmla="*/ 1085914 h 1934496"/>
              <a:gd name="connsiteX1778" fmla="*/ 9143906 w 9922465"/>
              <a:gd name="connsiteY1778" fmla="*/ 1030723 h 1934496"/>
              <a:gd name="connsiteX1779" fmla="*/ 9199098 w 9922465"/>
              <a:gd name="connsiteY1779" fmla="*/ 975532 h 1934496"/>
              <a:gd name="connsiteX1780" fmla="*/ 9068805 w 9922465"/>
              <a:gd name="connsiteY1780" fmla="*/ 975532 h 1934496"/>
              <a:gd name="connsiteX1781" fmla="*/ 9123997 w 9922465"/>
              <a:gd name="connsiteY1781" fmla="*/ 1030723 h 1934496"/>
              <a:gd name="connsiteX1782" fmla="*/ 9068805 w 9922465"/>
              <a:gd name="connsiteY1782" fmla="*/ 1085914 h 1934496"/>
              <a:gd name="connsiteX1783" fmla="*/ 9013613 w 9922465"/>
              <a:gd name="connsiteY1783" fmla="*/ 1030723 h 1934496"/>
              <a:gd name="connsiteX1784" fmla="*/ 9068805 w 9922465"/>
              <a:gd name="connsiteY1784" fmla="*/ 975532 h 1934496"/>
              <a:gd name="connsiteX1785" fmla="*/ 8801536 w 9922465"/>
              <a:gd name="connsiteY1785" fmla="*/ 975532 h 1934496"/>
              <a:gd name="connsiteX1786" fmla="*/ 8856728 w 9922465"/>
              <a:gd name="connsiteY1786" fmla="*/ 1030723 h 1934496"/>
              <a:gd name="connsiteX1787" fmla="*/ 8801536 w 9922465"/>
              <a:gd name="connsiteY1787" fmla="*/ 1085914 h 1934496"/>
              <a:gd name="connsiteX1788" fmla="*/ 8746344 w 9922465"/>
              <a:gd name="connsiteY1788" fmla="*/ 1030723 h 1934496"/>
              <a:gd name="connsiteX1789" fmla="*/ 8801536 w 9922465"/>
              <a:gd name="connsiteY1789" fmla="*/ 975532 h 1934496"/>
              <a:gd name="connsiteX1790" fmla="*/ 8671243 w 9922465"/>
              <a:gd name="connsiteY1790" fmla="*/ 975532 h 1934496"/>
              <a:gd name="connsiteX1791" fmla="*/ 8726435 w 9922465"/>
              <a:gd name="connsiteY1791" fmla="*/ 1030723 h 1934496"/>
              <a:gd name="connsiteX1792" fmla="*/ 8671243 w 9922465"/>
              <a:gd name="connsiteY1792" fmla="*/ 1085914 h 1934496"/>
              <a:gd name="connsiteX1793" fmla="*/ 8616051 w 9922465"/>
              <a:gd name="connsiteY1793" fmla="*/ 1030723 h 1934496"/>
              <a:gd name="connsiteX1794" fmla="*/ 8671243 w 9922465"/>
              <a:gd name="connsiteY1794" fmla="*/ 975532 h 1934496"/>
              <a:gd name="connsiteX1795" fmla="*/ 8537608 w 9922465"/>
              <a:gd name="connsiteY1795" fmla="*/ 975532 h 1934496"/>
              <a:gd name="connsiteX1796" fmla="*/ 8592800 w 9922465"/>
              <a:gd name="connsiteY1796" fmla="*/ 1030723 h 1934496"/>
              <a:gd name="connsiteX1797" fmla="*/ 8537608 w 9922465"/>
              <a:gd name="connsiteY1797" fmla="*/ 1085914 h 1934496"/>
              <a:gd name="connsiteX1798" fmla="*/ 8482416 w 9922465"/>
              <a:gd name="connsiteY1798" fmla="*/ 1030723 h 1934496"/>
              <a:gd name="connsiteX1799" fmla="*/ 8537608 w 9922465"/>
              <a:gd name="connsiteY1799" fmla="*/ 975532 h 1934496"/>
              <a:gd name="connsiteX1800" fmla="*/ 8273681 w 9922465"/>
              <a:gd name="connsiteY1800" fmla="*/ 975532 h 1934496"/>
              <a:gd name="connsiteX1801" fmla="*/ 8328873 w 9922465"/>
              <a:gd name="connsiteY1801" fmla="*/ 1030723 h 1934496"/>
              <a:gd name="connsiteX1802" fmla="*/ 8273681 w 9922465"/>
              <a:gd name="connsiteY1802" fmla="*/ 1085914 h 1934496"/>
              <a:gd name="connsiteX1803" fmla="*/ 8218489 w 9922465"/>
              <a:gd name="connsiteY1803" fmla="*/ 1030723 h 1934496"/>
              <a:gd name="connsiteX1804" fmla="*/ 8273681 w 9922465"/>
              <a:gd name="connsiteY1804" fmla="*/ 975532 h 1934496"/>
              <a:gd name="connsiteX1805" fmla="*/ 8143385 w 9922465"/>
              <a:gd name="connsiteY1805" fmla="*/ 975532 h 1934496"/>
              <a:gd name="connsiteX1806" fmla="*/ 8198577 w 9922465"/>
              <a:gd name="connsiteY1806" fmla="*/ 1030723 h 1934496"/>
              <a:gd name="connsiteX1807" fmla="*/ 8143385 w 9922465"/>
              <a:gd name="connsiteY1807" fmla="*/ 1085914 h 1934496"/>
              <a:gd name="connsiteX1808" fmla="*/ 8088193 w 9922465"/>
              <a:gd name="connsiteY1808" fmla="*/ 1030723 h 1934496"/>
              <a:gd name="connsiteX1809" fmla="*/ 8143385 w 9922465"/>
              <a:gd name="connsiteY1809" fmla="*/ 975532 h 1934496"/>
              <a:gd name="connsiteX1810" fmla="*/ 8009751 w 9922465"/>
              <a:gd name="connsiteY1810" fmla="*/ 975532 h 1934496"/>
              <a:gd name="connsiteX1811" fmla="*/ 8064943 w 9922465"/>
              <a:gd name="connsiteY1811" fmla="*/ 1030723 h 1934496"/>
              <a:gd name="connsiteX1812" fmla="*/ 8009751 w 9922465"/>
              <a:gd name="connsiteY1812" fmla="*/ 1085914 h 1934496"/>
              <a:gd name="connsiteX1813" fmla="*/ 7954559 w 9922465"/>
              <a:gd name="connsiteY1813" fmla="*/ 1030723 h 1934496"/>
              <a:gd name="connsiteX1814" fmla="*/ 8009751 w 9922465"/>
              <a:gd name="connsiteY1814" fmla="*/ 975532 h 1934496"/>
              <a:gd name="connsiteX1815" fmla="*/ 7608847 w 9922465"/>
              <a:gd name="connsiteY1815" fmla="*/ 975532 h 1934496"/>
              <a:gd name="connsiteX1816" fmla="*/ 7664039 w 9922465"/>
              <a:gd name="connsiteY1816" fmla="*/ 1030723 h 1934496"/>
              <a:gd name="connsiteX1817" fmla="*/ 7608847 w 9922465"/>
              <a:gd name="connsiteY1817" fmla="*/ 1085914 h 1934496"/>
              <a:gd name="connsiteX1818" fmla="*/ 7553655 w 9922465"/>
              <a:gd name="connsiteY1818" fmla="*/ 1030723 h 1934496"/>
              <a:gd name="connsiteX1819" fmla="*/ 7608847 w 9922465"/>
              <a:gd name="connsiteY1819" fmla="*/ 975532 h 1934496"/>
              <a:gd name="connsiteX1820" fmla="*/ 7080991 w 9922465"/>
              <a:gd name="connsiteY1820" fmla="*/ 975532 h 1934496"/>
              <a:gd name="connsiteX1821" fmla="*/ 7136183 w 9922465"/>
              <a:gd name="connsiteY1821" fmla="*/ 1030723 h 1934496"/>
              <a:gd name="connsiteX1822" fmla="*/ 7080991 w 9922465"/>
              <a:gd name="connsiteY1822" fmla="*/ 1085914 h 1934496"/>
              <a:gd name="connsiteX1823" fmla="*/ 7025799 w 9922465"/>
              <a:gd name="connsiteY1823" fmla="*/ 1030723 h 1934496"/>
              <a:gd name="connsiteX1824" fmla="*/ 7080991 w 9922465"/>
              <a:gd name="connsiteY1824" fmla="*/ 975532 h 1934496"/>
              <a:gd name="connsiteX1825" fmla="*/ 6553135 w 9922465"/>
              <a:gd name="connsiteY1825" fmla="*/ 975532 h 1934496"/>
              <a:gd name="connsiteX1826" fmla="*/ 6608327 w 9922465"/>
              <a:gd name="connsiteY1826" fmla="*/ 1030723 h 1934496"/>
              <a:gd name="connsiteX1827" fmla="*/ 6553135 w 9922465"/>
              <a:gd name="connsiteY1827" fmla="*/ 1085914 h 1934496"/>
              <a:gd name="connsiteX1828" fmla="*/ 6497943 w 9922465"/>
              <a:gd name="connsiteY1828" fmla="*/ 1030723 h 1934496"/>
              <a:gd name="connsiteX1829" fmla="*/ 6553135 w 9922465"/>
              <a:gd name="connsiteY1829" fmla="*/ 975532 h 1934496"/>
              <a:gd name="connsiteX1830" fmla="*/ 6419501 w 9922465"/>
              <a:gd name="connsiteY1830" fmla="*/ 975532 h 1934496"/>
              <a:gd name="connsiteX1831" fmla="*/ 6474693 w 9922465"/>
              <a:gd name="connsiteY1831" fmla="*/ 1030723 h 1934496"/>
              <a:gd name="connsiteX1832" fmla="*/ 6419501 w 9922465"/>
              <a:gd name="connsiteY1832" fmla="*/ 1085914 h 1934496"/>
              <a:gd name="connsiteX1833" fmla="*/ 6364309 w 9922465"/>
              <a:gd name="connsiteY1833" fmla="*/ 1030723 h 1934496"/>
              <a:gd name="connsiteX1834" fmla="*/ 6419501 w 9922465"/>
              <a:gd name="connsiteY1834" fmla="*/ 975532 h 1934496"/>
              <a:gd name="connsiteX1835" fmla="*/ 6155571 w 9922465"/>
              <a:gd name="connsiteY1835" fmla="*/ 975532 h 1934496"/>
              <a:gd name="connsiteX1836" fmla="*/ 6210763 w 9922465"/>
              <a:gd name="connsiteY1836" fmla="*/ 1030723 h 1934496"/>
              <a:gd name="connsiteX1837" fmla="*/ 6155571 w 9922465"/>
              <a:gd name="connsiteY1837" fmla="*/ 1085914 h 1934496"/>
              <a:gd name="connsiteX1838" fmla="*/ 6100379 w 9922465"/>
              <a:gd name="connsiteY1838" fmla="*/ 1030723 h 1934496"/>
              <a:gd name="connsiteX1839" fmla="*/ 6155571 w 9922465"/>
              <a:gd name="connsiteY1839" fmla="*/ 975532 h 1934496"/>
              <a:gd name="connsiteX1840" fmla="*/ 6021936 w 9922465"/>
              <a:gd name="connsiteY1840" fmla="*/ 975532 h 1934496"/>
              <a:gd name="connsiteX1841" fmla="*/ 6077128 w 9922465"/>
              <a:gd name="connsiteY1841" fmla="*/ 1030723 h 1934496"/>
              <a:gd name="connsiteX1842" fmla="*/ 6021936 w 9922465"/>
              <a:gd name="connsiteY1842" fmla="*/ 1085914 h 1934496"/>
              <a:gd name="connsiteX1843" fmla="*/ 5966744 w 9922465"/>
              <a:gd name="connsiteY1843" fmla="*/ 1030723 h 1934496"/>
              <a:gd name="connsiteX1844" fmla="*/ 6021936 w 9922465"/>
              <a:gd name="connsiteY1844" fmla="*/ 975532 h 1934496"/>
              <a:gd name="connsiteX1845" fmla="*/ 5884963 w 9922465"/>
              <a:gd name="connsiteY1845" fmla="*/ 975532 h 1934496"/>
              <a:gd name="connsiteX1846" fmla="*/ 5940155 w 9922465"/>
              <a:gd name="connsiteY1846" fmla="*/ 1030723 h 1934496"/>
              <a:gd name="connsiteX1847" fmla="*/ 5884963 w 9922465"/>
              <a:gd name="connsiteY1847" fmla="*/ 1085914 h 1934496"/>
              <a:gd name="connsiteX1848" fmla="*/ 5829771 w 9922465"/>
              <a:gd name="connsiteY1848" fmla="*/ 1030723 h 1934496"/>
              <a:gd name="connsiteX1849" fmla="*/ 5884963 w 9922465"/>
              <a:gd name="connsiteY1849" fmla="*/ 975532 h 1934496"/>
              <a:gd name="connsiteX1850" fmla="*/ 5621031 w 9922465"/>
              <a:gd name="connsiteY1850" fmla="*/ 975532 h 1934496"/>
              <a:gd name="connsiteX1851" fmla="*/ 5676223 w 9922465"/>
              <a:gd name="connsiteY1851" fmla="*/ 1030723 h 1934496"/>
              <a:gd name="connsiteX1852" fmla="*/ 5621031 w 9922465"/>
              <a:gd name="connsiteY1852" fmla="*/ 1085914 h 1934496"/>
              <a:gd name="connsiteX1853" fmla="*/ 5565839 w 9922465"/>
              <a:gd name="connsiteY1853" fmla="*/ 1030723 h 1934496"/>
              <a:gd name="connsiteX1854" fmla="*/ 5621031 w 9922465"/>
              <a:gd name="connsiteY1854" fmla="*/ 975532 h 1934496"/>
              <a:gd name="connsiteX1855" fmla="*/ 5223472 w 9922465"/>
              <a:gd name="connsiteY1855" fmla="*/ 975532 h 1934496"/>
              <a:gd name="connsiteX1856" fmla="*/ 5278664 w 9922465"/>
              <a:gd name="connsiteY1856" fmla="*/ 1030723 h 1934496"/>
              <a:gd name="connsiteX1857" fmla="*/ 5223472 w 9922465"/>
              <a:gd name="connsiteY1857" fmla="*/ 1085914 h 1934496"/>
              <a:gd name="connsiteX1858" fmla="*/ 5168280 w 9922465"/>
              <a:gd name="connsiteY1858" fmla="*/ 1030723 h 1934496"/>
              <a:gd name="connsiteX1859" fmla="*/ 5223472 w 9922465"/>
              <a:gd name="connsiteY1859" fmla="*/ 975532 h 1934496"/>
              <a:gd name="connsiteX1860" fmla="*/ 4294710 w 9922465"/>
              <a:gd name="connsiteY1860" fmla="*/ 975532 h 1934496"/>
              <a:gd name="connsiteX1861" fmla="*/ 4349902 w 9922465"/>
              <a:gd name="connsiteY1861" fmla="*/ 1030723 h 1934496"/>
              <a:gd name="connsiteX1862" fmla="*/ 4294710 w 9922465"/>
              <a:gd name="connsiteY1862" fmla="*/ 1085914 h 1934496"/>
              <a:gd name="connsiteX1863" fmla="*/ 4239518 w 9922465"/>
              <a:gd name="connsiteY1863" fmla="*/ 1030723 h 1934496"/>
              <a:gd name="connsiteX1864" fmla="*/ 4294710 w 9922465"/>
              <a:gd name="connsiteY1864" fmla="*/ 975532 h 1934496"/>
              <a:gd name="connsiteX1865" fmla="*/ 3499584 w 9922465"/>
              <a:gd name="connsiteY1865" fmla="*/ 975532 h 1934496"/>
              <a:gd name="connsiteX1866" fmla="*/ 3554776 w 9922465"/>
              <a:gd name="connsiteY1866" fmla="*/ 1030723 h 1934496"/>
              <a:gd name="connsiteX1867" fmla="*/ 3499584 w 9922465"/>
              <a:gd name="connsiteY1867" fmla="*/ 1085914 h 1934496"/>
              <a:gd name="connsiteX1868" fmla="*/ 3444392 w 9922465"/>
              <a:gd name="connsiteY1868" fmla="*/ 1030723 h 1934496"/>
              <a:gd name="connsiteX1869" fmla="*/ 3499584 w 9922465"/>
              <a:gd name="connsiteY1869" fmla="*/ 975532 h 1934496"/>
              <a:gd name="connsiteX1870" fmla="*/ 2834836 w 9922465"/>
              <a:gd name="connsiteY1870" fmla="*/ 975532 h 1934496"/>
              <a:gd name="connsiteX1871" fmla="*/ 2890028 w 9922465"/>
              <a:gd name="connsiteY1871" fmla="*/ 1030723 h 1934496"/>
              <a:gd name="connsiteX1872" fmla="*/ 2834836 w 9922465"/>
              <a:gd name="connsiteY1872" fmla="*/ 1085914 h 1934496"/>
              <a:gd name="connsiteX1873" fmla="*/ 2779643 w 9922465"/>
              <a:gd name="connsiteY1873" fmla="*/ 1030723 h 1934496"/>
              <a:gd name="connsiteX1874" fmla="*/ 2834836 w 9922465"/>
              <a:gd name="connsiteY1874" fmla="*/ 975532 h 1934496"/>
              <a:gd name="connsiteX1875" fmla="*/ 2303639 w 9922465"/>
              <a:gd name="connsiteY1875" fmla="*/ 975532 h 1934496"/>
              <a:gd name="connsiteX1876" fmla="*/ 2358830 w 9922465"/>
              <a:gd name="connsiteY1876" fmla="*/ 1030723 h 1934496"/>
              <a:gd name="connsiteX1877" fmla="*/ 2303639 w 9922465"/>
              <a:gd name="connsiteY1877" fmla="*/ 1085914 h 1934496"/>
              <a:gd name="connsiteX1878" fmla="*/ 2248448 w 9922465"/>
              <a:gd name="connsiteY1878" fmla="*/ 1030723 h 1934496"/>
              <a:gd name="connsiteX1879" fmla="*/ 2303639 w 9922465"/>
              <a:gd name="connsiteY1879" fmla="*/ 975532 h 1934496"/>
              <a:gd name="connsiteX1880" fmla="*/ 2039712 w 9922465"/>
              <a:gd name="connsiteY1880" fmla="*/ 975532 h 1934496"/>
              <a:gd name="connsiteX1881" fmla="*/ 2094905 w 9922465"/>
              <a:gd name="connsiteY1881" fmla="*/ 1030723 h 1934496"/>
              <a:gd name="connsiteX1882" fmla="*/ 2039712 w 9922465"/>
              <a:gd name="connsiteY1882" fmla="*/ 1085914 h 1934496"/>
              <a:gd name="connsiteX1883" fmla="*/ 1984518 w 9922465"/>
              <a:gd name="connsiteY1883" fmla="*/ 1030723 h 1934496"/>
              <a:gd name="connsiteX1884" fmla="*/ 2039712 w 9922465"/>
              <a:gd name="connsiteY1884" fmla="*/ 975532 h 1934496"/>
              <a:gd name="connsiteX1885" fmla="*/ 1909414 w 9922465"/>
              <a:gd name="connsiteY1885" fmla="*/ 975532 h 1934496"/>
              <a:gd name="connsiteX1886" fmla="*/ 1964607 w 9922465"/>
              <a:gd name="connsiteY1886" fmla="*/ 1030723 h 1934496"/>
              <a:gd name="connsiteX1887" fmla="*/ 1909414 w 9922465"/>
              <a:gd name="connsiteY1887" fmla="*/ 1085914 h 1934496"/>
              <a:gd name="connsiteX1888" fmla="*/ 1854220 w 9922465"/>
              <a:gd name="connsiteY1888" fmla="*/ 1030723 h 1934496"/>
              <a:gd name="connsiteX1889" fmla="*/ 1909414 w 9922465"/>
              <a:gd name="connsiteY1889" fmla="*/ 975532 h 1934496"/>
              <a:gd name="connsiteX1890" fmla="*/ 1779117 w 9922465"/>
              <a:gd name="connsiteY1890" fmla="*/ 975532 h 1934496"/>
              <a:gd name="connsiteX1891" fmla="*/ 1834310 w 9922465"/>
              <a:gd name="connsiteY1891" fmla="*/ 1030723 h 1934496"/>
              <a:gd name="connsiteX1892" fmla="*/ 1779117 w 9922465"/>
              <a:gd name="connsiteY1892" fmla="*/ 1085914 h 1934496"/>
              <a:gd name="connsiteX1893" fmla="*/ 1723923 w 9922465"/>
              <a:gd name="connsiteY1893" fmla="*/ 1030723 h 1934496"/>
              <a:gd name="connsiteX1894" fmla="*/ 1779117 w 9922465"/>
              <a:gd name="connsiteY1894" fmla="*/ 975532 h 1934496"/>
              <a:gd name="connsiteX1895" fmla="*/ 1645480 w 9922465"/>
              <a:gd name="connsiteY1895" fmla="*/ 975532 h 1934496"/>
              <a:gd name="connsiteX1896" fmla="*/ 1700679 w 9922465"/>
              <a:gd name="connsiteY1896" fmla="*/ 1030723 h 1934496"/>
              <a:gd name="connsiteX1897" fmla="*/ 1645480 w 9922465"/>
              <a:gd name="connsiteY1897" fmla="*/ 1085914 h 1934496"/>
              <a:gd name="connsiteX1898" fmla="*/ 1590287 w 9922465"/>
              <a:gd name="connsiteY1898" fmla="*/ 1030723 h 1934496"/>
              <a:gd name="connsiteX1899" fmla="*/ 1645480 w 9922465"/>
              <a:gd name="connsiteY1899" fmla="*/ 975532 h 1934496"/>
              <a:gd name="connsiteX1900" fmla="*/ 1515189 w 9922465"/>
              <a:gd name="connsiteY1900" fmla="*/ 975532 h 1934496"/>
              <a:gd name="connsiteX1901" fmla="*/ 1570378 w 9922465"/>
              <a:gd name="connsiteY1901" fmla="*/ 1030723 h 1934496"/>
              <a:gd name="connsiteX1902" fmla="*/ 1515189 w 9922465"/>
              <a:gd name="connsiteY1902" fmla="*/ 1085914 h 1934496"/>
              <a:gd name="connsiteX1903" fmla="*/ 1459995 w 9922465"/>
              <a:gd name="connsiteY1903" fmla="*/ 1030723 h 1934496"/>
              <a:gd name="connsiteX1904" fmla="*/ 1515189 w 9922465"/>
              <a:gd name="connsiteY1904" fmla="*/ 975532 h 1934496"/>
              <a:gd name="connsiteX1905" fmla="*/ 1381549 w 9922465"/>
              <a:gd name="connsiteY1905" fmla="*/ 975532 h 1934496"/>
              <a:gd name="connsiteX1906" fmla="*/ 1436744 w 9922465"/>
              <a:gd name="connsiteY1906" fmla="*/ 1030723 h 1934496"/>
              <a:gd name="connsiteX1907" fmla="*/ 1381549 w 9922465"/>
              <a:gd name="connsiteY1907" fmla="*/ 1085914 h 1934496"/>
              <a:gd name="connsiteX1908" fmla="*/ 1326361 w 9922465"/>
              <a:gd name="connsiteY1908" fmla="*/ 1030723 h 1934496"/>
              <a:gd name="connsiteX1909" fmla="*/ 1381549 w 9922465"/>
              <a:gd name="connsiteY1909" fmla="*/ 975532 h 1934496"/>
              <a:gd name="connsiteX1910" fmla="*/ 1117621 w 9922465"/>
              <a:gd name="connsiteY1910" fmla="*/ 975532 h 1934496"/>
              <a:gd name="connsiteX1911" fmla="*/ 1172814 w 9922465"/>
              <a:gd name="connsiteY1911" fmla="*/ 1030723 h 1934496"/>
              <a:gd name="connsiteX1912" fmla="*/ 1117621 w 9922465"/>
              <a:gd name="connsiteY1912" fmla="*/ 1085914 h 1934496"/>
              <a:gd name="connsiteX1913" fmla="*/ 1062427 w 9922465"/>
              <a:gd name="connsiteY1913" fmla="*/ 1030723 h 1934496"/>
              <a:gd name="connsiteX1914" fmla="*/ 1117621 w 9922465"/>
              <a:gd name="connsiteY1914" fmla="*/ 975532 h 1934496"/>
              <a:gd name="connsiteX1915" fmla="*/ 980643 w 9922465"/>
              <a:gd name="connsiteY1915" fmla="*/ 975532 h 1934496"/>
              <a:gd name="connsiteX1916" fmla="*/ 1035836 w 9922465"/>
              <a:gd name="connsiteY1916" fmla="*/ 1030723 h 1934496"/>
              <a:gd name="connsiteX1917" fmla="*/ 980643 w 9922465"/>
              <a:gd name="connsiteY1917" fmla="*/ 1085914 h 1934496"/>
              <a:gd name="connsiteX1918" fmla="*/ 925449 w 9922465"/>
              <a:gd name="connsiteY1918" fmla="*/ 1030723 h 1934496"/>
              <a:gd name="connsiteX1919" fmla="*/ 980643 w 9922465"/>
              <a:gd name="connsiteY1919" fmla="*/ 975532 h 1934496"/>
              <a:gd name="connsiteX1920" fmla="*/ 716703 w 9922465"/>
              <a:gd name="connsiteY1920" fmla="*/ 975532 h 1934496"/>
              <a:gd name="connsiteX1921" fmla="*/ 771897 w 9922465"/>
              <a:gd name="connsiteY1921" fmla="*/ 1030723 h 1934496"/>
              <a:gd name="connsiteX1922" fmla="*/ 716703 w 9922465"/>
              <a:gd name="connsiteY1922" fmla="*/ 1085914 h 1934496"/>
              <a:gd name="connsiteX1923" fmla="*/ 661511 w 9922465"/>
              <a:gd name="connsiteY1923" fmla="*/ 1030723 h 1934496"/>
              <a:gd name="connsiteX1924" fmla="*/ 716703 w 9922465"/>
              <a:gd name="connsiteY1924" fmla="*/ 975532 h 1934496"/>
              <a:gd name="connsiteX1925" fmla="*/ 583065 w 9922465"/>
              <a:gd name="connsiteY1925" fmla="*/ 975532 h 1934496"/>
              <a:gd name="connsiteX1926" fmla="*/ 638258 w 9922465"/>
              <a:gd name="connsiteY1926" fmla="*/ 1030723 h 1934496"/>
              <a:gd name="connsiteX1927" fmla="*/ 583065 w 9922465"/>
              <a:gd name="connsiteY1927" fmla="*/ 1085914 h 1934496"/>
              <a:gd name="connsiteX1928" fmla="*/ 527871 w 9922465"/>
              <a:gd name="connsiteY1928" fmla="*/ 1030723 h 1934496"/>
              <a:gd name="connsiteX1929" fmla="*/ 583065 w 9922465"/>
              <a:gd name="connsiteY1929" fmla="*/ 975532 h 1934496"/>
              <a:gd name="connsiteX1930" fmla="*/ 449419 w 9922465"/>
              <a:gd name="connsiteY1930" fmla="*/ 975532 h 1934496"/>
              <a:gd name="connsiteX1931" fmla="*/ 504612 w 9922465"/>
              <a:gd name="connsiteY1931" fmla="*/ 1030723 h 1934496"/>
              <a:gd name="connsiteX1932" fmla="*/ 449419 w 9922465"/>
              <a:gd name="connsiteY1932" fmla="*/ 1085914 h 1934496"/>
              <a:gd name="connsiteX1933" fmla="*/ 394227 w 9922465"/>
              <a:gd name="connsiteY1933" fmla="*/ 1030723 h 1934496"/>
              <a:gd name="connsiteX1934" fmla="*/ 449419 w 9922465"/>
              <a:gd name="connsiteY1934" fmla="*/ 975532 h 1934496"/>
              <a:gd name="connsiteX1935" fmla="*/ 319124 w 9922465"/>
              <a:gd name="connsiteY1935" fmla="*/ 975532 h 1934496"/>
              <a:gd name="connsiteX1936" fmla="*/ 374317 w 9922465"/>
              <a:gd name="connsiteY1936" fmla="*/ 1030723 h 1934496"/>
              <a:gd name="connsiteX1937" fmla="*/ 319124 w 9922465"/>
              <a:gd name="connsiteY1937" fmla="*/ 1085914 h 1934496"/>
              <a:gd name="connsiteX1938" fmla="*/ 263931 w 9922465"/>
              <a:gd name="connsiteY1938" fmla="*/ 1030723 h 1934496"/>
              <a:gd name="connsiteX1939" fmla="*/ 319124 w 9922465"/>
              <a:gd name="connsiteY1939" fmla="*/ 975532 h 1934496"/>
              <a:gd name="connsiteX1940" fmla="*/ 185492 w 9922465"/>
              <a:gd name="connsiteY1940" fmla="*/ 975532 h 1934496"/>
              <a:gd name="connsiteX1941" fmla="*/ 240682 w 9922465"/>
              <a:gd name="connsiteY1941" fmla="*/ 1030723 h 1934496"/>
              <a:gd name="connsiteX1942" fmla="*/ 185492 w 9922465"/>
              <a:gd name="connsiteY1942" fmla="*/ 1085914 h 1934496"/>
              <a:gd name="connsiteX1943" fmla="*/ 130299 w 9922465"/>
              <a:gd name="connsiteY1943" fmla="*/ 1030723 h 1934496"/>
              <a:gd name="connsiteX1944" fmla="*/ 185492 w 9922465"/>
              <a:gd name="connsiteY1944" fmla="*/ 975532 h 1934496"/>
              <a:gd name="connsiteX1945" fmla="*/ 55197 w 9922465"/>
              <a:gd name="connsiteY1945" fmla="*/ 975532 h 1934496"/>
              <a:gd name="connsiteX1946" fmla="*/ 110388 w 9922465"/>
              <a:gd name="connsiteY1946" fmla="*/ 1030723 h 1934496"/>
              <a:gd name="connsiteX1947" fmla="*/ 55197 w 9922465"/>
              <a:gd name="connsiteY1947" fmla="*/ 1085914 h 1934496"/>
              <a:gd name="connsiteX1948" fmla="*/ 7 w 9922465"/>
              <a:gd name="connsiteY1948" fmla="*/ 1030723 h 1934496"/>
              <a:gd name="connsiteX1949" fmla="*/ 55197 w 9922465"/>
              <a:gd name="connsiteY1949" fmla="*/ 975532 h 1934496"/>
              <a:gd name="connsiteX1950" fmla="*/ 9469710 w 9922465"/>
              <a:gd name="connsiteY1950" fmla="*/ 855263 h 1934496"/>
              <a:gd name="connsiteX1951" fmla="*/ 9524902 w 9922465"/>
              <a:gd name="connsiteY1951" fmla="*/ 910454 h 1934496"/>
              <a:gd name="connsiteX1952" fmla="*/ 9469710 w 9922465"/>
              <a:gd name="connsiteY1952" fmla="*/ 965645 h 1934496"/>
              <a:gd name="connsiteX1953" fmla="*/ 9414518 w 9922465"/>
              <a:gd name="connsiteY1953" fmla="*/ 910454 h 1934496"/>
              <a:gd name="connsiteX1954" fmla="*/ 9469710 w 9922465"/>
              <a:gd name="connsiteY1954" fmla="*/ 855263 h 1934496"/>
              <a:gd name="connsiteX1955" fmla="*/ 9336075 w 9922465"/>
              <a:gd name="connsiteY1955" fmla="*/ 855263 h 1934496"/>
              <a:gd name="connsiteX1956" fmla="*/ 9391267 w 9922465"/>
              <a:gd name="connsiteY1956" fmla="*/ 910454 h 1934496"/>
              <a:gd name="connsiteX1957" fmla="*/ 9336075 w 9922465"/>
              <a:gd name="connsiteY1957" fmla="*/ 965645 h 1934496"/>
              <a:gd name="connsiteX1958" fmla="*/ 9280883 w 9922465"/>
              <a:gd name="connsiteY1958" fmla="*/ 910454 h 1934496"/>
              <a:gd name="connsiteX1959" fmla="*/ 9336075 w 9922465"/>
              <a:gd name="connsiteY1959" fmla="*/ 855263 h 1934496"/>
              <a:gd name="connsiteX1960" fmla="*/ 9199100 w 9922465"/>
              <a:gd name="connsiteY1960" fmla="*/ 855263 h 1934496"/>
              <a:gd name="connsiteX1961" fmla="*/ 9254292 w 9922465"/>
              <a:gd name="connsiteY1961" fmla="*/ 910454 h 1934496"/>
              <a:gd name="connsiteX1962" fmla="*/ 9199100 w 9922465"/>
              <a:gd name="connsiteY1962" fmla="*/ 965645 h 1934496"/>
              <a:gd name="connsiteX1963" fmla="*/ 9143908 w 9922465"/>
              <a:gd name="connsiteY1963" fmla="*/ 910454 h 1934496"/>
              <a:gd name="connsiteX1964" fmla="*/ 9199100 w 9922465"/>
              <a:gd name="connsiteY1964" fmla="*/ 855263 h 1934496"/>
              <a:gd name="connsiteX1965" fmla="*/ 9068806 w 9922465"/>
              <a:gd name="connsiteY1965" fmla="*/ 855263 h 1934496"/>
              <a:gd name="connsiteX1966" fmla="*/ 9123998 w 9922465"/>
              <a:gd name="connsiteY1966" fmla="*/ 910454 h 1934496"/>
              <a:gd name="connsiteX1967" fmla="*/ 9068806 w 9922465"/>
              <a:gd name="connsiteY1967" fmla="*/ 965645 h 1934496"/>
              <a:gd name="connsiteX1968" fmla="*/ 9013614 w 9922465"/>
              <a:gd name="connsiteY1968" fmla="*/ 910454 h 1934496"/>
              <a:gd name="connsiteX1969" fmla="*/ 9068806 w 9922465"/>
              <a:gd name="connsiteY1969" fmla="*/ 855263 h 1934496"/>
              <a:gd name="connsiteX1970" fmla="*/ 8935170 w 9922465"/>
              <a:gd name="connsiteY1970" fmla="*/ 855263 h 1934496"/>
              <a:gd name="connsiteX1971" fmla="*/ 8990362 w 9922465"/>
              <a:gd name="connsiteY1971" fmla="*/ 910454 h 1934496"/>
              <a:gd name="connsiteX1972" fmla="*/ 8935170 w 9922465"/>
              <a:gd name="connsiteY1972" fmla="*/ 965645 h 1934496"/>
              <a:gd name="connsiteX1973" fmla="*/ 8879978 w 9922465"/>
              <a:gd name="connsiteY1973" fmla="*/ 910454 h 1934496"/>
              <a:gd name="connsiteX1974" fmla="*/ 8935170 w 9922465"/>
              <a:gd name="connsiteY1974" fmla="*/ 855263 h 1934496"/>
              <a:gd name="connsiteX1975" fmla="*/ 8801536 w 9922465"/>
              <a:gd name="connsiteY1975" fmla="*/ 855263 h 1934496"/>
              <a:gd name="connsiteX1976" fmla="*/ 8856728 w 9922465"/>
              <a:gd name="connsiteY1976" fmla="*/ 910454 h 1934496"/>
              <a:gd name="connsiteX1977" fmla="*/ 8801536 w 9922465"/>
              <a:gd name="connsiteY1977" fmla="*/ 965645 h 1934496"/>
              <a:gd name="connsiteX1978" fmla="*/ 8746344 w 9922465"/>
              <a:gd name="connsiteY1978" fmla="*/ 910454 h 1934496"/>
              <a:gd name="connsiteX1979" fmla="*/ 8801536 w 9922465"/>
              <a:gd name="connsiteY1979" fmla="*/ 855263 h 1934496"/>
              <a:gd name="connsiteX1980" fmla="*/ 8671243 w 9922465"/>
              <a:gd name="connsiteY1980" fmla="*/ 855263 h 1934496"/>
              <a:gd name="connsiteX1981" fmla="*/ 8726435 w 9922465"/>
              <a:gd name="connsiteY1981" fmla="*/ 910454 h 1934496"/>
              <a:gd name="connsiteX1982" fmla="*/ 8671243 w 9922465"/>
              <a:gd name="connsiteY1982" fmla="*/ 965645 h 1934496"/>
              <a:gd name="connsiteX1983" fmla="*/ 8616051 w 9922465"/>
              <a:gd name="connsiteY1983" fmla="*/ 910454 h 1934496"/>
              <a:gd name="connsiteX1984" fmla="*/ 8671243 w 9922465"/>
              <a:gd name="connsiteY1984" fmla="*/ 855263 h 1934496"/>
              <a:gd name="connsiteX1985" fmla="*/ 8537609 w 9922465"/>
              <a:gd name="connsiteY1985" fmla="*/ 855263 h 1934496"/>
              <a:gd name="connsiteX1986" fmla="*/ 8592801 w 9922465"/>
              <a:gd name="connsiteY1986" fmla="*/ 910454 h 1934496"/>
              <a:gd name="connsiteX1987" fmla="*/ 8537609 w 9922465"/>
              <a:gd name="connsiteY1987" fmla="*/ 965645 h 1934496"/>
              <a:gd name="connsiteX1988" fmla="*/ 8482417 w 9922465"/>
              <a:gd name="connsiteY1988" fmla="*/ 910454 h 1934496"/>
              <a:gd name="connsiteX1989" fmla="*/ 8537609 w 9922465"/>
              <a:gd name="connsiteY1989" fmla="*/ 855263 h 1934496"/>
              <a:gd name="connsiteX1990" fmla="*/ 8407315 w 9922465"/>
              <a:gd name="connsiteY1990" fmla="*/ 855263 h 1934496"/>
              <a:gd name="connsiteX1991" fmla="*/ 8462507 w 9922465"/>
              <a:gd name="connsiteY1991" fmla="*/ 910454 h 1934496"/>
              <a:gd name="connsiteX1992" fmla="*/ 8407315 w 9922465"/>
              <a:gd name="connsiteY1992" fmla="*/ 965645 h 1934496"/>
              <a:gd name="connsiteX1993" fmla="*/ 8352123 w 9922465"/>
              <a:gd name="connsiteY1993" fmla="*/ 910454 h 1934496"/>
              <a:gd name="connsiteX1994" fmla="*/ 8407315 w 9922465"/>
              <a:gd name="connsiteY1994" fmla="*/ 855263 h 1934496"/>
              <a:gd name="connsiteX1995" fmla="*/ 8273681 w 9922465"/>
              <a:gd name="connsiteY1995" fmla="*/ 855263 h 1934496"/>
              <a:gd name="connsiteX1996" fmla="*/ 8328873 w 9922465"/>
              <a:gd name="connsiteY1996" fmla="*/ 910454 h 1934496"/>
              <a:gd name="connsiteX1997" fmla="*/ 8273681 w 9922465"/>
              <a:gd name="connsiteY1997" fmla="*/ 965645 h 1934496"/>
              <a:gd name="connsiteX1998" fmla="*/ 8218489 w 9922465"/>
              <a:gd name="connsiteY1998" fmla="*/ 910454 h 1934496"/>
              <a:gd name="connsiteX1999" fmla="*/ 8273681 w 9922465"/>
              <a:gd name="connsiteY1999" fmla="*/ 855263 h 1934496"/>
              <a:gd name="connsiteX2000" fmla="*/ 8143386 w 9922465"/>
              <a:gd name="connsiteY2000" fmla="*/ 855263 h 1934496"/>
              <a:gd name="connsiteX2001" fmla="*/ 8198578 w 9922465"/>
              <a:gd name="connsiteY2001" fmla="*/ 910454 h 1934496"/>
              <a:gd name="connsiteX2002" fmla="*/ 8143386 w 9922465"/>
              <a:gd name="connsiteY2002" fmla="*/ 965645 h 1934496"/>
              <a:gd name="connsiteX2003" fmla="*/ 8088194 w 9922465"/>
              <a:gd name="connsiteY2003" fmla="*/ 910454 h 1934496"/>
              <a:gd name="connsiteX2004" fmla="*/ 8143386 w 9922465"/>
              <a:gd name="connsiteY2004" fmla="*/ 855263 h 1934496"/>
              <a:gd name="connsiteX2005" fmla="*/ 8009752 w 9922465"/>
              <a:gd name="connsiteY2005" fmla="*/ 855263 h 1934496"/>
              <a:gd name="connsiteX2006" fmla="*/ 8064944 w 9922465"/>
              <a:gd name="connsiteY2006" fmla="*/ 910454 h 1934496"/>
              <a:gd name="connsiteX2007" fmla="*/ 8009752 w 9922465"/>
              <a:gd name="connsiteY2007" fmla="*/ 965645 h 1934496"/>
              <a:gd name="connsiteX2008" fmla="*/ 7954560 w 9922465"/>
              <a:gd name="connsiteY2008" fmla="*/ 910454 h 1934496"/>
              <a:gd name="connsiteX2009" fmla="*/ 8009752 w 9922465"/>
              <a:gd name="connsiteY2009" fmla="*/ 855263 h 1934496"/>
              <a:gd name="connsiteX2010" fmla="*/ 7876117 w 9922465"/>
              <a:gd name="connsiteY2010" fmla="*/ 855263 h 1934496"/>
              <a:gd name="connsiteX2011" fmla="*/ 7931309 w 9922465"/>
              <a:gd name="connsiteY2011" fmla="*/ 910454 h 1934496"/>
              <a:gd name="connsiteX2012" fmla="*/ 7876117 w 9922465"/>
              <a:gd name="connsiteY2012" fmla="*/ 965645 h 1934496"/>
              <a:gd name="connsiteX2013" fmla="*/ 7820925 w 9922465"/>
              <a:gd name="connsiteY2013" fmla="*/ 910454 h 1934496"/>
              <a:gd name="connsiteX2014" fmla="*/ 7876117 w 9922465"/>
              <a:gd name="connsiteY2014" fmla="*/ 855263 h 1934496"/>
              <a:gd name="connsiteX2015" fmla="*/ 7745822 w 9922465"/>
              <a:gd name="connsiteY2015" fmla="*/ 855263 h 1934496"/>
              <a:gd name="connsiteX2016" fmla="*/ 7801014 w 9922465"/>
              <a:gd name="connsiteY2016" fmla="*/ 910454 h 1934496"/>
              <a:gd name="connsiteX2017" fmla="*/ 7745822 w 9922465"/>
              <a:gd name="connsiteY2017" fmla="*/ 965645 h 1934496"/>
              <a:gd name="connsiteX2018" fmla="*/ 7690630 w 9922465"/>
              <a:gd name="connsiteY2018" fmla="*/ 910454 h 1934496"/>
              <a:gd name="connsiteX2019" fmla="*/ 7745822 w 9922465"/>
              <a:gd name="connsiteY2019" fmla="*/ 855263 h 1934496"/>
              <a:gd name="connsiteX2020" fmla="*/ 7608849 w 9922465"/>
              <a:gd name="connsiteY2020" fmla="*/ 855263 h 1934496"/>
              <a:gd name="connsiteX2021" fmla="*/ 7664041 w 9922465"/>
              <a:gd name="connsiteY2021" fmla="*/ 910454 h 1934496"/>
              <a:gd name="connsiteX2022" fmla="*/ 7608849 w 9922465"/>
              <a:gd name="connsiteY2022" fmla="*/ 965645 h 1934496"/>
              <a:gd name="connsiteX2023" fmla="*/ 7553657 w 9922465"/>
              <a:gd name="connsiteY2023" fmla="*/ 910454 h 1934496"/>
              <a:gd name="connsiteX2024" fmla="*/ 7608849 w 9922465"/>
              <a:gd name="connsiteY2024" fmla="*/ 855263 h 1934496"/>
              <a:gd name="connsiteX2025" fmla="*/ 7481895 w 9922465"/>
              <a:gd name="connsiteY2025" fmla="*/ 855263 h 1934496"/>
              <a:gd name="connsiteX2026" fmla="*/ 7537087 w 9922465"/>
              <a:gd name="connsiteY2026" fmla="*/ 910454 h 1934496"/>
              <a:gd name="connsiteX2027" fmla="*/ 7481895 w 9922465"/>
              <a:gd name="connsiteY2027" fmla="*/ 965645 h 1934496"/>
              <a:gd name="connsiteX2028" fmla="*/ 7426703 w 9922465"/>
              <a:gd name="connsiteY2028" fmla="*/ 910454 h 1934496"/>
              <a:gd name="connsiteX2029" fmla="*/ 7481895 w 9922465"/>
              <a:gd name="connsiteY2029" fmla="*/ 855263 h 1934496"/>
              <a:gd name="connsiteX2030" fmla="*/ 7341578 w 9922465"/>
              <a:gd name="connsiteY2030" fmla="*/ 855263 h 1934496"/>
              <a:gd name="connsiteX2031" fmla="*/ 7396770 w 9922465"/>
              <a:gd name="connsiteY2031" fmla="*/ 910454 h 1934496"/>
              <a:gd name="connsiteX2032" fmla="*/ 7341578 w 9922465"/>
              <a:gd name="connsiteY2032" fmla="*/ 965645 h 1934496"/>
              <a:gd name="connsiteX2033" fmla="*/ 7286386 w 9922465"/>
              <a:gd name="connsiteY2033" fmla="*/ 910454 h 1934496"/>
              <a:gd name="connsiteX2034" fmla="*/ 7341578 w 9922465"/>
              <a:gd name="connsiteY2034" fmla="*/ 855263 h 1934496"/>
              <a:gd name="connsiteX2035" fmla="*/ 7211285 w 9922465"/>
              <a:gd name="connsiteY2035" fmla="*/ 855263 h 1934496"/>
              <a:gd name="connsiteX2036" fmla="*/ 7266477 w 9922465"/>
              <a:gd name="connsiteY2036" fmla="*/ 910454 h 1934496"/>
              <a:gd name="connsiteX2037" fmla="*/ 7211285 w 9922465"/>
              <a:gd name="connsiteY2037" fmla="*/ 965645 h 1934496"/>
              <a:gd name="connsiteX2038" fmla="*/ 7156093 w 9922465"/>
              <a:gd name="connsiteY2038" fmla="*/ 910454 h 1934496"/>
              <a:gd name="connsiteX2039" fmla="*/ 7211285 w 9922465"/>
              <a:gd name="connsiteY2039" fmla="*/ 855263 h 1934496"/>
              <a:gd name="connsiteX2040" fmla="*/ 7080993 w 9922465"/>
              <a:gd name="connsiteY2040" fmla="*/ 855263 h 1934496"/>
              <a:gd name="connsiteX2041" fmla="*/ 7136185 w 9922465"/>
              <a:gd name="connsiteY2041" fmla="*/ 910454 h 1934496"/>
              <a:gd name="connsiteX2042" fmla="*/ 7080993 w 9922465"/>
              <a:gd name="connsiteY2042" fmla="*/ 965645 h 1934496"/>
              <a:gd name="connsiteX2043" fmla="*/ 7025801 w 9922465"/>
              <a:gd name="connsiteY2043" fmla="*/ 910454 h 1934496"/>
              <a:gd name="connsiteX2044" fmla="*/ 7080993 w 9922465"/>
              <a:gd name="connsiteY2044" fmla="*/ 855263 h 1934496"/>
              <a:gd name="connsiteX2045" fmla="*/ 6947357 w 9922465"/>
              <a:gd name="connsiteY2045" fmla="*/ 855263 h 1934496"/>
              <a:gd name="connsiteX2046" fmla="*/ 7002549 w 9922465"/>
              <a:gd name="connsiteY2046" fmla="*/ 910454 h 1934496"/>
              <a:gd name="connsiteX2047" fmla="*/ 6947357 w 9922465"/>
              <a:gd name="connsiteY2047" fmla="*/ 965645 h 1934496"/>
              <a:gd name="connsiteX2048" fmla="*/ 6892165 w 9922465"/>
              <a:gd name="connsiteY2048" fmla="*/ 910454 h 1934496"/>
              <a:gd name="connsiteX2049" fmla="*/ 6947357 w 9922465"/>
              <a:gd name="connsiteY2049" fmla="*/ 855263 h 1934496"/>
              <a:gd name="connsiteX2050" fmla="*/ 6817063 w 9922465"/>
              <a:gd name="connsiteY2050" fmla="*/ 855263 h 1934496"/>
              <a:gd name="connsiteX2051" fmla="*/ 6872255 w 9922465"/>
              <a:gd name="connsiteY2051" fmla="*/ 910454 h 1934496"/>
              <a:gd name="connsiteX2052" fmla="*/ 6817063 w 9922465"/>
              <a:gd name="connsiteY2052" fmla="*/ 965645 h 1934496"/>
              <a:gd name="connsiteX2053" fmla="*/ 6761871 w 9922465"/>
              <a:gd name="connsiteY2053" fmla="*/ 910454 h 1934496"/>
              <a:gd name="connsiteX2054" fmla="*/ 6817063 w 9922465"/>
              <a:gd name="connsiteY2054" fmla="*/ 855263 h 1934496"/>
              <a:gd name="connsiteX2055" fmla="*/ 6683430 w 9922465"/>
              <a:gd name="connsiteY2055" fmla="*/ 855263 h 1934496"/>
              <a:gd name="connsiteX2056" fmla="*/ 6738622 w 9922465"/>
              <a:gd name="connsiteY2056" fmla="*/ 910454 h 1934496"/>
              <a:gd name="connsiteX2057" fmla="*/ 6683430 w 9922465"/>
              <a:gd name="connsiteY2057" fmla="*/ 965645 h 1934496"/>
              <a:gd name="connsiteX2058" fmla="*/ 6628238 w 9922465"/>
              <a:gd name="connsiteY2058" fmla="*/ 910454 h 1934496"/>
              <a:gd name="connsiteX2059" fmla="*/ 6683430 w 9922465"/>
              <a:gd name="connsiteY2059" fmla="*/ 855263 h 1934496"/>
              <a:gd name="connsiteX2060" fmla="*/ 6553135 w 9922465"/>
              <a:gd name="connsiteY2060" fmla="*/ 855263 h 1934496"/>
              <a:gd name="connsiteX2061" fmla="*/ 6608327 w 9922465"/>
              <a:gd name="connsiteY2061" fmla="*/ 910454 h 1934496"/>
              <a:gd name="connsiteX2062" fmla="*/ 6553135 w 9922465"/>
              <a:gd name="connsiteY2062" fmla="*/ 965645 h 1934496"/>
              <a:gd name="connsiteX2063" fmla="*/ 6497943 w 9922465"/>
              <a:gd name="connsiteY2063" fmla="*/ 910454 h 1934496"/>
              <a:gd name="connsiteX2064" fmla="*/ 6553135 w 9922465"/>
              <a:gd name="connsiteY2064" fmla="*/ 855263 h 1934496"/>
              <a:gd name="connsiteX2065" fmla="*/ 6419502 w 9922465"/>
              <a:gd name="connsiteY2065" fmla="*/ 855263 h 1934496"/>
              <a:gd name="connsiteX2066" fmla="*/ 6474694 w 9922465"/>
              <a:gd name="connsiteY2066" fmla="*/ 910454 h 1934496"/>
              <a:gd name="connsiteX2067" fmla="*/ 6419502 w 9922465"/>
              <a:gd name="connsiteY2067" fmla="*/ 965645 h 1934496"/>
              <a:gd name="connsiteX2068" fmla="*/ 6364310 w 9922465"/>
              <a:gd name="connsiteY2068" fmla="*/ 910454 h 1934496"/>
              <a:gd name="connsiteX2069" fmla="*/ 6419502 w 9922465"/>
              <a:gd name="connsiteY2069" fmla="*/ 855263 h 1934496"/>
              <a:gd name="connsiteX2070" fmla="*/ 6289206 w 9922465"/>
              <a:gd name="connsiteY2070" fmla="*/ 855263 h 1934496"/>
              <a:gd name="connsiteX2071" fmla="*/ 6344398 w 9922465"/>
              <a:gd name="connsiteY2071" fmla="*/ 910454 h 1934496"/>
              <a:gd name="connsiteX2072" fmla="*/ 6289206 w 9922465"/>
              <a:gd name="connsiteY2072" fmla="*/ 965645 h 1934496"/>
              <a:gd name="connsiteX2073" fmla="*/ 6234014 w 9922465"/>
              <a:gd name="connsiteY2073" fmla="*/ 910454 h 1934496"/>
              <a:gd name="connsiteX2074" fmla="*/ 6289206 w 9922465"/>
              <a:gd name="connsiteY2074" fmla="*/ 855263 h 1934496"/>
              <a:gd name="connsiteX2075" fmla="*/ 6155571 w 9922465"/>
              <a:gd name="connsiteY2075" fmla="*/ 855263 h 1934496"/>
              <a:gd name="connsiteX2076" fmla="*/ 6210763 w 9922465"/>
              <a:gd name="connsiteY2076" fmla="*/ 910454 h 1934496"/>
              <a:gd name="connsiteX2077" fmla="*/ 6155571 w 9922465"/>
              <a:gd name="connsiteY2077" fmla="*/ 965645 h 1934496"/>
              <a:gd name="connsiteX2078" fmla="*/ 6100379 w 9922465"/>
              <a:gd name="connsiteY2078" fmla="*/ 910454 h 1934496"/>
              <a:gd name="connsiteX2079" fmla="*/ 6155571 w 9922465"/>
              <a:gd name="connsiteY2079" fmla="*/ 855263 h 1934496"/>
              <a:gd name="connsiteX2080" fmla="*/ 6021938 w 9922465"/>
              <a:gd name="connsiteY2080" fmla="*/ 855263 h 1934496"/>
              <a:gd name="connsiteX2081" fmla="*/ 6077130 w 9922465"/>
              <a:gd name="connsiteY2081" fmla="*/ 910454 h 1934496"/>
              <a:gd name="connsiteX2082" fmla="*/ 6021938 w 9922465"/>
              <a:gd name="connsiteY2082" fmla="*/ 965645 h 1934496"/>
              <a:gd name="connsiteX2083" fmla="*/ 5966746 w 9922465"/>
              <a:gd name="connsiteY2083" fmla="*/ 910454 h 1934496"/>
              <a:gd name="connsiteX2084" fmla="*/ 6021938 w 9922465"/>
              <a:gd name="connsiteY2084" fmla="*/ 855263 h 1934496"/>
              <a:gd name="connsiteX2085" fmla="*/ 5884961 w 9922465"/>
              <a:gd name="connsiteY2085" fmla="*/ 855263 h 1934496"/>
              <a:gd name="connsiteX2086" fmla="*/ 5940153 w 9922465"/>
              <a:gd name="connsiteY2086" fmla="*/ 910454 h 1934496"/>
              <a:gd name="connsiteX2087" fmla="*/ 5884961 w 9922465"/>
              <a:gd name="connsiteY2087" fmla="*/ 965645 h 1934496"/>
              <a:gd name="connsiteX2088" fmla="*/ 5829769 w 9922465"/>
              <a:gd name="connsiteY2088" fmla="*/ 910454 h 1934496"/>
              <a:gd name="connsiteX2089" fmla="*/ 5884961 w 9922465"/>
              <a:gd name="connsiteY2089" fmla="*/ 855263 h 1934496"/>
              <a:gd name="connsiteX2090" fmla="*/ 5754668 w 9922465"/>
              <a:gd name="connsiteY2090" fmla="*/ 855263 h 1934496"/>
              <a:gd name="connsiteX2091" fmla="*/ 5809860 w 9922465"/>
              <a:gd name="connsiteY2091" fmla="*/ 910454 h 1934496"/>
              <a:gd name="connsiteX2092" fmla="*/ 5754668 w 9922465"/>
              <a:gd name="connsiteY2092" fmla="*/ 965645 h 1934496"/>
              <a:gd name="connsiteX2093" fmla="*/ 5699476 w 9922465"/>
              <a:gd name="connsiteY2093" fmla="*/ 910454 h 1934496"/>
              <a:gd name="connsiteX2094" fmla="*/ 5754668 w 9922465"/>
              <a:gd name="connsiteY2094" fmla="*/ 855263 h 1934496"/>
              <a:gd name="connsiteX2095" fmla="*/ 5621034 w 9922465"/>
              <a:gd name="connsiteY2095" fmla="*/ 855263 h 1934496"/>
              <a:gd name="connsiteX2096" fmla="*/ 5676226 w 9922465"/>
              <a:gd name="connsiteY2096" fmla="*/ 910454 h 1934496"/>
              <a:gd name="connsiteX2097" fmla="*/ 5621034 w 9922465"/>
              <a:gd name="connsiteY2097" fmla="*/ 965645 h 1934496"/>
              <a:gd name="connsiteX2098" fmla="*/ 5565842 w 9922465"/>
              <a:gd name="connsiteY2098" fmla="*/ 910454 h 1934496"/>
              <a:gd name="connsiteX2099" fmla="*/ 5621034 w 9922465"/>
              <a:gd name="connsiteY2099" fmla="*/ 855263 h 1934496"/>
              <a:gd name="connsiteX2100" fmla="*/ 5487399 w 9922465"/>
              <a:gd name="connsiteY2100" fmla="*/ 855263 h 1934496"/>
              <a:gd name="connsiteX2101" fmla="*/ 5542591 w 9922465"/>
              <a:gd name="connsiteY2101" fmla="*/ 910454 h 1934496"/>
              <a:gd name="connsiteX2102" fmla="*/ 5487399 w 9922465"/>
              <a:gd name="connsiteY2102" fmla="*/ 965645 h 1934496"/>
              <a:gd name="connsiteX2103" fmla="*/ 5432207 w 9922465"/>
              <a:gd name="connsiteY2103" fmla="*/ 910454 h 1934496"/>
              <a:gd name="connsiteX2104" fmla="*/ 5487399 w 9922465"/>
              <a:gd name="connsiteY2104" fmla="*/ 855263 h 1934496"/>
              <a:gd name="connsiteX2105" fmla="*/ 5357105 w 9922465"/>
              <a:gd name="connsiteY2105" fmla="*/ 855263 h 1934496"/>
              <a:gd name="connsiteX2106" fmla="*/ 5412297 w 9922465"/>
              <a:gd name="connsiteY2106" fmla="*/ 910454 h 1934496"/>
              <a:gd name="connsiteX2107" fmla="*/ 5357105 w 9922465"/>
              <a:gd name="connsiteY2107" fmla="*/ 965645 h 1934496"/>
              <a:gd name="connsiteX2108" fmla="*/ 5301913 w 9922465"/>
              <a:gd name="connsiteY2108" fmla="*/ 910454 h 1934496"/>
              <a:gd name="connsiteX2109" fmla="*/ 5357105 w 9922465"/>
              <a:gd name="connsiteY2109" fmla="*/ 855263 h 1934496"/>
              <a:gd name="connsiteX2110" fmla="*/ 5223472 w 9922465"/>
              <a:gd name="connsiteY2110" fmla="*/ 855263 h 1934496"/>
              <a:gd name="connsiteX2111" fmla="*/ 5278664 w 9922465"/>
              <a:gd name="connsiteY2111" fmla="*/ 910454 h 1934496"/>
              <a:gd name="connsiteX2112" fmla="*/ 5223472 w 9922465"/>
              <a:gd name="connsiteY2112" fmla="*/ 965645 h 1934496"/>
              <a:gd name="connsiteX2113" fmla="*/ 5168280 w 9922465"/>
              <a:gd name="connsiteY2113" fmla="*/ 910454 h 1934496"/>
              <a:gd name="connsiteX2114" fmla="*/ 5223472 w 9922465"/>
              <a:gd name="connsiteY2114" fmla="*/ 855263 h 1934496"/>
              <a:gd name="connsiteX2115" fmla="*/ 5093178 w 9922465"/>
              <a:gd name="connsiteY2115" fmla="*/ 855263 h 1934496"/>
              <a:gd name="connsiteX2116" fmla="*/ 5148370 w 9922465"/>
              <a:gd name="connsiteY2116" fmla="*/ 910454 h 1934496"/>
              <a:gd name="connsiteX2117" fmla="*/ 5093178 w 9922465"/>
              <a:gd name="connsiteY2117" fmla="*/ 965645 h 1934496"/>
              <a:gd name="connsiteX2118" fmla="*/ 5037986 w 9922465"/>
              <a:gd name="connsiteY2118" fmla="*/ 910454 h 1934496"/>
              <a:gd name="connsiteX2119" fmla="*/ 5093178 w 9922465"/>
              <a:gd name="connsiteY2119" fmla="*/ 855263 h 1934496"/>
              <a:gd name="connsiteX2120" fmla="*/ 4161076 w 9922465"/>
              <a:gd name="connsiteY2120" fmla="*/ 855263 h 1934496"/>
              <a:gd name="connsiteX2121" fmla="*/ 4216268 w 9922465"/>
              <a:gd name="connsiteY2121" fmla="*/ 910454 h 1934496"/>
              <a:gd name="connsiteX2122" fmla="*/ 4161076 w 9922465"/>
              <a:gd name="connsiteY2122" fmla="*/ 965645 h 1934496"/>
              <a:gd name="connsiteX2123" fmla="*/ 4105884 w 9922465"/>
              <a:gd name="connsiteY2123" fmla="*/ 910454 h 1934496"/>
              <a:gd name="connsiteX2124" fmla="*/ 4161076 w 9922465"/>
              <a:gd name="connsiteY2124" fmla="*/ 855263 h 1934496"/>
              <a:gd name="connsiteX2125" fmla="*/ 3633218 w 9922465"/>
              <a:gd name="connsiteY2125" fmla="*/ 855263 h 1934496"/>
              <a:gd name="connsiteX2126" fmla="*/ 3688410 w 9922465"/>
              <a:gd name="connsiteY2126" fmla="*/ 910454 h 1934496"/>
              <a:gd name="connsiteX2127" fmla="*/ 3633218 w 9922465"/>
              <a:gd name="connsiteY2127" fmla="*/ 965645 h 1934496"/>
              <a:gd name="connsiteX2128" fmla="*/ 3578026 w 9922465"/>
              <a:gd name="connsiteY2128" fmla="*/ 910454 h 1934496"/>
              <a:gd name="connsiteX2129" fmla="*/ 3633218 w 9922465"/>
              <a:gd name="connsiteY2129" fmla="*/ 855263 h 1934496"/>
              <a:gd name="connsiteX2130" fmla="*/ 3499586 w 9922465"/>
              <a:gd name="connsiteY2130" fmla="*/ 855263 h 1934496"/>
              <a:gd name="connsiteX2131" fmla="*/ 3554778 w 9922465"/>
              <a:gd name="connsiteY2131" fmla="*/ 910454 h 1934496"/>
              <a:gd name="connsiteX2132" fmla="*/ 3499586 w 9922465"/>
              <a:gd name="connsiteY2132" fmla="*/ 965645 h 1934496"/>
              <a:gd name="connsiteX2133" fmla="*/ 3444394 w 9922465"/>
              <a:gd name="connsiteY2133" fmla="*/ 910454 h 1934496"/>
              <a:gd name="connsiteX2134" fmla="*/ 3499586 w 9922465"/>
              <a:gd name="connsiteY2134" fmla="*/ 855263 h 1934496"/>
              <a:gd name="connsiteX2135" fmla="*/ 3369290 w 9922465"/>
              <a:gd name="connsiteY2135" fmla="*/ 855263 h 1934496"/>
              <a:gd name="connsiteX2136" fmla="*/ 3424482 w 9922465"/>
              <a:gd name="connsiteY2136" fmla="*/ 910454 h 1934496"/>
              <a:gd name="connsiteX2137" fmla="*/ 3369290 w 9922465"/>
              <a:gd name="connsiteY2137" fmla="*/ 965645 h 1934496"/>
              <a:gd name="connsiteX2138" fmla="*/ 3314098 w 9922465"/>
              <a:gd name="connsiteY2138" fmla="*/ 910454 h 1934496"/>
              <a:gd name="connsiteX2139" fmla="*/ 3369290 w 9922465"/>
              <a:gd name="connsiteY2139" fmla="*/ 855263 h 1934496"/>
              <a:gd name="connsiteX2140" fmla="*/ 2834849 w 9922465"/>
              <a:gd name="connsiteY2140" fmla="*/ 855263 h 1934496"/>
              <a:gd name="connsiteX2141" fmla="*/ 2890040 w 9922465"/>
              <a:gd name="connsiteY2141" fmla="*/ 910454 h 1934496"/>
              <a:gd name="connsiteX2142" fmla="*/ 2834849 w 9922465"/>
              <a:gd name="connsiteY2142" fmla="*/ 965645 h 1934496"/>
              <a:gd name="connsiteX2143" fmla="*/ 2779655 w 9922465"/>
              <a:gd name="connsiteY2143" fmla="*/ 910454 h 1934496"/>
              <a:gd name="connsiteX2144" fmla="*/ 2834849 w 9922465"/>
              <a:gd name="connsiteY2144" fmla="*/ 855263 h 1934496"/>
              <a:gd name="connsiteX2145" fmla="*/ 2707895 w 9922465"/>
              <a:gd name="connsiteY2145" fmla="*/ 855263 h 1934496"/>
              <a:gd name="connsiteX2146" fmla="*/ 2763087 w 9922465"/>
              <a:gd name="connsiteY2146" fmla="*/ 910454 h 1934496"/>
              <a:gd name="connsiteX2147" fmla="*/ 2707895 w 9922465"/>
              <a:gd name="connsiteY2147" fmla="*/ 965645 h 1934496"/>
              <a:gd name="connsiteX2148" fmla="*/ 2652702 w 9922465"/>
              <a:gd name="connsiteY2148" fmla="*/ 910454 h 1934496"/>
              <a:gd name="connsiteX2149" fmla="*/ 2707895 w 9922465"/>
              <a:gd name="connsiteY2149" fmla="*/ 855263 h 1934496"/>
              <a:gd name="connsiteX2150" fmla="*/ 2570919 w 9922465"/>
              <a:gd name="connsiteY2150" fmla="*/ 855263 h 1934496"/>
              <a:gd name="connsiteX2151" fmla="*/ 2626110 w 9922465"/>
              <a:gd name="connsiteY2151" fmla="*/ 910454 h 1934496"/>
              <a:gd name="connsiteX2152" fmla="*/ 2570919 w 9922465"/>
              <a:gd name="connsiteY2152" fmla="*/ 965645 h 1934496"/>
              <a:gd name="connsiteX2153" fmla="*/ 2515724 w 9922465"/>
              <a:gd name="connsiteY2153" fmla="*/ 910454 h 1934496"/>
              <a:gd name="connsiteX2154" fmla="*/ 2570919 w 9922465"/>
              <a:gd name="connsiteY2154" fmla="*/ 855263 h 1934496"/>
              <a:gd name="connsiteX2155" fmla="*/ 2303651 w 9922465"/>
              <a:gd name="connsiteY2155" fmla="*/ 855263 h 1934496"/>
              <a:gd name="connsiteX2156" fmla="*/ 2358843 w 9922465"/>
              <a:gd name="connsiteY2156" fmla="*/ 910454 h 1934496"/>
              <a:gd name="connsiteX2157" fmla="*/ 2303651 w 9922465"/>
              <a:gd name="connsiteY2157" fmla="*/ 965645 h 1934496"/>
              <a:gd name="connsiteX2158" fmla="*/ 2248461 w 9922465"/>
              <a:gd name="connsiteY2158" fmla="*/ 910454 h 1934496"/>
              <a:gd name="connsiteX2159" fmla="*/ 2303651 w 9922465"/>
              <a:gd name="connsiteY2159" fmla="*/ 855263 h 1934496"/>
              <a:gd name="connsiteX2160" fmla="*/ 2173362 w 9922465"/>
              <a:gd name="connsiteY2160" fmla="*/ 855263 h 1934496"/>
              <a:gd name="connsiteX2161" fmla="*/ 2228554 w 9922465"/>
              <a:gd name="connsiteY2161" fmla="*/ 910454 h 1934496"/>
              <a:gd name="connsiteX2162" fmla="*/ 2173362 w 9922465"/>
              <a:gd name="connsiteY2162" fmla="*/ 965645 h 1934496"/>
              <a:gd name="connsiteX2163" fmla="*/ 2118170 w 9922465"/>
              <a:gd name="connsiteY2163" fmla="*/ 910454 h 1934496"/>
              <a:gd name="connsiteX2164" fmla="*/ 2173362 w 9922465"/>
              <a:gd name="connsiteY2164" fmla="*/ 855263 h 1934496"/>
              <a:gd name="connsiteX2165" fmla="*/ 2039725 w 9922465"/>
              <a:gd name="connsiteY2165" fmla="*/ 855263 h 1934496"/>
              <a:gd name="connsiteX2166" fmla="*/ 2094919 w 9922465"/>
              <a:gd name="connsiteY2166" fmla="*/ 910454 h 1934496"/>
              <a:gd name="connsiteX2167" fmla="*/ 2039725 w 9922465"/>
              <a:gd name="connsiteY2167" fmla="*/ 965645 h 1934496"/>
              <a:gd name="connsiteX2168" fmla="*/ 1984533 w 9922465"/>
              <a:gd name="connsiteY2168" fmla="*/ 910454 h 1934496"/>
              <a:gd name="connsiteX2169" fmla="*/ 2039725 w 9922465"/>
              <a:gd name="connsiteY2169" fmla="*/ 855263 h 1934496"/>
              <a:gd name="connsiteX2170" fmla="*/ 1909428 w 9922465"/>
              <a:gd name="connsiteY2170" fmla="*/ 855263 h 1934496"/>
              <a:gd name="connsiteX2171" fmla="*/ 1964620 w 9922465"/>
              <a:gd name="connsiteY2171" fmla="*/ 910454 h 1934496"/>
              <a:gd name="connsiteX2172" fmla="*/ 1909428 w 9922465"/>
              <a:gd name="connsiteY2172" fmla="*/ 965645 h 1934496"/>
              <a:gd name="connsiteX2173" fmla="*/ 1854234 w 9922465"/>
              <a:gd name="connsiteY2173" fmla="*/ 910454 h 1934496"/>
              <a:gd name="connsiteX2174" fmla="*/ 1909428 w 9922465"/>
              <a:gd name="connsiteY2174" fmla="*/ 855263 h 1934496"/>
              <a:gd name="connsiteX2175" fmla="*/ 1779130 w 9922465"/>
              <a:gd name="connsiteY2175" fmla="*/ 855263 h 1934496"/>
              <a:gd name="connsiteX2176" fmla="*/ 1834324 w 9922465"/>
              <a:gd name="connsiteY2176" fmla="*/ 910454 h 1934496"/>
              <a:gd name="connsiteX2177" fmla="*/ 1779130 w 9922465"/>
              <a:gd name="connsiteY2177" fmla="*/ 965645 h 1934496"/>
              <a:gd name="connsiteX2178" fmla="*/ 1723937 w 9922465"/>
              <a:gd name="connsiteY2178" fmla="*/ 910454 h 1934496"/>
              <a:gd name="connsiteX2179" fmla="*/ 1779130 w 9922465"/>
              <a:gd name="connsiteY2179" fmla="*/ 855263 h 1934496"/>
              <a:gd name="connsiteX2180" fmla="*/ 1645495 w 9922465"/>
              <a:gd name="connsiteY2180" fmla="*/ 855263 h 1934496"/>
              <a:gd name="connsiteX2181" fmla="*/ 1700693 w 9922465"/>
              <a:gd name="connsiteY2181" fmla="*/ 910454 h 1934496"/>
              <a:gd name="connsiteX2182" fmla="*/ 1645495 w 9922465"/>
              <a:gd name="connsiteY2182" fmla="*/ 965645 h 1934496"/>
              <a:gd name="connsiteX2183" fmla="*/ 1590303 w 9922465"/>
              <a:gd name="connsiteY2183" fmla="*/ 910454 h 1934496"/>
              <a:gd name="connsiteX2184" fmla="*/ 1645495 w 9922465"/>
              <a:gd name="connsiteY2184" fmla="*/ 855263 h 1934496"/>
              <a:gd name="connsiteX2185" fmla="*/ 1515206 w 9922465"/>
              <a:gd name="connsiteY2185" fmla="*/ 855263 h 1934496"/>
              <a:gd name="connsiteX2186" fmla="*/ 1570391 w 9922465"/>
              <a:gd name="connsiteY2186" fmla="*/ 910454 h 1934496"/>
              <a:gd name="connsiteX2187" fmla="*/ 1515206 w 9922465"/>
              <a:gd name="connsiteY2187" fmla="*/ 965645 h 1934496"/>
              <a:gd name="connsiteX2188" fmla="*/ 1460009 w 9922465"/>
              <a:gd name="connsiteY2188" fmla="*/ 910454 h 1934496"/>
              <a:gd name="connsiteX2189" fmla="*/ 1515206 w 9922465"/>
              <a:gd name="connsiteY2189" fmla="*/ 855263 h 1934496"/>
              <a:gd name="connsiteX2190" fmla="*/ 1381566 w 9922465"/>
              <a:gd name="connsiteY2190" fmla="*/ 855263 h 1934496"/>
              <a:gd name="connsiteX2191" fmla="*/ 1436758 w 9922465"/>
              <a:gd name="connsiteY2191" fmla="*/ 910454 h 1934496"/>
              <a:gd name="connsiteX2192" fmla="*/ 1381566 w 9922465"/>
              <a:gd name="connsiteY2192" fmla="*/ 965645 h 1934496"/>
              <a:gd name="connsiteX2193" fmla="*/ 1326375 w 9922465"/>
              <a:gd name="connsiteY2193" fmla="*/ 910454 h 1934496"/>
              <a:gd name="connsiteX2194" fmla="*/ 1381566 w 9922465"/>
              <a:gd name="connsiteY2194" fmla="*/ 855263 h 1934496"/>
              <a:gd name="connsiteX2195" fmla="*/ 1251271 w 9922465"/>
              <a:gd name="connsiteY2195" fmla="*/ 855263 h 1934496"/>
              <a:gd name="connsiteX2196" fmla="*/ 1306464 w 9922465"/>
              <a:gd name="connsiteY2196" fmla="*/ 910454 h 1934496"/>
              <a:gd name="connsiteX2197" fmla="*/ 1251271 w 9922465"/>
              <a:gd name="connsiteY2197" fmla="*/ 965645 h 1934496"/>
              <a:gd name="connsiteX2198" fmla="*/ 1196078 w 9922465"/>
              <a:gd name="connsiteY2198" fmla="*/ 910454 h 1934496"/>
              <a:gd name="connsiteX2199" fmla="*/ 1251271 w 9922465"/>
              <a:gd name="connsiteY2199" fmla="*/ 855263 h 1934496"/>
              <a:gd name="connsiteX2200" fmla="*/ 1117634 w 9922465"/>
              <a:gd name="connsiteY2200" fmla="*/ 855263 h 1934496"/>
              <a:gd name="connsiteX2201" fmla="*/ 1172828 w 9922465"/>
              <a:gd name="connsiteY2201" fmla="*/ 910454 h 1934496"/>
              <a:gd name="connsiteX2202" fmla="*/ 1117634 w 9922465"/>
              <a:gd name="connsiteY2202" fmla="*/ 965645 h 1934496"/>
              <a:gd name="connsiteX2203" fmla="*/ 1062440 w 9922465"/>
              <a:gd name="connsiteY2203" fmla="*/ 910454 h 1934496"/>
              <a:gd name="connsiteX2204" fmla="*/ 1117634 w 9922465"/>
              <a:gd name="connsiteY2204" fmla="*/ 855263 h 1934496"/>
              <a:gd name="connsiteX2205" fmla="*/ 980654 w 9922465"/>
              <a:gd name="connsiteY2205" fmla="*/ 855263 h 1934496"/>
              <a:gd name="connsiteX2206" fmla="*/ 1035848 w 9922465"/>
              <a:gd name="connsiteY2206" fmla="*/ 910454 h 1934496"/>
              <a:gd name="connsiteX2207" fmla="*/ 980654 w 9922465"/>
              <a:gd name="connsiteY2207" fmla="*/ 965645 h 1934496"/>
              <a:gd name="connsiteX2208" fmla="*/ 925460 w 9922465"/>
              <a:gd name="connsiteY2208" fmla="*/ 910454 h 1934496"/>
              <a:gd name="connsiteX2209" fmla="*/ 980654 w 9922465"/>
              <a:gd name="connsiteY2209" fmla="*/ 855263 h 1934496"/>
              <a:gd name="connsiteX2210" fmla="*/ 847016 w 9922465"/>
              <a:gd name="connsiteY2210" fmla="*/ 855263 h 1934496"/>
              <a:gd name="connsiteX2211" fmla="*/ 902209 w 9922465"/>
              <a:gd name="connsiteY2211" fmla="*/ 910454 h 1934496"/>
              <a:gd name="connsiteX2212" fmla="*/ 847016 w 9922465"/>
              <a:gd name="connsiteY2212" fmla="*/ 965645 h 1934496"/>
              <a:gd name="connsiteX2213" fmla="*/ 791816 w 9922465"/>
              <a:gd name="connsiteY2213" fmla="*/ 910454 h 1934496"/>
              <a:gd name="connsiteX2214" fmla="*/ 847016 w 9922465"/>
              <a:gd name="connsiteY2214" fmla="*/ 855263 h 1934496"/>
              <a:gd name="connsiteX2215" fmla="*/ 716709 w 9922465"/>
              <a:gd name="connsiteY2215" fmla="*/ 855263 h 1934496"/>
              <a:gd name="connsiteX2216" fmla="*/ 771907 w 9922465"/>
              <a:gd name="connsiteY2216" fmla="*/ 910454 h 1934496"/>
              <a:gd name="connsiteX2217" fmla="*/ 716709 w 9922465"/>
              <a:gd name="connsiteY2217" fmla="*/ 965645 h 1934496"/>
              <a:gd name="connsiteX2218" fmla="*/ 661522 w 9922465"/>
              <a:gd name="connsiteY2218" fmla="*/ 910454 h 1934496"/>
              <a:gd name="connsiteX2219" fmla="*/ 716709 w 9922465"/>
              <a:gd name="connsiteY2219" fmla="*/ 855263 h 1934496"/>
              <a:gd name="connsiteX2220" fmla="*/ 583074 w 9922465"/>
              <a:gd name="connsiteY2220" fmla="*/ 855263 h 1934496"/>
              <a:gd name="connsiteX2221" fmla="*/ 638268 w 9922465"/>
              <a:gd name="connsiteY2221" fmla="*/ 910454 h 1934496"/>
              <a:gd name="connsiteX2222" fmla="*/ 583074 w 9922465"/>
              <a:gd name="connsiteY2222" fmla="*/ 965645 h 1934496"/>
              <a:gd name="connsiteX2223" fmla="*/ 527881 w 9922465"/>
              <a:gd name="connsiteY2223" fmla="*/ 910454 h 1934496"/>
              <a:gd name="connsiteX2224" fmla="*/ 583074 w 9922465"/>
              <a:gd name="connsiteY2224" fmla="*/ 855263 h 1934496"/>
              <a:gd name="connsiteX2225" fmla="*/ 9867273 w 9922465"/>
              <a:gd name="connsiteY2225" fmla="*/ 855260 h 1934496"/>
              <a:gd name="connsiteX2226" fmla="*/ 9922465 w 9922465"/>
              <a:gd name="connsiteY2226" fmla="*/ 910451 h 1934496"/>
              <a:gd name="connsiteX2227" fmla="*/ 9867273 w 9922465"/>
              <a:gd name="connsiteY2227" fmla="*/ 965642 h 1934496"/>
              <a:gd name="connsiteX2228" fmla="*/ 9812081 w 9922465"/>
              <a:gd name="connsiteY2228" fmla="*/ 910451 h 1934496"/>
              <a:gd name="connsiteX2229" fmla="*/ 9867273 w 9922465"/>
              <a:gd name="connsiteY2229" fmla="*/ 855260 h 1934496"/>
              <a:gd name="connsiteX2230" fmla="*/ 9733637 w 9922465"/>
              <a:gd name="connsiteY2230" fmla="*/ 855260 h 1934496"/>
              <a:gd name="connsiteX2231" fmla="*/ 9788829 w 9922465"/>
              <a:gd name="connsiteY2231" fmla="*/ 910451 h 1934496"/>
              <a:gd name="connsiteX2232" fmla="*/ 9733637 w 9922465"/>
              <a:gd name="connsiteY2232" fmla="*/ 965642 h 1934496"/>
              <a:gd name="connsiteX2233" fmla="*/ 9678445 w 9922465"/>
              <a:gd name="connsiteY2233" fmla="*/ 910451 h 1934496"/>
              <a:gd name="connsiteX2234" fmla="*/ 9733637 w 9922465"/>
              <a:gd name="connsiteY2234" fmla="*/ 855260 h 1934496"/>
              <a:gd name="connsiteX2235" fmla="*/ 9603343 w 9922465"/>
              <a:gd name="connsiteY2235" fmla="*/ 855260 h 1934496"/>
              <a:gd name="connsiteX2236" fmla="*/ 9658535 w 9922465"/>
              <a:gd name="connsiteY2236" fmla="*/ 910451 h 1934496"/>
              <a:gd name="connsiteX2237" fmla="*/ 9603343 w 9922465"/>
              <a:gd name="connsiteY2237" fmla="*/ 965642 h 1934496"/>
              <a:gd name="connsiteX2238" fmla="*/ 9548151 w 9922465"/>
              <a:gd name="connsiteY2238" fmla="*/ 910451 h 1934496"/>
              <a:gd name="connsiteX2239" fmla="*/ 9603343 w 9922465"/>
              <a:gd name="connsiteY2239" fmla="*/ 855260 h 1934496"/>
              <a:gd name="connsiteX2240" fmla="*/ 449429 w 9922465"/>
              <a:gd name="connsiteY2240" fmla="*/ 855260 h 1934496"/>
              <a:gd name="connsiteX2241" fmla="*/ 504621 w 9922465"/>
              <a:gd name="connsiteY2241" fmla="*/ 910451 h 1934496"/>
              <a:gd name="connsiteX2242" fmla="*/ 449429 w 9922465"/>
              <a:gd name="connsiteY2242" fmla="*/ 965642 h 1934496"/>
              <a:gd name="connsiteX2243" fmla="*/ 394234 w 9922465"/>
              <a:gd name="connsiteY2243" fmla="*/ 910451 h 1934496"/>
              <a:gd name="connsiteX2244" fmla="*/ 449429 w 9922465"/>
              <a:gd name="connsiteY2244" fmla="*/ 855260 h 1934496"/>
              <a:gd name="connsiteX2245" fmla="*/ 319132 w 9922465"/>
              <a:gd name="connsiteY2245" fmla="*/ 855260 h 1934496"/>
              <a:gd name="connsiteX2246" fmla="*/ 374326 w 9922465"/>
              <a:gd name="connsiteY2246" fmla="*/ 910451 h 1934496"/>
              <a:gd name="connsiteX2247" fmla="*/ 319132 w 9922465"/>
              <a:gd name="connsiteY2247" fmla="*/ 965642 h 1934496"/>
              <a:gd name="connsiteX2248" fmla="*/ 263940 w 9922465"/>
              <a:gd name="connsiteY2248" fmla="*/ 910451 h 1934496"/>
              <a:gd name="connsiteX2249" fmla="*/ 319132 w 9922465"/>
              <a:gd name="connsiteY2249" fmla="*/ 855260 h 1934496"/>
              <a:gd name="connsiteX2250" fmla="*/ 185499 w 9922465"/>
              <a:gd name="connsiteY2250" fmla="*/ 855260 h 1934496"/>
              <a:gd name="connsiteX2251" fmla="*/ 240690 w 9922465"/>
              <a:gd name="connsiteY2251" fmla="*/ 910451 h 1934496"/>
              <a:gd name="connsiteX2252" fmla="*/ 185499 w 9922465"/>
              <a:gd name="connsiteY2252" fmla="*/ 965642 h 1934496"/>
              <a:gd name="connsiteX2253" fmla="*/ 130308 w 9922465"/>
              <a:gd name="connsiteY2253" fmla="*/ 910451 h 1934496"/>
              <a:gd name="connsiteX2254" fmla="*/ 185499 w 9922465"/>
              <a:gd name="connsiteY2254" fmla="*/ 855260 h 1934496"/>
              <a:gd name="connsiteX2255" fmla="*/ 9733637 w 9922465"/>
              <a:gd name="connsiteY2255" fmla="*/ 724970 h 1934496"/>
              <a:gd name="connsiteX2256" fmla="*/ 9788829 w 9922465"/>
              <a:gd name="connsiteY2256" fmla="*/ 780161 h 1934496"/>
              <a:gd name="connsiteX2257" fmla="*/ 9733637 w 9922465"/>
              <a:gd name="connsiteY2257" fmla="*/ 835352 h 1934496"/>
              <a:gd name="connsiteX2258" fmla="*/ 9678445 w 9922465"/>
              <a:gd name="connsiteY2258" fmla="*/ 780161 h 1934496"/>
              <a:gd name="connsiteX2259" fmla="*/ 9733637 w 9922465"/>
              <a:gd name="connsiteY2259" fmla="*/ 724970 h 1934496"/>
              <a:gd name="connsiteX2260" fmla="*/ 9603344 w 9922465"/>
              <a:gd name="connsiteY2260" fmla="*/ 724970 h 1934496"/>
              <a:gd name="connsiteX2261" fmla="*/ 9658536 w 9922465"/>
              <a:gd name="connsiteY2261" fmla="*/ 780161 h 1934496"/>
              <a:gd name="connsiteX2262" fmla="*/ 9603344 w 9922465"/>
              <a:gd name="connsiteY2262" fmla="*/ 835352 h 1934496"/>
              <a:gd name="connsiteX2263" fmla="*/ 9548152 w 9922465"/>
              <a:gd name="connsiteY2263" fmla="*/ 780161 h 1934496"/>
              <a:gd name="connsiteX2264" fmla="*/ 9603344 w 9922465"/>
              <a:gd name="connsiteY2264" fmla="*/ 724970 h 1934496"/>
              <a:gd name="connsiteX2265" fmla="*/ 9469710 w 9922465"/>
              <a:gd name="connsiteY2265" fmla="*/ 724970 h 1934496"/>
              <a:gd name="connsiteX2266" fmla="*/ 9524902 w 9922465"/>
              <a:gd name="connsiteY2266" fmla="*/ 780161 h 1934496"/>
              <a:gd name="connsiteX2267" fmla="*/ 9469710 w 9922465"/>
              <a:gd name="connsiteY2267" fmla="*/ 835352 h 1934496"/>
              <a:gd name="connsiteX2268" fmla="*/ 9414518 w 9922465"/>
              <a:gd name="connsiteY2268" fmla="*/ 780161 h 1934496"/>
              <a:gd name="connsiteX2269" fmla="*/ 9469710 w 9922465"/>
              <a:gd name="connsiteY2269" fmla="*/ 724970 h 1934496"/>
              <a:gd name="connsiteX2270" fmla="*/ 9336075 w 9922465"/>
              <a:gd name="connsiteY2270" fmla="*/ 724970 h 1934496"/>
              <a:gd name="connsiteX2271" fmla="*/ 9391267 w 9922465"/>
              <a:gd name="connsiteY2271" fmla="*/ 780161 h 1934496"/>
              <a:gd name="connsiteX2272" fmla="*/ 9336075 w 9922465"/>
              <a:gd name="connsiteY2272" fmla="*/ 835352 h 1934496"/>
              <a:gd name="connsiteX2273" fmla="*/ 9280883 w 9922465"/>
              <a:gd name="connsiteY2273" fmla="*/ 780161 h 1934496"/>
              <a:gd name="connsiteX2274" fmla="*/ 9336075 w 9922465"/>
              <a:gd name="connsiteY2274" fmla="*/ 724970 h 1934496"/>
              <a:gd name="connsiteX2275" fmla="*/ 9199100 w 9922465"/>
              <a:gd name="connsiteY2275" fmla="*/ 724970 h 1934496"/>
              <a:gd name="connsiteX2276" fmla="*/ 9254292 w 9922465"/>
              <a:gd name="connsiteY2276" fmla="*/ 780161 h 1934496"/>
              <a:gd name="connsiteX2277" fmla="*/ 9199100 w 9922465"/>
              <a:gd name="connsiteY2277" fmla="*/ 835352 h 1934496"/>
              <a:gd name="connsiteX2278" fmla="*/ 9143908 w 9922465"/>
              <a:gd name="connsiteY2278" fmla="*/ 780161 h 1934496"/>
              <a:gd name="connsiteX2279" fmla="*/ 9199100 w 9922465"/>
              <a:gd name="connsiteY2279" fmla="*/ 724970 h 1934496"/>
              <a:gd name="connsiteX2280" fmla="*/ 9068806 w 9922465"/>
              <a:gd name="connsiteY2280" fmla="*/ 724970 h 1934496"/>
              <a:gd name="connsiteX2281" fmla="*/ 9123998 w 9922465"/>
              <a:gd name="connsiteY2281" fmla="*/ 780161 h 1934496"/>
              <a:gd name="connsiteX2282" fmla="*/ 9068806 w 9922465"/>
              <a:gd name="connsiteY2282" fmla="*/ 835352 h 1934496"/>
              <a:gd name="connsiteX2283" fmla="*/ 9013614 w 9922465"/>
              <a:gd name="connsiteY2283" fmla="*/ 780161 h 1934496"/>
              <a:gd name="connsiteX2284" fmla="*/ 9068806 w 9922465"/>
              <a:gd name="connsiteY2284" fmla="*/ 724970 h 1934496"/>
              <a:gd name="connsiteX2285" fmla="*/ 8935170 w 9922465"/>
              <a:gd name="connsiteY2285" fmla="*/ 724970 h 1934496"/>
              <a:gd name="connsiteX2286" fmla="*/ 8990362 w 9922465"/>
              <a:gd name="connsiteY2286" fmla="*/ 780161 h 1934496"/>
              <a:gd name="connsiteX2287" fmla="*/ 8935170 w 9922465"/>
              <a:gd name="connsiteY2287" fmla="*/ 835352 h 1934496"/>
              <a:gd name="connsiteX2288" fmla="*/ 8879978 w 9922465"/>
              <a:gd name="connsiteY2288" fmla="*/ 780161 h 1934496"/>
              <a:gd name="connsiteX2289" fmla="*/ 8935170 w 9922465"/>
              <a:gd name="connsiteY2289" fmla="*/ 724970 h 1934496"/>
              <a:gd name="connsiteX2290" fmla="*/ 8801536 w 9922465"/>
              <a:gd name="connsiteY2290" fmla="*/ 724970 h 1934496"/>
              <a:gd name="connsiteX2291" fmla="*/ 8856728 w 9922465"/>
              <a:gd name="connsiteY2291" fmla="*/ 780161 h 1934496"/>
              <a:gd name="connsiteX2292" fmla="*/ 8801536 w 9922465"/>
              <a:gd name="connsiteY2292" fmla="*/ 835352 h 1934496"/>
              <a:gd name="connsiteX2293" fmla="*/ 8746344 w 9922465"/>
              <a:gd name="connsiteY2293" fmla="*/ 780161 h 1934496"/>
              <a:gd name="connsiteX2294" fmla="*/ 8801536 w 9922465"/>
              <a:gd name="connsiteY2294" fmla="*/ 724970 h 1934496"/>
              <a:gd name="connsiteX2295" fmla="*/ 8671243 w 9922465"/>
              <a:gd name="connsiteY2295" fmla="*/ 724970 h 1934496"/>
              <a:gd name="connsiteX2296" fmla="*/ 8726435 w 9922465"/>
              <a:gd name="connsiteY2296" fmla="*/ 780161 h 1934496"/>
              <a:gd name="connsiteX2297" fmla="*/ 8671243 w 9922465"/>
              <a:gd name="connsiteY2297" fmla="*/ 835352 h 1934496"/>
              <a:gd name="connsiteX2298" fmla="*/ 8616051 w 9922465"/>
              <a:gd name="connsiteY2298" fmla="*/ 780161 h 1934496"/>
              <a:gd name="connsiteX2299" fmla="*/ 8671243 w 9922465"/>
              <a:gd name="connsiteY2299" fmla="*/ 724970 h 1934496"/>
              <a:gd name="connsiteX2300" fmla="*/ 8537609 w 9922465"/>
              <a:gd name="connsiteY2300" fmla="*/ 724970 h 1934496"/>
              <a:gd name="connsiteX2301" fmla="*/ 8592801 w 9922465"/>
              <a:gd name="connsiteY2301" fmla="*/ 780161 h 1934496"/>
              <a:gd name="connsiteX2302" fmla="*/ 8537609 w 9922465"/>
              <a:gd name="connsiteY2302" fmla="*/ 835352 h 1934496"/>
              <a:gd name="connsiteX2303" fmla="*/ 8482417 w 9922465"/>
              <a:gd name="connsiteY2303" fmla="*/ 780161 h 1934496"/>
              <a:gd name="connsiteX2304" fmla="*/ 8537609 w 9922465"/>
              <a:gd name="connsiteY2304" fmla="*/ 724970 h 1934496"/>
              <a:gd name="connsiteX2305" fmla="*/ 8407318 w 9922465"/>
              <a:gd name="connsiteY2305" fmla="*/ 724970 h 1934496"/>
              <a:gd name="connsiteX2306" fmla="*/ 8462510 w 9922465"/>
              <a:gd name="connsiteY2306" fmla="*/ 780161 h 1934496"/>
              <a:gd name="connsiteX2307" fmla="*/ 8407318 w 9922465"/>
              <a:gd name="connsiteY2307" fmla="*/ 835352 h 1934496"/>
              <a:gd name="connsiteX2308" fmla="*/ 8352126 w 9922465"/>
              <a:gd name="connsiteY2308" fmla="*/ 780161 h 1934496"/>
              <a:gd name="connsiteX2309" fmla="*/ 8407318 w 9922465"/>
              <a:gd name="connsiteY2309" fmla="*/ 724970 h 1934496"/>
              <a:gd name="connsiteX2310" fmla="*/ 8273682 w 9922465"/>
              <a:gd name="connsiteY2310" fmla="*/ 724970 h 1934496"/>
              <a:gd name="connsiteX2311" fmla="*/ 8328874 w 9922465"/>
              <a:gd name="connsiteY2311" fmla="*/ 780161 h 1934496"/>
              <a:gd name="connsiteX2312" fmla="*/ 8273682 w 9922465"/>
              <a:gd name="connsiteY2312" fmla="*/ 835352 h 1934496"/>
              <a:gd name="connsiteX2313" fmla="*/ 8218490 w 9922465"/>
              <a:gd name="connsiteY2313" fmla="*/ 780161 h 1934496"/>
              <a:gd name="connsiteX2314" fmla="*/ 8273682 w 9922465"/>
              <a:gd name="connsiteY2314" fmla="*/ 724970 h 1934496"/>
              <a:gd name="connsiteX2315" fmla="*/ 8143386 w 9922465"/>
              <a:gd name="connsiteY2315" fmla="*/ 724970 h 1934496"/>
              <a:gd name="connsiteX2316" fmla="*/ 8198578 w 9922465"/>
              <a:gd name="connsiteY2316" fmla="*/ 780161 h 1934496"/>
              <a:gd name="connsiteX2317" fmla="*/ 8143386 w 9922465"/>
              <a:gd name="connsiteY2317" fmla="*/ 835352 h 1934496"/>
              <a:gd name="connsiteX2318" fmla="*/ 8088194 w 9922465"/>
              <a:gd name="connsiteY2318" fmla="*/ 780161 h 1934496"/>
              <a:gd name="connsiteX2319" fmla="*/ 8143386 w 9922465"/>
              <a:gd name="connsiteY2319" fmla="*/ 724970 h 1934496"/>
              <a:gd name="connsiteX2320" fmla="*/ 8009753 w 9922465"/>
              <a:gd name="connsiteY2320" fmla="*/ 724970 h 1934496"/>
              <a:gd name="connsiteX2321" fmla="*/ 8064945 w 9922465"/>
              <a:gd name="connsiteY2321" fmla="*/ 780161 h 1934496"/>
              <a:gd name="connsiteX2322" fmla="*/ 8009753 w 9922465"/>
              <a:gd name="connsiteY2322" fmla="*/ 835352 h 1934496"/>
              <a:gd name="connsiteX2323" fmla="*/ 7954561 w 9922465"/>
              <a:gd name="connsiteY2323" fmla="*/ 780161 h 1934496"/>
              <a:gd name="connsiteX2324" fmla="*/ 8009753 w 9922465"/>
              <a:gd name="connsiteY2324" fmla="*/ 724970 h 1934496"/>
              <a:gd name="connsiteX2325" fmla="*/ 7876118 w 9922465"/>
              <a:gd name="connsiteY2325" fmla="*/ 724970 h 1934496"/>
              <a:gd name="connsiteX2326" fmla="*/ 7931310 w 9922465"/>
              <a:gd name="connsiteY2326" fmla="*/ 780161 h 1934496"/>
              <a:gd name="connsiteX2327" fmla="*/ 7876118 w 9922465"/>
              <a:gd name="connsiteY2327" fmla="*/ 835352 h 1934496"/>
              <a:gd name="connsiteX2328" fmla="*/ 7820926 w 9922465"/>
              <a:gd name="connsiteY2328" fmla="*/ 780161 h 1934496"/>
              <a:gd name="connsiteX2329" fmla="*/ 7876118 w 9922465"/>
              <a:gd name="connsiteY2329" fmla="*/ 724970 h 1934496"/>
              <a:gd name="connsiteX2330" fmla="*/ 7745824 w 9922465"/>
              <a:gd name="connsiteY2330" fmla="*/ 724970 h 1934496"/>
              <a:gd name="connsiteX2331" fmla="*/ 7801016 w 9922465"/>
              <a:gd name="connsiteY2331" fmla="*/ 780161 h 1934496"/>
              <a:gd name="connsiteX2332" fmla="*/ 7745824 w 9922465"/>
              <a:gd name="connsiteY2332" fmla="*/ 835352 h 1934496"/>
              <a:gd name="connsiteX2333" fmla="*/ 7690632 w 9922465"/>
              <a:gd name="connsiteY2333" fmla="*/ 780161 h 1934496"/>
              <a:gd name="connsiteX2334" fmla="*/ 7745824 w 9922465"/>
              <a:gd name="connsiteY2334" fmla="*/ 724970 h 1934496"/>
              <a:gd name="connsiteX2335" fmla="*/ 7608850 w 9922465"/>
              <a:gd name="connsiteY2335" fmla="*/ 724970 h 1934496"/>
              <a:gd name="connsiteX2336" fmla="*/ 7664042 w 9922465"/>
              <a:gd name="connsiteY2336" fmla="*/ 780161 h 1934496"/>
              <a:gd name="connsiteX2337" fmla="*/ 7608850 w 9922465"/>
              <a:gd name="connsiteY2337" fmla="*/ 835352 h 1934496"/>
              <a:gd name="connsiteX2338" fmla="*/ 7553658 w 9922465"/>
              <a:gd name="connsiteY2338" fmla="*/ 780161 h 1934496"/>
              <a:gd name="connsiteX2339" fmla="*/ 7608850 w 9922465"/>
              <a:gd name="connsiteY2339" fmla="*/ 724970 h 1934496"/>
              <a:gd name="connsiteX2340" fmla="*/ 7481895 w 9922465"/>
              <a:gd name="connsiteY2340" fmla="*/ 724970 h 1934496"/>
              <a:gd name="connsiteX2341" fmla="*/ 7537087 w 9922465"/>
              <a:gd name="connsiteY2341" fmla="*/ 780161 h 1934496"/>
              <a:gd name="connsiteX2342" fmla="*/ 7481895 w 9922465"/>
              <a:gd name="connsiteY2342" fmla="*/ 835352 h 1934496"/>
              <a:gd name="connsiteX2343" fmla="*/ 7426703 w 9922465"/>
              <a:gd name="connsiteY2343" fmla="*/ 780161 h 1934496"/>
              <a:gd name="connsiteX2344" fmla="*/ 7481895 w 9922465"/>
              <a:gd name="connsiteY2344" fmla="*/ 724970 h 1934496"/>
              <a:gd name="connsiteX2345" fmla="*/ 7341579 w 9922465"/>
              <a:gd name="connsiteY2345" fmla="*/ 724970 h 1934496"/>
              <a:gd name="connsiteX2346" fmla="*/ 7396771 w 9922465"/>
              <a:gd name="connsiteY2346" fmla="*/ 780161 h 1934496"/>
              <a:gd name="connsiteX2347" fmla="*/ 7341579 w 9922465"/>
              <a:gd name="connsiteY2347" fmla="*/ 835352 h 1934496"/>
              <a:gd name="connsiteX2348" fmla="*/ 7286387 w 9922465"/>
              <a:gd name="connsiteY2348" fmla="*/ 780161 h 1934496"/>
              <a:gd name="connsiteX2349" fmla="*/ 7341579 w 9922465"/>
              <a:gd name="connsiteY2349" fmla="*/ 724970 h 1934496"/>
              <a:gd name="connsiteX2350" fmla="*/ 7211286 w 9922465"/>
              <a:gd name="connsiteY2350" fmla="*/ 724970 h 1934496"/>
              <a:gd name="connsiteX2351" fmla="*/ 7266478 w 9922465"/>
              <a:gd name="connsiteY2351" fmla="*/ 780161 h 1934496"/>
              <a:gd name="connsiteX2352" fmla="*/ 7211286 w 9922465"/>
              <a:gd name="connsiteY2352" fmla="*/ 835352 h 1934496"/>
              <a:gd name="connsiteX2353" fmla="*/ 7156094 w 9922465"/>
              <a:gd name="connsiteY2353" fmla="*/ 780161 h 1934496"/>
              <a:gd name="connsiteX2354" fmla="*/ 7211286 w 9922465"/>
              <a:gd name="connsiteY2354" fmla="*/ 724970 h 1934496"/>
              <a:gd name="connsiteX2355" fmla="*/ 7080994 w 9922465"/>
              <a:gd name="connsiteY2355" fmla="*/ 724970 h 1934496"/>
              <a:gd name="connsiteX2356" fmla="*/ 7136186 w 9922465"/>
              <a:gd name="connsiteY2356" fmla="*/ 780161 h 1934496"/>
              <a:gd name="connsiteX2357" fmla="*/ 7080994 w 9922465"/>
              <a:gd name="connsiteY2357" fmla="*/ 835352 h 1934496"/>
              <a:gd name="connsiteX2358" fmla="*/ 7025802 w 9922465"/>
              <a:gd name="connsiteY2358" fmla="*/ 780161 h 1934496"/>
              <a:gd name="connsiteX2359" fmla="*/ 7080994 w 9922465"/>
              <a:gd name="connsiteY2359" fmla="*/ 724970 h 1934496"/>
              <a:gd name="connsiteX2360" fmla="*/ 6947358 w 9922465"/>
              <a:gd name="connsiteY2360" fmla="*/ 724970 h 1934496"/>
              <a:gd name="connsiteX2361" fmla="*/ 7002550 w 9922465"/>
              <a:gd name="connsiteY2361" fmla="*/ 780161 h 1934496"/>
              <a:gd name="connsiteX2362" fmla="*/ 6947358 w 9922465"/>
              <a:gd name="connsiteY2362" fmla="*/ 835352 h 1934496"/>
              <a:gd name="connsiteX2363" fmla="*/ 6892166 w 9922465"/>
              <a:gd name="connsiteY2363" fmla="*/ 780161 h 1934496"/>
              <a:gd name="connsiteX2364" fmla="*/ 6947358 w 9922465"/>
              <a:gd name="connsiteY2364" fmla="*/ 724970 h 1934496"/>
              <a:gd name="connsiteX2365" fmla="*/ 6817064 w 9922465"/>
              <a:gd name="connsiteY2365" fmla="*/ 724970 h 1934496"/>
              <a:gd name="connsiteX2366" fmla="*/ 6872256 w 9922465"/>
              <a:gd name="connsiteY2366" fmla="*/ 780161 h 1934496"/>
              <a:gd name="connsiteX2367" fmla="*/ 6817064 w 9922465"/>
              <a:gd name="connsiteY2367" fmla="*/ 835352 h 1934496"/>
              <a:gd name="connsiteX2368" fmla="*/ 6761872 w 9922465"/>
              <a:gd name="connsiteY2368" fmla="*/ 780161 h 1934496"/>
              <a:gd name="connsiteX2369" fmla="*/ 6817064 w 9922465"/>
              <a:gd name="connsiteY2369" fmla="*/ 724970 h 1934496"/>
              <a:gd name="connsiteX2370" fmla="*/ 6683431 w 9922465"/>
              <a:gd name="connsiteY2370" fmla="*/ 724970 h 1934496"/>
              <a:gd name="connsiteX2371" fmla="*/ 6738623 w 9922465"/>
              <a:gd name="connsiteY2371" fmla="*/ 780161 h 1934496"/>
              <a:gd name="connsiteX2372" fmla="*/ 6683431 w 9922465"/>
              <a:gd name="connsiteY2372" fmla="*/ 835352 h 1934496"/>
              <a:gd name="connsiteX2373" fmla="*/ 6628239 w 9922465"/>
              <a:gd name="connsiteY2373" fmla="*/ 780161 h 1934496"/>
              <a:gd name="connsiteX2374" fmla="*/ 6683431 w 9922465"/>
              <a:gd name="connsiteY2374" fmla="*/ 724970 h 1934496"/>
              <a:gd name="connsiteX2375" fmla="*/ 6553137 w 9922465"/>
              <a:gd name="connsiteY2375" fmla="*/ 724970 h 1934496"/>
              <a:gd name="connsiteX2376" fmla="*/ 6608329 w 9922465"/>
              <a:gd name="connsiteY2376" fmla="*/ 780161 h 1934496"/>
              <a:gd name="connsiteX2377" fmla="*/ 6553137 w 9922465"/>
              <a:gd name="connsiteY2377" fmla="*/ 835352 h 1934496"/>
              <a:gd name="connsiteX2378" fmla="*/ 6497945 w 9922465"/>
              <a:gd name="connsiteY2378" fmla="*/ 780161 h 1934496"/>
              <a:gd name="connsiteX2379" fmla="*/ 6553137 w 9922465"/>
              <a:gd name="connsiteY2379" fmla="*/ 724970 h 1934496"/>
              <a:gd name="connsiteX2380" fmla="*/ 6419503 w 9922465"/>
              <a:gd name="connsiteY2380" fmla="*/ 724970 h 1934496"/>
              <a:gd name="connsiteX2381" fmla="*/ 6474695 w 9922465"/>
              <a:gd name="connsiteY2381" fmla="*/ 780161 h 1934496"/>
              <a:gd name="connsiteX2382" fmla="*/ 6419503 w 9922465"/>
              <a:gd name="connsiteY2382" fmla="*/ 835352 h 1934496"/>
              <a:gd name="connsiteX2383" fmla="*/ 6364311 w 9922465"/>
              <a:gd name="connsiteY2383" fmla="*/ 780161 h 1934496"/>
              <a:gd name="connsiteX2384" fmla="*/ 6419503 w 9922465"/>
              <a:gd name="connsiteY2384" fmla="*/ 724970 h 1934496"/>
              <a:gd name="connsiteX2385" fmla="*/ 6289207 w 9922465"/>
              <a:gd name="connsiteY2385" fmla="*/ 724970 h 1934496"/>
              <a:gd name="connsiteX2386" fmla="*/ 6344399 w 9922465"/>
              <a:gd name="connsiteY2386" fmla="*/ 780161 h 1934496"/>
              <a:gd name="connsiteX2387" fmla="*/ 6289207 w 9922465"/>
              <a:gd name="connsiteY2387" fmla="*/ 835352 h 1934496"/>
              <a:gd name="connsiteX2388" fmla="*/ 6234015 w 9922465"/>
              <a:gd name="connsiteY2388" fmla="*/ 780161 h 1934496"/>
              <a:gd name="connsiteX2389" fmla="*/ 6289207 w 9922465"/>
              <a:gd name="connsiteY2389" fmla="*/ 724970 h 1934496"/>
              <a:gd name="connsiteX2390" fmla="*/ 6155573 w 9922465"/>
              <a:gd name="connsiteY2390" fmla="*/ 724970 h 1934496"/>
              <a:gd name="connsiteX2391" fmla="*/ 6210765 w 9922465"/>
              <a:gd name="connsiteY2391" fmla="*/ 780161 h 1934496"/>
              <a:gd name="connsiteX2392" fmla="*/ 6155573 w 9922465"/>
              <a:gd name="connsiteY2392" fmla="*/ 835352 h 1934496"/>
              <a:gd name="connsiteX2393" fmla="*/ 6100381 w 9922465"/>
              <a:gd name="connsiteY2393" fmla="*/ 780161 h 1934496"/>
              <a:gd name="connsiteX2394" fmla="*/ 6155573 w 9922465"/>
              <a:gd name="connsiteY2394" fmla="*/ 724970 h 1934496"/>
              <a:gd name="connsiteX2395" fmla="*/ 5621035 w 9922465"/>
              <a:gd name="connsiteY2395" fmla="*/ 724970 h 1934496"/>
              <a:gd name="connsiteX2396" fmla="*/ 5676227 w 9922465"/>
              <a:gd name="connsiteY2396" fmla="*/ 780161 h 1934496"/>
              <a:gd name="connsiteX2397" fmla="*/ 5621035 w 9922465"/>
              <a:gd name="connsiteY2397" fmla="*/ 835352 h 1934496"/>
              <a:gd name="connsiteX2398" fmla="*/ 5565843 w 9922465"/>
              <a:gd name="connsiteY2398" fmla="*/ 780161 h 1934496"/>
              <a:gd name="connsiteX2399" fmla="*/ 5621035 w 9922465"/>
              <a:gd name="connsiteY2399" fmla="*/ 724970 h 1934496"/>
              <a:gd name="connsiteX2400" fmla="*/ 5487399 w 9922465"/>
              <a:gd name="connsiteY2400" fmla="*/ 724970 h 1934496"/>
              <a:gd name="connsiteX2401" fmla="*/ 5542591 w 9922465"/>
              <a:gd name="connsiteY2401" fmla="*/ 780161 h 1934496"/>
              <a:gd name="connsiteX2402" fmla="*/ 5487399 w 9922465"/>
              <a:gd name="connsiteY2402" fmla="*/ 835352 h 1934496"/>
              <a:gd name="connsiteX2403" fmla="*/ 5432207 w 9922465"/>
              <a:gd name="connsiteY2403" fmla="*/ 780161 h 1934496"/>
              <a:gd name="connsiteX2404" fmla="*/ 5487399 w 9922465"/>
              <a:gd name="connsiteY2404" fmla="*/ 724970 h 1934496"/>
              <a:gd name="connsiteX2405" fmla="*/ 5357106 w 9922465"/>
              <a:gd name="connsiteY2405" fmla="*/ 724970 h 1934496"/>
              <a:gd name="connsiteX2406" fmla="*/ 5412298 w 9922465"/>
              <a:gd name="connsiteY2406" fmla="*/ 780161 h 1934496"/>
              <a:gd name="connsiteX2407" fmla="*/ 5357106 w 9922465"/>
              <a:gd name="connsiteY2407" fmla="*/ 835352 h 1934496"/>
              <a:gd name="connsiteX2408" fmla="*/ 5301914 w 9922465"/>
              <a:gd name="connsiteY2408" fmla="*/ 780161 h 1934496"/>
              <a:gd name="connsiteX2409" fmla="*/ 5357106 w 9922465"/>
              <a:gd name="connsiteY2409" fmla="*/ 724970 h 1934496"/>
              <a:gd name="connsiteX2410" fmla="*/ 5223473 w 9922465"/>
              <a:gd name="connsiteY2410" fmla="*/ 724970 h 1934496"/>
              <a:gd name="connsiteX2411" fmla="*/ 5278665 w 9922465"/>
              <a:gd name="connsiteY2411" fmla="*/ 780161 h 1934496"/>
              <a:gd name="connsiteX2412" fmla="*/ 5223473 w 9922465"/>
              <a:gd name="connsiteY2412" fmla="*/ 835352 h 1934496"/>
              <a:gd name="connsiteX2413" fmla="*/ 5168281 w 9922465"/>
              <a:gd name="connsiteY2413" fmla="*/ 780161 h 1934496"/>
              <a:gd name="connsiteX2414" fmla="*/ 5223473 w 9922465"/>
              <a:gd name="connsiteY2414" fmla="*/ 724970 h 1934496"/>
              <a:gd name="connsiteX2415" fmla="*/ 5093178 w 9922465"/>
              <a:gd name="connsiteY2415" fmla="*/ 724970 h 1934496"/>
              <a:gd name="connsiteX2416" fmla="*/ 5148370 w 9922465"/>
              <a:gd name="connsiteY2416" fmla="*/ 780161 h 1934496"/>
              <a:gd name="connsiteX2417" fmla="*/ 5093178 w 9922465"/>
              <a:gd name="connsiteY2417" fmla="*/ 835352 h 1934496"/>
              <a:gd name="connsiteX2418" fmla="*/ 5037986 w 9922465"/>
              <a:gd name="connsiteY2418" fmla="*/ 780161 h 1934496"/>
              <a:gd name="connsiteX2419" fmla="*/ 5093178 w 9922465"/>
              <a:gd name="connsiteY2419" fmla="*/ 724970 h 1934496"/>
              <a:gd name="connsiteX2420" fmla="*/ 3897148 w 9922465"/>
              <a:gd name="connsiteY2420" fmla="*/ 724970 h 1934496"/>
              <a:gd name="connsiteX2421" fmla="*/ 3952340 w 9922465"/>
              <a:gd name="connsiteY2421" fmla="*/ 780161 h 1934496"/>
              <a:gd name="connsiteX2422" fmla="*/ 3897148 w 9922465"/>
              <a:gd name="connsiteY2422" fmla="*/ 835352 h 1934496"/>
              <a:gd name="connsiteX2423" fmla="*/ 3841956 w 9922465"/>
              <a:gd name="connsiteY2423" fmla="*/ 780161 h 1934496"/>
              <a:gd name="connsiteX2424" fmla="*/ 3897148 w 9922465"/>
              <a:gd name="connsiteY2424" fmla="*/ 724970 h 1934496"/>
              <a:gd name="connsiteX2425" fmla="*/ 3763514 w 9922465"/>
              <a:gd name="connsiteY2425" fmla="*/ 724970 h 1934496"/>
              <a:gd name="connsiteX2426" fmla="*/ 3818706 w 9922465"/>
              <a:gd name="connsiteY2426" fmla="*/ 780161 h 1934496"/>
              <a:gd name="connsiteX2427" fmla="*/ 3763514 w 9922465"/>
              <a:gd name="connsiteY2427" fmla="*/ 835352 h 1934496"/>
              <a:gd name="connsiteX2428" fmla="*/ 3708322 w 9922465"/>
              <a:gd name="connsiteY2428" fmla="*/ 780161 h 1934496"/>
              <a:gd name="connsiteX2429" fmla="*/ 3763514 w 9922465"/>
              <a:gd name="connsiteY2429" fmla="*/ 724970 h 1934496"/>
              <a:gd name="connsiteX2430" fmla="*/ 3633221 w 9922465"/>
              <a:gd name="connsiteY2430" fmla="*/ 724970 h 1934496"/>
              <a:gd name="connsiteX2431" fmla="*/ 3688413 w 9922465"/>
              <a:gd name="connsiteY2431" fmla="*/ 780161 h 1934496"/>
              <a:gd name="connsiteX2432" fmla="*/ 3633221 w 9922465"/>
              <a:gd name="connsiteY2432" fmla="*/ 835352 h 1934496"/>
              <a:gd name="connsiteX2433" fmla="*/ 3578029 w 9922465"/>
              <a:gd name="connsiteY2433" fmla="*/ 780161 h 1934496"/>
              <a:gd name="connsiteX2434" fmla="*/ 3633221 w 9922465"/>
              <a:gd name="connsiteY2434" fmla="*/ 724970 h 1934496"/>
              <a:gd name="connsiteX2435" fmla="*/ 3499586 w 9922465"/>
              <a:gd name="connsiteY2435" fmla="*/ 724970 h 1934496"/>
              <a:gd name="connsiteX2436" fmla="*/ 3554778 w 9922465"/>
              <a:gd name="connsiteY2436" fmla="*/ 780161 h 1934496"/>
              <a:gd name="connsiteX2437" fmla="*/ 3499586 w 9922465"/>
              <a:gd name="connsiteY2437" fmla="*/ 835352 h 1934496"/>
              <a:gd name="connsiteX2438" fmla="*/ 3444394 w 9922465"/>
              <a:gd name="connsiteY2438" fmla="*/ 780161 h 1934496"/>
              <a:gd name="connsiteX2439" fmla="*/ 3499586 w 9922465"/>
              <a:gd name="connsiteY2439" fmla="*/ 724970 h 1934496"/>
              <a:gd name="connsiteX2440" fmla="*/ 3369292 w 9922465"/>
              <a:gd name="connsiteY2440" fmla="*/ 724970 h 1934496"/>
              <a:gd name="connsiteX2441" fmla="*/ 3424484 w 9922465"/>
              <a:gd name="connsiteY2441" fmla="*/ 780161 h 1934496"/>
              <a:gd name="connsiteX2442" fmla="*/ 3369292 w 9922465"/>
              <a:gd name="connsiteY2442" fmla="*/ 835352 h 1934496"/>
              <a:gd name="connsiteX2443" fmla="*/ 3314100 w 9922465"/>
              <a:gd name="connsiteY2443" fmla="*/ 780161 h 1934496"/>
              <a:gd name="connsiteX2444" fmla="*/ 3369292 w 9922465"/>
              <a:gd name="connsiteY2444" fmla="*/ 724970 h 1934496"/>
              <a:gd name="connsiteX2445" fmla="*/ 2834856 w 9922465"/>
              <a:gd name="connsiteY2445" fmla="*/ 724970 h 1934496"/>
              <a:gd name="connsiteX2446" fmla="*/ 2890049 w 9922465"/>
              <a:gd name="connsiteY2446" fmla="*/ 780161 h 1934496"/>
              <a:gd name="connsiteX2447" fmla="*/ 2834856 w 9922465"/>
              <a:gd name="connsiteY2447" fmla="*/ 835352 h 1934496"/>
              <a:gd name="connsiteX2448" fmla="*/ 2779665 w 9922465"/>
              <a:gd name="connsiteY2448" fmla="*/ 780161 h 1934496"/>
              <a:gd name="connsiteX2449" fmla="*/ 2834856 w 9922465"/>
              <a:gd name="connsiteY2449" fmla="*/ 724970 h 1934496"/>
              <a:gd name="connsiteX2450" fmla="*/ 2707901 w 9922465"/>
              <a:gd name="connsiteY2450" fmla="*/ 724970 h 1934496"/>
              <a:gd name="connsiteX2451" fmla="*/ 2763094 w 9922465"/>
              <a:gd name="connsiteY2451" fmla="*/ 780161 h 1934496"/>
              <a:gd name="connsiteX2452" fmla="*/ 2707901 w 9922465"/>
              <a:gd name="connsiteY2452" fmla="*/ 835352 h 1934496"/>
              <a:gd name="connsiteX2453" fmla="*/ 2652711 w 9922465"/>
              <a:gd name="connsiteY2453" fmla="*/ 780161 h 1934496"/>
              <a:gd name="connsiteX2454" fmla="*/ 2707901 w 9922465"/>
              <a:gd name="connsiteY2454" fmla="*/ 724970 h 1934496"/>
              <a:gd name="connsiteX2455" fmla="*/ 2570929 w 9922465"/>
              <a:gd name="connsiteY2455" fmla="*/ 724970 h 1934496"/>
              <a:gd name="connsiteX2456" fmla="*/ 2626122 w 9922465"/>
              <a:gd name="connsiteY2456" fmla="*/ 780161 h 1934496"/>
              <a:gd name="connsiteX2457" fmla="*/ 2570929 w 9922465"/>
              <a:gd name="connsiteY2457" fmla="*/ 835352 h 1934496"/>
              <a:gd name="connsiteX2458" fmla="*/ 2515735 w 9922465"/>
              <a:gd name="connsiteY2458" fmla="*/ 780161 h 1934496"/>
              <a:gd name="connsiteX2459" fmla="*/ 2570929 w 9922465"/>
              <a:gd name="connsiteY2459" fmla="*/ 724970 h 1934496"/>
              <a:gd name="connsiteX2460" fmla="*/ 2437294 w 9922465"/>
              <a:gd name="connsiteY2460" fmla="*/ 724970 h 1934496"/>
              <a:gd name="connsiteX2461" fmla="*/ 2492487 w 9922465"/>
              <a:gd name="connsiteY2461" fmla="*/ 780161 h 1934496"/>
              <a:gd name="connsiteX2462" fmla="*/ 2437294 w 9922465"/>
              <a:gd name="connsiteY2462" fmla="*/ 835352 h 1934496"/>
              <a:gd name="connsiteX2463" fmla="*/ 2382104 w 9922465"/>
              <a:gd name="connsiteY2463" fmla="*/ 780161 h 1934496"/>
              <a:gd name="connsiteX2464" fmla="*/ 2437294 w 9922465"/>
              <a:gd name="connsiteY2464" fmla="*/ 724970 h 1934496"/>
              <a:gd name="connsiteX2465" fmla="*/ 2303662 w 9922465"/>
              <a:gd name="connsiteY2465" fmla="*/ 724970 h 1934496"/>
              <a:gd name="connsiteX2466" fmla="*/ 2358853 w 9922465"/>
              <a:gd name="connsiteY2466" fmla="*/ 780161 h 1934496"/>
              <a:gd name="connsiteX2467" fmla="*/ 2303662 w 9922465"/>
              <a:gd name="connsiteY2467" fmla="*/ 835352 h 1934496"/>
              <a:gd name="connsiteX2468" fmla="*/ 2248471 w 9922465"/>
              <a:gd name="connsiteY2468" fmla="*/ 780161 h 1934496"/>
              <a:gd name="connsiteX2469" fmla="*/ 2303662 w 9922465"/>
              <a:gd name="connsiteY2469" fmla="*/ 724970 h 1934496"/>
              <a:gd name="connsiteX2470" fmla="*/ 2173371 w 9922465"/>
              <a:gd name="connsiteY2470" fmla="*/ 724970 h 1934496"/>
              <a:gd name="connsiteX2471" fmla="*/ 2228562 w 9922465"/>
              <a:gd name="connsiteY2471" fmla="*/ 780161 h 1934496"/>
              <a:gd name="connsiteX2472" fmla="*/ 2173371 w 9922465"/>
              <a:gd name="connsiteY2472" fmla="*/ 835352 h 1934496"/>
              <a:gd name="connsiteX2473" fmla="*/ 2118177 w 9922465"/>
              <a:gd name="connsiteY2473" fmla="*/ 780161 h 1934496"/>
              <a:gd name="connsiteX2474" fmla="*/ 2173371 w 9922465"/>
              <a:gd name="connsiteY2474" fmla="*/ 724970 h 1934496"/>
              <a:gd name="connsiteX2475" fmla="*/ 2039733 w 9922465"/>
              <a:gd name="connsiteY2475" fmla="*/ 724970 h 1934496"/>
              <a:gd name="connsiteX2476" fmla="*/ 2094927 w 9922465"/>
              <a:gd name="connsiteY2476" fmla="*/ 780161 h 1934496"/>
              <a:gd name="connsiteX2477" fmla="*/ 2039733 w 9922465"/>
              <a:gd name="connsiteY2477" fmla="*/ 835352 h 1934496"/>
              <a:gd name="connsiteX2478" fmla="*/ 1984539 w 9922465"/>
              <a:gd name="connsiteY2478" fmla="*/ 780161 h 1934496"/>
              <a:gd name="connsiteX2479" fmla="*/ 2039733 w 9922465"/>
              <a:gd name="connsiteY2479" fmla="*/ 724970 h 1934496"/>
              <a:gd name="connsiteX2480" fmla="*/ 1909436 w 9922465"/>
              <a:gd name="connsiteY2480" fmla="*/ 724970 h 1934496"/>
              <a:gd name="connsiteX2481" fmla="*/ 1964630 w 9922465"/>
              <a:gd name="connsiteY2481" fmla="*/ 780161 h 1934496"/>
              <a:gd name="connsiteX2482" fmla="*/ 1909436 w 9922465"/>
              <a:gd name="connsiteY2482" fmla="*/ 835352 h 1934496"/>
              <a:gd name="connsiteX2483" fmla="*/ 1854243 w 9922465"/>
              <a:gd name="connsiteY2483" fmla="*/ 780161 h 1934496"/>
              <a:gd name="connsiteX2484" fmla="*/ 1909436 w 9922465"/>
              <a:gd name="connsiteY2484" fmla="*/ 724970 h 1934496"/>
              <a:gd name="connsiteX2485" fmla="*/ 1779142 w 9922465"/>
              <a:gd name="connsiteY2485" fmla="*/ 724970 h 1934496"/>
              <a:gd name="connsiteX2486" fmla="*/ 1834335 w 9922465"/>
              <a:gd name="connsiteY2486" fmla="*/ 780161 h 1934496"/>
              <a:gd name="connsiteX2487" fmla="*/ 1779142 w 9922465"/>
              <a:gd name="connsiteY2487" fmla="*/ 835352 h 1934496"/>
              <a:gd name="connsiteX2488" fmla="*/ 1723947 w 9922465"/>
              <a:gd name="connsiteY2488" fmla="*/ 780161 h 1934496"/>
              <a:gd name="connsiteX2489" fmla="*/ 1779142 w 9922465"/>
              <a:gd name="connsiteY2489" fmla="*/ 724970 h 1934496"/>
              <a:gd name="connsiteX2490" fmla="*/ 1645501 w 9922465"/>
              <a:gd name="connsiteY2490" fmla="*/ 724970 h 1934496"/>
              <a:gd name="connsiteX2491" fmla="*/ 1700699 w 9922465"/>
              <a:gd name="connsiteY2491" fmla="*/ 780161 h 1934496"/>
              <a:gd name="connsiteX2492" fmla="*/ 1645501 w 9922465"/>
              <a:gd name="connsiteY2492" fmla="*/ 835352 h 1934496"/>
              <a:gd name="connsiteX2493" fmla="*/ 1590310 w 9922465"/>
              <a:gd name="connsiteY2493" fmla="*/ 780161 h 1934496"/>
              <a:gd name="connsiteX2494" fmla="*/ 1645501 w 9922465"/>
              <a:gd name="connsiteY2494" fmla="*/ 724970 h 1934496"/>
              <a:gd name="connsiteX2495" fmla="*/ 1515213 w 9922465"/>
              <a:gd name="connsiteY2495" fmla="*/ 724970 h 1934496"/>
              <a:gd name="connsiteX2496" fmla="*/ 1570399 w 9922465"/>
              <a:gd name="connsiteY2496" fmla="*/ 780161 h 1934496"/>
              <a:gd name="connsiteX2497" fmla="*/ 1515213 w 9922465"/>
              <a:gd name="connsiteY2497" fmla="*/ 835352 h 1934496"/>
              <a:gd name="connsiteX2498" fmla="*/ 1460016 w 9922465"/>
              <a:gd name="connsiteY2498" fmla="*/ 780161 h 1934496"/>
              <a:gd name="connsiteX2499" fmla="*/ 1515213 w 9922465"/>
              <a:gd name="connsiteY2499" fmla="*/ 724970 h 1934496"/>
              <a:gd name="connsiteX2500" fmla="*/ 1381573 w 9922465"/>
              <a:gd name="connsiteY2500" fmla="*/ 724970 h 1934496"/>
              <a:gd name="connsiteX2501" fmla="*/ 1436767 w 9922465"/>
              <a:gd name="connsiteY2501" fmla="*/ 780161 h 1934496"/>
              <a:gd name="connsiteX2502" fmla="*/ 1381573 w 9922465"/>
              <a:gd name="connsiteY2502" fmla="*/ 835352 h 1934496"/>
              <a:gd name="connsiteX2503" fmla="*/ 1326381 w 9922465"/>
              <a:gd name="connsiteY2503" fmla="*/ 780161 h 1934496"/>
              <a:gd name="connsiteX2504" fmla="*/ 1381573 w 9922465"/>
              <a:gd name="connsiteY2504" fmla="*/ 724970 h 1934496"/>
              <a:gd name="connsiteX2505" fmla="*/ 1251282 w 9922465"/>
              <a:gd name="connsiteY2505" fmla="*/ 724970 h 1934496"/>
              <a:gd name="connsiteX2506" fmla="*/ 1306475 w 9922465"/>
              <a:gd name="connsiteY2506" fmla="*/ 780161 h 1934496"/>
              <a:gd name="connsiteX2507" fmla="*/ 1251282 w 9922465"/>
              <a:gd name="connsiteY2507" fmla="*/ 835352 h 1934496"/>
              <a:gd name="connsiteX2508" fmla="*/ 1196089 w 9922465"/>
              <a:gd name="connsiteY2508" fmla="*/ 780161 h 1934496"/>
              <a:gd name="connsiteX2509" fmla="*/ 1251282 w 9922465"/>
              <a:gd name="connsiteY2509" fmla="*/ 724970 h 1934496"/>
              <a:gd name="connsiteX2510" fmla="*/ 1117642 w 9922465"/>
              <a:gd name="connsiteY2510" fmla="*/ 724970 h 1934496"/>
              <a:gd name="connsiteX2511" fmla="*/ 1172836 w 9922465"/>
              <a:gd name="connsiteY2511" fmla="*/ 780161 h 1934496"/>
              <a:gd name="connsiteX2512" fmla="*/ 1117642 w 9922465"/>
              <a:gd name="connsiteY2512" fmla="*/ 835352 h 1934496"/>
              <a:gd name="connsiteX2513" fmla="*/ 1062448 w 9922465"/>
              <a:gd name="connsiteY2513" fmla="*/ 780161 h 1934496"/>
              <a:gd name="connsiteX2514" fmla="*/ 1117642 w 9922465"/>
              <a:gd name="connsiteY2514" fmla="*/ 724970 h 1934496"/>
              <a:gd name="connsiteX2515" fmla="*/ 980664 w 9922465"/>
              <a:gd name="connsiteY2515" fmla="*/ 724970 h 1934496"/>
              <a:gd name="connsiteX2516" fmla="*/ 1035857 w 9922465"/>
              <a:gd name="connsiteY2516" fmla="*/ 780161 h 1934496"/>
              <a:gd name="connsiteX2517" fmla="*/ 980664 w 9922465"/>
              <a:gd name="connsiteY2517" fmla="*/ 835352 h 1934496"/>
              <a:gd name="connsiteX2518" fmla="*/ 925471 w 9922465"/>
              <a:gd name="connsiteY2518" fmla="*/ 780161 h 1934496"/>
              <a:gd name="connsiteX2519" fmla="*/ 980664 w 9922465"/>
              <a:gd name="connsiteY2519" fmla="*/ 724970 h 1934496"/>
              <a:gd name="connsiteX2520" fmla="*/ 847022 w 9922465"/>
              <a:gd name="connsiteY2520" fmla="*/ 724970 h 1934496"/>
              <a:gd name="connsiteX2521" fmla="*/ 902217 w 9922465"/>
              <a:gd name="connsiteY2521" fmla="*/ 780161 h 1934496"/>
              <a:gd name="connsiteX2522" fmla="*/ 847022 w 9922465"/>
              <a:gd name="connsiteY2522" fmla="*/ 835352 h 1934496"/>
              <a:gd name="connsiteX2523" fmla="*/ 791823 w 9922465"/>
              <a:gd name="connsiteY2523" fmla="*/ 780161 h 1934496"/>
              <a:gd name="connsiteX2524" fmla="*/ 847022 w 9922465"/>
              <a:gd name="connsiteY2524" fmla="*/ 724970 h 1934496"/>
              <a:gd name="connsiteX2525" fmla="*/ 716722 w 9922465"/>
              <a:gd name="connsiteY2525" fmla="*/ 724970 h 1934496"/>
              <a:gd name="connsiteX2526" fmla="*/ 771916 w 9922465"/>
              <a:gd name="connsiteY2526" fmla="*/ 780161 h 1934496"/>
              <a:gd name="connsiteX2527" fmla="*/ 716722 w 9922465"/>
              <a:gd name="connsiteY2527" fmla="*/ 835352 h 1934496"/>
              <a:gd name="connsiteX2528" fmla="*/ 661530 w 9922465"/>
              <a:gd name="connsiteY2528" fmla="*/ 780161 h 1934496"/>
              <a:gd name="connsiteX2529" fmla="*/ 716722 w 9922465"/>
              <a:gd name="connsiteY2529" fmla="*/ 724970 h 1934496"/>
              <a:gd name="connsiteX2530" fmla="*/ 583085 w 9922465"/>
              <a:gd name="connsiteY2530" fmla="*/ 724970 h 1934496"/>
              <a:gd name="connsiteX2531" fmla="*/ 638278 w 9922465"/>
              <a:gd name="connsiteY2531" fmla="*/ 780161 h 1934496"/>
              <a:gd name="connsiteX2532" fmla="*/ 583085 w 9922465"/>
              <a:gd name="connsiteY2532" fmla="*/ 835352 h 1934496"/>
              <a:gd name="connsiteX2533" fmla="*/ 527891 w 9922465"/>
              <a:gd name="connsiteY2533" fmla="*/ 780161 h 1934496"/>
              <a:gd name="connsiteX2534" fmla="*/ 583085 w 9922465"/>
              <a:gd name="connsiteY2534" fmla="*/ 724970 h 1934496"/>
              <a:gd name="connsiteX2535" fmla="*/ 449437 w 9922465"/>
              <a:gd name="connsiteY2535" fmla="*/ 724970 h 1934496"/>
              <a:gd name="connsiteX2536" fmla="*/ 504629 w 9922465"/>
              <a:gd name="connsiteY2536" fmla="*/ 780161 h 1934496"/>
              <a:gd name="connsiteX2537" fmla="*/ 449437 w 9922465"/>
              <a:gd name="connsiteY2537" fmla="*/ 835352 h 1934496"/>
              <a:gd name="connsiteX2538" fmla="*/ 394244 w 9922465"/>
              <a:gd name="connsiteY2538" fmla="*/ 780161 h 1934496"/>
              <a:gd name="connsiteX2539" fmla="*/ 449437 w 9922465"/>
              <a:gd name="connsiteY2539" fmla="*/ 724970 h 1934496"/>
              <a:gd name="connsiteX2540" fmla="*/ 319140 w 9922465"/>
              <a:gd name="connsiteY2540" fmla="*/ 724970 h 1934496"/>
              <a:gd name="connsiteX2541" fmla="*/ 374334 w 9922465"/>
              <a:gd name="connsiteY2541" fmla="*/ 780161 h 1934496"/>
              <a:gd name="connsiteX2542" fmla="*/ 319140 w 9922465"/>
              <a:gd name="connsiteY2542" fmla="*/ 835352 h 1934496"/>
              <a:gd name="connsiteX2543" fmla="*/ 263948 w 9922465"/>
              <a:gd name="connsiteY2543" fmla="*/ 780161 h 1934496"/>
              <a:gd name="connsiteX2544" fmla="*/ 319140 w 9922465"/>
              <a:gd name="connsiteY2544" fmla="*/ 724970 h 1934496"/>
              <a:gd name="connsiteX2545" fmla="*/ 185509 w 9922465"/>
              <a:gd name="connsiteY2545" fmla="*/ 724970 h 1934496"/>
              <a:gd name="connsiteX2546" fmla="*/ 240701 w 9922465"/>
              <a:gd name="connsiteY2546" fmla="*/ 780161 h 1934496"/>
              <a:gd name="connsiteX2547" fmla="*/ 185509 w 9922465"/>
              <a:gd name="connsiteY2547" fmla="*/ 835352 h 1934496"/>
              <a:gd name="connsiteX2548" fmla="*/ 130319 w 9922465"/>
              <a:gd name="connsiteY2548" fmla="*/ 780161 h 1934496"/>
              <a:gd name="connsiteX2549" fmla="*/ 185509 w 9922465"/>
              <a:gd name="connsiteY2549" fmla="*/ 724970 h 1934496"/>
              <a:gd name="connsiteX2550" fmla="*/ 8801538 w 9922465"/>
              <a:gd name="connsiteY2550" fmla="*/ 608039 h 1934496"/>
              <a:gd name="connsiteX2551" fmla="*/ 8856730 w 9922465"/>
              <a:gd name="connsiteY2551" fmla="*/ 663230 h 1934496"/>
              <a:gd name="connsiteX2552" fmla="*/ 8801538 w 9922465"/>
              <a:gd name="connsiteY2552" fmla="*/ 718421 h 1934496"/>
              <a:gd name="connsiteX2553" fmla="*/ 8746346 w 9922465"/>
              <a:gd name="connsiteY2553" fmla="*/ 663230 h 1934496"/>
              <a:gd name="connsiteX2554" fmla="*/ 8801538 w 9922465"/>
              <a:gd name="connsiteY2554" fmla="*/ 608039 h 1934496"/>
              <a:gd name="connsiteX2555" fmla="*/ 8671244 w 9922465"/>
              <a:gd name="connsiteY2555" fmla="*/ 608039 h 1934496"/>
              <a:gd name="connsiteX2556" fmla="*/ 8726436 w 9922465"/>
              <a:gd name="connsiteY2556" fmla="*/ 663230 h 1934496"/>
              <a:gd name="connsiteX2557" fmla="*/ 8671244 w 9922465"/>
              <a:gd name="connsiteY2557" fmla="*/ 718421 h 1934496"/>
              <a:gd name="connsiteX2558" fmla="*/ 8616052 w 9922465"/>
              <a:gd name="connsiteY2558" fmla="*/ 663230 h 1934496"/>
              <a:gd name="connsiteX2559" fmla="*/ 8671244 w 9922465"/>
              <a:gd name="connsiteY2559" fmla="*/ 608039 h 1934496"/>
              <a:gd name="connsiteX2560" fmla="*/ 8537609 w 9922465"/>
              <a:gd name="connsiteY2560" fmla="*/ 608039 h 1934496"/>
              <a:gd name="connsiteX2561" fmla="*/ 8592801 w 9922465"/>
              <a:gd name="connsiteY2561" fmla="*/ 663230 h 1934496"/>
              <a:gd name="connsiteX2562" fmla="*/ 8537609 w 9922465"/>
              <a:gd name="connsiteY2562" fmla="*/ 718421 h 1934496"/>
              <a:gd name="connsiteX2563" fmla="*/ 8482417 w 9922465"/>
              <a:gd name="connsiteY2563" fmla="*/ 663230 h 1934496"/>
              <a:gd name="connsiteX2564" fmla="*/ 8537609 w 9922465"/>
              <a:gd name="connsiteY2564" fmla="*/ 608039 h 1934496"/>
              <a:gd name="connsiteX2565" fmla="*/ 8407318 w 9922465"/>
              <a:gd name="connsiteY2565" fmla="*/ 608039 h 1934496"/>
              <a:gd name="connsiteX2566" fmla="*/ 8462510 w 9922465"/>
              <a:gd name="connsiteY2566" fmla="*/ 663230 h 1934496"/>
              <a:gd name="connsiteX2567" fmla="*/ 8407318 w 9922465"/>
              <a:gd name="connsiteY2567" fmla="*/ 718421 h 1934496"/>
              <a:gd name="connsiteX2568" fmla="*/ 8352126 w 9922465"/>
              <a:gd name="connsiteY2568" fmla="*/ 663230 h 1934496"/>
              <a:gd name="connsiteX2569" fmla="*/ 8407318 w 9922465"/>
              <a:gd name="connsiteY2569" fmla="*/ 608039 h 1934496"/>
              <a:gd name="connsiteX2570" fmla="*/ 8273682 w 9922465"/>
              <a:gd name="connsiteY2570" fmla="*/ 608039 h 1934496"/>
              <a:gd name="connsiteX2571" fmla="*/ 8328874 w 9922465"/>
              <a:gd name="connsiteY2571" fmla="*/ 663230 h 1934496"/>
              <a:gd name="connsiteX2572" fmla="*/ 8273682 w 9922465"/>
              <a:gd name="connsiteY2572" fmla="*/ 718421 h 1934496"/>
              <a:gd name="connsiteX2573" fmla="*/ 8218490 w 9922465"/>
              <a:gd name="connsiteY2573" fmla="*/ 663230 h 1934496"/>
              <a:gd name="connsiteX2574" fmla="*/ 8273682 w 9922465"/>
              <a:gd name="connsiteY2574" fmla="*/ 608039 h 1934496"/>
              <a:gd name="connsiteX2575" fmla="*/ 8143386 w 9922465"/>
              <a:gd name="connsiteY2575" fmla="*/ 608039 h 1934496"/>
              <a:gd name="connsiteX2576" fmla="*/ 8198578 w 9922465"/>
              <a:gd name="connsiteY2576" fmla="*/ 663230 h 1934496"/>
              <a:gd name="connsiteX2577" fmla="*/ 8143386 w 9922465"/>
              <a:gd name="connsiteY2577" fmla="*/ 718421 h 1934496"/>
              <a:gd name="connsiteX2578" fmla="*/ 8088194 w 9922465"/>
              <a:gd name="connsiteY2578" fmla="*/ 663230 h 1934496"/>
              <a:gd name="connsiteX2579" fmla="*/ 8143386 w 9922465"/>
              <a:gd name="connsiteY2579" fmla="*/ 608039 h 1934496"/>
              <a:gd name="connsiteX2580" fmla="*/ 8009753 w 9922465"/>
              <a:gd name="connsiteY2580" fmla="*/ 608039 h 1934496"/>
              <a:gd name="connsiteX2581" fmla="*/ 8064945 w 9922465"/>
              <a:gd name="connsiteY2581" fmla="*/ 663230 h 1934496"/>
              <a:gd name="connsiteX2582" fmla="*/ 8009753 w 9922465"/>
              <a:gd name="connsiteY2582" fmla="*/ 718421 h 1934496"/>
              <a:gd name="connsiteX2583" fmla="*/ 7954561 w 9922465"/>
              <a:gd name="connsiteY2583" fmla="*/ 663230 h 1934496"/>
              <a:gd name="connsiteX2584" fmla="*/ 8009753 w 9922465"/>
              <a:gd name="connsiteY2584" fmla="*/ 608039 h 1934496"/>
              <a:gd name="connsiteX2585" fmla="*/ 7876118 w 9922465"/>
              <a:gd name="connsiteY2585" fmla="*/ 608039 h 1934496"/>
              <a:gd name="connsiteX2586" fmla="*/ 7931310 w 9922465"/>
              <a:gd name="connsiteY2586" fmla="*/ 663230 h 1934496"/>
              <a:gd name="connsiteX2587" fmla="*/ 7876118 w 9922465"/>
              <a:gd name="connsiteY2587" fmla="*/ 718421 h 1934496"/>
              <a:gd name="connsiteX2588" fmla="*/ 7820926 w 9922465"/>
              <a:gd name="connsiteY2588" fmla="*/ 663230 h 1934496"/>
              <a:gd name="connsiteX2589" fmla="*/ 7876118 w 9922465"/>
              <a:gd name="connsiteY2589" fmla="*/ 608039 h 1934496"/>
              <a:gd name="connsiteX2590" fmla="*/ 7745824 w 9922465"/>
              <a:gd name="connsiteY2590" fmla="*/ 608039 h 1934496"/>
              <a:gd name="connsiteX2591" fmla="*/ 7801016 w 9922465"/>
              <a:gd name="connsiteY2591" fmla="*/ 663230 h 1934496"/>
              <a:gd name="connsiteX2592" fmla="*/ 7745824 w 9922465"/>
              <a:gd name="connsiteY2592" fmla="*/ 718421 h 1934496"/>
              <a:gd name="connsiteX2593" fmla="*/ 7690632 w 9922465"/>
              <a:gd name="connsiteY2593" fmla="*/ 663230 h 1934496"/>
              <a:gd name="connsiteX2594" fmla="*/ 7745824 w 9922465"/>
              <a:gd name="connsiteY2594" fmla="*/ 608039 h 1934496"/>
              <a:gd name="connsiteX2595" fmla="*/ 7608850 w 9922465"/>
              <a:gd name="connsiteY2595" fmla="*/ 608039 h 1934496"/>
              <a:gd name="connsiteX2596" fmla="*/ 7664042 w 9922465"/>
              <a:gd name="connsiteY2596" fmla="*/ 663230 h 1934496"/>
              <a:gd name="connsiteX2597" fmla="*/ 7608850 w 9922465"/>
              <a:gd name="connsiteY2597" fmla="*/ 718421 h 1934496"/>
              <a:gd name="connsiteX2598" fmla="*/ 7553658 w 9922465"/>
              <a:gd name="connsiteY2598" fmla="*/ 663230 h 1934496"/>
              <a:gd name="connsiteX2599" fmla="*/ 7608850 w 9922465"/>
              <a:gd name="connsiteY2599" fmla="*/ 608039 h 1934496"/>
              <a:gd name="connsiteX2600" fmla="*/ 7481895 w 9922465"/>
              <a:gd name="connsiteY2600" fmla="*/ 608039 h 1934496"/>
              <a:gd name="connsiteX2601" fmla="*/ 7537087 w 9922465"/>
              <a:gd name="connsiteY2601" fmla="*/ 663230 h 1934496"/>
              <a:gd name="connsiteX2602" fmla="*/ 7481895 w 9922465"/>
              <a:gd name="connsiteY2602" fmla="*/ 718421 h 1934496"/>
              <a:gd name="connsiteX2603" fmla="*/ 7426703 w 9922465"/>
              <a:gd name="connsiteY2603" fmla="*/ 663230 h 1934496"/>
              <a:gd name="connsiteX2604" fmla="*/ 7481895 w 9922465"/>
              <a:gd name="connsiteY2604" fmla="*/ 608039 h 1934496"/>
              <a:gd name="connsiteX2605" fmla="*/ 7341579 w 9922465"/>
              <a:gd name="connsiteY2605" fmla="*/ 608039 h 1934496"/>
              <a:gd name="connsiteX2606" fmla="*/ 7396771 w 9922465"/>
              <a:gd name="connsiteY2606" fmla="*/ 663230 h 1934496"/>
              <a:gd name="connsiteX2607" fmla="*/ 7341579 w 9922465"/>
              <a:gd name="connsiteY2607" fmla="*/ 718421 h 1934496"/>
              <a:gd name="connsiteX2608" fmla="*/ 7286387 w 9922465"/>
              <a:gd name="connsiteY2608" fmla="*/ 663230 h 1934496"/>
              <a:gd name="connsiteX2609" fmla="*/ 7341579 w 9922465"/>
              <a:gd name="connsiteY2609" fmla="*/ 608039 h 1934496"/>
              <a:gd name="connsiteX2610" fmla="*/ 7211286 w 9922465"/>
              <a:gd name="connsiteY2610" fmla="*/ 608039 h 1934496"/>
              <a:gd name="connsiteX2611" fmla="*/ 7266478 w 9922465"/>
              <a:gd name="connsiteY2611" fmla="*/ 663230 h 1934496"/>
              <a:gd name="connsiteX2612" fmla="*/ 7211286 w 9922465"/>
              <a:gd name="connsiteY2612" fmla="*/ 718421 h 1934496"/>
              <a:gd name="connsiteX2613" fmla="*/ 7156094 w 9922465"/>
              <a:gd name="connsiteY2613" fmla="*/ 663230 h 1934496"/>
              <a:gd name="connsiteX2614" fmla="*/ 7211286 w 9922465"/>
              <a:gd name="connsiteY2614" fmla="*/ 608039 h 1934496"/>
              <a:gd name="connsiteX2615" fmla="*/ 7080994 w 9922465"/>
              <a:gd name="connsiteY2615" fmla="*/ 608039 h 1934496"/>
              <a:gd name="connsiteX2616" fmla="*/ 7136186 w 9922465"/>
              <a:gd name="connsiteY2616" fmla="*/ 663230 h 1934496"/>
              <a:gd name="connsiteX2617" fmla="*/ 7080994 w 9922465"/>
              <a:gd name="connsiteY2617" fmla="*/ 718421 h 1934496"/>
              <a:gd name="connsiteX2618" fmla="*/ 7025802 w 9922465"/>
              <a:gd name="connsiteY2618" fmla="*/ 663230 h 1934496"/>
              <a:gd name="connsiteX2619" fmla="*/ 7080994 w 9922465"/>
              <a:gd name="connsiteY2619" fmla="*/ 608039 h 1934496"/>
              <a:gd name="connsiteX2620" fmla="*/ 6947358 w 9922465"/>
              <a:gd name="connsiteY2620" fmla="*/ 608039 h 1934496"/>
              <a:gd name="connsiteX2621" fmla="*/ 7002550 w 9922465"/>
              <a:gd name="connsiteY2621" fmla="*/ 663230 h 1934496"/>
              <a:gd name="connsiteX2622" fmla="*/ 6947358 w 9922465"/>
              <a:gd name="connsiteY2622" fmla="*/ 718421 h 1934496"/>
              <a:gd name="connsiteX2623" fmla="*/ 6892166 w 9922465"/>
              <a:gd name="connsiteY2623" fmla="*/ 663230 h 1934496"/>
              <a:gd name="connsiteX2624" fmla="*/ 6947358 w 9922465"/>
              <a:gd name="connsiteY2624" fmla="*/ 608039 h 1934496"/>
              <a:gd name="connsiteX2625" fmla="*/ 6817064 w 9922465"/>
              <a:gd name="connsiteY2625" fmla="*/ 608039 h 1934496"/>
              <a:gd name="connsiteX2626" fmla="*/ 6872256 w 9922465"/>
              <a:gd name="connsiteY2626" fmla="*/ 663230 h 1934496"/>
              <a:gd name="connsiteX2627" fmla="*/ 6817064 w 9922465"/>
              <a:gd name="connsiteY2627" fmla="*/ 718421 h 1934496"/>
              <a:gd name="connsiteX2628" fmla="*/ 6761872 w 9922465"/>
              <a:gd name="connsiteY2628" fmla="*/ 663230 h 1934496"/>
              <a:gd name="connsiteX2629" fmla="*/ 6817064 w 9922465"/>
              <a:gd name="connsiteY2629" fmla="*/ 608039 h 1934496"/>
              <a:gd name="connsiteX2630" fmla="*/ 6683431 w 9922465"/>
              <a:gd name="connsiteY2630" fmla="*/ 608039 h 1934496"/>
              <a:gd name="connsiteX2631" fmla="*/ 6738623 w 9922465"/>
              <a:gd name="connsiteY2631" fmla="*/ 663230 h 1934496"/>
              <a:gd name="connsiteX2632" fmla="*/ 6683431 w 9922465"/>
              <a:gd name="connsiteY2632" fmla="*/ 718421 h 1934496"/>
              <a:gd name="connsiteX2633" fmla="*/ 6628239 w 9922465"/>
              <a:gd name="connsiteY2633" fmla="*/ 663230 h 1934496"/>
              <a:gd name="connsiteX2634" fmla="*/ 6683431 w 9922465"/>
              <a:gd name="connsiteY2634" fmla="*/ 608039 h 1934496"/>
              <a:gd name="connsiteX2635" fmla="*/ 6155573 w 9922465"/>
              <a:gd name="connsiteY2635" fmla="*/ 608039 h 1934496"/>
              <a:gd name="connsiteX2636" fmla="*/ 6210765 w 9922465"/>
              <a:gd name="connsiteY2636" fmla="*/ 663230 h 1934496"/>
              <a:gd name="connsiteX2637" fmla="*/ 6155573 w 9922465"/>
              <a:gd name="connsiteY2637" fmla="*/ 718421 h 1934496"/>
              <a:gd name="connsiteX2638" fmla="*/ 6100381 w 9922465"/>
              <a:gd name="connsiteY2638" fmla="*/ 663230 h 1934496"/>
              <a:gd name="connsiteX2639" fmla="*/ 6155573 w 9922465"/>
              <a:gd name="connsiteY2639" fmla="*/ 608039 h 1934496"/>
              <a:gd name="connsiteX2640" fmla="*/ 5487399 w 9922465"/>
              <a:gd name="connsiteY2640" fmla="*/ 608039 h 1934496"/>
              <a:gd name="connsiteX2641" fmla="*/ 5542591 w 9922465"/>
              <a:gd name="connsiteY2641" fmla="*/ 663230 h 1934496"/>
              <a:gd name="connsiteX2642" fmla="*/ 5487399 w 9922465"/>
              <a:gd name="connsiteY2642" fmla="*/ 718421 h 1934496"/>
              <a:gd name="connsiteX2643" fmla="*/ 5432207 w 9922465"/>
              <a:gd name="connsiteY2643" fmla="*/ 663230 h 1934496"/>
              <a:gd name="connsiteX2644" fmla="*/ 5487399 w 9922465"/>
              <a:gd name="connsiteY2644" fmla="*/ 608039 h 1934496"/>
              <a:gd name="connsiteX2645" fmla="*/ 5357106 w 9922465"/>
              <a:gd name="connsiteY2645" fmla="*/ 608039 h 1934496"/>
              <a:gd name="connsiteX2646" fmla="*/ 5412298 w 9922465"/>
              <a:gd name="connsiteY2646" fmla="*/ 663230 h 1934496"/>
              <a:gd name="connsiteX2647" fmla="*/ 5357106 w 9922465"/>
              <a:gd name="connsiteY2647" fmla="*/ 718421 h 1934496"/>
              <a:gd name="connsiteX2648" fmla="*/ 5301914 w 9922465"/>
              <a:gd name="connsiteY2648" fmla="*/ 663230 h 1934496"/>
              <a:gd name="connsiteX2649" fmla="*/ 5357106 w 9922465"/>
              <a:gd name="connsiteY2649" fmla="*/ 608039 h 1934496"/>
              <a:gd name="connsiteX2650" fmla="*/ 5223473 w 9922465"/>
              <a:gd name="connsiteY2650" fmla="*/ 608038 h 1934496"/>
              <a:gd name="connsiteX2651" fmla="*/ 5278665 w 9922465"/>
              <a:gd name="connsiteY2651" fmla="*/ 663229 h 1934496"/>
              <a:gd name="connsiteX2652" fmla="*/ 5223473 w 9922465"/>
              <a:gd name="connsiteY2652" fmla="*/ 718420 h 1934496"/>
              <a:gd name="connsiteX2653" fmla="*/ 5168281 w 9922465"/>
              <a:gd name="connsiteY2653" fmla="*/ 663229 h 1934496"/>
              <a:gd name="connsiteX2654" fmla="*/ 5223473 w 9922465"/>
              <a:gd name="connsiteY2654" fmla="*/ 608038 h 1934496"/>
              <a:gd name="connsiteX2655" fmla="*/ 4030786 w 9922465"/>
              <a:gd name="connsiteY2655" fmla="*/ 608038 h 1934496"/>
              <a:gd name="connsiteX2656" fmla="*/ 4085978 w 9922465"/>
              <a:gd name="connsiteY2656" fmla="*/ 663229 h 1934496"/>
              <a:gd name="connsiteX2657" fmla="*/ 4030786 w 9922465"/>
              <a:gd name="connsiteY2657" fmla="*/ 718420 h 1934496"/>
              <a:gd name="connsiteX2658" fmla="*/ 3975594 w 9922465"/>
              <a:gd name="connsiteY2658" fmla="*/ 663229 h 1934496"/>
              <a:gd name="connsiteX2659" fmla="*/ 4030786 w 9922465"/>
              <a:gd name="connsiteY2659" fmla="*/ 608038 h 1934496"/>
              <a:gd name="connsiteX2660" fmla="*/ 3897148 w 9922465"/>
              <a:gd name="connsiteY2660" fmla="*/ 608038 h 1934496"/>
              <a:gd name="connsiteX2661" fmla="*/ 3952340 w 9922465"/>
              <a:gd name="connsiteY2661" fmla="*/ 663229 h 1934496"/>
              <a:gd name="connsiteX2662" fmla="*/ 3897148 w 9922465"/>
              <a:gd name="connsiteY2662" fmla="*/ 718420 h 1934496"/>
              <a:gd name="connsiteX2663" fmla="*/ 3841956 w 9922465"/>
              <a:gd name="connsiteY2663" fmla="*/ 663229 h 1934496"/>
              <a:gd name="connsiteX2664" fmla="*/ 3897148 w 9922465"/>
              <a:gd name="connsiteY2664" fmla="*/ 608038 h 1934496"/>
              <a:gd name="connsiteX2665" fmla="*/ 3763514 w 9922465"/>
              <a:gd name="connsiteY2665" fmla="*/ 608038 h 1934496"/>
              <a:gd name="connsiteX2666" fmla="*/ 3818706 w 9922465"/>
              <a:gd name="connsiteY2666" fmla="*/ 663229 h 1934496"/>
              <a:gd name="connsiteX2667" fmla="*/ 3763514 w 9922465"/>
              <a:gd name="connsiteY2667" fmla="*/ 718420 h 1934496"/>
              <a:gd name="connsiteX2668" fmla="*/ 3708322 w 9922465"/>
              <a:gd name="connsiteY2668" fmla="*/ 663229 h 1934496"/>
              <a:gd name="connsiteX2669" fmla="*/ 3763514 w 9922465"/>
              <a:gd name="connsiteY2669" fmla="*/ 608038 h 1934496"/>
              <a:gd name="connsiteX2670" fmla="*/ 3633221 w 9922465"/>
              <a:gd name="connsiteY2670" fmla="*/ 608038 h 1934496"/>
              <a:gd name="connsiteX2671" fmla="*/ 3688413 w 9922465"/>
              <a:gd name="connsiteY2671" fmla="*/ 663229 h 1934496"/>
              <a:gd name="connsiteX2672" fmla="*/ 3633221 w 9922465"/>
              <a:gd name="connsiteY2672" fmla="*/ 718420 h 1934496"/>
              <a:gd name="connsiteX2673" fmla="*/ 3578029 w 9922465"/>
              <a:gd name="connsiteY2673" fmla="*/ 663229 h 1934496"/>
              <a:gd name="connsiteX2674" fmla="*/ 3633221 w 9922465"/>
              <a:gd name="connsiteY2674" fmla="*/ 608038 h 1934496"/>
              <a:gd name="connsiteX2675" fmla="*/ 3499589 w 9922465"/>
              <a:gd name="connsiteY2675" fmla="*/ 608038 h 1934496"/>
              <a:gd name="connsiteX2676" fmla="*/ 3554781 w 9922465"/>
              <a:gd name="connsiteY2676" fmla="*/ 663229 h 1934496"/>
              <a:gd name="connsiteX2677" fmla="*/ 3499589 w 9922465"/>
              <a:gd name="connsiteY2677" fmla="*/ 718420 h 1934496"/>
              <a:gd name="connsiteX2678" fmla="*/ 3444397 w 9922465"/>
              <a:gd name="connsiteY2678" fmla="*/ 663229 h 1934496"/>
              <a:gd name="connsiteX2679" fmla="*/ 3499589 w 9922465"/>
              <a:gd name="connsiteY2679" fmla="*/ 608038 h 1934496"/>
              <a:gd name="connsiteX2680" fmla="*/ 3369292 w 9922465"/>
              <a:gd name="connsiteY2680" fmla="*/ 608038 h 1934496"/>
              <a:gd name="connsiteX2681" fmla="*/ 3424484 w 9922465"/>
              <a:gd name="connsiteY2681" fmla="*/ 663229 h 1934496"/>
              <a:gd name="connsiteX2682" fmla="*/ 3369292 w 9922465"/>
              <a:gd name="connsiteY2682" fmla="*/ 718420 h 1934496"/>
              <a:gd name="connsiteX2683" fmla="*/ 3314100 w 9922465"/>
              <a:gd name="connsiteY2683" fmla="*/ 663229 h 1934496"/>
              <a:gd name="connsiteX2684" fmla="*/ 3369292 w 9922465"/>
              <a:gd name="connsiteY2684" fmla="*/ 608038 h 1934496"/>
              <a:gd name="connsiteX2685" fmla="*/ 3235657 w 9922465"/>
              <a:gd name="connsiteY2685" fmla="*/ 608038 h 1934496"/>
              <a:gd name="connsiteX2686" fmla="*/ 3290849 w 9922465"/>
              <a:gd name="connsiteY2686" fmla="*/ 663229 h 1934496"/>
              <a:gd name="connsiteX2687" fmla="*/ 3235657 w 9922465"/>
              <a:gd name="connsiteY2687" fmla="*/ 718420 h 1934496"/>
              <a:gd name="connsiteX2688" fmla="*/ 3180465 w 9922465"/>
              <a:gd name="connsiteY2688" fmla="*/ 663229 h 1934496"/>
              <a:gd name="connsiteX2689" fmla="*/ 3235657 w 9922465"/>
              <a:gd name="connsiteY2689" fmla="*/ 608038 h 1934496"/>
              <a:gd name="connsiteX2690" fmla="*/ 2570932 w 9922465"/>
              <a:gd name="connsiteY2690" fmla="*/ 608038 h 1934496"/>
              <a:gd name="connsiteX2691" fmla="*/ 2626123 w 9922465"/>
              <a:gd name="connsiteY2691" fmla="*/ 663229 h 1934496"/>
              <a:gd name="connsiteX2692" fmla="*/ 2570932 w 9922465"/>
              <a:gd name="connsiteY2692" fmla="*/ 718420 h 1934496"/>
              <a:gd name="connsiteX2693" fmla="*/ 2515738 w 9922465"/>
              <a:gd name="connsiteY2693" fmla="*/ 663229 h 1934496"/>
              <a:gd name="connsiteX2694" fmla="*/ 2570932 w 9922465"/>
              <a:gd name="connsiteY2694" fmla="*/ 608038 h 1934496"/>
              <a:gd name="connsiteX2695" fmla="*/ 2437297 w 9922465"/>
              <a:gd name="connsiteY2695" fmla="*/ 608038 h 1934496"/>
              <a:gd name="connsiteX2696" fmla="*/ 2492487 w 9922465"/>
              <a:gd name="connsiteY2696" fmla="*/ 663229 h 1934496"/>
              <a:gd name="connsiteX2697" fmla="*/ 2437297 w 9922465"/>
              <a:gd name="connsiteY2697" fmla="*/ 718420 h 1934496"/>
              <a:gd name="connsiteX2698" fmla="*/ 2382108 w 9922465"/>
              <a:gd name="connsiteY2698" fmla="*/ 663229 h 1934496"/>
              <a:gd name="connsiteX2699" fmla="*/ 2437297 w 9922465"/>
              <a:gd name="connsiteY2699" fmla="*/ 608038 h 1934496"/>
              <a:gd name="connsiteX2700" fmla="*/ 2303664 w 9922465"/>
              <a:gd name="connsiteY2700" fmla="*/ 608038 h 1934496"/>
              <a:gd name="connsiteX2701" fmla="*/ 2358856 w 9922465"/>
              <a:gd name="connsiteY2701" fmla="*/ 663229 h 1934496"/>
              <a:gd name="connsiteX2702" fmla="*/ 2303664 w 9922465"/>
              <a:gd name="connsiteY2702" fmla="*/ 718420 h 1934496"/>
              <a:gd name="connsiteX2703" fmla="*/ 2248473 w 9922465"/>
              <a:gd name="connsiteY2703" fmla="*/ 663229 h 1934496"/>
              <a:gd name="connsiteX2704" fmla="*/ 2303664 w 9922465"/>
              <a:gd name="connsiteY2704" fmla="*/ 608038 h 1934496"/>
              <a:gd name="connsiteX2705" fmla="*/ 2173372 w 9922465"/>
              <a:gd name="connsiteY2705" fmla="*/ 608038 h 1934496"/>
              <a:gd name="connsiteX2706" fmla="*/ 2228565 w 9922465"/>
              <a:gd name="connsiteY2706" fmla="*/ 663229 h 1934496"/>
              <a:gd name="connsiteX2707" fmla="*/ 2173372 w 9922465"/>
              <a:gd name="connsiteY2707" fmla="*/ 718420 h 1934496"/>
              <a:gd name="connsiteX2708" fmla="*/ 2118180 w 9922465"/>
              <a:gd name="connsiteY2708" fmla="*/ 663229 h 1934496"/>
              <a:gd name="connsiteX2709" fmla="*/ 2173372 w 9922465"/>
              <a:gd name="connsiteY2709" fmla="*/ 608038 h 1934496"/>
              <a:gd name="connsiteX2710" fmla="*/ 2039736 w 9922465"/>
              <a:gd name="connsiteY2710" fmla="*/ 608038 h 1934496"/>
              <a:gd name="connsiteX2711" fmla="*/ 2094930 w 9922465"/>
              <a:gd name="connsiteY2711" fmla="*/ 663229 h 1934496"/>
              <a:gd name="connsiteX2712" fmla="*/ 2039736 w 9922465"/>
              <a:gd name="connsiteY2712" fmla="*/ 718420 h 1934496"/>
              <a:gd name="connsiteX2713" fmla="*/ 1984543 w 9922465"/>
              <a:gd name="connsiteY2713" fmla="*/ 663229 h 1934496"/>
              <a:gd name="connsiteX2714" fmla="*/ 2039736 w 9922465"/>
              <a:gd name="connsiteY2714" fmla="*/ 608038 h 1934496"/>
              <a:gd name="connsiteX2715" fmla="*/ 1909437 w 9922465"/>
              <a:gd name="connsiteY2715" fmla="*/ 608038 h 1934496"/>
              <a:gd name="connsiteX2716" fmla="*/ 1964630 w 9922465"/>
              <a:gd name="connsiteY2716" fmla="*/ 663229 h 1934496"/>
              <a:gd name="connsiteX2717" fmla="*/ 1909437 w 9922465"/>
              <a:gd name="connsiteY2717" fmla="*/ 718420 h 1934496"/>
              <a:gd name="connsiteX2718" fmla="*/ 1854244 w 9922465"/>
              <a:gd name="connsiteY2718" fmla="*/ 663229 h 1934496"/>
              <a:gd name="connsiteX2719" fmla="*/ 1909437 w 9922465"/>
              <a:gd name="connsiteY2719" fmla="*/ 608038 h 1934496"/>
              <a:gd name="connsiteX2720" fmla="*/ 1779142 w 9922465"/>
              <a:gd name="connsiteY2720" fmla="*/ 608038 h 1934496"/>
              <a:gd name="connsiteX2721" fmla="*/ 1834335 w 9922465"/>
              <a:gd name="connsiteY2721" fmla="*/ 663229 h 1934496"/>
              <a:gd name="connsiteX2722" fmla="*/ 1779142 w 9922465"/>
              <a:gd name="connsiteY2722" fmla="*/ 718420 h 1934496"/>
              <a:gd name="connsiteX2723" fmla="*/ 1723950 w 9922465"/>
              <a:gd name="connsiteY2723" fmla="*/ 663229 h 1934496"/>
              <a:gd name="connsiteX2724" fmla="*/ 1779142 w 9922465"/>
              <a:gd name="connsiteY2724" fmla="*/ 608038 h 1934496"/>
              <a:gd name="connsiteX2725" fmla="*/ 1645508 w 9922465"/>
              <a:gd name="connsiteY2725" fmla="*/ 608038 h 1934496"/>
              <a:gd name="connsiteX2726" fmla="*/ 1700702 w 9922465"/>
              <a:gd name="connsiteY2726" fmla="*/ 663229 h 1934496"/>
              <a:gd name="connsiteX2727" fmla="*/ 1645508 w 9922465"/>
              <a:gd name="connsiteY2727" fmla="*/ 718420 h 1934496"/>
              <a:gd name="connsiteX2728" fmla="*/ 1590311 w 9922465"/>
              <a:gd name="connsiteY2728" fmla="*/ 663229 h 1934496"/>
              <a:gd name="connsiteX2729" fmla="*/ 1645508 w 9922465"/>
              <a:gd name="connsiteY2729" fmla="*/ 608038 h 1934496"/>
              <a:gd name="connsiteX2730" fmla="*/ 1515217 w 9922465"/>
              <a:gd name="connsiteY2730" fmla="*/ 608038 h 1934496"/>
              <a:gd name="connsiteX2731" fmla="*/ 1570402 w 9922465"/>
              <a:gd name="connsiteY2731" fmla="*/ 663229 h 1934496"/>
              <a:gd name="connsiteX2732" fmla="*/ 1515217 w 9922465"/>
              <a:gd name="connsiteY2732" fmla="*/ 718420 h 1934496"/>
              <a:gd name="connsiteX2733" fmla="*/ 1460020 w 9922465"/>
              <a:gd name="connsiteY2733" fmla="*/ 663229 h 1934496"/>
              <a:gd name="connsiteX2734" fmla="*/ 1515217 w 9922465"/>
              <a:gd name="connsiteY2734" fmla="*/ 608038 h 1934496"/>
              <a:gd name="connsiteX2735" fmla="*/ 1381573 w 9922465"/>
              <a:gd name="connsiteY2735" fmla="*/ 608038 h 1934496"/>
              <a:gd name="connsiteX2736" fmla="*/ 1436767 w 9922465"/>
              <a:gd name="connsiteY2736" fmla="*/ 663229 h 1934496"/>
              <a:gd name="connsiteX2737" fmla="*/ 1381573 w 9922465"/>
              <a:gd name="connsiteY2737" fmla="*/ 718420 h 1934496"/>
              <a:gd name="connsiteX2738" fmla="*/ 1326384 w 9922465"/>
              <a:gd name="connsiteY2738" fmla="*/ 663229 h 1934496"/>
              <a:gd name="connsiteX2739" fmla="*/ 1381573 w 9922465"/>
              <a:gd name="connsiteY2739" fmla="*/ 608038 h 1934496"/>
              <a:gd name="connsiteX2740" fmla="*/ 1251282 w 9922465"/>
              <a:gd name="connsiteY2740" fmla="*/ 608038 h 1934496"/>
              <a:gd name="connsiteX2741" fmla="*/ 1306476 w 9922465"/>
              <a:gd name="connsiteY2741" fmla="*/ 663229 h 1934496"/>
              <a:gd name="connsiteX2742" fmla="*/ 1251282 w 9922465"/>
              <a:gd name="connsiteY2742" fmla="*/ 718420 h 1934496"/>
              <a:gd name="connsiteX2743" fmla="*/ 1196089 w 9922465"/>
              <a:gd name="connsiteY2743" fmla="*/ 663229 h 1934496"/>
              <a:gd name="connsiteX2744" fmla="*/ 1251282 w 9922465"/>
              <a:gd name="connsiteY2744" fmla="*/ 608038 h 1934496"/>
              <a:gd name="connsiteX2745" fmla="*/ 8143386 w 9922465"/>
              <a:gd name="connsiteY2745" fmla="*/ 494447 h 1934496"/>
              <a:gd name="connsiteX2746" fmla="*/ 8198578 w 9922465"/>
              <a:gd name="connsiteY2746" fmla="*/ 549638 h 1934496"/>
              <a:gd name="connsiteX2747" fmla="*/ 8143386 w 9922465"/>
              <a:gd name="connsiteY2747" fmla="*/ 604829 h 1934496"/>
              <a:gd name="connsiteX2748" fmla="*/ 8088194 w 9922465"/>
              <a:gd name="connsiteY2748" fmla="*/ 549638 h 1934496"/>
              <a:gd name="connsiteX2749" fmla="*/ 8143386 w 9922465"/>
              <a:gd name="connsiteY2749" fmla="*/ 494447 h 1934496"/>
              <a:gd name="connsiteX2750" fmla="*/ 8009753 w 9922465"/>
              <a:gd name="connsiteY2750" fmla="*/ 494447 h 1934496"/>
              <a:gd name="connsiteX2751" fmla="*/ 8064945 w 9922465"/>
              <a:gd name="connsiteY2751" fmla="*/ 549638 h 1934496"/>
              <a:gd name="connsiteX2752" fmla="*/ 8009753 w 9922465"/>
              <a:gd name="connsiteY2752" fmla="*/ 604829 h 1934496"/>
              <a:gd name="connsiteX2753" fmla="*/ 7954561 w 9922465"/>
              <a:gd name="connsiteY2753" fmla="*/ 549638 h 1934496"/>
              <a:gd name="connsiteX2754" fmla="*/ 8009753 w 9922465"/>
              <a:gd name="connsiteY2754" fmla="*/ 494447 h 1934496"/>
              <a:gd name="connsiteX2755" fmla="*/ 7876118 w 9922465"/>
              <a:gd name="connsiteY2755" fmla="*/ 494447 h 1934496"/>
              <a:gd name="connsiteX2756" fmla="*/ 7931310 w 9922465"/>
              <a:gd name="connsiteY2756" fmla="*/ 549638 h 1934496"/>
              <a:gd name="connsiteX2757" fmla="*/ 7876118 w 9922465"/>
              <a:gd name="connsiteY2757" fmla="*/ 604829 h 1934496"/>
              <a:gd name="connsiteX2758" fmla="*/ 7820926 w 9922465"/>
              <a:gd name="connsiteY2758" fmla="*/ 549638 h 1934496"/>
              <a:gd name="connsiteX2759" fmla="*/ 7876118 w 9922465"/>
              <a:gd name="connsiteY2759" fmla="*/ 494447 h 1934496"/>
              <a:gd name="connsiteX2760" fmla="*/ 7745824 w 9922465"/>
              <a:gd name="connsiteY2760" fmla="*/ 494447 h 1934496"/>
              <a:gd name="connsiteX2761" fmla="*/ 7801016 w 9922465"/>
              <a:gd name="connsiteY2761" fmla="*/ 549638 h 1934496"/>
              <a:gd name="connsiteX2762" fmla="*/ 7745824 w 9922465"/>
              <a:gd name="connsiteY2762" fmla="*/ 604829 h 1934496"/>
              <a:gd name="connsiteX2763" fmla="*/ 7690632 w 9922465"/>
              <a:gd name="connsiteY2763" fmla="*/ 549638 h 1934496"/>
              <a:gd name="connsiteX2764" fmla="*/ 7745824 w 9922465"/>
              <a:gd name="connsiteY2764" fmla="*/ 494447 h 1934496"/>
              <a:gd name="connsiteX2765" fmla="*/ 7608850 w 9922465"/>
              <a:gd name="connsiteY2765" fmla="*/ 494447 h 1934496"/>
              <a:gd name="connsiteX2766" fmla="*/ 7664042 w 9922465"/>
              <a:gd name="connsiteY2766" fmla="*/ 549638 h 1934496"/>
              <a:gd name="connsiteX2767" fmla="*/ 7608850 w 9922465"/>
              <a:gd name="connsiteY2767" fmla="*/ 604829 h 1934496"/>
              <a:gd name="connsiteX2768" fmla="*/ 7553658 w 9922465"/>
              <a:gd name="connsiteY2768" fmla="*/ 549638 h 1934496"/>
              <a:gd name="connsiteX2769" fmla="*/ 7608850 w 9922465"/>
              <a:gd name="connsiteY2769" fmla="*/ 494447 h 1934496"/>
              <a:gd name="connsiteX2770" fmla="*/ 7481895 w 9922465"/>
              <a:gd name="connsiteY2770" fmla="*/ 494447 h 1934496"/>
              <a:gd name="connsiteX2771" fmla="*/ 7537087 w 9922465"/>
              <a:gd name="connsiteY2771" fmla="*/ 549638 h 1934496"/>
              <a:gd name="connsiteX2772" fmla="*/ 7481895 w 9922465"/>
              <a:gd name="connsiteY2772" fmla="*/ 604829 h 1934496"/>
              <a:gd name="connsiteX2773" fmla="*/ 7426703 w 9922465"/>
              <a:gd name="connsiteY2773" fmla="*/ 549638 h 1934496"/>
              <a:gd name="connsiteX2774" fmla="*/ 7481895 w 9922465"/>
              <a:gd name="connsiteY2774" fmla="*/ 494447 h 1934496"/>
              <a:gd name="connsiteX2775" fmla="*/ 7341580 w 9922465"/>
              <a:gd name="connsiteY2775" fmla="*/ 494447 h 1934496"/>
              <a:gd name="connsiteX2776" fmla="*/ 7396772 w 9922465"/>
              <a:gd name="connsiteY2776" fmla="*/ 549638 h 1934496"/>
              <a:gd name="connsiteX2777" fmla="*/ 7341580 w 9922465"/>
              <a:gd name="connsiteY2777" fmla="*/ 604829 h 1934496"/>
              <a:gd name="connsiteX2778" fmla="*/ 7286388 w 9922465"/>
              <a:gd name="connsiteY2778" fmla="*/ 549638 h 1934496"/>
              <a:gd name="connsiteX2779" fmla="*/ 7341580 w 9922465"/>
              <a:gd name="connsiteY2779" fmla="*/ 494447 h 1934496"/>
              <a:gd name="connsiteX2780" fmla="*/ 7211286 w 9922465"/>
              <a:gd name="connsiteY2780" fmla="*/ 494447 h 1934496"/>
              <a:gd name="connsiteX2781" fmla="*/ 7266478 w 9922465"/>
              <a:gd name="connsiteY2781" fmla="*/ 549638 h 1934496"/>
              <a:gd name="connsiteX2782" fmla="*/ 7211286 w 9922465"/>
              <a:gd name="connsiteY2782" fmla="*/ 604829 h 1934496"/>
              <a:gd name="connsiteX2783" fmla="*/ 7156094 w 9922465"/>
              <a:gd name="connsiteY2783" fmla="*/ 549638 h 1934496"/>
              <a:gd name="connsiteX2784" fmla="*/ 7211286 w 9922465"/>
              <a:gd name="connsiteY2784" fmla="*/ 494447 h 1934496"/>
              <a:gd name="connsiteX2785" fmla="*/ 7080994 w 9922465"/>
              <a:gd name="connsiteY2785" fmla="*/ 494447 h 1934496"/>
              <a:gd name="connsiteX2786" fmla="*/ 7136186 w 9922465"/>
              <a:gd name="connsiteY2786" fmla="*/ 549638 h 1934496"/>
              <a:gd name="connsiteX2787" fmla="*/ 7080994 w 9922465"/>
              <a:gd name="connsiteY2787" fmla="*/ 604829 h 1934496"/>
              <a:gd name="connsiteX2788" fmla="*/ 7025802 w 9922465"/>
              <a:gd name="connsiteY2788" fmla="*/ 549638 h 1934496"/>
              <a:gd name="connsiteX2789" fmla="*/ 7080994 w 9922465"/>
              <a:gd name="connsiteY2789" fmla="*/ 494447 h 1934496"/>
              <a:gd name="connsiteX2790" fmla="*/ 6947358 w 9922465"/>
              <a:gd name="connsiteY2790" fmla="*/ 494447 h 1934496"/>
              <a:gd name="connsiteX2791" fmla="*/ 7002550 w 9922465"/>
              <a:gd name="connsiteY2791" fmla="*/ 549638 h 1934496"/>
              <a:gd name="connsiteX2792" fmla="*/ 6947358 w 9922465"/>
              <a:gd name="connsiteY2792" fmla="*/ 604829 h 1934496"/>
              <a:gd name="connsiteX2793" fmla="*/ 6892166 w 9922465"/>
              <a:gd name="connsiteY2793" fmla="*/ 549638 h 1934496"/>
              <a:gd name="connsiteX2794" fmla="*/ 6947358 w 9922465"/>
              <a:gd name="connsiteY2794" fmla="*/ 494447 h 1934496"/>
              <a:gd name="connsiteX2795" fmla="*/ 6289207 w 9922465"/>
              <a:gd name="connsiteY2795" fmla="*/ 494447 h 1934496"/>
              <a:gd name="connsiteX2796" fmla="*/ 6344399 w 9922465"/>
              <a:gd name="connsiteY2796" fmla="*/ 549638 h 1934496"/>
              <a:gd name="connsiteX2797" fmla="*/ 6289207 w 9922465"/>
              <a:gd name="connsiteY2797" fmla="*/ 604829 h 1934496"/>
              <a:gd name="connsiteX2798" fmla="*/ 6234015 w 9922465"/>
              <a:gd name="connsiteY2798" fmla="*/ 549638 h 1934496"/>
              <a:gd name="connsiteX2799" fmla="*/ 6289207 w 9922465"/>
              <a:gd name="connsiteY2799" fmla="*/ 494447 h 1934496"/>
              <a:gd name="connsiteX2800" fmla="*/ 4030786 w 9922465"/>
              <a:gd name="connsiteY2800" fmla="*/ 494447 h 1934496"/>
              <a:gd name="connsiteX2801" fmla="*/ 4085978 w 9922465"/>
              <a:gd name="connsiteY2801" fmla="*/ 549638 h 1934496"/>
              <a:gd name="connsiteX2802" fmla="*/ 4030786 w 9922465"/>
              <a:gd name="connsiteY2802" fmla="*/ 604829 h 1934496"/>
              <a:gd name="connsiteX2803" fmla="*/ 3975594 w 9922465"/>
              <a:gd name="connsiteY2803" fmla="*/ 549638 h 1934496"/>
              <a:gd name="connsiteX2804" fmla="*/ 4030786 w 9922465"/>
              <a:gd name="connsiteY2804" fmla="*/ 494447 h 1934496"/>
              <a:gd name="connsiteX2805" fmla="*/ 3897148 w 9922465"/>
              <a:gd name="connsiteY2805" fmla="*/ 494447 h 1934496"/>
              <a:gd name="connsiteX2806" fmla="*/ 3952340 w 9922465"/>
              <a:gd name="connsiteY2806" fmla="*/ 549638 h 1934496"/>
              <a:gd name="connsiteX2807" fmla="*/ 3897148 w 9922465"/>
              <a:gd name="connsiteY2807" fmla="*/ 604829 h 1934496"/>
              <a:gd name="connsiteX2808" fmla="*/ 3841956 w 9922465"/>
              <a:gd name="connsiteY2808" fmla="*/ 549638 h 1934496"/>
              <a:gd name="connsiteX2809" fmla="*/ 3897148 w 9922465"/>
              <a:gd name="connsiteY2809" fmla="*/ 494447 h 1934496"/>
              <a:gd name="connsiteX2810" fmla="*/ 3763514 w 9922465"/>
              <a:gd name="connsiteY2810" fmla="*/ 494447 h 1934496"/>
              <a:gd name="connsiteX2811" fmla="*/ 3818706 w 9922465"/>
              <a:gd name="connsiteY2811" fmla="*/ 549638 h 1934496"/>
              <a:gd name="connsiteX2812" fmla="*/ 3763514 w 9922465"/>
              <a:gd name="connsiteY2812" fmla="*/ 604829 h 1934496"/>
              <a:gd name="connsiteX2813" fmla="*/ 3708322 w 9922465"/>
              <a:gd name="connsiteY2813" fmla="*/ 549638 h 1934496"/>
              <a:gd name="connsiteX2814" fmla="*/ 3763514 w 9922465"/>
              <a:gd name="connsiteY2814" fmla="*/ 494447 h 1934496"/>
              <a:gd name="connsiteX2815" fmla="*/ 3633221 w 9922465"/>
              <a:gd name="connsiteY2815" fmla="*/ 494447 h 1934496"/>
              <a:gd name="connsiteX2816" fmla="*/ 3688413 w 9922465"/>
              <a:gd name="connsiteY2816" fmla="*/ 549638 h 1934496"/>
              <a:gd name="connsiteX2817" fmla="*/ 3633221 w 9922465"/>
              <a:gd name="connsiteY2817" fmla="*/ 604829 h 1934496"/>
              <a:gd name="connsiteX2818" fmla="*/ 3578029 w 9922465"/>
              <a:gd name="connsiteY2818" fmla="*/ 549638 h 1934496"/>
              <a:gd name="connsiteX2819" fmla="*/ 3633221 w 9922465"/>
              <a:gd name="connsiteY2819" fmla="*/ 494447 h 1934496"/>
              <a:gd name="connsiteX2820" fmla="*/ 3499589 w 9922465"/>
              <a:gd name="connsiteY2820" fmla="*/ 494447 h 1934496"/>
              <a:gd name="connsiteX2821" fmla="*/ 3554781 w 9922465"/>
              <a:gd name="connsiteY2821" fmla="*/ 549638 h 1934496"/>
              <a:gd name="connsiteX2822" fmla="*/ 3499589 w 9922465"/>
              <a:gd name="connsiteY2822" fmla="*/ 604829 h 1934496"/>
              <a:gd name="connsiteX2823" fmla="*/ 3444397 w 9922465"/>
              <a:gd name="connsiteY2823" fmla="*/ 549638 h 1934496"/>
              <a:gd name="connsiteX2824" fmla="*/ 3499589 w 9922465"/>
              <a:gd name="connsiteY2824" fmla="*/ 494447 h 1934496"/>
              <a:gd name="connsiteX2825" fmla="*/ 3369292 w 9922465"/>
              <a:gd name="connsiteY2825" fmla="*/ 494447 h 1934496"/>
              <a:gd name="connsiteX2826" fmla="*/ 3424484 w 9922465"/>
              <a:gd name="connsiteY2826" fmla="*/ 549638 h 1934496"/>
              <a:gd name="connsiteX2827" fmla="*/ 3369292 w 9922465"/>
              <a:gd name="connsiteY2827" fmla="*/ 604829 h 1934496"/>
              <a:gd name="connsiteX2828" fmla="*/ 3314100 w 9922465"/>
              <a:gd name="connsiteY2828" fmla="*/ 549638 h 1934496"/>
              <a:gd name="connsiteX2829" fmla="*/ 3369292 w 9922465"/>
              <a:gd name="connsiteY2829" fmla="*/ 494447 h 1934496"/>
              <a:gd name="connsiteX2830" fmla="*/ 3235657 w 9922465"/>
              <a:gd name="connsiteY2830" fmla="*/ 494447 h 1934496"/>
              <a:gd name="connsiteX2831" fmla="*/ 3290849 w 9922465"/>
              <a:gd name="connsiteY2831" fmla="*/ 549638 h 1934496"/>
              <a:gd name="connsiteX2832" fmla="*/ 3235657 w 9922465"/>
              <a:gd name="connsiteY2832" fmla="*/ 604829 h 1934496"/>
              <a:gd name="connsiteX2833" fmla="*/ 3180465 w 9922465"/>
              <a:gd name="connsiteY2833" fmla="*/ 549638 h 1934496"/>
              <a:gd name="connsiteX2834" fmla="*/ 3235657 w 9922465"/>
              <a:gd name="connsiteY2834" fmla="*/ 494447 h 1934496"/>
              <a:gd name="connsiteX2835" fmla="*/ 2437297 w 9922465"/>
              <a:gd name="connsiteY2835" fmla="*/ 494447 h 1934496"/>
              <a:gd name="connsiteX2836" fmla="*/ 2492487 w 9922465"/>
              <a:gd name="connsiteY2836" fmla="*/ 549638 h 1934496"/>
              <a:gd name="connsiteX2837" fmla="*/ 2437297 w 9922465"/>
              <a:gd name="connsiteY2837" fmla="*/ 604829 h 1934496"/>
              <a:gd name="connsiteX2838" fmla="*/ 2382108 w 9922465"/>
              <a:gd name="connsiteY2838" fmla="*/ 549638 h 1934496"/>
              <a:gd name="connsiteX2839" fmla="*/ 2437297 w 9922465"/>
              <a:gd name="connsiteY2839" fmla="*/ 494447 h 1934496"/>
              <a:gd name="connsiteX2840" fmla="*/ 2303664 w 9922465"/>
              <a:gd name="connsiteY2840" fmla="*/ 494447 h 1934496"/>
              <a:gd name="connsiteX2841" fmla="*/ 2358856 w 9922465"/>
              <a:gd name="connsiteY2841" fmla="*/ 549638 h 1934496"/>
              <a:gd name="connsiteX2842" fmla="*/ 2303664 w 9922465"/>
              <a:gd name="connsiteY2842" fmla="*/ 604829 h 1934496"/>
              <a:gd name="connsiteX2843" fmla="*/ 2248473 w 9922465"/>
              <a:gd name="connsiteY2843" fmla="*/ 549638 h 1934496"/>
              <a:gd name="connsiteX2844" fmla="*/ 2303664 w 9922465"/>
              <a:gd name="connsiteY2844" fmla="*/ 494447 h 1934496"/>
              <a:gd name="connsiteX2845" fmla="*/ 2173372 w 9922465"/>
              <a:gd name="connsiteY2845" fmla="*/ 494447 h 1934496"/>
              <a:gd name="connsiteX2846" fmla="*/ 2228565 w 9922465"/>
              <a:gd name="connsiteY2846" fmla="*/ 549638 h 1934496"/>
              <a:gd name="connsiteX2847" fmla="*/ 2173372 w 9922465"/>
              <a:gd name="connsiteY2847" fmla="*/ 604829 h 1934496"/>
              <a:gd name="connsiteX2848" fmla="*/ 2118180 w 9922465"/>
              <a:gd name="connsiteY2848" fmla="*/ 549638 h 1934496"/>
              <a:gd name="connsiteX2849" fmla="*/ 2173372 w 9922465"/>
              <a:gd name="connsiteY2849" fmla="*/ 494447 h 1934496"/>
              <a:gd name="connsiteX2850" fmla="*/ 2039736 w 9922465"/>
              <a:gd name="connsiteY2850" fmla="*/ 494447 h 1934496"/>
              <a:gd name="connsiteX2851" fmla="*/ 2094930 w 9922465"/>
              <a:gd name="connsiteY2851" fmla="*/ 549638 h 1934496"/>
              <a:gd name="connsiteX2852" fmla="*/ 2039736 w 9922465"/>
              <a:gd name="connsiteY2852" fmla="*/ 604829 h 1934496"/>
              <a:gd name="connsiteX2853" fmla="*/ 1984543 w 9922465"/>
              <a:gd name="connsiteY2853" fmla="*/ 549638 h 1934496"/>
              <a:gd name="connsiteX2854" fmla="*/ 2039736 w 9922465"/>
              <a:gd name="connsiteY2854" fmla="*/ 494447 h 1934496"/>
              <a:gd name="connsiteX2855" fmla="*/ 1909437 w 9922465"/>
              <a:gd name="connsiteY2855" fmla="*/ 494447 h 1934496"/>
              <a:gd name="connsiteX2856" fmla="*/ 1964630 w 9922465"/>
              <a:gd name="connsiteY2856" fmla="*/ 549638 h 1934496"/>
              <a:gd name="connsiteX2857" fmla="*/ 1909437 w 9922465"/>
              <a:gd name="connsiteY2857" fmla="*/ 604829 h 1934496"/>
              <a:gd name="connsiteX2858" fmla="*/ 1854244 w 9922465"/>
              <a:gd name="connsiteY2858" fmla="*/ 549638 h 1934496"/>
              <a:gd name="connsiteX2859" fmla="*/ 1909437 w 9922465"/>
              <a:gd name="connsiteY2859" fmla="*/ 494447 h 1934496"/>
              <a:gd name="connsiteX2860" fmla="*/ 1779142 w 9922465"/>
              <a:gd name="connsiteY2860" fmla="*/ 494447 h 1934496"/>
              <a:gd name="connsiteX2861" fmla="*/ 1834335 w 9922465"/>
              <a:gd name="connsiteY2861" fmla="*/ 549638 h 1934496"/>
              <a:gd name="connsiteX2862" fmla="*/ 1779142 w 9922465"/>
              <a:gd name="connsiteY2862" fmla="*/ 604829 h 1934496"/>
              <a:gd name="connsiteX2863" fmla="*/ 1723950 w 9922465"/>
              <a:gd name="connsiteY2863" fmla="*/ 549638 h 1934496"/>
              <a:gd name="connsiteX2864" fmla="*/ 1779142 w 9922465"/>
              <a:gd name="connsiteY2864" fmla="*/ 494447 h 1934496"/>
              <a:gd name="connsiteX2865" fmla="*/ 1645508 w 9922465"/>
              <a:gd name="connsiteY2865" fmla="*/ 494447 h 1934496"/>
              <a:gd name="connsiteX2866" fmla="*/ 1700702 w 9922465"/>
              <a:gd name="connsiteY2866" fmla="*/ 549638 h 1934496"/>
              <a:gd name="connsiteX2867" fmla="*/ 1645508 w 9922465"/>
              <a:gd name="connsiteY2867" fmla="*/ 604829 h 1934496"/>
              <a:gd name="connsiteX2868" fmla="*/ 1590311 w 9922465"/>
              <a:gd name="connsiteY2868" fmla="*/ 549638 h 1934496"/>
              <a:gd name="connsiteX2869" fmla="*/ 1645508 w 9922465"/>
              <a:gd name="connsiteY2869" fmla="*/ 494447 h 1934496"/>
              <a:gd name="connsiteX2870" fmla="*/ 1515217 w 9922465"/>
              <a:gd name="connsiteY2870" fmla="*/ 494447 h 1934496"/>
              <a:gd name="connsiteX2871" fmla="*/ 1570402 w 9922465"/>
              <a:gd name="connsiteY2871" fmla="*/ 549638 h 1934496"/>
              <a:gd name="connsiteX2872" fmla="*/ 1515217 w 9922465"/>
              <a:gd name="connsiteY2872" fmla="*/ 604829 h 1934496"/>
              <a:gd name="connsiteX2873" fmla="*/ 1460020 w 9922465"/>
              <a:gd name="connsiteY2873" fmla="*/ 549638 h 1934496"/>
              <a:gd name="connsiteX2874" fmla="*/ 1515217 w 9922465"/>
              <a:gd name="connsiteY2874" fmla="*/ 494447 h 1934496"/>
              <a:gd name="connsiteX2875" fmla="*/ 1381573 w 9922465"/>
              <a:gd name="connsiteY2875" fmla="*/ 494447 h 1934496"/>
              <a:gd name="connsiteX2876" fmla="*/ 1436767 w 9922465"/>
              <a:gd name="connsiteY2876" fmla="*/ 549638 h 1934496"/>
              <a:gd name="connsiteX2877" fmla="*/ 1381573 w 9922465"/>
              <a:gd name="connsiteY2877" fmla="*/ 604829 h 1934496"/>
              <a:gd name="connsiteX2878" fmla="*/ 1326384 w 9922465"/>
              <a:gd name="connsiteY2878" fmla="*/ 549638 h 1934496"/>
              <a:gd name="connsiteX2879" fmla="*/ 1381573 w 9922465"/>
              <a:gd name="connsiteY2879" fmla="*/ 494447 h 1934496"/>
              <a:gd name="connsiteX2880" fmla="*/ 1251282 w 9922465"/>
              <a:gd name="connsiteY2880" fmla="*/ 494447 h 1934496"/>
              <a:gd name="connsiteX2881" fmla="*/ 1306476 w 9922465"/>
              <a:gd name="connsiteY2881" fmla="*/ 549638 h 1934496"/>
              <a:gd name="connsiteX2882" fmla="*/ 1251282 w 9922465"/>
              <a:gd name="connsiteY2882" fmla="*/ 604829 h 1934496"/>
              <a:gd name="connsiteX2883" fmla="*/ 1196089 w 9922465"/>
              <a:gd name="connsiteY2883" fmla="*/ 549638 h 1934496"/>
              <a:gd name="connsiteX2884" fmla="*/ 1251282 w 9922465"/>
              <a:gd name="connsiteY2884" fmla="*/ 494447 h 1934496"/>
              <a:gd name="connsiteX2885" fmla="*/ 8801538 w 9922465"/>
              <a:gd name="connsiteY2885" fmla="*/ 364154 h 1934496"/>
              <a:gd name="connsiteX2886" fmla="*/ 8856730 w 9922465"/>
              <a:gd name="connsiteY2886" fmla="*/ 419345 h 1934496"/>
              <a:gd name="connsiteX2887" fmla="*/ 8801538 w 9922465"/>
              <a:gd name="connsiteY2887" fmla="*/ 474536 h 1934496"/>
              <a:gd name="connsiteX2888" fmla="*/ 8746346 w 9922465"/>
              <a:gd name="connsiteY2888" fmla="*/ 419345 h 1934496"/>
              <a:gd name="connsiteX2889" fmla="*/ 8801538 w 9922465"/>
              <a:gd name="connsiteY2889" fmla="*/ 364154 h 1934496"/>
              <a:gd name="connsiteX2890" fmla="*/ 8671244 w 9922465"/>
              <a:gd name="connsiteY2890" fmla="*/ 364154 h 1934496"/>
              <a:gd name="connsiteX2891" fmla="*/ 8726436 w 9922465"/>
              <a:gd name="connsiteY2891" fmla="*/ 419345 h 1934496"/>
              <a:gd name="connsiteX2892" fmla="*/ 8671244 w 9922465"/>
              <a:gd name="connsiteY2892" fmla="*/ 474536 h 1934496"/>
              <a:gd name="connsiteX2893" fmla="*/ 8616052 w 9922465"/>
              <a:gd name="connsiteY2893" fmla="*/ 419345 h 1934496"/>
              <a:gd name="connsiteX2894" fmla="*/ 8671244 w 9922465"/>
              <a:gd name="connsiteY2894" fmla="*/ 364154 h 1934496"/>
              <a:gd name="connsiteX2895" fmla="*/ 8537609 w 9922465"/>
              <a:gd name="connsiteY2895" fmla="*/ 364154 h 1934496"/>
              <a:gd name="connsiteX2896" fmla="*/ 8592801 w 9922465"/>
              <a:gd name="connsiteY2896" fmla="*/ 419345 h 1934496"/>
              <a:gd name="connsiteX2897" fmla="*/ 8537609 w 9922465"/>
              <a:gd name="connsiteY2897" fmla="*/ 474536 h 1934496"/>
              <a:gd name="connsiteX2898" fmla="*/ 8482417 w 9922465"/>
              <a:gd name="connsiteY2898" fmla="*/ 419345 h 1934496"/>
              <a:gd name="connsiteX2899" fmla="*/ 8537609 w 9922465"/>
              <a:gd name="connsiteY2899" fmla="*/ 364154 h 1934496"/>
              <a:gd name="connsiteX2900" fmla="*/ 7745824 w 9922465"/>
              <a:gd name="connsiteY2900" fmla="*/ 364154 h 1934496"/>
              <a:gd name="connsiteX2901" fmla="*/ 7801016 w 9922465"/>
              <a:gd name="connsiteY2901" fmla="*/ 419345 h 1934496"/>
              <a:gd name="connsiteX2902" fmla="*/ 7745824 w 9922465"/>
              <a:gd name="connsiteY2902" fmla="*/ 474536 h 1934496"/>
              <a:gd name="connsiteX2903" fmla="*/ 7690632 w 9922465"/>
              <a:gd name="connsiteY2903" fmla="*/ 419345 h 1934496"/>
              <a:gd name="connsiteX2904" fmla="*/ 7745824 w 9922465"/>
              <a:gd name="connsiteY2904" fmla="*/ 364154 h 1934496"/>
              <a:gd name="connsiteX2905" fmla="*/ 7608850 w 9922465"/>
              <a:gd name="connsiteY2905" fmla="*/ 364154 h 1934496"/>
              <a:gd name="connsiteX2906" fmla="*/ 7664042 w 9922465"/>
              <a:gd name="connsiteY2906" fmla="*/ 419345 h 1934496"/>
              <a:gd name="connsiteX2907" fmla="*/ 7608850 w 9922465"/>
              <a:gd name="connsiteY2907" fmla="*/ 474536 h 1934496"/>
              <a:gd name="connsiteX2908" fmla="*/ 7553658 w 9922465"/>
              <a:gd name="connsiteY2908" fmla="*/ 419345 h 1934496"/>
              <a:gd name="connsiteX2909" fmla="*/ 7608850 w 9922465"/>
              <a:gd name="connsiteY2909" fmla="*/ 364154 h 1934496"/>
              <a:gd name="connsiteX2910" fmla="*/ 7481895 w 9922465"/>
              <a:gd name="connsiteY2910" fmla="*/ 364154 h 1934496"/>
              <a:gd name="connsiteX2911" fmla="*/ 7537087 w 9922465"/>
              <a:gd name="connsiteY2911" fmla="*/ 419345 h 1934496"/>
              <a:gd name="connsiteX2912" fmla="*/ 7481895 w 9922465"/>
              <a:gd name="connsiteY2912" fmla="*/ 474536 h 1934496"/>
              <a:gd name="connsiteX2913" fmla="*/ 7426703 w 9922465"/>
              <a:gd name="connsiteY2913" fmla="*/ 419345 h 1934496"/>
              <a:gd name="connsiteX2914" fmla="*/ 7481895 w 9922465"/>
              <a:gd name="connsiteY2914" fmla="*/ 364154 h 1934496"/>
              <a:gd name="connsiteX2915" fmla="*/ 7341580 w 9922465"/>
              <a:gd name="connsiteY2915" fmla="*/ 364154 h 1934496"/>
              <a:gd name="connsiteX2916" fmla="*/ 7396772 w 9922465"/>
              <a:gd name="connsiteY2916" fmla="*/ 419345 h 1934496"/>
              <a:gd name="connsiteX2917" fmla="*/ 7341580 w 9922465"/>
              <a:gd name="connsiteY2917" fmla="*/ 474536 h 1934496"/>
              <a:gd name="connsiteX2918" fmla="*/ 7286388 w 9922465"/>
              <a:gd name="connsiteY2918" fmla="*/ 419345 h 1934496"/>
              <a:gd name="connsiteX2919" fmla="*/ 7341580 w 9922465"/>
              <a:gd name="connsiteY2919" fmla="*/ 364154 h 1934496"/>
              <a:gd name="connsiteX2920" fmla="*/ 6553137 w 9922465"/>
              <a:gd name="connsiteY2920" fmla="*/ 364154 h 1934496"/>
              <a:gd name="connsiteX2921" fmla="*/ 6608329 w 9922465"/>
              <a:gd name="connsiteY2921" fmla="*/ 419345 h 1934496"/>
              <a:gd name="connsiteX2922" fmla="*/ 6553137 w 9922465"/>
              <a:gd name="connsiteY2922" fmla="*/ 474536 h 1934496"/>
              <a:gd name="connsiteX2923" fmla="*/ 6497945 w 9922465"/>
              <a:gd name="connsiteY2923" fmla="*/ 419345 h 1934496"/>
              <a:gd name="connsiteX2924" fmla="*/ 6553137 w 9922465"/>
              <a:gd name="connsiteY2924" fmla="*/ 364154 h 1934496"/>
              <a:gd name="connsiteX2925" fmla="*/ 6419503 w 9922465"/>
              <a:gd name="connsiteY2925" fmla="*/ 364154 h 1934496"/>
              <a:gd name="connsiteX2926" fmla="*/ 6474695 w 9922465"/>
              <a:gd name="connsiteY2926" fmla="*/ 419345 h 1934496"/>
              <a:gd name="connsiteX2927" fmla="*/ 6419503 w 9922465"/>
              <a:gd name="connsiteY2927" fmla="*/ 474536 h 1934496"/>
              <a:gd name="connsiteX2928" fmla="*/ 6364311 w 9922465"/>
              <a:gd name="connsiteY2928" fmla="*/ 419345 h 1934496"/>
              <a:gd name="connsiteX2929" fmla="*/ 6419503 w 9922465"/>
              <a:gd name="connsiteY2929" fmla="*/ 364154 h 1934496"/>
              <a:gd name="connsiteX2930" fmla="*/ 4030786 w 9922465"/>
              <a:gd name="connsiteY2930" fmla="*/ 364154 h 1934496"/>
              <a:gd name="connsiteX2931" fmla="*/ 4085978 w 9922465"/>
              <a:gd name="connsiteY2931" fmla="*/ 419345 h 1934496"/>
              <a:gd name="connsiteX2932" fmla="*/ 4030786 w 9922465"/>
              <a:gd name="connsiteY2932" fmla="*/ 474536 h 1934496"/>
              <a:gd name="connsiteX2933" fmla="*/ 3975594 w 9922465"/>
              <a:gd name="connsiteY2933" fmla="*/ 419345 h 1934496"/>
              <a:gd name="connsiteX2934" fmla="*/ 4030786 w 9922465"/>
              <a:gd name="connsiteY2934" fmla="*/ 364154 h 1934496"/>
              <a:gd name="connsiteX2935" fmla="*/ 3897148 w 9922465"/>
              <a:gd name="connsiteY2935" fmla="*/ 364154 h 1934496"/>
              <a:gd name="connsiteX2936" fmla="*/ 3952340 w 9922465"/>
              <a:gd name="connsiteY2936" fmla="*/ 419345 h 1934496"/>
              <a:gd name="connsiteX2937" fmla="*/ 3897148 w 9922465"/>
              <a:gd name="connsiteY2937" fmla="*/ 474536 h 1934496"/>
              <a:gd name="connsiteX2938" fmla="*/ 3841956 w 9922465"/>
              <a:gd name="connsiteY2938" fmla="*/ 419345 h 1934496"/>
              <a:gd name="connsiteX2939" fmla="*/ 3897148 w 9922465"/>
              <a:gd name="connsiteY2939" fmla="*/ 364154 h 1934496"/>
              <a:gd name="connsiteX2940" fmla="*/ 3763514 w 9922465"/>
              <a:gd name="connsiteY2940" fmla="*/ 364154 h 1934496"/>
              <a:gd name="connsiteX2941" fmla="*/ 3818706 w 9922465"/>
              <a:gd name="connsiteY2941" fmla="*/ 419345 h 1934496"/>
              <a:gd name="connsiteX2942" fmla="*/ 3763514 w 9922465"/>
              <a:gd name="connsiteY2942" fmla="*/ 474536 h 1934496"/>
              <a:gd name="connsiteX2943" fmla="*/ 3708322 w 9922465"/>
              <a:gd name="connsiteY2943" fmla="*/ 419345 h 1934496"/>
              <a:gd name="connsiteX2944" fmla="*/ 3763514 w 9922465"/>
              <a:gd name="connsiteY2944" fmla="*/ 364154 h 1934496"/>
              <a:gd name="connsiteX2945" fmla="*/ 3633221 w 9922465"/>
              <a:gd name="connsiteY2945" fmla="*/ 364154 h 1934496"/>
              <a:gd name="connsiteX2946" fmla="*/ 3688413 w 9922465"/>
              <a:gd name="connsiteY2946" fmla="*/ 419345 h 1934496"/>
              <a:gd name="connsiteX2947" fmla="*/ 3633221 w 9922465"/>
              <a:gd name="connsiteY2947" fmla="*/ 474536 h 1934496"/>
              <a:gd name="connsiteX2948" fmla="*/ 3578029 w 9922465"/>
              <a:gd name="connsiteY2948" fmla="*/ 419345 h 1934496"/>
              <a:gd name="connsiteX2949" fmla="*/ 3633221 w 9922465"/>
              <a:gd name="connsiteY2949" fmla="*/ 364154 h 1934496"/>
              <a:gd name="connsiteX2950" fmla="*/ 3499589 w 9922465"/>
              <a:gd name="connsiteY2950" fmla="*/ 364154 h 1934496"/>
              <a:gd name="connsiteX2951" fmla="*/ 3554781 w 9922465"/>
              <a:gd name="connsiteY2951" fmla="*/ 419345 h 1934496"/>
              <a:gd name="connsiteX2952" fmla="*/ 3499589 w 9922465"/>
              <a:gd name="connsiteY2952" fmla="*/ 474536 h 1934496"/>
              <a:gd name="connsiteX2953" fmla="*/ 3444397 w 9922465"/>
              <a:gd name="connsiteY2953" fmla="*/ 419345 h 1934496"/>
              <a:gd name="connsiteX2954" fmla="*/ 3499589 w 9922465"/>
              <a:gd name="connsiteY2954" fmla="*/ 364154 h 1934496"/>
              <a:gd name="connsiteX2955" fmla="*/ 3369292 w 9922465"/>
              <a:gd name="connsiteY2955" fmla="*/ 364154 h 1934496"/>
              <a:gd name="connsiteX2956" fmla="*/ 3424484 w 9922465"/>
              <a:gd name="connsiteY2956" fmla="*/ 419345 h 1934496"/>
              <a:gd name="connsiteX2957" fmla="*/ 3369292 w 9922465"/>
              <a:gd name="connsiteY2957" fmla="*/ 474536 h 1934496"/>
              <a:gd name="connsiteX2958" fmla="*/ 3314100 w 9922465"/>
              <a:gd name="connsiteY2958" fmla="*/ 419345 h 1934496"/>
              <a:gd name="connsiteX2959" fmla="*/ 3369292 w 9922465"/>
              <a:gd name="connsiteY2959" fmla="*/ 364154 h 1934496"/>
              <a:gd name="connsiteX2960" fmla="*/ 3235657 w 9922465"/>
              <a:gd name="connsiteY2960" fmla="*/ 364154 h 1934496"/>
              <a:gd name="connsiteX2961" fmla="*/ 3290849 w 9922465"/>
              <a:gd name="connsiteY2961" fmla="*/ 419345 h 1934496"/>
              <a:gd name="connsiteX2962" fmla="*/ 3235657 w 9922465"/>
              <a:gd name="connsiteY2962" fmla="*/ 474536 h 1934496"/>
              <a:gd name="connsiteX2963" fmla="*/ 3180465 w 9922465"/>
              <a:gd name="connsiteY2963" fmla="*/ 419345 h 1934496"/>
              <a:gd name="connsiteX2964" fmla="*/ 3235657 w 9922465"/>
              <a:gd name="connsiteY2964" fmla="*/ 364154 h 1934496"/>
              <a:gd name="connsiteX2965" fmla="*/ 3098681 w 9922465"/>
              <a:gd name="connsiteY2965" fmla="*/ 364154 h 1934496"/>
              <a:gd name="connsiteX2966" fmla="*/ 3153873 w 9922465"/>
              <a:gd name="connsiteY2966" fmla="*/ 419345 h 1934496"/>
              <a:gd name="connsiteX2967" fmla="*/ 3098681 w 9922465"/>
              <a:gd name="connsiteY2967" fmla="*/ 474536 h 1934496"/>
              <a:gd name="connsiteX2968" fmla="*/ 3043489 w 9922465"/>
              <a:gd name="connsiteY2968" fmla="*/ 419345 h 1934496"/>
              <a:gd name="connsiteX2969" fmla="*/ 3098681 w 9922465"/>
              <a:gd name="connsiteY2969" fmla="*/ 364154 h 1934496"/>
              <a:gd name="connsiteX2970" fmla="*/ 2971729 w 9922465"/>
              <a:gd name="connsiteY2970" fmla="*/ 364154 h 1934496"/>
              <a:gd name="connsiteX2971" fmla="*/ 3026921 w 9922465"/>
              <a:gd name="connsiteY2971" fmla="*/ 419345 h 1934496"/>
              <a:gd name="connsiteX2972" fmla="*/ 2971729 w 9922465"/>
              <a:gd name="connsiteY2972" fmla="*/ 474536 h 1934496"/>
              <a:gd name="connsiteX2973" fmla="*/ 2916537 w 9922465"/>
              <a:gd name="connsiteY2973" fmla="*/ 419345 h 1934496"/>
              <a:gd name="connsiteX2974" fmla="*/ 2971729 w 9922465"/>
              <a:gd name="connsiteY2974" fmla="*/ 364154 h 1934496"/>
              <a:gd name="connsiteX2975" fmla="*/ 2834862 w 9922465"/>
              <a:gd name="connsiteY2975" fmla="*/ 364154 h 1934496"/>
              <a:gd name="connsiteX2976" fmla="*/ 2890052 w 9922465"/>
              <a:gd name="connsiteY2976" fmla="*/ 419345 h 1934496"/>
              <a:gd name="connsiteX2977" fmla="*/ 2834862 w 9922465"/>
              <a:gd name="connsiteY2977" fmla="*/ 474536 h 1934496"/>
              <a:gd name="connsiteX2978" fmla="*/ 2779671 w 9922465"/>
              <a:gd name="connsiteY2978" fmla="*/ 419345 h 1934496"/>
              <a:gd name="connsiteX2979" fmla="*/ 2834862 w 9922465"/>
              <a:gd name="connsiteY2979" fmla="*/ 364154 h 1934496"/>
              <a:gd name="connsiteX2980" fmla="*/ 2437297 w 9922465"/>
              <a:gd name="connsiteY2980" fmla="*/ 364154 h 1934496"/>
              <a:gd name="connsiteX2981" fmla="*/ 2492487 w 9922465"/>
              <a:gd name="connsiteY2981" fmla="*/ 419345 h 1934496"/>
              <a:gd name="connsiteX2982" fmla="*/ 2437297 w 9922465"/>
              <a:gd name="connsiteY2982" fmla="*/ 474536 h 1934496"/>
              <a:gd name="connsiteX2983" fmla="*/ 2382108 w 9922465"/>
              <a:gd name="connsiteY2983" fmla="*/ 419345 h 1934496"/>
              <a:gd name="connsiteX2984" fmla="*/ 2437297 w 9922465"/>
              <a:gd name="connsiteY2984" fmla="*/ 364154 h 1934496"/>
              <a:gd name="connsiteX2985" fmla="*/ 2303664 w 9922465"/>
              <a:gd name="connsiteY2985" fmla="*/ 364154 h 1934496"/>
              <a:gd name="connsiteX2986" fmla="*/ 2358856 w 9922465"/>
              <a:gd name="connsiteY2986" fmla="*/ 419345 h 1934496"/>
              <a:gd name="connsiteX2987" fmla="*/ 2303664 w 9922465"/>
              <a:gd name="connsiteY2987" fmla="*/ 474536 h 1934496"/>
              <a:gd name="connsiteX2988" fmla="*/ 2248473 w 9922465"/>
              <a:gd name="connsiteY2988" fmla="*/ 419345 h 1934496"/>
              <a:gd name="connsiteX2989" fmla="*/ 2303664 w 9922465"/>
              <a:gd name="connsiteY2989" fmla="*/ 364154 h 1934496"/>
              <a:gd name="connsiteX2990" fmla="*/ 2173372 w 9922465"/>
              <a:gd name="connsiteY2990" fmla="*/ 364154 h 1934496"/>
              <a:gd name="connsiteX2991" fmla="*/ 2228565 w 9922465"/>
              <a:gd name="connsiteY2991" fmla="*/ 419345 h 1934496"/>
              <a:gd name="connsiteX2992" fmla="*/ 2173372 w 9922465"/>
              <a:gd name="connsiteY2992" fmla="*/ 474536 h 1934496"/>
              <a:gd name="connsiteX2993" fmla="*/ 2118180 w 9922465"/>
              <a:gd name="connsiteY2993" fmla="*/ 419345 h 1934496"/>
              <a:gd name="connsiteX2994" fmla="*/ 2173372 w 9922465"/>
              <a:gd name="connsiteY2994" fmla="*/ 364154 h 1934496"/>
              <a:gd name="connsiteX2995" fmla="*/ 2039736 w 9922465"/>
              <a:gd name="connsiteY2995" fmla="*/ 364154 h 1934496"/>
              <a:gd name="connsiteX2996" fmla="*/ 2094930 w 9922465"/>
              <a:gd name="connsiteY2996" fmla="*/ 419345 h 1934496"/>
              <a:gd name="connsiteX2997" fmla="*/ 2039736 w 9922465"/>
              <a:gd name="connsiteY2997" fmla="*/ 474536 h 1934496"/>
              <a:gd name="connsiteX2998" fmla="*/ 1984543 w 9922465"/>
              <a:gd name="connsiteY2998" fmla="*/ 419345 h 1934496"/>
              <a:gd name="connsiteX2999" fmla="*/ 2039736 w 9922465"/>
              <a:gd name="connsiteY2999" fmla="*/ 364154 h 1934496"/>
              <a:gd name="connsiteX3000" fmla="*/ 1909440 w 9922465"/>
              <a:gd name="connsiteY3000" fmla="*/ 364154 h 1934496"/>
              <a:gd name="connsiteX3001" fmla="*/ 1964634 w 9922465"/>
              <a:gd name="connsiteY3001" fmla="*/ 419345 h 1934496"/>
              <a:gd name="connsiteX3002" fmla="*/ 1909440 w 9922465"/>
              <a:gd name="connsiteY3002" fmla="*/ 474536 h 1934496"/>
              <a:gd name="connsiteX3003" fmla="*/ 1854246 w 9922465"/>
              <a:gd name="connsiteY3003" fmla="*/ 419345 h 1934496"/>
              <a:gd name="connsiteX3004" fmla="*/ 1909440 w 9922465"/>
              <a:gd name="connsiteY3004" fmla="*/ 364154 h 1934496"/>
              <a:gd name="connsiteX3005" fmla="*/ 1779142 w 9922465"/>
              <a:gd name="connsiteY3005" fmla="*/ 364154 h 1934496"/>
              <a:gd name="connsiteX3006" fmla="*/ 1834337 w 9922465"/>
              <a:gd name="connsiteY3006" fmla="*/ 419345 h 1934496"/>
              <a:gd name="connsiteX3007" fmla="*/ 1779142 w 9922465"/>
              <a:gd name="connsiteY3007" fmla="*/ 474536 h 1934496"/>
              <a:gd name="connsiteX3008" fmla="*/ 1723951 w 9922465"/>
              <a:gd name="connsiteY3008" fmla="*/ 419345 h 1934496"/>
              <a:gd name="connsiteX3009" fmla="*/ 1779142 w 9922465"/>
              <a:gd name="connsiteY3009" fmla="*/ 364154 h 1934496"/>
              <a:gd name="connsiteX3010" fmla="*/ 1645508 w 9922465"/>
              <a:gd name="connsiteY3010" fmla="*/ 364154 h 1934496"/>
              <a:gd name="connsiteX3011" fmla="*/ 1700702 w 9922465"/>
              <a:gd name="connsiteY3011" fmla="*/ 419345 h 1934496"/>
              <a:gd name="connsiteX3012" fmla="*/ 1645508 w 9922465"/>
              <a:gd name="connsiteY3012" fmla="*/ 474536 h 1934496"/>
              <a:gd name="connsiteX3013" fmla="*/ 1590313 w 9922465"/>
              <a:gd name="connsiteY3013" fmla="*/ 419345 h 1934496"/>
              <a:gd name="connsiteX3014" fmla="*/ 1645508 w 9922465"/>
              <a:gd name="connsiteY3014" fmla="*/ 364154 h 1934496"/>
              <a:gd name="connsiteX3015" fmla="*/ 1515217 w 9922465"/>
              <a:gd name="connsiteY3015" fmla="*/ 364154 h 1934496"/>
              <a:gd name="connsiteX3016" fmla="*/ 1570405 w 9922465"/>
              <a:gd name="connsiteY3016" fmla="*/ 419345 h 1934496"/>
              <a:gd name="connsiteX3017" fmla="*/ 1515217 w 9922465"/>
              <a:gd name="connsiteY3017" fmla="*/ 474536 h 1934496"/>
              <a:gd name="connsiteX3018" fmla="*/ 1460020 w 9922465"/>
              <a:gd name="connsiteY3018" fmla="*/ 419345 h 1934496"/>
              <a:gd name="connsiteX3019" fmla="*/ 1515217 w 9922465"/>
              <a:gd name="connsiteY3019" fmla="*/ 364154 h 1934496"/>
              <a:gd name="connsiteX3020" fmla="*/ 1381573 w 9922465"/>
              <a:gd name="connsiteY3020" fmla="*/ 364154 h 1934496"/>
              <a:gd name="connsiteX3021" fmla="*/ 1436767 w 9922465"/>
              <a:gd name="connsiteY3021" fmla="*/ 419345 h 1934496"/>
              <a:gd name="connsiteX3022" fmla="*/ 1381573 w 9922465"/>
              <a:gd name="connsiteY3022" fmla="*/ 474536 h 1934496"/>
              <a:gd name="connsiteX3023" fmla="*/ 1326384 w 9922465"/>
              <a:gd name="connsiteY3023" fmla="*/ 419345 h 1934496"/>
              <a:gd name="connsiteX3024" fmla="*/ 1381573 w 9922465"/>
              <a:gd name="connsiteY3024" fmla="*/ 364154 h 1934496"/>
              <a:gd name="connsiteX3025" fmla="*/ 1251283 w 9922465"/>
              <a:gd name="connsiteY3025" fmla="*/ 364154 h 1934496"/>
              <a:gd name="connsiteX3026" fmla="*/ 1306476 w 9922465"/>
              <a:gd name="connsiteY3026" fmla="*/ 419345 h 1934496"/>
              <a:gd name="connsiteX3027" fmla="*/ 1251283 w 9922465"/>
              <a:gd name="connsiteY3027" fmla="*/ 474536 h 1934496"/>
              <a:gd name="connsiteX3028" fmla="*/ 1196091 w 9922465"/>
              <a:gd name="connsiteY3028" fmla="*/ 419345 h 1934496"/>
              <a:gd name="connsiteX3029" fmla="*/ 1251283 w 9922465"/>
              <a:gd name="connsiteY3029" fmla="*/ 364154 h 1934496"/>
              <a:gd name="connsiteX3030" fmla="*/ 7608850 w 9922465"/>
              <a:gd name="connsiteY3030" fmla="*/ 247225 h 1934496"/>
              <a:gd name="connsiteX3031" fmla="*/ 7664042 w 9922465"/>
              <a:gd name="connsiteY3031" fmla="*/ 302416 h 1934496"/>
              <a:gd name="connsiteX3032" fmla="*/ 7608850 w 9922465"/>
              <a:gd name="connsiteY3032" fmla="*/ 357607 h 1934496"/>
              <a:gd name="connsiteX3033" fmla="*/ 7553658 w 9922465"/>
              <a:gd name="connsiteY3033" fmla="*/ 302416 h 1934496"/>
              <a:gd name="connsiteX3034" fmla="*/ 7608850 w 9922465"/>
              <a:gd name="connsiteY3034" fmla="*/ 247225 h 1934496"/>
              <a:gd name="connsiteX3035" fmla="*/ 7481898 w 9922465"/>
              <a:gd name="connsiteY3035" fmla="*/ 247225 h 1934496"/>
              <a:gd name="connsiteX3036" fmla="*/ 7537090 w 9922465"/>
              <a:gd name="connsiteY3036" fmla="*/ 302416 h 1934496"/>
              <a:gd name="connsiteX3037" fmla="*/ 7481898 w 9922465"/>
              <a:gd name="connsiteY3037" fmla="*/ 357607 h 1934496"/>
              <a:gd name="connsiteX3038" fmla="*/ 7426706 w 9922465"/>
              <a:gd name="connsiteY3038" fmla="*/ 302416 h 1934496"/>
              <a:gd name="connsiteX3039" fmla="*/ 7481898 w 9922465"/>
              <a:gd name="connsiteY3039" fmla="*/ 247225 h 1934496"/>
              <a:gd name="connsiteX3040" fmla="*/ 5093178 w 9922465"/>
              <a:gd name="connsiteY3040" fmla="*/ 247225 h 1934496"/>
              <a:gd name="connsiteX3041" fmla="*/ 5148370 w 9922465"/>
              <a:gd name="connsiteY3041" fmla="*/ 302416 h 1934496"/>
              <a:gd name="connsiteX3042" fmla="*/ 5093178 w 9922465"/>
              <a:gd name="connsiteY3042" fmla="*/ 357607 h 1934496"/>
              <a:gd name="connsiteX3043" fmla="*/ 5037986 w 9922465"/>
              <a:gd name="connsiteY3043" fmla="*/ 302416 h 1934496"/>
              <a:gd name="connsiteX3044" fmla="*/ 5093178 w 9922465"/>
              <a:gd name="connsiteY3044" fmla="*/ 247225 h 1934496"/>
              <a:gd name="connsiteX3045" fmla="*/ 4030786 w 9922465"/>
              <a:gd name="connsiteY3045" fmla="*/ 247225 h 1934496"/>
              <a:gd name="connsiteX3046" fmla="*/ 4085978 w 9922465"/>
              <a:gd name="connsiteY3046" fmla="*/ 302416 h 1934496"/>
              <a:gd name="connsiteX3047" fmla="*/ 4030786 w 9922465"/>
              <a:gd name="connsiteY3047" fmla="*/ 357607 h 1934496"/>
              <a:gd name="connsiteX3048" fmla="*/ 3975594 w 9922465"/>
              <a:gd name="connsiteY3048" fmla="*/ 302416 h 1934496"/>
              <a:gd name="connsiteX3049" fmla="*/ 4030786 w 9922465"/>
              <a:gd name="connsiteY3049" fmla="*/ 247225 h 1934496"/>
              <a:gd name="connsiteX3050" fmla="*/ 3897148 w 9922465"/>
              <a:gd name="connsiteY3050" fmla="*/ 247225 h 1934496"/>
              <a:gd name="connsiteX3051" fmla="*/ 3952340 w 9922465"/>
              <a:gd name="connsiteY3051" fmla="*/ 302416 h 1934496"/>
              <a:gd name="connsiteX3052" fmla="*/ 3897148 w 9922465"/>
              <a:gd name="connsiteY3052" fmla="*/ 357607 h 1934496"/>
              <a:gd name="connsiteX3053" fmla="*/ 3841956 w 9922465"/>
              <a:gd name="connsiteY3053" fmla="*/ 302416 h 1934496"/>
              <a:gd name="connsiteX3054" fmla="*/ 3897148 w 9922465"/>
              <a:gd name="connsiteY3054" fmla="*/ 247225 h 1934496"/>
              <a:gd name="connsiteX3055" fmla="*/ 3763514 w 9922465"/>
              <a:gd name="connsiteY3055" fmla="*/ 247225 h 1934496"/>
              <a:gd name="connsiteX3056" fmla="*/ 3818706 w 9922465"/>
              <a:gd name="connsiteY3056" fmla="*/ 302416 h 1934496"/>
              <a:gd name="connsiteX3057" fmla="*/ 3763514 w 9922465"/>
              <a:gd name="connsiteY3057" fmla="*/ 357607 h 1934496"/>
              <a:gd name="connsiteX3058" fmla="*/ 3708322 w 9922465"/>
              <a:gd name="connsiteY3058" fmla="*/ 302416 h 1934496"/>
              <a:gd name="connsiteX3059" fmla="*/ 3763514 w 9922465"/>
              <a:gd name="connsiteY3059" fmla="*/ 247225 h 1934496"/>
              <a:gd name="connsiteX3060" fmla="*/ 3633221 w 9922465"/>
              <a:gd name="connsiteY3060" fmla="*/ 247225 h 1934496"/>
              <a:gd name="connsiteX3061" fmla="*/ 3688413 w 9922465"/>
              <a:gd name="connsiteY3061" fmla="*/ 302416 h 1934496"/>
              <a:gd name="connsiteX3062" fmla="*/ 3633221 w 9922465"/>
              <a:gd name="connsiteY3062" fmla="*/ 357607 h 1934496"/>
              <a:gd name="connsiteX3063" fmla="*/ 3578029 w 9922465"/>
              <a:gd name="connsiteY3063" fmla="*/ 302416 h 1934496"/>
              <a:gd name="connsiteX3064" fmla="*/ 3633221 w 9922465"/>
              <a:gd name="connsiteY3064" fmla="*/ 247225 h 1934496"/>
              <a:gd name="connsiteX3065" fmla="*/ 3499589 w 9922465"/>
              <a:gd name="connsiteY3065" fmla="*/ 247225 h 1934496"/>
              <a:gd name="connsiteX3066" fmla="*/ 3554781 w 9922465"/>
              <a:gd name="connsiteY3066" fmla="*/ 302416 h 1934496"/>
              <a:gd name="connsiteX3067" fmla="*/ 3499589 w 9922465"/>
              <a:gd name="connsiteY3067" fmla="*/ 357607 h 1934496"/>
              <a:gd name="connsiteX3068" fmla="*/ 3444397 w 9922465"/>
              <a:gd name="connsiteY3068" fmla="*/ 302416 h 1934496"/>
              <a:gd name="connsiteX3069" fmla="*/ 3499589 w 9922465"/>
              <a:gd name="connsiteY3069" fmla="*/ 247225 h 1934496"/>
              <a:gd name="connsiteX3070" fmla="*/ 3369293 w 9922465"/>
              <a:gd name="connsiteY3070" fmla="*/ 247225 h 1934496"/>
              <a:gd name="connsiteX3071" fmla="*/ 3424485 w 9922465"/>
              <a:gd name="connsiteY3071" fmla="*/ 302416 h 1934496"/>
              <a:gd name="connsiteX3072" fmla="*/ 3369293 w 9922465"/>
              <a:gd name="connsiteY3072" fmla="*/ 357607 h 1934496"/>
              <a:gd name="connsiteX3073" fmla="*/ 3314101 w 9922465"/>
              <a:gd name="connsiteY3073" fmla="*/ 302416 h 1934496"/>
              <a:gd name="connsiteX3074" fmla="*/ 3369293 w 9922465"/>
              <a:gd name="connsiteY3074" fmla="*/ 247225 h 1934496"/>
              <a:gd name="connsiteX3075" fmla="*/ 3235657 w 9922465"/>
              <a:gd name="connsiteY3075" fmla="*/ 247225 h 1934496"/>
              <a:gd name="connsiteX3076" fmla="*/ 3290849 w 9922465"/>
              <a:gd name="connsiteY3076" fmla="*/ 302416 h 1934496"/>
              <a:gd name="connsiteX3077" fmla="*/ 3235657 w 9922465"/>
              <a:gd name="connsiteY3077" fmla="*/ 357607 h 1934496"/>
              <a:gd name="connsiteX3078" fmla="*/ 3180465 w 9922465"/>
              <a:gd name="connsiteY3078" fmla="*/ 302416 h 1934496"/>
              <a:gd name="connsiteX3079" fmla="*/ 3235657 w 9922465"/>
              <a:gd name="connsiteY3079" fmla="*/ 247225 h 1934496"/>
              <a:gd name="connsiteX3080" fmla="*/ 3098682 w 9922465"/>
              <a:gd name="connsiteY3080" fmla="*/ 247225 h 1934496"/>
              <a:gd name="connsiteX3081" fmla="*/ 3153874 w 9922465"/>
              <a:gd name="connsiteY3081" fmla="*/ 302416 h 1934496"/>
              <a:gd name="connsiteX3082" fmla="*/ 3098682 w 9922465"/>
              <a:gd name="connsiteY3082" fmla="*/ 357607 h 1934496"/>
              <a:gd name="connsiteX3083" fmla="*/ 3043490 w 9922465"/>
              <a:gd name="connsiteY3083" fmla="*/ 302416 h 1934496"/>
              <a:gd name="connsiteX3084" fmla="*/ 3098682 w 9922465"/>
              <a:gd name="connsiteY3084" fmla="*/ 247225 h 1934496"/>
              <a:gd name="connsiteX3085" fmla="*/ 2971729 w 9922465"/>
              <a:gd name="connsiteY3085" fmla="*/ 247225 h 1934496"/>
              <a:gd name="connsiteX3086" fmla="*/ 3026921 w 9922465"/>
              <a:gd name="connsiteY3086" fmla="*/ 302416 h 1934496"/>
              <a:gd name="connsiteX3087" fmla="*/ 2971729 w 9922465"/>
              <a:gd name="connsiteY3087" fmla="*/ 357607 h 1934496"/>
              <a:gd name="connsiteX3088" fmla="*/ 2916537 w 9922465"/>
              <a:gd name="connsiteY3088" fmla="*/ 302416 h 1934496"/>
              <a:gd name="connsiteX3089" fmla="*/ 2971729 w 9922465"/>
              <a:gd name="connsiteY3089" fmla="*/ 247225 h 1934496"/>
              <a:gd name="connsiteX3090" fmla="*/ 2834862 w 9922465"/>
              <a:gd name="connsiteY3090" fmla="*/ 247225 h 1934496"/>
              <a:gd name="connsiteX3091" fmla="*/ 2890052 w 9922465"/>
              <a:gd name="connsiteY3091" fmla="*/ 302416 h 1934496"/>
              <a:gd name="connsiteX3092" fmla="*/ 2834862 w 9922465"/>
              <a:gd name="connsiteY3092" fmla="*/ 357607 h 1934496"/>
              <a:gd name="connsiteX3093" fmla="*/ 2779671 w 9922465"/>
              <a:gd name="connsiteY3093" fmla="*/ 302416 h 1934496"/>
              <a:gd name="connsiteX3094" fmla="*/ 2834862 w 9922465"/>
              <a:gd name="connsiteY3094" fmla="*/ 247225 h 1934496"/>
              <a:gd name="connsiteX3095" fmla="*/ 2570933 w 9922465"/>
              <a:gd name="connsiteY3095" fmla="*/ 247225 h 1934496"/>
              <a:gd name="connsiteX3096" fmla="*/ 2626123 w 9922465"/>
              <a:gd name="connsiteY3096" fmla="*/ 302416 h 1934496"/>
              <a:gd name="connsiteX3097" fmla="*/ 2570933 w 9922465"/>
              <a:gd name="connsiteY3097" fmla="*/ 357607 h 1934496"/>
              <a:gd name="connsiteX3098" fmla="*/ 2515738 w 9922465"/>
              <a:gd name="connsiteY3098" fmla="*/ 302416 h 1934496"/>
              <a:gd name="connsiteX3099" fmla="*/ 2570933 w 9922465"/>
              <a:gd name="connsiteY3099" fmla="*/ 247225 h 1934496"/>
              <a:gd name="connsiteX3100" fmla="*/ 2437297 w 9922465"/>
              <a:gd name="connsiteY3100" fmla="*/ 247225 h 1934496"/>
              <a:gd name="connsiteX3101" fmla="*/ 2492487 w 9922465"/>
              <a:gd name="connsiteY3101" fmla="*/ 302416 h 1934496"/>
              <a:gd name="connsiteX3102" fmla="*/ 2437297 w 9922465"/>
              <a:gd name="connsiteY3102" fmla="*/ 357607 h 1934496"/>
              <a:gd name="connsiteX3103" fmla="*/ 2382108 w 9922465"/>
              <a:gd name="connsiteY3103" fmla="*/ 302416 h 1934496"/>
              <a:gd name="connsiteX3104" fmla="*/ 2437297 w 9922465"/>
              <a:gd name="connsiteY3104" fmla="*/ 247225 h 1934496"/>
              <a:gd name="connsiteX3105" fmla="*/ 2303666 w 9922465"/>
              <a:gd name="connsiteY3105" fmla="*/ 247225 h 1934496"/>
              <a:gd name="connsiteX3106" fmla="*/ 2358856 w 9922465"/>
              <a:gd name="connsiteY3106" fmla="*/ 302416 h 1934496"/>
              <a:gd name="connsiteX3107" fmla="*/ 2303666 w 9922465"/>
              <a:gd name="connsiteY3107" fmla="*/ 357607 h 1934496"/>
              <a:gd name="connsiteX3108" fmla="*/ 2248473 w 9922465"/>
              <a:gd name="connsiteY3108" fmla="*/ 302416 h 1934496"/>
              <a:gd name="connsiteX3109" fmla="*/ 2303666 w 9922465"/>
              <a:gd name="connsiteY3109" fmla="*/ 247225 h 1934496"/>
              <a:gd name="connsiteX3110" fmla="*/ 2173372 w 9922465"/>
              <a:gd name="connsiteY3110" fmla="*/ 247225 h 1934496"/>
              <a:gd name="connsiteX3111" fmla="*/ 2228566 w 9922465"/>
              <a:gd name="connsiteY3111" fmla="*/ 302416 h 1934496"/>
              <a:gd name="connsiteX3112" fmla="*/ 2173372 w 9922465"/>
              <a:gd name="connsiteY3112" fmla="*/ 357607 h 1934496"/>
              <a:gd name="connsiteX3113" fmla="*/ 2118180 w 9922465"/>
              <a:gd name="connsiteY3113" fmla="*/ 302416 h 1934496"/>
              <a:gd name="connsiteX3114" fmla="*/ 2173372 w 9922465"/>
              <a:gd name="connsiteY3114" fmla="*/ 247225 h 1934496"/>
              <a:gd name="connsiteX3115" fmla="*/ 1909440 w 9922465"/>
              <a:gd name="connsiteY3115" fmla="*/ 247225 h 1934496"/>
              <a:gd name="connsiteX3116" fmla="*/ 1964634 w 9922465"/>
              <a:gd name="connsiteY3116" fmla="*/ 302416 h 1934496"/>
              <a:gd name="connsiteX3117" fmla="*/ 1909440 w 9922465"/>
              <a:gd name="connsiteY3117" fmla="*/ 357607 h 1934496"/>
              <a:gd name="connsiteX3118" fmla="*/ 1854246 w 9922465"/>
              <a:gd name="connsiteY3118" fmla="*/ 302416 h 1934496"/>
              <a:gd name="connsiteX3119" fmla="*/ 1909440 w 9922465"/>
              <a:gd name="connsiteY3119" fmla="*/ 247225 h 1934496"/>
              <a:gd name="connsiteX3120" fmla="*/ 1779142 w 9922465"/>
              <a:gd name="connsiteY3120" fmla="*/ 247225 h 1934496"/>
              <a:gd name="connsiteX3121" fmla="*/ 1834337 w 9922465"/>
              <a:gd name="connsiteY3121" fmla="*/ 302416 h 1934496"/>
              <a:gd name="connsiteX3122" fmla="*/ 1779142 w 9922465"/>
              <a:gd name="connsiteY3122" fmla="*/ 357607 h 1934496"/>
              <a:gd name="connsiteX3123" fmla="*/ 1723951 w 9922465"/>
              <a:gd name="connsiteY3123" fmla="*/ 302416 h 1934496"/>
              <a:gd name="connsiteX3124" fmla="*/ 1779142 w 9922465"/>
              <a:gd name="connsiteY3124" fmla="*/ 247225 h 1934496"/>
              <a:gd name="connsiteX3125" fmla="*/ 1645508 w 9922465"/>
              <a:gd name="connsiteY3125" fmla="*/ 247225 h 1934496"/>
              <a:gd name="connsiteX3126" fmla="*/ 1700702 w 9922465"/>
              <a:gd name="connsiteY3126" fmla="*/ 302416 h 1934496"/>
              <a:gd name="connsiteX3127" fmla="*/ 1645508 w 9922465"/>
              <a:gd name="connsiteY3127" fmla="*/ 357607 h 1934496"/>
              <a:gd name="connsiteX3128" fmla="*/ 1590313 w 9922465"/>
              <a:gd name="connsiteY3128" fmla="*/ 302416 h 1934496"/>
              <a:gd name="connsiteX3129" fmla="*/ 1645508 w 9922465"/>
              <a:gd name="connsiteY3129" fmla="*/ 247225 h 1934496"/>
              <a:gd name="connsiteX3130" fmla="*/ 1515217 w 9922465"/>
              <a:gd name="connsiteY3130" fmla="*/ 247225 h 1934496"/>
              <a:gd name="connsiteX3131" fmla="*/ 1570405 w 9922465"/>
              <a:gd name="connsiteY3131" fmla="*/ 302416 h 1934496"/>
              <a:gd name="connsiteX3132" fmla="*/ 1515217 w 9922465"/>
              <a:gd name="connsiteY3132" fmla="*/ 357607 h 1934496"/>
              <a:gd name="connsiteX3133" fmla="*/ 1460020 w 9922465"/>
              <a:gd name="connsiteY3133" fmla="*/ 302416 h 1934496"/>
              <a:gd name="connsiteX3134" fmla="*/ 1515217 w 9922465"/>
              <a:gd name="connsiteY3134" fmla="*/ 247225 h 1934496"/>
              <a:gd name="connsiteX3135" fmla="*/ 1381573 w 9922465"/>
              <a:gd name="connsiteY3135" fmla="*/ 247225 h 1934496"/>
              <a:gd name="connsiteX3136" fmla="*/ 1436767 w 9922465"/>
              <a:gd name="connsiteY3136" fmla="*/ 302416 h 1934496"/>
              <a:gd name="connsiteX3137" fmla="*/ 1381573 w 9922465"/>
              <a:gd name="connsiteY3137" fmla="*/ 357607 h 1934496"/>
              <a:gd name="connsiteX3138" fmla="*/ 1326384 w 9922465"/>
              <a:gd name="connsiteY3138" fmla="*/ 302416 h 1934496"/>
              <a:gd name="connsiteX3139" fmla="*/ 1381573 w 9922465"/>
              <a:gd name="connsiteY3139" fmla="*/ 247225 h 1934496"/>
              <a:gd name="connsiteX3140" fmla="*/ 7481898 w 9922465"/>
              <a:gd name="connsiteY3140" fmla="*/ 120271 h 1934496"/>
              <a:gd name="connsiteX3141" fmla="*/ 7537090 w 9922465"/>
              <a:gd name="connsiteY3141" fmla="*/ 175462 h 1934496"/>
              <a:gd name="connsiteX3142" fmla="*/ 7481898 w 9922465"/>
              <a:gd name="connsiteY3142" fmla="*/ 230653 h 1934496"/>
              <a:gd name="connsiteX3143" fmla="*/ 7426706 w 9922465"/>
              <a:gd name="connsiteY3143" fmla="*/ 175462 h 1934496"/>
              <a:gd name="connsiteX3144" fmla="*/ 7481898 w 9922465"/>
              <a:gd name="connsiteY3144" fmla="*/ 120271 h 1934496"/>
              <a:gd name="connsiteX3145" fmla="*/ 7341580 w 9922465"/>
              <a:gd name="connsiteY3145" fmla="*/ 120271 h 1934496"/>
              <a:gd name="connsiteX3146" fmla="*/ 7396772 w 9922465"/>
              <a:gd name="connsiteY3146" fmla="*/ 175462 h 1934496"/>
              <a:gd name="connsiteX3147" fmla="*/ 7341580 w 9922465"/>
              <a:gd name="connsiteY3147" fmla="*/ 230653 h 1934496"/>
              <a:gd name="connsiteX3148" fmla="*/ 7286388 w 9922465"/>
              <a:gd name="connsiteY3148" fmla="*/ 175462 h 1934496"/>
              <a:gd name="connsiteX3149" fmla="*/ 7341580 w 9922465"/>
              <a:gd name="connsiteY3149" fmla="*/ 120271 h 1934496"/>
              <a:gd name="connsiteX3150" fmla="*/ 7211288 w 9922465"/>
              <a:gd name="connsiteY3150" fmla="*/ 120271 h 1934496"/>
              <a:gd name="connsiteX3151" fmla="*/ 7266480 w 9922465"/>
              <a:gd name="connsiteY3151" fmla="*/ 175462 h 1934496"/>
              <a:gd name="connsiteX3152" fmla="*/ 7211288 w 9922465"/>
              <a:gd name="connsiteY3152" fmla="*/ 230653 h 1934496"/>
              <a:gd name="connsiteX3153" fmla="*/ 7156096 w 9922465"/>
              <a:gd name="connsiteY3153" fmla="*/ 175462 h 1934496"/>
              <a:gd name="connsiteX3154" fmla="*/ 7211288 w 9922465"/>
              <a:gd name="connsiteY3154" fmla="*/ 120271 h 1934496"/>
              <a:gd name="connsiteX3155" fmla="*/ 5223474 w 9922465"/>
              <a:gd name="connsiteY3155" fmla="*/ 120271 h 1934496"/>
              <a:gd name="connsiteX3156" fmla="*/ 5278666 w 9922465"/>
              <a:gd name="connsiteY3156" fmla="*/ 175462 h 1934496"/>
              <a:gd name="connsiteX3157" fmla="*/ 5223474 w 9922465"/>
              <a:gd name="connsiteY3157" fmla="*/ 230653 h 1934496"/>
              <a:gd name="connsiteX3158" fmla="*/ 5168282 w 9922465"/>
              <a:gd name="connsiteY3158" fmla="*/ 175462 h 1934496"/>
              <a:gd name="connsiteX3159" fmla="*/ 5223474 w 9922465"/>
              <a:gd name="connsiteY3159" fmla="*/ 120271 h 1934496"/>
              <a:gd name="connsiteX3160" fmla="*/ 5093178 w 9922465"/>
              <a:gd name="connsiteY3160" fmla="*/ 120271 h 1934496"/>
              <a:gd name="connsiteX3161" fmla="*/ 5148370 w 9922465"/>
              <a:gd name="connsiteY3161" fmla="*/ 175462 h 1934496"/>
              <a:gd name="connsiteX3162" fmla="*/ 5093178 w 9922465"/>
              <a:gd name="connsiteY3162" fmla="*/ 230653 h 1934496"/>
              <a:gd name="connsiteX3163" fmla="*/ 5037986 w 9922465"/>
              <a:gd name="connsiteY3163" fmla="*/ 175462 h 1934496"/>
              <a:gd name="connsiteX3164" fmla="*/ 5093178 w 9922465"/>
              <a:gd name="connsiteY3164" fmla="*/ 120271 h 1934496"/>
              <a:gd name="connsiteX3165" fmla="*/ 4161077 w 9922465"/>
              <a:gd name="connsiteY3165" fmla="*/ 120271 h 1934496"/>
              <a:gd name="connsiteX3166" fmla="*/ 4216269 w 9922465"/>
              <a:gd name="connsiteY3166" fmla="*/ 175462 h 1934496"/>
              <a:gd name="connsiteX3167" fmla="*/ 4161077 w 9922465"/>
              <a:gd name="connsiteY3167" fmla="*/ 230653 h 1934496"/>
              <a:gd name="connsiteX3168" fmla="*/ 4105885 w 9922465"/>
              <a:gd name="connsiteY3168" fmla="*/ 175462 h 1934496"/>
              <a:gd name="connsiteX3169" fmla="*/ 4161077 w 9922465"/>
              <a:gd name="connsiteY3169" fmla="*/ 120271 h 1934496"/>
              <a:gd name="connsiteX3170" fmla="*/ 4030786 w 9922465"/>
              <a:gd name="connsiteY3170" fmla="*/ 120271 h 1934496"/>
              <a:gd name="connsiteX3171" fmla="*/ 4085978 w 9922465"/>
              <a:gd name="connsiteY3171" fmla="*/ 175462 h 1934496"/>
              <a:gd name="connsiteX3172" fmla="*/ 4030786 w 9922465"/>
              <a:gd name="connsiteY3172" fmla="*/ 230653 h 1934496"/>
              <a:gd name="connsiteX3173" fmla="*/ 3975594 w 9922465"/>
              <a:gd name="connsiteY3173" fmla="*/ 175462 h 1934496"/>
              <a:gd name="connsiteX3174" fmla="*/ 4030786 w 9922465"/>
              <a:gd name="connsiteY3174" fmla="*/ 120271 h 1934496"/>
              <a:gd name="connsiteX3175" fmla="*/ 3897148 w 9922465"/>
              <a:gd name="connsiteY3175" fmla="*/ 120271 h 1934496"/>
              <a:gd name="connsiteX3176" fmla="*/ 3952340 w 9922465"/>
              <a:gd name="connsiteY3176" fmla="*/ 175462 h 1934496"/>
              <a:gd name="connsiteX3177" fmla="*/ 3897148 w 9922465"/>
              <a:gd name="connsiteY3177" fmla="*/ 230653 h 1934496"/>
              <a:gd name="connsiteX3178" fmla="*/ 3841956 w 9922465"/>
              <a:gd name="connsiteY3178" fmla="*/ 175462 h 1934496"/>
              <a:gd name="connsiteX3179" fmla="*/ 3897148 w 9922465"/>
              <a:gd name="connsiteY3179" fmla="*/ 120271 h 1934496"/>
              <a:gd name="connsiteX3180" fmla="*/ 3763514 w 9922465"/>
              <a:gd name="connsiteY3180" fmla="*/ 120271 h 1934496"/>
              <a:gd name="connsiteX3181" fmla="*/ 3818706 w 9922465"/>
              <a:gd name="connsiteY3181" fmla="*/ 175462 h 1934496"/>
              <a:gd name="connsiteX3182" fmla="*/ 3763514 w 9922465"/>
              <a:gd name="connsiteY3182" fmla="*/ 230653 h 1934496"/>
              <a:gd name="connsiteX3183" fmla="*/ 3708322 w 9922465"/>
              <a:gd name="connsiteY3183" fmla="*/ 175462 h 1934496"/>
              <a:gd name="connsiteX3184" fmla="*/ 3763514 w 9922465"/>
              <a:gd name="connsiteY3184" fmla="*/ 120271 h 1934496"/>
              <a:gd name="connsiteX3185" fmla="*/ 3633221 w 9922465"/>
              <a:gd name="connsiteY3185" fmla="*/ 120271 h 1934496"/>
              <a:gd name="connsiteX3186" fmla="*/ 3688413 w 9922465"/>
              <a:gd name="connsiteY3186" fmla="*/ 175462 h 1934496"/>
              <a:gd name="connsiteX3187" fmla="*/ 3633221 w 9922465"/>
              <a:gd name="connsiteY3187" fmla="*/ 230653 h 1934496"/>
              <a:gd name="connsiteX3188" fmla="*/ 3578029 w 9922465"/>
              <a:gd name="connsiteY3188" fmla="*/ 175462 h 1934496"/>
              <a:gd name="connsiteX3189" fmla="*/ 3633221 w 9922465"/>
              <a:gd name="connsiteY3189" fmla="*/ 120271 h 1934496"/>
              <a:gd name="connsiteX3190" fmla="*/ 3499589 w 9922465"/>
              <a:gd name="connsiteY3190" fmla="*/ 120271 h 1934496"/>
              <a:gd name="connsiteX3191" fmla="*/ 3554781 w 9922465"/>
              <a:gd name="connsiteY3191" fmla="*/ 175462 h 1934496"/>
              <a:gd name="connsiteX3192" fmla="*/ 3499589 w 9922465"/>
              <a:gd name="connsiteY3192" fmla="*/ 230653 h 1934496"/>
              <a:gd name="connsiteX3193" fmla="*/ 3444397 w 9922465"/>
              <a:gd name="connsiteY3193" fmla="*/ 175462 h 1934496"/>
              <a:gd name="connsiteX3194" fmla="*/ 3499589 w 9922465"/>
              <a:gd name="connsiteY3194" fmla="*/ 120271 h 1934496"/>
              <a:gd name="connsiteX3195" fmla="*/ 3369293 w 9922465"/>
              <a:gd name="connsiteY3195" fmla="*/ 120271 h 1934496"/>
              <a:gd name="connsiteX3196" fmla="*/ 3424485 w 9922465"/>
              <a:gd name="connsiteY3196" fmla="*/ 175462 h 1934496"/>
              <a:gd name="connsiteX3197" fmla="*/ 3369293 w 9922465"/>
              <a:gd name="connsiteY3197" fmla="*/ 230653 h 1934496"/>
              <a:gd name="connsiteX3198" fmla="*/ 3314101 w 9922465"/>
              <a:gd name="connsiteY3198" fmla="*/ 175462 h 1934496"/>
              <a:gd name="connsiteX3199" fmla="*/ 3369293 w 9922465"/>
              <a:gd name="connsiteY3199" fmla="*/ 120271 h 1934496"/>
              <a:gd name="connsiteX3200" fmla="*/ 3235657 w 9922465"/>
              <a:gd name="connsiteY3200" fmla="*/ 120271 h 1934496"/>
              <a:gd name="connsiteX3201" fmla="*/ 3290849 w 9922465"/>
              <a:gd name="connsiteY3201" fmla="*/ 175462 h 1934496"/>
              <a:gd name="connsiteX3202" fmla="*/ 3235657 w 9922465"/>
              <a:gd name="connsiteY3202" fmla="*/ 230653 h 1934496"/>
              <a:gd name="connsiteX3203" fmla="*/ 3180465 w 9922465"/>
              <a:gd name="connsiteY3203" fmla="*/ 175462 h 1934496"/>
              <a:gd name="connsiteX3204" fmla="*/ 3235657 w 9922465"/>
              <a:gd name="connsiteY3204" fmla="*/ 120271 h 1934496"/>
              <a:gd name="connsiteX3205" fmla="*/ 3098682 w 9922465"/>
              <a:gd name="connsiteY3205" fmla="*/ 120271 h 1934496"/>
              <a:gd name="connsiteX3206" fmla="*/ 3153874 w 9922465"/>
              <a:gd name="connsiteY3206" fmla="*/ 175462 h 1934496"/>
              <a:gd name="connsiteX3207" fmla="*/ 3098682 w 9922465"/>
              <a:gd name="connsiteY3207" fmla="*/ 230653 h 1934496"/>
              <a:gd name="connsiteX3208" fmla="*/ 3043490 w 9922465"/>
              <a:gd name="connsiteY3208" fmla="*/ 175462 h 1934496"/>
              <a:gd name="connsiteX3209" fmla="*/ 3098682 w 9922465"/>
              <a:gd name="connsiteY3209" fmla="*/ 120271 h 1934496"/>
              <a:gd name="connsiteX3210" fmla="*/ 2971729 w 9922465"/>
              <a:gd name="connsiteY3210" fmla="*/ 120271 h 1934496"/>
              <a:gd name="connsiteX3211" fmla="*/ 3026921 w 9922465"/>
              <a:gd name="connsiteY3211" fmla="*/ 175462 h 1934496"/>
              <a:gd name="connsiteX3212" fmla="*/ 2971729 w 9922465"/>
              <a:gd name="connsiteY3212" fmla="*/ 230653 h 1934496"/>
              <a:gd name="connsiteX3213" fmla="*/ 2916537 w 9922465"/>
              <a:gd name="connsiteY3213" fmla="*/ 175462 h 1934496"/>
              <a:gd name="connsiteX3214" fmla="*/ 2971729 w 9922465"/>
              <a:gd name="connsiteY3214" fmla="*/ 120271 h 1934496"/>
              <a:gd name="connsiteX3215" fmla="*/ 2707903 w 9922465"/>
              <a:gd name="connsiteY3215" fmla="*/ 120271 h 1934496"/>
              <a:gd name="connsiteX3216" fmla="*/ 2763100 w 9922465"/>
              <a:gd name="connsiteY3216" fmla="*/ 175462 h 1934496"/>
              <a:gd name="connsiteX3217" fmla="*/ 2707903 w 9922465"/>
              <a:gd name="connsiteY3217" fmla="*/ 230653 h 1934496"/>
              <a:gd name="connsiteX3218" fmla="*/ 2652715 w 9922465"/>
              <a:gd name="connsiteY3218" fmla="*/ 175462 h 1934496"/>
              <a:gd name="connsiteX3219" fmla="*/ 2707903 w 9922465"/>
              <a:gd name="connsiteY3219" fmla="*/ 120271 h 1934496"/>
              <a:gd name="connsiteX3220" fmla="*/ 2570933 w 9922465"/>
              <a:gd name="connsiteY3220" fmla="*/ 120271 h 1934496"/>
              <a:gd name="connsiteX3221" fmla="*/ 2626123 w 9922465"/>
              <a:gd name="connsiteY3221" fmla="*/ 175462 h 1934496"/>
              <a:gd name="connsiteX3222" fmla="*/ 2570933 w 9922465"/>
              <a:gd name="connsiteY3222" fmla="*/ 230653 h 1934496"/>
              <a:gd name="connsiteX3223" fmla="*/ 2515738 w 9922465"/>
              <a:gd name="connsiteY3223" fmla="*/ 175462 h 1934496"/>
              <a:gd name="connsiteX3224" fmla="*/ 2570933 w 9922465"/>
              <a:gd name="connsiteY3224" fmla="*/ 120271 h 1934496"/>
              <a:gd name="connsiteX3225" fmla="*/ 2437297 w 9922465"/>
              <a:gd name="connsiteY3225" fmla="*/ 120271 h 1934496"/>
              <a:gd name="connsiteX3226" fmla="*/ 2492487 w 9922465"/>
              <a:gd name="connsiteY3226" fmla="*/ 175462 h 1934496"/>
              <a:gd name="connsiteX3227" fmla="*/ 2437297 w 9922465"/>
              <a:gd name="connsiteY3227" fmla="*/ 230653 h 1934496"/>
              <a:gd name="connsiteX3228" fmla="*/ 2382108 w 9922465"/>
              <a:gd name="connsiteY3228" fmla="*/ 175462 h 1934496"/>
              <a:gd name="connsiteX3229" fmla="*/ 2437297 w 9922465"/>
              <a:gd name="connsiteY3229" fmla="*/ 120271 h 1934496"/>
              <a:gd name="connsiteX3230" fmla="*/ 2303666 w 9922465"/>
              <a:gd name="connsiteY3230" fmla="*/ 120271 h 1934496"/>
              <a:gd name="connsiteX3231" fmla="*/ 2358856 w 9922465"/>
              <a:gd name="connsiteY3231" fmla="*/ 175462 h 1934496"/>
              <a:gd name="connsiteX3232" fmla="*/ 2303666 w 9922465"/>
              <a:gd name="connsiteY3232" fmla="*/ 230653 h 1934496"/>
              <a:gd name="connsiteX3233" fmla="*/ 2248473 w 9922465"/>
              <a:gd name="connsiteY3233" fmla="*/ 175462 h 1934496"/>
              <a:gd name="connsiteX3234" fmla="*/ 2303666 w 9922465"/>
              <a:gd name="connsiteY3234" fmla="*/ 120271 h 1934496"/>
              <a:gd name="connsiteX3235" fmla="*/ 2173372 w 9922465"/>
              <a:gd name="connsiteY3235" fmla="*/ 120271 h 1934496"/>
              <a:gd name="connsiteX3236" fmla="*/ 2228566 w 9922465"/>
              <a:gd name="connsiteY3236" fmla="*/ 175462 h 1934496"/>
              <a:gd name="connsiteX3237" fmla="*/ 2173372 w 9922465"/>
              <a:gd name="connsiteY3237" fmla="*/ 230653 h 1934496"/>
              <a:gd name="connsiteX3238" fmla="*/ 2118180 w 9922465"/>
              <a:gd name="connsiteY3238" fmla="*/ 175462 h 1934496"/>
              <a:gd name="connsiteX3239" fmla="*/ 2173372 w 9922465"/>
              <a:gd name="connsiteY3239" fmla="*/ 120271 h 1934496"/>
              <a:gd name="connsiteX3240" fmla="*/ 7341580 w 9922465"/>
              <a:gd name="connsiteY3240" fmla="*/ 0 h 1934496"/>
              <a:gd name="connsiteX3241" fmla="*/ 7396772 w 9922465"/>
              <a:gd name="connsiteY3241" fmla="*/ 55191 h 1934496"/>
              <a:gd name="connsiteX3242" fmla="*/ 7341580 w 9922465"/>
              <a:gd name="connsiteY3242" fmla="*/ 110382 h 1934496"/>
              <a:gd name="connsiteX3243" fmla="*/ 7286388 w 9922465"/>
              <a:gd name="connsiteY3243" fmla="*/ 55191 h 1934496"/>
              <a:gd name="connsiteX3244" fmla="*/ 7341580 w 9922465"/>
              <a:gd name="connsiteY3244" fmla="*/ 0 h 1934496"/>
              <a:gd name="connsiteX3245" fmla="*/ 4294713 w 9922465"/>
              <a:gd name="connsiteY3245" fmla="*/ 0 h 1934496"/>
              <a:gd name="connsiteX3246" fmla="*/ 4349905 w 9922465"/>
              <a:gd name="connsiteY3246" fmla="*/ 55191 h 1934496"/>
              <a:gd name="connsiteX3247" fmla="*/ 4294713 w 9922465"/>
              <a:gd name="connsiteY3247" fmla="*/ 110382 h 1934496"/>
              <a:gd name="connsiteX3248" fmla="*/ 4239521 w 9922465"/>
              <a:gd name="connsiteY3248" fmla="*/ 55191 h 1934496"/>
              <a:gd name="connsiteX3249" fmla="*/ 4294713 w 9922465"/>
              <a:gd name="connsiteY3249" fmla="*/ 0 h 1934496"/>
              <a:gd name="connsiteX3250" fmla="*/ 4161077 w 9922465"/>
              <a:gd name="connsiteY3250" fmla="*/ 0 h 1934496"/>
              <a:gd name="connsiteX3251" fmla="*/ 4216269 w 9922465"/>
              <a:gd name="connsiteY3251" fmla="*/ 55191 h 1934496"/>
              <a:gd name="connsiteX3252" fmla="*/ 4161077 w 9922465"/>
              <a:gd name="connsiteY3252" fmla="*/ 110382 h 1934496"/>
              <a:gd name="connsiteX3253" fmla="*/ 4105885 w 9922465"/>
              <a:gd name="connsiteY3253" fmla="*/ 55191 h 1934496"/>
              <a:gd name="connsiteX3254" fmla="*/ 4161077 w 9922465"/>
              <a:gd name="connsiteY3254" fmla="*/ 0 h 1934496"/>
              <a:gd name="connsiteX3255" fmla="*/ 4030786 w 9922465"/>
              <a:gd name="connsiteY3255" fmla="*/ 0 h 1934496"/>
              <a:gd name="connsiteX3256" fmla="*/ 4085978 w 9922465"/>
              <a:gd name="connsiteY3256" fmla="*/ 55191 h 1934496"/>
              <a:gd name="connsiteX3257" fmla="*/ 4030786 w 9922465"/>
              <a:gd name="connsiteY3257" fmla="*/ 110382 h 1934496"/>
              <a:gd name="connsiteX3258" fmla="*/ 3975594 w 9922465"/>
              <a:gd name="connsiteY3258" fmla="*/ 55191 h 1934496"/>
              <a:gd name="connsiteX3259" fmla="*/ 4030786 w 9922465"/>
              <a:gd name="connsiteY3259" fmla="*/ 0 h 1934496"/>
              <a:gd name="connsiteX3260" fmla="*/ 3897148 w 9922465"/>
              <a:gd name="connsiteY3260" fmla="*/ 0 h 1934496"/>
              <a:gd name="connsiteX3261" fmla="*/ 3952340 w 9922465"/>
              <a:gd name="connsiteY3261" fmla="*/ 55191 h 1934496"/>
              <a:gd name="connsiteX3262" fmla="*/ 3897148 w 9922465"/>
              <a:gd name="connsiteY3262" fmla="*/ 110382 h 1934496"/>
              <a:gd name="connsiteX3263" fmla="*/ 3841956 w 9922465"/>
              <a:gd name="connsiteY3263" fmla="*/ 55191 h 1934496"/>
              <a:gd name="connsiteX3264" fmla="*/ 3897148 w 9922465"/>
              <a:gd name="connsiteY3264" fmla="*/ 0 h 1934496"/>
              <a:gd name="connsiteX3265" fmla="*/ 3763514 w 9922465"/>
              <a:gd name="connsiteY3265" fmla="*/ 0 h 1934496"/>
              <a:gd name="connsiteX3266" fmla="*/ 3818706 w 9922465"/>
              <a:gd name="connsiteY3266" fmla="*/ 55191 h 1934496"/>
              <a:gd name="connsiteX3267" fmla="*/ 3763514 w 9922465"/>
              <a:gd name="connsiteY3267" fmla="*/ 110382 h 1934496"/>
              <a:gd name="connsiteX3268" fmla="*/ 3708322 w 9922465"/>
              <a:gd name="connsiteY3268" fmla="*/ 55191 h 1934496"/>
              <a:gd name="connsiteX3269" fmla="*/ 3763514 w 9922465"/>
              <a:gd name="connsiteY3269" fmla="*/ 0 h 1934496"/>
              <a:gd name="connsiteX3270" fmla="*/ 3633221 w 9922465"/>
              <a:gd name="connsiteY3270" fmla="*/ 0 h 1934496"/>
              <a:gd name="connsiteX3271" fmla="*/ 3688413 w 9922465"/>
              <a:gd name="connsiteY3271" fmla="*/ 55191 h 1934496"/>
              <a:gd name="connsiteX3272" fmla="*/ 3633221 w 9922465"/>
              <a:gd name="connsiteY3272" fmla="*/ 110382 h 1934496"/>
              <a:gd name="connsiteX3273" fmla="*/ 3578029 w 9922465"/>
              <a:gd name="connsiteY3273" fmla="*/ 55191 h 1934496"/>
              <a:gd name="connsiteX3274" fmla="*/ 3633221 w 9922465"/>
              <a:gd name="connsiteY3274" fmla="*/ 0 h 1934496"/>
              <a:gd name="connsiteX3275" fmla="*/ 3499589 w 9922465"/>
              <a:gd name="connsiteY3275" fmla="*/ 0 h 1934496"/>
              <a:gd name="connsiteX3276" fmla="*/ 3554781 w 9922465"/>
              <a:gd name="connsiteY3276" fmla="*/ 55191 h 1934496"/>
              <a:gd name="connsiteX3277" fmla="*/ 3499589 w 9922465"/>
              <a:gd name="connsiteY3277" fmla="*/ 110382 h 1934496"/>
              <a:gd name="connsiteX3278" fmla="*/ 3444397 w 9922465"/>
              <a:gd name="connsiteY3278" fmla="*/ 55191 h 1934496"/>
              <a:gd name="connsiteX3279" fmla="*/ 3499589 w 9922465"/>
              <a:gd name="connsiteY3279" fmla="*/ 0 h 1934496"/>
              <a:gd name="connsiteX3280" fmla="*/ 3369293 w 9922465"/>
              <a:gd name="connsiteY3280" fmla="*/ 0 h 1934496"/>
              <a:gd name="connsiteX3281" fmla="*/ 3424485 w 9922465"/>
              <a:gd name="connsiteY3281" fmla="*/ 55191 h 1934496"/>
              <a:gd name="connsiteX3282" fmla="*/ 3369293 w 9922465"/>
              <a:gd name="connsiteY3282" fmla="*/ 110382 h 1934496"/>
              <a:gd name="connsiteX3283" fmla="*/ 3314101 w 9922465"/>
              <a:gd name="connsiteY3283" fmla="*/ 55191 h 1934496"/>
              <a:gd name="connsiteX3284" fmla="*/ 3369293 w 9922465"/>
              <a:gd name="connsiteY3284" fmla="*/ 0 h 1934496"/>
              <a:gd name="connsiteX3285" fmla="*/ 3235657 w 9922465"/>
              <a:gd name="connsiteY3285" fmla="*/ 0 h 1934496"/>
              <a:gd name="connsiteX3286" fmla="*/ 3290849 w 9922465"/>
              <a:gd name="connsiteY3286" fmla="*/ 55191 h 1934496"/>
              <a:gd name="connsiteX3287" fmla="*/ 3235657 w 9922465"/>
              <a:gd name="connsiteY3287" fmla="*/ 110382 h 1934496"/>
              <a:gd name="connsiteX3288" fmla="*/ 3180465 w 9922465"/>
              <a:gd name="connsiteY3288" fmla="*/ 55191 h 1934496"/>
              <a:gd name="connsiteX3289" fmla="*/ 3235657 w 9922465"/>
              <a:gd name="connsiteY3289" fmla="*/ 0 h 1934496"/>
              <a:gd name="connsiteX3290" fmla="*/ 2834862 w 9922465"/>
              <a:gd name="connsiteY3290" fmla="*/ 0 h 1934496"/>
              <a:gd name="connsiteX3291" fmla="*/ 2890052 w 9922465"/>
              <a:gd name="connsiteY3291" fmla="*/ 55191 h 1934496"/>
              <a:gd name="connsiteX3292" fmla="*/ 2834862 w 9922465"/>
              <a:gd name="connsiteY3292" fmla="*/ 110382 h 1934496"/>
              <a:gd name="connsiteX3293" fmla="*/ 2779671 w 9922465"/>
              <a:gd name="connsiteY3293" fmla="*/ 55191 h 1934496"/>
              <a:gd name="connsiteX3294" fmla="*/ 2834862 w 9922465"/>
              <a:gd name="connsiteY3294" fmla="*/ 0 h 1934496"/>
              <a:gd name="connsiteX3295" fmla="*/ 2707903 w 9922465"/>
              <a:gd name="connsiteY3295" fmla="*/ 0 h 1934496"/>
              <a:gd name="connsiteX3296" fmla="*/ 2763100 w 9922465"/>
              <a:gd name="connsiteY3296" fmla="*/ 55191 h 1934496"/>
              <a:gd name="connsiteX3297" fmla="*/ 2707903 w 9922465"/>
              <a:gd name="connsiteY3297" fmla="*/ 110382 h 1934496"/>
              <a:gd name="connsiteX3298" fmla="*/ 2652715 w 9922465"/>
              <a:gd name="connsiteY3298" fmla="*/ 55191 h 1934496"/>
              <a:gd name="connsiteX3299" fmla="*/ 2707903 w 9922465"/>
              <a:gd name="connsiteY3299" fmla="*/ 0 h 1934496"/>
              <a:gd name="connsiteX3300" fmla="*/ 2570933 w 9922465"/>
              <a:gd name="connsiteY3300" fmla="*/ 0 h 1934496"/>
              <a:gd name="connsiteX3301" fmla="*/ 2626123 w 9922465"/>
              <a:gd name="connsiteY3301" fmla="*/ 55191 h 1934496"/>
              <a:gd name="connsiteX3302" fmla="*/ 2570933 w 9922465"/>
              <a:gd name="connsiteY3302" fmla="*/ 110382 h 1934496"/>
              <a:gd name="connsiteX3303" fmla="*/ 2515738 w 9922465"/>
              <a:gd name="connsiteY3303" fmla="*/ 55191 h 1934496"/>
              <a:gd name="connsiteX3304" fmla="*/ 2570933 w 9922465"/>
              <a:gd name="connsiteY3304" fmla="*/ 0 h 1934496"/>
              <a:gd name="connsiteX3305" fmla="*/ 2437297 w 9922465"/>
              <a:gd name="connsiteY3305" fmla="*/ 0 h 1934496"/>
              <a:gd name="connsiteX3306" fmla="*/ 2492487 w 9922465"/>
              <a:gd name="connsiteY3306" fmla="*/ 55191 h 1934496"/>
              <a:gd name="connsiteX3307" fmla="*/ 2437297 w 9922465"/>
              <a:gd name="connsiteY3307" fmla="*/ 110382 h 1934496"/>
              <a:gd name="connsiteX3308" fmla="*/ 2382108 w 9922465"/>
              <a:gd name="connsiteY3308" fmla="*/ 55191 h 1934496"/>
              <a:gd name="connsiteX3309" fmla="*/ 2437297 w 9922465"/>
              <a:gd name="connsiteY3309" fmla="*/ 0 h 1934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Lst>
            <a:rect l="l" t="t" r="r" b="b"/>
            <a:pathLst>
              <a:path w="9922465" h="1934496">
                <a:moveTo>
                  <a:pt x="8407318" y="1824114"/>
                </a:moveTo>
                <a:cubicBezTo>
                  <a:pt x="8437800" y="1824114"/>
                  <a:pt x="8462510" y="1848824"/>
                  <a:pt x="8462510" y="1879305"/>
                </a:cubicBezTo>
                <a:cubicBezTo>
                  <a:pt x="8462510" y="1909786"/>
                  <a:pt x="8437800" y="1934496"/>
                  <a:pt x="8407318" y="1934496"/>
                </a:cubicBezTo>
                <a:cubicBezTo>
                  <a:pt x="8376836" y="1934496"/>
                  <a:pt x="8352126" y="1909786"/>
                  <a:pt x="8352126" y="1879305"/>
                </a:cubicBezTo>
                <a:cubicBezTo>
                  <a:pt x="8352126" y="1848824"/>
                  <a:pt x="8376836" y="1824114"/>
                  <a:pt x="8407318" y="1824114"/>
                </a:cubicBezTo>
                <a:close/>
                <a:moveTo>
                  <a:pt x="8273682" y="1824114"/>
                </a:moveTo>
                <a:cubicBezTo>
                  <a:pt x="8304164" y="1824114"/>
                  <a:pt x="8328874" y="1848824"/>
                  <a:pt x="8328874" y="1879305"/>
                </a:cubicBezTo>
                <a:cubicBezTo>
                  <a:pt x="8328874" y="1909786"/>
                  <a:pt x="8304164" y="1934496"/>
                  <a:pt x="8273682" y="1934496"/>
                </a:cubicBezTo>
                <a:cubicBezTo>
                  <a:pt x="8243200" y="1934496"/>
                  <a:pt x="8218490" y="1909786"/>
                  <a:pt x="8218490" y="1879305"/>
                </a:cubicBezTo>
                <a:cubicBezTo>
                  <a:pt x="8218490" y="1848824"/>
                  <a:pt x="8243200" y="1824114"/>
                  <a:pt x="8273682" y="1824114"/>
                </a:cubicBezTo>
                <a:close/>
                <a:moveTo>
                  <a:pt x="8143386" y="1824114"/>
                </a:moveTo>
                <a:cubicBezTo>
                  <a:pt x="8173868" y="1824114"/>
                  <a:pt x="8198578" y="1848824"/>
                  <a:pt x="8198578" y="1879305"/>
                </a:cubicBezTo>
                <a:cubicBezTo>
                  <a:pt x="8198578" y="1909786"/>
                  <a:pt x="8173868" y="1934496"/>
                  <a:pt x="8143386" y="1934496"/>
                </a:cubicBezTo>
                <a:cubicBezTo>
                  <a:pt x="8112904" y="1934496"/>
                  <a:pt x="8088194" y="1909786"/>
                  <a:pt x="8088194" y="1879305"/>
                </a:cubicBezTo>
                <a:cubicBezTo>
                  <a:pt x="8088194" y="1848824"/>
                  <a:pt x="8112904" y="1824114"/>
                  <a:pt x="8143386" y="1824114"/>
                </a:cubicBezTo>
                <a:close/>
                <a:moveTo>
                  <a:pt x="8009752" y="1824114"/>
                </a:moveTo>
                <a:cubicBezTo>
                  <a:pt x="8040234" y="1824114"/>
                  <a:pt x="8064944" y="1848824"/>
                  <a:pt x="8064944" y="1879305"/>
                </a:cubicBezTo>
                <a:cubicBezTo>
                  <a:pt x="8064944" y="1909786"/>
                  <a:pt x="8040234" y="1934496"/>
                  <a:pt x="8009752" y="1934496"/>
                </a:cubicBezTo>
                <a:cubicBezTo>
                  <a:pt x="7979270" y="1934496"/>
                  <a:pt x="7954560" y="1909786"/>
                  <a:pt x="7954560" y="1879305"/>
                </a:cubicBezTo>
                <a:cubicBezTo>
                  <a:pt x="7954560" y="1848824"/>
                  <a:pt x="7979270" y="1824114"/>
                  <a:pt x="8009752" y="1824114"/>
                </a:cubicBezTo>
                <a:close/>
                <a:moveTo>
                  <a:pt x="7876117" y="1824114"/>
                </a:moveTo>
                <a:cubicBezTo>
                  <a:pt x="7906599" y="1824114"/>
                  <a:pt x="7931309" y="1848824"/>
                  <a:pt x="7931309" y="1879305"/>
                </a:cubicBezTo>
                <a:cubicBezTo>
                  <a:pt x="7931309" y="1909786"/>
                  <a:pt x="7906599" y="1934496"/>
                  <a:pt x="7876117" y="1934496"/>
                </a:cubicBezTo>
                <a:cubicBezTo>
                  <a:pt x="7845635" y="1934496"/>
                  <a:pt x="7820925" y="1909786"/>
                  <a:pt x="7820925" y="1879305"/>
                </a:cubicBezTo>
                <a:cubicBezTo>
                  <a:pt x="7820925" y="1848824"/>
                  <a:pt x="7845635" y="1824114"/>
                  <a:pt x="7876117" y="1824114"/>
                </a:cubicBezTo>
                <a:close/>
                <a:moveTo>
                  <a:pt x="7745824" y="1824114"/>
                </a:moveTo>
                <a:cubicBezTo>
                  <a:pt x="7776306" y="1824114"/>
                  <a:pt x="7801016" y="1848824"/>
                  <a:pt x="7801016" y="1879305"/>
                </a:cubicBezTo>
                <a:cubicBezTo>
                  <a:pt x="7801016" y="1909786"/>
                  <a:pt x="7776306" y="1934496"/>
                  <a:pt x="7745824" y="1934496"/>
                </a:cubicBezTo>
                <a:cubicBezTo>
                  <a:pt x="7715342" y="1934496"/>
                  <a:pt x="7690632" y="1909786"/>
                  <a:pt x="7690632" y="1879305"/>
                </a:cubicBezTo>
                <a:cubicBezTo>
                  <a:pt x="7690632" y="1848824"/>
                  <a:pt x="7715342" y="1824114"/>
                  <a:pt x="7745824" y="1824114"/>
                </a:cubicBezTo>
                <a:close/>
                <a:moveTo>
                  <a:pt x="7608849" y="1824114"/>
                </a:moveTo>
                <a:cubicBezTo>
                  <a:pt x="7639331" y="1824114"/>
                  <a:pt x="7664041" y="1848824"/>
                  <a:pt x="7664041" y="1879305"/>
                </a:cubicBezTo>
                <a:cubicBezTo>
                  <a:pt x="7664041" y="1909786"/>
                  <a:pt x="7639331" y="1934496"/>
                  <a:pt x="7608849" y="1934496"/>
                </a:cubicBezTo>
                <a:cubicBezTo>
                  <a:pt x="7578367" y="1934496"/>
                  <a:pt x="7553657" y="1909786"/>
                  <a:pt x="7553657" y="1879305"/>
                </a:cubicBezTo>
                <a:cubicBezTo>
                  <a:pt x="7553657" y="1848824"/>
                  <a:pt x="7578367" y="1824114"/>
                  <a:pt x="7608849" y="1824114"/>
                </a:cubicBezTo>
                <a:close/>
                <a:moveTo>
                  <a:pt x="7481895" y="1824114"/>
                </a:moveTo>
                <a:cubicBezTo>
                  <a:pt x="7512377" y="1824114"/>
                  <a:pt x="7537087" y="1848824"/>
                  <a:pt x="7537087" y="1879305"/>
                </a:cubicBezTo>
                <a:cubicBezTo>
                  <a:pt x="7537087" y="1909786"/>
                  <a:pt x="7512377" y="1934496"/>
                  <a:pt x="7481895" y="1934496"/>
                </a:cubicBezTo>
                <a:cubicBezTo>
                  <a:pt x="7451413" y="1934496"/>
                  <a:pt x="7426703" y="1909786"/>
                  <a:pt x="7426703" y="1879305"/>
                </a:cubicBezTo>
                <a:cubicBezTo>
                  <a:pt x="7426703" y="1848824"/>
                  <a:pt x="7451413" y="1824114"/>
                  <a:pt x="7481895" y="1824114"/>
                </a:cubicBezTo>
                <a:close/>
                <a:moveTo>
                  <a:pt x="7341579" y="1824114"/>
                </a:moveTo>
                <a:cubicBezTo>
                  <a:pt x="7372061" y="1824114"/>
                  <a:pt x="7396771" y="1848824"/>
                  <a:pt x="7396771" y="1879305"/>
                </a:cubicBezTo>
                <a:cubicBezTo>
                  <a:pt x="7396771" y="1909786"/>
                  <a:pt x="7372061" y="1934496"/>
                  <a:pt x="7341579" y="1934496"/>
                </a:cubicBezTo>
                <a:cubicBezTo>
                  <a:pt x="7311097" y="1934496"/>
                  <a:pt x="7286387" y="1909786"/>
                  <a:pt x="7286387" y="1879305"/>
                </a:cubicBezTo>
                <a:cubicBezTo>
                  <a:pt x="7286387" y="1848824"/>
                  <a:pt x="7311097" y="1824114"/>
                  <a:pt x="7341579" y="1824114"/>
                </a:cubicBezTo>
                <a:close/>
                <a:moveTo>
                  <a:pt x="7211286" y="1824114"/>
                </a:moveTo>
                <a:cubicBezTo>
                  <a:pt x="7241768" y="1824114"/>
                  <a:pt x="7266478" y="1848824"/>
                  <a:pt x="7266478" y="1879305"/>
                </a:cubicBezTo>
                <a:cubicBezTo>
                  <a:pt x="7266478" y="1909786"/>
                  <a:pt x="7241768" y="1934496"/>
                  <a:pt x="7211286" y="1934496"/>
                </a:cubicBezTo>
                <a:cubicBezTo>
                  <a:pt x="7180804" y="1934496"/>
                  <a:pt x="7156094" y="1909786"/>
                  <a:pt x="7156094" y="1879305"/>
                </a:cubicBezTo>
                <a:cubicBezTo>
                  <a:pt x="7156094" y="1848824"/>
                  <a:pt x="7180804" y="1824114"/>
                  <a:pt x="7211286" y="1824114"/>
                </a:cubicBezTo>
                <a:close/>
                <a:moveTo>
                  <a:pt x="7080993" y="1824114"/>
                </a:moveTo>
                <a:cubicBezTo>
                  <a:pt x="7111475" y="1824114"/>
                  <a:pt x="7136185" y="1848824"/>
                  <a:pt x="7136185" y="1879305"/>
                </a:cubicBezTo>
                <a:cubicBezTo>
                  <a:pt x="7136185" y="1909786"/>
                  <a:pt x="7111475" y="1934496"/>
                  <a:pt x="7080993" y="1934496"/>
                </a:cubicBezTo>
                <a:cubicBezTo>
                  <a:pt x="7050511" y="1934496"/>
                  <a:pt x="7025801" y="1909786"/>
                  <a:pt x="7025801" y="1879305"/>
                </a:cubicBezTo>
                <a:cubicBezTo>
                  <a:pt x="7025801" y="1848824"/>
                  <a:pt x="7050511" y="1824114"/>
                  <a:pt x="7080993" y="1824114"/>
                </a:cubicBezTo>
                <a:close/>
                <a:moveTo>
                  <a:pt x="6947357" y="1824114"/>
                </a:moveTo>
                <a:cubicBezTo>
                  <a:pt x="6977839" y="1824114"/>
                  <a:pt x="7002549" y="1848824"/>
                  <a:pt x="7002549" y="1879305"/>
                </a:cubicBezTo>
                <a:cubicBezTo>
                  <a:pt x="7002549" y="1909786"/>
                  <a:pt x="6977839" y="1934496"/>
                  <a:pt x="6947357" y="1934496"/>
                </a:cubicBezTo>
                <a:cubicBezTo>
                  <a:pt x="6916875" y="1934496"/>
                  <a:pt x="6892165" y="1909786"/>
                  <a:pt x="6892165" y="1879305"/>
                </a:cubicBezTo>
                <a:cubicBezTo>
                  <a:pt x="6892165" y="1848824"/>
                  <a:pt x="6916875" y="1824114"/>
                  <a:pt x="6947357" y="1824114"/>
                </a:cubicBezTo>
                <a:close/>
                <a:moveTo>
                  <a:pt x="6817063" y="1824114"/>
                </a:moveTo>
                <a:cubicBezTo>
                  <a:pt x="6847545" y="1824114"/>
                  <a:pt x="6872255" y="1848824"/>
                  <a:pt x="6872255" y="1879305"/>
                </a:cubicBezTo>
                <a:cubicBezTo>
                  <a:pt x="6872255" y="1909786"/>
                  <a:pt x="6847545" y="1934496"/>
                  <a:pt x="6817063" y="1934496"/>
                </a:cubicBezTo>
                <a:cubicBezTo>
                  <a:pt x="6786581" y="1934496"/>
                  <a:pt x="6761871" y="1909786"/>
                  <a:pt x="6761871" y="1879305"/>
                </a:cubicBezTo>
                <a:cubicBezTo>
                  <a:pt x="6761871" y="1848824"/>
                  <a:pt x="6786581" y="1824114"/>
                  <a:pt x="6817063" y="1824114"/>
                </a:cubicBezTo>
                <a:close/>
                <a:moveTo>
                  <a:pt x="6683431" y="1824114"/>
                </a:moveTo>
                <a:cubicBezTo>
                  <a:pt x="6713913" y="1824114"/>
                  <a:pt x="6738623" y="1848824"/>
                  <a:pt x="6738623" y="1879305"/>
                </a:cubicBezTo>
                <a:cubicBezTo>
                  <a:pt x="6738623" y="1909786"/>
                  <a:pt x="6713913" y="1934496"/>
                  <a:pt x="6683431" y="1934496"/>
                </a:cubicBezTo>
                <a:cubicBezTo>
                  <a:pt x="6652949" y="1934496"/>
                  <a:pt x="6628239" y="1909786"/>
                  <a:pt x="6628239" y="1879305"/>
                </a:cubicBezTo>
                <a:cubicBezTo>
                  <a:pt x="6628239" y="1848824"/>
                  <a:pt x="6652949" y="1824114"/>
                  <a:pt x="6683431" y="1824114"/>
                </a:cubicBezTo>
                <a:close/>
                <a:moveTo>
                  <a:pt x="6553137" y="1824114"/>
                </a:moveTo>
                <a:cubicBezTo>
                  <a:pt x="6583619" y="1824114"/>
                  <a:pt x="6608329" y="1848824"/>
                  <a:pt x="6608329" y="1879305"/>
                </a:cubicBezTo>
                <a:cubicBezTo>
                  <a:pt x="6608329" y="1909786"/>
                  <a:pt x="6583619" y="1934496"/>
                  <a:pt x="6553137" y="1934496"/>
                </a:cubicBezTo>
                <a:cubicBezTo>
                  <a:pt x="6522655" y="1934496"/>
                  <a:pt x="6497945" y="1909786"/>
                  <a:pt x="6497945" y="1879305"/>
                </a:cubicBezTo>
                <a:cubicBezTo>
                  <a:pt x="6497945" y="1848824"/>
                  <a:pt x="6522655" y="1824114"/>
                  <a:pt x="6553137" y="1824114"/>
                </a:cubicBezTo>
                <a:close/>
                <a:moveTo>
                  <a:pt x="6289207" y="1824114"/>
                </a:moveTo>
                <a:cubicBezTo>
                  <a:pt x="6319689" y="1824114"/>
                  <a:pt x="6344399" y="1848824"/>
                  <a:pt x="6344399" y="1879305"/>
                </a:cubicBezTo>
                <a:cubicBezTo>
                  <a:pt x="6344399" y="1909786"/>
                  <a:pt x="6319689" y="1934496"/>
                  <a:pt x="6289207" y="1934496"/>
                </a:cubicBezTo>
                <a:cubicBezTo>
                  <a:pt x="6258725" y="1934496"/>
                  <a:pt x="6234015" y="1909786"/>
                  <a:pt x="6234015" y="1879305"/>
                </a:cubicBezTo>
                <a:cubicBezTo>
                  <a:pt x="6234015" y="1848824"/>
                  <a:pt x="6258725" y="1824114"/>
                  <a:pt x="6289207" y="1824114"/>
                </a:cubicBezTo>
                <a:close/>
                <a:moveTo>
                  <a:pt x="6155572" y="1824114"/>
                </a:moveTo>
                <a:cubicBezTo>
                  <a:pt x="6186054" y="1824114"/>
                  <a:pt x="6210764" y="1848824"/>
                  <a:pt x="6210764" y="1879305"/>
                </a:cubicBezTo>
                <a:cubicBezTo>
                  <a:pt x="6210764" y="1909786"/>
                  <a:pt x="6186054" y="1934496"/>
                  <a:pt x="6155572" y="1934496"/>
                </a:cubicBezTo>
                <a:cubicBezTo>
                  <a:pt x="6125090" y="1934496"/>
                  <a:pt x="6100380" y="1909786"/>
                  <a:pt x="6100380" y="1879305"/>
                </a:cubicBezTo>
                <a:cubicBezTo>
                  <a:pt x="6100380" y="1848824"/>
                  <a:pt x="6125090" y="1824114"/>
                  <a:pt x="6155572" y="1824114"/>
                </a:cubicBezTo>
                <a:close/>
                <a:moveTo>
                  <a:pt x="6021938" y="1824114"/>
                </a:moveTo>
                <a:cubicBezTo>
                  <a:pt x="6052420" y="1824114"/>
                  <a:pt x="6077130" y="1848824"/>
                  <a:pt x="6077130" y="1879305"/>
                </a:cubicBezTo>
                <a:cubicBezTo>
                  <a:pt x="6077130" y="1909786"/>
                  <a:pt x="6052420" y="1934496"/>
                  <a:pt x="6021938" y="1934496"/>
                </a:cubicBezTo>
                <a:cubicBezTo>
                  <a:pt x="5991456" y="1934496"/>
                  <a:pt x="5966746" y="1909786"/>
                  <a:pt x="5966746" y="1879305"/>
                </a:cubicBezTo>
                <a:cubicBezTo>
                  <a:pt x="5966746" y="1848824"/>
                  <a:pt x="5991456" y="1824114"/>
                  <a:pt x="6021938" y="1824114"/>
                </a:cubicBezTo>
                <a:close/>
                <a:moveTo>
                  <a:pt x="5884964" y="1824114"/>
                </a:moveTo>
                <a:cubicBezTo>
                  <a:pt x="5915446" y="1824114"/>
                  <a:pt x="5940156" y="1848824"/>
                  <a:pt x="5940156" y="1879305"/>
                </a:cubicBezTo>
                <a:cubicBezTo>
                  <a:pt x="5940156" y="1909786"/>
                  <a:pt x="5915446" y="1934496"/>
                  <a:pt x="5884964" y="1934496"/>
                </a:cubicBezTo>
                <a:cubicBezTo>
                  <a:pt x="5854482" y="1934496"/>
                  <a:pt x="5829772" y="1909786"/>
                  <a:pt x="5829772" y="1879305"/>
                </a:cubicBezTo>
                <a:cubicBezTo>
                  <a:pt x="5829772" y="1848824"/>
                  <a:pt x="5854482" y="1824114"/>
                  <a:pt x="5884964" y="1824114"/>
                </a:cubicBezTo>
                <a:close/>
                <a:moveTo>
                  <a:pt x="5754670" y="1824114"/>
                </a:moveTo>
                <a:cubicBezTo>
                  <a:pt x="5785152" y="1824114"/>
                  <a:pt x="5809862" y="1848824"/>
                  <a:pt x="5809862" y="1879305"/>
                </a:cubicBezTo>
                <a:cubicBezTo>
                  <a:pt x="5809862" y="1909786"/>
                  <a:pt x="5785152" y="1934496"/>
                  <a:pt x="5754670" y="1934496"/>
                </a:cubicBezTo>
                <a:cubicBezTo>
                  <a:pt x="5724188" y="1934496"/>
                  <a:pt x="5699478" y="1909786"/>
                  <a:pt x="5699478" y="1879305"/>
                </a:cubicBezTo>
                <a:cubicBezTo>
                  <a:pt x="5699478" y="1848824"/>
                  <a:pt x="5724188" y="1824114"/>
                  <a:pt x="5754670" y="1824114"/>
                </a:cubicBezTo>
                <a:close/>
                <a:moveTo>
                  <a:pt x="5487399" y="1824114"/>
                </a:moveTo>
                <a:cubicBezTo>
                  <a:pt x="5517881" y="1824114"/>
                  <a:pt x="5542591" y="1848824"/>
                  <a:pt x="5542591" y="1879305"/>
                </a:cubicBezTo>
                <a:cubicBezTo>
                  <a:pt x="5542591" y="1909786"/>
                  <a:pt x="5517881" y="1934496"/>
                  <a:pt x="5487399" y="1934496"/>
                </a:cubicBezTo>
                <a:cubicBezTo>
                  <a:pt x="5456917" y="1934496"/>
                  <a:pt x="5432207" y="1909786"/>
                  <a:pt x="5432207" y="1879305"/>
                </a:cubicBezTo>
                <a:cubicBezTo>
                  <a:pt x="5432207" y="1848824"/>
                  <a:pt x="5456917" y="1824114"/>
                  <a:pt x="5487399" y="1824114"/>
                </a:cubicBezTo>
                <a:close/>
                <a:moveTo>
                  <a:pt x="5357105" y="1824114"/>
                </a:moveTo>
                <a:cubicBezTo>
                  <a:pt x="5387587" y="1824114"/>
                  <a:pt x="5412297" y="1848824"/>
                  <a:pt x="5412297" y="1879305"/>
                </a:cubicBezTo>
                <a:cubicBezTo>
                  <a:pt x="5412297" y="1909786"/>
                  <a:pt x="5387587" y="1934496"/>
                  <a:pt x="5357105" y="1934496"/>
                </a:cubicBezTo>
                <a:cubicBezTo>
                  <a:pt x="5326623" y="1934496"/>
                  <a:pt x="5301913" y="1909786"/>
                  <a:pt x="5301913" y="1879305"/>
                </a:cubicBezTo>
                <a:cubicBezTo>
                  <a:pt x="5301913" y="1848824"/>
                  <a:pt x="5326623" y="1824114"/>
                  <a:pt x="5357105" y="1824114"/>
                </a:cubicBezTo>
                <a:close/>
                <a:moveTo>
                  <a:pt x="5223473" y="1824114"/>
                </a:moveTo>
                <a:cubicBezTo>
                  <a:pt x="5253955" y="1824114"/>
                  <a:pt x="5278665" y="1848824"/>
                  <a:pt x="5278665" y="1879305"/>
                </a:cubicBezTo>
                <a:cubicBezTo>
                  <a:pt x="5278665" y="1909786"/>
                  <a:pt x="5253955" y="1934496"/>
                  <a:pt x="5223473" y="1934496"/>
                </a:cubicBezTo>
                <a:cubicBezTo>
                  <a:pt x="5192991" y="1934496"/>
                  <a:pt x="5168281" y="1909786"/>
                  <a:pt x="5168281" y="1879305"/>
                </a:cubicBezTo>
                <a:cubicBezTo>
                  <a:pt x="5168281" y="1848824"/>
                  <a:pt x="5192991" y="1824114"/>
                  <a:pt x="5223473" y="1824114"/>
                </a:cubicBezTo>
                <a:close/>
                <a:moveTo>
                  <a:pt x="5093178" y="1824114"/>
                </a:moveTo>
                <a:cubicBezTo>
                  <a:pt x="5123660" y="1824114"/>
                  <a:pt x="5148370" y="1848824"/>
                  <a:pt x="5148370" y="1879305"/>
                </a:cubicBezTo>
                <a:cubicBezTo>
                  <a:pt x="5148370" y="1909786"/>
                  <a:pt x="5123660" y="1934496"/>
                  <a:pt x="5093178" y="1934496"/>
                </a:cubicBezTo>
                <a:cubicBezTo>
                  <a:pt x="5062696" y="1934496"/>
                  <a:pt x="5037986" y="1909786"/>
                  <a:pt x="5037986" y="1879305"/>
                </a:cubicBezTo>
                <a:cubicBezTo>
                  <a:pt x="5037986" y="1848824"/>
                  <a:pt x="5062696" y="1824114"/>
                  <a:pt x="5093178" y="1824114"/>
                </a:cubicBezTo>
                <a:close/>
                <a:moveTo>
                  <a:pt x="4959543" y="1824114"/>
                </a:moveTo>
                <a:cubicBezTo>
                  <a:pt x="4990025" y="1824114"/>
                  <a:pt x="5014735" y="1848824"/>
                  <a:pt x="5014735" y="1879305"/>
                </a:cubicBezTo>
                <a:cubicBezTo>
                  <a:pt x="5014735" y="1909786"/>
                  <a:pt x="4990025" y="1934496"/>
                  <a:pt x="4959543" y="1934496"/>
                </a:cubicBezTo>
                <a:cubicBezTo>
                  <a:pt x="4929061" y="1934496"/>
                  <a:pt x="4904351" y="1909786"/>
                  <a:pt x="4904351" y="1879305"/>
                </a:cubicBezTo>
                <a:cubicBezTo>
                  <a:pt x="4904351" y="1848824"/>
                  <a:pt x="4929061" y="1824114"/>
                  <a:pt x="4959543" y="1824114"/>
                </a:cubicBezTo>
                <a:close/>
                <a:moveTo>
                  <a:pt x="4829250" y="1824114"/>
                </a:moveTo>
                <a:cubicBezTo>
                  <a:pt x="4859732" y="1824114"/>
                  <a:pt x="4884442" y="1848824"/>
                  <a:pt x="4884442" y="1879305"/>
                </a:cubicBezTo>
                <a:cubicBezTo>
                  <a:pt x="4884442" y="1909786"/>
                  <a:pt x="4859732" y="1934496"/>
                  <a:pt x="4829250" y="1934496"/>
                </a:cubicBezTo>
                <a:cubicBezTo>
                  <a:pt x="4798768" y="1934496"/>
                  <a:pt x="4774058" y="1909786"/>
                  <a:pt x="4774058" y="1879305"/>
                </a:cubicBezTo>
                <a:cubicBezTo>
                  <a:pt x="4774058" y="1848824"/>
                  <a:pt x="4798768" y="1824114"/>
                  <a:pt x="4829250" y="1824114"/>
                </a:cubicBezTo>
                <a:close/>
                <a:moveTo>
                  <a:pt x="4695613" y="1824114"/>
                </a:moveTo>
                <a:cubicBezTo>
                  <a:pt x="4726095" y="1824114"/>
                  <a:pt x="4750805" y="1848824"/>
                  <a:pt x="4750805" y="1879305"/>
                </a:cubicBezTo>
                <a:cubicBezTo>
                  <a:pt x="4750805" y="1909786"/>
                  <a:pt x="4726095" y="1934496"/>
                  <a:pt x="4695613" y="1934496"/>
                </a:cubicBezTo>
                <a:cubicBezTo>
                  <a:pt x="4665131" y="1934496"/>
                  <a:pt x="4640421" y="1909786"/>
                  <a:pt x="4640421" y="1879305"/>
                </a:cubicBezTo>
                <a:cubicBezTo>
                  <a:pt x="4640421" y="1848824"/>
                  <a:pt x="4665131" y="1824114"/>
                  <a:pt x="4695613" y="1824114"/>
                </a:cubicBezTo>
                <a:close/>
                <a:moveTo>
                  <a:pt x="2834762" y="1824114"/>
                </a:moveTo>
                <a:cubicBezTo>
                  <a:pt x="2865244" y="1824114"/>
                  <a:pt x="2889954" y="1848824"/>
                  <a:pt x="2889954" y="1879305"/>
                </a:cubicBezTo>
                <a:cubicBezTo>
                  <a:pt x="2889954" y="1909786"/>
                  <a:pt x="2865244" y="1934496"/>
                  <a:pt x="2834762" y="1934496"/>
                </a:cubicBezTo>
                <a:cubicBezTo>
                  <a:pt x="2804280" y="1934496"/>
                  <a:pt x="2779570" y="1909786"/>
                  <a:pt x="2779570" y="1879305"/>
                </a:cubicBezTo>
                <a:cubicBezTo>
                  <a:pt x="2779570" y="1848824"/>
                  <a:pt x="2804280" y="1824114"/>
                  <a:pt x="2834762" y="1824114"/>
                </a:cubicBezTo>
                <a:close/>
                <a:moveTo>
                  <a:pt x="2707807" y="1824114"/>
                </a:moveTo>
                <a:cubicBezTo>
                  <a:pt x="2738289" y="1824114"/>
                  <a:pt x="2762999" y="1848824"/>
                  <a:pt x="2762999" y="1879305"/>
                </a:cubicBezTo>
                <a:cubicBezTo>
                  <a:pt x="2762999" y="1909786"/>
                  <a:pt x="2738289" y="1934496"/>
                  <a:pt x="2707807" y="1934496"/>
                </a:cubicBezTo>
                <a:cubicBezTo>
                  <a:pt x="2677325" y="1934496"/>
                  <a:pt x="2652615" y="1909786"/>
                  <a:pt x="2652615" y="1879305"/>
                </a:cubicBezTo>
                <a:cubicBezTo>
                  <a:pt x="2652615" y="1848824"/>
                  <a:pt x="2677325" y="1824114"/>
                  <a:pt x="2707807" y="1824114"/>
                </a:cubicBezTo>
                <a:close/>
                <a:moveTo>
                  <a:pt x="2570834" y="1824114"/>
                </a:moveTo>
                <a:cubicBezTo>
                  <a:pt x="2601315" y="1824114"/>
                  <a:pt x="2626025" y="1848824"/>
                  <a:pt x="2626025" y="1879305"/>
                </a:cubicBezTo>
                <a:cubicBezTo>
                  <a:pt x="2626025" y="1909786"/>
                  <a:pt x="2601315" y="1934496"/>
                  <a:pt x="2570834" y="1934496"/>
                </a:cubicBezTo>
                <a:cubicBezTo>
                  <a:pt x="2540351" y="1934496"/>
                  <a:pt x="2515641" y="1909786"/>
                  <a:pt x="2515641" y="1879305"/>
                </a:cubicBezTo>
                <a:cubicBezTo>
                  <a:pt x="2515641" y="1848824"/>
                  <a:pt x="2540351" y="1824114"/>
                  <a:pt x="2570834" y="1824114"/>
                </a:cubicBezTo>
                <a:close/>
                <a:moveTo>
                  <a:pt x="2437196" y="1824114"/>
                </a:moveTo>
                <a:cubicBezTo>
                  <a:pt x="2467679" y="1824114"/>
                  <a:pt x="2492389" y="1848824"/>
                  <a:pt x="2492389" y="1879305"/>
                </a:cubicBezTo>
                <a:cubicBezTo>
                  <a:pt x="2492389" y="1909786"/>
                  <a:pt x="2467679" y="1934496"/>
                  <a:pt x="2437196" y="1934496"/>
                </a:cubicBezTo>
                <a:cubicBezTo>
                  <a:pt x="2406715" y="1934496"/>
                  <a:pt x="2382005" y="1909786"/>
                  <a:pt x="2382005" y="1879305"/>
                </a:cubicBezTo>
                <a:cubicBezTo>
                  <a:pt x="2382005" y="1848824"/>
                  <a:pt x="2406715" y="1824114"/>
                  <a:pt x="2437196" y="1824114"/>
                </a:cubicBezTo>
                <a:close/>
                <a:moveTo>
                  <a:pt x="2303564" y="1824114"/>
                </a:moveTo>
                <a:cubicBezTo>
                  <a:pt x="2334046" y="1824114"/>
                  <a:pt x="2358756" y="1848824"/>
                  <a:pt x="2358756" y="1879305"/>
                </a:cubicBezTo>
                <a:cubicBezTo>
                  <a:pt x="2358756" y="1909786"/>
                  <a:pt x="2334046" y="1934496"/>
                  <a:pt x="2303564" y="1934496"/>
                </a:cubicBezTo>
                <a:cubicBezTo>
                  <a:pt x="2273082" y="1934496"/>
                  <a:pt x="2248372" y="1909786"/>
                  <a:pt x="2248372" y="1879305"/>
                </a:cubicBezTo>
                <a:cubicBezTo>
                  <a:pt x="2248372" y="1848824"/>
                  <a:pt x="2273082" y="1824114"/>
                  <a:pt x="2303564" y="1824114"/>
                </a:cubicBezTo>
                <a:close/>
                <a:moveTo>
                  <a:pt x="2173271" y="1824114"/>
                </a:moveTo>
                <a:cubicBezTo>
                  <a:pt x="2203753" y="1824114"/>
                  <a:pt x="2228463" y="1848824"/>
                  <a:pt x="2228463" y="1879305"/>
                </a:cubicBezTo>
                <a:cubicBezTo>
                  <a:pt x="2228463" y="1909786"/>
                  <a:pt x="2203753" y="1934496"/>
                  <a:pt x="2173271" y="1934496"/>
                </a:cubicBezTo>
                <a:cubicBezTo>
                  <a:pt x="2142789" y="1934496"/>
                  <a:pt x="2118079" y="1909786"/>
                  <a:pt x="2118079" y="1879305"/>
                </a:cubicBezTo>
                <a:cubicBezTo>
                  <a:pt x="2118079" y="1848824"/>
                  <a:pt x="2142789" y="1824114"/>
                  <a:pt x="2173271" y="1824114"/>
                </a:cubicBezTo>
                <a:close/>
                <a:moveTo>
                  <a:pt x="2039637" y="1824114"/>
                </a:moveTo>
                <a:cubicBezTo>
                  <a:pt x="2070119" y="1824114"/>
                  <a:pt x="2094830" y="1848824"/>
                  <a:pt x="2094830" y="1879305"/>
                </a:cubicBezTo>
                <a:cubicBezTo>
                  <a:pt x="2094830" y="1909786"/>
                  <a:pt x="2070119" y="1934496"/>
                  <a:pt x="2039637" y="1934496"/>
                </a:cubicBezTo>
                <a:cubicBezTo>
                  <a:pt x="2009155" y="1934496"/>
                  <a:pt x="1984445" y="1909786"/>
                  <a:pt x="1984445" y="1879305"/>
                </a:cubicBezTo>
                <a:cubicBezTo>
                  <a:pt x="1984445" y="1848824"/>
                  <a:pt x="2009155" y="1824114"/>
                  <a:pt x="2039637" y="1824114"/>
                </a:cubicBezTo>
                <a:close/>
                <a:moveTo>
                  <a:pt x="1909341" y="1824114"/>
                </a:moveTo>
                <a:cubicBezTo>
                  <a:pt x="1939823" y="1824114"/>
                  <a:pt x="1964533" y="1848824"/>
                  <a:pt x="1964533" y="1879305"/>
                </a:cubicBezTo>
                <a:cubicBezTo>
                  <a:pt x="1964533" y="1909786"/>
                  <a:pt x="1939823" y="1934496"/>
                  <a:pt x="1909341" y="1934496"/>
                </a:cubicBezTo>
                <a:cubicBezTo>
                  <a:pt x="1878859" y="1934496"/>
                  <a:pt x="1854149" y="1909786"/>
                  <a:pt x="1854149" y="1879305"/>
                </a:cubicBezTo>
                <a:cubicBezTo>
                  <a:pt x="1854149" y="1848824"/>
                  <a:pt x="1878859" y="1824114"/>
                  <a:pt x="1909341" y="1824114"/>
                </a:cubicBezTo>
                <a:close/>
                <a:moveTo>
                  <a:pt x="1779049" y="1824114"/>
                </a:moveTo>
                <a:cubicBezTo>
                  <a:pt x="1809531" y="1824114"/>
                  <a:pt x="1834241" y="1848824"/>
                  <a:pt x="1834241" y="1879305"/>
                </a:cubicBezTo>
                <a:cubicBezTo>
                  <a:pt x="1834241" y="1909786"/>
                  <a:pt x="1809531" y="1934496"/>
                  <a:pt x="1779049" y="1934496"/>
                </a:cubicBezTo>
                <a:cubicBezTo>
                  <a:pt x="1748566" y="1934496"/>
                  <a:pt x="1723856" y="1909786"/>
                  <a:pt x="1723856" y="1879305"/>
                </a:cubicBezTo>
                <a:cubicBezTo>
                  <a:pt x="1723856" y="1848824"/>
                  <a:pt x="1748566" y="1824114"/>
                  <a:pt x="1779049" y="1824114"/>
                </a:cubicBezTo>
                <a:close/>
                <a:moveTo>
                  <a:pt x="1645413" y="1824114"/>
                </a:moveTo>
                <a:cubicBezTo>
                  <a:pt x="1675895" y="1824114"/>
                  <a:pt x="1700604" y="1848824"/>
                  <a:pt x="1700604" y="1879305"/>
                </a:cubicBezTo>
                <a:cubicBezTo>
                  <a:pt x="1700604" y="1909786"/>
                  <a:pt x="1675895" y="1934496"/>
                  <a:pt x="1645413" y="1934496"/>
                </a:cubicBezTo>
                <a:cubicBezTo>
                  <a:pt x="1614930" y="1934496"/>
                  <a:pt x="1590220" y="1909786"/>
                  <a:pt x="1590220" y="1879305"/>
                </a:cubicBezTo>
                <a:cubicBezTo>
                  <a:pt x="1590220" y="1848824"/>
                  <a:pt x="1614930" y="1824114"/>
                  <a:pt x="1645413" y="1824114"/>
                </a:cubicBezTo>
                <a:close/>
                <a:moveTo>
                  <a:pt x="1515120" y="1824114"/>
                </a:moveTo>
                <a:cubicBezTo>
                  <a:pt x="1545602" y="1824114"/>
                  <a:pt x="1570311" y="1848824"/>
                  <a:pt x="1570311" y="1879305"/>
                </a:cubicBezTo>
                <a:cubicBezTo>
                  <a:pt x="1570311" y="1909786"/>
                  <a:pt x="1545602" y="1934496"/>
                  <a:pt x="1515120" y="1934496"/>
                </a:cubicBezTo>
                <a:cubicBezTo>
                  <a:pt x="1484638" y="1934496"/>
                  <a:pt x="1459927" y="1909786"/>
                  <a:pt x="1459927" y="1879305"/>
                </a:cubicBezTo>
                <a:cubicBezTo>
                  <a:pt x="1459927" y="1848824"/>
                  <a:pt x="1484638" y="1824114"/>
                  <a:pt x="1515120" y="1824114"/>
                </a:cubicBezTo>
                <a:close/>
                <a:moveTo>
                  <a:pt x="1381486" y="1824114"/>
                </a:moveTo>
                <a:cubicBezTo>
                  <a:pt x="1411968" y="1824114"/>
                  <a:pt x="1436678" y="1848824"/>
                  <a:pt x="1436678" y="1879305"/>
                </a:cubicBezTo>
                <a:cubicBezTo>
                  <a:pt x="1436678" y="1909786"/>
                  <a:pt x="1411968" y="1934496"/>
                  <a:pt x="1381486" y="1934496"/>
                </a:cubicBezTo>
                <a:cubicBezTo>
                  <a:pt x="1351005" y="1934496"/>
                  <a:pt x="1326294" y="1909786"/>
                  <a:pt x="1326294" y="1879305"/>
                </a:cubicBezTo>
                <a:cubicBezTo>
                  <a:pt x="1326294" y="1848824"/>
                  <a:pt x="1351005" y="1824114"/>
                  <a:pt x="1381486" y="1824114"/>
                </a:cubicBezTo>
                <a:close/>
                <a:moveTo>
                  <a:pt x="1251193" y="1824114"/>
                </a:moveTo>
                <a:cubicBezTo>
                  <a:pt x="1281674" y="1824114"/>
                  <a:pt x="1306386" y="1848824"/>
                  <a:pt x="1306386" y="1879305"/>
                </a:cubicBezTo>
                <a:cubicBezTo>
                  <a:pt x="1306386" y="1909786"/>
                  <a:pt x="1281674" y="1934496"/>
                  <a:pt x="1251193" y="1934496"/>
                </a:cubicBezTo>
                <a:cubicBezTo>
                  <a:pt x="1220711" y="1934496"/>
                  <a:pt x="1196001" y="1909786"/>
                  <a:pt x="1196001" y="1879305"/>
                </a:cubicBezTo>
                <a:cubicBezTo>
                  <a:pt x="1196001" y="1848824"/>
                  <a:pt x="1220711" y="1824114"/>
                  <a:pt x="1251193" y="1824114"/>
                </a:cubicBezTo>
                <a:close/>
                <a:moveTo>
                  <a:pt x="4565336" y="1824106"/>
                </a:moveTo>
                <a:cubicBezTo>
                  <a:pt x="4595818" y="1824106"/>
                  <a:pt x="4620528" y="1848816"/>
                  <a:pt x="4620528" y="1879297"/>
                </a:cubicBezTo>
                <a:cubicBezTo>
                  <a:pt x="4620528" y="1909778"/>
                  <a:pt x="4595818" y="1934488"/>
                  <a:pt x="4565336" y="1934488"/>
                </a:cubicBezTo>
                <a:cubicBezTo>
                  <a:pt x="4534854" y="1934488"/>
                  <a:pt x="4510144" y="1909778"/>
                  <a:pt x="4510144" y="1879297"/>
                </a:cubicBezTo>
                <a:cubicBezTo>
                  <a:pt x="4510144" y="1848816"/>
                  <a:pt x="4534854" y="1824106"/>
                  <a:pt x="4565336" y="1824106"/>
                </a:cubicBezTo>
                <a:close/>
                <a:moveTo>
                  <a:pt x="4431689" y="1824098"/>
                </a:moveTo>
                <a:cubicBezTo>
                  <a:pt x="4462171" y="1824098"/>
                  <a:pt x="4486881" y="1848808"/>
                  <a:pt x="4486881" y="1879289"/>
                </a:cubicBezTo>
                <a:cubicBezTo>
                  <a:pt x="4486881" y="1909770"/>
                  <a:pt x="4462171" y="1934480"/>
                  <a:pt x="4431689" y="1934480"/>
                </a:cubicBezTo>
                <a:cubicBezTo>
                  <a:pt x="4401207" y="1934480"/>
                  <a:pt x="4376497" y="1909770"/>
                  <a:pt x="4376497" y="1879289"/>
                </a:cubicBezTo>
                <a:cubicBezTo>
                  <a:pt x="4376497" y="1848808"/>
                  <a:pt x="4401207" y="1824098"/>
                  <a:pt x="4431689" y="1824098"/>
                </a:cubicBezTo>
                <a:close/>
                <a:moveTo>
                  <a:pt x="8801537" y="1707182"/>
                </a:moveTo>
                <a:cubicBezTo>
                  <a:pt x="8832019" y="1707182"/>
                  <a:pt x="8856729" y="1731892"/>
                  <a:pt x="8856729" y="1762373"/>
                </a:cubicBezTo>
                <a:cubicBezTo>
                  <a:pt x="8856729" y="1792854"/>
                  <a:pt x="8832019" y="1817564"/>
                  <a:pt x="8801537" y="1817564"/>
                </a:cubicBezTo>
                <a:cubicBezTo>
                  <a:pt x="8771055" y="1817564"/>
                  <a:pt x="8746345" y="1792854"/>
                  <a:pt x="8746345" y="1762373"/>
                </a:cubicBezTo>
                <a:cubicBezTo>
                  <a:pt x="8746345" y="1731892"/>
                  <a:pt x="8771055" y="1707182"/>
                  <a:pt x="8801537" y="1707182"/>
                </a:cubicBezTo>
                <a:close/>
                <a:moveTo>
                  <a:pt x="8671243" y="1707182"/>
                </a:moveTo>
                <a:cubicBezTo>
                  <a:pt x="8701725" y="1707182"/>
                  <a:pt x="8726435" y="1731892"/>
                  <a:pt x="8726435" y="1762373"/>
                </a:cubicBezTo>
                <a:cubicBezTo>
                  <a:pt x="8726435" y="1792854"/>
                  <a:pt x="8701725" y="1817564"/>
                  <a:pt x="8671243" y="1817564"/>
                </a:cubicBezTo>
                <a:cubicBezTo>
                  <a:pt x="8640761" y="1817564"/>
                  <a:pt x="8616051" y="1792854"/>
                  <a:pt x="8616051" y="1762373"/>
                </a:cubicBezTo>
                <a:cubicBezTo>
                  <a:pt x="8616051" y="1731892"/>
                  <a:pt x="8640761" y="1707182"/>
                  <a:pt x="8671243" y="1707182"/>
                </a:cubicBezTo>
                <a:close/>
                <a:moveTo>
                  <a:pt x="8537609" y="1707182"/>
                </a:moveTo>
                <a:cubicBezTo>
                  <a:pt x="8568091" y="1707182"/>
                  <a:pt x="8592801" y="1731892"/>
                  <a:pt x="8592801" y="1762373"/>
                </a:cubicBezTo>
                <a:cubicBezTo>
                  <a:pt x="8592801" y="1792854"/>
                  <a:pt x="8568091" y="1817564"/>
                  <a:pt x="8537609" y="1817564"/>
                </a:cubicBezTo>
                <a:cubicBezTo>
                  <a:pt x="8507127" y="1817564"/>
                  <a:pt x="8482417" y="1792854"/>
                  <a:pt x="8482417" y="1762373"/>
                </a:cubicBezTo>
                <a:cubicBezTo>
                  <a:pt x="8482417" y="1731892"/>
                  <a:pt x="8507127" y="1707182"/>
                  <a:pt x="8537609" y="1707182"/>
                </a:cubicBezTo>
                <a:close/>
                <a:moveTo>
                  <a:pt x="8407318" y="1707182"/>
                </a:moveTo>
                <a:cubicBezTo>
                  <a:pt x="8437800" y="1707182"/>
                  <a:pt x="8462510" y="1731892"/>
                  <a:pt x="8462510" y="1762373"/>
                </a:cubicBezTo>
                <a:cubicBezTo>
                  <a:pt x="8462510" y="1792854"/>
                  <a:pt x="8437800" y="1817564"/>
                  <a:pt x="8407318" y="1817564"/>
                </a:cubicBezTo>
                <a:cubicBezTo>
                  <a:pt x="8376836" y="1817564"/>
                  <a:pt x="8352126" y="1792854"/>
                  <a:pt x="8352126" y="1762373"/>
                </a:cubicBezTo>
                <a:cubicBezTo>
                  <a:pt x="8352126" y="1731892"/>
                  <a:pt x="8376836" y="1707182"/>
                  <a:pt x="8407318" y="1707182"/>
                </a:cubicBezTo>
                <a:close/>
                <a:moveTo>
                  <a:pt x="8273682" y="1707182"/>
                </a:moveTo>
                <a:cubicBezTo>
                  <a:pt x="8304164" y="1707182"/>
                  <a:pt x="8328874" y="1731892"/>
                  <a:pt x="8328874" y="1762373"/>
                </a:cubicBezTo>
                <a:cubicBezTo>
                  <a:pt x="8328874" y="1792854"/>
                  <a:pt x="8304164" y="1817564"/>
                  <a:pt x="8273682" y="1817564"/>
                </a:cubicBezTo>
                <a:cubicBezTo>
                  <a:pt x="8243200" y="1817564"/>
                  <a:pt x="8218490" y="1792854"/>
                  <a:pt x="8218490" y="1762373"/>
                </a:cubicBezTo>
                <a:cubicBezTo>
                  <a:pt x="8218490" y="1731892"/>
                  <a:pt x="8243200" y="1707182"/>
                  <a:pt x="8273682" y="1707182"/>
                </a:cubicBezTo>
                <a:close/>
                <a:moveTo>
                  <a:pt x="8143386" y="1707182"/>
                </a:moveTo>
                <a:cubicBezTo>
                  <a:pt x="8173868" y="1707182"/>
                  <a:pt x="8198578" y="1731892"/>
                  <a:pt x="8198578" y="1762373"/>
                </a:cubicBezTo>
                <a:cubicBezTo>
                  <a:pt x="8198578" y="1792854"/>
                  <a:pt x="8173868" y="1817564"/>
                  <a:pt x="8143386" y="1817564"/>
                </a:cubicBezTo>
                <a:cubicBezTo>
                  <a:pt x="8112904" y="1817564"/>
                  <a:pt x="8088194" y="1792854"/>
                  <a:pt x="8088194" y="1762373"/>
                </a:cubicBezTo>
                <a:cubicBezTo>
                  <a:pt x="8088194" y="1731892"/>
                  <a:pt x="8112904" y="1707182"/>
                  <a:pt x="8143386" y="1707182"/>
                </a:cubicBezTo>
                <a:close/>
                <a:moveTo>
                  <a:pt x="8009752" y="1707182"/>
                </a:moveTo>
                <a:cubicBezTo>
                  <a:pt x="8040234" y="1707182"/>
                  <a:pt x="8064944" y="1731892"/>
                  <a:pt x="8064944" y="1762373"/>
                </a:cubicBezTo>
                <a:cubicBezTo>
                  <a:pt x="8064944" y="1792854"/>
                  <a:pt x="8040234" y="1817564"/>
                  <a:pt x="8009752" y="1817564"/>
                </a:cubicBezTo>
                <a:cubicBezTo>
                  <a:pt x="7979270" y="1817564"/>
                  <a:pt x="7954560" y="1792854"/>
                  <a:pt x="7954560" y="1762373"/>
                </a:cubicBezTo>
                <a:cubicBezTo>
                  <a:pt x="7954560" y="1731892"/>
                  <a:pt x="7979270" y="1707182"/>
                  <a:pt x="8009752" y="1707182"/>
                </a:cubicBezTo>
                <a:close/>
                <a:moveTo>
                  <a:pt x="7876117" y="1707182"/>
                </a:moveTo>
                <a:cubicBezTo>
                  <a:pt x="7906599" y="1707182"/>
                  <a:pt x="7931309" y="1731892"/>
                  <a:pt x="7931309" y="1762373"/>
                </a:cubicBezTo>
                <a:cubicBezTo>
                  <a:pt x="7931309" y="1792854"/>
                  <a:pt x="7906599" y="1817564"/>
                  <a:pt x="7876117" y="1817564"/>
                </a:cubicBezTo>
                <a:cubicBezTo>
                  <a:pt x="7845635" y="1817564"/>
                  <a:pt x="7820925" y="1792854"/>
                  <a:pt x="7820925" y="1762373"/>
                </a:cubicBezTo>
                <a:cubicBezTo>
                  <a:pt x="7820925" y="1731892"/>
                  <a:pt x="7845635" y="1707182"/>
                  <a:pt x="7876117" y="1707182"/>
                </a:cubicBezTo>
                <a:close/>
                <a:moveTo>
                  <a:pt x="7745824" y="1707182"/>
                </a:moveTo>
                <a:cubicBezTo>
                  <a:pt x="7776306" y="1707182"/>
                  <a:pt x="7801016" y="1731892"/>
                  <a:pt x="7801016" y="1762373"/>
                </a:cubicBezTo>
                <a:cubicBezTo>
                  <a:pt x="7801016" y="1792854"/>
                  <a:pt x="7776306" y="1817564"/>
                  <a:pt x="7745824" y="1817564"/>
                </a:cubicBezTo>
                <a:cubicBezTo>
                  <a:pt x="7715342" y="1817564"/>
                  <a:pt x="7690632" y="1792854"/>
                  <a:pt x="7690632" y="1762373"/>
                </a:cubicBezTo>
                <a:cubicBezTo>
                  <a:pt x="7690632" y="1731892"/>
                  <a:pt x="7715342" y="1707182"/>
                  <a:pt x="7745824" y="1707182"/>
                </a:cubicBezTo>
                <a:close/>
                <a:moveTo>
                  <a:pt x="7608849" y="1707182"/>
                </a:moveTo>
                <a:cubicBezTo>
                  <a:pt x="7639331" y="1707182"/>
                  <a:pt x="7664041" y="1731892"/>
                  <a:pt x="7664041" y="1762373"/>
                </a:cubicBezTo>
                <a:cubicBezTo>
                  <a:pt x="7664041" y="1792854"/>
                  <a:pt x="7639331" y="1817564"/>
                  <a:pt x="7608849" y="1817564"/>
                </a:cubicBezTo>
                <a:cubicBezTo>
                  <a:pt x="7578367" y="1817564"/>
                  <a:pt x="7553657" y="1792854"/>
                  <a:pt x="7553657" y="1762373"/>
                </a:cubicBezTo>
                <a:cubicBezTo>
                  <a:pt x="7553657" y="1731892"/>
                  <a:pt x="7578367" y="1707182"/>
                  <a:pt x="7608849" y="1707182"/>
                </a:cubicBezTo>
                <a:close/>
                <a:moveTo>
                  <a:pt x="7481895" y="1707182"/>
                </a:moveTo>
                <a:cubicBezTo>
                  <a:pt x="7512377" y="1707182"/>
                  <a:pt x="7537087" y="1731892"/>
                  <a:pt x="7537087" y="1762373"/>
                </a:cubicBezTo>
                <a:cubicBezTo>
                  <a:pt x="7537087" y="1792854"/>
                  <a:pt x="7512377" y="1817564"/>
                  <a:pt x="7481895" y="1817564"/>
                </a:cubicBezTo>
                <a:cubicBezTo>
                  <a:pt x="7451413" y="1817564"/>
                  <a:pt x="7426703" y="1792854"/>
                  <a:pt x="7426703" y="1762373"/>
                </a:cubicBezTo>
                <a:cubicBezTo>
                  <a:pt x="7426703" y="1731892"/>
                  <a:pt x="7451413" y="1707182"/>
                  <a:pt x="7481895" y="1707182"/>
                </a:cubicBezTo>
                <a:close/>
                <a:moveTo>
                  <a:pt x="7341579" y="1707182"/>
                </a:moveTo>
                <a:cubicBezTo>
                  <a:pt x="7372061" y="1707182"/>
                  <a:pt x="7396771" y="1731892"/>
                  <a:pt x="7396771" y="1762373"/>
                </a:cubicBezTo>
                <a:cubicBezTo>
                  <a:pt x="7396771" y="1792854"/>
                  <a:pt x="7372061" y="1817564"/>
                  <a:pt x="7341579" y="1817564"/>
                </a:cubicBezTo>
                <a:cubicBezTo>
                  <a:pt x="7311097" y="1817564"/>
                  <a:pt x="7286387" y="1792854"/>
                  <a:pt x="7286387" y="1762373"/>
                </a:cubicBezTo>
                <a:cubicBezTo>
                  <a:pt x="7286387" y="1731892"/>
                  <a:pt x="7311097" y="1707182"/>
                  <a:pt x="7341579" y="1707182"/>
                </a:cubicBezTo>
                <a:close/>
                <a:moveTo>
                  <a:pt x="7211286" y="1707182"/>
                </a:moveTo>
                <a:cubicBezTo>
                  <a:pt x="7241768" y="1707182"/>
                  <a:pt x="7266478" y="1731892"/>
                  <a:pt x="7266478" y="1762373"/>
                </a:cubicBezTo>
                <a:cubicBezTo>
                  <a:pt x="7266478" y="1792854"/>
                  <a:pt x="7241768" y="1817564"/>
                  <a:pt x="7211286" y="1817564"/>
                </a:cubicBezTo>
                <a:cubicBezTo>
                  <a:pt x="7180804" y="1817564"/>
                  <a:pt x="7156094" y="1792854"/>
                  <a:pt x="7156094" y="1762373"/>
                </a:cubicBezTo>
                <a:cubicBezTo>
                  <a:pt x="7156094" y="1731892"/>
                  <a:pt x="7180804" y="1707182"/>
                  <a:pt x="7211286" y="1707182"/>
                </a:cubicBezTo>
                <a:close/>
                <a:moveTo>
                  <a:pt x="7080993" y="1707182"/>
                </a:moveTo>
                <a:cubicBezTo>
                  <a:pt x="7111475" y="1707182"/>
                  <a:pt x="7136185" y="1731892"/>
                  <a:pt x="7136185" y="1762373"/>
                </a:cubicBezTo>
                <a:cubicBezTo>
                  <a:pt x="7136185" y="1792854"/>
                  <a:pt x="7111475" y="1817564"/>
                  <a:pt x="7080993" y="1817564"/>
                </a:cubicBezTo>
                <a:cubicBezTo>
                  <a:pt x="7050511" y="1817564"/>
                  <a:pt x="7025801" y="1792854"/>
                  <a:pt x="7025801" y="1762373"/>
                </a:cubicBezTo>
                <a:cubicBezTo>
                  <a:pt x="7025801" y="1731892"/>
                  <a:pt x="7050511" y="1707182"/>
                  <a:pt x="7080993" y="1707182"/>
                </a:cubicBezTo>
                <a:close/>
                <a:moveTo>
                  <a:pt x="6947357" y="1707182"/>
                </a:moveTo>
                <a:cubicBezTo>
                  <a:pt x="6977839" y="1707182"/>
                  <a:pt x="7002549" y="1731892"/>
                  <a:pt x="7002549" y="1762373"/>
                </a:cubicBezTo>
                <a:cubicBezTo>
                  <a:pt x="7002549" y="1792854"/>
                  <a:pt x="6977839" y="1817564"/>
                  <a:pt x="6947357" y="1817564"/>
                </a:cubicBezTo>
                <a:cubicBezTo>
                  <a:pt x="6916875" y="1817564"/>
                  <a:pt x="6892165" y="1792854"/>
                  <a:pt x="6892165" y="1762373"/>
                </a:cubicBezTo>
                <a:cubicBezTo>
                  <a:pt x="6892165" y="1731892"/>
                  <a:pt x="6916875" y="1707182"/>
                  <a:pt x="6947357" y="1707182"/>
                </a:cubicBezTo>
                <a:close/>
                <a:moveTo>
                  <a:pt x="6817063" y="1707182"/>
                </a:moveTo>
                <a:cubicBezTo>
                  <a:pt x="6847545" y="1707182"/>
                  <a:pt x="6872255" y="1731892"/>
                  <a:pt x="6872255" y="1762373"/>
                </a:cubicBezTo>
                <a:cubicBezTo>
                  <a:pt x="6872255" y="1792854"/>
                  <a:pt x="6847545" y="1817564"/>
                  <a:pt x="6817063" y="1817564"/>
                </a:cubicBezTo>
                <a:cubicBezTo>
                  <a:pt x="6786581" y="1817564"/>
                  <a:pt x="6761871" y="1792854"/>
                  <a:pt x="6761871" y="1762373"/>
                </a:cubicBezTo>
                <a:cubicBezTo>
                  <a:pt x="6761871" y="1731892"/>
                  <a:pt x="6786581" y="1707182"/>
                  <a:pt x="6817063" y="1707182"/>
                </a:cubicBezTo>
                <a:close/>
                <a:moveTo>
                  <a:pt x="6683431" y="1707182"/>
                </a:moveTo>
                <a:cubicBezTo>
                  <a:pt x="6713913" y="1707182"/>
                  <a:pt x="6738623" y="1731892"/>
                  <a:pt x="6738623" y="1762373"/>
                </a:cubicBezTo>
                <a:cubicBezTo>
                  <a:pt x="6738623" y="1792854"/>
                  <a:pt x="6713913" y="1817564"/>
                  <a:pt x="6683431" y="1817564"/>
                </a:cubicBezTo>
                <a:cubicBezTo>
                  <a:pt x="6652949" y="1817564"/>
                  <a:pt x="6628239" y="1792854"/>
                  <a:pt x="6628239" y="1762373"/>
                </a:cubicBezTo>
                <a:cubicBezTo>
                  <a:pt x="6628239" y="1731892"/>
                  <a:pt x="6652949" y="1707182"/>
                  <a:pt x="6683431" y="1707182"/>
                </a:cubicBezTo>
                <a:close/>
                <a:moveTo>
                  <a:pt x="6553137" y="1707182"/>
                </a:moveTo>
                <a:cubicBezTo>
                  <a:pt x="6583619" y="1707182"/>
                  <a:pt x="6608329" y="1731892"/>
                  <a:pt x="6608329" y="1762373"/>
                </a:cubicBezTo>
                <a:cubicBezTo>
                  <a:pt x="6608329" y="1792854"/>
                  <a:pt x="6583619" y="1817564"/>
                  <a:pt x="6553137" y="1817564"/>
                </a:cubicBezTo>
                <a:cubicBezTo>
                  <a:pt x="6522655" y="1817564"/>
                  <a:pt x="6497945" y="1792854"/>
                  <a:pt x="6497945" y="1762373"/>
                </a:cubicBezTo>
                <a:cubicBezTo>
                  <a:pt x="6497945" y="1731892"/>
                  <a:pt x="6522655" y="1707182"/>
                  <a:pt x="6553137" y="1707182"/>
                </a:cubicBezTo>
                <a:close/>
                <a:moveTo>
                  <a:pt x="6419502" y="1707182"/>
                </a:moveTo>
                <a:cubicBezTo>
                  <a:pt x="6449984" y="1707182"/>
                  <a:pt x="6474694" y="1731892"/>
                  <a:pt x="6474694" y="1762373"/>
                </a:cubicBezTo>
                <a:cubicBezTo>
                  <a:pt x="6474694" y="1792854"/>
                  <a:pt x="6449984" y="1817564"/>
                  <a:pt x="6419502" y="1817564"/>
                </a:cubicBezTo>
                <a:cubicBezTo>
                  <a:pt x="6389020" y="1817564"/>
                  <a:pt x="6364310" y="1792854"/>
                  <a:pt x="6364310" y="1762373"/>
                </a:cubicBezTo>
                <a:cubicBezTo>
                  <a:pt x="6364310" y="1731892"/>
                  <a:pt x="6389020" y="1707182"/>
                  <a:pt x="6419502" y="1707182"/>
                </a:cubicBezTo>
                <a:close/>
                <a:moveTo>
                  <a:pt x="6289207" y="1707182"/>
                </a:moveTo>
                <a:cubicBezTo>
                  <a:pt x="6319689" y="1707182"/>
                  <a:pt x="6344399" y="1731892"/>
                  <a:pt x="6344399" y="1762373"/>
                </a:cubicBezTo>
                <a:cubicBezTo>
                  <a:pt x="6344399" y="1792854"/>
                  <a:pt x="6319689" y="1817564"/>
                  <a:pt x="6289207" y="1817564"/>
                </a:cubicBezTo>
                <a:cubicBezTo>
                  <a:pt x="6258725" y="1817564"/>
                  <a:pt x="6234015" y="1792854"/>
                  <a:pt x="6234015" y="1762373"/>
                </a:cubicBezTo>
                <a:cubicBezTo>
                  <a:pt x="6234015" y="1731892"/>
                  <a:pt x="6258725" y="1707182"/>
                  <a:pt x="6289207" y="1707182"/>
                </a:cubicBezTo>
                <a:close/>
                <a:moveTo>
                  <a:pt x="6155572" y="1707182"/>
                </a:moveTo>
                <a:cubicBezTo>
                  <a:pt x="6186054" y="1707182"/>
                  <a:pt x="6210764" y="1731892"/>
                  <a:pt x="6210764" y="1762373"/>
                </a:cubicBezTo>
                <a:cubicBezTo>
                  <a:pt x="6210764" y="1792854"/>
                  <a:pt x="6186054" y="1817564"/>
                  <a:pt x="6155572" y="1817564"/>
                </a:cubicBezTo>
                <a:cubicBezTo>
                  <a:pt x="6125090" y="1817564"/>
                  <a:pt x="6100380" y="1792854"/>
                  <a:pt x="6100380" y="1762373"/>
                </a:cubicBezTo>
                <a:cubicBezTo>
                  <a:pt x="6100380" y="1731892"/>
                  <a:pt x="6125090" y="1707182"/>
                  <a:pt x="6155572" y="1707182"/>
                </a:cubicBezTo>
                <a:close/>
                <a:moveTo>
                  <a:pt x="6021938" y="1707182"/>
                </a:moveTo>
                <a:cubicBezTo>
                  <a:pt x="6052420" y="1707182"/>
                  <a:pt x="6077130" y="1731892"/>
                  <a:pt x="6077130" y="1762373"/>
                </a:cubicBezTo>
                <a:cubicBezTo>
                  <a:pt x="6077130" y="1792854"/>
                  <a:pt x="6052420" y="1817564"/>
                  <a:pt x="6021938" y="1817564"/>
                </a:cubicBezTo>
                <a:cubicBezTo>
                  <a:pt x="5991456" y="1817564"/>
                  <a:pt x="5966746" y="1792854"/>
                  <a:pt x="5966746" y="1762373"/>
                </a:cubicBezTo>
                <a:cubicBezTo>
                  <a:pt x="5966746" y="1731892"/>
                  <a:pt x="5991456" y="1707182"/>
                  <a:pt x="6021938" y="1707182"/>
                </a:cubicBezTo>
                <a:close/>
                <a:moveTo>
                  <a:pt x="5884964" y="1707182"/>
                </a:moveTo>
                <a:cubicBezTo>
                  <a:pt x="5915446" y="1707182"/>
                  <a:pt x="5940156" y="1731892"/>
                  <a:pt x="5940156" y="1762373"/>
                </a:cubicBezTo>
                <a:cubicBezTo>
                  <a:pt x="5940156" y="1792854"/>
                  <a:pt x="5915446" y="1817564"/>
                  <a:pt x="5884964" y="1817564"/>
                </a:cubicBezTo>
                <a:cubicBezTo>
                  <a:pt x="5854482" y="1817564"/>
                  <a:pt x="5829772" y="1792854"/>
                  <a:pt x="5829772" y="1762373"/>
                </a:cubicBezTo>
                <a:cubicBezTo>
                  <a:pt x="5829772" y="1731892"/>
                  <a:pt x="5854482" y="1707182"/>
                  <a:pt x="5884964" y="1707182"/>
                </a:cubicBezTo>
                <a:close/>
                <a:moveTo>
                  <a:pt x="5754670" y="1707182"/>
                </a:moveTo>
                <a:cubicBezTo>
                  <a:pt x="5785152" y="1707182"/>
                  <a:pt x="5809862" y="1731892"/>
                  <a:pt x="5809862" y="1762373"/>
                </a:cubicBezTo>
                <a:cubicBezTo>
                  <a:pt x="5809862" y="1792854"/>
                  <a:pt x="5785152" y="1817564"/>
                  <a:pt x="5754670" y="1817564"/>
                </a:cubicBezTo>
                <a:cubicBezTo>
                  <a:pt x="5724188" y="1817564"/>
                  <a:pt x="5699478" y="1792854"/>
                  <a:pt x="5699478" y="1762373"/>
                </a:cubicBezTo>
                <a:cubicBezTo>
                  <a:pt x="5699478" y="1731892"/>
                  <a:pt x="5724188" y="1707182"/>
                  <a:pt x="5754670" y="1707182"/>
                </a:cubicBezTo>
                <a:close/>
                <a:moveTo>
                  <a:pt x="5621035" y="1707182"/>
                </a:moveTo>
                <a:cubicBezTo>
                  <a:pt x="5651517" y="1707182"/>
                  <a:pt x="5676227" y="1731892"/>
                  <a:pt x="5676227" y="1762373"/>
                </a:cubicBezTo>
                <a:cubicBezTo>
                  <a:pt x="5676227" y="1792854"/>
                  <a:pt x="5651517" y="1817564"/>
                  <a:pt x="5621035" y="1817564"/>
                </a:cubicBezTo>
                <a:cubicBezTo>
                  <a:pt x="5590553" y="1817564"/>
                  <a:pt x="5565843" y="1792854"/>
                  <a:pt x="5565843" y="1762373"/>
                </a:cubicBezTo>
                <a:cubicBezTo>
                  <a:pt x="5565843" y="1731892"/>
                  <a:pt x="5590553" y="1707182"/>
                  <a:pt x="5621035" y="1707182"/>
                </a:cubicBezTo>
                <a:close/>
                <a:moveTo>
                  <a:pt x="5487399" y="1707182"/>
                </a:moveTo>
                <a:cubicBezTo>
                  <a:pt x="5517881" y="1707182"/>
                  <a:pt x="5542591" y="1731892"/>
                  <a:pt x="5542591" y="1762373"/>
                </a:cubicBezTo>
                <a:cubicBezTo>
                  <a:pt x="5542591" y="1792854"/>
                  <a:pt x="5517881" y="1817564"/>
                  <a:pt x="5487399" y="1817564"/>
                </a:cubicBezTo>
                <a:cubicBezTo>
                  <a:pt x="5456917" y="1817564"/>
                  <a:pt x="5432207" y="1792854"/>
                  <a:pt x="5432207" y="1762373"/>
                </a:cubicBezTo>
                <a:cubicBezTo>
                  <a:pt x="5432207" y="1731892"/>
                  <a:pt x="5456917" y="1707182"/>
                  <a:pt x="5487399" y="1707182"/>
                </a:cubicBezTo>
                <a:close/>
                <a:moveTo>
                  <a:pt x="5357105" y="1707182"/>
                </a:moveTo>
                <a:cubicBezTo>
                  <a:pt x="5387587" y="1707182"/>
                  <a:pt x="5412297" y="1731892"/>
                  <a:pt x="5412297" y="1762373"/>
                </a:cubicBezTo>
                <a:cubicBezTo>
                  <a:pt x="5412297" y="1792854"/>
                  <a:pt x="5387587" y="1817564"/>
                  <a:pt x="5357105" y="1817564"/>
                </a:cubicBezTo>
                <a:cubicBezTo>
                  <a:pt x="5326623" y="1817564"/>
                  <a:pt x="5301913" y="1792854"/>
                  <a:pt x="5301913" y="1762373"/>
                </a:cubicBezTo>
                <a:cubicBezTo>
                  <a:pt x="5301913" y="1731892"/>
                  <a:pt x="5326623" y="1707182"/>
                  <a:pt x="5357105" y="1707182"/>
                </a:cubicBezTo>
                <a:close/>
                <a:moveTo>
                  <a:pt x="5223473" y="1707182"/>
                </a:moveTo>
                <a:cubicBezTo>
                  <a:pt x="5253955" y="1707182"/>
                  <a:pt x="5278665" y="1731892"/>
                  <a:pt x="5278665" y="1762373"/>
                </a:cubicBezTo>
                <a:cubicBezTo>
                  <a:pt x="5278665" y="1792854"/>
                  <a:pt x="5253955" y="1817564"/>
                  <a:pt x="5223473" y="1817564"/>
                </a:cubicBezTo>
                <a:cubicBezTo>
                  <a:pt x="5192991" y="1817564"/>
                  <a:pt x="5168281" y="1792854"/>
                  <a:pt x="5168281" y="1762373"/>
                </a:cubicBezTo>
                <a:cubicBezTo>
                  <a:pt x="5168281" y="1731892"/>
                  <a:pt x="5192991" y="1707182"/>
                  <a:pt x="5223473" y="1707182"/>
                </a:cubicBezTo>
                <a:close/>
                <a:moveTo>
                  <a:pt x="5093178" y="1707182"/>
                </a:moveTo>
                <a:cubicBezTo>
                  <a:pt x="5123660" y="1707182"/>
                  <a:pt x="5148370" y="1731892"/>
                  <a:pt x="5148370" y="1762373"/>
                </a:cubicBezTo>
                <a:cubicBezTo>
                  <a:pt x="5148370" y="1792854"/>
                  <a:pt x="5123660" y="1817564"/>
                  <a:pt x="5093178" y="1817564"/>
                </a:cubicBezTo>
                <a:cubicBezTo>
                  <a:pt x="5062696" y="1817564"/>
                  <a:pt x="5037986" y="1792854"/>
                  <a:pt x="5037986" y="1762373"/>
                </a:cubicBezTo>
                <a:cubicBezTo>
                  <a:pt x="5037986" y="1731892"/>
                  <a:pt x="5062696" y="1707182"/>
                  <a:pt x="5093178" y="1707182"/>
                </a:cubicBezTo>
                <a:close/>
                <a:moveTo>
                  <a:pt x="4959543" y="1707182"/>
                </a:moveTo>
                <a:cubicBezTo>
                  <a:pt x="4990025" y="1707182"/>
                  <a:pt x="5014735" y="1731892"/>
                  <a:pt x="5014735" y="1762373"/>
                </a:cubicBezTo>
                <a:cubicBezTo>
                  <a:pt x="5014735" y="1792854"/>
                  <a:pt x="4990025" y="1817564"/>
                  <a:pt x="4959543" y="1817564"/>
                </a:cubicBezTo>
                <a:cubicBezTo>
                  <a:pt x="4929061" y="1817564"/>
                  <a:pt x="4904351" y="1792854"/>
                  <a:pt x="4904351" y="1762373"/>
                </a:cubicBezTo>
                <a:cubicBezTo>
                  <a:pt x="4904351" y="1731892"/>
                  <a:pt x="4929061" y="1707182"/>
                  <a:pt x="4959543" y="1707182"/>
                </a:cubicBezTo>
                <a:close/>
                <a:moveTo>
                  <a:pt x="4829251" y="1707182"/>
                </a:moveTo>
                <a:cubicBezTo>
                  <a:pt x="4859733" y="1707182"/>
                  <a:pt x="4884443" y="1731892"/>
                  <a:pt x="4884443" y="1762373"/>
                </a:cubicBezTo>
                <a:cubicBezTo>
                  <a:pt x="4884443" y="1792854"/>
                  <a:pt x="4859733" y="1817564"/>
                  <a:pt x="4829251" y="1817564"/>
                </a:cubicBezTo>
                <a:cubicBezTo>
                  <a:pt x="4798769" y="1817564"/>
                  <a:pt x="4774059" y="1792854"/>
                  <a:pt x="4774059" y="1762373"/>
                </a:cubicBezTo>
                <a:cubicBezTo>
                  <a:pt x="4774059" y="1731892"/>
                  <a:pt x="4798769" y="1707182"/>
                  <a:pt x="4829251" y="1707182"/>
                </a:cubicBezTo>
                <a:close/>
                <a:moveTo>
                  <a:pt x="4695613" y="1707182"/>
                </a:moveTo>
                <a:cubicBezTo>
                  <a:pt x="4726095" y="1707182"/>
                  <a:pt x="4750805" y="1731892"/>
                  <a:pt x="4750805" y="1762373"/>
                </a:cubicBezTo>
                <a:cubicBezTo>
                  <a:pt x="4750805" y="1792854"/>
                  <a:pt x="4726095" y="1817564"/>
                  <a:pt x="4695613" y="1817564"/>
                </a:cubicBezTo>
                <a:cubicBezTo>
                  <a:pt x="4665131" y="1817564"/>
                  <a:pt x="4640421" y="1792854"/>
                  <a:pt x="4640421" y="1762373"/>
                </a:cubicBezTo>
                <a:cubicBezTo>
                  <a:pt x="4640421" y="1731892"/>
                  <a:pt x="4665131" y="1707182"/>
                  <a:pt x="4695613" y="1707182"/>
                </a:cubicBezTo>
                <a:close/>
                <a:moveTo>
                  <a:pt x="3098681" y="1707182"/>
                </a:moveTo>
                <a:cubicBezTo>
                  <a:pt x="3129163" y="1707182"/>
                  <a:pt x="3153873" y="1731892"/>
                  <a:pt x="3153873" y="1762373"/>
                </a:cubicBezTo>
                <a:cubicBezTo>
                  <a:pt x="3153873" y="1792854"/>
                  <a:pt x="3129163" y="1817564"/>
                  <a:pt x="3098681" y="1817564"/>
                </a:cubicBezTo>
                <a:cubicBezTo>
                  <a:pt x="3068199" y="1817564"/>
                  <a:pt x="3043489" y="1792854"/>
                  <a:pt x="3043489" y="1762373"/>
                </a:cubicBezTo>
                <a:cubicBezTo>
                  <a:pt x="3043489" y="1731892"/>
                  <a:pt x="3068199" y="1707182"/>
                  <a:pt x="3098681" y="1707182"/>
                </a:cubicBezTo>
                <a:close/>
                <a:moveTo>
                  <a:pt x="2971729" y="1707182"/>
                </a:moveTo>
                <a:cubicBezTo>
                  <a:pt x="3002211" y="1707182"/>
                  <a:pt x="3026921" y="1731892"/>
                  <a:pt x="3026921" y="1762373"/>
                </a:cubicBezTo>
                <a:cubicBezTo>
                  <a:pt x="3026921" y="1792854"/>
                  <a:pt x="3002211" y="1817564"/>
                  <a:pt x="2971729" y="1817564"/>
                </a:cubicBezTo>
                <a:cubicBezTo>
                  <a:pt x="2941247" y="1817564"/>
                  <a:pt x="2916537" y="1792854"/>
                  <a:pt x="2916537" y="1762373"/>
                </a:cubicBezTo>
                <a:cubicBezTo>
                  <a:pt x="2916537" y="1731892"/>
                  <a:pt x="2941247" y="1707182"/>
                  <a:pt x="2971729" y="1707182"/>
                </a:cubicBezTo>
                <a:close/>
                <a:moveTo>
                  <a:pt x="2834772" y="1707182"/>
                </a:moveTo>
                <a:cubicBezTo>
                  <a:pt x="2865254" y="1707182"/>
                  <a:pt x="2889964" y="1731892"/>
                  <a:pt x="2889964" y="1762373"/>
                </a:cubicBezTo>
                <a:cubicBezTo>
                  <a:pt x="2889964" y="1792854"/>
                  <a:pt x="2865254" y="1817564"/>
                  <a:pt x="2834772" y="1817564"/>
                </a:cubicBezTo>
                <a:cubicBezTo>
                  <a:pt x="2804290" y="1817564"/>
                  <a:pt x="2779580" y="1792854"/>
                  <a:pt x="2779580" y="1762373"/>
                </a:cubicBezTo>
                <a:cubicBezTo>
                  <a:pt x="2779580" y="1731892"/>
                  <a:pt x="2804290" y="1707182"/>
                  <a:pt x="2834772" y="1707182"/>
                </a:cubicBezTo>
                <a:close/>
                <a:moveTo>
                  <a:pt x="2707817" y="1707182"/>
                </a:moveTo>
                <a:cubicBezTo>
                  <a:pt x="2738299" y="1707182"/>
                  <a:pt x="2763009" y="1731892"/>
                  <a:pt x="2763009" y="1762373"/>
                </a:cubicBezTo>
                <a:cubicBezTo>
                  <a:pt x="2763009" y="1792854"/>
                  <a:pt x="2738299" y="1817564"/>
                  <a:pt x="2707817" y="1817564"/>
                </a:cubicBezTo>
                <a:cubicBezTo>
                  <a:pt x="2677336" y="1817564"/>
                  <a:pt x="2652625" y="1792854"/>
                  <a:pt x="2652625" y="1762373"/>
                </a:cubicBezTo>
                <a:cubicBezTo>
                  <a:pt x="2652625" y="1731892"/>
                  <a:pt x="2677336" y="1707182"/>
                  <a:pt x="2707817" y="1707182"/>
                </a:cubicBezTo>
                <a:close/>
                <a:moveTo>
                  <a:pt x="2570843" y="1707182"/>
                </a:moveTo>
                <a:cubicBezTo>
                  <a:pt x="2601326" y="1707182"/>
                  <a:pt x="2626036" y="1731892"/>
                  <a:pt x="2626036" y="1762373"/>
                </a:cubicBezTo>
                <a:cubicBezTo>
                  <a:pt x="2626036" y="1792854"/>
                  <a:pt x="2601326" y="1817564"/>
                  <a:pt x="2570843" y="1817564"/>
                </a:cubicBezTo>
                <a:cubicBezTo>
                  <a:pt x="2540362" y="1817564"/>
                  <a:pt x="2515651" y="1792854"/>
                  <a:pt x="2515651" y="1762373"/>
                </a:cubicBezTo>
                <a:cubicBezTo>
                  <a:pt x="2515651" y="1731892"/>
                  <a:pt x="2540362" y="1707182"/>
                  <a:pt x="2570843" y="1707182"/>
                </a:cubicBezTo>
                <a:close/>
                <a:moveTo>
                  <a:pt x="2437207" y="1707182"/>
                </a:moveTo>
                <a:cubicBezTo>
                  <a:pt x="2467689" y="1707182"/>
                  <a:pt x="2492398" y="1731892"/>
                  <a:pt x="2492398" y="1762373"/>
                </a:cubicBezTo>
                <a:cubicBezTo>
                  <a:pt x="2492398" y="1792854"/>
                  <a:pt x="2467689" y="1817564"/>
                  <a:pt x="2437207" y="1817564"/>
                </a:cubicBezTo>
                <a:cubicBezTo>
                  <a:pt x="2406725" y="1817564"/>
                  <a:pt x="2382015" y="1792854"/>
                  <a:pt x="2382015" y="1762373"/>
                </a:cubicBezTo>
                <a:cubicBezTo>
                  <a:pt x="2382015" y="1731892"/>
                  <a:pt x="2406725" y="1707182"/>
                  <a:pt x="2437207" y="1707182"/>
                </a:cubicBezTo>
                <a:close/>
                <a:moveTo>
                  <a:pt x="2303575" y="1707182"/>
                </a:moveTo>
                <a:cubicBezTo>
                  <a:pt x="2334057" y="1707182"/>
                  <a:pt x="2358767" y="1731892"/>
                  <a:pt x="2358767" y="1762373"/>
                </a:cubicBezTo>
                <a:cubicBezTo>
                  <a:pt x="2358767" y="1792854"/>
                  <a:pt x="2334057" y="1817564"/>
                  <a:pt x="2303575" y="1817564"/>
                </a:cubicBezTo>
                <a:cubicBezTo>
                  <a:pt x="2273093" y="1817564"/>
                  <a:pt x="2248383" y="1792854"/>
                  <a:pt x="2248383" y="1762373"/>
                </a:cubicBezTo>
                <a:cubicBezTo>
                  <a:pt x="2248383" y="1731892"/>
                  <a:pt x="2273093" y="1707182"/>
                  <a:pt x="2303575" y="1707182"/>
                </a:cubicBezTo>
                <a:close/>
                <a:moveTo>
                  <a:pt x="2173282" y="1707182"/>
                </a:moveTo>
                <a:cubicBezTo>
                  <a:pt x="2203764" y="1707182"/>
                  <a:pt x="2228474" y="1731892"/>
                  <a:pt x="2228474" y="1762373"/>
                </a:cubicBezTo>
                <a:cubicBezTo>
                  <a:pt x="2228474" y="1792854"/>
                  <a:pt x="2203764" y="1817564"/>
                  <a:pt x="2173282" y="1817564"/>
                </a:cubicBezTo>
                <a:cubicBezTo>
                  <a:pt x="2142800" y="1817564"/>
                  <a:pt x="2118090" y="1792854"/>
                  <a:pt x="2118090" y="1762373"/>
                </a:cubicBezTo>
                <a:cubicBezTo>
                  <a:pt x="2118090" y="1731892"/>
                  <a:pt x="2142800" y="1707182"/>
                  <a:pt x="2173282" y="1707182"/>
                </a:cubicBezTo>
                <a:close/>
                <a:moveTo>
                  <a:pt x="2039648" y="1707182"/>
                </a:moveTo>
                <a:cubicBezTo>
                  <a:pt x="2070129" y="1707182"/>
                  <a:pt x="2094840" y="1731892"/>
                  <a:pt x="2094840" y="1762373"/>
                </a:cubicBezTo>
                <a:cubicBezTo>
                  <a:pt x="2094840" y="1792854"/>
                  <a:pt x="2070129" y="1817564"/>
                  <a:pt x="2039648" y="1817564"/>
                </a:cubicBezTo>
                <a:cubicBezTo>
                  <a:pt x="2009165" y="1817564"/>
                  <a:pt x="1984455" y="1792854"/>
                  <a:pt x="1984455" y="1762373"/>
                </a:cubicBezTo>
                <a:cubicBezTo>
                  <a:pt x="1984455" y="1731892"/>
                  <a:pt x="2009165" y="1707182"/>
                  <a:pt x="2039648" y="1707182"/>
                </a:cubicBezTo>
                <a:close/>
                <a:moveTo>
                  <a:pt x="1909353" y="1707182"/>
                </a:moveTo>
                <a:cubicBezTo>
                  <a:pt x="1939835" y="1707182"/>
                  <a:pt x="1964545" y="1731892"/>
                  <a:pt x="1964545" y="1762373"/>
                </a:cubicBezTo>
                <a:cubicBezTo>
                  <a:pt x="1964545" y="1792854"/>
                  <a:pt x="1939835" y="1817564"/>
                  <a:pt x="1909353" y="1817564"/>
                </a:cubicBezTo>
                <a:cubicBezTo>
                  <a:pt x="1878870" y="1817564"/>
                  <a:pt x="1854161" y="1792854"/>
                  <a:pt x="1854161" y="1762373"/>
                </a:cubicBezTo>
                <a:cubicBezTo>
                  <a:pt x="1854161" y="1731892"/>
                  <a:pt x="1878870" y="1707182"/>
                  <a:pt x="1909353" y="1707182"/>
                </a:cubicBezTo>
                <a:close/>
                <a:moveTo>
                  <a:pt x="1779058" y="1707182"/>
                </a:moveTo>
                <a:cubicBezTo>
                  <a:pt x="1809540" y="1707182"/>
                  <a:pt x="1834251" y="1731892"/>
                  <a:pt x="1834251" y="1762373"/>
                </a:cubicBezTo>
                <a:cubicBezTo>
                  <a:pt x="1834251" y="1792854"/>
                  <a:pt x="1809540" y="1817564"/>
                  <a:pt x="1779058" y="1817564"/>
                </a:cubicBezTo>
                <a:cubicBezTo>
                  <a:pt x="1748577" y="1817564"/>
                  <a:pt x="1723867" y="1792854"/>
                  <a:pt x="1723867" y="1762373"/>
                </a:cubicBezTo>
                <a:cubicBezTo>
                  <a:pt x="1723867" y="1731892"/>
                  <a:pt x="1748577" y="1707182"/>
                  <a:pt x="1779058" y="1707182"/>
                </a:cubicBezTo>
                <a:close/>
                <a:moveTo>
                  <a:pt x="1645422" y="1707182"/>
                </a:moveTo>
                <a:cubicBezTo>
                  <a:pt x="1675906" y="1707182"/>
                  <a:pt x="1700617" y="1731892"/>
                  <a:pt x="1700617" y="1762373"/>
                </a:cubicBezTo>
                <a:cubicBezTo>
                  <a:pt x="1700617" y="1792854"/>
                  <a:pt x="1675906" y="1817564"/>
                  <a:pt x="1645422" y="1817564"/>
                </a:cubicBezTo>
                <a:cubicBezTo>
                  <a:pt x="1614940" y="1817564"/>
                  <a:pt x="1590230" y="1792854"/>
                  <a:pt x="1590230" y="1762373"/>
                </a:cubicBezTo>
                <a:cubicBezTo>
                  <a:pt x="1590230" y="1731892"/>
                  <a:pt x="1614940" y="1707182"/>
                  <a:pt x="1645422" y="1707182"/>
                </a:cubicBezTo>
                <a:close/>
                <a:moveTo>
                  <a:pt x="1515130" y="1707182"/>
                </a:moveTo>
                <a:cubicBezTo>
                  <a:pt x="1545612" y="1707182"/>
                  <a:pt x="1570322" y="1731892"/>
                  <a:pt x="1570322" y="1762373"/>
                </a:cubicBezTo>
                <a:cubicBezTo>
                  <a:pt x="1570322" y="1792854"/>
                  <a:pt x="1545612" y="1817564"/>
                  <a:pt x="1515130" y="1817564"/>
                </a:cubicBezTo>
                <a:cubicBezTo>
                  <a:pt x="1484648" y="1817564"/>
                  <a:pt x="1459938" y="1792854"/>
                  <a:pt x="1459938" y="1762373"/>
                </a:cubicBezTo>
                <a:cubicBezTo>
                  <a:pt x="1459938" y="1731892"/>
                  <a:pt x="1484648" y="1707182"/>
                  <a:pt x="1515130" y="1707182"/>
                </a:cubicBezTo>
                <a:close/>
                <a:moveTo>
                  <a:pt x="1381494" y="1707182"/>
                </a:moveTo>
                <a:cubicBezTo>
                  <a:pt x="1411978" y="1707182"/>
                  <a:pt x="1436688" y="1731892"/>
                  <a:pt x="1436688" y="1762373"/>
                </a:cubicBezTo>
                <a:cubicBezTo>
                  <a:pt x="1436688" y="1792854"/>
                  <a:pt x="1411978" y="1817564"/>
                  <a:pt x="1381494" y="1817564"/>
                </a:cubicBezTo>
                <a:cubicBezTo>
                  <a:pt x="1351014" y="1817564"/>
                  <a:pt x="1326303" y="1792854"/>
                  <a:pt x="1326303" y="1762373"/>
                </a:cubicBezTo>
                <a:cubicBezTo>
                  <a:pt x="1326303" y="1731892"/>
                  <a:pt x="1351014" y="1707182"/>
                  <a:pt x="1381494" y="1707182"/>
                </a:cubicBezTo>
                <a:close/>
                <a:moveTo>
                  <a:pt x="1251201" y="1707182"/>
                </a:moveTo>
                <a:cubicBezTo>
                  <a:pt x="1281685" y="1707182"/>
                  <a:pt x="1306393" y="1731892"/>
                  <a:pt x="1306393" y="1762373"/>
                </a:cubicBezTo>
                <a:cubicBezTo>
                  <a:pt x="1306393" y="1792854"/>
                  <a:pt x="1281685" y="1817564"/>
                  <a:pt x="1251201" y="1817564"/>
                </a:cubicBezTo>
                <a:cubicBezTo>
                  <a:pt x="1220721" y="1817564"/>
                  <a:pt x="1196010" y="1792854"/>
                  <a:pt x="1196010" y="1762373"/>
                </a:cubicBezTo>
                <a:cubicBezTo>
                  <a:pt x="1196010" y="1731892"/>
                  <a:pt x="1220721" y="1707182"/>
                  <a:pt x="1251201" y="1707182"/>
                </a:cubicBezTo>
                <a:close/>
                <a:moveTo>
                  <a:pt x="1909361" y="1580232"/>
                </a:moveTo>
                <a:cubicBezTo>
                  <a:pt x="1939843" y="1580232"/>
                  <a:pt x="1964554" y="1604942"/>
                  <a:pt x="1964554" y="1635423"/>
                </a:cubicBezTo>
                <a:cubicBezTo>
                  <a:pt x="1964554" y="1665904"/>
                  <a:pt x="1939843" y="1690614"/>
                  <a:pt x="1909361" y="1690614"/>
                </a:cubicBezTo>
                <a:cubicBezTo>
                  <a:pt x="1878879" y="1690614"/>
                  <a:pt x="1854168" y="1665904"/>
                  <a:pt x="1854168" y="1635423"/>
                </a:cubicBezTo>
                <a:cubicBezTo>
                  <a:pt x="1854168" y="1604942"/>
                  <a:pt x="1878879" y="1580232"/>
                  <a:pt x="1909361" y="1580232"/>
                </a:cubicBezTo>
                <a:close/>
                <a:moveTo>
                  <a:pt x="1779065" y="1580232"/>
                </a:moveTo>
                <a:cubicBezTo>
                  <a:pt x="1809547" y="1580232"/>
                  <a:pt x="1834257" y="1604942"/>
                  <a:pt x="1834257" y="1635423"/>
                </a:cubicBezTo>
                <a:cubicBezTo>
                  <a:pt x="1834257" y="1665904"/>
                  <a:pt x="1809547" y="1690614"/>
                  <a:pt x="1779065" y="1690614"/>
                </a:cubicBezTo>
                <a:cubicBezTo>
                  <a:pt x="1748583" y="1690614"/>
                  <a:pt x="1723872" y="1665904"/>
                  <a:pt x="1723872" y="1635423"/>
                </a:cubicBezTo>
                <a:cubicBezTo>
                  <a:pt x="1723872" y="1604942"/>
                  <a:pt x="1748583" y="1580232"/>
                  <a:pt x="1779065" y="1580232"/>
                </a:cubicBezTo>
                <a:close/>
                <a:moveTo>
                  <a:pt x="1645431" y="1580232"/>
                </a:moveTo>
                <a:cubicBezTo>
                  <a:pt x="1675914" y="1580232"/>
                  <a:pt x="1700623" y="1604942"/>
                  <a:pt x="1700623" y="1635423"/>
                </a:cubicBezTo>
                <a:cubicBezTo>
                  <a:pt x="1700623" y="1665904"/>
                  <a:pt x="1675914" y="1690614"/>
                  <a:pt x="1645431" y="1690614"/>
                </a:cubicBezTo>
                <a:cubicBezTo>
                  <a:pt x="1614950" y="1690614"/>
                  <a:pt x="1590238" y="1665904"/>
                  <a:pt x="1590238" y="1635423"/>
                </a:cubicBezTo>
                <a:cubicBezTo>
                  <a:pt x="1590238" y="1604942"/>
                  <a:pt x="1614950" y="1580232"/>
                  <a:pt x="1645431" y="1580232"/>
                </a:cubicBezTo>
                <a:close/>
                <a:moveTo>
                  <a:pt x="1515140" y="1580232"/>
                </a:moveTo>
                <a:cubicBezTo>
                  <a:pt x="1545619" y="1580232"/>
                  <a:pt x="1570329" y="1604942"/>
                  <a:pt x="1570329" y="1635423"/>
                </a:cubicBezTo>
                <a:cubicBezTo>
                  <a:pt x="1570329" y="1665904"/>
                  <a:pt x="1545619" y="1690614"/>
                  <a:pt x="1515140" y="1690614"/>
                </a:cubicBezTo>
                <a:cubicBezTo>
                  <a:pt x="1484656" y="1690614"/>
                  <a:pt x="1459945" y="1665904"/>
                  <a:pt x="1459945" y="1635423"/>
                </a:cubicBezTo>
                <a:cubicBezTo>
                  <a:pt x="1459945" y="1604942"/>
                  <a:pt x="1484656" y="1580232"/>
                  <a:pt x="1515140" y="1580232"/>
                </a:cubicBezTo>
                <a:close/>
                <a:moveTo>
                  <a:pt x="1381504" y="1580232"/>
                </a:moveTo>
                <a:cubicBezTo>
                  <a:pt x="1411984" y="1580232"/>
                  <a:pt x="1436697" y="1604942"/>
                  <a:pt x="1436697" y="1635423"/>
                </a:cubicBezTo>
                <a:cubicBezTo>
                  <a:pt x="1436697" y="1665904"/>
                  <a:pt x="1411984" y="1690614"/>
                  <a:pt x="1381504" y="1690614"/>
                </a:cubicBezTo>
                <a:cubicBezTo>
                  <a:pt x="1351022" y="1690614"/>
                  <a:pt x="1326312" y="1665904"/>
                  <a:pt x="1326312" y="1635423"/>
                </a:cubicBezTo>
                <a:cubicBezTo>
                  <a:pt x="1326312" y="1604942"/>
                  <a:pt x="1351022" y="1580232"/>
                  <a:pt x="1381504" y="1580232"/>
                </a:cubicBezTo>
                <a:close/>
                <a:moveTo>
                  <a:pt x="1251210" y="1580232"/>
                </a:moveTo>
                <a:cubicBezTo>
                  <a:pt x="1281690" y="1580232"/>
                  <a:pt x="1306401" y="1604942"/>
                  <a:pt x="1306401" y="1635423"/>
                </a:cubicBezTo>
                <a:cubicBezTo>
                  <a:pt x="1306401" y="1665904"/>
                  <a:pt x="1281690" y="1690614"/>
                  <a:pt x="1251210" y="1690614"/>
                </a:cubicBezTo>
                <a:cubicBezTo>
                  <a:pt x="1220727" y="1690614"/>
                  <a:pt x="1196016" y="1665904"/>
                  <a:pt x="1196016" y="1635423"/>
                </a:cubicBezTo>
                <a:cubicBezTo>
                  <a:pt x="1196016" y="1604942"/>
                  <a:pt x="1220727" y="1580232"/>
                  <a:pt x="1251210" y="1580232"/>
                </a:cubicBezTo>
                <a:close/>
                <a:moveTo>
                  <a:pt x="9068806" y="1580228"/>
                </a:moveTo>
                <a:cubicBezTo>
                  <a:pt x="9099288" y="1580228"/>
                  <a:pt x="9123998" y="1604938"/>
                  <a:pt x="9123998" y="1635419"/>
                </a:cubicBezTo>
                <a:cubicBezTo>
                  <a:pt x="9123998" y="1665900"/>
                  <a:pt x="9099288" y="1690610"/>
                  <a:pt x="9068806" y="1690610"/>
                </a:cubicBezTo>
                <a:cubicBezTo>
                  <a:pt x="9038324" y="1690610"/>
                  <a:pt x="9013614" y="1665900"/>
                  <a:pt x="9013614" y="1635419"/>
                </a:cubicBezTo>
                <a:cubicBezTo>
                  <a:pt x="9013614" y="1604938"/>
                  <a:pt x="9038324" y="1580228"/>
                  <a:pt x="9068806" y="1580228"/>
                </a:cubicBezTo>
                <a:close/>
                <a:moveTo>
                  <a:pt x="8671243" y="1580228"/>
                </a:moveTo>
                <a:cubicBezTo>
                  <a:pt x="8701725" y="1580228"/>
                  <a:pt x="8726435" y="1604938"/>
                  <a:pt x="8726435" y="1635419"/>
                </a:cubicBezTo>
                <a:cubicBezTo>
                  <a:pt x="8726435" y="1665900"/>
                  <a:pt x="8701725" y="1690610"/>
                  <a:pt x="8671243" y="1690610"/>
                </a:cubicBezTo>
                <a:cubicBezTo>
                  <a:pt x="8640761" y="1690610"/>
                  <a:pt x="8616051" y="1665900"/>
                  <a:pt x="8616051" y="1635419"/>
                </a:cubicBezTo>
                <a:cubicBezTo>
                  <a:pt x="8616051" y="1604938"/>
                  <a:pt x="8640761" y="1580228"/>
                  <a:pt x="8671243" y="1580228"/>
                </a:cubicBezTo>
                <a:close/>
                <a:moveTo>
                  <a:pt x="8537609" y="1580228"/>
                </a:moveTo>
                <a:cubicBezTo>
                  <a:pt x="8568091" y="1580228"/>
                  <a:pt x="8592801" y="1604938"/>
                  <a:pt x="8592801" y="1635419"/>
                </a:cubicBezTo>
                <a:cubicBezTo>
                  <a:pt x="8592801" y="1665900"/>
                  <a:pt x="8568091" y="1690610"/>
                  <a:pt x="8537609" y="1690610"/>
                </a:cubicBezTo>
                <a:cubicBezTo>
                  <a:pt x="8507127" y="1690610"/>
                  <a:pt x="8482417" y="1665900"/>
                  <a:pt x="8482417" y="1635419"/>
                </a:cubicBezTo>
                <a:cubicBezTo>
                  <a:pt x="8482417" y="1604938"/>
                  <a:pt x="8507127" y="1580228"/>
                  <a:pt x="8537609" y="1580228"/>
                </a:cubicBezTo>
                <a:close/>
                <a:moveTo>
                  <a:pt x="8407318" y="1580228"/>
                </a:moveTo>
                <a:cubicBezTo>
                  <a:pt x="8437800" y="1580228"/>
                  <a:pt x="8462510" y="1604938"/>
                  <a:pt x="8462510" y="1635419"/>
                </a:cubicBezTo>
                <a:cubicBezTo>
                  <a:pt x="8462510" y="1665900"/>
                  <a:pt x="8437800" y="1690610"/>
                  <a:pt x="8407318" y="1690610"/>
                </a:cubicBezTo>
                <a:cubicBezTo>
                  <a:pt x="8376836" y="1690610"/>
                  <a:pt x="8352126" y="1665900"/>
                  <a:pt x="8352126" y="1635419"/>
                </a:cubicBezTo>
                <a:cubicBezTo>
                  <a:pt x="8352126" y="1604938"/>
                  <a:pt x="8376836" y="1580228"/>
                  <a:pt x="8407318" y="1580228"/>
                </a:cubicBezTo>
                <a:close/>
                <a:moveTo>
                  <a:pt x="8273682" y="1580228"/>
                </a:moveTo>
                <a:cubicBezTo>
                  <a:pt x="8304164" y="1580228"/>
                  <a:pt x="8328874" y="1604938"/>
                  <a:pt x="8328874" y="1635419"/>
                </a:cubicBezTo>
                <a:cubicBezTo>
                  <a:pt x="8328874" y="1665900"/>
                  <a:pt x="8304164" y="1690610"/>
                  <a:pt x="8273682" y="1690610"/>
                </a:cubicBezTo>
                <a:cubicBezTo>
                  <a:pt x="8243200" y="1690610"/>
                  <a:pt x="8218490" y="1665900"/>
                  <a:pt x="8218490" y="1635419"/>
                </a:cubicBezTo>
                <a:cubicBezTo>
                  <a:pt x="8218490" y="1604938"/>
                  <a:pt x="8243200" y="1580228"/>
                  <a:pt x="8273682" y="1580228"/>
                </a:cubicBezTo>
                <a:close/>
                <a:moveTo>
                  <a:pt x="8143386" y="1580228"/>
                </a:moveTo>
                <a:cubicBezTo>
                  <a:pt x="8173868" y="1580228"/>
                  <a:pt x="8198578" y="1604938"/>
                  <a:pt x="8198578" y="1635419"/>
                </a:cubicBezTo>
                <a:cubicBezTo>
                  <a:pt x="8198578" y="1665900"/>
                  <a:pt x="8173868" y="1690610"/>
                  <a:pt x="8143386" y="1690610"/>
                </a:cubicBezTo>
                <a:cubicBezTo>
                  <a:pt x="8112904" y="1690610"/>
                  <a:pt x="8088194" y="1665900"/>
                  <a:pt x="8088194" y="1635419"/>
                </a:cubicBezTo>
                <a:cubicBezTo>
                  <a:pt x="8088194" y="1604938"/>
                  <a:pt x="8112904" y="1580228"/>
                  <a:pt x="8143386" y="1580228"/>
                </a:cubicBezTo>
                <a:close/>
                <a:moveTo>
                  <a:pt x="8009752" y="1580228"/>
                </a:moveTo>
                <a:cubicBezTo>
                  <a:pt x="8040234" y="1580228"/>
                  <a:pt x="8064944" y="1604938"/>
                  <a:pt x="8064944" y="1635419"/>
                </a:cubicBezTo>
                <a:cubicBezTo>
                  <a:pt x="8064944" y="1665900"/>
                  <a:pt x="8040234" y="1690610"/>
                  <a:pt x="8009752" y="1690610"/>
                </a:cubicBezTo>
                <a:cubicBezTo>
                  <a:pt x="7979270" y="1690610"/>
                  <a:pt x="7954560" y="1665900"/>
                  <a:pt x="7954560" y="1635419"/>
                </a:cubicBezTo>
                <a:cubicBezTo>
                  <a:pt x="7954560" y="1604938"/>
                  <a:pt x="7979270" y="1580228"/>
                  <a:pt x="8009752" y="1580228"/>
                </a:cubicBezTo>
                <a:close/>
                <a:moveTo>
                  <a:pt x="7876117" y="1580228"/>
                </a:moveTo>
                <a:cubicBezTo>
                  <a:pt x="7906599" y="1580228"/>
                  <a:pt x="7931309" y="1604938"/>
                  <a:pt x="7931309" y="1635419"/>
                </a:cubicBezTo>
                <a:cubicBezTo>
                  <a:pt x="7931309" y="1665900"/>
                  <a:pt x="7906599" y="1690610"/>
                  <a:pt x="7876117" y="1690610"/>
                </a:cubicBezTo>
                <a:cubicBezTo>
                  <a:pt x="7845635" y="1690610"/>
                  <a:pt x="7820925" y="1665900"/>
                  <a:pt x="7820925" y="1635419"/>
                </a:cubicBezTo>
                <a:cubicBezTo>
                  <a:pt x="7820925" y="1604938"/>
                  <a:pt x="7845635" y="1580228"/>
                  <a:pt x="7876117" y="1580228"/>
                </a:cubicBezTo>
                <a:close/>
                <a:moveTo>
                  <a:pt x="7745824" y="1580228"/>
                </a:moveTo>
                <a:cubicBezTo>
                  <a:pt x="7776306" y="1580228"/>
                  <a:pt x="7801016" y="1604938"/>
                  <a:pt x="7801016" y="1635419"/>
                </a:cubicBezTo>
                <a:cubicBezTo>
                  <a:pt x="7801016" y="1665900"/>
                  <a:pt x="7776306" y="1690610"/>
                  <a:pt x="7745824" y="1690610"/>
                </a:cubicBezTo>
                <a:cubicBezTo>
                  <a:pt x="7715342" y="1690610"/>
                  <a:pt x="7690632" y="1665900"/>
                  <a:pt x="7690632" y="1635419"/>
                </a:cubicBezTo>
                <a:cubicBezTo>
                  <a:pt x="7690632" y="1604938"/>
                  <a:pt x="7715342" y="1580228"/>
                  <a:pt x="7745824" y="1580228"/>
                </a:cubicBezTo>
                <a:close/>
                <a:moveTo>
                  <a:pt x="7608849" y="1580228"/>
                </a:moveTo>
                <a:cubicBezTo>
                  <a:pt x="7639331" y="1580228"/>
                  <a:pt x="7664041" y="1604938"/>
                  <a:pt x="7664041" y="1635419"/>
                </a:cubicBezTo>
                <a:cubicBezTo>
                  <a:pt x="7664041" y="1665900"/>
                  <a:pt x="7639331" y="1690610"/>
                  <a:pt x="7608849" y="1690610"/>
                </a:cubicBezTo>
                <a:cubicBezTo>
                  <a:pt x="7578367" y="1690610"/>
                  <a:pt x="7553657" y="1665900"/>
                  <a:pt x="7553657" y="1635419"/>
                </a:cubicBezTo>
                <a:cubicBezTo>
                  <a:pt x="7553657" y="1604938"/>
                  <a:pt x="7578367" y="1580228"/>
                  <a:pt x="7608849" y="1580228"/>
                </a:cubicBezTo>
                <a:close/>
                <a:moveTo>
                  <a:pt x="7481895" y="1580228"/>
                </a:moveTo>
                <a:cubicBezTo>
                  <a:pt x="7512377" y="1580228"/>
                  <a:pt x="7537087" y="1604938"/>
                  <a:pt x="7537087" y="1635419"/>
                </a:cubicBezTo>
                <a:cubicBezTo>
                  <a:pt x="7537087" y="1665900"/>
                  <a:pt x="7512377" y="1690610"/>
                  <a:pt x="7481895" y="1690610"/>
                </a:cubicBezTo>
                <a:cubicBezTo>
                  <a:pt x="7451413" y="1690610"/>
                  <a:pt x="7426703" y="1665900"/>
                  <a:pt x="7426703" y="1635419"/>
                </a:cubicBezTo>
                <a:cubicBezTo>
                  <a:pt x="7426703" y="1604938"/>
                  <a:pt x="7451413" y="1580228"/>
                  <a:pt x="7481895" y="1580228"/>
                </a:cubicBezTo>
                <a:close/>
                <a:moveTo>
                  <a:pt x="7341579" y="1580228"/>
                </a:moveTo>
                <a:cubicBezTo>
                  <a:pt x="7372061" y="1580228"/>
                  <a:pt x="7396771" y="1604938"/>
                  <a:pt x="7396771" y="1635419"/>
                </a:cubicBezTo>
                <a:cubicBezTo>
                  <a:pt x="7396771" y="1665900"/>
                  <a:pt x="7372061" y="1690610"/>
                  <a:pt x="7341579" y="1690610"/>
                </a:cubicBezTo>
                <a:cubicBezTo>
                  <a:pt x="7311097" y="1690610"/>
                  <a:pt x="7286387" y="1665900"/>
                  <a:pt x="7286387" y="1635419"/>
                </a:cubicBezTo>
                <a:cubicBezTo>
                  <a:pt x="7286387" y="1604938"/>
                  <a:pt x="7311097" y="1580228"/>
                  <a:pt x="7341579" y="1580228"/>
                </a:cubicBezTo>
                <a:close/>
                <a:moveTo>
                  <a:pt x="7211286" y="1580228"/>
                </a:moveTo>
                <a:cubicBezTo>
                  <a:pt x="7241768" y="1580228"/>
                  <a:pt x="7266478" y="1604938"/>
                  <a:pt x="7266478" y="1635419"/>
                </a:cubicBezTo>
                <a:cubicBezTo>
                  <a:pt x="7266478" y="1665900"/>
                  <a:pt x="7241768" y="1690610"/>
                  <a:pt x="7211286" y="1690610"/>
                </a:cubicBezTo>
                <a:cubicBezTo>
                  <a:pt x="7180804" y="1690610"/>
                  <a:pt x="7156094" y="1665900"/>
                  <a:pt x="7156094" y="1635419"/>
                </a:cubicBezTo>
                <a:cubicBezTo>
                  <a:pt x="7156094" y="1604938"/>
                  <a:pt x="7180804" y="1580228"/>
                  <a:pt x="7211286" y="1580228"/>
                </a:cubicBezTo>
                <a:close/>
                <a:moveTo>
                  <a:pt x="7080993" y="1580228"/>
                </a:moveTo>
                <a:cubicBezTo>
                  <a:pt x="7111475" y="1580228"/>
                  <a:pt x="7136185" y="1604938"/>
                  <a:pt x="7136185" y="1635419"/>
                </a:cubicBezTo>
                <a:cubicBezTo>
                  <a:pt x="7136185" y="1665900"/>
                  <a:pt x="7111475" y="1690610"/>
                  <a:pt x="7080993" y="1690610"/>
                </a:cubicBezTo>
                <a:cubicBezTo>
                  <a:pt x="7050511" y="1690610"/>
                  <a:pt x="7025801" y="1665900"/>
                  <a:pt x="7025801" y="1635419"/>
                </a:cubicBezTo>
                <a:cubicBezTo>
                  <a:pt x="7025801" y="1604938"/>
                  <a:pt x="7050511" y="1580228"/>
                  <a:pt x="7080993" y="1580228"/>
                </a:cubicBezTo>
                <a:close/>
                <a:moveTo>
                  <a:pt x="6947357" y="1580228"/>
                </a:moveTo>
                <a:cubicBezTo>
                  <a:pt x="6977839" y="1580228"/>
                  <a:pt x="7002549" y="1604938"/>
                  <a:pt x="7002549" y="1635419"/>
                </a:cubicBezTo>
                <a:cubicBezTo>
                  <a:pt x="7002549" y="1665900"/>
                  <a:pt x="6977839" y="1690610"/>
                  <a:pt x="6947357" y="1690610"/>
                </a:cubicBezTo>
                <a:cubicBezTo>
                  <a:pt x="6916875" y="1690610"/>
                  <a:pt x="6892165" y="1665900"/>
                  <a:pt x="6892165" y="1635419"/>
                </a:cubicBezTo>
                <a:cubicBezTo>
                  <a:pt x="6892165" y="1604938"/>
                  <a:pt x="6916875" y="1580228"/>
                  <a:pt x="6947357" y="1580228"/>
                </a:cubicBezTo>
                <a:close/>
                <a:moveTo>
                  <a:pt x="6817063" y="1580228"/>
                </a:moveTo>
                <a:cubicBezTo>
                  <a:pt x="6847545" y="1580228"/>
                  <a:pt x="6872255" y="1604938"/>
                  <a:pt x="6872255" y="1635419"/>
                </a:cubicBezTo>
                <a:cubicBezTo>
                  <a:pt x="6872255" y="1665900"/>
                  <a:pt x="6847545" y="1690610"/>
                  <a:pt x="6817063" y="1690610"/>
                </a:cubicBezTo>
                <a:cubicBezTo>
                  <a:pt x="6786581" y="1690610"/>
                  <a:pt x="6761871" y="1665900"/>
                  <a:pt x="6761871" y="1635419"/>
                </a:cubicBezTo>
                <a:cubicBezTo>
                  <a:pt x="6761871" y="1604938"/>
                  <a:pt x="6786581" y="1580228"/>
                  <a:pt x="6817063" y="1580228"/>
                </a:cubicBezTo>
                <a:close/>
                <a:moveTo>
                  <a:pt x="6683431" y="1580228"/>
                </a:moveTo>
                <a:cubicBezTo>
                  <a:pt x="6713913" y="1580228"/>
                  <a:pt x="6738623" y="1604938"/>
                  <a:pt x="6738623" y="1635419"/>
                </a:cubicBezTo>
                <a:cubicBezTo>
                  <a:pt x="6738623" y="1665900"/>
                  <a:pt x="6713913" y="1690610"/>
                  <a:pt x="6683431" y="1690610"/>
                </a:cubicBezTo>
                <a:cubicBezTo>
                  <a:pt x="6652949" y="1690610"/>
                  <a:pt x="6628239" y="1665900"/>
                  <a:pt x="6628239" y="1635419"/>
                </a:cubicBezTo>
                <a:cubicBezTo>
                  <a:pt x="6628239" y="1604938"/>
                  <a:pt x="6652949" y="1580228"/>
                  <a:pt x="6683431" y="1580228"/>
                </a:cubicBezTo>
                <a:close/>
                <a:moveTo>
                  <a:pt x="6553137" y="1580228"/>
                </a:moveTo>
                <a:cubicBezTo>
                  <a:pt x="6583619" y="1580228"/>
                  <a:pt x="6608329" y="1604938"/>
                  <a:pt x="6608329" y="1635419"/>
                </a:cubicBezTo>
                <a:cubicBezTo>
                  <a:pt x="6608329" y="1665900"/>
                  <a:pt x="6583619" y="1690610"/>
                  <a:pt x="6553137" y="1690610"/>
                </a:cubicBezTo>
                <a:cubicBezTo>
                  <a:pt x="6522655" y="1690610"/>
                  <a:pt x="6497945" y="1665900"/>
                  <a:pt x="6497945" y="1635419"/>
                </a:cubicBezTo>
                <a:cubicBezTo>
                  <a:pt x="6497945" y="1604938"/>
                  <a:pt x="6522655" y="1580228"/>
                  <a:pt x="6553137" y="1580228"/>
                </a:cubicBezTo>
                <a:close/>
                <a:moveTo>
                  <a:pt x="6419502" y="1580228"/>
                </a:moveTo>
                <a:cubicBezTo>
                  <a:pt x="6449984" y="1580228"/>
                  <a:pt x="6474694" y="1604938"/>
                  <a:pt x="6474694" y="1635419"/>
                </a:cubicBezTo>
                <a:cubicBezTo>
                  <a:pt x="6474694" y="1665900"/>
                  <a:pt x="6449984" y="1690610"/>
                  <a:pt x="6419502" y="1690610"/>
                </a:cubicBezTo>
                <a:cubicBezTo>
                  <a:pt x="6389020" y="1690610"/>
                  <a:pt x="6364310" y="1665900"/>
                  <a:pt x="6364310" y="1635419"/>
                </a:cubicBezTo>
                <a:cubicBezTo>
                  <a:pt x="6364310" y="1604938"/>
                  <a:pt x="6389020" y="1580228"/>
                  <a:pt x="6419502" y="1580228"/>
                </a:cubicBezTo>
                <a:close/>
                <a:moveTo>
                  <a:pt x="6289208" y="1580228"/>
                </a:moveTo>
                <a:cubicBezTo>
                  <a:pt x="6319690" y="1580228"/>
                  <a:pt x="6344400" y="1604938"/>
                  <a:pt x="6344400" y="1635419"/>
                </a:cubicBezTo>
                <a:cubicBezTo>
                  <a:pt x="6344400" y="1665900"/>
                  <a:pt x="6319690" y="1690610"/>
                  <a:pt x="6289208" y="1690610"/>
                </a:cubicBezTo>
                <a:cubicBezTo>
                  <a:pt x="6258726" y="1690610"/>
                  <a:pt x="6234016" y="1665900"/>
                  <a:pt x="6234016" y="1635419"/>
                </a:cubicBezTo>
                <a:cubicBezTo>
                  <a:pt x="6234016" y="1604938"/>
                  <a:pt x="6258726" y="1580228"/>
                  <a:pt x="6289208" y="1580228"/>
                </a:cubicBezTo>
                <a:close/>
                <a:moveTo>
                  <a:pt x="6155572" y="1580228"/>
                </a:moveTo>
                <a:cubicBezTo>
                  <a:pt x="6186054" y="1580228"/>
                  <a:pt x="6210764" y="1604938"/>
                  <a:pt x="6210764" y="1635419"/>
                </a:cubicBezTo>
                <a:cubicBezTo>
                  <a:pt x="6210764" y="1665900"/>
                  <a:pt x="6186054" y="1690610"/>
                  <a:pt x="6155572" y="1690610"/>
                </a:cubicBezTo>
                <a:cubicBezTo>
                  <a:pt x="6125090" y="1690610"/>
                  <a:pt x="6100380" y="1665900"/>
                  <a:pt x="6100380" y="1635419"/>
                </a:cubicBezTo>
                <a:cubicBezTo>
                  <a:pt x="6100380" y="1604938"/>
                  <a:pt x="6125090" y="1580228"/>
                  <a:pt x="6155572" y="1580228"/>
                </a:cubicBezTo>
                <a:close/>
                <a:moveTo>
                  <a:pt x="6021938" y="1580228"/>
                </a:moveTo>
                <a:cubicBezTo>
                  <a:pt x="6052420" y="1580228"/>
                  <a:pt x="6077130" y="1604938"/>
                  <a:pt x="6077130" y="1635419"/>
                </a:cubicBezTo>
                <a:cubicBezTo>
                  <a:pt x="6077130" y="1665900"/>
                  <a:pt x="6052420" y="1690610"/>
                  <a:pt x="6021938" y="1690610"/>
                </a:cubicBezTo>
                <a:cubicBezTo>
                  <a:pt x="5991456" y="1690610"/>
                  <a:pt x="5966746" y="1665900"/>
                  <a:pt x="5966746" y="1635419"/>
                </a:cubicBezTo>
                <a:cubicBezTo>
                  <a:pt x="5966746" y="1604938"/>
                  <a:pt x="5991456" y="1580228"/>
                  <a:pt x="6021938" y="1580228"/>
                </a:cubicBezTo>
                <a:close/>
                <a:moveTo>
                  <a:pt x="5884964" y="1580228"/>
                </a:moveTo>
                <a:cubicBezTo>
                  <a:pt x="5915446" y="1580228"/>
                  <a:pt x="5940156" y="1604938"/>
                  <a:pt x="5940156" y="1635419"/>
                </a:cubicBezTo>
                <a:cubicBezTo>
                  <a:pt x="5940156" y="1665900"/>
                  <a:pt x="5915446" y="1690610"/>
                  <a:pt x="5884964" y="1690610"/>
                </a:cubicBezTo>
                <a:cubicBezTo>
                  <a:pt x="5854482" y="1690610"/>
                  <a:pt x="5829772" y="1665900"/>
                  <a:pt x="5829772" y="1635419"/>
                </a:cubicBezTo>
                <a:cubicBezTo>
                  <a:pt x="5829772" y="1604938"/>
                  <a:pt x="5854482" y="1580228"/>
                  <a:pt x="5884964" y="1580228"/>
                </a:cubicBezTo>
                <a:close/>
                <a:moveTo>
                  <a:pt x="5754670" y="1580228"/>
                </a:moveTo>
                <a:cubicBezTo>
                  <a:pt x="5785152" y="1580228"/>
                  <a:pt x="5809862" y="1604938"/>
                  <a:pt x="5809862" y="1635419"/>
                </a:cubicBezTo>
                <a:cubicBezTo>
                  <a:pt x="5809862" y="1665900"/>
                  <a:pt x="5785152" y="1690610"/>
                  <a:pt x="5754670" y="1690610"/>
                </a:cubicBezTo>
                <a:cubicBezTo>
                  <a:pt x="5724188" y="1690610"/>
                  <a:pt x="5699478" y="1665900"/>
                  <a:pt x="5699478" y="1635419"/>
                </a:cubicBezTo>
                <a:cubicBezTo>
                  <a:pt x="5699478" y="1604938"/>
                  <a:pt x="5724188" y="1580228"/>
                  <a:pt x="5754670" y="1580228"/>
                </a:cubicBezTo>
                <a:close/>
                <a:moveTo>
                  <a:pt x="5621035" y="1580228"/>
                </a:moveTo>
                <a:cubicBezTo>
                  <a:pt x="5651517" y="1580228"/>
                  <a:pt x="5676227" y="1604938"/>
                  <a:pt x="5676227" y="1635419"/>
                </a:cubicBezTo>
                <a:cubicBezTo>
                  <a:pt x="5676227" y="1665900"/>
                  <a:pt x="5651517" y="1690610"/>
                  <a:pt x="5621035" y="1690610"/>
                </a:cubicBezTo>
                <a:cubicBezTo>
                  <a:pt x="5590553" y="1690610"/>
                  <a:pt x="5565843" y="1665900"/>
                  <a:pt x="5565843" y="1635419"/>
                </a:cubicBezTo>
                <a:cubicBezTo>
                  <a:pt x="5565843" y="1604938"/>
                  <a:pt x="5590553" y="1580228"/>
                  <a:pt x="5621035" y="1580228"/>
                </a:cubicBezTo>
                <a:close/>
                <a:moveTo>
                  <a:pt x="5357105" y="1580228"/>
                </a:moveTo>
                <a:cubicBezTo>
                  <a:pt x="5387587" y="1580228"/>
                  <a:pt x="5412297" y="1604938"/>
                  <a:pt x="5412297" y="1635419"/>
                </a:cubicBezTo>
                <a:cubicBezTo>
                  <a:pt x="5412297" y="1665900"/>
                  <a:pt x="5387587" y="1690610"/>
                  <a:pt x="5357105" y="1690610"/>
                </a:cubicBezTo>
                <a:cubicBezTo>
                  <a:pt x="5326623" y="1690610"/>
                  <a:pt x="5301913" y="1665900"/>
                  <a:pt x="5301913" y="1635419"/>
                </a:cubicBezTo>
                <a:cubicBezTo>
                  <a:pt x="5301913" y="1604938"/>
                  <a:pt x="5326623" y="1580228"/>
                  <a:pt x="5357105" y="1580228"/>
                </a:cubicBezTo>
                <a:close/>
                <a:moveTo>
                  <a:pt x="5223473" y="1580228"/>
                </a:moveTo>
                <a:cubicBezTo>
                  <a:pt x="5253955" y="1580228"/>
                  <a:pt x="5278665" y="1604938"/>
                  <a:pt x="5278665" y="1635419"/>
                </a:cubicBezTo>
                <a:cubicBezTo>
                  <a:pt x="5278665" y="1665900"/>
                  <a:pt x="5253955" y="1690610"/>
                  <a:pt x="5223473" y="1690610"/>
                </a:cubicBezTo>
                <a:cubicBezTo>
                  <a:pt x="5192991" y="1690610"/>
                  <a:pt x="5168281" y="1665900"/>
                  <a:pt x="5168281" y="1635419"/>
                </a:cubicBezTo>
                <a:cubicBezTo>
                  <a:pt x="5168281" y="1604938"/>
                  <a:pt x="5192991" y="1580228"/>
                  <a:pt x="5223473" y="1580228"/>
                </a:cubicBezTo>
                <a:close/>
                <a:moveTo>
                  <a:pt x="5093178" y="1580228"/>
                </a:moveTo>
                <a:cubicBezTo>
                  <a:pt x="5123660" y="1580228"/>
                  <a:pt x="5148370" y="1604938"/>
                  <a:pt x="5148370" y="1635419"/>
                </a:cubicBezTo>
                <a:cubicBezTo>
                  <a:pt x="5148370" y="1665900"/>
                  <a:pt x="5123660" y="1690610"/>
                  <a:pt x="5093178" y="1690610"/>
                </a:cubicBezTo>
                <a:cubicBezTo>
                  <a:pt x="5062696" y="1690610"/>
                  <a:pt x="5037986" y="1665900"/>
                  <a:pt x="5037986" y="1635419"/>
                </a:cubicBezTo>
                <a:cubicBezTo>
                  <a:pt x="5037986" y="1604938"/>
                  <a:pt x="5062696" y="1580228"/>
                  <a:pt x="5093178" y="1580228"/>
                </a:cubicBezTo>
                <a:close/>
                <a:moveTo>
                  <a:pt x="4959543" y="1580228"/>
                </a:moveTo>
                <a:cubicBezTo>
                  <a:pt x="4990025" y="1580228"/>
                  <a:pt x="5014735" y="1604938"/>
                  <a:pt x="5014735" y="1635419"/>
                </a:cubicBezTo>
                <a:cubicBezTo>
                  <a:pt x="5014735" y="1665900"/>
                  <a:pt x="4990025" y="1690610"/>
                  <a:pt x="4959543" y="1690610"/>
                </a:cubicBezTo>
                <a:cubicBezTo>
                  <a:pt x="4929061" y="1690610"/>
                  <a:pt x="4904351" y="1665900"/>
                  <a:pt x="4904351" y="1635419"/>
                </a:cubicBezTo>
                <a:cubicBezTo>
                  <a:pt x="4904351" y="1604938"/>
                  <a:pt x="4929061" y="1580228"/>
                  <a:pt x="4959543" y="1580228"/>
                </a:cubicBezTo>
                <a:close/>
                <a:moveTo>
                  <a:pt x="4829251" y="1580228"/>
                </a:moveTo>
                <a:cubicBezTo>
                  <a:pt x="4859733" y="1580228"/>
                  <a:pt x="4884443" y="1604938"/>
                  <a:pt x="4884443" y="1635419"/>
                </a:cubicBezTo>
                <a:cubicBezTo>
                  <a:pt x="4884443" y="1665900"/>
                  <a:pt x="4859733" y="1690610"/>
                  <a:pt x="4829251" y="1690610"/>
                </a:cubicBezTo>
                <a:cubicBezTo>
                  <a:pt x="4798769" y="1690610"/>
                  <a:pt x="4774059" y="1665900"/>
                  <a:pt x="4774059" y="1635419"/>
                </a:cubicBezTo>
                <a:cubicBezTo>
                  <a:pt x="4774059" y="1604938"/>
                  <a:pt x="4798769" y="1580228"/>
                  <a:pt x="4829251" y="1580228"/>
                </a:cubicBezTo>
                <a:close/>
                <a:moveTo>
                  <a:pt x="4695613" y="1580228"/>
                </a:moveTo>
                <a:cubicBezTo>
                  <a:pt x="4726095" y="1580228"/>
                  <a:pt x="4750805" y="1604938"/>
                  <a:pt x="4750805" y="1635419"/>
                </a:cubicBezTo>
                <a:cubicBezTo>
                  <a:pt x="4750805" y="1665900"/>
                  <a:pt x="4726095" y="1690610"/>
                  <a:pt x="4695613" y="1690610"/>
                </a:cubicBezTo>
                <a:cubicBezTo>
                  <a:pt x="4665131" y="1690610"/>
                  <a:pt x="4640421" y="1665900"/>
                  <a:pt x="4640421" y="1635419"/>
                </a:cubicBezTo>
                <a:cubicBezTo>
                  <a:pt x="4640421" y="1604938"/>
                  <a:pt x="4665131" y="1580228"/>
                  <a:pt x="4695613" y="1580228"/>
                </a:cubicBezTo>
                <a:close/>
                <a:moveTo>
                  <a:pt x="4565322" y="1580228"/>
                </a:moveTo>
                <a:cubicBezTo>
                  <a:pt x="4595804" y="1580228"/>
                  <a:pt x="4620514" y="1604938"/>
                  <a:pt x="4620514" y="1635419"/>
                </a:cubicBezTo>
                <a:cubicBezTo>
                  <a:pt x="4620514" y="1665900"/>
                  <a:pt x="4595804" y="1690610"/>
                  <a:pt x="4565322" y="1690610"/>
                </a:cubicBezTo>
                <a:cubicBezTo>
                  <a:pt x="4534840" y="1690610"/>
                  <a:pt x="4510130" y="1665900"/>
                  <a:pt x="4510130" y="1635419"/>
                </a:cubicBezTo>
                <a:cubicBezTo>
                  <a:pt x="4510130" y="1604938"/>
                  <a:pt x="4534840" y="1580228"/>
                  <a:pt x="4565322" y="1580228"/>
                </a:cubicBezTo>
                <a:close/>
                <a:moveTo>
                  <a:pt x="3098681" y="1580228"/>
                </a:moveTo>
                <a:cubicBezTo>
                  <a:pt x="3129163" y="1580228"/>
                  <a:pt x="3153873" y="1604938"/>
                  <a:pt x="3153873" y="1635419"/>
                </a:cubicBezTo>
                <a:cubicBezTo>
                  <a:pt x="3153873" y="1665900"/>
                  <a:pt x="3129163" y="1690610"/>
                  <a:pt x="3098681" y="1690610"/>
                </a:cubicBezTo>
                <a:cubicBezTo>
                  <a:pt x="3068199" y="1690610"/>
                  <a:pt x="3043489" y="1665900"/>
                  <a:pt x="3043489" y="1635419"/>
                </a:cubicBezTo>
                <a:cubicBezTo>
                  <a:pt x="3043489" y="1604938"/>
                  <a:pt x="3068199" y="1580228"/>
                  <a:pt x="3098681" y="1580228"/>
                </a:cubicBezTo>
                <a:close/>
                <a:moveTo>
                  <a:pt x="2971729" y="1580228"/>
                </a:moveTo>
                <a:cubicBezTo>
                  <a:pt x="3002211" y="1580228"/>
                  <a:pt x="3026921" y="1604938"/>
                  <a:pt x="3026921" y="1635419"/>
                </a:cubicBezTo>
                <a:cubicBezTo>
                  <a:pt x="3026921" y="1665900"/>
                  <a:pt x="3002211" y="1690610"/>
                  <a:pt x="2971729" y="1690610"/>
                </a:cubicBezTo>
                <a:cubicBezTo>
                  <a:pt x="2941247" y="1690610"/>
                  <a:pt x="2916537" y="1665900"/>
                  <a:pt x="2916537" y="1635419"/>
                </a:cubicBezTo>
                <a:cubicBezTo>
                  <a:pt x="2916537" y="1604938"/>
                  <a:pt x="2941247" y="1580228"/>
                  <a:pt x="2971729" y="1580228"/>
                </a:cubicBezTo>
                <a:close/>
                <a:moveTo>
                  <a:pt x="2834783" y="1580228"/>
                </a:moveTo>
                <a:cubicBezTo>
                  <a:pt x="2865264" y="1580228"/>
                  <a:pt x="2889974" y="1604938"/>
                  <a:pt x="2889974" y="1635419"/>
                </a:cubicBezTo>
                <a:cubicBezTo>
                  <a:pt x="2889974" y="1665900"/>
                  <a:pt x="2865264" y="1690610"/>
                  <a:pt x="2834783" y="1690610"/>
                </a:cubicBezTo>
                <a:cubicBezTo>
                  <a:pt x="2804300" y="1690610"/>
                  <a:pt x="2779590" y="1665900"/>
                  <a:pt x="2779590" y="1635419"/>
                </a:cubicBezTo>
                <a:cubicBezTo>
                  <a:pt x="2779590" y="1604938"/>
                  <a:pt x="2804300" y="1580228"/>
                  <a:pt x="2834783" y="1580228"/>
                </a:cubicBezTo>
                <a:close/>
                <a:moveTo>
                  <a:pt x="2707828" y="1580228"/>
                </a:moveTo>
                <a:cubicBezTo>
                  <a:pt x="2738310" y="1580228"/>
                  <a:pt x="2763021" y="1604938"/>
                  <a:pt x="2763021" y="1635419"/>
                </a:cubicBezTo>
                <a:cubicBezTo>
                  <a:pt x="2763021" y="1665900"/>
                  <a:pt x="2738310" y="1690610"/>
                  <a:pt x="2707828" y="1690610"/>
                </a:cubicBezTo>
                <a:cubicBezTo>
                  <a:pt x="2677345" y="1690610"/>
                  <a:pt x="2652636" y="1665900"/>
                  <a:pt x="2652636" y="1635419"/>
                </a:cubicBezTo>
                <a:cubicBezTo>
                  <a:pt x="2652636" y="1604938"/>
                  <a:pt x="2677345" y="1580228"/>
                  <a:pt x="2707828" y="1580228"/>
                </a:cubicBezTo>
                <a:close/>
                <a:moveTo>
                  <a:pt x="2570854" y="1580228"/>
                </a:moveTo>
                <a:cubicBezTo>
                  <a:pt x="2601336" y="1580228"/>
                  <a:pt x="2626046" y="1604938"/>
                  <a:pt x="2626046" y="1635419"/>
                </a:cubicBezTo>
                <a:cubicBezTo>
                  <a:pt x="2626046" y="1665900"/>
                  <a:pt x="2601336" y="1690610"/>
                  <a:pt x="2570854" y="1690610"/>
                </a:cubicBezTo>
                <a:cubicBezTo>
                  <a:pt x="2540372" y="1690610"/>
                  <a:pt x="2515662" y="1665900"/>
                  <a:pt x="2515662" y="1635419"/>
                </a:cubicBezTo>
                <a:cubicBezTo>
                  <a:pt x="2515662" y="1604938"/>
                  <a:pt x="2540372" y="1580228"/>
                  <a:pt x="2570854" y="1580228"/>
                </a:cubicBezTo>
                <a:close/>
                <a:moveTo>
                  <a:pt x="2437218" y="1580228"/>
                </a:moveTo>
                <a:cubicBezTo>
                  <a:pt x="2467700" y="1580228"/>
                  <a:pt x="2492409" y="1604938"/>
                  <a:pt x="2492409" y="1635419"/>
                </a:cubicBezTo>
                <a:cubicBezTo>
                  <a:pt x="2492409" y="1665900"/>
                  <a:pt x="2467700" y="1690610"/>
                  <a:pt x="2437218" y="1690610"/>
                </a:cubicBezTo>
                <a:cubicBezTo>
                  <a:pt x="2406736" y="1690610"/>
                  <a:pt x="2382026" y="1665900"/>
                  <a:pt x="2382026" y="1635419"/>
                </a:cubicBezTo>
                <a:cubicBezTo>
                  <a:pt x="2382026" y="1604938"/>
                  <a:pt x="2406736" y="1580228"/>
                  <a:pt x="2437218" y="1580228"/>
                </a:cubicBezTo>
                <a:close/>
                <a:moveTo>
                  <a:pt x="2303586" y="1580228"/>
                </a:moveTo>
                <a:cubicBezTo>
                  <a:pt x="2334067" y="1580228"/>
                  <a:pt x="2358778" y="1604938"/>
                  <a:pt x="2358778" y="1635419"/>
                </a:cubicBezTo>
                <a:cubicBezTo>
                  <a:pt x="2358778" y="1665900"/>
                  <a:pt x="2334067" y="1690610"/>
                  <a:pt x="2303586" y="1690610"/>
                </a:cubicBezTo>
                <a:cubicBezTo>
                  <a:pt x="2273104" y="1690610"/>
                  <a:pt x="2248394" y="1665900"/>
                  <a:pt x="2248394" y="1635419"/>
                </a:cubicBezTo>
                <a:cubicBezTo>
                  <a:pt x="2248394" y="1604938"/>
                  <a:pt x="2273104" y="1580228"/>
                  <a:pt x="2303586" y="1580228"/>
                </a:cubicBezTo>
                <a:close/>
                <a:moveTo>
                  <a:pt x="2173293" y="1580228"/>
                </a:moveTo>
                <a:cubicBezTo>
                  <a:pt x="2203775" y="1580228"/>
                  <a:pt x="2228486" y="1604938"/>
                  <a:pt x="2228486" y="1635419"/>
                </a:cubicBezTo>
                <a:cubicBezTo>
                  <a:pt x="2228486" y="1665900"/>
                  <a:pt x="2203775" y="1690610"/>
                  <a:pt x="2173293" y="1690610"/>
                </a:cubicBezTo>
                <a:cubicBezTo>
                  <a:pt x="2142811" y="1690610"/>
                  <a:pt x="2118101" y="1665900"/>
                  <a:pt x="2118101" y="1635419"/>
                </a:cubicBezTo>
                <a:cubicBezTo>
                  <a:pt x="2118101" y="1604938"/>
                  <a:pt x="2142811" y="1580228"/>
                  <a:pt x="2173293" y="1580228"/>
                </a:cubicBezTo>
                <a:close/>
                <a:moveTo>
                  <a:pt x="2039658" y="1580228"/>
                </a:moveTo>
                <a:cubicBezTo>
                  <a:pt x="2070140" y="1580228"/>
                  <a:pt x="2094851" y="1604938"/>
                  <a:pt x="2094851" y="1635419"/>
                </a:cubicBezTo>
                <a:cubicBezTo>
                  <a:pt x="2094851" y="1665900"/>
                  <a:pt x="2070140" y="1690610"/>
                  <a:pt x="2039658" y="1690610"/>
                </a:cubicBezTo>
                <a:cubicBezTo>
                  <a:pt x="2009176" y="1690610"/>
                  <a:pt x="1984465" y="1665900"/>
                  <a:pt x="1984465" y="1635419"/>
                </a:cubicBezTo>
                <a:cubicBezTo>
                  <a:pt x="1984465" y="1604938"/>
                  <a:pt x="2009176" y="1580228"/>
                  <a:pt x="2039658" y="1580228"/>
                </a:cubicBezTo>
                <a:close/>
                <a:moveTo>
                  <a:pt x="9068807" y="1459958"/>
                </a:moveTo>
                <a:cubicBezTo>
                  <a:pt x="9099289" y="1459958"/>
                  <a:pt x="9123999" y="1484668"/>
                  <a:pt x="9123999" y="1515149"/>
                </a:cubicBezTo>
                <a:cubicBezTo>
                  <a:pt x="9123999" y="1545630"/>
                  <a:pt x="9099289" y="1570340"/>
                  <a:pt x="9068807" y="1570340"/>
                </a:cubicBezTo>
                <a:cubicBezTo>
                  <a:pt x="9038325" y="1570340"/>
                  <a:pt x="9013615" y="1545630"/>
                  <a:pt x="9013615" y="1515149"/>
                </a:cubicBezTo>
                <a:cubicBezTo>
                  <a:pt x="9013615" y="1484668"/>
                  <a:pt x="9038325" y="1459958"/>
                  <a:pt x="9068807" y="1459958"/>
                </a:cubicBezTo>
                <a:close/>
                <a:moveTo>
                  <a:pt x="8671244" y="1459958"/>
                </a:moveTo>
                <a:cubicBezTo>
                  <a:pt x="8701726" y="1459958"/>
                  <a:pt x="8726436" y="1484668"/>
                  <a:pt x="8726436" y="1515149"/>
                </a:cubicBezTo>
                <a:cubicBezTo>
                  <a:pt x="8726436" y="1545630"/>
                  <a:pt x="8701726" y="1570340"/>
                  <a:pt x="8671244" y="1570340"/>
                </a:cubicBezTo>
                <a:cubicBezTo>
                  <a:pt x="8640762" y="1570340"/>
                  <a:pt x="8616052" y="1545630"/>
                  <a:pt x="8616052" y="1515149"/>
                </a:cubicBezTo>
                <a:cubicBezTo>
                  <a:pt x="8616052" y="1484668"/>
                  <a:pt x="8640762" y="1459958"/>
                  <a:pt x="8671244" y="1459958"/>
                </a:cubicBezTo>
                <a:close/>
                <a:moveTo>
                  <a:pt x="8537612" y="1459958"/>
                </a:moveTo>
                <a:cubicBezTo>
                  <a:pt x="8568094" y="1459958"/>
                  <a:pt x="8592804" y="1484668"/>
                  <a:pt x="8592804" y="1515149"/>
                </a:cubicBezTo>
                <a:cubicBezTo>
                  <a:pt x="8592804" y="1545630"/>
                  <a:pt x="8568094" y="1570340"/>
                  <a:pt x="8537612" y="1570340"/>
                </a:cubicBezTo>
                <a:cubicBezTo>
                  <a:pt x="8507130" y="1570340"/>
                  <a:pt x="8482420" y="1545630"/>
                  <a:pt x="8482420" y="1515149"/>
                </a:cubicBezTo>
                <a:cubicBezTo>
                  <a:pt x="8482420" y="1484668"/>
                  <a:pt x="8507130" y="1459958"/>
                  <a:pt x="8537612" y="1459958"/>
                </a:cubicBezTo>
                <a:close/>
                <a:moveTo>
                  <a:pt x="8407316" y="1459958"/>
                </a:moveTo>
                <a:cubicBezTo>
                  <a:pt x="8437798" y="1459958"/>
                  <a:pt x="8462508" y="1484668"/>
                  <a:pt x="8462508" y="1515149"/>
                </a:cubicBezTo>
                <a:cubicBezTo>
                  <a:pt x="8462508" y="1545630"/>
                  <a:pt x="8437798" y="1570340"/>
                  <a:pt x="8407316" y="1570340"/>
                </a:cubicBezTo>
                <a:cubicBezTo>
                  <a:pt x="8376834" y="1570340"/>
                  <a:pt x="8352124" y="1545630"/>
                  <a:pt x="8352124" y="1515149"/>
                </a:cubicBezTo>
                <a:cubicBezTo>
                  <a:pt x="8352124" y="1484668"/>
                  <a:pt x="8376834" y="1459958"/>
                  <a:pt x="8407316" y="1459958"/>
                </a:cubicBezTo>
                <a:close/>
                <a:moveTo>
                  <a:pt x="8273682" y="1459958"/>
                </a:moveTo>
                <a:cubicBezTo>
                  <a:pt x="8304164" y="1459958"/>
                  <a:pt x="8328874" y="1484668"/>
                  <a:pt x="8328874" y="1515149"/>
                </a:cubicBezTo>
                <a:cubicBezTo>
                  <a:pt x="8328874" y="1545630"/>
                  <a:pt x="8304164" y="1570340"/>
                  <a:pt x="8273682" y="1570340"/>
                </a:cubicBezTo>
                <a:cubicBezTo>
                  <a:pt x="8243200" y="1570340"/>
                  <a:pt x="8218490" y="1545630"/>
                  <a:pt x="8218490" y="1515149"/>
                </a:cubicBezTo>
                <a:cubicBezTo>
                  <a:pt x="8218490" y="1484668"/>
                  <a:pt x="8243200" y="1459958"/>
                  <a:pt x="8273682" y="1459958"/>
                </a:cubicBezTo>
                <a:close/>
                <a:moveTo>
                  <a:pt x="8143388" y="1459958"/>
                </a:moveTo>
                <a:cubicBezTo>
                  <a:pt x="8173870" y="1459958"/>
                  <a:pt x="8198580" y="1484668"/>
                  <a:pt x="8198580" y="1515149"/>
                </a:cubicBezTo>
                <a:cubicBezTo>
                  <a:pt x="8198580" y="1545630"/>
                  <a:pt x="8173870" y="1570340"/>
                  <a:pt x="8143388" y="1570340"/>
                </a:cubicBezTo>
                <a:cubicBezTo>
                  <a:pt x="8112906" y="1570340"/>
                  <a:pt x="8088196" y="1545630"/>
                  <a:pt x="8088196" y="1515149"/>
                </a:cubicBezTo>
                <a:cubicBezTo>
                  <a:pt x="8088196" y="1484668"/>
                  <a:pt x="8112906" y="1459958"/>
                  <a:pt x="8143388" y="1459958"/>
                </a:cubicBezTo>
                <a:close/>
                <a:moveTo>
                  <a:pt x="8009753" y="1459958"/>
                </a:moveTo>
                <a:cubicBezTo>
                  <a:pt x="8040235" y="1459958"/>
                  <a:pt x="8064945" y="1484668"/>
                  <a:pt x="8064945" y="1515149"/>
                </a:cubicBezTo>
                <a:cubicBezTo>
                  <a:pt x="8064945" y="1545630"/>
                  <a:pt x="8040235" y="1570340"/>
                  <a:pt x="8009753" y="1570340"/>
                </a:cubicBezTo>
                <a:cubicBezTo>
                  <a:pt x="7979271" y="1570340"/>
                  <a:pt x="7954561" y="1545630"/>
                  <a:pt x="7954561" y="1515149"/>
                </a:cubicBezTo>
                <a:cubicBezTo>
                  <a:pt x="7954561" y="1484668"/>
                  <a:pt x="7979271" y="1459958"/>
                  <a:pt x="8009753" y="1459958"/>
                </a:cubicBezTo>
                <a:close/>
                <a:moveTo>
                  <a:pt x="7876118" y="1459958"/>
                </a:moveTo>
                <a:cubicBezTo>
                  <a:pt x="7906600" y="1459958"/>
                  <a:pt x="7931310" y="1484668"/>
                  <a:pt x="7931310" y="1515149"/>
                </a:cubicBezTo>
                <a:cubicBezTo>
                  <a:pt x="7931310" y="1545630"/>
                  <a:pt x="7906600" y="1570340"/>
                  <a:pt x="7876118" y="1570340"/>
                </a:cubicBezTo>
                <a:cubicBezTo>
                  <a:pt x="7845636" y="1570340"/>
                  <a:pt x="7820926" y="1545630"/>
                  <a:pt x="7820926" y="1515149"/>
                </a:cubicBezTo>
                <a:cubicBezTo>
                  <a:pt x="7820926" y="1484668"/>
                  <a:pt x="7845636" y="1459958"/>
                  <a:pt x="7876118" y="1459958"/>
                </a:cubicBezTo>
                <a:close/>
                <a:moveTo>
                  <a:pt x="7745823" y="1459958"/>
                </a:moveTo>
                <a:cubicBezTo>
                  <a:pt x="7776305" y="1459958"/>
                  <a:pt x="7801015" y="1484668"/>
                  <a:pt x="7801015" y="1515149"/>
                </a:cubicBezTo>
                <a:cubicBezTo>
                  <a:pt x="7801015" y="1545630"/>
                  <a:pt x="7776305" y="1570340"/>
                  <a:pt x="7745823" y="1570340"/>
                </a:cubicBezTo>
                <a:cubicBezTo>
                  <a:pt x="7715341" y="1570340"/>
                  <a:pt x="7690631" y="1545630"/>
                  <a:pt x="7690631" y="1515149"/>
                </a:cubicBezTo>
                <a:cubicBezTo>
                  <a:pt x="7690631" y="1484668"/>
                  <a:pt x="7715341" y="1459958"/>
                  <a:pt x="7745823" y="1459958"/>
                </a:cubicBezTo>
                <a:close/>
                <a:moveTo>
                  <a:pt x="7608849" y="1459958"/>
                </a:moveTo>
                <a:cubicBezTo>
                  <a:pt x="7639331" y="1459958"/>
                  <a:pt x="7664041" y="1484668"/>
                  <a:pt x="7664041" y="1515149"/>
                </a:cubicBezTo>
                <a:cubicBezTo>
                  <a:pt x="7664041" y="1545630"/>
                  <a:pt x="7639331" y="1570340"/>
                  <a:pt x="7608849" y="1570340"/>
                </a:cubicBezTo>
                <a:cubicBezTo>
                  <a:pt x="7578367" y="1570340"/>
                  <a:pt x="7553657" y="1545630"/>
                  <a:pt x="7553657" y="1515149"/>
                </a:cubicBezTo>
                <a:cubicBezTo>
                  <a:pt x="7553657" y="1484668"/>
                  <a:pt x="7578367" y="1459958"/>
                  <a:pt x="7608849" y="1459958"/>
                </a:cubicBezTo>
                <a:close/>
                <a:moveTo>
                  <a:pt x="7481897" y="1459958"/>
                </a:moveTo>
                <a:cubicBezTo>
                  <a:pt x="7512379" y="1459958"/>
                  <a:pt x="7537089" y="1484668"/>
                  <a:pt x="7537089" y="1515149"/>
                </a:cubicBezTo>
                <a:cubicBezTo>
                  <a:pt x="7537089" y="1545630"/>
                  <a:pt x="7512379" y="1570340"/>
                  <a:pt x="7481897" y="1570340"/>
                </a:cubicBezTo>
                <a:cubicBezTo>
                  <a:pt x="7451415" y="1570340"/>
                  <a:pt x="7426705" y="1545630"/>
                  <a:pt x="7426705" y="1515149"/>
                </a:cubicBezTo>
                <a:cubicBezTo>
                  <a:pt x="7426705" y="1484668"/>
                  <a:pt x="7451415" y="1459958"/>
                  <a:pt x="7481897" y="1459958"/>
                </a:cubicBezTo>
                <a:close/>
                <a:moveTo>
                  <a:pt x="7341579" y="1459958"/>
                </a:moveTo>
                <a:cubicBezTo>
                  <a:pt x="7372061" y="1459958"/>
                  <a:pt x="7396771" y="1484668"/>
                  <a:pt x="7396771" y="1515149"/>
                </a:cubicBezTo>
                <a:cubicBezTo>
                  <a:pt x="7396771" y="1545630"/>
                  <a:pt x="7372061" y="1570340"/>
                  <a:pt x="7341579" y="1570340"/>
                </a:cubicBezTo>
                <a:cubicBezTo>
                  <a:pt x="7311097" y="1570340"/>
                  <a:pt x="7286387" y="1545630"/>
                  <a:pt x="7286387" y="1515149"/>
                </a:cubicBezTo>
                <a:cubicBezTo>
                  <a:pt x="7286387" y="1484668"/>
                  <a:pt x="7311097" y="1459958"/>
                  <a:pt x="7341579" y="1459958"/>
                </a:cubicBezTo>
                <a:close/>
                <a:moveTo>
                  <a:pt x="7211286" y="1459958"/>
                </a:moveTo>
                <a:cubicBezTo>
                  <a:pt x="7241768" y="1459958"/>
                  <a:pt x="7266478" y="1484668"/>
                  <a:pt x="7266478" y="1515149"/>
                </a:cubicBezTo>
                <a:cubicBezTo>
                  <a:pt x="7266478" y="1545630"/>
                  <a:pt x="7241768" y="1570340"/>
                  <a:pt x="7211286" y="1570340"/>
                </a:cubicBezTo>
                <a:cubicBezTo>
                  <a:pt x="7180804" y="1570340"/>
                  <a:pt x="7156094" y="1545630"/>
                  <a:pt x="7156094" y="1515149"/>
                </a:cubicBezTo>
                <a:cubicBezTo>
                  <a:pt x="7156094" y="1484668"/>
                  <a:pt x="7180804" y="1459958"/>
                  <a:pt x="7211286" y="1459958"/>
                </a:cubicBezTo>
                <a:close/>
                <a:moveTo>
                  <a:pt x="7080993" y="1459958"/>
                </a:moveTo>
                <a:cubicBezTo>
                  <a:pt x="7111475" y="1459958"/>
                  <a:pt x="7136185" y="1484668"/>
                  <a:pt x="7136185" y="1515149"/>
                </a:cubicBezTo>
                <a:cubicBezTo>
                  <a:pt x="7136185" y="1545630"/>
                  <a:pt x="7111475" y="1570340"/>
                  <a:pt x="7080993" y="1570340"/>
                </a:cubicBezTo>
                <a:cubicBezTo>
                  <a:pt x="7050511" y="1570340"/>
                  <a:pt x="7025801" y="1545630"/>
                  <a:pt x="7025801" y="1515149"/>
                </a:cubicBezTo>
                <a:cubicBezTo>
                  <a:pt x="7025801" y="1484668"/>
                  <a:pt x="7050511" y="1459958"/>
                  <a:pt x="7080993" y="1459958"/>
                </a:cubicBezTo>
                <a:close/>
                <a:moveTo>
                  <a:pt x="6947357" y="1459958"/>
                </a:moveTo>
                <a:cubicBezTo>
                  <a:pt x="6977839" y="1459958"/>
                  <a:pt x="7002549" y="1484668"/>
                  <a:pt x="7002549" y="1515149"/>
                </a:cubicBezTo>
                <a:cubicBezTo>
                  <a:pt x="7002549" y="1545630"/>
                  <a:pt x="6977839" y="1570340"/>
                  <a:pt x="6947357" y="1570340"/>
                </a:cubicBezTo>
                <a:cubicBezTo>
                  <a:pt x="6916875" y="1570340"/>
                  <a:pt x="6892165" y="1545630"/>
                  <a:pt x="6892165" y="1515149"/>
                </a:cubicBezTo>
                <a:cubicBezTo>
                  <a:pt x="6892165" y="1484668"/>
                  <a:pt x="6916875" y="1459958"/>
                  <a:pt x="6947357" y="1459958"/>
                </a:cubicBezTo>
                <a:close/>
                <a:moveTo>
                  <a:pt x="6817064" y="1459958"/>
                </a:moveTo>
                <a:cubicBezTo>
                  <a:pt x="6847546" y="1459958"/>
                  <a:pt x="6872256" y="1484668"/>
                  <a:pt x="6872256" y="1515149"/>
                </a:cubicBezTo>
                <a:cubicBezTo>
                  <a:pt x="6872256" y="1545630"/>
                  <a:pt x="6847546" y="1570340"/>
                  <a:pt x="6817064" y="1570340"/>
                </a:cubicBezTo>
                <a:cubicBezTo>
                  <a:pt x="6786582" y="1570340"/>
                  <a:pt x="6761872" y="1545630"/>
                  <a:pt x="6761872" y="1515149"/>
                </a:cubicBezTo>
                <a:cubicBezTo>
                  <a:pt x="6761872" y="1484668"/>
                  <a:pt x="6786582" y="1459958"/>
                  <a:pt x="6817064" y="1459958"/>
                </a:cubicBezTo>
                <a:close/>
                <a:moveTo>
                  <a:pt x="6683431" y="1459958"/>
                </a:moveTo>
                <a:cubicBezTo>
                  <a:pt x="6713913" y="1459958"/>
                  <a:pt x="6738623" y="1484668"/>
                  <a:pt x="6738623" y="1515149"/>
                </a:cubicBezTo>
                <a:cubicBezTo>
                  <a:pt x="6738623" y="1545630"/>
                  <a:pt x="6713913" y="1570340"/>
                  <a:pt x="6683431" y="1570340"/>
                </a:cubicBezTo>
                <a:cubicBezTo>
                  <a:pt x="6652949" y="1570340"/>
                  <a:pt x="6628239" y="1545630"/>
                  <a:pt x="6628239" y="1515149"/>
                </a:cubicBezTo>
                <a:cubicBezTo>
                  <a:pt x="6628239" y="1484668"/>
                  <a:pt x="6652949" y="1459958"/>
                  <a:pt x="6683431" y="1459958"/>
                </a:cubicBezTo>
                <a:close/>
                <a:moveTo>
                  <a:pt x="6553137" y="1459958"/>
                </a:moveTo>
                <a:cubicBezTo>
                  <a:pt x="6583619" y="1459958"/>
                  <a:pt x="6608329" y="1484668"/>
                  <a:pt x="6608329" y="1515149"/>
                </a:cubicBezTo>
                <a:cubicBezTo>
                  <a:pt x="6608329" y="1545630"/>
                  <a:pt x="6583619" y="1570340"/>
                  <a:pt x="6553137" y="1570340"/>
                </a:cubicBezTo>
                <a:cubicBezTo>
                  <a:pt x="6522655" y="1570340"/>
                  <a:pt x="6497945" y="1545630"/>
                  <a:pt x="6497945" y="1515149"/>
                </a:cubicBezTo>
                <a:cubicBezTo>
                  <a:pt x="6497945" y="1484668"/>
                  <a:pt x="6522655" y="1459958"/>
                  <a:pt x="6553137" y="1459958"/>
                </a:cubicBezTo>
                <a:close/>
                <a:moveTo>
                  <a:pt x="6419502" y="1459958"/>
                </a:moveTo>
                <a:cubicBezTo>
                  <a:pt x="6449984" y="1459958"/>
                  <a:pt x="6474694" y="1484668"/>
                  <a:pt x="6474694" y="1515149"/>
                </a:cubicBezTo>
                <a:cubicBezTo>
                  <a:pt x="6474694" y="1545630"/>
                  <a:pt x="6449984" y="1570340"/>
                  <a:pt x="6419502" y="1570340"/>
                </a:cubicBezTo>
                <a:cubicBezTo>
                  <a:pt x="6389020" y="1570340"/>
                  <a:pt x="6364310" y="1545630"/>
                  <a:pt x="6364310" y="1515149"/>
                </a:cubicBezTo>
                <a:cubicBezTo>
                  <a:pt x="6364310" y="1484668"/>
                  <a:pt x="6389020" y="1459958"/>
                  <a:pt x="6419502" y="1459958"/>
                </a:cubicBezTo>
                <a:close/>
                <a:moveTo>
                  <a:pt x="6289207" y="1459958"/>
                </a:moveTo>
                <a:cubicBezTo>
                  <a:pt x="6319689" y="1459958"/>
                  <a:pt x="6344399" y="1484668"/>
                  <a:pt x="6344399" y="1515149"/>
                </a:cubicBezTo>
                <a:cubicBezTo>
                  <a:pt x="6344399" y="1545630"/>
                  <a:pt x="6319689" y="1570340"/>
                  <a:pt x="6289207" y="1570340"/>
                </a:cubicBezTo>
                <a:cubicBezTo>
                  <a:pt x="6258725" y="1570340"/>
                  <a:pt x="6234015" y="1545630"/>
                  <a:pt x="6234015" y="1515149"/>
                </a:cubicBezTo>
                <a:cubicBezTo>
                  <a:pt x="6234015" y="1484668"/>
                  <a:pt x="6258725" y="1459958"/>
                  <a:pt x="6289207" y="1459958"/>
                </a:cubicBezTo>
                <a:close/>
                <a:moveTo>
                  <a:pt x="6155573" y="1459958"/>
                </a:moveTo>
                <a:cubicBezTo>
                  <a:pt x="6186055" y="1459958"/>
                  <a:pt x="6210765" y="1484668"/>
                  <a:pt x="6210765" y="1515149"/>
                </a:cubicBezTo>
                <a:cubicBezTo>
                  <a:pt x="6210765" y="1545630"/>
                  <a:pt x="6186055" y="1570340"/>
                  <a:pt x="6155573" y="1570340"/>
                </a:cubicBezTo>
                <a:cubicBezTo>
                  <a:pt x="6125091" y="1570340"/>
                  <a:pt x="6100381" y="1545630"/>
                  <a:pt x="6100381" y="1515149"/>
                </a:cubicBezTo>
                <a:cubicBezTo>
                  <a:pt x="6100381" y="1484668"/>
                  <a:pt x="6125091" y="1459958"/>
                  <a:pt x="6155573" y="1459958"/>
                </a:cubicBezTo>
                <a:close/>
                <a:moveTo>
                  <a:pt x="6021939" y="1459958"/>
                </a:moveTo>
                <a:cubicBezTo>
                  <a:pt x="6052421" y="1459958"/>
                  <a:pt x="6077131" y="1484668"/>
                  <a:pt x="6077131" y="1515149"/>
                </a:cubicBezTo>
                <a:cubicBezTo>
                  <a:pt x="6077131" y="1545630"/>
                  <a:pt x="6052421" y="1570340"/>
                  <a:pt x="6021939" y="1570340"/>
                </a:cubicBezTo>
                <a:cubicBezTo>
                  <a:pt x="5991457" y="1570340"/>
                  <a:pt x="5966747" y="1545630"/>
                  <a:pt x="5966747" y="1515149"/>
                </a:cubicBezTo>
                <a:cubicBezTo>
                  <a:pt x="5966747" y="1484668"/>
                  <a:pt x="5991457" y="1459958"/>
                  <a:pt x="6021939" y="1459958"/>
                </a:cubicBezTo>
                <a:close/>
                <a:moveTo>
                  <a:pt x="5884964" y="1459958"/>
                </a:moveTo>
                <a:cubicBezTo>
                  <a:pt x="5915446" y="1459958"/>
                  <a:pt x="5940156" y="1484668"/>
                  <a:pt x="5940156" y="1515149"/>
                </a:cubicBezTo>
                <a:cubicBezTo>
                  <a:pt x="5940156" y="1545630"/>
                  <a:pt x="5915446" y="1570340"/>
                  <a:pt x="5884964" y="1570340"/>
                </a:cubicBezTo>
                <a:cubicBezTo>
                  <a:pt x="5854482" y="1570340"/>
                  <a:pt x="5829772" y="1545630"/>
                  <a:pt x="5829772" y="1515149"/>
                </a:cubicBezTo>
                <a:cubicBezTo>
                  <a:pt x="5829772" y="1484668"/>
                  <a:pt x="5854482" y="1459958"/>
                  <a:pt x="5884964" y="1459958"/>
                </a:cubicBezTo>
                <a:close/>
                <a:moveTo>
                  <a:pt x="5754668" y="1459958"/>
                </a:moveTo>
                <a:cubicBezTo>
                  <a:pt x="5785150" y="1459958"/>
                  <a:pt x="5809860" y="1484668"/>
                  <a:pt x="5809860" y="1515149"/>
                </a:cubicBezTo>
                <a:cubicBezTo>
                  <a:pt x="5809860" y="1545630"/>
                  <a:pt x="5785150" y="1570340"/>
                  <a:pt x="5754668" y="1570340"/>
                </a:cubicBezTo>
                <a:cubicBezTo>
                  <a:pt x="5724186" y="1570340"/>
                  <a:pt x="5699476" y="1545630"/>
                  <a:pt x="5699476" y="1515149"/>
                </a:cubicBezTo>
                <a:cubicBezTo>
                  <a:pt x="5699476" y="1484668"/>
                  <a:pt x="5724186" y="1459958"/>
                  <a:pt x="5754668" y="1459958"/>
                </a:cubicBezTo>
                <a:close/>
                <a:moveTo>
                  <a:pt x="5621034" y="1459958"/>
                </a:moveTo>
                <a:cubicBezTo>
                  <a:pt x="5651516" y="1459958"/>
                  <a:pt x="5676226" y="1484668"/>
                  <a:pt x="5676226" y="1515149"/>
                </a:cubicBezTo>
                <a:cubicBezTo>
                  <a:pt x="5676226" y="1545630"/>
                  <a:pt x="5651516" y="1570340"/>
                  <a:pt x="5621034" y="1570340"/>
                </a:cubicBezTo>
                <a:cubicBezTo>
                  <a:pt x="5590552" y="1570340"/>
                  <a:pt x="5565842" y="1545630"/>
                  <a:pt x="5565842" y="1515149"/>
                </a:cubicBezTo>
                <a:cubicBezTo>
                  <a:pt x="5565842" y="1484668"/>
                  <a:pt x="5590552" y="1459958"/>
                  <a:pt x="5621034" y="1459958"/>
                </a:cubicBezTo>
                <a:close/>
                <a:moveTo>
                  <a:pt x="5487399" y="1459958"/>
                </a:moveTo>
                <a:cubicBezTo>
                  <a:pt x="5517881" y="1459958"/>
                  <a:pt x="5542591" y="1484668"/>
                  <a:pt x="5542591" y="1515149"/>
                </a:cubicBezTo>
                <a:cubicBezTo>
                  <a:pt x="5542591" y="1545630"/>
                  <a:pt x="5517881" y="1570340"/>
                  <a:pt x="5487399" y="1570340"/>
                </a:cubicBezTo>
                <a:cubicBezTo>
                  <a:pt x="5456917" y="1570340"/>
                  <a:pt x="5432207" y="1545630"/>
                  <a:pt x="5432207" y="1515149"/>
                </a:cubicBezTo>
                <a:cubicBezTo>
                  <a:pt x="5432207" y="1484668"/>
                  <a:pt x="5456917" y="1459958"/>
                  <a:pt x="5487399" y="1459958"/>
                </a:cubicBezTo>
                <a:close/>
                <a:moveTo>
                  <a:pt x="5357106" y="1459958"/>
                </a:moveTo>
                <a:cubicBezTo>
                  <a:pt x="5387588" y="1459958"/>
                  <a:pt x="5412298" y="1484668"/>
                  <a:pt x="5412298" y="1515149"/>
                </a:cubicBezTo>
                <a:cubicBezTo>
                  <a:pt x="5412298" y="1545630"/>
                  <a:pt x="5387588" y="1570340"/>
                  <a:pt x="5357106" y="1570340"/>
                </a:cubicBezTo>
                <a:cubicBezTo>
                  <a:pt x="5326624" y="1570340"/>
                  <a:pt x="5301914" y="1545630"/>
                  <a:pt x="5301914" y="1515149"/>
                </a:cubicBezTo>
                <a:cubicBezTo>
                  <a:pt x="5301914" y="1484668"/>
                  <a:pt x="5326624" y="1459958"/>
                  <a:pt x="5357106" y="1459958"/>
                </a:cubicBezTo>
                <a:close/>
                <a:moveTo>
                  <a:pt x="5223473" y="1459958"/>
                </a:moveTo>
                <a:cubicBezTo>
                  <a:pt x="5253955" y="1459958"/>
                  <a:pt x="5278665" y="1484668"/>
                  <a:pt x="5278665" y="1515149"/>
                </a:cubicBezTo>
                <a:cubicBezTo>
                  <a:pt x="5278665" y="1545630"/>
                  <a:pt x="5253955" y="1570340"/>
                  <a:pt x="5223473" y="1570340"/>
                </a:cubicBezTo>
                <a:cubicBezTo>
                  <a:pt x="5192991" y="1570340"/>
                  <a:pt x="5168281" y="1545630"/>
                  <a:pt x="5168281" y="1515149"/>
                </a:cubicBezTo>
                <a:cubicBezTo>
                  <a:pt x="5168281" y="1484668"/>
                  <a:pt x="5192991" y="1459958"/>
                  <a:pt x="5223473" y="1459958"/>
                </a:cubicBezTo>
                <a:close/>
                <a:moveTo>
                  <a:pt x="5093178" y="1459958"/>
                </a:moveTo>
                <a:cubicBezTo>
                  <a:pt x="5123660" y="1459958"/>
                  <a:pt x="5148370" y="1484668"/>
                  <a:pt x="5148370" y="1515149"/>
                </a:cubicBezTo>
                <a:cubicBezTo>
                  <a:pt x="5148370" y="1545630"/>
                  <a:pt x="5123660" y="1570340"/>
                  <a:pt x="5093178" y="1570340"/>
                </a:cubicBezTo>
                <a:cubicBezTo>
                  <a:pt x="5062696" y="1570340"/>
                  <a:pt x="5037986" y="1545630"/>
                  <a:pt x="5037986" y="1515149"/>
                </a:cubicBezTo>
                <a:cubicBezTo>
                  <a:pt x="5037986" y="1484668"/>
                  <a:pt x="5062696" y="1459958"/>
                  <a:pt x="5093178" y="1459958"/>
                </a:cubicBezTo>
                <a:close/>
                <a:moveTo>
                  <a:pt x="4959542" y="1459958"/>
                </a:moveTo>
                <a:cubicBezTo>
                  <a:pt x="4990024" y="1459958"/>
                  <a:pt x="5014734" y="1484668"/>
                  <a:pt x="5014734" y="1515149"/>
                </a:cubicBezTo>
                <a:cubicBezTo>
                  <a:pt x="5014734" y="1545630"/>
                  <a:pt x="4990024" y="1570340"/>
                  <a:pt x="4959542" y="1570340"/>
                </a:cubicBezTo>
                <a:cubicBezTo>
                  <a:pt x="4929060" y="1570340"/>
                  <a:pt x="4904350" y="1545630"/>
                  <a:pt x="4904350" y="1515149"/>
                </a:cubicBezTo>
                <a:cubicBezTo>
                  <a:pt x="4904350" y="1484668"/>
                  <a:pt x="4929060" y="1459958"/>
                  <a:pt x="4959542" y="1459958"/>
                </a:cubicBezTo>
                <a:close/>
                <a:moveTo>
                  <a:pt x="4829250" y="1459958"/>
                </a:moveTo>
                <a:cubicBezTo>
                  <a:pt x="4859732" y="1459958"/>
                  <a:pt x="4884442" y="1484668"/>
                  <a:pt x="4884442" y="1515149"/>
                </a:cubicBezTo>
                <a:cubicBezTo>
                  <a:pt x="4884442" y="1545630"/>
                  <a:pt x="4859732" y="1570340"/>
                  <a:pt x="4829250" y="1570340"/>
                </a:cubicBezTo>
                <a:cubicBezTo>
                  <a:pt x="4798768" y="1570340"/>
                  <a:pt x="4774058" y="1545630"/>
                  <a:pt x="4774058" y="1515149"/>
                </a:cubicBezTo>
                <a:cubicBezTo>
                  <a:pt x="4774058" y="1484668"/>
                  <a:pt x="4798768" y="1459958"/>
                  <a:pt x="4829250" y="1459958"/>
                </a:cubicBezTo>
                <a:close/>
                <a:moveTo>
                  <a:pt x="4695614" y="1459958"/>
                </a:moveTo>
                <a:cubicBezTo>
                  <a:pt x="4726096" y="1459958"/>
                  <a:pt x="4750806" y="1484668"/>
                  <a:pt x="4750806" y="1515149"/>
                </a:cubicBezTo>
                <a:cubicBezTo>
                  <a:pt x="4750806" y="1545630"/>
                  <a:pt x="4726096" y="1570340"/>
                  <a:pt x="4695614" y="1570340"/>
                </a:cubicBezTo>
                <a:cubicBezTo>
                  <a:pt x="4665132" y="1570340"/>
                  <a:pt x="4640422" y="1545630"/>
                  <a:pt x="4640422" y="1515149"/>
                </a:cubicBezTo>
                <a:cubicBezTo>
                  <a:pt x="4640422" y="1484668"/>
                  <a:pt x="4665132" y="1459958"/>
                  <a:pt x="4695614" y="1459958"/>
                </a:cubicBezTo>
                <a:close/>
                <a:moveTo>
                  <a:pt x="4565322" y="1459958"/>
                </a:moveTo>
                <a:cubicBezTo>
                  <a:pt x="4595804" y="1459958"/>
                  <a:pt x="4620514" y="1484668"/>
                  <a:pt x="4620514" y="1515149"/>
                </a:cubicBezTo>
                <a:cubicBezTo>
                  <a:pt x="4620514" y="1545630"/>
                  <a:pt x="4595804" y="1570340"/>
                  <a:pt x="4565322" y="1570340"/>
                </a:cubicBezTo>
                <a:cubicBezTo>
                  <a:pt x="4534840" y="1570340"/>
                  <a:pt x="4510130" y="1545630"/>
                  <a:pt x="4510130" y="1515149"/>
                </a:cubicBezTo>
                <a:cubicBezTo>
                  <a:pt x="4510130" y="1484668"/>
                  <a:pt x="4534840" y="1459958"/>
                  <a:pt x="4565322" y="1459958"/>
                </a:cubicBezTo>
                <a:close/>
                <a:moveTo>
                  <a:pt x="4431687" y="1459958"/>
                </a:moveTo>
                <a:cubicBezTo>
                  <a:pt x="4462169" y="1459958"/>
                  <a:pt x="4486879" y="1484668"/>
                  <a:pt x="4486879" y="1515149"/>
                </a:cubicBezTo>
                <a:cubicBezTo>
                  <a:pt x="4486879" y="1545630"/>
                  <a:pt x="4462169" y="1570340"/>
                  <a:pt x="4431687" y="1570340"/>
                </a:cubicBezTo>
                <a:cubicBezTo>
                  <a:pt x="4401205" y="1570340"/>
                  <a:pt x="4376495" y="1545630"/>
                  <a:pt x="4376495" y="1515149"/>
                </a:cubicBezTo>
                <a:cubicBezTo>
                  <a:pt x="4376495" y="1484668"/>
                  <a:pt x="4401205" y="1459958"/>
                  <a:pt x="4431687" y="1459958"/>
                </a:cubicBezTo>
                <a:close/>
                <a:moveTo>
                  <a:pt x="3098681" y="1459958"/>
                </a:moveTo>
                <a:cubicBezTo>
                  <a:pt x="3129163" y="1459958"/>
                  <a:pt x="3153873" y="1484668"/>
                  <a:pt x="3153873" y="1515149"/>
                </a:cubicBezTo>
                <a:cubicBezTo>
                  <a:pt x="3153873" y="1545630"/>
                  <a:pt x="3129163" y="1570340"/>
                  <a:pt x="3098681" y="1570340"/>
                </a:cubicBezTo>
                <a:cubicBezTo>
                  <a:pt x="3068199" y="1570340"/>
                  <a:pt x="3043489" y="1545630"/>
                  <a:pt x="3043489" y="1515149"/>
                </a:cubicBezTo>
                <a:cubicBezTo>
                  <a:pt x="3043489" y="1484668"/>
                  <a:pt x="3068199" y="1459958"/>
                  <a:pt x="3098681" y="1459958"/>
                </a:cubicBezTo>
                <a:close/>
                <a:moveTo>
                  <a:pt x="2971729" y="1459958"/>
                </a:moveTo>
                <a:cubicBezTo>
                  <a:pt x="3002211" y="1459958"/>
                  <a:pt x="3026921" y="1484668"/>
                  <a:pt x="3026921" y="1515149"/>
                </a:cubicBezTo>
                <a:cubicBezTo>
                  <a:pt x="3026921" y="1545630"/>
                  <a:pt x="3002211" y="1570340"/>
                  <a:pt x="2971729" y="1570340"/>
                </a:cubicBezTo>
                <a:cubicBezTo>
                  <a:pt x="2941247" y="1570340"/>
                  <a:pt x="2916537" y="1545630"/>
                  <a:pt x="2916537" y="1515149"/>
                </a:cubicBezTo>
                <a:cubicBezTo>
                  <a:pt x="2916537" y="1484668"/>
                  <a:pt x="2941247" y="1459958"/>
                  <a:pt x="2971729" y="1459958"/>
                </a:cubicBezTo>
                <a:close/>
                <a:moveTo>
                  <a:pt x="2834792" y="1459958"/>
                </a:moveTo>
                <a:cubicBezTo>
                  <a:pt x="2865274" y="1459958"/>
                  <a:pt x="2889984" y="1484668"/>
                  <a:pt x="2889984" y="1515149"/>
                </a:cubicBezTo>
                <a:cubicBezTo>
                  <a:pt x="2889984" y="1545630"/>
                  <a:pt x="2865274" y="1570340"/>
                  <a:pt x="2834792" y="1570340"/>
                </a:cubicBezTo>
                <a:cubicBezTo>
                  <a:pt x="2804310" y="1570340"/>
                  <a:pt x="2779600" y="1545630"/>
                  <a:pt x="2779600" y="1515149"/>
                </a:cubicBezTo>
                <a:cubicBezTo>
                  <a:pt x="2779600" y="1484668"/>
                  <a:pt x="2804310" y="1459958"/>
                  <a:pt x="2834792" y="1459958"/>
                </a:cubicBezTo>
                <a:close/>
                <a:moveTo>
                  <a:pt x="2707839" y="1459958"/>
                </a:moveTo>
                <a:cubicBezTo>
                  <a:pt x="2738320" y="1459958"/>
                  <a:pt x="2763031" y="1484668"/>
                  <a:pt x="2763031" y="1515149"/>
                </a:cubicBezTo>
                <a:cubicBezTo>
                  <a:pt x="2763031" y="1545630"/>
                  <a:pt x="2738320" y="1570340"/>
                  <a:pt x="2707839" y="1570340"/>
                </a:cubicBezTo>
                <a:cubicBezTo>
                  <a:pt x="2677357" y="1570340"/>
                  <a:pt x="2652646" y="1545630"/>
                  <a:pt x="2652646" y="1515149"/>
                </a:cubicBezTo>
                <a:cubicBezTo>
                  <a:pt x="2652646" y="1484668"/>
                  <a:pt x="2677357" y="1459958"/>
                  <a:pt x="2707839" y="1459958"/>
                </a:cubicBezTo>
                <a:close/>
                <a:moveTo>
                  <a:pt x="2570864" y="1459958"/>
                </a:moveTo>
                <a:cubicBezTo>
                  <a:pt x="2601346" y="1459958"/>
                  <a:pt x="2626056" y="1484668"/>
                  <a:pt x="2626056" y="1515149"/>
                </a:cubicBezTo>
                <a:cubicBezTo>
                  <a:pt x="2626056" y="1545630"/>
                  <a:pt x="2601346" y="1570340"/>
                  <a:pt x="2570864" y="1570340"/>
                </a:cubicBezTo>
                <a:cubicBezTo>
                  <a:pt x="2540381" y="1570340"/>
                  <a:pt x="2515671" y="1545630"/>
                  <a:pt x="2515671" y="1515149"/>
                </a:cubicBezTo>
                <a:cubicBezTo>
                  <a:pt x="2515671" y="1484668"/>
                  <a:pt x="2540381" y="1459958"/>
                  <a:pt x="2570864" y="1459958"/>
                </a:cubicBezTo>
                <a:close/>
                <a:moveTo>
                  <a:pt x="2437228" y="1459958"/>
                </a:moveTo>
                <a:cubicBezTo>
                  <a:pt x="2467711" y="1459958"/>
                  <a:pt x="2492419" y="1484668"/>
                  <a:pt x="2492419" y="1515149"/>
                </a:cubicBezTo>
                <a:cubicBezTo>
                  <a:pt x="2492419" y="1545630"/>
                  <a:pt x="2467711" y="1570340"/>
                  <a:pt x="2437228" y="1570340"/>
                </a:cubicBezTo>
                <a:cubicBezTo>
                  <a:pt x="2406748" y="1570340"/>
                  <a:pt x="2382037" y="1545630"/>
                  <a:pt x="2382037" y="1515149"/>
                </a:cubicBezTo>
                <a:cubicBezTo>
                  <a:pt x="2382037" y="1484668"/>
                  <a:pt x="2406748" y="1459958"/>
                  <a:pt x="2437228" y="1459958"/>
                </a:cubicBezTo>
                <a:close/>
                <a:moveTo>
                  <a:pt x="2303596" y="1459958"/>
                </a:moveTo>
                <a:cubicBezTo>
                  <a:pt x="2334078" y="1459958"/>
                  <a:pt x="2358787" y="1484668"/>
                  <a:pt x="2358787" y="1515149"/>
                </a:cubicBezTo>
                <a:cubicBezTo>
                  <a:pt x="2358787" y="1545630"/>
                  <a:pt x="2334078" y="1570340"/>
                  <a:pt x="2303596" y="1570340"/>
                </a:cubicBezTo>
                <a:cubicBezTo>
                  <a:pt x="2273113" y="1570340"/>
                  <a:pt x="2248404" y="1545630"/>
                  <a:pt x="2248404" y="1515149"/>
                </a:cubicBezTo>
                <a:cubicBezTo>
                  <a:pt x="2248404" y="1484668"/>
                  <a:pt x="2273113" y="1459958"/>
                  <a:pt x="2303596" y="1459958"/>
                </a:cubicBezTo>
                <a:close/>
                <a:moveTo>
                  <a:pt x="2173305" y="1459958"/>
                </a:moveTo>
                <a:cubicBezTo>
                  <a:pt x="2203787" y="1459958"/>
                  <a:pt x="2228497" y="1484668"/>
                  <a:pt x="2228497" y="1515149"/>
                </a:cubicBezTo>
                <a:cubicBezTo>
                  <a:pt x="2228497" y="1545630"/>
                  <a:pt x="2203787" y="1570340"/>
                  <a:pt x="2173305" y="1570340"/>
                </a:cubicBezTo>
                <a:cubicBezTo>
                  <a:pt x="2142822" y="1570340"/>
                  <a:pt x="2118111" y="1545630"/>
                  <a:pt x="2118111" y="1515149"/>
                </a:cubicBezTo>
                <a:cubicBezTo>
                  <a:pt x="2118111" y="1484668"/>
                  <a:pt x="2142822" y="1459958"/>
                  <a:pt x="2173305" y="1459958"/>
                </a:cubicBezTo>
                <a:close/>
                <a:moveTo>
                  <a:pt x="2039668" y="1459958"/>
                </a:moveTo>
                <a:cubicBezTo>
                  <a:pt x="2070150" y="1459958"/>
                  <a:pt x="2094860" y="1484668"/>
                  <a:pt x="2094860" y="1515149"/>
                </a:cubicBezTo>
                <a:cubicBezTo>
                  <a:pt x="2094860" y="1545630"/>
                  <a:pt x="2070150" y="1570340"/>
                  <a:pt x="2039668" y="1570340"/>
                </a:cubicBezTo>
                <a:cubicBezTo>
                  <a:pt x="2009185" y="1570340"/>
                  <a:pt x="1984475" y="1545630"/>
                  <a:pt x="1984475" y="1515149"/>
                </a:cubicBezTo>
                <a:cubicBezTo>
                  <a:pt x="1984475" y="1484668"/>
                  <a:pt x="2009185" y="1459958"/>
                  <a:pt x="2039668" y="1459958"/>
                </a:cubicBezTo>
                <a:close/>
                <a:moveTo>
                  <a:pt x="1909371" y="1459958"/>
                </a:moveTo>
                <a:cubicBezTo>
                  <a:pt x="1939853" y="1459958"/>
                  <a:pt x="1964564" y="1484668"/>
                  <a:pt x="1964564" y="1515149"/>
                </a:cubicBezTo>
                <a:cubicBezTo>
                  <a:pt x="1964564" y="1545630"/>
                  <a:pt x="1939853" y="1570340"/>
                  <a:pt x="1909371" y="1570340"/>
                </a:cubicBezTo>
                <a:cubicBezTo>
                  <a:pt x="1878889" y="1570340"/>
                  <a:pt x="1854178" y="1545630"/>
                  <a:pt x="1854178" y="1515149"/>
                </a:cubicBezTo>
                <a:cubicBezTo>
                  <a:pt x="1854178" y="1484668"/>
                  <a:pt x="1878889" y="1459958"/>
                  <a:pt x="1909371" y="1459958"/>
                </a:cubicBezTo>
                <a:close/>
                <a:moveTo>
                  <a:pt x="1779076" y="1459958"/>
                </a:moveTo>
                <a:cubicBezTo>
                  <a:pt x="1809559" y="1459958"/>
                  <a:pt x="1834269" y="1484668"/>
                  <a:pt x="1834269" y="1515149"/>
                </a:cubicBezTo>
                <a:cubicBezTo>
                  <a:pt x="1834269" y="1545630"/>
                  <a:pt x="1809559" y="1570340"/>
                  <a:pt x="1779076" y="1570340"/>
                </a:cubicBezTo>
                <a:cubicBezTo>
                  <a:pt x="1748595" y="1570340"/>
                  <a:pt x="1723884" y="1545630"/>
                  <a:pt x="1723884" y="1515149"/>
                </a:cubicBezTo>
                <a:cubicBezTo>
                  <a:pt x="1723884" y="1484668"/>
                  <a:pt x="1748595" y="1459958"/>
                  <a:pt x="1779076" y="1459958"/>
                </a:cubicBezTo>
                <a:close/>
                <a:moveTo>
                  <a:pt x="1645440" y="1459958"/>
                </a:moveTo>
                <a:cubicBezTo>
                  <a:pt x="1675922" y="1459958"/>
                  <a:pt x="1700637" y="1484668"/>
                  <a:pt x="1700637" y="1515149"/>
                </a:cubicBezTo>
                <a:cubicBezTo>
                  <a:pt x="1700637" y="1545630"/>
                  <a:pt x="1675922" y="1570340"/>
                  <a:pt x="1645440" y="1570340"/>
                </a:cubicBezTo>
                <a:cubicBezTo>
                  <a:pt x="1614959" y="1570340"/>
                  <a:pt x="1590248" y="1545630"/>
                  <a:pt x="1590248" y="1515149"/>
                </a:cubicBezTo>
                <a:cubicBezTo>
                  <a:pt x="1590248" y="1484668"/>
                  <a:pt x="1614959" y="1459958"/>
                  <a:pt x="1645440" y="1459958"/>
                </a:cubicBezTo>
                <a:close/>
                <a:moveTo>
                  <a:pt x="1515149" y="1459958"/>
                </a:moveTo>
                <a:cubicBezTo>
                  <a:pt x="1545630" y="1459958"/>
                  <a:pt x="1570338" y="1484668"/>
                  <a:pt x="1570338" y="1515149"/>
                </a:cubicBezTo>
                <a:cubicBezTo>
                  <a:pt x="1570338" y="1545630"/>
                  <a:pt x="1545630" y="1570340"/>
                  <a:pt x="1515149" y="1570340"/>
                </a:cubicBezTo>
                <a:cubicBezTo>
                  <a:pt x="1484666" y="1570340"/>
                  <a:pt x="1459956" y="1545630"/>
                  <a:pt x="1459956" y="1515149"/>
                </a:cubicBezTo>
                <a:cubicBezTo>
                  <a:pt x="1459956" y="1484668"/>
                  <a:pt x="1484666" y="1459958"/>
                  <a:pt x="1515149" y="1459958"/>
                </a:cubicBezTo>
                <a:close/>
                <a:moveTo>
                  <a:pt x="1381511" y="1459958"/>
                </a:moveTo>
                <a:cubicBezTo>
                  <a:pt x="1411994" y="1459958"/>
                  <a:pt x="1436705" y="1484668"/>
                  <a:pt x="1436705" y="1515149"/>
                </a:cubicBezTo>
                <a:cubicBezTo>
                  <a:pt x="1436705" y="1545630"/>
                  <a:pt x="1411994" y="1570340"/>
                  <a:pt x="1381511" y="1570340"/>
                </a:cubicBezTo>
                <a:cubicBezTo>
                  <a:pt x="1351035" y="1570340"/>
                  <a:pt x="1326322" y="1545630"/>
                  <a:pt x="1326322" y="1515149"/>
                </a:cubicBezTo>
                <a:cubicBezTo>
                  <a:pt x="1326322" y="1484668"/>
                  <a:pt x="1351035" y="1459958"/>
                  <a:pt x="1381511" y="1459958"/>
                </a:cubicBezTo>
                <a:close/>
                <a:moveTo>
                  <a:pt x="1251220" y="1459958"/>
                </a:moveTo>
                <a:cubicBezTo>
                  <a:pt x="1281702" y="1459958"/>
                  <a:pt x="1306413" y="1484668"/>
                  <a:pt x="1306413" y="1515149"/>
                </a:cubicBezTo>
                <a:cubicBezTo>
                  <a:pt x="1306413" y="1545630"/>
                  <a:pt x="1281702" y="1570340"/>
                  <a:pt x="1251220" y="1570340"/>
                </a:cubicBezTo>
                <a:cubicBezTo>
                  <a:pt x="1220737" y="1570340"/>
                  <a:pt x="1196028" y="1545630"/>
                  <a:pt x="1196028" y="1515149"/>
                </a:cubicBezTo>
                <a:cubicBezTo>
                  <a:pt x="1196028" y="1484668"/>
                  <a:pt x="1220737" y="1459958"/>
                  <a:pt x="1251220" y="1459958"/>
                </a:cubicBezTo>
                <a:close/>
                <a:moveTo>
                  <a:pt x="1117583" y="1459958"/>
                </a:moveTo>
                <a:cubicBezTo>
                  <a:pt x="1148066" y="1459958"/>
                  <a:pt x="1172776" y="1484668"/>
                  <a:pt x="1172776" y="1515149"/>
                </a:cubicBezTo>
                <a:cubicBezTo>
                  <a:pt x="1172776" y="1545630"/>
                  <a:pt x="1148066" y="1570340"/>
                  <a:pt x="1117583" y="1570340"/>
                </a:cubicBezTo>
                <a:cubicBezTo>
                  <a:pt x="1087101" y="1570340"/>
                  <a:pt x="1062390" y="1545630"/>
                  <a:pt x="1062390" y="1515149"/>
                </a:cubicBezTo>
                <a:cubicBezTo>
                  <a:pt x="1062390" y="1484668"/>
                  <a:pt x="1087101" y="1459958"/>
                  <a:pt x="1117583" y="1459958"/>
                </a:cubicBezTo>
                <a:close/>
                <a:moveTo>
                  <a:pt x="980607" y="1459958"/>
                </a:moveTo>
                <a:cubicBezTo>
                  <a:pt x="1011090" y="1459958"/>
                  <a:pt x="1035800" y="1484668"/>
                  <a:pt x="1035800" y="1515149"/>
                </a:cubicBezTo>
                <a:cubicBezTo>
                  <a:pt x="1035800" y="1545630"/>
                  <a:pt x="1011090" y="1570340"/>
                  <a:pt x="980607" y="1570340"/>
                </a:cubicBezTo>
                <a:cubicBezTo>
                  <a:pt x="950125" y="1570340"/>
                  <a:pt x="925415" y="1545630"/>
                  <a:pt x="925415" y="1515149"/>
                </a:cubicBezTo>
                <a:cubicBezTo>
                  <a:pt x="925415" y="1484668"/>
                  <a:pt x="950125" y="1459958"/>
                  <a:pt x="980607" y="1459958"/>
                </a:cubicBezTo>
                <a:close/>
                <a:moveTo>
                  <a:pt x="7608849" y="1336350"/>
                </a:moveTo>
                <a:cubicBezTo>
                  <a:pt x="7639331" y="1336350"/>
                  <a:pt x="7664041" y="1361060"/>
                  <a:pt x="7664041" y="1391541"/>
                </a:cubicBezTo>
                <a:cubicBezTo>
                  <a:pt x="7664041" y="1422022"/>
                  <a:pt x="7639331" y="1446732"/>
                  <a:pt x="7608849" y="1446732"/>
                </a:cubicBezTo>
                <a:cubicBezTo>
                  <a:pt x="7578367" y="1446732"/>
                  <a:pt x="7553657" y="1422022"/>
                  <a:pt x="7553657" y="1391541"/>
                </a:cubicBezTo>
                <a:cubicBezTo>
                  <a:pt x="7553657" y="1361060"/>
                  <a:pt x="7578367" y="1336350"/>
                  <a:pt x="7608849" y="1336350"/>
                </a:cubicBezTo>
                <a:close/>
                <a:moveTo>
                  <a:pt x="7481897" y="1336350"/>
                </a:moveTo>
                <a:cubicBezTo>
                  <a:pt x="7512379" y="1336350"/>
                  <a:pt x="7537089" y="1361060"/>
                  <a:pt x="7537089" y="1391541"/>
                </a:cubicBezTo>
                <a:cubicBezTo>
                  <a:pt x="7537089" y="1422022"/>
                  <a:pt x="7512379" y="1446732"/>
                  <a:pt x="7481897" y="1446732"/>
                </a:cubicBezTo>
                <a:cubicBezTo>
                  <a:pt x="7451415" y="1446732"/>
                  <a:pt x="7426705" y="1422022"/>
                  <a:pt x="7426705" y="1391541"/>
                </a:cubicBezTo>
                <a:cubicBezTo>
                  <a:pt x="7426705" y="1361060"/>
                  <a:pt x="7451415" y="1336350"/>
                  <a:pt x="7481897" y="1336350"/>
                </a:cubicBezTo>
                <a:close/>
                <a:moveTo>
                  <a:pt x="7341579" y="1336350"/>
                </a:moveTo>
                <a:cubicBezTo>
                  <a:pt x="7372061" y="1336350"/>
                  <a:pt x="7396771" y="1361060"/>
                  <a:pt x="7396771" y="1391541"/>
                </a:cubicBezTo>
                <a:cubicBezTo>
                  <a:pt x="7396771" y="1422022"/>
                  <a:pt x="7372061" y="1446732"/>
                  <a:pt x="7341579" y="1446732"/>
                </a:cubicBezTo>
                <a:cubicBezTo>
                  <a:pt x="7311097" y="1446732"/>
                  <a:pt x="7286387" y="1422022"/>
                  <a:pt x="7286387" y="1391541"/>
                </a:cubicBezTo>
                <a:cubicBezTo>
                  <a:pt x="7286387" y="1361060"/>
                  <a:pt x="7311097" y="1336350"/>
                  <a:pt x="7341579" y="1336350"/>
                </a:cubicBezTo>
                <a:close/>
                <a:moveTo>
                  <a:pt x="7211286" y="1336350"/>
                </a:moveTo>
                <a:cubicBezTo>
                  <a:pt x="7241768" y="1336350"/>
                  <a:pt x="7266478" y="1361060"/>
                  <a:pt x="7266478" y="1391541"/>
                </a:cubicBezTo>
                <a:cubicBezTo>
                  <a:pt x="7266478" y="1422022"/>
                  <a:pt x="7241768" y="1446732"/>
                  <a:pt x="7211286" y="1446732"/>
                </a:cubicBezTo>
                <a:cubicBezTo>
                  <a:pt x="7180804" y="1446732"/>
                  <a:pt x="7156094" y="1422022"/>
                  <a:pt x="7156094" y="1391541"/>
                </a:cubicBezTo>
                <a:cubicBezTo>
                  <a:pt x="7156094" y="1361060"/>
                  <a:pt x="7180804" y="1336350"/>
                  <a:pt x="7211286" y="1336350"/>
                </a:cubicBezTo>
                <a:close/>
                <a:moveTo>
                  <a:pt x="7080993" y="1336350"/>
                </a:moveTo>
                <a:cubicBezTo>
                  <a:pt x="7111475" y="1336350"/>
                  <a:pt x="7136185" y="1361060"/>
                  <a:pt x="7136185" y="1391541"/>
                </a:cubicBezTo>
                <a:cubicBezTo>
                  <a:pt x="7136185" y="1422022"/>
                  <a:pt x="7111475" y="1446732"/>
                  <a:pt x="7080993" y="1446732"/>
                </a:cubicBezTo>
                <a:cubicBezTo>
                  <a:pt x="7050511" y="1446732"/>
                  <a:pt x="7025801" y="1422022"/>
                  <a:pt x="7025801" y="1391541"/>
                </a:cubicBezTo>
                <a:cubicBezTo>
                  <a:pt x="7025801" y="1361060"/>
                  <a:pt x="7050511" y="1336350"/>
                  <a:pt x="7080993" y="1336350"/>
                </a:cubicBezTo>
                <a:close/>
                <a:moveTo>
                  <a:pt x="6947357" y="1336350"/>
                </a:moveTo>
                <a:cubicBezTo>
                  <a:pt x="6977839" y="1336350"/>
                  <a:pt x="7002549" y="1361060"/>
                  <a:pt x="7002549" y="1391541"/>
                </a:cubicBezTo>
                <a:cubicBezTo>
                  <a:pt x="7002549" y="1422022"/>
                  <a:pt x="6977839" y="1446732"/>
                  <a:pt x="6947357" y="1446732"/>
                </a:cubicBezTo>
                <a:cubicBezTo>
                  <a:pt x="6916875" y="1446732"/>
                  <a:pt x="6892165" y="1422022"/>
                  <a:pt x="6892165" y="1391541"/>
                </a:cubicBezTo>
                <a:cubicBezTo>
                  <a:pt x="6892165" y="1361060"/>
                  <a:pt x="6916875" y="1336350"/>
                  <a:pt x="6947357" y="1336350"/>
                </a:cubicBezTo>
                <a:close/>
                <a:moveTo>
                  <a:pt x="6817064" y="1336350"/>
                </a:moveTo>
                <a:cubicBezTo>
                  <a:pt x="6847546" y="1336350"/>
                  <a:pt x="6872256" y="1361060"/>
                  <a:pt x="6872256" y="1391541"/>
                </a:cubicBezTo>
                <a:cubicBezTo>
                  <a:pt x="6872256" y="1422022"/>
                  <a:pt x="6847546" y="1446732"/>
                  <a:pt x="6817064" y="1446732"/>
                </a:cubicBezTo>
                <a:cubicBezTo>
                  <a:pt x="6786582" y="1446732"/>
                  <a:pt x="6761872" y="1422022"/>
                  <a:pt x="6761872" y="1391541"/>
                </a:cubicBezTo>
                <a:cubicBezTo>
                  <a:pt x="6761872" y="1361060"/>
                  <a:pt x="6786582" y="1336350"/>
                  <a:pt x="6817064" y="1336350"/>
                </a:cubicBezTo>
                <a:close/>
                <a:moveTo>
                  <a:pt x="6683431" y="1336350"/>
                </a:moveTo>
                <a:cubicBezTo>
                  <a:pt x="6713913" y="1336350"/>
                  <a:pt x="6738623" y="1361060"/>
                  <a:pt x="6738623" y="1391541"/>
                </a:cubicBezTo>
                <a:cubicBezTo>
                  <a:pt x="6738623" y="1422022"/>
                  <a:pt x="6713913" y="1446732"/>
                  <a:pt x="6683431" y="1446732"/>
                </a:cubicBezTo>
                <a:cubicBezTo>
                  <a:pt x="6652949" y="1446732"/>
                  <a:pt x="6628239" y="1422022"/>
                  <a:pt x="6628239" y="1391541"/>
                </a:cubicBezTo>
                <a:cubicBezTo>
                  <a:pt x="6628239" y="1361060"/>
                  <a:pt x="6652949" y="1336350"/>
                  <a:pt x="6683431" y="1336350"/>
                </a:cubicBezTo>
                <a:close/>
                <a:moveTo>
                  <a:pt x="6553137" y="1336350"/>
                </a:moveTo>
                <a:cubicBezTo>
                  <a:pt x="6583619" y="1336350"/>
                  <a:pt x="6608329" y="1361060"/>
                  <a:pt x="6608329" y="1391541"/>
                </a:cubicBezTo>
                <a:cubicBezTo>
                  <a:pt x="6608329" y="1422022"/>
                  <a:pt x="6583619" y="1446732"/>
                  <a:pt x="6553137" y="1446732"/>
                </a:cubicBezTo>
                <a:cubicBezTo>
                  <a:pt x="6522655" y="1446732"/>
                  <a:pt x="6497945" y="1422022"/>
                  <a:pt x="6497945" y="1391541"/>
                </a:cubicBezTo>
                <a:cubicBezTo>
                  <a:pt x="6497945" y="1361060"/>
                  <a:pt x="6522655" y="1336350"/>
                  <a:pt x="6553137" y="1336350"/>
                </a:cubicBezTo>
                <a:close/>
                <a:moveTo>
                  <a:pt x="6419502" y="1336350"/>
                </a:moveTo>
                <a:cubicBezTo>
                  <a:pt x="6449984" y="1336350"/>
                  <a:pt x="6474694" y="1361060"/>
                  <a:pt x="6474694" y="1391541"/>
                </a:cubicBezTo>
                <a:cubicBezTo>
                  <a:pt x="6474694" y="1422022"/>
                  <a:pt x="6449984" y="1446732"/>
                  <a:pt x="6419502" y="1446732"/>
                </a:cubicBezTo>
                <a:cubicBezTo>
                  <a:pt x="6389020" y="1446732"/>
                  <a:pt x="6364310" y="1422022"/>
                  <a:pt x="6364310" y="1391541"/>
                </a:cubicBezTo>
                <a:cubicBezTo>
                  <a:pt x="6364310" y="1361060"/>
                  <a:pt x="6389020" y="1336350"/>
                  <a:pt x="6419502" y="1336350"/>
                </a:cubicBezTo>
                <a:close/>
                <a:moveTo>
                  <a:pt x="6289207" y="1336350"/>
                </a:moveTo>
                <a:cubicBezTo>
                  <a:pt x="6319689" y="1336350"/>
                  <a:pt x="6344399" y="1361060"/>
                  <a:pt x="6344399" y="1391541"/>
                </a:cubicBezTo>
                <a:cubicBezTo>
                  <a:pt x="6344399" y="1422022"/>
                  <a:pt x="6319689" y="1446732"/>
                  <a:pt x="6289207" y="1446732"/>
                </a:cubicBezTo>
                <a:cubicBezTo>
                  <a:pt x="6258725" y="1446732"/>
                  <a:pt x="6234015" y="1422022"/>
                  <a:pt x="6234015" y="1391541"/>
                </a:cubicBezTo>
                <a:cubicBezTo>
                  <a:pt x="6234015" y="1361060"/>
                  <a:pt x="6258725" y="1336350"/>
                  <a:pt x="6289207" y="1336350"/>
                </a:cubicBezTo>
                <a:close/>
                <a:moveTo>
                  <a:pt x="6155573" y="1336350"/>
                </a:moveTo>
                <a:cubicBezTo>
                  <a:pt x="6186055" y="1336350"/>
                  <a:pt x="6210765" y="1361060"/>
                  <a:pt x="6210765" y="1391541"/>
                </a:cubicBezTo>
                <a:cubicBezTo>
                  <a:pt x="6210765" y="1422022"/>
                  <a:pt x="6186055" y="1446732"/>
                  <a:pt x="6155573" y="1446732"/>
                </a:cubicBezTo>
                <a:cubicBezTo>
                  <a:pt x="6125091" y="1446732"/>
                  <a:pt x="6100381" y="1422022"/>
                  <a:pt x="6100381" y="1391541"/>
                </a:cubicBezTo>
                <a:cubicBezTo>
                  <a:pt x="6100381" y="1361060"/>
                  <a:pt x="6125091" y="1336350"/>
                  <a:pt x="6155573" y="1336350"/>
                </a:cubicBezTo>
                <a:close/>
                <a:moveTo>
                  <a:pt x="6021939" y="1336350"/>
                </a:moveTo>
                <a:cubicBezTo>
                  <a:pt x="6052421" y="1336350"/>
                  <a:pt x="6077131" y="1361060"/>
                  <a:pt x="6077131" y="1391541"/>
                </a:cubicBezTo>
                <a:cubicBezTo>
                  <a:pt x="6077131" y="1422022"/>
                  <a:pt x="6052421" y="1446732"/>
                  <a:pt x="6021939" y="1446732"/>
                </a:cubicBezTo>
                <a:cubicBezTo>
                  <a:pt x="5991457" y="1446732"/>
                  <a:pt x="5966747" y="1422022"/>
                  <a:pt x="5966747" y="1391541"/>
                </a:cubicBezTo>
                <a:cubicBezTo>
                  <a:pt x="5966747" y="1361060"/>
                  <a:pt x="5991457" y="1336350"/>
                  <a:pt x="6021939" y="1336350"/>
                </a:cubicBezTo>
                <a:close/>
                <a:moveTo>
                  <a:pt x="5884964" y="1336350"/>
                </a:moveTo>
                <a:cubicBezTo>
                  <a:pt x="5915446" y="1336350"/>
                  <a:pt x="5940156" y="1361060"/>
                  <a:pt x="5940156" y="1391541"/>
                </a:cubicBezTo>
                <a:cubicBezTo>
                  <a:pt x="5940156" y="1422022"/>
                  <a:pt x="5915446" y="1446732"/>
                  <a:pt x="5884964" y="1446732"/>
                </a:cubicBezTo>
                <a:cubicBezTo>
                  <a:pt x="5854482" y="1446732"/>
                  <a:pt x="5829772" y="1422022"/>
                  <a:pt x="5829772" y="1391541"/>
                </a:cubicBezTo>
                <a:cubicBezTo>
                  <a:pt x="5829772" y="1361060"/>
                  <a:pt x="5854482" y="1336350"/>
                  <a:pt x="5884964" y="1336350"/>
                </a:cubicBezTo>
                <a:close/>
                <a:moveTo>
                  <a:pt x="5754668" y="1336350"/>
                </a:moveTo>
                <a:cubicBezTo>
                  <a:pt x="5785150" y="1336350"/>
                  <a:pt x="5809860" y="1361060"/>
                  <a:pt x="5809860" y="1391541"/>
                </a:cubicBezTo>
                <a:cubicBezTo>
                  <a:pt x="5809860" y="1422022"/>
                  <a:pt x="5785150" y="1446732"/>
                  <a:pt x="5754668" y="1446732"/>
                </a:cubicBezTo>
                <a:cubicBezTo>
                  <a:pt x="5724186" y="1446732"/>
                  <a:pt x="5699476" y="1422022"/>
                  <a:pt x="5699476" y="1391541"/>
                </a:cubicBezTo>
                <a:cubicBezTo>
                  <a:pt x="5699476" y="1361060"/>
                  <a:pt x="5724186" y="1336350"/>
                  <a:pt x="5754668" y="1336350"/>
                </a:cubicBezTo>
                <a:close/>
                <a:moveTo>
                  <a:pt x="5621035" y="1336350"/>
                </a:moveTo>
                <a:cubicBezTo>
                  <a:pt x="5651517" y="1336350"/>
                  <a:pt x="5676227" y="1361060"/>
                  <a:pt x="5676227" y="1391541"/>
                </a:cubicBezTo>
                <a:cubicBezTo>
                  <a:pt x="5676227" y="1422022"/>
                  <a:pt x="5651517" y="1446732"/>
                  <a:pt x="5621035" y="1446732"/>
                </a:cubicBezTo>
                <a:cubicBezTo>
                  <a:pt x="5590553" y="1446732"/>
                  <a:pt x="5565843" y="1422022"/>
                  <a:pt x="5565843" y="1391541"/>
                </a:cubicBezTo>
                <a:cubicBezTo>
                  <a:pt x="5565843" y="1361060"/>
                  <a:pt x="5590553" y="1336350"/>
                  <a:pt x="5621035" y="1336350"/>
                </a:cubicBezTo>
                <a:close/>
                <a:moveTo>
                  <a:pt x="5487399" y="1336350"/>
                </a:moveTo>
                <a:cubicBezTo>
                  <a:pt x="5517881" y="1336350"/>
                  <a:pt x="5542591" y="1361060"/>
                  <a:pt x="5542591" y="1391541"/>
                </a:cubicBezTo>
                <a:cubicBezTo>
                  <a:pt x="5542591" y="1422022"/>
                  <a:pt x="5517881" y="1446732"/>
                  <a:pt x="5487399" y="1446732"/>
                </a:cubicBezTo>
                <a:cubicBezTo>
                  <a:pt x="5456917" y="1446732"/>
                  <a:pt x="5432207" y="1422022"/>
                  <a:pt x="5432207" y="1391541"/>
                </a:cubicBezTo>
                <a:cubicBezTo>
                  <a:pt x="5432207" y="1361060"/>
                  <a:pt x="5456917" y="1336350"/>
                  <a:pt x="5487399" y="1336350"/>
                </a:cubicBezTo>
                <a:close/>
                <a:moveTo>
                  <a:pt x="5357106" y="1336350"/>
                </a:moveTo>
                <a:cubicBezTo>
                  <a:pt x="5387588" y="1336350"/>
                  <a:pt x="5412298" y="1361060"/>
                  <a:pt x="5412298" y="1391541"/>
                </a:cubicBezTo>
                <a:cubicBezTo>
                  <a:pt x="5412298" y="1422022"/>
                  <a:pt x="5387588" y="1446732"/>
                  <a:pt x="5357106" y="1446732"/>
                </a:cubicBezTo>
                <a:cubicBezTo>
                  <a:pt x="5326624" y="1446732"/>
                  <a:pt x="5301914" y="1422022"/>
                  <a:pt x="5301914" y="1391541"/>
                </a:cubicBezTo>
                <a:cubicBezTo>
                  <a:pt x="5301914" y="1361060"/>
                  <a:pt x="5326624" y="1336350"/>
                  <a:pt x="5357106" y="1336350"/>
                </a:cubicBezTo>
                <a:close/>
                <a:moveTo>
                  <a:pt x="4959543" y="1336350"/>
                </a:moveTo>
                <a:cubicBezTo>
                  <a:pt x="4990025" y="1336350"/>
                  <a:pt x="5014735" y="1361060"/>
                  <a:pt x="5014735" y="1391541"/>
                </a:cubicBezTo>
                <a:cubicBezTo>
                  <a:pt x="5014735" y="1422022"/>
                  <a:pt x="4990025" y="1446732"/>
                  <a:pt x="4959543" y="1446732"/>
                </a:cubicBezTo>
                <a:cubicBezTo>
                  <a:pt x="4929061" y="1446732"/>
                  <a:pt x="4904351" y="1422022"/>
                  <a:pt x="4904351" y="1391541"/>
                </a:cubicBezTo>
                <a:cubicBezTo>
                  <a:pt x="4904351" y="1361060"/>
                  <a:pt x="4929061" y="1336350"/>
                  <a:pt x="4959543" y="1336350"/>
                </a:cubicBezTo>
                <a:close/>
                <a:moveTo>
                  <a:pt x="4565322" y="1336350"/>
                </a:moveTo>
                <a:cubicBezTo>
                  <a:pt x="4595804" y="1336350"/>
                  <a:pt x="4620514" y="1361060"/>
                  <a:pt x="4620514" y="1391541"/>
                </a:cubicBezTo>
                <a:cubicBezTo>
                  <a:pt x="4620514" y="1422022"/>
                  <a:pt x="4595804" y="1446732"/>
                  <a:pt x="4565322" y="1446732"/>
                </a:cubicBezTo>
                <a:cubicBezTo>
                  <a:pt x="4534840" y="1446732"/>
                  <a:pt x="4510130" y="1422022"/>
                  <a:pt x="4510130" y="1391541"/>
                </a:cubicBezTo>
                <a:cubicBezTo>
                  <a:pt x="4510130" y="1361060"/>
                  <a:pt x="4534840" y="1336350"/>
                  <a:pt x="4565322" y="1336350"/>
                </a:cubicBezTo>
                <a:close/>
                <a:moveTo>
                  <a:pt x="2971729" y="1336350"/>
                </a:moveTo>
                <a:cubicBezTo>
                  <a:pt x="3002211" y="1336350"/>
                  <a:pt x="3026921" y="1361060"/>
                  <a:pt x="3026921" y="1391541"/>
                </a:cubicBezTo>
                <a:cubicBezTo>
                  <a:pt x="3026921" y="1422022"/>
                  <a:pt x="3002211" y="1446732"/>
                  <a:pt x="2971729" y="1446732"/>
                </a:cubicBezTo>
                <a:cubicBezTo>
                  <a:pt x="2941247" y="1446732"/>
                  <a:pt x="2916537" y="1422022"/>
                  <a:pt x="2916537" y="1391541"/>
                </a:cubicBezTo>
                <a:cubicBezTo>
                  <a:pt x="2916537" y="1361060"/>
                  <a:pt x="2941247" y="1336350"/>
                  <a:pt x="2971729" y="1336350"/>
                </a:cubicBezTo>
                <a:close/>
                <a:moveTo>
                  <a:pt x="2834801" y="1336350"/>
                </a:moveTo>
                <a:cubicBezTo>
                  <a:pt x="2865283" y="1336350"/>
                  <a:pt x="2889994" y="1361060"/>
                  <a:pt x="2889994" y="1391541"/>
                </a:cubicBezTo>
                <a:cubicBezTo>
                  <a:pt x="2889994" y="1422022"/>
                  <a:pt x="2865283" y="1446732"/>
                  <a:pt x="2834801" y="1446732"/>
                </a:cubicBezTo>
                <a:cubicBezTo>
                  <a:pt x="2804320" y="1446732"/>
                  <a:pt x="2779610" y="1422022"/>
                  <a:pt x="2779610" y="1391541"/>
                </a:cubicBezTo>
                <a:cubicBezTo>
                  <a:pt x="2779610" y="1361060"/>
                  <a:pt x="2804320" y="1336350"/>
                  <a:pt x="2834801" y="1336350"/>
                </a:cubicBezTo>
                <a:close/>
                <a:moveTo>
                  <a:pt x="2707848" y="1336350"/>
                </a:moveTo>
                <a:cubicBezTo>
                  <a:pt x="2738330" y="1336350"/>
                  <a:pt x="2763042" y="1361060"/>
                  <a:pt x="2763042" y="1391541"/>
                </a:cubicBezTo>
                <a:cubicBezTo>
                  <a:pt x="2763042" y="1422022"/>
                  <a:pt x="2738330" y="1446732"/>
                  <a:pt x="2707848" y="1446732"/>
                </a:cubicBezTo>
                <a:cubicBezTo>
                  <a:pt x="2677367" y="1446732"/>
                  <a:pt x="2652656" y="1422022"/>
                  <a:pt x="2652656" y="1391541"/>
                </a:cubicBezTo>
                <a:cubicBezTo>
                  <a:pt x="2652656" y="1361060"/>
                  <a:pt x="2677367" y="1336350"/>
                  <a:pt x="2707848" y="1336350"/>
                </a:cubicBezTo>
                <a:close/>
                <a:moveTo>
                  <a:pt x="2570875" y="1336350"/>
                </a:moveTo>
                <a:cubicBezTo>
                  <a:pt x="2601357" y="1336350"/>
                  <a:pt x="2626067" y="1361060"/>
                  <a:pt x="2626067" y="1391541"/>
                </a:cubicBezTo>
                <a:cubicBezTo>
                  <a:pt x="2626067" y="1422022"/>
                  <a:pt x="2601357" y="1446732"/>
                  <a:pt x="2570875" y="1446732"/>
                </a:cubicBezTo>
                <a:cubicBezTo>
                  <a:pt x="2540392" y="1446732"/>
                  <a:pt x="2515683" y="1422022"/>
                  <a:pt x="2515683" y="1391541"/>
                </a:cubicBezTo>
                <a:cubicBezTo>
                  <a:pt x="2515683" y="1361060"/>
                  <a:pt x="2540392" y="1336350"/>
                  <a:pt x="2570875" y="1336350"/>
                </a:cubicBezTo>
                <a:close/>
                <a:moveTo>
                  <a:pt x="2173314" y="1336350"/>
                </a:moveTo>
                <a:cubicBezTo>
                  <a:pt x="2203797" y="1336350"/>
                  <a:pt x="2228507" y="1361060"/>
                  <a:pt x="2228507" y="1391541"/>
                </a:cubicBezTo>
                <a:cubicBezTo>
                  <a:pt x="2228507" y="1422022"/>
                  <a:pt x="2203797" y="1446732"/>
                  <a:pt x="2173314" y="1446732"/>
                </a:cubicBezTo>
                <a:cubicBezTo>
                  <a:pt x="2142832" y="1446732"/>
                  <a:pt x="2118122" y="1422022"/>
                  <a:pt x="2118122" y="1391541"/>
                </a:cubicBezTo>
                <a:cubicBezTo>
                  <a:pt x="2118122" y="1361060"/>
                  <a:pt x="2142832" y="1336350"/>
                  <a:pt x="2173314" y="1336350"/>
                </a:cubicBezTo>
                <a:close/>
                <a:moveTo>
                  <a:pt x="2039678" y="1336350"/>
                </a:moveTo>
                <a:cubicBezTo>
                  <a:pt x="2070160" y="1336350"/>
                  <a:pt x="2094870" y="1361060"/>
                  <a:pt x="2094870" y="1391541"/>
                </a:cubicBezTo>
                <a:cubicBezTo>
                  <a:pt x="2094870" y="1422022"/>
                  <a:pt x="2070160" y="1446732"/>
                  <a:pt x="2039678" y="1446732"/>
                </a:cubicBezTo>
                <a:cubicBezTo>
                  <a:pt x="2009195" y="1446732"/>
                  <a:pt x="1984484" y="1422022"/>
                  <a:pt x="1984484" y="1391541"/>
                </a:cubicBezTo>
                <a:cubicBezTo>
                  <a:pt x="1984484" y="1361060"/>
                  <a:pt x="2009195" y="1336350"/>
                  <a:pt x="2039678" y="1336350"/>
                </a:cubicBezTo>
                <a:close/>
                <a:moveTo>
                  <a:pt x="1909381" y="1336350"/>
                </a:moveTo>
                <a:cubicBezTo>
                  <a:pt x="1939864" y="1336350"/>
                  <a:pt x="1964575" y="1361060"/>
                  <a:pt x="1964575" y="1391541"/>
                </a:cubicBezTo>
                <a:cubicBezTo>
                  <a:pt x="1964575" y="1422022"/>
                  <a:pt x="1939864" y="1446732"/>
                  <a:pt x="1909381" y="1446732"/>
                </a:cubicBezTo>
                <a:cubicBezTo>
                  <a:pt x="1878899" y="1446732"/>
                  <a:pt x="1854188" y="1422022"/>
                  <a:pt x="1854188" y="1391541"/>
                </a:cubicBezTo>
                <a:cubicBezTo>
                  <a:pt x="1854188" y="1361060"/>
                  <a:pt x="1878899" y="1336350"/>
                  <a:pt x="1909381" y="1336350"/>
                </a:cubicBezTo>
                <a:close/>
                <a:moveTo>
                  <a:pt x="1779086" y="1336350"/>
                </a:moveTo>
                <a:cubicBezTo>
                  <a:pt x="1809568" y="1336350"/>
                  <a:pt x="1834278" y="1361060"/>
                  <a:pt x="1834278" y="1391541"/>
                </a:cubicBezTo>
                <a:cubicBezTo>
                  <a:pt x="1834278" y="1422022"/>
                  <a:pt x="1809568" y="1446732"/>
                  <a:pt x="1779086" y="1446732"/>
                </a:cubicBezTo>
                <a:cubicBezTo>
                  <a:pt x="1748603" y="1446732"/>
                  <a:pt x="1723892" y="1422022"/>
                  <a:pt x="1723892" y="1391541"/>
                </a:cubicBezTo>
                <a:cubicBezTo>
                  <a:pt x="1723892" y="1361060"/>
                  <a:pt x="1748603" y="1336350"/>
                  <a:pt x="1779086" y="1336350"/>
                </a:cubicBezTo>
                <a:close/>
                <a:moveTo>
                  <a:pt x="1645448" y="1336350"/>
                </a:moveTo>
                <a:cubicBezTo>
                  <a:pt x="1675933" y="1336350"/>
                  <a:pt x="1700644" y="1361060"/>
                  <a:pt x="1700644" y="1391541"/>
                </a:cubicBezTo>
                <a:cubicBezTo>
                  <a:pt x="1700644" y="1422022"/>
                  <a:pt x="1675933" y="1446732"/>
                  <a:pt x="1645448" y="1446732"/>
                </a:cubicBezTo>
                <a:cubicBezTo>
                  <a:pt x="1614967" y="1446732"/>
                  <a:pt x="1590256" y="1422022"/>
                  <a:pt x="1590256" y="1391541"/>
                </a:cubicBezTo>
                <a:cubicBezTo>
                  <a:pt x="1590256" y="1361060"/>
                  <a:pt x="1614967" y="1336350"/>
                  <a:pt x="1645448" y="1336350"/>
                </a:cubicBezTo>
                <a:close/>
                <a:moveTo>
                  <a:pt x="1515160" y="1336350"/>
                </a:moveTo>
                <a:cubicBezTo>
                  <a:pt x="1545636" y="1336350"/>
                  <a:pt x="1570346" y="1361060"/>
                  <a:pt x="1570346" y="1391541"/>
                </a:cubicBezTo>
                <a:cubicBezTo>
                  <a:pt x="1570346" y="1422022"/>
                  <a:pt x="1545636" y="1446732"/>
                  <a:pt x="1515160" y="1446732"/>
                </a:cubicBezTo>
                <a:cubicBezTo>
                  <a:pt x="1484676" y="1446732"/>
                  <a:pt x="1459963" y="1422022"/>
                  <a:pt x="1459963" y="1391541"/>
                </a:cubicBezTo>
                <a:cubicBezTo>
                  <a:pt x="1459963" y="1361060"/>
                  <a:pt x="1484676" y="1336350"/>
                  <a:pt x="1515160" y="1336350"/>
                </a:cubicBezTo>
                <a:close/>
                <a:moveTo>
                  <a:pt x="1381522" y="1336350"/>
                </a:moveTo>
                <a:cubicBezTo>
                  <a:pt x="1412004" y="1336350"/>
                  <a:pt x="1436714" y="1361060"/>
                  <a:pt x="1436714" y="1391541"/>
                </a:cubicBezTo>
                <a:cubicBezTo>
                  <a:pt x="1436714" y="1422022"/>
                  <a:pt x="1412004" y="1446732"/>
                  <a:pt x="1381522" y="1446732"/>
                </a:cubicBezTo>
                <a:cubicBezTo>
                  <a:pt x="1351043" y="1446732"/>
                  <a:pt x="1326330" y="1422022"/>
                  <a:pt x="1326330" y="1391541"/>
                </a:cubicBezTo>
                <a:cubicBezTo>
                  <a:pt x="1326330" y="1361060"/>
                  <a:pt x="1351043" y="1336350"/>
                  <a:pt x="1381522" y="1336350"/>
                </a:cubicBezTo>
                <a:close/>
                <a:moveTo>
                  <a:pt x="1251229" y="1336350"/>
                </a:moveTo>
                <a:cubicBezTo>
                  <a:pt x="1281711" y="1336350"/>
                  <a:pt x="1306421" y="1361060"/>
                  <a:pt x="1306421" y="1391541"/>
                </a:cubicBezTo>
                <a:cubicBezTo>
                  <a:pt x="1306421" y="1422022"/>
                  <a:pt x="1281711" y="1446732"/>
                  <a:pt x="1251229" y="1446732"/>
                </a:cubicBezTo>
                <a:cubicBezTo>
                  <a:pt x="1220747" y="1446732"/>
                  <a:pt x="1196037" y="1422022"/>
                  <a:pt x="1196037" y="1391541"/>
                </a:cubicBezTo>
                <a:cubicBezTo>
                  <a:pt x="1196037" y="1361060"/>
                  <a:pt x="1220747" y="1336350"/>
                  <a:pt x="1251229" y="1336350"/>
                </a:cubicBezTo>
                <a:close/>
                <a:moveTo>
                  <a:pt x="1117592" y="1336350"/>
                </a:moveTo>
                <a:cubicBezTo>
                  <a:pt x="1148075" y="1336350"/>
                  <a:pt x="1172785" y="1361060"/>
                  <a:pt x="1172785" y="1391541"/>
                </a:cubicBezTo>
                <a:cubicBezTo>
                  <a:pt x="1172785" y="1422022"/>
                  <a:pt x="1148075" y="1446732"/>
                  <a:pt x="1117592" y="1446732"/>
                </a:cubicBezTo>
                <a:cubicBezTo>
                  <a:pt x="1087110" y="1446732"/>
                  <a:pt x="1062400" y="1422022"/>
                  <a:pt x="1062400" y="1391541"/>
                </a:cubicBezTo>
                <a:cubicBezTo>
                  <a:pt x="1062400" y="1361060"/>
                  <a:pt x="1087110" y="1336350"/>
                  <a:pt x="1117592" y="1336350"/>
                </a:cubicBezTo>
                <a:close/>
                <a:moveTo>
                  <a:pt x="980615" y="1336350"/>
                </a:moveTo>
                <a:cubicBezTo>
                  <a:pt x="1011098" y="1336350"/>
                  <a:pt x="1035808" y="1361060"/>
                  <a:pt x="1035808" y="1391541"/>
                </a:cubicBezTo>
                <a:cubicBezTo>
                  <a:pt x="1035808" y="1422022"/>
                  <a:pt x="1011098" y="1446732"/>
                  <a:pt x="980615" y="1446732"/>
                </a:cubicBezTo>
                <a:cubicBezTo>
                  <a:pt x="950133" y="1446732"/>
                  <a:pt x="925422" y="1422022"/>
                  <a:pt x="925422" y="1391541"/>
                </a:cubicBezTo>
                <a:cubicBezTo>
                  <a:pt x="925422" y="1361060"/>
                  <a:pt x="950133" y="1336350"/>
                  <a:pt x="980615" y="1336350"/>
                </a:cubicBezTo>
                <a:close/>
                <a:moveTo>
                  <a:pt x="9199101" y="1336348"/>
                </a:moveTo>
                <a:cubicBezTo>
                  <a:pt x="9229583" y="1336348"/>
                  <a:pt x="9254293" y="1361058"/>
                  <a:pt x="9254293" y="1391539"/>
                </a:cubicBezTo>
                <a:cubicBezTo>
                  <a:pt x="9254293" y="1422020"/>
                  <a:pt x="9229583" y="1446730"/>
                  <a:pt x="9199101" y="1446730"/>
                </a:cubicBezTo>
                <a:cubicBezTo>
                  <a:pt x="9168619" y="1446730"/>
                  <a:pt x="9143909" y="1422020"/>
                  <a:pt x="9143909" y="1391539"/>
                </a:cubicBezTo>
                <a:cubicBezTo>
                  <a:pt x="9143909" y="1361058"/>
                  <a:pt x="9168619" y="1336348"/>
                  <a:pt x="9199101" y="1336348"/>
                </a:cubicBezTo>
                <a:close/>
                <a:moveTo>
                  <a:pt x="9068807" y="1336348"/>
                </a:moveTo>
                <a:cubicBezTo>
                  <a:pt x="9099289" y="1336348"/>
                  <a:pt x="9123999" y="1361058"/>
                  <a:pt x="9123999" y="1391539"/>
                </a:cubicBezTo>
                <a:cubicBezTo>
                  <a:pt x="9123999" y="1422020"/>
                  <a:pt x="9099289" y="1446730"/>
                  <a:pt x="9068807" y="1446730"/>
                </a:cubicBezTo>
                <a:cubicBezTo>
                  <a:pt x="9038325" y="1446730"/>
                  <a:pt x="9013615" y="1422020"/>
                  <a:pt x="9013615" y="1391539"/>
                </a:cubicBezTo>
                <a:cubicBezTo>
                  <a:pt x="9013615" y="1361058"/>
                  <a:pt x="9038325" y="1336348"/>
                  <a:pt x="9068807" y="1336348"/>
                </a:cubicBezTo>
                <a:close/>
                <a:moveTo>
                  <a:pt x="8407316" y="1336348"/>
                </a:moveTo>
                <a:cubicBezTo>
                  <a:pt x="8437798" y="1336348"/>
                  <a:pt x="8462508" y="1361058"/>
                  <a:pt x="8462508" y="1391539"/>
                </a:cubicBezTo>
                <a:cubicBezTo>
                  <a:pt x="8462508" y="1422020"/>
                  <a:pt x="8437798" y="1446730"/>
                  <a:pt x="8407316" y="1446730"/>
                </a:cubicBezTo>
                <a:cubicBezTo>
                  <a:pt x="8376834" y="1446730"/>
                  <a:pt x="8352124" y="1422020"/>
                  <a:pt x="8352124" y="1391539"/>
                </a:cubicBezTo>
                <a:cubicBezTo>
                  <a:pt x="8352124" y="1361058"/>
                  <a:pt x="8376834" y="1336348"/>
                  <a:pt x="8407316" y="1336348"/>
                </a:cubicBezTo>
                <a:close/>
                <a:moveTo>
                  <a:pt x="8273682" y="1336348"/>
                </a:moveTo>
                <a:cubicBezTo>
                  <a:pt x="8304164" y="1336348"/>
                  <a:pt x="8328874" y="1361058"/>
                  <a:pt x="8328874" y="1391539"/>
                </a:cubicBezTo>
                <a:cubicBezTo>
                  <a:pt x="8328874" y="1422020"/>
                  <a:pt x="8304164" y="1446730"/>
                  <a:pt x="8273682" y="1446730"/>
                </a:cubicBezTo>
                <a:cubicBezTo>
                  <a:pt x="8243200" y="1446730"/>
                  <a:pt x="8218490" y="1422020"/>
                  <a:pt x="8218490" y="1391539"/>
                </a:cubicBezTo>
                <a:cubicBezTo>
                  <a:pt x="8218490" y="1361058"/>
                  <a:pt x="8243200" y="1336348"/>
                  <a:pt x="8273682" y="1336348"/>
                </a:cubicBezTo>
                <a:close/>
                <a:moveTo>
                  <a:pt x="8143388" y="1336348"/>
                </a:moveTo>
                <a:cubicBezTo>
                  <a:pt x="8173870" y="1336348"/>
                  <a:pt x="8198580" y="1361058"/>
                  <a:pt x="8198580" y="1391539"/>
                </a:cubicBezTo>
                <a:cubicBezTo>
                  <a:pt x="8198580" y="1422020"/>
                  <a:pt x="8173870" y="1446730"/>
                  <a:pt x="8143388" y="1446730"/>
                </a:cubicBezTo>
                <a:cubicBezTo>
                  <a:pt x="8112906" y="1446730"/>
                  <a:pt x="8088196" y="1422020"/>
                  <a:pt x="8088196" y="1391539"/>
                </a:cubicBezTo>
                <a:cubicBezTo>
                  <a:pt x="8088196" y="1361058"/>
                  <a:pt x="8112906" y="1336348"/>
                  <a:pt x="8143388" y="1336348"/>
                </a:cubicBezTo>
                <a:close/>
                <a:moveTo>
                  <a:pt x="8009753" y="1336348"/>
                </a:moveTo>
                <a:cubicBezTo>
                  <a:pt x="8040235" y="1336348"/>
                  <a:pt x="8064945" y="1361058"/>
                  <a:pt x="8064945" y="1391539"/>
                </a:cubicBezTo>
                <a:cubicBezTo>
                  <a:pt x="8064945" y="1422020"/>
                  <a:pt x="8040235" y="1446730"/>
                  <a:pt x="8009753" y="1446730"/>
                </a:cubicBezTo>
                <a:cubicBezTo>
                  <a:pt x="7979271" y="1446730"/>
                  <a:pt x="7954561" y="1422020"/>
                  <a:pt x="7954561" y="1391539"/>
                </a:cubicBezTo>
                <a:cubicBezTo>
                  <a:pt x="7954561" y="1361058"/>
                  <a:pt x="7979271" y="1336348"/>
                  <a:pt x="8009753" y="1336348"/>
                </a:cubicBezTo>
                <a:close/>
                <a:moveTo>
                  <a:pt x="7876118" y="1336348"/>
                </a:moveTo>
                <a:cubicBezTo>
                  <a:pt x="7906600" y="1336348"/>
                  <a:pt x="7931310" y="1361058"/>
                  <a:pt x="7931310" y="1391539"/>
                </a:cubicBezTo>
                <a:cubicBezTo>
                  <a:pt x="7931310" y="1422020"/>
                  <a:pt x="7906600" y="1446730"/>
                  <a:pt x="7876118" y="1446730"/>
                </a:cubicBezTo>
                <a:cubicBezTo>
                  <a:pt x="7845636" y="1446730"/>
                  <a:pt x="7820926" y="1422020"/>
                  <a:pt x="7820926" y="1391539"/>
                </a:cubicBezTo>
                <a:cubicBezTo>
                  <a:pt x="7820926" y="1361058"/>
                  <a:pt x="7845636" y="1336348"/>
                  <a:pt x="7876118" y="1336348"/>
                </a:cubicBezTo>
                <a:close/>
                <a:moveTo>
                  <a:pt x="7745823" y="1336348"/>
                </a:moveTo>
                <a:cubicBezTo>
                  <a:pt x="7776305" y="1336348"/>
                  <a:pt x="7801015" y="1361058"/>
                  <a:pt x="7801015" y="1391539"/>
                </a:cubicBezTo>
                <a:cubicBezTo>
                  <a:pt x="7801015" y="1422020"/>
                  <a:pt x="7776305" y="1446730"/>
                  <a:pt x="7745823" y="1446730"/>
                </a:cubicBezTo>
                <a:cubicBezTo>
                  <a:pt x="7715341" y="1446730"/>
                  <a:pt x="7690631" y="1422020"/>
                  <a:pt x="7690631" y="1391539"/>
                </a:cubicBezTo>
                <a:cubicBezTo>
                  <a:pt x="7690631" y="1361058"/>
                  <a:pt x="7715341" y="1336348"/>
                  <a:pt x="7745823" y="1336348"/>
                </a:cubicBezTo>
                <a:close/>
                <a:moveTo>
                  <a:pt x="185475" y="1336348"/>
                </a:moveTo>
                <a:cubicBezTo>
                  <a:pt x="215957" y="1336348"/>
                  <a:pt x="240666" y="1361058"/>
                  <a:pt x="240666" y="1391539"/>
                </a:cubicBezTo>
                <a:cubicBezTo>
                  <a:pt x="240666" y="1422020"/>
                  <a:pt x="215957" y="1446730"/>
                  <a:pt x="185475" y="1446730"/>
                </a:cubicBezTo>
                <a:cubicBezTo>
                  <a:pt x="154994" y="1446730"/>
                  <a:pt x="130283" y="1422020"/>
                  <a:pt x="130283" y="1391539"/>
                </a:cubicBezTo>
                <a:cubicBezTo>
                  <a:pt x="130283" y="1361058"/>
                  <a:pt x="154994" y="1336348"/>
                  <a:pt x="185475" y="1336348"/>
                </a:cubicBezTo>
                <a:close/>
                <a:moveTo>
                  <a:pt x="9199101" y="1219421"/>
                </a:moveTo>
                <a:cubicBezTo>
                  <a:pt x="9229583" y="1219421"/>
                  <a:pt x="9254293" y="1244131"/>
                  <a:pt x="9254293" y="1274612"/>
                </a:cubicBezTo>
                <a:cubicBezTo>
                  <a:pt x="9254293" y="1305093"/>
                  <a:pt x="9229583" y="1329803"/>
                  <a:pt x="9199101" y="1329803"/>
                </a:cubicBezTo>
                <a:cubicBezTo>
                  <a:pt x="9168619" y="1329803"/>
                  <a:pt x="9143909" y="1305093"/>
                  <a:pt x="9143909" y="1274612"/>
                </a:cubicBezTo>
                <a:cubicBezTo>
                  <a:pt x="9143909" y="1244131"/>
                  <a:pt x="9168619" y="1219421"/>
                  <a:pt x="9199101" y="1219421"/>
                </a:cubicBezTo>
                <a:close/>
                <a:moveTo>
                  <a:pt x="9068807" y="1219421"/>
                </a:moveTo>
                <a:cubicBezTo>
                  <a:pt x="9099289" y="1219421"/>
                  <a:pt x="9123999" y="1244131"/>
                  <a:pt x="9123999" y="1274612"/>
                </a:cubicBezTo>
                <a:cubicBezTo>
                  <a:pt x="9123999" y="1305093"/>
                  <a:pt x="9099289" y="1329803"/>
                  <a:pt x="9068807" y="1329803"/>
                </a:cubicBezTo>
                <a:cubicBezTo>
                  <a:pt x="9038325" y="1329803"/>
                  <a:pt x="9013615" y="1305093"/>
                  <a:pt x="9013615" y="1274612"/>
                </a:cubicBezTo>
                <a:cubicBezTo>
                  <a:pt x="9013615" y="1244131"/>
                  <a:pt x="9038325" y="1219421"/>
                  <a:pt x="9068807" y="1219421"/>
                </a:cubicBezTo>
                <a:close/>
                <a:moveTo>
                  <a:pt x="8537612" y="1219421"/>
                </a:moveTo>
                <a:cubicBezTo>
                  <a:pt x="8568094" y="1219421"/>
                  <a:pt x="8592804" y="1244131"/>
                  <a:pt x="8592804" y="1274612"/>
                </a:cubicBezTo>
                <a:cubicBezTo>
                  <a:pt x="8592804" y="1305093"/>
                  <a:pt x="8568094" y="1329803"/>
                  <a:pt x="8537612" y="1329803"/>
                </a:cubicBezTo>
                <a:cubicBezTo>
                  <a:pt x="8507130" y="1329803"/>
                  <a:pt x="8482420" y="1305093"/>
                  <a:pt x="8482420" y="1274612"/>
                </a:cubicBezTo>
                <a:cubicBezTo>
                  <a:pt x="8482420" y="1244131"/>
                  <a:pt x="8507130" y="1219421"/>
                  <a:pt x="8537612" y="1219421"/>
                </a:cubicBezTo>
                <a:close/>
                <a:moveTo>
                  <a:pt x="8407316" y="1219421"/>
                </a:moveTo>
                <a:cubicBezTo>
                  <a:pt x="8437798" y="1219421"/>
                  <a:pt x="8462508" y="1244131"/>
                  <a:pt x="8462508" y="1274612"/>
                </a:cubicBezTo>
                <a:cubicBezTo>
                  <a:pt x="8462508" y="1305093"/>
                  <a:pt x="8437798" y="1329803"/>
                  <a:pt x="8407316" y="1329803"/>
                </a:cubicBezTo>
                <a:cubicBezTo>
                  <a:pt x="8376834" y="1329803"/>
                  <a:pt x="8352124" y="1305093"/>
                  <a:pt x="8352124" y="1274612"/>
                </a:cubicBezTo>
                <a:cubicBezTo>
                  <a:pt x="8352124" y="1244131"/>
                  <a:pt x="8376834" y="1219421"/>
                  <a:pt x="8407316" y="1219421"/>
                </a:cubicBezTo>
                <a:close/>
                <a:moveTo>
                  <a:pt x="8273682" y="1219421"/>
                </a:moveTo>
                <a:cubicBezTo>
                  <a:pt x="8304164" y="1219421"/>
                  <a:pt x="8328874" y="1244131"/>
                  <a:pt x="8328874" y="1274612"/>
                </a:cubicBezTo>
                <a:cubicBezTo>
                  <a:pt x="8328874" y="1305093"/>
                  <a:pt x="8304164" y="1329803"/>
                  <a:pt x="8273682" y="1329803"/>
                </a:cubicBezTo>
                <a:cubicBezTo>
                  <a:pt x="8243200" y="1329803"/>
                  <a:pt x="8218490" y="1305093"/>
                  <a:pt x="8218490" y="1274612"/>
                </a:cubicBezTo>
                <a:cubicBezTo>
                  <a:pt x="8218490" y="1244131"/>
                  <a:pt x="8243200" y="1219421"/>
                  <a:pt x="8273682" y="1219421"/>
                </a:cubicBezTo>
                <a:close/>
                <a:moveTo>
                  <a:pt x="8143388" y="1219421"/>
                </a:moveTo>
                <a:cubicBezTo>
                  <a:pt x="8173870" y="1219421"/>
                  <a:pt x="8198580" y="1244131"/>
                  <a:pt x="8198580" y="1274612"/>
                </a:cubicBezTo>
                <a:cubicBezTo>
                  <a:pt x="8198580" y="1305093"/>
                  <a:pt x="8173870" y="1329803"/>
                  <a:pt x="8143388" y="1329803"/>
                </a:cubicBezTo>
                <a:cubicBezTo>
                  <a:pt x="8112906" y="1329803"/>
                  <a:pt x="8088196" y="1305093"/>
                  <a:pt x="8088196" y="1274612"/>
                </a:cubicBezTo>
                <a:cubicBezTo>
                  <a:pt x="8088196" y="1244131"/>
                  <a:pt x="8112906" y="1219421"/>
                  <a:pt x="8143388" y="1219421"/>
                </a:cubicBezTo>
                <a:close/>
                <a:moveTo>
                  <a:pt x="8009753" y="1219421"/>
                </a:moveTo>
                <a:cubicBezTo>
                  <a:pt x="8040235" y="1219421"/>
                  <a:pt x="8064945" y="1244131"/>
                  <a:pt x="8064945" y="1274612"/>
                </a:cubicBezTo>
                <a:cubicBezTo>
                  <a:pt x="8064945" y="1305093"/>
                  <a:pt x="8040235" y="1329803"/>
                  <a:pt x="8009753" y="1329803"/>
                </a:cubicBezTo>
                <a:cubicBezTo>
                  <a:pt x="7979271" y="1329803"/>
                  <a:pt x="7954561" y="1305093"/>
                  <a:pt x="7954561" y="1274612"/>
                </a:cubicBezTo>
                <a:cubicBezTo>
                  <a:pt x="7954561" y="1244131"/>
                  <a:pt x="7979271" y="1219421"/>
                  <a:pt x="8009753" y="1219421"/>
                </a:cubicBezTo>
                <a:close/>
                <a:moveTo>
                  <a:pt x="7876118" y="1219421"/>
                </a:moveTo>
                <a:cubicBezTo>
                  <a:pt x="7906600" y="1219421"/>
                  <a:pt x="7931310" y="1244131"/>
                  <a:pt x="7931310" y="1274612"/>
                </a:cubicBezTo>
                <a:cubicBezTo>
                  <a:pt x="7931310" y="1305093"/>
                  <a:pt x="7906600" y="1329803"/>
                  <a:pt x="7876118" y="1329803"/>
                </a:cubicBezTo>
                <a:cubicBezTo>
                  <a:pt x="7845636" y="1329803"/>
                  <a:pt x="7820926" y="1305093"/>
                  <a:pt x="7820926" y="1274612"/>
                </a:cubicBezTo>
                <a:cubicBezTo>
                  <a:pt x="7820926" y="1244131"/>
                  <a:pt x="7845636" y="1219421"/>
                  <a:pt x="7876118" y="1219421"/>
                </a:cubicBezTo>
                <a:close/>
                <a:moveTo>
                  <a:pt x="7745823" y="1219421"/>
                </a:moveTo>
                <a:cubicBezTo>
                  <a:pt x="7776305" y="1219421"/>
                  <a:pt x="7801015" y="1244131"/>
                  <a:pt x="7801015" y="1274612"/>
                </a:cubicBezTo>
                <a:cubicBezTo>
                  <a:pt x="7801015" y="1305093"/>
                  <a:pt x="7776305" y="1329803"/>
                  <a:pt x="7745823" y="1329803"/>
                </a:cubicBezTo>
                <a:cubicBezTo>
                  <a:pt x="7715341" y="1329803"/>
                  <a:pt x="7690631" y="1305093"/>
                  <a:pt x="7690631" y="1274612"/>
                </a:cubicBezTo>
                <a:cubicBezTo>
                  <a:pt x="7690631" y="1244131"/>
                  <a:pt x="7715341" y="1219421"/>
                  <a:pt x="7745823" y="1219421"/>
                </a:cubicBezTo>
                <a:close/>
                <a:moveTo>
                  <a:pt x="7608849" y="1219421"/>
                </a:moveTo>
                <a:cubicBezTo>
                  <a:pt x="7639331" y="1219421"/>
                  <a:pt x="7664041" y="1244131"/>
                  <a:pt x="7664041" y="1274612"/>
                </a:cubicBezTo>
                <a:cubicBezTo>
                  <a:pt x="7664041" y="1305093"/>
                  <a:pt x="7639331" y="1329803"/>
                  <a:pt x="7608849" y="1329803"/>
                </a:cubicBezTo>
                <a:cubicBezTo>
                  <a:pt x="7578367" y="1329803"/>
                  <a:pt x="7553657" y="1305093"/>
                  <a:pt x="7553657" y="1274612"/>
                </a:cubicBezTo>
                <a:cubicBezTo>
                  <a:pt x="7553657" y="1244131"/>
                  <a:pt x="7578367" y="1219421"/>
                  <a:pt x="7608849" y="1219421"/>
                </a:cubicBezTo>
                <a:close/>
                <a:moveTo>
                  <a:pt x="7481897" y="1219421"/>
                </a:moveTo>
                <a:cubicBezTo>
                  <a:pt x="7512379" y="1219421"/>
                  <a:pt x="7537089" y="1244131"/>
                  <a:pt x="7537089" y="1274612"/>
                </a:cubicBezTo>
                <a:cubicBezTo>
                  <a:pt x="7537089" y="1305093"/>
                  <a:pt x="7512379" y="1329803"/>
                  <a:pt x="7481897" y="1329803"/>
                </a:cubicBezTo>
                <a:cubicBezTo>
                  <a:pt x="7451415" y="1329803"/>
                  <a:pt x="7426705" y="1305093"/>
                  <a:pt x="7426705" y="1274612"/>
                </a:cubicBezTo>
                <a:cubicBezTo>
                  <a:pt x="7426705" y="1244131"/>
                  <a:pt x="7451415" y="1219421"/>
                  <a:pt x="7481897" y="1219421"/>
                </a:cubicBezTo>
                <a:close/>
                <a:moveTo>
                  <a:pt x="7341579" y="1219421"/>
                </a:moveTo>
                <a:cubicBezTo>
                  <a:pt x="7372061" y="1219421"/>
                  <a:pt x="7396771" y="1244131"/>
                  <a:pt x="7396771" y="1274612"/>
                </a:cubicBezTo>
                <a:cubicBezTo>
                  <a:pt x="7396771" y="1305093"/>
                  <a:pt x="7372061" y="1329803"/>
                  <a:pt x="7341579" y="1329803"/>
                </a:cubicBezTo>
                <a:cubicBezTo>
                  <a:pt x="7311097" y="1329803"/>
                  <a:pt x="7286387" y="1305093"/>
                  <a:pt x="7286387" y="1274612"/>
                </a:cubicBezTo>
                <a:cubicBezTo>
                  <a:pt x="7286387" y="1244131"/>
                  <a:pt x="7311097" y="1219421"/>
                  <a:pt x="7341579" y="1219421"/>
                </a:cubicBezTo>
                <a:close/>
                <a:moveTo>
                  <a:pt x="7211286" y="1219421"/>
                </a:moveTo>
                <a:cubicBezTo>
                  <a:pt x="7241768" y="1219421"/>
                  <a:pt x="7266478" y="1244131"/>
                  <a:pt x="7266478" y="1274612"/>
                </a:cubicBezTo>
                <a:cubicBezTo>
                  <a:pt x="7266478" y="1305093"/>
                  <a:pt x="7241768" y="1329803"/>
                  <a:pt x="7211286" y="1329803"/>
                </a:cubicBezTo>
                <a:cubicBezTo>
                  <a:pt x="7180804" y="1329803"/>
                  <a:pt x="7156094" y="1305093"/>
                  <a:pt x="7156094" y="1274612"/>
                </a:cubicBezTo>
                <a:cubicBezTo>
                  <a:pt x="7156094" y="1244131"/>
                  <a:pt x="7180804" y="1219421"/>
                  <a:pt x="7211286" y="1219421"/>
                </a:cubicBezTo>
                <a:close/>
                <a:moveTo>
                  <a:pt x="7080993" y="1219421"/>
                </a:moveTo>
                <a:cubicBezTo>
                  <a:pt x="7111475" y="1219421"/>
                  <a:pt x="7136185" y="1244131"/>
                  <a:pt x="7136185" y="1274612"/>
                </a:cubicBezTo>
                <a:cubicBezTo>
                  <a:pt x="7136185" y="1305093"/>
                  <a:pt x="7111475" y="1329803"/>
                  <a:pt x="7080993" y="1329803"/>
                </a:cubicBezTo>
                <a:cubicBezTo>
                  <a:pt x="7050511" y="1329803"/>
                  <a:pt x="7025801" y="1305093"/>
                  <a:pt x="7025801" y="1274612"/>
                </a:cubicBezTo>
                <a:cubicBezTo>
                  <a:pt x="7025801" y="1244131"/>
                  <a:pt x="7050511" y="1219421"/>
                  <a:pt x="7080993" y="1219421"/>
                </a:cubicBezTo>
                <a:close/>
                <a:moveTo>
                  <a:pt x="6947357" y="1219421"/>
                </a:moveTo>
                <a:cubicBezTo>
                  <a:pt x="6977839" y="1219421"/>
                  <a:pt x="7002549" y="1244131"/>
                  <a:pt x="7002549" y="1274612"/>
                </a:cubicBezTo>
                <a:cubicBezTo>
                  <a:pt x="7002549" y="1305093"/>
                  <a:pt x="6977839" y="1329803"/>
                  <a:pt x="6947357" y="1329803"/>
                </a:cubicBezTo>
                <a:cubicBezTo>
                  <a:pt x="6916875" y="1329803"/>
                  <a:pt x="6892165" y="1305093"/>
                  <a:pt x="6892165" y="1274612"/>
                </a:cubicBezTo>
                <a:cubicBezTo>
                  <a:pt x="6892165" y="1244131"/>
                  <a:pt x="6916875" y="1219421"/>
                  <a:pt x="6947357" y="1219421"/>
                </a:cubicBezTo>
                <a:close/>
                <a:moveTo>
                  <a:pt x="6817064" y="1219421"/>
                </a:moveTo>
                <a:cubicBezTo>
                  <a:pt x="6847546" y="1219421"/>
                  <a:pt x="6872256" y="1244131"/>
                  <a:pt x="6872256" y="1274612"/>
                </a:cubicBezTo>
                <a:cubicBezTo>
                  <a:pt x="6872256" y="1305093"/>
                  <a:pt x="6847546" y="1329803"/>
                  <a:pt x="6817064" y="1329803"/>
                </a:cubicBezTo>
                <a:cubicBezTo>
                  <a:pt x="6786582" y="1329803"/>
                  <a:pt x="6761872" y="1305093"/>
                  <a:pt x="6761872" y="1274612"/>
                </a:cubicBezTo>
                <a:cubicBezTo>
                  <a:pt x="6761872" y="1244131"/>
                  <a:pt x="6786582" y="1219421"/>
                  <a:pt x="6817064" y="1219421"/>
                </a:cubicBezTo>
                <a:close/>
                <a:moveTo>
                  <a:pt x="6683431" y="1219421"/>
                </a:moveTo>
                <a:cubicBezTo>
                  <a:pt x="6713913" y="1219421"/>
                  <a:pt x="6738623" y="1244131"/>
                  <a:pt x="6738623" y="1274612"/>
                </a:cubicBezTo>
                <a:cubicBezTo>
                  <a:pt x="6738623" y="1305093"/>
                  <a:pt x="6713913" y="1329803"/>
                  <a:pt x="6683431" y="1329803"/>
                </a:cubicBezTo>
                <a:cubicBezTo>
                  <a:pt x="6652949" y="1329803"/>
                  <a:pt x="6628239" y="1305093"/>
                  <a:pt x="6628239" y="1274612"/>
                </a:cubicBezTo>
                <a:cubicBezTo>
                  <a:pt x="6628239" y="1244131"/>
                  <a:pt x="6652949" y="1219421"/>
                  <a:pt x="6683431" y="1219421"/>
                </a:cubicBezTo>
                <a:close/>
                <a:moveTo>
                  <a:pt x="6553137" y="1219421"/>
                </a:moveTo>
                <a:cubicBezTo>
                  <a:pt x="6583619" y="1219421"/>
                  <a:pt x="6608329" y="1244131"/>
                  <a:pt x="6608329" y="1274612"/>
                </a:cubicBezTo>
                <a:cubicBezTo>
                  <a:pt x="6608329" y="1305093"/>
                  <a:pt x="6583619" y="1329803"/>
                  <a:pt x="6553137" y="1329803"/>
                </a:cubicBezTo>
                <a:cubicBezTo>
                  <a:pt x="6522655" y="1329803"/>
                  <a:pt x="6497945" y="1305093"/>
                  <a:pt x="6497945" y="1274612"/>
                </a:cubicBezTo>
                <a:cubicBezTo>
                  <a:pt x="6497945" y="1244131"/>
                  <a:pt x="6522655" y="1219421"/>
                  <a:pt x="6553137" y="1219421"/>
                </a:cubicBezTo>
                <a:close/>
                <a:moveTo>
                  <a:pt x="6419502" y="1219421"/>
                </a:moveTo>
                <a:cubicBezTo>
                  <a:pt x="6449984" y="1219421"/>
                  <a:pt x="6474694" y="1244131"/>
                  <a:pt x="6474694" y="1274612"/>
                </a:cubicBezTo>
                <a:cubicBezTo>
                  <a:pt x="6474694" y="1305093"/>
                  <a:pt x="6449984" y="1329803"/>
                  <a:pt x="6419502" y="1329803"/>
                </a:cubicBezTo>
                <a:cubicBezTo>
                  <a:pt x="6389020" y="1329803"/>
                  <a:pt x="6364310" y="1305093"/>
                  <a:pt x="6364310" y="1274612"/>
                </a:cubicBezTo>
                <a:cubicBezTo>
                  <a:pt x="6364310" y="1244131"/>
                  <a:pt x="6389020" y="1219421"/>
                  <a:pt x="6419502" y="1219421"/>
                </a:cubicBezTo>
                <a:close/>
                <a:moveTo>
                  <a:pt x="6289207" y="1219421"/>
                </a:moveTo>
                <a:cubicBezTo>
                  <a:pt x="6319689" y="1219421"/>
                  <a:pt x="6344399" y="1244131"/>
                  <a:pt x="6344399" y="1274612"/>
                </a:cubicBezTo>
                <a:cubicBezTo>
                  <a:pt x="6344399" y="1305093"/>
                  <a:pt x="6319689" y="1329803"/>
                  <a:pt x="6289207" y="1329803"/>
                </a:cubicBezTo>
                <a:cubicBezTo>
                  <a:pt x="6258725" y="1329803"/>
                  <a:pt x="6234015" y="1305093"/>
                  <a:pt x="6234015" y="1274612"/>
                </a:cubicBezTo>
                <a:cubicBezTo>
                  <a:pt x="6234015" y="1244131"/>
                  <a:pt x="6258725" y="1219421"/>
                  <a:pt x="6289207" y="1219421"/>
                </a:cubicBezTo>
                <a:close/>
                <a:moveTo>
                  <a:pt x="6155573" y="1219421"/>
                </a:moveTo>
                <a:cubicBezTo>
                  <a:pt x="6186055" y="1219421"/>
                  <a:pt x="6210765" y="1244131"/>
                  <a:pt x="6210765" y="1274612"/>
                </a:cubicBezTo>
                <a:cubicBezTo>
                  <a:pt x="6210765" y="1305093"/>
                  <a:pt x="6186055" y="1329803"/>
                  <a:pt x="6155573" y="1329803"/>
                </a:cubicBezTo>
                <a:cubicBezTo>
                  <a:pt x="6125091" y="1329803"/>
                  <a:pt x="6100381" y="1305093"/>
                  <a:pt x="6100381" y="1274612"/>
                </a:cubicBezTo>
                <a:cubicBezTo>
                  <a:pt x="6100381" y="1244131"/>
                  <a:pt x="6125091" y="1219421"/>
                  <a:pt x="6155573" y="1219421"/>
                </a:cubicBezTo>
                <a:close/>
                <a:moveTo>
                  <a:pt x="6021939" y="1219421"/>
                </a:moveTo>
                <a:cubicBezTo>
                  <a:pt x="6052421" y="1219421"/>
                  <a:pt x="6077131" y="1244131"/>
                  <a:pt x="6077131" y="1274612"/>
                </a:cubicBezTo>
                <a:cubicBezTo>
                  <a:pt x="6077131" y="1305093"/>
                  <a:pt x="6052421" y="1329803"/>
                  <a:pt x="6021939" y="1329803"/>
                </a:cubicBezTo>
                <a:cubicBezTo>
                  <a:pt x="5991457" y="1329803"/>
                  <a:pt x="5966747" y="1305093"/>
                  <a:pt x="5966747" y="1274612"/>
                </a:cubicBezTo>
                <a:cubicBezTo>
                  <a:pt x="5966747" y="1244131"/>
                  <a:pt x="5991457" y="1219421"/>
                  <a:pt x="6021939" y="1219421"/>
                </a:cubicBezTo>
                <a:close/>
                <a:moveTo>
                  <a:pt x="5884964" y="1219421"/>
                </a:moveTo>
                <a:cubicBezTo>
                  <a:pt x="5915446" y="1219421"/>
                  <a:pt x="5940156" y="1244131"/>
                  <a:pt x="5940156" y="1274612"/>
                </a:cubicBezTo>
                <a:cubicBezTo>
                  <a:pt x="5940156" y="1305093"/>
                  <a:pt x="5915446" y="1329803"/>
                  <a:pt x="5884964" y="1329803"/>
                </a:cubicBezTo>
                <a:cubicBezTo>
                  <a:pt x="5854482" y="1329803"/>
                  <a:pt x="5829772" y="1305093"/>
                  <a:pt x="5829772" y="1274612"/>
                </a:cubicBezTo>
                <a:cubicBezTo>
                  <a:pt x="5829772" y="1244131"/>
                  <a:pt x="5854482" y="1219421"/>
                  <a:pt x="5884964" y="1219421"/>
                </a:cubicBezTo>
                <a:close/>
                <a:moveTo>
                  <a:pt x="5754668" y="1219421"/>
                </a:moveTo>
                <a:cubicBezTo>
                  <a:pt x="5785150" y="1219421"/>
                  <a:pt x="5809860" y="1244131"/>
                  <a:pt x="5809860" y="1274612"/>
                </a:cubicBezTo>
                <a:cubicBezTo>
                  <a:pt x="5809860" y="1305093"/>
                  <a:pt x="5785150" y="1329803"/>
                  <a:pt x="5754668" y="1329803"/>
                </a:cubicBezTo>
                <a:cubicBezTo>
                  <a:pt x="5724186" y="1329803"/>
                  <a:pt x="5699476" y="1305093"/>
                  <a:pt x="5699476" y="1274612"/>
                </a:cubicBezTo>
                <a:cubicBezTo>
                  <a:pt x="5699476" y="1244131"/>
                  <a:pt x="5724186" y="1219421"/>
                  <a:pt x="5754668" y="1219421"/>
                </a:cubicBezTo>
                <a:close/>
                <a:moveTo>
                  <a:pt x="5621034" y="1219421"/>
                </a:moveTo>
                <a:cubicBezTo>
                  <a:pt x="5651516" y="1219421"/>
                  <a:pt x="5676226" y="1244131"/>
                  <a:pt x="5676226" y="1274612"/>
                </a:cubicBezTo>
                <a:cubicBezTo>
                  <a:pt x="5676226" y="1305093"/>
                  <a:pt x="5651516" y="1329803"/>
                  <a:pt x="5621034" y="1329803"/>
                </a:cubicBezTo>
                <a:cubicBezTo>
                  <a:pt x="5590552" y="1329803"/>
                  <a:pt x="5565842" y="1305093"/>
                  <a:pt x="5565842" y="1274612"/>
                </a:cubicBezTo>
                <a:cubicBezTo>
                  <a:pt x="5565842" y="1244131"/>
                  <a:pt x="5590552" y="1219421"/>
                  <a:pt x="5621034" y="1219421"/>
                </a:cubicBezTo>
                <a:close/>
                <a:moveTo>
                  <a:pt x="5487399" y="1219421"/>
                </a:moveTo>
                <a:cubicBezTo>
                  <a:pt x="5517881" y="1219421"/>
                  <a:pt x="5542591" y="1244131"/>
                  <a:pt x="5542591" y="1274612"/>
                </a:cubicBezTo>
                <a:cubicBezTo>
                  <a:pt x="5542591" y="1305093"/>
                  <a:pt x="5517881" y="1329803"/>
                  <a:pt x="5487399" y="1329803"/>
                </a:cubicBezTo>
                <a:cubicBezTo>
                  <a:pt x="5456917" y="1329803"/>
                  <a:pt x="5432207" y="1305093"/>
                  <a:pt x="5432207" y="1274612"/>
                </a:cubicBezTo>
                <a:cubicBezTo>
                  <a:pt x="5432207" y="1244131"/>
                  <a:pt x="5456917" y="1219421"/>
                  <a:pt x="5487399" y="1219421"/>
                </a:cubicBezTo>
                <a:close/>
                <a:moveTo>
                  <a:pt x="5357106" y="1219421"/>
                </a:moveTo>
                <a:cubicBezTo>
                  <a:pt x="5387588" y="1219421"/>
                  <a:pt x="5412298" y="1244131"/>
                  <a:pt x="5412298" y="1274612"/>
                </a:cubicBezTo>
                <a:cubicBezTo>
                  <a:pt x="5412298" y="1305093"/>
                  <a:pt x="5387588" y="1329803"/>
                  <a:pt x="5357106" y="1329803"/>
                </a:cubicBezTo>
                <a:cubicBezTo>
                  <a:pt x="5326624" y="1329803"/>
                  <a:pt x="5301914" y="1305093"/>
                  <a:pt x="5301914" y="1274612"/>
                </a:cubicBezTo>
                <a:cubicBezTo>
                  <a:pt x="5301914" y="1244131"/>
                  <a:pt x="5326624" y="1219421"/>
                  <a:pt x="5357106" y="1219421"/>
                </a:cubicBezTo>
                <a:close/>
                <a:moveTo>
                  <a:pt x="5093178" y="1219421"/>
                </a:moveTo>
                <a:cubicBezTo>
                  <a:pt x="5123660" y="1219421"/>
                  <a:pt x="5148370" y="1244131"/>
                  <a:pt x="5148370" y="1274612"/>
                </a:cubicBezTo>
                <a:cubicBezTo>
                  <a:pt x="5148370" y="1305093"/>
                  <a:pt x="5123660" y="1329803"/>
                  <a:pt x="5093178" y="1329803"/>
                </a:cubicBezTo>
                <a:cubicBezTo>
                  <a:pt x="5062696" y="1329803"/>
                  <a:pt x="5037986" y="1305093"/>
                  <a:pt x="5037986" y="1274612"/>
                </a:cubicBezTo>
                <a:cubicBezTo>
                  <a:pt x="5037986" y="1244131"/>
                  <a:pt x="5062696" y="1219421"/>
                  <a:pt x="5093178" y="1219421"/>
                </a:cubicBezTo>
                <a:close/>
                <a:moveTo>
                  <a:pt x="4959542" y="1219421"/>
                </a:moveTo>
                <a:cubicBezTo>
                  <a:pt x="4990024" y="1219421"/>
                  <a:pt x="5014734" y="1244131"/>
                  <a:pt x="5014734" y="1274612"/>
                </a:cubicBezTo>
                <a:cubicBezTo>
                  <a:pt x="5014734" y="1305093"/>
                  <a:pt x="4990024" y="1329803"/>
                  <a:pt x="4959542" y="1329803"/>
                </a:cubicBezTo>
                <a:cubicBezTo>
                  <a:pt x="4929060" y="1329803"/>
                  <a:pt x="4904350" y="1305093"/>
                  <a:pt x="4904350" y="1274612"/>
                </a:cubicBezTo>
                <a:cubicBezTo>
                  <a:pt x="4904350" y="1244131"/>
                  <a:pt x="4929060" y="1219421"/>
                  <a:pt x="4959542" y="1219421"/>
                </a:cubicBezTo>
                <a:close/>
                <a:moveTo>
                  <a:pt x="4829250" y="1219421"/>
                </a:moveTo>
                <a:cubicBezTo>
                  <a:pt x="4859732" y="1219421"/>
                  <a:pt x="4884442" y="1244131"/>
                  <a:pt x="4884442" y="1274612"/>
                </a:cubicBezTo>
                <a:cubicBezTo>
                  <a:pt x="4884442" y="1305093"/>
                  <a:pt x="4859732" y="1329803"/>
                  <a:pt x="4829250" y="1329803"/>
                </a:cubicBezTo>
                <a:cubicBezTo>
                  <a:pt x="4798768" y="1329803"/>
                  <a:pt x="4774058" y="1305093"/>
                  <a:pt x="4774058" y="1274612"/>
                </a:cubicBezTo>
                <a:cubicBezTo>
                  <a:pt x="4774058" y="1244131"/>
                  <a:pt x="4798768" y="1219421"/>
                  <a:pt x="4829250" y="1219421"/>
                </a:cubicBezTo>
                <a:close/>
                <a:moveTo>
                  <a:pt x="319111" y="1219421"/>
                </a:moveTo>
                <a:cubicBezTo>
                  <a:pt x="349594" y="1219421"/>
                  <a:pt x="374305" y="1244131"/>
                  <a:pt x="374305" y="1274612"/>
                </a:cubicBezTo>
                <a:cubicBezTo>
                  <a:pt x="374305" y="1305093"/>
                  <a:pt x="349594" y="1329803"/>
                  <a:pt x="319111" y="1329803"/>
                </a:cubicBezTo>
                <a:cubicBezTo>
                  <a:pt x="288629" y="1329803"/>
                  <a:pt x="263920" y="1305093"/>
                  <a:pt x="263920" y="1274612"/>
                </a:cubicBezTo>
                <a:cubicBezTo>
                  <a:pt x="263920" y="1244131"/>
                  <a:pt x="288629" y="1219421"/>
                  <a:pt x="319111" y="1219421"/>
                </a:cubicBezTo>
                <a:close/>
                <a:moveTo>
                  <a:pt x="185480" y="1219421"/>
                </a:moveTo>
                <a:cubicBezTo>
                  <a:pt x="215961" y="1219421"/>
                  <a:pt x="240671" y="1244131"/>
                  <a:pt x="240671" y="1274612"/>
                </a:cubicBezTo>
                <a:cubicBezTo>
                  <a:pt x="240671" y="1305093"/>
                  <a:pt x="215961" y="1329803"/>
                  <a:pt x="185480" y="1329803"/>
                </a:cubicBezTo>
                <a:cubicBezTo>
                  <a:pt x="154998" y="1329803"/>
                  <a:pt x="130288" y="1305093"/>
                  <a:pt x="130288" y="1274612"/>
                </a:cubicBezTo>
                <a:cubicBezTo>
                  <a:pt x="130288" y="1244131"/>
                  <a:pt x="154998" y="1219421"/>
                  <a:pt x="185480" y="1219421"/>
                </a:cubicBezTo>
                <a:close/>
                <a:moveTo>
                  <a:pt x="449407" y="1219419"/>
                </a:moveTo>
                <a:cubicBezTo>
                  <a:pt x="479889" y="1219419"/>
                  <a:pt x="504600" y="1244129"/>
                  <a:pt x="504600" y="1274610"/>
                </a:cubicBezTo>
                <a:cubicBezTo>
                  <a:pt x="504600" y="1305091"/>
                  <a:pt x="479889" y="1329801"/>
                  <a:pt x="449407" y="1329801"/>
                </a:cubicBezTo>
                <a:cubicBezTo>
                  <a:pt x="418924" y="1329801"/>
                  <a:pt x="394214" y="1305091"/>
                  <a:pt x="394214" y="1274610"/>
                </a:cubicBezTo>
                <a:cubicBezTo>
                  <a:pt x="394214" y="1244129"/>
                  <a:pt x="418924" y="1219419"/>
                  <a:pt x="449407" y="1219419"/>
                </a:cubicBezTo>
                <a:close/>
                <a:moveTo>
                  <a:pt x="4565322" y="1219417"/>
                </a:moveTo>
                <a:cubicBezTo>
                  <a:pt x="4595804" y="1219417"/>
                  <a:pt x="4620514" y="1244127"/>
                  <a:pt x="4620514" y="1274608"/>
                </a:cubicBezTo>
                <a:cubicBezTo>
                  <a:pt x="4620514" y="1305089"/>
                  <a:pt x="4595804" y="1329799"/>
                  <a:pt x="4565322" y="1329799"/>
                </a:cubicBezTo>
                <a:cubicBezTo>
                  <a:pt x="4534840" y="1329799"/>
                  <a:pt x="4510130" y="1305089"/>
                  <a:pt x="4510130" y="1274608"/>
                </a:cubicBezTo>
                <a:cubicBezTo>
                  <a:pt x="4510130" y="1244127"/>
                  <a:pt x="4534840" y="1219417"/>
                  <a:pt x="4565322" y="1219417"/>
                </a:cubicBezTo>
                <a:close/>
                <a:moveTo>
                  <a:pt x="2834811" y="1219417"/>
                </a:moveTo>
                <a:cubicBezTo>
                  <a:pt x="2865293" y="1219417"/>
                  <a:pt x="2890003" y="1244127"/>
                  <a:pt x="2890003" y="1274608"/>
                </a:cubicBezTo>
                <a:cubicBezTo>
                  <a:pt x="2890003" y="1305089"/>
                  <a:pt x="2865293" y="1329799"/>
                  <a:pt x="2834811" y="1329799"/>
                </a:cubicBezTo>
                <a:cubicBezTo>
                  <a:pt x="2804329" y="1329799"/>
                  <a:pt x="2779620" y="1305089"/>
                  <a:pt x="2779620" y="1274608"/>
                </a:cubicBezTo>
                <a:cubicBezTo>
                  <a:pt x="2779620" y="1244127"/>
                  <a:pt x="2804329" y="1219417"/>
                  <a:pt x="2834811" y="1219417"/>
                </a:cubicBezTo>
                <a:close/>
                <a:moveTo>
                  <a:pt x="2707858" y="1219417"/>
                </a:moveTo>
                <a:cubicBezTo>
                  <a:pt x="2738341" y="1219417"/>
                  <a:pt x="2763052" y="1244127"/>
                  <a:pt x="2763052" y="1274608"/>
                </a:cubicBezTo>
                <a:cubicBezTo>
                  <a:pt x="2763052" y="1305089"/>
                  <a:pt x="2738341" y="1329799"/>
                  <a:pt x="2707858" y="1329799"/>
                </a:cubicBezTo>
                <a:cubicBezTo>
                  <a:pt x="2677377" y="1329799"/>
                  <a:pt x="2652667" y="1305089"/>
                  <a:pt x="2652667" y="1274608"/>
                </a:cubicBezTo>
                <a:cubicBezTo>
                  <a:pt x="2652667" y="1244127"/>
                  <a:pt x="2677377" y="1219417"/>
                  <a:pt x="2707858" y="1219417"/>
                </a:cubicBezTo>
                <a:close/>
                <a:moveTo>
                  <a:pt x="2570885" y="1219417"/>
                </a:moveTo>
                <a:cubicBezTo>
                  <a:pt x="2601367" y="1219417"/>
                  <a:pt x="2626075" y="1244127"/>
                  <a:pt x="2626075" y="1274608"/>
                </a:cubicBezTo>
                <a:cubicBezTo>
                  <a:pt x="2626075" y="1305089"/>
                  <a:pt x="2601367" y="1329799"/>
                  <a:pt x="2570885" y="1329799"/>
                </a:cubicBezTo>
                <a:cubicBezTo>
                  <a:pt x="2540401" y="1329799"/>
                  <a:pt x="2515692" y="1305089"/>
                  <a:pt x="2515692" y="1274608"/>
                </a:cubicBezTo>
                <a:cubicBezTo>
                  <a:pt x="2515692" y="1244127"/>
                  <a:pt x="2540401" y="1219417"/>
                  <a:pt x="2570885" y="1219417"/>
                </a:cubicBezTo>
                <a:close/>
                <a:moveTo>
                  <a:pt x="2039686" y="1219417"/>
                </a:moveTo>
                <a:cubicBezTo>
                  <a:pt x="2070169" y="1219417"/>
                  <a:pt x="2094880" y="1244127"/>
                  <a:pt x="2094880" y="1274608"/>
                </a:cubicBezTo>
                <a:cubicBezTo>
                  <a:pt x="2094880" y="1305089"/>
                  <a:pt x="2070169" y="1329799"/>
                  <a:pt x="2039686" y="1329799"/>
                </a:cubicBezTo>
                <a:cubicBezTo>
                  <a:pt x="2009204" y="1329799"/>
                  <a:pt x="1984493" y="1305089"/>
                  <a:pt x="1984493" y="1274608"/>
                </a:cubicBezTo>
                <a:cubicBezTo>
                  <a:pt x="1984493" y="1244127"/>
                  <a:pt x="2009204" y="1219417"/>
                  <a:pt x="2039686" y="1219417"/>
                </a:cubicBezTo>
                <a:close/>
                <a:moveTo>
                  <a:pt x="1909390" y="1219417"/>
                </a:moveTo>
                <a:cubicBezTo>
                  <a:pt x="1939873" y="1219417"/>
                  <a:pt x="1964583" y="1244127"/>
                  <a:pt x="1964583" y="1274608"/>
                </a:cubicBezTo>
                <a:cubicBezTo>
                  <a:pt x="1964583" y="1305089"/>
                  <a:pt x="1939873" y="1329799"/>
                  <a:pt x="1909390" y="1329799"/>
                </a:cubicBezTo>
                <a:cubicBezTo>
                  <a:pt x="1878908" y="1329799"/>
                  <a:pt x="1854197" y="1305089"/>
                  <a:pt x="1854197" y="1274608"/>
                </a:cubicBezTo>
                <a:cubicBezTo>
                  <a:pt x="1854197" y="1244127"/>
                  <a:pt x="1878908" y="1219417"/>
                  <a:pt x="1909390" y="1219417"/>
                </a:cubicBezTo>
                <a:close/>
                <a:moveTo>
                  <a:pt x="1779095" y="1219417"/>
                </a:moveTo>
                <a:cubicBezTo>
                  <a:pt x="1809577" y="1219417"/>
                  <a:pt x="1834287" y="1244127"/>
                  <a:pt x="1834287" y="1274608"/>
                </a:cubicBezTo>
                <a:cubicBezTo>
                  <a:pt x="1834287" y="1305089"/>
                  <a:pt x="1809577" y="1329799"/>
                  <a:pt x="1779095" y="1329799"/>
                </a:cubicBezTo>
                <a:cubicBezTo>
                  <a:pt x="1748613" y="1329799"/>
                  <a:pt x="1723902" y="1305089"/>
                  <a:pt x="1723902" y="1274608"/>
                </a:cubicBezTo>
                <a:cubicBezTo>
                  <a:pt x="1723902" y="1244127"/>
                  <a:pt x="1748613" y="1219417"/>
                  <a:pt x="1779095" y="1219417"/>
                </a:cubicBezTo>
                <a:close/>
                <a:moveTo>
                  <a:pt x="1645457" y="1219417"/>
                </a:moveTo>
                <a:cubicBezTo>
                  <a:pt x="1675941" y="1219417"/>
                  <a:pt x="1700655" y="1244127"/>
                  <a:pt x="1700655" y="1274608"/>
                </a:cubicBezTo>
                <a:cubicBezTo>
                  <a:pt x="1700655" y="1305089"/>
                  <a:pt x="1675941" y="1329799"/>
                  <a:pt x="1645457" y="1329799"/>
                </a:cubicBezTo>
                <a:cubicBezTo>
                  <a:pt x="1614977" y="1329799"/>
                  <a:pt x="1590265" y="1305089"/>
                  <a:pt x="1590265" y="1274608"/>
                </a:cubicBezTo>
                <a:cubicBezTo>
                  <a:pt x="1590265" y="1244127"/>
                  <a:pt x="1614977" y="1219417"/>
                  <a:pt x="1645457" y="1219417"/>
                </a:cubicBezTo>
                <a:close/>
                <a:moveTo>
                  <a:pt x="1515168" y="1219417"/>
                </a:moveTo>
                <a:cubicBezTo>
                  <a:pt x="1545647" y="1219417"/>
                  <a:pt x="1570354" y="1244127"/>
                  <a:pt x="1570354" y="1274608"/>
                </a:cubicBezTo>
                <a:cubicBezTo>
                  <a:pt x="1570354" y="1305089"/>
                  <a:pt x="1545647" y="1329799"/>
                  <a:pt x="1515168" y="1329799"/>
                </a:cubicBezTo>
                <a:cubicBezTo>
                  <a:pt x="1484683" y="1329799"/>
                  <a:pt x="1459973" y="1305089"/>
                  <a:pt x="1459973" y="1274608"/>
                </a:cubicBezTo>
                <a:cubicBezTo>
                  <a:pt x="1459973" y="1244127"/>
                  <a:pt x="1484683" y="1219417"/>
                  <a:pt x="1515168" y="1219417"/>
                </a:cubicBezTo>
                <a:close/>
                <a:moveTo>
                  <a:pt x="1381528" y="1219417"/>
                </a:moveTo>
                <a:cubicBezTo>
                  <a:pt x="1412011" y="1219417"/>
                  <a:pt x="1436723" y="1244127"/>
                  <a:pt x="1436723" y="1274608"/>
                </a:cubicBezTo>
                <a:cubicBezTo>
                  <a:pt x="1436723" y="1305089"/>
                  <a:pt x="1412011" y="1329799"/>
                  <a:pt x="1381528" y="1329799"/>
                </a:cubicBezTo>
                <a:cubicBezTo>
                  <a:pt x="1351052" y="1329799"/>
                  <a:pt x="1326339" y="1305089"/>
                  <a:pt x="1326339" y="1274608"/>
                </a:cubicBezTo>
                <a:cubicBezTo>
                  <a:pt x="1326339" y="1244127"/>
                  <a:pt x="1351052" y="1219417"/>
                  <a:pt x="1381528" y="1219417"/>
                </a:cubicBezTo>
                <a:close/>
                <a:moveTo>
                  <a:pt x="1251239" y="1219417"/>
                </a:moveTo>
                <a:cubicBezTo>
                  <a:pt x="1281721" y="1219417"/>
                  <a:pt x="1306431" y="1244127"/>
                  <a:pt x="1306431" y="1274608"/>
                </a:cubicBezTo>
                <a:cubicBezTo>
                  <a:pt x="1306431" y="1305089"/>
                  <a:pt x="1281721" y="1329799"/>
                  <a:pt x="1251239" y="1329799"/>
                </a:cubicBezTo>
                <a:cubicBezTo>
                  <a:pt x="1220756" y="1329799"/>
                  <a:pt x="1196046" y="1305089"/>
                  <a:pt x="1196046" y="1274608"/>
                </a:cubicBezTo>
                <a:cubicBezTo>
                  <a:pt x="1196046" y="1244127"/>
                  <a:pt x="1220756" y="1219417"/>
                  <a:pt x="1251239" y="1219417"/>
                </a:cubicBezTo>
                <a:close/>
                <a:moveTo>
                  <a:pt x="1117601" y="1219417"/>
                </a:moveTo>
                <a:cubicBezTo>
                  <a:pt x="1148084" y="1219417"/>
                  <a:pt x="1172794" y="1244127"/>
                  <a:pt x="1172794" y="1274608"/>
                </a:cubicBezTo>
                <a:cubicBezTo>
                  <a:pt x="1172794" y="1305089"/>
                  <a:pt x="1148084" y="1329799"/>
                  <a:pt x="1117601" y="1329799"/>
                </a:cubicBezTo>
                <a:cubicBezTo>
                  <a:pt x="1087119" y="1329799"/>
                  <a:pt x="1062408" y="1305089"/>
                  <a:pt x="1062408" y="1274608"/>
                </a:cubicBezTo>
                <a:cubicBezTo>
                  <a:pt x="1062408" y="1244127"/>
                  <a:pt x="1087119" y="1219417"/>
                  <a:pt x="1117601" y="1219417"/>
                </a:cubicBezTo>
                <a:close/>
                <a:moveTo>
                  <a:pt x="980622" y="1219417"/>
                </a:moveTo>
                <a:cubicBezTo>
                  <a:pt x="1011105" y="1219417"/>
                  <a:pt x="1035816" y="1244127"/>
                  <a:pt x="1035816" y="1274608"/>
                </a:cubicBezTo>
                <a:cubicBezTo>
                  <a:pt x="1035816" y="1305089"/>
                  <a:pt x="1011105" y="1329799"/>
                  <a:pt x="980622" y="1329799"/>
                </a:cubicBezTo>
                <a:cubicBezTo>
                  <a:pt x="950140" y="1329799"/>
                  <a:pt x="925429" y="1305089"/>
                  <a:pt x="925429" y="1274608"/>
                </a:cubicBezTo>
                <a:cubicBezTo>
                  <a:pt x="925429" y="1244127"/>
                  <a:pt x="950140" y="1219417"/>
                  <a:pt x="980622" y="1219417"/>
                </a:cubicBezTo>
                <a:close/>
                <a:moveTo>
                  <a:pt x="9469710" y="1099147"/>
                </a:moveTo>
                <a:cubicBezTo>
                  <a:pt x="9500192" y="1099147"/>
                  <a:pt x="9524902" y="1123857"/>
                  <a:pt x="9524902" y="1154338"/>
                </a:cubicBezTo>
                <a:cubicBezTo>
                  <a:pt x="9524902" y="1184819"/>
                  <a:pt x="9500192" y="1209529"/>
                  <a:pt x="9469710" y="1209529"/>
                </a:cubicBezTo>
                <a:cubicBezTo>
                  <a:pt x="9439228" y="1209529"/>
                  <a:pt x="9414518" y="1184819"/>
                  <a:pt x="9414518" y="1154338"/>
                </a:cubicBezTo>
                <a:cubicBezTo>
                  <a:pt x="9414518" y="1123857"/>
                  <a:pt x="9439228" y="1099147"/>
                  <a:pt x="9469710" y="1099147"/>
                </a:cubicBezTo>
                <a:close/>
                <a:moveTo>
                  <a:pt x="9336075" y="1099147"/>
                </a:moveTo>
                <a:cubicBezTo>
                  <a:pt x="9366557" y="1099147"/>
                  <a:pt x="9391267" y="1123857"/>
                  <a:pt x="9391267" y="1154338"/>
                </a:cubicBezTo>
                <a:cubicBezTo>
                  <a:pt x="9391267" y="1184819"/>
                  <a:pt x="9366557" y="1209529"/>
                  <a:pt x="9336075" y="1209529"/>
                </a:cubicBezTo>
                <a:cubicBezTo>
                  <a:pt x="9305593" y="1209529"/>
                  <a:pt x="9280883" y="1184819"/>
                  <a:pt x="9280883" y="1154338"/>
                </a:cubicBezTo>
                <a:cubicBezTo>
                  <a:pt x="9280883" y="1123857"/>
                  <a:pt x="9305593" y="1099147"/>
                  <a:pt x="9336075" y="1099147"/>
                </a:cubicBezTo>
                <a:close/>
                <a:moveTo>
                  <a:pt x="9199100" y="1099147"/>
                </a:moveTo>
                <a:cubicBezTo>
                  <a:pt x="9229582" y="1099147"/>
                  <a:pt x="9254292" y="1123857"/>
                  <a:pt x="9254292" y="1154338"/>
                </a:cubicBezTo>
                <a:cubicBezTo>
                  <a:pt x="9254292" y="1184819"/>
                  <a:pt x="9229582" y="1209529"/>
                  <a:pt x="9199100" y="1209529"/>
                </a:cubicBezTo>
                <a:cubicBezTo>
                  <a:pt x="9168618" y="1209529"/>
                  <a:pt x="9143908" y="1184819"/>
                  <a:pt x="9143908" y="1154338"/>
                </a:cubicBezTo>
                <a:cubicBezTo>
                  <a:pt x="9143908" y="1123857"/>
                  <a:pt x="9168618" y="1099147"/>
                  <a:pt x="9199100" y="1099147"/>
                </a:cubicBezTo>
                <a:close/>
                <a:moveTo>
                  <a:pt x="9068805" y="1099147"/>
                </a:moveTo>
                <a:cubicBezTo>
                  <a:pt x="9099287" y="1099147"/>
                  <a:pt x="9123997" y="1123857"/>
                  <a:pt x="9123997" y="1154338"/>
                </a:cubicBezTo>
                <a:cubicBezTo>
                  <a:pt x="9123997" y="1184819"/>
                  <a:pt x="9099287" y="1209529"/>
                  <a:pt x="9068805" y="1209529"/>
                </a:cubicBezTo>
                <a:cubicBezTo>
                  <a:pt x="9038323" y="1209529"/>
                  <a:pt x="9013613" y="1184819"/>
                  <a:pt x="9013613" y="1154338"/>
                </a:cubicBezTo>
                <a:cubicBezTo>
                  <a:pt x="9013613" y="1123857"/>
                  <a:pt x="9038323" y="1099147"/>
                  <a:pt x="9068805" y="1099147"/>
                </a:cubicBezTo>
                <a:close/>
                <a:moveTo>
                  <a:pt x="8935170" y="1099147"/>
                </a:moveTo>
                <a:cubicBezTo>
                  <a:pt x="8965652" y="1099147"/>
                  <a:pt x="8990362" y="1123857"/>
                  <a:pt x="8990362" y="1154338"/>
                </a:cubicBezTo>
                <a:cubicBezTo>
                  <a:pt x="8990362" y="1184819"/>
                  <a:pt x="8965652" y="1209529"/>
                  <a:pt x="8935170" y="1209529"/>
                </a:cubicBezTo>
                <a:cubicBezTo>
                  <a:pt x="8904688" y="1209529"/>
                  <a:pt x="8879978" y="1184819"/>
                  <a:pt x="8879978" y="1154338"/>
                </a:cubicBezTo>
                <a:cubicBezTo>
                  <a:pt x="8879978" y="1123857"/>
                  <a:pt x="8904688" y="1099147"/>
                  <a:pt x="8935170" y="1099147"/>
                </a:cubicBezTo>
                <a:close/>
                <a:moveTo>
                  <a:pt x="8801536" y="1099147"/>
                </a:moveTo>
                <a:cubicBezTo>
                  <a:pt x="8832018" y="1099147"/>
                  <a:pt x="8856728" y="1123857"/>
                  <a:pt x="8856728" y="1154338"/>
                </a:cubicBezTo>
                <a:cubicBezTo>
                  <a:pt x="8856728" y="1184819"/>
                  <a:pt x="8832018" y="1209529"/>
                  <a:pt x="8801536" y="1209529"/>
                </a:cubicBezTo>
                <a:cubicBezTo>
                  <a:pt x="8771054" y="1209529"/>
                  <a:pt x="8746344" y="1184819"/>
                  <a:pt x="8746344" y="1154338"/>
                </a:cubicBezTo>
                <a:cubicBezTo>
                  <a:pt x="8746344" y="1123857"/>
                  <a:pt x="8771054" y="1099147"/>
                  <a:pt x="8801536" y="1099147"/>
                </a:cubicBezTo>
                <a:close/>
                <a:moveTo>
                  <a:pt x="8671243" y="1099147"/>
                </a:moveTo>
                <a:cubicBezTo>
                  <a:pt x="8701725" y="1099147"/>
                  <a:pt x="8726435" y="1123857"/>
                  <a:pt x="8726435" y="1154338"/>
                </a:cubicBezTo>
                <a:cubicBezTo>
                  <a:pt x="8726435" y="1184819"/>
                  <a:pt x="8701725" y="1209529"/>
                  <a:pt x="8671243" y="1209529"/>
                </a:cubicBezTo>
                <a:cubicBezTo>
                  <a:pt x="8640761" y="1209529"/>
                  <a:pt x="8616051" y="1184819"/>
                  <a:pt x="8616051" y="1154338"/>
                </a:cubicBezTo>
                <a:cubicBezTo>
                  <a:pt x="8616051" y="1123857"/>
                  <a:pt x="8640761" y="1099147"/>
                  <a:pt x="8671243" y="1099147"/>
                </a:cubicBezTo>
                <a:close/>
                <a:moveTo>
                  <a:pt x="8537609" y="1099147"/>
                </a:moveTo>
                <a:cubicBezTo>
                  <a:pt x="8568091" y="1099147"/>
                  <a:pt x="8592801" y="1123857"/>
                  <a:pt x="8592801" y="1154338"/>
                </a:cubicBezTo>
                <a:cubicBezTo>
                  <a:pt x="8592801" y="1184819"/>
                  <a:pt x="8568091" y="1209529"/>
                  <a:pt x="8537609" y="1209529"/>
                </a:cubicBezTo>
                <a:cubicBezTo>
                  <a:pt x="8507127" y="1209529"/>
                  <a:pt x="8482417" y="1184819"/>
                  <a:pt x="8482417" y="1154338"/>
                </a:cubicBezTo>
                <a:cubicBezTo>
                  <a:pt x="8482417" y="1123857"/>
                  <a:pt x="8507127" y="1099147"/>
                  <a:pt x="8537609" y="1099147"/>
                </a:cubicBezTo>
                <a:close/>
                <a:moveTo>
                  <a:pt x="8407315" y="1099147"/>
                </a:moveTo>
                <a:cubicBezTo>
                  <a:pt x="8437797" y="1099147"/>
                  <a:pt x="8462507" y="1123857"/>
                  <a:pt x="8462507" y="1154338"/>
                </a:cubicBezTo>
                <a:cubicBezTo>
                  <a:pt x="8462507" y="1184819"/>
                  <a:pt x="8437797" y="1209529"/>
                  <a:pt x="8407315" y="1209529"/>
                </a:cubicBezTo>
                <a:cubicBezTo>
                  <a:pt x="8376833" y="1209529"/>
                  <a:pt x="8352123" y="1184819"/>
                  <a:pt x="8352123" y="1154338"/>
                </a:cubicBezTo>
                <a:cubicBezTo>
                  <a:pt x="8352123" y="1123857"/>
                  <a:pt x="8376833" y="1099147"/>
                  <a:pt x="8407315" y="1099147"/>
                </a:cubicBezTo>
                <a:close/>
                <a:moveTo>
                  <a:pt x="8273681" y="1099147"/>
                </a:moveTo>
                <a:cubicBezTo>
                  <a:pt x="8304163" y="1099147"/>
                  <a:pt x="8328873" y="1123857"/>
                  <a:pt x="8328873" y="1154338"/>
                </a:cubicBezTo>
                <a:cubicBezTo>
                  <a:pt x="8328873" y="1184819"/>
                  <a:pt x="8304163" y="1209529"/>
                  <a:pt x="8273681" y="1209529"/>
                </a:cubicBezTo>
                <a:cubicBezTo>
                  <a:pt x="8243199" y="1209529"/>
                  <a:pt x="8218489" y="1184819"/>
                  <a:pt x="8218489" y="1154338"/>
                </a:cubicBezTo>
                <a:cubicBezTo>
                  <a:pt x="8218489" y="1123857"/>
                  <a:pt x="8243199" y="1099147"/>
                  <a:pt x="8273681" y="1099147"/>
                </a:cubicBezTo>
                <a:close/>
                <a:moveTo>
                  <a:pt x="8143386" y="1099147"/>
                </a:moveTo>
                <a:cubicBezTo>
                  <a:pt x="8173868" y="1099147"/>
                  <a:pt x="8198578" y="1123857"/>
                  <a:pt x="8198578" y="1154338"/>
                </a:cubicBezTo>
                <a:cubicBezTo>
                  <a:pt x="8198578" y="1184819"/>
                  <a:pt x="8173868" y="1209529"/>
                  <a:pt x="8143386" y="1209529"/>
                </a:cubicBezTo>
                <a:cubicBezTo>
                  <a:pt x="8112904" y="1209529"/>
                  <a:pt x="8088194" y="1184819"/>
                  <a:pt x="8088194" y="1154338"/>
                </a:cubicBezTo>
                <a:cubicBezTo>
                  <a:pt x="8088194" y="1123857"/>
                  <a:pt x="8112904" y="1099147"/>
                  <a:pt x="8143386" y="1099147"/>
                </a:cubicBezTo>
                <a:close/>
                <a:moveTo>
                  <a:pt x="8009752" y="1099147"/>
                </a:moveTo>
                <a:cubicBezTo>
                  <a:pt x="8040234" y="1099147"/>
                  <a:pt x="8064944" y="1123857"/>
                  <a:pt x="8064944" y="1154338"/>
                </a:cubicBezTo>
                <a:cubicBezTo>
                  <a:pt x="8064944" y="1184819"/>
                  <a:pt x="8040234" y="1209529"/>
                  <a:pt x="8009752" y="1209529"/>
                </a:cubicBezTo>
                <a:cubicBezTo>
                  <a:pt x="7979270" y="1209529"/>
                  <a:pt x="7954560" y="1184819"/>
                  <a:pt x="7954560" y="1154338"/>
                </a:cubicBezTo>
                <a:cubicBezTo>
                  <a:pt x="7954560" y="1123857"/>
                  <a:pt x="7979270" y="1099147"/>
                  <a:pt x="8009752" y="1099147"/>
                </a:cubicBezTo>
                <a:close/>
                <a:moveTo>
                  <a:pt x="7876117" y="1099147"/>
                </a:moveTo>
                <a:cubicBezTo>
                  <a:pt x="7906599" y="1099147"/>
                  <a:pt x="7931309" y="1123857"/>
                  <a:pt x="7931309" y="1154338"/>
                </a:cubicBezTo>
                <a:cubicBezTo>
                  <a:pt x="7931309" y="1184819"/>
                  <a:pt x="7906599" y="1209529"/>
                  <a:pt x="7876117" y="1209529"/>
                </a:cubicBezTo>
                <a:cubicBezTo>
                  <a:pt x="7845635" y="1209529"/>
                  <a:pt x="7820925" y="1184819"/>
                  <a:pt x="7820925" y="1154338"/>
                </a:cubicBezTo>
                <a:cubicBezTo>
                  <a:pt x="7820925" y="1123857"/>
                  <a:pt x="7845635" y="1099147"/>
                  <a:pt x="7876117" y="1099147"/>
                </a:cubicBezTo>
                <a:close/>
                <a:moveTo>
                  <a:pt x="7745822" y="1099147"/>
                </a:moveTo>
                <a:cubicBezTo>
                  <a:pt x="7776304" y="1099147"/>
                  <a:pt x="7801014" y="1123857"/>
                  <a:pt x="7801014" y="1154338"/>
                </a:cubicBezTo>
                <a:cubicBezTo>
                  <a:pt x="7801014" y="1184819"/>
                  <a:pt x="7776304" y="1209529"/>
                  <a:pt x="7745822" y="1209529"/>
                </a:cubicBezTo>
                <a:cubicBezTo>
                  <a:pt x="7715340" y="1209529"/>
                  <a:pt x="7690630" y="1184819"/>
                  <a:pt x="7690630" y="1154338"/>
                </a:cubicBezTo>
                <a:cubicBezTo>
                  <a:pt x="7690630" y="1123857"/>
                  <a:pt x="7715340" y="1099147"/>
                  <a:pt x="7745822" y="1099147"/>
                </a:cubicBezTo>
                <a:close/>
                <a:moveTo>
                  <a:pt x="7608847" y="1099147"/>
                </a:moveTo>
                <a:cubicBezTo>
                  <a:pt x="7639329" y="1099147"/>
                  <a:pt x="7664039" y="1123857"/>
                  <a:pt x="7664039" y="1154338"/>
                </a:cubicBezTo>
                <a:cubicBezTo>
                  <a:pt x="7664039" y="1184819"/>
                  <a:pt x="7639329" y="1209529"/>
                  <a:pt x="7608847" y="1209529"/>
                </a:cubicBezTo>
                <a:cubicBezTo>
                  <a:pt x="7578365" y="1209529"/>
                  <a:pt x="7553655" y="1184819"/>
                  <a:pt x="7553655" y="1154338"/>
                </a:cubicBezTo>
                <a:cubicBezTo>
                  <a:pt x="7553655" y="1123857"/>
                  <a:pt x="7578365" y="1099147"/>
                  <a:pt x="7608847" y="1099147"/>
                </a:cubicBezTo>
                <a:close/>
                <a:moveTo>
                  <a:pt x="7481895" y="1099147"/>
                </a:moveTo>
                <a:cubicBezTo>
                  <a:pt x="7512377" y="1099147"/>
                  <a:pt x="7537087" y="1123857"/>
                  <a:pt x="7537087" y="1154338"/>
                </a:cubicBezTo>
                <a:cubicBezTo>
                  <a:pt x="7537087" y="1184819"/>
                  <a:pt x="7512377" y="1209529"/>
                  <a:pt x="7481895" y="1209529"/>
                </a:cubicBezTo>
                <a:cubicBezTo>
                  <a:pt x="7451413" y="1209529"/>
                  <a:pt x="7426703" y="1184819"/>
                  <a:pt x="7426703" y="1154338"/>
                </a:cubicBezTo>
                <a:cubicBezTo>
                  <a:pt x="7426703" y="1123857"/>
                  <a:pt x="7451413" y="1099147"/>
                  <a:pt x="7481895" y="1099147"/>
                </a:cubicBezTo>
                <a:close/>
                <a:moveTo>
                  <a:pt x="7341578" y="1099147"/>
                </a:moveTo>
                <a:cubicBezTo>
                  <a:pt x="7372060" y="1099147"/>
                  <a:pt x="7396770" y="1123857"/>
                  <a:pt x="7396770" y="1154338"/>
                </a:cubicBezTo>
                <a:cubicBezTo>
                  <a:pt x="7396770" y="1184819"/>
                  <a:pt x="7372060" y="1209529"/>
                  <a:pt x="7341578" y="1209529"/>
                </a:cubicBezTo>
                <a:cubicBezTo>
                  <a:pt x="7311096" y="1209529"/>
                  <a:pt x="7286386" y="1184819"/>
                  <a:pt x="7286386" y="1154338"/>
                </a:cubicBezTo>
                <a:cubicBezTo>
                  <a:pt x="7286386" y="1123857"/>
                  <a:pt x="7311096" y="1099147"/>
                  <a:pt x="7341578" y="1099147"/>
                </a:cubicBezTo>
                <a:close/>
                <a:moveTo>
                  <a:pt x="7211285" y="1099147"/>
                </a:moveTo>
                <a:cubicBezTo>
                  <a:pt x="7241767" y="1099147"/>
                  <a:pt x="7266477" y="1123857"/>
                  <a:pt x="7266477" y="1154338"/>
                </a:cubicBezTo>
                <a:cubicBezTo>
                  <a:pt x="7266477" y="1184819"/>
                  <a:pt x="7241767" y="1209529"/>
                  <a:pt x="7211285" y="1209529"/>
                </a:cubicBezTo>
                <a:cubicBezTo>
                  <a:pt x="7180803" y="1209529"/>
                  <a:pt x="7156093" y="1184819"/>
                  <a:pt x="7156093" y="1154338"/>
                </a:cubicBezTo>
                <a:cubicBezTo>
                  <a:pt x="7156093" y="1123857"/>
                  <a:pt x="7180803" y="1099147"/>
                  <a:pt x="7211285" y="1099147"/>
                </a:cubicBezTo>
                <a:close/>
                <a:moveTo>
                  <a:pt x="7080991" y="1099147"/>
                </a:moveTo>
                <a:cubicBezTo>
                  <a:pt x="7111473" y="1099147"/>
                  <a:pt x="7136183" y="1123857"/>
                  <a:pt x="7136183" y="1154338"/>
                </a:cubicBezTo>
                <a:cubicBezTo>
                  <a:pt x="7136183" y="1184819"/>
                  <a:pt x="7111473" y="1209529"/>
                  <a:pt x="7080991" y="1209529"/>
                </a:cubicBezTo>
                <a:cubicBezTo>
                  <a:pt x="7050509" y="1209529"/>
                  <a:pt x="7025799" y="1184819"/>
                  <a:pt x="7025799" y="1154338"/>
                </a:cubicBezTo>
                <a:cubicBezTo>
                  <a:pt x="7025799" y="1123857"/>
                  <a:pt x="7050509" y="1099147"/>
                  <a:pt x="7080991" y="1099147"/>
                </a:cubicBezTo>
                <a:close/>
                <a:moveTo>
                  <a:pt x="6947356" y="1099147"/>
                </a:moveTo>
                <a:cubicBezTo>
                  <a:pt x="6977838" y="1099147"/>
                  <a:pt x="7002548" y="1123857"/>
                  <a:pt x="7002548" y="1154338"/>
                </a:cubicBezTo>
                <a:cubicBezTo>
                  <a:pt x="7002548" y="1184819"/>
                  <a:pt x="6977838" y="1209529"/>
                  <a:pt x="6947356" y="1209529"/>
                </a:cubicBezTo>
                <a:cubicBezTo>
                  <a:pt x="6916874" y="1209529"/>
                  <a:pt x="6892164" y="1184819"/>
                  <a:pt x="6892164" y="1154338"/>
                </a:cubicBezTo>
                <a:cubicBezTo>
                  <a:pt x="6892164" y="1123857"/>
                  <a:pt x="6916874" y="1099147"/>
                  <a:pt x="6947356" y="1099147"/>
                </a:cubicBezTo>
                <a:close/>
                <a:moveTo>
                  <a:pt x="6817063" y="1099147"/>
                </a:moveTo>
                <a:cubicBezTo>
                  <a:pt x="6847545" y="1099147"/>
                  <a:pt x="6872255" y="1123857"/>
                  <a:pt x="6872255" y="1154338"/>
                </a:cubicBezTo>
                <a:cubicBezTo>
                  <a:pt x="6872255" y="1184819"/>
                  <a:pt x="6847545" y="1209529"/>
                  <a:pt x="6817063" y="1209529"/>
                </a:cubicBezTo>
                <a:cubicBezTo>
                  <a:pt x="6786581" y="1209529"/>
                  <a:pt x="6761871" y="1184819"/>
                  <a:pt x="6761871" y="1154338"/>
                </a:cubicBezTo>
                <a:cubicBezTo>
                  <a:pt x="6761871" y="1123857"/>
                  <a:pt x="6786581" y="1099147"/>
                  <a:pt x="6817063" y="1099147"/>
                </a:cubicBezTo>
                <a:close/>
                <a:moveTo>
                  <a:pt x="6683430" y="1099147"/>
                </a:moveTo>
                <a:cubicBezTo>
                  <a:pt x="6713912" y="1099147"/>
                  <a:pt x="6738622" y="1123857"/>
                  <a:pt x="6738622" y="1154338"/>
                </a:cubicBezTo>
                <a:cubicBezTo>
                  <a:pt x="6738622" y="1184819"/>
                  <a:pt x="6713912" y="1209529"/>
                  <a:pt x="6683430" y="1209529"/>
                </a:cubicBezTo>
                <a:cubicBezTo>
                  <a:pt x="6652948" y="1209529"/>
                  <a:pt x="6628238" y="1184819"/>
                  <a:pt x="6628238" y="1154338"/>
                </a:cubicBezTo>
                <a:cubicBezTo>
                  <a:pt x="6628238" y="1123857"/>
                  <a:pt x="6652948" y="1099147"/>
                  <a:pt x="6683430" y="1099147"/>
                </a:cubicBezTo>
                <a:close/>
                <a:moveTo>
                  <a:pt x="6553135" y="1099147"/>
                </a:moveTo>
                <a:cubicBezTo>
                  <a:pt x="6583617" y="1099147"/>
                  <a:pt x="6608327" y="1123857"/>
                  <a:pt x="6608327" y="1154338"/>
                </a:cubicBezTo>
                <a:cubicBezTo>
                  <a:pt x="6608327" y="1184819"/>
                  <a:pt x="6583617" y="1209529"/>
                  <a:pt x="6553135" y="1209529"/>
                </a:cubicBezTo>
                <a:cubicBezTo>
                  <a:pt x="6522653" y="1209529"/>
                  <a:pt x="6497943" y="1184819"/>
                  <a:pt x="6497943" y="1154338"/>
                </a:cubicBezTo>
                <a:cubicBezTo>
                  <a:pt x="6497943" y="1123857"/>
                  <a:pt x="6522653" y="1099147"/>
                  <a:pt x="6553135" y="1099147"/>
                </a:cubicBezTo>
                <a:close/>
                <a:moveTo>
                  <a:pt x="6419501" y="1099147"/>
                </a:moveTo>
                <a:cubicBezTo>
                  <a:pt x="6449983" y="1099147"/>
                  <a:pt x="6474693" y="1123857"/>
                  <a:pt x="6474693" y="1154338"/>
                </a:cubicBezTo>
                <a:cubicBezTo>
                  <a:pt x="6474693" y="1184819"/>
                  <a:pt x="6449983" y="1209529"/>
                  <a:pt x="6419501" y="1209529"/>
                </a:cubicBezTo>
                <a:cubicBezTo>
                  <a:pt x="6389019" y="1209529"/>
                  <a:pt x="6364309" y="1184819"/>
                  <a:pt x="6364309" y="1154338"/>
                </a:cubicBezTo>
                <a:cubicBezTo>
                  <a:pt x="6364309" y="1123857"/>
                  <a:pt x="6389019" y="1099147"/>
                  <a:pt x="6419501" y="1099147"/>
                </a:cubicBezTo>
                <a:close/>
                <a:moveTo>
                  <a:pt x="6289206" y="1099147"/>
                </a:moveTo>
                <a:cubicBezTo>
                  <a:pt x="6319688" y="1099147"/>
                  <a:pt x="6344398" y="1123857"/>
                  <a:pt x="6344398" y="1154338"/>
                </a:cubicBezTo>
                <a:cubicBezTo>
                  <a:pt x="6344398" y="1184819"/>
                  <a:pt x="6319688" y="1209529"/>
                  <a:pt x="6289206" y="1209529"/>
                </a:cubicBezTo>
                <a:cubicBezTo>
                  <a:pt x="6258724" y="1209529"/>
                  <a:pt x="6234014" y="1184819"/>
                  <a:pt x="6234014" y="1154338"/>
                </a:cubicBezTo>
                <a:cubicBezTo>
                  <a:pt x="6234014" y="1123857"/>
                  <a:pt x="6258724" y="1099147"/>
                  <a:pt x="6289206" y="1099147"/>
                </a:cubicBezTo>
                <a:close/>
                <a:moveTo>
                  <a:pt x="6155571" y="1099147"/>
                </a:moveTo>
                <a:cubicBezTo>
                  <a:pt x="6186053" y="1099147"/>
                  <a:pt x="6210763" y="1123857"/>
                  <a:pt x="6210763" y="1154338"/>
                </a:cubicBezTo>
                <a:cubicBezTo>
                  <a:pt x="6210763" y="1184819"/>
                  <a:pt x="6186053" y="1209529"/>
                  <a:pt x="6155571" y="1209529"/>
                </a:cubicBezTo>
                <a:cubicBezTo>
                  <a:pt x="6125089" y="1209529"/>
                  <a:pt x="6100379" y="1184819"/>
                  <a:pt x="6100379" y="1154338"/>
                </a:cubicBezTo>
                <a:cubicBezTo>
                  <a:pt x="6100379" y="1123857"/>
                  <a:pt x="6125089" y="1099147"/>
                  <a:pt x="6155571" y="1099147"/>
                </a:cubicBezTo>
                <a:close/>
                <a:moveTo>
                  <a:pt x="6021938" y="1099147"/>
                </a:moveTo>
                <a:cubicBezTo>
                  <a:pt x="6052420" y="1099147"/>
                  <a:pt x="6077130" y="1123857"/>
                  <a:pt x="6077130" y="1154338"/>
                </a:cubicBezTo>
                <a:cubicBezTo>
                  <a:pt x="6077130" y="1184819"/>
                  <a:pt x="6052420" y="1209529"/>
                  <a:pt x="6021938" y="1209529"/>
                </a:cubicBezTo>
                <a:cubicBezTo>
                  <a:pt x="5991456" y="1209529"/>
                  <a:pt x="5966746" y="1184819"/>
                  <a:pt x="5966746" y="1154338"/>
                </a:cubicBezTo>
                <a:cubicBezTo>
                  <a:pt x="5966746" y="1123857"/>
                  <a:pt x="5991456" y="1099147"/>
                  <a:pt x="6021938" y="1099147"/>
                </a:cubicBezTo>
                <a:close/>
                <a:moveTo>
                  <a:pt x="5884963" y="1099147"/>
                </a:moveTo>
                <a:cubicBezTo>
                  <a:pt x="5915445" y="1099147"/>
                  <a:pt x="5940155" y="1123857"/>
                  <a:pt x="5940155" y="1154338"/>
                </a:cubicBezTo>
                <a:cubicBezTo>
                  <a:pt x="5940155" y="1184819"/>
                  <a:pt x="5915445" y="1209529"/>
                  <a:pt x="5884963" y="1209529"/>
                </a:cubicBezTo>
                <a:cubicBezTo>
                  <a:pt x="5854481" y="1209529"/>
                  <a:pt x="5829771" y="1184819"/>
                  <a:pt x="5829771" y="1154338"/>
                </a:cubicBezTo>
                <a:cubicBezTo>
                  <a:pt x="5829771" y="1123857"/>
                  <a:pt x="5854481" y="1099147"/>
                  <a:pt x="5884963" y="1099147"/>
                </a:cubicBezTo>
                <a:close/>
                <a:moveTo>
                  <a:pt x="5754668" y="1099147"/>
                </a:moveTo>
                <a:cubicBezTo>
                  <a:pt x="5785150" y="1099147"/>
                  <a:pt x="5809860" y="1123857"/>
                  <a:pt x="5809860" y="1154338"/>
                </a:cubicBezTo>
                <a:cubicBezTo>
                  <a:pt x="5809860" y="1184819"/>
                  <a:pt x="5785150" y="1209529"/>
                  <a:pt x="5754668" y="1209529"/>
                </a:cubicBezTo>
                <a:cubicBezTo>
                  <a:pt x="5724186" y="1209529"/>
                  <a:pt x="5699476" y="1184819"/>
                  <a:pt x="5699476" y="1154338"/>
                </a:cubicBezTo>
                <a:cubicBezTo>
                  <a:pt x="5699476" y="1123857"/>
                  <a:pt x="5724186" y="1099147"/>
                  <a:pt x="5754668" y="1099147"/>
                </a:cubicBezTo>
                <a:close/>
                <a:moveTo>
                  <a:pt x="5621031" y="1099147"/>
                </a:moveTo>
                <a:cubicBezTo>
                  <a:pt x="5651513" y="1099147"/>
                  <a:pt x="5676223" y="1123857"/>
                  <a:pt x="5676223" y="1154338"/>
                </a:cubicBezTo>
                <a:cubicBezTo>
                  <a:pt x="5676223" y="1184819"/>
                  <a:pt x="5651513" y="1209529"/>
                  <a:pt x="5621031" y="1209529"/>
                </a:cubicBezTo>
                <a:cubicBezTo>
                  <a:pt x="5590549" y="1209529"/>
                  <a:pt x="5565839" y="1184819"/>
                  <a:pt x="5565839" y="1154338"/>
                </a:cubicBezTo>
                <a:cubicBezTo>
                  <a:pt x="5565839" y="1123857"/>
                  <a:pt x="5590549" y="1099147"/>
                  <a:pt x="5621031" y="1099147"/>
                </a:cubicBezTo>
                <a:close/>
                <a:moveTo>
                  <a:pt x="5487398" y="1099147"/>
                </a:moveTo>
                <a:cubicBezTo>
                  <a:pt x="5517880" y="1099147"/>
                  <a:pt x="5542590" y="1123857"/>
                  <a:pt x="5542590" y="1154338"/>
                </a:cubicBezTo>
                <a:cubicBezTo>
                  <a:pt x="5542590" y="1184819"/>
                  <a:pt x="5517880" y="1209529"/>
                  <a:pt x="5487398" y="1209529"/>
                </a:cubicBezTo>
                <a:cubicBezTo>
                  <a:pt x="5456916" y="1209529"/>
                  <a:pt x="5432206" y="1184819"/>
                  <a:pt x="5432206" y="1154338"/>
                </a:cubicBezTo>
                <a:cubicBezTo>
                  <a:pt x="5432206" y="1123857"/>
                  <a:pt x="5456916" y="1099147"/>
                  <a:pt x="5487398" y="1099147"/>
                </a:cubicBezTo>
                <a:close/>
                <a:moveTo>
                  <a:pt x="5357105" y="1099147"/>
                </a:moveTo>
                <a:cubicBezTo>
                  <a:pt x="5387587" y="1099147"/>
                  <a:pt x="5412297" y="1123857"/>
                  <a:pt x="5412297" y="1154338"/>
                </a:cubicBezTo>
                <a:cubicBezTo>
                  <a:pt x="5412297" y="1184819"/>
                  <a:pt x="5387587" y="1209529"/>
                  <a:pt x="5357105" y="1209529"/>
                </a:cubicBezTo>
                <a:cubicBezTo>
                  <a:pt x="5326623" y="1209529"/>
                  <a:pt x="5301913" y="1184819"/>
                  <a:pt x="5301913" y="1154338"/>
                </a:cubicBezTo>
                <a:cubicBezTo>
                  <a:pt x="5301913" y="1123857"/>
                  <a:pt x="5326623" y="1099147"/>
                  <a:pt x="5357105" y="1099147"/>
                </a:cubicBezTo>
                <a:close/>
                <a:moveTo>
                  <a:pt x="5093176" y="1099147"/>
                </a:moveTo>
                <a:cubicBezTo>
                  <a:pt x="5123658" y="1099147"/>
                  <a:pt x="5148368" y="1123857"/>
                  <a:pt x="5148368" y="1154338"/>
                </a:cubicBezTo>
                <a:cubicBezTo>
                  <a:pt x="5148368" y="1184819"/>
                  <a:pt x="5123658" y="1209529"/>
                  <a:pt x="5093176" y="1209529"/>
                </a:cubicBezTo>
                <a:cubicBezTo>
                  <a:pt x="5062694" y="1209529"/>
                  <a:pt x="5037984" y="1184819"/>
                  <a:pt x="5037984" y="1154338"/>
                </a:cubicBezTo>
                <a:cubicBezTo>
                  <a:pt x="5037984" y="1123857"/>
                  <a:pt x="5062694" y="1099147"/>
                  <a:pt x="5093176" y="1099147"/>
                </a:cubicBezTo>
                <a:close/>
                <a:moveTo>
                  <a:pt x="4959540" y="1099147"/>
                </a:moveTo>
                <a:cubicBezTo>
                  <a:pt x="4990022" y="1099147"/>
                  <a:pt x="5014732" y="1123857"/>
                  <a:pt x="5014732" y="1154338"/>
                </a:cubicBezTo>
                <a:cubicBezTo>
                  <a:pt x="5014732" y="1184819"/>
                  <a:pt x="4990022" y="1209529"/>
                  <a:pt x="4959540" y="1209529"/>
                </a:cubicBezTo>
                <a:cubicBezTo>
                  <a:pt x="4929058" y="1209529"/>
                  <a:pt x="4904348" y="1184819"/>
                  <a:pt x="4904348" y="1154338"/>
                </a:cubicBezTo>
                <a:cubicBezTo>
                  <a:pt x="4904348" y="1123857"/>
                  <a:pt x="4929058" y="1099147"/>
                  <a:pt x="4959540" y="1099147"/>
                </a:cubicBezTo>
                <a:close/>
                <a:moveTo>
                  <a:pt x="4829246" y="1099147"/>
                </a:moveTo>
                <a:cubicBezTo>
                  <a:pt x="4859728" y="1099147"/>
                  <a:pt x="4884438" y="1123857"/>
                  <a:pt x="4884438" y="1154338"/>
                </a:cubicBezTo>
                <a:cubicBezTo>
                  <a:pt x="4884438" y="1184819"/>
                  <a:pt x="4859728" y="1209529"/>
                  <a:pt x="4829246" y="1209529"/>
                </a:cubicBezTo>
                <a:cubicBezTo>
                  <a:pt x="4798764" y="1209529"/>
                  <a:pt x="4774054" y="1184819"/>
                  <a:pt x="4774054" y="1154338"/>
                </a:cubicBezTo>
                <a:cubicBezTo>
                  <a:pt x="4774054" y="1123857"/>
                  <a:pt x="4798764" y="1099147"/>
                  <a:pt x="4829246" y="1099147"/>
                </a:cubicBezTo>
                <a:close/>
                <a:moveTo>
                  <a:pt x="319117" y="1099147"/>
                </a:moveTo>
                <a:cubicBezTo>
                  <a:pt x="349600" y="1099147"/>
                  <a:pt x="374310" y="1123857"/>
                  <a:pt x="374310" y="1154338"/>
                </a:cubicBezTo>
                <a:cubicBezTo>
                  <a:pt x="374310" y="1184819"/>
                  <a:pt x="349600" y="1209529"/>
                  <a:pt x="319117" y="1209529"/>
                </a:cubicBezTo>
                <a:cubicBezTo>
                  <a:pt x="288635" y="1209529"/>
                  <a:pt x="263926" y="1184819"/>
                  <a:pt x="263926" y="1154338"/>
                </a:cubicBezTo>
                <a:cubicBezTo>
                  <a:pt x="263926" y="1123857"/>
                  <a:pt x="288635" y="1099147"/>
                  <a:pt x="319117" y="1099147"/>
                </a:cubicBezTo>
                <a:close/>
                <a:moveTo>
                  <a:pt x="185484" y="1099147"/>
                </a:moveTo>
                <a:cubicBezTo>
                  <a:pt x="215966" y="1099147"/>
                  <a:pt x="240675" y="1123857"/>
                  <a:pt x="240675" y="1154338"/>
                </a:cubicBezTo>
                <a:cubicBezTo>
                  <a:pt x="240675" y="1184819"/>
                  <a:pt x="215966" y="1209529"/>
                  <a:pt x="185484" y="1209529"/>
                </a:cubicBezTo>
                <a:cubicBezTo>
                  <a:pt x="155003" y="1209529"/>
                  <a:pt x="130292" y="1184819"/>
                  <a:pt x="130292" y="1154338"/>
                </a:cubicBezTo>
                <a:cubicBezTo>
                  <a:pt x="130292" y="1123857"/>
                  <a:pt x="155003" y="1099147"/>
                  <a:pt x="185484" y="1099147"/>
                </a:cubicBezTo>
                <a:close/>
                <a:moveTo>
                  <a:pt x="55190" y="1099147"/>
                </a:moveTo>
                <a:cubicBezTo>
                  <a:pt x="85672" y="1099147"/>
                  <a:pt x="110381" y="1123857"/>
                  <a:pt x="110381" y="1154338"/>
                </a:cubicBezTo>
                <a:cubicBezTo>
                  <a:pt x="110381" y="1184819"/>
                  <a:pt x="85672" y="1209529"/>
                  <a:pt x="55190" y="1209529"/>
                </a:cubicBezTo>
                <a:cubicBezTo>
                  <a:pt x="24708" y="1209529"/>
                  <a:pt x="0" y="1184819"/>
                  <a:pt x="0" y="1154338"/>
                </a:cubicBezTo>
                <a:cubicBezTo>
                  <a:pt x="0" y="1123857"/>
                  <a:pt x="24708" y="1099147"/>
                  <a:pt x="55190" y="1099147"/>
                </a:cubicBezTo>
                <a:close/>
                <a:moveTo>
                  <a:pt x="3499584" y="1099146"/>
                </a:moveTo>
                <a:cubicBezTo>
                  <a:pt x="3530066" y="1099146"/>
                  <a:pt x="3554776" y="1123856"/>
                  <a:pt x="3554776" y="1154337"/>
                </a:cubicBezTo>
                <a:cubicBezTo>
                  <a:pt x="3554776" y="1184818"/>
                  <a:pt x="3530066" y="1209528"/>
                  <a:pt x="3499584" y="1209528"/>
                </a:cubicBezTo>
                <a:cubicBezTo>
                  <a:pt x="3469102" y="1209528"/>
                  <a:pt x="3444392" y="1184818"/>
                  <a:pt x="3444392" y="1154337"/>
                </a:cubicBezTo>
                <a:cubicBezTo>
                  <a:pt x="3444392" y="1123856"/>
                  <a:pt x="3469102" y="1099146"/>
                  <a:pt x="3499584" y="1099146"/>
                </a:cubicBezTo>
                <a:close/>
                <a:moveTo>
                  <a:pt x="2570894" y="1099146"/>
                </a:moveTo>
                <a:cubicBezTo>
                  <a:pt x="2601377" y="1099146"/>
                  <a:pt x="2626086" y="1123856"/>
                  <a:pt x="2626086" y="1154337"/>
                </a:cubicBezTo>
                <a:cubicBezTo>
                  <a:pt x="2626086" y="1184818"/>
                  <a:pt x="2601377" y="1209528"/>
                  <a:pt x="2570894" y="1209528"/>
                </a:cubicBezTo>
                <a:cubicBezTo>
                  <a:pt x="2540412" y="1209528"/>
                  <a:pt x="2515701" y="1184818"/>
                  <a:pt x="2515701" y="1154337"/>
                </a:cubicBezTo>
                <a:cubicBezTo>
                  <a:pt x="2515701" y="1123856"/>
                  <a:pt x="2540412" y="1099146"/>
                  <a:pt x="2570894" y="1099146"/>
                </a:cubicBezTo>
                <a:close/>
                <a:moveTo>
                  <a:pt x="2039698" y="1099146"/>
                </a:moveTo>
                <a:cubicBezTo>
                  <a:pt x="2070180" y="1099146"/>
                  <a:pt x="2094891" y="1123856"/>
                  <a:pt x="2094891" y="1154337"/>
                </a:cubicBezTo>
                <a:cubicBezTo>
                  <a:pt x="2094891" y="1184818"/>
                  <a:pt x="2070180" y="1209528"/>
                  <a:pt x="2039698" y="1209528"/>
                </a:cubicBezTo>
                <a:cubicBezTo>
                  <a:pt x="2009214" y="1209528"/>
                  <a:pt x="1984505" y="1184818"/>
                  <a:pt x="1984505" y="1154337"/>
                </a:cubicBezTo>
                <a:cubicBezTo>
                  <a:pt x="1984505" y="1123856"/>
                  <a:pt x="2009214" y="1099146"/>
                  <a:pt x="2039698" y="1099146"/>
                </a:cubicBezTo>
                <a:close/>
                <a:moveTo>
                  <a:pt x="1909401" y="1099146"/>
                </a:moveTo>
                <a:cubicBezTo>
                  <a:pt x="1939883" y="1099146"/>
                  <a:pt x="1964592" y="1123856"/>
                  <a:pt x="1964592" y="1154337"/>
                </a:cubicBezTo>
                <a:cubicBezTo>
                  <a:pt x="1964592" y="1184818"/>
                  <a:pt x="1939883" y="1209528"/>
                  <a:pt x="1909401" y="1209528"/>
                </a:cubicBezTo>
                <a:cubicBezTo>
                  <a:pt x="1878917" y="1209528"/>
                  <a:pt x="1854207" y="1184818"/>
                  <a:pt x="1854207" y="1154337"/>
                </a:cubicBezTo>
                <a:cubicBezTo>
                  <a:pt x="1854207" y="1123856"/>
                  <a:pt x="1878917" y="1099146"/>
                  <a:pt x="1909401" y="1099146"/>
                </a:cubicBezTo>
                <a:close/>
                <a:moveTo>
                  <a:pt x="1779104" y="1099146"/>
                </a:moveTo>
                <a:cubicBezTo>
                  <a:pt x="1809585" y="1099146"/>
                  <a:pt x="1834296" y="1123856"/>
                  <a:pt x="1834296" y="1154337"/>
                </a:cubicBezTo>
                <a:cubicBezTo>
                  <a:pt x="1834296" y="1184818"/>
                  <a:pt x="1809585" y="1209528"/>
                  <a:pt x="1779104" y="1209528"/>
                </a:cubicBezTo>
                <a:cubicBezTo>
                  <a:pt x="1748623" y="1209528"/>
                  <a:pt x="1723910" y="1184818"/>
                  <a:pt x="1723910" y="1154337"/>
                </a:cubicBezTo>
                <a:cubicBezTo>
                  <a:pt x="1723910" y="1123856"/>
                  <a:pt x="1748623" y="1099146"/>
                  <a:pt x="1779104" y="1099146"/>
                </a:cubicBezTo>
                <a:close/>
                <a:moveTo>
                  <a:pt x="1645469" y="1099146"/>
                </a:moveTo>
                <a:cubicBezTo>
                  <a:pt x="1675950" y="1099146"/>
                  <a:pt x="1700664" y="1123856"/>
                  <a:pt x="1700664" y="1154337"/>
                </a:cubicBezTo>
                <a:cubicBezTo>
                  <a:pt x="1700664" y="1184818"/>
                  <a:pt x="1675950" y="1209528"/>
                  <a:pt x="1645469" y="1209528"/>
                </a:cubicBezTo>
                <a:cubicBezTo>
                  <a:pt x="1614986" y="1209528"/>
                  <a:pt x="1590275" y="1184818"/>
                  <a:pt x="1590275" y="1154337"/>
                </a:cubicBezTo>
                <a:cubicBezTo>
                  <a:pt x="1590275" y="1123856"/>
                  <a:pt x="1614986" y="1099146"/>
                  <a:pt x="1645469" y="1099146"/>
                </a:cubicBezTo>
                <a:close/>
                <a:moveTo>
                  <a:pt x="1515179" y="1099146"/>
                </a:moveTo>
                <a:cubicBezTo>
                  <a:pt x="1545657" y="1099146"/>
                  <a:pt x="1570364" y="1123856"/>
                  <a:pt x="1570364" y="1154337"/>
                </a:cubicBezTo>
                <a:cubicBezTo>
                  <a:pt x="1570364" y="1184818"/>
                  <a:pt x="1545657" y="1209528"/>
                  <a:pt x="1515179" y="1209528"/>
                </a:cubicBezTo>
                <a:cubicBezTo>
                  <a:pt x="1484695" y="1209528"/>
                  <a:pt x="1459982" y="1184818"/>
                  <a:pt x="1459982" y="1154337"/>
                </a:cubicBezTo>
                <a:cubicBezTo>
                  <a:pt x="1459982" y="1123856"/>
                  <a:pt x="1484695" y="1099146"/>
                  <a:pt x="1515179" y="1099146"/>
                </a:cubicBezTo>
                <a:close/>
                <a:moveTo>
                  <a:pt x="1381539" y="1099146"/>
                </a:moveTo>
                <a:cubicBezTo>
                  <a:pt x="1412022" y="1099146"/>
                  <a:pt x="1436731" y="1123856"/>
                  <a:pt x="1436731" y="1154337"/>
                </a:cubicBezTo>
                <a:cubicBezTo>
                  <a:pt x="1436731" y="1184818"/>
                  <a:pt x="1412022" y="1209528"/>
                  <a:pt x="1381539" y="1209528"/>
                </a:cubicBezTo>
                <a:cubicBezTo>
                  <a:pt x="1351062" y="1209528"/>
                  <a:pt x="1326349" y="1184818"/>
                  <a:pt x="1326349" y="1154337"/>
                </a:cubicBezTo>
                <a:cubicBezTo>
                  <a:pt x="1326349" y="1123856"/>
                  <a:pt x="1351062" y="1099146"/>
                  <a:pt x="1381539" y="1099146"/>
                </a:cubicBezTo>
                <a:close/>
                <a:moveTo>
                  <a:pt x="1251245" y="1099146"/>
                </a:moveTo>
                <a:cubicBezTo>
                  <a:pt x="1281728" y="1099146"/>
                  <a:pt x="1306439" y="1123856"/>
                  <a:pt x="1306439" y="1154337"/>
                </a:cubicBezTo>
                <a:cubicBezTo>
                  <a:pt x="1306439" y="1184818"/>
                  <a:pt x="1281728" y="1209528"/>
                  <a:pt x="1251245" y="1209528"/>
                </a:cubicBezTo>
                <a:cubicBezTo>
                  <a:pt x="1220763" y="1209528"/>
                  <a:pt x="1196054" y="1184818"/>
                  <a:pt x="1196054" y="1154337"/>
                </a:cubicBezTo>
                <a:cubicBezTo>
                  <a:pt x="1196054" y="1123856"/>
                  <a:pt x="1220763" y="1099146"/>
                  <a:pt x="1251245" y="1099146"/>
                </a:cubicBezTo>
                <a:close/>
                <a:moveTo>
                  <a:pt x="1117610" y="1099146"/>
                </a:moveTo>
                <a:cubicBezTo>
                  <a:pt x="1148093" y="1099146"/>
                  <a:pt x="1172803" y="1123856"/>
                  <a:pt x="1172803" y="1154337"/>
                </a:cubicBezTo>
                <a:cubicBezTo>
                  <a:pt x="1172803" y="1184818"/>
                  <a:pt x="1148093" y="1209528"/>
                  <a:pt x="1117610" y="1209528"/>
                </a:cubicBezTo>
                <a:cubicBezTo>
                  <a:pt x="1087127" y="1209528"/>
                  <a:pt x="1062416" y="1184818"/>
                  <a:pt x="1062416" y="1154337"/>
                </a:cubicBezTo>
                <a:cubicBezTo>
                  <a:pt x="1062416" y="1123856"/>
                  <a:pt x="1087127" y="1099146"/>
                  <a:pt x="1117610" y="1099146"/>
                </a:cubicBezTo>
                <a:close/>
                <a:moveTo>
                  <a:pt x="980631" y="1099146"/>
                </a:moveTo>
                <a:cubicBezTo>
                  <a:pt x="1011115" y="1099146"/>
                  <a:pt x="1035825" y="1123856"/>
                  <a:pt x="1035825" y="1154337"/>
                </a:cubicBezTo>
                <a:cubicBezTo>
                  <a:pt x="1035825" y="1184818"/>
                  <a:pt x="1011115" y="1209528"/>
                  <a:pt x="980631" y="1209528"/>
                </a:cubicBezTo>
                <a:cubicBezTo>
                  <a:pt x="950149" y="1209528"/>
                  <a:pt x="925438" y="1184818"/>
                  <a:pt x="925438" y="1154337"/>
                </a:cubicBezTo>
                <a:cubicBezTo>
                  <a:pt x="925438" y="1123856"/>
                  <a:pt x="950149" y="1099146"/>
                  <a:pt x="980631" y="1099146"/>
                </a:cubicBezTo>
                <a:close/>
                <a:moveTo>
                  <a:pt x="846993" y="1099146"/>
                </a:moveTo>
                <a:cubicBezTo>
                  <a:pt x="877476" y="1099146"/>
                  <a:pt x="902186" y="1123856"/>
                  <a:pt x="902186" y="1154337"/>
                </a:cubicBezTo>
                <a:cubicBezTo>
                  <a:pt x="902186" y="1184818"/>
                  <a:pt x="877476" y="1209528"/>
                  <a:pt x="846993" y="1209528"/>
                </a:cubicBezTo>
                <a:cubicBezTo>
                  <a:pt x="816511" y="1209528"/>
                  <a:pt x="791796" y="1184818"/>
                  <a:pt x="791796" y="1154337"/>
                </a:cubicBezTo>
                <a:cubicBezTo>
                  <a:pt x="791796" y="1123856"/>
                  <a:pt x="816511" y="1099146"/>
                  <a:pt x="846993" y="1099146"/>
                </a:cubicBezTo>
                <a:close/>
                <a:moveTo>
                  <a:pt x="716690" y="1099146"/>
                </a:moveTo>
                <a:cubicBezTo>
                  <a:pt x="747176" y="1099146"/>
                  <a:pt x="771886" y="1123856"/>
                  <a:pt x="771886" y="1154337"/>
                </a:cubicBezTo>
                <a:cubicBezTo>
                  <a:pt x="771886" y="1184818"/>
                  <a:pt x="747176" y="1209528"/>
                  <a:pt x="716690" y="1209528"/>
                </a:cubicBezTo>
                <a:cubicBezTo>
                  <a:pt x="686211" y="1209528"/>
                  <a:pt x="661502" y="1184818"/>
                  <a:pt x="661502" y="1154337"/>
                </a:cubicBezTo>
                <a:cubicBezTo>
                  <a:pt x="661502" y="1123856"/>
                  <a:pt x="686211" y="1099146"/>
                  <a:pt x="716690" y="1099146"/>
                </a:cubicBezTo>
                <a:close/>
                <a:moveTo>
                  <a:pt x="583057" y="1099146"/>
                </a:moveTo>
                <a:cubicBezTo>
                  <a:pt x="613540" y="1099146"/>
                  <a:pt x="638250" y="1123856"/>
                  <a:pt x="638250" y="1154337"/>
                </a:cubicBezTo>
                <a:cubicBezTo>
                  <a:pt x="638250" y="1184818"/>
                  <a:pt x="613540" y="1209528"/>
                  <a:pt x="583057" y="1209528"/>
                </a:cubicBezTo>
                <a:cubicBezTo>
                  <a:pt x="552573" y="1209528"/>
                  <a:pt x="527863" y="1184818"/>
                  <a:pt x="527863" y="1154337"/>
                </a:cubicBezTo>
                <a:cubicBezTo>
                  <a:pt x="527863" y="1123856"/>
                  <a:pt x="552573" y="1099146"/>
                  <a:pt x="583057" y="1099146"/>
                </a:cubicBezTo>
                <a:close/>
                <a:moveTo>
                  <a:pt x="449413" y="1099146"/>
                </a:moveTo>
                <a:cubicBezTo>
                  <a:pt x="479896" y="1099146"/>
                  <a:pt x="504606" y="1123856"/>
                  <a:pt x="504606" y="1154337"/>
                </a:cubicBezTo>
                <a:cubicBezTo>
                  <a:pt x="504606" y="1184818"/>
                  <a:pt x="479896" y="1209528"/>
                  <a:pt x="449413" y="1209528"/>
                </a:cubicBezTo>
                <a:cubicBezTo>
                  <a:pt x="418931" y="1209528"/>
                  <a:pt x="394220" y="1184818"/>
                  <a:pt x="394220" y="1154337"/>
                </a:cubicBezTo>
                <a:cubicBezTo>
                  <a:pt x="394220" y="1123856"/>
                  <a:pt x="418931" y="1099146"/>
                  <a:pt x="449413" y="1099146"/>
                </a:cubicBezTo>
                <a:close/>
                <a:moveTo>
                  <a:pt x="9603343" y="975533"/>
                </a:moveTo>
                <a:cubicBezTo>
                  <a:pt x="9633825" y="975533"/>
                  <a:pt x="9658535" y="1000243"/>
                  <a:pt x="9658535" y="1030724"/>
                </a:cubicBezTo>
                <a:cubicBezTo>
                  <a:pt x="9658535" y="1061205"/>
                  <a:pt x="9633825" y="1085915"/>
                  <a:pt x="9603343" y="1085915"/>
                </a:cubicBezTo>
                <a:cubicBezTo>
                  <a:pt x="9572861" y="1085915"/>
                  <a:pt x="9548151" y="1061205"/>
                  <a:pt x="9548151" y="1030724"/>
                </a:cubicBezTo>
                <a:cubicBezTo>
                  <a:pt x="9548151" y="1000243"/>
                  <a:pt x="9572861" y="975533"/>
                  <a:pt x="9603343" y="975533"/>
                </a:cubicBezTo>
                <a:close/>
                <a:moveTo>
                  <a:pt x="9469708" y="975533"/>
                </a:moveTo>
                <a:cubicBezTo>
                  <a:pt x="9500190" y="975533"/>
                  <a:pt x="9524900" y="1000243"/>
                  <a:pt x="9524900" y="1030724"/>
                </a:cubicBezTo>
                <a:cubicBezTo>
                  <a:pt x="9524900" y="1061205"/>
                  <a:pt x="9500190" y="1085915"/>
                  <a:pt x="9469708" y="1085915"/>
                </a:cubicBezTo>
                <a:cubicBezTo>
                  <a:pt x="9439226" y="1085915"/>
                  <a:pt x="9414516" y="1061205"/>
                  <a:pt x="9414516" y="1030724"/>
                </a:cubicBezTo>
                <a:cubicBezTo>
                  <a:pt x="9414516" y="1000243"/>
                  <a:pt x="9439226" y="975533"/>
                  <a:pt x="9469708" y="975533"/>
                </a:cubicBezTo>
                <a:close/>
                <a:moveTo>
                  <a:pt x="8935170" y="975533"/>
                </a:moveTo>
                <a:cubicBezTo>
                  <a:pt x="8965652" y="975533"/>
                  <a:pt x="8990362" y="1000243"/>
                  <a:pt x="8990362" y="1030724"/>
                </a:cubicBezTo>
                <a:cubicBezTo>
                  <a:pt x="8990362" y="1061205"/>
                  <a:pt x="8965652" y="1085915"/>
                  <a:pt x="8935170" y="1085915"/>
                </a:cubicBezTo>
                <a:cubicBezTo>
                  <a:pt x="8904688" y="1085915"/>
                  <a:pt x="8879978" y="1061205"/>
                  <a:pt x="8879978" y="1030724"/>
                </a:cubicBezTo>
                <a:cubicBezTo>
                  <a:pt x="8879978" y="1000243"/>
                  <a:pt x="8904688" y="975533"/>
                  <a:pt x="8935170" y="975533"/>
                </a:cubicBezTo>
                <a:close/>
                <a:moveTo>
                  <a:pt x="8407315" y="975533"/>
                </a:moveTo>
                <a:cubicBezTo>
                  <a:pt x="8437797" y="975533"/>
                  <a:pt x="8462507" y="1000243"/>
                  <a:pt x="8462507" y="1030724"/>
                </a:cubicBezTo>
                <a:cubicBezTo>
                  <a:pt x="8462507" y="1061205"/>
                  <a:pt x="8437797" y="1085915"/>
                  <a:pt x="8407315" y="1085915"/>
                </a:cubicBezTo>
                <a:cubicBezTo>
                  <a:pt x="8376833" y="1085915"/>
                  <a:pt x="8352123" y="1061205"/>
                  <a:pt x="8352123" y="1030724"/>
                </a:cubicBezTo>
                <a:cubicBezTo>
                  <a:pt x="8352123" y="1000243"/>
                  <a:pt x="8376833" y="975533"/>
                  <a:pt x="8407315" y="975533"/>
                </a:cubicBezTo>
                <a:close/>
                <a:moveTo>
                  <a:pt x="7876116" y="975533"/>
                </a:moveTo>
                <a:cubicBezTo>
                  <a:pt x="7906598" y="975533"/>
                  <a:pt x="7931308" y="1000243"/>
                  <a:pt x="7931308" y="1030724"/>
                </a:cubicBezTo>
                <a:cubicBezTo>
                  <a:pt x="7931308" y="1061205"/>
                  <a:pt x="7906598" y="1085915"/>
                  <a:pt x="7876116" y="1085915"/>
                </a:cubicBezTo>
                <a:cubicBezTo>
                  <a:pt x="7845634" y="1085915"/>
                  <a:pt x="7820924" y="1061205"/>
                  <a:pt x="7820924" y="1030724"/>
                </a:cubicBezTo>
                <a:cubicBezTo>
                  <a:pt x="7820924" y="1000243"/>
                  <a:pt x="7845634" y="975533"/>
                  <a:pt x="7876116" y="975533"/>
                </a:cubicBezTo>
                <a:close/>
                <a:moveTo>
                  <a:pt x="7745822" y="975533"/>
                </a:moveTo>
                <a:cubicBezTo>
                  <a:pt x="7776304" y="975533"/>
                  <a:pt x="7801014" y="1000243"/>
                  <a:pt x="7801014" y="1030724"/>
                </a:cubicBezTo>
                <a:cubicBezTo>
                  <a:pt x="7801014" y="1061205"/>
                  <a:pt x="7776304" y="1085915"/>
                  <a:pt x="7745822" y="1085915"/>
                </a:cubicBezTo>
                <a:cubicBezTo>
                  <a:pt x="7715340" y="1085915"/>
                  <a:pt x="7690630" y="1061205"/>
                  <a:pt x="7690630" y="1030724"/>
                </a:cubicBezTo>
                <a:cubicBezTo>
                  <a:pt x="7690630" y="1000243"/>
                  <a:pt x="7715340" y="975533"/>
                  <a:pt x="7745822" y="975533"/>
                </a:cubicBezTo>
                <a:close/>
                <a:moveTo>
                  <a:pt x="7481894" y="975533"/>
                </a:moveTo>
                <a:cubicBezTo>
                  <a:pt x="7512376" y="975533"/>
                  <a:pt x="7537086" y="1000243"/>
                  <a:pt x="7537086" y="1030724"/>
                </a:cubicBezTo>
                <a:cubicBezTo>
                  <a:pt x="7537086" y="1061205"/>
                  <a:pt x="7512376" y="1085915"/>
                  <a:pt x="7481894" y="1085915"/>
                </a:cubicBezTo>
                <a:cubicBezTo>
                  <a:pt x="7451412" y="1085915"/>
                  <a:pt x="7426702" y="1061205"/>
                  <a:pt x="7426702" y="1030724"/>
                </a:cubicBezTo>
                <a:cubicBezTo>
                  <a:pt x="7426702" y="1000243"/>
                  <a:pt x="7451412" y="975533"/>
                  <a:pt x="7481894" y="975533"/>
                </a:cubicBezTo>
                <a:close/>
                <a:moveTo>
                  <a:pt x="7341578" y="975533"/>
                </a:moveTo>
                <a:cubicBezTo>
                  <a:pt x="7372060" y="975533"/>
                  <a:pt x="7396770" y="1000243"/>
                  <a:pt x="7396770" y="1030724"/>
                </a:cubicBezTo>
                <a:cubicBezTo>
                  <a:pt x="7396770" y="1061205"/>
                  <a:pt x="7372060" y="1085915"/>
                  <a:pt x="7341578" y="1085915"/>
                </a:cubicBezTo>
                <a:cubicBezTo>
                  <a:pt x="7311096" y="1085915"/>
                  <a:pt x="7286386" y="1061205"/>
                  <a:pt x="7286386" y="1030724"/>
                </a:cubicBezTo>
                <a:cubicBezTo>
                  <a:pt x="7286386" y="1000243"/>
                  <a:pt x="7311096" y="975533"/>
                  <a:pt x="7341578" y="975533"/>
                </a:cubicBezTo>
                <a:close/>
                <a:moveTo>
                  <a:pt x="7211285" y="975533"/>
                </a:moveTo>
                <a:cubicBezTo>
                  <a:pt x="7241767" y="975533"/>
                  <a:pt x="7266477" y="1000243"/>
                  <a:pt x="7266477" y="1030724"/>
                </a:cubicBezTo>
                <a:cubicBezTo>
                  <a:pt x="7266477" y="1061205"/>
                  <a:pt x="7241767" y="1085915"/>
                  <a:pt x="7211285" y="1085915"/>
                </a:cubicBezTo>
                <a:cubicBezTo>
                  <a:pt x="7180803" y="1085915"/>
                  <a:pt x="7156093" y="1061205"/>
                  <a:pt x="7156093" y="1030724"/>
                </a:cubicBezTo>
                <a:cubicBezTo>
                  <a:pt x="7156093" y="1000243"/>
                  <a:pt x="7180803" y="975533"/>
                  <a:pt x="7211285" y="975533"/>
                </a:cubicBezTo>
                <a:close/>
                <a:moveTo>
                  <a:pt x="6947356" y="975533"/>
                </a:moveTo>
                <a:cubicBezTo>
                  <a:pt x="6977838" y="975533"/>
                  <a:pt x="7002548" y="1000243"/>
                  <a:pt x="7002548" y="1030724"/>
                </a:cubicBezTo>
                <a:cubicBezTo>
                  <a:pt x="7002548" y="1061205"/>
                  <a:pt x="6977838" y="1085915"/>
                  <a:pt x="6947356" y="1085915"/>
                </a:cubicBezTo>
                <a:cubicBezTo>
                  <a:pt x="6916874" y="1085915"/>
                  <a:pt x="6892164" y="1061205"/>
                  <a:pt x="6892164" y="1030724"/>
                </a:cubicBezTo>
                <a:cubicBezTo>
                  <a:pt x="6892164" y="1000243"/>
                  <a:pt x="6916874" y="975533"/>
                  <a:pt x="6947356" y="975533"/>
                </a:cubicBezTo>
                <a:close/>
                <a:moveTo>
                  <a:pt x="6817063" y="975533"/>
                </a:moveTo>
                <a:cubicBezTo>
                  <a:pt x="6847545" y="975533"/>
                  <a:pt x="6872255" y="1000243"/>
                  <a:pt x="6872255" y="1030724"/>
                </a:cubicBezTo>
                <a:cubicBezTo>
                  <a:pt x="6872255" y="1061205"/>
                  <a:pt x="6847545" y="1085915"/>
                  <a:pt x="6817063" y="1085915"/>
                </a:cubicBezTo>
                <a:cubicBezTo>
                  <a:pt x="6786581" y="1085915"/>
                  <a:pt x="6761871" y="1061205"/>
                  <a:pt x="6761871" y="1030724"/>
                </a:cubicBezTo>
                <a:cubicBezTo>
                  <a:pt x="6761871" y="1000243"/>
                  <a:pt x="6786581" y="975533"/>
                  <a:pt x="6817063" y="975533"/>
                </a:cubicBezTo>
                <a:close/>
                <a:moveTo>
                  <a:pt x="6683430" y="975533"/>
                </a:moveTo>
                <a:cubicBezTo>
                  <a:pt x="6713912" y="975533"/>
                  <a:pt x="6738622" y="1000243"/>
                  <a:pt x="6738622" y="1030724"/>
                </a:cubicBezTo>
                <a:cubicBezTo>
                  <a:pt x="6738622" y="1061205"/>
                  <a:pt x="6713912" y="1085915"/>
                  <a:pt x="6683430" y="1085915"/>
                </a:cubicBezTo>
                <a:cubicBezTo>
                  <a:pt x="6652948" y="1085915"/>
                  <a:pt x="6628238" y="1061205"/>
                  <a:pt x="6628238" y="1030724"/>
                </a:cubicBezTo>
                <a:cubicBezTo>
                  <a:pt x="6628238" y="1000243"/>
                  <a:pt x="6652948" y="975533"/>
                  <a:pt x="6683430" y="975533"/>
                </a:cubicBezTo>
                <a:close/>
                <a:moveTo>
                  <a:pt x="6289206" y="975533"/>
                </a:moveTo>
                <a:cubicBezTo>
                  <a:pt x="6319688" y="975533"/>
                  <a:pt x="6344398" y="1000243"/>
                  <a:pt x="6344398" y="1030724"/>
                </a:cubicBezTo>
                <a:cubicBezTo>
                  <a:pt x="6344398" y="1061205"/>
                  <a:pt x="6319688" y="1085915"/>
                  <a:pt x="6289206" y="1085915"/>
                </a:cubicBezTo>
                <a:cubicBezTo>
                  <a:pt x="6258724" y="1085915"/>
                  <a:pt x="6234014" y="1061205"/>
                  <a:pt x="6234014" y="1030724"/>
                </a:cubicBezTo>
                <a:cubicBezTo>
                  <a:pt x="6234014" y="1000243"/>
                  <a:pt x="6258724" y="975533"/>
                  <a:pt x="6289206" y="975533"/>
                </a:cubicBezTo>
                <a:close/>
                <a:moveTo>
                  <a:pt x="5754667" y="975533"/>
                </a:moveTo>
                <a:cubicBezTo>
                  <a:pt x="5785149" y="975533"/>
                  <a:pt x="5809859" y="1000243"/>
                  <a:pt x="5809859" y="1030724"/>
                </a:cubicBezTo>
                <a:cubicBezTo>
                  <a:pt x="5809859" y="1061205"/>
                  <a:pt x="5785149" y="1085915"/>
                  <a:pt x="5754667" y="1085915"/>
                </a:cubicBezTo>
                <a:cubicBezTo>
                  <a:pt x="5724185" y="1085915"/>
                  <a:pt x="5699475" y="1061205"/>
                  <a:pt x="5699475" y="1030724"/>
                </a:cubicBezTo>
                <a:cubicBezTo>
                  <a:pt x="5699475" y="1000243"/>
                  <a:pt x="5724185" y="975533"/>
                  <a:pt x="5754667" y="975533"/>
                </a:cubicBezTo>
                <a:close/>
                <a:moveTo>
                  <a:pt x="5487398" y="975533"/>
                </a:moveTo>
                <a:cubicBezTo>
                  <a:pt x="5517880" y="975533"/>
                  <a:pt x="5542590" y="1000243"/>
                  <a:pt x="5542590" y="1030724"/>
                </a:cubicBezTo>
                <a:cubicBezTo>
                  <a:pt x="5542590" y="1061205"/>
                  <a:pt x="5517880" y="1085915"/>
                  <a:pt x="5487398" y="1085915"/>
                </a:cubicBezTo>
                <a:cubicBezTo>
                  <a:pt x="5456916" y="1085915"/>
                  <a:pt x="5432206" y="1061205"/>
                  <a:pt x="5432206" y="1030724"/>
                </a:cubicBezTo>
                <a:cubicBezTo>
                  <a:pt x="5432206" y="1000243"/>
                  <a:pt x="5456916" y="975533"/>
                  <a:pt x="5487398" y="975533"/>
                </a:cubicBezTo>
                <a:close/>
                <a:moveTo>
                  <a:pt x="5357105" y="975533"/>
                </a:moveTo>
                <a:cubicBezTo>
                  <a:pt x="5387587" y="975533"/>
                  <a:pt x="5412297" y="1000243"/>
                  <a:pt x="5412297" y="1030724"/>
                </a:cubicBezTo>
                <a:cubicBezTo>
                  <a:pt x="5412297" y="1061205"/>
                  <a:pt x="5387587" y="1085915"/>
                  <a:pt x="5357105" y="1085915"/>
                </a:cubicBezTo>
                <a:cubicBezTo>
                  <a:pt x="5326623" y="1085915"/>
                  <a:pt x="5301913" y="1061205"/>
                  <a:pt x="5301913" y="1030724"/>
                </a:cubicBezTo>
                <a:cubicBezTo>
                  <a:pt x="5301913" y="1000243"/>
                  <a:pt x="5326623" y="975533"/>
                  <a:pt x="5357105" y="975533"/>
                </a:cubicBezTo>
                <a:close/>
                <a:moveTo>
                  <a:pt x="5093176" y="975533"/>
                </a:moveTo>
                <a:cubicBezTo>
                  <a:pt x="5123658" y="975533"/>
                  <a:pt x="5148368" y="1000243"/>
                  <a:pt x="5148368" y="1030724"/>
                </a:cubicBezTo>
                <a:cubicBezTo>
                  <a:pt x="5148368" y="1061205"/>
                  <a:pt x="5123658" y="1085915"/>
                  <a:pt x="5093176" y="1085915"/>
                </a:cubicBezTo>
                <a:cubicBezTo>
                  <a:pt x="5062694" y="1085915"/>
                  <a:pt x="5037984" y="1061205"/>
                  <a:pt x="5037984" y="1030724"/>
                </a:cubicBezTo>
                <a:cubicBezTo>
                  <a:pt x="5037984" y="1000243"/>
                  <a:pt x="5062694" y="975533"/>
                  <a:pt x="5093176" y="975533"/>
                </a:cubicBezTo>
                <a:close/>
                <a:moveTo>
                  <a:pt x="4959540" y="975533"/>
                </a:moveTo>
                <a:cubicBezTo>
                  <a:pt x="4990022" y="975533"/>
                  <a:pt x="5014732" y="1000243"/>
                  <a:pt x="5014732" y="1030724"/>
                </a:cubicBezTo>
                <a:cubicBezTo>
                  <a:pt x="5014732" y="1061205"/>
                  <a:pt x="4990022" y="1085915"/>
                  <a:pt x="4959540" y="1085915"/>
                </a:cubicBezTo>
                <a:cubicBezTo>
                  <a:pt x="4929058" y="1085915"/>
                  <a:pt x="4904348" y="1061205"/>
                  <a:pt x="4904348" y="1030724"/>
                </a:cubicBezTo>
                <a:cubicBezTo>
                  <a:pt x="4904348" y="1000243"/>
                  <a:pt x="4929058" y="975533"/>
                  <a:pt x="4959540" y="975533"/>
                </a:cubicBezTo>
                <a:close/>
                <a:moveTo>
                  <a:pt x="4161075" y="975533"/>
                </a:moveTo>
                <a:cubicBezTo>
                  <a:pt x="4191557" y="975533"/>
                  <a:pt x="4216267" y="1000243"/>
                  <a:pt x="4216267" y="1030724"/>
                </a:cubicBezTo>
                <a:cubicBezTo>
                  <a:pt x="4216267" y="1061205"/>
                  <a:pt x="4191557" y="1085915"/>
                  <a:pt x="4161075" y="1085915"/>
                </a:cubicBezTo>
                <a:cubicBezTo>
                  <a:pt x="4130593" y="1085915"/>
                  <a:pt x="4105883" y="1061205"/>
                  <a:pt x="4105883" y="1030724"/>
                </a:cubicBezTo>
                <a:cubicBezTo>
                  <a:pt x="4105883" y="1000243"/>
                  <a:pt x="4130593" y="975533"/>
                  <a:pt x="4161075" y="975533"/>
                </a:cubicBezTo>
                <a:close/>
                <a:moveTo>
                  <a:pt x="4030782" y="975533"/>
                </a:moveTo>
                <a:cubicBezTo>
                  <a:pt x="4061264" y="975533"/>
                  <a:pt x="4085974" y="1000243"/>
                  <a:pt x="4085974" y="1030724"/>
                </a:cubicBezTo>
                <a:cubicBezTo>
                  <a:pt x="4085974" y="1061205"/>
                  <a:pt x="4061264" y="1085915"/>
                  <a:pt x="4030782" y="1085915"/>
                </a:cubicBezTo>
                <a:cubicBezTo>
                  <a:pt x="4000300" y="1085915"/>
                  <a:pt x="3975590" y="1061205"/>
                  <a:pt x="3975590" y="1030724"/>
                </a:cubicBezTo>
                <a:cubicBezTo>
                  <a:pt x="3975590" y="1000243"/>
                  <a:pt x="4000300" y="975533"/>
                  <a:pt x="4030782" y="975533"/>
                </a:cubicBezTo>
                <a:close/>
                <a:moveTo>
                  <a:pt x="3369290" y="975533"/>
                </a:moveTo>
                <a:cubicBezTo>
                  <a:pt x="3399772" y="975533"/>
                  <a:pt x="3424482" y="1000243"/>
                  <a:pt x="3424482" y="1030724"/>
                </a:cubicBezTo>
                <a:cubicBezTo>
                  <a:pt x="3424482" y="1061205"/>
                  <a:pt x="3399772" y="1085915"/>
                  <a:pt x="3369290" y="1085915"/>
                </a:cubicBezTo>
                <a:cubicBezTo>
                  <a:pt x="3338808" y="1085915"/>
                  <a:pt x="3314098" y="1061205"/>
                  <a:pt x="3314098" y="1030724"/>
                </a:cubicBezTo>
                <a:cubicBezTo>
                  <a:pt x="3314098" y="1000243"/>
                  <a:pt x="3338808" y="975533"/>
                  <a:pt x="3369290" y="975533"/>
                </a:cubicBezTo>
                <a:close/>
                <a:moveTo>
                  <a:pt x="2707880" y="975533"/>
                </a:moveTo>
                <a:cubicBezTo>
                  <a:pt x="2738363" y="975533"/>
                  <a:pt x="2763074" y="1000243"/>
                  <a:pt x="2763074" y="1030724"/>
                </a:cubicBezTo>
                <a:cubicBezTo>
                  <a:pt x="2763074" y="1061205"/>
                  <a:pt x="2738363" y="1085915"/>
                  <a:pt x="2707880" y="1085915"/>
                </a:cubicBezTo>
                <a:cubicBezTo>
                  <a:pt x="2677401" y="1085915"/>
                  <a:pt x="2652689" y="1061205"/>
                  <a:pt x="2652689" y="1030724"/>
                </a:cubicBezTo>
                <a:cubicBezTo>
                  <a:pt x="2652689" y="1000243"/>
                  <a:pt x="2677401" y="975533"/>
                  <a:pt x="2707880" y="975533"/>
                </a:cubicBezTo>
                <a:close/>
                <a:moveTo>
                  <a:pt x="2173347" y="975533"/>
                </a:moveTo>
                <a:cubicBezTo>
                  <a:pt x="2203830" y="975533"/>
                  <a:pt x="2228540" y="1000243"/>
                  <a:pt x="2228540" y="1030724"/>
                </a:cubicBezTo>
                <a:cubicBezTo>
                  <a:pt x="2228540" y="1061205"/>
                  <a:pt x="2203830" y="1085915"/>
                  <a:pt x="2173347" y="1085915"/>
                </a:cubicBezTo>
                <a:cubicBezTo>
                  <a:pt x="2142865" y="1085915"/>
                  <a:pt x="2118154" y="1061205"/>
                  <a:pt x="2118154" y="1030724"/>
                </a:cubicBezTo>
                <a:cubicBezTo>
                  <a:pt x="2118154" y="1000243"/>
                  <a:pt x="2142865" y="975533"/>
                  <a:pt x="2173347" y="975533"/>
                </a:cubicBezTo>
                <a:close/>
                <a:moveTo>
                  <a:pt x="1251258" y="975533"/>
                </a:moveTo>
                <a:cubicBezTo>
                  <a:pt x="1281740" y="975533"/>
                  <a:pt x="1306450" y="1000243"/>
                  <a:pt x="1306450" y="1030724"/>
                </a:cubicBezTo>
                <a:cubicBezTo>
                  <a:pt x="1306450" y="1061205"/>
                  <a:pt x="1281740" y="1085915"/>
                  <a:pt x="1251258" y="1085915"/>
                </a:cubicBezTo>
                <a:cubicBezTo>
                  <a:pt x="1220775" y="1085915"/>
                  <a:pt x="1196066" y="1061205"/>
                  <a:pt x="1196066" y="1030724"/>
                </a:cubicBezTo>
                <a:cubicBezTo>
                  <a:pt x="1196066" y="1000243"/>
                  <a:pt x="1220775" y="975533"/>
                  <a:pt x="1251258" y="975533"/>
                </a:cubicBezTo>
                <a:close/>
                <a:moveTo>
                  <a:pt x="847001" y="975533"/>
                </a:moveTo>
                <a:cubicBezTo>
                  <a:pt x="877484" y="975533"/>
                  <a:pt x="902196" y="1000243"/>
                  <a:pt x="902196" y="1030724"/>
                </a:cubicBezTo>
                <a:cubicBezTo>
                  <a:pt x="902196" y="1061205"/>
                  <a:pt x="877484" y="1085915"/>
                  <a:pt x="847001" y="1085915"/>
                </a:cubicBezTo>
                <a:cubicBezTo>
                  <a:pt x="816519" y="1085915"/>
                  <a:pt x="791804" y="1061205"/>
                  <a:pt x="791804" y="1030724"/>
                </a:cubicBezTo>
                <a:cubicBezTo>
                  <a:pt x="791804" y="1000243"/>
                  <a:pt x="816519" y="975533"/>
                  <a:pt x="847001" y="975533"/>
                </a:cubicBezTo>
                <a:close/>
                <a:moveTo>
                  <a:pt x="9336074" y="975532"/>
                </a:moveTo>
                <a:cubicBezTo>
                  <a:pt x="9366556" y="975532"/>
                  <a:pt x="9391266" y="1000242"/>
                  <a:pt x="9391266" y="1030723"/>
                </a:cubicBezTo>
                <a:cubicBezTo>
                  <a:pt x="9391266" y="1061204"/>
                  <a:pt x="9366556" y="1085914"/>
                  <a:pt x="9336074" y="1085914"/>
                </a:cubicBezTo>
                <a:cubicBezTo>
                  <a:pt x="9305592" y="1085914"/>
                  <a:pt x="9280882" y="1061204"/>
                  <a:pt x="9280882" y="1030723"/>
                </a:cubicBezTo>
                <a:cubicBezTo>
                  <a:pt x="9280882" y="1000242"/>
                  <a:pt x="9305592" y="975532"/>
                  <a:pt x="9336074" y="975532"/>
                </a:cubicBezTo>
                <a:close/>
                <a:moveTo>
                  <a:pt x="9199098" y="975532"/>
                </a:moveTo>
                <a:cubicBezTo>
                  <a:pt x="9229580" y="975532"/>
                  <a:pt x="9254290" y="1000242"/>
                  <a:pt x="9254290" y="1030723"/>
                </a:cubicBezTo>
                <a:cubicBezTo>
                  <a:pt x="9254290" y="1061204"/>
                  <a:pt x="9229580" y="1085914"/>
                  <a:pt x="9199098" y="1085914"/>
                </a:cubicBezTo>
                <a:cubicBezTo>
                  <a:pt x="9168616" y="1085914"/>
                  <a:pt x="9143906" y="1061204"/>
                  <a:pt x="9143906" y="1030723"/>
                </a:cubicBezTo>
                <a:cubicBezTo>
                  <a:pt x="9143906" y="1000242"/>
                  <a:pt x="9168616" y="975532"/>
                  <a:pt x="9199098" y="975532"/>
                </a:cubicBezTo>
                <a:close/>
                <a:moveTo>
                  <a:pt x="9068805" y="975532"/>
                </a:moveTo>
                <a:cubicBezTo>
                  <a:pt x="9099287" y="975532"/>
                  <a:pt x="9123997" y="1000242"/>
                  <a:pt x="9123997" y="1030723"/>
                </a:cubicBezTo>
                <a:cubicBezTo>
                  <a:pt x="9123997" y="1061204"/>
                  <a:pt x="9099287" y="1085914"/>
                  <a:pt x="9068805" y="1085914"/>
                </a:cubicBezTo>
                <a:cubicBezTo>
                  <a:pt x="9038323" y="1085914"/>
                  <a:pt x="9013613" y="1061204"/>
                  <a:pt x="9013613" y="1030723"/>
                </a:cubicBezTo>
                <a:cubicBezTo>
                  <a:pt x="9013613" y="1000242"/>
                  <a:pt x="9038323" y="975532"/>
                  <a:pt x="9068805" y="975532"/>
                </a:cubicBezTo>
                <a:close/>
                <a:moveTo>
                  <a:pt x="8801536" y="975532"/>
                </a:moveTo>
                <a:cubicBezTo>
                  <a:pt x="8832018" y="975532"/>
                  <a:pt x="8856728" y="1000242"/>
                  <a:pt x="8856728" y="1030723"/>
                </a:cubicBezTo>
                <a:cubicBezTo>
                  <a:pt x="8856728" y="1061204"/>
                  <a:pt x="8832018" y="1085914"/>
                  <a:pt x="8801536" y="1085914"/>
                </a:cubicBezTo>
                <a:cubicBezTo>
                  <a:pt x="8771054" y="1085914"/>
                  <a:pt x="8746344" y="1061204"/>
                  <a:pt x="8746344" y="1030723"/>
                </a:cubicBezTo>
                <a:cubicBezTo>
                  <a:pt x="8746344" y="1000242"/>
                  <a:pt x="8771054" y="975532"/>
                  <a:pt x="8801536" y="975532"/>
                </a:cubicBezTo>
                <a:close/>
                <a:moveTo>
                  <a:pt x="8671243" y="975532"/>
                </a:moveTo>
                <a:cubicBezTo>
                  <a:pt x="8701725" y="975532"/>
                  <a:pt x="8726435" y="1000242"/>
                  <a:pt x="8726435" y="1030723"/>
                </a:cubicBezTo>
                <a:cubicBezTo>
                  <a:pt x="8726435" y="1061204"/>
                  <a:pt x="8701725" y="1085914"/>
                  <a:pt x="8671243" y="1085914"/>
                </a:cubicBezTo>
                <a:cubicBezTo>
                  <a:pt x="8640761" y="1085914"/>
                  <a:pt x="8616051" y="1061204"/>
                  <a:pt x="8616051" y="1030723"/>
                </a:cubicBezTo>
                <a:cubicBezTo>
                  <a:pt x="8616051" y="1000242"/>
                  <a:pt x="8640761" y="975532"/>
                  <a:pt x="8671243" y="975532"/>
                </a:cubicBezTo>
                <a:close/>
                <a:moveTo>
                  <a:pt x="8537608" y="975532"/>
                </a:moveTo>
                <a:cubicBezTo>
                  <a:pt x="8568090" y="975532"/>
                  <a:pt x="8592800" y="1000242"/>
                  <a:pt x="8592800" y="1030723"/>
                </a:cubicBezTo>
                <a:cubicBezTo>
                  <a:pt x="8592800" y="1061204"/>
                  <a:pt x="8568090" y="1085914"/>
                  <a:pt x="8537608" y="1085914"/>
                </a:cubicBezTo>
                <a:cubicBezTo>
                  <a:pt x="8507126" y="1085914"/>
                  <a:pt x="8482416" y="1061204"/>
                  <a:pt x="8482416" y="1030723"/>
                </a:cubicBezTo>
                <a:cubicBezTo>
                  <a:pt x="8482416" y="1000242"/>
                  <a:pt x="8507126" y="975532"/>
                  <a:pt x="8537608" y="975532"/>
                </a:cubicBezTo>
                <a:close/>
                <a:moveTo>
                  <a:pt x="8273681" y="975532"/>
                </a:moveTo>
                <a:cubicBezTo>
                  <a:pt x="8304163" y="975532"/>
                  <a:pt x="8328873" y="1000242"/>
                  <a:pt x="8328873" y="1030723"/>
                </a:cubicBezTo>
                <a:cubicBezTo>
                  <a:pt x="8328873" y="1061204"/>
                  <a:pt x="8304163" y="1085914"/>
                  <a:pt x="8273681" y="1085914"/>
                </a:cubicBezTo>
                <a:cubicBezTo>
                  <a:pt x="8243199" y="1085914"/>
                  <a:pt x="8218489" y="1061204"/>
                  <a:pt x="8218489" y="1030723"/>
                </a:cubicBezTo>
                <a:cubicBezTo>
                  <a:pt x="8218489" y="1000242"/>
                  <a:pt x="8243199" y="975532"/>
                  <a:pt x="8273681" y="975532"/>
                </a:cubicBezTo>
                <a:close/>
                <a:moveTo>
                  <a:pt x="8143385" y="975532"/>
                </a:moveTo>
                <a:cubicBezTo>
                  <a:pt x="8173867" y="975532"/>
                  <a:pt x="8198577" y="1000242"/>
                  <a:pt x="8198577" y="1030723"/>
                </a:cubicBezTo>
                <a:cubicBezTo>
                  <a:pt x="8198577" y="1061204"/>
                  <a:pt x="8173867" y="1085914"/>
                  <a:pt x="8143385" y="1085914"/>
                </a:cubicBezTo>
                <a:cubicBezTo>
                  <a:pt x="8112903" y="1085914"/>
                  <a:pt x="8088193" y="1061204"/>
                  <a:pt x="8088193" y="1030723"/>
                </a:cubicBezTo>
                <a:cubicBezTo>
                  <a:pt x="8088193" y="1000242"/>
                  <a:pt x="8112903" y="975532"/>
                  <a:pt x="8143385" y="975532"/>
                </a:cubicBezTo>
                <a:close/>
                <a:moveTo>
                  <a:pt x="8009751" y="975532"/>
                </a:moveTo>
                <a:cubicBezTo>
                  <a:pt x="8040233" y="975532"/>
                  <a:pt x="8064943" y="1000242"/>
                  <a:pt x="8064943" y="1030723"/>
                </a:cubicBezTo>
                <a:cubicBezTo>
                  <a:pt x="8064943" y="1061204"/>
                  <a:pt x="8040233" y="1085914"/>
                  <a:pt x="8009751" y="1085914"/>
                </a:cubicBezTo>
                <a:cubicBezTo>
                  <a:pt x="7979269" y="1085914"/>
                  <a:pt x="7954559" y="1061204"/>
                  <a:pt x="7954559" y="1030723"/>
                </a:cubicBezTo>
                <a:cubicBezTo>
                  <a:pt x="7954559" y="1000242"/>
                  <a:pt x="7979269" y="975532"/>
                  <a:pt x="8009751" y="975532"/>
                </a:cubicBezTo>
                <a:close/>
                <a:moveTo>
                  <a:pt x="7608847" y="975532"/>
                </a:moveTo>
                <a:cubicBezTo>
                  <a:pt x="7639329" y="975532"/>
                  <a:pt x="7664039" y="1000242"/>
                  <a:pt x="7664039" y="1030723"/>
                </a:cubicBezTo>
                <a:cubicBezTo>
                  <a:pt x="7664039" y="1061204"/>
                  <a:pt x="7639329" y="1085914"/>
                  <a:pt x="7608847" y="1085914"/>
                </a:cubicBezTo>
                <a:cubicBezTo>
                  <a:pt x="7578365" y="1085914"/>
                  <a:pt x="7553655" y="1061204"/>
                  <a:pt x="7553655" y="1030723"/>
                </a:cubicBezTo>
                <a:cubicBezTo>
                  <a:pt x="7553655" y="1000242"/>
                  <a:pt x="7578365" y="975532"/>
                  <a:pt x="7608847" y="975532"/>
                </a:cubicBezTo>
                <a:close/>
                <a:moveTo>
                  <a:pt x="7080991" y="975532"/>
                </a:moveTo>
                <a:cubicBezTo>
                  <a:pt x="7111473" y="975532"/>
                  <a:pt x="7136183" y="1000242"/>
                  <a:pt x="7136183" y="1030723"/>
                </a:cubicBezTo>
                <a:cubicBezTo>
                  <a:pt x="7136183" y="1061204"/>
                  <a:pt x="7111473" y="1085914"/>
                  <a:pt x="7080991" y="1085914"/>
                </a:cubicBezTo>
                <a:cubicBezTo>
                  <a:pt x="7050509" y="1085914"/>
                  <a:pt x="7025799" y="1061204"/>
                  <a:pt x="7025799" y="1030723"/>
                </a:cubicBezTo>
                <a:cubicBezTo>
                  <a:pt x="7025799" y="1000242"/>
                  <a:pt x="7050509" y="975532"/>
                  <a:pt x="7080991" y="975532"/>
                </a:cubicBezTo>
                <a:close/>
                <a:moveTo>
                  <a:pt x="6553135" y="975532"/>
                </a:moveTo>
                <a:cubicBezTo>
                  <a:pt x="6583617" y="975532"/>
                  <a:pt x="6608327" y="1000242"/>
                  <a:pt x="6608327" y="1030723"/>
                </a:cubicBezTo>
                <a:cubicBezTo>
                  <a:pt x="6608327" y="1061204"/>
                  <a:pt x="6583617" y="1085914"/>
                  <a:pt x="6553135" y="1085914"/>
                </a:cubicBezTo>
                <a:cubicBezTo>
                  <a:pt x="6522653" y="1085914"/>
                  <a:pt x="6497943" y="1061204"/>
                  <a:pt x="6497943" y="1030723"/>
                </a:cubicBezTo>
                <a:cubicBezTo>
                  <a:pt x="6497943" y="1000242"/>
                  <a:pt x="6522653" y="975532"/>
                  <a:pt x="6553135" y="975532"/>
                </a:cubicBezTo>
                <a:close/>
                <a:moveTo>
                  <a:pt x="6419501" y="975532"/>
                </a:moveTo>
                <a:cubicBezTo>
                  <a:pt x="6449983" y="975532"/>
                  <a:pt x="6474693" y="1000242"/>
                  <a:pt x="6474693" y="1030723"/>
                </a:cubicBezTo>
                <a:cubicBezTo>
                  <a:pt x="6474693" y="1061204"/>
                  <a:pt x="6449983" y="1085914"/>
                  <a:pt x="6419501" y="1085914"/>
                </a:cubicBezTo>
                <a:cubicBezTo>
                  <a:pt x="6389019" y="1085914"/>
                  <a:pt x="6364309" y="1061204"/>
                  <a:pt x="6364309" y="1030723"/>
                </a:cubicBezTo>
                <a:cubicBezTo>
                  <a:pt x="6364309" y="1000242"/>
                  <a:pt x="6389019" y="975532"/>
                  <a:pt x="6419501" y="975532"/>
                </a:cubicBezTo>
                <a:close/>
                <a:moveTo>
                  <a:pt x="6155571" y="975532"/>
                </a:moveTo>
                <a:cubicBezTo>
                  <a:pt x="6186053" y="975532"/>
                  <a:pt x="6210763" y="1000242"/>
                  <a:pt x="6210763" y="1030723"/>
                </a:cubicBezTo>
                <a:cubicBezTo>
                  <a:pt x="6210763" y="1061204"/>
                  <a:pt x="6186053" y="1085914"/>
                  <a:pt x="6155571" y="1085914"/>
                </a:cubicBezTo>
                <a:cubicBezTo>
                  <a:pt x="6125089" y="1085914"/>
                  <a:pt x="6100379" y="1061204"/>
                  <a:pt x="6100379" y="1030723"/>
                </a:cubicBezTo>
                <a:cubicBezTo>
                  <a:pt x="6100379" y="1000242"/>
                  <a:pt x="6125089" y="975532"/>
                  <a:pt x="6155571" y="975532"/>
                </a:cubicBezTo>
                <a:close/>
                <a:moveTo>
                  <a:pt x="6021936" y="975532"/>
                </a:moveTo>
                <a:cubicBezTo>
                  <a:pt x="6052418" y="975532"/>
                  <a:pt x="6077128" y="1000242"/>
                  <a:pt x="6077128" y="1030723"/>
                </a:cubicBezTo>
                <a:cubicBezTo>
                  <a:pt x="6077128" y="1061204"/>
                  <a:pt x="6052418" y="1085914"/>
                  <a:pt x="6021936" y="1085914"/>
                </a:cubicBezTo>
                <a:cubicBezTo>
                  <a:pt x="5991454" y="1085914"/>
                  <a:pt x="5966744" y="1061204"/>
                  <a:pt x="5966744" y="1030723"/>
                </a:cubicBezTo>
                <a:cubicBezTo>
                  <a:pt x="5966744" y="1000242"/>
                  <a:pt x="5991454" y="975532"/>
                  <a:pt x="6021936" y="975532"/>
                </a:cubicBezTo>
                <a:close/>
                <a:moveTo>
                  <a:pt x="5884963" y="975532"/>
                </a:moveTo>
                <a:cubicBezTo>
                  <a:pt x="5915445" y="975532"/>
                  <a:pt x="5940155" y="1000242"/>
                  <a:pt x="5940155" y="1030723"/>
                </a:cubicBezTo>
                <a:cubicBezTo>
                  <a:pt x="5940155" y="1061204"/>
                  <a:pt x="5915445" y="1085914"/>
                  <a:pt x="5884963" y="1085914"/>
                </a:cubicBezTo>
                <a:cubicBezTo>
                  <a:pt x="5854481" y="1085914"/>
                  <a:pt x="5829771" y="1061204"/>
                  <a:pt x="5829771" y="1030723"/>
                </a:cubicBezTo>
                <a:cubicBezTo>
                  <a:pt x="5829771" y="1000242"/>
                  <a:pt x="5854481" y="975532"/>
                  <a:pt x="5884963" y="975532"/>
                </a:cubicBezTo>
                <a:close/>
                <a:moveTo>
                  <a:pt x="5621031" y="975532"/>
                </a:moveTo>
                <a:cubicBezTo>
                  <a:pt x="5651513" y="975532"/>
                  <a:pt x="5676223" y="1000242"/>
                  <a:pt x="5676223" y="1030723"/>
                </a:cubicBezTo>
                <a:cubicBezTo>
                  <a:pt x="5676223" y="1061204"/>
                  <a:pt x="5651513" y="1085914"/>
                  <a:pt x="5621031" y="1085914"/>
                </a:cubicBezTo>
                <a:cubicBezTo>
                  <a:pt x="5590549" y="1085914"/>
                  <a:pt x="5565839" y="1061204"/>
                  <a:pt x="5565839" y="1030723"/>
                </a:cubicBezTo>
                <a:cubicBezTo>
                  <a:pt x="5565839" y="1000242"/>
                  <a:pt x="5590549" y="975532"/>
                  <a:pt x="5621031" y="975532"/>
                </a:cubicBezTo>
                <a:close/>
                <a:moveTo>
                  <a:pt x="5223472" y="975532"/>
                </a:moveTo>
                <a:cubicBezTo>
                  <a:pt x="5253954" y="975532"/>
                  <a:pt x="5278664" y="1000242"/>
                  <a:pt x="5278664" y="1030723"/>
                </a:cubicBezTo>
                <a:cubicBezTo>
                  <a:pt x="5278664" y="1061204"/>
                  <a:pt x="5253954" y="1085914"/>
                  <a:pt x="5223472" y="1085914"/>
                </a:cubicBezTo>
                <a:cubicBezTo>
                  <a:pt x="5192990" y="1085914"/>
                  <a:pt x="5168280" y="1061204"/>
                  <a:pt x="5168280" y="1030723"/>
                </a:cubicBezTo>
                <a:cubicBezTo>
                  <a:pt x="5168280" y="1000242"/>
                  <a:pt x="5192990" y="975532"/>
                  <a:pt x="5223472" y="975532"/>
                </a:cubicBezTo>
                <a:close/>
                <a:moveTo>
                  <a:pt x="4294710" y="975532"/>
                </a:moveTo>
                <a:cubicBezTo>
                  <a:pt x="4325192" y="975532"/>
                  <a:pt x="4349902" y="1000242"/>
                  <a:pt x="4349902" y="1030723"/>
                </a:cubicBezTo>
                <a:cubicBezTo>
                  <a:pt x="4349902" y="1061204"/>
                  <a:pt x="4325192" y="1085914"/>
                  <a:pt x="4294710" y="1085914"/>
                </a:cubicBezTo>
                <a:cubicBezTo>
                  <a:pt x="4264228" y="1085914"/>
                  <a:pt x="4239518" y="1061204"/>
                  <a:pt x="4239518" y="1030723"/>
                </a:cubicBezTo>
                <a:cubicBezTo>
                  <a:pt x="4239518" y="1000242"/>
                  <a:pt x="4264228" y="975532"/>
                  <a:pt x="4294710" y="975532"/>
                </a:cubicBezTo>
                <a:close/>
                <a:moveTo>
                  <a:pt x="3499584" y="975532"/>
                </a:moveTo>
                <a:cubicBezTo>
                  <a:pt x="3530066" y="975532"/>
                  <a:pt x="3554776" y="1000242"/>
                  <a:pt x="3554776" y="1030723"/>
                </a:cubicBezTo>
                <a:cubicBezTo>
                  <a:pt x="3554776" y="1061204"/>
                  <a:pt x="3530066" y="1085914"/>
                  <a:pt x="3499584" y="1085914"/>
                </a:cubicBezTo>
                <a:cubicBezTo>
                  <a:pt x="3469102" y="1085914"/>
                  <a:pt x="3444392" y="1061204"/>
                  <a:pt x="3444392" y="1030723"/>
                </a:cubicBezTo>
                <a:cubicBezTo>
                  <a:pt x="3444392" y="1000242"/>
                  <a:pt x="3469102" y="975532"/>
                  <a:pt x="3499584" y="975532"/>
                </a:cubicBezTo>
                <a:close/>
                <a:moveTo>
                  <a:pt x="2834836" y="975532"/>
                </a:moveTo>
                <a:cubicBezTo>
                  <a:pt x="2865318" y="975532"/>
                  <a:pt x="2890028" y="1000242"/>
                  <a:pt x="2890028" y="1030723"/>
                </a:cubicBezTo>
                <a:cubicBezTo>
                  <a:pt x="2890028" y="1061204"/>
                  <a:pt x="2865318" y="1085914"/>
                  <a:pt x="2834836" y="1085914"/>
                </a:cubicBezTo>
                <a:cubicBezTo>
                  <a:pt x="2804354" y="1085914"/>
                  <a:pt x="2779643" y="1061204"/>
                  <a:pt x="2779643" y="1030723"/>
                </a:cubicBezTo>
                <a:cubicBezTo>
                  <a:pt x="2779643" y="1000242"/>
                  <a:pt x="2804354" y="975532"/>
                  <a:pt x="2834836" y="975532"/>
                </a:cubicBezTo>
                <a:close/>
                <a:moveTo>
                  <a:pt x="2303639" y="975532"/>
                </a:moveTo>
                <a:cubicBezTo>
                  <a:pt x="2334120" y="975532"/>
                  <a:pt x="2358830" y="1000242"/>
                  <a:pt x="2358830" y="1030723"/>
                </a:cubicBezTo>
                <a:cubicBezTo>
                  <a:pt x="2358830" y="1061204"/>
                  <a:pt x="2334120" y="1085914"/>
                  <a:pt x="2303639" y="1085914"/>
                </a:cubicBezTo>
                <a:cubicBezTo>
                  <a:pt x="2273157" y="1085914"/>
                  <a:pt x="2248448" y="1061204"/>
                  <a:pt x="2248448" y="1030723"/>
                </a:cubicBezTo>
                <a:cubicBezTo>
                  <a:pt x="2248448" y="1000242"/>
                  <a:pt x="2273157" y="975532"/>
                  <a:pt x="2303639" y="975532"/>
                </a:cubicBezTo>
                <a:close/>
                <a:moveTo>
                  <a:pt x="2039712" y="975532"/>
                </a:moveTo>
                <a:cubicBezTo>
                  <a:pt x="2070195" y="975532"/>
                  <a:pt x="2094905" y="1000242"/>
                  <a:pt x="2094905" y="1030723"/>
                </a:cubicBezTo>
                <a:cubicBezTo>
                  <a:pt x="2094905" y="1061204"/>
                  <a:pt x="2070195" y="1085914"/>
                  <a:pt x="2039712" y="1085914"/>
                </a:cubicBezTo>
                <a:cubicBezTo>
                  <a:pt x="2009228" y="1085914"/>
                  <a:pt x="1984518" y="1061204"/>
                  <a:pt x="1984518" y="1030723"/>
                </a:cubicBezTo>
                <a:cubicBezTo>
                  <a:pt x="1984518" y="1000242"/>
                  <a:pt x="2009228" y="975532"/>
                  <a:pt x="2039712" y="975532"/>
                </a:cubicBezTo>
                <a:close/>
                <a:moveTo>
                  <a:pt x="1909414" y="975532"/>
                </a:moveTo>
                <a:cubicBezTo>
                  <a:pt x="1939897" y="975532"/>
                  <a:pt x="1964607" y="1000242"/>
                  <a:pt x="1964607" y="1030723"/>
                </a:cubicBezTo>
                <a:cubicBezTo>
                  <a:pt x="1964607" y="1061204"/>
                  <a:pt x="1939897" y="1085914"/>
                  <a:pt x="1909414" y="1085914"/>
                </a:cubicBezTo>
                <a:cubicBezTo>
                  <a:pt x="1878931" y="1085914"/>
                  <a:pt x="1854220" y="1061204"/>
                  <a:pt x="1854220" y="1030723"/>
                </a:cubicBezTo>
                <a:cubicBezTo>
                  <a:pt x="1854220" y="1000242"/>
                  <a:pt x="1878931" y="975532"/>
                  <a:pt x="1909414" y="975532"/>
                </a:cubicBezTo>
                <a:close/>
                <a:moveTo>
                  <a:pt x="1779117" y="975532"/>
                </a:moveTo>
                <a:cubicBezTo>
                  <a:pt x="1809599" y="975532"/>
                  <a:pt x="1834310" y="1000242"/>
                  <a:pt x="1834310" y="1030723"/>
                </a:cubicBezTo>
                <a:cubicBezTo>
                  <a:pt x="1834310" y="1061204"/>
                  <a:pt x="1809599" y="1085914"/>
                  <a:pt x="1779117" y="1085914"/>
                </a:cubicBezTo>
                <a:cubicBezTo>
                  <a:pt x="1748635" y="1085914"/>
                  <a:pt x="1723923" y="1061204"/>
                  <a:pt x="1723923" y="1030723"/>
                </a:cubicBezTo>
                <a:cubicBezTo>
                  <a:pt x="1723923" y="1000242"/>
                  <a:pt x="1748635" y="975532"/>
                  <a:pt x="1779117" y="975532"/>
                </a:cubicBezTo>
                <a:close/>
                <a:moveTo>
                  <a:pt x="1645480" y="975532"/>
                </a:moveTo>
                <a:cubicBezTo>
                  <a:pt x="1675963" y="975532"/>
                  <a:pt x="1700679" y="1000242"/>
                  <a:pt x="1700679" y="1030723"/>
                </a:cubicBezTo>
                <a:cubicBezTo>
                  <a:pt x="1700679" y="1061204"/>
                  <a:pt x="1675963" y="1085914"/>
                  <a:pt x="1645480" y="1085914"/>
                </a:cubicBezTo>
                <a:cubicBezTo>
                  <a:pt x="1615000" y="1085914"/>
                  <a:pt x="1590287" y="1061204"/>
                  <a:pt x="1590287" y="1030723"/>
                </a:cubicBezTo>
                <a:cubicBezTo>
                  <a:pt x="1590287" y="1000242"/>
                  <a:pt x="1615000" y="975532"/>
                  <a:pt x="1645480" y="975532"/>
                </a:cubicBezTo>
                <a:close/>
                <a:moveTo>
                  <a:pt x="1515189" y="975532"/>
                </a:moveTo>
                <a:cubicBezTo>
                  <a:pt x="1545668" y="975532"/>
                  <a:pt x="1570378" y="1000242"/>
                  <a:pt x="1570378" y="1030723"/>
                </a:cubicBezTo>
                <a:cubicBezTo>
                  <a:pt x="1570378" y="1061204"/>
                  <a:pt x="1545668" y="1085914"/>
                  <a:pt x="1515189" y="1085914"/>
                </a:cubicBezTo>
                <a:cubicBezTo>
                  <a:pt x="1484708" y="1085914"/>
                  <a:pt x="1459995" y="1061204"/>
                  <a:pt x="1459995" y="1030723"/>
                </a:cubicBezTo>
                <a:cubicBezTo>
                  <a:pt x="1459995" y="1000242"/>
                  <a:pt x="1484708" y="975532"/>
                  <a:pt x="1515189" y="975532"/>
                </a:cubicBezTo>
                <a:close/>
                <a:moveTo>
                  <a:pt x="1381549" y="975532"/>
                </a:moveTo>
                <a:cubicBezTo>
                  <a:pt x="1412033" y="975532"/>
                  <a:pt x="1436744" y="1000242"/>
                  <a:pt x="1436744" y="1030723"/>
                </a:cubicBezTo>
                <a:cubicBezTo>
                  <a:pt x="1436744" y="1061204"/>
                  <a:pt x="1412033" y="1085914"/>
                  <a:pt x="1381549" y="1085914"/>
                </a:cubicBezTo>
                <a:cubicBezTo>
                  <a:pt x="1351074" y="1085914"/>
                  <a:pt x="1326361" y="1061204"/>
                  <a:pt x="1326361" y="1030723"/>
                </a:cubicBezTo>
                <a:cubicBezTo>
                  <a:pt x="1326361" y="1000242"/>
                  <a:pt x="1351074" y="975532"/>
                  <a:pt x="1381549" y="975532"/>
                </a:cubicBezTo>
                <a:close/>
                <a:moveTo>
                  <a:pt x="1117621" y="975532"/>
                </a:moveTo>
                <a:cubicBezTo>
                  <a:pt x="1148103" y="975532"/>
                  <a:pt x="1172814" y="1000242"/>
                  <a:pt x="1172814" y="1030723"/>
                </a:cubicBezTo>
                <a:cubicBezTo>
                  <a:pt x="1172814" y="1061204"/>
                  <a:pt x="1148103" y="1085914"/>
                  <a:pt x="1117621" y="1085914"/>
                </a:cubicBezTo>
                <a:cubicBezTo>
                  <a:pt x="1087137" y="1085914"/>
                  <a:pt x="1062427" y="1061204"/>
                  <a:pt x="1062427" y="1030723"/>
                </a:cubicBezTo>
                <a:cubicBezTo>
                  <a:pt x="1062427" y="1000242"/>
                  <a:pt x="1087137" y="975532"/>
                  <a:pt x="1117621" y="975532"/>
                </a:cubicBezTo>
                <a:close/>
                <a:moveTo>
                  <a:pt x="980643" y="975532"/>
                </a:moveTo>
                <a:cubicBezTo>
                  <a:pt x="1011125" y="975532"/>
                  <a:pt x="1035836" y="1000242"/>
                  <a:pt x="1035836" y="1030723"/>
                </a:cubicBezTo>
                <a:cubicBezTo>
                  <a:pt x="1035836" y="1061204"/>
                  <a:pt x="1011125" y="1085914"/>
                  <a:pt x="980643" y="1085914"/>
                </a:cubicBezTo>
                <a:cubicBezTo>
                  <a:pt x="950159" y="1085914"/>
                  <a:pt x="925449" y="1061204"/>
                  <a:pt x="925449" y="1030723"/>
                </a:cubicBezTo>
                <a:cubicBezTo>
                  <a:pt x="925449" y="1000242"/>
                  <a:pt x="950159" y="975532"/>
                  <a:pt x="980643" y="975532"/>
                </a:cubicBezTo>
                <a:close/>
                <a:moveTo>
                  <a:pt x="716703" y="975532"/>
                </a:moveTo>
                <a:cubicBezTo>
                  <a:pt x="747185" y="975532"/>
                  <a:pt x="771897" y="1000242"/>
                  <a:pt x="771897" y="1030723"/>
                </a:cubicBezTo>
                <a:cubicBezTo>
                  <a:pt x="771897" y="1061204"/>
                  <a:pt x="747185" y="1085914"/>
                  <a:pt x="716703" y="1085914"/>
                </a:cubicBezTo>
                <a:cubicBezTo>
                  <a:pt x="686222" y="1085914"/>
                  <a:pt x="661511" y="1061204"/>
                  <a:pt x="661511" y="1030723"/>
                </a:cubicBezTo>
                <a:cubicBezTo>
                  <a:pt x="661511" y="1000242"/>
                  <a:pt x="686222" y="975532"/>
                  <a:pt x="716703" y="975532"/>
                </a:cubicBezTo>
                <a:close/>
                <a:moveTo>
                  <a:pt x="583065" y="975532"/>
                </a:moveTo>
                <a:cubicBezTo>
                  <a:pt x="613549" y="975532"/>
                  <a:pt x="638258" y="1000242"/>
                  <a:pt x="638258" y="1030723"/>
                </a:cubicBezTo>
                <a:cubicBezTo>
                  <a:pt x="638258" y="1061204"/>
                  <a:pt x="613549" y="1085914"/>
                  <a:pt x="583065" y="1085914"/>
                </a:cubicBezTo>
                <a:cubicBezTo>
                  <a:pt x="552583" y="1085914"/>
                  <a:pt x="527871" y="1061204"/>
                  <a:pt x="527871" y="1030723"/>
                </a:cubicBezTo>
                <a:cubicBezTo>
                  <a:pt x="527871" y="1000242"/>
                  <a:pt x="552583" y="975532"/>
                  <a:pt x="583065" y="975532"/>
                </a:cubicBezTo>
                <a:close/>
                <a:moveTo>
                  <a:pt x="449419" y="975532"/>
                </a:moveTo>
                <a:cubicBezTo>
                  <a:pt x="479902" y="975532"/>
                  <a:pt x="504612" y="1000242"/>
                  <a:pt x="504612" y="1030723"/>
                </a:cubicBezTo>
                <a:cubicBezTo>
                  <a:pt x="504612" y="1061204"/>
                  <a:pt x="479902" y="1085914"/>
                  <a:pt x="449419" y="1085914"/>
                </a:cubicBezTo>
                <a:cubicBezTo>
                  <a:pt x="418936" y="1085914"/>
                  <a:pt x="394227" y="1061204"/>
                  <a:pt x="394227" y="1030723"/>
                </a:cubicBezTo>
                <a:cubicBezTo>
                  <a:pt x="394227" y="1000242"/>
                  <a:pt x="418936" y="975532"/>
                  <a:pt x="449419" y="975532"/>
                </a:cubicBezTo>
                <a:close/>
                <a:moveTo>
                  <a:pt x="319124" y="975532"/>
                </a:moveTo>
                <a:cubicBezTo>
                  <a:pt x="349606" y="975532"/>
                  <a:pt x="374317" y="1000242"/>
                  <a:pt x="374317" y="1030723"/>
                </a:cubicBezTo>
                <a:cubicBezTo>
                  <a:pt x="374317" y="1061204"/>
                  <a:pt x="349606" y="1085914"/>
                  <a:pt x="319124" y="1085914"/>
                </a:cubicBezTo>
                <a:cubicBezTo>
                  <a:pt x="288640" y="1085914"/>
                  <a:pt x="263931" y="1061204"/>
                  <a:pt x="263931" y="1030723"/>
                </a:cubicBezTo>
                <a:cubicBezTo>
                  <a:pt x="263931" y="1000242"/>
                  <a:pt x="288640" y="975532"/>
                  <a:pt x="319124" y="975532"/>
                </a:cubicBezTo>
                <a:close/>
                <a:moveTo>
                  <a:pt x="185492" y="975532"/>
                </a:moveTo>
                <a:cubicBezTo>
                  <a:pt x="215972" y="975532"/>
                  <a:pt x="240682" y="1000242"/>
                  <a:pt x="240682" y="1030723"/>
                </a:cubicBezTo>
                <a:cubicBezTo>
                  <a:pt x="240682" y="1061204"/>
                  <a:pt x="215972" y="1085914"/>
                  <a:pt x="185492" y="1085914"/>
                </a:cubicBezTo>
                <a:cubicBezTo>
                  <a:pt x="155010" y="1085914"/>
                  <a:pt x="130299" y="1061204"/>
                  <a:pt x="130299" y="1030723"/>
                </a:cubicBezTo>
                <a:cubicBezTo>
                  <a:pt x="130299" y="1000242"/>
                  <a:pt x="155010" y="975532"/>
                  <a:pt x="185492" y="975532"/>
                </a:cubicBezTo>
                <a:close/>
                <a:moveTo>
                  <a:pt x="55197" y="975532"/>
                </a:moveTo>
                <a:cubicBezTo>
                  <a:pt x="85679" y="975532"/>
                  <a:pt x="110388" y="1000242"/>
                  <a:pt x="110388" y="1030723"/>
                </a:cubicBezTo>
                <a:cubicBezTo>
                  <a:pt x="110388" y="1061204"/>
                  <a:pt x="85679" y="1085914"/>
                  <a:pt x="55197" y="1085914"/>
                </a:cubicBezTo>
                <a:cubicBezTo>
                  <a:pt x="24715" y="1085914"/>
                  <a:pt x="7" y="1061204"/>
                  <a:pt x="7" y="1030723"/>
                </a:cubicBezTo>
                <a:cubicBezTo>
                  <a:pt x="7" y="1000242"/>
                  <a:pt x="24715" y="975532"/>
                  <a:pt x="55197" y="975532"/>
                </a:cubicBezTo>
                <a:close/>
                <a:moveTo>
                  <a:pt x="9469710" y="855263"/>
                </a:moveTo>
                <a:cubicBezTo>
                  <a:pt x="9500192" y="855263"/>
                  <a:pt x="9524902" y="879973"/>
                  <a:pt x="9524902" y="910454"/>
                </a:cubicBezTo>
                <a:cubicBezTo>
                  <a:pt x="9524902" y="940935"/>
                  <a:pt x="9500192" y="965645"/>
                  <a:pt x="9469710" y="965645"/>
                </a:cubicBezTo>
                <a:cubicBezTo>
                  <a:pt x="9439228" y="965645"/>
                  <a:pt x="9414518" y="940935"/>
                  <a:pt x="9414518" y="910454"/>
                </a:cubicBezTo>
                <a:cubicBezTo>
                  <a:pt x="9414518" y="879973"/>
                  <a:pt x="9439228" y="855263"/>
                  <a:pt x="9469710" y="855263"/>
                </a:cubicBezTo>
                <a:close/>
                <a:moveTo>
                  <a:pt x="9336075" y="855263"/>
                </a:moveTo>
                <a:cubicBezTo>
                  <a:pt x="9366557" y="855263"/>
                  <a:pt x="9391267" y="879973"/>
                  <a:pt x="9391267" y="910454"/>
                </a:cubicBezTo>
                <a:cubicBezTo>
                  <a:pt x="9391267" y="940935"/>
                  <a:pt x="9366557" y="965645"/>
                  <a:pt x="9336075" y="965645"/>
                </a:cubicBezTo>
                <a:cubicBezTo>
                  <a:pt x="9305593" y="965645"/>
                  <a:pt x="9280883" y="940935"/>
                  <a:pt x="9280883" y="910454"/>
                </a:cubicBezTo>
                <a:cubicBezTo>
                  <a:pt x="9280883" y="879973"/>
                  <a:pt x="9305593" y="855263"/>
                  <a:pt x="9336075" y="855263"/>
                </a:cubicBezTo>
                <a:close/>
                <a:moveTo>
                  <a:pt x="9199100" y="855263"/>
                </a:moveTo>
                <a:cubicBezTo>
                  <a:pt x="9229582" y="855263"/>
                  <a:pt x="9254292" y="879973"/>
                  <a:pt x="9254292" y="910454"/>
                </a:cubicBezTo>
                <a:cubicBezTo>
                  <a:pt x="9254292" y="940935"/>
                  <a:pt x="9229582" y="965645"/>
                  <a:pt x="9199100" y="965645"/>
                </a:cubicBezTo>
                <a:cubicBezTo>
                  <a:pt x="9168618" y="965645"/>
                  <a:pt x="9143908" y="940935"/>
                  <a:pt x="9143908" y="910454"/>
                </a:cubicBezTo>
                <a:cubicBezTo>
                  <a:pt x="9143908" y="879973"/>
                  <a:pt x="9168618" y="855263"/>
                  <a:pt x="9199100" y="855263"/>
                </a:cubicBezTo>
                <a:close/>
                <a:moveTo>
                  <a:pt x="9068806" y="855263"/>
                </a:moveTo>
                <a:cubicBezTo>
                  <a:pt x="9099288" y="855263"/>
                  <a:pt x="9123998" y="879973"/>
                  <a:pt x="9123998" y="910454"/>
                </a:cubicBezTo>
                <a:cubicBezTo>
                  <a:pt x="9123998" y="940935"/>
                  <a:pt x="9099288" y="965645"/>
                  <a:pt x="9068806" y="965645"/>
                </a:cubicBezTo>
                <a:cubicBezTo>
                  <a:pt x="9038324" y="965645"/>
                  <a:pt x="9013614" y="940935"/>
                  <a:pt x="9013614" y="910454"/>
                </a:cubicBezTo>
                <a:cubicBezTo>
                  <a:pt x="9013614" y="879973"/>
                  <a:pt x="9038324" y="855263"/>
                  <a:pt x="9068806" y="855263"/>
                </a:cubicBezTo>
                <a:close/>
                <a:moveTo>
                  <a:pt x="8935170" y="855263"/>
                </a:moveTo>
                <a:cubicBezTo>
                  <a:pt x="8965652" y="855263"/>
                  <a:pt x="8990362" y="879973"/>
                  <a:pt x="8990362" y="910454"/>
                </a:cubicBezTo>
                <a:cubicBezTo>
                  <a:pt x="8990362" y="940935"/>
                  <a:pt x="8965652" y="965645"/>
                  <a:pt x="8935170" y="965645"/>
                </a:cubicBezTo>
                <a:cubicBezTo>
                  <a:pt x="8904688" y="965645"/>
                  <a:pt x="8879978" y="940935"/>
                  <a:pt x="8879978" y="910454"/>
                </a:cubicBezTo>
                <a:cubicBezTo>
                  <a:pt x="8879978" y="879973"/>
                  <a:pt x="8904688" y="855263"/>
                  <a:pt x="8935170" y="855263"/>
                </a:cubicBezTo>
                <a:close/>
                <a:moveTo>
                  <a:pt x="8801536" y="855263"/>
                </a:moveTo>
                <a:cubicBezTo>
                  <a:pt x="8832018" y="855263"/>
                  <a:pt x="8856728" y="879973"/>
                  <a:pt x="8856728" y="910454"/>
                </a:cubicBezTo>
                <a:cubicBezTo>
                  <a:pt x="8856728" y="940935"/>
                  <a:pt x="8832018" y="965645"/>
                  <a:pt x="8801536" y="965645"/>
                </a:cubicBezTo>
                <a:cubicBezTo>
                  <a:pt x="8771054" y="965645"/>
                  <a:pt x="8746344" y="940935"/>
                  <a:pt x="8746344" y="910454"/>
                </a:cubicBezTo>
                <a:cubicBezTo>
                  <a:pt x="8746344" y="879973"/>
                  <a:pt x="8771054" y="855263"/>
                  <a:pt x="8801536" y="855263"/>
                </a:cubicBezTo>
                <a:close/>
                <a:moveTo>
                  <a:pt x="8671243" y="855263"/>
                </a:moveTo>
                <a:cubicBezTo>
                  <a:pt x="8701725" y="855263"/>
                  <a:pt x="8726435" y="879973"/>
                  <a:pt x="8726435" y="910454"/>
                </a:cubicBezTo>
                <a:cubicBezTo>
                  <a:pt x="8726435" y="940935"/>
                  <a:pt x="8701725" y="965645"/>
                  <a:pt x="8671243" y="965645"/>
                </a:cubicBezTo>
                <a:cubicBezTo>
                  <a:pt x="8640761" y="965645"/>
                  <a:pt x="8616051" y="940935"/>
                  <a:pt x="8616051" y="910454"/>
                </a:cubicBezTo>
                <a:cubicBezTo>
                  <a:pt x="8616051" y="879973"/>
                  <a:pt x="8640761" y="855263"/>
                  <a:pt x="8671243" y="855263"/>
                </a:cubicBezTo>
                <a:close/>
                <a:moveTo>
                  <a:pt x="8537609" y="855263"/>
                </a:moveTo>
                <a:cubicBezTo>
                  <a:pt x="8568091" y="855263"/>
                  <a:pt x="8592801" y="879973"/>
                  <a:pt x="8592801" y="910454"/>
                </a:cubicBezTo>
                <a:cubicBezTo>
                  <a:pt x="8592801" y="940935"/>
                  <a:pt x="8568091" y="965645"/>
                  <a:pt x="8537609" y="965645"/>
                </a:cubicBezTo>
                <a:cubicBezTo>
                  <a:pt x="8507127" y="965645"/>
                  <a:pt x="8482417" y="940935"/>
                  <a:pt x="8482417" y="910454"/>
                </a:cubicBezTo>
                <a:cubicBezTo>
                  <a:pt x="8482417" y="879973"/>
                  <a:pt x="8507127" y="855263"/>
                  <a:pt x="8537609" y="855263"/>
                </a:cubicBezTo>
                <a:close/>
                <a:moveTo>
                  <a:pt x="8407315" y="855263"/>
                </a:moveTo>
                <a:cubicBezTo>
                  <a:pt x="8437797" y="855263"/>
                  <a:pt x="8462507" y="879973"/>
                  <a:pt x="8462507" y="910454"/>
                </a:cubicBezTo>
                <a:cubicBezTo>
                  <a:pt x="8462507" y="940935"/>
                  <a:pt x="8437797" y="965645"/>
                  <a:pt x="8407315" y="965645"/>
                </a:cubicBezTo>
                <a:cubicBezTo>
                  <a:pt x="8376833" y="965645"/>
                  <a:pt x="8352123" y="940935"/>
                  <a:pt x="8352123" y="910454"/>
                </a:cubicBezTo>
                <a:cubicBezTo>
                  <a:pt x="8352123" y="879973"/>
                  <a:pt x="8376833" y="855263"/>
                  <a:pt x="8407315" y="855263"/>
                </a:cubicBezTo>
                <a:close/>
                <a:moveTo>
                  <a:pt x="8273681" y="855263"/>
                </a:moveTo>
                <a:cubicBezTo>
                  <a:pt x="8304163" y="855263"/>
                  <a:pt x="8328873" y="879973"/>
                  <a:pt x="8328873" y="910454"/>
                </a:cubicBezTo>
                <a:cubicBezTo>
                  <a:pt x="8328873" y="940935"/>
                  <a:pt x="8304163" y="965645"/>
                  <a:pt x="8273681" y="965645"/>
                </a:cubicBezTo>
                <a:cubicBezTo>
                  <a:pt x="8243199" y="965645"/>
                  <a:pt x="8218489" y="940935"/>
                  <a:pt x="8218489" y="910454"/>
                </a:cubicBezTo>
                <a:cubicBezTo>
                  <a:pt x="8218489" y="879973"/>
                  <a:pt x="8243199" y="855263"/>
                  <a:pt x="8273681" y="855263"/>
                </a:cubicBezTo>
                <a:close/>
                <a:moveTo>
                  <a:pt x="8143386" y="855263"/>
                </a:moveTo>
                <a:cubicBezTo>
                  <a:pt x="8173868" y="855263"/>
                  <a:pt x="8198578" y="879973"/>
                  <a:pt x="8198578" y="910454"/>
                </a:cubicBezTo>
                <a:cubicBezTo>
                  <a:pt x="8198578" y="940935"/>
                  <a:pt x="8173868" y="965645"/>
                  <a:pt x="8143386" y="965645"/>
                </a:cubicBezTo>
                <a:cubicBezTo>
                  <a:pt x="8112904" y="965645"/>
                  <a:pt x="8088194" y="940935"/>
                  <a:pt x="8088194" y="910454"/>
                </a:cubicBezTo>
                <a:cubicBezTo>
                  <a:pt x="8088194" y="879973"/>
                  <a:pt x="8112904" y="855263"/>
                  <a:pt x="8143386" y="855263"/>
                </a:cubicBezTo>
                <a:close/>
                <a:moveTo>
                  <a:pt x="8009752" y="855263"/>
                </a:moveTo>
                <a:cubicBezTo>
                  <a:pt x="8040234" y="855263"/>
                  <a:pt x="8064944" y="879973"/>
                  <a:pt x="8064944" y="910454"/>
                </a:cubicBezTo>
                <a:cubicBezTo>
                  <a:pt x="8064944" y="940935"/>
                  <a:pt x="8040234" y="965645"/>
                  <a:pt x="8009752" y="965645"/>
                </a:cubicBezTo>
                <a:cubicBezTo>
                  <a:pt x="7979270" y="965645"/>
                  <a:pt x="7954560" y="940935"/>
                  <a:pt x="7954560" y="910454"/>
                </a:cubicBezTo>
                <a:cubicBezTo>
                  <a:pt x="7954560" y="879973"/>
                  <a:pt x="7979270" y="855263"/>
                  <a:pt x="8009752" y="855263"/>
                </a:cubicBezTo>
                <a:close/>
                <a:moveTo>
                  <a:pt x="7876117" y="855263"/>
                </a:moveTo>
                <a:cubicBezTo>
                  <a:pt x="7906599" y="855263"/>
                  <a:pt x="7931309" y="879973"/>
                  <a:pt x="7931309" y="910454"/>
                </a:cubicBezTo>
                <a:cubicBezTo>
                  <a:pt x="7931309" y="940935"/>
                  <a:pt x="7906599" y="965645"/>
                  <a:pt x="7876117" y="965645"/>
                </a:cubicBezTo>
                <a:cubicBezTo>
                  <a:pt x="7845635" y="965645"/>
                  <a:pt x="7820925" y="940935"/>
                  <a:pt x="7820925" y="910454"/>
                </a:cubicBezTo>
                <a:cubicBezTo>
                  <a:pt x="7820925" y="879973"/>
                  <a:pt x="7845635" y="855263"/>
                  <a:pt x="7876117" y="855263"/>
                </a:cubicBezTo>
                <a:close/>
                <a:moveTo>
                  <a:pt x="7745822" y="855263"/>
                </a:moveTo>
                <a:cubicBezTo>
                  <a:pt x="7776304" y="855263"/>
                  <a:pt x="7801014" y="879973"/>
                  <a:pt x="7801014" y="910454"/>
                </a:cubicBezTo>
                <a:cubicBezTo>
                  <a:pt x="7801014" y="940935"/>
                  <a:pt x="7776304" y="965645"/>
                  <a:pt x="7745822" y="965645"/>
                </a:cubicBezTo>
                <a:cubicBezTo>
                  <a:pt x="7715340" y="965645"/>
                  <a:pt x="7690630" y="940935"/>
                  <a:pt x="7690630" y="910454"/>
                </a:cubicBezTo>
                <a:cubicBezTo>
                  <a:pt x="7690630" y="879973"/>
                  <a:pt x="7715340" y="855263"/>
                  <a:pt x="7745822" y="855263"/>
                </a:cubicBezTo>
                <a:close/>
                <a:moveTo>
                  <a:pt x="7608849" y="855263"/>
                </a:moveTo>
                <a:cubicBezTo>
                  <a:pt x="7639331" y="855263"/>
                  <a:pt x="7664041" y="879973"/>
                  <a:pt x="7664041" y="910454"/>
                </a:cubicBezTo>
                <a:cubicBezTo>
                  <a:pt x="7664041" y="940935"/>
                  <a:pt x="7639331" y="965645"/>
                  <a:pt x="7608849" y="965645"/>
                </a:cubicBezTo>
                <a:cubicBezTo>
                  <a:pt x="7578367" y="965645"/>
                  <a:pt x="7553657" y="940935"/>
                  <a:pt x="7553657" y="910454"/>
                </a:cubicBezTo>
                <a:cubicBezTo>
                  <a:pt x="7553657" y="879973"/>
                  <a:pt x="7578367" y="855263"/>
                  <a:pt x="7608849" y="855263"/>
                </a:cubicBezTo>
                <a:close/>
                <a:moveTo>
                  <a:pt x="7481895" y="855263"/>
                </a:moveTo>
                <a:cubicBezTo>
                  <a:pt x="7512377" y="855263"/>
                  <a:pt x="7537087" y="879973"/>
                  <a:pt x="7537087" y="910454"/>
                </a:cubicBezTo>
                <a:cubicBezTo>
                  <a:pt x="7537087" y="940935"/>
                  <a:pt x="7512377" y="965645"/>
                  <a:pt x="7481895" y="965645"/>
                </a:cubicBezTo>
                <a:cubicBezTo>
                  <a:pt x="7451413" y="965645"/>
                  <a:pt x="7426703" y="940935"/>
                  <a:pt x="7426703" y="910454"/>
                </a:cubicBezTo>
                <a:cubicBezTo>
                  <a:pt x="7426703" y="879973"/>
                  <a:pt x="7451413" y="855263"/>
                  <a:pt x="7481895" y="855263"/>
                </a:cubicBezTo>
                <a:close/>
                <a:moveTo>
                  <a:pt x="7341578" y="855263"/>
                </a:moveTo>
                <a:cubicBezTo>
                  <a:pt x="7372060" y="855263"/>
                  <a:pt x="7396770" y="879973"/>
                  <a:pt x="7396770" y="910454"/>
                </a:cubicBezTo>
                <a:cubicBezTo>
                  <a:pt x="7396770" y="940935"/>
                  <a:pt x="7372060" y="965645"/>
                  <a:pt x="7341578" y="965645"/>
                </a:cubicBezTo>
                <a:cubicBezTo>
                  <a:pt x="7311096" y="965645"/>
                  <a:pt x="7286386" y="940935"/>
                  <a:pt x="7286386" y="910454"/>
                </a:cubicBezTo>
                <a:cubicBezTo>
                  <a:pt x="7286386" y="879973"/>
                  <a:pt x="7311096" y="855263"/>
                  <a:pt x="7341578" y="855263"/>
                </a:cubicBezTo>
                <a:close/>
                <a:moveTo>
                  <a:pt x="7211285" y="855263"/>
                </a:moveTo>
                <a:cubicBezTo>
                  <a:pt x="7241767" y="855263"/>
                  <a:pt x="7266477" y="879973"/>
                  <a:pt x="7266477" y="910454"/>
                </a:cubicBezTo>
                <a:cubicBezTo>
                  <a:pt x="7266477" y="940935"/>
                  <a:pt x="7241767" y="965645"/>
                  <a:pt x="7211285" y="965645"/>
                </a:cubicBezTo>
                <a:cubicBezTo>
                  <a:pt x="7180803" y="965645"/>
                  <a:pt x="7156093" y="940935"/>
                  <a:pt x="7156093" y="910454"/>
                </a:cubicBezTo>
                <a:cubicBezTo>
                  <a:pt x="7156093" y="879973"/>
                  <a:pt x="7180803" y="855263"/>
                  <a:pt x="7211285" y="855263"/>
                </a:cubicBezTo>
                <a:close/>
                <a:moveTo>
                  <a:pt x="7080993" y="855263"/>
                </a:moveTo>
                <a:cubicBezTo>
                  <a:pt x="7111475" y="855263"/>
                  <a:pt x="7136185" y="879973"/>
                  <a:pt x="7136185" y="910454"/>
                </a:cubicBezTo>
                <a:cubicBezTo>
                  <a:pt x="7136185" y="940935"/>
                  <a:pt x="7111475" y="965645"/>
                  <a:pt x="7080993" y="965645"/>
                </a:cubicBezTo>
                <a:cubicBezTo>
                  <a:pt x="7050511" y="965645"/>
                  <a:pt x="7025801" y="940935"/>
                  <a:pt x="7025801" y="910454"/>
                </a:cubicBezTo>
                <a:cubicBezTo>
                  <a:pt x="7025801" y="879973"/>
                  <a:pt x="7050511" y="855263"/>
                  <a:pt x="7080993" y="855263"/>
                </a:cubicBezTo>
                <a:close/>
                <a:moveTo>
                  <a:pt x="6947357" y="855263"/>
                </a:moveTo>
                <a:cubicBezTo>
                  <a:pt x="6977839" y="855263"/>
                  <a:pt x="7002549" y="879973"/>
                  <a:pt x="7002549" y="910454"/>
                </a:cubicBezTo>
                <a:cubicBezTo>
                  <a:pt x="7002549" y="940935"/>
                  <a:pt x="6977839" y="965645"/>
                  <a:pt x="6947357" y="965645"/>
                </a:cubicBezTo>
                <a:cubicBezTo>
                  <a:pt x="6916875" y="965645"/>
                  <a:pt x="6892165" y="940935"/>
                  <a:pt x="6892165" y="910454"/>
                </a:cubicBezTo>
                <a:cubicBezTo>
                  <a:pt x="6892165" y="879973"/>
                  <a:pt x="6916875" y="855263"/>
                  <a:pt x="6947357" y="855263"/>
                </a:cubicBezTo>
                <a:close/>
                <a:moveTo>
                  <a:pt x="6817063" y="855263"/>
                </a:moveTo>
                <a:cubicBezTo>
                  <a:pt x="6847545" y="855263"/>
                  <a:pt x="6872255" y="879973"/>
                  <a:pt x="6872255" y="910454"/>
                </a:cubicBezTo>
                <a:cubicBezTo>
                  <a:pt x="6872255" y="940935"/>
                  <a:pt x="6847545" y="965645"/>
                  <a:pt x="6817063" y="965645"/>
                </a:cubicBezTo>
                <a:cubicBezTo>
                  <a:pt x="6786581" y="965645"/>
                  <a:pt x="6761871" y="940935"/>
                  <a:pt x="6761871" y="910454"/>
                </a:cubicBezTo>
                <a:cubicBezTo>
                  <a:pt x="6761871" y="879973"/>
                  <a:pt x="6786581" y="855263"/>
                  <a:pt x="6817063" y="855263"/>
                </a:cubicBezTo>
                <a:close/>
                <a:moveTo>
                  <a:pt x="6683430" y="855263"/>
                </a:moveTo>
                <a:cubicBezTo>
                  <a:pt x="6713912" y="855263"/>
                  <a:pt x="6738622" y="879973"/>
                  <a:pt x="6738622" y="910454"/>
                </a:cubicBezTo>
                <a:cubicBezTo>
                  <a:pt x="6738622" y="940935"/>
                  <a:pt x="6713912" y="965645"/>
                  <a:pt x="6683430" y="965645"/>
                </a:cubicBezTo>
                <a:cubicBezTo>
                  <a:pt x="6652948" y="965645"/>
                  <a:pt x="6628238" y="940935"/>
                  <a:pt x="6628238" y="910454"/>
                </a:cubicBezTo>
                <a:cubicBezTo>
                  <a:pt x="6628238" y="879973"/>
                  <a:pt x="6652948" y="855263"/>
                  <a:pt x="6683430" y="855263"/>
                </a:cubicBezTo>
                <a:close/>
                <a:moveTo>
                  <a:pt x="6553135" y="855263"/>
                </a:moveTo>
                <a:cubicBezTo>
                  <a:pt x="6583617" y="855263"/>
                  <a:pt x="6608327" y="879973"/>
                  <a:pt x="6608327" y="910454"/>
                </a:cubicBezTo>
                <a:cubicBezTo>
                  <a:pt x="6608327" y="940935"/>
                  <a:pt x="6583617" y="965645"/>
                  <a:pt x="6553135" y="965645"/>
                </a:cubicBezTo>
                <a:cubicBezTo>
                  <a:pt x="6522653" y="965645"/>
                  <a:pt x="6497943" y="940935"/>
                  <a:pt x="6497943" y="910454"/>
                </a:cubicBezTo>
                <a:cubicBezTo>
                  <a:pt x="6497943" y="879973"/>
                  <a:pt x="6522653" y="855263"/>
                  <a:pt x="6553135" y="855263"/>
                </a:cubicBezTo>
                <a:close/>
                <a:moveTo>
                  <a:pt x="6419502" y="855263"/>
                </a:moveTo>
                <a:cubicBezTo>
                  <a:pt x="6449984" y="855263"/>
                  <a:pt x="6474694" y="879973"/>
                  <a:pt x="6474694" y="910454"/>
                </a:cubicBezTo>
                <a:cubicBezTo>
                  <a:pt x="6474694" y="940935"/>
                  <a:pt x="6449984" y="965645"/>
                  <a:pt x="6419502" y="965645"/>
                </a:cubicBezTo>
                <a:cubicBezTo>
                  <a:pt x="6389020" y="965645"/>
                  <a:pt x="6364310" y="940935"/>
                  <a:pt x="6364310" y="910454"/>
                </a:cubicBezTo>
                <a:cubicBezTo>
                  <a:pt x="6364310" y="879973"/>
                  <a:pt x="6389020" y="855263"/>
                  <a:pt x="6419502" y="855263"/>
                </a:cubicBezTo>
                <a:close/>
                <a:moveTo>
                  <a:pt x="6289206" y="855263"/>
                </a:moveTo>
                <a:cubicBezTo>
                  <a:pt x="6319688" y="855263"/>
                  <a:pt x="6344398" y="879973"/>
                  <a:pt x="6344398" y="910454"/>
                </a:cubicBezTo>
                <a:cubicBezTo>
                  <a:pt x="6344398" y="940935"/>
                  <a:pt x="6319688" y="965645"/>
                  <a:pt x="6289206" y="965645"/>
                </a:cubicBezTo>
                <a:cubicBezTo>
                  <a:pt x="6258724" y="965645"/>
                  <a:pt x="6234014" y="940935"/>
                  <a:pt x="6234014" y="910454"/>
                </a:cubicBezTo>
                <a:cubicBezTo>
                  <a:pt x="6234014" y="879973"/>
                  <a:pt x="6258724" y="855263"/>
                  <a:pt x="6289206" y="855263"/>
                </a:cubicBezTo>
                <a:close/>
                <a:moveTo>
                  <a:pt x="6155571" y="855263"/>
                </a:moveTo>
                <a:cubicBezTo>
                  <a:pt x="6186053" y="855263"/>
                  <a:pt x="6210763" y="879973"/>
                  <a:pt x="6210763" y="910454"/>
                </a:cubicBezTo>
                <a:cubicBezTo>
                  <a:pt x="6210763" y="940935"/>
                  <a:pt x="6186053" y="965645"/>
                  <a:pt x="6155571" y="965645"/>
                </a:cubicBezTo>
                <a:cubicBezTo>
                  <a:pt x="6125089" y="965645"/>
                  <a:pt x="6100379" y="940935"/>
                  <a:pt x="6100379" y="910454"/>
                </a:cubicBezTo>
                <a:cubicBezTo>
                  <a:pt x="6100379" y="879973"/>
                  <a:pt x="6125089" y="855263"/>
                  <a:pt x="6155571" y="855263"/>
                </a:cubicBezTo>
                <a:close/>
                <a:moveTo>
                  <a:pt x="6021938" y="855263"/>
                </a:moveTo>
                <a:cubicBezTo>
                  <a:pt x="6052420" y="855263"/>
                  <a:pt x="6077130" y="879973"/>
                  <a:pt x="6077130" y="910454"/>
                </a:cubicBezTo>
                <a:cubicBezTo>
                  <a:pt x="6077130" y="940935"/>
                  <a:pt x="6052420" y="965645"/>
                  <a:pt x="6021938" y="965645"/>
                </a:cubicBezTo>
                <a:cubicBezTo>
                  <a:pt x="5991456" y="965645"/>
                  <a:pt x="5966746" y="940935"/>
                  <a:pt x="5966746" y="910454"/>
                </a:cubicBezTo>
                <a:cubicBezTo>
                  <a:pt x="5966746" y="879973"/>
                  <a:pt x="5991456" y="855263"/>
                  <a:pt x="6021938" y="855263"/>
                </a:cubicBezTo>
                <a:close/>
                <a:moveTo>
                  <a:pt x="5884961" y="855263"/>
                </a:moveTo>
                <a:cubicBezTo>
                  <a:pt x="5915443" y="855263"/>
                  <a:pt x="5940153" y="879973"/>
                  <a:pt x="5940153" y="910454"/>
                </a:cubicBezTo>
                <a:cubicBezTo>
                  <a:pt x="5940153" y="940935"/>
                  <a:pt x="5915443" y="965645"/>
                  <a:pt x="5884961" y="965645"/>
                </a:cubicBezTo>
                <a:cubicBezTo>
                  <a:pt x="5854479" y="965645"/>
                  <a:pt x="5829769" y="940935"/>
                  <a:pt x="5829769" y="910454"/>
                </a:cubicBezTo>
                <a:cubicBezTo>
                  <a:pt x="5829769" y="879973"/>
                  <a:pt x="5854479" y="855263"/>
                  <a:pt x="5884961" y="855263"/>
                </a:cubicBezTo>
                <a:close/>
                <a:moveTo>
                  <a:pt x="5754668" y="855263"/>
                </a:moveTo>
                <a:cubicBezTo>
                  <a:pt x="5785150" y="855263"/>
                  <a:pt x="5809860" y="879973"/>
                  <a:pt x="5809860" y="910454"/>
                </a:cubicBezTo>
                <a:cubicBezTo>
                  <a:pt x="5809860" y="940935"/>
                  <a:pt x="5785150" y="965645"/>
                  <a:pt x="5754668" y="965645"/>
                </a:cubicBezTo>
                <a:cubicBezTo>
                  <a:pt x="5724186" y="965645"/>
                  <a:pt x="5699476" y="940935"/>
                  <a:pt x="5699476" y="910454"/>
                </a:cubicBezTo>
                <a:cubicBezTo>
                  <a:pt x="5699476" y="879973"/>
                  <a:pt x="5724186" y="855263"/>
                  <a:pt x="5754668" y="855263"/>
                </a:cubicBezTo>
                <a:close/>
                <a:moveTo>
                  <a:pt x="5621034" y="855263"/>
                </a:moveTo>
                <a:cubicBezTo>
                  <a:pt x="5651516" y="855263"/>
                  <a:pt x="5676226" y="879973"/>
                  <a:pt x="5676226" y="910454"/>
                </a:cubicBezTo>
                <a:cubicBezTo>
                  <a:pt x="5676226" y="940935"/>
                  <a:pt x="5651516" y="965645"/>
                  <a:pt x="5621034" y="965645"/>
                </a:cubicBezTo>
                <a:cubicBezTo>
                  <a:pt x="5590552" y="965645"/>
                  <a:pt x="5565842" y="940935"/>
                  <a:pt x="5565842" y="910454"/>
                </a:cubicBezTo>
                <a:cubicBezTo>
                  <a:pt x="5565842" y="879973"/>
                  <a:pt x="5590552" y="855263"/>
                  <a:pt x="5621034" y="855263"/>
                </a:cubicBezTo>
                <a:close/>
                <a:moveTo>
                  <a:pt x="5487399" y="855263"/>
                </a:moveTo>
                <a:cubicBezTo>
                  <a:pt x="5517881" y="855263"/>
                  <a:pt x="5542591" y="879973"/>
                  <a:pt x="5542591" y="910454"/>
                </a:cubicBezTo>
                <a:cubicBezTo>
                  <a:pt x="5542591" y="940935"/>
                  <a:pt x="5517881" y="965645"/>
                  <a:pt x="5487399" y="965645"/>
                </a:cubicBezTo>
                <a:cubicBezTo>
                  <a:pt x="5456917" y="965645"/>
                  <a:pt x="5432207" y="940935"/>
                  <a:pt x="5432207" y="910454"/>
                </a:cubicBezTo>
                <a:cubicBezTo>
                  <a:pt x="5432207" y="879973"/>
                  <a:pt x="5456917" y="855263"/>
                  <a:pt x="5487399" y="855263"/>
                </a:cubicBezTo>
                <a:close/>
                <a:moveTo>
                  <a:pt x="5357105" y="855263"/>
                </a:moveTo>
                <a:cubicBezTo>
                  <a:pt x="5387587" y="855263"/>
                  <a:pt x="5412297" y="879973"/>
                  <a:pt x="5412297" y="910454"/>
                </a:cubicBezTo>
                <a:cubicBezTo>
                  <a:pt x="5412297" y="940935"/>
                  <a:pt x="5387587" y="965645"/>
                  <a:pt x="5357105" y="965645"/>
                </a:cubicBezTo>
                <a:cubicBezTo>
                  <a:pt x="5326623" y="965645"/>
                  <a:pt x="5301913" y="940935"/>
                  <a:pt x="5301913" y="910454"/>
                </a:cubicBezTo>
                <a:cubicBezTo>
                  <a:pt x="5301913" y="879973"/>
                  <a:pt x="5326623" y="855263"/>
                  <a:pt x="5357105" y="855263"/>
                </a:cubicBezTo>
                <a:close/>
                <a:moveTo>
                  <a:pt x="5223472" y="855263"/>
                </a:moveTo>
                <a:cubicBezTo>
                  <a:pt x="5253954" y="855263"/>
                  <a:pt x="5278664" y="879973"/>
                  <a:pt x="5278664" y="910454"/>
                </a:cubicBezTo>
                <a:cubicBezTo>
                  <a:pt x="5278664" y="940935"/>
                  <a:pt x="5253954" y="965645"/>
                  <a:pt x="5223472" y="965645"/>
                </a:cubicBezTo>
                <a:cubicBezTo>
                  <a:pt x="5192990" y="965645"/>
                  <a:pt x="5168280" y="940935"/>
                  <a:pt x="5168280" y="910454"/>
                </a:cubicBezTo>
                <a:cubicBezTo>
                  <a:pt x="5168280" y="879973"/>
                  <a:pt x="5192990" y="855263"/>
                  <a:pt x="5223472" y="855263"/>
                </a:cubicBezTo>
                <a:close/>
                <a:moveTo>
                  <a:pt x="5093178" y="855263"/>
                </a:moveTo>
                <a:cubicBezTo>
                  <a:pt x="5123660" y="855263"/>
                  <a:pt x="5148370" y="879973"/>
                  <a:pt x="5148370" y="910454"/>
                </a:cubicBezTo>
                <a:cubicBezTo>
                  <a:pt x="5148370" y="940935"/>
                  <a:pt x="5123660" y="965645"/>
                  <a:pt x="5093178" y="965645"/>
                </a:cubicBezTo>
                <a:cubicBezTo>
                  <a:pt x="5062696" y="965645"/>
                  <a:pt x="5037986" y="940935"/>
                  <a:pt x="5037986" y="910454"/>
                </a:cubicBezTo>
                <a:cubicBezTo>
                  <a:pt x="5037986" y="879973"/>
                  <a:pt x="5062696" y="855263"/>
                  <a:pt x="5093178" y="855263"/>
                </a:cubicBezTo>
                <a:close/>
                <a:moveTo>
                  <a:pt x="4161076" y="855263"/>
                </a:moveTo>
                <a:cubicBezTo>
                  <a:pt x="4191558" y="855263"/>
                  <a:pt x="4216268" y="879973"/>
                  <a:pt x="4216268" y="910454"/>
                </a:cubicBezTo>
                <a:cubicBezTo>
                  <a:pt x="4216268" y="940935"/>
                  <a:pt x="4191558" y="965645"/>
                  <a:pt x="4161076" y="965645"/>
                </a:cubicBezTo>
                <a:cubicBezTo>
                  <a:pt x="4130594" y="965645"/>
                  <a:pt x="4105884" y="940935"/>
                  <a:pt x="4105884" y="910454"/>
                </a:cubicBezTo>
                <a:cubicBezTo>
                  <a:pt x="4105884" y="879973"/>
                  <a:pt x="4130594" y="855263"/>
                  <a:pt x="4161076" y="855263"/>
                </a:cubicBezTo>
                <a:close/>
                <a:moveTo>
                  <a:pt x="3633218" y="855263"/>
                </a:moveTo>
                <a:cubicBezTo>
                  <a:pt x="3663700" y="855263"/>
                  <a:pt x="3688410" y="879973"/>
                  <a:pt x="3688410" y="910454"/>
                </a:cubicBezTo>
                <a:cubicBezTo>
                  <a:pt x="3688410" y="940935"/>
                  <a:pt x="3663700" y="965645"/>
                  <a:pt x="3633218" y="965645"/>
                </a:cubicBezTo>
                <a:cubicBezTo>
                  <a:pt x="3602736" y="965645"/>
                  <a:pt x="3578026" y="940935"/>
                  <a:pt x="3578026" y="910454"/>
                </a:cubicBezTo>
                <a:cubicBezTo>
                  <a:pt x="3578026" y="879973"/>
                  <a:pt x="3602736" y="855263"/>
                  <a:pt x="3633218" y="855263"/>
                </a:cubicBezTo>
                <a:close/>
                <a:moveTo>
                  <a:pt x="3499586" y="855263"/>
                </a:moveTo>
                <a:cubicBezTo>
                  <a:pt x="3530068" y="855263"/>
                  <a:pt x="3554778" y="879973"/>
                  <a:pt x="3554778" y="910454"/>
                </a:cubicBezTo>
                <a:cubicBezTo>
                  <a:pt x="3554778" y="940935"/>
                  <a:pt x="3530068" y="965645"/>
                  <a:pt x="3499586" y="965645"/>
                </a:cubicBezTo>
                <a:cubicBezTo>
                  <a:pt x="3469104" y="965645"/>
                  <a:pt x="3444394" y="940935"/>
                  <a:pt x="3444394" y="910454"/>
                </a:cubicBezTo>
                <a:cubicBezTo>
                  <a:pt x="3444394" y="879973"/>
                  <a:pt x="3469104" y="855263"/>
                  <a:pt x="3499586" y="855263"/>
                </a:cubicBezTo>
                <a:close/>
                <a:moveTo>
                  <a:pt x="3369290" y="855263"/>
                </a:moveTo>
                <a:cubicBezTo>
                  <a:pt x="3399772" y="855263"/>
                  <a:pt x="3424482" y="879973"/>
                  <a:pt x="3424482" y="910454"/>
                </a:cubicBezTo>
                <a:cubicBezTo>
                  <a:pt x="3424482" y="940935"/>
                  <a:pt x="3399772" y="965645"/>
                  <a:pt x="3369290" y="965645"/>
                </a:cubicBezTo>
                <a:cubicBezTo>
                  <a:pt x="3338808" y="965645"/>
                  <a:pt x="3314098" y="940935"/>
                  <a:pt x="3314098" y="910454"/>
                </a:cubicBezTo>
                <a:cubicBezTo>
                  <a:pt x="3314098" y="879973"/>
                  <a:pt x="3338808" y="855263"/>
                  <a:pt x="3369290" y="855263"/>
                </a:cubicBezTo>
                <a:close/>
                <a:moveTo>
                  <a:pt x="2834849" y="855263"/>
                </a:moveTo>
                <a:cubicBezTo>
                  <a:pt x="2865329" y="855263"/>
                  <a:pt x="2890040" y="879973"/>
                  <a:pt x="2890040" y="910454"/>
                </a:cubicBezTo>
                <a:cubicBezTo>
                  <a:pt x="2890040" y="940935"/>
                  <a:pt x="2865329" y="965645"/>
                  <a:pt x="2834849" y="965645"/>
                </a:cubicBezTo>
                <a:cubicBezTo>
                  <a:pt x="2804367" y="965645"/>
                  <a:pt x="2779655" y="940935"/>
                  <a:pt x="2779655" y="910454"/>
                </a:cubicBezTo>
                <a:cubicBezTo>
                  <a:pt x="2779655" y="879973"/>
                  <a:pt x="2804367" y="855263"/>
                  <a:pt x="2834849" y="855263"/>
                </a:cubicBezTo>
                <a:close/>
                <a:moveTo>
                  <a:pt x="2707895" y="855263"/>
                </a:moveTo>
                <a:cubicBezTo>
                  <a:pt x="2738377" y="855263"/>
                  <a:pt x="2763087" y="879973"/>
                  <a:pt x="2763087" y="910454"/>
                </a:cubicBezTo>
                <a:cubicBezTo>
                  <a:pt x="2763087" y="940935"/>
                  <a:pt x="2738377" y="965645"/>
                  <a:pt x="2707895" y="965645"/>
                </a:cubicBezTo>
                <a:cubicBezTo>
                  <a:pt x="2677411" y="965645"/>
                  <a:pt x="2652702" y="940935"/>
                  <a:pt x="2652702" y="910454"/>
                </a:cubicBezTo>
                <a:cubicBezTo>
                  <a:pt x="2652702" y="879973"/>
                  <a:pt x="2677411" y="855263"/>
                  <a:pt x="2707895" y="855263"/>
                </a:cubicBezTo>
                <a:close/>
                <a:moveTo>
                  <a:pt x="2570919" y="855263"/>
                </a:moveTo>
                <a:cubicBezTo>
                  <a:pt x="2601400" y="855263"/>
                  <a:pt x="2626110" y="879973"/>
                  <a:pt x="2626110" y="910454"/>
                </a:cubicBezTo>
                <a:cubicBezTo>
                  <a:pt x="2626110" y="940935"/>
                  <a:pt x="2601400" y="965645"/>
                  <a:pt x="2570919" y="965645"/>
                </a:cubicBezTo>
                <a:cubicBezTo>
                  <a:pt x="2540436" y="965645"/>
                  <a:pt x="2515724" y="940935"/>
                  <a:pt x="2515724" y="910454"/>
                </a:cubicBezTo>
                <a:cubicBezTo>
                  <a:pt x="2515724" y="879973"/>
                  <a:pt x="2540436" y="855263"/>
                  <a:pt x="2570919" y="855263"/>
                </a:cubicBezTo>
                <a:close/>
                <a:moveTo>
                  <a:pt x="2303651" y="855263"/>
                </a:moveTo>
                <a:cubicBezTo>
                  <a:pt x="2334134" y="855263"/>
                  <a:pt x="2358843" y="879973"/>
                  <a:pt x="2358843" y="910454"/>
                </a:cubicBezTo>
                <a:cubicBezTo>
                  <a:pt x="2358843" y="940935"/>
                  <a:pt x="2334134" y="965645"/>
                  <a:pt x="2303651" y="965645"/>
                </a:cubicBezTo>
                <a:cubicBezTo>
                  <a:pt x="2273169" y="965645"/>
                  <a:pt x="2248461" y="940935"/>
                  <a:pt x="2248461" y="910454"/>
                </a:cubicBezTo>
                <a:cubicBezTo>
                  <a:pt x="2248461" y="879973"/>
                  <a:pt x="2273169" y="855263"/>
                  <a:pt x="2303651" y="855263"/>
                </a:cubicBezTo>
                <a:close/>
                <a:moveTo>
                  <a:pt x="2173362" y="855263"/>
                </a:moveTo>
                <a:cubicBezTo>
                  <a:pt x="2203845" y="855263"/>
                  <a:pt x="2228554" y="879973"/>
                  <a:pt x="2228554" y="910454"/>
                </a:cubicBezTo>
                <a:cubicBezTo>
                  <a:pt x="2228554" y="940935"/>
                  <a:pt x="2203845" y="965645"/>
                  <a:pt x="2173362" y="965645"/>
                </a:cubicBezTo>
                <a:cubicBezTo>
                  <a:pt x="2142879" y="965645"/>
                  <a:pt x="2118170" y="940935"/>
                  <a:pt x="2118170" y="910454"/>
                </a:cubicBezTo>
                <a:cubicBezTo>
                  <a:pt x="2118170" y="879973"/>
                  <a:pt x="2142879" y="855263"/>
                  <a:pt x="2173362" y="855263"/>
                </a:cubicBezTo>
                <a:close/>
                <a:moveTo>
                  <a:pt x="2039725" y="855263"/>
                </a:moveTo>
                <a:cubicBezTo>
                  <a:pt x="2070208" y="855263"/>
                  <a:pt x="2094919" y="879973"/>
                  <a:pt x="2094919" y="910454"/>
                </a:cubicBezTo>
                <a:cubicBezTo>
                  <a:pt x="2094919" y="940935"/>
                  <a:pt x="2070208" y="965645"/>
                  <a:pt x="2039725" y="965645"/>
                </a:cubicBezTo>
                <a:cubicBezTo>
                  <a:pt x="2009244" y="965645"/>
                  <a:pt x="1984533" y="940935"/>
                  <a:pt x="1984533" y="910454"/>
                </a:cubicBezTo>
                <a:cubicBezTo>
                  <a:pt x="1984533" y="879973"/>
                  <a:pt x="2009244" y="855263"/>
                  <a:pt x="2039725" y="855263"/>
                </a:cubicBezTo>
                <a:close/>
                <a:moveTo>
                  <a:pt x="1909428" y="855263"/>
                </a:moveTo>
                <a:cubicBezTo>
                  <a:pt x="1939911" y="855263"/>
                  <a:pt x="1964620" y="879973"/>
                  <a:pt x="1964620" y="910454"/>
                </a:cubicBezTo>
                <a:cubicBezTo>
                  <a:pt x="1964620" y="940935"/>
                  <a:pt x="1939911" y="965645"/>
                  <a:pt x="1909428" y="965645"/>
                </a:cubicBezTo>
                <a:cubicBezTo>
                  <a:pt x="1878945" y="965645"/>
                  <a:pt x="1854234" y="940935"/>
                  <a:pt x="1854234" y="910454"/>
                </a:cubicBezTo>
                <a:cubicBezTo>
                  <a:pt x="1854234" y="879973"/>
                  <a:pt x="1878945" y="855263"/>
                  <a:pt x="1909428" y="855263"/>
                </a:cubicBezTo>
                <a:close/>
                <a:moveTo>
                  <a:pt x="1779130" y="855263"/>
                </a:moveTo>
                <a:cubicBezTo>
                  <a:pt x="1809614" y="855263"/>
                  <a:pt x="1834324" y="879973"/>
                  <a:pt x="1834324" y="910454"/>
                </a:cubicBezTo>
                <a:cubicBezTo>
                  <a:pt x="1834324" y="940935"/>
                  <a:pt x="1809614" y="965645"/>
                  <a:pt x="1779130" y="965645"/>
                </a:cubicBezTo>
                <a:cubicBezTo>
                  <a:pt x="1748649" y="965645"/>
                  <a:pt x="1723937" y="940935"/>
                  <a:pt x="1723937" y="910454"/>
                </a:cubicBezTo>
                <a:cubicBezTo>
                  <a:pt x="1723937" y="879973"/>
                  <a:pt x="1748649" y="855263"/>
                  <a:pt x="1779130" y="855263"/>
                </a:cubicBezTo>
                <a:close/>
                <a:moveTo>
                  <a:pt x="1645495" y="855263"/>
                </a:moveTo>
                <a:cubicBezTo>
                  <a:pt x="1675980" y="855263"/>
                  <a:pt x="1700693" y="879973"/>
                  <a:pt x="1700693" y="910454"/>
                </a:cubicBezTo>
                <a:cubicBezTo>
                  <a:pt x="1700693" y="940935"/>
                  <a:pt x="1675980" y="965645"/>
                  <a:pt x="1645495" y="965645"/>
                </a:cubicBezTo>
                <a:cubicBezTo>
                  <a:pt x="1615015" y="965645"/>
                  <a:pt x="1590303" y="940935"/>
                  <a:pt x="1590303" y="910454"/>
                </a:cubicBezTo>
                <a:cubicBezTo>
                  <a:pt x="1590303" y="879973"/>
                  <a:pt x="1615015" y="855263"/>
                  <a:pt x="1645495" y="855263"/>
                </a:cubicBezTo>
                <a:close/>
                <a:moveTo>
                  <a:pt x="1515206" y="855263"/>
                </a:moveTo>
                <a:cubicBezTo>
                  <a:pt x="1545685" y="855263"/>
                  <a:pt x="1570391" y="879973"/>
                  <a:pt x="1570391" y="910454"/>
                </a:cubicBezTo>
                <a:cubicBezTo>
                  <a:pt x="1570391" y="940935"/>
                  <a:pt x="1545685" y="965645"/>
                  <a:pt x="1515206" y="965645"/>
                </a:cubicBezTo>
                <a:cubicBezTo>
                  <a:pt x="1484723" y="965645"/>
                  <a:pt x="1460009" y="940935"/>
                  <a:pt x="1460009" y="910454"/>
                </a:cubicBezTo>
                <a:cubicBezTo>
                  <a:pt x="1460009" y="879973"/>
                  <a:pt x="1484723" y="855263"/>
                  <a:pt x="1515206" y="855263"/>
                </a:cubicBezTo>
                <a:close/>
                <a:moveTo>
                  <a:pt x="1381566" y="855263"/>
                </a:moveTo>
                <a:cubicBezTo>
                  <a:pt x="1412046" y="855263"/>
                  <a:pt x="1436758" y="879973"/>
                  <a:pt x="1436758" y="910454"/>
                </a:cubicBezTo>
                <a:cubicBezTo>
                  <a:pt x="1436758" y="940935"/>
                  <a:pt x="1412046" y="965645"/>
                  <a:pt x="1381566" y="965645"/>
                </a:cubicBezTo>
                <a:cubicBezTo>
                  <a:pt x="1351086" y="965645"/>
                  <a:pt x="1326375" y="940935"/>
                  <a:pt x="1326375" y="910454"/>
                </a:cubicBezTo>
                <a:cubicBezTo>
                  <a:pt x="1326375" y="879973"/>
                  <a:pt x="1351086" y="855263"/>
                  <a:pt x="1381566" y="855263"/>
                </a:cubicBezTo>
                <a:close/>
                <a:moveTo>
                  <a:pt x="1251271" y="855263"/>
                </a:moveTo>
                <a:cubicBezTo>
                  <a:pt x="1281752" y="855263"/>
                  <a:pt x="1306464" y="879973"/>
                  <a:pt x="1306464" y="910454"/>
                </a:cubicBezTo>
                <a:cubicBezTo>
                  <a:pt x="1306464" y="940935"/>
                  <a:pt x="1281752" y="965645"/>
                  <a:pt x="1251271" y="965645"/>
                </a:cubicBezTo>
                <a:cubicBezTo>
                  <a:pt x="1220788" y="965645"/>
                  <a:pt x="1196078" y="940935"/>
                  <a:pt x="1196078" y="910454"/>
                </a:cubicBezTo>
                <a:cubicBezTo>
                  <a:pt x="1196078" y="879973"/>
                  <a:pt x="1220788" y="855263"/>
                  <a:pt x="1251271" y="855263"/>
                </a:cubicBezTo>
                <a:close/>
                <a:moveTo>
                  <a:pt x="1117634" y="855263"/>
                </a:moveTo>
                <a:cubicBezTo>
                  <a:pt x="1148117" y="855263"/>
                  <a:pt x="1172828" y="879973"/>
                  <a:pt x="1172828" y="910454"/>
                </a:cubicBezTo>
                <a:cubicBezTo>
                  <a:pt x="1172828" y="940935"/>
                  <a:pt x="1148117" y="965645"/>
                  <a:pt x="1117634" y="965645"/>
                </a:cubicBezTo>
                <a:cubicBezTo>
                  <a:pt x="1087150" y="965645"/>
                  <a:pt x="1062440" y="940935"/>
                  <a:pt x="1062440" y="910454"/>
                </a:cubicBezTo>
                <a:cubicBezTo>
                  <a:pt x="1062440" y="879973"/>
                  <a:pt x="1087150" y="855263"/>
                  <a:pt x="1117634" y="855263"/>
                </a:cubicBezTo>
                <a:close/>
                <a:moveTo>
                  <a:pt x="980654" y="855263"/>
                </a:moveTo>
                <a:cubicBezTo>
                  <a:pt x="1011137" y="855263"/>
                  <a:pt x="1035848" y="879973"/>
                  <a:pt x="1035848" y="910454"/>
                </a:cubicBezTo>
                <a:cubicBezTo>
                  <a:pt x="1035848" y="940935"/>
                  <a:pt x="1011137" y="965645"/>
                  <a:pt x="980654" y="965645"/>
                </a:cubicBezTo>
                <a:cubicBezTo>
                  <a:pt x="950172" y="965645"/>
                  <a:pt x="925460" y="940935"/>
                  <a:pt x="925460" y="910454"/>
                </a:cubicBezTo>
                <a:cubicBezTo>
                  <a:pt x="925460" y="879973"/>
                  <a:pt x="950172" y="855263"/>
                  <a:pt x="980654" y="855263"/>
                </a:cubicBezTo>
                <a:close/>
                <a:moveTo>
                  <a:pt x="847016" y="855263"/>
                </a:moveTo>
                <a:cubicBezTo>
                  <a:pt x="877497" y="855263"/>
                  <a:pt x="902209" y="879973"/>
                  <a:pt x="902209" y="910454"/>
                </a:cubicBezTo>
                <a:cubicBezTo>
                  <a:pt x="902209" y="940935"/>
                  <a:pt x="877497" y="965645"/>
                  <a:pt x="847016" y="965645"/>
                </a:cubicBezTo>
                <a:cubicBezTo>
                  <a:pt x="816533" y="965645"/>
                  <a:pt x="791816" y="940935"/>
                  <a:pt x="791816" y="910454"/>
                </a:cubicBezTo>
                <a:cubicBezTo>
                  <a:pt x="791816" y="879973"/>
                  <a:pt x="816533" y="855263"/>
                  <a:pt x="847016" y="855263"/>
                </a:cubicBezTo>
                <a:close/>
                <a:moveTo>
                  <a:pt x="716709" y="855263"/>
                </a:moveTo>
                <a:cubicBezTo>
                  <a:pt x="747196" y="855263"/>
                  <a:pt x="771907" y="879973"/>
                  <a:pt x="771907" y="910454"/>
                </a:cubicBezTo>
                <a:cubicBezTo>
                  <a:pt x="771907" y="940935"/>
                  <a:pt x="747196" y="965645"/>
                  <a:pt x="716709" y="965645"/>
                </a:cubicBezTo>
                <a:cubicBezTo>
                  <a:pt x="686233" y="965645"/>
                  <a:pt x="661522" y="940935"/>
                  <a:pt x="661522" y="910454"/>
                </a:cubicBezTo>
                <a:cubicBezTo>
                  <a:pt x="661522" y="879973"/>
                  <a:pt x="686233" y="855263"/>
                  <a:pt x="716709" y="855263"/>
                </a:cubicBezTo>
                <a:close/>
                <a:moveTo>
                  <a:pt x="583074" y="855263"/>
                </a:moveTo>
                <a:cubicBezTo>
                  <a:pt x="613557" y="855263"/>
                  <a:pt x="638268" y="879973"/>
                  <a:pt x="638268" y="910454"/>
                </a:cubicBezTo>
                <a:cubicBezTo>
                  <a:pt x="638268" y="940935"/>
                  <a:pt x="613557" y="965645"/>
                  <a:pt x="583074" y="965645"/>
                </a:cubicBezTo>
                <a:cubicBezTo>
                  <a:pt x="552591" y="965645"/>
                  <a:pt x="527881" y="940935"/>
                  <a:pt x="527881" y="910454"/>
                </a:cubicBezTo>
                <a:cubicBezTo>
                  <a:pt x="527881" y="879973"/>
                  <a:pt x="552591" y="855263"/>
                  <a:pt x="583074" y="855263"/>
                </a:cubicBezTo>
                <a:close/>
                <a:moveTo>
                  <a:pt x="9867273" y="855260"/>
                </a:moveTo>
                <a:cubicBezTo>
                  <a:pt x="9897755" y="855260"/>
                  <a:pt x="9922465" y="879970"/>
                  <a:pt x="9922465" y="910451"/>
                </a:cubicBezTo>
                <a:cubicBezTo>
                  <a:pt x="9922465" y="940932"/>
                  <a:pt x="9897755" y="965642"/>
                  <a:pt x="9867273" y="965642"/>
                </a:cubicBezTo>
                <a:cubicBezTo>
                  <a:pt x="9836791" y="965642"/>
                  <a:pt x="9812081" y="940932"/>
                  <a:pt x="9812081" y="910451"/>
                </a:cubicBezTo>
                <a:cubicBezTo>
                  <a:pt x="9812081" y="879970"/>
                  <a:pt x="9836791" y="855260"/>
                  <a:pt x="9867273" y="855260"/>
                </a:cubicBezTo>
                <a:close/>
                <a:moveTo>
                  <a:pt x="9733637" y="855260"/>
                </a:moveTo>
                <a:cubicBezTo>
                  <a:pt x="9764119" y="855260"/>
                  <a:pt x="9788829" y="879970"/>
                  <a:pt x="9788829" y="910451"/>
                </a:cubicBezTo>
                <a:cubicBezTo>
                  <a:pt x="9788829" y="940932"/>
                  <a:pt x="9764119" y="965642"/>
                  <a:pt x="9733637" y="965642"/>
                </a:cubicBezTo>
                <a:cubicBezTo>
                  <a:pt x="9703155" y="965642"/>
                  <a:pt x="9678445" y="940932"/>
                  <a:pt x="9678445" y="910451"/>
                </a:cubicBezTo>
                <a:cubicBezTo>
                  <a:pt x="9678445" y="879970"/>
                  <a:pt x="9703155" y="855260"/>
                  <a:pt x="9733637" y="855260"/>
                </a:cubicBezTo>
                <a:close/>
                <a:moveTo>
                  <a:pt x="9603343" y="855260"/>
                </a:moveTo>
                <a:cubicBezTo>
                  <a:pt x="9633825" y="855260"/>
                  <a:pt x="9658535" y="879970"/>
                  <a:pt x="9658535" y="910451"/>
                </a:cubicBezTo>
                <a:cubicBezTo>
                  <a:pt x="9658535" y="940932"/>
                  <a:pt x="9633825" y="965642"/>
                  <a:pt x="9603343" y="965642"/>
                </a:cubicBezTo>
                <a:cubicBezTo>
                  <a:pt x="9572861" y="965642"/>
                  <a:pt x="9548151" y="940932"/>
                  <a:pt x="9548151" y="910451"/>
                </a:cubicBezTo>
                <a:cubicBezTo>
                  <a:pt x="9548151" y="879970"/>
                  <a:pt x="9572861" y="855260"/>
                  <a:pt x="9603343" y="855260"/>
                </a:cubicBezTo>
                <a:close/>
                <a:moveTo>
                  <a:pt x="449429" y="855260"/>
                </a:moveTo>
                <a:cubicBezTo>
                  <a:pt x="479910" y="855260"/>
                  <a:pt x="504621" y="879970"/>
                  <a:pt x="504621" y="910451"/>
                </a:cubicBezTo>
                <a:cubicBezTo>
                  <a:pt x="504621" y="940932"/>
                  <a:pt x="479910" y="965642"/>
                  <a:pt x="449429" y="965642"/>
                </a:cubicBezTo>
                <a:cubicBezTo>
                  <a:pt x="418945" y="965642"/>
                  <a:pt x="394234" y="940932"/>
                  <a:pt x="394234" y="910451"/>
                </a:cubicBezTo>
                <a:cubicBezTo>
                  <a:pt x="394234" y="879970"/>
                  <a:pt x="418945" y="855260"/>
                  <a:pt x="449429" y="855260"/>
                </a:cubicBezTo>
                <a:close/>
                <a:moveTo>
                  <a:pt x="319132" y="855260"/>
                </a:moveTo>
                <a:cubicBezTo>
                  <a:pt x="349615" y="855260"/>
                  <a:pt x="374326" y="879970"/>
                  <a:pt x="374326" y="910451"/>
                </a:cubicBezTo>
                <a:cubicBezTo>
                  <a:pt x="374326" y="940932"/>
                  <a:pt x="349615" y="965642"/>
                  <a:pt x="319132" y="965642"/>
                </a:cubicBezTo>
                <a:cubicBezTo>
                  <a:pt x="288649" y="965642"/>
                  <a:pt x="263940" y="940932"/>
                  <a:pt x="263940" y="910451"/>
                </a:cubicBezTo>
                <a:cubicBezTo>
                  <a:pt x="263940" y="879970"/>
                  <a:pt x="288649" y="855260"/>
                  <a:pt x="319132" y="855260"/>
                </a:cubicBezTo>
                <a:close/>
                <a:moveTo>
                  <a:pt x="185499" y="855260"/>
                </a:moveTo>
                <a:cubicBezTo>
                  <a:pt x="215981" y="855260"/>
                  <a:pt x="240690" y="879970"/>
                  <a:pt x="240690" y="910451"/>
                </a:cubicBezTo>
                <a:cubicBezTo>
                  <a:pt x="240690" y="940932"/>
                  <a:pt x="215981" y="965642"/>
                  <a:pt x="185499" y="965642"/>
                </a:cubicBezTo>
                <a:cubicBezTo>
                  <a:pt x="155018" y="965642"/>
                  <a:pt x="130308" y="940932"/>
                  <a:pt x="130308" y="910451"/>
                </a:cubicBezTo>
                <a:cubicBezTo>
                  <a:pt x="130308" y="879970"/>
                  <a:pt x="155018" y="855260"/>
                  <a:pt x="185499" y="855260"/>
                </a:cubicBezTo>
                <a:close/>
                <a:moveTo>
                  <a:pt x="9733637" y="724970"/>
                </a:moveTo>
                <a:cubicBezTo>
                  <a:pt x="9764119" y="724970"/>
                  <a:pt x="9788829" y="749680"/>
                  <a:pt x="9788829" y="780161"/>
                </a:cubicBezTo>
                <a:cubicBezTo>
                  <a:pt x="9788829" y="810642"/>
                  <a:pt x="9764119" y="835352"/>
                  <a:pt x="9733637" y="835352"/>
                </a:cubicBezTo>
                <a:cubicBezTo>
                  <a:pt x="9703155" y="835352"/>
                  <a:pt x="9678445" y="810642"/>
                  <a:pt x="9678445" y="780161"/>
                </a:cubicBezTo>
                <a:cubicBezTo>
                  <a:pt x="9678445" y="749680"/>
                  <a:pt x="9703155" y="724970"/>
                  <a:pt x="9733637" y="724970"/>
                </a:cubicBezTo>
                <a:close/>
                <a:moveTo>
                  <a:pt x="9603344" y="724970"/>
                </a:moveTo>
                <a:cubicBezTo>
                  <a:pt x="9633826" y="724970"/>
                  <a:pt x="9658536" y="749680"/>
                  <a:pt x="9658536" y="780161"/>
                </a:cubicBezTo>
                <a:cubicBezTo>
                  <a:pt x="9658536" y="810642"/>
                  <a:pt x="9633826" y="835352"/>
                  <a:pt x="9603344" y="835352"/>
                </a:cubicBezTo>
                <a:cubicBezTo>
                  <a:pt x="9572862" y="835352"/>
                  <a:pt x="9548152" y="810642"/>
                  <a:pt x="9548152" y="780161"/>
                </a:cubicBezTo>
                <a:cubicBezTo>
                  <a:pt x="9548152" y="749680"/>
                  <a:pt x="9572862" y="724970"/>
                  <a:pt x="9603344" y="724970"/>
                </a:cubicBezTo>
                <a:close/>
                <a:moveTo>
                  <a:pt x="9469710" y="724970"/>
                </a:moveTo>
                <a:cubicBezTo>
                  <a:pt x="9500192" y="724970"/>
                  <a:pt x="9524902" y="749680"/>
                  <a:pt x="9524902" y="780161"/>
                </a:cubicBezTo>
                <a:cubicBezTo>
                  <a:pt x="9524902" y="810642"/>
                  <a:pt x="9500192" y="835352"/>
                  <a:pt x="9469710" y="835352"/>
                </a:cubicBezTo>
                <a:cubicBezTo>
                  <a:pt x="9439228" y="835352"/>
                  <a:pt x="9414518" y="810642"/>
                  <a:pt x="9414518" y="780161"/>
                </a:cubicBezTo>
                <a:cubicBezTo>
                  <a:pt x="9414518" y="749680"/>
                  <a:pt x="9439228" y="724970"/>
                  <a:pt x="9469710" y="724970"/>
                </a:cubicBezTo>
                <a:close/>
                <a:moveTo>
                  <a:pt x="9336075" y="724970"/>
                </a:moveTo>
                <a:cubicBezTo>
                  <a:pt x="9366557" y="724970"/>
                  <a:pt x="9391267" y="749680"/>
                  <a:pt x="9391267" y="780161"/>
                </a:cubicBezTo>
                <a:cubicBezTo>
                  <a:pt x="9391267" y="810642"/>
                  <a:pt x="9366557" y="835352"/>
                  <a:pt x="9336075" y="835352"/>
                </a:cubicBezTo>
                <a:cubicBezTo>
                  <a:pt x="9305593" y="835352"/>
                  <a:pt x="9280883" y="810642"/>
                  <a:pt x="9280883" y="780161"/>
                </a:cubicBezTo>
                <a:cubicBezTo>
                  <a:pt x="9280883" y="749680"/>
                  <a:pt x="9305593" y="724970"/>
                  <a:pt x="9336075" y="724970"/>
                </a:cubicBezTo>
                <a:close/>
                <a:moveTo>
                  <a:pt x="9199100" y="724970"/>
                </a:moveTo>
                <a:cubicBezTo>
                  <a:pt x="9229582" y="724970"/>
                  <a:pt x="9254292" y="749680"/>
                  <a:pt x="9254292" y="780161"/>
                </a:cubicBezTo>
                <a:cubicBezTo>
                  <a:pt x="9254292" y="810642"/>
                  <a:pt x="9229582" y="835352"/>
                  <a:pt x="9199100" y="835352"/>
                </a:cubicBezTo>
                <a:cubicBezTo>
                  <a:pt x="9168618" y="835352"/>
                  <a:pt x="9143908" y="810642"/>
                  <a:pt x="9143908" y="780161"/>
                </a:cubicBezTo>
                <a:cubicBezTo>
                  <a:pt x="9143908" y="749680"/>
                  <a:pt x="9168618" y="724970"/>
                  <a:pt x="9199100" y="724970"/>
                </a:cubicBezTo>
                <a:close/>
                <a:moveTo>
                  <a:pt x="9068806" y="724970"/>
                </a:moveTo>
                <a:cubicBezTo>
                  <a:pt x="9099288" y="724970"/>
                  <a:pt x="9123998" y="749680"/>
                  <a:pt x="9123998" y="780161"/>
                </a:cubicBezTo>
                <a:cubicBezTo>
                  <a:pt x="9123998" y="810642"/>
                  <a:pt x="9099288" y="835352"/>
                  <a:pt x="9068806" y="835352"/>
                </a:cubicBezTo>
                <a:cubicBezTo>
                  <a:pt x="9038324" y="835352"/>
                  <a:pt x="9013614" y="810642"/>
                  <a:pt x="9013614" y="780161"/>
                </a:cubicBezTo>
                <a:cubicBezTo>
                  <a:pt x="9013614" y="749680"/>
                  <a:pt x="9038324" y="724970"/>
                  <a:pt x="9068806" y="724970"/>
                </a:cubicBezTo>
                <a:close/>
                <a:moveTo>
                  <a:pt x="8935170" y="724970"/>
                </a:moveTo>
                <a:cubicBezTo>
                  <a:pt x="8965652" y="724970"/>
                  <a:pt x="8990362" y="749680"/>
                  <a:pt x="8990362" y="780161"/>
                </a:cubicBezTo>
                <a:cubicBezTo>
                  <a:pt x="8990362" y="810642"/>
                  <a:pt x="8965652" y="835352"/>
                  <a:pt x="8935170" y="835352"/>
                </a:cubicBezTo>
                <a:cubicBezTo>
                  <a:pt x="8904688" y="835352"/>
                  <a:pt x="8879978" y="810642"/>
                  <a:pt x="8879978" y="780161"/>
                </a:cubicBezTo>
                <a:cubicBezTo>
                  <a:pt x="8879978" y="749680"/>
                  <a:pt x="8904688" y="724970"/>
                  <a:pt x="8935170" y="724970"/>
                </a:cubicBezTo>
                <a:close/>
                <a:moveTo>
                  <a:pt x="8801536" y="724970"/>
                </a:moveTo>
                <a:cubicBezTo>
                  <a:pt x="8832018" y="724970"/>
                  <a:pt x="8856728" y="749680"/>
                  <a:pt x="8856728" y="780161"/>
                </a:cubicBezTo>
                <a:cubicBezTo>
                  <a:pt x="8856728" y="810642"/>
                  <a:pt x="8832018" y="835352"/>
                  <a:pt x="8801536" y="835352"/>
                </a:cubicBezTo>
                <a:cubicBezTo>
                  <a:pt x="8771054" y="835352"/>
                  <a:pt x="8746344" y="810642"/>
                  <a:pt x="8746344" y="780161"/>
                </a:cubicBezTo>
                <a:cubicBezTo>
                  <a:pt x="8746344" y="749680"/>
                  <a:pt x="8771054" y="724970"/>
                  <a:pt x="8801536" y="724970"/>
                </a:cubicBezTo>
                <a:close/>
                <a:moveTo>
                  <a:pt x="8671243" y="724970"/>
                </a:moveTo>
                <a:cubicBezTo>
                  <a:pt x="8701725" y="724970"/>
                  <a:pt x="8726435" y="749680"/>
                  <a:pt x="8726435" y="780161"/>
                </a:cubicBezTo>
                <a:cubicBezTo>
                  <a:pt x="8726435" y="810642"/>
                  <a:pt x="8701725" y="835352"/>
                  <a:pt x="8671243" y="835352"/>
                </a:cubicBezTo>
                <a:cubicBezTo>
                  <a:pt x="8640761" y="835352"/>
                  <a:pt x="8616051" y="810642"/>
                  <a:pt x="8616051" y="780161"/>
                </a:cubicBezTo>
                <a:cubicBezTo>
                  <a:pt x="8616051" y="749680"/>
                  <a:pt x="8640761" y="724970"/>
                  <a:pt x="8671243" y="724970"/>
                </a:cubicBezTo>
                <a:close/>
                <a:moveTo>
                  <a:pt x="8537609" y="724970"/>
                </a:moveTo>
                <a:cubicBezTo>
                  <a:pt x="8568091" y="724970"/>
                  <a:pt x="8592801" y="749680"/>
                  <a:pt x="8592801" y="780161"/>
                </a:cubicBezTo>
                <a:cubicBezTo>
                  <a:pt x="8592801" y="810642"/>
                  <a:pt x="8568091" y="835352"/>
                  <a:pt x="8537609" y="835352"/>
                </a:cubicBezTo>
                <a:cubicBezTo>
                  <a:pt x="8507127" y="835352"/>
                  <a:pt x="8482417" y="810642"/>
                  <a:pt x="8482417" y="780161"/>
                </a:cubicBezTo>
                <a:cubicBezTo>
                  <a:pt x="8482417" y="749680"/>
                  <a:pt x="8507127" y="724970"/>
                  <a:pt x="8537609" y="724970"/>
                </a:cubicBezTo>
                <a:close/>
                <a:moveTo>
                  <a:pt x="8407318" y="724970"/>
                </a:moveTo>
                <a:cubicBezTo>
                  <a:pt x="8437800" y="724970"/>
                  <a:pt x="8462510" y="749680"/>
                  <a:pt x="8462510" y="780161"/>
                </a:cubicBezTo>
                <a:cubicBezTo>
                  <a:pt x="8462510" y="810642"/>
                  <a:pt x="8437800" y="835352"/>
                  <a:pt x="8407318" y="835352"/>
                </a:cubicBezTo>
                <a:cubicBezTo>
                  <a:pt x="8376836" y="835352"/>
                  <a:pt x="8352126" y="810642"/>
                  <a:pt x="8352126" y="780161"/>
                </a:cubicBezTo>
                <a:cubicBezTo>
                  <a:pt x="8352126" y="749680"/>
                  <a:pt x="8376836" y="724970"/>
                  <a:pt x="8407318" y="724970"/>
                </a:cubicBezTo>
                <a:close/>
                <a:moveTo>
                  <a:pt x="8273682" y="724970"/>
                </a:moveTo>
                <a:cubicBezTo>
                  <a:pt x="8304164" y="724970"/>
                  <a:pt x="8328874" y="749680"/>
                  <a:pt x="8328874" y="780161"/>
                </a:cubicBezTo>
                <a:cubicBezTo>
                  <a:pt x="8328874" y="810642"/>
                  <a:pt x="8304164" y="835352"/>
                  <a:pt x="8273682" y="835352"/>
                </a:cubicBezTo>
                <a:cubicBezTo>
                  <a:pt x="8243200" y="835352"/>
                  <a:pt x="8218490" y="810642"/>
                  <a:pt x="8218490" y="780161"/>
                </a:cubicBezTo>
                <a:cubicBezTo>
                  <a:pt x="8218490" y="749680"/>
                  <a:pt x="8243200" y="724970"/>
                  <a:pt x="8273682" y="724970"/>
                </a:cubicBezTo>
                <a:close/>
                <a:moveTo>
                  <a:pt x="8143386" y="724970"/>
                </a:moveTo>
                <a:cubicBezTo>
                  <a:pt x="8173868" y="724970"/>
                  <a:pt x="8198578" y="749680"/>
                  <a:pt x="8198578" y="780161"/>
                </a:cubicBezTo>
                <a:cubicBezTo>
                  <a:pt x="8198578" y="810642"/>
                  <a:pt x="8173868" y="835352"/>
                  <a:pt x="8143386" y="835352"/>
                </a:cubicBezTo>
                <a:cubicBezTo>
                  <a:pt x="8112904" y="835352"/>
                  <a:pt x="8088194" y="810642"/>
                  <a:pt x="8088194" y="780161"/>
                </a:cubicBezTo>
                <a:cubicBezTo>
                  <a:pt x="8088194" y="749680"/>
                  <a:pt x="8112904" y="724970"/>
                  <a:pt x="8143386" y="724970"/>
                </a:cubicBezTo>
                <a:close/>
                <a:moveTo>
                  <a:pt x="8009753" y="724970"/>
                </a:moveTo>
                <a:cubicBezTo>
                  <a:pt x="8040235" y="724970"/>
                  <a:pt x="8064945" y="749680"/>
                  <a:pt x="8064945" y="780161"/>
                </a:cubicBezTo>
                <a:cubicBezTo>
                  <a:pt x="8064945" y="810642"/>
                  <a:pt x="8040235" y="835352"/>
                  <a:pt x="8009753" y="835352"/>
                </a:cubicBezTo>
                <a:cubicBezTo>
                  <a:pt x="7979271" y="835352"/>
                  <a:pt x="7954561" y="810642"/>
                  <a:pt x="7954561" y="780161"/>
                </a:cubicBezTo>
                <a:cubicBezTo>
                  <a:pt x="7954561" y="749680"/>
                  <a:pt x="7979271" y="724970"/>
                  <a:pt x="8009753" y="724970"/>
                </a:cubicBezTo>
                <a:close/>
                <a:moveTo>
                  <a:pt x="7876118" y="724970"/>
                </a:moveTo>
                <a:cubicBezTo>
                  <a:pt x="7906600" y="724970"/>
                  <a:pt x="7931310" y="749680"/>
                  <a:pt x="7931310" y="780161"/>
                </a:cubicBezTo>
                <a:cubicBezTo>
                  <a:pt x="7931310" y="810642"/>
                  <a:pt x="7906600" y="835352"/>
                  <a:pt x="7876118" y="835352"/>
                </a:cubicBezTo>
                <a:cubicBezTo>
                  <a:pt x="7845636" y="835352"/>
                  <a:pt x="7820926" y="810642"/>
                  <a:pt x="7820926" y="780161"/>
                </a:cubicBezTo>
                <a:cubicBezTo>
                  <a:pt x="7820926" y="749680"/>
                  <a:pt x="7845636" y="724970"/>
                  <a:pt x="7876118" y="724970"/>
                </a:cubicBezTo>
                <a:close/>
                <a:moveTo>
                  <a:pt x="7745824" y="724970"/>
                </a:moveTo>
                <a:cubicBezTo>
                  <a:pt x="7776306" y="724970"/>
                  <a:pt x="7801016" y="749680"/>
                  <a:pt x="7801016" y="780161"/>
                </a:cubicBezTo>
                <a:cubicBezTo>
                  <a:pt x="7801016" y="810642"/>
                  <a:pt x="7776306" y="835352"/>
                  <a:pt x="7745824" y="835352"/>
                </a:cubicBezTo>
                <a:cubicBezTo>
                  <a:pt x="7715342" y="835352"/>
                  <a:pt x="7690632" y="810642"/>
                  <a:pt x="7690632" y="780161"/>
                </a:cubicBezTo>
                <a:cubicBezTo>
                  <a:pt x="7690632" y="749680"/>
                  <a:pt x="7715342" y="724970"/>
                  <a:pt x="7745824" y="724970"/>
                </a:cubicBezTo>
                <a:close/>
                <a:moveTo>
                  <a:pt x="7608850" y="724970"/>
                </a:moveTo>
                <a:cubicBezTo>
                  <a:pt x="7639332" y="724970"/>
                  <a:pt x="7664042" y="749680"/>
                  <a:pt x="7664042" y="780161"/>
                </a:cubicBezTo>
                <a:cubicBezTo>
                  <a:pt x="7664042" y="810642"/>
                  <a:pt x="7639332" y="835352"/>
                  <a:pt x="7608850" y="835352"/>
                </a:cubicBezTo>
                <a:cubicBezTo>
                  <a:pt x="7578368" y="835352"/>
                  <a:pt x="7553658" y="810642"/>
                  <a:pt x="7553658" y="780161"/>
                </a:cubicBezTo>
                <a:cubicBezTo>
                  <a:pt x="7553658" y="749680"/>
                  <a:pt x="7578368" y="724970"/>
                  <a:pt x="7608850" y="724970"/>
                </a:cubicBezTo>
                <a:close/>
                <a:moveTo>
                  <a:pt x="7481895" y="724970"/>
                </a:moveTo>
                <a:cubicBezTo>
                  <a:pt x="7512377" y="724970"/>
                  <a:pt x="7537087" y="749680"/>
                  <a:pt x="7537087" y="780161"/>
                </a:cubicBezTo>
                <a:cubicBezTo>
                  <a:pt x="7537087" y="810642"/>
                  <a:pt x="7512377" y="835352"/>
                  <a:pt x="7481895" y="835352"/>
                </a:cubicBezTo>
                <a:cubicBezTo>
                  <a:pt x="7451413" y="835352"/>
                  <a:pt x="7426703" y="810642"/>
                  <a:pt x="7426703" y="780161"/>
                </a:cubicBezTo>
                <a:cubicBezTo>
                  <a:pt x="7426703" y="749680"/>
                  <a:pt x="7451413" y="724970"/>
                  <a:pt x="7481895" y="724970"/>
                </a:cubicBezTo>
                <a:close/>
                <a:moveTo>
                  <a:pt x="7341579" y="724970"/>
                </a:moveTo>
                <a:cubicBezTo>
                  <a:pt x="7372061" y="724970"/>
                  <a:pt x="7396771" y="749680"/>
                  <a:pt x="7396771" y="780161"/>
                </a:cubicBezTo>
                <a:cubicBezTo>
                  <a:pt x="7396771" y="810642"/>
                  <a:pt x="7372061" y="835352"/>
                  <a:pt x="7341579" y="835352"/>
                </a:cubicBezTo>
                <a:cubicBezTo>
                  <a:pt x="7311097" y="835352"/>
                  <a:pt x="7286387" y="810642"/>
                  <a:pt x="7286387" y="780161"/>
                </a:cubicBezTo>
                <a:cubicBezTo>
                  <a:pt x="7286387" y="749680"/>
                  <a:pt x="7311097" y="724970"/>
                  <a:pt x="7341579" y="724970"/>
                </a:cubicBezTo>
                <a:close/>
                <a:moveTo>
                  <a:pt x="7211286" y="724970"/>
                </a:moveTo>
                <a:cubicBezTo>
                  <a:pt x="7241768" y="724970"/>
                  <a:pt x="7266478" y="749680"/>
                  <a:pt x="7266478" y="780161"/>
                </a:cubicBezTo>
                <a:cubicBezTo>
                  <a:pt x="7266478" y="810642"/>
                  <a:pt x="7241768" y="835352"/>
                  <a:pt x="7211286" y="835352"/>
                </a:cubicBezTo>
                <a:cubicBezTo>
                  <a:pt x="7180804" y="835352"/>
                  <a:pt x="7156094" y="810642"/>
                  <a:pt x="7156094" y="780161"/>
                </a:cubicBezTo>
                <a:cubicBezTo>
                  <a:pt x="7156094" y="749680"/>
                  <a:pt x="7180804" y="724970"/>
                  <a:pt x="7211286" y="724970"/>
                </a:cubicBezTo>
                <a:close/>
                <a:moveTo>
                  <a:pt x="7080994" y="724970"/>
                </a:moveTo>
                <a:cubicBezTo>
                  <a:pt x="7111476" y="724970"/>
                  <a:pt x="7136186" y="749680"/>
                  <a:pt x="7136186" y="780161"/>
                </a:cubicBezTo>
                <a:cubicBezTo>
                  <a:pt x="7136186" y="810642"/>
                  <a:pt x="7111476" y="835352"/>
                  <a:pt x="7080994" y="835352"/>
                </a:cubicBezTo>
                <a:cubicBezTo>
                  <a:pt x="7050512" y="835352"/>
                  <a:pt x="7025802" y="810642"/>
                  <a:pt x="7025802" y="780161"/>
                </a:cubicBezTo>
                <a:cubicBezTo>
                  <a:pt x="7025802" y="749680"/>
                  <a:pt x="7050512" y="724970"/>
                  <a:pt x="7080994" y="724970"/>
                </a:cubicBezTo>
                <a:close/>
                <a:moveTo>
                  <a:pt x="6947358" y="724970"/>
                </a:moveTo>
                <a:cubicBezTo>
                  <a:pt x="6977840" y="724970"/>
                  <a:pt x="7002550" y="749680"/>
                  <a:pt x="7002550" y="780161"/>
                </a:cubicBezTo>
                <a:cubicBezTo>
                  <a:pt x="7002550" y="810642"/>
                  <a:pt x="6977840" y="835352"/>
                  <a:pt x="6947358" y="835352"/>
                </a:cubicBezTo>
                <a:cubicBezTo>
                  <a:pt x="6916876" y="835352"/>
                  <a:pt x="6892166" y="810642"/>
                  <a:pt x="6892166" y="780161"/>
                </a:cubicBezTo>
                <a:cubicBezTo>
                  <a:pt x="6892166" y="749680"/>
                  <a:pt x="6916876" y="724970"/>
                  <a:pt x="6947358" y="724970"/>
                </a:cubicBezTo>
                <a:close/>
                <a:moveTo>
                  <a:pt x="6817064" y="724970"/>
                </a:moveTo>
                <a:cubicBezTo>
                  <a:pt x="6847546" y="724970"/>
                  <a:pt x="6872256" y="749680"/>
                  <a:pt x="6872256" y="780161"/>
                </a:cubicBezTo>
                <a:cubicBezTo>
                  <a:pt x="6872256" y="810642"/>
                  <a:pt x="6847546" y="835352"/>
                  <a:pt x="6817064" y="835352"/>
                </a:cubicBezTo>
                <a:cubicBezTo>
                  <a:pt x="6786582" y="835352"/>
                  <a:pt x="6761872" y="810642"/>
                  <a:pt x="6761872" y="780161"/>
                </a:cubicBezTo>
                <a:cubicBezTo>
                  <a:pt x="6761872" y="749680"/>
                  <a:pt x="6786582" y="724970"/>
                  <a:pt x="6817064" y="724970"/>
                </a:cubicBezTo>
                <a:close/>
                <a:moveTo>
                  <a:pt x="6683431" y="724970"/>
                </a:moveTo>
                <a:cubicBezTo>
                  <a:pt x="6713913" y="724970"/>
                  <a:pt x="6738623" y="749680"/>
                  <a:pt x="6738623" y="780161"/>
                </a:cubicBezTo>
                <a:cubicBezTo>
                  <a:pt x="6738623" y="810642"/>
                  <a:pt x="6713913" y="835352"/>
                  <a:pt x="6683431" y="835352"/>
                </a:cubicBezTo>
                <a:cubicBezTo>
                  <a:pt x="6652949" y="835352"/>
                  <a:pt x="6628239" y="810642"/>
                  <a:pt x="6628239" y="780161"/>
                </a:cubicBezTo>
                <a:cubicBezTo>
                  <a:pt x="6628239" y="749680"/>
                  <a:pt x="6652949" y="724970"/>
                  <a:pt x="6683431" y="724970"/>
                </a:cubicBezTo>
                <a:close/>
                <a:moveTo>
                  <a:pt x="6553137" y="724970"/>
                </a:moveTo>
                <a:cubicBezTo>
                  <a:pt x="6583619" y="724970"/>
                  <a:pt x="6608329" y="749680"/>
                  <a:pt x="6608329" y="780161"/>
                </a:cubicBezTo>
                <a:cubicBezTo>
                  <a:pt x="6608329" y="810642"/>
                  <a:pt x="6583619" y="835352"/>
                  <a:pt x="6553137" y="835352"/>
                </a:cubicBezTo>
                <a:cubicBezTo>
                  <a:pt x="6522655" y="835352"/>
                  <a:pt x="6497945" y="810642"/>
                  <a:pt x="6497945" y="780161"/>
                </a:cubicBezTo>
                <a:cubicBezTo>
                  <a:pt x="6497945" y="749680"/>
                  <a:pt x="6522655" y="724970"/>
                  <a:pt x="6553137" y="724970"/>
                </a:cubicBezTo>
                <a:close/>
                <a:moveTo>
                  <a:pt x="6419503" y="724970"/>
                </a:moveTo>
                <a:cubicBezTo>
                  <a:pt x="6449985" y="724970"/>
                  <a:pt x="6474695" y="749680"/>
                  <a:pt x="6474695" y="780161"/>
                </a:cubicBezTo>
                <a:cubicBezTo>
                  <a:pt x="6474695" y="810642"/>
                  <a:pt x="6449985" y="835352"/>
                  <a:pt x="6419503" y="835352"/>
                </a:cubicBezTo>
                <a:cubicBezTo>
                  <a:pt x="6389021" y="835352"/>
                  <a:pt x="6364311" y="810642"/>
                  <a:pt x="6364311" y="780161"/>
                </a:cubicBezTo>
                <a:cubicBezTo>
                  <a:pt x="6364311" y="749680"/>
                  <a:pt x="6389021" y="724970"/>
                  <a:pt x="6419503" y="724970"/>
                </a:cubicBezTo>
                <a:close/>
                <a:moveTo>
                  <a:pt x="6289207" y="724970"/>
                </a:moveTo>
                <a:cubicBezTo>
                  <a:pt x="6319689" y="724970"/>
                  <a:pt x="6344399" y="749680"/>
                  <a:pt x="6344399" y="780161"/>
                </a:cubicBezTo>
                <a:cubicBezTo>
                  <a:pt x="6344399" y="810642"/>
                  <a:pt x="6319689" y="835352"/>
                  <a:pt x="6289207" y="835352"/>
                </a:cubicBezTo>
                <a:cubicBezTo>
                  <a:pt x="6258725" y="835352"/>
                  <a:pt x="6234015" y="810642"/>
                  <a:pt x="6234015" y="780161"/>
                </a:cubicBezTo>
                <a:cubicBezTo>
                  <a:pt x="6234015" y="749680"/>
                  <a:pt x="6258725" y="724970"/>
                  <a:pt x="6289207" y="724970"/>
                </a:cubicBezTo>
                <a:close/>
                <a:moveTo>
                  <a:pt x="6155573" y="724970"/>
                </a:moveTo>
                <a:cubicBezTo>
                  <a:pt x="6186055" y="724970"/>
                  <a:pt x="6210765" y="749680"/>
                  <a:pt x="6210765" y="780161"/>
                </a:cubicBezTo>
                <a:cubicBezTo>
                  <a:pt x="6210765" y="810642"/>
                  <a:pt x="6186055" y="835352"/>
                  <a:pt x="6155573" y="835352"/>
                </a:cubicBezTo>
                <a:cubicBezTo>
                  <a:pt x="6125091" y="835352"/>
                  <a:pt x="6100381" y="810642"/>
                  <a:pt x="6100381" y="780161"/>
                </a:cubicBezTo>
                <a:cubicBezTo>
                  <a:pt x="6100381" y="749680"/>
                  <a:pt x="6125091" y="724970"/>
                  <a:pt x="6155573" y="724970"/>
                </a:cubicBezTo>
                <a:close/>
                <a:moveTo>
                  <a:pt x="5621035" y="724970"/>
                </a:moveTo>
                <a:cubicBezTo>
                  <a:pt x="5651517" y="724970"/>
                  <a:pt x="5676227" y="749680"/>
                  <a:pt x="5676227" y="780161"/>
                </a:cubicBezTo>
                <a:cubicBezTo>
                  <a:pt x="5676227" y="810642"/>
                  <a:pt x="5651517" y="835352"/>
                  <a:pt x="5621035" y="835352"/>
                </a:cubicBezTo>
                <a:cubicBezTo>
                  <a:pt x="5590553" y="835352"/>
                  <a:pt x="5565843" y="810642"/>
                  <a:pt x="5565843" y="780161"/>
                </a:cubicBezTo>
                <a:cubicBezTo>
                  <a:pt x="5565843" y="749680"/>
                  <a:pt x="5590553" y="724970"/>
                  <a:pt x="5621035" y="724970"/>
                </a:cubicBezTo>
                <a:close/>
                <a:moveTo>
                  <a:pt x="5487399" y="724970"/>
                </a:moveTo>
                <a:cubicBezTo>
                  <a:pt x="5517881" y="724970"/>
                  <a:pt x="5542591" y="749680"/>
                  <a:pt x="5542591" y="780161"/>
                </a:cubicBezTo>
                <a:cubicBezTo>
                  <a:pt x="5542591" y="810642"/>
                  <a:pt x="5517881" y="835352"/>
                  <a:pt x="5487399" y="835352"/>
                </a:cubicBezTo>
                <a:cubicBezTo>
                  <a:pt x="5456917" y="835352"/>
                  <a:pt x="5432207" y="810642"/>
                  <a:pt x="5432207" y="780161"/>
                </a:cubicBezTo>
                <a:cubicBezTo>
                  <a:pt x="5432207" y="749680"/>
                  <a:pt x="5456917" y="724970"/>
                  <a:pt x="5487399" y="724970"/>
                </a:cubicBezTo>
                <a:close/>
                <a:moveTo>
                  <a:pt x="5357106" y="724970"/>
                </a:moveTo>
                <a:cubicBezTo>
                  <a:pt x="5387588" y="724970"/>
                  <a:pt x="5412298" y="749680"/>
                  <a:pt x="5412298" y="780161"/>
                </a:cubicBezTo>
                <a:cubicBezTo>
                  <a:pt x="5412298" y="810642"/>
                  <a:pt x="5387588" y="835352"/>
                  <a:pt x="5357106" y="835352"/>
                </a:cubicBezTo>
                <a:cubicBezTo>
                  <a:pt x="5326624" y="835352"/>
                  <a:pt x="5301914" y="810642"/>
                  <a:pt x="5301914" y="780161"/>
                </a:cubicBezTo>
                <a:cubicBezTo>
                  <a:pt x="5301914" y="749680"/>
                  <a:pt x="5326624" y="724970"/>
                  <a:pt x="5357106" y="724970"/>
                </a:cubicBezTo>
                <a:close/>
                <a:moveTo>
                  <a:pt x="5223473" y="724970"/>
                </a:moveTo>
                <a:cubicBezTo>
                  <a:pt x="5253955" y="724970"/>
                  <a:pt x="5278665" y="749680"/>
                  <a:pt x="5278665" y="780161"/>
                </a:cubicBezTo>
                <a:cubicBezTo>
                  <a:pt x="5278665" y="810642"/>
                  <a:pt x="5253955" y="835352"/>
                  <a:pt x="5223473" y="835352"/>
                </a:cubicBezTo>
                <a:cubicBezTo>
                  <a:pt x="5192991" y="835352"/>
                  <a:pt x="5168281" y="810642"/>
                  <a:pt x="5168281" y="780161"/>
                </a:cubicBezTo>
                <a:cubicBezTo>
                  <a:pt x="5168281" y="749680"/>
                  <a:pt x="5192991" y="724970"/>
                  <a:pt x="5223473" y="724970"/>
                </a:cubicBezTo>
                <a:close/>
                <a:moveTo>
                  <a:pt x="5093178" y="724970"/>
                </a:moveTo>
                <a:cubicBezTo>
                  <a:pt x="5123660" y="724970"/>
                  <a:pt x="5148370" y="749680"/>
                  <a:pt x="5148370" y="780161"/>
                </a:cubicBezTo>
                <a:cubicBezTo>
                  <a:pt x="5148370" y="810642"/>
                  <a:pt x="5123660" y="835352"/>
                  <a:pt x="5093178" y="835352"/>
                </a:cubicBezTo>
                <a:cubicBezTo>
                  <a:pt x="5062696" y="835352"/>
                  <a:pt x="5037986" y="810642"/>
                  <a:pt x="5037986" y="780161"/>
                </a:cubicBezTo>
                <a:cubicBezTo>
                  <a:pt x="5037986" y="749680"/>
                  <a:pt x="5062696" y="724970"/>
                  <a:pt x="5093178" y="724970"/>
                </a:cubicBezTo>
                <a:close/>
                <a:moveTo>
                  <a:pt x="3897148" y="724970"/>
                </a:moveTo>
                <a:cubicBezTo>
                  <a:pt x="3927630" y="724970"/>
                  <a:pt x="3952340" y="749680"/>
                  <a:pt x="3952340" y="780161"/>
                </a:cubicBezTo>
                <a:cubicBezTo>
                  <a:pt x="3952340" y="810642"/>
                  <a:pt x="3927630" y="835352"/>
                  <a:pt x="3897148" y="835352"/>
                </a:cubicBezTo>
                <a:cubicBezTo>
                  <a:pt x="3866666" y="835352"/>
                  <a:pt x="3841956" y="810642"/>
                  <a:pt x="3841956" y="780161"/>
                </a:cubicBezTo>
                <a:cubicBezTo>
                  <a:pt x="3841956" y="749680"/>
                  <a:pt x="3866666" y="724970"/>
                  <a:pt x="3897148" y="724970"/>
                </a:cubicBezTo>
                <a:close/>
                <a:moveTo>
                  <a:pt x="3763514" y="724970"/>
                </a:moveTo>
                <a:cubicBezTo>
                  <a:pt x="3793996" y="724970"/>
                  <a:pt x="3818706" y="749680"/>
                  <a:pt x="3818706" y="780161"/>
                </a:cubicBezTo>
                <a:cubicBezTo>
                  <a:pt x="3818706" y="810642"/>
                  <a:pt x="3793996" y="835352"/>
                  <a:pt x="3763514" y="835352"/>
                </a:cubicBezTo>
                <a:cubicBezTo>
                  <a:pt x="3733032" y="835352"/>
                  <a:pt x="3708322" y="810642"/>
                  <a:pt x="3708322" y="780161"/>
                </a:cubicBezTo>
                <a:cubicBezTo>
                  <a:pt x="3708322" y="749680"/>
                  <a:pt x="3733032" y="724970"/>
                  <a:pt x="3763514" y="724970"/>
                </a:cubicBezTo>
                <a:close/>
                <a:moveTo>
                  <a:pt x="3633221" y="724970"/>
                </a:moveTo>
                <a:cubicBezTo>
                  <a:pt x="3663703" y="724970"/>
                  <a:pt x="3688413" y="749680"/>
                  <a:pt x="3688413" y="780161"/>
                </a:cubicBezTo>
                <a:cubicBezTo>
                  <a:pt x="3688413" y="810642"/>
                  <a:pt x="3663703" y="835352"/>
                  <a:pt x="3633221" y="835352"/>
                </a:cubicBezTo>
                <a:cubicBezTo>
                  <a:pt x="3602739" y="835352"/>
                  <a:pt x="3578029" y="810642"/>
                  <a:pt x="3578029" y="780161"/>
                </a:cubicBezTo>
                <a:cubicBezTo>
                  <a:pt x="3578029" y="749680"/>
                  <a:pt x="3602739" y="724970"/>
                  <a:pt x="3633221" y="724970"/>
                </a:cubicBezTo>
                <a:close/>
                <a:moveTo>
                  <a:pt x="3499586" y="724970"/>
                </a:moveTo>
                <a:cubicBezTo>
                  <a:pt x="3530068" y="724970"/>
                  <a:pt x="3554778" y="749680"/>
                  <a:pt x="3554778" y="780161"/>
                </a:cubicBezTo>
                <a:cubicBezTo>
                  <a:pt x="3554778" y="810642"/>
                  <a:pt x="3530068" y="835352"/>
                  <a:pt x="3499586" y="835352"/>
                </a:cubicBezTo>
                <a:cubicBezTo>
                  <a:pt x="3469104" y="835352"/>
                  <a:pt x="3444394" y="810642"/>
                  <a:pt x="3444394" y="780161"/>
                </a:cubicBezTo>
                <a:cubicBezTo>
                  <a:pt x="3444394" y="749680"/>
                  <a:pt x="3469104" y="724970"/>
                  <a:pt x="3499586" y="724970"/>
                </a:cubicBezTo>
                <a:close/>
                <a:moveTo>
                  <a:pt x="3369292" y="724970"/>
                </a:moveTo>
                <a:cubicBezTo>
                  <a:pt x="3399774" y="724970"/>
                  <a:pt x="3424484" y="749680"/>
                  <a:pt x="3424484" y="780161"/>
                </a:cubicBezTo>
                <a:cubicBezTo>
                  <a:pt x="3424484" y="810642"/>
                  <a:pt x="3399774" y="835352"/>
                  <a:pt x="3369292" y="835352"/>
                </a:cubicBezTo>
                <a:cubicBezTo>
                  <a:pt x="3338810" y="835352"/>
                  <a:pt x="3314100" y="810642"/>
                  <a:pt x="3314100" y="780161"/>
                </a:cubicBezTo>
                <a:cubicBezTo>
                  <a:pt x="3314100" y="749680"/>
                  <a:pt x="3338810" y="724970"/>
                  <a:pt x="3369292" y="724970"/>
                </a:cubicBezTo>
                <a:close/>
                <a:moveTo>
                  <a:pt x="2834856" y="724970"/>
                </a:moveTo>
                <a:cubicBezTo>
                  <a:pt x="2865340" y="724970"/>
                  <a:pt x="2890049" y="749680"/>
                  <a:pt x="2890049" y="780161"/>
                </a:cubicBezTo>
                <a:cubicBezTo>
                  <a:pt x="2890049" y="810642"/>
                  <a:pt x="2865340" y="835352"/>
                  <a:pt x="2834856" y="835352"/>
                </a:cubicBezTo>
                <a:cubicBezTo>
                  <a:pt x="2804376" y="835352"/>
                  <a:pt x="2779665" y="810642"/>
                  <a:pt x="2779665" y="780161"/>
                </a:cubicBezTo>
                <a:cubicBezTo>
                  <a:pt x="2779665" y="749680"/>
                  <a:pt x="2804376" y="724970"/>
                  <a:pt x="2834856" y="724970"/>
                </a:cubicBezTo>
                <a:close/>
                <a:moveTo>
                  <a:pt x="2707901" y="724970"/>
                </a:moveTo>
                <a:cubicBezTo>
                  <a:pt x="2738385" y="724970"/>
                  <a:pt x="2763094" y="749680"/>
                  <a:pt x="2763094" y="780161"/>
                </a:cubicBezTo>
                <a:cubicBezTo>
                  <a:pt x="2763094" y="810642"/>
                  <a:pt x="2738385" y="835352"/>
                  <a:pt x="2707901" y="835352"/>
                </a:cubicBezTo>
                <a:cubicBezTo>
                  <a:pt x="2677420" y="835352"/>
                  <a:pt x="2652711" y="810642"/>
                  <a:pt x="2652711" y="780161"/>
                </a:cubicBezTo>
                <a:cubicBezTo>
                  <a:pt x="2652711" y="749680"/>
                  <a:pt x="2677420" y="724970"/>
                  <a:pt x="2707901" y="724970"/>
                </a:cubicBezTo>
                <a:close/>
                <a:moveTo>
                  <a:pt x="2570929" y="724970"/>
                </a:moveTo>
                <a:cubicBezTo>
                  <a:pt x="2601412" y="724970"/>
                  <a:pt x="2626122" y="749680"/>
                  <a:pt x="2626122" y="780161"/>
                </a:cubicBezTo>
                <a:cubicBezTo>
                  <a:pt x="2626122" y="810642"/>
                  <a:pt x="2601412" y="835352"/>
                  <a:pt x="2570929" y="835352"/>
                </a:cubicBezTo>
                <a:cubicBezTo>
                  <a:pt x="2540446" y="835352"/>
                  <a:pt x="2515735" y="810642"/>
                  <a:pt x="2515735" y="780161"/>
                </a:cubicBezTo>
                <a:cubicBezTo>
                  <a:pt x="2515735" y="749680"/>
                  <a:pt x="2540446" y="724970"/>
                  <a:pt x="2570929" y="724970"/>
                </a:cubicBezTo>
                <a:close/>
                <a:moveTo>
                  <a:pt x="2437294" y="724970"/>
                </a:moveTo>
                <a:cubicBezTo>
                  <a:pt x="2467777" y="724970"/>
                  <a:pt x="2492487" y="749680"/>
                  <a:pt x="2492487" y="780161"/>
                </a:cubicBezTo>
                <a:cubicBezTo>
                  <a:pt x="2492487" y="810642"/>
                  <a:pt x="2467777" y="835352"/>
                  <a:pt x="2437294" y="835352"/>
                </a:cubicBezTo>
                <a:cubicBezTo>
                  <a:pt x="2406815" y="835352"/>
                  <a:pt x="2382104" y="810642"/>
                  <a:pt x="2382104" y="780161"/>
                </a:cubicBezTo>
                <a:cubicBezTo>
                  <a:pt x="2382104" y="749680"/>
                  <a:pt x="2406815" y="724970"/>
                  <a:pt x="2437294" y="724970"/>
                </a:cubicBezTo>
                <a:close/>
                <a:moveTo>
                  <a:pt x="2303662" y="724970"/>
                </a:moveTo>
                <a:cubicBezTo>
                  <a:pt x="2334145" y="724970"/>
                  <a:pt x="2358853" y="749680"/>
                  <a:pt x="2358853" y="780161"/>
                </a:cubicBezTo>
                <a:cubicBezTo>
                  <a:pt x="2358853" y="810642"/>
                  <a:pt x="2334145" y="835352"/>
                  <a:pt x="2303662" y="835352"/>
                </a:cubicBezTo>
                <a:cubicBezTo>
                  <a:pt x="2273180" y="835352"/>
                  <a:pt x="2248471" y="810642"/>
                  <a:pt x="2248471" y="780161"/>
                </a:cubicBezTo>
                <a:cubicBezTo>
                  <a:pt x="2248471" y="749680"/>
                  <a:pt x="2273180" y="724970"/>
                  <a:pt x="2303662" y="724970"/>
                </a:cubicBezTo>
                <a:close/>
                <a:moveTo>
                  <a:pt x="2173371" y="724970"/>
                </a:moveTo>
                <a:cubicBezTo>
                  <a:pt x="2203851" y="724970"/>
                  <a:pt x="2228562" y="749680"/>
                  <a:pt x="2228562" y="780161"/>
                </a:cubicBezTo>
                <a:cubicBezTo>
                  <a:pt x="2228562" y="810642"/>
                  <a:pt x="2203851" y="835352"/>
                  <a:pt x="2173371" y="835352"/>
                </a:cubicBezTo>
                <a:cubicBezTo>
                  <a:pt x="2142888" y="835352"/>
                  <a:pt x="2118177" y="810642"/>
                  <a:pt x="2118177" y="780161"/>
                </a:cubicBezTo>
                <a:cubicBezTo>
                  <a:pt x="2118177" y="749680"/>
                  <a:pt x="2142888" y="724970"/>
                  <a:pt x="2173371" y="724970"/>
                </a:cubicBezTo>
                <a:close/>
                <a:moveTo>
                  <a:pt x="2039733" y="724970"/>
                </a:moveTo>
                <a:cubicBezTo>
                  <a:pt x="2070216" y="724970"/>
                  <a:pt x="2094927" y="749680"/>
                  <a:pt x="2094927" y="780161"/>
                </a:cubicBezTo>
                <a:cubicBezTo>
                  <a:pt x="2094927" y="810642"/>
                  <a:pt x="2070216" y="835352"/>
                  <a:pt x="2039733" y="835352"/>
                </a:cubicBezTo>
                <a:cubicBezTo>
                  <a:pt x="2009252" y="835352"/>
                  <a:pt x="1984539" y="810642"/>
                  <a:pt x="1984539" y="780161"/>
                </a:cubicBezTo>
                <a:cubicBezTo>
                  <a:pt x="1984539" y="749680"/>
                  <a:pt x="2009252" y="724970"/>
                  <a:pt x="2039733" y="724970"/>
                </a:cubicBezTo>
                <a:close/>
                <a:moveTo>
                  <a:pt x="1909436" y="724970"/>
                </a:moveTo>
                <a:cubicBezTo>
                  <a:pt x="1939919" y="724970"/>
                  <a:pt x="1964630" y="749680"/>
                  <a:pt x="1964630" y="780161"/>
                </a:cubicBezTo>
                <a:cubicBezTo>
                  <a:pt x="1964630" y="810642"/>
                  <a:pt x="1939919" y="835352"/>
                  <a:pt x="1909436" y="835352"/>
                </a:cubicBezTo>
                <a:cubicBezTo>
                  <a:pt x="1878955" y="835352"/>
                  <a:pt x="1854243" y="810642"/>
                  <a:pt x="1854243" y="780161"/>
                </a:cubicBezTo>
                <a:cubicBezTo>
                  <a:pt x="1854243" y="749680"/>
                  <a:pt x="1878955" y="724970"/>
                  <a:pt x="1909436" y="724970"/>
                </a:cubicBezTo>
                <a:close/>
                <a:moveTo>
                  <a:pt x="1779142" y="724970"/>
                </a:moveTo>
                <a:cubicBezTo>
                  <a:pt x="1809623" y="724970"/>
                  <a:pt x="1834335" y="749680"/>
                  <a:pt x="1834335" y="780161"/>
                </a:cubicBezTo>
                <a:cubicBezTo>
                  <a:pt x="1834335" y="810642"/>
                  <a:pt x="1809623" y="835352"/>
                  <a:pt x="1779142" y="835352"/>
                </a:cubicBezTo>
                <a:cubicBezTo>
                  <a:pt x="1748660" y="835352"/>
                  <a:pt x="1723947" y="810642"/>
                  <a:pt x="1723947" y="780161"/>
                </a:cubicBezTo>
                <a:cubicBezTo>
                  <a:pt x="1723947" y="749680"/>
                  <a:pt x="1748660" y="724970"/>
                  <a:pt x="1779142" y="724970"/>
                </a:cubicBezTo>
                <a:close/>
                <a:moveTo>
                  <a:pt x="1645501" y="724970"/>
                </a:moveTo>
                <a:cubicBezTo>
                  <a:pt x="1675988" y="724970"/>
                  <a:pt x="1700699" y="749680"/>
                  <a:pt x="1700699" y="780161"/>
                </a:cubicBezTo>
                <a:cubicBezTo>
                  <a:pt x="1700699" y="810642"/>
                  <a:pt x="1675988" y="835352"/>
                  <a:pt x="1645501" y="835352"/>
                </a:cubicBezTo>
                <a:cubicBezTo>
                  <a:pt x="1615024" y="835352"/>
                  <a:pt x="1590310" y="810642"/>
                  <a:pt x="1590310" y="780161"/>
                </a:cubicBezTo>
                <a:cubicBezTo>
                  <a:pt x="1590310" y="749680"/>
                  <a:pt x="1615024" y="724970"/>
                  <a:pt x="1645501" y="724970"/>
                </a:cubicBezTo>
                <a:close/>
                <a:moveTo>
                  <a:pt x="1515213" y="724970"/>
                </a:moveTo>
                <a:cubicBezTo>
                  <a:pt x="1545692" y="724970"/>
                  <a:pt x="1570399" y="749680"/>
                  <a:pt x="1570399" y="780161"/>
                </a:cubicBezTo>
                <a:cubicBezTo>
                  <a:pt x="1570399" y="810642"/>
                  <a:pt x="1545692" y="835352"/>
                  <a:pt x="1515213" y="835352"/>
                </a:cubicBezTo>
                <a:cubicBezTo>
                  <a:pt x="1484730" y="835352"/>
                  <a:pt x="1460016" y="810642"/>
                  <a:pt x="1460016" y="780161"/>
                </a:cubicBezTo>
                <a:cubicBezTo>
                  <a:pt x="1460016" y="749680"/>
                  <a:pt x="1484730" y="724970"/>
                  <a:pt x="1515213" y="724970"/>
                </a:cubicBezTo>
                <a:close/>
                <a:moveTo>
                  <a:pt x="1381573" y="724970"/>
                </a:moveTo>
                <a:cubicBezTo>
                  <a:pt x="1412052" y="724970"/>
                  <a:pt x="1436767" y="749680"/>
                  <a:pt x="1436767" y="780161"/>
                </a:cubicBezTo>
                <a:cubicBezTo>
                  <a:pt x="1436767" y="810642"/>
                  <a:pt x="1412052" y="835352"/>
                  <a:pt x="1381573" y="835352"/>
                </a:cubicBezTo>
                <a:cubicBezTo>
                  <a:pt x="1351096" y="835352"/>
                  <a:pt x="1326381" y="810642"/>
                  <a:pt x="1326381" y="780161"/>
                </a:cubicBezTo>
                <a:cubicBezTo>
                  <a:pt x="1326381" y="749680"/>
                  <a:pt x="1351096" y="724970"/>
                  <a:pt x="1381573" y="724970"/>
                </a:cubicBezTo>
                <a:close/>
                <a:moveTo>
                  <a:pt x="1251282" y="724970"/>
                </a:moveTo>
                <a:cubicBezTo>
                  <a:pt x="1281764" y="724970"/>
                  <a:pt x="1306475" y="749680"/>
                  <a:pt x="1306475" y="780161"/>
                </a:cubicBezTo>
                <a:cubicBezTo>
                  <a:pt x="1306475" y="810642"/>
                  <a:pt x="1281764" y="835352"/>
                  <a:pt x="1251282" y="835352"/>
                </a:cubicBezTo>
                <a:cubicBezTo>
                  <a:pt x="1220800" y="835352"/>
                  <a:pt x="1196089" y="810642"/>
                  <a:pt x="1196089" y="780161"/>
                </a:cubicBezTo>
                <a:cubicBezTo>
                  <a:pt x="1196089" y="749680"/>
                  <a:pt x="1220800" y="724970"/>
                  <a:pt x="1251282" y="724970"/>
                </a:cubicBezTo>
                <a:close/>
                <a:moveTo>
                  <a:pt x="1117642" y="724970"/>
                </a:moveTo>
                <a:cubicBezTo>
                  <a:pt x="1148126" y="724970"/>
                  <a:pt x="1172836" y="749680"/>
                  <a:pt x="1172836" y="780161"/>
                </a:cubicBezTo>
                <a:cubicBezTo>
                  <a:pt x="1172836" y="810642"/>
                  <a:pt x="1148126" y="835352"/>
                  <a:pt x="1117642" y="835352"/>
                </a:cubicBezTo>
                <a:cubicBezTo>
                  <a:pt x="1087161" y="835352"/>
                  <a:pt x="1062448" y="810642"/>
                  <a:pt x="1062448" y="780161"/>
                </a:cubicBezTo>
                <a:cubicBezTo>
                  <a:pt x="1062448" y="749680"/>
                  <a:pt x="1087161" y="724970"/>
                  <a:pt x="1117642" y="724970"/>
                </a:cubicBezTo>
                <a:close/>
                <a:moveTo>
                  <a:pt x="980664" y="724970"/>
                </a:moveTo>
                <a:cubicBezTo>
                  <a:pt x="1011146" y="724970"/>
                  <a:pt x="1035857" y="749680"/>
                  <a:pt x="1035857" y="780161"/>
                </a:cubicBezTo>
                <a:cubicBezTo>
                  <a:pt x="1035857" y="810642"/>
                  <a:pt x="1011146" y="835352"/>
                  <a:pt x="980664" y="835352"/>
                </a:cubicBezTo>
                <a:cubicBezTo>
                  <a:pt x="950180" y="835352"/>
                  <a:pt x="925471" y="810642"/>
                  <a:pt x="925471" y="780161"/>
                </a:cubicBezTo>
                <a:cubicBezTo>
                  <a:pt x="925471" y="749680"/>
                  <a:pt x="950180" y="724970"/>
                  <a:pt x="980664" y="724970"/>
                </a:cubicBezTo>
                <a:close/>
                <a:moveTo>
                  <a:pt x="847022" y="724970"/>
                </a:moveTo>
                <a:cubicBezTo>
                  <a:pt x="877506" y="724970"/>
                  <a:pt x="902217" y="749680"/>
                  <a:pt x="902217" y="780161"/>
                </a:cubicBezTo>
                <a:cubicBezTo>
                  <a:pt x="902217" y="810642"/>
                  <a:pt x="877506" y="835352"/>
                  <a:pt x="847022" y="835352"/>
                </a:cubicBezTo>
                <a:cubicBezTo>
                  <a:pt x="816540" y="835352"/>
                  <a:pt x="791823" y="810642"/>
                  <a:pt x="791823" y="780161"/>
                </a:cubicBezTo>
                <a:cubicBezTo>
                  <a:pt x="791823" y="749680"/>
                  <a:pt x="816540" y="724970"/>
                  <a:pt x="847022" y="724970"/>
                </a:cubicBezTo>
                <a:close/>
                <a:moveTo>
                  <a:pt x="716722" y="724970"/>
                </a:moveTo>
                <a:cubicBezTo>
                  <a:pt x="747204" y="724970"/>
                  <a:pt x="771916" y="749680"/>
                  <a:pt x="771916" y="780161"/>
                </a:cubicBezTo>
                <a:cubicBezTo>
                  <a:pt x="771916" y="810642"/>
                  <a:pt x="747204" y="835352"/>
                  <a:pt x="716722" y="835352"/>
                </a:cubicBezTo>
                <a:cubicBezTo>
                  <a:pt x="686240" y="835352"/>
                  <a:pt x="661530" y="810642"/>
                  <a:pt x="661530" y="780161"/>
                </a:cubicBezTo>
                <a:cubicBezTo>
                  <a:pt x="661530" y="749680"/>
                  <a:pt x="686240" y="724970"/>
                  <a:pt x="716722" y="724970"/>
                </a:cubicBezTo>
                <a:close/>
                <a:moveTo>
                  <a:pt x="583085" y="724970"/>
                </a:moveTo>
                <a:cubicBezTo>
                  <a:pt x="613567" y="724970"/>
                  <a:pt x="638278" y="749680"/>
                  <a:pt x="638278" y="780161"/>
                </a:cubicBezTo>
                <a:cubicBezTo>
                  <a:pt x="638278" y="810642"/>
                  <a:pt x="613567" y="835352"/>
                  <a:pt x="583085" y="835352"/>
                </a:cubicBezTo>
                <a:cubicBezTo>
                  <a:pt x="552602" y="835352"/>
                  <a:pt x="527891" y="810642"/>
                  <a:pt x="527891" y="780161"/>
                </a:cubicBezTo>
                <a:cubicBezTo>
                  <a:pt x="527891" y="749680"/>
                  <a:pt x="552602" y="724970"/>
                  <a:pt x="583085" y="724970"/>
                </a:cubicBezTo>
                <a:close/>
                <a:moveTo>
                  <a:pt x="449437" y="724970"/>
                </a:moveTo>
                <a:cubicBezTo>
                  <a:pt x="479919" y="724970"/>
                  <a:pt x="504629" y="749680"/>
                  <a:pt x="504629" y="780161"/>
                </a:cubicBezTo>
                <a:cubicBezTo>
                  <a:pt x="504629" y="810642"/>
                  <a:pt x="479919" y="835352"/>
                  <a:pt x="449437" y="835352"/>
                </a:cubicBezTo>
                <a:cubicBezTo>
                  <a:pt x="418954" y="835352"/>
                  <a:pt x="394244" y="810642"/>
                  <a:pt x="394244" y="780161"/>
                </a:cubicBezTo>
                <a:cubicBezTo>
                  <a:pt x="394244" y="749680"/>
                  <a:pt x="418954" y="724970"/>
                  <a:pt x="449437" y="724970"/>
                </a:cubicBezTo>
                <a:close/>
                <a:moveTo>
                  <a:pt x="319140" y="724970"/>
                </a:moveTo>
                <a:cubicBezTo>
                  <a:pt x="349624" y="724970"/>
                  <a:pt x="374334" y="749680"/>
                  <a:pt x="374334" y="780161"/>
                </a:cubicBezTo>
                <a:cubicBezTo>
                  <a:pt x="374334" y="810642"/>
                  <a:pt x="349624" y="835352"/>
                  <a:pt x="319140" y="835352"/>
                </a:cubicBezTo>
                <a:cubicBezTo>
                  <a:pt x="288658" y="835352"/>
                  <a:pt x="263948" y="810642"/>
                  <a:pt x="263948" y="780161"/>
                </a:cubicBezTo>
                <a:cubicBezTo>
                  <a:pt x="263948" y="749680"/>
                  <a:pt x="288658" y="724970"/>
                  <a:pt x="319140" y="724970"/>
                </a:cubicBezTo>
                <a:close/>
                <a:moveTo>
                  <a:pt x="185509" y="724970"/>
                </a:moveTo>
                <a:cubicBezTo>
                  <a:pt x="215993" y="724970"/>
                  <a:pt x="240701" y="749680"/>
                  <a:pt x="240701" y="780161"/>
                </a:cubicBezTo>
                <a:cubicBezTo>
                  <a:pt x="240701" y="810642"/>
                  <a:pt x="215993" y="835352"/>
                  <a:pt x="185509" y="835352"/>
                </a:cubicBezTo>
                <a:cubicBezTo>
                  <a:pt x="155029" y="835352"/>
                  <a:pt x="130319" y="810642"/>
                  <a:pt x="130319" y="780161"/>
                </a:cubicBezTo>
                <a:cubicBezTo>
                  <a:pt x="130319" y="749680"/>
                  <a:pt x="155029" y="724970"/>
                  <a:pt x="185509" y="724970"/>
                </a:cubicBezTo>
                <a:close/>
                <a:moveTo>
                  <a:pt x="8801538" y="608039"/>
                </a:moveTo>
                <a:cubicBezTo>
                  <a:pt x="8832020" y="608039"/>
                  <a:pt x="8856730" y="632749"/>
                  <a:pt x="8856730" y="663230"/>
                </a:cubicBezTo>
                <a:cubicBezTo>
                  <a:pt x="8856730" y="693711"/>
                  <a:pt x="8832020" y="718421"/>
                  <a:pt x="8801538" y="718421"/>
                </a:cubicBezTo>
                <a:cubicBezTo>
                  <a:pt x="8771056" y="718421"/>
                  <a:pt x="8746346" y="693711"/>
                  <a:pt x="8746346" y="663230"/>
                </a:cubicBezTo>
                <a:cubicBezTo>
                  <a:pt x="8746346" y="632749"/>
                  <a:pt x="8771056" y="608039"/>
                  <a:pt x="8801538" y="608039"/>
                </a:cubicBezTo>
                <a:close/>
                <a:moveTo>
                  <a:pt x="8671244" y="608039"/>
                </a:moveTo>
                <a:cubicBezTo>
                  <a:pt x="8701726" y="608039"/>
                  <a:pt x="8726436" y="632749"/>
                  <a:pt x="8726436" y="663230"/>
                </a:cubicBezTo>
                <a:cubicBezTo>
                  <a:pt x="8726436" y="693711"/>
                  <a:pt x="8701726" y="718421"/>
                  <a:pt x="8671244" y="718421"/>
                </a:cubicBezTo>
                <a:cubicBezTo>
                  <a:pt x="8640762" y="718421"/>
                  <a:pt x="8616052" y="693711"/>
                  <a:pt x="8616052" y="663230"/>
                </a:cubicBezTo>
                <a:cubicBezTo>
                  <a:pt x="8616052" y="632749"/>
                  <a:pt x="8640762" y="608039"/>
                  <a:pt x="8671244" y="608039"/>
                </a:cubicBezTo>
                <a:close/>
                <a:moveTo>
                  <a:pt x="8537609" y="608039"/>
                </a:moveTo>
                <a:cubicBezTo>
                  <a:pt x="8568091" y="608039"/>
                  <a:pt x="8592801" y="632749"/>
                  <a:pt x="8592801" y="663230"/>
                </a:cubicBezTo>
                <a:cubicBezTo>
                  <a:pt x="8592801" y="693711"/>
                  <a:pt x="8568091" y="718421"/>
                  <a:pt x="8537609" y="718421"/>
                </a:cubicBezTo>
                <a:cubicBezTo>
                  <a:pt x="8507127" y="718421"/>
                  <a:pt x="8482417" y="693711"/>
                  <a:pt x="8482417" y="663230"/>
                </a:cubicBezTo>
                <a:cubicBezTo>
                  <a:pt x="8482417" y="632749"/>
                  <a:pt x="8507127" y="608039"/>
                  <a:pt x="8537609" y="608039"/>
                </a:cubicBezTo>
                <a:close/>
                <a:moveTo>
                  <a:pt x="8407318" y="608039"/>
                </a:moveTo>
                <a:cubicBezTo>
                  <a:pt x="8437800" y="608039"/>
                  <a:pt x="8462510" y="632749"/>
                  <a:pt x="8462510" y="663230"/>
                </a:cubicBezTo>
                <a:cubicBezTo>
                  <a:pt x="8462510" y="693711"/>
                  <a:pt x="8437800" y="718421"/>
                  <a:pt x="8407318" y="718421"/>
                </a:cubicBezTo>
                <a:cubicBezTo>
                  <a:pt x="8376836" y="718421"/>
                  <a:pt x="8352126" y="693711"/>
                  <a:pt x="8352126" y="663230"/>
                </a:cubicBezTo>
                <a:cubicBezTo>
                  <a:pt x="8352126" y="632749"/>
                  <a:pt x="8376836" y="608039"/>
                  <a:pt x="8407318" y="608039"/>
                </a:cubicBezTo>
                <a:close/>
                <a:moveTo>
                  <a:pt x="8273682" y="608039"/>
                </a:moveTo>
                <a:cubicBezTo>
                  <a:pt x="8304164" y="608039"/>
                  <a:pt x="8328874" y="632749"/>
                  <a:pt x="8328874" y="663230"/>
                </a:cubicBezTo>
                <a:cubicBezTo>
                  <a:pt x="8328874" y="693711"/>
                  <a:pt x="8304164" y="718421"/>
                  <a:pt x="8273682" y="718421"/>
                </a:cubicBezTo>
                <a:cubicBezTo>
                  <a:pt x="8243200" y="718421"/>
                  <a:pt x="8218490" y="693711"/>
                  <a:pt x="8218490" y="663230"/>
                </a:cubicBezTo>
                <a:cubicBezTo>
                  <a:pt x="8218490" y="632749"/>
                  <a:pt x="8243200" y="608039"/>
                  <a:pt x="8273682" y="608039"/>
                </a:cubicBezTo>
                <a:close/>
                <a:moveTo>
                  <a:pt x="8143386" y="608039"/>
                </a:moveTo>
                <a:cubicBezTo>
                  <a:pt x="8173868" y="608039"/>
                  <a:pt x="8198578" y="632749"/>
                  <a:pt x="8198578" y="663230"/>
                </a:cubicBezTo>
                <a:cubicBezTo>
                  <a:pt x="8198578" y="693711"/>
                  <a:pt x="8173868" y="718421"/>
                  <a:pt x="8143386" y="718421"/>
                </a:cubicBezTo>
                <a:cubicBezTo>
                  <a:pt x="8112904" y="718421"/>
                  <a:pt x="8088194" y="693711"/>
                  <a:pt x="8088194" y="663230"/>
                </a:cubicBezTo>
                <a:cubicBezTo>
                  <a:pt x="8088194" y="632749"/>
                  <a:pt x="8112904" y="608039"/>
                  <a:pt x="8143386" y="608039"/>
                </a:cubicBezTo>
                <a:close/>
                <a:moveTo>
                  <a:pt x="8009753" y="608039"/>
                </a:moveTo>
                <a:cubicBezTo>
                  <a:pt x="8040235" y="608039"/>
                  <a:pt x="8064945" y="632749"/>
                  <a:pt x="8064945" y="663230"/>
                </a:cubicBezTo>
                <a:cubicBezTo>
                  <a:pt x="8064945" y="693711"/>
                  <a:pt x="8040235" y="718421"/>
                  <a:pt x="8009753" y="718421"/>
                </a:cubicBezTo>
                <a:cubicBezTo>
                  <a:pt x="7979271" y="718421"/>
                  <a:pt x="7954561" y="693711"/>
                  <a:pt x="7954561" y="663230"/>
                </a:cubicBezTo>
                <a:cubicBezTo>
                  <a:pt x="7954561" y="632749"/>
                  <a:pt x="7979271" y="608039"/>
                  <a:pt x="8009753" y="608039"/>
                </a:cubicBezTo>
                <a:close/>
                <a:moveTo>
                  <a:pt x="7876118" y="608039"/>
                </a:moveTo>
                <a:cubicBezTo>
                  <a:pt x="7906600" y="608039"/>
                  <a:pt x="7931310" y="632749"/>
                  <a:pt x="7931310" y="663230"/>
                </a:cubicBezTo>
                <a:cubicBezTo>
                  <a:pt x="7931310" y="693711"/>
                  <a:pt x="7906600" y="718421"/>
                  <a:pt x="7876118" y="718421"/>
                </a:cubicBezTo>
                <a:cubicBezTo>
                  <a:pt x="7845636" y="718421"/>
                  <a:pt x="7820926" y="693711"/>
                  <a:pt x="7820926" y="663230"/>
                </a:cubicBezTo>
                <a:cubicBezTo>
                  <a:pt x="7820926" y="632749"/>
                  <a:pt x="7845636" y="608039"/>
                  <a:pt x="7876118" y="608039"/>
                </a:cubicBezTo>
                <a:close/>
                <a:moveTo>
                  <a:pt x="7745824" y="608039"/>
                </a:moveTo>
                <a:cubicBezTo>
                  <a:pt x="7776306" y="608039"/>
                  <a:pt x="7801016" y="632749"/>
                  <a:pt x="7801016" y="663230"/>
                </a:cubicBezTo>
                <a:cubicBezTo>
                  <a:pt x="7801016" y="693711"/>
                  <a:pt x="7776306" y="718421"/>
                  <a:pt x="7745824" y="718421"/>
                </a:cubicBezTo>
                <a:cubicBezTo>
                  <a:pt x="7715342" y="718421"/>
                  <a:pt x="7690632" y="693711"/>
                  <a:pt x="7690632" y="663230"/>
                </a:cubicBezTo>
                <a:cubicBezTo>
                  <a:pt x="7690632" y="632749"/>
                  <a:pt x="7715342" y="608039"/>
                  <a:pt x="7745824" y="608039"/>
                </a:cubicBezTo>
                <a:close/>
                <a:moveTo>
                  <a:pt x="7608850" y="608039"/>
                </a:moveTo>
                <a:cubicBezTo>
                  <a:pt x="7639332" y="608039"/>
                  <a:pt x="7664042" y="632749"/>
                  <a:pt x="7664042" y="663230"/>
                </a:cubicBezTo>
                <a:cubicBezTo>
                  <a:pt x="7664042" y="693711"/>
                  <a:pt x="7639332" y="718421"/>
                  <a:pt x="7608850" y="718421"/>
                </a:cubicBezTo>
                <a:cubicBezTo>
                  <a:pt x="7578368" y="718421"/>
                  <a:pt x="7553658" y="693711"/>
                  <a:pt x="7553658" y="663230"/>
                </a:cubicBezTo>
                <a:cubicBezTo>
                  <a:pt x="7553658" y="632749"/>
                  <a:pt x="7578368" y="608039"/>
                  <a:pt x="7608850" y="608039"/>
                </a:cubicBezTo>
                <a:close/>
                <a:moveTo>
                  <a:pt x="7481895" y="608039"/>
                </a:moveTo>
                <a:cubicBezTo>
                  <a:pt x="7512377" y="608039"/>
                  <a:pt x="7537087" y="632749"/>
                  <a:pt x="7537087" y="663230"/>
                </a:cubicBezTo>
                <a:cubicBezTo>
                  <a:pt x="7537087" y="693711"/>
                  <a:pt x="7512377" y="718421"/>
                  <a:pt x="7481895" y="718421"/>
                </a:cubicBezTo>
                <a:cubicBezTo>
                  <a:pt x="7451413" y="718421"/>
                  <a:pt x="7426703" y="693711"/>
                  <a:pt x="7426703" y="663230"/>
                </a:cubicBezTo>
                <a:cubicBezTo>
                  <a:pt x="7426703" y="632749"/>
                  <a:pt x="7451413" y="608039"/>
                  <a:pt x="7481895" y="608039"/>
                </a:cubicBezTo>
                <a:close/>
                <a:moveTo>
                  <a:pt x="7341579" y="608039"/>
                </a:moveTo>
                <a:cubicBezTo>
                  <a:pt x="7372061" y="608039"/>
                  <a:pt x="7396771" y="632749"/>
                  <a:pt x="7396771" y="663230"/>
                </a:cubicBezTo>
                <a:cubicBezTo>
                  <a:pt x="7396771" y="693711"/>
                  <a:pt x="7372061" y="718421"/>
                  <a:pt x="7341579" y="718421"/>
                </a:cubicBezTo>
                <a:cubicBezTo>
                  <a:pt x="7311097" y="718421"/>
                  <a:pt x="7286387" y="693711"/>
                  <a:pt x="7286387" y="663230"/>
                </a:cubicBezTo>
                <a:cubicBezTo>
                  <a:pt x="7286387" y="632749"/>
                  <a:pt x="7311097" y="608039"/>
                  <a:pt x="7341579" y="608039"/>
                </a:cubicBezTo>
                <a:close/>
                <a:moveTo>
                  <a:pt x="7211286" y="608039"/>
                </a:moveTo>
                <a:cubicBezTo>
                  <a:pt x="7241768" y="608039"/>
                  <a:pt x="7266478" y="632749"/>
                  <a:pt x="7266478" y="663230"/>
                </a:cubicBezTo>
                <a:cubicBezTo>
                  <a:pt x="7266478" y="693711"/>
                  <a:pt x="7241768" y="718421"/>
                  <a:pt x="7211286" y="718421"/>
                </a:cubicBezTo>
                <a:cubicBezTo>
                  <a:pt x="7180804" y="718421"/>
                  <a:pt x="7156094" y="693711"/>
                  <a:pt x="7156094" y="663230"/>
                </a:cubicBezTo>
                <a:cubicBezTo>
                  <a:pt x="7156094" y="632749"/>
                  <a:pt x="7180804" y="608039"/>
                  <a:pt x="7211286" y="608039"/>
                </a:cubicBezTo>
                <a:close/>
                <a:moveTo>
                  <a:pt x="7080994" y="608039"/>
                </a:moveTo>
                <a:cubicBezTo>
                  <a:pt x="7111476" y="608039"/>
                  <a:pt x="7136186" y="632749"/>
                  <a:pt x="7136186" y="663230"/>
                </a:cubicBezTo>
                <a:cubicBezTo>
                  <a:pt x="7136186" y="693711"/>
                  <a:pt x="7111476" y="718421"/>
                  <a:pt x="7080994" y="718421"/>
                </a:cubicBezTo>
                <a:cubicBezTo>
                  <a:pt x="7050512" y="718421"/>
                  <a:pt x="7025802" y="693711"/>
                  <a:pt x="7025802" y="663230"/>
                </a:cubicBezTo>
                <a:cubicBezTo>
                  <a:pt x="7025802" y="632749"/>
                  <a:pt x="7050512" y="608039"/>
                  <a:pt x="7080994" y="608039"/>
                </a:cubicBezTo>
                <a:close/>
                <a:moveTo>
                  <a:pt x="6947358" y="608039"/>
                </a:moveTo>
                <a:cubicBezTo>
                  <a:pt x="6977840" y="608039"/>
                  <a:pt x="7002550" y="632749"/>
                  <a:pt x="7002550" y="663230"/>
                </a:cubicBezTo>
                <a:cubicBezTo>
                  <a:pt x="7002550" y="693711"/>
                  <a:pt x="6977840" y="718421"/>
                  <a:pt x="6947358" y="718421"/>
                </a:cubicBezTo>
                <a:cubicBezTo>
                  <a:pt x="6916876" y="718421"/>
                  <a:pt x="6892166" y="693711"/>
                  <a:pt x="6892166" y="663230"/>
                </a:cubicBezTo>
                <a:cubicBezTo>
                  <a:pt x="6892166" y="632749"/>
                  <a:pt x="6916876" y="608039"/>
                  <a:pt x="6947358" y="608039"/>
                </a:cubicBezTo>
                <a:close/>
                <a:moveTo>
                  <a:pt x="6817064" y="608039"/>
                </a:moveTo>
                <a:cubicBezTo>
                  <a:pt x="6847546" y="608039"/>
                  <a:pt x="6872256" y="632749"/>
                  <a:pt x="6872256" y="663230"/>
                </a:cubicBezTo>
                <a:cubicBezTo>
                  <a:pt x="6872256" y="693711"/>
                  <a:pt x="6847546" y="718421"/>
                  <a:pt x="6817064" y="718421"/>
                </a:cubicBezTo>
                <a:cubicBezTo>
                  <a:pt x="6786582" y="718421"/>
                  <a:pt x="6761872" y="693711"/>
                  <a:pt x="6761872" y="663230"/>
                </a:cubicBezTo>
                <a:cubicBezTo>
                  <a:pt x="6761872" y="632749"/>
                  <a:pt x="6786582" y="608039"/>
                  <a:pt x="6817064" y="608039"/>
                </a:cubicBezTo>
                <a:close/>
                <a:moveTo>
                  <a:pt x="6683431" y="608039"/>
                </a:moveTo>
                <a:cubicBezTo>
                  <a:pt x="6713913" y="608039"/>
                  <a:pt x="6738623" y="632749"/>
                  <a:pt x="6738623" y="663230"/>
                </a:cubicBezTo>
                <a:cubicBezTo>
                  <a:pt x="6738623" y="693711"/>
                  <a:pt x="6713913" y="718421"/>
                  <a:pt x="6683431" y="718421"/>
                </a:cubicBezTo>
                <a:cubicBezTo>
                  <a:pt x="6652949" y="718421"/>
                  <a:pt x="6628239" y="693711"/>
                  <a:pt x="6628239" y="663230"/>
                </a:cubicBezTo>
                <a:cubicBezTo>
                  <a:pt x="6628239" y="632749"/>
                  <a:pt x="6652949" y="608039"/>
                  <a:pt x="6683431" y="608039"/>
                </a:cubicBezTo>
                <a:close/>
                <a:moveTo>
                  <a:pt x="6155573" y="608039"/>
                </a:moveTo>
                <a:cubicBezTo>
                  <a:pt x="6186055" y="608039"/>
                  <a:pt x="6210765" y="632749"/>
                  <a:pt x="6210765" y="663230"/>
                </a:cubicBezTo>
                <a:cubicBezTo>
                  <a:pt x="6210765" y="693711"/>
                  <a:pt x="6186055" y="718421"/>
                  <a:pt x="6155573" y="718421"/>
                </a:cubicBezTo>
                <a:cubicBezTo>
                  <a:pt x="6125091" y="718421"/>
                  <a:pt x="6100381" y="693711"/>
                  <a:pt x="6100381" y="663230"/>
                </a:cubicBezTo>
                <a:cubicBezTo>
                  <a:pt x="6100381" y="632749"/>
                  <a:pt x="6125091" y="608039"/>
                  <a:pt x="6155573" y="608039"/>
                </a:cubicBezTo>
                <a:close/>
                <a:moveTo>
                  <a:pt x="5487399" y="608039"/>
                </a:moveTo>
                <a:cubicBezTo>
                  <a:pt x="5517881" y="608039"/>
                  <a:pt x="5542591" y="632749"/>
                  <a:pt x="5542591" y="663230"/>
                </a:cubicBezTo>
                <a:cubicBezTo>
                  <a:pt x="5542591" y="693711"/>
                  <a:pt x="5517881" y="718421"/>
                  <a:pt x="5487399" y="718421"/>
                </a:cubicBezTo>
                <a:cubicBezTo>
                  <a:pt x="5456917" y="718421"/>
                  <a:pt x="5432207" y="693711"/>
                  <a:pt x="5432207" y="663230"/>
                </a:cubicBezTo>
                <a:cubicBezTo>
                  <a:pt x="5432207" y="632749"/>
                  <a:pt x="5456917" y="608039"/>
                  <a:pt x="5487399" y="608039"/>
                </a:cubicBezTo>
                <a:close/>
                <a:moveTo>
                  <a:pt x="5357106" y="608039"/>
                </a:moveTo>
                <a:cubicBezTo>
                  <a:pt x="5387588" y="608039"/>
                  <a:pt x="5412298" y="632749"/>
                  <a:pt x="5412298" y="663230"/>
                </a:cubicBezTo>
                <a:cubicBezTo>
                  <a:pt x="5412298" y="693711"/>
                  <a:pt x="5387588" y="718421"/>
                  <a:pt x="5357106" y="718421"/>
                </a:cubicBezTo>
                <a:cubicBezTo>
                  <a:pt x="5326624" y="718421"/>
                  <a:pt x="5301914" y="693711"/>
                  <a:pt x="5301914" y="663230"/>
                </a:cubicBezTo>
                <a:cubicBezTo>
                  <a:pt x="5301914" y="632749"/>
                  <a:pt x="5326624" y="608039"/>
                  <a:pt x="5357106" y="608039"/>
                </a:cubicBezTo>
                <a:close/>
                <a:moveTo>
                  <a:pt x="5223473" y="608038"/>
                </a:moveTo>
                <a:cubicBezTo>
                  <a:pt x="5253955" y="608038"/>
                  <a:pt x="5278665" y="632748"/>
                  <a:pt x="5278665" y="663229"/>
                </a:cubicBezTo>
                <a:cubicBezTo>
                  <a:pt x="5278665" y="693710"/>
                  <a:pt x="5253955" y="718420"/>
                  <a:pt x="5223473" y="718420"/>
                </a:cubicBezTo>
                <a:cubicBezTo>
                  <a:pt x="5192991" y="718420"/>
                  <a:pt x="5168281" y="693710"/>
                  <a:pt x="5168281" y="663229"/>
                </a:cubicBezTo>
                <a:cubicBezTo>
                  <a:pt x="5168281" y="632748"/>
                  <a:pt x="5192991" y="608038"/>
                  <a:pt x="5223473" y="608038"/>
                </a:cubicBezTo>
                <a:close/>
                <a:moveTo>
                  <a:pt x="4030786" y="608038"/>
                </a:moveTo>
                <a:cubicBezTo>
                  <a:pt x="4061268" y="608038"/>
                  <a:pt x="4085978" y="632748"/>
                  <a:pt x="4085978" y="663229"/>
                </a:cubicBezTo>
                <a:cubicBezTo>
                  <a:pt x="4085978" y="693710"/>
                  <a:pt x="4061268" y="718420"/>
                  <a:pt x="4030786" y="718420"/>
                </a:cubicBezTo>
                <a:cubicBezTo>
                  <a:pt x="4000304" y="718420"/>
                  <a:pt x="3975594" y="693710"/>
                  <a:pt x="3975594" y="663229"/>
                </a:cubicBezTo>
                <a:cubicBezTo>
                  <a:pt x="3975594" y="632748"/>
                  <a:pt x="4000304" y="608038"/>
                  <a:pt x="4030786" y="608038"/>
                </a:cubicBezTo>
                <a:close/>
                <a:moveTo>
                  <a:pt x="3897148" y="608038"/>
                </a:moveTo>
                <a:cubicBezTo>
                  <a:pt x="3927630" y="608038"/>
                  <a:pt x="3952340" y="632748"/>
                  <a:pt x="3952340" y="663229"/>
                </a:cubicBezTo>
                <a:cubicBezTo>
                  <a:pt x="3952340" y="693710"/>
                  <a:pt x="3927630" y="718420"/>
                  <a:pt x="3897148" y="718420"/>
                </a:cubicBezTo>
                <a:cubicBezTo>
                  <a:pt x="3866666" y="718420"/>
                  <a:pt x="3841956" y="693710"/>
                  <a:pt x="3841956" y="663229"/>
                </a:cubicBezTo>
                <a:cubicBezTo>
                  <a:pt x="3841956" y="632748"/>
                  <a:pt x="3866666" y="608038"/>
                  <a:pt x="3897148" y="608038"/>
                </a:cubicBezTo>
                <a:close/>
                <a:moveTo>
                  <a:pt x="3763514" y="608038"/>
                </a:moveTo>
                <a:cubicBezTo>
                  <a:pt x="3793996" y="608038"/>
                  <a:pt x="3818706" y="632748"/>
                  <a:pt x="3818706" y="663229"/>
                </a:cubicBezTo>
                <a:cubicBezTo>
                  <a:pt x="3818706" y="693710"/>
                  <a:pt x="3793996" y="718420"/>
                  <a:pt x="3763514" y="718420"/>
                </a:cubicBezTo>
                <a:cubicBezTo>
                  <a:pt x="3733032" y="718420"/>
                  <a:pt x="3708322" y="693710"/>
                  <a:pt x="3708322" y="663229"/>
                </a:cubicBezTo>
                <a:cubicBezTo>
                  <a:pt x="3708322" y="632748"/>
                  <a:pt x="3733032" y="608038"/>
                  <a:pt x="3763514" y="608038"/>
                </a:cubicBezTo>
                <a:close/>
                <a:moveTo>
                  <a:pt x="3633221" y="608038"/>
                </a:moveTo>
                <a:cubicBezTo>
                  <a:pt x="3663703" y="608038"/>
                  <a:pt x="3688413" y="632748"/>
                  <a:pt x="3688413" y="663229"/>
                </a:cubicBezTo>
                <a:cubicBezTo>
                  <a:pt x="3688413" y="693710"/>
                  <a:pt x="3663703" y="718420"/>
                  <a:pt x="3633221" y="718420"/>
                </a:cubicBezTo>
                <a:cubicBezTo>
                  <a:pt x="3602739" y="718420"/>
                  <a:pt x="3578029" y="693710"/>
                  <a:pt x="3578029" y="663229"/>
                </a:cubicBezTo>
                <a:cubicBezTo>
                  <a:pt x="3578029" y="632748"/>
                  <a:pt x="3602739" y="608038"/>
                  <a:pt x="3633221" y="608038"/>
                </a:cubicBezTo>
                <a:close/>
                <a:moveTo>
                  <a:pt x="3499589" y="608038"/>
                </a:moveTo>
                <a:cubicBezTo>
                  <a:pt x="3530071" y="608038"/>
                  <a:pt x="3554781" y="632748"/>
                  <a:pt x="3554781" y="663229"/>
                </a:cubicBezTo>
                <a:cubicBezTo>
                  <a:pt x="3554781" y="693710"/>
                  <a:pt x="3530071" y="718420"/>
                  <a:pt x="3499589" y="718420"/>
                </a:cubicBezTo>
                <a:cubicBezTo>
                  <a:pt x="3469107" y="718420"/>
                  <a:pt x="3444397" y="693710"/>
                  <a:pt x="3444397" y="663229"/>
                </a:cubicBezTo>
                <a:cubicBezTo>
                  <a:pt x="3444397" y="632748"/>
                  <a:pt x="3469107" y="608038"/>
                  <a:pt x="3499589" y="608038"/>
                </a:cubicBezTo>
                <a:close/>
                <a:moveTo>
                  <a:pt x="3369292" y="608038"/>
                </a:moveTo>
                <a:cubicBezTo>
                  <a:pt x="3399774" y="608038"/>
                  <a:pt x="3424484" y="632748"/>
                  <a:pt x="3424484" y="663229"/>
                </a:cubicBezTo>
                <a:cubicBezTo>
                  <a:pt x="3424484" y="693710"/>
                  <a:pt x="3399774" y="718420"/>
                  <a:pt x="3369292" y="718420"/>
                </a:cubicBezTo>
                <a:cubicBezTo>
                  <a:pt x="3338810" y="718420"/>
                  <a:pt x="3314100" y="693710"/>
                  <a:pt x="3314100" y="663229"/>
                </a:cubicBezTo>
                <a:cubicBezTo>
                  <a:pt x="3314100" y="632748"/>
                  <a:pt x="3338810" y="608038"/>
                  <a:pt x="3369292" y="608038"/>
                </a:cubicBezTo>
                <a:close/>
                <a:moveTo>
                  <a:pt x="3235657" y="608038"/>
                </a:moveTo>
                <a:cubicBezTo>
                  <a:pt x="3266139" y="608038"/>
                  <a:pt x="3290849" y="632748"/>
                  <a:pt x="3290849" y="663229"/>
                </a:cubicBezTo>
                <a:cubicBezTo>
                  <a:pt x="3290849" y="693710"/>
                  <a:pt x="3266139" y="718420"/>
                  <a:pt x="3235657" y="718420"/>
                </a:cubicBezTo>
                <a:cubicBezTo>
                  <a:pt x="3205175" y="718420"/>
                  <a:pt x="3180465" y="693710"/>
                  <a:pt x="3180465" y="663229"/>
                </a:cubicBezTo>
                <a:cubicBezTo>
                  <a:pt x="3180465" y="632748"/>
                  <a:pt x="3205175" y="608038"/>
                  <a:pt x="3235657" y="608038"/>
                </a:cubicBezTo>
                <a:close/>
                <a:moveTo>
                  <a:pt x="2570932" y="608038"/>
                </a:moveTo>
                <a:cubicBezTo>
                  <a:pt x="2601414" y="608038"/>
                  <a:pt x="2626123" y="632748"/>
                  <a:pt x="2626123" y="663229"/>
                </a:cubicBezTo>
                <a:cubicBezTo>
                  <a:pt x="2626123" y="693710"/>
                  <a:pt x="2601414" y="718420"/>
                  <a:pt x="2570932" y="718420"/>
                </a:cubicBezTo>
                <a:cubicBezTo>
                  <a:pt x="2540449" y="718420"/>
                  <a:pt x="2515738" y="693710"/>
                  <a:pt x="2515738" y="663229"/>
                </a:cubicBezTo>
                <a:cubicBezTo>
                  <a:pt x="2515738" y="632748"/>
                  <a:pt x="2540449" y="608038"/>
                  <a:pt x="2570932" y="608038"/>
                </a:cubicBezTo>
                <a:close/>
                <a:moveTo>
                  <a:pt x="2437297" y="608038"/>
                </a:moveTo>
                <a:cubicBezTo>
                  <a:pt x="2467779" y="608038"/>
                  <a:pt x="2492487" y="632748"/>
                  <a:pt x="2492487" y="663229"/>
                </a:cubicBezTo>
                <a:cubicBezTo>
                  <a:pt x="2492487" y="693710"/>
                  <a:pt x="2467779" y="718420"/>
                  <a:pt x="2437297" y="718420"/>
                </a:cubicBezTo>
                <a:cubicBezTo>
                  <a:pt x="2406818" y="718420"/>
                  <a:pt x="2382108" y="693710"/>
                  <a:pt x="2382108" y="663229"/>
                </a:cubicBezTo>
                <a:cubicBezTo>
                  <a:pt x="2382108" y="632748"/>
                  <a:pt x="2406818" y="608038"/>
                  <a:pt x="2437297" y="608038"/>
                </a:cubicBezTo>
                <a:close/>
                <a:moveTo>
                  <a:pt x="2303664" y="608038"/>
                </a:moveTo>
                <a:cubicBezTo>
                  <a:pt x="2334145" y="608038"/>
                  <a:pt x="2358856" y="632748"/>
                  <a:pt x="2358856" y="663229"/>
                </a:cubicBezTo>
                <a:cubicBezTo>
                  <a:pt x="2358856" y="693710"/>
                  <a:pt x="2334145" y="718420"/>
                  <a:pt x="2303664" y="718420"/>
                </a:cubicBezTo>
                <a:cubicBezTo>
                  <a:pt x="2273182" y="718420"/>
                  <a:pt x="2248473" y="693710"/>
                  <a:pt x="2248473" y="663229"/>
                </a:cubicBezTo>
                <a:cubicBezTo>
                  <a:pt x="2248473" y="632748"/>
                  <a:pt x="2273182" y="608038"/>
                  <a:pt x="2303664" y="608038"/>
                </a:cubicBezTo>
                <a:close/>
                <a:moveTo>
                  <a:pt x="2173372" y="608038"/>
                </a:moveTo>
                <a:cubicBezTo>
                  <a:pt x="2203854" y="608038"/>
                  <a:pt x="2228565" y="632748"/>
                  <a:pt x="2228565" y="663229"/>
                </a:cubicBezTo>
                <a:cubicBezTo>
                  <a:pt x="2228565" y="693710"/>
                  <a:pt x="2203854" y="718420"/>
                  <a:pt x="2173372" y="718420"/>
                </a:cubicBezTo>
                <a:cubicBezTo>
                  <a:pt x="2142889" y="718420"/>
                  <a:pt x="2118180" y="693710"/>
                  <a:pt x="2118180" y="663229"/>
                </a:cubicBezTo>
                <a:cubicBezTo>
                  <a:pt x="2118180" y="632748"/>
                  <a:pt x="2142889" y="608038"/>
                  <a:pt x="2173372" y="608038"/>
                </a:cubicBezTo>
                <a:close/>
                <a:moveTo>
                  <a:pt x="2039736" y="608038"/>
                </a:moveTo>
                <a:cubicBezTo>
                  <a:pt x="2070218" y="608038"/>
                  <a:pt x="2094930" y="632748"/>
                  <a:pt x="2094930" y="663229"/>
                </a:cubicBezTo>
                <a:cubicBezTo>
                  <a:pt x="2094930" y="693710"/>
                  <a:pt x="2070218" y="718420"/>
                  <a:pt x="2039736" y="718420"/>
                </a:cubicBezTo>
                <a:cubicBezTo>
                  <a:pt x="2009254" y="718420"/>
                  <a:pt x="1984543" y="693710"/>
                  <a:pt x="1984543" y="663229"/>
                </a:cubicBezTo>
                <a:cubicBezTo>
                  <a:pt x="1984543" y="632748"/>
                  <a:pt x="2009254" y="608038"/>
                  <a:pt x="2039736" y="608038"/>
                </a:cubicBezTo>
                <a:close/>
                <a:moveTo>
                  <a:pt x="1909437" y="608038"/>
                </a:moveTo>
                <a:cubicBezTo>
                  <a:pt x="1939921" y="608038"/>
                  <a:pt x="1964630" y="632748"/>
                  <a:pt x="1964630" y="663229"/>
                </a:cubicBezTo>
                <a:cubicBezTo>
                  <a:pt x="1964630" y="693710"/>
                  <a:pt x="1939921" y="718420"/>
                  <a:pt x="1909437" y="718420"/>
                </a:cubicBezTo>
                <a:cubicBezTo>
                  <a:pt x="1878955" y="718420"/>
                  <a:pt x="1854244" y="693710"/>
                  <a:pt x="1854244" y="663229"/>
                </a:cubicBezTo>
                <a:cubicBezTo>
                  <a:pt x="1854244" y="632748"/>
                  <a:pt x="1878955" y="608038"/>
                  <a:pt x="1909437" y="608038"/>
                </a:cubicBezTo>
                <a:close/>
                <a:moveTo>
                  <a:pt x="1779142" y="608038"/>
                </a:moveTo>
                <a:cubicBezTo>
                  <a:pt x="1809626" y="608038"/>
                  <a:pt x="1834335" y="632748"/>
                  <a:pt x="1834335" y="663229"/>
                </a:cubicBezTo>
                <a:cubicBezTo>
                  <a:pt x="1834335" y="693710"/>
                  <a:pt x="1809626" y="718420"/>
                  <a:pt x="1779142" y="718420"/>
                </a:cubicBezTo>
                <a:cubicBezTo>
                  <a:pt x="1748663" y="718420"/>
                  <a:pt x="1723950" y="693710"/>
                  <a:pt x="1723950" y="663229"/>
                </a:cubicBezTo>
                <a:cubicBezTo>
                  <a:pt x="1723950" y="632748"/>
                  <a:pt x="1748663" y="608038"/>
                  <a:pt x="1779142" y="608038"/>
                </a:cubicBezTo>
                <a:close/>
                <a:moveTo>
                  <a:pt x="1645508" y="608038"/>
                </a:moveTo>
                <a:cubicBezTo>
                  <a:pt x="1675988" y="608038"/>
                  <a:pt x="1700702" y="632748"/>
                  <a:pt x="1700702" y="663229"/>
                </a:cubicBezTo>
                <a:cubicBezTo>
                  <a:pt x="1700702" y="693710"/>
                  <a:pt x="1675988" y="718420"/>
                  <a:pt x="1645508" y="718420"/>
                </a:cubicBezTo>
                <a:cubicBezTo>
                  <a:pt x="1615024" y="718420"/>
                  <a:pt x="1590311" y="693710"/>
                  <a:pt x="1590311" y="663229"/>
                </a:cubicBezTo>
                <a:cubicBezTo>
                  <a:pt x="1590311" y="632748"/>
                  <a:pt x="1615024" y="608038"/>
                  <a:pt x="1645508" y="608038"/>
                </a:cubicBezTo>
                <a:close/>
                <a:moveTo>
                  <a:pt x="1515217" y="608038"/>
                </a:moveTo>
                <a:cubicBezTo>
                  <a:pt x="1545695" y="608038"/>
                  <a:pt x="1570402" y="632748"/>
                  <a:pt x="1570402" y="663229"/>
                </a:cubicBezTo>
                <a:cubicBezTo>
                  <a:pt x="1570402" y="693710"/>
                  <a:pt x="1545695" y="718420"/>
                  <a:pt x="1515217" y="718420"/>
                </a:cubicBezTo>
                <a:cubicBezTo>
                  <a:pt x="1484732" y="718420"/>
                  <a:pt x="1460020" y="693710"/>
                  <a:pt x="1460020" y="663229"/>
                </a:cubicBezTo>
                <a:cubicBezTo>
                  <a:pt x="1460020" y="632748"/>
                  <a:pt x="1484732" y="608038"/>
                  <a:pt x="1515217" y="608038"/>
                </a:cubicBezTo>
                <a:close/>
                <a:moveTo>
                  <a:pt x="1381573" y="608038"/>
                </a:moveTo>
                <a:cubicBezTo>
                  <a:pt x="1412057" y="608038"/>
                  <a:pt x="1436767" y="632748"/>
                  <a:pt x="1436767" y="663229"/>
                </a:cubicBezTo>
                <a:cubicBezTo>
                  <a:pt x="1436767" y="693710"/>
                  <a:pt x="1412057" y="718420"/>
                  <a:pt x="1381573" y="718420"/>
                </a:cubicBezTo>
                <a:cubicBezTo>
                  <a:pt x="1351097" y="718420"/>
                  <a:pt x="1326384" y="693710"/>
                  <a:pt x="1326384" y="663229"/>
                </a:cubicBezTo>
                <a:cubicBezTo>
                  <a:pt x="1326384" y="632748"/>
                  <a:pt x="1351097" y="608038"/>
                  <a:pt x="1381573" y="608038"/>
                </a:cubicBezTo>
                <a:close/>
                <a:moveTo>
                  <a:pt x="1251282" y="608038"/>
                </a:moveTo>
                <a:cubicBezTo>
                  <a:pt x="1281766" y="608038"/>
                  <a:pt x="1306476" y="632748"/>
                  <a:pt x="1306476" y="663229"/>
                </a:cubicBezTo>
                <a:cubicBezTo>
                  <a:pt x="1306476" y="693710"/>
                  <a:pt x="1281766" y="718420"/>
                  <a:pt x="1251282" y="718420"/>
                </a:cubicBezTo>
                <a:cubicBezTo>
                  <a:pt x="1220801" y="718420"/>
                  <a:pt x="1196089" y="693710"/>
                  <a:pt x="1196089" y="663229"/>
                </a:cubicBezTo>
                <a:cubicBezTo>
                  <a:pt x="1196089" y="632748"/>
                  <a:pt x="1220801" y="608038"/>
                  <a:pt x="1251282" y="608038"/>
                </a:cubicBezTo>
                <a:close/>
                <a:moveTo>
                  <a:pt x="8143386" y="494447"/>
                </a:moveTo>
                <a:cubicBezTo>
                  <a:pt x="8173868" y="494447"/>
                  <a:pt x="8198578" y="519157"/>
                  <a:pt x="8198578" y="549638"/>
                </a:cubicBezTo>
                <a:cubicBezTo>
                  <a:pt x="8198578" y="580119"/>
                  <a:pt x="8173868" y="604829"/>
                  <a:pt x="8143386" y="604829"/>
                </a:cubicBezTo>
                <a:cubicBezTo>
                  <a:pt x="8112904" y="604829"/>
                  <a:pt x="8088194" y="580119"/>
                  <a:pt x="8088194" y="549638"/>
                </a:cubicBezTo>
                <a:cubicBezTo>
                  <a:pt x="8088194" y="519157"/>
                  <a:pt x="8112904" y="494447"/>
                  <a:pt x="8143386" y="494447"/>
                </a:cubicBezTo>
                <a:close/>
                <a:moveTo>
                  <a:pt x="8009753" y="494447"/>
                </a:moveTo>
                <a:cubicBezTo>
                  <a:pt x="8040235" y="494447"/>
                  <a:pt x="8064945" y="519157"/>
                  <a:pt x="8064945" y="549638"/>
                </a:cubicBezTo>
                <a:cubicBezTo>
                  <a:pt x="8064945" y="580119"/>
                  <a:pt x="8040235" y="604829"/>
                  <a:pt x="8009753" y="604829"/>
                </a:cubicBezTo>
                <a:cubicBezTo>
                  <a:pt x="7979271" y="604829"/>
                  <a:pt x="7954561" y="580119"/>
                  <a:pt x="7954561" y="549638"/>
                </a:cubicBezTo>
                <a:cubicBezTo>
                  <a:pt x="7954561" y="519157"/>
                  <a:pt x="7979271" y="494447"/>
                  <a:pt x="8009753" y="494447"/>
                </a:cubicBezTo>
                <a:close/>
                <a:moveTo>
                  <a:pt x="7876118" y="494447"/>
                </a:moveTo>
                <a:cubicBezTo>
                  <a:pt x="7906600" y="494447"/>
                  <a:pt x="7931310" y="519157"/>
                  <a:pt x="7931310" y="549638"/>
                </a:cubicBezTo>
                <a:cubicBezTo>
                  <a:pt x="7931310" y="580119"/>
                  <a:pt x="7906600" y="604829"/>
                  <a:pt x="7876118" y="604829"/>
                </a:cubicBezTo>
                <a:cubicBezTo>
                  <a:pt x="7845636" y="604829"/>
                  <a:pt x="7820926" y="580119"/>
                  <a:pt x="7820926" y="549638"/>
                </a:cubicBezTo>
                <a:cubicBezTo>
                  <a:pt x="7820926" y="519157"/>
                  <a:pt x="7845636" y="494447"/>
                  <a:pt x="7876118" y="494447"/>
                </a:cubicBezTo>
                <a:close/>
                <a:moveTo>
                  <a:pt x="7745824" y="494447"/>
                </a:moveTo>
                <a:cubicBezTo>
                  <a:pt x="7776306" y="494447"/>
                  <a:pt x="7801016" y="519157"/>
                  <a:pt x="7801016" y="549638"/>
                </a:cubicBezTo>
                <a:cubicBezTo>
                  <a:pt x="7801016" y="580119"/>
                  <a:pt x="7776306" y="604829"/>
                  <a:pt x="7745824" y="604829"/>
                </a:cubicBezTo>
                <a:cubicBezTo>
                  <a:pt x="7715342" y="604829"/>
                  <a:pt x="7690632" y="580119"/>
                  <a:pt x="7690632" y="549638"/>
                </a:cubicBezTo>
                <a:cubicBezTo>
                  <a:pt x="7690632" y="519157"/>
                  <a:pt x="7715342" y="494447"/>
                  <a:pt x="7745824" y="494447"/>
                </a:cubicBezTo>
                <a:close/>
                <a:moveTo>
                  <a:pt x="7608850" y="494447"/>
                </a:moveTo>
                <a:cubicBezTo>
                  <a:pt x="7639332" y="494447"/>
                  <a:pt x="7664042" y="519157"/>
                  <a:pt x="7664042" y="549638"/>
                </a:cubicBezTo>
                <a:cubicBezTo>
                  <a:pt x="7664042" y="580119"/>
                  <a:pt x="7639332" y="604829"/>
                  <a:pt x="7608850" y="604829"/>
                </a:cubicBezTo>
                <a:cubicBezTo>
                  <a:pt x="7578368" y="604829"/>
                  <a:pt x="7553658" y="580119"/>
                  <a:pt x="7553658" y="549638"/>
                </a:cubicBezTo>
                <a:cubicBezTo>
                  <a:pt x="7553658" y="519157"/>
                  <a:pt x="7578368" y="494447"/>
                  <a:pt x="7608850" y="494447"/>
                </a:cubicBezTo>
                <a:close/>
                <a:moveTo>
                  <a:pt x="7481895" y="494447"/>
                </a:moveTo>
                <a:cubicBezTo>
                  <a:pt x="7512377" y="494447"/>
                  <a:pt x="7537087" y="519157"/>
                  <a:pt x="7537087" y="549638"/>
                </a:cubicBezTo>
                <a:cubicBezTo>
                  <a:pt x="7537087" y="580119"/>
                  <a:pt x="7512377" y="604829"/>
                  <a:pt x="7481895" y="604829"/>
                </a:cubicBezTo>
                <a:cubicBezTo>
                  <a:pt x="7451413" y="604829"/>
                  <a:pt x="7426703" y="580119"/>
                  <a:pt x="7426703" y="549638"/>
                </a:cubicBezTo>
                <a:cubicBezTo>
                  <a:pt x="7426703" y="519157"/>
                  <a:pt x="7451413" y="494447"/>
                  <a:pt x="7481895" y="494447"/>
                </a:cubicBezTo>
                <a:close/>
                <a:moveTo>
                  <a:pt x="7341580" y="494447"/>
                </a:moveTo>
                <a:cubicBezTo>
                  <a:pt x="7372062" y="494447"/>
                  <a:pt x="7396772" y="519157"/>
                  <a:pt x="7396772" y="549638"/>
                </a:cubicBezTo>
                <a:cubicBezTo>
                  <a:pt x="7396772" y="580119"/>
                  <a:pt x="7372062" y="604829"/>
                  <a:pt x="7341580" y="604829"/>
                </a:cubicBezTo>
                <a:cubicBezTo>
                  <a:pt x="7311098" y="604829"/>
                  <a:pt x="7286388" y="580119"/>
                  <a:pt x="7286388" y="549638"/>
                </a:cubicBezTo>
                <a:cubicBezTo>
                  <a:pt x="7286388" y="519157"/>
                  <a:pt x="7311098" y="494447"/>
                  <a:pt x="7341580" y="494447"/>
                </a:cubicBezTo>
                <a:close/>
                <a:moveTo>
                  <a:pt x="7211286" y="494447"/>
                </a:moveTo>
                <a:cubicBezTo>
                  <a:pt x="7241768" y="494447"/>
                  <a:pt x="7266478" y="519157"/>
                  <a:pt x="7266478" y="549638"/>
                </a:cubicBezTo>
                <a:cubicBezTo>
                  <a:pt x="7266478" y="580119"/>
                  <a:pt x="7241768" y="604829"/>
                  <a:pt x="7211286" y="604829"/>
                </a:cubicBezTo>
                <a:cubicBezTo>
                  <a:pt x="7180804" y="604829"/>
                  <a:pt x="7156094" y="580119"/>
                  <a:pt x="7156094" y="549638"/>
                </a:cubicBezTo>
                <a:cubicBezTo>
                  <a:pt x="7156094" y="519157"/>
                  <a:pt x="7180804" y="494447"/>
                  <a:pt x="7211286" y="494447"/>
                </a:cubicBezTo>
                <a:close/>
                <a:moveTo>
                  <a:pt x="7080994" y="494447"/>
                </a:moveTo>
                <a:cubicBezTo>
                  <a:pt x="7111476" y="494447"/>
                  <a:pt x="7136186" y="519157"/>
                  <a:pt x="7136186" y="549638"/>
                </a:cubicBezTo>
                <a:cubicBezTo>
                  <a:pt x="7136186" y="580119"/>
                  <a:pt x="7111476" y="604829"/>
                  <a:pt x="7080994" y="604829"/>
                </a:cubicBezTo>
                <a:cubicBezTo>
                  <a:pt x="7050512" y="604829"/>
                  <a:pt x="7025802" y="580119"/>
                  <a:pt x="7025802" y="549638"/>
                </a:cubicBezTo>
                <a:cubicBezTo>
                  <a:pt x="7025802" y="519157"/>
                  <a:pt x="7050512" y="494447"/>
                  <a:pt x="7080994" y="494447"/>
                </a:cubicBezTo>
                <a:close/>
                <a:moveTo>
                  <a:pt x="6947358" y="494447"/>
                </a:moveTo>
                <a:cubicBezTo>
                  <a:pt x="6977840" y="494447"/>
                  <a:pt x="7002550" y="519157"/>
                  <a:pt x="7002550" y="549638"/>
                </a:cubicBezTo>
                <a:cubicBezTo>
                  <a:pt x="7002550" y="580119"/>
                  <a:pt x="6977840" y="604829"/>
                  <a:pt x="6947358" y="604829"/>
                </a:cubicBezTo>
                <a:cubicBezTo>
                  <a:pt x="6916876" y="604829"/>
                  <a:pt x="6892166" y="580119"/>
                  <a:pt x="6892166" y="549638"/>
                </a:cubicBezTo>
                <a:cubicBezTo>
                  <a:pt x="6892166" y="519157"/>
                  <a:pt x="6916876" y="494447"/>
                  <a:pt x="6947358" y="494447"/>
                </a:cubicBezTo>
                <a:close/>
                <a:moveTo>
                  <a:pt x="6289207" y="494447"/>
                </a:moveTo>
                <a:cubicBezTo>
                  <a:pt x="6319689" y="494447"/>
                  <a:pt x="6344399" y="519157"/>
                  <a:pt x="6344399" y="549638"/>
                </a:cubicBezTo>
                <a:cubicBezTo>
                  <a:pt x="6344399" y="580119"/>
                  <a:pt x="6319689" y="604829"/>
                  <a:pt x="6289207" y="604829"/>
                </a:cubicBezTo>
                <a:cubicBezTo>
                  <a:pt x="6258725" y="604829"/>
                  <a:pt x="6234015" y="580119"/>
                  <a:pt x="6234015" y="549638"/>
                </a:cubicBezTo>
                <a:cubicBezTo>
                  <a:pt x="6234015" y="519157"/>
                  <a:pt x="6258725" y="494447"/>
                  <a:pt x="6289207" y="494447"/>
                </a:cubicBezTo>
                <a:close/>
                <a:moveTo>
                  <a:pt x="4030786" y="494447"/>
                </a:moveTo>
                <a:cubicBezTo>
                  <a:pt x="4061268" y="494447"/>
                  <a:pt x="4085978" y="519157"/>
                  <a:pt x="4085978" y="549638"/>
                </a:cubicBezTo>
                <a:cubicBezTo>
                  <a:pt x="4085978" y="580119"/>
                  <a:pt x="4061268" y="604829"/>
                  <a:pt x="4030786" y="604829"/>
                </a:cubicBezTo>
                <a:cubicBezTo>
                  <a:pt x="4000304" y="604829"/>
                  <a:pt x="3975594" y="580119"/>
                  <a:pt x="3975594" y="549638"/>
                </a:cubicBezTo>
                <a:cubicBezTo>
                  <a:pt x="3975594" y="519157"/>
                  <a:pt x="4000304" y="494447"/>
                  <a:pt x="4030786" y="494447"/>
                </a:cubicBezTo>
                <a:close/>
                <a:moveTo>
                  <a:pt x="3897148" y="494447"/>
                </a:moveTo>
                <a:cubicBezTo>
                  <a:pt x="3927630" y="494447"/>
                  <a:pt x="3952340" y="519157"/>
                  <a:pt x="3952340" y="549638"/>
                </a:cubicBezTo>
                <a:cubicBezTo>
                  <a:pt x="3952340" y="580119"/>
                  <a:pt x="3927630" y="604829"/>
                  <a:pt x="3897148" y="604829"/>
                </a:cubicBezTo>
                <a:cubicBezTo>
                  <a:pt x="3866666" y="604829"/>
                  <a:pt x="3841956" y="580119"/>
                  <a:pt x="3841956" y="549638"/>
                </a:cubicBezTo>
                <a:cubicBezTo>
                  <a:pt x="3841956" y="519157"/>
                  <a:pt x="3866666" y="494447"/>
                  <a:pt x="3897148" y="494447"/>
                </a:cubicBezTo>
                <a:close/>
                <a:moveTo>
                  <a:pt x="3763514" y="494447"/>
                </a:moveTo>
                <a:cubicBezTo>
                  <a:pt x="3793996" y="494447"/>
                  <a:pt x="3818706" y="519157"/>
                  <a:pt x="3818706" y="549638"/>
                </a:cubicBezTo>
                <a:cubicBezTo>
                  <a:pt x="3818706" y="580119"/>
                  <a:pt x="3793996" y="604829"/>
                  <a:pt x="3763514" y="604829"/>
                </a:cubicBezTo>
                <a:cubicBezTo>
                  <a:pt x="3733032" y="604829"/>
                  <a:pt x="3708322" y="580119"/>
                  <a:pt x="3708322" y="549638"/>
                </a:cubicBezTo>
                <a:cubicBezTo>
                  <a:pt x="3708322" y="519157"/>
                  <a:pt x="3733032" y="494447"/>
                  <a:pt x="3763514" y="494447"/>
                </a:cubicBezTo>
                <a:close/>
                <a:moveTo>
                  <a:pt x="3633221" y="494447"/>
                </a:moveTo>
                <a:cubicBezTo>
                  <a:pt x="3663703" y="494447"/>
                  <a:pt x="3688413" y="519157"/>
                  <a:pt x="3688413" y="549638"/>
                </a:cubicBezTo>
                <a:cubicBezTo>
                  <a:pt x="3688413" y="580119"/>
                  <a:pt x="3663703" y="604829"/>
                  <a:pt x="3633221" y="604829"/>
                </a:cubicBezTo>
                <a:cubicBezTo>
                  <a:pt x="3602739" y="604829"/>
                  <a:pt x="3578029" y="580119"/>
                  <a:pt x="3578029" y="549638"/>
                </a:cubicBezTo>
                <a:cubicBezTo>
                  <a:pt x="3578029" y="519157"/>
                  <a:pt x="3602739" y="494447"/>
                  <a:pt x="3633221" y="494447"/>
                </a:cubicBezTo>
                <a:close/>
                <a:moveTo>
                  <a:pt x="3499589" y="494447"/>
                </a:moveTo>
                <a:cubicBezTo>
                  <a:pt x="3530071" y="494447"/>
                  <a:pt x="3554781" y="519157"/>
                  <a:pt x="3554781" y="549638"/>
                </a:cubicBezTo>
                <a:cubicBezTo>
                  <a:pt x="3554781" y="580119"/>
                  <a:pt x="3530071" y="604829"/>
                  <a:pt x="3499589" y="604829"/>
                </a:cubicBezTo>
                <a:cubicBezTo>
                  <a:pt x="3469107" y="604829"/>
                  <a:pt x="3444397" y="580119"/>
                  <a:pt x="3444397" y="549638"/>
                </a:cubicBezTo>
                <a:cubicBezTo>
                  <a:pt x="3444397" y="519157"/>
                  <a:pt x="3469107" y="494447"/>
                  <a:pt x="3499589" y="494447"/>
                </a:cubicBezTo>
                <a:close/>
                <a:moveTo>
                  <a:pt x="3369292" y="494447"/>
                </a:moveTo>
                <a:cubicBezTo>
                  <a:pt x="3399774" y="494447"/>
                  <a:pt x="3424484" y="519157"/>
                  <a:pt x="3424484" y="549638"/>
                </a:cubicBezTo>
                <a:cubicBezTo>
                  <a:pt x="3424484" y="580119"/>
                  <a:pt x="3399774" y="604829"/>
                  <a:pt x="3369292" y="604829"/>
                </a:cubicBezTo>
                <a:cubicBezTo>
                  <a:pt x="3338810" y="604829"/>
                  <a:pt x="3314100" y="580119"/>
                  <a:pt x="3314100" y="549638"/>
                </a:cubicBezTo>
                <a:cubicBezTo>
                  <a:pt x="3314100" y="519157"/>
                  <a:pt x="3338810" y="494447"/>
                  <a:pt x="3369292" y="494447"/>
                </a:cubicBezTo>
                <a:close/>
                <a:moveTo>
                  <a:pt x="3235657" y="494447"/>
                </a:moveTo>
                <a:cubicBezTo>
                  <a:pt x="3266139" y="494447"/>
                  <a:pt x="3290849" y="519157"/>
                  <a:pt x="3290849" y="549638"/>
                </a:cubicBezTo>
                <a:cubicBezTo>
                  <a:pt x="3290849" y="580119"/>
                  <a:pt x="3266139" y="604829"/>
                  <a:pt x="3235657" y="604829"/>
                </a:cubicBezTo>
                <a:cubicBezTo>
                  <a:pt x="3205175" y="604829"/>
                  <a:pt x="3180465" y="580119"/>
                  <a:pt x="3180465" y="549638"/>
                </a:cubicBezTo>
                <a:cubicBezTo>
                  <a:pt x="3180465" y="519157"/>
                  <a:pt x="3205175" y="494447"/>
                  <a:pt x="3235657" y="494447"/>
                </a:cubicBezTo>
                <a:close/>
                <a:moveTo>
                  <a:pt x="2437297" y="494447"/>
                </a:moveTo>
                <a:cubicBezTo>
                  <a:pt x="2467779" y="494447"/>
                  <a:pt x="2492487" y="519157"/>
                  <a:pt x="2492487" y="549638"/>
                </a:cubicBezTo>
                <a:cubicBezTo>
                  <a:pt x="2492487" y="580119"/>
                  <a:pt x="2467779" y="604829"/>
                  <a:pt x="2437297" y="604829"/>
                </a:cubicBezTo>
                <a:cubicBezTo>
                  <a:pt x="2406818" y="604829"/>
                  <a:pt x="2382108" y="580119"/>
                  <a:pt x="2382108" y="549638"/>
                </a:cubicBezTo>
                <a:cubicBezTo>
                  <a:pt x="2382108" y="519157"/>
                  <a:pt x="2406818" y="494447"/>
                  <a:pt x="2437297" y="494447"/>
                </a:cubicBezTo>
                <a:close/>
                <a:moveTo>
                  <a:pt x="2303664" y="494447"/>
                </a:moveTo>
                <a:cubicBezTo>
                  <a:pt x="2334145" y="494447"/>
                  <a:pt x="2358856" y="519157"/>
                  <a:pt x="2358856" y="549638"/>
                </a:cubicBezTo>
                <a:cubicBezTo>
                  <a:pt x="2358856" y="580119"/>
                  <a:pt x="2334145" y="604829"/>
                  <a:pt x="2303664" y="604829"/>
                </a:cubicBezTo>
                <a:cubicBezTo>
                  <a:pt x="2273182" y="604829"/>
                  <a:pt x="2248473" y="580119"/>
                  <a:pt x="2248473" y="549638"/>
                </a:cubicBezTo>
                <a:cubicBezTo>
                  <a:pt x="2248473" y="519157"/>
                  <a:pt x="2273182" y="494447"/>
                  <a:pt x="2303664" y="494447"/>
                </a:cubicBezTo>
                <a:close/>
                <a:moveTo>
                  <a:pt x="2173372" y="494447"/>
                </a:moveTo>
                <a:cubicBezTo>
                  <a:pt x="2203854" y="494447"/>
                  <a:pt x="2228565" y="519157"/>
                  <a:pt x="2228565" y="549638"/>
                </a:cubicBezTo>
                <a:cubicBezTo>
                  <a:pt x="2228565" y="580119"/>
                  <a:pt x="2203854" y="604829"/>
                  <a:pt x="2173372" y="604829"/>
                </a:cubicBezTo>
                <a:cubicBezTo>
                  <a:pt x="2142889" y="604829"/>
                  <a:pt x="2118180" y="580119"/>
                  <a:pt x="2118180" y="549638"/>
                </a:cubicBezTo>
                <a:cubicBezTo>
                  <a:pt x="2118180" y="519157"/>
                  <a:pt x="2142889" y="494447"/>
                  <a:pt x="2173372" y="494447"/>
                </a:cubicBezTo>
                <a:close/>
                <a:moveTo>
                  <a:pt x="2039736" y="494447"/>
                </a:moveTo>
                <a:cubicBezTo>
                  <a:pt x="2070218" y="494447"/>
                  <a:pt x="2094930" y="519157"/>
                  <a:pt x="2094930" y="549638"/>
                </a:cubicBezTo>
                <a:cubicBezTo>
                  <a:pt x="2094930" y="580119"/>
                  <a:pt x="2070218" y="604829"/>
                  <a:pt x="2039736" y="604829"/>
                </a:cubicBezTo>
                <a:cubicBezTo>
                  <a:pt x="2009254" y="604829"/>
                  <a:pt x="1984543" y="580119"/>
                  <a:pt x="1984543" y="549638"/>
                </a:cubicBezTo>
                <a:cubicBezTo>
                  <a:pt x="1984543" y="519157"/>
                  <a:pt x="2009254" y="494447"/>
                  <a:pt x="2039736" y="494447"/>
                </a:cubicBezTo>
                <a:close/>
                <a:moveTo>
                  <a:pt x="1909437" y="494447"/>
                </a:moveTo>
                <a:cubicBezTo>
                  <a:pt x="1939921" y="494447"/>
                  <a:pt x="1964630" y="519157"/>
                  <a:pt x="1964630" y="549638"/>
                </a:cubicBezTo>
                <a:cubicBezTo>
                  <a:pt x="1964630" y="580119"/>
                  <a:pt x="1939921" y="604829"/>
                  <a:pt x="1909437" y="604829"/>
                </a:cubicBezTo>
                <a:cubicBezTo>
                  <a:pt x="1878955" y="604829"/>
                  <a:pt x="1854244" y="580119"/>
                  <a:pt x="1854244" y="549638"/>
                </a:cubicBezTo>
                <a:cubicBezTo>
                  <a:pt x="1854244" y="519157"/>
                  <a:pt x="1878955" y="494447"/>
                  <a:pt x="1909437" y="494447"/>
                </a:cubicBezTo>
                <a:close/>
                <a:moveTo>
                  <a:pt x="1779142" y="494447"/>
                </a:moveTo>
                <a:cubicBezTo>
                  <a:pt x="1809626" y="494447"/>
                  <a:pt x="1834335" y="519157"/>
                  <a:pt x="1834335" y="549638"/>
                </a:cubicBezTo>
                <a:cubicBezTo>
                  <a:pt x="1834335" y="580119"/>
                  <a:pt x="1809626" y="604829"/>
                  <a:pt x="1779142" y="604829"/>
                </a:cubicBezTo>
                <a:cubicBezTo>
                  <a:pt x="1748663" y="604829"/>
                  <a:pt x="1723950" y="580119"/>
                  <a:pt x="1723950" y="549638"/>
                </a:cubicBezTo>
                <a:cubicBezTo>
                  <a:pt x="1723950" y="519157"/>
                  <a:pt x="1748663" y="494447"/>
                  <a:pt x="1779142" y="494447"/>
                </a:cubicBezTo>
                <a:close/>
                <a:moveTo>
                  <a:pt x="1645508" y="494447"/>
                </a:moveTo>
                <a:cubicBezTo>
                  <a:pt x="1675988" y="494447"/>
                  <a:pt x="1700702" y="519157"/>
                  <a:pt x="1700702" y="549638"/>
                </a:cubicBezTo>
                <a:cubicBezTo>
                  <a:pt x="1700702" y="580119"/>
                  <a:pt x="1675988" y="604829"/>
                  <a:pt x="1645508" y="604829"/>
                </a:cubicBezTo>
                <a:cubicBezTo>
                  <a:pt x="1615024" y="604829"/>
                  <a:pt x="1590311" y="580119"/>
                  <a:pt x="1590311" y="549638"/>
                </a:cubicBezTo>
                <a:cubicBezTo>
                  <a:pt x="1590311" y="519157"/>
                  <a:pt x="1615024" y="494447"/>
                  <a:pt x="1645508" y="494447"/>
                </a:cubicBezTo>
                <a:close/>
                <a:moveTo>
                  <a:pt x="1515217" y="494447"/>
                </a:moveTo>
                <a:cubicBezTo>
                  <a:pt x="1545695" y="494447"/>
                  <a:pt x="1570402" y="519157"/>
                  <a:pt x="1570402" y="549638"/>
                </a:cubicBezTo>
                <a:cubicBezTo>
                  <a:pt x="1570402" y="580119"/>
                  <a:pt x="1545695" y="604829"/>
                  <a:pt x="1515217" y="604829"/>
                </a:cubicBezTo>
                <a:cubicBezTo>
                  <a:pt x="1484732" y="604829"/>
                  <a:pt x="1460020" y="580119"/>
                  <a:pt x="1460020" y="549638"/>
                </a:cubicBezTo>
                <a:cubicBezTo>
                  <a:pt x="1460020" y="519157"/>
                  <a:pt x="1484732" y="494447"/>
                  <a:pt x="1515217" y="494447"/>
                </a:cubicBezTo>
                <a:close/>
                <a:moveTo>
                  <a:pt x="1381573" y="494447"/>
                </a:moveTo>
                <a:cubicBezTo>
                  <a:pt x="1412057" y="494447"/>
                  <a:pt x="1436767" y="519157"/>
                  <a:pt x="1436767" y="549638"/>
                </a:cubicBezTo>
                <a:cubicBezTo>
                  <a:pt x="1436767" y="580119"/>
                  <a:pt x="1412057" y="604829"/>
                  <a:pt x="1381573" y="604829"/>
                </a:cubicBezTo>
                <a:cubicBezTo>
                  <a:pt x="1351097" y="604829"/>
                  <a:pt x="1326384" y="580119"/>
                  <a:pt x="1326384" y="549638"/>
                </a:cubicBezTo>
                <a:cubicBezTo>
                  <a:pt x="1326384" y="519157"/>
                  <a:pt x="1351097" y="494447"/>
                  <a:pt x="1381573" y="494447"/>
                </a:cubicBezTo>
                <a:close/>
                <a:moveTo>
                  <a:pt x="1251282" y="494447"/>
                </a:moveTo>
                <a:cubicBezTo>
                  <a:pt x="1281766" y="494447"/>
                  <a:pt x="1306476" y="519157"/>
                  <a:pt x="1306476" y="549638"/>
                </a:cubicBezTo>
                <a:cubicBezTo>
                  <a:pt x="1306476" y="580119"/>
                  <a:pt x="1281766" y="604829"/>
                  <a:pt x="1251282" y="604829"/>
                </a:cubicBezTo>
                <a:cubicBezTo>
                  <a:pt x="1220801" y="604829"/>
                  <a:pt x="1196089" y="580119"/>
                  <a:pt x="1196089" y="549638"/>
                </a:cubicBezTo>
                <a:cubicBezTo>
                  <a:pt x="1196089" y="519157"/>
                  <a:pt x="1220801" y="494447"/>
                  <a:pt x="1251282" y="494447"/>
                </a:cubicBezTo>
                <a:close/>
                <a:moveTo>
                  <a:pt x="8801538" y="364154"/>
                </a:moveTo>
                <a:cubicBezTo>
                  <a:pt x="8832020" y="364154"/>
                  <a:pt x="8856730" y="388864"/>
                  <a:pt x="8856730" y="419345"/>
                </a:cubicBezTo>
                <a:cubicBezTo>
                  <a:pt x="8856730" y="449826"/>
                  <a:pt x="8832020" y="474536"/>
                  <a:pt x="8801538" y="474536"/>
                </a:cubicBezTo>
                <a:cubicBezTo>
                  <a:pt x="8771056" y="474536"/>
                  <a:pt x="8746346" y="449826"/>
                  <a:pt x="8746346" y="419345"/>
                </a:cubicBezTo>
                <a:cubicBezTo>
                  <a:pt x="8746346" y="388864"/>
                  <a:pt x="8771056" y="364154"/>
                  <a:pt x="8801538" y="364154"/>
                </a:cubicBezTo>
                <a:close/>
                <a:moveTo>
                  <a:pt x="8671244" y="364154"/>
                </a:moveTo>
                <a:cubicBezTo>
                  <a:pt x="8701726" y="364154"/>
                  <a:pt x="8726436" y="388864"/>
                  <a:pt x="8726436" y="419345"/>
                </a:cubicBezTo>
                <a:cubicBezTo>
                  <a:pt x="8726436" y="449826"/>
                  <a:pt x="8701726" y="474536"/>
                  <a:pt x="8671244" y="474536"/>
                </a:cubicBezTo>
                <a:cubicBezTo>
                  <a:pt x="8640762" y="474536"/>
                  <a:pt x="8616052" y="449826"/>
                  <a:pt x="8616052" y="419345"/>
                </a:cubicBezTo>
                <a:cubicBezTo>
                  <a:pt x="8616052" y="388864"/>
                  <a:pt x="8640762" y="364154"/>
                  <a:pt x="8671244" y="364154"/>
                </a:cubicBezTo>
                <a:close/>
                <a:moveTo>
                  <a:pt x="8537609" y="364154"/>
                </a:moveTo>
                <a:cubicBezTo>
                  <a:pt x="8568091" y="364154"/>
                  <a:pt x="8592801" y="388864"/>
                  <a:pt x="8592801" y="419345"/>
                </a:cubicBezTo>
                <a:cubicBezTo>
                  <a:pt x="8592801" y="449826"/>
                  <a:pt x="8568091" y="474536"/>
                  <a:pt x="8537609" y="474536"/>
                </a:cubicBezTo>
                <a:cubicBezTo>
                  <a:pt x="8507127" y="474536"/>
                  <a:pt x="8482417" y="449826"/>
                  <a:pt x="8482417" y="419345"/>
                </a:cubicBezTo>
                <a:cubicBezTo>
                  <a:pt x="8482417" y="388864"/>
                  <a:pt x="8507127" y="364154"/>
                  <a:pt x="8537609" y="364154"/>
                </a:cubicBezTo>
                <a:close/>
                <a:moveTo>
                  <a:pt x="7745824" y="364154"/>
                </a:moveTo>
                <a:cubicBezTo>
                  <a:pt x="7776306" y="364154"/>
                  <a:pt x="7801016" y="388864"/>
                  <a:pt x="7801016" y="419345"/>
                </a:cubicBezTo>
                <a:cubicBezTo>
                  <a:pt x="7801016" y="449826"/>
                  <a:pt x="7776306" y="474536"/>
                  <a:pt x="7745824" y="474536"/>
                </a:cubicBezTo>
                <a:cubicBezTo>
                  <a:pt x="7715342" y="474536"/>
                  <a:pt x="7690632" y="449826"/>
                  <a:pt x="7690632" y="419345"/>
                </a:cubicBezTo>
                <a:cubicBezTo>
                  <a:pt x="7690632" y="388864"/>
                  <a:pt x="7715342" y="364154"/>
                  <a:pt x="7745824" y="364154"/>
                </a:cubicBezTo>
                <a:close/>
                <a:moveTo>
                  <a:pt x="7608850" y="364154"/>
                </a:moveTo>
                <a:cubicBezTo>
                  <a:pt x="7639332" y="364154"/>
                  <a:pt x="7664042" y="388864"/>
                  <a:pt x="7664042" y="419345"/>
                </a:cubicBezTo>
                <a:cubicBezTo>
                  <a:pt x="7664042" y="449826"/>
                  <a:pt x="7639332" y="474536"/>
                  <a:pt x="7608850" y="474536"/>
                </a:cubicBezTo>
                <a:cubicBezTo>
                  <a:pt x="7578368" y="474536"/>
                  <a:pt x="7553658" y="449826"/>
                  <a:pt x="7553658" y="419345"/>
                </a:cubicBezTo>
                <a:cubicBezTo>
                  <a:pt x="7553658" y="388864"/>
                  <a:pt x="7578368" y="364154"/>
                  <a:pt x="7608850" y="364154"/>
                </a:cubicBezTo>
                <a:close/>
                <a:moveTo>
                  <a:pt x="7481895" y="364154"/>
                </a:moveTo>
                <a:cubicBezTo>
                  <a:pt x="7512377" y="364154"/>
                  <a:pt x="7537087" y="388864"/>
                  <a:pt x="7537087" y="419345"/>
                </a:cubicBezTo>
                <a:cubicBezTo>
                  <a:pt x="7537087" y="449826"/>
                  <a:pt x="7512377" y="474536"/>
                  <a:pt x="7481895" y="474536"/>
                </a:cubicBezTo>
                <a:cubicBezTo>
                  <a:pt x="7451413" y="474536"/>
                  <a:pt x="7426703" y="449826"/>
                  <a:pt x="7426703" y="419345"/>
                </a:cubicBezTo>
                <a:cubicBezTo>
                  <a:pt x="7426703" y="388864"/>
                  <a:pt x="7451413" y="364154"/>
                  <a:pt x="7481895" y="364154"/>
                </a:cubicBezTo>
                <a:close/>
                <a:moveTo>
                  <a:pt x="7341580" y="364154"/>
                </a:moveTo>
                <a:cubicBezTo>
                  <a:pt x="7372062" y="364154"/>
                  <a:pt x="7396772" y="388864"/>
                  <a:pt x="7396772" y="419345"/>
                </a:cubicBezTo>
                <a:cubicBezTo>
                  <a:pt x="7396772" y="449826"/>
                  <a:pt x="7372062" y="474536"/>
                  <a:pt x="7341580" y="474536"/>
                </a:cubicBezTo>
                <a:cubicBezTo>
                  <a:pt x="7311098" y="474536"/>
                  <a:pt x="7286388" y="449826"/>
                  <a:pt x="7286388" y="419345"/>
                </a:cubicBezTo>
                <a:cubicBezTo>
                  <a:pt x="7286388" y="388864"/>
                  <a:pt x="7311098" y="364154"/>
                  <a:pt x="7341580" y="364154"/>
                </a:cubicBezTo>
                <a:close/>
                <a:moveTo>
                  <a:pt x="6553137" y="364154"/>
                </a:moveTo>
                <a:cubicBezTo>
                  <a:pt x="6583619" y="364154"/>
                  <a:pt x="6608329" y="388864"/>
                  <a:pt x="6608329" y="419345"/>
                </a:cubicBezTo>
                <a:cubicBezTo>
                  <a:pt x="6608329" y="449826"/>
                  <a:pt x="6583619" y="474536"/>
                  <a:pt x="6553137" y="474536"/>
                </a:cubicBezTo>
                <a:cubicBezTo>
                  <a:pt x="6522655" y="474536"/>
                  <a:pt x="6497945" y="449826"/>
                  <a:pt x="6497945" y="419345"/>
                </a:cubicBezTo>
                <a:cubicBezTo>
                  <a:pt x="6497945" y="388864"/>
                  <a:pt x="6522655" y="364154"/>
                  <a:pt x="6553137" y="364154"/>
                </a:cubicBezTo>
                <a:close/>
                <a:moveTo>
                  <a:pt x="6419503" y="364154"/>
                </a:moveTo>
                <a:cubicBezTo>
                  <a:pt x="6449985" y="364154"/>
                  <a:pt x="6474695" y="388864"/>
                  <a:pt x="6474695" y="419345"/>
                </a:cubicBezTo>
                <a:cubicBezTo>
                  <a:pt x="6474695" y="449826"/>
                  <a:pt x="6449985" y="474536"/>
                  <a:pt x="6419503" y="474536"/>
                </a:cubicBezTo>
                <a:cubicBezTo>
                  <a:pt x="6389021" y="474536"/>
                  <a:pt x="6364311" y="449826"/>
                  <a:pt x="6364311" y="419345"/>
                </a:cubicBezTo>
                <a:cubicBezTo>
                  <a:pt x="6364311" y="388864"/>
                  <a:pt x="6389021" y="364154"/>
                  <a:pt x="6419503" y="364154"/>
                </a:cubicBezTo>
                <a:close/>
                <a:moveTo>
                  <a:pt x="4030786" y="364154"/>
                </a:moveTo>
                <a:cubicBezTo>
                  <a:pt x="4061268" y="364154"/>
                  <a:pt x="4085978" y="388864"/>
                  <a:pt x="4085978" y="419345"/>
                </a:cubicBezTo>
                <a:cubicBezTo>
                  <a:pt x="4085978" y="449826"/>
                  <a:pt x="4061268" y="474536"/>
                  <a:pt x="4030786" y="474536"/>
                </a:cubicBezTo>
                <a:cubicBezTo>
                  <a:pt x="4000304" y="474536"/>
                  <a:pt x="3975594" y="449826"/>
                  <a:pt x="3975594" y="419345"/>
                </a:cubicBezTo>
                <a:cubicBezTo>
                  <a:pt x="3975594" y="388864"/>
                  <a:pt x="4000304" y="364154"/>
                  <a:pt x="4030786" y="364154"/>
                </a:cubicBezTo>
                <a:close/>
                <a:moveTo>
                  <a:pt x="3897148" y="364154"/>
                </a:moveTo>
                <a:cubicBezTo>
                  <a:pt x="3927630" y="364154"/>
                  <a:pt x="3952340" y="388864"/>
                  <a:pt x="3952340" y="419345"/>
                </a:cubicBezTo>
                <a:cubicBezTo>
                  <a:pt x="3952340" y="449826"/>
                  <a:pt x="3927630" y="474536"/>
                  <a:pt x="3897148" y="474536"/>
                </a:cubicBezTo>
                <a:cubicBezTo>
                  <a:pt x="3866666" y="474536"/>
                  <a:pt x="3841956" y="449826"/>
                  <a:pt x="3841956" y="419345"/>
                </a:cubicBezTo>
                <a:cubicBezTo>
                  <a:pt x="3841956" y="388864"/>
                  <a:pt x="3866666" y="364154"/>
                  <a:pt x="3897148" y="364154"/>
                </a:cubicBezTo>
                <a:close/>
                <a:moveTo>
                  <a:pt x="3763514" y="364154"/>
                </a:moveTo>
                <a:cubicBezTo>
                  <a:pt x="3793996" y="364154"/>
                  <a:pt x="3818706" y="388864"/>
                  <a:pt x="3818706" y="419345"/>
                </a:cubicBezTo>
                <a:cubicBezTo>
                  <a:pt x="3818706" y="449826"/>
                  <a:pt x="3793996" y="474536"/>
                  <a:pt x="3763514" y="474536"/>
                </a:cubicBezTo>
                <a:cubicBezTo>
                  <a:pt x="3733032" y="474536"/>
                  <a:pt x="3708322" y="449826"/>
                  <a:pt x="3708322" y="419345"/>
                </a:cubicBezTo>
                <a:cubicBezTo>
                  <a:pt x="3708322" y="388864"/>
                  <a:pt x="3733032" y="364154"/>
                  <a:pt x="3763514" y="364154"/>
                </a:cubicBezTo>
                <a:close/>
                <a:moveTo>
                  <a:pt x="3633221" y="364154"/>
                </a:moveTo>
                <a:cubicBezTo>
                  <a:pt x="3663703" y="364154"/>
                  <a:pt x="3688413" y="388864"/>
                  <a:pt x="3688413" y="419345"/>
                </a:cubicBezTo>
                <a:cubicBezTo>
                  <a:pt x="3688413" y="449826"/>
                  <a:pt x="3663703" y="474536"/>
                  <a:pt x="3633221" y="474536"/>
                </a:cubicBezTo>
                <a:cubicBezTo>
                  <a:pt x="3602739" y="474536"/>
                  <a:pt x="3578029" y="449826"/>
                  <a:pt x="3578029" y="419345"/>
                </a:cubicBezTo>
                <a:cubicBezTo>
                  <a:pt x="3578029" y="388864"/>
                  <a:pt x="3602739" y="364154"/>
                  <a:pt x="3633221" y="364154"/>
                </a:cubicBezTo>
                <a:close/>
                <a:moveTo>
                  <a:pt x="3499589" y="364154"/>
                </a:moveTo>
                <a:cubicBezTo>
                  <a:pt x="3530071" y="364154"/>
                  <a:pt x="3554781" y="388864"/>
                  <a:pt x="3554781" y="419345"/>
                </a:cubicBezTo>
                <a:cubicBezTo>
                  <a:pt x="3554781" y="449826"/>
                  <a:pt x="3530071" y="474536"/>
                  <a:pt x="3499589" y="474536"/>
                </a:cubicBezTo>
                <a:cubicBezTo>
                  <a:pt x="3469107" y="474536"/>
                  <a:pt x="3444397" y="449826"/>
                  <a:pt x="3444397" y="419345"/>
                </a:cubicBezTo>
                <a:cubicBezTo>
                  <a:pt x="3444397" y="388864"/>
                  <a:pt x="3469107" y="364154"/>
                  <a:pt x="3499589" y="364154"/>
                </a:cubicBezTo>
                <a:close/>
                <a:moveTo>
                  <a:pt x="3369292" y="364154"/>
                </a:moveTo>
                <a:cubicBezTo>
                  <a:pt x="3399774" y="364154"/>
                  <a:pt x="3424484" y="388864"/>
                  <a:pt x="3424484" y="419345"/>
                </a:cubicBezTo>
                <a:cubicBezTo>
                  <a:pt x="3424484" y="449826"/>
                  <a:pt x="3399774" y="474536"/>
                  <a:pt x="3369292" y="474536"/>
                </a:cubicBezTo>
                <a:cubicBezTo>
                  <a:pt x="3338810" y="474536"/>
                  <a:pt x="3314100" y="449826"/>
                  <a:pt x="3314100" y="419345"/>
                </a:cubicBezTo>
                <a:cubicBezTo>
                  <a:pt x="3314100" y="388864"/>
                  <a:pt x="3338810" y="364154"/>
                  <a:pt x="3369292" y="364154"/>
                </a:cubicBezTo>
                <a:close/>
                <a:moveTo>
                  <a:pt x="3235657" y="364154"/>
                </a:moveTo>
                <a:cubicBezTo>
                  <a:pt x="3266139" y="364154"/>
                  <a:pt x="3290849" y="388864"/>
                  <a:pt x="3290849" y="419345"/>
                </a:cubicBezTo>
                <a:cubicBezTo>
                  <a:pt x="3290849" y="449826"/>
                  <a:pt x="3266139" y="474536"/>
                  <a:pt x="3235657" y="474536"/>
                </a:cubicBezTo>
                <a:cubicBezTo>
                  <a:pt x="3205175" y="474536"/>
                  <a:pt x="3180465" y="449826"/>
                  <a:pt x="3180465" y="419345"/>
                </a:cubicBezTo>
                <a:cubicBezTo>
                  <a:pt x="3180465" y="388864"/>
                  <a:pt x="3205175" y="364154"/>
                  <a:pt x="3235657" y="364154"/>
                </a:cubicBezTo>
                <a:close/>
                <a:moveTo>
                  <a:pt x="3098681" y="364154"/>
                </a:moveTo>
                <a:cubicBezTo>
                  <a:pt x="3129163" y="364154"/>
                  <a:pt x="3153873" y="388864"/>
                  <a:pt x="3153873" y="419345"/>
                </a:cubicBezTo>
                <a:cubicBezTo>
                  <a:pt x="3153873" y="449826"/>
                  <a:pt x="3129163" y="474536"/>
                  <a:pt x="3098681" y="474536"/>
                </a:cubicBezTo>
                <a:cubicBezTo>
                  <a:pt x="3068199" y="474536"/>
                  <a:pt x="3043489" y="449826"/>
                  <a:pt x="3043489" y="419345"/>
                </a:cubicBezTo>
                <a:cubicBezTo>
                  <a:pt x="3043489" y="388864"/>
                  <a:pt x="3068199" y="364154"/>
                  <a:pt x="3098681" y="364154"/>
                </a:cubicBezTo>
                <a:close/>
                <a:moveTo>
                  <a:pt x="2971729" y="364154"/>
                </a:moveTo>
                <a:cubicBezTo>
                  <a:pt x="3002211" y="364154"/>
                  <a:pt x="3026921" y="388864"/>
                  <a:pt x="3026921" y="419345"/>
                </a:cubicBezTo>
                <a:cubicBezTo>
                  <a:pt x="3026921" y="449826"/>
                  <a:pt x="3002211" y="474536"/>
                  <a:pt x="2971729" y="474536"/>
                </a:cubicBezTo>
                <a:cubicBezTo>
                  <a:pt x="2941247" y="474536"/>
                  <a:pt x="2916537" y="449826"/>
                  <a:pt x="2916537" y="419345"/>
                </a:cubicBezTo>
                <a:cubicBezTo>
                  <a:pt x="2916537" y="388864"/>
                  <a:pt x="2941247" y="364154"/>
                  <a:pt x="2971729" y="364154"/>
                </a:cubicBezTo>
                <a:close/>
                <a:moveTo>
                  <a:pt x="2834862" y="364154"/>
                </a:moveTo>
                <a:cubicBezTo>
                  <a:pt x="2865342" y="364154"/>
                  <a:pt x="2890052" y="388864"/>
                  <a:pt x="2890052" y="419345"/>
                </a:cubicBezTo>
                <a:cubicBezTo>
                  <a:pt x="2890052" y="449826"/>
                  <a:pt x="2865342" y="474536"/>
                  <a:pt x="2834862" y="474536"/>
                </a:cubicBezTo>
                <a:cubicBezTo>
                  <a:pt x="2804379" y="474536"/>
                  <a:pt x="2779671" y="449826"/>
                  <a:pt x="2779671" y="419345"/>
                </a:cubicBezTo>
                <a:cubicBezTo>
                  <a:pt x="2779671" y="388864"/>
                  <a:pt x="2804379" y="364154"/>
                  <a:pt x="2834862" y="364154"/>
                </a:cubicBezTo>
                <a:close/>
                <a:moveTo>
                  <a:pt x="2437297" y="364154"/>
                </a:moveTo>
                <a:cubicBezTo>
                  <a:pt x="2467781" y="364154"/>
                  <a:pt x="2492487" y="388864"/>
                  <a:pt x="2492487" y="419345"/>
                </a:cubicBezTo>
                <a:cubicBezTo>
                  <a:pt x="2492487" y="449826"/>
                  <a:pt x="2467781" y="474536"/>
                  <a:pt x="2437297" y="474536"/>
                </a:cubicBezTo>
                <a:cubicBezTo>
                  <a:pt x="2406818" y="474536"/>
                  <a:pt x="2382108" y="449826"/>
                  <a:pt x="2382108" y="419345"/>
                </a:cubicBezTo>
                <a:cubicBezTo>
                  <a:pt x="2382108" y="388864"/>
                  <a:pt x="2406818" y="364154"/>
                  <a:pt x="2437297" y="364154"/>
                </a:cubicBezTo>
                <a:close/>
                <a:moveTo>
                  <a:pt x="2303664" y="364154"/>
                </a:moveTo>
                <a:cubicBezTo>
                  <a:pt x="2334146" y="364154"/>
                  <a:pt x="2358856" y="388864"/>
                  <a:pt x="2358856" y="419345"/>
                </a:cubicBezTo>
                <a:cubicBezTo>
                  <a:pt x="2358856" y="449826"/>
                  <a:pt x="2334146" y="474536"/>
                  <a:pt x="2303664" y="474536"/>
                </a:cubicBezTo>
                <a:cubicBezTo>
                  <a:pt x="2273184" y="474536"/>
                  <a:pt x="2248473" y="449826"/>
                  <a:pt x="2248473" y="419345"/>
                </a:cubicBezTo>
                <a:cubicBezTo>
                  <a:pt x="2248473" y="388864"/>
                  <a:pt x="2273184" y="364154"/>
                  <a:pt x="2303664" y="364154"/>
                </a:cubicBezTo>
                <a:close/>
                <a:moveTo>
                  <a:pt x="2173372" y="364154"/>
                </a:moveTo>
                <a:cubicBezTo>
                  <a:pt x="2203854" y="364154"/>
                  <a:pt x="2228565" y="388864"/>
                  <a:pt x="2228565" y="419345"/>
                </a:cubicBezTo>
                <a:cubicBezTo>
                  <a:pt x="2228565" y="449826"/>
                  <a:pt x="2203854" y="474536"/>
                  <a:pt x="2173372" y="474536"/>
                </a:cubicBezTo>
                <a:cubicBezTo>
                  <a:pt x="2142892" y="474536"/>
                  <a:pt x="2118180" y="449826"/>
                  <a:pt x="2118180" y="419345"/>
                </a:cubicBezTo>
                <a:cubicBezTo>
                  <a:pt x="2118180" y="388864"/>
                  <a:pt x="2142892" y="364154"/>
                  <a:pt x="2173372" y="364154"/>
                </a:cubicBezTo>
                <a:close/>
                <a:moveTo>
                  <a:pt x="2039736" y="364154"/>
                </a:moveTo>
                <a:cubicBezTo>
                  <a:pt x="2070218" y="364154"/>
                  <a:pt x="2094930" y="388864"/>
                  <a:pt x="2094930" y="419345"/>
                </a:cubicBezTo>
                <a:cubicBezTo>
                  <a:pt x="2094930" y="449826"/>
                  <a:pt x="2070218" y="474536"/>
                  <a:pt x="2039736" y="474536"/>
                </a:cubicBezTo>
                <a:cubicBezTo>
                  <a:pt x="2009254" y="474536"/>
                  <a:pt x="1984543" y="449826"/>
                  <a:pt x="1984543" y="419345"/>
                </a:cubicBezTo>
                <a:cubicBezTo>
                  <a:pt x="1984543" y="388864"/>
                  <a:pt x="2009254" y="364154"/>
                  <a:pt x="2039736" y="364154"/>
                </a:cubicBezTo>
                <a:close/>
                <a:moveTo>
                  <a:pt x="1909440" y="364154"/>
                </a:moveTo>
                <a:cubicBezTo>
                  <a:pt x="1939922" y="364154"/>
                  <a:pt x="1964634" y="388864"/>
                  <a:pt x="1964634" y="419345"/>
                </a:cubicBezTo>
                <a:cubicBezTo>
                  <a:pt x="1964634" y="449826"/>
                  <a:pt x="1939922" y="474536"/>
                  <a:pt x="1909440" y="474536"/>
                </a:cubicBezTo>
                <a:cubicBezTo>
                  <a:pt x="1878957" y="474536"/>
                  <a:pt x="1854246" y="449826"/>
                  <a:pt x="1854246" y="419345"/>
                </a:cubicBezTo>
                <a:cubicBezTo>
                  <a:pt x="1854246" y="388864"/>
                  <a:pt x="1878957" y="364154"/>
                  <a:pt x="1909440" y="364154"/>
                </a:cubicBezTo>
                <a:close/>
                <a:moveTo>
                  <a:pt x="1779142" y="364154"/>
                </a:moveTo>
                <a:cubicBezTo>
                  <a:pt x="1809626" y="364154"/>
                  <a:pt x="1834337" y="388864"/>
                  <a:pt x="1834337" y="419345"/>
                </a:cubicBezTo>
                <a:cubicBezTo>
                  <a:pt x="1834337" y="449826"/>
                  <a:pt x="1809626" y="474536"/>
                  <a:pt x="1779142" y="474536"/>
                </a:cubicBezTo>
                <a:cubicBezTo>
                  <a:pt x="1748663" y="474536"/>
                  <a:pt x="1723951" y="449826"/>
                  <a:pt x="1723951" y="419345"/>
                </a:cubicBezTo>
                <a:cubicBezTo>
                  <a:pt x="1723951" y="388864"/>
                  <a:pt x="1748663" y="364154"/>
                  <a:pt x="1779142" y="364154"/>
                </a:cubicBezTo>
                <a:close/>
                <a:moveTo>
                  <a:pt x="1645508" y="364154"/>
                </a:moveTo>
                <a:cubicBezTo>
                  <a:pt x="1675988" y="364154"/>
                  <a:pt x="1700702" y="388864"/>
                  <a:pt x="1700702" y="419345"/>
                </a:cubicBezTo>
                <a:cubicBezTo>
                  <a:pt x="1700702" y="449826"/>
                  <a:pt x="1675988" y="474536"/>
                  <a:pt x="1645508" y="474536"/>
                </a:cubicBezTo>
                <a:cubicBezTo>
                  <a:pt x="1615024" y="474536"/>
                  <a:pt x="1590313" y="449826"/>
                  <a:pt x="1590313" y="419345"/>
                </a:cubicBezTo>
                <a:cubicBezTo>
                  <a:pt x="1590313" y="388864"/>
                  <a:pt x="1615024" y="364154"/>
                  <a:pt x="1645508" y="364154"/>
                </a:cubicBezTo>
                <a:close/>
                <a:moveTo>
                  <a:pt x="1515217" y="364154"/>
                </a:moveTo>
                <a:cubicBezTo>
                  <a:pt x="1545695" y="364154"/>
                  <a:pt x="1570405" y="388864"/>
                  <a:pt x="1570405" y="419345"/>
                </a:cubicBezTo>
                <a:cubicBezTo>
                  <a:pt x="1570405" y="449826"/>
                  <a:pt x="1545695" y="474536"/>
                  <a:pt x="1515217" y="474536"/>
                </a:cubicBezTo>
                <a:cubicBezTo>
                  <a:pt x="1484732" y="474536"/>
                  <a:pt x="1460020" y="449826"/>
                  <a:pt x="1460020" y="419345"/>
                </a:cubicBezTo>
                <a:cubicBezTo>
                  <a:pt x="1460020" y="388864"/>
                  <a:pt x="1484732" y="364154"/>
                  <a:pt x="1515217" y="364154"/>
                </a:cubicBezTo>
                <a:close/>
                <a:moveTo>
                  <a:pt x="1381573" y="364154"/>
                </a:moveTo>
                <a:cubicBezTo>
                  <a:pt x="1412060" y="364154"/>
                  <a:pt x="1436767" y="388864"/>
                  <a:pt x="1436767" y="419345"/>
                </a:cubicBezTo>
                <a:cubicBezTo>
                  <a:pt x="1436767" y="449826"/>
                  <a:pt x="1412060" y="474536"/>
                  <a:pt x="1381573" y="474536"/>
                </a:cubicBezTo>
                <a:cubicBezTo>
                  <a:pt x="1351097" y="474536"/>
                  <a:pt x="1326384" y="449826"/>
                  <a:pt x="1326384" y="419345"/>
                </a:cubicBezTo>
                <a:cubicBezTo>
                  <a:pt x="1326384" y="388864"/>
                  <a:pt x="1351097" y="364154"/>
                  <a:pt x="1381573" y="364154"/>
                </a:cubicBezTo>
                <a:close/>
                <a:moveTo>
                  <a:pt x="1251283" y="364154"/>
                </a:moveTo>
                <a:cubicBezTo>
                  <a:pt x="1281766" y="364154"/>
                  <a:pt x="1306476" y="388864"/>
                  <a:pt x="1306476" y="419345"/>
                </a:cubicBezTo>
                <a:cubicBezTo>
                  <a:pt x="1306476" y="449826"/>
                  <a:pt x="1281766" y="474536"/>
                  <a:pt x="1251283" y="474536"/>
                </a:cubicBezTo>
                <a:cubicBezTo>
                  <a:pt x="1220801" y="474536"/>
                  <a:pt x="1196091" y="449826"/>
                  <a:pt x="1196091" y="419345"/>
                </a:cubicBezTo>
                <a:cubicBezTo>
                  <a:pt x="1196091" y="388864"/>
                  <a:pt x="1220801" y="364154"/>
                  <a:pt x="1251283" y="364154"/>
                </a:cubicBezTo>
                <a:close/>
                <a:moveTo>
                  <a:pt x="7608850" y="247225"/>
                </a:moveTo>
                <a:cubicBezTo>
                  <a:pt x="7639332" y="247225"/>
                  <a:pt x="7664042" y="271935"/>
                  <a:pt x="7664042" y="302416"/>
                </a:cubicBezTo>
                <a:cubicBezTo>
                  <a:pt x="7664042" y="332897"/>
                  <a:pt x="7639332" y="357607"/>
                  <a:pt x="7608850" y="357607"/>
                </a:cubicBezTo>
                <a:cubicBezTo>
                  <a:pt x="7578368" y="357607"/>
                  <a:pt x="7553658" y="332897"/>
                  <a:pt x="7553658" y="302416"/>
                </a:cubicBezTo>
                <a:cubicBezTo>
                  <a:pt x="7553658" y="271935"/>
                  <a:pt x="7578368" y="247225"/>
                  <a:pt x="7608850" y="247225"/>
                </a:cubicBezTo>
                <a:close/>
                <a:moveTo>
                  <a:pt x="7481898" y="247225"/>
                </a:moveTo>
                <a:cubicBezTo>
                  <a:pt x="7512380" y="247225"/>
                  <a:pt x="7537090" y="271935"/>
                  <a:pt x="7537090" y="302416"/>
                </a:cubicBezTo>
                <a:cubicBezTo>
                  <a:pt x="7537090" y="332897"/>
                  <a:pt x="7512380" y="357607"/>
                  <a:pt x="7481898" y="357607"/>
                </a:cubicBezTo>
                <a:cubicBezTo>
                  <a:pt x="7451416" y="357607"/>
                  <a:pt x="7426706" y="332897"/>
                  <a:pt x="7426706" y="302416"/>
                </a:cubicBezTo>
                <a:cubicBezTo>
                  <a:pt x="7426706" y="271935"/>
                  <a:pt x="7451416" y="247225"/>
                  <a:pt x="7481898" y="247225"/>
                </a:cubicBezTo>
                <a:close/>
                <a:moveTo>
                  <a:pt x="5093178" y="247225"/>
                </a:moveTo>
                <a:cubicBezTo>
                  <a:pt x="5123660" y="247225"/>
                  <a:pt x="5148370" y="271935"/>
                  <a:pt x="5148370" y="302416"/>
                </a:cubicBezTo>
                <a:cubicBezTo>
                  <a:pt x="5148370" y="332897"/>
                  <a:pt x="5123660" y="357607"/>
                  <a:pt x="5093178" y="357607"/>
                </a:cubicBezTo>
                <a:cubicBezTo>
                  <a:pt x="5062696" y="357607"/>
                  <a:pt x="5037986" y="332897"/>
                  <a:pt x="5037986" y="302416"/>
                </a:cubicBezTo>
                <a:cubicBezTo>
                  <a:pt x="5037986" y="271935"/>
                  <a:pt x="5062696" y="247225"/>
                  <a:pt x="5093178" y="247225"/>
                </a:cubicBezTo>
                <a:close/>
                <a:moveTo>
                  <a:pt x="4030786" y="247225"/>
                </a:moveTo>
                <a:cubicBezTo>
                  <a:pt x="4061268" y="247225"/>
                  <a:pt x="4085978" y="271935"/>
                  <a:pt x="4085978" y="302416"/>
                </a:cubicBezTo>
                <a:cubicBezTo>
                  <a:pt x="4085978" y="332897"/>
                  <a:pt x="4061268" y="357607"/>
                  <a:pt x="4030786" y="357607"/>
                </a:cubicBezTo>
                <a:cubicBezTo>
                  <a:pt x="4000304" y="357607"/>
                  <a:pt x="3975594" y="332897"/>
                  <a:pt x="3975594" y="302416"/>
                </a:cubicBezTo>
                <a:cubicBezTo>
                  <a:pt x="3975594" y="271935"/>
                  <a:pt x="4000304" y="247225"/>
                  <a:pt x="4030786" y="247225"/>
                </a:cubicBezTo>
                <a:close/>
                <a:moveTo>
                  <a:pt x="3897148" y="247225"/>
                </a:moveTo>
                <a:cubicBezTo>
                  <a:pt x="3927630" y="247225"/>
                  <a:pt x="3952340" y="271935"/>
                  <a:pt x="3952340" y="302416"/>
                </a:cubicBezTo>
                <a:cubicBezTo>
                  <a:pt x="3952340" y="332897"/>
                  <a:pt x="3927630" y="357607"/>
                  <a:pt x="3897148" y="357607"/>
                </a:cubicBezTo>
                <a:cubicBezTo>
                  <a:pt x="3866666" y="357607"/>
                  <a:pt x="3841956" y="332897"/>
                  <a:pt x="3841956" y="302416"/>
                </a:cubicBezTo>
                <a:cubicBezTo>
                  <a:pt x="3841956" y="271935"/>
                  <a:pt x="3866666" y="247225"/>
                  <a:pt x="3897148" y="247225"/>
                </a:cubicBezTo>
                <a:close/>
                <a:moveTo>
                  <a:pt x="3763514" y="247225"/>
                </a:moveTo>
                <a:cubicBezTo>
                  <a:pt x="3793996" y="247225"/>
                  <a:pt x="3818706" y="271935"/>
                  <a:pt x="3818706" y="302416"/>
                </a:cubicBezTo>
                <a:cubicBezTo>
                  <a:pt x="3818706" y="332897"/>
                  <a:pt x="3793996" y="357607"/>
                  <a:pt x="3763514" y="357607"/>
                </a:cubicBezTo>
                <a:cubicBezTo>
                  <a:pt x="3733032" y="357607"/>
                  <a:pt x="3708322" y="332897"/>
                  <a:pt x="3708322" y="302416"/>
                </a:cubicBezTo>
                <a:cubicBezTo>
                  <a:pt x="3708322" y="271935"/>
                  <a:pt x="3733032" y="247225"/>
                  <a:pt x="3763514" y="247225"/>
                </a:cubicBezTo>
                <a:close/>
                <a:moveTo>
                  <a:pt x="3633221" y="247225"/>
                </a:moveTo>
                <a:cubicBezTo>
                  <a:pt x="3663703" y="247225"/>
                  <a:pt x="3688413" y="271935"/>
                  <a:pt x="3688413" y="302416"/>
                </a:cubicBezTo>
                <a:cubicBezTo>
                  <a:pt x="3688413" y="332897"/>
                  <a:pt x="3663703" y="357607"/>
                  <a:pt x="3633221" y="357607"/>
                </a:cubicBezTo>
                <a:cubicBezTo>
                  <a:pt x="3602739" y="357607"/>
                  <a:pt x="3578029" y="332897"/>
                  <a:pt x="3578029" y="302416"/>
                </a:cubicBezTo>
                <a:cubicBezTo>
                  <a:pt x="3578029" y="271935"/>
                  <a:pt x="3602739" y="247225"/>
                  <a:pt x="3633221" y="247225"/>
                </a:cubicBezTo>
                <a:close/>
                <a:moveTo>
                  <a:pt x="3499589" y="247225"/>
                </a:moveTo>
                <a:cubicBezTo>
                  <a:pt x="3530071" y="247225"/>
                  <a:pt x="3554781" y="271935"/>
                  <a:pt x="3554781" y="302416"/>
                </a:cubicBezTo>
                <a:cubicBezTo>
                  <a:pt x="3554781" y="332897"/>
                  <a:pt x="3530071" y="357607"/>
                  <a:pt x="3499589" y="357607"/>
                </a:cubicBezTo>
                <a:cubicBezTo>
                  <a:pt x="3469107" y="357607"/>
                  <a:pt x="3444397" y="332897"/>
                  <a:pt x="3444397" y="302416"/>
                </a:cubicBezTo>
                <a:cubicBezTo>
                  <a:pt x="3444397" y="271935"/>
                  <a:pt x="3469107" y="247225"/>
                  <a:pt x="3499589" y="247225"/>
                </a:cubicBezTo>
                <a:close/>
                <a:moveTo>
                  <a:pt x="3369293" y="247225"/>
                </a:moveTo>
                <a:cubicBezTo>
                  <a:pt x="3399775" y="247225"/>
                  <a:pt x="3424485" y="271935"/>
                  <a:pt x="3424485" y="302416"/>
                </a:cubicBezTo>
                <a:cubicBezTo>
                  <a:pt x="3424485" y="332897"/>
                  <a:pt x="3399775" y="357607"/>
                  <a:pt x="3369293" y="357607"/>
                </a:cubicBezTo>
                <a:cubicBezTo>
                  <a:pt x="3338811" y="357607"/>
                  <a:pt x="3314101" y="332897"/>
                  <a:pt x="3314101" y="302416"/>
                </a:cubicBezTo>
                <a:cubicBezTo>
                  <a:pt x="3314101" y="271935"/>
                  <a:pt x="3338811" y="247225"/>
                  <a:pt x="3369293" y="247225"/>
                </a:cubicBezTo>
                <a:close/>
                <a:moveTo>
                  <a:pt x="3235657" y="247225"/>
                </a:moveTo>
                <a:cubicBezTo>
                  <a:pt x="3266139" y="247225"/>
                  <a:pt x="3290849" y="271935"/>
                  <a:pt x="3290849" y="302416"/>
                </a:cubicBezTo>
                <a:cubicBezTo>
                  <a:pt x="3290849" y="332897"/>
                  <a:pt x="3266139" y="357607"/>
                  <a:pt x="3235657" y="357607"/>
                </a:cubicBezTo>
                <a:cubicBezTo>
                  <a:pt x="3205175" y="357607"/>
                  <a:pt x="3180465" y="332897"/>
                  <a:pt x="3180465" y="302416"/>
                </a:cubicBezTo>
                <a:cubicBezTo>
                  <a:pt x="3180465" y="271935"/>
                  <a:pt x="3205175" y="247225"/>
                  <a:pt x="3235657" y="247225"/>
                </a:cubicBezTo>
                <a:close/>
                <a:moveTo>
                  <a:pt x="3098682" y="247225"/>
                </a:moveTo>
                <a:cubicBezTo>
                  <a:pt x="3129164" y="247225"/>
                  <a:pt x="3153874" y="271935"/>
                  <a:pt x="3153874" y="302416"/>
                </a:cubicBezTo>
                <a:cubicBezTo>
                  <a:pt x="3153874" y="332897"/>
                  <a:pt x="3129164" y="357607"/>
                  <a:pt x="3098682" y="357607"/>
                </a:cubicBezTo>
                <a:cubicBezTo>
                  <a:pt x="3068200" y="357607"/>
                  <a:pt x="3043490" y="332897"/>
                  <a:pt x="3043490" y="302416"/>
                </a:cubicBezTo>
                <a:cubicBezTo>
                  <a:pt x="3043490" y="271935"/>
                  <a:pt x="3068200" y="247225"/>
                  <a:pt x="3098682" y="247225"/>
                </a:cubicBezTo>
                <a:close/>
                <a:moveTo>
                  <a:pt x="2971729" y="247225"/>
                </a:moveTo>
                <a:cubicBezTo>
                  <a:pt x="3002211" y="247225"/>
                  <a:pt x="3026921" y="271935"/>
                  <a:pt x="3026921" y="302416"/>
                </a:cubicBezTo>
                <a:cubicBezTo>
                  <a:pt x="3026921" y="332897"/>
                  <a:pt x="3002211" y="357607"/>
                  <a:pt x="2971729" y="357607"/>
                </a:cubicBezTo>
                <a:cubicBezTo>
                  <a:pt x="2941247" y="357607"/>
                  <a:pt x="2916537" y="332897"/>
                  <a:pt x="2916537" y="302416"/>
                </a:cubicBezTo>
                <a:cubicBezTo>
                  <a:pt x="2916537" y="271935"/>
                  <a:pt x="2941247" y="247225"/>
                  <a:pt x="2971729" y="247225"/>
                </a:cubicBezTo>
                <a:close/>
                <a:moveTo>
                  <a:pt x="2834862" y="247225"/>
                </a:moveTo>
                <a:cubicBezTo>
                  <a:pt x="2865342" y="247225"/>
                  <a:pt x="2890052" y="271935"/>
                  <a:pt x="2890052" y="302416"/>
                </a:cubicBezTo>
                <a:cubicBezTo>
                  <a:pt x="2890052" y="332897"/>
                  <a:pt x="2865342" y="357607"/>
                  <a:pt x="2834862" y="357607"/>
                </a:cubicBezTo>
                <a:cubicBezTo>
                  <a:pt x="2804379" y="357607"/>
                  <a:pt x="2779671" y="332897"/>
                  <a:pt x="2779671" y="302416"/>
                </a:cubicBezTo>
                <a:cubicBezTo>
                  <a:pt x="2779671" y="271935"/>
                  <a:pt x="2804379" y="247225"/>
                  <a:pt x="2834862" y="247225"/>
                </a:cubicBezTo>
                <a:close/>
                <a:moveTo>
                  <a:pt x="2570933" y="247225"/>
                </a:moveTo>
                <a:cubicBezTo>
                  <a:pt x="2601414" y="247225"/>
                  <a:pt x="2626123" y="271935"/>
                  <a:pt x="2626123" y="302416"/>
                </a:cubicBezTo>
                <a:cubicBezTo>
                  <a:pt x="2626123" y="332897"/>
                  <a:pt x="2601414" y="357607"/>
                  <a:pt x="2570933" y="357607"/>
                </a:cubicBezTo>
                <a:cubicBezTo>
                  <a:pt x="2540449" y="357607"/>
                  <a:pt x="2515738" y="332897"/>
                  <a:pt x="2515738" y="302416"/>
                </a:cubicBezTo>
                <a:cubicBezTo>
                  <a:pt x="2515738" y="271935"/>
                  <a:pt x="2540449" y="247225"/>
                  <a:pt x="2570933" y="247225"/>
                </a:cubicBezTo>
                <a:close/>
                <a:moveTo>
                  <a:pt x="2437297" y="247225"/>
                </a:moveTo>
                <a:cubicBezTo>
                  <a:pt x="2467781" y="247225"/>
                  <a:pt x="2492487" y="271935"/>
                  <a:pt x="2492487" y="302416"/>
                </a:cubicBezTo>
                <a:cubicBezTo>
                  <a:pt x="2492487" y="332897"/>
                  <a:pt x="2467781" y="357607"/>
                  <a:pt x="2437297" y="357607"/>
                </a:cubicBezTo>
                <a:cubicBezTo>
                  <a:pt x="2406818" y="357607"/>
                  <a:pt x="2382108" y="332897"/>
                  <a:pt x="2382108" y="302416"/>
                </a:cubicBezTo>
                <a:cubicBezTo>
                  <a:pt x="2382108" y="271935"/>
                  <a:pt x="2406818" y="247225"/>
                  <a:pt x="2437297" y="247225"/>
                </a:cubicBezTo>
                <a:close/>
                <a:moveTo>
                  <a:pt x="2303666" y="247225"/>
                </a:moveTo>
                <a:cubicBezTo>
                  <a:pt x="2334146" y="247225"/>
                  <a:pt x="2358856" y="271935"/>
                  <a:pt x="2358856" y="302416"/>
                </a:cubicBezTo>
                <a:cubicBezTo>
                  <a:pt x="2358856" y="332897"/>
                  <a:pt x="2334146" y="357607"/>
                  <a:pt x="2303666" y="357607"/>
                </a:cubicBezTo>
                <a:cubicBezTo>
                  <a:pt x="2273184" y="357607"/>
                  <a:pt x="2248473" y="332897"/>
                  <a:pt x="2248473" y="302416"/>
                </a:cubicBezTo>
                <a:cubicBezTo>
                  <a:pt x="2248473" y="271935"/>
                  <a:pt x="2273184" y="247225"/>
                  <a:pt x="2303666" y="247225"/>
                </a:cubicBezTo>
                <a:close/>
                <a:moveTo>
                  <a:pt x="2173372" y="247225"/>
                </a:moveTo>
                <a:cubicBezTo>
                  <a:pt x="2203857" y="247225"/>
                  <a:pt x="2228566" y="271935"/>
                  <a:pt x="2228566" y="302416"/>
                </a:cubicBezTo>
                <a:cubicBezTo>
                  <a:pt x="2228566" y="332897"/>
                  <a:pt x="2203857" y="357607"/>
                  <a:pt x="2173372" y="357607"/>
                </a:cubicBezTo>
                <a:cubicBezTo>
                  <a:pt x="2142892" y="357607"/>
                  <a:pt x="2118180" y="332897"/>
                  <a:pt x="2118180" y="302416"/>
                </a:cubicBezTo>
                <a:cubicBezTo>
                  <a:pt x="2118180" y="271935"/>
                  <a:pt x="2142892" y="247225"/>
                  <a:pt x="2173372" y="247225"/>
                </a:cubicBezTo>
                <a:close/>
                <a:moveTo>
                  <a:pt x="1909440" y="247225"/>
                </a:moveTo>
                <a:cubicBezTo>
                  <a:pt x="1939922" y="247225"/>
                  <a:pt x="1964634" y="271935"/>
                  <a:pt x="1964634" y="302416"/>
                </a:cubicBezTo>
                <a:cubicBezTo>
                  <a:pt x="1964634" y="332897"/>
                  <a:pt x="1939922" y="357607"/>
                  <a:pt x="1909440" y="357607"/>
                </a:cubicBezTo>
                <a:cubicBezTo>
                  <a:pt x="1878957" y="357607"/>
                  <a:pt x="1854246" y="332897"/>
                  <a:pt x="1854246" y="302416"/>
                </a:cubicBezTo>
                <a:cubicBezTo>
                  <a:pt x="1854246" y="271935"/>
                  <a:pt x="1878957" y="247225"/>
                  <a:pt x="1909440" y="247225"/>
                </a:cubicBezTo>
                <a:close/>
                <a:moveTo>
                  <a:pt x="1779142" y="247225"/>
                </a:moveTo>
                <a:cubicBezTo>
                  <a:pt x="1809626" y="247225"/>
                  <a:pt x="1834337" y="271935"/>
                  <a:pt x="1834337" y="302416"/>
                </a:cubicBezTo>
                <a:cubicBezTo>
                  <a:pt x="1834337" y="332897"/>
                  <a:pt x="1809626" y="357607"/>
                  <a:pt x="1779142" y="357607"/>
                </a:cubicBezTo>
                <a:cubicBezTo>
                  <a:pt x="1748663" y="357607"/>
                  <a:pt x="1723951" y="332897"/>
                  <a:pt x="1723951" y="302416"/>
                </a:cubicBezTo>
                <a:cubicBezTo>
                  <a:pt x="1723951" y="271935"/>
                  <a:pt x="1748663" y="247225"/>
                  <a:pt x="1779142" y="247225"/>
                </a:cubicBezTo>
                <a:close/>
                <a:moveTo>
                  <a:pt x="1645508" y="247225"/>
                </a:moveTo>
                <a:cubicBezTo>
                  <a:pt x="1675988" y="247225"/>
                  <a:pt x="1700702" y="271935"/>
                  <a:pt x="1700702" y="302416"/>
                </a:cubicBezTo>
                <a:cubicBezTo>
                  <a:pt x="1700702" y="332897"/>
                  <a:pt x="1675988" y="357607"/>
                  <a:pt x="1645508" y="357607"/>
                </a:cubicBezTo>
                <a:cubicBezTo>
                  <a:pt x="1615027" y="357607"/>
                  <a:pt x="1590313" y="332897"/>
                  <a:pt x="1590313" y="302416"/>
                </a:cubicBezTo>
                <a:cubicBezTo>
                  <a:pt x="1590313" y="271935"/>
                  <a:pt x="1615027" y="247225"/>
                  <a:pt x="1645508" y="247225"/>
                </a:cubicBezTo>
                <a:close/>
                <a:moveTo>
                  <a:pt x="1515217" y="247225"/>
                </a:moveTo>
                <a:cubicBezTo>
                  <a:pt x="1545695" y="247225"/>
                  <a:pt x="1570405" y="271935"/>
                  <a:pt x="1570405" y="302416"/>
                </a:cubicBezTo>
                <a:cubicBezTo>
                  <a:pt x="1570405" y="332897"/>
                  <a:pt x="1545695" y="357607"/>
                  <a:pt x="1515217" y="357607"/>
                </a:cubicBezTo>
                <a:cubicBezTo>
                  <a:pt x="1484732" y="357607"/>
                  <a:pt x="1460020" y="332897"/>
                  <a:pt x="1460020" y="302416"/>
                </a:cubicBezTo>
                <a:cubicBezTo>
                  <a:pt x="1460020" y="271935"/>
                  <a:pt x="1484732" y="247225"/>
                  <a:pt x="1515217" y="247225"/>
                </a:cubicBezTo>
                <a:close/>
                <a:moveTo>
                  <a:pt x="1381573" y="247225"/>
                </a:moveTo>
                <a:cubicBezTo>
                  <a:pt x="1412060" y="247225"/>
                  <a:pt x="1436767" y="271935"/>
                  <a:pt x="1436767" y="302416"/>
                </a:cubicBezTo>
                <a:cubicBezTo>
                  <a:pt x="1436767" y="332897"/>
                  <a:pt x="1412060" y="357607"/>
                  <a:pt x="1381573" y="357607"/>
                </a:cubicBezTo>
                <a:cubicBezTo>
                  <a:pt x="1351097" y="357607"/>
                  <a:pt x="1326384" y="332897"/>
                  <a:pt x="1326384" y="302416"/>
                </a:cubicBezTo>
                <a:cubicBezTo>
                  <a:pt x="1326384" y="271935"/>
                  <a:pt x="1351097" y="247225"/>
                  <a:pt x="1381573" y="247225"/>
                </a:cubicBezTo>
                <a:close/>
                <a:moveTo>
                  <a:pt x="7481898" y="120271"/>
                </a:moveTo>
                <a:cubicBezTo>
                  <a:pt x="7512380" y="120271"/>
                  <a:pt x="7537090" y="144981"/>
                  <a:pt x="7537090" y="175462"/>
                </a:cubicBezTo>
                <a:cubicBezTo>
                  <a:pt x="7537090" y="205943"/>
                  <a:pt x="7512380" y="230653"/>
                  <a:pt x="7481898" y="230653"/>
                </a:cubicBezTo>
                <a:cubicBezTo>
                  <a:pt x="7451416" y="230653"/>
                  <a:pt x="7426706" y="205943"/>
                  <a:pt x="7426706" y="175462"/>
                </a:cubicBezTo>
                <a:cubicBezTo>
                  <a:pt x="7426706" y="144981"/>
                  <a:pt x="7451416" y="120271"/>
                  <a:pt x="7481898" y="120271"/>
                </a:cubicBezTo>
                <a:close/>
                <a:moveTo>
                  <a:pt x="7341580" y="120271"/>
                </a:moveTo>
                <a:cubicBezTo>
                  <a:pt x="7372062" y="120271"/>
                  <a:pt x="7396772" y="144981"/>
                  <a:pt x="7396772" y="175462"/>
                </a:cubicBezTo>
                <a:cubicBezTo>
                  <a:pt x="7396772" y="205943"/>
                  <a:pt x="7372062" y="230653"/>
                  <a:pt x="7341580" y="230653"/>
                </a:cubicBezTo>
                <a:cubicBezTo>
                  <a:pt x="7311098" y="230653"/>
                  <a:pt x="7286388" y="205943"/>
                  <a:pt x="7286388" y="175462"/>
                </a:cubicBezTo>
                <a:cubicBezTo>
                  <a:pt x="7286388" y="144981"/>
                  <a:pt x="7311098" y="120271"/>
                  <a:pt x="7341580" y="120271"/>
                </a:cubicBezTo>
                <a:close/>
                <a:moveTo>
                  <a:pt x="7211288" y="120271"/>
                </a:moveTo>
                <a:cubicBezTo>
                  <a:pt x="7241770" y="120271"/>
                  <a:pt x="7266480" y="144981"/>
                  <a:pt x="7266480" y="175462"/>
                </a:cubicBezTo>
                <a:cubicBezTo>
                  <a:pt x="7266480" y="205943"/>
                  <a:pt x="7241770" y="230653"/>
                  <a:pt x="7211288" y="230653"/>
                </a:cubicBezTo>
                <a:cubicBezTo>
                  <a:pt x="7180806" y="230653"/>
                  <a:pt x="7156096" y="205943"/>
                  <a:pt x="7156096" y="175462"/>
                </a:cubicBezTo>
                <a:cubicBezTo>
                  <a:pt x="7156096" y="144981"/>
                  <a:pt x="7180806" y="120271"/>
                  <a:pt x="7211288" y="120271"/>
                </a:cubicBezTo>
                <a:close/>
                <a:moveTo>
                  <a:pt x="5223474" y="120271"/>
                </a:moveTo>
                <a:cubicBezTo>
                  <a:pt x="5253956" y="120271"/>
                  <a:pt x="5278666" y="144981"/>
                  <a:pt x="5278666" y="175462"/>
                </a:cubicBezTo>
                <a:cubicBezTo>
                  <a:pt x="5278666" y="205943"/>
                  <a:pt x="5253956" y="230653"/>
                  <a:pt x="5223474" y="230653"/>
                </a:cubicBezTo>
                <a:cubicBezTo>
                  <a:pt x="5192992" y="230653"/>
                  <a:pt x="5168282" y="205943"/>
                  <a:pt x="5168282" y="175462"/>
                </a:cubicBezTo>
                <a:cubicBezTo>
                  <a:pt x="5168282" y="144981"/>
                  <a:pt x="5192992" y="120271"/>
                  <a:pt x="5223474" y="120271"/>
                </a:cubicBezTo>
                <a:close/>
                <a:moveTo>
                  <a:pt x="5093178" y="120271"/>
                </a:moveTo>
                <a:cubicBezTo>
                  <a:pt x="5123660" y="120271"/>
                  <a:pt x="5148370" y="144981"/>
                  <a:pt x="5148370" y="175462"/>
                </a:cubicBezTo>
                <a:cubicBezTo>
                  <a:pt x="5148370" y="205943"/>
                  <a:pt x="5123660" y="230653"/>
                  <a:pt x="5093178" y="230653"/>
                </a:cubicBezTo>
                <a:cubicBezTo>
                  <a:pt x="5062696" y="230653"/>
                  <a:pt x="5037986" y="205943"/>
                  <a:pt x="5037986" y="175462"/>
                </a:cubicBezTo>
                <a:cubicBezTo>
                  <a:pt x="5037986" y="144981"/>
                  <a:pt x="5062696" y="120271"/>
                  <a:pt x="5093178" y="120271"/>
                </a:cubicBezTo>
                <a:close/>
                <a:moveTo>
                  <a:pt x="4161077" y="120271"/>
                </a:moveTo>
                <a:cubicBezTo>
                  <a:pt x="4191559" y="120271"/>
                  <a:pt x="4216269" y="144981"/>
                  <a:pt x="4216269" y="175462"/>
                </a:cubicBezTo>
                <a:cubicBezTo>
                  <a:pt x="4216269" y="205943"/>
                  <a:pt x="4191559" y="230653"/>
                  <a:pt x="4161077" y="230653"/>
                </a:cubicBezTo>
                <a:cubicBezTo>
                  <a:pt x="4130595" y="230653"/>
                  <a:pt x="4105885" y="205943"/>
                  <a:pt x="4105885" y="175462"/>
                </a:cubicBezTo>
                <a:cubicBezTo>
                  <a:pt x="4105885" y="144981"/>
                  <a:pt x="4130595" y="120271"/>
                  <a:pt x="4161077" y="120271"/>
                </a:cubicBezTo>
                <a:close/>
                <a:moveTo>
                  <a:pt x="4030786" y="120271"/>
                </a:moveTo>
                <a:cubicBezTo>
                  <a:pt x="4061268" y="120271"/>
                  <a:pt x="4085978" y="144981"/>
                  <a:pt x="4085978" y="175462"/>
                </a:cubicBezTo>
                <a:cubicBezTo>
                  <a:pt x="4085978" y="205943"/>
                  <a:pt x="4061268" y="230653"/>
                  <a:pt x="4030786" y="230653"/>
                </a:cubicBezTo>
                <a:cubicBezTo>
                  <a:pt x="4000304" y="230653"/>
                  <a:pt x="3975594" y="205943"/>
                  <a:pt x="3975594" y="175462"/>
                </a:cubicBezTo>
                <a:cubicBezTo>
                  <a:pt x="3975594" y="144981"/>
                  <a:pt x="4000304" y="120271"/>
                  <a:pt x="4030786" y="120271"/>
                </a:cubicBezTo>
                <a:close/>
                <a:moveTo>
                  <a:pt x="3897148" y="120271"/>
                </a:moveTo>
                <a:cubicBezTo>
                  <a:pt x="3927630" y="120271"/>
                  <a:pt x="3952340" y="144981"/>
                  <a:pt x="3952340" y="175462"/>
                </a:cubicBezTo>
                <a:cubicBezTo>
                  <a:pt x="3952340" y="205943"/>
                  <a:pt x="3927630" y="230653"/>
                  <a:pt x="3897148" y="230653"/>
                </a:cubicBezTo>
                <a:cubicBezTo>
                  <a:pt x="3866666" y="230653"/>
                  <a:pt x="3841956" y="205943"/>
                  <a:pt x="3841956" y="175462"/>
                </a:cubicBezTo>
                <a:cubicBezTo>
                  <a:pt x="3841956" y="144981"/>
                  <a:pt x="3866666" y="120271"/>
                  <a:pt x="3897148" y="120271"/>
                </a:cubicBezTo>
                <a:close/>
                <a:moveTo>
                  <a:pt x="3763514" y="120271"/>
                </a:moveTo>
                <a:cubicBezTo>
                  <a:pt x="3793996" y="120271"/>
                  <a:pt x="3818706" y="144981"/>
                  <a:pt x="3818706" y="175462"/>
                </a:cubicBezTo>
                <a:cubicBezTo>
                  <a:pt x="3818706" y="205943"/>
                  <a:pt x="3793996" y="230653"/>
                  <a:pt x="3763514" y="230653"/>
                </a:cubicBezTo>
                <a:cubicBezTo>
                  <a:pt x="3733032" y="230653"/>
                  <a:pt x="3708322" y="205943"/>
                  <a:pt x="3708322" y="175462"/>
                </a:cubicBezTo>
                <a:cubicBezTo>
                  <a:pt x="3708322" y="144981"/>
                  <a:pt x="3733032" y="120271"/>
                  <a:pt x="3763514" y="120271"/>
                </a:cubicBezTo>
                <a:close/>
                <a:moveTo>
                  <a:pt x="3633221" y="120271"/>
                </a:moveTo>
                <a:cubicBezTo>
                  <a:pt x="3663703" y="120271"/>
                  <a:pt x="3688413" y="144981"/>
                  <a:pt x="3688413" y="175462"/>
                </a:cubicBezTo>
                <a:cubicBezTo>
                  <a:pt x="3688413" y="205943"/>
                  <a:pt x="3663703" y="230653"/>
                  <a:pt x="3633221" y="230653"/>
                </a:cubicBezTo>
                <a:cubicBezTo>
                  <a:pt x="3602739" y="230653"/>
                  <a:pt x="3578029" y="205943"/>
                  <a:pt x="3578029" y="175462"/>
                </a:cubicBezTo>
                <a:cubicBezTo>
                  <a:pt x="3578029" y="144981"/>
                  <a:pt x="3602739" y="120271"/>
                  <a:pt x="3633221" y="120271"/>
                </a:cubicBezTo>
                <a:close/>
                <a:moveTo>
                  <a:pt x="3499589" y="120271"/>
                </a:moveTo>
                <a:cubicBezTo>
                  <a:pt x="3530071" y="120271"/>
                  <a:pt x="3554781" y="144981"/>
                  <a:pt x="3554781" y="175462"/>
                </a:cubicBezTo>
                <a:cubicBezTo>
                  <a:pt x="3554781" y="205943"/>
                  <a:pt x="3530071" y="230653"/>
                  <a:pt x="3499589" y="230653"/>
                </a:cubicBezTo>
                <a:cubicBezTo>
                  <a:pt x="3469107" y="230653"/>
                  <a:pt x="3444397" y="205943"/>
                  <a:pt x="3444397" y="175462"/>
                </a:cubicBezTo>
                <a:cubicBezTo>
                  <a:pt x="3444397" y="144981"/>
                  <a:pt x="3469107" y="120271"/>
                  <a:pt x="3499589" y="120271"/>
                </a:cubicBezTo>
                <a:close/>
                <a:moveTo>
                  <a:pt x="3369293" y="120271"/>
                </a:moveTo>
                <a:cubicBezTo>
                  <a:pt x="3399775" y="120271"/>
                  <a:pt x="3424485" y="144981"/>
                  <a:pt x="3424485" y="175462"/>
                </a:cubicBezTo>
                <a:cubicBezTo>
                  <a:pt x="3424485" y="205943"/>
                  <a:pt x="3399775" y="230653"/>
                  <a:pt x="3369293" y="230653"/>
                </a:cubicBezTo>
                <a:cubicBezTo>
                  <a:pt x="3338811" y="230653"/>
                  <a:pt x="3314101" y="205943"/>
                  <a:pt x="3314101" y="175462"/>
                </a:cubicBezTo>
                <a:cubicBezTo>
                  <a:pt x="3314101" y="144981"/>
                  <a:pt x="3338811" y="120271"/>
                  <a:pt x="3369293" y="120271"/>
                </a:cubicBezTo>
                <a:close/>
                <a:moveTo>
                  <a:pt x="3235657" y="120271"/>
                </a:moveTo>
                <a:cubicBezTo>
                  <a:pt x="3266139" y="120271"/>
                  <a:pt x="3290849" y="144981"/>
                  <a:pt x="3290849" y="175462"/>
                </a:cubicBezTo>
                <a:cubicBezTo>
                  <a:pt x="3290849" y="205943"/>
                  <a:pt x="3266139" y="230653"/>
                  <a:pt x="3235657" y="230653"/>
                </a:cubicBezTo>
                <a:cubicBezTo>
                  <a:pt x="3205175" y="230653"/>
                  <a:pt x="3180465" y="205943"/>
                  <a:pt x="3180465" y="175462"/>
                </a:cubicBezTo>
                <a:cubicBezTo>
                  <a:pt x="3180465" y="144981"/>
                  <a:pt x="3205175" y="120271"/>
                  <a:pt x="3235657" y="120271"/>
                </a:cubicBezTo>
                <a:close/>
                <a:moveTo>
                  <a:pt x="3098682" y="120271"/>
                </a:moveTo>
                <a:cubicBezTo>
                  <a:pt x="3129164" y="120271"/>
                  <a:pt x="3153874" y="144981"/>
                  <a:pt x="3153874" y="175462"/>
                </a:cubicBezTo>
                <a:cubicBezTo>
                  <a:pt x="3153874" y="205943"/>
                  <a:pt x="3129164" y="230653"/>
                  <a:pt x="3098682" y="230653"/>
                </a:cubicBezTo>
                <a:cubicBezTo>
                  <a:pt x="3068200" y="230653"/>
                  <a:pt x="3043490" y="205943"/>
                  <a:pt x="3043490" y="175462"/>
                </a:cubicBezTo>
                <a:cubicBezTo>
                  <a:pt x="3043490" y="144981"/>
                  <a:pt x="3068200" y="120271"/>
                  <a:pt x="3098682" y="120271"/>
                </a:cubicBezTo>
                <a:close/>
                <a:moveTo>
                  <a:pt x="2971729" y="120271"/>
                </a:moveTo>
                <a:cubicBezTo>
                  <a:pt x="3002211" y="120271"/>
                  <a:pt x="3026921" y="144981"/>
                  <a:pt x="3026921" y="175462"/>
                </a:cubicBezTo>
                <a:cubicBezTo>
                  <a:pt x="3026921" y="205943"/>
                  <a:pt x="3002211" y="230653"/>
                  <a:pt x="2971729" y="230653"/>
                </a:cubicBezTo>
                <a:cubicBezTo>
                  <a:pt x="2941247" y="230653"/>
                  <a:pt x="2916537" y="205943"/>
                  <a:pt x="2916537" y="175462"/>
                </a:cubicBezTo>
                <a:cubicBezTo>
                  <a:pt x="2916537" y="144981"/>
                  <a:pt x="2941247" y="120271"/>
                  <a:pt x="2971729" y="120271"/>
                </a:cubicBezTo>
                <a:close/>
                <a:moveTo>
                  <a:pt x="2707903" y="120271"/>
                </a:moveTo>
                <a:cubicBezTo>
                  <a:pt x="2738390" y="120271"/>
                  <a:pt x="2763100" y="144981"/>
                  <a:pt x="2763100" y="175462"/>
                </a:cubicBezTo>
                <a:cubicBezTo>
                  <a:pt x="2763100" y="205943"/>
                  <a:pt x="2738390" y="230653"/>
                  <a:pt x="2707903" y="230653"/>
                </a:cubicBezTo>
                <a:cubicBezTo>
                  <a:pt x="2677427" y="230653"/>
                  <a:pt x="2652715" y="205943"/>
                  <a:pt x="2652715" y="175462"/>
                </a:cubicBezTo>
                <a:cubicBezTo>
                  <a:pt x="2652715" y="144981"/>
                  <a:pt x="2677427" y="120271"/>
                  <a:pt x="2707903" y="120271"/>
                </a:cubicBezTo>
                <a:close/>
                <a:moveTo>
                  <a:pt x="2570933" y="120271"/>
                </a:moveTo>
                <a:cubicBezTo>
                  <a:pt x="2601414" y="120271"/>
                  <a:pt x="2626123" y="144981"/>
                  <a:pt x="2626123" y="175462"/>
                </a:cubicBezTo>
                <a:cubicBezTo>
                  <a:pt x="2626123" y="205943"/>
                  <a:pt x="2601414" y="230653"/>
                  <a:pt x="2570933" y="230653"/>
                </a:cubicBezTo>
                <a:cubicBezTo>
                  <a:pt x="2540449" y="230653"/>
                  <a:pt x="2515738" y="205943"/>
                  <a:pt x="2515738" y="175462"/>
                </a:cubicBezTo>
                <a:cubicBezTo>
                  <a:pt x="2515738" y="144981"/>
                  <a:pt x="2540449" y="120271"/>
                  <a:pt x="2570933" y="120271"/>
                </a:cubicBezTo>
                <a:close/>
                <a:moveTo>
                  <a:pt x="2437297" y="120271"/>
                </a:moveTo>
                <a:cubicBezTo>
                  <a:pt x="2467781" y="120271"/>
                  <a:pt x="2492487" y="144981"/>
                  <a:pt x="2492487" y="175462"/>
                </a:cubicBezTo>
                <a:cubicBezTo>
                  <a:pt x="2492487" y="205943"/>
                  <a:pt x="2467781" y="230653"/>
                  <a:pt x="2437297" y="230653"/>
                </a:cubicBezTo>
                <a:cubicBezTo>
                  <a:pt x="2406818" y="230653"/>
                  <a:pt x="2382108" y="205943"/>
                  <a:pt x="2382108" y="175462"/>
                </a:cubicBezTo>
                <a:cubicBezTo>
                  <a:pt x="2382108" y="144981"/>
                  <a:pt x="2406818" y="120271"/>
                  <a:pt x="2437297" y="120271"/>
                </a:cubicBezTo>
                <a:close/>
                <a:moveTo>
                  <a:pt x="2303666" y="120271"/>
                </a:moveTo>
                <a:cubicBezTo>
                  <a:pt x="2334146" y="120271"/>
                  <a:pt x="2358856" y="144981"/>
                  <a:pt x="2358856" y="175462"/>
                </a:cubicBezTo>
                <a:cubicBezTo>
                  <a:pt x="2358856" y="205943"/>
                  <a:pt x="2334146" y="230653"/>
                  <a:pt x="2303666" y="230653"/>
                </a:cubicBezTo>
                <a:cubicBezTo>
                  <a:pt x="2273184" y="230653"/>
                  <a:pt x="2248473" y="205943"/>
                  <a:pt x="2248473" y="175462"/>
                </a:cubicBezTo>
                <a:cubicBezTo>
                  <a:pt x="2248473" y="144981"/>
                  <a:pt x="2273184" y="120271"/>
                  <a:pt x="2303666" y="120271"/>
                </a:cubicBezTo>
                <a:close/>
                <a:moveTo>
                  <a:pt x="2173372" y="120271"/>
                </a:moveTo>
                <a:cubicBezTo>
                  <a:pt x="2203857" y="120271"/>
                  <a:pt x="2228566" y="144981"/>
                  <a:pt x="2228566" y="175462"/>
                </a:cubicBezTo>
                <a:cubicBezTo>
                  <a:pt x="2228566" y="205943"/>
                  <a:pt x="2203857" y="230653"/>
                  <a:pt x="2173372" y="230653"/>
                </a:cubicBezTo>
                <a:cubicBezTo>
                  <a:pt x="2142892" y="230653"/>
                  <a:pt x="2118180" y="205943"/>
                  <a:pt x="2118180" y="175462"/>
                </a:cubicBezTo>
                <a:cubicBezTo>
                  <a:pt x="2118180" y="144981"/>
                  <a:pt x="2142892" y="120271"/>
                  <a:pt x="2173372" y="120271"/>
                </a:cubicBezTo>
                <a:close/>
                <a:moveTo>
                  <a:pt x="7341580" y="0"/>
                </a:moveTo>
                <a:cubicBezTo>
                  <a:pt x="7372062" y="0"/>
                  <a:pt x="7396772" y="24710"/>
                  <a:pt x="7396772" y="55191"/>
                </a:cubicBezTo>
                <a:cubicBezTo>
                  <a:pt x="7396772" y="85672"/>
                  <a:pt x="7372062" y="110382"/>
                  <a:pt x="7341580" y="110382"/>
                </a:cubicBezTo>
                <a:cubicBezTo>
                  <a:pt x="7311098" y="110382"/>
                  <a:pt x="7286388" y="85672"/>
                  <a:pt x="7286388" y="55191"/>
                </a:cubicBezTo>
                <a:cubicBezTo>
                  <a:pt x="7286388" y="24710"/>
                  <a:pt x="7311098" y="0"/>
                  <a:pt x="7341580" y="0"/>
                </a:cubicBezTo>
                <a:close/>
                <a:moveTo>
                  <a:pt x="4294713" y="0"/>
                </a:moveTo>
                <a:cubicBezTo>
                  <a:pt x="4325195" y="0"/>
                  <a:pt x="4349905" y="24710"/>
                  <a:pt x="4349905" y="55191"/>
                </a:cubicBezTo>
                <a:cubicBezTo>
                  <a:pt x="4349905" y="85672"/>
                  <a:pt x="4325195" y="110382"/>
                  <a:pt x="4294713" y="110382"/>
                </a:cubicBezTo>
                <a:cubicBezTo>
                  <a:pt x="4264231" y="110382"/>
                  <a:pt x="4239521" y="85672"/>
                  <a:pt x="4239521" y="55191"/>
                </a:cubicBezTo>
                <a:cubicBezTo>
                  <a:pt x="4239521" y="24710"/>
                  <a:pt x="4264231" y="0"/>
                  <a:pt x="4294713" y="0"/>
                </a:cubicBezTo>
                <a:close/>
                <a:moveTo>
                  <a:pt x="4161077" y="0"/>
                </a:moveTo>
                <a:cubicBezTo>
                  <a:pt x="4191559" y="0"/>
                  <a:pt x="4216269" y="24710"/>
                  <a:pt x="4216269" y="55191"/>
                </a:cubicBezTo>
                <a:cubicBezTo>
                  <a:pt x="4216269" y="85672"/>
                  <a:pt x="4191559" y="110382"/>
                  <a:pt x="4161077" y="110382"/>
                </a:cubicBezTo>
                <a:cubicBezTo>
                  <a:pt x="4130595" y="110382"/>
                  <a:pt x="4105885" y="85672"/>
                  <a:pt x="4105885" y="55191"/>
                </a:cubicBezTo>
                <a:cubicBezTo>
                  <a:pt x="4105885" y="24710"/>
                  <a:pt x="4130595" y="0"/>
                  <a:pt x="4161077" y="0"/>
                </a:cubicBezTo>
                <a:close/>
                <a:moveTo>
                  <a:pt x="4030786" y="0"/>
                </a:moveTo>
                <a:cubicBezTo>
                  <a:pt x="4061268" y="0"/>
                  <a:pt x="4085978" y="24710"/>
                  <a:pt x="4085978" y="55191"/>
                </a:cubicBezTo>
                <a:cubicBezTo>
                  <a:pt x="4085978" y="85672"/>
                  <a:pt x="4061268" y="110382"/>
                  <a:pt x="4030786" y="110382"/>
                </a:cubicBezTo>
                <a:cubicBezTo>
                  <a:pt x="4000304" y="110382"/>
                  <a:pt x="3975594" y="85672"/>
                  <a:pt x="3975594" y="55191"/>
                </a:cubicBezTo>
                <a:cubicBezTo>
                  <a:pt x="3975594" y="24710"/>
                  <a:pt x="4000304" y="0"/>
                  <a:pt x="4030786" y="0"/>
                </a:cubicBezTo>
                <a:close/>
                <a:moveTo>
                  <a:pt x="3897148" y="0"/>
                </a:moveTo>
                <a:cubicBezTo>
                  <a:pt x="3927630" y="0"/>
                  <a:pt x="3952340" y="24710"/>
                  <a:pt x="3952340" y="55191"/>
                </a:cubicBezTo>
                <a:cubicBezTo>
                  <a:pt x="3952340" y="85672"/>
                  <a:pt x="3927630" y="110382"/>
                  <a:pt x="3897148" y="110382"/>
                </a:cubicBezTo>
                <a:cubicBezTo>
                  <a:pt x="3866666" y="110382"/>
                  <a:pt x="3841956" y="85672"/>
                  <a:pt x="3841956" y="55191"/>
                </a:cubicBezTo>
                <a:cubicBezTo>
                  <a:pt x="3841956" y="24710"/>
                  <a:pt x="3866666" y="0"/>
                  <a:pt x="3897148" y="0"/>
                </a:cubicBezTo>
                <a:close/>
                <a:moveTo>
                  <a:pt x="3763514" y="0"/>
                </a:moveTo>
                <a:cubicBezTo>
                  <a:pt x="3793996" y="0"/>
                  <a:pt x="3818706" y="24710"/>
                  <a:pt x="3818706" y="55191"/>
                </a:cubicBezTo>
                <a:cubicBezTo>
                  <a:pt x="3818706" y="85672"/>
                  <a:pt x="3793996" y="110382"/>
                  <a:pt x="3763514" y="110382"/>
                </a:cubicBezTo>
                <a:cubicBezTo>
                  <a:pt x="3733032" y="110382"/>
                  <a:pt x="3708322" y="85672"/>
                  <a:pt x="3708322" y="55191"/>
                </a:cubicBezTo>
                <a:cubicBezTo>
                  <a:pt x="3708322" y="24710"/>
                  <a:pt x="3733032" y="0"/>
                  <a:pt x="3763514" y="0"/>
                </a:cubicBezTo>
                <a:close/>
                <a:moveTo>
                  <a:pt x="3633221" y="0"/>
                </a:moveTo>
                <a:cubicBezTo>
                  <a:pt x="3663703" y="0"/>
                  <a:pt x="3688413" y="24710"/>
                  <a:pt x="3688413" y="55191"/>
                </a:cubicBezTo>
                <a:cubicBezTo>
                  <a:pt x="3688413" y="85672"/>
                  <a:pt x="3663703" y="110382"/>
                  <a:pt x="3633221" y="110382"/>
                </a:cubicBezTo>
                <a:cubicBezTo>
                  <a:pt x="3602739" y="110382"/>
                  <a:pt x="3578029" y="85672"/>
                  <a:pt x="3578029" y="55191"/>
                </a:cubicBezTo>
                <a:cubicBezTo>
                  <a:pt x="3578029" y="24710"/>
                  <a:pt x="3602739" y="0"/>
                  <a:pt x="3633221" y="0"/>
                </a:cubicBezTo>
                <a:close/>
                <a:moveTo>
                  <a:pt x="3499589" y="0"/>
                </a:moveTo>
                <a:cubicBezTo>
                  <a:pt x="3530071" y="0"/>
                  <a:pt x="3554781" y="24710"/>
                  <a:pt x="3554781" y="55191"/>
                </a:cubicBezTo>
                <a:cubicBezTo>
                  <a:pt x="3554781" y="85672"/>
                  <a:pt x="3530071" y="110382"/>
                  <a:pt x="3499589" y="110382"/>
                </a:cubicBezTo>
                <a:cubicBezTo>
                  <a:pt x="3469107" y="110382"/>
                  <a:pt x="3444397" y="85672"/>
                  <a:pt x="3444397" y="55191"/>
                </a:cubicBezTo>
                <a:cubicBezTo>
                  <a:pt x="3444397" y="24710"/>
                  <a:pt x="3469107" y="0"/>
                  <a:pt x="3499589" y="0"/>
                </a:cubicBezTo>
                <a:close/>
                <a:moveTo>
                  <a:pt x="3369293" y="0"/>
                </a:moveTo>
                <a:cubicBezTo>
                  <a:pt x="3399775" y="0"/>
                  <a:pt x="3424485" y="24710"/>
                  <a:pt x="3424485" y="55191"/>
                </a:cubicBezTo>
                <a:cubicBezTo>
                  <a:pt x="3424485" y="85672"/>
                  <a:pt x="3399775" y="110382"/>
                  <a:pt x="3369293" y="110382"/>
                </a:cubicBezTo>
                <a:cubicBezTo>
                  <a:pt x="3338811" y="110382"/>
                  <a:pt x="3314101" y="85672"/>
                  <a:pt x="3314101" y="55191"/>
                </a:cubicBezTo>
                <a:cubicBezTo>
                  <a:pt x="3314101" y="24710"/>
                  <a:pt x="3338811" y="0"/>
                  <a:pt x="3369293" y="0"/>
                </a:cubicBezTo>
                <a:close/>
                <a:moveTo>
                  <a:pt x="3235657" y="0"/>
                </a:moveTo>
                <a:cubicBezTo>
                  <a:pt x="3266139" y="0"/>
                  <a:pt x="3290849" y="24710"/>
                  <a:pt x="3290849" y="55191"/>
                </a:cubicBezTo>
                <a:cubicBezTo>
                  <a:pt x="3290849" y="85672"/>
                  <a:pt x="3266139" y="110382"/>
                  <a:pt x="3235657" y="110382"/>
                </a:cubicBezTo>
                <a:cubicBezTo>
                  <a:pt x="3205175" y="110382"/>
                  <a:pt x="3180465" y="85672"/>
                  <a:pt x="3180465" y="55191"/>
                </a:cubicBezTo>
                <a:cubicBezTo>
                  <a:pt x="3180465" y="24710"/>
                  <a:pt x="3205175" y="0"/>
                  <a:pt x="3235657" y="0"/>
                </a:cubicBezTo>
                <a:close/>
                <a:moveTo>
                  <a:pt x="2834862" y="0"/>
                </a:moveTo>
                <a:cubicBezTo>
                  <a:pt x="2865342" y="0"/>
                  <a:pt x="2890052" y="24710"/>
                  <a:pt x="2890052" y="55191"/>
                </a:cubicBezTo>
                <a:cubicBezTo>
                  <a:pt x="2890052" y="85672"/>
                  <a:pt x="2865342" y="110382"/>
                  <a:pt x="2834862" y="110382"/>
                </a:cubicBezTo>
                <a:cubicBezTo>
                  <a:pt x="2804379" y="110382"/>
                  <a:pt x="2779671" y="85672"/>
                  <a:pt x="2779671" y="55191"/>
                </a:cubicBezTo>
                <a:cubicBezTo>
                  <a:pt x="2779671" y="24710"/>
                  <a:pt x="2804379" y="0"/>
                  <a:pt x="2834862" y="0"/>
                </a:cubicBezTo>
                <a:close/>
                <a:moveTo>
                  <a:pt x="2707903" y="0"/>
                </a:moveTo>
                <a:cubicBezTo>
                  <a:pt x="2738390" y="0"/>
                  <a:pt x="2763100" y="24710"/>
                  <a:pt x="2763100" y="55191"/>
                </a:cubicBezTo>
                <a:cubicBezTo>
                  <a:pt x="2763100" y="85672"/>
                  <a:pt x="2738390" y="110382"/>
                  <a:pt x="2707903" y="110382"/>
                </a:cubicBezTo>
                <a:cubicBezTo>
                  <a:pt x="2677427" y="110382"/>
                  <a:pt x="2652715" y="85672"/>
                  <a:pt x="2652715" y="55191"/>
                </a:cubicBezTo>
                <a:cubicBezTo>
                  <a:pt x="2652715" y="24710"/>
                  <a:pt x="2677427" y="0"/>
                  <a:pt x="2707903" y="0"/>
                </a:cubicBezTo>
                <a:close/>
                <a:moveTo>
                  <a:pt x="2570933" y="0"/>
                </a:moveTo>
                <a:cubicBezTo>
                  <a:pt x="2601414" y="0"/>
                  <a:pt x="2626123" y="24710"/>
                  <a:pt x="2626123" y="55191"/>
                </a:cubicBezTo>
                <a:cubicBezTo>
                  <a:pt x="2626123" y="85672"/>
                  <a:pt x="2601414" y="110382"/>
                  <a:pt x="2570933" y="110382"/>
                </a:cubicBezTo>
                <a:cubicBezTo>
                  <a:pt x="2540449" y="110382"/>
                  <a:pt x="2515738" y="85672"/>
                  <a:pt x="2515738" y="55191"/>
                </a:cubicBezTo>
                <a:cubicBezTo>
                  <a:pt x="2515738" y="24710"/>
                  <a:pt x="2540449" y="0"/>
                  <a:pt x="2570933" y="0"/>
                </a:cubicBezTo>
                <a:close/>
                <a:moveTo>
                  <a:pt x="2437297" y="0"/>
                </a:moveTo>
                <a:cubicBezTo>
                  <a:pt x="2467781" y="0"/>
                  <a:pt x="2492487" y="24710"/>
                  <a:pt x="2492487" y="55191"/>
                </a:cubicBezTo>
                <a:cubicBezTo>
                  <a:pt x="2492487" y="85672"/>
                  <a:pt x="2467781" y="110382"/>
                  <a:pt x="2437297" y="110382"/>
                </a:cubicBezTo>
                <a:cubicBezTo>
                  <a:pt x="2406818" y="110382"/>
                  <a:pt x="2382108" y="85672"/>
                  <a:pt x="2382108" y="55191"/>
                </a:cubicBezTo>
                <a:cubicBezTo>
                  <a:pt x="2382108" y="24710"/>
                  <a:pt x="2406818" y="0"/>
                  <a:pt x="2437297"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dirty="0">
              <a:solidFill>
                <a:srgbClr val="505050"/>
              </a:solidFill>
              <a:latin typeface="Segoe UI"/>
            </a:endParaRPr>
          </a:p>
        </p:txBody>
      </p:sp>
      <p:pic>
        <p:nvPicPr>
          <p:cNvPr id="829" name="Picture 2" descr="https://c2.staticflickr.com/4/3701/19224697601_d03ecccf71_o.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3945" r="13945"/>
          <a:stretch/>
        </p:blipFill>
        <p:spPr bwMode="auto">
          <a:xfrm>
            <a:off x="10765480" y="3098796"/>
            <a:ext cx="554112" cy="768430"/>
          </a:xfrm>
          <a:prstGeom prst="rect">
            <a:avLst/>
          </a:prstGeom>
          <a:noFill/>
          <a:extLst>
            <a:ext uri="{909E8E84-426E-40DD-AFC4-6F175D3DCCD1}">
              <a14:hiddenFill xmlns:a14="http://schemas.microsoft.com/office/drawing/2010/main">
                <a:solidFill>
                  <a:srgbClr val="FFFFFF"/>
                </a:solidFill>
              </a14:hiddenFill>
            </a:ext>
          </a:extLst>
        </p:spPr>
      </p:pic>
      <p:pic>
        <p:nvPicPr>
          <p:cNvPr id="839" name="Picture 838" descr="https://upload.wikimedia.org/wikipedia/en/thumb/5/54/Gremlin_%28programming_language%29.png/383px-Gremlin_%28programming_language%29.png"/>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6730307" y="2557260"/>
            <a:ext cx="1560030" cy="606906"/>
          </a:xfrm>
          <a:prstGeom prst="rect">
            <a:avLst/>
          </a:prstGeom>
          <a:extLst>
            <a:ext uri="{909E8E84-426E-40DD-AFC4-6F175D3DCCD1}">
              <a14:hiddenFill xmlns:a14="http://schemas.microsoft.com/office/drawing/2010/main">
                <a:solidFill>
                  <a:srgbClr val="FFFFFF"/>
                </a:solidFill>
              </a14:hiddenFill>
            </a:ext>
          </a:extLst>
        </p:spPr>
      </p:pic>
      <p:pic>
        <p:nvPicPr>
          <p:cNvPr id="840" name="Picture 4" descr="File:MongoDB-Logo.sv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276495" y="2917960"/>
            <a:ext cx="1564327" cy="424476"/>
          </a:xfrm>
          <a:prstGeom prst="rect">
            <a:avLst/>
          </a:prstGeom>
          <a:noFill/>
          <a:extLst>
            <a:ext uri="{909E8E84-426E-40DD-AFC4-6F175D3DCCD1}">
              <a14:hiddenFill xmlns:a14="http://schemas.microsoft.com/office/drawing/2010/main">
                <a:solidFill>
                  <a:srgbClr val="FFFFFF"/>
                </a:solidFill>
              </a14:hiddenFill>
            </a:ext>
          </a:extLst>
        </p:spPr>
      </p:pic>
      <p:grpSp>
        <p:nvGrpSpPr>
          <p:cNvPr id="865" name="Group 864"/>
          <p:cNvGrpSpPr/>
          <p:nvPr/>
        </p:nvGrpSpPr>
        <p:grpSpPr>
          <a:xfrm>
            <a:off x="8764941" y="3950037"/>
            <a:ext cx="586303" cy="377163"/>
            <a:chOff x="7117181" y="5146654"/>
            <a:chExt cx="663064" cy="426544"/>
          </a:xfrm>
          <a:solidFill>
            <a:srgbClr val="59B4D9"/>
          </a:solidFill>
        </p:grpSpPr>
        <p:sp>
          <p:nvSpPr>
            <p:cNvPr id="866" name="Oval 865"/>
            <p:cNvSpPr/>
            <p:nvPr/>
          </p:nvSpPr>
          <p:spPr bwMode="auto">
            <a:xfrm rot="715722">
              <a:off x="7117181" y="5146654"/>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7" name="Oval 866"/>
            <p:cNvSpPr/>
            <p:nvPr/>
          </p:nvSpPr>
          <p:spPr bwMode="auto">
            <a:xfrm>
              <a:off x="7476127" y="5224668"/>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8" name="Oval 867"/>
            <p:cNvSpPr/>
            <p:nvPr/>
          </p:nvSpPr>
          <p:spPr bwMode="auto">
            <a:xfrm>
              <a:off x="7296654"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9" name="Oval 868"/>
            <p:cNvSpPr/>
            <p:nvPr/>
          </p:nvSpPr>
          <p:spPr bwMode="auto">
            <a:xfrm>
              <a:off x="7655599"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870" name="Straight Connector 869"/>
            <p:cNvCxnSpPr>
              <a:cxnSpLocks/>
            </p:cNvCxnSpPr>
            <p:nvPr/>
          </p:nvCxnSpPr>
          <p:spPr>
            <a:xfrm>
              <a:off x="7240481" y="5221859"/>
              <a:ext cx="235646" cy="65132"/>
            </a:xfrm>
            <a:prstGeom prst="line">
              <a:avLst/>
            </a:prstGeom>
            <a:grpFill/>
            <a:ln w="12700" cap="flat" cmpd="sng" algn="ctr">
              <a:solidFill>
                <a:schemeClr val="tx2"/>
              </a:solidFill>
              <a:prstDash val="sysDot"/>
              <a:miter lim="800000"/>
              <a:headEnd type="none"/>
              <a:tailEnd type="none"/>
            </a:ln>
            <a:effectLst/>
          </p:spPr>
        </p:cxnSp>
        <p:cxnSp>
          <p:nvCxnSpPr>
            <p:cNvPr id="871" name="Straight Connector 870"/>
            <p:cNvCxnSpPr>
              <a:cxnSpLocks/>
            </p:cNvCxnSpPr>
            <p:nvPr/>
          </p:nvCxnSpPr>
          <p:spPr>
            <a:xfrm>
              <a:off x="7421300" y="5510875"/>
              <a:ext cx="234299" cy="0"/>
            </a:xfrm>
            <a:prstGeom prst="line">
              <a:avLst/>
            </a:prstGeom>
            <a:grpFill/>
            <a:ln w="12700" cap="flat" cmpd="sng" algn="ctr">
              <a:solidFill>
                <a:schemeClr val="tx2"/>
              </a:solidFill>
              <a:prstDash val="sysDot"/>
              <a:miter lim="800000"/>
              <a:headEnd type="none"/>
              <a:tailEnd type="none"/>
            </a:ln>
            <a:effectLst/>
          </p:spPr>
        </p:cxnSp>
        <p:cxnSp>
          <p:nvCxnSpPr>
            <p:cNvPr id="872" name="Straight Connector 871"/>
            <p:cNvCxnSpPr>
              <a:cxnSpLocks/>
            </p:cNvCxnSpPr>
            <p:nvPr/>
          </p:nvCxnSpPr>
          <p:spPr>
            <a:xfrm>
              <a:off x="7582519" y="5331060"/>
              <a:ext cx="91334" cy="135746"/>
            </a:xfrm>
            <a:prstGeom prst="line">
              <a:avLst/>
            </a:prstGeom>
            <a:grpFill/>
            <a:ln w="12700" cap="flat" cmpd="sng" algn="ctr">
              <a:solidFill>
                <a:schemeClr val="tx2"/>
              </a:solidFill>
              <a:prstDash val="sysDot"/>
              <a:miter lim="800000"/>
              <a:headEnd type="none"/>
              <a:tailEnd type="none"/>
            </a:ln>
            <a:effectLst/>
          </p:spPr>
        </p:cxnSp>
        <p:cxnSp>
          <p:nvCxnSpPr>
            <p:cNvPr id="873" name="Straight Connector 872"/>
            <p:cNvCxnSpPr>
              <a:cxnSpLocks/>
            </p:cNvCxnSpPr>
            <p:nvPr/>
          </p:nvCxnSpPr>
          <p:spPr>
            <a:xfrm flipV="1">
              <a:off x="7403046" y="5331060"/>
              <a:ext cx="91335" cy="135746"/>
            </a:xfrm>
            <a:prstGeom prst="line">
              <a:avLst/>
            </a:prstGeom>
            <a:grpFill/>
            <a:ln w="12700" cap="flat" cmpd="sng" algn="ctr">
              <a:solidFill>
                <a:schemeClr val="tx2"/>
              </a:solidFill>
              <a:prstDash val="sysDot"/>
              <a:miter lim="800000"/>
              <a:headEnd type="none"/>
              <a:tailEnd type="none"/>
            </a:ln>
            <a:effectLst/>
          </p:spPr>
        </p:cxnSp>
      </p:grpSp>
      <p:grpSp>
        <p:nvGrpSpPr>
          <p:cNvPr id="874" name="Group 873"/>
          <p:cNvGrpSpPr/>
          <p:nvPr/>
        </p:nvGrpSpPr>
        <p:grpSpPr>
          <a:xfrm>
            <a:off x="6876015" y="3656510"/>
            <a:ext cx="499208" cy="473323"/>
            <a:chOff x="7128988" y="4166153"/>
            <a:chExt cx="604908" cy="573541"/>
          </a:xfrm>
        </p:grpSpPr>
        <p:cxnSp>
          <p:nvCxnSpPr>
            <p:cNvPr id="875" name="Straight Connector 874"/>
            <p:cNvCxnSpPr>
              <a:cxnSpLocks/>
            </p:cNvCxnSpPr>
            <p:nvPr/>
          </p:nvCxnSpPr>
          <p:spPr>
            <a:xfrm>
              <a:off x="7128988" y="4451736"/>
              <a:ext cx="238107" cy="72556"/>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6" name="Straight Connector 875"/>
            <p:cNvCxnSpPr>
              <a:cxnSpLocks/>
            </p:cNvCxnSpPr>
            <p:nvPr/>
          </p:nvCxnSpPr>
          <p:spPr>
            <a:xfrm flipV="1">
              <a:off x="7128988" y="4379180"/>
              <a:ext cx="233873" cy="72556"/>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77" name="Oval 876"/>
            <p:cNvSpPr/>
            <p:nvPr/>
          </p:nvSpPr>
          <p:spPr bwMode="auto">
            <a:xfrm>
              <a:off x="7128988" y="4383154"/>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78" name="Straight Connector 877"/>
            <p:cNvCxnSpPr>
              <a:cxnSpLocks/>
            </p:cNvCxnSpPr>
            <p:nvPr/>
          </p:nvCxnSpPr>
          <p:spPr>
            <a:xfrm>
              <a:off x="7367095" y="4524292"/>
              <a:ext cx="241432" cy="108368"/>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9" name="Straight Connector 878"/>
            <p:cNvCxnSpPr>
              <a:cxnSpLocks/>
            </p:cNvCxnSpPr>
            <p:nvPr/>
          </p:nvCxnSpPr>
          <p:spPr>
            <a:xfrm>
              <a:off x="7367095" y="4524292"/>
              <a:ext cx="229638" cy="1361"/>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0" name="Oval 879"/>
            <p:cNvSpPr/>
            <p:nvPr/>
          </p:nvSpPr>
          <p:spPr bwMode="auto">
            <a:xfrm rot="20946206">
              <a:off x="7596733" y="460253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1" name="Oval 880"/>
            <p:cNvSpPr/>
            <p:nvPr/>
          </p:nvSpPr>
          <p:spPr bwMode="auto">
            <a:xfrm>
              <a:off x="7596733" y="445707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82" name="Straight Connector 881"/>
            <p:cNvCxnSpPr>
              <a:cxnSpLocks/>
            </p:cNvCxnSpPr>
            <p:nvPr/>
          </p:nvCxnSpPr>
          <p:spPr>
            <a:xfrm>
              <a:off x="7362861" y="4379181"/>
              <a:ext cx="233872" cy="1013"/>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3" name="Oval 882"/>
            <p:cNvSpPr/>
            <p:nvPr/>
          </p:nvSpPr>
          <p:spPr bwMode="auto">
            <a:xfrm>
              <a:off x="7367095" y="4455710"/>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84" name="Straight Connector 883"/>
            <p:cNvCxnSpPr>
              <a:cxnSpLocks/>
            </p:cNvCxnSpPr>
            <p:nvPr/>
          </p:nvCxnSpPr>
          <p:spPr>
            <a:xfrm flipV="1">
              <a:off x="7362861" y="4277619"/>
              <a:ext cx="248934" cy="101562"/>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5" name="Oval 884"/>
            <p:cNvSpPr/>
            <p:nvPr/>
          </p:nvSpPr>
          <p:spPr bwMode="auto">
            <a:xfrm>
              <a:off x="7362861" y="4310599"/>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6" name="Oval 885"/>
            <p:cNvSpPr/>
            <p:nvPr/>
          </p:nvSpPr>
          <p:spPr bwMode="auto">
            <a:xfrm>
              <a:off x="7596733" y="4311612"/>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7" name="Oval 886"/>
            <p:cNvSpPr/>
            <p:nvPr/>
          </p:nvSpPr>
          <p:spPr bwMode="auto">
            <a:xfrm rot="377738">
              <a:off x="7596733" y="4166153"/>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grpSp>
      <p:sp>
        <p:nvSpPr>
          <p:cNvPr id="889" name="TextBox 888"/>
          <p:cNvSpPr txBox="1"/>
          <p:nvPr/>
        </p:nvSpPr>
        <p:spPr>
          <a:xfrm>
            <a:off x="4367177" y="4063639"/>
            <a:ext cx="996428"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Column-family</a:t>
            </a:r>
          </a:p>
        </p:txBody>
      </p:sp>
      <p:sp>
        <p:nvSpPr>
          <p:cNvPr id="890" name="TextBox 889"/>
          <p:cNvSpPr txBox="1"/>
          <p:nvPr/>
        </p:nvSpPr>
        <p:spPr>
          <a:xfrm>
            <a:off x="6832290" y="4138630"/>
            <a:ext cx="727122"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Document</a:t>
            </a:r>
          </a:p>
        </p:txBody>
      </p:sp>
      <p:sp>
        <p:nvSpPr>
          <p:cNvPr id="891" name="TextBox 890"/>
          <p:cNvSpPr txBox="1"/>
          <p:nvPr/>
        </p:nvSpPr>
        <p:spPr>
          <a:xfrm>
            <a:off x="8931096" y="4426926"/>
            <a:ext cx="467436"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Graph</a:t>
            </a:r>
          </a:p>
        </p:txBody>
      </p:sp>
      <p:sp>
        <p:nvSpPr>
          <p:cNvPr id="893" name="TextBox 892"/>
          <p:cNvSpPr txBox="1"/>
          <p:nvPr/>
        </p:nvSpPr>
        <p:spPr>
          <a:xfrm>
            <a:off x="819605" y="5509878"/>
            <a:ext cx="2021708"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Turnkey global distribution</a:t>
            </a:r>
          </a:p>
        </p:txBody>
      </p:sp>
      <p:sp>
        <p:nvSpPr>
          <p:cNvPr id="894" name="TextBox 893"/>
          <p:cNvSpPr txBox="1"/>
          <p:nvPr/>
        </p:nvSpPr>
        <p:spPr>
          <a:xfrm>
            <a:off x="2665537" y="4952921"/>
            <a:ext cx="1858201" cy="461665"/>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Elastic scale out </a:t>
            </a:r>
          </a:p>
          <a:p>
            <a:pPr algn="ctr" defTabSz="857124">
              <a:defRPr/>
            </a:pPr>
            <a:r>
              <a:rPr lang="en-US" sz="1200" kern="0" dirty="0">
                <a:solidFill>
                  <a:srgbClr val="002050"/>
                </a:solidFill>
                <a:latin typeface="Segoe UI"/>
                <a:cs typeface="Segoe UI Light" panose="020B0502040204020203" pitchFamily="34" charset="0"/>
              </a:rPr>
              <a:t>of storage &amp; throughput</a:t>
            </a:r>
          </a:p>
        </p:txBody>
      </p:sp>
      <p:sp>
        <p:nvSpPr>
          <p:cNvPr id="895" name="TextBox 894"/>
          <p:cNvSpPr txBox="1"/>
          <p:nvPr/>
        </p:nvSpPr>
        <p:spPr>
          <a:xfrm>
            <a:off x="4395442" y="4830534"/>
            <a:ext cx="3222357"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Guaranteed low latency at the 99</a:t>
            </a:r>
            <a:r>
              <a:rPr lang="en-US" sz="1200" kern="0" baseline="30000" dirty="0">
                <a:solidFill>
                  <a:srgbClr val="002050"/>
                </a:solidFill>
                <a:latin typeface="Segoe UI"/>
                <a:cs typeface="Segoe UI Light" panose="020B0502040204020203" pitchFamily="34" charset="0"/>
              </a:rPr>
              <a:t>th</a:t>
            </a:r>
            <a:r>
              <a:rPr lang="en-US" sz="1200" kern="0" dirty="0">
                <a:solidFill>
                  <a:srgbClr val="002050"/>
                </a:solidFill>
                <a:latin typeface="Segoe UI"/>
                <a:cs typeface="Segoe UI Light" panose="020B0502040204020203" pitchFamily="34" charset="0"/>
              </a:rPr>
              <a:t> percentile</a:t>
            </a:r>
          </a:p>
        </p:txBody>
      </p:sp>
      <p:sp>
        <p:nvSpPr>
          <p:cNvPr id="896" name="TextBox 895"/>
          <p:cNvSpPr txBox="1"/>
          <p:nvPr/>
        </p:nvSpPr>
        <p:spPr>
          <a:xfrm>
            <a:off x="9784424" y="5509878"/>
            <a:ext cx="1595309"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Comprehensive SLAs</a:t>
            </a:r>
          </a:p>
        </p:txBody>
      </p:sp>
      <p:sp>
        <p:nvSpPr>
          <p:cNvPr id="897" name="TextBox 896"/>
          <p:cNvSpPr txBox="1"/>
          <p:nvPr/>
        </p:nvSpPr>
        <p:spPr>
          <a:xfrm>
            <a:off x="7239920" y="5081896"/>
            <a:ext cx="2691764"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Five well-defined consistency models</a:t>
            </a:r>
          </a:p>
        </p:txBody>
      </p:sp>
      <p:grpSp>
        <p:nvGrpSpPr>
          <p:cNvPr id="905" name="Group 3"/>
          <p:cNvGrpSpPr/>
          <p:nvPr/>
        </p:nvGrpSpPr>
        <p:grpSpPr>
          <a:xfrm>
            <a:off x="2155722" y="6201962"/>
            <a:ext cx="752902" cy="752901"/>
            <a:chOff x="-4594157" y="2516834"/>
            <a:chExt cx="1070585" cy="1070585"/>
          </a:xfrm>
        </p:grpSpPr>
        <p:sp>
          <p:nvSpPr>
            <p:cNvPr id="90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07" name="Group 5"/>
            <p:cNvGrpSpPr/>
            <p:nvPr/>
          </p:nvGrpSpPr>
          <p:grpSpPr>
            <a:xfrm>
              <a:off x="-4594157" y="2516834"/>
              <a:ext cx="1070585" cy="1070585"/>
              <a:chOff x="10232415" y="2527090"/>
              <a:chExt cx="1070585" cy="1070585"/>
            </a:xfrm>
          </p:grpSpPr>
          <p:sp>
            <p:nvSpPr>
              <p:cNvPr id="908" name="Oval 6"/>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09" name="Graphic 90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0" name="Group 14"/>
          <p:cNvGrpSpPr/>
          <p:nvPr/>
        </p:nvGrpSpPr>
        <p:grpSpPr>
          <a:xfrm>
            <a:off x="7205301" y="6323443"/>
            <a:ext cx="752902" cy="752901"/>
            <a:chOff x="-4594157" y="2516834"/>
            <a:chExt cx="1070585" cy="1070585"/>
          </a:xfrm>
        </p:grpSpPr>
        <p:sp>
          <p:nvSpPr>
            <p:cNvPr id="91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12" name="Group 16"/>
            <p:cNvGrpSpPr/>
            <p:nvPr/>
          </p:nvGrpSpPr>
          <p:grpSpPr>
            <a:xfrm>
              <a:off x="-4594157" y="2516834"/>
              <a:ext cx="1070585" cy="1070585"/>
              <a:chOff x="10232415" y="2527090"/>
              <a:chExt cx="1070585" cy="1070585"/>
            </a:xfrm>
          </p:grpSpPr>
          <p:sp>
            <p:nvSpPr>
              <p:cNvPr id="913" name="Oval 1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14" name="Graphic 91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5" name="Group 24"/>
          <p:cNvGrpSpPr/>
          <p:nvPr/>
        </p:nvGrpSpPr>
        <p:grpSpPr>
          <a:xfrm>
            <a:off x="6130269" y="5962859"/>
            <a:ext cx="752902" cy="752901"/>
            <a:chOff x="-4594157" y="2516834"/>
            <a:chExt cx="1070585" cy="1070585"/>
          </a:xfrm>
        </p:grpSpPr>
        <p:sp>
          <p:nvSpPr>
            <p:cNvPr id="91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17" name="Group 26"/>
            <p:cNvGrpSpPr/>
            <p:nvPr/>
          </p:nvGrpSpPr>
          <p:grpSpPr>
            <a:xfrm>
              <a:off x="-4594157" y="2516834"/>
              <a:ext cx="1070585" cy="1070585"/>
              <a:chOff x="10232415" y="2527090"/>
              <a:chExt cx="1070585" cy="1070585"/>
            </a:xfrm>
          </p:grpSpPr>
          <p:sp>
            <p:nvSpPr>
              <p:cNvPr id="918" name="Oval 2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19" name="Graphic 91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20" name="Group 900"/>
          <p:cNvGrpSpPr/>
          <p:nvPr/>
        </p:nvGrpSpPr>
        <p:grpSpPr>
          <a:xfrm>
            <a:off x="9313584" y="5962859"/>
            <a:ext cx="752902" cy="752901"/>
            <a:chOff x="-4594157" y="2516834"/>
            <a:chExt cx="1070585" cy="1070585"/>
          </a:xfrm>
        </p:grpSpPr>
        <p:sp>
          <p:nvSpPr>
            <p:cNvPr id="92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22" name="Group 902"/>
            <p:cNvGrpSpPr/>
            <p:nvPr/>
          </p:nvGrpSpPr>
          <p:grpSpPr>
            <a:xfrm>
              <a:off x="-4594157" y="2516834"/>
              <a:ext cx="1070585" cy="1070585"/>
              <a:chOff x="10232415" y="2527090"/>
              <a:chExt cx="1070585" cy="1070585"/>
            </a:xfrm>
          </p:grpSpPr>
          <p:sp>
            <p:nvSpPr>
              <p:cNvPr id="923" name="Oval 903"/>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24" name="Graphic 92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sp>
        <p:nvSpPr>
          <p:cNvPr id="9" name="Freeform: Shape 8"/>
          <p:cNvSpPr/>
          <p:nvPr/>
        </p:nvSpPr>
        <p:spPr>
          <a:xfrm>
            <a:off x="-7257" y="4536008"/>
            <a:ext cx="12199257" cy="1037701"/>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928" name="Freeform: Shape 927"/>
          <p:cNvSpPr/>
          <p:nvPr/>
        </p:nvSpPr>
        <p:spPr>
          <a:xfrm>
            <a:off x="-7257" y="3439656"/>
            <a:ext cx="12199257" cy="1020029"/>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grpSp>
        <p:nvGrpSpPr>
          <p:cNvPr id="5" name="Group 4">
            <a:extLst>
              <a:ext uri="{FF2B5EF4-FFF2-40B4-BE49-F238E27FC236}">
                <a16:creationId xmlns:a16="http://schemas.microsoft.com/office/drawing/2014/main" id="{C81B99F5-D09C-4A39-9E25-655396422868}"/>
              </a:ext>
            </a:extLst>
          </p:cNvPr>
          <p:cNvGrpSpPr/>
          <p:nvPr/>
        </p:nvGrpSpPr>
        <p:grpSpPr>
          <a:xfrm>
            <a:off x="4353481" y="2553802"/>
            <a:ext cx="1897954" cy="623188"/>
            <a:chOff x="5645189" y="2644649"/>
            <a:chExt cx="1897954" cy="623188"/>
          </a:xfrm>
        </p:grpSpPr>
        <p:sp>
          <p:nvSpPr>
            <p:cNvPr id="830" name="Freeform: Shape 28"/>
            <p:cNvSpPr/>
            <p:nvPr/>
          </p:nvSpPr>
          <p:spPr>
            <a:xfrm>
              <a:off x="5645189" y="2644649"/>
              <a:ext cx="722852" cy="623188"/>
            </a:xfrm>
            <a:custGeom>
              <a:avLst/>
              <a:gdLst>
                <a:gd name="connsiteX0" fmla="*/ 4283739 w 6912012"/>
                <a:gd name="connsiteY0" fmla="*/ 3558282 h 5959009"/>
                <a:gd name="connsiteX1" fmla="*/ 4283739 w 6912012"/>
                <a:gd name="connsiteY1" fmla="*/ 4359666 h 5959009"/>
                <a:gd name="connsiteX2" fmla="*/ 5085123 w 6912012"/>
                <a:gd name="connsiteY2" fmla="*/ 4359666 h 5959009"/>
                <a:gd name="connsiteX3" fmla="*/ 5085123 w 6912012"/>
                <a:gd name="connsiteY3" fmla="*/ 3558282 h 5959009"/>
                <a:gd name="connsiteX4" fmla="*/ 3285434 w 6912012"/>
                <a:gd name="connsiteY4" fmla="*/ 3558282 h 5959009"/>
                <a:gd name="connsiteX5" fmla="*/ 3285434 w 6912012"/>
                <a:gd name="connsiteY5" fmla="*/ 4359666 h 5959009"/>
                <a:gd name="connsiteX6" fmla="*/ 4086818 w 6912012"/>
                <a:gd name="connsiteY6" fmla="*/ 4359666 h 5959009"/>
                <a:gd name="connsiteX7" fmla="*/ 4086818 w 6912012"/>
                <a:gd name="connsiteY7" fmla="*/ 3558282 h 5959009"/>
                <a:gd name="connsiteX8" fmla="*/ 2287129 w 6912012"/>
                <a:gd name="connsiteY8" fmla="*/ 3558282 h 5959009"/>
                <a:gd name="connsiteX9" fmla="*/ 2287129 w 6912012"/>
                <a:gd name="connsiteY9" fmla="*/ 4359666 h 5959009"/>
                <a:gd name="connsiteX10" fmla="*/ 3088513 w 6912012"/>
                <a:gd name="connsiteY10" fmla="*/ 4359666 h 5959009"/>
                <a:gd name="connsiteX11" fmla="*/ 3088513 w 6912012"/>
                <a:gd name="connsiteY11" fmla="*/ 3558282 h 5959009"/>
                <a:gd name="connsiteX12" fmla="*/ 4283739 w 6912012"/>
                <a:gd name="connsiteY12" fmla="*/ 2561689 h 5959009"/>
                <a:gd name="connsiteX13" fmla="*/ 4283739 w 6912012"/>
                <a:gd name="connsiteY13" fmla="*/ 3363073 h 5959009"/>
                <a:gd name="connsiteX14" fmla="*/ 5085123 w 6912012"/>
                <a:gd name="connsiteY14" fmla="*/ 3363073 h 5959009"/>
                <a:gd name="connsiteX15" fmla="*/ 5085123 w 6912012"/>
                <a:gd name="connsiteY15" fmla="*/ 2561689 h 5959009"/>
                <a:gd name="connsiteX16" fmla="*/ 3285434 w 6912012"/>
                <a:gd name="connsiteY16" fmla="*/ 2561689 h 5959009"/>
                <a:gd name="connsiteX17" fmla="*/ 3285434 w 6912012"/>
                <a:gd name="connsiteY17" fmla="*/ 3363073 h 5959009"/>
                <a:gd name="connsiteX18" fmla="*/ 4086818 w 6912012"/>
                <a:gd name="connsiteY18" fmla="*/ 3363073 h 5959009"/>
                <a:gd name="connsiteX19" fmla="*/ 4086818 w 6912012"/>
                <a:gd name="connsiteY19" fmla="*/ 2561689 h 5959009"/>
                <a:gd name="connsiteX20" fmla="*/ 2287129 w 6912012"/>
                <a:gd name="connsiteY20" fmla="*/ 2561689 h 5959009"/>
                <a:gd name="connsiteX21" fmla="*/ 2287129 w 6912012"/>
                <a:gd name="connsiteY21" fmla="*/ 3363073 h 5959009"/>
                <a:gd name="connsiteX22" fmla="*/ 3088513 w 6912012"/>
                <a:gd name="connsiteY22" fmla="*/ 3363073 h 5959009"/>
                <a:gd name="connsiteX23" fmla="*/ 3088513 w 6912012"/>
                <a:gd name="connsiteY23" fmla="*/ 2561689 h 5959009"/>
                <a:gd name="connsiteX24" fmla="*/ 4283739 w 6912012"/>
                <a:gd name="connsiteY24" fmla="*/ 1565096 h 5959009"/>
                <a:gd name="connsiteX25" fmla="*/ 4283739 w 6912012"/>
                <a:gd name="connsiteY25" fmla="*/ 2366480 h 5959009"/>
                <a:gd name="connsiteX26" fmla="*/ 5085123 w 6912012"/>
                <a:gd name="connsiteY26" fmla="*/ 2366480 h 5959009"/>
                <a:gd name="connsiteX27" fmla="*/ 5085123 w 6912012"/>
                <a:gd name="connsiteY27" fmla="*/ 1565096 h 5959009"/>
                <a:gd name="connsiteX28" fmla="*/ 3285434 w 6912012"/>
                <a:gd name="connsiteY28" fmla="*/ 1565096 h 5959009"/>
                <a:gd name="connsiteX29" fmla="*/ 3285434 w 6912012"/>
                <a:gd name="connsiteY29" fmla="*/ 2366480 h 5959009"/>
                <a:gd name="connsiteX30" fmla="*/ 4086818 w 6912012"/>
                <a:gd name="connsiteY30" fmla="*/ 2366480 h 5959009"/>
                <a:gd name="connsiteX31" fmla="*/ 4086818 w 6912012"/>
                <a:gd name="connsiteY31" fmla="*/ 1565096 h 5959009"/>
                <a:gd name="connsiteX32" fmla="*/ 2287129 w 6912012"/>
                <a:gd name="connsiteY32" fmla="*/ 1565096 h 5959009"/>
                <a:gd name="connsiteX33" fmla="*/ 2287129 w 6912012"/>
                <a:gd name="connsiteY33" fmla="*/ 2366480 h 5959009"/>
                <a:gd name="connsiteX34" fmla="*/ 3088513 w 6912012"/>
                <a:gd name="connsiteY34" fmla="*/ 2366480 h 5959009"/>
                <a:gd name="connsiteX35" fmla="*/ 3088513 w 6912012"/>
                <a:gd name="connsiteY35" fmla="*/ 1565096 h 5959009"/>
                <a:gd name="connsiteX36" fmla="*/ 1826890 w 6912012"/>
                <a:gd name="connsiteY36" fmla="*/ 1539635 h 5959009"/>
                <a:gd name="connsiteX37" fmla="*/ 1826890 w 6912012"/>
                <a:gd name="connsiteY37" fmla="*/ 4787206 h 5959009"/>
                <a:gd name="connsiteX38" fmla="*/ 5085123 w 6912012"/>
                <a:gd name="connsiteY38" fmla="*/ 4787206 h 5959009"/>
                <a:gd name="connsiteX39" fmla="*/ 5085123 w 6912012"/>
                <a:gd name="connsiteY39" fmla="*/ 4567677 h 5959009"/>
                <a:gd name="connsiteX40" fmla="*/ 2046419 w 6912012"/>
                <a:gd name="connsiteY40" fmla="*/ 4567677 h 5959009"/>
                <a:gd name="connsiteX41" fmla="*/ 2046419 w 6912012"/>
                <a:gd name="connsiteY41" fmla="*/ 1539635 h 5959009"/>
                <a:gd name="connsiteX42" fmla="*/ 1743189 w 6912012"/>
                <a:gd name="connsiteY42" fmla="*/ 0 h 5959009"/>
                <a:gd name="connsiteX43" fmla="*/ 5168823 w 6912012"/>
                <a:gd name="connsiteY43" fmla="*/ 0 h 5959009"/>
                <a:gd name="connsiteX44" fmla="*/ 6912012 w 6912012"/>
                <a:gd name="connsiteY44" fmla="*/ 2979505 h 5959009"/>
                <a:gd name="connsiteX45" fmla="*/ 5168823 w 6912012"/>
                <a:gd name="connsiteY45" fmla="*/ 5959009 h 5959009"/>
                <a:gd name="connsiteX46" fmla="*/ 1743189 w 6912012"/>
                <a:gd name="connsiteY46" fmla="*/ 5959009 h 5959009"/>
                <a:gd name="connsiteX47" fmla="*/ 0 w 6912012"/>
                <a:gd name="connsiteY47" fmla="*/ 2979505 h 5959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912012" h="5959009">
                  <a:moveTo>
                    <a:pt x="4283739" y="3558282"/>
                  </a:moveTo>
                  <a:lnTo>
                    <a:pt x="4283739" y="4359666"/>
                  </a:lnTo>
                  <a:lnTo>
                    <a:pt x="5085123" y="4359666"/>
                  </a:lnTo>
                  <a:lnTo>
                    <a:pt x="5085123" y="3558282"/>
                  </a:lnTo>
                  <a:close/>
                  <a:moveTo>
                    <a:pt x="3285434" y="3558282"/>
                  </a:moveTo>
                  <a:lnTo>
                    <a:pt x="3285434" y="4359666"/>
                  </a:lnTo>
                  <a:lnTo>
                    <a:pt x="4086818" y="4359666"/>
                  </a:lnTo>
                  <a:lnTo>
                    <a:pt x="4086818" y="3558282"/>
                  </a:lnTo>
                  <a:close/>
                  <a:moveTo>
                    <a:pt x="2287129" y="3558282"/>
                  </a:moveTo>
                  <a:lnTo>
                    <a:pt x="2287129" y="4359666"/>
                  </a:lnTo>
                  <a:lnTo>
                    <a:pt x="3088513" y="4359666"/>
                  </a:lnTo>
                  <a:lnTo>
                    <a:pt x="3088513" y="3558282"/>
                  </a:lnTo>
                  <a:close/>
                  <a:moveTo>
                    <a:pt x="4283739" y="2561689"/>
                  </a:moveTo>
                  <a:lnTo>
                    <a:pt x="4283739" y="3363073"/>
                  </a:lnTo>
                  <a:lnTo>
                    <a:pt x="5085123" y="3363073"/>
                  </a:lnTo>
                  <a:lnTo>
                    <a:pt x="5085123" y="2561689"/>
                  </a:lnTo>
                  <a:close/>
                  <a:moveTo>
                    <a:pt x="3285434" y="2561689"/>
                  </a:moveTo>
                  <a:lnTo>
                    <a:pt x="3285434" y="3363073"/>
                  </a:lnTo>
                  <a:lnTo>
                    <a:pt x="4086818" y="3363073"/>
                  </a:lnTo>
                  <a:lnTo>
                    <a:pt x="4086818" y="2561689"/>
                  </a:lnTo>
                  <a:close/>
                  <a:moveTo>
                    <a:pt x="2287129" y="2561689"/>
                  </a:moveTo>
                  <a:lnTo>
                    <a:pt x="2287129" y="3363073"/>
                  </a:lnTo>
                  <a:lnTo>
                    <a:pt x="3088513" y="3363073"/>
                  </a:lnTo>
                  <a:lnTo>
                    <a:pt x="3088513" y="2561689"/>
                  </a:lnTo>
                  <a:close/>
                  <a:moveTo>
                    <a:pt x="4283739" y="1565096"/>
                  </a:moveTo>
                  <a:lnTo>
                    <a:pt x="4283739" y="2366480"/>
                  </a:lnTo>
                  <a:lnTo>
                    <a:pt x="5085123" y="2366480"/>
                  </a:lnTo>
                  <a:lnTo>
                    <a:pt x="5085123" y="1565096"/>
                  </a:lnTo>
                  <a:close/>
                  <a:moveTo>
                    <a:pt x="3285434" y="1565096"/>
                  </a:moveTo>
                  <a:lnTo>
                    <a:pt x="3285434" y="2366480"/>
                  </a:lnTo>
                  <a:lnTo>
                    <a:pt x="4086818" y="2366480"/>
                  </a:lnTo>
                  <a:lnTo>
                    <a:pt x="4086818" y="1565096"/>
                  </a:lnTo>
                  <a:close/>
                  <a:moveTo>
                    <a:pt x="2287129" y="1565096"/>
                  </a:moveTo>
                  <a:lnTo>
                    <a:pt x="2287129" y="2366480"/>
                  </a:lnTo>
                  <a:lnTo>
                    <a:pt x="3088513" y="2366480"/>
                  </a:lnTo>
                  <a:lnTo>
                    <a:pt x="3088513" y="1565096"/>
                  </a:lnTo>
                  <a:close/>
                  <a:moveTo>
                    <a:pt x="1826890" y="1539635"/>
                  </a:moveTo>
                  <a:lnTo>
                    <a:pt x="1826890" y="4787206"/>
                  </a:lnTo>
                  <a:lnTo>
                    <a:pt x="5085123" y="4787206"/>
                  </a:lnTo>
                  <a:lnTo>
                    <a:pt x="5085123" y="4567677"/>
                  </a:lnTo>
                  <a:lnTo>
                    <a:pt x="2046419" y="4567677"/>
                  </a:lnTo>
                  <a:lnTo>
                    <a:pt x="2046419" y="1539635"/>
                  </a:lnTo>
                  <a:close/>
                  <a:moveTo>
                    <a:pt x="1743189" y="0"/>
                  </a:moveTo>
                  <a:lnTo>
                    <a:pt x="5168823" y="0"/>
                  </a:lnTo>
                  <a:lnTo>
                    <a:pt x="6912012" y="2979505"/>
                  </a:lnTo>
                  <a:lnTo>
                    <a:pt x="5168823" y="5959009"/>
                  </a:lnTo>
                  <a:lnTo>
                    <a:pt x="1743189" y="5959009"/>
                  </a:lnTo>
                  <a:lnTo>
                    <a:pt x="0" y="297950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latin typeface="Segoe UI"/>
              </a:endParaRPr>
            </a:p>
          </p:txBody>
        </p:sp>
        <p:sp>
          <p:nvSpPr>
            <p:cNvPr id="3" name="TextBox 2"/>
            <p:cNvSpPr txBox="1"/>
            <p:nvPr/>
          </p:nvSpPr>
          <p:spPr>
            <a:xfrm>
              <a:off x="6430723" y="2787717"/>
              <a:ext cx="1112420" cy="369332"/>
            </a:xfrm>
            <a:prstGeom prst="rect">
              <a:avLst/>
            </a:prstGeom>
            <a:noFill/>
          </p:spPr>
          <p:txBody>
            <a:bodyPr wrap="none" rtlCol="0">
              <a:spAutoFit/>
            </a:bodyPr>
            <a:lstStyle/>
            <a:p>
              <a:r>
                <a:rPr lang="en-US" dirty="0">
                  <a:solidFill>
                    <a:srgbClr val="000000"/>
                  </a:solidFill>
                  <a:latin typeface="Segoe UI"/>
                </a:rPr>
                <a:t>Table API</a:t>
              </a:r>
            </a:p>
          </p:txBody>
        </p:sp>
      </p:grpSp>
      <p:grpSp>
        <p:nvGrpSpPr>
          <p:cNvPr id="93" name="Group 92"/>
          <p:cNvGrpSpPr/>
          <p:nvPr/>
        </p:nvGrpSpPr>
        <p:grpSpPr>
          <a:xfrm>
            <a:off x="4468630" y="3829867"/>
            <a:ext cx="648960" cy="124646"/>
            <a:chOff x="4937947" y="5178778"/>
            <a:chExt cx="733930" cy="124646"/>
          </a:xfrm>
        </p:grpSpPr>
        <p:cxnSp>
          <p:nvCxnSpPr>
            <p:cNvPr id="94" name="Straight Connector 93"/>
            <p:cNvCxnSpPr>
              <a:cxnSpLocks/>
            </p:cNvCxnSpPr>
            <p:nvPr/>
          </p:nvCxnSpPr>
          <p:spPr>
            <a:xfrm>
              <a:off x="5062593" y="5241101"/>
              <a:ext cx="187117" cy="0"/>
            </a:xfrm>
            <a:prstGeom prst="line">
              <a:avLst/>
            </a:prstGeom>
            <a:noFill/>
            <a:ln w="12700" cap="flat" cmpd="sng" algn="ctr">
              <a:solidFill>
                <a:schemeClr val="tx2"/>
              </a:solidFill>
              <a:prstDash val="sysDot"/>
              <a:miter lim="800000"/>
              <a:headEnd type="none"/>
              <a:tailEnd type="none"/>
            </a:ln>
            <a:effectLst/>
          </p:spPr>
        </p:cxnSp>
        <p:sp>
          <p:nvSpPr>
            <p:cNvPr id="95" name="Oval 94"/>
            <p:cNvSpPr/>
            <p:nvPr/>
          </p:nvSpPr>
          <p:spPr bwMode="auto">
            <a:xfrm>
              <a:off x="4937947" y="5178778"/>
              <a:ext cx="124646" cy="124646"/>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6" name="Oval 95"/>
            <p:cNvSpPr/>
            <p:nvPr/>
          </p:nvSpPr>
          <p:spPr bwMode="auto">
            <a:xfrm>
              <a:off x="5249710"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7" name="Oval 96"/>
            <p:cNvSpPr/>
            <p:nvPr/>
          </p:nvSpPr>
          <p:spPr bwMode="auto">
            <a:xfrm>
              <a:off x="5404122"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8" name="Oval 97"/>
            <p:cNvSpPr/>
            <p:nvPr/>
          </p:nvSpPr>
          <p:spPr bwMode="auto">
            <a:xfrm>
              <a:off x="5558535"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grpSp>
        <p:nvGrpSpPr>
          <p:cNvPr id="118" name="Group 117"/>
          <p:cNvGrpSpPr/>
          <p:nvPr/>
        </p:nvGrpSpPr>
        <p:grpSpPr>
          <a:xfrm>
            <a:off x="2522203" y="3918617"/>
            <a:ext cx="723819" cy="774671"/>
            <a:chOff x="4511512" y="6316301"/>
            <a:chExt cx="668502" cy="1610561"/>
          </a:xfrm>
        </p:grpSpPr>
        <p:grpSp>
          <p:nvGrpSpPr>
            <p:cNvPr id="119" name="Group 118"/>
            <p:cNvGrpSpPr/>
            <p:nvPr/>
          </p:nvGrpSpPr>
          <p:grpSpPr>
            <a:xfrm>
              <a:off x="4511512" y="6316301"/>
              <a:ext cx="617679" cy="892977"/>
              <a:chOff x="4066669" y="5178779"/>
              <a:chExt cx="1357897" cy="892977"/>
            </a:xfrm>
          </p:grpSpPr>
          <p:cxnSp>
            <p:nvCxnSpPr>
              <p:cNvPr id="121" name="Straight Connector 120"/>
              <p:cNvCxnSpPr>
                <a:cxnSpLocks/>
              </p:cNvCxnSpPr>
              <p:nvPr/>
            </p:nvCxnSpPr>
            <p:spPr>
              <a:xfrm>
                <a:off x="4308965" y="5299925"/>
                <a:ext cx="895279" cy="0"/>
              </a:xfrm>
              <a:prstGeom prst="line">
                <a:avLst/>
              </a:prstGeom>
              <a:noFill/>
              <a:ln w="12700" cap="flat" cmpd="sng" algn="ctr">
                <a:solidFill>
                  <a:schemeClr val="tx2"/>
                </a:solidFill>
                <a:prstDash val="sysDot"/>
                <a:miter lim="800000"/>
                <a:headEnd type="none"/>
                <a:tailEnd type="none"/>
              </a:ln>
              <a:effectLst/>
            </p:spPr>
          </p:cxnSp>
          <p:sp>
            <p:nvSpPr>
              <p:cNvPr id="122" name="Oval 121"/>
              <p:cNvSpPr/>
              <p:nvPr/>
            </p:nvSpPr>
            <p:spPr bwMode="auto">
              <a:xfrm>
                <a:off x="4066669" y="517877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3" name="Oval 122"/>
              <p:cNvSpPr/>
              <p:nvPr/>
            </p:nvSpPr>
            <p:spPr bwMode="auto">
              <a:xfrm>
                <a:off x="5204244" y="5189764"/>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124" name="Straight Connector 123"/>
              <p:cNvCxnSpPr>
                <a:cxnSpLocks/>
              </p:cNvCxnSpPr>
              <p:nvPr/>
            </p:nvCxnSpPr>
            <p:spPr>
              <a:xfrm>
                <a:off x="4308965" y="5620439"/>
                <a:ext cx="895279" cy="0"/>
              </a:xfrm>
              <a:prstGeom prst="line">
                <a:avLst/>
              </a:prstGeom>
              <a:noFill/>
              <a:ln w="12700" cap="flat" cmpd="sng" algn="ctr">
                <a:solidFill>
                  <a:schemeClr val="tx2"/>
                </a:solidFill>
                <a:prstDash val="sysDot"/>
                <a:miter lim="800000"/>
                <a:headEnd type="none"/>
                <a:tailEnd type="none"/>
              </a:ln>
              <a:effectLst/>
            </p:spPr>
          </p:cxnSp>
          <p:sp>
            <p:nvSpPr>
              <p:cNvPr id="125" name="Oval 124"/>
              <p:cNvSpPr/>
              <p:nvPr/>
            </p:nvSpPr>
            <p:spPr bwMode="auto">
              <a:xfrm>
                <a:off x="4066669" y="5499293"/>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6" name="Oval 125"/>
              <p:cNvSpPr/>
              <p:nvPr/>
            </p:nvSpPr>
            <p:spPr bwMode="auto">
              <a:xfrm>
                <a:off x="5204244" y="5510278"/>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127" name="Straight Connector 126"/>
              <p:cNvCxnSpPr>
                <a:cxnSpLocks/>
              </p:cNvCxnSpPr>
              <p:nvPr/>
            </p:nvCxnSpPr>
            <p:spPr>
              <a:xfrm>
                <a:off x="4308965" y="5950606"/>
                <a:ext cx="895279" cy="0"/>
              </a:xfrm>
              <a:prstGeom prst="line">
                <a:avLst/>
              </a:prstGeom>
              <a:noFill/>
              <a:ln w="12700" cap="flat" cmpd="sng" algn="ctr">
                <a:solidFill>
                  <a:schemeClr val="tx2"/>
                </a:solidFill>
                <a:prstDash val="sysDot"/>
                <a:miter lim="800000"/>
                <a:headEnd type="none"/>
                <a:tailEnd type="none"/>
              </a:ln>
              <a:effectLst/>
            </p:spPr>
          </p:cxnSp>
          <p:sp>
            <p:nvSpPr>
              <p:cNvPr id="128" name="Oval 127"/>
              <p:cNvSpPr/>
              <p:nvPr/>
            </p:nvSpPr>
            <p:spPr bwMode="auto">
              <a:xfrm>
                <a:off x="4066669" y="582945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9" name="Oval 128"/>
              <p:cNvSpPr/>
              <p:nvPr/>
            </p:nvSpPr>
            <p:spPr bwMode="auto">
              <a:xfrm>
                <a:off x="5204244" y="5840445"/>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sp>
          <p:nvSpPr>
            <p:cNvPr id="120" name="TextBox 119"/>
            <p:cNvSpPr txBox="1"/>
            <p:nvPr/>
          </p:nvSpPr>
          <p:spPr>
            <a:xfrm>
              <a:off x="4538071" y="7398964"/>
              <a:ext cx="641943" cy="527898"/>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Key-value</a:t>
              </a:r>
            </a:p>
          </p:txBody>
        </p:sp>
      </p:grpSp>
      <p:sp>
        <p:nvSpPr>
          <p:cNvPr id="84" name="Title 10"/>
          <p:cNvSpPr>
            <a:spLocks noGrp="1"/>
          </p:cNvSpPr>
          <p:nvPr>
            <p:ph type="title"/>
          </p:nvPr>
        </p:nvSpPr>
        <p:spPr>
          <a:xfrm>
            <a:off x="185254" y="296723"/>
            <a:ext cx="11642721" cy="917575"/>
          </a:xfrm>
        </p:spPr>
        <p:txBody>
          <a:bodyPr>
            <a:noAutofit/>
          </a:bodyPr>
          <a:lstStyle/>
          <a:p>
            <a:pPr algn="ctr"/>
            <a:r>
              <a:rPr lang="en-US" dirty="0">
                <a:solidFill>
                  <a:schemeClr val="bg1"/>
                </a:solidFill>
              </a:rPr>
              <a:t>Azure Cosmos DB</a:t>
            </a:r>
            <a:br>
              <a:rPr lang="en-US" dirty="0">
                <a:solidFill>
                  <a:schemeClr val="bg1"/>
                </a:solidFill>
              </a:rPr>
            </a:br>
            <a:r>
              <a:rPr lang="en-US" sz="2400" dirty="0">
                <a:solidFill>
                  <a:schemeClr val="bg1"/>
                </a:solidFill>
              </a:rPr>
              <a:t>A globally distributed, massively scalable, multi-model database service</a:t>
            </a:r>
          </a:p>
        </p:txBody>
      </p:sp>
      <p:sp>
        <p:nvSpPr>
          <p:cNvPr id="82" name="Freeform: Shape 81">
            <a:extLst>
              <a:ext uri="{FF2B5EF4-FFF2-40B4-BE49-F238E27FC236}">
                <a16:creationId xmlns:a16="http://schemas.microsoft.com/office/drawing/2014/main" id="{E3BC5004-545A-408F-A807-CC56FD5B1E43}"/>
              </a:ext>
            </a:extLst>
          </p:cNvPr>
          <p:cNvSpPr/>
          <p:nvPr/>
        </p:nvSpPr>
        <p:spPr>
          <a:xfrm>
            <a:off x="876592" y="3420762"/>
            <a:ext cx="669864" cy="309672"/>
          </a:xfrm>
          <a:custGeom>
            <a:avLst/>
            <a:gdLst>
              <a:gd name="connsiteX0" fmla="*/ 333618 w 531187"/>
              <a:gd name="connsiteY0" fmla="*/ 682320 h 835576"/>
              <a:gd name="connsiteX1" fmla="*/ 303480 w 531187"/>
              <a:gd name="connsiteY1" fmla="*/ 696608 h 835576"/>
              <a:gd name="connsiteX2" fmla="*/ 292318 w 531187"/>
              <a:gd name="connsiteY2" fmla="*/ 734224 h 835576"/>
              <a:gd name="connsiteX3" fmla="*/ 303480 w 531187"/>
              <a:gd name="connsiteY3" fmla="*/ 771840 h 835576"/>
              <a:gd name="connsiteX4" fmla="*/ 332725 w 531187"/>
              <a:gd name="connsiteY4" fmla="*/ 785681 h 835576"/>
              <a:gd name="connsiteX5" fmla="*/ 362305 w 531187"/>
              <a:gd name="connsiteY5" fmla="*/ 772287 h 835576"/>
              <a:gd name="connsiteX6" fmla="*/ 373243 w 531187"/>
              <a:gd name="connsiteY6" fmla="*/ 734894 h 835576"/>
              <a:gd name="connsiteX7" fmla="*/ 362639 w 531187"/>
              <a:gd name="connsiteY7" fmla="*/ 696161 h 835576"/>
              <a:gd name="connsiteX8" fmla="*/ 333618 w 531187"/>
              <a:gd name="connsiteY8" fmla="*/ 682320 h 835576"/>
              <a:gd name="connsiteX9" fmla="*/ 435863 w 531187"/>
              <a:gd name="connsiteY9" fmla="*/ 653968 h 835576"/>
              <a:gd name="connsiteX10" fmla="*/ 471917 w 531187"/>
              <a:gd name="connsiteY10" fmla="*/ 653968 h 835576"/>
              <a:gd name="connsiteX11" fmla="*/ 471917 w 531187"/>
              <a:gd name="connsiteY11" fmla="*/ 784788 h 835576"/>
              <a:gd name="connsiteX12" fmla="*/ 531187 w 531187"/>
              <a:gd name="connsiteY12" fmla="*/ 784788 h 835576"/>
              <a:gd name="connsiteX13" fmla="*/ 531187 w 531187"/>
              <a:gd name="connsiteY13" fmla="*/ 814033 h 835576"/>
              <a:gd name="connsiteX14" fmla="*/ 435863 w 531187"/>
              <a:gd name="connsiteY14" fmla="*/ 814033 h 835576"/>
              <a:gd name="connsiteX15" fmla="*/ 435863 w 531187"/>
              <a:gd name="connsiteY15" fmla="*/ 653968 h 835576"/>
              <a:gd name="connsiteX16" fmla="*/ 334623 w 531187"/>
              <a:gd name="connsiteY16" fmla="*/ 651290 h 835576"/>
              <a:gd name="connsiteX17" fmla="*/ 389987 w 531187"/>
              <a:gd name="connsiteY17" fmla="*/ 673725 h 835576"/>
              <a:gd name="connsiteX18" fmla="*/ 411195 w 531187"/>
              <a:gd name="connsiteY18" fmla="*/ 732885 h 835576"/>
              <a:gd name="connsiteX19" fmla="*/ 389205 w 531187"/>
              <a:gd name="connsiteY19" fmla="*/ 793718 h 835576"/>
              <a:gd name="connsiteX20" fmla="*/ 387754 w 531187"/>
              <a:gd name="connsiteY20" fmla="*/ 795225 h 835576"/>
              <a:gd name="connsiteX21" fmla="*/ 386303 w 531187"/>
              <a:gd name="connsiteY21" fmla="*/ 796620 h 835576"/>
              <a:gd name="connsiteX22" fmla="*/ 426822 w 531187"/>
              <a:gd name="connsiteY22" fmla="*/ 835576 h 835576"/>
              <a:gd name="connsiteX23" fmla="*/ 376369 w 531187"/>
              <a:gd name="connsiteY23" fmla="*/ 835576 h 835576"/>
              <a:gd name="connsiteX24" fmla="*/ 355161 w 531187"/>
              <a:gd name="connsiteY24" fmla="*/ 814033 h 835576"/>
              <a:gd name="connsiteX25" fmla="*/ 332055 w 531187"/>
              <a:gd name="connsiteY25" fmla="*/ 816824 h 835576"/>
              <a:gd name="connsiteX26" fmla="*/ 276021 w 531187"/>
              <a:gd name="connsiteY26" fmla="*/ 794499 h 835576"/>
              <a:gd name="connsiteX27" fmla="*/ 254367 w 531187"/>
              <a:gd name="connsiteY27" fmla="*/ 736122 h 835576"/>
              <a:gd name="connsiteX28" fmla="*/ 276356 w 531187"/>
              <a:gd name="connsiteY28" fmla="*/ 674730 h 835576"/>
              <a:gd name="connsiteX29" fmla="*/ 334623 w 531187"/>
              <a:gd name="connsiteY29" fmla="*/ 651290 h 835576"/>
              <a:gd name="connsiteX30" fmla="*/ 195394 w 531187"/>
              <a:gd name="connsiteY30" fmla="*/ 651290 h 835576"/>
              <a:gd name="connsiteX31" fmla="*/ 217551 w 531187"/>
              <a:gd name="connsiteY31" fmla="*/ 652796 h 835576"/>
              <a:gd name="connsiteX32" fmla="*/ 235354 w 531187"/>
              <a:gd name="connsiteY32" fmla="*/ 657429 h 835576"/>
              <a:gd name="connsiteX33" fmla="*/ 235354 w 531187"/>
              <a:gd name="connsiteY33" fmla="*/ 690803 h 835576"/>
              <a:gd name="connsiteX34" fmla="*/ 226592 w 531187"/>
              <a:gd name="connsiteY34" fmla="*/ 685892 h 835576"/>
              <a:gd name="connsiteX35" fmla="*/ 216825 w 531187"/>
              <a:gd name="connsiteY35" fmla="*/ 682376 h 835576"/>
              <a:gd name="connsiteX36" fmla="*/ 206835 w 531187"/>
              <a:gd name="connsiteY36" fmla="*/ 680311 h 835576"/>
              <a:gd name="connsiteX37" fmla="*/ 197403 w 531187"/>
              <a:gd name="connsiteY37" fmla="*/ 679641 h 835576"/>
              <a:gd name="connsiteX38" fmla="*/ 186241 w 531187"/>
              <a:gd name="connsiteY38" fmla="*/ 680813 h 835576"/>
              <a:gd name="connsiteX39" fmla="*/ 177758 w 531187"/>
              <a:gd name="connsiteY39" fmla="*/ 684106 h 835576"/>
              <a:gd name="connsiteX40" fmla="*/ 172400 w 531187"/>
              <a:gd name="connsiteY40" fmla="*/ 689185 h 835576"/>
              <a:gd name="connsiteX41" fmla="*/ 170502 w 531187"/>
              <a:gd name="connsiteY41" fmla="*/ 695826 h 835576"/>
              <a:gd name="connsiteX42" fmla="*/ 172623 w 531187"/>
              <a:gd name="connsiteY42" fmla="*/ 703026 h 835576"/>
              <a:gd name="connsiteX43" fmla="*/ 178651 w 531187"/>
              <a:gd name="connsiteY43" fmla="*/ 709053 h 835576"/>
              <a:gd name="connsiteX44" fmla="*/ 188138 w 531187"/>
              <a:gd name="connsiteY44" fmla="*/ 714635 h 835576"/>
              <a:gd name="connsiteX45" fmla="*/ 200752 w 531187"/>
              <a:gd name="connsiteY45" fmla="*/ 720271 h 835576"/>
              <a:gd name="connsiteX46" fmla="*/ 217997 w 531187"/>
              <a:gd name="connsiteY46" fmla="*/ 728810 h 835576"/>
              <a:gd name="connsiteX47" fmla="*/ 231113 w 531187"/>
              <a:gd name="connsiteY47" fmla="*/ 739024 h 835576"/>
              <a:gd name="connsiteX48" fmla="*/ 239484 w 531187"/>
              <a:gd name="connsiteY48" fmla="*/ 752028 h 835576"/>
              <a:gd name="connsiteX49" fmla="*/ 242386 w 531187"/>
              <a:gd name="connsiteY49" fmla="*/ 769050 h 835576"/>
              <a:gd name="connsiteX50" fmla="*/ 237308 w 531187"/>
              <a:gd name="connsiteY50" fmla="*/ 791541 h 835576"/>
              <a:gd name="connsiteX51" fmla="*/ 223522 w 531187"/>
              <a:gd name="connsiteY51" fmla="*/ 806275 h 835576"/>
              <a:gd name="connsiteX52" fmla="*/ 203263 w 531187"/>
              <a:gd name="connsiteY52" fmla="*/ 814368 h 835576"/>
              <a:gd name="connsiteX53" fmla="*/ 178874 w 531187"/>
              <a:gd name="connsiteY53" fmla="*/ 816824 h 835576"/>
              <a:gd name="connsiteX54" fmla="*/ 153815 w 531187"/>
              <a:gd name="connsiteY54" fmla="*/ 814591 h 835576"/>
              <a:gd name="connsiteX55" fmla="*/ 133221 w 531187"/>
              <a:gd name="connsiteY55" fmla="*/ 807894 h 835576"/>
              <a:gd name="connsiteX56" fmla="*/ 133221 w 531187"/>
              <a:gd name="connsiteY56" fmla="*/ 772175 h 835576"/>
              <a:gd name="connsiteX57" fmla="*/ 154317 w 531187"/>
              <a:gd name="connsiteY57" fmla="*/ 784398 h 835576"/>
              <a:gd name="connsiteX58" fmla="*/ 177311 w 531187"/>
              <a:gd name="connsiteY58" fmla="*/ 788472 h 835576"/>
              <a:gd name="connsiteX59" fmla="*/ 189199 w 531187"/>
              <a:gd name="connsiteY59" fmla="*/ 787244 h 835576"/>
              <a:gd name="connsiteX60" fmla="*/ 197682 w 531187"/>
              <a:gd name="connsiteY60" fmla="*/ 783840 h 835576"/>
              <a:gd name="connsiteX61" fmla="*/ 202761 w 531187"/>
              <a:gd name="connsiteY61" fmla="*/ 778705 h 835576"/>
              <a:gd name="connsiteX62" fmla="*/ 204435 w 531187"/>
              <a:gd name="connsiteY62" fmla="*/ 772287 h 835576"/>
              <a:gd name="connsiteX63" fmla="*/ 201756 w 531187"/>
              <a:gd name="connsiteY63" fmla="*/ 763915 h 835576"/>
              <a:gd name="connsiteX64" fmla="*/ 194445 w 531187"/>
              <a:gd name="connsiteY64" fmla="*/ 757106 h 835576"/>
              <a:gd name="connsiteX65" fmla="*/ 183450 w 531187"/>
              <a:gd name="connsiteY65" fmla="*/ 751079 h 835576"/>
              <a:gd name="connsiteX66" fmla="*/ 169721 w 531187"/>
              <a:gd name="connsiteY66" fmla="*/ 745163 h 835576"/>
              <a:gd name="connsiteX67" fmla="*/ 141760 w 531187"/>
              <a:gd name="connsiteY67" fmla="*/ 726076 h 835576"/>
              <a:gd name="connsiteX68" fmla="*/ 132551 w 531187"/>
              <a:gd name="connsiteY68" fmla="*/ 698840 h 835576"/>
              <a:gd name="connsiteX69" fmla="*/ 137574 w 531187"/>
              <a:gd name="connsiteY69" fmla="*/ 677353 h 835576"/>
              <a:gd name="connsiteX70" fmla="*/ 151248 w 531187"/>
              <a:gd name="connsiteY70" fmla="*/ 662563 h 835576"/>
              <a:gd name="connsiteX71" fmla="*/ 171284 w 531187"/>
              <a:gd name="connsiteY71" fmla="*/ 654024 h 835576"/>
              <a:gd name="connsiteX72" fmla="*/ 195394 w 531187"/>
              <a:gd name="connsiteY72" fmla="*/ 651290 h 835576"/>
              <a:gd name="connsiteX73" fmla="*/ 0 w 531187"/>
              <a:gd name="connsiteY73" fmla="*/ 0 h 835576"/>
              <a:gd name="connsiteX74" fmla="*/ 248557 w 531187"/>
              <a:gd name="connsiteY74" fmla="*/ 591457 h 835576"/>
              <a:gd name="connsiteX75" fmla="*/ 0 w 531187"/>
              <a:gd name="connsiteY75" fmla="*/ 0 h 835576"/>
              <a:gd name="connsiteX0" fmla="*/ 201067 w 398636"/>
              <a:gd name="connsiteY0" fmla="*/ 31030 h 184286"/>
              <a:gd name="connsiteX1" fmla="*/ 170929 w 398636"/>
              <a:gd name="connsiteY1" fmla="*/ 45318 h 184286"/>
              <a:gd name="connsiteX2" fmla="*/ 159767 w 398636"/>
              <a:gd name="connsiteY2" fmla="*/ 82934 h 184286"/>
              <a:gd name="connsiteX3" fmla="*/ 170929 w 398636"/>
              <a:gd name="connsiteY3" fmla="*/ 120550 h 184286"/>
              <a:gd name="connsiteX4" fmla="*/ 200174 w 398636"/>
              <a:gd name="connsiteY4" fmla="*/ 134391 h 184286"/>
              <a:gd name="connsiteX5" fmla="*/ 229754 w 398636"/>
              <a:gd name="connsiteY5" fmla="*/ 120997 h 184286"/>
              <a:gd name="connsiteX6" fmla="*/ 240692 w 398636"/>
              <a:gd name="connsiteY6" fmla="*/ 83604 h 184286"/>
              <a:gd name="connsiteX7" fmla="*/ 230088 w 398636"/>
              <a:gd name="connsiteY7" fmla="*/ 44871 h 184286"/>
              <a:gd name="connsiteX8" fmla="*/ 201067 w 398636"/>
              <a:gd name="connsiteY8" fmla="*/ 31030 h 184286"/>
              <a:gd name="connsiteX9" fmla="*/ 303312 w 398636"/>
              <a:gd name="connsiteY9" fmla="*/ 2678 h 184286"/>
              <a:gd name="connsiteX10" fmla="*/ 339366 w 398636"/>
              <a:gd name="connsiteY10" fmla="*/ 2678 h 184286"/>
              <a:gd name="connsiteX11" fmla="*/ 339366 w 398636"/>
              <a:gd name="connsiteY11" fmla="*/ 133498 h 184286"/>
              <a:gd name="connsiteX12" fmla="*/ 398636 w 398636"/>
              <a:gd name="connsiteY12" fmla="*/ 133498 h 184286"/>
              <a:gd name="connsiteX13" fmla="*/ 398636 w 398636"/>
              <a:gd name="connsiteY13" fmla="*/ 162743 h 184286"/>
              <a:gd name="connsiteX14" fmla="*/ 303312 w 398636"/>
              <a:gd name="connsiteY14" fmla="*/ 162743 h 184286"/>
              <a:gd name="connsiteX15" fmla="*/ 303312 w 398636"/>
              <a:gd name="connsiteY15" fmla="*/ 2678 h 184286"/>
              <a:gd name="connsiteX16" fmla="*/ 202072 w 398636"/>
              <a:gd name="connsiteY16" fmla="*/ 0 h 184286"/>
              <a:gd name="connsiteX17" fmla="*/ 257436 w 398636"/>
              <a:gd name="connsiteY17" fmla="*/ 22435 h 184286"/>
              <a:gd name="connsiteX18" fmla="*/ 278644 w 398636"/>
              <a:gd name="connsiteY18" fmla="*/ 81595 h 184286"/>
              <a:gd name="connsiteX19" fmla="*/ 256654 w 398636"/>
              <a:gd name="connsiteY19" fmla="*/ 142428 h 184286"/>
              <a:gd name="connsiteX20" fmla="*/ 255203 w 398636"/>
              <a:gd name="connsiteY20" fmla="*/ 143935 h 184286"/>
              <a:gd name="connsiteX21" fmla="*/ 253752 w 398636"/>
              <a:gd name="connsiteY21" fmla="*/ 145330 h 184286"/>
              <a:gd name="connsiteX22" fmla="*/ 294271 w 398636"/>
              <a:gd name="connsiteY22" fmla="*/ 184286 h 184286"/>
              <a:gd name="connsiteX23" fmla="*/ 243818 w 398636"/>
              <a:gd name="connsiteY23" fmla="*/ 184286 h 184286"/>
              <a:gd name="connsiteX24" fmla="*/ 222610 w 398636"/>
              <a:gd name="connsiteY24" fmla="*/ 162743 h 184286"/>
              <a:gd name="connsiteX25" fmla="*/ 199504 w 398636"/>
              <a:gd name="connsiteY25" fmla="*/ 165534 h 184286"/>
              <a:gd name="connsiteX26" fmla="*/ 143470 w 398636"/>
              <a:gd name="connsiteY26" fmla="*/ 143209 h 184286"/>
              <a:gd name="connsiteX27" fmla="*/ 121816 w 398636"/>
              <a:gd name="connsiteY27" fmla="*/ 84832 h 184286"/>
              <a:gd name="connsiteX28" fmla="*/ 143805 w 398636"/>
              <a:gd name="connsiteY28" fmla="*/ 23440 h 184286"/>
              <a:gd name="connsiteX29" fmla="*/ 202072 w 398636"/>
              <a:gd name="connsiteY29" fmla="*/ 0 h 184286"/>
              <a:gd name="connsiteX30" fmla="*/ 62843 w 398636"/>
              <a:gd name="connsiteY30" fmla="*/ 0 h 184286"/>
              <a:gd name="connsiteX31" fmla="*/ 85000 w 398636"/>
              <a:gd name="connsiteY31" fmla="*/ 1506 h 184286"/>
              <a:gd name="connsiteX32" fmla="*/ 102803 w 398636"/>
              <a:gd name="connsiteY32" fmla="*/ 6139 h 184286"/>
              <a:gd name="connsiteX33" fmla="*/ 102803 w 398636"/>
              <a:gd name="connsiteY33" fmla="*/ 39513 h 184286"/>
              <a:gd name="connsiteX34" fmla="*/ 94041 w 398636"/>
              <a:gd name="connsiteY34" fmla="*/ 34602 h 184286"/>
              <a:gd name="connsiteX35" fmla="*/ 84274 w 398636"/>
              <a:gd name="connsiteY35" fmla="*/ 31086 h 184286"/>
              <a:gd name="connsiteX36" fmla="*/ 74284 w 398636"/>
              <a:gd name="connsiteY36" fmla="*/ 29021 h 184286"/>
              <a:gd name="connsiteX37" fmla="*/ 64852 w 398636"/>
              <a:gd name="connsiteY37" fmla="*/ 28351 h 184286"/>
              <a:gd name="connsiteX38" fmla="*/ 53690 w 398636"/>
              <a:gd name="connsiteY38" fmla="*/ 29523 h 184286"/>
              <a:gd name="connsiteX39" fmla="*/ 45207 w 398636"/>
              <a:gd name="connsiteY39" fmla="*/ 32816 h 184286"/>
              <a:gd name="connsiteX40" fmla="*/ 39849 w 398636"/>
              <a:gd name="connsiteY40" fmla="*/ 37895 h 184286"/>
              <a:gd name="connsiteX41" fmla="*/ 37951 w 398636"/>
              <a:gd name="connsiteY41" fmla="*/ 44536 h 184286"/>
              <a:gd name="connsiteX42" fmla="*/ 40072 w 398636"/>
              <a:gd name="connsiteY42" fmla="*/ 51736 h 184286"/>
              <a:gd name="connsiteX43" fmla="*/ 46100 w 398636"/>
              <a:gd name="connsiteY43" fmla="*/ 57763 h 184286"/>
              <a:gd name="connsiteX44" fmla="*/ 55587 w 398636"/>
              <a:gd name="connsiteY44" fmla="*/ 63345 h 184286"/>
              <a:gd name="connsiteX45" fmla="*/ 68201 w 398636"/>
              <a:gd name="connsiteY45" fmla="*/ 68981 h 184286"/>
              <a:gd name="connsiteX46" fmla="*/ 85446 w 398636"/>
              <a:gd name="connsiteY46" fmla="*/ 77520 h 184286"/>
              <a:gd name="connsiteX47" fmla="*/ 98562 w 398636"/>
              <a:gd name="connsiteY47" fmla="*/ 87734 h 184286"/>
              <a:gd name="connsiteX48" fmla="*/ 106933 w 398636"/>
              <a:gd name="connsiteY48" fmla="*/ 100738 h 184286"/>
              <a:gd name="connsiteX49" fmla="*/ 109835 w 398636"/>
              <a:gd name="connsiteY49" fmla="*/ 117760 h 184286"/>
              <a:gd name="connsiteX50" fmla="*/ 104757 w 398636"/>
              <a:gd name="connsiteY50" fmla="*/ 140251 h 184286"/>
              <a:gd name="connsiteX51" fmla="*/ 90971 w 398636"/>
              <a:gd name="connsiteY51" fmla="*/ 154985 h 184286"/>
              <a:gd name="connsiteX52" fmla="*/ 70712 w 398636"/>
              <a:gd name="connsiteY52" fmla="*/ 163078 h 184286"/>
              <a:gd name="connsiteX53" fmla="*/ 46323 w 398636"/>
              <a:gd name="connsiteY53" fmla="*/ 165534 h 184286"/>
              <a:gd name="connsiteX54" fmla="*/ 21264 w 398636"/>
              <a:gd name="connsiteY54" fmla="*/ 163301 h 184286"/>
              <a:gd name="connsiteX55" fmla="*/ 670 w 398636"/>
              <a:gd name="connsiteY55" fmla="*/ 156604 h 184286"/>
              <a:gd name="connsiteX56" fmla="*/ 670 w 398636"/>
              <a:gd name="connsiteY56" fmla="*/ 120885 h 184286"/>
              <a:gd name="connsiteX57" fmla="*/ 21766 w 398636"/>
              <a:gd name="connsiteY57" fmla="*/ 133108 h 184286"/>
              <a:gd name="connsiteX58" fmla="*/ 44760 w 398636"/>
              <a:gd name="connsiteY58" fmla="*/ 137182 h 184286"/>
              <a:gd name="connsiteX59" fmla="*/ 56648 w 398636"/>
              <a:gd name="connsiteY59" fmla="*/ 135954 h 184286"/>
              <a:gd name="connsiteX60" fmla="*/ 65131 w 398636"/>
              <a:gd name="connsiteY60" fmla="*/ 132550 h 184286"/>
              <a:gd name="connsiteX61" fmla="*/ 70210 w 398636"/>
              <a:gd name="connsiteY61" fmla="*/ 127415 h 184286"/>
              <a:gd name="connsiteX62" fmla="*/ 71884 w 398636"/>
              <a:gd name="connsiteY62" fmla="*/ 120997 h 184286"/>
              <a:gd name="connsiteX63" fmla="*/ 69205 w 398636"/>
              <a:gd name="connsiteY63" fmla="*/ 112625 h 184286"/>
              <a:gd name="connsiteX64" fmla="*/ 61894 w 398636"/>
              <a:gd name="connsiteY64" fmla="*/ 105816 h 184286"/>
              <a:gd name="connsiteX65" fmla="*/ 50899 w 398636"/>
              <a:gd name="connsiteY65" fmla="*/ 99789 h 184286"/>
              <a:gd name="connsiteX66" fmla="*/ 37170 w 398636"/>
              <a:gd name="connsiteY66" fmla="*/ 93873 h 184286"/>
              <a:gd name="connsiteX67" fmla="*/ 9209 w 398636"/>
              <a:gd name="connsiteY67" fmla="*/ 74786 h 184286"/>
              <a:gd name="connsiteX68" fmla="*/ 0 w 398636"/>
              <a:gd name="connsiteY68" fmla="*/ 47550 h 184286"/>
              <a:gd name="connsiteX69" fmla="*/ 5023 w 398636"/>
              <a:gd name="connsiteY69" fmla="*/ 26063 h 184286"/>
              <a:gd name="connsiteX70" fmla="*/ 18697 w 398636"/>
              <a:gd name="connsiteY70" fmla="*/ 11273 h 184286"/>
              <a:gd name="connsiteX71" fmla="*/ 38733 w 398636"/>
              <a:gd name="connsiteY71" fmla="*/ 2734 h 184286"/>
              <a:gd name="connsiteX72" fmla="*/ 62843 w 398636"/>
              <a:gd name="connsiteY72" fmla="*/ 0 h 18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8636" h="184286">
                <a:moveTo>
                  <a:pt x="201067" y="31030"/>
                </a:moveTo>
                <a:cubicBezTo>
                  <a:pt x="188491" y="31030"/>
                  <a:pt x="178445" y="35793"/>
                  <a:pt x="170929" y="45318"/>
                </a:cubicBezTo>
                <a:cubicBezTo>
                  <a:pt x="163488" y="54768"/>
                  <a:pt x="159767" y="67307"/>
                  <a:pt x="159767" y="82934"/>
                </a:cubicBezTo>
                <a:cubicBezTo>
                  <a:pt x="159767" y="98784"/>
                  <a:pt x="163488" y="111323"/>
                  <a:pt x="170929" y="120550"/>
                </a:cubicBezTo>
                <a:cubicBezTo>
                  <a:pt x="178371" y="129778"/>
                  <a:pt x="188119" y="134391"/>
                  <a:pt x="200174" y="134391"/>
                </a:cubicBezTo>
                <a:cubicBezTo>
                  <a:pt x="212601" y="134391"/>
                  <a:pt x="222461" y="129927"/>
                  <a:pt x="229754" y="120997"/>
                </a:cubicBezTo>
                <a:cubicBezTo>
                  <a:pt x="237046" y="111918"/>
                  <a:pt x="240692" y="99454"/>
                  <a:pt x="240692" y="83604"/>
                </a:cubicBezTo>
                <a:cubicBezTo>
                  <a:pt x="240692" y="67084"/>
                  <a:pt x="237158" y="54173"/>
                  <a:pt x="230088" y="44871"/>
                </a:cubicBezTo>
                <a:cubicBezTo>
                  <a:pt x="223094" y="35644"/>
                  <a:pt x="213420" y="31030"/>
                  <a:pt x="201067" y="31030"/>
                </a:cubicBezTo>
                <a:close/>
                <a:moveTo>
                  <a:pt x="303312" y="2678"/>
                </a:moveTo>
                <a:lnTo>
                  <a:pt x="339366" y="2678"/>
                </a:lnTo>
                <a:lnTo>
                  <a:pt x="339366" y="133498"/>
                </a:lnTo>
                <a:lnTo>
                  <a:pt x="398636" y="133498"/>
                </a:lnTo>
                <a:lnTo>
                  <a:pt x="398636" y="162743"/>
                </a:lnTo>
                <a:lnTo>
                  <a:pt x="303312" y="162743"/>
                </a:lnTo>
                <a:lnTo>
                  <a:pt x="303312" y="2678"/>
                </a:lnTo>
                <a:close/>
                <a:moveTo>
                  <a:pt x="202072" y="0"/>
                </a:moveTo>
                <a:cubicBezTo>
                  <a:pt x="224917" y="0"/>
                  <a:pt x="243371" y="7478"/>
                  <a:pt x="257436" y="22435"/>
                </a:cubicBezTo>
                <a:cubicBezTo>
                  <a:pt x="271574" y="37318"/>
                  <a:pt x="278644" y="57038"/>
                  <a:pt x="278644" y="81595"/>
                </a:cubicBezTo>
                <a:cubicBezTo>
                  <a:pt x="278644" y="106672"/>
                  <a:pt x="271314" y="126950"/>
                  <a:pt x="256654" y="142428"/>
                </a:cubicBezTo>
                <a:cubicBezTo>
                  <a:pt x="256133" y="142949"/>
                  <a:pt x="255650" y="143451"/>
                  <a:pt x="255203" y="143935"/>
                </a:cubicBezTo>
                <a:cubicBezTo>
                  <a:pt x="254757" y="144419"/>
                  <a:pt x="254273" y="144884"/>
                  <a:pt x="253752" y="145330"/>
                </a:cubicBezTo>
                <a:lnTo>
                  <a:pt x="294271" y="184286"/>
                </a:lnTo>
                <a:lnTo>
                  <a:pt x="243818" y="184286"/>
                </a:lnTo>
                <a:lnTo>
                  <a:pt x="222610" y="162743"/>
                </a:lnTo>
                <a:cubicBezTo>
                  <a:pt x="215615" y="164603"/>
                  <a:pt x="207913" y="165534"/>
                  <a:pt x="199504" y="165534"/>
                </a:cubicBezTo>
                <a:cubicBezTo>
                  <a:pt x="176585" y="165534"/>
                  <a:pt x="157907" y="158092"/>
                  <a:pt x="143470" y="143209"/>
                </a:cubicBezTo>
                <a:cubicBezTo>
                  <a:pt x="129034" y="128178"/>
                  <a:pt x="121816" y="108719"/>
                  <a:pt x="121816" y="84832"/>
                </a:cubicBezTo>
                <a:cubicBezTo>
                  <a:pt x="121816" y="59605"/>
                  <a:pt x="129146" y="39141"/>
                  <a:pt x="143805" y="23440"/>
                </a:cubicBezTo>
                <a:cubicBezTo>
                  <a:pt x="158391" y="7813"/>
                  <a:pt x="177813" y="0"/>
                  <a:pt x="202072" y="0"/>
                </a:cubicBezTo>
                <a:close/>
                <a:moveTo>
                  <a:pt x="62843" y="0"/>
                </a:moveTo>
                <a:cubicBezTo>
                  <a:pt x="71177" y="0"/>
                  <a:pt x="78563" y="502"/>
                  <a:pt x="85000" y="1506"/>
                </a:cubicBezTo>
                <a:cubicBezTo>
                  <a:pt x="91436" y="2511"/>
                  <a:pt x="97371" y="4055"/>
                  <a:pt x="102803" y="6139"/>
                </a:cubicBezTo>
                <a:lnTo>
                  <a:pt x="102803" y="39513"/>
                </a:lnTo>
                <a:cubicBezTo>
                  <a:pt x="100124" y="37653"/>
                  <a:pt x="97204" y="36016"/>
                  <a:pt x="94041" y="34602"/>
                </a:cubicBezTo>
                <a:cubicBezTo>
                  <a:pt x="90878" y="33188"/>
                  <a:pt x="87623" y="32016"/>
                  <a:pt x="84274" y="31086"/>
                </a:cubicBezTo>
                <a:cubicBezTo>
                  <a:pt x="80925" y="30156"/>
                  <a:pt x="77595" y="29468"/>
                  <a:pt x="74284" y="29021"/>
                </a:cubicBezTo>
                <a:cubicBezTo>
                  <a:pt x="70973" y="28575"/>
                  <a:pt x="67829" y="28351"/>
                  <a:pt x="64852" y="28351"/>
                </a:cubicBezTo>
                <a:cubicBezTo>
                  <a:pt x="60759" y="28351"/>
                  <a:pt x="57039" y="28742"/>
                  <a:pt x="53690" y="29523"/>
                </a:cubicBezTo>
                <a:cubicBezTo>
                  <a:pt x="50341" y="30305"/>
                  <a:pt x="47514" y="31402"/>
                  <a:pt x="45207" y="32816"/>
                </a:cubicBezTo>
                <a:cubicBezTo>
                  <a:pt x="42900" y="34230"/>
                  <a:pt x="41114" y="35923"/>
                  <a:pt x="39849" y="37895"/>
                </a:cubicBezTo>
                <a:cubicBezTo>
                  <a:pt x="38584" y="39867"/>
                  <a:pt x="37951" y="42081"/>
                  <a:pt x="37951" y="44536"/>
                </a:cubicBezTo>
                <a:cubicBezTo>
                  <a:pt x="37951" y="47215"/>
                  <a:pt x="38658" y="49615"/>
                  <a:pt x="40072" y="51736"/>
                </a:cubicBezTo>
                <a:cubicBezTo>
                  <a:pt x="41486" y="53857"/>
                  <a:pt x="43495" y="55866"/>
                  <a:pt x="46100" y="57763"/>
                </a:cubicBezTo>
                <a:cubicBezTo>
                  <a:pt x="48704" y="59661"/>
                  <a:pt x="51867" y="61521"/>
                  <a:pt x="55587" y="63345"/>
                </a:cubicBezTo>
                <a:cubicBezTo>
                  <a:pt x="59308" y="65168"/>
                  <a:pt x="63513" y="67047"/>
                  <a:pt x="68201" y="68981"/>
                </a:cubicBezTo>
                <a:cubicBezTo>
                  <a:pt x="74600" y="71660"/>
                  <a:pt x="80349" y="74507"/>
                  <a:pt x="85446" y="77520"/>
                </a:cubicBezTo>
                <a:cubicBezTo>
                  <a:pt x="90543" y="80534"/>
                  <a:pt x="94915" y="83939"/>
                  <a:pt x="98562" y="87734"/>
                </a:cubicBezTo>
                <a:cubicBezTo>
                  <a:pt x="102208" y="91529"/>
                  <a:pt x="104998" y="95863"/>
                  <a:pt x="106933" y="100738"/>
                </a:cubicBezTo>
                <a:cubicBezTo>
                  <a:pt x="108868" y="105612"/>
                  <a:pt x="109835" y="111286"/>
                  <a:pt x="109835" y="117760"/>
                </a:cubicBezTo>
                <a:cubicBezTo>
                  <a:pt x="109835" y="126690"/>
                  <a:pt x="108142" y="134187"/>
                  <a:pt x="104757" y="140251"/>
                </a:cubicBezTo>
                <a:cubicBezTo>
                  <a:pt x="101371" y="146316"/>
                  <a:pt x="96776" y="151228"/>
                  <a:pt x="90971" y="154985"/>
                </a:cubicBezTo>
                <a:cubicBezTo>
                  <a:pt x="85167" y="158743"/>
                  <a:pt x="78414" y="161441"/>
                  <a:pt x="70712" y="163078"/>
                </a:cubicBezTo>
                <a:cubicBezTo>
                  <a:pt x="63010" y="164715"/>
                  <a:pt x="54881" y="165534"/>
                  <a:pt x="46323" y="165534"/>
                </a:cubicBezTo>
                <a:cubicBezTo>
                  <a:pt x="37542" y="165534"/>
                  <a:pt x="29189" y="164790"/>
                  <a:pt x="21264" y="163301"/>
                </a:cubicBezTo>
                <a:cubicBezTo>
                  <a:pt x="13339" y="161813"/>
                  <a:pt x="6474" y="159581"/>
                  <a:pt x="670" y="156604"/>
                </a:cubicBezTo>
                <a:lnTo>
                  <a:pt x="670" y="120885"/>
                </a:lnTo>
                <a:cubicBezTo>
                  <a:pt x="7144" y="126317"/>
                  <a:pt x="14176" y="130392"/>
                  <a:pt x="21766" y="133108"/>
                </a:cubicBezTo>
                <a:cubicBezTo>
                  <a:pt x="29357" y="135824"/>
                  <a:pt x="37021" y="137182"/>
                  <a:pt x="44760" y="137182"/>
                </a:cubicBezTo>
                <a:cubicBezTo>
                  <a:pt x="49299" y="137182"/>
                  <a:pt x="53262" y="136773"/>
                  <a:pt x="56648" y="135954"/>
                </a:cubicBezTo>
                <a:cubicBezTo>
                  <a:pt x="60034" y="135136"/>
                  <a:pt x="62861" y="134001"/>
                  <a:pt x="65131" y="132550"/>
                </a:cubicBezTo>
                <a:cubicBezTo>
                  <a:pt x="67401" y="131099"/>
                  <a:pt x="69094" y="129387"/>
                  <a:pt x="70210" y="127415"/>
                </a:cubicBezTo>
                <a:cubicBezTo>
                  <a:pt x="71326" y="125443"/>
                  <a:pt x="71884" y="123304"/>
                  <a:pt x="71884" y="120997"/>
                </a:cubicBezTo>
                <a:cubicBezTo>
                  <a:pt x="71884" y="117871"/>
                  <a:pt x="70991" y="115081"/>
                  <a:pt x="69205" y="112625"/>
                </a:cubicBezTo>
                <a:cubicBezTo>
                  <a:pt x="67419" y="110170"/>
                  <a:pt x="64982" y="107900"/>
                  <a:pt x="61894" y="105816"/>
                </a:cubicBezTo>
                <a:cubicBezTo>
                  <a:pt x="58806" y="103733"/>
                  <a:pt x="55141" y="101724"/>
                  <a:pt x="50899" y="99789"/>
                </a:cubicBezTo>
                <a:cubicBezTo>
                  <a:pt x="46658" y="97854"/>
                  <a:pt x="42081" y="95882"/>
                  <a:pt x="37170" y="93873"/>
                </a:cubicBezTo>
                <a:cubicBezTo>
                  <a:pt x="24668" y="88664"/>
                  <a:pt x="15348" y="82302"/>
                  <a:pt x="9209" y="74786"/>
                </a:cubicBezTo>
                <a:cubicBezTo>
                  <a:pt x="3070" y="67270"/>
                  <a:pt x="0" y="58191"/>
                  <a:pt x="0" y="47550"/>
                </a:cubicBezTo>
                <a:cubicBezTo>
                  <a:pt x="0" y="39216"/>
                  <a:pt x="1674" y="32053"/>
                  <a:pt x="5023" y="26063"/>
                </a:cubicBezTo>
                <a:cubicBezTo>
                  <a:pt x="8372" y="20073"/>
                  <a:pt x="12930" y="15143"/>
                  <a:pt x="18697" y="11273"/>
                </a:cubicBezTo>
                <a:cubicBezTo>
                  <a:pt x="24464" y="7404"/>
                  <a:pt x="31142" y="4557"/>
                  <a:pt x="38733" y="2734"/>
                </a:cubicBezTo>
                <a:cubicBezTo>
                  <a:pt x="46323" y="911"/>
                  <a:pt x="54360" y="0"/>
                  <a:pt x="62843"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latin typeface="Segoe UI"/>
            </a:endParaRPr>
          </a:p>
        </p:txBody>
      </p:sp>
      <p:sp>
        <p:nvSpPr>
          <p:cNvPr id="4" name="Freeform: Shape 3"/>
          <p:cNvSpPr/>
          <p:nvPr/>
        </p:nvSpPr>
        <p:spPr>
          <a:xfrm>
            <a:off x="668276" y="5135488"/>
            <a:ext cx="2383222" cy="956663"/>
          </a:xfrm>
          <a:custGeom>
            <a:avLst/>
            <a:gdLst>
              <a:gd name="connsiteX0" fmla="*/ 1630787 w 2383222"/>
              <a:gd name="connsiteY0" fmla="*/ 285598 h 956663"/>
              <a:gd name="connsiteX1" fmla="*/ 1278090 w 2383222"/>
              <a:gd name="connsiteY1" fmla="*/ 11278 h 956663"/>
              <a:gd name="connsiteX2" fmla="*/ 233061 w 2383222"/>
              <a:gd name="connsiteY2" fmla="*/ 102718 h 956663"/>
              <a:gd name="connsiteX3" fmla="*/ 69775 w 2383222"/>
              <a:gd name="connsiteY3" fmla="*/ 553386 h 956663"/>
              <a:gd name="connsiteX4" fmla="*/ 1140930 w 2383222"/>
              <a:gd name="connsiteY4" fmla="*/ 938741 h 956663"/>
              <a:gd name="connsiteX5" fmla="*/ 2310055 w 2383222"/>
              <a:gd name="connsiteY5" fmla="*/ 840769 h 956663"/>
              <a:gd name="connsiteX6" fmla="*/ 2205553 w 2383222"/>
              <a:gd name="connsiteY6" fmla="*/ 383569 h 956663"/>
              <a:gd name="connsiteX7" fmla="*/ 1754884 w 2383222"/>
              <a:gd name="connsiteY7" fmla="*/ 141906 h 956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83222" h="956663">
                <a:moveTo>
                  <a:pt x="1630787" y="285598"/>
                </a:moveTo>
                <a:cubicBezTo>
                  <a:pt x="1570915" y="163678"/>
                  <a:pt x="1511044" y="41758"/>
                  <a:pt x="1278090" y="11278"/>
                </a:cubicBezTo>
                <a:cubicBezTo>
                  <a:pt x="1045136" y="-19202"/>
                  <a:pt x="434447" y="12367"/>
                  <a:pt x="233061" y="102718"/>
                </a:cubicBezTo>
                <a:cubicBezTo>
                  <a:pt x="31675" y="193069"/>
                  <a:pt x="-81536" y="414049"/>
                  <a:pt x="69775" y="553386"/>
                </a:cubicBezTo>
                <a:cubicBezTo>
                  <a:pt x="221086" y="692723"/>
                  <a:pt x="767550" y="890844"/>
                  <a:pt x="1140930" y="938741"/>
                </a:cubicBezTo>
                <a:cubicBezTo>
                  <a:pt x="1514310" y="986638"/>
                  <a:pt x="2132618" y="933298"/>
                  <a:pt x="2310055" y="840769"/>
                </a:cubicBezTo>
                <a:cubicBezTo>
                  <a:pt x="2487492" y="748240"/>
                  <a:pt x="2298081" y="500046"/>
                  <a:pt x="2205553" y="383569"/>
                </a:cubicBezTo>
                <a:cubicBezTo>
                  <a:pt x="2113025" y="267092"/>
                  <a:pt x="1933954" y="204499"/>
                  <a:pt x="1754884" y="141906"/>
                </a:cubicBezTo>
              </a:path>
            </a:pathLst>
          </a:custGeom>
          <a:no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8" name="Picture 2" descr="Image result for cassandra logo">
            <a:extLst>
              <a:ext uri="{FF2B5EF4-FFF2-40B4-BE49-F238E27FC236}">
                <a16:creationId xmlns:a16="http://schemas.microsoft.com/office/drawing/2014/main" id="{ECAC9B34-4D1E-4ECA-BE0A-BA5964949BA1}"/>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864117" y="2690422"/>
            <a:ext cx="1202369" cy="8062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84919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10" name="Freeform 6">
            <a:extLst>
              <a:ext uri="{FF2B5EF4-FFF2-40B4-BE49-F238E27FC236}">
                <a16:creationId xmlns:a16="http://schemas.microsoft.com/office/drawing/2014/main" id="{89476262-8193-47C8-9A9B-A810C9FEE580}"/>
              </a:ext>
            </a:extLst>
          </p:cNvPr>
          <p:cNvSpPr>
            <a:spLocks noEditPoints="1"/>
          </p:cNvSpPr>
          <p:nvPr/>
        </p:nvSpPr>
        <p:spPr bwMode="auto">
          <a:xfrm>
            <a:off x="1533250" y="2299964"/>
            <a:ext cx="9314945" cy="4333102"/>
          </a:xfrm>
          <a:custGeom>
            <a:avLst/>
            <a:gdLst>
              <a:gd name="T0" fmla="*/ 2843 w 3260"/>
              <a:gd name="T1" fmla="*/ 1040 h 1694"/>
              <a:gd name="T2" fmla="*/ 2706 w 3260"/>
              <a:gd name="T3" fmla="*/ 1121 h 1694"/>
              <a:gd name="T4" fmla="*/ 3101 w 3260"/>
              <a:gd name="T5" fmla="*/ 1119 h 1694"/>
              <a:gd name="T6" fmla="*/ 1330 w 3260"/>
              <a:gd name="T7" fmla="*/ 153 h 1694"/>
              <a:gd name="T8" fmla="*/ 1357 w 3260"/>
              <a:gd name="T9" fmla="*/ 41 h 1694"/>
              <a:gd name="T10" fmla="*/ 1093 w 3260"/>
              <a:gd name="T11" fmla="*/ 175 h 1694"/>
              <a:gd name="T12" fmla="*/ 1115 w 3260"/>
              <a:gd name="T13" fmla="*/ 313 h 1694"/>
              <a:gd name="T14" fmla="*/ 1909 w 3260"/>
              <a:gd name="T15" fmla="*/ 55 h 1694"/>
              <a:gd name="T16" fmla="*/ 590 w 3260"/>
              <a:gd name="T17" fmla="*/ 24 h 1694"/>
              <a:gd name="T18" fmla="*/ 897 w 3260"/>
              <a:gd name="T19" fmla="*/ 944 h 1694"/>
              <a:gd name="T20" fmla="*/ 622 w 3260"/>
              <a:gd name="T21" fmla="*/ 717 h 1694"/>
              <a:gd name="T22" fmla="*/ 934 w 3260"/>
              <a:gd name="T23" fmla="*/ 526 h 1694"/>
              <a:gd name="T24" fmla="*/ 900 w 3260"/>
              <a:gd name="T25" fmla="*/ 310 h 1694"/>
              <a:gd name="T26" fmla="*/ 808 w 3260"/>
              <a:gd name="T27" fmla="*/ 172 h 1694"/>
              <a:gd name="T28" fmla="*/ 687 w 3260"/>
              <a:gd name="T29" fmla="*/ 121 h 1694"/>
              <a:gd name="T30" fmla="*/ 152 w 3260"/>
              <a:gd name="T31" fmla="*/ 11 h 1694"/>
              <a:gd name="T32" fmla="*/ 118 w 3260"/>
              <a:gd name="T33" fmla="*/ 222 h 1694"/>
              <a:gd name="T34" fmla="*/ 327 w 3260"/>
              <a:gd name="T35" fmla="*/ 321 h 1694"/>
              <a:gd name="T36" fmla="*/ 406 w 3260"/>
              <a:gd name="T37" fmla="*/ 761 h 1694"/>
              <a:gd name="T38" fmla="*/ 749 w 3260"/>
              <a:gd name="T39" fmla="*/ 1186 h 1694"/>
              <a:gd name="T40" fmla="*/ 886 w 3260"/>
              <a:gd name="T41" fmla="*/ 1643 h 1694"/>
              <a:gd name="T42" fmla="*/ 3236 w 3260"/>
              <a:gd name="T43" fmla="*/ 1515 h 1694"/>
              <a:gd name="T44" fmla="*/ 2763 w 3260"/>
              <a:gd name="T45" fmla="*/ 958 h 1694"/>
              <a:gd name="T46" fmla="*/ 2590 w 3260"/>
              <a:gd name="T47" fmla="*/ 854 h 1694"/>
              <a:gd name="T48" fmla="*/ 2698 w 3260"/>
              <a:gd name="T49" fmla="*/ 572 h 1694"/>
              <a:gd name="T50" fmla="*/ 2898 w 3260"/>
              <a:gd name="T51" fmla="*/ 132 h 1694"/>
              <a:gd name="T52" fmla="*/ 2300 w 3260"/>
              <a:gd name="T53" fmla="*/ 3 h 1694"/>
              <a:gd name="T54" fmla="*/ 1991 w 3260"/>
              <a:gd name="T55" fmla="*/ 151 h 1694"/>
              <a:gd name="T56" fmla="*/ 1720 w 3260"/>
              <a:gd name="T57" fmla="*/ 141 h 1694"/>
              <a:gd name="T58" fmla="*/ 1548 w 3260"/>
              <a:gd name="T59" fmla="*/ 310 h 1694"/>
              <a:gd name="T60" fmla="*/ 1697 w 3260"/>
              <a:gd name="T61" fmla="*/ 325 h 1694"/>
              <a:gd name="T62" fmla="*/ 1491 w 3260"/>
              <a:gd name="T63" fmla="*/ 562 h 1694"/>
              <a:gd name="T64" fmla="*/ 1768 w 3260"/>
              <a:gd name="T65" fmla="*/ 594 h 1694"/>
              <a:gd name="T66" fmla="*/ 1719 w 3260"/>
              <a:gd name="T67" fmla="*/ 686 h 1694"/>
              <a:gd name="T68" fmla="*/ 1682 w 3260"/>
              <a:gd name="T69" fmla="*/ 1394 h 1694"/>
              <a:gd name="T70" fmla="*/ 1850 w 3260"/>
              <a:gd name="T71" fmla="*/ 731 h 1694"/>
              <a:gd name="T72" fmla="*/ 2233 w 3260"/>
              <a:gd name="T73" fmla="*/ 809 h 1694"/>
              <a:gd name="T74" fmla="*/ 2002 w 3260"/>
              <a:gd name="T75" fmla="*/ 527 h 1694"/>
              <a:gd name="T76" fmla="*/ 2891 w 3260"/>
              <a:gd name="T77" fmla="*/ 1163 h 1694"/>
              <a:gd name="T78" fmla="*/ 2926 w 3260"/>
              <a:gd name="T79" fmla="*/ 1501 h 1694"/>
              <a:gd name="T80" fmla="*/ 293 w 3260"/>
              <a:gd name="T81" fmla="*/ 349 h 1694"/>
              <a:gd name="T82" fmla="*/ 2003 w 3260"/>
              <a:gd name="T83" fmla="*/ 1218 h 1694"/>
              <a:gd name="T84" fmla="*/ 1312 w 3260"/>
              <a:gd name="T85" fmla="*/ 233 h 1694"/>
              <a:gd name="T86" fmla="*/ 131 w 3260"/>
              <a:gd name="T87" fmla="*/ 226 h 1694"/>
              <a:gd name="T88" fmla="*/ 2836 w 3260"/>
              <a:gd name="T89" fmla="*/ 628 h 1694"/>
              <a:gd name="T90" fmla="*/ 2925 w 3260"/>
              <a:gd name="T91" fmla="*/ 1111 h 1694"/>
              <a:gd name="T92" fmla="*/ 2830 w 3260"/>
              <a:gd name="T93" fmla="*/ 367 h 1694"/>
              <a:gd name="T94" fmla="*/ 2757 w 3260"/>
              <a:gd name="T95" fmla="*/ 892 h 1694"/>
              <a:gd name="T96" fmla="*/ 2695 w 3260"/>
              <a:gd name="T97" fmla="*/ 1047 h 1694"/>
              <a:gd name="T98" fmla="*/ 2553 w 3260"/>
              <a:gd name="T99" fmla="*/ 1023 h 1694"/>
              <a:gd name="T100" fmla="*/ 1684 w 3260"/>
              <a:gd name="T101" fmla="*/ 276 h 1694"/>
              <a:gd name="T102" fmla="*/ 1744 w 3260"/>
              <a:gd name="T103" fmla="*/ 617 h 1694"/>
              <a:gd name="T104" fmla="*/ 1659 w 3260"/>
              <a:gd name="T105" fmla="*/ 156 h 1694"/>
              <a:gd name="T106" fmla="*/ 1937 w 3260"/>
              <a:gd name="T107" fmla="*/ 121 h 1694"/>
              <a:gd name="T108" fmla="*/ 940 w 3260"/>
              <a:gd name="T109" fmla="*/ 505 h 1694"/>
              <a:gd name="T110" fmla="*/ 175 w 3260"/>
              <a:gd name="T111" fmla="*/ 174 h 1694"/>
              <a:gd name="T112" fmla="*/ 1009 w 3260"/>
              <a:gd name="T113" fmla="*/ 1028 h 1694"/>
              <a:gd name="T114" fmla="*/ 1009 w 3260"/>
              <a:gd name="T115" fmla="*/ 492 h 1694"/>
              <a:gd name="T116" fmla="*/ 1464 w 3260"/>
              <a:gd name="T117" fmla="*/ 394 h 1694"/>
              <a:gd name="T118" fmla="*/ 930 w 3260"/>
              <a:gd name="T119" fmla="*/ 34 h 1694"/>
              <a:gd name="T120" fmla="*/ 884 w 3260"/>
              <a:gd name="T121" fmla="*/ 92 h 1694"/>
              <a:gd name="T122" fmla="*/ 956 w 3260"/>
              <a:gd name="T123" fmla="*/ 188 h 1694"/>
              <a:gd name="T124" fmla="*/ 950 w 3260"/>
              <a:gd name="T125" fmla="*/ 104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60" h="1694">
                <a:moveTo>
                  <a:pt x="2796" y="665"/>
                </a:moveTo>
                <a:cubicBezTo>
                  <a:pt x="2795" y="664"/>
                  <a:pt x="2795" y="664"/>
                  <a:pt x="2795" y="664"/>
                </a:cubicBezTo>
                <a:cubicBezTo>
                  <a:pt x="2794" y="665"/>
                  <a:pt x="2794" y="665"/>
                  <a:pt x="2794" y="665"/>
                </a:cubicBezTo>
                <a:cubicBezTo>
                  <a:pt x="2795" y="666"/>
                  <a:pt x="2795" y="666"/>
                  <a:pt x="2795" y="666"/>
                </a:cubicBezTo>
                <a:lnTo>
                  <a:pt x="2796" y="665"/>
                </a:lnTo>
                <a:close/>
                <a:moveTo>
                  <a:pt x="2760" y="1091"/>
                </a:moveTo>
                <a:cubicBezTo>
                  <a:pt x="2759" y="1090"/>
                  <a:pt x="2759" y="1090"/>
                  <a:pt x="2759" y="1090"/>
                </a:cubicBezTo>
                <a:cubicBezTo>
                  <a:pt x="2758" y="1089"/>
                  <a:pt x="2758" y="1089"/>
                  <a:pt x="2758" y="1089"/>
                </a:cubicBezTo>
                <a:cubicBezTo>
                  <a:pt x="2759" y="1088"/>
                  <a:pt x="2759" y="1088"/>
                  <a:pt x="2759" y="1088"/>
                </a:cubicBezTo>
                <a:cubicBezTo>
                  <a:pt x="2760" y="1087"/>
                  <a:pt x="2760" y="1087"/>
                  <a:pt x="2760" y="1087"/>
                </a:cubicBezTo>
                <a:cubicBezTo>
                  <a:pt x="2761" y="1086"/>
                  <a:pt x="2761" y="1086"/>
                  <a:pt x="2761" y="1086"/>
                </a:cubicBezTo>
                <a:cubicBezTo>
                  <a:pt x="2761" y="1087"/>
                  <a:pt x="2761" y="1087"/>
                  <a:pt x="2761" y="1087"/>
                </a:cubicBezTo>
                <a:cubicBezTo>
                  <a:pt x="2761" y="1086"/>
                  <a:pt x="2761" y="1086"/>
                  <a:pt x="2761" y="1086"/>
                </a:cubicBezTo>
                <a:cubicBezTo>
                  <a:pt x="2760" y="1085"/>
                  <a:pt x="2760" y="1085"/>
                  <a:pt x="2760" y="1085"/>
                </a:cubicBezTo>
                <a:cubicBezTo>
                  <a:pt x="2760" y="1083"/>
                  <a:pt x="2760" y="1083"/>
                  <a:pt x="2760" y="1083"/>
                </a:cubicBezTo>
                <a:cubicBezTo>
                  <a:pt x="2759" y="1083"/>
                  <a:pt x="2759" y="1083"/>
                  <a:pt x="2759" y="1083"/>
                </a:cubicBezTo>
                <a:cubicBezTo>
                  <a:pt x="2758" y="1084"/>
                  <a:pt x="2758" y="1084"/>
                  <a:pt x="2758" y="1084"/>
                </a:cubicBezTo>
                <a:cubicBezTo>
                  <a:pt x="2758" y="1087"/>
                  <a:pt x="2758" y="1087"/>
                  <a:pt x="2758" y="1087"/>
                </a:cubicBezTo>
                <a:cubicBezTo>
                  <a:pt x="2757" y="1090"/>
                  <a:pt x="2757" y="1090"/>
                  <a:pt x="2757" y="1090"/>
                </a:cubicBezTo>
                <a:cubicBezTo>
                  <a:pt x="2755" y="1093"/>
                  <a:pt x="2755" y="1093"/>
                  <a:pt x="2755" y="1093"/>
                </a:cubicBezTo>
                <a:cubicBezTo>
                  <a:pt x="2755" y="1095"/>
                  <a:pt x="2755" y="1095"/>
                  <a:pt x="2755" y="1095"/>
                </a:cubicBezTo>
                <a:cubicBezTo>
                  <a:pt x="2756" y="1095"/>
                  <a:pt x="2756" y="1095"/>
                  <a:pt x="2756" y="1095"/>
                </a:cubicBezTo>
                <a:cubicBezTo>
                  <a:pt x="2758" y="1095"/>
                  <a:pt x="2758" y="1095"/>
                  <a:pt x="2758" y="1095"/>
                </a:cubicBezTo>
                <a:cubicBezTo>
                  <a:pt x="2759" y="1093"/>
                  <a:pt x="2759" y="1093"/>
                  <a:pt x="2759" y="1093"/>
                </a:cubicBezTo>
                <a:cubicBezTo>
                  <a:pt x="2760" y="1092"/>
                  <a:pt x="2760" y="1092"/>
                  <a:pt x="2760" y="1092"/>
                </a:cubicBezTo>
                <a:cubicBezTo>
                  <a:pt x="2761" y="1091"/>
                  <a:pt x="2761" y="1091"/>
                  <a:pt x="2761" y="1091"/>
                </a:cubicBezTo>
                <a:lnTo>
                  <a:pt x="2760" y="1091"/>
                </a:lnTo>
                <a:close/>
                <a:moveTo>
                  <a:pt x="2801" y="1122"/>
                </a:moveTo>
                <a:cubicBezTo>
                  <a:pt x="2800" y="1121"/>
                  <a:pt x="2800" y="1121"/>
                  <a:pt x="2800" y="1121"/>
                </a:cubicBezTo>
                <a:cubicBezTo>
                  <a:pt x="2799" y="1122"/>
                  <a:pt x="2799" y="1122"/>
                  <a:pt x="2799" y="1122"/>
                </a:cubicBezTo>
                <a:cubicBezTo>
                  <a:pt x="2800" y="1123"/>
                  <a:pt x="2800" y="1123"/>
                  <a:pt x="2800" y="1123"/>
                </a:cubicBezTo>
                <a:lnTo>
                  <a:pt x="2801" y="1122"/>
                </a:lnTo>
                <a:close/>
                <a:moveTo>
                  <a:pt x="2756" y="1128"/>
                </a:moveTo>
                <a:cubicBezTo>
                  <a:pt x="2757" y="1127"/>
                  <a:pt x="2757" y="1127"/>
                  <a:pt x="2757" y="1127"/>
                </a:cubicBezTo>
                <a:cubicBezTo>
                  <a:pt x="2759" y="1126"/>
                  <a:pt x="2759" y="1126"/>
                  <a:pt x="2759" y="1126"/>
                </a:cubicBezTo>
                <a:cubicBezTo>
                  <a:pt x="2757" y="1126"/>
                  <a:pt x="2757" y="1126"/>
                  <a:pt x="2757" y="1126"/>
                </a:cubicBezTo>
                <a:lnTo>
                  <a:pt x="2756" y="1128"/>
                </a:lnTo>
                <a:close/>
                <a:moveTo>
                  <a:pt x="2759" y="1143"/>
                </a:moveTo>
                <a:cubicBezTo>
                  <a:pt x="2758" y="1145"/>
                  <a:pt x="2758" y="1145"/>
                  <a:pt x="2758" y="1145"/>
                </a:cubicBezTo>
                <a:cubicBezTo>
                  <a:pt x="2759" y="1145"/>
                  <a:pt x="2759" y="1145"/>
                  <a:pt x="2759" y="1145"/>
                </a:cubicBezTo>
                <a:cubicBezTo>
                  <a:pt x="2760" y="1143"/>
                  <a:pt x="2760" y="1143"/>
                  <a:pt x="2760" y="1143"/>
                </a:cubicBezTo>
                <a:lnTo>
                  <a:pt x="2759" y="1143"/>
                </a:lnTo>
                <a:close/>
                <a:moveTo>
                  <a:pt x="2759" y="1150"/>
                </a:moveTo>
                <a:cubicBezTo>
                  <a:pt x="2760" y="1148"/>
                  <a:pt x="2760" y="1148"/>
                  <a:pt x="2760" y="1148"/>
                </a:cubicBezTo>
                <a:cubicBezTo>
                  <a:pt x="2759" y="1147"/>
                  <a:pt x="2759" y="1147"/>
                  <a:pt x="2759" y="1147"/>
                </a:cubicBezTo>
                <a:cubicBezTo>
                  <a:pt x="2757" y="1148"/>
                  <a:pt x="2757" y="1148"/>
                  <a:pt x="2757" y="1148"/>
                </a:cubicBezTo>
                <a:cubicBezTo>
                  <a:pt x="2758" y="1148"/>
                  <a:pt x="2758" y="1148"/>
                  <a:pt x="2758" y="1148"/>
                </a:cubicBezTo>
                <a:cubicBezTo>
                  <a:pt x="2755" y="1150"/>
                  <a:pt x="2755" y="1150"/>
                  <a:pt x="2755" y="1150"/>
                </a:cubicBezTo>
                <a:cubicBezTo>
                  <a:pt x="2753" y="1151"/>
                  <a:pt x="2753" y="1151"/>
                  <a:pt x="2753" y="1151"/>
                </a:cubicBezTo>
                <a:cubicBezTo>
                  <a:pt x="2755" y="1152"/>
                  <a:pt x="2755" y="1152"/>
                  <a:pt x="2755" y="1152"/>
                </a:cubicBezTo>
                <a:lnTo>
                  <a:pt x="2759" y="1150"/>
                </a:lnTo>
                <a:close/>
                <a:moveTo>
                  <a:pt x="2829" y="645"/>
                </a:moveTo>
                <a:cubicBezTo>
                  <a:pt x="2832" y="646"/>
                  <a:pt x="2832" y="646"/>
                  <a:pt x="2832" y="646"/>
                </a:cubicBezTo>
                <a:cubicBezTo>
                  <a:pt x="2833" y="648"/>
                  <a:pt x="2833" y="648"/>
                  <a:pt x="2833" y="648"/>
                </a:cubicBezTo>
                <a:cubicBezTo>
                  <a:pt x="2834" y="647"/>
                  <a:pt x="2834" y="647"/>
                  <a:pt x="2834" y="647"/>
                </a:cubicBezTo>
                <a:cubicBezTo>
                  <a:pt x="2835" y="644"/>
                  <a:pt x="2835" y="644"/>
                  <a:pt x="2835" y="644"/>
                </a:cubicBezTo>
                <a:cubicBezTo>
                  <a:pt x="2837" y="642"/>
                  <a:pt x="2837" y="642"/>
                  <a:pt x="2837" y="642"/>
                </a:cubicBezTo>
                <a:cubicBezTo>
                  <a:pt x="2838" y="640"/>
                  <a:pt x="2838" y="640"/>
                  <a:pt x="2838" y="640"/>
                </a:cubicBezTo>
                <a:cubicBezTo>
                  <a:pt x="2837" y="640"/>
                  <a:pt x="2837" y="640"/>
                  <a:pt x="2837" y="640"/>
                </a:cubicBezTo>
                <a:cubicBezTo>
                  <a:pt x="2836" y="638"/>
                  <a:pt x="2836" y="638"/>
                  <a:pt x="2836" y="638"/>
                </a:cubicBezTo>
                <a:cubicBezTo>
                  <a:pt x="2834" y="636"/>
                  <a:pt x="2834" y="636"/>
                  <a:pt x="2834" y="636"/>
                </a:cubicBezTo>
                <a:cubicBezTo>
                  <a:pt x="2833" y="636"/>
                  <a:pt x="2833" y="636"/>
                  <a:pt x="2833" y="636"/>
                </a:cubicBezTo>
                <a:cubicBezTo>
                  <a:pt x="2831" y="635"/>
                  <a:pt x="2831" y="635"/>
                  <a:pt x="2831" y="635"/>
                </a:cubicBezTo>
                <a:cubicBezTo>
                  <a:pt x="2829" y="635"/>
                  <a:pt x="2829" y="635"/>
                  <a:pt x="2829" y="635"/>
                </a:cubicBezTo>
                <a:cubicBezTo>
                  <a:pt x="2826" y="637"/>
                  <a:pt x="2826" y="637"/>
                  <a:pt x="2826" y="637"/>
                </a:cubicBezTo>
                <a:cubicBezTo>
                  <a:pt x="2826" y="638"/>
                  <a:pt x="2826" y="638"/>
                  <a:pt x="2826" y="638"/>
                </a:cubicBezTo>
                <a:cubicBezTo>
                  <a:pt x="2825" y="640"/>
                  <a:pt x="2825" y="640"/>
                  <a:pt x="2825" y="640"/>
                </a:cubicBezTo>
                <a:cubicBezTo>
                  <a:pt x="2823" y="640"/>
                  <a:pt x="2823" y="640"/>
                  <a:pt x="2823" y="640"/>
                </a:cubicBezTo>
                <a:cubicBezTo>
                  <a:pt x="2822" y="642"/>
                  <a:pt x="2822" y="642"/>
                  <a:pt x="2822" y="642"/>
                </a:cubicBezTo>
                <a:cubicBezTo>
                  <a:pt x="2821" y="641"/>
                  <a:pt x="2821" y="641"/>
                  <a:pt x="2821" y="641"/>
                </a:cubicBezTo>
                <a:cubicBezTo>
                  <a:pt x="2820" y="639"/>
                  <a:pt x="2820" y="639"/>
                  <a:pt x="2820" y="639"/>
                </a:cubicBezTo>
                <a:cubicBezTo>
                  <a:pt x="2819" y="639"/>
                  <a:pt x="2819" y="639"/>
                  <a:pt x="2819" y="639"/>
                </a:cubicBezTo>
                <a:cubicBezTo>
                  <a:pt x="2816" y="642"/>
                  <a:pt x="2816" y="642"/>
                  <a:pt x="2816" y="642"/>
                </a:cubicBezTo>
                <a:cubicBezTo>
                  <a:pt x="2816" y="643"/>
                  <a:pt x="2816" y="643"/>
                  <a:pt x="2816" y="643"/>
                </a:cubicBezTo>
                <a:cubicBezTo>
                  <a:pt x="2814" y="645"/>
                  <a:pt x="2814" y="645"/>
                  <a:pt x="2814" y="645"/>
                </a:cubicBezTo>
                <a:cubicBezTo>
                  <a:pt x="2814" y="647"/>
                  <a:pt x="2814" y="647"/>
                  <a:pt x="2814" y="647"/>
                </a:cubicBezTo>
                <a:cubicBezTo>
                  <a:pt x="2817" y="647"/>
                  <a:pt x="2817" y="647"/>
                  <a:pt x="2817" y="647"/>
                </a:cubicBezTo>
                <a:cubicBezTo>
                  <a:pt x="2817" y="649"/>
                  <a:pt x="2817" y="649"/>
                  <a:pt x="2817" y="649"/>
                </a:cubicBezTo>
                <a:cubicBezTo>
                  <a:pt x="2817" y="650"/>
                  <a:pt x="2817" y="650"/>
                  <a:pt x="2817" y="650"/>
                </a:cubicBezTo>
                <a:cubicBezTo>
                  <a:pt x="2817" y="651"/>
                  <a:pt x="2817" y="651"/>
                  <a:pt x="2817" y="651"/>
                </a:cubicBezTo>
                <a:cubicBezTo>
                  <a:pt x="2818" y="653"/>
                  <a:pt x="2818" y="653"/>
                  <a:pt x="2818" y="653"/>
                </a:cubicBezTo>
                <a:cubicBezTo>
                  <a:pt x="2821" y="654"/>
                  <a:pt x="2821" y="654"/>
                  <a:pt x="2821" y="654"/>
                </a:cubicBezTo>
                <a:cubicBezTo>
                  <a:pt x="2821" y="655"/>
                  <a:pt x="2821" y="655"/>
                  <a:pt x="2821" y="655"/>
                </a:cubicBezTo>
                <a:cubicBezTo>
                  <a:pt x="2821" y="655"/>
                  <a:pt x="2821" y="655"/>
                  <a:pt x="2821" y="655"/>
                </a:cubicBezTo>
                <a:cubicBezTo>
                  <a:pt x="2822" y="655"/>
                  <a:pt x="2822" y="655"/>
                  <a:pt x="2822" y="655"/>
                </a:cubicBezTo>
                <a:cubicBezTo>
                  <a:pt x="2823" y="655"/>
                  <a:pt x="2823" y="655"/>
                  <a:pt x="2823" y="655"/>
                </a:cubicBezTo>
                <a:cubicBezTo>
                  <a:pt x="2824" y="655"/>
                  <a:pt x="2824" y="655"/>
                  <a:pt x="2824" y="655"/>
                </a:cubicBezTo>
                <a:cubicBezTo>
                  <a:pt x="2824" y="654"/>
                  <a:pt x="2824" y="654"/>
                  <a:pt x="2824" y="654"/>
                </a:cubicBezTo>
                <a:cubicBezTo>
                  <a:pt x="2822" y="652"/>
                  <a:pt x="2822" y="652"/>
                  <a:pt x="2822" y="652"/>
                </a:cubicBezTo>
                <a:cubicBezTo>
                  <a:pt x="2823" y="650"/>
                  <a:pt x="2823" y="650"/>
                  <a:pt x="2823" y="650"/>
                </a:cubicBezTo>
                <a:cubicBezTo>
                  <a:pt x="2824" y="647"/>
                  <a:pt x="2824" y="647"/>
                  <a:pt x="2824" y="647"/>
                </a:cubicBezTo>
                <a:cubicBezTo>
                  <a:pt x="2826" y="645"/>
                  <a:pt x="2826" y="645"/>
                  <a:pt x="2826" y="645"/>
                </a:cubicBezTo>
                <a:cubicBezTo>
                  <a:pt x="2827" y="644"/>
                  <a:pt x="2827" y="644"/>
                  <a:pt x="2827" y="644"/>
                </a:cubicBezTo>
                <a:lnTo>
                  <a:pt x="2829" y="645"/>
                </a:lnTo>
                <a:close/>
                <a:moveTo>
                  <a:pt x="2719" y="1139"/>
                </a:moveTo>
                <a:cubicBezTo>
                  <a:pt x="2721" y="1139"/>
                  <a:pt x="2721" y="1139"/>
                  <a:pt x="2721" y="1139"/>
                </a:cubicBezTo>
                <a:cubicBezTo>
                  <a:pt x="2723" y="1141"/>
                  <a:pt x="2723" y="1141"/>
                  <a:pt x="2723" y="1141"/>
                </a:cubicBezTo>
                <a:cubicBezTo>
                  <a:pt x="2725" y="1141"/>
                  <a:pt x="2725" y="1141"/>
                  <a:pt x="2725" y="1141"/>
                </a:cubicBezTo>
                <a:cubicBezTo>
                  <a:pt x="2726" y="1144"/>
                  <a:pt x="2726" y="1144"/>
                  <a:pt x="2726" y="1144"/>
                </a:cubicBezTo>
                <a:cubicBezTo>
                  <a:pt x="2729" y="1145"/>
                  <a:pt x="2729" y="1145"/>
                  <a:pt x="2729" y="1145"/>
                </a:cubicBezTo>
                <a:cubicBezTo>
                  <a:pt x="2732" y="1144"/>
                  <a:pt x="2732" y="1144"/>
                  <a:pt x="2732" y="1144"/>
                </a:cubicBezTo>
                <a:cubicBezTo>
                  <a:pt x="2734" y="1143"/>
                  <a:pt x="2734" y="1143"/>
                  <a:pt x="2734" y="1143"/>
                </a:cubicBezTo>
                <a:cubicBezTo>
                  <a:pt x="2734" y="1142"/>
                  <a:pt x="2734" y="1142"/>
                  <a:pt x="2734" y="1142"/>
                </a:cubicBezTo>
                <a:cubicBezTo>
                  <a:pt x="2732" y="1140"/>
                  <a:pt x="2732" y="1140"/>
                  <a:pt x="2732" y="1140"/>
                </a:cubicBezTo>
                <a:cubicBezTo>
                  <a:pt x="2731" y="1137"/>
                  <a:pt x="2731" y="1137"/>
                  <a:pt x="2731" y="1137"/>
                </a:cubicBezTo>
                <a:cubicBezTo>
                  <a:pt x="2729" y="1137"/>
                  <a:pt x="2729" y="1137"/>
                  <a:pt x="2729" y="1137"/>
                </a:cubicBezTo>
                <a:cubicBezTo>
                  <a:pt x="2728" y="1136"/>
                  <a:pt x="2728" y="1136"/>
                  <a:pt x="2728" y="1136"/>
                </a:cubicBezTo>
                <a:cubicBezTo>
                  <a:pt x="2726" y="1134"/>
                  <a:pt x="2726" y="1134"/>
                  <a:pt x="2726" y="1134"/>
                </a:cubicBezTo>
                <a:cubicBezTo>
                  <a:pt x="2724" y="1136"/>
                  <a:pt x="2724" y="1136"/>
                  <a:pt x="2724" y="1136"/>
                </a:cubicBezTo>
                <a:cubicBezTo>
                  <a:pt x="2722" y="1136"/>
                  <a:pt x="2722" y="1136"/>
                  <a:pt x="2722" y="1136"/>
                </a:cubicBezTo>
                <a:cubicBezTo>
                  <a:pt x="2719" y="1133"/>
                  <a:pt x="2719" y="1133"/>
                  <a:pt x="2719" y="1133"/>
                </a:cubicBezTo>
                <a:cubicBezTo>
                  <a:pt x="2715" y="1136"/>
                  <a:pt x="2715" y="1136"/>
                  <a:pt x="2715" y="1136"/>
                </a:cubicBezTo>
                <a:cubicBezTo>
                  <a:pt x="2715" y="1137"/>
                  <a:pt x="2715" y="1137"/>
                  <a:pt x="2715" y="1137"/>
                </a:cubicBezTo>
                <a:cubicBezTo>
                  <a:pt x="2716" y="1139"/>
                  <a:pt x="2716" y="1139"/>
                  <a:pt x="2716" y="1139"/>
                </a:cubicBezTo>
                <a:lnTo>
                  <a:pt x="2719" y="1139"/>
                </a:lnTo>
                <a:close/>
                <a:moveTo>
                  <a:pt x="2833" y="633"/>
                </a:moveTo>
                <a:cubicBezTo>
                  <a:pt x="2833" y="632"/>
                  <a:pt x="2833" y="632"/>
                  <a:pt x="2833" y="632"/>
                </a:cubicBezTo>
                <a:cubicBezTo>
                  <a:pt x="2831" y="632"/>
                  <a:pt x="2831" y="632"/>
                  <a:pt x="2831" y="632"/>
                </a:cubicBezTo>
                <a:cubicBezTo>
                  <a:pt x="2830" y="634"/>
                  <a:pt x="2830" y="634"/>
                  <a:pt x="2830" y="634"/>
                </a:cubicBezTo>
                <a:cubicBezTo>
                  <a:pt x="2831" y="634"/>
                  <a:pt x="2831" y="634"/>
                  <a:pt x="2831" y="634"/>
                </a:cubicBezTo>
                <a:lnTo>
                  <a:pt x="2833" y="633"/>
                </a:lnTo>
                <a:close/>
                <a:moveTo>
                  <a:pt x="2810" y="685"/>
                </a:moveTo>
                <a:cubicBezTo>
                  <a:pt x="2810" y="683"/>
                  <a:pt x="2810" y="683"/>
                  <a:pt x="2810" y="683"/>
                </a:cubicBezTo>
                <a:cubicBezTo>
                  <a:pt x="2809" y="682"/>
                  <a:pt x="2809" y="682"/>
                  <a:pt x="2809" y="682"/>
                </a:cubicBezTo>
                <a:cubicBezTo>
                  <a:pt x="2809" y="684"/>
                  <a:pt x="2809" y="684"/>
                  <a:pt x="2809" y="684"/>
                </a:cubicBezTo>
                <a:cubicBezTo>
                  <a:pt x="2809" y="687"/>
                  <a:pt x="2809" y="687"/>
                  <a:pt x="2809" y="687"/>
                </a:cubicBezTo>
                <a:cubicBezTo>
                  <a:pt x="2810" y="687"/>
                  <a:pt x="2810" y="687"/>
                  <a:pt x="2810" y="687"/>
                </a:cubicBezTo>
                <a:lnTo>
                  <a:pt x="2810" y="685"/>
                </a:lnTo>
                <a:close/>
                <a:moveTo>
                  <a:pt x="2803" y="1044"/>
                </a:moveTo>
                <a:cubicBezTo>
                  <a:pt x="2802" y="1044"/>
                  <a:pt x="2802" y="1044"/>
                  <a:pt x="2802" y="1044"/>
                </a:cubicBezTo>
                <a:cubicBezTo>
                  <a:pt x="2801" y="1045"/>
                  <a:pt x="2801" y="1045"/>
                  <a:pt x="2801" y="1045"/>
                </a:cubicBezTo>
                <a:cubicBezTo>
                  <a:pt x="2803" y="1046"/>
                  <a:pt x="2803" y="1046"/>
                  <a:pt x="2803" y="1046"/>
                </a:cubicBezTo>
                <a:lnTo>
                  <a:pt x="2803" y="1044"/>
                </a:lnTo>
                <a:close/>
                <a:moveTo>
                  <a:pt x="2818" y="1026"/>
                </a:moveTo>
                <a:cubicBezTo>
                  <a:pt x="2819" y="1022"/>
                  <a:pt x="2819" y="1022"/>
                  <a:pt x="2819" y="1022"/>
                </a:cubicBezTo>
                <a:cubicBezTo>
                  <a:pt x="2819" y="1021"/>
                  <a:pt x="2819" y="1021"/>
                  <a:pt x="2819" y="1021"/>
                </a:cubicBezTo>
                <a:cubicBezTo>
                  <a:pt x="2818" y="1019"/>
                  <a:pt x="2818" y="1019"/>
                  <a:pt x="2818" y="1019"/>
                </a:cubicBezTo>
                <a:cubicBezTo>
                  <a:pt x="2815" y="1021"/>
                  <a:pt x="2815" y="1021"/>
                  <a:pt x="2815" y="1021"/>
                </a:cubicBezTo>
                <a:cubicBezTo>
                  <a:pt x="2812" y="1022"/>
                  <a:pt x="2812" y="1022"/>
                  <a:pt x="2812" y="1022"/>
                </a:cubicBezTo>
                <a:cubicBezTo>
                  <a:pt x="2812" y="1024"/>
                  <a:pt x="2812" y="1024"/>
                  <a:pt x="2812" y="1024"/>
                </a:cubicBezTo>
                <a:cubicBezTo>
                  <a:pt x="2813" y="1024"/>
                  <a:pt x="2813" y="1024"/>
                  <a:pt x="2813" y="1024"/>
                </a:cubicBezTo>
                <a:cubicBezTo>
                  <a:pt x="2812" y="1025"/>
                  <a:pt x="2812" y="1025"/>
                  <a:pt x="2812" y="1025"/>
                </a:cubicBezTo>
                <a:cubicBezTo>
                  <a:pt x="2810" y="1025"/>
                  <a:pt x="2810" y="1025"/>
                  <a:pt x="2810" y="1025"/>
                </a:cubicBezTo>
                <a:cubicBezTo>
                  <a:pt x="2809" y="1027"/>
                  <a:pt x="2809" y="1027"/>
                  <a:pt x="2809" y="1027"/>
                </a:cubicBezTo>
                <a:cubicBezTo>
                  <a:pt x="2808" y="1027"/>
                  <a:pt x="2808" y="1027"/>
                  <a:pt x="2808" y="1027"/>
                </a:cubicBezTo>
                <a:cubicBezTo>
                  <a:pt x="2807" y="1026"/>
                  <a:pt x="2807" y="1026"/>
                  <a:pt x="2807" y="1026"/>
                </a:cubicBezTo>
                <a:cubicBezTo>
                  <a:pt x="2809" y="1024"/>
                  <a:pt x="2809" y="1024"/>
                  <a:pt x="2809" y="1024"/>
                </a:cubicBezTo>
                <a:cubicBezTo>
                  <a:pt x="2810" y="1024"/>
                  <a:pt x="2810" y="1024"/>
                  <a:pt x="2810" y="1024"/>
                </a:cubicBezTo>
                <a:cubicBezTo>
                  <a:pt x="2811" y="1021"/>
                  <a:pt x="2811" y="1021"/>
                  <a:pt x="2811" y="1021"/>
                </a:cubicBezTo>
                <a:cubicBezTo>
                  <a:pt x="2811" y="1018"/>
                  <a:pt x="2811" y="1018"/>
                  <a:pt x="2811" y="1018"/>
                </a:cubicBezTo>
                <a:cubicBezTo>
                  <a:pt x="2809" y="1018"/>
                  <a:pt x="2809" y="1018"/>
                  <a:pt x="2809" y="1018"/>
                </a:cubicBezTo>
                <a:cubicBezTo>
                  <a:pt x="2809" y="1017"/>
                  <a:pt x="2809" y="1017"/>
                  <a:pt x="2809" y="1017"/>
                </a:cubicBezTo>
                <a:cubicBezTo>
                  <a:pt x="2811" y="1015"/>
                  <a:pt x="2811" y="1015"/>
                  <a:pt x="2811" y="1015"/>
                </a:cubicBezTo>
                <a:cubicBezTo>
                  <a:pt x="2811" y="1013"/>
                  <a:pt x="2811" y="1013"/>
                  <a:pt x="2811" y="1013"/>
                </a:cubicBezTo>
                <a:cubicBezTo>
                  <a:pt x="2810" y="1014"/>
                  <a:pt x="2810" y="1014"/>
                  <a:pt x="2810" y="1014"/>
                </a:cubicBezTo>
                <a:cubicBezTo>
                  <a:pt x="2807" y="1017"/>
                  <a:pt x="2807" y="1017"/>
                  <a:pt x="2807" y="1017"/>
                </a:cubicBezTo>
                <a:cubicBezTo>
                  <a:pt x="2806" y="1019"/>
                  <a:pt x="2806" y="1019"/>
                  <a:pt x="2806" y="1019"/>
                </a:cubicBezTo>
                <a:cubicBezTo>
                  <a:pt x="2806" y="1022"/>
                  <a:pt x="2806" y="1022"/>
                  <a:pt x="2806" y="1022"/>
                </a:cubicBezTo>
                <a:cubicBezTo>
                  <a:pt x="2805" y="1023"/>
                  <a:pt x="2805" y="1023"/>
                  <a:pt x="2805" y="1023"/>
                </a:cubicBezTo>
                <a:cubicBezTo>
                  <a:pt x="2804" y="1025"/>
                  <a:pt x="2804" y="1025"/>
                  <a:pt x="2804" y="1025"/>
                </a:cubicBezTo>
                <a:cubicBezTo>
                  <a:pt x="2805" y="1027"/>
                  <a:pt x="2805" y="1027"/>
                  <a:pt x="2805" y="1027"/>
                </a:cubicBezTo>
                <a:cubicBezTo>
                  <a:pt x="2807" y="1029"/>
                  <a:pt x="2807" y="1029"/>
                  <a:pt x="2807" y="1029"/>
                </a:cubicBezTo>
                <a:cubicBezTo>
                  <a:pt x="2806" y="1030"/>
                  <a:pt x="2806" y="1030"/>
                  <a:pt x="2806" y="1030"/>
                </a:cubicBezTo>
                <a:cubicBezTo>
                  <a:pt x="2805" y="1032"/>
                  <a:pt x="2805" y="1032"/>
                  <a:pt x="2805" y="1032"/>
                </a:cubicBezTo>
                <a:cubicBezTo>
                  <a:pt x="2807" y="1034"/>
                  <a:pt x="2807" y="1034"/>
                  <a:pt x="2807" y="1034"/>
                </a:cubicBezTo>
                <a:cubicBezTo>
                  <a:pt x="2807" y="1035"/>
                  <a:pt x="2807" y="1035"/>
                  <a:pt x="2807" y="1035"/>
                </a:cubicBezTo>
                <a:cubicBezTo>
                  <a:pt x="2808" y="1036"/>
                  <a:pt x="2808" y="1036"/>
                  <a:pt x="2808" y="1036"/>
                </a:cubicBezTo>
                <a:cubicBezTo>
                  <a:pt x="2807" y="1038"/>
                  <a:pt x="2807" y="1038"/>
                  <a:pt x="2807" y="1038"/>
                </a:cubicBezTo>
                <a:cubicBezTo>
                  <a:pt x="2808" y="1041"/>
                  <a:pt x="2808" y="1041"/>
                  <a:pt x="2808" y="1041"/>
                </a:cubicBezTo>
                <a:cubicBezTo>
                  <a:pt x="2810" y="1042"/>
                  <a:pt x="2810" y="1042"/>
                  <a:pt x="2810" y="1042"/>
                </a:cubicBezTo>
                <a:cubicBezTo>
                  <a:pt x="2812" y="1045"/>
                  <a:pt x="2812" y="1045"/>
                  <a:pt x="2812" y="1045"/>
                </a:cubicBezTo>
                <a:cubicBezTo>
                  <a:pt x="2813" y="1046"/>
                  <a:pt x="2813" y="1046"/>
                  <a:pt x="2813" y="1046"/>
                </a:cubicBezTo>
                <a:cubicBezTo>
                  <a:pt x="2814" y="1048"/>
                  <a:pt x="2814" y="1048"/>
                  <a:pt x="2814" y="1048"/>
                </a:cubicBezTo>
                <a:cubicBezTo>
                  <a:pt x="2814" y="1046"/>
                  <a:pt x="2814" y="1046"/>
                  <a:pt x="2814" y="1046"/>
                </a:cubicBezTo>
                <a:cubicBezTo>
                  <a:pt x="2815" y="1046"/>
                  <a:pt x="2815" y="1046"/>
                  <a:pt x="2815" y="1046"/>
                </a:cubicBezTo>
                <a:cubicBezTo>
                  <a:pt x="2814" y="1045"/>
                  <a:pt x="2814" y="1045"/>
                  <a:pt x="2814" y="1045"/>
                </a:cubicBezTo>
                <a:cubicBezTo>
                  <a:pt x="2812" y="1043"/>
                  <a:pt x="2812" y="1043"/>
                  <a:pt x="2812" y="1043"/>
                </a:cubicBezTo>
                <a:cubicBezTo>
                  <a:pt x="2811" y="1040"/>
                  <a:pt x="2811" y="1040"/>
                  <a:pt x="2811" y="1040"/>
                </a:cubicBezTo>
                <a:cubicBezTo>
                  <a:pt x="2809" y="1037"/>
                  <a:pt x="2809" y="1037"/>
                  <a:pt x="2809" y="1037"/>
                </a:cubicBezTo>
                <a:cubicBezTo>
                  <a:pt x="2809" y="1033"/>
                  <a:pt x="2809" y="1033"/>
                  <a:pt x="2809" y="1033"/>
                </a:cubicBezTo>
                <a:cubicBezTo>
                  <a:pt x="2811" y="1032"/>
                  <a:pt x="2811" y="1032"/>
                  <a:pt x="2811" y="1032"/>
                </a:cubicBezTo>
                <a:cubicBezTo>
                  <a:pt x="2813" y="1033"/>
                  <a:pt x="2813" y="1033"/>
                  <a:pt x="2813" y="1033"/>
                </a:cubicBezTo>
                <a:cubicBezTo>
                  <a:pt x="2816" y="1033"/>
                  <a:pt x="2816" y="1033"/>
                  <a:pt x="2816" y="1033"/>
                </a:cubicBezTo>
                <a:cubicBezTo>
                  <a:pt x="2817" y="1034"/>
                  <a:pt x="2817" y="1034"/>
                  <a:pt x="2817" y="1034"/>
                </a:cubicBezTo>
                <a:cubicBezTo>
                  <a:pt x="2819" y="1034"/>
                  <a:pt x="2819" y="1034"/>
                  <a:pt x="2819" y="1034"/>
                </a:cubicBezTo>
                <a:cubicBezTo>
                  <a:pt x="2818" y="1033"/>
                  <a:pt x="2818" y="1033"/>
                  <a:pt x="2818" y="1033"/>
                </a:cubicBezTo>
                <a:cubicBezTo>
                  <a:pt x="2818" y="1032"/>
                  <a:pt x="2818" y="1032"/>
                  <a:pt x="2818" y="1032"/>
                </a:cubicBezTo>
                <a:cubicBezTo>
                  <a:pt x="2815" y="1030"/>
                  <a:pt x="2815" y="1030"/>
                  <a:pt x="2815" y="1030"/>
                </a:cubicBezTo>
                <a:cubicBezTo>
                  <a:pt x="2814" y="1030"/>
                  <a:pt x="2814" y="1030"/>
                  <a:pt x="2814" y="1030"/>
                </a:cubicBezTo>
                <a:cubicBezTo>
                  <a:pt x="2813" y="1028"/>
                  <a:pt x="2813" y="1028"/>
                  <a:pt x="2813" y="1028"/>
                </a:cubicBezTo>
                <a:cubicBezTo>
                  <a:pt x="2814" y="1027"/>
                  <a:pt x="2814" y="1027"/>
                  <a:pt x="2814" y="1027"/>
                </a:cubicBezTo>
                <a:lnTo>
                  <a:pt x="2818" y="1026"/>
                </a:lnTo>
                <a:close/>
                <a:moveTo>
                  <a:pt x="2802" y="1114"/>
                </a:moveTo>
                <a:cubicBezTo>
                  <a:pt x="2801" y="1115"/>
                  <a:pt x="2801" y="1115"/>
                  <a:pt x="2801" y="1115"/>
                </a:cubicBezTo>
                <a:cubicBezTo>
                  <a:pt x="2801" y="1116"/>
                  <a:pt x="2801" y="1116"/>
                  <a:pt x="2801" y="1116"/>
                </a:cubicBezTo>
                <a:cubicBezTo>
                  <a:pt x="2803" y="1115"/>
                  <a:pt x="2803" y="1115"/>
                  <a:pt x="2803" y="1115"/>
                </a:cubicBezTo>
                <a:lnTo>
                  <a:pt x="2802" y="1114"/>
                </a:lnTo>
                <a:close/>
                <a:moveTo>
                  <a:pt x="2805" y="1122"/>
                </a:moveTo>
                <a:cubicBezTo>
                  <a:pt x="2803" y="1123"/>
                  <a:pt x="2803" y="1123"/>
                  <a:pt x="2803" y="1123"/>
                </a:cubicBezTo>
                <a:cubicBezTo>
                  <a:pt x="2805" y="1123"/>
                  <a:pt x="2805" y="1123"/>
                  <a:pt x="2805" y="1123"/>
                </a:cubicBezTo>
                <a:lnTo>
                  <a:pt x="2805" y="1122"/>
                </a:lnTo>
                <a:close/>
                <a:moveTo>
                  <a:pt x="2745" y="1041"/>
                </a:moveTo>
                <a:cubicBezTo>
                  <a:pt x="2746" y="1042"/>
                  <a:pt x="2746" y="1042"/>
                  <a:pt x="2746" y="1042"/>
                </a:cubicBezTo>
                <a:cubicBezTo>
                  <a:pt x="2748" y="1042"/>
                  <a:pt x="2748" y="1042"/>
                  <a:pt x="2748" y="1042"/>
                </a:cubicBezTo>
                <a:cubicBezTo>
                  <a:pt x="2746" y="1041"/>
                  <a:pt x="2746" y="1041"/>
                  <a:pt x="2746" y="1041"/>
                </a:cubicBezTo>
                <a:lnTo>
                  <a:pt x="2745" y="1041"/>
                </a:lnTo>
                <a:close/>
                <a:moveTo>
                  <a:pt x="2761" y="1058"/>
                </a:moveTo>
                <a:cubicBezTo>
                  <a:pt x="2761" y="1058"/>
                  <a:pt x="2761" y="1056"/>
                  <a:pt x="2761" y="1056"/>
                </a:cubicBezTo>
                <a:cubicBezTo>
                  <a:pt x="2760" y="1057"/>
                  <a:pt x="2760" y="1057"/>
                  <a:pt x="2760" y="1057"/>
                </a:cubicBezTo>
                <a:lnTo>
                  <a:pt x="2761" y="1058"/>
                </a:lnTo>
                <a:close/>
                <a:moveTo>
                  <a:pt x="2766" y="1055"/>
                </a:moveTo>
                <a:cubicBezTo>
                  <a:pt x="2766" y="1053"/>
                  <a:pt x="2766" y="1053"/>
                  <a:pt x="2766" y="1053"/>
                </a:cubicBezTo>
                <a:cubicBezTo>
                  <a:pt x="2765" y="1054"/>
                  <a:pt x="2765" y="1054"/>
                  <a:pt x="2765" y="1054"/>
                </a:cubicBezTo>
                <a:lnTo>
                  <a:pt x="2766" y="1055"/>
                </a:lnTo>
                <a:close/>
                <a:moveTo>
                  <a:pt x="2763" y="1052"/>
                </a:moveTo>
                <a:cubicBezTo>
                  <a:pt x="2763" y="1053"/>
                  <a:pt x="2763" y="1053"/>
                  <a:pt x="2763" y="1053"/>
                </a:cubicBezTo>
                <a:cubicBezTo>
                  <a:pt x="2765" y="1053"/>
                  <a:pt x="2765" y="1053"/>
                  <a:pt x="2765" y="1053"/>
                </a:cubicBezTo>
                <a:cubicBezTo>
                  <a:pt x="2766" y="1051"/>
                  <a:pt x="2766" y="1051"/>
                  <a:pt x="2766" y="1051"/>
                </a:cubicBezTo>
                <a:cubicBezTo>
                  <a:pt x="2764" y="1050"/>
                  <a:pt x="2764" y="1050"/>
                  <a:pt x="2764" y="1050"/>
                </a:cubicBezTo>
                <a:cubicBezTo>
                  <a:pt x="2763" y="1051"/>
                  <a:pt x="2763" y="1051"/>
                  <a:pt x="2763" y="1051"/>
                </a:cubicBezTo>
                <a:cubicBezTo>
                  <a:pt x="2762" y="1052"/>
                  <a:pt x="2762" y="1052"/>
                  <a:pt x="2762" y="1052"/>
                </a:cubicBezTo>
                <a:cubicBezTo>
                  <a:pt x="2763" y="1050"/>
                  <a:pt x="2763" y="1050"/>
                  <a:pt x="2763" y="1050"/>
                </a:cubicBezTo>
                <a:cubicBezTo>
                  <a:pt x="2762" y="1050"/>
                  <a:pt x="2762" y="1050"/>
                  <a:pt x="2762" y="1050"/>
                </a:cubicBezTo>
                <a:cubicBezTo>
                  <a:pt x="2760" y="1049"/>
                  <a:pt x="2760" y="1049"/>
                  <a:pt x="2760" y="1049"/>
                </a:cubicBezTo>
                <a:cubicBezTo>
                  <a:pt x="2757" y="1051"/>
                  <a:pt x="2757" y="1051"/>
                  <a:pt x="2757" y="1051"/>
                </a:cubicBezTo>
                <a:cubicBezTo>
                  <a:pt x="2757" y="1053"/>
                  <a:pt x="2757" y="1053"/>
                  <a:pt x="2757" y="1053"/>
                </a:cubicBezTo>
                <a:cubicBezTo>
                  <a:pt x="2759" y="1054"/>
                  <a:pt x="2759" y="1054"/>
                  <a:pt x="2759" y="1054"/>
                </a:cubicBezTo>
                <a:cubicBezTo>
                  <a:pt x="2760" y="1053"/>
                  <a:pt x="2760" y="1053"/>
                  <a:pt x="2760" y="1053"/>
                </a:cubicBezTo>
                <a:cubicBezTo>
                  <a:pt x="2762" y="1054"/>
                  <a:pt x="2762" y="1054"/>
                  <a:pt x="2762" y="1054"/>
                </a:cubicBezTo>
                <a:lnTo>
                  <a:pt x="2763" y="1052"/>
                </a:lnTo>
                <a:close/>
                <a:moveTo>
                  <a:pt x="2781" y="1056"/>
                </a:moveTo>
                <a:cubicBezTo>
                  <a:pt x="2783" y="1057"/>
                  <a:pt x="2783" y="1057"/>
                  <a:pt x="2783" y="1057"/>
                </a:cubicBezTo>
                <a:cubicBezTo>
                  <a:pt x="2783" y="1055"/>
                  <a:pt x="2783" y="1055"/>
                  <a:pt x="2783" y="1055"/>
                </a:cubicBezTo>
                <a:cubicBezTo>
                  <a:pt x="2781" y="1054"/>
                  <a:pt x="2781" y="1054"/>
                  <a:pt x="2781" y="1054"/>
                </a:cubicBezTo>
                <a:cubicBezTo>
                  <a:pt x="2780" y="1055"/>
                  <a:pt x="2780" y="1055"/>
                  <a:pt x="2780" y="1055"/>
                </a:cubicBezTo>
                <a:cubicBezTo>
                  <a:pt x="2779" y="1055"/>
                  <a:pt x="2779" y="1055"/>
                  <a:pt x="2779" y="1055"/>
                </a:cubicBezTo>
                <a:cubicBezTo>
                  <a:pt x="2777" y="1054"/>
                  <a:pt x="2777" y="1054"/>
                  <a:pt x="2777" y="1054"/>
                </a:cubicBezTo>
                <a:cubicBezTo>
                  <a:pt x="2775" y="1055"/>
                  <a:pt x="2775" y="1055"/>
                  <a:pt x="2775" y="1055"/>
                </a:cubicBezTo>
                <a:cubicBezTo>
                  <a:pt x="2775" y="1054"/>
                  <a:pt x="2775" y="1054"/>
                  <a:pt x="2775" y="1054"/>
                </a:cubicBezTo>
                <a:cubicBezTo>
                  <a:pt x="2773" y="1056"/>
                  <a:pt x="2773" y="1056"/>
                  <a:pt x="2773" y="1056"/>
                </a:cubicBezTo>
                <a:cubicBezTo>
                  <a:pt x="2773" y="1057"/>
                  <a:pt x="2773" y="1057"/>
                  <a:pt x="2773" y="1057"/>
                </a:cubicBezTo>
                <a:cubicBezTo>
                  <a:pt x="2774" y="1058"/>
                  <a:pt x="2774" y="1058"/>
                  <a:pt x="2774" y="1058"/>
                </a:cubicBezTo>
                <a:cubicBezTo>
                  <a:pt x="2776" y="1058"/>
                  <a:pt x="2776" y="1058"/>
                  <a:pt x="2776" y="1058"/>
                </a:cubicBezTo>
                <a:cubicBezTo>
                  <a:pt x="2778" y="1057"/>
                  <a:pt x="2778" y="1057"/>
                  <a:pt x="2778" y="1057"/>
                </a:cubicBezTo>
                <a:cubicBezTo>
                  <a:pt x="2779" y="1057"/>
                  <a:pt x="2779" y="1057"/>
                  <a:pt x="2779" y="1057"/>
                </a:cubicBezTo>
                <a:lnTo>
                  <a:pt x="2781" y="1056"/>
                </a:lnTo>
                <a:close/>
                <a:moveTo>
                  <a:pt x="2762" y="1056"/>
                </a:moveTo>
                <a:cubicBezTo>
                  <a:pt x="2764" y="1056"/>
                  <a:pt x="2764" y="1056"/>
                  <a:pt x="2764" y="1056"/>
                </a:cubicBezTo>
                <a:cubicBezTo>
                  <a:pt x="2763" y="1055"/>
                  <a:pt x="2763" y="1055"/>
                  <a:pt x="2763" y="1055"/>
                </a:cubicBezTo>
                <a:lnTo>
                  <a:pt x="2762" y="1056"/>
                </a:lnTo>
                <a:close/>
                <a:moveTo>
                  <a:pt x="2761" y="1127"/>
                </a:moveTo>
                <a:cubicBezTo>
                  <a:pt x="2763" y="1127"/>
                  <a:pt x="2763" y="1127"/>
                  <a:pt x="2763" y="1127"/>
                </a:cubicBezTo>
                <a:cubicBezTo>
                  <a:pt x="2764" y="1126"/>
                  <a:pt x="2764" y="1126"/>
                  <a:pt x="2764" y="1126"/>
                </a:cubicBezTo>
                <a:cubicBezTo>
                  <a:pt x="2766" y="1124"/>
                  <a:pt x="2766" y="1124"/>
                  <a:pt x="2766" y="1124"/>
                </a:cubicBezTo>
                <a:cubicBezTo>
                  <a:pt x="2766" y="1123"/>
                  <a:pt x="2766" y="1123"/>
                  <a:pt x="2766" y="1123"/>
                </a:cubicBezTo>
                <a:cubicBezTo>
                  <a:pt x="2764" y="1124"/>
                  <a:pt x="2764" y="1124"/>
                  <a:pt x="2764" y="1124"/>
                </a:cubicBezTo>
                <a:cubicBezTo>
                  <a:pt x="2763" y="1124"/>
                  <a:pt x="2763" y="1124"/>
                  <a:pt x="2763" y="1124"/>
                </a:cubicBezTo>
                <a:cubicBezTo>
                  <a:pt x="2762" y="1124"/>
                  <a:pt x="2762" y="1124"/>
                  <a:pt x="2762" y="1124"/>
                </a:cubicBezTo>
                <a:cubicBezTo>
                  <a:pt x="2762" y="1125"/>
                  <a:pt x="2762" y="1125"/>
                  <a:pt x="2762" y="1125"/>
                </a:cubicBezTo>
                <a:cubicBezTo>
                  <a:pt x="2760" y="1126"/>
                  <a:pt x="2760" y="1126"/>
                  <a:pt x="2760" y="1126"/>
                </a:cubicBezTo>
                <a:lnTo>
                  <a:pt x="2761" y="1127"/>
                </a:lnTo>
                <a:close/>
                <a:moveTo>
                  <a:pt x="2768" y="1125"/>
                </a:moveTo>
                <a:cubicBezTo>
                  <a:pt x="2767" y="1126"/>
                  <a:pt x="2767" y="1126"/>
                  <a:pt x="2767" y="1126"/>
                </a:cubicBezTo>
                <a:cubicBezTo>
                  <a:pt x="2768" y="1126"/>
                  <a:pt x="2768" y="1126"/>
                  <a:pt x="2768" y="1126"/>
                </a:cubicBezTo>
                <a:cubicBezTo>
                  <a:pt x="2769" y="1127"/>
                  <a:pt x="2769" y="1127"/>
                  <a:pt x="2769" y="1127"/>
                </a:cubicBezTo>
                <a:cubicBezTo>
                  <a:pt x="2771" y="1125"/>
                  <a:pt x="2771" y="1125"/>
                  <a:pt x="2771" y="1125"/>
                </a:cubicBezTo>
                <a:cubicBezTo>
                  <a:pt x="2770" y="1124"/>
                  <a:pt x="2770" y="1124"/>
                  <a:pt x="2770" y="1124"/>
                </a:cubicBezTo>
                <a:cubicBezTo>
                  <a:pt x="2769" y="1125"/>
                  <a:pt x="2769" y="1125"/>
                  <a:pt x="2769" y="1125"/>
                </a:cubicBezTo>
                <a:lnTo>
                  <a:pt x="2768" y="1125"/>
                </a:lnTo>
                <a:close/>
                <a:moveTo>
                  <a:pt x="2722" y="1129"/>
                </a:moveTo>
                <a:cubicBezTo>
                  <a:pt x="2723" y="1129"/>
                  <a:pt x="2723" y="1129"/>
                  <a:pt x="2723" y="1129"/>
                </a:cubicBezTo>
                <a:cubicBezTo>
                  <a:pt x="2723" y="1128"/>
                  <a:pt x="2723" y="1128"/>
                  <a:pt x="2723" y="1128"/>
                </a:cubicBezTo>
                <a:cubicBezTo>
                  <a:pt x="2723" y="1127"/>
                  <a:pt x="2723" y="1127"/>
                  <a:pt x="2723" y="1127"/>
                </a:cubicBezTo>
                <a:lnTo>
                  <a:pt x="2722" y="1129"/>
                </a:lnTo>
                <a:close/>
                <a:moveTo>
                  <a:pt x="2734" y="1100"/>
                </a:moveTo>
                <a:cubicBezTo>
                  <a:pt x="2733" y="1097"/>
                  <a:pt x="2733" y="1097"/>
                  <a:pt x="2733" y="1097"/>
                </a:cubicBezTo>
                <a:cubicBezTo>
                  <a:pt x="2732" y="1098"/>
                  <a:pt x="2732" y="1098"/>
                  <a:pt x="2732" y="1098"/>
                </a:cubicBezTo>
                <a:cubicBezTo>
                  <a:pt x="2732" y="1100"/>
                  <a:pt x="2732" y="1100"/>
                  <a:pt x="2732" y="1100"/>
                </a:cubicBezTo>
                <a:cubicBezTo>
                  <a:pt x="2731" y="1101"/>
                  <a:pt x="2731" y="1101"/>
                  <a:pt x="2731" y="1101"/>
                </a:cubicBezTo>
                <a:cubicBezTo>
                  <a:pt x="2732" y="1102"/>
                  <a:pt x="2732" y="1102"/>
                  <a:pt x="2732" y="1102"/>
                </a:cubicBezTo>
                <a:cubicBezTo>
                  <a:pt x="2733" y="1104"/>
                  <a:pt x="2733" y="1104"/>
                  <a:pt x="2733" y="1104"/>
                </a:cubicBezTo>
                <a:cubicBezTo>
                  <a:pt x="2733" y="1102"/>
                  <a:pt x="2733" y="1102"/>
                  <a:pt x="2733" y="1102"/>
                </a:cubicBezTo>
                <a:lnTo>
                  <a:pt x="2734" y="1100"/>
                </a:lnTo>
                <a:close/>
                <a:moveTo>
                  <a:pt x="2748" y="1040"/>
                </a:moveTo>
                <a:cubicBezTo>
                  <a:pt x="2748" y="1040"/>
                  <a:pt x="2747" y="1041"/>
                  <a:pt x="2747" y="1041"/>
                </a:cubicBezTo>
                <a:cubicBezTo>
                  <a:pt x="2748" y="1041"/>
                  <a:pt x="2748" y="1041"/>
                  <a:pt x="2748" y="1041"/>
                </a:cubicBezTo>
                <a:lnTo>
                  <a:pt x="2748" y="1040"/>
                </a:lnTo>
                <a:close/>
                <a:moveTo>
                  <a:pt x="2735" y="1111"/>
                </a:moveTo>
                <a:cubicBezTo>
                  <a:pt x="2733" y="1110"/>
                  <a:pt x="2733" y="1110"/>
                  <a:pt x="2733" y="1110"/>
                </a:cubicBezTo>
                <a:cubicBezTo>
                  <a:pt x="2733" y="1111"/>
                  <a:pt x="2733" y="1111"/>
                  <a:pt x="2733" y="1111"/>
                </a:cubicBezTo>
                <a:cubicBezTo>
                  <a:pt x="2734" y="1112"/>
                  <a:pt x="2734" y="1112"/>
                  <a:pt x="2734" y="1112"/>
                </a:cubicBezTo>
                <a:lnTo>
                  <a:pt x="2735" y="1111"/>
                </a:lnTo>
                <a:close/>
                <a:moveTo>
                  <a:pt x="2719" y="1128"/>
                </a:moveTo>
                <a:cubicBezTo>
                  <a:pt x="2720" y="1129"/>
                  <a:pt x="2720" y="1129"/>
                  <a:pt x="2720" y="1129"/>
                </a:cubicBezTo>
                <a:cubicBezTo>
                  <a:pt x="2721" y="1127"/>
                  <a:pt x="2721" y="1127"/>
                  <a:pt x="2721" y="1127"/>
                </a:cubicBezTo>
                <a:cubicBezTo>
                  <a:pt x="2722" y="1126"/>
                  <a:pt x="2722" y="1126"/>
                  <a:pt x="2722" y="1126"/>
                </a:cubicBezTo>
                <a:cubicBezTo>
                  <a:pt x="2720" y="1125"/>
                  <a:pt x="2720" y="1125"/>
                  <a:pt x="2720" y="1125"/>
                </a:cubicBezTo>
                <a:lnTo>
                  <a:pt x="2719" y="1128"/>
                </a:lnTo>
                <a:close/>
                <a:moveTo>
                  <a:pt x="2838" y="631"/>
                </a:moveTo>
                <a:cubicBezTo>
                  <a:pt x="2837" y="631"/>
                  <a:pt x="2837" y="631"/>
                  <a:pt x="2837" y="631"/>
                </a:cubicBezTo>
                <a:cubicBezTo>
                  <a:pt x="2836" y="632"/>
                  <a:pt x="2836" y="632"/>
                  <a:pt x="2836" y="632"/>
                </a:cubicBezTo>
                <a:cubicBezTo>
                  <a:pt x="2836" y="633"/>
                  <a:pt x="2836" y="633"/>
                  <a:pt x="2836" y="633"/>
                </a:cubicBezTo>
                <a:cubicBezTo>
                  <a:pt x="2837" y="636"/>
                  <a:pt x="2837" y="636"/>
                  <a:pt x="2837" y="636"/>
                </a:cubicBezTo>
                <a:cubicBezTo>
                  <a:pt x="2838" y="635"/>
                  <a:pt x="2838" y="635"/>
                  <a:pt x="2838" y="635"/>
                </a:cubicBezTo>
                <a:cubicBezTo>
                  <a:pt x="2838" y="634"/>
                  <a:pt x="2838" y="634"/>
                  <a:pt x="2838" y="634"/>
                </a:cubicBezTo>
                <a:cubicBezTo>
                  <a:pt x="2838" y="633"/>
                  <a:pt x="2838" y="633"/>
                  <a:pt x="2838" y="633"/>
                </a:cubicBezTo>
                <a:cubicBezTo>
                  <a:pt x="2838" y="632"/>
                  <a:pt x="2838" y="632"/>
                  <a:pt x="2838" y="632"/>
                </a:cubicBezTo>
                <a:lnTo>
                  <a:pt x="2838" y="631"/>
                </a:lnTo>
                <a:close/>
                <a:moveTo>
                  <a:pt x="2746" y="1090"/>
                </a:moveTo>
                <a:cubicBezTo>
                  <a:pt x="2746" y="1091"/>
                  <a:pt x="2746" y="1091"/>
                  <a:pt x="2746" y="1091"/>
                </a:cubicBezTo>
                <a:cubicBezTo>
                  <a:pt x="2746" y="1091"/>
                  <a:pt x="2746" y="1091"/>
                  <a:pt x="2746" y="1091"/>
                </a:cubicBezTo>
                <a:cubicBezTo>
                  <a:pt x="2746" y="1094"/>
                  <a:pt x="2746" y="1094"/>
                  <a:pt x="2746" y="1094"/>
                </a:cubicBezTo>
                <a:cubicBezTo>
                  <a:pt x="2747" y="1094"/>
                  <a:pt x="2747" y="1094"/>
                  <a:pt x="2747" y="1094"/>
                </a:cubicBezTo>
                <a:cubicBezTo>
                  <a:pt x="2749" y="1093"/>
                  <a:pt x="2749" y="1093"/>
                  <a:pt x="2749" y="1093"/>
                </a:cubicBezTo>
                <a:cubicBezTo>
                  <a:pt x="2748" y="1091"/>
                  <a:pt x="2748" y="1091"/>
                  <a:pt x="2748" y="1091"/>
                </a:cubicBezTo>
                <a:cubicBezTo>
                  <a:pt x="2747" y="1089"/>
                  <a:pt x="2747" y="1089"/>
                  <a:pt x="2747" y="1089"/>
                </a:cubicBezTo>
                <a:cubicBezTo>
                  <a:pt x="2747" y="1089"/>
                  <a:pt x="2746" y="1090"/>
                  <a:pt x="2746" y="1090"/>
                </a:cubicBezTo>
                <a:close/>
                <a:moveTo>
                  <a:pt x="2751" y="1092"/>
                </a:moveTo>
                <a:cubicBezTo>
                  <a:pt x="2752" y="1093"/>
                  <a:pt x="2752" y="1093"/>
                  <a:pt x="2752" y="1093"/>
                </a:cubicBezTo>
                <a:cubicBezTo>
                  <a:pt x="2753" y="1092"/>
                  <a:pt x="2753" y="1092"/>
                  <a:pt x="2753" y="1092"/>
                </a:cubicBezTo>
                <a:cubicBezTo>
                  <a:pt x="2754" y="1092"/>
                  <a:pt x="2754" y="1092"/>
                  <a:pt x="2754" y="1092"/>
                </a:cubicBezTo>
                <a:cubicBezTo>
                  <a:pt x="2754" y="1091"/>
                  <a:pt x="2754" y="1091"/>
                  <a:pt x="2754" y="1091"/>
                </a:cubicBezTo>
                <a:cubicBezTo>
                  <a:pt x="2755" y="1090"/>
                  <a:pt x="2755" y="1090"/>
                  <a:pt x="2755" y="1090"/>
                </a:cubicBezTo>
                <a:cubicBezTo>
                  <a:pt x="2756" y="1088"/>
                  <a:pt x="2756" y="1088"/>
                  <a:pt x="2756" y="1088"/>
                </a:cubicBezTo>
                <a:cubicBezTo>
                  <a:pt x="2756" y="1087"/>
                  <a:pt x="2756" y="1087"/>
                  <a:pt x="2756" y="1087"/>
                </a:cubicBezTo>
                <a:cubicBezTo>
                  <a:pt x="2755" y="1086"/>
                  <a:pt x="2755" y="1086"/>
                  <a:pt x="2755" y="1086"/>
                </a:cubicBezTo>
                <a:cubicBezTo>
                  <a:pt x="2753" y="1086"/>
                  <a:pt x="2753" y="1086"/>
                  <a:pt x="2753" y="1086"/>
                </a:cubicBezTo>
                <a:cubicBezTo>
                  <a:pt x="2752" y="1088"/>
                  <a:pt x="2752" y="1088"/>
                  <a:pt x="2752" y="1088"/>
                </a:cubicBezTo>
                <a:cubicBezTo>
                  <a:pt x="2753" y="1089"/>
                  <a:pt x="2753" y="1089"/>
                  <a:pt x="2753" y="1089"/>
                </a:cubicBezTo>
                <a:cubicBezTo>
                  <a:pt x="2751" y="1091"/>
                  <a:pt x="2751" y="1091"/>
                  <a:pt x="2751" y="1091"/>
                </a:cubicBezTo>
                <a:cubicBezTo>
                  <a:pt x="2751" y="1091"/>
                  <a:pt x="2751" y="1092"/>
                  <a:pt x="2751" y="1092"/>
                </a:cubicBezTo>
                <a:close/>
                <a:moveTo>
                  <a:pt x="2816" y="1015"/>
                </a:moveTo>
                <a:cubicBezTo>
                  <a:pt x="2817" y="1014"/>
                  <a:pt x="2817" y="1014"/>
                  <a:pt x="2817" y="1014"/>
                </a:cubicBezTo>
                <a:cubicBezTo>
                  <a:pt x="2817" y="1012"/>
                  <a:pt x="2817" y="1012"/>
                  <a:pt x="2817" y="1012"/>
                </a:cubicBezTo>
                <a:cubicBezTo>
                  <a:pt x="2816" y="1011"/>
                  <a:pt x="2816" y="1011"/>
                  <a:pt x="2816" y="1011"/>
                </a:cubicBezTo>
                <a:cubicBezTo>
                  <a:pt x="2814" y="1012"/>
                  <a:pt x="2814" y="1012"/>
                  <a:pt x="2814" y="1012"/>
                </a:cubicBezTo>
                <a:cubicBezTo>
                  <a:pt x="2813" y="1013"/>
                  <a:pt x="2813" y="1013"/>
                  <a:pt x="2813" y="1013"/>
                </a:cubicBezTo>
                <a:cubicBezTo>
                  <a:pt x="2813" y="1016"/>
                  <a:pt x="2813" y="1016"/>
                  <a:pt x="2813" y="1016"/>
                </a:cubicBezTo>
                <a:cubicBezTo>
                  <a:pt x="2815" y="1015"/>
                  <a:pt x="2815" y="1015"/>
                  <a:pt x="2815" y="1015"/>
                </a:cubicBezTo>
                <a:lnTo>
                  <a:pt x="2816" y="1015"/>
                </a:lnTo>
                <a:close/>
                <a:moveTo>
                  <a:pt x="2826" y="1120"/>
                </a:moveTo>
                <a:cubicBezTo>
                  <a:pt x="2828" y="1120"/>
                  <a:pt x="2828" y="1120"/>
                  <a:pt x="2828" y="1120"/>
                </a:cubicBezTo>
                <a:cubicBezTo>
                  <a:pt x="2828" y="1118"/>
                  <a:pt x="2828" y="1118"/>
                  <a:pt x="2828" y="1118"/>
                </a:cubicBezTo>
                <a:cubicBezTo>
                  <a:pt x="2826" y="1117"/>
                  <a:pt x="2826" y="1117"/>
                  <a:pt x="2826" y="1117"/>
                </a:cubicBezTo>
                <a:cubicBezTo>
                  <a:pt x="2825" y="1118"/>
                  <a:pt x="2825" y="1118"/>
                  <a:pt x="2825" y="1118"/>
                </a:cubicBezTo>
                <a:cubicBezTo>
                  <a:pt x="2825" y="1119"/>
                  <a:pt x="2825" y="1119"/>
                  <a:pt x="2825" y="1119"/>
                </a:cubicBezTo>
                <a:lnTo>
                  <a:pt x="2826" y="1120"/>
                </a:lnTo>
                <a:close/>
                <a:moveTo>
                  <a:pt x="2828" y="1121"/>
                </a:moveTo>
                <a:cubicBezTo>
                  <a:pt x="2826" y="1122"/>
                  <a:pt x="2826" y="1122"/>
                  <a:pt x="2826" y="1122"/>
                </a:cubicBezTo>
                <a:cubicBezTo>
                  <a:pt x="2828" y="1122"/>
                  <a:pt x="2828" y="1122"/>
                  <a:pt x="2828" y="1122"/>
                </a:cubicBezTo>
                <a:lnTo>
                  <a:pt x="2828" y="1121"/>
                </a:lnTo>
                <a:close/>
                <a:moveTo>
                  <a:pt x="2831" y="1160"/>
                </a:moveTo>
                <a:cubicBezTo>
                  <a:pt x="2833" y="1161"/>
                  <a:pt x="2833" y="1161"/>
                  <a:pt x="2833" y="1161"/>
                </a:cubicBezTo>
                <a:cubicBezTo>
                  <a:pt x="2833" y="1160"/>
                  <a:pt x="2833" y="1160"/>
                  <a:pt x="2833" y="1160"/>
                </a:cubicBezTo>
                <a:cubicBezTo>
                  <a:pt x="2831" y="1159"/>
                  <a:pt x="2831" y="1159"/>
                  <a:pt x="2831" y="1159"/>
                </a:cubicBezTo>
                <a:cubicBezTo>
                  <a:pt x="2831" y="1156"/>
                  <a:pt x="2831" y="1156"/>
                  <a:pt x="2831" y="1156"/>
                </a:cubicBezTo>
                <a:cubicBezTo>
                  <a:pt x="2829" y="1156"/>
                  <a:pt x="2829" y="1156"/>
                  <a:pt x="2829" y="1156"/>
                </a:cubicBezTo>
                <a:cubicBezTo>
                  <a:pt x="2829" y="1157"/>
                  <a:pt x="2829" y="1157"/>
                  <a:pt x="2829" y="1157"/>
                </a:cubicBezTo>
                <a:cubicBezTo>
                  <a:pt x="2829" y="1158"/>
                  <a:pt x="2829" y="1158"/>
                  <a:pt x="2829" y="1158"/>
                </a:cubicBezTo>
                <a:cubicBezTo>
                  <a:pt x="2830" y="1158"/>
                  <a:pt x="2830" y="1158"/>
                  <a:pt x="2830" y="1158"/>
                </a:cubicBezTo>
                <a:cubicBezTo>
                  <a:pt x="2830" y="1159"/>
                  <a:pt x="2830" y="1159"/>
                  <a:pt x="2830" y="1159"/>
                </a:cubicBezTo>
                <a:cubicBezTo>
                  <a:pt x="2829" y="1158"/>
                  <a:pt x="2829" y="1158"/>
                  <a:pt x="2829" y="1158"/>
                </a:cubicBezTo>
                <a:cubicBezTo>
                  <a:pt x="2828" y="1158"/>
                  <a:pt x="2828" y="1158"/>
                  <a:pt x="2828" y="1158"/>
                </a:cubicBezTo>
                <a:cubicBezTo>
                  <a:pt x="2828" y="1160"/>
                  <a:pt x="2828" y="1160"/>
                  <a:pt x="2828" y="1160"/>
                </a:cubicBezTo>
                <a:cubicBezTo>
                  <a:pt x="2830" y="1160"/>
                  <a:pt x="2830" y="1160"/>
                  <a:pt x="2830" y="1160"/>
                </a:cubicBezTo>
                <a:lnTo>
                  <a:pt x="2831" y="1160"/>
                </a:lnTo>
                <a:close/>
                <a:moveTo>
                  <a:pt x="2809" y="1124"/>
                </a:moveTo>
                <a:cubicBezTo>
                  <a:pt x="2811" y="1123"/>
                  <a:pt x="2811" y="1123"/>
                  <a:pt x="2811" y="1123"/>
                </a:cubicBezTo>
                <a:cubicBezTo>
                  <a:pt x="2811" y="1122"/>
                  <a:pt x="2811" y="1122"/>
                  <a:pt x="2811" y="1122"/>
                </a:cubicBezTo>
                <a:cubicBezTo>
                  <a:pt x="2809" y="1122"/>
                  <a:pt x="2809" y="1122"/>
                  <a:pt x="2809" y="1122"/>
                </a:cubicBezTo>
                <a:cubicBezTo>
                  <a:pt x="2806" y="1122"/>
                  <a:pt x="2806" y="1122"/>
                  <a:pt x="2806" y="1122"/>
                </a:cubicBezTo>
                <a:cubicBezTo>
                  <a:pt x="2807" y="1123"/>
                  <a:pt x="2807" y="1123"/>
                  <a:pt x="2807" y="1123"/>
                </a:cubicBezTo>
                <a:lnTo>
                  <a:pt x="2809" y="1124"/>
                </a:lnTo>
                <a:close/>
                <a:moveTo>
                  <a:pt x="2837" y="1163"/>
                </a:moveTo>
                <a:cubicBezTo>
                  <a:pt x="2841" y="1159"/>
                  <a:pt x="2841" y="1159"/>
                  <a:pt x="2841" y="1159"/>
                </a:cubicBezTo>
                <a:cubicBezTo>
                  <a:pt x="2842" y="1159"/>
                  <a:pt x="2842" y="1159"/>
                  <a:pt x="2842" y="1159"/>
                </a:cubicBezTo>
                <a:cubicBezTo>
                  <a:pt x="2842" y="1158"/>
                  <a:pt x="2842" y="1158"/>
                  <a:pt x="2842" y="1158"/>
                </a:cubicBezTo>
                <a:cubicBezTo>
                  <a:pt x="2843" y="1157"/>
                  <a:pt x="2843" y="1157"/>
                  <a:pt x="2843" y="1157"/>
                </a:cubicBezTo>
                <a:cubicBezTo>
                  <a:pt x="2842" y="1157"/>
                  <a:pt x="2842" y="1157"/>
                  <a:pt x="2842" y="1157"/>
                </a:cubicBezTo>
                <a:cubicBezTo>
                  <a:pt x="2841" y="1155"/>
                  <a:pt x="2841" y="1155"/>
                  <a:pt x="2841" y="1155"/>
                </a:cubicBezTo>
                <a:cubicBezTo>
                  <a:pt x="2841" y="1155"/>
                  <a:pt x="2841" y="1155"/>
                  <a:pt x="2841" y="1155"/>
                </a:cubicBezTo>
                <a:cubicBezTo>
                  <a:pt x="2839" y="1156"/>
                  <a:pt x="2839" y="1156"/>
                  <a:pt x="2839" y="1156"/>
                </a:cubicBezTo>
                <a:cubicBezTo>
                  <a:pt x="2837" y="1156"/>
                  <a:pt x="2837" y="1156"/>
                  <a:pt x="2837" y="1156"/>
                </a:cubicBezTo>
                <a:cubicBezTo>
                  <a:pt x="2835" y="1157"/>
                  <a:pt x="2835" y="1157"/>
                  <a:pt x="2835" y="1157"/>
                </a:cubicBezTo>
                <a:cubicBezTo>
                  <a:pt x="2834" y="1157"/>
                  <a:pt x="2834" y="1157"/>
                  <a:pt x="2834" y="1157"/>
                </a:cubicBezTo>
                <a:cubicBezTo>
                  <a:pt x="2834" y="1156"/>
                  <a:pt x="2834" y="1156"/>
                  <a:pt x="2834" y="1156"/>
                </a:cubicBezTo>
                <a:cubicBezTo>
                  <a:pt x="2833" y="1156"/>
                  <a:pt x="2833" y="1156"/>
                  <a:pt x="2833" y="1156"/>
                </a:cubicBezTo>
                <a:cubicBezTo>
                  <a:pt x="2832" y="1155"/>
                  <a:pt x="2832" y="1155"/>
                  <a:pt x="2832" y="1155"/>
                </a:cubicBezTo>
                <a:cubicBezTo>
                  <a:pt x="2831" y="1155"/>
                  <a:pt x="2831" y="1155"/>
                  <a:pt x="2831" y="1155"/>
                </a:cubicBezTo>
                <a:cubicBezTo>
                  <a:pt x="2831" y="1155"/>
                  <a:pt x="2831" y="1155"/>
                  <a:pt x="2831" y="1155"/>
                </a:cubicBezTo>
                <a:cubicBezTo>
                  <a:pt x="2832" y="1158"/>
                  <a:pt x="2832" y="1158"/>
                  <a:pt x="2832" y="1158"/>
                </a:cubicBezTo>
                <a:cubicBezTo>
                  <a:pt x="2833" y="1160"/>
                  <a:pt x="2833" y="1160"/>
                  <a:pt x="2833" y="1160"/>
                </a:cubicBezTo>
                <a:cubicBezTo>
                  <a:pt x="2835" y="1161"/>
                  <a:pt x="2835" y="1161"/>
                  <a:pt x="2835" y="1161"/>
                </a:cubicBezTo>
                <a:lnTo>
                  <a:pt x="2837" y="1163"/>
                </a:lnTo>
                <a:close/>
                <a:moveTo>
                  <a:pt x="2831" y="1102"/>
                </a:moveTo>
                <a:cubicBezTo>
                  <a:pt x="2830" y="1101"/>
                  <a:pt x="2830" y="1101"/>
                  <a:pt x="2830" y="1101"/>
                </a:cubicBezTo>
                <a:cubicBezTo>
                  <a:pt x="2829" y="1103"/>
                  <a:pt x="2829" y="1103"/>
                  <a:pt x="2829" y="1103"/>
                </a:cubicBezTo>
                <a:lnTo>
                  <a:pt x="2831" y="1102"/>
                </a:lnTo>
                <a:close/>
                <a:moveTo>
                  <a:pt x="2825" y="1106"/>
                </a:moveTo>
                <a:cubicBezTo>
                  <a:pt x="2824" y="1107"/>
                  <a:pt x="2824" y="1107"/>
                  <a:pt x="2824" y="1107"/>
                </a:cubicBezTo>
                <a:cubicBezTo>
                  <a:pt x="2825" y="1107"/>
                  <a:pt x="2825" y="1107"/>
                  <a:pt x="2825" y="1107"/>
                </a:cubicBezTo>
                <a:lnTo>
                  <a:pt x="2825" y="1106"/>
                </a:lnTo>
                <a:close/>
                <a:moveTo>
                  <a:pt x="2812" y="1076"/>
                </a:moveTo>
                <a:cubicBezTo>
                  <a:pt x="2813" y="1074"/>
                  <a:pt x="2813" y="1074"/>
                  <a:pt x="2813" y="1074"/>
                </a:cubicBezTo>
                <a:cubicBezTo>
                  <a:pt x="2812" y="1074"/>
                  <a:pt x="2812" y="1074"/>
                  <a:pt x="2812" y="1074"/>
                </a:cubicBezTo>
                <a:cubicBezTo>
                  <a:pt x="2811" y="1074"/>
                  <a:pt x="2811" y="1074"/>
                  <a:pt x="2811" y="1074"/>
                </a:cubicBezTo>
                <a:cubicBezTo>
                  <a:pt x="2809" y="1075"/>
                  <a:pt x="2809" y="1075"/>
                  <a:pt x="2809" y="1075"/>
                </a:cubicBezTo>
                <a:cubicBezTo>
                  <a:pt x="2810" y="1076"/>
                  <a:pt x="2810" y="1076"/>
                  <a:pt x="2810" y="1076"/>
                </a:cubicBezTo>
                <a:cubicBezTo>
                  <a:pt x="2812" y="1075"/>
                  <a:pt x="2812" y="1075"/>
                  <a:pt x="2812" y="1075"/>
                </a:cubicBezTo>
                <a:lnTo>
                  <a:pt x="2812" y="1076"/>
                </a:lnTo>
                <a:close/>
                <a:moveTo>
                  <a:pt x="2860" y="584"/>
                </a:moveTo>
                <a:cubicBezTo>
                  <a:pt x="2860" y="583"/>
                  <a:pt x="2860" y="583"/>
                  <a:pt x="2860" y="583"/>
                </a:cubicBezTo>
                <a:cubicBezTo>
                  <a:pt x="2861" y="582"/>
                  <a:pt x="2861" y="582"/>
                  <a:pt x="2861" y="582"/>
                </a:cubicBezTo>
                <a:cubicBezTo>
                  <a:pt x="2862" y="580"/>
                  <a:pt x="2862" y="580"/>
                  <a:pt x="2862" y="580"/>
                </a:cubicBezTo>
                <a:cubicBezTo>
                  <a:pt x="2862" y="579"/>
                  <a:pt x="2862" y="579"/>
                  <a:pt x="2862" y="579"/>
                </a:cubicBezTo>
                <a:cubicBezTo>
                  <a:pt x="2860" y="579"/>
                  <a:pt x="2860" y="579"/>
                  <a:pt x="2860" y="579"/>
                </a:cubicBezTo>
                <a:cubicBezTo>
                  <a:pt x="2860" y="577"/>
                  <a:pt x="2860" y="577"/>
                  <a:pt x="2860" y="577"/>
                </a:cubicBezTo>
                <a:cubicBezTo>
                  <a:pt x="2860" y="576"/>
                  <a:pt x="2860" y="576"/>
                  <a:pt x="2860" y="576"/>
                </a:cubicBezTo>
                <a:cubicBezTo>
                  <a:pt x="2859" y="576"/>
                  <a:pt x="2859" y="576"/>
                  <a:pt x="2859" y="576"/>
                </a:cubicBezTo>
                <a:cubicBezTo>
                  <a:pt x="2858" y="580"/>
                  <a:pt x="2858" y="580"/>
                  <a:pt x="2858" y="580"/>
                </a:cubicBezTo>
                <a:cubicBezTo>
                  <a:pt x="2859" y="581"/>
                  <a:pt x="2859" y="581"/>
                  <a:pt x="2859" y="581"/>
                </a:cubicBezTo>
                <a:cubicBezTo>
                  <a:pt x="2860" y="580"/>
                  <a:pt x="2860" y="580"/>
                  <a:pt x="2860" y="580"/>
                </a:cubicBezTo>
                <a:cubicBezTo>
                  <a:pt x="2860" y="581"/>
                  <a:pt x="2860" y="581"/>
                  <a:pt x="2860" y="581"/>
                </a:cubicBezTo>
                <a:cubicBezTo>
                  <a:pt x="2860" y="582"/>
                  <a:pt x="2860" y="582"/>
                  <a:pt x="2860" y="582"/>
                </a:cubicBezTo>
                <a:lnTo>
                  <a:pt x="2860" y="584"/>
                </a:lnTo>
                <a:close/>
                <a:moveTo>
                  <a:pt x="2906" y="479"/>
                </a:moveTo>
                <a:cubicBezTo>
                  <a:pt x="2907" y="479"/>
                  <a:pt x="2907" y="479"/>
                  <a:pt x="2907" y="479"/>
                </a:cubicBezTo>
                <a:cubicBezTo>
                  <a:pt x="2910" y="476"/>
                  <a:pt x="2910" y="476"/>
                  <a:pt x="2910" y="476"/>
                </a:cubicBezTo>
                <a:cubicBezTo>
                  <a:pt x="2910" y="474"/>
                  <a:pt x="2910" y="474"/>
                  <a:pt x="2910" y="474"/>
                </a:cubicBezTo>
                <a:cubicBezTo>
                  <a:pt x="2910" y="474"/>
                  <a:pt x="2910" y="474"/>
                  <a:pt x="2910" y="474"/>
                </a:cubicBezTo>
                <a:cubicBezTo>
                  <a:pt x="2908" y="475"/>
                  <a:pt x="2908" y="475"/>
                  <a:pt x="2908" y="475"/>
                </a:cubicBezTo>
                <a:cubicBezTo>
                  <a:pt x="2907" y="474"/>
                  <a:pt x="2907" y="474"/>
                  <a:pt x="2907" y="474"/>
                </a:cubicBezTo>
                <a:cubicBezTo>
                  <a:pt x="2906" y="473"/>
                  <a:pt x="2906" y="473"/>
                  <a:pt x="2906" y="473"/>
                </a:cubicBezTo>
                <a:cubicBezTo>
                  <a:pt x="2905" y="474"/>
                  <a:pt x="2905" y="474"/>
                  <a:pt x="2905" y="474"/>
                </a:cubicBezTo>
                <a:cubicBezTo>
                  <a:pt x="2905" y="476"/>
                  <a:pt x="2905" y="476"/>
                  <a:pt x="2905" y="476"/>
                </a:cubicBezTo>
                <a:cubicBezTo>
                  <a:pt x="2905" y="479"/>
                  <a:pt x="2905" y="479"/>
                  <a:pt x="2905" y="479"/>
                </a:cubicBezTo>
                <a:cubicBezTo>
                  <a:pt x="2904" y="482"/>
                  <a:pt x="2904" y="482"/>
                  <a:pt x="2904" y="482"/>
                </a:cubicBezTo>
                <a:cubicBezTo>
                  <a:pt x="2903" y="483"/>
                  <a:pt x="2903" y="483"/>
                  <a:pt x="2903" y="483"/>
                </a:cubicBezTo>
                <a:cubicBezTo>
                  <a:pt x="2904" y="485"/>
                  <a:pt x="2904" y="485"/>
                  <a:pt x="2904" y="485"/>
                </a:cubicBezTo>
                <a:cubicBezTo>
                  <a:pt x="2905" y="487"/>
                  <a:pt x="2905" y="487"/>
                  <a:pt x="2905" y="487"/>
                </a:cubicBezTo>
                <a:cubicBezTo>
                  <a:pt x="2905" y="487"/>
                  <a:pt x="2906" y="484"/>
                  <a:pt x="2906" y="484"/>
                </a:cubicBezTo>
                <a:lnTo>
                  <a:pt x="2906" y="479"/>
                </a:lnTo>
                <a:close/>
                <a:moveTo>
                  <a:pt x="2850" y="515"/>
                </a:moveTo>
                <a:cubicBezTo>
                  <a:pt x="2850" y="517"/>
                  <a:pt x="2850" y="517"/>
                  <a:pt x="2850" y="517"/>
                </a:cubicBezTo>
                <a:cubicBezTo>
                  <a:pt x="2851" y="518"/>
                  <a:pt x="2851" y="518"/>
                  <a:pt x="2851" y="518"/>
                </a:cubicBezTo>
                <a:cubicBezTo>
                  <a:pt x="2852" y="517"/>
                  <a:pt x="2852" y="517"/>
                  <a:pt x="2852" y="517"/>
                </a:cubicBezTo>
                <a:cubicBezTo>
                  <a:pt x="2852" y="515"/>
                  <a:pt x="2852" y="515"/>
                  <a:pt x="2852" y="515"/>
                </a:cubicBezTo>
                <a:cubicBezTo>
                  <a:pt x="2852" y="513"/>
                  <a:pt x="2852" y="513"/>
                  <a:pt x="2852" y="513"/>
                </a:cubicBezTo>
                <a:cubicBezTo>
                  <a:pt x="2851" y="514"/>
                  <a:pt x="2851" y="514"/>
                  <a:pt x="2851" y="514"/>
                </a:cubicBezTo>
                <a:lnTo>
                  <a:pt x="2850" y="515"/>
                </a:lnTo>
                <a:close/>
                <a:moveTo>
                  <a:pt x="2887" y="1054"/>
                </a:moveTo>
                <a:cubicBezTo>
                  <a:pt x="2890" y="1055"/>
                  <a:pt x="2890" y="1055"/>
                  <a:pt x="2890" y="1055"/>
                </a:cubicBezTo>
                <a:cubicBezTo>
                  <a:pt x="2895" y="1056"/>
                  <a:pt x="2895" y="1056"/>
                  <a:pt x="2895" y="1056"/>
                </a:cubicBezTo>
                <a:cubicBezTo>
                  <a:pt x="2899" y="1055"/>
                  <a:pt x="2899" y="1055"/>
                  <a:pt x="2899" y="1055"/>
                </a:cubicBezTo>
                <a:cubicBezTo>
                  <a:pt x="2900" y="1055"/>
                  <a:pt x="2900" y="1055"/>
                  <a:pt x="2900" y="1055"/>
                </a:cubicBezTo>
                <a:cubicBezTo>
                  <a:pt x="2897" y="1054"/>
                  <a:pt x="2897" y="1054"/>
                  <a:pt x="2897" y="1054"/>
                </a:cubicBezTo>
                <a:cubicBezTo>
                  <a:pt x="2895" y="1054"/>
                  <a:pt x="2895" y="1054"/>
                  <a:pt x="2895" y="1054"/>
                </a:cubicBezTo>
                <a:cubicBezTo>
                  <a:pt x="2892" y="1053"/>
                  <a:pt x="2892" y="1053"/>
                  <a:pt x="2892" y="1053"/>
                </a:cubicBezTo>
                <a:cubicBezTo>
                  <a:pt x="2890" y="1054"/>
                  <a:pt x="2890" y="1054"/>
                  <a:pt x="2890" y="1054"/>
                </a:cubicBezTo>
                <a:cubicBezTo>
                  <a:pt x="2886" y="1053"/>
                  <a:pt x="2886" y="1053"/>
                  <a:pt x="2886" y="1053"/>
                </a:cubicBezTo>
                <a:cubicBezTo>
                  <a:pt x="2886" y="1053"/>
                  <a:pt x="2887" y="1054"/>
                  <a:pt x="2887" y="1054"/>
                </a:cubicBezTo>
                <a:close/>
                <a:moveTo>
                  <a:pt x="2883" y="1053"/>
                </a:moveTo>
                <a:cubicBezTo>
                  <a:pt x="2885" y="1052"/>
                  <a:pt x="2885" y="1052"/>
                  <a:pt x="2885" y="1052"/>
                </a:cubicBezTo>
                <a:cubicBezTo>
                  <a:pt x="2882" y="1052"/>
                  <a:pt x="2882" y="1052"/>
                  <a:pt x="2882" y="1052"/>
                </a:cubicBezTo>
                <a:lnTo>
                  <a:pt x="2883" y="1053"/>
                </a:lnTo>
                <a:close/>
                <a:moveTo>
                  <a:pt x="2879" y="1046"/>
                </a:moveTo>
                <a:cubicBezTo>
                  <a:pt x="2880" y="1048"/>
                  <a:pt x="2880" y="1048"/>
                  <a:pt x="2880" y="1048"/>
                </a:cubicBezTo>
                <a:cubicBezTo>
                  <a:pt x="2881" y="1047"/>
                  <a:pt x="2881" y="1047"/>
                  <a:pt x="2881" y="1047"/>
                </a:cubicBezTo>
                <a:cubicBezTo>
                  <a:pt x="2880" y="1046"/>
                  <a:pt x="2880" y="1046"/>
                  <a:pt x="2880" y="1046"/>
                </a:cubicBezTo>
                <a:lnTo>
                  <a:pt x="2879" y="1046"/>
                </a:lnTo>
                <a:close/>
                <a:moveTo>
                  <a:pt x="2892" y="1048"/>
                </a:moveTo>
                <a:cubicBezTo>
                  <a:pt x="2892" y="1048"/>
                  <a:pt x="2892" y="1048"/>
                  <a:pt x="2892" y="1048"/>
                </a:cubicBezTo>
                <a:cubicBezTo>
                  <a:pt x="2893" y="1048"/>
                  <a:pt x="2893" y="1048"/>
                  <a:pt x="2893" y="1048"/>
                </a:cubicBezTo>
                <a:cubicBezTo>
                  <a:pt x="2896" y="1048"/>
                  <a:pt x="2896" y="1048"/>
                  <a:pt x="2896" y="1048"/>
                </a:cubicBezTo>
                <a:cubicBezTo>
                  <a:pt x="2895" y="1047"/>
                  <a:pt x="2895" y="1047"/>
                  <a:pt x="2895" y="1047"/>
                </a:cubicBezTo>
                <a:cubicBezTo>
                  <a:pt x="2893" y="1046"/>
                  <a:pt x="2893" y="1046"/>
                  <a:pt x="2893" y="1046"/>
                </a:cubicBezTo>
                <a:cubicBezTo>
                  <a:pt x="2892" y="1044"/>
                  <a:pt x="2892" y="1044"/>
                  <a:pt x="2892" y="1044"/>
                </a:cubicBezTo>
                <a:cubicBezTo>
                  <a:pt x="2890" y="1043"/>
                  <a:pt x="2890" y="1043"/>
                  <a:pt x="2890" y="1043"/>
                </a:cubicBezTo>
                <a:cubicBezTo>
                  <a:pt x="2889" y="1043"/>
                  <a:pt x="2889" y="1043"/>
                  <a:pt x="2889" y="1043"/>
                </a:cubicBezTo>
                <a:cubicBezTo>
                  <a:pt x="2886" y="1043"/>
                  <a:pt x="2886" y="1043"/>
                  <a:pt x="2886" y="1043"/>
                </a:cubicBezTo>
                <a:cubicBezTo>
                  <a:pt x="2886" y="1043"/>
                  <a:pt x="2886" y="1043"/>
                  <a:pt x="2886" y="1043"/>
                </a:cubicBezTo>
                <a:cubicBezTo>
                  <a:pt x="2888" y="1045"/>
                  <a:pt x="2888" y="1045"/>
                  <a:pt x="2888" y="1045"/>
                </a:cubicBezTo>
                <a:cubicBezTo>
                  <a:pt x="2888" y="1044"/>
                  <a:pt x="2888" y="1044"/>
                  <a:pt x="2888" y="1044"/>
                </a:cubicBezTo>
                <a:cubicBezTo>
                  <a:pt x="2889" y="1044"/>
                  <a:pt x="2889" y="1044"/>
                  <a:pt x="2889" y="1044"/>
                </a:cubicBezTo>
                <a:cubicBezTo>
                  <a:pt x="2891" y="1046"/>
                  <a:pt x="2891" y="1046"/>
                  <a:pt x="2891" y="1046"/>
                </a:cubicBezTo>
                <a:cubicBezTo>
                  <a:pt x="2890" y="1048"/>
                  <a:pt x="2890" y="1048"/>
                  <a:pt x="2890" y="1048"/>
                </a:cubicBezTo>
                <a:lnTo>
                  <a:pt x="2892" y="1048"/>
                </a:lnTo>
                <a:close/>
                <a:moveTo>
                  <a:pt x="2839" y="1114"/>
                </a:moveTo>
                <a:cubicBezTo>
                  <a:pt x="2840" y="1114"/>
                  <a:pt x="2840" y="1114"/>
                  <a:pt x="2840" y="1114"/>
                </a:cubicBezTo>
                <a:cubicBezTo>
                  <a:pt x="2841" y="1114"/>
                  <a:pt x="2841" y="1114"/>
                  <a:pt x="2841" y="1114"/>
                </a:cubicBezTo>
                <a:cubicBezTo>
                  <a:pt x="2841" y="1114"/>
                  <a:pt x="2841" y="1114"/>
                  <a:pt x="2841" y="1114"/>
                </a:cubicBezTo>
                <a:lnTo>
                  <a:pt x="2839" y="1114"/>
                </a:lnTo>
                <a:close/>
                <a:moveTo>
                  <a:pt x="2832" y="1058"/>
                </a:moveTo>
                <a:cubicBezTo>
                  <a:pt x="2835" y="1057"/>
                  <a:pt x="2835" y="1057"/>
                  <a:pt x="2835" y="1057"/>
                </a:cubicBezTo>
                <a:cubicBezTo>
                  <a:pt x="2834" y="1057"/>
                  <a:pt x="2834" y="1057"/>
                  <a:pt x="2834" y="1057"/>
                </a:cubicBezTo>
                <a:cubicBezTo>
                  <a:pt x="2834" y="1055"/>
                  <a:pt x="2834" y="1055"/>
                  <a:pt x="2834" y="1055"/>
                </a:cubicBezTo>
                <a:cubicBezTo>
                  <a:pt x="2833" y="1054"/>
                  <a:pt x="2833" y="1054"/>
                  <a:pt x="2833" y="1054"/>
                </a:cubicBezTo>
                <a:cubicBezTo>
                  <a:pt x="2829" y="1055"/>
                  <a:pt x="2829" y="1055"/>
                  <a:pt x="2829" y="1055"/>
                </a:cubicBezTo>
                <a:cubicBezTo>
                  <a:pt x="2828" y="1056"/>
                  <a:pt x="2828" y="1056"/>
                  <a:pt x="2828" y="1056"/>
                </a:cubicBezTo>
                <a:cubicBezTo>
                  <a:pt x="2829" y="1057"/>
                  <a:pt x="2829" y="1057"/>
                  <a:pt x="2829" y="1057"/>
                </a:cubicBezTo>
                <a:lnTo>
                  <a:pt x="2832" y="1058"/>
                </a:lnTo>
                <a:close/>
                <a:moveTo>
                  <a:pt x="2843" y="1040"/>
                </a:moveTo>
                <a:cubicBezTo>
                  <a:pt x="2844" y="1040"/>
                  <a:pt x="2844" y="1040"/>
                  <a:pt x="2844" y="1040"/>
                </a:cubicBezTo>
                <a:cubicBezTo>
                  <a:pt x="2846" y="1040"/>
                  <a:pt x="2846" y="1040"/>
                  <a:pt x="2846" y="1040"/>
                </a:cubicBezTo>
                <a:cubicBezTo>
                  <a:pt x="2845" y="1038"/>
                  <a:pt x="2845" y="1038"/>
                  <a:pt x="2845" y="1038"/>
                </a:cubicBezTo>
                <a:cubicBezTo>
                  <a:pt x="2843" y="1037"/>
                  <a:pt x="2843" y="1037"/>
                  <a:pt x="2843" y="1037"/>
                </a:cubicBezTo>
                <a:cubicBezTo>
                  <a:pt x="2840" y="1037"/>
                  <a:pt x="2840" y="1037"/>
                  <a:pt x="2840" y="1037"/>
                </a:cubicBezTo>
                <a:cubicBezTo>
                  <a:pt x="2838" y="1038"/>
                  <a:pt x="2838" y="1038"/>
                  <a:pt x="2838" y="1038"/>
                </a:cubicBezTo>
                <a:cubicBezTo>
                  <a:pt x="2836" y="1038"/>
                  <a:pt x="2836" y="1038"/>
                  <a:pt x="2836" y="1038"/>
                </a:cubicBezTo>
                <a:cubicBezTo>
                  <a:pt x="2835" y="1038"/>
                  <a:pt x="2835" y="1038"/>
                  <a:pt x="2835" y="1038"/>
                </a:cubicBezTo>
                <a:cubicBezTo>
                  <a:pt x="2836" y="1039"/>
                  <a:pt x="2836" y="1039"/>
                  <a:pt x="2836" y="1039"/>
                </a:cubicBezTo>
                <a:cubicBezTo>
                  <a:pt x="2835" y="1039"/>
                  <a:pt x="2835" y="1039"/>
                  <a:pt x="2835" y="1039"/>
                </a:cubicBezTo>
                <a:cubicBezTo>
                  <a:pt x="2838" y="1040"/>
                  <a:pt x="2838" y="1040"/>
                  <a:pt x="2838" y="1040"/>
                </a:cubicBezTo>
                <a:cubicBezTo>
                  <a:pt x="2839" y="1041"/>
                  <a:pt x="2839" y="1041"/>
                  <a:pt x="2839" y="1041"/>
                </a:cubicBezTo>
                <a:cubicBezTo>
                  <a:pt x="2841" y="1040"/>
                  <a:pt x="2841" y="1040"/>
                  <a:pt x="2841" y="1040"/>
                </a:cubicBezTo>
                <a:cubicBezTo>
                  <a:pt x="2841" y="1040"/>
                  <a:pt x="2841" y="1040"/>
                  <a:pt x="2841" y="1040"/>
                </a:cubicBezTo>
                <a:cubicBezTo>
                  <a:pt x="2839" y="1039"/>
                  <a:pt x="2839" y="1039"/>
                  <a:pt x="2839" y="1039"/>
                </a:cubicBezTo>
                <a:cubicBezTo>
                  <a:pt x="2839" y="1039"/>
                  <a:pt x="2839" y="1039"/>
                  <a:pt x="2839" y="1039"/>
                </a:cubicBezTo>
                <a:cubicBezTo>
                  <a:pt x="2840" y="1038"/>
                  <a:pt x="2840" y="1038"/>
                  <a:pt x="2840" y="1038"/>
                </a:cubicBezTo>
                <a:lnTo>
                  <a:pt x="2843" y="1040"/>
                </a:lnTo>
                <a:close/>
                <a:moveTo>
                  <a:pt x="2836" y="1045"/>
                </a:moveTo>
                <a:cubicBezTo>
                  <a:pt x="2837" y="1046"/>
                  <a:pt x="2837" y="1046"/>
                  <a:pt x="2837" y="1046"/>
                </a:cubicBezTo>
                <a:cubicBezTo>
                  <a:pt x="2840" y="1046"/>
                  <a:pt x="2840" y="1046"/>
                  <a:pt x="2840" y="1046"/>
                </a:cubicBezTo>
                <a:cubicBezTo>
                  <a:pt x="2837" y="1045"/>
                  <a:pt x="2837" y="1045"/>
                  <a:pt x="2837" y="1045"/>
                </a:cubicBezTo>
                <a:lnTo>
                  <a:pt x="2836" y="1045"/>
                </a:lnTo>
                <a:close/>
                <a:moveTo>
                  <a:pt x="2841" y="1044"/>
                </a:moveTo>
                <a:cubicBezTo>
                  <a:pt x="2839" y="1045"/>
                  <a:pt x="2839" y="1045"/>
                  <a:pt x="2839" y="1045"/>
                </a:cubicBezTo>
                <a:cubicBezTo>
                  <a:pt x="2840" y="1046"/>
                  <a:pt x="2840" y="1046"/>
                  <a:pt x="2840" y="1046"/>
                </a:cubicBezTo>
                <a:lnTo>
                  <a:pt x="2841" y="1044"/>
                </a:lnTo>
                <a:close/>
                <a:moveTo>
                  <a:pt x="2838" y="1115"/>
                </a:moveTo>
                <a:cubicBezTo>
                  <a:pt x="2838" y="1115"/>
                  <a:pt x="2838" y="1115"/>
                  <a:pt x="2838" y="1115"/>
                </a:cubicBezTo>
                <a:cubicBezTo>
                  <a:pt x="2838" y="1115"/>
                  <a:pt x="2839" y="1115"/>
                  <a:pt x="2839" y="1115"/>
                </a:cubicBezTo>
                <a:lnTo>
                  <a:pt x="2838" y="1115"/>
                </a:lnTo>
                <a:close/>
                <a:moveTo>
                  <a:pt x="2842" y="1046"/>
                </a:moveTo>
                <a:cubicBezTo>
                  <a:pt x="2841" y="1046"/>
                  <a:pt x="2841" y="1046"/>
                  <a:pt x="2841" y="1046"/>
                </a:cubicBezTo>
                <a:cubicBezTo>
                  <a:pt x="2839" y="1047"/>
                  <a:pt x="2839" y="1047"/>
                  <a:pt x="2839" y="1047"/>
                </a:cubicBezTo>
                <a:cubicBezTo>
                  <a:pt x="2839" y="1050"/>
                  <a:pt x="2839" y="1050"/>
                  <a:pt x="2839" y="1050"/>
                </a:cubicBezTo>
                <a:cubicBezTo>
                  <a:pt x="2841" y="1051"/>
                  <a:pt x="2841" y="1051"/>
                  <a:pt x="2841" y="1051"/>
                </a:cubicBezTo>
                <a:cubicBezTo>
                  <a:pt x="2842" y="1050"/>
                  <a:pt x="2842" y="1050"/>
                  <a:pt x="2842" y="1050"/>
                </a:cubicBezTo>
                <a:lnTo>
                  <a:pt x="2842" y="1046"/>
                </a:lnTo>
                <a:close/>
                <a:moveTo>
                  <a:pt x="2841" y="1122"/>
                </a:moveTo>
                <a:cubicBezTo>
                  <a:pt x="2841" y="1121"/>
                  <a:pt x="2841" y="1121"/>
                  <a:pt x="2841" y="1121"/>
                </a:cubicBezTo>
                <a:cubicBezTo>
                  <a:pt x="2840" y="1121"/>
                  <a:pt x="2840" y="1121"/>
                  <a:pt x="2840" y="1121"/>
                </a:cubicBezTo>
                <a:cubicBezTo>
                  <a:pt x="2839" y="1122"/>
                  <a:pt x="2839" y="1122"/>
                  <a:pt x="2839" y="1122"/>
                </a:cubicBezTo>
                <a:cubicBezTo>
                  <a:pt x="2838" y="1123"/>
                  <a:pt x="2838" y="1123"/>
                  <a:pt x="2838" y="1123"/>
                </a:cubicBezTo>
                <a:cubicBezTo>
                  <a:pt x="2840" y="1123"/>
                  <a:pt x="2840" y="1123"/>
                  <a:pt x="2840" y="1123"/>
                </a:cubicBezTo>
                <a:lnTo>
                  <a:pt x="2841" y="1122"/>
                </a:lnTo>
                <a:close/>
                <a:moveTo>
                  <a:pt x="2808" y="1070"/>
                </a:moveTo>
                <a:cubicBezTo>
                  <a:pt x="2808" y="1069"/>
                  <a:pt x="2808" y="1069"/>
                  <a:pt x="2808" y="1069"/>
                </a:cubicBezTo>
                <a:cubicBezTo>
                  <a:pt x="2807" y="1070"/>
                  <a:pt x="2807" y="1070"/>
                  <a:pt x="2807" y="1070"/>
                </a:cubicBezTo>
                <a:lnTo>
                  <a:pt x="2808" y="1070"/>
                </a:lnTo>
                <a:close/>
                <a:moveTo>
                  <a:pt x="2807" y="1055"/>
                </a:moveTo>
                <a:cubicBezTo>
                  <a:pt x="2808" y="1055"/>
                  <a:pt x="2808" y="1055"/>
                  <a:pt x="2808" y="1055"/>
                </a:cubicBezTo>
                <a:cubicBezTo>
                  <a:pt x="2811" y="1055"/>
                  <a:pt x="2811" y="1055"/>
                  <a:pt x="2811" y="1055"/>
                </a:cubicBezTo>
                <a:cubicBezTo>
                  <a:pt x="2812" y="1054"/>
                  <a:pt x="2812" y="1054"/>
                  <a:pt x="2812" y="1054"/>
                </a:cubicBezTo>
                <a:cubicBezTo>
                  <a:pt x="2809" y="1051"/>
                  <a:pt x="2809" y="1051"/>
                  <a:pt x="2809" y="1051"/>
                </a:cubicBezTo>
                <a:cubicBezTo>
                  <a:pt x="2807" y="1051"/>
                  <a:pt x="2807" y="1051"/>
                  <a:pt x="2807" y="1051"/>
                </a:cubicBezTo>
                <a:cubicBezTo>
                  <a:pt x="2804" y="1053"/>
                  <a:pt x="2804" y="1053"/>
                  <a:pt x="2804" y="1053"/>
                </a:cubicBezTo>
                <a:cubicBezTo>
                  <a:pt x="2805" y="1055"/>
                  <a:pt x="2805" y="1055"/>
                  <a:pt x="2805" y="1055"/>
                </a:cubicBezTo>
                <a:lnTo>
                  <a:pt x="2807" y="1055"/>
                </a:lnTo>
                <a:close/>
                <a:moveTo>
                  <a:pt x="2806" y="1041"/>
                </a:moveTo>
                <a:cubicBezTo>
                  <a:pt x="2804" y="1042"/>
                  <a:pt x="2804" y="1042"/>
                  <a:pt x="2804" y="1042"/>
                </a:cubicBezTo>
                <a:cubicBezTo>
                  <a:pt x="2804" y="1042"/>
                  <a:pt x="2804" y="1042"/>
                  <a:pt x="2804" y="1042"/>
                </a:cubicBezTo>
                <a:cubicBezTo>
                  <a:pt x="2804" y="1043"/>
                  <a:pt x="2804" y="1043"/>
                  <a:pt x="2804" y="1043"/>
                </a:cubicBezTo>
                <a:cubicBezTo>
                  <a:pt x="2805" y="1045"/>
                  <a:pt x="2805" y="1045"/>
                  <a:pt x="2805" y="1045"/>
                </a:cubicBezTo>
                <a:cubicBezTo>
                  <a:pt x="2807" y="1045"/>
                  <a:pt x="2807" y="1045"/>
                  <a:pt x="2807" y="1045"/>
                </a:cubicBezTo>
                <a:cubicBezTo>
                  <a:pt x="2808" y="1046"/>
                  <a:pt x="2808" y="1046"/>
                  <a:pt x="2808" y="1046"/>
                </a:cubicBezTo>
                <a:cubicBezTo>
                  <a:pt x="2809" y="1045"/>
                  <a:pt x="2809" y="1045"/>
                  <a:pt x="2809" y="1045"/>
                </a:cubicBezTo>
                <a:cubicBezTo>
                  <a:pt x="2808" y="1044"/>
                  <a:pt x="2808" y="1044"/>
                  <a:pt x="2808" y="1044"/>
                </a:cubicBezTo>
                <a:cubicBezTo>
                  <a:pt x="2807" y="1044"/>
                  <a:pt x="2807" y="1044"/>
                  <a:pt x="2807" y="1044"/>
                </a:cubicBezTo>
                <a:cubicBezTo>
                  <a:pt x="2807" y="1042"/>
                  <a:pt x="2807" y="1042"/>
                  <a:pt x="2807" y="1042"/>
                </a:cubicBezTo>
                <a:lnTo>
                  <a:pt x="2806" y="1041"/>
                </a:lnTo>
                <a:close/>
                <a:moveTo>
                  <a:pt x="2810" y="1068"/>
                </a:moveTo>
                <a:cubicBezTo>
                  <a:pt x="2810" y="1067"/>
                  <a:pt x="2810" y="1067"/>
                  <a:pt x="2810" y="1067"/>
                </a:cubicBezTo>
                <a:cubicBezTo>
                  <a:pt x="2808" y="1067"/>
                  <a:pt x="2808" y="1067"/>
                  <a:pt x="2808" y="1067"/>
                </a:cubicBezTo>
                <a:cubicBezTo>
                  <a:pt x="2809" y="1068"/>
                  <a:pt x="2809" y="1068"/>
                  <a:pt x="2809" y="1068"/>
                </a:cubicBezTo>
                <a:lnTo>
                  <a:pt x="2810" y="1068"/>
                </a:lnTo>
                <a:close/>
                <a:moveTo>
                  <a:pt x="2824" y="1037"/>
                </a:moveTo>
                <a:cubicBezTo>
                  <a:pt x="2827" y="1039"/>
                  <a:pt x="2827" y="1039"/>
                  <a:pt x="2827" y="1039"/>
                </a:cubicBezTo>
                <a:cubicBezTo>
                  <a:pt x="2826" y="1038"/>
                  <a:pt x="2826" y="1038"/>
                  <a:pt x="2826" y="1038"/>
                </a:cubicBezTo>
                <a:cubicBezTo>
                  <a:pt x="2823" y="1036"/>
                  <a:pt x="2823" y="1036"/>
                  <a:pt x="2823" y="1036"/>
                </a:cubicBezTo>
                <a:lnTo>
                  <a:pt x="2824" y="1037"/>
                </a:lnTo>
                <a:close/>
                <a:moveTo>
                  <a:pt x="2772" y="1125"/>
                </a:moveTo>
                <a:cubicBezTo>
                  <a:pt x="2774" y="1126"/>
                  <a:pt x="2774" y="1126"/>
                  <a:pt x="2774" y="1126"/>
                </a:cubicBezTo>
                <a:cubicBezTo>
                  <a:pt x="2778" y="1124"/>
                  <a:pt x="2778" y="1124"/>
                  <a:pt x="2778" y="1124"/>
                </a:cubicBezTo>
                <a:cubicBezTo>
                  <a:pt x="2779" y="1123"/>
                  <a:pt x="2779" y="1123"/>
                  <a:pt x="2779" y="1123"/>
                </a:cubicBezTo>
                <a:cubicBezTo>
                  <a:pt x="2778" y="1122"/>
                  <a:pt x="2778" y="1122"/>
                  <a:pt x="2778" y="1122"/>
                </a:cubicBezTo>
                <a:cubicBezTo>
                  <a:pt x="2775" y="1123"/>
                  <a:pt x="2775" y="1123"/>
                  <a:pt x="2775" y="1123"/>
                </a:cubicBezTo>
                <a:cubicBezTo>
                  <a:pt x="2774" y="1122"/>
                  <a:pt x="2774" y="1122"/>
                  <a:pt x="2774" y="1122"/>
                </a:cubicBezTo>
                <a:cubicBezTo>
                  <a:pt x="2772" y="1123"/>
                  <a:pt x="2772" y="1123"/>
                  <a:pt x="2772" y="1123"/>
                </a:cubicBezTo>
                <a:cubicBezTo>
                  <a:pt x="2773" y="1124"/>
                  <a:pt x="2773" y="1124"/>
                  <a:pt x="2773" y="1124"/>
                </a:cubicBezTo>
                <a:cubicBezTo>
                  <a:pt x="2772" y="1124"/>
                  <a:pt x="2772" y="1124"/>
                  <a:pt x="2772" y="1124"/>
                </a:cubicBezTo>
                <a:lnTo>
                  <a:pt x="2772" y="1125"/>
                </a:lnTo>
                <a:close/>
                <a:moveTo>
                  <a:pt x="2807" y="692"/>
                </a:moveTo>
                <a:cubicBezTo>
                  <a:pt x="2808" y="691"/>
                  <a:pt x="2808" y="691"/>
                  <a:pt x="2808" y="691"/>
                </a:cubicBezTo>
                <a:cubicBezTo>
                  <a:pt x="2807" y="689"/>
                  <a:pt x="2807" y="689"/>
                  <a:pt x="2807" y="689"/>
                </a:cubicBezTo>
                <a:cubicBezTo>
                  <a:pt x="2806" y="688"/>
                  <a:pt x="2806" y="688"/>
                  <a:pt x="2806" y="688"/>
                </a:cubicBezTo>
                <a:cubicBezTo>
                  <a:pt x="2805" y="688"/>
                  <a:pt x="2805" y="688"/>
                  <a:pt x="2805" y="688"/>
                </a:cubicBezTo>
                <a:cubicBezTo>
                  <a:pt x="2804" y="689"/>
                  <a:pt x="2804" y="689"/>
                  <a:pt x="2804" y="689"/>
                </a:cubicBezTo>
                <a:cubicBezTo>
                  <a:pt x="2806" y="691"/>
                  <a:pt x="2806" y="691"/>
                  <a:pt x="2806" y="691"/>
                </a:cubicBezTo>
                <a:lnTo>
                  <a:pt x="2807" y="692"/>
                </a:lnTo>
                <a:close/>
                <a:moveTo>
                  <a:pt x="2760" y="1123"/>
                </a:moveTo>
                <a:cubicBezTo>
                  <a:pt x="2759" y="1124"/>
                  <a:pt x="2759" y="1124"/>
                  <a:pt x="2759" y="1124"/>
                </a:cubicBezTo>
                <a:cubicBezTo>
                  <a:pt x="2760" y="1125"/>
                  <a:pt x="2760" y="1125"/>
                  <a:pt x="2760" y="1125"/>
                </a:cubicBezTo>
                <a:cubicBezTo>
                  <a:pt x="2760" y="1124"/>
                  <a:pt x="2760" y="1124"/>
                  <a:pt x="2760" y="1124"/>
                </a:cubicBezTo>
                <a:lnTo>
                  <a:pt x="2760" y="1123"/>
                </a:lnTo>
                <a:close/>
                <a:moveTo>
                  <a:pt x="2779" y="1136"/>
                </a:moveTo>
                <a:cubicBezTo>
                  <a:pt x="2780" y="1136"/>
                  <a:pt x="2780" y="1136"/>
                  <a:pt x="2780" y="1136"/>
                </a:cubicBezTo>
                <a:cubicBezTo>
                  <a:pt x="2780" y="1136"/>
                  <a:pt x="2780" y="1136"/>
                  <a:pt x="2780" y="1136"/>
                </a:cubicBezTo>
                <a:cubicBezTo>
                  <a:pt x="2782" y="1134"/>
                  <a:pt x="2782" y="1134"/>
                  <a:pt x="2782" y="1134"/>
                </a:cubicBezTo>
                <a:cubicBezTo>
                  <a:pt x="2784" y="1133"/>
                  <a:pt x="2784" y="1133"/>
                  <a:pt x="2784" y="1133"/>
                </a:cubicBezTo>
                <a:cubicBezTo>
                  <a:pt x="2786" y="1134"/>
                  <a:pt x="2786" y="1134"/>
                  <a:pt x="2786" y="1134"/>
                </a:cubicBezTo>
                <a:cubicBezTo>
                  <a:pt x="2790" y="1133"/>
                  <a:pt x="2790" y="1133"/>
                  <a:pt x="2790" y="1133"/>
                </a:cubicBezTo>
                <a:cubicBezTo>
                  <a:pt x="2793" y="1131"/>
                  <a:pt x="2793" y="1131"/>
                  <a:pt x="2793" y="1131"/>
                </a:cubicBezTo>
                <a:cubicBezTo>
                  <a:pt x="2796" y="1130"/>
                  <a:pt x="2796" y="1130"/>
                  <a:pt x="2796" y="1130"/>
                </a:cubicBezTo>
                <a:cubicBezTo>
                  <a:pt x="2796" y="1129"/>
                  <a:pt x="2796" y="1129"/>
                  <a:pt x="2796" y="1129"/>
                </a:cubicBezTo>
                <a:cubicBezTo>
                  <a:pt x="2798" y="1129"/>
                  <a:pt x="2798" y="1129"/>
                  <a:pt x="2798" y="1129"/>
                </a:cubicBezTo>
                <a:cubicBezTo>
                  <a:pt x="2800" y="1127"/>
                  <a:pt x="2800" y="1127"/>
                  <a:pt x="2800" y="1127"/>
                </a:cubicBezTo>
                <a:cubicBezTo>
                  <a:pt x="2800" y="1127"/>
                  <a:pt x="2800" y="1127"/>
                  <a:pt x="2800" y="1127"/>
                </a:cubicBezTo>
                <a:cubicBezTo>
                  <a:pt x="2799" y="1126"/>
                  <a:pt x="2799" y="1126"/>
                  <a:pt x="2799" y="1126"/>
                </a:cubicBezTo>
                <a:cubicBezTo>
                  <a:pt x="2795" y="1127"/>
                  <a:pt x="2795" y="1127"/>
                  <a:pt x="2795" y="1127"/>
                </a:cubicBezTo>
                <a:cubicBezTo>
                  <a:pt x="2792" y="1126"/>
                  <a:pt x="2792" y="1126"/>
                  <a:pt x="2792" y="1126"/>
                </a:cubicBezTo>
                <a:cubicBezTo>
                  <a:pt x="2790" y="1127"/>
                  <a:pt x="2790" y="1127"/>
                  <a:pt x="2790" y="1127"/>
                </a:cubicBezTo>
                <a:cubicBezTo>
                  <a:pt x="2788" y="1127"/>
                  <a:pt x="2788" y="1127"/>
                  <a:pt x="2788" y="1127"/>
                </a:cubicBezTo>
                <a:cubicBezTo>
                  <a:pt x="2785" y="1127"/>
                  <a:pt x="2785" y="1127"/>
                  <a:pt x="2785" y="1127"/>
                </a:cubicBezTo>
                <a:cubicBezTo>
                  <a:pt x="2781" y="1127"/>
                  <a:pt x="2781" y="1127"/>
                  <a:pt x="2781" y="1127"/>
                </a:cubicBezTo>
                <a:cubicBezTo>
                  <a:pt x="2778" y="1130"/>
                  <a:pt x="2778" y="1130"/>
                  <a:pt x="2778" y="1130"/>
                </a:cubicBezTo>
                <a:cubicBezTo>
                  <a:pt x="2775" y="1131"/>
                  <a:pt x="2775" y="1131"/>
                  <a:pt x="2775" y="1131"/>
                </a:cubicBezTo>
                <a:cubicBezTo>
                  <a:pt x="2775" y="1132"/>
                  <a:pt x="2775" y="1132"/>
                  <a:pt x="2775" y="1132"/>
                </a:cubicBezTo>
                <a:cubicBezTo>
                  <a:pt x="2773" y="1132"/>
                  <a:pt x="2773" y="1132"/>
                  <a:pt x="2773" y="1132"/>
                </a:cubicBezTo>
                <a:cubicBezTo>
                  <a:pt x="2772" y="1133"/>
                  <a:pt x="2772" y="1133"/>
                  <a:pt x="2772" y="1133"/>
                </a:cubicBezTo>
                <a:cubicBezTo>
                  <a:pt x="2769" y="1133"/>
                  <a:pt x="2769" y="1133"/>
                  <a:pt x="2769" y="1133"/>
                </a:cubicBezTo>
                <a:cubicBezTo>
                  <a:pt x="2767" y="1134"/>
                  <a:pt x="2767" y="1134"/>
                  <a:pt x="2767" y="1134"/>
                </a:cubicBezTo>
                <a:cubicBezTo>
                  <a:pt x="2767" y="1135"/>
                  <a:pt x="2767" y="1135"/>
                  <a:pt x="2767" y="1135"/>
                </a:cubicBezTo>
                <a:cubicBezTo>
                  <a:pt x="2765" y="1136"/>
                  <a:pt x="2765" y="1136"/>
                  <a:pt x="2765" y="1136"/>
                </a:cubicBezTo>
                <a:cubicBezTo>
                  <a:pt x="2764" y="1138"/>
                  <a:pt x="2764" y="1138"/>
                  <a:pt x="2764" y="1138"/>
                </a:cubicBezTo>
                <a:cubicBezTo>
                  <a:pt x="2762" y="1141"/>
                  <a:pt x="2762" y="1141"/>
                  <a:pt x="2762" y="1141"/>
                </a:cubicBezTo>
                <a:cubicBezTo>
                  <a:pt x="2762" y="1142"/>
                  <a:pt x="2762" y="1142"/>
                  <a:pt x="2762" y="1142"/>
                </a:cubicBezTo>
                <a:cubicBezTo>
                  <a:pt x="2763" y="1143"/>
                  <a:pt x="2763" y="1143"/>
                  <a:pt x="2763" y="1143"/>
                </a:cubicBezTo>
                <a:cubicBezTo>
                  <a:pt x="2763" y="1144"/>
                  <a:pt x="2763" y="1144"/>
                  <a:pt x="2763" y="1144"/>
                </a:cubicBezTo>
                <a:cubicBezTo>
                  <a:pt x="2762" y="1144"/>
                  <a:pt x="2762" y="1144"/>
                  <a:pt x="2762" y="1144"/>
                </a:cubicBezTo>
                <a:cubicBezTo>
                  <a:pt x="2761" y="1143"/>
                  <a:pt x="2761" y="1143"/>
                  <a:pt x="2761" y="1143"/>
                </a:cubicBezTo>
                <a:cubicBezTo>
                  <a:pt x="2760" y="1145"/>
                  <a:pt x="2760" y="1145"/>
                  <a:pt x="2760" y="1145"/>
                </a:cubicBezTo>
                <a:cubicBezTo>
                  <a:pt x="2761" y="1146"/>
                  <a:pt x="2761" y="1146"/>
                  <a:pt x="2761" y="1146"/>
                </a:cubicBezTo>
                <a:cubicBezTo>
                  <a:pt x="2765" y="1146"/>
                  <a:pt x="2765" y="1146"/>
                  <a:pt x="2765" y="1146"/>
                </a:cubicBezTo>
                <a:cubicBezTo>
                  <a:pt x="2768" y="1144"/>
                  <a:pt x="2768" y="1144"/>
                  <a:pt x="2768" y="1144"/>
                </a:cubicBezTo>
                <a:cubicBezTo>
                  <a:pt x="2769" y="1143"/>
                  <a:pt x="2769" y="1143"/>
                  <a:pt x="2769" y="1143"/>
                </a:cubicBezTo>
                <a:cubicBezTo>
                  <a:pt x="2771" y="1144"/>
                  <a:pt x="2771" y="1144"/>
                  <a:pt x="2771" y="1144"/>
                </a:cubicBezTo>
                <a:cubicBezTo>
                  <a:pt x="2773" y="1142"/>
                  <a:pt x="2773" y="1142"/>
                  <a:pt x="2773" y="1142"/>
                </a:cubicBezTo>
                <a:cubicBezTo>
                  <a:pt x="2774" y="1140"/>
                  <a:pt x="2774" y="1140"/>
                  <a:pt x="2774" y="1140"/>
                </a:cubicBezTo>
                <a:cubicBezTo>
                  <a:pt x="2778" y="1138"/>
                  <a:pt x="2778" y="1138"/>
                  <a:pt x="2778" y="1138"/>
                </a:cubicBezTo>
                <a:lnTo>
                  <a:pt x="2779" y="1136"/>
                </a:lnTo>
                <a:close/>
                <a:moveTo>
                  <a:pt x="2775" y="1191"/>
                </a:moveTo>
                <a:cubicBezTo>
                  <a:pt x="2775" y="1190"/>
                  <a:pt x="2775" y="1190"/>
                  <a:pt x="2775" y="1190"/>
                </a:cubicBezTo>
                <a:cubicBezTo>
                  <a:pt x="2774" y="1190"/>
                  <a:pt x="2774" y="1190"/>
                  <a:pt x="2774" y="1190"/>
                </a:cubicBezTo>
                <a:cubicBezTo>
                  <a:pt x="2774" y="1191"/>
                  <a:pt x="2774" y="1191"/>
                  <a:pt x="2774" y="1191"/>
                </a:cubicBezTo>
                <a:lnTo>
                  <a:pt x="2775" y="1191"/>
                </a:lnTo>
                <a:close/>
                <a:moveTo>
                  <a:pt x="2766" y="1199"/>
                </a:moveTo>
                <a:cubicBezTo>
                  <a:pt x="2767" y="1200"/>
                  <a:pt x="2767" y="1200"/>
                  <a:pt x="2767" y="1200"/>
                </a:cubicBezTo>
                <a:cubicBezTo>
                  <a:pt x="2768" y="1200"/>
                  <a:pt x="2768" y="1200"/>
                  <a:pt x="2768" y="1200"/>
                </a:cubicBezTo>
                <a:cubicBezTo>
                  <a:pt x="2767" y="1198"/>
                  <a:pt x="2767" y="1198"/>
                  <a:pt x="2767" y="1198"/>
                </a:cubicBezTo>
                <a:cubicBezTo>
                  <a:pt x="2767" y="1198"/>
                  <a:pt x="2766" y="1199"/>
                  <a:pt x="2766" y="1199"/>
                </a:cubicBezTo>
                <a:close/>
                <a:moveTo>
                  <a:pt x="2766" y="1206"/>
                </a:moveTo>
                <a:cubicBezTo>
                  <a:pt x="2766" y="1204"/>
                  <a:pt x="2766" y="1204"/>
                  <a:pt x="2766" y="1204"/>
                </a:cubicBezTo>
                <a:cubicBezTo>
                  <a:pt x="2765" y="1203"/>
                  <a:pt x="2765" y="1203"/>
                  <a:pt x="2765" y="1203"/>
                </a:cubicBezTo>
                <a:cubicBezTo>
                  <a:pt x="2765" y="1206"/>
                  <a:pt x="2765" y="1206"/>
                  <a:pt x="2765" y="1206"/>
                </a:cubicBezTo>
                <a:lnTo>
                  <a:pt x="2766" y="1206"/>
                </a:lnTo>
                <a:close/>
                <a:moveTo>
                  <a:pt x="2821" y="1073"/>
                </a:moveTo>
                <a:cubicBezTo>
                  <a:pt x="2825" y="1073"/>
                  <a:pt x="2825" y="1073"/>
                  <a:pt x="2825" y="1073"/>
                </a:cubicBezTo>
                <a:cubicBezTo>
                  <a:pt x="2826" y="1072"/>
                  <a:pt x="2826" y="1072"/>
                  <a:pt x="2826" y="1072"/>
                </a:cubicBezTo>
                <a:cubicBezTo>
                  <a:pt x="2828" y="1072"/>
                  <a:pt x="2828" y="1072"/>
                  <a:pt x="2828" y="1072"/>
                </a:cubicBezTo>
                <a:cubicBezTo>
                  <a:pt x="2832" y="1074"/>
                  <a:pt x="2832" y="1074"/>
                  <a:pt x="2832" y="1074"/>
                </a:cubicBezTo>
                <a:cubicBezTo>
                  <a:pt x="2834" y="1074"/>
                  <a:pt x="2834" y="1074"/>
                  <a:pt x="2834" y="1074"/>
                </a:cubicBezTo>
                <a:cubicBezTo>
                  <a:pt x="2836" y="1077"/>
                  <a:pt x="2836" y="1077"/>
                  <a:pt x="2836" y="1077"/>
                </a:cubicBezTo>
                <a:cubicBezTo>
                  <a:pt x="2838" y="1077"/>
                  <a:pt x="2838" y="1077"/>
                  <a:pt x="2838" y="1077"/>
                </a:cubicBezTo>
                <a:cubicBezTo>
                  <a:pt x="2839" y="1075"/>
                  <a:pt x="2839" y="1075"/>
                  <a:pt x="2839" y="1075"/>
                </a:cubicBezTo>
                <a:cubicBezTo>
                  <a:pt x="2838" y="1071"/>
                  <a:pt x="2838" y="1071"/>
                  <a:pt x="2838" y="1071"/>
                </a:cubicBezTo>
                <a:cubicBezTo>
                  <a:pt x="2833" y="1068"/>
                  <a:pt x="2833" y="1068"/>
                  <a:pt x="2833" y="1068"/>
                </a:cubicBezTo>
                <a:cubicBezTo>
                  <a:pt x="2829" y="1068"/>
                  <a:pt x="2829" y="1068"/>
                  <a:pt x="2829" y="1068"/>
                </a:cubicBezTo>
                <a:cubicBezTo>
                  <a:pt x="2827" y="1066"/>
                  <a:pt x="2827" y="1066"/>
                  <a:pt x="2827" y="1066"/>
                </a:cubicBezTo>
                <a:cubicBezTo>
                  <a:pt x="2825" y="1066"/>
                  <a:pt x="2825" y="1066"/>
                  <a:pt x="2825" y="1066"/>
                </a:cubicBezTo>
                <a:cubicBezTo>
                  <a:pt x="2823" y="1067"/>
                  <a:pt x="2823" y="1067"/>
                  <a:pt x="2823" y="1067"/>
                </a:cubicBezTo>
                <a:cubicBezTo>
                  <a:pt x="2821" y="1067"/>
                  <a:pt x="2821" y="1067"/>
                  <a:pt x="2821" y="1067"/>
                </a:cubicBezTo>
                <a:cubicBezTo>
                  <a:pt x="2819" y="1066"/>
                  <a:pt x="2819" y="1066"/>
                  <a:pt x="2819" y="1066"/>
                </a:cubicBezTo>
                <a:cubicBezTo>
                  <a:pt x="2816" y="1067"/>
                  <a:pt x="2816" y="1067"/>
                  <a:pt x="2816" y="1067"/>
                </a:cubicBezTo>
                <a:cubicBezTo>
                  <a:pt x="2812" y="1067"/>
                  <a:pt x="2812" y="1067"/>
                  <a:pt x="2812" y="1067"/>
                </a:cubicBezTo>
                <a:cubicBezTo>
                  <a:pt x="2811" y="1068"/>
                  <a:pt x="2811" y="1068"/>
                  <a:pt x="2811" y="1068"/>
                </a:cubicBezTo>
                <a:cubicBezTo>
                  <a:pt x="2811" y="1069"/>
                  <a:pt x="2811" y="1069"/>
                  <a:pt x="2811" y="1069"/>
                </a:cubicBezTo>
                <a:cubicBezTo>
                  <a:pt x="2810" y="1070"/>
                  <a:pt x="2810" y="1070"/>
                  <a:pt x="2810" y="1070"/>
                </a:cubicBezTo>
                <a:cubicBezTo>
                  <a:pt x="2809" y="1071"/>
                  <a:pt x="2809" y="1071"/>
                  <a:pt x="2809" y="1071"/>
                </a:cubicBezTo>
                <a:cubicBezTo>
                  <a:pt x="2809" y="1073"/>
                  <a:pt x="2809" y="1073"/>
                  <a:pt x="2809" y="1073"/>
                </a:cubicBezTo>
                <a:cubicBezTo>
                  <a:pt x="2811" y="1073"/>
                  <a:pt x="2811" y="1073"/>
                  <a:pt x="2811" y="1073"/>
                </a:cubicBezTo>
                <a:cubicBezTo>
                  <a:pt x="2812" y="1070"/>
                  <a:pt x="2812" y="1070"/>
                  <a:pt x="2812" y="1070"/>
                </a:cubicBezTo>
                <a:cubicBezTo>
                  <a:pt x="2814" y="1071"/>
                  <a:pt x="2814" y="1071"/>
                  <a:pt x="2814" y="1071"/>
                </a:cubicBezTo>
                <a:cubicBezTo>
                  <a:pt x="2815" y="1073"/>
                  <a:pt x="2815" y="1073"/>
                  <a:pt x="2815" y="1073"/>
                </a:cubicBezTo>
                <a:cubicBezTo>
                  <a:pt x="2817" y="1073"/>
                  <a:pt x="2817" y="1073"/>
                  <a:pt x="2817" y="1073"/>
                </a:cubicBezTo>
                <a:cubicBezTo>
                  <a:pt x="2819" y="1071"/>
                  <a:pt x="2819" y="1071"/>
                  <a:pt x="2819" y="1071"/>
                </a:cubicBezTo>
                <a:cubicBezTo>
                  <a:pt x="2820" y="1071"/>
                  <a:pt x="2820" y="1071"/>
                  <a:pt x="2820" y="1071"/>
                </a:cubicBezTo>
                <a:lnTo>
                  <a:pt x="2821" y="1073"/>
                </a:lnTo>
                <a:close/>
                <a:moveTo>
                  <a:pt x="2817" y="1075"/>
                </a:moveTo>
                <a:cubicBezTo>
                  <a:pt x="2817" y="1074"/>
                  <a:pt x="2817" y="1074"/>
                  <a:pt x="2817" y="1074"/>
                </a:cubicBezTo>
                <a:cubicBezTo>
                  <a:pt x="2816" y="1074"/>
                  <a:pt x="2816" y="1074"/>
                  <a:pt x="2816" y="1074"/>
                </a:cubicBezTo>
                <a:cubicBezTo>
                  <a:pt x="2816" y="1075"/>
                  <a:pt x="2816" y="1075"/>
                  <a:pt x="2816" y="1075"/>
                </a:cubicBezTo>
                <a:lnTo>
                  <a:pt x="2817" y="1075"/>
                </a:lnTo>
                <a:close/>
                <a:moveTo>
                  <a:pt x="2819" y="1123"/>
                </a:moveTo>
                <a:cubicBezTo>
                  <a:pt x="2818" y="1123"/>
                  <a:pt x="2818" y="1123"/>
                  <a:pt x="2818" y="1123"/>
                </a:cubicBezTo>
                <a:cubicBezTo>
                  <a:pt x="2816" y="1123"/>
                  <a:pt x="2816" y="1123"/>
                  <a:pt x="2816" y="1123"/>
                </a:cubicBezTo>
                <a:cubicBezTo>
                  <a:pt x="2817" y="1123"/>
                  <a:pt x="2817" y="1123"/>
                  <a:pt x="2817" y="1123"/>
                </a:cubicBezTo>
                <a:lnTo>
                  <a:pt x="2819" y="1123"/>
                </a:lnTo>
                <a:close/>
                <a:moveTo>
                  <a:pt x="2776" y="1030"/>
                </a:moveTo>
                <a:cubicBezTo>
                  <a:pt x="2777" y="1029"/>
                  <a:pt x="2777" y="1029"/>
                  <a:pt x="2777" y="1029"/>
                </a:cubicBezTo>
                <a:cubicBezTo>
                  <a:pt x="2778" y="1029"/>
                  <a:pt x="2778" y="1029"/>
                  <a:pt x="2778" y="1029"/>
                </a:cubicBezTo>
                <a:cubicBezTo>
                  <a:pt x="2779" y="1027"/>
                  <a:pt x="2779" y="1027"/>
                  <a:pt x="2779" y="1027"/>
                </a:cubicBezTo>
                <a:cubicBezTo>
                  <a:pt x="2780" y="1026"/>
                  <a:pt x="2780" y="1026"/>
                  <a:pt x="2780" y="1026"/>
                </a:cubicBezTo>
                <a:cubicBezTo>
                  <a:pt x="2781" y="1025"/>
                  <a:pt x="2781" y="1025"/>
                  <a:pt x="2781" y="1025"/>
                </a:cubicBezTo>
                <a:cubicBezTo>
                  <a:pt x="2782" y="1023"/>
                  <a:pt x="2782" y="1023"/>
                  <a:pt x="2782" y="1023"/>
                </a:cubicBezTo>
                <a:cubicBezTo>
                  <a:pt x="2783" y="1022"/>
                  <a:pt x="2783" y="1022"/>
                  <a:pt x="2783" y="1022"/>
                </a:cubicBezTo>
                <a:cubicBezTo>
                  <a:pt x="2782" y="1021"/>
                  <a:pt x="2782" y="1021"/>
                  <a:pt x="2782" y="1021"/>
                </a:cubicBezTo>
                <a:cubicBezTo>
                  <a:pt x="2782" y="1020"/>
                  <a:pt x="2782" y="1020"/>
                  <a:pt x="2782" y="1020"/>
                </a:cubicBezTo>
                <a:cubicBezTo>
                  <a:pt x="2779" y="1020"/>
                  <a:pt x="2779" y="1020"/>
                  <a:pt x="2779" y="1020"/>
                </a:cubicBezTo>
                <a:cubicBezTo>
                  <a:pt x="2777" y="1020"/>
                  <a:pt x="2777" y="1020"/>
                  <a:pt x="2777" y="1020"/>
                </a:cubicBezTo>
                <a:cubicBezTo>
                  <a:pt x="2776" y="1022"/>
                  <a:pt x="2776" y="1022"/>
                  <a:pt x="2776" y="1022"/>
                </a:cubicBezTo>
                <a:cubicBezTo>
                  <a:pt x="2775" y="1023"/>
                  <a:pt x="2775" y="1023"/>
                  <a:pt x="2775" y="1023"/>
                </a:cubicBezTo>
                <a:cubicBezTo>
                  <a:pt x="2775" y="1024"/>
                  <a:pt x="2775" y="1024"/>
                  <a:pt x="2775" y="1024"/>
                </a:cubicBezTo>
                <a:cubicBezTo>
                  <a:pt x="2773" y="1026"/>
                  <a:pt x="2773" y="1026"/>
                  <a:pt x="2773" y="1026"/>
                </a:cubicBezTo>
                <a:cubicBezTo>
                  <a:pt x="2771" y="1026"/>
                  <a:pt x="2771" y="1026"/>
                  <a:pt x="2771" y="1026"/>
                </a:cubicBezTo>
                <a:cubicBezTo>
                  <a:pt x="2770" y="1028"/>
                  <a:pt x="2770" y="1028"/>
                  <a:pt x="2770" y="1028"/>
                </a:cubicBezTo>
                <a:cubicBezTo>
                  <a:pt x="2768" y="1028"/>
                  <a:pt x="2768" y="1028"/>
                  <a:pt x="2768" y="1028"/>
                </a:cubicBezTo>
                <a:cubicBezTo>
                  <a:pt x="2763" y="1027"/>
                  <a:pt x="2763" y="1027"/>
                  <a:pt x="2763" y="1027"/>
                </a:cubicBezTo>
                <a:cubicBezTo>
                  <a:pt x="2759" y="1027"/>
                  <a:pt x="2759" y="1027"/>
                  <a:pt x="2759" y="1027"/>
                </a:cubicBezTo>
                <a:cubicBezTo>
                  <a:pt x="2758" y="1028"/>
                  <a:pt x="2758" y="1028"/>
                  <a:pt x="2758" y="1028"/>
                </a:cubicBezTo>
                <a:cubicBezTo>
                  <a:pt x="2757" y="1028"/>
                  <a:pt x="2757" y="1028"/>
                  <a:pt x="2757" y="1028"/>
                </a:cubicBezTo>
                <a:cubicBezTo>
                  <a:pt x="2755" y="1026"/>
                  <a:pt x="2755" y="1026"/>
                  <a:pt x="2755" y="1026"/>
                </a:cubicBezTo>
                <a:cubicBezTo>
                  <a:pt x="2754" y="1026"/>
                  <a:pt x="2754" y="1026"/>
                  <a:pt x="2754" y="1026"/>
                </a:cubicBezTo>
                <a:cubicBezTo>
                  <a:pt x="2752" y="1026"/>
                  <a:pt x="2752" y="1026"/>
                  <a:pt x="2752" y="1026"/>
                </a:cubicBezTo>
                <a:cubicBezTo>
                  <a:pt x="2750" y="1026"/>
                  <a:pt x="2750" y="1026"/>
                  <a:pt x="2750" y="1026"/>
                </a:cubicBezTo>
                <a:cubicBezTo>
                  <a:pt x="2747" y="1025"/>
                  <a:pt x="2747" y="1025"/>
                  <a:pt x="2747" y="1025"/>
                </a:cubicBezTo>
                <a:cubicBezTo>
                  <a:pt x="2746" y="1026"/>
                  <a:pt x="2746" y="1026"/>
                  <a:pt x="2746" y="1026"/>
                </a:cubicBezTo>
                <a:cubicBezTo>
                  <a:pt x="2744" y="1025"/>
                  <a:pt x="2744" y="1025"/>
                  <a:pt x="2744" y="1025"/>
                </a:cubicBezTo>
                <a:cubicBezTo>
                  <a:pt x="2742" y="1024"/>
                  <a:pt x="2742" y="1024"/>
                  <a:pt x="2742" y="1024"/>
                </a:cubicBezTo>
                <a:cubicBezTo>
                  <a:pt x="2739" y="1023"/>
                  <a:pt x="2739" y="1023"/>
                  <a:pt x="2739" y="1023"/>
                </a:cubicBezTo>
                <a:cubicBezTo>
                  <a:pt x="2738" y="1023"/>
                  <a:pt x="2738" y="1023"/>
                  <a:pt x="2738" y="1023"/>
                </a:cubicBezTo>
                <a:cubicBezTo>
                  <a:pt x="2738" y="1025"/>
                  <a:pt x="2738" y="1025"/>
                  <a:pt x="2738" y="1025"/>
                </a:cubicBezTo>
                <a:cubicBezTo>
                  <a:pt x="2736" y="1026"/>
                  <a:pt x="2736" y="1026"/>
                  <a:pt x="2736" y="1026"/>
                </a:cubicBezTo>
                <a:cubicBezTo>
                  <a:pt x="2735" y="1028"/>
                  <a:pt x="2735" y="1028"/>
                  <a:pt x="2735" y="1028"/>
                </a:cubicBezTo>
                <a:cubicBezTo>
                  <a:pt x="2734" y="1029"/>
                  <a:pt x="2734" y="1029"/>
                  <a:pt x="2734" y="1029"/>
                </a:cubicBezTo>
                <a:cubicBezTo>
                  <a:pt x="2731" y="1028"/>
                  <a:pt x="2731" y="1028"/>
                  <a:pt x="2731" y="1028"/>
                </a:cubicBezTo>
                <a:cubicBezTo>
                  <a:pt x="2729" y="1029"/>
                  <a:pt x="2729" y="1029"/>
                  <a:pt x="2729" y="1029"/>
                </a:cubicBezTo>
                <a:cubicBezTo>
                  <a:pt x="2728" y="1030"/>
                  <a:pt x="2728" y="1030"/>
                  <a:pt x="2728" y="1030"/>
                </a:cubicBezTo>
                <a:cubicBezTo>
                  <a:pt x="2728" y="1031"/>
                  <a:pt x="2728" y="1031"/>
                  <a:pt x="2728" y="1031"/>
                </a:cubicBezTo>
                <a:cubicBezTo>
                  <a:pt x="2726" y="1033"/>
                  <a:pt x="2726" y="1033"/>
                  <a:pt x="2726" y="1033"/>
                </a:cubicBezTo>
                <a:cubicBezTo>
                  <a:pt x="2726" y="1036"/>
                  <a:pt x="2726" y="1036"/>
                  <a:pt x="2726" y="1036"/>
                </a:cubicBezTo>
                <a:cubicBezTo>
                  <a:pt x="2726" y="1038"/>
                  <a:pt x="2726" y="1038"/>
                  <a:pt x="2726" y="1038"/>
                </a:cubicBezTo>
                <a:cubicBezTo>
                  <a:pt x="2726" y="1041"/>
                  <a:pt x="2726" y="1041"/>
                  <a:pt x="2726" y="1041"/>
                </a:cubicBezTo>
                <a:cubicBezTo>
                  <a:pt x="2725" y="1042"/>
                  <a:pt x="2725" y="1042"/>
                  <a:pt x="2725" y="1042"/>
                </a:cubicBezTo>
                <a:cubicBezTo>
                  <a:pt x="2726" y="1045"/>
                  <a:pt x="2726" y="1045"/>
                  <a:pt x="2726" y="1045"/>
                </a:cubicBezTo>
                <a:cubicBezTo>
                  <a:pt x="2727" y="1047"/>
                  <a:pt x="2727" y="1047"/>
                  <a:pt x="2727" y="1047"/>
                </a:cubicBezTo>
                <a:cubicBezTo>
                  <a:pt x="2726" y="1046"/>
                  <a:pt x="2726" y="1046"/>
                  <a:pt x="2726" y="1046"/>
                </a:cubicBezTo>
                <a:cubicBezTo>
                  <a:pt x="2725" y="1044"/>
                  <a:pt x="2725" y="1044"/>
                  <a:pt x="2725" y="1044"/>
                </a:cubicBezTo>
                <a:cubicBezTo>
                  <a:pt x="2724" y="1045"/>
                  <a:pt x="2724" y="1045"/>
                  <a:pt x="2724" y="1045"/>
                </a:cubicBezTo>
                <a:cubicBezTo>
                  <a:pt x="2723" y="1046"/>
                  <a:pt x="2723" y="1046"/>
                  <a:pt x="2723" y="1046"/>
                </a:cubicBezTo>
                <a:cubicBezTo>
                  <a:pt x="2721" y="1047"/>
                  <a:pt x="2721" y="1047"/>
                  <a:pt x="2721" y="1047"/>
                </a:cubicBezTo>
                <a:cubicBezTo>
                  <a:pt x="2721" y="1049"/>
                  <a:pt x="2721" y="1049"/>
                  <a:pt x="2721" y="1049"/>
                </a:cubicBezTo>
                <a:cubicBezTo>
                  <a:pt x="2721" y="1051"/>
                  <a:pt x="2721" y="1051"/>
                  <a:pt x="2721" y="1051"/>
                </a:cubicBezTo>
                <a:cubicBezTo>
                  <a:pt x="2720" y="1053"/>
                  <a:pt x="2720" y="1053"/>
                  <a:pt x="2720" y="1053"/>
                </a:cubicBezTo>
                <a:cubicBezTo>
                  <a:pt x="2721" y="1057"/>
                  <a:pt x="2721" y="1057"/>
                  <a:pt x="2721" y="1057"/>
                </a:cubicBezTo>
                <a:cubicBezTo>
                  <a:pt x="2720" y="1058"/>
                  <a:pt x="2720" y="1058"/>
                  <a:pt x="2720" y="1058"/>
                </a:cubicBezTo>
                <a:cubicBezTo>
                  <a:pt x="2720" y="1060"/>
                  <a:pt x="2720" y="1060"/>
                  <a:pt x="2720" y="1060"/>
                </a:cubicBezTo>
                <a:cubicBezTo>
                  <a:pt x="2719" y="1060"/>
                  <a:pt x="2719" y="1060"/>
                  <a:pt x="2719" y="1060"/>
                </a:cubicBezTo>
                <a:cubicBezTo>
                  <a:pt x="2719" y="1063"/>
                  <a:pt x="2719" y="1063"/>
                  <a:pt x="2719" y="1063"/>
                </a:cubicBezTo>
                <a:cubicBezTo>
                  <a:pt x="2716" y="1065"/>
                  <a:pt x="2716" y="1065"/>
                  <a:pt x="2716" y="1065"/>
                </a:cubicBezTo>
                <a:cubicBezTo>
                  <a:pt x="2716" y="1067"/>
                  <a:pt x="2716" y="1067"/>
                  <a:pt x="2716" y="1067"/>
                </a:cubicBezTo>
                <a:cubicBezTo>
                  <a:pt x="2716" y="1068"/>
                  <a:pt x="2716" y="1068"/>
                  <a:pt x="2716" y="1068"/>
                </a:cubicBezTo>
                <a:cubicBezTo>
                  <a:pt x="2715" y="1069"/>
                  <a:pt x="2715" y="1069"/>
                  <a:pt x="2715" y="1069"/>
                </a:cubicBezTo>
                <a:cubicBezTo>
                  <a:pt x="2716" y="1073"/>
                  <a:pt x="2716" y="1073"/>
                  <a:pt x="2716" y="1073"/>
                </a:cubicBezTo>
                <a:cubicBezTo>
                  <a:pt x="2717" y="1074"/>
                  <a:pt x="2717" y="1074"/>
                  <a:pt x="2717" y="1074"/>
                </a:cubicBezTo>
                <a:cubicBezTo>
                  <a:pt x="2718" y="1074"/>
                  <a:pt x="2718" y="1074"/>
                  <a:pt x="2718" y="1074"/>
                </a:cubicBezTo>
                <a:cubicBezTo>
                  <a:pt x="2720" y="1074"/>
                  <a:pt x="2720" y="1074"/>
                  <a:pt x="2720" y="1074"/>
                </a:cubicBezTo>
                <a:cubicBezTo>
                  <a:pt x="2721" y="1073"/>
                  <a:pt x="2721" y="1073"/>
                  <a:pt x="2721" y="1073"/>
                </a:cubicBezTo>
                <a:cubicBezTo>
                  <a:pt x="2722" y="1074"/>
                  <a:pt x="2722" y="1074"/>
                  <a:pt x="2722" y="1074"/>
                </a:cubicBezTo>
                <a:cubicBezTo>
                  <a:pt x="2722" y="1076"/>
                  <a:pt x="2722" y="1076"/>
                  <a:pt x="2722" y="1076"/>
                </a:cubicBezTo>
                <a:cubicBezTo>
                  <a:pt x="2724" y="1081"/>
                  <a:pt x="2724" y="1081"/>
                  <a:pt x="2724" y="1081"/>
                </a:cubicBezTo>
                <a:cubicBezTo>
                  <a:pt x="2724" y="1082"/>
                  <a:pt x="2724" y="1082"/>
                  <a:pt x="2724" y="1082"/>
                </a:cubicBezTo>
                <a:cubicBezTo>
                  <a:pt x="2723" y="1085"/>
                  <a:pt x="2723" y="1085"/>
                  <a:pt x="2723" y="1085"/>
                </a:cubicBezTo>
                <a:cubicBezTo>
                  <a:pt x="2721" y="1087"/>
                  <a:pt x="2721" y="1087"/>
                  <a:pt x="2721" y="1087"/>
                </a:cubicBezTo>
                <a:cubicBezTo>
                  <a:pt x="2721" y="1091"/>
                  <a:pt x="2721" y="1091"/>
                  <a:pt x="2721" y="1091"/>
                </a:cubicBezTo>
                <a:cubicBezTo>
                  <a:pt x="2722" y="1095"/>
                  <a:pt x="2722" y="1095"/>
                  <a:pt x="2722" y="1095"/>
                </a:cubicBezTo>
                <a:cubicBezTo>
                  <a:pt x="2723" y="1095"/>
                  <a:pt x="2723" y="1095"/>
                  <a:pt x="2723" y="1095"/>
                </a:cubicBezTo>
                <a:cubicBezTo>
                  <a:pt x="2724" y="1095"/>
                  <a:pt x="2724" y="1095"/>
                  <a:pt x="2724" y="1095"/>
                </a:cubicBezTo>
                <a:cubicBezTo>
                  <a:pt x="2726" y="1095"/>
                  <a:pt x="2726" y="1095"/>
                  <a:pt x="2726" y="1095"/>
                </a:cubicBezTo>
                <a:cubicBezTo>
                  <a:pt x="2727" y="1094"/>
                  <a:pt x="2727" y="1094"/>
                  <a:pt x="2727" y="1094"/>
                </a:cubicBezTo>
                <a:cubicBezTo>
                  <a:pt x="2729" y="1095"/>
                  <a:pt x="2729" y="1095"/>
                  <a:pt x="2729" y="1095"/>
                </a:cubicBezTo>
                <a:cubicBezTo>
                  <a:pt x="2731" y="1094"/>
                  <a:pt x="2731" y="1094"/>
                  <a:pt x="2731" y="1094"/>
                </a:cubicBezTo>
                <a:cubicBezTo>
                  <a:pt x="2732" y="1095"/>
                  <a:pt x="2732" y="1095"/>
                  <a:pt x="2732" y="1095"/>
                </a:cubicBezTo>
                <a:cubicBezTo>
                  <a:pt x="2732" y="1094"/>
                  <a:pt x="2732" y="1094"/>
                  <a:pt x="2732" y="1094"/>
                </a:cubicBezTo>
                <a:cubicBezTo>
                  <a:pt x="2732" y="1092"/>
                  <a:pt x="2732" y="1092"/>
                  <a:pt x="2732" y="1092"/>
                </a:cubicBezTo>
                <a:cubicBezTo>
                  <a:pt x="2731" y="1091"/>
                  <a:pt x="2731" y="1091"/>
                  <a:pt x="2731" y="1091"/>
                </a:cubicBezTo>
                <a:cubicBezTo>
                  <a:pt x="2730" y="1088"/>
                  <a:pt x="2730" y="1088"/>
                  <a:pt x="2730" y="1088"/>
                </a:cubicBezTo>
                <a:cubicBezTo>
                  <a:pt x="2731" y="1086"/>
                  <a:pt x="2731" y="1086"/>
                  <a:pt x="2731" y="1086"/>
                </a:cubicBezTo>
                <a:cubicBezTo>
                  <a:pt x="2732" y="1083"/>
                  <a:pt x="2732" y="1083"/>
                  <a:pt x="2732" y="1083"/>
                </a:cubicBezTo>
                <a:cubicBezTo>
                  <a:pt x="2732" y="1080"/>
                  <a:pt x="2732" y="1080"/>
                  <a:pt x="2732" y="1080"/>
                </a:cubicBezTo>
                <a:cubicBezTo>
                  <a:pt x="2731" y="1079"/>
                  <a:pt x="2731" y="1079"/>
                  <a:pt x="2731" y="1079"/>
                </a:cubicBezTo>
                <a:cubicBezTo>
                  <a:pt x="2733" y="1076"/>
                  <a:pt x="2733" y="1076"/>
                  <a:pt x="2733" y="1076"/>
                </a:cubicBezTo>
                <a:cubicBezTo>
                  <a:pt x="2733" y="1073"/>
                  <a:pt x="2733" y="1073"/>
                  <a:pt x="2733" y="1073"/>
                </a:cubicBezTo>
                <a:cubicBezTo>
                  <a:pt x="2733" y="1070"/>
                  <a:pt x="2733" y="1070"/>
                  <a:pt x="2733" y="1070"/>
                </a:cubicBezTo>
                <a:cubicBezTo>
                  <a:pt x="2731" y="1069"/>
                  <a:pt x="2731" y="1069"/>
                  <a:pt x="2731" y="1069"/>
                </a:cubicBezTo>
                <a:cubicBezTo>
                  <a:pt x="2731" y="1068"/>
                  <a:pt x="2731" y="1068"/>
                  <a:pt x="2731" y="1068"/>
                </a:cubicBezTo>
                <a:cubicBezTo>
                  <a:pt x="2734" y="1067"/>
                  <a:pt x="2734" y="1067"/>
                  <a:pt x="2734" y="1067"/>
                </a:cubicBezTo>
                <a:cubicBezTo>
                  <a:pt x="2735" y="1065"/>
                  <a:pt x="2735" y="1065"/>
                  <a:pt x="2735" y="1065"/>
                </a:cubicBezTo>
                <a:cubicBezTo>
                  <a:pt x="2737" y="1065"/>
                  <a:pt x="2737" y="1065"/>
                  <a:pt x="2737" y="1065"/>
                </a:cubicBezTo>
                <a:cubicBezTo>
                  <a:pt x="2739" y="1066"/>
                  <a:pt x="2739" y="1066"/>
                  <a:pt x="2739" y="1066"/>
                </a:cubicBezTo>
                <a:cubicBezTo>
                  <a:pt x="2738" y="1067"/>
                  <a:pt x="2738" y="1067"/>
                  <a:pt x="2738" y="1067"/>
                </a:cubicBezTo>
                <a:cubicBezTo>
                  <a:pt x="2739" y="1068"/>
                  <a:pt x="2739" y="1068"/>
                  <a:pt x="2739" y="1068"/>
                </a:cubicBezTo>
                <a:cubicBezTo>
                  <a:pt x="2739" y="1070"/>
                  <a:pt x="2739" y="1070"/>
                  <a:pt x="2739" y="1070"/>
                </a:cubicBezTo>
                <a:cubicBezTo>
                  <a:pt x="2738" y="1072"/>
                  <a:pt x="2738" y="1072"/>
                  <a:pt x="2738" y="1072"/>
                </a:cubicBezTo>
                <a:cubicBezTo>
                  <a:pt x="2737" y="1074"/>
                  <a:pt x="2737" y="1074"/>
                  <a:pt x="2737" y="1074"/>
                </a:cubicBezTo>
                <a:cubicBezTo>
                  <a:pt x="2738" y="1076"/>
                  <a:pt x="2738" y="1076"/>
                  <a:pt x="2738" y="1076"/>
                </a:cubicBezTo>
                <a:cubicBezTo>
                  <a:pt x="2740" y="1076"/>
                  <a:pt x="2740" y="1076"/>
                  <a:pt x="2740" y="1076"/>
                </a:cubicBezTo>
                <a:cubicBezTo>
                  <a:pt x="2741" y="1078"/>
                  <a:pt x="2741" y="1078"/>
                  <a:pt x="2741" y="1078"/>
                </a:cubicBezTo>
                <a:cubicBezTo>
                  <a:pt x="2743" y="1079"/>
                  <a:pt x="2743" y="1079"/>
                  <a:pt x="2743" y="1079"/>
                </a:cubicBezTo>
                <a:cubicBezTo>
                  <a:pt x="2744" y="1081"/>
                  <a:pt x="2744" y="1081"/>
                  <a:pt x="2744" y="1081"/>
                </a:cubicBezTo>
                <a:cubicBezTo>
                  <a:pt x="2743" y="1081"/>
                  <a:pt x="2743" y="1081"/>
                  <a:pt x="2743" y="1081"/>
                </a:cubicBezTo>
                <a:cubicBezTo>
                  <a:pt x="2742" y="1085"/>
                  <a:pt x="2742" y="1085"/>
                  <a:pt x="2742" y="1085"/>
                </a:cubicBezTo>
                <a:cubicBezTo>
                  <a:pt x="2743" y="1087"/>
                  <a:pt x="2743" y="1087"/>
                  <a:pt x="2743" y="1087"/>
                </a:cubicBezTo>
                <a:cubicBezTo>
                  <a:pt x="2745" y="1087"/>
                  <a:pt x="2745" y="1087"/>
                  <a:pt x="2745" y="1087"/>
                </a:cubicBezTo>
                <a:cubicBezTo>
                  <a:pt x="2746" y="1087"/>
                  <a:pt x="2746" y="1087"/>
                  <a:pt x="2746" y="1087"/>
                </a:cubicBezTo>
                <a:cubicBezTo>
                  <a:pt x="2748" y="1088"/>
                  <a:pt x="2748" y="1088"/>
                  <a:pt x="2748" y="1088"/>
                </a:cubicBezTo>
                <a:cubicBezTo>
                  <a:pt x="2750" y="1088"/>
                  <a:pt x="2750" y="1088"/>
                  <a:pt x="2750" y="1088"/>
                </a:cubicBezTo>
                <a:cubicBezTo>
                  <a:pt x="2749" y="1087"/>
                  <a:pt x="2749" y="1087"/>
                  <a:pt x="2749" y="1087"/>
                </a:cubicBezTo>
                <a:cubicBezTo>
                  <a:pt x="2749" y="1085"/>
                  <a:pt x="2749" y="1085"/>
                  <a:pt x="2749" y="1085"/>
                </a:cubicBezTo>
                <a:cubicBezTo>
                  <a:pt x="2751" y="1084"/>
                  <a:pt x="2751" y="1084"/>
                  <a:pt x="2751" y="1084"/>
                </a:cubicBezTo>
                <a:cubicBezTo>
                  <a:pt x="2752" y="1083"/>
                  <a:pt x="2752" y="1083"/>
                  <a:pt x="2752" y="1083"/>
                </a:cubicBezTo>
                <a:cubicBezTo>
                  <a:pt x="2755" y="1082"/>
                  <a:pt x="2755" y="1082"/>
                  <a:pt x="2755" y="1082"/>
                </a:cubicBezTo>
                <a:cubicBezTo>
                  <a:pt x="2758" y="1082"/>
                  <a:pt x="2758" y="1082"/>
                  <a:pt x="2758" y="1082"/>
                </a:cubicBezTo>
                <a:cubicBezTo>
                  <a:pt x="2759" y="1081"/>
                  <a:pt x="2759" y="1081"/>
                  <a:pt x="2759" y="1081"/>
                </a:cubicBezTo>
                <a:cubicBezTo>
                  <a:pt x="2760" y="1081"/>
                  <a:pt x="2760" y="1081"/>
                  <a:pt x="2760" y="1081"/>
                </a:cubicBezTo>
                <a:cubicBezTo>
                  <a:pt x="2761" y="1081"/>
                  <a:pt x="2761" y="1081"/>
                  <a:pt x="2761" y="1081"/>
                </a:cubicBezTo>
                <a:cubicBezTo>
                  <a:pt x="2762" y="1080"/>
                  <a:pt x="2762" y="1080"/>
                  <a:pt x="2762" y="1080"/>
                </a:cubicBezTo>
                <a:cubicBezTo>
                  <a:pt x="2762" y="1079"/>
                  <a:pt x="2762" y="1079"/>
                  <a:pt x="2762" y="1079"/>
                </a:cubicBezTo>
                <a:cubicBezTo>
                  <a:pt x="2759" y="1079"/>
                  <a:pt x="2759" y="1079"/>
                  <a:pt x="2759" y="1079"/>
                </a:cubicBezTo>
                <a:cubicBezTo>
                  <a:pt x="2758" y="1079"/>
                  <a:pt x="2758" y="1079"/>
                  <a:pt x="2758" y="1079"/>
                </a:cubicBezTo>
                <a:cubicBezTo>
                  <a:pt x="2757" y="1079"/>
                  <a:pt x="2757" y="1079"/>
                  <a:pt x="2757" y="1079"/>
                </a:cubicBezTo>
                <a:cubicBezTo>
                  <a:pt x="2756" y="1079"/>
                  <a:pt x="2756" y="1079"/>
                  <a:pt x="2756" y="1079"/>
                </a:cubicBezTo>
                <a:cubicBezTo>
                  <a:pt x="2755" y="1078"/>
                  <a:pt x="2755" y="1078"/>
                  <a:pt x="2755" y="1078"/>
                </a:cubicBezTo>
                <a:cubicBezTo>
                  <a:pt x="2754" y="1078"/>
                  <a:pt x="2754" y="1078"/>
                  <a:pt x="2754" y="1078"/>
                </a:cubicBezTo>
                <a:cubicBezTo>
                  <a:pt x="2755" y="1077"/>
                  <a:pt x="2755" y="1077"/>
                  <a:pt x="2755" y="1077"/>
                </a:cubicBezTo>
                <a:cubicBezTo>
                  <a:pt x="2754" y="1076"/>
                  <a:pt x="2754" y="1076"/>
                  <a:pt x="2754" y="1076"/>
                </a:cubicBezTo>
                <a:cubicBezTo>
                  <a:pt x="2753" y="1077"/>
                  <a:pt x="2753" y="1077"/>
                  <a:pt x="2753" y="1077"/>
                </a:cubicBezTo>
                <a:cubicBezTo>
                  <a:pt x="2753" y="1076"/>
                  <a:pt x="2753" y="1076"/>
                  <a:pt x="2753" y="1076"/>
                </a:cubicBezTo>
                <a:cubicBezTo>
                  <a:pt x="2751" y="1075"/>
                  <a:pt x="2751" y="1075"/>
                  <a:pt x="2751" y="1075"/>
                </a:cubicBezTo>
                <a:cubicBezTo>
                  <a:pt x="2750" y="1074"/>
                  <a:pt x="2750" y="1074"/>
                  <a:pt x="2750" y="1074"/>
                </a:cubicBezTo>
                <a:cubicBezTo>
                  <a:pt x="2752" y="1073"/>
                  <a:pt x="2752" y="1073"/>
                  <a:pt x="2752" y="1073"/>
                </a:cubicBezTo>
                <a:cubicBezTo>
                  <a:pt x="2752" y="1072"/>
                  <a:pt x="2752" y="1072"/>
                  <a:pt x="2752" y="1072"/>
                </a:cubicBezTo>
                <a:cubicBezTo>
                  <a:pt x="2753" y="1072"/>
                  <a:pt x="2753" y="1072"/>
                  <a:pt x="2753" y="1072"/>
                </a:cubicBezTo>
                <a:cubicBezTo>
                  <a:pt x="2752" y="1071"/>
                  <a:pt x="2752" y="1071"/>
                  <a:pt x="2752" y="1071"/>
                </a:cubicBezTo>
                <a:cubicBezTo>
                  <a:pt x="2753" y="1071"/>
                  <a:pt x="2753" y="1071"/>
                  <a:pt x="2753" y="1071"/>
                </a:cubicBezTo>
                <a:cubicBezTo>
                  <a:pt x="2753" y="1070"/>
                  <a:pt x="2753" y="1070"/>
                  <a:pt x="2753" y="1070"/>
                </a:cubicBezTo>
                <a:cubicBezTo>
                  <a:pt x="2752" y="1069"/>
                  <a:pt x="2752" y="1069"/>
                  <a:pt x="2752" y="1069"/>
                </a:cubicBezTo>
                <a:cubicBezTo>
                  <a:pt x="2751" y="1068"/>
                  <a:pt x="2751" y="1068"/>
                  <a:pt x="2751" y="1068"/>
                </a:cubicBezTo>
                <a:cubicBezTo>
                  <a:pt x="2752" y="1067"/>
                  <a:pt x="2752" y="1067"/>
                  <a:pt x="2752" y="1067"/>
                </a:cubicBezTo>
                <a:cubicBezTo>
                  <a:pt x="2751" y="1066"/>
                  <a:pt x="2751" y="1066"/>
                  <a:pt x="2751" y="1066"/>
                </a:cubicBezTo>
                <a:cubicBezTo>
                  <a:pt x="2750" y="1065"/>
                  <a:pt x="2750" y="1065"/>
                  <a:pt x="2750" y="1065"/>
                </a:cubicBezTo>
                <a:cubicBezTo>
                  <a:pt x="2749" y="1065"/>
                  <a:pt x="2749" y="1065"/>
                  <a:pt x="2749" y="1065"/>
                </a:cubicBezTo>
                <a:cubicBezTo>
                  <a:pt x="2748" y="1063"/>
                  <a:pt x="2748" y="1063"/>
                  <a:pt x="2748" y="1063"/>
                </a:cubicBezTo>
                <a:cubicBezTo>
                  <a:pt x="2745" y="1060"/>
                  <a:pt x="2745" y="1060"/>
                  <a:pt x="2745" y="1060"/>
                </a:cubicBezTo>
                <a:cubicBezTo>
                  <a:pt x="2744" y="1059"/>
                  <a:pt x="2744" y="1059"/>
                  <a:pt x="2744" y="1059"/>
                </a:cubicBezTo>
                <a:cubicBezTo>
                  <a:pt x="2743" y="1057"/>
                  <a:pt x="2743" y="1057"/>
                  <a:pt x="2743" y="1057"/>
                </a:cubicBezTo>
                <a:cubicBezTo>
                  <a:pt x="2743" y="1056"/>
                  <a:pt x="2743" y="1056"/>
                  <a:pt x="2743" y="1056"/>
                </a:cubicBezTo>
                <a:cubicBezTo>
                  <a:pt x="2744" y="1056"/>
                  <a:pt x="2744" y="1056"/>
                  <a:pt x="2744" y="1056"/>
                </a:cubicBezTo>
                <a:cubicBezTo>
                  <a:pt x="2744" y="1057"/>
                  <a:pt x="2744" y="1057"/>
                  <a:pt x="2744" y="1057"/>
                </a:cubicBezTo>
                <a:cubicBezTo>
                  <a:pt x="2746" y="1057"/>
                  <a:pt x="2746" y="1057"/>
                  <a:pt x="2746" y="1057"/>
                </a:cubicBezTo>
                <a:cubicBezTo>
                  <a:pt x="2747" y="1056"/>
                  <a:pt x="2747" y="1056"/>
                  <a:pt x="2747" y="1056"/>
                </a:cubicBezTo>
                <a:cubicBezTo>
                  <a:pt x="2748" y="1055"/>
                  <a:pt x="2748" y="1055"/>
                  <a:pt x="2748" y="1055"/>
                </a:cubicBezTo>
                <a:cubicBezTo>
                  <a:pt x="2752" y="1054"/>
                  <a:pt x="2752" y="1054"/>
                  <a:pt x="2752" y="1054"/>
                </a:cubicBezTo>
                <a:cubicBezTo>
                  <a:pt x="2755" y="1051"/>
                  <a:pt x="2755" y="1051"/>
                  <a:pt x="2755" y="1051"/>
                </a:cubicBezTo>
                <a:cubicBezTo>
                  <a:pt x="2756" y="1049"/>
                  <a:pt x="2756" y="1049"/>
                  <a:pt x="2756" y="1049"/>
                </a:cubicBezTo>
                <a:cubicBezTo>
                  <a:pt x="2758" y="1048"/>
                  <a:pt x="2758" y="1048"/>
                  <a:pt x="2758" y="1048"/>
                </a:cubicBezTo>
                <a:cubicBezTo>
                  <a:pt x="2758" y="1047"/>
                  <a:pt x="2758" y="1047"/>
                  <a:pt x="2758" y="1047"/>
                </a:cubicBezTo>
                <a:cubicBezTo>
                  <a:pt x="2760" y="1046"/>
                  <a:pt x="2760" y="1046"/>
                  <a:pt x="2760" y="1046"/>
                </a:cubicBezTo>
                <a:cubicBezTo>
                  <a:pt x="2762" y="1047"/>
                  <a:pt x="2762" y="1047"/>
                  <a:pt x="2762" y="1047"/>
                </a:cubicBezTo>
                <a:cubicBezTo>
                  <a:pt x="2764" y="1047"/>
                  <a:pt x="2764" y="1047"/>
                  <a:pt x="2764" y="1047"/>
                </a:cubicBezTo>
                <a:cubicBezTo>
                  <a:pt x="2765" y="1045"/>
                  <a:pt x="2765" y="1045"/>
                  <a:pt x="2765" y="1045"/>
                </a:cubicBezTo>
                <a:cubicBezTo>
                  <a:pt x="2765" y="1043"/>
                  <a:pt x="2765" y="1043"/>
                  <a:pt x="2765" y="1043"/>
                </a:cubicBezTo>
                <a:cubicBezTo>
                  <a:pt x="2763" y="1042"/>
                  <a:pt x="2763" y="1042"/>
                  <a:pt x="2763" y="1042"/>
                </a:cubicBezTo>
                <a:cubicBezTo>
                  <a:pt x="2759" y="1043"/>
                  <a:pt x="2759" y="1043"/>
                  <a:pt x="2759" y="1043"/>
                </a:cubicBezTo>
                <a:cubicBezTo>
                  <a:pt x="2757" y="1044"/>
                  <a:pt x="2757" y="1044"/>
                  <a:pt x="2757" y="1044"/>
                </a:cubicBezTo>
                <a:cubicBezTo>
                  <a:pt x="2754" y="1044"/>
                  <a:pt x="2754" y="1044"/>
                  <a:pt x="2754" y="1044"/>
                </a:cubicBezTo>
                <a:cubicBezTo>
                  <a:pt x="2752" y="1045"/>
                  <a:pt x="2752" y="1045"/>
                  <a:pt x="2752" y="1045"/>
                </a:cubicBezTo>
                <a:cubicBezTo>
                  <a:pt x="2750" y="1046"/>
                  <a:pt x="2750" y="1046"/>
                  <a:pt x="2750" y="1046"/>
                </a:cubicBezTo>
                <a:cubicBezTo>
                  <a:pt x="2749" y="1046"/>
                  <a:pt x="2749" y="1046"/>
                  <a:pt x="2749" y="1046"/>
                </a:cubicBezTo>
                <a:cubicBezTo>
                  <a:pt x="2747" y="1047"/>
                  <a:pt x="2747" y="1047"/>
                  <a:pt x="2747" y="1047"/>
                </a:cubicBezTo>
                <a:cubicBezTo>
                  <a:pt x="2745" y="1046"/>
                  <a:pt x="2745" y="1046"/>
                  <a:pt x="2745" y="1046"/>
                </a:cubicBezTo>
                <a:cubicBezTo>
                  <a:pt x="2743" y="1045"/>
                  <a:pt x="2743" y="1045"/>
                  <a:pt x="2743" y="1045"/>
                </a:cubicBezTo>
                <a:cubicBezTo>
                  <a:pt x="2741" y="1048"/>
                  <a:pt x="2741" y="1048"/>
                  <a:pt x="2741" y="1048"/>
                </a:cubicBezTo>
                <a:cubicBezTo>
                  <a:pt x="2740" y="1051"/>
                  <a:pt x="2740" y="1051"/>
                  <a:pt x="2740" y="1051"/>
                </a:cubicBezTo>
                <a:cubicBezTo>
                  <a:pt x="2738" y="1052"/>
                  <a:pt x="2738" y="1052"/>
                  <a:pt x="2738" y="1052"/>
                </a:cubicBezTo>
                <a:cubicBezTo>
                  <a:pt x="2736" y="1052"/>
                  <a:pt x="2736" y="1052"/>
                  <a:pt x="2736" y="1052"/>
                </a:cubicBezTo>
                <a:cubicBezTo>
                  <a:pt x="2735" y="1051"/>
                  <a:pt x="2735" y="1051"/>
                  <a:pt x="2735" y="1051"/>
                </a:cubicBezTo>
                <a:cubicBezTo>
                  <a:pt x="2733" y="1048"/>
                  <a:pt x="2733" y="1048"/>
                  <a:pt x="2733" y="1048"/>
                </a:cubicBezTo>
                <a:cubicBezTo>
                  <a:pt x="2730" y="1046"/>
                  <a:pt x="2730" y="1046"/>
                  <a:pt x="2730" y="1046"/>
                </a:cubicBezTo>
                <a:cubicBezTo>
                  <a:pt x="2729" y="1042"/>
                  <a:pt x="2729" y="1042"/>
                  <a:pt x="2729" y="1042"/>
                </a:cubicBezTo>
                <a:cubicBezTo>
                  <a:pt x="2729" y="1038"/>
                  <a:pt x="2729" y="1038"/>
                  <a:pt x="2729" y="1038"/>
                </a:cubicBezTo>
                <a:cubicBezTo>
                  <a:pt x="2731" y="1034"/>
                  <a:pt x="2731" y="1034"/>
                  <a:pt x="2731" y="1034"/>
                </a:cubicBezTo>
                <a:cubicBezTo>
                  <a:pt x="2733" y="1032"/>
                  <a:pt x="2733" y="1032"/>
                  <a:pt x="2733" y="1032"/>
                </a:cubicBezTo>
                <a:cubicBezTo>
                  <a:pt x="2735" y="1032"/>
                  <a:pt x="2735" y="1032"/>
                  <a:pt x="2735" y="1032"/>
                </a:cubicBezTo>
                <a:cubicBezTo>
                  <a:pt x="2738" y="1033"/>
                  <a:pt x="2738" y="1033"/>
                  <a:pt x="2738" y="1033"/>
                </a:cubicBezTo>
                <a:cubicBezTo>
                  <a:pt x="2741" y="1033"/>
                  <a:pt x="2741" y="1033"/>
                  <a:pt x="2741" y="1033"/>
                </a:cubicBezTo>
                <a:cubicBezTo>
                  <a:pt x="2745" y="1031"/>
                  <a:pt x="2745" y="1031"/>
                  <a:pt x="2745" y="1031"/>
                </a:cubicBezTo>
                <a:cubicBezTo>
                  <a:pt x="2747" y="1031"/>
                  <a:pt x="2747" y="1031"/>
                  <a:pt x="2747" y="1031"/>
                </a:cubicBezTo>
                <a:cubicBezTo>
                  <a:pt x="2748" y="1033"/>
                  <a:pt x="2748" y="1033"/>
                  <a:pt x="2748" y="1033"/>
                </a:cubicBezTo>
                <a:cubicBezTo>
                  <a:pt x="2750" y="1033"/>
                  <a:pt x="2750" y="1033"/>
                  <a:pt x="2750" y="1033"/>
                </a:cubicBezTo>
                <a:cubicBezTo>
                  <a:pt x="2751" y="1032"/>
                  <a:pt x="2751" y="1032"/>
                  <a:pt x="2751" y="1032"/>
                </a:cubicBezTo>
                <a:cubicBezTo>
                  <a:pt x="2756" y="1032"/>
                  <a:pt x="2756" y="1032"/>
                  <a:pt x="2756" y="1032"/>
                </a:cubicBezTo>
                <a:cubicBezTo>
                  <a:pt x="2758" y="1032"/>
                  <a:pt x="2758" y="1032"/>
                  <a:pt x="2758" y="1032"/>
                </a:cubicBezTo>
                <a:cubicBezTo>
                  <a:pt x="2758" y="1032"/>
                  <a:pt x="2758" y="1032"/>
                  <a:pt x="2758" y="1032"/>
                </a:cubicBezTo>
                <a:cubicBezTo>
                  <a:pt x="2761" y="1032"/>
                  <a:pt x="2761" y="1032"/>
                  <a:pt x="2761" y="1032"/>
                </a:cubicBezTo>
                <a:cubicBezTo>
                  <a:pt x="2762" y="1033"/>
                  <a:pt x="2762" y="1033"/>
                  <a:pt x="2762" y="1033"/>
                </a:cubicBezTo>
                <a:cubicBezTo>
                  <a:pt x="2763" y="1034"/>
                  <a:pt x="2763" y="1034"/>
                  <a:pt x="2763" y="1034"/>
                </a:cubicBezTo>
                <a:cubicBezTo>
                  <a:pt x="2765" y="1034"/>
                  <a:pt x="2765" y="1034"/>
                  <a:pt x="2765" y="1034"/>
                </a:cubicBezTo>
                <a:cubicBezTo>
                  <a:pt x="2772" y="1033"/>
                  <a:pt x="2772" y="1033"/>
                  <a:pt x="2772" y="1033"/>
                </a:cubicBezTo>
                <a:lnTo>
                  <a:pt x="2776" y="1030"/>
                </a:lnTo>
                <a:close/>
                <a:moveTo>
                  <a:pt x="2727" y="889"/>
                </a:moveTo>
                <a:cubicBezTo>
                  <a:pt x="2725" y="887"/>
                  <a:pt x="2725" y="887"/>
                  <a:pt x="2725" y="887"/>
                </a:cubicBezTo>
                <a:cubicBezTo>
                  <a:pt x="2724" y="887"/>
                  <a:pt x="2724" y="887"/>
                  <a:pt x="2724" y="887"/>
                </a:cubicBezTo>
                <a:cubicBezTo>
                  <a:pt x="2724" y="889"/>
                  <a:pt x="2724" y="889"/>
                  <a:pt x="2724" y="889"/>
                </a:cubicBezTo>
                <a:cubicBezTo>
                  <a:pt x="2726" y="890"/>
                  <a:pt x="2726" y="890"/>
                  <a:pt x="2726" y="890"/>
                </a:cubicBezTo>
                <a:lnTo>
                  <a:pt x="2727" y="889"/>
                </a:lnTo>
                <a:close/>
                <a:moveTo>
                  <a:pt x="2722" y="905"/>
                </a:moveTo>
                <a:cubicBezTo>
                  <a:pt x="2722" y="906"/>
                  <a:pt x="2722" y="906"/>
                  <a:pt x="2722" y="906"/>
                </a:cubicBezTo>
                <a:cubicBezTo>
                  <a:pt x="2723" y="907"/>
                  <a:pt x="2723" y="907"/>
                  <a:pt x="2723" y="907"/>
                </a:cubicBezTo>
                <a:cubicBezTo>
                  <a:pt x="2725" y="907"/>
                  <a:pt x="2725" y="907"/>
                  <a:pt x="2725" y="907"/>
                </a:cubicBezTo>
                <a:cubicBezTo>
                  <a:pt x="2727" y="908"/>
                  <a:pt x="2727" y="908"/>
                  <a:pt x="2727" y="908"/>
                </a:cubicBezTo>
                <a:cubicBezTo>
                  <a:pt x="2728" y="907"/>
                  <a:pt x="2728" y="907"/>
                  <a:pt x="2728" y="907"/>
                </a:cubicBezTo>
                <a:cubicBezTo>
                  <a:pt x="2727" y="906"/>
                  <a:pt x="2727" y="906"/>
                  <a:pt x="2727" y="906"/>
                </a:cubicBezTo>
                <a:cubicBezTo>
                  <a:pt x="2725" y="906"/>
                  <a:pt x="2725" y="906"/>
                  <a:pt x="2725" y="906"/>
                </a:cubicBezTo>
                <a:cubicBezTo>
                  <a:pt x="2724" y="904"/>
                  <a:pt x="2724" y="904"/>
                  <a:pt x="2724" y="904"/>
                </a:cubicBezTo>
                <a:cubicBezTo>
                  <a:pt x="2722" y="904"/>
                  <a:pt x="2722" y="904"/>
                  <a:pt x="2722" y="904"/>
                </a:cubicBezTo>
                <a:lnTo>
                  <a:pt x="2722" y="905"/>
                </a:lnTo>
                <a:close/>
                <a:moveTo>
                  <a:pt x="2740" y="895"/>
                </a:moveTo>
                <a:cubicBezTo>
                  <a:pt x="2738" y="895"/>
                  <a:pt x="2738" y="895"/>
                  <a:pt x="2738" y="895"/>
                </a:cubicBezTo>
                <a:cubicBezTo>
                  <a:pt x="2734" y="891"/>
                  <a:pt x="2734" y="891"/>
                  <a:pt x="2734" y="891"/>
                </a:cubicBezTo>
                <a:cubicBezTo>
                  <a:pt x="2731" y="891"/>
                  <a:pt x="2731" y="891"/>
                  <a:pt x="2731" y="891"/>
                </a:cubicBezTo>
                <a:cubicBezTo>
                  <a:pt x="2729" y="891"/>
                  <a:pt x="2729" y="891"/>
                  <a:pt x="2729" y="891"/>
                </a:cubicBezTo>
                <a:cubicBezTo>
                  <a:pt x="2727" y="892"/>
                  <a:pt x="2727" y="892"/>
                  <a:pt x="2727" y="892"/>
                </a:cubicBezTo>
                <a:cubicBezTo>
                  <a:pt x="2727" y="892"/>
                  <a:pt x="2727" y="892"/>
                  <a:pt x="2727" y="892"/>
                </a:cubicBezTo>
                <a:cubicBezTo>
                  <a:pt x="2729" y="892"/>
                  <a:pt x="2729" y="892"/>
                  <a:pt x="2729" y="892"/>
                </a:cubicBezTo>
                <a:cubicBezTo>
                  <a:pt x="2729" y="895"/>
                  <a:pt x="2729" y="895"/>
                  <a:pt x="2729" y="895"/>
                </a:cubicBezTo>
                <a:cubicBezTo>
                  <a:pt x="2731" y="895"/>
                  <a:pt x="2731" y="895"/>
                  <a:pt x="2731" y="895"/>
                </a:cubicBezTo>
                <a:cubicBezTo>
                  <a:pt x="2732" y="897"/>
                  <a:pt x="2732" y="897"/>
                  <a:pt x="2732" y="897"/>
                </a:cubicBezTo>
                <a:cubicBezTo>
                  <a:pt x="2732" y="900"/>
                  <a:pt x="2732" y="900"/>
                  <a:pt x="2732" y="900"/>
                </a:cubicBezTo>
                <a:cubicBezTo>
                  <a:pt x="2734" y="901"/>
                  <a:pt x="2734" y="901"/>
                  <a:pt x="2734" y="901"/>
                </a:cubicBezTo>
                <a:cubicBezTo>
                  <a:pt x="2734" y="903"/>
                  <a:pt x="2734" y="903"/>
                  <a:pt x="2734" y="903"/>
                </a:cubicBezTo>
                <a:cubicBezTo>
                  <a:pt x="2736" y="905"/>
                  <a:pt x="2736" y="905"/>
                  <a:pt x="2736" y="905"/>
                </a:cubicBezTo>
                <a:cubicBezTo>
                  <a:pt x="2737" y="906"/>
                  <a:pt x="2737" y="906"/>
                  <a:pt x="2737" y="906"/>
                </a:cubicBezTo>
                <a:cubicBezTo>
                  <a:pt x="2739" y="904"/>
                  <a:pt x="2739" y="904"/>
                  <a:pt x="2739" y="904"/>
                </a:cubicBezTo>
                <a:cubicBezTo>
                  <a:pt x="2739" y="903"/>
                  <a:pt x="2739" y="903"/>
                  <a:pt x="2739" y="903"/>
                </a:cubicBezTo>
                <a:cubicBezTo>
                  <a:pt x="2740" y="902"/>
                  <a:pt x="2740" y="902"/>
                  <a:pt x="2740" y="902"/>
                </a:cubicBezTo>
                <a:cubicBezTo>
                  <a:pt x="2740" y="900"/>
                  <a:pt x="2740" y="900"/>
                  <a:pt x="2740" y="900"/>
                </a:cubicBezTo>
                <a:cubicBezTo>
                  <a:pt x="2739" y="899"/>
                  <a:pt x="2739" y="899"/>
                  <a:pt x="2739" y="899"/>
                </a:cubicBezTo>
                <a:cubicBezTo>
                  <a:pt x="2740" y="897"/>
                  <a:pt x="2740" y="897"/>
                  <a:pt x="2740" y="897"/>
                </a:cubicBezTo>
                <a:lnTo>
                  <a:pt x="2740" y="895"/>
                </a:lnTo>
                <a:close/>
                <a:moveTo>
                  <a:pt x="2743" y="1147"/>
                </a:moveTo>
                <a:cubicBezTo>
                  <a:pt x="2742" y="1149"/>
                  <a:pt x="2742" y="1149"/>
                  <a:pt x="2742" y="1149"/>
                </a:cubicBezTo>
                <a:cubicBezTo>
                  <a:pt x="2744" y="1149"/>
                  <a:pt x="2744" y="1149"/>
                  <a:pt x="2744" y="1149"/>
                </a:cubicBezTo>
                <a:cubicBezTo>
                  <a:pt x="2746" y="1148"/>
                  <a:pt x="2746" y="1148"/>
                  <a:pt x="2746" y="1148"/>
                </a:cubicBezTo>
                <a:cubicBezTo>
                  <a:pt x="2745" y="1147"/>
                  <a:pt x="2745" y="1147"/>
                  <a:pt x="2745" y="1147"/>
                </a:cubicBezTo>
                <a:cubicBezTo>
                  <a:pt x="2744" y="1146"/>
                  <a:pt x="2744" y="1146"/>
                  <a:pt x="2744" y="1146"/>
                </a:cubicBezTo>
                <a:lnTo>
                  <a:pt x="2743" y="1147"/>
                </a:lnTo>
                <a:close/>
                <a:moveTo>
                  <a:pt x="2815" y="1074"/>
                </a:moveTo>
                <a:cubicBezTo>
                  <a:pt x="2814" y="1074"/>
                  <a:pt x="2814" y="1074"/>
                  <a:pt x="2814" y="1074"/>
                </a:cubicBezTo>
                <a:cubicBezTo>
                  <a:pt x="2814" y="1075"/>
                  <a:pt x="2814" y="1075"/>
                  <a:pt x="2814" y="1075"/>
                </a:cubicBezTo>
                <a:cubicBezTo>
                  <a:pt x="2815" y="1075"/>
                  <a:pt x="2815" y="1075"/>
                  <a:pt x="2815" y="1075"/>
                </a:cubicBezTo>
                <a:lnTo>
                  <a:pt x="2815" y="1074"/>
                </a:lnTo>
                <a:close/>
                <a:moveTo>
                  <a:pt x="2749" y="1128"/>
                </a:moveTo>
                <a:cubicBezTo>
                  <a:pt x="2751" y="1129"/>
                  <a:pt x="2751" y="1129"/>
                  <a:pt x="2751" y="1129"/>
                </a:cubicBezTo>
                <a:cubicBezTo>
                  <a:pt x="2752" y="1128"/>
                  <a:pt x="2752" y="1128"/>
                  <a:pt x="2752" y="1128"/>
                </a:cubicBezTo>
                <a:cubicBezTo>
                  <a:pt x="2754" y="1127"/>
                  <a:pt x="2754" y="1127"/>
                  <a:pt x="2754" y="1127"/>
                </a:cubicBezTo>
                <a:cubicBezTo>
                  <a:pt x="2755" y="1126"/>
                  <a:pt x="2755" y="1126"/>
                  <a:pt x="2755" y="1126"/>
                </a:cubicBezTo>
                <a:cubicBezTo>
                  <a:pt x="2757" y="1125"/>
                  <a:pt x="2757" y="1125"/>
                  <a:pt x="2757" y="1125"/>
                </a:cubicBezTo>
                <a:cubicBezTo>
                  <a:pt x="2758" y="1123"/>
                  <a:pt x="2758" y="1123"/>
                  <a:pt x="2758" y="1123"/>
                </a:cubicBezTo>
                <a:cubicBezTo>
                  <a:pt x="2757" y="1121"/>
                  <a:pt x="2757" y="1121"/>
                  <a:pt x="2757" y="1121"/>
                </a:cubicBezTo>
                <a:cubicBezTo>
                  <a:pt x="2755" y="1121"/>
                  <a:pt x="2755" y="1121"/>
                  <a:pt x="2755" y="1121"/>
                </a:cubicBezTo>
                <a:cubicBezTo>
                  <a:pt x="2754" y="1122"/>
                  <a:pt x="2754" y="1122"/>
                  <a:pt x="2754" y="1122"/>
                </a:cubicBezTo>
                <a:cubicBezTo>
                  <a:pt x="2754" y="1122"/>
                  <a:pt x="2754" y="1122"/>
                  <a:pt x="2754" y="1122"/>
                </a:cubicBezTo>
                <a:cubicBezTo>
                  <a:pt x="2753" y="1124"/>
                  <a:pt x="2753" y="1124"/>
                  <a:pt x="2753" y="1124"/>
                </a:cubicBezTo>
                <a:cubicBezTo>
                  <a:pt x="2751" y="1124"/>
                  <a:pt x="2751" y="1124"/>
                  <a:pt x="2751" y="1124"/>
                </a:cubicBezTo>
                <a:cubicBezTo>
                  <a:pt x="2750" y="1126"/>
                  <a:pt x="2750" y="1126"/>
                  <a:pt x="2750" y="1126"/>
                </a:cubicBezTo>
                <a:cubicBezTo>
                  <a:pt x="2748" y="1126"/>
                  <a:pt x="2748" y="1126"/>
                  <a:pt x="2748" y="1126"/>
                </a:cubicBezTo>
                <a:cubicBezTo>
                  <a:pt x="2747" y="1125"/>
                  <a:pt x="2747" y="1125"/>
                  <a:pt x="2747" y="1125"/>
                </a:cubicBezTo>
                <a:cubicBezTo>
                  <a:pt x="2744" y="1125"/>
                  <a:pt x="2744" y="1125"/>
                  <a:pt x="2744" y="1125"/>
                </a:cubicBezTo>
                <a:cubicBezTo>
                  <a:pt x="2742" y="1126"/>
                  <a:pt x="2742" y="1126"/>
                  <a:pt x="2742" y="1126"/>
                </a:cubicBezTo>
                <a:cubicBezTo>
                  <a:pt x="2739" y="1124"/>
                  <a:pt x="2739" y="1124"/>
                  <a:pt x="2739" y="1124"/>
                </a:cubicBezTo>
                <a:cubicBezTo>
                  <a:pt x="2736" y="1123"/>
                  <a:pt x="2736" y="1123"/>
                  <a:pt x="2736" y="1123"/>
                </a:cubicBezTo>
                <a:cubicBezTo>
                  <a:pt x="2735" y="1124"/>
                  <a:pt x="2735" y="1124"/>
                  <a:pt x="2735" y="1124"/>
                </a:cubicBezTo>
                <a:cubicBezTo>
                  <a:pt x="2732" y="1123"/>
                  <a:pt x="2732" y="1123"/>
                  <a:pt x="2732" y="1123"/>
                </a:cubicBezTo>
                <a:cubicBezTo>
                  <a:pt x="2727" y="1124"/>
                  <a:pt x="2727" y="1124"/>
                  <a:pt x="2727" y="1124"/>
                </a:cubicBezTo>
                <a:cubicBezTo>
                  <a:pt x="2724" y="1125"/>
                  <a:pt x="2724" y="1125"/>
                  <a:pt x="2724" y="1125"/>
                </a:cubicBezTo>
                <a:cubicBezTo>
                  <a:pt x="2724" y="1125"/>
                  <a:pt x="2724" y="1127"/>
                  <a:pt x="2724" y="1127"/>
                </a:cubicBezTo>
                <a:cubicBezTo>
                  <a:pt x="2724" y="1129"/>
                  <a:pt x="2724" y="1129"/>
                  <a:pt x="2724" y="1129"/>
                </a:cubicBezTo>
                <a:cubicBezTo>
                  <a:pt x="2726" y="1129"/>
                  <a:pt x="2726" y="1129"/>
                  <a:pt x="2726" y="1129"/>
                </a:cubicBezTo>
                <a:cubicBezTo>
                  <a:pt x="2728" y="1129"/>
                  <a:pt x="2728" y="1129"/>
                  <a:pt x="2728" y="1129"/>
                </a:cubicBezTo>
                <a:cubicBezTo>
                  <a:pt x="2729" y="1129"/>
                  <a:pt x="2729" y="1129"/>
                  <a:pt x="2729" y="1129"/>
                </a:cubicBezTo>
                <a:cubicBezTo>
                  <a:pt x="2730" y="1129"/>
                  <a:pt x="2730" y="1129"/>
                  <a:pt x="2730" y="1129"/>
                </a:cubicBezTo>
                <a:cubicBezTo>
                  <a:pt x="2732" y="1129"/>
                  <a:pt x="2732" y="1129"/>
                  <a:pt x="2732" y="1129"/>
                </a:cubicBezTo>
                <a:cubicBezTo>
                  <a:pt x="2733" y="1130"/>
                  <a:pt x="2733" y="1130"/>
                  <a:pt x="2733" y="1130"/>
                </a:cubicBezTo>
                <a:cubicBezTo>
                  <a:pt x="2735" y="1130"/>
                  <a:pt x="2735" y="1130"/>
                  <a:pt x="2735" y="1130"/>
                </a:cubicBezTo>
                <a:cubicBezTo>
                  <a:pt x="2736" y="1130"/>
                  <a:pt x="2736" y="1130"/>
                  <a:pt x="2736" y="1130"/>
                </a:cubicBezTo>
                <a:cubicBezTo>
                  <a:pt x="2738" y="1130"/>
                  <a:pt x="2738" y="1130"/>
                  <a:pt x="2738" y="1130"/>
                </a:cubicBezTo>
                <a:cubicBezTo>
                  <a:pt x="2738" y="1130"/>
                  <a:pt x="2738" y="1130"/>
                  <a:pt x="2738" y="1130"/>
                </a:cubicBezTo>
                <a:cubicBezTo>
                  <a:pt x="2740" y="1129"/>
                  <a:pt x="2740" y="1129"/>
                  <a:pt x="2740" y="1129"/>
                </a:cubicBezTo>
                <a:cubicBezTo>
                  <a:pt x="2744" y="1129"/>
                  <a:pt x="2744" y="1129"/>
                  <a:pt x="2744" y="1129"/>
                </a:cubicBezTo>
                <a:cubicBezTo>
                  <a:pt x="2746" y="1128"/>
                  <a:pt x="2746" y="1128"/>
                  <a:pt x="2746" y="1128"/>
                </a:cubicBezTo>
                <a:lnTo>
                  <a:pt x="2749" y="1128"/>
                </a:lnTo>
                <a:close/>
                <a:moveTo>
                  <a:pt x="2693" y="1131"/>
                </a:moveTo>
                <a:cubicBezTo>
                  <a:pt x="2695" y="1132"/>
                  <a:pt x="2695" y="1132"/>
                  <a:pt x="2695" y="1132"/>
                </a:cubicBezTo>
                <a:cubicBezTo>
                  <a:pt x="2698" y="1131"/>
                  <a:pt x="2698" y="1131"/>
                  <a:pt x="2698" y="1131"/>
                </a:cubicBezTo>
                <a:cubicBezTo>
                  <a:pt x="2699" y="1132"/>
                  <a:pt x="2699" y="1132"/>
                  <a:pt x="2699" y="1132"/>
                </a:cubicBezTo>
                <a:cubicBezTo>
                  <a:pt x="2701" y="1131"/>
                  <a:pt x="2701" y="1131"/>
                  <a:pt x="2701" y="1131"/>
                </a:cubicBezTo>
                <a:cubicBezTo>
                  <a:pt x="2702" y="1130"/>
                  <a:pt x="2702" y="1130"/>
                  <a:pt x="2702" y="1130"/>
                </a:cubicBezTo>
                <a:cubicBezTo>
                  <a:pt x="2704" y="1131"/>
                  <a:pt x="2704" y="1131"/>
                  <a:pt x="2704" y="1131"/>
                </a:cubicBezTo>
                <a:cubicBezTo>
                  <a:pt x="2706" y="1130"/>
                  <a:pt x="2706" y="1130"/>
                  <a:pt x="2706" y="1130"/>
                </a:cubicBezTo>
                <a:cubicBezTo>
                  <a:pt x="2708" y="1130"/>
                  <a:pt x="2708" y="1130"/>
                  <a:pt x="2708" y="1130"/>
                </a:cubicBezTo>
                <a:cubicBezTo>
                  <a:pt x="2711" y="1128"/>
                  <a:pt x="2711" y="1128"/>
                  <a:pt x="2711" y="1128"/>
                </a:cubicBezTo>
                <a:cubicBezTo>
                  <a:pt x="2711" y="1130"/>
                  <a:pt x="2711" y="1130"/>
                  <a:pt x="2711" y="1130"/>
                </a:cubicBezTo>
                <a:cubicBezTo>
                  <a:pt x="2713" y="1129"/>
                  <a:pt x="2713" y="1129"/>
                  <a:pt x="2713" y="1129"/>
                </a:cubicBezTo>
                <a:cubicBezTo>
                  <a:pt x="2716" y="1130"/>
                  <a:pt x="2716" y="1130"/>
                  <a:pt x="2716" y="1130"/>
                </a:cubicBezTo>
                <a:cubicBezTo>
                  <a:pt x="2715" y="1129"/>
                  <a:pt x="2715" y="1129"/>
                  <a:pt x="2715" y="1129"/>
                </a:cubicBezTo>
                <a:cubicBezTo>
                  <a:pt x="2717" y="1129"/>
                  <a:pt x="2717" y="1129"/>
                  <a:pt x="2717" y="1129"/>
                </a:cubicBezTo>
                <a:cubicBezTo>
                  <a:pt x="2718" y="1126"/>
                  <a:pt x="2718" y="1126"/>
                  <a:pt x="2718" y="1126"/>
                </a:cubicBezTo>
                <a:cubicBezTo>
                  <a:pt x="2717" y="1127"/>
                  <a:pt x="2717" y="1127"/>
                  <a:pt x="2717" y="1127"/>
                </a:cubicBezTo>
                <a:cubicBezTo>
                  <a:pt x="2716" y="1126"/>
                  <a:pt x="2716" y="1126"/>
                  <a:pt x="2716" y="1126"/>
                </a:cubicBezTo>
                <a:cubicBezTo>
                  <a:pt x="2716" y="1124"/>
                  <a:pt x="2716" y="1124"/>
                  <a:pt x="2716" y="1124"/>
                </a:cubicBezTo>
                <a:cubicBezTo>
                  <a:pt x="2714" y="1123"/>
                  <a:pt x="2714" y="1123"/>
                  <a:pt x="2714" y="1123"/>
                </a:cubicBezTo>
                <a:cubicBezTo>
                  <a:pt x="2715" y="1125"/>
                  <a:pt x="2715" y="1125"/>
                  <a:pt x="2715" y="1125"/>
                </a:cubicBezTo>
                <a:cubicBezTo>
                  <a:pt x="2714" y="1125"/>
                  <a:pt x="2714" y="1125"/>
                  <a:pt x="2714" y="1125"/>
                </a:cubicBezTo>
                <a:cubicBezTo>
                  <a:pt x="2713" y="1124"/>
                  <a:pt x="2713" y="1124"/>
                  <a:pt x="2713" y="1124"/>
                </a:cubicBezTo>
                <a:cubicBezTo>
                  <a:pt x="2711" y="1122"/>
                  <a:pt x="2711" y="1122"/>
                  <a:pt x="2711" y="1122"/>
                </a:cubicBezTo>
                <a:cubicBezTo>
                  <a:pt x="2709" y="1123"/>
                  <a:pt x="2709" y="1123"/>
                  <a:pt x="2709" y="1123"/>
                </a:cubicBezTo>
                <a:cubicBezTo>
                  <a:pt x="2707" y="1122"/>
                  <a:pt x="2707" y="1122"/>
                  <a:pt x="2707" y="1122"/>
                </a:cubicBezTo>
                <a:cubicBezTo>
                  <a:pt x="2706" y="1121"/>
                  <a:pt x="2706" y="1121"/>
                  <a:pt x="2706" y="1121"/>
                </a:cubicBezTo>
                <a:cubicBezTo>
                  <a:pt x="2703" y="1123"/>
                  <a:pt x="2703" y="1123"/>
                  <a:pt x="2703" y="1123"/>
                </a:cubicBezTo>
                <a:cubicBezTo>
                  <a:pt x="2703" y="1124"/>
                  <a:pt x="2703" y="1124"/>
                  <a:pt x="2703" y="1124"/>
                </a:cubicBezTo>
                <a:cubicBezTo>
                  <a:pt x="2707" y="1125"/>
                  <a:pt x="2707" y="1125"/>
                  <a:pt x="2707" y="1125"/>
                </a:cubicBezTo>
                <a:cubicBezTo>
                  <a:pt x="2709" y="1127"/>
                  <a:pt x="2709" y="1127"/>
                  <a:pt x="2709" y="1127"/>
                </a:cubicBezTo>
                <a:cubicBezTo>
                  <a:pt x="2706" y="1127"/>
                  <a:pt x="2706" y="1127"/>
                  <a:pt x="2706" y="1127"/>
                </a:cubicBezTo>
                <a:cubicBezTo>
                  <a:pt x="2705" y="1128"/>
                  <a:pt x="2705" y="1128"/>
                  <a:pt x="2705" y="1128"/>
                </a:cubicBezTo>
                <a:cubicBezTo>
                  <a:pt x="2702" y="1127"/>
                  <a:pt x="2702" y="1127"/>
                  <a:pt x="2702" y="1127"/>
                </a:cubicBezTo>
                <a:cubicBezTo>
                  <a:pt x="2702" y="1125"/>
                  <a:pt x="2702" y="1125"/>
                  <a:pt x="2702" y="1125"/>
                </a:cubicBezTo>
                <a:cubicBezTo>
                  <a:pt x="2700" y="1125"/>
                  <a:pt x="2700" y="1125"/>
                  <a:pt x="2700" y="1125"/>
                </a:cubicBezTo>
                <a:cubicBezTo>
                  <a:pt x="2699" y="1125"/>
                  <a:pt x="2699" y="1125"/>
                  <a:pt x="2699" y="1125"/>
                </a:cubicBezTo>
                <a:cubicBezTo>
                  <a:pt x="2697" y="1125"/>
                  <a:pt x="2697" y="1125"/>
                  <a:pt x="2697" y="1125"/>
                </a:cubicBezTo>
                <a:cubicBezTo>
                  <a:pt x="2694" y="1126"/>
                  <a:pt x="2694" y="1126"/>
                  <a:pt x="2694" y="1126"/>
                </a:cubicBezTo>
                <a:cubicBezTo>
                  <a:pt x="2694" y="1126"/>
                  <a:pt x="2693" y="1127"/>
                  <a:pt x="2693" y="1127"/>
                </a:cubicBezTo>
                <a:cubicBezTo>
                  <a:pt x="2692" y="1129"/>
                  <a:pt x="2692" y="1129"/>
                  <a:pt x="2692" y="1129"/>
                </a:cubicBezTo>
                <a:cubicBezTo>
                  <a:pt x="2693" y="1129"/>
                  <a:pt x="2693" y="1129"/>
                  <a:pt x="2693" y="1129"/>
                </a:cubicBezTo>
                <a:cubicBezTo>
                  <a:pt x="2693" y="1130"/>
                  <a:pt x="2693" y="1130"/>
                  <a:pt x="2693" y="1130"/>
                </a:cubicBezTo>
                <a:lnTo>
                  <a:pt x="2693" y="1131"/>
                </a:lnTo>
                <a:close/>
                <a:moveTo>
                  <a:pt x="2875" y="1094"/>
                </a:moveTo>
                <a:cubicBezTo>
                  <a:pt x="2874" y="1095"/>
                  <a:pt x="2874" y="1095"/>
                  <a:pt x="2874" y="1095"/>
                </a:cubicBezTo>
                <a:cubicBezTo>
                  <a:pt x="2873" y="1095"/>
                  <a:pt x="2873" y="1095"/>
                  <a:pt x="2873" y="1095"/>
                </a:cubicBezTo>
                <a:cubicBezTo>
                  <a:pt x="2874" y="1096"/>
                  <a:pt x="2874" y="1096"/>
                  <a:pt x="2874" y="1096"/>
                </a:cubicBezTo>
                <a:cubicBezTo>
                  <a:pt x="2874" y="1096"/>
                  <a:pt x="2874" y="1096"/>
                  <a:pt x="2874" y="1096"/>
                </a:cubicBezTo>
                <a:cubicBezTo>
                  <a:pt x="2875" y="1096"/>
                  <a:pt x="2875" y="1096"/>
                  <a:pt x="2875" y="1096"/>
                </a:cubicBezTo>
                <a:cubicBezTo>
                  <a:pt x="2874" y="1097"/>
                  <a:pt x="2874" y="1097"/>
                  <a:pt x="2874" y="1097"/>
                </a:cubicBezTo>
                <a:cubicBezTo>
                  <a:pt x="2874" y="1098"/>
                  <a:pt x="2874" y="1098"/>
                  <a:pt x="2874" y="1098"/>
                </a:cubicBezTo>
                <a:cubicBezTo>
                  <a:pt x="2875" y="1098"/>
                  <a:pt x="2875" y="1098"/>
                  <a:pt x="2875" y="1098"/>
                </a:cubicBezTo>
                <a:cubicBezTo>
                  <a:pt x="2876" y="1097"/>
                  <a:pt x="2876" y="1097"/>
                  <a:pt x="2876" y="1097"/>
                </a:cubicBezTo>
                <a:cubicBezTo>
                  <a:pt x="2877" y="1097"/>
                  <a:pt x="2877" y="1097"/>
                  <a:pt x="2877" y="1097"/>
                </a:cubicBezTo>
                <a:cubicBezTo>
                  <a:pt x="2878" y="1096"/>
                  <a:pt x="2878" y="1096"/>
                  <a:pt x="2878" y="1096"/>
                </a:cubicBezTo>
                <a:cubicBezTo>
                  <a:pt x="2878" y="1095"/>
                  <a:pt x="2878" y="1095"/>
                  <a:pt x="2878" y="1095"/>
                </a:cubicBezTo>
                <a:cubicBezTo>
                  <a:pt x="2877" y="1095"/>
                  <a:pt x="2877" y="1095"/>
                  <a:pt x="2877" y="1095"/>
                </a:cubicBezTo>
                <a:cubicBezTo>
                  <a:pt x="2876" y="1094"/>
                  <a:pt x="2876" y="1094"/>
                  <a:pt x="2876" y="1094"/>
                </a:cubicBezTo>
                <a:lnTo>
                  <a:pt x="2875" y="1094"/>
                </a:lnTo>
                <a:close/>
                <a:moveTo>
                  <a:pt x="2877" y="1105"/>
                </a:moveTo>
                <a:cubicBezTo>
                  <a:pt x="2877" y="1104"/>
                  <a:pt x="2877" y="1104"/>
                  <a:pt x="2877" y="1104"/>
                </a:cubicBezTo>
                <a:cubicBezTo>
                  <a:pt x="2876" y="1103"/>
                  <a:pt x="2876" y="1103"/>
                  <a:pt x="2876" y="1103"/>
                </a:cubicBezTo>
                <a:cubicBezTo>
                  <a:pt x="2876" y="1103"/>
                  <a:pt x="2875" y="1103"/>
                  <a:pt x="2875" y="1103"/>
                </a:cubicBezTo>
                <a:cubicBezTo>
                  <a:pt x="2875" y="1104"/>
                  <a:pt x="2875" y="1104"/>
                  <a:pt x="2875" y="1104"/>
                </a:cubicBezTo>
                <a:cubicBezTo>
                  <a:pt x="2876" y="1105"/>
                  <a:pt x="2876" y="1105"/>
                  <a:pt x="2876" y="1105"/>
                </a:cubicBezTo>
                <a:lnTo>
                  <a:pt x="2877" y="1105"/>
                </a:lnTo>
                <a:close/>
                <a:moveTo>
                  <a:pt x="2878" y="1094"/>
                </a:moveTo>
                <a:cubicBezTo>
                  <a:pt x="2877" y="1093"/>
                  <a:pt x="2877" y="1093"/>
                  <a:pt x="2877" y="1093"/>
                </a:cubicBezTo>
                <a:cubicBezTo>
                  <a:pt x="2876" y="1093"/>
                  <a:pt x="2876" y="1093"/>
                  <a:pt x="2876" y="1093"/>
                </a:cubicBezTo>
                <a:cubicBezTo>
                  <a:pt x="2877" y="1094"/>
                  <a:pt x="2877" y="1094"/>
                  <a:pt x="2877" y="1094"/>
                </a:cubicBezTo>
                <a:lnTo>
                  <a:pt x="2878" y="1094"/>
                </a:lnTo>
                <a:close/>
                <a:moveTo>
                  <a:pt x="2878" y="1100"/>
                </a:moveTo>
                <a:cubicBezTo>
                  <a:pt x="2878" y="1100"/>
                  <a:pt x="2878" y="1100"/>
                  <a:pt x="2878" y="1100"/>
                </a:cubicBezTo>
                <a:cubicBezTo>
                  <a:pt x="2878" y="1099"/>
                  <a:pt x="2878" y="1099"/>
                  <a:pt x="2878" y="1099"/>
                </a:cubicBezTo>
                <a:cubicBezTo>
                  <a:pt x="2877" y="1098"/>
                  <a:pt x="2877" y="1098"/>
                  <a:pt x="2877" y="1098"/>
                </a:cubicBezTo>
                <a:cubicBezTo>
                  <a:pt x="2877" y="1098"/>
                  <a:pt x="2877" y="1098"/>
                  <a:pt x="2877" y="1098"/>
                </a:cubicBezTo>
                <a:cubicBezTo>
                  <a:pt x="2875" y="1099"/>
                  <a:pt x="2875" y="1099"/>
                  <a:pt x="2875" y="1099"/>
                </a:cubicBezTo>
                <a:cubicBezTo>
                  <a:pt x="2874" y="1100"/>
                  <a:pt x="2874" y="1100"/>
                  <a:pt x="2874" y="1100"/>
                </a:cubicBezTo>
                <a:cubicBezTo>
                  <a:pt x="2874" y="1101"/>
                  <a:pt x="2874" y="1101"/>
                  <a:pt x="2874" y="1101"/>
                </a:cubicBezTo>
                <a:cubicBezTo>
                  <a:pt x="2876" y="1102"/>
                  <a:pt x="2876" y="1102"/>
                  <a:pt x="2876" y="1102"/>
                </a:cubicBezTo>
                <a:cubicBezTo>
                  <a:pt x="2877" y="1102"/>
                  <a:pt x="2877" y="1102"/>
                  <a:pt x="2877" y="1102"/>
                </a:cubicBezTo>
                <a:cubicBezTo>
                  <a:pt x="2878" y="1101"/>
                  <a:pt x="2878" y="1101"/>
                  <a:pt x="2878" y="1101"/>
                </a:cubicBezTo>
                <a:lnTo>
                  <a:pt x="2878" y="1100"/>
                </a:lnTo>
                <a:close/>
                <a:moveTo>
                  <a:pt x="2878" y="1106"/>
                </a:moveTo>
                <a:cubicBezTo>
                  <a:pt x="2878" y="1106"/>
                  <a:pt x="2878" y="1106"/>
                  <a:pt x="2878" y="1106"/>
                </a:cubicBezTo>
                <a:cubicBezTo>
                  <a:pt x="2877" y="1106"/>
                  <a:pt x="2877" y="1106"/>
                  <a:pt x="2877" y="1106"/>
                </a:cubicBezTo>
                <a:cubicBezTo>
                  <a:pt x="2878" y="1107"/>
                  <a:pt x="2878" y="1107"/>
                  <a:pt x="2878" y="1107"/>
                </a:cubicBezTo>
                <a:lnTo>
                  <a:pt x="2878" y="1106"/>
                </a:lnTo>
                <a:close/>
                <a:moveTo>
                  <a:pt x="2872" y="1100"/>
                </a:moveTo>
                <a:cubicBezTo>
                  <a:pt x="2873" y="1102"/>
                  <a:pt x="2873" y="1102"/>
                  <a:pt x="2873" y="1102"/>
                </a:cubicBezTo>
                <a:cubicBezTo>
                  <a:pt x="2874" y="1103"/>
                  <a:pt x="2874" y="1103"/>
                  <a:pt x="2874" y="1103"/>
                </a:cubicBezTo>
                <a:cubicBezTo>
                  <a:pt x="2875" y="1102"/>
                  <a:pt x="2875" y="1102"/>
                  <a:pt x="2875" y="1102"/>
                </a:cubicBezTo>
                <a:cubicBezTo>
                  <a:pt x="2873" y="1101"/>
                  <a:pt x="2873" y="1101"/>
                  <a:pt x="2873" y="1101"/>
                </a:cubicBezTo>
                <a:cubicBezTo>
                  <a:pt x="2873" y="1100"/>
                  <a:pt x="2873" y="1100"/>
                  <a:pt x="2873" y="1100"/>
                </a:cubicBezTo>
                <a:cubicBezTo>
                  <a:pt x="2872" y="1099"/>
                  <a:pt x="2872" y="1099"/>
                  <a:pt x="2872" y="1099"/>
                </a:cubicBezTo>
                <a:lnTo>
                  <a:pt x="2872" y="1100"/>
                </a:lnTo>
                <a:close/>
                <a:moveTo>
                  <a:pt x="2872" y="1096"/>
                </a:moveTo>
                <a:cubicBezTo>
                  <a:pt x="2872" y="1097"/>
                  <a:pt x="2872" y="1097"/>
                  <a:pt x="2872" y="1097"/>
                </a:cubicBezTo>
                <a:cubicBezTo>
                  <a:pt x="2873" y="1097"/>
                  <a:pt x="2873" y="1097"/>
                  <a:pt x="2873" y="1097"/>
                </a:cubicBezTo>
                <a:cubicBezTo>
                  <a:pt x="2873" y="1096"/>
                  <a:pt x="2873" y="1096"/>
                  <a:pt x="2873" y="1096"/>
                </a:cubicBezTo>
                <a:lnTo>
                  <a:pt x="2872" y="1096"/>
                </a:lnTo>
                <a:close/>
                <a:moveTo>
                  <a:pt x="2737" y="972"/>
                </a:moveTo>
                <a:cubicBezTo>
                  <a:pt x="2736" y="973"/>
                  <a:pt x="2736" y="973"/>
                  <a:pt x="2736" y="973"/>
                </a:cubicBezTo>
                <a:cubicBezTo>
                  <a:pt x="2737" y="974"/>
                  <a:pt x="2737" y="974"/>
                  <a:pt x="2737" y="974"/>
                </a:cubicBezTo>
                <a:cubicBezTo>
                  <a:pt x="2739" y="974"/>
                  <a:pt x="2739" y="974"/>
                  <a:pt x="2739" y="974"/>
                </a:cubicBezTo>
                <a:cubicBezTo>
                  <a:pt x="2740" y="973"/>
                  <a:pt x="2740" y="973"/>
                  <a:pt x="2740" y="973"/>
                </a:cubicBezTo>
                <a:cubicBezTo>
                  <a:pt x="2741" y="974"/>
                  <a:pt x="2741" y="974"/>
                  <a:pt x="2741" y="974"/>
                </a:cubicBezTo>
                <a:cubicBezTo>
                  <a:pt x="2742" y="973"/>
                  <a:pt x="2742" y="973"/>
                  <a:pt x="2742" y="973"/>
                </a:cubicBezTo>
                <a:cubicBezTo>
                  <a:pt x="2742" y="972"/>
                  <a:pt x="2742" y="972"/>
                  <a:pt x="2742" y="972"/>
                </a:cubicBezTo>
                <a:cubicBezTo>
                  <a:pt x="2740" y="972"/>
                  <a:pt x="2740" y="972"/>
                  <a:pt x="2740" y="972"/>
                </a:cubicBezTo>
                <a:lnTo>
                  <a:pt x="2737" y="972"/>
                </a:lnTo>
                <a:close/>
                <a:moveTo>
                  <a:pt x="2850" y="1112"/>
                </a:moveTo>
                <a:cubicBezTo>
                  <a:pt x="2849" y="1111"/>
                  <a:pt x="2849" y="1111"/>
                  <a:pt x="2849" y="1111"/>
                </a:cubicBezTo>
                <a:cubicBezTo>
                  <a:pt x="2847" y="1110"/>
                  <a:pt x="2847" y="1110"/>
                  <a:pt x="2847" y="1110"/>
                </a:cubicBezTo>
                <a:lnTo>
                  <a:pt x="2850" y="1112"/>
                </a:lnTo>
                <a:close/>
                <a:moveTo>
                  <a:pt x="2850" y="1108"/>
                </a:moveTo>
                <a:cubicBezTo>
                  <a:pt x="2849" y="1110"/>
                  <a:pt x="2849" y="1110"/>
                  <a:pt x="2849" y="1110"/>
                </a:cubicBezTo>
                <a:cubicBezTo>
                  <a:pt x="2851" y="1109"/>
                  <a:pt x="2851" y="1109"/>
                  <a:pt x="2851" y="1109"/>
                </a:cubicBezTo>
                <a:lnTo>
                  <a:pt x="2850" y="1108"/>
                </a:lnTo>
                <a:close/>
                <a:moveTo>
                  <a:pt x="2816" y="1112"/>
                </a:moveTo>
                <a:cubicBezTo>
                  <a:pt x="2816" y="1111"/>
                  <a:pt x="2816" y="1111"/>
                  <a:pt x="2816" y="1111"/>
                </a:cubicBezTo>
                <a:cubicBezTo>
                  <a:pt x="2815" y="1110"/>
                  <a:pt x="2815" y="1110"/>
                  <a:pt x="2815" y="1110"/>
                </a:cubicBezTo>
                <a:cubicBezTo>
                  <a:pt x="2814" y="1111"/>
                  <a:pt x="2814" y="1111"/>
                  <a:pt x="2814" y="1111"/>
                </a:cubicBezTo>
                <a:cubicBezTo>
                  <a:pt x="2814" y="1112"/>
                  <a:pt x="2814" y="1112"/>
                  <a:pt x="2814" y="1112"/>
                </a:cubicBezTo>
                <a:lnTo>
                  <a:pt x="2816" y="1112"/>
                </a:lnTo>
                <a:close/>
                <a:moveTo>
                  <a:pt x="2847" y="1111"/>
                </a:moveTo>
                <a:cubicBezTo>
                  <a:pt x="2846" y="1111"/>
                  <a:pt x="2846" y="1111"/>
                  <a:pt x="2846" y="1111"/>
                </a:cubicBezTo>
                <a:cubicBezTo>
                  <a:pt x="2845" y="1112"/>
                  <a:pt x="2845" y="1112"/>
                  <a:pt x="2845" y="1112"/>
                </a:cubicBezTo>
                <a:cubicBezTo>
                  <a:pt x="2845" y="1113"/>
                  <a:pt x="2845" y="1113"/>
                  <a:pt x="2845" y="1113"/>
                </a:cubicBezTo>
                <a:cubicBezTo>
                  <a:pt x="2842" y="1115"/>
                  <a:pt x="2842" y="1115"/>
                  <a:pt x="2842" y="1115"/>
                </a:cubicBezTo>
                <a:cubicBezTo>
                  <a:pt x="2842" y="1116"/>
                  <a:pt x="2842" y="1116"/>
                  <a:pt x="2842" y="1116"/>
                </a:cubicBezTo>
                <a:cubicBezTo>
                  <a:pt x="2842" y="1117"/>
                  <a:pt x="2842" y="1117"/>
                  <a:pt x="2842" y="1117"/>
                </a:cubicBezTo>
                <a:cubicBezTo>
                  <a:pt x="2841" y="1118"/>
                  <a:pt x="2841" y="1118"/>
                  <a:pt x="2841" y="1118"/>
                </a:cubicBezTo>
                <a:cubicBezTo>
                  <a:pt x="2841" y="1119"/>
                  <a:pt x="2841" y="1119"/>
                  <a:pt x="2841" y="1119"/>
                </a:cubicBezTo>
                <a:cubicBezTo>
                  <a:pt x="2843" y="1120"/>
                  <a:pt x="2843" y="1120"/>
                  <a:pt x="2843" y="1120"/>
                </a:cubicBezTo>
                <a:cubicBezTo>
                  <a:pt x="2844" y="1120"/>
                  <a:pt x="2844" y="1120"/>
                  <a:pt x="2844" y="1120"/>
                </a:cubicBezTo>
                <a:cubicBezTo>
                  <a:pt x="2846" y="1117"/>
                  <a:pt x="2846" y="1117"/>
                  <a:pt x="2846" y="1117"/>
                </a:cubicBezTo>
                <a:cubicBezTo>
                  <a:pt x="2847" y="1115"/>
                  <a:pt x="2847" y="1115"/>
                  <a:pt x="2847" y="1115"/>
                </a:cubicBezTo>
                <a:cubicBezTo>
                  <a:pt x="2847" y="1113"/>
                  <a:pt x="2847" y="1113"/>
                  <a:pt x="2847" y="1113"/>
                </a:cubicBezTo>
                <a:cubicBezTo>
                  <a:pt x="2847" y="1112"/>
                  <a:pt x="2847" y="1112"/>
                  <a:pt x="2847" y="1112"/>
                </a:cubicBezTo>
                <a:lnTo>
                  <a:pt x="2847" y="1111"/>
                </a:lnTo>
                <a:close/>
                <a:moveTo>
                  <a:pt x="2857" y="1096"/>
                </a:moveTo>
                <a:cubicBezTo>
                  <a:pt x="2857" y="1098"/>
                  <a:pt x="2857" y="1098"/>
                  <a:pt x="2857" y="1098"/>
                </a:cubicBezTo>
                <a:cubicBezTo>
                  <a:pt x="2858" y="1098"/>
                  <a:pt x="2858" y="1098"/>
                  <a:pt x="2858" y="1098"/>
                </a:cubicBezTo>
                <a:cubicBezTo>
                  <a:pt x="2858" y="1096"/>
                  <a:pt x="2858" y="1096"/>
                  <a:pt x="2858" y="1096"/>
                </a:cubicBezTo>
                <a:cubicBezTo>
                  <a:pt x="2857" y="1094"/>
                  <a:pt x="2857" y="1094"/>
                  <a:pt x="2857" y="1094"/>
                </a:cubicBezTo>
                <a:lnTo>
                  <a:pt x="2857" y="1096"/>
                </a:lnTo>
                <a:close/>
                <a:moveTo>
                  <a:pt x="2853" y="1154"/>
                </a:moveTo>
                <a:cubicBezTo>
                  <a:pt x="2854" y="1156"/>
                  <a:pt x="2854" y="1156"/>
                  <a:pt x="2854" y="1156"/>
                </a:cubicBezTo>
                <a:cubicBezTo>
                  <a:pt x="2854" y="1154"/>
                  <a:pt x="2854" y="1154"/>
                  <a:pt x="2854" y="1154"/>
                </a:cubicBezTo>
                <a:cubicBezTo>
                  <a:pt x="2854" y="1153"/>
                  <a:pt x="2854" y="1153"/>
                  <a:pt x="2854" y="1153"/>
                </a:cubicBezTo>
                <a:cubicBezTo>
                  <a:pt x="2853" y="1153"/>
                  <a:pt x="2853" y="1153"/>
                  <a:pt x="2853" y="1153"/>
                </a:cubicBezTo>
                <a:lnTo>
                  <a:pt x="2853" y="1154"/>
                </a:lnTo>
                <a:close/>
                <a:moveTo>
                  <a:pt x="2859" y="1097"/>
                </a:moveTo>
                <a:cubicBezTo>
                  <a:pt x="2859" y="1098"/>
                  <a:pt x="2859" y="1098"/>
                  <a:pt x="2859" y="1098"/>
                </a:cubicBezTo>
                <a:cubicBezTo>
                  <a:pt x="2860" y="1098"/>
                  <a:pt x="2860" y="1098"/>
                  <a:pt x="2860" y="1098"/>
                </a:cubicBezTo>
                <a:cubicBezTo>
                  <a:pt x="2861" y="1094"/>
                  <a:pt x="2861" y="1094"/>
                  <a:pt x="2861" y="1094"/>
                </a:cubicBezTo>
                <a:cubicBezTo>
                  <a:pt x="2862" y="1092"/>
                  <a:pt x="2862" y="1092"/>
                  <a:pt x="2862" y="1092"/>
                </a:cubicBezTo>
                <a:cubicBezTo>
                  <a:pt x="2860" y="1093"/>
                  <a:pt x="2860" y="1093"/>
                  <a:pt x="2860" y="1093"/>
                </a:cubicBezTo>
                <a:lnTo>
                  <a:pt x="2859" y="1097"/>
                </a:lnTo>
                <a:close/>
                <a:moveTo>
                  <a:pt x="2788" y="1058"/>
                </a:moveTo>
                <a:cubicBezTo>
                  <a:pt x="2788" y="1060"/>
                  <a:pt x="2788" y="1060"/>
                  <a:pt x="2788" y="1060"/>
                </a:cubicBezTo>
                <a:cubicBezTo>
                  <a:pt x="2789" y="1062"/>
                  <a:pt x="2789" y="1062"/>
                  <a:pt x="2789" y="1062"/>
                </a:cubicBezTo>
                <a:cubicBezTo>
                  <a:pt x="2790" y="1063"/>
                  <a:pt x="2790" y="1063"/>
                  <a:pt x="2790" y="1063"/>
                </a:cubicBezTo>
                <a:cubicBezTo>
                  <a:pt x="2790" y="1062"/>
                  <a:pt x="2790" y="1062"/>
                  <a:pt x="2790" y="1062"/>
                </a:cubicBezTo>
                <a:cubicBezTo>
                  <a:pt x="2789" y="1060"/>
                  <a:pt x="2789" y="1060"/>
                  <a:pt x="2789" y="1060"/>
                </a:cubicBezTo>
                <a:cubicBezTo>
                  <a:pt x="2789" y="1058"/>
                  <a:pt x="2789" y="1058"/>
                  <a:pt x="2789" y="1058"/>
                </a:cubicBezTo>
                <a:lnTo>
                  <a:pt x="2788" y="1058"/>
                </a:lnTo>
                <a:close/>
                <a:moveTo>
                  <a:pt x="2756" y="895"/>
                </a:moveTo>
                <a:cubicBezTo>
                  <a:pt x="2755" y="895"/>
                  <a:pt x="2755" y="895"/>
                  <a:pt x="2755" y="895"/>
                </a:cubicBezTo>
                <a:cubicBezTo>
                  <a:pt x="2755" y="896"/>
                  <a:pt x="2755" y="896"/>
                  <a:pt x="2755" y="896"/>
                </a:cubicBezTo>
                <a:cubicBezTo>
                  <a:pt x="2757" y="899"/>
                  <a:pt x="2757" y="899"/>
                  <a:pt x="2757" y="899"/>
                </a:cubicBezTo>
                <a:cubicBezTo>
                  <a:pt x="2758" y="898"/>
                  <a:pt x="2758" y="898"/>
                  <a:pt x="2758" y="898"/>
                </a:cubicBezTo>
                <a:cubicBezTo>
                  <a:pt x="2758" y="897"/>
                  <a:pt x="2758" y="897"/>
                  <a:pt x="2758" y="897"/>
                </a:cubicBezTo>
                <a:lnTo>
                  <a:pt x="2756" y="895"/>
                </a:lnTo>
                <a:close/>
                <a:moveTo>
                  <a:pt x="2767" y="923"/>
                </a:moveTo>
                <a:cubicBezTo>
                  <a:pt x="2767" y="922"/>
                  <a:pt x="2767" y="922"/>
                  <a:pt x="2767" y="922"/>
                </a:cubicBezTo>
                <a:cubicBezTo>
                  <a:pt x="2767" y="920"/>
                  <a:pt x="2767" y="920"/>
                  <a:pt x="2767" y="920"/>
                </a:cubicBezTo>
                <a:cubicBezTo>
                  <a:pt x="2767" y="916"/>
                  <a:pt x="2767" y="916"/>
                  <a:pt x="2767" y="916"/>
                </a:cubicBezTo>
                <a:cubicBezTo>
                  <a:pt x="2766" y="917"/>
                  <a:pt x="2766" y="917"/>
                  <a:pt x="2766" y="917"/>
                </a:cubicBezTo>
                <a:cubicBezTo>
                  <a:pt x="2766" y="921"/>
                  <a:pt x="2766" y="921"/>
                  <a:pt x="2766" y="921"/>
                </a:cubicBezTo>
                <a:cubicBezTo>
                  <a:pt x="2764" y="924"/>
                  <a:pt x="2764" y="924"/>
                  <a:pt x="2764" y="924"/>
                </a:cubicBezTo>
                <a:cubicBezTo>
                  <a:pt x="2764" y="926"/>
                  <a:pt x="2764" y="926"/>
                  <a:pt x="2764" y="926"/>
                </a:cubicBezTo>
                <a:cubicBezTo>
                  <a:pt x="2763" y="929"/>
                  <a:pt x="2763" y="929"/>
                  <a:pt x="2763" y="929"/>
                </a:cubicBezTo>
                <a:cubicBezTo>
                  <a:pt x="2761" y="931"/>
                  <a:pt x="2761" y="931"/>
                  <a:pt x="2761" y="931"/>
                </a:cubicBezTo>
                <a:cubicBezTo>
                  <a:pt x="2761" y="933"/>
                  <a:pt x="2761" y="933"/>
                  <a:pt x="2761" y="933"/>
                </a:cubicBezTo>
                <a:cubicBezTo>
                  <a:pt x="2762" y="935"/>
                  <a:pt x="2762" y="935"/>
                  <a:pt x="2762" y="935"/>
                </a:cubicBezTo>
                <a:cubicBezTo>
                  <a:pt x="2763" y="933"/>
                  <a:pt x="2763" y="933"/>
                  <a:pt x="2763" y="933"/>
                </a:cubicBezTo>
                <a:cubicBezTo>
                  <a:pt x="2764" y="929"/>
                  <a:pt x="2764" y="929"/>
                  <a:pt x="2764" y="929"/>
                </a:cubicBezTo>
                <a:cubicBezTo>
                  <a:pt x="2767" y="925"/>
                  <a:pt x="2767" y="925"/>
                  <a:pt x="2767" y="925"/>
                </a:cubicBezTo>
                <a:lnTo>
                  <a:pt x="2767" y="923"/>
                </a:lnTo>
                <a:close/>
                <a:moveTo>
                  <a:pt x="2743" y="890"/>
                </a:moveTo>
                <a:cubicBezTo>
                  <a:pt x="2742" y="891"/>
                  <a:pt x="2742" y="891"/>
                  <a:pt x="2742" y="891"/>
                </a:cubicBezTo>
                <a:cubicBezTo>
                  <a:pt x="2743" y="893"/>
                  <a:pt x="2743" y="893"/>
                  <a:pt x="2743" y="893"/>
                </a:cubicBezTo>
                <a:cubicBezTo>
                  <a:pt x="2745" y="894"/>
                  <a:pt x="2745" y="894"/>
                  <a:pt x="2745" y="894"/>
                </a:cubicBezTo>
                <a:cubicBezTo>
                  <a:pt x="2745" y="893"/>
                  <a:pt x="2745" y="893"/>
                  <a:pt x="2745" y="893"/>
                </a:cubicBezTo>
                <a:cubicBezTo>
                  <a:pt x="2746" y="892"/>
                  <a:pt x="2746" y="892"/>
                  <a:pt x="2746" y="892"/>
                </a:cubicBezTo>
                <a:cubicBezTo>
                  <a:pt x="2745" y="891"/>
                  <a:pt x="2745" y="891"/>
                  <a:pt x="2745" y="891"/>
                </a:cubicBezTo>
                <a:lnTo>
                  <a:pt x="2743" y="890"/>
                </a:lnTo>
                <a:close/>
                <a:moveTo>
                  <a:pt x="2754" y="923"/>
                </a:moveTo>
                <a:cubicBezTo>
                  <a:pt x="2754" y="922"/>
                  <a:pt x="2754" y="922"/>
                  <a:pt x="2754" y="922"/>
                </a:cubicBezTo>
                <a:cubicBezTo>
                  <a:pt x="2753" y="922"/>
                  <a:pt x="2753" y="922"/>
                  <a:pt x="2753" y="922"/>
                </a:cubicBezTo>
                <a:cubicBezTo>
                  <a:pt x="2752" y="922"/>
                  <a:pt x="2752" y="922"/>
                  <a:pt x="2752" y="922"/>
                </a:cubicBezTo>
                <a:cubicBezTo>
                  <a:pt x="2751" y="924"/>
                  <a:pt x="2751" y="924"/>
                  <a:pt x="2751" y="924"/>
                </a:cubicBezTo>
                <a:cubicBezTo>
                  <a:pt x="2752" y="925"/>
                  <a:pt x="2752" y="925"/>
                  <a:pt x="2752" y="925"/>
                </a:cubicBezTo>
                <a:lnTo>
                  <a:pt x="2754" y="923"/>
                </a:lnTo>
                <a:close/>
                <a:moveTo>
                  <a:pt x="2784" y="1057"/>
                </a:moveTo>
                <a:cubicBezTo>
                  <a:pt x="2786" y="1057"/>
                  <a:pt x="2786" y="1057"/>
                  <a:pt x="2786" y="1057"/>
                </a:cubicBezTo>
                <a:cubicBezTo>
                  <a:pt x="2791" y="1056"/>
                  <a:pt x="2791" y="1056"/>
                  <a:pt x="2791" y="1056"/>
                </a:cubicBezTo>
                <a:cubicBezTo>
                  <a:pt x="2793" y="1056"/>
                  <a:pt x="2793" y="1056"/>
                  <a:pt x="2793" y="1056"/>
                </a:cubicBezTo>
                <a:cubicBezTo>
                  <a:pt x="2791" y="1055"/>
                  <a:pt x="2791" y="1055"/>
                  <a:pt x="2791" y="1055"/>
                </a:cubicBezTo>
                <a:cubicBezTo>
                  <a:pt x="2787" y="1055"/>
                  <a:pt x="2787" y="1055"/>
                  <a:pt x="2787" y="1055"/>
                </a:cubicBezTo>
                <a:cubicBezTo>
                  <a:pt x="2786" y="1056"/>
                  <a:pt x="2786" y="1056"/>
                  <a:pt x="2786" y="1056"/>
                </a:cubicBezTo>
                <a:cubicBezTo>
                  <a:pt x="2784" y="1055"/>
                  <a:pt x="2784" y="1055"/>
                  <a:pt x="2784" y="1055"/>
                </a:cubicBezTo>
                <a:cubicBezTo>
                  <a:pt x="2783" y="1056"/>
                  <a:pt x="2783" y="1056"/>
                  <a:pt x="2783" y="1056"/>
                </a:cubicBezTo>
                <a:cubicBezTo>
                  <a:pt x="2784" y="1056"/>
                  <a:pt x="2784" y="1056"/>
                  <a:pt x="2784" y="1056"/>
                </a:cubicBezTo>
                <a:lnTo>
                  <a:pt x="2784" y="1057"/>
                </a:lnTo>
                <a:close/>
                <a:moveTo>
                  <a:pt x="2872" y="1105"/>
                </a:moveTo>
                <a:cubicBezTo>
                  <a:pt x="2871" y="1107"/>
                  <a:pt x="2871" y="1107"/>
                  <a:pt x="2871" y="1107"/>
                </a:cubicBezTo>
                <a:cubicBezTo>
                  <a:pt x="2872" y="1108"/>
                  <a:pt x="2872" y="1108"/>
                  <a:pt x="2872" y="1108"/>
                </a:cubicBezTo>
                <a:cubicBezTo>
                  <a:pt x="2873" y="1108"/>
                  <a:pt x="2873" y="1108"/>
                  <a:pt x="2873" y="1108"/>
                </a:cubicBezTo>
                <a:cubicBezTo>
                  <a:pt x="2875" y="1106"/>
                  <a:pt x="2875" y="1106"/>
                  <a:pt x="2875" y="1106"/>
                </a:cubicBezTo>
                <a:cubicBezTo>
                  <a:pt x="2876" y="1105"/>
                  <a:pt x="2876" y="1105"/>
                  <a:pt x="2876" y="1105"/>
                </a:cubicBezTo>
                <a:cubicBezTo>
                  <a:pt x="2875" y="1105"/>
                  <a:pt x="2875" y="1105"/>
                  <a:pt x="2875" y="1105"/>
                </a:cubicBezTo>
                <a:cubicBezTo>
                  <a:pt x="2874" y="1104"/>
                  <a:pt x="2874" y="1104"/>
                  <a:pt x="2874" y="1104"/>
                </a:cubicBezTo>
                <a:cubicBezTo>
                  <a:pt x="2872" y="1102"/>
                  <a:pt x="2872" y="1102"/>
                  <a:pt x="2872" y="1102"/>
                </a:cubicBezTo>
                <a:cubicBezTo>
                  <a:pt x="2871" y="1101"/>
                  <a:pt x="2871" y="1101"/>
                  <a:pt x="2871" y="1101"/>
                </a:cubicBezTo>
                <a:cubicBezTo>
                  <a:pt x="2872" y="1102"/>
                  <a:pt x="2872" y="1102"/>
                  <a:pt x="2872" y="1102"/>
                </a:cubicBezTo>
                <a:cubicBezTo>
                  <a:pt x="2872" y="1104"/>
                  <a:pt x="2872" y="1104"/>
                  <a:pt x="2872" y="1104"/>
                </a:cubicBezTo>
                <a:cubicBezTo>
                  <a:pt x="2872" y="1105"/>
                  <a:pt x="2872" y="1105"/>
                  <a:pt x="2872" y="1105"/>
                </a:cubicBezTo>
                <a:cubicBezTo>
                  <a:pt x="2873" y="1106"/>
                  <a:pt x="2873" y="1106"/>
                  <a:pt x="2873" y="1106"/>
                </a:cubicBezTo>
                <a:cubicBezTo>
                  <a:pt x="2872" y="1105"/>
                  <a:pt x="2872" y="1105"/>
                  <a:pt x="2872" y="1105"/>
                </a:cubicBezTo>
                <a:close/>
                <a:moveTo>
                  <a:pt x="2762" y="922"/>
                </a:moveTo>
                <a:cubicBezTo>
                  <a:pt x="2762" y="920"/>
                  <a:pt x="2762" y="920"/>
                  <a:pt x="2762" y="920"/>
                </a:cubicBezTo>
                <a:cubicBezTo>
                  <a:pt x="2761" y="919"/>
                  <a:pt x="2761" y="919"/>
                  <a:pt x="2761" y="919"/>
                </a:cubicBezTo>
                <a:cubicBezTo>
                  <a:pt x="2760" y="920"/>
                  <a:pt x="2760" y="920"/>
                  <a:pt x="2760" y="920"/>
                </a:cubicBezTo>
                <a:cubicBezTo>
                  <a:pt x="2758" y="919"/>
                  <a:pt x="2758" y="919"/>
                  <a:pt x="2758" y="919"/>
                </a:cubicBezTo>
                <a:cubicBezTo>
                  <a:pt x="2757" y="920"/>
                  <a:pt x="2757" y="920"/>
                  <a:pt x="2757" y="920"/>
                </a:cubicBezTo>
                <a:cubicBezTo>
                  <a:pt x="2757" y="922"/>
                  <a:pt x="2757" y="922"/>
                  <a:pt x="2757" y="922"/>
                </a:cubicBezTo>
                <a:cubicBezTo>
                  <a:pt x="2756" y="924"/>
                  <a:pt x="2756" y="924"/>
                  <a:pt x="2756" y="924"/>
                </a:cubicBezTo>
                <a:cubicBezTo>
                  <a:pt x="2756" y="927"/>
                  <a:pt x="2756" y="927"/>
                  <a:pt x="2756" y="927"/>
                </a:cubicBezTo>
                <a:cubicBezTo>
                  <a:pt x="2755" y="929"/>
                  <a:pt x="2755" y="929"/>
                  <a:pt x="2755" y="929"/>
                </a:cubicBezTo>
                <a:cubicBezTo>
                  <a:pt x="2752" y="930"/>
                  <a:pt x="2752" y="930"/>
                  <a:pt x="2752" y="930"/>
                </a:cubicBezTo>
                <a:cubicBezTo>
                  <a:pt x="2751" y="931"/>
                  <a:pt x="2751" y="931"/>
                  <a:pt x="2751" y="931"/>
                </a:cubicBezTo>
                <a:cubicBezTo>
                  <a:pt x="2751" y="934"/>
                  <a:pt x="2751" y="934"/>
                  <a:pt x="2751" y="934"/>
                </a:cubicBezTo>
                <a:cubicBezTo>
                  <a:pt x="2753" y="934"/>
                  <a:pt x="2753" y="934"/>
                  <a:pt x="2753" y="934"/>
                </a:cubicBezTo>
                <a:cubicBezTo>
                  <a:pt x="2755" y="936"/>
                  <a:pt x="2755" y="936"/>
                  <a:pt x="2755" y="936"/>
                </a:cubicBezTo>
                <a:cubicBezTo>
                  <a:pt x="2757" y="936"/>
                  <a:pt x="2757" y="936"/>
                  <a:pt x="2757" y="936"/>
                </a:cubicBezTo>
                <a:cubicBezTo>
                  <a:pt x="2757" y="938"/>
                  <a:pt x="2757" y="938"/>
                  <a:pt x="2757" y="938"/>
                </a:cubicBezTo>
                <a:cubicBezTo>
                  <a:pt x="2759" y="939"/>
                  <a:pt x="2759" y="939"/>
                  <a:pt x="2759" y="939"/>
                </a:cubicBezTo>
                <a:cubicBezTo>
                  <a:pt x="2761" y="938"/>
                  <a:pt x="2761" y="938"/>
                  <a:pt x="2761" y="938"/>
                </a:cubicBezTo>
                <a:cubicBezTo>
                  <a:pt x="2761" y="936"/>
                  <a:pt x="2761" y="936"/>
                  <a:pt x="2761" y="936"/>
                </a:cubicBezTo>
                <a:cubicBezTo>
                  <a:pt x="2759" y="934"/>
                  <a:pt x="2759" y="934"/>
                  <a:pt x="2759" y="934"/>
                </a:cubicBezTo>
                <a:cubicBezTo>
                  <a:pt x="2759" y="930"/>
                  <a:pt x="2759" y="930"/>
                  <a:pt x="2759" y="930"/>
                </a:cubicBezTo>
                <a:cubicBezTo>
                  <a:pt x="2760" y="924"/>
                  <a:pt x="2760" y="924"/>
                  <a:pt x="2760" y="924"/>
                </a:cubicBezTo>
                <a:lnTo>
                  <a:pt x="2762" y="922"/>
                </a:lnTo>
                <a:close/>
                <a:moveTo>
                  <a:pt x="2748" y="968"/>
                </a:moveTo>
                <a:cubicBezTo>
                  <a:pt x="2749" y="969"/>
                  <a:pt x="2749" y="969"/>
                  <a:pt x="2749" y="969"/>
                </a:cubicBezTo>
                <a:cubicBezTo>
                  <a:pt x="2751" y="967"/>
                  <a:pt x="2751" y="967"/>
                  <a:pt x="2751" y="967"/>
                </a:cubicBezTo>
                <a:cubicBezTo>
                  <a:pt x="2752" y="966"/>
                  <a:pt x="2752" y="966"/>
                  <a:pt x="2752" y="966"/>
                </a:cubicBezTo>
                <a:cubicBezTo>
                  <a:pt x="2750" y="965"/>
                  <a:pt x="2750" y="965"/>
                  <a:pt x="2750" y="965"/>
                </a:cubicBezTo>
                <a:cubicBezTo>
                  <a:pt x="2749" y="965"/>
                  <a:pt x="2749" y="965"/>
                  <a:pt x="2749" y="965"/>
                </a:cubicBezTo>
                <a:cubicBezTo>
                  <a:pt x="2748" y="966"/>
                  <a:pt x="2748" y="966"/>
                  <a:pt x="2748" y="966"/>
                </a:cubicBezTo>
                <a:cubicBezTo>
                  <a:pt x="2746" y="966"/>
                  <a:pt x="2746" y="966"/>
                  <a:pt x="2746" y="966"/>
                </a:cubicBezTo>
                <a:cubicBezTo>
                  <a:pt x="2746" y="967"/>
                  <a:pt x="2746" y="967"/>
                  <a:pt x="2746" y="967"/>
                </a:cubicBezTo>
                <a:lnTo>
                  <a:pt x="2748" y="968"/>
                </a:lnTo>
                <a:close/>
                <a:moveTo>
                  <a:pt x="2803" y="1041"/>
                </a:moveTo>
                <a:cubicBezTo>
                  <a:pt x="2803" y="1040"/>
                  <a:pt x="2803" y="1040"/>
                  <a:pt x="2803" y="1040"/>
                </a:cubicBezTo>
                <a:cubicBezTo>
                  <a:pt x="2802" y="1040"/>
                  <a:pt x="2802" y="1040"/>
                  <a:pt x="2802" y="1040"/>
                </a:cubicBezTo>
                <a:cubicBezTo>
                  <a:pt x="2801" y="1042"/>
                  <a:pt x="2801" y="1042"/>
                  <a:pt x="2801" y="1042"/>
                </a:cubicBezTo>
                <a:cubicBezTo>
                  <a:pt x="2802" y="1043"/>
                  <a:pt x="2802" y="1043"/>
                  <a:pt x="2802" y="1043"/>
                </a:cubicBezTo>
                <a:lnTo>
                  <a:pt x="2803" y="1041"/>
                </a:lnTo>
                <a:close/>
                <a:moveTo>
                  <a:pt x="2784" y="1123"/>
                </a:moveTo>
                <a:cubicBezTo>
                  <a:pt x="2783" y="1122"/>
                  <a:pt x="2783" y="1122"/>
                  <a:pt x="2783" y="1122"/>
                </a:cubicBezTo>
                <a:cubicBezTo>
                  <a:pt x="2783" y="1123"/>
                  <a:pt x="2783" y="1123"/>
                  <a:pt x="2783" y="1123"/>
                </a:cubicBezTo>
                <a:cubicBezTo>
                  <a:pt x="2783" y="1124"/>
                  <a:pt x="2783" y="1124"/>
                  <a:pt x="2783" y="1124"/>
                </a:cubicBezTo>
                <a:lnTo>
                  <a:pt x="2784" y="1123"/>
                </a:lnTo>
                <a:close/>
                <a:moveTo>
                  <a:pt x="2787" y="1001"/>
                </a:moveTo>
                <a:cubicBezTo>
                  <a:pt x="2786" y="999"/>
                  <a:pt x="2786" y="999"/>
                  <a:pt x="2786" y="999"/>
                </a:cubicBezTo>
                <a:cubicBezTo>
                  <a:pt x="2784" y="996"/>
                  <a:pt x="2784" y="996"/>
                  <a:pt x="2784" y="996"/>
                </a:cubicBezTo>
                <a:cubicBezTo>
                  <a:pt x="2784" y="998"/>
                  <a:pt x="2784" y="998"/>
                  <a:pt x="2784" y="998"/>
                </a:cubicBezTo>
                <a:cubicBezTo>
                  <a:pt x="2784" y="1000"/>
                  <a:pt x="2784" y="1000"/>
                  <a:pt x="2784" y="1000"/>
                </a:cubicBezTo>
                <a:cubicBezTo>
                  <a:pt x="2786" y="1002"/>
                  <a:pt x="2786" y="1002"/>
                  <a:pt x="2786" y="1002"/>
                </a:cubicBezTo>
                <a:lnTo>
                  <a:pt x="2787" y="1001"/>
                </a:lnTo>
                <a:close/>
                <a:moveTo>
                  <a:pt x="2789" y="1118"/>
                </a:moveTo>
                <a:cubicBezTo>
                  <a:pt x="2792" y="1119"/>
                  <a:pt x="2792" y="1119"/>
                  <a:pt x="2792" y="1119"/>
                </a:cubicBezTo>
                <a:cubicBezTo>
                  <a:pt x="2793" y="1120"/>
                  <a:pt x="2793" y="1120"/>
                  <a:pt x="2793" y="1120"/>
                </a:cubicBezTo>
                <a:cubicBezTo>
                  <a:pt x="2794" y="1119"/>
                  <a:pt x="2794" y="1119"/>
                  <a:pt x="2794" y="1119"/>
                </a:cubicBezTo>
                <a:cubicBezTo>
                  <a:pt x="2795" y="1118"/>
                  <a:pt x="2795" y="1118"/>
                  <a:pt x="2795" y="1118"/>
                </a:cubicBezTo>
                <a:cubicBezTo>
                  <a:pt x="2797" y="1117"/>
                  <a:pt x="2797" y="1117"/>
                  <a:pt x="2797" y="1117"/>
                </a:cubicBezTo>
                <a:cubicBezTo>
                  <a:pt x="2796" y="1116"/>
                  <a:pt x="2796" y="1116"/>
                  <a:pt x="2796" y="1116"/>
                </a:cubicBezTo>
                <a:cubicBezTo>
                  <a:pt x="2794" y="1115"/>
                  <a:pt x="2794" y="1115"/>
                  <a:pt x="2794" y="1115"/>
                </a:cubicBezTo>
                <a:cubicBezTo>
                  <a:pt x="2793" y="1116"/>
                  <a:pt x="2793" y="1116"/>
                  <a:pt x="2793" y="1116"/>
                </a:cubicBezTo>
                <a:cubicBezTo>
                  <a:pt x="2789" y="1117"/>
                  <a:pt x="2789" y="1117"/>
                  <a:pt x="2789" y="1117"/>
                </a:cubicBezTo>
                <a:cubicBezTo>
                  <a:pt x="2788" y="1116"/>
                  <a:pt x="2788" y="1116"/>
                  <a:pt x="2788" y="1116"/>
                </a:cubicBezTo>
                <a:cubicBezTo>
                  <a:pt x="2787" y="1117"/>
                  <a:pt x="2787" y="1117"/>
                  <a:pt x="2787" y="1117"/>
                </a:cubicBezTo>
                <a:cubicBezTo>
                  <a:pt x="2786" y="1119"/>
                  <a:pt x="2786" y="1119"/>
                  <a:pt x="2786" y="1119"/>
                </a:cubicBezTo>
                <a:cubicBezTo>
                  <a:pt x="2787" y="1120"/>
                  <a:pt x="2787" y="1120"/>
                  <a:pt x="2787" y="1120"/>
                </a:cubicBezTo>
                <a:lnTo>
                  <a:pt x="2789" y="1118"/>
                </a:lnTo>
                <a:close/>
                <a:moveTo>
                  <a:pt x="2797" y="996"/>
                </a:moveTo>
                <a:cubicBezTo>
                  <a:pt x="2798" y="996"/>
                  <a:pt x="2798" y="996"/>
                  <a:pt x="2798" y="996"/>
                </a:cubicBezTo>
                <a:cubicBezTo>
                  <a:pt x="2798" y="994"/>
                  <a:pt x="2798" y="994"/>
                  <a:pt x="2798" y="994"/>
                </a:cubicBezTo>
                <a:cubicBezTo>
                  <a:pt x="2797" y="994"/>
                  <a:pt x="2797" y="994"/>
                  <a:pt x="2797" y="994"/>
                </a:cubicBezTo>
                <a:cubicBezTo>
                  <a:pt x="2797" y="994"/>
                  <a:pt x="2797" y="996"/>
                  <a:pt x="2797" y="996"/>
                </a:cubicBezTo>
                <a:close/>
                <a:moveTo>
                  <a:pt x="2799" y="993"/>
                </a:moveTo>
                <a:cubicBezTo>
                  <a:pt x="2799" y="991"/>
                  <a:pt x="2799" y="991"/>
                  <a:pt x="2799" y="991"/>
                </a:cubicBezTo>
                <a:cubicBezTo>
                  <a:pt x="2799" y="989"/>
                  <a:pt x="2799" y="989"/>
                  <a:pt x="2799" y="989"/>
                </a:cubicBezTo>
                <a:cubicBezTo>
                  <a:pt x="2797" y="989"/>
                  <a:pt x="2797" y="989"/>
                  <a:pt x="2797" y="989"/>
                </a:cubicBezTo>
                <a:cubicBezTo>
                  <a:pt x="2797" y="989"/>
                  <a:pt x="2797" y="989"/>
                  <a:pt x="2797" y="989"/>
                </a:cubicBezTo>
                <a:cubicBezTo>
                  <a:pt x="2797" y="992"/>
                  <a:pt x="2797" y="992"/>
                  <a:pt x="2797" y="992"/>
                </a:cubicBezTo>
                <a:cubicBezTo>
                  <a:pt x="2797" y="994"/>
                  <a:pt x="2797" y="994"/>
                  <a:pt x="2797" y="994"/>
                </a:cubicBezTo>
                <a:lnTo>
                  <a:pt x="2799" y="993"/>
                </a:lnTo>
                <a:close/>
                <a:moveTo>
                  <a:pt x="2799" y="1077"/>
                </a:moveTo>
                <a:cubicBezTo>
                  <a:pt x="2801" y="1075"/>
                  <a:pt x="2801" y="1075"/>
                  <a:pt x="2801" y="1075"/>
                </a:cubicBezTo>
                <a:cubicBezTo>
                  <a:pt x="2803" y="1075"/>
                  <a:pt x="2803" y="1075"/>
                  <a:pt x="2803" y="1075"/>
                </a:cubicBezTo>
                <a:cubicBezTo>
                  <a:pt x="2803" y="1073"/>
                  <a:pt x="2803" y="1073"/>
                  <a:pt x="2803" y="1073"/>
                </a:cubicBezTo>
                <a:cubicBezTo>
                  <a:pt x="2801" y="1071"/>
                  <a:pt x="2801" y="1071"/>
                  <a:pt x="2801" y="1071"/>
                </a:cubicBezTo>
                <a:cubicBezTo>
                  <a:pt x="2801" y="1070"/>
                  <a:pt x="2801" y="1070"/>
                  <a:pt x="2801" y="1070"/>
                </a:cubicBezTo>
                <a:cubicBezTo>
                  <a:pt x="2798" y="1069"/>
                  <a:pt x="2798" y="1069"/>
                  <a:pt x="2798" y="1069"/>
                </a:cubicBezTo>
                <a:cubicBezTo>
                  <a:pt x="2794" y="1069"/>
                  <a:pt x="2794" y="1069"/>
                  <a:pt x="2794" y="1069"/>
                </a:cubicBezTo>
                <a:cubicBezTo>
                  <a:pt x="2793" y="1070"/>
                  <a:pt x="2793" y="1070"/>
                  <a:pt x="2793" y="1070"/>
                </a:cubicBezTo>
                <a:cubicBezTo>
                  <a:pt x="2791" y="1069"/>
                  <a:pt x="2791" y="1069"/>
                  <a:pt x="2791" y="1069"/>
                </a:cubicBezTo>
                <a:cubicBezTo>
                  <a:pt x="2789" y="1071"/>
                  <a:pt x="2789" y="1071"/>
                  <a:pt x="2789" y="1071"/>
                </a:cubicBezTo>
                <a:cubicBezTo>
                  <a:pt x="2789" y="1073"/>
                  <a:pt x="2789" y="1073"/>
                  <a:pt x="2789" y="1073"/>
                </a:cubicBezTo>
                <a:cubicBezTo>
                  <a:pt x="2790" y="1075"/>
                  <a:pt x="2790" y="1075"/>
                  <a:pt x="2790" y="1075"/>
                </a:cubicBezTo>
                <a:cubicBezTo>
                  <a:pt x="2793" y="1076"/>
                  <a:pt x="2793" y="1076"/>
                  <a:pt x="2793" y="1076"/>
                </a:cubicBezTo>
                <a:cubicBezTo>
                  <a:pt x="2794" y="1077"/>
                  <a:pt x="2794" y="1077"/>
                  <a:pt x="2794" y="1077"/>
                </a:cubicBezTo>
                <a:cubicBezTo>
                  <a:pt x="2797" y="1076"/>
                  <a:pt x="2797" y="1076"/>
                  <a:pt x="2797" y="1076"/>
                </a:cubicBezTo>
                <a:lnTo>
                  <a:pt x="2799" y="1077"/>
                </a:lnTo>
                <a:close/>
                <a:moveTo>
                  <a:pt x="2758" y="907"/>
                </a:moveTo>
                <a:cubicBezTo>
                  <a:pt x="2758" y="908"/>
                  <a:pt x="2758" y="908"/>
                  <a:pt x="2758" y="908"/>
                </a:cubicBezTo>
                <a:cubicBezTo>
                  <a:pt x="2760" y="906"/>
                  <a:pt x="2760" y="906"/>
                  <a:pt x="2760" y="906"/>
                </a:cubicBezTo>
                <a:cubicBezTo>
                  <a:pt x="2761" y="905"/>
                  <a:pt x="2761" y="905"/>
                  <a:pt x="2761" y="905"/>
                </a:cubicBezTo>
                <a:cubicBezTo>
                  <a:pt x="2763" y="908"/>
                  <a:pt x="2763" y="908"/>
                  <a:pt x="2763" y="908"/>
                </a:cubicBezTo>
                <a:cubicBezTo>
                  <a:pt x="2766" y="909"/>
                  <a:pt x="2766" y="909"/>
                  <a:pt x="2766" y="909"/>
                </a:cubicBezTo>
                <a:cubicBezTo>
                  <a:pt x="2768" y="909"/>
                  <a:pt x="2768" y="909"/>
                  <a:pt x="2768" y="909"/>
                </a:cubicBezTo>
                <a:cubicBezTo>
                  <a:pt x="2768" y="908"/>
                  <a:pt x="2768" y="908"/>
                  <a:pt x="2768" y="908"/>
                </a:cubicBezTo>
                <a:cubicBezTo>
                  <a:pt x="2766" y="906"/>
                  <a:pt x="2766" y="906"/>
                  <a:pt x="2766" y="906"/>
                </a:cubicBezTo>
                <a:cubicBezTo>
                  <a:pt x="2763" y="904"/>
                  <a:pt x="2763" y="904"/>
                  <a:pt x="2763" y="904"/>
                </a:cubicBezTo>
                <a:cubicBezTo>
                  <a:pt x="2762" y="904"/>
                  <a:pt x="2762" y="904"/>
                  <a:pt x="2762" y="904"/>
                </a:cubicBezTo>
                <a:cubicBezTo>
                  <a:pt x="2760" y="902"/>
                  <a:pt x="2760" y="902"/>
                  <a:pt x="2760" y="902"/>
                </a:cubicBezTo>
                <a:cubicBezTo>
                  <a:pt x="2759" y="902"/>
                  <a:pt x="2759" y="902"/>
                  <a:pt x="2759" y="902"/>
                </a:cubicBezTo>
                <a:cubicBezTo>
                  <a:pt x="2760" y="902"/>
                  <a:pt x="2760" y="902"/>
                  <a:pt x="2760" y="902"/>
                </a:cubicBezTo>
                <a:cubicBezTo>
                  <a:pt x="2758" y="901"/>
                  <a:pt x="2758" y="901"/>
                  <a:pt x="2758" y="901"/>
                </a:cubicBezTo>
                <a:cubicBezTo>
                  <a:pt x="2758" y="903"/>
                  <a:pt x="2758" y="903"/>
                  <a:pt x="2758" y="903"/>
                </a:cubicBezTo>
                <a:cubicBezTo>
                  <a:pt x="2759" y="905"/>
                  <a:pt x="2759" y="905"/>
                  <a:pt x="2759" y="905"/>
                </a:cubicBezTo>
                <a:cubicBezTo>
                  <a:pt x="2758" y="906"/>
                  <a:pt x="2758" y="906"/>
                  <a:pt x="2758" y="906"/>
                </a:cubicBezTo>
                <a:lnTo>
                  <a:pt x="2758" y="907"/>
                </a:lnTo>
                <a:close/>
                <a:moveTo>
                  <a:pt x="2747" y="900"/>
                </a:moveTo>
                <a:cubicBezTo>
                  <a:pt x="2746" y="902"/>
                  <a:pt x="2746" y="902"/>
                  <a:pt x="2746" y="902"/>
                </a:cubicBezTo>
                <a:cubicBezTo>
                  <a:pt x="2745" y="904"/>
                  <a:pt x="2745" y="904"/>
                  <a:pt x="2745" y="904"/>
                </a:cubicBezTo>
                <a:cubicBezTo>
                  <a:pt x="2746" y="907"/>
                  <a:pt x="2746" y="907"/>
                  <a:pt x="2746" y="907"/>
                </a:cubicBezTo>
                <a:cubicBezTo>
                  <a:pt x="2747" y="906"/>
                  <a:pt x="2747" y="906"/>
                  <a:pt x="2747" y="906"/>
                </a:cubicBezTo>
                <a:cubicBezTo>
                  <a:pt x="2748" y="904"/>
                  <a:pt x="2748" y="904"/>
                  <a:pt x="2748" y="904"/>
                </a:cubicBezTo>
                <a:cubicBezTo>
                  <a:pt x="2747" y="902"/>
                  <a:pt x="2747" y="902"/>
                  <a:pt x="2747" y="902"/>
                </a:cubicBezTo>
                <a:cubicBezTo>
                  <a:pt x="2747" y="900"/>
                  <a:pt x="2747" y="900"/>
                  <a:pt x="2747" y="900"/>
                </a:cubicBezTo>
                <a:close/>
                <a:moveTo>
                  <a:pt x="2722" y="984"/>
                </a:moveTo>
                <a:cubicBezTo>
                  <a:pt x="2721" y="985"/>
                  <a:pt x="2721" y="985"/>
                  <a:pt x="2721" y="985"/>
                </a:cubicBezTo>
                <a:cubicBezTo>
                  <a:pt x="2722" y="987"/>
                  <a:pt x="2722" y="987"/>
                  <a:pt x="2722" y="987"/>
                </a:cubicBezTo>
                <a:cubicBezTo>
                  <a:pt x="2722" y="986"/>
                  <a:pt x="2722" y="986"/>
                  <a:pt x="2722" y="986"/>
                </a:cubicBezTo>
                <a:lnTo>
                  <a:pt x="2722" y="984"/>
                </a:lnTo>
                <a:close/>
                <a:moveTo>
                  <a:pt x="2748" y="910"/>
                </a:moveTo>
                <a:cubicBezTo>
                  <a:pt x="2746" y="908"/>
                  <a:pt x="2746" y="908"/>
                  <a:pt x="2746" y="908"/>
                </a:cubicBezTo>
                <a:cubicBezTo>
                  <a:pt x="2744" y="909"/>
                  <a:pt x="2744" y="909"/>
                  <a:pt x="2744" y="909"/>
                </a:cubicBezTo>
                <a:cubicBezTo>
                  <a:pt x="2744" y="910"/>
                  <a:pt x="2744" y="910"/>
                  <a:pt x="2744" y="910"/>
                </a:cubicBezTo>
                <a:cubicBezTo>
                  <a:pt x="2746" y="911"/>
                  <a:pt x="2746" y="911"/>
                  <a:pt x="2746" y="911"/>
                </a:cubicBezTo>
                <a:cubicBezTo>
                  <a:pt x="2747" y="911"/>
                  <a:pt x="2747" y="911"/>
                  <a:pt x="2747" y="911"/>
                </a:cubicBezTo>
                <a:cubicBezTo>
                  <a:pt x="2747" y="913"/>
                  <a:pt x="2747" y="913"/>
                  <a:pt x="2747" y="913"/>
                </a:cubicBezTo>
                <a:cubicBezTo>
                  <a:pt x="2747" y="915"/>
                  <a:pt x="2747" y="915"/>
                  <a:pt x="2747" y="915"/>
                </a:cubicBezTo>
                <a:cubicBezTo>
                  <a:pt x="2747" y="918"/>
                  <a:pt x="2747" y="918"/>
                  <a:pt x="2747" y="918"/>
                </a:cubicBezTo>
                <a:cubicBezTo>
                  <a:pt x="2746" y="921"/>
                  <a:pt x="2746" y="921"/>
                  <a:pt x="2746" y="921"/>
                </a:cubicBezTo>
                <a:cubicBezTo>
                  <a:pt x="2747" y="924"/>
                  <a:pt x="2747" y="924"/>
                  <a:pt x="2747" y="924"/>
                </a:cubicBezTo>
                <a:cubicBezTo>
                  <a:pt x="2748" y="924"/>
                  <a:pt x="2748" y="924"/>
                  <a:pt x="2748" y="924"/>
                </a:cubicBezTo>
                <a:cubicBezTo>
                  <a:pt x="2748" y="923"/>
                  <a:pt x="2748" y="923"/>
                  <a:pt x="2748" y="923"/>
                </a:cubicBezTo>
                <a:cubicBezTo>
                  <a:pt x="2750" y="921"/>
                  <a:pt x="2750" y="921"/>
                  <a:pt x="2750" y="921"/>
                </a:cubicBezTo>
                <a:cubicBezTo>
                  <a:pt x="2752" y="922"/>
                  <a:pt x="2752" y="922"/>
                  <a:pt x="2752" y="922"/>
                </a:cubicBezTo>
                <a:cubicBezTo>
                  <a:pt x="2752" y="921"/>
                  <a:pt x="2752" y="921"/>
                  <a:pt x="2752" y="921"/>
                </a:cubicBezTo>
                <a:cubicBezTo>
                  <a:pt x="2753" y="921"/>
                  <a:pt x="2753" y="921"/>
                  <a:pt x="2753" y="921"/>
                </a:cubicBezTo>
                <a:cubicBezTo>
                  <a:pt x="2754" y="920"/>
                  <a:pt x="2754" y="920"/>
                  <a:pt x="2754" y="920"/>
                </a:cubicBezTo>
                <a:cubicBezTo>
                  <a:pt x="2756" y="918"/>
                  <a:pt x="2756" y="918"/>
                  <a:pt x="2756" y="918"/>
                </a:cubicBezTo>
                <a:cubicBezTo>
                  <a:pt x="2757" y="915"/>
                  <a:pt x="2757" y="915"/>
                  <a:pt x="2757" y="915"/>
                </a:cubicBezTo>
                <a:cubicBezTo>
                  <a:pt x="2758" y="915"/>
                  <a:pt x="2758" y="915"/>
                  <a:pt x="2758" y="915"/>
                </a:cubicBezTo>
                <a:cubicBezTo>
                  <a:pt x="2759" y="913"/>
                  <a:pt x="2759" y="913"/>
                  <a:pt x="2759" y="913"/>
                </a:cubicBezTo>
                <a:cubicBezTo>
                  <a:pt x="2758" y="911"/>
                  <a:pt x="2758" y="911"/>
                  <a:pt x="2758" y="911"/>
                </a:cubicBezTo>
                <a:cubicBezTo>
                  <a:pt x="2757" y="912"/>
                  <a:pt x="2757" y="912"/>
                  <a:pt x="2757" y="912"/>
                </a:cubicBezTo>
                <a:cubicBezTo>
                  <a:pt x="2755" y="914"/>
                  <a:pt x="2755" y="914"/>
                  <a:pt x="2755" y="914"/>
                </a:cubicBezTo>
                <a:cubicBezTo>
                  <a:pt x="2754" y="912"/>
                  <a:pt x="2754" y="912"/>
                  <a:pt x="2754" y="912"/>
                </a:cubicBezTo>
                <a:cubicBezTo>
                  <a:pt x="2753" y="912"/>
                  <a:pt x="2753" y="912"/>
                  <a:pt x="2753" y="912"/>
                </a:cubicBezTo>
                <a:cubicBezTo>
                  <a:pt x="2751" y="912"/>
                  <a:pt x="2751" y="912"/>
                  <a:pt x="2751" y="912"/>
                </a:cubicBezTo>
                <a:cubicBezTo>
                  <a:pt x="2749" y="912"/>
                  <a:pt x="2749" y="912"/>
                  <a:pt x="2749" y="912"/>
                </a:cubicBezTo>
                <a:cubicBezTo>
                  <a:pt x="2750" y="911"/>
                  <a:pt x="2750" y="911"/>
                  <a:pt x="2750" y="911"/>
                </a:cubicBezTo>
                <a:lnTo>
                  <a:pt x="2748" y="910"/>
                </a:lnTo>
                <a:close/>
                <a:moveTo>
                  <a:pt x="2725" y="923"/>
                </a:moveTo>
                <a:cubicBezTo>
                  <a:pt x="2724" y="922"/>
                  <a:pt x="2724" y="922"/>
                  <a:pt x="2724" y="922"/>
                </a:cubicBezTo>
                <a:cubicBezTo>
                  <a:pt x="2724" y="923"/>
                  <a:pt x="2724" y="923"/>
                  <a:pt x="2724" y="923"/>
                </a:cubicBezTo>
                <a:cubicBezTo>
                  <a:pt x="2723" y="924"/>
                  <a:pt x="2723" y="924"/>
                  <a:pt x="2723" y="924"/>
                </a:cubicBezTo>
                <a:cubicBezTo>
                  <a:pt x="2723" y="925"/>
                  <a:pt x="2723" y="925"/>
                  <a:pt x="2723" y="925"/>
                </a:cubicBezTo>
                <a:cubicBezTo>
                  <a:pt x="2724" y="925"/>
                  <a:pt x="2724" y="925"/>
                  <a:pt x="2724" y="925"/>
                </a:cubicBezTo>
                <a:cubicBezTo>
                  <a:pt x="2726" y="925"/>
                  <a:pt x="2726" y="925"/>
                  <a:pt x="2726" y="925"/>
                </a:cubicBezTo>
                <a:cubicBezTo>
                  <a:pt x="2726" y="924"/>
                  <a:pt x="2726" y="924"/>
                  <a:pt x="2726" y="924"/>
                </a:cubicBezTo>
                <a:lnTo>
                  <a:pt x="2725" y="923"/>
                </a:lnTo>
                <a:close/>
                <a:moveTo>
                  <a:pt x="2723" y="912"/>
                </a:moveTo>
                <a:cubicBezTo>
                  <a:pt x="2724" y="911"/>
                  <a:pt x="2724" y="911"/>
                  <a:pt x="2724" y="911"/>
                </a:cubicBezTo>
                <a:cubicBezTo>
                  <a:pt x="2725" y="910"/>
                  <a:pt x="2725" y="910"/>
                  <a:pt x="2725" y="910"/>
                </a:cubicBezTo>
                <a:cubicBezTo>
                  <a:pt x="2724" y="909"/>
                  <a:pt x="2724" y="909"/>
                  <a:pt x="2724" y="909"/>
                </a:cubicBezTo>
                <a:cubicBezTo>
                  <a:pt x="2722" y="908"/>
                  <a:pt x="2722" y="908"/>
                  <a:pt x="2722" y="908"/>
                </a:cubicBezTo>
                <a:cubicBezTo>
                  <a:pt x="2722" y="909"/>
                  <a:pt x="2722" y="909"/>
                  <a:pt x="2722" y="909"/>
                </a:cubicBezTo>
                <a:cubicBezTo>
                  <a:pt x="2722" y="912"/>
                  <a:pt x="2722" y="912"/>
                  <a:pt x="2722" y="912"/>
                </a:cubicBezTo>
                <a:lnTo>
                  <a:pt x="2723" y="912"/>
                </a:lnTo>
                <a:close/>
                <a:moveTo>
                  <a:pt x="2728" y="982"/>
                </a:moveTo>
                <a:cubicBezTo>
                  <a:pt x="2730" y="981"/>
                  <a:pt x="2730" y="981"/>
                  <a:pt x="2730" y="981"/>
                </a:cubicBezTo>
                <a:cubicBezTo>
                  <a:pt x="2730" y="979"/>
                  <a:pt x="2730" y="979"/>
                  <a:pt x="2730" y="979"/>
                </a:cubicBezTo>
                <a:cubicBezTo>
                  <a:pt x="2729" y="979"/>
                  <a:pt x="2729" y="979"/>
                  <a:pt x="2729" y="979"/>
                </a:cubicBezTo>
                <a:cubicBezTo>
                  <a:pt x="2725" y="982"/>
                  <a:pt x="2725" y="982"/>
                  <a:pt x="2725" y="982"/>
                </a:cubicBezTo>
                <a:cubicBezTo>
                  <a:pt x="2726" y="983"/>
                  <a:pt x="2726" y="983"/>
                  <a:pt x="2726" y="983"/>
                </a:cubicBezTo>
                <a:lnTo>
                  <a:pt x="2728" y="982"/>
                </a:lnTo>
                <a:close/>
                <a:moveTo>
                  <a:pt x="2753" y="904"/>
                </a:moveTo>
                <a:cubicBezTo>
                  <a:pt x="2753" y="903"/>
                  <a:pt x="2753" y="903"/>
                  <a:pt x="2753" y="903"/>
                </a:cubicBezTo>
                <a:cubicBezTo>
                  <a:pt x="2751" y="902"/>
                  <a:pt x="2751" y="902"/>
                  <a:pt x="2751" y="902"/>
                </a:cubicBezTo>
                <a:cubicBezTo>
                  <a:pt x="2750" y="903"/>
                  <a:pt x="2750" y="903"/>
                  <a:pt x="2750" y="903"/>
                </a:cubicBezTo>
                <a:cubicBezTo>
                  <a:pt x="2751" y="904"/>
                  <a:pt x="2751" y="904"/>
                  <a:pt x="2751" y="904"/>
                </a:cubicBezTo>
                <a:lnTo>
                  <a:pt x="2753" y="904"/>
                </a:lnTo>
                <a:close/>
                <a:moveTo>
                  <a:pt x="2770" y="923"/>
                </a:moveTo>
                <a:cubicBezTo>
                  <a:pt x="2770" y="921"/>
                  <a:pt x="2770" y="921"/>
                  <a:pt x="2770" y="921"/>
                </a:cubicBezTo>
                <a:cubicBezTo>
                  <a:pt x="2770" y="922"/>
                  <a:pt x="2770" y="922"/>
                  <a:pt x="2770" y="922"/>
                </a:cubicBezTo>
                <a:lnTo>
                  <a:pt x="2770" y="923"/>
                </a:lnTo>
                <a:close/>
                <a:moveTo>
                  <a:pt x="2766" y="931"/>
                </a:moveTo>
                <a:cubicBezTo>
                  <a:pt x="2767" y="933"/>
                  <a:pt x="2767" y="933"/>
                  <a:pt x="2767" y="933"/>
                </a:cubicBezTo>
                <a:cubicBezTo>
                  <a:pt x="2767" y="934"/>
                  <a:pt x="2767" y="934"/>
                  <a:pt x="2767" y="934"/>
                </a:cubicBezTo>
                <a:cubicBezTo>
                  <a:pt x="2769" y="933"/>
                  <a:pt x="2769" y="933"/>
                  <a:pt x="2769" y="933"/>
                </a:cubicBezTo>
                <a:cubicBezTo>
                  <a:pt x="2772" y="932"/>
                  <a:pt x="2772" y="932"/>
                  <a:pt x="2772" y="932"/>
                </a:cubicBezTo>
                <a:cubicBezTo>
                  <a:pt x="2773" y="931"/>
                  <a:pt x="2773" y="931"/>
                  <a:pt x="2773" y="931"/>
                </a:cubicBezTo>
                <a:cubicBezTo>
                  <a:pt x="2773" y="929"/>
                  <a:pt x="2773" y="929"/>
                  <a:pt x="2773" y="929"/>
                </a:cubicBezTo>
                <a:cubicBezTo>
                  <a:pt x="2772" y="928"/>
                  <a:pt x="2772" y="928"/>
                  <a:pt x="2772" y="928"/>
                </a:cubicBezTo>
                <a:cubicBezTo>
                  <a:pt x="2771" y="928"/>
                  <a:pt x="2771" y="928"/>
                  <a:pt x="2771" y="928"/>
                </a:cubicBezTo>
                <a:cubicBezTo>
                  <a:pt x="2767" y="930"/>
                  <a:pt x="2767" y="930"/>
                  <a:pt x="2767" y="930"/>
                </a:cubicBezTo>
                <a:lnTo>
                  <a:pt x="2766" y="931"/>
                </a:lnTo>
                <a:close/>
                <a:moveTo>
                  <a:pt x="2774" y="937"/>
                </a:moveTo>
                <a:cubicBezTo>
                  <a:pt x="2774" y="938"/>
                  <a:pt x="2774" y="938"/>
                  <a:pt x="2774" y="938"/>
                </a:cubicBezTo>
                <a:cubicBezTo>
                  <a:pt x="2776" y="939"/>
                  <a:pt x="2776" y="939"/>
                  <a:pt x="2776" y="939"/>
                </a:cubicBezTo>
                <a:cubicBezTo>
                  <a:pt x="2776" y="937"/>
                  <a:pt x="2776" y="937"/>
                  <a:pt x="2776" y="937"/>
                </a:cubicBezTo>
                <a:cubicBezTo>
                  <a:pt x="2774" y="936"/>
                  <a:pt x="2774" y="936"/>
                  <a:pt x="2774" y="936"/>
                </a:cubicBezTo>
                <a:lnTo>
                  <a:pt x="2774" y="937"/>
                </a:lnTo>
                <a:close/>
                <a:moveTo>
                  <a:pt x="2769" y="913"/>
                </a:moveTo>
                <a:cubicBezTo>
                  <a:pt x="2771" y="914"/>
                  <a:pt x="2771" y="914"/>
                  <a:pt x="2771" y="914"/>
                </a:cubicBezTo>
                <a:cubicBezTo>
                  <a:pt x="2772" y="914"/>
                  <a:pt x="2772" y="914"/>
                  <a:pt x="2772" y="914"/>
                </a:cubicBezTo>
                <a:cubicBezTo>
                  <a:pt x="2773" y="912"/>
                  <a:pt x="2773" y="912"/>
                  <a:pt x="2773" y="912"/>
                </a:cubicBezTo>
                <a:cubicBezTo>
                  <a:pt x="2770" y="912"/>
                  <a:pt x="2770" y="912"/>
                  <a:pt x="2770" y="912"/>
                </a:cubicBezTo>
                <a:lnTo>
                  <a:pt x="2769" y="913"/>
                </a:lnTo>
                <a:close/>
                <a:moveTo>
                  <a:pt x="2780" y="930"/>
                </a:moveTo>
                <a:cubicBezTo>
                  <a:pt x="2781" y="931"/>
                  <a:pt x="2781" y="931"/>
                  <a:pt x="2781" y="931"/>
                </a:cubicBezTo>
                <a:cubicBezTo>
                  <a:pt x="2781" y="930"/>
                  <a:pt x="2781" y="930"/>
                  <a:pt x="2781" y="930"/>
                </a:cubicBezTo>
                <a:cubicBezTo>
                  <a:pt x="2780" y="928"/>
                  <a:pt x="2780" y="928"/>
                  <a:pt x="2780" y="928"/>
                </a:cubicBezTo>
                <a:lnTo>
                  <a:pt x="2780" y="930"/>
                </a:lnTo>
                <a:close/>
                <a:moveTo>
                  <a:pt x="2777" y="921"/>
                </a:moveTo>
                <a:cubicBezTo>
                  <a:pt x="2777" y="918"/>
                  <a:pt x="2777" y="918"/>
                  <a:pt x="2777" y="918"/>
                </a:cubicBezTo>
                <a:cubicBezTo>
                  <a:pt x="2776" y="916"/>
                  <a:pt x="2776" y="916"/>
                  <a:pt x="2776" y="916"/>
                </a:cubicBezTo>
                <a:cubicBezTo>
                  <a:pt x="2775" y="915"/>
                  <a:pt x="2775" y="915"/>
                  <a:pt x="2775" y="915"/>
                </a:cubicBezTo>
                <a:cubicBezTo>
                  <a:pt x="2773" y="916"/>
                  <a:pt x="2773" y="916"/>
                  <a:pt x="2773" y="916"/>
                </a:cubicBezTo>
                <a:cubicBezTo>
                  <a:pt x="2771" y="915"/>
                  <a:pt x="2771" y="915"/>
                  <a:pt x="2771" y="915"/>
                </a:cubicBezTo>
                <a:cubicBezTo>
                  <a:pt x="2770" y="915"/>
                  <a:pt x="2770" y="915"/>
                  <a:pt x="2770" y="915"/>
                </a:cubicBezTo>
                <a:cubicBezTo>
                  <a:pt x="2771" y="917"/>
                  <a:pt x="2771" y="917"/>
                  <a:pt x="2771" y="917"/>
                </a:cubicBezTo>
                <a:cubicBezTo>
                  <a:pt x="2771" y="919"/>
                  <a:pt x="2771" y="919"/>
                  <a:pt x="2771" y="919"/>
                </a:cubicBezTo>
                <a:cubicBezTo>
                  <a:pt x="2772" y="920"/>
                  <a:pt x="2772" y="920"/>
                  <a:pt x="2772" y="920"/>
                </a:cubicBezTo>
                <a:cubicBezTo>
                  <a:pt x="2773" y="919"/>
                  <a:pt x="2773" y="919"/>
                  <a:pt x="2773" y="919"/>
                </a:cubicBezTo>
                <a:cubicBezTo>
                  <a:pt x="2774" y="920"/>
                  <a:pt x="2774" y="920"/>
                  <a:pt x="2774" y="920"/>
                </a:cubicBezTo>
                <a:cubicBezTo>
                  <a:pt x="2774" y="923"/>
                  <a:pt x="2774" y="923"/>
                  <a:pt x="2774" y="923"/>
                </a:cubicBezTo>
                <a:cubicBezTo>
                  <a:pt x="2775" y="925"/>
                  <a:pt x="2775" y="925"/>
                  <a:pt x="2775" y="925"/>
                </a:cubicBezTo>
                <a:cubicBezTo>
                  <a:pt x="2775" y="927"/>
                  <a:pt x="2775" y="927"/>
                  <a:pt x="2775" y="927"/>
                </a:cubicBezTo>
                <a:cubicBezTo>
                  <a:pt x="2777" y="929"/>
                  <a:pt x="2777" y="929"/>
                  <a:pt x="2777" y="929"/>
                </a:cubicBezTo>
                <a:cubicBezTo>
                  <a:pt x="2777" y="926"/>
                  <a:pt x="2777" y="926"/>
                  <a:pt x="2777" y="926"/>
                </a:cubicBezTo>
                <a:cubicBezTo>
                  <a:pt x="2778" y="927"/>
                  <a:pt x="2778" y="927"/>
                  <a:pt x="2778" y="927"/>
                </a:cubicBezTo>
                <a:cubicBezTo>
                  <a:pt x="2780" y="927"/>
                  <a:pt x="2780" y="927"/>
                  <a:pt x="2780" y="927"/>
                </a:cubicBezTo>
                <a:cubicBezTo>
                  <a:pt x="2780" y="925"/>
                  <a:pt x="2780" y="925"/>
                  <a:pt x="2780" y="925"/>
                </a:cubicBezTo>
                <a:cubicBezTo>
                  <a:pt x="2779" y="922"/>
                  <a:pt x="2779" y="922"/>
                  <a:pt x="2779" y="922"/>
                </a:cubicBezTo>
                <a:lnTo>
                  <a:pt x="2777" y="921"/>
                </a:lnTo>
                <a:close/>
                <a:moveTo>
                  <a:pt x="2734" y="969"/>
                </a:moveTo>
                <a:cubicBezTo>
                  <a:pt x="2735" y="968"/>
                  <a:pt x="2735" y="968"/>
                  <a:pt x="2735" y="968"/>
                </a:cubicBezTo>
                <a:cubicBezTo>
                  <a:pt x="2735" y="967"/>
                  <a:pt x="2735" y="967"/>
                  <a:pt x="2735" y="967"/>
                </a:cubicBezTo>
                <a:cubicBezTo>
                  <a:pt x="2733" y="969"/>
                  <a:pt x="2733" y="969"/>
                  <a:pt x="2733" y="969"/>
                </a:cubicBezTo>
                <a:lnTo>
                  <a:pt x="2734" y="969"/>
                </a:lnTo>
                <a:close/>
                <a:moveTo>
                  <a:pt x="2762" y="938"/>
                </a:moveTo>
                <a:cubicBezTo>
                  <a:pt x="2763" y="939"/>
                  <a:pt x="2763" y="939"/>
                  <a:pt x="2763" y="939"/>
                </a:cubicBezTo>
                <a:cubicBezTo>
                  <a:pt x="2765" y="939"/>
                  <a:pt x="2765" y="939"/>
                  <a:pt x="2765" y="939"/>
                </a:cubicBezTo>
                <a:cubicBezTo>
                  <a:pt x="2765" y="937"/>
                  <a:pt x="2765" y="937"/>
                  <a:pt x="2765" y="937"/>
                </a:cubicBezTo>
                <a:cubicBezTo>
                  <a:pt x="2764" y="937"/>
                  <a:pt x="2764" y="937"/>
                  <a:pt x="2764" y="937"/>
                </a:cubicBezTo>
                <a:cubicBezTo>
                  <a:pt x="2763" y="937"/>
                  <a:pt x="2763" y="937"/>
                  <a:pt x="2763" y="937"/>
                </a:cubicBezTo>
                <a:lnTo>
                  <a:pt x="2762" y="938"/>
                </a:lnTo>
                <a:close/>
                <a:moveTo>
                  <a:pt x="3114" y="1128"/>
                </a:moveTo>
                <a:cubicBezTo>
                  <a:pt x="3115" y="1127"/>
                  <a:pt x="3115" y="1127"/>
                  <a:pt x="3115" y="1127"/>
                </a:cubicBezTo>
                <a:cubicBezTo>
                  <a:pt x="3115" y="1126"/>
                  <a:pt x="3115" y="1126"/>
                  <a:pt x="3115" y="1126"/>
                </a:cubicBezTo>
                <a:cubicBezTo>
                  <a:pt x="3113" y="1126"/>
                  <a:pt x="3113" y="1126"/>
                  <a:pt x="3113" y="1126"/>
                </a:cubicBezTo>
                <a:cubicBezTo>
                  <a:pt x="3113" y="1127"/>
                  <a:pt x="3113" y="1127"/>
                  <a:pt x="3113" y="1127"/>
                </a:cubicBezTo>
                <a:lnTo>
                  <a:pt x="3114" y="1128"/>
                </a:lnTo>
                <a:close/>
                <a:moveTo>
                  <a:pt x="3099" y="1642"/>
                </a:moveTo>
                <a:cubicBezTo>
                  <a:pt x="3100" y="1642"/>
                  <a:pt x="3100" y="1642"/>
                  <a:pt x="3100" y="1642"/>
                </a:cubicBezTo>
                <a:cubicBezTo>
                  <a:pt x="3100" y="1641"/>
                  <a:pt x="3100" y="1641"/>
                  <a:pt x="3100" y="1641"/>
                </a:cubicBezTo>
                <a:cubicBezTo>
                  <a:pt x="3099" y="1640"/>
                  <a:pt x="3099" y="1640"/>
                  <a:pt x="3099" y="1640"/>
                </a:cubicBezTo>
                <a:cubicBezTo>
                  <a:pt x="3098" y="1641"/>
                  <a:pt x="3098" y="1641"/>
                  <a:pt x="3098" y="1641"/>
                </a:cubicBezTo>
                <a:cubicBezTo>
                  <a:pt x="3098" y="1641"/>
                  <a:pt x="3098" y="1641"/>
                  <a:pt x="3098" y="1641"/>
                </a:cubicBezTo>
                <a:lnTo>
                  <a:pt x="3099" y="1642"/>
                </a:lnTo>
                <a:close/>
                <a:moveTo>
                  <a:pt x="3131" y="1133"/>
                </a:moveTo>
                <a:cubicBezTo>
                  <a:pt x="3131" y="1136"/>
                  <a:pt x="3131" y="1136"/>
                  <a:pt x="3131" y="1136"/>
                </a:cubicBezTo>
                <a:cubicBezTo>
                  <a:pt x="3133" y="1138"/>
                  <a:pt x="3133" y="1138"/>
                  <a:pt x="3133" y="1138"/>
                </a:cubicBezTo>
                <a:cubicBezTo>
                  <a:pt x="3135" y="1140"/>
                  <a:pt x="3135" y="1140"/>
                  <a:pt x="3135" y="1140"/>
                </a:cubicBezTo>
                <a:cubicBezTo>
                  <a:pt x="3138" y="1139"/>
                  <a:pt x="3138" y="1139"/>
                  <a:pt x="3138" y="1139"/>
                </a:cubicBezTo>
                <a:cubicBezTo>
                  <a:pt x="3139" y="1141"/>
                  <a:pt x="3139" y="1141"/>
                  <a:pt x="3139" y="1141"/>
                </a:cubicBezTo>
                <a:cubicBezTo>
                  <a:pt x="3141" y="1141"/>
                  <a:pt x="3141" y="1141"/>
                  <a:pt x="3141" y="1141"/>
                </a:cubicBezTo>
                <a:cubicBezTo>
                  <a:pt x="3142" y="1139"/>
                  <a:pt x="3142" y="1139"/>
                  <a:pt x="3142" y="1139"/>
                </a:cubicBezTo>
                <a:cubicBezTo>
                  <a:pt x="3142" y="1138"/>
                  <a:pt x="3142" y="1138"/>
                  <a:pt x="3142" y="1138"/>
                </a:cubicBezTo>
                <a:cubicBezTo>
                  <a:pt x="3141" y="1138"/>
                  <a:pt x="3141" y="1138"/>
                  <a:pt x="3141" y="1138"/>
                </a:cubicBezTo>
                <a:cubicBezTo>
                  <a:pt x="3139" y="1136"/>
                  <a:pt x="3139" y="1136"/>
                  <a:pt x="3139" y="1136"/>
                </a:cubicBezTo>
                <a:cubicBezTo>
                  <a:pt x="3136" y="1135"/>
                  <a:pt x="3136" y="1135"/>
                  <a:pt x="3136" y="1135"/>
                </a:cubicBezTo>
                <a:cubicBezTo>
                  <a:pt x="3134" y="1135"/>
                  <a:pt x="3134" y="1135"/>
                  <a:pt x="3134" y="1135"/>
                </a:cubicBezTo>
                <a:cubicBezTo>
                  <a:pt x="3132" y="1133"/>
                  <a:pt x="3132" y="1133"/>
                  <a:pt x="3132" y="1133"/>
                </a:cubicBezTo>
                <a:lnTo>
                  <a:pt x="3131" y="1133"/>
                </a:lnTo>
                <a:close/>
                <a:moveTo>
                  <a:pt x="3139" y="1132"/>
                </a:moveTo>
                <a:cubicBezTo>
                  <a:pt x="3139" y="1131"/>
                  <a:pt x="3139" y="1131"/>
                  <a:pt x="3139" y="1131"/>
                </a:cubicBezTo>
                <a:cubicBezTo>
                  <a:pt x="3137" y="1130"/>
                  <a:pt x="3137" y="1130"/>
                  <a:pt x="3137" y="1130"/>
                </a:cubicBezTo>
                <a:cubicBezTo>
                  <a:pt x="3137" y="1132"/>
                  <a:pt x="3137" y="1132"/>
                  <a:pt x="3137" y="1132"/>
                </a:cubicBezTo>
                <a:lnTo>
                  <a:pt x="3139" y="1132"/>
                </a:lnTo>
                <a:close/>
                <a:moveTo>
                  <a:pt x="3100" y="1105"/>
                </a:moveTo>
                <a:cubicBezTo>
                  <a:pt x="3101" y="1108"/>
                  <a:pt x="3101" y="1108"/>
                  <a:pt x="3101" y="1108"/>
                </a:cubicBezTo>
                <a:cubicBezTo>
                  <a:pt x="3104" y="1110"/>
                  <a:pt x="3104" y="1110"/>
                  <a:pt x="3104" y="1110"/>
                </a:cubicBezTo>
                <a:cubicBezTo>
                  <a:pt x="3107" y="1112"/>
                  <a:pt x="3107" y="1112"/>
                  <a:pt x="3107" y="1112"/>
                </a:cubicBezTo>
                <a:cubicBezTo>
                  <a:pt x="3109" y="1113"/>
                  <a:pt x="3109" y="1113"/>
                  <a:pt x="3109" y="1113"/>
                </a:cubicBezTo>
                <a:cubicBezTo>
                  <a:pt x="3111" y="1113"/>
                  <a:pt x="3111" y="1113"/>
                  <a:pt x="3111" y="1113"/>
                </a:cubicBezTo>
                <a:cubicBezTo>
                  <a:pt x="3110" y="1112"/>
                  <a:pt x="3110" y="1112"/>
                  <a:pt x="3110" y="1112"/>
                </a:cubicBezTo>
                <a:cubicBezTo>
                  <a:pt x="3108" y="1110"/>
                  <a:pt x="3108" y="1110"/>
                  <a:pt x="3108" y="1110"/>
                </a:cubicBezTo>
                <a:cubicBezTo>
                  <a:pt x="3107" y="1109"/>
                  <a:pt x="3107" y="1109"/>
                  <a:pt x="3107" y="1109"/>
                </a:cubicBezTo>
                <a:cubicBezTo>
                  <a:pt x="3107" y="1108"/>
                  <a:pt x="3107" y="1108"/>
                  <a:pt x="3107" y="1108"/>
                </a:cubicBezTo>
                <a:cubicBezTo>
                  <a:pt x="3105" y="1107"/>
                  <a:pt x="3105" y="1107"/>
                  <a:pt x="3105" y="1107"/>
                </a:cubicBezTo>
                <a:cubicBezTo>
                  <a:pt x="3102" y="1106"/>
                  <a:pt x="3102" y="1106"/>
                  <a:pt x="3102" y="1106"/>
                </a:cubicBezTo>
                <a:cubicBezTo>
                  <a:pt x="3102" y="1105"/>
                  <a:pt x="3102" y="1105"/>
                  <a:pt x="3102" y="1105"/>
                </a:cubicBezTo>
                <a:cubicBezTo>
                  <a:pt x="3100" y="1104"/>
                  <a:pt x="3100" y="1104"/>
                  <a:pt x="3100" y="1104"/>
                </a:cubicBezTo>
                <a:lnTo>
                  <a:pt x="3100" y="1105"/>
                </a:lnTo>
                <a:close/>
                <a:moveTo>
                  <a:pt x="3101" y="1101"/>
                </a:moveTo>
                <a:cubicBezTo>
                  <a:pt x="3098" y="1104"/>
                  <a:pt x="3098" y="1104"/>
                  <a:pt x="3098" y="1104"/>
                </a:cubicBezTo>
                <a:cubicBezTo>
                  <a:pt x="3100" y="1103"/>
                  <a:pt x="3100" y="1103"/>
                  <a:pt x="3100" y="1103"/>
                </a:cubicBezTo>
                <a:lnTo>
                  <a:pt x="3101" y="1101"/>
                </a:lnTo>
                <a:close/>
                <a:moveTo>
                  <a:pt x="3103" y="1118"/>
                </a:moveTo>
                <a:cubicBezTo>
                  <a:pt x="3103" y="1117"/>
                  <a:pt x="3103" y="1117"/>
                  <a:pt x="3103" y="1117"/>
                </a:cubicBezTo>
                <a:cubicBezTo>
                  <a:pt x="3101" y="1115"/>
                  <a:pt x="3101" y="1115"/>
                  <a:pt x="3101" y="1115"/>
                </a:cubicBezTo>
                <a:cubicBezTo>
                  <a:pt x="3101" y="1117"/>
                  <a:pt x="3101" y="1117"/>
                  <a:pt x="3101" y="1117"/>
                </a:cubicBezTo>
                <a:cubicBezTo>
                  <a:pt x="3101" y="1118"/>
                  <a:pt x="3101" y="1118"/>
                  <a:pt x="3101" y="1118"/>
                </a:cubicBezTo>
                <a:cubicBezTo>
                  <a:pt x="3101" y="1119"/>
                  <a:pt x="3101" y="1119"/>
                  <a:pt x="3101" y="1119"/>
                </a:cubicBezTo>
                <a:lnTo>
                  <a:pt x="3103" y="1118"/>
                </a:lnTo>
                <a:close/>
                <a:moveTo>
                  <a:pt x="3126" y="1121"/>
                </a:moveTo>
                <a:cubicBezTo>
                  <a:pt x="3128" y="1123"/>
                  <a:pt x="3128" y="1123"/>
                  <a:pt x="3128" y="1123"/>
                </a:cubicBezTo>
                <a:cubicBezTo>
                  <a:pt x="3129" y="1124"/>
                  <a:pt x="3129" y="1124"/>
                  <a:pt x="3129" y="1124"/>
                </a:cubicBezTo>
                <a:cubicBezTo>
                  <a:pt x="3130" y="1125"/>
                  <a:pt x="3130" y="1125"/>
                  <a:pt x="3130" y="1125"/>
                </a:cubicBezTo>
                <a:cubicBezTo>
                  <a:pt x="3131" y="1124"/>
                  <a:pt x="3131" y="1124"/>
                  <a:pt x="3131" y="1124"/>
                </a:cubicBezTo>
                <a:cubicBezTo>
                  <a:pt x="3132" y="1125"/>
                  <a:pt x="3132" y="1125"/>
                  <a:pt x="3132" y="1125"/>
                </a:cubicBezTo>
                <a:cubicBezTo>
                  <a:pt x="3132" y="1124"/>
                  <a:pt x="3132" y="1124"/>
                  <a:pt x="3132" y="1124"/>
                </a:cubicBezTo>
                <a:cubicBezTo>
                  <a:pt x="3132" y="1123"/>
                  <a:pt x="3132" y="1123"/>
                  <a:pt x="3132" y="1123"/>
                </a:cubicBezTo>
                <a:cubicBezTo>
                  <a:pt x="3129" y="1119"/>
                  <a:pt x="3129" y="1119"/>
                  <a:pt x="3129" y="1119"/>
                </a:cubicBezTo>
                <a:cubicBezTo>
                  <a:pt x="3125" y="1117"/>
                  <a:pt x="3125" y="1117"/>
                  <a:pt x="3125" y="1117"/>
                </a:cubicBezTo>
                <a:cubicBezTo>
                  <a:pt x="3123" y="1115"/>
                  <a:pt x="3123" y="1115"/>
                  <a:pt x="3123" y="1115"/>
                </a:cubicBezTo>
                <a:cubicBezTo>
                  <a:pt x="3119" y="1115"/>
                  <a:pt x="3119" y="1115"/>
                  <a:pt x="3119" y="1115"/>
                </a:cubicBezTo>
                <a:cubicBezTo>
                  <a:pt x="3119" y="1115"/>
                  <a:pt x="3122" y="1116"/>
                  <a:pt x="3122" y="1116"/>
                </a:cubicBezTo>
                <a:lnTo>
                  <a:pt x="3126" y="1121"/>
                </a:lnTo>
                <a:close/>
                <a:moveTo>
                  <a:pt x="3200" y="1211"/>
                </a:moveTo>
                <a:cubicBezTo>
                  <a:pt x="3200" y="1212"/>
                  <a:pt x="3200" y="1212"/>
                  <a:pt x="3200" y="1212"/>
                </a:cubicBezTo>
                <a:cubicBezTo>
                  <a:pt x="3201" y="1212"/>
                  <a:pt x="3201" y="1212"/>
                  <a:pt x="3201" y="1212"/>
                </a:cubicBezTo>
                <a:cubicBezTo>
                  <a:pt x="3202" y="1213"/>
                  <a:pt x="3202" y="1213"/>
                  <a:pt x="3202" y="1213"/>
                </a:cubicBezTo>
                <a:cubicBezTo>
                  <a:pt x="3202" y="1214"/>
                  <a:pt x="3202" y="1214"/>
                  <a:pt x="3202" y="1214"/>
                </a:cubicBezTo>
                <a:cubicBezTo>
                  <a:pt x="3201" y="1217"/>
                  <a:pt x="3201" y="1217"/>
                  <a:pt x="3201" y="1217"/>
                </a:cubicBezTo>
                <a:cubicBezTo>
                  <a:pt x="3202" y="1219"/>
                  <a:pt x="3202" y="1219"/>
                  <a:pt x="3202" y="1219"/>
                </a:cubicBezTo>
                <a:cubicBezTo>
                  <a:pt x="3204" y="1217"/>
                  <a:pt x="3204" y="1217"/>
                  <a:pt x="3204" y="1217"/>
                </a:cubicBezTo>
                <a:cubicBezTo>
                  <a:pt x="3206" y="1217"/>
                  <a:pt x="3206" y="1217"/>
                  <a:pt x="3206" y="1217"/>
                </a:cubicBezTo>
                <a:cubicBezTo>
                  <a:pt x="3205" y="1216"/>
                  <a:pt x="3205" y="1216"/>
                  <a:pt x="3205" y="1216"/>
                </a:cubicBezTo>
                <a:cubicBezTo>
                  <a:pt x="3203" y="1213"/>
                  <a:pt x="3203" y="1213"/>
                  <a:pt x="3203" y="1213"/>
                </a:cubicBezTo>
                <a:cubicBezTo>
                  <a:pt x="3203" y="1211"/>
                  <a:pt x="3203" y="1211"/>
                  <a:pt x="3203" y="1211"/>
                </a:cubicBezTo>
                <a:cubicBezTo>
                  <a:pt x="3202" y="1210"/>
                  <a:pt x="3202" y="1210"/>
                  <a:pt x="3202" y="1210"/>
                </a:cubicBezTo>
                <a:cubicBezTo>
                  <a:pt x="3200" y="1210"/>
                  <a:pt x="3200" y="1210"/>
                  <a:pt x="3200" y="1210"/>
                </a:cubicBezTo>
                <a:lnTo>
                  <a:pt x="3200" y="1211"/>
                </a:lnTo>
                <a:close/>
                <a:moveTo>
                  <a:pt x="3197" y="1569"/>
                </a:moveTo>
                <a:cubicBezTo>
                  <a:pt x="3196" y="1570"/>
                  <a:pt x="3196" y="1570"/>
                  <a:pt x="3196" y="1570"/>
                </a:cubicBezTo>
                <a:cubicBezTo>
                  <a:pt x="3195" y="1571"/>
                  <a:pt x="3195" y="1571"/>
                  <a:pt x="3195" y="1571"/>
                </a:cubicBezTo>
                <a:cubicBezTo>
                  <a:pt x="3196" y="1571"/>
                  <a:pt x="3196" y="1571"/>
                  <a:pt x="3196" y="1571"/>
                </a:cubicBezTo>
                <a:lnTo>
                  <a:pt x="3197" y="1569"/>
                </a:lnTo>
                <a:close/>
                <a:moveTo>
                  <a:pt x="3195" y="1204"/>
                </a:moveTo>
                <a:cubicBezTo>
                  <a:pt x="3196" y="1207"/>
                  <a:pt x="3196" y="1207"/>
                  <a:pt x="3196" y="1207"/>
                </a:cubicBezTo>
                <a:cubicBezTo>
                  <a:pt x="3198" y="1207"/>
                  <a:pt x="3198" y="1207"/>
                  <a:pt x="3198" y="1207"/>
                </a:cubicBezTo>
                <a:cubicBezTo>
                  <a:pt x="3199" y="1205"/>
                  <a:pt x="3199" y="1205"/>
                  <a:pt x="3199" y="1205"/>
                </a:cubicBezTo>
                <a:cubicBezTo>
                  <a:pt x="3200" y="1206"/>
                  <a:pt x="3200" y="1206"/>
                  <a:pt x="3200" y="1206"/>
                </a:cubicBezTo>
                <a:cubicBezTo>
                  <a:pt x="3201" y="1205"/>
                  <a:pt x="3201" y="1205"/>
                  <a:pt x="3201" y="1205"/>
                </a:cubicBezTo>
                <a:cubicBezTo>
                  <a:pt x="3201" y="1202"/>
                  <a:pt x="3201" y="1202"/>
                  <a:pt x="3201" y="1202"/>
                </a:cubicBezTo>
                <a:cubicBezTo>
                  <a:pt x="3200" y="1201"/>
                  <a:pt x="3200" y="1201"/>
                  <a:pt x="3200" y="1201"/>
                </a:cubicBezTo>
                <a:cubicBezTo>
                  <a:pt x="3201" y="1199"/>
                  <a:pt x="3201" y="1199"/>
                  <a:pt x="3201" y="1199"/>
                </a:cubicBezTo>
                <a:cubicBezTo>
                  <a:pt x="3200" y="1198"/>
                  <a:pt x="3200" y="1198"/>
                  <a:pt x="3200" y="1198"/>
                </a:cubicBezTo>
                <a:cubicBezTo>
                  <a:pt x="3199" y="1199"/>
                  <a:pt x="3199" y="1199"/>
                  <a:pt x="3199" y="1199"/>
                </a:cubicBezTo>
                <a:cubicBezTo>
                  <a:pt x="3199" y="1200"/>
                  <a:pt x="3199" y="1200"/>
                  <a:pt x="3199" y="1200"/>
                </a:cubicBezTo>
                <a:cubicBezTo>
                  <a:pt x="3198" y="1201"/>
                  <a:pt x="3198" y="1201"/>
                  <a:pt x="3198" y="1201"/>
                </a:cubicBezTo>
                <a:cubicBezTo>
                  <a:pt x="3197" y="1200"/>
                  <a:pt x="3197" y="1200"/>
                  <a:pt x="3197" y="1200"/>
                </a:cubicBezTo>
                <a:cubicBezTo>
                  <a:pt x="3197" y="1196"/>
                  <a:pt x="3197" y="1196"/>
                  <a:pt x="3197" y="1196"/>
                </a:cubicBezTo>
                <a:cubicBezTo>
                  <a:pt x="3197" y="1196"/>
                  <a:pt x="3195" y="1195"/>
                  <a:pt x="3195" y="1195"/>
                </a:cubicBezTo>
                <a:cubicBezTo>
                  <a:pt x="3194" y="1199"/>
                  <a:pt x="3194" y="1199"/>
                  <a:pt x="3194" y="1199"/>
                </a:cubicBezTo>
                <a:cubicBezTo>
                  <a:pt x="3195" y="1201"/>
                  <a:pt x="3195" y="1201"/>
                  <a:pt x="3195" y="1201"/>
                </a:cubicBezTo>
                <a:lnTo>
                  <a:pt x="3195" y="1204"/>
                </a:lnTo>
                <a:close/>
                <a:moveTo>
                  <a:pt x="3141" y="1125"/>
                </a:moveTo>
                <a:cubicBezTo>
                  <a:pt x="3141" y="1127"/>
                  <a:pt x="3141" y="1127"/>
                  <a:pt x="3141" y="1127"/>
                </a:cubicBezTo>
                <a:cubicBezTo>
                  <a:pt x="3142" y="1128"/>
                  <a:pt x="3142" y="1128"/>
                  <a:pt x="3142" y="1128"/>
                </a:cubicBezTo>
                <a:cubicBezTo>
                  <a:pt x="3143" y="1131"/>
                  <a:pt x="3143" y="1131"/>
                  <a:pt x="3143" y="1131"/>
                </a:cubicBezTo>
                <a:cubicBezTo>
                  <a:pt x="3147" y="1135"/>
                  <a:pt x="3147" y="1135"/>
                  <a:pt x="3147" y="1135"/>
                </a:cubicBezTo>
                <a:cubicBezTo>
                  <a:pt x="3148" y="1135"/>
                  <a:pt x="3148" y="1135"/>
                  <a:pt x="3148" y="1135"/>
                </a:cubicBezTo>
                <a:cubicBezTo>
                  <a:pt x="3149" y="1137"/>
                  <a:pt x="3149" y="1137"/>
                  <a:pt x="3149" y="1137"/>
                </a:cubicBezTo>
                <a:cubicBezTo>
                  <a:pt x="3150" y="1138"/>
                  <a:pt x="3150" y="1138"/>
                  <a:pt x="3150" y="1138"/>
                </a:cubicBezTo>
                <a:cubicBezTo>
                  <a:pt x="3151" y="1136"/>
                  <a:pt x="3151" y="1136"/>
                  <a:pt x="3151" y="1136"/>
                </a:cubicBezTo>
                <a:cubicBezTo>
                  <a:pt x="3149" y="1134"/>
                  <a:pt x="3149" y="1134"/>
                  <a:pt x="3149" y="1134"/>
                </a:cubicBezTo>
                <a:cubicBezTo>
                  <a:pt x="3147" y="1133"/>
                  <a:pt x="3147" y="1133"/>
                  <a:pt x="3147" y="1133"/>
                </a:cubicBezTo>
                <a:cubicBezTo>
                  <a:pt x="3146" y="1131"/>
                  <a:pt x="3146" y="1131"/>
                  <a:pt x="3146" y="1131"/>
                </a:cubicBezTo>
                <a:cubicBezTo>
                  <a:pt x="3144" y="1128"/>
                  <a:pt x="3144" y="1128"/>
                  <a:pt x="3144" y="1128"/>
                </a:cubicBezTo>
                <a:cubicBezTo>
                  <a:pt x="3144" y="1126"/>
                  <a:pt x="3144" y="1126"/>
                  <a:pt x="3144" y="1126"/>
                </a:cubicBezTo>
                <a:cubicBezTo>
                  <a:pt x="3142" y="1124"/>
                  <a:pt x="3142" y="1124"/>
                  <a:pt x="3142" y="1124"/>
                </a:cubicBezTo>
                <a:cubicBezTo>
                  <a:pt x="3140" y="1124"/>
                  <a:pt x="3140" y="1124"/>
                  <a:pt x="3140" y="1124"/>
                </a:cubicBezTo>
                <a:cubicBezTo>
                  <a:pt x="3140" y="1124"/>
                  <a:pt x="3140" y="1124"/>
                  <a:pt x="3140" y="1124"/>
                </a:cubicBezTo>
                <a:lnTo>
                  <a:pt x="3141" y="1125"/>
                </a:lnTo>
                <a:close/>
                <a:moveTo>
                  <a:pt x="3110" y="1119"/>
                </a:moveTo>
                <a:cubicBezTo>
                  <a:pt x="3109" y="1119"/>
                  <a:pt x="3109" y="1119"/>
                  <a:pt x="3109" y="1119"/>
                </a:cubicBezTo>
                <a:cubicBezTo>
                  <a:pt x="3108" y="1120"/>
                  <a:pt x="3108" y="1120"/>
                  <a:pt x="3108" y="1120"/>
                </a:cubicBezTo>
                <a:cubicBezTo>
                  <a:pt x="3107" y="1122"/>
                  <a:pt x="3107" y="1122"/>
                  <a:pt x="3107" y="1122"/>
                </a:cubicBezTo>
                <a:cubicBezTo>
                  <a:pt x="3109" y="1123"/>
                  <a:pt x="3109" y="1123"/>
                  <a:pt x="3109" y="1123"/>
                </a:cubicBezTo>
                <a:cubicBezTo>
                  <a:pt x="3110" y="1123"/>
                  <a:pt x="3110" y="1123"/>
                  <a:pt x="3110" y="1123"/>
                </a:cubicBezTo>
                <a:cubicBezTo>
                  <a:pt x="3110" y="1124"/>
                  <a:pt x="3110" y="1124"/>
                  <a:pt x="3110" y="1124"/>
                </a:cubicBezTo>
                <a:cubicBezTo>
                  <a:pt x="3112" y="1125"/>
                  <a:pt x="3112" y="1125"/>
                  <a:pt x="3112" y="1125"/>
                </a:cubicBezTo>
                <a:cubicBezTo>
                  <a:pt x="3113" y="1125"/>
                  <a:pt x="3113" y="1125"/>
                  <a:pt x="3113" y="1125"/>
                </a:cubicBezTo>
                <a:cubicBezTo>
                  <a:pt x="3113" y="1123"/>
                  <a:pt x="3113" y="1123"/>
                  <a:pt x="3113" y="1123"/>
                </a:cubicBezTo>
                <a:cubicBezTo>
                  <a:pt x="3112" y="1122"/>
                  <a:pt x="3112" y="1122"/>
                  <a:pt x="3112" y="1122"/>
                </a:cubicBezTo>
                <a:cubicBezTo>
                  <a:pt x="3111" y="1121"/>
                  <a:pt x="3111" y="1121"/>
                  <a:pt x="3111" y="1121"/>
                </a:cubicBezTo>
                <a:lnTo>
                  <a:pt x="3110" y="1119"/>
                </a:lnTo>
                <a:close/>
                <a:moveTo>
                  <a:pt x="3149" y="1145"/>
                </a:moveTo>
                <a:cubicBezTo>
                  <a:pt x="3146" y="1144"/>
                  <a:pt x="3146" y="1144"/>
                  <a:pt x="3146" y="1144"/>
                </a:cubicBezTo>
                <a:cubicBezTo>
                  <a:pt x="3147" y="1146"/>
                  <a:pt x="3147" y="1146"/>
                  <a:pt x="3147" y="1146"/>
                </a:cubicBezTo>
                <a:cubicBezTo>
                  <a:pt x="3148" y="1148"/>
                  <a:pt x="3148" y="1148"/>
                  <a:pt x="3148" y="1148"/>
                </a:cubicBezTo>
                <a:cubicBezTo>
                  <a:pt x="3150" y="1150"/>
                  <a:pt x="3150" y="1150"/>
                  <a:pt x="3150" y="1150"/>
                </a:cubicBezTo>
                <a:cubicBezTo>
                  <a:pt x="3154" y="1151"/>
                  <a:pt x="3154" y="1151"/>
                  <a:pt x="3154" y="1151"/>
                </a:cubicBezTo>
                <a:cubicBezTo>
                  <a:pt x="3156" y="1151"/>
                  <a:pt x="3156" y="1151"/>
                  <a:pt x="3156" y="1151"/>
                </a:cubicBezTo>
                <a:cubicBezTo>
                  <a:pt x="3155" y="1151"/>
                  <a:pt x="3155" y="1151"/>
                  <a:pt x="3155" y="1151"/>
                </a:cubicBezTo>
                <a:cubicBezTo>
                  <a:pt x="3156" y="1149"/>
                  <a:pt x="3156" y="1149"/>
                  <a:pt x="3156" y="1149"/>
                </a:cubicBezTo>
                <a:cubicBezTo>
                  <a:pt x="3154" y="1148"/>
                  <a:pt x="3154" y="1148"/>
                  <a:pt x="3154" y="1148"/>
                </a:cubicBezTo>
                <a:cubicBezTo>
                  <a:pt x="3151" y="1147"/>
                  <a:pt x="3151" y="1147"/>
                  <a:pt x="3151" y="1147"/>
                </a:cubicBezTo>
                <a:lnTo>
                  <a:pt x="3149" y="1145"/>
                </a:lnTo>
                <a:close/>
                <a:moveTo>
                  <a:pt x="3195" y="1570"/>
                </a:moveTo>
                <a:cubicBezTo>
                  <a:pt x="3195" y="1569"/>
                  <a:pt x="3195" y="1569"/>
                  <a:pt x="3195" y="1569"/>
                </a:cubicBezTo>
                <a:cubicBezTo>
                  <a:pt x="3193" y="1570"/>
                  <a:pt x="3193" y="1570"/>
                  <a:pt x="3193" y="1570"/>
                </a:cubicBezTo>
                <a:cubicBezTo>
                  <a:pt x="3194" y="1570"/>
                  <a:pt x="3194" y="1570"/>
                  <a:pt x="3194" y="1570"/>
                </a:cubicBezTo>
                <a:lnTo>
                  <a:pt x="3195" y="1570"/>
                </a:lnTo>
                <a:close/>
                <a:moveTo>
                  <a:pt x="3135" y="1158"/>
                </a:moveTo>
                <a:cubicBezTo>
                  <a:pt x="3133" y="1158"/>
                  <a:pt x="3133" y="1158"/>
                  <a:pt x="3133" y="1158"/>
                </a:cubicBezTo>
                <a:cubicBezTo>
                  <a:pt x="3133" y="1159"/>
                  <a:pt x="3133" y="1159"/>
                  <a:pt x="3133" y="1159"/>
                </a:cubicBezTo>
                <a:cubicBezTo>
                  <a:pt x="3134" y="1160"/>
                  <a:pt x="3134" y="1160"/>
                  <a:pt x="3134" y="1160"/>
                </a:cubicBezTo>
                <a:cubicBezTo>
                  <a:pt x="3135" y="1160"/>
                  <a:pt x="3135" y="1160"/>
                  <a:pt x="3135" y="1160"/>
                </a:cubicBezTo>
                <a:cubicBezTo>
                  <a:pt x="3137" y="1161"/>
                  <a:pt x="3137" y="1161"/>
                  <a:pt x="3137" y="1161"/>
                </a:cubicBezTo>
                <a:cubicBezTo>
                  <a:pt x="3138" y="1160"/>
                  <a:pt x="3138" y="1160"/>
                  <a:pt x="3138" y="1160"/>
                </a:cubicBezTo>
                <a:cubicBezTo>
                  <a:pt x="3136" y="1159"/>
                  <a:pt x="3136" y="1159"/>
                  <a:pt x="3136" y="1159"/>
                </a:cubicBezTo>
                <a:lnTo>
                  <a:pt x="3135" y="1158"/>
                </a:lnTo>
                <a:close/>
                <a:moveTo>
                  <a:pt x="3065" y="1084"/>
                </a:moveTo>
                <a:cubicBezTo>
                  <a:pt x="3066" y="1082"/>
                  <a:pt x="3066" y="1082"/>
                  <a:pt x="3066" y="1082"/>
                </a:cubicBezTo>
                <a:cubicBezTo>
                  <a:pt x="3066" y="1080"/>
                  <a:pt x="3066" y="1080"/>
                  <a:pt x="3066" y="1080"/>
                </a:cubicBezTo>
                <a:cubicBezTo>
                  <a:pt x="3065" y="1080"/>
                  <a:pt x="3065" y="1080"/>
                  <a:pt x="3065" y="1080"/>
                </a:cubicBezTo>
                <a:cubicBezTo>
                  <a:pt x="3064" y="1076"/>
                  <a:pt x="3064" y="1076"/>
                  <a:pt x="3064" y="1076"/>
                </a:cubicBezTo>
                <a:cubicBezTo>
                  <a:pt x="3063" y="1076"/>
                  <a:pt x="3063" y="1076"/>
                  <a:pt x="3063" y="1076"/>
                </a:cubicBezTo>
                <a:cubicBezTo>
                  <a:pt x="3061" y="1073"/>
                  <a:pt x="3061" y="1073"/>
                  <a:pt x="3061" y="1073"/>
                </a:cubicBezTo>
                <a:cubicBezTo>
                  <a:pt x="3059" y="1072"/>
                  <a:pt x="3059" y="1072"/>
                  <a:pt x="3059" y="1072"/>
                </a:cubicBezTo>
                <a:cubicBezTo>
                  <a:pt x="3057" y="1070"/>
                  <a:pt x="3057" y="1070"/>
                  <a:pt x="3057" y="1070"/>
                </a:cubicBezTo>
                <a:cubicBezTo>
                  <a:pt x="3055" y="1069"/>
                  <a:pt x="3055" y="1069"/>
                  <a:pt x="3055" y="1069"/>
                </a:cubicBezTo>
                <a:cubicBezTo>
                  <a:pt x="3051" y="1066"/>
                  <a:pt x="3051" y="1066"/>
                  <a:pt x="3051" y="1066"/>
                </a:cubicBezTo>
                <a:cubicBezTo>
                  <a:pt x="3048" y="1065"/>
                  <a:pt x="3048" y="1065"/>
                  <a:pt x="3048" y="1065"/>
                </a:cubicBezTo>
                <a:cubicBezTo>
                  <a:pt x="3043" y="1063"/>
                  <a:pt x="3043" y="1063"/>
                  <a:pt x="3043" y="1063"/>
                </a:cubicBezTo>
                <a:cubicBezTo>
                  <a:pt x="3043" y="1064"/>
                  <a:pt x="3043" y="1064"/>
                  <a:pt x="3043" y="1064"/>
                </a:cubicBezTo>
                <a:cubicBezTo>
                  <a:pt x="3045" y="1065"/>
                  <a:pt x="3045" y="1065"/>
                  <a:pt x="3045" y="1065"/>
                </a:cubicBezTo>
                <a:cubicBezTo>
                  <a:pt x="3052" y="1069"/>
                  <a:pt x="3052" y="1069"/>
                  <a:pt x="3052" y="1069"/>
                </a:cubicBezTo>
                <a:cubicBezTo>
                  <a:pt x="3055" y="1071"/>
                  <a:pt x="3055" y="1071"/>
                  <a:pt x="3055" y="1071"/>
                </a:cubicBezTo>
                <a:cubicBezTo>
                  <a:pt x="3058" y="1072"/>
                  <a:pt x="3058" y="1072"/>
                  <a:pt x="3058" y="1072"/>
                </a:cubicBezTo>
                <a:cubicBezTo>
                  <a:pt x="3061" y="1075"/>
                  <a:pt x="3061" y="1075"/>
                  <a:pt x="3061" y="1075"/>
                </a:cubicBezTo>
                <a:cubicBezTo>
                  <a:pt x="3063" y="1081"/>
                  <a:pt x="3063" y="1081"/>
                  <a:pt x="3063" y="1081"/>
                </a:cubicBezTo>
                <a:cubicBezTo>
                  <a:pt x="3062" y="1082"/>
                  <a:pt x="3062" y="1082"/>
                  <a:pt x="3062" y="1082"/>
                </a:cubicBezTo>
                <a:cubicBezTo>
                  <a:pt x="3063" y="1084"/>
                  <a:pt x="3063" y="1084"/>
                  <a:pt x="3063" y="1084"/>
                </a:cubicBezTo>
                <a:cubicBezTo>
                  <a:pt x="3065" y="1087"/>
                  <a:pt x="3065" y="1087"/>
                  <a:pt x="3065" y="1087"/>
                </a:cubicBezTo>
                <a:lnTo>
                  <a:pt x="3065" y="1084"/>
                </a:lnTo>
                <a:close/>
                <a:moveTo>
                  <a:pt x="3067" y="1158"/>
                </a:moveTo>
                <a:cubicBezTo>
                  <a:pt x="3065" y="1156"/>
                  <a:pt x="3065" y="1156"/>
                  <a:pt x="3065" y="1156"/>
                </a:cubicBezTo>
                <a:cubicBezTo>
                  <a:pt x="3064" y="1156"/>
                  <a:pt x="3064" y="1156"/>
                  <a:pt x="3064" y="1156"/>
                </a:cubicBezTo>
                <a:cubicBezTo>
                  <a:pt x="3066" y="1159"/>
                  <a:pt x="3066" y="1159"/>
                  <a:pt x="3066" y="1159"/>
                </a:cubicBezTo>
                <a:cubicBezTo>
                  <a:pt x="3068" y="1159"/>
                  <a:pt x="3068" y="1159"/>
                  <a:pt x="3068" y="1159"/>
                </a:cubicBezTo>
                <a:cubicBezTo>
                  <a:pt x="3069" y="1160"/>
                  <a:pt x="3069" y="1160"/>
                  <a:pt x="3069" y="1160"/>
                </a:cubicBezTo>
                <a:cubicBezTo>
                  <a:pt x="3070" y="1159"/>
                  <a:pt x="3070" y="1159"/>
                  <a:pt x="3070" y="1159"/>
                </a:cubicBezTo>
                <a:cubicBezTo>
                  <a:pt x="3069" y="1158"/>
                  <a:pt x="3069" y="1158"/>
                  <a:pt x="3069" y="1158"/>
                </a:cubicBezTo>
                <a:lnTo>
                  <a:pt x="3067" y="1158"/>
                </a:lnTo>
                <a:close/>
                <a:moveTo>
                  <a:pt x="3072" y="1156"/>
                </a:moveTo>
                <a:cubicBezTo>
                  <a:pt x="3073" y="1157"/>
                  <a:pt x="3073" y="1157"/>
                  <a:pt x="3073" y="1157"/>
                </a:cubicBezTo>
                <a:cubicBezTo>
                  <a:pt x="3073" y="1157"/>
                  <a:pt x="3073" y="1157"/>
                  <a:pt x="3073" y="1157"/>
                </a:cubicBezTo>
                <a:cubicBezTo>
                  <a:pt x="3075" y="1157"/>
                  <a:pt x="3075" y="1157"/>
                  <a:pt x="3075" y="1157"/>
                </a:cubicBezTo>
                <a:cubicBezTo>
                  <a:pt x="3075" y="1156"/>
                  <a:pt x="3075" y="1156"/>
                  <a:pt x="3075" y="1156"/>
                </a:cubicBezTo>
                <a:cubicBezTo>
                  <a:pt x="3074" y="1155"/>
                  <a:pt x="3074" y="1155"/>
                  <a:pt x="3074" y="1155"/>
                </a:cubicBezTo>
                <a:lnTo>
                  <a:pt x="3072" y="1156"/>
                </a:lnTo>
                <a:close/>
                <a:moveTo>
                  <a:pt x="3059" y="1130"/>
                </a:moveTo>
                <a:cubicBezTo>
                  <a:pt x="3059" y="1131"/>
                  <a:pt x="3059" y="1131"/>
                  <a:pt x="3059" y="1131"/>
                </a:cubicBezTo>
                <a:cubicBezTo>
                  <a:pt x="3059" y="1133"/>
                  <a:pt x="3059" y="1133"/>
                  <a:pt x="3059" y="1133"/>
                </a:cubicBezTo>
                <a:cubicBezTo>
                  <a:pt x="3060" y="1132"/>
                  <a:pt x="3060" y="1132"/>
                  <a:pt x="3060" y="1132"/>
                </a:cubicBezTo>
                <a:cubicBezTo>
                  <a:pt x="3062" y="1134"/>
                  <a:pt x="3062" y="1134"/>
                  <a:pt x="3062" y="1134"/>
                </a:cubicBezTo>
                <a:cubicBezTo>
                  <a:pt x="3062" y="1133"/>
                  <a:pt x="3062" y="1133"/>
                  <a:pt x="3062" y="1133"/>
                </a:cubicBezTo>
                <a:lnTo>
                  <a:pt x="3059" y="1130"/>
                </a:lnTo>
                <a:close/>
                <a:moveTo>
                  <a:pt x="3035" y="1086"/>
                </a:moveTo>
                <a:cubicBezTo>
                  <a:pt x="3034" y="1087"/>
                  <a:pt x="3034" y="1087"/>
                  <a:pt x="3034" y="1087"/>
                </a:cubicBezTo>
                <a:cubicBezTo>
                  <a:pt x="3036" y="1089"/>
                  <a:pt x="3036" y="1089"/>
                  <a:pt x="3036" y="1089"/>
                </a:cubicBezTo>
                <a:cubicBezTo>
                  <a:pt x="3037" y="1088"/>
                  <a:pt x="3037" y="1088"/>
                  <a:pt x="3037" y="1088"/>
                </a:cubicBezTo>
                <a:cubicBezTo>
                  <a:pt x="3036" y="1086"/>
                  <a:pt x="3036" y="1086"/>
                  <a:pt x="3036" y="1086"/>
                </a:cubicBezTo>
                <a:lnTo>
                  <a:pt x="3035" y="1086"/>
                </a:lnTo>
                <a:close/>
                <a:moveTo>
                  <a:pt x="3039" y="1062"/>
                </a:moveTo>
                <a:cubicBezTo>
                  <a:pt x="3038" y="1062"/>
                  <a:pt x="3038" y="1062"/>
                  <a:pt x="3038" y="1062"/>
                </a:cubicBezTo>
                <a:cubicBezTo>
                  <a:pt x="3035" y="1062"/>
                  <a:pt x="3035" y="1062"/>
                  <a:pt x="3035" y="1062"/>
                </a:cubicBezTo>
                <a:cubicBezTo>
                  <a:pt x="3035" y="1064"/>
                  <a:pt x="3035" y="1064"/>
                  <a:pt x="3035" y="1064"/>
                </a:cubicBezTo>
                <a:cubicBezTo>
                  <a:pt x="3037" y="1065"/>
                  <a:pt x="3037" y="1065"/>
                  <a:pt x="3037" y="1065"/>
                </a:cubicBezTo>
                <a:cubicBezTo>
                  <a:pt x="3039" y="1064"/>
                  <a:pt x="3039" y="1064"/>
                  <a:pt x="3039" y="1064"/>
                </a:cubicBezTo>
                <a:lnTo>
                  <a:pt x="3039" y="1062"/>
                </a:lnTo>
                <a:close/>
                <a:moveTo>
                  <a:pt x="3079" y="1082"/>
                </a:moveTo>
                <a:cubicBezTo>
                  <a:pt x="3078" y="1083"/>
                  <a:pt x="3078" y="1083"/>
                  <a:pt x="3078" y="1083"/>
                </a:cubicBezTo>
                <a:cubicBezTo>
                  <a:pt x="3077" y="1083"/>
                  <a:pt x="3077" y="1083"/>
                  <a:pt x="3077" y="1083"/>
                </a:cubicBezTo>
                <a:cubicBezTo>
                  <a:pt x="3077" y="1084"/>
                  <a:pt x="3077" y="1084"/>
                  <a:pt x="3077" y="1084"/>
                </a:cubicBezTo>
                <a:cubicBezTo>
                  <a:pt x="3079" y="1085"/>
                  <a:pt x="3079" y="1085"/>
                  <a:pt x="3079" y="1085"/>
                </a:cubicBezTo>
                <a:cubicBezTo>
                  <a:pt x="3080" y="1083"/>
                  <a:pt x="3080" y="1083"/>
                  <a:pt x="3080" y="1083"/>
                </a:cubicBezTo>
                <a:lnTo>
                  <a:pt x="3079" y="1082"/>
                </a:lnTo>
                <a:close/>
                <a:moveTo>
                  <a:pt x="3111" y="1664"/>
                </a:moveTo>
                <a:cubicBezTo>
                  <a:pt x="3111" y="1663"/>
                  <a:pt x="3111" y="1663"/>
                  <a:pt x="3111" y="1663"/>
                </a:cubicBezTo>
                <a:cubicBezTo>
                  <a:pt x="3110" y="1664"/>
                  <a:pt x="3110" y="1664"/>
                  <a:pt x="3110" y="1664"/>
                </a:cubicBezTo>
                <a:lnTo>
                  <a:pt x="3111" y="1664"/>
                </a:lnTo>
                <a:close/>
                <a:moveTo>
                  <a:pt x="3200" y="1571"/>
                </a:moveTo>
                <a:cubicBezTo>
                  <a:pt x="3199" y="1571"/>
                  <a:pt x="3199" y="1571"/>
                  <a:pt x="3199" y="1571"/>
                </a:cubicBezTo>
                <a:cubicBezTo>
                  <a:pt x="3199" y="1569"/>
                  <a:pt x="3199" y="1569"/>
                  <a:pt x="3199" y="1569"/>
                </a:cubicBezTo>
                <a:cubicBezTo>
                  <a:pt x="3197" y="1569"/>
                  <a:pt x="3197" y="1569"/>
                  <a:pt x="3197" y="1569"/>
                </a:cubicBezTo>
                <a:cubicBezTo>
                  <a:pt x="3196" y="1571"/>
                  <a:pt x="3196" y="1571"/>
                  <a:pt x="3196" y="1571"/>
                </a:cubicBezTo>
                <a:cubicBezTo>
                  <a:pt x="3197" y="1572"/>
                  <a:pt x="3197" y="1572"/>
                  <a:pt x="3197" y="1572"/>
                </a:cubicBezTo>
                <a:cubicBezTo>
                  <a:pt x="3198" y="1572"/>
                  <a:pt x="3198" y="1572"/>
                  <a:pt x="3198" y="1572"/>
                </a:cubicBezTo>
                <a:cubicBezTo>
                  <a:pt x="3196" y="1573"/>
                  <a:pt x="3196" y="1573"/>
                  <a:pt x="3196" y="1573"/>
                </a:cubicBezTo>
                <a:cubicBezTo>
                  <a:pt x="3195" y="1572"/>
                  <a:pt x="3195" y="1572"/>
                  <a:pt x="3195" y="1572"/>
                </a:cubicBezTo>
                <a:cubicBezTo>
                  <a:pt x="3195" y="1571"/>
                  <a:pt x="3195" y="1571"/>
                  <a:pt x="3195" y="1571"/>
                </a:cubicBezTo>
                <a:cubicBezTo>
                  <a:pt x="3194" y="1571"/>
                  <a:pt x="3194" y="1571"/>
                  <a:pt x="3194" y="1571"/>
                </a:cubicBezTo>
                <a:cubicBezTo>
                  <a:pt x="3193" y="1571"/>
                  <a:pt x="3193" y="1571"/>
                  <a:pt x="3193" y="1571"/>
                </a:cubicBezTo>
                <a:cubicBezTo>
                  <a:pt x="3192" y="1572"/>
                  <a:pt x="3192" y="1572"/>
                  <a:pt x="3192" y="1572"/>
                </a:cubicBezTo>
                <a:cubicBezTo>
                  <a:pt x="3190" y="1574"/>
                  <a:pt x="3190" y="1574"/>
                  <a:pt x="3190" y="1574"/>
                </a:cubicBezTo>
                <a:cubicBezTo>
                  <a:pt x="3189" y="1573"/>
                  <a:pt x="3189" y="1573"/>
                  <a:pt x="3189" y="1573"/>
                </a:cubicBezTo>
                <a:cubicBezTo>
                  <a:pt x="3188" y="1570"/>
                  <a:pt x="3188" y="1570"/>
                  <a:pt x="3188" y="1570"/>
                </a:cubicBezTo>
                <a:cubicBezTo>
                  <a:pt x="3189" y="1569"/>
                  <a:pt x="3189" y="1569"/>
                  <a:pt x="3189" y="1569"/>
                </a:cubicBezTo>
                <a:cubicBezTo>
                  <a:pt x="3190" y="1568"/>
                  <a:pt x="3190" y="1568"/>
                  <a:pt x="3190" y="1568"/>
                </a:cubicBezTo>
                <a:cubicBezTo>
                  <a:pt x="3190" y="1567"/>
                  <a:pt x="3190" y="1567"/>
                  <a:pt x="3190" y="1567"/>
                </a:cubicBezTo>
                <a:cubicBezTo>
                  <a:pt x="3190" y="1567"/>
                  <a:pt x="3190" y="1567"/>
                  <a:pt x="3190" y="1567"/>
                </a:cubicBezTo>
                <a:cubicBezTo>
                  <a:pt x="3190" y="1566"/>
                  <a:pt x="3190" y="1566"/>
                  <a:pt x="3190" y="1566"/>
                </a:cubicBezTo>
                <a:cubicBezTo>
                  <a:pt x="3189" y="1566"/>
                  <a:pt x="3189" y="1566"/>
                  <a:pt x="3189" y="1566"/>
                </a:cubicBezTo>
                <a:cubicBezTo>
                  <a:pt x="3188" y="1566"/>
                  <a:pt x="3188" y="1566"/>
                  <a:pt x="3188" y="1566"/>
                </a:cubicBezTo>
                <a:cubicBezTo>
                  <a:pt x="3187" y="1566"/>
                  <a:pt x="3187" y="1566"/>
                  <a:pt x="3187" y="1566"/>
                </a:cubicBezTo>
                <a:cubicBezTo>
                  <a:pt x="3186" y="1565"/>
                  <a:pt x="3186" y="1565"/>
                  <a:pt x="3186" y="1565"/>
                </a:cubicBezTo>
                <a:cubicBezTo>
                  <a:pt x="3187" y="1564"/>
                  <a:pt x="3187" y="1564"/>
                  <a:pt x="3187" y="1564"/>
                </a:cubicBezTo>
                <a:cubicBezTo>
                  <a:pt x="3188" y="1562"/>
                  <a:pt x="3188" y="1562"/>
                  <a:pt x="3188" y="1562"/>
                </a:cubicBezTo>
                <a:cubicBezTo>
                  <a:pt x="3186" y="1562"/>
                  <a:pt x="3186" y="1562"/>
                  <a:pt x="3186" y="1562"/>
                </a:cubicBezTo>
                <a:cubicBezTo>
                  <a:pt x="3183" y="1564"/>
                  <a:pt x="3183" y="1564"/>
                  <a:pt x="3183" y="1564"/>
                </a:cubicBezTo>
                <a:cubicBezTo>
                  <a:pt x="3182" y="1564"/>
                  <a:pt x="3182" y="1564"/>
                  <a:pt x="3182" y="1564"/>
                </a:cubicBezTo>
                <a:cubicBezTo>
                  <a:pt x="3180" y="1566"/>
                  <a:pt x="3180" y="1566"/>
                  <a:pt x="3180" y="1566"/>
                </a:cubicBezTo>
                <a:cubicBezTo>
                  <a:pt x="3180" y="1568"/>
                  <a:pt x="3180" y="1568"/>
                  <a:pt x="3180" y="1568"/>
                </a:cubicBezTo>
                <a:cubicBezTo>
                  <a:pt x="3178" y="1573"/>
                  <a:pt x="3178" y="1573"/>
                  <a:pt x="3178" y="1573"/>
                </a:cubicBezTo>
                <a:cubicBezTo>
                  <a:pt x="3176" y="1575"/>
                  <a:pt x="3176" y="1575"/>
                  <a:pt x="3176" y="1575"/>
                </a:cubicBezTo>
                <a:cubicBezTo>
                  <a:pt x="3175" y="1575"/>
                  <a:pt x="3175" y="1575"/>
                  <a:pt x="3175" y="1575"/>
                </a:cubicBezTo>
                <a:cubicBezTo>
                  <a:pt x="3173" y="1578"/>
                  <a:pt x="3173" y="1578"/>
                  <a:pt x="3173" y="1578"/>
                </a:cubicBezTo>
                <a:cubicBezTo>
                  <a:pt x="3172" y="1580"/>
                  <a:pt x="3172" y="1580"/>
                  <a:pt x="3172" y="1580"/>
                </a:cubicBezTo>
                <a:cubicBezTo>
                  <a:pt x="3171" y="1580"/>
                  <a:pt x="3171" y="1580"/>
                  <a:pt x="3171" y="1580"/>
                </a:cubicBezTo>
                <a:cubicBezTo>
                  <a:pt x="3169" y="1580"/>
                  <a:pt x="3169" y="1580"/>
                  <a:pt x="3169" y="1580"/>
                </a:cubicBezTo>
                <a:cubicBezTo>
                  <a:pt x="3167" y="1581"/>
                  <a:pt x="3167" y="1581"/>
                  <a:pt x="3167" y="1581"/>
                </a:cubicBezTo>
                <a:cubicBezTo>
                  <a:pt x="3167" y="1583"/>
                  <a:pt x="3167" y="1583"/>
                  <a:pt x="3167" y="1583"/>
                </a:cubicBezTo>
                <a:cubicBezTo>
                  <a:pt x="3166" y="1585"/>
                  <a:pt x="3166" y="1585"/>
                  <a:pt x="3166" y="1585"/>
                </a:cubicBezTo>
                <a:cubicBezTo>
                  <a:pt x="3165" y="1586"/>
                  <a:pt x="3165" y="1586"/>
                  <a:pt x="3165" y="1586"/>
                </a:cubicBezTo>
                <a:cubicBezTo>
                  <a:pt x="3164" y="1588"/>
                  <a:pt x="3164" y="1588"/>
                  <a:pt x="3164" y="1588"/>
                </a:cubicBezTo>
                <a:cubicBezTo>
                  <a:pt x="3164" y="1590"/>
                  <a:pt x="3164" y="1590"/>
                  <a:pt x="3164" y="1590"/>
                </a:cubicBezTo>
                <a:cubicBezTo>
                  <a:pt x="3163" y="1591"/>
                  <a:pt x="3163" y="1591"/>
                  <a:pt x="3163" y="1591"/>
                </a:cubicBezTo>
                <a:cubicBezTo>
                  <a:pt x="3162" y="1593"/>
                  <a:pt x="3162" y="1593"/>
                  <a:pt x="3162" y="1593"/>
                </a:cubicBezTo>
                <a:cubicBezTo>
                  <a:pt x="3159" y="1597"/>
                  <a:pt x="3159" y="1597"/>
                  <a:pt x="3159" y="1597"/>
                </a:cubicBezTo>
                <a:cubicBezTo>
                  <a:pt x="3155" y="1600"/>
                  <a:pt x="3155" y="1600"/>
                  <a:pt x="3155" y="1600"/>
                </a:cubicBezTo>
                <a:cubicBezTo>
                  <a:pt x="3153" y="1600"/>
                  <a:pt x="3153" y="1600"/>
                  <a:pt x="3153" y="1600"/>
                </a:cubicBezTo>
                <a:cubicBezTo>
                  <a:pt x="3150" y="1602"/>
                  <a:pt x="3150" y="1602"/>
                  <a:pt x="3150" y="1602"/>
                </a:cubicBezTo>
                <a:cubicBezTo>
                  <a:pt x="3150" y="1603"/>
                  <a:pt x="3150" y="1603"/>
                  <a:pt x="3150" y="1603"/>
                </a:cubicBezTo>
                <a:cubicBezTo>
                  <a:pt x="3148" y="1603"/>
                  <a:pt x="3148" y="1603"/>
                  <a:pt x="3148" y="1603"/>
                </a:cubicBezTo>
                <a:cubicBezTo>
                  <a:pt x="3144" y="1605"/>
                  <a:pt x="3144" y="1605"/>
                  <a:pt x="3144" y="1605"/>
                </a:cubicBezTo>
                <a:cubicBezTo>
                  <a:pt x="3141" y="1608"/>
                  <a:pt x="3141" y="1608"/>
                  <a:pt x="3141" y="1608"/>
                </a:cubicBezTo>
                <a:cubicBezTo>
                  <a:pt x="3139" y="1608"/>
                  <a:pt x="3139" y="1608"/>
                  <a:pt x="3139" y="1608"/>
                </a:cubicBezTo>
                <a:cubicBezTo>
                  <a:pt x="3136" y="1611"/>
                  <a:pt x="3136" y="1611"/>
                  <a:pt x="3136" y="1611"/>
                </a:cubicBezTo>
                <a:cubicBezTo>
                  <a:pt x="3135" y="1612"/>
                  <a:pt x="3135" y="1612"/>
                  <a:pt x="3135" y="1612"/>
                </a:cubicBezTo>
                <a:cubicBezTo>
                  <a:pt x="3136" y="1613"/>
                  <a:pt x="3136" y="1613"/>
                  <a:pt x="3136" y="1613"/>
                </a:cubicBezTo>
                <a:cubicBezTo>
                  <a:pt x="3136" y="1615"/>
                  <a:pt x="3136" y="1615"/>
                  <a:pt x="3136" y="1615"/>
                </a:cubicBezTo>
                <a:cubicBezTo>
                  <a:pt x="3134" y="1614"/>
                  <a:pt x="3134" y="1614"/>
                  <a:pt x="3134" y="1614"/>
                </a:cubicBezTo>
                <a:cubicBezTo>
                  <a:pt x="3134" y="1613"/>
                  <a:pt x="3134" y="1613"/>
                  <a:pt x="3134" y="1613"/>
                </a:cubicBezTo>
                <a:cubicBezTo>
                  <a:pt x="3132" y="1614"/>
                  <a:pt x="3132" y="1614"/>
                  <a:pt x="3132" y="1614"/>
                </a:cubicBezTo>
                <a:cubicBezTo>
                  <a:pt x="3130" y="1614"/>
                  <a:pt x="3130" y="1614"/>
                  <a:pt x="3130" y="1614"/>
                </a:cubicBezTo>
                <a:cubicBezTo>
                  <a:pt x="3129" y="1614"/>
                  <a:pt x="3129" y="1614"/>
                  <a:pt x="3129" y="1614"/>
                </a:cubicBezTo>
                <a:cubicBezTo>
                  <a:pt x="3128" y="1614"/>
                  <a:pt x="3128" y="1614"/>
                  <a:pt x="3128" y="1614"/>
                </a:cubicBezTo>
                <a:cubicBezTo>
                  <a:pt x="3125" y="1616"/>
                  <a:pt x="3125" y="1616"/>
                  <a:pt x="3125" y="1616"/>
                </a:cubicBezTo>
                <a:cubicBezTo>
                  <a:pt x="3124" y="1618"/>
                  <a:pt x="3124" y="1618"/>
                  <a:pt x="3124" y="1618"/>
                </a:cubicBezTo>
                <a:cubicBezTo>
                  <a:pt x="3121" y="1620"/>
                  <a:pt x="3121" y="1620"/>
                  <a:pt x="3121" y="1620"/>
                </a:cubicBezTo>
                <a:cubicBezTo>
                  <a:pt x="3119" y="1620"/>
                  <a:pt x="3119" y="1620"/>
                  <a:pt x="3119" y="1620"/>
                </a:cubicBezTo>
                <a:cubicBezTo>
                  <a:pt x="3118" y="1623"/>
                  <a:pt x="3118" y="1623"/>
                  <a:pt x="3118" y="1623"/>
                </a:cubicBezTo>
                <a:cubicBezTo>
                  <a:pt x="3117" y="1625"/>
                  <a:pt x="3117" y="1625"/>
                  <a:pt x="3117" y="1625"/>
                </a:cubicBezTo>
                <a:cubicBezTo>
                  <a:pt x="3117" y="1624"/>
                  <a:pt x="3117" y="1624"/>
                  <a:pt x="3117" y="1624"/>
                </a:cubicBezTo>
                <a:cubicBezTo>
                  <a:pt x="3116" y="1623"/>
                  <a:pt x="3116" y="1623"/>
                  <a:pt x="3116" y="1623"/>
                </a:cubicBezTo>
                <a:cubicBezTo>
                  <a:pt x="3115" y="1624"/>
                  <a:pt x="3115" y="1624"/>
                  <a:pt x="3115" y="1624"/>
                </a:cubicBezTo>
                <a:cubicBezTo>
                  <a:pt x="3114" y="1625"/>
                  <a:pt x="3114" y="1625"/>
                  <a:pt x="3114" y="1625"/>
                </a:cubicBezTo>
                <a:cubicBezTo>
                  <a:pt x="3114" y="1627"/>
                  <a:pt x="3114" y="1627"/>
                  <a:pt x="3114" y="1627"/>
                </a:cubicBezTo>
                <a:cubicBezTo>
                  <a:pt x="3113" y="1628"/>
                  <a:pt x="3113" y="1628"/>
                  <a:pt x="3113" y="1628"/>
                </a:cubicBezTo>
                <a:cubicBezTo>
                  <a:pt x="3112" y="1628"/>
                  <a:pt x="3112" y="1628"/>
                  <a:pt x="3112" y="1628"/>
                </a:cubicBezTo>
                <a:cubicBezTo>
                  <a:pt x="3109" y="1631"/>
                  <a:pt x="3109" y="1631"/>
                  <a:pt x="3109" y="1631"/>
                </a:cubicBezTo>
                <a:cubicBezTo>
                  <a:pt x="3108" y="1631"/>
                  <a:pt x="3108" y="1631"/>
                  <a:pt x="3108" y="1631"/>
                </a:cubicBezTo>
                <a:cubicBezTo>
                  <a:pt x="3107" y="1632"/>
                  <a:pt x="3107" y="1632"/>
                  <a:pt x="3107" y="1632"/>
                </a:cubicBezTo>
                <a:cubicBezTo>
                  <a:pt x="3107" y="1636"/>
                  <a:pt x="3107" y="1636"/>
                  <a:pt x="3107" y="1636"/>
                </a:cubicBezTo>
                <a:cubicBezTo>
                  <a:pt x="3106" y="1637"/>
                  <a:pt x="3106" y="1637"/>
                  <a:pt x="3106" y="1637"/>
                </a:cubicBezTo>
                <a:cubicBezTo>
                  <a:pt x="3105" y="1635"/>
                  <a:pt x="3105" y="1635"/>
                  <a:pt x="3105" y="1635"/>
                </a:cubicBezTo>
                <a:cubicBezTo>
                  <a:pt x="3105" y="1635"/>
                  <a:pt x="3105" y="1635"/>
                  <a:pt x="3105" y="1635"/>
                </a:cubicBezTo>
                <a:cubicBezTo>
                  <a:pt x="3104" y="1636"/>
                  <a:pt x="3104" y="1636"/>
                  <a:pt x="3104" y="1636"/>
                </a:cubicBezTo>
                <a:cubicBezTo>
                  <a:pt x="3103" y="1636"/>
                  <a:pt x="3103" y="1636"/>
                  <a:pt x="3103" y="1636"/>
                </a:cubicBezTo>
                <a:cubicBezTo>
                  <a:pt x="3101" y="1639"/>
                  <a:pt x="3101" y="1639"/>
                  <a:pt x="3101" y="1639"/>
                </a:cubicBezTo>
                <a:cubicBezTo>
                  <a:pt x="3102" y="1640"/>
                  <a:pt x="3102" y="1640"/>
                  <a:pt x="3102" y="1640"/>
                </a:cubicBezTo>
                <a:cubicBezTo>
                  <a:pt x="3103" y="1642"/>
                  <a:pt x="3103" y="1642"/>
                  <a:pt x="3103" y="1642"/>
                </a:cubicBezTo>
                <a:cubicBezTo>
                  <a:pt x="3104" y="1643"/>
                  <a:pt x="3104" y="1643"/>
                  <a:pt x="3104" y="1643"/>
                </a:cubicBezTo>
                <a:cubicBezTo>
                  <a:pt x="3103" y="1644"/>
                  <a:pt x="3103" y="1644"/>
                  <a:pt x="3103" y="1644"/>
                </a:cubicBezTo>
                <a:cubicBezTo>
                  <a:pt x="3101" y="1643"/>
                  <a:pt x="3101" y="1643"/>
                  <a:pt x="3101" y="1643"/>
                </a:cubicBezTo>
                <a:cubicBezTo>
                  <a:pt x="3099" y="1644"/>
                  <a:pt x="3099" y="1644"/>
                  <a:pt x="3099" y="1644"/>
                </a:cubicBezTo>
                <a:cubicBezTo>
                  <a:pt x="3097" y="1646"/>
                  <a:pt x="3097" y="1646"/>
                  <a:pt x="3097" y="1646"/>
                </a:cubicBezTo>
                <a:cubicBezTo>
                  <a:pt x="3098" y="1647"/>
                  <a:pt x="3098" y="1647"/>
                  <a:pt x="3098" y="1647"/>
                </a:cubicBezTo>
                <a:cubicBezTo>
                  <a:pt x="3099" y="1647"/>
                  <a:pt x="3099" y="1647"/>
                  <a:pt x="3099" y="1647"/>
                </a:cubicBezTo>
                <a:cubicBezTo>
                  <a:pt x="3098" y="1648"/>
                  <a:pt x="3098" y="1648"/>
                  <a:pt x="3098" y="1648"/>
                </a:cubicBezTo>
                <a:cubicBezTo>
                  <a:pt x="3098" y="1649"/>
                  <a:pt x="3098" y="1649"/>
                  <a:pt x="3098" y="1649"/>
                </a:cubicBezTo>
                <a:cubicBezTo>
                  <a:pt x="3099" y="1651"/>
                  <a:pt x="3099" y="1651"/>
                  <a:pt x="3099" y="1651"/>
                </a:cubicBezTo>
                <a:cubicBezTo>
                  <a:pt x="3100" y="1651"/>
                  <a:pt x="3100" y="1651"/>
                  <a:pt x="3100" y="1651"/>
                </a:cubicBezTo>
                <a:cubicBezTo>
                  <a:pt x="3103" y="1652"/>
                  <a:pt x="3103" y="1652"/>
                  <a:pt x="3103" y="1652"/>
                </a:cubicBezTo>
                <a:cubicBezTo>
                  <a:pt x="3103" y="1652"/>
                  <a:pt x="3103" y="1652"/>
                  <a:pt x="3103" y="1652"/>
                </a:cubicBezTo>
                <a:cubicBezTo>
                  <a:pt x="3104" y="1652"/>
                  <a:pt x="3104" y="1652"/>
                  <a:pt x="3104" y="1652"/>
                </a:cubicBezTo>
                <a:cubicBezTo>
                  <a:pt x="3104" y="1651"/>
                  <a:pt x="3104" y="1651"/>
                  <a:pt x="3104" y="1651"/>
                </a:cubicBezTo>
                <a:cubicBezTo>
                  <a:pt x="3105" y="1651"/>
                  <a:pt x="3105" y="1651"/>
                  <a:pt x="3105" y="1651"/>
                </a:cubicBezTo>
                <a:cubicBezTo>
                  <a:pt x="3106" y="1652"/>
                  <a:pt x="3106" y="1652"/>
                  <a:pt x="3106" y="1652"/>
                </a:cubicBezTo>
                <a:cubicBezTo>
                  <a:pt x="3107" y="1653"/>
                  <a:pt x="3107" y="1653"/>
                  <a:pt x="3107" y="1653"/>
                </a:cubicBezTo>
                <a:cubicBezTo>
                  <a:pt x="3107" y="1654"/>
                  <a:pt x="3107" y="1654"/>
                  <a:pt x="3107" y="1654"/>
                </a:cubicBezTo>
                <a:cubicBezTo>
                  <a:pt x="3108" y="1655"/>
                  <a:pt x="3108" y="1655"/>
                  <a:pt x="3108" y="1655"/>
                </a:cubicBezTo>
                <a:cubicBezTo>
                  <a:pt x="3109" y="1655"/>
                  <a:pt x="3109" y="1655"/>
                  <a:pt x="3109" y="1655"/>
                </a:cubicBezTo>
                <a:cubicBezTo>
                  <a:pt x="3110" y="1656"/>
                  <a:pt x="3110" y="1656"/>
                  <a:pt x="3110" y="1656"/>
                </a:cubicBezTo>
                <a:cubicBezTo>
                  <a:pt x="3110" y="1658"/>
                  <a:pt x="3110" y="1658"/>
                  <a:pt x="3110" y="1658"/>
                </a:cubicBezTo>
                <a:cubicBezTo>
                  <a:pt x="3112" y="1659"/>
                  <a:pt x="3112" y="1659"/>
                  <a:pt x="3112" y="1659"/>
                </a:cubicBezTo>
                <a:cubicBezTo>
                  <a:pt x="3114" y="1660"/>
                  <a:pt x="3114" y="1660"/>
                  <a:pt x="3114" y="1660"/>
                </a:cubicBezTo>
                <a:cubicBezTo>
                  <a:pt x="3112" y="1661"/>
                  <a:pt x="3112" y="1661"/>
                  <a:pt x="3112" y="1661"/>
                </a:cubicBezTo>
                <a:cubicBezTo>
                  <a:pt x="3113" y="1662"/>
                  <a:pt x="3113" y="1662"/>
                  <a:pt x="3113" y="1662"/>
                </a:cubicBezTo>
                <a:cubicBezTo>
                  <a:pt x="3115" y="1660"/>
                  <a:pt x="3115" y="1660"/>
                  <a:pt x="3115" y="1660"/>
                </a:cubicBezTo>
                <a:cubicBezTo>
                  <a:pt x="3115" y="1661"/>
                  <a:pt x="3115" y="1661"/>
                  <a:pt x="3115" y="1661"/>
                </a:cubicBezTo>
                <a:cubicBezTo>
                  <a:pt x="3117" y="1662"/>
                  <a:pt x="3117" y="1662"/>
                  <a:pt x="3117" y="1662"/>
                </a:cubicBezTo>
                <a:cubicBezTo>
                  <a:pt x="3119" y="1662"/>
                  <a:pt x="3119" y="1662"/>
                  <a:pt x="3119" y="1662"/>
                </a:cubicBezTo>
                <a:cubicBezTo>
                  <a:pt x="3123" y="1660"/>
                  <a:pt x="3123" y="1660"/>
                  <a:pt x="3123" y="1660"/>
                </a:cubicBezTo>
                <a:cubicBezTo>
                  <a:pt x="3126" y="1658"/>
                  <a:pt x="3126" y="1658"/>
                  <a:pt x="3126" y="1658"/>
                </a:cubicBezTo>
                <a:cubicBezTo>
                  <a:pt x="3128" y="1657"/>
                  <a:pt x="3128" y="1657"/>
                  <a:pt x="3128" y="1657"/>
                </a:cubicBezTo>
                <a:cubicBezTo>
                  <a:pt x="3128" y="1656"/>
                  <a:pt x="3128" y="1656"/>
                  <a:pt x="3128" y="1656"/>
                </a:cubicBezTo>
                <a:cubicBezTo>
                  <a:pt x="3127" y="1654"/>
                  <a:pt x="3127" y="1654"/>
                  <a:pt x="3127" y="1654"/>
                </a:cubicBezTo>
                <a:cubicBezTo>
                  <a:pt x="3129" y="1655"/>
                  <a:pt x="3129" y="1655"/>
                  <a:pt x="3129" y="1655"/>
                </a:cubicBezTo>
                <a:cubicBezTo>
                  <a:pt x="3128" y="1656"/>
                  <a:pt x="3128" y="1656"/>
                  <a:pt x="3128" y="1656"/>
                </a:cubicBezTo>
                <a:cubicBezTo>
                  <a:pt x="3131" y="1655"/>
                  <a:pt x="3131" y="1655"/>
                  <a:pt x="3131" y="1655"/>
                </a:cubicBezTo>
                <a:cubicBezTo>
                  <a:pt x="3131" y="1653"/>
                  <a:pt x="3131" y="1653"/>
                  <a:pt x="3131" y="1653"/>
                </a:cubicBezTo>
                <a:cubicBezTo>
                  <a:pt x="3133" y="1651"/>
                  <a:pt x="3133" y="1651"/>
                  <a:pt x="3133" y="1651"/>
                </a:cubicBezTo>
                <a:cubicBezTo>
                  <a:pt x="3136" y="1650"/>
                  <a:pt x="3136" y="1650"/>
                  <a:pt x="3136" y="1650"/>
                </a:cubicBezTo>
                <a:cubicBezTo>
                  <a:pt x="3138" y="1650"/>
                  <a:pt x="3138" y="1650"/>
                  <a:pt x="3138" y="1650"/>
                </a:cubicBezTo>
                <a:cubicBezTo>
                  <a:pt x="3139" y="1649"/>
                  <a:pt x="3139" y="1649"/>
                  <a:pt x="3139" y="1649"/>
                </a:cubicBezTo>
                <a:cubicBezTo>
                  <a:pt x="3139" y="1649"/>
                  <a:pt x="3139" y="1649"/>
                  <a:pt x="3139" y="1649"/>
                </a:cubicBezTo>
                <a:cubicBezTo>
                  <a:pt x="3137" y="1649"/>
                  <a:pt x="3137" y="1649"/>
                  <a:pt x="3137" y="1649"/>
                </a:cubicBezTo>
                <a:cubicBezTo>
                  <a:pt x="3138" y="1649"/>
                  <a:pt x="3138" y="1649"/>
                  <a:pt x="3138" y="1649"/>
                </a:cubicBezTo>
                <a:cubicBezTo>
                  <a:pt x="3139" y="1648"/>
                  <a:pt x="3139" y="1648"/>
                  <a:pt x="3139" y="1648"/>
                </a:cubicBezTo>
                <a:cubicBezTo>
                  <a:pt x="3138" y="1648"/>
                  <a:pt x="3138" y="1648"/>
                  <a:pt x="3138" y="1648"/>
                </a:cubicBezTo>
                <a:cubicBezTo>
                  <a:pt x="3140" y="1645"/>
                  <a:pt x="3140" y="1645"/>
                  <a:pt x="3140" y="1645"/>
                </a:cubicBezTo>
                <a:cubicBezTo>
                  <a:pt x="3142" y="1642"/>
                  <a:pt x="3142" y="1642"/>
                  <a:pt x="3142" y="1642"/>
                </a:cubicBezTo>
                <a:cubicBezTo>
                  <a:pt x="3143" y="1639"/>
                  <a:pt x="3143" y="1639"/>
                  <a:pt x="3143" y="1639"/>
                </a:cubicBezTo>
                <a:cubicBezTo>
                  <a:pt x="3144" y="1638"/>
                  <a:pt x="3144" y="1638"/>
                  <a:pt x="3144" y="1638"/>
                </a:cubicBezTo>
                <a:cubicBezTo>
                  <a:pt x="3148" y="1634"/>
                  <a:pt x="3148" y="1634"/>
                  <a:pt x="3148" y="1634"/>
                </a:cubicBezTo>
                <a:cubicBezTo>
                  <a:pt x="3149" y="1633"/>
                  <a:pt x="3149" y="1633"/>
                  <a:pt x="3149" y="1633"/>
                </a:cubicBezTo>
                <a:cubicBezTo>
                  <a:pt x="3150" y="1631"/>
                  <a:pt x="3150" y="1631"/>
                  <a:pt x="3150" y="1631"/>
                </a:cubicBezTo>
                <a:cubicBezTo>
                  <a:pt x="3152" y="1627"/>
                  <a:pt x="3152" y="1627"/>
                  <a:pt x="3152" y="1627"/>
                </a:cubicBezTo>
                <a:cubicBezTo>
                  <a:pt x="3153" y="1626"/>
                  <a:pt x="3153" y="1626"/>
                  <a:pt x="3153" y="1626"/>
                </a:cubicBezTo>
                <a:cubicBezTo>
                  <a:pt x="3153" y="1624"/>
                  <a:pt x="3153" y="1624"/>
                  <a:pt x="3153" y="1624"/>
                </a:cubicBezTo>
                <a:cubicBezTo>
                  <a:pt x="3155" y="1622"/>
                  <a:pt x="3155" y="1622"/>
                  <a:pt x="3155" y="1622"/>
                </a:cubicBezTo>
                <a:cubicBezTo>
                  <a:pt x="3156" y="1621"/>
                  <a:pt x="3156" y="1621"/>
                  <a:pt x="3156" y="1621"/>
                </a:cubicBezTo>
                <a:cubicBezTo>
                  <a:pt x="3157" y="1619"/>
                  <a:pt x="3157" y="1619"/>
                  <a:pt x="3157" y="1619"/>
                </a:cubicBezTo>
                <a:cubicBezTo>
                  <a:pt x="3158" y="1620"/>
                  <a:pt x="3158" y="1620"/>
                  <a:pt x="3158" y="1620"/>
                </a:cubicBezTo>
                <a:cubicBezTo>
                  <a:pt x="3159" y="1620"/>
                  <a:pt x="3159" y="1620"/>
                  <a:pt x="3159" y="1620"/>
                </a:cubicBezTo>
                <a:cubicBezTo>
                  <a:pt x="3160" y="1619"/>
                  <a:pt x="3160" y="1619"/>
                  <a:pt x="3160" y="1619"/>
                </a:cubicBezTo>
                <a:cubicBezTo>
                  <a:pt x="3161" y="1619"/>
                  <a:pt x="3161" y="1619"/>
                  <a:pt x="3161" y="1619"/>
                </a:cubicBezTo>
                <a:cubicBezTo>
                  <a:pt x="3163" y="1619"/>
                  <a:pt x="3163" y="1619"/>
                  <a:pt x="3163" y="1619"/>
                </a:cubicBezTo>
                <a:cubicBezTo>
                  <a:pt x="3164" y="1617"/>
                  <a:pt x="3164" y="1617"/>
                  <a:pt x="3164" y="1617"/>
                </a:cubicBezTo>
                <a:cubicBezTo>
                  <a:pt x="3164" y="1615"/>
                  <a:pt x="3164" y="1615"/>
                  <a:pt x="3164" y="1615"/>
                </a:cubicBezTo>
                <a:cubicBezTo>
                  <a:pt x="3162" y="1614"/>
                  <a:pt x="3162" y="1614"/>
                  <a:pt x="3162" y="1614"/>
                </a:cubicBezTo>
                <a:cubicBezTo>
                  <a:pt x="3164" y="1615"/>
                  <a:pt x="3164" y="1615"/>
                  <a:pt x="3164" y="1615"/>
                </a:cubicBezTo>
                <a:cubicBezTo>
                  <a:pt x="3165" y="1617"/>
                  <a:pt x="3165" y="1617"/>
                  <a:pt x="3165" y="1617"/>
                </a:cubicBezTo>
                <a:cubicBezTo>
                  <a:pt x="3165" y="1617"/>
                  <a:pt x="3165" y="1617"/>
                  <a:pt x="3165" y="1617"/>
                </a:cubicBezTo>
                <a:cubicBezTo>
                  <a:pt x="3167" y="1616"/>
                  <a:pt x="3167" y="1616"/>
                  <a:pt x="3167" y="1616"/>
                </a:cubicBezTo>
                <a:cubicBezTo>
                  <a:pt x="3167" y="1616"/>
                  <a:pt x="3167" y="1616"/>
                  <a:pt x="3167" y="1616"/>
                </a:cubicBezTo>
                <a:cubicBezTo>
                  <a:pt x="3168" y="1615"/>
                  <a:pt x="3168" y="1615"/>
                  <a:pt x="3168" y="1615"/>
                </a:cubicBezTo>
                <a:cubicBezTo>
                  <a:pt x="3169" y="1615"/>
                  <a:pt x="3169" y="1615"/>
                  <a:pt x="3169" y="1615"/>
                </a:cubicBezTo>
                <a:cubicBezTo>
                  <a:pt x="3169" y="1616"/>
                  <a:pt x="3169" y="1616"/>
                  <a:pt x="3169" y="1616"/>
                </a:cubicBezTo>
                <a:cubicBezTo>
                  <a:pt x="3168" y="1617"/>
                  <a:pt x="3168" y="1617"/>
                  <a:pt x="3168" y="1617"/>
                </a:cubicBezTo>
                <a:cubicBezTo>
                  <a:pt x="3170" y="1617"/>
                  <a:pt x="3170" y="1617"/>
                  <a:pt x="3170" y="1617"/>
                </a:cubicBezTo>
                <a:cubicBezTo>
                  <a:pt x="3171" y="1617"/>
                  <a:pt x="3171" y="1617"/>
                  <a:pt x="3171" y="1617"/>
                </a:cubicBezTo>
                <a:cubicBezTo>
                  <a:pt x="3172" y="1616"/>
                  <a:pt x="3172" y="1616"/>
                  <a:pt x="3172" y="1616"/>
                </a:cubicBezTo>
                <a:cubicBezTo>
                  <a:pt x="3172" y="1615"/>
                  <a:pt x="3172" y="1615"/>
                  <a:pt x="3172" y="1615"/>
                </a:cubicBezTo>
                <a:cubicBezTo>
                  <a:pt x="3172" y="1614"/>
                  <a:pt x="3172" y="1614"/>
                  <a:pt x="3172" y="1614"/>
                </a:cubicBezTo>
                <a:cubicBezTo>
                  <a:pt x="3173" y="1615"/>
                  <a:pt x="3173" y="1615"/>
                  <a:pt x="3173" y="1615"/>
                </a:cubicBezTo>
                <a:cubicBezTo>
                  <a:pt x="3173" y="1617"/>
                  <a:pt x="3173" y="1617"/>
                  <a:pt x="3173" y="1617"/>
                </a:cubicBezTo>
                <a:cubicBezTo>
                  <a:pt x="3173" y="1617"/>
                  <a:pt x="3173" y="1617"/>
                  <a:pt x="3173" y="1617"/>
                </a:cubicBezTo>
                <a:cubicBezTo>
                  <a:pt x="3174" y="1617"/>
                  <a:pt x="3174" y="1617"/>
                  <a:pt x="3174" y="1617"/>
                </a:cubicBezTo>
                <a:cubicBezTo>
                  <a:pt x="3175" y="1614"/>
                  <a:pt x="3175" y="1614"/>
                  <a:pt x="3175" y="1614"/>
                </a:cubicBezTo>
                <a:cubicBezTo>
                  <a:pt x="3174" y="1613"/>
                  <a:pt x="3174" y="1613"/>
                  <a:pt x="3174" y="1613"/>
                </a:cubicBezTo>
                <a:cubicBezTo>
                  <a:pt x="3172" y="1612"/>
                  <a:pt x="3172" y="1612"/>
                  <a:pt x="3172" y="1612"/>
                </a:cubicBezTo>
                <a:cubicBezTo>
                  <a:pt x="3173" y="1611"/>
                  <a:pt x="3173" y="1611"/>
                  <a:pt x="3173" y="1611"/>
                </a:cubicBezTo>
                <a:cubicBezTo>
                  <a:pt x="3173" y="1609"/>
                  <a:pt x="3173" y="1609"/>
                  <a:pt x="3173" y="1609"/>
                </a:cubicBezTo>
                <a:cubicBezTo>
                  <a:pt x="3173" y="1606"/>
                  <a:pt x="3173" y="1606"/>
                  <a:pt x="3173" y="1606"/>
                </a:cubicBezTo>
                <a:cubicBezTo>
                  <a:pt x="3175" y="1605"/>
                  <a:pt x="3175" y="1605"/>
                  <a:pt x="3175" y="1605"/>
                </a:cubicBezTo>
                <a:cubicBezTo>
                  <a:pt x="3178" y="1604"/>
                  <a:pt x="3178" y="1604"/>
                  <a:pt x="3178" y="1604"/>
                </a:cubicBezTo>
                <a:cubicBezTo>
                  <a:pt x="3181" y="1602"/>
                  <a:pt x="3181" y="1602"/>
                  <a:pt x="3181" y="1602"/>
                </a:cubicBezTo>
                <a:cubicBezTo>
                  <a:pt x="3181" y="1601"/>
                  <a:pt x="3181" y="1601"/>
                  <a:pt x="3181" y="1601"/>
                </a:cubicBezTo>
                <a:cubicBezTo>
                  <a:pt x="3183" y="1599"/>
                  <a:pt x="3183" y="1599"/>
                  <a:pt x="3183" y="1599"/>
                </a:cubicBezTo>
                <a:cubicBezTo>
                  <a:pt x="3184" y="1597"/>
                  <a:pt x="3184" y="1597"/>
                  <a:pt x="3184" y="1597"/>
                </a:cubicBezTo>
                <a:cubicBezTo>
                  <a:pt x="3186" y="1595"/>
                  <a:pt x="3186" y="1595"/>
                  <a:pt x="3186" y="1595"/>
                </a:cubicBezTo>
                <a:cubicBezTo>
                  <a:pt x="3187" y="1595"/>
                  <a:pt x="3187" y="1595"/>
                  <a:pt x="3187" y="1595"/>
                </a:cubicBezTo>
                <a:cubicBezTo>
                  <a:pt x="3187" y="1594"/>
                  <a:pt x="3187" y="1594"/>
                  <a:pt x="3187" y="1594"/>
                </a:cubicBezTo>
                <a:cubicBezTo>
                  <a:pt x="3191" y="1590"/>
                  <a:pt x="3191" y="1590"/>
                  <a:pt x="3191" y="1590"/>
                </a:cubicBezTo>
                <a:cubicBezTo>
                  <a:pt x="3191" y="1589"/>
                  <a:pt x="3191" y="1589"/>
                  <a:pt x="3191" y="1589"/>
                </a:cubicBezTo>
                <a:cubicBezTo>
                  <a:pt x="3196" y="1585"/>
                  <a:pt x="3196" y="1585"/>
                  <a:pt x="3196" y="1585"/>
                </a:cubicBezTo>
                <a:cubicBezTo>
                  <a:pt x="3198" y="1583"/>
                  <a:pt x="3198" y="1583"/>
                  <a:pt x="3198" y="1583"/>
                </a:cubicBezTo>
                <a:cubicBezTo>
                  <a:pt x="3197" y="1583"/>
                  <a:pt x="3197" y="1583"/>
                  <a:pt x="3197" y="1583"/>
                </a:cubicBezTo>
                <a:cubicBezTo>
                  <a:pt x="3197" y="1581"/>
                  <a:pt x="3197" y="1581"/>
                  <a:pt x="3197" y="1581"/>
                </a:cubicBezTo>
                <a:cubicBezTo>
                  <a:pt x="3196" y="1579"/>
                  <a:pt x="3196" y="1579"/>
                  <a:pt x="3196" y="1579"/>
                </a:cubicBezTo>
                <a:cubicBezTo>
                  <a:pt x="3196" y="1577"/>
                  <a:pt x="3196" y="1577"/>
                  <a:pt x="3196" y="1577"/>
                </a:cubicBezTo>
                <a:cubicBezTo>
                  <a:pt x="3197" y="1576"/>
                  <a:pt x="3197" y="1576"/>
                  <a:pt x="3197" y="1576"/>
                </a:cubicBezTo>
                <a:cubicBezTo>
                  <a:pt x="3197" y="1576"/>
                  <a:pt x="3197" y="1576"/>
                  <a:pt x="3197" y="1576"/>
                </a:cubicBezTo>
                <a:cubicBezTo>
                  <a:pt x="3199" y="1573"/>
                  <a:pt x="3199" y="1573"/>
                  <a:pt x="3199" y="1573"/>
                </a:cubicBezTo>
                <a:cubicBezTo>
                  <a:pt x="3198" y="1574"/>
                  <a:pt x="3198" y="1574"/>
                  <a:pt x="3198" y="1574"/>
                </a:cubicBezTo>
                <a:cubicBezTo>
                  <a:pt x="3196" y="1574"/>
                  <a:pt x="3196" y="1574"/>
                  <a:pt x="3196" y="1574"/>
                </a:cubicBezTo>
                <a:cubicBezTo>
                  <a:pt x="3198" y="1573"/>
                  <a:pt x="3198" y="1573"/>
                  <a:pt x="3198" y="1573"/>
                </a:cubicBezTo>
                <a:lnTo>
                  <a:pt x="3200" y="1571"/>
                </a:lnTo>
                <a:close/>
                <a:moveTo>
                  <a:pt x="3105" y="1118"/>
                </a:moveTo>
                <a:cubicBezTo>
                  <a:pt x="3104" y="1119"/>
                  <a:pt x="3104" y="1119"/>
                  <a:pt x="3104" y="1119"/>
                </a:cubicBezTo>
                <a:cubicBezTo>
                  <a:pt x="3104" y="1118"/>
                  <a:pt x="3104" y="1120"/>
                  <a:pt x="3104" y="1120"/>
                </a:cubicBezTo>
                <a:cubicBezTo>
                  <a:pt x="3105" y="1120"/>
                  <a:pt x="3105" y="1120"/>
                  <a:pt x="3105" y="1120"/>
                </a:cubicBezTo>
                <a:cubicBezTo>
                  <a:pt x="3107" y="1120"/>
                  <a:pt x="3107" y="1120"/>
                  <a:pt x="3107" y="1120"/>
                </a:cubicBezTo>
                <a:cubicBezTo>
                  <a:pt x="3107" y="1119"/>
                  <a:pt x="3107" y="1119"/>
                  <a:pt x="3107" y="1119"/>
                </a:cubicBezTo>
                <a:lnTo>
                  <a:pt x="3105" y="1118"/>
                </a:lnTo>
                <a:close/>
                <a:moveTo>
                  <a:pt x="3080" y="1088"/>
                </a:moveTo>
                <a:cubicBezTo>
                  <a:pt x="3080" y="1089"/>
                  <a:pt x="3080" y="1089"/>
                  <a:pt x="3080" y="1089"/>
                </a:cubicBezTo>
                <a:cubicBezTo>
                  <a:pt x="3081" y="1090"/>
                  <a:pt x="3081" y="1090"/>
                  <a:pt x="3081" y="1090"/>
                </a:cubicBezTo>
                <a:cubicBezTo>
                  <a:pt x="3081" y="1092"/>
                  <a:pt x="3081" y="1092"/>
                  <a:pt x="3081" y="1092"/>
                </a:cubicBezTo>
                <a:cubicBezTo>
                  <a:pt x="3082" y="1090"/>
                  <a:pt x="3082" y="1090"/>
                  <a:pt x="3082" y="1090"/>
                </a:cubicBezTo>
                <a:cubicBezTo>
                  <a:pt x="3082" y="1088"/>
                  <a:pt x="3082" y="1088"/>
                  <a:pt x="3082" y="1088"/>
                </a:cubicBezTo>
                <a:lnTo>
                  <a:pt x="3080" y="1088"/>
                </a:lnTo>
                <a:close/>
                <a:moveTo>
                  <a:pt x="3109" y="1125"/>
                </a:moveTo>
                <a:cubicBezTo>
                  <a:pt x="3108" y="1124"/>
                  <a:pt x="3108" y="1124"/>
                  <a:pt x="3108" y="1124"/>
                </a:cubicBezTo>
                <a:cubicBezTo>
                  <a:pt x="3107" y="1125"/>
                  <a:pt x="3107" y="1125"/>
                  <a:pt x="3107" y="1125"/>
                </a:cubicBezTo>
                <a:cubicBezTo>
                  <a:pt x="3108" y="1126"/>
                  <a:pt x="3108" y="1126"/>
                  <a:pt x="3108" y="1126"/>
                </a:cubicBezTo>
                <a:lnTo>
                  <a:pt x="3109" y="1125"/>
                </a:lnTo>
                <a:close/>
                <a:moveTo>
                  <a:pt x="3106" y="1664"/>
                </a:moveTo>
                <a:cubicBezTo>
                  <a:pt x="3108" y="1664"/>
                  <a:pt x="3108" y="1664"/>
                  <a:pt x="3108" y="1664"/>
                </a:cubicBezTo>
                <a:cubicBezTo>
                  <a:pt x="3108" y="1664"/>
                  <a:pt x="3108" y="1664"/>
                  <a:pt x="3108" y="1664"/>
                </a:cubicBezTo>
                <a:cubicBezTo>
                  <a:pt x="3107" y="1663"/>
                  <a:pt x="3107" y="1663"/>
                  <a:pt x="3107" y="1663"/>
                </a:cubicBezTo>
                <a:cubicBezTo>
                  <a:pt x="3106" y="1661"/>
                  <a:pt x="3106" y="1661"/>
                  <a:pt x="3106" y="1661"/>
                </a:cubicBezTo>
                <a:cubicBezTo>
                  <a:pt x="3105" y="1659"/>
                  <a:pt x="3105" y="1659"/>
                  <a:pt x="3105" y="1659"/>
                </a:cubicBezTo>
                <a:cubicBezTo>
                  <a:pt x="3103" y="1660"/>
                  <a:pt x="3103" y="1660"/>
                  <a:pt x="3103" y="1660"/>
                </a:cubicBezTo>
                <a:cubicBezTo>
                  <a:pt x="3103" y="1661"/>
                  <a:pt x="3103" y="1661"/>
                  <a:pt x="3103" y="1661"/>
                </a:cubicBezTo>
                <a:cubicBezTo>
                  <a:pt x="3103" y="1663"/>
                  <a:pt x="3103" y="1663"/>
                  <a:pt x="3103" y="1663"/>
                </a:cubicBezTo>
                <a:cubicBezTo>
                  <a:pt x="3102" y="1665"/>
                  <a:pt x="3102" y="1665"/>
                  <a:pt x="3102" y="1665"/>
                </a:cubicBezTo>
                <a:cubicBezTo>
                  <a:pt x="3101" y="1665"/>
                  <a:pt x="3101" y="1665"/>
                  <a:pt x="3101" y="1665"/>
                </a:cubicBezTo>
                <a:cubicBezTo>
                  <a:pt x="3101" y="1666"/>
                  <a:pt x="3101" y="1666"/>
                  <a:pt x="3101" y="1666"/>
                </a:cubicBezTo>
                <a:cubicBezTo>
                  <a:pt x="3100" y="1667"/>
                  <a:pt x="3100" y="1667"/>
                  <a:pt x="3100" y="1667"/>
                </a:cubicBezTo>
                <a:cubicBezTo>
                  <a:pt x="3098" y="1669"/>
                  <a:pt x="3098" y="1669"/>
                  <a:pt x="3098" y="1669"/>
                </a:cubicBezTo>
                <a:cubicBezTo>
                  <a:pt x="3098" y="1670"/>
                  <a:pt x="3098" y="1670"/>
                  <a:pt x="3098" y="1670"/>
                </a:cubicBezTo>
                <a:cubicBezTo>
                  <a:pt x="3099" y="1670"/>
                  <a:pt x="3099" y="1670"/>
                  <a:pt x="3099" y="1670"/>
                </a:cubicBezTo>
                <a:cubicBezTo>
                  <a:pt x="3101" y="1668"/>
                  <a:pt x="3101" y="1668"/>
                  <a:pt x="3101" y="1668"/>
                </a:cubicBezTo>
                <a:cubicBezTo>
                  <a:pt x="3101" y="1668"/>
                  <a:pt x="3101" y="1668"/>
                  <a:pt x="3101" y="1668"/>
                </a:cubicBezTo>
                <a:cubicBezTo>
                  <a:pt x="3102" y="1668"/>
                  <a:pt x="3102" y="1668"/>
                  <a:pt x="3102" y="1668"/>
                </a:cubicBezTo>
                <a:cubicBezTo>
                  <a:pt x="3103" y="1668"/>
                  <a:pt x="3103" y="1668"/>
                  <a:pt x="3103" y="1668"/>
                </a:cubicBezTo>
                <a:cubicBezTo>
                  <a:pt x="3104" y="1668"/>
                  <a:pt x="3104" y="1668"/>
                  <a:pt x="3104" y="1668"/>
                </a:cubicBezTo>
                <a:cubicBezTo>
                  <a:pt x="3106" y="1667"/>
                  <a:pt x="3106" y="1667"/>
                  <a:pt x="3106" y="1667"/>
                </a:cubicBezTo>
                <a:cubicBezTo>
                  <a:pt x="3107" y="1667"/>
                  <a:pt x="3107" y="1667"/>
                  <a:pt x="3107" y="1667"/>
                </a:cubicBezTo>
                <a:cubicBezTo>
                  <a:pt x="3108" y="1666"/>
                  <a:pt x="3108" y="1666"/>
                  <a:pt x="3108" y="1666"/>
                </a:cubicBezTo>
                <a:cubicBezTo>
                  <a:pt x="3107" y="1665"/>
                  <a:pt x="3107" y="1665"/>
                  <a:pt x="3107" y="1665"/>
                </a:cubicBezTo>
                <a:cubicBezTo>
                  <a:pt x="3107" y="1665"/>
                  <a:pt x="3107" y="1665"/>
                  <a:pt x="3107" y="1665"/>
                </a:cubicBezTo>
                <a:cubicBezTo>
                  <a:pt x="3106" y="1664"/>
                  <a:pt x="3106" y="1664"/>
                  <a:pt x="3106" y="1664"/>
                </a:cubicBezTo>
                <a:cubicBezTo>
                  <a:pt x="3105" y="1664"/>
                  <a:pt x="3105" y="1664"/>
                  <a:pt x="3105" y="1664"/>
                </a:cubicBezTo>
                <a:cubicBezTo>
                  <a:pt x="3106" y="1664"/>
                  <a:pt x="3106" y="1664"/>
                  <a:pt x="3106" y="1664"/>
                </a:cubicBezTo>
                <a:close/>
                <a:moveTo>
                  <a:pt x="3089" y="1098"/>
                </a:moveTo>
                <a:cubicBezTo>
                  <a:pt x="3087" y="1097"/>
                  <a:pt x="3087" y="1097"/>
                  <a:pt x="3087" y="1097"/>
                </a:cubicBezTo>
                <a:cubicBezTo>
                  <a:pt x="3086" y="1094"/>
                  <a:pt x="3086" y="1094"/>
                  <a:pt x="3086" y="1094"/>
                </a:cubicBezTo>
                <a:cubicBezTo>
                  <a:pt x="3085" y="1092"/>
                  <a:pt x="3085" y="1092"/>
                  <a:pt x="3085" y="1092"/>
                </a:cubicBezTo>
                <a:cubicBezTo>
                  <a:pt x="3083" y="1093"/>
                  <a:pt x="3083" y="1093"/>
                  <a:pt x="3083" y="1093"/>
                </a:cubicBezTo>
                <a:cubicBezTo>
                  <a:pt x="3082" y="1095"/>
                  <a:pt x="3082" y="1095"/>
                  <a:pt x="3082" y="1095"/>
                </a:cubicBezTo>
                <a:cubicBezTo>
                  <a:pt x="3083" y="1096"/>
                  <a:pt x="3083" y="1096"/>
                  <a:pt x="3083" y="1096"/>
                </a:cubicBezTo>
                <a:cubicBezTo>
                  <a:pt x="3083" y="1099"/>
                  <a:pt x="3083" y="1099"/>
                  <a:pt x="3083" y="1099"/>
                </a:cubicBezTo>
                <a:cubicBezTo>
                  <a:pt x="3085" y="1100"/>
                  <a:pt x="3085" y="1100"/>
                  <a:pt x="3085" y="1100"/>
                </a:cubicBezTo>
                <a:cubicBezTo>
                  <a:pt x="3087" y="1104"/>
                  <a:pt x="3087" y="1104"/>
                  <a:pt x="3087" y="1104"/>
                </a:cubicBezTo>
                <a:cubicBezTo>
                  <a:pt x="3086" y="1105"/>
                  <a:pt x="3086" y="1105"/>
                  <a:pt x="3086" y="1105"/>
                </a:cubicBezTo>
                <a:cubicBezTo>
                  <a:pt x="3087" y="1107"/>
                  <a:pt x="3087" y="1107"/>
                  <a:pt x="3087" y="1107"/>
                </a:cubicBezTo>
                <a:cubicBezTo>
                  <a:pt x="3089" y="1107"/>
                  <a:pt x="3089" y="1107"/>
                  <a:pt x="3089" y="1107"/>
                </a:cubicBezTo>
                <a:cubicBezTo>
                  <a:pt x="3090" y="1107"/>
                  <a:pt x="3090" y="1107"/>
                  <a:pt x="3090" y="1107"/>
                </a:cubicBezTo>
                <a:cubicBezTo>
                  <a:pt x="3093" y="1107"/>
                  <a:pt x="3093" y="1107"/>
                  <a:pt x="3093" y="1107"/>
                </a:cubicBezTo>
                <a:cubicBezTo>
                  <a:pt x="3093" y="1106"/>
                  <a:pt x="3093" y="1106"/>
                  <a:pt x="3093" y="1106"/>
                </a:cubicBezTo>
                <a:cubicBezTo>
                  <a:pt x="3094" y="1106"/>
                  <a:pt x="3094" y="1106"/>
                  <a:pt x="3094" y="1106"/>
                </a:cubicBezTo>
                <a:cubicBezTo>
                  <a:pt x="3095" y="1103"/>
                  <a:pt x="3095" y="1103"/>
                  <a:pt x="3095" y="1103"/>
                </a:cubicBezTo>
                <a:cubicBezTo>
                  <a:pt x="3093" y="1100"/>
                  <a:pt x="3093" y="1100"/>
                  <a:pt x="3093" y="1100"/>
                </a:cubicBezTo>
                <a:lnTo>
                  <a:pt x="3089" y="1098"/>
                </a:lnTo>
                <a:close/>
                <a:moveTo>
                  <a:pt x="3095" y="1107"/>
                </a:moveTo>
                <a:cubicBezTo>
                  <a:pt x="3097" y="1108"/>
                  <a:pt x="3097" y="1108"/>
                  <a:pt x="3097" y="1108"/>
                </a:cubicBezTo>
                <a:cubicBezTo>
                  <a:pt x="3096" y="1106"/>
                  <a:pt x="3096" y="1106"/>
                  <a:pt x="3096" y="1106"/>
                </a:cubicBezTo>
                <a:lnTo>
                  <a:pt x="3095" y="1107"/>
                </a:lnTo>
                <a:close/>
                <a:moveTo>
                  <a:pt x="3203" y="1280"/>
                </a:moveTo>
                <a:cubicBezTo>
                  <a:pt x="3203" y="1278"/>
                  <a:pt x="3203" y="1278"/>
                  <a:pt x="3203" y="1278"/>
                </a:cubicBezTo>
                <a:cubicBezTo>
                  <a:pt x="3202" y="1277"/>
                  <a:pt x="3202" y="1277"/>
                  <a:pt x="3202" y="1277"/>
                </a:cubicBezTo>
                <a:cubicBezTo>
                  <a:pt x="3199" y="1277"/>
                  <a:pt x="3199" y="1277"/>
                  <a:pt x="3199" y="1277"/>
                </a:cubicBezTo>
                <a:cubicBezTo>
                  <a:pt x="3199" y="1279"/>
                  <a:pt x="3199" y="1279"/>
                  <a:pt x="3199" y="1279"/>
                </a:cubicBezTo>
                <a:cubicBezTo>
                  <a:pt x="3201" y="1281"/>
                  <a:pt x="3201" y="1281"/>
                  <a:pt x="3201" y="1281"/>
                </a:cubicBezTo>
                <a:cubicBezTo>
                  <a:pt x="3202" y="1280"/>
                  <a:pt x="3202" y="1280"/>
                  <a:pt x="3202" y="1280"/>
                </a:cubicBezTo>
                <a:lnTo>
                  <a:pt x="3203" y="1280"/>
                </a:lnTo>
                <a:close/>
                <a:moveTo>
                  <a:pt x="1304" y="171"/>
                </a:moveTo>
                <a:cubicBezTo>
                  <a:pt x="1305" y="172"/>
                  <a:pt x="1305" y="172"/>
                  <a:pt x="1305" y="172"/>
                </a:cubicBezTo>
                <a:cubicBezTo>
                  <a:pt x="1305" y="172"/>
                  <a:pt x="1305" y="172"/>
                  <a:pt x="1305" y="172"/>
                </a:cubicBezTo>
                <a:cubicBezTo>
                  <a:pt x="1306" y="173"/>
                  <a:pt x="1306" y="173"/>
                  <a:pt x="1306" y="173"/>
                </a:cubicBezTo>
                <a:cubicBezTo>
                  <a:pt x="1308" y="171"/>
                  <a:pt x="1308" y="171"/>
                  <a:pt x="1308" y="171"/>
                </a:cubicBezTo>
                <a:cubicBezTo>
                  <a:pt x="1308" y="170"/>
                  <a:pt x="1308" y="170"/>
                  <a:pt x="1308" y="170"/>
                </a:cubicBezTo>
                <a:cubicBezTo>
                  <a:pt x="1307" y="169"/>
                  <a:pt x="1307" y="169"/>
                  <a:pt x="1307" y="169"/>
                </a:cubicBezTo>
                <a:cubicBezTo>
                  <a:pt x="1307" y="169"/>
                  <a:pt x="1307" y="169"/>
                  <a:pt x="1307" y="169"/>
                </a:cubicBezTo>
                <a:cubicBezTo>
                  <a:pt x="1309" y="168"/>
                  <a:pt x="1309" y="168"/>
                  <a:pt x="1309" y="168"/>
                </a:cubicBezTo>
                <a:cubicBezTo>
                  <a:pt x="1309" y="169"/>
                  <a:pt x="1309" y="169"/>
                  <a:pt x="1309" y="169"/>
                </a:cubicBezTo>
                <a:cubicBezTo>
                  <a:pt x="1310" y="170"/>
                  <a:pt x="1310" y="170"/>
                  <a:pt x="1310" y="170"/>
                </a:cubicBezTo>
                <a:cubicBezTo>
                  <a:pt x="1311" y="168"/>
                  <a:pt x="1311" y="168"/>
                  <a:pt x="1311" y="168"/>
                </a:cubicBezTo>
                <a:cubicBezTo>
                  <a:pt x="1311" y="167"/>
                  <a:pt x="1311" y="167"/>
                  <a:pt x="1311" y="167"/>
                </a:cubicBezTo>
                <a:cubicBezTo>
                  <a:pt x="1311" y="165"/>
                  <a:pt x="1311" y="165"/>
                  <a:pt x="1311" y="165"/>
                </a:cubicBezTo>
                <a:cubicBezTo>
                  <a:pt x="1312" y="165"/>
                  <a:pt x="1312" y="165"/>
                  <a:pt x="1312" y="165"/>
                </a:cubicBezTo>
                <a:cubicBezTo>
                  <a:pt x="1312" y="166"/>
                  <a:pt x="1312" y="166"/>
                  <a:pt x="1312" y="166"/>
                </a:cubicBezTo>
                <a:cubicBezTo>
                  <a:pt x="1313" y="167"/>
                  <a:pt x="1313" y="167"/>
                  <a:pt x="1313" y="167"/>
                </a:cubicBezTo>
                <a:cubicBezTo>
                  <a:pt x="1314" y="166"/>
                  <a:pt x="1314" y="166"/>
                  <a:pt x="1314" y="166"/>
                </a:cubicBezTo>
                <a:cubicBezTo>
                  <a:pt x="1315" y="165"/>
                  <a:pt x="1315" y="165"/>
                  <a:pt x="1315" y="165"/>
                </a:cubicBezTo>
                <a:cubicBezTo>
                  <a:pt x="1316" y="165"/>
                  <a:pt x="1316" y="165"/>
                  <a:pt x="1316" y="165"/>
                </a:cubicBezTo>
                <a:cubicBezTo>
                  <a:pt x="1316" y="164"/>
                  <a:pt x="1316" y="164"/>
                  <a:pt x="1316" y="164"/>
                </a:cubicBezTo>
                <a:cubicBezTo>
                  <a:pt x="1316" y="163"/>
                  <a:pt x="1316" y="163"/>
                  <a:pt x="1316" y="163"/>
                </a:cubicBezTo>
                <a:cubicBezTo>
                  <a:pt x="1316" y="163"/>
                  <a:pt x="1316" y="163"/>
                  <a:pt x="1316" y="163"/>
                </a:cubicBezTo>
                <a:cubicBezTo>
                  <a:pt x="1317" y="163"/>
                  <a:pt x="1317" y="163"/>
                  <a:pt x="1317" y="163"/>
                </a:cubicBezTo>
                <a:cubicBezTo>
                  <a:pt x="1318" y="164"/>
                  <a:pt x="1318" y="164"/>
                  <a:pt x="1318" y="164"/>
                </a:cubicBezTo>
                <a:cubicBezTo>
                  <a:pt x="1319" y="163"/>
                  <a:pt x="1319" y="163"/>
                  <a:pt x="1319" y="163"/>
                </a:cubicBezTo>
                <a:cubicBezTo>
                  <a:pt x="1320" y="163"/>
                  <a:pt x="1320" y="163"/>
                  <a:pt x="1320" y="163"/>
                </a:cubicBezTo>
                <a:cubicBezTo>
                  <a:pt x="1320" y="162"/>
                  <a:pt x="1320" y="162"/>
                  <a:pt x="1320" y="162"/>
                </a:cubicBezTo>
                <a:cubicBezTo>
                  <a:pt x="1320" y="161"/>
                  <a:pt x="1320" y="161"/>
                  <a:pt x="1320" y="161"/>
                </a:cubicBezTo>
                <a:cubicBezTo>
                  <a:pt x="1319" y="160"/>
                  <a:pt x="1319" y="160"/>
                  <a:pt x="1319" y="160"/>
                </a:cubicBezTo>
                <a:cubicBezTo>
                  <a:pt x="1320" y="160"/>
                  <a:pt x="1320" y="160"/>
                  <a:pt x="1320" y="160"/>
                </a:cubicBezTo>
                <a:cubicBezTo>
                  <a:pt x="1322" y="160"/>
                  <a:pt x="1322" y="160"/>
                  <a:pt x="1322" y="160"/>
                </a:cubicBezTo>
                <a:cubicBezTo>
                  <a:pt x="1322" y="160"/>
                  <a:pt x="1322" y="160"/>
                  <a:pt x="1322" y="160"/>
                </a:cubicBezTo>
                <a:cubicBezTo>
                  <a:pt x="1323" y="159"/>
                  <a:pt x="1323" y="159"/>
                  <a:pt x="1323" y="159"/>
                </a:cubicBezTo>
                <a:cubicBezTo>
                  <a:pt x="1323" y="158"/>
                  <a:pt x="1323" y="158"/>
                  <a:pt x="1323" y="158"/>
                </a:cubicBezTo>
                <a:cubicBezTo>
                  <a:pt x="1324" y="159"/>
                  <a:pt x="1324" y="159"/>
                  <a:pt x="1324" y="159"/>
                </a:cubicBezTo>
                <a:cubicBezTo>
                  <a:pt x="1325" y="159"/>
                  <a:pt x="1325" y="159"/>
                  <a:pt x="1325" y="159"/>
                </a:cubicBezTo>
                <a:cubicBezTo>
                  <a:pt x="1326" y="160"/>
                  <a:pt x="1326" y="160"/>
                  <a:pt x="1326" y="160"/>
                </a:cubicBezTo>
                <a:cubicBezTo>
                  <a:pt x="1326" y="159"/>
                  <a:pt x="1326" y="159"/>
                  <a:pt x="1326" y="159"/>
                </a:cubicBezTo>
                <a:cubicBezTo>
                  <a:pt x="1326" y="158"/>
                  <a:pt x="1326" y="158"/>
                  <a:pt x="1326" y="158"/>
                </a:cubicBezTo>
                <a:cubicBezTo>
                  <a:pt x="1325" y="157"/>
                  <a:pt x="1325" y="157"/>
                  <a:pt x="1325" y="157"/>
                </a:cubicBezTo>
                <a:cubicBezTo>
                  <a:pt x="1325" y="157"/>
                  <a:pt x="1325" y="157"/>
                  <a:pt x="1325" y="157"/>
                </a:cubicBezTo>
                <a:cubicBezTo>
                  <a:pt x="1327" y="156"/>
                  <a:pt x="1327" y="156"/>
                  <a:pt x="1327" y="156"/>
                </a:cubicBezTo>
                <a:cubicBezTo>
                  <a:pt x="1328" y="156"/>
                  <a:pt x="1328" y="156"/>
                  <a:pt x="1328" y="156"/>
                </a:cubicBezTo>
                <a:cubicBezTo>
                  <a:pt x="1330" y="156"/>
                  <a:pt x="1330" y="156"/>
                  <a:pt x="1330" y="156"/>
                </a:cubicBezTo>
                <a:cubicBezTo>
                  <a:pt x="1332" y="154"/>
                  <a:pt x="1332" y="154"/>
                  <a:pt x="1332" y="154"/>
                </a:cubicBezTo>
                <a:cubicBezTo>
                  <a:pt x="1333" y="153"/>
                  <a:pt x="1333" y="153"/>
                  <a:pt x="1333" y="153"/>
                </a:cubicBezTo>
                <a:cubicBezTo>
                  <a:pt x="1333" y="152"/>
                  <a:pt x="1333" y="152"/>
                  <a:pt x="1333" y="152"/>
                </a:cubicBezTo>
                <a:cubicBezTo>
                  <a:pt x="1330" y="153"/>
                  <a:pt x="1330" y="153"/>
                  <a:pt x="1330" y="153"/>
                </a:cubicBezTo>
                <a:cubicBezTo>
                  <a:pt x="1328" y="153"/>
                  <a:pt x="1328" y="153"/>
                  <a:pt x="1328" y="153"/>
                </a:cubicBezTo>
                <a:cubicBezTo>
                  <a:pt x="1327" y="152"/>
                  <a:pt x="1327" y="152"/>
                  <a:pt x="1327" y="152"/>
                </a:cubicBezTo>
                <a:cubicBezTo>
                  <a:pt x="1324" y="152"/>
                  <a:pt x="1324" y="152"/>
                  <a:pt x="1324" y="152"/>
                </a:cubicBezTo>
                <a:cubicBezTo>
                  <a:pt x="1323" y="152"/>
                  <a:pt x="1323" y="152"/>
                  <a:pt x="1323" y="152"/>
                </a:cubicBezTo>
                <a:cubicBezTo>
                  <a:pt x="1320" y="152"/>
                  <a:pt x="1320" y="152"/>
                  <a:pt x="1320" y="152"/>
                </a:cubicBezTo>
                <a:cubicBezTo>
                  <a:pt x="1318" y="151"/>
                  <a:pt x="1318" y="151"/>
                  <a:pt x="1318" y="151"/>
                </a:cubicBezTo>
                <a:cubicBezTo>
                  <a:pt x="1315" y="150"/>
                  <a:pt x="1315" y="150"/>
                  <a:pt x="1315" y="150"/>
                </a:cubicBezTo>
                <a:cubicBezTo>
                  <a:pt x="1313" y="148"/>
                  <a:pt x="1313" y="148"/>
                  <a:pt x="1313" y="148"/>
                </a:cubicBezTo>
                <a:cubicBezTo>
                  <a:pt x="1312" y="147"/>
                  <a:pt x="1312" y="147"/>
                  <a:pt x="1312" y="147"/>
                </a:cubicBezTo>
                <a:cubicBezTo>
                  <a:pt x="1311" y="147"/>
                  <a:pt x="1311" y="147"/>
                  <a:pt x="1311" y="147"/>
                </a:cubicBezTo>
                <a:cubicBezTo>
                  <a:pt x="1310" y="148"/>
                  <a:pt x="1310" y="148"/>
                  <a:pt x="1310" y="148"/>
                </a:cubicBezTo>
                <a:cubicBezTo>
                  <a:pt x="1309" y="148"/>
                  <a:pt x="1309" y="148"/>
                  <a:pt x="1309" y="148"/>
                </a:cubicBezTo>
                <a:cubicBezTo>
                  <a:pt x="1310" y="147"/>
                  <a:pt x="1310" y="147"/>
                  <a:pt x="1310" y="147"/>
                </a:cubicBezTo>
                <a:cubicBezTo>
                  <a:pt x="1310" y="146"/>
                  <a:pt x="1310" y="146"/>
                  <a:pt x="1310" y="146"/>
                </a:cubicBezTo>
                <a:cubicBezTo>
                  <a:pt x="1309" y="147"/>
                  <a:pt x="1309" y="147"/>
                  <a:pt x="1309" y="147"/>
                </a:cubicBezTo>
                <a:cubicBezTo>
                  <a:pt x="1306" y="149"/>
                  <a:pt x="1306" y="149"/>
                  <a:pt x="1306" y="149"/>
                </a:cubicBezTo>
                <a:cubicBezTo>
                  <a:pt x="1304" y="150"/>
                  <a:pt x="1304" y="150"/>
                  <a:pt x="1304" y="150"/>
                </a:cubicBezTo>
                <a:cubicBezTo>
                  <a:pt x="1302" y="150"/>
                  <a:pt x="1302" y="150"/>
                  <a:pt x="1302" y="150"/>
                </a:cubicBezTo>
                <a:cubicBezTo>
                  <a:pt x="1301" y="150"/>
                  <a:pt x="1301" y="150"/>
                  <a:pt x="1301" y="150"/>
                </a:cubicBezTo>
                <a:cubicBezTo>
                  <a:pt x="1300" y="150"/>
                  <a:pt x="1300" y="150"/>
                  <a:pt x="1300" y="150"/>
                </a:cubicBezTo>
                <a:cubicBezTo>
                  <a:pt x="1299" y="149"/>
                  <a:pt x="1299" y="149"/>
                  <a:pt x="1299" y="149"/>
                </a:cubicBezTo>
                <a:cubicBezTo>
                  <a:pt x="1299" y="149"/>
                  <a:pt x="1298" y="150"/>
                  <a:pt x="1297" y="150"/>
                </a:cubicBezTo>
                <a:cubicBezTo>
                  <a:pt x="1297" y="150"/>
                  <a:pt x="1296" y="150"/>
                  <a:pt x="1296" y="150"/>
                </a:cubicBezTo>
                <a:cubicBezTo>
                  <a:pt x="1293" y="152"/>
                  <a:pt x="1293" y="152"/>
                  <a:pt x="1293" y="152"/>
                </a:cubicBezTo>
                <a:cubicBezTo>
                  <a:pt x="1293" y="153"/>
                  <a:pt x="1293" y="153"/>
                  <a:pt x="1293" y="153"/>
                </a:cubicBezTo>
                <a:cubicBezTo>
                  <a:pt x="1292" y="152"/>
                  <a:pt x="1292" y="152"/>
                  <a:pt x="1292" y="152"/>
                </a:cubicBezTo>
                <a:cubicBezTo>
                  <a:pt x="1291" y="152"/>
                  <a:pt x="1291" y="152"/>
                  <a:pt x="1291" y="152"/>
                </a:cubicBezTo>
                <a:cubicBezTo>
                  <a:pt x="1288" y="152"/>
                  <a:pt x="1288" y="152"/>
                  <a:pt x="1288" y="152"/>
                </a:cubicBezTo>
                <a:cubicBezTo>
                  <a:pt x="1286" y="151"/>
                  <a:pt x="1286" y="151"/>
                  <a:pt x="1286" y="151"/>
                </a:cubicBezTo>
                <a:cubicBezTo>
                  <a:pt x="1285" y="151"/>
                  <a:pt x="1285" y="151"/>
                  <a:pt x="1285" y="151"/>
                </a:cubicBezTo>
                <a:cubicBezTo>
                  <a:pt x="1285" y="151"/>
                  <a:pt x="1285" y="151"/>
                  <a:pt x="1285" y="151"/>
                </a:cubicBezTo>
                <a:cubicBezTo>
                  <a:pt x="1286" y="149"/>
                  <a:pt x="1286" y="149"/>
                  <a:pt x="1286" y="149"/>
                </a:cubicBezTo>
                <a:cubicBezTo>
                  <a:pt x="1287" y="149"/>
                  <a:pt x="1287" y="149"/>
                  <a:pt x="1287" y="149"/>
                </a:cubicBezTo>
                <a:cubicBezTo>
                  <a:pt x="1289" y="150"/>
                  <a:pt x="1289" y="150"/>
                  <a:pt x="1289" y="150"/>
                </a:cubicBezTo>
                <a:cubicBezTo>
                  <a:pt x="1290" y="151"/>
                  <a:pt x="1290" y="151"/>
                  <a:pt x="1290" y="151"/>
                </a:cubicBezTo>
                <a:cubicBezTo>
                  <a:pt x="1291" y="150"/>
                  <a:pt x="1291" y="150"/>
                  <a:pt x="1291" y="150"/>
                </a:cubicBezTo>
                <a:cubicBezTo>
                  <a:pt x="1294" y="150"/>
                  <a:pt x="1294" y="150"/>
                  <a:pt x="1294" y="150"/>
                </a:cubicBezTo>
                <a:cubicBezTo>
                  <a:pt x="1295" y="148"/>
                  <a:pt x="1295" y="148"/>
                  <a:pt x="1295" y="148"/>
                </a:cubicBezTo>
                <a:cubicBezTo>
                  <a:pt x="1297" y="148"/>
                  <a:pt x="1297" y="148"/>
                  <a:pt x="1297" y="148"/>
                </a:cubicBezTo>
                <a:cubicBezTo>
                  <a:pt x="1299" y="149"/>
                  <a:pt x="1299" y="149"/>
                  <a:pt x="1299" y="149"/>
                </a:cubicBezTo>
                <a:cubicBezTo>
                  <a:pt x="1301" y="148"/>
                  <a:pt x="1301" y="148"/>
                  <a:pt x="1301" y="148"/>
                </a:cubicBezTo>
                <a:cubicBezTo>
                  <a:pt x="1301" y="147"/>
                  <a:pt x="1301" y="147"/>
                  <a:pt x="1301" y="147"/>
                </a:cubicBezTo>
                <a:cubicBezTo>
                  <a:pt x="1301" y="146"/>
                  <a:pt x="1301" y="146"/>
                  <a:pt x="1301" y="146"/>
                </a:cubicBezTo>
                <a:cubicBezTo>
                  <a:pt x="1300" y="146"/>
                  <a:pt x="1300" y="146"/>
                  <a:pt x="1300" y="146"/>
                </a:cubicBezTo>
                <a:cubicBezTo>
                  <a:pt x="1299" y="146"/>
                  <a:pt x="1299" y="146"/>
                  <a:pt x="1299" y="146"/>
                </a:cubicBezTo>
                <a:cubicBezTo>
                  <a:pt x="1298" y="145"/>
                  <a:pt x="1298" y="145"/>
                  <a:pt x="1298" y="145"/>
                </a:cubicBezTo>
                <a:cubicBezTo>
                  <a:pt x="1297" y="146"/>
                  <a:pt x="1297" y="146"/>
                  <a:pt x="1297" y="146"/>
                </a:cubicBezTo>
                <a:cubicBezTo>
                  <a:pt x="1295" y="145"/>
                  <a:pt x="1295" y="145"/>
                  <a:pt x="1295" y="145"/>
                </a:cubicBezTo>
                <a:cubicBezTo>
                  <a:pt x="1292" y="145"/>
                  <a:pt x="1292" y="145"/>
                  <a:pt x="1292" y="145"/>
                </a:cubicBezTo>
                <a:cubicBezTo>
                  <a:pt x="1290" y="146"/>
                  <a:pt x="1290" y="146"/>
                  <a:pt x="1290" y="146"/>
                </a:cubicBezTo>
                <a:cubicBezTo>
                  <a:pt x="1289" y="146"/>
                  <a:pt x="1289" y="146"/>
                  <a:pt x="1289" y="146"/>
                </a:cubicBezTo>
                <a:cubicBezTo>
                  <a:pt x="1286" y="145"/>
                  <a:pt x="1286" y="145"/>
                  <a:pt x="1286" y="145"/>
                </a:cubicBezTo>
                <a:cubicBezTo>
                  <a:pt x="1286" y="144"/>
                  <a:pt x="1286" y="144"/>
                  <a:pt x="1286" y="144"/>
                </a:cubicBezTo>
                <a:cubicBezTo>
                  <a:pt x="1285" y="144"/>
                  <a:pt x="1285" y="144"/>
                  <a:pt x="1285" y="144"/>
                </a:cubicBezTo>
                <a:cubicBezTo>
                  <a:pt x="1283" y="144"/>
                  <a:pt x="1283" y="144"/>
                  <a:pt x="1283" y="144"/>
                </a:cubicBezTo>
                <a:cubicBezTo>
                  <a:pt x="1281" y="144"/>
                  <a:pt x="1281" y="144"/>
                  <a:pt x="1281" y="144"/>
                </a:cubicBezTo>
                <a:cubicBezTo>
                  <a:pt x="1277" y="146"/>
                  <a:pt x="1277" y="146"/>
                  <a:pt x="1277" y="146"/>
                </a:cubicBezTo>
                <a:cubicBezTo>
                  <a:pt x="1277" y="146"/>
                  <a:pt x="1277" y="146"/>
                  <a:pt x="1277" y="146"/>
                </a:cubicBezTo>
                <a:cubicBezTo>
                  <a:pt x="1278" y="144"/>
                  <a:pt x="1278" y="144"/>
                  <a:pt x="1278" y="144"/>
                </a:cubicBezTo>
                <a:cubicBezTo>
                  <a:pt x="1279" y="143"/>
                  <a:pt x="1279" y="143"/>
                  <a:pt x="1279" y="143"/>
                </a:cubicBezTo>
                <a:cubicBezTo>
                  <a:pt x="1280" y="143"/>
                  <a:pt x="1280" y="143"/>
                  <a:pt x="1280" y="143"/>
                </a:cubicBezTo>
                <a:cubicBezTo>
                  <a:pt x="1282" y="143"/>
                  <a:pt x="1282" y="143"/>
                  <a:pt x="1282" y="143"/>
                </a:cubicBezTo>
                <a:cubicBezTo>
                  <a:pt x="1286" y="141"/>
                  <a:pt x="1286" y="141"/>
                  <a:pt x="1286" y="141"/>
                </a:cubicBezTo>
                <a:cubicBezTo>
                  <a:pt x="1287" y="141"/>
                  <a:pt x="1287" y="141"/>
                  <a:pt x="1287" y="141"/>
                </a:cubicBezTo>
                <a:cubicBezTo>
                  <a:pt x="1287" y="139"/>
                  <a:pt x="1287" y="139"/>
                  <a:pt x="1287" y="139"/>
                </a:cubicBezTo>
                <a:cubicBezTo>
                  <a:pt x="1288" y="138"/>
                  <a:pt x="1288" y="138"/>
                  <a:pt x="1288" y="138"/>
                </a:cubicBezTo>
                <a:cubicBezTo>
                  <a:pt x="1289" y="138"/>
                  <a:pt x="1289" y="138"/>
                  <a:pt x="1289" y="138"/>
                </a:cubicBezTo>
                <a:cubicBezTo>
                  <a:pt x="1289" y="138"/>
                  <a:pt x="1289" y="138"/>
                  <a:pt x="1289" y="138"/>
                </a:cubicBezTo>
                <a:cubicBezTo>
                  <a:pt x="1290" y="137"/>
                  <a:pt x="1290" y="137"/>
                  <a:pt x="1290" y="137"/>
                </a:cubicBezTo>
                <a:cubicBezTo>
                  <a:pt x="1290" y="136"/>
                  <a:pt x="1290" y="136"/>
                  <a:pt x="1290" y="136"/>
                </a:cubicBezTo>
                <a:cubicBezTo>
                  <a:pt x="1289" y="135"/>
                  <a:pt x="1289" y="135"/>
                  <a:pt x="1289" y="135"/>
                </a:cubicBezTo>
                <a:cubicBezTo>
                  <a:pt x="1288" y="134"/>
                  <a:pt x="1288" y="134"/>
                  <a:pt x="1288" y="134"/>
                </a:cubicBezTo>
                <a:cubicBezTo>
                  <a:pt x="1287" y="134"/>
                  <a:pt x="1287" y="134"/>
                  <a:pt x="1287" y="134"/>
                </a:cubicBezTo>
                <a:cubicBezTo>
                  <a:pt x="1289" y="133"/>
                  <a:pt x="1289" y="133"/>
                  <a:pt x="1289" y="133"/>
                </a:cubicBezTo>
                <a:cubicBezTo>
                  <a:pt x="1289" y="133"/>
                  <a:pt x="1289" y="133"/>
                  <a:pt x="1289" y="133"/>
                </a:cubicBezTo>
                <a:cubicBezTo>
                  <a:pt x="1290" y="134"/>
                  <a:pt x="1290" y="134"/>
                  <a:pt x="1290" y="134"/>
                </a:cubicBezTo>
                <a:cubicBezTo>
                  <a:pt x="1291" y="134"/>
                  <a:pt x="1291" y="134"/>
                  <a:pt x="1291" y="134"/>
                </a:cubicBezTo>
                <a:cubicBezTo>
                  <a:pt x="1292" y="133"/>
                  <a:pt x="1292" y="133"/>
                  <a:pt x="1292" y="133"/>
                </a:cubicBezTo>
                <a:cubicBezTo>
                  <a:pt x="1291" y="132"/>
                  <a:pt x="1291" y="132"/>
                  <a:pt x="1291" y="132"/>
                </a:cubicBezTo>
                <a:cubicBezTo>
                  <a:pt x="1291" y="132"/>
                  <a:pt x="1291" y="132"/>
                  <a:pt x="1291" y="132"/>
                </a:cubicBezTo>
                <a:cubicBezTo>
                  <a:pt x="1291" y="130"/>
                  <a:pt x="1291" y="130"/>
                  <a:pt x="1291" y="130"/>
                </a:cubicBezTo>
                <a:cubicBezTo>
                  <a:pt x="1292" y="130"/>
                  <a:pt x="1292" y="130"/>
                  <a:pt x="1292" y="130"/>
                </a:cubicBezTo>
                <a:cubicBezTo>
                  <a:pt x="1293" y="131"/>
                  <a:pt x="1293" y="131"/>
                  <a:pt x="1293" y="131"/>
                </a:cubicBezTo>
                <a:cubicBezTo>
                  <a:pt x="1293" y="132"/>
                  <a:pt x="1293" y="132"/>
                  <a:pt x="1293" y="132"/>
                </a:cubicBezTo>
                <a:cubicBezTo>
                  <a:pt x="1294" y="134"/>
                  <a:pt x="1294" y="134"/>
                  <a:pt x="1294" y="134"/>
                </a:cubicBezTo>
                <a:cubicBezTo>
                  <a:pt x="1295" y="135"/>
                  <a:pt x="1295" y="135"/>
                  <a:pt x="1295" y="135"/>
                </a:cubicBezTo>
                <a:cubicBezTo>
                  <a:pt x="1297" y="134"/>
                  <a:pt x="1297" y="134"/>
                  <a:pt x="1297" y="134"/>
                </a:cubicBezTo>
                <a:cubicBezTo>
                  <a:pt x="1299" y="134"/>
                  <a:pt x="1299" y="134"/>
                  <a:pt x="1299" y="134"/>
                </a:cubicBezTo>
                <a:cubicBezTo>
                  <a:pt x="1304" y="132"/>
                  <a:pt x="1304" y="132"/>
                  <a:pt x="1304" y="132"/>
                </a:cubicBezTo>
                <a:cubicBezTo>
                  <a:pt x="1306" y="132"/>
                  <a:pt x="1306" y="132"/>
                  <a:pt x="1306" y="132"/>
                </a:cubicBezTo>
                <a:cubicBezTo>
                  <a:pt x="1307" y="131"/>
                  <a:pt x="1307" y="131"/>
                  <a:pt x="1307" y="131"/>
                </a:cubicBezTo>
                <a:cubicBezTo>
                  <a:pt x="1308" y="130"/>
                  <a:pt x="1308" y="130"/>
                  <a:pt x="1308" y="130"/>
                </a:cubicBezTo>
                <a:cubicBezTo>
                  <a:pt x="1309" y="129"/>
                  <a:pt x="1309" y="129"/>
                  <a:pt x="1309" y="129"/>
                </a:cubicBezTo>
                <a:cubicBezTo>
                  <a:pt x="1310" y="128"/>
                  <a:pt x="1310" y="128"/>
                  <a:pt x="1310" y="128"/>
                </a:cubicBezTo>
                <a:cubicBezTo>
                  <a:pt x="1309" y="126"/>
                  <a:pt x="1309" y="126"/>
                  <a:pt x="1309" y="126"/>
                </a:cubicBezTo>
                <a:cubicBezTo>
                  <a:pt x="1308" y="124"/>
                  <a:pt x="1308" y="124"/>
                  <a:pt x="1308" y="124"/>
                </a:cubicBezTo>
                <a:cubicBezTo>
                  <a:pt x="1307" y="124"/>
                  <a:pt x="1307" y="124"/>
                  <a:pt x="1307" y="124"/>
                </a:cubicBezTo>
                <a:cubicBezTo>
                  <a:pt x="1306" y="123"/>
                  <a:pt x="1306" y="123"/>
                  <a:pt x="1306" y="123"/>
                </a:cubicBezTo>
                <a:cubicBezTo>
                  <a:pt x="1301" y="122"/>
                  <a:pt x="1301" y="122"/>
                  <a:pt x="1301" y="122"/>
                </a:cubicBezTo>
                <a:cubicBezTo>
                  <a:pt x="1300" y="122"/>
                  <a:pt x="1300" y="122"/>
                  <a:pt x="1300" y="122"/>
                </a:cubicBezTo>
                <a:cubicBezTo>
                  <a:pt x="1298" y="123"/>
                  <a:pt x="1298" y="123"/>
                  <a:pt x="1298" y="123"/>
                </a:cubicBezTo>
                <a:cubicBezTo>
                  <a:pt x="1298" y="122"/>
                  <a:pt x="1298" y="122"/>
                  <a:pt x="1298" y="122"/>
                </a:cubicBezTo>
                <a:cubicBezTo>
                  <a:pt x="1298" y="121"/>
                  <a:pt x="1298" y="121"/>
                  <a:pt x="1298" y="121"/>
                </a:cubicBezTo>
                <a:cubicBezTo>
                  <a:pt x="1297" y="120"/>
                  <a:pt x="1297" y="120"/>
                  <a:pt x="1297" y="120"/>
                </a:cubicBezTo>
                <a:cubicBezTo>
                  <a:pt x="1295" y="121"/>
                  <a:pt x="1295" y="121"/>
                  <a:pt x="1295" y="121"/>
                </a:cubicBezTo>
                <a:cubicBezTo>
                  <a:pt x="1294" y="121"/>
                  <a:pt x="1294" y="121"/>
                  <a:pt x="1294" y="121"/>
                </a:cubicBezTo>
                <a:cubicBezTo>
                  <a:pt x="1292" y="122"/>
                  <a:pt x="1292" y="122"/>
                  <a:pt x="1292" y="122"/>
                </a:cubicBezTo>
                <a:cubicBezTo>
                  <a:pt x="1291" y="123"/>
                  <a:pt x="1291" y="123"/>
                  <a:pt x="1291" y="123"/>
                </a:cubicBezTo>
                <a:cubicBezTo>
                  <a:pt x="1289" y="122"/>
                  <a:pt x="1289" y="122"/>
                  <a:pt x="1289" y="122"/>
                </a:cubicBezTo>
                <a:cubicBezTo>
                  <a:pt x="1289" y="121"/>
                  <a:pt x="1289" y="121"/>
                  <a:pt x="1289" y="121"/>
                </a:cubicBezTo>
                <a:cubicBezTo>
                  <a:pt x="1290" y="122"/>
                  <a:pt x="1290" y="122"/>
                  <a:pt x="1290" y="122"/>
                </a:cubicBezTo>
                <a:cubicBezTo>
                  <a:pt x="1292" y="121"/>
                  <a:pt x="1292" y="121"/>
                  <a:pt x="1292" y="121"/>
                </a:cubicBezTo>
                <a:cubicBezTo>
                  <a:pt x="1293" y="120"/>
                  <a:pt x="1293" y="120"/>
                  <a:pt x="1293" y="120"/>
                </a:cubicBezTo>
                <a:cubicBezTo>
                  <a:pt x="1295" y="120"/>
                  <a:pt x="1295" y="120"/>
                  <a:pt x="1295" y="120"/>
                </a:cubicBezTo>
                <a:cubicBezTo>
                  <a:pt x="1295" y="119"/>
                  <a:pt x="1295" y="119"/>
                  <a:pt x="1295" y="119"/>
                </a:cubicBezTo>
                <a:cubicBezTo>
                  <a:pt x="1294" y="118"/>
                  <a:pt x="1294" y="118"/>
                  <a:pt x="1294" y="118"/>
                </a:cubicBezTo>
                <a:cubicBezTo>
                  <a:pt x="1293" y="116"/>
                  <a:pt x="1293" y="116"/>
                  <a:pt x="1293" y="116"/>
                </a:cubicBezTo>
                <a:cubicBezTo>
                  <a:pt x="1292" y="115"/>
                  <a:pt x="1292" y="115"/>
                  <a:pt x="1292" y="115"/>
                </a:cubicBezTo>
                <a:cubicBezTo>
                  <a:pt x="1290" y="115"/>
                  <a:pt x="1290" y="115"/>
                  <a:pt x="1290" y="115"/>
                </a:cubicBezTo>
                <a:cubicBezTo>
                  <a:pt x="1291" y="114"/>
                  <a:pt x="1291" y="114"/>
                  <a:pt x="1291" y="114"/>
                </a:cubicBezTo>
                <a:cubicBezTo>
                  <a:pt x="1293" y="113"/>
                  <a:pt x="1293" y="113"/>
                  <a:pt x="1293" y="113"/>
                </a:cubicBezTo>
                <a:cubicBezTo>
                  <a:pt x="1293" y="113"/>
                  <a:pt x="1293" y="113"/>
                  <a:pt x="1293" y="113"/>
                </a:cubicBezTo>
                <a:cubicBezTo>
                  <a:pt x="1293" y="111"/>
                  <a:pt x="1293" y="111"/>
                  <a:pt x="1293" y="111"/>
                </a:cubicBezTo>
                <a:cubicBezTo>
                  <a:pt x="1293" y="110"/>
                  <a:pt x="1293" y="110"/>
                  <a:pt x="1293" y="110"/>
                </a:cubicBezTo>
                <a:cubicBezTo>
                  <a:pt x="1294" y="111"/>
                  <a:pt x="1294" y="111"/>
                  <a:pt x="1294" y="111"/>
                </a:cubicBezTo>
                <a:cubicBezTo>
                  <a:pt x="1295" y="113"/>
                  <a:pt x="1295" y="113"/>
                  <a:pt x="1295" y="113"/>
                </a:cubicBezTo>
                <a:cubicBezTo>
                  <a:pt x="1296" y="115"/>
                  <a:pt x="1296" y="115"/>
                  <a:pt x="1296" y="115"/>
                </a:cubicBezTo>
                <a:cubicBezTo>
                  <a:pt x="1296" y="116"/>
                  <a:pt x="1296" y="116"/>
                  <a:pt x="1296" y="116"/>
                </a:cubicBezTo>
                <a:cubicBezTo>
                  <a:pt x="1298" y="118"/>
                  <a:pt x="1298" y="118"/>
                  <a:pt x="1298" y="118"/>
                </a:cubicBezTo>
                <a:cubicBezTo>
                  <a:pt x="1298" y="119"/>
                  <a:pt x="1298" y="119"/>
                  <a:pt x="1298" y="119"/>
                </a:cubicBezTo>
                <a:cubicBezTo>
                  <a:pt x="1300" y="120"/>
                  <a:pt x="1300" y="120"/>
                  <a:pt x="1300" y="120"/>
                </a:cubicBezTo>
                <a:cubicBezTo>
                  <a:pt x="1300" y="121"/>
                  <a:pt x="1300" y="121"/>
                  <a:pt x="1300" y="121"/>
                </a:cubicBezTo>
                <a:cubicBezTo>
                  <a:pt x="1302" y="120"/>
                  <a:pt x="1302" y="120"/>
                  <a:pt x="1302" y="120"/>
                </a:cubicBezTo>
                <a:cubicBezTo>
                  <a:pt x="1302" y="120"/>
                  <a:pt x="1302" y="120"/>
                  <a:pt x="1302" y="120"/>
                </a:cubicBezTo>
                <a:cubicBezTo>
                  <a:pt x="1304" y="120"/>
                  <a:pt x="1304" y="120"/>
                  <a:pt x="1304" y="120"/>
                </a:cubicBezTo>
                <a:cubicBezTo>
                  <a:pt x="1306" y="120"/>
                  <a:pt x="1306" y="120"/>
                  <a:pt x="1306" y="120"/>
                </a:cubicBezTo>
                <a:cubicBezTo>
                  <a:pt x="1307" y="119"/>
                  <a:pt x="1307" y="119"/>
                  <a:pt x="1307" y="119"/>
                </a:cubicBezTo>
                <a:cubicBezTo>
                  <a:pt x="1308" y="120"/>
                  <a:pt x="1308" y="120"/>
                  <a:pt x="1308" y="120"/>
                </a:cubicBezTo>
                <a:cubicBezTo>
                  <a:pt x="1308" y="122"/>
                  <a:pt x="1308" y="122"/>
                  <a:pt x="1308" y="122"/>
                </a:cubicBezTo>
                <a:cubicBezTo>
                  <a:pt x="1311" y="126"/>
                  <a:pt x="1311" y="126"/>
                  <a:pt x="1311" y="126"/>
                </a:cubicBezTo>
                <a:cubicBezTo>
                  <a:pt x="1313" y="127"/>
                  <a:pt x="1313" y="127"/>
                  <a:pt x="1313" y="127"/>
                </a:cubicBezTo>
                <a:cubicBezTo>
                  <a:pt x="1313" y="126"/>
                  <a:pt x="1313" y="126"/>
                  <a:pt x="1313" y="126"/>
                </a:cubicBezTo>
                <a:cubicBezTo>
                  <a:pt x="1315" y="126"/>
                  <a:pt x="1315" y="126"/>
                  <a:pt x="1315" y="126"/>
                </a:cubicBezTo>
                <a:cubicBezTo>
                  <a:pt x="1316" y="126"/>
                  <a:pt x="1316" y="126"/>
                  <a:pt x="1316" y="126"/>
                </a:cubicBezTo>
                <a:cubicBezTo>
                  <a:pt x="1316" y="127"/>
                  <a:pt x="1316" y="127"/>
                  <a:pt x="1316" y="127"/>
                </a:cubicBezTo>
                <a:cubicBezTo>
                  <a:pt x="1316" y="128"/>
                  <a:pt x="1316" y="128"/>
                  <a:pt x="1316" y="128"/>
                </a:cubicBezTo>
                <a:cubicBezTo>
                  <a:pt x="1315" y="130"/>
                  <a:pt x="1315" y="130"/>
                  <a:pt x="1315" y="130"/>
                </a:cubicBezTo>
                <a:cubicBezTo>
                  <a:pt x="1316" y="132"/>
                  <a:pt x="1316" y="132"/>
                  <a:pt x="1316" y="132"/>
                </a:cubicBezTo>
                <a:cubicBezTo>
                  <a:pt x="1317" y="134"/>
                  <a:pt x="1317" y="134"/>
                  <a:pt x="1317" y="134"/>
                </a:cubicBezTo>
                <a:cubicBezTo>
                  <a:pt x="1318" y="135"/>
                  <a:pt x="1318" y="135"/>
                  <a:pt x="1318" y="135"/>
                </a:cubicBezTo>
                <a:cubicBezTo>
                  <a:pt x="1318" y="138"/>
                  <a:pt x="1318" y="138"/>
                  <a:pt x="1318" y="138"/>
                </a:cubicBezTo>
                <a:cubicBezTo>
                  <a:pt x="1319" y="140"/>
                  <a:pt x="1319" y="140"/>
                  <a:pt x="1319" y="140"/>
                </a:cubicBezTo>
                <a:cubicBezTo>
                  <a:pt x="1320" y="141"/>
                  <a:pt x="1320" y="141"/>
                  <a:pt x="1320" y="141"/>
                </a:cubicBezTo>
                <a:cubicBezTo>
                  <a:pt x="1322" y="144"/>
                  <a:pt x="1322" y="144"/>
                  <a:pt x="1322" y="144"/>
                </a:cubicBezTo>
                <a:cubicBezTo>
                  <a:pt x="1324" y="146"/>
                  <a:pt x="1324" y="146"/>
                  <a:pt x="1324" y="146"/>
                </a:cubicBezTo>
                <a:cubicBezTo>
                  <a:pt x="1325" y="147"/>
                  <a:pt x="1325" y="147"/>
                  <a:pt x="1325" y="147"/>
                </a:cubicBezTo>
                <a:cubicBezTo>
                  <a:pt x="1327" y="147"/>
                  <a:pt x="1327" y="147"/>
                  <a:pt x="1327" y="147"/>
                </a:cubicBezTo>
                <a:cubicBezTo>
                  <a:pt x="1328" y="146"/>
                  <a:pt x="1328" y="146"/>
                  <a:pt x="1328" y="146"/>
                </a:cubicBezTo>
                <a:cubicBezTo>
                  <a:pt x="1329" y="146"/>
                  <a:pt x="1329" y="146"/>
                  <a:pt x="1329" y="146"/>
                </a:cubicBezTo>
                <a:cubicBezTo>
                  <a:pt x="1330" y="146"/>
                  <a:pt x="1330" y="146"/>
                  <a:pt x="1330" y="146"/>
                </a:cubicBezTo>
                <a:cubicBezTo>
                  <a:pt x="1330" y="145"/>
                  <a:pt x="1330" y="145"/>
                  <a:pt x="1330" y="145"/>
                </a:cubicBezTo>
                <a:cubicBezTo>
                  <a:pt x="1330" y="142"/>
                  <a:pt x="1330" y="142"/>
                  <a:pt x="1330" y="142"/>
                </a:cubicBezTo>
                <a:cubicBezTo>
                  <a:pt x="1330" y="140"/>
                  <a:pt x="1330" y="140"/>
                  <a:pt x="1330" y="140"/>
                </a:cubicBezTo>
                <a:cubicBezTo>
                  <a:pt x="1330" y="138"/>
                  <a:pt x="1330" y="138"/>
                  <a:pt x="1330" y="138"/>
                </a:cubicBezTo>
                <a:cubicBezTo>
                  <a:pt x="1331" y="137"/>
                  <a:pt x="1331" y="137"/>
                  <a:pt x="1331" y="137"/>
                </a:cubicBezTo>
                <a:cubicBezTo>
                  <a:pt x="1331" y="137"/>
                  <a:pt x="1331" y="137"/>
                  <a:pt x="1331" y="137"/>
                </a:cubicBezTo>
                <a:cubicBezTo>
                  <a:pt x="1332" y="138"/>
                  <a:pt x="1332" y="138"/>
                  <a:pt x="1332" y="138"/>
                </a:cubicBezTo>
                <a:cubicBezTo>
                  <a:pt x="1332" y="139"/>
                  <a:pt x="1332" y="139"/>
                  <a:pt x="1332" y="139"/>
                </a:cubicBezTo>
                <a:cubicBezTo>
                  <a:pt x="1332" y="141"/>
                  <a:pt x="1332" y="141"/>
                  <a:pt x="1332" y="141"/>
                </a:cubicBezTo>
                <a:cubicBezTo>
                  <a:pt x="1332" y="142"/>
                  <a:pt x="1332" y="142"/>
                  <a:pt x="1332" y="142"/>
                </a:cubicBezTo>
                <a:cubicBezTo>
                  <a:pt x="1331" y="144"/>
                  <a:pt x="1331" y="144"/>
                  <a:pt x="1331" y="144"/>
                </a:cubicBezTo>
                <a:cubicBezTo>
                  <a:pt x="1331" y="145"/>
                  <a:pt x="1331" y="145"/>
                  <a:pt x="1331" y="145"/>
                </a:cubicBezTo>
                <a:cubicBezTo>
                  <a:pt x="1332" y="146"/>
                  <a:pt x="1332" y="146"/>
                  <a:pt x="1332" y="146"/>
                </a:cubicBezTo>
                <a:cubicBezTo>
                  <a:pt x="1333" y="145"/>
                  <a:pt x="1333" y="145"/>
                  <a:pt x="1333" y="145"/>
                </a:cubicBezTo>
                <a:cubicBezTo>
                  <a:pt x="1334" y="144"/>
                  <a:pt x="1334" y="144"/>
                  <a:pt x="1334" y="144"/>
                </a:cubicBezTo>
                <a:cubicBezTo>
                  <a:pt x="1335" y="145"/>
                  <a:pt x="1335" y="145"/>
                  <a:pt x="1335" y="145"/>
                </a:cubicBezTo>
                <a:cubicBezTo>
                  <a:pt x="1335" y="146"/>
                  <a:pt x="1335" y="146"/>
                  <a:pt x="1335" y="146"/>
                </a:cubicBezTo>
                <a:cubicBezTo>
                  <a:pt x="1335" y="147"/>
                  <a:pt x="1335" y="147"/>
                  <a:pt x="1335" y="147"/>
                </a:cubicBezTo>
                <a:cubicBezTo>
                  <a:pt x="1335" y="148"/>
                  <a:pt x="1335" y="148"/>
                  <a:pt x="1335" y="148"/>
                </a:cubicBezTo>
                <a:cubicBezTo>
                  <a:pt x="1336" y="147"/>
                  <a:pt x="1336" y="147"/>
                  <a:pt x="1336" y="147"/>
                </a:cubicBezTo>
                <a:cubicBezTo>
                  <a:pt x="1337" y="147"/>
                  <a:pt x="1337" y="147"/>
                  <a:pt x="1337" y="147"/>
                </a:cubicBezTo>
                <a:cubicBezTo>
                  <a:pt x="1338" y="147"/>
                  <a:pt x="1338" y="147"/>
                  <a:pt x="1338" y="147"/>
                </a:cubicBezTo>
                <a:cubicBezTo>
                  <a:pt x="1338" y="145"/>
                  <a:pt x="1338" y="145"/>
                  <a:pt x="1338" y="145"/>
                </a:cubicBezTo>
                <a:cubicBezTo>
                  <a:pt x="1338" y="144"/>
                  <a:pt x="1338" y="144"/>
                  <a:pt x="1338" y="144"/>
                </a:cubicBezTo>
                <a:cubicBezTo>
                  <a:pt x="1338" y="141"/>
                  <a:pt x="1338" y="141"/>
                  <a:pt x="1338" y="141"/>
                </a:cubicBezTo>
                <a:cubicBezTo>
                  <a:pt x="1339" y="140"/>
                  <a:pt x="1339" y="140"/>
                  <a:pt x="1339" y="140"/>
                </a:cubicBezTo>
                <a:cubicBezTo>
                  <a:pt x="1339" y="138"/>
                  <a:pt x="1339" y="138"/>
                  <a:pt x="1339" y="138"/>
                </a:cubicBezTo>
                <a:cubicBezTo>
                  <a:pt x="1339" y="137"/>
                  <a:pt x="1339" y="137"/>
                  <a:pt x="1339" y="137"/>
                </a:cubicBezTo>
                <a:cubicBezTo>
                  <a:pt x="1338" y="136"/>
                  <a:pt x="1338" y="136"/>
                  <a:pt x="1338" y="136"/>
                </a:cubicBezTo>
                <a:cubicBezTo>
                  <a:pt x="1337" y="136"/>
                  <a:pt x="1337" y="136"/>
                  <a:pt x="1337" y="136"/>
                </a:cubicBezTo>
                <a:cubicBezTo>
                  <a:pt x="1338" y="135"/>
                  <a:pt x="1338" y="135"/>
                  <a:pt x="1338" y="135"/>
                </a:cubicBezTo>
                <a:cubicBezTo>
                  <a:pt x="1338" y="134"/>
                  <a:pt x="1338" y="134"/>
                  <a:pt x="1338" y="134"/>
                </a:cubicBezTo>
                <a:cubicBezTo>
                  <a:pt x="1338" y="133"/>
                  <a:pt x="1338" y="133"/>
                  <a:pt x="1338" y="133"/>
                </a:cubicBezTo>
                <a:cubicBezTo>
                  <a:pt x="1336" y="134"/>
                  <a:pt x="1336" y="134"/>
                  <a:pt x="1336" y="134"/>
                </a:cubicBezTo>
                <a:cubicBezTo>
                  <a:pt x="1336" y="133"/>
                  <a:pt x="1336" y="133"/>
                  <a:pt x="1336" y="133"/>
                </a:cubicBezTo>
                <a:cubicBezTo>
                  <a:pt x="1336" y="132"/>
                  <a:pt x="1336" y="132"/>
                  <a:pt x="1336" y="132"/>
                </a:cubicBezTo>
                <a:cubicBezTo>
                  <a:pt x="1338" y="132"/>
                  <a:pt x="1338" y="132"/>
                  <a:pt x="1338" y="132"/>
                </a:cubicBezTo>
                <a:cubicBezTo>
                  <a:pt x="1339" y="131"/>
                  <a:pt x="1339" y="131"/>
                  <a:pt x="1339" y="131"/>
                </a:cubicBezTo>
                <a:cubicBezTo>
                  <a:pt x="1339" y="129"/>
                  <a:pt x="1339" y="129"/>
                  <a:pt x="1339" y="129"/>
                </a:cubicBezTo>
                <a:cubicBezTo>
                  <a:pt x="1338" y="129"/>
                  <a:pt x="1338" y="129"/>
                  <a:pt x="1338" y="129"/>
                </a:cubicBezTo>
                <a:cubicBezTo>
                  <a:pt x="1337" y="129"/>
                  <a:pt x="1337" y="129"/>
                  <a:pt x="1337" y="129"/>
                </a:cubicBezTo>
                <a:cubicBezTo>
                  <a:pt x="1337" y="128"/>
                  <a:pt x="1337" y="128"/>
                  <a:pt x="1337" y="128"/>
                </a:cubicBezTo>
                <a:cubicBezTo>
                  <a:pt x="1338" y="127"/>
                  <a:pt x="1338" y="127"/>
                  <a:pt x="1338" y="127"/>
                </a:cubicBezTo>
                <a:cubicBezTo>
                  <a:pt x="1339" y="125"/>
                  <a:pt x="1339" y="125"/>
                  <a:pt x="1339" y="125"/>
                </a:cubicBezTo>
                <a:cubicBezTo>
                  <a:pt x="1339" y="124"/>
                  <a:pt x="1339" y="124"/>
                  <a:pt x="1339" y="124"/>
                </a:cubicBezTo>
                <a:cubicBezTo>
                  <a:pt x="1338" y="124"/>
                  <a:pt x="1338" y="124"/>
                  <a:pt x="1338" y="124"/>
                </a:cubicBezTo>
                <a:cubicBezTo>
                  <a:pt x="1337" y="125"/>
                  <a:pt x="1337" y="125"/>
                  <a:pt x="1337" y="125"/>
                </a:cubicBezTo>
                <a:cubicBezTo>
                  <a:pt x="1335" y="127"/>
                  <a:pt x="1335" y="127"/>
                  <a:pt x="1335" y="127"/>
                </a:cubicBezTo>
                <a:cubicBezTo>
                  <a:pt x="1335" y="130"/>
                  <a:pt x="1335" y="130"/>
                  <a:pt x="1335" y="130"/>
                </a:cubicBezTo>
                <a:cubicBezTo>
                  <a:pt x="1334" y="130"/>
                  <a:pt x="1334" y="130"/>
                  <a:pt x="1334" y="130"/>
                </a:cubicBezTo>
                <a:cubicBezTo>
                  <a:pt x="1334" y="129"/>
                  <a:pt x="1334" y="129"/>
                  <a:pt x="1334" y="129"/>
                </a:cubicBezTo>
                <a:cubicBezTo>
                  <a:pt x="1334" y="127"/>
                  <a:pt x="1334" y="127"/>
                  <a:pt x="1334" y="127"/>
                </a:cubicBezTo>
                <a:cubicBezTo>
                  <a:pt x="1334" y="126"/>
                  <a:pt x="1334" y="126"/>
                  <a:pt x="1334" y="126"/>
                </a:cubicBezTo>
                <a:cubicBezTo>
                  <a:pt x="1334" y="125"/>
                  <a:pt x="1334" y="125"/>
                  <a:pt x="1334" y="125"/>
                </a:cubicBezTo>
                <a:cubicBezTo>
                  <a:pt x="1334" y="124"/>
                  <a:pt x="1334" y="124"/>
                  <a:pt x="1334" y="124"/>
                </a:cubicBezTo>
                <a:cubicBezTo>
                  <a:pt x="1334" y="123"/>
                  <a:pt x="1334" y="123"/>
                  <a:pt x="1334" y="123"/>
                </a:cubicBezTo>
                <a:cubicBezTo>
                  <a:pt x="1336" y="122"/>
                  <a:pt x="1336" y="122"/>
                  <a:pt x="1336" y="122"/>
                </a:cubicBezTo>
                <a:cubicBezTo>
                  <a:pt x="1337" y="121"/>
                  <a:pt x="1337" y="121"/>
                  <a:pt x="1337" y="121"/>
                </a:cubicBezTo>
                <a:cubicBezTo>
                  <a:pt x="1338" y="119"/>
                  <a:pt x="1338" y="119"/>
                  <a:pt x="1338" y="119"/>
                </a:cubicBezTo>
                <a:cubicBezTo>
                  <a:pt x="1337" y="118"/>
                  <a:pt x="1337" y="118"/>
                  <a:pt x="1337" y="118"/>
                </a:cubicBezTo>
                <a:cubicBezTo>
                  <a:pt x="1336" y="118"/>
                  <a:pt x="1336" y="118"/>
                  <a:pt x="1336" y="118"/>
                </a:cubicBezTo>
                <a:cubicBezTo>
                  <a:pt x="1335" y="119"/>
                  <a:pt x="1335" y="119"/>
                  <a:pt x="1335" y="119"/>
                </a:cubicBezTo>
                <a:cubicBezTo>
                  <a:pt x="1335" y="120"/>
                  <a:pt x="1335" y="120"/>
                  <a:pt x="1335" y="120"/>
                </a:cubicBezTo>
                <a:cubicBezTo>
                  <a:pt x="1334" y="121"/>
                  <a:pt x="1334" y="121"/>
                  <a:pt x="1334" y="121"/>
                </a:cubicBezTo>
                <a:cubicBezTo>
                  <a:pt x="1335" y="119"/>
                  <a:pt x="1335" y="119"/>
                  <a:pt x="1335" y="119"/>
                </a:cubicBezTo>
                <a:cubicBezTo>
                  <a:pt x="1335" y="118"/>
                  <a:pt x="1335" y="118"/>
                  <a:pt x="1335" y="118"/>
                </a:cubicBezTo>
                <a:cubicBezTo>
                  <a:pt x="1335" y="118"/>
                  <a:pt x="1335" y="118"/>
                  <a:pt x="1335" y="118"/>
                </a:cubicBezTo>
                <a:cubicBezTo>
                  <a:pt x="1334" y="118"/>
                  <a:pt x="1334" y="118"/>
                  <a:pt x="1334" y="118"/>
                </a:cubicBezTo>
                <a:cubicBezTo>
                  <a:pt x="1332" y="119"/>
                  <a:pt x="1332" y="119"/>
                  <a:pt x="1332" y="119"/>
                </a:cubicBezTo>
                <a:cubicBezTo>
                  <a:pt x="1331" y="121"/>
                  <a:pt x="1331" y="121"/>
                  <a:pt x="1331" y="121"/>
                </a:cubicBezTo>
                <a:cubicBezTo>
                  <a:pt x="1331" y="120"/>
                  <a:pt x="1331" y="120"/>
                  <a:pt x="1331" y="120"/>
                </a:cubicBezTo>
                <a:cubicBezTo>
                  <a:pt x="1331" y="119"/>
                  <a:pt x="1331" y="119"/>
                  <a:pt x="1331" y="119"/>
                </a:cubicBezTo>
                <a:cubicBezTo>
                  <a:pt x="1332" y="118"/>
                  <a:pt x="1332" y="118"/>
                  <a:pt x="1332" y="118"/>
                </a:cubicBezTo>
                <a:cubicBezTo>
                  <a:pt x="1333" y="117"/>
                  <a:pt x="1333" y="117"/>
                  <a:pt x="1333" y="117"/>
                </a:cubicBezTo>
                <a:cubicBezTo>
                  <a:pt x="1334" y="115"/>
                  <a:pt x="1334" y="115"/>
                  <a:pt x="1334" y="115"/>
                </a:cubicBezTo>
                <a:cubicBezTo>
                  <a:pt x="1334" y="115"/>
                  <a:pt x="1334" y="115"/>
                  <a:pt x="1334" y="115"/>
                </a:cubicBezTo>
                <a:cubicBezTo>
                  <a:pt x="1333" y="114"/>
                  <a:pt x="1333" y="114"/>
                  <a:pt x="1333" y="114"/>
                </a:cubicBezTo>
                <a:cubicBezTo>
                  <a:pt x="1332" y="113"/>
                  <a:pt x="1332" y="113"/>
                  <a:pt x="1332" y="113"/>
                </a:cubicBezTo>
                <a:cubicBezTo>
                  <a:pt x="1332" y="113"/>
                  <a:pt x="1332" y="113"/>
                  <a:pt x="1332" y="113"/>
                </a:cubicBezTo>
                <a:cubicBezTo>
                  <a:pt x="1331" y="112"/>
                  <a:pt x="1331" y="112"/>
                  <a:pt x="1331" y="112"/>
                </a:cubicBezTo>
                <a:cubicBezTo>
                  <a:pt x="1330" y="111"/>
                  <a:pt x="1330" y="111"/>
                  <a:pt x="1330" y="111"/>
                </a:cubicBezTo>
                <a:cubicBezTo>
                  <a:pt x="1329" y="110"/>
                  <a:pt x="1329" y="110"/>
                  <a:pt x="1329" y="110"/>
                </a:cubicBezTo>
                <a:cubicBezTo>
                  <a:pt x="1328" y="109"/>
                  <a:pt x="1328" y="109"/>
                  <a:pt x="1328" y="109"/>
                </a:cubicBezTo>
                <a:cubicBezTo>
                  <a:pt x="1327" y="109"/>
                  <a:pt x="1327" y="109"/>
                  <a:pt x="1327" y="109"/>
                </a:cubicBezTo>
                <a:cubicBezTo>
                  <a:pt x="1327" y="108"/>
                  <a:pt x="1327" y="108"/>
                  <a:pt x="1327" y="108"/>
                </a:cubicBezTo>
                <a:cubicBezTo>
                  <a:pt x="1325" y="108"/>
                  <a:pt x="1325" y="108"/>
                  <a:pt x="1325" y="108"/>
                </a:cubicBezTo>
                <a:cubicBezTo>
                  <a:pt x="1325" y="107"/>
                  <a:pt x="1325" y="107"/>
                  <a:pt x="1325" y="107"/>
                </a:cubicBezTo>
                <a:cubicBezTo>
                  <a:pt x="1325" y="107"/>
                  <a:pt x="1325" y="107"/>
                  <a:pt x="1325" y="107"/>
                </a:cubicBezTo>
                <a:cubicBezTo>
                  <a:pt x="1322" y="104"/>
                  <a:pt x="1322" y="104"/>
                  <a:pt x="1322" y="104"/>
                </a:cubicBezTo>
                <a:cubicBezTo>
                  <a:pt x="1321" y="103"/>
                  <a:pt x="1321" y="103"/>
                  <a:pt x="1321" y="103"/>
                </a:cubicBezTo>
                <a:cubicBezTo>
                  <a:pt x="1319" y="103"/>
                  <a:pt x="1319" y="103"/>
                  <a:pt x="1319" y="103"/>
                </a:cubicBezTo>
                <a:cubicBezTo>
                  <a:pt x="1318" y="103"/>
                  <a:pt x="1318" y="103"/>
                  <a:pt x="1318" y="103"/>
                </a:cubicBezTo>
                <a:cubicBezTo>
                  <a:pt x="1316" y="103"/>
                  <a:pt x="1316" y="103"/>
                  <a:pt x="1316" y="103"/>
                </a:cubicBezTo>
                <a:cubicBezTo>
                  <a:pt x="1314" y="105"/>
                  <a:pt x="1314" y="105"/>
                  <a:pt x="1314" y="105"/>
                </a:cubicBezTo>
                <a:cubicBezTo>
                  <a:pt x="1314" y="104"/>
                  <a:pt x="1314" y="104"/>
                  <a:pt x="1314" y="104"/>
                </a:cubicBezTo>
                <a:cubicBezTo>
                  <a:pt x="1314" y="103"/>
                  <a:pt x="1314" y="103"/>
                  <a:pt x="1314" y="103"/>
                </a:cubicBezTo>
                <a:cubicBezTo>
                  <a:pt x="1311" y="102"/>
                  <a:pt x="1311" y="102"/>
                  <a:pt x="1311" y="102"/>
                </a:cubicBezTo>
                <a:cubicBezTo>
                  <a:pt x="1309" y="102"/>
                  <a:pt x="1309" y="102"/>
                  <a:pt x="1309" y="102"/>
                </a:cubicBezTo>
                <a:cubicBezTo>
                  <a:pt x="1307" y="102"/>
                  <a:pt x="1307" y="102"/>
                  <a:pt x="1307" y="102"/>
                </a:cubicBezTo>
                <a:cubicBezTo>
                  <a:pt x="1307" y="102"/>
                  <a:pt x="1307" y="102"/>
                  <a:pt x="1307" y="102"/>
                </a:cubicBezTo>
                <a:cubicBezTo>
                  <a:pt x="1308" y="100"/>
                  <a:pt x="1308" y="100"/>
                  <a:pt x="1308" y="100"/>
                </a:cubicBezTo>
                <a:cubicBezTo>
                  <a:pt x="1309" y="101"/>
                  <a:pt x="1309" y="101"/>
                  <a:pt x="1309" y="101"/>
                </a:cubicBezTo>
                <a:cubicBezTo>
                  <a:pt x="1312" y="101"/>
                  <a:pt x="1312" y="101"/>
                  <a:pt x="1312" y="101"/>
                </a:cubicBezTo>
                <a:cubicBezTo>
                  <a:pt x="1314" y="101"/>
                  <a:pt x="1314" y="101"/>
                  <a:pt x="1314" y="101"/>
                </a:cubicBezTo>
                <a:cubicBezTo>
                  <a:pt x="1315" y="102"/>
                  <a:pt x="1315" y="102"/>
                  <a:pt x="1315" y="102"/>
                </a:cubicBezTo>
                <a:cubicBezTo>
                  <a:pt x="1317" y="101"/>
                  <a:pt x="1317" y="101"/>
                  <a:pt x="1317" y="101"/>
                </a:cubicBezTo>
                <a:cubicBezTo>
                  <a:pt x="1318" y="100"/>
                  <a:pt x="1318" y="100"/>
                  <a:pt x="1318" y="100"/>
                </a:cubicBezTo>
                <a:cubicBezTo>
                  <a:pt x="1319" y="97"/>
                  <a:pt x="1319" y="97"/>
                  <a:pt x="1319" y="97"/>
                </a:cubicBezTo>
                <a:cubicBezTo>
                  <a:pt x="1318" y="96"/>
                  <a:pt x="1318" y="96"/>
                  <a:pt x="1318" y="96"/>
                </a:cubicBezTo>
                <a:cubicBezTo>
                  <a:pt x="1318" y="95"/>
                  <a:pt x="1318" y="95"/>
                  <a:pt x="1318" y="95"/>
                </a:cubicBezTo>
                <a:cubicBezTo>
                  <a:pt x="1317" y="95"/>
                  <a:pt x="1317" y="95"/>
                  <a:pt x="1317" y="95"/>
                </a:cubicBezTo>
                <a:cubicBezTo>
                  <a:pt x="1315" y="94"/>
                  <a:pt x="1315" y="94"/>
                  <a:pt x="1315" y="94"/>
                </a:cubicBezTo>
                <a:cubicBezTo>
                  <a:pt x="1314" y="93"/>
                  <a:pt x="1314" y="93"/>
                  <a:pt x="1314" y="93"/>
                </a:cubicBezTo>
                <a:cubicBezTo>
                  <a:pt x="1313" y="93"/>
                  <a:pt x="1313" y="93"/>
                  <a:pt x="1313" y="93"/>
                </a:cubicBezTo>
                <a:cubicBezTo>
                  <a:pt x="1311" y="95"/>
                  <a:pt x="1311" y="95"/>
                  <a:pt x="1311" y="95"/>
                </a:cubicBezTo>
                <a:cubicBezTo>
                  <a:pt x="1310" y="95"/>
                  <a:pt x="1310" y="95"/>
                  <a:pt x="1310" y="95"/>
                </a:cubicBezTo>
                <a:cubicBezTo>
                  <a:pt x="1309" y="95"/>
                  <a:pt x="1309" y="95"/>
                  <a:pt x="1309" y="95"/>
                </a:cubicBezTo>
                <a:cubicBezTo>
                  <a:pt x="1308" y="96"/>
                  <a:pt x="1308" y="96"/>
                  <a:pt x="1308" y="96"/>
                </a:cubicBezTo>
                <a:cubicBezTo>
                  <a:pt x="1308" y="96"/>
                  <a:pt x="1308" y="96"/>
                  <a:pt x="1308" y="96"/>
                </a:cubicBezTo>
                <a:cubicBezTo>
                  <a:pt x="1307" y="95"/>
                  <a:pt x="1307" y="95"/>
                  <a:pt x="1307" y="95"/>
                </a:cubicBezTo>
                <a:cubicBezTo>
                  <a:pt x="1307" y="94"/>
                  <a:pt x="1307" y="94"/>
                  <a:pt x="1307" y="94"/>
                </a:cubicBezTo>
                <a:cubicBezTo>
                  <a:pt x="1306" y="94"/>
                  <a:pt x="1306" y="94"/>
                  <a:pt x="1306" y="94"/>
                </a:cubicBezTo>
                <a:cubicBezTo>
                  <a:pt x="1304" y="95"/>
                  <a:pt x="1304" y="95"/>
                  <a:pt x="1304" y="95"/>
                </a:cubicBezTo>
                <a:cubicBezTo>
                  <a:pt x="1303" y="95"/>
                  <a:pt x="1303" y="95"/>
                  <a:pt x="1303" y="95"/>
                </a:cubicBezTo>
                <a:cubicBezTo>
                  <a:pt x="1302" y="95"/>
                  <a:pt x="1302" y="95"/>
                  <a:pt x="1302" y="95"/>
                </a:cubicBezTo>
                <a:cubicBezTo>
                  <a:pt x="1303" y="95"/>
                  <a:pt x="1303" y="95"/>
                  <a:pt x="1303" y="95"/>
                </a:cubicBezTo>
                <a:cubicBezTo>
                  <a:pt x="1304" y="94"/>
                  <a:pt x="1304" y="94"/>
                  <a:pt x="1304" y="94"/>
                </a:cubicBezTo>
                <a:cubicBezTo>
                  <a:pt x="1306" y="93"/>
                  <a:pt x="1306" y="93"/>
                  <a:pt x="1306" y="93"/>
                </a:cubicBezTo>
                <a:cubicBezTo>
                  <a:pt x="1307" y="93"/>
                  <a:pt x="1307" y="93"/>
                  <a:pt x="1307" y="93"/>
                </a:cubicBezTo>
                <a:cubicBezTo>
                  <a:pt x="1306" y="92"/>
                  <a:pt x="1306" y="92"/>
                  <a:pt x="1306" y="92"/>
                </a:cubicBezTo>
                <a:cubicBezTo>
                  <a:pt x="1305" y="91"/>
                  <a:pt x="1305" y="91"/>
                  <a:pt x="1305" y="91"/>
                </a:cubicBezTo>
                <a:cubicBezTo>
                  <a:pt x="1304" y="92"/>
                  <a:pt x="1304" y="92"/>
                  <a:pt x="1304" y="92"/>
                </a:cubicBezTo>
                <a:cubicBezTo>
                  <a:pt x="1302" y="92"/>
                  <a:pt x="1302" y="92"/>
                  <a:pt x="1302" y="92"/>
                </a:cubicBezTo>
                <a:cubicBezTo>
                  <a:pt x="1301" y="92"/>
                  <a:pt x="1301" y="92"/>
                  <a:pt x="1301" y="92"/>
                </a:cubicBezTo>
                <a:cubicBezTo>
                  <a:pt x="1301" y="91"/>
                  <a:pt x="1301" y="91"/>
                  <a:pt x="1301" y="91"/>
                </a:cubicBezTo>
                <a:cubicBezTo>
                  <a:pt x="1302" y="91"/>
                  <a:pt x="1302" y="91"/>
                  <a:pt x="1302" y="91"/>
                </a:cubicBezTo>
                <a:cubicBezTo>
                  <a:pt x="1303" y="91"/>
                  <a:pt x="1303" y="91"/>
                  <a:pt x="1303" y="91"/>
                </a:cubicBezTo>
                <a:cubicBezTo>
                  <a:pt x="1304" y="91"/>
                  <a:pt x="1304" y="91"/>
                  <a:pt x="1304" y="91"/>
                </a:cubicBezTo>
                <a:cubicBezTo>
                  <a:pt x="1305" y="90"/>
                  <a:pt x="1305" y="90"/>
                  <a:pt x="1305" y="90"/>
                </a:cubicBezTo>
                <a:cubicBezTo>
                  <a:pt x="1306" y="90"/>
                  <a:pt x="1306" y="90"/>
                  <a:pt x="1306" y="90"/>
                </a:cubicBezTo>
                <a:cubicBezTo>
                  <a:pt x="1307" y="91"/>
                  <a:pt x="1307" y="91"/>
                  <a:pt x="1307" y="91"/>
                </a:cubicBezTo>
                <a:cubicBezTo>
                  <a:pt x="1308" y="93"/>
                  <a:pt x="1308" y="93"/>
                  <a:pt x="1308" y="93"/>
                </a:cubicBezTo>
                <a:cubicBezTo>
                  <a:pt x="1310" y="93"/>
                  <a:pt x="1310" y="93"/>
                  <a:pt x="1310" y="93"/>
                </a:cubicBezTo>
                <a:cubicBezTo>
                  <a:pt x="1311" y="92"/>
                  <a:pt x="1311" y="92"/>
                  <a:pt x="1311" y="92"/>
                </a:cubicBezTo>
                <a:cubicBezTo>
                  <a:pt x="1313" y="91"/>
                  <a:pt x="1313" y="91"/>
                  <a:pt x="1313" y="91"/>
                </a:cubicBezTo>
                <a:cubicBezTo>
                  <a:pt x="1314" y="91"/>
                  <a:pt x="1314" y="91"/>
                  <a:pt x="1314" y="91"/>
                </a:cubicBezTo>
                <a:cubicBezTo>
                  <a:pt x="1316" y="91"/>
                  <a:pt x="1316" y="91"/>
                  <a:pt x="1316" y="91"/>
                </a:cubicBezTo>
                <a:cubicBezTo>
                  <a:pt x="1317" y="90"/>
                  <a:pt x="1317" y="90"/>
                  <a:pt x="1317" y="90"/>
                </a:cubicBezTo>
                <a:cubicBezTo>
                  <a:pt x="1318" y="89"/>
                  <a:pt x="1318" y="89"/>
                  <a:pt x="1318" y="89"/>
                </a:cubicBezTo>
                <a:cubicBezTo>
                  <a:pt x="1318" y="88"/>
                  <a:pt x="1318" y="88"/>
                  <a:pt x="1318" y="88"/>
                </a:cubicBezTo>
                <a:cubicBezTo>
                  <a:pt x="1318" y="87"/>
                  <a:pt x="1318" y="87"/>
                  <a:pt x="1318" y="87"/>
                </a:cubicBezTo>
                <a:cubicBezTo>
                  <a:pt x="1317" y="86"/>
                  <a:pt x="1317" y="86"/>
                  <a:pt x="1317" y="86"/>
                </a:cubicBezTo>
                <a:cubicBezTo>
                  <a:pt x="1314" y="86"/>
                  <a:pt x="1314" y="86"/>
                  <a:pt x="1314" y="86"/>
                </a:cubicBezTo>
                <a:cubicBezTo>
                  <a:pt x="1313" y="85"/>
                  <a:pt x="1313" y="85"/>
                  <a:pt x="1313" y="85"/>
                </a:cubicBezTo>
                <a:cubicBezTo>
                  <a:pt x="1312" y="84"/>
                  <a:pt x="1312" y="84"/>
                  <a:pt x="1312" y="84"/>
                </a:cubicBezTo>
                <a:cubicBezTo>
                  <a:pt x="1311" y="84"/>
                  <a:pt x="1311" y="84"/>
                  <a:pt x="1311" y="84"/>
                </a:cubicBezTo>
                <a:cubicBezTo>
                  <a:pt x="1309" y="84"/>
                  <a:pt x="1309" y="84"/>
                  <a:pt x="1309" y="84"/>
                </a:cubicBezTo>
                <a:cubicBezTo>
                  <a:pt x="1308" y="84"/>
                  <a:pt x="1308" y="84"/>
                  <a:pt x="1308" y="84"/>
                </a:cubicBezTo>
                <a:cubicBezTo>
                  <a:pt x="1307" y="85"/>
                  <a:pt x="1307" y="85"/>
                  <a:pt x="1307" y="85"/>
                </a:cubicBezTo>
                <a:cubicBezTo>
                  <a:pt x="1306" y="86"/>
                  <a:pt x="1306" y="86"/>
                  <a:pt x="1306" y="86"/>
                </a:cubicBezTo>
                <a:cubicBezTo>
                  <a:pt x="1306" y="86"/>
                  <a:pt x="1305" y="86"/>
                  <a:pt x="1305" y="86"/>
                </a:cubicBezTo>
                <a:cubicBezTo>
                  <a:pt x="1305" y="85"/>
                  <a:pt x="1303" y="85"/>
                  <a:pt x="1303" y="85"/>
                </a:cubicBezTo>
                <a:cubicBezTo>
                  <a:pt x="1301" y="85"/>
                  <a:pt x="1301" y="85"/>
                  <a:pt x="1301" y="85"/>
                </a:cubicBezTo>
                <a:cubicBezTo>
                  <a:pt x="1301" y="86"/>
                  <a:pt x="1301" y="86"/>
                  <a:pt x="1301" y="86"/>
                </a:cubicBezTo>
                <a:cubicBezTo>
                  <a:pt x="1301" y="87"/>
                  <a:pt x="1301" y="87"/>
                  <a:pt x="1301" y="87"/>
                </a:cubicBezTo>
                <a:cubicBezTo>
                  <a:pt x="1300" y="87"/>
                  <a:pt x="1300" y="87"/>
                  <a:pt x="1300" y="87"/>
                </a:cubicBezTo>
                <a:cubicBezTo>
                  <a:pt x="1299" y="86"/>
                  <a:pt x="1299" y="86"/>
                  <a:pt x="1299" y="86"/>
                </a:cubicBezTo>
                <a:cubicBezTo>
                  <a:pt x="1298" y="86"/>
                  <a:pt x="1298" y="86"/>
                  <a:pt x="1298" y="86"/>
                </a:cubicBezTo>
                <a:cubicBezTo>
                  <a:pt x="1298" y="85"/>
                  <a:pt x="1298" y="85"/>
                  <a:pt x="1298" y="85"/>
                </a:cubicBezTo>
                <a:cubicBezTo>
                  <a:pt x="1299" y="84"/>
                  <a:pt x="1299" y="84"/>
                  <a:pt x="1299" y="84"/>
                </a:cubicBezTo>
                <a:cubicBezTo>
                  <a:pt x="1301" y="83"/>
                  <a:pt x="1301" y="83"/>
                  <a:pt x="1301" y="83"/>
                </a:cubicBezTo>
                <a:cubicBezTo>
                  <a:pt x="1303" y="84"/>
                  <a:pt x="1303" y="84"/>
                  <a:pt x="1303" y="84"/>
                </a:cubicBezTo>
                <a:cubicBezTo>
                  <a:pt x="1306" y="84"/>
                  <a:pt x="1306" y="84"/>
                  <a:pt x="1306" y="84"/>
                </a:cubicBezTo>
                <a:cubicBezTo>
                  <a:pt x="1307" y="83"/>
                  <a:pt x="1307" y="83"/>
                  <a:pt x="1307" y="83"/>
                </a:cubicBezTo>
                <a:cubicBezTo>
                  <a:pt x="1307" y="82"/>
                  <a:pt x="1307" y="82"/>
                  <a:pt x="1307" y="82"/>
                </a:cubicBezTo>
                <a:cubicBezTo>
                  <a:pt x="1306" y="81"/>
                  <a:pt x="1306" y="81"/>
                  <a:pt x="1306" y="81"/>
                </a:cubicBezTo>
                <a:cubicBezTo>
                  <a:pt x="1304" y="79"/>
                  <a:pt x="1304" y="79"/>
                  <a:pt x="1304" y="79"/>
                </a:cubicBezTo>
                <a:cubicBezTo>
                  <a:pt x="1302" y="78"/>
                  <a:pt x="1302" y="78"/>
                  <a:pt x="1302" y="78"/>
                </a:cubicBezTo>
                <a:cubicBezTo>
                  <a:pt x="1302" y="77"/>
                  <a:pt x="1302" y="77"/>
                  <a:pt x="1302" y="77"/>
                </a:cubicBezTo>
                <a:cubicBezTo>
                  <a:pt x="1302" y="75"/>
                  <a:pt x="1302" y="75"/>
                  <a:pt x="1302" y="75"/>
                </a:cubicBezTo>
                <a:cubicBezTo>
                  <a:pt x="1302" y="75"/>
                  <a:pt x="1302" y="75"/>
                  <a:pt x="1302" y="75"/>
                </a:cubicBezTo>
                <a:cubicBezTo>
                  <a:pt x="1303" y="75"/>
                  <a:pt x="1303" y="75"/>
                  <a:pt x="1303" y="75"/>
                </a:cubicBezTo>
                <a:cubicBezTo>
                  <a:pt x="1303" y="76"/>
                  <a:pt x="1303" y="76"/>
                  <a:pt x="1303" y="76"/>
                </a:cubicBezTo>
                <a:cubicBezTo>
                  <a:pt x="1303" y="77"/>
                  <a:pt x="1303" y="77"/>
                  <a:pt x="1303" y="77"/>
                </a:cubicBezTo>
                <a:cubicBezTo>
                  <a:pt x="1304" y="78"/>
                  <a:pt x="1304" y="78"/>
                  <a:pt x="1304" y="78"/>
                </a:cubicBezTo>
                <a:cubicBezTo>
                  <a:pt x="1307" y="80"/>
                  <a:pt x="1307" y="80"/>
                  <a:pt x="1307" y="80"/>
                </a:cubicBezTo>
                <a:cubicBezTo>
                  <a:pt x="1307" y="81"/>
                  <a:pt x="1307" y="81"/>
                  <a:pt x="1307" y="81"/>
                </a:cubicBezTo>
                <a:cubicBezTo>
                  <a:pt x="1308" y="81"/>
                  <a:pt x="1308" y="81"/>
                  <a:pt x="1308" y="81"/>
                </a:cubicBezTo>
                <a:cubicBezTo>
                  <a:pt x="1309" y="81"/>
                  <a:pt x="1309" y="81"/>
                  <a:pt x="1309" y="81"/>
                </a:cubicBezTo>
                <a:cubicBezTo>
                  <a:pt x="1310" y="82"/>
                  <a:pt x="1310" y="82"/>
                  <a:pt x="1310" y="82"/>
                </a:cubicBezTo>
                <a:cubicBezTo>
                  <a:pt x="1312" y="83"/>
                  <a:pt x="1312" y="83"/>
                  <a:pt x="1312" y="83"/>
                </a:cubicBezTo>
                <a:cubicBezTo>
                  <a:pt x="1313" y="82"/>
                  <a:pt x="1313" y="82"/>
                  <a:pt x="1313" y="82"/>
                </a:cubicBezTo>
                <a:cubicBezTo>
                  <a:pt x="1315" y="81"/>
                  <a:pt x="1315" y="81"/>
                  <a:pt x="1315" y="81"/>
                </a:cubicBezTo>
                <a:cubicBezTo>
                  <a:pt x="1316" y="81"/>
                  <a:pt x="1316" y="81"/>
                  <a:pt x="1316" y="81"/>
                </a:cubicBezTo>
                <a:cubicBezTo>
                  <a:pt x="1317" y="80"/>
                  <a:pt x="1317" y="80"/>
                  <a:pt x="1317" y="80"/>
                </a:cubicBezTo>
                <a:cubicBezTo>
                  <a:pt x="1318" y="79"/>
                  <a:pt x="1318" y="79"/>
                  <a:pt x="1318" y="79"/>
                </a:cubicBezTo>
                <a:cubicBezTo>
                  <a:pt x="1320" y="78"/>
                  <a:pt x="1320" y="78"/>
                  <a:pt x="1320" y="78"/>
                </a:cubicBezTo>
                <a:cubicBezTo>
                  <a:pt x="1321" y="78"/>
                  <a:pt x="1321" y="78"/>
                  <a:pt x="1321" y="78"/>
                </a:cubicBezTo>
                <a:cubicBezTo>
                  <a:pt x="1321" y="77"/>
                  <a:pt x="1321" y="77"/>
                  <a:pt x="1321" y="77"/>
                </a:cubicBezTo>
                <a:cubicBezTo>
                  <a:pt x="1320" y="76"/>
                  <a:pt x="1320" y="76"/>
                  <a:pt x="1320" y="76"/>
                </a:cubicBezTo>
                <a:cubicBezTo>
                  <a:pt x="1319" y="75"/>
                  <a:pt x="1319" y="75"/>
                  <a:pt x="1319" y="75"/>
                </a:cubicBezTo>
                <a:cubicBezTo>
                  <a:pt x="1319" y="74"/>
                  <a:pt x="1319" y="74"/>
                  <a:pt x="1319" y="74"/>
                </a:cubicBezTo>
                <a:cubicBezTo>
                  <a:pt x="1317" y="70"/>
                  <a:pt x="1317" y="70"/>
                  <a:pt x="1317" y="70"/>
                </a:cubicBezTo>
                <a:cubicBezTo>
                  <a:pt x="1315" y="69"/>
                  <a:pt x="1315" y="69"/>
                  <a:pt x="1315" y="69"/>
                </a:cubicBezTo>
                <a:cubicBezTo>
                  <a:pt x="1315" y="68"/>
                  <a:pt x="1315" y="68"/>
                  <a:pt x="1315" y="68"/>
                </a:cubicBezTo>
                <a:cubicBezTo>
                  <a:pt x="1315" y="68"/>
                  <a:pt x="1315" y="68"/>
                  <a:pt x="1315" y="68"/>
                </a:cubicBezTo>
                <a:cubicBezTo>
                  <a:pt x="1316" y="68"/>
                  <a:pt x="1316" y="68"/>
                  <a:pt x="1316" y="68"/>
                </a:cubicBezTo>
                <a:cubicBezTo>
                  <a:pt x="1317" y="68"/>
                  <a:pt x="1317" y="68"/>
                  <a:pt x="1317" y="68"/>
                </a:cubicBezTo>
                <a:cubicBezTo>
                  <a:pt x="1317" y="69"/>
                  <a:pt x="1317" y="69"/>
                  <a:pt x="1317" y="69"/>
                </a:cubicBezTo>
                <a:cubicBezTo>
                  <a:pt x="1318" y="70"/>
                  <a:pt x="1318" y="70"/>
                  <a:pt x="1318" y="70"/>
                </a:cubicBezTo>
                <a:cubicBezTo>
                  <a:pt x="1320" y="74"/>
                  <a:pt x="1320" y="74"/>
                  <a:pt x="1320" y="74"/>
                </a:cubicBezTo>
                <a:cubicBezTo>
                  <a:pt x="1323" y="78"/>
                  <a:pt x="1323" y="78"/>
                  <a:pt x="1323" y="78"/>
                </a:cubicBezTo>
                <a:cubicBezTo>
                  <a:pt x="1324" y="78"/>
                  <a:pt x="1324" y="78"/>
                  <a:pt x="1324" y="78"/>
                </a:cubicBezTo>
                <a:cubicBezTo>
                  <a:pt x="1324" y="77"/>
                  <a:pt x="1324" y="77"/>
                  <a:pt x="1324" y="77"/>
                </a:cubicBezTo>
                <a:cubicBezTo>
                  <a:pt x="1324" y="76"/>
                  <a:pt x="1324" y="76"/>
                  <a:pt x="1324" y="76"/>
                </a:cubicBezTo>
                <a:cubicBezTo>
                  <a:pt x="1324" y="73"/>
                  <a:pt x="1324" y="73"/>
                  <a:pt x="1324" y="73"/>
                </a:cubicBezTo>
                <a:cubicBezTo>
                  <a:pt x="1324" y="71"/>
                  <a:pt x="1324" y="71"/>
                  <a:pt x="1324" y="71"/>
                </a:cubicBezTo>
                <a:cubicBezTo>
                  <a:pt x="1325" y="70"/>
                  <a:pt x="1325" y="70"/>
                  <a:pt x="1325" y="70"/>
                </a:cubicBezTo>
                <a:cubicBezTo>
                  <a:pt x="1326" y="70"/>
                  <a:pt x="1326" y="70"/>
                  <a:pt x="1326" y="70"/>
                </a:cubicBezTo>
                <a:cubicBezTo>
                  <a:pt x="1327" y="71"/>
                  <a:pt x="1327" y="71"/>
                  <a:pt x="1327" y="71"/>
                </a:cubicBezTo>
                <a:cubicBezTo>
                  <a:pt x="1327" y="72"/>
                  <a:pt x="1327" y="72"/>
                  <a:pt x="1327" y="72"/>
                </a:cubicBezTo>
                <a:cubicBezTo>
                  <a:pt x="1327" y="73"/>
                  <a:pt x="1327" y="73"/>
                  <a:pt x="1327" y="73"/>
                </a:cubicBezTo>
                <a:cubicBezTo>
                  <a:pt x="1328" y="73"/>
                  <a:pt x="1328" y="73"/>
                  <a:pt x="1328" y="73"/>
                </a:cubicBezTo>
                <a:cubicBezTo>
                  <a:pt x="1332" y="74"/>
                  <a:pt x="1332" y="74"/>
                  <a:pt x="1332" y="74"/>
                </a:cubicBezTo>
                <a:cubicBezTo>
                  <a:pt x="1335" y="76"/>
                  <a:pt x="1335" y="76"/>
                  <a:pt x="1335" y="76"/>
                </a:cubicBezTo>
                <a:cubicBezTo>
                  <a:pt x="1336" y="77"/>
                  <a:pt x="1336" y="77"/>
                  <a:pt x="1336" y="77"/>
                </a:cubicBezTo>
                <a:cubicBezTo>
                  <a:pt x="1337" y="76"/>
                  <a:pt x="1337" y="76"/>
                  <a:pt x="1337" y="76"/>
                </a:cubicBezTo>
                <a:cubicBezTo>
                  <a:pt x="1338" y="76"/>
                  <a:pt x="1338" y="76"/>
                  <a:pt x="1338" y="76"/>
                </a:cubicBezTo>
                <a:cubicBezTo>
                  <a:pt x="1339" y="77"/>
                  <a:pt x="1339" y="77"/>
                  <a:pt x="1339" y="77"/>
                </a:cubicBezTo>
                <a:cubicBezTo>
                  <a:pt x="1338" y="77"/>
                  <a:pt x="1338" y="77"/>
                  <a:pt x="1338" y="77"/>
                </a:cubicBezTo>
                <a:cubicBezTo>
                  <a:pt x="1336" y="78"/>
                  <a:pt x="1336" y="78"/>
                  <a:pt x="1336" y="78"/>
                </a:cubicBezTo>
                <a:cubicBezTo>
                  <a:pt x="1335" y="78"/>
                  <a:pt x="1335" y="78"/>
                  <a:pt x="1335" y="78"/>
                </a:cubicBezTo>
                <a:cubicBezTo>
                  <a:pt x="1333" y="77"/>
                  <a:pt x="1333" y="77"/>
                  <a:pt x="1333" y="77"/>
                </a:cubicBezTo>
                <a:cubicBezTo>
                  <a:pt x="1330" y="75"/>
                  <a:pt x="1330" y="75"/>
                  <a:pt x="1330" y="75"/>
                </a:cubicBezTo>
                <a:cubicBezTo>
                  <a:pt x="1329" y="74"/>
                  <a:pt x="1329" y="74"/>
                  <a:pt x="1329" y="74"/>
                </a:cubicBezTo>
                <a:cubicBezTo>
                  <a:pt x="1328" y="74"/>
                  <a:pt x="1328" y="74"/>
                  <a:pt x="1328" y="74"/>
                </a:cubicBezTo>
                <a:cubicBezTo>
                  <a:pt x="1327" y="74"/>
                  <a:pt x="1327" y="74"/>
                  <a:pt x="1327" y="74"/>
                </a:cubicBezTo>
                <a:cubicBezTo>
                  <a:pt x="1327" y="75"/>
                  <a:pt x="1327" y="75"/>
                  <a:pt x="1327" y="75"/>
                </a:cubicBezTo>
                <a:cubicBezTo>
                  <a:pt x="1327" y="76"/>
                  <a:pt x="1327" y="76"/>
                  <a:pt x="1327" y="76"/>
                </a:cubicBezTo>
                <a:cubicBezTo>
                  <a:pt x="1327" y="77"/>
                  <a:pt x="1327" y="77"/>
                  <a:pt x="1327" y="77"/>
                </a:cubicBezTo>
                <a:cubicBezTo>
                  <a:pt x="1331" y="81"/>
                  <a:pt x="1331" y="81"/>
                  <a:pt x="1331" y="81"/>
                </a:cubicBezTo>
                <a:cubicBezTo>
                  <a:pt x="1333" y="83"/>
                  <a:pt x="1333" y="83"/>
                  <a:pt x="1333" y="83"/>
                </a:cubicBezTo>
                <a:cubicBezTo>
                  <a:pt x="1336" y="84"/>
                  <a:pt x="1336" y="84"/>
                  <a:pt x="1336" y="84"/>
                </a:cubicBezTo>
                <a:cubicBezTo>
                  <a:pt x="1337" y="86"/>
                  <a:pt x="1337" y="86"/>
                  <a:pt x="1337" y="86"/>
                </a:cubicBezTo>
                <a:cubicBezTo>
                  <a:pt x="1339" y="86"/>
                  <a:pt x="1339" y="86"/>
                  <a:pt x="1339" y="86"/>
                </a:cubicBezTo>
                <a:cubicBezTo>
                  <a:pt x="1340" y="86"/>
                  <a:pt x="1340" y="86"/>
                  <a:pt x="1340" y="86"/>
                </a:cubicBezTo>
                <a:cubicBezTo>
                  <a:pt x="1340" y="85"/>
                  <a:pt x="1340" y="85"/>
                  <a:pt x="1340" y="85"/>
                </a:cubicBezTo>
                <a:cubicBezTo>
                  <a:pt x="1341" y="83"/>
                  <a:pt x="1341" y="83"/>
                  <a:pt x="1341" y="83"/>
                </a:cubicBezTo>
                <a:cubicBezTo>
                  <a:pt x="1342" y="83"/>
                  <a:pt x="1342" y="83"/>
                  <a:pt x="1342" y="83"/>
                </a:cubicBezTo>
                <a:cubicBezTo>
                  <a:pt x="1343" y="83"/>
                  <a:pt x="1343" y="83"/>
                  <a:pt x="1343" y="83"/>
                </a:cubicBezTo>
                <a:cubicBezTo>
                  <a:pt x="1344" y="82"/>
                  <a:pt x="1344" y="82"/>
                  <a:pt x="1344" y="82"/>
                </a:cubicBezTo>
                <a:cubicBezTo>
                  <a:pt x="1344" y="81"/>
                  <a:pt x="1344" y="81"/>
                  <a:pt x="1344" y="81"/>
                </a:cubicBezTo>
                <a:cubicBezTo>
                  <a:pt x="1345" y="80"/>
                  <a:pt x="1345" y="80"/>
                  <a:pt x="1345" y="80"/>
                </a:cubicBezTo>
                <a:cubicBezTo>
                  <a:pt x="1346" y="80"/>
                  <a:pt x="1346" y="80"/>
                  <a:pt x="1346" y="80"/>
                </a:cubicBezTo>
                <a:cubicBezTo>
                  <a:pt x="1347" y="81"/>
                  <a:pt x="1347" y="81"/>
                  <a:pt x="1347" y="81"/>
                </a:cubicBezTo>
                <a:cubicBezTo>
                  <a:pt x="1349" y="81"/>
                  <a:pt x="1349" y="81"/>
                  <a:pt x="1349" y="81"/>
                </a:cubicBezTo>
                <a:cubicBezTo>
                  <a:pt x="1351" y="81"/>
                  <a:pt x="1351" y="81"/>
                  <a:pt x="1351" y="81"/>
                </a:cubicBezTo>
                <a:cubicBezTo>
                  <a:pt x="1353" y="81"/>
                  <a:pt x="1353" y="81"/>
                  <a:pt x="1353" y="81"/>
                </a:cubicBezTo>
                <a:cubicBezTo>
                  <a:pt x="1353" y="80"/>
                  <a:pt x="1353" y="80"/>
                  <a:pt x="1353" y="80"/>
                </a:cubicBezTo>
                <a:cubicBezTo>
                  <a:pt x="1353" y="78"/>
                  <a:pt x="1353" y="78"/>
                  <a:pt x="1353" y="78"/>
                </a:cubicBezTo>
                <a:cubicBezTo>
                  <a:pt x="1353" y="76"/>
                  <a:pt x="1353" y="76"/>
                  <a:pt x="1353" y="76"/>
                </a:cubicBezTo>
                <a:cubicBezTo>
                  <a:pt x="1354" y="75"/>
                  <a:pt x="1354" y="75"/>
                  <a:pt x="1354" y="75"/>
                </a:cubicBezTo>
                <a:cubicBezTo>
                  <a:pt x="1355" y="72"/>
                  <a:pt x="1355" y="72"/>
                  <a:pt x="1355" y="72"/>
                </a:cubicBezTo>
                <a:cubicBezTo>
                  <a:pt x="1355" y="71"/>
                  <a:pt x="1355" y="71"/>
                  <a:pt x="1355" y="71"/>
                </a:cubicBezTo>
                <a:cubicBezTo>
                  <a:pt x="1355" y="70"/>
                  <a:pt x="1355" y="70"/>
                  <a:pt x="1355" y="70"/>
                </a:cubicBezTo>
                <a:cubicBezTo>
                  <a:pt x="1354" y="70"/>
                  <a:pt x="1354" y="70"/>
                  <a:pt x="1354" y="70"/>
                </a:cubicBezTo>
                <a:cubicBezTo>
                  <a:pt x="1352" y="70"/>
                  <a:pt x="1352" y="70"/>
                  <a:pt x="1352" y="70"/>
                </a:cubicBezTo>
                <a:cubicBezTo>
                  <a:pt x="1351" y="71"/>
                  <a:pt x="1351" y="71"/>
                  <a:pt x="1351" y="71"/>
                </a:cubicBezTo>
                <a:cubicBezTo>
                  <a:pt x="1351" y="70"/>
                  <a:pt x="1351" y="70"/>
                  <a:pt x="1351" y="70"/>
                </a:cubicBezTo>
                <a:cubicBezTo>
                  <a:pt x="1350" y="70"/>
                  <a:pt x="1350" y="70"/>
                  <a:pt x="1350" y="70"/>
                </a:cubicBezTo>
                <a:cubicBezTo>
                  <a:pt x="1349" y="71"/>
                  <a:pt x="1349" y="71"/>
                  <a:pt x="1349" y="71"/>
                </a:cubicBezTo>
                <a:cubicBezTo>
                  <a:pt x="1348" y="70"/>
                  <a:pt x="1348" y="70"/>
                  <a:pt x="1348" y="70"/>
                </a:cubicBezTo>
                <a:cubicBezTo>
                  <a:pt x="1347" y="69"/>
                  <a:pt x="1347" y="69"/>
                  <a:pt x="1347" y="69"/>
                </a:cubicBezTo>
                <a:cubicBezTo>
                  <a:pt x="1346" y="68"/>
                  <a:pt x="1346" y="68"/>
                  <a:pt x="1346" y="68"/>
                </a:cubicBezTo>
                <a:cubicBezTo>
                  <a:pt x="1346" y="67"/>
                  <a:pt x="1346" y="67"/>
                  <a:pt x="1346" y="67"/>
                </a:cubicBezTo>
                <a:cubicBezTo>
                  <a:pt x="1345" y="66"/>
                  <a:pt x="1345" y="66"/>
                  <a:pt x="1345" y="66"/>
                </a:cubicBezTo>
                <a:cubicBezTo>
                  <a:pt x="1344" y="68"/>
                  <a:pt x="1344" y="68"/>
                  <a:pt x="1344" y="68"/>
                </a:cubicBezTo>
                <a:cubicBezTo>
                  <a:pt x="1344" y="70"/>
                  <a:pt x="1344" y="70"/>
                  <a:pt x="1344" y="70"/>
                </a:cubicBezTo>
                <a:cubicBezTo>
                  <a:pt x="1345" y="70"/>
                  <a:pt x="1345" y="70"/>
                  <a:pt x="1345" y="70"/>
                </a:cubicBezTo>
                <a:cubicBezTo>
                  <a:pt x="1345" y="72"/>
                  <a:pt x="1345" y="72"/>
                  <a:pt x="1345" y="72"/>
                </a:cubicBezTo>
                <a:cubicBezTo>
                  <a:pt x="1344" y="73"/>
                  <a:pt x="1344" y="73"/>
                  <a:pt x="1344" y="73"/>
                </a:cubicBezTo>
                <a:cubicBezTo>
                  <a:pt x="1344" y="75"/>
                  <a:pt x="1344" y="75"/>
                  <a:pt x="1344" y="75"/>
                </a:cubicBezTo>
                <a:cubicBezTo>
                  <a:pt x="1344" y="74"/>
                  <a:pt x="1344" y="74"/>
                  <a:pt x="1344" y="74"/>
                </a:cubicBezTo>
                <a:cubicBezTo>
                  <a:pt x="1344" y="71"/>
                  <a:pt x="1344" y="71"/>
                  <a:pt x="1344" y="71"/>
                </a:cubicBezTo>
                <a:cubicBezTo>
                  <a:pt x="1344" y="70"/>
                  <a:pt x="1344" y="70"/>
                  <a:pt x="1344" y="70"/>
                </a:cubicBezTo>
                <a:cubicBezTo>
                  <a:pt x="1343" y="69"/>
                  <a:pt x="1343" y="69"/>
                  <a:pt x="1343" y="69"/>
                </a:cubicBezTo>
                <a:cubicBezTo>
                  <a:pt x="1342" y="67"/>
                  <a:pt x="1342" y="67"/>
                  <a:pt x="1342" y="67"/>
                </a:cubicBezTo>
                <a:cubicBezTo>
                  <a:pt x="1341" y="66"/>
                  <a:pt x="1341" y="66"/>
                  <a:pt x="1341" y="66"/>
                </a:cubicBezTo>
                <a:cubicBezTo>
                  <a:pt x="1340" y="65"/>
                  <a:pt x="1340" y="65"/>
                  <a:pt x="1340" y="65"/>
                </a:cubicBezTo>
                <a:cubicBezTo>
                  <a:pt x="1341" y="65"/>
                  <a:pt x="1341" y="65"/>
                  <a:pt x="1341" y="65"/>
                </a:cubicBezTo>
                <a:cubicBezTo>
                  <a:pt x="1342" y="64"/>
                  <a:pt x="1342" y="64"/>
                  <a:pt x="1342" y="64"/>
                </a:cubicBezTo>
                <a:cubicBezTo>
                  <a:pt x="1343" y="62"/>
                  <a:pt x="1343" y="62"/>
                  <a:pt x="1343" y="62"/>
                </a:cubicBezTo>
                <a:cubicBezTo>
                  <a:pt x="1343" y="61"/>
                  <a:pt x="1343" y="61"/>
                  <a:pt x="1343" y="61"/>
                </a:cubicBezTo>
                <a:cubicBezTo>
                  <a:pt x="1343" y="60"/>
                  <a:pt x="1343" y="60"/>
                  <a:pt x="1343" y="60"/>
                </a:cubicBezTo>
                <a:cubicBezTo>
                  <a:pt x="1341" y="60"/>
                  <a:pt x="1341" y="60"/>
                  <a:pt x="1341" y="60"/>
                </a:cubicBezTo>
                <a:cubicBezTo>
                  <a:pt x="1342" y="59"/>
                  <a:pt x="1342" y="59"/>
                  <a:pt x="1342" y="59"/>
                </a:cubicBezTo>
                <a:cubicBezTo>
                  <a:pt x="1344" y="59"/>
                  <a:pt x="1344" y="59"/>
                  <a:pt x="1344" y="59"/>
                </a:cubicBezTo>
                <a:cubicBezTo>
                  <a:pt x="1345" y="59"/>
                  <a:pt x="1345" y="59"/>
                  <a:pt x="1345" y="59"/>
                </a:cubicBezTo>
                <a:cubicBezTo>
                  <a:pt x="1346" y="57"/>
                  <a:pt x="1346" y="57"/>
                  <a:pt x="1346" y="57"/>
                </a:cubicBezTo>
                <a:cubicBezTo>
                  <a:pt x="1345" y="55"/>
                  <a:pt x="1345" y="55"/>
                  <a:pt x="1345" y="55"/>
                </a:cubicBezTo>
                <a:cubicBezTo>
                  <a:pt x="1345" y="54"/>
                  <a:pt x="1345" y="54"/>
                  <a:pt x="1345" y="54"/>
                </a:cubicBezTo>
                <a:cubicBezTo>
                  <a:pt x="1345" y="53"/>
                  <a:pt x="1345" y="53"/>
                  <a:pt x="1345" y="53"/>
                </a:cubicBezTo>
                <a:cubicBezTo>
                  <a:pt x="1345" y="53"/>
                  <a:pt x="1345" y="53"/>
                  <a:pt x="1345" y="53"/>
                </a:cubicBezTo>
                <a:cubicBezTo>
                  <a:pt x="1347" y="54"/>
                  <a:pt x="1347" y="54"/>
                  <a:pt x="1347" y="54"/>
                </a:cubicBezTo>
                <a:cubicBezTo>
                  <a:pt x="1347" y="56"/>
                  <a:pt x="1347" y="56"/>
                  <a:pt x="1347" y="56"/>
                </a:cubicBezTo>
                <a:cubicBezTo>
                  <a:pt x="1348" y="56"/>
                  <a:pt x="1348" y="56"/>
                  <a:pt x="1348" y="56"/>
                </a:cubicBezTo>
                <a:cubicBezTo>
                  <a:pt x="1349" y="56"/>
                  <a:pt x="1349" y="56"/>
                  <a:pt x="1349" y="56"/>
                </a:cubicBezTo>
                <a:cubicBezTo>
                  <a:pt x="1351" y="55"/>
                  <a:pt x="1351" y="55"/>
                  <a:pt x="1351" y="55"/>
                </a:cubicBezTo>
                <a:cubicBezTo>
                  <a:pt x="1352" y="56"/>
                  <a:pt x="1352" y="56"/>
                  <a:pt x="1352" y="56"/>
                </a:cubicBezTo>
                <a:cubicBezTo>
                  <a:pt x="1354" y="57"/>
                  <a:pt x="1354" y="57"/>
                  <a:pt x="1354" y="57"/>
                </a:cubicBezTo>
                <a:cubicBezTo>
                  <a:pt x="1355" y="57"/>
                  <a:pt x="1355" y="57"/>
                  <a:pt x="1355" y="57"/>
                </a:cubicBezTo>
                <a:cubicBezTo>
                  <a:pt x="1357" y="59"/>
                  <a:pt x="1357" y="59"/>
                  <a:pt x="1357" y="59"/>
                </a:cubicBezTo>
                <a:cubicBezTo>
                  <a:pt x="1357" y="60"/>
                  <a:pt x="1357" y="60"/>
                  <a:pt x="1357" y="60"/>
                </a:cubicBezTo>
                <a:cubicBezTo>
                  <a:pt x="1358" y="62"/>
                  <a:pt x="1358" y="62"/>
                  <a:pt x="1358" y="62"/>
                </a:cubicBezTo>
                <a:cubicBezTo>
                  <a:pt x="1359" y="63"/>
                  <a:pt x="1359" y="63"/>
                  <a:pt x="1359" y="63"/>
                </a:cubicBezTo>
                <a:cubicBezTo>
                  <a:pt x="1359" y="64"/>
                  <a:pt x="1359" y="64"/>
                  <a:pt x="1359" y="64"/>
                </a:cubicBezTo>
                <a:cubicBezTo>
                  <a:pt x="1360" y="64"/>
                  <a:pt x="1360" y="64"/>
                  <a:pt x="1360" y="64"/>
                </a:cubicBezTo>
                <a:cubicBezTo>
                  <a:pt x="1363" y="63"/>
                  <a:pt x="1363" y="63"/>
                  <a:pt x="1363" y="63"/>
                </a:cubicBezTo>
                <a:cubicBezTo>
                  <a:pt x="1364" y="60"/>
                  <a:pt x="1364" y="60"/>
                  <a:pt x="1364" y="60"/>
                </a:cubicBezTo>
                <a:cubicBezTo>
                  <a:pt x="1365" y="58"/>
                  <a:pt x="1365" y="58"/>
                  <a:pt x="1365" y="58"/>
                </a:cubicBezTo>
                <a:cubicBezTo>
                  <a:pt x="1364" y="57"/>
                  <a:pt x="1364" y="57"/>
                  <a:pt x="1364" y="57"/>
                </a:cubicBezTo>
                <a:cubicBezTo>
                  <a:pt x="1364" y="56"/>
                  <a:pt x="1364" y="56"/>
                  <a:pt x="1364" y="56"/>
                </a:cubicBezTo>
                <a:cubicBezTo>
                  <a:pt x="1365" y="55"/>
                  <a:pt x="1365" y="55"/>
                  <a:pt x="1365" y="55"/>
                </a:cubicBezTo>
                <a:cubicBezTo>
                  <a:pt x="1365" y="54"/>
                  <a:pt x="1365" y="54"/>
                  <a:pt x="1365" y="54"/>
                </a:cubicBezTo>
                <a:cubicBezTo>
                  <a:pt x="1363" y="54"/>
                  <a:pt x="1363" y="54"/>
                  <a:pt x="1363" y="54"/>
                </a:cubicBezTo>
                <a:cubicBezTo>
                  <a:pt x="1361" y="54"/>
                  <a:pt x="1361" y="54"/>
                  <a:pt x="1361" y="54"/>
                </a:cubicBezTo>
                <a:cubicBezTo>
                  <a:pt x="1361" y="55"/>
                  <a:pt x="1361" y="55"/>
                  <a:pt x="1361" y="55"/>
                </a:cubicBezTo>
                <a:cubicBezTo>
                  <a:pt x="1359" y="54"/>
                  <a:pt x="1359" y="54"/>
                  <a:pt x="1359" y="54"/>
                </a:cubicBezTo>
                <a:cubicBezTo>
                  <a:pt x="1357" y="52"/>
                  <a:pt x="1357" y="52"/>
                  <a:pt x="1357" y="52"/>
                </a:cubicBezTo>
                <a:cubicBezTo>
                  <a:pt x="1355" y="52"/>
                  <a:pt x="1355" y="52"/>
                  <a:pt x="1355" y="52"/>
                </a:cubicBezTo>
                <a:cubicBezTo>
                  <a:pt x="1354" y="52"/>
                  <a:pt x="1354" y="52"/>
                  <a:pt x="1354" y="52"/>
                </a:cubicBezTo>
                <a:cubicBezTo>
                  <a:pt x="1353" y="51"/>
                  <a:pt x="1353" y="51"/>
                  <a:pt x="1353" y="51"/>
                </a:cubicBezTo>
                <a:cubicBezTo>
                  <a:pt x="1353" y="51"/>
                  <a:pt x="1353" y="51"/>
                  <a:pt x="1353" y="51"/>
                </a:cubicBezTo>
                <a:cubicBezTo>
                  <a:pt x="1354" y="51"/>
                  <a:pt x="1354" y="51"/>
                  <a:pt x="1354" y="51"/>
                </a:cubicBezTo>
                <a:cubicBezTo>
                  <a:pt x="1355" y="49"/>
                  <a:pt x="1355" y="49"/>
                  <a:pt x="1355" y="49"/>
                </a:cubicBezTo>
                <a:cubicBezTo>
                  <a:pt x="1355" y="46"/>
                  <a:pt x="1355" y="46"/>
                  <a:pt x="1355" y="46"/>
                </a:cubicBezTo>
                <a:cubicBezTo>
                  <a:pt x="1355" y="45"/>
                  <a:pt x="1355" y="45"/>
                  <a:pt x="1355" y="45"/>
                </a:cubicBezTo>
                <a:cubicBezTo>
                  <a:pt x="1356" y="44"/>
                  <a:pt x="1356" y="44"/>
                  <a:pt x="1356" y="44"/>
                </a:cubicBezTo>
                <a:cubicBezTo>
                  <a:pt x="1353" y="43"/>
                  <a:pt x="1353" y="43"/>
                  <a:pt x="1353" y="43"/>
                </a:cubicBezTo>
                <a:cubicBezTo>
                  <a:pt x="1352" y="43"/>
                  <a:pt x="1352" y="43"/>
                  <a:pt x="1352" y="43"/>
                </a:cubicBezTo>
                <a:cubicBezTo>
                  <a:pt x="1351" y="45"/>
                  <a:pt x="1351" y="45"/>
                  <a:pt x="1351" y="45"/>
                </a:cubicBezTo>
                <a:cubicBezTo>
                  <a:pt x="1349" y="46"/>
                  <a:pt x="1349" y="46"/>
                  <a:pt x="1349" y="46"/>
                </a:cubicBezTo>
                <a:cubicBezTo>
                  <a:pt x="1347" y="45"/>
                  <a:pt x="1347" y="45"/>
                  <a:pt x="1347" y="45"/>
                </a:cubicBezTo>
                <a:cubicBezTo>
                  <a:pt x="1346" y="44"/>
                  <a:pt x="1346" y="44"/>
                  <a:pt x="1346" y="44"/>
                </a:cubicBezTo>
                <a:cubicBezTo>
                  <a:pt x="1346" y="42"/>
                  <a:pt x="1346" y="42"/>
                  <a:pt x="1346" y="42"/>
                </a:cubicBezTo>
                <a:cubicBezTo>
                  <a:pt x="1345" y="41"/>
                  <a:pt x="1345" y="41"/>
                  <a:pt x="1345" y="41"/>
                </a:cubicBezTo>
                <a:cubicBezTo>
                  <a:pt x="1345" y="40"/>
                  <a:pt x="1345" y="40"/>
                  <a:pt x="1345" y="40"/>
                </a:cubicBezTo>
                <a:cubicBezTo>
                  <a:pt x="1346" y="41"/>
                  <a:pt x="1346" y="41"/>
                  <a:pt x="1346" y="41"/>
                </a:cubicBezTo>
                <a:cubicBezTo>
                  <a:pt x="1347" y="42"/>
                  <a:pt x="1347" y="42"/>
                  <a:pt x="1347" y="42"/>
                </a:cubicBezTo>
                <a:cubicBezTo>
                  <a:pt x="1346" y="42"/>
                  <a:pt x="1346" y="42"/>
                  <a:pt x="1346" y="42"/>
                </a:cubicBezTo>
                <a:cubicBezTo>
                  <a:pt x="1347" y="44"/>
                  <a:pt x="1347" y="44"/>
                  <a:pt x="1347" y="44"/>
                </a:cubicBezTo>
                <a:cubicBezTo>
                  <a:pt x="1349" y="44"/>
                  <a:pt x="1349" y="44"/>
                  <a:pt x="1349" y="44"/>
                </a:cubicBezTo>
                <a:cubicBezTo>
                  <a:pt x="1350" y="44"/>
                  <a:pt x="1350" y="44"/>
                  <a:pt x="1350" y="44"/>
                </a:cubicBezTo>
                <a:cubicBezTo>
                  <a:pt x="1352" y="42"/>
                  <a:pt x="1352" y="42"/>
                  <a:pt x="1352" y="42"/>
                </a:cubicBezTo>
                <a:cubicBezTo>
                  <a:pt x="1353" y="42"/>
                  <a:pt x="1353" y="42"/>
                  <a:pt x="1353" y="42"/>
                </a:cubicBezTo>
                <a:cubicBezTo>
                  <a:pt x="1355" y="42"/>
                  <a:pt x="1355" y="42"/>
                  <a:pt x="1355" y="42"/>
                </a:cubicBezTo>
                <a:cubicBezTo>
                  <a:pt x="1356" y="42"/>
                  <a:pt x="1356" y="42"/>
                  <a:pt x="1356" y="42"/>
                </a:cubicBezTo>
                <a:cubicBezTo>
                  <a:pt x="1357" y="43"/>
                  <a:pt x="1357" y="43"/>
                  <a:pt x="1357" y="43"/>
                </a:cubicBezTo>
                <a:cubicBezTo>
                  <a:pt x="1357" y="42"/>
                  <a:pt x="1357" y="42"/>
                  <a:pt x="1357" y="42"/>
                </a:cubicBezTo>
                <a:cubicBezTo>
                  <a:pt x="1357" y="41"/>
                  <a:pt x="1357" y="41"/>
                  <a:pt x="1357" y="41"/>
                </a:cubicBezTo>
                <a:cubicBezTo>
                  <a:pt x="1353" y="37"/>
                  <a:pt x="1353" y="37"/>
                  <a:pt x="1353" y="37"/>
                </a:cubicBezTo>
                <a:cubicBezTo>
                  <a:pt x="1350" y="35"/>
                  <a:pt x="1350" y="35"/>
                  <a:pt x="1350" y="35"/>
                </a:cubicBezTo>
                <a:cubicBezTo>
                  <a:pt x="1348" y="35"/>
                  <a:pt x="1348" y="35"/>
                  <a:pt x="1348" y="35"/>
                </a:cubicBezTo>
                <a:cubicBezTo>
                  <a:pt x="1345" y="33"/>
                  <a:pt x="1345" y="33"/>
                  <a:pt x="1345" y="33"/>
                </a:cubicBezTo>
                <a:cubicBezTo>
                  <a:pt x="1343" y="31"/>
                  <a:pt x="1343" y="31"/>
                  <a:pt x="1343" y="31"/>
                </a:cubicBezTo>
                <a:cubicBezTo>
                  <a:pt x="1343" y="30"/>
                  <a:pt x="1343" y="30"/>
                  <a:pt x="1343" y="30"/>
                </a:cubicBezTo>
                <a:cubicBezTo>
                  <a:pt x="1343" y="29"/>
                  <a:pt x="1343" y="29"/>
                  <a:pt x="1343" y="29"/>
                </a:cubicBezTo>
                <a:cubicBezTo>
                  <a:pt x="1344" y="30"/>
                  <a:pt x="1344" y="30"/>
                  <a:pt x="1344" y="30"/>
                </a:cubicBezTo>
                <a:cubicBezTo>
                  <a:pt x="1345" y="32"/>
                  <a:pt x="1345" y="32"/>
                  <a:pt x="1345" y="32"/>
                </a:cubicBezTo>
                <a:cubicBezTo>
                  <a:pt x="1346" y="33"/>
                  <a:pt x="1346" y="33"/>
                  <a:pt x="1346" y="33"/>
                </a:cubicBezTo>
                <a:cubicBezTo>
                  <a:pt x="1349" y="33"/>
                  <a:pt x="1349" y="33"/>
                  <a:pt x="1349" y="33"/>
                </a:cubicBezTo>
                <a:cubicBezTo>
                  <a:pt x="1349" y="32"/>
                  <a:pt x="1349" y="32"/>
                  <a:pt x="1349" y="32"/>
                </a:cubicBezTo>
                <a:cubicBezTo>
                  <a:pt x="1349" y="31"/>
                  <a:pt x="1349" y="31"/>
                  <a:pt x="1349" y="31"/>
                </a:cubicBezTo>
                <a:cubicBezTo>
                  <a:pt x="1347" y="29"/>
                  <a:pt x="1347" y="29"/>
                  <a:pt x="1347" y="29"/>
                </a:cubicBezTo>
                <a:cubicBezTo>
                  <a:pt x="1347" y="29"/>
                  <a:pt x="1347" y="29"/>
                  <a:pt x="1347" y="29"/>
                </a:cubicBezTo>
                <a:cubicBezTo>
                  <a:pt x="1347" y="28"/>
                  <a:pt x="1347" y="28"/>
                  <a:pt x="1347" y="28"/>
                </a:cubicBezTo>
                <a:cubicBezTo>
                  <a:pt x="1347" y="28"/>
                  <a:pt x="1347" y="28"/>
                  <a:pt x="1347" y="28"/>
                </a:cubicBezTo>
                <a:cubicBezTo>
                  <a:pt x="1348" y="29"/>
                  <a:pt x="1348" y="29"/>
                  <a:pt x="1348" y="29"/>
                </a:cubicBezTo>
                <a:cubicBezTo>
                  <a:pt x="1351" y="31"/>
                  <a:pt x="1351" y="31"/>
                  <a:pt x="1351" y="31"/>
                </a:cubicBezTo>
                <a:cubicBezTo>
                  <a:pt x="1351" y="33"/>
                  <a:pt x="1351" y="33"/>
                  <a:pt x="1351" y="33"/>
                </a:cubicBezTo>
                <a:cubicBezTo>
                  <a:pt x="1351" y="34"/>
                  <a:pt x="1351" y="34"/>
                  <a:pt x="1351" y="34"/>
                </a:cubicBezTo>
                <a:cubicBezTo>
                  <a:pt x="1353" y="35"/>
                  <a:pt x="1353" y="35"/>
                  <a:pt x="1353" y="35"/>
                </a:cubicBezTo>
                <a:cubicBezTo>
                  <a:pt x="1355" y="37"/>
                  <a:pt x="1355" y="37"/>
                  <a:pt x="1355" y="37"/>
                </a:cubicBezTo>
                <a:cubicBezTo>
                  <a:pt x="1357" y="39"/>
                  <a:pt x="1357" y="39"/>
                  <a:pt x="1357" y="39"/>
                </a:cubicBezTo>
                <a:cubicBezTo>
                  <a:pt x="1358" y="40"/>
                  <a:pt x="1358" y="40"/>
                  <a:pt x="1358" y="40"/>
                </a:cubicBezTo>
                <a:cubicBezTo>
                  <a:pt x="1359" y="39"/>
                  <a:pt x="1359" y="39"/>
                  <a:pt x="1359" y="39"/>
                </a:cubicBezTo>
                <a:cubicBezTo>
                  <a:pt x="1360" y="40"/>
                  <a:pt x="1360" y="40"/>
                  <a:pt x="1360" y="40"/>
                </a:cubicBezTo>
                <a:cubicBezTo>
                  <a:pt x="1361" y="40"/>
                  <a:pt x="1361" y="40"/>
                  <a:pt x="1361" y="40"/>
                </a:cubicBezTo>
                <a:cubicBezTo>
                  <a:pt x="1359" y="42"/>
                  <a:pt x="1359" y="42"/>
                  <a:pt x="1359" y="42"/>
                </a:cubicBezTo>
                <a:cubicBezTo>
                  <a:pt x="1360" y="43"/>
                  <a:pt x="1360" y="43"/>
                  <a:pt x="1360" y="43"/>
                </a:cubicBezTo>
                <a:cubicBezTo>
                  <a:pt x="1361" y="44"/>
                  <a:pt x="1361" y="44"/>
                  <a:pt x="1361" y="44"/>
                </a:cubicBezTo>
                <a:cubicBezTo>
                  <a:pt x="1362" y="44"/>
                  <a:pt x="1362" y="44"/>
                  <a:pt x="1362" y="44"/>
                </a:cubicBezTo>
                <a:cubicBezTo>
                  <a:pt x="1363" y="43"/>
                  <a:pt x="1363" y="43"/>
                  <a:pt x="1363" y="43"/>
                </a:cubicBezTo>
                <a:cubicBezTo>
                  <a:pt x="1364" y="39"/>
                  <a:pt x="1364" y="39"/>
                  <a:pt x="1364" y="39"/>
                </a:cubicBezTo>
                <a:cubicBezTo>
                  <a:pt x="1365" y="38"/>
                  <a:pt x="1365" y="38"/>
                  <a:pt x="1365" y="38"/>
                </a:cubicBezTo>
                <a:cubicBezTo>
                  <a:pt x="1365" y="37"/>
                  <a:pt x="1365" y="37"/>
                  <a:pt x="1365" y="37"/>
                </a:cubicBezTo>
                <a:cubicBezTo>
                  <a:pt x="1365" y="35"/>
                  <a:pt x="1365" y="35"/>
                  <a:pt x="1365" y="35"/>
                </a:cubicBezTo>
                <a:cubicBezTo>
                  <a:pt x="1365" y="35"/>
                  <a:pt x="1365" y="35"/>
                  <a:pt x="1365" y="35"/>
                </a:cubicBezTo>
                <a:cubicBezTo>
                  <a:pt x="1365" y="32"/>
                  <a:pt x="1365" y="32"/>
                  <a:pt x="1365" y="32"/>
                </a:cubicBezTo>
                <a:cubicBezTo>
                  <a:pt x="1364" y="31"/>
                  <a:pt x="1364" y="31"/>
                  <a:pt x="1364" y="31"/>
                </a:cubicBezTo>
                <a:cubicBezTo>
                  <a:pt x="1364" y="30"/>
                  <a:pt x="1364" y="30"/>
                  <a:pt x="1364" y="30"/>
                </a:cubicBezTo>
                <a:cubicBezTo>
                  <a:pt x="1365" y="29"/>
                  <a:pt x="1365" y="29"/>
                  <a:pt x="1365" y="29"/>
                </a:cubicBezTo>
                <a:cubicBezTo>
                  <a:pt x="1365" y="30"/>
                  <a:pt x="1365" y="30"/>
                  <a:pt x="1365" y="30"/>
                </a:cubicBezTo>
                <a:cubicBezTo>
                  <a:pt x="1367" y="30"/>
                  <a:pt x="1367" y="30"/>
                  <a:pt x="1367" y="30"/>
                </a:cubicBezTo>
                <a:cubicBezTo>
                  <a:pt x="1367" y="30"/>
                  <a:pt x="1367" y="30"/>
                  <a:pt x="1367" y="30"/>
                </a:cubicBezTo>
                <a:cubicBezTo>
                  <a:pt x="1367" y="29"/>
                  <a:pt x="1367" y="29"/>
                  <a:pt x="1367" y="29"/>
                </a:cubicBezTo>
                <a:cubicBezTo>
                  <a:pt x="1365" y="27"/>
                  <a:pt x="1365" y="27"/>
                  <a:pt x="1365" y="27"/>
                </a:cubicBezTo>
                <a:cubicBezTo>
                  <a:pt x="1364" y="26"/>
                  <a:pt x="1364" y="26"/>
                  <a:pt x="1364" y="26"/>
                </a:cubicBezTo>
                <a:cubicBezTo>
                  <a:pt x="1363" y="25"/>
                  <a:pt x="1363" y="25"/>
                  <a:pt x="1363" y="25"/>
                </a:cubicBezTo>
                <a:cubicBezTo>
                  <a:pt x="1362" y="24"/>
                  <a:pt x="1362" y="24"/>
                  <a:pt x="1362" y="24"/>
                </a:cubicBezTo>
                <a:cubicBezTo>
                  <a:pt x="1360" y="24"/>
                  <a:pt x="1360" y="24"/>
                  <a:pt x="1360" y="24"/>
                </a:cubicBezTo>
                <a:cubicBezTo>
                  <a:pt x="1359" y="23"/>
                  <a:pt x="1359" y="23"/>
                  <a:pt x="1359" y="23"/>
                </a:cubicBezTo>
                <a:cubicBezTo>
                  <a:pt x="1358" y="22"/>
                  <a:pt x="1358" y="22"/>
                  <a:pt x="1358" y="22"/>
                </a:cubicBezTo>
                <a:cubicBezTo>
                  <a:pt x="1355" y="22"/>
                  <a:pt x="1355" y="22"/>
                  <a:pt x="1355" y="22"/>
                </a:cubicBezTo>
                <a:cubicBezTo>
                  <a:pt x="1353" y="22"/>
                  <a:pt x="1353" y="22"/>
                  <a:pt x="1353" y="22"/>
                </a:cubicBezTo>
                <a:cubicBezTo>
                  <a:pt x="1352" y="22"/>
                  <a:pt x="1352" y="22"/>
                  <a:pt x="1352" y="22"/>
                </a:cubicBezTo>
                <a:cubicBezTo>
                  <a:pt x="1352" y="22"/>
                  <a:pt x="1352" y="22"/>
                  <a:pt x="1352" y="22"/>
                </a:cubicBezTo>
                <a:cubicBezTo>
                  <a:pt x="1351" y="21"/>
                  <a:pt x="1351" y="21"/>
                  <a:pt x="1351" y="21"/>
                </a:cubicBezTo>
                <a:cubicBezTo>
                  <a:pt x="1352" y="20"/>
                  <a:pt x="1352" y="20"/>
                  <a:pt x="1352" y="20"/>
                </a:cubicBezTo>
                <a:cubicBezTo>
                  <a:pt x="1352" y="21"/>
                  <a:pt x="1352" y="21"/>
                  <a:pt x="1352" y="21"/>
                </a:cubicBezTo>
                <a:cubicBezTo>
                  <a:pt x="1353" y="21"/>
                  <a:pt x="1353" y="21"/>
                  <a:pt x="1353" y="21"/>
                </a:cubicBezTo>
                <a:cubicBezTo>
                  <a:pt x="1355" y="21"/>
                  <a:pt x="1355" y="21"/>
                  <a:pt x="1355" y="21"/>
                </a:cubicBezTo>
                <a:cubicBezTo>
                  <a:pt x="1358" y="21"/>
                  <a:pt x="1358" y="21"/>
                  <a:pt x="1358" y="21"/>
                </a:cubicBezTo>
                <a:cubicBezTo>
                  <a:pt x="1359" y="21"/>
                  <a:pt x="1359" y="21"/>
                  <a:pt x="1359" y="21"/>
                </a:cubicBezTo>
                <a:cubicBezTo>
                  <a:pt x="1360" y="21"/>
                  <a:pt x="1360" y="21"/>
                  <a:pt x="1360" y="21"/>
                </a:cubicBezTo>
                <a:cubicBezTo>
                  <a:pt x="1361" y="20"/>
                  <a:pt x="1361" y="20"/>
                  <a:pt x="1361" y="20"/>
                </a:cubicBezTo>
                <a:cubicBezTo>
                  <a:pt x="1363" y="21"/>
                  <a:pt x="1363" y="21"/>
                  <a:pt x="1363" y="21"/>
                </a:cubicBezTo>
                <a:cubicBezTo>
                  <a:pt x="1363" y="21"/>
                  <a:pt x="1363" y="21"/>
                  <a:pt x="1363" y="21"/>
                </a:cubicBezTo>
                <a:cubicBezTo>
                  <a:pt x="1365" y="21"/>
                  <a:pt x="1365" y="21"/>
                  <a:pt x="1365" y="21"/>
                </a:cubicBezTo>
                <a:cubicBezTo>
                  <a:pt x="1365" y="20"/>
                  <a:pt x="1365" y="20"/>
                  <a:pt x="1365" y="20"/>
                </a:cubicBezTo>
                <a:cubicBezTo>
                  <a:pt x="1365" y="19"/>
                  <a:pt x="1365" y="19"/>
                  <a:pt x="1365" y="19"/>
                </a:cubicBezTo>
                <a:cubicBezTo>
                  <a:pt x="1365" y="17"/>
                  <a:pt x="1365" y="17"/>
                  <a:pt x="1365" y="17"/>
                </a:cubicBezTo>
                <a:cubicBezTo>
                  <a:pt x="1365" y="16"/>
                  <a:pt x="1365" y="16"/>
                  <a:pt x="1365" y="16"/>
                </a:cubicBezTo>
                <a:cubicBezTo>
                  <a:pt x="1364" y="16"/>
                  <a:pt x="1364" y="16"/>
                  <a:pt x="1364" y="16"/>
                </a:cubicBezTo>
                <a:cubicBezTo>
                  <a:pt x="1363" y="16"/>
                  <a:pt x="1363" y="16"/>
                  <a:pt x="1363" y="16"/>
                </a:cubicBezTo>
                <a:cubicBezTo>
                  <a:pt x="1362" y="17"/>
                  <a:pt x="1362" y="17"/>
                  <a:pt x="1362" y="17"/>
                </a:cubicBezTo>
                <a:cubicBezTo>
                  <a:pt x="1360" y="16"/>
                  <a:pt x="1360" y="16"/>
                  <a:pt x="1360" y="16"/>
                </a:cubicBezTo>
                <a:cubicBezTo>
                  <a:pt x="1358" y="16"/>
                  <a:pt x="1358" y="16"/>
                  <a:pt x="1358" y="16"/>
                </a:cubicBezTo>
                <a:cubicBezTo>
                  <a:pt x="1357" y="15"/>
                  <a:pt x="1357" y="15"/>
                  <a:pt x="1357" y="15"/>
                </a:cubicBezTo>
                <a:cubicBezTo>
                  <a:pt x="1356" y="15"/>
                  <a:pt x="1356" y="15"/>
                  <a:pt x="1356" y="15"/>
                </a:cubicBezTo>
                <a:cubicBezTo>
                  <a:pt x="1354" y="15"/>
                  <a:pt x="1354" y="15"/>
                  <a:pt x="1354" y="15"/>
                </a:cubicBezTo>
                <a:cubicBezTo>
                  <a:pt x="1353" y="16"/>
                  <a:pt x="1353" y="16"/>
                  <a:pt x="1353" y="16"/>
                </a:cubicBezTo>
                <a:cubicBezTo>
                  <a:pt x="1352" y="16"/>
                  <a:pt x="1352" y="16"/>
                  <a:pt x="1352" y="16"/>
                </a:cubicBezTo>
                <a:cubicBezTo>
                  <a:pt x="1352" y="14"/>
                  <a:pt x="1352" y="14"/>
                  <a:pt x="1352" y="14"/>
                </a:cubicBezTo>
                <a:cubicBezTo>
                  <a:pt x="1353" y="13"/>
                  <a:pt x="1353" y="13"/>
                  <a:pt x="1353" y="13"/>
                </a:cubicBezTo>
                <a:cubicBezTo>
                  <a:pt x="1352" y="12"/>
                  <a:pt x="1352" y="12"/>
                  <a:pt x="1352" y="12"/>
                </a:cubicBezTo>
                <a:cubicBezTo>
                  <a:pt x="1350" y="12"/>
                  <a:pt x="1350" y="12"/>
                  <a:pt x="1350" y="12"/>
                </a:cubicBezTo>
                <a:cubicBezTo>
                  <a:pt x="1349" y="12"/>
                  <a:pt x="1349" y="12"/>
                  <a:pt x="1349" y="12"/>
                </a:cubicBezTo>
                <a:cubicBezTo>
                  <a:pt x="1347" y="12"/>
                  <a:pt x="1347" y="12"/>
                  <a:pt x="1347" y="12"/>
                </a:cubicBezTo>
                <a:cubicBezTo>
                  <a:pt x="1348" y="11"/>
                  <a:pt x="1348" y="11"/>
                  <a:pt x="1348" y="11"/>
                </a:cubicBezTo>
                <a:cubicBezTo>
                  <a:pt x="1349" y="11"/>
                  <a:pt x="1349" y="11"/>
                  <a:pt x="1349" y="11"/>
                </a:cubicBezTo>
                <a:cubicBezTo>
                  <a:pt x="1351" y="11"/>
                  <a:pt x="1351" y="11"/>
                  <a:pt x="1351" y="11"/>
                </a:cubicBezTo>
                <a:cubicBezTo>
                  <a:pt x="1352" y="11"/>
                  <a:pt x="1352" y="11"/>
                  <a:pt x="1352" y="11"/>
                </a:cubicBezTo>
                <a:cubicBezTo>
                  <a:pt x="1352" y="10"/>
                  <a:pt x="1352" y="10"/>
                  <a:pt x="1352" y="10"/>
                </a:cubicBezTo>
                <a:cubicBezTo>
                  <a:pt x="1351" y="9"/>
                  <a:pt x="1351" y="9"/>
                  <a:pt x="1351" y="9"/>
                </a:cubicBezTo>
                <a:cubicBezTo>
                  <a:pt x="1352" y="8"/>
                  <a:pt x="1352" y="8"/>
                  <a:pt x="1352" y="8"/>
                </a:cubicBezTo>
                <a:cubicBezTo>
                  <a:pt x="1351" y="7"/>
                  <a:pt x="1351" y="7"/>
                  <a:pt x="1351" y="7"/>
                </a:cubicBezTo>
                <a:cubicBezTo>
                  <a:pt x="1351" y="6"/>
                  <a:pt x="1351" y="6"/>
                  <a:pt x="1351" y="6"/>
                </a:cubicBezTo>
                <a:cubicBezTo>
                  <a:pt x="1352" y="5"/>
                  <a:pt x="1352" y="5"/>
                  <a:pt x="1352" y="5"/>
                </a:cubicBezTo>
                <a:cubicBezTo>
                  <a:pt x="1351" y="4"/>
                  <a:pt x="1351" y="4"/>
                  <a:pt x="1351" y="4"/>
                </a:cubicBezTo>
                <a:cubicBezTo>
                  <a:pt x="1351" y="3"/>
                  <a:pt x="1351" y="3"/>
                  <a:pt x="1351" y="3"/>
                </a:cubicBezTo>
                <a:cubicBezTo>
                  <a:pt x="1352" y="2"/>
                  <a:pt x="1352" y="2"/>
                  <a:pt x="1352" y="2"/>
                </a:cubicBezTo>
                <a:cubicBezTo>
                  <a:pt x="1353" y="3"/>
                  <a:pt x="1353" y="3"/>
                  <a:pt x="1353" y="3"/>
                </a:cubicBezTo>
                <a:cubicBezTo>
                  <a:pt x="1352" y="4"/>
                  <a:pt x="1352" y="4"/>
                  <a:pt x="1352" y="4"/>
                </a:cubicBezTo>
                <a:cubicBezTo>
                  <a:pt x="1353" y="5"/>
                  <a:pt x="1353" y="5"/>
                  <a:pt x="1353" y="5"/>
                </a:cubicBezTo>
                <a:cubicBezTo>
                  <a:pt x="1354" y="5"/>
                  <a:pt x="1354" y="5"/>
                  <a:pt x="1354" y="5"/>
                </a:cubicBezTo>
                <a:cubicBezTo>
                  <a:pt x="1356" y="4"/>
                  <a:pt x="1356" y="4"/>
                  <a:pt x="1356" y="4"/>
                </a:cubicBezTo>
                <a:cubicBezTo>
                  <a:pt x="1358" y="2"/>
                  <a:pt x="1358" y="2"/>
                  <a:pt x="1358" y="2"/>
                </a:cubicBezTo>
                <a:cubicBezTo>
                  <a:pt x="1359" y="2"/>
                  <a:pt x="1359" y="2"/>
                  <a:pt x="1359" y="2"/>
                </a:cubicBezTo>
                <a:cubicBezTo>
                  <a:pt x="1360" y="1"/>
                  <a:pt x="1360" y="1"/>
                  <a:pt x="1360" y="1"/>
                </a:cubicBezTo>
                <a:cubicBezTo>
                  <a:pt x="1359" y="0"/>
                  <a:pt x="1359" y="0"/>
                  <a:pt x="1359" y="0"/>
                </a:cubicBezTo>
                <a:cubicBezTo>
                  <a:pt x="1087" y="0"/>
                  <a:pt x="1087" y="0"/>
                  <a:pt x="1087" y="0"/>
                </a:cubicBezTo>
                <a:cubicBezTo>
                  <a:pt x="1087" y="0"/>
                  <a:pt x="1087" y="0"/>
                  <a:pt x="1087" y="0"/>
                </a:cubicBezTo>
                <a:cubicBezTo>
                  <a:pt x="1087" y="1"/>
                  <a:pt x="1087" y="1"/>
                  <a:pt x="1087" y="1"/>
                </a:cubicBezTo>
                <a:cubicBezTo>
                  <a:pt x="1086" y="2"/>
                  <a:pt x="1086" y="2"/>
                  <a:pt x="1086" y="2"/>
                </a:cubicBezTo>
                <a:cubicBezTo>
                  <a:pt x="1085" y="4"/>
                  <a:pt x="1085" y="4"/>
                  <a:pt x="1085" y="4"/>
                </a:cubicBezTo>
                <a:cubicBezTo>
                  <a:pt x="1084" y="5"/>
                  <a:pt x="1084" y="5"/>
                  <a:pt x="1084" y="5"/>
                </a:cubicBezTo>
                <a:cubicBezTo>
                  <a:pt x="1084" y="6"/>
                  <a:pt x="1084" y="6"/>
                  <a:pt x="1084" y="6"/>
                </a:cubicBezTo>
                <a:cubicBezTo>
                  <a:pt x="1086" y="6"/>
                  <a:pt x="1086" y="6"/>
                  <a:pt x="1086" y="6"/>
                </a:cubicBezTo>
                <a:cubicBezTo>
                  <a:pt x="1086" y="6"/>
                  <a:pt x="1086" y="6"/>
                  <a:pt x="1086" y="6"/>
                </a:cubicBezTo>
                <a:cubicBezTo>
                  <a:pt x="1086" y="7"/>
                  <a:pt x="1086" y="7"/>
                  <a:pt x="1086" y="7"/>
                </a:cubicBezTo>
                <a:cubicBezTo>
                  <a:pt x="1084" y="8"/>
                  <a:pt x="1084" y="8"/>
                  <a:pt x="1084" y="8"/>
                </a:cubicBezTo>
                <a:cubicBezTo>
                  <a:pt x="1082" y="10"/>
                  <a:pt x="1082" y="10"/>
                  <a:pt x="1082" y="10"/>
                </a:cubicBezTo>
                <a:cubicBezTo>
                  <a:pt x="1082" y="10"/>
                  <a:pt x="1082" y="10"/>
                  <a:pt x="1082" y="10"/>
                </a:cubicBezTo>
                <a:cubicBezTo>
                  <a:pt x="1082" y="11"/>
                  <a:pt x="1082" y="11"/>
                  <a:pt x="1082" y="11"/>
                </a:cubicBezTo>
                <a:cubicBezTo>
                  <a:pt x="1083" y="12"/>
                  <a:pt x="1083" y="12"/>
                  <a:pt x="1083" y="12"/>
                </a:cubicBezTo>
                <a:cubicBezTo>
                  <a:pt x="1083" y="13"/>
                  <a:pt x="1083" y="13"/>
                  <a:pt x="1083" y="13"/>
                </a:cubicBezTo>
                <a:cubicBezTo>
                  <a:pt x="1083" y="14"/>
                  <a:pt x="1083" y="14"/>
                  <a:pt x="1083" y="14"/>
                </a:cubicBezTo>
                <a:cubicBezTo>
                  <a:pt x="1087" y="17"/>
                  <a:pt x="1087" y="17"/>
                  <a:pt x="1087" y="17"/>
                </a:cubicBezTo>
                <a:cubicBezTo>
                  <a:pt x="1088" y="18"/>
                  <a:pt x="1088" y="18"/>
                  <a:pt x="1088" y="18"/>
                </a:cubicBezTo>
                <a:cubicBezTo>
                  <a:pt x="1088" y="20"/>
                  <a:pt x="1088" y="20"/>
                  <a:pt x="1088" y="20"/>
                </a:cubicBezTo>
                <a:cubicBezTo>
                  <a:pt x="1088" y="21"/>
                  <a:pt x="1088" y="21"/>
                  <a:pt x="1088" y="21"/>
                </a:cubicBezTo>
                <a:cubicBezTo>
                  <a:pt x="1087" y="22"/>
                  <a:pt x="1087" y="22"/>
                  <a:pt x="1087" y="22"/>
                </a:cubicBezTo>
                <a:cubicBezTo>
                  <a:pt x="1087" y="23"/>
                  <a:pt x="1087" y="23"/>
                  <a:pt x="1087" y="23"/>
                </a:cubicBezTo>
                <a:cubicBezTo>
                  <a:pt x="1088" y="24"/>
                  <a:pt x="1088" y="24"/>
                  <a:pt x="1088" y="24"/>
                </a:cubicBezTo>
                <a:cubicBezTo>
                  <a:pt x="1089" y="24"/>
                  <a:pt x="1089" y="24"/>
                  <a:pt x="1089" y="24"/>
                </a:cubicBezTo>
                <a:cubicBezTo>
                  <a:pt x="1090" y="25"/>
                  <a:pt x="1090" y="25"/>
                  <a:pt x="1090" y="25"/>
                </a:cubicBezTo>
                <a:cubicBezTo>
                  <a:pt x="1090" y="26"/>
                  <a:pt x="1090" y="26"/>
                  <a:pt x="1090" y="26"/>
                </a:cubicBezTo>
                <a:cubicBezTo>
                  <a:pt x="1091" y="28"/>
                  <a:pt x="1091" y="28"/>
                  <a:pt x="1091" y="28"/>
                </a:cubicBezTo>
                <a:cubicBezTo>
                  <a:pt x="1092" y="29"/>
                  <a:pt x="1092" y="29"/>
                  <a:pt x="1092" y="29"/>
                </a:cubicBezTo>
                <a:cubicBezTo>
                  <a:pt x="1092" y="31"/>
                  <a:pt x="1092" y="31"/>
                  <a:pt x="1092" y="31"/>
                </a:cubicBezTo>
                <a:cubicBezTo>
                  <a:pt x="1092" y="32"/>
                  <a:pt x="1092" y="32"/>
                  <a:pt x="1092" y="32"/>
                </a:cubicBezTo>
                <a:cubicBezTo>
                  <a:pt x="1090" y="33"/>
                  <a:pt x="1090" y="33"/>
                  <a:pt x="1090" y="33"/>
                </a:cubicBezTo>
                <a:cubicBezTo>
                  <a:pt x="1089" y="34"/>
                  <a:pt x="1089" y="34"/>
                  <a:pt x="1089" y="34"/>
                </a:cubicBezTo>
                <a:cubicBezTo>
                  <a:pt x="1088" y="35"/>
                  <a:pt x="1088" y="35"/>
                  <a:pt x="1088" y="35"/>
                </a:cubicBezTo>
                <a:cubicBezTo>
                  <a:pt x="1087" y="37"/>
                  <a:pt x="1087" y="37"/>
                  <a:pt x="1087" y="37"/>
                </a:cubicBezTo>
                <a:cubicBezTo>
                  <a:pt x="1086" y="37"/>
                  <a:pt x="1086" y="37"/>
                  <a:pt x="1086" y="37"/>
                </a:cubicBezTo>
                <a:cubicBezTo>
                  <a:pt x="1084" y="38"/>
                  <a:pt x="1084" y="38"/>
                  <a:pt x="1084" y="38"/>
                </a:cubicBezTo>
                <a:cubicBezTo>
                  <a:pt x="1084" y="39"/>
                  <a:pt x="1084" y="39"/>
                  <a:pt x="1084" y="39"/>
                </a:cubicBezTo>
                <a:cubicBezTo>
                  <a:pt x="1085" y="39"/>
                  <a:pt x="1085" y="39"/>
                  <a:pt x="1085" y="39"/>
                </a:cubicBezTo>
                <a:cubicBezTo>
                  <a:pt x="1086" y="39"/>
                  <a:pt x="1086" y="39"/>
                  <a:pt x="1086" y="39"/>
                </a:cubicBezTo>
                <a:cubicBezTo>
                  <a:pt x="1086" y="38"/>
                  <a:pt x="1086" y="38"/>
                  <a:pt x="1086" y="38"/>
                </a:cubicBezTo>
                <a:cubicBezTo>
                  <a:pt x="1088" y="38"/>
                  <a:pt x="1088" y="38"/>
                  <a:pt x="1088" y="38"/>
                </a:cubicBezTo>
                <a:cubicBezTo>
                  <a:pt x="1089" y="36"/>
                  <a:pt x="1089" y="36"/>
                  <a:pt x="1089" y="36"/>
                </a:cubicBezTo>
                <a:cubicBezTo>
                  <a:pt x="1090" y="36"/>
                  <a:pt x="1090" y="36"/>
                  <a:pt x="1090" y="36"/>
                </a:cubicBezTo>
                <a:cubicBezTo>
                  <a:pt x="1091" y="36"/>
                  <a:pt x="1091" y="36"/>
                  <a:pt x="1091" y="36"/>
                </a:cubicBezTo>
                <a:cubicBezTo>
                  <a:pt x="1090" y="39"/>
                  <a:pt x="1090" y="39"/>
                  <a:pt x="1090" y="39"/>
                </a:cubicBezTo>
                <a:cubicBezTo>
                  <a:pt x="1090" y="40"/>
                  <a:pt x="1090" y="40"/>
                  <a:pt x="1090" y="40"/>
                </a:cubicBezTo>
                <a:cubicBezTo>
                  <a:pt x="1090" y="41"/>
                  <a:pt x="1090" y="41"/>
                  <a:pt x="1090" y="41"/>
                </a:cubicBezTo>
                <a:cubicBezTo>
                  <a:pt x="1090" y="42"/>
                  <a:pt x="1090" y="42"/>
                  <a:pt x="1090" y="42"/>
                </a:cubicBezTo>
                <a:cubicBezTo>
                  <a:pt x="1091" y="44"/>
                  <a:pt x="1091" y="44"/>
                  <a:pt x="1091" y="44"/>
                </a:cubicBezTo>
                <a:cubicBezTo>
                  <a:pt x="1091" y="45"/>
                  <a:pt x="1091" y="45"/>
                  <a:pt x="1091" y="45"/>
                </a:cubicBezTo>
                <a:cubicBezTo>
                  <a:pt x="1090" y="47"/>
                  <a:pt x="1090" y="47"/>
                  <a:pt x="1090" y="47"/>
                </a:cubicBezTo>
                <a:cubicBezTo>
                  <a:pt x="1090" y="48"/>
                  <a:pt x="1090" y="48"/>
                  <a:pt x="1090" y="48"/>
                </a:cubicBezTo>
                <a:cubicBezTo>
                  <a:pt x="1091" y="49"/>
                  <a:pt x="1091" y="49"/>
                  <a:pt x="1091" y="49"/>
                </a:cubicBezTo>
                <a:cubicBezTo>
                  <a:pt x="1091" y="50"/>
                  <a:pt x="1091" y="50"/>
                  <a:pt x="1091" y="50"/>
                </a:cubicBezTo>
                <a:cubicBezTo>
                  <a:pt x="1090" y="49"/>
                  <a:pt x="1090" y="49"/>
                  <a:pt x="1090" y="49"/>
                </a:cubicBezTo>
                <a:cubicBezTo>
                  <a:pt x="1089" y="49"/>
                  <a:pt x="1089" y="49"/>
                  <a:pt x="1089" y="49"/>
                </a:cubicBezTo>
                <a:cubicBezTo>
                  <a:pt x="1090" y="51"/>
                  <a:pt x="1090" y="51"/>
                  <a:pt x="1090" y="51"/>
                </a:cubicBezTo>
                <a:cubicBezTo>
                  <a:pt x="1091" y="53"/>
                  <a:pt x="1091" y="53"/>
                  <a:pt x="1091" y="53"/>
                </a:cubicBezTo>
                <a:cubicBezTo>
                  <a:pt x="1091" y="54"/>
                  <a:pt x="1091" y="54"/>
                  <a:pt x="1091" y="54"/>
                </a:cubicBezTo>
                <a:cubicBezTo>
                  <a:pt x="1090" y="54"/>
                  <a:pt x="1090" y="54"/>
                  <a:pt x="1090" y="54"/>
                </a:cubicBezTo>
                <a:cubicBezTo>
                  <a:pt x="1089" y="55"/>
                  <a:pt x="1089" y="55"/>
                  <a:pt x="1089" y="55"/>
                </a:cubicBezTo>
                <a:cubicBezTo>
                  <a:pt x="1090" y="56"/>
                  <a:pt x="1090" y="56"/>
                  <a:pt x="1090" y="56"/>
                </a:cubicBezTo>
                <a:cubicBezTo>
                  <a:pt x="1090" y="57"/>
                  <a:pt x="1090" y="57"/>
                  <a:pt x="1090" y="57"/>
                </a:cubicBezTo>
                <a:cubicBezTo>
                  <a:pt x="1092" y="57"/>
                  <a:pt x="1092" y="57"/>
                  <a:pt x="1092" y="57"/>
                </a:cubicBezTo>
                <a:cubicBezTo>
                  <a:pt x="1092" y="58"/>
                  <a:pt x="1092" y="58"/>
                  <a:pt x="1092" y="58"/>
                </a:cubicBezTo>
                <a:cubicBezTo>
                  <a:pt x="1092" y="59"/>
                  <a:pt x="1092" y="59"/>
                  <a:pt x="1092" y="59"/>
                </a:cubicBezTo>
                <a:cubicBezTo>
                  <a:pt x="1091" y="60"/>
                  <a:pt x="1091" y="60"/>
                  <a:pt x="1091" y="60"/>
                </a:cubicBezTo>
                <a:cubicBezTo>
                  <a:pt x="1091" y="61"/>
                  <a:pt x="1091" y="61"/>
                  <a:pt x="1091" y="61"/>
                </a:cubicBezTo>
                <a:cubicBezTo>
                  <a:pt x="1090" y="63"/>
                  <a:pt x="1090" y="63"/>
                  <a:pt x="1090" y="63"/>
                </a:cubicBezTo>
                <a:cubicBezTo>
                  <a:pt x="1089" y="63"/>
                  <a:pt x="1089" y="63"/>
                  <a:pt x="1089" y="63"/>
                </a:cubicBezTo>
                <a:cubicBezTo>
                  <a:pt x="1088" y="63"/>
                  <a:pt x="1088" y="63"/>
                  <a:pt x="1088" y="63"/>
                </a:cubicBezTo>
                <a:cubicBezTo>
                  <a:pt x="1087" y="63"/>
                  <a:pt x="1087" y="63"/>
                  <a:pt x="1087" y="63"/>
                </a:cubicBezTo>
                <a:cubicBezTo>
                  <a:pt x="1087" y="64"/>
                  <a:pt x="1087" y="64"/>
                  <a:pt x="1087" y="64"/>
                </a:cubicBezTo>
                <a:cubicBezTo>
                  <a:pt x="1088" y="65"/>
                  <a:pt x="1088" y="65"/>
                  <a:pt x="1088" y="65"/>
                </a:cubicBezTo>
                <a:cubicBezTo>
                  <a:pt x="1089" y="65"/>
                  <a:pt x="1089" y="65"/>
                  <a:pt x="1089" y="65"/>
                </a:cubicBezTo>
                <a:cubicBezTo>
                  <a:pt x="1090" y="66"/>
                  <a:pt x="1090" y="66"/>
                  <a:pt x="1090" y="66"/>
                </a:cubicBezTo>
                <a:cubicBezTo>
                  <a:pt x="1091" y="66"/>
                  <a:pt x="1091" y="66"/>
                  <a:pt x="1091" y="66"/>
                </a:cubicBezTo>
                <a:cubicBezTo>
                  <a:pt x="1093" y="66"/>
                  <a:pt x="1093" y="66"/>
                  <a:pt x="1093" y="66"/>
                </a:cubicBezTo>
                <a:cubicBezTo>
                  <a:pt x="1093" y="67"/>
                  <a:pt x="1093" y="67"/>
                  <a:pt x="1093" y="67"/>
                </a:cubicBezTo>
                <a:cubicBezTo>
                  <a:pt x="1093" y="69"/>
                  <a:pt x="1093" y="69"/>
                  <a:pt x="1093" y="69"/>
                </a:cubicBezTo>
                <a:cubicBezTo>
                  <a:pt x="1093" y="71"/>
                  <a:pt x="1093" y="71"/>
                  <a:pt x="1093" y="71"/>
                </a:cubicBezTo>
                <a:cubicBezTo>
                  <a:pt x="1091" y="73"/>
                  <a:pt x="1091" y="73"/>
                  <a:pt x="1091" y="73"/>
                </a:cubicBezTo>
                <a:cubicBezTo>
                  <a:pt x="1091" y="75"/>
                  <a:pt x="1091" y="75"/>
                  <a:pt x="1091" y="75"/>
                </a:cubicBezTo>
                <a:cubicBezTo>
                  <a:pt x="1092" y="75"/>
                  <a:pt x="1092" y="75"/>
                  <a:pt x="1092" y="75"/>
                </a:cubicBezTo>
                <a:cubicBezTo>
                  <a:pt x="1091" y="78"/>
                  <a:pt x="1091" y="78"/>
                  <a:pt x="1091" y="78"/>
                </a:cubicBezTo>
                <a:cubicBezTo>
                  <a:pt x="1089" y="79"/>
                  <a:pt x="1089" y="79"/>
                  <a:pt x="1089" y="79"/>
                </a:cubicBezTo>
                <a:cubicBezTo>
                  <a:pt x="1087" y="79"/>
                  <a:pt x="1087" y="79"/>
                  <a:pt x="1087" y="79"/>
                </a:cubicBezTo>
                <a:cubicBezTo>
                  <a:pt x="1086" y="78"/>
                  <a:pt x="1086" y="78"/>
                  <a:pt x="1086" y="78"/>
                </a:cubicBezTo>
                <a:cubicBezTo>
                  <a:pt x="1085" y="78"/>
                  <a:pt x="1085" y="78"/>
                  <a:pt x="1085" y="78"/>
                </a:cubicBezTo>
                <a:cubicBezTo>
                  <a:pt x="1083" y="80"/>
                  <a:pt x="1083" y="80"/>
                  <a:pt x="1083" y="80"/>
                </a:cubicBezTo>
                <a:cubicBezTo>
                  <a:pt x="1083" y="81"/>
                  <a:pt x="1083" y="81"/>
                  <a:pt x="1083" y="81"/>
                </a:cubicBezTo>
                <a:cubicBezTo>
                  <a:pt x="1083" y="81"/>
                  <a:pt x="1083" y="81"/>
                  <a:pt x="1083" y="81"/>
                </a:cubicBezTo>
                <a:cubicBezTo>
                  <a:pt x="1084" y="81"/>
                  <a:pt x="1084" y="81"/>
                  <a:pt x="1084" y="81"/>
                </a:cubicBezTo>
                <a:cubicBezTo>
                  <a:pt x="1087" y="82"/>
                  <a:pt x="1087" y="82"/>
                  <a:pt x="1087" y="82"/>
                </a:cubicBezTo>
                <a:cubicBezTo>
                  <a:pt x="1088" y="81"/>
                  <a:pt x="1088" y="81"/>
                  <a:pt x="1088" y="81"/>
                </a:cubicBezTo>
                <a:cubicBezTo>
                  <a:pt x="1088" y="80"/>
                  <a:pt x="1088" y="80"/>
                  <a:pt x="1088" y="80"/>
                </a:cubicBezTo>
                <a:cubicBezTo>
                  <a:pt x="1088" y="81"/>
                  <a:pt x="1088" y="81"/>
                  <a:pt x="1088" y="81"/>
                </a:cubicBezTo>
                <a:cubicBezTo>
                  <a:pt x="1089" y="82"/>
                  <a:pt x="1089" y="82"/>
                  <a:pt x="1089" y="82"/>
                </a:cubicBezTo>
                <a:cubicBezTo>
                  <a:pt x="1089" y="82"/>
                  <a:pt x="1089" y="82"/>
                  <a:pt x="1089" y="82"/>
                </a:cubicBezTo>
                <a:cubicBezTo>
                  <a:pt x="1088" y="83"/>
                  <a:pt x="1088" y="83"/>
                  <a:pt x="1088" y="83"/>
                </a:cubicBezTo>
                <a:cubicBezTo>
                  <a:pt x="1087" y="83"/>
                  <a:pt x="1087" y="83"/>
                  <a:pt x="1087" y="83"/>
                </a:cubicBezTo>
                <a:cubicBezTo>
                  <a:pt x="1087" y="84"/>
                  <a:pt x="1087" y="84"/>
                  <a:pt x="1087" y="84"/>
                </a:cubicBezTo>
                <a:cubicBezTo>
                  <a:pt x="1087" y="85"/>
                  <a:pt x="1087" y="85"/>
                  <a:pt x="1087" y="85"/>
                </a:cubicBezTo>
                <a:cubicBezTo>
                  <a:pt x="1087" y="86"/>
                  <a:pt x="1087" y="86"/>
                  <a:pt x="1087" y="86"/>
                </a:cubicBezTo>
                <a:cubicBezTo>
                  <a:pt x="1085" y="86"/>
                  <a:pt x="1085" y="86"/>
                  <a:pt x="1085" y="86"/>
                </a:cubicBezTo>
                <a:cubicBezTo>
                  <a:pt x="1083" y="88"/>
                  <a:pt x="1083" y="88"/>
                  <a:pt x="1083" y="88"/>
                </a:cubicBezTo>
                <a:cubicBezTo>
                  <a:pt x="1081" y="89"/>
                  <a:pt x="1081" y="89"/>
                  <a:pt x="1081" y="89"/>
                </a:cubicBezTo>
                <a:cubicBezTo>
                  <a:pt x="1081" y="90"/>
                  <a:pt x="1081" y="90"/>
                  <a:pt x="1081" y="90"/>
                </a:cubicBezTo>
                <a:cubicBezTo>
                  <a:pt x="1083" y="91"/>
                  <a:pt x="1083" y="91"/>
                  <a:pt x="1083" y="91"/>
                </a:cubicBezTo>
                <a:cubicBezTo>
                  <a:pt x="1085" y="92"/>
                  <a:pt x="1085" y="92"/>
                  <a:pt x="1085" y="92"/>
                </a:cubicBezTo>
                <a:cubicBezTo>
                  <a:pt x="1087" y="91"/>
                  <a:pt x="1087" y="91"/>
                  <a:pt x="1087" y="91"/>
                </a:cubicBezTo>
                <a:cubicBezTo>
                  <a:pt x="1089" y="89"/>
                  <a:pt x="1089" y="89"/>
                  <a:pt x="1089" y="89"/>
                </a:cubicBezTo>
                <a:cubicBezTo>
                  <a:pt x="1090" y="87"/>
                  <a:pt x="1090" y="87"/>
                  <a:pt x="1090" y="87"/>
                </a:cubicBezTo>
                <a:cubicBezTo>
                  <a:pt x="1091" y="87"/>
                  <a:pt x="1091" y="87"/>
                  <a:pt x="1091" y="87"/>
                </a:cubicBezTo>
                <a:cubicBezTo>
                  <a:pt x="1091" y="87"/>
                  <a:pt x="1091" y="87"/>
                  <a:pt x="1091" y="87"/>
                </a:cubicBezTo>
                <a:cubicBezTo>
                  <a:pt x="1091" y="88"/>
                  <a:pt x="1091" y="88"/>
                  <a:pt x="1091" y="88"/>
                </a:cubicBezTo>
                <a:cubicBezTo>
                  <a:pt x="1090" y="91"/>
                  <a:pt x="1090" y="91"/>
                  <a:pt x="1090" y="91"/>
                </a:cubicBezTo>
                <a:cubicBezTo>
                  <a:pt x="1088" y="93"/>
                  <a:pt x="1088" y="93"/>
                  <a:pt x="1088" y="93"/>
                </a:cubicBezTo>
                <a:cubicBezTo>
                  <a:pt x="1087" y="93"/>
                  <a:pt x="1087" y="93"/>
                  <a:pt x="1087" y="93"/>
                </a:cubicBezTo>
                <a:cubicBezTo>
                  <a:pt x="1084" y="93"/>
                  <a:pt x="1084" y="93"/>
                  <a:pt x="1084" y="93"/>
                </a:cubicBezTo>
                <a:cubicBezTo>
                  <a:pt x="1083" y="93"/>
                  <a:pt x="1083" y="93"/>
                  <a:pt x="1083" y="93"/>
                </a:cubicBezTo>
                <a:cubicBezTo>
                  <a:pt x="1082" y="95"/>
                  <a:pt x="1082" y="95"/>
                  <a:pt x="1082" y="95"/>
                </a:cubicBezTo>
                <a:cubicBezTo>
                  <a:pt x="1081" y="95"/>
                  <a:pt x="1081" y="95"/>
                  <a:pt x="1081" y="95"/>
                </a:cubicBezTo>
                <a:cubicBezTo>
                  <a:pt x="1079" y="95"/>
                  <a:pt x="1079" y="95"/>
                  <a:pt x="1079" y="95"/>
                </a:cubicBezTo>
                <a:cubicBezTo>
                  <a:pt x="1078" y="96"/>
                  <a:pt x="1078" y="96"/>
                  <a:pt x="1078" y="96"/>
                </a:cubicBezTo>
                <a:cubicBezTo>
                  <a:pt x="1078" y="97"/>
                  <a:pt x="1078" y="97"/>
                  <a:pt x="1078" y="97"/>
                </a:cubicBezTo>
                <a:cubicBezTo>
                  <a:pt x="1078" y="97"/>
                  <a:pt x="1078" y="97"/>
                  <a:pt x="1078" y="97"/>
                </a:cubicBezTo>
                <a:cubicBezTo>
                  <a:pt x="1079" y="99"/>
                  <a:pt x="1079" y="99"/>
                  <a:pt x="1079" y="99"/>
                </a:cubicBezTo>
                <a:cubicBezTo>
                  <a:pt x="1078" y="100"/>
                  <a:pt x="1078" y="100"/>
                  <a:pt x="1078" y="100"/>
                </a:cubicBezTo>
                <a:cubicBezTo>
                  <a:pt x="1079" y="102"/>
                  <a:pt x="1079" y="102"/>
                  <a:pt x="1079" y="102"/>
                </a:cubicBezTo>
                <a:cubicBezTo>
                  <a:pt x="1079" y="102"/>
                  <a:pt x="1079" y="102"/>
                  <a:pt x="1079" y="102"/>
                </a:cubicBezTo>
                <a:cubicBezTo>
                  <a:pt x="1080" y="101"/>
                  <a:pt x="1080" y="101"/>
                  <a:pt x="1080" y="101"/>
                </a:cubicBezTo>
                <a:cubicBezTo>
                  <a:pt x="1081" y="101"/>
                  <a:pt x="1081" y="101"/>
                  <a:pt x="1081" y="101"/>
                </a:cubicBezTo>
                <a:cubicBezTo>
                  <a:pt x="1081" y="102"/>
                  <a:pt x="1081" y="102"/>
                  <a:pt x="1081" y="102"/>
                </a:cubicBezTo>
                <a:cubicBezTo>
                  <a:pt x="1082" y="103"/>
                  <a:pt x="1082" y="103"/>
                  <a:pt x="1082" y="103"/>
                </a:cubicBezTo>
                <a:cubicBezTo>
                  <a:pt x="1082" y="104"/>
                  <a:pt x="1082" y="104"/>
                  <a:pt x="1082" y="104"/>
                </a:cubicBezTo>
                <a:cubicBezTo>
                  <a:pt x="1083" y="105"/>
                  <a:pt x="1083" y="105"/>
                  <a:pt x="1083" y="105"/>
                </a:cubicBezTo>
                <a:cubicBezTo>
                  <a:pt x="1085" y="105"/>
                  <a:pt x="1085" y="105"/>
                  <a:pt x="1085" y="105"/>
                </a:cubicBezTo>
                <a:cubicBezTo>
                  <a:pt x="1087" y="104"/>
                  <a:pt x="1087" y="104"/>
                  <a:pt x="1087" y="104"/>
                </a:cubicBezTo>
                <a:cubicBezTo>
                  <a:pt x="1087" y="104"/>
                  <a:pt x="1087" y="104"/>
                  <a:pt x="1087" y="104"/>
                </a:cubicBezTo>
                <a:cubicBezTo>
                  <a:pt x="1088" y="104"/>
                  <a:pt x="1088" y="104"/>
                  <a:pt x="1088" y="104"/>
                </a:cubicBezTo>
                <a:cubicBezTo>
                  <a:pt x="1090" y="104"/>
                  <a:pt x="1090" y="104"/>
                  <a:pt x="1090" y="104"/>
                </a:cubicBezTo>
                <a:cubicBezTo>
                  <a:pt x="1091" y="102"/>
                  <a:pt x="1091" y="102"/>
                  <a:pt x="1091" y="102"/>
                </a:cubicBezTo>
                <a:cubicBezTo>
                  <a:pt x="1091" y="101"/>
                  <a:pt x="1091" y="101"/>
                  <a:pt x="1091" y="101"/>
                </a:cubicBezTo>
                <a:cubicBezTo>
                  <a:pt x="1091" y="99"/>
                  <a:pt x="1091" y="99"/>
                  <a:pt x="1091" y="99"/>
                </a:cubicBezTo>
                <a:cubicBezTo>
                  <a:pt x="1090" y="99"/>
                  <a:pt x="1090" y="99"/>
                  <a:pt x="1090" y="99"/>
                </a:cubicBezTo>
                <a:cubicBezTo>
                  <a:pt x="1091" y="99"/>
                  <a:pt x="1091" y="99"/>
                  <a:pt x="1091" y="99"/>
                </a:cubicBezTo>
                <a:cubicBezTo>
                  <a:pt x="1092" y="99"/>
                  <a:pt x="1092" y="99"/>
                  <a:pt x="1092" y="99"/>
                </a:cubicBezTo>
                <a:cubicBezTo>
                  <a:pt x="1092" y="98"/>
                  <a:pt x="1092" y="98"/>
                  <a:pt x="1092" y="98"/>
                </a:cubicBezTo>
                <a:cubicBezTo>
                  <a:pt x="1092" y="96"/>
                  <a:pt x="1092" y="96"/>
                  <a:pt x="1092" y="96"/>
                </a:cubicBezTo>
                <a:cubicBezTo>
                  <a:pt x="1093" y="97"/>
                  <a:pt x="1093" y="97"/>
                  <a:pt x="1093" y="97"/>
                </a:cubicBezTo>
                <a:cubicBezTo>
                  <a:pt x="1094" y="98"/>
                  <a:pt x="1094" y="98"/>
                  <a:pt x="1094" y="98"/>
                </a:cubicBezTo>
                <a:cubicBezTo>
                  <a:pt x="1095" y="98"/>
                  <a:pt x="1095" y="98"/>
                  <a:pt x="1095" y="98"/>
                </a:cubicBezTo>
                <a:cubicBezTo>
                  <a:pt x="1096" y="96"/>
                  <a:pt x="1096" y="96"/>
                  <a:pt x="1096" y="96"/>
                </a:cubicBezTo>
                <a:cubicBezTo>
                  <a:pt x="1096" y="94"/>
                  <a:pt x="1096" y="94"/>
                  <a:pt x="1096" y="94"/>
                </a:cubicBezTo>
                <a:cubicBezTo>
                  <a:pt x="1096" y="92"/>
                  <a:pt x="1096" y="92"/>
                  <a:pt x="1096" y="92"/>
                </a:cubicBezTo>
                <a:cubicBezTo>
                  <a:pt x="1095" y="90"/>
                  <a:pt x="1095" y="90"/>
                  <a:pt x="1095" y="90"/>
                </a:cubicBezTo>
                <a:cubicBezTo>
                  <a:pt x="1095" y="88"/>
                  <a:pt x="1095" y="88"/>
                  <a:pt x="1095" y="88"/>
                </a:cubicBezTo>
                <a:cubicBezTo>
                  <a:pt x="1095" y="85"/>
                  <a:pt x="1095" y="85"/>
                  <a:pt x="1095" y="85"/>
                </a:cubicBezTo>
                <a:cubicBezTo>
                  <a:pt x="1096" y="84"/>
                  <a:pt x="1096" y="84"/>
                  <a:pt x="1096" y="84"/>
                </a:cubicBezTo>
                <a:cubicBezTo>
                  <a:pt x="1096" y="84"/>
                  <a:pt x="1096" y="84"/>
                  <a:pt x="1096" y="84"/>
                </a:cubicBezTo>
                <a:cubicBezTo>
                  <a:pt x="1096" y="85"/>
                  <a:pt x="1096" y="85"/>
                  <a:pt x="1096" y="85"/>
                </a:cubicBezTo>
                <a:cubicBezTo>
                  <a:pt x="1096" y="87"/>
                  <a:pt x="1096" y="87"/>
                  <a:pt x="1096" y="87"/>
                </a:cubicBezTo>
                <a:cubicBezTo>
                  <a:pt x="1096" y="89"/>
                  <a:pt x="1096" y="89"/>
                  <a:pt x="1096" y="89"/>
                </a:cubicBezTo>
                <a:cubicBezTo>
                  <a:pt x="1097" y="91"/>
                  <a:pt x="1097" y="91"/>
                  <a:pt x="1097" y="91"/>
                </a:cubicBezTo>
                <a:cubicBezTo>
                  <a:pt x="1097" y="93"/>
                  <a:pt x="1097" y="93"/>
                  <a:pt x="1097" y="93"/>
                </a:cubicBezTo>
                <a:cubicBezTo>
                  <a:pt x="1096" y="96"/>
                  <a:pt x="1096" y="96"/>
                  <a:pt x="1096" y="96"/>
                </a:cubicBezTo>
                <a:cubicBezTo>
                  <a:pt x="1096" y="97"/>
                  <a:pt x="1096" y="97"/>
                  <a:pt x="1096" y="97"/>
                </a:cubicBezTo>
                <a:cubicBezTo>
                  <a:pt x="1097" y="97"/>
                  <a:pt x="1097" y="97"/>
                  <a:pt x="1097" y="97"/>
                </a:cubicBezTo>
                <a:cubicBezTo>
                  <a:pt x="1097" y="97"/>
                  <a:pt x="1097" y="97"/>
                  <a:pt x="1097" y="97"/>
                </a:cubicBezTo>
                <a:cubicBezTo>
                  <a:pt x="1099" y="96"/>
                  <a:pt x="1099" y="96"/>
                  <a:pt x="1099" y="96"/>
                </a:cubicBezTo>
                <a:cubicBezTo>
                  <a:pt x="1099" y="95"/>
                  <a:pt x="1099" y="95"/>
                  <a:pt x="1099" y="95"/>
                </a:cubicBezTo>
                <a:cubicBezTo>
                  <a:pt x="1101" y="93"/>
                  <a:pt x="1101" y="93"/>
                  <a:pt x="1101" y="93"/>
                </a:cubicBezTo>
                <a:cubicBezTo>
                  <a:pt x="1102" y="92"/>
                  <a:pt x="1102" y="92"/>
                  <a:pt x="1102" y="92"/>
                </a:cubicBezTo>
                <a:cubicBezTo>
                  <a:pt x="1103" y="92"/>
                  <a:pt x="1103" y="92"/>
                  <a:pt x="1103" y="92"/>
                </a:cubicBezTo>
                <a:cubicBezTo>
                  <a:pt x="1103" y="92"/>
                  <a:pt x="1103" y="92"/>
                  <a:pt x="1103" y="92"/>
                </a:cubicBezTo>
                <a:cubicBezTo>
                  <a:pt x="1102" y="93"/>
                  <a:pt x="1102" y="93"/>
                  <a:pt x="1102" y="93"/>
                </a:cubicBezTo>
                <a:cubicBezTo>
                  <a:pt x="1101" y="94"/>
                  <a:pt x="1101" y="94"/>
                  <a:pt x="1101" y="94"/>
                </a:cubicBezTo>
                <a:cubicBezTo>
                  <a:pt x="1100" y="96"/>
                  <a:pt x="1100" y="96"/>
                  <a:pt x="1100" y="96"/>
                </a:cubicBezTo>
                <a:cubicBezTo>
                  <a:pt x="1099" y="97"/>
                  <a:pt x="1099" y="97"/>
                  <a:pt x="1099" y="97"/>
                </a:cubicBezTo>
                <a:cubicBezTo>
                  <a:pt x="1099" y="98"/>
                  <a:pt x="1099" y="98"/>
                  <a:pt x="1099" y="98"/>
                </a:cubicBezTo>
                <a:cubicBezTo>
                  <a:pt x="1099" y="99"/>
                  <a:pt x="1099" y="99"/>
                  <a:pt x="1099" y="99"/>
                </a:cubicBezTo>
                <a:cubicBezTo>
                  <a:pt x="1101" y="99"/>
                  <a:pt x="1101" y="99"/>
                  <a:pt x="1101" y="99"/>
                </a:cubicBezTo>
                <a:cubicBezTo>
                  <a:pt x="1102" y="99"/>
                  <a:pt x="1102" y="99"/>
                  <a:pt x="1102" y="99"/>
                </a:cubicBezTo>
                <a:cubicBezTo>
                  <a:pt x="1103" y="100"/>
                  <a:pt x="1103" y="100"/>
                  <a:pt x="1103" y="100"/>
                </a:cubicBezTo>
                <a:cubicBezTo>
                  <a:pt x="1104" y="101"/>
                  <a:pt x="1104" y="101"/>
                  <a:pt x="1104" y="101"/>
                </a:cubicBezTo>
                <a:cubicBezTo>
                  <a:pt x="1106" y="100"/>
                  <a:pt x="1106" y="100"/>
                  <a:pt x="1106" y="100"/>
                </a:cubicBezTo>
                <a:cubicBezTo>
                  <a:pt x="1107" y="99"/>
                  <a:pt x="1107" y="99"/>
                  <a:pt x="1107" y="99"/>
                </a:cubicBezTo>
                <a:cubicBezTo>
                  <a:pt x="1108" y="99"/>
                  <a:pt x="1108" y="99"/>
                  <a:pt x="1108" y="99"/>
                </a:cubicBezTo>
                <a:cubicBezTo>
                  <a:pt x="1109" y="100"/>
                  <a:pt x="1109" y="100"/>
                  <a:pt x="1109" y="100"/>
                </a:cubicBezTo>
                <a:cubicBezTo>
                  <a:pt x="1108" y="100"/>
                  <a:pt x="1108" y="100"/>
                  <a:pt x="1108" y="100"/>
                </a:cubicBezTo>
                <a:cubicBezTo>
                  <a:pt x="1106" y="102"/>
                  <a:pt x="1106" y="102"/>
                  <a:pt x="1106" y="102"/>
                </a:cubicBezTo>
                <a:cubicBezTo>
                  <a:pt x="1103" y="102"/>
                  <a:pt x="1103" y="102"/>
                  <a:pt x="1103" y="102"/>
                </a:cubicBezTo>
                <a:cubicBezTo>
                  <a:pt x="1100" y="103"/>
                  <a:pt x="1100" y="103"/>
                  <a:pt x="1100" y="103"/>
                </a:cubicBezTo>
                <a:cubicBezTo>
                  <a:pt x="1099" y="104"/>
                  <a:pt x="1099" y="104"/>
                  <a:pt x="1099" y="104"/>
                </a:cubicBezTo>
                <a:cubicBezTo>
                  <a:pt x="1098" y="104"/>
                  <a:pt x="1098" y="104"/>
                  <a:pt x="1098" y="104"/>
                </a:cubicBezTo>
                <a:cubicBezTo>
                  <a:pt x="1098" y="105"/>
                  <a:pt x="1098" y="105"/>
                  <a:pt x="1098" y="105"/>
                </a:cubicBezTo>
                <a:cubicBezTo>
                  <a:pt x="1099" y="106"/>
                  <a:pt x="1099" y="106"/>
                  <a:pt x="1099" y="106"/>
                </a:cubicBezTo>
                <a:cubicBezTo>
                  <a:pt x="1101" y="106"/>
                  <a:pt x="1101" y="106"/>
                  <a:pt x="1101" y="106"/>
                </a:cubicBezTo>
                <a:cubicBezTo>
                  <a:pt x="1102" y="106"/>
                  <a:pt x="1102" y="106"/>
                  <a:pt x="1102" y="106"/>
                </a:cubicBezTo>
                <a:cubicBezTo>
                  <a:pt x="1103" y="106"/>
                  <a:pt x="1103" y="106"/>
                  <a:pt x="1103" y="106"/>
                </a:cubicBezTo>
                <a:cubicBezTo>
                  <a:pt x="1104" y="105"/>
                  <a:pt x="1104" y="105"/>
                  <a:pt x="1104" y="105"/>
                </a:cubicBezTo>
                <a:cubicBezTo>
                  <a:pt x="1107" y="105"/>
                  <a:pt x="1107" y="105"/>
                  <a:pt x="1107" y="105"/>
                </a:cubicBezTo>
                <a:cubicBezTo>
                  <a:pt x="1107" y="105"/>
                  <a:pt x="1107" y="105"/>
                  <a:pt x="1107" y="105"/>
                </a:cubicBezTo>
                <a:cubicBezTo>
                  <a:pt x="1107" y="106"/>
                  <a:pt x="1107" y="106"/>
                  <a:pt x="1107" y="106"/>
                </a:cubicBezTo>
                <a:cubicBezTo>
                  <a:pt x="1105" y="106"/>
                  <a:pt x="1105" y="106"/>
                  <a:pt x="1105" y="106"/>
                </a:cubicBezTo>
                <a:cubicBezTo>
                  <a:pt x="1104" y="107"/>
                  <a:pt x="1104" y="107"/>
                  <a:pt x="1104" y="107"/>
                </a:cubicBezTo>
                <a:cubicBezTo>
                  <a:pt x="1103" y="107"/>
                  <a:pt x="1103" y="107"/>
                  <a:pt x="1103" y="107"/>
                </a:cubicBezTo>
                <a:cubicBezTo>
                  <a:pt x="1102" y="107"/>
                  <a:pt x="1102" y="107"/>
                  <a:pt x="1102" y="107"/>
                </a:cubicBezTo>
                <a:cubicBezTo>
                  <a:pt x="1101" y="109"/>
                  <a:pt x="1101" y="109"/>
                  <a:pt x="1101" y="109"/>
                </a:cubicBezTo>
                <a:cubicBezTo>
                  <a:pt x="1100" y="110"/>
                  <a:pt x="1100" y="110"/>
                  <a:pt x="1100" y="110"/>
                </a:cubicBezTo>
                <a:cubicBezTo>
                  <a:pt x="1099" y="111"/>
                  <a:pt x="1099" y="111"/>
                  <a:pt x="1099" y="111"/>
                </a:cubicBezTo>
                <a:cubicBezTo>
                  <a:pt x="1099" y="112"/>
                  <a:pt x="1099" y="112"/>
                  <a:pt x="1099" y="112"/>
                </a:cubicBezTo>
                <a:cubicBezTo>
                  <a:pt x="1100" y="112"/>
                  <a:pt x="1100" y="112"/>
                  <a:pt x="1100" y="112"/>
                </a:cubicBezTo>
                <a:cubicBezTo>
                  <a:pt x="1103" y="110"/>
                  <a:pt x="1103" y="110"/>
                  <a:pt x="1103" y="110"/>
                </a:cubicBezTo>
                <a:cubicBezTo>
                  <a:pt x="1104" y="109"/>
                  <a:pt x="1104" y="109"/>
                  <a:pt x="1104" y="109"/>
                </a:cubicBezTo>
                <a:cubicBezTo>
                  <a:pt x="1105" y="109"/>
                  <a:pt x="1105" y="109"/>
                  <a:pt x="1105" y="109"/>
                </a:cubicBezTo>
                <a:cubicBezTo>
                  <a:pt x="1105" y="108"/>
                  <a:pt x="1105" y="108"/>
                  <a:pt x="1105" y="108"/>
                </a:cubicBezTo>
                <a:cubicBezTo>
                  <a:pt x="1106" y="108"/>
                  <a:pt x="1106" y="108"/>
                  <a:pt x="1106" y="108"/>
                </a:cubicBezTo>
                <a:cubicBezTo>
                  <a:pt x="1107" y="110"/>
                  <a:pt x="1107" y="110"/>
                  <a:pt x="1107" y="110"/>
                </a:cubicBezTo>
                <a:cubicBezTo>
                  <a:pt x="1107" y="111"/>
                  <a:pt x="1107" y="111"/>
                  <a:pt x="1107" y="111"/>
                </a:cubicBezTo>
                <a:cubicBezTo>
                  <a:pt x="1107" y="112"/>
                  <a:pt x="1107" y="112"/>
                  <a:pt x="1107" y="112"/>
                </a:cubicBezTo>
                <a:cubicBezTo>
                  <a:pt x="1106" y="111"/>
                  <a:pt x="1106" y="111"/>
                  <a:pt x="1106" y="111"/>
                </a:cubicBezTo>
                <a:cubicBezTo>
                  <a:pt x="1105" y="110"/>
                  <a:pt x="1105" y="110"/>
                  <a:pt x="1105" y="110"/>
                </a:cubicBezTo>
                <a:cubicBezTo>
                  <a:pt x="1103" y="112"/>
                  <a:pt x="1103" y="112"/>
                  <a:pt x="1103" y="112"/>
                </a:cubicBezTo>
                <a:cubicBezTo>
                  <a:pt x="1102" y="112"/>
                  <a:pt x="1102" y="112"/>
                  <a:pt x="1102" y="112"/>
                </a:cubicBezTo>
                <a:cubicBezTo>
                  <a:pt x="1102" y="113"/>
                  <a:pt x="1102" y="113"/>
                  <a:pt x="1102" y="113"/>
                </a:cubicBezTo>
                <a:cubicBezTo>
                  <a:pt x="1104" y="114"/>
                  <a:pt x="1104" y="114"/>
                  <a:pt x="1104" y="114"/>
                </a:cubicBezTo>
                <a:cubicBezTo>
                  <a:pt x="1106" y="113"/>
                  <a:pt x="1106" y="113"/>
                  <a:pt x="1106" y="113"/>
                </a:cubicBezTo>
                <a:cubicBezTo>
                  <a:pt x="1107" y="113"/>
                  <a:pt x="1107" y="113"/>
                  <a:pt x="1107" y="113"/>
                </a:cubicBezTo>
                <a:cubicBezTo>
                  <a:pt x="1108" y="113"/>
                  <a:pt x="1108" y="113"/>
                  <a:pt x="1108" y="113"/>
                </a:cubicBezTo>
                <a:cubicBezTo>
                  <a:pt x="1109" y="115"/>
                  <a:pt x="1109" y="115"/>
                  <a:pt x="1109" y="115"/>
                </a:cubicBezTo>
                <a:cubicBezTo>
                  <a:pt x="1109" y="116"/>
                  <a:pt x="1109" y="116"/>
                  <a:pt x="1109" y="116"/>
                </a:cubicBezTo>
                <a:cubicBezTo>
                  <a:pt x="1108" y="116"/>
                  <a:pt x="1108" y="116"/>
                  <a:pt x="1108" y="116"/>
                </a:cubicBezTo>
                <a:cubicBezTo>
                  <a:pt x="1104" y="115"/>
                  <a:pt x="1104" y="115"/>
                  <a:pt x="1104" y="115"/>
                </a:cubicBezTo>
                <a:cubicBezTo>
                  <a:pt x="1102" y="114"/>
                  <a:pt x="1102" y="114"/>
                  <a:pt x="1102" y="114"/>
                </a:cubicBezTo>
                <a:cubicBezTo>
                  <a:pt x="1102" y="115"/>
                  <a:pt x="1102" y="115"/>
                  <a:pt x="1102" y="115"/>
                </a:cubicBezTo>
                <a:cubicBezTo>
                  <a:pt x="1102" y="116"/>
                  <a:pt x="1102" y="116"/>
                  <a:pt x="1102" y="116"/>
                </a:cubicBezTo>
                <a:cubicBezTo>
                  <a:pt x="1104" y="117"/>
                  <a:pt x="1104" y="117"/>
                  <a:pt x="1104" y="117"/>
                </a:cubicBezTo>
                <a:cubicBezTo>
                  <a:pt x="1106" y="120"/>
                  <a:pt x="1106" y="120"/>
                  <a:pt x="1106" y="120"/>
                </a:cubicBezTo>
                <a:cubicBezTo>
                  <a:pt x="1107" y="121"/>
                  <a:pt x="1107" y="121"/>
                  <a:pt x="1107" y="121"/>
                </a:cubicBezTo>
                <a:cubicBezTo>
                  <a:pt x="1106" y="121"/>
                  <a:pt x="1106" y="121"/>
                  <a:pt x="1106" y="121"/>
                </a:cubicBezTo>
                <a:cubicBezTo>
                  <a:pt x="1105" y="120"/>
                  <a:pt x="1105" y="120"/>
                  <a:pt x="1105" y="120"/>
                </a:cubicBezTo>
                <a:cubicBezTo>
                  <a:pt x="1104" y="119"/>
                  <a:pt x="1104" y="119"/>
                  <a:pt x="1104" y="119"/>
                </a:cubicBezTo>
                <a:cubicBezTo>
                  <a:pt x="1104" y="120"/>
                  <a:pt x="1104" y="120"/>
                  <a:pt x="1104" y="120"/>
                </a:cubicBezTo>
                <a:cubicBezTo>
                  <a:pt x="1104" y="121"/>
                  <a:pt x="1104" y="121"/>
                  <a:pt x="1104" y="121"/>
                </a:cubicBezTo>
                <a:cubicBezTo>
                  <a:pt x="1106" y="123"/>
                  <a:pt x="1106" y="123"/>
                  <a:pt x="1106" y="123"/>
                </a:cubicBezTo>
                <a:cubicBezTo>
                  <a:pt x="1109" y="125"/>
                  <a:pt x="1109" y="125"/>
                  <a:pt x="1109" y="125"/>
                </a:cubicBezTo>
                <a:cubicBezTo>
                  <a:pt x="1109" y="126"/>
                  <a:pt x="1109" y="126"/>
                  <a:pt x="1109" y="126"/>
                </a:cubicBezTo>
                <a:cubicBezTo>
                  <a:pt x="1107" y="126"/>
                  <a:pt x="1107" y="126"/>
                  <a:pt x="1107" y="126"/>
                </a:cubicBezTo>
                <a:cubicBezTo>
                  <a:pt x="1107" y="127"/>
                  <a:pt x="1107" y="127"/>
                  <a:pt x="1107" y="127"/>
                </a:cubicBezTo>
                <a:cubicBezTo>
                  <a:pt x="1106" y="127"/>
                  <a:pt x="1106" y="127"/>
                  <a:pt x="1106" y="127"/>
                </a:cubicBezTo>
                <a:cubicBezTo>
                  <a:pt x="1105" y="125"/>
                  <a:pt x="1105" y="125"/>
                  <a:pt x="1105" y="125"/>
                </a:cubicBezTo>
                <a:cubicBezTo>
                  <a:pt x="1104" y="125"/>
                  <a:pt x="1104" y="125"/>
                  <a:pt x="1104" y="125"/>
                </a:cubicBezTo>
                <a:cubicBezTo>
                  <a:pt x="1104" y="126"/>
                  <a:pt x="1104" y="126"/>
                  <a:pt x="1104" y="126"/>
                </a:cubicBezTo>
                <a:cubicBezTo>
                  <a:pt x="1106" y="128"/>
                  <a:pt x="1106" y="128"/>
                  <a:pt x="1106" y="128"/>
                </a:cubicBezTo>
                <a:cubicBezTo>
                  <a:pt x="1107" y="129"/>
                  <a:pt x="1107" y="129"/>
                  <a:pt x="1107" y="129"/>
                </a:cubicBezTo>
                <a:cubicBezTo>
                  <a:pt x="1108" y="129"/>
                  <a:pt x="1108" y="129"/>
                  <a:pt x="1108" y="129"/>
                </a:cubicBezTo>
                <a:cubicBezTo>
                  <a:pt x="1109" y="128"/>
                  <a:pt x="1109" y="128"/>
                  <a:pt x="1109" y="128"/>
                </a:cubicBezTo>
                <a:cubicBezTo>
                  <a:pt x="1110" y="129"/>
                  <a:pt x="1110" y="129"/>
                  <a:pt x="1110" y="129"/>
                </a:cubicBezTo>
                <a:cubicBezTo>
                  <a:pt x="1109" y="130"/>
                  <a:pt x="1109" y="130"/>
                  <a:pt x="1109" y="130"/>
                </a:cubicBezTo>
                <a:cubicBezTo>
                  <a:pt x="1108" y="131"/>
                  <a:pt x="1108" y="131"/>
                  <a:pt x="1108" y="131"/>
                </a:cubicBezTo>
                <a:cubicBezTo>
                  <a:pt x="1106" y="130"/>
                  <a:pt x="1106" y="130"/>
                  <a:pt x="1106" y="130"/>
                </a:cubicBezTo>
                <a:cubicBezTo>
                  <a:pt x="1104" y="129"/>
                  <a:pt x="1104" y="129"/>
                  <a:pt x="1104" y="129"/>
                </a:cubicBezTo>
                <a:cubicBezTo>
                  <a:pt x="1102" y="127"/>
                  <a:pt x="1102" y="127"/>
                  <a:pt x="1102" y="127"/>
                </a:cubicBezTo>
                <a:cubicBezTo>
                  <a:pt x="1101" y="126"/>
                  <a:pt x="1101" y="126"/>
                  <a:pt x="1101" y="126"/>
                </a:cubicBezTo>
                <a:cubicBezTo>
                  <a:pt x="1100" y="122"/>
                  <a:pt x="1100" y="122"/>
                  <a:pt x="1100" y="122"/>
                </a:cubicBezTo>
                <a:cubicBezTo>
                  <a:pt x="1099" y="121"/>
                  <a:pt x="1099" y="121"/>
                  <a:pt x="1099" y="121"/>
                </a:cubicBezTo>
                <a:cubicBezTo>
                  <a:pt x="1098" y="120"/>
                  <a:pt x="1098" y="120"/>
                  <a:pt x="1098" y="120"/>
                </a:cubicBezTo>
                <a:cubicBezTo>
                  <a:pt x="1096" y="120"/>
                  <a:pt x="1096" y="120"/>
                  <a:pt x="1096" y="120"/>
                </a:cubicBezTo>
                <a:cubicBezTo>
                  <a:pt x="1095" y="119"/>
                  <a:pt x="1095" y="119"/>
                  <a:pt x="1095" y="119"/>
                </a:cubicBezTo>
                <a:cubicBezTo>
                  <a:pt x="1093" y="119"/>
                  <a:pt x="1093" y="119"/>
                  <a:pt x="1093" y="119"/>
                </a:cubicBezTo>
                <a:cubicBezTo>
                  <a:pt x="1092" y="118"/>
                  <a:pt x="1092" y="118"/>
                  <a:pt x="1092" y="118"/>
                </a:cubicBezTo>
                <a:cubicBezTo>
                  <a:pt x="1091" y="118"/>
                  <a:pt x="1091" y="118"/>
                  <a:pt x="1091" y="118"/>
                </a:cubicBezTo>
                <a:cubicBezTo>
                  <a:pt x="1089" y="118"/>
                  <a:pt x="1089" y="118"/>
                  <a:pt x="1089" y="118"/>
                </a:cubicBezTo>
                <a:cubicBezTo>
                  <a:pt x="1087" y="116"/>
                  <a:pt x="1087" y="116"/>
                  <a:pt x="1087" y="116"/>
                </a:cubicBezTo>
                <a:cubicBezTo>
                  <a:pt x="1085" y="116"/>
                  <a:pt x="1085" y="116"/>
                  <a:pt x="1085" y="116"/>
                </a:cubicBezTo>
                <a:cubicBezTo>
                  <a:pt x="1084" y="116"/>
                  <a:pt x="1084" y="116"/>
                  <a:pt x="1084" y="116"/>
                </a:cubicBezTo>
                <a:cubicBezTo>
                  <a:pt x="1083" y="116"/>
                  <a:pt x="1083" y="116"/>
                  <a:pt x="1083" y="116"/>
                </a:cubicBezTo>
                <a:cubicBezTo>
                  <a:pt x="1081" y="116"/>
                  <a:pt x="1081" y="116"/>
                  <a:pt x="1081" y="116"/>
                </a:cubicBezTo>
                <a:cubicBezTo>
                  <a:pt x="1079" y="118"/>
                  <a:pt x="1079" y="118"/>
                  <a:pt x="1079" y="118"/>
                </a:cubicBezTo>
                <a:cubicBezTo>
                  <a:pt x="1079" y="119"/>
                  <a:pt x="1079" y="119"/>
                  <a:pt x="1079" y="119"/>
                </a:cubicBezTo>
                <a:cubicBezTo>
                  <a:pt x="1080" y="120"/>
                  <a:pt x="1080" y="120"/>
                  <a:pt x="1080" y="120"/>
                </a:cubicBezTo>
                <a:cubicBezTo>
                  <a:pt x="1081" y="121"/>
                  <a:pt x="1081" y="121"/>
                  <a:pt x="1081" y="121"/>
                </a:cubicBezTo>
                <a:cubicBezTo>
                  <a:pt x="1082" y="124"/>
                  <a:pt x="1082" y="124"/>
                  <a:pt x="1082" y="124"/>
                </a:cubicBezTo>
                <a:cubicBezTo>
                  <a:pt x="1082" y="125"/>
                  <a:pt x="1082" y="125"/>
                  <a:pt x="1082" y="125"/>
                </a:cubicBezTo>
                <a:cubicBezTo>
                  <a:pt x="1084" y="127"/>
                  <a:pt x="1084" y="127"/>
                  <a:pt x="1084" y="127"/>
                </a:cubicBezTo>
                <a:cubicBezTo>
                  <a:pt x="1086" y="128"/>
                  <a:pt x="1086" y="128"/>
                  <a:pt x="1086" y="128"/>
                </a:cubicBezTo>
                <a:cubicBezTo>
                  <a:pt x="1090" y="129"/>
                  <a:pt x="1090" y="129"/>
                  <a:pt x="1090" y="129"/>
                </a:cubicBezTo>
                <a:cubicBezTo>
                  <a:pt x="1092" y="131"/>
                  <a:pt x="1092" y="131"/>
                  <a:pt x="1092" y="131"/>
                </a:cubicBezTo>
                <a:cubicBezTo>
                  <a:pt x="1093" y="133"/>
                  <a:pt x="1093" y="133"/>
                  <a:pt x="1093" y="133"/>
                </a:cubicBezTo>
                <a:cubicBezTo>
                  <a:pt x="1093" y="134"/>
                  <a:pt x="1093" y="134"/>
                  <a:pt x="1093" y="134"/>
                </a:cubicBezTo>
                <a:cubicBezTo>
                  <a:pt x="1094" y="134"/>
                  <a:pt x="1094" y="134"/>
                  <a:pt x="1094" y="134"/>
                </a:cubicBezTo>
                <a:cubicBezTo>
                  <a:pt x="1096" y="134"/>
                  <a:pt x="1096" y="134"/>
                  <a:pt x="1096" y="134"/>
                </a:cubicBezTo>
                <a:cubicBezTo>
                  <a:pt x="1097" y="136"/>
                  <a:pt x="1097" y="136"/>
                  <a:pt x="1097" y="136"/>
                </a:cubicBezTo>
                <a:cubicBezTo>
                  <a:pt x="1099" y="136"/>
                  <a:pt x="1099" y="136"/>
                  <a:pt x="1099" y="136"/>
                </a:cubicBezTo>
                <a:cubicBezTo>
                  <a:pt x="1100" y="136"/>
                  <a:pt x="1100" y="136"/>
                  <a:pt x="1100" y="136"/>
                </a:cubicBezTo>
                <a:cubicBezTo>
                  <a:pt x="1101" y="137"/>
                  <a:pt x="1101" y="137"/>
                  <a:pt x="1101" y="137"/>
                </a:cubicBezTo>
                <a:cubicBezTo>
                  <a:pt x="1102" y="137"/>
                  <a:pt x="1102" y="137"/>
                  <a:pt x="1102" y="137"/>
                </a:cubicBezTo>
                <a:cubicBezTo>
                  <a:pt x="1103" y="136"/>
                  <a:pt x="1103" y="136"/>
                  <a:pt x="1103" y="136"/>
                </a:cubicBezTo>
                <a:cubicBezTo>
                  <a:pt x="1104" y="137"/>
                  <a:pt x="1104" y="137"/>
                  <a:pt x="1104" y="137"/>
                </a:cubicBezTo>
                <a:cubicBezTo>
                  <a:pt x="1106" y="137"/>
                  <a:pt x="1106" y="137"/>
                  <a:pt x="1106" y="137"/>
                </a:cubicBezTo>
                <a:cubicBezTo>
                  <a:pt x="1108" y="136"/>
                  <a:pt x="1108" y="136"/>
                  <a:pt x="1108" y="136"/>
                </a:cubicBezTo>
                <a:cubicBezTo>
                  <a:pt x="1109" y="136"/>
                  <a:pt x="1109" y="136"/>
                  <a:pt x="1109" y="136"/>
                </a:cubicBezTo>
                <a:cubicBezTo>
                  <a:pt x="1110" y="136"/>
                  <a:pt x="1110" y="136"/>
                  <a:pt x="1110" y="136"/>
                </a:cubicBezTo>
                <a:cubicBezTo>
                  <a:pt x="1111" y="138"/>
                  <a:pt x="1111" y="138"/>
                  <a:pt x="1111" y="138"/>
                </a:cubicBezTo>
                <a:cubicBezTo>
                  <a:pt x="1109" y="138"/>
                  <a:pt x="1109" y="138"/>
                  <a:pt x="1109" y="138"/>
                </a:cubicBezTo>
                <a:cubicBezTo>
                  <a:pt x="1108" y="138"/>
                  <a:pt x="1108" y="138"/>
                  <a:pt x="1108" y="138"/>
                </a:cubicBezTo>
                <a:cubicBezTo>
                  <a:pt x="1108" y="139"/>
                  <a:pt x="1108" y="139"/>
                  <a:pt x="1108" y="139"/>
                </a:cubicBezTo>
                <a:cubicBezTo>
                  <a:pt x="1109" y="139"/>
                  <a:pt x="1109" y="139"/>
                  <a:pt x="1109" y="139"/>
                </a:cubicBezTo>
                <a:cubicBezTo>
                  <a:pt x="1110" y="140"/>
                  <a:pt x="1110" y="140"/>
                  <a:pt x="1110" y="140"/>
                </a:cubicBezTo>
                <a:cubicBezTo>
                  <a:pt x="1109" y="141"/>
                  <a:pt x="1109" y="141"/>
                  <a:pt x="1109" y="141"/>
                </a:cubicBezTo>
                <a:cubicBezTo>
                  <a:pt x="1109" y="142"/>
                  <a:pt x="1109" y="142"/>
                  <a:pt x="1109" y="142"/>
                </a:cubicBezTo>
                <a:cubicBezTo>
                  <a:pt x="1107" y="142"/>
                  <a:pt x="1107" y="142"/>
                  <a:pt x="1107" y="142"/>
                </a:cubicBezTo>
                <a:cubicBezTo>
                  <a:pt x="1107" y="143"/>
                  <a:pt x="1107" y="143"/>
                  <a:pt x="1107" y="143"/>
                </a:cubicBezTo>
                <a:cubicBezTo>
                  <a:pt x="1105" y="144"/>
                  <a:pt x="1105" y="144"/>
                  <a:pt x="1105" y="144"/>
                </a:cubicBezTo>
                <a:cubicBezTo>
                  <a:pt x="1104" y="145"/>
                  <a:pt x="1104" y="145"/>
                  <a:pt x="1104" y="145"/>
                </a:cubicBezTo>
                <a:cubicBezTo>
                  <a:pt x="1105" y="145"/>
                  <a:pt x="1105" y="145"/>
                  <a:pt x="1105" y="145"/>
                </a:cubicBezTo>
                <a:cubicBezTo>
                  <a:pt x="1106" y="145"/>
                  <a:pt x="1106" y="145"/>
                  <a:pt x="1106" y="145"/>
                </a:cubicBezTo>
                <a:cubicBezTo>
                  <a:pt x="1107" y="146"/>
                  <a:pt x="1107" y="146"/>
                  <a:pt x="1107" y="146"/>
                </a:cubicBezTo>
                <a:cubicBezTo>
                  <a:pt x="1108" y="147"/>
                  <a:pt x="1108" y="147"/>
                  <a:pt x="1108" y="147"/>
                </a:cubicBezTo>
                <a:cubicBezTo>
                  <a:pt x="1106" y="147"/>
                  <a:pt x="1106" y="147"/>
                  <a:pt x="1106" y="147"/>
                </a:cubicBezTo>
                <a:cubicBezTo>
                  <a:pt x="1105" y="147"/>
                  <a:pt x="1105" y="147"/>
                  <a:pt x="1105" y="147"/>
                </a:cubicBezTo>
                <a:cubicBezTo>
                  <a:pt x="1105" y="147"/>
                  <a:pt x="1105" y="147"/>
                  <a:pt x="1105" y="147"/>
                </a:cubicBezTo>
                <a:cubicBezTo>
                  <a:pt x="1104" y="147"/>
                  <a:pt x="1104" y="147"/>
                  <a:pt x="1104" y="147"/>
                </a:cubicBezTo>
                <a:cubicBezTo>
                  <a:pt x="1102" y="150"/>
                  <a:pt x="1102" y="150"/>
                  <a:pt x="1102" y="150"/>
                </a:cubicBezTo>
                <a:cubicBezTo>
                  <a:pt x="1101" y="150"/>
                  <a:pt x="1101" y="150"/>
                  <a:pt x="1101" y="150"/>
                </a:cubicBezTo>
                <a:cubicBezTo>
                  <a:pt x="1100" y="151"/>
                  <a:pt x="1100" y="151"/>
                  <a:pt x="1100" y="151"/>
                </a:cubicBezTo>
                <a:cubicBezTo>
                  <a:pt x="1100" y="152"/>
                  <a:pt x="1100" y="152"/>
                  <a:pt x="1100" y="152"/>
                </a:cubicBezTo>
                <a:cubicBezTo>
                  <a:pt x="1102" y="152"/>
                  <a:pt x="1102" y="152"/>
                  <a:pt x="1102" y="152"/>
                </a:cubicBezTo>
                <a:cubicBezTo>
                  <a:pt x="1103" y="152"/>
                  <a:pt x="1103" y="152"/>
                  <a:pt x="1103" y="152"/>
                </a:cubicBezTo>
                <a:cubicBezTo>
                  <a:pt x="1104" y="151"/>
                  <a:pt x="1104" y="151"/>
                  <a:pt x="1104" y="151"/>
                </a:cubicBezTo>
                <a:cubicBezTo>
                  <a:pt x="1104" y="152"/>
                  <a:pt x="1104" y="152"/>
                  <a:pt x="1104" y="152"/>
                </a:cubicBezTo>
                <a:cubicBezTo>
                  <a:pt x="1105" y="153"/>
                  <a:pt x="1105" y="153"/>
                  <a:pt x="1105" y="153"/>
                </a:cubicBezTo>
                <a:cubicBezTo>
                  <a:pt x="1106" y="153"/>
                  <a:pt x="1106" y="153"/>
                  <a:pt x="1106" y="153"/>
                </a:cubicBezTo>
                <a:cubicBezTo>
                  <a:pt x="1107" y="153"/>
                  <a:pt x="1107" y="153"/>
                  <a:pt x="1107" y="153"/>
                </a:cubicBezTo>
                <a:cubicBezTo>
                  <a:pt x="1107" y="154"/>
                  <a:pt x="1107" y="154"/>
                  <a:pt x="1107" y="154"/>
                </a:cubicBezTo>
                <a:cubicBezTo>
                  <a:pt x="1105" y="154"/>
                  <a:pt x="1105" y="154"/>
                  <a:pt x="1105" y="154"/>
                </a:cubicBezTo>
                <a:cubicBezTo>
                  <a:pt x="1103" y="155"/>
                  <a:pt x="1103" y="155"/>
                  <a:pt x="1103" y="155"/>
                </a:cubicBezTo>
                <a:cubicBezTo>
                  <a:pt x="1103" y="155"/>
                  <a:pt x="1103" y="155"/>
                  <a:pt x="1103" y="155"/>
                </a:cubicBezTo>
                <a:cubicBezTo>
                  <a:pt x="1106" y="155"/>
                  <a:pt x="1106" y="155"/>
                  <a:pt x="1106" y="155"/>
                </a:cubicBezTo>
                <a:cubicBezTo>
                  <a:pt x="1107" y="156"/>
                  <a:pt x="1107" y="156"/>
                  <a:pt x="1107" y="156"/>
                </a:cubicBezTo>
                <a:cubicBezTo>
                  <a:pt x="1107" y="157"/>
                  <a:pt x="1107" y="157"/>
                  <a:pt x="1107" y="157"/>
                </a:cubicBezTo>
                <a:cubicBezTo>
                  <a:pt x="1106" y="157"/>
                  <a:pt x="1106" y="157"/>
                  <a:pt x="1106" y="157"/>
                </a:cubicBezTo>
                <a:cubicBezTo>
                  <a:pt x="1105" y="157"/>
                  <a:pt x="1105" y="157"/>
                  <a:pt x="1105" y="157"/>
                </a:cubicBezTo>
                <a:cubicBezTo>
                  <a:pt x="1105" y="157"/>
                  <a:pt x="1105" y="157"/>
                  <a:pt x="1105" y="157"/>
                </a:cubicBezTo>
                <a:cubicBezTo>
                  <a:pt x="1104" y="157"/>
                  <a:pt x="1104" y="157"/>
                  <a:pt x="1104" y="157"/>
                </a:cubicBezTo>
                <a:cubicBezTo>
                  <a:pt x="1103" y="157"/>
                  <a:pt x="1103" y="157"/>
                  <a:pt x="1103" y="157"/>
                </a:cubicBezTo>
                <a:cubicBezTo>
                  <a:pt x="1102" y="157"/>
                  <a:pt x="1102" y="157"/>
                  <a:pt x="1102" y="157"/>
                </a:cubicBezTo>
                <a:cubicBezTo>
                  <a:pt x="1100" y="156"/>
                  <a:pt x="1100" y="156"/>
                  <a:pt x="1100" y="156"/>
                </a:cubicBezTo>
                <a:cubicBezTo>
                  <a:pt x="1100" y="155"/>
                  <a:pt x="1100" y="155"/>
                  <a:pt x="1100" y="155"/>
                </a:cubicBezTo>
                <a:cubicBezTo>
                  <a:pt x="1101" y="155"/>
                  <a:pt x="1101" y="155"/>
                  <a:pt x="1101" y="155"/>
                </a:cubicBezTo>
                <a:cubicBezTo>
                  <a:pt x="1100" y="153"/>
                  <a:pt x="1100" y="153"/>
                  <a:pt x="1100" y="153"/>
                </a:cubicBezTo>
                <a:cubicBezTo>
                  <a:pt x="1099" y="153"/>
                  <a:pt x="1099" y="153"/>
                  <a:pt x="1099" y="153"/>
                </a:cubicBezTo>
                <a:cubicBezTo>
                  <a:pt x="1098" y="153"/>
                  <a:pt x="1098" y="153"/>
                  <a:pt x="1098" y="153"/>
                </a:cubicBezTo>
                <a:cubicBezTo>
                  <a:pt x="1098" y="155"/>
                  <a:pt x="1098" y="155"/>
                  <a:pt x="1098" y="155"/>
                </a:cubicBezTo>
                <a:cubicBezTo>
                  <a:pt x="1097" y="158"/>
                  <a:pt x="1097" y="158"/>
                  <a:pt x="1097" y="158"/>
                </a:cubicBezTo>
                <a:cubicBezTo>
                  <a:pt x="1096" y="160"/>
                  <a:pt x="1096" y="160"/>
                  <a:pt x="1096" y="160"/>
                </a:cubicBezTo>
                <a:cubicBezTo>
                  <a:pt x="1097" y="161"/>
                  <a:pt x="1097" y="161"/>
                  <a:pt x="1097" y="161"/>
                </a:cubicBezTo>
                <a:cubicBezTo>
                  <a:pt x="1098" y="161"/>
                  <a:pt x="1098" y="161"/>
                  <a:pt x="1098" y="161"/>
                </a:cubicBezTo>
                <a:cubicBezTo>
                  <a:pt x="1099" y="160"/>
                  <a:pt x="1099" y="160"/>
                  <a:pt x="1099" y="160"/>
                </a:cubicBezTo>
                <a:cubicBezTo>
                  <a:pt x="1100" y="160"/>
                  <a:pt x="1100" y="160"/>
                  <a:pt x="1100" y="160"/>
                </a:cubicBezTo>
                <a:cubicBezTo>
                  <a:pt x="1099" y="161"/>
                  <a:pt x="1099" y="161"/>
                  <a:pt x="1099" y="161"/>
                </a:cubicBezTo>
                <a:cubicBezTo>
                  <a:pt x="1098" y="162"/>
                  <a:pt x="1098" y="162"/>
                  <a:pt x="1098" y="162"/>
                </a:cubicBezTo>
                <a:cubicBezTo>
                  <a:pt x="1097" y="163"/>
                  <a:pt x="1097" y="163"/>
                  <a:pt x="1097" y="163"/>
                </a:cubicBezTo>
                <a:cubicBezTo>
                  <a:pt x="1096" y="163"/>
                  <a:pt x="1096" y="163"/>
                  <a:pt x="1096" y="163"/>
                </a:cubicBezTo>
                <a:cubicBezTo>
                  <a:pt x="1096" y="164"/>
                  <a:pt x="1096" y="164"/>
                  <a:pt x="1096" y="164"/>
                </a:cubicBezTo>
                <a:cubicBezTo>
                  <a:pt x="1094" y="164"/>
                  <a:pt x="1094" y="164"/>
                  <a:pt x="1094" y="164"/>
                </a:cubicBezTo>
                <a:cubicBezTo>
                  <a:pt x="1092" y="164"/>
                  <a:pt x="1092" y="164"/>
                  <a:pt x="1092" y="164"/>
                </a:cubicBezTo>
                <a:cubicBezTo>
                  <a:pt x="1090" y="164"/>
                  <a:pt x="1090" y="164"/>
                  <a:pt x="1090" y="164"/>
                </a:cubicBezTo>
                <a:cubicBezTo>
                  <a:pt x="1090" y="164"/>
                  <a:pt x="1090" y="164"/>
                  <a:pt x="1090" y="164"/>
                </a:cubicBezTo>
                <a:cubicBezTo>
                  <a:pt x="1087" y="164"/>
                  <a:pt x="1087" y="164"/>
                  <a:pt x="1087" y="164"/>
                </a:cubicBezTo>
                <a:cubicBezTo>
                  <a:pt x="1086" y="164"/>
                  <a:pt x="1086" y="164"/>
                  <a:pt x="1086" y="164"/>
                </a:cubicBezTo>
                <a:cubicBezTo>
                  <a:pt x="1084" y="165"/>
                  <a:pt x="1084" y="165"/>
                  <a:pt x="1084" y="165"/>
                </a:cubicBezTo>
                <a:cubicBezTo>
                  <a:pt x="1081" y="166"/>
                  <a:pt x="1081" y="166"/>
                  <a:pt x="1081" y="166"/>
                </a:cubicBezTo>
                <a:cubicBezTo>
                  <a:pt x="1082" y="166"/>
                  <a:pt x="1082" y="166"/>
                  <a:pt x="1082" y="166"/>
                </a:cubicBezTo>
                <a:cubicBezTo>
                  <a:pt x="1084" y="166"/>
                  <a:pt x="1084" y="166"/>
                  <a:pt x="1084" y="166"/>
                </a:cubicBezTo>
                <a:cubicBezTo>
                  <a:pt x="1085" y="166"/>
                  <a:pt x="1085" y="166"/>
                  <a:pt x="1085" y="166"/>
                </a:cubicBezTo>
                <a:cubicBezTo>
                  <a:pt x="1084" y="167"/>
                  <a:pt x="1084" y="167"/>
                  <a:pt x="1084" y="167"/>
                </a:cubicBezTo>
                <a:cubicBezTo>
                  <a:pt x="1083" y="167"/>
                  <a:pt x="1083" y="167"/>
                  <a:pt x="1083" y="167"/>
                </a:cubicBezTo>
                <a:cubicBezTo>
                  <a:pt x="1083" y="168"/>
                  <a:pt x="1083" y="168"/>
                  <a:pt x="1083" y="168"/>
                </a:cubicBezTo>
                <a:cubicBezTo>
                  <a:pt x="1085" y="169"/>
                  <a:pt x="1085" y="169"/>
                  <a:pt x="1085" y="169"/>
                </a:cubicBezTo>
                <a:cubicBezTo>
                  <a:pt x="1086" y="170"/>
                  <a:pt x="1086" y="170"/>
                  <a:pt x="1086" y="170"/>
                </a:cubicBezTo>
                <a:cubicBezTo>
                  <a:pt x="1087" y="170"/>
                  <a:pt x="1087" y="170"/>
                  <a:pt x="1087" y="170"/>
                </a:cubicBezTo>
                <a:cubicBezTo>
                  <a:pt x="1089" y="170"/>
                  <a:pt x="1089" y="170"/>
                  <a:pt x="1089" y="170"/>
                </a:cubicBezTo>
                <a:cubicBezTo>
                  <a:pt x="1090" y="170"/>
                  <a:pt x="1090" y="170"/>
                  <a:pt x="1090" y="170"/>
                </a:cubicBezTo>
                <a:cubicBezTo>
                  <a:pt x="1092" y="170"/>
                  <a:pt x="1092" y="170"/>
                  <a:pt x="1092" y="170"/>
                </a:cubicBezTo>
                <a:cubicBezTo>
                  <a:pt x="1093" y="169"/>
                  <a:pt x="1093" y="169"/>
                  <a:pt x="1093" y="169"/>
                </a:cubicBezTo>
                <a:cubicBezTo>
                  <a:pt x="1091" y="168"/>
                  <a:pt x="1091" y="168"/>
                  <a:pt x="1091" y="168"/>
                </a:cubicBezTo>
                <a:cubicBezTo>
                  <a:pt x="1091" y="167"/>
                  <a:pt x="1091" y="167"/>
                  <a:pt x="1091" y="167"/>
                </a:cubicBezTo>
                <a:cubicBezTo>
                  <a:pt x="1091" y="167"/>
                  <a:pt x="1091" y="167"/>
                  <a:pt x="1091" y="167"/>
                </a:cubicBezTo>
                <a:cubicBezTo>
                  <a:pt x="1094" y="167"/>
                  <a:pt x="1094" y="167"/>
                  <a:pt x="1094" y="167"/>
                </a:cubicBezTo>
                <a:cubicBezTo>
                  <a:pt x="1095" y="166"/>
                  <a:pt x="1095" y="166"/>
                  <a:pt x="1095" y="166"/>
                </a:cubicBezTo>
                <a:cubicBezTo>
                  <a:pt x="1097" y="166"/>
                  <a:pt x="1097" y="166"/>
                  <a:pt x="1097" y="166"/>
                </a:cubicBezTo>
                <a:cubicBezTo>
                  <a:pt x="1097" y="167"/>
                  <a:pt x="1097" y="167"/>
                  <a:pt x="1097" y="167"/>
                </a:cubicBezTo>
                <a:cubicBezTo>
                  <a:pt x="1096" y="167"/>
                  <a:pt x="1096" y="167"/>
                  <a:pt x="1096" y="167"/>
                </a:cubicBezTo>
                <a:cubicBezTo>
                  <a:pt x="1095" y="168"/>
                  <a:pt x="1095" y="168"/>
                  <a:pt x="1095" y="168"/>
                </a:cubicBezTo>
                <a:cubicBezTo>
                  <a:pt x="1095" y="170"/>
                  <a:pt x="1095" y="170"/>
                  <a:pt x="1095" y="170"/>
                </a:cubicBezTo>
                <a:cubicBezTo>
                  <a:pt x="1093" y="170"/>
                  <a:pt x="1093" y="170"/>
                  <a:pt x="1093" y="170"/>
                </a:cubicBezTo>
                <a:cubicBezTo>
                  <a:pt x="1093" y="171"/>
                  <a:pt x="1093" y="171"/>
                  <a:pt x="1093" y="171"/>
                </a:cubicBezTo>
                <a:cubicBezTo>
                  <a:pt x="1093" y="172"/>
                  <a:pt x="1093" y="172"/>
                  <a:pt x="1093" y="172"/>
                </a:cubicBezTo>
                <a:cubicBezTo>
                  <a:pt x="1097" y="175"/>
                  <a:pt x="1097" y="175"/>
                  <a:pt x="1097" y="175"/>
                </a:cubicBezTo>
                <a:cubicBezTo>
                  <a:pt x="1099" y="177"/>
                  <a:pt x="1099" y="177"/>
                  <a:pt x="1099" y="177"/>
                </a:cubicBezTo>
                <a:cubicBezTo>
                  <a:pt x="1099" y="178"/>
                  <a:pt x="1099" y="178"/>
                  <a:pt x="1099" y="178"/>
                </a:cubicBezTo>
                <a:cubicBezTo>
                  <a:pt x="1097" y="178"/>
                  <a:pt x="1097" y="178"/>
                  <a:pt x="1097" y="178"/>
                </a:cubicBezTo>
                <a:cubicBezTo>
                  <a:pt x="1097" y="177"/>
                  <a:pt x="1097" y="177"/>
                  <a:pt x="1097" y="177"/>
                </a:cubicBezTo>
                <a:cubicBezTo>
                  <a:pt x="1095" y="176"/>
                  <a:pt x="1095" y="176"/>
                  <a:pt x="1095" y="176"/>
                </a:cubicBezTo>
                <a:cubicBezTo>
                  <a:pt x="1093" y="175"/>
                  <a:pt x="1093" y="175"/>
                  <a:pt x="1093" y="175"/>
                </a:cubicBezTo>
                <a:cubicBezTo>
                  <a:pt x="1092" y="174"/>
                  <a:pt x="1092" y="174"/>
                  <a:pt x="1092" y="174"/>
                </a:cubicBezTo>
                <a:cubicBezTo>
                  <a:pt x="1090" y="174"/>
                  <a:pt x="1090" y="174"/>
                  <a:pt x="1090" y="174"/>
                </a:cubicBezTo>
                <a:cubicBezTo>
                  <a:pt x="1090" y="175"/>
                  <a:pt x="1090" y="175"/>
                  <a:pt x="1090" y="175"/>
                </a:cubicBezTo>
                <a:cubicBezTo>
                  <a:pt x="1088" y="175"/>
                  <a:pt x="1088" y="175"/>
                  <a:pt x="1088" y="175"/>
                </a:cubicBezTo>
                <a:cubicBezTo>
                  <a:pt x="1085" y="173"/>
                  <a:pt x="1085" y="173"/>
                  <a:pt x="1085" y="173"/>
                </a:cubicBezTo>
                <a:cubicBezTo>
                  <a:pt x="1084" y="172"/>
                  <a:pt x="1084" y="172"/>
                  <a:pt x="1084" y="172"/>
                </a:cubicBezTo>
                <a:cubicBezTo>
                  <a:pt x="1083" y="170"/>
                  <a:pt x="1083" y="170"/>
                  <a:pt x="1083" y="170"/>
                </a:cubicBezTo>
                <a:cubicBezTo>
                  <a:pt x="1083" y="170"/>
                  <a:pt x="1083" y="170"/>
                  <a:pt x="1083" y="170"/>
                </a:cubicBezTo>
                <a:cubicBezTo>
                  <a:pt x="1083" y="172"/>
                  <a:pt x="1083" y="172"/>
                  <a:pt x="1083" y="172"/>
                </a:cubicBezTo>
                <a:cubicBezTo>
                  <a:pt x="1084" y="173"/>
                  <a:pt x="1084" y="173"/>
                  <a:pt x="1084" y="173"/>
                </a:cubicBezTo>
                <a:cubicBezTo>
                  <a:pt x="1083" y="174"/>
                  <a:pt x="1083" y="174"/>
                  <a:pt x="1083" y="174"/>
                </a:cubicBezTo>
                <a:cubicBezTo>
                  <a:pt x="1082" y="172"/>
                  <a:pt x="1082" y="172"/>
                  <a:pt x="1082" y="172"/>
                </a:cubicBezTo>
                <a:cubicBezTo>
                  <a:pt x="1080" y="170"/>
                  <a:pt x="1080" y="170"/>
                  <a:pt x="1080" y="170"/>
                </a:cubicBezTo>
                <a:cubicBezTo>
                  <a:pt x="1077" y="169"/>
                  <a:pt x="1077" y="169"/>
                  <a:pt x="1077" y="169"/>
                </a:cubicBezTo>
                <a:cubicBezTo>
                  <a:pt x="1077" y="169"/>
                  <a:pt x="1077" y="169"/>
                  <a:pt x="1077" y="169"/>
                </a:cubicBezTo>
                <a:cubicBezTo>
                  <a:pt x="1077" y="170"/>
                  <a:pt x="1077" y="170"/>
                  <a:pt x="1077" y="170"/>
                </a:cubicBezTo>
                <a:cubicBezTo>
                  <a:pt x="1078" y="171"/>
                  <a:pt x="1078" y="171"/>
                  <a:pt x="1078" y="171"/>
                </a:cubicBezTo>
                <a:cubicBezTo>
                  <a:pt x="1078" y="172"/>
                  <a:pt x="1078" y="172"/>
                  <a:pt x="1078" y="172"/>
                </a:cubicBezTo>
                <a:cubicBezTo>
                  <a:pt x="1081" y="174"/>
                  <a:pt x="1081" y="174"/>
                  <a:pt x="1081" y="174"/>
                </a:cubicBezTo>
                <a:cubicBezTo>
                  <a:pt x="1082" y="175"/>
                  <a:pt x="1082" y="175"/>
                  <a:pt x="1082" y="175"/>
                </a:cubicBezTo>
                <a:cubicBezTo>
                  <a:pt x="1083" y="175"/>
                  <a:pt x="1083" y="175"/>
                  <a:pt x="1083" y="175"/>
                </a:cubicBezTo>
                <a:cubicBezTo>
                  <a:pt x="1084" y="175"/>
                  <a:pt x="1084" y="175"/>
                  <a:pt x="1084" y="175"/>
                </a:cubicBezTo>
                <a:cubicBezTo>
                  <a:pt x="1085" y="176"/>
                  <a:pt x="1085" y="176"/>
                  <a:pt x="1085" y="176"/>
                </a:cubicBezTo>
                <a:cubicBezTo>
                  <a:pt x="1082" y="176"/>
                  <a:pt x="1082" y="176"/>
                  <a:pt x="1082" y="176"/>
                </a:cubicBezTo>
                <a:cubicBezTo>
                  <a:pt x="1080" y="175"/>
                  <a:pt x="1080" y="175"/>
                  <a:pt x="1080" y="175"/>
                </a:cubicBezTo>
                <a:cubicBezTo>
                  <a:pt x="1078" y="174"/>
                  <a:pt x="1078" y="174"/>
                  <a:pt x="1078" y="174"/>
                </a:cubicBezTo>
                <a:cubicBezTo>
                  <a:pt x="1077" y="174"/>
                  <a:pt x="1077" y="174"/>
                  <a:pt x="1077" y="174"/>
                </a:cubicBezTo>
                <a:cubicBezTo>
                  <a:pt x="1077" y="175"/>
                  <a:pt x="1077" y="175"/>
                  <a:pt x="1077" y="175"/>
                </a:cubicBezTo>
                <a:cubicBezTo>
                  <a:pt x="1077" y="176"/>
                  <a:pt x="1077" y="176"/>
                  <a:pt x="1077" y="176"/>
                </a:cubicBezTo>
                <a:cubicBezTo>
                  <a:pt x="1076" y="177"/>
                  <a:pt x="1076" y="177"/>
                  <a:pt x="1076" y="177"/>
                </a:cubicBezTo>
                <a:cubicBezTo>
                  <a:pt x="1075" y="177"/>
                  <a:pt x="1075" y="177"/>
                  <a:pt x="1075" y="177"/>
                </a:cubicBezTo>
                <a:cubicBezTo>
                  <a:pt x="1075" y="178"/>
                  <a:pt x="1075" y="178"/>
                  <a:pt x="1075" y="178"/>
                </a:cubicBezTo>
                <a:cubicBezTo>
                  <a:pt x="1074" y="179"/>
                  <a:pt x="1074" y="179"/>
                  <a:pt x="1074" y="179"/>
                </a:cubicBezTo>
                <a:cubicBezTo>
                  <a:pt x="1074" y="179"/>
                  <a:pt x="1074" y="179"/>
                  <a:pt x="1074" y="179"/>
                </a:cubicBezTo>
                <a:cubicBezTo>
                  <a:pt x="1071" y="182"/>
                  <a:pt x="1071" y="182"/>
                  <a:pt x="1071" y="182"/>
                </a:cubicBezTo>
                <a:cubicBezTo>
                  <a:pt x="1071" y="183"/>
                  <a:pt x="1071" y="183"/>
                  <a:pt x="1071" y="183"/>
                </a:cubicBezTo>
                <a:cubicBezTo>
                  <a:pt x="1072" y="183"/>
                  <a:pt x="1072" y="183"/>
                  <a:pt x="1072" y="183"/>
                </a:cubicBezTo>
                <a:cubicBezTo>
                  <a:pt x="1073" y="183"/>
                  <a:pt x="1073" y="183"/>
                  <a:pt x="1073" y="183"/>
                </a:cubicBezTo>
                <a:cubicBezTo>
                  <a:pt x="1075" y="180"/>
                  <a:pt x="1075" y="180"/>
                  <a:pt x="1075" y="180"/>
                </a:cubicBezTo>
                <a:cubicBezTo>
                  <a:pt x="1077" y="179"/>
                  <a:pt x="1077" y="179"/>
                  <a:pt x="1077" y="179"/>
                </a:cubicBezTo>
                <a:cubicBezTo>
                  <a:pt x="1078" y="179"/>
                  <a:pt x="1078" y="179"/>
                  <a:pt x="1078" y="179"/>
                </a:cubicBezTo>
                <a:cubicBezTo>
                  <a:pt x="1081" y="179"/>
                  <a:pt x="1081" y="179"/>
                  <a:pt x="1081" y="179"/>
                </a:cubicBezTo>
                <a:cubicBezTo>
                  <a:pt x="1081" y="178"/>
                  <a:pt x="1081" y="178"/>
                  <a:pt x="1081" y="178"/>
                </a:cubicBezTo>
                <a:cubicBezTo>
                  <a:pt x="1082" y="178"/>
                  <a:pt x="1082" y="178"/>
                  <a:pt x="1082" y="178"/>
                </a:cubicBezTo>
                <a:cubicBezTo>
                  <a:pt x="1082" y="179"/>
                  <a:pt x="1082" y="179"/>
                  <a:pt x="1082" y="179"/>
                </a:cubicBezTo>
                <a:cubicBezTo>
                  <a:pt x="1083" y="180"/>
                  <a:pt x="1083" y="180"/>
                  <a:pt x="1083" y="180"/>
                </a:cubicBezTo>
                <a:cubicBezTo>
                  <a:pt x="1085" y="180"/>
                  <a:pt x="1085" y="180"/>
                  <a:pt x="1085" y="180"/>
                </a:cubicBezTo>
                <a:cubicBezTo>
                  <a:pt x="1087" y="182"/>
                  <a:pt x="1087" y="182"/>
                  <a:pt x="1087" y="182"/>
                </a:cubicBezTo>
                <a:cubicBezTo>
                  <a:pt x="1088" y="182"/>
                  <a:pt x="1088" y="182"/>
                  <a:pt x="1088" y="182"/>
                </a:cubicBezTo>
                <a:cubicBezTo>
                  <a:pt x="1089" y="181"/>
                  <a:pt x="1089" y="181"/>
                  <a:pt x="1089" y="181"/>
                </a:cubicBezTo>
                <a:cubicBezTo>
                  <a:pt x="1090" y="180"/>
                  <a:pt x="1090" y="180"/>
                  <a:pt x="1090" y="180"/>
                </a:cubicBezTo>
                <a:cubicBezTo>
                  <a:pt x="1090" y="179"/>
                  <a:pt x="1090" y="179"/>
                  <a:pt x="1090" y="179"/>
                </a:cubicBezTo>
                <a:cubicBezTo>
                  <a:pt x="1090" y="178"/>
                  <a:pt x="1090" y="178"/>
                  <a:pt x="1090" y="178"/>
                </a:cubicBezTo>
                <a:cubicBezTo>
                  <a:pt x="1090" y="177"/>
                  <a:pt x="1090" y="177"/>
                  <a:pt x="1090" y="177"/>
                </a:cubicBezTo>
                <a:cubicBezTo>
                  <a:pt x="1091" y="177"/>
                  <a:pt x="1091" y="177"/>
                  <a:pt x="1091" y="177"/>
                </a:cubicBezTo>
                <a:cubicBezTo>
                  <a:pt x="1092" y="177"/>
                  <a:pt x="1092" y="177"/>
                  <a:pt x="1092" y="177"/>
                </a:cubicBezTo>
                <a:cubicBezTo>
                  <a:pt x="1092" y="177"/>
                  <a:pt x="1092" y="177"/>
                  <a:pt x="1092" y="177"/>
                </a:cubicBezTo>
                <a:cubicBezTo>
                  <a:pt x="1093" y="177"/>
                  <a:pt x="1093" y="177"/>
                  <a:pt x="1093" y="177"/>
                </a:cubicBezTo>
                <a:cubicBezTo>
                  <a:pt x="1094" y="178"/>
                  <a:pt x="1094" y="178"/>
                  <a:pt x="1094" y="178"/>
                </a:cubicBezTo>
                <a:cubicBezTo>
                  <a:pt x="1094" y="179"/>
                  <a:pt x="1094" y="179"/>
                  <a:pt x="1094" y="179"/>
                </a:cubicBezTo>
                <a:cubicBezTo>
                  <a:pt x="1093" y="178"/>
                  <a:pt x="1093" y="178"/>
                  <a:pt x="1093" y="178"/>
                </a:cubicBezTo>
                <a:cubicBezTo>
                  <a:pt x="1092" y="179"/>
                  <a:pt x="1092" y="179"/>
                  <a:pt x="1092" y="179"/>
                </a:cubicBezTo>
                <a:cubicBezTo>
                  <a:pt x="1092" y="180"/>
                  <a:pt x="1092" y="180"/>
                  <a:pt x="1092" y="180"/>
                </a:cubicBezTo>
                <a:cubicBezTo>
                  <a:pt x="1093" y="181"/>
                  <a:pt x="1093" y="181"/>
                  <a:pt x="1093" y="181"/>
                </a:cubicBezTo>
                <a:cubicBezTo>
                  <a:pt x="1096" y="181"/>
                  <a:pt x="1096" y="181"/>
                  <a:pt x="1096" y="181"/>
                </a:cubicBezTo>
                <a:cubicBezTo>
                  <a:pt x="1096" y="181"/>
                  <a:pt x="1096" y="181"/>
                  <a:pt x="1096" y="181"/>
                </a:cubicBezTo>
                <a:cubicBezTo>
                  <a:pt x="1096" y="180"/>
                  <a:pt x="1096" y="180"/>
                  <a:pt x="1096" y="180"/>
                </a:cubicBezTo>
                <a:cubicBezTo>
                  <a:pt x="1096" y="179"/>
                  <a:pt x="1096" y="179"/>
                  <a:pt x="1096" y="179"/>
                </a:cubicBezTo>
                <a:cubicBezTo>
                  <a:pt x="1097" y="179"/>
                  <a:pt x="1097" y="179"/>
                  <a:pt x="1097" y="179"/>
                </a:cubicBezTo>
                <a:cubicBezTo>
                  <a:pt x="1099" y="179"/>
                  <a:pt x="1099" y="179"/>
                  <a:pt x="1099" y="179"/>
                </a:cubicBezTo>
                <a:cubicBezTo>
                  <a:pt x="1100" y="180"/>
                  <a:pt x="1100" y="180"/>
                  <a:pt x="1100" y="180"/>
                </a:cubicBezTo>
                <a:cubicBezTo>
                  <a:pt x="1099" y="181"/>
                  <a:pt x="1099" y="181"/>
                  <a:pt x="1099" y="181"/>
                </a:cubicBezTo>
                <a:cubicBezTo>
                  <a:pt x="1096" y="182"/>
                  <a:pt x="1096" y="182"/>
                  <a:pt x="1096" y="182"/>
                </a:cubicBezTo>
                <a:cubicBezTo>
                  <a:pt x="1093" y="182"/>
                  <a:pt x="1093" y="182"/>
                  <a:pt x="1093" y="182"/>
                </a:cubicBezTo>
                <a:cubicBezTo>
                  <a:pt x="1092" y="182"/>
                  <a:pt x="1092" y="182"/>
                  <a:pt x="1092" y="182"/>
                </a:cubicBezTo>
                <a:cubicBezTo>
                  <a:pt x="1092" y="183"/>
                  <a:pt x="1092" y="183"/>
                  <a:pt x="1092" y="183"/>
                </a:cubicBezTo>
                <a:cubicBezTo>
                  <a:pt x="1094" y="186"/>
                  <a:pt x="1094" y="186"/>
                  <a:pt x="1094" y="186"/>
                </a:cubicBezTo>
                <a:cubicBezTo>
                  <a:pt x="1096" y="187"/>
                  <a:pt x="1096" y="187"/>
                  <a:pt x="1096" y="187"/>
                </a:cubicBezTo>
                <a:cubicBezTo>
                  <a:pt x="1098" y="187"/>
                  <a:pt x="1098" y="187"/>
                  <a:pt x="1098" y="187"/>
                </a:cubicBezTo>
                <a:cubicBezTo>
                  <a:pt x="1098" y="187"/>
                  <a:pt x="1098" y="187"/>
                  <a:pt x="1098" y="187"/>
                </a:cubicBezTo>
                <a:cubicBezTo>
                  <a:pt x="1100" y="186"/>
                  <a:pt x="1100" y="186"/>
                  <a:pt x="1100" y="186"/>
                </a:cubicBezTo>
                <a:cubicBezTo>
                  <a:pt x="1100" y="187"/>
                  <a:pt x="1100" y="187"/>
                  <a:pt x="1100" y="187"/>
                </a:cubicBezTo>
                <a:cubicBezTo>
                  <a:pt x="1100" y="188"/>
                  <a:pt x="1100" y="188"/>
                  <a:pt x="1100" y="188"/>
                </a:cubicBezTo>
                <a:cubicBezTo>
                  <a:pt x="1099" y="188"/>
                  <a:pt x="1099" y="188"/>
                  <a:pt x="1099" y="188"/>
                </a:cubicBezTo>
                <a:cubicBezTo>
                  <a:pt x="1098" y="188"/>
                  <a:pt x="1098" y="188"/>
                  <a:pt x="1098" y="188"/>
                </a:cubicBezTo>
                <a:cubicBezTo>
                  <a:pt x="1095" y="188"/>
                  <a:pt x="1095" y="188"/>
                  <a:pt x="1095" y="188"/>
                </a:cubicBezTo>
                <a:cubicBezTo>
                  <a:pt x="1093" y="186"/>
                  <a:pt x="1093" y="186"/>
                  <a:pt x="1093" y="186"/>
                </a:cubicBezTo>
                <a:cubicBezTo>
                  <a:pt x="1091" y="184"/>
                  <a:pt x="1091" y="184"/>
                  <a:pt x="1091" y="184"/>
                </a:cubicBezTo>
                <a:cubicBezTo>
                  <a:pt x="1089" y="183"/>
                  <a:pt x="1089" y="183"/>
                  <a:pt x="1089" y="183"/>
                </a:cubicBezTo>
                <a:cubicBezTo>
                  <a:pt x="1087" y="184"/>
                  <a:pt x="1087" y="184"/>
                  <a:pt x="1087" y="184"/>
                </a:cubicBezTo>
                <a:cubicBezTo>
                  <a:pt x="1085" y="182"/>
                  <a:pt x="1085" y="182"/>
                  <a:pt x="1085" y="182"/>
                </a:cubicBezTo>
                <a:cubicBezTo>
                  <a:pt x="1083" y="181"/>
                  <a:pt x="1083" y="181"/>
                  <a:pt x="1083" y="181"/>
                </a:cubicBezTo>
                <a:cubicBezTo>
                  <a:pt x="1083" y="181"/>
                  <a:pt x="1083" y="181"/>
                  <a:pt x="1083" y="181"/>
                </a:cubicBezTo>
                <a:cubicBezTo>
                  <a:pt x="1081" y="181"/>
                  <a:pt x="1081" y="181"/>
                  <a:pt x="1081" y="181"/>
                </a:cubicBezTo>
                <a:cubicBezTo>
                  <a:pt x="1080" y="181"/>
                  <a:pt x="1080" y="181"/>
                  <a:pt x="1080" y="181"/>
                </a:cubicBezTo>
                <a:cubicBezTo>
                  <a:pt x="1078" y="181"/>
                  <a:pt x="1078" y="181"/>
                  <a:pt x="1078" y="181"/>
                </a:cubicBezTo>
                <a:cubicBezTo>
                  <a:pt x="1078" y="181"/>
                  <a:pt x="1078" y="181"/>
                  <a:pt x="1078" y="181"/>
                </a:cubicBezTo>
                <a:cubicBezTo>
                  <a:pt x="1077" y="181"/>
                  <a:pt x="1077" y="181"/>
                  <a:pt x="1077" y="181"/>
                </a:cubicBezTo>
                <a:cubicBezTo>
                  <a:pt x="1075" y="182"/>
                  <a:pt x="1075" y="182"/>
                  <a:pt x="1075" y="182"/>
                </a:cubicBezTo>
                <a:cubicBezTo>
                  <a:pt x="1075" y="184"/>
                  <a:pt x="1075" y="184"/>
                  <a:pt x="1075" y="184"/>
                </a:cubicBezTo>
                <a:cubicBezTo>
                  <a:pt x="1073" y="184"/>
                  <a:pt x="1073" y="184"/>
                  <a:pt x="1073" y="184"/>
                </a:cubicBezTo>
                <a:cubicBezTo>
                  <a:pt x="1071" y="185"/>
                  <a:pt x="1071" y="185"/>
                  <a:pt x="1071" y="185"/>
                </a:cubicBezTo>
                <a:cubicBezTo>
                  <a:pt x="1070" y="186"/>
                  <a:pt x="1070" y="186"/>
                  <a:pt x="1070" y="186"/>
                </a:cubicBezTo>
                <a:cubicBezTo>
                  <a:pt x="1068" y="188"/>
                  <a:pt x="1068" y="188"/>
                  <a:pt x="1068" y="188"/>
                </a:cubicBezTo>
                <a:cubicBezTo>
                  <a:pt x="1068" y="189"/>
                  <a:pt x="1068" y="189"/>
                  <a:pt x="1068" y="189"/>
                </a:cubicBezTo>
                <a:cubicBezTo>
                  <a:pt x="1069" y="190"/>
                  <a:pt x="1069" y="190"/>
                  <a:pt x="1069" y="190"/>
                </a:cubicBezTo>
                <a:cubicBezTo>
                  <a:pt x="1070" y="189"/>
                  <a:pt x="1070" y="189"/>
                  <a:pt x="1070" y="189"/>
                </a:cubicBezTo>
                <a:cubicBezTo>
                  <a:pt x="1072" y="188"/>
                  <a:pt x="1072" y="188"/>
                  <a:pt x="1072" y="188"/>
                </a:cubicBezTo>
                <a:cubicBezTo>
                  <a:pt x="1073" y="188"/>
                  <a:pt x="1073" y="188"/>
                  <a:pt x="1073" y="188"/>
                </a:cubicBezTo>
                <a:cubicBezTo>
                  <a:pt x="1074" y="189"/>
                  <a:pt x="1074" y="189"/>
                  <a:pt x="1074" y="189"/>
                </a:cubicBezTo>
                <a:cubicBezTo>
                  <a:pt x="1076" y="189"/>
                  <a:pt x="1076" y="189"/>
                  <a:pt x="1076" y="189"/>
                </a:cubicBezTo>
                <a:cubicBezTo>
                  <a:pt x="1079" y="188"/>
                  <a:pt x="1079" y="188"/>
                  <a:pt x="1079" y="188"/>
                </a:cubicBezTo>
                <a:cubicBezTo>
                  <a:pt x="1082" y="188"/>
                  <a:pt x="1082" y="188"/>
                  <a:pt x="1082" y="188"/>
                </a:cubicBezTo>
                <a:cubicBezTo>
                  <a:pt x="1084" y="189"/>
                  <a:pt x="1084" y="189"/>
                  <a:pt x="1084" y="189"/>
                </a:cubicBezTo>
                <a:cubicBezTo>
                  <a:pt x="1085" y="190"/>
                  <a:pt x="1085" y="190"/>
                  <a:pt x="1085" y="190"/>
                </a:cubicBezTo>
                <a:cubicBezTo>
                  <a:pt x="1084" y="190"/>
                  <a:pt x="1084" y="190"/>
                  <a:pt x="1084" y="190"/>
                </a:cubicBezTo>
                <a:cubicBezTo>
                  <a:pt x="1081" y="190"/>
                  <a:pt x="1081" y="190"/>
                  <a:pt x="1081" y="190"/>
                </a:cubicBezTo>
                <a:cubicBezTo>
                  <a:pt x="1080" y="190"/>
                  <a:pt x="1080" y="190"/>
                  <a:pt x="1080" y="190"/>
                </a:cubicBezTo>
                <a:cubicBezTo>
                  <a:pt x="1073" y="190"/>
                  <a:pt x="1073" y="190"/>
                  <a:pt x="1073" y="190"/>
                </a:cubicBezTo>
                <a:cubicBezTo>
                  <a:pt x="1071" y="190"/>
                  <a:pt x="1071" y="190"/>
                  <a:pt x="1071" y="190"/>
                </a:cubicBezTo>
                <a:cubicBezTo>
                  <a:pt x="1071" y="191"/>
                  <a:pt x="1071" y="191"/>
                  <a:pt x="1071" y="191"/>
                </a:cubicBezTo>
                <a:cubicBezTo>
                  <a:pt x="1068" y="191"/>
                  <a:pt x="1068" y="191"/>
                  <a:pt x="1068" y="191"/>
                </a:cubicBezTo>
                <a:cubicBezTo>
                  <a:pt x="1068" y="192"/>
                  <a:pt x="1068" y="192"/>
                  <a:pt x="1068" y="192"/>
                </a:cubicBezTo>
                <a:cubicBezTo>
                  <a:pt x="1069" y="192"/>
                  <a:pt x="1069" y="192"/>
                  <a:pt x="1069" y="192"/>
                </a:cubicBezTo>
                <a:cubicBezTo>
                  <a:pt x="1070" y="192"/>
                  <a:pt x="1070" y="192"/>
                  <a:pt x="1070" y="192"/>
                </a:cubicBezTo>
                <a:cubicBezTo>
                  <a:pt x="1071" y="193"/>
                  <a:pt x="1071" y="193"/>
                  <a:pt x="1071" y="193"/>
                </a:cubicBezTo>
                <a:cubicBezTo>
                  <a:pt x="1070" y="193"/>
                  <a:pt x="1070" y="193"/>
                  <a:pt x="1070" y="193"/>
                </a:cubicBezTo>
                <a:cubicBezTo>
                  <a:pt x="1069" y="193"/>
                  <a:pt x="1069" y="193"/>
                  <a:pt x="1069" y="193"/>
                </a:cubicBezTo>
                <a:cubicBezTo>
                  <a:pt x="1067" y="193"/>
                  <a:pt x="1067" y="193"/>
                  <a:pt x="1067" y="193"/>
                </a:cubicBezTo>
                <a:cubicBezTo>
                  <a:pt x="1067" y="193"/>
                  <a:pt x="1067" y="193"/>
                  <a:pt x="1067" y="193"/>
                </a:cubicBezTo>
                <a:cubicBezTo>
                  <a:pt x="1068" y="194"/>
                  <a:pt x="1068" y="194"/>
                  <a:pt x="1068" y="194"/>
                </a:cubicBezTo>
                <a:cubicBezTo>
                  <a:pt x="1069" y="194"/>
                  <a:pt x="1069" y="194"/>
                  <a:pt x="1069" y="194"/>
                </a:cubicBezTo>
                <a:cubicBezTo>
                  <a:pt x="1074" y="196"/>
                  <a:pt x="1074" y="196"/>
                  <a:pt x="1074" y="196"/>
                </a:cubicBezTo>
                <a:cubicBezTo>
                  <a:pt x="1075" y="196"/>
                  <a:pt x="1075" y="196"/>
                  <a:pt x="1075" y="196"/>
                </a:cubicBezTo>
                <a:cubicBezTo>
                  <a:pt x="1076" y="195"/>
                  <a:pt x="1076" y="195"/>
                  <a:pt x="1076" y="195"/>
                </a:cubicBezTo>
                <a:cubicBezTo>
                  <a:pt x="1077" y="195"/>
                  <a:pt x="1077" y="195"/>
                  <a:pt x="1077" y="195"/>
                </a:cubicBezTo>
                <a:cubicBezTo>
                  <a:pt x="1078" y="195"/>
                  <a:pt x="1078" y="195"/>
                  <a:pt x="1078" y="195"/>
                </a:cubicBezTo>
                <a:cubicBezTo>
                  <a:pt x="1078" y="197"/>
                  <a:pt x="1078" y="197"/>
                  <a:pt x="1078" y="197"/>
                </a:cubicBezTo>
                <a:cubicBezTo>
                  <a:pt x="1078" y="198"/>
                  <a:pt x="1078" y="198"/>
                  <a:pt x="1078" y="198"/>
                </a:cubicBezTo>
                <a:cubicBezTo>
                  <a:pt x="1077" y="198"/>
                  <a:pt x="1077" y="198"/>
                  <a:pt x="1077" y="198"/>
                </a:cubicBezTo>
                <a:cubicBezTo>
                  <a:pt x="1076" y="198"/>
                  <a:pt x="1076" y="198"/>
                  <a:pt x="1076" y="198"/>
                </a:cubicBezTo>
                <a:cubicBezTo>
                  <a:pt x="1075" y="198"/>
                  <a:pt x="1075" y="198"/>
                  <a:pt x="1075" y="198"/>
                </a:cubicBezTo>
                <a:cubicBezTo>
                  <a:pt x="1074" y="198"/>
                  <a:pt x="1074" y="198"/>
                  <a:pt x="1074" y="198"/>
                </a:cubicBezTo>
                <a:cubicBezTo>
                  <a:pt x="1073" y="198"/>
                  <a:pt x="1073" y="198"/>
                  <a:pt x="1073" y="198"/>
                </a:cubicBezTo>
                <a:cubicBezTo>
                  <a:pt x="1073" y="199"/>
                  <a:pt x="1073" y="199"/>
                  <a:pt x="1073" y="199"/>
                </a:cubicBezTo>
                <a:cubicBezTo>
                  <a:pt x="1073" y="200"/>
                  <a:pt x="1073" y="200"/>
                  <a:pt x="1073" y="200"/>
                </a:cubicBezTo>
                <a:cubicBezTo>
                  <a:pt x="1074" y="200"/>
                  <a:pt x="1074" y="200"/>
                  <a:pt x="1074" y="200"/>
                </a:cubicBezTo>
                <a:cubicBezTo>
                  <a:pt x="1075" y="200"/>
                  <a:pt x="1075" y="200"/>
                  <a:pt x="1075" y="200"/>
                </a:cubicBezTo>
                <a:cubicBezTo>
                  <a:pt x="1075" y="201"/>
                  <a:pt x="1075" y="201"/>
                  <a:pt x="1075" y="201"/>
                </a:cubicBezTo>
                <a:cubicBezTo>
                  <a:pt x="1074" y="201"/>
                  <a:pt x="1074" y="201"/>
                  <a:pt x="1074" y="201"/>
                </a:cubicBezTo>
                <a:cubicBezTo>
                  <a:pt x="1072" y="201"/>
                  <a:pt x="1072" y="201"/>
                  <a:pt x="1072" y="201"/>
                </a:cubicBezTo>
                <a:cubicBezTo>
                  <a:pt x="1070" y="200"/>
                  <a:pt x="1070" y="200"/>
                  <a:pt x="1070" y="200"/>
                </a:cubicBezTo>
                <a:cubicBezTo>
                  <a:pt x="1068" y="201"/>
                  <a:pt x="1068" y="201"/>
                  <a:pt x="1068" y="201"/>
                </a:cubicBezTo>
                <a:cubicBezTo>
                  <a:pt x="1068" y="201"/>
                  <a:pt x="1068" y="201"/>
                  <a:pt x="1068" y="201"/>
                </a:cubicBezTo>
                <a:cubicBezTo>
                  <a:pt x="1069" y="203"/>
                  <a:pt x="1069" y="203"/>
                  <a:pt x="1069" y="203"/>
                </a:cubicBezTo>
                <a:cubicBezTo>
                  <a:pt x="1070" y="203"/>
                  <a:pt x="1070" y="203"/>
                  <a:pt x="1070" y="203"/>
                </a:cubicBezTo>
                <a:cubicBezTo>
                  <a:pt x="1071" y="202"/>
                  <a:pt x="1071" y="202"/>
                  <a:pt x="1071" y="202"/>
                </a:cubicBezTo>
                <a:cubicBezTo>
                  <a:pt x="1073" y="202"/>
                  <a:pt x="1073" y="202"/>
                  <a:pt x="1073" y="202"/>
                </a:cubicBezTo>
                <a:cubicBezTo>
                  <a:pt x="1074" y="203"/>
                  <a:pt x="1074" y="203"/>
                  <a:pt x="1074" y="203"/>
                </a:cubicBezTo>
                <a:cubicBezTo>
                  <a:pt x="1075" y="204"/>
                  <a:pt x="1075" y="204"/>
                  <a:pt x="1075" y="204"/>
                </a:cubicBezTo>
                <a:cubicBezTo>
                  <a:pt x="1073" y="204"/>
                  <a:pt x="1073" y="204"/>
                  <a:pt x="1073" y="204"/>
                </a:cubicBezTo>
                <a:cubicBezTo>
                  <a:pt x="1071" y="204"/>
                  <a:pt x="1071" y="204"/>
                  <a:pt x="1071" y="204"/>
                </a:cubicBezTo>
                <a:cubicBezTo>
                  <a:pt x="1069" y="204"/>
                  <a:pt x="1069" y="204"/>
                  <a:pt x="1069" y="204"/>
                </a:cubicBezTo>
                <a:cubicBezTo>
                  <a:pt x="1068" y="203"/>
                  <a:pt x="1068" y="203"/>
                  <a:pt x="1068" y="203"/>
                </a:cubicBezTo>
                <a:cubicBezTo>
                  <a:pt x="1067" y="203"/>
                  <a:pt x="1067" y="203"/>
                  <a:pt x="1067" y="203"/>
                </a:cubicBezTo>
                <a:cubicBezTo>
                  <a:pt x="1066" y="205"/>
                  <a:pt x="1066" y="205"/>
                  <a:pt x="1066" y="205"/>
                </a:cubicBezTo>
                <a:cubicBezTo>
                  <a:pt x="1066" y="208"/>
                  <a:pt x="1066" y="208"/>
                  <a:pt x="1066" y="208"/>
                </a:cubicBezTo>
                <a:cubicBezTo>
                  <a:pt x="1065" y="209"/>
                  <a:pt x="1065" y="209"/>
                  <a:pt x="1065" y="209"/>
                </a:cubicBezTo>
                <a:cubicBezTo>
                  <a:pt x="1066" y="210"/>
                  <a:pt x="1066" y="210"/>
                  <a:pt x="1066" y="210"/>
                </a:cubicBezTo>
                <a:cubicBezTo>
                  <a:pt x="1067" y="210"/>
                  <a:pt x="1067" y="210"/>
                  <a:pt x="1067" y="210"/>
                </a:cubicBezTo>
                <a:cubicBezTo>
                  <a:pt x="1071" y="208"/>
                  <a:pt x="1071" y="208"/>
                  <a:pt x="1071" y="208"/>
                </a:cubicBezTo>
                <a:cubicBezTo>
                  <a:pt x="1072" y="208"/>
                  <a:pt x="1072" y="208"/>
                  <a:pt x="1072" y="208"/>
                </a:cubicBezTo>
                <a:cubicBezTo>
                  <a:pt x="1075" y="207"/>
                  <a:pt x="1075" y="207"/>
                  <a:pt x="1075" y="207"/>
                </a:cubicBezTo>
                <a:cubicBezTo>
                  <a:pt x="1077" y="206"/>
                  <a:pt x="1077" y="206"/>
                  <a:pt x="1077" y="206"/>
                </a:cubicBezTo>
                <a:cubicBezTo>
                  <a:pt x="1079" y="204"/>
                  <a:pt x="1079" y="204"/>
                  <a:pt x="1079" y="204"/>
                </a:cubicBezTo>
                <a:cubicBezTo>
                  <a:pt x="1081" y="201"/>
                  <a:pt x="1081" y="201"/>
                  <a:pt x="1081" y="201"/>
                </a:cubicBezTo>
                <a:cubicBezTo>
                  <a:pt x="1086" y="199"/>
                  <a:pt x="1086" y="199"/>
                  <a:pt x="1086" y="199"/>
                </a:cubicBezTo>
                <a:cubicBezTo>
                  <a:pt x="1089" y="198"/>
                  <a:pt x="1089" y="198"/>
                  <a:pt x="1089" y="198"/>
                </a:cubicBezTo>
                <a:cubicBezTo>
                  <a:pt x="1090" y="199"/>
                  <a:pt x="1090" y="199"/>
                  <a:pt x="1090" y="199"/>
                </a:cubicBezTo>
                <a:cubicBezTo>
                  <a:pt x="1090" y="199"/>
                  <a:pt x="1090" y="199"/>
                  <a:pt x="1090" y="199"/>
                </a:cubicBezTo>
                <a:cubicBezTo>
                  <a:pt x="1089" y="200"/>
                  <a:pt x="1089" y="200"/>
                  <a:pt x="1089" y="200"/>
                </a:cubicBezTo>
                <a:cubicBezTo>
                  <a:pt x="1088" y="200"/>
                  <a:pt x="1088" y="200"/>
                  <a:pt x="1088" y="200"/>
                </a:cubicBezTo>
                <a:cubicBezTo>
                  <a:pt x="1085" y="201"/>
                  <a:pt x="1085" y="201"/>
                  <a:pt x="1085" y="201"/>
                </a:cubicBezTo>
                <a:cubicBezTo>
                  <a:pt x="1082" y="203"/>
                  <a:pt x="1082" y="203"/>
                  <a:pt x="1082" y="203"/>
                </a:cubicBezTo>
                <a:cubicBezTo>
                  <a:pt x="1079" y="206"/>
                  <a:pt x="1079" y="206"/>
                  <a:pt x="1079" y="206"/>
                </a:cubicBezTo>
                <a:cubicBezTo>
                  <a:pt x="1077" y="208"/>
                  <a:pt x="1077" y="208"/>
                  <a:pt x="1077" y="208"/>
                </a:cubicBezTo>
                <a:cubicBezTo>
                  <a:pt x="1074" y="208"/>
                  <a:pt x="1074" y="208"/>
                  <a:pt x="1074" y="208"/>
                </a:cubicBezTo>
                <a:cubicBezTo>
                  <a:pt x="1073" y="209"/>
                  <a:pt x="1073" y="209"/>
                  <a:pt x="1073" y="209"/>
                </a:cubicBezTo>
                <a:cubicBezTo>
                  <a:pt x="1070" y="211"/>
                  <a:pt x="1070" y="211"/>
                  <a:pt x="1070" y="211"/>
                </a:cubicBezTo>
                <a:cubicBezTo>
                  <a:pt x="1067" y="212"/>
                  <a:pt x="1067" y="212"/>
                  <a:pt x="1067" y="212"/>
                </a:cubicBezTo>
                <a:cubicBezTo>
                  <a:pt x="1066" y="212"/>
                  <a:pt x="1066" y="212"/>
                  <a:pt x="1066" y="212"/>
                </a:cubicBezTo>
                <a:cubicBezTo>
                  <a:pt x="1066" y="213"/>
                  <a:pt x="1066" y="213"/>
                  <a:pt x="1066" y="213"/>
                </a:cubicBezTo>
                <a:cubicBezTo>
                  <a:pt x="1067" y="213"/>
                  <a:pt x="1067" y="213"/>
                  <a:pt x="1067" y="213"/>
                </a:cubicBezTo>
                <a:cubicBezTo>
                  <a:pt x="1068" y="213"/>
                  <a:pt x="1068" y="213"/>
                  <a:pt x="1068" y="213"/>
                </a:cubicBezTo>
                <a:cubicBezTo>
                  <a:pt x="1069" y="213"/>
                  <a:pt x="1069" y="213"/>
                  <a:pt x="1069" y="213"/>
                </a:cubicBezTo>
                <a:cubicBezTo>
                  <a:pt x="1069" y="214"/>
                  <a:pt x="1069" y="214"/>
                  <a:pt x="1069" y="214"/>
                </a:cubicBezTo>
                <a:cubicBezTo>
                  <a:pt x="1071" y="213"/>
                  <a:pt x="1071" y="213"/>
                  <a:pt x="1071" y="213"/>
                </a:cubicBezTo>
                <a:cubicBezTo>
                  <a:pt x="1072" y="212"/>
                  <a:pt x="1072" y="212"/>
                  <a:pt x="1072" y="212"/>
                </a:cubicBezTo>
                <a:cubicBezTo>
                  <a:pt x="1073" y="212"/>
                  <a:pt x="1073" y="212"/>
                  <a:pt x="1073" y="212"/>
                </a:cubicBezTo>
                <a:cubicBezTo>
                  <a:pt x="1074" y="213"/>
                  <a:pt x="1074" y="213"/>
                  <a:pt x="1074" y="213"/>
                </a:cubicBezTo>
                <a:cubicBezTo>
                  <a:pt x="1075" y="213"/>
                  <a:pt x="1075" y="213"/>
                  <a:pt x="1075" y="213"/>
                </a:cubicBezTo>
                <a:cubicBezTo>
                  <a:pt x="1076" y="212"/>
                  <a:pt x="1076" y="212"/>
                  <a:pt x="1076" y="212"/>
                </a:cubicBezTo>
                <a:cubicBezTo>
                  <a:pt x="1078" y="211"/>
                  <a:pt x="1078" y="211"/>
                  <a:pt x="1078" y="211"/>
                </a:cubicBezTo>
                <a:cubicBezTo>
                  <a:pt x="1079" y="211"/>
                  <a:pt x="1079" y="211"/>
                  <a:pt x="1079" y="211"/>
                </a:cubicBezTo>
                <a:cubicBezTo>
                  <a:pt x="1080" y="212"/>
                  <a:pt x="1080" y="212"/>
                  <a:pt x="1080" y="212"/>
                </a:cubicBezTo>
                <a:cubicBezTo>
                  <a:pt x="1079" y="213"/>
                  <a:pt x="1079" y="213"/>
                  <a:pt x="1079" y="213"/>
                </a:cubicBezTo>
                <a:cubicBezTo>
                  <a:pt x="1078" y="213"/>
                  <a:pt x="1078" y="213"/>
                  <a:pt x="1078" y="213"/>
                </a:cubicBezTo>
                <a:cubicBezTo>
                  <a:pt x="1076" y="214"/>
                  <a:pt x="1076" y="214"/>
                  <a:pt x="1076" y="214"/>
                </a:cubicBezTo>
                <a:cubicBezTo>
                  <a:pt x="1075" y="214"/>
                  <a:pt x="1075" y="214"/>
                  <a:pt x="1075" y="214"/>
                </a:cubicBezTo>
                <a:cubicBezTo>
                  <a:pt x="1073" y="214"/>
                  <a:pt x="1073" y="214"/>
                  <a:pt x="1073" y="214"/>
                </a:cubicBezTo>
                <a:cubicBezTo>
                  <a:pt x="1072" y="213"/>
                  <a:pt x="1072" y="213"/>
                  <a:pt x="1072" y="213"/>
                </a:cubicBezTo>
                <a:cubicBezTo>
                  <a:pt x="1071" y="214"/>
                  <a:pt x="1071" y="214"/>
                  <a:pt x="1071" y="214"/>
                </a:cubicBezTo>
                <a:cubicBezTo>
                  <a:pt x="1070" y="215"/>
                  <a:pt x="1070" y="215"/>
                  <a:pt x="1070" y="215"/>
                </a:cubicBezTo>
                <a:cubicBezTo>
                  <a:pt x="1068" y="216"/>
                  <a:pt x="1068" y="216"/>
                  <a:pt x="1068" y="216"/>
                </a:cubicBezTo>
                <a:cubicBezTo>
                  <a:pt x="1068" y="216"/>
                  <a:pt x="1068" y="216"/>
                  <a:pt x="1068" y="216"/>
                </a:cubicBezTo>
                <a:cubicBezTo>
                  <a:pt x="1069" y="217"/>
                  <a:pt x="1069" y="217"/>
                  <a:pt x="1069" y="217"/>
                </a:cubicBezTo>
                <a:cubicBezTo>
                  <a:pt x="1070" y="217"/>
                  <a:pt x="1070" y="217"/>
                  <a:pt x="1070" y="217"/>
                </a:cubicBezTo>
                <a:cubicBezTo>
                  <a:pt x="1072" y="219"/>
                  <a:pt x="1072" y="219"/>
                  <a:pt x="1072" y="219"/>
                </a:cubicBezTo>
                <a:cubicBezTo>
                  <a:pt x="1070" y="220"/>
                  <a:pt x="1070" y="220"/>
                  <a:pt x="1070" y="220"/>
                </a:cubicBezTo>
                <a:cubicBezTo>
                  <a:pt x="1070" y="221"/>
                  <a:pt x="1070" y="221"/>
                  <a:pt x="1070" y="221"/>
                </a:cubicBezTo>
                <a:cubicBezTo>
                  <a:pt x="1072" y="221"/>
                  <a:pt x="1072" y="221"/>
                  <a:pt x="1072" y="221"/>
                </a:cubicBezTo>
                <a:cubicBezTo>
                  <a:pt x="1071" y="222"/>
                  <a:pt x="1071" y="222"/>
                  <a:pt x="1071" y="222"/>
                </a:cubicBezTo>
                <a:cubicBezTo>
                  <a:pt x="1072" y="223"/>
                  <a:pt x="1072" y="223"/>
                  <a:pt x="1072" y="223"/>
                </a:cubicBezTo>
                <a:cubicBezTo>
                  <a:pt x="1072" y="223"/>
                  <a:pt x="1072" y="223"/>
                  <a:pt x="1072" y="223"/>
                </a:cubicBezTo>
                <a:cubicBezTo>
                  <a:pt x="1074" y="221"/>
                  <a:pt x="1074" y="221"/>
                  <a:pt x="1074" y="221"/>
                </a:cubicBezTo>
                <a:cubicBezTo>
                  <a:pt x="1075" y="221"/>
                  <a:pt x="1075" y="221"/>
                  <a:pt x="1075" y="221"/>
                </a:cubicBezTo>
                <a:cubicBezTo>
                  <a:pt x="1076" y="220"/>
                  <a:pt x="1076" y="220"/>
                  <a:pt x="1076" y="220"/>
                </a:cubicBezTo>
                <a:cubicBezTo>
                  <a:pt x="1077" y="219"/>
                  <a:pt x="1077" y="219"/>
                  <a:pt x="1077" y="219"/>
                </a:cubicBezTo>
                <a:cubicBezTo>
                  <a:pt x="1078" y="218"/>
                  <a:pt x="1078" y="218"/>
                  <a:pt x="1078" y="218"/>
                </a:cubicBezTo>
                <a:cubicBezTo>
                  <a:pt x="1079" y="218"/>
                  <a:pt x="1079" y="218"/>
                  <a:pt x="1079" y="218"/>
                </a:cubicBezTo>
                <a:cubicBezTo>
                  <a:pt x="1083" y="216"/>
                  <a:pt x="1083" y="216"/>
                  <a:pt x="1083" y="216"/>
                </a:cubicBezTo>
                <a:cubicBezTo>
                  <a:pt x="1084" y="216"/>
                  <a:pt x="1084" y="216"/>
                  <a:pt x="1084" y="216"/>
                </a:cubicBezTo>
                <a:cubicBezTo>
                  <a:pt x="1084" y="217"/>
                  <a:pt x="1084" y="217"/>
                  <a:pt x="1084" y="217"/>
                </a:cubicBezTo>
                <a:cubicBezTo>
                  <a:pt x="1086" y="218"/>
                  <a:pt x="1086" y="218"/>
                  <a:pt x="1086" y="218"/>
                </a:cubicBezTo>
                <a:cubicBezTo>
                  <a:pt x="1086" y="219"/>
                  <a:pt x="1086" y="219"/>
                  <a:pt x="1086" y="219"/>
                </a:cubicBezTo>
                <a:cubicBezTo>
                  <a:pt x="1085" y="219"/>
                  <a:pt x="1085" y="219"/>
                  <a:pt x="1085" y="219"/>
                </a:cubicBezTo>
                <a:cubicBezTo>
                  <a:pt x="1084" y="218"/>
                  <a:pt x="1084" y="218"/>
                  <a:pt x="1084" y="218"/>
                </a:cubicBezTo>
                <a:cubicBezTo>
                  <a:pt x="1081" y="219"/>
                  <a:pt x="1081" y="219"/>
                  <a:pt x="1081" y="219"/>
                </a:cubicBezTo>
                <a:cubicBezTo>
                  <a:pt x="1080" y="219"/>
                  <a:pt x="1080" y="219"/>
                  <a:pt x="1080" y="219"/>
                </a:cubicBezTo>
                <a:cubicBezTo>
                  <a:pt x="1080" y="219"/>
                  <a:pt x="1080" y="219"/>
                  <a:pt x="1080" y="219"/>
                </a:cubicBezTo>
                <a:cubicBezTo>
                  <a:pt x="1079" y="219"/>
                  <a:pt x="1079" y="219"/>
                  <a:pt x="1079" y="219"/>
                </a:cubicBezTo>
                <a:cubicBezTo>
                  <a:pt x="1078" y="221"/>
                  <a:pt x="1078" y="221"/>
                  <a:pt x="1078" y="221"/>
                </a:cubicBezTo>
                <a:cubicBezTo>
                  <a:pt x="1077" y="221"/>
                  <a:pt x="1077" y="221"/>
                  <a:pt x="1077" y="221"/>
                </a:cubicBezTo>
                <a:cubicBezTo>
                  <a:pt x="1076" y="222"/>
                  <a:pt x="1076" y="222"/>
                  <a:pt x="1076" y="222"/>
                </a:cubicBezTo>
                <a:cubicBezTo>
                  <a:pt x="1074" y="223"/>
                  <a:pt x="1074" y="223"/>
                  <a:pt x="1074" y="223"/>
                </a:cubicBezTo>
                <a:cubicBezTo>
                  <a:pt x="1073" y="224"/>
                  <a:pt x="1073" y="224"/>
                  <a:pt x="1073" y="224"/>
                </a:cubicBezTo>
                <a:cubicBezTo>
                  <a:pt x="1071" y="224"/>
                  <a:pt x="1071" y="224"/>
                  <a:pt x="1071" y="224"/>
                </a:cubicBezTo>
                <a:cubicBezTo>
                  <a:pt x="1069" y="225"/>
                  <a:pt x="1069" y="225"/>
                  <a:pt x="1069" y="225"/>
                </a:cubicBezTo>
                <a:cubicBezTo>
                  <a:pt x="1070" y="226"/>
                  <a:pt x="1070" y="226"/>
                  <a:pt x="1070" y="226"/>
                </a:cubicBezTo>
                <a:cubicBezTo>
                  <a:pt x="1071" y="227"/>
                  <a:pt x="1071" y="227"/>
                  <a:pt x="1071" y="227"/>
                </a:cubicBezTo>
                <a:cubicBezTo>
                  <a:pt x="1072" y="226"/>
                  <a:pt x="1072" y="226"/>
                  <a:pt x="1072" y="226"/>
                </a:cubicBezTo>
                <a:cubicBezTo>
                  <a:pt x="1072" y="225"/>
                  <a:pt x="1072" y="225"/>
                  <a:pt x="1072" y="225"/>
                </a:cubicBezTo>
                <a:cubicBezTo>
                  <a:pt x="1073" y="227"/>
                  <a:pt x="1073" y="227"/>
                  <a:pt x="1073" y="227"/>
                </a:cubicBezTo>
                <a:cubicBezTo>
                  <a:pt x="1073" y="229"/>
                  <a:pt x="1073" y="229"/>
                  <a:pt x="1073" y="229"/>
                </a:cubicBezTo>
                <a:cubicBezTo>
                  <a:pt x="1072" y="229"/>
                  <a:pt x="1072" y="229"/>
                  <a:pt x="1072" y="229"/>
                </a:cubicBezTo>
                <a:cubicBezTo>
                  <a:pt x="1072" y="232"/>
                  <a:pt x="1072" y="232"/>
                  <a:pt x="1072" y="232"/>
                </a:cubicBezTo>
                <a:cubicBezTo>
                  <a:pt x="1072" y="233"/>
                  <a:pt x="1072" y="233"/>
                  <a:pt x="1072" y="233"/>
                </a:cubicBezTo>
                <a:cubicBezTo>
                  <a:pt x="1074" y="234"/>
                  <a:pt x="1074" y="234"/>
                  <a:pt x="1074" y="234"/>
                </a:cubicBezTo>
                <a:cubicBezTo>
                  <a:pt x="1075" y="233"/>
                  <a:pt x="1075" y="233"/>
                  <a:pt x="1075" y="233"/>
                </a:cubicBezTo>
                <a:cubicBezTo>
                  <a:pt x="1076" y="231"/>
                  <a:pt x="1076" y="231"/>
                  <a:pt x="1076" y="231"/>
                </a:cubicBezTo>
                <a:cubicBezTo>
                  <a:pt x="1077" y="232"/>
                  <a:pt x="1077" y="232"/>
                  <a:pt x="1077" y="232"/>
                </a:cubicBezTo>
                <a:cubicBezTo>
                  <a:pt x="1078" y="231"/>
                  <a:pt x="1078" y="231"/>
                  <a:pt x="1078" y="231"/>
                </a:cubicBezTo>
                <a:cubicBezTo>
                  <a:pt x="1079" y="231"/>
                  <a:pt x="1079" y="231"/>
                  <a:pt x="1079" y="231"/>
                </a:cubicBezTo>
                <a:cubicBezTo>
                  <a:pt x="1080" y="232"/>
                  <a:pt x="1080" y="232"/>
                  <a:pt x="1080" y="232"/>
                </a:cubicBezTo>
                <a:cubicBezTo>
                  <a:pt x="1079" y="232"/>
                  <a:pt x="1079" y="232"/>
                  <a:pt x="1079" y="232"/>
                </a:cubicBezTo>
                <a:cubicBezTo>
                  <a:pt x="1077" y="234"/>
                  <a:pt x="1077" y="234"/>
                  <a:pt x="1077" y="234"/>
                </a:cubicBezTo>
                <a:cubicBezTo>
                  <a:pt x="1076" y="233"/>
                  <a:pt x="1076" y="233"/>
                  <a:pt x="1076" y="233"/>
                </a:cubicBezTo>
                <a:cubicBezTo>
                  <a:pt x="1073" y="234"/>
                  <a:pt x="1073" y="234"/>
                  <a:pt x="1073" y="234"/>
                </a:cubicBezTo>
                <a:cubicBezTo>
                  <a:pt x="1072" y="235"/>
                  <a:pt x="1072" y="235"/>
                  <a:pt x="1072" y="235"/>
                </a:cubicBezTo>
                <a:cubicBezTo>
                  <a:pt x="1072" y="236"/>
                  <a:pt x="1072" y="236"/>
                  <a:pt x="1072" y="236"/>
                </a:cubicBezTo>
                <a:cubicBezTo>
                  <a:pt x="1071" y="238"/>
                  <a:pt x="1071" y="238"/>
                  <a:pt x="1071" y="238"/>
                </a:cubicBezTo>
                <a:cubicBezTo>
                  <a:pt x="1073" y="239"/>
                  <a:pt x="1073" y="239"/>
                  <a:pt x="1073" y="239"/>
                </a:cubicBezTo>
                <a:cubicBezTo>
                  <a:pt x="1072" y="240"/>
                  <a:pt x="1072" y="240"/>
                  <a:pt x="1072" y="240"/>
                </a:cubicBezTo>
                <a:cubicBezTo>
                  <a:pt x="1071" y="242"/>
                  <a:pt x="1071" y="242"/>
                  <a:pt x="1071" y="242"/>
                </a:cubicBezTo>
                <a:cubicBezTo>
                  <a:pt x="1072" y="244"/>
                  <a:pt x="1072" y="244"/>
                  <a:pt x="1072" y="244"/>
                </a:cubicBezTo>
                <a:cubicBezTo>
                  <a:pt x="1073" y="244"/>
                  <a:pt x="1073" y="244"/>
                  <a:pt x="1073" y="244"/>
                </a:cubicBezTo>
                <a:cubicBezTo>
                  <a:pt x="1074" y="241"/>
                  <a:pt x="1074" y="241"/>
                  <a:pt x="1074" y="241"/>
                </a:cubicBezTo>
                <a:cubicBezTo>
                  <a:pt x="1075" y="241"/>
                  <a:pt x="1075" y="241"/>
                  <a:pt x="1075" y="241"/>
                </a:cubicBezTo>
                <a:cubicBezTo>
                  <a:pt x="1078" y="239"/>
                  <a:pt x="1078" y="239"/>
                  <a:pt x="1078" y="239"/>
                </a:cubicBezTo>
                <a:cubicBezTo>
                  <a:pt x="1078" y="238"/>
                  <a:pt x="1078" y="238"/>
                  <a:pt x="1078" y="238"/>
                </a:cubicBezTo>
                <a:cubicBezTo>
                  <a:pt x="1079" y="237"/>
                  <a:pt x="1079" y="237"/>
                  <a:pt x="1079" y="237"/>
                </a:cubicBezTo>
                <a:cubicBezTo>
                  <a:pt x="1080" y="237"/>
                  <a:pt x="1080" y="237"/>
                  <a:pt x="1080" y="237"/>
                </a:cubicBezTo>
                <a:cubicBezTo>
                  <a:pt x="1081" y="237"/>
                  <a:pt x="1081" y="237"/>
                  <a:pt x="1081" y="237"/>
                </a:cubicBezTo>
                <a:cubicBezTo>
                  <a:pt x="1080" y="238"/>
                  <a:pt x="1080" y="238"/>
                  <a:pt x="1080" y="238"/>
                </a:cubicBezTo>
                <a:cubicBezTo>
                  <a:pt x="1080" y="239"/>
                  <a:pt x="1080" y="239"/>
                  <a:pt x="1080" y="239"/>
                </a:cubicBezTo>
                <a:cubicBezTo>
                  <a:pt x="1080" y="239"/>
                  <a:pt x="1080" y="239"/>
                  <a:pt x="1080" y="239"/>
                </a:cubicBezTo>
                <a:cubicBezTo>
                  <a:pt x="1082" y="238"/>
                  <a:pt x="1082" y="238"/>
                  <a:pt x="1082" y="238"/>
                </a:cubicBezTo>
                <a:cubicBezTo>
                  <a:pt x="1084" y="236"/>
                  <a:pt x="1084" y="236"/>
                  <a:pt x="1084" y="236"/>
                </a:cubicBezTo>
                <a:cubicBezTo>
                  <a:pt x="1084" y="235"/>
                  <a:pt x="1084" y="235"/>
                  <a:pt x="1084" y="235"/>
                </a:cubicBezTo>
                <a:cubicBezTo>
                  <a:pt x="1085" y="237"/>
                  <a:pt x="1085" y="237"/>
                  <a:pt x="1085" y="237"/>
                </a:cubicBezTo>
                <a:cubicBezTo>
                  <a:pt x="1086" y="237"/>
                  <a:pt x="1086" y="237"/>
                  <a:pt x="1086" y="237"/>
                </a:cubicBezTo>
                <a:cubicBezTo>
                  <a:pt x="1087" y="235"/>
                  <a:pt x="1087" y="235"/>
                  <a:pt x="1087" y="235"/>
                </a:cubicBezTo>
                <a:cubicBezTo>
                  <a:pt x="1089" y="236"/>
                  <a:pt x="1089" y="236"/>
                  <a:pt x="1089" y="236"/>
                </a:cubicBezTo>
                <a:cubicBezTo>
                  <a:pt x="1088" y="236"/>
                  <a:pt x="1088" y="236"/>
                  <a:pt x="1088" y="236"/>
                </a:cubicBezTo>
                <a:cubicBezTo>
                  <a:pt x="1087" y="237"/>
                  <a:pt x="1087" y="237"/>
                  <a:pt x="1087" y="237"/>
                </a:cubicBezTo>
                <a:cubicBezTo>
                  <a:pt x="1087" y="241"/>
                  <a:pt x="1087" y="241"/>
                  <a:pt x="1087" y="241"/>
                </a:cubicBezTo>
                <a:cubicBezTo>
                  <a:pt x="1088" y="241"/>
                  <a:pt x="1088" y="241"/>
                  <a:pt x="1088" y="241"/>
                </a:cubicBezTo>
                <a:cubicBezTo>
                  <a:pt x="1089" y="243"/>
                  <a:pt x="1089" y="243"/>
                  <a:pt x="1089" y="243"/>
                </a:cubicBezTo>
                <a:cubicBezTo>
                  <a:pt x="1089" y="243"/>
                  <a:pt x="1089" y="243"/>
                  <a:pt x="1089" y="243"/>
                </a:cubicBezTo>
                <a:cubicBezTo>
                  <a:pt x="1087" y="242"/>
                  <a:pt x="1087" y="242"/>
                  <a:pt x="1087" y="242"/>
                </a:cubicBezTo>
                <a:cubicBezTo>
                  <a:pt x="1086" y="240"/>
                  <a:pt x="1086" y="240"/>
                  <a:pt x="1086" y="240"/>
                </a:cubicBezTo>
                <a:cubicBezTo>
                  <a:pt x="1085" y="239"/>
                  <a:pt x="1085" y="239"/>
                  <a:pt x="1085" y="239"/>
                </a:cubicBezTo>
                <a:cubicBezTo>
                  <a:pt x="1084" y="239"/>
                  <a:pt x="1084" y="239"/>
                  <a:pt x="1084" y="239"/>
                </a:cubicBezTo>
                <a:cubicBezTo>
                  <a:pt x="1083" y="240"/>
                  <a:pt x="1083" y="240"/>
                  <a:pt x="1083" y="240"/>
                </a:cubicBezTo>
                <a:cubicBezTo>
                  <a:pt x="1082" y="240"/>
                  <a:pt x="1082" y="240"/>
                  <a:pt x="1082" y="240"/>
                </a:cubicBezTo>
                <a:cubicBezTo>
                  <a:pt x="1082" y="240"/>
                  <a:pt x="1082" y="240"/>
                  <a:pt x="1082" y="240"/>
                </a:cubicBezTo>
                <a:cubicBezTo>
                  <a:pt x="1083" y="241"/>
                  <a:pt x="1083" y="241"/>
                  <a:pt x="1083" y="241"/>
                </a:cubicBezTo>
                <a:cubicBezTo>
                  <a:pt x="1084" y="241"/>
                  <a:pt x="1084" y="241"/>
                  <a:pt x="1084" y="241"/>
                </a:cubicBezTo>
                <a:cubicBezTo>
                  <a:pt x="1085" y="243"/>
                  <a:pt x="1085" y="243"/>
                  <a:pt x="1085" y="243"/>
                </a:cubicBezTo>
                <a:cubicBezTo>
                  <a:pt x="1086" y="243"/>
                  <a:pt x="1086" y="243"/>
                  <a:pt x="1086" y="243"/>
                </a:cubicBezTo>
                <a:cubicBezTo>
                  <a:pt x="1086" y="244"/>
                  <a:pt x="1086" y="244"/>
                  <a:pt x="1086" y="244"/>
                </a:cubicBezTo>
                <a:cubicBezTo>
                  <a:pt x="1085" y="244"/>
                  <a:pt x="1085" y="244"/>
                  <a:pt x="1085" y="244"/>
                </a:cubicBezTo>
                <a:cubicBezTo>
                  <a:pt x="1083" y="243"/>
                  <a:pt x="1083" y="243"/>
                  <a:pt x="1083" y="243"/>
                </a:cubicBezTo>
                <a:cubicBezTo>
                  <a:pt x="1082" y="242"/>
                  <a:pt x="1082" y="242"/>
                  <a:pt x="1082" y="242"/>
                </a:cubicBezTo>
                <a:cubicBezTo>
                  <a:pt x="1081" y="243"/>
                  <a:pt x="1081" y="243"/>
                  <a:pt x="1081" y="243"/>
                </a:cubicBezTo>
                <a:cubicBezTo>
                  <a:pt x="1079" y="245"/>
                  <a:pt x="1079" y="245"/>
                  <a:pt x="1079" y="245"/>
                </a:cubicBezTo>
                <a:cubicBezTo>
                  <a:pt x="1078" y="246"/>
                  <a:pt x="1078" y="246"/>
                  <a:pt x="1078" y="246"/>
                </a:cubicBezTo>
                <a:cubicBezTo>
                  <a:pt x="1074" y="246"/>
                  <a:pt x="1074" y="246"/>
                  <a:pt x="1074" y="246"/>
                </a:cubicBezTo>
                <a:cubicBezTo>
                  <a:pt x="1074" y="246"/>
                  <a:pt x="1074" y="246"/>
                  <a:pt x="1074" y="246"/>
                </a:cubicBezTo>
                <a:cubicBezTo>
                  <a:pt x="1075" y="247"/>
                  <a:pt x="1075" y="247"/>
                  <a:pt x="1075" y="247"/>
                </a:cubicBezTo>
                <a:cubicBezTo>
                  <a:pt x="1077" y="247"/>
                  <a:pt x="1077" y="247"/>
                  <a:pt x="1077" y="247"/>
                </a:cubicBezTo>
                <a:cubicBezTo>
                  <a:pt x="1078" y="246"/>
                  <a:pt x="1078" y="246"/>
                  <a:pt x="1078" y="246"/>
                </a:cubicBezTo>
                <a:cubicBezTo>
                  <a:pt x="1081" y="246"/>
                  <a:pt x="1081" y="246"/>
                  <a:pt x="1081" y="246"/>
                </a:cubicBezTo>
                <a:cubicBezTo>
                  <a:pt x="1083" y="245"/>
                  <a:pt x="1083" y="245"/>
                  <a:pt x="1083" y="245"/>
                </a:cubicBezTo>
                <a:cubicBezTo>
                  <a:pt x="1084" y="245"/>
                  <a:pt x="1084" y="245"/>
                  <a:pt x="1084" y="245"/>
                </a:cubicBezTo>
                <a:cubicBezTo>
                  <a:pt x="1086" y="245"/>
                  <a:pt x="1086" y="245"/>
                  <a:pt x="1086" y="245"/>
                </a:cubicBezTo>
                <a:cubicBezTo>
                  <a:pt x="1086" y="246"/>
                  <a:pt x="1086" y="246"/>
                  <a:pt x="1086" y="246"/>
                </a:cubicBezTo>
                <a:cubicBezTo>
                  <a:pt x="1084" y="247"/>
                  <a:pt x="1084" y="247"/>
                  <a:pt x="1084" y="247"/>
                </a:cubicBezTo>
                <a:cubicBezTo>
                  <a:pt x="1082" y="247"/>
                  <a:pt x="1082" y="247"/>
                  <a:pt x="1082" y="247"/>
                </a:cubicBezTo>
                <a:cubicBezTo>
                  <a:pt x="1079" y="248"/>
                  <a:pt x="1079" y="248"/>
                  <a:pt x="1079" y="248"/>
                </a:cubicBezTo>
                <a:cubicBezTo>
                  <a:pt x="1075" y="247"/>
                  <a:pt x="1075" y="247"/>
                  <a:pt x="1075" y="247"/>
                </a:cubicBezTo>
                <a:cubicBezTo>
                  <a:pt x="1074" y="248"/>
                  <a:pt x="1074" y="248"/>
                  <a:pt x="1074" y="248"/>
                </a:cubicBezTo>
                <a:cubicBezTo>
                  <a:pt x="1073" y="249"/>
                  <a:pt x="1073" y="249"/>
                  <a:pt x="1073" y="249"/>
                </a:cubicBezTo>
                <a:cubicBezTo>
                  <a:pt x="1074" y="251"/>
                  <a:pt x="1074" y="251"/>
                  <a:pt x="1074" y="251"/>
                </a:cubicBezTo>
                <a:cubicBezTo>
                  <a:pt x="1075" y="251"/>
                  <a:pt x="1075" y="251"/>
                  <a:pt x="1075" y="251"/>
                </a:cubicBezTo>
                <a:cubicBezTo>
                  <a:pt x="1077" y="251"/>
                  <a:pt x="1077" y="251"/>
                  <a:pt x="1077" y="251"/>
                </a:cubicBezTo>
                <a:cubicBezTo>
                  <a:pt x="1078" y="251"/>
                  <a:pt x="1078" y="251"/>
                  <a:pt x="1078" y="251"/>
                </a:cubicBezTo>
                <a:cubicBezTo>
                  <a:pt x="1076" y="252"/>
                  <a:pt x="1076" y="252"/>
                  <a:pt x="1076" y="252"/>
                </a:cubicBezTo>
                <a:cubicBezTo>
                  <a:pt x="1074" y="252"/>
                  <a:pt x="1074" y="252"/>
                  <a:pt x="1074" y="252"/>
                </a:cubicBezTo>
                <a:cubicBezTo>
                  <a:pt x="1073" y="254"/>
                  <a:pt x="1073" y="254"/>
                  <a:pt x="1073" y="254"/>
                </a:cubicBezTo>
                <a:cubicBezTo>
                  <a:pt x="1073" y="255"/>
                  <a:pt x="1073" y="255"/>
                  <a:pt x="1073" y="255"/>
                </a:cubicBezTo>
                <a:cubicBezTo>
                  <a:pt x="1075" y="256"/>
                  <a:pt x="1075" y="256"/>
                  <a:pt x="1075" y="256"/>
                </a:cubicBezTo>
                <a:cubicBezTo>
                  <a:pt x="1076" y="255"/>
                  <a:pt x="1076" y="255"/>
                  <a:pt x="1076" y="255"/>
                </a:cubicBezTo>
                <a:cubicBezTo>
                  <a:pt x="1077" y="254"/>
                  <a:pt x="1077" y="254"/>
                  <a:pt x="1077" y="254"/>
                </a:cubicBezTo>
                <a:cubicBezTo>
                  <a:pt x="1078" y="254"/>
                  <a:pt x="1078" y="254"/>
                  <a:pt x="1078" y="254"/>
                </a:cubicBezTo>
                <a:cubicBezTo>
                  <a:pt x="1079" y="254"/>
                  <a:pt x="1079" y="254"/>
                  <a:pt x="1079" y="254"/>
                </a:cubicBezTo>
                <a:cubicBezTo>
                  <a:pt x="1080" y="254"/>
                  <a:pt x="1080" y="254"/>
                  <a:pt x="1080" y="254"/>
                </a:cubicBezTo>
                <a:cubicBezTo>
                  <a:pt x="1081" y="254"/>
                  <a:pt x="1081" y="254"/>
                  <a:pt x="1081" y="254"/>
                </a:cubicBezTo>
                <a:cubicBezTo>
                  <a:pt x="1082" y="254"/>
                  <a:pt x="1082" y="254"/>
                  <a:pt x="1082" y="254"/>
                </a:cubicBezTo>
                <a:cubicBezTo>
                  <a:pt x="1083" y="254"/>
                  <a:pt x="1083" y="254"/>
                  <a:pt x="1083" y="254"/>
                </a:cubicBezTo>
                <a:cubicBezTo>
                  <a:pt x="1082" y="255"/>
                  <a:pt x="1082" y="255"/>
                  <a:pt x="1082" y="255"/>
                </a:cubicBezTo>
                <a:cubicBezTo>
                  <a:pt x="1080" y="256"/>
                  <a:pt x="1080" y="256"/>
                  <a:pt x="1080" y="256"/>
                </a:cubicBezTo>
                <a:cubicBezTo>
                  <a:pt x="1079" y="255"/>
                  <a:pt x="1079" y="255"/>
                  <a:pt x="1079" y="255"/>
                </a:cubicBezTo>
                <a:cubicBezTo>
                  <a:pt x="1077" y="255"/>
                  <a:pt x="1077" y="255"/>
                  <a:pt x="1077" y="255"/>
                </a:cubicBezTo>
                <a:cubicBezTo>
                  <a:pt x="1077" y="255"/>
                  <a:pt x="1077" y="255"/>
                  <a:pt x="1077" y="255"/>
                </a:cubicBezTo>
                <a:cubicBezTo>
                  <a:pt x="1078" y="256"/>
                  <a:pt x="1078" y="256"/>
                  <a:pt x="1078" y="256"/>
                </a:cubicBezTo>
                <a:cubicBezTo>
                  <a:pt x="1079" y="256"/>
                  <a:pt x="1079" y="256"/>
                  <a:pt x="1079" y="256"/>
                </a:cubicBezTo>
                <a:cubicBezTo>
                  <a:pt x="1080" y="257"/>
                  <a:pt x="1080" y="257"/>
                  <a:pt x="1080" y="257"/>
                </a:cubicBezTo>
                <a:cubicBezTo>
                  <a:pt x="1079" y="257"/>
                  <a:pt x="1079" y="257"/>
                  <a:pt x="1079" y="257"/>
                </a:cubicBezTo>
                <a:cubicBezTo>
                  <a:pt x="1077" y="257"/>
                  <a:pt x="1077" y="257"/>
                  <a:pt x="1077" y="257"/>
                </a:cubicBezTo>
                <a:cubicBezTo>
                  <a:pt x="1075" y="259"/>
                  <a:pt x="1075" y="259"/>
                  <a:pt x="1075" y="259"/>
                </a:cubicBezTo>
                <a:cubicBezTo>
                  <a:pt x="1076" y="260"/>
                  <a:pt x="1076" y="260"/>
                  <a:pt x="1076" y="260"/>
                </a:cubicBezTo>
                <a:cubicBezTo>
                  <a:pt x="1077" y="260"/>
                  <a:pt x="1077" y="260"/>
                  <a:pt x="1077" y="260"/>
                </a:cubicBezTo>
                <a:cubicBezTo>
                  <a:pt x="1078" y="259"/>
                  <a:pt x="1078" y="259"/>
                  <a:pt x="1078" y="259"/>
                </a:cubicBezTo>
                <a:cubicBezTo>
                  <a:pt x="1080" y="259"/>
                  <a:pt x="1080" y="259"/>
                  <a:pt x="1080" y="259"/>
                </a:cubicBezTo>
                <a:cubicBezTo>
                  <a:pt x="1081" y="260"/>
                  <a:pt x="1081" y="260"/>
                  <a:pt x="1081" y="260"/>
                </a:cubicBezTo>
                <a:cubicBezTo>
                  <a:pt x="1082" y="260"/>
                  <a:pt x="1082" y="260"/>
                  <a:pt x="1082" y="260"/>
                </a:cubicBezTo>
                <a:cubicBezTo>
                  <a:pt x="1081" y="260"/>
                  <a:pt x="1081" y="260"/>
                  <a:pt x="1081" y="260"/>
                </a:cubicBezTo>
                <a:cubicBezTo>
                  <a:pt x="1078" y="261"/>
                  <a:pt x="1078" y="261"/>
                  <a:pt x="1078" y="261"/>
                </a:cubicBezTo>
                <a:cubicBezTo>
                  <a:pt x="1077" y="260"/>
                  <a:pt x="1077" y="260"/>
                  <a:pt x="1077" y="260"/>
                </a:cubicBezTo>
                <a:cubicBezTo>
                  <a:pt x="1075" y="261"/>
                  <a:pt x="1075" y="261"/>
                  <a:pt x="1075" y="261"/>
                </a:cubicBezTo>
                <a:cubicBezTo>
                  <a:pt x="1075" y="262"/>
                  <a:pt x="1075" y="262"/>
                  <a:pt x="1075" y="262"/>
                </a:cubicBezTo>
                <a:cubicBezTo>
                  <a:pt x="1076" y="263"/>
                  <a:pt x="1076" y="263"/>
                  <a:pt x="1076" y="263"/>
                </a:cubicBezTo>
                <a:cubicBezTo>
                  <a:pt x="1077" y="263"/>
                  <a:pt x="1077" y="263"/>
                  <a:pt x="1077" y="263"/>
                </a:cubicBezTo>
                <a:cubicBezTo>
                  <a:pt x="1078" y="262"/>
                  <a:pt x="1078" y="262"/>
                  <a:pt x="1078" y="262"/>
                </a:cubicBezTo>
                <a:cubicBezTo>
                  <a:pt x="1080" y="262"/>
                  <a:pt x="1080" y="262"/>
                  <a:pt x="1080" y="262"/>
                </a:cubicBezTo>
                <a:cubicBezTo>
                  <a:pt x="1081" y="263"/>
                  <a:pt x="1081" y="263"/>
                  <a:pt x="1081" y="263"/>
                </a:cubicBezTo>
                <a:cubicBezTo>
                  <a:pt x="1081" y="264"/>
                  <a:pt x="1081" y="264"/>
                  <a:pt x="1081" y="264"/>
                </a:cubicBezTo>
                <a:cubicBezTo>
                  <a:pt x="1078" y="265"/>
                  <a:pt x="1078" y="265"/>
                  <a:pt x="1078" y="265"/>
                </a:cubicBezTo>
                <a:cubicBezTo>
                  <a:pt x="1078" y="266"/>
                  <a:pt x="1078" y="266"/>
                  <a:pt x="1078" y="266"/>
                </a:cubicBezTo>
                <a:cubicBezTo>
                  <a:pt x="1079" y="268"/>
                  <a:pt x="1079" y="268"/>
                  <a:pt x="1079" y="268"/>
                </a:cubicBezTo>
                <a:cubicBezTo>
                  <a:pt x="1079" y="268"/>
                  <a:pt x="1079" y="268"/>
                  <a:pt x="1079" y="268"/>
                </a:cubicBezTo>
                <a:cubicBezTo>
                  <a:pt x="1080" y="267"/>
                  <a:pt x="1080" y="267"/>
                  <a:pt x="1080" y="267"/>
                </a:cubicBezTo>
                <a:cubicBezTo>
                  <a:pt x="1081" y="267"/>
                  <a:pt x="1081" y="267"/>
                  <a:pt x="1081" y="267"/>
                </a:cubicBezTo>
                <a:cubicBezTo>
                  <a:pt x="1082" y="268"/>
                  <a:pt x="1082" y="268"/>
                  <a:pt x="1082" y="268"/>
                </a:cubicBezTo>
                <a:cubicBezTo>
                  <a:pt x="1082" y="267"/>
                  <a:pt x="1082" y="267"/>
                  <a:pt x="1082" y="267"/>
                </a:cubicBezTo>
                <a:cubicBezTo>
                  <a:pt x="1083" y="267"/>
                  <a:pt x="1083" y="267"/>
                  <a:pt x="1083" y="267"/>
                </a:cubicBezTo>
                <a:cubicBezTo>
                  <a:pt x="1084" y="268"/>
                  <a:pt x="1084" y="268"/>
                  <a:pt x="1084" y="268"/>
                </a:cubicBezTo>
                <a:cubicBezTo>
                  <a:pt x="1083" y="268"/>
                  <a:pt x="1083" y="268"/>
                  <a:pt x="1083" y="268"/>
                </a:cubicBezTo>
                <a:cubicBezTo>
                  <a:pt x="1083" y="270"/>
                  <a:pt x="1083" y="270"/>
                  <a:pt x="1083" y="270"/>
                </a:cubicBezTo>
                <a:cubicBezTo>
                  <a:pt x="1084" y="270"/>
                  <a:pt x="1084" y="270"/>
                  <a:pt x="1084" y="270"/>
                </a:cubicBezTo>
                <a:cubicBezTo>
                  <a:pt x="1082" y="273"/>
                  <a:pt x="1082" y="273"/>
                  <a:pt x="1082" y="273"/>
                </a:cubicBezTo>
                <a:cubicBezTo>
                  <a:pt x="1081" y="273"/>
                  <a:pt x="1081" y="273"/>
                  <a:pt x="1081" y="273"/>
                </a:cubicBezTo>
                <a:cubicBezTo>
                  <a:pt x="1080" y="274"/>
                  <a:pt x="1080" y="274"/>
                  <a:pt x="1080" y="274"/>
                </a:cubicBezTo>
                <a:cubicBezTo>
                  <a:pt x="1079" y="276"/>
                  <a:pt x="1079" y="276"/>
                  <a:pt x="1079" y="276"/>
                </a:cubicBezTo>
                <a:cubicBezTo>
                  <a:pt x="1080" y="276"/>
                  <a:pt x="1080" y="276"/>
                  <a:pt x="1080" y="276"/>
                </a:cubicBezTo>
                <a:cubicBezTo>
                  <a:pt x="1081" y="276"/>
                  <a:pt x="1081" y="276"/>
                  <a:pt x="1081" y="276"/>
                </a:cubicBezTo>
                <a:cubicBezTo>
                  <a:pt x="1082" y="275"/>
                  <a:pt x="1082" y="275"/>
                  <a:pt x="1082" y="275"/>
                </a:cubicBezTo>
                <a:cubicBezTo>
                  <a:pt x="1083" y="276"/>
                  <a:pt x="1083" y="276"/>
                  <a:pt x="1083" y="276"/>
                </a:cubicBezTo>
                <a:cubicBezTo>
                  <a:pt x="1083" y="277"/>
                  <a:pt x="1083" y="277"/>
                  <a:pt x="1083" y="277"/>
                </a:cubicBezTo>
                <a:cubicBezTo>
                  <a:pt x="1083" y="278"/>
                  <a:pt x="1083" y="278"/>
                  <a:pt x="1083" y="278"/>
                </a:cubicBezTo>
                <a:cubicBezTo>
                  <a:pt x="1083" y="278"/>
                  <a:pt x="1083" y="278"/>
                  <a:pt x="1083" y="278"/>
                </a:cubicBezTo>
                <a:cubicBezTo>
                  <a:pt x="1084" y="278"/>
                  <a:pt x="1084" y="278"/>
                  <a:pt x="1084" y="278"/>
                </a:cubicBezTo>
                <a:cubicBezTo>
                  <a:pt x="1085" y="279"/>
                  <a:pt x="1085" y="279"/>
                  <a:pt x="1085" y="279"/>
                </a:cubicBezTo>
                <a:cubicBezTo>
                  <a:pt x="1085" y="280"/>
                  <a:pt x="1085" y="280"/>
                  <a:pt x="1085" y="280"/>
                </a:cubicBezTo>
                <a:cubicBezTo>
                  <a:pt x="1084" y="280"/>
                  <a:pt x="1084" y="280"/>
                  <a:pt x="1084" y="280"/>
                </a:cubicBezTo>
                <a:cubicBezTo>
                  <a:pt x="1085" y="281"/>
                  <a:pt x="1085" y="281"/>
                  <a:pt x="1085" y="281"/>
                </a:cubicBezTo>
                <a:cubicBezTo>
                  <a:pt x="1084" y="282"/>
                  <a:pt x="1084" y="282"/>
                  <a:pt x="1084" y="282"/>
                </a:cubicBezTo>
                <a:cubicBezTo>
                  <a:pt x="1083" y="283"/>
                  <a:pt x="1083" y="283"/>
                  <a:pt x="1083" y="283"/>
                </a:cubicBezTo>
                <a:cubicBezTo>
                  <a:pt x="1082" y="284"/>
                  <a:pt x="1082" y="284"/>
                  <a:pt x="1082" y="284"/>
                </a:cubicBezTo>
                <a:cubicBezTo>
                  <a:pt x="1084" y="284"/>
                  <a:pt x="1084" y="284"/>
                  <a:pt x="1084" y="284"/>
                </a:cubicBezTo>
                <a:cubicBezTo>
                  <a:pt x="1085" y="283"/>
                  <a:pt x="1085" y="283"/>
                  <a:pt x="1085" y="283"/>
                </a:cubicBezTo>
                <a:cubicBezTo>
                  <a:pt x="1086" y="282"/>
                  <a:pt x="1086" y="282"/>
                  <a:pt x="1086" y="282"/>
                </a:cubicBezTo>
                <a:cubicBezTo>
                  <a:pt x="1088" y="281"/>
                  <a:pt x="1088" y="281"/>
                  <a:pt x="1088" y="281"/>
                </a:cubicBezTo>
                <a:cubicBezTo>
                  <a:pt x="1089" y="282"/>
                  <a:pt x="1089" y="282"/>
                  <a:pt x="1089" y="282"/>
                </a:cubicBezTo>
                <a:cubicBezTo>
                  <a:pt x="1088" y="283"/>
                  <a:pt x="1088" y="283"/>
                  <a:pt x="1088" y="283"/>
                </a:cubicBezTo>
                <a:cubicBezTo>
                  <a:pt x="1088" y="284"/>
                  <a:pt x="1088" y="284"/>
                  <a:pt x="1088" y="284"/>
                </a:cubicBezTo>
                <a:cubicBezTo>
                  <a:pt x="1087" y="285"/>
                  <a:pt x="1087" y="285"/>
                  <a:pt x="1087" y="285"/>
                </a:cubicBezTo>
                <a:cubicBezTo>
                  <a:pt x="1086" y="286"/>
                  <a:pt x="1086" y="286"/>
                  <a:pt x="1086" y="286"/>
                </a:cubicBezTo>
                <a:cubicBezTo>
                  <a:pt x="1085" y="286"/>
                  <a:pt x="1085" y="286"/>
                  <a:pt x="1085" y="286"/>
                </a:cubicBezTo>
                <a:cubicBezTo>
                  <a:pt x="1084" y="286"/>
                  <a:pt x="1084" y="286"/>
                  <a:pt x="1084" y="286"/>
                </a:cubicBezTo>
                <a:cubicBezTo>
                  <a:pt x="1083" y="287"/>
                  <a:pt x="1083" y="287"/>
                  <a:pt x="1083" y="287"/>
                </a:cubicBezTo>
                <a:cubicBezTo>
                  <a:pt x="1084" y="288"/>
                  <a:pt x="1084" y="288"/>
                  <a:pt x="1084" y="288"/>
                </a:cubicBezTo>
                <a:cubicBezTo>
                  <a:pt x="1085" y="287"/>
                  <a:pt x="1085" y="287"/>
                  <a:pt x="1085" y="287"/>
                </a:cubicBezTo>
                <a:cubicBezTo>
                  <a:pt x="1086" y="286"/>
                  <a:pt x="1086" y="286"/>
                  <a:pt x="1086" y="286"/>
                </a:cubicBezTo>
                <a:cubicBezTo>
                  <a:pt x="1088" y="287"/>
                  <a:pt x="1088" y="287"/>
                  <a:pt x="1088" y="287"/>
                </a:cubicBezTo>
                <a:cubicBezTo>
                  <a:pt x="1089" y="287"/>
                  <a:pt x="1089" y="287"/>
                  <a:pt x="1089" y="287"/>
                </a:cubicBezTo>
                <a:cubicBezTo>
                  <a:pt x="1088" y="288"/>
                  <a:pt x="1088" y="288"/>
                  <a:pt x="1088" y="288"/>
                </a:cubicBezTo>
                <a:cubicBezTo>
                  <a:pt x="1086" y="289"/>
                  <a:pt x="1086" y="289"/>
                  <a:pt x="1086" y="289"/>
                </a:cubicBezTo>
                <a:cubicBezTo>
                  <a:pt x="1086" y="291"/>
                  <a:pt x="1086" y="291"/>
                  <a:pt x="1086" y="291"/>
                </a:cubicBezTo>
                <a:cubicBezTo>
                  <a:pt x="1085" y="291"/>
                  <a:pt x="1085" y="291"/>
                  <a:pt x="1085" y="291"/>
                </a:cubicBezTo>
                <a:cubicBezTo>
                  <a:pt x="1083" y="292"/>
                  <a:pt x="1083" y="292"/>
                  <a:pt x="1083" y="292"/>
                </a:cubicBezTo>
                <a:cubicBezTo>
                  <a:pt x="1083" y="293"/>
                  <a:pt x="1083" y="293"/>
                  <a:pt x="1083" y="293"/>
                </a:cubicBezTo>
                <a:cubicBezTo>
                  <a:pt x="1084" y="294"/>
                  <a:pt x="1084" y="294"/>
                  <a:pt x="1084" y="294"/>
                </a:cubicBezTo>
                <a:cubicBezTo>
                  <a:pt x="1087" y="293"/>
                  <a:pt x="1087" y="293"/>
                  <a:pt x="1087" y="293"/>
                </a:cubicBezTo>
                <a:cubicBezTo>
                  <a:pt x="1088" y="292"/>
                  <a:pt x="1088" y="292"/>
                  <a:pt x="1088" y="292"/>
                </a:cubicBezTo>
                <a:cubicBezTo>
                  <a:pt x="1090" y="292"/>
                  <a:pt x="1090" y="292"/>
                  <a:pt x="1090" y="292"/>
                </a:cubicBezTo>
                <a:cubicBezTo>
                  <a:pt x="1091" y="292"/>
                  <a:pt x="1091" y="292"/>
                  <a:pt x="1091" y="292"/>
                </a:cubicBezTo>
                <a:cubicBezTo>
                  <a:pt x="1092" y="293"/>
                  <a:pt x="1092" y="293"/>
                  <a:pt x="1092" y="293"/>
                </a:cubicBezTo>
                <a:cubicBezTo>
                  <a:pt x="1091" y="293"/>
                  <a:pt x="1091" y="293"/>
                  <a:pt x="1091" y="293"/>
                </a:cubicBezTo>
                <a:cubicBezTo>
                  <a:pt x="1090" y="293"/>
                  <a:pt x="1090" y="293"/>
                  <a:pt x="1090" y="293"/>
                </a:cubicBezTo>
                <a:cubicBezTo>
                  <a:pt x="1087" y="294"/>
                  <a:pt x="1087" y="294"/>
                  <a:pt x="1087" y="294"/>
                </a:cubicBezTo>
                <a:cubicBezTo>
                  <a:pt x="1087" y="295"/>
                  <a:pt x="1087" y="295"/>
                  <a:pt x="1087" y="295"/>
                </a:cubicBezTo>
                <a:cubicBezTo>
                  <a:pt x="1089" y="295"/>
                  <a:pt x="1089" y="295"/>
                  <a:pt x="1089" y="295"/>
                </a:cubicBezTo>
                <a:cubicBezTo>
                  <a:pt x="1089" y="296"/>
                  <a:pt x="1089" y="296"/>
                  <a:pt x="1089" y="296"/>
                </a:cubicBezTo>
                <a:cubicBezTo>
                  <a:pt x="1088" y="297"/>
                  <a:pt x="1088" y="297"/>
                  <a:pt x="1088" y="297"/>
                </a:cubicBezTo>
                <a:cubicBezTo>
                  <a:pt x="1088" y="299"/>
                  <a:pt x="1088" y="299"/>
                  <a:pt x="1088" y="299"/>
                </a:cubicBezTo>
                <a:cubicBezTo>
                  <a:pt x="1090" y="299"/>
                  <a:pt x="1090" y="299"/>
                  <a:pt x="1090" y="299"/>
                </a:cubicBezTo>
                <a:cubicBezTo>
                  <a:pt x="1092" y="297"/>
                  <a:pt x="1092" y="297"/>
                  <a:pt x="1092" y="297"/>
                </a:cubicBezTo>
                <a:cubicBezTo>
                  <a:pt x="1093" y="297"/>
                  <a:pt x="1093" y="297"/>
                  <a:pt x="1093" y="297"/>
                </a:cubicBezTo>
                <a:cubicBezTo>
                  <a:pt x="1094" y="298"/>
                  <a:pt x="1094" y="298"/>
                  <a:pt x="1094" y="298"/>
                </a:cubicBezTo>
                <a:cubicBezTo>
                  <a:pt x="1095" y="299"/>
                  <a:pt x="1095" y="299"/>
                  <a:pt x="1095" y="299"/>
                </a:cubicBezTo>
                <a:cubicBezTo>
                  <a:pt x="1095" y="301"/>
                  <a:pt x="1095" y="301"/>
                  <a:pt x="1095" y="301"/>
                </a:cubicBezTo>
                <a:cubicBezTo>
                  <a:pt x="1097" y="302"/>
                  <a:pt x="1097" y="302"/>
                  <a:pt x="1097" y="302"/>
                </a:cubicBezTo>
                <a:cubicBezTo>
                  <a:pt x="1097" y="302"/>
                  <a:pt x="1097" y="302"/>
                  <a:pt x="1097" y="302"/>
                </a:cubicBezTo>
                <a:cubicBezTo>
                  <a:pt x="1096" y="303"/>
                  <a:pt x="1096" y="303"/>
                  <a:pt x="1096" y="303"/>
                </a:cubicBezTo>
                <a:cubicBezTo>
                  <a:pt x="1094" y="303"/>
                  <a:pt x="1094" y="303"/>
                  <a:pt x="1094" y="303"/>
                </a:cubicBezTo>
                <a:cubicBezTo>
                  <a:pt x="1093" y="305"/>
                  <a:pt x="1093" y="305"/>
                  <a:pt x="1093" y="305"/>
                </a:cubicBezTo>
                <a:cubicBezTo>
                  <a:pt x="1094" y="306"/>
                  <a:pt x="1094" y="306"/>
                  <a:pt x="1094" y="306"/>
                </a:cubicBezTo>
                <a:cubicBezTo>
                  <a:pt x="1097" y="306"/>
                  <a:pt x="1097" y="306"/>
                  <a:pt x="1097" y="306"/>
                </a:cubicBezTo>
                <a:cubicBezTo>
                  <a:pt x="1097" y="306"/>
                  <a:pt x="1097" y="306"/>
                  <a:pt x="1097" y="306"/>
                </a:cubicBezTo>
                <a:cubicBezTo>
                  <a:pt x="1097" y="305"/>
                  <a:pt x="1097" y="305"/>
                  <a:pt x="1097" y="305"/>
                </a:cubicBezTo>
                <a:cubicBezTo>
                  <a:pt x="1097" y="304"/>
                  <a:pt x="1097" y="304"/>
                  <a:pt x="1097" y="304"/>
                </a:cubicBezTo>
                <a:cubicBezTo>
                  <a:pt x="1098" y="304"/>
                  <a:pt x="1098" y="304"/>
                  <a:pt x="1098" y="304"/>
                </a:cubicBezTo>
                <a:cubicBezTo>
                  <a:pt x="1099" y="304"/>
                  <a:pt x="1099" y="304"/>
                  <a:pt x="1099" y="304"/>
                </a:cubicBezTo>
                <a:cubicBezTo>
                  <a:pt x="1100" y="303"/>
                  <a:pt x="1100" y="303"/>
                  <a:pt x="1100" y="303"/>
                </a:cubicBezTo>
                <a:cubicBezTo>
                  <a:pt x="1102" y="303"/>
                  <a:pt x="1102" y="303"/>
                  <a:pt x="1102" y="303"/>
                </a:cubicBezTo>
                <a:cubicBezTo>
                  <a:pt x="1103" y="304"/>
                  <a:pt x="1103" y="304"/>
                  <a:pt x="1103" y="304"/>
                </a:cubicBezTo>
                <a:cubicBezTo>
                  <a:pt x="1104" y="304"/>
                  <a:pt x="1104" y="304"/>
                  <a:pt x="1104" y="304"/>
                </a:cubicBezTo>
                <a:cubicBezTo>
                  <a:pt x="1105" y="304"/>
                  <a:pt x="1105" y="304"/>
                  <a:pt x="1105" y="304"/>
                </a:cubicBezTo>
                <a:cubicBezTo>
                  <a:pt x="1106" y="302"/>
                  <a:pt x="1106" y="302"/>
                  <a:pt x="1106" y="302"/>
                </a:cubicBezTo>
                <a:cubicBezTo>
                  <a:pt x="1107" y="302"/>
                  <a:pt x="1107" y="302"/>
                  <a:pt x="1107" y="302"/>
                </a:cubicBezTo>
                <a:cubicBezTo>
                  <a:pt x="1108" y="302"/>
                  <a:pt x="1108" y="302"/>
                  <a:pt x="1108" y="302"/>
                </a:cubicBezTo>
                <a:cubicBezTo>
                  <a:pt x="1109" y="301"/>
                  <a:pt x="1109" y="301"/>
                  <a:pt x="1109" y="301"/>
                </a:cubicBezTo>
                <a:cubicBezTo>
                  <a:pt x="1110" y="302"/>
                  <a:pt x="1110" y="302"/>
                  <a:pt x="1110" y="302"/>
                </a:cubicBezTo>
                <a:cubicBezTo>
                  <a:pt x="1112" y="301"/>
                  <a:pt x="1112" y="301"/>
                  <a:pt x="1112" y="301"/>
                </a:cubicBezTo>
                <a:cubicBezTo>
                  <a:pt x="1112" y="300"/>
                  <a:pt x="1112" y="300"/>
                  <a:pt x="1112" y="300"/>
                </a:cubicBezTo>
                <a:cubicBezTo>
                  <a:pt x="1111" y="299"/>
                  <a:pt x="1111" y="299"/>
                  <a:pt x="1111" y="299"/>
                </a:cubicBezTo>
                <a:cubicBezTo>
                  <a:pt x="1111" y="298"/>
                  <a:pt x="1111" y="298"/>
                  <a:pt x="1111" y="298"/>
                </a:cubicBezTo>
                <a:cubicBezTo>
                  <a:pt x="1112" y="298"/>
                  <a:pt x="1112" y="298"/>
                  <a:pt x="1112" y="298"/>
                </a:cubicBezTo>
                <a:cubicBezTo>
                  <a:pt x="1113" y="298"/>
                  <a:pt x="1113" y="298"/>
                  <a:pt x="1113" y="298"/>
                </a:cubicBezTo>
                <a:cubicBezTo>
                  <a:pt x="1114" y="300"/>
                  <a:pt x="1114" y="300"/>
                  <a:pt x="1114" y="300"/>
                </a:cubicBezTo>
                <a:cubicBezTo>
                  <a:pt x="1113" y="302"/>
                  <a:pt x="1113" y="302"/>
                  <a:pt x="1113" y="302"/>
                </a:cubicBezTo>
                <a:cubicBezTo>
                  <a:pt x="1112" y="303"/>
                  <a:pt x="1112" y="303"/>
                  <a:pt x="1112" y="303"/>
                </a:cubicBezTo>
                <a:cubicBezTo>
                  <a:pt x="1111" y="303"/>
                  <a:pt x="1111" y="303"/>
                  <a:pt x="1111" y="303"/>
                </a:cubicBezTo>
                <a:cubicBezTo>
                  <a:pt x="1110" y="304"/>
                  <a:pt x="1110" y="304"/>
                  <a:pt x="1110" y="304"/>
                </a:cubicBezTo>
                <a:cubicBezTo>
                  <a:pt x="1110" y="305"/>
                  <a:pt x="1110" y="305"/>
                  <a:pt x="1110" y="305"/>
                </a:cubicBezTo>
                <a:cubicBezTo>
                  <a:pt x="1112" y="304"/>
                  <a:pt x="1112" y="304"/>
                  <a:pt x="1112" y="304"/>
                </a:cubicBezTo>
                <a:cubicBezTo>
                  <a:pt x="1115" y="302"/>
                  <a:pt x="1115" y="302"/>
                  <a:pt x="1115" y="302"/>
                </a:cubicBezTo>
                <a:cubicBezTo>
                  <a:pt x="1117" y="300"/>
                  <a:pt x="1117" y="300"/>
                  <a:pt x="1117" y="300"/>
                </a:cubicBezTo>
                <a:cubicBezTo>
                  <a:pt x="1118" y="300"/>
                  <a:pt x="1118" y="300"/>
                  <a:pt x="1118" y="300"/>
                </a:cubicBezTo>
                <a:cubicBezTo>
                  <a:pt x="1119" y="301"/>
                  <a:pt x="1119" y="301"/>
                  <a:pt x="1119" y="301"/>
                </a:cubicBezTo>
                <a:cubicBezTo>
                  <a:pt x="1119" y="302"/>
                  <a:pt x="1119" y="302"/>
                  <a:pt x="1119" y="302"/>
                </a:cubicBezTo>
                <a:cubicBezTo>
                  <a:pt x="1117" y="303"/>
                  <a:pt x="1117" y="303"/>
                  <a:pt x="1117" y="303"/>
                </a:cubicBezTo>
                <a:cubicBezTo>
                  <a:pt x="1116" y="304"/>
                  <a:pt x="1116" y="304"/>
                  <a:pt x="1116" y="304"/>
                </a:cubicBezTo>
                <a:cubicBezTo>
                  <a:pt x="1114" y="305"/>
                  <a:pt x="1114" y="305"/>
                  <a:pt x="1114" y="305"/>
                </a:cubicBezTo>
                <a:cubicBezTo>
                  <a:pt x="1113" y="306"/>
                  <a:pt x="1113" y="306"/>
                  <a:pt x="1113" y="306"/>
                </a:cubicBezTo>
                <a:cubicBezTo>
                  <a:pt x="1112" y="306"/>
                  <a:pt x="1112" y="306"/>
                  <a:pt x="1112" y="306"/>
                </a:cubicBezTo>
                <a:cubicBezTo>
                  <a:pt x="1112" y="307"/>
                  <a:pt x="1112" y="307"/>
                  <a:pt x="1112" y="307"/>
                </a:cubicBezTo>
                <a:cubicBezTo>
                  <a:pt x="1114" y="306"/>
                  <a:pt x="1114" y="306"/>
                  <a:pt x="1114" y="306"/>
                </a:cubicBezTo>
                <a:cubicBezTo>
                  <a:pt x="1116" y="305"/>
                  <a:pt x="1116" y="305"/>
                  <a:pt x="1116" y="305"/>
                </a:cubicBezTo>
                <a:cubicBezTo>
                  <a:pt x="1117" y="305"/>
                  <a:pt x="1117" y="305"/>
                  <a:pt x="1117" y="305"/>
                </a:cubicBezTo>
                <a:cubicBezTo>
                  <a:pt x="1115" y="307"/>
                  <a:pt x="1115" y="307"/>
                  <a:pt x="1115" y="307"/>
                </a:cubicBezTo>
                <a:cubicBezTo>
                  <a:pt x="1113" y="307"/>
                  <a:pt x="1113" y="307"/>
                  <a:pt x="1113" y="307"/>
                </a:cubicBezTo>
                <a:cubicBezTo>
                  <a:pt x="1113" y="309"/>
                  <a:pt x="1113" y="309"/>
                  <a:pt x="1113" y="309"/>
                </a:cubicBezTo>
                <a:cubicBezTo>
                  <a:pt x="1110" y="311"/>
                  <a:pt x="1110" y="311"/>
                  <a:pt x="1110" y="311"/>
                </a:cubicBezTo>
                <a:cubicBezTo>
                  <a:pt x="1110" y="312"/>
                  <a:pt x="1110" y="312"/>
                  <a:pt x="1110" y="312"/>
                </a:cubicBezTo>
                <a:cubicBezTo>
                  <a:pt x="1111" y="312"/>
                  <a:pt x="1111" y="312"/>
                  <a:pt x="1111" y="312"/>
                </a:cubicBezTo>
                <a:cubicBezTo>
                  <a:pt x="1112" y="311"/>
                  <a:pt x="1112" y="311"/>
                  <a:pt x="1112" y="311"/>
                </a:cubicBezTo>
                <a:cubicBezTo>
                  <a:pt x="1112" y="311"/>
                  <a:pt x="1112" y="311"/>
                  <a:pt x="1112" y="311"/>
                </a:cubicBezTo>
                <a:cubicBezTo>
                  <a:pt x="1113" y="311"/>
                  <a:pt x="1113" y="311"/>
                  <a:pt x="1113" y="311"/>
                </a:cubicBezTo>
                <a:cubicBezTo>
                  <a:pt x="1113" y="313"/>
                  <a:pt x="1113" y="313"/>
                  <a:pt x="1113" y="313"/>
                </a:cubicBezTo>
                <a:cubicBezTo>
                  <a:pt x="1114" y="312"/>
                  <a:pt x="1114" y="312"/>
                  <a:pt x="1114" y="312"/>
                </a:cubicBezTo>
                <a:cubicBezTo>
                  <a:pt x="1115" y="311"/>
                  <a:pt x="1115" y="311"/>
                  <a:pt x="1115" y="311"/>
                </a:cubicBezTo>
                <a:cubicBezTo>
                  <a:pt x="1116" y="310"/>
                  <a:pt x="1116" y="310"/>
                  <a:pt x="1116" y="310"/>
                </a:cubicBezTo>
                <a:cubicBezTo>
                  <a:pt x="1116" y="310"/>
                  <a:pt x="1116" y="310"/>
                  <a:pt x="1116" y="310"/>
                </a:cubicBezTo>
                <a:cubicBezTo>
                  <a:pt x="1117" y="310"/>
                  <a:pt x="1117" y="310"/>
                  <a:pt x="1117" y="310"/>
                </a:cubicBezTo>
                <a:cubicBezTo>
                  <a:pt x="1116" y="311"/>
                  <a:pt x="1116" y="311"/>
                  <a:pt x="1116" y="311"/>
                </a:cubicBezTo>
                <a:cubicBezTo>
                  <a:pt x="1115" y="313"/>
                  <a:pt x="1115" y="313"/>
                  <a:pt x="1115" y="313"/>
                </a:cubicBezTo>
                <a:cubicBezTo>
                  <a:pt x="1115" y="313"/>
                  <a:pt x="1115" y="313"/>
                  <a:pt x="1115" y="313"/>
                </a:cubicBezTo>
                <a:cubicBezTo>
                  <a:pt x="1117" y="313"/>
                  <a:pt x="1117" y="313"/>
                  <a:pt x="1117" y="313"/>
                </a:cubicBezTo>
                <a:cubicBezTo>
                  <a:pt x="1118" y="312"/>
                  <a:pt x="1118" y="312"/>
                  <a:pt x="1118" y="312"/>
                </a:cubicBezTo>
                <a:cubicBezTo>
                  <a:pt x="1118" y="312"/>
                  <a:pt x="1118" y="312"/>
                  <a:pt x="1118" y="312"/>
                </a:cubicBezTo>
                <a:cubicBezTo>
                  <a:pt x="1120" y="311"/>
                  <a:pt x="1120" y="311"/>
                  <a:pt x="1120" y="311"/>
                </a:cubicBezTo>
                <a:cubicBezTo>
                  <a:pt x="1118" y="313"/>
                  <a:pt x="1118" y="313"/>
                  <a:pt x="1118" y="313"/>
                </a:cubicBezTo>
                <a:cubicBezTo>
                  <a:pt x="1118" y="315"/>
                  <a:pt x="1118" y="315"/>
                  <a:pt x="1118" y="315"/>
                </a:cubicBezTo>
                <a:cubicBezTo>
                  <a:pt x="1116" y="317"/>
                  <a:pt x="1116" y="317"/>
                  <a:pt x="1116" y="317"/>
                </a:cubicBezTo>
                <a:cubicBezTo>
                  <a:pt x="1116" y="318"/>
                  <a:pt x="1116" y="318"/>
                  <a:pt x="1116" y="318"/>
                </a:cubicBezTo>
                <a:cubicBezTo>
                  <a:pt x="1117" y="318"/>
                  <a:pt x="1117" y="318"/>
                  <a:pt x="1117" y="318"/>
                </a:cubicBezTo>
                <a:cubicBezTo>
                  <a:pt x="1118" y="317"/>
                  <a:pt x="1118" y="317"/>
                  <a:pt x="1118" y="317"/>
                </a:cubicBezTo>
                <a:cubicBezTo>
                  <a:pt x="1120" y="313"/>
                  <a:pt x="1120" y="313"/>
                  <a:pt x="1120" y="313"/>
                </a:cubicBezTo>
                <a:cubicBezTo>
                  <a:pt x="1121" y="312"/>
                  <a:pt x="1121" y="312"/>
                  <a:pt x="1121" y="312"/>
                </a:cubicBezTo>
                <a:cubicBezTo>
                  <a:pt x="1121" y="313"/>
                  <a:pt x="1121" y="313"/>
                  <a:pt x="1121" y="313"/>
                </a:cubicBezTo>
                <a:cubicBezTo>
                  <a:pt x="1120" y="315"/>
                  <a:pt x="1120" y="315"/>
                  <a:pt x="1120" y="315"/>
                </a:cubicBezTo>
                <a:cubicBezTo>
                  <a:pt x="1120" y="317"/>
                  <a:pt x="1120" y="317"/>
                  <a:pt x="1120" y="317"/>
                </a:cubicBezTo>
                <a:cubicBezTo>
                  <a:pt x="1119" y="318"/>
                  <a:pt x="1119" y="318"/>
                  <a:pt x="1119" y="318"/>
                </a:cubicBezTo>
                <a:cubicBezTo>
                  <a:pt x="1118" y="320"/>
                  <a:pt x="1118" y="320"/>
                  <a:pt x="1118" y="320"/>
                </a:cubicBezTo>
                <a:cubicBezTo>
                  <a:pt x="1120" y="321"/>
                  <a:pt x="1120" y="321"/>
                  <a:pt x="1120" y="321"/>
                </a:cubicBezTo>
                <a:cubicBezTo>
                  <a:pt x="1120" y="320"/>
                  <a:pt x="1120" y="320"/>
                  <a:pt x="1120" y="320"/>
                </a:cubicBezTo>
                <a:cubicBezTo>
                  <a:pt x="1120" y="318"/>
                  <a:pt x="1120" y="318"/>
                  <a:pt x="1120" y="318"/>
                </a:cubicBezTo>
                <a:cubicBezTo>
                  <a:pt x="1121" y="317"/>
                  <a:pt x="1121" y="317"/>
                  <a:pt x="1121" y="317"/>
                </a:cubicBezTo>
                <a:cubicBezTo>
                  <a:pt x="1121" y="317"/>
                  <a:pt x="1121" y="317"/>
                  <a:pt x="1121" y="317"/>
                </a:cubicBezTo>
                <a:cubicBezTo>
                  <a:pt x="1123" y="318"/>
                  <a:pt x="1123" y="318"/>
                  <a:pt x="1123" y="318"/>
                </a:cubicBezTo>
                <a:cubicBezTo>
                  <a:pt x="1123" y="315"/>
                  <a:pt x="1123" y="315"/>
                  <a:pt x="1123" y="315"/>
                </a:cubicBezTo>
                <a:cubicBezTo>
                  <a:pt x="1123" y="315"/>
                  <a:pt x="1123" y="315"/>
                  <a:pt x="1123" y="315"/>
                </a:cubicBezTo>
                <a:cubicBezTo>
                  <a:pt x="1124" y="314"/>
                  <a:pt x="1124" y="314"/>
                  <a:pt x="1124" y="314"/>
                </a:cubicBezTo>
                <a:cubicBezTo>
                  <a:pt x="1125" y="314"/>
                  <a:pt x="1125" y="314"/>
                  <a:pt x="1125" y="314"/>
                </a:cubicBezTo>
                <a:cubicBezTo>
                  <a:pt x="1125" y="315"/>
                  <a:pt x="1125" y="315"/>
                  <a:pt x="1125" y="315"/>
                </a:cubicBezTo>
                <a:cubicBezTo>
                  <a:pt x="1125" y="315"/>
                  <a:pt x="1125" y="315"/>
                  <a:pt x="1125" y="315"/>
                </a:cubicBezTo>
                <a:cubicBezTo>
                  <a:pt x="1124" y="317"/>
                  <a:pt x="1124" y="317"/>
                  <a:pt x="1124" y="317"/>
                </a:cubicBezTo>
                <a:cubicBezTo>
                  <a:pt x="1125" y="318"/>
                  <a:pt x="1125" y="318"/>
                  <a:pt x="1125" y="318"/>
                </a:cubicBezTo>
                <a:cubicBezTo>
                  <a:pt x="1127" y="318"/>
                  <a:pt x="1127" y="318"/>
                  <a:pt x="1127" y="318"/>
                </a:cubicBezTo>
                <a:cubicBezTo>
                  <a:pt x="1132" y="320"/>
                  <a:pt x="1132" y="320"/>
                  <a:pt x="1132" y="320"/>
                </a:cubicBezTo>
                <a:cubicBezTo>
                  <a:pt x="1132" y="320"/>
                  <a:pt x="1132" y="320"/>
                  <a:pt x="1132" y="320"/>
                </a:cubicBezTo>
                <a:cubicBezTo>
                  <a:pt x="1132" y="319"/>
                  <a:pt x="1132" y="319"/>
                  <a:pt x="1132" y="319"/>
                </a:cubicBezTo>
                <a:cubicBezTo>
                  <a:pt x="1133" y="319"/>
                  <a:pt x="1133" y="319"/>
                  <a:pt x="1133" y="319"/>
                </a:cubicBezTo>
                <a:cubicBezTo>
                  <a:pt x="1134" y="318"/>
                  <a:pt x="1134" y="318"/>
                  <a:pt x="1134" y="318"/>
                </a:cubicBezTo>
                <a:cubicBezTo>
                  <a:pt x="1134" y="318"/>
                  <a:pt x="1134" y="318"/>
                  <a:pt x="1134" y="318"/>
                </a:cubicBezTo>
                <a:cubicBezTo>
                  <a:pt x="1134" y="317"/>
                  <a:pt x="1134" y="317"/>
                  <a:pt x="1134" y="317"/>
                </a:cubicBezTo>
                <a:cubicBezTo>
                  <a:pt x="1133" y="317"/>
                  <a:pt x="1133" y="317"/>
                  <a:pt x="1133" y="317"/>
                </a:cubicBezTo>
                <a:cubicBezTo>
                  <a:pt x="1132" y="317"/>
                  <a:pt x="1132" y="317"/>
                  <a:pt x="1132" y="317"/>
                </a:cubicBezTo>
                <a:cubicBezTo>
                  <a:pt x="1131" y="317"/>
                  <a:pt x="1131" y="317"/>
                  <a:pt x="1131" y="317"/>
                </a:cubicBezTo>
                <a:cubicBezTo>
                  <a:pt x="1131" y="316"/>
                  <a:pt x="1131" y="316"/>
                  <a:pt x="1131" y="316"/>
                </a:cubicBezTo>
                <a:cubicBezTo>
                  <a:pt x="1132" y="315"/>
                  <a:pt x="1132" y="315"/>
                  <a:pt x="1132" y="315"/>
                </a:cubicBezTo>
                <a:cubicBezTo>
                  <a:pt x="1132" y="315"/>
                  <a:pt x="1132" y="315"/>
                  <a:pt x="1132" y="315"/>
                </a:cubicBezTo>
                <a:cubicBezTo>
                  <a:pt x="1130" y="314"/>
                  <a:pt x="1130" y="314"/>
                  <a:pt x="1130" y="314"/>
                </a:cubicBezTo>
                <a:cubicBezTo>
                  <a:pt x="1127" y="312"/>
                  <a:pt x="1127" y="312"/>
                  <a:pt x="1127" y="312"/>
                </a:cubicBezTo>
                <a:cubicBezTo>
                  <a:pt x="1126" y="311"/>
                  <a:pt x="1126" y="311"/>
                  <a:pt x="1126" y="311"/>
                </a:cubicBezTo>
                <a:cubicBezTo>
                  <a:pt x="1127" y="311"/>
                  <a:pt x="1127" y="311"/>
                  <a:pt x="1127" y="311"/>
                </a:cubicBezTo>
                <a:cubicBezTo>
                  <a:pt x="1128" y="311"/>
                  <a:pt x="1128" y="311"/>
                  <a:pt x="1128" y="311"/>
                </a:cubicBezTo>
                <a:cubicBezTo>
                  <a:pt x="1129" y="311"/>
                  <a:pt x="1129" y="311"/>
                  <a:pt x="1129" y="311"/>
                </a:cubicBezTo>
                <a:cubicBezTo>
                  <a:pt x="1130" y="311"/>
                  <a:pt x="1130" y="311"/>
                  <a:pt x="1130" y="311"/>
                </a:cubicBezTo>
                <a:cubicBezTo>
                  <a:pt x="1130" y="312"/>
                  <a:pt x="1130" y="312"/>
                  <a:pt x="1130" y="312"/>
                </a:cubicBezTo>
                <a:cubicBezTo>
                  <a:pt x="1132" y="313"/>
                  <a:pt x="1132" y="313"/>
                  <a:pt x="1132" y="313"/>
                </a:cubicBezTo>
                <a:cubicBezTo>
                  <a:pt x="1133" y="314"/>
                  <a:pt x="1133" y="314"/>
                  <a:pt x="1133" y="314"/>
                </a:cubicBezTo>
                <a:cubicBezTo>
                  <a:pt x="1134" y="314"/>
                  <a:pt x="1134" y="314"/>
                  <a:pt x="1134" y="314"/>
                </a:cubicBezTo>
                <a:cubicBezTo>
                  <a:pt x="1136" y="313"/>
                  <a:pt x="1136" y="313"/>
                  <a:pt x="1136" y="313"/>
                </a:cubicBezTo>
                <a:cubicBezTo>
                  <a:pt x="1137" y="312"/>
                  <a:pt x="1137" y="312"/>
                  <a:pt x="1137" y="312"/>
                </a:cubicBezTo>
                <a:cubicBezTo>
                  <a:pt x="1137" y="312"/>
                  <a:pt x="1137" y="312"/>
                  <a:pt x="1137" y="312"/>
                </a:cubicBezTo>
                <a:cubicBezTo>
                  <a:pt x="1136" y="311"/>
                  <a:pt x="1136" y="311"/>
                  <a:pt x="1136" y="311"/>
                </a:cubicBezTo>
                <a:cubicBezTo>
                  <a:pt x="1134" y="312"/>
                  <a:pt x="1134" y="312"/>
                  <a:pt x="1134" y="312"/>
                </a:cubicBezTo>
                <a:cubicBezTo>
                  <a:pt x="1133" y="311"/>
                  <a:pt x="1133" y="311"/>
                  <a:pt x="1133" y="311"/>
                </a:cubicBezTo>
                <a:cubicBezTo>
                  <a:pt x="1133" y="311"/>
                  <a:pt x="1133" y="311"/>
                  <a:pt x="1133" y="311"/>
                </a:cubicBezTo>
                <a:cubicBezTo>
                  <a:pt x="1134" y="311"/>
                  <a:pt x="1134" y="311"/>
                  <a:pt x="1134" y="311"/>
                </a:cubicBezTo>
                <a:cubicBezTo>
                  <a:pt x="1136" y="311"/>
                  <a:pt x="1136" y="311"/>
                  <a:pt x="1136" y="311"/>
                </a:cubicBezTo>
                <a:cubicBezTo>
                  <a:pt x="1137" y="310"/>
                  <a:pt x="1137" y="310"/>
                  <a:pt x="1137" y="310"/>
                </a:cubicBezTo>
                <a:cubicBezTo>
                  <a:pt x="1137" y="309"/>
                  <a:pt x="1137" y="309"/>
                  <a:pt x="1137" y="309"/>
                </a:cubicBezTo>
                <a:cubicBezTo>
                  <a:pt x="1135" y="309"/>
                  <a:pt x="1135" y="309"/>
                  <a:pt x="1135" y="309"/>
                </a:cubicBezTo>
                <a:cubicBezTo>
                  <a:pt x="1134" y="308"/>
                  <a:pt x="1134" y="308"/>
                  <a:pt x="1134" y="308"/>
                </a:cubicBezTo>
                <a:cubicBezTo>
                  <a:pt x="1134" y="308"/>
                  <a:pt x="1134" y="308"/>
                  <a:pt x="1134" y="308"/>
                </a:cubicBezTo>
                <a:cubicBezTo>
                  <a:pt x="1135" y="308"/>
                  <a:pt x="1135" y="308"/>
                  <a:pt x="1135" y="308"/>
                </a:cubicBezTo>
                <a:cubicBezTo>
                  <a:pt x="1135" y="307"/>
                  <a:pt x="1135" y="307"/>
                  <a:pt x="1135" y="307"/>
                </a:cubicBezTo>
                <a:cubicBezTo>
                  <a:pt x="1134" y="307"/>
                  <a:pt x="1134" y="307"/>
                  <a:pt x="1134" y="307"/>
                </a:cubicBezTo>
                <a:cubicBezTo>
                  <a:pt x="1132" y="306"/>
                  <a:pt x="1132" y="306"/>
                  <a:pt x="1132" y="306"/>
                </a:cubicBezTo>
                <a:cubicBezTo>
                  <a:pt x="1132" y="305"/>
                  <a:pt x="1132" y="305"/>
                  <a:pt x="1132" y="305"/>
                </a:cubicBezTo>
                <a:cubicBezTo>
                  <a:pt x="1132" y="305"/>
                  <a:pt x="1132" y="305"/>
                  <a:pt x="1132" y="305"/>
                </a:cubicBezTo>
                <a:cubicBezTo>
                  <a:pt x="1134" y="306"/>
                  <a:pt x="1134" y="306"/>
                  <a:pt x="1134" y="306"/>
                </a:cubicBezTo>
                <a:cubicBezTo>
                  <a:pt x="1136" y="306"/>
                  <a:pt x="1136" y="306"/>
                  <a:pt x="1136" y="306"/>
                </a:cubicBezTo>
                <a:cubicBezTo>
                  <a:pt x="1138" y="306"/>
                  <a:pt x="1138" y="306"/>
                  <a:pt x="1138" y="306"/>
                </a:cubicBezTo>
                <a:cubicBezTo>
                  <a:pt x="1140" y="305"/>
                  <a:pt x="1140" y="305"/>
                  <a:pt x="1140" y="305"/>
                </a:cubicBezTo>
                <a:cubicBezTo>
                  <a:pt x="1140" y="304"/>
                  <a:pt x="1140" y="304"/>
                  <a:pt x="1140" y="304"/>
                </a:cubicBezTo>
                <a:cubicBezTo>
                  <a:pt x="1139" y="303"/>
                  <a:pt x="1139" y="303"/>
                  <a:pt x="1139" y="303"/>
                </a:cubicBezTo>
                <a:cubicBezTo>
                  <a:pt x="1138" y="303"/>
                  <a:pt x="1138" y="303"/>
                  <a:pt x="1138" y="303"/>
                </a:cubicBezTo>
                <a:cubicBezTo>
                  <a:pt x="1134" y="302"/>
                  <a:pt x="1134" y="302"/>
                  <a:pt x="1134" y="302"/>
                </a:cubicBezTo>
                <a:cubicBezTo>
                  <a:pt x="1133" y="302"/>
                  <a:pt x="1133" y="302"/>
                  <a:pt x="1133" y="302"/>
                </a:cubicBezTo>
                <a:cubicBezTo>
                  <a:pt x="1133" y="301"/>
                  <a:pt x="1133" y="301"/>
                  <a:pt x="1133" y="301"/>
                </a:cubicBezTo>
                <a:cubicBezTo>
                  <a:pt x="1134" y="301"/>
                  <a:pt x="1134" y="301"/>
                  <a:pt x="1134" y="301"/>
                </a:cubicBezTo>
                <a:cubicBezTo>
                  <a:pt x="1135" y="302"/>
                  <a:pt x="1135" y="302"/>
                  <a:pt x="1135" y="302"/>
                </a:cubicBezTo>
                <a:cubicBezTo>
                  <a:pt x="1137" y="302"/>
                  <a:pt x="1137" y="302"/>
                  <a:pt x="1137" y="302"/>
                </a:cubicBezTo>
                <a:cubicBezTo>
                  <a:pt x="1139" y="301"/>
                  <a:pt x="1139" y="301"/>
                  <a:pt x="1139" y="301"/>
                </a:cubicBezTo>
                <a:cubicBezTo>
                  <a:pt x="1139" y="300"/>
                  <a:pt x="1139" y="300"/>
                  <a:pt x="1139" y="300"/>
                </a:cubicBezTo>
                <a:cubicBezTo>
                  <a:pt x="1138" y="299"/>
                  <a:pt x="1138" y="299"/>
                  <a:pt x="1138" y="299"/>
                </a:cubicBezTo>
                <a:cubicBezTo>
                  <a:pt x="1136" y="298"/>
                  <a:pt x="1136" y="298"/>
                  <a:pt x="1136" y="298"/>
                </a:cubicBezTo>
                <a:cubicBezTo>
                  <a:pt x="1136" y="297"/>
                  <a:pt x="1136" y="297"/>
                  <a:pt x="1136" y="297"/>
                </a:cubicBezTo>
                <a:cubicBezTo>
                  <a:pt x="1137" y="297"/>
                  <a:pt x="1137" y="297"/>
                  <a:pt x="1137" y="297"/>
                </a:cubicBezTo>
                <a:cubicBezTo>
                  <a:pt x="1138" y="298"/>
                  <a:pt x="1138" y="298"/>
                  <a:pt x="1138" y="298"/>
                </a:cubicBezTo>
                <a:cubicBezTo>
                  <a:pt x="1139" y="299"/>
                  <a:pt x="1139" y="299"/>
                  <a:pt x="1139" y="299"/>
                </a:cubicBezTo>
                <a:cubicBezTo>
                  <a:pt x="1140" y="298"/>
                  <a:pt x="1140" y="298"/>
                  <a:pt x="1140" y="298"/>
                </a:cubicBezTo>
                <a:cubicBezTo>
                  <a:pt x="1141" y="297"/>
                  <a:pt x="1141" y="297"/>
                  <a:pt x="1141" y="297"/>
                </a:cubicBezTo>
                <a:cubicBezTo>
                  <a:pt x="1141" y="296"/>
                  <a:pt x="1141" y="296"/>
                  <a:pt x="1141" y="296"/>
                </a:cubicBezTo>
                <a:cubicBezTo>
                  <a:pt x="1140" y="296"/>
                  <a:pt x="1140" y="296"/>
                  <a:pt x="1140" y="296"/>
                </a:cubicBezTo>
                <a:cubicBezTo>
                  <a:pt x="1139" y="295"/>
                  <a:pt x="1139" y="295"/>
                  <a:pt x="1139" y="295"/>
                </a:cubicBezTo>
                <a:cubicBezTo>
                  <a:pt x="1139" y="294"/>
                  <a:pt x="1139" y="294"/>
                  <a:pt x="1139" y="294"/>
                </a:cubicBezTo>
                <a:cubicBezTo>
                  <a:pt x="1140" y="294"/>
                  <a:pt x="1140" y="294"/>
                  <a:pt x="1140" y="294"/>
                </a:cubicBezTo>
                <a:cubicBezTo>
                  <a:pt x="1140" y="295"/>
                  <a:pt x="1140" y="295"/>
                  <a:pt x="1140" y="295"/>
                </a:cubicBezTo>
                <a:cubicBezTo>
                  <a:pt x="1141" y="295"/>
                  <a:pt x="1141" y="295"/>
                  <a:pt x="1141" y="295"/>
                </a:cubicBezTo>
                <a:cubicBezTo>
                  <a:pt x="1143" y="294"/>
                  <a:pt x="1143" y="294"/>
                  <a:pt x="1143" y="294"/>
                </a:cubicBezTo>
                <a:cubicBezTo>
                  <a:pt x="1143" y="293"/>
                  <a:pt x="1143" y="293"/>
                  <a:pt x="1143" y="293"/>
                </a:cubicBezTo>
                <a:cubicBezTo>
                  <a:pt x="1141" y="293"/>
                  <a:pt x="1141" y="293"/>
                  <a:pt x="1141" y="293"/>
                </a:cubicBezTo>
                <a:cubicBezTo>
                  <a:pt x="1139" y="292"/>
                  <a:pt x="1139" y="292"/>
                  <a:pt x="1139" y="292"/>
                </a:cubicBezTo>
                <a:cubicBezTo>
                  <a:pt x="1139" y="291"/>
                  <a:pt x="1139" y="291"/>
                  <a:pt x="1139" y="291"/>
                </a:cubicBezTo>
                <a:cubicBezTo>
                  <a:pt x="1139" y="291"/>
                  <a:pt x="1139" y="291"/>
                  <a:pt x="1139" y="291"/>
                </a:cubicBezTo>
                <a:cubicBezTo>
                  <a:pt x="1141" y="292"/>
                  <a:pt x="1141" y="292"/>
                  <a:pt x="1141" y="292"/>
                </a:cubicBezTo>
                <a:cubicBezTo>
                  <a:pt x="1142" y="292"/>
                  <a:pt x="1142" y="292"/>
                  <a:pt x="1142" y="292"/>
                </a:cubicBezTo>
                <a:cubicBezTo>
                  <a:pt x="1143" y="293"/>
                  <a:pt x="1143" y="293"/>
                  <a:pt x="1143" y="293"/>
                </a:cubicBezTo>
                <a:cubicBezTo>
                  <a:pt x="1144" y="293"/>
                  <a:pt x="1144" y="293"/>
                  <a:pt x="1144" y="293"/>
                </a:cubicBezTo>
                <a:cubicBezTo>
                  <a:pt x="1145" y="291"/>
                  <a:pt x="1145" y="291"/>
                  <a:pt x="1145" y="291"/>
                </a:cubicBezTo>
                <a:cubicBezTo>
                  <a:pt x="1145" y="290"/>
                  <a:pt x="1145" y="290"/>
                  <a:pt x="1145" y="290"/>
                </a:cubicBezTo>
                <a:cubicBezTo>
                  <a:pt x="1146" y="289"/>
                  <a:pt x="1146" y="289"/>
                  <a:pt x="1146" y="289"/>
                </a:cubicBezTo>
                <a:cubicBezTo>
                  <a:pt x="1146" y="289"/>
                  <a:pt x="1146" y="289"/>
                  <a:pt x="1146" y="289"/>
                </a:cubicBezTo>
                <a:cubicBezTo>
                  <a:pt x="1146" y="288"/>
                  <a:pt x="1146" y="288"/>
                  <a:pt x="1146" y="288"/>
                </a:cubicBezTo>
                <a:cubicBezTo>
                  <a:pt x="1146" y="286"/>
                  <a:pt x="1146" y="286"/>
                  <a:pt x="1146" y="286"/>
                </a:cubicBezTo>
                <a:cubicBezTo>
                  <a:pt x="1146" y="285"/>
                  <a:pt x="1146" y="285"/>
                  <a:pt x="1146" y="285"/>
                </a:cubicBezTo>
                <a:cubicBezTo>
                  <a:pt x="1145" y="283"/>
                  <a:pt x="1145" y="283"/>
                  <a:pt x="1145" y="283"/>
                </a:cubicBezTo>
                <a:cubicBezTo>
                  <a:pt x="1143" y="281"/>
                  <a:pt x="1143" y="281"/>
                  <a:pt x="1143" y="281"/>
                </a:cubicBezTo>
                <a:cubicBezTo>
                  <a:pt x="1141" y="281"/>
                  <a:pt x="1141" y="281"/>
                  <a:pt x="1141" y="281"/>
                </a:cubicBezTo>
                <a:cubicBezTo>
                  <a:pt x="1140" y="280"/>
                  <a:pt x="1140" y="280"/>
                  <a:pt x="1140" y="280"/>
                </a:cubicBezTo>
                <a:cubicBezTo>
                  <a:pt x="1140" y="280"/>
                  <a:pt x="1140" y="280"/>
                  <a:pt x="1140" y="280"/>
                </a:cubicBezTo>
                <a:cubicBezTo>
                  <a:pt x="1141" y="279"/>
                  <a:pt x="1141" y="279"/>
                  <a:pt x="1141" y="279"/>
                </a:cubicBezTo>
                <a:cubicBezTo>
                  <a:pt x="1142" y="280"/>
                  <a:pt x="1142" y="280"/>
                  <a:pt x="1142" y="280"/>
                </a:cubicBezTo>
                <a:cubicBezTo>
                  <a:pt x="1145" y="282"/>
                  <a:pt x="1145" y="282"/>
                  <a:pt x="1145" y="282"/>
                </a:cubicBezTo>
                <a:cubicBezTo>
                  <a:pt x="1146" y="283"/>
                  <a:pt x="1146" y="283"/>
                  <a:pt x="1146" y="283"/>
                </a:cubicBezTo>
                <a:cubicBezTo>
                  <a:pt x="1147" y="283"/>
                  <a:pt x="1147" y="283"/>
                  <a:pt x="1147" y="283"/>
                </a:cubicBezTo>
                <a:cubicBezTo>
                  <a:pt x="1148" y="283"/>
                  <a:pt x="1148" y="283"/>
                  <a:pt x="1148" y="283"/>
                </a:cubicBezTo>
                <a:cubicBezTo>
                  <a:pt x="1147" y="280"/>
                  <a:pt x="1147" y="280"/>
                  <a:pt x="1147" y="280"/>
                </a:cubicBezTo>
                <a:cubicBezTo>
                  <a:pt x="1146" y="279"/>
                  <a:pt x="1146" y="279"/>
                  <a:pt x="1146" y="279"/>
                </a:cubicBezTo>
                <a:cubicBezTo>
                  <a:pt x="1144" y="278"/>
                  <a:pt x="1144" y="278"/>
                  <a:pt x="1144" y="278"/>
                </a:cubicBezTo>
                <a:cubicBezTo>
                  <a:pt x="1141" y="277"/>
                  <a:pt x="1141" y="277"/>
                  <a:pt x="1141" y="277"/>
                </a:cubicBezTo>
                <a:cubicBezTo>
                  <a:pt x="1140" y="276"/>
                  <a:pt x="1140" y="276"/>
                  <a:pt x="1140" y="276"/>
                </a:cubicBezTo>
                <a:cubicBezTo>
                  <a:pt x="1140" y="275"/>
                  <a:pt x="1140" y="275"/>
                  <a:pt x="1140" y="275"/>
                </a:cubicBezTo>
                <a:cubicBezTo>
                  <a:pt x="1141" y="275"/>
                  <a:pt x="1141" y="275"/>
                  <a:pt x="1141" y="275"/>
                </a:cubicBezTo>
                <a:cubicBezTo>
                  <a:pt x="1142" y="276"/>
                  <a:pt x="1142" y="276"/>
                  <a:pt x="1142" y="276"/>
                </a:cubicBezTo>
                <a:cubicBezTo>
                  <a:pt x="1143" y="277"/>
                  <a:pt x="1143" y="277"/>
                  <a:pt x="1143" y="277"/>
                </a:cubicBezTo>
                <a:cubicBezTo>
                  <a:pt x="1145" y="277"/>
                  <a:pt x="1145" y="277"/>
                  <a:pt x="1145" y="277"/>
                </a:cubicBezTo>
                <a:cubicBezTo>
                  <a:pt x="1146" y="275"/>
                  <a:pt x="1146" y="275"/>
                  <a:pt x="1146" y="275"/>
                </a:cubicBezTo>
                <a:cubicBezTo>
                  <a:pt x="1146" y="274"/>
                  <a:pt x="1146" y="274"/>
                  <a:pt x="1146" y="274"/>
                </a:cubicBezTo>
                <a:cubicBezTo>
                  <a:pt x="1146" y="273"/>
                  <a:pt x="1146" y="273"/>
                  <a:pt x="1146" y="273"/>
                </a:cubicBezTo>
                <a:cubicBezTo>
                  <a:pt x="1147" y="273"/>
                  <a:pt x="1147" y="273"/>
                  <a:pt x="1147" y="273"/>
                </a:cubicBezTo>
                <a:cubicBezTo>
                  <a:pt x="1148" y="273"/>
                  <a:pt x="1148" y="273"/>
                  <a:pt x="1148" y="273"/>
                </a:cubicBezTo>
                <a:cubicBezTo>
                  <a:pt x="1148" y="274"/>
                  <a:pt x="1148" y="274"/>
                  <a:pt x="1148" y="274"/>
                </a:cubicBezTo>
                <a:cubicBezTo>
                  <a:pt x="1148" y="275"/>
                  <a:pt x="1148" y="275"/>
                  <a:pt x="1148" y="275"/>
                </a:cubicBezTo>
                <a:cubicBezTo>
                  <a:pt x="1149" y="276"/>
                  <a:pt x="1149" y="276"/>
                  <a:pt x="1149" y="276"/>
                </a:cubicBezTo>
                <a:cubicBezTo>
                  <a:pt x="1151" y="276"/>
                  <a:pt x="1151" y="276"/>
                  <a:pt x="1151" y="276"/>
                </a:cubicBezTo>
                <a:cubicBezTo>
                  <a:pt x="1152" y="276"/>
                  <a:pt x="1152" y="276"/>
                  <a:pt x="1152" y="276"/>
                </a:cubicBezTo>
                <a:cubicBezTo>
                  <a:pt x="1153" y="276"/>
                  <a:pt x="1153" y="276"/>
                  <a:pt x="1153" y="276"/>
                </a:cubicBezTo>
                <a:cubicBezTo>
                  <a:pt x="1153" y="275"/>
                  <a:pt x="1153" y="275"/>
                  <a:pt x="1153" y="275"/>
                </a:cubicBezTo>
                <a:cubicBezTo>
                  <a:pt x="1154" y="274"/>
                  <a:pt x="1154" y="274"/>
                  <a:pt x="1154" y="274"/>
                </a:cubicBezTo>
                <a:cubicBezTo>
                  <a:pt x="1155" y="274"/>
                  <a:pt x="1155" y="274"/>
                  <a:pt x="1155" y="274"/>
                </a:cubicBezTo>
                <a:cubicBezTo>
                  <a:pt x="1154" y="273"/>
                  <a:pt x="1154" y="273"/>
                  <a:pt x="1154" y="273"/>
                </a:cubicBezTo>
                <a:cubicBezTo>
                  <a:pt x="1153" y="272"/>
                  <a:pt x="1153" y="272"/>
                  <a:pt x="1153" y="272"/>
                </a:cubicBezTo>
                <a:cubicBezTo>
                  <a:pt x="1150" y="272"/>
                  <a:pt x="1150" y="272"/>
                  <a:pt x="1150" y="272"/>
                </a:cubicBezTo>
                <a:cubicBezTo>
                  <a:pt x="1150" y="272"/>
                  <a:pt x="1150" y="272"/>
                  <a:pt x="1150" y="272"/>
                </a:cubicBezTo>
                <a:cubicBezTo>
                  <a:pt x="1150" y="271"/>
                  <a:pt x="1150" y="271"/>
                  <a:pt x="1150" y="271"/>
                </a:cubicBezTo>
                <a:cubicBezTo>
                  <a:pt x="1150" y="270"/>
                  <a:pt x="1150" y="270"/>
                  <a:pt x="1150" y="270"/>
                </a:cubicBezTo>
                <a:cubicBezTo>
                  <a:pt x="1149" y="269"/>
                  <a:pt x="1149" y="269"/>
                  <a:pt x="1149" y="269"/>
                </a:cubicBezTo>
                <a:cubicBezTo>
                  <a:pt x="1149" y="268"/>
                  <a:pt x="1149" y="268"/>
                  <a:pt x="1149" y="268"/>
                </a:cubicBezTo>
                <a:cubicBezTo>
                  <a:pt x="1149" y="267"/>
                  <a:pt x="1149" y="267"/>
                  <a:pt x="1149" y="267"/>
                </a:cubicBezTo>
                <a:cubicBezTo>
                  <a:pt x="1150" y="267"/>
                  <a:pt x="1150" y="267"/>
                  <a:pt x="1150" y="267"/>
                </a:cubicBezTo>
                <a:cubicBezTo>
                  <a:pt x="1151" y="268"/>
                  <a:pt x="1151" y="268"/>
                  <a:pt x="1151" y="268"/>
                </a:cubicBezTo>
                <a:cubicBezTo>
                  <a:pt x="1151" y="270"/>
                  <a:pt x="1151" y="270"/>
                  <a:pt x="1151" y="270"/>
                </a:cubicBezTo>
                <a:cubicBezTo>
                  <a:pt x="1152" y="271"/>
                  <a:pt x="1152" y="271"/>
                  <a:pt x="1152" y="271"/>
                </a:cubicBezTo>
                <a:cubicBezTo>
                  <a:pt x="1154" y="271"/>
                  <a:pt x="1154" y="271"/>
                  <a:pt x="1154" y="271"/>
                </a:cubicBezTo>
                <a:cubicBezTo>
                  <a:pt x="1155" y="270"/>
                  <a:pt x="1155" y="270"/>
                  <a:pt x="1155" y="270"/>
                </a:cubicBezTo>
                <a:cubicBezTo>
                  <a:pt x="1155" y="270"/>
                  <a:pt x="1155" y="270"/>
                  <a:pt x="1155" y="270"/>
                </a:cubicBezTo>
                <a:cubicBezTo>
                  <a:pt x="1155" y="269"/>
                  <a:pt x="1155" y="269"/>
                  <a:pt x="1155" y="269"/>
                </a:cubicBezTo>
                <a:cubicBezTo>
                  <a:pt x="1153" y="268"/>
                  <a:pt x="1153" y="268"/>
                  <a:pt x="1153" y="268"/>
                </a:cubicBezTo>
                <a:cubicBezTo>
                  <a:pt x="1151" y="267"/>
                  <a:pt x="1151" y="267"/>
                  <a:pt x="1151" y="267"/>
                </a:cubicBezTo>
                <a:cubicBezTo>
                  <a:pt x="1151" y="265"/>
                  <a:pt x="1151" y="265"/>
                  <a:pt x="1151" y="265"/>
                </a:cubicBezTo>
                <a:cubicBezTo>
                  <a:pt x="1152" y="265"/>
                  <a:pt x="1152" y="265"/>
                  <a:pt x="1152" y="265"/>
                </a:cubicBezTo>
                <a:cubicBezTo>
                  <a:pt x="1152" y="266"/>
                  <a:pt x="1152" y="266"/>
                  <a:pt x="1152" y="266"/>
                </a:cubicBezTo>
                <a:cubicBezTo>
                  <a:pt x="1154" y="267"/>
                  <a:pt x="1154" y="267"/>
                  <a:pt x="1154" y="267"/>
                </a:cubicBezTo>
                <a:cubicBezTo>
                  <a:pt x="1155" y="268"/>
                  <a:pt x="1155" y="268"/>
                  <a:pt x="1155" y="268"/>
                </a:cubicBezTo>
                <a:cubicBezTo>
                  <a:pt x="1157" y="269"/>
                  <a:pt x="1157" y="269"/>
                  <a:pt x="1157" y="269"/>
                </a:cubicBezTo>
                <a:cubicBezTo>
                  <a:pt x="1157" y="268"/>
                  <a:pt x="1157" y="268"/>
                  <a:pt x="1157" y="268"/>
                </a:cubicBezTo>
                <a:cubicBezTo>
                  <a:pt x="1157" y="267"/>
                  <a:pt x="1157" y="267"/>
                  <a:pt x="1157" y="267"/>
                </a:cubicBezTo>
                <a:cubicBezTo>
                  <a:pt x="1157" y="266"/>
                  <a:pt x="1157" y="266"/>
                  <a:pt x="1157" y="266"/>
                </a:cubicBezTo>
                <a:cubicBezTo>
                  <a:pt x="1155" y="265"/>
                  <a:pt x="1155" y="265"/>
                  <a:pt x="1155" y="265"/>
                </a:cubicBezTo>
                <a:cubicBezTo>
                  <a:pt x="1153" y="264"/>
                  <a:pt x="1153" y="264"/>
                  <a:pt x="1153" y="264"/>
                </a:cubicBezTo>
                <a:cubicBezTo>
                  <a:pt x="1153" y="263"/>
                  <a:pt x="1153" y="263"/>
                  <a:pt x="1153" y="263"/>
                </a:cubicBezTo>
                <a:cubicBezTo>
                  <a:pt x="1154" y="262"/>
                  <a:pt x="1154" y="262"/>
                  <a:pt x="1154" y="262"/>
                </a:cubicBezTo>
                <a:cubicBezTo>
                  <a:pt x="1155" y="261"/>
                  <a:pt x="1155" y="261"/>
                  <a:pt x="1155" y="261"/>
                </a:cubicBezTo>
                <a:cubicBezTo>
                  <a:pt x="1156" y="261"/>
                  <a:pt x="1156" y="261"/>
                  <a:pt x="1156" y="261"/>
                </a:cubicBezTo>
                <a:cubicBezTo>
                  <a:pt x="1156" y="262"/>
                  <a:pt x="1156" y="262"/>
                  <a:pt x="1156" y="262"/>
                </a:cubicBezTo>
                <a:cubicBezTo>
                  <a:pt x="1158" y="264"/>
                  <a:pt x="1158" y="264"/>
                  <a:pt x="1158" y="264"/>
                </a:cubicBezTo>
                <a:cubicBezTo>
                  <a:pt x="1160" y="264"/>
                  <a:pt x="1160" y="264"/>
                  <a:pt x="1160" y="264"/>
                </a:cubicBezTo>
                <a:cubicBezTo>
                  <a:pt x="1160" y="264"/>
                  <a:pt x="1160" y="264"/>
                  <a:pt x="1160" y="264"/>
                </a:cubicBezTo>
                <a:cubicBezTo>
                  <a:pt x="1162" y="264"/>
                  <a:pt x="1162" y="264"/>
                  <a:pt x="1162" y="264"/>
                </a:cubicBezTo>
                <a:cubicBezTo>
                  <a:pt x="1163" y="263"/>
                  <a:pt x="1163" y="263"/>
                  <a:pt x="1163" y="263"/>
                </a:cubicBezTo>
                <a:cubicBezTo>
                  <a:pt x="1164" y="262"/>
                  <a:pt x="1164" y="262"/>
                  <a:pt x="1164" y="262"/>
                </a:cubicBezTo>
                <a:cubicBezTo>
                  <a:pt x="1163" y="261"/>
                  <a:pt x="1163" y="261"/>
                  <a:pt x="1163" y="261"/>
                </a:cubicBezTo>
                <a:cubicBezTo>
                  <a:pt x="1162" y="261"/>
                  <a:pt x="1162" y="261"/>
                  <a:pt x="1162" y="261"/>
                </a:cubicBezTo>
                <a:cubicBezTo>
                  <a:pt x="1161" y="260"/>
                  <a:pt x="1161" y="260"/>
                  <a:pt x="1161" y="260"/>
                </a:cubicBezTo>
                <a:cubicBezTo>
                  <a:pt x="1159" y="259"/>
                  <a:pt x="1159" y="259"/>
                  <a:pt x="1159" y="259"/>
                </a:cubicBezTo>
                <a:cubicBezTo>
                  <a:pt x="1158" y="258"/>
                  <a:pt x="1158" y="258"/>
                  <a:pt x="1158" y="258"/>
                </a:cubicBezTo>
                <a:cubicBezTo>
                  <a:pt x="1156" y="258"/>
                  <a:pt x="1156" y="258"/>
                  <a:pt x="1156" y="258"/>
                </a:cubicBezTo>
                <a:cubicBezTo>
                  <a:pt x="1157" y="257"/>
                  <a:pt x="1157" y="257"/>
                  <a:pt x="1157" y="257"/>
                </a:cubicBezTo>
                <a:cubicBezTo>
                  <a:pt x="1157" y="256"/>
                  <a:pt x="1157" y="256"/>
                  <a:pt x="1157" y="256"/>
                </a:cubicBezTo>
                <a:cubicBezTo>
                  <a:pt x="1158" y="257"/>
                  <a:pt x="1158" y="257"/>
                  <a:pt x="1158" y="257"/>
                </a:cubicBezTo>
                <a:cubicBezTo>
                  <a:pt x="1159" y="258"/>
                  <a:pt x="1159" y="258"/>
                  <a:pt x="1159" y="258"/>
                </a:cubicBezTo>
                <a:cubicBezTo>
                  <a:pt x="1160" y="258"/>
                  <a:pt x="1160" y="258"/>
                  <a:pt x="1160" y="258"/>
                </a:cubicBezTo>
                <a:cubicBezTo>
                  <a:pt x="1161" y="258"/>
                  <a:pt x="1161" y="258"/>
                  <a:pt x="1161" y="258"/>
                </a:cubicBezTo>
                <a:cubicBezTo>
                  <a:pt x="1162" y="260"/>
                  <a:pt x="1162" y="260"/>
                  <a:pt x="1162" y="260"/>
                </a:cubicBezTo>
                <a:cubicBezTo>
                  <a:pt x="1164" y="261"/>
                  <a:pt x="1164" y="261"/>
                  <a:pt x="1164" y="261"/>
                </a:cubicBezTo>
                <a:cubicBezTo>
                  <a:pt x="1164" y="260"/>
                  <a:pt x="1164" y="260"/>
                  <a:pt x="1164" y="260"/>
                </a:cubicBezTo>
                <a:cubicBezTo>
                  <a:pt x="1165" y="259"/>
                  <a:pt x="1165" y="259"/>
                  <a:pt x="1165" y="259"/>
                </a:cubicBezTo>
                <a:cubicBezTo>
                  <a:pt x="1165" y="258"/>
                  <a:pt x="1165" y="258"/>
                  <a:pt x="1165" y="258"/>
                </a:cubicBezTo>
                <a:cubicBezTo>
                  <a:pt x="1165" y="257"/>
                  <a:pt x="1165" y="257"/>
                  <a:pt x="1165" y="257"/>
                </a:cubicBezTo>
                <a:cubicBezTo>
                  <a:pt x="1165" y="256"/>
                  <a:pt x="1165" y="256"/>
                  <a:pt x="1165" y="256"/>
                </a:cubicBezTo>
                <a:cubicBezTo>
                  <a:pt x="1164" y="255"/>
                  <a:pt x="1164" y="255"/>
                  <a:pt x="1164" y="255"/>
                </a:cubicBezTo>
                <a:cubicBezTo>
                  <a:pt x="1164" y="255"/>
                  <a:pt x="1164" y="255"/>
                  <a:pt x="1164" y="255"/>
                </a:cubicBezTo>
                <a:cubicBezTo>
                  <a:pt x="1165" y="255"/>
                  <a:pt x="1165" y="255"/>
                  <a:pt x="1165" y="255"/>
                </a:cubicBezTo>
                <a:cubicBezTo>
                  <a:pt x="1166" y="255"/>
                  <a:pt x="1166" y="255"/>
                  <a:pt x="1166" y="255"/>
                </a:cubicBezTo>
                <a:cubicBezTo>
                  <a:pt x="1166" y="253"/>
                  <a:pt x="1166" y="253"/>
                  <a:pt x="1166" y="253"/>
                </a:cubicBezTo>
                <a:cubicBezTo>
                  <a:pt x="1166" y="252"/>
                  <a:pt x="1166" y="252"/>
                  <a:pt x="1166" y="252"/>
                </a:cubicBezTo>
                <a:cubicBezTo>
                  <a:pt x="1165" y="252"/>
                  <a:pt x="1165" y="252"/>
                  <a:pt x="1165" y="252"/>
                </a:cubicBezTo>
                <a:cubicBezTo>
                  <a:pt x="1164" y="252"/>
                  <a:pt x="1164" y="252"/>
                  <a:pt x="1164" y="252"/>
                </a:cubicBezTo>
                <a:cubicBezTo>
                  <a:pt x="1164" y="252"/>
                  <a:pt x="1164" y="252"/>
                  <a:pt x="1164" y="252"/>
                </a:cubicBezTo>
                <a:cubicBezTo>
                  <a:pt x="1163" y="251"/>
                  <a:pt x="1163" y="251"/>
                  <a:pt x="1163" y="251"/>
                </a:cubicBezTo>
                <a:cubicBezTo>
                  <a:pt x="1161" y="251"/>
                  <a:pt x="1161" y="251"/>
                  <a:pt x="1161" y="251"/>
                </a:cubicBezTo>
                <a:cubicBezTo>
                  <a:pt x="1159" y="249"/>
                  <a:pt x="1159" y="249"/>
                  <a:pt x="1159" y="249"/>
                </a:cubicBezTo>
                <a:cubicBezTo>
                  <a:pt x="1158" y="249"/>
                  <a:pt x="1158" y="249"/>
                  <a:pt x="1158" y="249"/>
                </a:cubicBezTo>
                <a:cubicBezTo>
                  <a:pt x="1159" y="248"/>
                  <a:pt x="1159" y="248"/>
                  <a:pt x="1159" y="248"/>
                </a:cubicBezTo>
                <a:cubicBezTo>
                  <a:pt x="1161" y="248"/>
                  <a:pt x="1161" y="248"/>
                  <a:pt x="1161" y="248"/>
                </a:cubicBezTo>
                <a:cubicBezTo>
                  <a:pt x="1163" y="248"/>
                  <a:pt x="1163" y="248"/>
                  <a:pt x="1163" y="248"/>
                </a:cubicBezTo>
                <a:cubicBezTo>
                  <a:pt x="1165" y="248"/>
                  <a:pt x="1165" y="248"/>
                  <a:pt x="1165" y="248"/>
                </a:cubicBezTo>
                <a:cubicBezTo>
                  <a:pt x="1165" y="247"/>
                  <a:pt x="1165" y="247"/>
                  <a:pt x="1165" y="247"/>
                </a:cubicBezTo>
                <a:cubicBezTo>
                  <a:pt x="1166" y="247"/>
                  <a:pt x="1166" y="247"/>
                  <a:pt x="1166" y="247"/>
                </a:cubicBezTo>
                <a:cubicBezTo>
                  <a:pt x="1167" y="248"/>
                  <a:pt x="1167" y="248"/>
                  <a:pt x="1167" y="248"/>
                </a:cubicBezTo>
                <a:cubicBezTo>
                  <a:pt x="1168" y="246"/>
                  <a:pt x="1168" y="246"/>
                  <a:pt x="1168" y="246"/>
                </a:cubicBezTo>
                <a:cubicBezTo>
                  <a:pt x="1167" y="243"/>
                  <a:pt x="1167" y="243"/>
                  <a:pt x="1167" y="243"/>
                </a:cubicBezTo>
                <a:cubicBezTo>
                  <a:pt x="1167" y="241"/>
                  <a:pt x="1167" y="241"/>
                  <a:pt x="1167" y="241"/>
                </a:cubicBezTo>
                <a:cubicBezTo>
                  <a:pt x="1165" y="240"/>
                  <a:pt x="1165" y="240"/>
                  <a:pt x="1165" y="240"/>
                </a:cubicBezTo>
                <a:cubicBezTo>
                  <a:pt x="1165" y="239"/>
                  <a:pt x="1165" y="239"/>
                  <a:pt x="1165" y="239"/>
                </a:cubicBezTo>
                <a:cubicBezTo>
                  <a:pt x="1165" y="238"/>
                  <a:pt x="1165" y="238"/>
                  <a:pt x="1165" y="238"/>
                </a:cubicBezTo>
                <a:cubicBezTo>
                  <a:pt x="1166" y="237"/>
                  <a:pt x="1166" y="237"/>
                  <a:pt x="1166" y="237"/>
                </a:cubicBezTo>
                <a:cubicBezTo>
                  <a:pt x="1165" y="235"/>
                  <a:pt x="1165" y="235"/>
                  <a:pt x="1165" y="235"/>
                </a:cubicBezTo>
                <a:cubicBezTo>
                  <a:pt x="1165" y="235"/>
                  <a:pt x="1165" y="235"/>
                  <a:pt x="1165" y="235"/>
                </a:cubicBezTo>
                <a:cubicBezTo>
                  <a:pt x="1165" y="234"/>
                  <a:pt x="1165" y="234"/>
                  <a:pt x="1165" y="234"/>
                </a:cubicBezTo>
                <a:cubicBezTo>
                  <a:pt x="1166" y="234"/>
                  <a:pt x="1166" y="234"/>
                  <a:pt x="1166" y="234"/>
                </a:cubicBezTo>
                <a:cubicBezTo>
                  <a:pt x="1167" y="235"/>
                  <a:pt x="1167" y="235"/>
                  <a:pt x="1167" y="235"/>
                </a:cubicBezTo>
                <a:cubicBezTo>
                  <a:pt x="1168" y="236"/>
                  <a:pt x="1168" y="236"/>
                  <a:pt x="1168" y="236"/>
                </a:cubicBezTo>
                <a:cubicBezTo>
                  <a:pt x="1168" y="235"/>
                  <a:pt x="1168" y="235"/>
                  <a:pt x="1168" y="235"/>
                </a:cubicBezTo>
                <a:cubicBezTo>
                  <a:pt x="1169" y="235"/>
                  <a:pt x="1169" y="235"/>
                  <a:pt x="1169" y="235"/>
                </a:cubicBezTo>
                <a:cubicBezTo>
                  <a:pt x="1170" y="235"/>
                  <a:pt x="1170" y="235"/>
                  <a:pt x="1170" y="235"/>
                </a:cubicBezTo>
                <a:cubicBezTo>
                  <a:pt x="1171" y="237"/>
                  <a:pt x="1171" y="237"/>
                  <a:pt x="1171" y="237"/>
                </a:cubicBezTo>
                <a:cubicBezTo>
                  <a:pt x="1172" y="238"/>
                  <a:pt x="1172" y="238"/>
                  <a:pt x="1172" y="238"/>
                </a:cubicBezTo>
                <a:cubicBezTo>
                  <a:pt x="1173" y="238"/>
                  <a:pt x="1173" y="238"/>
                  <a:pt x="1173" y="238"/>
                </a:cubicBezTo>
                <a:cubicBezTo>
                  <a:pt x="1175" y="236"/>
                  <a:pt x="1175" y="236"/>
                  <a:pt x="1175" y="236"/>
                </a:cubicBezTo>
                <a:cubicBezTo>
                  <a:pt x="1176" y="233"/>
                  <a:pt x="1176" y="233"/>
                  <a:pt x="1176" y="233"/>
                </a:cubicBezTo>
                <a:cubicBezTo>
                  <a:pt x="1176" y="231"/>
                  <a:pt x="1176" y="231"/>
                  <a:pt x="1176" y="231"/>
                </a:cubicBezTo>
                <a:cubicBezTo>
                  <a:pt x="1175" y="230"/>
                  <a:pt x="1175" y="230"/>
                  <a:pt x="1175" y="230"/>
                </a:cubicBezTo>
                <a:cubicBezTo>
                  <a:pt x="1175" y="229"/>
                  <a:pt x="1175" y="229"/>
                  <a:pt x="1175" y="229"/>
                </a:cubicBezTo>
                <a:cubicBezTo>
                  <a:pt x="1176" y="228"/>
                  <a:pt x="1176" y="228"/>
                  <a:pt x="1176" y="228"/>
                </a:cubicBezTo>
                <a:cubicBezTo>
                  <a:pt x="1177" y="228"/>
                  <a:pt x="1177" y="228"/>
                  <a:pt x="1177" y="228"/>
                </a:cubicBezTo>
                <a:cubicBezTo>
                  <a:pt x="1177" y="228"/>
                  <a:pt x="1177" y="228"/>
                  <a:pt x="1177" y="228"/>
                </a:cubicBezTo>
                <a:cubicBezTo>
                  <a:pt x="1178" y="227"/>
                  <a:pt x="1178" y="227"/>
                  <a:pt x="1178" y="227"/>
                </a:cubicBezTo>
                <a:cubicBezTo>
                  <a:pt x="1179" y="228"/>
                  <a:pt x="1179" y="228"/>
                  <a:pt x="1179" y="228"/>
                </a:cubicBezTo>
                <a:cubicBezTo>
                  <a:pt x="1179" y="230"/>
                  <a:pt x="1179" y="230"/>
                  <a:pt x="1179" y="230"/>
                </a:cubicBezTo>
                <a:cubicBezTo>
                  <a:pt x="1180" y="230"/>
                  <a:pt x="1180" y="230"/>
                  <a:pt x="1180" y="230"/>
                </a:cubicBezTo>
                <a:cubicBezTo>
                  <a:pt x="1181" y="229"/>
                  <a:pt x="1181" y="229"/>
                  <a:pt x="1181" y="229"/>
                </a:cubicBezTo>
                <a:cubicBezTo>
                  <a:pt x="1181" y="228"/>
                  <a:pt x="1181" y="228"/>
                  <a:pt x="1181" y="228"/>
                </a:cubicBezTo>
                <a:cubicBezTo>
                  <a:pt x="1182" y="227"/>
                  <a:pt x="1182" y="227"/>
                  <a:pt x="1182" y="227"/>
                </a:cubicBezTo>
                <a:cubicBezTo>
                  <a:pt x="1182" y="227"/>
                  <a:pt x="1182" y="227"/>
                  <a:pt x="1182" y="227"/>
                </a:cubicBezTo>
                <a:cubicBezTo>
                  <a:pt x="1183" y="228"/>
                  <a:pt x="1183" y="228"/>
                  <a:pt x="1183" y="228"/>
                </a:cubicBezTo>
                <a:cubicBezTo>
                  <a:pt x="1183" y="230"/>
                  <a:pt x="1183" y="230"/>
                  <a:pt x="1183" y="230"/>
                </a:cubicBezTo>
                <a:cubicBezTo>
                  <a:pt x="1184" y="231"/>
                  <a:pt x="1184" y="231"/>
                  <a:pt x="1184" y="231"/>
                </a:cubicBezTo>
                <a:cubicBezTo>
                  <a:pt x="1186" y="230"/>
                  <a:pt x="1186" y="230"/>
                  <a:pt x="1186" y="230"/>
                </a:cubicBezTo>
                <a:cubicBezTo>
                  <a:pt x="1186" y="229"/>
                  <a:pt x="1186" y="229"/>
                  <a:pt x="1186" y="229"/>
                </a:cubicBezTo>
                <a:cubicBezTo>
                  <a:pt x="1187" y="228"/>
                  <a:pt x="1187" y="228"/>
                  <a:pt x="1187" y="228"/>
                </a:cubicBezTo>
                <a:cubicBezTo>
                  <a:pt x="1188" y="229"/>
                  <a:pt x="1188" y="229"/>
                  <a:pt x="1188" y="229"/>
                </a:cubicBezTo>
                <a:cubicBezTo>
                  <a:pt x="1189" y="229"/>
                  <a:pt x="1189" y="229"/>
                  <a:pt x="1189" y="229"/>
                </a:cubicBezTo>
                <a:cubicBezTo>
                  <a:pt x="1191" y="229"/>
                  <a:pt x="1191" y="229"/>
                  <a:pt x="1191" y="229"/>
                </a:cubicBezTo>
                <a:cubicBezTo>
                  <a:pt x="1191" y="227"/>
                  <a:pt x="1191" y="227"/>
                  <a:pt x="1191" y="227"/>
                </a:cubicBezTo>
                <a:cubicBezTo>
                  <a:pt x="1192" y="227"/>
                  <a:pt x="1192" y="227"/>
                  <a:pt x="1192" y="227"/>
                </a:cubicBezTo>
                <a:cubicBezTo>
                  <a:pt x="1192" y="226"/>
                  <a:pt x="1192" y="226"/>
                  <a:pt x="1192" y="226"/>
                </a:cubicBezTo>
                <a:cubicBezTo>
                  <a:pt x="1191" y="225"/>
                  <a:pt x="1191" y="225"/>
                  <a:pt x="1191" y="225"/>
                </a:cubicBezTo>
                <a:cubicBezTo>
                  <a:pt x="1190" y="223"/>
                  <a:pt x="1190" y="223"/>
                  <a:pt x="1190" y="223"/>
                </a:cubicBezTo>
                <a:cubicBezTo>
                  <a:pt x="1190" y="222"/>
                  <a:pt x="1190" y="222"/>
                  <a:pt x="1190" y="222"/>
                </a:cubicBezTo>
                <a:cubicBezTo>
                  <a:pt x="1190" y="221"/>
                  <a:pt x="1190" y="221"/>
                  <a:pt x="1190" y="221"/>
                </a:cubicBezTo>
                <a:cubicBezTo>
                  <a:pt x="1191" y="221"/>
                  <a:pt x="1191" y="221"/>
                  <a:pt x="1191" y="221"/>
                </a:cubicBezTo>
                <a:cubicBezTo>
                  <a:pt x="1191" y="223"/>
                  <a:pt x="1191" y="223"/>
                  <a:pt x="1191" y="223"/>
                </a:cubicBezTo>
                <a:cubicBezTo>
                  <a:pt x="1192" y="223"/>
                  <a:pt x="1192" y="223"/>
                  <a:pt x="1192" y="223"/>
                </a:cubicBezTo>
                <a:cubicBezTo>
                  <a:pt x="1194" y="221"/>
                  <a:pt x="1194" y="221"/>
                  <a:pt x="1194" y="221"/>
                </a:cubicBezTo>
                <a:cubicBezTo>
                  <a:pt x="1194" y="220"/>
                  <a:pt x="1194" y="220"/>
                  <a:pt x="1194" y="220"/>
                </a:cubicBezTo>
                <a:cubicBezTo>
                  <a:pt x="1195" y="219"/>
                  <a:pt x="1195" y="219"/>
                  <a:pt x="1195" y="219"/>
                </a:cubicBezTo>
                <a:cubicBezTo>
                  <a:pt x="1195" y="218"/>
                  <a:pt x="1195" y="218"/>
                  <a:pt x="1195" y="218"/>
                </a:cubicBezTo>
                <a:cubicBezTo>
                  <a:pt x="1194" y="216"/>
                  <a:pt x="1194" y="216"/>
                  <a:pt x="1194" y="216"/>
                </a:cubicBezTo>
                <a:cubicBezTo>
                  <a:pt x="1194" y="215"/>
                  <a:pt x="1194" y="215"/>
                  <a:pt x="1194" y="215"/>
                </a:cubicBezTo>
                <a:cubicBezTo>
                  <a:pt x="1195" y="214"/>
                  <a:pt x="1195" y="214"/>
                  <a:pt x="1195" y="214"/>
                </a:cubicBezTo>
                <a:cubicBezTo>
                  <a:pt x="1195" y="214"/>
                  <a:pt x="1195" y="214"/>
                  <a:pt x="1195" y="214"/>
                </a:cubicBezTo>
                <a:cubicBezTo>
                  <a:pt x="1196" y="214"/>
                  <a:pt x="1196" y="214"/>
                  <a:pt x="1196" y="214"/>
                </a:cubicBezTo>
                <a:cubicBezTo>
                  <a:pt x="1196" y="215"/>
                  <a:pt x="1196" y="215"/>
                  <a:pt x="1196" y="215"/>
                </a:cubicBezTo>
                <a:cubicBezTo>
                  <a:pt x="1197" y="216"/>
                  <a:pt x="1197" y="216"/>
                  <a:pt x="1197" y="216"/>
                </a:cubicBezTo>
                <a:cubicBezTo>
                  <a:pt x="1199" y="216"/>
                  <a:pt x="1199" y="216"/>
                  <a:pt x="1199" y="216"/>
                </a:cubicBezTo>
                <a:cubicBezTo>
                  <a:pt x="1199" y="217"/>
                  <a:pt x="1199" y="217"/>
                  <a:pt x="1199" y="217"/>
                </a:cubicBezTo>
                <a:cubicBezTo>
                  <a:pt x="1198" y="218"/>
                  <a:pt x="1198" y="218"/>
                  <a:pt x="1198" y="218"/>
                </a:cubicBezTo>
                <a:cubicBezTo>
                  <a:pt x="1197" y="219"/>
                  <a:pt x="1197" y="219"/>
                  <a:pt x="1197" y="219"/>
                </a:cubicBezTo>
                <a:cubicBezTo>
                  <a:pt x="1196" y="221"/>
                  <a:pt x="1196" y="221"/>
                  <a:pt x="1196" y="221"/>
                </a:cubicBezTo>
                <a:cubicBezTo>
                  <a:pt x="1196" y="222"/>
                  <a:pt x="1196" y="222"/>
                  <a:pt x="1196" y="222"/>
                </a:cubicBezTo>
                <a:cubicBezTo>
                  <a:pt x="1198" y="225"/>
                  <a:pt x="1198" y="225"/>
                  <a:pt x="1198" y="225"/>
                </a:cubicBezTo>
                <a:cubicBezTo>
                  <a:pt x="1199" y="226"/>
                  <a:pt x="1199" y="226"/>
                  <a:pt x="1199" y="226"/>
                </a:cubicBezTo>
                <a:cubicBezTo>
                  <a:pt x="1200" y="224"/>
                  <a:pt x="1200" y="224"/>
                  <a:pt x="1200" y="224"/>
                </a:cubicBezTo>
                <a:cubicBezTo>
                  <a:pt x="1200" y="223"/>
                  <a:pt x="1200" y="223"/>
                  <a:pt x="1200" y="223"/>
                </a:cubicBezTo>
                <a:cubicBezTo>
                  <a:pt x="1200" y="222"/>
                  <a:pt x="1200" y="222"/>
                  <a:pt x="1200" y="222"/>
                </a:cubicBezTo>
                <a:cubicBezTo>
                  <a:pt x="1200" y="220"/>
                  <a:pt x="1200" y="220"/>
                  <a:pt x="1200" y="220"/>
                </a:cubicBezTo>
                <a:cubicBezTo>
                  <a:pt x="1201" y="220"/>
                  <a:pt x="1201" y="220"/>
                  <a:pt x="1201" y="220"/>
                </a:cubicBezTo>
                <a:cubicBezTo>
                  <a:pt x="1201" y="221"/>
                  <a:pt x="1201" y="221"/>
                  <a:pt x="1201" y="221"/>
                </a:cubicBezTo>
                <a:cubicBezTo>
                  <a:pt x="1201" y="222"/>
                  <a:pt x="1201" y="222"/>
                  <a:pt x="1201" y="222"/>
                </a:cubicBezTo>
                <a:cubicBezTo>
                  <a:pt x="1201" y="223"/>
                  <a:pt x="1201" y="223"/>
                  <a:pt x="1201" y="223"/>
                </a:cubicBezTo>
                <a:cubicBezTo>
                  <a:pt x="1202" y="225"/>
                  <a:pt x="1202" y="225"/>
                  <a:pt x="1202" y="225"/>
                </a:cubicBezTo>
                <a:cubicBezTo>
                  <a:pt x="1203" y="225"/>
                  <a:pt x="1203" y="225"/>
                  <a:pt x="1203" y="225"/>
                </a:cubicBezTo>
                <a:cubicBezTo>
                  <a:pt x="1205" y="225"/>
                  <a:pt x="1205" y="225"/>
                  <a:pt x="1205" y="225"/>
                </a:cubicBezTo>
                <a:cubicBezTo>
                  <a:pt x="1206" y="225"/>
                  <a:pt x="1206" y="225"/>
                  <a:pt x="1206" y="225"/>
                </a:cubicBezTo>
                <a:cubicBezTo>
                  <a:pt x="1206" y="224"/>
                  <a:pt x="1206" y="224"/>
                  <a:pt x="1206" y="224"/>
                </a:cubicBezTo>
                <a:cubicBezTo>
                  <a:pt x="1206" y="223"/>
                  <a:pt x="1206" y="223"/>
                  <a:pt x="1206" y="223"/>
                </a:cubicBezTo>
                <a:cubicBezTo>
                  <a:pt x="1206" y="222"/>
                  <a:pt x="1206" y="222"/>
                  <a:pt x="1206" y="222"/>
                </a:cubicBezTo>
                <a:cubicBezTo>
                  <a:pt x="1207" y="222"/>
                  <a:pt x="1207" y="222"/>
                  <a:pt x="1207" y="222"/>
                </a:cubicBezTo>
                <a:cubicBezTo>
                  <a:pt x="1208" y="222"/>
                  <a:pt x="1208" y="222"/>
                  <a:pt x="1208" y="222"/>
                </a:cubicBezTo>
                <a:cubicBezTo>
                  <a:pt x="1207" y="223"/>
                  <a:pt x="1207" y="223"/>
                  <a:pt x="1207" y="223"/>
                </a:cubicBezTo>
                <a:cubicBezTo>
                  <a:pt x="1207" y="224"/>
                  <a:pt x="1207" y="224"/>
                  <a:pt x="1207" y="224"/>
                </a:cubicBezTo>
                <a:cubicBezTo>
                  <a:pt x="1208" y="225"/>
                  <a:pt x="1208" y="225"/>
                  <a:pt x="1208" y="225"/>
                </a:cubicBezTo>
                <a:cubicBezTo>
                  <a:pt x="1210" y="225"/>
                  <a:pt x="1210" y="225"/>
                  <a:pt x="1210" y="225"/>
                </a:cubicBezTo>
                <a:cubicBezTo>
                  <a:pt x="1211" y="223"/>
                  <a:pt x="1211" y="223"/>
                  <a:pt x="1211" y="223"/>
                </a:cubicBezTo>
                <a:cubicBezTo>
                  <a:pt x="1214" y="221"/>
                  <a:pt x="1214" y="221"/>
                  <a:pt x="1214" y="221"/>
                </a:cubicBezTo>
                <a:cubicBezTo>
                  <a:pt x="1214" y="221"/>
                  <a:pt x="1214" y="221"/>
                  <a:pt x="1214" y="221"/>
                </a:cubicBezTo>
                <a:cubicBezTo>
                  <a:pt x="1215" y="221"/>
                  <a:pt x="1215" y="221"/>
                  <a:pt x="1215" y="221"/>
                </a:cubicBezTo>
                <a:cubicBezTo>
                  <a:pt x="1215" y="219"/>
                  <a:pt x="1215" y="219"/>
                  <a:pt x="1215" y="219"/>
                </a:cubicBezTo>
                <a:cubicBezTo>
                  <a:pt x="1215" y="218"/>
                  <a:pt x="1215" y="218"/>
                  <a:pt x="1215" y="218"/>
                </a:cubicBezTo>
                <a:cubicBezTo>
                  <a:pt x="1214" y="217"/>
                  <a:pt x="1214" y="217"/>
                  <a:pt x="1214" y="217"/>
                </a:cubicBezTo>
                <a:cubicBezTo>
                  <a:pt x="1213" y="216"/>
                  <a:pt x="1213" y="216"/>
                  <a:pt x="1213" y="216"/>
                </a:cubicBezTo>
                <a:cubicBezTo>
                  <a:pt x="1213" y="216"/>
                  <a:pt x="1213" y="216"/>
                  <a:pt x="1213" y="216"/>
                </a:cubicBezTo>
                <a:cubicBezTo>
                  <a:pt x="1214" y="216"/>
                  <a:pt x="1214" y="216"/>
                  <a:pt x="1214" y="216"/>
                </a:cubicBezTo>
                <a:cubicBezTo>
                  <a:pt x="1215" y="217"/>
                  <a:pt x="1215" y="217"/>
                  <a:pt x="1215" y="217"/>
                </a:cubicBezTo>
                <a:cubicBezTo>
                  <a:pt x="1217" y="218"/>
                  <a:pt x="1217" y="218"/>
                  <a:pt x="1217" y="218"/>
                </a:cubicBezTo>
                <a:cubicBezTo>
                  <a:pt x="1218" y="218"/>
                  <a:pt x="1218" y="218"/>
                  <a:pt x="1218" y="218"/>
                </a:cubicBezTo>
                <a:cubicBezTo>
                  <a:pt x="1218" y="217"/>
                  <a:pt x="1218" y="217"/>
                  <a:pt x="1218" y="217"/>
                </a:cubicBezTo>
                <a:cubicBezTo>
                  <a:pt x="1219" y="217"/>
                  <a:pt x="1219" y="217"/>
                  <a:pt x="1219" y="217"/>
                </a:cubicBezTo>
                <a:cubicBezTo>
                  <a:pt x="1219" y="217"/>
                  <a:pt x="1219" y="217"/>
                  <a:pt x="1219" y="217"/>
                </a:cubicBezTo>
                <a:cubicBezTo>
                  <a:pt x="1219" y="219"/>
                  <a:pt x="1219" y="219"/>
                  <a:pt x="1219" y="219"/>
                </a:cubicBezTo>
                <a:cubicBezTo>
                  <a:pt x="1220" y="219"/>
                  <a:pt x="1220" y="219"/>
                  <a:pt x="1220" y="219"/>
                </a:cubicBezTo>
                <a:cubicBezTo>
                  <a:pt x="1221" y="218"/>
                  <a:pt x="1221" y="218"/>
                  <a:pt x="1221" y="218"/>
                </a:cubicBezTo>
                <a:cubicBezTo>
                  <a:pt x="1223" y="216"/>
                  <a:pt x="1223" y="216"/>
                  <a:pt x="1223" y="216"/>
                </a:cubicBezTo>
                <a:cubicBezTo>
                  <a:pt x="1224" y="215"/>
                  <a:pt x="1224" y="215"/>
                  <a:pt x="1224" y="215"/>
                </a:cubicBezTo>
                <a:cubicBezTo>
                  <a:pt x="1223" y="215"/>
                  <a:pt x="1223" y="215"/>
                  <a:pt x="1223" y="215"/>
                </a:cubicBezTo>
                <a:cubicBezTo>
                  <a:pt x="1224" y="213"/>
                  <a:pt x="1224" y="213"/>
                  <a:pt x="1224" y="213"/>
                </a:cubicBezTo>
                <a:cubicBezTo>
                  <a:pt x="1224" y="213"/>
                  <a:pt x="1224" y="213"/>
                  <a:pt x="1224" y="213"/>
                </a:cubicBezTo>
                <a:cubicBezTo>
                  <a:pt x="1225" y="212"/>
                  <a:pt x="1225" y="212"/>
                  <a:pt x="1225" y="212"/>
                </a:cubicBezTo>
                <a:cubicBezTo>
                  <a:pt x="1225" y="213"/>
                  <a:pt x="1225" y="213"/>
                  <a:pt x="1225" y="213"/>
                </a:cubicBezTo>
                <a:cubicBezTo>
                  <a:pt x="1225" y="214"/>
                  <a:pt x="1225" y="214"/>
                  <a:pt x="1225" y="214"/>
                </a:cubicBezTo>
                <a:cubicBezTo>
                  <a:pt x="1226" y="214"/>
                  <a:pt x="1226" y="214"/>
                  <a:pt x="1226" y="214"/>
                </a:cubicBezTo>
                <a:cubicBezTo>
                  <a:pt x="1227" y="214"/>
                  <a:pt x="1227" y="214"/>
                  <a:pt x="1227" y="214"/>
                </a:cubicBezTo>
                <a:cubicBezTo>
                  <a:pt x="1228" y="212"/>
                  <a:pt x="1228" y="212"/>
                  <a:pt x="1228" y="212"/>
                </a:cubicBezTo>
                <a:cubicBezTo>
                  <a:pt x="1229" y="210"/>
                  <a:pt x="1229" y="210"/>
                  <a:pt x="1229" y="210"/>
                </a:cubicBezTo>
                <a:cubicBezTo>
                  <a:pt x="1229" y="209"/>
                  <a:pt x="1229" y="209"/>
                  <a:pt x="1229" y="209"/>
                </a:cubicBezTo>
                <a:cubicBezTo>
                  <a:pt x="1229" y="208"/>
                  <a:pt x="1229" y="208"/>
                  <a:pt x="1229" y="208"/>
                </a:cubicBezTo>
                <a:cubicBezTo>
                  <a:pt x="1231" y="205"/>
                  <a:pt x="1231" y="205"/>
                  <a:pt x="1231" y="205"/>
                </a:cubicBezTo>
                <a:cubicBezTo>
                  <a:pt x="1233" y="205"/>
                  <a:pt x="1233" y="205"/>
                  <a:pt x="1233" y="205"/>
                </a:cubicBezTo>
                <a:cubicBezTo>
                  <a:pt x="1233" y="204"/>
                  <a:pt x="1233" y="204"/>
                  <a:pt x="1233" y="204"/>
                </a:cubicBezTo>
                <a:cubicBezTo>
                  <a:pt x="1233" y="203"/>
                  <a:pt x="1233" y="203"/>
                  <a:pt x="1233" y="203"/>
                </a:cubicBezTo>
                <a:cubicBezTo>
                  <a:pt x="1233" y="202"/>
                  <a:pt x="1233" y="202"/>
                  <a:pt x="1233" y="202"/>
                </a:cubicBezTo>
                <a:cubicBezTo>
                  <a:pt x="1233" y="202"/>
                  <a:pt x="1233" y="202"/>
                  <a:pt x="1233" y="202"/>
                </a:cubicBezTo>
                <a:cubicBezTo>
                  <a:pt x="1234" y="202"/>
                  <a:pt x="1234" y="202"/>
                  <a:pt x="1234" y="202"/>
                </a:cubicBezTo>
                <a:cubicBezTo>
                  <a:pt x="1235" y="202"/>
                  <a:pt x="1235" y="202"/>
                  <a:pt x="1235" y="202"/>
                </a:cubicBezTo>
                <a:cubicBezTo>
                  <a:pt x="1235" y="202"/>
                  <a:pt x="1235" y="202"/>
                  <a:pt x="1235" y="202"/>
                </a:cubicBezTo>
                <a:cubicBezTo>
                  <a:pt x="1236" y="201"/>
                  <a:pt x="1236" y="201"/>
                  <a:pt x="1236" y="201"/>
                </a:cubicBezTo>
                <a:cubicBezTo>
                  <a:pt x="1236" y="200"/>
                  <a:pt x="1236" y="200"/>
                  <a:pt x="1236" y="200"/>
                </a:cubicBezTo>
                <a:cubicBezTo>
                  <a:pt x="1235" y="199"/>
                  <a:pt x="1235" y="199"/>
                  <a:pt x="1235" y="199"/>
                </a:cubicBezTo>
                <a:cubicBezTo>
                  <a:pt x="1236" y="200"/>
                  <a:pt x="1236" y="200"/>
                  <a:pt x="1236" y="200"/>
                </a:cubicBezTo>
                <a:cubicBezTo>
                  <a:pt x="1237" y="201"/>
                  <a:pt x="1237" y="201"/>
                  <a:pt x="1237" y="201"/>
                </a:cubicBezTo>
                <a:cubicBezTo>
                  <a:pt x="1237" y="200"/>
                  <a:pt x="1237" y="200"/>
                  <a:pt x="1237" y="200"/>
                </a:cubicBezTo>
                <a:cubicBezTo>
                  <a:pt x="1237" y="199"/>
                  <a:pt x="1237" y="199"/>
                  <a:pt x="1237" y="199"/>
                </a:cubicBezTo>
                <a:cubicBezTo>
                  <a:pt x="1237" y="197"/>
                  <a:pt x="1237" y="197"/>
                  <a:pt x="1237" y="197"/>
                </a:cubicBezTo>
                <a:cubicBezTo>
                  <a:pt x="1238" y="197"/>
                  <a:pt x="1238" y="197"/>
                  <a:pt x="1238" y="197"/>
                </a:cubicBezTo>
                <a:cubicBezTo>
                  <a:pt x="1240" y="197"/>
                  <a:pt x="1240" y="197"/>
                  <a:pt x="1240" y="197"/>
                </a:cubicBezTo>
                <a:cubicBezTo>
                  <a:pt x="1240" y="195"/>
                  <a:pt x="1240" y="195"/>
                  <a:pt x="1240" y="195"/>
                </a:cubicBezTo>
                <a:cubicBezTo>
                  <a:pt x="1239" y="195"/>
                  <a:pt x="1239" y="195"/>
                  <a:pt x="1239" y="195"/>
                </a:cubicBezTo>
                <a:cubicBezTo>
                  <a:pt x="1240" y="194"/>
                  <a:pt x="1240" y="194"/>
                  <a:pt x="1240" y="194"/>
                </a:cubicBezTo>
                <a:cubicBezTo>
                  <a:pt x="1241" y="194"/>
                  <a:pt x="1241" y="194"/>
                  <a:pt x="1241" y="194"/>
                </a:cubicBezTo>
                <a:cubicBezTo>
                  <a:pt x="1242" y="194"/>
                  <a:pt x="1242" y="194"/>
                  <a:pt x="1242" y="194"/>
                </a:cubicBezTo>
                <a:cubicBezTo>
                  <a:pt x="1243" y="192"/>
                  <a:pt x="1243" y="192"/>
                  <a:pt x="1243" y="192"/>
                </a:cubicBezTo>
                <a:cubicBezTo>
                  <a:pt x="1245" y="191"/>
                  <a:pt x="1245" y="191"/>
                  <a:pt x="1245" y="191"/>
                </a:cubicBezTo>
                <a:cubicBezTo>
                  <a:pt x="1246" y="191"/>
                  <a:pt x="1246" y="191"/>
                  <a:pt x="1246" y="191"/>
                </a:cubicBezTo>
                <a:cubicBezTo>
                  <a:pt x="1246" y="192"/>
                  <a:pt x="1246" y="192"/>
                  <a:pt x="1246" y="192"/>
                </a:cubicBezTo>
                <a:cubicBezTo>
                  <a:pt x="1247" y="191"/>
                  <a:pt x="1247" y="191"/>
                  <a:pt x="1247" y="191"/>
                </a:cubicBezTo>
                <a:cubicBezTo>
                  <a:pt x="1248" y="190"/>
                  <a:pt x="1248" y="190"/>
                  <a:pt x="1248" y="190"/>
                </a:cubicBezTo>
                <a:cubicBezTo>
                  <a:pt x="1249" y="188"/>
                  <a:pt x="1249" y="188"/>
                  <a:pt x="1249" y="188"/>
                </a:cubicBezTo>
                <a:cubicBezTo>
                  <a:pt x="1249" y="186"/>
                  <a:pt x="1249" y="186"/>
                  <a:pt x="1249" y="186"/>
                </a:cubicBezTo>
                <a:cubicBezTo>
                  <a:pt x="1247" y="185"/>
                  <a:pt x="1247" y="185"/>
                  <a:pt x="1247" y="185"/>
                </a:cubicBezTo>
                <a:cubicBezTo>
                  <a:pt x="1247" y="185"/>
                  <a:pt x="1247" y="185"/>
                  <a:pt x="1247" y="185"/>
                </a:cubicBezTo>
                <a:cubicBezTo>
                  <a:pt x="1248" y="184"/>
                  <a:pt x="1248" y="184"/>
                  <a:pt x="1248" y="184"/>
                </a:cubicBezTo>
                <a:cubicBezTo>
                  <a:pt x="1248" y="182"/>
                  <a:pt x="1248" y="182"/>
                  <a:pt x="1248" y="182"/>
                </a:cubicBezTo>
                <a:cubicBezTo>
                  <a:pt x="1247" y="181"/>
                  <a:pt x="1247" y="181"/>
                  <a:pt x="1247" y="181"/>
                </a:cubicBezTo>
                <a:cubicBezTo>
                  <a:pt x="1246" y="180"/>
                  <a:pt x="1246" y="180"/>
                  <a:pt x="1246" y="180"/>
                </a:cubicBezTo>
                <a:cubicBezTo>
                  <a:pt x="1246" y="178"/>
                  <a:pt x="1246" y="178"/>
                  <a:pt x="1246" y="178"/>
                </a:cubicBezTo>
                <a:cubicBezTo>
                  <a:pt x="1245" y="177"/>
                  <a:pt x="1245" y="177"/>
                  <a:pt x="1245" y="177"/>
                </a:cubicBezTo>
                <a:cubicBezTo>
                  <a:pt x="1245" y="176"/>
                  <a:pt x="1245" y="176"/>
                  <a:pt x="1245" y="176"/>
                </a:cubicBezTo>
                <a:cubicBezTo>
                  <a:pt x="1246" y="176"/>
                  <a:pt x="1246" y="176"/>
                  <a:pt x="1246" y="176"/>
                </a:cubicBezTo>
                <a:cubicBezTo>
                  <a:pt x="1247" y="176"/>
                  <a:pt x="1247" y="176"/>
                  <a:pt x="1247" y="176"/>
                </a:cubicBezTo>
                <a:cubicBezTo>
                  <a:pt x="1247" y="178"/>
                  <a:pt x="1247" y="178"/>
                  <a:pt x="1247" y="178"/>
                </a:cubicBezTo>
                <a:cubicBezTo>
                  <a:pt x="1248" y="179"/>
                  <a:pt x="1248" y="179"/>
                  <a:pt x="1248" y="179"/>
                </a:cubicBezTo>
                <a:cubicBezTo>
                  <a:pt x="1248" y="181"/>
                  <a:pt x="1248" y="181"/>
                  <a:pt x="1248" y="181"/>
                </a:cubicBezTo>
                <a:cubicBezTo>
                  <a:pt x="1249" y="183"/>
                  <a:pt x="1249" y="183"/>
                  <a:pt x="1249" y="183"/>
                </a:cubicBezTo>
                <a:cubicBezTo>
                  <a:pt x="1250" y="183"/>
                  <a:pt x="1250" y="183"/>
                  <a:pt x="1250" y="183"/>
                </a:cubicBezTo>
                <a:cubicBezTo>
                  <a:pt x="1251" y="184"/>
                  <a:pt x="1251" y="184"/>
                  <a:pt x="1251" y="184"/>
                </a:cubicBezTo>
                <a:cubicBezTo>
                  <a:pt x="1251" y="185"/>
                  <a:pt x="1251" y="185"/>
                  <a:pt x="1251" y="185"/>
                </a:cubicBezTo>
                <a:cubicBezTo>
                  <a:pt x="1251" y="187"/>
                  <a:pt x="1251" y="187"/>
                  <a:pt x="1251" y="187"/>
                </a:cubicBezTo>
                <a:cubicBezTo>
                  <a:pt x="1253" y="188"/>
                  <a:pt x="1253" y="188"/>
                  <a:pt x="1253" y="188"/>
                </a:cubicBezTo>
                <a:cubicBezTo>
                  <a:pt x="1254" y="188"/>
                  <a:pt x="1254" y="188"/>
                  <a:pt x="1254" y="188"/>
                </a:cubicBezTo>
                <a:cubicBezTo>
                  <a:pt x="1254" y="187"/>
                  <a:pt x="1254" y="187"/>
                  <a:pt x="1254" y="187"/>
                </a:cubicBezTo>
                <a:cubicBezTo>
                  <a:pt x="1255" y="186"/>
                  <a:pt x="1255" y="186"/>
                  <a:pt x="1255" y="186"/>
                </a:cubicBezTo>
                <a:cubicBezTo>
                  <a:pt x="1255" y="186"/>
                  <a:pt x="1255" y="186"/>
                  <a:pt x="1255" y="186"/>
                </a:cubicBezTo>
                <a:cubicBezTo>
                  <a:pt x="1256" y="187"/>
                  <a:pt x="1256" y="187"/>
                  <a:pt x="1256" y="187"/>
                </a:cubicBezTo>
                <a:cubicBezTo>
                  <a:pt x="1258" y="188"/>
                  <a:pt x="1258" y="188"/>
                  <a:pt x="1258" y="188"/>
                </a:cubicBezTo>
                <a:cubicBezTo>
                  <a:pt x="1259" y="187"/>
                  <a:pt x="1259" y="187"/>
                  <a:pt x="1259" y="187"/>
                </a:cubicBezTo>
                <a:cubicBezTo>
                  <a:pt x="1260" y="186"/>
                  <a:pt x="1260" y="186"/>
                  <a:pt x="1260" y="186"/>
                </a:cubicBezTo>
                <a:cubicBezTo>
                  <a:pt x="1261" y="187"/>
                  <a:pt x="1261" y="187"/>
                  <a:pt x="1261" y="187"/>
                </a:cubicBezTo>
                <a:cubicBezTo>
                  <a:pt x="1262" y="187"/>
                  <a:pt x="1262" y="187"/>
                  <a:pt x="1262" y="187"/>
                </a:cubicBezTo>
                <a:cubicBezTo>
                  <a:pt x="1263" y="186"/>
                  <a:pt x="1263" y="186"/>
                  <a:pt x="1263" y="186"/>
                </a:cubicBezTo>
                <a:cubicBezTo>
                  <a:pt x="1263" y="185"/>
                  <a:pt x="1263" y="185"/>
                  <a:pt x="1263" y="185"/>
                </a:cubicBezTo>
                <a:cubicBezTo>
                  <a:pt x="1264" y="185"/>
                  <a:pt x="1264" y="185"/>
                  <a:pt x="1264" y="185"/>
                </a:cubicBezTo>
                <a:cubicBezTo>
                  <a:pt x="1264" y="184"/>
                  <a:pt x="1264" y="184"/>
                  <a:pt x="1264" y="184"/>
                </a:cubicBezTo>
                <a:cubicBezTo>
                  <a:pt x="1265" y="183"/>
                  <a:pt x="1265" y="183"/>
                  <a:pt x="1265" y="183"/>
                </a:cubicBezTo>
                <a:cubicBezTo>
                  <a:pt x="1266" y="184"/>
                  <a:pt x="1266" y="184"/>
                  <a:pt x="1266" y="184"/>
                </a:cubicBezTo>
                <a:cubicBezTo>
                  <a:pt x="1268" y="186"/>
                  <a:pt x="1268" y="186"/>
                  <a:pt x="1268" y="186"/>
                </a:cubicBezTo>
                <a:cubicBezTo>
                  <a:pt x="1269" y="187"/>
                  <a:pt x="1269" y="187"/>
                  <a:pt x="1269" y="187"/>
                </a:cubicBezTo>
                <a:cubicBezTo>
                  <a:pt x="1270" y="187"/>
                  <a:pt x="1270" y="187"/>
                  <a:pt x="1270" y="187"/>
                </a:cubicBezTo>
                <a:cubicBezTo>
                  <a:pt x="1270" y="186"/>
                  <a:pt x="1270" y="186"/>
                  <a:pt x="1270" y="186"/>
                </a:cubicBezTo>
                <a:cubicBezTo>
                  <a:pt x="1271" y="186"/>
                  <a:pt x="1271" y="186"/>
                  <a:pt x="1271" y="186"/>
                </a:cubicBezTo>
                <a:cubicBezTo>
                  <a:pt x="1272" y="184"/>
                  <a:pt x="1272" y="184"/>
                  <a:pt x="1272" y="184"/>
                </a:cubicBezTo>
                <a:cubicBezTo>
                  <a:pt x="1272" y="184"/>
                  <a:pt x="1272" y="184"/>
                  <a:pt x="1272" y="184"/>
                </a:cubicBezTo>
                <a:cubicBezTo>
                  <a:pt x="1273" y="184"/>
                  <a:pt x="1273" y="184"/>
                  <a:pt x="1273" y="184"/>
                </a:cubicBezTo>
                <a:cubicBezTo>
                  <a:pt x="1273" y="184"/>
                  <a:pt x="1273" y="184"/>
                  <a:pt x="1273" y="184"/>
                </a:cubicBezTo>
                <a:cubicBezTo>
                  <a:pt x="1274" y="183"/>
                  <a:pt x="1274" y="183"/>
                  <a:pt x="1274" y="183"/>
                </a:cubicBezTo>
                <a:cubicBezTo>
                  <a:pt x="1274" y="183"/>
                  <a:pt x="1274" y="183"/>
                  <a:pt x="1274" y="183"/>
                </a:cubicBezTo>
                <a:cubicBezTo>
                  <a:pt x="1275" y="184"/>
                  <a:pt x="1275" y="184"/>
                  <a:pt x="1275" y="184"/>
                </a:cubicBezTo>
                <a:cubicBezTo>
                  <a:pt x="1276" y="184"/>
                  <a:pt x="1276" y="184"/>
                  <a:pt x="1276" y="184"/>
                </a:cubicBezTo>
                <a:cubicBezTo>
                  <a:pt x="1276" y="183"/>
                  <a:pt x="1276" y="183"/>
                  <a:pt x="1276" y="183"/>
                </a:cubicBezTo>
                <a:cubicBezTo>
                  <a:pt x="1276" y="182"/>
                  <a:pt x="1276" y="182"/>
                  <a:pt x="1276" y="182"/>
                </a:cubicBezTo>
                <a:cubicBezTo>
                  <a:pt x="1277" y="182"/>
                  <a:pt x="1277" y="182"/>
                  <a:pt x="1277" y="182"/>
                </a:cubicBezTo>
                <a:cubicBezTo>
                  <a:pt x="1279" y="182"/>
                  <a:pt x="1279" y="182"/>
                  <a:pt x="1279" y="182"/>
                </a:cubicBezTo>
                <a:cubicBezTo>
                  <a:pt x="1280" y="181"/>
                  <a:pt x="1280" y="181"/>
                  <a:pt x="1280" y="181"/>
                </a:cubicBezTo>
                <a:cubicBezTo>
                  <a:pt x="1280" y="180"/>
                  <a:pt x="1280" y="180"/>
                  <a:pt x="1280" y="180"/>
                </a:cubicBezTo>
                <a:cubicBezTo>
                  <a:pt x="1280" y="180"/>
                  <a:pt x="1280" y="180"/>
                  <a:pt x="1280" y="180"/>
                </a:cubicBezTo>
                <a:cubicBezTo>
                  <a:pt x="1280" y="181"/>
                  <a:pt x="1280" y="181"/>
                  <a:pt x="1280" y="181"/>
                </a:cubicBezTo>
                <a:cubicBezTo>
                  <a:pt x="1281" y="182"/>
                  <a:pt x="1281" y="182"/>
                  <a:pt x="1281" y="182"/>
                </a:cubicBezTo>
                <a:cubicBezTo>
                  <a:pt x="1282" y="181"/>
                  <a:pt x="1282" y="181"/>
                  <a:pt x="1282" y="181"/>
                </a:cubicBezTo>
                <a:cubicBezTo>
                  <a:pt x="1283" y="179"/>
                  <a:pt x="1283" y="179"/>
                  <a:pt x="1283" y="179"/>
                </a:cubicBezTo>
                <a:cubicBezTo>
                  <a:pt x="1283" y="180"/>
                  <a:pt x="1283" y="180"/>
                  <a:pt x="1283" y="180"/>
                </a:cubicBezTo>
                <a:cubicBezTo>
                  <a:pt x="1284" y="181"/>
                  <a:pt x="1284" y="181"/>
                  <a:pt x="1284" y="181"/>
                </a:cubicBezTo>
                <a:cubicBezTo>
                  <a:pt x="1285" y="181"/>
                  <a:pt x="1285" y="181"/>
                  <a:pt x="1285" y="181"/>
                </a:cubicBezTo>
                <a:cubicBezTo>
                  <a:pt x="1286" y="179"/>
                  <a:pt x="1286" y="179"/>
                  <a:pt x="1286" y="179"/>
                </a:cubicBezTo>
                <a:cubicBezTo>
                  <a:pt x="1287" y="179"/>
                  <a:pt x="1287" y="179"/>
                  <a:pt x="1287" y="179"/>
                </a:cubicBezTo>
                <a:cubicBezTo>
                  <a:pt x="1287" y="180"/>
                  <a:pt x="1287" y="180"/>
                  <a:pt x="1287" y="180"/>
                </a:cubicBezTo>
                <a:cubicBezTo>
                  <a:pt x="1288" y="180"/>
                  <a:pt x="1288" y="180"/>
                  <a:pt x="1288" y="180"/>
                </a:cubicBezTo>
                <a:cubicBezTo>
                  <a:pt x="1289" y="180"/>
                  <a:pt x="1289" y="180"/>
                  <a:pt x="1289" y="180"/>
                </a:cubicBezTo>
                <a:cubicBezTo>
                  <a:pt x="1290" y="179"/>
                  <a:pt x="1290" y="179"/>
                  <a:pt x="1290" y="179"/>
                </a:cubicBezTo>
                <a:cubicBezTo>
                  <a:pt x="1291" y="179"/>
                  <a:pt x="1291" y="179"/>
                  <a:pt x="1291" y="179"/>
                </a:cubicBezTo>
                <a:cubicBezTo>
                  <a:pt x="1292" y="179"/>
                  <a:pt x="1292" y="179"/>
                  <a:pt x="1292" y="179"/>
                </a:cubicBezTo>
                <a:cubicBezTo>
                  <a:pt x="1294" y="178"/>
                  <a:pt x="1294" y="178"/>
                  <a:pt x="1294" y="178"/>
                </a:cubicBezTo>
                <a:cubicBezTo>
                  <a:pt x="1295" y="178"/>
                  <a:pt x="1295" y="178"/>
                  <a:pt x="1295" y="178"/>
                </a:cubicBezTo>
                <a:cubicBezTo>
                  <a:pt x="1296" y="179"/>
                  <a:pt x="1296" y="179"/>
                  <a:pt x="1296" y="179"/>
                </a:cubicBezTo>
                <a:cubicBezTo>
                  <a:pt x="1296" y="179"/>
                  <a:pt x="1296" y="179"/>
                  <a:pt x="1296" y="179"/>
                </a:cubicBezTo>
                <a:cubicBezTo>
                  <a:pt x="1297" y="177"/>
                  <a:pt x="1297" y="177"/>
                  <a:pt x="1297" y="177"/>
                </a:cubicBezTo>
                <a:cubicBezTo>
                  <a:pt x="1298" y="176"/>
                  <a:pt x="1298" y="176"/>
                  <a:pt x="1298" y="176"/>
                </a:cubicBezTo>
                <a:cubicBezTo>
                  <a:pt x="1300" y="176"/>
                  <a:pt x="1300" y="176"/>
                  <a:pt x="1300" y="176"/>
                </a:cubicBezTo>
                <a:cubicBezTo>
                  <a:pt x="1301" y="175"/>
                  <a:pt x="1301" y="175"/>
                  <a:pt x="1301" y="175"/>
                </a:cubicBezTo>
                <a:cubicBezTo>
                  <a:pt x="1302" y="175"/>
                  <a:pt x="1302" y="175"/>
                  <a:pt x="1302" y="175"/>
                </a:cubicBezTo>
                <a:cubicBezTo>
                  <a:pt x="1303" y="174"/>
                  <a:pt x="1303" y="174"/>
                  <a:pt x="1303" y="174"/>
                </a:cubicBezTo>
                <a:cubicBezTo>
                  <a:pt x="1303" y="173"/>
                  <a:pt x="1303" y="173"/>
                  <a:pt x="1303" y="173"/>
                </a:cubicBezTo>
                <a:cubicBezTo>
                  <a:pt x="1303" y="172"/>
                  <a:pt x="1303" y="172"/>
                  <a:pt x="1303" y="172"/>
                </a:cubicBezTo>
                <a:cubicBezTo>
                  <a:pt x="1303" y="171"/>
                  <a:pt x="1303" y="171"/>
                  <a:pt x="1303" y="171"/>
                </a:cubicBezTo>
                <a:lnTo>
                  <a:pt x="1304" y="171"/>
                </a:lnTo>
                <a:close/>
                <a:moveTo>
                  <a:pt x="1370" y="3"/>
                </a:moveTo>
                <a:cubicBezTo>
                  <a:pt x="1370" y="2"/>
                  <a:pt x="1370" y="2"/>
                  <a:pt x="1370" y="2"/>
                </a:cubicBezTo>
                <a:cubicBezTo>
                  <a:pt x="1371" y="3"/>
                  <a:pt x="1371" y="3"/>
                  <a:pt x="1371" y="3"/>
                </a:cubicBezTo>
                <a:cubicBezTo>
                  <a:pt x="1372" y="4"/>
                  <a:pt x="1372" y="4"/>
                  <a:pt x="1372" y="4"/>
                </a:cubicBezTo>
                <a:cubicBezTo>
                  <a:pt x="1374" y="5"/>
                  <a:pt x="1374" y="5"/>
                  <a:pt x="1374" y="5"/>
                </a:cubicBezTo>
                <a:cubicBezTo>
                  <a:pt x="1375" y="6"/>
                  <a:pt x="1375" y="6"/>
                  <a:pt x="1375" y="6"/>
                </a:cubicBezTo>
                <a:cubicBezTo>
                  <a:pt x="1376" y="7"/>
                  <a:pt x="1376" y="7"/>
                  <a:pt x="1376" y="7"/>
                </a:cubicBezTo>
                <a:cubicBezTo>
                  <a:pt x="1376" y="6"/>
                  <a:pt x="1376" y="6"/>
                  <a:pt x="1376" y="6"/>
                </a:cubicBezTo>
                <a:cubicBezTo>
                  <a:pt x="1377" y="4"/>
                  <a:pt x="1377" y="4"/>
                  <a:pt x="1377" y="4"/>
                </a:cubicBezTo>
                <a:cubicBezTo>
                  <a:pt x="1377" y="3"/>
                  <a:pt x="1377" y="3"/>
                  <a:pt x="1377" y="3"/>
                </a:cubicBezTo>
                <a:cubicBezTo>
                  <a:pt x="1378" y="0"/>
                  <a:pt x="1378" y="0"/>
                  <a:pt x="1378" y="0"/>
                </a:cubicBezTo>
                <a:cubicBezTo>
                  <a:pt x="1368" y="0"/>
                  <a:pt x="1368" y="0"/>
                  <a:pt x="1368" y="0"/>
                </a:cubicBezTo>
                <a:cubicBezTo>
                  <a:pt x="1368" y="2"/>
                  <a:pt x="1368" y="2"/>
                  <a:pt x="1368" y="2"/>
                </a:cubicBezTo>
                <a:cubicBezTo>
                  <a:pt x="1368" y="2"/>
                  <a:pt x="1368" y="2"/>
                  <a:pt x="1368" y="2"/>
                </a:cubicBezTo>
                <a:lnTo>
                  <a:pt x="1370" y="3"/>
                </a:lnTo>
                <a:close/>
                <a:moveTo>
                  <a:pt x="3232" y="1495"/>
                </a:moveTo>
                <a:cubicBezTo>
                  <a:pt x="3231" y="1495"/>
                  <a:pt x="3231" y="1495"/>
                  <a:pt x="3231" y="1495"/>
                </a:cubicBezTo>
                <a:cubicBezTo>
                  <a:pt x="3232" y="1496"/>
                  <a:pt x="3232" y="1496"/>
                  <a:pt x="3232" y="1496"/>
                </a:cubicBezTo>
                <a:lnTo>
                  <a:pt x="3232" y="1495"/>
                </a:lnTo>
                <a:close/>
                <a:moveTo>
                  <a:pt x="3229" y="1505"/>
                </a:moveTo>
                <a:cubicBezTo>
                  <a:pt x="3230" y="1505"/>
                  <a:pt x="3230" y="1505"/>
                  <a:pt x="3230" y="1505"/>
                </a:cubicBezTo>
                <a:cubicBezTo>
                  <a:pt x="3230" y="1504"/>
                  <a:pt x="3230" y="1504"/>
                  <a:pt x="3230" y="1504"/>
                </a:cubicBezTo>
                <a:cubicBezTo>
                  <a:pt x="3229" y="1504"/>
                  <a:pt x="3229" y="1504"/>
                  <a:pt x="3229" y="1504"/>
                </a:cubicBezTo>
                <a:lnTo>
                  <a:pt x="3229" y="1505"/>
                </a:lnTo>
                <a:close/>
                <a:moveTo>
                  <a:pt x="1906" y="57"/>
                </a:moveTo>
                <a:cubicBezTo>
                  <a:pt x="1907" y="56"/>
                  <a:pt x="1907" y="56"/>
                  <a:pt x="1907" y="56"/>
                </a:cubicBezTo>
                <a:cubicBezTo>
                  <a:pt x="1907" y="55"/>
                  <a:pt x="1907" y="55"/>
                  <a:pt x="1907" y="55"/>
                </a:cubicBezTo>
                <a:cubicBezTo>
                  <a:pt x="1908" y="54"/>
                  <a:pt x="1908" y="54"/>
                  <a:pt x="1908" y="54"/>
                </a:cubicBezTo>
                <a:cubicBezTo>
                  <a:pt x="1911" y="52"/>
                  <a:pt x="1911" y="52"/>
                  <a:pt x="1911" y="52"/>
                </a:cubicBezTo>
                <a:cubicBezTo>
                  <a:pt x="1913" y="51"/>
                  <a:pt x="1913" y="51"/>
                  <a:pt x="1913" y="51"/>
                </a:cubicBezTo>
                <a:cubicBezTo>
                  <a:pt x="1915" y="52"/>
                  <a:pt x="1915" y="52"/>
                  <a:pt x="1915" y="52"/>
                </a:cubicBezTo>
                <a:cubicBezTo>
                  <a:pt x="1916" y="52"/>
                  <a:pt x="1916" y="52"/>
                  <a:pt x="1916" y="52"/>
                </a:cubicBezTo>
                <a:cubicBezTo>
                  <a:pt x="1916" y="53"/>
                  <a:pt x="1916" y="53"/>
                  <a:pt x="1916" y="53"/>
                </a:cubicBezTo>
                <a:cubicBezTo>
                  <a:pt x="1915" y="53"/>
                  <a:pt x="1915" y="53"/>
                  <a:pt x="1915" y="53"/>
                </a:cubicBezTo>
                <a:cubicBezTo>
                  <a:pt x="1914" y="52"/>
                  <a:pt x="1914" y="52"/>
                  <a:pt x="1914" y="52"/>
                </a:cubicBezTo>
                <a:cubicBezTo>
                  <a:pt x="1913" y="52"/>
                  <a:pt x="1913" y="52"/>
                  <a:pt x="1913" y="52"/>
                </a:cubicBezTo>
                <a:cubicBezTo>
                  <a:pt x="1912" y="54"/>
                  <a:pt x="1912" y="54"/>
                  <a:pt x="1912" y="54"/>
                </a:cubicBezTo>
                <a:cubicBezTo>
                  <a:pt x="1909" y="55"/>
                  <a:pt x="1909" y="55"/>
                  <a:pt x="1909" y="55"/>
                </a:cubicBezTo>
                <a:cubicBezTo>
                  <a:pt x="1908" y="57"/>
                  <a:pt x="1908" y="57"/>
                  <a:pt x="1908" y="57"/>
                </a:cubicBezTo>
                <a:cubicBezTo>
                  <a:pt x="1908" y="59"/>
                  <a:pt x="1908" y="59"/>
                  <a:pt x="1908" y="59"/>
                </a:cubicBezTo>
                <a:cubicBezTo>
                  <a:pt x="1908" y="60"/>
                  <a:pt x="1908" y="60"/>
                  <a:pt x="1908" y="60"/>
                </a:cubicBezTo>
                <a:cubicBezTo>
                  <a:pt x="1908" y="61"/>
                  <a:pt x="1908" y="61"/>
                  <a:pt x="1908" y="61"/>
                </a:cubicBezTo>
                <a:cubicBezTo>
                  <a:pt x="1908" y="61"/>
                  <a:pt x="1908" y="62"/>
                  <a:pt x="1908" y="62"/>
                </a:cubicBezTo>
                <a:cubicBezTo>
                  <a:pt x="1911" y="62"/>
                  <a:pt x="1911" y="62"/>
                  <a:pt x="1911" y="62"/>
                </a:cubicBezTo>
                <a:cubicBezTo>
                  <a:pt x="1914" y="61"/>
                  <a:pt x="1914" y="61"/>
                  <a:pt x="1914" y="61"/>
                </a:cubicBezTo>
                <a:cubicBezTo>
                  <a:pt x="1916" y="60"/>
                  <a:pt x="1916" y="60"/>
                  <a:pt x="1916" y="60"/>
                </a:cubicBezTo>
                <a:cubicBezTo>
                  <a:pt x="1918" y="60"/>
                  <a:pt x="1918" y="60"/>
                  <a:pt x="1918" y="60"/>
                </a:cubicBezTo>
                <a:cubicBezTo>
                  <a:pt x="1919" y="61"/>
                  <a:pt x="1919" y="61"/>
                  <a:pt x="1919" y="61"/>
                </a:cubicBezTo>
                <a:cubicBezTo>
                  <a:pt x="1921" y="62"/>
                  <a:pt x="1921" y="62"/>
                  <a:pt x="1921" y="62"/>
                </a:cubicBezTo>
                <a:cubicBezTo>
                  <a:pt x="1923" y="61"/>
                  <a:pt x="1923" y="61"/>
                  <a:pt x="1923" y="61"/>
                </a:cubicBezTo>
                <a:cubicBezTo>
                  <a:pt x="1922" y="60"/>
                  <a:pt x="1922" y="60"/>
                  <a:pt x="1922" y="60"/>
                </a:cubicBezTo>
                <a:cubicBezTo>
                  <a:pt x="1922" y="58"/>
                  <a:pt x="1922" y="58"/>
                  <a:pt x="1922" y="58"/>
                </a:cubicBezTo>
                <a:cubicBezTo>
                  <a:pt x="1923" y="59"/>
                  <a:pt x="1923" y="59"/>
                  <a:pt x="1923" y="59"/>
                </a:cubicBezTo>
                <a:cubicBezTo>
                  <a:pt x="1924" y="61"/>
                  <a:pt x="1924" y="61"/>
                  <a:pt x="1924" y="61"/>
                </a:cubicBezTo>
                <a:cubicBezTo>
                  <a:pt x="1926" y="61"/>
                  <a:pt x="1926" y="61"/>
                  <a:pt x="1926" y="61"/>
                </a:cubicBezTo>
                <a:cubicBezTo>
                  <a:pt x="1928" y="61"/>
                  <a:pt x="1928" y="61"/>
                  <a:pt x="1928" y="61"/>
                </a:cubicBezTo>
                <a:cubicBezTo>
                  <a:pt x="1929" y="60"/>
                  <a:pt x="1929" y="60"/>
                  <a:pt x="1929" y="60"/>
                </a:cubicBezTo>
                <a:cubicBezTo>
                  <a:pt x="1930" y="60"/>
                  <a:pt x="1930" y="60"/>
                  <a:pt x="1930" y="60"/>
                </a:cubicBezTo>
                <a:cubicBezTo>
                  <a:pt x="1932" y="57"/>
                  <a:pt x="1932" y="57"/>
                  <a:pt x="1932" y="57"/>
                </a:cubicBezTo>
                <a:cubicBezTo>
                  <a:pt x="1931" y="55"/>
                  <a:pt x="1931" y="55"/>
                  <a:pt x="1931" y="55"/>
                </a:cubicBezTo>
                <a:cubicBezTo>
                  <a:pt x="1933" y="53"/>
                  <a:pt x="1933" y="53"/>
                  <a:pt x="1933" y="53"/>
                </a:cubicBezTo>
                <a:cubicBezTo>
                  <a:pt x="1933" y="51"/>
                  <a:pt x="1933" y="51"/>
                  <a:pt x="1933" y="51"/>
                </a:cubicBezTo>
                <a:cubicBezTo>
                  <a:pt x="1932" y="50"/>
                  <a:pt x="1932" y="50"/>
                  <a:pt x="1932" y="50"/>
                </a:cubicBezTo>
                <a:cubicBezTo>
                  <a:pt x="1930" y="48"/>
                  <a:pt x="1930" y="48"/>
                  <a:pt x="1930" y="48"/>
                </a:cubicBezTo>
                <a:cubicBezTo>
                  <a:pt x="1929" y="47"/>
                  <a:pt x="1929" y="47"/>
                  <a:pt x="1929" y="47"/>
                </a:cubicBezTo>
                <a:cubicBezTo>
                  <a:pt x="1927" y="47"/>
                  <a:pt x="1927" y="47"/>
                  <a:pt x="1927" y="47"/>
                </a:cubicBezTo>
                <a:cubicBezTo>
                  <a:pt x="1926" y="46"/>
                  <a:pt x="1926" y="46"/>
                  <a:pt x="1926" y="46"/>
                </a:cubicBezTo>
                <a:cubicBezTo>
                  <a:pt x="1928" y="46"/>
                  <a:pt x="1928" y="46"/>
                  <a:pt x="1928" y="46"/>
                </a:cubicBezTo>
                <a:cubicBezTo>
                  <a:pt x="1929" y="46"/>
                  <a:pt x="1929" y="46"/>
                  <a:pt x="1929" y="46"/>
                </a:cubicBezTo>
                <a:cubicBezTo>
                  <a:pt x="1931" y="46"/>
                  <a:pt x="1931" y="46"/>
                  <a:pt x="1931" y="46"/>
                </a:cubicBezTo>
                <a:cubicBezTo>
                  <a:pt x="1932" y="47"/>
                  <a:pt x="1932" y="47"/>
                  <a:pt x="1932" y="47"/>
                </a:cubicBezTo>
                <a:cubicBezTo>
                  <a:pt x="1932" y="48"/>
                  <a:pt x="1932" y="48"/>
                  <a:pt x="1932" y="48"/>
                </a:cubicBezTo>
                <a:cubicBezTo>
                  <a:pt x="1933" y="49"/>
                  <a:pt x="1933" y="49"/>
                  <a:pt x="1933" y="49"/>
                </a:cubicBezTo>
                <a:cubicBezTo>
                  <a:pt x="1934" y="48"/>
                  <a:pt x="1934" y="48"/>
                  <a:pt x="1934" y="48"/>
                </a:cubicBezTo>
                <a:cubicBezTo>
                  <a:pt x="1933" y="45"/>
                  <a:pt x="1933" y="45"/>
                  <a:pt x="1933" y="45"/>
                </a:cubicBezTo>
                <a:cubicBezTo>
                  <a:pt x="1931" y="42"/>
                  <a:pt x="1931" y="42"/>
                  <a:pt x="1931" y="42"/>
                </a:cubicBezTo>
                <a:cubicBezTo>
                  <a:pt x="1929" y="39"/>
                  <a:pt x="1929" y="39"/>
                  <a:pt x="1929" y="39"/>
                </a:cubicBezTo>
                <a:cubicBezTo>
                  <a:pt x="1929" y="38"/>
                  <a:pt x="1929" y="38"/>
                  <a:pt x="1929" y="38"/>
                </a:cubicBezTo>
                <a:cubicBezTo>
                  <a:pt x="1931" y="40"/>
                  <a:pt x="1931" y="40"/>
                  <a:pt x="1931" y="40"/>
                </a:cubicBezTo>
                <a:cubicBezTo>
                  <a:pt x="1931" y="41"/>
                  <a:pt x="1931" y="41"/>
                  <a:pt x="1931" y="41"/>
                </a:cubicBezTo>
                <a:cubicBezTo>
                  <a:pt x="1933" y="42"/>
                  <a:pt x="1933" y="42"/>
                  <a:pt x="1933" y="42"/>
                </a:cubicBezTo>
                <a:cubicBezTo>
                  <a:pt x="1935" y="42"/>
                  <a:pt x="1935" y="42"/>
                  <a:pt x="1935" y="42"/>
                </a:cubicBezTo>
                <a:cubicBezTo>
                  <a:pt x="1935" y="41"/>
                  <a:pt x="1935" y="41"/>
                  <a:pt x="1935" y="41"/>
                </a:cubicBezTo>
                <a:cubicBezTo>
                  <a:pt x="1935" y="40"/>
                  <a:pt x="1935" y="40"/>
                  <a:pt x="1935" y="40"/>
                </a:cubicBezTo>
                <a:cubicBezTo>
                  <a:pt x="1934" y="39"/>
                  <a:pt x="1934" y="39"/>
                  <a:pt x="1934" y="39"/>
                </a:cubicBezTo>
                <a:cubicBezTo>
                  <a:pt x="1934" y="38"/>
                  <a:pt x="1934" y="38"/>
                  <a:pt x="1934" y="38"/>
                </a:cubicBezTo>
                <a:cubicBezTo>
                  <a:pt x="1935" y="36"/>
                  <a:pt x="1935" y="36"/>
                  <a:pt x="1935" y="36"/>
                </a:cubicBezTo>
                <a:cubicBezTo>
                  <a:pt x="1935" y="34"/>
                  <a:pt x="1935" y="34"/>
                  <a:pt x="1935" y="34"/>
                </a:cubicBezTo>
                <a:cubicBezTo>
                  <a:pt x="1934" y="32"/>
                  <a:pt x="1934" y="32"/>
                  <a:pt x="1934" y="32"/>
                </a:cubicBezTo>
                <a:cubicBezTo>
                  <a:pt x="1932" y="29"/>
                  <a:pt x="1932" y="29"/>
                  <a:pt x="1932" y="29"/>
                </a:cubicBezTo>
                <a:cubicBezTo>
                  <a:pt x="1933" y="29"/>
                  <a:pt x="1933" y="29"/>
                  <a:pt x="1933" y="29"/>
                </a:cubicBezTo>
                <a:cubicBezTo>
                  <a:pt x="1935" y="31"/>
                  <a:pt x="1935" y="31"/>
                  <a:pt x="1935" y="31"/>
                </a:cubicBezTo>
                <a:cubicBezTo>
                  <a:pt x="1936" y="30"/>
                  <a:pt x="1936" y="30"/>
                  <a:pt x="1936" y="30"/>
                </a:cubicBezTo>
                <a:cubicBezTo>
                  <a:pt x="1937" y="28"/>
                  <a:pt x="1937" y="28"/>
                  <a:pt x="1937" y="28"/>
                </a:cubicBezTo>
                <a:cubicBezTo>
                  <a:pt x="1936" y="28"/>
                  <a:pt x="1936" y="28"/>
                  <a:pt x="1936" y="28"/>
                </a:cubicBezTo>
                <a:cubicBezTo>
                  <a:pt x="1935" y="28"/>
                  <a:pt x="1935" y="28"/>
                  <a:pt x="1935" y="28"/>
                </a:cubicBezTo>
                <a:cubicBezTo>
                  <a:pt x="1935" y="25"/>
                  <a:pt x="1935" y="25"/>
                  <a:pt x="1935" y="25"/>
                </a:cubicBezTo>
                <a:cubicBezTo>
                  <a:pt x="1936" y="25"/>
                  <a:pt x="1936" y="25"/>
                  <a:pt x="1936" y="25"/>
                </a:cubicBezTo>
                <a:cubicBezTo>
                  <a:pt x="1938" y="26"/>
                  <a:pt x="1938" y="26"/>
                  <a:pt x="1938" y="26"/>
                </a:cubicBezTo>
                <a:cubicBezTo>
                  <a:pt x="1941" y="27"/>
                  <a:pt x="1941" y="27"/>
                  <a:pt x="1941" y="27"/>
                </a:cubicBezTo>
                <a:cubicBezTo>
                  <a:pt x="1942" y="26"/>
                  <a:pt x="1942" y="26"/>
                  <a:pt x="1942" y="26"/>
                </a:cubicBezTo>
                <a:cubicBezTo>
                  <a:pt x="1940" y="25"/>
                  <a:pt x="1940" y="25"/>
                  <a:pt x="1940" y="25"/>
                </a:cubicBezTo>
                <a:cubicBezTo>
                  <a:pt x="1940" y="24"/>
                  <a:pt x="1940" y="24"/>
                  <a:pt x="1940" y="24"/>
                </a:cubicBezTo>
                <a:cubicBezTo>
                  <a:pt x="1942" y="24"/>
                  <a:pt x="1942" y="24"/>
                  <a:pt x="1942" y="24"/>
                </a:cubicBezTo>
                <a:cubicBezTo>
                  <a:pt x="1943" y="24"/>
                  <a:pt x="1943" y="24"/>
                  <a:pt x="1943" y="24"/>
                </a:cubicBezTo>
                <a:cubicBezTo>
                  <a:pt x="1944" y="23"/>
                  <a:pt x="1944" y="23"/>
                  <a:pt x="1944" y="23"/>
                </a:cubicBezTo>
                <a:cubicBezTo>
                  <a:pt x="1944" y="21"/>
                  <a:pt x="1944" y="21"/>
                  <a:pt x="1944" y="21"/>
                </a:cubicBezTo>
                <a:cubicBezTo>
                  <a:pt x="1944" y="20"/>
                  <a:pt x="1944" y="20"/>
                  <a:pt x="1944" y="20"/>
                </a:cubicBezTo>
                <a:cubicBezTo>
                  <a:pt x="1944" y="19"/>
                  <a:pt x="1944" y="19"/>
                  <a:pt x="1944" y="19"/>
                </a:cubicBezTo>
                <a:cubicBezTo>
                  <a:pt x="1947" y="18"/>
                  <a:pt x="1947" y="18"/>
                  <a:pt x="1947" y="18"/>
                </a:cubicBezTo>
                <a:cubicBezTo>
                  <a:pt x="1947" y="17"/>
                  <a:pt x="1947" y="17"/>
                  <a:pt x="1947" y="17"/>
                </a:cubicBezTo>
                <a:cubicBezTo>
                  <a:pt x="1945" y="16"/>
                  <a:pt x="1945" y="16"/>
                  <a:pt x="1945" y="16"/>
                </a:cubicBezTo>
                <a:cubicBezTo>
                  <a:pt x="1945" y="14"/>
                  <a:pt x="1945" y="14"/>
                  <a:pt x="1945" y="14"/>
                </a:cubicBezTo>
                <a:cubicBezTo>
                  <a:pt x="1946" y="12"/>
                  <a:pt x="1946" y="12"/>
                  <a:pt x="1946" y="12"/>
                </a:cubicBezTo>
                <a:cubicBezTo>
                  <a:pt x="1947" y="14"/>
                  <a:pt x="1947" y="14"/>
                  <a:pt x="1947" y="14"/>
                </a:cubicBezTo>
                <a:cubicBezTo>
                  <a:pt x="1948" y="13"/>
                  <a:pt x="1948" y="13"/>
                  <a:pt x="1948" y="13"/>
                </a:cubicBezTo>
                <a:cubicBezTo>
                  <a:pt x="1951" y="10"/>
                  <a:pt x="1951" y="10"/>
                  <a:pt x="1951" y="10"/>
                </a:cubicBezTo>
                <a:cubicBezTo>
                  <a:pt x="1951" y="7"/>
                  <a:pt x="1951" y="7"/>
                  <a:pt x="1951" y="7"/>
                </a:cubicBezTo>
                <a:cubicBezTo>
                  <a:pt x="1953" y="6"/>
                  <a:pt x="1953" y="6"/>
                  <a:pt x="1953" y="6"/>
                </a:cubicBezTo>
                <a:cubicBezTo>
                  <a:pt x="1953" y="4"/>
                  <a:pt x="1953" y="4"/>
                  <a:pt x="1953" y="4"/>
                </a:cubicBezTo>
                <a:cubicBezTo>
                  <a:pt x="1956" y="2"/>
                  <a:pt x="1956" y="2"/>
                  <a:pt x="1956" y="2"/>
                </a:cubicBezTo>
                <a:cubicBezTo>
                  <a:pt x="1957" y="0"/>
                  <a:pt x="1957" y="0"/>
                  <a:pt x="1957" y="0"/>
                </a:cubicBezTo>
                <a:cubicBezTo>
                  <a:pt x="1921" y="0"/>
                  <a:pt x="1921" y="0"/>
                  <a:pt x="1921" y="0"/>
                </a:cubicBezTo>
                <a:cubicBezTo>
                  <a:pt x="1921" y="1"/>
                  <a:pt x="1921" y="1"/>
                  <a:pt x="1921" y="1"/>
                </a:cubicBezTo>
                <a:cubicBezTo>
                  <a:pt x="1922" y="2"/>
                  <a:pt x="1922" y="2"/>
                  <a:pt x="1922" y="2"/>
                </a:cubicBezTo>
                <a:cubicBezTo>
                  <a:pt x="1923" y="2"/>
                  <a:pt x="1923" y="2"/>
                  <a:pt x="1923" y="2"/>
                </a:cubicBezTo>
                <a:cubicBezTo>
                  <a:pt x="1921" y="3"/>
                  <a:pt x="1921" y="3"/>
                  <a:pt x="1921" y="3"/>
                </a:cubicBezTo>
                <a:cubicBezTo>
                  <a:pt x="1918" y="3"/>
                  <a:pt x="1918" y="3"/>
                  <a:pt x="1918" y="3"/>
                </a:cubicBezTo>
                <a:cubicBezTo>
                  <a:pt x="1917" y="4"/>
                  <a:pt x="1917" y="4"/>
                  <a:pt x="1917" y="4"/>
                </a:cubicBezTo>
                <a:cubicBezTo>
                  <a:pt x="1917" y="7"/>
                  <a:pt x="1917" y="7"/>
                  <a:pt x="1917" y="7"/>
                </a:cubicBezTo>
                <a:cubicBezTo>
                  <a:pt x="1917" y="9"/>
                  <a:pt x="1917" y="9"/>
                  <a:pt x="1917" y="9"/>
                </a:cubicBezTo>
                <a:cubicBezTo>
                  <a:pt x="1918" y="9"/>
                  <a:pt x="1918" y="9"/>
                  <a:pt x="1918" y="9"/>
                </a:cubicBezTo>
                <a:cubicBezTo>
                  <a:pt x="1919" y="8"/>
                  <a:pt x="1919" y="8"/>
                  <a:pt x="1919" y="8"/>
                </a:cubicBezTo>
                <a:cubicBezTo>
                  <a:pt x="1920" y="9"/>
                  <a:pt x="1920" y="9"/>
                  <a:pt x="1920" y="9"/>
                </a:cubicBezTo>
                <a:cubicBezTo>
                  <a:pt x="1920" y="10"/>
                  <a:pt x="1920" y="10"/>
                  <a:pt x="1920" y="10"/>
                </a:cubicBezTo>
                <a:cubicBezTo>
                  <a:pt x="1920" y="12"/>
                  <a:pt x="1920" y="12"/>
                  <a:pt x="1920" y="12"/>
                </a:cubicBezTo>
                <a:cubicBezTo>
                  <a:pt x="1919" y="13"/>
                  <a:pt x="1919" y="13"/>
                  <a:pt x="1919" y="13"/>
                </a:cubicBezTo>
                <a:cubicBezTo>
                  <a:pt x="1917" y="12"/>
                  <a:pt x="1917" y="12"/>
                  <a:pt x="1917" y="12"/>
                </a:cubicBezTo>
                <a:cubicBezTo>
                  <a:pt x="1915" y="12"/>
                  <a:pt x="1915" y="12"/>
                  <a:pt x="1915" y="12"/>
                </a:cubicBezTo>
                <a:cubicBezTo>
                  <a:pt x="1913" y="13"/>
                  <a:pt x="1913" y="13"/>
                  <a:pt x="1913" y="13"/>
                </a:cubicBezTo>
                <a:cubicBezTo>
                  <a:pt x="1912" y="14"/>
                  <a:pt x="1912" y="14"/>
                  <a:pt x="1912" y="14"/>
                </a:cubicBezTo>
                <a:cubicBezTo>
                  <a:pt x="1912" y="16"/>
                  <a:pt x="1912" y="16"/>
                  <a:pt x="1912" y="16"/>
                </a:cubicBezTo>
                <a:cubicBezTo>
                  <a:pt x="1911" y="18"/>
                  <a:pt x="1911" y="18"/>
                  <a:pt x="1911" y="18"/>
                </a:cubicBezTo>
                <a:cubicBezTo>
                  <a:pt x="1910" y="19"/>
                  <a:pt x="1910" y="19"/>
                  <a:pt x="1910" y="19"/>
                </a:cubicBezTo>
                <a:cubicBezTo>
                  <a:pt x="1908" y="18"/>
                  <a:pt x="1908" y="18"/>
                  <a:pt x="1908" y="18"/>
                </a:cubicBezTo>
                <a:cubicBezTo>
                  <a:pt x="1907" y="17"/>
                  <a:pt x="1907" y="17"/>
                  <a:pt x="1907" y="17"/>
                </a:cubicBezTo>
                <a:cubicBezTo>
                  <a:pt x="1907" y="16"/>
                  <a:pt x="1907" y="16"/>
                  <a:pt x="1907" y="16"/>
                </a:cubicBezTo>
                <a:cubicBezTo>
                  <a:pt x="1906" y="16"/>
                  <a:pt x="1906" y="16"/>
                  <a:pt x="1906" y="16"/>
                </a:cubicBezTo>
                <a:cubicBezTo>
                  <a:pt x="1905" y="19"/>
                  <a:pt x="1905" y="19"/>
                  <a:pt x="1905" y="19"/>
                </a:cubicBezTo>
                <a:cubicBezTo>
                  <a:pt x="1906" y="21"/>
                  <a:pt x="1906" y="21"/>
                  <a:pt x="1906" y="21"/>
                </a:cubicBezTo>
                <a:cubicBezTo>
                  <a:pt x="1907" y="22"/>
                  <a:pt x="1907" y="22"/>
                  <a:pt x="1907" y="22"/>
                </a:cubicBezTo>
                <a:cubicBezTo>
                  <a:pt x="1909" y="22"/>
                  <a:pt x="1909" y="22"/>
                  <a:pt x="1909" y="22"/>
                </a:cubicBezTo>
                <a:cubicBezTo>
                  <a:pt x="1909" y="22"/>
                  <a:pt x="1909" y="22"/>
                  <a:pt x="1909" y="22"/>
                </a:cubicBezTo>
                <a:cubicBezTo>
                  <a:pt x="1910" y="23"/>
                  <a:pt x="1910" y="23"/>
                  <a:pt x="1910" y="23"/>
                </a:cubicBezTo>
                <a:cubicBezTo>
                  <a:pt x="1909" y="26"/>
                  <a:pt x="1909" y="26"/>
                  <a:pt x="1909" y="26"/>
                </a:cubicBezTo>
                <a:cubicBezTo>
                  <a:pt x="1909" y="27"/>
                  <a:pt x="1909" y="27"/>
                  <a:pt x="1909" y="27"/>
                </a:cubicBezTo>
                <a:cubicBezTo>
                  <a:pt x="1910" y="27"/>
                  <a:pt x="1910" y="27"/>
                  <a:pt x="1910" y="27"/>
                </a:cubicBezTo>
                <a:cubicBezTo>
                  <a:pt x="1911" y="26"/>
                  <a:pt x="1911" y="26"/>
                  <a:pt x="1911" y="26"/>
                </a:cubicBezTo>
                <a:cubicBezTo>
                  <a:pt x="1912" y="26"/>
                  <a:pt x="1912" y="26"/>
                  <a:pt x="1912" y="26"/>
                </a:cubicBezTo>
                <a:cubicBezTo>
                  <a:pt x="1913" y="27"/>
                  <a:pt x="1913" y="27"/>
                  <a:pt x="1913" y="27"/>
                </a:cubicBezTo>
                <a:cubicBezTo>
                  <a:pt x="1915" y="27"/>
                  <a:pt x="1915" y="27"/>
                  <a:pt x="1915" y="27"/>
                </a:cubicBezTo>
                <a:cubicBezTo>
                  <a:pt x="1916" y="26"/>
                  <a:pt x="1916" y="26"/>
                  <a:pt x="1916" y="26"/>
                </a:cubicBezTo>
                <a:cubicBezTo>
                  <a:pt x="1917" y="26"/>
                  <a:pt x="1917" y="26"/>
                  <a:pt x="1917" y="26"/>
                </a:cubicBezTo>
                <a:cubicBezTo>
                  <a:pt x="1916" y="28"/>
                  <a:pt x="1916" y="28"/>
                  <a:pt x="1916" y="28"/>
                </a:cubicBezTo>
                <a:cubicBezTo>
                  <a:pt x="1914" y="28"/>
                  <a:pt x="1914" y="28"/>
                  <a:pt x="1914" y="28"/>
                </a:cubicBezTo>
                <a:cubicBezTo>
                  <a:pt x="1912" y="28"/>
                  <a:pt x="1912" y="28"/>
                  <a:pt x="1912" y="28"/>
                </a:cubicBezTo>
                <a:cubicBezTo>
                  <a:pt x="1911" y="29"/>
                  <a:pt x="1911" y="29"/>
                  <a:pt x="1911" y="29"/>
                </a:cubicBezTo>
                <a:cubicBezTo>
                  <a:pt x="1910" y="29"/>
                  <a:pt x="1910" y="29"/>
                  <a:pt x="1910" y="29"/>
                </a:cubicBezTo>
                <a:cubicBezTo>
                  <a:pt x="1909" y="30"/>
                  <a:pt x="1909" y="30"/>
                  <a:pt x="1909" y="30"/>
                </a:cubicBezTo>
                <a:cubicBezTo>
                  <a:pt x="1910" y="32"/>
                  <a:pt x="1910" y="32"/>
                  <a:pt x="1910" y="32"/>
                </a:cubicBezTo>
                <a:cubicBezTo>
                  <a:pt x="1911" y="33"/>
                  <a:pt x="1911" y="33"/>
                  <a:pt x="1911" y="33"/>
                </a:cubicBezTo>
                <a:cubicBezTo>
                  <a:pt x="1913" y="33"/>
                  <a:pt x="1913" y="33"/>
                  <a:pt x="1913" y="33"/>
                </a:cubicBezTo>
                <a:cubicBezTo>
                  <a:pt x="1914" y="33"/>
                  <a:pt x="1914" y="33"/>
                  <a:pt x="1914" y="33"/>
                </a:cubicBezTo>
                <a:cubicBezTo>
                  <a:pt x="1915" y="33"/>
                  <a:pt x="1915" y="33"/>
                  <a:pt x="1915" y="33"/>
                </a:cubicBezTo>
                <a:cubicBezTo>
                  <a:pt x="1914" y="34"/>
                  <a:pt x="1914" y="34"/>
                  <a:pt x="1914" y="34"/>
                </a:cubicBezTo>
                <a:cubicBezTo>
                  <a:pt x="1912" y="35"/>
                  <a:pt x="1912" y="35"/>
                  <a:pt x="1912" y="35"/>
                </a:cubicBezTo>
                <a:cubicBezTo>
                  <a:pt x="1910" y="35"/>
                  <a:pt x="1910" y="35"/>
                  <a:pt x="1910" y="35"/>
                </a:cubicBezTo>
                <a:cubicBezTo>
                  <a:pt x="1908" y="36"/>
                  <a:pt x="1908" y="36"/>
                  <a:pt x="1908" y="36"/>
                </a:cubicBezTo>
                <a:cubicBezTo>
                  <a:pt x="1908" y="37"/>
                  <a:pt x="1908" y="37"/>
                  <a:pt x="1908" y="37"/>
                </a:cubicBezTo>
                <a:cubicBezTo>
                  <a:pt x="1909" y="38"/>
                  <a:pt x="1909" y="38"/>
                  <a:pt x="1909" y="38"/>
                </a:cubicBezTo>
                <a:cubicBezTo>
                  <a:pt x="1911" y="37"/>
                  <a:pt x="1911" y="37"/>
                  <a:pt x="1911" y="37"/>
                </a:cubicBezTo>
                <a:cubicBezTo>
                  <a:pt x="1913" y="37"/>
                  <a:pt x="1913" y="37"/>
                  <a:pt x="1913" y="37"/>
                </a:cubicBezTo>
                <a:cubicBezTo>
                  <a:pt x="1913" y="38"/>
                  <a:pt x="1913" y="38"/>
                  <a:pt x="1913" y="38"/>
                </a:cubicBezTo>
                <a:cubicBezTo>
                  <a:pt x="1912" y="39"/>
                  <a:pt x="1912" y="39"/>
                  <a:pt x="1912" y="39"/>
                </a:cubicBezTo>
                <a:cubicBezTo>
                  <a:pt x="1910" y="39"/>
                  <a:pt x="1910" y="39"/>
                  <a:pt x="1910" y="39"/>
                </a:cubicBezTo>
                <a:cubicBezTo>
                  <a:pt x="1910" y="40"/>
                  <a:pt x="1910" y="40"/>
                  <a:pt x="1910" y="40"/>
                </a:cubicBezTo>
                <a:cubicBezTo>
                  <a:pt x="1911" y="40"/>
                  <a:pt x="1911" y="40"/>
                  <a:pt x="1911" y="40"/>
                </a:cubicBezTo>
                <a:cubicBezTo>
                  <a:pt x="1913" y="41"/>
                  <a:pt x="1913" y="41"/>
                  <a:pt x="1913" y="41"/>
                </a:cubicBezTo>
                <a:cubicBezTo>
                  <a:pt x="1916" y="43"/>
                  <a:pt x="1916" y="43"/>
                  <a:pt x="1916" y="43"/>
                </a:cubicBezTo>
                <a:cubicBezTo>
                  <a:pt x="1917" y="43"/>
                  <a:pt x="1917" y="43"/>
                  <a:pt x="1917" y="43"/>
                </a:cubicBezTo>
                <a:cubicBezTo>
                  <a:pt x="1917" y="44"/>
                  <a:pt x="1917" y="44"/>
                  <a:pt x="1917" y="44"/>
                </a:cubicBezTo>
                <a:cubicBezTo>
                  <a:pt x="1918" y="45"/>
                  <a:pt x="1918" y="45"/>
                  <a:pt x="1918" y="45"/>
                </a:cubicBezTo>
                <a:cubicBezTo>
                  <a:pt x="1916" y="44"/>
                  <a:pt x="1916" y="44"/>
                  <a:pt x="1916" y="44"/>
                </a:cubicBezTo>
                <a:cubicBezTo>
                  <a:pt x="1914" y="43"/>
                  <a:pt x="1914" y="43"/>
                  <a:pt x="1914" y="43"/>
                </a:cubicBezTo>
                <a:cubicBezTo>
                  <a:pt x="1912" y="43"/>
                  <a:pt x="1912" y="43"/>
                  <a:pt x="1912" y="43"/>
                </a:cubicBezTo>
                <a:cubicBezTo>
                  <a:pt x="1911" y="42"/>
                  <a:pt x="1911" y="42"/>
                  <a:pt x="1911" y="42"/>
                </a:cubicBezTo>
                <a:cubicBezTo>
                  <a:pt x="1909" y="41"/>
                  <a:pt x="1909" y="41"/>
                  <a:pt x="1909" y="41"/>
                </a:cubicBezTo>
                <a:cubicBezTo>
                  <a:pt x="1908" y="43"/>
                  <a:pt x="1908" y="43"/>
                  <a:pt x="1908" y="43"/>
                </a:cubicBezTo>
                <a:cubicBezTo>
                  <a:pt x="1908" y="44"/>
                  <a:pt x="1908" y="44"/>
                  <a:pt x="1908" y="44"/>
                </a:cubicBezTo>
                <a:cubicBezTo>
                  <a:pt x="1907" y="45"/>
                  <a:pt x="1907" y="45"/>
                  <a:pt x="1907" y="45"/>
                </a:cubicBezTo>
                <a:cubicBezTo>
                  <a:pt x="1907" y="46"/>
                  <a:pt x="1907" y="46"/>
                  <a:pt x="1907" y="46"/>
                </a:cubicBezTo>
                <a:cubicBezTo>
                  <a:pt x="1908" y="47"/>
                  <a:pt x="1908" y="47"/>
                  <a:pt x="1908" y="47"/>
                </a:cubicBezTo>
                <a:cubicBezTo>
                  <a:pt x="1907" y="48"/>
                  <a:pt x="1907" y="48"/>
                  <a:pt x="1907" y="48"/>
                </a:cubicBezTo>
                <a:cubicBezTo>
                  <a:pt x="1906" y="48"/>
                  <a:pt x="1906" y="48"/>
                  <a:pt x="1906" y="48"/>
                </a:cubicBezTo>
                <a:cubicBezTo>
                  <a:pt x="1905" y="48"/>
                  <a:pt x="1905" y="48"/>
                  <a:pt x="1905" y="48"/>
                </a:cubicBezTo>
                <a:cubicBezTo>
                  <a:pt x="1904" y="49"/>
                  <a:pt x="1904" y="49"/>
                  <a:pt x="1904" y="49"/>
                </a:cubicBezTo>
                <a:cubicBezTo>
                  <a:pt x="1904" y="51"/>
                  <a:pt x="1904" y="51"/>
                  <a:pt x="1904" y="51"/>
                </a:cubicBezTo>
                <a:cubicBezTo>
                  <a:pt x="1904" y="52"/>
                  <a:pt x="1904" y="52"/>
                  <a:pt x="1904" y="52"/>
                </a:cubicBezTo>
                <a:cubicBezTo>
                  <a:pt x="1903" y="52"/>
                  <a:pt x="1903" y="52"/>
                  <a:pt x="1903" y="52"/>
                </a:cubicBezTo>
                <a:cubicBezTo>
                  <a:pt x="1902" y="53"/>
                  <a:pt x="1902" y="53"/>
                  <a:pt x="1902" y="53"/>
                </a:cubicBezTo>
                <a:cubicBezTo>
                  <a:pt x="1902" y="53"/>
                  <a:pt x="1902" y="53"/>
                  <a:pt x="1902" y="53"/>
                </a:cubicBezTo>
                <a:cubicBezTo>
                  <a:pt x="1904" y="56"/>
                  <a:pt x="1904" y="56"/>
                  <a:pt x="1904" y="56"/>
                </a:cubicBezTo>
                <a:lnTo>
                  <a:pt x="1906" y="57"/>
                </a:lnTo>
                <a:close/>
                <a:moveTo>
                  <a:pt x="3235" y="1496"/>
                </a:moveTo>
                <a:cubicBezTo>
                  <a:pt x="3235" y="1495"/>
                  <a:pt x="3235" y="1495"/>
                  <a:pt x="3235" y="1495"/>
                </a:cubicBezTo>
                <a:cubicBezTo>
                  <a:pt x="3236" y="1495"/>
                  <a:pt x="3236" y="1495"/>
                  <a:pt x="3236" y="1495"/>
                </a:cubicBezTo>
                <a:cubicBezTo>
                  <a:pt x="3235" y="1494"/>
                  <a:pt x="3235" y="1494"/>
                  <a:pt x="3235" y="1494"/>
                </a:cubicBezTo>
                <a:cubicBezTo>
                  <a:pt x="3235" y="1492"/>
                  <a:pt x="3235" y="1492"/>
                  <a:pt x="3235" y="1492"/>
                </a:cubicBezTo>
                <a:cubicBezTo>
                  <a:pt x="3234" y="1495"/>
                  <a:pt x="3234" y="1495"/>
                  <a:pt x="3234" y="1495"/>
                </a:cubicBezTo>
                <a:cubicBezTo>
                  <a:pt x="3235" y="1496"/>
                  <a:pt x="3235" y="1496"/>
                  <a:pt x="3235" y="1496"/>
                </a:cubicBezTo>
                <a:close/>
                <a:moveTo>
                  <a:pt x="576" y="50"/>
                </a:moveTo>
                <a:cubicBezTo>
                  <a:pt x="577" y="50"/>
                  <a:pt x="577" y="50"/>
                  <a:pt x="577" y="50"/>
                </a:cubicBezTo>
                <a:cubicBezTo>
                  <a:pt x="577" y="51"/>
                  <a:pt x="577" y="51"/>
                  <a:pt x="577" y="51"/>
                </a:cubicBezTo>
                <a:cubicBezTo>
                  <a:pt x="576" y="52"/>
                  <a:pt x="576" y="52"/>
                  <a:pt x="576" y="52"/>
                </a:cubicBezTo>
                <a:cubicBezTo>
                  <a:pt x="578" y="56"/>
                  <a:pt x="578" y="56"/>
                  <a:pt x="578" y="56"/>
                </a:cubicBezTo>
                <a:cubicBezTo>
                  <a:pt x="579" y="57"/>
                  <a:pt x="579" y="57"/>
                  <a:pt x="579" y="57"/>
                </a:cubicBezTo>
                <a:cubicBezTo>
                  <a:pt x="579" y="58"/>
                  <a:pt x="579" y="58"/>
                  <a:pt x="579" y="58"/>
                </a:cubicBezTo>
                <a:cubicBezTo>
                  <a:pt x="582" y="60"/>
                  <a:pt x="582" y="60"/>
                  <a:pt x="582" y="60"/>
                </a:cubicBezTo>
                <a:cubicBezTo>
                  <a:pt x="583" y="61"/>
                  <a:pt x="583" y="61"/>
                  <a:pt x="583" y="61"/>
                </a:cubicBezTo>
                <a:cubicBezTo>
                  <a:pt x="585" y="61"/>
                  <a:pt x="585" y="61"/>
                  <a:pt x="585" y="61"/>
                </a:cubicBezTo>
                <a:cubicBezTo>
                  <a:pt x="586" y="62"/>
                  <a:pt x="586" y="62"/>
                  <a:pt x="586" y="62"/>
                </a:cubicBezTo>
                <a:cubicBezTo>
                  <a:pt x="587" y="62"/>
                  <a:pt x="587" y="62"/>
                  <a:pt x="587" y="62"/>
                </a:cubicBezTo>
                <a:cubicBezTo>
                  <a:pt x="589" y="61"/>
                  <a:pt x="589" y="61"/>
                  <a:pt x="589" y="61"/>
                </a:cubicBezTo>
                <a:cubicBezTo>
                  <a:pt x="591" y="61"/>
                  <a:pt x="591" y="61"/>
                  <a:pt x="591" y="61"/>
                </a:cubicBezTo>
                <a:cubicBezTo>
                  <a:pt x="592" y="63"/>
                  <a:pt x="592" y="63"/>
                  <a:pt x="592" y="63"/>
                </a:cubicBezTo>
                <a:cubicBezTo>
                  <a:pt x="594" y="63"/>
                  <a:pt x="594" y="63"/>
                  <a:pt x="594" y="63"/>
                </a:cubicBezTo>
                <a:cubicBezTo>
                  <a:pt x="596" y="65"/>
                  <a:pt x="596" y="65"/>
                  <a:pt x="596" y="65"/>
                </a:cubicBezTo>
                <a:cubicBezTo>
                  <a:pt x="597" y="65"/>
                  <a:pt x="597" y="65"/>
                  <a:pt x="597" y="65"/>
                </a:cubicBezTo>
                <a:cubicBezTo>
                  <a:pt x="597" y="66"/>
                  <a:pt x="597" y="66"/>
                  <a:pt x="597" y="66"/>
                </a:cubicBezTo>
                <a:cubicBezTo>
                  <a:pt x="595" y="67"/>
                  <a:pt x="595" y="67"/>
                  <a:pt x="595" y="67"/>
                </a:cubicBezTo>
                <a:cubicBezTo>
                  <a:pt x="595" y="68"/>
                  <a:pt x="595" y="68"/>
                  <a:pt x="595" y="68"/>
                </a:cubicBezTo>
                <a:cubicBezTo>
                  <a:pt x="594" y="69"/>
                  <a:pt x="594" y="69"/>
                  <a:pt x="594" y="69"/>
                </a:cubicBezTo>
                <a:cubicBezTo>
                  <a:pt x="594" y="70"/>
                  <a:pt x="594" y="70"/>
                  <a:pt x="594" y="70"/>
                </a:cubicBezTo>
                <a:cubicBezTo>
                  <a:pt x="594" y="72"/>
                  <a:pt x="594" y="72"/>
                  <a:pt x="594" y="72"/>
                </a:cubicBezTo>
                <a:cubicBezTo>
                  <a:pt x="591" y="73"/>
                  <a:pt x="591" y="73"/>
                  <a:pt x="591" y="73"/>
                </a:cubicBezTo>
                <a:cubicBezTo>
                  <a:pt x="591" y="74"/>
                  <a:pt x="591" y="74"/>
                  <a:pt x="591" y="74"/>
                </a:cubicBezTo>
                <a:cubicBezTo>
                  <a:pt x="590" y="75"/>
                  <a:pt x="590" y="75"/>
                  <a:pt x="590" y="75"/>
                </a:cubicBezTo>
                <a:cubicBezTo>
                  <a:pt x="592" y="76"/>
                  <a:pt x="592" y="76"/>
                  <a:pt x="592" y="76"/>
                </a:cubicBezTo>
                <a:cubicBezTo>
                  <a:pt x="592" y="79"/>
                  <a:pt x="592" y="79"/>
                  <a:pt x="592" y="79"/>
                </a:cubicBezTo>
                <a:cubicBezTo>
                  <a:pt x="593" y="81"/>
                  <a:pt x="593" y="81"/>
                  <a:pt x="593" y="81"/>
                </a:cubicBezTo>
                <a:cubicBezTo>
                  <a:pt x="593" y="82"/>
                  <a:pt x="593" y="82"/>
                  <a:pt x="593" y="82"/>
                </a:cubicBezTo>
                <a:cubicBezTo>
                  <a:pt x="591" y="83"/>
                  <a:pt x="591" y="83"/>
                  <a:pt x="591" y="83"/>
                </a:cubicBezTo>
                <a:cubicBezTo>
                  <a:pt x="591" y="84"/>
                  <a:pt x="591" y="84"/>
                  <a:pt x="591" y="84"/>
                </a:cubicBezTo>
                <a:cubicBezTo>
                  <a:pt x="595" y="84"/>
                  <a:pt x="595" y="84"/>
                  <a:pt x="595" y="84"/>
                </a:cubicBezTo>
                <a:cubicBezTo>
                  <a:pt x="596" y="84"/>
                  <a:pt x="596" y="84"/>
                  <a:pt x="596" y="84"/>
                </a:cubicBezTo>
                <a:cubicBezTo>
                  <a:pt x="597" y="84"/>
                  <a:pt x="597" y="84"/>
                  <a:pt x="597" y="84"/>
                </a:cubicBezTo>
                <a:cubicBezTo>
                  <a:pt x="597" y="85"/>
                  <a:pt x="597" y="85"/>
                  <a:pt x="597" y="85"/>
                </a:cubicBezTo>
                <a:cubicBezTo>
                  <a:pt x="598" y="84"/>
                  <a:pt x="598" y="84"/>
                  <a:pt x="598" y="84"/>
                </a:cubicBezTo>
                <a:cubicBezTo>
                  <a:pt x="599" y="83"/>
                  <a:pt x="599" y="83"/>
                  <a:pt x="599" y="83"/>
                </a:cubicBezTo>
                <a:cubicBezTo>
                  <a:pt x="600" y="84"/>
                  <a:pt x="600" y="84"/>
                  <a:pt x="600" y="84"/>
                </a:cubicBezTo>
                <a:cubicBezTo>
                  <a:pt x="603" y="84"/>
                  <a:pt x="603" y="84"/>
                  <a:pt x="603" y="84"/>
                </a:cubicBezTo>
                <a:cubicBezTo>
                  <a:pt x="606" y="85"/>
                  <a:pt x="606" y="85"/>
                  <a:pt x="606" y="85"/>
                </a:cubicBezTo>
                <a:cubicBezTo>
                  <a:pt x="607" y="84"/>
                  <a:pt x="607" y="84"/>
                  <a:pt x="607" y="84"/>
                </a:cubicBezTo>
                <a:cubicBezTo>
                  <a:pt x="610" y="84"/>
                  <a:pt x="610" y="84"/>
                  <a:pt x="610" y="84"/>
                </a:cubicBezTo>
                <a:cubicBezTo>
                  <a:pt x="610" y="85"/>
                  <a:pt x="610" y="85"/>
                  <a:pt x="610" y="85"/>
                </a:cubicBezTo>
                <a:cubicBezTo>
                  <a:pt x="611" y="85"/>
                  <a:pt x="611" y="85"/>
                  <a:pt x="611" y="85"/>
                </a:cubicBezTo>
                <a:cubicBezTo>
                  <a:pt x="612" y="85"/>
                  <a:pt x="612" y="85"/>
                  <a:pt x="612" y="85"/>
                </a:cubicBezTo>
                <a:cubicBezTo>
                  <a:pt x="613" y="84"/>
                  <a:pt x="613" y="84"/>
                  <a:pt x="613" y="84"/>
                </a:cubicBezTo>
                <a:cubicBezTo>
                  <a:pt x="614" y="85"/>
                  <a:pt x="614" y="85"/>
                  <a:pt x="614" y="85"/>
                </a:cubicBezTo>
                <a:cubicBezTo>
                  <a:pt x="614" y="86"/>
                  <a:pt x="614" y="86"/>
                  <a:pt x="614" y="86"/>
                </a:cubicBezTo>
                <a:cubicBezTo>
                  <a:pt x="615" y="86"/>
                  <a:pt x="615" y="86"/>
                  <a:pt x="615" y="86"/>
                </a:cubicBezTo>
                <a:cubicBezTo>
                  <a:pt x="616" y="85"/>
                  <a:pt x="616" y="85"/>
                  <a:pt x="616" y="85"/>
                </a:cubicBezTo>
                <a:cubicBezTo>
                  <a:pt x="617" y="86"/>
                  <a:pt x="617" y="86"/>
                  <a:pt x="617" y="86"/>
                </a:cubicBezTo>
                <a:cubicBezTo>
                  <a:pt x="617" y="87"/>
                  <a:pt x="617" y="87"/>
                  <a:pt x="617" y="87"/>
                </a:cubicBezTo>
                <a:cubicBezTo>
                  <a:pt x="618" y="87"/>
                  <a:pt x="618" y="87"/>
                  <a:pt x="618" y="87"/>
                </a:cubicBezTo>
                <a:cubicBezTo>
                  <a:pt x="619" y="86"/>
                  <a:pt x="619" y="86"/>
                  <a:pt x="619" y="86"/>
                </a:cubicBezTo>
                <a:cubicBezTo>
                  <a:pt x="622" y="86"/>
                  <a:pt x="622" y="86"/>
                  <a:pt x="622" y="86"/>
                </a:cubicBezTo>
                <a:cubicBezTo>
                  <a:pt x="623" y="85"/>
                  <a:pt x="623" y="85"/>
                  <a:pt x="623" y="85"/>
                </a:cubicBezTo>
                <a:cubicBezTo>
                  <a:pt x="625" y="84"/>
                  <a:pt x="625" y="84"/>
                  <a:pt x="625" y="84"/>
                </a:cubicBezTo>
                <a:cubicBezTo>
                  <a:pt x="626" y="84"/>
                  <a:pt x="626" y="84"/>
                  <a:pt x="626" y="84"/>
                </a:cubicBezTo>
                <a:cubicBezTo>
                  <a:pt x="628" y="82"/>
                  <a:pt x="628" y="82"/>
                  <a:pt x="628" y="82"/>
                </a:cubicBezTo>
                <a:cubicBezTo>
                  <a:pt x="630" y="81"/>
                  <a:pt x="630" y="81"/>
                  <a:pt x="630" y="81"/>
                </a:cubicBezTo>
                <a:cubicBezTo>
                  <a:pt x="632" y="81"/>
                  <a:pt x="632" y="81"/>
                  <a:pt x="632" y="81"/>
                </a:cubicBezTo>
                <a:cubicBezTo>
                  <a:pt x="633" y="80"/>
                  <a:pt x="633" y="80"/>
                  <a:pt x="633" y="80"/>
                </a:cubicBezTo>
                <a:cubicBezTo>
                  <a:pt x="634" y="80"/>
                  <a:pt x="634" y="80"/>
                  <a:pt x="634" y="80"/>
                </a:cubicBezTo>
                <a:cubicBezTo>
                  <a:pt x="636" y="80"/>
                  <a:pt x="636" y="80"/>
                  <a:pt x="636" y="80"/>
                </a:cubicBezTo>
                <a:cubicBezTo>
                  <a:pt x="637" y="80"/>
                  <a:pt x="637" y="80"/>
                  <a:pt x="637" y="80"/>
                </a:cubicBezTo>
                <a:cubicBezTo>
                  <a:pt x="639" y="81"/>
                  <a:pt x="639" y="81"/>
                  <a:pt x="639" y="81"/>
                </a:cubicBezTo>
                <a:cubicBezTo>
                  <a:pt x="643" y="81"/>
                  <a:pt x="643" y="81"/>
                  <a:pt x="643" y="81"/>
                </a:cubicBezTo>
                <a:cubicBezTo>
                  <a:pt x="647" y="78"/>
                  <a:pt x="647" y="78"/>
                  <a:pt x="647" y="78"/>
                </a:cubicBezTo>
                <a:cubicBezTo>
                  <a:pt x="647" y="77"/>
                  <a:pt x="647" y="77"/>
                  <a:pt x="647" y="77"/>
                </a:cubicBezTo>
                <a:cubicBezTo>
                  <a:pt x="648" y="77"/>
                  <a:pt x="648" y="77"/>
                  <a:pt x="648" y="77"/>
                </a:cubicBezTo>
                <a:cubicBezTo>
                  <a:pt x="649" y="78"/>
                  <a:pt x="649" y="78"/>
                  <a:pt x="649" y="78"/>
                </a:cubicBezTo>
                <a:cubicBezTo>
                  <a:pt x="649" y="77"/>
                  <a:pt x="649" y="77"/>
                  <a:pt x="649" y="77"/>
                </a:cubicBezTo>
                <a:cubicBezTo>
                  <a:pt x="651" y="76"/>
                  <a:pt x="651" y="76"/>
                  <a:pt x="651" y="76"/>
                </a:cubicBezTo>
                <a:cubicBezTo>
                  <a:pt x="651" y="74"/>
                  <a:pt x="651" y="74"/>
                  <a:pt x="651" y="74"/>
                </a:cubicBezTo>
                <a:cubicBezTo>
                  <a:pt x="651" y="74"/>
                  <a:pt x="651" y="74"/>
                  <a:pt x="651" y="74"/>
                </a:cubicBezTo>
                <a:cubicBezTo>
                  <a:pt x="652" y="74"/>
                  <a:pt x="652" y="74"/>
                  <a:pt x="652" y="74"/>
                </a:cubicBezTo>
                <a:cubicBezTo>
                  <a:pt x="653" y="74"/>
                  <a:pt x="653" y="74"/>
                  <a:pt x="653" y="74"/>
                </a:cubicBezTo>
                <a:cubicBezTo>
                  <a:pt x="654" y="73"/>
                  <a:pt x="654" y="73"/>
                  <a:pt x="654" y="73"/>
                </a:cubicBezTo>
                <a:cubicBezTo>
                  <a:pt x="654" y="72"/>
                  <a:pt x="654" y="72"/>
                  <a:pt x="654" y="72"/>
                </a:cubicBezTo>
                <a:cubicBezTo>
                  <a:pt x="655" y="72"/>
                  <a:pt x="655" y="72"/>
                  <a:pt x="655" y="72"/>
                </a:cubicBezTo>
                <a:cubicBezTo>
                  <a:pt x="656" y="72"/>
                  <a:pt x="656" y="72"/>
                  <a:pt x="656" y="72"/>
                </a:cubicBezTo>
                <a:cubicBezTo>
                  <a:pt x="656" y="73"/>
                  <a:pt x="656" y="73"/>
                  <a:pt x="656" y="73"/>
                </a:cubicBezTo>
                <a:cubicBezTo>
                  <a:pt x="656" y="74"/>
                  <a:pt x="656" y="74"/>
                  <a:pt x="656" y="74"/>
                </a:cubicBezTo>
                <a:cubicBezTo>
                  <a:pt x="657" y="75"/>
                  <a:pt x="657" y="75"/>
                  <a:pt x="657" y="75"/>
                </a:cubicBezTo>
                <a:cubicBezTo>
                  <a:pt x="655" y="76"/>
                  <a:pt x="655" y="76"/>
                  <a:pt x="655" y="76"/>
                </a:cubicBezTo>
                <a:cubicBezTo>
                  <a:pt x="655" y="77"/>
                  <a:pt x="655" y="77"/>
                  <a:pt x="655" y="77"/>
                </a:cubicBezTo>
                <a:cubicBezTo>
                  <a:pt x="655" y="78"/>
                  <a:pt x="655" y="78"/>
                  <a:pt x="655" y="78"/>
                </a:cubicBezTo>
                <a:cubicBezTo>
                  <a:pt x="654" y="79"/>
                  <a:pt x="654" y="79"/>
                  <a:pt x="654" y="79"/>
                </a:cubicBezTo>
                <a:cubicBezTo>
                  <a:pt x="654" y="80"/>
                  <a:pt x="654" y="80"/>
                  <a:pt x="654" y="80"/>
                </a:cubicBezTo>
                <a:cubicBezTo>
                  <a:pt x="655" y="80"/>
                  <a:pt x="655" y="80"/>
                  <a:pt x="655" y="80"/>
                </a:cubicBezTo>
                <a:cubicBezTo>
                  <a:pt x="657" y="81"/>
                  <a:pt x="657" y="81"/>
                  <a:pt x="657" y="81"/>
                </a:cubicBezTo>
                <a:cubicBezTo>
                  <a:pt x="657" y="81"/>
                  <a:pt x="657" y="81"/>
                  <a:pt x="657" y="81"/>
                </a:cubicBezTo>
                <a:cubicBezTo>
                  <a:pt x="659" y="81"/>
                  <a:pt x="659" y="81"/>
                  <a:pt x="659" y="81"/>
                </a:cubicBezTo>
                <a:cubicBezTo>
                  <a:pt x="660" y="81"/>
                  <a:pt x="660" y="81"/>
                  <a:pt x="660" y="81"/>
                </a:cubicBezTo>
                <a:cubicBezTo>
                  <a:pt x="661" y="83"/>
                  <a:pt x="661" y="83"/>
                  <a:pt x="661" y="83"/>
                </a:cubicBezTo>
                <a:cubicBezTo>
                  <a:pt x="662" y="84"/>
                  <a:pt x="662" y="84"/>
                  <a:pt x="662" y="84"/>
                </a:cubicBezTo>
                <a:cubicBezTo>
                  <a:pt x="662" y="83"/>
                  <a:pt x="662" y="83"/>
                  <a:pt x="662" y="83"/>
                </a:cubicBezTo>
                <a:cubicBezTo>
                  <a:pt x="662" y="83"/>
                  <a:pt x="662" y="83"/>
                  <a:pt x="662" y="83"/>
                </a:cubicBezTo>
                <a:cubicBezTo>
                  <a:pt x="663" y="83"/>
                  <a:pt x="663" y="83"/>
                  <a:pt x="663" y="83"/>
                </a:cubicBezTo>
                <a:cubicBezTo>
                  <a:pt x="664" y="84"/>
                  <a:pt x="664" y="84"/>
                  <a:pt x="664" y="84"/>
                </a:cubicBezTo>
                <a:cubicBezTo>
                  <a:pt x="662" y="86"/>
                  <a:pt x="662" y="86"/>
                  <a:pt x="662" y="86"/>
                </a:cubicBezTo>
                <a:cubicBezTo>
                  <a:pt x="661" y="86"/>
                  <a:pt x="661" y="86"/>
                  <a:pt x="661" y="86"/>
                </a:cubicBezTo>
                <a:cubicBezTo>
                  <a:pt x="660" y="87"/>
                  <a:pt x="660" y="87"/>
                  <a:pt x="660" y="87"/>
                </a:cubicBezTo>
                <a:cubicBezTo>
                  <a:pt x="660" y="88"/>
                  <a:pt x="660" y="88"/>
                  <a:pt x="660" y="88"/>
                </a:cubicBezTo>
                <a:cubicBezTo>
                  <a:pt x="661" y="88"/>
                  <a:pt x="661" y="88"/>
                  <a:pt x="661" y="88"/>
                </a:cubicBezTo>
                <a:cubicBezTo>
                  <a:pt x="662" y="88"/>
                  <a:pt x="662" y="88"/>
                  <a:pt x="662" y="88"/>
                </a:cubicBezTo>
                <a:cubicBezTo>
                  <a:pt x="664" y="90"/>
                  <a:pt x="664" y="90"/>
                  <a:pt x="664" y="90"/>
                </a:cubicBezTo>
                <a:cubicBezTo>
                  <a:pt x="665" y="89"/>
                  <a:pt x="665" y="89"/>
                  <a:pt x="665" y="89"/>
                </a:cubicBezTo>
                <a:cubicBezTo>
                  <a:pt x="667" y="87"/>
                  <a:pt x="667" y="87"/>
                  <a:pt x="667" y="87"/>
                </a:cubicBezTo>
                <a:cubicBezTo>
                  <a:pt x="667" y="87"/>
                  <a:pt x="667" y="87"/>
                  <a:pt x="667" y="87"/>
                </a:cubicBezTo>
                <a:cubicBezTo>
                  <a:pt x="667" y="89"/>
                  <a:pt x="667" y="89"/>
                  <a:pt x="667" y="89"/>
                </a:cubicBezTo>
                <a:cubicBezTo>
                  <a:pt x="668" y="91"/>
                  <a:pt x="668" y="91"/>
                  <a:pt x="668" y="91"/>
                </a:cubicBezTo>
                <a:cubicBezTo>
                  <a:pt x="669" y="91"/>
                  <a:pt x="669" y="91"/>
                  <a:pt x="669" y="91"/>
                </a:cubicBezTo>
                <a:cubicBezTo>
                  <a:pt x="670" y="90"/>
                  <a:pt x="670" y="90"/>
                  <a:pt x="670" y="90"/>
                </a:cubicBezTo>
                <a:cubicBezTo>
                  <a:pt x="672" y="91"/>
                  <a:pt x="672" y="91"/>
                  <a:pt x="672" y="91"/>
                </a:cubicBezTo>
                <a:cubicBezTo>
                  <a:pt x="673" y="92"/>
                  <a:pt x="673" y="92"/>
                  <a:pt x="673" y="92"/>
                </a:cubicBezTo>
                <a:cubicBezTo>
                  <a:pt x="674" y="92"/>
                  <a:pt x="674" y="92"/>
                  <a:pt x="674" y="92"/>
                </a:cubicBezTo>
                <a:cubicBezTo>
                  <a:pt x="675" y="93"/>
                  <a:pt x="675" y="93"/>
                  <a:pt x="675" y="93"/>
                </a:cubicBezTo>
                <a:cubicBezTo>
                  <a:pt x="676" y="93"/>
                  <a:pt x="676" y="93"/>
                  <a:pt x="676" y="93"/>
                </a:cubicBezTo>
                <a:cubicBezTo>
                  <a:pt x="676" y="92"/>
                  <a:pt x="676" y="92"/>
                  <a:pt x="676" y="92"/>
                </a:cubicBezTo>
                <a:cubicBezTo>
                  <a:pt x="677" y="92"/>
                  <a:pt x="677" y="92"/>
                  <a:pt x="677" y="92"/>
                </a:cubicBezTo>
                <a:cubicBezTo>
                  <a:pt x="678" y="91"/>
                  <a:pt x="678" y="91"/>
                  <a:pt x="678" y="91"/>
                </a:cubicBezTo>
                <a:cubicBezTo>
                  <a:pt x="679" y="92"/>
                  <a:pt x="679" y="92"/>
                  <a:pt x="679" y="92"/>
                </a:cubicBezTo>
                <a:cubicBezTo>
                  <a:pt x="679" y="93"/>
                  <a:pt x="679" y="93"/>
                  <a:pt x="679" y="93"/>
                </a:cubicBezTo>
                <a:cubicBezTo>
                  <a:pt x="680" y="93"/>
                  <a:pt x="680" y="93"/>
                  <a:pt x="680" y="93"/>
                </a:cubicBezTo>
                <a:cubicBezTo>
                  <a:pt x="681" y="93"/>
                  <a:pt x="681" y="93"/>
                  <a:pt x="681" y="93"/>
                </a:cubicBezTo>
                <a:cubicBezTo>
                  <a:pt x="682" y="92"/>
                  <a:pt x="682" y="92"/>
                  <a:pt x="682" y="92"/>
                </a:cubicBezTo>
                <a:cubicBezTo>
                  <a:pt x="683" y="92"/>
                  <a:pt x="683" y="92"/>
                  <a:pt x="683" y="92"/>
                </a:cubicBezTo>
                <a:cubicBezTo>
                  <a:pt x="683" y="93"/>
                  <a:pt x="683" y="93"/>
                  <a:pt x="683" y="93"/>
                </a:cubicBezTo>
                <a:cubicBezTo>
                  <a:pt x="684" y="93"/>
                  <a:pt x="684" y="93"/>
                  <a:pt x="684" y="93"/>
                </a:cubicBezTo>
                <a:cubicBezTo>
                  <a:pt x="685" y="92"/>
                  <a:pt x="685" y="92"/>
                  <a:pt x="685" y="92"/>
                </a:cubicBezTo>
                <a:cubicBezTo>
                  <a:pt x="685" y="92"/>
                  <a:pt x="685" y="92"/>
                  <a:pt x="685" y="92"/>
                </a:cubicBezTo>
                <a:cubicBezTo>
                  <a:pt x="686" y="91"/>
                  <a:pt x="686" y="91"/>
                  <a:pt x="686" y="91"/>
                </a:cubicBezTo>
                <a:cubicBezTo>
                  <a:pt x="688" y="91"/>
                  <a:pt x="688" y="91"/>
                  <a:pt x="688" y="91"/>
                </a:cubicBezTo>
                <a:cubicBezTo>
                  <a:pt x="688" y="92"/>
                  <a:pt x="688" y="92"/>
                  <a:pt x="688" y="92"/>
                </a:cubicBezTo>
                <a:cubicBezTo>
                  <a:pt x="689" y="92"/>
                  <a:pt x="689" y="92"/>
                  <a:pt x="689" y="92"/>
                </a:cubicBezTo>
                <a:cubicBezTo>
                  <a:pt x="690" y="92"/>
                  <a:pt x="690" y="92"/>
                  <a:pt x="690" y="92"/>
                </a:cubicBezTo>
                <a:cubicBezTo>
                  <a:pt x="690" y="91"/>
                  <a:pt x="690" y="91"/>
                  <a:pt x="690" y="91"/>
                </a:cubicBezTo>
                <a:cubicBezTo>
                  <a:pt x="690" y="90"/>
                  <a:pt x="690" y="90"/>
                  <a:pt x="690" y="90"/>
                </a:cubicBezTo>
                <a:cubicBezTo>
                  <a:pt x="691" y="88"/>
                  <a:pt x="691" y="88"/>
                  <a:pt x="691" y="88"/>
                </a:cubicBezTo>
                <a:cubicBezTo>
                  <a:pt x="691" y="88"/>
                  <a:pt x="691" y="88"/>
                  <a:pt x="691" y="88"/>
                </a:cubicBezTo>
                <a:cubicBezTo>
                  <a:pt x="692" y="86"/>
                  <a:pt x="692" y="86"/>
                  <a:pt x="692" y="86"/>
                </a:cubicBezTo>
                <a:cubicBezTo>
                  <a:pt x="692" y="85"/>
                  <a:pt x="692" y="85"/>
                  <a:pt x="692" y="85"/>
                </a:cubicBezTo>
                <a:cubicBezTo>
                  <a:pt x="690" y="85"/>
                  <a:pt x="690" y="85"/>
                  <a:pt x="690" y="85"/>
                </a:cubicBezTo>
                <a:cubicBezTo>
                  <a:pt x="690" y="84"/>
                  <a:pt x="690" y="84"/>
                  <a:pt x="690" y="84"/>
                </a:cubicBezTo>
                <a:cubicBezTo>
                  <a:pt x="690" y="82"/>
                  <a:pt x="690" y="82"/>
                  <a:pt x="690" y="82"/>
                </a:cubicBezTo>
                <a:cubicBezTo>
                  <a:pt x="692" y="82"/>
                  <a:pt x="692" y="82"/>
                  <a:pt x="692" y="82"/>
                </a:cubicBezTo>
                <a:cubicBezTo>
                  <a:pt x="692" y="80"/>
                  <a:pt x="692" y="80"/>
                  <a:pt x="692" y="80"/>
                </a:cubicBezTo>
                <a:cubicBezTo>
                  <a:pt x="690" y="79"/>
                  <a:pt x="690" y="79"/>
                  <a:pt x="690" y="79"/>
                </a:cubicBezTo>
                <a:cubicBezTo>
                  <a:pt x="689" y="79"/>
                  <a:pt x="689" y="79"/>
                  <a:pt x="689" y="79"/>
                </a:cubicBezTo>
                <a:cubicBezTo>
                  <a:pt x="689" y="81"/>
                  <a:pt x="689" y="81"/>
                  <a:pt x="689" y="81"/>
                </a:cubicBezTo>
                <a:cubicBezTo>
                  <a:pt x="688" y="81"/>
                  <a:pt x="688" y="81"/>
                  <a:pt x="688" y="81"/>
                </a:cubicBezTo>
                <a:cubicBezTo>
                  <a:pt x="687" y="81"/>
                  <a:pt x="687" y="81"/>
                  <a:pt x="687" y="81"/>
                </a:cubicBezTo>
                <a:cubicBezTo>
                  <a:pt x="684" y="80"/>
                  <a:pt x="684" y="80"/>
                  <a:pt x="684" y="80"/>
                </a:cubicBezTo>
                <a:cubicBezTo>
                  <a:pt x="682" y="83"/>
                  <a:pt x="682" y="83"/>
                  <a:pt x="682" y="83"/>
                </a:cubicBezTo>
                <a:cubicBezTo>
                  <a:pt x="680" y="84"/>
                  <a:pt x="680" y="84"/>
                  <a:pt x="680" y="84"/>
                </a:cubicBezTo>
                <a:cubicBezTo>
                  <a:pt x="680" y="83"/>
                  <a:pt x="680" y="83"/>
                  <a:pt x="680" y="83"/>
                </a:cubicBezTo>
                <a:cubicBezTo>
                  <a:pt x="682" y="82"/>
                  <a:pt x="682" y="82"/>
                  <a:pt x="682" y="82"/>
                </a:cubicBezTo>
                <a:cubicBezTo>
                  <a:pt x="683" y="81"/>
                  <a:pt x="683" y="81"/>
                  <a:pt x="683" y="81"/>
                </a:cubicBezTo>
                <a:cubicBezTo>
                  <a:pt x="683" y="78"/>
                  <a:pt x="683" y="78"/>
                  <a:pt x="683" y="78"/>
                </a:cubicBezTo>
                <a:cubicBezTo>
                  <a:pt x="682" y="80"/>
                  <a:pt x="682" y="80"/>
                  <a:pt x="682" y="80"/>
                </a:cubicBezTo>
                <a:cubicBezTo>
                  <a:pt x="682" y="79"/>
                  <a:pt x="682" y="79"/>
                  <a:pt x="682" y="79"/>
                </a:cubicBezTo>
                <a:cubicBezTo>
                  <a:pt x="681" y="78"/>
                  <a:pt x="681" y="78"/>
                  <a:pt x="681" y="78"/>
                </a:cubicBezTo>
                <a:cubicBezTo>
                  <a:pt x="683" y="76"/>
                  <a:pt x="683" y="76"/>
                  <a:pt x="683" y="76"/>
                </a:cubicBezTo>
                <a:cubicBezTo>
                  <a:pt x="682" y="74"/>
                  <a:pt x="682" y="74"/>
                  <a:pt x="682" y="74"/>
                </a:cubicBezTo>
                <a:cubicBezTo>
                  <a:pt x="683" y="72"/>
                  <a:pt x="683" y="72"/>
                  <a:pt x="683" y="72"/>
                </a:cubicBezTo>
                <a:cubicBezTo>
                  <a:pt x="684" y="72"/>
                  <a:pt x="684" y="72"/>
                  <a:pt x="684" y="72"/>
                </a:cubicBezTo>
                <a:cubicBezTo>
                  <a:pt x="684" y="73"/>
                  <a:pt x="684" y="73"/>
                  <a:pt x="684" y="73"/>
                </a:cubicBezTo>
                <a:cubicBezTo>
                  <a:pt x="685" y="76"/>
                  <a:pt x="685" y="76"/>
                  <a:pt x="685" y="76"/>
                </a:cubicBezTo>
                <a:cubicBezTo>
                  <a:pt x="686" y="78"/>
                  <a:pt x="686" y="78"/>
                  <a:pt x="686" y="78"/>
                </a:cubicBezTo>
                <a:cubicBezTo>
                  <a:pt x="687" y="77"/>
                  <a:pt x="687" y="77"/>
                  <a:pt x="687" y="77"/>
                </a:cubicBezTo>
                <a:cubicBezTo>
                  <a:pt x="689" y="77"/>
                  <a:pt x="689" y="77"/>
                  <a:pt x="689" y="77"/>
                </a:cubicBezTo>
                <a:cubicBezTo>
                  <a:pt x="690" y="75"/>
                  <a:pt x="690" y="75"/>
                  <a:pt x="690" y="75"/>
                </a:cubicBezTo>
                <a:cubicBezTo>
                  <a:pt x="689" y="74"/>
                  <a:pt x="689" y="74"/>
                  <a:pt x="689" y="74"/>
                </a:cubicBezTo>
                <a:cubicBezTo>
                  <a:pt x="689" y="73"/>
                  <a:pt x="689" y="73"/>
                  <a:pt x="689" y="73"/>
                </a:cubicBezTo>
                <a:cubicBezTo>
                  <a:pt x="691" y="73"/>
                  <a:pt x="691" y="73"/>
                  <a:pt x="691" y="73"/>
                </a:cubicBezTo>
                <a:cubicBezTo>
                  <a:pt x="691" y="74"/>
                  <a:pt x="691" y="74"/>
                  <a:pt x="691" y="74"/>
                </a:cubicBezTo>
                <a:cubicBezTo>
                  <a:pt x="692" y="73"/>
                  <a:pt x="692" y="73"/>
                  <a:pt x="692" y="73"/>
                </a:cubicBezTo>
                <a:cubicBezTo>
                  <a:pt x="694" y="72"/>
                  <a:pt x="694" y="72"/>
                  <a:pt x="694" y="72"/>
                </a:cubicBezTo>
                <a:cubicBezTo>
                  <a:pt x="695" y="70"/>
                  <a:pt x="695" y="70"/>
                  <a:pt x="695" y="70"/>
                </a:cubicBezTo>
                <a:cubicBezTo>
                  <a:pt x="695" y="72"/>
                  <a:pt x="695" y="72"/>
                  <a:pt x="695" y="72"/>
                </a:cubicBezTo>
                <a:cubicBezTo>
                  <a:pt x="696" y="72"/>
                  <a:pt x="696" y="72"/>
                  <a:pt x="696" y="72"/>
                </a:cubicBezTo>
                <a:cubicBezTo>
                  <a:pt x="697" y="70"/>
                  <a:pt x="697" y="70"/>
                  <a:pt x="697" y="70"/>
                </a:cubicBezTo>
                <a:cubicBezTo>
                  <a:pt x="696" y="73"/>
                  <a:pt x="696" y="73"/>
                  <a:pt x="696" y="73"/>
                </a:cubicBezTo>
                <a:cubicBezTo>
                  <a:pt x="696" y="76"/>
                  <a:pt x="696" y="76"/>
                  <a:pt x="696" y="76"/>
                </a:cubicBezTo>
                <a:cubicBezTo>
                  <a:pt x="697" y="75"/>
                  <a:pt x="697" y="75"/>
                  <a:pt x="697" y="75"/>
                </a:cubicBezTo>
                <a:cubicBezTo>
                  <a:pt x="698" y="76"/>
                  <a:pt x="698" y="76"/>
                  <a:pt x="698" y="76"/>
                </a:cubicBezTo>
                <a:cubicBezTo>
                  <a:pt x="697" y="77"/>
                  <a:pt x="697" y="77"/>
                  <a:pt x="697" y="77"/>
                </a:cubicBezTo>
                <a:cubicBezTo>
                  <a:pt x="698" y="77"/>
                  <a:pt x="698" y="77"/>
                  <a:pt x="698" y="77"/>
                </a:cubicBezTo>
                <a:cubicBezTo>
                  <a:pt x="699" y="75"/>
                  <a:pt x="699" y="75"/>
                  <a:pt x="699" y="75"/>
                </a:cubicBezTo>
                <a:cubicBezTo>
                  <a:pt x="700" y="75"/>
                  <a:pt x="700" y="75"/>
                  <a:pt x="700" y="75"/>
                </a:cubicBezTo>
                <a:cubicBezTo>
                  <a:pt x="701" y="72"/>
                  <a:pt x="701" y="72"/>
                  <a:pt x="701" y="72"/>
                </a:cubicBezTo>
                <a:cubicBezTo>
                  <a:pt x="703" y="71"/>
                  <a:pt x="703" y="71"/>
                  <a:pt x="703" y="71"/>
                </a:cubicBezTo>
                <a:cubicBezTo>
                  <a:pt x="702" y="73"/>
                  <a:pt x="702" y="73"/>
                  <a:pt x="702" y="73"/>
                </a:cubicBezTo>
                <a:cubicBezTo>
                  <a:pt x="701" y="75"/>
                  <a:pt x="701" y="75"/>
                  <a:pt x="701" y="75"/>
                </a:cubicBezTo>
                <a:cubicBezTo>
                  <a:pt x="701" y="78"/>
                  <a:pt x="701" y="78"/>
                  <a:pt x="701" y="78"/>
                </a:cubicBezTo>
                <a:cubicBezTo>
                  <a:pt x="703" y="78"/>
                  <a:pt x="703" y="78"/>
                  <a:pt x="703" y="78"/>
                </a:cubicBezTo>
                <a:cubicBezTo>
                  <a:pt x="704" y="79"/>
                  <a:pt x="704" y="79"/>
                  <a:pt x="704" y="79"/>
                </a:cubicBezTo>
                <a:cubicBezTo>
                  <a:pt x="705" y="78"/>
                  <a:pt x="705" y="78"/>
                  <a:pt x="705" y="78"/>
                </a:cubicBezTo>
                <a:cubicBezTo>
                  <a:pt x="707" y="76"/>
                  <a:pt x="707" y="76"/>
                  <a:pt x="707" y="76"/>
                </a:cubicBezTo>
                <a:cubicBezTo>
                  <a:pt x="708" y="73"/>
                  <a:pt x="708" y="73"/>
                  <a:pt x="708" y="73"/>
                </a:cubicBezTo>
                <a:cubicBezTo>
                  <a:pt x="709" y="71"/>
                  <a:pt x="709" y="71"/>
                  <a:pt x="709" y="71"/>
                </a:cubicBezTo>
                <a:cubicBezTo>
                  <a:pt x="708" y="69"/>
                  <a:pt x="708" y="69"/>
                  <a:pt x="708" y="69"/>
                </a:cubicBezTo>
                <a:cubicBezTo>
                  <a:pt x="709" y="68"/>
                  <a:pt x="709" y="68"/>
                  <a:pt x="709" y="68"/>
                </a:cubicBezTo>
                <a:cubicBezTo>
                  <a:pt x="709" y="67"/>
                  <a:pt x="709" y="67"/>
                  <a:pt x="709" y="67"/>
                </a:cubicBezTo>
                <a:cubicBezTo>
                  <a:pt x="707" y="67"/>
                  <a:pt x="707" y="67"/>
                  <a:pt x="707" y="67"/>
                </a:cubicBezTo>
                <a:cubicBezTo>
                  <a:pt x="706" y="66"/>
                  <a:pt x="706" y="66"/>
                  <a:pt x="706" y="66"/>
                </a:cubicBezTo>
                <a:cubicBezTo>
                  <a:pt x="705" y="67"/>
                  <a:pt x="705" y="67"/>
                  <a:pt x="705" y="67"/>
                </a:cubicBezTo>
                <a:cubicBezTo>
                  <a:pt x="705" y="65"/>
                  <a:pt x="705" y="65"/>
                  <a:pt x="705" y="65"/>
                </a:cubicBezTo>
                <a:cubicBezTo>
                  <a:pt x="706" y="64"/>
                  <a:pt x="706" y="64"/>
                  <a:pt x="706" y="64"/>
                </a:cubicBezTo>
                <a:cubicBezTo>
                  <a:pt x="705" y="63"/>
                  <a:pt x="705" y="63"/>
                  <a:pt x="705" y="63"/>
                </a:cubicBezTo>
                <a:cubicBezTo>
                  <a:pt x="703" y="64"/>
                  <a:pt x="703" y="64"/>
                  <a:pt x="703" y="64"/>
                </a:cubicBezTo>
                <a:cubicBezTo>
                  <a:pt x="703" y="63"/>
                  <a:pt x="703" y="63"/>
                  <a:pt x="703" y="63"/>
                </a:cubicBezTo>
                <a:cubicBezTo>
                  <a:pt x="701" y="61"/>
                  <a:pt x="701" y="61"/>
                  <a:pt x="701" y="61"/>
                </a:cubicBezTo>
                <a:cubicBezTo>
                  <a:pt x="701" y="60"/>
                  <a:pt x="701" y="60"/>
                  <a:pt x="701" y="60"/>
                </a:cubicBezTo>
                <a:cubicBezTo>
                  <a:pt x="700" y="57"/>
                  <a:pt x="700" y="57"/>
                  <a:pt x="700" y="57"/>
                </a:cubicBezTo>
                <a:cubicBezTo>
                  <a:pt x="700" y="54"/>
                  <a:pt x="700" y="54"/>
                  <a:pt x="700" y="54"/>
                </a:cubicBezTo>
                <a:cubicBezTo>
                  <a:pt x="701" y="52"/>
                  <a:pt x="701" y="52"/>
                  <a:pt x="701" y="52"/>
                </a:cubicBezTo>
                <a:cubicBezTo>
                  <a:pt x="700" y="49"/>
                  <a:pt x="700" y="49"/>
                  <a:pt x="700" y="49"/>
                </a:cubicBezTo>
                <a:cubicBezTo>
                  <a:pt x="699" y="51"/>
                  <a:pt x="699" y="51"/>
                  <a:pt x="699" y="51"/>
                </a:cubicBezTo>
                <a:cubicBezTo>
                  <a:pt x="699" y="53"/>
                  <a:pt x="699" y="53"/>
                  <a:pt x="699" y="53"/>
                </a:cubicBezTo>
                <a:cubicBezTo>
                  <a:pt x="697" y="51"/>
                  <a:pt x="697" y="51"/>
                  <a:pt x="697" y="51"/>
                </a:cubicBezTo>
                <a:cubicBezTo>
                  <a:pt x="695" y="50"/>
                  <a:pt x="695" y="50"/>
                  <a:pt x="695" y="50"/>
                </a:cubicBezTo>
                <a:cubicBezTo>
                  <a:pt x="694" y="46"/>
                  <a:pt x="694" y="46"/>
                  <a:pt x="694" y="46"/>
                </a:cubicBezTo>
                <a:cubicBezTo>
                  <a:pt x="693" y="45"/>
                  <a:pt x="693" y="45"/>
                  <a:pt x="693" y="45"/>
                </a:cubicBezTo>
                <a:cubicBezTo>
                  <a:pt x="693" y="42"/>
                  <a:pt x="693" y="42"/>
                  <a:pt x="693" y="42"/>
                </a:cubicBezTo>
                <a:cubicBezTo>
                  <a:pt x="691" y="40"/>
                  <a:pt x="691" y="40"/>
                  <a:pt x="691" y="40"/>
                </a:cubicBezTo>
                <a:cubicBezTo>
                  <a:pt x="691" y="38"/>
                  <a:pt x="691" y="38"/>
                  <a:pt x="691" y="38"/>
                </a:cubicBezTo>
                <a:cubicBezTo>
                  <a:pt x="691" y="37"/>
                  <a:pt x="691" y="37"/>
                  <a:pt x="691" y="37"/>
                </a:cubicBezTo>
                <a:cubicBezTo>
                  <a:pt x="691" y="35"/>
                  <a:pt x="691" y="35"/>
                  <a:pt x="691" y="35"/>
                </a:cubicBezTo>
                <a:cubicBezTo>
                  <a:pt x="693" y="35"/>
                  <a:pt x="693" y="35"/>
                  <a:pt x="693" y="35"/>
                </a:cubicBezTo>
                <a:cubicBezTo>
                  <a:pt x="693" y="33"/>
                  <a:pt x="693" y="33"/>
                  <a:pt x="693" y="33"/>
                </a:cubicBezTo>
                <a:cubicBezTo>
                  <a:pt x="695" y="33"/>
                  <a:pt x="695" y="33"/>
                  <a:pt x="695" y="33"/>
                </a:cubicBezTo>
                <a:cubicBezTo>
                  <a:pt x="695" y="34"/>
                  <a:pt x="695" y="34"/>
                  <a:pt x="695" y="34"/>
                </a:cubicBezTo>
                <a:cubicBezTo>
                  <a:pt x="696" y="33"/>
                  <a:pt x="696" y="33"/>
                  <a:pt x="696" y="33"/>
                </a:cubicBezTo>
                <a:cubicBezTo>
                  <a:pt x="696" y="31"/>
                  <a:pt x="696" y="31"/>
                  <a:pt x="696" y="31"/>
                </a:cubicBezTo>
                <a:cubicBezTo>
                  <a:pt x="698" y="27"/>
                  <a:pt x="698" y="27"/>
                  <a:pt x="698" y="27"/>
                </a:cubicBezTo>
                <a:cubicBezTo>
                  <a:pt x="698" y="24"/>
                  <a:pt x="698" y="24"/>
                  <a:pt x="698" y="24"/>
                </a:cubicBezTo>
                <a:cubicBezTo>
                  <a:pt x="699" y="23"/>
                  <a:pt x="699" y="23"/>
                  <a:pt x="699" y="23"/>
                </a:cubicBezTo>
                <a:cubicBezTo>
                  <a:pt x="697" y="20"/>
                  <a:pt x="697" y="20"/>
                  <a:pt x="697" y="20"/>
                </a:cubicBezTo>
                <a:cubicBezTo>
                  <a:pt x="698" y="18"/>
                  <a:pt x="698" y="18"/>
                  <a:pt x="698" y="18"/>
                </a:cubicBezTo>
                <a:cubicBezTo>
                  <a:pt x="699" y="18"/>
                  <a:pt x="699" y="18"/>
                  <a:pt x="699" y="18"/>
                </a:cubicBezTo>
                <a:cubicBezTo>
                  <a:pt x="699" y="15"/>
                  <a:pt x="699" y="15"/>
                  <a:pt x="699" y="15"/>
                </a:cubicBezTo>
                <a:cubicBezTo>
                  <a:pt x="701" y="12"/>
                  <a:pt x="701" y="12"/>
                  <a:pt x="701" y="12"/>
                </a:cubicBezTo>
                <a:cubicBezTo>
                  <a:pt x="702" y="10"/>
                  <a:pt x="702" y="10"/>
                  <a:pt x="702" y="10"/>
                </a:cubicBezTo>
                <a:cubicBezTo>
                  <a:pt x="703" y="9"/>
                  <a:pt x="703" y="9"/>
                  <a:pt x="703" y="9"/>
                </a:cubicBezTo>
                <a:cubicBezTo>
                  <a:pt x="703" y="5"/>
                  <a:pt x="703" y="5"/>
                  <a:pt x="703" y="5"/>
                </a:cubicBezTo>
                <a:cubicBezTo>
                  <a:pt x="704" y="4"/>
                  <a:pt x="704" y="4"/>
                  <a:pt x="704" y="4"/>
                </a:cubicBezTo>
                <a:cubicBezTo>
                  <a:pt x="704" y="3"/>
                  <a:pt x="704" y="3"/>
                  <a:pt x="704" y="3"/>
                </a:cubicBezTo>
                <a:cubicBezTo>
                  <a:pt x="706" y="0"/>
                  <a:pt x="706" y="0"/>
                  <a:pt x="706" y="0"/>
                </a:cubicBezTo>
                <a:cubicBezTo>
                  <a:pt x="683" y="0"/>
                  <a:pt x="683" y="0"/>
                  <a:pt x="683" y="0"/>
                </a:cubicBezTo>
                <a:cubicBezTo>
                  <a:pt x="683" y="3"/>
                  <a:pt x="683" y="3"/>
                  <a:pt x="683" y="3"/>
                </a:cubicBezTo>
                <a:cubicBezTo>
                  <a:pt x="682" y="4"/>
                  <a:pt x="682" y="4"/>
                  <a:pt x="682" y="4"/>
                </a:cubicBezTo>
                <a:cubicBezTo>
                  <a:pt x="681" y="4"/>
                  <a:pt x="681" y="4"/>
                  <a:pt x="681" y="4"/>
                </a:cubicBezTo>
                <a:cubicBezTo>
                  <a:pt x="679" y="7"/>
                  <a:pt x="679" y="7"/>
                  <a:pt x="679" y="7"/>
                </a:cubicBezTo>
                <a:cubicBezTo>
                  <a:pt x="680" y="8"/>
                  <a:pt x="680" y="8"/>
                  <a:pt x="680" y="8"/>
                </a:cubicBezTo>
                <a:cubicBezTo>
                  <a:pt x="680" y="10"/>
                  <a:pt x="680" y="10"/>
                  <a:pt x="680" y="10"/>
                </a:cubicBezTo>
                <a:cubicBezTo>
                  <a:pt x="679" y="12"/>
                  <a:pt x="679" y="12"/>
                  <a:pt x="679" y="12"/>
                </a:cubicBezTo>
                <a:cubicBezTo>
                  <a:pt x="678" y="14"/>
                  <a:pt x="678" y="14"/>
                  <a:pt x="678" y="14"/>
                </a:cubicBezTo>
                <a:cubicBezTo>
                  <a:pt x="679" y="15"/>
                  <a:pt x="679" y="15"/>
                  <a:pt x="679" y="15"/>
                </a:cubicBezTo>
                <a:cubicBezTo>
                  <a:pt x="679" y="17"/>
                  <a:pt x="679" y="17"/>
                  <a:pt x="679" y="17"/>
                </a:cubicBezTo>
                <a:cubicBezTo>
                  <a:pt x="676" y="17"/>
                  <a:pt x="676" y="17"/>
                  <a:pt x="676" y="17"/>
                </a:cubicBezTo>
                <a:cubicBezTo>
                  <a:pt x="677" y="18"/>
                  <a:pt x="677" y="18"/>
                  <a:pt x="677" y="18"/>
                </a:cubicBezTo>
                <a:cubicBezTo>
                  <a:pt x="679" y="19"/>
                  <a:pt x="679" y="19"/>
                  <a:pt x="679" y="19"/>
                </a:cubicBezTo>
                <a:cubicBezTo>
                  <a:pt x="679" y="20"/>
                  <a:pt x="679" y="20"/>
                  <a:pt x="679" y="20"/>
                </a:cubicBezTo>
                <a:cubicBezTo>
                  <a:pt x="678" y="20"/>
                  <a:pt x="678" y="20"/>
                  <a:pt x="678" y="20"/>
                </a:cubicBezTo>
                <a:cubicBezTo>
                  <a:pt x="676" y="20"/>
                  <a:pt x="676" y="20"/>
                  <a:pt x="676" y="20"/>
                </a:cubicBezTo>
                <a:cubicBezTo>
                  <a:pt x="675" y="21"/>
                  <a:pt x="675" y="21"/>
                  <a:pt x="675" y="21"/>
                </a:cubicBezTo>
                <a:cubicBezTo>
                  <a:pt x="674" y="21"/>
                  <a:pt x="674" y="21"/>
                  <a:pt x="674" y="21"/>
                </a:cubicBezTo>
                <a:cubicBezTo>
                  <a:pt x="673" y="22"/>
                  <a:pt x="673" y="22"/>
                  <a:pt x="673" y="22"/>
                </a:cubicBezTo>
                <a:cubicBezTo>
                  <a:pt x="673" y="24"/>
                  <a:pt x="673" y="24"/>
                  <a:pt x="673" y="24"/>
                </a:cubicBezTo>
                <a:cubicBezTo>
                  <a:pt x="672" y="24"/>
                  <a:pt x="672" y="24"/>
                  <a:pt x="672" y="24"/>
                </a:cubicBezTo>
                <a:cubicBezTo>
                  <a:pt x="671" y="24"/>
                  <a:pt x="671" y="24"/>
                  <a:pt x="671" y="24"/>
                </a:cubicBezTo>
                <a:cubicBezTo>
                  <a:pt x="670" y="22"/>
                  <a:pt x="670" y="22"/>
                  <a:pt x="670" y="22"/>
                </a:cubicBezTo>
                <a:cubicBezTo>
                  <a:pt x="671" y="20"/>
                  <a:pt x="671" y="20"/>
                  <a:pt x="671" y="20"/>
                </a:cubicBezTo>
                <a:cubicBezTo>
                  <a:pt x="670" y="19"/>
                  <a:pt x="670" y="19"/>
                  <a:pt x="670" y="19"/>
                </a:cubicBezTo>
                <a:cubicBezTo>
                  <a:pt x="670" y="16"/>
                  <a:pt x="670" y="16"/>
                  <a:pt x="670" y="16"/>
                </a:cubicBezTo>
                <a:cubicBezTo>
                  <a:pt x="671" y="13"/>
                  <a:pt x="671" y="13"/>
                  <a:pt x="671" y="13"/>
                </a:cubicBezTo>
                <a:cubicBezTo>
                  <a:pt x="672" y="10"/>
                  <a:pt x="672" y="10"/>
                  <a:pt x="672" y="10"/>
                </a:cubicBezTo>
                <a:cubicBezTo>
                  <a:pt x="673" y="9"/>
                  <a:pt x="673" y="9"/>
                  <a:pt x="673" y="9"/>
                </a:cubicBezTo>
                <a:cubicBezTo>
                  <a:pt x="673" y="7"/>
                  <a:pt x="673" y="7"/>
                  <a:pt x="673" y="7"/>
                </a:cubicBezTo>
                <a:cubicBezTo>
                  <a:pt x="674" y="6"/>
                  <a:pt x="674" y="6"/>
                  <a:pt x="674" y="6"/>
                </a:cubicBezTo>
                <a:cubicBezTo>
                  <a:pt x="675" y="2"/>
                  <a:pt x="675" y="2"/>
                  <a:pt x="675" y="2"/>
                </a:cubicBezTo>
                <a:cubicBezTo>
                  <a:pt x="677" y="0"/>
                  <a:pt x="677" y="0"/>
                  <a:pt x="677" y="0"/>
                </a:cubicBezTo>
                <a:cubicBezTo>
                  <a:pt x="594" y="0"/>
                  <a:pt x="594" y="0"/>
                  <a:pt x="594" y="0"/>
                </a:cubicBezTo>
                <a:cubicBezTo>
                  <a:pt x="592" y="1"/>
                  <a:pt x="592" y="1"/>
                  <a:pt x="592" y="1"/>
                </a:cubicBezTo>
                <a:cubicBezTo>
                  <a:pt x="591" y="0"/>
                  <a:pt x="591" y="0"/>
                  <a:pt x="591" y="0"/>
                </a:cubicBezTo>
                <a:cubicBezTo>
                  <a:pt x="589" y="0"/>
                  <a:pt x="589" y="0"/>
                  <a:pt x="589" y="0"/>
                </a:cubicBezTo>
                <a:cubicBezTo>
                  <a:pt x="588" y="1"/>
                  <a:pt x="588" y="1"/>
                  <a:pt x="588" y="1"/>
                </a:cubicBezTo>
                <a:cubicBezTo>
                  <a:pt x="589" y="3"/>
                  <a:pt x="589" y="3"/>
                  <a:pt x="589" y="3"/>
                </a:cubicBezTo>
                <a:cubicBezTo>
                  <a:pt x="592" y="4"/>
                  <a:pt x="592" y="4"/>
                  <a:pt x="592" y="4"/>
                </a:cubicBezTo>
                <a:cubicBezTo>
                  <a:pt x="593" y="4"/>
                  <a:pt x="593" y="4"/>
                  <a:pt x="593" y="4"/>
                </a:cubicBezTo>
                <a:cubicBezTo>
                  <a:pt x="594" y="2"/>
                  <a:pt x="594" y="2"/>
                  <a:pt x="594" y="2"/>
                </a:cubicBezTo>
                <a:cubicBezTo>
                  <a:pt x="595" y="2"/>
                  <a:pt x="595" y="2"/>
                  <a:pt x="595" y="2"/>
                </a:cubicBezTo>
                <a:cubicBezTo>
                  <a:pt x="596" y="3"/>
                  <a:pt x="596" y="3"/>
                  <a:pt x="596" y="3"/>
                </a:cubicBezTo>
                <a:cubicBezTo>
                  <a:pt x="595" y="4"/>
                  <a:pt x="595" y="4"/>
                  <a:pt x="595" y="4"/>
                </a:cubicBezTo>
                <a:cubicBezTo>
                  <a:pt x="596" y="4"/>
                  <a:pt x="596" y="4"/>
                  <a:pt x="596" y="4"/>
                </a:cubicBezTo>
                <a:cubicBezTo>
                  <a:pt x="600" y="5"/>
                  <a:pt x="600" y="5"/>
                  <a:pt x="600" y="5"/>
                </a:cubicBezTo>
                <a:cubicBezTo>
                  <a:pt x="603" y="4"/>
                  <a:pt x="603" y="4"/>
                  <a:pt x="603" y="4"/>
                </a:cubicBezTo>
                <a:cubicBezTo>
                  <a:pt x="605" y="4"/>
                  <a:pt x="605" y="4"/>
                  <a:pt x="605" y="4"/>
                </a:cubicBezTo>
                <a:cubicBezTo>
                  <a:pt x="608" y="5"/>
                  <a:pt x="608" y="5"/>
                  <a:pt x="608" y="5"/>
                </a:cubicBezTo>
                <a:cubicBezTo>
                  <a:pt x="610" y="5"/>
                  <a:pt x="610" y="5"/>
                  <a:pt x="610" y="5"/>
                </a:cubicBezTo>
                <a:cubicBezTo>
                  <a:pt x="612" y="6"/>
                  <a:pt x="612" y="6"/>
                  <a:pt x="612" y="6"/>
                </a:cubicBezTo>
                <a:cubicBezTo>
                  <a:pt x="613" y="7"/>
                  <a:pt x="613" y="7"/>
                  <a:pt x="613" y="7"/>
                </a:cubicBezTo>
                <a:cubicBezTo>
                  <a:pt x="614" y="8"/>
                  <a:pt x="614" y="8"/>
                  <a:pt x="614" y="8"/>
                </a:cubicBezTo>
                <a:cubicBezTo>
                  <a:pt x="614" y="9"/>
                  <a:pt x="614" y="9"/>
                  <a:pt x="614" y="9"/>
                </a:cubicBezTo>
                <a:cubicBezTo>
                  <a:pt x="612" y="9"/>
                  <a:pt x="612" y="9"/>
                  <a:pt x="612" y="9"/>
                </a:cubicBezTo>
                <a:cubicBezTo>
                  <a:pt x="610" y="7"/>
                  <a:pt x="610" y="7"/>
                  <a:pt x="610" y="7"/>
                </a:cubicBezTo>
                <a:cubicBezTo>
                  <a:pt x="606" y="7"/>
                  <a:pt x="606" y="7"/>
                  <a:pt x="606" y="7"/>
                </a:cubicBezTo>
                <a:cubicBezTo>
                  <a:pt x="605" y="7"/>
                  <a:pt x="605" y="7"/>
                  <a:pt x="605" y="7"/>
                </a:cubicBezTo>
                <a:cubicBezTo>
                  <a:pt x="607" y="8"/>
                  <a:pt x="607" y="8"/>
                  <a:pt x="607" y="8"/>
                </a:cubicBezTo>
                <a:cubicBezTo>
                  <a:pt x="608" y="9"/>
                  <a:pt x="608" y="9"/>
                  <a:pt x="608" y="9"/>
                </a:cubicBezTo>
                <a:cubicBezTo>
                  <a:pt x="605" y="9"/>
                  <a:pt x="605" y="9"/>
                  <a:pt x="605" y="9"/>
                </a:cubicBezTo>
                <a:cubicBezTo>
                  <a:pt x="603" y="8"/>
                  <a:pt x="603" y="8"/>
                  <a:pt x="603" y="8"/>
                </a:cubicBezTo>
                <a:cubicBezTo>
                  <a:pt x="599" y="9"/>
                  <a:pt x="599" y="9"/>
                  <a:pt x="599" y="9"/>
                </a:cubicBezTo>
                <a:cubicBezTo>
                  <a:pt x="598" y="10"/>
                  <a:pt x="598" y="10"/>
                  <a:pt x="598" y="10"/>
                </a:cubicBezTo>
                <a:cubicBezTo>
                  <a:pt x="596" y="9"/>
                  <a:pt x="596" y="9"/>
                  <a:pt x="596" y="9"/>
                </a:cubicBezTo>
                <a:cubicBezTo>
                  <a:pt x="595" y="9"/>
                  <a:pt x="595" y="9"/>
                  <a:pt x="595" y="9"/>
                </a:cubicBezTo>
                <a:cubicBezTo>
                  <a:pt x="594" y="9"/>
                  <a:pt x="594" y="9"/>
                  <a:pt x="594" y="9"/>
                </a:cubicBezTo>
                <a:cubicBezTo>
                  <a:pt x="592" y="9"/>
                  <a:pt x="592" y="9"/>
                  <a:pt x="592" y="9"/>
                </a:cubicBezTo>
                <a:cubicBezTo>
                  <a:pt x="587" y="10"/>
                  <a:pt x="587" y="10"/>
                  <a:pt x="587" y="10"/>
                </a:cubicBezTo>
                <a:cubicBezTo>
                  <a:pt x="587" y="10"/>
                  <a:pt x="587" y="10"/>
                  <a:pt x="587" y="10"/>
                </a:cubicBezTo>
                <a:cubicBezTo>
                  <a:pt x="583" y="11"/>
                  <a:pt x="583" y="11"/>
                  <a:pt x="583" y="11"/>
                </a:cubicBezTo>
                <a:cubicBezTo>
                  <a:pt x="582" y="13"/>
                  <a:pt x="582" y="13"/>
                  <a:pt x="582" y="13"/>
                </a:cubicBezTo>
                <a:cubicBezTo>
                  <a:pt x="583" y="19"/>
                  <a:pt x="583" y="19"/>
                  <a:pt x="583" y="19"/>
                </a:cubicBezTo>
                <a:cubicBezTo>
                  <a:pt x="583" y="20"/>
                  <a:pt x="583" y="20"/>
                  <a:pt x="583" y="20"/>
                </a:cubicBezTo>
                <a:cubicBezTo>
                  <a:pt x="583" y="22"/>
                  <a:pt x="583" y="22"/>
                  <a:pt x="583" y="22"/>
                </a:cubicBezTo>
                <a:cubicBezTo>
                  <a:pt x="582" y="22"/>
                  <a:pt x="582" y="22"/>
                  <a:pt x="582" y="22"/>
                </a:cubicBezTo>
                <a:cubicBezTo>
                  <a:pt x="583" y="24"/>
                  <a:pt x="583" y="24"/>
                  <a:pt x="583" y="24"/>
                </a:cubicBezTo>
                <a:cubicBezTo>
                  <a:pt x="584" y="25"/>
                  <a:pt x="584" y="25"/>
                  <a:pt x="584" y="25"/>
                </a:cubicBezTo>
                <a:cubicBezTo>
                  <a:pt x="585" y="24"/>
                  <a:pt x="585" y="24"/>
                  <a:pt x="585" y="24"/>
                </a:cubicBezTo>
                <a:cubicBezTo>
                  <a:pt x="586" y="24"/>
                  <a:pt x="586" y="24"/>
                  <a:pt x="586" y="24"/>
                </a:cubicBezTo>
                <a:cubicBezTo>
                  <a:pt x="587" y="25"/>
                  <a:pt x="587" y="25"/>
                  <a:pt x="587" y="25"/>
                </a:cubicBezTo>
                <a:cubicBezTo>
                  <a:pt x="589" y="25"/>
                  <a:pt x="589" y="25"/>
                  <a:pt x="589" y="25"/>
                </a:cubicBezTo>
                <a:cubicBezTo>
                  <a:pt x="590" y="24"/>
                  <a:pt x="590" y="24"/>
                  <a:pt x="590" y="24"/>
                </a:cubicBezTo>
                <a:cubicBezTo>
                  <a:pt x="590" y="24"/>
                  <a:pt x="590" y="24"/>
                  <a:pt x="590" y="24"/>
                </a:cubicBezTo>
                <a:cubicBezTo>
                  <a:pt x="591" y="25"/>
                  <a:pt x="591" y="25"/>
                  <a:pt x="591" y="25"/>
                </a:cubicBezTo>
                <a:cubicBezTo>
                  <a:pt x="592" y="26"/>
                  <a:pt x="592" y="26"/>
                  <a:pt x="592" y="26"/>
                </a:cubicBezTo>
                <a:cubicBezTo>
                  <a:pt x="593" y="25"/>
                  <a:pt x="593" y="25"/>
                  <a:pt x="593" y="25"/>
                </a:cubicBezTo>
                <a:cubicBezTo>
                  <a:pt x="594" y="26"/>
                  <a:pt x="594" y="26"/>
                  <a:pt x="594" y="26"/>
                </a:cubicBezTo>
                <a:cubicBezTo>
                  <a:pt x="595" y="27"/>
                  <a:pt x="595" y="27"/>
                  <a:pt x="595" y="27"/>
                </a:cubicBezTo>
                <a:cubicBezTo>
                  <a:pt x="596" y="28"/>
                  <a:pt x="596" y="28"/>
                  <a:pt x="596" y="28"/>
                </a:cubicBezTo>
                <a:cubicBezTo>
                  <a:pt x="597" y="27"/>
                  <a:pt x="597" y="27"/>
                  <a:pt x="597" y="27"/>
                </a:cubicBezTo>
                <a:cubicBezTo>
                  <a:pt x="599" y="27"/>
                  <a:pt x="599" y="27"/>
                  <a:pt x="599" y="27"/>
                </a:cubicBezTo>
                <a:cubicBezTo>
                  <a:pt x="599" y="28"/>
                  <a:pt x="599" y="28"/>
                  <a:pt x="599" y="28"/>
                </a:cubicBezTo>
                <a:cubicBezTo>
                  <a:pt x="602" y="28"/>
                  <a:pt x="602" y="28"/>
                  <a:pt x="602" y="28"/>
                </a:cubicBezTo>
                <a:cubicBezTo>
                  <a:pt x="603" y="28"/>
                  <a:pt x="603" y="28"/>
                  <a:pt x="603" y="28"/>
                </a:cubicBezTo>
                <a:cubicBezTo>
                  <a:pt x="605" y="29"/>
                  <a:pt x="605" y="29"/>
                  <a:pt x="605" y="29"/>
                </a:cubicBezTo>
                <a:cubicBezTo>
                  <a:pt x="606" y="28"/>
                  <a:pt x="606" y="28"/>
                  <a:pt x="606" y="28"/>
                </a:cubicBezTo>
                <a:cubicBezTo>
                  <a:pt x="608" y="28"/>
                  <a:pt x="608" y="28"/>
                  <a:pt x="608" y="28"/>
                </a:cubicBezTo>
                <a:cubicBezTo>
                  <a:pt x="610" y="29"/>
                  <a:pt x="610" y="29"/>
                  <a:pt x="610" y="29"/>
                </a:cubicBezTo>
                <a:cubicBezTo>
                  <a:pt x="612" y="28"/>
                  <a:pt x="612" y="28"/>
                  <a:pt x="612" y="28"/>
                </a:cubicBezTo>
                <a:cubicBezTo>
                  <a:pt x="614" y="29"/>
                  <a:pt x="614" y="29"/>
                  <a:pt x="614" y="29"/>
                </a:cubicBezTo>
                <a:cubicBezTo>
                  <a:pt x="614" y="30"/>
                  <a:pt x="614" y="30"/>
                  <a:pt x="614" y="30"/>
                </a:cubicBezTo>
                <a:cubicBezTo>
                  <a:pt x="616" y="29"/>
                  <a:pt x="616" y="29"/>
                  <a:pt x="616" y="29"/>
                </a:cubicBezTo>
                <a:cubicBezTo>
                  <a:pt x="616" y="31"/>
                  <a:pt x="616" y="31"/>
                  <a:pt x="616" y="31"/>
                </a:cubicBezTo>
                <a:cubicBezTo>
                  <a:pt x="618" y="33"/>
                  <a:pt x="618" y="33"/>
                  <a:pt x="618" y="33"/>
                </a:cubicBezTo>
                <a:cubicBezTo>
                  <a:pt x="618" y="33"/>
                  <a:pt x="618" y="33"/>
                  <a:pt x="618" y="33"/>
                </a:cubicBezTo>
                <a:cubicBezTo>
                  <a:pt x="618" y="34"/>
                  <a:pt x="618" y="34"/>
                  <a:pt x="618" y="34"/>
                </a:cubicBezTo>
                <a:cubicBezTo>
                  <a:pt x="620" y="34"/>
                  <a:pt x="620" y="34"/>
                  <a:pt x="620" y="34"/>
                </a:cubicBezTo>
                <a:cubicBezTo>
                  <a:pt x="621" y="35"/>
                  <a:pt x="621" y="35"/>
                  <a:pt x="621" y="35"/>
                </a:cubicBezTo>
                <a:cubicBezTo>
                  <a:pt x="622" y="36"/>
                  <a:pt x="622" y="36"/>
                  <a:pt x="622" y="36"/>
                </a:cubicBezTo>
                <a:cubicBezTo>
                  <a:pt x="623" y="36"/>
                  <a:pt x="623" y="36"/>
                  <a:pt x="623" y="36"/>
                </a:cubicBezTo>
                <a:cubicBezTo>
                  <a:pt x="624" y="38"/>
                  <a:pt x="624" y="38"/>
                  <a:pt x="624" y="38"/>
                </a:cubicBezTo>
                <a:cubicBezTo>
                  <a:pt x="624" y="38"/>
                  <a:pt x="624" y="38"/>
                  <a:pt x="624" y="38"/>
                </a:cubicBezTo>
                <a:cubicBezTo>
                  <a:pt x="624" y="40"/>
                  <a:pt x="624" y="40"/>
                  <a:pt x="624" y="40"/>
                </a:cubicBezTo>
                <a:cubicBezTo>
                  <a:pt x="625" y="42"/>
                  <a:pt x="625" y="42"/>
                  <a:pt x="625" y="42"/>
                </a:cubicBezTo>
                <a:cubicBezTo>
                  <a:pt x="628" y="43"/>
                  <a:pt x="628" y="43"/>
                  <a:pt x="628" y="43"/>
                </a:cubicBezTo>
                <a:cubicBezTo>
                  <a:pt x="628" y="45"/>
                  <a:pt x="628" y="45"/>
                  <a:pt x="628" y="45"/>
                </a:cubicBezTo>
                <a:cubicBezTo>
                  <a:pt x="628" y="45"/>
                  <a:pt x="628" y="45"/>
                  <a:pt x="628" y="45"/>
                </a:cubicBezTo>
                <a:cubicBezTo>
                  <a:pt x="628" y="46"/>
                  <a:pt x="628" y="46"/>
                  <a:pt x="628" y="46"/>
                </a:cubicBezTo>
                <a:cubicBezTo>
                  <a:pt x="627" y="46"/>
                  <a:pt x="627" y="46"/>
                  <a:pt x="627" y="46"/>
                </a:cubicBezTo>
                <a:cubicBezTo>
                  <a:pt x="624" y="45"/>
                  <a:pt x="624" y="45"/>
                  <a:pt x="624" y="45"/>
                </a:cubicBezTo>
                <a:cubicBezTo>
                  <a:pt x="621" y="44"/>
                  <a:pt x="621" y="44"/>
                  <a:pt x="621" y="44"/>
                </a:cubicBezTo>
                <a:cubicBezTo>
                  <a:pt x="619" y="45"/>
                  <a:pt x="619" y="45"/>
                  <a:pt x="619" y="45"/>
                </a:cubicBezTo>
                <a:cubicBezTo>
                  <a:pt x="618" y="44"/>
                  <a:pt x="618" y="44"/>
                  <a:pt x="618" y="44"/>
                </a:cubicBezTo>
                <a:cubicBezTo>
                  <a:pt x="617" y="44"/>
                  <a:pt x="617" y="44"/>
                  <a:pt x="617" y="44"/>
                </a:cubicBezTo>
                <a:cubicBezTo>
                  <a:pt x="616" y="44"/>
                  <a:pt x="616" y="44"/>
                  <a:pt x="616" y="44"/>
                </a:cubicBezTo>
                <a:cubicBezTo>
                  <a:pt x="614" y="43"/>
                  <a:pt x="614" y="43"/>
                  <a:pt x="614" y="43"/>
                </a:cubicBezTo>
                <a:cubicBezTo>
                  <a:pt x="613" y="43"/>
                  <a:pt x="613" y="43"/>
                  <a:pt x="613" y="43"/>
                </a:cubicBezTo>
                <a:cubicBezTo>
                  <a:pt x="612" y="41"/>
                  <a:pt x="612" y="41"/>
                  <a:pt x="612" y="41"/>
                </a:cubicBezTo>
                <a:cubicBezTo>
                  <a:pt x="611" y="41"/>
                  <a:pt x="611" y="41"/>
                  <a:pt x="611" y="41"/>
                </a:cubicBezTo>
                <a:cubicBezTo>
                  <a:pt x="609" y="41"/>
                  <a:pt x="609" y="41"/>
                  <a:pt x="609" y="41"/>
                </a:cubicBezTo>
                <a:cubicBezTo>
                  <a:pt x="608" y="41"/>
                  <a:pt x="608" y="41"/>
                  <a:pt x="608" y="41"/>
                </a:cubicBezTo>
                <a:cubicBezTo>
                  <a:pt x="607" y="40"/>
                  <a:pt x="607" y="40"/>
                  <a:pt x="607" y="40"/>
                </a:cubicBezTo>
                <a:cubicBezTo>
                  <a:pt x="605" y="39"/>
                  <a:pt x="605" y="39"/>
                  <a:pt x="605" y="39"/>
                </a:cubicBezTo>
                <a:cubicBezTo>
                  <a:pt x="604" y="37"/>
                  <a:pt x="604" y="37"/>
                  <a:pt x="604" y="37"/>
                </a:cubicBezTo>
                <a:cubicBezTo>
                  <a:pt x="603" y="37"/>
                  <a:pt x="603" y="37"/>
                  <a:pt x="603" y="37"/>
                </a:cubicBezTo>
                <a:cubicBezTo>
                  <a:pt x="602" y="37"/>
                  <a:pt x="602" y="37"/>
                  <a:pt x="602" y="37"/>
                </a:cubicBezTo>
                <a:cubicBezTo>
                  <a:pt x="600" y="37"/>
                  <a:pt x="600" y="37"/>
                  <a:pt x="600" y="37"/>
                </a:cubicBezTo>
                <a:cubicBezTo>
                  <a:pt x="599" y="37"/>
                  <a:pt x="599" y="37"/>
                  <a:pt x="599" y="37"/>
                </a:cubicBezTo>
                <a:cubicBezTo>
                  <a:pt x="595" y="37"/>
                  <a:pt x="595" y="37"/>
                  <a:pt x="595" y="37"/>
                </a:cubicBezTo>
                <a:cubicBezTo>
                  <a:pt x="592" y="36"/>
                  <a:pt x="592" y="36"/>
                  <a:pt x="592" y="36"/>
                </a:cubicBezTo>
                <a:cubicBezTo>
                  <a:pt x="590" y="36"/>
                  <a:pt x="590" y="36"/>
                  <a:pt x="590" y="36"/>
                </a:cubicBezTo>
                <a:cubicBezTo>
                  <a:pt x="582" y="36"/>
                  <a:pt x="582" y="36"/>
                  <a:pt x="582" y="36"/>
                </a:cubicBezTo>
                <a:cubicBezTo>
                  <a:pt x="581" y="36"/>
                  <a:pt x="581" y="36"/>
                  <a:pt x="581" y="36"/>
                </a:cubicBezTo>
                <a:cubicBezTo>
                  <a:pt x="579" y="37"/>
                  <a:pt x="579" y="37"/>
                  <a:pt x="579" y="37"/>
                </a:cubicBezTo>
                <a:cubicBezTo>
                  <a:pt x="577" y="38"/>
                  <a:pt x="577" y="38"/>
                  <a:pt x="577" y="38"/>
                </a:cubicBezTo>
                <a:cubicBezTo>
                  <a:pt x="577" y="42"/>
                  <a:pt x="577" y="42"/>
                  <a:pt x="577" y="42"/>
                </a:cubicBezTo>
                <a:cubicBezTo>
                  <a:pt x="576" y="44"/>
                  <a:pt x="576" y="44"/>
                  <a:pt x="576" y="44"/>
                </a:cubicBezTo>
                <a:cubicBezTo>
                  <a:pt x="576" y="47"/>
                  <a:pt x="576" y="47"/>
                  <a:pt x="576" y="47"/>
                </a:cubicBezTo>
                <a:cubicBezTo>
                  <a:pt x="575" y="49"/>
                  <a:pt x="575" y="49"/>
                  <a:pt x="575" y="49"/>
                </a:cubicBezTo>
                <a:lnTo>
                  <a:pt x="576" y="50"/>
                </a:lnTo>
                <a:close/>
                <a:moveTo>
                  <a:pt x="727" y="13"/>
                </a:moveTo>
                <a:cubicBezTo>
                  <a:pt x="727" y="15"/>
                  <a:pt x="727" y="15"/>
                  <a:pt x="727" y="15"/>
                </a:cubicBezTo>
                <a:cubicBezTo>
                  <a:pt x="728" y="16"/>
                  <a:pt x="728" y="16"/>
                  <a:pt x="728" y="16"/>
                </a:cubicBezTo>
                <a:cubicBezTo>
                  <a:pt x="730" y="16"/>
                  <a:pt x="730" y="16"/>
                  <a:pt x="730" y="16"/>
                </a:cubicBezTo>
                <a:cubicBezTo>
                  <a:pt x="730" y="17"/>
                  <a:pt x="730" y="17"/>
                  <a:pt x="730" y="17"/>
                </a:cubicBezTo>
                <a:cubicBezTo>
                  <a:pt x="732" y="16"/>
                  <a:pt x="732" y="16"/>
                  <a:pt x="732" y="16"/>
                </a:cubicBezTo>
                <a:cubicBezTo>
                  <a:pt x="733" y="16"/>
                  <a:pt x="733" y="16"/>
                  <a:pt x="733" y="16"/>
                </a:cubicBezTo>
                <a:cubicBezTo>
                  <a:pt x="733" y="18"/>
                  <a:pt x="733" y="18"/>
                  <a:pt x="733" y="18"/>
                </a:cubicBezTo>
                <a:cubicBezTo>
                  <a:pt x="734" y="19"/>
                  <a:pt x="734" y="19"/>
                  <a:pt x="734" y="19"/>
                </a:cubicBezTo>
                <a:cubicBezTo>
                  <a:pt x="735" y="19"/>
                  <a:pt x="735" y="19"/>
                  <a:pt x="735" y="19"/>
                </a:cubicBezTo>
                <a:cubicBezTo>
                  <a:pt x="736" y="22"/>
                  <a:pt x="736" y="22"/>
                  <a:pt x="736" y="22"/>
                </a:cubicBezTo>
                <a:cubicBezTo>
                  <a:pt x="736" y="25"/>
                  <a:pt x="736" y="25"/>
                  <a:pt x="736" y="25"/>
                </a:cubicBezTo>
                <a:cubicBezTo>
                  <a:pt x="737" y="27"/>
                  <a:pt x="737" y="27"/>
                  <a:pt x="737" y="27"/>
                </a:cubicBezTo>
                <a:cubicBezTo>
                  <a:pt x="737" y="29"/>
                  <a:pt x="737" y="29"/>
                  <a:pt x="737" y="29"/>
                </a:cubicBezTo>
                <a:cubicBezTo>
                  <a:pt x="738" y="30"/>
                  <a:pt x="738" y="30"/>
                  <a:pt x="738" y="30"/>
                </a:cubicBezTo>
                <a:cubicBezTo>
                  <a:pt x="740" y="31"/>
                  <a:pt x="740" y="31"/>
                  <a:pt x="740" y="31"/>
                </a:cubicBezTo>
                <a:cubicBezTo>
                  <a:pt x="739" y="32"/>
                  <a:pt x="739" y="32"/>
                  <a:pt x="739" y="32"/>
                </a:cubicBezTo>
                <a:cubicBezTo>
                  <a:pt x="739" y="35"/>
                  <a:pt x="739" y="35"/>
                  <a:pt x="739" y="35"/>
                </a:cubicBezTo>
                <a:cubicBezTo>
                  <a:pt x="738" y="38"/>
                  <a:pt x="738" y="38"/>
                  <a:pt x="738" y="38"/>
                </a:cubicBezTo>
                <a:cubicBezTo>
                  <a:pt x="740" y="39"/>
                  <a:pt x="740" y="39"/>
                  <a:pt x="740" y="39"/>
                </a:cubicBezTo>
                <a:cubicBezTo>
                  <a:pt x="740" y="41"/>
                  <a:pt x="740" y="41"/>
                  <a:pt x="740" y="41"/>
                </a:cubicBezTo>
                <a:cubicBezTo>
                  <a:pt x="740" y="43"/>
                  <a:pt x="740" y="43"/>
                  <a:pt x="740" y="43"/>
                </a:cubicBezTo>
                <a:cubicBezTo>
                  <a:pt x="740" y="44"/>
                  <a:pt x="740" y="44"/>
                  <a:pt x="740" y="44"/>
                </a:cubicBezTo>
                <a:cubicBezTo>
                  <a:pt x="741" y="43"/>
                  <a:pt x="741" y="43"/>
                  <a:pt x="741" y="43"/>
                </a:cubicBezTo>
                <a:cubicBezTo>
                  <a:pt x="742" y="44"/>
                  <a:pt x="742" y="44"/>
                  <a:pt x="742" y="44"/>
                </a:cubicBezTo>
                <a:cubicBezTo>
                  <a:pt x="742" y="46"/>
                  <a:pt x="742" y="46"/>
                  <a:pt x="742" y="46"/>
                </a:cubicBezTo>
                <a:cubicBezTo>
                  <a:pt x="743" y="47"/>
                  <a:pt x="743" y="47"/>
                  <a:pt x="743" y="47"/>
                </a:cubicBezTo>
                <a:cubicBezTo>
                  <a:pt x="743" y="47"/>
                  <a:pt x="746" y="46"/>
                  <a:pt x="746" y="46"/>
                </a:cubicBezTo>
                <a:cubicBezTo>
                  <a:pt x="747" y="44"/>
                  <a:pt x="747" y="44"/>
                  <a:pt x="747" y="44"/>
                </a:cubicBezTo>
                <a:cubicBezTo>
                  <a:pt x="749" y="43"/>
                  <a:pt x="749" y="43"/>
                  <a:pt x="749" y="43"/>
                </a:cubicBezTo>
                <a:cubicBezTo>
                  <a:pt x="750" y="41"/>
                  <a:pt x="750" y="41"/>
                  <a:pt x="750" y="41"/>
                </a:cubicBezTo>
                <a:cubicBezTo>
                  <a:pt x="749" y="40"/>
                  <a:pt x="749" y="40"/>
                  <a:pt x="749" y="40"/>
                </a:cubicBezTo>
                <a:cubicBezTo>
                  <a:pt x="747" y="36"/>
                  <a:pt x="747" y="36"/>
                  <a:pt x="747" y="36"/>
                </a:cubicBezTo>
                <a:cubicBezTo>
                  <a:pt x="748" y="34"/>
                  <a:pt x="748" y="34"/>
                  <a:pt x="748" y="34"/>
                </a:cubicBezTo>
                <a:cubicBezTo>
                  <a:pt x="751" y="31"/>
                  <a:pt x="751" y="31"/>
                  <a:pt x="751" y="31"/>
                </a:cubicBezTo>
                <a:cubicBezTo>
                  <a:pt x="751" y="33"/>
                  <a:pt x="751" y="33"/>
                  <a:pt x="751" y="33"/>
                </a:cubicBezTo>
                <a:cubicBezTo>
                  <a:pt x="749" y="35"/>
                  <a:pt x="749" y="35"/>
                  <a:pt x="749" y="35"/>
                </a:cubicBezTo>
                <a:cubicBezTo>
                  <a:pt x="750" y="39"/>
                  <a:pt x="750" y="39"/>
                  <a:pt x="750" y="39"/>
                </a:cubicBezTo>
                <a:cubicBezTo>
                  <a:pt x="751" y="39"/>
                  <a:pt x="751" y="39"/>
                  <a:pt x="751" y="39"/>
                </a:cubicBezTo>
                <a:cubicBezTo>
                  <a:pt x="753" y="38"/>
                  <a:pt x="753" y="38"/>
                  <a:pt x="753" y="38"/>
                </a:cubicBezTo>
                <a:cubicBezTo>
                  <a:pt x="756" y="40"/>
                  <a:pt x="756" y="40"/>
                  <a:pt x="756" y="40"/>
                </a:cubicBezTo>
                <a:cubicBezTo>
                  <a:pt x="758" y="39"/>
                  <a:pt x="758" y="39"/>
                  <a:pt x="758" y="39"/>
                </a:cubicBezTo>
                <a:cubicBezTo>
                  <a:pt x="758" y="38"/>
                  <a:pt x="758" y="38"/>
                  <a:pt x="758" y="38"/>
                </a:cubicBezTo>
                <a:cubicBezTo>
                  <a:pt x="761" y="36"/>
                  <a:pt x="761" y="36"/>
                  <a:pt x="761" y="36"/>
                </a:cubicBezTo>
                <a:cubicBezTo>
                  <a:pt x="763" y="37"/>
                  <a:pt x="763" y="37"/>
                  <a:pt x="763" y="37"/>
                </a:cubicBezTo>
                <a:cubicBezTo>
                  <a:pt x="764" y="35"/>
                  <a:pt x="764" y="35"/>
                  <a:pt x="764" y="35"/>
                </a:cubicBezTo>
                <a:cubicBezTo>
                  <a:pt x="765" y="36"/>
                  <a:pt x="765" y="36"/>
                  <a:pt x="765" y="36"/>
                </a:cubicBezTo>
                <a:cubicBezTo>
                  <a:pt x="767" y="34"/>
                  <a:pt x="767" y="34"/>
                  <a:pt x="767" y="34"/>
                </a:cubicBezTo>
                <a:cubicBezTo>
                  <a:pt x="766" y="33"/>
                  <a:pt x="766" y="33"/>
                  <a:pt x="766" y="33"/>
                </a:cubicBezTo>
                <a:cubicBezTo>
                  <a:pt x="768" y="32"/>
                  <a:pt x="768" y="32"/>
                  <a:pt x="768" y="32"/>
                </a:cubicBezTo>
                <a:cubicBezTo>
                  <a:pt x="768" y="31"/>
                  <a:pt x="768" y="31"/>
                  <a:pt x="768" y="31"/>
                </a:cubicBezTo>
                <a:cubicBezTo>
                  <a:pt x="766" y="30"/>
                  <a:pt x="766" y="30"/>
                  <a:pt x="766" y="30"/>
                </a:cubicBezTo>
                <a:cubicBezTo>
                  <a:pt x="766" y="29"/>
                  <a:pt x="766" y="29"/>
                  <a:pt x="766" y="29"/>
                </a:cubicBezTo>
                <a:cubicBezTo>
                  <a:pt x="767" y="28"/>
                  <a:pt x="767" y="28"/>
                  <a:pt x="767" y="28"/>
                </a:cubicBezTo>
                <a:cubicBezTo>
                  <a:pt x="767" y="29"/>
                  <a:pt x="767" y="29"/>
                  <a:pt x="767" y="29"/>
                </a:cubicBezTo>
                <a:cubicBezTo>
                  <a:pt x="769" y="29"/>
                  <a:pt x="769" y="29"/>
                  <a:pt x="769" y="29"/>
                </a:cubicBezTo>
                <a:cubicBezTo>
                  <a:pt x="769" y="26"/>
                  <a:pt x="769" y="26"/>
                  <a:pt x="769" y="26"/>
                </a:cubicBezTo>
                <a:cubicBezTo>
                  <a:pt x="769" y="25"/>
                  <a:pt x="769" y="25"/>
                  <a:pt x="769" y="25"/>
                </a:cubicBezTo>
                <a:cubicBezTo>
                  <a:pt x="769" y="24"/>
                  <a:pt x="769" y="24"/>
                  <a:pt x="769" y="24"/>
                </a:cubicBezTo>
                <a:cubicBezTo>
                  <a:pt x="771" y="24"/>
                  <a:pt x="771" y="24"/>
                  <a:pt x="771" y="24"/>
                </a:cubicBezTo>
                <a:cubicBezTo>
                  <a:pt x="774" y="22"/>
                  <a:pt x="774" y="22"/>
                  <a:pt x="774" y="22"/>
                </a:cubicBezTo>
                <a:cubicBezTo>
                  <a:pt x="774" y="20"/>
                  <a:pt x="774" y="20"/>
                  <a:pt x="774" y="20"/>
                </a:cubicBezTo>
                <a:cubicBezTo>
                  <a:pt x="776" y="17"/>
                  <a:pt x="776" y="17"/>
                  <a:pt x="776" y="17"/>
                </a:cubicBezTo>
                <a:cubicBezTo>
                  <a:pt x="775" y="14"/>
                  <a:pt x="775" y="14"/>
                  <a:pt x="775" y="14"/>
                </a:cubicBezTo>
                <a:cubicBezTo>
                  <a:pt x="776" y="13"/>
                  <a:pt x="776" y="13"/>
                  <a:pt x="776" y="13"/>
                </a:cubicBezTo>
                <a:cubicBezTo>
                  <a:pt x="775" y="13"/>
                  <a:pt x="775" y="13"/>
                  <a:pt x="775" y="13"/>
                </a:cubicBezTo>
                <a:cubicBezTo>
                  <a:pt x="774" y="14"/>
                  <a:pt x="774" y="14"/>
                  <a:pt x="774" y="14"/>
                </a:cubicBezTo>
                <a:cubicBezTo>
                  <a:pt x="772" y="15"/>
                  <a:pt x="772" y="15"/>
                  <a:pt x="772" y="15"/>
                </a:cubicBezTo>
                <a:cubicBezTo>
                  <a:pt x="771" y="17"/>
                  <a:pt x="771" y="17"/>
                  <a:pt x="771" y="17"/>
                </a:cubicBezTo>
                <a:cubicBezTo>
                  <a:pt x="771" y="16"/>
                  <a:pt x="771" y="16"/>
                  <a:pt x="771" y="16"/>
                </a:cubicBezTo>
                <a:cubicBezTo>
                  <a:pt x="771" y="14"/>
                  <a:pt x="771" y="14"/>
                  <a:pt x="771" y="14"/>
                </a:cubicBezTo>
                <a:cubicBezTo>
                  <a:pt x="772" y="13"/>
                  <a:pt x="772" y="13"/>
                  <a:pt x="772" y="13"/>
                </a:cubicBezTo>
                <a:cubicBezTo>
                  <a:pt x="772" y="11"/>
                  <a:pt x="772" y="11"/>
                  <a:pt x="772" y="11"/>
                </a:cubicBezTo>
                <a:cubicBezTo>
                  <a:pt x="772" y="10"/>
                  <a:pt x="772" y="10"/>
                  <a:pt x="772" y="10"/>
                </a:cubicBezTo>
                <a:cubicBezTo>
                  <a:pt x="770" y="9"/>
                  <a:pt x="770" y="9"/>
                  <a:pt x="770" y="9"/>
                </a:cubicBezTo>
                <a:cubicBezTo>
                  <a:pt x="772" y="9"/>
                  <a:pt x="772" y="9"/>
                  <a:pt x="772" y="9"/>
                </a:cubicBezTo>
                <a:cubicBezTo>
                  <a:pt x="773" y="8"/>
                  <a:pt x="773" y="8"/>
                  <a:pt x="773" y="8"/>
                </a:cubicBezTo>
                <a:cubicBezTo>
                  <a:pt x="772" y="6"/>
                  <a:pt x="772" y="6"/>
                  <a:pt x="772" y="6"/>
                </a:cubicBezTo>
                <a:cubicBezTo>
                  <a:pt x="769" y="4"/>
                  <a:pt x="769" y="4"/>
                  <a:pt x="769" y="4"/>
                </a:cubicBezTo>
                <a:cubicBezTo>
                  <a:pt x="768" y="5"/>
                  <a:pt x="768" y="5"/>
                  <a:pt x="768" y="5"/>
                </a:cubicBezTo>
                <a:cubicBezTo>
                  <a:pt x="765" y="5"/>
                  <a:pt x="765" y="5"/>
                  <a:pt x="765" y="5"/>
                </a:cubicBezTo>
                <a:cubicBezTo>
                  <a:pt x="764" y="6"/>
                  <a:pt x="764" y="6"/>
                  <a:pt x="764" y="6"/>
                </a:cubicBezTo>
                <a:cubicBezTo>
                  <a:pt x="763" y="6"/>
                  <a:pt x="763" y="6"/>
                  <a:pt x="763" y="6"/>
                </a:cubicBezTo>
                <a:cubicBezTo>
                  <a:pt x="763" y="5"/>
                  <a:pt x="763" y="5"/>
                  <a:pt x="763" y="5"/>
                </a:cubicBezTo>
                <a:cubicBezTo>
                  <a:pt x="765" y="3"/>
                  <a:pt x="765" y="3"/>
                  <a:pt x="765" y="3"/>
                </a:cubicBezTo>
                <a:cubicBezTo>
                  <a:pt x="766" y="2"/>
                  <a:pt x="766" y="2"/>
                  <a:pt x="766" y="2"/>
                </a:cubicBezTo>
                <a:cubicBezTo>
                  <a:pt x="768" y="1"/>
                  <a:pt x="768" y="1"/>
                  <a:pt x="768" y="1"/>
                </a:cubicBezTo>
                <a:cubicBezTo>
                  <a:pt x="769" y="0"/>
                  <a:pt x="769" y="0"/>
                  <a:pt x="769" y="0"/>
                </a:cubicBezTo>
                <a:cubicBezTo>
                  <a:pt x="751" y="0"/>
                  <a:pt x="751" y="0"/>
                  <a:pt x="751" y="0"/>
                </a:cubicBezTo>
                <a:cubicBezTo>
                  <a:pt x="750" y="2"/>
                  <a:pt x="750" y="2"/>
                  <a:pt x="750" y="2"/>
                </a:cubicBezTo>
                <a:cubicBezTo>
                  <a:pt x="749" y="3"/>
                  <a:pt x="749" y="3"/>
                  <a:pt x="749" y="3"/>
                </a:cubicBezTo>
                <a:cubicBezTo>
                  <a:pt x="749" y="4"/>
                  <a:pt x="749" y="4"/>
                  <a:pt x="749" y="4"/>
                </a:cubicBezTo>
                <a:cubicBezTo>
                  <a:pt x="748" y="7"/>
                  <a:pt x="748" y="7"/>
                  <a:pt x="748" y="7"/>
                </a:cubicBezTo>
                <a:cubicBezTo>
                  <a:pt x="747" y="7"/>
                  <a:pt x="747" y="7"/>
                  <a:pt x="747" y="7"/>
                </a:cubicBezTo>
                <a:cubicBezTo>
                  <a:pt x="747" y="9"/>
                  <a:pt x="747" y="9"/>
                  <a:pt x="747" y="9"/>
                </a:cubicBezTo>
                <a:cubicBezTo>
                  <a:pt x="746" y="10"/>
                  <a:pt x="746" y="10"/>
                  <a:pt x="746" y="10"/>
                </a:cubicBezTo>
                <a:cubicBezTo>
                  <a:pt x="744" y="10"/>
                  <a:pt x="744" y="10"/>
                  <a:pt x="744" y="10"/>
                </a:cubicBezTo>
                <a:cubicBezTo>
                  <a:pt x="743" y="8"/>
                  <a:pt x="743" y="8"/>
                  <a:pt x="743" y="8"/>
                </a:cubicBezTo>
                <a:cubicBezTo>
                  <a:pt x="743" y="6"/>
                  <a:pt x="743" y="6"/>
                  <a:pt x="743" y="6"/>
                </a:cubicBezTo>
                <a:cubicBezTo>
                  <a:pt x="741" y="3"/>
                  <a:pt x="741" y="3"/>
                  <a:pt x="741" y="3"/>
                </a:cubicBezTo>
                <a:cubicBezTo>
                  <a:pt x="741" y="2"/>
                  <a:pt x="741" y="2"/>
                  <a:pt x="741" y="2"/>
                </a:cubicBezTo>
                <a:cubicBezTo>
                  <a:pt x="741" y="0"/>
                  <a:pt x="741" y="0"/>
                  <a:pt x="741" y="0"/>
                </a:cubicBezTo>
                <a:cubicBezTo>
                  <a:pt x="740" y="0"/>
                  <a:pt x="740" y="0"/>
                  <a:pt x="740" y="0"/>
                </a:cubicBezTo>
                <a:cubicBezTo>
                  <a:pt x="729" y="0"/>
                  <a:pt x="729" y="0"/>
                  <a:pt x="729" y="0"/>
                </a:cubicBezTo>
                <a:cubicBezTo>
                  <a:pt x="728" y="2"/>
                  <a:pt x="728" y="2"/>
                  <a:pt x="728" y="2"/>
                </a:cubicBezTo>
                <a:cubicBezTo>
                  <a:pt x="729" y="3"/>
                  <a:pt x="729" y="3"/>
                  <a:pt x="729" y="3"/>
                </a:cubicBezTo>
                <a:cubicBezTo>
                  <a:pt x="729" y="6"/>
                  <a:pt x="729" y="6"/>
                  <a:pt x="729" y="6"/>
                </a:cubicBezTo>
                <a:cubicBezTo>
                  <a:pt x="728" y="8"/>
                  <a:pt x="728" y="8"/>
                  <a:pt x="728" y="8"/>
                </a:cubicBezTo>
                <a:cubicBezTo>
                  <a:pt x="730" y="9"/>
                  <a:pt x="730" y="9"/>
                  <a:pt x="730" y="9"/>
                </a:cubicBezTo>
                <a:cubicBezTo>
                  <a:pt x="729" y="12"/>
                  <a:pt x="729" y="12"/>
                  <a:pt x="729" y="12"/>
                </a:cubicBezTo>
                <a:lnTo>
                  <a:pt x="727" y="13"/>
                </a:lnTo>
                <a:close/>
                <a:moveTo>
                  <a:pt x="777" y="29"/>
                </a:moveTo>
                <a:cubicBezTo>
                  <a:pt x="778" y="30"/>
                  <a:pt x="778" y="30"/>
                  <a:pt x="778" y="30"/>
                </a:cubicBezTo>
                <a:cubicBezTo>
                  <a:pt x="780" y="30"/>
                  <a:pt x="780" y="30"/>
                  <a:pt x="780" y="30"/>
                </a:cubicBezTo>
                <a:cubicBezTo>
                  <a:pt x="780" y="31"/>
                  <a:pt x="780" y="31"/>
                  <a:pt x="780" y="31"/>
                </a:cubicBezTo>
                <a:cubicBezTo>
                  <a:pt x="779" y="31"/>
                  <a:pt x="779" y="31"/>
                  <a:pt x="779" y="31"/>
                </a:cubicBezTo>
                <a:cubicBezTo>
                  <a:pt x="778" y="31"/>
                  <a:pt x="778" y="31"/>
                  <a:pt x="778" y="31"/>
                </a:cubicBezTo>
                <a:cubicBezTo>
                  <a:pt x="776" y="32"/>
                  <a:pt x="776" y="32"/>
                  <a:pt x="776" y="32"/>
                </a:cubicBezTo>
                <a:cubicBezTo>
                  <a:pt x="775" y="34"/>
                  <a:pt x="775" y="34"/>
                  <a:pt x="775" y="34"/>
                </a:cubicBezTo>
                <a:cubicBezTo>
                  <a:pt x="779" y="34"/>
                  <a:pt x="779" y="34"/>
                  <a:pt x="779" y="34"/>
                </a:cubicBezTo>
                <a:cubicBezTo>
                  <a:pt x="780" y="34"/>
                  <a:pt x="780" y="34"/>
                  <a:pt x="780" y="34"/>
                </a:cubicBezTo>
                <a:cubicBezTo>
                  <a:pt x="783" y="36"/>
                  <a:pt x="783" y="36"/>
                  <a:pt x="783" y="36"/>
                </a:cubicBezTo>
                <a:cubicBezTo>
                  <a:pt x="783" y="36"/>
                  <a:pt x="784" y="35"/>
                  <a:pt x="784" y="35"/>
                </a:cubicBezTo>
                <a:cubicBezTo>
                  <a:pt x="784" y="34"/>
                  <a:pt x="784" y="34"/>
                  <a:pt x="784" y="34"/>
                </a:cubicBezTo>
                <a:cubicBezTo>
                  <a:pt x="785" y="34"/>
                  <a:pt x="785" y="34"/>
                  <a:pt x="785" y="34"/>
                </a:cubicBezTo>
                <a:cubicBezTo>
                  <a:pt x="787" y="32"/>
                  <a:pt x="787" y="32"/>
                  <a:pt x="787" y="32"/>
                </a:cubicBezTo>
                <a:cubicBezTo>
                  <a:pt x="788" y="30"/>
                  <a:pt x="788" y="30"/>
                  <a:pt x="788" y="30"/>
                </a:cubicBezTo>
                <a:cubicBezTo>
                  <a:pt x="789" y="29"/>
                  <a:pt x="789" y="29"/>
                  <a:pt x="789" y="29"/>
                </a:cubicBezTo>
                <a:cubicBezTo>
                  <a:pt x="791" y="29"/>
                  <a:pt x="791" y="29"/>
                  <a:pt x="791" y="29"/>
                </a:cubicBezTo>
                <a:cubicBezTo>
                  <a:pt x="792" y="28"/>
                  <a:pt x="792" y="28"/>
                  <a:pt x="792" y="28"/>
                </a:cubicBezTo>
                <a:cubicBezTo>
                  <a:pt x="793" y="27"/>
                  <a:pt x="793" y="27"/>
                  <a:pt x="793" y="27"/>
                </a:cubicBezTo>
                <a:cubicBezTo>
                  <a:pt x="794" y="25"/>
                  <a:pt x="794" y="25"/>
                  <a:pt x="794" y="25"/>
                </a:cubicBezTo>
                <a:cubicBezTo>
                  <a:pt x="794" y="23"/>
                  <a:pt x="794" y="23"/>
                  <a:pt x="794" y="23"/>
                </a:cubicBezTo>
                <a:cubicBezTo>
                  <a:pt x="793" y="22"/>
                  <a:pt x="793" y="22"/>
                  <a:pt x="793" y="22"/>
                </a:cubicBezTo>
                <a:cubicBezTo>
                  <a:pt x="795" y="21"/>
                  <a:pt x="795" y="21"/>
                  <a:pt x="795" y="21"/>
                </a:cubicBezTo>
                <a:cubicBezTo>
                  <a:pt x="795" y="19"/>
                  <a:pt x="795" y="19"/>
                  <a:pt x="795" y="19"/>
                </a:cubicBezTo>
                <a:cubicBezTo>
                  <a:pt x="791" y="19"/>
                  <a:pt x="791" y="19"/>
                  <a:pt x="791" y="19"/>
                </a:cubicBezTo>
                <a:cubicBezTo>
                  <a:pt x="791" y="18"/>
                  <a:pt x="791" y="18"/>
                  <a:pt x="791" y="18"/>
                </a:cubicBezTo>
                <a:cubicBezTo>
                  <a:pt x="791" y="17"/>
                  <a:pt x="791" y="17"/>
                  <a:pt x="791" y="17"/>
                </a:cubicBezTo>
                <a:cubicBezTo>
                  <a:pt x="792" y="17"/>
                  <a:pt x="792" y="17"/>
                  <a:pt x="792" y="17"/>
                </a:cubicBezTo>
                <a:cubicBezTo>
                  <a:pt x="794" y="18"/>
                  <a:pt x="794" y="18"/>
                  <a:pt x="794" y="18"/>
                </a:cubicBezTo>
                <a:cubicBezTo>
                  <a:pt x="795" y="18"/>
                  <a:pt x="795" y="18"/>
                  <a:pt x="795" y="18"/>
                </a:cubicBezTo>
                <a:cubicBezTo>
                  <a:pt x="797" y="18"/>
                  <a:pt x="797" y="18"/>
                  <a:pt x="797" y="18"/>
                </a:cubicBezTo>
                <a:cubicBezTo>
                  <a:pt x="799" y="17"/>
                  <a:pt x="799" y="17"/>
                  <a:pt x="799" y="17"/>
                </a:cubicBezTo>
                <a:cubicBezTo>
                  <a:pt x="800" y="18"/>
                  <a:pt x="800" y="18"/>
                  <a:pt x="800" y="18"/>
                </a:cubicBezTo>
                <a:cubicBezTo>
                  <a:pt x="801" y="20"/>
                  <a:pt x="801" y="20"/>
                  <a:pt x="801" y="20"/>
                </a:cubicBezTo>
                <a:cubicBezTo>
                  <a:pt x="803" y="22"/>
                  <a:pt x="803" y="22"/>
                  <a:pt x="803" y="22"/>
                </a:cubicBezTo>
                <a:cubicBezTo>
                  <a:pt x="804" y="22"/>
                  <a:pt x="804" y="22"/>
                  <a:pt x="804" y="22"/>
                </a:cubicBezTo>
                <a:cubicBezTo>
                  <a:pt x="805" y="23"/>
                  <a:pt x="805" y="23"/>
                  <a:pt x="805" y="23"/>
                </a:cubicBezTo>
                <a:cubicBezTo>
                  <a:pt x="806" y="23"/>
                  <a:pt x="806" y="23"/>
                  <a:pt x="806" y="23"/>
                </a:cubicBezTo>
                <a:cubicBezTo>
                  <a:pt x="808" y="22"/>
                  <a:pt x="808" y="22"/>
                  <a:pt x="808" y="22"/>
                </a:cubicBezTo>
                <a:cubicBezTo>
                  <a:pt x="812" y="20"/>
                  <a:pt x="812" y="20"/>
                  <a:pt x="812" y="20"/>
                </a:cubicBezTo>
                <a:cubicBezTo>
                  <a:pt x="815" y="17"/>
                  <a:pt x="815" y="17"/>
                  <a:pt x="815" y="17"/>
                </a:cubicBezTo>
                <a:cubicBezTo>
                  <a:pt x="818" y="15"/>
                  <a:pt x="818" y="15"/>
                  <a:pt x="818" y="15"/>
                </a:cubicBezTo>
                <a:cubicBezTo>
                  <a:pt x="819" y="13"/>
                  <a:pt x="819" y="13"/>
                  <a:pt x="819" y="13"/>
                </a:cubicBezTo>
                <a:cubicBezTo>
                  <a:pt x="818" y="13"/>
                  <a:pt x="818" y="13"/>
                  <a:pt x="818" y="13"/>
                </a:cubicBezTo>
                <a:cubicBezTo>
                  <a:pt x="818" y="12"/>
                  <a:pt x="818" y="12"/>
                  <a:pt x="818" y="12"/>
                </a:cubicBezTo>
                <a:cubicBezTo>
                  <a:pt x="820" y="12"/>
                  <a:pt x="820" y="12"/>
                  <a:pt x="820" y="12"/>
                </a:cubicBezTo>
                <a:cubicBezTo>
                  <a:pt x="823" y="9"/>
                  <a:pt x="823" y="9"/>
                  <a:pt x="823" y="9"/>
                </a:cubicBezTo>
                <a:cubicBezTo>
                  <a:pt x="827" y="6"/>
                  <a:pt x="827" y="6"/>
                  <a:pt x="827" y="6"/>
                </a:cubicBezTo>
                <a:cubicBezTo>
                  <a:pt x="827" y="5"/>
                  <a:pt x="827" y="5"/>
                  <a:pt x="827" y="5"/>
                </a:cubicBezTo>
                <a:cubicBezTo>
                  <a:pt x="828" y="4"/>
                  <a:pt x="828" y="4"/>
                  <a:pt x="828" y="4"/>
                </a:cubicBezTo>
                <a:cubicBezTo>
                  <a:pt x="830" y="2"/>
                  <a:pt x="830" y="2"/>
                  <a:pt x="830" y="2"/>
                </a:cubicBezTo>
                <a:cubicBezTo>
                  <a:pt x="832" y="0"/>
                  <a:pt x="832" y="0"/>
                  <a:pt x="832" y="0"/>
                </a:cubicBezTo>
                <a:cubicBezTo>
                  <a:pt x="788" y="0"/>
                  <a:pt x="788" y="0"/>
                  <a:pt x="788" y="0"/>
                </a:cubicBezTo>
                <a:cubicBezTo>
                  <a:pt x="788" y="2"/>
                  <a:pt x="788" y="2"/>
                  <a:pt x="788" y="2"/>
                </a:cubicBezTo>
                <a:cubicBezTo>
                  <a:pt x="787" y="4"/>
                  <a:pt x="787" y="4"/>
                  <a:pt x="787" y="4"/>
                </a:cubicBezTo>
                <a:cubicBezTo>
                  <a:pt x="786" y="6"/>
                  <a:pt x="786" y="6"/>
                  <a:pt x="786" y="6"/>
                </a:cubicBezTo>
                <a:cubicBezTo>
                  <a:pt x="784" y="7"/>
                  <a:pt x="784" y="7"/>
                  <a:pt x="784" y="7"/>
                </a:cubicBezTo>
                <a:cubicBezTo>
                  <a:pt x="784" y="9"/>
                  <a:pt x="784" y="9"/>
                  <a:pt x="784" y="9"/>
                </a:cubicBezTo>
                <a:cubicBezTo>
                  <a:pt x="783" y="10"/>
                  <a:pt x="783" y="10"/>
                  <a:pt x="783" y="10"/>
                </a:cubicBezTo>
                <a:cubicBezTo>
                  <a:pt x="781" y="14"/>
                  <a:pt x="781" y="14"/>
                  <a:pt x="781" y="14"/>
                </a:cubicBezTo>
                <a:cubicBezTo>
                  <a:pt x="781" y="16"/>
                  <a:pt x="781" y="16"/>
                  <a:pt x="781" y="16"/>
                </a:cubicBezTo>
                <a:cubicBezTo>
                  <a:pt x="780" y="18"/>
                  <a:pt x="780" y="18"/>
                  <a:pt x="780" y="18"/>
                </a:cubicBezTo>
                <a:cubicBezTo>
                  <a:pt x="782" y="19"/>
                  <a:pt x="782" y="19"/>
                  <a:pt x="782" y="19"/>
                </a:cubicBezTo>
                <a:cubicBezTo>
                  <a:pt x="782" y="20"/>
                  <a:pt x="782" y="20"/>
                  <a:pt x="782" y="20"/>
                </a:cubicBezTo>
                <a:cubicBezTo>
                  <a:pt x="781" y="21"/>
                  <a:pt x="781" y="21"/>
                  <a:pt x="781" y="21"/>
                </a:cubicBezTo>
                <a:cubicBezTo>
                  <a:pt x="781" y="22"/>
                  <a:pt x="781" y="22"/>
                  <a:pt x="781" y="22"/>
                </a:cubicBezTo>
                <a:cubicBezTo>
                  <a:pt x="780" y="26"/>
                  <a:pt x="780" y="26"/>
                  <a:pt x="780" y="26"/>
                </a:cubicBezTo>
                <a:lnTo>
                  <a:pt x="777" y="29"/>
                </a:lnTo>
                <a:close/>
                <a:moveTo>
                  <a:pt x="169" y="0"/>
                </a:moveTo>
                <a:cubicBezTo>
                  <a:pt x="167" y="0"/>
                  <a:pt x="167" y="0"/>
                  <a:pt x="167" y="0"/>
                </a:cubicBezTo>
                <a:cubicBezTo>
                  <a:pt x="169" y="1"/>
                  <a:pt x="169" y="1"/>
                  <a:pt x="169" y="1"/>
                </a:cubicBezTo>
                <a:lnTo>
                  <a:pt x="169" y="0"/>
                </a:lnTo>
                <a:close/>
                <a:moveTo>
                  <a:pt x="779" y="0"/>
                </a:moveTo>
                <a:cubicBezTo>
                  <a:pt x="777" y="0"/>
                  <a:pt x="777" y="0"/>
                  <a:pt x="777" y="0"/>
                </a:cubicBezTo>
                <a:cubicBezTo>
                  <a:pt x="777" y="1"/>
                  <a:pt x="777" y="1"/>
                  <a:pt x="777" y="1"/>
                </a:cubicBezTo>
                <a:cubicBezTo>
                  <a:pt x="778" y="1"/>
                  <a:pt x="778" y="1"/>
                  <a:pt x="778" y="1"/>
                </a:cubicBezTo>
                <a:lnTo>
                  <a:pt x="779" y="0"/>
                </a:lnTo>
                <a:close/>
                <a:moveTo>
                  <a:pt x="1164" y="1111"/>
                </a:moveTo>
                <a:cubicBezTo>
                  <a:pt x="1164" y="1106"/>
                  <a:pt x="1164" y="1106"/>
                  <a:pt x="1164" y="1106"/>
                </a:cubicBezTo>
                <a:cubicBezTo>
                  <a:pt x="1163" y="1105"/>
                  <a:pt x="1163" y="1105"/>
                  <a:pt x="1163" y="1105"/>
                </a:cubicBezTo>
                <a:cubicBezTo>
                  <a:pt x="1162" y="1103"/>
                  <a:pt x="1162" y="1103"/>
                  <a:pt x="1162" y="1103"/>
                </a:cubicBezTo>
                <a:cubicBezTo>
                  <a:pt x="1159" y="1095"/>
                  <a:pt x="1159" y="1095"/>
                  <a:pt x="1159" y="1095"/>
                </a:cubicBezTo>
                <a:cubicBezTo>
                  <a:pt x="1159" y="1092"/>
                  <a:pt x="1159" y="1092"/>
                  <a:pt x="1159" y="1092"/>
                </a:cubicBezTo>
                <a:cubicBezTo>
                  <a:pt x="1158" y="1089"/>
                  <a:pt x="1158" y="1089"/>
                  <a:pt x="1158" y="1089"/>
                </a:cubicBezTo>
                <a:cubicBezTo>
                  <a:pt x="1152" y="1086"/>
                  <a:pt x="1152" y="1086"/>
                  <a:pt x="1152" y="1086"/>
                </a:cubicBezTo>
                <a:cubicBezTo>
                  <a:pt x="1148" y="1086"/>
                  <a:pt x="1148" y="1086"/>
                  <a:pt x="1148" y="1086"/>
                </a:cubicBezTo>
                <a:cubicBezTo>
                  <a:pt x="1145" y="1088"/>
                  <a:pt x="1145" y="1088"/>
                  <a:pt x="1145" y="1088"/>
                </a:cubicBezTo>
                <a:cubicBezTo>
                  <a:pt x="1143" y="1085"/>
                  <a:pt x="1143" y="1085"/>
                  <a:pt x="1143" y="1085"/>
                </a:cubicBezTo>
                <a:cubicBezTo>
                  <a:pt x="1141" y="1085"/>
                  <a:pt x="1141" y="1085"/>
                  <a:pt x="1141" y="1085"/>
                </a:cubicBezTo>
                <a:cubicBezTo>
                  <a:pt x="1139" y="1082"/>
                  <a:pt x="1139" y="1082"/>
                  <a:pt x="1139" y="1082"/>
                </a:cubicBezTo>
                <a:cubicBezTo>
                  <a:pt x="1136" y="1081"/>
                  <a:pt x="1136" y="1081"/>
                  <a:pt x="1136" y="1081"/>
                </a:cubicBezTo>
                <a:cubicBezTo>
                  <a:pt x="1134" y="1080"/>
                  <a:pt x="1134" y="1080"/>
                  <a:pt x="1134" y="1080"/>
                </a:cubicBezTo>
                <a:cubicBezTo>
                  <a:pt x="1129" y="1076"/>
                  <a:pt x="1129" y="1076"/>
                  <a:pt x="1129" y="1076"/>
                </a:cubicBezTo>
                <a:cubicBezTo>
                  <a:pt x="1126" y="1070"/>
                  <a:pt x="1126" y="1070"/>
                  <a:pt x="1126" y="1070"/>
                </a:cubicBezTo>
                <a:cubicBezTo>
                  <a:pt x="1124" y="1070"/>
                  <a:pt x="1124" y="1070"/>
                  <a:pt x="1124" y="1070"/>
                </a:cubicBezTo>
                <a:cubicBezTo>
                  <a:pt x="1122" y="1068"/>
                  <a:pt x="1122" y="1068"/>
                  <a:pt x="1122" y="1068"/>
                </a:cubicBezTo>
                <a:cubicBezTo>
                  <a:pt x="1119" y="1068"/>
                  <a:pt x="1119" y="1068"/>
                  <a:pt x="1119" y="1068"/>
                </a:cubicBezTo>
                <a:cubicBezTo>
                  <a:pt x="1113" y="1063"/>
                  <a:pt x="1113" y="1063"/>
                  <a:pt x="1113" y="1063"/>
                </a:cubicBezTo>
                <a:cubicBezTo>
                  <a:pt x="1110" y="1063"/>
                  <a:pt x="1110" y="1063"/>
                  <a:pt x="1110" y="1063"/>
                </a:cubicBezTo>
                <a:cubicBezTo>
                  <a:pt x="1107" y="1062"/>
                  <a:pt x="1107" y="1062"/>
                  <a:pt x="1107" y="1062"/>
                </a:cubicBezTo>
                <a:cubicBezTo>
                  <a:pt x="1106" y="1063"/>
                  <a:pt x="1106" y="1063"/>
                  <a:pt x="1106" y="1063"/>
                </a:cubicBezTo>
                <a:cubicBezTo>
                  <a:pt x="1103" y="1063"/>
                  <a:pt x="1103" y="1063"/>
                  <a:pt x="1103" y="1063"/>
                </a:cubicBezTo>
                <a:cubicBezTo>
                  <a:pt x="1101" y="1062"/>
                  <a:pt x="1101" y="1062"/>
                  <a:pt x="1101" y="1062"/>
                </a:cubicBezTo>
                <a:cubicBezTo>
                  <a:pt x="1099" y="1063"/>
                  <a:pt x="1099" y="1063"/>
                  <a:pt x="1099" y="1063"/>
                </a:cubicBezTo>
                <a:cubicBezTo>
                  <a:pt x="1098" y="1064"/>
                  <a:pt x="1098" y="1064"/>
                  <a:pt x="1098" y="1064"/>
                </a:cubicBezTo>
                <a:cubicBezTo>
                  <a:pt x="1097" y="1063"/>
                  <a:pt x="1097" y="1063"/>
                  <a:pt x="1097" y="1063"/>
                </a:cubicBezTo>
                <a:cubicBezTo>
                  <a:pt x="1094" y="1061"/>
                  <a:pt x="1094" y="1061"/>
                  <a:pt x="1094" y="1061"/>
                </a:cubicBezTo>
                <a:cubicBezTo>
                  <a:pt x="1094" y="1062"/>
                  <a:pt x="1094" y="1062"/>
                  <a:pt x="1094" y="1062"/>
                </a:cubicBezTo>
                <a:cubicBezTo>
                  <a:pt x="1093" y="1061"/>
                  <a:pt x="1093" y="1061"/>
                  <a:pt x="1093" y="1061"/>
                </a:cubicBezTo>
                <a:cubicBezTo>
                  <a:pt x="1092" y="1062"/>
                  <a:pt x="1092" y="1062"/>
                  <a:pt x="1092" y="1062"/>
                </a:cubicBezTo>
                <a:cubicBezTo>
                  <a:pt x="1092" y="1063"/>
                  <a:pt x="1092" y="1063"/>
                  <a:pt x="1092" y="1063"/>
                </a:cubicBezTo>
                <a:cubicBezTo>
                  <a:pt x="1090" y="1062"/>
                  <a:pt x="1090" y="1062"/>
                  <a:pt x="1090" y="1062"/>
                </a:cubicBezTo>
                <a:cubicBezTo>
                  <a:pt x="1090" y="1061"/>
                  <a:pt x="1090" y="1061"/>
                  <a:pt x="1090" y="1061"/>
                </a:cubicBezTo>
                <a:cubicBezTo>
                  <a:pt x="1089" y="1061"/>
                  <a:pt x="1089" y="1061"/>
                  <a:pt x="1089" y="1061"/>
                </a:cubicBezTo>
                <a:cubicBezTo>
                  <a:pt x="1089" y="1062"/>
                  <a:pt x="1089" y="1062"/>
                  <a:pt x="1089" y="1062"/>
                </a:cubicBezTo>
                <a:cubicBezTo>
                  <a:pt x="1089" y="1062"/>
                  <a:pt x="1089" y="1062"/>
                  <a:pt x="1089" y="1062"/>
                </a:cubicBezTo>
                <a:cubicBezTo>
                  <a:pt x="1086" y="1061"/>
                  <a:pt x="1086" y="1061"/>
                  <a:pt x="1086" y="1061"/>
                </a:cubicBezTo>
                <a:cubicBezTo>
                  <a:pt x="1085" y="1061"/>
                  <a:pt x="1085" y="1061"/>
                  <a:pt x="1085" y="1061"/>
                </a:cubicBezTo>
                <a:cubicBezTo>
                  <a:pt x="1082" y="1061"/>
                  <a:pt x="1082" y="1061"/>
                  <a:pt x="1082" y="1061"/>
                </a:cubicBezTo>
                <a:cubicBezTo>
                  <a:pt x="1077" y="1058"/>
                  <a:pt x="1077" y="1058"/>
                  <a:pt x="1077" y="1058"/>
                </a:cubicBezTo>
                <a:cubicBezTo>
                  <a:pt x="1075" y="1058"/>
                  <a:pt x="1075" y="1058"/>
                  <a:pt x="1075" y="1058"/>
                </a:cubicBezTo>
                <a:cubicBezTo>
                  <a:pt x="1074" y="1059"/>
                  <a:pt x="1074" y="1059"/>
                  <a:pt x="1074" y="1059"/>
                </a:cubicBezTo>
                <a:cubicBezTo>
                  <a:pt x="1075" y="1060"/>
                  <a:pt x="1075" y="1060"/>
                  <a:pt x="1075" y="1060"/>
                </a:cubicBezTo>
                <a:cubicBezTo>
                  <a:pt x="1074" y="1061"/>
                  <a:pt x="1074" y="1061"/>
                  <a:pt x="1074" y="1061"/>
                </a:cubicBezTo>
                <a:cubicBezTo>
                  <a:pt x="1073" y="1060"/>
                  <a:pt x="1073" y="1060"/>
                  <a:pt x="1073" y="1060"/>
                </a:cubicBezTo>
                <a:cubicBezTo>
                  <a:pt x="1073" y="1060"/>
                  <a:pt x="1073" y="1060"/>
                  <a:pt x="1073" y="1060"/>
                </a:cubicBezTo>
                <a:cubicBezTo>
                  <a:pt x="1072" y="1061"/>
                  <a:pt x="1072" y="1061"/>
                  <a:pt x="1072" y="1061"/>
                </a:cubicBezTo>
                <a:cubicBezTo>
                  <a:pt x="1071" y="1062"/>
                  <a:pt x="1071" y="1062"/>
                  <a:pt x="1071" y="1062"/>
                </a:cubicBezTo>
                <a:cubicBezTo>
                  <a:pt x="1070" y="1063"/>
                  <a:pt x="1070" y="1063"/>
                  <a:pt x="1070" y="1063"/>
                </a:cubicBezTo>
                <a:cubicBezTo>
                  <a:pt x="1070" y="1065"/>
                  <a:pt x="1070" y="1065"/>
                  <a:pt x="1070" y="1065"/>
                </a:cubicBezTo>
                <a:cubicBezTo>
                  <a:pt x="1069" y="1064"/>
                  <a:pt x="1069" y="1064"/>
                  <a:pt x="1069" y="1064"/>
                </a:cubicBezTo>
                <a:cubicBezTo>
                  <a:pt x="1068" y="1062"/>
                  <a:pt x="1068" y="1062"/>
                  <a:pt x="1068" y="1062"/>
                </a:cubicBezTo>
                <a:cubicBezTo>
                  <a:pt x="1067" y="1062"/>
                  <a:pt x="1067" y="1062"/>
                  <a:pt x="1067" y="1062"/>
                </a:cubicBezTo>
                <a:cubicBezTo>
                  <a:pt x="1067" y="1064"/>
                  <a:pt x="1067" y="1064"/>
                  <a:pt x="1067" y="1064"/>
                </a:cubicBezTo>
                <a:cubicBezTo>
                  <a:pt x="1065" y="1068"/>
                  <a:pt x="1065" y="1068"/>
                  <a:pt x="1065" y="1068"/>
                </a:cubicBezTo>
                <a:cubicBezTo>
                  <a:pt x="1065" y="1070"/>
                  <a:pt x="1065" y="1070"/>
                  <a:pt x="1065" y="1070"/>
                </a:cubicBezTo>
                <a:cubicBezTo>
                  <a:pt x="1065" y="1068"/>
                  <a:pt x="1065" y="1068"/>
                  <a:pt x="1065" y="1068"/>
                </a:cubicBezTo>
                <a:cubicBezTo>
                  <a:pt x="1065" y="1065"/>
                  <a:pt x="1065" y="1065"/>
                  <a:pt x="1065" y="1065"/>
                </a:cubicBezTo>
                <a:cubicBezTo>
                  <a:pt x="1065" y="1063"/>
                  <a:pt x="1065" y="1063"/>
                  <a:pt x="1065" y="1063"/>
                </a:cubicBezTo>
                <a:cubicBezTo>
                  <a:pt x="1066" y="1060"/>
                  <a:pt x="1066" y="1060"/>
                  <a:pt x="1066" y="1060"/>
                </a:cubicBezTo>
                <a:cubicBezTo>
                  <a:pt x="1067" y="1059"/>
                  <a:pt x="1067" y="1059"/>
                  <a:pt x="1067" y="1059"/>
                </a:cubicBezTo>
                <a:cubicBezTo>
                  <a:pt x="1066" y="1058"/>
                  <a:pt x="1066" y="1058"/>
                  <a:pt x="1066" y="1058"/>
                </a:cubicBezTo>
                <a:cubicBezTo>
                  <a:pt x="1065" y="1058"/>
                  <a:pt x="1065" y="1058"/>
                  <a:pt x="1065" y="1058"/>
                </a:cubicBezTo>
                <a:cubicBezTo>
                  <a:pt x="1067" y="1056"/>
                  <a:pt x="1067" y="1056"/>
                  <a:pt x="1067" y="1056"/>
                </a:cubicBezTo>
                <a:cubicBezTo>
                  <a:pt x="1064" y="1053"/>
                  <a:pt x="1064" y="1053"/>
                  <a:pt x="1064" y="1053"/>
                </a:cubicBezTo>
                <a:cubicBezTo>
                  <a:pt x="1062" y="1050"/>
                  <a:pt x="1062" y="1050"/>
                  <a:pt x="1062" y="1050"/>
                </a:cubicBezTo>
                <a:cubicBezTo>
                  <a:pt x="1061" y="1050"/>
                  <a:pt x="1061" y="1050"/>
                  <a:pt x="1061" y="1050"/>
                </a:cubicBezTo>
                <a:cubicBezTo>
                  <a:pt x="1059" y="1050"/>
                  <a:pt x="1059" y="1050"/>
                  <a:pt x="1059" y="1050"/>
                </a:cubicBezTo>
                <a:cubicBezTo>
                  <a:pt x="1057" y="1052"/>
                  <a:pt x="1057" y="1052"/>
                  <a:pt x="1057" y="1052"/>
                </a:cubicBezTo>
                <a:cubicBezTo>
                  <a:pt x="1056" y="1052"/>
                  <a:pt x="1056" y="1052"/>
                  <a:pt x="1056" y="1052"/>
                </a:cubicBezTo>
                <a:cubicBezTo>
                  <a:pt x="1055" y="1051"/>
                  <a:pt x="1055" y="1051"/>
                  <a:pt x="1055" y="1051"/>
                </a:cubicBezTo>
                <a:cubicBezTo>
                  <a:pt x="1054" y="1050"/>
                  <a:pt x="1054" y="1050"/>
                  <a:pt x="1054" y="1050"/>
                </a:cubicBezTo>
                <a:cubicBezTo>
                  <a:pt x="1054" y="1049"/>
                  <a:pt x="1054" y="1049"/>
                  <a:pt x="1054" y="1049"/>
                </a:cubicBezTo>
                <a:cubicBezTo>
                  <a:pt x="1053" y="1048"/>
                  <a:pt x="1053" y="1048"/>
                  <a:pt x="1053" y="1048"/>
                </a:cubicBezTo>
                <a:cubicBezTo>
                  <a:pt x="1051" y="1048"/>
                  <a:pt x="1051" y="1048"/>
                  <a:pt x="1051" y="1048"/>
                </a:cubicBezTo>
                <a:cubicBezTo>
                  <a:pt x="1050" y="1047"/>
                  <a:pt x="1050" y="1047"/>
                  <a:pt x="1050" y="1047"/>
                </a:cubicBezTo>
                <a:cubicBezTo>
                  <a:pt x="1049" y="1046"/>
                  <a:pt x="1049" y="1046"/>
                  <a:pt x="1049" y="1046"/>
                </a:cubicBezTo>
                <a:cubicBezTo>
                  <a:pt x="1048" y="1047"/>
                  <a:pt x="1048" y="1047"/>
                  <a:pt x="1048" y="1047"/>
                </a:cubicBezTo>
                <a:cubicBezTo>
                  <a:pt x="1048" y="1047"/>
                  <a:pt x="1048" y="1047"/>
                  <a:pt x="1048" y="1047"/>
                </a:cubicBezTo>
                <a:cubicBezTo>
                  <a:pt x="1047" y="1046"/>
                  <a:pt x="1047" y="1046"/>
                  <a:pt x="1047" y="1046"/>
                </a:cubicBezTo>
                <a:cubicBezTo>
                  <a:pt x="1046" y="1044"/>
                  <a:pt x="1046" y="1044"/>
                  <a:pt x="1046" y="1044"/>
                </a:cubicBezTo>
                <a:cubicBezTo>
                  <a:pt x="1045" y="1045"/>
                  <a:pt x="1045" y="1045"/>
                  <a:pt x="1045" y="1045"/>
                </a:cubicBezTo>
                <a:cubicBezTo>
                  <a:pt x="1043" y="1044"/>
                  <a:pt x="1043" y="1044"/>
                  <a:pt x="1043" y="1044"/>
                </a:cubicBezTo>
                <a:cubicBezTo>
                  <a:pt x="1040" y="1043"/>
                  <a:pt x="1040" y="1043"/>
                  <a:pt x="1040" y="1043"/>
                </a:cubicBezTo>
                <a:cubicBezTo>
                  <a:pt x="1039" y="1042"/>
                  <a:pt x="1039" y="1042"/>
                  <a:pt x="1039" y="1042"/>
                </a:cubicBezTo>
                <a:cubicBezTo>
                  <a:pt x="1038" y="1043"/>
                  <a:pt x="1038" y="1043"/>
                  <a:pt x="1038" y="1043"/>
                </a:cubicBezTo>
                <a:cubicBezTo>
                  <a:pt x="1037" y="1042"/>
                  <a:pt x="1037" y="1042"/>
                  <a:pt x="1037" y="1042"/>
                </a:cubicBezTo>
                <a:cubicBezTo>
                  <a:pt x="1035" y="1042"/>
                  <a:pt x="1035" y="1042"/>
                  <a:pt x="1035" y="1042"/>
                </a:cubicBezTo>
                <a:cubicBezTo>
                  <a:pt x="1035" y="1043"/>
                  <a:pt x="1035" y="1043"/>
                  <a:pt x="1035" y="1043"/>
                </a:cubicBezTo>
                <a:cubicBezTo>
                  <a:pt x="1034" y="1043"/>
                  <a:pt x="1034" y="1043"/>
                  <a:pt x="1034" y="1043"/>
                </a:cubicBezTo>
                <a:cubicBezTo>
                  <a:pt x="1034" y="1042"/>
                  <a:pt x="1034" y="1042"/>
                  <a:pt x="1034" y="1042"/>
                </a:cubicBezTo>
                <a:cubicBezTo>
                  <a:pt x="1031" y="1042"/>
                  <a:pt x="1031" y="1042"/>
                  <a:pt x="1031" y="1042"/>
                </a:cubicBezTo>
                <a:cubicBezTo>
                  <a:pt x="1029" y="1043"/>
                  <a:pt x="1029" y="1043"/>
                  <a:pt x="1029" y="1043"/>
                </a:cubicBezTo>
                <a:cubicBezTo>
                  <a:pt x="1028" y="1045"/>
                  <a:pt x="1028" y="1045"/>
                  <a:pt x="1028" y="1045"/>
                </a:cubicBezTo>
                <a:cubicBezTo>
                  <a:pt x="1028" y="1046"/>
                  <a:pt x="1028" y="1046"/>
                  <a:pt x="1028" y="1046"/>
                </a:cubicBezTo>
                <a:cubicBezTo>
                  <a:pt x="1026" y="1048"/>
                  <a:pt x="1026" y="1048"/>
                  <a:pt x="1026" y="1048"/>
                </a:cubicBezTo>
                <a:cubicBezTo>
                  <a:pt x="1023" y="1050"/>
                  <a:pt x="1023" y="1050"/>
                  <a:pt x="1023" y="1050"/>
                </a:cubicBezTo>
                <a:cubicBezTo>
                  <a:pt x="1020" y="1052"/>
                  <a:pt x="1020" y="1052"/>
                  <a:pt x="1020" y="1052"/>
                </a:cubicBezTo>
                <a:cubicBezTo>
                  <a:pt x="1018" y="1054"/>
                  <a:pt x="1018" y="1054"/>
                  <a:pt x="1018" y="1054"/>
                </a:cubicBezTo>
                <a:cubicBezTo>
                  <a:pt x="1017" y="1057"/>
                  <a:pt x="1017" y="1057"/>
                  <a:pt x="1017" y="1057"/>
                </a:cubicBezTo>
                <a:cubicBezTo>
                  <a:pt x="1016" y="1060"/>
                  <a:pt x="1016" y="1060"/>
                  <a:pt x="1016" y="1060"/>
                </a:cubicBezTo>
                <a:cubicBezTo>
                  <a:pt x="1016" y="1061"/>
                  <a:pt x="1016" y="1061"/>
                  <a:pt x="1016" y="1061"/>
                </a:cubicBezTo>
                <a:cubicBezTo>
                  <a:pt x="1014" y="1063"/>
                  <a:pt x="1014" y="1063"/>
                  <a:pt x="1014" y="1063"/>
                </a:cubicBezTo>
                <a:cubicBezTo>
                  <a:pt x="1014" y="1064"/>
                  <a:pt x="1014" y="1064"/>
                  <a:pt x="1014" y="1064"/>
                </a:cubicBezTo>
                <a:cubicBezTo>
                  <a:pt x="1014" y="1066"/>
                  <a:pt x="1014" y="1066"/>
                  <a:pt x="1014" y="1066"/>
                </a:cubicBezTo>
                <a:cubicBezTo>
                  <a:pt x="1014" y="1070"/>
                  <a:pt x="1014" y="1070"/>
                  <a:pt x="1014" y="1070"/>
                </a:cubicBezTo>
                <a:cubicBezTo>
                  <a:pt x="1013" y="1068"/>
                  <a:pt x="1013" y="1068"/>
                  <a:pt x="1013" y="1068"/>
                </a:cubicBezTo>
                <a:cubicBezTo>
                  <a:pt x="1012" y="1066"/>
                  <a:pt x="1012" y="1066"/>
                  <a:pt x="1012" y="1066"/>
                </a:cubicBezTo>
                <a:cubicBezTo>
                  <a:pt x="1012" y="1064"/>
                  <a:pt x="1012" y="1064"/>
                  <a:pt x="1012" y="1064"/>
                </a:cubicBezTo>
                <a:cubicBezTo>
                  <a:pt x="1013" y="1062"/>
                  <a:pt x="1013" y="1062"/>
                  <a:pt x="1013" y="1062"/>
                </a:cubicBezTo>
                <a:cubicBezTo>
                  <a:pt x="1015" y="1061"/>
                  <a:pt x="1015" y="1061"/>
                  <a:pt x="1015" y="1061"/>
                </a:cubicBezTo>
                <a:cubicBezTo>
                  <a:pt x="1015" y="1058"/>
                  <a:pt x="1015" y="1058"/>
                  <a:pt x="1015" y="1058"/>
                </a:cubicBezTo>
                <a:cubicBezTo>
                  <a:pt x="1016" y="1056"/>
                  <a:pt x="1016" y="1056"/>
                  <a:pt x="1016" y="1056"/>
                </a:cubicBezTo>
                <a:cubicBezTo>
                  <a:pt x="1015" y="1055"/>
                  <a:pt x="1015" y="1055"/>
                  <a:pt x="1015" y="1055"/>
                </a:cubicBezTo>
                <a:cubicBezTo>
                  <a:pt x="1014" y="1055"/>
                  <a:pt x="1014" y="1055"/>
                  <a:pt x="1014" y="1055"/>
                </a:cubicBezTo>
                <a:cubicBezTo>
                  <a:pt x="1012" y="1055"/>
                  <a:pt x="1012" y="1055"/>
                  <a:pt x="1012" y="1055"/>
                </a:cubicBezTo>
                <a:cubicBezTo>
                  <a:pt x="1009" y="1055"/>
                  <a:pt x="1009" y="1055"/>
                  <a:pt x="1009" y="1055"/>
                </a:cubicBezTo>
                <a:cubicBezTo>
                  <a:pt x="1007" y="1055"/>
                  <a:pt x="1007" y="1055"/>
                  <a:pt x="1007" y="1055"/>
                </a:cubicBezTo>
                <a:cubicBezTo>
                  <a:pt x="1005" y="1055"/>
                  <a:pt x="1005" y="1055"/>
                  <a:pt x="1005" y="1055"/>
                </a:cubicBezTo>
                <a:cubicBezTo>
                  <a:pt x="1004" y="1054"/>
                  <a:pt x="1004" y="1054"/>
                  <a:pt x="1004" y="1054"/>
                </a:cubicBezTo>
                <a:cubicBezTo>
                  <a:pt x="1005" y="1054"/>
                  <a:pt x="1005" y="1054"/>
                  <a:pt x="1005" y="1054"/>
                </a:cubicBezTo>
                <a:cubicBezTo>
                  <a:pt x="1007" y="1053"/>
                  <a:pt x="1007" y="1053"/>
                  <a:pt x="1007" y="1053"/>
                </a:cubicBezTo>
                <a:cubicBezTo>
                  <a:pt x="1009" y="1053"/>
                  <a:pt x="1009" y="1053"/>
                  <a:pt x="1009" y="1053"/>
                </a:cubicBezTo>
                <a:cubicBezTo>
                  <a:pt x="1012" y="1053"/>
                  <a:pt x="1012" y="1053"/>
                  <a:pt x="1012" y="1053"/>
                </a:cubicBezTo>
                <a:cubicBezTo>
                  <a:pt x="1014" y="1053"/>
                  <a:pt x="1014" y="1053"/>
                  <a:pt x="1014" y="1053"/>
                </a:cubicBezTo>
                <a:cubicBezTo>
                  <a:pt x="1015" y="1051"/>
                  <a:pt x="1015" y="1051"/>
                  <a:pt x="1015" y="1051"/>
                </a:cubicBezTo>
                <a:cubicBezTo>
                  <a:pt x="1016" y="1051"/>
                  <a:pt x="1016" y="1051"/>
                  <a:pt x="1016" y="1051"/>
                </a:cubicBezTo>
                <a:cubicBezTo>
                  <a:pt x="1017" y="1051"/>
                  <a:pt x="1017" y="1051"/>
                  <a:pt x="1017" y="1051"/>
                </a:cubicBezTo>
                <a:cubicBezTo>
                  <a:pt x="1018" y="1051"/>
                  <a:pt x="1018" y="1051"/>
                  <a:pt x="1018" y="1051"/>
                </a:cubicBezTo>
                <a:cubicBezTo>
                  <a:pt x="1020" y="1050"/>
                  <a:pt x="1020" y="1050"/>
                  <a:pt x="1020" y="1050"/>
                </a:cubicBezTo>
                <a:cubicBezTo>
                  <a:pt x="1023" y="1049"/>
                  <a:pt x="1023" y="1049"/>
                  <a:pt x="1023" y="1049"/>
                </a:cubicBezTo>
                <a:cubicBezTo>
                  <a:pt x="1023" y="1047"/>
                  <a:pt x="1023" y="1047"/>
                  <a:pt x="1023" y="1047"/>
                </a:cubicBezTo>
                <a:cubicBezTo>
                  <a:pt x="1025" y="1044"/>
                  <a:pt x="1025" y="1044"/>
                  <a:pt x="1025" y="1044"/>
                </a:cubicBezTo>
                <a:cubicBezTo>
                  <a:pt x="1025" y="1041"/>
                  <a:pt x="1025" y="1041"/>
                  <a:pt x="1025" y="1041"/>
                </a:cubicBezTo>
                <a:cubicBezTo>
                  <a:pt x="1026" y="1040"/>
                  <a:pt x="1026" y="1040"/>
                  <a:pt x="1026" y="1040"/>
                </a:cubicBezTo>
                <a:cubicBezTo>
                  <a:pt x="1026" y="1038"/>
                  <a:pt x="1026" y="1038"/>
                  <a:pt x="1026" y="1038"/>
                </a:cubicBezTo>
                <a:cubicBezTo>
                  <a:pt x="1024" y="1038"/>
                  <a:pt x="1024" y="1038"/>
                  <a:pt x="1024" y="1038"/>
                </a:cubicBezTo>
                <a:cubicBezTo>
                  <a:pt x="1021" y="1036"/>
                  <a:pt x="1021" y="1036"/>
                  <a:pt x="1021" y="1036"/>
                </a:cubicBezTo>
                <a:cubicBezTo>
                  <a:pt x="1019" y="1036"/>
                  <a:pt x="1019" y="1036"/>
                  <a:pt x="1019" y="1036"/>
                </a:cubicBezTo>
                <a:cubicBezTo>
                  <a:pt x="1016" y="1038"/>
                  <a:pt x="1016" y="1038"/>
                  <a:pt x="1016" y="1038"/>
                </a:cubicBezTo>
                <a:cubicBezTo>
                  <a:pt x="1014" y="1038"/>
                  <a:pt x="1014" y="1038"/>
                  <a:pt x="1014" y="1038"/>
                </a:cubicBezTo>
                <a:cubicBezTo>
                  <a:pt x="1010" y="1036"/>
                  <a:pt x="1010" y="1036"/>
                  <a:pt x="1010" y="1036"/>
                </a:cubicBezTo>
                <a:cubicBezTo>
                  <a:pt x="1007" y="1036"/>
                  <a:pt x="1007" y="1036"/>
                  <a:pt x="1007" y="1036"/>
                </a:cubicBezTo>
                <a:cubicBezTo>
                  <a:pt x="1004" y="1039"/>
                  <a:pt x="1004" y="1039"/>
                  <a:pt x="1004" y="1039"/>
                </a:cubicBezTo>
                <a:cubicBezTo>
                  <a:pt x="1004" y="1040"/>
                  <a:pt x="1004" y="1040"/>
                  <a:pt x="1004" y="1040"/>
                </a:cubicBezTo>
                <a:cubicBezTo>
                  <a:pt x="1005" y="1041"/>
                  <a:pt x="1005" y="1041"/>
                  <a:pt x="1005" y="1041"/>
                </a:cubicBezTo>
                <a:cubicBezTo>
                  <a:pt x="1006" y="1042"/>
                  <a:pt x="1006" y="1042"/>
                  <a:pt x="1006" y="1042"/>
                </a:cubicBezTo>
                <a:cubicBezTo>
                  <a:pt x="1004" y="1042"/>
                  <a:pt x="1004" y="1042"/>
                  <a:pt x="1004" y="1042"/>
                </a:cubicBezTo>
                <a:cubicBezTo>
                  <a:pt x="1003" y="1042"/>
                  <a:pt x="1003" y="1042"/>
                  <a:pt x="1003" y="1042"/>
                </a:cubicBezTo>
                <a:cubicBezTo>
                  <a:pt x="1003" y="1044"/>
                  <a:pt x="1003" y="1044"/>
                  <a:pt x="1003" y="1044"/>
                </a:cubicBezTo>
                <a:cubicBezTo>
                  <a:pt x="1002" y="1043"/>
                  <a:pt x="1002" y="1043"/>
                  <a:pt x="1002" y="1043"/>
                </a:cubicBezTo>
                <a:cubicBezTo>
                  <a:pt x="1001" y="1042"/>
                  <a:pt x="1001" y="1042"/>
                  <a:pt x="1001" y="1042"/>
                </a:cubicBezTo>
                <a:cubicBezTo>
                  <a:pt x="999" y="1043"/>
                  <a:pt x="999" y="1043"/>
                  <a:pt x="999" y="1043"/>
                </a:cubicBezTo>
                <a:cubicBezTo>
                  <a:pt x="997" y="1046"/>
                  <a:pt x="997" y="1046"/>
                  <a:pt x="997" y="1046"/>
                </a:cubicBezTo>
                <a:cubicBezTo>
                  <a:pt x="994" y="1050"/>
                  <a:pt x="994" y="1050"/>
                  <a:pt x="994" y="1050"/>
                </a:cubicBezTo>
                <a:cubicBezTo>
                  <a:pt x="996" y="1047"/>
                  <a:pt x="996" y="1047"/>
                  <a:pt x="996" y="1047"/>
                </a:cubicBezTo>
                <a:cubicBezTo>
                  <a:pt x="996" y="1045"/>
                  <a:pt x="996" y="1045"/>
                  <a:pt x="996" y="1045"/>
                </a:cubicBezTo>
                <a:cubicBezTo>
                  <a:pt x="996" y="1043"/>
                  <a:pt x="996" y="1043"/>
                  <a:pt x="996" y="1043"/>
                </a:cubicBezTo>
                <a:cubicBezTo>
                  <a:pt x="997" y="1042"/>
                  <a:pt x="997" y="1042"/>
                  <a:pt x="997" y="1042"/>
                </a:cubicBezTo>
                <a:cubicBezTo>
                  <a:pt x="996" y="1042"/>
                  <a:pt x="996" y="1042"/>
                  <a:pt x="996" y="1042"/>
                </a:cubicBezTo>
                <a:cubicBezTo>
                  <a:pt x="993" y="1044"/>
                  <a:pt x="993" y="1044"/>
                  <a:pt x="993" y="1044"/>
                </a:cubicBezTo>
                <a:cubicBezTo>
                  <a:pt x="992" y="1046"/>
                  <a:pt x="992" y="1046"/>
                  <a:pt x="992" y="1046"/>
                </a:cubicBezTo>
                <a:cubicBezTo>
                  <a:pt x="991" y="1049"/>
                  <a:pt x="991" y="1049"/>
                  <a:pt x="991" y="1049"/>
                </a:cubicBezTo>
                <a:cubicBezTo>
                  <a:pt x="990" y="1050"/>
                  <a:pt x="990" y="1050"/>
                  <a:pt x="990" y="1050"/>
                </a:cubicBezTo>
                <a:cubicBezTo>
                  <a:pt x="991" y="1047"/>
                  <a:pt x="991" y="1047"/>
                  <a:pt x="991" y="1047"/>
                </a:cubicBezTo>
                <a:cubicBezTo>
                  <a:pt x="992" y="1044"/>
                  <a:pt x="992" y="1044"/>
                  <a:pt x="992" y="1044"/>
                </a:cubicBezTo>
                <a:cubicBezTo>
                  <a:pt x="995" y="1040"/>
                  <a:pt x="995" y="1040"/>
                  <a:pt x="995" y="1040"/>
                </a:cubicBezTo>
                <a:cubicBezTo>
                  <a:pt x="996" y="1037"/>
                  <a:pt x="996" y="1037"/>
                  <a:pt x="996" y="1037"/>
                </a:cubicBezTo>
                <a:cubicBezTo>
                  <a:pt x="997" y="1035"/>
                  <a:pt x="997" y="1035"/>
                  <a:pt x="997" y="1035"/>
                </a:cubicBezTo>
                <a:cubicBezTo>
                  <a:pt x="999" y="1034"/>
                  <a:pt x="999" y="1034"/>
                  <a:pt x="999" y="1034"/>
                </a:cubicBezTo>
                <a:cubicBezTo>
                  <a:pt x="1002" y="1032"/>
                  <a:pt x="1002" y="1032"/>
                  <a:pt x="1002" y="1032"/>
                </a:cubicBezTo>
                <a:cubicBezTo>
                  <a:pt x="1003" y="1032"/>
                  <a:pt x="1003" y="1032"/>
                  <a:pt x="1003" y="1032"/>
                </a:cubicBezTo>
                <a:cubicBezTo>
                  <a:pt x="1005" y="1029"/>
                  <a:pt x="1005" y="1029"/>
                  <a:pt x="1005" y="1029"/>
                </a:cubicBezTo>
                <a:cubicBezTo>
                  <a:pt x="1010" y="1024"/>
                  <a:pt x="1010" y="1024"/>
                  <a:pt x="1010" y="1024"/>
                </a:cubicBezTo>
                <a:cubicBezTo>
                  <a:pt x="1010" y="1023"/>
                  <a:pt x="1010" y="1023"/>
                  <a:pt x="1010" y="1023"/>
                </a:cubicBezTo>
                <a:cubicBezTo>
                  <a:pt x="1011" y="1022"/>
                  <a:pt x="1011" y="1022"/>
                  <a:pt x="1011" y="1022"/>
                </a:cubicBezTo>
                <a:cubicBezTo>
                  <a:pt x="1010" y="1021"/>
                  <a:pt x="1010" y="1021"/>
                  <a:pt x="1010" y="1021"/>
                </a:cubicBezTo>
                <a:cubicBezTo>
                  <a:pt x="1010" y="1019"/>
                  <a:pt x="1010" y="1019"/>
                  <a:pt x="1010" y="1019"/>
                </a:cubicBezTo>
                <a:cubicBezTo>
                  <a:pt x="1011" y="1019"/>
                  <a:pt x="1011" y="1019"/>
                  <a:pt x="1011" y="1019"/>
                </a:cubicBezTo>
                <a:cubicBezTo>
                  <a:pt x="1011" y="1017"/>
                  <a:pt x="1011" y="1017"/>
                  <a:pt x="1011" y="1017"/>
                </a:cubicBezTo>
                <a:cubicBezTo>
                  <a:pt x="1009" y="1016"/>
                  <a:pt x="1009" y="1016"/>
                  <a:pt x="1009" y="1016"/>
                </a:cubicBezTo>
                <a:cubicBezTo>
                  <a:pt x="1007" y="1016"/>
                  <a:pt x="1007" y="1016"/>
                  <a:pt x="1007" y="1016"/>
                </a:cubicBezTo>
                <a:cubicBezTo>
                  <a:pt x="1006" y="1016"/>
                  <a:pt x="1006" y="1016"/>
                  <a:pt x="1006" y="1016"/>
                </a:cubicBezTo>
                <a:cubicBezTo>
                  <a:pt x="1005" y="1015"/>
                  <a:pt x="1005" y="1015"/>
                  <a:pt x="1005" y="1015"/>
                </a:cubicBezTo>
                <a:cubicBezTo>
                  <a:pt x="1004" y="1011"/>
                  <a:pt x="1004" y="1011"/>
                  <a:pt x="1004" y="1011"/>
                </a:cubicBezTo>
                <a:cubicBezTo>
                  <a:pt x="1002" y="1005"/>
                  <a:pt x="1002" y="1005"/>
                  <a:pt x="1002" y="1005"/>
                </a:cubicBezTo>
                <a:cubicBezTo>
                  <a:pt x="1000" y="1002"/>
                  <a:pt x="1000" y="1002"/>
                  <a:pt x="1000" y="1002"/>
                </a:cubicBezTo>
                <a:cubicBezTo>
                  <a:pt x="998" y="999"/>
                  <a:pt x="998" y="999"/>
                  <a:pt x="998" y="999"/>
                </a:cubicBezTo>
                <a:cubicBezTo>
                  <a:pt x="998" y="997"/>
                  <a:pt x="998" y="997"/>
                  <a:pt x="998" y="997"/>
                </a:cubicBezTo>
                <a:cubicBezTo>
                  <a:pt x="998" y="994"/>
                  <a:pt x="998" y="994"/>
                  <a:pt x="998" y="994"/>
                </a:cubicBezTo>
                <a:cubicBezTo>
                  <a:pt x="997" y="994"/>
                  <a:pt x="997" y="994"/>
                  <a:pt x="997" y="994"/>
                </a:cubicBezTo>
                <a:cubicBezTo>
                  <a:pt x="997" y="992"/>
                  <a:pt x="997" y="992"/>
                  <a:pt x="997" y="992"/>
                </a:cubicBezTo>
                <a:cubicBezTo>
                  <a:pt x="995" y="989"/>
                  <a:pt x="995" y="989"/>
                  <a:pt x="995" y="989"/>
                </a:cubicBezTo>
                <a:cubicBezTo>
                  <a:pt x="995" y="990"/>
                  <a:pt x="995" y="990"/>
                  <a:pt x="995" y="990"/>
                </a:cubicBezTo>
                <a:cubicBezTo>
                  <a:pt x="995" y="991"/>
                  <a:pt x="995" y="991"/>
                  <a:pt x="995" y="991"/>
                </a:cubicBezTo>
                <a:cubicBezTo>
                  <a:pt x="994" y="992"/>
                  <a:pt x="994" y="992"/>
                  <a:pt x="994" y="992"/>
                </a:cubicBezTo>
                <a:cubicBezTo>
                  <a:pt x="992" y="994"/>
                  <a:pt x="992" y="994"/>
                  <a:pt x="992" y="994"/>
                </a:cubicBezTo>
                <a:cubicBezTo>
                  <a:pt x="992" y="994"/>
                  <a:pt x="992" y="994"/>
                  <a:pt x="992" y="994"/>
                </a:cubicBezTo>
                <a:cubicBezTo>
                  <a:pt x="994" y="992"/>
                  <a:pt x="994" y="992"/>
                  <a:pt x="994" y="992"/>
                </a:cubicBezTo>
                <a:cubicBezTo>
                  <a:pt x="994" y="989"/>
                  <a:pt x="994" y="989"/>
                  <a:pt x="994" y="989"/>
                </a:cubicBezTo>
                <a:cubicBezTo>
                  <a:pt x="992" y="987"/>
                  <a:pt x="992" y="987"/>
                  <a:pt x="992" y="987"/>
                </a:cubicBezTo>
                <a:cubicBezTo>
                  <a:pt x="991" y="988"/>
                  <a:pt x="991" y="988"/>
                  <a:pt x="991" y="988"/>
                </a:cubicBezTo>
                <a:cubicBezTo>
                  <a:pt x="990" y="987"/>
                  <a:pt x="990" y="987"/>
                  <a:pt x="990" y="987"/>
                </a:cubicBezTo>
                <a:cubicBezTo>
                  <a:pt x="989" y="985"/>
                  <a:pt x="989" y="985"/>
                  <a:pt x="989" y="985"/>
                </a:cubicBezTo>
                <a:cubicBezTo>
                  <a:pt x="986" y="981"/>
                  <a:pt x="986" y="981"/>
                  <a:pt x="986" y="981"/>
                </a:cubicBezTo>
                <a:cubicBezTo>
                  <a:pt x="985" y="981"/>
                  <a:pt x="985" y="981"/>
                  <a:pt x="985" y="981"/>
                </a:cubicBezTo>
                <a:cubicBezTo>
                  <a:pt x="983" y="979"/>
                  <a:pt x="983" y="979"/>
                  <a:pt x="983" y="979"/>
                </a:cubicBezTo>
                <a:cubicBezTo>
                  <a:pt x="977" y="977"/>
                  <a:pt x="977" y="977"/>
                  <a:pt x="977" y="977"/>
                </a:cubicBezTo>
                <a:cubicBezTo>
                  <a:pt x="974" y="976"/>
                  <a:pt x="974" y="976"/>
                  <a:pt x="974" y="976"/>
                </a:cubicBezTo>
                <a:cubicBezTo>
                  <a:pt x="971" y="976"/>
                  <a:pt x="971" y="976"/>
                  <a:pt x="971" y="976"/>
                </a:cubicBezTo>
                <a:cubicBezTo>
                  <a:pt x="970" y="977"/>
                  <a:pt x="970" y="977"/>
                  <a:pt x="970" y="977"/>
                </a:cubicBezTo>
                <a:cubicBezTo>
                  <a:pt x="968" y="978"/>
                  <a:pt x="968" y="978"/>
                  <a:pt x="968" y="978"/>
                </a:cubicBezTo>
                <a:cubicBezTo>
                  <a:pt x="968" y="978"/>
                  <a:pt x="968" y="978"/>
                  <a:pt x="968" y="978"/>
                </a:cubicBezTo>
                <a:cubicBezTo>
                  <a:pt x="970" y="976"/>
                  <a:pt x="970" y="976"/>
                  <a:pt x="970" y="976"/>
                </a:cubicBezTo>
                <a:cubicBezTo>
                  <a:pt x="970" y="974"/>
                  <a:pt x="970" y="974"/>
                  <a:pt x="970" y="974"/>
                </a:cubicBezTo>
                <a:cubicBezTo>
                  <a:pt x="967" y="973"/>
                  <a:pt x="967" y="973"/>
                  <a:pt x="967" y="973"/>
                </a:cubicBezTo>
                <a:cubicBezTo>
                  <a:pt x="964" y="973"/>
                  <a:pt x="964" y="973"/>
                  <a:pt x="964" y="973"/>
                </a:cubicBezTo>
                <a:cubicBezTo>
                  <a:pt x="960" y="971"/>
                  <a:pt x="960" y="971"/>
                  <a:pt x="960" y="971"/>
                </a:cubicBezTo>
                <a:cubicBezTo>
                  <a:pt x="959" y="971"/>
                  <a:pt x="959" y="971"/>
                  <a:pt x="959" y="971"/>
                </a:cubicBezTo>
                <a:cubicBezTo>
                  <a:pt x="957" y="972"/>
                  <a:pt x="957" y="972"/>
                  <a:pt x="957" y="972"/>
                </a:cubicBezTo>
                <a:cubicBezTo>
                  <a:pt x="954" y="972"/>
                  <a:pt x="954" y="972"/>
                  <a:pt x="954" y="972"/>
                </a:cubicBezTo>
                <a:cubicBezTo>
                  <a:pt x="950" y="973"/>
                  <a:pt x="950" y="973"/>
                  <a:pt x="950" y="973"/>
                </a:cubicBezTo>
                <a:cubicBezTo>
                  <a:pt x="946" y="972"/>
                  <a:pt x="946" y="972"/>
                  <a:pt x="946" y="972"/>
                </a:cubicBezTo>
                <a:cubicBezTo>
                  <a:pt x="942" y="972"/>
                  <a:pt x="942" y="972"/>
                  <a:pt x="942" y="972"/>
                </a:cubicBezTo>
                <a:cubicBezTo>
                  <a:pt x="939" y="973"/>
                  <a:pt x="939" y="973"/>
                  <a:pt x="939" y="973"/>
                </a:cubicBezTo>
                <a:cubicBezTo>
                  <a:pt x="939" y="975"/>
                  <a:pt x="939" y="975"/>
                  <a:pt x="939" y="975"/>
                </a:cubicBezTo>
                <a:cubicBezTo>
                  <a:pt x="939" y="975"/>
                  <a:pt x="939" y="975"/>
                  <a:pt x="939" y="975"/>
                </a:cubicBezTo>
                <a:cubicBezTo>
                  <a:pt x="938" y="973"/>
                  <a:pt x="938" y="973"/>
                  <a:pt x="938" y="973"/>
                </a:cubicBezTo>
                <a:cubicBezTo>
                  <a:pt x="938" y="970"/>
                  <a:pt x="938" y="970"/>
                  <a:pt x="938" y="970"/>
                </a:cubicBezTo>
                <a:cubicBezTo>
                  <a:pt x="938" y="969"/>
                  <a:pt x="938" y="969"/>
                  <a:pt x="938" y="969"/>
                </a:cubicBezTo>
                <a:cubicBezTo>
                  <a:pt x="934" y="968"/>
                  <a:pt x="934" y="968"/>
                  <a:pt x="934" y="968"/>
                </a:cubicBezTo>
                <a:cubicBezTo>
                  <a:pt x="931" y="964"/>
                  <a:pt x="931" y="964"/>
                  <a:pt x="931" y="964"/>
                </a:cubicBezTo>
                <a:cubicBezTo>
                  <a:pt x="929" y="963"/>
                  <a:pt x="929" y="963"/>
                  <a:pt x="929" y="963"/>
                </a:cubicBezTo>
                <a:cubicBezTo>
                  <a:pt x="928" y="964"/>
                  <a:pt x="928" y="964"/>
                  <a:pt x="928" y="964"/>
                </a:cubicBezTo>
                <a:cubicBezTo>
                  <a:pt x="925" y="964"/>
                  <a:pt x="925" y="964"/>
                  <a:pt x="925" y="964"/>
                </a:cubicBezTo>
                <a:cubicBezTo>
                  <a:pt x="924" y="966"/>
                  <a:pt x="924" y="966"/>
                  <a:pt x="924" y="966"/>
                </a:cubicBezTo>
                <a:cubicBezTo>
                  <a:pt x="924" y="968"/>
                  <a:pt x="924" y="968"/>
                  <a:pt x="924" y="968"/>
                </a:cubicBezTo>
                <a:cubicBezTo>
                  <a:pt x="923" y="965"/>
                  <a:pt x="923" y="965"/>
                  <a:pt x="923" y="965"/>
                </a:cubicBezTo>
                <a:cubicBezTo>
                  <a:pt x="924" y="962"/>
                  <a:pt x="924" y="962"/>
                  <a:pt x="924" y="962"/>
                </a:cubicBezTo>
                <a:cubicBezTo>
                  <a:pt x="924" y="960"/>
                  <a:pt x="924" y="960"/>
                  <a:pt x="924" y="960"/>
                </a:cubicBezTo>
                <a:cubicBezTo>
                  <a:pt x="923" y="957"/>
                  <a:pt x="923" y="957"/>
                  <a:pt x="923" y="957"/>
                </a:cubicBezTo>
                <a:cubicBezTo>
                  <a:pt x="922" y="956"/>
                  <a:pt x="922" y="956"/>
                  <a:pt x="922" y="956"/>
                </a:cubicBezTo>
                <a:cubicBezTo>
                  <a:pt x="918" y="953"/>
                  <a:pt x="918" y="953"/>
                  <a:pt x="918" y="953"/>
                </a:cubicBezTo>
                <a:cubicBezTo>
                  <a:pt x="915" y="950"/>
                  <a:pt x="915" y="950"/>
                  <a:pt x="915" y="950"/>
                </a:cubicBezTo>
                <a:cubicBezTo>
                  <a:pt x="915" y="949"/>
                  <a:pt x="915" y="949"/>
                  <a:pt x="915" y="949"/>
                </a:cubicBezTo>
                <a:cubicBezTo>
                  <a:pt x="913" y="947"/>
                  <a:pt x="913" y="947"/>
                  <a:pt x="913" y="947"/>
                </a:cubicBezTo>
                <a:cubicBezTo>
                  <a:pt x="911" y="947"/>
                  <a:pt x="911" y="947"/>
                  <a:pt x="911" y="947"/>
                </a:cubicBezTo>
                <a:cubicBezTo>
                  <a:pt x="911" y="946"/>
                  <a:pt x="911" y="946"/>
                  <a:pt x="911" y="946"/>
                </a:cubicBezTo>
                <a:cubicBezTo>
                  <a:pt x="910" y="946"/>
                  <a:pt x="910" y="946"/>
                  <a:pt x="910" y="946"/>
                </a:cubicBezTo>
                <a:cubicBezTo>
                  <a:pt x="906" y="944"/>
                  <a:pt x="906" y="944"/>
                  <a:pt x="906" y="944"/>
                </a:cubicBezTo>
                <a:cubicBezTo>
                  <a:pt x="905" y="944"/>
                  <a:pt x="905" y="944"/>
                  <a:pt x="905" y="944"/>
                </a:cubicBezTo>
                <a:cubicBezTo>
                  <a:pt x="903" y="945"/>
                  <a:pt x="903" y="945"/>
                  <a:pt x="903" y="945"/>
                </a:cubicBezTo>
                <a:cubicBezTo>
                  <a:pt x="901" y="944"/>
                  <a:pt x="901" y="944"/>
                  <a:pt x="901" y="944"/>
                </a:cubicBezTo>
                <a:cubicBezTo>
                  <a:pt x="900" y="944"/>
                  <a:pt x="900" y="944"/>
                  <a:pt x="900" y="944"/>
                </a:cubicBezTo>
                <a:cubicBezTo>
                  <a:pt x="899" y="945"/>
                  <a:pt x="899" y="945"/>
                  <a:pt x="899" y="945"/>
                </a:cubicBezTo>
                <a:cubicBezTo>
                  <a:pt x="895" y="945"/>
                  <a:pt x="895" y="945"/>
                  <a:pt x="895" y="945"/>
                </a:cubicBezTo>
                <a:cubicBezTo>
                  <a:pt x="893" y="945"/>
                  <a:pt x="893" y="945"/>
                  <a:pt x="893" y="945"/>
                </a:cubicBezTo>
                <a:cubicBezTo>
                  <a:pt x="892" y="945"/>
                  <a:pt x="892" y="945"/>
                  <a:pt x="892" y="945"/>
                </a:cubicBezTo>
                <a:cubicBezTo>
                  <a:pt x="894" y="945"/>
                  <a:pt x="894" y="945"/>
                  <a:pt x="894" y="945"/>
                </a:cubicBezTo>
                <a:cubicBezTo>
                  <a:pt x="895" y="945"/>
                  <a:pt x="895" y="945"/>
                  <a:pt x="895" y="945"/>
                </a:cubicBezTo>
                <a:cubicBezTo>
                  <a:pt x="897" y="944"/>
                  <a:pt x="897" y="944"/>
                  <a:pt x="897" y="944"/>
                </a:cubicBezTo>
                <a:cubicBezTo>
                  <a:pt x="897" y="942"/>
                  <a:pt x="897" y="942"/>
                  <a:pt x="897" y="942"/>
                </a:cubicBezTo>
                <a:cubicBezTo>
                  <a:pt x="900" y="941"/>
                  <a:pt x="900" y="941"/>
                  <a:pt x="900" y="941"/>
                </a:cubicBezTo>
                <a:cubicBezTo>
                  <a:pt x="900" y="940"/>
                  <a:pt x="900" y="940"/>
                  <a:pt x="900" y="940"/>
                </a:cubicBezTo>
                <a:cubicBezTo>
                  <a:pt x="899" y="939"/>
                  <a:pt x="899" y="939"/>
                  <a:pt x="899" y="939"/>
                </a:cubicBezTo>
                <a:cubicBezTo>
                  <a:pt x="899" y="938"/>
                  <a:pt x="899" y="938"/>
                  <a:pt x="899" y="938"/>
                </a:cubicBezTo>
                <a:cubicBezTo>
                  <a:pt x="898" y="936"/>
                  <a:pt x="898" y="936"/>
                  <a:pt x="898" y="936"/>
                </a:cubicBezTo>
                <a:cubicBezTo>
                  <a:pt x="895" y="935"/>
                  <a:pt x="895" y="935"/>
                  <a:pt x="895" y="935"/>
                </a:cubicBezTo>
                <a:cubicBezTo>
                  <a:pt x="892" y="934"/>
                  <a:pt x="892" y="934"/>
                  <a:pt x="892" y="934"/>
                </a:cubicBezTo>
                <a:cubicBezTo>
                  <a:pt x="891" y="933"/>
                  <a:pt x="891" y="933"/>
                  <a:pt x="891" y="933"/>
                </a:cubicBezTo>
                <a:cubicBezTo>
                  <a:pt x="890" y="932"/>
                  <a:pt x="890" y="932"/>
                  <a:pt x="890" y="932"/>
                </a:cubicBezTo>
                <a:cubicBezTo>
                  <a:pt x="888" y="932"/>
                  <a:pt x="888" y="932"/>
                  <a:pt x="888" y="932"/>
                </a:cubicBezTo>
                <a:cubicBezTo>
                  <a:pt x="887" y="931"/>
                  <a:pt x="887" y="931"/>
                  <a:pt x="887" y="931"/>
                </a:cubicBezTo>
                <a:cubicBezTo>
                  <a:pt x="885" y="930"/>
                  <a:pt x="885" y="930"/>
                  <a:pt x="885" y="930"/>
                </a:cubicBezTo>
                <a:cubicBezTo>
                  <a:pt x="884" y="930"/>
                  <a:pt x="884" y="930"/>
                  <a:pt x="884" y="930"/>
                </a:cubicBezTo>
                <a:cubicBezTo>
                  <a:pt x="884" y="932"/>
                  <a:pt x="884" y="932"/>
                  <a:pt x="884" y="932"/>
                </a:cubicBezTo>
                <a:cubicBezTo>
                  <a:pt x="883" y="930"/>
                  <a:pt x="883" y="930"/>
                  <a:pt x="883" y="930"/>
                </a:cubicBezTo>
                <a:cubicBezTo>
                  <a:pt x="882" y="928"/>
                  <a:pt x="882" y="928"/>
                  <a:pt x="882" y="928"/>
                </a:cubicBezTo>
                <a:cubicBezTo>
                  <a:pt x="880" y="927"/>
                  <a:pt x="880" y="927"/>
                  <a:pt x="880" y="927"/>
                </a:cubicBezTo>
                <a:cubicBezTo>
                  <a:pt x="879" y="926"/>
                  <a:pt x="879" y="926"/>
                  <a:pt x="879" y="926"/>
                </a:cubicBezTo>
                <a:cubicBezTo>
                  <a:pt x="880" y="925"/>
                  <a:pt x="880" y="925"/>
                  <a:pt x="880" y="925"/>
                </a:cubicBezTo>
                <a:cubicBezTo>
                  <a:pt x="885" y="926"/>
                  <a:pt x="885" y="926"/>
                  <a:pt x="885" y="926"/>
                </a:cubicBezTo>
                <a:cubicBezTo>
                  <a:pt x="887" y="924"/>
                  <a:pt x="887" y="924"/>
                  <a:pt x="887" y="924"/>
                </a:cubicBezTo>
                <a:cubicBezTo>
                  <a:pt x="889" y="924"/>
                  <a:pt x="889" y="924"/>
                  <a:pt x="889" y="924"/>
                </a:cubicBezTo>
                <a:cubicBezTo>
                  <a:pt x="890" y="923"/>
                  <a:pt x="890" y="923"/>
                  <a:pt x="890" y="923"/>
                </a:cubicBezTo>
                <a:cubicBezTo>
                  <a:pt x="887" y="923"/>
                  <a:pt x="887" y="923"/>
                  <a:pt x="887" y="923"/>
                </a:cubicBezTo>
                <a:cubicBezTo>
                  <a:pt x="883" y="922"/>
                  <a:pt x="883" y="922"/>
                  <a:pt x="883" y="922"/>
                </a:cubicBezTo>
                <a:cubicBezTo>
                  <a:pt x="879" y="923"/>
                  <a:pt x="879" y="923"/>
                  <a:pt x="879" y="923"/>
                </a:cubicBezTo>
                <a:cubicBezTo>
                  <a:pt x="877" y="922"/>
                  <a:pt x="877" y="922"/>
                  <a:pt x="877" y="922"/>
                </a:cubicBezTo>
                <a:cubicBezTo>
                  <a:pt x="873" y="924"/>
                  <a:pt x="873" y="924"/>
                  <a:pt x="873" y="924"/>
                </a:cubicBezTo>
                <a:cubicBezTo>
                  <a:pt x="871" y="923"/>
                  <a:pt x="871" y="923"/>
                  <a:pt x="871" y="923"/>
                </a:cubicBezTo>
                <a:cubicBezTo>
                  <a:pt x="869" y="924"/>
                  <a:pt x="869" y="924"/>
                  <a:pt x="869" y="924"/>
                </a:cubicBezTo>
                <a:cubicBezTo>
                  <a:pt x="866" y="926"/>
                  <a:pt x="866" y="926"/>
                  <a:pt x="866" y="926"/>
                </a:cubicBezTo>
                <a:cubicBezTo>
                  <a:pt x="864" y="927"/>
                  <a:pt x="864" y="927"/>
                  <a:pt x="864" y="927"/>
                </a:cubicBezTo>
                <a:cubicBezTo>
                  <a:pt x="861" y="928"/>
                  <a:pt x="861" y="928"/>
                  <a:pt x="861" y="928"/>
                </a:cubicBezTo>
                <a:cubicBezTo>
                  <a:pt x="861" y="929"/>
                  <a:pt x="861" y="929"/>
                  <a:pt x="861" y="929"/>
                </a:cubicBezTo>
                <a:cubicBezTo>
                  <a:pt x="858" y="929"/>
                  <a:pt x="858" y="929"/>
                  <a:pt x="858" y="929"/>
                </a:cubicBezTo>
                <a:cubicBezTo>
                  <a:pt x="857" y="930"/>
                  <a:pt x="857" y="930"/>
                  <a:pt x="857" y="930"/>
                </a:cubicBezTo>
                <a:cubicBezTo>
                  <a:pt x="855" y="929"/>
                  <a:pt x="855" y="929"/>
                  <a:pt x="855" y="929"/>
                </a:cubicBezTo>
                <a:cubicBezTo>
                  <a:pt x="851" y="926"/>
                  <a:pt x="851" y="926"/>
                  <a:pt x="851" y="926"/>
                </a:cubicBezTo>
                <a:cubicBezTo>
                  <a:pt x="850" y="924"/>
                  <a:pt x="850" y="924"/>
                  <a:pt x="850" y="924"/>
                </a:cubicBezTo>
                <a:cubicBezTo>
                  <a:pt x="848" y="924"/>
                  <a:pt x="848" y="924"/>
                  <a:pt x="848" y="924"/>
                </a:cubicBezTo>
                <a:cubicBezTo>
                  <a:pt x="844" y="925"/>
                  <a:pt x="844" y="925"/>
                  <a:pt x="844" y="925"/>
                </a:cubicBezTo>
                <a:cubicBezTo>
                  <a:pt x="834" y="926"/>
                  <a:pt x="834" y="926"/>
                  <a:pt x="834" y="926"/>
                </a:cubicBezTo>
                <a:cubicBezTo>
                  <a:pt x="829" y="926"/>
                  <a:pt x="829" y="926"/>
                  <a:pt x="829" y="926"/>
                </a:cubicBezTo>
                <a:cubicBezTo>
                  <a:pt x="827" y="925"/>
                  <a:pt x="827" y="925"/>
                  <a:pt x="827" y="925"/>
                </a:cubicBezTo>
                <a:cubicBezTo>
                  <a:pt x="827" y="924"/>
                  <a:pt x="827" y="924"/>
                  <a:pt x="827" y="924"/>
                </a:cubicBezTo>
                <a:cubicBezTo>
                  <a:pt x="827" y="922"/>
                  <a:pt x="827" y="922"/>
                  <a:pt x="827" y="922"/>
                </a:cubicBezTo>
                <a:cubicBezTo>
                  <a:pt x="828" y="922"/>
                  <a:pt x="828" y="922"/>
                  <a:pt x="828" y="922"/>
                </a:cubicBezTo>
                <a:cubicBezTo>
                  <a:pt x="828" y="920"/>
                  <a:pt x="828" y="920"/>
                  <a:pt x="828" y="920"/>
                </a:cubicBezTo>
                <a:cubicBezTo>
                  <a:pt x="826" y="917"/>
                  <a:pt x="826" y="917"/>
                  <a:pt x="826" y="917"/>
                </a:cubicBezTo>
                <a:cubicBezTo>
                  <a:pt x="824" y="917"/>
                  <a:pt x="824" y="917"/>
                  <a:pt x="824" y="917"/>
                </a:cubicBezTo>
                <a:cubicBezTo>
                  <a:pt x="819" y="917"/>
                  <a:pt x="819" y="917"/>
                  <a:pt x="819" y="917"/>
                </a:cubicBezTo>
                <a:cubicBezTo>
                  <a:pt x="817" y="916"/>
                  <a:pt x="817" y="916"/>
                  <a:pt x="817" y="916"/>
                </a:cubicBezTo>
                <a:cubicBezTo>
                  <a:pt x="815" y="916"/>
                  <a:pt x="815" y="916"/>
                  <a:pt x="815" y="916"/>
                </a:cubicBezTo>
                <a:cubicBezTo>
                  <a:pt x="814" y="916"/>
                  <a:pt x="814" y="916"/>
                  <a:pt x="814" y="916"/>
                </a:cubicBezTo>
                <a:cubicBezTo>
                  <a:pt x="812" y="913"/>
                  <a:pt x="812" y="913"/>
                  <a:pt x="812" y="913"/>
                </a:cubicBezTo>
                <a:cubicBezTo>
                  <a:pt x="812" y="911"/>
                  <a:pt x="812" y="911"/>
                  <a:pt x="812" y="911"/>
                </a:cubicBezTo>
                <a:cubicBezTo>
                  <a:pt x="811" y="907"/>
                  <a:pt x="811" y="907"/>
                  <a:pt x="811" y="907"/>
                </a:cubicBezTo>
                <a:cubicBezTo>
                  <a:pt x="810" y="907"/>
                  <a:pt x="810" y="907"/>
                  <a:pt x="810" y="907"/>
                </a:cubicBezTo>
                <a:cubicBezTo>
                  <a:pt x="808" y="908"/>
                  <a:pt x="808" y="908"/>
                  <a:pt x="808" y="908"/>
                </a:cubicBezTo>
                <a:cubicBezTo>
                  <a:pt x="805" y="911"/>
                  <a:pt x="805" y="911"/>
                  <a:pt x="805" y="911"/>
                </a:cubicBezTo>
                <a:cubicBezTo>
                  <a:pt x="806" y="914"/>
                  <a:pt x="806" y="914"/>
                  <a:pt x="806" y="914"/>
                </a:cubicBezTo>
                <a:cubicBezTo>
                  <a:pt x="806" y="915"/>
                  <a:pt x="806" y="915"/>
                  <a:pt x="806" y="915"/>
                </a:cubicBezTo>
                <a:cubicBezTo>
                  <a:pt x="808" y="914"/>
                  <a:pt x="808" y="914"/>
                  <a:pt x="808" y="914"/>
                </a:cubicBezTo>
                <a:cubicBezTo>
                  <a:pt x="810" y="914"/>
                  <a:pt x="810" y="914"/>
                  <a:pt x="810" y="914"/>
                </a:cubicBezTo>
                <a:cubicBezTo>
                  <a:pt x="812" y="915"/>
                  <a:pt x="812" y="915"/>
                  <a:pt x="812" y="915"/>
                </a:cubicBezTo>
                <a:cubicBezTo>
                  <a:pt x="812" y="917"/>
                  <a:pt x="812" y="917"/>
                  <a:pt x="812" y="917"/>
                </a:cubicBezTo>
                <a:cubicBezTo>
                  <a:pt x="810" y="917"/>
                  <a:pt x="810" y="917"/>
                  <a:pt x="810" y="917"/>
                </a:cubicBezTo>
                <a:cubicBezTo>
                  <a:pt x="808" y="916"/>
                  <a:pt x="808" y="916"/>
                  <a:pt x="808" y="916"/>
                </a:cubicBezTo>
                <a:cubicBezTo>
                  <a:pt x="807" y="916"/>
                  <a:pt x="807" y="916"/>
                  <a:pt x="807" y="916"/>
                </a:cubicBezTo>
                <a:cubicBezTo>
                  <a:pt x="806" y="916"/>
                  <a:pt x="806" y="916"/>
                  <a:pt x="806" y="916"/>
                </a:cubicBezTo>
                <a:cubicBezTo>
                  <a:pt x="806" y="917"/>
                  <a:pt x="806" y="917"/>
                  <a:pt x="806" y="917"/>
                </a:cubicBezTo>
                <a:cubicBezTo>
                  <a:pt x="804" y="918"/>
                  <a:pt x="804" y="918"/>
                  <a:pt x="804" y="918"/>
                </a:cubicBezTo>
                <a:cubicBezTo>
                  <a:pt x="799" y="919"/>
                  <a:pt x="799" y="919"/>
                  <a:pt x="799" y="919"/>
                </a:cubicBezTo>
                <a:cubicBezTo>
                  <a:pt x="795" y="921"/>
                  <a:pt x="795" y="921"/>
                  <a:pt x="795" y="921"/>
                </a:cubicBezTo>
                <a:cubicBezTo>
                  <a:pt x="794" y="923"/>
                  <a:pt x="794" y="923"/>
                  <a:pt x="794" y="923"/>
                </a:cubicBezTo>
                <a:cubicBezTo>
                  <a:pt x="794" y="924"/>
                  <a:pt x="794" y="924"/>
                  <a:pt x="794" y="924"/>
                </a:cubicBezTo>
                <a:cubicBezTo>
                  <a:pt x="795" y="926"/>
                  <a:pt x="795" y="926"/>
                  <a:pt x="795" y="926"/>
                </a:cubicBezTo>
                <a:cubicBezTo>
                  <a:pt x="795" y="931"/>
                  <a:pt x="795" y="931"/>
                  <a:pt x="795" y="931"/>
                </a:cubicBezTo>
                <a:cubicBezTo>
                  <a:pt x="795" y="933"/>
                  <a:pt x="795" y="933"/>
                  <a:pt x="795" y="933"/>
                </a:cubicBezTo>
                <a:cubicBezTo>
                  <a:pt x="796" y="936"/>
                  <a:pt x="796" y="936"/>
                  <a:pt x="796" y="936"/>
                </a:cubicBezTo>
                <a:cubicBezTo>
                  <a:pt x="795" y="939"/>
                  <a:pt x="795" y="939"/>
                  <a:pt x="795" y="939"/>
                </a:cubicBezTo>
                <a:cubicBezTo>
                  <a:pt x="791" y="941"/>
                  <a:pt x="791" y="941"/>
                  <a:pt x="791" y="941"/>
                </a:cubicBezTo>
                <a:cubicBezTo>
                  <a:pt x="789" y="940"/>
                  <a:pt x="789" y="940"/>
                  <a:pt x="789" y="940"/>
                </a:cubicBezTo>
                <a:cubicBezTo>
                  <a:pt x="789" y="938"/>
                  <a:pt x="789" y="938"/>
                  <a:pt x="789" y="938"/>
                </a:cubicBezTo>
                <a:cubicBezTo>
                  <a:pt x="787" y="935"/>
                  <a:pt x="787" y="935"/>
                  <a:pt x="787" y="935"/>
                </a:cubicBezTo>
                <a:cubicBezTo>
                  <a:pt x="787" y="933"/>
                  <a:pt x="787" y="933"/>
                  <a:pt x="787" y="933"/>
                </a:cubicBezTo>
                <a:cubicBezTo>
                  <a:pt x="789" y="932"/>
                  <a:pt x="789" y="932"/>
                  <a:pt x="789" y="932"/>
                </a:cubicBezTo>
                <a:cubicBezTo>
                  <a:pt x="789" y="930"/>
                  <a:pt x="789" y="930"/>
                  <a:pt x="789" y="930"/>
                </a:cubicBezTo>
                <a:cubicBezTo>
                  <a:pt x="793" y="927"/>
                  <a:pt x="793" y="927"/>
                  <a:pt x="793" y="927"/>
                </a:cubicBezTo>
                <a:cubicBezTo>
                  <a:pt x="793" y="923"/>
                  <a:pt x="793" y="923"/>
                  <a:pt x="793" y="923"/>
                </a:cubicBezTo>
                <a:cubicBezTo>
                  <a:pt x="791" y="921"/>
                  <a:pt x="791" y="921"/>
                  <a:pt x="791" y="921"/>
                </a:cubicBezTo>
                <a:cubicBezTo>
                  <a:pt x="792" y="920"/>
                  <a:pt x="792" y="920"/>
                  <a:pt x="792" y="920"/>
                </a:cubicBezTo>
                <a:cubicBezTo>
                  <a:pt x="791" y="919"/>
                  <a:pt x="791" y="919"/>
                  <a:pt x="791" y="919"/>
                </a:cubicBezTo>
                <a:cubicBezTo>
                  <a:pt x="790" y="918"/>
                  <a:pt x="790" y="918"/>
                  <a:pt x="790" y="918"/>
                </a:cubicBezTo>
                <a:cubicBezTo>
                  <a:pt x="789" y="916"/>
                  <a:pt x="789" y="916"/>
                  <a:pt x="789" y="916"/>
                </a:cubicBezTo>
                <a:cubicBezTo>
                  <a:pt x="790" y="915"/>
                  <a:pt x="790" y="915"/>
                  <a:pt x="790" y="915"/>
                </a:cubicBezTo>
                <a:cubicBezTo>
                  <a:pt x="792" y="914"/>
                  <a:pt x="792" y="914"/>
                  <a:pt x="792" y="914"/>
                </a:cubicBezTo>
                <a:cubicBezTo>
                  <a:pt x="794" y="913"/>
                  <a:pt x="794" y="913"/>
                  <a:pt x="794" y="913"/>
                </a:cubicBezTo>
                <a:cubicBezTo>
                  <a:pt x="796" y="911"/>
                  <a:pt x="796" y="911"/>
                  <a:pt x="796" y="911"/>
                </a:cubicBezTo>
                <a:cubicBezTo>
                  <a:pt x="797" y="910"/>
                  <a:pt x="797" y="910"/>
                  <a:pt x="797" y="910"/>
                </a:cubicBezTo>
                <a:cubicBezTo>
                  <a:pt x="798" y="910"/>
                  <a:pt x="798" y="910"/>
                  <a:pt x="798" y="910"/>
                </a:cubicBezTo>
                <a:cubicBezTo>
                  <a:pt x="798" y="908"/>
                  <a:pt x="798" y="908"/>
                  <a:pt x="798" y="908"/>
                </a:cubicBezTo>
                <a:cubicBezTo>
                  <a:pt x="797" y="907"/>
                  <a:pt x="797" y="907"/>
                  <a:pt x="797" y="907"/>
                </a:cubicBezTo>
                <a:cubicBezTo>
                  <a:pt x="793" y="905"/>
                  <a:pt x="793" y="905"/>
                  <a:pt x="793" y="905"/>
                </a:cubicBezTo>
                <a:cubicBezTo>
                  <a:pt x="792" y="905"/>
                  <a:pt x="792" y="905"/>
                  <a:pt x="792" y="905"/>
                </a:cubicBezTo>
                <a:cubicBezTo>
                  <a:pt x="792" y="906"/>
                  <a:pt x="792" y="906"/>
                  <a:pt x="792" y="906"/>
                </a:cubicBezTo>
                <a:cubicBezTo>
                  <a:pt x="791" y="907"/>
                  <a:pt x="791" y="907"/>
                  <a:pt x="791" y="907"/>
                </a:cubicBezTo>
                <a:cubicBezTo>
                  <a:pt x="790" y="907"/>
                  <a:pt x="790" y="907"/>
                  <a:pt x="790" y="907"/>
                </a:cubicBezTo>
                <a:cubicBezTo>
                  <a:pt x="789" y="908"/>
                  <a:pt x="789" y="908"/>
                  <a:pt x="789" y="908"/>
                </a:cubicBezTo>
                <a:cubicBezTo>
                  <a:pt x="787" y="907"/>
                  <a:pt x="787" y="907"/>
                  <a:pt x="787" y="907"/>
                </a:cubicBezTo>
                <a:cubicBezTo>
                  <a:pt x="786" y="908"/>
                  <a:pt x="786" y="908"/>
                  <a:pt x="786" y="908"/>
                </a:cubicBezTo>
                <a:cubicBezTo>
                  <a:pt x="785" y="909"/>
                  <a:pt x="785" y="909"/>
                  <a:pt x="785" y="909"/>
                </a:cubicBezTo>
                <a:cubicBezTo>
                  <a:pt x="786" y="910"/>
                  <a:pt x="786" y="910"/>
                  <a:pt x="786" y="910"/>
                </a:cubicBezTo>
                <a:cubicBezTo>
                  <a:pt x="785" y="911"/>
                  <a:pt x="785" y="911"/>
                  <a:pt x="785" y="911"/>
                </a:cubicBezTo>
                <a:cubicBezTo>
                  <a:pt x="783" y="912"/>
                  <a:pt x="783" y="912"/>
                  <a:pt x="783" y="912"/>
                </a:cubicBezTo>
                <a:cubicBezTo>
                  <a:pt x="779" y="914"/>
                  <a:pt x="779" y="914"/>
                  <a:pt x="779" y="914"/>
                </a:cubicBezTo>
                <a:cubicBezTo>
                  <a:pt x="777" y="916"/>
                  <a:pt x="777" y="916"/>
                  <a:pt x="777" y="916"/>
                </a:cubicBezTo>
                <a:cubicBezTo>
                  <a:pt x="774" y="917"/>
                  <a:pt x="774" y="917"/>
                  <a:pt x="774" y="917"/>
                </a:cubicBezTo>
                <a:cubicBezTo>
                  <a:pt x="771" y="917"/>
                  <a:pt x="771" y="917"/>
                  <a:pt x="771" y="917"/>
                </a:cubicBezTo>
                <a:cubicBezTo>
                  <a:pt x="768" y="916"/>
                  <a:pt x="768" y="916"/>
                  <a:pt x="768" y="916"/>
                </a:cubicBezTo>
                <a:cubicBezTo>
                  <a:pt x="766" y="917"/>
                  <a:pt x="766" y="917"/>
                  <a:pt x="766" y="917"/>
                </a:cubicBezTo>
                <a:cubicBezTo>
                  <a:pt x="766" y="919"/>
                  <a:pt x="766" y="919"/>
                  <a:pt x="766" y="919"/>
                </a:cubicBezTo>
                <a:cubicBezTo>
                  <a:pt x="767" y="920"/>
                  <a:pt x="767" y="920"/>
                  <a:pt x="767" y="920"/>
                </a:cubicBezTo>
                <a:cubicBezTo>
                  <a:pt x="766" y="922"/>
                  <a:pt x="766" y="922"/>
                  <a:pt x="766" y="922"/>
                </a:cubicBezTo>
                <a:cubicBezTo>
                  <a:pt x="765" y="923"/>
                  <a:pt x="765" y="923"/>
                  <a:pt x="765" y="923"/>
                </a:cubicBezTo>
                <a:cubicBezTo>
                  <a:pt x="764" y="923"/>
                  <a:pt x="764" y="923"/>
                  <a:pt x="764" y="923"/>
                </a:cubicBezTo>
                <a:cubicBezTo>
                  <a:pt x="764" y="921"/>
                  <a:pt x="764" y="921"/>
                  <a:pt x="764" y="921"/>
                </a:cubicBezTo>
                <a:cubicBezTo>
                  <a:pt x="764" y="921"/>
                  <a:pt x="764" y="921"/>
                  <a:pt x="764" y="921"/>
                </a:cubicBezTo>
                <a:cubicBezTo>
                  <a:pt x="765" y="920"/>
                  <a:pt x="765" y="920"/>
                  <a:pt x="765" y="920"/>
                </a:cubicBezTo>
                <a:cubicBezTo>
                  <a:pt x="763" y="920"/>
                  <a:pt x="763" y="920"/>
                  <a:pt x="763" y="920"/>
                </a:cubicBezTo>
                <a:cubicBezTo>
                  <a:pt x="761" y="919"/>
                  <a:pt x="761" y="919"/>
                  <a:pt x="761" y="919"/>
                </a:cubicBezTo>
                <a:cubicBezTo>
                  <a:pt x="760" y="919"/>
                  <a:pt x="760" y="919"/>
                  <a:pt x="760" y="919"/>
                </a:cubicBezTo>
                <a:cubicBezTo>
                  <a:pt x="756" y="921"/>
                  <a:pt x="756" y="921"/>
                  <a:pt x="756" y="921"/>
                </a:cubicBezTo>
                <a:cubicBezTo>
                  <a:pt x="755" y="922"/>
                  <a:pt x="755" y="922"/>
                  <a:pt x="755" y="922"/>
                </a:cubicBezTo>
                <a:cubicBezTo>
                  <a:pt x="753" y="925"/>
                  <a:pt x="753" y="925"/>
                  <a:pt x="753" y="925"/>
                </a:cubicBezTo>
                <a:cubicBezTo>
                  <a:pt x="750" y="930"/>
                  <a:pt x="750" y="930"/>
                  <a:pt x="750" y="930"/>
                </a:cubicBezTo>
                <a:cubicBezTo>
                  <a:pt x="750" y="932"/>
                  <a:pt x="750" y="932"/>
                  <a:pt x="750" y="932"/>
                </a:cubicBezTo>
                <a:cubicBezTo>
                  <a:pt x="751" y="931"/>
                  <a:pt x="751" y="931"/>
                  <a:pt x="751" y="931"/>
                </a:cubicBezTo>
                <a:cubicBezTo>
                  <a:pt x="752" y="932"/>
                  <a:pt x="752" y="932"/>
                  <a:pt x="752" y="932"/>
                </a:cubicBezTo>
                <a:cubicBezTo>
                  <a:pt x="752" y="934"/>
                  <a:pt x="752" y="934"/>
                  <a:pt x="752" y="934"/>
                </a:cubicBezTo>
                <a:cubicBezTo>
                  <a:pt x="751" y="936"/>
                  <a:pt x="751" y="936"/>
                  <a:pt x="751" y="936"/>
                </a:cubicBezTo>
                <a:cubicBezTo>
                  <a:pt x="750" y="936"/>
                  <a:pt x="750" y="936"/>
                  <a:pt x="750" y="936"/>
                </a:cubicBezTo>
                <a:cubicBezTo>
                  <a:pt x="748" y="936"/>
                  <a:pt x="748" y="936"/>
                  <a:pt x="748" y="936"/>
                </a:cubicBezTo>
                <a:cubicBezTo>
                  <a:pt x="746" y="937"/>
                  <a:pt x="746" y="937"/>
                  <a:pt x="746" y="937"/>
                </a:cubicBezTo>
                <a:cubicBezTo>
                  <a:pt x="744" y="940"/>
                  <a:pt x="744" y="940"/>
                  <a:pt x="744" y="940"/>
                </a:cubicBezTo>
                <a:cubicBezTo>
                  <a:pt x="743" y="940"/>
                  <a:pt x="743" y="940"/>
                  <a:pt x="743" y="940"/>
                </a:cubicBezTo>
                <a:cubicBezTo>
                  <a:pt x="741" y="943"/>
                  <a:pt x="741" y="943"/>
                  <a:pt x="741" y="943"/>
                </a:cubicBezTo>
                <a:cubicBezTo>
                  <a:pt x="740" y="943"/>
                  <a:pt x="740" y="943"/>
                  <a:pt x="740" y="943"/>
                </a:cubicBezTo>
                <a:cubicBezTo>
                  <a:pt x="738" y="943"/>
                  <a:pt x="738" y="943"/>
                  <a:pt x="738" y="943"/>
                </a:cubicBezTo>
                <a:cubicBezTo>
                  <a:pt x="739" y="945"/>
                  <a:pt x="739" y="945"/>
                  <a:pt x="739" y="945"/>
                </a:cubicBezTo>
                <a:cubicBezTo>
                  <a:pt x="740" y="947"/>
                  <a:pt x="740" y="947"/>
                  <a:pt x="740" y="947"/>
                </a:cubicBezTo>
                <a:cubicBezTo>
                  <a:pt x="740" y="950"/>
                  <a:pt x="740" y="950"/>
                  <a:pt x="740" y="950"/>
                </a:cubicBezTo>
                <a:cubicBezTo>
                  <a:pt x="739" y="952"/>
                  <a:pt x="739" y="952"/>
                  <a:pt x="739" y="952"/>
                </a:cubicBezTo>
                <a:cubicBezTo>
                  <a:pt x="738" y="952"/>
                  <a:pt x="738" y="952"/>
                  <a:pt x="738" y="952"/>
                </a:cubicBezTo>
                <a:cubicBezTo>
                  <a:pt x="736" y="950"/>
                  <a:pt x="736" y="950"/>
                  <a:pt x="736" y="950"/>
                </a:cubicBezTo>
                <a:cubicBezTo>
                  <a:pt x="737" y="950"/>
                  <a:pt x="737" y="950"/>
                  <a:pt x="737" y="950"/>
                </a:cubicBezTo>
                <a:cubicBezTo>
                  <a:pt x="737" y="949"/>
                  <a:pt x="737" y="949"/>
                  <a:pt x="737" y="949"/>
                </a:cubicBezTo>
                <a:cubicBezTo>
                  <a:pt x="736" y="948"/>
                  <a:pt x="736" y="948"/>
                  <a:pt x="736" y="948"/>
                </a:cubicBezTo>
                <a:cubicBezTo>
                  <a:pt x="735" y="946"/>
                  <a:pt x="735" y="946"/>
                  <a:pt x="735" y="946"/>
                </a:cubicBezTo>
                <a:cubicBezTo>
                  <a:pt x="733" y="944"/>
                  <a:pt x="733" y="944"/>
                  <a:pt x="733" y="944"/>
                </a:cubicBezTo>
                <a:cubicBezTo>
                  <a:pt x="732" y="943"/>
                  <a:pt x="732" y="943"/>
                  <a:pt x="732" y="943"/>
                </a:cubicBezTo>
                <a:cubicBezTo>
                  <a:pt x="731" y="942"/>
                  <a:pt x="731" y="942"/>
                  <a:pt x="731" y="942"/>
                </a:cubicBezTo>
                <a:cubicBezTo>
                  <a:pt x="730" y="941"/>
                  <a:pt x="730" y="941"/>
                  <a:pt x="730" y="941"/>
                </a:cubicBezTo>
                <a:cubicBezTo>
                  <a:pt x="728" y="939"/>
                  <a:pt x="728" y="939"/>
                  <a:pt x="728" y="939"/>
                </a:cubicBezTo>
                <a:cubicBezTo>
                  <a:pt x="724" y="937"/>
                  <a:pt x="724" y="937"/>
                  <a:pt x="724" y="937"/>
                </a:cubicBezTo>
                <a:cubicBezTo>
                  <a:pt x="722" y="936"/>
                  <a:pt x="722" y="936"/>
                  <a:pt x="722" y="936"/>
                </a:cubicBezTo>
                <a:cubicBezTo>
                  <a:pt x="717" y="936"/>
                  <a:pt x="717" y="936"/>
                  <a:pt x="717" y="936"/>
                </a:cubicBezTo>
                <a:cubicBezTo>
                  <a:pt x="716" y="936"/>
                  <a:pt x="716" y="936"/>
                  <a:pt x="716" y="936"/>
                </a:cubicBezTo>
                <a:cubicBezTo>
                  <a:pt x="715" y="935"/>
                  <a:pt x="715" y="935"/>
                  <a:pt x="715" y="935"/>
                </a:cubicBezTo>
                <a:cubicBezTo>
                  <a:pt x="714" y="934"/>
                  <a:pt x="714" y="934"/>
                  <a:pt x="714" y="934"/>
                </a:cubicBezTo>
                <a:cubicBezTo>
                  <a:pt x="713" y="934"/>
                  <a:pt x="713" y="934"/>
                  <a:pt x="713" y="934"/>
                </a:cubicBezTo>
                <a:cubicBezTo>
                  <a:pt x="710" y="936"/>
                  <a:pt x="710" y="936"/>
                  <a:pt x="710" y="936"/>
                </a:cubicBezTo>
                <a:cubicBezTo>
                  <a:pt x="707" y="937"/>
                  <a:pt x="707" y="937"/>
                  <a:pt x="707" y="937"/>
                </a:cubicBezTo>
                <a:cubicBezTo>
                  <a:pt x="701" y="940"/>
                  <a:pt x="701" y="940"/>
                  <a:pt x="701" y="940"/>
                </a:cubicBezTo>
                <a:cubicBezTo>
                  <a:pt x="699" y="942"/>
                  <a:pt x="699" y="942"/>
                  <a:pt x="699" y="942"/>
                </a:cubicBezTo>
                <a:cubicBezTo>
                  <a:pt x="697" y="942"/>
                  <a:pt x="697" y="942"/>
                  <a:pt x="697" y="942"/>
                </a:cubicBezTo>
                <a:cubicBezTo>
                  <a:pt x="694" y="942"/>
                  <a:pt x="694" y="942"/>
                  <a:pt x="694" y="942"/>
                </a:cubicBezTo>
                <a:cubicBezTo>
                  <a:pt x="690" y="940"/>
                  <a:pt x="690" y="940"/>
                  <a:pt x="690" y="940"/>
                </a:cubicBezTo>
                <a:cubicBezTo>
                  <a:pt x="688" y="939"/>
                  <a:pt x="688" y="939"/>
                  <a:pt x="688" y="939"/>
                </a:cubicBezTo>
                <a:cubicBezTo>
                  <a:pt x="687" y="939"/>
                  <a:pt x="687" y="939"/>
                  <a:pt x="687" y="939"/>
                </a:cubicBezTo>
                <a:cubicBezTo>
                  <a:pt x="688" y="940"/>
                  <a:pt x="688" y="940"/>
                  <a:pt x="688" y="940"/>
                </a:cubicBezTo>
                <a:cubicBezTo>
                  <a:pt x="688" y="941"/>
                  <a:pt x="688" y="941"/>
                  <a:pt x="688" y="941"/>
                </a:cubicBezTo>
                <a:cubicBezTo>
                  <a:pt x="687" y="941"/>
                  <a:pt x="687" y="941"/>
                  <a:pt x="687" y="941"/>
                </a:cubicBezTo>
                <a:cubicBezTo>
                  <a:pt x="685" y="940"/>
                  <a:pt x="685" y="940"/>
                  <a:pt x="685" y="940"/>
                </a:cubicBezTo>
                <a:cubicBezTo>
                  <a:pt x="685" y="939"/>
                  <a:pt x="685" y="939"/>
                  <a:pt x="685" y="939"/>
                </a:cubicBezTo>
                <a:cubicBezTo>
                  <a:pt x="685" y="939"/>
                  <a:pt x="685" y="939"/>
                  <a:pt x="685" y="939"/>
                </a:cubicBezTo>
                <a:cubicBezTo>
                  <a:pt x="686" y="939"/>
                  <a:pt x="686" y="939"/>
                  <a:pt x="686" y="939"/>
                </a:cubicBezTo>
                <a:cubicBezTo>
                  <a:pt x="685" y="938"/>
                  <a:pt x="685" y="938"/>
                  <a:pt x="685" y="938"/>
                </a:cubicBezTo>
                <a:cubicBezTo>
                  <a:pt x="684" y="938"/>
                  <a:pt x="684" y="938"/>
                  <a:pt x="684" y="938"/>
                </a:cubicBezTo>
                <a:cubicBezTo>
                  <a:pt x="683" y="938"/>
                  <a:pt x="683" y="938"/>
                  <a:pt x="683" y="938"/>
                </a:cubicBezTo>
                <a:cubicBezTo>
                  <a:pt x="682" y="937"/>
                  <a:pt x="682" y="937"/>
                  <a:pt x="682" y="937"/>
                </a:cubicBezTo>
                <a:cubicBezTo>
                  <a:pt x="682" y="936"/>
                  <a:pt x="682" y="936"/>
                  <a:pt x="682" y="936"/>
                </a:cubicBezTo>
                <a:cubicBezTo>
                  <a:pt x="681" y="935"/>
                  <a:pt x="681" y="935"/>
                  <a:pt x="681" y="935"/>
                </a:cubicBezTo>
                <a:cubicBezTo>
                  <a:pt x="680" y="934"/>
                  <a:pt x="680" y="934"/>
                  <a:pt x="680" y="934"/>
                </a:cubicBezTo>
                <a:cubicBezTo>
                  <a:pt x="678" y="934"/>
                  <a:pt x="678" y="934"/>
                  <a:pt x="678" y="934"/>
                </a:cubicBezTo>
                <a:cubicBezTo>
                  <a:pt x="677" y="932"/>
                  <a:pt x="677" y="932"/>
                  <a:pt x="677" y="932"/>
                </a:cubicBezTo>
                <a:cubicBezTo>
                  <a:pt x="677" y="931"/>
                  <a:pt x="677" y="931"/>
                  <a:pt x="677" y="931"/>
                </a:cubicBezTo>
                <a:cubicBezTo>
                  <a:pt x="675" y="929"/>
                  <a:pt x="675" y="929"/>
                  <a:pt x="675" y="929"/>
                </a:cubicBezTo>
                <a:cubicBezTo>
                  <a:pt x="673" y="927"/>
                  <a:pt x="673" y="927"/>
                  <a:pt x="673" y="927"/>
                </a:cubicBezTo>
                <a:cubicBezTo>
                  <a:pt x="673" y="924"/>
                  <a:pt x="673" y="924"/>
                  <a:pt x="673" y="924"/>
                </a:cubicBezTo>
                <a:cubicBezTo>
                  <a:pt x="672" y="923"/>
                  <a:pt x="672" y="923"/>
                  <a:pt x="672" y="923"/>
                </a:cubicBezTo>
                <a:cubicBezTo>
                  <a:pt x="671" y="923"/>
                  <a:pt x="671" y="923"/>
                  <a:pt x="671" y="923"/>
                </a:cubicBezTo>
                <a:cubicBezTo>
                  <a:pt x="671" y="924"/>
                  <a:pt x="671" y="924"/>
                  <a:pt x="671" y="924"/>
                </a:cubicBezTo>
                <a:cubicBezTo>
                  <a:pt x="669" y="924"/>
                  <a:pt x="669" y="924"/>
                  <a:pt x="669" y="924"/>
                </a:cubicBezTo>
                <a:cubicBezTo>
                  <a:pt x="669" y="923"/>
                  <a:pt x="669" y="923"/>
                  <a:pt x="669" y="923"/>
                </a:cubicBezTo>
                <a:cubicBezTo>
                  <a:pt x="670" y="923"/>
                  <a:pt x="670" y="923"/>
                  <a:pt x="670" y="923"/>
                </a:cubicBezTo>
                <a:cubicBezTo>
                  <a:pt x="671" y="922"/>
                  <a:pt x="671" y="922"/>
                  <a:pt x="671" y="922"/>
                </a:cubicBezTo>
                <a:cubicBezTo>
                  <a:pt x="670" y="921"/>
                  <a:pt x="670" y="921"/>
                  <a:pt x="670" y="921"/>
                </a:cubicBezTo>
                <a:cubicBezTo>
                  <a:pt x="669" y="919"/>
                  <a:pt x="669" y="919"/>
                  <a:pt x="669" y="919"/>
                </a:cubicBezTo>
                <a:cubicBezTo>
                  <a:pt x="669" y="917"/>
                  <a:pt x="669" y="917"/>
                  <a:pt x="669" y="917"/>
                </a:cubicBezTo>
                <a:cubicBezTo>
                  <a:pt x="670" y="915"/>
                  <a:pt x="670" y="915"/>
                  <a:pt x="670" y="915"/>
                </a:cubicBezTo>
                <a:cubicBezTo>
                  <a:pt x="671" y="913"/>
                  <a:pt x="671" y="913"/>
                  <a:pt x="671" y="913"/>
                </a:cubicBezTo>
                <a:cubicBezTo>
                  <a:pt x="671" y="911"/>
                  <a:pt x="671" y="911"/>
                  <a:pt x="671" y="911"/>
                </a:cubicBezTo>
                <a:cubicBezTo>
                  <a:pt x="670" y="912"/>
                  <a:pt x="670" y="912"/>
                  <a:pt x="670" y="912"/>
                </a:cubicBezTo>
                <a:cubicBezTo>
                  <a:pt x="670" y="913"/>
                  <a:pt x="670" y="913"/>
                  <a:pt x="670" y="913"/>
                </a:cubicBezTo>
                <a:cubicBezTo>
                  <a:pt x="669" y="914"/>
                  <a:pt x="669" y="914"/>
                  <a:pt x="669" y="914"/>
                </a:cubicBezTo>
                <a:cubicBezTo>
                  <a:pt x="669" y="912"/>
                  <a:pt x="669" y="912"/>
                  <a:pt x="669" y="912"/>
                </a:cubicBezTo>
                <a:cubicBezTo>
                  <a:pt x="669" y="911"/>
                  <a:pt x="669" y="911"/>
                  <a:pt x="669" y="911"/>
                </a:cubicBezTo>
                <a:cubicBezTo>
                  <a:pt x="670" y="909"/>
                  <a:pt x="670" y="909"/>
                  <a:pt x="670" y="909"/>
                </a:cubicBezTo>
                <a:cubicBezTo>
                  <a:pt x="670" y="907"/>
                  <a:pt x="670" y="907"/>
                  <a:pt x="670" y="907"/>
                </a:cubicBezTo>
                <a:cubicBezTo>
                  <a:pt x="670" y="906"/>
                  <a:pt x="670" y="906"/>
                  <a:pt x="670" y="906"/>
                </a:cubicBezTo>
                <a:cubicBezTo>
                  <a:pt x="671" y="903"/>
                  <a:pt x="671" y="903"/>
                  <a:pt x="671" y="903"/>
                </a:cubicBezTo>
                <a:cubicBezTo>
                  <a:pt x="672" y="903"/>
                  <a:pt x="672" y="903"/>
                  <a:pt x="672" y="903"/>
                </a:cubicBezTo>
                <a:cubicBezTo>
                  <a:pt x="672" y="904"/>
                  <a:pt x="672" y="904"/>
                  <a:pt x="672" y="904"/>
                </a:cubicBezTo>
                <a:cubicBezTo>
                  <a:pt x="672" y="904"/>
                  <a:pt x="672" y="905"/>
                  <a:pt x="672" y="906"/>
                </a:cubicBezTo>
                <a:cubicBezTo>
                  <a:pt x="672" y="906"/>
                  <a:pt x="672" y="908"/>
                  <a:pt x="672" y="908"/>
                </a:cubicBezTo>
                <a:cubicBezTo>
                  <a:pt x="672" y="908"/>
                  <a:pt x="672" y="908"/>
                  <a:pt x="672" y="908"/>
                </a:cubicBezTo>
                <a:cubicBezTo>
                  <a:pt x="673" y="906"/>
                  <a:pt x="673" y="906"/>
                  <a:pt x="673" y="906"/>
                </a:cubicBezTo>
                <a:cubicBezTo>
                  <a:pt x="673" y="902"/>
                  <a:pt x="673" y="902"/>
                  <a:pt x="673" y="902"/>
                </a:cubicBezTo>
                <a:cubicBezTo>
                  <a:pt x="673" y="898"/>
                  <a:pt x="673" y="898"/>
                  <a:pt x="673" y="898"/>
                </a:cubicBezTo>
                <a:cubicBezTo>
                  <a:pt x="674" y="897"/>
                  <a:pt x="674" y="897"/>
                  <a:pt x="674" y="897"/>
                </a:cubicBezTo>
                <a:cubicBezTo>
                  <a:pt x="673" y="896"/>
                  <a:pt x="673" y="896"/>
                  <a:pt x="673" y="896"/>
                </a:cubicBezTo>
                <a:cubicBezTo>
                  <a:pt x="672" y="895"/>
                  <a:pt x="672" y="895"/>
                  <a:pt x="672" y="895"/>
                </a:cubicBezTo>
                <a:cubicBezTo>
                  <a:pt x="672" y="894"/>
                  <a:pt x="672" y="894"/>
                  <a:pt x="672" y="894"/>
                </a:cubicBezTo>
                <a:cubicBezTo>
                  <a:pt x="673" y="894"/>
                  <a:pt x="673" y="894"/>
                  <a:pt x="673" y="894"/>
                </a:cubicBezTo>
                <a:cubicBezTo>
                  <a:pt x="674" y="894"/>
                  <a:pt x="674" y="894"/>
                  <a:pt x="674" y="894"/>
                </a:cubicBezTo>
                <a:cubicBezTo>
                  <a:pt x="674" y="894"/>
                  <a:pt x="674" y="894"/>
                  <a:pt x="674" y="894"/>
                </a:cubicBezTo>
                <a:cubicBezTo>
                  <a:pt x="675" y="892"/>
                  <a:pt x="675" y="892"/>
                  <a:pt x="675" y="892"/>
                </a:cubicBezTo>
                <a:cubicBezTo>
                  <a:pt x="676" y="890"/>
                  <a:pt x="676" y="890"/>
                  <a:pt x="676" y="890"/>
                </a:cubicBezTo>
                <a:cubicBezTo>
                  <a:pt x="677" y="888"/>
                  <a:pt x="677" y="888"/>
                  <a:pt x="677" y="888"/>
                </a:cubicBezTo>
                <a:cubicBezTo>
                  <a:pt x="677" y="887"/>
                  <a:pt x="677" y="887"/>
                  <a:pt x="677" y="887"/>
                </a:cubicBezTo>
                <a:cubicBezTo>
                  <a:pt x="676" y="887"/>
                  <a:pt x="676" y="887"/>
                  <a:pt x="676" y="887"/>
                </a:cubicBezTo>
                <a:cubicBezTo>
                  <a:pt x="676" y="886"/>
                  <a:pt x="676" y="886"/>
                  <a:pt x="676" y="886"/>
                </a:cubicBezTo>
                <a:cubicBezTo>
                  <a:pt x="677" y="884"/>
                  <a:pt x="677" y="884"/>
                  <a:pt x="677" y="884"/>
                </a:cubicBezTo>
                <a:cubicBezTo>
                  <a:pt x="676" y="883"/>
                  <a:pt x="676" y="883"/>
                  <a:pt x="676" y="883"/>
                </a:cubicBezTo>
                <a:cubicBezTo>
                  <a:pt x="677" y="880"/>
                  <a:pt x="677" y="880"/>
                  <a:pt x="677" y="880"/>
                </a:cubicBezTo>
                <a:cubicBezTo>
                  <a:pt x="677" y="879"/>
                  <a:pt x="677" y="879"/>
                  <a:pt x="677" y="879"/>
                </a:cubicBezTo>
                <a:cubicBezTo>
                  <a:pt x="678" y="878"/>
                  <a:pt x="678" y="878"/>
                  <a:pt x="678" y="878"/>
                </a:cubicBezTo>
                <a:cubicBezTo>
                  <a:pt x="678" y="878"/>
                  <a:pt x="678" y="878"/>
                  <a:pt x="678" y="878"/>
                </a:cubicBezTo>
                <a:cubicBezTo>
                  <a:pt x="678" y="877"/>
                  <a:pt x="678" y="877"/>
                  <a:pt x="678" y="877"/>
                </a:cubicBezTo>
                <a:cubicBezTo>
                  <a:pt x="676" y="875"/>
                  <a:pt x="676" y="875"/>
                  <a:pt x="676" y="875"/>
                </a:cubicBezTo>
                <a:cubicBezTo>
                  <a:pt x="673" y="874"/>
                  <a:pt x="673" y="874"/>
                  <a:pt x="673" y="874"/>
                </a:cubicBezTo>
                <a:cubicBezTo>
                  <a:pt x="673" y="874"/>
                  <a:pt x="673" y="874"/>
                  <a:pt x="673" y="874"/>
                </a:cubicBezTo>
                <a:cubicBezTo>
                  <a:pt x="674" y="876"/>
                  <a:pt x="674" y="876"/>
                  <a:pt x="674" y="876"/>
                </a:cubicBezTo>
                <a:cubicBezTo>
                  <a:pt x="672" y="876"/>
                  <a:pt x="672" y="876"/>
                  <a:pt x="672" y="876"/>
                </a:cubicBezTo>
                <a:cubicBezTo>
                  <a:pt x="669" y="875"/>
                  <a:pt x="669" y="875"/>
                  <a:pt x="669" y="875"/>
                </a:cubicBezTo>
                <a:cubicBezTo>
                  <a:pt x="668" y="875"/>
                  <a:pt x="668" y="875"/>
                  <a:pt x="668" y="875"/>
                </a:cubicBezTo>
                <a:cubicBezTo>
                  <a:pt x="666" y="874"/>
                  <a:pt x="666" y="874"/>
                  <a:pt x="666" y="874"/>
                </a:cubicBezTo>
                <a:cubicBezTo>
                  <a:pt x="665" y="874"/>
                  <a:pt x="665" y="874"/>
                  <a:pt x="665" y="874"/>
                </a:cubicBezTo>
                <a:cubicBezTo>
                  <a:pt x="665" y="874"/>
                  <a:pt x="665" y="874"/>
                  <a:pt x="665" y="874"/>
                </a:cubicBezTo>
                <a:cubicBezTo>
                  <a:pt x="666" y="873"/>
                  <a:pt x="666" y="873"/>
                  <a:pt x="666" y="873"/>
                </a:cubicBezTo>
                <a:cubicBezTo>
                  <a:pt x="666" y="872"/>
                  <a:pt x="666" y="872"/>
                  <a:pt x="666" y="872"/>
                </a:cubicBezTo>
                <a:cubicBezTo>
                  <a:pt x="667" y="872"/>
                  <a:pt x="667" y="872"/>
                  <a:pt x="667" y="872"/>
                </a:cubicBezTo>
                <a:cubicBezTo>
                  <a:pt x="669" y="872"/>
                  <a:pt x="669" y="872"/>
                  <a:pt x="669" y="872"/>
                </a:cubicBezTo>
                <a:cubicBezTo>
                  <a:pt x="671" y="873"/>
                  <a:pt x="671" y="873"/>
                  <a:pt x="671" y="873"/>
                </a:cubicBezTo>
                <a:cubicBezTo>
                  <a:pt x="672" y="873"/>
                  <a:pt x="672" y="873"/>
                  <a:pt x="672" y="873"/>
                </a:cubicBezTo>
                <a:cubicBezTo>
                  <a:pt x="670" y="871"/>
                  <a:pt x="670" y="871"/>
                  <a:pt x="670" y="871"/>
                </a:cubicBezTo>
                <a:cubicBezTo>
                  <a:pt x="668" y="870"/>
                  <a:pt x="668" y="870"/>
                  <a:pt x="668" y="870"/>
                </a:cubicBezTo>
                <a:cubicBezTo>
                  <a:pt x="666" y="870"/>
                  <a:pt x="666" y="870"/>
                  <a:pt x="666" y="870"/>
                </a:cubicBezTo>
                <a:cubicBezTo>
                  <a:pt x="664" y="870"/>
                  <a:pt x="664" y="870"/>
                  <a:pt x="664" y="870"/>
                </a:cubicBezTo>
                <a:cubicBezTo>
                  <a:pt x="663" y="870"/>
                  <a:pt x="663" y="870"/>
                  <a:pt x="663" y="870"/>
                </a:cubicBezTo>
                <a:cubicBezTo>
                  <a:pt x="663" y="871"/>
                  <a:pt x="663" y="871"/>
                  <a:pt x="663" y="871"/>
                </a:cubicBezTo>
                <a:cubicBezTo>
                  <a:pt x="661" y="870"/>
                  <a:pt x="661" y="870"/>
                  <a:pt x="661" y="870"/>
                </a:cubicBezTo>
                <a:cubicBezTo>
                  <a:pt x="657" y="870"/>
                  <a:pt x="657" y="870"/>
                  <a:pt x="657" y="870"/>
                </a:cubicBezTo>
                <a:cubicBezTo>
                  <a:pt x="652" y="869"/>
                  <a:pt x="652" y="869"/>
                  <a:pt x="652" y="869"/>
                </a:cubicBezTo>
                <a:cubicBezTo>
                  <a:pt x="650" y="867"/>
                  <a:pt x="650" y="867"/>
                  <a:pt x="650" y="867"/>
                </a:cubicBezTo>
                <a:cubicBezTo>
                  <a:pt x="648" y="866"/>
                  <a:pt x="648" y="866"/>
                  <a:pt x="648" y="866"/>
                </a:cubicBezTo>
                <a:cubicBezTo>
                  <a:pt x="648" y="868"/>
                  <a:pt x="648" y="868"/>
                  <a:pt x="648" y="868"/>
                </a:cubicBezTo>
                <a:cubicBezTo>
                  <a:pt x="648" y="868"/>
                  <a:pt x="648" y="868"/>
                  <a:pt x="648" y="868"/>
                </a:cubicBezTo>
                <a:cubicBezTo>
                  <a:pt x="647" y="869"/>
                  <a:pt x="647" y="869"/>
                  <a:pt x="647" y="869"/>
                </a:cubicBezTo>
                <a:cubicBezTo>
                  <a:pt x="646" y="870"/>
                  <a:pt x="646" y="870"/>
                  <a:pt x="646" y="870"/>
                </a:cubicBezTo>
                <a:cubicBezTo>
                  <a:pt x="644" y="869"/>
                  <a:pt x="644" y="869"/>
                  <a:pt x="644" y="869"/>
                </a:cubicBezTo>
                <a:cubicBezTo>
                  <a:pt x="641" y="870"/>
                  <a:pt x="641" y="870"/>
                  <a:pt x="641" y="870"/>
                </a:cubicBezTo>
                <a:cubicBezTo>
                  <a:pt x="636" y="870"/>
                  <a:pt x="636" y="870"/>
                  <a:pt x="636" y="870"/>
                </a:cubicBezTo>
                <a:cubicBezTo>
                  <a:pt x="630" y="870"/>
                  <a:pt x="630" y="870"/>
                  <a:pt x="630" y="870"/>
                </a:cubicBezTo>
                <a:cubicBezTo>
                  <a:pt x="628" y="871"/>
                  <a:pt x="628" y="871"/>
                  <a:pt x="628" y="871"/>
                </a:cubicBezTo>
                <a:cubicBezTo>
                  <a:pt x="627" y="870"/>
                  <a:pt x="627" y="870"/>
                  <a:pt x="627" y="870"/>
                </a:cubicBezTo>
                <a:cubicBezTo>
                  <a:pt x="626" y="869"/>
                  <a:pt x="626" y="869"/>
                  <a:pt x="626" y="869"/>
                </a:cubicBezTo>
                <a:cubicBezTo>
                  <a:pt x="624" y="869"/>
                  <a:pt x="624" y="869"/>
                  <a:pt x="624" y="869"/>
                </a:cubicBezTo>
                <a:cubicBezTo>
                  <a:pt x="623" y="871"/>
                  <a:pt x="623" y="871"/>
                  <a:pt x="623" y="871"/>
                </a:cubicBezTo>
                <a:cubicBezTo>
                  <a:pt x="622" y="869"/>
                  <a:pt x="622" y="869"/>
                  <a:pt x="622" y="869"/>
                </a:cubicBezTo>
                <a:cubicBezTo>
                  <a:pt x="620" y="869"/>
                  <a:pt x="620" y="869"/>
                  <a:pt x="620" y="869"/>
                </a:cubicBezTo>
                <a:cubicBezTo>
                  <a:pt x="620" y="868"/>
                  <a:pt x="620" y="868"/>
                  <a:pt x="620" y="868"/>
                </a:cubicBezTo>
                <a:cubicBezTo>
                  <a:pt x="620" y="868"/>
                  <a:pt x="620" y="868"/>
                  <a:pt x="620" y="868"/>
                </a:cubicBezTo>
                <a:cubicBezTo>
                  <a:pt x="621" y="867"/>
                  <a:pt x="621" y="867"/>
                  <a:pt x="621" y="867"/>
                </a:cubicBezTo>
                <a:cubicBezTo>
                  <a:pt x="622" y="865"/>
                  <a:pt x="622" y="865"/>
                  <a:pt x="622" y="865"/>
                </a:cubicBezTo>
                <a:cubicBezTo>
                  <a:pt x="624" y="866"/>
                  <a:pt x="624" y="866"/>
                  <a:pt x="624" y="866"/>
                </a:cubicBezTo>
                <a:cubicBezTo>
                  <a:pt x="626" y="862"/>
                  <a:pt x="626" y="862"/>
                  <a:pt x="626" y="862"/>
                </a:cubicBezTo>
                <a:cubicBezTo>
                  <a:pt x="627" y="859"/>
                  <a:pt x="627" y="859"/>
                  <a:pt x="627" y="859"/>
                </a:cubicBezTo>
                <a:cubicBezTo>
                  <a:pt x="627" y="855"/>
                  <a:pt x="627" y="855"/>
                  <a:pt x="627" y="855"/>
                </a:cubicBezTo>
                <a:cubicBezTo>
                  <a:pt x="626" y="854"/>
                  <a:pt x="626" y="854"/>
                  <a:pt x="626" y="854"/>
                </a:cubicBezTo>
                <a:cubicBezTo>
                  <a:pt x="627" y="851"/>
                  <a:pt x="627" y="851"/>
                  <a:pt x="627" y="851"/>
                </a:cubicBezTo>
                <a:cubicBezTo>
                  <a:pt x="628" y="850"/>
                  <a:pt x="628" y="850"/>
                  <a:pt x="628" y="850"/>
                </a:cubicBezTo>
                <a:cubicBezTo>
                  <a:pt x="628" y="845"/>
                  <a:pt x="628" y="845"/>
                  <a:pt x="628" y="845"/>
                </a:cubicBezTo>
                <a:cubicBezTo>
                  <a:pt x="628" y="844"/>
                  <a:pt x="628" y="844"/>
                  <a:pt x="628" y="844"/>
                </a:cubicBezTo>
                <a:cubicBezTo>
                  <a:pt x="628" y="842"/>
                  <a:pt x="628" y="842"/>
                  <a:pt x="628" y="842"/>
                </a:cubicBezTo>
                <a:cubicBezTo>
                  <a:pt x="627" y="842"/>
                  <a:pt x="627" y="842"/>
                  <a:pt x="627" y="842"/>
                </a:cubicBezTo>
                <a:cubicBezTo>
                  <a:pt x="626" y="843"/>
                  <a:pt x="626" y="843"/>
                  <a:pt x="626" y="843"/>
                </a:cubicBezTo>
                <a:cubicBezTo>
                  <a:pt x="625" y="842"/>
                  <a:pt x="625" y="842"/>
                  <a:pt x="625" y="842"/>
                </a:cubicBezTo>
                <a:cubicBezTo>
                  <a:pt x="625" y="842"/>
                  <a:pt x="625" y="842"/>
                  <a:pt x="625" y="842"/>
                </a:cubicBezTo>
                <a:cubicBezTo>
                  <a:pt x="627" y="841"/>
                  <a:pt x="627" y="841"/>
                  <a:pt x="627" y="841"/>
                </a:cubicBezTo>
                <a:cubicBezTo>
                  <a:pt x="629" y="838"/>
                  <a:pt x="629" y="838"/>
                  <a:pt x="629" y="838"/>
                </a:cubicBezTo>
                <a:cubicBezTo>
                  <a:pt x="631" y="838"/>
                  <a:pt x="631" y="838"/>
                  <a:pt x="631" y="838"/>
                </a:cubicBezTo>
                <a:cubicBezTo>
                  <a:pt x="630" y="840"/>
                  <a:pt x="630" y="840"/>
                  <a:pt x="630" y="840"/>
                </a:cubicBezTo>
                <a:cubicBezTo>
                  <a:pt x="629" y="841"/>
                  <a:pt x="629" y="841"/>
                  <a:pt x="629" y="841"/>
                </a:cubicBezTo>
                <a:cubicBezTo>
                  <a:pt x="629" y="842"/>
                  <a:pt x="629" y="842"/>
                  <a:pt x="629" y="842"/>
                </a:cubicBezTo>
                <a:cubicBezTo>
                  <a:pt x="632" y="843"/>
                  <a:pt x="632" y="843"/>
                  <a:pt x="632" y="843"/>
                </a:cubicBezTo>
                <a:cubicBezTo>
                  <a:pt x="633" y="845"/>
                  <a:pt x="633" y="845"/>
                  <a:pt x="633" y="845"/>
                </a:cubicBezTo>
                <a:cubicBezTo>
                  <a:pt x="633" y="844"/>
                  <a:pt x="633" y="844"/>
                  <a:pt x="633" y="844"/>
                </a:cubicBezTo>
                <a:cubicBezTo>
                  <a:pt x="635" y="841"/>
                  <a:pt x="635" y="841"/>
                  <a:pt x="635" y="841"/>
                </a:cubicBezTo>
                <a:cubicBezTo>
                  <a:pt x="636" y="835"/>
                  <a:pt x="636" y="835"/>
                  <a:pt x="636" y="835"/>
                </a:cubicBezTo>
                <a:cubicBezTo>
                  <a:pt x="637" y="833"/>
                  <a:pt x="637" y="833"/>
                  <a:pt x="637" y="833"/>
                </a:cubicBezTo>
                <a:cubicBezTo>
                  <a:pt x="637" y="833"/>
                  <a:pt x="637" y="833"/>
                  <a:pt x="637" y="833"/>
                </a:cubicBezTo>
                <a:cubicBezTo>
                  <a:pt x="635" y="834"/>
                  <a:pt x="635" y="834"/>
                  <a:pt x="635" y="834"/>
                </a:cubicBezTo>
                <a:cubicBezTo>
                  <a:pt x="635" y="834"/>
                  <a:pt x="635" y="834"/>
                  <a:pt x="635" y="834"/>
                </a:cubicBezTo>
                <a:cubicBezTo>
                  <a:pt x="635" y="833"/>
                  <a:pt x="635" y="833"/>
                  <a:pt x="635" y="833"/>
                </a:cubicBezTo>
                <a:cubicBezTo>
                  <a:pt x="637" y="831"/>
                  <a:pt x="637" y="831"/>
                  <a:pt x="637" y="831"/>
                </a:cubicBezTo>
                <a:cubicBezTo>
                  <a:pt x="637" y="829"/>
                  <a:pt x="637" y="829"/>
                  <a:pt x="637" y="829"/>
                </a:cubicBezTo>
                <a:cubicBezTo>
                  <a:pt x="636" y="829"/>
                  <a:pt x="636" y="829"/>
                  <a:pt x="636" y="829"/>
                </a:cubicBezTo>
                <a:cubicBezTo>
                  <a:pt x="634" y="828"/>
                  <a:pt x="634" y="828"/>
                  <a:pt x="634" y="828"/>
                </a:cubicBezTo>
                <a:cubicBezTo>
                  <a:pt x="635" y="827"/>
                  <a:pt x="635" y="827"/>
                  <a:pt x="635" y="827"/>
                </a:cubicBezTo>
                <a:cubicBezTo>
                  <a:pt x="637" y="826"/>
                  <a:pt x="637" y="826"/>
                  <a:pt x="637" y="826"/>
                </a:cubicBezTo>
                <a:cubicBezTo>
                  <a:pt x="637" y="823"/>
                  <a:pt x="637" y="823"/>
                  <a:pt x="637" y="823"/>
                </a:cubicBezTo>
                <a:cubicBezTo>
                  <a:pt x="638" y="822"/>
                  <a:pt x="638" y="822"/>
                  <a:pt x="638" y="822"/>
                </a:cubicBezTo>
                <a:cubicBezTo>
                  <a:pt x="642" y="818"/>
                  <a:pt x="642" y="818"/>
                  <a:pt x="642" y="818"/>
                </a:cubicBezTo>
                <a:cubicBezTo>
                  <a:pt x="645" y="814"/>
                  <a:pt x="645" y="814"/>
                  <a:pt x="645" y="814"/>
                </a:cubicBezTo>
                <a:cubicBezTo>
                  <a:pt x="646" y="812"/>
                  <a:pt x="646" y="812"/>
                  <a:pt x="646" y="812"/>
                </a:cubicBezTo>
                <a:cubicBezTo>
                  <a:pt x="646" y="809"/>
                  <a:pt x="646" y="809"/>
                  <a:pt x="646" y="809"/>
                </a:cubicBezTo>
                <a:cubicBezTo>
                  <a:pt x="643" y="806"/>
                  <a:pt x="643" y="806"/>
                  <a:pt x="643" y="806"/>
                </a:cubicBezTo>
                <a:cubicBezTo>
                  <a:pt x="641" y="806"/>
                  <a:pt x="641" y="806"/>
                  <a:pt x="641" y="806"/>
                </a:cubicBezTo>
                <a:cubicBezTo>
                  <a:pt x="642" y="807"/>
                  <a:pt x="642" y="807"/>
                  <a:pt x="642" y="807"/>
                </a:cubicBezTo>
                <a:cubicBezTo>
                  <a:pt x="641" y="807"/>
                  <a:pt x="641" y="807"/>
                  <a:pt x="641" y="807"/>
                </a:cubicBezTo>
                <a:cubicBezTo>
                  <a:pt x="636" y="806"/>
                  <a:pt x="636" y="806"/>
                  <a:pt x="636" y="806"/>
                </a:cubicBezTo>
                <a:cubicBezTo>
                  <a:pt x="632" y="806"/>
                  <a:pt x="632" y="806"/>
                  <a:pt x="632" y="806"/>
                </a:cubicBezTo>
                <a:cubicBezTo>
                  <a:pt x="632" y="807"/>
                  <a:pt x="632" y="807"/>
                  <a:pt x="632" y="807"/>
                </a:cubicBezTo>
                <a:cubicBezTo>
                  <a:pt x="630" y="809"/>
                  <a:pt x="630" y="809"/>
                  <a:pt x="630" y="809"/>
                </a:cubicBezTo>
                <a:cubicBezTo>
                  <a:pt x="629" y="808"/>
                  <a:pt x="629" y="808"/>
                  <a:pt x="629" y="808"/>
                </a:cubicBezTo>
                <a:cubicBezTo>
                  <a:pt x="626" y="808"/>
                  <a:pt x="626" y="808"/>
                  <a:pt x="626" y="808"/>
                </a:cubicBezTo>
                <a:cubicBezTo>
                  <a:pt x="625" y="810"/>
                  <a:pt x="625" y="810"/>
                  <a:pt x="625" y="810"/>
                </a:cubicBezTo>
                <a:cubicBezTo>
                  <a:pt x="616" y="810"/>
                  <a:pt x="616" y="810"/>
                  <a:pt x="616" y="810"/>
                </a:cubicBezTo>
                <a:cubicBezTo>
                  <a:pt x="610" y="812"/>
                  <a:pt x="610" y="812"/>
                  <a:pt x="610" y="812"/>
                </a:cubicBezTo>
                <a:cubicBezTo>
                  <a:pt x="610" y="813"/>
                  <a:pt x="610" y="813"/>
                  <a:pt x="610" y="813"/>
                </a:cubicBezTo>
                <a:cubicBezTo>
                  <a:pt x="611" y="813"/>
                  <a:pt x="611" y="813"/>
                  <a:pt x="611" y="813"/>
                </a:cubicBezTo>
                <a:cubicBezTo>
                  <a:pt x="607" y="817"/>
                  <a:pt x="607" y="817"/>
                  <a:pt x="607" y="817"/>
                </a:cubicBezTo>
                <a:cubicBezTo>
                  <a:pt x="607" y="824"/>
                  <a:pt x="607" y="824"/>
                  <a:pt x="607" y="824"/>
                </a:cubicBezTo>
                <a:cubicBezTo>
                  <a:pt x="607" y="824"/>
                  <a:pt x="607" y="824"/>
                  <a:pt x="607" y="824"/>
                </a:cubicBezTo>
                <a:cubicBezTo>
                  <a:pt x="604" y="828"/>
                  <a:pt x="604" y="828"/>
                  <a:pt x="604" y="828"/>
                </a:cubicBezTo>
                <a:cubicBezTo>
                  <a:pt x="604" y="832"/>
                  <a:pt x="604" y="832"/>
                  <a:pt x="604" y="832"/>
                </a:cubicBezTo>
                <a:cubicBezTo>
                  <a:pt x="602" y="834"/>
                  <a:pt x="602" y="834"/>
                  <a:pt x="602" y="834"/>
                </a:cubicBezTo>
                <a:cubicBezTo>
                  <a:pt x="600" y="834"/>
                  <a:pt x="600" y="834"/>
                  <a:pt x="600" y="834"/>
                </a:cubicBezTo>
                <a:cubicBezTo>
                  <a:pt x="596" y="837"/>
                  <a:pt x="596" y="837"/>
                  <a:pt x="596" y="837"/>
                </a:cubicBezTo>
                <a:cubicBezTo>
                  <a:pt x="596" y="837"/>
                  <a:pt x="596" y="837"/>
                  <a:pt x="596" y="837"/>
                </a:cubicBezTo>
                <a:cubicBezTo>
                  <a:pt x="598" y="836"/>
                  <a:pt x="598" y="836"/>
                  <a:pt x="598" y="836"/>
                </a:cubicBezTo>
                <a:cubicBezTo>
                  <a:pt x="598" y="838"/>
                  <a:pt x="598" y="838"/>
                  <a:pt x="598" y="838"/>
                </a:cubicBezTo>
                <a:cubicBezTo>
                  <a:pt x="598" y="841"/>
                  <a:pt x="598" y="841"/>
                  <a:pt x="598" y="841"/>
                </a:cubicBezTo>
                <a:cubicBezTo>
                  <a:pt x="596" y="843"/>
                  <a:pt x="596" y="843"/>
                  <a:pt x="596" y="843"/>
                </a:cubicBezTo>
                <a:cubicBezTo>
                  <a:pt x="594" y="843"/>
                  <a:pt x="594" y="843"/>
                  <a:pt x="594" y="843"/>
                </a:cubicBezTo>
                <a:cubicBezTo>
                  <a:pt x="594" y="844"/>
                  <a:pt x="594" y="844"/>
                  <a:pt x="594" y="844"/>
                </a:cubicBezTo>
                <a:cubicBezTo>
                  <a:pt x="593" y="843"/>
                  <a:pt x="593" y="843"/>
                  <a:pt x="593" y="843"/>
                </a:cubicBezTo>
                <a:cubicBezTo>
                  <a:pt x="590" y="842"/>
                  <a:pt x="590" y="842"/>
                  <a:pt x="590" y="842"/>
                </a:cubicBezTo>
                <a:cubicBezTo>
                  <a:pt x="591" y="841"/>
                  <a:pt x="591" y="841"/>
                  <a:pt x="591" y="841"/>
                </a:cubicBezTo>
                <a:cubicBezTo>
                  <a:pt x="593" y="840"/>
                  <a:pt x="593" y="840"/>
                  <a:pt x="593" y="840"/>
                </a:cubicBezTo>
                <a:cubicBezTo>
                  <a:pt x="590" y="839"/>
                  <a:pt x="590" y="839"/>
                  <a:pt x="590" y="839"/>
                </a:cubicBezTo>
                <a:cubicBezTo>
                  <a:pt x="589" y="840"/>
                  <a:pt x="589" y="840"/>
                  <a:pt x="589" y="840"/>
                </a:cubicBezTo>
                <a:cubicBezTo>
                  <a:pt x="587" y="839"/>
                  <a:pt x="587" y="839"/>
                  <a:pt x="587" y="839"/>
                </a:cubicBezTo>
                <a:cubicBezTo>
                  <a:pt x="584" y="839"/>
                  <a:pt x="584" y="839"/>
                  <a:pt x="584" y="839"/>
                </a:cubicBezTo>
                <a:cubicBezTo>
                  <a:pt x="582" y="841"/>
                  <a:pt x="582" y="841"/>
                  <a:pt x="582" y="841"/>
                </a:cubicBezTo>
                <a:cubicBezTo>
                  <a:pt x="580" y="841"/>
                  <a:pt x="580" y="841"/>
                  <a:pt x="580" y="841"/>
                </a:cubicBezTo>
                <a:cubicBezTo>
                  <a:pt x="577" y="841"/>
                  <a:pt x="577" y="841"/>
                  <a:pt x="577" y="841"/>
                </a:cubicBezTo>
                <a:cubicBezTo>
                  <a:pt x="576" y="842"/>
                  <a:pt x="576" y="842"/>
                  <a:pt x="576" y="842"/>
                </a:cubicBezTo>
                <a:cubicBezTo>
                  <a:pt x="572" y="845"/>
                  <a:pt x="572" y="845"/>
                  <a:pt x="572" y="845"/>
                </a:cubicBezTo>
                <a:cubicBezTo>
                  <a:pt x="571" y="845"/>
                  <a:pt x="571" y="845"/>
                  <a:pt x="571" y="845"/>
                </a:cubicBezTo>
                <a:cubicBezTo>
                  <a:pt x="570" y="844"/>
                  <a:pt x="570" y="844"/>
                  <a:pt x="570" y="844"/>
                </a:cubicBezTo>
                <a:cubicBezTo>
                  <a:pt x="566" y="844"/>
                  <a:pt x="566" y="844"/>
                  <a:pt x="566" y="844"/>
                </a:cubicBezTo>
                <a:cubicBezTo>
                  <a:pt x="564" y="845"/>
                  <a:pt x="564" y="845"/>
                  <a:pt x="564" y="845"/>
                </a:cubicBezTo>
                <a:cubicBezTo>
                  <a:pt x="563" y="843"/>
                  <a:pt x="563" y="843"/>
                  <a:pt x="563" y="843"/>
                </a:cubicBezTo>
                <a:cubicBezTo>
                  <a:pt x="561" y="840"/>
                  <a:pt x="561" y="840"/>
                  <a:pt x="561" y="840"/>
                </a:cubicBezTo>
                <a:cubicBezTo>
                  <a:pt x="558" y="838"/>
                  <a:pt x="558" y="838"/>
                  <a:pt x="558" y="838"/>
                </a:cubicBezTo>
                <a:cubicBezTo>
                  <a:pt x="557" y="838"/>
                  <a:pt x="557" y="838"/>
                  <a:pt x="557" y="838"/>
                </a:cubicBezTo>
                <a:cubicBezTo>
                  <a:pt x="554" y="838"/>
                  <a:pt x="554" y="838"/>
                  <a:pt x="554" y="838"/>
                </a:cubicBezTo>
                <a:cubicBezTo>
                  <a:pt x="553" y="838"/>
                  <a:pt x="553" y="838"/>
                  <a:pt x="553" y="838"/>
                </a:cubicBezTo>
                <a:cubicBezTo>
                  <a:pt x="552" y="836"/>
                  <a:pt x="552" y="836"/>
                  <a:pt x="552" y="836"/>
                </a:cubicBezTo>
                <a:cubicBezTo>
                  <a:pt x="548" y="831"/>
                  <a:pt x="548" y="831"/>
                  <a:pt x="548" y="831"/>
                </a:cubicBezTo>
                <a:cubicBezTo>
                  <a:pt x="547" y="830"/>
                  <a:pt x="547" y="830"/>
                  <a:pt x="547" y="830"/>
                </a:cubicBezTo>
                <a:cubicBezTo>
                  <a:pt x="548" y="828"/>
                  <a:pt x="548" y="828"/>
                  <a:pt x="548" y="828"/>
                </a:cubicBezTo>
                <a:cubicBezTo>
                  <a:pt x="546" y="826"/>
                  <a:pt x="546" y="826"/>
                  <a:pt x="546" y="826"/>
                </a:cubicBezTo>
                <a:cubicBezTo>
                  <a:pt x="545" y="823"/>
                  <a:pt x="545" y="823"/>
                  <a:pt x="545" y="823"/>
                </a:cubicBezTo>
                <a:cubicBezTo>
                  <a:pt x="539" y="817"/>
                  <a:pt x="539" y="817"/>
                  <a:pt x="539" y="817"/>
                </a:cubicBezTo>
                <a:cubicBezTo>
                  <a:pt x="539" y="815"/>
                  <a:pt x="539" y="815"/>
                  <a:pt x="539" y="815"/>
                </a:cubicBezTo>
                <a:cubicBezTo>
                  <a:pt x="538" y="814"/>
                  <a:pt x="538" y="814"/>
                  <a:pt x="538" y="814"/>
                </a:cubicBezTo>
                <a:cubicBezTo>
                  <a:pt x="538" y="812"/>
                  <a:pt x="538" y="812"/>
                  <a:pt x="538" y="812"/>
                </a:cubicBezTo>
                <a:cubicBezTo>
                  <a:pt x="538" y="811"/>
                  <a:pt x="538" y="811"/>
                  <a:pt x="538" y="811"/>
                </a:cubicBezTo>
                <a:cubicBezTo>
                  <a:pt x="537" y="807"/>
                  <a:pt x="537" y="807"/>
                  <a:pt x="537" y="807"/>
                </a:cubicBezTo>
                <a:cubicBezTo>
                  <a:pt x="535" y="805"/>
                  <a:pt x="535" y="805"/>
                  <a:pt x="535" y="805"/>
                </a:cubicBezTo>
                <a:cubicBezTo>
                  <a:pt x="535" y="803"/>
                  <a:pt x="535" y="803"/>
                  <a:pt x="535" y="803"/>
                </a:cubicBezTo>
                <a:cubicBezTo>
                  <a:pt x="538" y="806"/>
                  <a:pt x="538" y="806"/>
                  <a:pt x="538" y="806"/>
                </a:cubicBezTo>
                <a:cubicBezTo>
                  <a:pt x="538" y="810"/>
                  <a:pt x="538" y="810"/>
                  <a:pt x="538" y="810"/>
                </a:cubicBezTo>
                <a:cubicBezTo>
                  <a:pt x="539" y="809"/>
                  <a:pt x="539" y="809"/>
                  <a:pt x="539" y="809"/>
                </a:cubicBezTo>
                <a:cubicBezTo>
                  <a:pt x="539" y="806"/>
                  <a:pt x="539" y="806"/>
                  <a:pt x="539" y="806"/>
                </a:cubicBezTo>
                <a:cubicBezTo>
                  <a:pt x="536" y="802"/>
                  <a:pt x="536" y="802"/>
                  <a:pt x="536" y="802"/>
                </a:cubicBezTo>
                <a:cubicBezTo>
                  <a:pt x="536" y="800"/>
                  <a:pt x="536" y="800"/>
                  <a:pt x="536" y="800"/>
                </a:cubicBezTo>
                <a:cubicBezTo>
                  <a:pt x="536" y="796"/>
                  <a:pt x="536" y="796"/>
                  <a:pt x="536" y="796"/>
                </a:cubicBezTo>
                <a:cubicBezTo>
                  <a:pt x="535" y="794"/>
                  <a:pt x="535" y="794"/>
                  <a:pt x="535" y="794"/>
                </a:cubicBezTo>
                <a:cubicBezTo>
                  <a:pt x="537" y="792"/>
                  <a:pt x="537" y="792"/>
                  <a:pt x="537" y="792"/>
                </a:cubicBezTo>
                <a:cubicBezTo>
                  <a:pt x="537" y="787"/>
                  <a:pt x="537" y="787"/>
                  <a:pt x="537" y="787"/>
                </a:cubicBezTo>
                <a:cubicBezTo>
                  <a:pt x="537" y="784"/>
                  <a:pt x="537" y="784"/>
                  <a:pt x="537" y="784"/>
                </a:cubicBezTo>
                <a:cubicBezTo>
                  <a:pt x="538" y="779"/>
                  <a:pt x="538" y="779"/>
                  <a:pt x="538" y="779"/>
                </a:cubicBezTo>
                <a:cubicBezTo>
                  <a:pt x="538" y="778"/>
                  <a:pt x="538" y="778"/>
                  <a:pt x="538" y="778"/>
                </a:cubicBezTo>
                <a:cubicBezTo>
                  <a:pt x="538" y="776"/>
                  <a:pt x="538" y="776"/>
                  <a:pt x="538" y="776"/>
                </a:cubicBezTo>
                <a:cubicBezTo>
                  <a:pt x="538" y="775"/>
                  <a:pt x="538" y="775"/>
                  <a:pt x="538" y="775"/>
                </a:cubicBezTo>
                <a:cubicBezTo>
                  <a:pt x="538" y="773"/>
                  <a:pt x="538" y="773"/>
                  <a:pt x="538" y="773"/>
                </a:cubicBezTo>
                <a:cubicBezTo>
                  <a:pt x="539" y="772"/>
                  <a:pt x="539" y="772"/>
                  <a:pt x="539" y="772"/>
                </a:cubicBezTo>
                <a:cubicBezTo>
                  <a:pt x="539" y="769"/>
                  <a:pt x="539" y="769"/>
                  <a:pt x="539" y="769"/>
                </a:cubicBezTo>
                <a:cubicBezTo>
                  <a:pt x="540" y="768"/>
                  <a:pt x="540" y="768"/>
                  <a:pt x="540" y="768"/>
                </a:cubicBezTo>
                <a:cubicBezTo>
                  <a:pt x="538" y="767"/>
                  <a:pt x="538" y="767"/>
                  <a:pt x="538" y="767"/>
                </a:cubicBezTo>
                <a:cubicBezTo>
                  <a:pt x="540" y="766"/>
                  <a:pt x="540" y="766"/>
                  <a:pt x="540" y="766"/>
                </a:cubicBezTo>
                <a:cubicBezTo>
                  <a:pt x="540" y="763"/>
                  <a:pt x="540" y="763"/>
                  <a:pt x="540" y="763"/>
                </a:cubicBezTo>
                <a:cubicBezTo>
                  <a:pt x="541" y="763"/>
                  <a:pt x="541" y="763"/>
                  <a:pt x="541" y="763"/>
                </a:cubicBezTo>
                <a:cubicBezTo>
                  <a:pt x="541" y="765"/>
                  <a:pt x="541" y="765"/>
                  <a:pt x="541" y="765"/>
                </a:cubicBezTo>
                <a:cubicBezTo>
                  <a:pt x="541" y="766"/>
                  <a:pt x="541" y="766"/>
                  <a:pt x="541" y="766"/>
                </a:cubicBezTo>
                <a:cubicBezTo>
                  <a:pt x="542" y="766"/>
                  <a:pt x="542" y="766"/>
                  <a:pt x="542" y="766"/>
                </a:cubicBezTo>
                <a:cubicBezTo>
                  <a:pt x="542" y="764"/>
                  <a:pt x="542" y="764"/>
                  <a:pt x="542" y="764"/>
                </a:cubicBezTo>
                <a:cubicBezTo>
                  <a:pt x="544" y="762"/>
                  <a:pt x="544" y="762"/>
                  <a:pt x="544" y="762"/>
                </a:cubicBezTo>
                <a:cubicBezTo>
                  <a:pt x="544" y="759"/>
                  <a:pt x="544" y="759"/>
                  <a:pt x="544" y="759"/>
                </a:cubicBezTo>
                <a:cubicBezTo>
                  <a:pt x="545" y="759"/>
                  <a:pt x="545" y="759"/>
                  <a:pt x="545" y="759"/>
                </a:cubicBezTo>
                <a:cubicBezTo>
                  <a:pt x="545" y="756"/>
                  <a:pt x="545" y="756"/>
                  <a:pt x="545" y="756"/>
                </a:cubicBezTo>
                <a:cubicBezTo>
                  <a:pt x="546" y="755"/>
                  <a:pt x="546" y="755"/>
                  <a:pt x="546" y="755"/>
                </a:cubicBezTo>
                <a:cubicBezTo>
                  <a:pt x="544" y="756"/>
                  <a:pt x="544" y="756"/>
                  <a:pt x="544" y="756"/>
                </a:cubicBezTo>
                <a:cubicBezTo>
                  <a:pt x="544" y="759"/>
                  <a:pt x="544" y="759"/>
                  <a:pt x="544" y="759"/>
                </a:cubicBezTo>
                <a:cubicBezTo>
                  <a:pt x="542" y="760"/>
                  <a:pt x="542" y="760"/>
                  <a:pt x="542" y="760"/>
                </a:cubicBezTo>
                <a:cubicBezTo>
                  <a:pt x="543" y="759"/>
                  <a:pt x="543" y="759"/>
                  <a:pt x="543" y="759"/>
                </a:cubicBezTo>
                <a:cubicBezTo>
                  <a:pt x="544" y="756"/>
                  <a:pt x="544" y="756"/>
                  <a:pt x="544" y="756"/>
                </a:cubicBezTo>
                <a:cubicBezTo>
                  <a:pt x="544" y="753"/>
                  <a:pt x="544" y="753"/>
                  <a:pt x="544" y="753"/>
                </a:cubicBezTo>
                <a:cubicBezTo>
                  <a:pt x="544" y="752"/>
                  <a:pt x="544" y="752"/>
                  <a:pt x="544" y="752"/>
                </a:cubicBezTo>
                <a:cubicBezTo>
                  <a:pt x="544" y="748"/>
                  <a:pt x="544" y="748"/>
                  <a:pt x="544" y="748"/>
                </a:cubicBezTo>
                <a:cubicBezTo>
                  <a:pt x="543" y="746"/>
                  <a:pt x="543" y="746"/>
                  <a:pt x="543" y="746"/>
                </a:cubicBezTo>
                <a:cubicBezTo>
                  <a:pt x="544" y="744"/>
                  <a:pt x="544" y="744"/>
                  <a:pt x="544" y="744"/>
                </a:cubicBezTo>
                <a:cubicBezTo>
                  <a:pt x="545" y="741"/>
                  <a:pt x="545" y="741"/>
                  <a:pt x="545" y="741"/>
                </a:cubicBezTo>
                <a:cubicBezTo>
                  <a:pt x="546" y="739"/>
                  <a:pt x="546" y="739"/>
                  <a:pt x="546" y="739"/>
                </a:cubicBezTo>
                <a:cubicBezTo>
                  <a:pt x="546" y="735"/>
                  <a:pt x="546" y="735"/>
                  <a:pt x="546" y="735"/>
                </a:cubicBezTo>
                <a:cubicBezTo>
                  <a:pt x="547" y="734"/>
                  <a:pt x="547" y="734"/>
                  <a:pt x="547" y="734"/>
                </a:cubicBezTo>
                <a:cubicBezTo>
                  <a:pt x="549" y="733"/>
                  <a:pt x="549" y="733"/>
                  <a:pt x="549" y="733"/>
                </a:cubicBezTo>
                <a:cubicBezTo>
                  <a:pt x="548" y="731"/>
                  <a:pt x="548" y="731"/>
                  <a:pt x="548" y="731"/>
                </a:cubicBezTo>
                <a:cubicBezTo>
                  <a:pt x="550" y="729"/>
                  <a:pt x="550" y="729"/>
                  <a:pt x="550" y="729"/>
                </a:cubicBezTo>
                <a:cubicBezTo>
                  <a:pt x="551" y="730"/>
                  <a:pt x="551" y="730"/>
                  <a:pt x="551" y="730"/>
                </a:cubicBezTo>
                <a:cubicBezTo>
                  <a:pt x="553" y="729"/>
                  <a:pt x="553" y="729"/>
                  <a:pt x="553" y="729"/>
                </a:cubicBezTo>
                <a:cubicBezTo>
                  <a:pt x="553" y="726"/>
                  <a:pt x="553" y="726"/>
                  <a:pt x="553" y="726"/>
                </a:cubicBezTo>
                <a:cubicBezTo>
                  <a:pt x="554" y="727"/>
                  <a:pt x="554" y="727"/>
                  <a:pt x="554" y="727"/>
                </a:cubicBezTo>
                <a:cubicBezTo>
                  <a:pt x="556" y="726"/>
                  <a:pt x="556" y="726"/>
                  <a:pt x="556" y="726"/>
                </a:cubicBezTo>
                <a:cubicBezTo>
                  <a:pt x="555" y="725"/>
                  <a:pt x="555" y="725"/>
                  <a:pt x="555" y="725"/>
                </a:cubicBezTo>
                <a:cubicBezTo>
                  <a:pt x="557" y="724"/>
                  <a:pt x="557" y="724"/>
                  <a:pt x="557" y="724"/>
                </a:cubicBezTo>
                <a:cubicBezTo>
                  <a:pt x="557" y="725"/>
                  <a:pt x="557" y="725"/>
                  <a:pt x="557" y="725"/>
                </a:cubicBezTo>
                <a:cubicBezTo>
                  <a:pt x="558" y="724"/>
                  <a:pt x="558" y="724"/>
                  <a:pt x="558" y="724"/>
                </a:cubicBezTo>
                <a:cubicBezTo>
                  <a:pt x="560" y="725"/>
                  <a:pt x="560" y="725"/>
                  <a:pt x="560" y="725"/>
                </a:cubicBezTo>
                <a:cubicBezTo>
                  <a:pt x="558" y="727"/>
                  <a:pt x="558" y="727"/>
                  <a:pt x="558" y="727"/>
                </a:cubicBezTo>
                <a:cubicBezTo>
                  <a:pt x="560" y="727"/>
                  <a:pt x="560" y="727"/>
                  <a:pt x="560" y="727"/>
                </a:cubicBezTo>
                <a:cubicBezTo>
                  <a:pt x="561" y="725"/>
                  <a:pt x="561" y="725"/>
                  <a:pt x="561" y="725"/>
                </a:cubicBezTo>
                <a:cubicBezTo>
                  <a:pt x="563" y="725"/>
                  <a:pt x="563" y="725"/>
                  <a:pt x="563" y="725"/>
                </a:cubicBezTo>
                <a:cubicBezTo>
                  <a:pt x="567" y="723"/>
                  <a:pt x="567" y="723"/>
                  <a:pt x="567" y="723"/>
                </a:cubicBezTo>
                <a:cubicBezTo>
                  <a:pt x="570" y="720"/>
                  <a:pt x="570" y="720"/>
                  <a:pt x="570" y="720"/>
                </a:cubicBezTo>
                <a:cubicBezTo>
                  <a:pt x="572" y="720"/>
                  <a:pt x="572" y="720"/>
                  <a:pt x="572" y="720"/>
                </a:cubicBezTo>
                <a:cubicBezTo>
                  <a:pt x="573" y="719"/>
                  <a:pt x="573" y="719"/>
                  <a:pt x="573" y="719"/>
                </a:cubicBezTo>
                <a:cubicBezTo>
                  <a:pt x="572" y="717"/>
                  <a:pt x="572" y="717"/>
                  <a:pt x="572" y="717"/>
                </a:cubicBezTo>
                <a:cubicBezTo>
                  <a:pt x="572" y="715"/>
                  <a:pt x="572" y="715"/>
                  <a:pt x="572" y="715"/>
                </a:cubicBezTo>
                <a:cubicBezTo>
                  <a:pt x="571" y="712"/>
                  <a:pt x="571" y="712"/>
                  <a:pt x="571" y="712"/>
                </a:cubicBezTo>
                <a:cubicBezTo>
                  <a:pt x="572" y="714"/>
                  <a:pt x="572" y="714"/>
                  <a:pt x="572" y="714"/>
                </a:cubicBezTo>
                <a:cubicBezTo>
                  <a:pt x="573" y="714"/>
                  <a:pt x="573" y="714"/>
                  <a:pt x="573" y="714"/>
                </a:cubicBezTo>
                <a:cubicBezTo>
                  <a:pt x="575" y="712"/>
                  <a:pt x="575" y="712"/>
                  <a:pt x="575" y="712"/>
                </a:cubicBezTo>
                <a:cubicBezTo>
                  <a:pt x="576" y="711"/>
                  <a:pt x="576" y="711"/>
                  <a:pt x="576" y="711"/>
                </a:cubicBezTo>
                <a:cubicBezTo>
                  <a:pt x="576" y="713"/>
                  <a:pt x="576" y="713"/>
                  <a:pt x="576" y="713"/>
                </a:cubicBezTo>
                <a:cubicBezTo>
                  <a:pt x="575" y="714"/>
                  <a:pt x="575" y="714"/>
                  <a:pt x="575" y="714"/>
                </a:cubicBezTo>
                <a:cubicBezTo>
                  <a:pt x="576" y="716"/>
                  <a:pt x="576" y="716"/>
                  <a:pt x="576" y="716"/>
                </a:cubicBezTo>
                <a:cubicBezTo>
                  <a:pt x="575" y="718"/>
                  <a:pt x="575" y="718"/>
                  <a:pt x="575" y="718"/>
                </a:cubicBezTo>
                <a:cubicBezTo>
                  <a:pt x="578" y="717"/>
                  <a:pt x="578" y="717"/>
                  <a:pt x="578" y="717"/>
                </a:cubicBezTo>
                <a:cubicBezTo>
                  <a:pt x="579" y="715"/>
                  <a:pt x="579" y="715"/>
                  <a:pt x="579" y="715"/>
                </a:cubicBezTo>
                <a:cubicBezTo>
                  <a:pt x="581" y="715"/>
                  <a:pt x="581" y="715"/>
                  <a:pt x="581" y="715"/>
                </a:cubicBezTo>
                <a:cubicBezTo>
                  <a:pt x="582" y="714"/>
                  <a:pt x="582" y="714"/>
                  <a:pt x="582" y="714"/>
                </a:cubicBezTo>
                <a:cubicBezTo>
                  <a:pt x="585" y="713"/>
                  <a:pt x="585" y="713"/>
                  <a:pt x="585" y="713"/>
                </a:cubicBezTo>
                <a:cubicBezTo>
                  <a:pt x="588" y="713"/>
                  <a:pt x="588" y="713"/>
                  <a:pt x="588" y="713"/>
                </a:cubicBezTo>
                <a:cubicBezTo>
                  <a:pt x="593" y="714"/>
                  <a:pt x="593" y="714"/>
                  <a:pt x="593" y="714"/>
                </a:cubicBezTo>
                <a:cubicBezTo>
                  <a:pt x="594" y="715"/>
                  <a:pt x="594" y="715"/>
                  <a:pt x="594" y="715"/>
                </a:cubicBezTo>
                <a:cubicBezTo>
                  <a:pt x="599" y="716"/>
                  <a:pt x="599" y="716"/>
                  <a:pt x="599" y="716"/>
                </a:cubicBezTo>
                <a:cubicBezTo>
                  <a:pt x="601" y="716"/>
                  <a:pt x="601" y="716"/>
                  <a:pt x="601" y="716"/>
                </a:cubicBezTo>
                <a:cubicBezTo>
                  <a:pt x="601" y="714"/>
                  <a:pt x="601" y="714"/>
                  <a:pt x="601" y="714"/>
                </a:cubicBezTo>
                <a:cubicBezTo>
                  <a:pt x="601" y="713"/>
                  <a:pt x="601" y="713"/>
                  <a:pt x="601" y="713"/>
                </a:cubicBezTo>
                <a:cubicBezTo>
                  <a:pt x="603" y="713"/>
                  <a:pt x="603" y="713"/>
                  <a:pt x="603" y="713"/>
                </a:cubicBezTo>
                <a:cubicBezTo>
                  <a:pt x="604" y="713"/>
                  <a:pt x="604" y="713"/>
                  <a:pt x="604" y="713"/>
                </a:cubicBezTo>
                <a:cubicBezTo>
                  <a:pt x="603" y="714"/>
                  <a:pt x="603" y="714"/>
                  <a:pt x="603" y="714"/>
                </a:cubicBezTo>
                <a:cubicBezTo>
                  <a:pt x="605" y="715"/>
                  <a:pt x="605" y="715"/>
                  <a:pt x="605" y="715"/>
                </a:cubicBezTo>
                <a:cubicBezTo>
                  <a:pt x="606" y="714"/>
                  <a:pt x="606" y="714"/>
                  <a:pt x="606" y="714"/>
                </a:cubicBezTo>
                <a:cubicBezTo>
                  <a:pt x="607" y="715"/>
                  <a:pt x="607" y="715"/>
                  <a:pt x="607" y="715"/>
                </a:cubicBezTo>
                <a:cubicBezTo>
                  <a:pt x="607" y="716"/>
                  <a:pt x="607" y="716"/>
                  <a:pt x="607" y="716"/>
                </a:cubicBezTo>
                <a:cubicBezTo>
                  <a:pt x="607" y="717"/>
                  <a:pt x="607" y="717"/>
                  <a:pt x="607" y="717"/>
                </a:cubicBezTo>
                <a:cubicBezTo>
                  <a:pt x="609" y="717"/>
                  <a:pt x="609" y="717"/>
                  <a:pt x="609" y="717"/>
                </a:cubicBezTo>
                <a:cubicBezTo>
                  <a:pt x="610" y="718"/>
                  <a:pt x="610" y="718"/>
                  <a:pt x="610" y="718"/>
                </a:cubicBezTo>
                <a:cubicBezTo>
                  <a:pt x="609" y="719"/>
                  <a:pt x="609" y="719"/>
                  <a:pt x="609" y="719"/>
                </a:cubicBezTo>
                <a:cubicBezTo>
                  <a:pt x="608" y="720"/>
                  <a:pt x="608" y="720"/>
                  <a:pt x="608" y="720"/>
                </a:cubicBezTo>
                <a:cubicBezTo>
                  <a:pt x="609" y="721"/>
                  <a:pt x="609" y="721"/>
                  <a:pt x="609" y="721"/>
                </a:cubicBezTo>
                <a:cubicBezTo>
                  <a:pt x="611" y="720"/>
                  <a:pt x="611" y="720"/>
                  <a:pt x="611" y="720"/>
                </a:cubicBezTo>
                <a:cubicBezTo>
                  <a:pt x="612" y="721"/>
                  <a:pt x="612" y="721"/>
                  <a:pt x="612" y="721"/>
                </a:cubicBezTo>
                <a:cubicBezTo>
                  <a:pt x="614" y="722"/>
                  <a:pt x="614" y="722"/>
                  <a:pt x="614" y="722"/>
                </a:cubicBezTo>
                <a:cubicBezTo>
                  <a:pt x="615" y="721"/>
                  <a:pt x="615" y="721"/>
                  <a:pt x="615" y="721"/>
                </a:cubicBezTo>
                <a:cubicBezTo>
                  <a:pt x="617" y="720"/>
                  <a:pt x="617" y="720"/>
                  <a:pt x="617" y="720"/>
                </a:cubicBezTo>
                <a:cubicBezTo>
                  <a:pt x="619" y="721"/>
                  <a:pt x="619" y="721"/>
                  <a:pt x="619" y="721"/>
                </a:cubicBezTo>
                <a:cubicBezTo>
                  <a:pt x="619" y="722"/>
                  <a:pt x="619" y="722"/>
                  <a:pt x="619" y="722"/>
                </a:cubicBezTo>
                <a:cubicBezTo>
                  <a:pt x="621" y="721"/>
                  <a:pt x="621" y="721"/>
                  <a:pt x="621" y="721"/>
                </a:cubicBezTo>
                <a:cubicBezTo>
                  <a:pt x="621" y="719"/>
                  <a:pt x="621" y="719"/>
                  <a:pt x="621" y="719"/>
                </a:cubicBezTo>
                <a:cubicBezTo>
                  <a:pt x="620" y="717"/>
                  <a:pt x="620" y="717"/>
                  <a:pt x="620" y="717"/>
                </a:cubicBezTo>
                <a:cubicBezTo>
                  <a:pt x="622" y="717"/>
                  <a:pt x="622" y="717"/>
                  <a:pt x="622" y="717"/>
                </a:cubicBezTo>
                <a:cubicBezTo>
                  <a:pt x="623" y="719"/>
                  <a:pt x="623" y="719"/>
                  <a:pt x="623" y="719"/>
                </a:cubicBezTo>
                <a:cubicBezTo>
                  <a:pt x="625" y="720"/>
                  <a:pt x="625" y="720"/>
                  <a:pt x="625" y="720"/>
                </a:cubicBezTo>
                <a:cubicBezTo>
                  <a:pt x="626" y="721"/>
                  <a:pt x="626" y="721"/>
                  <a:pt x="626" y="721"/>
                </a:cubicBezTo>
                <a:cubicBezTo>
                  <a:pt x="627" y="721"/>
                  <a:pt x="627" y="721"/>
                  <a:pt x="627" y="721"/>
                </a:cubicBezTo>
                <a:cubicBezTo>
                  <a:pt x="628" y="722"/>
                  <a:pt x="628" y="722"/>
                  <a:pt x="628" y="722"/>
                </a:cubicBezTo>
                <a:cubicBezTo>
                  <a:pt x="628" y="724"/>
                  <a:pt x="628" y="724"/>
                  <a:pt x="628" y="724"/>
                </a:cubicBezTo>
                <a:cubicBezTo>
                  <a:pt x="629" y="722"/>
                  <a:pt x="629" y="722"/>
                  <a:pt x="629" y="722"/>
                </a:cubicBezTo>
                <a:cubicBezTo>
                  <a:pt x="630" y="722"/>
                  <a:pt x="630" y="722"/>
                  <a:pt x="630" y="722"/>
                </a:cubicBezTo>
                <a:cubicBezTo>
                  <a:pt x="631" y="721"/>
                  <a:pt x="631" y="721"/>
                  <a:pt x="631" y="721"/>
                </a:cubicBezTo>
                <a:cubicBezTo>
                  <a:pt x="628" y="719"/>
                  <a:pt x="628" y="719"/>
                  <a:pt x="628" y="719"/>
                </a:cubicBezTo>
                <a:cubicBezTo>
                  <a:pt x="625" y="718"/>
                  <a:pt x="625" y="718"/>
                  <a:pt x="625" y="718"/>
                </a:cubicBezTo>
                <a:cubicBezTo>
                  <a:pt x="624" y="717"/>
                  <a:pt x="624" y="717"/>
                  <a:pt x="624" y="717"/>
                </a:cubicBezTo>
                <a:cubicBezTo>
                  <a:pt x="624" y="715"/>
                  <a:pt x="624" y="715"/>
                  <a:pt x="624" y="715"/>
                </a:cubicBezTo>
                <a:cubicBezTo>
                  <a:pt x="627" y="714"/>
                  <a:pt x="627" y="714"/>
                  <a:pt x="627" y="714"/>
                </a:cubicBezTo>
                <a:cubicBezTo>
                  <a:pt x="628" y="713"/>
                  <a:pt x="628" y="713"/>
                  <a:pt x="628" y="713"/>
                </a:cubicBezTo>
                <a:cubicBezTo>
                  <a:pt x="626" y="712"/>
                  <a:pt x="626" y="712"/>
                  <a:pt x="626" y="712"/>
                </a:cubicBezTo>
                <a:cubicBezTo>
                  <a:pt x="626" y="711"/>
                  <a:pt x="626" y="711"/>
                  <a:pt x="626" y="711"/>
                </a:cubicBezTo>
                <a:cubicBezTo>
                  <a:pt x="625" y="711"/>
                  <a:pt x="625" y="711"/>
                  <a:pt x="625" y="711"/>
                </a:cubicBezTo>
                <a:cubicBezTo>
                  <a:pt x="624" y="712"/>
                  <a:pt x="624" y="712"/>
                  <a:pt x="624" y="712"/>
                </a:cubicBezTo>
                <a:cubicBezTo>
                  <a:pt x="623" y="713"/>
                  <a:pt x="623" y="713"/>
                  <a:pt x="623" y="713"/>
                </a:cubicBezTo>
                <a:cubicBezTo>
                  <a:pt x="623" y="712"/>
                  <a:pt x="623" y="712"/>
                  <a:pt x="623" y="712"/>
                </a:cubicBezTo>
                <a:cubicBezTo>
                  <a:pt x="624" y="710"/>
                  <a:pt x="624" y="710"/>
                  <a:pt x="624" y="710"/>
                </a:cubicBezTo>
                <a:cubicBezTo>
                  <a:pt x="628" y="708"/>
                  <a:pt x="628" y="708"/>
                  <a:pt x="628" y="708"/>
                </a:cubicBezTo>
                <a:cubicBezTo>
                  <a:pt x="629" y="707"/>
                  <a:pt x="629" y="707"/>
                  <a:pt x="629" y="707"/>
                </a:cubicBezTo>
                <a:cubicBezTo>
                  <a:pt x="635" y="706"/>
                  <a:pt x="635" y="706"/>
                  <a:pt x="635" y="706"/>
                </a:cubicBezTo>
                <a:cubicBezTo>
                  <a:pt x="638" y="706"/>
                  <a:pt x="638" y="706"/>
                  <a:pt x="638" y="706"/>
                </a:cubicBezTo>
                <a:cubicBezTo>
                  <a:pt x="639" y="706"/>
                  <a:pt x="639" y="706"/>
                  <a:pt x="639" y="706"/>
                </a:cubicBezTo>
                <a:cubicBezTo>
                  <a:pt x="640" y="706"/>
                  <a:pt x="640" y="706"/>
                  <a:pt x="640" y="706"/>
                </a:cubicBezTo>
                <a:cubicBezTo>
                  <a:pt x="641" y="704"/>
                  <a:pt x="641" y="704"/>
                  <a:pt x="641" y="704"/>
                </a:cubicBezTo>
                <a:cubicBezTo>
                  <a:pt x="642" y="703"/>
                  <a:pt x="642" y="703"/>
                  <a:pt x="642" y="703"/>
                </a:cubicBezTo>
                <a:cubicBezTo>
                  <a:pt x="643" y="703"/>
                  <a:pt x="643" y="703"/>
                  <a:pt x="643" y="703"/>
                </a:cubicBezTo>
                <a:cubicBezTo>
                  <a:pt x="643" y="704"/>
                  <a:pt x="643" y="704"/>
                  <a:pt x="643" y="704"/>
                </a:cubicBezTo>
                <a:cubicBezTo>
                  <a:pt x="643" y="705"/>
                  <a:pt x="643" y="705"/>
                  <a:pt x="643" y="705"/>
                </a:cubicBezTo>
                <a:cubicBezTo>
                  <a:pt x="645" y="707"/>
                  <a:pt x="645" y="707"/>
                  <a:pt x="645" y="707"/>
                </a:cubicBezTo>
                <a:cubicBezTo>
                  <a:pt x="647" y="706"/>
                  <a:pt x="647" y="706"/>
                  <a:pt x="647" y="706"/>
                </a:cubicBezTo>
                <a:cubicBezTo>
                  <a:pt x="650" y="706"/>
                  <a:pt x="650" y="706"/>
                  <a:pt x="650" y="706"/>
                </a:cubicBezTo>
                <a:cubicBezTo>
                  <a:pt x="651" y="706"/>
                  <a:pt x="651" y="706"/>
                  <a:pt x="651" y="706"/>
                </a:cubicBezTo>
                <a:cubicBezTo>
                  <a:pt x="652" y="707"/>
                  <a:pt x="652" y="707"/>
                  <a:pt x="652" y="707"/>
                </a:cubicBezTo>
                <a:cubicBezTo>
                  <a:pt x="655" y="706"/>
                  <a:pt x="655" y="706"/>
                  <a:pt x="655" y="706"/>
                </a:cubicBezTo>
                <a:cubicBezTo>
                  <a:pt x="656" y="707"/>
                  <a:pt x="656" y="707"/>
                  <a:pt x="656" y="707"/>
                </a:cubicBezTo>
                <a:cubicBezTo>
                  <a:pt x="658" y="705"/>
                  <a:pt x="658" y="705"/>
                  <a:pt x="658" y="705"/>
                </a:cubicBezTo>
                <a:cubicBezTo>
                  <a:pt x="661" y="705"/>
                  <a:pt x="661" y="705"/>
                  <a:pt x="661" y="705"/>
                </a:cubicBezTo>
                <a:cubicBezTo>
                  <a:pt x="661" y="706"/>
                  <a:pt x="661" y="706"/>
                  <a:pt x="661" y="706"/>
                </a:cubicBezTo>
                <a:cubicBezTo>
                  <a:pt x="660" y="706"/>
                  <a:pt x="660" y="706"/>
                  <a:pt x="660" y="706"/>
                </a:cubicBezTo>
                <a:cubicBezTo>
                  <a:pt x="657" y="706"/>
                  <a:pt x="657" y="706"/>
                  <a:pt x="657" y="706"/>
                </a:cubicBezTo>
                <a:cubicBezTo>
                  <a:pt x="657" y="707"/>
                  <a:pt x="657" y="707"/>
                  <a:pt x="657" y="707"/>
                </a:cubicBezTo>
                <a:cubicBezTo>
                  <a:pt x="660" y="707"/>
                  <a:pt x="660" y="707"/>
                  <a:pt x="660" y="707"/>
                </a:cubicBezTo>
                <a:cubicBezTo>
                  <a:pt x="662" y="707"/>
                  <a:pt x="662" y="707"/>
                  <a:pt x="662" y="707"/>
                </a:cubicBezTo>
                <a:cubicBezTo>
                  <a:pt x="664" y="708"/>
                  <a:pt x="664" y="708"/>
                  <a:pt x="664" y="708"/>
                </a:cubicBezTo>
                <a:cubicBezTo>
                  <a:pt x="665" y="709"/>
                  <a:pt x="665" y="709"/>
                  <a:pt x="665" y="709"/>
                </a:cubicBezTo>
                <a:cubicBezTo>
                  <a:pt x="664" y="708"/>
                  <a:pt x="664" y="708"/>
                  <a:pt x="664" y="708"/>
                </a:cubicBezTo>
                <a:cubicBezTo>
                  <a:pt x="665" y="707"/>
                  <a:pt x="665" y="707"/>
                  <a:pt x="665" y="707"/>
                </a:cubicBezTo>
                <a:cubicBezTo>
                  <a:pt x="666" y="707"/>
                  <a:pt x="666" y="707"/>
                  <a:pt x="666" y="707"/>
                </a:cubicBezTo>
                <a:cubicBezTo>
                  <a:pt x="666" y="708"/>
                  <a:pt x="666" y="708"/>
                  <a:pt x="666" y="708"/>
                </a:cubicBezTo>
                <a:cubicBezTo>
                  <a:pt x="668" y="710"/>
                  <a:pt x="668" y="710"/>
                  <a:pt x="668" y="710"/>
                </a:cubicBezTo>
                <a:cubicBezTo>
                  <a:pt x="668" y="710"/>
                  <a:pt x="668" y="710"/>
                  <a:pt x="668" y="710"/>
                </a:cubicBezTo>
                <a:cubicBezTo>
                  <a:pt x="666" y="710"/>
                  <a:pt x="666" y="710"/>
                  <a:pt x="666" y="710"/>
                </a:cubicBezTo>
                <a:cubicBezTo>
                  <a:pt x="666" y="710"/>
                  <a:pt x="666" y="710"/>
                  <a:pt x="666" y="710"/>
                </a:cubicBezTo>
                <a:cubicBezTo>
                  <a:pt x="668" y="711"/>
                  <a:pt x="668" y="711"/>
                  <a:pt x="668" y="711"/>
                </a:cubicBezTo>
                <a:cubicBezTo>
                  <a:pt x="669" y="713"/>
                  <a:pt x="669" y="713"/>
                  <a:pt x="669" y="713"/>
                </a:cubicBezTo>
                <a:cubicBezTo>
                  <a:pt x="670" y="714"/>
                  <a:pt x="670" y="714"/>
                  <a:pt x="670" y="714"/>
                </a:cubicBezTo>
                <a:cubicBezTo>
                  <a:pt x="669" y="714"/>
                  <a:pt x="669" y="714"/>
                  <a:pt x="669" y="714"/>
                </a:cubicBezTo>
                <a:cubicBezTo>
                  <a:pt x="669" y="713"/>
                  <a:pt x="669" y="713"/>
                  <a:pt x="669" y="713"/>
                </a:cubicBezTo>
                <a:cubicBezTo>
                  <a:pt x="669" y="714"/>
                  <a:pt x="669" y="714"/>
                  <a:pt x="669" y="714"/>
                </a:cubicBezTo>
                <a:cubicBezTo>
                  <a:pt x="669" y="715"/>
                  <a:pt x="669" y="715"/>
                  <a:pt x="669" y="715"/>
                </a:cubicBezTo>
                <a:cubicBezTo>
                  <a:pt x="672" y="714"/>
                  <a:pt x="672" y="714"/>
                  <a:pt x="672" y="714"/>
                </a:cubicBezTo>
                <a:cubicBezTo>
                  <a:pt x="674" y="714"/>
                  <a:pt x="674" y="714"/>
                  <a:pt x="674" y="714"/>
                </a:cubicBezTo>
                <a:cubicBezTo>
                  <a:pt x="677" y="712"/>
                  <a:pt x="677" y="712"/>
                  <a:pt x="677" y="712"/>
                </a:cubicBezTo>
                <a:cubicBezTo>
                  <a:pt x="678" y="712"/>
                  <a:pt x="678" y="712"/>
                  <a:pt x="678" y="712"/>
                </a:cubicBezTo>
                <a:cubicBezTo>
                  <a:pt x="678" y="712"/>
                  <a:pt x="678" y="712"/>
                  <a:pt x="678" y="712"/>
                </a:cubicBezTo>
                <a:cubicBezTo>
                  <a:pt x="678" y="711"/>
                  <a:pt x="678" y="711"/>
                  <a:pt x="678" y="711"/>
                </a:cubicBezTo>
                <a:cubicBezTo>
                  <a:pt x="679" y="710"/>
                  <a:pt x="679" y="710"/>
                  <a:pt x="679" y="710"/>
                </a:cubicBezTo>
                <a:cubicBezTo>
                  <a:pt x="681" y="710"/>
                  <a:pt x="681" y="710"/>
                  <a:pt x="681" y="710"/>
                </a:cubicBezTo>
                <a:cubicBezTo>
                  <a:pt x="683" y="710"/>
                  <a:pt x="683" y="710"/>
                  <a:pt x="683" y="710"/>
                </a:cubicBezTo>
                <a:cubicBezTo>
                  <a:pt x="685" y="711"/>
                  <a:pt x="685" y="711"/>
                  <a:pt x="685" y="711"/>
                </a:cubicBezTo>
                <a:cubicBezTo>
                  <a:pt x="686" y="715"/>
                  <a:pt x="686" y="715"/>
                  <a:pt x="686" y="715"/>
                </a:cubicBezTo>
                <a:cubicBezTo>
                  <a:pt x="687" y="716"/>
                  <a:pt x="687" y="716"/>
                  <a:pt x="687" y="716"/>
                </a:cubicBezTo>
                <a:cubicBezTo>
                  <a:pt x="688" y="716"/>
                  <a:pt x="688" y="716"/>
                  <a:pt x="688" y="716"/>
                </a:cubicBezTo>
                <a:cubicBezTo>
                  <a:pt x="688" y="718"/>
                  <a:pt x="688" y="718"/>
                  <a:pt x="688" y="718"/>
                </a:cubicBezTo>
                <a:cubicBezTo>
                  <a:pt x="689" y="719"/>
                  <a:pt x="689" y="719"/>
                  <a:pt x="689" y="719"/>
                </a:cubicBezTo>
                <a:cubicBezTo>
                  <a:pt x="690" y="719"/>
                  <a:pt x="690" y="719"/>
                  <a:pt x="690" y="719"/>
                </a:cubicBezTo>
                <a:cubicBezTo>
                  <a:pt x="690" y="720"/>
                  <a:pt x="690" y="720"/>
                  <a:pt x="690" y="720"/>
                </a:cubicBezTo>
                <a:cubicBezTo>
                  <a:pt x="691" y="721"/>
                  <a:pt x="691" y="721"/>
                  <a:pt x="691" y="721"/>
                </a:cubicBezTo>
                <a:cubicBezTo>
                  <a:pt x="693" y="722"/>
                  <a:pt x="693" y="722"/>
                  <a:pt x="693" y="722"/>
                </a:cubicBezTo>
                <a:cubicBezTo>
                  <a:pt x="694" y="724"/>
                  <a:pt x="694" y="724"/>
                  <a:pt x="694" y="724"/>
                </a:cubicBezTo>
                <a:cubicBezTo>
                  <a:pt x="694" y="727"/>
                  <a:pt x="694" y="727"/>
                  <a:pt x="694" y="727"/>
                </a:cubicBezTo>
                <a:cubicBezTo>
                  <a:pt x="692" y="731"/>
                  <a:pt x="692" y="731"/>
                  <a:pt x="692" y="731"/>
                </a:cubicBezTo>
                <a:cubicBezTo>
                  <a:pt x="690" y="735"/>
                  <a:pt x="690" y="735"/>
                  <a:pt x="690" y="735"/>
                </a:cubicBezTo>
                <a:cubicBezTo>
                  <a:pt x="690" y="736"/>
                  <a:pt x="690" y="736"/>
                  <a:pt x="690" y="736"/>
                </a:cubicBezTo>
                <a:cubicBezTo>
                  <a:pt x="691" y="739"/>
                  <a:pt x="691" y="739"/>
                  <a:pt x="691" y="739"/>
                </a:cubicBezTo>
                <a:cubicBezTo>
                  <a:pt x="692" y="738"/>
                  <a:pt x="692" y="738"/>
                  <a:pt x="692" y="738"/>
                </a:cubicBezTo>
                <a:cubicBezTo>
                  <a:pt x="693" y="736"/>
                  <a:pt x="693" y="736"/>
                  <a:pt x="693" y="736"/>
                </a:cubicBezTo>
                <a:cubicBezTo>
                  <a:pt x="693" y="736"/>
                  <a:pt x="693" y="736"/>
                  <a:pt x="693" y="736"/>
                </a:cubicBezTo>
                <a:cubicBezTo>
                  <a:pt x="694" y="735"/>
                  <a:pt x="694" y="735"/>
                  <a:pt x="694" y="735"/>
                </a:cubicBezTo>
                <a:cubicBezTo>
                  <a:pt x="695" y="736"/>
                  <a:pt x="695" y="736"/>
                  <a:pt x="695" y="736"/>
                </a:cubicBezTo>
                <a:cubicBezTo>
                  <a:pt x="695" y="737"/>
                  <a:pt x="695" y="737"/>
                  <a:pt x="695" y="737"/>
                </a:cubicBezTo>
                <a:cubicBezTo>
                  <a:pt x="693" y="741"/>
                  <a:pt x="693" y="741"/>
                  <a:pt x="693" y="741"/>
                </a:cubicBezTo>
                <a:cubicBezTo>
                  <a:pt x="693" y="742"/>
                  <a:pt x="693" y="742"/>
                  <a:pt x="693" y="742"/>
                </a:cubicBezTo>
                <a:cubicBezTo>
                  <a:pt x="693" y="744"/>
                  <a:pt x="693" y="744"/>
                  <a:pt x="693" y="744"/>
                </a:cubicBezTo>
                <a:cubicBezTo>
                  <a:pt x="695" y="746"/>
                  <a:pt x="695" y="746"/>
                  <a:pt x="695" y="746"/>
                </a:cubicBezTo>
                <a:cubicBezTo>
                  <a:pt x="695" y="747"/>
                  <a:pt x="695" y="747"/>
                  <a:pt x="695" y="747"/>
                </a:cubicBezTo>
                <a:cubicBezTo>
                  <a:pt x="696" y="746"/>
                  <a:pt x="696" y="746"/>
                  <a:pt x="696" y="746"/>
                </a:cubicBezTo>
                <a:cubicBezTo>
                  <a:pt x="696" y="748"/>
                  <a:pt x="696" y="748"/>
                  <a:pt x="696" y="748"/>
                </a:cubicBezTo>
                <a:cubicBezTo>
                  <a:pt x="697" y="747"/>
                  <a:pt x="697" y="747"/>
                  <a:pt x="697" y="747"/>
                </a:cubicBezTo>
                <a:cubicBezTo>
                  <a:pt x="697" y="746"/>
                  <a:pt x="697" y="746"/>
                  <a:pt x="697" y="746"/>
                </a:cubicBezTo>
                <a:cubicBezTo>
                  <a:pt x="698" y="747"/>
                  <a:pt x="698" y="747"/>
                  <a:pt x="698" y="747"/>
                </a:cubicBezTo>
                <a:cubicBezTo>
                  <a:pt x="700" y="747"/>
                  <a:pt x="700" y="747"/>
                  <a:pt x="700" y="747"/>
                </a:cubicBezTo>
                <a:cubicBezTo>
                  <a:pt x="698" y="748"/>
                  <a:pt x="698" y="748"/>
                  <a:pt x="698" y="748"/>
                </a:cubicBezTo>
                <a:cubicBezTo>
                  <a:pt x="698" y="750"/>
                  <a:pt x="698" y="750"/>
                  <a:pt x="698" y="750"/>
                </a:cubicBezTo>
                <a:cubicBezTo>
                  <a:pt x="697" y="751"/>
                  <a:pt x="697" y="751"/>
                  <a:pt x="697" y="751"/>
                </a:cubicBezTo>
                <a:cubicBezTo>
                  <a:pt x="697" y="752"/>
                  <a:pt x="697" y="752"/>
                  <a:pt x="697" y="752"/>
                </a:cubicBezTo>
                <a:cubicBezTo>
                  <a:pt x="700" y="754"/>
                  <a:pt x="700" y="754"/>
                  <a:pt x="700" y="754"/>
                </a:cubicBezTo>
                <a:cubicBezTo>
                  <a:pt x="700" y="756"/>
                  <a:pt x="700" y="756"/>
                  <a:pt x="700" y="756"/>
                </a:cubicBezTo>
                <a:cubicBezTo>
                  <a:pt x="700" y="758"/>
                  <a:pt x="700" y="758"/>
                  <a:pt x="700" y="758"/>
                </a:cubicBezTo>
                <a:cubicBezTo>
                  <a:pt x="701" y="759"/>
                  <a:pt x="701" y="759"/>
                  <a:pt x="701" y="759"/>
                </a:cubicBezTo>
                <a:cubicBezTo>
                  <a:pt x="702" y="759"/>
                  <a:pt x="702" y="759"/>
                  <a:pt x="702" y="759"/>
                </a:cubicBezTo>
                <a:cubicBezTo>
                  <a:pt x="703" y="761"/>
                  <a:pt x="703" y="761"/>
                  <a:pt x="703" y="761"/>
                </a:cubicBezTo>
                <a:cubicBezTo>
                  <a:pt x="703" y="762"/>
                  <a:pt x="703" y="762"/>
                  <a:pt x="703" y="762"/>
                </a:cubicBezTo>
                <a:cubicBezTo>
                  <a:pt x="705" y="764"/>
                  <a:pt x="705" y="764"/>
                  <a:pt x="705" y="764"/>
                </a:cubicBezTo>
                <a:cubicBezTo>
                  <a:pt x="704" y="765"/>
                  <a:pt x="704" y="765"/>
                  <a:pt x="704" y="765"/>
                </a:cubicBezTo>
                <a:cubicBezTo>
                  <a:pt x="706" y="765"/>
                  <a:pt x="706" y="765"/>
                  <a:pt x="706" y="765"/>
                </a:cubicBezTo>
                <a:cubicBezTo>
                  <a:pt x="707" y="767"/>
                  <a:pt x="707" y="767"/>
                  <a:pt x="707" y="767"/>
                </a:cubicBezTo>
                <a:cubicBezTo>
                  <a:pt x="709" y="767"/>
                  <a:pt x="709" y="767"/>
                  <a:pt x="709" y="767"/>
                </a:cubicBezTo>
                <a:cubicBezTo>
                  <a:pt x="711" y="766"/>
                  <a:pt x="711" y="766"/>
                  <a:pt x="711" y="766"/>
                </a:cubicBezTo>
                <a:cubicBezTo>
                  <a:pt x="713" y="766"/>
                  <a:pt x="713" y="766"/>
                  <a:pt x="713" y="766"/>
                </a:cubicBezTo>
                <a:cubicBezTo>
                  <a:pt x="713" y="763"/>
                  <a:pt x="713" y="763"/>
                  <a:pt x="713" y="763"/>
                </a:cubicBezTo>
                <a:cubicBezTo>
                  <a:pt x="714" y="762"/>
                  <a:pt x="714" y="762"/>
                  <a:pt x="714" y="762"/>
                </a:cubicBezTo>
                <a:cubicBezTo>
                  <a:pt x="715" y="759"/>
                  <a:pt x="715" y="759"/>
                  <a:pt x="715" y="759"/>
                </a:cubicBezTo>
                <a:cubicBezTo>
                  <a:pt x="717" y="756"/>
                  <a:pt x="717" y="756"/>
                  <a:pt x="717" y="756"/>
                </a:cubicBezTo>
                <a:cubicBezTo>
                  <a:pt x="717" y="754"/>
                  <a:pt x="717" y="754"/>
                  <a:pt x="717" y="754"/>
                </a:cubicBezTo>
                <a:cubicBezTo>
                  <a:pt x="717" y="753"/>
                  <a:pt x="717" y="753"/>
                  <a:pt x="717" y="753"/>
                </a:cubicBezTo>
                <a:cubicBezTo>
                  <a:pt x="718" y="749"/>
                  <a:pt x="718" y="749"/>
                  <a:pt x="718" y="749"/>
                </a:cubicBezTo>
                <a:cubicBezTo>
                  <a:pt x="717" y="749"/>
                  <a:pt x="717" y="749"/>
                  <a:pt x="717" y="749"/>
                </a:cubicBezTo>
                <a:cubicBezTo>
                  <a:pt x="718" y="747"/>
                  <a:pt x="718" y="747"/>
                  <a:pt x="718" y="747"/>
                </a:cubicBezTo>
                <a:cubicBezTo>
                  <a:pt x="718" y="744"/>
                  <a:pt x="718" y="744"/>
                  <a:pt x="718" y="744"/>
                </a:cubicBezTo>
                <a:cubicBezTo>
                  <a:pt x="715" y="743"/>
                  <a:pt x="715" y="743"/>
                  <a:pt x="715" y="743"/>
                </a:cubicBezTo>
                <a:cubicBezTo>
                  <a:pt x="714" y="737"/>
                  <a:pt x="714" y="737"/>
                  <a:pt x="714" y="737"/>
                </a:cubicBezTo>
                <a:cubicBezTo>
                  <a:pt x="714" y="736"/>
                  <a:pt x="714" y="736"/>
                  <a:pt x="714" y="736"/>
                </a:cubicBezTo>
                <a:cubicBezTo>
                  <a:pt x="714" y="732"/>
                  <a:pt x="714" y="732"/>
                  <a:pt x="714" y="732"/>
                </a:cubicBezTo>
                <a:cubicBezTo>
                  <a:pt x="715" y="730"/>
                  <a:pt x="715" y="730"/>
                  <a:pt x="715" y="730"/>
                </a:cubicBezTo>
                <a:cubicBezTo>
                  <a:pt x="714" y="728"/>
                  <a:pt x="714" y="728"/>
                  <a:pt x="714" y="728"/>
                </a:cubicBezTo>
                <a:cubicBezTo>
                  <a:pt x="713" y="727"/>
                  <a:pt x="713" y="727"/>
                  <a:pt x="713" y="727"/>
                </a:cubicBezTo>
                <a:cubicBezTo>
                  <a:pt x="712" y="722"/>
                  <a:pt x="712" y="722"/>
                  <a:pt x="712" y="722"/>
                </a:cubicBezTo>
                <a:cubicBezTo>
                  <a:pt x="711" y="720"/>
                  <a:pt x="711" y="720"/>
                  <a:pt x="711" y="720"/>
                </a:cubicBezTo>
                <a:cubicBezTo>
                  <a:pt x="710" y="716"/>
                  <a:pt x="710" y="716"/>
                  <a:pt x="710" y="716"/>
                </a:cubicBezTo>
                <a:cubicBezTo>
                  <a:pt x="709" y="713"/>
                  <a:pt x="709" y="713"/>
                  <a:pt x="709" y="713"/>
                </a:cubicBezTo>
                <a:cubicBezTo>
                  <a:pt x="710" y="708"/>
                  <a:pt x="710" y="708"/>
                  <a:pt x="710" y="708"/>
                </a:cubicBezTo>
                <a:cubicBezTo>
                  <a:pt x="710" y="706"/>
                  <a:pt x="710" y="706"/>
                  <a:pt x="710" y="706"/>
                </a:cubicBezTo>
                <a:cubicBezTo>
                  <a:pt x="710" y="699"/>
                  <a:pt x="710" y="699"/>
                  <a:pt x="710" y="699"/>
                </a:cubicBezTo>
                <a:cubicBezTo>
                  <a:pt x="710" y="696"/>
                  <a:pt x="710" y="696"/>
                  <a:pt x="710" y="696"/>
                </a:cubicBezTo>
                <a:cubicBezTo>
                  <a:pt x="712" y="693"/>
                  <a:pt x="712" y="693"/>
                  <a:pt x="712" y="693"/>
                </a:cubicBezTo>
                <a:cubicBezTo>
                  <a:pt x="713" y="690"/>
                  <a:pt x="713" y="690"/>
                  <a:pt x="713" y="690"/>
                </a:cubicBezTo>
                <a:cubicBezTo>
                  <a:pt x="715" y="690"/>
                  <a:pt x="715" y="690"/>
                  <a:pt x="715" y="690"/>
                </a:cubicBezTo>
                <a:cubicBezTo>
                  <a:pt x="716" y="688"/>
                  <a:pt x="716" y="688"/>
                  <a:pt x="716" y="688"/>
                </a:cubicBezTo>
                <a:cubicBezTo>
                  <a:pt x="717" y="688"/>
                  <a:pt x="717" y="688"/>
                  <a:pt x="717" y="688"/>
                </a:cubicBezTo>
                <a:cubicBezTo>
                  <a:pt x="718" y="686"/>
                  <a:pt x="718" y="686"/>
                  <a:pt x="718" y="686"/>
                </a:cubicBezTo>
                <a:cubicBezTo>
                  <a:pt x="718" y="685"/>
                  <a:pt x="718" y="685"/>
                  <a:pt x="718" y="685"/>
                </a:cubicBezTo>
                <a:cubicBezTo>
                  <a:pt x="718" y="684"/>
                  <a:pt x="718" y="684"/>
                  <a:pt x="718" y="684"/>
                </a:cubicBezTo>
                <a:cubicBezTo>
                  <a:pt x="718" y="684"/>
                  <a:pt x="718" y="684"/>
                  <a:pt x="718" y="684"/>
                </a:cubicBezTo>
                <a:cubicBezTo>
                  <a:pt x="721" y="684"/>
                  <a:pt x="721" y="684"/>
                  <a:pt x="721" y="684"/>
                </a:cubicBezTo>
                <a:cubicBezTo>
                  <a:pt x="721" y="682"/>
                  <a:pt x="721" y="682"/>
                  <a:pt x="721" y="682"/>
                </a:cubicBezTo>
                <a:cubicBezTo>
                  <a:pt x="723" y="682"/>
                  <a:pt x="723" y="682"/>
                  <a:pt x="723" y="682"/>
                </a:cubicBezTo>
                <a:cubicBezTo>
                  <a:pt x="723" y="681"/>
                  <a:pt x="723" y="681"/>
                  <a:pt x="723" y="681"/>
                </a:cubicBezTo>
                <a:cubicBezTo>
                  <a:pt x="727" y="681"/>
                  <a:pt x="727" y="681"/>
                  <a:pt x="727" y="681"/>
                </a:cubicBezTo>
                <a:cubicBezTo>
                  <a:pt x="728" y="680"/>
                  <a:pt x="728" y="680"/>
                  <a:pt x="728" y="680"/>
                </a:cubicBezTo>
                <a:cubicBezTo>
                  <a:pt x="730" y="680"/>
                  <a:pt x="730" y="680"/>
                  <a:pt x="730" y="680"/>
                </a:cubicBezTo>
                <a:cubicBezTo>
                  <a:pt x="730" y="679"/>
                  <a:pt x="730" y="679"/>
                  <a:pt x="730" y="679"/>
                </a:cubicBezTo>
                <a:cubicBezTo>
                  <a:pt x="731" y="679"/>
                  <a:pt x="731" y="679"/>
                  <a:pt x="731" y="679"/>
                </a:cubicBezTo>
                <a:cubicBezTo>
                  <a:pt x="733" y="679"/>
                  <a:pt x="733" y="679"/>
                  <a:pt x="733" y="679"/>
                </a:cubicBezTo>
                <a:cubicBezTo>
                  <a:pt x="734" y="677"/>
                  <a:pt x="734" y="677"/>
                  <a:pt x="734" y="677"/>
                </a:cubicBezTo>
                <a:cubicBezTo>
                  <a:pt x="734" y="676"/>
                  <a:pt x="734" y="676"/>
                  <a:pt x="734" y="676"/>
                </a:cubicBezTo>
                <a:cubicBezTo>
                  <a:pt x="735" y="676"/>
                  <a:pt x="735" y="676"/>
                  <a:pt x="735" y="676"/>
                </a:cubicBezTo>
                <a:cubicBezTo>
                  <a:pt x="737" y="674"/>
                  <a:pt x="737" y="674"/>
                  <a:pt x="737" y="674"/>
                </a:cubicBezTo>
                <a:cubicBezTo>
                  <a:pt x="737" y="673"/>
                  <a:pt x="737" y="673"/>
                  <a:pt x="737" y="673"/>
                </a:cubicBezTo>
                <a:cubicBezTo>
                  <a:pt x="741" y="668"/>
                  <a:pt x="741" y="668"/>
                  <a:pt x="741" y="668"/>
                </a:cubicBezTo>
                <a:cubicBezTo>
                  <a:pt x="743" y="667"/>
                  <a:pt x="743" y="667"/>
                  <a:pt x="743" y="667"/>
                </a:cubicBezTo>
                <a:cubicBezTo>
                  <a:pt x="746" y="666"/>
                  <a:pt x="746" y="666"/>
                  <a:pt x="746" y="666"/>
                </a:cubicBezTo>
                <a:cubicBezTo>
                  <a:pt x="747" y="667"/>
                  <a:pt x="747" y="667"/>
                  <a:pt x="747" y="667"/>
                </a:cubicBezTo>
                <a:cubicBezTo>
                  <a:pt x="748" y="667"/>
                  <a:pt x="748" y="667"/>
                  <a:pt x="748" y="667"/>
                </a:cubicBezTo>
                <a:cubicBezTo>
                  <a:pt x="749" y="664"/>
                  <a:pt x="749" y="664"/>
                  <a:pt x="749" y="664"/>
                </a:cubicBezTo>
                <a:cubicBezTo>
                  <a:pt x="754" y="659"/>
                  <a:pt x="754" y="659"/>
                  <a:pt x="754" y="659"/>
                </a:cubicBezTo>
                <a:cubicBezTo>
                  <a:pt x="759" y="657"/>
                  <a:pt x="759" y="657"/>
                  <a:pt x="759" y="657"/>
                </a:cubicBezTo>
                <a:cubicBezTo>
                  <a:pt x="762" y="656"/>
                  <a:pt x="762" y="656"/>
                  <a:pt x="762" y="656"/>
                </a:cubicBezTo>
                <a:cubicBezTo>
                  <a:pt x="762" y="656"/>
                  <a:pt x="762" y="656"/>
                  <a:pt x="762" y="656"/>
                </a:cubicBezTo>
                <a:cubicBezTo>
                  <a:pt x="764" y="656"/>
                  <a:pt x="764" y="656"/>
                  <a:pt x="764" y="656"/>
                </a:cubicBezTo>
                <a:cubicBezTo>
                  <a:pt x="764" y="656"/>
                  <a:pt x="764" y="656"/>
                  <a:pt x="764" y="656"/>
                </a:cubicBezTo>
                <a:cubicBezTo>
                  <a:pt x="765" y="656"/>
                  <a:pt x="765" y="656"/>
                  <a:pt x="765" y="656"/>
                </a:cubicBezTo>
                <a:cubicBezTo>
                  <a:pt x="767" y="654"/>
                  <a:pt x="767" y="654"/>
                  <a:pt x="767" y="654"/>
                </a:cubicBezTo>
                <a:cubicBezTo>
                  <a:pt x="767" y="654"/>
                  <a:pt x="767" y="654"/>
                  <a:pt x="767" y="654"/>
                </a:cubicBezTo>
                <a:cubicBezTo>
                  <a:pt x="766" y="653"/>
                  <a:pt x="766" y="653"/>
                  <a:pt x="766" y="653"/>
                </a:cubicBezTo>
                <a:cubicBezTo>
                  <a:pt x="764" y="655"/>
                  <a:pt x="764" y="655"/>
                  <a:pt x="764" y="655"/>
                </a:cubicBezTo>
                <a:cubicBezTo>
                  <a:pt x="762" y="654"/>
                  <a:pt x="762" y="654"/>
                  <a:pt x="762" y="654"/>
                </a:cubicBezTo>
                <a:cubicBezTo>
                  <a:pt x="760" y="653"/>
                  <a:pt x="760" y="653"/>
                  <a:pt x="760" y="653"/>
                </a:cubicBezTo>
                <a:cubicBezTo>
                  <a:pt x="762" y="654"/>
                  <a:pt x="762" y="654"/>
                  <a:pt x="762" y="654"/>
                </a:cubicBezTo>
                <a:cubicBezTo>
                  <a:pt x="765" y="653"/>
                  <a:pt x="765" y="653"/>
                  <a:pt x="765" y="653"/>
                </a:cubicBezTo>
                <a:cubicBezTo>
                  <a:pt x="764" y="652"/>
                  <a:pt x="764" y="652"/>
                  <a:pt x="764" y="652"/>
                </a:cubicBezTo>
                <a:cubicBezTo>
                  <a:pt x="765" y="651"/>
                  <a:pt x="765" y="651"/>
                  <a:pt x="765" y="651"/>
                </a:cubicBezTo>
                <a:cubicBezTo>
                  <a:pt x="765" y="650"/>
                  <a:pt x="765" y="650"/>
                  <a:pt x="765" y="650"/>
                </a:cubicBezTo>
                <a:cubicBezTo>
                  <a:pt x="762" y="650"/>
                  <a:pt x="762" y="650"/>
                  <a:pt x="762" y="650"/>
                </a:cubicBezTo>
                <a:cubicBezTo>
                  <a:pt x="761" y="648"/>
                  <a:pt x="761" y="648"/>
                  <a:pt x="761" y="648"/>
                </a:cubicBezTo>
                <a:cubicBezTo>
                  <a:pt x="763" y="648"/>
                  <a:pt x="763" y="648"/>
                  <a:pt x="763" y="648"/>
                </a:cubicBezTo>
                <a:cubicBezTo>
                  <a:pt x="764" y="649"/>
                  <a:pt x="764" y="649"/>
                  <a:pt x="764" y="649"/>
                </a:cubicBezTo>
                <a:cubicBezTo>
                  <a:pt x="765" y="648"/>
                  <a:pt x="765" y="648"/>
                  <a:pt x="765" y="648"/>
                </a:cubicBezTo>
                <a:cubicBezTo>
                  <a:pt x="766" y="647"/>
                  <a:pt x="766" y="647"/>
                  <a:pt x="766" y="647"/>
                </a:cubicBezTo>
                <a:cubicBezTo>
                  <a:pt x="766" y="649"/>
                  <a:pt x="766" y="649"/>
                  <a:pt x="766" y="649"/>
                </a:cubicBezTo>
                <a:cubicBezTo>
                  <a:pt x="768" y="649"/>
                  <a:pt x="768" y="649"/>
                  <a:pt x="768" y="649"/>
                </a:cubicBezTo>
                <a:cubicBezTo>
                  <a:pt x="769" y="650"/>
                  <a:pt x="769" y="650"/>
                  <a:pt x="769" y="650"/>
                </a:cubicBezTo>
                <a:cubicBezTo>
                  <a:pt x="770" y="649"/>
                  <a:pt x="770" y="649"/>
                  <a:pt x="770" y="649"/>
                </a:cubicBezTo>
                <a:cubicBezTo>
                  <a:pt x="771" y="648"/>
                  <a:pt x="771" y="648"/>
                  <a:pt x="771" y="648"/>
                </a:cubicBezTo>
                <a:cubicBezTo>
                  <a:pt x="773" y="646"/>
                  <a:pt x="773" y="646"/>
                  <a:pt x="773" y="646"/>
                </a:cubicBezTo>
                <a:cubicBezTo>
                  <a:pt x="774" y="646"/>
                  <a:pt x="774" y="646"/>
                  <a:pt x="774" y="646"/>
                </a:cubicBezTo>
                <a:cubicBezTo>
                  <a:pt x="774" y="644"/>
                  <a:pt x="774" y="644"/>
                  <a:pt x="774" y="644"/>
                </a:cubicBezTo>
                <a:cubicBezTo>
                  <a:pt x="773" y="642"/>
                  <a:pt x="773" y="642"/>
                  <a:pt x="773" y="642"/>
                </a:cubicBezTo>
                <a:cubicBezTo>
                  <a:pt x="773" y="642"/>
                  <a:pt x="773" y="642"/>
                  <a:pt x="773" y="642"/>
                </a:cubicBezTo>
                <a:cubicBezTo>
                  <a:pt x="772" y="644"/>
                  <a:pt x="772" y="644"/>
                  <a:pt x="772" y="644"/>
                </a:cubicBezTo>
                <a:cubicBezTo>
                  <a:pt x="772" y="645"/>
                  <a:pt x="772" y="645"/>
                  <a:pt x="772" y="645"/>
                </a:cubicBezTo>
                <a:cubicBezTo>
                  <a:pt x="771" y="645"/>
                  <a:pt x="771" y="645"/>
                  <a:pt x="771" y="645"/>
                </a:cubicBezTo>
                <a:cubicBezTo>
                  <a:pt x="770" y="642"/>
                  <a:pt x="770" y="642"/>
                  <a:pt x="770" y="642"/>
                </a:cubicBezTo>
                <a:cubicBezTo>
                  <a:pt x="770" y="642"/>
                  <a:pt x="770" y="642"/>
                  <a:pt x="770" y="642"/>
                </a:cubicBezTo>
                <a:cubicBezTo>
                  <a:pt x="765" y="642"/>
                  <a:pt x="765" y="642"/>
                  <a:pt x="765" y="642"/>
                </a:cubicBezTo>
                <a:cubicBezTo>
                  <a:pt x="763" y="643"/>
                  <a:pt x="763" y="643"/>
                  <a:pt x="763" y="643"/>
                </a:cubicBezTo>
                <a:cubicBezTo>
                  <a:pt x="764" y="642"/>
                  <a:pt x="764" y="642"/>
                  <a:pt x="764" y="642"/>
                </a:cubicBezTo>
                <a:cubicBezTo>
                  <a:pt x="764" y="639"/>
                  <a:pt x="764" y="639"/>
                  <a:pt x="764" y="639"/>
                </a:cubicBezTo>
                <a:cubicBezTo>
                  <a:pt x="765" y="638"/>
                  <a:pt x="765" y="638"/>
                  <a:pt x="765" y="638"/>
                </a:cubicBezTo>
                <a:cubicBezTo>
                  <a:pt x="766" y="640"/>
                  <a:pt x="766" y="640"/>
                  <a:pt x="766" y="640"/>
                </a:cubicBezTo>
                <a:cubicBezTo>
                  <a:pt x="767" y="641"/>
                  <a:pt x="767" y="641"/>
                  <a:pt x="767" y="641"/>
                </a:cubicBezTo>
                <a:cubicBezTo>
                  <a:pt x="768" y="640"/>
                  <a:pt x="768" y="640"/>
                  <a:pt x="768" y="640"/>
                </a:cubicBezTo>
                <a:cubicBezTo>
                  <a:pt x="771" y="639"/>
                  <a:pt x="771" y="639"/>
                  <a:pt x="771" y="639"/>
                </a:cubicBezTo>
                <a:cubicBezTo>
                  <a:pt x="771" y="638"/>
                  <a:pt x="771" y="638"/>
                  <a:pt x="771" y="638"/>
                </a:cubicBezTo>
                <a:cubicBezTo>
                  <a:pt x="772" y="638"/>
                  <a:pt x="772" y="638"/>
                  <a:pt x="772" y="638"/>
                </a:cubicBezTo>
                <a:cubicBezTo>
                  <a:pt x="773" y="637"/>
                  <a:pt x="773" y="637"/>
                  <a:pt x="773" y="637"/>
                </a:cubicBezTo>
                <a:cubicBezTo>
                  <a:pt x="773" y="635"/>
                  <a:pt x="773" y="635"/>
                  <a:pt x="773" y="635"/>
                </a:cubicBezTo>
                <a:cubicBezTo>
                  <a:pt x="772" y="634"/>
                  <a:pt x="772" y="634"/>
                  <a:pt x="772" y="634"/>
                </a:cubicBezTo>
                <a:cubicBezTo>
                  <a:pt x="772" y="633"/>
                  <a:pt x="772" y="633"/>
                  <a:pt x="772" y="633"/>
                </a:cubicBezTo>
                <a:cubicBezTo>
                  <a:pt x="773" y="634"/>
                  <a:pt x="773" y="634"/>
                  <a:pt x="773" y="634"/>
                </a:cubicBezTo>
                <a:cubicBezTo>
                  <a:pt x="774" y="632"/>
                  <a:pt x="774" y="632"/>
                  <a:pt x="774" y="632"/>
                </a:cubicBezTo>
                <a:cubicBezTo>
                  <a:pt x="773" y="630"/>
                  <a:pt x="773" y="630"/>
                  <a:pt x="773" y="630"/>
                </a:cubicBezTo>
                <a:cubicBezTo>
                  <a:pt x="772" y="629"/>
                  <a:pt x="772" y="629"/>
                  <a:pt x="772" y="629"/>
                </a:cubicBezTo>
                <a:cubicBezTo>
                  <a:pt x="771" y="630"/>
                  <a:pt x="771" y="630"/>
                  <a:pt x="771" y="630"/>
                </a:cubicBezTo>
                <a:cubicBezTo>
                  <a:pt x="769" y="629"/>
                  <a:pt x="769" y="629"/>
                  <a:pt x="769" y="629"/>
                </a:cubicBezTo>
                <a:cubicBezTo>
                  <a:pt x="768" y="627"/>
                  <a:pt x="768" y="627"/>
                  <a:pt x="768" y="627"/>
                </a:cubicBezTo>
                <a:cubicBezTo>
                  <a:pt x="767" y="627"/>
                  <a:pt x="767" y="627"/>
                  <a:pt x="767" y="627"/>
                </a:cubicBezTo>
                <a:cubicBezTo>
                  <a:pt x="765" y="626"/>
                  <a:pt x="765" y="626"/>
                  <a:pt x="765" y="626"/>
                </a:cubicBezTo>
                <a:cubicBezTo>
                  <a:pt x="764" y="624"/>
                  <a:pt x="764" y="624"/>
                  <a:pt x="764" y="624"/>
                </a:cubicBezTo>
                <a:cubicBezTo>
                  <a:pt x="766" y="625"/>
                  <a:pt x="766" y="625"/>
                  <a:pt x="766" y="625"/>
                </a:cubicBezTo>
                <a:cubicBezTo>
                  <a:pt x="768" y="625"/>
                  <a:pt x="768" y="625"/>
                  <a:pt x="768" y="625"/>
                </a:cubicBezTo>
                <a:cubicBezTo>
                  <a:pt x="769" y="627"/>
                  <a:pt x="769" y="627"/>
                  <a:pt x="769" y="627"/>
                </a:cubicBezTo>
                <a:cubicBezTo>
                  <a:pt x="770" y="628"/>
                  <a:pt x="770" y="628"/>
                  <a:pt x="770" y="628"/>
                </a:cubicBezTo>
                <a:cubicBezTo>
                  <a:pt x="771" y="626"/>
                  <a:pt x="771" y="626"/>
                  <a:pt x="771" y="626"/>
                </a:cubicBezTo>
                <a:cubicBezTo>
                  <a:pt x="769" y="624"/>
                  <a:pt x="769" y="624"/>
                  <a:pt x="769" y="624"/>
                </a:cubicBezTo>
                <a:cubicBezTo>
                  <a:pt x="771" y="625"/>
                  <a:pt x="771" y="625"/>
                  <a:pt x="771" y="625"/>
                </a:cubicBezTo>
                <a:cubicBezTo>
                  <a:pt x="771" y="624"/>
                  <a:pt x="771" y="624"/>
                  <a:pt x="771" y="624"/>
                </a:cubicBezTo>
                <a:cubicBezTo>
                  <a:pt x="772" y="623"/>
                  <a:pt x="772" y="623"/>
                  <a:pt x="772" y="623"/>
                </a:cubicBezTo>
                <a:cubicBezTo>
                  <a:pt x="771" y="622"/>
                  <a:pt x="771" y="622"/>
                  <a:pt x="771" y="622"/>
                </a:cubicBezTo>
                <a:cubicBezTo>
                  <a:pt x="769" y="620"/>
                  <a:pt x="769" y="620"/>
                  <a:pt x="769" y="620"/>
                </a:cubicBezTo>
                <a:cubicBezTo>
                  <a:pt x="768" y="618"/>
                  <a:pt x="768" y="618"/>
                  <a:pt x="768" y="618"/>
                </a:cubicBezTo>
                <a:cubicBezTo>
                  <a:pt x="769" y="618"/>
                  <a:pt x="769" y="618"/>
                  <a:pt x="769" y="618"/>
                </a:cubicBezTo>
                <a:cubicBezTo>
                  <a:pt x="770" y="620"/>
                  <a:pt x="770" y="620"/>
                  <a:pt x="770" y="620"/>
                </a:cubicBezTo>
                <a:cubicBezTo>
                  <a:pt x="771" y="620"/>
                  <a:pt x="771" y="620"/>
                  <a:pt x="771" y="620"/>
                </a:cubicBezTo>
                <a:cubicBezTo>
                  <a:pt x="772" y="618"/>
                  <a:pt x="772" y="618"/>
                  <a:pt x="772" y="618"/>
                </a:cubicBezTo>
                <a:cubicBezTo>
                  <a:pt x="771" y="616"/>
                  <a:pt x="771" y="616"/>
                  <a:pt x="771" y="616"/>
                </a:cubicBezTo>
                <a:cubicBezTo>
                  <a:pt x="770" y="615"/>
                  <a:pt x="770" y="615"/>
                  <a:pt x="770" y="615"/>
                </a:cubicBezTo>
                <a:cubicBezTo>
                  <a:pt x="768" y="613"/>
                  <a:pt x="768" y="613"/>
                  <a:pt x="768" y="613"/>
                </a:cubicBezTo>
                <a:cubicBezTo>
                  <a:pt x="765" y="612"/>
                  <a:pt x="765" y="612"/>
                  <a:pt x="765" y="612"/>
                </a:cubicBezTo>
                <a:cubicBezTo>
                  <a:pt x="764" y="610"/>
                  <a:pt x="764" y="610"/>
                  <a:pt x="764" y="610"/>
                </a:cubicBezTo>
                <a:cubicBezTo>
                  <a:pt x="763" y="609"/>
                  <a:pt x="763" y="609"/>
                  <a:pt x="763" y="609"/>
                </a:cubicBezTo>
                <a:cubicBezTo>
                  <a:pt x="763" y="607"/>
                  <a:pt x="763" y="607"/>
                  <a:pt x="763" y="607"/>
                </a:cubicBezTo>
                <a:cubicBezTo>
                  <a:pt x="764" y="605"/>
                  <a:pt x="764" y="605"/>
                  <a:pt x="764" y="605"/>
                </a:cubicBezTo>
                <a:cubicBezTo>
                  <a:pt x="763" y="608"/>
                  <a:pt x="763" y="608"/>
                  <a:pt x="763" y="608"/>
                </a:cubicBezTo>
                <a:cubicBezTo>
                  <a:pt x="764" y="609"/>
                  <a:pt x="764" y="609"/>
                  <a:pt x="764" y="609"/>
                </a:cubicBezTo>
                <a:cubicBezTo>
                  <a:pt x="765" y="609"/>
                  <a:pt x="765" y="609"/>
                  <a:pt x="765" y="609"/>
                </a:cubicBezTo>
                <a:cubicBezTo>
                  <a:pt x="766" y="611"/>
                  <a:pt x="766" y="611"/>
                  <a:pt x="766" y="611"/>
                </a:cubicBezTo>
                <a:cubicBezTo>
                  <a:pt x="768" y="611"/>
                  <a:pt x="768" y="611"/>
                  <a:pt x="768" y="611"/>
                </a:cubicBezTo>
                <a:cubicBezTo>
                  <a:pt x="770" y="614"/>
                  <a:pt x="770" y="614"/>
                  <a:pt x="770" y="614"/>
                </a:cubicBezTo>
                <a:cubicBezTo>
                  <a:pt x="771" y="614"/>
                  <a:pt x="771" y="614"/>
                  <a:pt x="771" y="614"/>
                </a:cubicBezTo>
                <a:cubicBezTo>
                  <a:pt x="771" y="610"/>
                  <a:pt x="771" y="610"/>
                  <a:pt x="771" y="610"/>
                </a:cubicBezTo>
                <a:cubicBezTo>
                  <a:pt x="771" y="608"/>
                  <a:pt x="771" y="608"/>
                  <a:pt x="771" y="608"/>
                </a:cubicBezTo>
                <a:cubicBezTo>
                  <a:pt x="771" y="607"/>
                  <a:pt x="771" y="607"/>
                  <a:pt x="771" y="607"/>
                </a:cubicBezTo>
                <a:cubicBezTo>
                  <a:pt x="771" y="605"/>
                  <a:pt x="771" y="605"/>
                  <a:pt x="771" y="605"/>
                </a:cubicBezTo>
                <a:cubicBezTo>
                  <a:pt x="771" y="603"/>
                  <a:pt x="771" y="603"/>
                  <a:pt x="771" y="603"/>
                </a:cubicBezTo>
                <a:cubicBezTo>
                  <a:pt x="771" y="601"/>
                  <a:pt x="771" y="601"/>
                  <a:pt x="771" y="601"/>
                </a:cubicBezTo>
                <a:cubicBezTo>
                  <a:pt x="770" y="600"/>
                  <a:pt x="770" y="600"/>
                  <a:pt x="770" y="600"/>
                </a:cubicBezTo>
                <a:cubicBezTo>
                  <a:pt x="771" y="600"/>
                  <a:pt x="771" y="600"/>
                  <a:pt x="771" y="600"/>
                </a:cubicBezTo>
                <a:cubicBezTo>
                  <a:pt x="773" y="599"/>
                  <a:pt x="773" y="599"/>
                  <a:pt x="773" y="599"/>
                </a:cubicBezTo>
                <a:cubicBezTo>
                  <a:pt x="775" y="597"/>
                  <a:pt x="775" y="597"/>
                  <a:pt x="775" y="597"/>
                </a:cubicBezTo>
                <a:cubicBezTo>
                  <a:pt x="775" y="596"/>
                  <a:pt x="775" y="596"/>
                  <a:pt x="775" y="596"/>
                </a:cubicBezTo>
                <a:cubicBezTo>
                  <a:pt x="775" y="595"/>
                  <a:pt x="775" y="595"/>
                  <a:pt x="775" y="595"/>
                </a:cubicBezTo>
                <a:cubicBezTo>
                  <a:pt x="776" y="596"/>
                  <a:pt x="776" y="596"/>
                  <a:pt x="776" y="596"/>
                </a:cubicBezTo>
                <a:cubicBezTo>
                  <a:pt x="775" y="598"/>
                  <a:pt x="775" y="598"/>
                  <a:pt x="775" y="598"/>
                </a:cubicBezTo>
                <a:cubicBezTo>
                  <a:pt x="776" y="598"/>
                  <a:pt x="776" y="598"/>
                  <a:pt x="776" y="598"/>
                </a:cubicBezTo>
                <a:cubicBezTo>
                  <a:pt x="774" y="599"/>
                  <a:pt x="774" y="599"/>
                  <a:pt x="774" y="599"/>
                </a:cubicBezTo>
                <a:cubicBezTo>
                  <a:pt x="773" y="602"/>
                  <a:pt x="773" y="602"/>
                  <a:pt x="773" y="602"/>
                </a:cubicBezTo>
                <a:cubicBezTo>
                  <a:pt x="774" y="604"/>
                  <a:pt x="774" y="604"/>
                  <a:pt x="774" y="604"/>
                </a:cubicBezTo>
                <a:cubicBezTo>
                  <a:pt x="774" y="607"/>
                  <a:pt x="774" y="607"/>
                  <a:pt x="774" y="607"/>
                </a:cubicBezTo>
                <a:cubicBezTo>
                  <a:pt x="773" y="609"/>
                  <a:pt x="773" y="609"/>
                  <a:pt x="773" y="609"/>
                </a:cubicBezTo>
                <a:cubicBezTo>
                  <a:pt x="773" y="611"/>
                  <a:pt x="773" y="611"/>
                  <a:pt x="773" y="611"/>
                </a:cubicBezTo>
                <a:cubicBezTo>
                  <a:pt x="774" y="613"/>
                  <a:pt x="774" y="613"/>
                  <a:pt x="774" y="613"/>
                </a:cubicBezTo>
                <a:cubicBezTo>
                  <a:pt x="775" y="612"/>
                  <a:pt x="775" y="612"/>
                  <a:pt x="775" y="612"/>
                </a:cubicBezTo>
                <a:cubicBezTo>
                  <a:pt x="775" y="613"/>
                  <a:pt x="775" y="613"/>
                  <a:pt x="775" y="613"/>
                </a:cubicBezTo>
                <a:cubicBezTo>
                  <a:pt x="776" y="613"/>
                  <a:pt x="776" y="613"/>
                  <a:pt x="776" y="613"/>
                </a:cubicBezTo>
                <a:cubicBezTo>
                  <a:pt x="776" y="614"/>
                  <a:pt x="776" y="614"/>
                  <a:pt x="776" y="614"/>
                </a:cubicBezTo>
                <a:cubicBezTo>
                  <a:pt x="776" y="614"/>
                  <a:pt x="776" y="614"/>
                  <a:pt x="776" y="614"/>
                </a:cubicBezTo>
                <a:cubicBezTo>
                  <a:pt x="776" y="616"/>
                  <a:pt x="776" y="616"/>
                  <a:pt x="776" y="616"/>
                </a:cubicBezTo>
                <a:cubicBezTo>
                  <a:pt x="779" y="616"/>
                  <a:pt x="779" y="616"/>
                  <a:pt x="779" y="616"/>
                </a:cubicBezTo>
                <a:cubicBezTo>
                  <a:pt x="777" y="617"/>
                  <a:pt x="777" y="617"/>
                  <a:pt x="777" y="617"/>
                </a:cubicBezTo>
                <a:cubicBezTo>
                  <a:pt x="777" y="617"/>
                  <a:pt x="777" y="617"/>
                  <a:pt x="777" y="617"/>
                </a:cubicBezTo>
                <a:cubicBezTo>
                  <a:pt x="776" y="619"/>
                  <a:pt x="776" y="619"/>
                  <a:pt x="776" y="619"/>
                </a:cubicBezTo>
                <a:cubicBezTo>
                  <a:pt x="776" y="620"/>
                  <a:pt x="776" y="620"/>
                  <a:pt x="776" y="620"/>
                </a:cubicBezTo>
                <a:cubicBezTo>
                  <a:pt x="775" y="622"/>
                  <a:pt x="775" y="622"/>
                  <a:pt x="775" y="622"/>
                </a:cubicBezTo>
                <a:cubicBezTo>
                  <a:pt x="775" y="624"/>
                  <a:pt x="775" y="624"/>
                  <a:pt x="775" y="624"/>
                </a:cubicBezTo>
                <a:cubicBezTo>
                  <a:pt x="775" y="626"/>
                  <a:pt x="775" y="626"/>
                  <a:pt x="775" y="626"/>
                </a:cubicBezTo>
                <a:cubicBezTo>
                  <a:pt x="775" y="626"/>
                  <a:pt x="775" y="626"/>
                  <a:pt x="775" y="626"/>
                </a:cubicBezTo>
                <a:cubicBezTo>
                  <a:pt x="776" y="625"/>
                  <a:pt x="776" y="625"/>
                  <a:pt x="776" y="625"/>
                </a:cubicBezTo>
                <a:cubicBezTo>
                  <a:pt x="778" y="621"/>
                  <a:pt x="778" y="621"/>
                  <a:pt x="778" y="621"/>
                </a:cubicBezTo>
                <a:cubicBezTo>
                  <a:pt x="778" y="622"/>
                  <a:pt x="778" y="622"/>
                  <a:pt x="778" y="622"/>
                </a:cubicBezTo>
                <a:cubicBezTo>
                  <a:pt x="778" y="622"/>
                  <a:pt x="778" y="622"/>
                  <a:pt x="778" y="622"/>
                </a:cubicBezTo>
                <a:cubicBezTo>
                  <a:pt x="779" y="622"/>
                  <a:pt x="779" y="622"/>
                  <a:pt x="779" y="622"/>
                </a:cubicBezTo>
                <a:cubicBezTo>
                  <a:pt x="779" y="620"/>
                  <a:pt x="779" y="620"/>
                  <a:pt x="779" y="620"/>
                </a:cubicBezTo>
                <a:cubicBezTo>
                  <a:pt x="780" y="618"/>
                  <a:pt x="780" y="618"/>
                  <a:pt x="780" y="618"/>
                </a:cubicBezTo>
                <a:cubicBezTo>
                  <a:pt x="781" y="614"/>
                  <a:pt x="781" y="614"/>
                  <a:pt x="781" y="614"/>
                </a:cubicBezTo>
                <a:cubicBezTo>
                  <a:pt x="784" y="613"/>
                  <a:pt x="784" y="613"/>
                  <a:pt x="784" y="613"/>
                </a:cubicBezTo>
                <a:cubicBezTo>
                  <a:pt x="785" y="609"/>
                  <a:pt x="785" y="609"/>
                  <a:pt x="785" y="609"/>
                </a:cubicBezTo>
                <a:cubicBezTo>
                  <a:pt x="785" y="607"/>
                  <a:pt x="785" y="607"/>
                  <a:pt x="785" y="607"/>
                </a:cubicBezTo>
                <a:cubicBezTo>
                  <a:pt x="784" y="603"/>
                  <a:pt x="784" y="603"/>
                  <a:pt x="784" y="603"/>
                </a:cubicBezTo>
                <a:cubicBezTo>
                  <a:pt x="783" y="602"/>
                  <a:pt x="783" y="602"/>
                  <a:pt x="783" y="602"/>
                </a:cubicBezTo>
                <a:cubicBezTo>
                  <a:pt x="783" y="600"/>
                  <a:pt x="783" y="600"/>
                  <a:pt x="783" y="600"/>
                </a:cubicBezTo>
                <a:cubicBezTo>
                  <a:pt x="782" y="599"/>
                  <a:pt x="782" y="599"/>
                  <a:pt x="782" y="599"/>
                </a:cubicBezTo>
                <a:cubicBezTo>
                  <a:pt x="782" y="597"/>
                  <a:pt x="782" y="597"/>
                  <a:pt x="782" y="597"/>
                </a:cubicBezTo>
                <a:cubicBezTo>
                  <a:pt x="783" y="595"/>
                  <a:pt x="783" y="595"/>
                  <a:pt x="783" y="595"/>
                </a:cubicBezTo>
                <a:cubicBezTo>
                  <a:pt x="784" y="593"/>
                  <a:pt x="784" y="593"/>
                  <a:pt x="784" y="593"/>
                </a:cubicBezTo>
                <a:cubicBezTo>
                  <a:pt x="787" y="592"/>
                  <a:pt x="787" y="592"/>
                  <a:pt x="787" y="592"/>
                </a:cubicBezTo>
                <a:cubicBezTo>
                  <a:pt x="783" y="595"/>
                  <a:pt x="783" y="595"/>
                  <a:pt x="783" y="595"/>
                </a:cubicBezTo>
                <a:cubicBezTo>
                  <a:pt x="783" y="597"/>
                  <a:pt x="783" y="597"/>
                  <a:pt x="783" y="597"/>
                </a:cubicBezTo>
                <a:cubicBezTo>
                  <a:pt x="784" y="598"/>
                  <a:pt x="784" y="598"/>
                  <a:pt x="784" y="598"/>
                </a:cubicBezTo>
                <a:cubicBezTo>
                  <a:pt x="786" y="601"/>
                  <a:pt x="786" y="601"/>
                  <a:pt x="786" y="601"/>
                </a:cubicBezTo>
                <a:cubicBezTo>
                  <a:pt x="787" y="600"/>
                  <a:pt x="787" y="600"/>
                  <a:pt x="787" y="600"/>
                </a:cubicBezTo>
                <a:cubicBezTo>
                  <a:pt x="788" y="601"/>
                  <a:pt x="788" y="601"/>
                  <a:pt x="788" y="601"/>
                </a:cubicBezTo>
                <a:cubicBezTo>
                  <a:pt x="787" y="604"/>
                  <a:pt x="787" y="604"/>
                  <a:pt x="787" y="604"/>
                </a:cubicBezTo>
                <a:cubicBezTo>
                  <a:pt x="789" y="603"/>
                  <a:pt x="789" y="603"/>
                  <a:pt x="789" y="603"/>
                </a:cubicBezTo>
                <a:cubicBezTo>
                  <a:pt x="789" y="603"/>
                  <a:pt x="789" y="603"/>
                  <a:pt x="789" y="603"/>
                </a:cubicBezTo>
                <a:cubicBezTo>
                  <a:pt x="790" y="601"/>
                  <a:pt x="790" y="601"/>
                  <a:pt x="790" y="601"/>
                </a:cubicBezTo>
                <a:cubicBezTo>
                  <a:pt x="791" y="600"/>
                  <a:pt x="791" y="600"/>
                  <a:pt x="791" y="600"/>
                </a:cubicBezTo>
                <a:cubicBezTo>
                  <a:pt x="791" y="600"/>
                  <a:pt x="791" y="600"/>
                  <a:pt x="791" y="600"/>
                </a:cubicBezTo>
                <a:cubicBezTo>
                  <a:pt x="792" y="599"/>
                  <a:pt x="792" y="599"/>
                  <a:pt x="792" y="599"/>
                </a:cubicBezTo>
                <a:cubicBezTo>
                  <a:pt x="794" y="599"/>
                  <a:pt x="794" y="599"/>
                  <a:pt x="794" y="599"/>
                </a:cubicBezTo>
                <a:cubicBezTo>
                  <a:pt x="795" y="595"/>
                  <a:pt x="795" y="595"/>
                  <a:pt x="795" y="595"/>
                </a:cubicBezTo>
                <a:cubicBezTo>
                  <a:pt x="795" y="594"/>
                  <a:pt x="795" y="594"/>
                  <a:pt x="795" y="594"/>
                </a:cubicBezTo>
                <a:cubicBezTo>
                  <a:pt x="796" y="594"/>
                  <a:pt x="796" y="594"/>
                  <a:pt x="796" y="594"/>
                </a:cubicBezTo>
                <a:cubicBezTo>
                  <a:pt x="797" y="592"/>
                  <a:pt x="797" y="592"/>
                  <a:pt x="797" y="592"/>
                </a:cubicBezTo>
                <a:cubicBezTo>
                  <a:pt x="798" y="591"/>
                  <a:pt x="798" y="591"/>
                  <a:pt x="798" y="591"/>
                </a:cubicBezTo>
                <a:cubicBezTo>
                  <a:pt x="798" y="590"/>
                  <a:pt x="798" y="590"/>
                  <a:pt x="798" y="590"/>
                </a:cubicBezTo>
                <a:cubicBezTo>
                  <a:pt x="799" y="588"/>
                  <a:pt x="799" y="588"/>
                  <a:pt x="799" y="588"/>
                </a:cubicBezTo>
                <a:cubicBezTo>
                  <a:pt x="798" y="587"/>
                  <a:pt x="798" y="587"/>
                  <a:pt x="798" y="587"/>
                </a:cubicBezTo>
                <a:cubicBezTo>
                  <a:pt x="800" y="586"/>
                  <a:pt x="800" y="586"/>
                  <a:pt x="800" y="586"/>
                </a:cubicBezTo>
                <a:cubicBezTo>
                  <a:pt x="799" y="585"/>
                  <a:pt x="799" y="585"/>
                  <a:pt x="799" y="585"/>
                </a:cubicBezTo>
                <a:cubicBezTo>
                  <a:pt x="798" y="584"/>
                  <a:pt x="798" y="584"/>
                  <a:pt x="798" y="584"/>
                </a:cubicBezTo>
                <a:cubicBezTo>
                  <a:pt x="797" y="582"/>
                  <a:pt x="797" y="582"/>
                  <a:pt x="797" y="582"/>
                </a:cubicBezTo>
                <a:cubicBezTo>
                  <a:pt x="800" y="581"/>
                  <a:pt x="800" y="581"/>
                  <a:pt x="800" y="581"/>
                </a:cubicBezTo>
                <a:cubicBezTo>
                  <a:pt x="800" y="579"/>
                  <a:pt x="800" y="579"/>
                  <a:pt x="800" y="579"/>
                </a:cubicBezTo>
                <a:cubicBezTo>
                  <a:pt x="802" y="578"/>
                  <a:pt x="802" y="578"/>
                  <a:pt x="802" y="578"/>
                </a:cubicBezTo>
                <a:cubicBezTo>
                  <a:pt x="803" y="577"/>
                  <a:pt x="803" y="577"/>
                  <a:pt x="803" y="577"/>
                </a:cubicBezTo>
                <a:cubicBezTo>
                  <a:pt x="807" y="576"/>
                  <a:pt x="807" y="576"/>
                  <a:pt x="807" y="576"/>
                </a:cubicBezTo>
                <a:cubicBezTo>
                  <a:pt x="809" y="576"/>
                  <a:pt x="809" y="576"/>
                  <a:pt x="809" y="576"/>
                </a:cubicBezTo>
                <a:cubicBezTo>
                  <a:pt x="812" y="573"/>
                  <a:pt x="812" y="573"/>
                  <a:pt x="812" y="573"/>
                </a:cubicBezTo>
                <a:cubicBezTo>
                  <a:pt x="813" y="573"/>
                  <a:pt x="813" y="573"/>
                  <a:pt x="813" y="573"/>
                </a:cubicBezTo>
                <a:cubicBezTo>
                  <a:pt x="814" y="574"/>
                  <a:pt x="814" y="574"/>
                  <a:pt x="814" y="574"/>
                </a:cubicBezTo>
                <a:cubicBezTo>
                  <a:pt x="818" y="574"/>
                  <a:pt x="818" y="574"/>
                  <a:pt x="818" y="574"/>
                </a:cubicBezTo>
                <a:cubicBezTo>
                  <a:pt x="820" y="574"/>
                  <a:pt x="820" y="574"/>
                  <a:pt x="820" y="574"/>
                </a:cubicBezTo>
                <a:cubicBezTo>
                  <a:pt x="822" y="574"/>
                  <a:pt x="822" y="574"/>
                  <a:pt x="822" y="574"/>
                </a:cubicBezTo>
                <a:cubicBezTo>
                  <a:pt x="827" y="573"/>
                  <a:pt x="827" y="573"/>
                  <a:pt x="827" y="573"/>
                </a:cubicBezTo>
                <a:cubicBezTo>
                  <a:pt x="828" y="573"/>
                  <a:pt x="828" y="573"/>
                  <a:pt x="828" y="573"/>
                </a:cubicBezTo>
                <a:cubicBezTo>
                  <a:pt x="827" y="572"/>
                  <a:pt x="827" y="572"/>
                  <a:pt x="827" y="572"/>
                </a:cubicBezTo>
                <a:cubicBezTo>
                  <a:pt x="827" y="569"/>
                  <a:pt x="827" y="569"/>
                  <a:pt x="827" y="569"/>
                </a:cubicBezTo>
                <a:cubicBezTo>
                  <a:pt x="827" y="567"/>
                  <a:pt x="827" y="567"/>
                  <a:pt x="827" y="567"/>
                </a:cubicBezTo>
                <a:cubicBezTo>
                  <a:pt x="829" y="569"/>
                  <a:pt x="829" y="569"/>
                  <a:pt x="829" y="569"/>
                </a:cubicBezTo>
                <a:cubicBezTo>
                  <a:pt x="829" y="571"/>
                  <a:pt x="829" y="571"/>
                  <a:pt x="829" y="571"/>
                </a:cubicBezTo>
                <a:cubicBezTo>
                  <a:pt x="829" y="573"/>
                  <a:pt x="829" y="573"/>
                  <a:pt x="829" y="573"/>
                </a:cubicBezTo>
                <a:cubicBezTo>
                  <a:pt x="830" y="573"/>
                  <a:pt x="830" y="573"/>
                  <a:pt x="830" y="573"/>
                </a:cubicBezTo>
                <a:cubicBezTo>
                  <a:pt x="832" y="571"/>
                  <a:pt x="832" y="571"/>
                  <a:pt x="832" y="571"/>
                </a:cubicBezTo>
                <a:cubicBezTo>
                  <a:pt x="834" y="567"/>
                  <a:pt x="834" y="567"/>
                  <a:pt x="834" y="567"/>
                </a:cubicBezTo>
                <a:cubicBezTo>
                  <a:pt x="835" y="569"/>
                  <a:pt x="835" y="569"/>
                  <a:pt x="835" y="569"/>
                </a:cubicBezTo>
                <a:cubicBezTo>
                  <a:pt x="835" y="571"/>
                  <a:pt x="835" y="571"/>
                  <a:pt x="835" y="571"/>
                </a:cubicBezTo>
                <a:cubicBezTo>
                  <a:pt x="836" y="571"/>
                  <a:pt x="836" y="571"/>
                  <a:pt x="836" y="571"/>
                </a:cubicBezTo>
                <a:cubicBezTo>
                  <a:pt x="841" y="569"/>
                  <a:pt x="841" y="569"/>
                  <a:pt x="841" y="569"/>
                </a:cubicBezTo>
                <a:cubicBezTo>
                  <a:pt x="842" y="567"/>
                  <a:pt x="842" y="567"/>
                  <a:pt x="842" y="567"/>
                </a:cubicBezTo>
                <a:cubicBezTo>
                  <a:pt x="841" y="563"/>
                  <a:pt x="841" y="563"/>
                  <a:pt x="841" y="563"/>
                </a:cubicBezTo>
                <a:cubicBezTo>
                  <a:pt x="840" y="563"/>
                  <a:pt x="840" y="563"/>
                  <a:pt x="840" y="563"/>
                </a:cubicBezTo>
                <a:cubicBezTo>
                  <a:pt x="840" y="565"/>
                  <a:pt x="840" y="565"/>
                  <a:pt x="840" y="565"/>
                </a:cubicBezTo>
                <a:cubicBezTo>
                  <a:pt x="840" y="567"/>
                  <a:pt x="840" y="567"/>
                  <a:pt x="840" y="567"/>
                </a:cubicBezTo>
                <a:cubicBezTo>
                  <a:pt x="837" y="568"/>
                  <a:pt x="837" y="568"/>
                  <a:pt x="837" y="568"/>
                </a:cubicBezTo>
                <a:cubicBezTo>
                  <a:pt x="836" y="566"/>
                  <a:pt x="836" y="566"/>
                  <a:pt x="836" y="566"/>
                </a:cubicBezTo>
                <a:cubicBezTo>
                  <a:pt x="835" y="563"/>
                  <a:pt x="835" y="563"/>
                  <a:pt x="835" y="563"/>
                </a:cubicBezTo>
                <a:cubicBezTo>
                  <a:pt x="833" y="561"/>
                  <a:pt x="833" y="561"/>
                  <a:pt x="833" y="561"/>
                </a:cubicBezTo>
                <a:cubicBezTo>
                  <a:pt x="833" y="560"/>
                  <a:pt x="833" y="560"/>
                  <a:pt x="833" y="560"/>
                </a:cubicBezTo>
                <a:cubicBezTo>
                  <a:pt x="836" y="557"/>
                  <a:pt x="836" y="557"/>
                  <a:pt x="836" y="557"/>
                </a:cubicBezTo>
                <a:cubicBezTo>
                  <a:pt x="836" y="555"/>
                  <a:pt x="836" y="555"/>
                  <a:pt x="836" y="555"/>
                </a:cubicBezTo>
                <a:cubicBezTo>
                  <a:pt x="835" y="555"/>
                  <a:pt x="835" y="555"/>
                  <a:pt x="835" y="555"/>
                </a:cubicBezTo>
                <a:cubicBezTo>
                  <a:pt x="835" y="554"/>
                  <a:pt x="835" y="554"/>
                  <a:pt x="835" y="554"/>
                </a:cubicBezTo>
                <a:cubicBezTo>
                  <a:pt x="836" y="553"/>
                  <a:pt x="836" y="553"/>
                  <a:pt x="836" y="553"/>
                </a:cubicBezTo>
                <a:cubicBezTo>
                  <a:pt x="837" y="552"/>
                  <a:pt x="837" y="552"/>
                  <a:pt x="837" y="552"/>
                </a:cubicBezTo>
                <a:cubicBezTo>
                  <a:pt x="838" y="550"/>
                  <a:pt x="838" y="550"/>
                  <a:pt x="838" y="550"/>
                </a:cubicBezTo>
                <a:cubicBezTo>
                  <a:pt x="839" y="547"/>
                  <a:pt x="839" y="547"/>
                  <a:pt x="839" y="547"/>
                </a:cubicBezTo>
                <a:cubicBezTo>
                  <a:pt x="843" y="544"/>
                  <a:pt x="843" y="544"/>
                  <a:pt x="843" y="544"/>
                </a:cubicBezTo>
                <a:cubicBezTo>
                  <a:pt x="844" y="541"/>
                  <a:pt x="844" y="541"/>
                  <a:pt x="844" y="541"/>
                </a:cubicBezTo>
                <a:cubicBezTo>
                  <a:pt x="845" y="541"/>
                  <a:pt x="845" y="541"/>
                  <a:pt x="845" y="541"/>
                </a:cubicBezTo>
                <a:cubicBezTo>
                  <a:pt x="846" y="539"/>
                  <a:pt x="846" y="539"/>
                  <a:pt x="846" y="539"/>
                </a:cubicBezTo>
                <a:cubicBezTo>
                  <a:pt x="846" y="541"/>
                  <a:pt x="846" y="541"/>
                  <a:pt x="846" y="541"/>
                </a:cubicBezTo>
                <a:cubicBezTo>
                  <a:pt x="848" y="541"/>
                  <a:pt x="848" y="541"/>
                  <a:pt x="848" y="541"/>
                </a:cubicBezTo>
                <a:cubicBezTo>
                  <a:pt x="849" y="540"/>
                  <a:pt x="849" y="540"/>
                  <a:pt x="849" y="540"/>
                </a:cubicBezTo>
                <a:cubicBezTo>
                  <a:pt x="850" y="538"/>
                  <a:pt x="850" y="538"/>
                  <a:pt x="850" y="538"/>
                </a:cubicBezTo>
                <a:cubicBezTo>
                  <a:pt x="850" y="540"/>
                  <a:pt x="850" y="540"/>
                  <a:pt x="850" y="540"/>
                </a:cubicBezTo>
                <a:cubicBezTo>
                  <a:pt x="851" y="540"/>
                  <a:pt x="851" y="540"/>
                  <a:pt x="851" y="540"/>
                </a:cubicBezTo>
                <a:cubicBezTo>
                  <a:pt x="853" y="538"/>
                  <a:pt x="853" y="538"/>
                  <a:pt x="853" y="538"/>
                </a:cubicBezTo>
                <a:cubicBezTo>
                  <a:pt x="853" y="539"/>
                  <a:pt x="853" y="539"/>
                  <a:pt x="853" y="539"/>
                </a:cubicBezTo>
                <a:cubicBezTo>
                  <a:pt x="854" y="538"/>
                  <a:pt x="854" y="538"/>
                  <a:pt x="854" y="538"/>
                </a:cubicBezTo>
                <a:cubicBezTo>
                  <a:pt x="856" y="535"/>
                  <a:pt x="856" y="535"/>
                  <a:pt x="856" y="535"/>
                </a:cubicBezTo>
                <a:cubicBezTo>
                  <a:pt x="859" y="531"/>
                  <a:pt x="859" y="531"/>
                  <a:pt x="859" y="531"/>
                </a:cubicBezTo>
                <a:cubicBezTo>
                  <a:pt x="858" y="533"/>
                  <a:pt x="858" y="533"/>
                  <a:pt x="858" y="533"/>
                </a:cubicBezTo>
                <a:cubicBezTo>
                  <a:pt x="859" y="535"/>
                  <a:pt x="859" y="535"/>
                  <a:pt x="859" y="535"/>
                </a:cubicBezTo>
                <a:cubicBezTo>
                  <a:pt x="861" y="535"/>
                  <a:pt x="861" y="535"/>
                  <a:pt x="861" y="535"/>
                </a:cubicBezTo>
                <a:cubicBezTo>
                  <a:pt x="862" y="533"/>
                  <a:pt x="862" y="533"/>
                  <a:pt x="862" y="533"/>
                </a:cubicBezTo>
                <a:cubicBezTo>
                  <a:pt x="865" y="533"/>
                  <a:pt x="865" y="533"/>
                  <a:pt x="865" y="533"/>
                </a:cubicBezTo>
                <a:cubicBezTo>
                  <a:pt x="865" y="535"/>
                  <a:pt x="865" y="535"/>
                  <a:pt x="865" y="535"/>
                </a:cubicBezTo>
                <a:cubicBezTo>
                  <a:pt x="867" y="535"/>
                  <a:pt x="867" y="535"/>
                  <a:pt x="867" y="535"/>
                </a:cubicBezTo>
                <a:cubicBezTo>
                  <a:pt x="868" y="533"/>
                  <a:pt x="868" y="533"/>
                  <a:pt x="868" y="533"/>
                </a:cubicBezTo>
                <a:cubicBezTo>
                  <a:pt x="870" y="534"/>
                  <a:pt x="870" y="534"/>
                  <a:pt x="870" y="534"/>
                </a:cubicBezTo>
                <a:cubicBezTo>
                  <a:pt x="871" y="533"/>
                  <a:pt x="871" y="533"/>
                  <a:pt x="871" y="533"/>
                </a:cubicBezTo>
                <a:cubicBezTo>
                  <a:pt x="873" y="532"/>
                  <a:pt x="873" y="532"/>
                  <a:pt x="873" y="532"/>
                </a:cubicBezTo>
                <a:cubicBezTo>
                  <a:pt x="874" y="532"/>
                  <a:pt x="874" y="532"/>
                  <a:pt x="874" y="532"/>
                </a:cubicBezTo>
                <a:cubicBezTo>
                  <a:pt x="877" y="530"/>
                  <a:pt x="877" y="530"/>
                  <a:pt x="877" y="530"/>
                </a:cubicBezTo>
                <a:cubicBezTo>
                  <a:pt x="877" y="532"/>
                  <a:pt x="877" y="532"/>
                  <a:pt x="877" y="532"/>
                </a:cubicBezTo>
                <a:cubicBezTo>
                  <a:pt x="879" y="531"/>
                  <a:pt x="879" y="531"/>
                  <a:pt x="879" y="531"/>
                </a:cubicBezTo>
                <a:cubicBezTo>
                  <a:pt x="881" y="530"/>
                  <a:pt x="881" y="530"/>
                  <a:pt x="881" y="530"/>
                </a:cubicBezTo>
                <a:cubicBezTo>
                  <a:pt x="879" y="529"/>
                  <a:pt x="879" y="529"/>
                  <a:pt x="879" y="529"/>
                </a:cubicBezTo>
                <a:cubicBezTo>
                  <a:pt x="878" y="530"/>
                  <a:pt x="878" y="530"/>
                  <a:pt x="878" y="530"/>
                </a:cubicBezTo>
                <a:cubicBezTo>
                  <a:pt x="876" y="528"/>
                  <a:pt x="876" y="528"/>
                  <a:pt x="876" y="528"/>
                </a:cubicBezTo>
                <a:cubicBezTo>
                  <a:pt x="877" y="526"/>
                  <a:pt x="877" y="526"/>
                  <a:pt x="877" y="526"/>
                </a:cubicBezTo>
                <a:cubicBezTo>
                  <a:pt x="873" y="524"/>
                  <a:pt x="873" y="524"/>
                  <a:pt x="873" y="524"/>
                </a:cubicBezTo>
                <a:cubicBezTo>
                  <a:pt x="873" y="524"/>
                  <a:pt x="873" y="524"/>
                  <a:pt x="873" y="524"/>
                </a:cubicBezTo>
                <a:cubicBezTo>
                  <a:pt x="876" y="525"/>
                  <a:pt x="876" y="525"/>
                  <a:pt x="876" y="525"/>
                </a:cubicBezTo>
                <a:cubicBezTo>
                  <a:pt x="879" y="524"/>
                  <a:pt x="879" y="524"/>
                  <a:pt x="879" y="524"/>
                </a:cubicBezTo>
                <a:cubicBezTo>
                  <a:pt x="879" y="526"/>
                  <a:pt x="879" y="526"/>
                  <a:pt x="879" y="526"/>
                </a:cubicBezTo>
                <a:cubicBezTo>
                  <a:pt x="880" y="526"/>
                  <a:pt x="880" y="526"/>
                  <a:pt x="880" y="526"/>
                </a:cubicBezTo>
                <a:cubicBezTo>
                  <a:pt x="881" y="525"/>
                  <a:pt x="881" y="525"/>
                  <a:pt x="881" y="525"/>
                </a:cubicBezTo>
                <a:cubicBezTo>
                  <a:pt x="883" y="525"/>
                  <a:pt x="883" y="525"/>
                  <a:pt x="883" y="525"/>
                </a:cubicBezTo>
                <a:cubicBezTo>
                  <a:pt x="885" y="525"/>
                  <a:pt x="885" y="525"/>
                  <a:pt x="885" y="525"/>
                </a:cubicBezTo>
                <a:cubicBezTo>
                  <a:pt x="886" y="523"/>
                  <a:pt x="886" y="523"/>
                  <a:pt x="886" y="523"/>
                </a:cubicBezTo>
                <a:cubicBezTo>
                  <a:pt x="888" y="521"/>
                  <a:pt x="888" y="521"/>
                  <a:pt x="888" y="521"/>
                </a:cubicBezTo>
                <a:cubicBezTo>
                  <a:pt x="887" y="523"/>
                  <a:pt x="887" y="523"/>
                  <a:pt x="887" y="523"/>
                </a:cubicBezTo>
                <a:cubicBezTo>
                  <a:pt x="887" y="523"/>
                  <a:pt x="887" y="523"/>
                  <a:pt x="887" y="523"/>
                </a:cubicBezTo>
                <a:cubicBezTo>
                  <a:pt x="887" y="524"/>
                  <a:pt x="887" y="524"/>
                  <a:pt x="887" y="524"/>
                </a:cubicBezTo>
                <a:cubicBezTo>
                  <a:pt x="888" y="525"/>
                  <a:pt x="888" y="525"/>
                  <a:pt x="888" y="525"/>
                </a:cubicBezTo>
                <a:cubicBezTo>
                  <a:pt x="892" y="524"/>
                  <a:pt x="892" y="524"/>
                  <a:pt x="892" y="524"/>
                </a:cubicBezTo>
                <a:cubicBezTo>
                  <a:pt x="893" y="522"/>
                  <a:pt x="893" y="522"/>
                  <a:pt x="893" y="522"/>
                </a:cubicBezTo>
                <a:cubicBezTo>
                  <a:pt x="895" y="522"/>
                  <a:pt x="895" y="522"/>
                  <a:pt x="895" y="522"/>
                </a:cubicBezTo>
                <a:cubicBezTo>
                  <a:pt x="898" y="520"/>
                  <a:pt x="898" y="520"/>
                  <a:pt x="898" y="520"/>
                </a:cubicBezTo>
                <a:cubicBezTo>
                  <a:pt x="899" y="520"/>
                  <a:pt x="899" y="520"/>
                  <a:pt x="899" y="520"/>
                </a:cubicBezTo>
                <a:cubicBezTo>
                  <a:pt x="901" y="516"/>
                  <a:pt x="901" y="516"/>
                  <a:pt x="901" y="516"/>
                </a:cubicBezTo>
                <a:cubicBezTo>
                  <a:pt x="902" y="518"/>
                  <a:pt x="902" y="518"/>
                  <a:pt x="902" y="518"/>
                </a:cubicBezTo>
                <a:cubicBezTo>
                  <a:pt x="903" y="517"/>
                  <a:pt x="903" y="517"/>
                  <a:pt x="903" y="517"/>
                </a:cubicBezTo>
                <a:cubicBezTo>
                  <a:pt x="903" y="518"/>
                  <a:pt x="903" y="518"/>
                  <a:pt x="903" y="518"/>
                </a:cubicBezTo>
                <a:cubicBezTo>
                  <a:pt x="901" y="520"/>
                  <a:pt x="901" y="520"/>
                  <a:pt x="901" y="520"/>
                </a:cubicBezTo>
                <a:cubicBezTo>
                  <a:pt x="899" y="521"/>
                  <a:pt x="899" y="521"/>
                  <a:pt x="899" y="521"/>
                </a:cubicBezTo>
                <a:cubicBezTo>
                  <a:pt x="897" y="523"/>
                  <a:pt x="897" y="523"/>
                  <a:pt x="897" y="523"/>
                </a:cubicBezTo>
                <a:cubicBezTo>
                  <a:pt x="899" y="524"/>
                  <a:pt x="899" y="524"/>
                  <a:pt x="899" y="524"/>
                </a:cubicBezTo>
                <a:cubicBezTo>
                  <a:pt x="900" y="522"/>
                  <a:pt x="900" y="522"/>
                  <a:pt x="900" y="522"/>
                </a:cubicBezTo>
                <a:cubicBezTo>
                  <a:pt x="902" y="522"/>
                  <a:pt x="902" y="522"/>
                  <a:pt x="902" y="522"/>
                </a:cubicBezTo>
                <a:cubicBezTo>
                  <a:pt x="904" y="523"/>
                  <a:pt x="904" y="523"/>
                  <a:pt x="904" y="523"/>
                </a:cubicBezTo>
                <a:cubicBezTo>
                  <a:pt x="908" y="523"/>
                  <a:pt x="908" y="523"/>
                  <a:pt x="908" y="523"/>
                </a:cubicBezTo>
                <a:cubicBezTo>
                  <a:pt x="911" y="523"/>
                  <a:pt x="911" y="523"/>
                  <a:pt x="911" y="523"/>
                </a:cubicBezTo>
                <a:cubicBezTo>
                  <a:pt x="909" y="524"/>
                  <a:pt x="909" y="524"/>
                  <a:pt x="909" y="524"/>
                </a:cubicBezTo>
                <a:cubicBezTo>
                  <a:pt x="906" y="525"/>
                  <a:pt x="906" y="525"/>
                  <a:pt x="906" y="525"/>
                </a:cubicBezTo>
                <a:cubicBezTo>
                  <a:pt x="904" y="525"/>
                  <a:pt x="904" y="525"/>
                  <a:pt x="904" y="525"/>
                </a:cubicBezTo>
                <a:cubicBezTo>
                  <a:pt x="904" y="526"/>
                  <a:pt x="904" y="526"/>
                  <a:pt x="904" y="526"/>
                </a:cubicBezTo>
                <a:cubicBezTo>
                  <a:pt x="904" y="527"/>
                  <a:pt x="904" y="527"/>
                  <a:pt x="904" y="527"/>
                </a:cubicBezTo>
                <a:cubicBezTo>
                  <a:pt x="903" y="526"/>
                  <a:pt x="903" y="526"/>
                  <a:pt x="903" y="526"/>
                </a:cubicBezTo>
                <a:cubicBezTo>
                  <a:pt x="902" y="524"/>
                  <a:pt x="902" y="524"/>
                  <a:pt x="902" y="524"/>
                </a:cubicBezTo>
                <a:cubicBezTo>
                  <a:pt x="901" y="524"/>
                  <a:pt x="901" y="524"/>
                  <a:pt x="901" y="524"/>
                </a:cubicBezTo>
                <a:cubicBezTo>
                  <a:pt x="898" y="525"/>
                  <a:pt x="898" y="525"/>
                  <a:pt x="898" y="525"/>
                </a:cubicBezTo>
                <a:cubicBezTo>
                  <a:pt x="895" y="527"/>
                  <a:pt x="895" y="527"/>
                  <a:pt x="895" y="527"/>
                </a:cubicBezTo>
                <a:cubicBezTo>
                  <a:pt x="890" y="528"/>
                  <a:pt x="890" y="528"/>
                  <a:pt x="890" y="528"/>
                </a:cubicBezTo>
                <a:cubicBezTo>
                  <a:pt x="886" y="530"/>
                  <a:pt x="886" y="530"/>
                  <a:pt x="886" y="530"/>
                </a:cubicBezTo>
                <a:cubicBezTo>
                  <a:pt x="886" y="532"/>
                  <a:pt x="886" y="532"/>
                  <a:pt x="886" y="532"/>
                </a:cubicBezTo>
                <a:cubicBezTo>
                  <a:pt x="884" y="534"/>
                  <a:pt x="884" y="534"/>
                  <a:pt x="884" y="534"/>
                </a:cubicBezTo>
                <a:cubicBezTo>
                  <a:pt x="882" y="537"/>
                  <a:pt x="882" y="537"/>
                  <a:pt x="882" y="537"/>
                </a:cubicBezTo>
                <a:cubicBezTo>
                  <a:pt x="882" y="539"/>
                  <a:pt x="882" y="539"/>
                  <a:pt x="882" y="539"/>
                </a:cubicBezTo>
                <a:cubicBezTo>
                  <a:pt x="883" y="541"/>
                  <a:pt x="883" y="541"/>
                  <a:pt x="883" y="541"/>
                </a:cubicBezTo>
                <a:cubicBezTo>
                  <a:pt x="883" y="543"/>
                  <a:pt x="883" y="543"/>
                  <a:pt x="883" y="543"/>
                </a:cubicBezTo>
                <a:cubicBezTo>
                  <a:pt x="884" y="543"/>
                  <a:pt x="884" y="543"/>
                  <a:pt x="884" y="543"/>
                </a:cubicBezTo>
                <a:cubicBezTo>
                  <a:pt x="885" y="543"/>
                  <a:pt x="885" y="543"/>
                  <a:pt x="885" y="543"/>
                </a:cubicBezTo>
                <a:cubicBezTo>
                  <a:pt x="885" y="546"/>
                  <a:pt x="885" y="546"/>
                  <a:pt x="885" y="546"/>
                </a:cubicBezTo>
                <a:cubicBezTo>
                  <a:pt x="887" y="547"/>
                  <a:pt x="887" y="547"/>
                  <a:pt x="887" y="547"/>
                </a:cubicBezTo>
                <a:cubicBezTo>
                  <a:pt x="888" y="546"/>
                  <a:pt x="888" y="546"/>
                  <a:pt x="888" y="546"/>
                </a:cubicBezTo>
                <a:cubicBezTo>
                  <a:pt x="889" y="547"/>
                  <a:pt x="889" y="547"/>
                  <a:pt x="889" y="547"/>
                </a:cubicBezTo>
                <a:cubicBezTo>
                  <a:pt x="890" y="546"/>
                  <a:pt x="890" y="546"/>
                  <a:pt x="890" y="546"/>
                </a:cubicBezTo>
                <a:cubicBezTo>
                  <a:pt x="890" y="544"/>
                  <a:pt x="890" y="544"/>
                  <a:pt x="890" y="544"/>
                </a:cubicBezTo>
                <a:cubicBezTo>
                  <a:pt x="891" y="544"/>
                  <a:pt x="891" y="544"/>
                  <a:pt x="891" y="544"/>
                </a:cubicBezTo>
                <a:cubicBezTo>
                  <a:pt x="892" y="544"/>
                  <a:pt x="892" y="544"/>
                  <a:pt x="892" y="544"/>
                </a:cubicBezTo>
                <a:cubicBezTo>
                  <a:pt x="894" y="542"/>
                  <a:pt x="894" y="542"/>
                  <a:pt x="894" y="542"/>
                </a:cubicBezTo>
                <a:cubicBezTo>
                  <a:pt x="896" y="542"/>
                  <a:pt x="896" y="542"/>
                  <a:pt x="896" y="542"/>
                </a:cubicBezTo>
                <a:cubicBezTo>
                  <a:pt x="899" y="538"/>
                  <a:pt x="899" y="538"/>
                  <a:pt x="899" y="538"/>
                </a:cubicBezTo>
                <a:cubicBezTo>
                  <a:pt x="902" y="536"/>
                  <a:pt x="902" y="536"/>
                  <a:pt x="902" y="536"/>
                </a:cubicBezTo>
                <a:cubicBezTo>
                  <a:pt x="901" y="535"/>
                  <a:pt x="901" y="535"/>
                  <a:pt x="901" y="535"/>
                </a:cubicBezTo>
                <a:cubicBezTo>
                  <a:pt x="903" y="532"/>
                  <a:pt x="903" y="532"/>
                  <a:pt x="903" y="532"/>
                </a:cubicBezTo>
                <a:cubicBezTo>
                  <a:pt x="904" y="532"/>
                  <a:pt x="904" y="532"/>
                  <a:pt x="904" y="532"/>
                </a:cubicBezTo>
                <a:cubicBezTo>
                  <a:pt x="905" y="531"/>
                  <a:pt x="905" y="531"/>
                  <a:pt x="905" y="531"/>
                </a:cubicBezTo>
                <a:cubicBezTo>
                  <a:pt x="906" y="531"/>
                  <a:pt x="906" y="531"/>
                  <a:pt x="906" y="531"/>
                </a:cubicBezTo>
                <a:cubicBezTo>
                  <a:pt x="907" y="534"/>
                  <a:pt x="907" y="534"/>
                  <a:pt x="907" y="534"/>
                </a:cubicBezTo>
                <a:cubicBezTo>
                  <a:pt x="909" y="534"/>
                  <a:pt x="909" y="534"/>
                  <a:pt x="909" y="534"/>
                </a:cubicBezTo>
                <a:cubicBezTo>
                  <a:pt x="909" y="533"/>
                  <a:pt x="909" y="533"/>
                  <a:pt x="909" y="533"/>
                </a:cubicBezTo>
                <a:cubicBezTo>
                  <a:pt x="911" y="533"/>
                  <a:pt x="911" y="533"/>
                  <a:pt x="911" y="533"/>
                </a:cubicBezTo>
                <a:cubicBezTo>
                  <a:pt x="914" y="531"/>
                  <a:pt x="914" y="531"/>
                  <a:pt x="914" y="531"/>
                </a:cubicBezTo>
                <a:cubicBezTo>
                  <a:pt x="917" y="530"/>
                  <a:pt x="917" y="530"/>
                  <a:pt x="917" y="530"/>
                </a:cubicBezTo>
                <a:cubicBezTo>
                  <a:pt x="920" y="530"/>
                  <a:pt x="920" y="530"/>
                  <a:pt x="920" y="530"/>
                </a:cubicBezTo>
                <a:cubicBezTo>
                  <a:pt x="922" y="529"/>
                  <a:pt x="922" y="529"/>
                  <a:pt x="922" y="529"/>
                </a:cubicBezTo>
                <a:cubicBezTo>
                  <a:pt x="927" y="527"/>
                  <a:pt x="927" y="527"/>
                  <a:pt x="927" y="527"/>
                </a:cubicBezTo>
                <a:cubicBezTo>
                  <a:pt x="930" y="526"/>
                  <a:pt x="930" y="526"/>
                  <a:pt x="930" y="526"/>
                </a:cubicBezTo>
                <a:cubicBezTo>
                  <a:pt x="932" y="526"/>
                  <a:pt x="932" y="526"/>
                  <a:pt x="932" y="526"/>
                </a:cubicBezTo>
                <a:cubicBezTo>
                  <a:pt x="933" y="526"/>
                  <a:pt x="933" y="526"/>
                  <a:pt x="933" y="526"/>
                </a:cubicBezTo>
                <a:cubicBezTo>
                  <a:pt x="934" y="526"/>
                  <a:pt x="934" y="526"/>
                  <a:pt x="934" y="526"/>
                </a:cubicBezTo>
                <a:cubicBezTo>
                  <a:pt x="933" y="525"/>
                  <a:pt x="933" y="525"/>
                  <a:pt x="933" y="525"/>
                </a:cubicBezTo>
                <a:cubicBezTo>
                  <a:pt x="932" y="525"/>
                  <a:pt x="932" y="525"/>
                  <a:pt x="932" y="525"/>
                </a:cubicBezTo>
                <a:cubicBezTo>
                  <a:pt x="930" y="524"/>
                  <a:pt x="930" y="524"/>
                  <a:pt x="930" y="524"/>
                </a:cubicBezTo>
                <a:cubicBezTo>
                  <a:pt x="930" y="523"/>
                  <a:pt x="930" y="523"/>
                  <a:pt x="930" y="523"/>
                </a:cubicBezTo>
                <a:cubicBezTo>
                  <a:pt x="932" y="523"/>
                  <a:pt x="932" y="523"/>
                  <a:pt x="932" y="523"/>
                </a:cubicBezTo>
                <a:cubicBezTo>
                  <a:pt x="932" y="522"/>
                  <a:pt x="932" y="522"/>
                  <a:pt x="932" y="522"/>
                </a:cubicBezTo>
                <a:cubicBezTo>
                  <a:pt x="928" y="520"/>
                  <a:pt x="928" y="520"/>
                  <a:pt x="928" y="520"/>
                </a:cubicBezTo>
                <a:cubicBezTo>
                  <a:pt x="926" y="520"/>
                  <a:pt x="926" y="520"/>
                  <a:pt x="926" y="520"/>
                </a:cubicBezTo>
                <a:cubicBezTo>
                  <a:pt x="926" y="519"/>
                  <a:pt x="926" y="519"/>
                  <a:pt x="926" y="519"/>
                </a:cubicBezTo>
                <a:cubicBezTo>
                  <a:pt x="926" y="517"/>
                  <a:pt x="926" y="517"/>
                  <a:pt x="926" y="517"/>
                </a:cubicBezTo>
                <a:cubicBezTo>
                  <a:pt x="923" y="519"/>
                  <a:pt x="923" y="519"/>
                  <a:pt x="923" y="519"/>
                </a:cubicBezTo>
                <a:cubicBezTo>
                  <a:pt x="923" y="520"/>
                  <a:pt x="923" y="520"/>
                  <a:pt x="923" y="520"/>
                </a:cubicBezTo>
                <a:cubicBezTo>
                  <a:pt x="919" y="520"/>
                  <a:pt x="919" y="520"/>
                  <a:pt x="919" y="520"/>
                </a:cubicBezTo>
                <a:cubicBezTo>
                  <a:pt x="919" y="519"/>
                  <a:pt x="919" y="519"/>
                  <a:pt x="919" y="519"/>
                </a:cubicBezTo>
                <a:cubicBezTo>
                  <a:pt x="916" y="518"/>
                  <a:pt x="916" y="518"/>
                  <a:pt x="916" y="518"/>
                </a:cubicBezTo>
                <a:cubicBezTo>
                  <a:pt x="915" y="518"/>
                  <a:pt x="915" y="518"/>
                  <a:pt x="915" y="518"/>
                </a:cubicBezTo>
                <a:cubicBezTo>
                  <a:pt x="913" y="517"/>
                  <a:pt x="913" y="517"/>
                  <a:pt x="913" y="517"/>
                </a:cubicBezTo>
                <a:cubicBezTo>
                  <a:pt x="910" y="517"/>
                  <a:pt x="910" y="517"/>
                  <a:pt x="910" y="517"/>
                </a:cubicBezTo>
                <a:cubicBezTo>
                  <a:pt x="907" y="516"/>
                  <a:pt x="907" y="516"/>
                  <a:pt x="907" y="516"/>
                </a:cubicBezTo>
                <a:cubicBezTo>
                  <a:pt x="909" y="515"/>
                  <a:pt x="909" y="515"/>
                  <a:pt x="909" y="515"/>
                </a:cubicBezTo>
                <a:cubicBezTo>
                  <a:pt x="910" y="513"/>
                  <a:pt x="910" y="513"/>
                  <a:pt x="910" y="513"/>
                </a:cubicBezTo>
                <a:cubicBezTo>
                  <a:pt x="907" y="513"/>
                  <a:pt x="907" y="513"/>
                  <a:pt x="907" y="513"/>
                </a:cubicBezTo>
                <a:cubicBezTo>
                  <a:pt x="906" y="512"/>
                  <a:pt x="906" y="512"/>
                  <a:pt x="906" y="512"/>
                </a:cubicBezTo>
                <a:cubicBezTo>
                  <a:pt x="904" y="512"/>
                  <a:pt x="904" y="512"/>
                  <a:pt x="904" y="512"/>
                </a:cubicBezTo>
                <a:cubicBezTo>
                  <a:pt x="903" y="510"/>
                  <a:pt x="903" y="510"/>
                  <a:pt x="903" y="510"/>
                </a:cubicBezTo>
                <a:cubicBezTo>
                  <a:pt x="902" y="509"/>
                  <a:pt x="902" y="509"/>
                  <a:pt x="902" y="509"/>
                </a:cubicBezTo>
                <a:cubicBezTo>
                  <a:pt x="902" y="506"/>
                  <a:pt x="902" y="506"/>
                  <a:pt x="902" y="506"/>
                </a:cubicBezTo>
                <a:cubicBezTo>
                  <a:pt x="902" y="504"/>
                  <a:pt x="902" y="504"/>
                  <a:pt x="902" y="504"/>
                </a:cubicBezTo>
                <a:cubicBezTo>
                  <a:pt x="901" y="503"/>
                  <a:pt x="901" y="503"/>
                  <a:pt x="901" y="503"/>
                </a:cubicBezTo>
                <a:cubicBezTo>
                  <a:pt x="902" y="501"/>
                  <a:pt x="902" y="501"/>
                  <a:pt x="902" y="501"/>
                </a:cubicBezTo>
                <a:cubicBezTo>
                  <a:pt x="902" y="500"/>
                  <a:pt x="902" y="500"/>
                  <a:pt x="902" y="500"/>
                </a:cubicBezTo>
                <a:cubicBezTo>
                  <a:pt x="898" y="500"/>
                  <a:pt x="898" y="500"/>
                  <a:pt x="898" y="500"/>
                </a:cubicBezTo>
                <a:cubicBezTo>
                  <a:pt x="899" y="499"/>
                  <a:pt x="899" y="499"/>
                  <a:pt x="899" y="499"/>
                </a:cubicBezTo>
                <a:cubicBezTo>
                  <a:pt x="901" y="499"/>
                  <a:pt x="901" y="499"/>
                  <a:pt x="901" y="499"/>
                </a:cubicBezTo>
                <a:cubicBezTo>
                  <a:pt x="903" y="494"/>
                  <a:pt x="903" y="494"/>
                  <a:pt x="903" y="494"/>
                </a:cubicBezTo>
                <a:cubicBezTo>
                  <a:pt x="905" y="492"/>
                  <a:pt x="905" y="492"/>
                  <a:pt x="905" y="492"/>
                </a:cubicBezTo>
                <a:cubicBezTo>
                  <a:pt x="905" y="491"/>
                  <a:pt x="905" y="491"/>
                  <a:pt x="905" y="491"/>
                </a:cubicBezTo>
                <a:cubicBezTo>
                  <a:pt x="903" y="491"/>
                  <a:pt x="903" y="491"/>
                  <a:pt x="903" y="491"/>
                </a:cubicBezTo>
                <a:cubicBezTo>
                  <a:pt x="903" y="490"/>
                  <a:pt x="903" y="490"/>
                  <a:pt x="903" y="490"/>
                </a:cubicBezTo>
                <a:cubicBezTo>
                  <a:pt x="901" y="490"/>
                  <a:pt x="901" y="490"/>
                  <a:pt x="901" y="490"/>
                </a:cubicBezTo>
                <a:cubicBezTo>
                  <a:pt x="899" y="491"/>
                  <a:pt x="899" y="491"/>
                  <a:pt x="899" y="491"/>
                </a:cubicBezTo>
                <a:cubicBezTo>
                  <a:pt x="896" y="492"/>
                  <a:pt x="896" y="492"/>
                  <a:pt x="896" y="492"/>
                </a:cubicBezTo>
                <a:cubicBezTo>
                  <a:pt x="896" y="491"/>
                  <a:pt x="896" y="491"/>
                  <a:pt x="896" y="491"/>
                </a:cubicBezTo>
                <a:cubicBezTo>
                  <a:pt x="895" y="489"/>
                  <a:pt x="895" y="489"/>
                  <a:pt x="895" y="489"/>
                </a:cubicBezTo>
                <a:cubicBezTo>
                  <a:pt x="891" y="488"/>
                  <a:pt x="891" y="488"/>
                  <a:pt x="891" y="488"/>
                </a:cubicBezTo>
                <a:cubicBezTo>
                  <a:pt x="888" y="488"/>
                  <a:pt x="888" y="488"/>
                  <a:pt x="888" y="488"/>
                </a:cubicBezTo>
                <a:cubicBezTo>
                  <a:pt x="886" y="488"/>
                  <a:pt x="886" y="488"/>
                  <a:pt x="886" y="488"/>
                </a:cubicBezTo>
                <a:cubicBezTo>
                  <a:pt x="888" y="487"/>
                  <a:pt x="888" y="487"/>
                  <a:pt x="888" y="487"/>
                </a:cubicBezTo>
                <a:cubicBezTo>
                  <a:pt x="890" y="487"/>
                  <a:pt x="890" y="487"/>
                  <a:pt x="890" y="487"/>
                </a:cubicBezTo>
                <a:cubicBezTo>
                  <a:pt x="893" y="487"/>
                  <a:pt x="893" y="487"/>
                  <a:pt x="893" y="487"/>
                </a:cubicBezTo>
                <a:cubicBezTo>
                  <a:pt x="894" y="486"/>
                  <a:pt x="894" y="486"/>
                  <a:pt x="894" y="486"/>
                </a:cubicBezTo>
                <a:cubicBezTo>
                  <a:pt x="896" y="487"/>
                  <a:pt x="896" y="487"/>
                  <a:pt x="896" y="487"/>
                </a:cubicBezTo>
                <a:cubicBezTo>
                  <a:pt x="898" y="488"/>
                  <a:pt x="898" y="488"/>
                  <a:pt x="898" y="488"/>
                </a:cubicBezTo>
                <a:cubicBezTo>
                  <a:pt x="900" y="488"/>
                  <a:pt x="900" y="488"/>
                  <a:pt x="900" y="488"/>
                </a:cubicBezTo>
                <a:cubicBezTo>
                  <a:pt x="903" y="486"/>
                  <a:pt x="903" y="486"/>
                  <a:pt x="903" y="486"/>
                </a:cubicBezTo>
                <a:cubicBezTo>
                  <a:pt x="904" y="486"/>
                  <a:pt x="904" y="486"/>
                  <a:pt x="904" y="486"/>
                </a:cubicBezTo>
                <a:cubicBezTo>
                  <a:pt x="907" y="484"/>
                  <a:pt x="907" y="484"/>
                  <a:pt x="907" y="484"/>
                </a:cubicBezTo>
                <a:cubicBezTo>
                  <a:pt x="909" y="484"/>
                  <a:pt x="909" y="484"/>
                  <a:pt x="909" y="484"/>
                </a:cubicBezTo>
                <a:cubicBezTo>
                  <a:pt x="910" y="480"/>
                  <a:pt x="910" y="480"/>
                  <a:pt x="910" y="480"/>
                </a:cubicBezTo>
                <a:cubicBezTo>
                  <a:pt x="909" y="480"/>
                  <a:pt x="909" y="480"/>
                  <a:pt x="909" y="480"/>
                </a:cubicBezTo>
                <a:cubicBezTo>
                  <a:pt x="911" y="479"/>
                  <a:pt x="911" y="479"/>
                  <a:pt x="911" y="479"/>
                </a:cubicBezTo>
                <a:cubicBezTo>
                  <a:pt x="910" y="478"/>
                  <a:pt x="910" y="478"/>
                  <a:pt x="910" y="478"/>
                </a:cubicBezTo>
                <a:cubicBezTo>
                  <a:pt x="908" y="477"/>
                  <a:pt x="908" y="477"/>
                  <a:pt x="908" y="477"/>
                </a:cubicBezTo>
                <a:cubicBezTo>
                  <a:pt x="906" y="477"/>
                  <a:pt x="906" y="477"/>
                  <a:pt x="906" y="477"/>
                </a:cubicBezTo>
                <a:cubicBezTo>
                  <a:pt x="906" y="476"/>
                  <a:pt x="906" y="476"/>
                  <a:pt x="906" y="476"/>
                </a:cubicBezTo>
                <a:cubicBezTo>
                  <a:pt x="906" y="476"/>
                  <a:pt x="906" y="476"/>
                  <a:pt x="906" y="476"/>
                </a:cubicBezTo>
                <a:cubicBezTo>
                  <a:pt x="909" y="477"/>
                  <a:pt x="909" y="477"/>
                  <a:pt x="909" y="477"/>
                </a:cubicBezTo>
                <a:cubicBezTo>
                  <a:pt x="909" y="476"/>
                  <a:pt x="909" y="476"/>
                  <a:pt x="909" y="476"/>
                </a:cubicBezTo>
                <a:cubicBezTo>
                  <a:pt x="905" y="473"/>
                  <a:pt x="905" y="473"/>
                  <a:pt x="905" y="473"/>
                </a:cubicBezTo>
                <a:cubicBezTo>
                  <a:pt x="901" y="472"/>
                  <a:pt x="901" y="472"/>
                  <a:pt x="901" y="472"/>
                </a:cubicBezTo>
                <a:cubicBezTo>
                  <a:pt x="895" y="472"/>
                  <a:pt x="895" y="472"/>
                  <a:pt x="895" y="472"/>
                </a:cubicBezTo>
                <a:cubicBezTo>
                  <a:pt x="893" y="473"/>
                  <a:pt x="893" y="473"/>
                  <a:pt x="893" y="473"/>
                </a:cubicBezTo>
                <a:cubicBezTo>
                  <a:pt x="890" y="473"/>
                  <a:pt x="890" y="473"/>
                  <a:pt x="890" y="473"/>
                </a:cubicBezTo>
                <a:cubicBezTo>
                  <a:pt x="884" y="475"/>
                  <a:pt x="884" y="475"/>
                  <a:pt x="884" y="475"/>
                </a:cubicBezTo>
                <a:cubicBezTo>
                  <a:pt x="879" y="476"/>
                  <a:pt x="879" y="476"/>
                  <a:pt x="879" y="476"/>
                </a:cubicBezTo>
                <a:cubicBezTo>
                  <a:pt x="876" y="478"/>
                  <a:pt x="876" y="478"/>
                  <a:pt x="876" y="478"/>
                </a:cubicBezTo>
                <a:cubicBezTo>
                  <a:pt x="873" y="478"/>
                  <a:pt x="873" y="478"/>
                  <a:pt x="873" y="478"/>
                </a:cubicBezTo>
                <a:cubicBezTo>
                  <a:pt x="869" y="481"/>
                  <a:pt x="869" y="481"/>
                  <a:pt x="869" y="481"/>
                </a:cubicBezTo>
                <a:cubicBezTo>
                  <a:pt x="862" y="486"/>
                  <a:pt x="862" y="486"/>
                  <a:pt x="862" y="486"/>
                </a:cubicBezTo>
                <a:cubicBezTo>
                  <a:pt x="857" y="490"/>
                  <a:pt x="857" y="490"/>
                  <a:pt x="857" y="490"/>
                </a:cubicBezTo>
                <a:cubicBezTo>
                  <a:pt x="855" y="491"/>
                  <a:pt x="855" y="491"/>
                  <a:pt x="855" y="491"/>
                </a:cubicBezTo>
                <a:cubicBezTo>
                  <a:pt x="853" y="493"/>
                  <a:pt x="853" y="493"/>
                  <a:pt x="853" y="493"/>
                </a:cubicBezTo>
                <a:cubicBezTo>
                  <a:pt x="850" y="497"/>
                  <a:pt x="850" y="497"/>
                  <a:pt x="850" y="497"/>
                </a:cubicBezTo>
                <a:cubicBezTo>
                  <a:pt x="847" y="499"/>
                  <a:pt x="847" y="499"/>
                  <a:pt x="847" y="499"/>
                </a:cubicBezTo>
                <a:cubicBezTo>
                  <a:pt x="842" y="501"/>
                  <a:pt x="842" y="501"/>
                  <a:pt x="842" y="501"/>
                </a:cubicBezTo>
                <a:cubicBezTo>
                  <a:pt x="837" y="504"/>
                  <a:pt x="837" y="504"/>
                  <a:pt x="837" y="504"/>
                </a:cubicBezTo>
                <a:cubicBezTo>
                  <a:pt x="835" y="503"/>
                  <a:pt x="835" y="503"/>
                  <a:pt x="835" y="503"/>
                </a:cubicBezTo>
                <a:cubicBezTo>
                  <a:pt x="838" y="503"/>
                  <a:pt x="838" y="503"/>
                  <a:pt x="838" y="503"/>
                </a:cubicBezTo>
                <a:cubicBezTo>
                  <a:pt x="843" y="500"/>
                  <a:pt x="843" y="500"/>
                  <a:pt x="843" y="500"/>
                </a:cubicBezTo>
                <a:cubicBezTo>
                  <a:pt x="843" y="499"/>
                  <a:pt x="843" y="499"/>
                  <a:pt x="843" y="499"/>
                </a:cubicBezTo>
                <a:cubicBezTo>
                  <a:pt x="848" y="496"/>
                  <a:pt x="848" y="496"/>
                  <a:pt x="848" y="496"/>
                </a:cubicBezTo>
                <a:cubicBezTo>
                  <a:pt x="849" y="494"/>
                  <a:pt x="849" y="494"/>
                  <a:pt x="849" y="494"/>
                </a:cubicBezTo>
                <a:cubicBezTo>
                  <a:pt x="850" y="491"/>
                  <a:pt x="850" y="491"/>
                  <a:pt x="850" y="491"/>
                </a:cubicBezTo>
                <a:cubicBezTo>
                  <a:pt x="852" y="491"/>
                  <a:pt x="852" y="491"/>
                  <a:pt x="852" y="491"/>
                </a:cubicBezTo>
                <a:cubicBezTo>
                  <a:pt x="855" y="489"/>
                  <a:pt x="855" y="489"/>
                  <a:pt x="855" y="489"/>
                </a:cubicBezTo>
                <a:cubicBezTo>
                  <a:pt x="857" y="487"/>
                  <a:pt x="857" y="487"/>
                  <a:pt x="857" y="487"/>
                </a:cubicBezTo>
                <a:cubicBezTo>
                  <a:pt x="858" y="484"/>
                  <a:pt x="858" y="484"/>
                  <a:pt x="858" y="484"/>
                </a:cubicBezTo>
                <a:cubicBezTo>
                  <a:pt x="862" y="482"/>
                  <a:pt x="862" y="482"/>
                  <a:pt x="862" y="482"/>
                </a:cubicBezTo>
                <a:cubicBezTo>
                  <a:pt x="865" y="478"/>
                  <a:pt x="865" y="478"/>
                  <a:pt x="865" y="478"/>
                </a:cubicBezTo>
                <a:cubicBezTo>
                  <a:pt x="866" y="478"/>
                  <a:pt x="866" y="478"/>
                  <a:pt x="866" y="478"/>
                </a:cubicBezTo>
                <a:cubicBezTo>
                  <a:pt x="866" y="477"/>
                  <a:pt x="866" y="477"/>
                  <a:pt x="866" y="477"/>
                </a:cubicBezTo>
                <a:cubicBezTo>
                  <a:pt x="868" y="475"/>
                  <a:pt x="868" y="475"/>
                  <a:pt x="868" y="475"/>
                </a:cubicBezTo>
                <a:cubicBezTo>
                  <a:pt x="870" y="475"/>
                  <a:pt x="870" y="475"/>
                  <a:pt x="870" y="475"/>
                </a:cubicBezTo>
                <a:cubicBezTo>
                  <a:pt x="871" y="472"/>
                  <a:pt x="871" y="472"/>
                  <a:pt x="871" y="472"/>
                </a:cubicBezTo>
                <a:cubicBezTo>
                  <a:pt x="873" y="471"/>
                  <a:pt x="873" y="471"/>
                  <a:pt x="873" y="471"/>
                </a:cubicBezTo>
                <a:cubicBezTo>
                  <a:pt x="874" y="472"/>
                  <a:pt x="874" y="472"/>
                  <a:pt x="874" y="472"/>
                </a:cubicBezTo>
                <a:cubicBezTo>
                  <a:pt x="875" y="472"/>
                  <a:pt x="875" y="472"/>
                  <a:pt x="875" y="472"/>
                </a:cubicBezTo>
                <a:cubicBezTo>
                  <a:pt x="876" y="470"/>
                  <a:pt x="876" y="470"/>
                  <a:pt x="876" y="470"/>
                </a:cubicBezTo>
                <a:cubicBezTo>
                  <a:pt x="880" y="469"/>
                  <a:pt x="880" y="469"/>
                  <a:pt x="880" y="469"/>
                </a:cubicBezTo>
                <a:cubicBezTo>
                  <a:pt x="881" y="469"/>
                  <a:pt x="881" y="469"/>
                  <a:pt x="881" y="469"/>
                </a:cubicBezTo>
                <a:cubicBezTo>
                  <a:pt x="885" y="469"/>
                  <a:pt x="885" y="469"/>
                  <a:pt x="885" y="469"/>
                </a:cubicBezTo>
                <a:cubicBezTo>
                  <a:pt x="886" y="467"/>
                  <a:pt x="886" y="467"/>
                  <a:pt x="886" y="467"/>
                </a:cubicBezTo>
                <a:cubicBezTo>
                  <a:pt x="886" y="465"/>
                  <a:pt x="886" y="465"/>
                  <a:pt x="886" y="465"/>
                </a:cubicBezTo>
                <a:cubicBezTo>
                  <a:pt x="887" y="463"/>
                  <a:pt x="887" y="463"/>
                  <a:pt x="887" y="463"/>
                </a:cubicBezTo>
                <a:cubicBezTo>
                  <a:pt x="887" y="462"/>
                  <a:pt x="887" y="462"/>
                  <a:pt x="887" y="462"/>
                </a:cubicBezTo>
                <a:cubicBezTo>
                  <a:pt x="889" y="461"/>
                  <a:pt x="889" y="461"/>
                  <a:pt x="889" y="461"/>
                </a:cubicBezTo>
                <a:cubicBezTo>
                  <a:pt x="893" y="457"/>
                  <a:pt x="893" y="457"/>
                  <a:pt x="893" y="457"/>
                </a:cubicBezTo>
                <a:cubicBezTo>
                  <a:pt x="895" y="457"/>
                  <a:pt x="895" y="457"/>
                  <a:pt x="895" y="457"/>
                </a:cubicBezTo>
                <a:cubicBezTo>
                  <a:pt x="896" y="456"/>
                  <a:pt x="896" y="456"/>
                  <a:pt x="896" y="456"/>
                </a:cubicBezTo>
                <a:cubicBezTo>
                  <a:pt x="895" y="455"/>
                  <a:pt x="895" y="455"/>
                  <a:pt x="895" y="455"/>
                </a:cubicBezTo>
                <a:cubicBezTo>
                  <a:pt x="896" y="454"/>
                  <a:pt x="896" y="454"/>
                  <a:pt x="896" y="454"/>
                </a:cubicBezTo>
                <a:cubicBezTo>
                  <a:pt x="897" y="453"/>
                  <a:pt x="897" y="453"/>
                  <a:pt x="897" y="453"/>
                </a:cubicBezTo>
                <a:cubicBezTo>
                  <a:pt x="899" y="455"/>
                  <a:pt x="899" y="455"/>
                  <a:pt x="899" y="455"/>
                </a:cubicBezTo>
                <a:cubicBezTo>
                  <a:pt x="902" y="456"/>
                  <a:pt x="902" y="456"/>
                  <a:pt x="902" y="456"/>
                </a:cubicBezTo>
                <a:cubicBezTo>
                  <a:pt x="906" y="455"/>
                  <a:pt x="906" y="455"/>
                  <a:pt x="906" y="455"/>
                </a:cubicBezTo>
                <a:cubicBezTo>
                  <a:pt x="909" y="456"/>
                  <a:pt x="909" y="456"/>
                  <a:pt x="909" y="456"/>
                </a:cubicBezTo>
                <a:cubicBezTo>
                  <a:pt x="910" y="456"/>
                  <a:pt x="910" y="456"/>
                  <a:pt x="910" y="456"/>
                </a:cubicBezTo>
                <a:cubicBezTo>
                  <a:pt x="911" y="457"/>
                  <a:pt x="911" y="457"/>
                  <a:pt x="911" y="457"/>
                </a:cubicBezTo>
                <a:cubicBezTo>
                  <a:pt x="914" y="455"/>
                  <a:pt x="914" y="455"/>
                  <a:pt x="914" y="455"/>
                </a:cubicBezTo>
                <a:cubicBezTo>
                  <a:pt x="915" y="457"/>
                  <a:pt x="915" y="457"/>
                  <a:pt x="915" y="457"/>
                </a:cubicBezTo>
                <a:cubicBezTo>
                  <a:pt x="917" y="457"/>
                  <a:pt x="917" y="457"/>
                  <a:pt x="917" y="457"/>
                </a:cubicBezTo>
                <a:cubicBezTo>
                  <a:pt x="919" y="456"/>
                  <a:pt x="919" y="456"/>
                  <a:pt x="919" y="456"/>
                </a:cubicBezTo>
                <a:cubicBezTo>
                  <a:pt x="921" y="457"/>
                  <a:pt x="921" y="457"/>
                  <a:pt x="921" y="457"/>
                </a:cubicBezTo>
                <a:cubicBezTo>
                  <a:pt x="924" y="457"/>
                  <a:pt x="924" y="457"/>
                  <a:pt x="924" y="457"/>
                </a:cubicBezTo>
                <a:cubicBezTo>
                  <a:pt x="925" y="456"/>
                  <a:pt x="925" y="456"/>
                  <a:pt x="925" y="456"/>
                </a:cubicBezTo>
                <a:cubicBezTo>
                  <a:pt x="926" y="456"/>
                  <a:pt x="926" y="456"/>
                  <a:pt x="926" y="456"/>
                </a:cubicBezTo>
                <a:cubicBezTo>
                  <a:pt x="928" y="458"/>
                  <a:pt x="928" y="458"/>
                  <a:pt x="928" y="458"/>
                </a:cubicBezTo>
                <a:cubicBezTo>
                  <a:pt x="930" y="458"/>
                  <a:pt x="930" y="458"/>
                  <a:pt x="930" y="458"/>
                </a:cubicBezTo>
                <a:cubicBezTo>
                  <a:pt x="931" y="458"/>
                  <a:pt x="931" y="458"/>
                  <a:pt x="931" y="458"/>
                </a:cubicBezTo>
                <a:cubicBezTo>
                  <a:pt x="934" y="459"/>
                  <a:pt x="934" y="459"/>
                  <a:pt x="934" y="459"/>
                </a:cubicBezTo>
                <a:cubicBezTo>
                  <a:pt x="936" y="459"/>
                  <a:pt x="936" y="459"/>
                  <a:pt x="936" y="459"/>
                </a:cubicBezTo>
                <a:cubicBezTo>
                  <a:pt x="938" y="458"/>
                  <a:pt x="938" y="458"/>
                  <a:pt x="938" y="458"/>
                </a:cubicBezTo>
                <a:cubicBezTo>
                  <a:pt x="939" y="458"/>
                  <a:pt x="939" y="458"/>
                  <a:pt x="939" y="458"/>
                </a:cubicBezTo>
                <a:cubicBezTo>
                  <a:pt x="939" y="460"/>
                  <a:pt x="939" y="460"/>
                  <a:pt x="939" y="460"/>
                </a:cubicBezTo>
                <a:cubicBezTo>
                  <a:pt x="941" y="460"/>
                  <a:pt x="941" y="460"/>
                  <a:pt x="941" y="460"/>
                </a:cubicBezTo>
                <a:cubicBezTo>
                  <a:pt x="945" y="458"/>
                  <a:pt x="945" y="458"/>
                  <a:pt x="945" y="458"/>
                </a:cubicBezTo>
                <a:cubicBezTo>
                  <a:pt x="946" y="459"/>
                  <a:pt x="946" y="459"/>
                  <a:pt x="946" y="459"/>
                </a:cubicBezTo>
                <a:cubicBezTo>
                  <a:pt x="949" y="458"/>
                  <a:pt x="949" y="458"/>
                  <a:pt x="949" y="458"/>
                </a:cubicBezTo>
                <a:cubicBezTo>
                  <a:pt x="949" y="458"/>
                  <a:pt x="949" y="458"/>
                  <a:pt x="949" y="458"/>
                </a:cubicBezTo>
                <a:cubicBezTo>
                  <a:pt x="953" y="459"/>
                  <a:pt x="953" y="459"/>
                  <a:pt x="953" y="459"/>
                </a:cubicBezTo>
                <a:cubicBezTo>
                  <a:pt x="954" y="459"/>
                  <a:pt x="954" y="459"/>
                  <a:pt x="954" y="459"/>
                </a:cubicBezTo>
                <a:cubicBezTo>
                  <a:pt x="956" y="459"/>
                  <a:pt x="956" y="459"/>
                  <a:pt x="956" y="459"/>
                </a:cubicBezTo>
                <a:cubicBezTo>
                  <a:pt x="956" y="457"/>
                  <a:pt x="956" y="457"/>
                  <a:pt x="956" y="457"/>
                </a:cubicBezTo>
                <a:cubicBezTo>
                  <a:pt x="958" y="457"/>
                  <a:pt x="958" y="457"/>
                  <a:pt x="958" y="457"/>
                </a:cubicBezTo>
                <a:cubicBezTo>
                  <a:pt x="959" y="457"/>
                  <a:pt x="959" y="457"/>
                  <a:pt x="959" y="457"/>
                </a:cubicBezTo>
                <a:cubicBezTo>
                  <a:pt x="960" y="457"/>
                  <a:pt x="960" y="457"/>
                  <a:pt x="960" y="457"/>
                </a:cubicBezTo>
                <a:cubicBezTo>
                  <a:pt x="962" y="455"/>
                  <a:pt x="962" y="455"/>
                  <a:pt x="962" y="455"/>
                </a:cubicBezTo>
                <a:cubicBezTo>
                  <a:pt x="963" y="454"/>
                  <a:pt x="963" y="454"/>
                  <a:pt x="963" y="454"/>
                </a:cubicBezTo>
                <a:cubicBezTo>
                  <a:pt x="964" y="453"/>
                  <a:pt x="964" y="453"/>
                  <a:pt x="964" y="453"/>
                </a:cubicBezTo>
                <a:cubicBezTo>
                  <a:pt x="965" y="453"/>
                  <a:pt x="965" y="453"/>
                  <a:pt x="965" y="453"/>
                </a:cubicBezTo>
                <a:cubicBezTo>
                  <a:pt x="967" y="451"/>
                  <a:pt x="967" y="451"/>
                  <a:pt x="967" y="451"/>
                </a:cubicBezTo>
                <a:cubicBezTo>
                  <a:pt x="967" y="449"/>
                  <a:pt x="967" y="449"/>
                  <a:pt x="967" y="449"/>
                </a:cubicBezTo>
                <a:cubicBezTo>
                  <a:pt x="968" y="449"/>
                  <a:pt x="968" y="449"/>
                  <a:pt x="968" y="449"/>
                </a:cubicBezTo>
                <a:cubicBezTo>
                  <a:pt x="970" y="448"/>
                  <a:pt x="970" y="448"/>
                  <a:pt x="970" y="448"/>
                </a:cubicBezTo>
                <a:cubicBezTo>
                  <a:pt x="970" y="446"/>
                  <a:pt x="970" y="446"/>
                  <a:pt x="970" y="446"/>
                </a:cubicBezTo>
                <a:cubicBezTo>
                  <a:pt x="969" y="446"/>
                  <a:pt x="969" y="446"/>
                  <a:pt x="969" y="446"/>
                </a:cubicBezTo>
                <a:cubicBezTo>
                  <a:pt x="970" y="445"/>
                  <a:pt x="970" y="445"/>
                  <a:pt x="970" y="445"/>
                </a:cubicBezTo>
                <a:cubicBezTo>
                  <a:pt x="972" y="445"/>
                  <a:pt x="972" y="445"/>
                  <a:pt x="972" y="445"/>
                </a:cubicBezTo>
                <a:cubicBezTo>
                  <a:pt x="974" y="445"/>
                  <a:pt x="974" y="445"/>
                  <a:pt x="974" y="445"/>
                </a:cubicBezTo>
                <a:cubicBezTo>
                  <a:pt x="974" y="444"/>
                  <a:pt x="974" y="444"/>
                  <a:pt x="974" y="444"/>
                </a:cubicBezTo>
                <a:cubicBezTo>
                  <a:pt x="974" y="443"/>
                  <a:pt x="974" y="443"/>
                  <a:pt x="974" y="443"/>
                </a:cubicBezTo>
                <a:cubicBezTo>
                  <a:pt x="975" y="445"/>
                  <a:pt x="975" y="445"/>
                  <a:pt x="975" y="445"/>
                </a:cubicBezTo>
                <a:cubicBezTo>
                  <a:pt x="977" y="445"/>
                  <a:pt x="977" y="445"/>
                  <a:pt x="977" y="445"/>
                </a:cubicBezTo>
                <a:cubicBezTo>
                  <a:pt x="979" y="443"/>
                  <a:pt x="979" y="443"/>
                  <a:pt x="979" y="443"/>
                </a:cubicBezTo>
                <a:cubicBezTo>
                  <a:pt x="980" y="444"/>
                  <a:pt x="980" y="444"/>
                  <a:pt x="980" y="444"/>
                </a:cubicBezTo>
                <a:cubicBezTo>
                  <a:pt x="982" y="444"/>
                  <a:pt x="982" y="444"/>
                  <a:pt x="982" y="444"/>
                </a:cubicBezTo>
                <a:cubicBezTo>
                  <a:pt x="983" y="444"/>
                  <a:pt x="983" y="444"/>
                  <a:pt x="983" y="444"/>
                </a:cubicBezTo>
                <a:cubicBezTo>
                  <a:pt x="984" y="445"/>
                  <a:pt x="984" y="445"/>
                  <a:pt x="984" y="445"/>
                </a:cubicBezTo>
                <a:cubicBezTo>
                  <a:pt x="986" y="444"/>
                  <a:pt x="986" y="444"/>
                  <a:pt x="986" y="444"/>
                </a:cubicBezTo>
                <a:cubicBezTo>
                  <a:pt x="986" y="443"/>
                  <a:pt x="986" y="443"/>
                  <a:pt x="986" y="443"/>
                </a:cubicBezTo>
                <a:cubicBezTo>
                  <a:pt x="987" y="443"/>
                  <a:pt x="987" y="443"/>
                  <a:pt x="987" y="443"/>
                </a:cubicBezTo>
                <a:cubicBezTo>
                  <a:pt x="989" y="442"/>
                  <a:pt x="989" y="442"/>
                  <a:pt x="989" y="442"/>
                </a:cubicBezTo>
                <a:cubicBezTo>
                  <a:pt x="990" y="442"/>
                  <a:pt x="990" y="442"/>
                  <a:pt x="990" y="442"/>
                </a:cubicBezTo>
                <a:cubicBezTo>
                  <a:pt x="992" y="440"/>
                  <a:pt x="992" y="440"/>
                  <a:pt x="992" y="440"/>
                </a:cubicBezTo>
                <a:cubicBezTo>
                  <a:pt x="994" y="440"/>
                  <a:pt x="994" y="440"/>
                  <a:pt x="994" y="440"/>
                </a:cubicBezTo>
                <a:cubicBezTo>
                  <a:pt x="997" y="438"/>
                  <a:pt x="997" y="438"/>
                  <a:pt x="997" y="438"/>
                </a:cubicBezTo>
                <a:cubicBezTo>
                  <a:pt x="998" y="436"/>
                  <a:pt x="998" y="436"/>
                  <a:pt x="998" y="436"/>
                </a:cubicBezTo>
                <a:cubicBezTo>
                  <a:pt x="999" y="436"/>
                  <a:pt x="999" y="436"/>
                  <a:pt x="999" y="436"/>
                </a:cubicBezTo>
                <a:cubicBezTo>
                  <a:pt x="999" y="434"/>
                  <a:pt x="999" y="434"/>
                  <a:pt x="999" y="434"/>
                </a:cubicBezTo>
                <a:cubicBezTo>
                  <a:pt x="1000" y="432"/>
                  <a:pt x="1000" y="432"/>
                  <a:pt x="1000" y="432"/>
                </a:cubicBezTo>
                <a:cubicBezTo>
                  <a:pt x="999" y="432"/>
                  <a:pt x="999" y="432"/>
                  <a:pt x="999" y="432"/>
                </a:cubicBezTo>
                <a:cubicBezTo>
                  <a:pt x="997" y="432"/>
                  <a:pt x="997" y="432"/>
                  <a:pt x="997" y="432"/>
                </a:cubicBezTo>
                <a:cubicBezTo>
                  <a:pt x="996" y="431"/>
                  <a:pt x="996" y="431"/>
                  <a:pt x="996" y="431"/>
                </a:cubicBezTo>
                <a:cubicBezTo>
                  <a:pt x="997" y="431"/>
                  <a:pt x="997" y="431"/>
                  <a:pt x="997" y="431"/>
                </a:cubicBezTo>
                <a:cubicBezTo>
                  <a:pt x="999" y="431"/>
                  <a:pt x="999" y="431"/>
                  <a:pt x="999" y="431"/>
                </a:cubicBezTo>
                <a:cubicBezTo>
                  <a:pt x="1000" y="431"/>
                  <a:pt x="1000" y="431"/>
                  <a:pt x="1000" y="431"/>
                </a:cubicBezTo>
                <a:cubicBezTo>
                  <a:pt x="999" y="429"/>
                  <a:pt x="999" y="429"/>
                  <a:pt x="999" y="429"/>
                </a:cubicBezTo>
                <a:cubicBezTo>
                  <a:pt x="997" y="429"/>
                  <a:pt x="997" y="429"/>
                  <a:pt x="997" y="429"/>
                </a:cubicBezTo>
                <a:cubicBezTo>
                  <a:pt x="994" y="428"/>
                  <a:pt x="994" y="428"/>
                  <a:pt x="994" y="428"/>
                </a:cubicBezTo>
                <a:cubicBezTo>
                  <a:pt x="993" y="426"/>
                  <a:pt x="993" y="426"/>
                  <a:pt x="993" y="426"/>
                </a:cubicBezTo>
                <a:cubicBezTo>
                  <a:pt x="996" y="428"/>
                  <a:pt x="996" y="428"/>
                  <a:pt x="996" y="428"/>
                </a:cubicBezTo>
                <a:cubicBezTo>
                  <a:pt x="997" y="427"/>
                  <a:pt x="997" y="427"/>
                  <a:pt x="997" y="427"/>
                </a:cubicBezTo>
                <a:cubicBezTo>
                  <a:pt x="998" y="425"/>
                  <a:pt x="998" y="425"/>
                  <a:pt x="998" y="425"/>
                </a:cubicBezTo>
                <a:cubicBezTo>
                  <a:pt x="999" y="425"/>
                  <a:pt x="999" y="425"/>
                  <a:pt x="999" y="425"/>
                </a:cubicBezTo>
                <a:cubicBezTo>
                  <a:pt x="1000" y="423"/>
                  <a:pt x="1000" y="423"/>
                  <a:pt x="1000" y="423"/>
                </a:cubicBezTo>
                <a:cubicBezTo>
                  <a:pt x="997" y="422"/>
                  <a:pt x="997" y="422"/>
                  <a:pt x="997" y="422"/>
                </a:cubicBezTo>
                <a:cubicBezTo>
                  <a:pt x="999" y="421"/>
                  <a:pt x="999" y="421"/>
                  <a:pt x="999" y="421"/>
                </a:cubicBezTo>
                <a:cubicBezTo>
                  <a:pt x="1000" y="421"/>
                  <a:pt x="1000" y="421"/>
                  <a:pt x="1000" y="421"/>
                </a:cubicBezTo>
                <a:cubicBezTo>
                  <a:pt x="1002" y="420"/>
                  <a:pt x="1002" y="420"/>
                  <a:pt x="1002" y="420"/>
                </a:cubicBezTo>
                <a:cubicBezTo>
                  <a:pt x="1002" y="418"/>
                  <a:pt x="1002" y="418"/>
                  <a:pt x="1002" y="418"/>
                </a:cubicBezTo>
                <a:cubicBezTo>
                  <a:pt x="999" y="417"/>
                  <a:pt x="999" y="417"/>
                  <a:pt x="999" y="417"/>
                </a:cubicBezTo>
                <a:cubicBezTo>
                  <a:pt x="998" y="415"/>
                  <a:pt x="998" y="415"/>
                  <a:pt x="998" y="415"/>
                </a:cubicBezTo>
                <a:cubicBezTo>
                  <a:pt x="999" y="415"/>
                  <a:pt x="999" y="415"/>
                  <a:pt x="999" y="415"/>
                </a:cubicBezTo>
                <a:cubicBezTo>
                  <a:pt x="1001" y="416"/>
                  <a:pt x="1001" y="416"/>
                  <a:pt x="1001" y="416"/>
                </a:cubicBezTo>
                <a:cubicBezTo>
                  <a:pt x="1001" y="415"/>
                  <a:pt x="1001" y="415"/>
                  <a:pt x="1001" y="415"/>
                </a:cubicBezTo>
                <a:cubicBezTo>
                  <a:pt x="998" y="414"/>
                  <a:pt x="998" y="414"/>
                  <a:pt x="998" y="414"/>
                </a:cubicBezTo>
                <a:cubicBezTo>
                  <a:pt x="995" y="414"/>
                  <a:pt x="995" y="414"/>
                  <a:pt x="995" y="414"/>
                </a:cubicBezTo>
                <a:cubicBezTo>
                  <a:pt x="996" y="412"/>
                  <a:pt x="996" y="412"/>
                  <a:pt x="996" y="412"/>
                </a:cubicBezTo>
                <a:cubicBezTo>
                  <a:pt x="996" y="412"/>
                  <a:pt x="996" y="412"/>
                  <a:pt x="996" y="412"/>
                </a:cubicBezTo>
                <a:cubicBezTo>
                  <a:pt x="996" y="411"/>
                  <a:pt x="996" y="411"/>
                  <a:pt x="996" y="411"/>
                </a:cubicBezTo>
                <a:cubicBezTo>
                  <a:pt x="994" y="411"/>
                  <a:pt x="994" y="411"/>
                  <a:pt x="994" y="411"/>
                </a:cubicBezTo>
                <a:cubicBezTo>
                  <a:pt x="991" y="413"/>
                  <a:pt x="991" y="413"/>
                  <a:pt x="991" y="413"/>
                </a:cubicBezTo>
                <a:cubicBezTo>
                  <a:pt x="990" y="414"/>
                  <a:pt x="990" y="414"/>
                  <a:pt x="990" y="414"/>
                </a:cubicBezTo>
                <a:cubicBezTo>
                  <a:pt x="989" y="415"/>
                  <a:pt x="989" y="415"/>
                  <a:pt x="989" y="415"/>
                </a:cubicBezTo>
                <a:cubicBezTo>
                  <a:pt x="988" y="414"/>
                  <a:pt x="988" y="414"/>
                  <a:pt x="988" y="414"/>
                </a:cubicBezTo>
                <a:cubicBezTo>
                  <a:pt x="986" y="414"/>
                  <a:pt x="986" y="414"/>
                  <a:pt x="986" y="414"/>
                </a:cubicBezTo>
                <a:cubicBezTo>
                  <a:pt x="987" y="412"/>
                  <a:pt x="987" y="412"/>
                  <a:pt x="987" y="412"/>
                </a:cubicBezTo>
                <a:cubicBezTo>
                  <a:pt x="988" y="412"/>
                  <a:pt x="988" y="412"/>
                  <a:pt x="988" y="412"/>
                </a:cubicBezTo>
                <a:cubicBezTo>
                  <a:pt x="991" y="410"/>
                  <a:pt x="991" y="410"/>
                  <a:pt x="991" y="410"/>
                </a:cubicBezTo>
                <a:cubicBezTo>
                  <a:pt x="991" y="408"/>
                  <a:pt x="991" y="408"/>
                  <a:pt x="991" y="408"/>
                </a:cubicBezTo>
                <a:cubicBezTo>
                  <a:pt x="989" y="405"/>
                  <a:pt x="989" y="405"/>
                  <a:pt x="989" y="405"/>
                </a:cubicBezTo>
                <a:cubicBezTo>
                  <a:pt x="986" y="404"/>
                  <a:pt x="986" y="404"/>
                  <a:pt x="986" y="404"/>
                </a:cubicBezTo>
                <a:cubicBezTo>
                  <a:pt x="982" y="405"/>
                  <a:pt x="982" y="405"/>
                  <a:pt x="982" y="405"/>
                </a:cubicBezTo>
                <a:cubicBezTo>
                  <a:pt x="980" y="405"/>
                  <a:pt x="980" y="405"/>
                  <a:pt x="980" y="405"/>
                </a:cubicBezTo>
                <a:cubicBezTo>
                  <a:pt x="981" y="406"/>
                  <a:pt x="981" y="406"/>
                  <a:pt x="981" y="406"/>
                </a:cubicBezTo>
                <a:cubicBezTo>
                  <a:pt x="983" y="406"/>
                  <a:pt x="983" y="406"/>
                  <a:pt x="983" y="406"/>
                </a:cubicBezTo>
                <a:cubicBezTo>
                  <a:pt x="984" y="406"/>
                  <a:pt x="984" y="406"/>
                  <a:pt x="984" y="406"/>
                </a:cubicBezTo>
                <a:cubicBezTo>
                  <a:pt x="982" y="406"/>
                  <a:pt x="982" y="406"/>
                  <a:pt x="982" y="406"/>
                </a:cubicBezTo>
                <a:cubicBezTo>
                  <a:pt x="979" y="406"/>
                  <a:pt x="979" y="406"/>
                  <a:pt x="979" y="406"/>
                </a:cubicBezTo>
                <a:cubicBezTo>
                  <a:pt x="976" y="408"/>
                  <a:pt x="976" y="408"/>
                  <a:pt x="976" y="408"/>
                </a:cubicBezTo>
                <a:cubicBezTo>
                  <a:pt x="974" y="408"/>
                  <a:pt x="974" y="408"/>
                  <a:pt x="974" y="408"/>
                </a:cubicBezTo>
                <a:cubicBezTo>
                  <a:pt x="972" y="410"/>
                  <a:pt x="972" y="410"/>
                  <a:pt x="972" y="410"/>
                </a:cubicBezTo>
                <a:cubicBezTo>
                  <a:pt x="971" y="412"/>
                  <a:pt x="971" y="412"/>
                  <a:pt x="971" y="412"/>
                </a:cubicBezTo>
                <a:cubicBezTo>
                  <a:pt x="970" y="412"/>
                  <a:pt x="970" y="412"/>
                  <a:pt x="970" y="412"/>
                </a:cubicBezTo>
                <a:cubicBezTo>
                  <a:pt x="968" y="414"/>
                  <a:pt x="968" y="414"/>
                  <a:pt x="968" y="414"/>
                </a:cubicBezTo>
                <a:cubicBezTo>
                  <a:pt x="965" y="414"/>
                  <a:pt x="965" y="414"/>
                  <a:pt x="965" y="414"/>
                </a:cubicBezTo>
                <a:cubicBezTo>
                  <a:pt x="963" y="417"/>
                  <a:pt x="963" y="417"/>
                  <a:pt x="963" y="417"/>
                </a:cubicBezTo>
                <a:cubicBezTo>
                  <a:pt x="962" y="417"/>
                  <a:pt x="962" y="417"/>
                  <a:pt x="962" y="417"/>
                </a:cubicBezTo>
                <a:cubicBezTo>
                  <a:pt x="961" y="418"/>
                  <a:pt x="961" y="418"/>
                  <a:pt x="961" y="418"/>
                </a:cubicBezTo>
                <a:cubicBezTo>
                  <a:pt x="960" y="418"/>
                  <a:pt x="960" y="418"/>
                  <a:pt x="960" y="418"/>
                </a:cubicBezTo>
                <a:cubicBezTo>
                  <a:pt x="959" y="416"/>
                  <a:pt x="959" y="416"/>
                  <a:pt x="959" y="416"/>
                </a:cubicBezTo>
                <a:cubicBezTo>
                  <a:pt x="960" y="415"/>
                  <a:pt x="960" y="415"/>
                  <a:pt x="960" y="415"/>
                </a:cubicBezTo>
                <a:cubicBezTo>
                  <a:pt x="961" y="415"/>
                  <a:pt x="961" y="415"/>
                  <a:pt x="961" y="415"/>
                </a:cubicBezTo>
                <a:cubicBezTo>
                  <a:pt x="962" y="414"/>
                  <a:pt x="962" y="414"/>
                  <a:pt x="962" y="414"/>
                </a:cubicBezTo>
                <a:cubicBezTo>
                  <a:pt x="958" y="411"/>
                  <a:pt x="958" y="411"/>
                  <a:pt x="958" y="411"/>
                </a:cubicBezTo>
                <a:cubicBezTo>
                  <a:pt x="958" y="410"/>
                  <a:pt x="958" y="410"/>
                  <a:pt x="958" y="410"/>
                </a:cubicBezTo>
                <a:cubicBezTo>
                  <a:pt x="956" y="409"/>
                  <a:pt x="956" y="409"/>
                  <a:pt x="956" y="409"/>
                </a:cubicBezTo>
                <a:cubicBezTo>
                  <a:pt x="957" y="408"/>
                  <a:pt x="957" y="408"/>
                  <a:pt x="957" y="408"/>
                </a:cubicBezTo>
                <a:cubicBezTo>
                  <a:pt x="957" y="407"/>
                  <a:pt x="957" y="407"/>
                  <a:pt x="957" y="407"/>
                </a:cubicBezTo>
                <a:cubicBezTo>
                  <a:pt x="959" y="410"/>
                  <a:pt x="959" y="410"/>
                  <a:pt x="959" y="410"/>
                </a:cubicBezTo>
                <a:cubicBezTo>
                  <a:pt x="962" y="413"/>
                  <a:pt x="962" y="413"/>
                  <a:pt x="962" y="413"/>
                </a:cubicBezTo>
                <a:cubicBezTo>
                  <a:pt x="963" y="412"/>
                  <a:pt x="963" y="412"/>
                  <a:pt x="963" y="412"/>
                </a:cubicBezTo>
                <a:cubicBezTo>
                  <a:pt x="963" y="410"/>
                  <a:pt x="963" y="410"/>
                  <a:pt x="963" y="410"/>
                </a:cubicBezTo>
                <a:cubicBezTo>
                  <a:pt x="966" y="410"/>
                  <a:pt x="966" y="410"/>
                  <a:pt x="966" y="410"/>
                </a:cubicBezTo>
                <a:cubicBezTo>
                  <a:pt x="967" y="409"/>
                  <a:pt x="967" y="409"/>
                  <a:pt x="967" y="409"/>
                </a:cubicBezTo>
                <a:cubicBezTo>
                  <a:pt x="970" y="407"/>
                  <a:pt x="970" y="407"/>
                  <a:pt x="970" y="407"/>
                </a:cubicBezTo>
                <a:cubicBezTo>
                  <a:pt x="974" y="406"/>
                  <a:pt x="974" y="406"/>
                  <a:pt x="974" y="406"/>
                </a:cubicBezTo>
                <a:cubicBezTo>
                  <a:pt x="978" y="405"/>
                  <a:pt x="978" y="405"/>
                  <a:pt x="978" y="405"/>
                </a:cubicBezTo>
                <a:cubicBezTo>
                  <a:pt x="978" y="405"/>
                  <a:pt x="978" y="405"/>
                  <a:pt x="978" y="405"/>
                </a:cubicBezTo>
                <a:cubicBezTo>
                  <a:pt x="976" y="404"/>
                  <a:pt x="976" y="404"/>
                  <a:pt x="976" y="404"/>
                </a:cubicBezTo>
                <a:cubicBezTo>
                  <a:pt x="972" y="405"/>
                  <a:pt x="972" y="405"/>
                  <a:pt x="972" y="405"/>
                </a:cubicBezTo>
                <a:cubicBezTo>
                  <a:pt x="969" y="406"/>
                  <a:pt x="969" y="406"/>
                  <a:pt x="969" y="406"/>
                </a:cubicBezTo>
                <a:cubicBezTo>
                  <a:pt x="969" y="405"/>
                  <a:pt x="969" y="405"/>
                  <a:pt x="969" y="405"/>
                </a:cubicBezTo>
                <a:cubicBezTo>
                  <a:pt x="974" y="404"/>
                  <a:pt x="974" y="404"/>
                  <a:pt x="974" y="404"/>
                </a:cubicBezTo>
                <a:cubicBezTo>
                  <a:pt x="978" y="404"/>
                  <a:pt x="978" y="404"/>
                  <a:pt x="978" y="404"/>
                </a:cubicBezTo>
                <a:cubicBezTo>
                  <a:pt x="980" y="402"/>
                  <a:pt x="980" y="402"/>
                  <a:pt x="980" y="402"/>
                </a:cubicBezTo>
                <a:cubicBezTo>
                  <a:pt x="983" y="401"/>
                  <a:pt x="983" y="401"/>
                  <a:pt x="983" y="401"/>
                </a:cubicBezTo>
                <a:cubicBezTo>
                  <a:pt x="984" y="401"/>
                  <a:pt x="984" y="401"/>
                  <a:pt x="984" y="401"/>
                </a:cubicBezTo>
                <a:cubicBezTo>
                  <a:pt x="988" y="401"/>
                  <a:pt x="988" y="401"/>
                  <a:pt x="988" y="401"/>
                </a:cubicBezTo>
                <a:cubicBezTo>
                  <a:pt x="988" y="400"/>
                  <a:pt x="988" y="400"/>
                  <a:pt x="988" y="400"/>
                </a:cubicBezTo>
                <a:cubicBezTo>
                  <a:pt x="991" y="400"/>
                  <a:pt x="991" y="400"/>
                  <a:pt x="991" y="400"/>
                </a:cubicBezTo>
                <a:cubicBezTo>
                  <a:pt x="989" y="398"/>
                  <a:pt x="989" y="398"/>
                  <a:pt x="989" y="398"/>
                </a:cubicBezTo>
                <a:cubicBezTo>
                  <a:pt x="984" y="397"/>
                  <a:pt x="984" y="397"/>
                  <a:pt x="984" y="397"/>
                </a:cubicBezTo>
                <a:cubicBezTo>
                  <a:pt x="985" y="396"/>
                  <a:pt x="985" y="396"/>
                  <a:pt x="985" y="396"/>
                </a:cubicBezTo>
                <a:cubicBezTo>
                  <a:pt x="986" y="396"/>
                  <a:pt x="986" y="396"/>
                  <a:pt x="986" y="396"/>
                </a:cubicBezTo>
                <a:cubicBezTo>
                  <a:pt x="987" y="394"/>
                  <a:pt x="987" y="394"/>
                  <a:pt x="987" y="394"/>
                </a:cubicBezTo>
                <a:cubicBezTo>
                  <a:pt x="986" y="393"/>
                  <a:pt x="986" y="393"/>
                  <a:pt x="986" y="393"/>
                </a:cubicBezTo>
                <a:cubicBezTo>
                  <a:pt x="983" y="394"/>
                  <a:pt x="983" y="394"/>
                  <a:pt x="983" y="394"/>
                </a:cubicBezTo>
                <a:cubicBezTo>
                  <a:pt x="981" y="396"/>
                  <a:pt x="981" y="396"/>
                  <a:pt x="981" y="396"/>
                </a:cubicBezTo>
                <a:cubicBezTo>
                  <a:pt x="979" y="394"/>
                  <a:pt x="979" y="394"/>
                  <a:pt x="979" y="394"/>
                </a:cubicBezTo>
                <a:cubicBezTo>
                  <a:pt x="977" y="395"/>
                  <a:pt x="977" y="395"/>
                  <a:pt x="977" y="395"/>
                </a:cubicBezTo>
                <a:cubicBezTo>
                  <a:pt x="976" y="394"/>
                  <a:pt x="976" y="394"/>
                  <a:pt x="976" y="394"/>
                </a:cubicBezTo>
                <a:cubicBezTo>
                  <a:pt x="978" y="393"/>
                  <a:pt x="978" y="393"/>
                  <a:pt x="978" y="393"/>
                </a:cubicBezTo>
                <a:cubicBezTo>
                  <a:pt x="978" y="390"/>
                  <a:pt x="978" y="390"/>
                  <a:pt x="978" y="390"/>
                </a:cubicBezTo>
                <a:cubicBezTo>
                  <a:pt x="978" y="389"/>
                  <a:pt x="978" y="389"/>
                  <a:pt x="978" y="389"/>
                </a:cubicBezTo>
                <a:cubicBezTo>
                  <a:pt x="975" y="391"/>
                  <a:pt x="975" y="391"/>
                  <a:pt x="975" y="391"/>
                </a:cubicBezTo>
                <a:cubicBezTo>
                  <a:pt x="975" y="390"/>
                  <a:pt x="975" y="390"/>
                  <a:pt x="975" y="390"/>
                </a:cubicBezTo>
                <a:cubicBezTo>
                  <a:pt x="976" y="389"/>
                  <a:pt x="976" y="389"/>
                  <a:pt x="976" y="389"/>
                </a:cubicBezTo>
                <a:cubicBezTo>
                  <a:pt x="976" y="389"/>
                  <a:pt x="976" y="389"/>
                  <a:pt x="976" y="389"/>
                </a:cubicBezTo>
                <a:cubicBezTo>
                  <a:pt x="972" y="392"/>
                  <a:pt x="972" y="392"/>
                  <a:pt x="972" y="392"/>
                </a:cubicBezTo>
                <a:cubicBezTo>
                  <a:pt x="970" y="393"/>
                  <a:pt x="970" y="393"/>
                  <a:pt x="970" y="393"/>
                </a:cubicBezTo>
                <a:cubicBezTo>
                  <a:pt x="969" y="393"/>
                  <a:pt x="969" y="393"/>
                  <a:pt x="969" y="393"/>
                </a:cubicBezTo>
                <a:cubicBezTo>
                  <a:pt x="971" y="391"/>
                  <a:pt x="971" y="391"/>
                  <a:pt x="971" y="391"/>
                </a:cubicBezTo>
                <a:cubicBezTo>
                  <a:pt x="974" y="389"/>
                  <a:pt x="974" y="389"/>
                  <a:pt x="974" y="389"/>
                </a:cubicBezTo>
                <a:cubicBezTo>
                  <a:pt x="973" y="388"/>
                  <a:pt x="973" y="388"/>
                  <a:pt x="973" y="388"/>
                </a:cubicBezTo>
                <a:cubicBezTo>
                  <a:pt x="970" y="390"/>
                  <a:pt x="970" y="390"/>
                  <a:pt x="970" y="390"/>
                </a:cubicBezTo>
                <a:cubicBezTo>
                  <a:pt x="969" y="389"/>
                  <a:pt x="969" y="389"/>
                  <a:pt x="969" y="389"/>
                </a:cubicBezTo>
                <a:cubicBezTo>
                  <a:pt x="970" y="388"/>
                  <a:pt x="970" y="388"/>
                  <a:pt x="970" y="388"/>
                </a:cubicBezTo>
                <a:cubicBezTo>
                  <a:pt x="972" y="387"/>
                  <a:pt x="972" y="387"/>
                  <a:pt x="972" y="387"/>
                </a:cubicBezTo>
                <a:cubicBezTo>
                  <a:pt x="972" y="387"/>
                  <a:pt x="972" y="387"/>
                  <a:pt x="972" y="387"/>
                </a:cubicBezTo>
                <a:cubicBezTo>
                  <a:pt x="970" y="387"/>
                  <a:pt x="970" y="387"/>
                  <a:pt x="970" y="387"/>
                </a:cubicBezTo>
                <a:cubicBezTo>
                  <a:pt x="968" y="389"/>
                  <a:pt x="968" y="389"/>
                  <a:pt x="968" y="389"/>
                </a:cubicBezTo>
                <a:cubicBezTo>
                  <a:pt x="966" y="391"/>
                  <a:pt x="966" y="391"/>
                  <a:pt x="966" y="391"/>
                </a:cubicBezTo>
                <a:cubicBezTo>
                  <a:pt x="965" y="391"/>
                  <a:pt x="965" y="391"/>
                  <a:pt x="965" y="391"/>
                </a:cubicBezTo>
                <a:cubicBezTo>
                  <a:pt x="966" y="389"/>
                  <a:pt x="966" y="389"/>
                  <a:pt x="966" y="389"/>
                </a:cubicBezTo>
                <a:cubicBezTo>
                  <a:pt x="967" y="388"/>
                  <a:pt x="967" y="388"/>
                  <a:pt x="967" y="388"/>
                </a:cubicBezTo>
                <a:cubicBezTo>
                  <a:pt x="967" y="387"/>
                  <a:pt x="967" y="387"/>
                  <a:pt x="967" y="387"/>
                </a:cubicBezTo>
                <a:cubicBezTo>
                  <a:pt x="966" y="387"/>
                  <a:pt x="966" y="387"/>
                  <a:pt x="966" y="387"/>
                </a:cubicBezTo>
                <a:cubicBezTo>
                  <a:pt x="962" y="390"/>
                  <a:pt x="962" y="390"/>
                  <a:pt x="962" y="390"/>
                </a:cubicBezTo>
                <a:cubicBezTo>
                  <a:pt x="960" y="391"/>
                  <a:pt x="960" y="391"/>
                  <a:pt x="960" y="391"/>
                </a:cubicBezTo>
                <a:cubicBezTo>
                  <a:pt x="958" y="390"/>
                  <a:pt x="958" y="390"/>
                  <a:pt x="958" y="390"/>
                </a:cubicBezTo>
                <a:cubicBezTo>
                  <a:pt x="961" y="390"/>
                  <a:pt x="961" y="390"/>
                  <a:pt x="961" y="390"/>
                </a:cubicBezTo>
                <a:cubicBezTo>
                  <a:pt x="962" y="389"/>
                  <a:pt x="962" y="389"/>
                  <a:pt x="962" y="389"/>
                </a:cubicBezTo>
                <a:cubicBezTo>
                  <a:pt x="965" y="385"/>
                  <a:pt x="965" y="385"/>
                  <a:pt x="965" y="385"/>
                </a:cubicBezTo>
                <a:cubicBezTo>
                  <a:pt x="968" y="383"/>
                  <a:pt x="968" y="383"/>
                  <a:pt x="968" y="383"/>
                </a:cubicBezTo>
                <a:cubicBezTo>
                  <a:pt x="967" y="382"/>
                  <a:pt x="967" y="382"/>
                  <a:pt x="967" y="382"/>
                </a:cubicBezTo>
                <a:cubicBezTo>
                  <a:pt x="967" y="380"/>
                  <a:pt x="967" y="380"/>
                  <a:pt x="967" y="380"/>
                </a:cubicBezTo>
                <a:cubicBezTo>
                  <a:pt x="966" y="380"/>
                  <a:pt x="966" y="380"/>
                  <a:pt x="966" y="380"/>
                </a:cubicBezTo>
                <a:cubicBezTo>
                  <a:pt x="964" y="383"/>
                  <a:pt x="964" y="383"/>
                  <a:pt x="964" y="383"/>
                </a:cubicBezTo>
                <a:cubicBezTo>
                  <a:pt x="964" y="383"/>
                  <a:pt x="964" y="383"/>
                  <a:pt x="964" y="383"/>
                </a:cubicBezTo>
                <a:cubicBezTo>
                  <a:pt x="964" y="382"/>
                  <a:pt x="964" y="382"/>
                  <a:pt x="964" y="382"/>
                </a:cubicBezTo>
                <a:cubicBezTo>
                  <a:pt x="964" y="381"/>
                  <a:pt x="964" y="381"/>
                  <a:pt x="964" y="381"/>
                </a:cubicBezTo>
                <a:cubicBezTo>
                  <a:pt x="964" y="378"/>
                  <a:pt x="964" y="378"/>
                  <a:pt x="964" y="378"/>
                </a:cubicBezTo>
                <a:cubicBezTo>
                  <a:pt x="963" y="378"/>
                  <a:pt x="963" y="378"/>
                  <a:pt x="963" y="378"/>
                </a:cubicBezTo>
                <a:cubicBezTo>
                  <a:pt x="962" y="378"/>
                  <a:pt x="962" y="378"/>
                  <a:pt x="962" y="378"/>
                </a:cubicBezTo>
                <a:cubicBezTo>
                  <a:pt x="961" y="379"/>
                  <a:pt x="961" y="379"/>
                  <a:pt x="961" y="379"/>
                </a:cubicBezTo>
                <a:cubicBezTo>
                  <a:pt x="960" y="378"/>
                  <a:pt x="960" y="378"/>
                  <a:pt x="960" y="378"/>
                </a:cubicBezTo>
                <a:cubicBezTo>
                  <a:pt x="960" y="377"/>
                  <a:pt x="960" y="377"/>
                  <a:pt x="960" y="377"/>
                </a:cubicBezTo>
                <a:cubicBezTo>
                  <a:pt x="960" y="376"/>
                  <a:pt x="960" y="376"/>
                  <a:pt x="960" y="376"/>
                </a:cubicBezTo>
                <a:cubicBezTo>
                  <a:pt x="959" y="376"/>
                  <a:pt x="959" y="376"/>
                  <a:pt x="959" y="376"/>
                </a:cubicBezTo>
                <a:cubicBezTo>
                  <a:pt x="960" y="375"/>
                  <a:pt x="960" y="375"/>
                  <a:pt x="960" y="375"/>
                </a:cubicBezTo>
                <a:cubicBezTo>
                  <a:pt x="959" y="374"/>
                  <a:pt x="959" y="374"/>
                  <a:pt x="959" y="374"/>
                </a:cubicBezTo>
                <a:cubicBezTo>
                  <a:pt x="959" y="373"/>
                  <a:pt x="959" y="373"/>
                  <a:pt x="959" y="373"/>
                </a:cubicBezTo>
                <a:cubicBezTo>
                  <a:pt x="958" y="372"/>
                  <a:pt x="958" y="372"/>
                  <a:pt x="958" y="372"/>
                </a:cubicBezTo>
                <a:cubicBezTo>
                  <a:pt x="955" y="373"/>
                  <a:pt x="955" y="373"/>
                  <a:pt x="955" y="373"/>
                </a:cubicBezTo>
                <a:cubicBezTo>
                  <a:pt x="955" y="374"/>
                  <a:pt x="955" y="374"/>
                  <a:pt x="955" y="374"/>
                </a:cubicBezTo>
                <a:cubicBezTo>
                  <a:pt x="953" y="374"/>
                  <a:pt x="953" y="374"/>
                  <a:pt x="953" y="374"/>
                </a:cubicBezTo>
                <a:cubicBezTo>
                  <a:pt x="950" y="373"/>
                  <a:pt x="950" y="373"/>
                  <a:pt x="950" y="373"/>
                </a:cubicBezTo>
                <a:cubicBezTo>
                  <a:pt x="953" y="373"/>
                  <a:pt x="953" y="373"/>
                  <a:pt x="953" y="373"/>
                </a:cubicBezTo>
                <a:cubicBezTo>
                  <a:pt x="953" y="372"/>
                  <a:pt x="953" y="372"/>
                  <a:pt x="953" y="372"/>
                </a:cubicBezTo>
                <a:cubicBezTo>
                  <a:pt x="956" y="372"/>
                  <a:pt x="956" y="372"/>
                  <a:pt x="956" y="372"/>
                </a:cubicBezTo>
                <a:cubicBezTo>
                  <a:pt x="956" y="371"/>
                  <a:pt x="956" y="371"/>
                  <a:pt x="956" y="371"/>
                </a:cubicBezTo>
                <a:cubicBezTo>
                  <a:pt x="955" y="370"/>
                  <a:pt x="955" y="370"/>
                  <a:pt x="955" y="370"/>
                </a:cubicBezTo>
                <a:cubicBezTo>
                  <a:pt x="953" y="368"/>
                  <a:pt x="953" y="368"/>
                  <a:pt x="953" y="368"/>
                </a:cubicBezTo>
                <a:cubicBezTo>
                  <a:pt x="953" y="366"/>
                  <a:pt x="953" y="366"/>
                  <a:pt x="953" y="366"/>
                </a:cubicBezTo>
                <a:cubicBezTo>
                  <a:pt x="950" y="364"/>
                  <a:pt x="950" y="364"/>
                  <a:pt x="950" y="364"/>
                </a:cubicBezTo>
                <a:cubicBezTo>
                  <a:pt x="953" y="364"/>
                  <a:pt x="953" y="364"/>
                  <a:pt x="953" y="364"/>
                </a:cubicBezTo>
                <a:cubicBezTo>
                  <a:pt x="956" y="366"/>
                  <a:pt x="956" y="366"/>
                  <a:pt x="956" y="366"/>
                </a:cubicBezTo>
                <a:cubicBezTo>
                  <a:pt x="958" y="366"/>
                  <a:pt x="958" y="366"/>
                  <a:pt x="958" y="366"/>
                </a:cubicBezTo>
                <a:cubicBezTo>
                  <a:pt x="958" y="364"/>
                  <a:pt x="958" y="364"/>
                  <a:pt x="958" y="364"/>
                </a:cubicBezTo>
                <a:cubicBezTo>
                  <a:pt x="956" y="364"/>
                  <a:pt x="956" y="364"/>
                  <a:pt x="956" y="364"/>
                </a:cubicBezTo>
                <a:cubicBezTo>
                  <a:pt x="957" y="363"/>
                  <a:pt x="957" y="363"/>
                  <a:pt x="957" y="363"/>
                </a:cubicBezTo>
                <a:cubicBezTo>
                  <a:pt x="958" y="363"/>
                  <a:pt x="958" y="363"/>
                  <a:pt x="958" y="363"/>
                </a:cubicBezTo>
                <a:cubicBezTo>
                  <a:pt x="961" y="361"/>
                  <a:pt x="961" y="361"/>
                  <a:pt x="961" y="361"/>
                </a:cubicBezTo>
                <a:cubicBezTo>
                  <a:pt x="962" y="360"/>
                  <a:pt x="962" y="360"/>
                  <a:pt x="962" y="360"/>
                </a:cubicBezTo>
                <a:cubicBezTo>
                  <a:pt x="963" y="359"/>
                  <a:pt x="963" y="359"/>
                  <a:pt x="963" y="359"/>
                </a:cubicBezTo>
                <a:cubicBezTo>
                  <a:pt x="961" y="357"/>
                  <a:pt x="961" y="357"/>
                  <a:pt x="961" y="357"/>
                </a:cubicBezTo>
                <a:cubicBezTo>
                  <a:pt x="959" y="357"/>
                  <a:pt x="959" y="357"/>
                  <a:pt x="959" y="357"/>
                </a:cubicBezTo>
                <a:cubicBezTo>
                  <a:pt x="957" y="357"/>
                  <a:pt x="957" y="357"/>
                  <a:pt x="957" y="357"/>
                </a:cubicBezTo>
                <a:cubicBezTo>
                  <a:pt x="959" y="356"/>
                  <a:pt x="959" y="356"/>
                  <a:pt x="959" y="356"/>
                </a:cubicBezTo>
                <a:cubicBezTo>
                  <a:pt x="959" y="354"/>
                  <a:pt x="959" y="354"/>
                  <a:pt x="959" y="354"/>
                </a:cubicBezTo>
                <a:cubicBezTo>
                  <a:pt x="958" y="353"/>
                  <a:pt x="958" y="353"/>
                  <a:pt x="958" y="353"/>
                </a:cubicBezTo>
                <a:cubicBezTo>
                  <a:pt x="956" y="353"/>
                  <a:pt x="956" y="353"/>
                  <a:pt x="956" y="353"/>
                </a:cubicBezTo>
                <a:cubicBezTo>
                  <a:pt x="955" y="353"/>
                  <a:pt x="955" y="353"/>
                  <a:pt x="955" y="353"/>
                </a:cubicBezTo>
                <a:cubicBezTo>
                  <a:pt x="954" y="353"/>
                  <a:pt x="954" y="353"/>
                  <a:pt x="954" y="353"/>
                </a:cubicBezTo>
                <a:cubicBezTo>
                  <a:pt x="953" y="352"/>
                  <a:pt x="953" y="352"/>
                  <a:pt x="953" y="352"/>
                </a:cubicBezTo>
                <a:cubicBezTo>
                  <a:pt x="955" y="352"/>
                  <a:pt x="955" y="352"/>
                  <a:pt x="955" y="352"/>
                </a:cubicBezTo>
                <a:cubicBezTo>
                  <a:pt x="956" y="351"/>
                  <a:pt x="956" y="351"/>
                  <a:pt x="956" y="351"/>
                </a:cubicBezTo>
                <a:cubicBezTo>
                  <a:pt x="957" y="351"/>
                  <a:pt x="957" y="351"/>
                  <a:pt x="957" y="351"/>
                </a:cubicBezTo>
                <a:cubicBezTo>
                  <a:pt x="959" y="349"/>
                  <a:pt x="959" y="349"/>
                  <a:pt x="959" y="349"/>
                </a:cubicBezTo>
                <a:cubicBezTo>
                  <a:pt x="958" y="346"/>
                  <a:pt x="958" y="346"/>
                  <a:pt x="958" y="346"/>
                </a:cubicBezTo>
                <a:cubicBezTo>
                  <a:pt x="956" y="344"/>
                  <a:pt x="956" y="344"/>
                  <a:pt x="956" y="344"/>
                </a:cubicBezTo>
                <a:cubicBezTo>
                  <a:pt x="955" y="346"/>
                  <a:pt x="955" y="346"/>
                  <a:pt x="955" y="346"/>
                </a:cubicBezTo>
                <a:cubicBezTo>
                  <a:pt x="953" y="345"/>
                  <a:pt x="953" y="345"/>
                  <a:pt x="953" y="345"/>
                </a:cubicBezTo>
                <a:cubicBezTo>
                  <a:pt x="952" y="346"/>
                  <a:pt x="952" y="346"/>
                  <a:pt x="952" y="346"/>
                </a:cubicBezTo>
                <a:cubicBezTo>
                  <a:pt x="953" y="344"/>
                  <a:pt x="953" y="344"/>
                  <a:pt x="953" y="344"/>
                </a:cubicBezTo>
                <a:cubicBezTo>
                  <a:pt x="955" y="343"/>
                  <a:pt x="955" y="343"/>
                  <a:pt x="955" y="343"/>
                </a:cubicBezTo>
                <a:cubicBezTo>
                  <a:pt x="956" y="343"/>
                  <a:pt x="956" y="343"/>
                  <a:pt x="956" y="343"/>
                </a:cubicBezTo>
                <a:cubicBezTo>
                  <a:pt x="956" y="341"/>
                  <a:pt x="956" y="341"/>
                  <a:pt x="956" y="341"/>
                </a:cubicBezTo>
                <a:cubicBezTo>
                  <a:pt x="954" y="341"/>
                  <a:pt x="954" y="341"/>
                  <a:pt x="954" y="341"/>
                </a:cubicBezTo>
                <a:cubicBezTo>
                  <a:pt x="953" y="341"/>
                  <a:pt x="953" y="341"/>
                  <a:pt x="953" y="341"/>
                </a:cubicBezTo>
                <a:cubicBezTo>
                  <a:pt x="951" y="341"/>
                  <a:pt x="951" y="341"/>
                  <a:pt x="951" y="341"/>
                </a:cubicBezTo>
                <a:cubicBezTo>
                  <a:pt x="948" y="342"/>
                  <a:pt x="948" y="342"/>
                  <a:pt x="948" y="342"/>
                </a:cubicBezTo>
                <a:cubicBezTo>
                  <a:pt x="950" y="339"/>
                  <a:pt x="950" y="339"/>
                  <a:pt x="950" y="339"/>
                </a:cubicBezTo>
                <a:cubicBezTo>
                  <a:pt x="952" y="339"/>
                  <a:pt x="952" y="339"/>
                  <a:pt x="952" y="339"/>
                </a:cubicBezTo>
                <a:cubicBezTo>
                  <a:pt x="954" y="338"/>
                  <a:pt x="954" y="338"/>
                  <a:pt x="954" y="338"/>
                </a:cubicBezTo>
                <a:cubicBezTo>
                  <a:pt x="954" y="337"/>
                  <a:pt x="954" y="337"/>
                  <a:pt x="954" y="337"/>
                </a:cubicBezTo>
                <a:cubicBezTo>
                  <a:pt x="955" y="336"/>
                  <a:pt x="955" y="336"/>
                  <a:pt x="955" y="336"/>
                </a:cubicBezTo>
                <a:cubicBezTo>
                  <a:pt x="955" y="335"/>
                  <a:pt x="955" y="335"/>
                  <a:pt x="955" y="335"/>
                </a:cubicBezTo>
                <a:cubicBezTo>
                  <a:pt x="953" y="336"/>
                  <a:pt x="953" y="336"/>
                  <a:pt x="953" y="336"/>
                </a:cubicBezTo>
                <a:cubicBezTo>
                  <a:pt x="949" y="336"/>
                  <a:pt x="949" y="336"/>
                  <a:pt x="949" y="336"/>
                </a:cubicBezTo>
                <a:cubicBezTo>
                  <a:pt x="947" y="337"/>
                  <a:pt x="947" y="337"/>
                  <a:pt x="947" y="337"/>
                </a:cubicBezTo>
                <a:cubicBezTo>
                  <a:pt x="947" y="335"/>
                  <a:pt x="947" y="335"/>
                  <a:pt x="947" y="335"/>
                </a:cubicBezTo>
                <a:cubicBezTo>
                  <a:pt x="947" y="334"/>
                  <a:pt x="947" y="334"/>
                  <a:pt x="947" y="334"/>
                </a:cubicBezTo>
                <a:cubicBezTo>
                  <a:pt x="948" y="333"/>
                  <a:pt x="948" y="333"/>
                  <a:pt x="948" y="333"/>
                </a:cubicBezTo>
                <a:cubicBezTo>
                  <a:pt x="949" y="334"/>
                  <a:pt x="949" y="334"/>
                  <a:pt x="949" y="334"/>
                </a:cubicBezTo>
                <a:cubicBezTo>
                  <a:pt x="952" y="334"/>
                  <a:pt x="952" y="334"/>
                  <a:pt x="952" y="334"/>
                </a:cubicBezTo>
                <a:cubicBezTo>
                  <a:pt x="954" y="331"/>
                  <a:pt x="954" y="331"/>
                  <a:pt x="954" y="331"/>
                </a:cubicBezTo>
                <a:cubicBezTo>
                  <a:pt x="954" y="329"/>
                  <a:pt x="954" y="329"/>
                  <a:pt x="954" y="329"/>
                </a:cubicBezTo>
                <a:cubicBezTo>
                  <a:pt x="952" y="330"/>
                  <a:pt x="952" y="330"/>
                  <a:pt x="952" y="330"/>
                </a:cubicBezTo>
                <a:cubicBezTo>
                  <a:pt x="951" y="330"/>
                  <a:pt x="951" y="330"/>
                  <a:pt x="951" y="330"/>
                </a:cubicBezTo>
                <a:cubicBezTo>
                  <a:pt x="953" y="327"/>
                  <a:pt x="953" y="327"/>
                  <a:pt x="953" y="327"/>
                </a:cubicBezTo>
                <a:cubicBezTo>
                  <a:pt x="953" y="326"/>
                  <a:pt x="953" y="326"/>
                  <a:pt x="953" y="326"/>
                </a:cubicBezTo>
                <a:cubicBezTo>
                  <a:pt x="952" y="325"/>
                  <a:pt x="952" y="325"/>
                  <a:pt x="952" y="325"/>
                </a:cubicBezTo>
                <a:cubicBezTo>
                  <a:pt x="947" y="327"/>
                  <a:pt x="947" y="327"/>
                  <a:pt x="947" y="327"/>
                </a:cubicBezTo>
                <a:cubicBezTo>
                  <a:pt x="945" y="326"/>
                  <a:pt x="945" y="326"/>
                  <a:pt x="945" y="326"/>
                </a:cubicBezTo>
                <a:cubicBezTo>
                  <a:pt x="946" y="324"/>
                  <a:pt x="946" y="324"/>
                  <a:pt x="946" y="324"/>
                </a:cubicBezTo>
                <a:cubicBezTo>
                  <a:pt x="949" y="325"/>
                  <a:pt x="949" y="325"/>
                  <a:pt x="949" y="325"/>
                </a:cubicBezTo>
                <a:cubicBezTo>
                  <a:pt x="950" y="324"/>
                  <a:pt x="950" y="324"/>
                  <a:pt x="950" y="324"/>
                </a:cubicBezTo>
                <a:cubicBezTo>
                  <a:pt x="952" y="322"/>
                  <a:pt x="952" y="322"/>
                  <a:pt x="952" y="322"/>
                </a:cubicBezTo>
                <a:cubicBezTo>
                  <a:pt x="951" y="321"/>
                  <a:pt x="951" y="321"/>
                  <a:pt x="951" y="321"/>
                </a:cubicBezTo>
                <a:cubicBezTo>
                  <a:pt x="950" y="320"/>
                  <a:pt x="950" y="320"/>
                  <a:pt x="950" y="320"/>
                </a:cubicBezTo>
                <a:cubicBezTo>
                  <a:pt x="949" y="321"/>
                  <a:pt x="949" y="321"/>
                  <a:pt x="949" y="321"/>
                </a:cubicBezTo>
                <a:cubicBezTo>
                  <a:pt x="948" y="321"/>
                  <a:pt x="948" y="321"/>
                  <a:pt x="948" y="321"/>
                </a:cubicBezTo>
                <a:cubicBezTo>
                  <a:pt x="948" y="320"/>
                  <a:pt x="948" y="320"/>
                  <a:pt x="948" y="320"/>
                </a:cubicBezTo>
                <a:cubicBezTo>
                  <a:pt x="946" y="318"/>
                  <a:pt x="946" y="318"/>
                  <a:pt x="946" y="318"/>
                </a:cubicBezTo>
                <a:cubicBezTo>
                  <a:pt x="948" y="318"/>
                  <a:pt x="948" y="318"/>
                  <a:pt x="948" y="318"/>
                </a:cubicBezTo>
                <a:cubicBezTo>
                  <a:pt x="949" y="319"/>
                  <a:pt x="949" y="319"/>
                  <a:pt x="949" y="319"/>
                </a:cubicBezTo>
                <a:cubicBezTo>
                  <a:pt x="949" y="318"/>
                  <a:pt x="949" y="318"/>
                  <a:pt x="949" y="318"/>
                </a:cubicBezTo>
                <a:cubicBezTo>
                  <a:pt x="949" y="315"/>
                  <a:pt x="949" y="315"/>
                  <a:pt x="949" y="315"/>
                </a:cubicBezTo>
                <a:cubicBezTo>
                  <a:pt x="947" y="314"/>
                  <a:pt x="947" y="314"/>
                  <a:pt x="947" y="314"/>
                </a:cubicBezTo>
                <a:cubicBezTo>
                  <a:pt x="947" y="312"/>
                  <a:pt x="947" y="312"/>
                  <a:pt x="947" y="312"/>
                </a:cubicBezTo>
                <a:cubicBezTo>
                  <a:pt x="948" y="311"/>
                  <a:pt x="948" y="311"/>
                  <a:pt x="948" y="311"/>
                </a:cubicBezTo>
                <a:cubicBezTo>
                  <a:pt x="948" y="309"/>
                  <a:pt x="948" y="309"/>
                  <a:pt x="948" y="309"/>
                </a:cubicBezTo>
                <a:cubicBezTo>
                  <a:pt x="947" y="309"/>
                  <a:pt x="947" y="309"/>
                  <a:pt x="947" y="309"/>
                </a:cubicBezTo>
                <a:cubicBezTo>
                  <a:pt x="947" y="308"/>
                  <a:pt x="947" y="308"/>
                  <a:pt x="947" y="308"/>
                </a:cubicBezTo>
                <a:cubicBezTo>
                  <a:pt x="948" y="307"/>
                  <a:pt x="948" y="307"/>
                  <a:pt x="948" y="307"/>
                </a:cubicBezTo>
                <a:cubicBezTo>
                  <a:pt x="947" y="307"/>
                  <a:pt x="947" y="307"/>
                  <a:pt x="947" y="307"/>
                </a:cubicBezTo>
                <a:cubicBezTo>
                  <a:pt x="945" y="306"/>
                  <a:pt x="945" y="306"/>
                  <a:pt x="945" y="306"/>
                </a:cubicBezTo>
                <a:cubicBezTo>
                  <a:pt x="946" y="306"/>
                  <a:pt x="946" y="306"/>
                  <a:pt x="946" y="306"/>
                </a:cubicBezTo>
                <a:cubicBezTo>
                  <a:pt x="947" y="306"/>
                  <a:pt x="947" y="306"/>
                  <a:pt x="947" y="306"/>
                </a:cubicBezTo>
                <a:cubicBezTo>
                  <a:pt x="948" y="304"/>
                  <a:pt x="948" y="304"/>
                  <a:pt x="948" y="304"/>
                </a:cubicBezTo>
                <a:cubicBezTo>
                  <a:pt x="946" y="303"/>
                  <a:pt x="946" y="303"/>
                  <a:pt x="946" y="303"/>
                </a:cubicBezTo>
                <a:cubicBezTo>
                  <a:pt x="947" y="302"/>
                  <a:pt x="947" y="302"/>
                  <a:pt x="947" y="302"/>
                </a:cubicBezTo>
                <a:cubicBezTo>
                  <a:pt x="948" y="301"/>
                  <a:pt x="948" y="301"/>
                  <a:pt x="948" y="301"/>
                </a:cubicBezTo>
                <a:cubicBezTo>
                  <a:pt x="947" y="300"/>
                  <a:pt x="947" y="300"/>
                  <a:pt x="947" y="300"/>
                </a:cubicBezTo>
                <a:cubicBezTo>
                  <a:pt x="946" y="301"/>
                  <a:pt x="946" y="301"/>
                  <a:pt x="946" y="301"/>
                </a:cubicBezTo>
                <a:cubicBezTo>
                  <a:pt x="947" y="299"/>
                  <a:pt x="947" y="299"/>
                  <a:pt x="947" y="299"/>
                </a:cubicBezTo>
                <a:cubicBezTo>
                  <a:pt x="946" y="299"/>
                  <a:pt x="946" y="299"/>
                  <a:pt x="946" y="299"/>
                </a:cubicBezTo>
                <a:cubicBezTo>
                  <a:pt x="944" y="299"/>
                  <a:pt x="944" y="299"/>
                  <a:pt x="944" y="299"/>
                </a:cubicBezTo>
                <a:cubicBezTo>
                  <a:pt x="943" y="302"/>
                  <a:pt x="943" y="302"/>
                  <a:pt x="943" y="302"/>
                </a:cubicBezTo>
                <a:cubicBezTo>
                  <a:pt x="943" y="303"/>
                  <a:pt x="943" y="303"/>
                  <a:pt x="943" y="303"/>
                </a:cubicBezTo>
                <a:cubicBezTo>
                  <a:pt x="942" y="305"/>
                  <a:pt x="942" y="305"/>
                  <a:pt x="942" y="305"/>
                </a:cubicBezTo>
                <a:cubicBezTo>
                  <a:pt x="940" y="307"/>
                  <a:pt x="940" y="307"/>
                  <a:pt x="940" y="307"/>
                </a:cubicBezTo>
                <a:cubicBezTo>
                  <a:pt x="940" y="309"/>
                  <a:pt x="940" y="309"/>
                  <a:pt x="940" y="309"/>
                </a:cubicBezTo>
                <a:cubicBezTo>
                  <a:pt x="938" y="309"/>
                  <a:pt x="938" y="309"/>
                  <a:pt x="938" y="309"/>
                </a:cubicBezTo>
                <a:cubicBezTo>
                  <a:pt x="939" y="311"/>
                  <a:pt x="939" y="311"/>
                  <a:pt x="939" y="311"/>
                </a:cubicBezTo>
                <a:cubicBezTo>
                  <a:pt x="937" y="310"/>
                  <a:pt x="937" y="310"/>
                  <a:pt x="937" y="310"/>
                </a:cubicBezTo>
                <a:cubicBezTo>
                  <a:pt x="936" y="311"/>
                  <a:pt x="936" y="311"/>
                  <a:pt x="936" y="311"/>
                </a:cubicBezTo>
                <a:cubicBezTo>
                  <a:pt x="935" y="314"/>
                  <a:pt x="935" y="314"/>
                  <a:pt x="935" y="314"/>
                </a:cubicBezTo>
                <a:cubicBezTo>
                  <a:pt x="935" y="315"/>
                  <a:pt x="935" y="315"/>
                  <a:pt x="935" y="315"/>
                </a:cubicBezTo>
                <a:cubicBezTo>
                  <a:pt x="937" y="315"/>
                  <a:pt x="937" y="315"/>
                  <a:pt x="937" y="315"/>
                </a:cubicBezTo>
                <a:cubicBezTo>
                  <a:pt x="938" y="316"/>
                  <a:pt x="938" y="316"/>
                  <a:pt x="938" y="316"/>
                </a:cubicBezTo>
                <a:cubicBezTo>
                  <a:pt x="938" y="318"/>
                  <a:pt x="938" y="318"/>
                  <a:pt x="938" y="318"/>
                </a:cubicBezTo>
                <a:cubicBezTo>
                  <a:pt x="936" y="316"/>
                  <a:pt x="936" y="316"/>
                  <a:pt x="936" y="316"/>
                </a:cubicBezTo>
                <a:cubicBezTo>
                  <a:pt x="935" y="316"/>
                  <a:pt x="935" y="316"/>
                  <a:pt x="935" y="316"/>
                </a:cubicBezTo>
                <a:cubicBezTo>
                  <a:pt x="934" y="317"/>
                  <a:pt x="934" y="317"/>
                  <a:pt x="934" y="317"/>
                </a:cubicBezTo>
                <a:cubicBezTo>
                  <a:pt x="933" y="319"/>
                  <a:pt x="933" y="319"/>
                  <a:pt x="933" y="319"/>
                </a:cubicBezTo>
                <a:cubicBezTo>
                  <a:pt x="931" y="320"/>
                  <a:pt x="931" y="320"/>
                  <a:pt x="931" y="320"/>
                </a:cubicBezTo>
                <a:cubicBezTo>
                  <a:pt x="931" y="323"/>
                  <a:pt x="931" y="323"/>
                  <a:pt x="931" y="323"/>
                </a:cubicBezTo>
                <a:cubicBezTo>
                  <a:pt x="929" y="323"/>
                  <a:pt x="929" y="323"/>
                  <a:pt x="929" y="323"/>
                </a:cubicBezTo>
                <a:cubicBezTo>
                  <a:pt x="928" y="325"/>
                  <a:pt x="928" y="325"/>
                  <a:pt x="928" y="325"/>
                </a:cubicBezTo>
                <a:cubicBezTo>
                  <a:pt x="928" y="326"/>
                  <a:pt x="928" y="326"/>
                  <a:pt x="928" y="326"/>
                </a:cubicBezTo>
                <a:cubicBezTo>
                  <a:pt x="927" y="326"/>
                  <a:pt x="927" y="326"/>
                  <a:pt x="927" y="326"/>
                </a:cubicBezTo>
                <a:cubicBezTo>
                  <a:pt x="928" y="329"/>
                  <a:pt x="928" y="329"/>
                  <a:pt x="928" y="329"/>
                </a:cubicBezTo>
                <a:cubicBezTo>
                  <a:pt x="926" y="332"/>
                  <a:pt x="926" y="332"/>
                  <a:pt x="926" y="332"/>
                </a:cubicBezTo>
                <a:cubicBezTo>
                  <a:pt x="926" y="330"/>
                  <a:pt x="926" y="330"/>
                  <a:pt x="926" y="330"/>
                </a:cubicBezTo>
                <a:cubicBezTo>
                  <a:pt x="926" y="327"/>
                  <a:pt x="926" y="327"/>
                  <a:pt x="926" y="327"/>
                </a:cubicBezTo>
                <a:cubicBezTo>
                  <a:pt x="925" y="326"/>
                  <a:pt x="925" y="326"/>
                  <a:pt x="925" y="326"/>
                </a:cubicBezTo>
                <a:cubicBezTo>
                  <a:pt x="922" y="328"/>
                  <a:pt x="922" y="328"/>
                  <a:pt x="922" y="328"/>
                </a:cubicBezTo>
                <a:cubicBezTo>
                  <a:pt x="921" y="330"/>
                  <a:pt x="921" y="330"/>
                  <a:pt x="921" y="330"/>
                </a:cubicBezTo>
                <a:cubicBezTo>
                  <a:pt x="920" y="331"/>
                  <a:pt x="920" y="331"/>
                  <a:pt x="920" y="331"/>
                </a:cubicBezTo>
                <a:cubicBezTo>
                  <a:pt x="918" y="332"/>
                  <a:pt x="918" y="332"/>
                  <a:pt x="918" y="332"/>
                </a:cubicBezTo>
                <a:cubicBezTo>
                  <a:pt x="918" y="333"/>
                  <a:pt x="918" y="333"/>
                  <a:pt x="918" y="333"/>
                </a:cubicBezTo>
                <a:cubicBezTo>
                  <a:pt x="917" y="332"/>
                  <a:pt x="917" y="332"/>
                  <a:pt x="917" y="332"/>
                </a:cubicBezTo>
                <a:cubicBezTo>
                  <a:pt x="916" y="332"/>
                  <a:pt x="916" y="332"/>
                  <a:pt x="916" y="332"/>
                </a:cubicBezTo>
                <a:cubicBezTo>
                  <a:pt x="914" y="333"/>
                  <a:pt x="914" y="333"/>
                  <a:pt x="914" y="333"/>
                </a:cubicBezTo>
                <a:cubicBezTo>
                  <a:pt x="912" y="334"/>
                  <a:pt x="912" y="334"/>
                  <a:pt x="912" y="334"/>
                </a:cubicBezTo>
                <a:cubicBezTo>
                  <a:pt x="910" y="335"/>
                  <a:pt x="910" y="335"/>
                  <a:pt x="910" y="335"/>
                </a:cubicBezTo>
                <a:cubicBezTo>
                  <a:pt x="910" y="338"/>
                  <a:pt x="910" y="338"/>
                  <a:pt x="910" y="338"/>
                </a:cubicBezTo>
                <a:cubicBezTo>
                  <a:pt x="908" y="340"/>
                  <a:pt x="908" y="340"/>
                  <a:pt x="908" y="340"/>
                </a:cubicBezTo>
                <a:cubicBezTo>
                  <a:pt x="908" y="338"/>
                  <a:pt x="908" y="338"/>
                  <a:pt x="908" y="338"/>
                </a:cubicBezTo>
                <a:cubicBezTo>
                  <a:pt x="908" y="337"/>
                  <a:pt x="908" y="337"/>
                  <a:pt x="908" y="337"/>
                </a:cubicBezTo>
                <a:cubicBezTo>
                  <a:pt x="909" y="336"/>
                  <a:pt x="909" y="336"/>
                  <a:pt x="909" y="336"/>
                </a:cubicBezTo>
                <a:cubicBezTo>
                  <a:pt x="909" y="332"/>
                  <a:pt x="909" y="332"/>
                  <a:pt x="909" y="332"/>
                </a:cubicBezTo>
                <a:cubicBezTo>
                  <a:pt x="909" y="330"/>
                  <a:pt x="909" y="330"/>
                  <a:pt x="909" y="330"/>
                </a:cubicBezTo>
                <a:cubicBezTo>
                  <a:pt x="908" y="330"/>
                  <a:pt x="908" y="330"/>
                  <a:pt x="908" y="330"/>
                </a:cubicBezTo>
                <a:cubicBezTo>
                  <a:pt x="906" y="332"/>
                  <a:pt x="906" y="332"/>
                  <a:pt x="906" y="332"/>
                </a:cubicBezTo>
                <a:cubicBezTo>
                  <a:pt x="903" y="337"/>
                  <a:pt x="903" y="337"/>
                  <a:pt x="903" y="337"/>
                </a:cubicBezTo>
                <a:cubicBezTo>
                  <a:pt x="901" y="339"/>
                  <a:pt x="901" y="339"/>
                  <a:pt x="901" y="339"/>
                </a:cubicBezTo>
                <a:cubicBezTo>
                  <a:pt x="902" y="337"/>
                  <a:pt x="902" y="337"/>
                  <a:pt x="902" y="337"/>
                </a:cubicBezTo>
                <a:cubicBezTo>
                  <a:pt x="903" y="334"/>
                  <a:pt x="903" y="334"/>
                  <a:pt x="903" y="334"/>
                </a:cubicBezTo>
                <a:cubicBezTo>
                  <a:pt x="905" y="331"/>
                  <a:pt x="905" y="331"/>
                  <a:pt x="905" y="331"/>
                </a:cubicBezTo>
                <a:cubicBezTo>
                  <a:pt x="905" y="329"/>
                  <a:pt x="905" y="329"/>
                  <a:pt x="905" y="329"/>
                </a:cubicBezTo>
                <a:cubicBezTo>
                  <a:pt x="905" y="327"/>
                  <a:pt x="905" y="327"/>
                  <a:pt x="905" y="327"/>
                </a:cubicBezTo>
                <a:cubicBezTo>
                  <a:pt x="904" y="325"/>
                  <a:pt x="904" y="325"/>
                  <a:pt x="904" y="325"/>
                </a:cubicBezTo>
                <a:cubicBezTo>
                  <a:pt x="902" y="323"/>
                  <a:pt x="902" y="323"/>
                  <a:pt x="902" y="323"/>
                </a:cubicBezTo>
                <a:cubicBezTo>
                  <a:pt x="900" y="323"/>
                  <a:pt x="900" y="323"/>
                  <a:pt x="900" y="323"/>
                </a:cubicBezTo>
                <a:cubicBezTo>
                  <a:pt x="901" y="325"/>
                  <a:pt x="901" y="325"/>
                  <a:pt x="901" y="325"/>
                </a:cubicBezTo>
                <a:cubicBezTo>
                  <a:pt x="900" y="325"/>
                  <a:pt x="900" y="325"/>
                  <a:pt x="900" y="325"/>
                </a:cubicBezTo>
                <a:cubicBezTo>
                  <a:pt x="898" y="324"/>
                  <a:pt x="898" y="324"/>
                  <a:pt x="898" y="324"/>
                </a:cubicBezTo>
                <a:cubicBezTo>
                  <a:pt x="896" y="320"/>
                  <a:pt x="896" y="320"/>
                  <a:pt x="896" y="320"/>
                </a:cubicBezTo>
                <a:cubicBezTo>
                  <a:pt x="900" y="322"/>
                  <a:pt x="900" y="322"/>
                  <a:pt x="900" y="322"/>
                </a:cubicBezTo>
                <a:cubicBezTo>
                  <a:pt x="901" y="321"/>
                  <a:pt x="901" y="321"/>
                  <a:pt x="901" y="321"/>
                </a:cubicBezTo>
                <a:cubicBezTo>
                  <a:pt x="899" y="321"/>
                  <a:pt x="899" y="321"/>
                  <a:pt x="899" y="321"/>
                </a:cubicBezTo>
                <a:cubicBezTo>
                  <a:pt x="897" y="317"/>
                  <a:pt x="897" y="317"/>
                  <a:pt x="897" y="317"/>
                </a:cubicBezTo>
                <a:cubicBezTo>
                  <a:pt x="896" y="317"/>
                  <a:pt x="896" y="317"/>
                  <a:pt x="896" y="317"/>
                </a:cubicBezTo>
                <a:cubicBezTo>
                  <a:pt x="898" y="314"/>
                  <a:pt x="898" y="314"/>
                  <a:pt x="898" y="314"/>
                </a:cubicBezTo>
                <a:cubicBezTo>
                  <a:pt x="898" y="313"/>
                  <a:pt x="898" y="313"/>
                  <a:pt x="898" y="313"/>
                </a:cubicBezTo>
                <a:cubicBezTo>
                  <a:pt x="900" y="310"/>
                  <a:pt x="900" y="310"/>
                  <a:pt x="900" y="310"/>
                </a:cubicBezTo>
                <a:cubicBezTo>
                  <a:pt x="900" y="307"/>
                  <a:pt x="900" y="307"/>
                  <a:pt x="900" y="307"/>
                </a:cubicBezTo>
                <a:cubicBezTo>
                  <a:pt x="898" y="304"/>
                  <a:pt x="898" y="304"/>
                  <a:pt x="898" y="304"/>
                </a:cubicBezTo>
                <a:cubicBezTo>
                  <a:pt x="894" y="304"/>
                  <a:pt x="894" y="304"/>
                  <a:pt x="894" y="304"/>
                </a:cubicBezTo>
                <a:cubicBezTo>
                  <a:pt x="889" y="301"/>
                  <a:pt x="889" y="301"/>
                  <a:pt x="889" y="301"/>
                </a:cubicBezTo>
                <a:cubicBezTo>
                  <a:pt x="894" y="303"/>
                  <a:pt x="894" y="303"/>
                  <a:pt x="894" y="303"/>
                </a:cubicBezTo>
                <a:cubicBezTo>
                  <a:pt x="899" y="303"/>
                  <a:pt x="899" y="303"/>
                  <a:pt x="899" y="303"/>
                </a:cubicBezTo>
                <a:cubicBezTo>
                  <a:pt x="899" y="300"/>
                  <a:pt x="899" y="300"/>
                  <a:pt x="899" y="300"/>
                </a:cubicBezTo>
                <a:cubicBezTo>
                  <a:pt x="900" y="299"/>
                  <a:pt x="900" y="299"/>
                  <a:pt x="900" y="299"/>
                </a:cubicBezTo>
                <a:cubicBezTo>
                  <a:pt x="901" y="302"/>
                  <a:pt x="901" y="302"/>
                  <a:pt x="901" y="302"/>
                </a:cubicBezTo>
                <a:cubicBezTo>
                  <a:pt x="902" y="300"/>
                  <a:pt x="902" y="300"/>
                  <a:pt x="902" y="300"/>
                </a:cubicBezTo>
                <a:cubicBezTo>
                  <a:pt x="901" y="295"/>
                  <a:pt x="901" y="295"/>
                  <a:pt x="901" y="295"/>
                </a:cubicBezTo>
                <a:cubicBezTo>
                  <a:pt x="903" y="292"/>
                  <a:pt x="903" y="292"/>
                  <a:pt x="903" y="292"/>
                </a:cubicBezTo>
                <a:cubicBezTo>
                  <a:pt x="906" y="292"/>
                  <a:pt x="906" y="292"/>
                  <a:pt x="906" y="292"/>
                </a:cubicBezTo>
                <a:cubicBezTo>
                  <a:pt x="906" y="288"/>
                  <a:pt x="906" y="288"/>
                  <a:pt x="906" y="288"/>
                </a:cubicBezTo>
                <a:cubicBezTo>
                  <a:pt x="906" y="285"/>
                  <a:pt x="906" y="285"/>
                  <a:pt x="906" y="285"/>
                </a:cubicBezTo>
                <a:cubicBezTo>
                  <a:pt x="904" y="285"/>
                  <a:pt x="904" y="285"/>
                  <a:pt x="904" y="285"/>
                </a:cubicBezTo>
                <a:cubicBezTo>
                  <a:pt x="904" y="288"/>
                  <a:pt x="904" y="288"/>
                  <a:pt x="904" y="288"/>
                </a:cubicBezTo>
                <a:cubicBezTo>
                  <a:pt x="902" y="290"/>
                  <a:pt x="902" y="290"/>
                  <a:pt x="902" y="290"/>
                </a:cubicBezTo>
                <a:cubicBezTo>
                  <a:pt x="901" y="288"/>
                  <a:pt x="901" y="288"/>
                  <a:pt x="901" y="288"/>
                </a:cubicBezTo>
                <a:cubicBezTo>
                  <a:pt x="901" y="284"/>
                  <a:pt x="901" y="284"/>
                  <a:pt x="901" y="284"/>
                </a:cubicBezTo>
                <a:cubicBezTo>
                  <a:pt x="898" y="284"/>
                  <a:pt x="898" y="284"/>
                  <a:pt x="898" y="284"/>
                </a:cubicBezTo>
                <a:cubicBezTo>
                  <a:pt x="896" y="285"/>
                  <a:pt x="896" y="285"/>
                  <a:pt x="896" y="285"/>
                </a:cubicBezTo>
                <a:cubicBezTo>
                  <a:pt x="896" y="284"/>
                  <a:pt x="896" y="284"/>
                  <a:pt x="896" y="284"/>
                </a:cubicBezTo>
                <a:cubicBezTo>
                  <a:pt x="894" y="284"/>
                  <a:pt x="894" y="284"/>
                  <a:pt x="894" y="284"/>
                </a:cubicBezTo>
                <a:cubicBezTo>
                  <a:pt x="891" y="281"/>
                  <a:pt x="891" y="281"/>
                  <a:pt x="891" y="281"/>
                </a:cubicBezTo>
                <a:cubicBezTo>
                  <a:pt x="890" y="282"/>
                  <a:pt x="890" y="282"/>
                  <a:pt x="890" y="282"/>
                </a:cubicBezTo>
                <a:cubicBezTo>
                  <a:pt x="890" y="281"/>
                  <a:pt x="890" y="281"/>
                  <a:pt x="890" y="281"/>
                </a:cubicBezTo>
                <a:cubicBezTo>
                  <a:pt x="888" y="282"/>
                  <a:pt x="888" y="282"/>
                  <a:pt x="888" y="282"/>
                </a:cubicBezTo>
                <a:cubicBezTo>
                  <a:pt x="888" y="280"/>
                  <a:pt x="888" y="280"/>
                  <a:pt x="888" y="280"/>
                </a:cubicBezTo>
                <a:cubicBezTo>
                  <a:pt x="885" y="278"/>
                  <a:pt x="885" y="278"/>
                  <a:pt x="885" y="278"/>
                </a:cubicBezTo>
                <a:cubicBezTo>
                  <a:pt x="887" y="278"/>
                  <a:pt x="887" y="278"/>
                  <a:pt x="887" y="278"/>
                </a:cubicBezTo>
                <a:cubicBezTo>
                  <a:pt x="888" y="276"/>
                  <a:pt x="888" y="276"/>
                  <a:pt x="888" y="276"/>
                </a:cubicBezTo>
                <a:cubicBezTo>
                  <a:pt x="890" y="277"/>
                  <a:pt x="890" y="277"/>
                  <a:pt x="890" y="277"/>
                </a:cubicBezTo>
                <a:cubicBezTo>
                  <a:pt x="890" y="276"/>
                  <a:pt x="890" y="276"/>
                  <a:pt x="890" y="276"/>
                </a:cubicBezTo>
                <a:cubicBezTo>
                  <a:pt x="888" y="274"/>
                  <a:pt x="888" y="274"/>
                  <a:pt x="888" y="274"/>
                </a:cubicBezTo>
                <a:cubicBezTo>
                  <a:pt x="887" y="275"/>
                  <a:pt x="887" y="275"/>
                  <a:pt x="887" y="275"/>
                </a:cubicBezTo>
                <a:cubicBezTo>
                  <a:pt x="885" y="274"/>
                  <a:pt x="885" y="274"/>
                  <a:pt x="885" y="274"/>
                </a:cubicBezTo>
                <a:cubicBezTo>
                  <a:pt x="887" y="273"/>
                  <a:pt x="887" y="273"/>
                  <a:pt x="887" y="273"/>
                </a:cubicBezTo>
                <a:cubicBezTo>
                  <a:pt x="886" y="271"/>
                  <a:pt x="886" y="271"/>
                  <a:pt x="886" y="271"/>
                </a:cubicBezTo>
                <a:cubicBezTo>
                  <a:pt x="883" y="269"/>
                  <a:pt x="883" y="269"/>
                  <a:pt x="883" y="269"/>
                </a:cubicBezTo>
                <a:cubicBezTo>
                  <a:pt x="882" y="270"/>
                  <a:pt x="882" y="270"/>
                  <a:pt x="882" y="270"/>
                </a:cubicBezTo>
                <a:cubicBezTo>
                  <a:pt x="882" y="268"/>
                  <a:pt x="882" y="268"/>
                  <a:pt x="882" y="268"/>
                </a:cubicBezTo>
                <a:cubicBezTo>
                  <a:pt x="883" y="267"/>
                  <a:pt x="883" y="267"/>
                  <a:pt x="883" y="267"/>
                </a:cubicBezTo>
                <a:cubicBezTo>
                  <a:pt x="883" y="264"/>
                  <a:pt x="883" y="264"/>
                  <a:pt x="883" y="264"/>
                </a:cubicBezTo>
                <a:cubicBezTo>
                  <a:pt x="882" y="264"/>
                  <a:pt x="882" y="264"/>
                  <a:pt x="882" y="264"/>
                </a:cubicBezTo>
                <a:cubicBezTo>
                  <a:pt x="879" y="262"/>
                  <a:pt x="879" y="262"/>
                  <a:pt x="879" y="262"/>
                </a:cubicBezTo>
                <a:cubicBezTo>
                  <a:pt x="879" y="260"/>
                  <a:pt x="879" y="260"/>
                  <a:pt x="879" y="260"/>
                </a:cubicBezTo>
                <a:cubicBezTo>
                  <a:pt x="876" y="257"/>
                  <a:pt x="876" y="257"/>
                  <a:pt x="876" y="257"/>
                </a:cubicBezTo>
                <a:cubicBezTo>
                  <a:pt x="873" y="258"/>
                  <a:pt x="873" y="258"/>
                  <a:pt x="873" y="258"/>
                </a:cubicBezTo>
                <a:cubicBezTo>
                  <a:pt x="871" y="259"/>
                  <a:pt x="871" y="259"/>
                  <a:pt x="871" y="259"/>
                </a:cubicBezTo>
                <a:cubicBezTo>
                  <a:pt x="870" y="260"/>
                  <a:pt x="870" y="260"/>
                  <a:pt x="870" y="260"/>
                </a:cubicBezTo>
                <a:cubicBezTo>
                  <a:pt x="868" y="259"/>
                  <a:pt x="868" y="259"/>
                  <a:pt x="868" y="259"/>
                </a:cubicBezTo>
                <a:cubicBezTo>
                  <a:pt x="868" y="261"/>
                  <a:pt x="868" y="261"/>
                  <a:pt x="868" y="261"/>
                </a:cubicBezTo>
                <a:cubicBezTo>
                  <a:pt x="867" y="259"/>
                  <a:pt x="867" y="259"/>
                  <a:pt x="867" y="259"/>
                </a:cubicBezTo>
                <a:cubicBezTo>
                  <a:pt x="865" y="259"/>
                  <a:pt x="865" y="259"/>
                  <a:pt x="865" y="259"/>
                </a:cubicBezTo>
                <a:cubicBezTo>
                  <a:pt x="864" y="258"/>
                  <a:pt x="864" y="258"/>
                  <a:pt x="864" y="258"/>
                </a:cubicBezTo>
                <a:cubicBezTo>
                  <a:pt x="862" y="258"/>
                  <a:pt x="862" y="258"/>
                  <a:pt x="862" y="258"/>
                </a:cubicBezTo>
                <a:cubicBezTo>
                  <a:pt x="859" y="260"/>
                  <a:pt x="859" y="260"/>
                  <a:pt x="859" y="260"/>
                </a:cubicBezTo>
                <a:cubicBezTo>
                  <a:pt x="856" y="260"/>
                  <a:pt x="856" y="260"/>
                  <a:pt x="856" y="260"/>
                </a:cubicBezTo>
                <a:cubicBezTo>
                  <a:pt x="859" y="259"/>
                  <a:pt x="859" y="259"/>
                  <a:pt x="859" y="259"/>
                </a:cubicBezTo>
                <a:cubicBezTo>
                  <a:pt x="859" y="257"/>
                  <a:pt x="859" y="257"/>
                  <a:pt x="859" y="257"/>
                </a:cubicBezTo>
                <a:cubicBezTo>
                  <a:pt x="857" y="257"/>
                  <a:pt x="857" y="257"/>
                  <a:pt x="857" y="257"/>
                </a:cubicBezTo>
                <a:cubicBezTo>
                  <a:pt x="852" y="254"/>
                  <a:pt x="852" y="254"/>
                  <a:pt x="852" y="254"/>
                </a:cubicBezTo>
                <a:cubicBezTo>
                  <a:pt x="849" y="253"/>
                  <a:pt x="849" y="253"/>
                  <a:pt x="849" y="253"/>
                </a:cubicBezTo>
                <a:cubicBezTo>
                  <a:pt x="846" y="252"/>
                  <a:pt x="846" y="252"/>
                  <a:pt x="846" y="252"/>
                </a:cubicBezTo>
                <a:cubicBezTo>
                  <a:pt x="844" y="251"/>
                  <a:pt x="844" y="251"/>
                  <a:pt x="844" y="251"/>
                </a:cubicBezTo>
                <a:cubicBezTo>
                  <a:pt x="843" y="252"/>
                  <a:pt x="843" y="252"/>
                  <a:pt x="843" y="252"/>
                </a:cubicBezTo>
                <a:cubicBezTo>
                  <a:pt x="842" y="252"/>
                  <a:pt x="842" y="252"/>
                  <a:pt x="842" y="252"/>
                </a:cubicBezTo>
                <a:cubicBezTo>
                  <a:pt x="840" y="254"/>
                  <a:pt x="840" y="254"/>
                  <a:pt x="840" y="254"/>
                </a:cubicBezTo>
                <a:cubicBezTo>
                  <a:pt x="840" y="255"/>
                  <a:pt x="840" y="255"/>
                  <a:pt x="840" y="255"/>
                </a:cubicBezTo>
                <a:cubicBezTo>
                  <a:pt x="839" y="255"/>
                  <a:pt x="839" y="255"/>
                  <a:pt x="839" y="255"/>
                </a:cubicBezTo>
                <a:cubicBezTo>
                  <a:pt x="838" y="254"/>
                  <a:pt x="838" y="254"/>
                  <a:pt x="838" y="254"/>
                </a:cubicBezTo>
                <a:cubicBezTo>
                  <a:pt x="837" y="255"/>
                  <a:pt x="837" y="255"/>
                  <a:pt x="837" y="255"/>
                </a:cubicBezTo>
                <a:cubicBezTo>
                  <a:pt x="837" y="258"/>
                  <a:pt x="837" y="258"/>
                  <a:pt x="837" y="258"/>
                </a:cubicBezTo>
                <a:cubicBezTo>
                  <a:pt x="835" y="261"/>
                  <a:pt x="835" y="261"/>
                  <a:pt x="835" y="261"/>
                </a:cubicBezTo>
                <a:cubicBezTo>
                  <a:pt x="835" y="265"/>
                  <a:pt x="835" y="265"/>
                  <a:pt x="835" y="265"/>
                </a:cubicBezTo>
                <a:cubicBezTo>
                  <a:pt x="837" y="267"/>
                  <a:pt x="837" y="267"/>
                  <a:pt x="837" y="267"/>
                </a:cubicBezTo>
                <a:cubicBezTo>
                  <a:pt x="838" y="267"/>
                  <a:pt x="838" y="267"/>
                  <a:pt x="838" y="267"/>
                </a:cubicBezTo>
                <a:cubicBezTo>
                  <a:pt x="838" y="268"/>
                  <a:pt x="838" y="268"/>
                  <a:pt x="838" y="268"/>
                </a:cubicBezTo>
                <a:cubicBezTo>
                  <a:pt x="839" y="268"/>
                  <a:pt x="839" y="268"/>
                  <a:pt x="839" y="268"/>
                </a:cubicBezTo>
                <a:cubicBezTo>
                  <a:pt x="839" y="270"/>
                  <a:pt x="839" y="270"/>
                  <a:pt x="839" y="270"/>
                </a:cubicBezTo>
                <a:cubicBezTo>
                  <a:pt x="838" y="271"/>
                  <a:pt x="838" y="271"/>
                  <a:pt x="838" y="271"/>
                </a:cubicBezTo>
                <a:cubicBezTo>
                  <a:pt x="837" y="271"/>
                  <a:pt x="837" y="271"/>
                  <a:pt x="837" y="271"/>
                </a:cubicBezTo>
                <a:cubicBezTo>
                  <a:pt x="836" y="274"/>
                  <a:pt x="836" y="274"/>
                  <a:pt x="836" y="274"/>
                </a:cubicBezTo>
                <a:cubicBezTo>
                  <a:pt x="834" y="277"/>
                  <a:pt x="834" y="277"/>
                  <a:pt x="834" y="277"/>
                </a:cubicBezTo>
                <a:cubicBezTo>
                  <a:pt x="829" y="281"/>
                  <a:pt x="829" y="281"/>
                  <a:pt x="829" y="281"/>
                </a:cubicBezTo>
                <a:cubicBezTo>
                  <a:pt x="829" y="282"/>
                  <a:pt x="829" y="282"/>
                  <a:pt x="829" y="282"/>
                </a:cubicBezTo>
                <a:cubicBezTo>
                  <a:pt x="830" y="283"/>
                  <a:pt x="830" y="283"/>
                  <a:pt x="830" y="283"/>
                </a:cubicBezTo>
                <a:cubicBezTo>
                  <a:pt x="833" y="283"/>
                  <a:pt x="833" y="283"/>
                  <a:pt x="833" y="283"/>
                </a:cubicBezTo>
                <a:cubicBezTo>
                  <a:pt x="835" y="283"/>
                  <a:pt x="835" y="283"/>
                  <a:pt x="835" y="283"/>
                </a:cubicBezTo>
                <a:cubicBezTo>
                  <a:pt x="833" y="284"/>
                  <a:pt x="833" y="284"/>
                  <a:pt x="833" y="284"/>
                </a:cubicBezTo>
                <a:cubicBezTo>
                  <a:pt x="832" y="287"/>
                  <a:pt x="832" y="287"/>
                  <a:pt x="832" y="287"/>
                </a:cubicBezTo>
                <a:cubicBezTo>
                  <a:pt x="832" y="288"/>
                  <a:pt x="832" y="288"/>
                  <a:pt x="832" y="288"/>
                </a:cubicBezTo>
                <a:cubicBezTo>
                  <a:pt x="834" y="288"/>
                  <a:pt x="834" y="288"/>
                  <a:pt x="834" y="288"/>
                </a:cubicBezTo>
                <a:cubicBezTo>
                  <a:pt x="833" y="289"/>
                  <a:pt x="833" y="289"/>
                  <a:pt x="833" y="289"/>
                </a:cubicBezTo>
                <a:cubicBezTo>
                  <a:pt x="831" y="290"/>
                  <a:pt x="831" y="290"/>
                  <a:pt x="831" y="290"/>
                </a:cubicBezTo>
                <a:cubicBezTo>
                  <a:pt x="832" y="292"/>
                  <a:pt x="832" y="292"/>
                  <a:pt x="832" y="292"/>
                </a:cubicBezTo>
                <a:cubicBezTo>
                  <a:pt x="833" y="293"/>
                  <a:pt x="833" y="293"/>
                  <a:pt x="833" y="293"/>
                </a:cubicBezTo>
                <a:cubicBezTo>
                  <a:pt x="831" y="295"/>
                  <a:pt x="831" y="295"/>
                  <a:pt x="831" y="295"/>
                </a:cubicBezTo>
                <a:cubicBezTo>
                  <a:pt x="831" y="296"/>
                  <a:pt x="831" y="296"/>
                  <a:pt x="831" y="296"/>
                </a:cubicBezTo>
                <a:cubicBezTo>
                  <a:pt x="834" y="296"/>
                  <a:pt x="834" y="296"/>
                  <a:pt x="834" y="296"/>
                </a:cubicBezTo>
                <a:cubicBezTo>
                  <a:pt x="834" y="297"/>
                  <a:pt x="834" y="297"/>
                  <a:pt x="834" y="297"/>
                </a:cubicBezTo>
                <a:cubicBezTo>
                  <a:pt x="832" y="301"/>
                  <a:pt x="832" y="301"/>
                  <a:pt x="832" y="301"/>
                </a:cubicBezTo>
                <a:cubicBezTo>
                  <a:pt x="830" y="302"/>
                  <a:pt x="830" y="302"/>
                  <a:pt x="830" y="302"/>
                </a:cubicBezTo>
                <a:cubicBezTo>
                  <a:pt x="830" y="304"/>
                  <a:pt x="830" y="304"/>
                  <a:pt x="830" y="304"/>
                </a:cubicBezTo>
                <a:cubicBezTo>
                  <a:pt x="831" y="305"/>
                  <a:pt x="831" y="305"/>
                  <a:pt x="831" y="305"/>
                </a:cubicBezTo>
                <a:cubicBezTo>
                  <a:pt x="829" y="305"/>
                  <a:pt x="829" y="305"/>
                  <a:pt x="829" y="305"/>
                </a:cubicBezTo>
                <a:cubicBezTo>
                  <a:pt x="828" y="302"/>
                  <a:pt x="828" y="302"/>
                  <a:pt x="828" y="302"/>
                </a:cubicBezTo>
                <a:cubicBezTo>
                  <a:pt x="827" y="302"/>
                  <a:pt x="827" y="302"/>
                  <a:pt x="827" y="302"/>
                </a:cubicBezTo>
                <a:cubicBezTo>
                  <a:pt x="825" y="305"/>
                  <a:pt x="825" y="305"/>
                  <a:pt x="825" y="305"/>
                </a:cubicBezTo>
                <a:cubicBezTo>
                  <a:pt x="825" y="306"/>
                  <a:pt x="825" y="306"/>
                  <a:pt x="825" y="306"/>
                </a:cubicBezTo>
                <a:cubicBezTo>
                  <a:pt x="826" y="306"/>
                  <a:pt x="826" y="306"/>
                  <a:pt x="826" y="306"/>
                </a:cubicBezTo>
                <a:cubicBezTo>
                  <a:pt x="826" y="308"/>
                  <a:pt x="826" y="308"/>
                  <a:pt x="826" y="308"/>
                </a:cubicBezTo>
                <a:cubicBezTo>
                  <a:pt x="824" y="309"/>
                  <a:pt x="824" y="309"/>
                  <a:pt x="824" y="309"/>
                </a:cubicBezTo>
                <a:cubicBezTo>
                  <a:pt x="823" y="309"/>
                  <a:pt x="823" y="309"/>
                  <a:pt x="823" y="309"/>
                </a:cubicBezTo>
                <a:cubicBezTo>
                  <a:pt x="817" y="315"/>
                  <a:pt x="817" y="315"/>
                  <a:pt x="817" y="315"/>
                </a:cubicBezTo>
                <a:cubicBezTo>
                  <a:pt x="816" y="316"/>
                  <a:pt x="816" y="316"/>
                  <a:pt x="816" y="316"/>
                </a:cubicBezTo>
                <a:cubicBezTo>
                  <a:pt x="814" y="320"/>
                  <a:pt x="814" y="320"/>
                  <a:pt x="814" y="320"/>
                </a:cubicBezTo>
                <a:cubicBezTo>
                  <a:pt x="815" y="321"/>
                  <a:pt x="815" y="321"/>
                  <a:pt x="815" y="321"/>
                </a:cubicBezTo>
                <a:cubicBezTo>
                  <a:pt x="817" y="322"/>
                  <a:pt x="817" y="322"/>
                  <a:pt x="817" y="322"/>
                </a:cubicBezTo>
                <a:cubicBezTo>
                  <a:pt x="818" y="324"/>
                  <a:pt x="818" y="324"/>
                  <a:pt x="818" y="324"/>
                </a:cubicBezTo>
                <a:cubicBezTo>
                  <a:pt x="820" y="326"/>
                  <a:pt x="820" y="326"/>
                  <a:pt x="820" y="326"/>
                </a:cubicBezTo>
                <a:cubicBezTo>
                  <a:pt x="823" y="330"/>
                  <a:pt x="823" y="330"/>
                  <a:pt x="823" y="330"/>
                </a:cubicBezTo>
                <a:cubicBezTo>
                  <a:pt x="823" y="336"/>
                  <a:pt x="823" y="336"/>
                  <a:pt x="823" y="336"/>
                </a:cubicBezTo>
                <a:cubicBezTo>
                  <a:pt x="823" y="342"/>
                  <a:pt x="823" y="342"/>
                  <a:pt x="823" y="342"/>
                </a:cubicBezTo>
                <a:cubicBezTo>
                  <a:pt x="825" y="345"/>
                  <a:pt x="825" y="345"/>
                  <a:pt x="825" y="345"/>
                </a:cubicBezTo>
                <a:cubicBezTo>
                  <a:pt x="824" y="347"/>
                  <a:pt x="824" y="347"/>
                  <a:pt x="824" y="347"/>
                </a:cubicBezTo>
                <a:cubicBezTo>
                  <a:pt x="824" y="351"/>
                  <a:pt x="824" y="351"/>
                  <a:pt x="824" y="351"/>
                </a:cubicBezTo>
                <a:cubicBezTo>
                  <a:pt x="824" y="352"/>
                  <a:pt x="824" y="352"/>
                  <a:pt x="824" y="352"/>
                </a:cubicBezTo>
                <a:cubicBezTo>
                  <a:pt x="822" y="357"/>
                  <a:pt x="822" y="357"/>
                  <a:pt x="822" y="357"/>
                </a:cubicBezTo>
                <a:cubicBezTo>
                  <a:pt x="821" y="359"/>
                  <a:pt x="821" y="359"/>
                  <a:pt x="821" y="359"/>
                </a:cubicBezTo>
                <a:cubicBezTo>
                  <a:pt x="822" y="359"/>
                  <a:pt x="822" y="359"/>
                  <a:pt x="822" y="359"/>
                </a:cubicBezTo>
                <a:cubicBezTo>
                  <a:pt x="823" y="357"/>
                  <a:pt x="823" y="357"/>
                  <a:pt x="823" y="357"/>
                </a:cubicBezTo>
                <a:cubicBezTo>
                  <a:pt x="824" y="356"/>
                  <a:pt x="824" y="356"/>
                  <a:pt x="824" y="356"/>
                </a:cubicBezTo>
                <a:cubicBezTo>
                  <a:pt x="824" y="358"/>
                  <a:pt x="824" y="358"/>
                  <a:pt x="824" y="358"/>
                </a:cubicBezTo>
                <a:cubicBezTo>
                  <a:pt x="826" y="361"/>
                  <a:pt x="826" y="361"/>
                  <a:pt x="826" y="361"/>
                </a:cubicBezTo>
                <a:cubicBezTo>
                  <a:pt x="824" y="362"/>
                  <a:pt x="824" y="362"/>
                  <a:pt x="824" y="362"/>
                </a:cubicBezTo>
                <a:cubicBezTo>
                  <a:pt x="822" y="363"/>
                  <a:pt x="822" y="363"/>
                  <a:pt x="822" y="363"/>
                </a:cubicBezTo>
                <a:cubicBezTo>
                  <a:pt x="821" y="362"/>
                  <a:pt x="821" y="362"/>
                  <a:pt x="821" y="362"/>
                </a:cubicBezTo>
                <a:cubicBezTo>
                  <a:pt x="820" y="361"/>
                  <a:pt x="820" y="361"/>
                  <a:pt x="820" y="361"/>
                </a:cubicBezTo>
                <a:cubicBezTo>
                  <a:pt x="817" y="366"/>
                  <a:pt x="817" y="366"/>
                  <a:pt x="817" y="366"/>
                </a:cubicBezTo>
                <a:cubicBezTo>
                  <a:pt x="815" y="367"/>
                  <a:pt x="815" y="367"/>
                  <a:pt x="815" y="367"/>
                </a:cubicBezTo>
                <a:cubicBezTo>
                  <a:pt x="815" y="369"/>
                  <a:pt x="815" y="369"/>
                  <a:pt x="815" y="369"/>
                </a:cubicBezTo>
                <a:cubicBezTo>
                  <a:pt x="810" y="371"/>
                  <a:pt x="810" y="371"/>
                  <a:pt x="810" y="371"/>
                </a:cubicBezTo>
                <a:cubicBezTo>
                  <a:pt x="809" y="372"/>
                  <a:pt x="809" y="372"/>
                  <a:pt x="809" y="372"/>
                </a:cubicBezTo>
                <a:cubicBezTo>
                  <a:pt x="808" y="373"/>
                  <a:pt x="808" y="373"/>
                  <a:pt x="808" y="373"/>
                </a:cubicBezTo>
                <a:cubicBezTo>
                  <a:pt x="802" y="375"/>
                  <a:pt x="802" y="375"/>
                  <a:pt x="802" y="375"/>
                </a:cubicBezTo>
                <a:cubicBezTo>
                  <a:pt x="798" y="377"/>
                  <a:pt x="798" y="377"/>
                  <a:pt x="798" y="377"/>
                </a:cubicBezTo>
                <a:cubicBezTo>
                  <a:pt x="797" y="378"/>
                  <a:pt x="797" y="378"/>
                  <a:pt x="797" y="378"/>
                </a:cubicBezTo>
                <a:cubicBezTo>
                  <a:pt x="795" y="378"/>
                  <a:pt x="795" y="378"/>
                  <a:pt x="795" y="378"/>
                </a:cubicBezTo>
                <a:cubicBezTo>
                  <a:pt x="793" y="379"/>
                  <a:pt x="793" y="379"/>
                  <a:pt x="793" y="379"/>
                </a:cubicBezTo>
                <a:cubicBezTo>
                  <a:pt x="789" y="380"/>
                  <a:pt x="789" y="380"/>
                  <a:pt x="789" y="380"/>
                </a:cubicBezTo>
                <a:cubicBezTo>
                  <a:pt x="786" y="381"/>
                  <a:pt x="786" y="381"/>
                  <a:pt x="786" y="381"/>
                </a:cubicBezTo>
                <a:cubicBezTo>
                  <a:pt x="787" y="382"/>
                  <a:pt x="787" y="382"/>
                  <a:pt x="787" y="382"/>
                </a:cubicBezTo>
                <a:cubicBezTo>
                  <a:pt x="787" y="384"/>
                  <a:pt x="787" y="384"/>
                  <a:pt x="787" y="384"/>
                </a:cubicBezTo>
                <a:cubicBezTo>
                  <a:pt x="788" y="386"/>
                  <a:pt x="788" y="386"/>
                  <a:pt x="788" y="386"/>
                </a:cubicBezTo>
                <a:cubicBezTo>
                  <a:pt x="788" y="388"/>
                  <a:pt x="788" y="388"/>
                  <a:pt x="788" y="388"/>
                </a:cubicBezTo>
                <a:cubicBezTo>
                  <a:pt x="789" y="389"/>
                  <a:pt x="789" y="389"/>
                  <a:pt x="789" y="389"/>
                </a:cubicBezTo>
                <a:cubicBezTo>
                  <a:pt x="788" y="390"/>
                  <a:pt x="788" y="390"/>
                  <a:pt x="788" y="390"/>
                </a:cubicBezTo>
                <a:cubicBezTo>
                  <a:pt x="788" y="391"/>
                  <a:pt x="788" y="391"/>
                  <a:pt x="788" y="391"/>
                </a:cubicBezTo>
                <a:cubicBezTo>
                  <a:pt x="789" y="391"/>
                  <a:pt x="789" y="391"/>
                  <a:pt x="789" y="391"/>
                </a:cubicBezTo>
                <a:cubicBezTo>
                  <a:pt x="788" y="392"/>
                  <a:pt x="788" y="392"/>
                  <a:pt x="788" y="392"/>
                </a:cubicBezTo>
                <a:cubicBezTo>
                  <a:pt x="789" y="394"/>
                  <a:pt x="789" y="394"/>
                  <a:pt x="789" y="394"/>
                </a:cubicBezTo>
                <a:cubicBezTo>
                  <a:pt x="788" y="395"/>
                  <a:pt x="788" y="395"/>
                  <a:pt x="788" y="395"/>
                </a:cubicBezTo>
                <a:cubicBezTo>
                  <a:pt x="788" y="397"/>
                  <a:pt x="788" y="397"/>
                  <a:pt x="788" y="397"/>
                </a:cubicBezTo>
                <a:cubicBezTo>
                  <a:pt x="787" y="398"/>
                  <a:pt x="787" y="398"/>
                  <a:pt x="787" y="398"/>
                </a:cubicBezTo>
                <a:cubicBezTo>
                  <a:pt x="787" y="401"/>
                  <a:pt x="787" y="401"/>
                  <a:pt x="787" y="401"/>
                </a:cubicBezTo>
                <a:cubicBezTo>
                  <a:pt x="787" y="403"/>
                  <a:pt x="787" y="403"/>
                  <a:pt x="787" y="403"/>
                </a:cubicBezTo>
                <a:cubicBezTo>
                  <a:pt x="786" y="408"/>
                  <a:pt x="786" y="408"/>
                  <a:pt x="786" y="408"/>
                </a:cubicBezTo>
                <a:cubicBezTo>
                  <a:pt x="786" y="409"/>
                  <a:pt x="786" y="409"/>
                  <a:pt x="786" y="409"/>
                </a:cubicBezTo>
                <a:cubicBezTo>
                  <a:pt x="787" y="410"/>
                  <a:pt x="787" y="410"/>
                  <a:pt x="787" y="410"/>
                </a:cubicBezTo>
                <a:cubicBezTo>
                  <a:pt x="787" y="411"/>
                  <a:pt x="787" y="411"/>
                  <a:pt x="787" y="411"/>
                </a:cubicBezTo>
                <a:cubicBezTo>
                  <a:pt x="788" y="412"/>
                  <a:pt x="788" y="412"/>
                  <a:pt x="788" y="412"/>
                </a:cubicBezTo>
                <a:cubicBezTo>
                  <a:pt x="786" y="414"/>
                  <a:pt x="786" y="414"/>
                  <a:pt x="786" y="414"/>
                </a:cubicBezTo>
                <a:cubicBezTo>
                  <a:pt x="786" y="416"/>
                  <a:pt x="786" y="416"/>
                  <a:pt x="786" y="416"/>
                </a:cubicBezTo>
                <a:cubicBezTo>
                  <a:pt x="787" y="417"/>
                  <a:pt x="787" y="417"/>
                  <a:pt x="787" y="417"/>
                </a:cubicBezTo>
                <a:cubicBezTo>
                  <a:pt x="787" y="420"/>
                  <a:pt x="787" y="420"/>
                  <a:pt x="787" y="420"/>
                </a:cubicBezTo>
                <a:cubicBezTo>
                  <a:pt x="788" y="421"/>
                  <a:pt x="788" y="421"/>
                  <a:pt x="788" y="421"/>
                </a:cubicBezTo>
                <a:cubicBezTo>
                  <a:pt x="786" y="423"/>
                  <a:pt x="786" y="423"/>
                  <a:pt x="786" y="423"/>
                </a:cubicBezTo>
                <a:cubicBezTo>
                  <a:pt x="785" y="426"/>
                  <a:pt x="785" y="426"/>
                  <a:pt x="785" y="426"/>
                </a:cubicBezTo>
                <a:cubicBezTo>
                  <a:pt x="784" y="426"/>
                  <a:pt x="784" y="426"/>
                  <a:pt x="784" y="426"/>
                </a:cubicBezTo>
                <a:cubicBezTo>
                  <a:pt x="783" y="426"/>
                  <a:pt x="783" y="426"/>
                  <a:pt x="783" y="426"/>
                </a:cubicBezTo>
                <a:cubicBezTo>
                  <a:pt x="783" y="428"/>
                  <a:pt x="783" y="428"/>
                  <a:pt x="783" y="428"/>
                </a:cubicBezTo>
                <a:cubicBezTo>
                  <a:pt x="784" y="429"/>
                  <a:pt x="784" y="429"/>
                  <a:pt x="784" y="429"/>
                </a:cubicBezTo>
                <a:cubicBezTo>
                  <a:pt x="783" y="431"/>
                  <a:pt x="783" y="431"/>
                  <a:pt x="783" y="431"/>
                </a:cubicBezTo>
                <a:cubicBezTo>
                  <a:pt x="782" y="434"/>
                  <a:pt x="782" y="434"/>
                  <a:pt x="782" y="434"/>
                </a:cubicBezTo>
                <a:cubicBezTo>
                  <a:pt x="783" y="436"/>
                  <a:pt x="783" y="436"/>
                  <a:pt x="783" y="436"/>
                </a:cubicBezTo>
                <a:cubicBezTo>
                  <a:pt x="785" y="438"/>
                  <a:pt x="785" y="438"/>
                  <a:pt x="785" y="438"/>
                </a:cubicBezTo>
                <a:cubicBezTo>
                  <a:pt x="787" y="439"/>
                  <a:pt x="787" y="439"/>
                  <a:pt x="787" y="439"/>
                </a:cubicBezTo>
                <a:cubicBezTo>
                  <a:pt x="783" y="439"/>
                  <a:pt x="783" y="439"/>
                  <a:pt x="783" y="439"/>
                </a:cubicBezTo>
                <a:cubicBezTo>
                  <a:pt x="781" y="437"/>
                  <a:pt x="781" y="437"/>
                  <a:pt x="781" y="437"/>
                </a:cubicBezTo>
                <a:cubicBezTo>
                  <a:pt x="781" y="434"/>
                  <a:pt x="781" y="434"/>
                  <a:pt x="781" y="434"/>
                </a:cubicBezTo>
                <a:cubicBezTo>
                  <a:pt x="781" y="431"/>
                  <a:pt x="781" y="431"/>
                  <a:pt x="781" y="431"/>
                </a:cubicBezTo>
                <a:cubicBezTo>
                  <a:pt x="779" y="430"/>
                  <a:pt x="779" y="430"/>
                  <a:pt x="779" y="430"/>
                </a:cubicBezTo>
                <a:cubicBezTo>
                  <a:pt x="779" y="429"/>
                  <a:pt x="779" y="429"/>
                  <a:pt x="779" y="429"/>
                </a:cubicBezTo>
                <a:cubicBezTo>
                  <a:pt x="779" y="428"/>
                  <a:pt x="779" y="428"/>
                  <a:pt x="779" y="428"/>
                </a:cubicBezTo>
                <a:cubicBezTo>
                  <a:pt x="779" y="428"/>
                  <a:pt x="779" y="428"/>
                  <a:pt x="779" y="428"/>
                </a:cubicBezTo>
                <a:cubicBezTo>
                  <a:pt x="775" y="432"/>
                  <a:pt x="775" y="432"/>
                  <a:pt x="775" y="432"/>
                </a:cubicBezTo>
                <a:cubicBezTo>
                  <a:pt x="775" y="434"/>
                  <a:pt x="775" y="434"/>
                  <a:pt x="775" y="434"/>
                </a:cubicBezTo>
                <a:cubicBezTo>
                  <a:pt x="775" y="435"/>
                  <a:pt x="775" y="435"/>
                  <a:pt x="775" y="435"/>
                </a:cubicBezTo>
                <a:cubicBezTo>
                  <a:pt x="773" y="435"/>
                  <a:pt x="773" y="435"/>
                  <a:pt x="773" y="435"/>
                </a:cubicBezTo>
                <a:cubicBezTo>
                  <a:pt x="771" y="433"/>
                  <a:pt x="771" y="433"/>
                  <a:pt x="771" y="433"/>
                </a:cubicBezTo>
                <a:cubicBezTo>
                  <a:pt x="769" y="433"/>
                  <a:pt x="769" y="433"/>
                  <a:pt x="769" y="433"/>
                </a:cubicBezTo>
                <a:cubicBezTo>
                  <a:pt x="766" y="434"/>
                  <a:pt x="766" y="434"/>
                  <a:pt x="766" y="434"/>
                </a:cubicBezTo>
                <a:cubicBezTo>
                  <a:pt x="763" y="436"/>
                  <a:pt x="763" y="436"/>
                  <a:pt x="763" y="436"/>
                </a:cubicBezTo>
                <a:cubicBezTo>
                  <a:pt x="767" y="432"/>
                  <a:pt x="767" y="432"/>
                  <a:pt x="767" y="432"/>
                </a:cubicBezTo>
                <a:cubicBezTo>
                  <a:pt x="768" y="430"/>
                  <a:pt x="768" y="430"/>
                  <a:pt x="768" y="430"/>
                </a:cubicBezTo>
                <a:cubicBezTo>
                  <a:pt x="767" y="428"/>
                  <a:pt x="767" y="428"/>
                  <a:pt x="767" y="428"/>
                </a:cubicBezTo>
                <a:cubicBezTo>
                  <a:pt x="767" y="425"/>
                  <a:pt x="767" y="425"/>
                  <a:pt x="767" y="425"/>
                </a:cubicBezTo>
                <a:cubicBezTo>
                  <a:pt x="766" y="423"/>
                  <a:pt x="766" y="423"/>
                  <a:pt x="766" y="423"/>
                </a:cubicBezTo>
                <a:cubicBezTo>
                  <a:pt x="765" y="422"/>
                  <a:pt x="765" y="422"/>
                  <a:pt x="765" y="422"/>
                </a:cubicBezTo>
                <a:cubicBezTo>
                  <a:pt x="765" y="422"/>
                  <a:pt x="765" y="422"/>
                  <a:pt x="765" y="422"/>
                </a:cubicBezTo>
                <a:cubicBezTo>
                  <a:pt x="763" y="421"/>
                  <a:pt x="763" y="421"/>
                  <a:pt x="763" y="421"/>
                </a:cubicBezTo>
                <a:cubicBezTo>
                  <a:pt x="761" y="420"/>
                  <a:pt x="761" y="420"/>
                  <a:pt x="761" y="420"/>
                </a:cubicBezTo>
                <a:cubicBezTo>
                  <a:pt x="761" y="419"/>
                  <a:pt x="761" y="419"/>
                  <a:pt x="761" y="419"/>
                </a:cubicBezTo>
                <a:cubicBezTo>
                  <a:pt x="760" y="418"/>
                  <a:pt x="760" y="418"/>
                  <a:pt x="760" y="418"/>
                </a:cubicBezTo>
                <a:cubicBezTo>
                  <a:pt x="761" y="416"/>
                  <a:pt x="761" y="416"/>
                  <a:pt x="761" y="416"/>
                </a:cubicBezTo>
                <a:cubicBezTo>
                  <a:pt x="760" y="414"/>
                  <a:pt x="760" y="414"/>
                  <a:pt x="760" y="414"/>
                </a:cubicBezTo>
                <a:cubicBezTo>
                  <a:pt x="758" y="413"/>
                  <a:pt x="758" y="413"/>
                  <a:pt x="758" y="413"/>
                </a:cubicBezTo>
                <a:cubicBezTo>
                  <a:pt x="758" y="411"/>
                  <a:pt x="758" y="411"/>
                  <a:pt x="758" y="411"/>
                </a:cubicBezTo>
                <a:cubicBezTo>
                  <a:pt x="756" y="409"/>
                  <a:pt x="756" y="409"/>
                  <a:pt x="756" y="409"/>
                </a:cubicBezTo>
                <a:cubicBezTo>
                  <a:pt x="755" y="408"/>
                  <a:pt x="755" y="408"/>
                  <a:pt x="755" y="408"/>
                </a:cubicBezTo>
                <a:cubicBezTo>
                  <a:pt x="756" y="404"/>
                  <a:pt x="756" y="404"/>
                  <a:pt x="756" y="404"/>
                </a:cubicBezTo>
                <a:cubicBezTo>
                  <a:pt x="758" y="402"/>
                  <a:pt x="758" y="402"/>
                  <a:pt x="758" y="402"/>
                </a:cubicBezTo>
                <a:cubicBezTo>
                  <a:pt x="759" y="399"/>
                  <a:pt x="759" y="399"/>
                  <a:pt x="759" y="399"/>
                </a:cubicBezTo>
                <a:cubicBezTo>
                  <a:pt x="759" y="398"/>
                  <a:pt x="759" y="398"/>
                  <a:pt x="759" y="398"/>
                </a:cubicBezTo>
                <a:cubicBezTo>
                  <a:pt x="762" y="394"/>
                  <a:pt x="762" y="394"/>
                  <a:pt x="762" y="394"/>
                </a:cubicBezTo>
                <a:cubicBezTo>
                  <a:pt x="762" y="389"/>
                  <a:pt x="762" y="389"/>
                  <a:pt x="762" y="389"/>
                </a:cubicBezTo>
                <a:cubicBezTo>
                  <a:pt x="761" y="389"/>
                  <a:pt x="761" y="389"/>
                  <a:pt x="761" y="389"/>
                </a:cubicBezTo>
                <a:cubicBezTo>
                  <a:pt x="761" y="386"/>
                  <a:pt x="761" y="386"/>
                  <a:pt x="761" y="386"/>
                </a:cubicBezTo>
                <a:cubicBezTo>
                  <a:pt x="762" y="384"/>
                  <a:pt x="762" y="384"/>
                  <a:pt x="762" y="384"/>
                </a:cubicBezTo>
                <a:cubicBezTo>
                  <a:pt x="763" y="382"/>
                  <a:pt x="763" y="382"/>
                  <a:pt x="763" y="382"/>
                </a:cubicBezTo>
                <a:cubicBezTo>
                  <a:pt x="764" y="380"/>
                  <a:pt x="764" y="380"/>
                  <a:pt x="764" y="380"/>
                </a:cubicBezTo>
                <a:cubicBezTo>
                  <a:pt x="766" y="375"/>
                  <a:pt x="766" y="375"/>
                  <a:pt x="766" y="375"/>
                </a:cubicBezTo>
                <a:cubicBezTo>
                  <a:pt x="766" y="372"/>
                  <a:pt x="766" y="372"/>
                  <a:pt x="766" y="372"/>
                </a:cubicBezTo>
                <a:cubicBezTo>
                  <a:pt x="765" y="372"/>
                  <a:pt x="765" y="372"/>
                  <a:pt x="765" y="372"/>
                </a:cubicBezTo>
                <a:cubicBezTo>
                  <a:pt x="764" y="372"/>
                  <a:pt x="764" y="372"/>
                  <a:pt x="764" y="372"/>
                </a:cubicBezTo>
                <a:cubicBezTo>
                  <a:pt x="764" y="372"/>
                  <a:pt x="764" y="372"/>
                  <a:pt x="764" y="372"/>
                </a:cubicBezTo>
                <a:cubicBezTo>
                  <a:pt x="763" y="372"/>
                  <a:pt x="763" y="372"/>
                  <a:pt x="763" y="372"/>
                </a:cubicBezTo>
                <a:cubicBezTo>
                  <a:pt x="760" y="373"/>
                  <a:pt x="760" y="373"/>
                  <a:pt x="760" y="373"/>
                </a:cubicBezTo>
                <a:cubicBezTo>
                  <a:pt x="757" y="372"/>
                  <a:pt x="757" y="372"/>
                  <a:pt x="757" y="372"/>
                </a:cubicBezTo>
                <a:cubicBezTo>
                  <a:pt x="754" y="371"/>
                  <a:pt x="754" y="371"/>
                  <a:pt x="754" y="371"/>
                </a:cubicBezTo>
                <a:cubicBezTo>
                  <a:pt x="753" y="371"/>
                  <a:pt x="753" y="371"/>
                  <a:pt x="753" y="371"/>
                </a:cubicBezTo>
                <a:cubicBezTo>
                  <a:pt x="752" y="370"/>
                  <a:pt x="752" y="370"/>
                  <a:pt x="752" y="370"/>
                </a:cubicBezTo>
                <a:cubicBezTo>
                  <a:pt x="748" y="370"/>
                  <a:pt x="748" y="370"/>
                  <a:pt x="748" y="370"/>
                </a:cubicBezTo>
                <a:cubicBezTo>
                  <a:pt x="745" y="370"/>
                  <a:pt x="745" y="370"/>
                  <a:pt x="745" y="370"/>
                </a:cubicBezTo>
                <a:cubicBezTo>
                  <a:pt x="744" y="370"/>
                  <a:pt x="744" y="370"/>
                  <a:pt x="744" y="370"/>
                </a:cubicBezTo>
                <a:cubicBezTo>
                  <a:pt x="741" y="370"/>
                  <a:pt x="741" y="370"/>
                  <a:pt x="741" y="370"/>
                </a:cubicBezTo>
                <a:cubicBezTo>
                  <a:pt x="741" y="369"/>
                  <a:pt x="741" y="369"/>
                  <a:pt x="741" y="369"/>
                </a:cubicBezTo>
                <a:cubicBezTo>
                  <a:pt x="741" y="368"/>
                  <a:pt x="741" y="368"/>
                  <a:pt x="741" y="368"/>
                </a:cubicBezTo>
                <a:cubicBezTo>
                  <a:pt x="738" y="366"/>
                  <a:pt x="738" y="366"/>
                  <a:pt x="738" y="366"/>
                </a:cubicBezTo>
                <a:cubicBezTo>
                  <a:pt x="738" y="364"/>
                  <a:pt x="738" y="364"/>
                  <a:pt x="738" y="364"/>
                </a:cubicBezTo>
                <a:cubicBezTo>
                  <a:pt x="735" y="361"/>
                  <a:pt x="735" y="361"/>
                  <a:pt x="735" y="361"/>
                </a:cubicBezTo>
                <a:cubicBezTo>
                  <a:pt x="733" y="361"/>
                  <a:pt x="733" y="361"/>
                  <a:pt x="733" y="361"/>
                </a:cubicBezTo>
                <a:cubicBezTo>
                  <a:pt x="730" y="359"/>
                  <a:pt x="730" y="359"/>
                  <a:pt x="730" y="359"/>
                </a:cubicBezTo>
                <a:cubicBezTo>
                  <a:pt x="729" y="358"/>
                  <a:pt x="729" y="358"/>
                  <a:pt x="729" y="358"/>
                </a:cubicBezTo>
                <a:cubicBezTo>
                  <a:pt x="724" y="356"/>
                  <a:pt x="724" y="356"/>
                  <a:pt x="724" y="356"/>
                </a:cubicBezTo>
                <a:cubicBezTo>
                  <a:pt x="723" y="354"/>
                  <a:pt x="723" y="354"/>
                  <a:pt x="723" y="354"/>
                </a:cubicBezTo>
                <a:cubicBezTo>
                  <a:pt x="722" y="355"/>
                  <a:pt x="722" y="355"/>
                  <a:pt x="722" y="355"/>
                </a:cubicBezTo>
                <a:cubicBezTo>
                  <a:pt x="722" y="354"/>
                  <a:pt x="722" y="354"/>
                  <a:pt x="722" y="354"/>
                </a:cubicBezTo>
                <a:cubicBezTo>
                  <a:pt x="721" y="351"/>
                  <a:pt x="721" y="351"/>
                  <a:pt x="721" y="351"/>
                </a:cubicBezTo>
                <a:cubicBezTo>
                  <a:pt x="719" y="349"/>
                  <a:pt x="719" y="349"/>
                  <a:pt x="719" y="349"/>
                </a:cubicBezTo>
                <a:cubicBezTo>
                  <a:pt x="719" y="347"/>
                  <a:pt x="719" y="347"/>
                  <a:pt x="719" y="347"/>
                </a:cubicBezTo>
                <a:cubicBezTo>
                  <a:pt x="718" y="346"/>
                  <a:pt x="718" y="346"/>
                  <a:pt x="718" y="346"/>
                </a:cubicBezTo>
                <a:cubicBezTo>
                  <a:pt x="716" y="343"/>
                  <a:pt x="716" y="343"/>
                  <a:pt x="716" y="343"/>
                </a:cubicBezTo>
                <a:cubicBezTo>
                  <a:pt x="715" y="343"/>
                  <a:pt x="715" y="343"/>
                  <a:pt x="715" y="343"/>
                </a:cubicBezTo>
                <a:cubicBezTo>
                  <a:pt x="711" y="339"/>
                  <a:pt x="711" y="339"/>
                  <a:pt x="711" y="339"/>
                </a:cubicBezTo>
                <a:cubicBezTo>
                  <a:pt x="709" y="339"/>
                  <a:pt x="709" y="339"/>
                  <a:pt x="709" y="339"/>
                </a:cubicBezTo>
                <a:cubicBezTo>
                  <a:pt x="708" y="338"/>
                  <a:pt x="708" y="338"/>
                  <a:pt x="708" y="338"/>
                </a:cubicBezTo>
                <a:cubicBezTo>
                  <a:pt x="704" y="337"/>
                  <a:pt x="704" y="337"/>
                  <a:pt x="704" y="337"/>
                </a:cubicBezTo>
                <a:cubicBezTo>
                  <a:pt x="701" y="334"/>
                  <a:pt x="701" y="334"/>
                  <a:pt x="701" y="334"/>
                </a:cubicBezTo>
                <a:cubicBezTo>
                  <a:pt x="696" y="331"/>
                  <a:pt x="696" y="331"/>
                  <a:pt x="696" y="331"/>
                </a:cubicBezTo>
                <a:cubicBezTo>
                  <a:pt x="693" y="331"/>
                  <a:pt x="693" y="331"/>
                  <a:pt x="693" y="331"/>
                </a:cubicBezTo>
                <a:cubicBezTo>
                  <a:pt x="685" y="334"/>
                  <a:pt x="685" y="334"/>
                  <a:pt x="685" y="334"/>
                </a:cubicBezTo>
                <a:cubicBezTo>
                  <a:pt x="678" y="336"/>
                  <a:pt x="678" y="336"/>
                  <a:pt x="678" y="336"/>
                </a:cubicBezTo>
                <a:cubicBezTo>
                  <a:pt x="675" y="336"/>
                  <a:pt x="675" y="336"/>
                  <a:pt x="675" y="336"/>
                </a:cubicBezTo>
                <a:cubicBezTo>
                  <a:pt x="673" y="335"/>
                  <a:pt x="673" y="335"/>
                  <a:pt x="673" y="335"/>
                </a:cubicBezTo>
                <a:cubicBezTo>
                  <a:pt x="675" y="335"/>
                  <a:pt x="675" y="335"/>
                  <a:pt x="675" y="335"/>
                </a:cubicBezTo>
                <a:cubicBezTo>
                  <a:pt x="678" y="334"/>
                  <a:pt x="678" y="334"/>
                  <a:pt x="678" y="334"/>
                </a:cubicBezTo>
                <a:cubicBezTo>
                  <a:pt x="684" y="328"/>
                  <a:pt x="684" y="328"/>
                  <a:pt x="684" y="328"/>
                </a:cubicBezTo>
                <a:cubicBezTo>
                  <a:pt x="685" y="326"/>
                  <a:pt x="685" y="326"/>
                  <a:pt x="685" y="326"/>
                </a:cubicBezTo>
                <a:cubicBezTo>
                  <a:pt x="684" y="322"/>
                  <a:pt x="684" y="322"/>
                  <a:pt x="684" y="322"/>
                </a:cubicBezTo>
                <a:cubicBezTo>
                  <a:pt x="683" y="321"/>
                  <a:pt x="683" y="321"/>
                  <a:pt x="683" y="321"/>
                </a:cubicBezTo>
                <a:cubicBezTo>
                  <a:pt x="685" y="317"/>
                  <a:pt x="685" y="317"/>
                  <a:pt x="685" y="317"/>
                </a:cubicBezTo>
                <a:cubicBezTo>
                  <a:pt x="685" y="313"/>
                  <a:pt x="685" y="313"/>
                  <a:pt x="685" y="313"/>
                </a:cubicBezTo>
                <a:cubicBezTo>
                  <a:pt x="684" y="310"/>
                  <a:pt x="684" y="310"/>
                  <a:pt x="684" y="310"/>
                </a:cubicBezTo>
                <a:cubicBezTo>
                  <a:pt x="684" y="308"/>
                  <a:pt x="684" y="308"/>
                  <a:pt x="684" y="308"/>
                </a:cubicBezTo>
                <a:cubicBezTo>
                  <a:pt x="684" y="305"/>
                  <a:pt x="684" y="305"/>
                  <a:pt x="684" y="305"/>
                </a:cubicBezTo>
                <a:cubicBezTo>
                  <a:pt x="684" y="303"/>
                  <a:pt x="684" y="303"/>
                  <a:pt x="684" y="303"/>
                </a:cubicBezTo>
                <a:cubicBezTo>
                  <a:pt x="683" y="303"/>
                  <a:pt x="683" y="303"/>
                  <a:pt x="683" y="303"/>
                </a:cubicBezTo>
                <a:cubicBezTo>
                  <a:pt x="677" y="303"/>
                  <a:pt x="677" y="303"/>
                  <a:pt x="677" y="303"/>
                </a:cubicBezTo>
                <a:cubicBezTo>
                  <a:pt x="674" y="308"/>
                  <a:pt x="674" y="308"/>
                  <a:pt x="674" y="308"/>
                </a:cubicBezTo>
                <a:cubicBezTo>
                  <a:pt x="671" y="312"/>
                  <a:pt x="671" y="312"/>
                  <a:pt x="671" y="312"/>
                </a:cubicBezTo>
                <a:cubicBezTo>
                  <a:pt x="666" y="313"/>
                  <a:pt x="666" y="313"/>
                  <a:pt x="666" y="313"/>
                </a:cubicBezTo>
                <a:cubicBezTo>
                  <a:pt x="663" y="315"/>
                  <a:pt x="663" y="315"/>
                  <a:pt x="663" y="315"/>
                </a:cubicBezTo>
                <a:cubicBezTo>
                  <a:pt x="664" y="313"/>
                  <a:pt x="664" y="313"/>
                  <a:pt x="664" y="313"/>
                </a:cubicBezTo>
                <a:cubicBezTo>
                  <a:pt x="670" y="312"/>
                  <a:pt x="670" y="312"/>
                  <a:pt x="670" y="312"/>
                </a:cubicBezTo>
                <a:cubicBezTo>
                  <a:pt x="672" y="309"/>
                  <a:pt x="672" y="309"/>
                  <a:pt x="672" y="309"/>
                </a:cubicBezTo>
                <a:cubicBezTo>
                  <a:pt x="674" y="304"/>
                  <a:pt x="674" y="304"/>
                  <a:pt x="674" y="304"/>
                </a:cubicBezTo>
                <a:cubicBezTo>
                  <a:pt x="673" y="304"/>
                  <a:pt x="673" y="304"/>
                  <a:pt x="673" y="304"/>
                </a:cubicBezTo>
                <a:cubicBezTo>
                  <a:pt x="673" y="301"/>
                  <a:pt x="673" y="301"/>
                  <a:pt x="673" y="301"/>
                </a:cubicBezTo>
                <a:cubicBezTo>
                  <a:pt x="672" y="300"/>
                  <a:pt x="672" y="300"/>
                  <a:pt x="672" y="300"/>
                </a:cubicBezTo>
                <a:cubicBezTo>
                  <a:pt x="673" y="298"/>
                  <a:pt x="673" y="298"/>
                  <a:pt x="673" y="298"/>
                </a:cubicBezTo>
                <a:cubicBezTo>
                  <a:pt x="672" y="297"/>
                  <a:pt x="672" y="297"/>
                  <a:pt x="672" y="297"/>
                </a:cubicBezTo>
                <a:cubicBezTo>
                  <a:pt x="670" y="296"/>
                  <a:pt x="670" y="296"/>
                  <a:pt x="670" y="296"/>
                </a:cubicBezTo>
                <a:cubicBezTo>
                  <a:pt x="671" y="295"/>
                  <a:pt x="671" y="295"/>
                  <a:pt x="671" y="295"/>
                </a:cubicBezTo>
                <a:cubicBezTo>
                  <a:pt x="673" y="295"/>
                  <a:pt x="673" y="295"/>
                  <a:pt x="673" y="295"/>
                </a:cubicBezTo>
                <a:cubicBezTo>
                  <a:pt x="674" y="293"/>
                  <a:pt x="674" y="293"/>
                  <a:pt x="674" y="293"/>
                </a:cubicBezTo>
                <a:cubicBezTo>
                  <a:pt x="676" y="290"/>
                  <a:pt x="676" y="290"/>
                  <a:pt x="676" y="290"/>
                </a:cubicBezTo>
                <a:cubicBezTo>
                  <a:pt x="676" y="287"/>
                  <a:pt x="676" y="287"/>
                  <a:pt x="676" y="287"/>
                </a:cubicBezTo>
                <a:cubicBezTo>
                  <a:pt x="675" y="286"/>
                  <a:pt x="675" y="286"/>
                  <a:pt x="675" y="286"/>
                </a:cubicBezTo>
                <a:cubicBezTo>
                  <a:pt x="676" y="282"/>
                  <a:pt x="676" y="282"/>
                  <a:pt x="676" y="282"/>
                </a:cubicBezTo>
                <a:cubicBezTo>
                  <a:pt x="678" y="281"/>
                  <a:pt x="678" y="281"/>
                  <a:pt x="678" y="281"/>
                </a:cubicBezTo>
                <a:cubicBezTo>
                  <a:pt x="679" y="279"/>
                  <a:pt x="679" y="279"/>
                  <a:pt x="679" y="279"/>
                </a:cubicBezTo>
                <a:cubicBezTo>
                  <a:pt x="680" y="277"/>
                  <a:pt x="680" y="277"/>
                  <a:pt x="680" y="277"/>
                </a:cubicBezTo>
                <a:cubicBezTo>
                  <a:pt x="681" y="273"/>
                  <a:pt x="681" y="273"/>
                  <a:pt x="681" y="273"/>
                </a:cubicBezTo>
                <a:cubicBezTo>
                  <a:pt x="682" y="271"/>
                  <a:pt x="682" y="271"/>
                  <a:pt x="682" y="271"/>
                </a:cubicBezTo>
                <a:cubicBezTo>
                  <a:pt x="681" y="269"/>
                  <a:pt x="681" y="269"/>
                  <a:pt x="681" y="269"/>
                </a:cubicBezTo>
                <a:cubicBezTo>
                  <a:pt x="682" y="268"/>
                  <a:pt x="682" y="268"/>
                  <a:pt x="682" y="268"/>
                </a:cubicBezTo>
                <a:cubicBezTo>
                  <a:pt x="684" y="269"/>
                  <a:pt x="684" y="269"/>
                  <a:pt x="684" y="269"/>
                </a:cubicBezTo>
                <a:cubicBezTo>
                  <a:pt x="686" y="267"/>
                  <a:pt x="686" y="267"/>
                  <a:pt x="686" y="267"/>
                </a:cubicBezTo>
                <a:cubicBezTo>
                  <a:pt x="686" y="265"/>
                  <a:pt x="686" y="265"/>
                  <a:pt x="686" y="265"/>
                </a:cubicBezTo>
                <a:cubicBezTo>
                  <a:pt x="688" y="265"/>
                  <a:pt x="688" y="265"/>
                  <a:pt x="688" y="265"/>
                </a:cubicBezTo>
                <a:cubicBezTo>
                  <a:pt x="691" y="262"/>
                  <a:pt x="691" y="262"/>
                  <a:pt x="691" y="262"/>
                </a:cubicBezTo>
                <a:cubicBezTo>
                  <a:pt x="693" y="261"/>
                  <a:pt x="693" y="261"/>
                  <a:pt x="693" y="261"/>
                </a:cubicBezTo>
                <a:cubicBezTo>
                  <a:pt x="693" y="259"/>
                  <a:pt x="693" y="259"/>
                  <a:pt x="693" y="259"/>
                </a:cubicBezTo>
                <a:cubicBezTo>
                  <a:pt x="694" y="258"/>
                  <a:pt x="694" y="258"/>
                  <a:pt x="694" y="258"/>
                </a:cubicBezTo>
                <a:cubicBezTo>
                  <a:pt x="695" y="258"/>
                  <a:pt x="695" y="258"/>
                  <a:pt x="695" y="258"/>
                </a:cubicBezTo>
                <a:cubicBezTo>
                  <a:pt x="696" y="256"/>
                  <a:pt x="696" y="256"/>
                  <a:pt x="696" y="256"/>
                </a:cubicBezTo>
                <a:cubicBezTo>
                  <a:pt x="694" y="255"/>
                  <a:pt x="694" y="255"/>
                  <a:pt x="694" y="255"/>
                </a:cubicBezTo>
                <a:cubicBezTo>
                  <a:pt x="697" y="254"/>
                  <a:pt x="697" y="254"/>
                  <a:pt x="697" y="254"/>
                </a:cubicBezTo>
                <a:cubicBezTo>
                  <a:pt x="699" y="251"/>
                  <a:pt x="699" y="251"/>
                  <a:pt x="699" y="251"/>
                </a:cubicBezTo>
                <a:cubicBezTo>
                  <a:pt x="701" y="251"/>
                  <a:pt x="701" y="251"/>
                  <a:pt x="701" y="251"/>
                </a:cubicBezTo>
                <a:cubicBezTo>
                  <a:pt x="701" y="250"/>
                  <a:pt x="701" y="250"/>
                  <a:pt x="701" y="250"/>
                </a:cubicBezTo>
                <a:cubicBezTo>
                  <a:pt x="701" y="249"/>
                  <a:pt x="701" y="249"/>
                  <a:pt x="701" y="249"/>
                </a:cubicBezTo>
                <a:cubicBezTo>
                  <a:pt x="699" y="247"/>
                  <a:pt x="699" y="247"/>
                  <a:pt x="699" y="247"/>
                </a:cubicBezTo>
                <a:cubicBezTo>
                  <a:pt x="700" y="247"/>
                  <a:pt x="700" y="247"/>
                  <a:pt x="700" y="247"/>
                </a:cubicBezTo>
                <a:cubicBezTo>
                  <a:pt x="700" y="245"/>
                  <a:pt x="700" y="245"/>
                  <a:pt x="700" y="245"/>
                </a:cubicBezTo>
                <a:cubicBezTo>
                  <a:pt x="702" y="246"/>
                  <a:pt x="702" y="246"/>
                  <a:pt x="702" y="246"/>
                </a:cubicBezTo>
                <a:cubicBezTo>
                  <a:pt x="704" y="247"/>
                  <a:pt x="704" y="247"/>
                  <a:pt x="704" y="247"/>
                </a:cubicBezTo>
                <a:cubicBezTo>
                  <a:pt x="704" y="248"/>
                  <a:pt x="704" y="248"/>
                  <a:pt x="704" y="248"/>
                </a:cubicBezTo>
                <a:cubicBezTo>
                  <a:pt x="705" y="248"/>
                  <a:pt x="705" y="248"/>
                  <a:pt x="705" y="248"/>
                </a:cubicBezTo>
                <a:cubicBezTo>
                  <a:pt x="705" y="246"/>
                  <a:pt x="705" y="246"/>
                  <a:pt x="705" y="246"/>
                </a:cubicBezTo>
                <a:cubicBezTo>
                  <a:pt x="703" y="245"/>
                  <a:pt x="703" y="245"/>
                  <a:pt x="703" y="245"/>
                </a:cubicBezTo>
                <a:cubicBezTo>
                  <a:pt x="706" y="244"/>
                  <a:pt x="706" y="244"/>
                  <a:pt x="706" y="244"/>
                </a:cubicBezTo>
                <a:cubicBezTo>
                  <a:pt x="707" y="243"/>
                  <a:pt x="707" y="243"/>
                  <a:pt x="707" y="243"/>
                </a:cubicBezTo>
                <a:cubicBezTo>
                  <a:pt x="710" y="243"/>
                  <a:pt x="710" y="243"/>
                  <a:pt x="710" y="243"/>
                </a:cubicBezTo>
                <a:cubicBezTo>
                  <a:pt x="710" y="244"/>
                  <a:pt x="710" y="244"/>
                  <a:pt x="710" y="244"/>
                </a:cubicBezTo>
                <a:cubicBezTo>
                  <a:pt x="711" y="242"/>
                  <a:pt x="711" y="242"/>
                  <a:pt x="711" y="242"/>
                </a:cubicBezTo>
                <a:cubicBezTo>
                  <a:pt x="710" y="241"/>
                  <a:pt x="710" y="241"/>
                  <a:pt x="710" y="241"/>
                </a:cubicBezTo>
                <a:cubicBezTo>
                  <a:pt x="711" y="242"/>
                  <a:pt x="711" y="242"/>
                  <a:pt x="711" y="242"/>
                </a:cubicBezTo>
                <a:cubicBezTo>
                  <a:pt x="712" y="244"/>
                  <a:pt x="712" y="244"/>
                  <a:pt x="712" y="244"/>
                </a:cubicBezTo>
                <a:cubicBezTo>
                  <a:pt x="713" y="242"/>
                  <a:pt x="713" y="242"/>
                  <a:pt x="713" y="242"/>
                </a:cubicBezTo>
                <a:cubicBezTo>
                  <a:pt x="713" y="240"/>
                  <a:pt x="713" y="240"/>
                  <a:pt x="713" y="240"/>
                </a:cubicBezTo>
                <a:cubicBezTo>
                  <a:pt x="712" y="239"/>
                  <a:pt x="712" y="239"/>
                  <a:pt x="712" y="239"/>
                </a:cubicBezTo>
                <a:cubicBezTo>
                  <a:pt x="712" y="238"/>
                  <a:pt x="712" y="238"/>
                  <a:pt x="712" y="238"/>
                </a:cubicBezTo>
                <a:cubicBezTo>
                  <a:pt x="713" y="238"/>
                  <a:pt x="713" y="238"/>
                  <a:pt x="713" y="238"/>
                </a:cubicBezTo>
                <a:cubicBezTo>
                  <a:pt x="717" y="239"/>
                  <a:pt x="717" y="239"/>
                  <a:pt x="717" y="239"/>
                </a:cubicBezTo>
                <a:cubicBezTo>
                  <a:pt x="716" y="238"/>
                  <a:pt x="716" y="238"/>
                  <a:pt x="716" y="238"/>
                </a:cubicBezTo>
                <a:cubicBezTo>
                  <a:pt x="714" y="237"/>
                  <a:pt x="714" y="237"/>
                  <a:pt x="714" y="237"/>
                </a:cubicBezTo>
                <a:cubicBezTo>
                  <a:pt x="714" y="236"/>
                  <a:pt x="714" y="236"/>
                  <a:pt x="714" y="236"/>
                </a:cubicBezTo>
                <a:cubicBezTo>
                  <a:pt x="714" y="235"/>
                  <a:pt x="714" y="235"/>
                  <a:pt x="714" y="235"/>
                </a:cubicBezTo>
                <a:cubicBezTo>
                  <a:pt x="715" y="234"/>
                  <a:pt x="715" y="234"/>
                  <a:pt x="715" y="234"/>
                </a:cubicBezTo>
                <a:cubicBezTo>
                  <a:pt x="715" y="237"/>
                  <a:pt x="715" y="237"/>
                  <a:pt x="715" y="237"/>
                </a:cubicBezTo>
                <a:cubicBezTo>
                  <a:pt x="717" y="236"/>
                  <a:pt x="717" y="236"/>
                  <a:pt x="717" y="236"/>
                </a:cubicBezTo>
                <a:cubicBezTo>
                  <a:pt x="719" y="237"/>
                  <a:pt x="719" y="237"/>
                  <a:pt x="719" y="237"/>
                </a:cubicBezTo>
                <a:cubicBezTo>
                  <a:pt x="720" y="236"/>
                  <a:pt x="720" y="236"/>
                  <a:pt x="720" y="236"/>
                </a:cubicBezTo>
                <a:cubicBezTo>
                  <a:pt x="718" y="232"/>
                  <a:pt x="718" y="232"/>
                  <a:pt x="718" y="232"/>
                </a:cubicBezTo>
                <a:cubicBezTo>
                  <a:pt x="716" y="228"/>
                  <a:pt x="716" y="228"/>
                  <a:pt x="716" y="228"/>
                </a:cubicBezTo>
                <a:cubicBezTo>
                  <a:pt x="714" y="226"/>
                  <a:pt x="714" y="226"/>
                  <a:pt x="714" y="226"/>
                </a:cubicBezTo>
                <a:cubicBezTo>
                  <a:pt x="715" y="224"/>
                  <a:pt x="715" y="224"/>
                  <a:pt x="715" y="224"/>
                </a:cubicBezTo>
                <a:cubicBezTo>
                  <a:pt x="714" y="223"/>
                  <a:pt x="714" y="223"/>
                  <a:pt x="714" y="223"/>
                </a:cubicBezTo>
                <a:cubicBezTo>
                  <a:pt x="715" y="222"/>
                  <a:pt x="715" y="222"/>
                  <a:pt x="715" y="222"/>
                </a:cubicBezTo>
                <a:cubicBezTo>
                  <a:pt x="716" y="223"/>
                  <a:pt x="716" y="223"/>
                  <a:pt x="716" y="223"/>
                </a:cubicBezTo>
                <a:cubicBezTo>
                  <a:pt x="717" y="227"/>
                  <a:pt x="717" y="227"/>
                  <a:pt x="717" y="227"/>
                </a:cubicBezTo>
                <a:cubicBezTo>
                  <a:pt x="720" y="230"/>
                  <a:pt x="720" y="230"/>
                  <a:pt x="720" y="230"/>
                </a:cubicBezTo>
                <a:cubicBezTo>
                  <a:pt x="724" y="231"/>
                  <a:pt x="724" y="231"/>
                  <a:pt x="724" y="231"/>
                </a:cubicBezTo>
                <a:cubicBezTo>
                  <a:pt x="726" y="232"/>
                  <a:pt x="726" y="232"/>
                  <a:pt x="726" y="232"/>
                </a:cubicBezTo>
                <a:cubicBezTo>
                  <a:pt x="728" y="232"/>
                  <a:pt x="728" y="232"/>
                  <a:pt x="728" y="232"/>
                </a:cubicBezTo>
                <a:cubicBezTo>
                  <a:pt x="729" y="231"/>
                  <a:pt x="729" y="231"/>
                  <a:pt x="729" y="231"/>
                </a:cubicBezTo>
                <a:cubicBezTo>
                  <a:pt x="731" y="231"/>
                  <a:pt x="731" y="231"/>
                  <a:pt x="731" y="231"/>
                </a:cubicBezTo>
                <a:cubicBezTo>
                  <a:pt x="734" y="228"/>
                  <a:pt x="734" y="228"/>
                  <a:pt x="734" y="228"/>
                </a:cubicBezTo>
                <a:cubicBezTo>
                  <a:pt x="734" y="224"/>
                  <a:pt x="734" y="224"/>
                  <a:pt x="734" y="224"/>
                </a:cubicBezTo>
                <a:cubicBezTo>
                  <a:pt x="730" y="219"/>
                  <a:pt x="730" y="219"/>
                  <a:pt x="730" y="219"/>
                </a:cubicBezTo>
                <a:cubicBezTo>
                  <a:pt x="730" y="217"/>
                  <a:pt x="730" y="217"/>
                  <a:pt x="730" y="217"/>
                </a:cubicBezTo>
                <a:cubicBezTo>
                  <a:pt x="729" y="215"/>
                  <a:pt x="729" y="215"/>
                  <a:pt x="729" y="215"/>
                </a:cubicBezTo>
                <a:cubicBezTo>
                  <a:pt x="728" y="216"/>
                  <a:pt x="728" y="216"/>
                  <a:pt x="728" y="216"/>
                </a:cubicBezTo>
                <a:cubicBezTo>
                  <a:pt x="726" y="218"/>
                  <a:pt x="726" y="218"/>
                  <a:pt x="726" y="218"/>
                </a:cubicBezTo>
                <a:cubicBezTo>
                  <a:pt x="722" y="218"/>
                  <a:pt x="722" y="218"/>
                  <a:pt x="722" y="218"/>
                </a:cubicBezTo>
                <a:cubicBezTo>
                  <a:pt x="721" y="219"/>
                  <a:pt x="721" y="219"/>
                  <a:pt x="721" y="219"/>
                </a:cubicBezTo>
                <a:cubicBezTo>
                  <a:pt x="721" y="218"/>
                  <a:pt x="721" y="218"/>
                  <a:pt x="721" y="218"/>
                </a:cubicBezTo>
                <a:cubicBezTo>
                  <a:pt x="720" y="217"/>
                  <a:pt x="720" y="217"/>
                  <a:pt x="720" y="217"/>
                </a:cubicBezTo>
                <a:cubicBezTo>
                  <a:pt x="722" y="217"/>
                  <a:pt x="722" y="217"/>
                  <a:pt x="722" y="217"/>
                </a:cubicBezTo>
                <a:cubicBezTo>
                  <a:pt x="724" y="217"/>
                  <a:pt x="724" y="217"/>
                  <a:pt x="724" y="217"/>
                </a:cubicBezTo>
                <a:cubicBezTo>
                  <a:pt x="726" y="215"/>
                  <a:pt x="726" y="215"/>
                  <a:pt x="726" y="215"/>
                </a:cubicBezTo>
                <a:cubicBezTo>
                  <a:pt x="726" y="214"/>
                  <a:pt x="726" y="214"/>
                  <a:pt x="726" y="214"/>
                </a:cubicBezTo>
                <a:cubicBezTo>
                  <a:pt x="722" y="212"/>
                  <a:pt x="722" y="212"/>
                  <a:pt x="722" y="212"/>
                </a:cubicBezTo>
                <a:cubicBezTo>
                  <a:pt x="718" y="208"/>
                  <a:pt x="718" y="208"/>
                  <a:pt x="718" y="208"/>
                </a:cubicBezTo>
                <a:cubicBezTo>
                  <a:pt x="717" y="208"/>
                  <a:pt x="717" y="208"/>
                  <a:pt x="717" y="208"/>
                </a:cubicBezTo>
                <a:cubicBezTo>
                  <a:pt x="717" y="208"/>
                  <a:pt x="717" y="208"/>
                  <a:pt x="717" y="208"/>
                </a:cubicBezTo>
                <a:cubicBezTo>
                  <a:pt x="718" y="210"/>
                  <a:pt x="718" y="210"/>
                  <a:pt x="718" y="210"/>
                </a:cubicBezTo>
                <a:cubicBezTo>
                  <a:pt x="717" y="211"/>
                  <a:pt x="717" y="211"/>
                  <a:pt x="717" y="211"/>
                </a:cubicBezTo>
                <a:cubicBezTo>
                  <a:pt x="715" y="209"/>
                  <a:pt x="715" y="209"/>
                  <a:pt x="715" y="209"/>
                </a:cubicBezTo>
                <a:cubicBezTo>
                  <a:pt x="714" y="206"/>
                  <a:pt x="714" y="206"/>
                  <a:pt x="714" y="206"/>
                </a:cubicBezTo>
                <a:cubicBezTo>
                  <a:pt x="716" y="207"/>
                  <a:pt x="716" y="207"/>
                  <a:pt x="716" y="207"/>
                </a:cubicBezTo>
                <a:cubicBezTo>
                  <a:pt x="716" y="204"/>
                  <a:pt x="716" y="204"/>
                  <a:pt x="716" y="204"/>
                </a:cubicBezTo>
                <a:cubicBezTo>
                  <a:pt x="717" y="205"/>
                  <a:pt x="717" y="205"/>
                  <a:pt x="717" y="205"/>
                </a:cubicBezTo>
                <a:cubicBezTo>
                  <a:pt x="720" y="207"/>
                  <a:pt x="720" y="207"/>
                  <a:pt x="720" y="207"/>
                </a:cubicBezTo>
                <a:cubicBezTo>
                  <a:pt x="722" y="208"/>
                  <a:pt x="722" y="208"/>
                  <a:pt x="722" y="208"/>
                </a:cubicBezTo>
                <a:cubicBezTo>
                  <a:pt x="723" y="211"/>
                  <a:pt x="723" y="211"/>
                  <a:pt x="723" y="211"/>
                </a:cubicBezTo>
                <a:cubicBezTo>
                  <a:pt x="727" y="213"/>
                  <a:pt x="727" y="213"/>
                  <a:pt x="727" y="213"/>
                </a:cubicBezTo>
                <a:cubicBezTo>
                  <a:pt x="731" y="215"/>
                  <a:pt x="731" y="215"/>
                  <a:pt x="731" y="215"/>
                </a:cubicBezTo>
                <a:cubicBezTo>
                  <a:pt x="733" y="217"/>
                  <a:pt x="733" y="217"/>
                  <a:pt x="733" y="217"/>
                </a:cubicBezTo>
                <a:cubicBezTo>
                  <a:pt x="734" y="218"/>
                  <a:pt x="734" y="218"/>
                  <a:pt x="734" y="218"/>
                </a:cubicBezTo>
                <a:cubicBezTo>
                  <a:pt x="735" y="220"/>
                  <a:pt x="735" y="220"/>
                  <a:pt x="735" y="220"/>
                </a:cubicBezTo>
                <a:cubicBezTo>
                  <a:pt x="737" y="221"/>
                  <a:pt x="737" y="221"/>
                  <a:pt x="737" y="221"/>
                </a:cubicBezTo>
                <a:cubicBezTo>
                  <a:pt x="737" y="221"/>
                  <a:pt x="737" y="221"/>
                  <a:pt x="737" y="221"/>
                </a:cubicBezTo>
                <a:cubicBezTo>
                  <a:pt x="738" y="219"/>
                  <a:pt x="738" y="219"/>
                  <a:pt x="738" y="219"/>
                </a:cubicBezTo>
                <a:cubicBezTo>
                  <a:pt x="740" y="218"/>
                  <a:pt x="740" y="218"/>
                  <a:pt x="740" y="218"/>
                </a:cubicBezTo>
                <a:cubicBezTo>
                  <a:pt x="738" y="217"/>
                  <a:pt x="738" y="217"/>
                  <a:pt x="738" y="217"/>
                </a:cubicBezTo>
                <a:cubicBezTo>
                  <a:pt x="739" y="215"/>
                  <a:pt x="739" y="215"/>
                  <a:pt x="739" y="215"/>
                </a:cubicBezTo>
                <a:cubicBezTo>
                  <a:pt x="740" y="218"/>
                  <a:pt x="740" y="218"/>
                  <a:pt x="740" y="218"/>
                </a:cubicBezTo>
                <a:cubicBezTo>
                  <a:pt x="741" y="219"/>
                  <a:pt x="741" y="219"/>
                  <a:pt x="741" y="219"/>
                </a:cubicBezTo>
                <a:cubicBezTo>
                  <a:pt x="742" y="219"/>
                  <a:pt x="742" y="219"/>
                  <a:pt x="742" y="219"/>
                </a:cubicBezTo>
                <a:cubicBezTo>
                  <a:pt x="744" y="216"/>
                  <a:pt x="744" y="216"/>
                  <a:pt x="744" y="216"/>
                </a:cubicBezTo>
                <a:cubicBezTo>
                  <a:pt x="745" y="212"/>
                  <a:pt x="745" y="212"/>
                  <a:pt x="745" y="212"/>
                </a:cubicBezTo>
                <a:cubicBezTo>
                  <a:pt x="744" y="211"/>
                  <a:pt x="744" y="211"/>
                  <a:pt x="744" y="211"/>
                </a:cubicBezTo>
                <a:cubicBezTo>
                  <a:pt x="745" y="208"/>
                  <a:pt x="745" y="208"/>
                  <a:pt x="745" y="208"/>
                </a:cubicBezTo>
                <a:cubicBezTo>
                  <a:pt x="746" y="211"/>
                  <a:pt x="746" y="211"/>
                  <a:pt x="746" y="211"/>
                </a:cubicBezTo>
                <a:cubicBezTo>
                  <a:pt x="746" y="213"/>
                  <a:pt x="746" y="213"/>
                  <a:pt x="746" y="213"/>
                </a:cubicBezTo>
                <a:cubicBezTo>
                  <a:pt x="747" y="209"/>
                  <a:pt x="747" y="209"/>
                  <a:pt x="747" y="209"/>
                </a:cubicBezTo>
                <a:cubicBezTo>
                  <a:pt x="749" y="208"/>
                  <a:pt x="749" y="208"/>
                  <a:pt x="749" y="208"/>
                </a:cubicBezTo>
                <a:cubicBezTo>
                  <a:pt x="750" y="209"/>
                  <a:pt x="750" y="209"/>
                  <a:pt x="750" y="209"/>
                </a:cubicBezTo>
                <a:cubicBezTo>
                  <a:pt x="750" y="209"/>
                  <a:pt x="750" y="209"/>
                  <a:pt x="750" y="209"/>
                </a:cubicBezTo>
                <a:cubicBezTo>
                  <a:pt x="749" y="211"/>
                  <a:pt x="749" y="211"/>
                  <a:pt x="749" y="211"/>
                </a:cubicBezTo>
                <a:cubicBezTo>
                  <a:pt x="750" y="212"/>
                  <a:pt x="750" y="212"/>
                  <a:pt x="750" y="212"/>
                </a:cubicBezTo>
                <a:cubicBezTo>
                  <a:pt x="750" y="213"/>
                  <a:pt x="750" y="213"/>
                  <a:pt x="750" y="213"/>
                </a:cubicBezTo>
                <a:cubicBezTo>
                  <a:pt x="751" y="212"/>
                  <a:pt x="751" y="212"/>
                  <a:pt x="751" y="212"/>
                </a:cubicBezTo>
                <a:cubicBezTo>
                  <a:pt x="753" y="212"/>
                  <a:pt x="753" y="212"/>
                  <a:pt x="753" y="212"/>
                </a:cubicBezTo>
                <a:cubicBezTo>
                  <a:pt x="755" y="215"/>
                  <a:pt x="755" y="215"/>
                  <a:pt x="755" y="215"/>
                </a:cubicBezTo>
                <a:cubicBezTo>
                  <a:pt x="756" y="214"/>
                  <a:pt x="756" y="214"/>
                  <a:pt x="756" y="214"/>
                </a:cubicBezTo>
                <a:cubicBezTo>
                  <a:pt x="757" y="214"/>
                  <a:pt x="757" y="214"/>
                  <a:pt x="757" y="214"/>
                </a:cubicBezTo>
                <a:cubicBezTo>
                  <a:pt x="758" y="215"/>
                  <a:pt x="758" y="215"/>
                  <a:pt x="758" y="215"/>
                </a:cubicBezTo>
                <a:cubicBezTo>
                  <a:pt x="760" y="214"/>
                  <a:pt x="760" y="214"/>
                  <a:pt x="760" y="214"/>
                </a:cubicBezTo>
                <a:cubicBezTo>
                  <a:pt x="761" y="211"/>
                  <a:pt x="761" y="211"/>
                  <a:pt x="761" y="211"/>
                </a:cubicBezTo>
                <a:cubicBezTo>
                  <a:pt x="764" y="210"/>
                  <a:pt x="764" y="210"/>
                  <a:pt x="764" y="210"/>
                </a:cubicBezTo>
                <a:cubicBezTo>
                  <a:pt x="771" y="204"/>
                  <a:pt x="771" y="204"/>
                  <a:pt x="771" y="204"/>
                </a:cubicBezTo>
                <a:cubicBezTo>
                  <a:pt x="771" y="202"/>
                  <a:pt x="771" y="202"/>
                  <a:pt x="771" y="202"/>
                </a:cubicBezTo>
                <a:cubicBezTo>
                  <a:pt x="772" y="202"/>
                  <a:pt x="772" y="202"/>
                  <a:pt x="772" y="202"/>
                </a:cubicBezTo>
                <a:cubicBezTo>
                  <a:pt x="772" y="202"/>
                  <a:pt x="772" y="202"/>
                  <a:pt x="772" y="202"/>
                </a:cubicBezTo>
                <a:cubicBezTo>
                  <a:pt x="775" y="199"/>
                  <a:pt x="775" y="199"/>
                  <a:pt x="775" y="199"/>
                </a:cubicBezTo>
                <a:cubicBezTo>
                  <a:pt x="777" y="198"/>
                  <a:pt x="777" y="198"/>
                  <a:pt x="777" y="198"/>
                </a:cubicBezTo>
                <a:cubicBezTo>
                  <a:pt x="779" y="196"/>
                  <a:pt x="779" y="196"/>
                  <a:pt x="779" y="196"/>
                </a:cubicBezTo>
                <a:cubicBezTo>
                  <a:pt x="780" y="195"/>
                  <a:pt x="780" y="195"/>
                  <a:pt x="780" y="195"/>
                </a:cubicBezTo>
                <a:cubicBezTo>
                  <a:pt x="780" y="193"/>
                  <a:pt x="780" y="193"/>
                  <a:pt x="780" y="193"/>
                </a:cubicBezTo>
                <a:cubicBezTo>
                  <a:pt x="772" y="191"/>
                  <a:pt x="772" y="191"/>
                  <a:pt x="772" y="191"/>
                </a:cubicBezTo>
                <a:cubicBezTo>
                  <a:pt x="769" y="190"/>
                  <a:pt x="769" y="190"/>
                  <a:pt x="769" y="190"/>
                </a:cubicBezTo>
                <a:cubicBezTo>
                  <a:pt x="765" y="189"/>
                  <a:pt x="765" y="189"/>
                  <a:pt x="765" y="189"/>
                </a:cubicBezTo>
                <a:cubicBezTo>
                  <a:pt x="764" y="186"/>
                  <a:pt x="764" y="186"/>
                  <a:pt x="764" y="186"/>
                </a:cubicBezTo>
                <a:cubicBezTo>
                  <a:pt x="761" y="182"/>
                  <a:pt x="761" y="182"/>
                  <a:pt x="761" y="182"/>
                </a:cubicBezTo>
                <a:cubicBezTo>
                  <a:pt x="760" y="182"/>
                  <a:pt x="760" y="182"/>
                  <a:pt x="760" y="182"/>
                </a:cubicBezTo>
                <a:cubicBezTo>
                  <a:pt x="760" y="178"/>
                  <a:pt x="760" y="178"/>
                  <a:pt x="760" y="178"/>
                </a:cubicBezTo>
                <a:cubicBezTo>
                  <a:pt x="760" y="178"/>
                  <a:pt x="760" y="178"/>
                  <a:pt x="760" y="178"/>
                </a:cubicBezTo>
                <a:cubicBezTo>
                  <a:pt x="760" y="177"/>
                  <a:pt x="760" y="177"/>
                  <a:pt x="760" y="177"/>
                </a:cubicBezTo>
                <a:cubicBezTo>
                  <a:pt x="761" y="177"/>
                  <a:pt x="761" y="177"/>
                  <a:pt x="761" y="177"/>
                </a:cubicBezTo>
                <a:cubicBezTo>
                  <a:pt x="761" y="176"/>
                  <a:pt x="761" y="176"/>
                  <a:pt x="761" y="176"/>
                </a:cubicBezTo>
                <a:cubicBezTo>
                  <a:pt x="760" y="175"/>
                  <a:pt x="760" y="175"/>
                  <a:pt x="760" y="175"/>
                </a:cubicBezTo>
                <a:cubicBezTo>
                  <a:pt x="756" y="175"/>
                  <a:pt x="756" y="175"/>
                  <a:pt x="756" y="175"/>
                </a:cubicBezTo>
                <a:cubicBezTo>
                  <a:pt x="751" y="173"/>
                  <a:pt x="751" y="173"/>
                  <a:pt x="751" y="173"/>
                </a:cubicBezTo>
                <a:cubicBezTo>
                  <a:pt x="750" y="174"/>
                  <a:pt x="750" y="174"/>
                  <a:pt x="750" y="174"/>
                </a:cubicBezTo>
                <a:cubicBezTo>
                  <a:pt x="750" y="175"/>
                  <a:pt x="750" y="175"/>
                  <a:pt x="750" y="175"/>
                </a:cubicBezTo>
                <a:cubicBezTo>
                  <a:pt x="748" y="173"/>
                  <a:pt x="748" y="173"/>
                  <a:pt x="748" y="173"/>
                </a:cubicBezTo>
                <a:cubicBezTo>
                  <a:pt x="748" y="172"/>
                  <a:pt x="748" y="172"/>
                  <a:pt x="748" y="172"/>
                </a:cubicBezTo>
                <a:cubicBezTo>
                  <a:pt x="750" y="172"/>
                  <a:pt x="750" y="172"/>
                  <a:pt x="750" y="172"/>
                </a:cubicBezTo>
                <a:cubicBezTo>
                  <a:pt x="755" y="173"/>
                  <a:pt x="755" y="173"/>
                  <a:pt x="755" y="173"/>
                </a:cubicBezTo>
                <a:cubicBezTo>
                  <a:pt x="758" y="174"/>
                  <a:pt x="758" y="174"/>
                  <a:pt x="758" y="174"/>
                </a:cubicBezTo>
                <a:cubicBezTo>
                  <a:pt x="762" y="174"/>
                  <a:pt x="762" y="174"/>
                  <a:pt x="762" y="174"/>
                </a:cubicBezTo>
                <a:cubicBezTo>
                  <a:pt x="764" y="176"/>
                  <a:pt x="764" y="176"/>
                  <a:pt x="764" y="176"/>
                </a:cubicBezTo>
                <a:cubicBezTo>
                  <a:pt x="766" y="180"/>
                  <a:pt x="766" y="180"/>
                  <a:pt x="766" y="180"/>
                </a:cubicBezTo>
                <a:cubicBezTo>
                  <a:pt x="768" y="181"/>
                  <a:pt x="768" y="181"/>
                  <a:pt x="768" y="181"/>
                </a:cubicBezTo>
                <a:cubicBezTo>
                  <a:pt x="769" y="182"/>
                  <a:pt x="769" y="182"/>
                  <a:pt x="769" y="182"/>
                </a:cubicBezTo>
                <a:cubicBezTo>
                  <a:pt x="769" y="183"/>
                  <a:pt x="769" y="183"/>
                  <a:pt x="769" y="183"/>
                </a:cubicBezTo>
                <a:cubicBezTo>
                  <a:pt x="768" y="183"/>
                  <a:pt x="768" y="183"/>
                  <a:pt x="768" y="183"/>
                </a:cubicBezTo>
                <a:cubicBezTo>
                  <a:pt x="767" y="184"/>
                  <a:pt x="767" y="184"/>
                  <a:pt x="767" y="184"/>
                </a:cubicBezTo>
                <a:cubicBezTo>
                  <a:pt x="771" y="185"/>
                  <a:pt x="771" y="185"/>
                  <a:pt x="771" y="185"/>
                </a:cubicBezTo>
                <a:cubicBezTo>
                  <a:pt x="771" y="187"/>
                  <a:pt x="771" y="187"/>
                  <a:pt x="771" y="187"/>
                </a:cubicBezTo>
                <a:cubicBezTo>
                  <a:pt x="773" y="189"/>
                  <a:pt x="773" y="189"/>
                  <a:pt x="773" y="189"/>
                </a:cubicBezTo>
                <a:cubicBezTo>
                  <a:pt x="779" y="191"/>
                  <a:pt x="779" y="191"/>
                  <a:pt x="779" y="191"/>
                </a:cubicBezTo>
                <a:cubicBezTo>
                  <a:pt x="781" y="190"/>
                  <a:pt x="781" y="190"/>
                  <a:pt x="781" y="190"/>
                </a:cubicBezTo>
                <a:cubicBezTo>
                  <a:pt x="782" y="187"/>
                  <a:pt x="782" y="187"/>
                  <a:pt x="782" y="187"/>
                </a:cubicBezTo>
                <a:cubicBezTo>
                  <a:pt x="783" y="186"/>
                  <a:pt x="783" y="186"/>
                  <a:pt x="783" y="186"/>
                </a:cubicBezTo>
                <a:cubicBezTo>
                  <a:pt x="785" y="187"/>
                  <a:pt x="785" y="187"/>
                  <a:pt x="785" y="187"/>
                </a:cubicBezTo>
                <a:cubicBezTo>
                  <a:pt x="787" y="184"/>
                  <a:pt x="787" y="184"/>
                  <a:pt x="787" y="184"/>
                </a:cubicBezTo>
                <a:cubicBezTo>
                  <a:pt x="789" y="181"/>
                  <a:pt x="789" y="181"/>
                  <a:pt x="789" y="181"/>
                </a:cubicBezTo>
                <a:cubicBezTo>
                  <a:pt x="794" y="178"/>
                  <a:pt x="794" y="178"/>
                  <a:pt x="794" y="178"/>
                </a:cubicBezTo>
                <a:cubicBezTo>
                  <a:pt x="795" y="178"/>
                  <a:pt x="795" y="178"/>
                  <a:pt x="795" y="178"/>
                </a:cubicBezTo>
                <a:cubicBezTo>
                  <a:pt x="797" y="175"/>
                  <a:pt x="797" y="175"/>
                  <a:pt x="797" y="175"/>
                </a:cubicBezTo>
                <a:cubicBezTo>
                  <a:pt x="796" y="173"/>
                  <a:pt x="796" y="173"/>
                  <a:pt x="796" y="173"/>
                </a:cubicBezTo>
                <a:cubicBezTo>
                  <a:pt x="793" y="173"/>
                  <a:pt x="793" y="173"/>
                  <a:pt x="793" y="173"/>
                </a:cubicBezTo>
                <a:cubicBezTo>
                  <a:pt x="792" y="171"/>
                  <a:pt x="792" y="171"/>
                  <a:pt x="792" y="171"/>
                </a:cubicBezTo>
                <a:cubicBezTo>
                  <a:pt x="792" y="169"/>
                  <a:pt x="792" y="169"/>
                  <a:pt x="792" y="169"/>
                </a:cubicBezTo>
                <a:cubicBezTo>
                  <a:pt x="793" y="169"/>
                  <a:pt x="793" y="169"/>
                  <a:pt x="793" y="169"/>
                </a:cubicBezTo>
                <a:cubicBezTo>
                  <a:pt x="793" y="167"/>
                  <a:pt x="793" y="167"/>
                  <a:pt x="793" y="167"/>
                </a:cubicBezTo>
                <a:cubicBezTo>
                  <a:pt x="793" y="166"/>
                  <a:pt x="793" y="166"/>
                  <a:pt x="793" y="166"/>
                </a:cubicBezTo>
                <a:cubicBezTo>
                  <a:pt x="795" y="167"/>
                  <a:pt x="795" y="167"/>
                  <a:pt x="795" y="167"/>
                </a:cubicBezTo>
                <a:cubicBezTo>
                  <a:pt x="797" y="167"/>
                  <a:pt x="797" y="167"/>
                  <a:pt x="797" y="167"/>
                </a:cubicBezTo>
                <a:cubicBezTo>
                  <a:pt x="798" y="168"/>
                  <a:pt x="798" y="168"/>
                  <a:pt x="798" y="168"/>
                </a:cubicBezTo>
                <a:cubicBezTo>
                  <a:pt x="801" y="168"/>
                  <a:pt x="801" y="168"/>
                  <a:pt x="801" y="168"/>
                </a:cubicBezTo>
                <a:cubicBezTo>
                  <a:pt x="804" y="167"/>
                  <a:pt x="804" y="167"/>
                  <a:pt x="804" y="167"/>
                </a:cubicBezTo>
                <a:cubicBezTo>
                  <a:pt x="804" y="168"/>
                  <a:pt x="804" y="168"/>
                  <a:pt x="804" y="168"/>
                </a:cubicBezTo>
                <a:cubicBezTo>
                  <a:pt x="805" y="168"/>
                  <a:pt x="805" y="168"/>
                  <a:pt x="805" y="168"/>
                </a:cubicBezTo>
                <a:cubicBezTo>
                  <a:pt x="804" y="169"/>
                  <a:pt x="804" y="169"/>
                  <a:pt x="804" y="169"/>
                </a:cubicBezTo>
                <a:cubicBezTo>
                  <a:pt x="803" y="172"/>
                  <a:pt x="803" y="172"/>
                  <a:pt x="803" y="172"/>
                </a:cubicBezTo>
                <a:cubicBezTo>
                  <a:pt x="804" y="173"/>
                  <a:pt x="804" y="173"/>
                  <a:pt x="804" y="173"/>
                </a:cubicBezTo>
                <a:cubicBezTo>
                  <a:pt x="805" y="173"/>
                  <a:pt x="805" y="173"/>
                  <a:pt x="805" y="173"/>
                </a:cubicBezTo>
                <a:cubicBezTo>
                  <a:pt x="805" y="174"/>
                  <a:pt x="805" y="174"/>
                  <a:pt x="805" y="174"/>
                </a:cubicBezTo>
                <a:cubicBezTo>
                  <a:pt x="807" y="174"/>
                  <a:pt x="807" y="174"/>
                  <a:pt x="807" y="174"/>
                </a:cubicBezTo>
                <a:cubicBezTo>
                  <a:pt x="809" y="175"/>
                  <a:pt x="809" y="175"/>
                  <a:pt x="809" y="175"/>
                </a:cubicBezTo>
                <a:cubicBezTo>
                  <a:pt x="810" y="174"/>
                  <a:pt x="810" y="174"/>
                  <a:pt x="810" y="174"/>
                </a:cubicBezTo>
                <a:cubicBezTo>
                  <a:pt x="808" y="172"/>
                  <a:pt x="808" y="172"/>
                  <a:pt x="808" y="172"/>
                </a:cubicBezTo>
                <a:cubicBezTo>
                  <a:pt x="809" y="170"/>
                  <a:pt x="809" y="170"/>
                  <a:pt x="809" y="170"/>
                </a:cubicBezTo>
                <a:cubicBezTo>
                  <a:pt x="809" y="172"/>
                  <a:pt x="809" y="172"/>
                  <a:pt x="809" y="172"/>
                </a:cubicBezTo>
                <a:cubicBezTo>
                  <a:pt x="811" y="172"/>
                  <a:pt x="811" y="172"/>
                  <a:pt x="811" y="172"/>
                </a:cubicBezTo>
                <a:cubicBezTo>
                  <a:pt x="811" y="174"/>
                  <a:pt x="811" y="174"/>
                  <a:pt x="811" y="174"/>
                </a:cubicBezTo>
                <a:cubicBezTo>
                  <a:pt x="814" y="177"/>
                  <a:pt x="814" y="177"/>
                  <a:pt x="814" y="177"/>
                </a:cubicBezTo>
                <a:cubicBezTo>
                  <a:pt x="815" y="177"/>
                  <a:pt x="815" y="177"/>
                  <a:pt x="815" y="177"/>
                </a:cubicBezTo>
                <a:cubicBezTo>
                  <a:pt x="815" y="175"/>
                  <a:pt x="815" y="175"/>
                  <a:pt x="815" y="175"/>
                </a:cubicBezTo>
                <a:cubicBezTo>
                  <a:pt x="815" y="174"/>
                  <a:pt x="815" y="174"/>
                  <a:pt x="815" y="174"/>
                </a:cubicBezTo>
                <a:cubicBezTo>
                  <a:pt x="816" y="173"/>
                  <a:pt x="816" y="173"/>
                  <a:pt x="816" y="173"/>
                </a:cubicBezTo>
                <a:cubicBezTo>
                  <a:pt x="815" y="170"/>
                  <a:pt x="815" y="170"/>
                  <a:pt x="815" y="170"/>
                </a:cubicBezTo>
                <a:cubicBezTo>
                  <a:pt x="814" y="170"/>
                  <a:pt x="814" y="170"/>
                  <a:pt x="814" y="170"/>
                </a:cubicBezTo>
                <a:cubicBezTo>
                  <a:pt x="815" y="167"/>
                  <a:pt x="815" y="167"/>
                  <a:pt x="815" y="167"/>
                </a:cubicBezTo>
                <a:cubicBezTo>
                  <a:pt x="813" y="164"/>
                  <a:pt x="813" y="164"/>
                  <a:pt x="813" y="164"/>
                </a:cubicBezTo>
                <a:cubicBezTo>
                  <a:pt x="812" y="163"/>
                  <a:pt x="812" y="163"/>
                  <a:pt x="812" y="163"/>
                </a:cubicBezTo>
                <a:cubicBezTo>
                  <a:pt x="812" y="161"/>
                  <a:pt x="812" y="161"/>
                  <a:pt x="812" y="161"/>
                </a:cubicBezTo>
                <a:cubicBezTo>
                  <a:pt x="811" y="161"/>
                  <a:pt x="811" y="161"/>
                  <a:pt x="811" y="161"/>
                </a:cubicBezTo>
                <a:cubicBezTo>
                  <a:pt x="808" y="162"/>
                  <a:pt x="808" y="162"/>
                  <a:pt x="808" y="162"/>
                </a:cubicBezTo>
                <a:cubicBezTo>
                  <a:pt x="807" y="162"/>
                  <a:pt x="807" y="162"/>
                  <a:pt x="807" y="162"/>
                </a:cubicBezTo>
                <a:cubicBezTo>
                  <a:pt x="809" y="159"/>
                  <a:pt x="809" y="159"/>
                  <a:pt x="809" y="159"/>
                </a:cubicBezTo>
                <a:cubicBezTo>
                  <a:pt x="811" y="159"/>
                  <a:pt x="811" y="159"/>
                  <a:pt x="811" y="159"/>
                </a:cubicBezTo>
                <a:cubicBezTo>
                  <a:pt x="811" y="160"/>
                  <a:pt x="811" y="160"/>
                  <a:pt x="811" y="160"/>
                </a:cubicBezTo>
                <a:cubicBezTo>
                  <a:pt x="813" y="159"/>
                  <a:pt x="813" y="159"/>
                  <a:pt x="813" y="159"/>
                </a:cubicBezTo>
                <a:cubicBezTo>
                  <a:pt x="814" y="161"/>
                  <a:pt x="814" y="161"/>
                  <a:pt x="814" y="161"/>
                </a:cubicBezTo>
                <a:cubicBezTo>
                  <a:pt x="815" y="161"/>
                  <a:pt x="815" y="161"/>
                  <a:pt x="815" y="161"/>
                </a:cubicBezTo>
                <a:cubicBezTo>
                  <a:pt x="816" y="165"/>
                  <a:pt x="816" y="165"/>
                  <a:pt x="816" y="165"/>
                </a:cubicBezTo>
                <a:cubicBezTo>
                  <a:pt x="816" y="165"/>
                  <a:pt x="816" y="165"/>
                  <a:pt x="816" y="165"/>
                </a:cubicBezTo>
                <a:cubicBezTo>
                  <a:pt x="818" y="163"/>
                  <a:pt x="818" y="163"/>
                  <a:pt x="818" y="163"/>
                </a:cubicBezTo>
                <a:cubicBezTo>
                  <a:pt x="817" y="166"/>
                  <a:pt x="817" y="166"/>
                  <a:pt x="817" y="166"/>
                </a:cubicBezTo>
                <a:cubicBezTo>
                  <a:pt x="817" y="167"/>
                  <a:pt x="817" y="167"/>
                  <a:pt x="817" y="167"/>
                </a:cubicBezTo>
                <a:cubicBezTo>
                  <a:pt x="816" y="168"/>
                  <a:pt x="816" y="168"/>
                  <a:pt x="816" y="168"/>
                </a:cubicBezTo>
                <a:cubicBezTo>
                  <a:pt x="816" y="169"/>
                  <a:pt x="816" y="169"/>
                  <a:pt x="816" y="169"/>
                </a:cubicBezTo>
                <a:cubicBezTo>
                  <a:pt x="817" y="170"/>
                  <a:pt x="817" y="170"/>
                  <a:pt x="817" y="170"/>
                </a:cubicBezTo>
                <a:cubicBezTo>
                  <a:pt x="818" y="173"/>
                  <a:pt x="818" y="173"/>
                  <a:pt x="818" y="173"/>
                </a:cubicBezTo>
                <a:cubicBezTo>
                  <a:pt x="817" y="174"/>
                  <a:pt x="817" y="174"/>
                  <a:pt x="817" y="174"/>
                </a:cubicBezTo>
                <a:cubicBezTo>
                  <a:pt x="818" y="175"/>
                  <a:pt x="818" y="175"/>
                  <a:pt x="818" y="175"/>
                </a:cubicBezTo>
                <a:cubicBezTo>
                  <a:pt x="823" y="174"/>
                  <a:pt x="823" y="174"/>
                  <a:pt x="823" y="174"/>
                </a:cubicBezTo>
                <a:cubicBezTo>
                  <a:pt x="824" y="172"/>
                  <a:pt x="824" y="172"/>
                  <a:pt x="824" y="172"/>
                </a:cubicBezTo>
                <a:cubicBezTo>
                  <a:pt x="825" y="172"/>
                  <a:pt x="825" y="172"/>
                  <a:pt x="825" y="172"/>
                </a:cubicBezTo>
                <a:cubicBezTo>
                  <a:pt x="827" y="172"/>
                  <a:pt x="827" y="172"/>
                  <a:pt x="827" y="172"/>
                </a:cubicBezTo>
                <a:cubicBezTo>
                  <a:pt x="829" y="169"/>
                  <a:pt x="829" y="169"/>
                  <a:pt x="829" y="169"/>
                </a:cubicBezTo>
                <a:cubicBezTo>
                  <a:pt x="831" y="169"/>
                  <a:pt x="831" y="169"/>
                  <a:pt x="831" y="169"/>
                </a:cubicBezTo>
                <a:cubicBezTo>
                  <a:pt x="832" y="168"/>
                  <a:pt x="832" y="168"/>
                  <a:pt x="832" y="168"/>
                </a:cubicBezTo>
                <a:cubicBezTo>
                  <a:pt x="834" y="166"/>
                  <a:pt x="834" y="166"/>
                  <a:pt x="834" y="166"/>
                </a:cubicBezTo>
                <a:cubicBezTo>
                  <a:pt x="834" y="164"/>
                  <a:pt x="834" y="164"/>
                  <a:pt x="834" y="164"/>
                </a:cubicBezTo>
                <a:cubicBezTo>
                  <a:pt x="836" y="163"/>
                  <a:pt x="836" y="163"/>
                  <a:pt x="836" y="163"/>
                </a:cubicBezTo>
                <a:cubicBezTo>
                  <a:pt x="839" y="163"/>
                  <a:pt x="839" y="163"/>
                  <a:pt x="839" y="163"/>
                </a:cubicBezTo>
                <a:cubicBezTo>
                  <a:pt x="841" y="164"/>
                  <a:pt x="841" y="164"/>
                  <a:pt x="841" y="164"/>
                </a:cubicBezTo>
                <a:cubicBezTo>
                  <a:pt x="842" y="162"/>
                  <a:pt x="842" y="162"/>
                  <a:pt x="842" y="162"/>
                </a:cubicBezTo>
                <a:cubicBezTo>
                  <a:pt x="841" y="161"/>
                  <a:pt x="841" y="161"/>
                  <a:pt x="841" y="161"/>
                </a:cubicBezTo>
                <a:cubicBezTo>
                  <a:pt x="844" y="158"/>
                  <a:pt x="844" y="158"/>
                  <a:pt x="844" y="158"/>
                </a:cubicBezTo>
                <a:cubicBezTo>
                  <a:pt x="844" y="157"/>
                  <a:pt x="844" y="157"/>
                  <a:pt x="844" y="157"/>
                </a:cubicBezTo>
                <a:cubicBezTo>
                  <a:pt x="845" y="156"/>
                  <a:pt x="845" y="156"/>
                  <a:pt x="845" y="156"/>
                </a:cubicBezTo>
                <a:cubicBezTo>
                  <a:pt x="845" y="154"/>
                  <a:pt x="845" y="154"/>
                  <a:pt x="845" y="154"/>
                </a:cubicBezTo>
                <a:cubicBezTo>
                  <a:pt x="843" y="149"/>
                  <a:pt x="843" y="149"/>
                  <a:pt x="843" y="149"/>
                </a:cubicBezTo>
                <a:cubicBezTo>
                  <a:pt x="843" y="148"/>
                  <a:pt x="843" y="148"/>
                  <a:pt x="843" y="148"/>
                </a:cubicBezTo>
                <a:cubicBezTo>
                  <a:pt x="841" y="146"/>
                  <a:pt x="841" y="146"/>
                  <a:pt x="841" y="146"/>
                </a:cubicBezTo>
                <a:cubicBezTo>
                  <a:pt x="841" y="144"/>
                  <a:pt x="841" y="144"/>
                  <a:pt x="841" y="144"/>
                </a:cubicBezTo>
                <a:cubicBezTo>
                  <a:pt x="841" y="142"/>
                  <a:pt x="841" y="142"/>
                  <a:pt x="841" y="142"/>
                </a:cubicBezTo>
                <a:cubicBezTo>
                  <a:pt x="844" y="141"/>
                  <a:pt x="844" y="141"/>
                  <a:pt x="844" y="141"/>
                </a:cubicBezTo>
                <a:cubicBezTo>
                  <a:pt x="844" y="140"/>
                  <a:pt x="844" y="140"/>
                  <a:pt x="844" y="140"/>
                </a:cubicBezTo>
                <a:cubicBezTo>
                  <a:pt x="844" y="140"/>
                  <a:pt x="844" y="140"/>
                  <a:pt x="844" y="140"/>
                </a:cubicBezTo>
                <a:cubicBezTo>
                  <a:pt x="842" y="141"/>
                  <a:pt x="842" y="141"/>
                  <a:pt x="842" y="141"/>
                </a:cubicBezTo>
                <a:cubicBezTo>
                  <a:pt x="842" y="141"/>
                  <a:pt x="842" y="141"/>
                  <a:pt x="842" y="141"/>
                </a:cubicBezTo>
                <a:cubicBezTo>
                  <a:pt x="842" y="140"/>
                  <a:pt x="842" y="140"/>
                  <a:pt x="842" y="140"/>
                </a:cubicBezTo>
                <a:cubicBezTo>
                  <a:pt x="843" y="138"/>
                  <a:pt x="843" y="138"/>
                  <a:pt x="843" y="138"/>
                </a:cubicBezTo>
                <a:cubicBezTo>
                  <a:pt x="841" y="138"/>
                  <a:pt x="841" y="138"/>
                  <a:pt x="841" y="138"/>
                </a:cubicBezTo>
                <a:cubicBezTo>
                  <a:pt x="842" y="137"/>
                  <a:pt x="842" y="137"/>
                  <a:pt x="842" y="137"/>
                </a:cubicBezTo>
                <a:cubicBezTo>
                  <a:pt x="843" y="135"/>
                  <a:pt x="843" y="135"/>
                  <a:pt x="843" y="135"/>
                </a:cubicBezTo>
                <a:cubicBezTo>
                  <a:pt x="842" y="134"/>
                  <a:pt x="842" y="134"/>
                  <a:pt x="842" y="134"/>
                </a:cubicBezTo>
                <a:cubicBezTo>
                  <a:pt x="840" y="134"/>
                  <a:pt x="840" y="134"/>
                  <a:pt x="840" y="134"/>
                </a:cubicBezTo>
                <a:cubicBezTo>
                  <a:pt x="841" y="133"/>
                  <a:pt x="841" y="133"/>
                  <a:pt x="841" y="133"/>
                </a:cubicBezTo>
                <a:cubicBezTo>
                  <a:pt x="841" y="132"/>
                  <a:pt x="841" y="132"/>
                  <a:pt x="841" y="132"/>
                </a:cubicBezTo>
                <a:cubicBezTo>
                  <a:pt x="842" y="131"/>
                  <a:pt x="842" y="131"/>
                  <a:pt x="842" y="131"/>
                </a:cubicBezTo>
                <a:cubicBezTo>
                  <a:pt x="843" y="133"/>
                  <a:pt x="843" y="133"/>
                  <a:pt x="843" y="133"/>
                </a:cubicBezTo>
                <a:cubicBezTo>
                  <a:pt x="845" y="133"/>
                  <a:pt x="845" y="133"/>
                  <a:pt x="845" y="133"/>
                </a:cubicBezTo>
                <a:cubicBezTo>
                  <a:pt x="846" y="134"/>
                  <a:pt x="846" y="134"/>
                  <a:pt x="846" y="134"/>
                </a:cubicBezTo>
                <a:cubicBezTo>
                  <a:pt x="848" y="135"/>
                  <a:pt x="848" y="135"/>
                  <a:pt x="848" y="135"/>
                </a:cubicBezTo>
                <a:cubicBezTo>
                  <a:pt x="849" y="134"/>
                  <a:pt x="849" y="134"/>
                  <a:pt x="849" y="134"/>
                </a:cubicBezTo>
                <a:cubicBezTo>
                  <a:pt x="850" y="134"/>
                  <a:pt x="850" y="134"/>
                  <a:pt x="850" y="134"/>
                </a:cubicBezTo>
                <a:cubicBezTo>
                  <a:pt x="853" y="133"/>
                  <a:pt x="853" y="133"/>
                  <a:pt x="853" y="133"/>
                </a:cubicBezTo>
                <a:cubicBezTo>
                  <a:pt x="855" y="131"/>
                  <a:pt x="855" y="131"/>
                  <a:pt x="855" y="131"/>
                </a:cubicBezTo>
                <a:cubicBezTo>
                  <a:pt x="855" y="131"/>
                  <a:pt x="855" y="131"/>
                  <a:pt x="855" y="131"/>
                </a:cubicBezTo>
                <a:cubicBezTo>
                  <a:pt x="856" y="129"/>
                  <a:pt x="856" y="129"/>
                  <a:pt x="856" y="129"/>
                </a:cubicBezTo>
                <a:cubicBezTo>
                  <a:pt x="855" y="128"/>
                  <a:pt x="855" y="128"/>
                  <a:pt x="855" y="128"/>
                </a:cubicBezTo>
                <a:cubicBezTo>
                  <a:pt x="854" y="128"/>
                  <a:pt x="854" y="128"/>
                  <a:pt x="854" y="128"/>
                </a:cubicBezTo>
                <a:cubicBezTo>
                  <a:pt x="854" y="127"/>
                  <a:pt x="854" y="127"/>
                  <a:pt x="854" y="127"/>
                </a:cubicBezTo>
                <a:cubicBezTo>
                  <a:pt x="853" y="126"/>
                  <a:pt x="853" y="126"/>
                  <a:pt x="853" y="126"/>
                </a:cubicBezTo>
                <a:cubicBezTo>
                  <a:pt x="851" y="126"/>
                  <a:pt x="851" y="126"/>
                  <a:pt x="851" y="126"/>
                </a:cubicBezTo>
                <a:cubicBezTo>
                  <a:pt x="852" y="125"/>
                  <a:pt x="852" y="125"/>
                  <a:pt x="852" y="125"/>
                </a:cubicBezTo>
                <a:cubicBezTo>
                  <a:pt x="854" y="125"/>
                  <a:pt x="854" y="125"/>
                  <a:pt x="854" y="125"/>
                </a:cubicBezTo>
                <a:cubicBezTo>
                  <a:pt x="857" y="123"/>
                  <a:pt x="857" y="123"/>
                  <a:pt x="857" y="123"/>
                </a:cubicBezTo>
                <a:cubicBezTo>
                  <a:pt x="858" y="121"/>
                  <a:pt x="858" y="121"/>
                  <a:pt x="858" y="121"/>
                </a:cubicBezTo>
                <a:cubicBezTo>
                  <a:pt x="858" y="120"/>
                  <a:pt x="858" y="120"/>
                  <a:pt x="858" y="120"/>
                </a:cubicBezTo>
                <a:cubicBezTo>
                  <a:pt x="857" y="119"/>
                  <a:pt x="857" y="119"/>
                  <a:pt x="857" y="119"/>
                </a:cubicBezTo>
                <a:cubicBezTo>
                  <a:pt x="856" y="118"/>
                  <a:pt x="856" y="118"/>
                  <a:pt x="856" y="118"/>
                </a:cubicBezTo>
                <a:cubicBezTo>
                  <a:pt x="853" y="117"/>
                  <a:pt x="853" y="117"/>
                  <a:pt x="853" y="117"/>
                </a:cubicBezTo>
                <a:cubicBezTo>
                  <a:pt x="851" y="118"/>
                  <a:pt x="851" y="118"/>
                  <a:pt x="851" y="118"/>
                </a:cubicBezTo>
                <a:cubicBezTo>
                  <a:pt x="850" y="117"/>
                  <a:pt x="850" y="117"/>
                  <a:pt x="850" y="117"/>
                </a:cubicBezTo>
                <a:cubicBezTo>
                  <a:pt x="852" y="117"/>
                  <a:pt x="852" y="117"/>
                  <a:pt x="852" y="117"/>
                </a:cubicBezTo>
                <a:cubicBezTo>
                  <a:pt x="852" y="115"/>
                  <a:pt x="852" y="115"/>
                  <a:pt x="852" y="115"/>
                </a:cubicBezTo>
                <a:cubicBezTo>
                  <a:pt x="848" y="112"/>
                  <a:pt x="848" y="112"/>
                  <a:pt x="848" y="112"/>
                </a:cubicBezTo>
                <a:cubicBezTo>
                  <a:pt x="847" y="111"/>
                  <a:pt x="847" y="111"/>
                  <a:pt x="847" y="111"/>
                </a:cubicBezTo>
                <a:cubicBezTo>
                  <a:pt x="849" y="111"/>
                  <a:pt x="849" y="111"/>
                  <a:pt x="849" y="111"/>
                </a:cubicBezTo>
                <a:cubicBezTo>
                  <a:pt x="850" y="112"/>
                  <a:pt x="850" y="112"/>
                  <a:pt x="850" y="112"/>
                </a:cubicBezTo>
                <a:cubicBezTo>
                  <a:pt x="851" y="112"/>
                  <a:pt x="851" y="112"/>
                  <a:pt x="851" y="112"/>
                </a:cubicBezTo>
                <a:cubicBezTo>
                  <a:pt x="850" y="110"/>
                  <a:pt x="850" y="110"/>
                  <a:pt x="850" y="110"/>
                </a:cubicBezTo>
                <a:cubicBezTo>
                  <a:pt x="851" y="110"/>
                  <a:pt x="851" y="110"/>
                  <a:pt x="851" y="110"/>
                </a:cubicBezTo>
                <a:cubicBezTo>
                  <a:pt x="851" y="109"/>
                  <a:pt x="851" y="109"/>
                  <a:pt x="851" y="109"/>
                </a:cubicBezTo>
                <a:cubicBezTo>
                  <a:pt x="849" y="108"/>
                  <a:pt x="849" y="108"/>
                  <a:pt x="849" y="108"/>
                </a:cubicBezTo>
                <a:cubicBezTo>
                  <a:pt x="847" y="106"/>
                  <a:pt x="847" y="106"/>
                  <a:pt x="847" y="106"/>
                </a:cubicBezTo>
                <a:cubicBezTo>
                  <a:pt x="845" y="107"/>
                  <a:pt x="845" y="107"/>
                  <a:pt x="845" y="107"/>
                </a:cubicBezTo>
                <a:cubicBezTo>
                  <a:pt x="841" y="105"/>
                  <a:pt x="841" y="105"/>
                  <a:pt x="841" y="105"/>
                </a:cubicBezTo>
                <a:cubicBezTo>
                  <a:pt x="840" y="104"/>
                  <a:pt x="840" y="104"/>
                  <a:pt x="840" y="104"/>
                </a:cubicBezTo>
                <a:cubicBezTo>
                  <a:pt x="840" y="103"/>
                  <a:pt x="840" y="103"/>
                  <a:pt x="840" y="103"/>
                </a:cubicBezTo>
                <a:cubicBezTo>
                  <a:pt x="837" y="101"/>
                  <a:pt x="837" y="101"/>
                  <a:pt x="837" y="101"/>
                </a:cubicBezTo>
                <a:cubicBezTo>
                  <a:pt x="834" y="101"/>
                  <a:pt x="834" y="101"/>
                  <a:pt x="834" y="101"/>
                </a:cubicBezTo>
                <a:cubicBezTo>
                  <a:pt x="833" y="102"/>
                  <a:pt x="833" y="102"/>
                  <a:pt x="833" y="102"/>
                </a:cubicBezTo>
                <a:cubicBezTo>
                  <a:pt x="831" y="102"/>
                  <a:pt x="831" y="102"/>
                  <a:pt x="831" y="102"/>
                </a:cubicBezTo>
                <a:cubicBezTo>
                  <a:pt x="831" y="100"/>
                  <a:pt x="831" y="100"/>
                  <a:pt x="831" y="100"/>
                </a:cubicBezTo>
                <a:cubicBezTo>
                  <a:pt x="828" y="100"/>
                  <a:pt x="828" y="100"/>
                  <a:pt x="828" y="100"/>
                </a:cubicBezTo>
                <a:cubicBezTo>
                  <a:pt x="829" y="101"/>
                  <a:pt x="829" y="101"/>
                  <a:pt x="829" y="101"/>
                </a:cubicBezTo>
                <a:cubicBezTo>
                  <a:pt x="831" y="102"/>
                  <a:pt x="831" y="102"/>
                  <a:pt x="831" y="102"/>
                </a:cubicBezTo>
                <a:cubicBezTo>
                  <a:pt x="830" y="104"/>
                  <a:pt x="830" y="104"/>
                  <a:pt x="830" y="104"/>
                </a:cubicBezTo>
                <a:cubicBezTo>
                  <a:pt x="828" y="104"/>
                  <a:pt x="828" y="104"/>
                  <a:pt x="828" y="104"/>
                </a:cubicBezTo>
                <a:cubicBezTo>
                  <a:pt x="828" y="104"/>
                  <a:pt x="828" y="104"/>
                  <a:pt x="828" y="104"/>
                </a:cubicBezTo>
                <a:cubicBezTo>
                  <a:pt x="829" y="105"/>
                  <a:pt x="829" y="105"/>
                  <a:pt x="829" y="105"/>
                </a:cubicBezTo>
                <a:cubicBezTo>
                  <a:pt x="827" y="106"/>
                  <a:pt x="827" y="106"/>
                  <a:pt x="827" y="106"/>
                </a:cubicBezTo>
                <a:cubicBezTo>
                  <a:pt x="827" y="108"/>
                  <a:pt x="827" y="108"/>
                  <a:pt x="827" y="108"/>
                </a:cubicBezTo>
                <a:cubicBezTo>
                  <a:pt x="828" y="109"/>
                  <a:pt x="828" y="109"/>
                  <a:pt x="828" y="109"/>
                </a:cubicBezTo>
                <a:cubicBezTo>
                  <a:pt x="827" y="109"/>
                  <a:pt x="827" y="109"/>
                  <a:pt x="827" y="109"/>
                </a:cubicBezTo>
                <a:cubicBezTo>
                  <a:pt x="826" y="111"/>
                  <a:pt x="826" y="111"/>
                  <a:pt x="826" y="111"/>
                </a:cubicBezTo>
                <a:cubicBezTo>
                  <a:pt x="825" y="113"/>
                  <a:pt x="825" y="113"/>
                  <a:pt x="825" y="113"/>
                </a:cubicBezTo>
                <a:cubicBezTo>
                  <a:pt x="825" y="116"/>
                  <a:pt x="825" y="116"/>
                  <a:pt x="825" y="116"/>
                </a:cubicBezTo>
                <a:cubicBezTo>
                  <a:pt x="826" y="116"/>
                  <a:pt x="826" y="116"/>
                  <a:pt x="826" y="116"/>
                </a:cubicBezTo>
                <a:cubicBezTo>
                  <a:pt x="827" y="117"/>
                  <a:pt x="827" y="117"/>
                  <a:pt x="827" y="117"/>
                </a:cubicBezTo>
                <a:cubicBezTo>
                  <a:pt x="828" y="118"/>
                  <a:pt x="828" y="118"/>
                  <a:pt x="828" y="118"/>
                </a:cubicBezTo>
                <a:cubicBezTo>
                  <a:pt x="829" y="119"/>
                  <a:pt x="829" y="119"/>
                  <a:pt x="829" y="119"/>
                </a:cubicBezTo>
                <a:cubicBezTo>
                  <a:pt x="828" y="120"/>
                  <a:pt x="828" y="120"/>
                  <a:pt x="828" y="120"/>
                </a:cubicBezTo>
                <a:cubicBezTo>
                  <a:pt x="827" y="120"/>
                  <a:pt x="827" y="120"/>
                  <a:pt x="827" y="120"/>
                </a:cubicBezTo>
                <a:cubicBezTo>
                  <a:pt x="826" y="121"/>
                  <a:pt x="826" y="121"/>
                  <a:pt x="826" y="121"/>
                </a:cubicBezTo>
                <a:cubicBezTo>
                  <a:pt x="825" y="120"/>
                  <a:pt x="825" y="120"/>
                  <a:pt x="825" y="120"/>
                </a:cubicBezTo>
                <a:cubicBezTo>
                  <a:pt x="823" y="120"/>
                  <a:pt x="823" y="120"/>
                  <a:pt x="823" y="120"/>
                </a:cubicBezTo>
                <a:cubicBezTo>
                  <a:pt x="822" y="121"/>
                  <a:pt x="822" y="121"/>
                  <a:pt x="822" y="121"/>
                </a:cubicBezTo>
                <a:cubicBezTo>
                  <a:pt x="824" y="123"/>
                  <a:pt x="824" y="123"/>
                  <a:pt x="824" y="123"/>
                </a:cubicBezTo>
                <a:cubicBezTo>
                  <a:pt x="825" y="123"/>
                  <a:pt x="825" y="123"/>
                  <a:pt x="825" y="123"/>
                </a:cubicBezTo>
                <a:cubicBezTo>
                  <a:pt x="825" y="124"/>
                  <a:pt x="825" y="124"/>
                  <a:pt x="825" y="124"/>
                </a:cubicBezTo>
                <a:cubicBezTo>
                  <a:pt x="823" y="124"/>
                  <a:pt x="823" y="124"/>
                  <a:pt x="823" y="124"/>
                </a:cubicBezTo>
                <a:cubicBezTo>
                  <a:pt x="822" y="124"/>
                  <a:pt x="822" y="124"/>
                  <a:pt x="822" y="124"/>
                </a:cubicBezTo>
                <a:cubicBezTo>
                  <a:pt x="820" y="125"/>
                  <a:pt x="820" y="125"/>
                  <a:pt x="820" y="125"/>
                </a:cubicBezTo>
                <a:cubicBezTo>
                  <a:pt x="819" y="123"/>
                  <a:pt x="819" y="123"/>
                  <a:pt x="819" y="123"/>
                </a:cubicBezTo>
                <a:cubicBezTo>
                  <a:pt x="817" y="124"/>
                  <a:pt x="817" y="124"/>
                  <a:pt x="817" y="124"/>
                </a:cubicBezTo>
                <a:cubicBezTo>
                  <a:pt x="815" y="128"/>
                  <a:pt x="815" y="128"/>
                  <a:pt x="815" y="128"/>
                </a:cubicBezTo>
                <a:cubicBezTo>
                  <a:pt x="814" y="132"/>
                  <a:pt x="814" y="132"/>
                  <a:pt x="814" y="132"/>
                </a:cubicBezTo>
                <a:cubicBezTo>
                  <a:pt x="811" y="136"/>
                  <a:pt x="811" y="136"/>
                  <a:pt x="811" y="136"/>
                </a:cubicBezTo>
                <a:cubicBezTo>
                  <a:pt x="808" y="139"/>
                  <a:pt x="808" y="139"/>
                  <a:pt x="808" y="139"/>
                </a:cubicBezTo>
                <a:cubicBezTo>
                  <a:pt x="806" y="140"/>
                  <a:pt x="806" y="140"/>
                  <a:pt x="806" y="140"/>
                </a:cubicBezTo>
                <a:cubicBezTo>
                  <a:pt x="806" y="140"/>
                  <a:pt x="806" y="140"/>
                  <a:pt x="806" y="140"/>
                </a:cubicBezTo>
                <a:cubicBezTo>
                  <a:pt x="804" y="143"/>
                  <a:pt x="804" y="143"/>
                  <a:pt x="804" y="143"/>
                </a:cubicBezTo>
                <a:cubicBezTo>
                  <a:pt x="802" y="144"/>
                  <a:pt x="802" y="144"/>
                  <a:pt x="802" y="144"/>
                </a:cubicBezTo>
                <a:cubicBezTo>
                  <a:pt x="802" y="147"/>
                  <a:pt x="802" y="147"/>
                  <a:pt x="802" y="147"/>
                </a:cubicBezTo>
                <a:cubicBezTo>
                  <a:pt x="800" y="149"/>
                  <a:pt x="800" y="149"/>
                  <a:pt x="800" y="149"/>
                </a:cubicBezTo>
                <a:cubicBezTo>
                  <a:pt x="800" y="151"/>
                  <a:pt x="800" y="151"/>
                  <a:pt x="800" y="151"/>
                </a:cubicBezTo>
                <a:cubicBezTo>
                  <a:pt x="799" y="151"/>
                  <a:pt x="799" y="151"/>
                  <a:pt x="799" y="151"/>
                </a:cubicBezTo>
                <a:cubicBezTo>
                  <a:pt x="798" y="149"/>
                  <a:pt x="798" y="149"/>
                  <a:pt x="798" y="149"/>
                </a:cubicBezTo>
                <a:cubicBezTo>
                  <a:pt x="797" y="149"/>
                  <a:pt x="797" y="149"/>
                  <a:pt x="797" y="149"/>
                </a:cubicBezTo>
                <a:cubicBezTo>
                  <a:pt x="795" y="150"/>
                  <a:pt x="795" y="150"/>
                  <a:pt x="795" y="150"/>
                </a:cubicBezTo>
                <a:cubicBezTo>
                  <a:pt x="796" y="151"/>
                  <a:pt x="796" y="151"/>
                  <a:pt x="796" y="151"/>
                </a:cubicBezTo>
                <a:cubicBezTo>
                  <a:pt x="796" y="153"/>
                  <a:pt x="796" y="153"/>
                  <a:pt x="796" y="153"/>
                </a:cubicBezTo>
                <a:cubicBezTo>
                  <a:pt x="795" y="153"/>
                  <a:pt x="795" y="153"/>
                  <a:pt x="795" y="153"/>
                </a:cubicBezTo>
                <a:cubicBezTo>
                  <a:pt x="793" y="152"/>
                  <a:pt x="793" y="152"/>
                  <a:pt x="793" y="152"/>
                </a:cubicBezTo>
                <a:cubicBezTo>
                  <a:pt x="794" y="150"/>
                  <a:pt x="794" y="150"/>
                  <a:pt x="794" y="150"/>
                </a:cubicBezTo>
                <a:cubicBezTo>
                  <a:pt x="792" y="147"/>
                  <a:pt x="792" y="147"/>
                  <a:pt x="792" y="147"/>
                </a:cubicBezTo>
                <a:cubicBezTo>
                  <a:pt x="791" y="140"/>
                  <a:pt x="791" y="140"/>
                  <a:pt x="791" y="140"/>
                </a:cubicBezTo>
                <a:cubicBezTo>
                  <a:pt x="791" y="137"/>
                  <a:pt x="791" y="137"/>
                  <a:pt x="791" y="137"/>
                </a:cubicBezTo>
                <a:cubicBezTo>
                  <a:pt x="790" y="135"/>
                  <a:pt x="790" y="135"/>
                  <a:pt x="790" y="135"/>
                </a:cubicBezTo>
                <a:cubicBezTo>
                  <a:pt x="791" y="133"/>
                  <a:pt x="791" y="133"/>
                  <a:pt x="791" y="133"/>
                </a:cubicBezTo>
                <a:cubicBezTo>
                  <a:pt x="792" y="131"/>
                  <a:pt x="792" y="131"/>
                  <a:pt x="792" y="131"/>
                </a:cubicBezTo>
                <a:cubicBezTo>
                  <a:pt x="792" y="129"/>
                  <a:pt x="792" y="129"/>
                  <a:pt x="792" y="129"/>
                </a:cubicBezTo>
                <a:cubicBezTo>
                  <a:pt x="793" y="127"/>
                  <a:pt x="793" y="127"/>
                  <a:pt x="793" y="127"/>
                </a:cubicBezTo>
                <a:cubicBezTo>
                  <a:pt x="794" y="126"/>
                  <a:pt x="794" y="126"/>
                  <a:pt x="794" y="126"/>
                </a:cubicBezTo>
                <a:cubicBezTo>
                  <a:pt x="795" y="127"/>
                  <a:pt x="795" y="127"/>
                  <a:pt x="795" y="127"/>
                </a:cubicBezTo>
                <a:cubicBezTo>
                  <a:pt x="797" y="127"/>
                  <a:pt x="797" y="127"/>
                  <a:pt x="797" y="127"/>
                </a:cubicBezTo>
                <a:cubicBezTo>
                  <a:pt x="798" y="124"/>
                  <a:pt x="798" y="124"/>
                  <a:pt x="798" y="124"/>
                </a:cubicBezTo>
                <a:cubicBezTo>
                  <a:pt x="797" y="120"/>
                  <a:pt x="797" y="120"/>
                  <a:pt x="797" y="120"/>
                </a:cubicBezTo>
                <a:cubicBezTo>
                  <a:pt x="798" y="119"/>
                  <a:pt x="798" y="119"/>
                  <a:pt x="798" y="119"/>
                </a:cubicBezTo>
                <a:cubicBezTo>
                  <a:pt x="798" y="116"/>
                  <a:pt x="798" y="116"/>
                  <a:pt x="798" y="116"/>
                </a:cubicBezTo>
                <a:cubicBezTo>
                  <a:pt x="796" y="114"/>
                  <a:pt x="796" y="114"/>
                  <a:pt x="796" y="114"/>
                </a:cubicBezTo>
                <a:cubicBezTo>
                  <a:pt x="796" y="111"/>
                  <a:pt x="796" y="111"/>
                  <a:pt x="796" y="111"/>
                </a:cubicBezTo>
                <a:cubicBezTo>
                  <a:pt x="794" y="108"/>
                  <a:pt x="794" y="108"/>
                  <a:pt x="794" y="108"/>
                </a:cubicBezTo>
                <a:cubicBezTo>
                  <a:pt x="794" y="106"/>
                  <a:pt x="794" y="106"/>
                  <a:pt x="794" y="106"/>
                </a:cubicBezTo>
                <a:cubicBezTo>
                  <a:pt x="793" y="105"/>
                  <a:pt x="793" y="105"/>
                  <a:pt x="793" y="105"/>
                </a:cubicBezTo>
                <a:cubicBezTo>
                  <a:pt x="792" y="105"/>
                  <a:pt x="792" y="105"/>
                  <a:pt x="792" y="105"/>
                </a:cubicBezTo>
                <a:cubicBezTo>
                  <a:pt x="791" y="107"/>
                  <a:pt x="791" y="107"/>
                  <a:pt x="791" y="107"/>
                </a:cubicBezTo>
                <a:cubicBezTo>
                  <a:pt x="789" y="111"/>
                  <a:pt x="789" y="111"/>
                  <a:pt x="789" y="111"/>
                </a:cubicBezTo>
                <a:cubicBezTo>
                  <a:pt x="786" y="113"/>
                  <a:pt x="786" y="113"/>
                  <a:pt x="786" y="113"/>
                </a:cubicBezTo>
                <a:cubicBezTo>
                  <a:pt x="786" y="115"/>
                  <a:pt x="786" y="115"/>
                  <a:pt x="786" y="115"/>
                </a:cubicBezTo>
                <a:cubicBezTo>
                  <a:pt x="786" y="119"/>
                  <a:pt x="786" y="119"/>
                  <a:pt x="786" y="119"/>
                </a:cubicBezTo>
                <a:cubicBezTo>
                  <a:pt x="785" y="120"/>
                  <a:pt x="785" y="120"/>
                  <a:pt x="785" y="120"/>
                </a:cubicBezTo>
                <a:cubicBezTo>
                  <a:pt x="784" y="119"/>
                  <a:pt x="784" y="119"/>
                  <a:pt x="784" y="119"/>
                </a:cubicBezTo>
                <a:cubicBezTo>
                  <a:pt x="783" y="120"/>
                  <a:pt x="783" y="120"/>
                  <a:pt x="783" y="120"/>
                </a:cubicBezTo>
                <a:cubicBezTo>
                  <a:pt x="783" y="121"/>
                  <a:pt x="783" y="121"/>
                  <a:pt x="783" y="121"/>
                </a:cubicBezTo>
                <a:cubicBezTo>
                  <a:pt x="783" y="121"/>
                  <a:pt x="783" y="121"/>
                  <a:pt x="783" y="121"/>
                </a:cubicBezTo>
                <a:cubicBezTo>
                  <a:pt x="780" y="123"/>
                  <a:pt x="780" y="123"/>
                  <a:pt x="780" y="123"/>
                </a:cubicBezTo>
                <a:cubicBezTo>
                  <a:pt x="779" y="124"/>
                  <a:pt x="779" y="124"/>
                  <a:pt x="779" y="124"/>
                </a:cubicBezTo>
                <a:cubicBezTo>
                  <a:pt x="778" y="126"/>
                  <a:pt x="778" y="126"/>
                  <a:pt x="778" y="126"/>
                </a:cubicBezTo>
                <a:cubicBezTo>
                  <a:pt x="777" y="126"/>
                  <a:pt x="777" y="126"/>
                  <a:pt x="777" y="126"/>
                </a:cubicBezTo>
                <a:cubicBezTo>
                  <a:pt x="776" y="125"/>
                  <a:pt x="776" y="125"/>
                  <a:pt x="776" y="125"/>
                </a:cubicBezTo>
                <a:cubicBezTo>
                  <a:pt x="778" y="124"/>
                  <a:pt x="778" y="124"/>
                  <a:pt x="778" y="124"/>
                </a:cubicBezTo>
                <a:cubicBezTo>
                  <a:pt x="777" y="122"/>
                  <a:pt x="777" y="122"/>
                  <a:pt x="777" y="122"/>
                </a:cubicBezTo>
                <a:cubicBezTo>
                  <a:pt x="777" y="121"/>
                  <a:pt x="777" y="121"/>
                  <a:pt x="777" y="121"/>
                </a:cubicBezTo>
                <a:cubicBezTo>
                  <a:pt x="779" y="118"/>
                  <a:pt x="779" y="118"/>
                  <a:pt x="779" y="118"/>
                </a:cubicBezTo>
                <a:cubicBezTo>
                  <a:pt x="779" y="116"/>
                  <a:pt x="779" y="116"/>
                  <a:pt x="779" y="116"/>
                </a:cubicBezTo>
                <a:cubicBezTo>
                  <a:pt x="779" y="114"/>
                  <a:pt x="779" y="114"/>
                  <a:pt x="779" y="114"/>
                </a:cubicBezTo>
                <a:cubicBezTo>
                  <a:pt x="781" y="114"/>
                  <a:pt x="781" y="114"/>
                  <a:pt x="781" y="114"/>
                </a:cubicBezTo>
                <a:cubicBezTo>
                  <a:pt x="781" y="112"/>
                  <a:pt x="781" y="112"/>
                  <a:pt x="781" y="112"/>
                </a:cubicBezTo>
                <a:cubicBezTo>
                  <a:pt x="781" y="111"/>
                  <a:pt x="781" y="111"/>
                  <a:pt x="781" y="111"/>
                </a:cubicBezTo>
                <a:cubicBezTo>
                  <a:pt x="781" y="109"/>
                  <a:pt x="781" y="109"/>
                  <a:pt x="781" y="109"/>
                </a:cubicBezTo>
                <a:cubicBezTo>
                  <a:pt x="779" y="106"/>
                  <a:pt x="779" y="106"/>
                  <a:pt x="779" y="106"/>
                </a:cubicBezTo>
                <a:cubicBezTo>
                  <a:pt x="779" y="104"/>
                  <a:pt x="779" y="104"/>
                  <a:pt x="779" y="104"/>
                </a:cubicBezTo>
                <a:cubicBezTo>
                  <a:pt x="778" y="102"/>
                  <a:pt x="778" y="102"/>
                  <a:pt x="778" y="102"/>
                </a:cubicBezTo>
                <a:cubicBezTo>
                  <a:pt x="778" y="101"/>
                  <a:pt x="778" y="101"/>
                  <a:pt x="778" y="101"/>
                </a:cubicBezTo>
                <a:cubicBezTo>
                  <a:pt x="779" y="102"/>
                  <a:pt x="779" y="102"/>
                  <a:pt x="779" y="102"/>
                </a:cubicBezTo>
                <a:cubicBezTo>
                  <a:pt x="780" y="102"/>
                  <a:pt x="780" y="102"/>
                  <a:pt x="780" y="102"/>
                </a:cubicBezTo>
                <a:cubicBezTo>
                  <a:pt x="780" y="104"/>
                  <a:pt x="780" y="104"/>
                  <a:pt x="780" y="104"/>
                </a:cubicBezTo>
                <a:cubicBezTo>
                  <a:pt x="781" y="104"/>
                  <a:pt x="781" y="104"/>
                  <a:pt x="781" y="104"/>
                </a:cubicBezTo>
                <a:cubicBezTo>
                  <a:pt x="783" y="101"/>
                  <a:pt x="783" y="101"/>
                  <a:pt x="783" y="101"/>
                </a:cubicBezTo>
                <a:cubicBezTo>
                  <a:pt x="785" y="101"/>
                  <a:pt x="785" y="101"/>
                  <a:pt x="785" y="101"/>
                </a:cubicBezTo>
                <a:cubicBezTo>
                  <a:pt x="786" y="100"/>
                  <a:pt x="786" y="100"/>
                  <a:pt x="786" y="100"/>
                </a:cubicBezTo>
                <a:cubicBezTo>
                  <a:pt x="785" y="99"/>
                  <a:pt x="785" y="99"/>
                  <a:pt x="785" y="99"/>
                </a:cubicBezTo>
                <a:cubicBezTo>
                  <a:pt x="783" y="100"/>
                  <a:pt x="783" y="100"/>
                  <a:pt x="783" y="100"/>
                </a:cubicBezTo>
                <a:cubicBezTo>
                  <a:pt x="782" y="99"/>
                  <a:pt x="782" y="99"/>
                  <a:pt x="782" y="99"/>
                </a:cubicBezTo>
                <a:cubicBezTo>
                  <a:pt x="780" y="98"/>
                  <a:pt x="780" y="98"/>
                  <a:pt x="780" y="98"/>
                </a:cubicBezTo>
                <a:cubicBezTo>
                  <a:pt x="780" y="98"/>
                  <a:pt x="780" y="98"/>
                  <a:pt x="780" y="98"/>
                </a:cubicBezTo>
                <a:cubicBezTo>
                  <a:pt x="781" y="97"/>
                  <a:pt x="781" y="97"/>
                  <a:pt x="781" y="97"/>
                </a:cubicBezTo>
                <a:cubicBezTo>
                  <a:pt x="780" y="96"/>
                  <a:pt x="780" y="96"/>
                  <a:pt x="780" y="96"/>
                </a:cubicBezTo>
                <a:cubicBezTo>
                  <a:pt x="779" y="96"/>
                  <a:pt x="779" y="96"/>
                  <a:pt x="779" y="96"/>
                </a:cubicBezTo>
                <a:cubicBezTo>
                  <a:pt x="778" y="98"/>
                  <a:pt x="778" y="98"/>
                  <a:pt x="778" y="98"/>
                </a:cubicBezTo>
                <a:cubicBezTo>
                  <a:pt x="776" y="99"/>
                  <a:pt x="776" y="99"/>
                  <a:pt x="776" y="99"/>
                </a:cubicBezTo>
                <a:cubicBezTo>
                  <a:pt x="774" y="97"/>
                  <a:pt x="774" y="97"/>
                  <a:pt x="774" y="97"/>
                </a:cubicBezTo>
                <a:cubicBezTo>
                  <a:pt x="774" y="95"/>
                  <a:pt x="774" y="95"/>
                  <a:pt x="774" y="95"/>
                </a:cubicBezTo>
                <a:cubicBezTo>
                  <a:pt x="772" y="95"/>
                  <a:pt x="772" y="95"/>
                  <a:pt x="772" y="95"/>
                </a:cubicBezTo>
                <a:cubicBezTo>
                  <a:pt x="770" y="95"/>
                  <a:pt x="770" y="95"/>
                  <a:pt x="770" y="95"/>
                </a:cubicBezTo>
                <a:cubicBezTo>
                  <a:pt x="769" y="94"/>
                  <a:pt x="769" y="94"/>
                  <a:pt x="769" y="94"/>
                </a:cubicBezTo>
                <a:cubicBezTo>
                  <a:pt x="770" y="92"/>
                  <a:pt x="770" y="92"/>
                  <a:pt x="770" y="92"/>
                </a:cubicBezTo>
                <a:cubicBezTo>
                  <a:pt x="771" y="92"/>
                  <a:pt x="771" y="92"/>
                  <a:pt x="771" y="92"/>
                </a:cubicBezTo>
                <a:cubicBezTo>
                  <a:pt x="771" y="90"/>
                  <a:pt x="771" y="90"/>
                  <a:pt x="771" y="90"/>
                </a:cubicBezTo>
                <a:cubicBezTo>
                  <a:pt x="773" y="90"/>
                  <a:pt x="773" y="90"/>
                  <a:pt x="773" y="90"/>
                </a:cubicBezTo>
                <a:cubicBezTo>
                  <a:pt x="778" y="86"/>
                  <a:pt x="778" y="86"/>
                  <a:pt x="778" y="86"/>
                </a:cubicBezTo>
                <a:cubicBezTo>
                  <a:pt x="779" y="85"/>
                  <a:pt x="779" y="85"/>
                  <a:pt x="779" y="85"/>
                </a:cubicBezTo>
                <a:cubicBezTo>
                  <a:pt x="777" y="84"/>
                  <a:pt x="777" y="84"/>
                  <a:pt x="777" y="84"/>
                </a:cubicBezTo>
                <a:cubicBezTo>
                  <a:pt x="775" y="85"/>
                  <a:pt x="775" y="85"/>
                  <a:pt x="775" y="85"/>
                </a:cubicBezTo>
                <a:cubicBezTo>
                  <a:pt x="775" y="84"/>
                  <a:pt x="775" y="84"/>
                  <a:pt x="775" y="84"/>
                </a:cubicBezTo>
                <a:cubicBezTo>
                  <a:pt x="776" y="83"/>
                  <a:pt x="776" y="83"/>
                  <a:pt x="776" y="83"/>
                </a:cubicBezTo>
                <a:cubicBezTo>
                  <a:pt x="777" y="81"/>
                  <a:pt x="777" y="81"/>
                  <a:pt x="777" y="81"/>
                </a:cubicBezTo>
                <a:cubicBezTo>
                  <a:pt x="780" y="80"/>
                  <a:pt x="780" y="80"/>
                  <a:pt x="780" y="80"/>
                </a:cubicBezTo>
                <a:cubicBezTo>
                  <a:pt x="779" y="82"/>
                  <a:pt x="779" y="82"/>
                  <a:pt x="779" y="82"/>
                </a:cubicBezTo>
                <a:cubicBezTo>
                  <a:pt x="780" y="84"/>
                  <a:pt x="780" y="84"/>
                  <a:pt x="780" y="84"/>
                </a:cubicBezTo>
                <a:cubicBezTo>
                  <a:pt x="782" y="84"/>
                  <a:pt x="782" y="84"/>
                  <a:pt x="782" y="84"/>
                </a:cubicBezTo>
                <a:cubicBezTo>
                  <a:pt x="783" y="84"/>
                  <a:pt x="783" y="84"/>
                  <a:pt x="783" y="84"/>
                </a:cubicBezTo>
                <a:cubicBezTo>
                  <a:pt x="785" y="83"/>
                  <a:pt x="785" y="83"/>
                  <a:pt x="785" y="83"/>
                </a:cubicBezTo>
                <a:cubicBezTo>
                  <a:pt x="785" y="81"/>
                  <a:pt x="785" y="81"/>
                  <a:pt x="785" y="81"/>
                </a:cubicBezTo>
                <a:cubicBezTo>
                  <a:pt x="783" y="80"/>
                  <a:pt x="783" y="80"/>
                  <a:pt x="783" y="80"/>
                </a:cubicBezTo>
                <a:cubicBezTo>
                  <a:pt x="782" y="79"/>
                  <a:pt x="782" y="79"/>
                  <a:pt x="782" y="79"/>
                </a:cubicBezTo>
                <a:cubicBezTo>
                  <a:pt x="782" y="78"/>
                  <a:pt x="782" y="78"/>
                  <a:pt x="782" y="78"/>
                </a:cubicBezTo>
                <a:cubicBezTo>
                  <a:pt x="783" y="76"/>
                  <a:pt x="783" y="76"/>
                  <a:pt x="783" y="76"/>
                </a:cubicBezTo>
                <a:cubicBezTo>
                  <a:pt x="782" y="74"/>
                  <a:pt x="782" y="74"/>
                  <a:pt x="782" y="74"/>
                </a:cubicBezTo>
                <a:cubicBezTo>
                  <a:pt x="783" y="74"/>
                  <a:pt x="783" y="74"/>
                  <a:pt x="783" y="74"/>
                </a:cubicBezTo>
                <a:cubicBezTo>
                  <a:pt x="783" y="72"/>
                  <a:pt x="783" y="72"/>
                  <a:pt x="783" y="72"/>
                </a:cubicBezTo>
                <a:cubicBezTo>
                  <a:pt x="781" y="70"/>
                  <a:pt x="781" y="70"/>
                  <a:pt x="781" y="70"/>
                </a:cubicBezTo>
                <a:cubicBezTo>
                  <a:pt x="781" y="68"/>
                  <a:pt x="781" y="68"/>
                  <a:pt x="781" y="68"/>
                </a:cubicBezTo>
                <a:cubicBezTo>
                  <a:pt x="780" y="66"/>
                  <a:pt x="780" y="66"/>
                  <a:pt x="780" y="66"/>
                </a:cubicBezTo>
                <a:cubicBezTo>
                  <a:pt x="781" y="65"/>
                  <a:pt x="781" y="65"/>
                  <a:pt x="781" y="65"/>
                </a:cubicBezTo>
                <a:cubicBezTo>
                  <a:pt x="782" y="63"/>
                  <a:pt x="782" y="63"/>
                  <a:pt x="782" y="63"/>
                </a:cubicBezTo>
                <a:cubicBezTo>
                  <a:pt x="783" y="60"/>
                  <a:pt x="783" y="60"/>
                  <a:pt x="783" y="60"/>
                </a:cubicBezTo>
                <a:cubicBezTo>
                  <a:pt x="783" y="59"/>
                  <a:pt x="783" y="59"/>
                  <a:pt x="783" y="59"/>
                </a:cubicBezTo>
                <a:cubicBezTo>
                  <a:pt x="785" y="57"/>
                  <a:pt x="785" y="57"/>
                  <a:pt x="785" y="57"/>
                </a:cubicBezTo>
                <a:cubicBezTo>
                  <a:pt x="785" y="56"/>
                  <a:pt x="785" y="56"/>
                  <a:pt x="785" y="56"/>
                </a:cubicBezTo>
                <a:cubicBezTo>
                  <a:pt x="783" y="55"/>
                  <a:pt x="783" y="55"/>
                  <a:pt x="783" y="55"/>
                </a:cubicBezTo>
                <a:cubicBezTo>
                  <a:pt x="784" y="51"/>
                  <a:pt x="784" y="51"/>
                  <a:pt x="784" y="51"/>
                </a:cubicBezTo>
                <a:cubicBezTo>
                  <a:pt x="783" y="50"/>
                  <a:pt x="783" y="50"/>
                  <a:pt x="783" y="50"/>
                </a:cubicBezTo>
                <a:cubicBezTo>
                  <a:pt x="781" y="48"/>
                  <a:pt x="781" y="48"/>
                  <a:pt x="781" y="48"/>
                </a:cubicBezTo>
                <a:cubicBezTo>
                  <a:pt x="782" y="47"/>
                  <a:pt x="782" y="47"/>
                  <a:pt x="782" y="47"/>
                </a:cubicBezTo>
                <a:cubicBezTo>
                  <a:pt x="781" y="45"/>
                  <a:pt x="781" y="45"/>
                  <a:pt x="781" y="45"/>
                </a:cubicBezTo>
                <a:cubicBezTo>
                  <a:pt x="782" y="44"/>
                  <a:pt x="782" y="44"/>
                  <a:pt x="782" y="44"/>
                </a:cubicBezTo>
                <a:cubicBezTo>
                  <a:pt x="783" y="42"/>
                  <a:pt x="783" y="42"/>
                  <a:pt x="783" y="42"/>
                </a:cubicBezTo>
                <a:cubicBezTo>
                  <a:pt x="782" y="41"/>
                  <a:pt x="782" y="41"/>
                  <a:pt x="782" y="41"/>
                </a:cubicBezTo>
                <a:cubicBezTo>
                  <a:pt x="780" y="40"/>
                  <a:pt x="780" y="40"/>
                  <a:pt x="780" y="40"/>
                </a:cubicBezTo>
                <a:cubicBezTo>
                  <a:pt x="779" y="39"/>
                  <a:pt x="779" y="39"/>
                  <a:pt x="779" y="39"/>
                </a:cubicBezTo>
                <a:cubicBezTo>
                  <a:pt x="779" y="38"/>
                  <a:pt x="779" y="38"/>
                  <a:pt x="779" y="38"/>
                </a:cubicBezTo>
                <a:cubicBezTo>
                  <a:pt x="779" y="37"/>
                  <a:pt x="779" y="37"/>
                  <a:pt x="779" y="37"/>
                </a:cubicBezTo>
                <a:cubicBezTo>
                  <a:pt x="776" y="36"/>
                  <a:pt x="776" y="36"/>
                  <a:pt x="776" y="36"/>
                </a:cubicBezTo>
                <a:cubicBezTo>
                  <a:pt x="773" y="35"/>
                  <a:pt x="773" y="35"/>
                  <a:pt x="773" y="35"/>
                </a:cubicBezTo>
                <a:cubicBezTo>
                  <a:pt x="772" y="36"/>
                  <a:pt x="772" y="36"/>
                  <a:pt x="772" y="36"/>
                </a:cubicBezTo>
                <a:cubicBezTo>
                  <a:pt x="772" y="37"/>
                  <a:pt x="772" y="37"/>
                  <a:pt x="772" y="37"/>
                </a:cubicBezTo>
                <a:cubicBezTo>
                  <a:pt x="769" y="39"/>
                  <a:pt x="769" y="39"/>
                  <a:pt x="769" y="39"/>
                </a:cubicBezTo>
                <a:cubicBezTo>
                  <a:pt x="768" y="40"/>
                  <a:pt x="768" y="40"/>
                  <a:pt x="768" y="40"/>
                </a:cubicBezTo>
                <a:cubicBezTo>
                  <a:pt x="766" y="40"/>
                  <a:pt x="766" y="40"/>
                  <a:pt x="766" y="40"/>
                </a:cubicBezTo>
                <a:cubicBezTo>
                  <a:pt x="764" y="42"/>
                  <a:pt x="764" y="42"/>
                  <a:pt x="764" y="42"/>
                </a:cubicBezTo>
                <a:cubicBezTo>
                  <a:pt x="765" y="44"/>
                  <a:pt x="765" y="44"/>
                  <a:pt x="765" y="44"/>
                </a:cubicBezTo>
                <a:cubicBezTo>
                  <a:pt x="767" y="45"/>
                  <a:pt x="767" y="45"/>
                  <a:pt x="767" y="45"/>
                </a:cubicBezTo>
                <a:cubicBezTo>
                  <a:pt x="769" y="45"/>
                  <a:pt x="769" y="45"/>
                  <a:pt x="769" y="45"/>
                </a:cubicBezTo>
                <a:cubicBezTo>
                  <a:pt x="769" y="46"/>
                  <a:pt x="769" y="46"/>
                  <a:pt x="769" y="46"/>
                </a:cubicBezTo>
                <a:cubicBezTo>
                  <a:pt x="766" y="49"/>
                  <a:pt x="766" y="49"/>
                  <a:pt x="766" y="49"/>
                </a:cubicBezTo>
                <a:cubicBezTo>
                  <a:pt x="766" y="50"/>
                  <a:pt x="766" y="50"/>
                  <a:pt x="766" y="50"/>
                </a:cubicBezTo>
                <a:cubicBezTo>
                  <a:pt x="764" y="52"/>
                  <a:pt x="764" y="52"/>
                  <a:pt x="764" y="52"/>
                </a:cubicBezTo>
                <a:cubicBezTo>
                  <a:pt x="764" y="50"/>
                  <a:pt x="764" y="50"/>
                  <a:pt x="764" y="50"/>
                </a:cubicBezTo>
                <a:cubicBezTo>
                  <a:pt x="763" y="49"/>
                  <a:pt x="763" y="49"/>
                  <a:pt x="763" y="49"/>
                </a:cubicBezTo>
                <a:cubicBezTo>
                  <a:pt x="764" y="47"/>
                  <a:pt x="764" y="47"/>
                  <a:pt x="764" y="47"/>
                </a:cubicBezTo>
                <a:cubicBezTo>
                  <a:pt x="763" y="46"/>
                  <a:pt x="763" y="46"/>
                  <a:pt x="763" y="46"/>
                </a:cubicBezTo>
                <a:cubicBezTo>
                  <a:pt x="760" y="47"/>
                  <a:pt x="760" y="47"/>
                  <a:pt x="760" y="47"/>
                </a:cubicBezTo>
                <a:cubicBezTo>
                  <a:pt x="759" y="49"/>
                  <a:pt x="759" y="49"/>
                  <a:pt x="759" y="49"/>
                </a:cubicBezTo>
                <a:cubicBezTo>
                  <a:pt x="757" y="49"/>
                  <a:pt x="757" y="49"/>
                  <a:pt x="757" y="49"/>
                </a:cubicBezTo>
                <a:cubicBezTo>
                  <a:pt x="756" y="52"/>
                  <a:pt x="756" y="52"/>
                  <a:pt x="756" y="52"/>
                </a:cubicBezTo>
                <a:cubicBezTo>
                  <a:pt x="755" y="52"/>
                  <a:pt x="755" y="52"/>
                  <a:pt x="755" y="52"/>
                </a:cubicBezTo>
                <a:cubicBezTo>
                  <a:pt x="753" y="56"/>
                  <a:pt x="753" y="56"/>
                  <a:pt x="753" y="56"/>
                </a:cubicBezTo>
                <a:cubicBezTo>
                  <a:pt x="751" y="59"/>
                  <a:pt x="751" y="59"/>
                  <a:pt x="751" y="59"/>
                </a:cubicBezTo>
                <a:cubicBezTo>
                  <a:pt x="750" y="61"/>
                  <a:pt x="750" y="61"/>
                  <a:pt x="750" y="61"/>
                </a:cubicBezTo>
                <a:cubicBezTo>
                  <a:pt x="751" y="63"/>
                  <a:pt x="751" y="63"/>
                  <a:pt x="751" y="63"/>
                </a:cubicBezTo>
                <a:cubicBezTo>
                  <a:pt x="751" y="64"/>
                  <a:pt x="751" y="64"/>
                  <a:pt x="751" y="64"/>
                </a:cubicBezTo>
                <a:cubicBezTo>
                  <a:pt x="752" y="65"/>
                  <a:pt x="752" y="65"/>
                  <a:pt x="752" y="65"/>
                </a:cubicBezTo>
                <a:cubicBezTo>
                  <a:pt x="754" y="63"/>
                  <a:pt x="754" y="63"/>
                  <a:pt x="754" y="63"/>
                </a:cubicBezTo>
                <a:cubicBezTo>
                  <a:pt x="755" y="63"/>
                  <a:pt x="755" y="63"/>
                  <a:pt x="755" y="63"/>
                </a:cubicBezTo>
                <a:cubicBezTo>
                  <a:pt x="755" y="65"/>
                  <a:pt x="755" y="65"/>
                  <a:pt x="755" y="65"/>
                </a:cubicBezTo>
                <a:cubicBezTo>
                  <a:pt x="753" y="66"/>
                  <a:pt x="753" y="66"/>
                  <a:pt x="753" y="66"/>
                </a:cubicBezTo>
                <a:cubicBezTo>
                  <a:pt x="753" y="67"/>
                  <a:pt x="753" y="67"/>
                  <a:pt x="753" y="67"/>
                </a:cubicBezTo>
                <a:cubicBezTo>
                  <a:pt x="751" y="67"/>
                  <a:pt x="751" y="67"/>
                  <a:pt x="751" y="67"/>
                </a:cubicBezTo>
                <a:cubicBezTo>
                  <a:pt x="749" y="67"/>
                  <a:pt x="749" y="67"/>
                  <a:pt x="749" y="67"/>
                </a:cubicBezTo>
                <a:cubicBezTo>
                  <a:pt x="746" y="70"/>
                  <a:pt x="746" y="70"/>
                  <a:pt x="746" y="70"/>
                </a:cubicBezTo>
                <a:cubicBezTo>
                  <a:pt x="744" y="72"/>
                  <a:pt x="744" y="72"/>
                  <a:pt x="744" y="72"/>
                </a:cubicBezTo>
                <a:cubicBezTo>
                  <a:pt x="744" y="77"/>
                  <a:pt x="744" y="77"/>
                  <a:pt x="744" y="77"/>
                </a:cubicBezTo>
                <a:cubicBezTo>
                  <a:pt x="745" y="79"/>
                  <a:pt x="745" y="79"/>
                  <a:pt x="745" y="79"/>
                </a:cubicBezTo>
                <a:cubicBezTo>
                  <a:pt x="745" y="80"/>
                  <a:pt x="745" y="80"/>
                  <a:pt x="745" y="80"/>
                </a:cubicBezTo>
                <a:cubicBezTo>
                  <a:pt x="744" y="82"/>
                  <a:pt x="744" y="82"/>
                  <a:pt x="744" y="82"/>
                </a:cubicBezTo>
                <a:cubicBezTo>
                  <a:pt x="745" y="83"/>
                  <a:pt x="745" y="83"/>
                  <a:pt x="745" y="83"/>
                </a:cubicBezTo>
                <a:cubicBezTo>
                  <a:pt x="745" y="85"/>
                  <a:pt x="745" y="85"/>
                  <a:pt x="745" y="85"/>
                </a:cubicBezTo>
                <a:cubicBezTo>
                  <a:pt x="747" y="84"/>
                  <a:pt x="747" y="84"/>
                  <a:pt x="747" y="84"/>
                </a:cubicBezTo>
                <a:cubicBezTo>
                  <a:pt x="748" y="85"/>
                  <a:pt x="748" y="85"/>
                  <a:pt x="748" y="85"/>
                </a:cubicBezTo>
                <a:cubicBezTo>
                  <a:pt x="748" y="87"/>
                  <a:pt x="748" y="87"/>
                  <a:pt x="748" y="87"/>
                </a:cubicBezTo>
                <a:cubicBezTo>
                  <a:pt x="750" y="88"/>
                  <a:pt x="750" y="88"/>
                  <a:pt x="750" y="88"/>
                </a:cubicBezTo>
                <a:cubicBezTo>
                  <a:pt x="751" y="90"/>
                  <a:pt x="751" y="90"/>
                  <a:pt x="751" y="90"/>
                </a:cubicBezTo>
                <a:cubicBezTo>
                  <a:pt x="752" y="90"/>
                  <a:pt x="752" y="90"/>
                  <a:pt x="752" y="90"/>
                </a:cubicBezTo>
                <a:cubicBezTo>
                  <a:pt x="753" y="88"/>
                  <a:pt x="753" y="88"/>
                  <a:pt x="753" y="88"/>
                </a:cubicBezTo>
                <a:cubicBezTo>
                  <a:pt x="753" y="90"/>
                  <a:pt x="753" y="90"/>
                  <a:pt x="753" y="90"/>
                </a:cubicBezTo>
                <a:cubicBezTo>
                  <a:pt x="754" y="93"/>
                  <a:pt x="754" y="93"/>
                  <a:pt x="754" y="93"/>
                </a:cubicBezTo>
                <a:cubicBezTo>
                  <a:pt x="757" y="94"/>
                  <a:pt x="757" y="94"/>
                  <a:pt x="757" y="94"/>
                </a:cubicBezTo>
                <a:cubicBezTo>
                  <a:pt x="758" y="95"/>
                  <a:pt x="758" y="95"/>
                  <a:pt x="758" y="95"/>
                </a:cubicBezTo>
                <a:cubicBezTo>
                  <a:pt x="760" y="95"/>
                  <a:pt x="760" y="95"/>
                  <a:pt x="760" y="95"/>
                </a:cubicBezTo>
                <a:cubicBezTo>
                  <a:pt x="762" y="95"/>
                  <a:pt x="762" y="95"/>
                  <a:pt x="762" y="95"/>
                </a:cubicBezTo>
                <a:cubicBezTo>
                  <a:pt x="762" y="97"/>
                  <a:pt x="762" y="97"/>
                  <a:pt x="762" y="97"/>
                </a:cubicBezTo>
                <a:cubicBezTo>
                  <a:pt x="760" y="100"/>
                  <a:pt x="760" y="100"/>
                  <a:pt x="760" y="100"/>
                </a:cubicBezTo>
                <a:cubicBezTo>
                  <a:pt x="758" y="101"/>
                  <a:pt x="758" y="101"/>
                  <a:pt x="758" y="101"/>
                </a:cubicBezTo>
                <a:cubicBezTo>
                  <a:pt x="757" y="101"/>
                  <a:pt x="757" y="101"/>
                  <a:pt x="757" y="101"/>
                </a:cubicBezTo>
                <a:cubicBezTo>
                  <a:pt x="758" y="99"/>
                  <a:pt x="758" y="99"/>
                  <a:pt x="758" y="99"/>
                </a:cubicBezTo>
                <a:cubicBezTo>
                  <a:pt x="759" y="98"/>
                  <a:pt x="759" y="98"/>
                  <a:pt x="759" y="98"/>
                </a:cubicBezTo>
                <a:cubicBezTo>
                  <a:pt x="757" y="97"/>
                  <a:pt x="757" y="97"/>
                  <a:pt x="757" y="97"/>
                </a:cubicBezTo>
                <a:cubicBezTo>
                  <a:pt x="755" y="98"/>
                  <a:pt x="755" y="98"/>
                  <a:pt x="755" y="98"/>
                </a:cubicBezTo>
                <a:cubicBezTo>
                  <a:pt x="753" y="100"/>
                  <a:pt x="753" y="100"/>
                  <a:pt x="753" y="100"/>
                </a:cubicBezTo>
                <a:cubicBezTo>
                  <a:pt x="754" y="101"/>
                  <a:pt x="754" y="101"/>
                  <a:pt x="754" y="101"/>
                </a:cubicBezTo>
                <a:cubicBezTo>
                  <a:pt x="754" y="102"/>
                  <a:pt x="754" y="102"/>
                  <a:pt x="754" y="102"/>
                </a:cubicBezTo>
                <a:cubicBezTo>
                  <a:pt x="751" y="103"/>
                  <a:pt x="751" y="103"/>
                  <a:pt x="751" y="103"/>
                </a:cubicBezTo>
                <a:cubicBezTo>
                  <a:pt x="750" y="105"/>
                  <a:pt x="750" y="105"/>
                  <a:pt x="750" y="105"/>
                </a:cubicBezTo>
                <a:cubicBezTo>
                  <a:pt x="749" y="105"/>
                  <a:pt x="749" y="105"/>
                  <a:pt x="749" y="105"/>
                </a:cubicBezTo>
                <a:cubicBezTo>
                  <a:pt x="748" y="107"/>
                  <a:pt x="748" y="107"/>
                  <a:pt x="748" y="107"/>
                </a:cubicBezTo>
                <a:cubicBezTo>
                  <a:pt x="748" y="108"/>
                  <a:pt x="748" y="108"/>
                  <a:pt x="748" y="108"/>
                </a:cubicBezTo>
                <a:cubicBezTo>
                  <a:pt x="749" y="108"/>
                  <a:pt x="749" y="108"/>
                  <a:pt x="749" y="108"/>
                </a:cubicBezTo>
                <a:cubicBezTo>
                  <a:pt x="750" y="109"/>
                  <a:pt x="750" y="109"/>
                  <a:pt x="750" y="109"/>
                </a:cubicBezTo>
                <a:cubicBezTo>
                  <a:pt x="752" y="109"/>
                  <a:pt x="752" y="109"/>
                  <a:pt x="752" y="109"/>
                </a:cubicBezTo>
                <a:cubicBezTo>
                  <a:pt x="753" y="107"/>
                  <a:pt x="753" y="107"/>
                  <a:pt x="753" y="107"/>
                </a:cubicBezTo>
                <a:cubicBezTo>
                  <a:pt x="753" y="106"/>
                  <a:pt x="753" y="106"/>
                  <a:pt x="753" y="106"/>
                </a:cubicBezTo>
                <a:cubicBezTo>
                  <a:pt x="755" y="106"/>
                  <a:pt x="755" y="106"/>
                  <a:pt x="755" y="106"/>
                </a:cubicBezTo>
                <a:cubicBezTo>
                  <a:pt x="756" y="105"/>
                  <a:pt x="756" y="105"/>
                  <a:pt x="756" y="105"/>
                </a:cubicBezTo>
                <a:cubicBezTo>
                  <a:pt x="756" y="106"/>
                  <a:pt x="756" y="106"/>
                  <a:pt x="756" y="106"/>
                </a:cubicBezTo>
                <a:cubicBezTo>
                  <a:pt x="756" y="108"/>
                  <a:pt x="756" y="108"/>
                  <a:pt x="756" y="108"/>
                </a:cubicBezTo>
                <a:cubicBezTo>
                  <a:pt x="755" y="110"/>
                  <a:pt x="755" y="110"/>
                  <a:pt x="755" y="110"/>
                </a:cubicBezTo>
                <a:cubicBezTo>
                  <a:pt x="754" y="113"/>
                  <a:pt x="754" y="113"/>
                  <a:pt x="754" y="113"/>
                </a:cubicBezTo>
                <a:cubicBezTo>
                  <a:pt x="754" y="114"/>
                  <a:pt x="754" y="114"/>
                  <a:pt x="754" y="114"/>
                </a:cubicBezTo>
                <a:cubicBezTo>
                  <a:pt x="753" y="116"/>
                  <a:pt x="753" y="116"/>
                  <a:pt x="753" y="116"/>
                </a:cubicBezTo>
                <a:cubicBezTo>
                  <a:pt x="750" y="116"/>
                  <a:pt x="750" y="116"/>
                  <a:pt x="750" y="116"/>
                </a:cubicBezTo>
                <a:cubicBezTo>
                  <a:pt x="748" y="118"/>
                  <a:pt x="748" y="118"/>
                  <a:pt x="748" y="118"/>
                </a:cubicBezTo>
                <a:cubicBezTo>
                  <a:pt x="747" y="118"/>
                  <a:pt x="747" y="118"/>
                  <a:pt x="747" y="118"/>
                </a:cubicBezTo>
                <a:cubicBezTo>
                  <a:pt x="747" y="119"/>
                  <a:pt x="747" y="119"/>
                  <a:pt x="747" y="119"/>
                </a:cubicBezTo>
                <a:cubicBezTo>
                  <a:pt x="746" y="121"/>
                  <a:pt x="746" y="121"/>
                  <a:pt x="746" y="121"/>
                </a:cubicBezTo>
                <a:cubicBezTo>
                  <a:pt x="742" y="123"/>
                  <a:pt x="742" y="123"/>
                  <a:pt x="742" y="123"/>
                </a:cubicBezTo>
                <a:cubicBezTo>
                  <a:pt x="740" y="125"/>
                  <a:pt x="740" y="125"/>
                  <a:pt x="740" y="125"/>
                </a:cubicBezTo>
                <a:cubicBezTo>
                  <a:pt x="739" y="125"/>
                  <a:pt x="739" y="125"/>
                  <a:pt x="739" y="125"/>
                </a:cubicBezTo>
                <a:cubicBezTo>
                  <a:pt x="738" y="124"/>
                  <a:pt x="738" y="124"/>
                  <a:pt x="738" y="124"/>
                </a:cubicBezTo>
                <a:cubicBezTo>
                  <a:pt x="737" y="124"/>
                  <a:pt x="737" y="124"/>
                  <a:pt x="737" y="124"/>
                </a:cubicBezTo>
                <a:cubicBezTo>
                  <a:pt x="737" y="123"/>
                  <a:pt x="737" y="123"/>
                  <a:pt x="737" y="123"/>
                </a:cubicBezTo>
                <a:cubicBezTo>
                  <a:pt x="736" y="124"/>
                  <a:pt x="736" y="124"/>
                  <a:pt x="736" y="124"/>
                </a:cubicBezTo>
                <a:cubicBezTo>
                  <a:pt x="734" y="125"/>
                  <a:pt x="734" y="125"/>
                  <a:pt x="734" y="125"/>
                </a:cubicBezTo>
                <a:cubicBezTo>
                  <a:pt x="735" y="124"/>
                  <a:pt x="735" y="124"/>
                  <a:pt x="735" y="124"/>
                </a:cubicBezTo>
                <a:cubicBezTo>
                  <a:pt x="734" y="123"/>
                  <a:pt x="734" y="123"/>
                  <a:pt x="734" y="123"/>
                </a:cubicBezTo>
                <a:cubicBezTo>
                  <a:pt x="732" y="125"/>
                  <a:pt x="732" y="125"/>
                  <a:pt x="732" y="125"/>
                </a:cubicBezTo>
                <a:cubicBezTo>
                  <a:pt x="732" y="127"/>
                  <a:pt x="732" y="127"/>
                  <a:pt x="732" y="127"/>
                </a:cubicBezTo>
                <a:cubicBezTo>
                  <a:pt x="730" y="130"/>
                  <a:pt x="730" y="130"/>
                  <a:pt x="730" y="130"/>
                </a:cubicBezTo>
                <a:cubicBezTo>
                  <a:pt x="729" y="131"/>
                  <a:pt x="729" y="131"/>
                  <a:pt x="729" y="131"/>
                </a:cubicBezTo>
                <a:cubicBezTo>
                  <a:pt x="730" y="132"/>
                  <a:pt x="730" y="132"/>
                  <a:pt x="730" y="132"/>
                </a:cubicBezTo>
                <a:cubicBezTo>
                  <a:pt x="730" y="133"/>
                  <a:pt x="730" y="133"/>
                  <a:pt x="730" y="133"/>
                </a:cubicBezTo>
                <a:cubicBezTo>
                  <a:pt x="729" y="136"/>
                  <a:pt x="729" y="136"/>
                  <a:pt x="729" y="136"/>
                </a:cubicBezTo>
                <a:cubicBezTo>
                  <a:pt x="729" y="138"/>
                  <a:pt x="729" y="138"/>
                  <a:pt x="729" y="138"/>
                </a:cubicBezTo>
                <a:cubicBezTo>
                  <a:pt x="730" y="139"/>
                  <a:pt x="730" y="139"/>
                  <a:pt x="730" y="139"/>
                </a:cubicBezTo>
                <a:cubicBezTo>
                  <a:pt x="729" y="140"/>
                  <a:pt x="729" y="140"/>
                  <a:pt x="729" y="140"/>
                </a:cubicBezTo>
                <a:cubicBezTo>
                  <a:pt x="728" y="142"/>
                  <a:pt x="728" y="142"/>
                  <a:pt x="728" y="142"/>
                </a:cubicBezTo>
                <a:cubicBezTo>
                  <a:pt x="728" y="142"/>
                  <a:pt x="728" y="142"/>
                  <a:pt x="728" y="142"/>
                </a:cubicBezTo>
                <a:cubicBezTo>
                  <a:pt x="730" y="142"/>
                  <a:pt x="730" y="142"/>
                  <a:pt x="730" y="142"/>
                </a:cubicBezTo>
                <a:cubicBezTo>
                  <a:pt x="731" y="140"/>
                  <a:pt x="731" y="140"/>
                  <a:pt x="731" y="140"/>
                </a:cubicBezTo>
                <a:cubicBezTo>
                  <a:pt x="733" y="141"/>
                  <a:pt x="733" y="141"/>
                  <a:pt x="733" y="141"/>
                </a:cubicBezTo>
                <a:cubicBezTo>
                  <a:pt x="734" y="139"/>
                  <a:pt x="734" y="139"/>
                  <a:pt x="734" y="139"/>
                </a:cubicBezTo>
                <a:cubicBezTo>
                  <a:pt x="733" y="141"/>
                  <a:pt x="733" y="141"/>
                  <a:pt x="733" y="141"/>
                </a:cubicBezTo>
                <a:cubicBezTo>
                  <a:pt x="731" y="141"/>
                  <a:pt x="731" y="141"/>
                  <a:pt x="731" y="141"/>
                </a:cubicBezTo>
                <a:cubicBezTo>
                  <a:pt x="729" y="143"/>
                  <a:pt x="729" y="143"/>
                  <a:pt x="729" y="143"/>
                </a:cubicBezTo>
                <a:cubicBezTo>
                  <a:pt x="726" y="144"/>
                  <a:pt x="726" y="144"/>
                  <a:pt x="726" y="144"/>
                </a:cubicBezTo>
                <a:cubicBezTo>
                  <a:pt x="726" y="146"/>
                  <a:pt x="726" y="146"/>
                  <a:pt x="726" y="146"/>
                </a:cubicBezTo>
                <a:cubicBezTo>
                  <a:pt x="725" y="147"/>
                  <a:pt x="725" y="147"/>
                  <a:pt x="725" y="147"/>
                </a:cubicBezTo>
                <a:cubicBezTo>
                  <a:pt x="723" y="146"/>
                  <a:pt x="723" y="146"/>
                  <a:pt x="723" y="146"/>
                </a:cubicBezTo>
                <a:cubicBezTo>
                  <a:pt x="721" y="146"/>
                  <a:pt x="721" y="146"/>
                  <a:pt x="721" y="146"/>
                </a:cubicBezTo>
                <a:cubicBezTo>
                  <a:pt x="720" y="145"/>
                  <a:pt x="720" y="145"/>
                  <a:pt x="720" y="145"/>
                </a:cubicBezTo>
                <a:cubicBezTo>
                  <a:pt x="719" y="146"/>
                  <a:pt x="719" y="146"/>
                  <a:pt x="719" y="146"/>
                </a:cubicBezTo>
                <a:cubicBezTo>
                  <a:pt x="719" y="149"/>
                  <a:pt x="719" y="149"/>
                  <a:pt x="719" y="149"/>
                </a:cubicBezTo>
                <a:cubicBezTo>
                  <a:pt x="717" y="153"/>
                  <a:pt x="717" y="153"/>
                  <a:pt x="717" y="153"/>
                </a:cubicBezTo>
                <a:cubicBezTo>
                  <a:pt x="718" y="149"/>
                  <a:pt x="718" y="149"/>
                  <a:pt x="718" y="149"/>
                </a:cubicBezTo>
                <a:cubicBezTo>
                  <a:pt x="717" y="146"/>
                  <a:pt x="717" y="146"/>
                  <a:pt x="717" y="146"/>
                </a:cubicBezTo>
                <a:cubicBezTo>
                  <a:pt x="716" y="144"/>
                  <a:pt x="716" y="144"/>
                  <a:pt x="716" y="144"/>
                </a:cubicBezTo>
                <a:cubicBezTo>
                  <a:pt x="717" y="141"/>
                  <a:pt x="717" y="141"/>
                  <a:pt x="717" y="141"/>
                </a:cubicBezTo>
                <a:cubicBezTo>
                  <a:pt x="717" y="141"/>
                  <a:pt x="717" y="141"/>
                  <a:pt x="717" y="141"/>
                </a:cubicBezTo>
                <a:cubicBezTo>
                  <a:pt x="718" y="144"/>
                  <a:pt x="718" y="144"/>
                  <a:pt x="718" y="144"/>
                </a:cubicBezTo>
                <a:cubicBezTo>
                  <a:pt x="721" y="143"/>
                  <a:pt x="721" y="143"/>
                  <a:pt x="721" y="143"/>
                </a:cubicBezTo>
                <a:cubicBezTo>
                  <a:pt x="722" y="145"/>
                  <a:pt x="722" y="145"/>
                  <a:pt x="722" y="145"/>
                </a:cubicBezTo>
                <a:cubicBezTo>
                  <a:pt x="724" y="146"/>
                  <a:pt x="724" y="146"/>
                  <a:pt x="724" y="146"/>
                </a:cubicBezTo>
                <a:cubicBezTo>
                  <a:pt x="725" y="144"/>
                  <a:pt x="725" y="144"/>
                  <a:pt x="725" y="144"/>
                </a:cubicBezTo>
                <a:cubicBezTo>
                  <a:pt x="725" y="143"/>
                  <a:pt x="725" y="143"/>
                  <a:pt x="725" y="143"/>
                </a:cubicBezTo>
                <a:cubicBezTo>
                  <a:pt x="726" y="140"/>
                  <a:pt x="726" y="140"/>
                  <a:pt x="726" y="140"/>
                </a:cubicBezTo>
                <a:cubicBezTo>
                  <a:pt x="725" y="141"/>
                  <a:pt x="725" y="141"/>
                  <a:pt x="725" y="141"/>
                </a:cubicBezTo>
                <a:cubicBezTo>
                  <a:pt x="723" y="141"/>
                  <a:pt x="723" y="141"/>
                  <a:pt x="723" y="141"/>
                </a:cubicBezTo>
                <a:cubicBezTo>
                  <a:pt x="725" y="139"/>
                  <a:pt x="725" y="139"/>
                  <a:pt x="725" y="139"/>
                </a:cubicBezTo>
                <a:cubicBezTo>
                  <a:pt x="726" y="137"/>
                  <a:pt x="726" y="137"/>
                  <a:pt x="726" y="137"/>
                </a:cubicBezTo>
                <a:cubicBezTo>
                  <a:pt x="725" y="137"/>
                  <a:pt x="725" y="137"/>
                  <a:pt x="725" y="137"/>
                </a:cubicBezTo>
                <a:cubicBezTo>
                  <a:pt x="723" y="139"/>
                  <a:pt x="723" y="139"/>
                  <a:pt x="723" y="139"/>
                </a:cubicBezTo>
                <a:cubicBezTo>
                  <a:pt x="721" y="139"/>
                  <a:pt x="721" y="139"/>
                  <a:pt x="721" y="139"/>
                </a:cubicBezTo>
                <a:cubicBezTo>
                  <a:pt x="721" y="138"/>
                  <a:pt x="721" y="138"/>
                  <a:pt x="721" y="138"/>
                </a:cubicBezTo>
                <a:cubicBezTo>
                  <a:pt x="723" y="137"/>
                  <a:pt x="723" y="137"/>
                  <a:pt x="723" y="137"/>
                </a:cubicBezTo>
                <a:cubicBezTo>
                  <a:pt x="723" y="135"/>
                  <a:pt x="723" y="135"/>
                  <a:pt x="723" y="135"/>
                </a:cubicBezTo>
                <a:cubicBezTo>
                  <a:pt x="722" y="135"/>
                  <a:pt x="722" y="135"/>
                  <a:pt x="722" y="135"/>
                </a:cubicBezTo>
                <a:cubicBezTo>
                  <a:pt x="720" y="136"/>
                  <a:pt x="720" y="136"/>
                  <a:pt x="720" y="136"/>
                </a:cubicBezTo>
                <a:cubicBezTo>
                  <a:pt x="720" y="135"/>
                  <a:pt x="720" y="135"/>
                  <a:pt x="720" y="135"/>
                </a:cubicBezTo>
                <a:cubicBezTo>
                  <a:pt x="721" y="131"/>
                  <a:pt x="721" y="131"/>
                  <a:pt x="721" y="131"/>
                </a:cubicBezTo>
                <a:cubicBezTo>
                  <a:pt x="722" y="129"/>
                  <a:pt x="722" y="129"/>
                  <a:pt x="722" y="129"/>
                </a:cubicBezTo>
                <a:cubicBezTo>
                  <a:pt x="722" y="131"/>
                  <a:pt x="722" y="131"/>
                  <a:pt x="722" y="131"/>
                </a:cubicBezTo>
                <a:cubicBezTo>
                  <a:pt x="723" y="130"/>
                  <a:pt x="723" y="130"/>
                  <a:pt x="723" y="130"/>
                </a:cubicBezTo>
                <a:cubicBezTo>
                  <a:pt x="723" y="129"/>
                  <a:pt x="723" y="129"/>
                  <a:pt x="723" y="129"/>
                </a:cubicBezTo>
                <a:cubicBezTo>
                  <a:pt x="726" y="126"/>
                  <a:pt x="726" y="126"/>
                  <a:pt x="726" y="126"/>
                </a:cubicBezTo>
                <a:cubicBezTo>
                  <a:pt x="726" y="125"/>
                  <a:pt x="726" y="125"/>
                  <a:pt x="726" y="125"/>
                </a:cubicBezTo>
                <a:cubicBezTo>
                  <a:pt x="729" y="123"/>
                  <a:pt x="729" y="123"/>
                  <a:pt x="729" y="123"/>
                </a:cubicBezTo>
                <a:cubicBezTo>
                  <a:pt x="730" y="121"/>
                  <a:pt x="730" y="121"/>
                  <a:pt x="730" y="121"/>
                </a:cubicBezTo>
                <a:cubicBezTo>
                  <a:pt x="731" y="119"/>
                  <a:pt x="731" y="119"/>
                  <a:pt x="731" y="119"/>
                </a:cubicBezTo>
                <a:cubicBezTo>
                  <a:pt x="732" y="119"/>
                  <a:pt x="732" y="119"/>
                  <a:pt x="732" y="119"/>
                </a:cubicBezTo>
                <a:cubicBezTo>
                  <a:pt x="732" y="118"/>
                  <a:pt x="732" y="118"/>
                  <a:pt x="732" y="118"/>
                </a:cubicBezTo>
                <a:cubicBezTo>
                  <a:pt x="730" y="118"/>
                  <a:pt x="730" y="118"/>
                  <a:pt x="730" y="118"/>
                </a:cubicBezTo>
                <a:cubicBezTo>
                  <a:pt x="728" y="119"/>
                  <a:pt x="728" y="119"/>
                  <a:pt x="728" y="119"/>
                </a:cubicBezTo>
                <a:cubicBezTo>
                  <a:pt x="727" y="121"/>
                  <a:pt x="727" y="121"/>
                  <a:pt x="727" y="121"/>
                </a:cubicBezTo>
                <a:cubicBezTo>
                  <a:pt x="724" y="122"/>
                  <a:pt x="724" y="122"/>
                  <a:pt x="724" y="122"/>
                </a:cubicBezTo>
                <a:cubicBezTo>
                  <a:pt x="723" y="122"/>
                  <a:pt x="723" y="122"/>
                  <a:pt x="723" y="122"/>
                </a:cubicBezTo>
                <a:cubicBezTo>
                  <a:pt x="723" y="121"/>
                  <a:pt x="723" y="121"/>
                  <a:pt x="723" y="121"/>
                </a:cubicBezTo>
                <a:cubicBezTo>
                  <a:pt x="726" y="120"/>
                  <a:pt x="726" y="120"/>
                  <a:pt x="726" y="120"/>
                </a:cubicBezTo>
                <a:cubicBezTo>
                  <a:pt x="726" y="118"/>
                  <a:pt x="726" y="118"/>
                  <a:pt x="726" y="118"/>
                </a:cubicBezTo>
                <a:cubicBezTo>
                  <a:pt x="725" y="118"/>
                  <a:pt x="725" y="118"/>
                  <a:pt x="725" y="118"/>
                </a:cubicBezTo>
                <a:cubicBezTo>
                  <a:pt x="723" y="118"/>
                  <a:pt x="723" y="118"/>
                  <a:pt x="723" y="118"/>
                </a:cubicBezTo>
                <a:cubicBezTo>
                  <a:pt x="722" y="117"/>
                  <a:pt x="722" y="117"/>
                  <a:pt x="722" y="117"/>
                </a:cubicBezTo>
                <a:cubicBezTo>
                  <a:pt x="723" y="115"/>
                  <a:pt x="723" y="115"/>
                  <a:pt x="723" y="115"/>
                </a:cubicBezTo>
                <a:cubicBezTo>
                  <a:pt x="723" y="113"/>
                  <a:pt x="723" y="113"/>
                  <a:pt x="723" y="113"/>
                </a:cubicBezTo>
                <a:cubicBezTo>
                  <a:pt x="721" y="112"/>
                  <a:pt x="721" y="112"/>
                  <a:pt x="721" y="112"/>
                </a:cubicBezTo>
                <a:cubicBezTo>
                  <a:pt x="720" y="112"/>
                  <a:pt x="720" y="112"/>
                  <a:pt x="720" y="112"/>
                </a:cubicBezTo>
                <a:cubicBezTo>
                  <a:pt x="720" y="113"/>
                  <a:pt x="720" y="113"/>
                  <a:pt x="720" y="113"/>
                </a:cubicBezTo>
                <a:cubicBezTo>
                  <a:pt x="720" y="112"/>
                  <a:pt x="720" y="112"/>
                  <a:pt x="720" y="112"/>
                </a:cubicBezTo>
                <a:cubicBezTo>
                  <a:pt x="721" y="111"/>
                  <a:pt x="721" y="111"/>
                  <a:pt x="721" y="111"/>
                </a:cubicBezTo>
                <a:cubicBezTo>
                  <a:pt x="720" y="109"/>
                  <a:pt x="720" y="109"/>
                  <a:pt x="720" y="109"/>
                </a:cubicBezTo>
                <a:cubicBezTo>
                  <a:pt x="718" y="109"/>
                  <a:pt x="718" y="109"/>
                  <a:pt x="718" y="109"/>
                </a:cubicBezTo>
                <a:cubicBezTo>
                  <a:pt x="717" y="111"/>
                  <a:pt x="717" y="111"/>
                  <a:pt x="717" y="111"/>
                </a:cubicBezTo>
                <a:cubicBezTo>
                  <a:pt x="715" y="113"/>
                  <a:pt x="715" y="113"/>
                  <a:pt x="715" y="113"/>
                </a:cubicBezTo>
                <a:cubicBezTo>
                  <a:pt x="715" y="113"/>
                  <a:pt x="715" y="113"/>
                  <a:pt x="715" y="113"/>
                </a:cubicBezTo>
                <a:cubicBezTo>
                  <a:pt x="714" y="113"/>
                  <a:pt x="714" y="113"/>
                  <a:pt x="714" y="113"/>
                </a:cubicBezTo>
                <a:cubicBezTo>
                  <a:pt x="714" y="112"/>
                  <a:pt x="714" y="112"/>
                  <a:pt x="714" y="112"/>
                </a:cubicBezTo>
                <a:cubicBezTo>
                  <a:pt x="713" y="110"/>
                  <a:pt x="713" y="110"/>
                  <a:pt x="713" y="110"/>
                </a:cubicBezTo>
                <a:cubicBezTo>
                  <a:pt x="711" y="110"/>
                  <a:pt x="711" y="110"/>
                  <a:pt x="711" y="110"/>
                </a:cubicBezTo>
                <a:cubicBezTo>
                  <a:pt x="711" y="111"/>
                  <a:pt x="711" y="111"/>
                  <a:pt x="711" y="111"/>
                </a:cubicBezTo>
                <a:cubicBezTo>
                  <a:pt x="712" y="112"/>
                  <a:pt x="712" y="112"/>
                  <a:pt x="712" y="112"/>
                </a:cubicBezTo>
                <a:cubicBezTo>
                  <a:pt x="711" y="113"/>
                  <a:pt x="711" y="113"/>
                  <a:pt x="711" y="113"/>
                </a:cubicBezTo>
                <a:cubicBezTo>
                  <a:pt x="712" y="115"/>
                  <a:pt x="712" y="115"/>
                  <a:pt x="712" y="115"/>
                </a:cubicBezTo>
                <a:cubicBezTo>
                  <a:pt x="712" y="116"/>
                  <a:pt x="712" y="116"/>
                  <a:pt x="712" y="116"/>
                </a:cubicBezTo>
                <a:cubicBezTo>
                  <a:pt x="711" y="117"/>
                  <a:pt x="711" y="117"/>
                  <a:pt x="711" y="117"/>
                </a:cubicBezTo>
                <a:cubicBezTo>
                  <a:pt x="710" y="116"/>
                  <a:pt x="710" y="116"/>
                  <a:pt x="710" y="116"/>
                </a:cubicBezTo>
                <a:cubicBezTo>
                  <a:pt x="710" y="115"/>
                  <a:pt x="710" y="115"/>
                  <a:pt x="710" y="115"/>
                </a:cubicBezTo>
                <a:cubicBezTo>
                  <a:pt x="709" y="115"/>
                  <a:pt x="709" y="115"/>
                  <a:pt x="709" y="115"/>
                </a:cubicBezTo>
                <a:cubicBezTo>
                  <a:pt x="708" y="116"/>
                  <a:pt x="708" y="116"/>
                  <a:pt x="708" y="116"/>
                </a:cubicBezTo>
                <a:cubicBezTo>
                  <a:pt x="709" y="120"/>
                  <a:pt x="709" y="120"/>
                  <a:pt x="709" y="120"/>
                </a:cubicBezTo>
                <a:cubicBezTo>
                  <a:pt x="710" y="123"/>
                  <a:pt x="710" y="123"/>
                  <a:pt x="710" y="123"/>
                </a:cubicBezTo>
                <a:cubicBezTo>
                  <a:pt x="713" y="124"/>
                  <a:pt x="713" y="124"/>
                  <a:pt x="713" y="124"/>
                </a:cubicBezTo>
                <a:cubicBezTo>
                  <a:pt x="714" y="126"/>
                  <a:pt x="714" y="126"/>
                  <a:pt x="714" y="126"/>
                </a:cubicBezTo>
                <a:cubicBezTo>
                  <a:pt x="714" y="130"/>
                  <a:pt x="714" y="130"/>
                  <a:pt x="714" y="130"/>
                </a:cubicBezTo>
                <a:cubicBezTo>
                  <a:pt x="713" y="128"/>
                  <a:pt x="713" y="128"/>
                  <a:pt x="713" y="128"/>
                </a:cubicBezTo>
                <a:cubicBezTo>
                  <a:pt x="712" y="127"/>
                  <a:pt x="712" y="127"/>
                  <a:pt x="712" y="127"/>
                </a:cubicBezTo>
                <a:cubicBezTo>
                  <a:pt x="709" y="123"/>
                  <a:pt x="709" y="123"/>
                  <a:pt x="709" y="123"/>
                </a:cubicBezTo>
                <a:cubicBezTo>
                  <a:pt x="708" y="121"/>
                  <a:pt x="708" y="121"/>
                  <a:pt x="708" y="121"/>
                </a:cubicBezTo>
                <a:cubicBezTo>
                  <a:pt x="707" y="117"/>
                  <a:pt x="707" y="117"/>
                  <a:pt x="707" y="117"/>
                </a:cubicBezTo>
                <a:cubicBezTo>
                  <a:pt x="706" y="117"/>
                  <a:pt x="706" y="117"/>
                  <a:pt x="706" y="117"/>
                </a:cubicBezTo>
                <a:cubicBezTo>
                  <a:pt x="705" y="118"/>
                  <a:pt x="705" y="118"/>
                  <a:pt x="705" y="118"/>
                </a:cubicBezTo>
                <a:cubicBezTo>
                  <a:pt x="706" y="121"/>
                  <a:pt x="706" y="121"/>
                  <a:pt x="706" y="121"/>
                </a:cubicBezTo>
                <a:cubicBezTo>
                  <a:pt x="708" y="123"/>
                  <a:pt x="708" y="123"/>
                  <a:pt x="708" y="123"/>
                </a:cubicBezTo>
                <a:cubicBezTo>
                  <a:pt x="708" y="125"/>
                  <a:pt x="708" y="125"/>
                  <a:pt x="708" y="125"/>
                </a:cubicBezTo>
                <a:cubicBezTo>
                  <a:pt x="707" y="125"/>
                  <a:pt x="707" y="125"/>
                  <a:pt x="707" y="125"/>
                </a:cubicBezTo>
                <a:cubicBezTo>
                  <a:pt x="706" y="124"/>
                  <a:pt x="706" y="124"/>
                  <a:pt x="706" y="124"/>
                </a:cubicBezTo>
                <a:cubicBezTo>
                  <a:pt x="702" y="124"/>
                  <a:pt x="702" y="124"/>
                  <a:pt x="702" y="124"/>
                </a:cubicBezTo>
                <a:cubicBezTo>
                  <a:pt x="701" y="125"/>
                  <a:pt x="701" y="125"/>
                  <a:pt x="701" y="125"/>
                </a:cubicBezTo>
                <a:cubicBezTo>
                  <a:pt x="700" y="124"/>
                  <a:pt x="700" y="124"/>
                  <a:pt x="700" y="124"/>
                </a:cubicBezTo>
                <a:cubicBezTo>
                  <a:pt x="698" y="123"/>
                  <a:pt x="698" y="123"/>
                  <a:pt x="698" y="123"/>
                </a:cubicBezTo>
                <a:cubicBezTo>
                  <a:pt x="695" y="121"/>
                  <a:pt x="695" y="121"/>
                  <a:pt x="695" y="121"/>
                </a:cubicBezTo>
                <a:cubicBezTo>
                  <a:pt x="691" y="121"/>
                  <a:pt x="691" y="121"/>
                  <a:pt x="691" y="121"/>
                </a:cubicBezTo>
                <a:cubicBezTo>
                  <a:pt x="690" y="120"/>
                  <a:pt x="690" y="120"/>
                  <a:pt x="690" y="120"/>
                </a:cubicBezTo>
                <a:cubicBezTo>
                  <a:pt x="690" y="120"/>
                  <a:pt x="690" y="120"/>
                  <a:pt x="690" y="120"/>
                </a:cubicBezTo>
                <a:cubicBezTo>
                  <a:pt x="687" y="121"/>
                  <a:pt x="687" y="121"/>
                  <a:pt x="687" y="121"/>
                </a:cubicBezTo>
                <a:cubicBezTo>
                  <a:pt x="686" y="123"/>
                  <a:pt x="686" y="123"/>
                  <a:pt x="686" y="123"/>
                </a:cubicBezTo>
                <a:cubicBezTo>
                  <a:pt x="682" y="123"/>
                  <a:pt x="682" y="123"/>
                  <a:pt x="682" y="123"/>
                </a:cubicBezTo>
                <a:cubicBezTo>
                  <a:pt x="680" y="124"/>
                  <a:pt x="680" y="124"/>
                  <a:pt x="680" y="124"/>
                </a:cubicBezTo>
                <a:cubicBezTo>
                  <a:pt x="678" y="122"/>
                  <a:pt x="678" y="122"/>
                  <a:pt x="678" y="122"/>
                </a:cubicBezTo>
                <a:cubicBezTo>
                  <a:pt x="678" y="122"/>
                  <a:pt x="678" y="122"/>
                  <a:pt x="678" y="122"/>
                </a:cubicBezTo>
                <a:cubicBezTo>
                  <a:pt x="677" y="120"/>
                  <a:pt x="677" y="120"/>
                  <a:pt x="677" y="120"/>
                </a:cubicBezTo>
                <a:cubicBezTo>
                  <a:pt x="677" y="119"/>
                  <a:pt x="677" y="119"/>
                  <a:pt x="677" y="119"/>
                </a:cubicBezTo>
                <a:cubicBezTo>
                  <a:pt x="674" y="121"/>
                  <a:pt x="674" y="121"/>
                  <a:pt x="674" y="121"/>
                </a:cubicBezTo>
                <a:cubicBezTo>
                  <a:pt x="674" y="120"/>
                  <a:pt x="674" y="120"/>
                  <a:pt x="674" y="120"/>
                </a:cubicBezTo>
                <a:cubicBezTo>
                  <a:pt x="672" y="117"/>
                  <a:pt x="672" y="117"/>
                  <a:pt x="672" y="117"/>
                </a:cubicBezTo>
                <a:cubicBezTo>
                  <a:pt x="671" y="116"/>
                  <a:pt x="671" y="116"/>
                  <a:pt x="671" y="116"/>
                </a:cubicBezTo>
                <a:cubicBezTo>
                  <a:pt x="670" y="115"/>
                  <a:pt x="670" y="115"/>
                  <a:pt x="670" y="115"/>
                </a:cubicBezTo>
                <a:cubicBezTo>
                  <a:pt x="670" y="114"/>
                  <a:pt x="670" y="114"/>
                  <a:pt x="670" y="114"/>
                </a:cubicBezTo>
                <a:cubicBezTo>
                  <a:pt x="671" y="113"/>
                  <a:pt x="671" y="113"/>
                  <a:pt x="671" y="113"/>
                </a:cubicBezTo>
                <a:cubicBezTo>
                  <a:pt x="670" y="112"/>
                  <a:pt x="670" y="112"/>
                  <a:pt x="670" y="112"/>
                </a:cubicBezTo>
                <a:cubicBezTo>
                  <a:pt x="669" y="112"/>
                  <a:pt x="669" y="112"/>
                  <a:pt x="669" y="112"/>
                </a:cubicBezTo>
                <a:cubicBezTo>
                  <a:pt x="668" y="112"/>
                  <a:pt x="668" y="112"/>
                  <a:pt x="668" y="112"/>
                </a:cubicBezTo>
                <a:cubicBezTo>
                  <a:pt x="669" y="110"/>
                  <a:pt x="669" y="110"/>
                  <a:pt x="669" y="110"/>
                </a:cubicBezTo>
                <a:cubicBezTo>
                  <a:pt x="668" y="110"/>
                  <a:pt x="668" y="110"/>
                  <a:pt x="668" y="110"/>
                </a:cubicBezTo>
                <a:cubicBezTo>
                  <a:pt x="666" y="111"/>
                  <a:pt x="666" y="111"/>
                  <a:pt x="666" y="111"/>
                </a:cubicBezTo>
                <a:cubicBezTo>
                  <a:pt x="664" y="111"/>
                  <a:pt x="664" y="111"/>
                  <a:pt x="664" y="111"/>
                </a:cubicBezTo>
                <a:cubicBezTo>
                  <a:pt x="663" y="109"/>
                  <a:pt x="663" y="109"/>
                  <a:pt x="663" y="109"/>
                </a:cubicBezTo>
                <a:cubicBezTo>
                  <a:pt x="662" y="109"/>
                  <a:pt x="662" y="109"/>
                  <a:pt x="662" y="109"/>
                </a:cubicBezTo>
                <a:cubicBezTo>
                  <a:pt x="661" y="109"/>
                  <a:pt x="661" y="109"/>
                  <a:pt x="661" y="109"/>
                </a:cubicBezTo>
                <a:cubicBezTo>
                  <a:pt x="660" y="108"/>
                  <a:pt x="660" y="108"/>
                  <a:pt x="660" y="108"/>
                </a:cubicBezTo>
                <a:cubicBezTo>
                  <a:pt x="658" y="108"/>
                  <a:pt x="658" y="108"/>
                  <a:pt x="658" y="108"/>
                </a:cubicBezTo>
                <a:cubicBezTo>
                  <a:pt x="658" y="107"/>
                  <a:pt x="658" y="107"/>
                  <a:pt x="658" y="107"/>
                </a:cubicBezTo>
                <a:cubicBezTo>
                  <a:pt x="659" y="105"/>
                  <a:pt x="659" y="105"/>
                  <a:pt x="659" y="105"/>
                </a:cubicBezTo>
                <a:cubicBezTo>
                  <a:pt x="660" y="104"/>
                  <a:pt x="660" y="104"/>
                  <a:pt x="660" y="104"/>
                </a:cubicBezTo>
                <a:cubicBezTo>
                  <a:pt x="660" y="103"/>
                  <a:pt x="660" y="103"/>
                  <a:pt x="660" y="103"/>
                </a:cubicBezTo>
                <a:cubicBezTo>
                  <a:pt x="659" y="102"/>
                  <a:pt x="659" y="102"/>
                  <a:pt x="659" y="102"/>
                </a:cubicBezTo>
                <a:cubicBezTo>
                  <a:pt x="657" y="102"/>
                  <a:pt x="657" y="102"/>
                  <a:pt x="657" y="102"/>
                </a:cubicBezTo>
                <a:cubicBezTo>
                  <a:pt x="657" y="98"/>
                  <a:pt x="657" y="98"/>
                  <a:pt x="657" y="98"/>
                </a:cubicBezTo>
                <a:cubicBezTo>
                  <a:pt x="656" y="98"/>
                  <a:pt x="656" y="98"/>
                  <a:pt x="656" y="98"/>
                </a:cubicBezTo>
                <a:cubicBezTo>
                  <a:pt x="656" y="97"/>
                  <a:pt x="656" y="97"/>
                  <a:pt x="656" y="97"/>
                </a:cubicBezTo>
                <a:cubicBezTo>
                  <a:pt x="658" y="96"/>
                  <a:pt x="658" y="96"/>
                  <a:pt x="658" y="96"/>
                </a:cubicBezTo>
                <a:cubicBezTo>
                  <a:pt x="658" y="95"/>
                  <a:pt x="658" y="95"/>
                  <a:pt x="658" y="95"/>
                </a:cubicBezTo>
                <a:cubicBezTo>
                  <a:pt x="657" y="95"/>
                  <a:pt x="657" y="95"/>
                  <a:pt x="657" y="95"/>
                </a:cubicBezTo>
                <a:cubicBezTo>
                  <a:pt x="657" y="93"/>
                  <a:pt x="657" y="93"/>
                  <a:pt x="657" y="93"/>
                </a:cubicBezTo>
                <a:cubicBezTo>
                  <a:pt x="658" y="89"/>
                  <a:pt x="658" y="89"/>
                  <a:pt x="658" y="89"/>
                </a:cubicBezTo>
                <a:cubicBezTo>
                  <a:pt x="657" y="88"/>
                  <a:pt x="657" y="88"/>
                  <a:pt x="657" y="88"/>
                </a:cubicBezTo>
                <a:cubicBezTo>
                  <a:pt x="656" y="88"/>
                  <a:pt x="656" y="88"/>
                  <a:pt x="656" y="88"/>
                </a:cubicBezTo>
                <a:cubicBezTo>
                  <a:pt x="655" y="86"/>
                  <a:pt x="655" y="86"/>
                  <a:pt x="655" y="86"/>
                </a:cubicBezTo>
                <a:cubicBezTo>
                  <a:pt x="654" y="85"/>
                  <a:pt x="654" y="85"/>
                  <a:pt x="654" y="85"/>
                </a:cubicBezTo>
                <a:cubicBezTo>
                  <a:pt x="651" y="86"/>
                  <a:pt x="651" y="86"/>
                  <a:pt x="651" y="86"/>
                </a:cubicBezTo>
                <a:cubicBezTo>
                  <a:pt x="650" y="86"/>
                  <a:pt x="650" y="86"/>
                  <a:pt x="650" y="86"/>
                </a:cubicBezTo>
                <a:cubicBezTo>
                  <a:pt x="645" y="87"/>
                  <a:pt x="645" y="87"/>
                  <a:pt x="645" y="87"/>
                </a:cubicBezTo>
                <a:cubicBezTo>
                  <a:pt x="638" y="88"/>
                  <a:pt x="638" y="88"/>
                  <a:pt x="638" y="88"/>
                </a:cubicBezTo>
                <a:cubicBezTo>
                  <a:pt x="635" y="87"/>
                  <a:pt x="635" y="87"/>
                  <a:pt x="635" y="87"/>
                </a:cubicBezTo>
                <a:cubicBezTo>
                  <a:pt x="634" y="87"/>
                  <a:pt x="634" y="87"/>
                  <a:pt x="634" y="87"/>
                </a:cubicBezTo>
                <a:cubicBezTo>
                  <a:pt x="631" y="91"/>
                  <a:pt x="631" y="91"/>
                  <a:pt x="631" y="91"/>
                </a:cubicBezTo>
                <a:cubicBezTo>
                  <a:pt x="629" y="92"/>
                  <a:pt x="629" y="92"/>
                  <a:pt x="629" y="92"/>
                </a:cubicBezTo>
                <a:cubicBezTo>
                  <a:pt x="628" y="93"/>
                  <a:pt x="628" y="93"/>
                  <a:pt x="628" y="93"/>
                </a:cubicBezTo>
                <a:cubicBezTo>
                  <a:pt x="630" y="94"/>
                  <a:pt x="630" y="94"/>
                  <a:pt x="630" y="94"/>
                </a:cubicBezTo>
                <a:cubicBezTo>
                  <a:pt x="631" y="93"/>
                  <a:pt x="631" y="93"/>
                  <a:pt x="631" y="93"/>
                </a:cubicBezTo>
                <a:cubicBezTo>
                  <a:pt x="632" y="93"/>
                  <a:pt x="632" y="93"/>
                  <a:pt x="632" y="93"/>
                </a:cubicBezTo>
                <a:cubicBezTo>
                  <a:pt x="631" y="95"/>
                  <a:pt x="631" y="95"/>
                  <a:pt x="631" y="95"/>
                </a:cubicBezTo>
                <a:cubicBezTo>
                  <a:pt x="630" y="96"/>
                  <a:pt x="630" y="96"/>
                  <a:pt x="630" y="96"/>
                </a:cubicBezTo>
                <a:cubicBezTo>
                  <a:pt x="630" y="97"/>
                  <a:pt x="630" y="97"/>
                  <a:pt x="630" y="97"/>
                </a:cubicBezTo>
                <a:cubicBezTo>
                  <a:pt x="633" y="98"/>
                  <a:pt x="633" y="98"/>
                  <a:pt x="633" y="98"/>
                </a:cubicBezTo>
                <a:cubicBezTo>
                  <a:pt x="634" y="99"/>
                  <a:pt x="634" y="99"/>
                  <a:pt x="634" y="99"/>
                </a:cubicBezTo>
                <a:cubicBezTo>
                  <a:pt x="636" y="98"/>
                  <a:pt x="636" y="98"/>
                  <a:pt x="636" y="98"/>
                </a:cubicBezTo>
                <a:cubicBezTo>
                  <a:pt x="636" y="97"/>
                  <a:pt x="636" y="97"/>
                  <a:pt x="636" y="97"/>
                </a:cubicBezTo>
                <a:cubicBezTo>
                  <a:pt x="634" y="95"/>
                  <a:pt x="634" y="95"/>
                  <a:pt x="634" y="95"/>
                </a:cubicBezTo>
                <a:cubicBezTo>
                  <a:pt x="635" y="94"/>
                  <a:pt x="635" y="94"/>
                  <a:pt x="635" y="94"/>
                </a:cubicBezTo>
                <a:cubicBezTo>
                  <a:pt x="636" y="94"/>
                  <a:pt x="636" y="94"/>
                  <a:pt x="636" y="94"/>
                </a:cubicBezTo>
                <a:cubicBezTo>
                  <a:pt x="636" y="95"/>
                  <a:pt x="636" y="95"/>
                  <a:pt x="636" y="95"/>
                </a:cubicBezTo>
                <a:cubicBezTo>
                  <a:pt x="638" y="95"/>
                  <a:pt x="638" y="95"/>
                  <a:pt x="638" y="95"/>
                </a:cubicBezTo>
                <a:cubicBezTo>
                  <a:pt x="640" y="96"/>
                  <a:pt x="640" y="96"/>
                  <a:pt x="640" y="96"/>
                </a:cubicBezTo>
                <a:cubicBezTo>
                  <a:pt x="641" y="96"/>
                  <a:pt x="641" y="96"/>
                  <a:pt x="641" y="96"/>
                </a:cubicBezTo>
                <a:cubicBezTo>
                  <a:pt x="641" y="94"/>
                  <a:pt x="641" y="94"/>
                  <a:pt x="641" y="94"/>
                </a:cubicBezTo>
                <a:cubicBezTo>
                  <a:pt x="643" y="93"/>
                  <a:pt x="643" y="93"/>
                  <a:pt x="643" y="93"/>
                </a:cubicBezTo>
                <a:cubicBezTo>
                  <a:pt x="642" y="94"/>
                  <a:pt x="642" y="94"/>
                  <a:pt x="642" y="94"/>
                </a:cubicBezTo>
                <a:cubicBezTo>
                  <a:pt x="644" y="96"/>
                  <a:pt x="644" y="96"/>
                  <a:pt x="644" y="96"/>
                </a:cubicBezTo>
                <a:cubicBezTo>
                  <a:pt x="645" y="95"/>
                  <a:pt x="645" y="95"/>
                  <a:pt x="645" y="95"/>
                </a:cubicBezTo>
                <a:cubicBezTo>
                  <a:pt x="645" y="94"/>
                  <a:pt x="645" y="94"/>
                  <a:pt x="645" y="94"/>
                </a:cubicBezTo>
                <a:cubicBezTo>
                  <a:pt x="646" y="94"/>
                  <a:pt x="646" y="94"/>
                  <a:pt x="646" y="94"/>
                </a:cubicBezTo>
                <a:cubicBezTo>
                  <a:pt x="647" y="93"/>
                  <a:pt x="647" y="93"/>
                  <a:pt x="647" y="93"/>
                </a:cubicBezTo>
                <a:cubicBezTo>
                  <a:pt x="648" y="93"/>
                  <a:pt x="648" y="93"/>
                  <a:pt x="648" y="93"/>
                </a:cubicBezTo>
                <a:cubicBezTo>
                  <a:pt x="652" y="91"/>
                  <a:pt x="652" y="91"/>
                  <a:pt x="652" y="91"/>
                </a:cubicBezTo>
                <a:cubicBezTo>
                  <a:pt x="654" y="91"/>
                  <a:pt x="654" y="91"/>
                  <a:pt x="654" y="91"/>
                </a:cubicBezTo>
                <a:cubicBezTo>
                  <a:pt x="654" y="92"/>
                  <a:pt x="654" y="92"/>
                  <a:pt x="654" y="92"/>
                </a:cubicBezTo>
                <a:cubicBezTo>
                  <a:pt x="656" y="92"/>
                  <a:pt x="656" y="92"/>
                  <a:pt x="656" y="92"/>
                </a:cubicBezTo>
                <a:cubicBezTo>
                  <a:pt x="654" y="93"/>
                  <a:pt x="654" y="93"/>
                  <a:pt x="654" y="93"/>
                </a:cubicBezTo>
                <a:cubicBezTo>
                  <a:pt x="655" y="95"/>
                  <a:pt x="655" y="95"/>
                  <a:pt x="655" y="95"/>
                </a:cubicBezTo>
                <a:cubicBezTo>
                  <a:pt x="653" y="97"/>
                  <a:pt x="653" y="97"/>
                  <a:pt x="653" y="97"/>
                </a:cubicBezTo>
                <a:cubicBezTo>
                  <a:pt x="652" y="96"/>
                  <a:pt x="652" y="96"/>
                  <a:pt x="652" y="96"/>
                </a:cubicBezTo>
                <a:cubicBezTo>
                  <a:pt x="651" y="97"/>
                  <a:pt x="651" y="97"/>
                  <a:pt x="651" y="97"/>
                </a:cubicBezTo>
                <a:cubicBezTo>
                  <a:pt x="649" y="97"/>
                  <a:pt x="649" y="97"/>
                  <a:pt x="649" y="97"/>
                </a:cubicBezTo>
                <a:cubicBezTo>
                  <a:pt x="648" y="96"/>
                  <a:pt x="648" y="96"/>
                  <a:pt x="648" y="96"/>
                </a:cubicBezTo>
                <a:cubicBezTo>
                  <a:pt x="647" y="96"/>
                  <a:pt x="647" y="96"/>
                  <a:pt x="647" y="96"/>
                </a:cubicBezTo>
                <a:cubicBezTo>
                  <a:pt x="645" y="99"/>
                  <a:pt x="645" y="99"/>
                  <a:pt x="645" y="99"/>
                </a:cubicBezTo>
                <a:cubicBezTo>
                  <a:pt x="646" y="102"/>
                  <a:pt x="646" y="102"/>
                  <a:pt x="646" y="102"/>
                </a:cubicBezTo>
                <a:cubicBezTo>
                  <a:pt x="646" y="104"/>
                  <a:pt x="646" y="104"/>
                  <a:pt x="646" y="104"/>
                </a:cubicBezTo>
                <a:cubicBezTo>
                  <a:pt x="645" y="102"/>
                  <a:pt x="645" y="102"/>
                  <a:pt x="645" y="102"/>
                </a:cubicBezTo>
                <a:cubicBezTo>
                  <a:pt x="644" y="101"/>
                  <a:pt x="644" y="101"/>
                  <a:pt x="644" y="101"/>
                </a:cubicBezTo>
                <a:cubicBezTo>
                  <a:pt x="644" y="100"/>
                  <a:pt x="644" y="100"/>
                  <a:pt x="644" y="100"/>
                </a:cubicBezTo>
                <a:cubicBezTo>
                  <a:pt x="642" y="100"/>
                  <a:pt x="642" y="100"/>
                  <a:pt x="642" y="100"/>
                </a:cubicBezTo>
                <a:cubicBezTo>
                  <a:pt x="641" y="102"/>
                  <a:pt x="641" y="102"/>
                  <a:pt x="641" y="102"/>
                </a:cubicBezTo>
                <a:cubicBezTo>
                  <a:pt x="639" y="102"/>
                  <a:pt x="639" y="102"/>
                  <a:pt x="639" y="102"/>
                </a:cubicBezTo>
                <a:cubicBezTo>
                  <a:pt x="638" y="103"/>
                  <a:pt x="638" y="103"/>
                  <a:pt x="638" y="103"/>
                </a:cubicBezTo>
                <a:cubicBezTo>
                  <a:pt x="638" y="101"/>
                  <a:pt x="638" y="101"/>
                  <a:pt x="638" y="101"/>
                </a:cubicBezTo>
                <a:cubicBezTo>
                  <a:pt x="637" y="101"/>
                  <a:pt x="637" y="101"/>
                  <a:pt x="637" y="101"/>
                </a:cubicBezTo>
                <a:cubicBezTo>
                  <a:pt x="636" y="103"/>
                  <a:pt x="636" y="103"/>
                  <a:pt x="636" y="103"/>
                </a:cubicBezTo>
                <a:cubicBezTo>
                  <a:pt x="634" y="104"/>
                  <a:pt x="634" y="104"/>
                  <a:pt x="634" y="104"/>
                </a:cubicBezTo>
                <a:cubicBezTo>
                  <a:pt x="634" y="103"/>
                  <a:pt x="634" y="103"/>
                  <a:pt x="634" y="103"/>
                </a:cubicBezTo>
                <a:cubicBezTo>
                  <a:pt x="632" y="103"/>
                  <a:pt x="632" y="103"/>
                  <a:pt x="632" y="103"/>
                </a:cubicBezTo>
                <a:cubicBezTo>
                  <a:pt x="631" y="104"/>
                  <a:pt x="631" y="104"/>
                  <a:pt x="631" y="104"/>
                </a:cubicBezTo>
                <a:cubicBezTo>
                  <a:pt x="631" y="105"/>
                  <a:pt x="631" y="105"/>
                  <a:pt x="631" y="105"/>
                </a:cubicBezTo>
                <a:cubicBezTo>
                  <a:pt x="628" y="105"/>
                  <a:pt x="628" y="105"/>
                  <a:pt x="628" y="105"/>
                </a:cubicBezTo>
                <a:cubicBezTo>
                  <a:pt x="627" y="106"/>
                  <a:pt x="627" y="106"/>
                  <a:pt x="627" y="106"/>
                </a:cubicBezTo>
                <a:cubicBezTo>
                  <a:pt x="627" y="108"/>
                  <a:pt x="627" y="108"/>
                  <a:pt x="627" y="108"/>
                </a:cubicBezTo>
                <a:cubicBezTo>
                  <a:pt x="627" y="109"/>
                  <a:pt x="627" y="109"/>
                  <a:pt x="627" y="109"/>
                </a:cubicBezTo>
                <a:cubicBezTo>
                  <a:pt x="626" y="114"/>
                  <a:pt x="626" y="114"/>
                  <a:pt x="626" y="114"/>
                </a:cubicBezTo>
                <a:cubicBezTo>
                  <a:pt x="625" y="118"/>
                  <a:pt x="625" y="118"/>
                  <a:pt x="625" y="118"/>
                </a:cubicBezTo>
                <a:cubicBezTo>
                  <a:pt x="625" y="120"/>
                  <a:pt x="625" y="120"/>
                  <a:pt x="625" y="120"/>
                </a:cubicBezTo>
                <a:cubicBezTo>
                  <a:pt x="626" y="121"/>
                  <a:pt x="626" y="121"/>
                  <a:pt x="626" y="121"/>
                </a:cubicBezTo>
                <a:cubicBezTo>
                  <a:pt x="626" y="122"/>
                  <a:pt x="626" y="122"/>
                  <a:pt x="626" y="122"/>
                </a:cubicBezTo>
                <a:cubicBezTo>
                  <a:pt x="624" y="123"/>
                  <a:pt x="624" y="123"/>
                  <a:pt x="624" y="123"/>
                </a:cubicBezTo>
                <a:cubicBezTo>
                  <a:pt x="624" y="124"/>
                  <a:pt x="624" y="124"/>
                  <a:pt x="624" y="124"/>
                </a:cubicBezTo>
                <a:cubicBezTo>
                  <a:pt x="625" y="126"/>
                  <a:pt x="625" y="126"/>
                  <a:pt x="625" y="126"/>
                </a:cubicBezTo>
                <a:cubicBezTo>
                  <a:pt x="625" y="128"/>
                  <a:pt x="625" y="128"/>
                  <a:pt x="625" y="128"/>
                </a:cubicBezTo>
                <a:cubicBezTo>
                  <a:pt x="624" y="129"/>
                  <a:pt x="624" y="129"/>
                  <a:pt x="624" y="129"/>
                </a:cubicBezTo>
                <a:cubicBezTo>
                  <a:pt x="624" y="128"/>
                  <a:pt x="624" y="128"/>
                  <a:pt x="624" y="128"/>
                </a:cubicBezTo>
                <a:cubicBezTo>
                  <a:pt x="623" y="129"/>
                  <a:pt x="623" y="129"/>
                  <a:pt x="623" y="129"/>
                </a:cubicBezTo>
                <a:cubicBezTo>
                  <a:pt x="622" y="128"/>
                  <a:pt x="622" y="128"/>
                  <a:pt x="622" y="128"/>
                </a:cubicBezTo>
                <a:cubicBezTo>
                  <a:pt x="622" y="127"/>
                  <a:pt x="622" y="127"/>
                  <a:pt x="622" y="127"/>
                </a:cubicBezTo>
                <a:cubicBezTo>
                  <a:pt x="623" y="126"/>
                  <a:pt x="623" y="126"/>
                  <a:pt x="623" y="126"/>
                </a:cubicBezTo>
                <a:cubicBezTo>
                  <a:pt x="623" y="124"/>
                  <a:pt x="623" y="124"/>
                  <a:pt x="623" y="124"/>
                </a:cubicBezTo>
                <a:cubicBezTo>
                  <a:pt x="621" y="124"/>
                  <a:pt x="621" y="124"/>
                  <a:pt x="621" y="124"/>
                </a:cubicBezTo>
                <a:cubicBezTo>
                  <a:pt x="619" y="129"/>
                  <a:pt x="619" y="129"/>
                  <a:pt x="619" y="129"/>
                </a:cubicBezTo>
                <a:cubicBezTo>
                  <a:pt x="619" y="133"/>
                  <a:pt x="619" y="133"/>
                  <a:pt x="619" y="133"/>
                </a:cubicBezTo>
                <a:cubicBezTo>
                  <a:pt x="620" y="138"/>
                  <a:pt x="620" y="138"/>
                  <a:pt x="620" y="138"/>
                </a:cubicBezTo>
                <a:cubicBezTo>
                  <a:pt x="620" y="144"/>
                  <a:pt x="620" y="144"/>
                  <a:pt x="620" y="144"/>
                </a:cubicBezTo>
                <a:cubicBezTo>
                  <a:pt x="619" y="138"/>
                  <a:pt x="619" y="138"/>
                  <a:pt x="619" y="138"/>
                </a:cubicBezTo>
                <a:cubicBezTo>
                  <a:pt x="618" y="135"/>
                  <a:pt x="618" y="135"/>
                  <a:pt x="618" y="135"/>
                </a:cubicBezTo>
                <a:cubicBezTo>
                  <a:pt x="617" y="134"/>
                  <a:pt x="617" y="134"/>
                  <a:pt x="617" y="134"/>
                </a:cubicBezTo>
                <a:cubicBezTo>
                  <a:pt x="618" y="132"/>
                  <a:pt x="618" y="132"/>
                  <a:pt x="618" y="132"/>
                </a:cubicBezTo>
                <a:cubicBezTo>
                  <a:pt x="618" y="131"/>
                  <a:pt x="618" y="131"/>
                  <a:pt x="618" y="131"/>
                </a:cubicBezTo>
                <a:cubicBezTo>
                  <a:pt x="616" y="130"/>
                  <a:pt x="616" y="130"/>
                  <a:pt x="616" y="130"/>
                </a:cubicBezTo>
                <a:cubicBezTo>
                  <a:pt x="617" y="127"/>
                  <a:pt x="617" y="127"/>
                  <a:pt x="617" y="127"/>
                </a:cubicBezTo>
                <a:cubicBezTo>
                  <a:pt x="617" y="124"/>
                  <a:pt x="617" y="124"/>
                  <a:pt x="617" y="124"/>
                </a:cubicBezTo>
                <a:cubicBezTo>
                  <a:pt x="615" y="121"/>
                  <a:pt x="615" y="121"/>
                  <a:pt x="615" y="121"/>
                </a:cubicBezTo>
                <a:cubicBezTo>
                  <a:pt x="615" y="118"/>
                  <a:pt x="615" y="118"/>
                  <a:pt x="615" y="118"/>
                </a:cubicBezTo>
                <a:cubicBezTo>
                  <a:pt x="617" y="116"/>
                  <a:pt x="617" y="116"/>
                  <a:pt x="617" y="116"/>
                </a:cubicBezTo>
                <a:cubicBezTo>
                  <a:pt x="618" y="112"/>
                  <a:pt x="618" y="112"/>
                  <a:pt x="618" y="112"/>
                </a:cubicBezTo>
                <a:cubicBezTo>
                  <a:pt x="618" y="110"/>
                  <a:pt x="618" y="110"/>
                  <a:pt x="618" y="110"/>
                </a:cubicBezTo>
                <a:cubicBezTo>
                  <a:pt x="618" y="110"/>
                  <a:pt x="618" y="110"/>
                  <a:pt x="618" y="110"/>
                </a:cubicBezTo>
                <a:cubicBezTo>
                  <a:pt x="617" y="111"/>
                  <a:pt x="617" y="111"/>
                  <a:pt x="617" y="111"/>
                </a:cubicBezTo>
                <a:cubicBezTo>
                  <a:pt x="617" y="113"/>
                  <a:pt x="617" y="113"/>
                  <a:pt x="617" y="113"/>
                </a:cubicBezTo>
                <a:cubicBezTo>
                  <a:pt x="615" y="115"/>
                  <a:pt x="615" y="115"/>
                  <a:pt x="615" y="115"/>
                </a:cubicBezTo>
                <a:cubicBezTo>
                  <a:pt x="615" y="114"/>
                  <a:pt x="615" y="114"/>
                  <a:pt x="615" y="114"/>
                </a:cubicBezTo>
                <a:cubicBezTo>
                  <a:pt x="614" y="112"/>
                  <a:pt x="614" y="112"/>
                  <a:pt x="614" y="112"/>
                </a:cubicBezTo>
                <a:cubicBezTo>
                  <a:pt x="616" y="109"/>
                  <a:pt x="616" y="109"/>
                  <a:pt x="616" y="109"/>
                </a:cubicBezTo>
                <a:cubicBezTo>
                  <a:pt x="616" y="107"/>
                  <a:pt x="616" y="107"/>
                  <a:pt x="616" y="107"/>
                </a:cubicBezTo>
                <a:cubicBezTo>
                  <a:pt x="615" y="106"/>
                  <a:pt x="615" y="106"/>
                  <a:pt x="615" y="106"/>
                </a:cubicBezTo>
                <a:cubicBezTo>
                  <a:pt x="614" y="107"/>
                  <a:pt x="614" y="107"/>
                  <a:pt x="614" y="107"/>
                </a:cubicBezTo>
                <a:cubicBezTo>
                  <a:pt x="613" y="107"/>
                  <a:pt x="613" y="107"/>
                  <a:pt x="613" y="107"/>
                </a:cubicBezTo>
                <a:cubicBezTo>
                  <a:pt x="612" y="106"/>
                  <a:pt x="612" y="106"/>
                  <a:pt x="612" y="106"/>
                </a:cubicBezTo>
                <a:cubicBezTo>
                  <a:pt x="613" y="104"/>
                  <a:pt x="613" y="104"/>
                  <a:pt x="613" y="104"/>
                </a:cubicBezTo>
                <a:cubicBezTo>
                  <a:pt x="613" y="102"/>
                  <a:pt x="613" y="102"/>
                  <a:pt x="613" y="102"/>
                </a:cubicBezTo>
                <a:cubicBezTo>
                  <a:pt x="612" y="102"/>
                  <a:pt x="612" y="102"/>
                  <a:pt x="612" y="102"/>
                </a:cubicBezTo>
                <a:cubicBezTo>
                  <a:pt x="612" y="101"/>
                  <a:pt x="612" y="101"/>
                  <a:pt x="612" y="101"/>
                </a:cubicBezTo>
                <a:cubicBezTo>
                  <a:pt x="612" y="100"/>
                  <a:pt x="612" y="100"/>
                  <a:pt x="612" y="100"/>
                </a:cubicBezTo>
                <a:cubicBezTo>
                  <a:pt x="612" y="99"/>
                  <a:pt x="612" y="99"/>
                  <a:pt x="612" y="99"/>
                </a:cubicBezTo>
                <a:cubicBezTo>
                  <a:pt x="610" y="99"/>
                  <a:pt x="610" y="99"/>
                  <a:pt x="610" y="99"/>
                </a:cubicBezTo>
                <a:cubicBezTo>
                  <a:pt x="605" y="101"/>
                  <a:pt x="605" y="101"/>
                  <a:pt x="605" y="101"/>
                </a:cubicBezTo>
                <a:cubicBezTo>
                  <a:pt x="602" y="103"/>
                  <a:pt x="602" y="103"/>
                  <a:pt x="602" y="103"/>
                </a:cubicBezTo>
                <a:cubicBezTo>
                  <a:pt x="601" y="102"/>
                  <a:pt x="601" y="102"/>
                  <a:pt x="601" y="102"/>
                </a:cubicBezTo>
                <a:cubicBezTo>
                  <a:pt x="601" y="101"/>
                  <a:pt x="601" y="101"/>
                  <a:pt x="601" y="101"/>
                </a:cubicBezTo>
                <a:cubicBezTo>
                  <a:pt x="600" y="101"/>
                  <a:pt x="600" y="101"/>
                  <a:pt x="600" y="101"/>
                </a:cubicBezTo>
                <a:cubicBezTo>
                  <a:pt x="598" y="103"/>
                  <a:pt x="598" y="103"/>
                  <a:pt x="598" y="103"/>
                </a:cubicBezTo>
                <a:cubicBezTo>
                  <a:pt x="597" y="103"/>
                  <a:pt x="597" y="103"/>
                  <a:pt x="597" y="103"/>
                </a:cubicBezTo>
                <a:cubicBezTo>
                  <a:pt x="596" y="102"/>
                  <a:pt x="596" y="102"/>
                  <a:pt x="596" y="102"/>
                </a:cubicBezTo>
                <a:cubicBezTo>
                  <a:pt x="593" y="104"/>
                  <a:pt x="593" y="104"/>
                  <a:pt x="593" y="104"/>
                </a:cubicBezTo>
                <a:cubicBezTo>
                  <a:pt x="593" y="102"/>
                  <a:pt x="593" y="102"/>
                  <a:pt x="593" y="102"/>
                </a:cubicBezTo>
                <a:cubicBezTo>
                  <a:pt x="592" y="101"/>
                  <a:pt x="592" y="101"/>
                  <a:pt x="592" y="101"/>
                </a:cubicBezTo>
                <a:cubicBezTo>
                  <a:pt x="591" y="102"/>
                  <a:pt x="591" y="102"/>
                  <a:pt x="591" y="102"/>
                </a:cubicBezTo>
                <a:cubicBezTo>
                  <a:pt x="591" y="103"/>
                  <a:pt x="591" y="103"/>
                  <a:pt x="591" y="103"/>
                </a:cubicBezTo>
                <a:cubicBezTo>
                  <a:pt x="588" y="103"/>
                  <a:pt x="588" y="103"/>
                  <a:pt x="588" y="103"/>
                </a:cubicBezTo>
                <a:cubicBezTo>
                  <a:pt x="584" y="101"/>
                  <a:pt x="584" y="101"/>
                  <a:pt x="584" y="101"/>
                </a:cubicBezTo>
                <a:cubicBezTo>
                  <a:pt x="580" y="100"/>
                  <a:pt x="580" y="100"/>
                  <a:pt x="580" y="100"/>
                </a:cubicBezTo>
                <a:cubicBezTo>
                  <a:pt x="577" y="99"/>
                  <a:pt x="577" y="99"/>
                  <a:pt x="577" y="99"/>
                </a:cubicBezTo>
                <a:cubicBezTo>
                  <a:pt x="575" y="99"/>
                  <a:pt x="575" y="99"/>
                  <a:pt x="575" y="99"/>
                </a:cubicBezTo>
                <a:cubicBezTo>
                  <a:pt x="574" y="97"/>
                  <a:pt x="574" y="97"/>
                  <a:pt x="574" y="97"/>
                </a:cubicBezTo>
                <a:cubicBezTo>
                  <a:pt x="572" y="95"/>
                  <a:pt x="572" y="95"/>
                  <a:pt x="572" y="95"/>
                </a:cubicBezTo>
                <a:cubicBezTo>
                  <a:pt x="571" y="96"/>
                  <a:pt x="571" y="96"/>
                  <a:pt x="571" y="96"/>
                </a:cubicBezTo>
                <a:cubicBezTo>
                  <a:pt x="569" y="94"/>
                  <a:pt x="569" y="94"/>
                  <a:pt x="569" y="94"/>
                </a:cubicBezTo>
                <a:cubicBezTo>
                  <a:pt x="569" y="92"/>
                  <a:pt x="569" y="92"/>
                  <a:pt x="569" y="92"/>
                </a:cubicBezTo>
                <a:cubicBezTo>
                  <a:pt x="567" y="91"/>
                  <a:pt x="567" y="91"/>
                  <a:pt x="567" y="91"/>
                </a:cubicBezTo>
                <a:cubicBezTo>
                  <a:pt x="566" y="90"/>
                  <a:pt x="566" y="90"/>
                  <a:pt x="566" y="90"/>
                </a:cubicBezTo>
                <a:cubicBezTo>
                  <a:pt x="568" y="89"/>
                  <a:pt x="568" y="89"/>
                  <a:pt x="568" y="89"/>
                </a:cubicBezTo>
                <a:cubicBezTo>
                  <a:pt x="570" y="90"/>
                  <a:pt x="570" y="90"/>
                  <a:pt x="570" y="90"/>
                </a:cubicBezTo>
                <a:cubicBezTo>
                  <a:pt x="570" y="88"/>
                  <a:pt x="570" y="88"/>
                  <a:pt x="570" y="88"/>
                </a:cubicBezTo>
                <a:cubicBezTo>
                  <a:pt x="572" y="86"/>
                  <a:pt x="572" y="86"/>
                  <a:pt x="572" y="86"/>
                </a:cubicBezTo>
                <a:cubicBezTo>
                  <a:pt x="571" y="85"/>
                  <a:pt x="571" y="85"/>
                  <a:pt x="571" y="85"/>
                </a:cubicBezTo>
                <a:cubicBezTo>
                  <a:pt x="573" y="85"/>
                  <a:pt x="573" y="85"/>
                  <a:pt x="573" y="85"/>
                </a:cubicBezTo>
                <a:cubicBezTo>
                  <a:pt x="575" y="86"/>
                  <a:pt x="575" y="86"/>
                  <a:pt x="575" y="86"/>
                </a:cubicBezTo>
                <a:cubicBezTo>
                  <a:pt x="576" y="85"/>
                  <a:pt x="576" y="85"/>
                  <a:pt x="576" y="85"/>
                </a:cubicBezTo>
                <a:cubicBezTo>
                  <a:pt x="576" y="85"/>
                  <a:pt x="576" y="85"/>
                  <a:pt x="576" y="85"/>
                </a:cubicBezTo>
                <a:cubicBezTo>
                  <a:pt x="579" y="85"/>
                  <a:pt x="579" y="85"/>
                  <a:pt x="579" y="85"/>
                </a:cubicBezTo>
                <a:cubicBezTo>
                  <a:pt x="583" y="86"/>
                  <a:pt x="583" y="86"/>
                  <a:pt x="583" y="86"/>
                </a:cubicBezTo>
                <a:cubicBezTo>
                  <a:pt x="585" y="84"/>
                  <a:pt x="585" y="84"/>
                  <a:pt x="585" y="84"/>
                </a:cubicBezTo>
                <a:cubicBezTo>
                  <a:pt x="585" y="82"/>
                  <a:pt x="585" y="82"/>
                  <a:pt x="585" y="82"/>
                </a:cubicBezTo>
                <a:cubicBezTo>
                  <a:pt x="586" y="80"/>
                  <a:pt x="586" y="80"/>
                  <a:pt x="586" y="80"/>
                </a:cubicBezTo>
                <a:cubicBezTo>
                  <a:pt x="585" y="78"/>
                  <a:pt x="585" y="78"/>
                  <a:pt x="585" y="78"/>
                </a:cubicBezTo>
                <a:cubicBezTo>
                  <a:pt x="585" y="75"/>
                  <a:pt x="585" y="75"/>
                  <a:pt x="585" y="75"/>
                </a:cubicBezTo>
                <a:cubicBezTo>
                  <a:pt x="584" y="74"/>
                  <a:pt x="584" y="74"/>
                  <a:pt x="584" y="74"/>
                </a:cubicBezTo>
                <a:cubicBezTo>
                  <a:pt x="583" y="71"/>
                  <a:pt x="583" y="71"/>
                  <a:pt x="583" y="71"/>
                </a:cubicBezTo>
                <a:cubicBezTo>
                  <a:pt x="582" y="70"/>
                  <a:pt x="582" y="70"/>
                  <a:pt x="582" y="70"/>
                </a:cubicBezTo>
                <a:cubicBezTo>
                  <a:pt x="581" y="69"/>
                  <a:pt x="581" y="69"/>
                  <a:pt x="581" y="69"/>
                </a:cubicBezTo>
                <a:cubicBezTo>
                  <a:pt x="578" y="66"/>
                  <a:pt x="578" y="66"/>
                  <a:pt x="578" y="66"/>
                </a:cubicBezTo>
                <a:cubicBezTo>
                  <a:pt x="578" y="67"/>
                  <a:pt x="578" y="67"/>
                  <a:pt x="578" y="67"/>
                </a:cubicBezTo>
                <a:cubicBezTo>
                  <a:pt x="577" y="68"/>
                  <a:pt x="577" y="68"/>
                  <a:pt x="577" y="68"/>
                </a:cubicBezTo>
                <a:cubicBezTo>
                  <a:pt x="576" y="68"/>
                  <a:pt x="576" y="68"/>
                  <a:pt x="576" y="68"/>
                </a:cubicBezTo>
                <a:cubicBezTo>
                  <a:pt x="575" y="67"/>
                  <a:pt x="575" y="67"/>
                  <a:pt x="575" y="67"/>
                </a:cubicBezTo>
                <a:cubicBezTo>
                  <a:pt x="573" y="65"/>
                  <a:pt x="573" y="65"/>
                  <a:pt x="573" y="65"/>
                </a:cubicBezTo>
                <a:cubicBezTo>
                  <a:pt x="573" y="66"/>
                  <a:pt x="573" y="66"/>
                  <a:pt x="573" y="66"/>
                </a:cubicBezTo>
                <a:cubicBezTo>
                  <a:pt x="574" y="68"/>
                  <a:pt x="574" y="68"/>
                  <a:pt x="574" y="68"/>
                </a:cubicBezTo>
                <a:cubicBezTo>
                  <a:pt x="574" y="69"/>
                  <a:pt x="574" y="69"/>
                  <a:pt x="574" y="69"/>
                </a:cubicBezTo>
                <a:cubicBezTo>
                  <a:pt x="575" y="70"/>
                  <a:pt x="575" y="70"/>
                  <a:pt x="575" y="70"/>
                </a:cubicBezTo>
                <a:cubicBezTo>
                  <a:pt x="574" y="72"/>
                  <a:pt x="574" y="72"/>
                  <a:pt x="574" y="72"/>
                </a:cubicBezTo>
                <a:cubicBezTo>
                  <a:pt x="573" y="70"/>
                  <a:pt x="573" y="70"/>
                  <a:pt x="573" y="70"/>
                </a:cubicBezTo>
                <a:cubicBezTo>
                  <a:pt x="573" y="68"/>
                  <a:pt x="573" y="68"/>
                  <a:pt x="573" y="68"/>
                </a:cubicBezTo>
                <a:cubicBezTo>
                  <a:pt x="571" y="68"/>
                  <a:pt x="571" y="68"/>
                  <a:pt x="571" y="68"/>
                </a:cubicBezTo>
                <a:cubicBezTo>
                  <a:pt x="568" y="66"/>
                  <a:pt x="568" y="66"/>
                  <a:pt x="568" y="66"/>
                </a:cubicBezTo>
                <a:cubicBezTo>
                  <a:pt x="567" y="65"/>
                  <a:pt x="567" y="65"/>
                  <a:pt x="567" y="65"/>
                </a:cubicBezTo>
                <a:cubicBezTo>
                  <a:pt x="566" y="66"/>
                  <a:pt x="566" y="66"/>
                  <a:pt x="566" y="66"/>
                </a:cubicBezTo>
                <a:cubicBezTo>
                  <a:pt x="565" y="65"/>
                  <a:pt x="565" y="65"/>
                  <a:pt x="565" y="65"/>
                </a:cubicBezTo>
                <a:cubicBezTo>
                  <a:pt x="564" y="63"/>
                  <a:pt x="564" y="63"/>
                  <a:pt x="564" y="63"/>
                </a:cubicBezTo>
                <a:cubicBezTo>
                  <a:pt x="562" y="62"/>
                  <a:pt x="562" y="62"/>
                  <a:pt x="562" y="62"/>
                </a:cubicBezTo>
                <a:cubicBezTo>
                  <a:pt x="561" y="62"/>
                  <a:pt x="561" y="62"/>
                  <a:pt x="561" y="62"/>
                </a:cubicBezTo>
                <a:cubicBezTo>
                  <a:pt x="558" y="59"/>
                  <a:pt x="558" y="59"/>
                  <a:pt x="558" y="59"/>
                </a:cubicBezTo>
                <a:cubicBezTo>
                  <a:pt x="556" y="57"/>
                  <a:pt x="556" y="57"/>
                  <a:pt x="556" y="57"/>
                </a:cubicBezTo>
                <a:cubicBezTo>
                  <a:pt x="555" y="55"/>
                  <a:pt x="555" y="55"/>
                  <a:pt x="555" y="55"/>
                </a:cubicBezTo>
                <a:cubicBezTo>
                  <a:pt x="547" y="50"/>
                  <a:pt x="547" y="50"/>
                  <a:pt x="547" y="50"/>
                </a:cubicBezTo>
                <a:cubicBezTo>
                  <a:pt x="544" y="47"/>
                  <a:pt x="544" y="47"/>
                  <a:pt x="544" y="47"/>
                </a:cubicBezTo>
                <a:cubicBezTo>
                  <a:pt x="544" y="44"/>
                  <a:pt x="544" y="44"/>
                  <a:pt x="544" y="44"/>
                </a:cubicBezTo>
                <a:cubicBezTo>
                  <a:pt x="543" y="39"/>
                  <a:pt x="543" y="39"/>
                  <a:pt x="543" y="39"/>
                </a:cubicBezTo>
                <a:cubicBezTo>
                  <a:pt x="543" y="38"/>
                  <a:pt x="543" y="38"/>
                  <a:pt x="543" y="38"/>
                </a:cubicBezTo>
                <a:cubicBezTo>
                  <a:pt x="541" y="38"/>
                  <a:pt x="541" y="38"/>
                  <a:pt x="541" y="38"/>
                </a:cubicBezTo>
                <a:cubicBezTo>
                  <a:pt x="538" y="36"/>
                  <a:pt x="538" y="36"/>
                  <a:pt x="538" y="36"/>
                </a:cubicBezTo>
                <a:cubicBezTo>
                  <a:pt x="537" y="35"/>
                  <a:pt x="537" y="35"/>
                  <a:pt x="537" y="35"/>
                </a:cubicBezTo>
                <a:cubicBezTo>
                  <a:pt x="535" y="34"/>
                  <a:pt x="535" y="34"/>
                  <a:pt x="535" y="34"/>
                </a:cubicBezTo>
                <a:cubicBezTo>
                  <a:pt x="533" y="34"/>
                  <a:pt x="533" y="34"/>
                  <a:pt x="533" y="34"/>
                </a:cubicBezTo>
                <a:cubicBezTo>
                  <a:pt x="532" y="33"/>
                  <a:pt x="532" y="33"/>
                  <a:pt x="532" y="33"/>
                </a:cubicBezTo>
                <a:cubicBezTo>
                  <a:pt x="530" y="33"/>
                  <a:pt x="530" y="33"/>
                  <a:pt x="530" y="33"/>
                </a:cubicBezTo>
                <a:cubicBezTo>
                  <a:pt x="527" y="36"/>
                  <a:pt x="527" y="36"/>
                  <a:pt x="527" y="36"/>
                </a:cubicBezTo>
                <a:cubicBezTo>
                  <a:pt x="525" y="39"/>
                  <a:pt x="525" y="39"/>
                  <a:pt x="525" y="39"/>
                </a:cubicBezTo>
                <a:cubicBezTo>
                  <a:pt x="523" y="40"/>
                  <a:pt x="523" y="40"/>
                  <a:pt x="523" y="40"/>
                </a:cubicBezTo>
                <a:cubicBezTo>
                  <a:pt x="521" y="41"/>
                  <a:pt x="521" y="41"/>
                  <a:pt x="521" y="41"/>
                </a:cubicBezTo>
                <a:cubicBezTo>
                  <a:pt x="519" y="42"/>
                  <a:pt x="519" y="42"/>
                  <a:pt x="519" y="42"/>
                </a:cubicBezTo>
                <a:cubicBezTo>
                  <a:pt x="518" y="40"/>
                  <a:pt x="518" y="40"/>
                  <a:pt x="518" y="40"/>
                </a:cubicBezTo>
                <a:cubicBezTo>
                  <a:pt x="515" y="40"/>
                  <a:pt x="515" y="40"/>
                  <a:pt x="515" y="40"/>
                </a:cubicBezTo>
                <a:cubicBezTo>
                  <a:pt x="514" y="39"/>
                  <a:pt x="514" y="39"/>
                  <a:pt x="514" y="39"/>
                </a:cubicBezTo>
                <a:cubicBezTo>
                  <a:pt x="515" y="37"/>
                  <a:pt x="515" y="37"/>
                  <a:pt x="515" y="37"/>
                </a:cubicBezTo>
                <a:cubicBezTo>
                  <a:pt x="516" y="36"/>
                  <a:pt x="516" y="36"/>
                  <a:pt x="516" y="36"/>
                </a:cubicBezTo>
                <a:cubicBezTo>
                  <a:pt x="517" y="36"/>
                  <a:pt x="517" y="36"/>
                  <a:pt x="517" y="36"/>
                </a:cubicBezTo>
                <a:cubicBezTo>
                  <a:pt x="519" y="34"/>
                  <a:pt x="519" y="34"/>
                  <a:pt x="519" y="34"/>
                </a:cubicBezTo>
                <a:cubicBezTo>
                  <a:pt x="520" y="34"/>
                  <a:pt x="520" y="34"/>
                  <a:pt x="520" y="34"/>
                </a:cubicBezTo>
                <a:cubicBezTo>
                  <a:pt x="521" y="33"/>
                  <a:pt x="521" y="33"/>
                  <a:pt x="521" y="33"/>
                </a:cubicBezTo>
                <a:cubicBezTo>
                  <a:pt x="520" y="32"/>
                  <a:pt x="520" y="32"/>
                  <a:pt x="520" y="32"/>
                </a:cubicBezTo>
                <a:cubicBezTo>
                  <a:pt x="519" y="32"/>
                  <a:pt x="519" y="32"/>
                  <a:pt x="519" y="32"/>
                </a:cubicBezTo>
                <a:cubicBezTo>
                  <a:pt x="518" y="31"/>
                  <a:pt x="518" y="31"/>
                  <a:pt x="518" y="31"/>
                </a:cubicBezTo>
                <a:cubicBezTo>
                  <a:pt x="518" y="30"/>
                  <a:pt x="518" y="30"/>
                  <a:pt x="518" y="30"/>
                </a:cubicBezTo>
                <a:cubicBezTo>
                  <a:pt x="520" y="28"/>
                  <a:pt x="520" y="28"/>
                  <a:pt x="520" y="28"/>
                </a:cubicBezTo>
                <a:cubicBezTo>
                  <a:pt x="520" y="27"/>
                  <a:pt x="520" y="27"/>
                  <a:pt x="520" y="27"/>
                </a:cubicBezTo>
                <a:cubicBezTo>
                  <a:pt x="522" y="26"/>
                  <a:pt x="522" y="26"/>
                  <a:pt x="522" y="26"/>
                </a:cubicBezTo>
                <a:cubicBezTo>
                  <a:pt x="522" y="24"/>
                  <a:pt x="522" y="24"/>
                  <a:pt x="522" y="24"/>
                </a:cubicBezTo>
                <a:cubicBezTo>
                  <a:pt x="522" y="22"/>
                  <a:pt x="522" y="22"/>
                  <a:pt x="522" y="22"/>
                </a:cubicBezTo>
                <a:cubicBezTo>
                  <a:pt x="519" y="22"/>
                  <a:pt x="519" y="22"/>
                  <a:pt x="519" y="22"/>
                </a:cubicBezTo>
                <a:cubicBezTo>
                  <a:pt x="519" y="24"/>
                  <a:pt x="519" y="24"/>
                  <a:pt x="519" y="24"/>
                </a:cubicBezTo>
                <a:cubicBezTo>
                  <a:pt x="516" y="26"/>
                  <a:pt x="516" y="26"/>
                  <a:pt x="516" y="26"/>
                </a:cubicBezTo>
                <a:cubicBezTo>
                  <a:pt x="514" y="26"/>
                  <a:pt x="514" y="26"/>
                  <a:pt x="514" y="26"/>
                </a:cubicBezTo>
                <a:cubicBezTo>
                  <a:pt x="516" y="30"/>
                  <a:pt x="516" y="30"/>
                  <a:pt x="516" y="30"/>
                </a:cubicBezTo>
                <a:cubicBezTo>
                  <a:pt x="514" y="31"/>
                  <a:pt x="514" y="31"/>
                  <a:pt x="514" y="31"/>
                </a:cubicBezTo>
                <a:cubicBezTo>
                  <a:pt x="514" y="30"/>
                  <a:pt x="514" y="30"/>
                  <a:pt x="514" y="30"/>
                </a:cubicBezTo>
                <a:cubicBezTo>
                  <a:pt x="511" y="29"/>
                  <a:pt x="511" y="29"/>
                  <a:pt x="511" y="29"/>
                </a:cubicBezTo>
                <a:cubicBezTo>
                  <a:pt x="509" y="31"/>
                  <a:pt x="509" y="31"/>
                  <a:pt x="509" y="31"/>
                </a:cubicBezTo>
                <a:cubicBezTo>
                  <a:pt x="510" y="32"/>
                  <a:pt x="510" y="32"/>
                  <a:pt x="510" y="32"/>
                </a:cubicBezTo>
                <a:cubicBezTo>
                  <a:pt x="510" y="34"/>
                  <a:pt x="510" y="34"/>
                  <a:pt x="510" y="34"/>
                </a:cubicBezTo>
                <a:cubicBezTo>
                  <a:pt x="508" y="33"/>
                  <a:pt x="508" y="33"/>
                  <a:pt x="508" y="33"/>
                </a:cubicBezTo>
                <a:cubicBezTo>
                  <a:pt x="506" y="34"/>
                  <a:pt x="506" y="34"/>
                  <a:pt x="506" y="34"/>
                </a:cubicBezTo>
                <a:cubicBezTo>
                  <a:pt x="506" y="36"/>
                  <a:pt x="506" y="36"/>
                  <a:pt x="506" y="36"/>
                </a:cubicBezTo>
                <a:cubicBezTo>
                  <a:pt x="508" y="36"/>
                  <a:pt x="508" y="36"/>
                  <a:pt x="508" y="36"/>
                </a:cubicBezTo>
                <a:cubicBezTo>
                  <a:pt x="509" y="37"/>
                  <a:pt x="509" y="37"/>
                  <a:pt x="509" y="37"/>
                </a:cubicBezTo>
                <a:cubicBezTo>
                  <a:pt x="506" y="39"/>
                  <a:pt x="506" y="39"/>
                  <a:pt x="506" y="39"/>
                </a:cubicBezTo>
                <a:cubicBezTo>
                  <a:pt x="505" y="36"/>
                  <a:pt x="505" y="36"/>
                  <a:pt x="505" y="36"/>
                </a:cubicBezTo>
                <a:cubicBezTo>
                  <a:pt x="503" y="35"/>
                  <a:pt x="503" y="35"/>
                  <a:pt x="503" y="35"/>
                </a:cubicBezTo>
                <a:cubicBezTo>
                  <a:pt x="502" y="33"/>
                  <a:pt x="502" y="33"/>
                  <a:pt x="502" y="33"/>
                </a:cubicBezTo>
                <a:cubicBezTo>
                  <a:pt x="502" y="24"/>
                  <a:pt x="502" y="24"/>
                  <a:pt x="502" y="24"/>
                </a:cubicBezTo>
                <a:cubicBezTo>
                  <a:pt x="504" y="20"/>
                  <a:pt x="504" y="20"/>
                  <a:pt x="504" y="20"/>
                </a:cubicBezTo>
                <a:cubicBezTo>
                  <a:pt x="503" y="14"/>
                  <a:pt x="503" y="14"/>
                  <a:pt x="503" y="14"/>
                </a:cubicBezTo>
                <a:cubicBezTo>
                  <a:pt x="505" y="12"/>
                  <a:pt x="505" y="12"/>
                  <a:pt x="505" y="12"/>
                </a:cubicBezTo>
                <a:cubicBezTo>
                  <a:pt x="504" y="4"/>
                  <a:pt x="504" y="4"/>
                  <a:pt x="504" y="4"/>
                </a:cubicBezTo>
                <a:cubicBezTo>
                  <a:pt x="504" y="1"/>
                  <a:pt x="504" y="1"/>
                  <a:pt x="504" y="1"/>
                </a:cubicBezTo>
                <a:cubicBezTo>
                  <a:pt x="501" y="2"/>
                  <a:pt x="501" y="2"/>
                  <a:pt x="501" y="2"/>
                </a:cubicBezTo>
                <a:cubicBezTo>
                  <a:pt x="499" y="5"/>
                  <a:pt x="499" y="5"/>
                  <a:pt x="499" y="5"/>
                </a:cubicBezTo>
                <a:cubicBezTo>
                  <a:pt x="501" y="6"/>
                  <a:pt x="501" y="6"/>
                  <a:pt x="501" y="6"/>
                </a:cubicBezTo>
                <a:cubicBezTo>
                  <a:pt x="499" y="7"/>
                  <a:pt x="499" y="7"/>
                  <a:pt x="499" y="7"/>
                </a:cubicBezTo>
                <a:cubicBezTo>
                  <a:pt x="500" y="10"/>
                  <a:pt x="500" y="10"/>
                  <a:pt x="500" y="10"/>
                </a:cubicBezTo>
                <a:cubicBezTo>
                  <a:pt x="500" y="13"/>
                  <a:pt x="500" y="13"/>
                  <a:pt x="500" y="13"/>
                </a:cubicBezTo>
                <a:cubicBezTo>
                  <a:pt x="498" y="12"/>
                  <a:pt x="498" y="12"/>
                  <a:pt x="498" y="12"/>
                </a:cubicBezTo>
                <a:cubicBezTo>
                  <a:pt x="497" y="11"/>
                  <a:pt x="497" y="11"/>
                  <a:pt x="497" y="11"/>
                </a:cubicBezTo>
                <a:cubicBezTo>
                  <a:pt x="496" y="12"/>
                  <a:pt x="496" y="12"/>
                  <a:pt x="496" y="12"/>
                </a:cubicBezTo>
                <a:cubicBezTo>
                  <a:pt x="496" y="14"/>
                  <a:pt x="496" y="14"/>
                  <a:pt x="496" y="14"/>
                </a:cubicBezTo>
                <a:cubicBezTo>
                  <a:pt x="495" y="13"/>
                  <a:pt x="495" y="13"/>
                  <a:pt x="495" y="13"/>
                </a:cubicBezTo>
                <a:cubicBezTo>
                  <a:pt x="493" y="14"/>
                  <a:pt x="493" y="14"/>
                  <a:pt x="493" y="14"/>
                </a:cubicBezTo>
                <a:cubicBezTo>
                  <a:pt x="493" y="16"/>
                  <a:pt x="493" y="16"/>
                  <a:pt x="493" y="16"/>
                </a:cubicBezTo>
                <a:cubicBezTo>
                  <a:pt x="492" y="16"/>
                  <a:pt x="492" y="16"/>
                  <a:pt x="492" y="16"/>
                </a:cubicBezTo>
                <a:cubicBezTo>
                  <a:pt x="487" y="18"/>
                  <a:pt x="487" y="18"/>
                  <a:pt x="487" y="18"/>
                </a:cubicBezTo>
                <a:cubicBezTo>
                  <a:pt x="485" y="21"/>
                  <a:pt x="485" y="21"/>
                  <a:pt x="485" y="21"/>
                </a:cubicBezTo>
                <a:cubicBezTo>
                  <a:pt x="483" y="19"/>
                  <a:pt x="483" y="19"/>
                  <a:pt x="483" y="19"/>
                </a:cubicBezTo>
                <a:cubicBezTo>
                  <a:pt x="483" y="18"/>
                  <a:pt x="483" y="18"/>
                  <a:pt x="483" y="18"/>
                </a:cubicBezTo>
                <a:cubicBezTo>
                  <a:pt x="486" y="17"/>
                  <a:pt x="486" y="17"/>
                  <a:pt x="486" y="17"/>
                </a:cubicBezTo>
                <a:cubicBezTo>
                  <a:pt x="486" y="15"/>
                  <a:pt x="486" y="15"/>
                  <a:pt x="486" y="15"/>
                </a:cubicBezTo>
                <a:cubicBezTo>
                  <a:pt x="485" y="15"/>
                  <a:pt x="485" y="15"/>
                  <a:pt x="485" y="15"/>
                </a:cubicBezTo>
                <a:cubicBezTo>
                  <a:pt x="483" y="16"/>
                  <a:pt x="483" y="16"/>
                  <a:pt x="483" y="16"/>
                </a:cubicBezTo>
                <a:cubicBezTo>
                  <a:pt x="479" y="16"/>
                  <a:pt x="479" y="16"/>
                  <a:pt x="479" y="16"/>
                </a:cubicBezTo>
                <a:cubicBezTo>
                  <a:pt x="477" y="18"/>
                  <a:pt x="477" y="18"/>
                  <a:pt x="477" y="18"/>
                </a:cubicBezTo>
                <a:cubicBezTo>
                  <a:pt x="474" y="18"/>
                  <a:pt x="474" y="18"/>
                  <a:pt x="474" y="18"/>
                </a:cubicBezTo>
                <a:cubicBezTo>
                  <a:pt x="468" y="22"/>
                  <a:pt x="468" y="22"/>
                  <a:pt x="468" y="22"/>
                </a:cubicBezTo>
                <a:cubicBezTo>
                  <a:pt x="465" y="23"/>
                  <a:pt x="465" y="23"/>
                  <a:pt x="465" y="23"/>
                </a:cubicBezTo>
                <a:cubicBezTo>
                  <a:pt x="463" y="26"/>
                  <a:pt x="463" y="26"/>
                  <a:pt x="463" y="26"/>
                </a:cubicBezTo>
                <a:cubicBezTo>
                  <a:pt x="462" y="25"/>
                  <a:pt x="462" y="25"/>
                  <a:pt x="462" y="25"/>
                </a:cubicBezTo>
                <a:cubicBezTo>
                  <a:pt x="465" y="21"/>
                  <a:pt x="465" y="21"/>
                  <a:pt x="465" y="21"/>
                </a:cubicBezTo>
                <a:cubicBezTo>
                  <a:pt x="464" y="20"/>
                  <a:pt x="464" y="20"/>
                  <a:pt x="464" y="20"/>
                </a:cubicBezTo>
                <a:cubicBezTo>
                  <a:pt x="461" y="22"/>
                  <a:pt x="461" y="22"/>
                  <a:pt x="461" y="22"/>
                </a:cubicBezTo>
                <a:cubicBezTo>
                  <a:pt x="461" y="21"/>
                  <a:pt x="461" y="21"/>
                  <a:pt x="461" y="21"/>
                </a:cubicBezTo>
                <a:cubicBezTo>
                  <a:pt x="459" y="22"/>
                  <a:pt x="459" y="22"/>
                  <a:pt x="459" y="22"/>
                </a:cubicBezTo>
                <a:cubicBezTo>
                  <a:pt x="458" y="23"/>
                  <a:pt x="458" y="23"/>
                  <a:pt x="458" y="23"/>
                </a:cubicBezTo>
                <a:cubicBezTo>
                  <a:pt x="457" y="21"/>
                  <a:pt x="457" y="21"/>
                  <a:pt x="457" y="21"/>
                </a:cubicBezTo>
                <a:cubicBezTo>
                  <a:pt x="455" y="22"/>
                  <a:pt x="455" y="22"/>
                  <a:pt x="455" y="22"/>
                </a:cubicBezTo>
                <a:cubicBezTo>
                  <a:pt x="455" y="23"/>
                  <a:pt x="455" y="23"/>
                  <a:pt x="455" y="23"/>
                </a:cubicBezTo>
                <a:cubicBezTo>
                  <a:pt x="449" y="27"/>
                  <a:pt x="449" y="27"/>
                  <a:pt x="449" y="27"/>
                </a:cubicBezTo>
                <a:cubicBezTo>
                  <a:pt x="447" y="27"/>
                  <a:pt x="447" y="27"/>
                  <a:pt x="447" y="27"/>
                </a:cubicBezTo>
                <a:cubicBezTo>
                  <a:pt x="444" y="27"/>
                  <a:pt x="444" y="27"/>
                  <a:pt x="444" y="27"/>
                </a:cubicBezTo>
                <a:cubicBezTo>
                  <a:pt x="442" y="30"/>
                  <a:pt x="442" y="30"/>
                  <a:pt x="442" y="30"/>
                </a:cubicBezTo>
                <a:cubicBezTo>
                  <a:pt x="442" y="32"/>
                  <a:pt x="442" y="32"/>
                  <a:pt x="442" y="32"/>
                </a:cubicBezTo>
                <a:cubicBezTo>
                  <a:pt x="440" y="31"/>
                  <a:pt x="440" y="31"/>
                  <a:pt x="440" y="31"/>
                </a:cubicBezTo>
                <a:cubicBezTo>
                  <a:pt x="439" y="32"/>
                  <a:pt x="439" y="32"/>
                  <a:pt x="439" y="32"/>
                </a:cubicBezTo>
                <a:cubicBezTo>
                  <a:pt x="438" y="31"/>
                  <a:pt x="438" y="31"/>
                  <a:pt x="438" y="31"/>
                </a:cubicBezTo>
                <a:cubicBezTo>
                  <a:pt x="437" y="32"/>
                  <a:pt x="437" y="32"/>
                  <a:pt x="437" y="32"/>
                </a:cubicBezTo>
                <a:cubicBezTo>
                  <a:pt x="439" y="34"/>
                  <a:pt x="439" y="34"/>
                  <a:pt x="439" y="34"/>
                </a:cubicBezTo>
                <a:cubicBezTo>
                  <a:pt x="437" y="33"/>
                  <a:pt x="437" y="33"/>
                  <a:pt x="437" y="33"/>
                </a:cubicBezTo>
                <a:cubicBezTo>
                  <a:pt x="436" y="31"/>
                  <a:pt x="436" y="31"/>
                  <a:pt x="436" y="31"/>
                </a:cubicBezTo>
                <a:cubicBezTo>
                  <a:pt x="437" y="29"/>
                  <a:pt x="437" y="29"/>
                  <a:pt x="437" y="29"/>
                </a:cubicBezTo>
                <a:cubicBezTo>
                  <a:pt x="438" y="29"/>
                  <a:pt x="438" y="29"/>
                  <a:pt x="438" y="29"/>
                </a:cubicBezTo>
                <a:cubicBezTo>
                  <a:pt x="439" y="27"/>
                  <a:pt x="439" y="27"/>
                  <a:pt x="439" y="27"/>
                </a:cubicBezTo>
                <a:cubicBezTo>
                  <a:pt x="441" y="26"/>
                  <a:pt x="441" y="26"/>
                  <a:pt x="441" y="26"/>
                </a:cubicBezTo>
                <a:cubicBezTo>
                  <a:pt x="442" y="27"/>
                  <a:pt x="442" y="27"/>
                  <a:pt x="442" y="27"/>
                </a:cubicBezTo>
                <a:cubicBezTo>
                  <a:pt x="444" y="26"/>
                  <a:pt x="444" y="26"/>
                  <a:pt x="444" y="26"/>
                </a:cubicBezTo>
                <a:cubicBezTo>
                  <a:pt x="444" y="25"/>
                  <a:pt x="444" y="25"/>
                  <a:pt x="444" y="25"/>
                </a:cubicBezTo>
                <a:cubicBezTo>
                  <a:pt x="446" y="23"/>
                  <a:pt x="446" y="23"/>
                  <a:pt x="446" y="23"/>
                </a:cubicBezTo>
                <a:cubicBezTo>
                  <a:pt x="447" y="24"/>
                  <a:pt x="447" y="24"/>
                  <a:pt x="447" y="24"/>
                </a:cubicBezTo>
                <a:cubicBezTo>
                  <a:pt x="451" y="22"/>
                  <a:pt x="451" y="22"/>
                  <a:pt x="451" y="22"/>
                </a:cubicBezTo>
                <a:cubicBezTo>
                  <a:pt x="453" y="19"/>
                  <a:pt x="453" y="19"/>
                  <a:pt x="453" y="19"/>
                </a:cubicBezTo>
                <a:cubicBezTo>
                  <a:pt x="455" y="19"/>
                  <a:pt x="455" y="19"/>
                  <a:pt x="455" y="19"/>
                </a:cubicBezTo>
                <a:cubicBezTo>
                  <a:pt x="459" y="19"/>
                  <a:pt x="459" y="19"/>
                  <a:pt x="459" y="19"/>
                </a:cubicBezTo>
                <a:cubicBezTo>
                  <a:pt x="459" y="18"/>
                  <a:pt x="459" y="18"/>
                  <a:pt x="459" y="18"/>
                </a:cubicBezTo>
                <a:cubicBezTo>
                  <a:pt x="462" y="18"/>
                  <a:pt x="462" y="18"/>
                  <a:pt x="462" y="18"/>
                </a:cubicBezTo>
                <a:cubicBezTo>
                  <a:pt x="465" y="17"/>
                  <a:pt x="465" y="17"/>
                  <a:pt x="465" y="17"/>
                </a:cubicBezTo>
                <a:cubicBezTo>
                  <a:pt x="466" y="18"/>
                  <a:pt x="466" y="18"/>
                  <a:pt x="466" y="18"/>
                </a:cubicBezTo>
                <a:cubicBezTo>
                  <a:pt x="467" y="18"/>
                  <a:pt x="467" y="18"/>
                  <a:pt x="467" y="18"/>
                </a:cubicBezTo>
                <a:cubicBezTo>
                  <a:pt x="469" y="17"/>
                  <a:pt x="469" y="17"/>
                  <a:pt x="469" y="17"/>
                </a:cubicBezTo>
                <a:cubicBezTo>
                  <a:pt x="470" y="17"/>
                  <a:pt x="470" y="17"/>
                  <a:pt x="470" y="17"/>
                </a:cubicBezTo>
                <a:cubicBezTo>
                  <a:pt x="473" y="17"/>
                  <a:pt x="473" y="17"/>
                  <a:pt x="473" y="17"/>
                </a:cubicBezTo>
                <a:cubicBezTo>
                  <a:pt x="474" y="15"/>
                  <a:pt x="474" y="15"/>
                  <a:pt x="474" y="15"/>
                </a:cubicBezTo>
                <a:cubicBezTo>
                  <a:pt x="478" y="14"/>
                  <a:pt x="478" y="14"/>
                  <a:pt x="478" y="14"/>
                </a:cubicBezTo>
                <a:cubicBezTo>
                  <a:pt x="482" y="12"/>
                  <a:pt x="482" y="12"/>
                  <a:pt x="482" y="12"/>
                </a:cubicBezTo>
                <a:cubicBezTo>
                  <a:pt x="483" y="11"/>
                  <a:pt x="483" y="11"/>
                  <a:pt x="483" y="11"/>
                </a:cubicBezTo>
                <a:cubicBezTo>
                  <a:pt x="484" y="11"/>
                  <a:pt x="484" y="11"/>
                  <a:pt x="484" y="11"/>
                </a:cubicBezTo>
                <a:cubicBezTo>
                  <a:pt x="485" y="10"/>
                  <a:pt x="485" y="10"/>
                  <a:pt x="485" y="10"/>
                </a:cubicBezTo>
                <a:cubicBezTo>
                  <a:pt x="484" y="9"/>
                  <a:pt x="484" y="9"/>
                  <a:pt x="484" y="9"/>
                </a:cubicBezTo>
                <a:cubicBezTo>
                  <a:pt x="484" y="7"/>
                  <a:pt x="484" y="7"/>
                  <a:pt x="484" y="7"/>
                </a:cubicBezTo>
                <a:cubicBezTo>
                  <a:pt x="482" y="6"/>
                  <a:pt x="482" y="6"/>
                  <a:pt x="482" y="6"/>
                </a:cubicBezTo>
                <a:cubicBezTo>
                  <a:pt x="482" y="7"/>
                  <a:pt x="482" y="7"/>
                  <a:pt x="482" y="7"/>
                </a:cubicBezTo>
                <a:cubicBezTo>
                  <a:pt x="482" y="8"/>
                  <a:pt x="482" y="8"/>
                  <a:pt x="482" y="8"/>
                </a:cubicBezTo>
                <a:cubicBezTo>
                  <a:pt x="480" y="9"/>
                  <a:pt x="480" y="9"/>
                  <a:pt x="480" y="9"/>
                </a:cubicBezTo>
                <a:cubicBezTo>
                  <a:pt x="479" y="8"/>
                  <a:pt x="479" y="8"/>
                  <a:pt x="479" y="8"/>
                </a:cubicBezTo>
                <a:cubicBezTo>
                  <a:pt x="478" y="8"/>
                  <a:pt x="478" y="8"/>
                  <a:pt x="478" y="8"/>
                </a:cubicBezTo>
                <a:cubicBezTo>
                  <a:pt x="478" y="7"/>
                  <a:pt x="478" y="7"/>
                  <a:pt x="478" y="7"/>
                </a:cubicBezTo>
                <a:cubicBezTo>
                  <a:pt x="476" y="7"/>
                  <a:pt x="476" y="7"/>
                  <a:pt x="476" y="7"/>
                </a:cubicBezTo>
                <a:cubicBezTo>
                  <a:pt x="472" y="8"/>
                  <a:pt x="472" y="8"/>
                  <a:pt x="472" y="8"/>
                </a:cubicBezTo>
                <a:cubicBezTo>
                  <a:pt x="472" y="10"/>
                  <a:pt x="472" y="10"/>
                  <a:pt x="472" y="10"/>
                </a:cubicBezTo>
                <a:cubicBezTo>
                  <a:pt x="470" y="11"/>
                  <a:pt x="470" y="11"/>
                  <a:pt x="470" y="11"/>
                </a:cubicBezTo>
                <a:cubicBezTo>
                  <a:pt x="469" y="9"/>
                  <a:pt x="469" y="9"/>
                  <a:pt x="469" y="9"/>
                </a:cubicBezTo>
                <a:cubicBezTo>
                  <a:pt x="468" y="10"/>
                  <a:pt x="468" y="10"/>
                  <a:pt x="468" y="10"/>
                </a:cubicBezTo>
                <a:cubicBezTo>
                  <a:pt x="466" y="11"/>
                  <a:pt x="466" y="11"/>
                  <a:pt x="466" y="11"/>
                </a:cubicBezTo>
                <a:cubicBezTo>
                  <a:pt x="462" y="12"/>
                  <a:pt x="462" y="12"/>
                  <a:pt x="462" y="12"/>
                </a:cubicBezTo>
                <a:cubicBezTo>
                  <a:pt x="456" y="13"/>
                  <a:pt x="456" y="13"/>
                  <a:pt x="456" y="13"/>
                </a:cubicBezTo>
                <a:cubicBezTo>
                  <a:pt x="455" y="12"/>
                  <a:pt x="455" y="12"/>
                  <a:pt x="455" y="12"/>
                </a:cubicBezTo>
                <a:cubicBezTo>
                  <a:pt x="454" y="12"/>
                  <a:pt x="454" y="12"/>
                  <a:pt x="454" y="12"/>
                </a:cubicBezTo>
                <a:cubicBezTo>
                  <a:pt x="454" y="12"/>
                  <a:pt x="454" y="12"/>
                  <a:pt x="454" y="12"/>
                </a:cubicBezTo>
                <a:cubicBezTo>
                  <a:pt x="453" y="13"/>
                  <a:pt x="453" y="13"/>
                  <a:pt x="453" y="13"/>
                </a:cubicBezTo>
                <a:cubicBezTo>
                  <a:pt x="451" y="13"/>
                  <a:pt x="451" y="13"/>
                  <a:pt x="451" y="13"/>
                </a:cubicBezTo>
                <a:cubicBezTo>
                  <a:pt x="450" y="13"/>
                  <a:pt x="450" y="13"/>
                  <a:pt x="450" y="13"/>
                </a:cubicBezTo>
                <a:cubicBezTo>
                  <a:pt x="449" y="15"/>
                  <a:pt x="449" y="15"/>
                  <a:pt x="449" y="15"/>
                </a:cubicBezTo>
                <a:cubicBezTo>
                  <a:pt x="446" y="18"/>
                  <a:pt x="446" y="18"/>
                  <a:pt x="446" y="18"/>
                </a:cubicBezTo>
                <a:cubicBezTo>
                  <a:pt x="445" y="17"/>
                  <a:pt x="445" y="17"/>
                  <a:pt x="445" y="17"/>
                </a:cubicBezTo>
                <a:cubicBezTo>
                  <a:pt x="443" y="17"/>
                  <a:pt x="443" y="17"/>
                  <a:pt x="443" y="17"/>
                </a:cubicBezTo>
                <a:cubicBezTo>
                  <a:pt x="443" y="17"/>
                  <a:pt x="443" y="17"/>
                  <a:pt x="443" y="17"/>
                </a:cubicBezTo>
                <a:cubicBezTo>
                  <a:pt x="440" y="17"/>
                  <a:pt x="440" y="17"/>
                  <a:pt x="440" y="17"/>
                </a:cubicBezTo>
                <a:cubicBezTo>
                  <a:pt x="439" y="18"/>
                  <a:pt x="439" y="18"/>
                  <a:pt x="439" y="18"/>
                </a:cubicBezTo>
                <a:cubicBezTo>
                  <a:pt x="438" y="18"/>
                  <a:pt x="438" y="18"/>
                  <a:pt x="438" y="18"/>
                </a:cubicBezTo>
                <a:cubicBezTo>
                  <a:pt x="437" y="19"/>
                  <a:pt x="437" y="19"/>
                  <a:pt x="437" y="19"/>
                </a:cubicBezTo>
                <a:cubicBezTo>
                  <a:pt x="435" y="20"/>
                  <a:pt x="435" y="20"/>
                  <a:pt x="435" y="20"/>
                </a:cubicBezTo>
                <a:cubicBezTo>
                  <a:pt x="433" y="21"/>
                  <a:pt x="433" y="21"/>
                  <a:pt x="433" y="21"/>
                </a:cubicBezTo>
                <a:cubicBezTo>
                  <a:pt x="431" y="23"/>
                  <a:pt x="431" y="23"/>
                  <a:pt x="431" y="23"/>
                </a:cubicBezTo>
                <a:cubicBezTo>
                  <a:pt x="427" y="24"/>
                  <a:pt x="427" y="24"/>
                  <a:pt x="427" y="24"/>
                </a:cubicBezTo>
                <a:cubicBezTo>
                  <a:pt x="426" y="26"/>
                  <a:pt x="426" y="26"/>
                  <a:pt x="426" y="26"/>
                </a:cubicBezTo>
                <a:cubicBezTo>
                  <a:pt x="426" y="29"/>
                  <a:pt x="426" y="29"/>
                  <a:pt x="426" y="29"/>
                </a:cubicBezTo>
                <a:cubicBezTo>
                  <a:pt x="426" y="35"/>
                  <a:pt x="426" y="35"/>
                  <a:pt x="426" y="35"/>
                </a:cubicBezTo>
                <a:cubicBezTo>
                  <a:pt x="426" y="37"/>
                  <a:pt x="426" y="37"/>
                  <a:pt x="426" y="37"/>
                </a:cubicBezTo>
                <a:cubicBezTo>
                  <a:pt x="425" y="37"/>
                  <a:pt x="425" y="37"/>
                  <a:pt x="425" y="37"/>
                </a:cubicBezTo>
                <a:cubicBezTo>
                  <a:pt x="423" y="38"/>
                  <a:pt x="423" y="38"/>
                  <a:pt x="423" y="38"/>
                </a:cubicBezTo>
                <a:cubicBezTo>
                  <a:pt x="419" y="41"/>
                  <a:pt x="419" y="41"/>
                  <a:pt x="419" y="41"/>
                </a:cubicBezTo>
                <a:cubicBezTo>
                  <a:pt x="420" y="40"/>
                  <a:pt x="420" y="40"/>
                  <a:pt x="420" y="40"/>
                </a:cubicBezTo>
                <a:cubicBezTo>
                  <a:pt x="422" y="37"/>
                  <a:pt x="422" y="37"/>
                  <a:pt x="422" y="37"/>
                </a:cubicBezTo>
                <a:cubicBezTo>
                  <a:pt x="423" y="36"/>
                  <a:pt x="423" y="36"/>
                  <a:pt x="423" y="36"/>
                </a:cubicBezTo>
                <a:cubicBezTo>
                  <a:pt x="422" y="35"/>
                  <a:pt x="422" y="35"/>
                  <a:pt x="422" y="35"/>
                </a:cubicBezTo>
                <a:cubicBezTo>
                  <a:pt x="422" y="34"/>
                  <a:pt x="422" y="34"/>
                  <a:pt x="422" y="34"/>
                </a:cubicBezTo>
                <a:cubicBezTo>
                  <a:pt x="419" y="31"/>
                  <a:pt x="419" y="31"/>
                  <a:pt x="419" y="31"/>
                </a:cubicBezTo>
                <a:cubicBezTo>
                  <a:pt x="418" y="31"/>
                  <a:pt x="418" y="31"/>
                  <a:pt x="418" y="31"/>
                </a:cubicBezTo>
                <a:cubicBezTo>
                  <a:pt x="417" y="29"/>
                  <a:pt x="417" y="29"/>
                  <a:pt x="417" y="29"/>
                </a:cubicBezTo>
                <a:cubicBezTo>
                  <a:pt x="416" y="29"/>
                  <a:pt x="416" y="29"/>
                  <a:pt x="416" y="29"/>
                </a:cubicBezTo>
                <a:cubicBezTo>
                  <a:pt x="416" y="26"/>
                  <a:pt x="416" y="26"/>
                  <a:pt x="416" y="26"/>
                </a:cubicBezTo>
                <a:cubicBezTo>
                  <a:pt x="413" y="23"/>
                  <a:pt x="413" y="23"/>
                  <a:pt x="413" y="23"/>
                </a:cubicBezTo>
                <a:cubicBezTo>
                  <a:pt x="413" y="23"/>
                  <a:pt x="413" y="23"/>
                  <a:pt x="413" y="23"/>
                </a:cubicBezTo>
                <a:cubicBezTo>
                  <a:pt x="412" y="22"/>
                  <a:pt x="412" y="22"/>
                  <a:pt x="412" y="22"/>
                </a:cubicBezTo>
                <a:cubicBezTo>
                  <a:pt x="411" y="21"/>
                  <a:pt x="411" y="21"/>
                  <a:pt x="411" y="21"/>
                </a:cubicBezTo>
                <a:cubicBezTo>
                  <a:pt x="410" y="20"/>
                  <a:pt x="410" y="20"/>
                  <a:pt x="410" y="20"/>
                </a:cubicBezTo>
                <a:cubicBezTo>
                  <a:pt x="409" y="21"/>
                  <a:pt x="409" y="21"/>
                  <a:pt x="409" y="21"/>
                </a:cubicBezTo>
                <a:cubicBezTo>
                  <a:pt x="408" y="19"/>
                  <a:pt x="408" y="19"/>
                  <a:pt x="408" y="19"/>
                </a:cubicBezTo>
                <a:cubicBezTo>
                  <a:pt x="404" y="16"/>
                  <a:pt x="404" y="16"/>
                  <a:pt x="404" y="16"/>
                </a:cubicBezTo>
                <a:cubicBezTo>
                  <a:pt x="403" y="13"/>
                  <a:pt x="403" y="13"/>
                  <a:pt x="403" y="13"/>
                </a:cubicBezTo>
                <a:cubicBezTo>
                  <a:pt x="403" y="10"/>
                  <a:pt x="403" y="10"/>
                  <a:pt x="403" y="10"/>
                </a:cubicBezTo>
                <a:cubicBezTo>
                  <a:pt x="403" y="9"/>
                  <a:pt x="403" y="9"/>
                  <a:pt x="403" y="9"/>
                </a:cubicBezTo>
                <a:cubicBezTo>
                  <a:pt x="402" y="10"/>
                  <a:pt x="402" y="10"/>
                  <a:pt x="402" y="10"/>
                </a:cubicBezTo>
                <a:cubicBezTo>
                  <a:pt x="401" y="10"/>
                  <a:pt x="401" y="10"/>
                  <a:pt x="401" y="10"/>
                </a:cubicBezTo>
                <a:cubicBezTo>
                  <a:pt x="400" y="8"/>
                  <a:pt x="400" y="8"/>
                  <a:pt x="400" y="8"/>
                </a:cubicBezTo>
                <a:cubicBezTo>
                  <a:pt x="401" y="5"/>
                  <a:pt x="401" y="5"/>
                  <a:pt x="401" y="5"/>
                </a:cubicBezTo>
                <a:cubicBezTo>
                  <a:pt x="401" y="5"/>
                  <a:pt x="401" y="5"/>
                  <a:pt x="401" y="5"/>
                </a:cubicBezTo>
                <a:cubicBezTo>
                  <a:pt x="401" y="3"/>
                  <a:pt x="401" y="3"/>
                  <a:pt x="401" y="3"/>
                </a:cubicBezTo>
                <a:cubicBezTo>
                  <a:pt x="399" y="1"/>
                  <a:pt x="399" y="1"/>
                  <a:pt x="399" y="1"/>
                </a:cubicBezTo>
                <a:cubicBezTo>
                  <a:pt x="399" y="0"/>
                  <a:pt x="399" y="0"/>
                  <a:pt x="399" y="0"/>
                </a:cubicBezTo>
                <a:cubicBezTo>
                  <a:pt x="172" y="0"/>
                  <a:pt x="172" y="0"/>
                  <a:pt x="172" y="0"/>
                </a:cubicBezTo>
                <a:cubicBezTo>
                  <a:pt x="171" y="2"/>
                  <a:pt x="171" y="2"/>
                  <a:pt x="171" y="2"/>
                </a:cubicBezTo>
                <a:cubicBezTo>
                  <a:pt x="176" y="5"/>
                  <a:pt x="176" y="5"/>
                  <a:pt x="176" y="5"/>
                </a:cubicBezTo>
                <a:cubicBezTo>
                  <a:pt x="175" y="6"/>
                  <a:pt x="175" y="6"/>
                  <a:pt x="175" y="6"/>
                </a:cubicBezTo>
                <a:cubicBezTo>
                  <a:pt x="173" y="6"/>
                  <a:pt x="173" y="6"/>
                  <a:pt x="173" y="6"/>
                </a:cubicBezTo>
                <a:cubicBezTo>
                  <a:pt x="173" y="7"/>
                  <a:pt x="173" y="7"/>
                  <a:pt x="173" y="7"/>
                </a:cubicBezTo>
                <a:cubicBezTo>
                  <a:pt x="172" y="13"/>
                  <a:pt x="172" y="13"/>
                  <a:pt x="172" y="13"/>
                </a:cubicBezTo>
                <a:cubicBezTo>
                  <a:pt x="172" y="15"/>
                  <a:pt x="172" y="15"/>
                  <a:pt x="172" y="15"/>
                </a:cubicBezTo>
                <a:cubicBezTo>
                  <a:pt x="174" y="16"/>
                  <a:pt x="174" y="16"/>
                  <a:pt x="174" y="16"/>
                </a:cubicBezTo>
                <a:cubicBezTo>
                  <a:pt x="175" y="15"/>
                  <a:pt x="175" y="15"/>
                  <a:pt x="175" y="15"/>
                </a:cubicBezTo>
                <a:cubicBezTo>
                  <a:pt x="177" y="14"/>
                  <a:pt x="177" y="14"/>
                  <a:pt x="177" y="14"/>
                </a:cubicBezTo>
                <a:cubicBezTo>
                  <a:pt x="179" y="15"/>
                  <a:pt x="179" y="15"/>
                  <a:pt x="179" y="15"/>
                </a:cubicBezTo>
                <a:cubicBezTo>
                  <a:pt x="180" y="16"/>
                  <a:pt x="180" y="16"/>
                  <a:pt x="180" y="16"/>
                </a:cubicBezTo>
                <a:cubicBezTo>
                  <a:pt x="182" y="15"/>
                  <a:pt x="182" y="15"/>
                  <a:pt x="182" y="15"/>
                </a:cubicBezTo>
                <a:cubicBezTo>
                  <a:pt x="185" y="16"/>
                  <a:pt x="185" y="16"/>
                  <a:pt x="185" y="16"/>
                </a:cubicBezTo>
                <a:cubicBezTo>
                  <a:pt x="188" y="18"/>
                  <a:pt x="188" y="18"/>
                  <a:pt x="188" y="18"/>
                </a:cubicBezTo>
                <a:cubicBezTo>
                  <a:pt x="185" y="19"/>
                  <a:pt x="185" y="19"/>
                  <a:pt x="185" y="19"/>
                </a:cubicBezTo>
                <a:cubicBezTo>
                  <a:pt x="186" y="21"/>
                  <a:pt x="186" y="21"/>
                  <a:pt x="186" y="21"/>
                </a:cubicBezTo>
                <a:cubicBezTo>
                  <a:pt x="185" y="23"/>
                  <a:pt x="185" y="23"/>
                  <a:pt x="185" y="23"/>
                </a:cubicBezTo>
                <a:cubicBezTo>
                  <a:pt x="182" y="24"/>
                  <a:pt x="182" y="24"/>
                  <a:pt x="182" y="24"/>
                </a:cubicBezTo>
                <a:cubicBezTo>
                  <a:pt x="182" y="22"/>
                  <a:pt x="182" y="22"/>
                  <a:pt x="182" y="22"/>
                </a:cubicBezTo>
                <a:cubicBezTo>
                  <a:pt x="180" y="21"/>
                  <a:pt x="180" y="21"/>
                  <a:pt x="180" y="21"/>
                </a:cubicBezTo>
                <a:cubicBezTo>
                  <a:pt x="179" y="22"/>
                  <a:pt x="179" y="22"/>
                  <a:pt x="179" y="22"/>
                </a:cubicBezTo>
                <a:cubicBezTo>
                  <a:pt x="176" y="22"/>
                  <a:pt x="176" y="22"/>
                  <a:pt x="176" y="22"/>
                </a:cubicBezTo>
                <a:cubicBezTo>
                  <a:pt x="175" y="20"/>
                  <a:pt x="175" y="20"/>
                  <a:pt x="175" y="20"/>
                </a:cubicBezTo>
                <a:cubicBezTo>
                  <a:pt x="174" y="18"/>
                  <a:pt x="174" y="18"/>
                  <a:pt x="174" y="18"/>
                </a:cubicBezTo>
                <a:cubicBezTo>
                  <a:pt x="173" y="17"/>
                  <a:pt x="173" y="17"/>
                  <a:pt x="173" y="17"/>
                </a:cubicBezTo>
                <a:cubicBezTo>
                  <a:pt x="172" y="17"/>
                  <a:pt x="172" y="17"/>
                  <a:pt x="172" y="17"/>
                </a:cubicBezTo>
                <a:cubicBezTo>
                  <a:pt x="169" y="15"/>
                  <a:pt x="169" y="15"/>
                  <a:pt x="169" y="15"/>
                </a:cubicBezTo>
                <a:cubicBezTo>
                  <a:pt x="170" y="12"/>
                  <a:pt x="170" y="12"/>
                  <a:pt x="170" y="12"/>
                </a:cubicBezTo>
                <a:cubicBezTo>
                  <a:pt x="172" y="6"/>
                  <a:pt x="172" y="6"/>
                  <a:pt x="172" y="6"/>
                </a:cubicBezTo>
                <a:cubicBezTo>
                  <a:pt x="171" y="4"/>
                  <a:pt x="171" y="4"/>
                  <a:pt x="171" y="4"/>
                </a:cubicBezTo>
                <a:cubicBezTo>
                  <a:pt x="171" y="4"/>
                  <a:pt x="171" y="4"/>
                  <a:pt x="171" y="4"/>
                </a:cubicBezTo>
                <a:cubicBezTo>
                  <a:pt x="169" y="6"/>
                  <a:pt x="169" y="6"/>
                  <a:pt x="169" y="6"/>
                </a:cubicBezTo>
                <a:cubicBezTo>
                  <a:pt x="169" y="12"/>
                  <a:pt x="169" y="12"/>
                  <a:pt x="169" y="12"/>
                </a:cubicBezTo>
                <a:cubicBezTo>
                  <a:pt x="168" y="16"/>
                  <a:pt x="168" y="16"/>
                  <a:pt x="168" y="16"/>
                </a:cubicBezTo>
                <a:cubicBezTo>
                  <a:pt x="166" y="18"/>
                  <a:pt x="166" y="18"/>
                  <a:pt x="166" y="18"/>
                </a:cubicBezTo>
                <a:cubicBezTo>
                  <a:pt x="166" y="19"/>
                  <a:pt x="166" y="19"/>
                  <a:pt x="166" y="19"/>
                </a:cubicBezTo>
                <a:cubicBezTo>
                  <a:pt x="167" y="17"/>
                  <a:pt x="167" y="17"/>
                  <a:pt x="167" y="17"/>
                </a:cubicBezTo>
                <a:cubicBezTo>
                  <a:pt x="169" y="17"/>
                  <a:pt x="169" y="17"/>
                  <a:pt x="169" y="17"/>
                </a:cubicBezTo>
                <a:cubicBezTo>
                  <a:pt x="170" y="18"/>
                  <a:pt x="170" y="18"/>
                  <a:pt x="170" y="18"/>
                </a:cubicBezTo>
                <a:cubicBezTo>
                  <a:pt x="172" y="18"/>
                  <a:pt x="172" y="18"/>
                  <a:pt x="172" y="18"/>
                </a:cubicBezTo>
                <a:cubicBezTo>
                  <a:pt x="173" y="21"/>
                  <a:pt x="173" y="21"/>
                  <a:pt x="173" y="21"/>
                </a:cubicBezTo>
                <a:cubicBezTo>
                  <a:pt x="173" y="24"/>
                  <a:pt x="173" y="24"/>
                  <a:pt x="173" y="24"/>
                </a:cubicBezTo>
                <a:cubicBezTo>
                  <a:pt x="171" y="26"/>
                  <a:pt x="171" y="26"/>
                  <a:pt x="171" y="26"/>
                </a:cubicBezTo>
                <a:cubicBezTo>
                  <a:pt x="168" y="28"/>
                  <a:pt x="168" y="28"/>
                  <a:pt x="168" y="28"/>
                </a:cubicBezTo>
                <a:cubicBezTo>
                  <a:pt x="171" y="24"/>
                  <a:pt x="171" y="24"/>
                  <a:pt x="171" y="24"/>
                </a:cubicBezTo>
                <a:cubicBezTo>
                  <a:pt x="170" y="23"/>
                  <a:pt x="170" y="23"/>
                  <a:pt x="170" y="23"/>
                </a:cubicBezTo>
                <a:cubicBezTo>
                  <a:pt x="169" y="22"/>
                  <a:pt x="169" y="22"/>
                  <a:pt x="169" y="22"/>
                </a:cubicBezTo>
                <a:cubicBezTo>
                  <a:pt x="168" y="22"/>
                  <a:pt x="168" y="22"/>
                  <a:pt x="168" y="22"/>
                </a:cubicBezTo>
                <a:cubicBezTo>
                  <a:pt x="167" y="23"/>
                  <a:pt x="167" y="23"/>
                  <a:pt x="167" y="23"/>
                </a:cubicBezTo>
                <a:cubicBezTo>
                  <a:pt x="164" y="25"/>
                  <a:pt x="164" y="25"/>
                  <a:pt x="164" y="25"/>
                </a:cubicBezTo>
                <a:cubicBezTo>
                  <a:pt x="164" y="27"/>
                  <a:pt x="164" y="27"/>
                  <a:pt x="164" y="27"/>
                </a:cubicBezTo>
                <a:cubicBezTo>
                  <a:pt x="162" y="28"/>
                  <a:pt x="162" y="28"/>
                  <a:pt x="162" y="28"/>
                </a:cubicBezTo>
                <a:cubicBezTo>
                  <a:pt x="160" y="28"/>
                  <a:pt x="160" y="28"/>
                  <a:pt x="160" y="28"/>
                </a:cubicBezTo>
                <a:cubicBezTo>
                  <a:pt x="160" y="26"/>
                  <a:pt x="160" y="26"/>
                  <a:pt x="160" y="26"/>
                </a:cubicBezTo>
                <a:cubicBezTo>
                  <a:pt x="159" y="26"/>
                  <a:pt x="159" y="26"/>
                  <a:pt x="159" y="26"/>
                </a:cubicBezTo>
                <a:cubicBezTo>
                  <a:pt x="156" y="26"/>
                  <a:pt x="156" y="26"/>
                  <a:pt x="156" y="26"/>
                </a:cubicBezTo>
                <a:cubicBezTo>
                  <a:pt x="155" y="26"/>
                  <a:pt x="155" y="26"/>
                  <a:pt x="155" y="26"/>
                </a:cubicBezTo>
                <a:cubicBezTo>
                  <a:pt x="155" y="23"/>
                  <a:pt x="155" y="23"/>
                  <a:pt x="155" y="23"/>
                </a:cubicBezTo>
                <a:cubicBezTo>
                  <a:pt x="153" y="23"/>
                  <a:pt x="153" y="23"/>
                  <a:pt x="153" y="23"/>
                </a:cubicBezTo>
                <a:cubicBezTo>
                  <a:pt x="152" y="24"/>
                  <a:pt x="152" y="24"/>
                  <a:pt x="152" y="24"/>
                </a:cubicBezTo>
                <a:cubicBezTo>
                  <a:pt x="150" y="23"/>
                  <a:pt x="150" y="23"/>
                  <a:pt x="150" y="23"/>
                </a:cubicBezTo>
                <a:cubicBezTo>
                  <a:pt x="150" y="22"/>
                  <a:pt x="150" y="22"/>
                  <a:pt x="150" y="22"/>
                </a:cubicBezTo>
                <a:cubicBezTo>
                  <a:pt x="149" y="21"/>
                  <a:pt x="149" y="21"/>
                  <a:pt x="149" y="21"/>
                </a:cubicBezTo>
                <a:cubicBezTo>
                  <a:pt x="147" y="22"/>
                  <a:pt x="147" y="22"/>
                  <a:pt x="147" y="22"/>
                </a:cubicBezTo>
                <a:cubicBezTo>
                  <a:pt x="147" y="22"/>
                  <a:pt x="147" y="22"/>
                  <a:pt x="147" y="22"/>
                </a:cubicBezTo>
                <a:cubicBezTo>
                  <a:pt x="146" y="19"/>
                  <a:pt x="146" y="19"/>
                  <a:pt x="146" y="19"/>
                </a:cubicBezTo>
                <a:cubicBezTo>
                  <a:pt x="146" y="18"/>
                  <a:pt x="146" y="18"/>
                  <a:pt x="146" y="18"/>
                </a:cubicBezTo>
                <a:cubicBezTo>
                  <a:pt x="146" y="17"/>
                  <a:pt x="146" y="17"/>
                  <a:pt x="146" y="17"/>
                </a:cubicBezTo>
                <a:cubicBezTo>
                  <a:pt x="148" y="16"/>
                  <a:pt x="148" y="16"/>
                  <a:pt x="148" y="16"/>
                </a:cubicBezTo>
                <a:cubicBezTo>
                  <a:pt x="150" y="13"/>
                  <a:pt x="150" y="13"/>
                  <a:pt x="150" y="13"/>
                </a:cubicBezTo>
                <a:cubicBezTo>
                  <a:pt x="151" y="13"/>
                  <a:pt x="151" y="13"/>
                  <a:pt x="151" y="13"/>
                </a:cubicBezTo>
                <a:cubicBezTo>
                  <a:pt x="152" y="11"/>
                  <a:pt x="152" y="11"/>
                  <a:pt x="152" y="11"/>
                </a:cubicBezTo>
                <a:cubicBezTo>
                  <a:pt x="152" y="10"/>
                  <a:pt x="152" y="10"/>
                  <a:pt x="152" y="10"/>
                </a:cubicBezTo>
                <a:cubicBezTo>
                  <a:pt x="149" y="7"/>
                  <a:pt x="149" y="7"/>
                  <a:pt x="149" y="7"/>
                </a:cubicBezTo>
                <a:cubicBezTo>
                  <a:pt x="148" y="7"/>
                  <a:pt x="148" y="7"/>
                  <a:pt x="148" y="7"/>
                </a:cubicBezTo>
                <a:cubicBezTo>
                  <a:pt x="146" y="6"/>
                  <a:pt x="146" y="6"/>
                  <a:pt x="146" y="6"/>
                </a:cubicBezTo>
                <a:cubicBezTo>
                  <a:pt x="143" y="8"/>
                  <a:pt x="143" y="8"/>
                  <a:pt x="143" y="8"/>
                </a:cubicBezTo>
                <a:cubicBezTo>
                  <a:pt x="141" y="8"/>
                  <a:pt x="141" y="8"/>
                  <a:pt x="141" y="8"/>
                </a:cubicBezTo>
                <a:cubicBezTo>
                  <a:pt x="139" y="7"/>
                  <a:pt x="139" y="7"/>
                  <a:pt x="139" y="7"/>
                </a:cubicBezTo>
                <a:cubicBezTo>
                  <a:pt x="137" y="7"/>
                  <a:pt x="137" y="7"/>
                  <a:pt x="137" y="7"/>
                </a:cubicBezTo>
                <a:cubicBezTo>
                  <a:pt x="131" y="10"/>
                  <a:pt x="131" y="10"/>
                  <a:pt x="131" y="10"/>
                </a:cubicBezTo>
                <a:cubicBezTo>
                  <a:pt x="131" y="11"/>
                  <a:pt x="131" y="11"/>
                  <a:pt x="131" y="11"/>
                </a:cubicBezTo>
                <a:cubicBezTo>
                  <a:pt x="132" y="12"/>
                  <a:pt x="132" y="12"/>
                  <a:pt x="132" y="12"/>
                </a:cubicBezTo>
                <a:cubicBezTo>
                  <a:pt x="134" y="14"/>
                  <a:pt x="134" y="14"/>
                  <a:pt x="134" y="14"/>
                </a:cubicBezTo>
                <a:cubicBezTo>
                  <a:pt x="134" y="14"/>
                  <a:pt x="134" y="14"/>
                  <a:pt x="134" y="14"/>
                </a:cubicBezTo>
                <a:cubicBezTo>
                  <a:pt x="132" y="14"/>
                  <a:pt x="132" y="14"/>
                  <a:pt x="132" y="14"/>
                </a:cubicBezTo>
                <a:cubicBezTo>
                  <a:pt x="130" y="14"/>
                  <a:pt x="130" y="14"/>
                  <a:pt x="130" y="14"/>
                </a:cubicBezTo>
                <a:cubicBezTo>
                  <a:pt x="129" y="13"/>
                  <a:pt x="129" y="13"/>
                  <a:pt x="129" y="13"/>
                </a:cubicBezTo>
                <a:cubicBezTo>
                  <a:pt x="128" y="12"/>
                  <a:pt x="128" y="12"/>
                  <a:pt x="128" y="12"/>
                </a:cubicBezTo>
                <a:cubicBezTo>
                  <a:pt x="124" y="12"/>
                  <a:pt x="124" y="12"/>
                  <a:pt x="124" y="12"/>
                </a:cubicBezTo>
                <a:cubicBezTo>
                  <a:pt x="120" y="12"/>
                  <a:pt x="120" y="12"/>
                  <a:pt x="120" y="12"/>
                </a:cubicBezTo>
                <a:cubicBezTo>
                  <a:pt x="119" y="14"/>
                  <a:pt x="119" y="14"/>
                  <a:pt x="119" y="14"/>
                </a:cubicBezTo>
                <a:cubicBezTo>
                  <a:pt x="119" y="15"/>
                  <a:pt x="119" y="15"/>
                  <a:pt x="119" y="15"/>
                </a:cubicBezTo>
                <a:cubicBezTo>
                  <a:pt x="117" y="15"/>
                  <a:pt x="117" y="15"/>
                  <a:pt x="117" y="15"/>
                </a:cubicBezTo>
                <a:cubicBezTo>
                  <a:pt x="116" y="14"/>
                  <a:pt x="116" y="14"/>
                  <a:pt x="116" y="14"/>
                </a:cubicBezTo>
                <a:cubicBezTo>
                  <a:pt x="115" y="14"/>
                  <a:pt x="115" y="14"/>
                  <a:pt x="115" y="14"/>
                </a:cubicBezTo>
                <a:cubicBezTo>
                  <a:pt x="112" y="16"/>
                  <a:pt x="112" y="16"/>
                  <a:pt x="112" y="16"/>
                </a:cubicBezTo>
                <a:cubicBezTo>
                  <a:pt x="112" y="17"/>
                  <a:pt x="112" y="17"/>
                  <a:pt x="112" y="17"/>
                </a:cubicBezTo>
                <a:cubicBezTo>
                  <a:pt x="110" y="17"/>
                  <a:pt x="110" y="17"/>
                  <a:pt x="110" y="17"/>
                </a:cubicBezTo>
                <a:cubicBezTo>
                  <a:pt x="107" y="19"/>
                  <a:pt x="107" y="19"/>
                  <a:pt x="107" y="19"/>
                </a:cubicBezTo>
                <a:cubicBezTo>
                  <a:pt x="105" y="20"/>
                  <a:pt x="105" y="20"/>
                  <a:pt x="105" y="20"/>
                </a:cubicBezTo>
                <a:cubicBezTo>
                  <a:pt x="104" y="20"/>
                  <a:pt x="104" y="20"/>
                  <a:pt x="104" y="20"/>
                </a:cubicBezTo>
                <a:cubicBezTo>
                  <a:pt x="104" y="20"/>
                  <a:pt x="104" y="20"/>
                  <a:pt x="104" y="20"/>
                </a:cubicBezTo>
                <a:cubicBezTo>
                  <a:pt x="105" y="18"/>
                  <a:pt x="105" y="18"/>
                  <a:pt x="105" y="18"/>
                </a:cubicBezTo>
                <a:cubicBezTo>
                  <a:pt x="103" y="19"/>
                  <a:pt x="103" y="19"/>
                  <a:pt x="103" y="19"/>
                </a:cubicBezTo>
                <a:cubicBezTo>
                  <a:pt x="102" y="21"/>
                  <a:pt x="102" y="21"/>
                  <a:pt x="102" y="21"/>
                </a:cubicBezTo>
                <a:cubicBezTo>
                  <a:pt x="102" y="22"/>
                  <a:pt x="102" y="22"/>
                  <a:pt x="102" y="22"/>
                </a:cubicBezTo>
                <a:cubicBezTo>
                  <a:pt x="104" y="26"/>
                  <a:pt x="104" y="26"/>
                  <a:pt x="104" y="26"/>
                </a:cubicBezTo>
                <a:cubicBezTo>
                  <a:pt x="107" y="30"/>
                  <a:pt x="107" y="30"/>
                  <a:pt x="107" y="30"/>
                </a:cubicBezTo>
                <a:cubicBezTo>
                  <a:pt x="110" y="30"/>
                  <a:pt x="110" y="30"/>
                  <a:pt x="110" y="30"/>
                </a:cubicBezTo>
                <a:cubicBezTo>
                  <a:pt x="112" y="33"/>
                  <a:pt x="112" y="33"/>
                  <a:pt x="112" y="33"/>
                </a:cubicBezTo>
                <a:cubicBezTo>
                  <a:pt x="114" y="35"/>
                  <a:pt x="114" y="35"/>
                  <a:pt x="114" y="35"/>
                </a:cubicBezTo>
                <a:cubicBezTo>
                  <a:pt x="115" y="37"/>
                  <a:pt x="115" y="37"/>
                  <a:pt x="115" y="37"/>
                </a:cubicBezTo>
                <a:cubicBezTo>
                  <a:pt x="117" y="37"/>
                  <a:pt x="117" y="37"/>
                  <a:pt x="117" y="37"/>
                </a:cubicBezTo>
                <a:cubicBezTo>
                  <a:pt x="119" y="39"/>
                  <a:pt x="119" y="39"/>
                  <a:pt x="119" y="39"/>
                </a:cubicBezTo>
                <a:cubicBezTo>
                  <a:pt x="119" y="39"/>
                  <a:pt x="119" y="39"/>
                  <a:pt x="119" y="39"/>
                </a:cubicBezTo>
                <a:cubicBezTo>
                  <a:pt x="115" y="39"/>
                  <a:pt x="115" y="39"/>
                  <a:pt x="115" y="39"/>
                </a:cubicBezTo>
                <a:cubicBezTo>
                  <a:pt x="115" y="37"/>
                  <a:pt x="115" y="37"/>
                  <a:pt x="115" y="37"/>
                </a:cubicBezTo>
                <a:cubicBezTo>
                  <a:pt x="112" y="36"/>
                  <a:pt x="112" y="36"/>
                  <a:pt x="112" y="36"/>
                </a:cubicBezTo>
                <a:cubicBezTo>
                  <a:pt x="111" y="35"/>
                  <a:pt x="111" y="35"/>
                  <a:pt x="111" y="35"/>
                </a:cubicBezTo>
                <a:cubicBezTo>
                  <a:pt x="110" y="35"/>
                  <a:pt x="110" y="35"/>
                  <a:pt x="110" y="35"/>
                </a:cubicBezTo>
                <a:cubicBezTo>
                  <a:pt x="108" y="37"/>
                  <a:pt x="108" y="37"/>
                  <a:pt x="108" y="37"/>
                </a:cubicBezTo>
                <a:cubicBezTo>
                  <a:pt x="107" y="37"/>
                  <a:pt x="107" y="37"/>
                  <a:pt x="107" y="37"/>
                </a:cubicBezTo>
                <a:cubicBezTo>
                  <a:pt x="105" y="35"/>
                  <a:pt x="105" y="35"/>
                  <a:pt x="105" y="35"/>
                </a:cubicBezTo>
                <a:cubicBezTo>
                  <a:pt x="107" y="33"/>
                  <a:pt x="107" y="33"/>
                  <a:pt x="107" y="33"/>
                </a:cubicBezTo>
                <a:cubicBezTo>
                  <a:pt x="107" y="32"/>
                  <a:pt x="107" y="32"/>
                  <a:pt x="107" y="32"/>
                </a:cubicBezTo>
                <a:cubicBezTo>
                  <a:pt x="105" y="33"/>
                  <a:pt x="105" y="33"/>
                  <a:pt x="105" y="33"/>
                </a:cubicBezTo>
                <a:cubicBezTo>
                  <a:pt x="104" y="35"/>
                  <a:pt x="104" y="35"/>
                  <a:pt x="104" y="35"/>
                </a:cubicBezTo>
                <a:cubicBezTo>
                  <a:pt x="104" y="39"/>
                  <a:pt x="104" y="39"/>
                  <a:pt x="104" y="39"/>
                </a:cubicBezTo>
                <a:cubicBezTo>
                  <a:pt x="105" y="39"/>
                  <a:pt x="105" y="39"/>
                  <a:pt x="105" y="39"/>
                </a:cubicBezTo>
                <a:cubicBezTo>
                  <a:pt x="105" y="41"/>
                  <a:pt x="105" y="41"/>
                  <a:pt x="105" y="41"/>
                </a:cubicBezTo>
                <a:cubicBezTo>
                  <a:pt x="103" y="43"/>
                  <a:pt x="103" y="43"/>
                  <a:pt x="103" y="43"/>
                </a:cubicBezTo>
                <a:cubicBezTo>
                  <a:pt x="101" y="46"/>
                  <a:pt x="101" y="46"/>
                  <a:pt x="101" y="46"/>
                </a:cubicBezTo>
                <a:cubicBezTo>
                  <a:pt x="101" y="48"/>
                  <a:pt x="101" y="48"/>
                  <a:pt x="101" y="48"/>
                </a:cubicBezTo>
                <a:cubicBezTo>
                  <a:pt x="101" y="51"/>
                  <a:pt x="101" y="51"/>
                  <a:pt x="101" y="51"/>
                </a:cubicBezTo>
                <a:cubicBezTo>
                  <a:pt x="104" y="55"/>
                  <a:pt x="104" y="55"/>
                  <a:pt x="104" y="55"/>
                </a:cubicBezTo>
                <a:cubicBezTo>
                  <a:pt x="108" y="56"/>
                  <a:pt x="108" y="56"/>
                  <a:pt x="108" y="56"/>
                </a:cubicBezTo>
                <a:cubicBezTo>
                  <a:pt x="110" y="59"/>
                  <a:pt x="110" y="59"/>
                  <a:pt x="110" y="59"/>
                </a:cubicBezTo>
                <a:cubicBezTo>
                  <a:pt x="111" y="59"/>
                  <a:pt x="111" y="59"/>
                  <a:pt x="111" y="59"/>
                </a:cubicBezTo>
                <a:cubicBezTo>
                  <a:pt x="114" y="57"/>
                  <a:pt x="114" y="57"/>
                  <a:pt x="114" y="57"/>
                </a:cubicBezTo>
                <a:cubicBezTo>
                  <a:pt x="117" y="56"/>
                  <a:pt x="117" y="56"/>
                  <a:pt x="117" y="56"/>
                </a:cubicBezTo>
                <a:cubicBezTo>
                  <a:pt x="119" y="57"/>
                  <a:pt x="119" y="57"/>
                  <a:pt x="119" y="57"/>
                </a:cubicBezTo>
                <a:cubicBezTo>
                  <a:pt x="124" y="58"/>
                  <a:pt x="124" y="58"/>
                  <a:pt x="124" y="58"/>
                </a:cubicBezTo>
                <a:cubicBezTo>
                  <a:pt x="125" y="59"/>
                  <a:pt x="125" y="59"/>
                  <a:pt x="125" y="59"/>
                </a:cubicBezTo>
                <a:cubicBezTo>
                  <a:pt x="126" y="61"/>
                  <a:pt x="126" y="61"/>
                  <a:pt x="126" y="61"/>
                </a:cubicBezTo>
                <a:cubicBezTo>
                  <a:pt x="127" y="62"/>
                  <a:pt x="127" y="62"/>
                  <a:pt x="127" y="62"/>
                </a:cubicBezTo>
                <a:cubicBezTo>
                  <a:pt x="128" y="61"/>
                  <a:pt x="128" y="61"/>
                  <a:pt x="128" y="61"/>
                </a:cubicBezTo>
                <a:cubicBezTo>
                  <a:pt x="128" y="58"/>
                  <a:pt x="128" y="58"/>
                  <a:pt x="128" y="58"/>
                </a:cubicBezTo>
                <a:cubicBezTo>
                  <a:pt x="128" y="57"/>
                  <a:pt x="128" y="57"/>
                  <a:pt x="128" y="57"/>
                </a:cubicBezTo>
                <a:cubicBezTo>
                  <a:pt x="131" y="58"/>
                  <a:pt x="131" y="58"/>
                  <a:pt x="131" y="58"/>
                </a:cubicBezTo>
                <a:cubicBezTo>
                  <a:pt x="130" y="59"/>
                  <a:pt x="130" y="59"/>
                  <a:pt x="130" y="59"/>
                </a:cubicBezTo>
                <a:cubicBezTo>
                  <a:pt x="128" y="62"/>
                  <a:pt x="128" y="62"/>
                  <a:pt x="128" y="62"/>
                </a:cubicBezTo>
                <a:cubicBezTo>
                  <a:pt x="128" y="64"/>
                  <a:pt x="128" y="64"/>
                  <a:pt x="128" y="64"/>
                </a:cubicBezTo>
                <a:cubicBezTo>
                  <a:pt x="129" y="64"/>
                  <a:pt x="129" y="64"/>
                  <a:pt x="129" y="64"/>
                </a:cubicBezTo>
                <a:cubicBezTo>
                  <a:pt x="132" y="61"/>
                  <a:pt x="132" y="61"/>
                  <a:pt x="132" y="61"/>
                </a:cubicBezTo>
                <a:cubicBezTo>
                  <a:pt x="133" y="60"/>
                  <a:pt x="133" y="60"/>
                  <a:pt x="133" y="60"/>
                </a:cubicBezTo>
                <a:cubicBezTo>
                  <a:pt x="136" y="60"/>
                  <a:pt x="136" y="60"/>
                  <a:pt x="136" y="60"/>
                </a:cubicBezTo>
                <a:cubicBezTo>
                  <a:pt x="140" y="57"/>
                  <a:pt x="140" y="57"/>
                  <a:pt x="140" y="57"/>
                </a:cubicBezTo>
                <a:cubicBezTo>
                  <a:pt x="143" y="57"/>
                  <a:pt x="143" y="57"/>
                  <a:pt x="143" y="57"/>
                </a:cubicBezTo>
                <a:cubicBezTo>
                  <a:pt x="145" y="55"/>
                  <a:pt x="145" y="55"/>
                  <a:pt x="145" y="55"/>
                </a:cubicBezTo>
                <a:cubicBezTo>
                  <a:pt x="145" y="55"/>
                  <a:pt x="145" y="55"/>
                  <a:pt x="145" y="55"/>
                </a:cubicBezTo>
                <a:cubicBezTo>
                  <a:pt x="146" y="56"/>
                  <a:pt x="146" y="56"/>
                  <a:pt x="146" y="56"/>
                </a:cubicBezTo>
                <a:cubicBezTo>
                  <a:pt x="147" y="56"/>
                  <a:pt x="147" y="56"/>
                  <a:pt x="147" y="56"/>
                </a:cubicBezTo>
                <a:cubicBezTo>
                  <a:pt x="150" y="54"/>
                  <a:pt x="150" y="54"/>
                  <a:pt x="150" y="54"/>
                </a:cubicBezTo>
                <a:cubicBezTo>
                  <a:pt x="153" y="54"/>
                  <a:pt x="153" y="54"/>
                  <a:pt x="153" y="54"/>
                </a:cubicBezTo>
                <a:cubicBezTo>
                  <a:pt x="154" y="53"/>
                  <a:pt x="154" y="53"/>
                  <a:pt x="154" y="53"/>
                </a:cubicBezTo>
                <a:cubicBezTo>
                  <a:pt x="153" y="55"/>
                  <a:pt x="153" y="55"/>
                  <a:pt x="153" y="55"/>
                </a:cubicBezTo>
                <a:cubicBezTo>
                  <a:pt x="151" y="56"/>
                  <a:pt x="151" y="56"/>
                  <a:pt x="151" y="56"/>
                </a:cubicBezTo>
                <a:cubicBezTo>
                  <a:pt x="151" y="57"/>
                  <a:pt x="151" y="57"/>
                  <a:pt x="151" y="57"/>
                </a:cubicBezTo>
                <a:cubicBezTo>
                  <a:pt x="152" y="58"/>
                  <a:pt x="152" y="58"/>
                  <a:pt x="152" y="58"/>
                </a:cubicBezTo>
                <a:cubicBezTo>
                  <a:pt x="150" y="61"/>
                  <a:pt x="150" y="61"/>
                  <a:pt x="150" y="61"/>
                </a:cubicBezTo>
                <a:cubicBezTo>
                  <a:pt x="147" y="62"/>
                  <a:pt x="147" y="62"/>
                  <a:pt x="147" y="62"/>
                </a:cubicBezTo>
                <a:cubicBezTo>
                  <a:pt x="146" y="61"/>
                  <a:pt x="146" y="61"/>
                  <a:pt x="146" y="61"/>
                </a:cubicBezTo>
                <a:cubicBezTo>
                  <a:pt x="145" y="60"/>
                  <a:pt x="145" y="60"/>
                  <a:pt x="145" y="60"/>
                </a:cubicBezTo>
                <a:cubicBezTo>
                  <a:pt x="142" y="63"/>
                  <a:pt x="142" y="63"/>
                  <a:pt x="142" y="63"/>
                </a:cubicBezTo>
                <a:cubicBezTo>
                  <a:pt x="142" y="63"/>
                  <a:pt x="142" y="63"/>
                  <a:pt x="142" y="63"/>
                </a:cubicBezTo>
                <a:cubicBezTo>
                  <a:pt x="145" y="63"/>
                  <a:pt x="145" y="63"/>
                  <a:pt x="145" y="63"/>
                </a:cubicBezTo>
                <a:cubicBezTo>
                  <a:pt x="146" y="65"/>
                  <a:pt x="146" y="65"/>
                  <a:pt x="146" y="65"/>
                </a:cubicBezTo>
                <a:cubicBezTo>
                  <a:pt x="146" y="68"/>
                  <a:pt x="146" y="68"/>
                  <a:pt x="146" y="68"/>
                </a:cubicBezTo>
                <a:cubicBezTo>
                  <a:pt x="142" y="71"/>
                  <a:pt x="142" y="71"/>
                  <a:pt x="142" y="71"/>
                </a:cubicBezTo>
                <a:cubicBezTo>
                  <a:pt x="142" y="73"/>
                  <a:pt x="142" y="73"/>
                  <a:pt x="142" y="73"/>
                </a:cubicBezTo>
                <a:cubicBezTo>
                  <a:pt x="141" y="75"/>
                  <a:pt x="141" y="75"/>
                  <a:pt x="141" y="75"/>
                </a:cubicBezTo>
                <a:cubicBezTo>
                  <a:pt x="140" y="76"/>
                  <a:pt x="140" y="76"/>
                  <a:pt x="140" y="76"/>
                </a:cubicBezTo>
                <a:cubicBezTo>
                  <a:pt x="141" y="77"/>
                  <a:pt x="141" y="77"/>
                  <a:pt x="141" y="77"/>
                </a:cubicBezTo>
                <a:cubicBezTo>
                  <a:pt x="141" y="79"/>
                  <a:pt x="141" y="79"/>
                  <a:pt x="141" y="79"/>
                </a:cubicBezTo>
                <a:cubicBezTo>
                  <a:pt x="141" y="81"/>
                  <a:pt x="141" y="81"/>
                  <a:pt x="141" y="81"/>
                </a:cubicBezTo>
                <a:cubicBezTo>
                  <a:pt x="139" y="83"/>
                  <a:pt x="139" y="83"/>
                  <a:pt x="139" y="83"/>
                </a:cubicBezTo>
                <a:cubicBezTo>
                  <a:pt x="137" y="84"/>
                  <a:pt x="137" y="84"/>
                  <a:pt x="137" y="84"/>
                </a:cubicBezTo>
                <a:cubicBezTo>
                  <a:pt x="135" y="84"/>
                  <a:pt x="135" y="84"/>
                  <a:pt x="135" y="84"/>
                </a:cubicBezTo>
                <a:cubicBezTo>
                  <a:pt x="134" y="85"/>
                  <a:pt x="134" y="85"/>
                  <a:pt x="134" y="85"/>
                </a:cubicBezTo>
                <a:cubicBezTo>
                  <a:pt x="132" y="87"/>
                  <a:pt x="132" y="87"/>
                  <a:pt x="132" y="87"/>
                </a:cubicBezTo>
                <a:cubicBezTo>
                  <a:pt x="130" y="87"/>
                  <a:pt x="130" y="87"/>
                  <a:pt x="130" y="87"/>
                </a:cubicBezTo>
                <a:cubicBezTo>
                  <a:pt x="128" y="87"/>
                  <a:pt x="128" y="87"/>
                  <a:pt x="128" y="87"/>
                </a:cubicBezTo>
                <a:cubicBezTo>
                  <a:pt x="125" y="85"/>
                  <a:pt x="125" y="85"/>
                  <a:pt x="125" y="85"/>
                </a:cubicBezTo>
                <a:cubicBezTo>
                  <a:pt x="124" y="86"/>
                  <a:pt x="124" y="86"/>
                  <a:pt x="124" y="86"/>
                </a:cubicBezTo>
                <a:cubicBezTo>
                  <a:pt x="123" y="85"/>
                  <a:pt x="123" y="85"/>
                  <a:pt x="123" y="85"/>
                </a:cubicBezTo>
                <a:cubicBezTo>
                  <a:pt x="122" y="83"/>
                  <a:pt x="122" y="83"/>
                  <a:pt x="122" y="83"/>
                </a:cubicBezTo>
                <a:cubicBezTo>
                  <a:pt x="121" y="83"/>
                  <a:pt x="121" y="83"/>
                  <a:pt x="121" y="83"/>
                </a:cubicBezTo>
                <a:cubicBezTo>
                  <a:pt x="119" y="86"/>
                  <a:pt x="119" y="86"/>
                  <a:pt x="119" y="86"/>
                </a:cubicBezTo>
                <a:cubicBezTo>
                  <a:pt x="117" y="87"/>
                  <a:pt x="117" y="87"/>
                  <a:pt x="117" y="87"/>
                </a:cubicBezTo>
                <a:cubicBezTo>
                  <a:pt x="115" y="89"/>
                  <a:pt x="115" y="89"/>
                  <a:pt x="115" y="89"/>
                </a:cubicBezTo>
                <a:cubicBezTo>
                  <a:pt x="111" y="91"/>
                  <a:pt x="111" y="91"/>
                  <a:pt x="111" y="91"/>
                </a:cubicBezTo>
                <a:cubicBezTo>
                  <a:pt x="110" y="92"/>
                  <a:pt x="110" y="92"/>
                  <a:pt x="110" y="92"/>
                </a:cubicBezTo>
                <a:cubicBezTo>
                  <a:pt x="108" y="92"/>
                  <a:pt x="108" y="92"/>
                  <a:pt x="108" y="92"/>
                </a:cubicBezTo>
                <a:cubicBezTo>
                  <a:pt x="106" y="91"/>
                  <a:pt x="106" y="91"/>
                  <a:pt x="106" y="91"/>
                </a:cubicBezTo>
                <a:cubicBezTo>
                  <a:pt x="103" y="91"/>
                  <a:pt x="103" y="91"/>
                  <a:pt x="103" y="91"/>
                </a:cubicBezTo>
                <a:cubicBezTo>
                  <a:pt x="101" y="93"/>
                  <a:pt x="101" y="93"/>
                  <a:pt x="101" y="93"/>
                </a:cubicBezTo>
                <a:cubicBezTo>
                  <a:pt x="99" y="93"/>
                  <a:pt x="99" y="93"/>
                  <a:pt x="99" y="93"/>
                </a:cubicBezTo>
                <a:cubicBezTo>
                  <a:pt x="97" y="94"/>
                  <a:pt x="97" y="94"/>
                  <a:pt x="97" y="94"/>
                </a:cubicBezTo>
                <a:cubicBezTo>
                  <a:pt x="97" y="97"/>
                  <a:pt x="97" y="97"/>
                  <a:pt x="97" y="97"/>
                </a:cubicBezTo>
                <a:cubicBezTo>
                  <a:pt x="96" y="100"/>
                  <a:pt x="96" y="100"/>
                  <a:pt x="96" y="100"/>
                </a:cubicBezTo>
                <a:cubicBezTo>
                  <a:pt x="94" y="102"/>
                  <a:pt x="94" y="102"/>
                  <a:pt x="94" y="102"/>
                </a:cubicBezTo>
                <a:cubicBezTo>
                  <a:pt x="94" y="101"/>
                  <a:pt x="94" y="101"/>
                  <a:pt x="94" y="101"/>
                </a:cubicBezTo>
                <a:cubicBezTo>
                  <a:pt x="92" y="98"/>
                  <a:pt x="92" y="98"/>
                  <a:pt x="92" y="98"/>
                </a:cubicBezTo>
                <a:cubicBezTo>
                  <a:pt x="89" y="98"/>
                  <a:pt x="89" y="98"/>
                  <a:pt x="89" y="98"/>
                </a:cubicBezTo>
                <a:cubicBezTo>
                  <a:pt x="88" y="99"/>
                  <a:pt x="88" y="99"/>
                  <a:pt x="88" y="99"/>
                </a:cubicBezTo>
                <a:cubicBezTo>
                  <a:pt x="88" y="100"/>
                  <a:pt x="88" y="100"/>
                  <a:pt x="88" y="100"/>
                </a:cubicBezTo>
                <a:cubicBezTo>
                  <a:pt x="89" y="101"/>
                  <a:pt x="89" y="101"/>
                  <a:pt x="89" y="101"/>
                </a:cubicBezTo>
                <a:cubicBezTo>
                  <a:pt x="88" y="103"/>
                  <a:pt x="88" y="103"/>
                  <a:pt x="88" y="103"/>
                </a:cubicBezTo>
                <a:cubicBezTo>
                  <a:pt x="87" y="103"/>
                  <a:pt x="87" y="103"/>
                  <a:pt x="87" y="103"/>
                </a:cubicBezTo>
                <a:cubicBezTo>
                  <a:pt x="87" y="101"/>
                  <a:pt x="87" y="101"/>
                  <a:pt x="87" y="101"/>
                </a:cubicBezTo>
                <a:cubicBezTo>
                  <a:pt x="85" y="99"/>
                  <a:pt x="85" y="99"/>
                  <a:pt x="85" y="99"/>
                </a:cubicBezTo>
                <a:cubicBezTo>
                  <a:pt x="84" y="99"/>
                  <a:pt x="84" y="99"/>
                  <a:pt x="84" y="99"/>
                </a:cubicBezTo>
                <a:cubicBezTo>
                  <a:pt x="81" y="102"/>
                  <a:pt x="81" y="102"/>
                  <a:pt x="81" y="102"/>
                </a:cubicBezTo>
                <a:cubicBezTo>
                  <a:pt x="80" y="104"/>
                  <a:pt x="80" y="104"/>
                  <a:pt x="80" y="104"/>
                </a:cubicBezTo>
                <a:cubicBezTo>
                  <a:pt x="79" y="105"/>
                  <a:pt x="79" y="105"/>
                  <a:pt x="79" y="105"/>
                </a:cubicBezTo>
                <a:cubicBezTo>
                  <a:pt x="78" y="105"/>
                  <a:pt x="78" y="105"/>
                  <a:pt x="78" y="105"/>
                </a:cubicBezTo>
                <a:cubicBezTo>
                  <a:pt x="73" y="109"/>
                  <a:pt x="73" y="109"/>
                  <a:pt x="73" y="109"/>
                </a:cubicBezTo>
                <a:cubicBezTo>
                  <a:pt x="72" y="112"/>
                  <a:pt x="72" y="112"/>
                  <a:pt x="72" y="112"/>
                </a:cubicBezTo>
                <a:cubicBezTo>
                  <a:pt x="71" y="113"/>
                  <a:pt x="71" y="113"/>
                  <a:pt x="71" y="113"/>
                </a:cubicBezTo>
                <a:cubicBezTo>
                  <a:pt x="69" y="113"/>
                  <a:pt x="69" y="113"/>
                  <a:pt x="69" y="113"/>
                </a:cubicBezTo>
                <a:cubicBezTo>
                  <a:pt x="67" y="113"/>
                  <a:pt x="67" y="113"/>
                  <a:pt x="67" y="113"/>
                </a:cubicBezTo>
                <a:cubicBezTo>
                  <a:pt x="67" y="113"/>
                  <a:pt x="67" y="113"/>
                  <a:pt x="67" y="113"/>
                </a:cubicBezTo>
                <a:cubicBezTo>
                  <a:pt x="69" y="115"/>
                  <a:pt x="69" y="115"/>
                  <a:pt x="69" y="115"/>
                </a:cubicBezTo>
                <a:cubicBezTo>
                  <a:pt x="68" y="117"/>
                  <a:pt x="68" y="117"/>
                  <a:pt x="68" y="117"/>
                </a:cubicBezTo>
                <a:cubicBezTo>
                  <a:pt x="67" y="117"/>
                  <a:pt x="67" y="117"/>
                  <a:pt x="67" y="117"/>
                </a:cubicBezTo>
                <a:cubicBezTo>
                  <a:pt x="66" y="115"/>
                  <a:pt x="66" y="115"/>
                  <a:pt x="66" y="115"/>
                </a:cubicBezTo>
                <a:cubicBezTo>
                  <a:pt x="65" y="115"/>
                  <a:pt x="65" y="115"/>
                  <a:pt x="65" y="115"/>
                </a:cubicBezTo>
                <a:cubicBezTo>
                  <a:pt x="64" y="117"/>
                  <a:pt x="64" y="117"/>
                  <a:pt x="64" y="117"/>
                </a:cubicBezTo>
                <a:cubicBezTo>
                  <a:pt x="62" y="120"/>
                  <a:pt x="62" y="120"/>
                  <a:pt x="62" y="120"/>
                </a:cubicBezTo>
                <a:cubicBezTo>
                  <a:pt x="62" y="121"/>
                  <a:pt x="62" y="121"/>
                  <a:pt x="62" y="121"/>
                </a:cubicBezTo>
                <a:cubicBezTo>
                  <a:pt x="64" y="124"/>
                  <a:pt x="64" y="124"/>
                  <a:pt x="64" y="124"/>
                </a:cubicBezTo>
                <a:cubicBezTo>
                  <a:pt x="64" y="126"/>
                  <a:pt x="64" y="126"/>
                  <a:pt x="64" y="126"/>
                </a:cubicBezTo>
                <a:cubicBezTo>
                  <a:pt x="64" y="128"/>
                  <a:pt x="64" y="128"/>
                  <a:pt x="64" y="128"/>
                </a:cubicBezTo>
                <a:cubicBezTo>
                  <a:pt x="63" y="130"/>
                  <a:pt x="63" y="130"/>
                  <a:pt x="63" y="130"/>
                </a:cubicBezTo>
                <a:cubicBezTo>
                  <a:pt x="63" y="132"/>
                  <a:pt x="63" y="132"/>
                  <a:pt x="63" y="132"/>
                </a:cubicBezTo>
                <a:cubicBezTo>
                  <a:pt x="64" y="131"/>
                  <a:pt x="64" y="131"/>
                  <a:pt x="64" y="131"/>
                </a:cubicBezTo>
                <a:cubicBezTo>
                  <a:pt x="65" y="130"/>
                  <a:pt x="65" y="130"/>
                  <a:pt x="65" y="130"/>
                </a:cubicBezTo>
                <a:cubicBezTo>
                  <a:pt x="66" y="131"/>
                  <a:pt x="66" y="131"/>
                  <a:pt x="66" y="131"/>
                </a:cubicBezTo>
                <a:cubicBezTo>
                  <a:pt x="66" y="134"/>
                  <a:pt x="66" y="134"/>
                  <a:pt x="66" y="134"/>
                </a:cubicBezTo>
                <a:cubicBezTo>
                  <a:pt x="65" y="134"/>
                  <a:pt x="65" y="134"/>
                  <a:pt x="65" y="134"/>
                </a:cubicBezTo>
                <a:cubicBezTo>
                  <a:pt x="65" y="135"/>
                  <a:pt x="65" y="135"/>
                  <a:pt x="65" y="135"/>
                </a:cubicBezTo>
                <a:cubicBezTo>
                  <a:pt x="65" y="136"/>
                  <a:pt x="65" y="136"/>
                  <a:pt x="65" y="136"/>
                </a:cubicBezTo>
                <a:cubicBezTo>
                  <a:pt x="66" y="136"/>
                  <a:pt x="66" y="136"/>
                  <a:pt x="66" y="136"/>
                </a:cubicBezTo>
                <a:cubicBezTo>
                  <a:pt x="67" y="135"/>
                  <a:pt x="67" y="135"/>
                  <a:pt x="67" y="135"/>
                </a:cubicBezTo>
                <a:cubicBezTo>
                  <a:pt x="69" y="135"/>
                  <a:pt x="69" y="135"/>
                  <a:pt x="69" y="135"/>
                </a:cubicBezTo>
                <a:cubicBezTo>
                  <a:pt x="69" y="136"/>
                  <a:pt x="69" y="136"/>
                  <a:pt x="69" y="136"/>
                </a:cubicBezTo>
                <a:cubicBezTo>
                  <a:pt x="69" y="137"/>
                  <a:pt x="69" y="137"/>
                  <a:pt x="69" y="137"/>
                </a:cubicBezTo>
                <a:cubicBezTo>
                  <a:pt x="72" y="137"/>
                  <a:pt x="72" y="137"/>
                  <a:pt x="72" y="137"/>
                </a:cubicBezTo>
                <a:cubicBezTo>
                  <a:pt x="73" y="138"/>
                  <a:pt x="73" y="138"/>
                  <a:pt x="73" y="138"/>
                </a:cubicBezTo>
                <a:cubicBezTo>
                  <a:pt x="75" y="138"/>
                  <a:pt x="75" y="138"/>
                  <a:pt x="75" y="138"/>
                </a:cubicBezTo>
                <a:cubicBezTo>
                  <a:pt x="77" y="136"/>
                  <a:pt x="77" y="136"/>
                  <a:pt x="77" y="136"/>
                </a:cubicBezTo>
                <a:cubicBezTo>
                  <a:pt x="78" y="133"/>
                  <a:pt x="78" y="133"/>
                  <a:pt x="78" y="133"/>
                </a:cubicBezTo>
                <a:cubicBezTo>
                  <a:pt x="79" y="131"/>
                  <a:pt x="79" y="131"/>
                  <a:pt x="79" y="131"/>
                </a:cubicBezTo>
                <a:cubicBezTo>
                  <a:pt x="83" y="131"/>
                  <a:pt x="83" y="131"/>
                  <a:pt x="83" y="131"/>
                </a:cubicBezTo>
                <a:cubicBezTo>
                  <a:pt x="84" y="130"/>
                  <a:pt x="84" y="130"/>
                  <a:pt x="84" y="130"/>
                </a:cubicBezTo>
                <a:cubicBezTo>
                  <a:pt x="82" y="132"/>
                  <a:pt x="82" y="132"/>
                  <a:pt x="82" y="132"/>
                </a:cubicBezTo>
                <a:cubicBezTo>
                  <a:pt x="81" y="132"/>
                  <a:pt x="81" y="132"/>
                  <a:pt x="81" y="132"/>
                </a:cubicBezTo>
                <a:cubicBezTo>
                  <a:pt x="78" y="136"/>
                  <a:pt x="78" y="136"/>
                  <a:pt x="78" y="136"/>
                </a:cubicBezTo>
                <a:cubicBezTo>
                  <a:pt x="77" y="138"/>
                  <a:pt x="77" y="138"/>
                  <a:pt x="77" y="138"/>
                </a:cubicBezTo>
                <a:cubicBezTo>
                  <a:pt x="76" y="139"/>
                  <a:pt x="76" y="139"/>
                  <a:pt x="76" y="139"/>
                </a:cubicBezTo>
                <a:cubicBezTo>
                  <a:pt x="78" y="141"/>
                  <a:pt x="78" y="141"/>
                  <a:pt x="78" y="141"/>
                </a:cubicBezTo>
                <a:cubicBezTo>
                  <a:pt x="78" y="142"/>
                  <a:pt x="78" y="142"/>
                  <a:pt x="78" y="142"/>
                </a:cubicBezTo>
                <a:cubicBezTo>
                  <a:pt x="75" y="143"/>
                  <a:pt x="75" y="143"/>
                  <a:pt x="75" y="143"/>
                </a:cubicBezTo>
                <a:cubicBezTo>
                  <a:pt x="74" y="142"/>
                  <a:pt x="74" y="142"/>
                  <a:pt x="74" y="142"/>
                </a:cubicBezTo>
                <a:cubicBezTo>
                  <a:pt x="74" y="141"/>
                  <a:pt x="74" y="141"/>
                  <a:pt x="74" y="141"/>
                </a:cubicBezTo>
                <a:cubicBezTo>
                  <a:pt x="74" y="140"/>
                  <a:pt x="74" y="140"/>
                  <a:pt x="74" y="140"/>
                </a:cubicBezTo>
                <a:cubicBezTo>
                  <a:pt x="72" y="140"/>
                  <a:pt x="72" y="140"/>
                  <a:pt x="72" y="140"/>
                </a:cubicBezTo>
                <a:cubicBezTo>
                  <a:pt x="71" y="138"/>
                  <a:pt x="71" y="138"/>
                  <a:pt x="71" y="138"/>
                </a:cubicBezTo>
                <a:cubicBezTo>
                  <a:pt x="68" y="138"/>
                  <a:pt x="68" y="138"/>
                  <a:pt x="68" y="138"/>
                </a:cubicBezTo>
                <a:cubicBezTo>
                  <a:pt x="67" y="137"/>
                  <a:pt x="67" y="137"/>
                  <a:pt x="67" y="137"/>
                </a:cubicBezTo>
                <a:cubicBezTo>
                  <a:pt x="65" y="138"/>
                  <a:pt x="65" y="138"/>
                  <a:pt x="65" y="138"/>
                </a:cubicBezTo>
                <a:cubicBezTo>
                  <a:pt x="64" y="138"/>
                  <a:pt x="64" y="138"/>
                  <a:pt x="64" y="138"/>
                </a:cubicBezTo>
                <a:cubicBezTo>
                  <a:pt x="63" y="140"/>
                  <a:pt x="63" y="140"/>
                  <a:pt x="63" y="140"/>
                </a:cubicBezTo>
                <a:cubicBezTo>
                  <a:pt x="62" y="141"/>
                  <a:pt x="62" y="141"/>
                  <a:pt x="62" y="141"/>
                </a:cubicBezTo>
                <a:cubicBezTo>
                  <a:pt x="60" y="140"/>
                  <a:pt x="60" y="140"/>
                  <a:pt x="60" y="140"/>
                </a:cubicBezTo>
                <a:cubicBezTo>
                  <a:pt x="59" y="142"/>
                  <a:pt x="59" y="142"/>
                  <a:pt x="59" y="142"/>
                </a:cubicBezTo>
                <a:cubicBezTo>
                  <a:pt x="60" y="143"/>
                  <a:pt x="60" y="143"/>
                  <a:pt x="60" y="143"/>
                </a:cubicBezTo>
                <a:cubicBezTo>
                  <a:pt x="61" y="144"/>
                  <a:pt x="61" y="144"/>
                  <a:pt x="61" y="144"/>
                </a:cubicBezTo>
                <a:cubicBezTo>
                  <a:pt x="60" y="145"/>
                  <a:pt x="60" y="145"/>
                  <a:pt x="60" y="145"/>
                </a:cubicBezTo>
                <a:cubicBezTo>
                  <a:pt x="60" y="148"/>
                  <a:pt x="60" y="148"/>
                  <a:pt x="60" y="148"/>
                </a:cubicBezTo>
                <a:cubicBezTo>
                  <a:pt x="60" y="150"/>
                  <a:pt x="60" y="150"/>
                  <a:pt x="60" y="150"/>
                </a:cubicBezTo>
                <a:cubicBezTo>
                  <a:pt x="62" y="150"/>
                  <a:pt x="62" y="150"/>
                  <a:pt x="62" y="150"/>
                </a:cubicBezTo>
                <a:cubicBezTo>
                  <a:pt x="62" y="153"/>
                  <a:pt x="62" y="153"/>
                  <a:pt x="62" y="153"/>
                </a:cubicBezTo>
                <a:cubicBezTo>
                  <a:pt x="62" y="154"/>
                  <a:pt x="62" y="154"/>
                  <a:pt x="62" y="154"/>
                </a:cubicBezTo>
                <a:cubicBezTo>
                  <a:pt x="62" y="156"/>
                  <a:pt x="62" y="156"/>
                  <a:pt x="62" y="156"/>
                </a:cubicBezTo>
                <a:cubicBezTo>
                  <a:pt x="64" y="157"/>
                  <a:pt x="64" y="157"/>
                  <a:pt x="64" y="157"/>
                </a:cubicBezTo>
                <a:cubicBezTo>
                  <a:pt x="64" y="158"/>
                  <a:pt x="64" y="158"/>
                  <a:pt x="64" y="158"/>
                </a:cubicBezTo>
                <a:cubicBezTo>
                  <a:pt x="62" y="158"/>
                  <a:pt x="62" y="158"/>
                  <a:pt x="62" y="158"/>
                </a:cubicBezTo>
                <a:cubicBezTo>
                  <a:pt x="61" y="160"/>
                  <a:pt x="61" y="160"/>
                  <a:pt x="61" y="160"/>
                </a:cubicBezTo>
                <a:cubicBezTo>
                  <a:pt x="68" y="163"/>
                  <a:pt x="68" y="163"/>
                  <a:pt x="68" y="163"/>
                </a:cubicBezTo>
                <a:cubicBezTo>
                  <a:pt x="70" y="163"/>
                  <a:pt x="70" y="163"/>
                  <a:pt x="70" y="163"/>
                </a:cubicBezTo>
                <a:cubicBezTo>
                  <a:pt x="73" y="161"/>
                  <a:pt x="73" y="161"/>
                  <a:pt x="73" y="161"/>
                </a:cubicBezTo>
                <a:cubicBezTo>
                  <a:pt x="75" y="161"/>
                  <a:pt x="75" y="161"/>
                  <a:pt x="75" y="161"/>
                </a:cubicBezTo>
                <a:cubicBezTo>
                  <a:pt x="76" y="161"/>
                  <a:pt x="76" y="161"/>
                  <a:pt x="76" y="161"/>
                </a:cubicBezTo>
                <a:cubicBezTo>
                  <a:pt x="77" y="161"/>
                  <a:pt x="77" y="161"/>
                  <a:pt x="77" y="161"/>
                </a:cubicBezTo>
                <a:cubicBezTo>
                  <a:pt x="80" y="158"/>
                  <a:pt x="80" y="158"/>
                  <a:pt x="80" y="158"/>
                </a:cubicBezTo>
                <a:cubicBezTo>
                  <a:pt x="80" y="156"/>
                  <a:pt x="80" y="156"/>
                  <a:pt x="80" y="156"/>
                </a:cubicBezTo>
                <a:cubicBezTo>
                  <a:pt x="79" y="154"/>
                  <a:pt x="79" y="154"/>
                  <a:pt x="79" y="154"/>
                </a:cubicBezTo>
                <a:cubicBezTo>
                  <a:pt x="79" y="154"/>
                  <a:pt x="79" y="154"/>
                  <a:pt x="79" y="154"/>
                </a:cubicBezTo>
                <a:cubicBezTo>
                  <a:pt x="82" y="152"/>
                  <a:pt x="82" y="152"/>
                  <a:pt x="82" y="152"/>
                </a:cubicBezTo>
                <a:cubicBezTo>
                  <a:pt x="85" y="150"/>
                  <a:pt x="85" y="150"/>
                  <a:pt x="85" y="150"/>
                </a:cubicBezTo>
                <a:cubicBezTo>
                  <a:pt x="89" y="147"/>
                  <a:pt x="89" y="147"/>
                  <a:pt x="89" y="147"/>
                </a:cubicBezTo>
                <a:cubicBezTo>
                  <a:pt x="91" y="147"/>
                  <a:pt x="91" y="147"/>
                  <a:pt x="91" y="147"/>
                </a:cubicBezTo>
                <a:cubicBezTo>
                  <a:pt x="89" y="148"/>
                  <a:pt x="89" y="148"/>
                  <a:pt x="89" y="148"/>
                </a:cubicBezTo>
                <a:cubicBezTo>
                  <a:pt x="85" y="152"/>
                  <a:pt x="85" y="152"/>
                  <a:pt x="85" y="152"/>
                </a:cubicBezTo>
                <a:cubicBezTo>
                  <a:pt x="82" y="153"/>
                  <a:pt x="82" y="153"/>
                  <a:pt x="82" y="153"/>
                </a:cubicBezTo>
                <a:cubicBezTo>
                  <a:pt x="82" y="154"/>
                  <a:pt x="82" y="154"/>
                  <a:pt x="82" y="154"/>
                </a:cubicBezTo>
                <a:cubicBezTo>
                  <a:pt x="84" y="156"/>
                  <a:pt x="84" y="156"/>
                  <a:pt x="84" y="156"/>
                </a:cubicBezTo>
                <a:cubicBezTo>
                  <a:pt x="84" y="157"/>
                  <a:pt x="84" y="157"/>
                  <a:pt x="84" y="157"/>
                </a:cubicBezTo>
                <a:cubicBezTo>
                  <a:pt x="82" y="160"/>
                  <a:pt x="82" y="160"/>
                  <a:pt x="82" y="160"/>
                </a:cubicBezTo>
                <a:cubicBezTo>
                  <a:pt x="80" y="161"/>
                  <a:pt x="80" y="161"/>
                  <a:pt x="80" y="161"/>
                </a:cubicBezTo>
                <a:cubicBezTo>
                  <a:pt x="80" y="163"/>
                  <a:pt x="80" y="163"/>
                  <a:pt x="80" y="163"/>
                </a:cubicBezTo>
                <a:cubicBezTo>
                  <a:pt x="80" y="166"/>
                  <a:pt x="80" y="166"/>
                  <a:pt x="80" y="166"/>
                </a:cubicBezTo>
                <a:cubicBezTo>
                  <a:pt x="79" y="168"/>
                  <a:pt x="79" y="168"/>
                  <a:pt x="79" y="168"/>
                </a:cubicBezTo>
                <a:cubicBezTo>
                  <a:pt x="80" y="169"/>
                  <a:pt x="80" y="169"/>
                  <a:pt x="80" y="169"/>
                </a:cubicBezTo>
                <a:cubicBezTo>
                  <a:pt x="79" y="171"/>
                  <a:pt x="79" y="171"/>
                  <a:pt x="79" y="171"/>
                </a:cubicBezTo>
                <a:cubicBezTo>
                  <a:pt x="80" y="173"/>
                  <a:pt x="80" y="173"/>
                  <a:pt x="80" y="173"/>
                </a:cubicBezTo>
                <a:cubicBezTo>
                  <a:pt x="77" y="174"/>
                  <a:pt x="77" y="174"/>
                  <a:pt x="77" y="174"/>
                </a:cubicBezTo>
                <a:cubicBezTo>
                  <a:pt x="76" y="175"/>
                  <a:pt x="76" y="175"/>
                  <a:pt x="76" y="175"/>
                </a:cubicBezTo>
                <a:cubicBezTo>
                  <a:pt x="75" y="176"/>
                  <a:pt x="75" y="176"/>
                  <a:pt x="75" y="176"/>
                </a:cubicBezTo>
                <a:cubicBezTo>
                  <a:pt x="74" y="176"/>
                  <a:pt x="74" y="176"/>
                  <a:pt x="74" y="176"/>
                </a:cubicBezTo>
                <a:cubicBezTo>
                  <a:pt x="74" y="177"/>
                  <a:pt x="74" y="177"/>
                  <a:pt x="74" y="177"/>
                </a:cubicBezTo>
                <a:cubicBezTo>
                  <a:pt x="74" y="179"/>
                  <a:pt x="74" y="179"/>
                  <a:pt x="74" y="179"/>
                </a:cubicBezTo>
                <a:cubicBezTo>
                  <a:pt x="74" y="181"/>
                  <a:pt x="74" y="181"/>
                  <a:pt x="74" y="181"/>
                </a:cubicBezTo>
                <a:cubicBezTo>
                  <a:pt x="75" y="181"/>
                  <a:pt x="75" y="181"/>
                  <a:pt x="75" y="181"/>
                </a:cubicBezTo>
                <a:cubicBezTo>
                  <a:pt x="77" y="180"/>
                  <a:pt x="77" y="180"/>
                  <a:pt x="77" y="180"/>
                </a:cubicBezTo>
                <a:cubicBezTo>
                  <a:pt x="78" y="180"/>
                  <a:pt x="78" y="180"/>
                  <a:pt x="78" y="180"/>
                </a:cubicBezTo>
                <a:cubicBezTo>
                  <a:pt x="79" y="182"/>
                  <a:pt x="79" y="182"/>
                  <a:pt x="79" y="182"/>
                </a:cubicBezTo>
                <a:cubicBezTo>
                  <a:pt x="78" y="183"/>
                  <a:pt x="78" y="183"/>
                  <a:pt x="78" y="183"/>
                </a:cubicBezTo>
                <a:cubicBezTo>
                  <a:pt x="75" y="183"/>
                  <a:pt x="75" y="183"/>
                  <a:pt x="75" y="183"/>
                </a:cubicBezTo>
                <a:cubicBezTo>
                  <a:pt x="75" y="184"/>
                  <a:pt x="75" y="184"/>
                  <a:pt x="75" y="184"/>
                </a:cubicBezTo>
                <a:cubicBezTo>
                  <a:pt x="75" y="185"/>
                  <a:pt x="75" y="185"/>
                  <a:pt x="75" y="185"/>
                </a:cubicBezTo>
                <a:cubicBezTo>
                  <a:pt x="75" y="186"/>
                  <a:pt x="75" y="186"/>
                  <a:pt x="75" y="186"/>
                </a:cubicBezTo>
                <a:cubicBezTo>
                  <a:pt x="75" y="187"/>
                  <a:pt x="75" y="187"/>
                  <a:pt x="75" y="187"/>
                </a:cubicBezTo>
                <a:cubicBezTo>
                  <a:pt x="74" y="188"/>
                  <a:pt x="74" y="188"/>
                  <a:pt x="74" y="188"/>
                </a:cubicBezTo>
                <a:cubicBezTo>
                  <a:pt x="73" y="188"/>
                  <a:pt x="73" y="188"/>
                  <a:pt x="73" y="188"/>
                </a:cubicBezTo>
                <a:cubicBezTo>
                  <a:pt x="71" y="189"/>
                  <a:pt x="71" y="189"/>
                  <a:pt x="71" y="189"/>
                </a:cubicBezTo>
                <a:cubicBezTo>
                  <a:pt x="69" y="189"/>
                  <a:pt x="69" y="189"/>
                  <a:pt x="69" y="189"/>
                </a:cubicBezTo>
                <a:cubicBezTo>
                  <a:pt x="69" y="189"/>
                  <a:pt x="69" y="189"/>
                  <a:pt x="69" y="189"/>
                </a:cubicBezTo>
                <a:cubicBezTo>
                  <a:pt x="70" y="190"/>
                  <a:pt x="70" y="190"/>
                  <a:pt x="70" y="190"/>
                </a:cubicBezTo>
                <a:cubicBezTo>
                  <a:pt x="72" y="191"/>
                  <a:pt x="72" y="191"/>
                  <a:pt x="72" y="191"/>
                </a:cubicBezTo>
                <a:cubicBezTo>
                  <a:pt x="73" y="192"/>
                  <a:pt x="73" y="192"/>
                  <a:pt x="73" y="192"/>
                </a:cubicBezTo>
                <a:cubicBezTo>
                  <a:pt x="75" y="190"/>
                  <a:pt x="75" y="190"/>
                  <a:pt x="75" y="190"/>
                </a:cubicBezTo>
                <a:cubicBezTo>
                  <a:pt x="79" y="187"/>
                  <a:pt x="79" y="187"/>
                  <a:pt x="79" y="187"/>
                </a:cubicBezTo>
                <a:cubicBezTo>
                  <a:pt x="80" y="187"/>
                  <a:pt x="80" y="187"/>
                  <a:pt x="80" y="187"/>
                </a:cubicBezTo>
                <a:cubicBezTo>
                  <a:pt x="82" y="187"/>
                  <a:pt x="82" y="187"/>
                  <a:pt x="82" y="187"/>
                </a:cubicBezTo>
                <a:cubicBezTo>
                  <a:pt x="83" y="186"/>
                  <a:pt x="83" y="186"/>
                  <a:pt x="83" y="186"/>
                </a:cubicBezTo>
                <a:cubicBezTo>
                  <a:pt x="86" y="185"/>
                  <a:pt x="86" y="185"/>
                  <a:pt x="86" y="185"/>
                </a:cubicBezTo>
                <a:cubicBezTo>
                  <a:pt x="86" y="186"/>
                  <a:pt x="86" y="186"/>
                  <a:pt x="86" y="186"/>
                </a:cubicBezTo>
                <a:cubicBezTo>
                  <a:pt x="85" y="187"/>
                  <a:pt x="85" y="187"/>
                  <a:pt x="85" y="187"/>
                </a:cubicBezTo>
                <a:cubicBezTo>
                  <a:pt x="85" y="188"/>
                  <a:pt x="85" y="188"/>
                  <a:pt x="85" y="188"/>
                </a:cubicBezTo>
                <a:cubicBezTo>
                  <a:pt x="86" y="188"/>
                  <a:pt x="86" y="188"/>
                  <a:pt x="86" y="188"/>
                </a:cubicBezTo>
                <a:cubicBezTo>
                  <a:pt x="86" y="190"/>
                  <a:pt x="86" y="190"/>
                  <a:pt x="86" y="190"/>
                </a:cubicBezTo>
                <a:cubicBezTo>
                  <a:pt x="86" y="191"/>
                  <a:pt x="86" y="191"/>
                  <a:pt x="86" y="191"/>
                </a:cubicBezTo>
                <a:cubicBezTo>
                  <a:pt x="88" y="192"/>
                  <a:pt x="88" y="192"/>
                  <a:pt x="88" y="192"/>
                </a:cubicBezTo>
                <a:cubicBezTo>
                  <a:pt x="89" y="191"/>
                  <a:pt x="89" y="191"/>
                  <a:pt x="89" y="191"/>
                </a:cubicBezTo>
                <a:cubicBezTo>
                  <a:pt x="90" y="189"/>
                  <a:pt x="90" y="189"/>
                  <a:pt x="90" y="189"/>
                </a:cubicBezTo>
                <a:cubicBezTo>
                  <a:pt x="91" y="190"/>
                  <a:pt x="91" y="190"/>
                  <a:pt x="91" y="190"/>
                </a:cubicBezTo>
                <a:cubicBezTo>
                  <a:pt x="90" y="191"/>
                  <a:pt x="90" y="191"/>
                  <a:pt x="90" y="191"/>
                </a:cubicBezTo>
                <a:cubicBezTo>
                  <a:pt x="92" y="194"/>
                  <a:pt x="92" y="194"/>
                  <a:pt x="92" y="194"/>
                </a:cubicBezTo>
                <a:cubicBezTo>
                  <a:pt x="92" y="197"/>
                  <a:pt x="92" y="197"/>
                  <a:pt x="92" y="197"/>
                </a:cubicBezTo>
                <a:cubicBezTo>
                  <a:pt x="92" y="199"/>
                  <a:pt x="92" y="199"/>
                  <a:pt x="92" y="199"/>
                </a:cubicBezTo>
                <a:cubicBezTo>
                  <a:pt x="93" y="201"/>
                  <a:pt x="93" y="201"/>
                  <a:pt x="93" y="201"/>
                </a:cubicBezTo>
                <a:cubicBezTo>
                  <a:pt x="94" y="201"/>
                  <a:pt x="94" y="201"/>
                  <a:pt x="94" y="201"/>
                </a:cubicBezTo>
                <a:cubicBezTo>
                  <a:pt x="95" y="199"/>
                  <a:pt x="95" y="199"/>
                  <a:pt x="95" y="199"/>
                </a:cubicBezTo>
                <a:cubicBezTo>
                  <a:pt x="95" y="197"/>
                  <a:pt x="95" y="197"/>
                  <a:pt x="95" y="197"/>
                </a:cubicBezTo>
                <a:cubicBezTo>
                  <a:pt x="96" y="194"/>
                  <a:pt x="96" y="194"/>
                  <a:pt x="96" y="194"/>
                </a:cubicBezTo>
                <a:cubicBezTo>
                  <a:pt x="97" y="192"/>
                  <a:pt x="97" y="192"/>
                  <a:pt x="97" y="192"/>
                </a:cubicBezTo>
                <a:cubicBezTo>
                  <a:pt x="99" y="190"/>
                  <a:pt x="99" y="190"/>
                  <a:pt x="99" y="190"/>
                </a:cubicBezTo>
                <a:cubicBezTo>
                  <a:pt x="100" y="190"/>
                  <a:pt x="100" y="190"/>
                  <a:pt x="100" y="190"/>
                </a:cubicBezTo>
                <a:cubicBezTo>
                  <a:pt x="102" y="189"/>
                  <a:pt x="102" y="189"/>
                  <a:pt x="102" y="189"/>
                </a:cubicBezTo>
                <a:cubicBezTo>
                  <a:pt x="105" y="189"/>
                  <a:pt x="105" y="189"/>
                  <a:pt x="105" y="189"/>
                </a:cubicBezTo>
                <a:cubicBezTo>
                  <a:pt x="102" y="190"/>
                  <a:pt x="102" y="190"/>
                  <a:pt x="102" y="190"/>
                </a:cubicBezTo>
                <a:cubicBezTo>
                  <a:pt x="99" y="193"/>
                  <a:pt x="99" y="193"/>
                  <a:pt x="99" y="193"/>
                </a:cubicBezTo>
                <a:cubicBezTo>
                  <a:pt x="99" y="194"/>
                  <a:pt x="99" y="194"/>
                  <a:pt x="99" y="194"/>
                </a:cubicBezTo>
                <a:cubicBezTo>
                  <a:pt x="102" y="197"/>
                  <a:pt x="102" y="197"/>
                  <a:pt x="102" y="197"/>
                </a:cubicBezTo>
                <a:cubicBezTo>
                  <a:pt x="103" y="197"/>
                  <a:pt x="103" y="197"/>
                  <a:pt x="103" y="197"/>
                </a:cubicBezTo>
                <a:cubicBezTo>
                  <a:pt x="106" y="196"/>
                  <a:pt x="106" y="196"/>
                  <a:pt x="106" y="196"/>
                </a:cubicBezTo>
                <a:cubicBezTo>
                  <a:pt x="110" y="195"/>
                  <a:pt x="110" y="195"/>
                  <a:pt x="110" y="195"/>
                </a:cubicBezTo>
                <a:cubicBezTo>
                  <a:pt x="112" y="194"/>
                  <a:pt x="112" y="194"/>
                  <a:pt x="112" y="194"/>
                </a:cubicBezTo>
                <a:cubicBezTo>
                  <a:pt x="113" y="194"/>
                  <a:pt x="113" y="194"/>
                  <a:pt x="113" y="194"/>
                </a:cubicBezTo>
                <a:cubicBezTo>
                  <a:pt x="116" y="192"/>
                  <a:pt x="116" y="192"/>
                  <a:pt x="116" y="192"/>
                </a:cubicBezTo>
                <a:cubicBezTo>
                  <a:pt x="118" y="192"/>
                  <a:pt x="118" y="192"/>
                  <a:pt x="118" y="192"/>
                </a:cubicBezTo>
                <a:cubicBezTo>
                  <a:pt x="116" y="193"/>
                  <a:pt x="116" y="193"/>
                  <a:pt x="116" y="193"/>
                </a:cubicBezTo>
                <a:cubicBezTo>
                  <a:pt x="114" y="195"/>
                  <a:pt x="114" y="195"/>
                  <a:pt x="114" y="195"/>
                </a:cubicBezTo>
                <a:cubicBezTo>
                  <a:pt x="114" y="196"/>
                  <a:pt x="114" y="196"/>
                  <a:pt x="114" y="196"/>
                </a:cubicBezTo>
                <a:cubicBezTo>
                  <a:pt x="113" y="198"/>
                  <a:pt x="113" y="198"/>
                  <a:pt x="113" y="198"/>
                </a:cubicBezTo>
                <a:cubicBezTo>
                  <a:pt x="107" y="201"/>
                  <a:pt x="107" y="201"/>
                  <a:pt x="107" y="201"/>
                </a:cubicBezTo>
                <a:cubicBezTo>
                  <a:pt x="105" y="203"/>
                  <a:pt x="105" y="203"/>
                  <a:pt x="105" y="203"/>
                </a:cubicBezTo>
                <a:cubicBezTo>
                  <a:pt x="103" y="206"/>
                  <a:pt x="103" y="206"/>
                  <a:pt x="103" y="206"/>
                </a:cubicBezTo>
                <a:cubicBezTo>
                  <a:pt x="103" y="208"/>
                  <a:pt x="103" y="208"/>
                  <a:pt x="103" y="208"/>
                </a:cubicBezTo>
                <a:cubicBezTo>
                  <a:pt x="103" y="209"/>
                  <a:pt x="103" y="209"/>
                  <a:pt x="103" y="209"/>
                </a:cubicBezTo>
                <a:cubicBezTo>
                  <a:pt x="105" y="211"/>
                  <a:pt x="105" y="211"/>
                  <a:pt x="105" y="211"/>
                </a:cubicBezTo>
                <a:cubicBezTo>
                  <a:pt x="102" y="210"/>
                  <a:pt x="102" y="210"/>
                  <a:pt x="102" y="210"/>
                </a:cubicBezTo>
                <a:cubicBezTo>
                  <a:pt x="101" y="211"/>
                  <a:pt x="101" y="211"/>
                  <a:pt x="101" y="211"/>
                </a:cubicBezTo>
                <a:cubicBezTo>
                  <a:pt x="99" y="213"/>
                  <a:pt x="99" y="213"/>
                  <a:pt x="99" y="213"/>
                </a:cubicBezTo>
                <a:cubicBezTo>
                  <a:pt x="98" y="215"/>
                  <a:pt x="98" y="215"/>
                  <a:pt x="98" y="215"/>
                </a:cubicBezTo>
                <a:cubicBezTo>
                  <a:pt x="96" y="218"/>
                  <a:pt x="96" y="218"/>
                  <a:pt x="96" y="218"/>
                </a:cubicBezTo>
                <a:cubicBezTo>
                  <a:pt x="94" y="220"/>
                  <a:pt x="94" y="220"/>
                  <a:pt x="94" y="220"/>
                </a:cubicBezTo>
                <a:cubicBezTo>
                  <a:pt x="95" y="221"/>
                  <a:pt x="95" y="221"/>
                  <a:pt x="95" y="221"/>
                </a:cubicBezTo>
                <a:cubicBezTo>
                  <a:pt x="96" y="222"/>
                  <a:pt x="96" y="222"/>
                  <a:pt x="96" y="222"/>
                </a:cubicBezTo>
                <a:cubicBezTo>
                  <a:pt x="95" y="224"/>
                  <a:pt x="95" y="224"/>
                  <a:pt x="95" y="224"/>
                </a:cubicBezTo>
                <a:cubicBezTo>
                  <a:pt x="94" y="223"/>
                  <a:pt x="94" y="223"/>
                  <a:pt x="94" y="223"/>
                </a:cubicBezTo>
                <a:cubicBezTo>
                  <a:pt x="94" y="222"/>
                  <a:pt x="94" y="222"/>
                  <a:pt x="94" y="222"/>
                </a:cubicBezTo>
                <a:cubicBezTo>
                  <a:pt x="92" y="222"/>
                  <a:pt x="92" y="222"/>
                  <a:pt x="92" y="222"/>
                </a:cubicBezTo>
                <a:cubicBezTo>
                  <a:pt x="91" y="224"/>
                  <a:pt x="91" y="224"/>
                  <a:pt x="91" y="224"/>
                </a:cubicBezTo>
                <a:cubicBezTo>
                  <a:pt x="88" y="225"/>
                  <a:pt x="88" y="225"/>
                  <a:pt x="88" y="225"/>
                </a:cubicBezTo>
                <a:cubicBezTo>
                  <a:pt x="89" y="226"/>
                  <a:pt x="89" y="226"/>
                  <a:pt x="89" y="226"/>
                </a:cubicBezTo>
                <a:cubicBezTo>
                  <a:pt x="88" y="228"/>
                  <a:pt x="88" y="228"/>
                  <a:pt x="88" y="228"/>
                </a:cubicBezTo>
                <a:cubicBezTo>
                  <a:pt x="87" y="227"/>
                  <a:pt x="87" y="227"/>
                  <a:pt x="87" y="227"/>
                </a:cubicBezTo>
                <a:cubicBezTo>
                  <a:pt x="86" y="226"/>
                  <a:pt x="86" y="226"/>
                  <a:pt x="86" y="226"/>
                </a:cubicBezTo>
                <a:cubicBezTo>
                  <a:pt x="85" y="227"/>
                  <a:pt x="85" y="227"/>
                  <a:pt x="85" y="227"/>
                </a:cubicBezTo>
                <a:cubicBezTo>
                  <a:pt x="81" y="231"/>
                  <a:pt x="81" y="231"/>
                  <a:pt x="81" y="231"/>
                </a:cubicBezTo>
                <a:cubicBezTo>
                  <a:pt x="79" y="233"/>
                  <a:pt x="79" y="233"/>
                  <a:pt x="79" y="233"/>
                </a:cubicBezTo>
                <a:cubicBezTo>
                  <a:pt x="80" y="234"/>
                  <a:pt x="80" y="234"/>
                  <a:pt x="80" y="234"/>
                </a:cubicBezTo>
                <a:cubicBezTo>
                  <a:pt x="79" y="235"/>
                  <a:pt x="79" y="235"/>
                  <a:pt x="79" y="235"/>
                </a:cubicBezTo>
                <a:cubicBezTo>
                  <a:pt x="77" y="234"/>
                  <a:pt x="77" y="234"/>
                  <a:pt x="77" y="234"/>
                </a:cubicBezTo>
                <a:cubicBezTo>
                  <a:pt x="77" y="232"/>
                  <a:pt x="77" y="232"/>
                  <a:pt x="77" y="232"/>
                </a:cubicBezTo>
                <a:cubicBezTo>
                  <a:pt x="74" y="233"/>
                  <a:pt x="74" y="233"/>
                  <a:pt x="74" y="233"/>
                </a:cubicBezTo>
                <a:cubicBezTo>
                  <a:pt x="72" y="235"/>
                  <a:pt x="72" y="235"/>
                  <a:pt x="72" y="235"/>
                </a:cubicBezTo>
                <a:cubicBezTo>
                  <a:pt x="70" y="236"/>
                  <a:pt x="70" y="236"/>
                  <a:pt x="70" y="236"/>
                </a:cubicBezTo>
                <a:cubicBezTo>
                  <a:pt x="70" y="237"/>
                  <a:pt x="70" y="237"/>
                  <a:pt x="70" y="237"/>
                </a:cubicBezTo>
                <a:cubicBezTo>
                  <a:pt x="68" y="238"/>
                  <a:pt x="68" y="238"/>
                  <a:pt x="68" y="238"/>
                </a:cubicBezTo>
                <a:cubicBezTo>
                  <a:pt x="66" y="238"/>
                  <a:pt x="66" y="238"/>
                  <a:pt x="66" y="238"/>
                </a:cubicBezTo>
                <a:cubicBezTo>
                  <a:pt x="63" y="241"/>
                  <a:pt x="63" y="241"/>
                  <a:pt x="63" y="241"/>
                </a:cubicBezTo>
                <a:cubicBezTo>
                  <a:pt x="58" y="242"/>
                  <a:pt x="58" y="242"/>
                  <a:pt x="58" y="242"/>
                </a:cubicBezTo>
                <a:cubicBezTo>
                  <a:pt x="55" y="245"/>
                  <a:pt x="55" y="245"/>
                  <a:pt x="55" y="245"/>
                </a:cubicBezTo>
                <a:cubicBezTo>
                  <a:pt x="54" y="248"/>
                  <a:pt x="54" y="248"/>
                  <a:pt x="54" y="248"/>
                </a:cubicBezTo>
                <a:cubicBezTo>
                  <a:pt x="54" y="249"/>
                  <a:pt x="54" y="249"/>
                  <a:pt x="54" y="249"/>
                </a:cubicBezTo>
                <a:cubicBezTo>
                  <a:pt x="54" y="250"/>
                  <a:pt x="54" y="250"/>
                  <a:pt x="54" y="250"/>
                </a:cubicBezTo>
                <a:cubicBezTo>
                  <a:pt x="54" y="252"/>
                  <a:pt x="54" y="252"/>
                  <a:pt x="54" y="252"/>
                </a:cubicBezTo>
                <a:cubicBezTo>
                  <a:pt x="54" y="252"/>
                  <a:pt x="54" y="252"/>
                  <a:pt x="54" y="252"/>
                </a:cubicBezTo>
                <a:cubicBezTo>
                  <a:pt x="52" y="250"/>
                  <a:pt x="52" y="250"/>
                  <a:pt x="52" y="250"/>
                </a:cubicBezTo>
                <a:cubicBezTo>
                  <a:pt x="51" y="250"/>
                  <a:pt x="51" y="250"/>
                  <a:pt x="51" y="250"/>
                </a:cubicBezTo>
                <a:cubicBezTo>
                  <a:pt x="51" y="251"/>
                  <a:pt x="51" y="251"/>
                  <a:pt x="51" y="251"/>
                </a:cubicBezTo>
                <a:cubicBezTo>
                  <a:pt x="51" y="253"/>
                  <a:pt x="51" y="253"/>
                  <a:pt x="51" y="253"/>
                </a:cubicBezTo>
                <a:cubicBezTo>
                  <a:pt x="50" y="253"/>
                  <a:pt x="50" y="253"/>
                  <a:pt x="50" y="253"/>
                </a:cubicBezTo>
                <a:cubicBezTo>
                  <a:pt x="49" y="252"/>
                  <a:pt x="49" y="252"/>
                  <a:pt x="49" y="252"/>
                </a:cubicBezTo>
                <a:cubicBezTo>
                  <a:pt x="49" y="250"/>
                  <a:pt x="49" y="250"/>
                  <a:pt x="49" y="250"/>
                </a:cubicBezTo>
                <a:cubicBezTo>
                  <a:pt x="50" y="249"/>
                  <a:pt x="50" y="249"/>
                  <a:pt x="50" y="249"/>
                </a:cubicBezTo>
                <a:cubicBezTo>
                  <a:pt x="49" y="248"/>
                  <a:pt x="49" y="248"/>
                  <a:pt x="49" y="248"/>
                </a:cubicBezTo>
                <a:cubicBezTo>
                  <a:pt x="47" y="248"/>
                  <a:pt x="47" y="248"/>
                  <a:pt x="47" y="248"/>
                </a:cubicBezTo>
                <a:cubicBezTo>
                  <a:pt x="46" y="248"/>
                  <a:pt x="46" y="248"/>
                  <a:pt x="46" y="248"/>
                </a:cubicBezTo>
                <a:cubicBezTo>
                  <a:pt x="44" y="248"/>
                  <a:pt x="44" y="248"/>
                  <a:pt x="44" y="248"/>
                </a:cubicBezTo>
                <a:cubicBezTo>
                  <a:pt x="41" y="249"/>
                  <a:pt x="41" y="249"/>
                  <a:pt x="41" y="249"/>
                </a:cubicBezTo>
                <a:cubicBezTo>
                  <a:pt x="39" y="250"/>
                  <a:pt x="39" y="250"/>
                  <a:pt x="39" y="250"/>
                </a:cubicBezTo>
                <a:cubicBezTo>
                  <a:pt x="38" y="251"/>
                  <a:pt x="38" y="251"/>
                  <a:pt x="38" y="251"/>
                </a:cubicBezTo>
                <a:cubicBezTo>
                  <a:pt x="35" y="252"/>
                  <a:pt x="35" y="252"/>
                  <a:pt x="35" y="252"/>
                </a:cubicBezTo>
                <a:cubicBezTo>
                  <a:pt x="33" y="254"/>
                  <a:pt x="33" y="254"/>
                  <a:pt x="33" y="254"/>
                </a:cubicBezTo>
                <a:cubicBezTo>
                  <a:pt x="30" y="256"/>
                  <a:pt x="30" y="256"/>
                  <a:pt x="30" y="256"/>
                </a:cubicBezTo>
                <a:cubicBezTo>
                  <a:pt x="31" y="257"/>
                  <a:pt x="31" y="257"/>
                  <a:pt x="31" y="257"/>
                </a:cubicBezTo>
                <a:cubicBezTo>
                  <a:pt x="30" y="258"/>
                  <a:pt x="30" y="258"/>
                  <a:pt x="30" y="258"/>
                </a:cubicBezTo>
                <a:cubicBezTo>
                  <a:pt x="29" y="258"/>
                  <a:pt x="29" y="258"/>
                  <a:pt x="29" y="258"/>
                </a:cubicBezTo>
                <a:cubicBezTo>
                  <a:pt x="27" y="259"/>
                  <a:pt x="27" y="259"/>
                  <a:pt x="27" y="259"/>
                </a:cubicBezTo>
                <a:cubicBezTo>
                  <a:pt x="25" y="260"/>
                  <a:pt x="25" y="260"/>
                  <a:pt x="25" y="260"/>
                </a:cubicBezTo>
                <a:cubicBezTo>
                  <a:pt x="25" y="261"/>
                  <a:pt x="25" y="261"/>
                  <a:pt x="25" y="261"/>
                </a:cubicBezTo>
                <a:cubicBezTo>
                  <a:pt x="24" y="261"/>
                  <a:pt x="24" y="261"/>
                  <a:pt x="24" y="261"/>
                </a:cubicBezTo>
                <a:cubicBezTo>
                  <a:pt x="22" y="261"/>
                  <a:pt x="22" y="261"/>
                  <a:pt x="22" y="261"/>
                </a:cubicBezTo>
                <a:cubicBezTo>
                  <a:pt x="20" y="261"/>
                  <a:pt x="20" y="261"/>
                  <a:pt x="20" y="261"/>
                </a:cubicBezTo>
                <a:cubicBezTo>
                  <a:pt x="20" y="263"/>
                  <a:pt x="20" y="263"/>
                  <a:pt x="20" y="263"/>
                </a:cubicBezTo>
                <a:cubicBezTo>
                  <a:pt x="19" y="265"/>
                  <a:pt x="19" y="265"/>
                  <a:pt x="19" y="265"/>
                </a:cubicBezTo>
                <a:cubicBezTo>
                  <a:pt x="20" y="266"/>
                  <a:pt x="20" y="266"/>
                  <a:pt x="20" y="266"/>
                </a:cubicBezTo>
                <a:cubicBezTo>
                  <a:pt x="21" y="265"/>
                  <a:pt x="21" y="265"/>
                  <a:pt x="21" y="265"/>
                </a:cubicBezTo>
                <a:cubicBezTo>
                  <a:pt x="22" y="264"/>
                  <a:pt x="22" y="264"/>
                  <a:pt x="22" y="264"/>
                </a:cubicBezTo>
                <a:cubicBezTo>
                  <a:pt x="21" y="263"/>
                  <a:pt x="21" y="263"/>
                  <a:pt x="21" y="263"/>
                </a:cubicBezTo>
                <a:cubicBezTo>
                  <a:pt x="23" y="262"/>
                  <a:pt x="23" y="262"/>
                  <a:pt x="23" y="262"/>
                </a:cubicBezTo>
                <a:cubicBezTo>
                  <a:pt x="23" y="263"/>
                  <a:pt x="23" y="263"/>
                  <a:pt x="23" y="263"/>
                </a:cubicBezTo>
                <a:cubicBezTo>
                  <a:pt x="23" y="264"/>
                  <a:pt x="23" y="264"/>
                  <a:pt x="23" y="264"/>
                </a:cubicBezTo>
                <a:cubicBezTo>
                  <a:pt x="23" y="265"/>
                  <a:pt x="23" y="265"/>
                  <a:pt x="23" y="265"/>
                </a:cubicBezTo>
                <a:cubicBezTo>
                  <a:pt x="25" y="265"/>
                  <a:pt x="25" y="265"/>
                  <a:pt x="25" y="265"/>
                </a:cubicBezTo>
                <a:cubicBezTo>
                  <a:pt x="27" y="262"/>
                  <a:pt x="27" y="262"/>
                  <a:pt x="27" y="262"/>
                </a:cubicBezTo>
                <a:cubicBezTo>
                  <a:pt x="28" y="261"/>
                  <a:pt x="28" y="261"/>
                  <a:pt x="28" y="261"/>
                </a:cubicBezTo>
                <a:cubicBezTo>
                  <a:pt x="28" y="263"/>
                  <a:pt x="28" y="263"/>
                  <a:pt x="28" y="263"/>
                </a:cubicBezTo>
                <a:cubicBezTo>
                  <a:pt x="28" y="264"/>
                  <a:pt x="28" y="264"/>
                  <a:pt x="28" y="264"/>
                </a:cubicBezTo>
                <a:cubicBezTo>
                  <a:pt x="28" y="265"/>
                  <a:pt x="28" y="265"/>
                  <a:pt x="28" y="265"/>
                </a:cubicBezTo>
                <a:cubicBezTo>
                  <a:pt x="30" y="264"/>
                  <a:pt x="30" y="264"/>
                  <a:pt x="30" y="264"/>
                </a:cubicBezTo>
                <a:cubicBezTo>
                  <a:pt x="31" y="263"/>
                  <a:pt x="31" y="263"/>
                  <a:pt x="31" y="263"/>
                </a:cubicBezTo>
                <a:cubicBezTo>
                  <a:pt x="31" y="264"/>
                  <a:pt x="31" y="264"/>
                  <a:pt x="31" y="264"/>
                </a:cubicBezTo>
                <a:cubicBezTo>
                  <a:pt x="32" y="264"/>
                  <a:pt x="32" y="264"/>
                  <a:pt x="32" y="264"/>
                </a:cubicBezTo>
                <a:cubicBezTo>
                  <a:pt x="32" y="263"/>
                  <a:pt x="32" y="263"/>
                  <a:pt x="32" y="263"/>
                </a:cubicBezTo>
                <a:cubicBezTo>
                  <a:pt x="34" y="262"/>
                  <a:pt x="34" y="262"/>
                  <a:pt x="34" y="262"/>
                </a:cubicBezTo>
                <a:cubicBezTo>
                  <a:pt x="36" y="262"/>
                  <a:pt x="36" y="262"/>
                  <a:pt x="36" y="262"/>
                </a:cubicBezTo>
                <a:cubicBezTo>
                  <a:pt x="38" y="261"/>
                  <a:pt x="38" y="261"/>
                  <a:pt x="38" y="261"/>
                </a:cubicBezTo>
                <a:cubicBezTo>
                  <a:pt x="39" y="258"/>
                  <a:pt x="39" y="258"/>
                  <a:pt x="39" y="258"/>
                </a:cubicBezTo>
                <a:cubicBezTo>
                  <a:pt x="38" y="257"/>
                  <a:pt x="38" y="257"/>
                  <a:pt x="38" y="257"/>
                </a:cubicBezTo>
                <a:cubicBezTo>
                  <a:pt x="40" y="256"/>
                  <a:pt x="40" y="256"/>
                  <a:pt x="40" y="256"/>
                </a:cubicBezTo>
                <a:cubicBezTo>
                  <a:pt x="42" y="254"/>
                  <a:pt x="42" y="254"/>
                  <a:pt x="42" y="254"/>
                </a:cubicBezTo>
                <a:cubicBezTo>
                  <a:pt x="43" y="254"/>
                  <a:pt x="43" y="254"/>
                  <a:pt x="43" y="254"/>
                </a:cubicBezTo>
                <a:cubicBezTo>
                  <a:pt x="45" y="256"/>
                  <a:pt x="45" y="256"/>
                  <a:pt x="45" y="256"/>
                </a:cubicBezTo>
                <a:cubicBezTo>
                  <a:pt x="44" y="256"/>
                  <a:pt x="44" y="256"/>
                  <a:pt x="44" y="256"/>
                </a:cubicBezTo>
                <a:cubicBezTo>
                  <a:pt x="43" y="257"/>
                  <a:pt x="43" y="257"/>
                  <a:pt x="43" y="257"/>
                </a:cubicBezTo>
                <a:cubicBezTo>
                  <a:pt x="41" y="258"/>
                  <a:pt x="41" y="258"/>
                  <a:pt x="41" y="258"/>
                </a:cubicBezTo>
                <a:cubicBezTo>
                  <a:pt x="41" y="260"/>
                  <a:pt x="41" y="260"/>
                  <a:pt x="41" y="260"/>
                </a:cubicBezTo>
                <a:cubicBezTo>
                  <a:pt x="42" y="261"/>
                  <a:pt x="42" y="261"/>
                  <a:pt x="42" y="261"/>
                </a:cubicBezTo>
                <a:cubicBezTo>
                  <a:pt x="45" y="259"/>
                  <a:pt x="45" y="259"/>
                  <a:pt x="45" y="259"/>
                </a:cubicBezTo>
                <a:cubicBezTo>
                  <a:pt x="45" y="257"/>
                  <a:pt x="45" y="257"/>
                  <a:pt x="45" y="257"/>
                </a:cubicBezTo>
                <a:cubicBezTo>
                  <a:pt x="47" y="257"/>
                  <a:pt x="47" y="257"/>
                  <a:pt x="47" y="257"/>
                </a:cubicBezTo>
                <a:cubicBezTo>
                  <a:pt x="47" y="258"/>
                  <a:pt x="47" y="258"/>
                  <a:pt x="47" y="258"/>
                </a:cubicBezTo>
                <a:cubicBezTo>
                  <a:pt x="48" y="256"/>
                  <a:pt x="48" y="256"/>
                  <a:pt x="48" y="256"/>
                </a:cubicBezTo>
                <a:cubicBezTo>
                  <a:pt x="49" y="257"/>
                  <a:pt x="49" y="257"/>
                  <a:pt x="49" y="257"/>
                </a:cubicBezTo>
                <a:cubicBezTo>
                  <a:pt x="49" y="258"/>
                  <a:pt x="49" y="258"/>
                  <a:pt x="49" y="258"/>
                </a:cubicBezTo>
                <a:cubicBezTo>
                  <a:pt x="48" y="259"/>
                  <a:pt x="48" y="259"/>
                  <a:pt x="48" y="259"/>
                </a:cubicBezTo>
                <a:cubicBezTo>
                  <a:pt x="49" y="259"/>
                  <a:pt x="49" y="259"/>
                  <a:pt x="49" y="259"/>
                </a:cubicBezTo>
                <a:cubicBezTo>
                  <a:pt x="51" y="257"/>
                  <a:pt x="51" y="257"/>
                  <a:pt x="51" y="257"/>
                </a:cubicBezTo>
                <a:cubicBezTo>
                  <a:pt x="52" y="257"/>
                  <a:pt x="52" y="257"/>
                  <a:pt x="52" y="257"/>
                </a:cubicBezTo>
                <a:cubicBezTo>
                  <a:pt x="54" y="256"/>
                  <a:pt x="54" y="256"/>
                  <a:pt x="54" y="256"/>
                </a:cubicBezTo>
                <a:cubicBezTo>
                  <a:pt x="55" y="256"/>
                  <a:pt x="55" y="256"/>
                  <a:pt x="55" y="256"/>
                </a:cubicBezTo>
                <a:cubicBezTo>
                  <a:pt x="57" y="253"/>
                  <a:pt x="57" y="253"/>
                  <a:pt x="57" y="253"/>
                </a:cubicBezTo>
                <a:cubicBezTo>
                  <a:pt x="59" y="252"/>
                  <a:pt x="59" y="252"/>
                  <a:pt x="59" y="252"/>
                </a:cubicBezTo>
                <a:cubicBezTo>
                  <a:pt x="60" y="253"/>
                  <a:pt x="60" y="253"/>
                  <a:pt x="60" y="253"/>
                </a:cubicBezTo>
                <a:cubicBezTo>
                  <a:pt x="60" y="254"/>
                  <a:pt x="60" y="254"/>
                  <a:pt x="60" y="254"/>
                </a:cubicBezTo>
                <a:cubicBezTo>
                  <a:pt x="59" y="256"/>
                  <a:pt x="59" y="256"/>
                  <a:pt x="59" y="256"/>
                </a:cubicBezTo>
                <a:cubicBezTo>
                  <a:pt x="58" y="258"/>
                  <a:pt x="58" y="258"/>
                  <a:pt x="58" y="258"/>
                </a:cubicBezTo>
                <a:cubicBezTo>
                  <a:pt x="58" y="259"/>
                  <a:pt x="58" y="259"/>
                  <a:pt x="58" y="259"/>
                </a:cubicBezTo>
                <a:cubicBezTo>
                  <a:pt x="59" y="259"/>
                  <a:pt x="59" y="259"/>
                  <a:pt x="59" y="259"/>
                </a:cubicBezTo>
                <a:cubicBezTo>
                  <a:pt x="62" y="256"/>
                  <a:pt x="62" y="256"/>
                  <a:pt x="62" y="256"/>
                </a:cubicBezTo>
                <a:cubicBezTo>
                  <a:pt x="62" y="253"/>
                  <a:pt x="62" y="253"/>
                  <a:pt x="62" y="253"/>
                </a:cubicBezTo>
                <a:cubicBezTo>
                  <a:pt x="62" y="252"/>
                  <a:pt x="62" y="252"/>
                  <a:pt x="62" y="252"/>
                </a:cubicBezTo>
                <a:cubicBezTo>
                  <a:pt x="63" y="254"/>
                  <a:pt x="63" y="254"/>
                  <a:pt x="63" y="254"/>
                </a:cubicBezTo>
                <a:cubicBezTo>
                  <a:pt x="64" y="253"/>
                  <a:pt x="64" y="253"/>
                  <a:pt x="64" y="253"/>
                </a:cubicBezTo>
                <a:cubicBezTo>
                  <a:pt x="66" y="253"/>
                  <a:pt x="66" y="253"/>
                  <a:pt x="66" y="253"/>
                </a:cubicBezTo>
                <a:cubicBezTo>
                  <a:pt x="68" y="253"/>
                  <a:pt x="68" y="253"/>
                  <a:pt x="68" y="253"/>
                </a:cubicBezTo>
                <a:cubicBezTo>
                  <a:pt x="70" y="251"/>
                  <a:pt x="70" y="251"/>
                  <a:pt x="70" y="251"/>
                </a:cubicBezTo>
                <a:cubicBezTo>
                  <a:pt x="70" y="251"/>
                  <a:pt x="70" y="251"/>
                  <a:pt x="70" y="251"/>
                </a:cubicBezTo>
                <a:cubicBezTo>
                  <a:pt x="71" y="251"/>
                  <a:pt x="71" y="251"/>
                  <a:pt x="71" y="251"/>
                </a:cubicBezTo>
                <a:cubicBezTo>
                  <a:pt x="72" y="249"/>
                  <a:pt x="72" y="249"/>
                  <a:pt x="72" y="249"/>
                </a:cubicBezTo>
                <a:cubicBezTo>
                  <a:pt x="73" y="248"/>
                  <a:pt x="73" y="248"/>
                  <a:pt x="73" y="248"/>
                </a:cubicBezTo>
                <a:cubicBezTo>
                  <a:pt x="73" y="249"/>
                  <a:pt x="73" y="249"/>
                  <a:pt x="73" y="249"/>
                </a:cubicBezTo>
                <a:cubicBezTo>
                  <a:pt x="73" y="250"/>
                  <a:pt x="73" y="250"/>
                  <a:pt x="73" y="250"/>
                </a:cubicBezTo>
                <a:cubicBezTo>
                  <a:pt x="73" y="252"/>
                  <a:pt x="73" y="252"/>
                  <a:pt x="73" y="252"/>
                </a:cubicBezTo>
                <a:cubicBezTo>
                  <a:pt x="74" y="251"/>
                  <a:pt x="74" y="251"/>
                  <a:pt x="74" y="251"/>
                </a:cubicBezTo>
                <a:cubicBezTo>
                  <a:pt x="76" y="250"/>
                  <a:pt x="76" y="250"/>
                  <a:pt x="76" y="250"/>
                </a:cubicBezTo>
                <a:cubicBezTo>
                  <a:pt x="75" y="249"/>
                  <a:pt x="75" y="249"/>
                  <a:pt x="75" y="249"/>
                </a:cubicBezTo>
                <a:cubicBezTo>
                  <a:pt x="76" y="248"/>
                  <a:pt x="76" y="248"/>
                  <a:pt x="76" y="248"/>
                </a:cubicBezTo>
                <a:cubicBezTo>
                  <a:pt x="76" y="247"/>
                  <a:pt x="76" y="247"/>
                  <a:pt x="76" y="247"/>
                </a:cubicBezTo>
                <a:cubicBezTo>
                  <a:pt x="73" y="247"/>
                  <a:pt x="73" y="247"/>
                  <a:pt x="73" y="247"/>
                </a:cubicBezTo>
                <a:cubicBezTo>
                  <a:pt x="73" y="246"/>
                  <a:pt x="73" y="246"/>
                  <a:pt x="73" y="246"/>
                </a:cubicBezTo>
                <a:cubicBezTo>
                  <a:pt x="75" y="246"/>
                  <a:pt x="75" y="246"/>
                  <a:pt x="75" y="246"/>
                </a:cubicBezTo>
                <a:cubicBezTo>
                  <a:pt x="78" y="244"/>
                  <a:pt x="78" y="244"/>
                  <a:pt x="78" y="244"/>
                </a:cubicBezTo>
                <a:cubicBezTo>
                  <a:pt x="82" y="244"/>
                  <a:pt x="82" y="244"/>
                  <a:pt x="82" y="244"/>
                </a:cubicBezTo>
                <a:cubicBezTo>
                  <a:pt x="83" y="243"/>
                  <a:pt x="83" y="243"/>
                  <a:pt x="83" y="243"/>
                </a:cubicBezTo>
                <a:cubicBezTo>
                  <a:pt x="83" y="242"/>
                  <a:pt x="83" y="242"/>
                  <a:pt x="83" y="242"/>
                </a:cubicBezTo>
                <a:cubicBezTo>
                  <a:pt x="82" y="242"/>
                  <a:pt x="82" y="242"/>
                  <a:pt x="82" y="242"/>
                </a:cubicBezTo>
                <a:cubicBezTo>
                  <a:pt x="83" y="241"/>
                  <a:pt x="83" y="241"/>
                  <a:pt x="83" y="241"/>
                </a:cubicBezTo>
                <a:cubicBezTo>
                  <a:pt x="85" y="241"/>
                  <a:pt x="85" y="241"/>
                  <a:pt x="85" y="241"/>
                </a:cubicBezTo>
                <a:cubicBezTo>
                  <a:pt x="86" y="240"/>
                  <a:pt x="86" y="240"/>
                  <a:pt x="86" y="240"/>
                </a:cubicBezTo>
                <a:cubicBezTo>
                  <a:pt x="87" y="240"/>
                  <a:pt x="87" y="240"/>
                  <a:pt x="87" y="240"/>
                </a:cubicBezTo>
                <a:cubicBezTo>
                  <a:pt x="87" y="242"/>
                  <a:pt x="87" y="242"/>
                  <a:pt x="87" y="242"/>
                </a:cubicBezTo>
                <a:cubicBezTo>
                  <a:pt x="88" y="242"/>
                  <a:pt x="88" y="242"/>
                  <a:pt x="88" y="242"/>
                </a:cubicBezTo>
                <a:cubicBezTo>
                  <a:pt x="89" y="240"/>
                  <a:pt x="89" y="240"/>
                  <a:pt x="89" y="240"/>
                </a:cubicBezTo>
                <a:cubicBezTo>
                  <a:pt x="89" y="240"/>
                  <a:pt x="89" y="240"/>
                  <a:pt x="89" y="240"/>
                </a:cubicBezTo>
                <a:cubicBezTo>
                  <a:pt x="90" y="238"/>
                  <a:pt x="90" y="238"/>
                  <a:pt x="90" y="238"/>
                </a:cubicBezTo>
                <a:cubicBezTo>
                  <a:pt x="90" y="237"/>
                  <a:pt x="90" y="237"/>
                  <a:pt x="90" y="237"/>
                </a:cubicBezTo>
                <a:cubicBezTo>
                  <a:pt x="91" y="236"/>
                  <a:pt x="91" y="236"/>
                  <a:pt x="91" y="236"/>
                </a:cubicBezTo>
                <a:cubicBezTo>
                  <a:pt x="92" y="237"/>
                  <a:pt x="92" y="237"/>
                  <a:pt x="92" y="237"/>
                </a:cubicBezTo>
                <a:cubicBezTo>
                  <a:pt x="92" y="238"/>
                  <a:pt x="92" y="238"/>
                  <a:pt x="92" y="238"/>
                </a:cubicBezTo>
                <a:cubicBezTo>
                  <a:pt x="93" y="239"/>
                  <a:pt x="93" y="239"/>
                  <a:pt x="93" y="239"/>
                </a:cubicBezTo>
                <a:cubicBezTo>
                  <a:pt x="95" y="237"/>
                  <a:pt x="95" y="237"/>
                  <a:pt x="95" y="237"/>
                </a:cubicBezTo>
                <a:cubicBezTo>
                  <a:pt x="96" y="236"/>
                  <a:pt x="96" y="236"/>
                  <a:pt x="96" y="236"/>
                </a:cubicBezTo>
                <a:cubicBezTo>
                  <a:pt x="98" y="236"/>
                  <a:pt x="98" y="236"/>
                  <a:pt x="98" y="236"/>
                </a:cubicBezTo>
                <a:cubicBezTo>
                  <a:pt x="99" y="234"/>
                  <a:pt x="99" y="234"/>
                  <a:pt x="99" y="234"/>
                </a:cubicBezTo>
                <a:cubicBezTo>
                  <a:pt x="99" y="234"/>
                  <a:pt x="99" y="234"/>
                  <a:pt x="99" y="234"/>
                </a:cubicBezTo>
                <a:cubicBezTo>
                  <a:pt x="100" y="235"/>
                  <a:pt x="100" y="235"/>
                  <a:pt x="100" y="235"/>
                </a:cubicBezTo>
                <a:cubicBezTo>
                  <a:pt x="102" y="234"/>
                  <a:pt x="102" y="234"/>
                  <a:pt x="102" y="234"/>
                </a:cubicBezTo>
                <a:cubicBezTo>
                  <a:pt x="104" y="232"/>
                  <a:pt x="104" y="232"/>
                  <a:pt x="104" y="232"/>
                </a:cubicBezTo>
                <a:cubicBezTo>
                  <a:pt x="104" y="230"/>
                  <a:pt x="104" y="230"/>
                  <a:pt x="104" y="230"/>
                </a:cubicBezTo>
                <a:cubicBezTo>
                  <a:pt x="104" y="230"/>
                  <a:pt x="104" y="230"/>
                  <a:pt x="104" y="230"/>
                </a:cubicBezTo>
                <a:cubicBezTo>
                  <a:pt x="102" y="230"/>
                  <a:pt x="102" y="230"/>
                  <a:pt x="102" y="230"/>
                </a:cubicBezTo>
                <a:cubicBezTo>
                  <a:pt x="102" y="230"/>
                  <a:pt x="102" y="230"/>
                  <a:pt x="102" y="230"/>
                </a:cubicBezTo>
                <a:cubicBezTo>
                  <a:pt x="105" y="228"/>
                  <a:pt x="105" y="228"/>
                  <a:pt x="105" y="228"/>
                </a:cubicBezTo>
                <a:cubicBezTo>
                  <a:pt x="106" y="227"/>
                  <a:pt x="106" y="227"/>
                  <a:pt x="106" y="227"/>
                </a:cubicBezTo>
                <a:cubicBezTo>
                  <a:pt x="108" y="226"/>
                  <a:pt x="108" y="226"/>
                  <a:pt x="108" y="226"/>
                </a:cubicBezTo>
                <a:cubicBezTo>
                  <a:pt x="109" y="226"/>
                  <a:pt x="109" y="226"/>
                  <a:pt x="109" y="226"/>
                </a:cubicBezTo>
                <a:cubicBezTo>
                  <a:pt x="109" y="226"/>
                  <a:pt x="109" y="226"/>
                  <a:pt x="109" y="226"/>
                </a:cubicBezTo>
                <a:cubicBezTo>
                  <a:pt x="111" y="224"/>
                  <a:pt x="111" y="224"/>
                  <a:pt x="111" y="224"/>
                </a:cubicBezTo>
                <a:cubicBezTo>
                  <a:pt x="113" y="223"/>
                  <a:pt x="113" y="223"/>
                  <a:pt x="113" y="223"/>
                </a:cubicBezTo>
                <a:cubicBezTo>
                  <a:pt x="114" y="222"/>
                  <a:pt x="114" y="222"/>
                  <a:pt x="114" y="222"/>
                </a:cubicBezTo>
                <a:cubicBezTo>
                  <a:pt x="115" y="222"/>
                  <a:pt x="115" y="222"/>
                  <a:pt x="115" y="222"/>
                </a:cubicBezTo>
                <a:cubicBezTo>
                  <a:pt x="116" y="221"/>
                  <a:pt x="116" y="221"/>
                  <a:pt x="116" y="221"/>
                </a:cubicBezTo>
                <a:cubicBezTo>
                  <a:pt x="117" y="220"/>
                  <a:pt x="117" y="220"/>
                  <a:pt x="117" y="220"/>
                </a:cubicBezTo>
                <a:cubicBezTo>
                  <a:pt x="118" y="222"/>
                  <a:pt x="118" y="222"/>
                  <a:pt x="118" y="222"/>
                </a:cubicBezTo>
                <a:cubicBezTo>
                  <a:pt x="118" y="222"/>
                  <a:pt x="118" y="222"/>
                  <a:pt x="118" y="222"/>
                </a:cubicBezTo>
                <a:cubicBezTo>
                  <a:pt x="119" y="221"/>
                  <a:pt x="119" y="221"/>
                  <a:pt x="119" y="221"/>
                </a:cubicBezTo>
                <a:cubicBezTo>
                  <a:pt x="121" y="221"/>
                  <a:pt x="121" y="221"/>
                  <a:pt x="121" y="221"/>
                </a:cubicBezTo>
                <a:cubicBezTo>
                  <a:pt x="121" y="220"/>
                  <a:pt x="121" y="220"/>
                  <a:pt x="121" y="220"/>
                </a:cubicBezTo>
                <a:cubicBezTo>
                  <a:pt x="121" y="219"/>
                  <a:pt x="121" y="219"/>
                  <a:pt x="121" y="219"/>
                </a:cubicBezTo>
                <a:cubicBezTo>
                  <a:pt x="123" y="218"/>
                  <a:pt x="123" y="218"/>
                  <a:pt x="123" y="218"/>
                </a:cubicBezTo>
                <a:cubicBezTo>
                  <a:pt x="124" y="217"/>
                  <a:pt x="124" y="217"/>
                  <a:pt x="124" y="217"/>
                </a:cubicBezTo>
                <a:cubicBezTo>
                  <a:pt x="124" y="218"/>
                  <a:pt x="124" y="218"/>
                  <a:pt x="124" y="218"/>
                </a:cubicBezTo>
                <a:cubicBezTo>
                  <a:pt x="127" y="218"/>
                  <a:pt x="127" y="218"/>
                  <a:pt x="127" y="218"/>
                </a:cubicBezTo>
                <a:cubicBezTo>
                  <a:pt x="128" y="216"/>
                  <a:pt x="128" y="216"/>
                  <a:pt x="128" y="216"/>
                </a:cubicBezTo>
                <a:cubicBezTo>
                  <a:pt x="129" y="216"/>
                  <a:pt x="129" y="216"/>
                  <a:pt x="129" y="216"/>
                </a:cubicBezTo>
                <a:cubicBezTo>
                  <a:pt x="129" y="217"/>
                  <a:pt x="129" y="217"/>
                  <a:pt x="129" y="217"/>
                </a:cubicBezTo>
                <a:cubicBezTo>
                  <a:pt x="129" y="217"/>
                  <a:pt x="129" y="217"/>
                  <a:pt x="129" y="217"/>
                </a:cubicBezTo>
                <a:cubicBezTo>
                  <a:pt x="131" y="216"/>
                  <a:pt x="131" y="216"/>
                  <a:pt x="131" y="216"/>
                </a:cubicBezTo>
                <a:cubicBezTo>
                  <a:pt x="131" y="217"/>
                  <a:pt x="131" y="217"/>
                  <a:pt x="131" y="217"/>
                </a:cubicBezTo>
                <a:cubicBezTo>
                  <a:pt x="132" y="217"/>
                  <a:pt x="132" y="217"/>
                  <a:pt x="132" y="217"/>
                </a:cubicBezTo>
                <a:cubicBezTo>
                  <a:pt x="133" y="214"/>
                  <a:pt x="133" y="214"/>
                  <a:pt x="133" y="214"/>
                </a:cubicBezTo>
                <a:cubicBezTo>
                  <a:pt x="132" y="214"/>
                  <a:pt x="132" y="214"/>
                  <a:pt x="132" y="214"/>
                </a:cubicBezTo>
                <a:cubicBezTo>
                  <a:pt x="131" y="214"/>
                  <a:pt x="131" y="214"/>
                  <a:pt x="131" y="214"/>
                </a:cubicBezTo>
                <a:cubicBezTo>
                  <a:pt x="132" y="213"/>
                  <a:pt x="132" y="213"/>
                  <a:pt x="132" y="213"/>
                </a:cubicBezTo>
                <a:cubicBezTo>
                  <a:pt x="134" y="211"/>
                  <a:pt x="134" y="211"/>
                  <a:pt x="134" y="211"/>
                </a:cubicBezTo>
                <a:cubicBezTo>
                  <a:pt x="135" y="211"/>
                  <a:pt x="135" y="211"/>
                  <a:pt x="135" y="211"/>
                </a:cubicBezTo>
                <a:cubicBezTo>
                  <a:pt x="136" y="212"/>
                  <a:pt x="136" y="212"/>
                  <a:pt x="136" y="212"/>
                </a:cubicBezTo>
                <a:cubicBezTo>
                  <a:pt x="136" y="211"/>
                  <a:pt x="136" y="211"/>
                  <a:pt x="136" y="211"/>
                </a:cubicBezTo>
                <a:cubicBezTo>
                  <a:pt x="135" y="210"/>
                  <a:pt x="135" y="210"/>
                  <a:pt x="135" y="210"/>
                </a:cubicBezTo>
                <a:cubicBezTo>
                  <a:pt x="134" y="210"/>
                  <a:pt x="134" y="210"/>
                  <a:pt x="134" y="210"/>
                </a:cubicBezTo>
                <a:cubicBezTo>
                  <a:pt x="135" y="209"/>
                  <a:pt x="135" y="209"/>
                  <a:pt x="135" y="209"/>
                </a:cubicBezTo>
                <a:cubicBezTo>
                  <a:pt x="137" y="210"/>
                  <a:pt x="137" y="210"/>
                  <a:pt x="137" y="210"/>
                </a:cubicBezTo>
                <a:cubicBezTo>
                  <a:pt x="139" y="208"/>
                  <a:pt x="139" y="208"/>
                  <a:pt x="139" y="208"/>
                </a:cubicBezTo>
                <a:cubicBezTo>
                  <a:pt x="141" y="208"/>
                  <a:pt x="141" y="208"/>
                  <a:pt x="141" y="208"/>
                </a:cubicBezTo>
                <a:cubicBezTo>
                  <a:pt x="143" y="206"/>
                  <a:pt x="143" y="206"/>
                  <a:pt x="143" y="206"/>
                </a:cubicBezTo>
                <a:cubicBezTo>
                  <a:pt x="145" y="206"/>
                  <a:pt x="145" y="206"/>
                  <a:pt x="145" y="206"/>
                </a:cubicBezTo>
                <a:cubicBezTo>
                  <a:pt x="147" y="203"/>
                  <a:pt x="147" y="203"/>
                  <a:pt x="147" y="203"/>
                </a:cubicBezTo>
                <a:cubicBezTo>
                  <a:pt x="147" y="200"/>
                  <a:pt x="147" y="200"/>
                  <a:pt x="147" y="200"/>
                </a:cubicBezTo>
                <a:cubicBezTo>
                  <a:pt x="146" y="200"/>
                  <a:pt x="146" y="200"/>
                  <a:pt x="146" y="200"/>
                </a:cubicBezTo>
                <a:cubicBezTo>
                  <a:pt x="146" y="200"/>
                  <a:pt x="146" y="200"/>
                  <a:pt x="146" y="200"/>
                </a:cubicBezTo>
                <a:cubicBezTo>
                  <a:pt x="145" y="197"/>
                  <a:pt x="145" y="197"/>
                  <a:pt x="145" y="197"/>
                </a:cubicBezTo>
                <a:cubicBezTo>
                  <a:pt x="144" y="197"/>
                  <a:pt x="144" y="197"/>
                  <a:pt x="144" y="197"/>
                </a:cubicBezTo>
                <a:cubicBezTo>
                  <a:pt x="141" y="197"/>
                  <a:pt x="141" y="197"/>
                  <a:pt x="141" y="197"/>
                </a:cubicBezTo>
                <a:cubicBezTo>
                  <a:pt x="142" y="195"/>
                  <a:pt x="142" y="195"/>
                  <a:pt x="142" y="195"/>
                </a:cubicBezTo>
                <a:cubicBezTo>
                  <a:pt x="142" y="193"/>
                  <a:pt x="142" y="193"/>
                  <a:pt x="142" y="193"/>
                </a:cubicBezTo>
                <a:cubicBezTo>
                  <a:pt x="144" y="192"/>
                  <a:pt x="144" y="192"/>
                  <a:pt x="144" y="192"/>
                </a:cubicBezTo>
                <a:cubicBezTo>
                  <a:pt x="145" y="191"/>
                  <a:pt x="145" y="191"/>
                  <a:pt x="145" y="191"/>
                </a:cubicBezTo>
                <a:cubicBezTo>
                  <a:pt x="146" y="191"/>
                  <a:pt x="146" y="191"/>
                  <a:pt x="146" y="191"/>
                </a:cubicBezTo>
                <a:cubicBezTo>
                  <a:pt x="147" y="189"/>
                  <a:pt x="147" y="189"/>
                  <a:pt x="147" y="189"/>
                </a:cubicBezTo>
                <a:cubicBezTo>
                  <a:pt x="146" y="189"/>
                  <a:pt x="146" y="189"/>
                  <a:pt x="146" y="189"/>
                </a:cubicBezTo>
                <a:cubicBezTo>
                  <a:pt x="147" y="188"/>
                  <a:pt x="147" y="188"/>
                  <a:pt x="147" y="188"/>
                </a:cubicBezTo>
                <a:cubicBezTo>
                  <a:pt x="149" y="189"/>
                  <a:pt x="149" y="189"/>
                  <a:pt x="149" y="189"/>
                </a:cubicBezTo>
                <a:cubicBezTo>
                  <a:pt x="152" y="187"/>
                  <a:pt x="152" y="187"/>
                  <a:pt x="152" y="187"/>
                </a:cubicBezTo>
                <a:cubicBezTo>
                  <a:pt x="154" y="189"/>
                  <a:pt x="154" y="189"/>
                  <a:pt x="154" y="189"/>
                </a:cubicBezTo>
                <a:cubicBezTo>
                  <a:pt x="156" y="187"/>
                  <a:pt x="156" y="187"/>
                  <a:pt x="156" y="187"/>
                </a:cubicBezTo>
                <a:cubicBezTo>
                  <a:pt x="156" y="189"/>
                  <a:pt x="156" y="189"/>
                  <a:pt x="156" y="189"/>
                </a:cubicBezTo>
                <a:cubicBezTo>
                  <a:pt x="157" y="190"/>
                  <a:pt x="157" y="190"/>
                  <a:pt x="157" y="190"/>
                </a:cubicBezTo>
                <a:cubicBezTo>
                  <a:pt x="158" y="190"/>
                  <a:pt x="158" y="190"/>
                  <a:pt x="158" y="190"/>
                </a:cubicBezTo>
                <a:cubicBezTo>
                  <a:pt x="160" y="187"/>
                  <a:pt x="160" y="187"/>
                  <a:pt x="160" y="187"/>
                </a:cubicBezTo>
                <a:cubicBezTo>
                  <a:pt x="159" y="186"/>
                  <a:pt x="159" y="186"/>
                  <a:pt x="159" y="186"/>
                </a:cubicBezTo>
                <a:cubicBezTo>
                  <a:pt x="158" y="186"/>
                  <a:pt x="158" y="186"/>
                  <a:pt x="158" y="186"/>
                </a:cubicBezTo>
                <a:cubicBezTo>
                  <a:pt x="158" y="185"/>
                  <a:pt x="158" y="185"/>
                  <a:pt x="158" y="185"/>
                </a:cubicBezTo>
                <a:cubicBezTo>
                  <a:pt x="159" y="185"/>
                  <a:pt x="159" y="185"/>
                  <a:pt x="159" y="185"/>
                </a:cubicBezTo>
                <a:cubicBezTo>
                  <a:pt x="161" y="185"/>
                  <a:pt x="161" y="185"/>
                  <a:pt x="161" y="185"/>
                </a:cubicBezTo>
                <a:cubicBezTo>
                  <a:pt x="164" y="184"/>
                  <a:pt x="164" y="184"/>
                  <a:pt x="164" y="184"/>
                </a:cubicBezTo>
                <a:cubicBezTo>
                  <a:pt x="165" y="182"/>
                  <a:pt x="165" y="182"/>
                  <a:pt x="165" y="182"/>
                </a:cubicBezTo>
                <a:cubicBezTo>
                  <a:pt x="164" y="179"/>
                  <a:pt x="164" y="179"/>
                  <a:pt x="164" y="179"/>
                </a:cubicBezTo>
                <a:cubicBezTo>
                  <a:pt x="161" y="177"/>
                  <a:pt x="161" y="177"/>
                  <a:pt x="161" y="177"/>
                </a:cubicBezTo>
                <a:cubicBezTo>
                  <a:pt x="160" y="178"/>
                  <a:pt x="160" y="178"/>
                  <a:pt x="160" y="178"/>
                </a:cubicBezTo>
                <a:cubicBezTo>
                  <a:pt x="159" y="178"/>
                  <a:pt x="159" y="178"/>
                  <a:pt x="159" y="178"/>
                </a:cubicBezTo>
                <a:cubicBezTo>
                  <a:pt x="159" y="178"/>
                  <a:pt x="159" y="178"/>
                  <a:pt x="159" y="178"/>
                </a:cubicBezTo>
                <a:cubicBezTo>
                  <a:pt x="160" y="177"/>
                  <a:pt x="160" y="177"/>
                  <a:pt x="160" y="177"/>
                </a:cubicBezTo>
                <a:cubicBezTo>
                  <a:pt x="163" y="177"/>
                  <a:pt x="163" y="177"/>
                  <a:pt x="163" y="177"/>
                </a:cubicBezTo>
                <a:cubicBezTo>
                  <a:pt x="164" y="178"/>
                  <a:pt x="164" y="178"/>
                  <a:pt x="164" y="178"/>
                </a:cubicBezTo>
                <a:cubicBezTo>
                  <a:pt x="167" y="178"/>
                  <a:pt x="167" y="178"/>
                  <a:pt x="167" y="178"/>
                </a:cubicBezTo>
                <a:cubicBezTo>
                  <a:pt x="169" y="176"/>
                  <a:pt x="169" y="176"/>
                  <a:pt x="169" y="176"/>
                </a:cubicBezTo>
                <a:cubicBezTo>
                  <a:pt x="169" y="175"/>
                  <a:pt x="169" y="175"/>
                  <a:pt x="169" y="175"/>
                </a:cubicBezTo>
                <a:cubicBezTo>
                  <a:pt x="174" y="172"/>
                  <a:pt x="174" y="172"/>
                  <a:pt x="174" y="172"/>
                </a:cubicBezTo>
                <a:cubicBezTo>
                  <a:pt x="176" y="170"/>
                  <a:pt x="176" y="170"/>
                  <a:pt x="176" y="170"/>
                </a:cubicBezTo>
                <a:cubicBezTo>
                  <a:pt x="178" y="170"/>
                  <a:pt x="178" y="170"/>
                  <a:pt x="178" y="170"/>
                </a:cubicBezTo>
                <a:cubicBezTo>
                  <a:pt x="179" y="169"/>
                  <a:pt x="179" y="169"/>
                  <a:pt x="179" y="169"/>
                </a:cubicBezTo>
                <a:cubicBezTo>
                  <a:pt x="179" y="168"/>
                  <a:pt x="179" y="168"/>
                  <a:pt x="179" y="168"/>
                </a:cubicBezTo>
                <a:cubicBezTo>
                  <a:pt x="183" y="165"/>
                  <a:pt x="183" y="165"/>
                  <a:pt x="183" y="165"/>
                </a:cubicBezTo>
                <a:cubicBezTo>
                  <a:pt x="187" y="164"/>
                  <a:pt x="187" y="164"/>
                  <a:pt x="187" y="164"/>
                </a:cubicBezTo>
                <a:cubicBezTo>
                  <a:pt x="191" y="161"/>
                  <a:pt x="191" y="161"/>
                  <a:pt x="191" y="161"/>
                </a:cubicBezTo>
                <a:cubicBezTo>
                  <a:pt x="194" y="160"/>
                  <a:pt x="194" y="160"/>
                  <a:pt x="194" y="160"/>
                </a:cubicBezTo>
                <a:cubicBezTo>
                  <a:pt x="198" y="156"/>
                  <a:pt x="198" y="156"/>
                  <a:pt x="198" y="156"/>
                </a:cubicBezTo>
                <a:cubicBezTo>
                  <a:pt x="196" y="159"/>
                  <a:pt x="196" y="159"/>
                  <a:pt x="196" y="159"/>
                </a:cubicBezTo>
                <a:cubicBezTo>
                  <a:pt x="197" y="161"/>
                  <a:pt x="197" y="161"/>
                  <a:pt x="197" y="161"/>
                </a:cubicBezTo>
                <a:cubicBezTo>
                  <a:pt x="198" y="162"/>
                  <a:pt x="198" y="162"/>
                  <a:pt x="198" y="162"/>
                </a:cubicBezTo>
                <a:cubicBezTo>
                  <a:pt x="199" y="162"/>
                  <a:pt x="199" y="162"/>
                  <a:pt x="199" y="162"/>
                </a:cubicBezTo>
                <a:cubicBezTo>
                  <a:pt x="200" y="163"/>
                  <a:pt x="200" y="163"/>
                  <a:pt x="200" y="163"/>
                </a:cubicBezTo>
                <a:cubicBezTo>
                  <a:pt x="202" y="160"/>
                  <a:pt x="202" y="160"/>
                  <a:pt x="202" y="160"/>
                </a:cubicBezTo>
                <a:cubicBezTo>
                  <a:pt x="204" y="159"/>
                  <a:pt x="204" y="159"/>
                  <a:pt x="204" y="159"/>
                </a:cubicBezTo>
                <a:cubicBezTo>
                  <a:pt x="208" y="158"/>
                  <a:pt x="208" y="158"/>
                  <a:pt x="208" y="158"/>
                </a:cubicBezTo>
                <a:cubicBezTo>
                  <a:pt x="210" y="156"/>
                  <a:pt x="210" y="156"/>
                  <a:pt x="210" y="156"/>
                </a:cubicBezTo>
                <a:cubicBezTo>
                  <a:pt x="209" y="159"/>
                  <a:pt x="209" y="159"/>
                  <a:pt x="209" y="159"/>
                </a:cubicBezTo>
                <a:cubicBezTo>
                  <a:pt x="206" y="160"/>
                  <a:pt x="206" y="160"/>
                  <a:pt x="206" y="160"/>
                </a:cubicBezTo>
                <a:cubicBezTo>
                  <a:pt x="203" y="161"/>
                  <a:pt x="203" y="161"/>
                  <a:pt x="203" y="161"/>
                </a:cubicBezTo>
                <a:cubicBezTo>
                  <a:pt x="199" y="165"/>
                  <a:pt x="199" y="165"/>
                  <a:pt x="199" y="165"/>
                </a:cubicBezTo>
                <a:cubicBezTo>
                  <a:pt x="199" y="167"/>
                  <a:pt x="199" y="167"/>
                  <a:pt x="199" y="167"/>
                </a:cubicBezTo>
                <a:cubicBezTo>
                  <a:pt x="201" y="170"/>
                  <a:pt x="201" y="170"/>
                  <a:pt x="201" y="170"/>
                </a:cubicBezTo>
                <a:cubicBezTo>
                  <a:pt x="201" y="172"/>
                  <a:pt x="201" y="172"/>
                  <a:pt x="201" y="172"/>
                </a:cubicBezTo>
                <a:cubicBezTo>
                  <a:pt x="199" y="171"/>
                  <a:pt x="199" y="171"/>
                  <a:pt x="199" y="171"/>
                </a:cubicBezTo>
                <a:cubicBezTo>
                  <a:pt x="198" y="171"/>
                  <a:pt x="198" y="171"/>
                  <a:pt x="198" y="171"/>
                </a:cubicBezTo>
                <a:cubicBezTo>
                  <a:pt x="197" y="171"/>
                  <a:pt x="197" y="171"/>
                  <a:pt x="197" y="171"/>
                </a:cubicBezTo>
                <a:cubicBezTo>
                  <a:pt x="195" y="171"/>
                  <a:pt x="195" y="171"/>
                  <a:pt x="195" y="171"/>
                </a:cubicBezTo>
                <a:cubicBezTo>
                  <a:pt x="193" y="170"/>
                  <a:pt x="193" y="170"/>
                  <a:pt x="193" y="170"/>
                </a:cubicBezTo>
                <a:cubicBezTo>
                  <a:pt x="193" y="167"/>
                  <a:pt x="193" y="167"/>
                  <a:pt x="193" y="167"/>
                </a:cubicBezTo>
                <a:cubicBezTo>
                  <a:pt x="189" y="169"/>
                  <a:pt x="189" y="169"/>
                  <a:pt x="189" y="169"/>
                </a:cubicBezTo>
                <a:cubicBezTo>
                  <a:pt x="188" y="169"/>
                  <a:pt x="188" y="169"/>
                  <a:pt x="188" y="169"/>
                </a:cubicBezTo>
                <a:cubicBezTo>
                  <a:pt x="185" y="171"/>
                  <a:pt x="185" y="171"/>
                  <a:pt x="185" y="171"/>
                </a:cubicBezTo>
                <a:cubicBezTo>
                  <a:pt x="182" y="171"/>
                  <a:pt x="182" y="171"/>
                  <a:pt x="182" y="171"/>
                </a:cubicBezTo>
                <a:cubicBezTo>
                  <a:pt x="180" y="173"/>
                  <a:pt x="180" y="173"/>
                  <a:pt x="180" y="173"/>
                </a:cubicBezTo>
                <a:cubicBezTo>
                  <a:pt x="180" y="175"/>
                  <a:pt x="180" y="175"/>
                  <a:pt x="180" y="175"/>
                </a:cubicBezTo>
                <a:cubicBezTo>
                  <a:pt x="180" y="176"/>
                  <a:pt x="180" y="176"/>
                  <a:pt x="180" y="176"/>
                </a:cubicBezTo>
                <a:cubicBezTo>
                  <a:pt x="179" y="179"/>
                  <a:pt x="179" y="179"/>
                  <a:pt x="179" y="179"/>
                </a:cubicBezTo>
                <a:cubicBezTo>
                  <a:pt x="177" y="180"/>
                  <a:pt x="177" y="180"/>
                  <a:pt x="177" y="180"/>
                </a:cubicBezTo>
                <a:cubicBezTo>
                  <a:pt x="176" y="183"/>
                  <a:pt x="176" y="183"/>
                  <a:pt x="176" y="183"/>
                </a:cubicBezTo>
                <a:cubicBezTo>
                  <a:pt x="170" y="188"/>
                  <a:pt x="170" y="188"/>
                  <a:pt x="170" y="188"/>
                </a:cubicBezTo>
                <a:cubicBezTo>
                  <a:pt x="168" y="190"/>
                  <a:pt x="168" y="190"/>
                  <a:pt x="168" y="190"/>
                </a:cubicBezTo>
                <a:cubicBezTo>
                  <a:pt x="168" y="191"/>
                  <a:pt x="168" y="191"/>
                  <a:pt x="168" y="191"/>
                </a:cubicBezTo>
                <a:cubicBezTo>
                  <a:pt x="170" y="194"/>
                  <a:pt x="170" y="194"/>
                  <a:pt x="170" y="194"/>
                </a:cubicBezTo>
                <a:cubicBezTo>
                  <a:pt x="171" y="193"/>
                  <a:pt x="171" y="193"/>
                  <a:pt x="171" y="193"/>
                </a:cubicBezTo>
                <a:cubicBezTo>
                  <a:pt x="173" y="193"/>
                  <a:pt x="173" y="193"/>
                  <a:pt x="173" y="193"/>
                </a:cubicBezTo>
                <a:cubicBezTo>
                  <a:pt x="174" y="191"/>
                  <a:pt x="174" y="191"/>
                  <a:pt x="174" y="191"/>
                </a:cubicBezTo>
                <a:cubicBezTo>
                  <a:pt x="176" y="192"/>
                  <a:pt x="176" y="192"/>
                  <a:pt x="176" y="192"/>
                </a:cubicBezTo>
                <a:cubicBezTo>
                  <a:pt x="176" y="193"/>
                  <a:pt x="176" y="193"/>
                  <a:pt x="176" y="193"/>
                </a:cubicBezTo>
                <a:cubicBezTo>
                  <a:pt x="172" y="196"/>
                  <a:pt x="172" y="196"/>
                  <a:pt x="172" y="196"/>
                </a:cubicBezTo>
                <a:cubicBezTo>
                  <a:pt x="171" y="196"/>
                  <a:pt x="171" y="196"/>
                  <a:pt x="171" y="196"/>
                </a:cubicBezTo>
                <a:cubicBezTo>
                  <a:pt x="170" y="197"/>
                  <a:pt x="170" y="197"/>
                  <a:pt x="170" y="197"/>
                </a:cubicBezTo>
                <a:cubicBezTo>
                  <a:pt x="168" y="197"/>
                  <a:pt x="168" y="197"/>
                  <a:pt x="168" y="197"/>
                </a:cubicBezTo>
                <a:cubicBezTo>
                  <a:pt x="166" y="197"/>
                  <a:pt x="166" y="197"/>
                  <a:pt x="166" y="197"/>
                </a:cubicBezTo>
                <a:cubicBezTo>
                  <a:pt x="165" y="197"/>
                  <a:pt x="165" y="197"/>
                  <a:pt x="165" y="197"/>
                </a:cubicBezTo>
                <a:cubicBezTo>
                  <a:pt x="165" y="199"/>
                  <a:pt x="165" y="199"/>
                  <a:pt x="165" y="199"/>
                </a:cubicBezTo>
                <a:cubicBezTo>
                  <a:pt x="164" y="199"/>
                  <a:pt x="164" y="199"/>
                  <a:pt x="164" y="199"/>
                </a:cubicBezTo>
                <a:cubicBezTo>
                  <a:pt x="162" y="199"/>
                  <a:pt x="162" y="199"/>
                  <a:pt x="162" y="199"/>
                </a:cubicBezTo>
                <a:cubicBezTo>
                  <a:pt x="162" y="201"/>
                  <a:pt x="162" y="201"/>
                  <a:pt x="162" y="201"/>
                </a:cubicBezTo>
                <a:cubicBezTo>
                  <a:pt x="165" y="205"/>
                  <a:pt x="165" y="205"/>
                  <a:pt x="165" y="205"/>
                </a:cubicBezTo>
                <a:cubicBezTo>
                  <a:pt x="166" y="204"/>
                  <a:pt x="166" y="204"/>
                  <a:pt x="166" y="204"/>
                </a:cubicBezTo>
                <a:cubicBezTo>
                  <a:pt x="167" y="203"/>
                  <a:pt x="167" y="203"/>
                  <a:pt x="167" y="203"/>
                </a:cubicBezTo>
                <a:cubicBezTo>
                  <a:pt x="168" y="204"/>
                  <a:pt x="168" y="204"/>
                  <a:pt x="168" y="204"/>
                </a:cubicBezTo>
                <a:cubicBezTo>
                  <a:pt x="168" y="202"/>
                  <a:pt x="168" y="202"/>
                  <a:pt x="168" y="202"/>
                </a:cubicBezTo>
                <a:cubicBezTo>
                  <a:pt x="170" y="202"/>
                  <a:pt x="170" y="202"/>
                  <a:pt x="170" y="202"/>
                </a:cubicBezTo>
                <a:cubicBezTo>
                  <a:pt x="170" y="203"/>
                  <a:pt x="170" y="203"/>
                  <a:pt x="170" y="203"/>
                </a:cubicBezTo>
                <a:cubicBezTo>
                  <a:pt x="171" y="203"/>
                  <a:pt x="171" y="203"/>
                  <a:pt x="171" y="203"/>
                </a:cubicBezTo>
                <a:cubicBezTo>
                  <a:pt x="171" y="201"/>
                  <a:pt x="171" y="201"/>
                  <a:pt x="171" y="201"/>
                </a:cubicBezTo>
                <a:cubicBezTo>
                  <a:pt x="173" y="201"/>
                  <a:pt x="173" y="201"/>
                  <a:pt x="173" y="201"/>
                </a:cubicBezTo>
                <a:cubicBezTo>
                  <a:pt x="175" y="199"/>
                  <a:pt x="175" y="199"/>
                  <a:pt x="175" y="199"/>
                </a:cubicBezTo>
                <a:cubicBezTo>
                  <a:pt x="175" y="197"/>
                  <a:pt x="175" y="197"/>
                  <a:pt x="175" y="197"/>
                </a:cubicBezTo>
                <a:cubicBezTo>
                  <a:pt x="177" y="196"/>
                  <a:pt x="177" y="196"/>
                  <a:pt x="177" y="196"/>
                </a:cubicBezTo>
                <a:cubicBezTo>
                  <a:pt x="177" y="197"/>
                  <a:pt x="177" y="197"/>
                  <a:pt x="177" y="197"/>
                </a:cubicBezTo>
                <a:cubicBezTo>
                  <a:pt x="176" y="198"/>
                  <a:pt x="176" y="198"/>
                  <a:pt x="176" y="198"/>
                </a:cubicBezTo>
                <a:cubicBezTo>
                  <a:pt x="177" y="199"/>
                  <a:pt x="177" y="199"/>
                  <a:pt x="177" y="199"/>
                </a:cubicBezTo>
                <a:cubicBezTo>
                  <a:pt x="179" y="199"/>
                  <a:pt x="179" y="199"/>
                  <a:pt x="179" y="199"/>
                </a:cubicBezTo>
                <a:cubicBezTo>
                  <a:pt x="182" y="196"/>
                  <a:pt x="182" y="196"/>
                  <a:pt x="182" y="196"/>
                </a:cubicBezTo>
                <a:cubicBezTo>
                  <a:pt x="184" y="196"/>
                  <a:pt x="184" y="196"/>
                  <a:pt x="184" y="196"/>
                </a:cubicBezTo>
                <a:cubicBezTo>
                  <a:pt x="185" y="197"/>
                  <a:pt x="185" y="197"/>
                  <a:pt x="185" y="197"/>
                </a:cubicBezTo>
                <a:cubicBezTo>
                  <a:pt x="186" y="197"/>
                  <a:pt x="186" y="197"/>
                  <a:pt x="186" y="197"/>
                </a:cubicBezTo>
                <a:cubicBezTo>
                  <a:pt x="187" y="193"/>
                  <a:pt x="187" y="193"/>
                  <a:pt x="187" y="193"/>
                </a:cubicBezTo>
                <a:cubicBezTo>
                  <a:pt x="189" y="191"/>
                  <a:pt x="189" y="191"/>
                  <a:pt x="189" y="191"/>
                </a:cubicBezTo>
                <a:cubicBezTo>
                  <a:pt x="190" y="192"/>
                  <a:pt x="190" y="192"/>
                  <a:pt x="190" y="192"/>
                </a:cubicBezTo>
                <a:cubicBezTo>
                  <a:pt x="188" y="194"/>
                  <a:pt x="188" y="194"/>
                  <a:pt x="188" y="194"/>
                </a:cubicBezTo>
                <a:cubicBezTo>
                  <a:pt x="188" y="196"/>
                  <a:pt x="188" y="196"/>
                  <a:pt x="188" y="196"/>
                </a:cubicBezTo>
                <a:cubicBezTo>
                  <a:pt x="189" y="195"/>
                  <a:pt x="189" y="195"/>
                  <a:pt x="189" y="195"/>
                </a:cubicBezTo>
                <a:cubicBezTo>
                  <a:pt x="191" y="192"/>
                  <a:pt x="191" y="192"/>
                  <a:pt x="191" y="192"/>
                </a:cubicBezTo>
                <a:cubicBezTo>
                  <a:pt x="193" y="189"/>
                  <a:pt x="193" y="189"/>
                  <a:pt x="193" y="189"/>
                </a:cubicBezTo>
                <a:cubicBezTo>
                  <a:pt x="194" y="188"/>
                  <a:pt x="194" y="188"/>
                  <a:pt x="194" y="188"/>
                </a:cubicBezTo>
                <a:cubicBezTo>
                  <a:pt x="194" y="189"/>
                  <a:pt x="194" y="189"/>
                  <a:pt x="194" y="189"/>
                </a:cubicBezTo>
                <a:cubicBezTo>
                  <a:pt x="193" y="192"/>
                  <a:pt x="193" y="192"/>
                  <a:pt x="193" y="192"/>
                </a:cubicBezTo>
                <a:cubicBezTo>
                  <a:pt x="193" y="193"/>
                  <a:pt x="193" y="193"/>
                  <a:pt x="193" y="193"/>
                </a:cubicBezTo>
                <a:cubicBezTo>
                  <a:pt x="195" y="190"/>
                  <a:pt x="195" y="190"/>
                  <a:pt x="195" y="190"/>
                </a:cubicBezTo>
                <a:cubicBezTo>
                  <a:pt x="196" y="191"/>
                  <a:pt x="196" y="191"/>
                  <a:pt x="196" y="191"/>
                </a:cubicBezTo>
                <a:cubicBezTo>
                  <a:pt x="196" y="193"/>
                  <a:pt x="196" y="193"/>
                  <a:pt x="196" y="193"/>
                </a:cubicBezTo>
                <a:cubicBezTo>
                  <a:pt x="198" y="193"/>
                  <a:pt x="198" y="193"/>
                  <a:pt x="198" y="193"/>
                </a:cubicBezTo>
                <a:cubicBezTo>
                  <a:pt x="199" y="194"/>
                  <a:pt x="199" y="194"/>
                  <a:pt x="199" y="194"/>
                </a:cubicBezTo>
                <a:cubicBezTo>
                  <a:pt x="201" y="192"/>
                  <a:pt x="201" y="192"/>
                  <a:pt x="201" y="192"/>
                </a:cubicBezTo>
                <a:cubicBezTo>
                  <a:pt x="201" y="190"/>
                  <a:pt x="201" y="190"/>
                  <a:pt x="201" y="190"/>
                </a:cubicBezTo>
                <a:cubicBezTo>
                  <a:pt x="204" y="190"/>
                  <a:pt x="204" y="190"/>
                  <a:pt x="204" y="190"/>
                </a:cubicBezTo>
                <a:cubicBezTo>
                  <a:pt x="206" y="189"/>
                  <a:pt x="206" y="189"/>
                  <a:pt x="206" y="189"/>
                </a:cubicBezTo>
                <a:cubicBezTo>
                  <a:pt x="205" y="188"/>
                  <a:pt x="205" y="188"/>
                  <a:pt x="205" y="188"/>
                </a:cubicBezTo>
                <a:cubicBezTo>
                  <a:pt x="205" y="186"/>
                  <a:pt x="205" y="186"/>
                  <a:pt x="205" y="186"/>
                </a:cubicBezTo>
                <a:cubicBezTo>
                  <a:pt x="209" y="185"/>
                  <a:pt x="209" y="185"/>
                  <a:pt x="209" y="185"/>
                </a:cubicBezTo>
                <a:cubicBezTo>
                  <a:pt x="210" y="183"/>
                  <a:pt x="210" y="183"/>
                  <a:pt x="210" y="183"/>
                </a:cubicBezTo>
                <a:cubicBezTo>
                  <a:pt x="210" y="181"/>
                  <a:pt x="210" y="181"/>
                  <a:pt x="210" y="181"/>
                </a:cubicBezTo>
                <a:cubicBezTo>
                  <a:pt x="208" y="182"/>
                  <a:pt x="208" y="182"/>
                  <a:pt x="208" y="182"/>
                </a:cubicBezTo>
                <a:cubicBezTo>
                  <a:pt x="206" y="181"/>
                  <a:pt x="206" y="181"/>
                  <a:pt x="206" y="181"/>
                </a:cubicBezTo>
                <a:cubicBezTo>
                  <a:pt x="204" y="180"/>
                  <a:pt x="204" y="180"/>
                  <a:pt x="204" y="180"/>
                </a:cubicBezTo>
                <a:cubicBezTo>
                  <a:pt x="205" y="179"/>
                  <a:pt x="205" y="179"/>
                  <a:pt x="205" y="179"/>
                </a:cubicBezTo>
                <a:cubicBezTo>
                  <a:pt x="207" y="179"/>
                  <a:pt x="207" y="179"/>
                  <a:pt x="207" y="179"/>
                </a:cubicBezTo>
                <a:cubicBezTo>
                  <a:pt x="208" y="180"/>
                  <a:pt x="208" y="180"/>
                  <a:pt x="208" y="180"/>
                </a:cubicBezTo>
                <a:cubicBezTo>
                  <a:pt x="209" y="179"/>
                  <a:pt x="209" y="179"/>
                  <a:pt x="209" y="179"/>
                </a:cubicBezTo>
                <a:cubicBezTo>
                  <a:pt x="209" y="177"/>
                  <a:pt x="209" y="177"/>
                  <a:pt x="209" y="177"/>
                </a:cubicBezTo>
                <a:cubicBezTo>
                  <a:pt x="207" y="178"/>
                  <a:pt x="207" y="178"/>
                  <a:pt x="207" y="178"/>
                </a:cubicBezTo>
                <a:cubicBezTo>
                  <a:pt x="205" y="176"/>
                  <a:pt x="205" y="176"/>
                  <a:pt x="205" y="176"/>
                </a:cubicBezTo>
                <a:cubicBezTo>
                  <a:pt x="205" y="174"/>
                  <a:pt x="205" y="174"/>
                  <a:pt x="205" y="174"/>
                </a:cubicBezTo>
                <a:cubicBezTo>
                  <a:pt x="208" y="174"/>
                  <a:pt x="208" y="174"/>
                  <a:pt x="208" y="174"/>
                </a:cubicBezTo>
                <a:cubicBezTo>
                  <a:pt x="209" y="173"/>
                  <a:pt x="209" y="173"/>
                  <a:pt x="209" y="173"/>
                </a:cubicBezTo>
                <a:cubicBezTo>
                  <a:pt x="210" y="174"/>
                  <a:pt x="210" y="174"/>
                  <a:pt x="210" y="174"/>
                </a:cubicBezTo>
                <a:cubicBezTo>
                  <a:pt x="210" y="173"/>
                  <a:pt x="210" y="173"/>
                  <a:pt x="210" y="173"/>
                </a:cubicBezTo>
                <a:cubicBezTo>
                  <a:pt x="210" y="171"/>
                  <a:pt x="210" y="171"/>
                  <a:pt x="210" y="171"/>
                </a:cubicBezTo>
                <a:cubicBezTo>
                  <a:pt x="213" y="169"/>
                  <a:pt x="213" y="169"/>
                  <a:pt x="213" y="169"/>
                </a:cubicBezTo>
                <a:cubicBezTo>
                  <a:pt x="215" y="171"/>
                  <a:pt x="215" y="171"/>
                  <a:pt x="215" y="171"/>
                </a:cubicBezTo>
                <a:cubicBezTo>
                  <a:pt x="216" y="170"/>
                  <a:pt x="216" y="170"/>
                  <a:pt x="216" y="170"/>
                </a:cubicBezTo>
                <a:cubicBezTo>
                  <a:pt x="219" y="170"/>
                  <a:pt x="219" y="170"/>
                  <a:pt x="219" y="170"/>
                </a:cubicBezTo>
                <a:cubicBezTo>
                  <a:pt x="215" y="173"/>
                  <a:pt x="215" y="173"/>
                  <a:pt x="215" y="173"/>
                </a:cubicBezTo>
                <a:cubicBezTo>
                  <a:pt x="215" y="175"/>
                  <a:pt x="215" y="175"/>
                  <a:pt x="215" y="175"/>
                </a:cubicBezTo>
                <a:cubicBezTo>
                  <a:pt x="216" y="178"/>
                  <a:pt x="216" y="178"/>
                  <a:pt x="216" y="178"/>
                </a:cubicBezTo>
                <a:cubicBezTo>
                  <a:pt x="217" y="178"/>
                  <a:pt x="217" y="178"/>
                  <a:pt x="217" y="178"/>
                </a:cubicBezTo>
                <a:cubicBezTo>
                  <a:pt x="218" y="174"/>
                  <a:pt x="218" y="174"/>
                  <a:pt x="218" y="174"/>
                </a:cubicBezTo>
                <a:cubicBezTo>
                  <a:pt x="219" y="173"/>
                  <a:pt x="219" y="173"/>
                  <a:pt x="219" y="173"/>
                </a:cubicBezTo>
                <a:cubicBezTo>
                  <a:pt x="220" y="173"/>
                  <a:pt x="220" y="173"/>
                  <a:pt x="220" y="173"/>
                </a:cubicBezTo>
                <a:cubicBezTo>
                  <a:pt x="220" y="174"/>
                  <a:pt x="220" y="174"/>
                  <a:pt x="220" y="174"/>
                </a:cubicBezTo>
                <a:cubicBezTo>
                  <a:pt x="219" y="176"/>
                  <a:pt x="219" y="176"/>
                  <a:pt x="219" y="176"/>
                </a:cubicBezTo>
                <a:cubicBezTo>
                  <a:pt x="219" y="177"/>
                  <a:pt x="219" y="177"/>
                  <a:pt x="219" y="177"/>
                </a:cubicBezTo>
                <a:cubicBezTo>
                  <a:pt x="221" y="175"/>
                  <a:pt x="221" y="175"/>
                  <a:pt x="221" y="175"/>
                </a:cubicBezTo>
                <a:cubicBezTo>
                  <a:pt x="222" y="174"/>
                  <a:pt x="222" y="174"/>
                  <a:pt x="222" y="174"/>
                </a:cubicBezTo>
                <a:cubicBezTo>
                  <a:pt x="223" y="175"/>
                  <a:pt x="223" y="175"/>
                  <a:pt x="223" y="175"/>
                </a:cubicBezTo>
                <a:cubicBezTo>
                  <a:pt x="225" y="174"/>
                  <a:pt x="225" y="174"/>
                  <a:pt x="225" y="174"/>
                </a:cubicBezTo>
                <a:cubicBezTo>
                  <a:pt x="226" y="174"/>
                  <a:pt x="226" y="174"/>
                  <a:pt x="226" y="174"/>
                </a:cubicBezTo>
                <a:cubicBezTo>
                  <a:pt x="228" y="172"/>
                  <a:pt x="228" y="172"/>
                  <a:pt x="228" y="172"/>
                </a:cubicBezTo>
                <a:cubicBezTo>
                  <a:pt x="230" y="172"/>
                  <a:pt x="230" y="172"/>
                  <a:pt x="230" y="172"/>
                </a:cubicBezTo>
                <a:cubicBezTo>
                  <a:pt x="232" y="172"/>
                  <a:pt x="232" y="172"/>
                  <a:pt x="232" y="172"/>
                </a:cubicBezTo>
                <a:cubicBezTo>
                  <a:pt x="232" y="173"/>
                  <a:pt x="232" y="173"/>
                  <a:pt x="232" y="173"/>
                </a:cubicBezTo>
                <a:cubicBezTo>
                  <a:pt x="230" y="173"/>
                  <a:pt x="230" y="173"/>
                  <a:pt x="230" y="173"/>
                </a:cubicBezTo>
                <a:cubicBezTo>
                  <a:pt x="228" y="175"/>
                  <a:pt x="228" y="175"/>
                  <a:pt x="228" y="175"/>
                </a:cubicBezTo>
                <a:cubicBezTo>
                  <a:pt x="226" y="175"/>
                  <a:pt x="226" y="175"/>
                  <a:pt x="226" y="175"/>
                </a:cubicBezTo>
                <a:cubicBezTo>
                  <a:pt x="225" y="177"/>
                  <a:pt x="225" y="177"/>
                  <a:pt x="225" y="177"/>
                </a:cubicBezTo>
                <a:cubicBezTo>
                  <a:pt x="226" y="178"/>
                  <a:pt x="226" y="178"/>
                  <a:pt x="226" y="178"/>
                </a:cubicBezTo>
                <a:cubicBezTo>
                  <a:pt x="230" y="179"/>
                  <a:pt x="230" y="179"/>
                  <a:pt x="230" y="179"/>
                </a:cubicBezTo>
                <a:cubicBezTo>
                  <a:pt x="231" y="180"/>
                  <a:pt x="231" y="180"/>
                  <a:pt x="231" y="180"/>
                </a:cubicBezTo>
                <a:cubicBezTo>
                  <a:pt x="231" y="181"/>
                  <a:pt x="231" y="181"/>
                  <a:pt x="231" y="181"/>
                </a:cubicBezTo>
                <a:cubicBezTo>
                  <a:pt x="229" y="179"/>
                  <a:pt x="229" y="179"/>
                  <a:pt x="229" y="179"/>
                </a:cubicBezTo>
                <a:cubicBezTo>
                  <a:pt x="226" y="179"/>
                  <a:pt x="226" y="179"/>
                  <a:pt x="226" y="179"/>
                </a:cubicBezTo>
                <a:cubicBezTo>
                  <a:pt x="224" y="180"/>
                  <a:pt x="224" y="180"/>
                  <a:pt x="224" y="180"/>
                </a:cubicBezTo>
                <a:cubicBezTo>
                  <a:pt x="224" y="181"/>
                  <a:pt x="224" y="181"/>
                  <a:pt x="224" y="181"/>
                </a:cubicBezTo>
                <a:cubicBezTo>
                  <a:pt x="226" y="182"/>
                  <a:pt x="226" y="182"/>
                  <a:pt x="226" y="182"/>
                </a:cubicBezTo>
                <a:cubicBezTo>
                  <a:pt x="227" y="181"/>
                  <a:pt x="227" y="181"/>
                  <a:pt x="227" y="181"/>
                </a:cubicBezTo>
                <a:cubicBezTo>
                  <a:pt x="229" y="182"/>
                  <a:pt x="229" y="182"/>
                  <a:pt x="229" y="182"/>
                </a:cubicBezTo>
                <a:cubicBezTo>
                  <a:pt x="228" y="183"/>
                  <a:pt x="228" y="183"/>
                  <a:pt x="228" y="183"/>
                </a:cubicBezTo>
                <a:cubicBezTo>
                  <a:pt x="226" y="183"/>
                  <a:pt x="226" y="183"/>
                  <a:pt x="226" y="183"/>
                </a:cubicBezTo>
                <a:cubicBezTo>
                  <a:pt x="226" y="184"/>
                  <a:pt x="226" y="184"/>
                  <a:pt x="226" y="184"/>
                </a:cubicBezTo>
                <a:cubicBezTo>
                  <a:pt x="229" y="185"/>
                  <a:pt x="229" y="185"/>
                  <a:pt x="229" y="185"/>
                </a:cubicBezTo>
                <a:cubicBezTo>
                  <a:pt x="230" y="186"/>
                  <a:pt x="230" y="186"/>
                  <a:pt x="230" y="186"/>
                </a:cubicBezTo>
                <a:cubicBezTo>
                  <a:pt x="228" y="187"/>
                  <a:pt x="228" y="187"/>
                  <a:pt x="228" y="187"/>
                </a:cubicBezTo>
                <a:cubicBezTo>
                  <a:pt x="227" y="187"/>
                  <a:pt x="227" y="187"/>
                  <a:pt x="227" y="187"/>
                </a:cubicBezTo>
                <a:cubicBezTo>
                  <a:pt x="227" y="188"/>
                  <a:pt x="227" y="188"/>
                  <a:pt x="227" y="188"/>
                </a:cubicBezTo>
                <a:cubicBezTo>
                  <a:pt x="229" y="188"/>
                  <a:pt x="229" y="188"/>
                  <a:pt x="229" y="188"/>
                </a:cubicBezTo>
                <a:cubicBezTo>
                  <a:pt x="231" y="187"/>
                  <a:pt x="231" y="187"/>
                  <a:pt x="231" y="187"/>
                </a:cubicBezTo>
                <a:cubicBezTo>
                  <a:pt x="233" y="189"/>
                  <a:pt x="233" y="189"/>
                  <a:pt x="233" y="189"/>
                </a:cubicBezTo>
                <a:cubicBezTo>
                  <a:pt x="234" y="190"/>
                  <a:pt x="234" y="190"/>
                  <a:pt x="234" y="190"/>
                </a:cubicBezTo>
                <a:cubicBezTo>
                  <a:pt x="237" y="189"/>
                  <a:pt x="237" y="189"/>
                  <a:pt x="237" y="189"/>
                </a:cubicBezTo>
                <a:cubicBezTo>
                  <a:pt x="238" y="190"/>
                  <a:pt x="238" y="190"/>
                  <a:pt x="238" y="190"/>
                </a:cubicBezTo>
                <a:cubicBezTo>
                  <a:pt x="238" y="191"/>
                  <a:pt x="238" y="191"/>
                  <a:pt x="238" y="191"/>
                </a:cubicBezTo>
                <a:cubicBezTo>
                  <a:pt x="237" y="192"/>
                  <a:pt x="237" y="192"/>
                  <a:pt x="237" y="192"/>
                </a:cubicBezTo>
                <a:cubicBezTo>
                  <a:pt x="237" y="193"/>
                  <a:pt x="237" y="193"/>
                  <a:pt x="237" y="193"/>
                </a:cubicBezTo>
                <a:cubicBezTo>
                  <a:pt x="238" y="193"/>
                  <a:pt x="238" y="193"/>
                  <a:pt x="238" y="193"/>
                </a:cubicBezTo>
                <a:cubicBezTo>
                  <a:pt x="238" y="194"/>
                  <a:pt x="238" y="194"/>
                  <a:pt x="238" y="194"/>
                </a:cubicBezTo>
                <a:cubicBezTo>
                  <a:pt x="240" y="195"/>
                  <a:pt x="240" y="195"/>
                  <a:pt x="240" y="195"/>
                </a:cubicBezTo>
                <a:cubicBezTo>
                  <a:pt x="241" y="193"/>
                  <a:pt x="241" y="193"/>
                  <a:pt x="241" y="193"/>
                </a:cubicBezTo>
                <a:cubicBezTo>
                  <a:pt x="241" y="192"/>
                  <a:pt x="241" y="192"/>
                  <a:pt x="241" y="192"/>
                </a:cubicBezTo>
                <a:cubicBezTo>
                  <a:pt x="241" y="191"/>
                  <a:pt x="241" y="191"/>
                  <a:pt x="241" y="191"/>
                </a:cubicBezTo>
                <a:cubicBezTo>
                  <a:pt x="244" y="191"/>
                  <a:pt x="244" y="191"/>
                  <a:pt x="244" y="191"/>
                </a:cubicBezTo>
                <a:cubicBezTo>
                  <a:pt x="242" y="193"/>
                  <a:pt x="242" y="193"/>
                  <a:pt x="242" y="193"/>
                </a:cubicBezTo>
                <a:cubicBezTo>
                  <a:pt x="242" y="194"/>
                  <a:pt x="242" y="194"/>
                  <a:pt x="242" y="194"/>
                </a:cubicBezTo>
                <a:cubicBezTo>
                  <a:pt x="240" y="197"/>
                  <a:pt x="240" y="197"/>
                  <a:pt x="240" y="197"/>
                </a:cubicBezTo>
                <a:cubicBezTo>
                  <a:pt x="242" y="199"/>
                  <a:pt x="242" y="199"/>
                  <a:pt x="242" y="199"/>
                </a:cubicBezTo>
                <a:cubicBezTo>
                  <a:pt x="241" y="199"/>
                  <a:pt x="241" y="199"/>
                  <a:pt x="241" y="199"/>
                </a:cubicBezTo>
                <a:cubicBezTo>
                  <a:pt x="240" y="199"/>
                  <a:pt x="240" y="199"/>
                  <a:pt x="240" y="199"/>
                </a:cubicBezTo>
                <a:cubicBezTo>
                  <a:pt x="238" y="199"/>
                  <a:pt x="238" y="199"/>
                  <a:pt x="238" y="199"/>
                </a:cubicBezTo>
                <a:cubicBezTo>
                  <a:pt x="239" y="201"/>
                  <a:pt x="239" y="201"/>
                  <a:pt x="239" y="201"/>
                </a:cubicBezTo>
                <a:cubicBezTo>
                  <a:pt x="244" y="202"/>
                  <a:pt x="244" y="202"/>
                  <a:pt x="244" y="202"/>
                </a:cubicBezTo>
                <a:cubicBezTo>
                  <a:pt x="245" y="201"/>
                  <a:pt x="245" y="201"/>
                  <a:pt x="245" y="201"/>
                </a:cubicBezTo>
                <a:cubicBezTo>
                  <a:pt x="247" y="201"/>
                  <a:pt x="247" y="201"/>
                  <a:pt x="247" y="201"/>
                </a:cubicBezTo>
                <a:cubicBezTo>
                  <a:pt x="249" y="201"/>
                  <a:pt x="249" y="201"/>
                  <a:pt x="249" y="201"/>
                </a:cubicBezTo>
                <a:cubicBezTo>
                  <a:pt x="251" y="201"/>
                  <a:pt x="251" y="201"/>
                  <a:pt x="251" y="201"/>
                </a:cubicBezTo>
                <a:cubicBezTo>
                  <a:pt x="254" y="201"/>
                  <a:pt x="254" y="201"/>
                  <a:pt x="254" y="201"/>
                </a:cubicBezTo>
                <a:cubicBezTo>
                  <a:pt x="255" y="201"/>
                  <a:pt x="255" y="201"/>
                  <a:pt x="255" y="201"/>
                </a:cubicBezTo>
                <a:cubicBezTo>
                  <a:pt x="255" y="203"/>
                  <a:pt x="255" y="203"/>
                  <a:pt x="255" y="203"/>
                </a:cubicBezTo>
                <a:cubicBezTo>
                  <a:pt x="256" y="203"/>
                  <a:pt x="256" y="203"/>
                  <a:pt x="256" y="203"/>
                </a:cubicBezTo>
                <a:cubicBezTo>
                  <a:pt x="257" y="204"/>
                  <a:pt x="257" y="204"/>
                  <a:pt x="257" y="204"/>
                </a:cubicBezTo>
                <a:cubicBezTo>
                  <a:pt x="259" y="205"/>
                  <a:pt x="259" y="205"/>
                  <a:pt x="259" y="205"/>
                </a:cubicBezTo>
                <a:cubicBezTo>
                  <a:pt x="259" y="207"/>
                  <a:pt x="259" y="207"/>
                  <a:pt x="259" y="207"/>
                </a:cubicBezTo>
                <a:cubicBezTo>
                  <a:pt x="261" y="207"/>
                  <a:pt x="261" y="207"/>
                  <a:pt x="261" y="207"/>
                </a:cubicBezTo>
                <a:cubicBezTo>
                  <a:pt x="264" y="205"/>
                  <a:pt x="264" y="205"/>
                  <a:pt x="264" y="205"/>
                </a:cubicBezTo>
                <a:cubicBezTo>
                  <a:pt x="264" y="205"/>
                  <a:pt x="264" y="205"/>
                  <a:pt x="264" y="205"/>
                </a:cubicBezTo>
                <a:cubicBezTo>
                  <a:pt x="265" y="205"/>
                  <a:pt x="265" y="205"/>
                  <a:pt x="265" y="205"/>
                </a:cubicBezTo>
                <a:cubicBezTo>
                  <a:pt x="265" y="207"/>
                  <a:pt x="265" y="207"/>
                  <a:pt x="265" y="207"/>
                </a:cubicBezTo>
                <a:cubicBezTo>
                  <a:pt x="264" y="208"/>
                  <a:pt x="264" y="208"/>
                  <a:pt x="264" y="208"/>
                </a:cubicBezTo>
                <a:cubicBezTo>
                  <a:pt x="262" y="208"/>
                  <a:pt x="262" y="208"/>
                  <a:pt x="262" y="208"/>
                </a:cubicBezTo>
                <a:cubicBezTo>
                  <a:pt x="262" y="209"/>
                  <a:pt x="262" y="209"/>
                  <a:pt x="262" y="209"/>
                </a:cubicBezTo>
                <a:cubicBezTo>
                  <a:pt x="265" y="210"/>
                  <a:pt x="265" y="210"/>
                  <a:pt x="265" y="210"/>
                </a:cubicBezTo>
                <a:cubicBezTo>
                  <a:pt x="266" y="212"/>
                  <a:pt x="266" y="212"/>
                  <a:pt x="266" y="212"/>
                </a:cubicBezTo>
                <a:cubicBezTo>
                  <a:pt x="267" y="213"/>
                  <a:pt x="267" y="213"/>
                  <a:pt x="267" y="213"/>
                </a:cubicBezTo>
                <a:cubicBezTo>
                  <a:pt x="270" y="214"/>
                  <a:pt x="270" y="214"/>
                  <a:pt x="270" y="214"/>
                </a:cubicBezTo>
                <a:cubicBezTo>
                  <a:pt x="273" y="213"/>
                  <a:pt x="273" y="213"/>
                  <a:pt x="273" y="213"/>
                </a:cubicBezTo>
                <a:cubicBezTo>
                  <a:pt x="275" y="213"/>
                  <a:pt x="275" y="213"/>
                  <a:pt x="275" y="213"/>
                </a:cubicBezTo>
                <a:cubicBezTo>
                  <a:pt x="276" y="214"/>
                  <a:pt x="276" y="214"/>
                  <a:pt x="276" y="214"/>
                </a:cubicBezTo>
                <a:cubicBezTo>
                  <a:pt x="277" y="212"/>
                  <a:pt x="277" y="212"/>
                  <a:pt x="277" y="212"/>
                </a:cubicBezTo>
                <a:cubicBezTo>
                  <a:pt x="279" y="210"/>
                  <a:pt x="279" y="210"/>
                  <a:pt x="279" y="210"/>
                </a:cubicBezTo>
                <a:cubicBezTo>
                  <a:pt x="280" y="210"/>
                  <a:pt x="280" y="210"/>
                  <a:pt x="280" y="210"/>
                </a:cubicBezTo>
                <a:cubicBezTo>
                  <a:pt x="280" y="211"/>
                  <a:pt x="280" y="211"/>
                  <a:pt x="280" y="211"/>
                </a:cubicBezTo>
                <a:cubicBezTo>
                  <a:pt x="278" y="213"/>
                  <a:pt x="278" y="213"/>
                  <a:pt x="278" y="213"/>
                </a:cubicBezTo>
                <a:cubicBezTo>
                  <a:pt x="277" y="216"/>
                  <a:pt x="277" y="216"/>
                  <a:pt x="277" y="216"/>
                </a:cubicBezTo>
                <a:cubicBezTo>
                  <a:pt x="276" y="219"/>
                  <a:pt x="276" y="219"/>
                  <a:pt x="276" y="219"/>
                </a:cubicBezTo>
                <a:cubicBezTo>
                  <a:pt x="275" y="219"/>
                  <a:pt x="275" y="219"/>
                  <a:pt x="275" y="219"/>
                </a:cubicBezTo>
                <a:cubicBezTo>
                  <a:pt x="273" y="218"/>
                  <a:pt x="273" y="218"/>
                  <a:pt x="273" y="218"/>
                </a:cubicBezTo>
                <a:cubicBezTo>
                  <a:pt x="272" y="218"/>
                  <a:pt x="272" y="218"/>
                  <a:pt x="272" y="218"/>
                </a:cubicBezTo>
                <a:cubicBezTo>
                  <a:pt x="274" y="220"/>
                  <a:pt x="274" y="220"/>
                  <a:pt x="274" y="220"/>
                </a:cubicBezTo>
                <a:cubicBezTo>
                  <a:pt x="274" y="222"/>
                  <a:pt x="274" y="222"/>
                  <a:pt x="274" y="222"/>
                </a:cubicBezTo>
                <a:cubicBezTo>
                  <a:pt x="275" y="223"/>
                  <a:pt x="275" y="223"/>
                  <a:pt x="275" y="223"/>
                </a:cubicBezTo>
                <a:cubicBezTo>
                  <a:pt x="277" y="223"/>
                  <a:pt x="277" y="223"/>
                  <a:pt x="277" y="223"/>
                </a:cubicBezTo>
                <a:cubicBezTo>
                  <a:pt x="278" y="223"/>
                  <a:pt x="278" y="223"/>
                  <a:pt x="278" y="223"/>
                </a:cubicBezTo>
                <a:cubicBezTo>
                  <a:pt x="278" y="225"/>
                  <a:pt x="278" y="225"/>
                  <a:pt x="278" y="225"/>
                </a:cubicBezTo>
                <a:cubicBezTo>
                  <a:pt x="277" y="225"/>
                  <a:pt x="277" y="225"/>
                  <a:pt x="277" y="225"/>
                </a:cubicBezTo>
                <a:cubicBezTo>
                  <a:pt x="277" y="225"/>
                  <a:pt x="277" y="225"/>
                  <a:pt x="277" y="225"/>
                </a:cubicBezTo>
                <a:cubicBezTo>
                  <a:pt x="279" y="228"/>
                  <a:pt x="279" y="228"/>
                  <a:pt x="279" y="228"/>
                </a:cubicBezTo>
                <a:cubicBezTo>
                  <a:pt x="280" y="228"/>
                  <a:pt x="280" y="228"/>
                  <a:pt x="280" y="228"/>
                </a:cubicBezTo>
                <a:cubicBezTo>
                  <a:pt x="283" y="228"/>
                  <a:pt x="283" y="228"/>
                  <a:pt x="283" y="228"/>
                </a:cubicBezTo>
                <a:cubicBezTo>
                  <a:pt x="284" y="226"/>
                  <a:pt x="284" y="226"/>
                  <a:pt x="284" y="226"/>
                </a:cubicBezTo>
                <a:cubicBezTo>
                  <a:pt x="286" y="222"/>
                  <a:pt x="286" y="222"/>
                  <a:pt x="286" y="222"/>
                </a:cubicBezTo>
                <a:cubicBezTo>
                  <a:pt x="285" y="225"/>
                  <a:pt x="285" y="225"/>
                  <a:pt x="285" y="225"/>
                </a:cubicBezTo>
                <a:cubicBezTo>
                  <a:pt x="285" y="227"/>
                  <a:pt x="285" y="227"/>
                  <a:pt x="285" y="227"/>
                </a:cubicBezTo>
                <a:cubicBezTo>
                  <a:pt x="284" y="229"/>
                  <a:pt x="284" y="229"/>
                  <a:pt x="284" y="229"/>
                </a:cubicBezTo>
                <a:cubicBezTo>
                  <a:pt x="283" y="229"/>
                  <a:pt x="283" y="229"/>
                  <a:pt x="283" y="229"/>
                </a:cubicBezTo>
                <a:cubicBezTo>
                  <a:pt x="282" y="231"/>
                  <a:pt x="282" y="231"/>
                  <a:pt x="282" y="231"/>
                </a:cubicBezTo>
                <a:cubicBezTo>
                  <a:pt x="282" y="232"/>
                  <a:pt x="282" y="232"/>
                  <a:pt x="282" y="232"/>
                </a:cubicBezTo>
                <a:cubicBezTo>
                  <a:pt x="284" y="233"/>
                  <a:pt x="284" y="233"/>
                  <a:pt x="284" y="233"/>
                </a:cubicBezTo>
                <a:cubicBezTo>
                  <a:pt x="283" y="234"/>
                  <a:pt x="283" y="234"/>
                  <a:pt x="283" y="234"/>
                </a:cubicBezTo>
                <a:cubicBezTo>
                  <a:pt x="283" y="239"/>
                  <a:pt x="283" y="239"/>
                  <a:pt x="283" y="239"/>
                </a:cubicBezTo>
                <a:cubicBezTo>
                  <a:pt x="284" y="240"/>
                  <a:pt x="284" y="240"/>
                  <a:pt x="284" y="240"/>
                </a:cubicBezTo>
                <a:cubicBezTo>
                  <a:pt x="285" y="240"/>
                  <a:pt x="285" y="240"/>
                  <a:pt x="285" y="240"/>
                </a:cubicBezTo>
                <a:cubicBezTo>
                  <a:pt x="285" y="242"/>
                  <a:pt x="285" y="242"/>
                  <a:pt x="285" y="242"/>
                </a:cubicBezTo>
                <a:cubicBezTo>
                  <a:pt x="285" y="243"/>
                  <a:pt x="285" y="243"/>
                  <a:pt x="285" y="243"/>
                </a:cubicBezTo>
                <a:cubicBezTo>
                  <a:pt x="288" y="247"/>
                  <a:pt x="288" y="247"/>
                  <a:pt x="288" y="247"/>
                </a:cubicBezTo>
                <a:cubicBezTo>
                  <a:pt x="289" y="247"/>
                  <a:pt x="289" y="247"/>
                  <a:pt x="289" y="247"/>
                </a:cubicBezTo>
                <a:cubicBezTo>
                  <a:pt x="290" y="248"/>
                  <a:pt x="290" y="248"/>
                  <a:pt x="290" y="248"/>
                </a:cubicBezTo>
                <a:cubicBezTo>
                  <a:pt x="291" y="247"/>
                  <a:pt x="291" y="247"/>
                  <a:pt x="291" y="247"/>
                </a:cubicBezTo>
                <a:cubicBezTo>
                  <a:pt x="292" y="249"/>
                  <a:pt x="292" y="249"/>
                  <a:pt x="292" y="249"/>
                </a:cubicBezTo>
                <a:cubicBezTo>
                  <a:pt x="293" y="248"/>
                  <a:pt x="293" y="248"/>
                  <a:pt x="293" y="248"/>
                </a:cubicBezTo>
                <a:cubicBezTo>
                  <a:pt x="293" y="247"/>
                  <a:pt x="293" y="247"/>
                  <a:pt x="293" y="247"/>
                </a:cubicBezTo>
                <a:cubicBezTo>
                  <a:pt x="293" y="247"/>
                  <a:pt x="293" y="247"/>
                  <a:pt x="293" y="247"/>
                </a:cubicBezTo>
                <a:cubicBezTo>
                  <a:pt x="294" y="248"/>
                  <a:pt x="294" y="248"/>
                  <a:pt x="294" y="248"/>
                </a:cubicBezTo>
                <a:cubicBezTo>
                  <a:pt x="295" y="248"/>
                  <a:pt x="295" y="248"/>
                  <a:pt x="295" y="248"/>
                </a:cubicBezTo>
                <a:cubicBezTo>
                  <a:pt x="296" y="246"/>
                  <a:pt x="296" y="246"/>
                  <a:pt x="296" y="246"/>
                </a:cubicBezTo>
                <a:cubicBezTo>
                  <a:pt x="295" y="243"/>
                  <a:pt x="295" y="243"/>
                  <a:pt x="295" y="243"/>
                </a:cubicBezTo>
                <a:cubicBezTo>
                  <a:pt x="294" y="243"/>
                  <a:pt x="294" y="243"/>
                  <a:pt x="294" y="243"/>
                </a:cubicBezTo>
                <a:cubicBezTo>
                  <a:pt x="293" y="244"/>
                  <a:pt x="293" y="244"/>
                  <a:pt x="293" y="244"/>
                </a:cubicBezTo>
                <a:cubicBezTo>
                  <a:pt x="292" y="243"/>
                  <a:pt x="292" y="243"/>
                  <a:pt x="292" y="243"/>
                </a:cubicBezTo>
                <a:cubicBezTo>
                  <a:pt x="294" y="241"/>
                  <a:pt x="294" y="241"/>
                  <a:pt x="294" y="241"/>
                </a:cubicBezTo>
                <a:cubicBezTo>
                  <a:pt x="294" y="240"/>
                  <a:pt x="294" y="240"/>
                  <a:pt x="294" y="240"/>
                </a:cubicBezTo>
                <a:cubicBezTo>
                  <a:pt x="293" y="239"/>
                  <a:pt x="293" y="239"/>
                  <a:pt x="293" y="239"/>
                </a:cubicBezTo>
                <a:cubicBezTo>
                  <a:pt x="292" y="238"/>
                  <a:pt x="292" y="238"/>
                  <a:pt x="292" y="238"/>
                </a:cubicBezTo>
                <a:cubicBezTo>
                  <a:pt x="291" y="237"/>
                  <a:pt x="291" y="237"/>
                  <a:pt x="291" y="237"/>
                </a:cubicBezTo>
                <a:cubicBezTo>
                  <a:pt x="292" y="236"/>
                  <a:pt x="292" y="236"/>
                  <a:pt x="292" y="236"/>
                </a:cubicBezTo>
                <a:cubicBezTo>
                  <a:pt x="293" y="234"/>
                  <a:pt x="293" y="234"/>
                  <a:pt x="293" y="234"/>
                </a:cubicBezTo>
                <a:cubicBezTo>
                  <a:pt x="294" y="234"/>
                  <a:pt x="294" y="234"/>
                  <a:pt x="294" y="234"/>
                </a:cubicBezTo>
                <a:cubicBezTo>
                  <a:pt x="294" y="236"/>
                  <a:pt x="294" y="236"/>
                  <a:pt x="294" y="236"/>
                </a:cubicBezTo>
                <a:cubicBezTo>
                  <a:pt x="294" y="237"/>
                  <a:pt x="294" y="237"/>
                  <a:pt x="294" y="237"/>
                </a:cubicBezTo>
                <a:cubicBezTo>
                  <a:pt x="296" y="235"/>
                  <a:pt x="296" y="235"/>
                  <a:pt x="296" y="235"/>
                </a:cubicBezTo>
                <a:cubicBezTo>
                  <a:pt x="296" y="237"/>
                  <a:pt x="296" y="237"/>
                  <a:pt x="296" y="237"/>
                </a:cubicBezTo>
                <a:cubicBezTo>
                  <a:pt x="297" y="238"/>
                  <a:pt x="297" y="238"/>
                  <a:pt x="297" y="238"/>
                </a:cubicBezTo>
                <a:cubicBezTo>
                  <a:pt x="296" y="240"/>
                  <a:pt x="296" y="240"/>
                  <a:pt x="296" y="240"/>
                </a:cubicBezTo>
                <a:cubicBezTo>
                  <a:pt x="297" y="242"/>
                  <a:pt x="297" y="242"/>
                  <a:pt x="297" y="242"/>
                </a:cubicBezTo>
                <a:cubicBezTo>
                  <a:pt x="298" y="242"/>
                  <a:pt x="298" y="242"/>
                  <a:pt x="298" y="242"/>
                </a:cubicBezTo>
                <a:cubicBezTo>
                  <a:pt x="300" y="240"/>
                  <a:pt x="300" y="240"/>
                  <a:pt x="300" y="240"/>
                </a:cubicBezTo>
                <a:cubicBezTo>
                  <a:pt x="300" y="240"/>
                  <a:pt x="300" y="240"/>
                  <a:pt x="300" y="240"/>
                </a:cubicBezTo>
                <a:cubicBezTo>
                  <a:pt x="300" y="242"/>
                  <a:pt x="300" y="242"/>
                  <a:pt x="300" y="242"/>
                </a:cubicBezTo>
                <a:cubicBezTo>
                  <a:pt x="298" y="243"/>
                  <a:pt x="298" y="243"/>
                  <a:pt x="298" y="243"/>
                </a:cubicBezTo>
                <a:cubicBezTo>
                  <a:pt x="298" y="244"/>
                  <a:pt x="298" y="244"/>
                  <a:pt x="298" y="244"/>
                </a:cubicBezTo>
                <a:cubicBezTo>
                  <a:pt x="299" y="246"/>
                  <a:pt x="299" y="246"/>
                  <a:pt x="299" y="246"/>
                </a:cubicBezTo>
                <a:cubicBezTo>
                  <a:pt x="298" y="248"/>
                  <a:pt x="298" y="248"/>
                  <a:pt x="298" y="248"/>
                </a:cubicBezTo>
                <a:cubicBezTo>
                  <a:pt x="299" y="249"/>
                  <a:pt x="299" y="249"/>
                  <a:pt x="299" y="249"/>
                </a:cubicBezTo>
                <a:cubicBezTo>
                  <a:pt x="301" y="250"/>
                  <a:pt x="301" y="250"/>
                  <a:pt x="301" y="250"/>
                </a:cubicBezTo>
                <a:cubicBezTo>
                  <a:pt x="301" y="249"/>
                  <a:pt x="301" y="249"/>
                  <a:pt x="301" y="249"/>
                </a:cubicBezTo>
                <a:cubicBezTo>
                  <a:pt x="302" y="247"/>
                  <a:pt x="302" y="247"/>
                  <a:pt x="302" y="247"/>
                </a:cubicBezTo>
                <a:cubicBezTo>
                  <a:pt x="302" y="249"/>
                  <a:pt x="302" y="249"/>
                  <a:pt x="302" y="249"/>
                </a:cubicBezTo>
                <a:cubicBezTo>
                  <a:pt x="302" y="250"/>
                  <a:pt x="302" y="250"/>
                  <a:pt x="302" y="250"/>
                </a:cubicBezTo>
                <a:cubicBezTo>
                  <a:pt x="303" y="252"/>
                  <a:pt x="303" y="252"/>
                  <a:pt x="303" y="252"/>
                </a:cubicBezTo>
                <a:cubicBezTo>
                  <a:pt x="304" y="253"/>
                  <a:pt x="304" y="253"/>
                  <a:pt x="304" y="253"/>
                </a:cubicBezTo>
                <a:cubicBezTo>
                  <a:pt x="306" y="250"/>
                  <a:pt x="306" y="250"/>
                  <a:pt x="306" y="250"/>
                </a:cubicBezTo>
                <a:cubicBezTo>
                  <a:pt x="306" y="247"/>
                  <a:pt x="306" y="247"/>
                  <a:pt x="306" y="247"/>
                </a:cubicBezTo>
                <a:cubicBezTo>
                  <a:pt x="307" y="246"/>
                  <a:pt x="307" y="246"/>
                  <a:pt x="307" y="246"/>
                </a:cubicBezTo>
                <a:cubicBezTo>
                  <a:pt x="307" y="241"/>
                  <a:pt x="307" y="241"/>
                  <a:pt x="307" y="241"/>
                </a:cubicBezTo>
                <a:cubicBezTo>
                  <a:pt x="308" y="237"/>
                  <a:pt x="308" y="237"/>
                  <a:pt x="308" y="237"/>
                </a:cubicBezTo>
                <a:cubicBezTo>
                  <a:pt x="308" y="232"/>
                  <a:pt x="308" y="232"/>
                  <a:pt x="308" y="232"/>
                </a:cubicBezTo>
                <a:cubicBezTo>
                  <a:pt x="308" y="229"/>
                  <a:pt x="308" y="229"/>
                  <a:pt x="308" y="229"/>
                </a:cubicBezTo>
                <a:cubicBezTo>
                  <a:pt x="307" y="228"/>
                  <a:pt x="307" y="228"/>
                  <a:pt x="307" y="228"/>
                </a:cubicBezTo>
                <a:cubicBezTo>
                  <a:pt x="307" y="228"/>
                  <a:pt x="307" y="228"/>
                  <a:pt x="307" y="228"/>
                </a:cubicBezTo>
                <a:cubicBezTo>
                  <a:pt x="308" y="228"/>
                  <a:pt x="308" y="228"/>
                  <a:pt x="308" y="228"/>
                </a:cubicBezTo>
                <a:cubicBezTo>
                  <a:pt x="309" y="230"/>
                  <a:pt x="309" y="230"/>
                  <a:pt x="309" y="230"/>
                </a:cubicBezTo>
                <a:cubicBezTo>
                  <a:pt x="310" y="231"/>
                  <a:pt x="310" y="231"/>
                  <a:pt x="310" y="231"/>
                </a:cubicBezTo>
                <a:cubicBezTo>
                  <a:pt x="311" y="228"/>
                  <a:pt x="311" y="228"/>
                  <a:pt x="311" y="228"/>
                </a:cubicBezTo>
                <a:cubicBezTo>
                  <a:pt x="313" y="227"/>
                  <a:pt x="313" y="227"/>
                  <a:pt x="313" y="227"/>
                </a:cubicBezTo>
                <a:cubicBezTo>
                  <a:pt x="312" y="230"/>
                  <a:pt x="312" y="230"/>
                  <a:pt x="312" y="230"/>
                </a:cubicBezTo>
                <a:cubicBezTo>
                  <a:pt x="311" y="233"/>
                  <a:pt x="311" y="233"/>
                  <a:pt x="311" y="233"/>
                </a:cubicBezTo>
                <a:cubicBezTo>
                  <a:pt x="312" y="236"/>
                  <a:pt x="312" y="236"/>
                  <a:pt x="312" y="236"/>
                </a:cubicBezTo>
                <a:cubicBezTo>
                  <a:pt x="310" y="240"/>
                  <a:pt x="310" y="240"/>
                  <a:pt x="310" y="240"/>
                </a:cubicBezTo>
                <a:cubicBezTo>
                  <a:pt x="309" y="242"/>
                  <a:pt x="309" y="242"/>
                  <a:pt x="309" y="242"/>
                </a:cubicBezTo>
                <a:cubicBezTo>
                  <a:pt x="310" y="243"/>
                  <a:pt x="310" y="243"/>
                  <a:pt x="310" y="243"/>
                </a:cubicBezTo>
                <a:cubicBezTo>
                  <a:pt x="309" y="245"/>
                  <a:pt x="309" y="245"/>
                  <a:pt x="309" y="245"/>
                </a:cubicBezTo>
                <a:cubicBezTo>
                  <a:pt x="309" y="248"/>
                  <a:pt x="309" y="248"/>
                  <a:pt x="309" y="248"/>
                </a:cubicBezTo>
                <a:cubicBezTo>
                  <a:pt x="309" y="249"/>
                  <a:pt x="309" y="249"/>
                  <a:pt x="309" y="249"/>
                </a:cubicBezTo>
                <a:cubicBezTo>
                  <a:pt x="309" y="251"/>
                  <a:pt x="309" y="251"/>
                  <a:pt x="309" y="251"/>
                </a:cubicBezTo>
                <a:cubicBezTo>
                  <a:pt x="311" y="253"/>
                  <a:pt x="311" y="253"/>
                  <a:pt x="311" y="253"/>
                </a:cubicBezTo>
                <a:cubicBezTo>
                  <a:pt x="311" y="255"/>
                  <a:pt x="311" y="255"/>
                  <a:pt x="311" y="255"/>
                </a:cubicBezTo>
                <a:cubicBezTo>
                  <a:pt x="312" y="255"/>
                  <a:pt x="312" y="255"/>
                  <a:pt x="312" y="255"/>
                </a:cubicBezTo>
                <a:cubicBezTo>
                  <a:pt x="313" y="257"/>
                  <a:pt x="313" y="257"/>
                  <a:pt x="313" y="257"/>
                </a:cubicBezTo>
                <a:cubicBezTo>
                  <a:pt x="314" y="259"/>
                  <a:pt x="314" y="259"/>
                  <a:pt x="314" y="259"/>
                </a:cubicBezTo>
                <a:cubicBezTo>
                  <a:pt x="315" y="258"/>
                  <a:pt x="315" y="258"/>
                  <a:pt x="315" y="258"/>
                </a:cubicBezTo>
                <a:cubicBezTo>
                  <a:pt x="316" y="259"/>
                  <a:pt x="316" y="259"/>
                  <a:pt x="316" y="259"/>
                </a:cubicBezTo>
                <a:cubicBezTo>
                  <a:pt x="318" y="258"/>
                  <a:pt x="318" y="258"/>
                  <a:pt x="318" y="258"/>
                </a:cubicBezTo>
                <a:cubicBezTo>
                  <a:pt x="320" y="258"/>
                  <a:pt x="320" y="258"/>
                  <a:pt x="320" y="258"/>
                </a:cubicBezTo>
                <a:cubicBezTo>
                  <a:pt x="320" y="258"/>
                  <a:pt x="320" y="258"/>
                  <a:pt x="320" y="258"/>
                </a:cubicBezTo>
                <a:cubicBezTo>
                  <a:pt x="318" y="260"/>
                  <a:pt x="318" y="260"/>
                  <a:pt x="318" y="260"/>
                </a:cubicBezTo>
                <a:cubicBezTo>
                  <a:pt x="317" y="260"/>
                  <a:pt x="317" y="260"/>
                  <a:pt x="317" y="260"/>
                </a:cubicBezTo>
                <a:cubicBezTo>
                  <a:pt x="317" y="261"/>
                  <a:pt x="317" y="261"/>
                  <a:pt x="317" y="261"/>
                </a:cubicBezTo>
                <a:cubicBezTo>
                  <a:pt x="318" y="262"/>
                  <a:pt x="318" y="262"/>
                  <a:pt x="318" y="262"/>
                </a:cubicBezTo>
                <a:cubicBezTo>
                  <a:pt x="317" y="263"/>
                  <a:pt x="317" y="263"/>
                  <a:pt x="317" y="263"/>
                </a:cubicBezTo>
                <a:cubicBezTo>
                  <a:pt x="315" y="263"/>
                  <a:pt x="315" y="263"/>
                  <a:pt x="315" y="263"/>
                </a:cubicBezTo>
                <a:cubicBezTo>
                  <a:pt x="316" y="264"/>
                  <a:pt x="316" y="264"/>
                  <a:pt x="316" y="264"/>
                </a:cubicBezTo>
                <a:cubicBezTo>
                  <a:pt x="317" y="267"/>
                  <a:pt x="317" y="267"/>
                  <a:pt x="317" y="267"/>
                </a:cubicBezTo>
                <a:cubicBezTo>
                  <a:pt x="317" y="269"/>
                  <a:pt x="317" y="269"/>
                  <a:pt x="317" y="269"/>
                </a:cubicBezTo>
                <a:cubicBezTo>
                  <a:pt x="316" y="269"/>
                  <a:pt x="316" y="269"/>
                  <a:pt x="316" y="269"/>
                </a:cubicBezTo>
                <a:cubicBezTo>
                  <a:pt x="315" y="268"/>
                  <a:pt x="315" y="268"/>
                  <a:pt x="315" y="268"/>
                </a:cubicBezTo>
                <a:cubicBezTo>
                  <a:pt x="314" y="266"/>
                  <a:pt x="314" y="266"/>
                  <a:pt x="314" y="266"/>
                </a:cubicBezTo>
                <a:cubicBezTo>
                  <a:pt x="313" y="267"/>
                  <a:pt x="313" y="267"/>
                  <a:pt x="313" y="267"/>
                </a:cubicBezTo>
                <a:cubicBezTo>
                  <a:pt x="314" y="268"/>
                  <a:pt x="314" y="268"/>
                  <a:pt x="314" y="268"/>
                </a:cubicBezTo>
                <a:cubicBezTo>
                  <a:pt x="313" y="270"/>
                  <a:pt x="313" y="270"/>
                  <a:pt x="313" y="270"/>
                </a:cubicBezTo>
                <a:cubicBezTo>
                  <a:pt x="313" y="272"/>
                  <a:pt x="313" y="272"/>
                  <a:pt x="313" y="272"/>
                </a:cubicBezTo>
                <a:cubicBezTo>
                  <a:pt x="314" y="273"/>
                  <a:pt x="314" y="273"/>
                  <a:pt x="314" y="273"/>
                </a:cubicBezTo>
                <a:cubicBezTo>
                  <a:pt x="313" y="274"/>
                  <a:pt x="313" y="274"/>
                  <a:pt x="313" y="274"/>
                </a:cubicBezTo>
                <a:cubicBezTo>
                  <a:pt x="312" y="274"/>
                  <a:pt x="312" y="274"/>
                  <a:pt x="312" y="274"/>
                </a:cubicBezTo>
                <a:cubicBezTo>
                  <a:pt x="311" y="275"/>
                  <a:pt x="311" y="275"/>
                  <a:pt x="311" y="275"/>
                </a:cubicBezTo>
                <a:cubicBezTo>
                  <a:pt x="311" y="276"/>
                  <a:pt x="311" y="276"/>
                  <a:pt x="311" y="276"/>
                </a:cubicBezTo>
                <a:cubicBezTo>
                  <a:pt x="312" y="276"/>
                  <a:pt x="312" y="276"/>
                  <a:pt x="312" y="276"/>
                </a:cubicBezTo>
                <a:cubicBezTo>
                  <a:pt x="313" y="276"/>
                  <a:pt x="313" y="276"/>
                  <a:pt x="313" y="276"/>
                </a:cubicBezTo>
                <a:cubicBezTo>
                  <a:pt x="314" y="278"/>
                  <a:pt x="314" y="278"/>
                  <a:pt x="314" y="278"/>
                </a:cubicBezTo>
                <a:cubicBezTo>
                  <a:pt x="315" y="279"/>
                  <a:pt x="315" y="279"/>
                  <a:pt x="315" y="279"/>
                </a:cubicBezTo>
                <a:cubicBezTo>
                  <a:pt x="316" y="279"/>
                  <a:pt x="316" y="279"/>
                  <a:pt x="316" y="279"/>
                </a:cubicBezTo>
                <a:cubicBezTo>
                  <a:pt x="317" y="280"/>
                  <a:pt x="317" y="280"/>
                  <a:pt x="317" y="280"/>
                </a:cubicBezTo>
                <a:cubicBezTo>
                  <a:pt x="317" y="280"/>
                  <a:pt x="317" y="280"/>
                  <a:pt x="317" y="280"/>
                </a:cubicBezTo>
                <a:cubicBezTo>
                  <a:pt x="316" y="280"/>
                  <a:pt x="316" y="280"/>
                  <a:pt x="316" y="280"/>
                </a:cubicBezTo>
                <a:cubicBezTo>
                  <a:pt x="315" y="281"/>
                  <a:pt x="315" y="281"/>
                  <a:pt x="315" y="281"/>
                </a:cubicBezTo>
                <a:cubicBezTo>
                  <a:pt x="315" y="282"/>
                  <a:pt x="315" y="282"/>
                  <a:pt x="315" y="282"/>
                </a:cubicBezTo>
                <a:cubicBezTo>
                  <a:pt x="317" y="283"/>
                  <a:pt x="317" y="283"/>
                  <a:pt x="317" y="283"/>
                </a:cubicBezTo>
                <a:cubicBezTo>
                  <a:pt x="318" y="285"/>
                  <a:pt x="318" y="285"/>
                  <a:pt x="318" y="285"/>
                </a:cubicBezTo>
                <a:cubicBezTo>
                  <a:pt x="319" y="286"/>
                  <a:pt x="319" y="286"/>
                  <a:pt x="319" y="286"/>
                </a:cubicBezTo>
                <a:cubicBezTo>
                  <a:pt x="320" y="286"/>
                  <a:pt x="320" y="286"/>
                  <a:pt x="320" y="286"/>
                </a:cubicBezTo>
                <a:cubicBezTo>
                  <a:pt x="319" y="287"/>
                  <a:pt x="319" y="287"/>
                  <a:pt x="319" y="287"/>
                </a:cubicBezTo>
                <a:cubicBezTo>
                  <a:pt x="318" y="287"/>
                  <a:pt x="318" y="287"/>
                  <a:pt x="318" y="287"/>
                </a:cubicBezTo>
                <a:cubicBezTo>
                  <a:pt x="317" y="288"/>
                  <a:pt x="317" y="288"/>
                  <a:pt x="317" y="288"/>
                </a:cubicBezTo>
                <a:cubicBezTo>
                  <a:pt x="317" y="291"/>
                  <a:pt x="317" y="291"/>
                  <a:pt x="317" y="291"/>
                </a:cubicBezTo>
                <a:cubicBezTo>
                  <a:pt x="319" y="294"/>
                  <a:pt x="319" y="294"/>
                  <a:pt x="319" y="294"/>
                </a:cubicBezTo>
                <a:cubicBezTo>
                  <a:pt x="320" y="295"/>
                  <a:pt x="320" y="295"/>
                  <a:pt x="320" y="295"/>
                </a:cubicBezTo>
                <a:cubicBezTo>
                  <a:pt x="322" y="295"/>
                  <a:pt x="322" y="295"/>
                  <a:pt x="322" y="295"/>
                </a:cubicBezTo>
                <a:cubicBezTo>
                  <a:pt x="323" y="295"/>
                  <a:pt x="323" y="295"/>
                  <a:pt x="323" y="295"/>
                </a:cubicBezTo>
                <a:cubicBezTo>
                  <a:pt x="321" y="296"/>
                  <a:pt x="321" y="296"/>
                  <a:pt x="321" y="296"/>
                </a:cubicBezTo>
                <a:cubicBezTo>
                  <a:pt x="319" y="296"/>
                  <a:pt x="319" y="296"/>
                  <a:pt x="319" y="296"/>
                </a:cubicBezTo>
                <a:cubicBezTo>
                  <a:pt x="318" y="296"/>
                  <a:pt x="318" y="296"/>
                  <a:pt x="318" y="296"/>
                </a:cubicBezTo>
                <a:cubicBezTo>
                  <a:pt x="317" y="299"/>
                  <a:pt x="317" y="299"/>
                  <a:pt x="317" y="299"/>
                </a:cubicBezTo>
                <a:cubicBezTo>
                  <a:pt x="313" y="302"/>
                  <a:pt x="313" y="302"/>
                  <a:pt x="313" y="302"/>
                </a:cubicBezTo>
                <a:cubicBezTo>
                  <a:pt x="311" y="304"/>
                  <a:pt x="311" y="304"/>
                  <a:pt x="311" y="304"/>
                </a:cubicBezTo>
                <a:cubicBezTo>
                  <a:pt x="311" y="306"/>
                  <a:pt x="311" y="306"/>
                  <a:pt x="311" y="306"/>
                </a:cubicBezTo>
                <a:cubicBezTo>
                  <a:pt x="312" y="308"/>
                  <a:pt x="312" y="308"/>
                  <a:pt x="312" y="308"/>
                </a:cubicBezTo>
                <a:cubicBezTo>
                  <a:pt x="314" y="306"/>
                  <a:pt x="314" y="306"/>
                  <a:pt x="314" y="306"/>
                </a:cubicBezTo>
                <a:cubicBezTo>
                  <a:pt x="315" y="303"/>
                  <a:pt x="315" y="303"/>
                  <a:pt x="315" y="303"/>
                </a:cubicBezTo>
                <a:cubicBezTo>
                  <a:pt x="315" y="302"/>
                  <a:pt x="315" y="302"/>
                  <a:pt x="315" y="302"/>
                </a:cubicBezTo>
                <a:cubicBezTo>
                  <a:pt x="317" y="302"/>
                  <a:pt x="317" y="302"/>
                  <a:pt x="317" y="302"/>
                </a:cubicBezTo>
                <a:cubicBezTo>
                  <a:pt x="319" y="299"/>
                  <a:pt x="319" y="299"/>
                  <a:pt x="319" y="299"/>
                </a:cubicBezTo>
                <a:cubicBezTo>
                  <a:pt x="320" y="300"/>
                  <a:pt x="320" y="300"/>
                  <a:pt x="320" y="300"/>
                </a:cubicBezTo>
                <a:cubicBezTo>
                  <a:pt x="321" y="300"/>
                  <a:pt x="321" y="300"/>
                  <a:pt x="321" y="300"/>
                </a:cubicBezTo>
                <a:cubicBezTo>
                  <a:pt x="324" y="300"/>
                  <a:pt x="324" y="300"/>
                  <a:pt x="324" y="300"/>
                </a:cubicBezTo>
                <a:cubicBezTo>
                  <a:pt x="322" y="302"/>
                  <a:pt x="322" y="302"/>
                  <a:pt x="322" y="302"/>
                </a:cubicBezTo>
                <a:cubicBezTo>
                  <a:pt x="323" y="302"/>
                  <a:pt x="323" y="302"/>
                  <a:pt x="323" y="302"/>
                </a:cubicBezTo>
                <a:cubicBezTo>
                  <a:pt x="325" y="302"/>
                  <a:pt x="325" y="302"/>
                  <a:pt x="325" y="302"/>
                </a:cubicBezTo>
                <a:cubicBezTo>
                  <a:pt x="325" y="303"/>
                  <a:pt x="325" y="303"/>
                  <a:pt x="325" y="303"/>
                </a:cubicBezTo>
                <a:cubicBezTo>
                  <a:pt x="323" y="305"/>
                  <a:pt x="323" y="305"/>
                  <a:pt x="323" y="305"/>
                </a:cubicBezTo>
                <a:cubicBezTo>
                  <a:pt x="323" y="307"/>
                  <a:pt x="323" y="307"/>
                  <a:pt x="323" y="307"/>
                </a:cubicBezTo>
                <a:cubicBezTo>
                  <a:pt x="323" y="308"/>
                  <a:pt x="323" y="308"/>
                  <a:pt x="323" y="308"/>
                </a:cubicBezTo>
                <a:cubicBezTo>
                  <a:pt x="322" y="310"/>
                  <a:pt x="322" y="310"/>
                  <a:pt x="322" y="310"/>
                </a:cubicBezTo>
                <a:cubicBezTo>
                  <a:pt x="321" y="312"/>
                  <a:pt x="321" y="312"/>
                  <a:pt x="321" y="312"/>
                </a:cubicBezTo>
                <a:cubicBezTo>
                  <a:pt x="322" y="313"/>
                  <a:pt x="322" y="313"/>
                  <a:pt x="322" y="313"/>
                </a:cubicBezTo>
                <a:cubicBezTo>
                  <a:pt x="322" y="314"/>
                  <a:pt x="322" y="314"/>
                  <a:pt x="322" y="314"/>
                </a:cubicBezTo>
                <a:cubicBezTo>
                  <a:pt x="321" y="314"/>
                  <a:pt x="321" y="314"/>
                  <a:pt x="321" y="314"/>
                </a:cubicBezTo>
                <a:cubicBezTo>
                  <a:pt x="319" y="314"/>
                  <a:pt x="319" y="314"/>
                  <a:pt x="319" y="314"/>
                </a:cubicBezTo>
                <a:cubicBezTo>
                  <a:pt x="318" y="315"/>
                  <a:pt x="318" y="315"/>
                  <a:pt x="318" y="315"/>
                </a:cubicBezTo>
                <a:cubicBezTo>
                  <a:pt x="318" y="316"/>
                  <a:pt x="318" y="316"/>
                  <a:pt x="318" y="316"/>
                </a:cubicBezTo>
                <a:cubicBezTo>
                  <a:pt x="319" y="316"/>
                  <a:pt x="319" y="316"/>
                  <a:pt x="319" y="316"/>
                </a:cubicBezTo>
                <a:cubicBezTo>
                  <a:pt x="320" y="316"/>
                  <a:pt x="320" y="316"/>
                  <a:pt x="320" y="316"/>
                </a:cubicBezTo>
                <a:cubicBezTo>
                  <a:pt x="322" y="316"/>
                  <a:pt x="322" y="316"/>
                  <a:pt x="322" y="316"/>
                </a:cubicBezTo>
                <a:cubicBezTo>
                  <a:pt x="322" y="317"/>
                  <a:pt x="322" y="317"/>
                  <a:pt x="322" y="317"/>
                </a:cubicBezTo>
                <a:cubicBezTo>
                  <a:pt x="321" y="318"/>
                  <a:pt x="321" y="318"/>
                  <a:pt x="321" y="318"/>
                </a:cubicBezTo>
                <a:cubicBezTo>
                  <a:pt x="319" y="318"/>
                  <a:pt x="319" y="318"/>
                  <a:pt x="319" y="318"/>
                </a:cubicBezTo>
                <a:cubicBezTo>
                  <a:pt x="318" y="318"/>
                  <a:pt x="318" y="318"/>
                  <a:pt x="318" y="318"/>
                </a:cubicBezTo>
                <a:cubicBezTo>
                  <a:pt x="317" y="319"/>
                  <a:pt x="317" y="319"/>
                  <a:pt x="317" y="319"/>
                </a:cubicBezTo>
                <a:cubicBezTo>
                  <a:pt x="317" y="321"/>
                  <a:pt x="317" y="321"/>
                  <a:pt x="317" y="321"/>
                </a:cubicBezTo>
                <a:cubicBezTo>
                  <a:pt x="318" y="323"/>
                  <a:pt x="318" y="323"/>
                  <a:pt x="318" y="323"/>
                </a:cubicBezTo>
                <a:cubicBezTo>
                  <a:pt x="319" y="322"/>
                  <a:pt x="319" y="322"/>
                  <a:pt x="319" y="322"/>
                </a:cubicBezTo>
                <a:cubicBezTo>
                  <a:pt x="319" y="321"/>
                  <a:pt x="319" y="321"/>
                  <a:pt x="319" y="321"/>
                </a:cubicBezTo>
                <a:cubicBezTo>
                  <a:pt x="321" y="321"/>
                  <a:pt x="321" y="321"/>
                  <a:pt x="321" y="321"/>
                </a:cubicBezTo>
                <a:cubicBezTo>
                  <a:pt x="322" y="320"/>
                  <a:pt x="322" y="320"/>
                  <a:pt x="322" y="320"/>
                </a:cubicBezTo>
                <a:cubicBezTo>
                  <a:pt x="325" y="318"/>
                  <a:pt x="325" y="318"/>
                  <a:pt x="325" y="318"/>
                </a:cubicBezTo>
                <a:cubicBezTo>
                  <a:pt x="327" y="314"/>
                  <a:pt x="327" y="314"/>
                  <a:pt x="327" y="314"/>
                </a:cubicBezTo>
                <a:cubicBezTo>
                  <a:pt x="328" y="310"/>
                  <a:pt x="328" y="310"/>
                  <a:pt x="328" y="310"/>
                </a:cubicBezTo>
                <a:cubicBezTo>
                  <a:pt x="330" y="306"/>
                  <a:pt x="330" y="306"/>
                  <a:pt x="330" y="306"/>
                </a:cubicBezTo>
                <a:cubicBezTo>
                  <a:pt x="331" y="305"/>
                  <a:pt x="331" y="305"/>
                  <a:pt x="331" y="305"/>
                </a:cubicBezTo>
                <a:cubicBezTo>
                  <a:pt x="331" y="305"/>
                  <a:pt x="331" y="305"/>
                  <a:pt x="331" y="305"/>
                </a:cubicBezTo>
                <a:cubicBezTo>
                  <a:pt x="331" y="305"/>
                  <a:pt x="331" y="305"/>
                  <a:pt x="331" y="305"/>
                </a:cubicBezTo>
                <a:cubicBezTo>
                  <a:pt x="331" y="307"/>
                  <a:pt x="331" y="307"/>
                  <a:pt x="331" y="307"/>
                </a:cubicBezTo>
                <a:cubicBezTo>
                  <a:pt x="328" y="312"/>
                  <a:pt x="328" y="312"/>
                  <a:pt x="328" y="312"/>
                </a:cubicBezTo>
                <a:cubicBezTo>
                  <a:pt x="328" y="316"/>
                  <a:pt x="328" y="316"/>
                  <a:pt x="328" y="316"/>
                </a:cubicBezTo>
                <a:cubicBezTo>
                  <a:pt x="325" y="318"/>
                  <a:pt x="325" y="318"/>
                  <a:pt x="325" y="318"/>
                </a:cubicBezTo>
                <a:cubicBezTo>
                  <a:pt x="325" y="320"/>
                  <a:pt x="325" y="320"/>
                  <a:pt x="325" y="320"/>
                </a:cubicBezTo>
                <a:cubicBezTo>
                  <a:pt x="326" y="320"/>
                  <a:pt x="326" y="320"/>
                  <a:pt x="326" y="320"/>
                </a:cubicBezTo>
                <a:cubicBezTo>
                  <a:pt x="329" y="316"/>
                  <a:pt x="329" y="316"/>
                  <a:pt x="329" y="316"/>
                </a:cubicBezTo>
                <a:cubicBezTo>
                  <a:pt x="330" y="314"/>
                  <a:pt x="330" y="314"/>
                  <a:pt x="330" y="314"/>
                </a:cubicBezTo>
                <a:cubicBezTo>
                  <a:pt x="332" y="312"/>
                  <a:pt x="332" y="312"/>
                  <a:pt x="332" y="312"/>
                </a:cubicBezTo>
                <a:cubicBezTo>
                  <a:pt x="332" y="313"/>
                  <a:pt x="332" y="313"/>
                  <a:pt x="332" y="313"/>
                </a:cubicBezTo>
                <a:cubicBezTo>
                  <a:pt x="334" y="313"/>
                  <a:pt x="334" y="313"/>
                  <a:pt x="334" y="313"/>
                </a:cubicBezTo>
                <a:cubicBezTo>
                  <a:pt x="333" y="314"/>
                  <a:pt x="333" y="314"/>
                  <a:pt x="333" y="314"/>
                </a:cubicBezTo>
                <a:cubicBezTo>
                  <a:pt x="331" y="316"/>
                  <a:pt x="331" y="316"/>
                  <a:pt x="331" y="316"/>
                </a:cubicBezTo>
                <a:cubicBezTo>
                  <a:pt x="330" y="317"/>
                  <a:pt x="330" y="317"/>
                  <a:pt x="330" y="317"/>
                </a:cubicBezTo>
                <a:cubicBezTo>
                  <a:pt x="327" y="321"/>
                  <a:pt x="327" y="321"/>
                  <a:pt x="327" y="321"/>
                </a:cubicBezTo>
                <a:cubicBezTo>
                  <a:pt x="327" y="321"/>
                  <a:pt x="327" y="321"/>
                  <a:pt x="327" y="321"/>
                </a:cubicBezTo>
                <a:cubicBezTo>
                  <a:pt x="328" y="321"/>
                  <a:pt x="328" y="321"/>
                  <a:pt x="328" y="321"/>
                </a:cubicBezTo>
                <a:cubicBezTo>
                  <a:pt x="327" y="322"/>
                  <a:pt x="327" y="322"/>
                  <a:pt x="327" y="322"/>
                </a:cubicBezTo>
                <a:cubicBezTo>
                  <a:pt x="325" y="322"/>
                  <a:pt x="325" y="322"/>
                  <a:pt x="325" y="322"/>
                </a:cubicBezTo>
                <a:cubicBezTo>
                  <a:pt x="324" y="322"/>
                  <a:pt x="324" y="322"/>
                  <a:pt x="324" y="322"/>
                </a:cubicBezTo>
                <a:cubicBezTo>
                  <a:pt x="322" y="325"/>
                  <a:pt x="322" y="325"/>
                  <a:pt x="322" y="325"/>
                </a:cubicBezTo>
                <a:cubicBezTo>
                  <a:pt x="321" y="327"/>
                  <a:pt x="321" y="327"/>
                  <a:pt x="321" y="327"/>
                </a:cubicBezTo>
                <a:cubicBezTo>
                  <a:pt x="321" y="329"/>
                  <a:pt x="321" y="329"/>
                  <a:pt x="321" y="329"/>
                </a:cubicBezTo>
                <a:cubicBezTo>
                  <a:pt x="320" y="328"/>
                  <a:pt x="320" y="328"/>
                  <a:pt x="320" y="328"/>
                </a:cubicBezTo>
                <a:cubicBezTo>
                  <a:pt x="319" y="327"/>
                  <a:pt x="319" y="327"/>
                  <a:pt x="319" y="327"/>
                </a:cubicBezTo>
                <a:cubicBezTo>
                  <a:pt x="317" y="328"/>
                  <a:pt x="317" y="328"/>
                  <a:pt x="317" y="328"/>
                </a:cubicBezTo>
                <a:cubicBezTo>
                  <a:pt x="318" y="331"/>
                  <a:pt x="318" y="331"/>
                  <a:pt x="318" y="331"/>
                </a:cubicBezTo>
                <a:cubicBezTo>
                  <a:pt x="319" y="331"/>
                  <a:pt x="319" y="331"/>
                  <a:pt x="319" y="331"/>
                </a:cubicBezTo>
                <a:cubicBezTo>
                  <a:pt x="320" y="333"/>
                  <a:pt x="320" y="333"/>
                  <a:pt x="320" y="333"/>
                </a:cubicBezTo>
                <a:cubicBezTo>
                  <a:pt x="319" y="336"/>
                  <a:pt x="319" y="336"/>
                  <a:pt x="319" y="336"/>
                </a:cubicBezTo>
                <a:cubicBezTo>
                  <a:pt x="318" y="341"/>
                  <a:pt x="318" y="341"/>
                  <a:pt x="318" y="341"/>
                </a:cubicBezTo>
                <a:cubicBezTo>
                  <a:pt x="319" y="344"/>
                  <a:pt x="319" y="344"/>
                  <a:pt x="319" y="344"/>
                </a:cubicBezTo>
                <a:cubicBezTo>
                  <a:pt x="321" y="347"/>
                  <a:pt x="321" y="347"/>
                  <a:pt x="321" y="347"/>
                </a:cubicBezTo>
                <a:cubicBezTo>
                  <a:pt x="322" y="347"/>
                  <a:pt x="322" y="347"/>
                  <a:pt x="322" y="347"/>
                </a:cubicBezTo>
                <a:cubicBezTo>
                  <a:pt x="322" y="346"/>
                  <a:pt x="322" y="346"/>
                  <a:pt x="322" y="346"/>
                </a:cubicBezTo>
                <a:cubicBezTo>
                  <a:pt x="324" y="344"/>
                  <a:pt x="324" y="344"/>
                  <a:pt x="324" y="344"/>
                </a:cubicBezTo>
                <a:cubicBezTo>
                  <a:pt x="327" y="343"/>
                  <a:pt x="327" y="343"/>
                  <a:pt x="327" y="343"/>
                </a:cubicBezTo>
                <a:cubicBezTo>
                  <a:pt x="329" y="342"/>
                  <a:pt x="329" y="342"/>
                  <a:pt x="329" y="342"/>
                </a:cubicBezTo>
                <a:cubicBezTo>
                  <a:pt x="330" y="340"/>
                  <a:pt x="330" y="340"/>
                  <a:pt x="330" y="340"/>
                </a:cubicBezTo>
                <a:cubicBezTo>
                  <a:pt x="331" y="340"/>
                  <a:pt x="331" y="340"/>
                  <a:pt x="331" y="340"/>
                </a:cubicBezTo>
                <a:cubicBezTo>
                  <a:pt x="331" y="342"/>
                  <a:pt x="331" y="342"/>
                  <a:pt x="331" y="342"/>
                </a:cubicBezTo>
                <a:cubicBezTo>
                  <a:pt x="330" y="344"/>
                  <a:pt x="330" y="344"/>
                  <a:pt x="330" y="344"/>
                </a:cubicBezTo>
                <a:cubicBezTo>
                  <a:pt x="329" y="344"/>
                  <a:pt x="329" y="344"/>
                  <a:pt x="329" y="344"/>
                </a:cubicBezTo>
                <a:cubicBezTo>
                  <a:pt x="328" y="346"/>
                  <a:pt x="328" y="346"/>
                  <a:pt x="328" y="346"/>
                </a:cubicBezTo>
                <a:cubicBezTo>
                  <a:pt x="328" y="347"/>
                  <a:pt x="328" y="347"/>
                  <a:pt x="328" y="347"/>
                </a:cubicBezTo>
                <a:cubicBezTo>
                  <a:pt x="330" y="348"/>
                  <a:pt x="330" y="348"/>
                  <a:pt x="330" y="348"/>
                </a:cubicBezTo>
                <a:cubicBezTo>
                  <a:pt x="331" y="350"/>
                  <a:pt x="331" y="350"/>
                  <a:pt x="331" y="350"/>
                </a:cubicBezTo>
                <a:cubicBezTo>
                  <a:pt x="333" y="350"/>
                  <a:pt x="333" y="350"/>
                  <a:pt x="333" y="350"/>
                </a:cubicBezTo>
                <a:cubicBezTo>
                  <a:pt x="335" y="350"/>
                  <a:pt x="335" y="350"/>
                  <a:pt x="335" y="350"/>
                </a:cubicBezTo>
                <a:cubicBezTo>
                  <a:pt x="335" y="351"/>
                  <a:pt x="335" y="351"/>
                  <a:pt x="335" y="351"/>
                </a:cubicBezTo>
                <a:cubicBezTo>
                  <a:pt x="333" y="350"/>
                  <a:pt x="333" y="350"/>
                  <a:pt x="333" y="350"/>
                </a:cubicBezTo>
                <a:cubicBezTo>
                  <a:pt x="331" y="350"/>
                  <a:pt x="331" y="350"/>
                  <a:pt x="331" y="350"/>
                </a:cubicBezTo>
                <a:cubicBezTo>
                  <a:pt x="329" y="350"/>
                  <a:pt x="329" y="350"/>
                  <a:pt x="329" y="350"/>
                </a:cubicBezTo>
                <a:cubicBezTo>
                  <a:pt x="326" y="349"/>
                  <a:pt x="326" y="349"/>
                  <a:pt x="326" y="349"/>
                </a:cubicBezTo>
                <a:cubicBezTo>
                  <a:pt x="326" y="351"/>
                  <a:pt x="326" y="351"/>
                  <a:pt x="326" y="351"/>
                </a:cubicBezTo>
                <a:cubicBezTo>
                  <a:pt x="326" y="352"/>
                  <a:pt x="326" y="352"/>
                  <a:pt x="326" y="352"/>
                </a:cubicBezTo>
                <a:cubicBezTo>
                  <a:pt x="327" y="354"/>
                  <a:pt x="327" y="354"/>
                  <a:pt x="327" y="354"/>
                </a:cubicBezTo>
                <a:cubicBezTo>
                  <a:pt x="327" y="358"/>
                  <a:pt x="327" y="358"/>
                  <a:pt x="327" y="358"/>
                </a:cubicBezTo>
                <a:cubicBezTo>
                  <a:pt x="328" y="360"/>
                  <a:pt x="328" y="360"/>
                  <a:pt x="328" y="360"/>
                </a:cubicBezTo>
                <a:cubicBezTo>
                  <a:pt x="329" y="360"/>
                  <a:pt x="329" y="360"/>
                  <a:pt x="329" y="360"/>
                </a:cubicBezTo>
                <a:cubicBezTo>
                  <a:pt x="330" y="359"/>
                  <a:pt x="330" y="359"/>
                  <a:pt x="330" y="359"/>
                </a:cubicBezTo>
                <a:cubicBezTo>
                  <a:pt x="331" y="360"/>
                  <a:pt x="331" y="360"/>
                  <a:pt x="331" y="360"/>
                </a:cubicBezTo>
                <a:cubicBezTo>
                  <a:pt x="330" y="360"/>
                  <a:pt x="330" y="360"/>
                  <a:pt x="330" y="360"/>
                </a:cubicBezTo>
                <a:cubicBezTo>
                  <a:pt x="330" y="361"/>
                  <a:pt x="330" y="361"/>
                  <a:pt x="330" y="361"/>
                </a:cubicBezTo>
                <a:cubicBezTo>
                  <a:pt x="331" y="362"/>
                  <a:pt x="331" y="362"/>
                  <a:pt x="331" y="362"/>
                </a:cubicBezTo>
                <a:cubicBezTo>
                  <a:pt x="331" y="363"/>
                  <a:pt x="331" y="363"/>
                  <a:pt x="331" y="363"/>
                </a:cubicBezTo>
                <a:cubicBezTo>
                  <a:pt x="330" y="364"/>
                  <a:pt x="330" y="364"/>
                  <a:pt x="330" y="364"/>
                </a:cubicBezTo>
                <a:cubicBezTo>
                  <a:pt x="329" y="364"/>
                  <a:pt x="329" y="364"/>
                  <a:pt x="329" y="364"/>
                </a:cubicBezTo>
                <a:cubicBezTo>
                  <a:pt x="327" y="364"/>
                  <a:pt x="327" y="364"/>
                  <a:pt x="327" y="364"/>
                </a:cubicBezTo>
                <a:cubicBezTo>
                  <a:pt x="324" y="366"/>
                  <a:pt x="324" y="366"/>
                  <a:pt x="324" y="366"/>
                </a:cubicBezTo>
                <a:cubicBezTo>
                  <a:pt x="324" y="367"/>
                  <a:pt x="324" y="367"/>
                  <a:pt x="324" y="367"/>
                </a:cubicBezTo>
                <a:cubicBezTo>
                  <a:pt x="325" y="368"/>
                  <a:pt x="325" y="368"/>
                  <a:pt x="325" y="368"/>
                </a:cubicBezTo>
                <a:cubicBezTo>
                  <a:pt x="328" y="367"/>
                  <a:pt x="328" y="367"/>
                  <a:pt x="328" y="367"/>
                </a:cubicBezTo>
                <a:cubicBezTo>
                  <a:pt x="329" y="367"/>
                  <a:pt x="329" y="367"/>
                  <a:pt x="329" y="367"/>
                </a:cubicBezTo>
                <a:cubicBezTo>
                  <a:pt x="328" y="368"/>
                  <a:pt x="328" y="368"/>
                  <a:pt x="328" y="368"/>
                </a:cubicBezTo>
                <a:cubicBezTo>
                  <a:pt x="327" y="369"/>
                  <a:pt x="327" y="369"/>
                  <a:pt x="327" y="369"/>
                </a:cubicBezTo>
                <a:cubicBezTo>
                  <a:pt x="329" y="370"/>
                  <a:pt x="329" y="370"/>
                  <a:pt x="329" y="370"/>
                </a:cubicBezTo>
                <a:cubicBezTo>
                  <a:pt x="332" y="369"/>
                  <a:pt x="332" y="369"/>
                  <a:pt x="332" y="369"/>
                </a:cubicBezTo>
                <a:cubicBezTo>
                  <a:pt x="334" y="367"/>
                  <a:pt x="334" y="367"/>
                  <a:pt x="334" y="367"/>
                </a:cubicBezTo>
                <a:cubicBezTo>
                  <a:pt x="336" y="365"/>
                  <a:pt x="336" y="365"/>
                  <a:pt x="336" y="365"/>
                </a:cubicBezTo>
                <a:cubicBezTo>
                  <a:pt x="338" y="365"/>
                  <a:pt x="338" y="365"/>
                  <a:pt x="338" y="365"/>
                </a:cubicBezTo>
                <a:cubicBezTo>
                  <a:pt x="340" y="363"/>
                  <a:pt x="340" y="363"/>
                  <a:pt x="340" y="363"/>
                </a:cubicBezTo>
                <a:cubicBezTo>
                  <a:pt x="340" y="361"/>
                  <a:pt x="340" y="361"/>
                  <a:pt x="340" y="361"/>
                </a:cubicBezTo>
                <a:cubicBezTo>
                  <a:pt x="341" y="361"/>
                  <a:pt x="341" y="361"/>
                  <a:pt x="341" y="361"/>
                </a:cubicBezTo>
                <a:cubicBezTo>
                  <a:pt x="342" y="362"/>
                  <a:pt x="342" y="362"/>
                  <a:pt x="342" y="362"/>
                </a:cubicBezTo>
                <a:cubicBezTo>
                  <a:pt x="340" y="365"/>
                  <a:pt x="340" y="365"/>
                  <a:pt x="340" y="365"/>
                </a:cubicBezTo>
                <a:cubicBezTo>
                  <a:pt x="338" y="366"/>
                  <a:pt x="338" y="366"/>
                  <a:pt x="338" y="366"/>
                </a:cubicBezTo>
                <a:cubicBezTo>
                  <a:pt x="336" y="367"/>
                  <a:pt x="336" y="367"/>
                  <a:pt x="336" y="367"/>
                </a:cubicBezTo>
                <a:cubicBezTo>
                  <a:pt x="336" y="369"/>
                  <a:pt x="336" y="369"/>
                  <a:pt x="336" y="369"/>
                </a:cubicBezTo>
                <a:cubicBezTo>
                  <a:pt x="336" y="370"/>
                  <a:pt x="336" y="370"/>
                  <a:pt x="336" y="370"/>
                </a:cubicBezTo>
                <a:cubicBezTo>
                  <a:pt x="338" y="369"/>
                  <a:pt x="338" y="369"/>
                  <a:pt x="338" y="369"/>
                </a:cubicBezTo>
                <a:cubicBezTo>
                  <a:pt x="340" y="369"/>
                  <a:pt x="340" y="369"/>
                  <a:pt x="340" y="369"/>
                </a:cubicBezTo>
                <a:cubicBezTo>
                  <a:pt x="342" y="370"/>
                  <a:pt x="342" y="370"/>
                  <a:pt x="342" y="370"/>
                </a:cubicBezTo>
                <a:cubicBezTo>
                  <a:pt x="340" y="370"/>
                  <a:pt x="340" y="370"/>
                  <a:pt x="340" y="370"/>
                </a:cubicBezTo>
                <a:cubicBezTo>
                  <a:pt x="338" y="371"/>
                  <a:pt x="338" y="371"/>
                  <a:pt x="338" y="371"/>
                </a:cubicBezTo>
                <a:cubicBezTo>
                  <a:pt x="338" y="374"/>
                  <a:pt x="338" y="374"/>
                  <a:pt x="338" y="374"/>
                </a:cubicBezTo>
                <a:cubicBezTo>
                  <a:pt x="339" y="376"/>
                  <a:pt x="339" y="376"/>
                  <a:pt x="339" y="376"/>
                </a:cubicBezTo>
                <a:cubicBezTo>
                  <a:pt x="338" y="377"/>
                  <a:pt x="338" y="377"/>
                  <a:pt x="338" y="377"/>
                </a:cubicBezTo>
                <a:cubicBezTo>
                  <a:pt x="337" y="375"/>
                  <a:pt x="337" y="375"/>
                  <a:pt x="337" y="375"/>
                </a:cubicBezTo>
                <a:cubicBezTo>
                  <a:pt x="337" y="372"/>
                  <a:pt x="337" y="372"/>
                  <a:pt x="337" y="372"/>
                </a:cubicBezTo>
                <a:cubicBezTo>
                  <a:pt x="336" y="371"/>
                  <a:pt x="336" y="371"/>
                  <a:pt x="336" y="371"/>
                </a:cubicBezTo>
                <a:cubicBezTo>
                  <a:pt x="334" y="372"/>
                  <a:pt x="334" y="372"/>
                  <a:pt x="334" y="372"/>
                </a:cubicBezTo>
                <a:cubicBezTo>
                  <a:pt x="330" y="375"/>
                  <a:pt x="330" y="375"/>
                  <a:pt x="330" y="375"/>
                </a:cubicBezTo>
                <a:cubicBezTo>
                  <a:pt x="329" y="376"/>
                  <a:pt x="329" y="376"/>
                  <a:pt x="329" y="376"/>
                </a:cubicBezTo>
                <a:cubicBezTo>
                  <a:pt x="326" y="378"/>
                  <a:pt x="326" y="378"/>
                  <a:pt x="326" y="378"/>
                </a:cubicBezTo>
                <a:cubicBezTo>
                  <a:pt x="325" y="379"/>
                  <a:pt x="325" y="379"/>
                  <a:pt x="325" y="379"/>
                </a:cubicBezTo>
                <a:cubicBezTo>
                  <a:pt x="326" y="381"/>
                  <a:pt x="326" y="381"/>
                  <a:pt x="326" y="381"/>
                </a:cubicBezTo>
                <a:cubicBezTo>
                  <a:pt x="326" y="382"/>
                  <a:pt x="326" y="382"/>
                  <a:pt x="326" y="382"/>
                </a:cubicBezTo>
                <a:cubicBezTo>
                  <a:pt x="326" y="383"/>
                  <a:pt x="326" y="383"/>
                  <a:pt x="326" y="383"/>
                </a:cubicBezTo>
                <a:cubicBezTo>
                  <a:pt x="328" y="382"/>
                  <a:pt x="328" y="382"/>
                  <a:pt x="328" y="382"/>
                </a:cubicBezTo>
                <a:cubicBezTo>
                  <a:pt x="329" y="381"/>
                  <a:pt x="329" y="381"/>
                  <a:pt x="329" y="381"/>
                </a:cubicBezTo>
                <a:cubicBezTo>
                  <a:pt x="330" y="379"/>
                  <a:pt x="330" y="379"/>
                  <a:pt x="330" y="379"/>
                </a:cubicBezTo>
                <a:cubicBezTo>
                  <a:pt x="331" y="380"/>
                  <a:pt x="331" y="380"/>
                  <a:pt x="331" y="380"/>
                </a:cubicBezTo>
                <a:cubicBezTo>
                  <a:pt x="332" y="381"/>
                  <a:pt x="332" y="381"/>
                  <a:pt x="332" y="381"/>
                </a:cubicBezTo>
                <a:cubicBezTo>
                  <a:pt x="335" y="381"/>
                  <a:pt x="335" y="381"/>
                  <a:pt x="335" y="381"/>
                </a:cubicBezTo>
                <a:cubicBezTo>
                  <a:pt x="335" y="382"/>
                  <a:pt x="335" y="382"/>
                  <a:pt x="335" y="382"/>
                </a:cubicBezTo>
                <a:cubicBezTo>
                  <a:pt x="333" y="381"/>
                  <a:pt x="333" y="381"/>
                  <a:pt x="333" y="381"/>
                </a:cubicBezTo>
                <a:cubicBezTo>
                  <a:pt x="331" y="381"/>
                  <a:pt x="331" y="381"/>
                  <a:pt x="331" y="381"/>
                </a:cubicBezTo>
                <a:cubicBezTo>
                  <a:pt x="329" y="382"/>
                  <a:pt x="329" y="382"/>
                  <a:pt x="329" y="382"/>
                </a:cubicBezTo>
                <a:cubicBezTo>
                  <a:pt x="329" y="383"/>
                  <a:pt x="329" y="383"/>
                  <a:pt x="329" y="383"/>
                </a:cubicBezTo>
                <a:cubicBezTo>
                  <a:pt x="330" y="384"/>
                  <a:pt x="330" y="384"/>
                  <a:pt x="330" y="384"/>
                </a:cubicBezTo>
                <a:cubicBezTo>
                  <a:pt x="328" y="385"/>
                  <a:pt x="328" y="385"/>
                  <a:pt x="328" y="385"/>
                </a:cubicBezTo>
                <a:cubicBezTo>
                  <a:pt x="327" y="384"/>
                  <a:pt x="327" y="384"/>
                  <a:pt x="327" y="384"/>
                </a:cubicBezTo>
                <a:cubicBezTo>
                  <a:pt x="325" y="385"/>
                  <a:pt x="325" y="385"/>
                  <a:pt x="325" y="385"/>
                </a:cubicBezTo>
                <a:cubicBezTo>
                  <a:pt x="324" y="386"/>
                  <a:pt x="324" y="386"/>
                  <a:pt x="324" y="386"/>
                </a:cubicBezTo>
                <a:cubicBezTo>
                  <a:pt x="327" y="386"/>
                  <a:pt x="327" y="386"/>
                  <a:pt x="327" y="386"/>
                </a:cubicBezTo>
                <a:cubicBezTo>
                  <a:pt x="328" y="387"/>
                  <a:pt x="328" y="387"/>
                  <a:pt x="328" y="387"/>
                </a:cubicBezTo>
                <a:cubicBezTo>
                  <a:pt x="330" y="387"/>
                  <a:pt x="330" y="387"/>
                  <a:pt x="330" y="387"/>
                </a:cubicBezTo>
                <a:cubicBezTo>
                  <a:pt x="329" y="388"/>
                  <a:pt x="329" y="388"/>
                  <a:pt x="329" y="388"/>
                </a:cubicBezTo>
                <a:cubicBezTo>
                  <a:pt x="327" y="388"/>
                  <a:pt x="327" y="388"/>
                  <a:pt x="327" y="388"/>
                </a:cubicBezTo>
                <a:cubicBezTo>
                  <a:pt x="326" y="387"/>
                  <a:pt x="326" y="387"/>
                  <a:pt x="326" y="387"/>
                </a:cubicBezTo>
                <a:cubicBezTo>
                  <a:pt x="324" y="387"/>
                  <a:pt x="324" y="387"/>
                  <a:pt x="324" y="387"/>
                </a:cubicBezTo>
                <a:cubicBezTo>
                  <a:pt x="324" y="389"/>
                  <a:pt x="324" y="389"/>
                  <a:pt x="324" y="389"/>
                </a:cubicBezTo>
                <a:cubicBezTo>
                  <a:pt x="324" y="390"/>
                  <a:pt x="324" y="390"/>
                  <a:pt x="324" y="390"/>
                </a:cubicBezTo>
                <a:cubicBezTo>
                  <a:pt x="326" y="390"/>
                  <a:pt x="326" y="390"/>
                  <a:pt x="326" y="390"/>
                </a:cubicBezTo>
                <a:cubicBezTo>
                  <a:pt x="328" y="389"/>
                  <a:pt x="328" y="389"/>
                  <a:pt x="328" y="389"/>
                </a:cubicBezTo>
                <a:cubicBezTo>
                  <a:pt x="329" y="390"/>
                  <a:pt x="329" y="390"/>
                  <a:pt x="329" y="390"/>
                </a:cubicBezTo>
                <a:cubicBezTo>
                  <a:pt x="332" y="390"/>
                  <a:pt x="332" y="390"/>
                  <a:pt x="332" y="390"/>
                </a:cubicBezTo>
                <a:cubicBezTo>
                  <a:pt x="332" y="391"/>
                  <a:pt x="332" y="391"/>
                  <a:pt x="332" y="391"/>
                </a:cubicBezTo>
                <a:cubicBezTo>
                  <a:pt x="330" y="391"/>
                  <a:pt x="330" y="391"/>
                  <a:pt x="330" y="391"/>
                </a:cubicBezTo>
                <a:cubicBezTo>
                  <a:pt x="328" y="391"/>
                  <a:pt x="328" y="391"/>
                  <a:pt x="328" y="391"/>
                </a:cubicBezTo>
                <a:cubicBezTo>
                  <a:pt x="328" y="391"/>
                  <a:pt x="328" y="391"/>
                  <a:pt x="328" y="391"/>
                </a:cubicBezTo>
                <a:cubicBezTo>
                  <a:pt x="328" y="392"/>
                  <a:pt x="328" y="392"/>
                  <a:pt x="328" y="392"/>
                </a:cubicBezTo>
                <a:cubicBezTo>
                  <a:pt x="331" y="392"/>
                  <a:pt x="331" y="392"/>
                  <a:pt x="331" y="392"/>
                </a:cubicBezTo>
                <a:cubicBezTo>
                  <a:pt x="332" y="392"/>
                  <a:pt x="332" y="392"/>
                  <a:pt x="332" y="392"/>
                </a:cubicBezTo>
                <a:cubicBezTo>
                  <a:pt x="332" y="393"/>
                  <a:pt x="332" y="393"/>
                  <a:pt x="332" y="393"/>
                </a:cubicBezTo>
                <a:cubicBezTo>
                  <a:pt x="329" y="393"/>
                  <a:pt x="329" y="393"/>
                  <a:pt x="329" y="393"/>
                </a:cubicBezTo>
                <a:cubicBezTo>
                  <a:pt x="327" y="393"/>
                  <a:pt x="327" y="393"/>
                  <a:pt x="327" y="393"/>
                </a:cubicBezTo>
                <a:cubicBezTo>
                  <a:pt x="326" y="392"/>
                  <a:pt x="326" y="392"/>
                  <a:pt x="326" y="392"/>
                </a:cubicBezTo>
                <a:cubicBezTo>
                  <a:pt x="325" y="392"/>
                  <a:pt x="325" y="392"/>
                  <a:pt x="325" y="392"/>
                </a:cubicBezTo>
                <a:cubicBezTo>
                  <a:pt x="326" y="394"/>
                  <a:pt x="326" y="394"/>
                  <a:pt x="326" y="394"/>
                </a:cubicBezTo>
                <a:cubicBezTo>
                  <a:pt x="328" y="396"/>
                  <a:pt x="328" y="396"/>
                  <a:pt x="328" y="396"/>
                </a:cubicBezTo>
                <a:cubicBezTo>
                  <a:pt x="329" y="394"/>
                  <a:pt x="329" y="394"/>
                  <a:pt x="329" y="394"/>
                </a:cubicBezTo>
                <a:cubicBezTo>
                  <a:pt x="330" y="394"/>
                  <a:pt x="330" y="394"/>
                  <a:pt x="330" y="394"/>
                </a:cubicBezTo>
                <a:cubicBezTo>
                  <a:pt x="332" y="395"/>
                  <a:pt x="332" y="395"/>
                  <a:pt x="332" y="395"/>
                </a:cubicBezTo>
                <a:cubicBezTo>
                  <a:pt x="334" y="395"/>
                  <a:pt x="334" y="395"/>
                  <a:pt x="334" y="395"/>
                </a:cubicBezTo>
                <a:cubicBezTo>
                  <a:pt x="335" y="395"/>
                  <a:pt x="335" y="395"/>
                  <a:pt x="335" y="395"/>
                </a:cubicBezTo>
                <a:cubicBezTo>
                  <a:pt x="334" y="396"/>
                  <a:pt x="334" y="396"/>
                  <a:pt x="334" y="396"/>
                </a:cubicBezTo>
                <a:cubicBezTo>
                  <a:pt x="334" y="397"/>
                  <a:pt x="334" y="397"/>
                  <a:pt x="334" y="397"/>
                </a:cubicBezTo>
                <a:cubicBezTo>
                  <a:pt x="335" y="397"/>
                  <a:pt x="335" y="397"/>
                  <a:pt x="335" y="397"/>
                </a:cubicBezTo>
                <a:cubicBezTo>
                  <a:pt x="336" y="398"/>
                  <a:pt x="336" y="398"/>
                  <a:pt x="336" y="398"/>
                </a:cubicBezTo>
                <a:cubicBezTo>
                  <a:pt x="339" y="399"/>
                  <a:pt x="339" y="399"/>
                  <a:pt x="339" y="399"/>
                </a:cubicBezTo>
                <a:cubicBezTo>
                  <a:pt x="340" y="398"/>
                  <a:pt x="340" y="398"/>
                  <a:pt x="340" y="398"/>
                </a:cubicBezTo>
                <a:cubicBezTo>
                  <a:pt x="341" y="396"/>
                  <a:pt x="341" y="396"/>
                  <a:pt x="341" y="396"/>
                </a:cubicBezTo>
                <a:cubicBezTo>
                  <a:pt x="343" y="395"/>
                  <a:pt x="343" y="395"/>
                  <a:pt x="343" y="395"/>
                </a:cubicBezTo>
                <a:cubicBezTo>
                  <a:pt x="343" y="393"/>
                  <a:pt x="343" y="393"/>
                  <a:pt x="343" y="393"/>
                </a:cubicBezTo>
                <a:cubicBezTo>
                  <a:pt x="343" y="395"/>
                  <a:pt x="343" y="395"/>
                  <a:pt x="343" y="395"/>
                </a:cubicBezTo>
                <a:cubicBezTo>
                  <a:pt x="342" y="397"/>
                  <a:pt x="342" y="397"/>
                  <a:pt x="342" y="397"/>
                </a:cubicBezTo>
                <a:cubicBezTo>
                  <a:pt x="340" y="399"/>
                  <a:pt x="340" y="399"/>
                  <a:pt x="340" y="399"/>
                </a:cubicBezTo>
                <a:cubicBezTo>
                  <a:pt x="337" y="400"/>
                  <a:pt x="337" y="400"/>
                  <a:pt x="337" y="400"/>
                </a:cubicBezTo>
                <a:cubicBezTo>
                  <a:pt x="336" y="400"/>
                  <a:pt x="336" y="400"/>
                  <a:pt x="336" y="400"/>
                </a:cubicBezTo>
                <a:cubicBezTo>
                  <a:pt x="334" y="402"/>
                  <a:pt x="334" y="402"/>
                  <a:pt x="334" y="402"/>
                </a:cubicBezTo>
                <a:cubicBezTo>
                  <a:pt x="334" y="402"/>
                  <a:pt x="334" y="402"/>
                  <a:pt x="334" y="402"/>
                </a:cubicBezTo>
                <a:cubicBezTo>
                  <a:pt x="336" y="403"/>
                  <a:pt x="336" y="403"/>
                  <a:pt x="336" y="403"/>
                </a:cubicBezTo>
                <a:cubicBezTo>
                  <a:pt x="337" y="402"/>
                  <a:pt x="337" y="402"/>
                  <a:pt x="337" y="402"/>
                </a:cubicBezTo>
                <a:cubicBezTo>
                  <a:pt x="338" y="402"/>
                  <a:pt x="338" y="402"/>
                  <a:pt x="338" y="402"/>
                </a:cubicBezTo>
                <a:cubicBezTo>
                  <a:pt x="338" y="403"/>
                  <a:pt x="338" y="403"/>
                  <a:pt x="338" y="403"/>
                </a:cubicBezTo>
                <a:cubicBezTo>
                  <a:pt x="339" y="403"/>
                  <a:pt x="339" y="403"/>
                  <a:pt x="339" y="403"/>
                </a:cubicBezTo>
                <a:cubicBezTo>
                  <a:pt x="340" y="402"/>
                  <a:pt x="340" y="402"/>
                  <a:pt x="340" y="402"/>
                </a:cubicBezTo>
                <a:cubicBezTo>
                  <a:pt x="341" y="401"/>
                  <a:pt x="341" y="401"/>
                  <a:pt x="341" y="401"/>
                </a:cubicBezTo>
                <a:cubicBezTo>
                  <a:pt x="341" y="402"/>
                  <a:pt x="341" y="402"/>
                  <a:pt x="341" y="402"/>
                </a:cubicBezTo>
                <a:cubicBezTo>
                  <a:pt x="341" y="403"/>
                  <a:pt x="341" y="403"/>
                  <a:pt x="341" y="403"/>
                </a:cubicBezTo>
                <a:cubicBezTo>
                  <a:pt x="341" y="404"/>
                  <a:pt x="341" y="404"/>
                  <a:pt x="341" y="404"/>
                </a:cubicBezTo>
                <a:cubicBezTo>
                  <a:pt x="342" y="404"/>
                  <a:pt x="342" y="404"/>
                  <a:pt x="342" y="404"/>
                </a:cubicBezTo>
                <a:cubicBezTo>
                  <a:pt x="343" y="405"/>
                  <a:pt x="343" y="405"/>
                  <a:pt x="343" y="405"/>
                </a:cubicBezTo>
                <a:cubicBezTo>
                  <a:pt x="344" y="405"/>
                  <a:pt x="344" y="405"/>
                  <a:pt x="344" y="405"/>
                </a:cubicBezTo>
                <a:cubicBezTo>
                  <a:pt x="347" y="402"/>
                  <a:pt x="347" y="402"/>
                  <a:pt x="347" y="402"/>
                </a:cubicBezTo>
                <a:cubicBezTo>
                  <a:pt x="347" y="398"/>
                  <a:pt x="347" y="398"/>
                  <a:pt x="347" y="398"/>
                </a:cubicBezTo>
                <a:cubicBezTo>
                  <a:pt x="348" y="396"/>
                  <a:pt x="348" y="396"/>
                  <a:pt x="348" y="396"/>
                </a:cubicBezTo>
                <a:cubicBezTo>
                  <a:pt x="349" y="396"/>
                  <a:pt x="349" y="396"/>
                  <a:pt x="349" y="396"/>
                </a:cubicBezTo>
                <a:cubicBezTo>
                  <a:pt x="349" y="397"/>
                  <a:pt x="349" y="397"/>
                  <a:pt x="349" y="397"/>
                </a:cubicBezTo>
                <a:cubicBezTo>
                  <a:pt x="348" y="398"/>
                  <a:pt x="348" y="398"/>
                  <a:pt x="348" y="398"/>
                </a:cubicBezTo>
                <a:cubicBezTo>
                  <a:pt x="348" y="401"/>
                  <a:pt x="348" y="401"/>
                  <a:pt x="348" y="401"/>
                </a:cubicBezTo>
                <a:cubicBezTo>
                  <a:pt x="346" y="404"/>
                  <a:pt x="346" y="404"/>
                  <a:pt x="346" y="404"/>
                </a:cubicBezTo>
                <a:cubicBezTo>
                  <a:pt x="345" y="405"/>
                  <a:pt x="345" y="405"/>
                  <a:pt x="345" y="405"/>
                </a:cubicBezTo>
                <a:cubicBezTo>
                  <a:pt x="345" y="406"/>
                  <a:pt x="345" y="406"/>
                  <a:pt x="345" y="406"/>
                </a:cubicBezTo>
                <a:cubicBezTo>
                  <a:pt x="347" y="406"/>
                  <a:pt x="347" y="406"/>
                  <a:pt x="347" y="406"/>
                </a:cubicBezTo>
                <a:cubicBezTo>
                  <a:pt x="349" y="405"/>
                  <a:pt x="349" y="405"/>
                  <a:pt x="349" y="405"/>
                </a:cubicBezTo>
                <a:cubicBezTo>
                  <a:pt x="350" y="406"/>
                  <a:pt x="350" y="406"/>
                  <a:pt x="350" y="406"/>
                </a:cubicBezTo>
                <a:cubicBezTo>
                  <a:pt x="349" y="407"/>
                  <a:pt x="349" y="407"/>
                  <a:pt x="349" y="407"/>
                </a:cubicBezTo>
                <a:cubicBezTo>
                  <a:pt x="348" y="410"/>
                  <a:pt x="348" y="410"/>
                  <a:pt x="348" y="410"/>
                </a:cubicBezTo>
                <a:cubicBezTo>
                  <a:pt x="345" y="412"/>
                  <a:pt x="345" y="412"/>
                  <a:pt x="345" y="412"/>
                </a:cubicBezTo>
                <a:cubicBezTo>
                  <a:pt x="345" y="412"/>
                  <a:pt x="345" y="412"/>
                  <a:pt x="345" y="412"/>
                </a:cubicBezTo>
                <a:cubicBezTo>
                  <a:pt x="346" y="415"/>
                  <a:pt x="346" y="415"/>
                  <a:pt x="346" y="415"/>
                </a:cubicBezTo>
                <a:cubicBezTo>
                  <a:pt x="349" y="416"/>
                  <a:pt x="349" y="416"/>
                  <a:pt x="349" y="416"/>
                </a:cubicBezTo>
                <a:cubicBezTo>
                  <a:pt x="350" y="415"/>
                  <a:pt x="350" y="415"/>
                  <a:pt x="350" y="415"/>
                </a:cubicBezTo>
                <a:cubicBezTo>
                  <a:pt x="351" y="415"/>
                  <a:pt x="351" y="415"/>
                  <a:pt x="351" y="415"/>
                </a:cubicBezTo>
                <a:cubicBezTo>
                  <a:pt x="352" y="417"/>
                  <a:pt x="352" y="417"/>
                  <a:pt x="352" y="417"/>
                </a:cubicBezTo>
                <a:cubicBezTo>
                  <a:pt x="353" y="419"/>
                  <a:pt x="353" y="419"/>
                  <a:pt x="353" y="419"/>
                </a:cubicBezTo>
                <a:cubicBezTo>
                  <a:pt x="353" y="420"/>
                  <a:pt x="353" y="420"/>
                  <a:pt x="353" y="420"/>
                </a:cubicBezTo>
                <a:cubicBezTo>
                  <a:pt x="352" y="420"/>
                  <a:pt x="352" y="420"/>
                  <a:pt x="352" y="420"/>
                </a:cubicBezTo>
                <a:cubicBezTo>
                  <a:pt x="351" y="418"/>
                  <a:pt x="351" y="418"/>
                  <a:pt x="351" y="418"/>
                </a:cubicBezTo>
                <a:cubicBezTo>
                  <a:pt x="350" y="418"/>
                  <a:pt x="350" y="418"/>
                  <a:pt x="350" y="418"/>
                </a:cubicBezTo>
                <a:cubicBezTo>
                  <a:pt x="350" y="420"/>
                  <a:pt x="350" y="420"/>
                  <a:pt x="350" y="420"/>
                </a:cubicBezTo>
                <a:cubicBezTo>
                  <a:pt x="352" y="422"/>
                  <a:pt x="352" y="422"/>
                  <a:pt x="352" y="422"/>
                </a:cubicBezTo>
                <a:cubicBezTo>
                  <a:pt x="354" y="421"/>
                  <a:pt x="354" y="421"/>
                  <a:pt x="354" y="421"/>
                </a:cubicBezTo>
                <a:cubicBezTo>
                  <a:pt x="356" y="420"/>
                  <a:pt x="356" y="420"/>
                  <a:pt x="356" y="420"/>
                </a:cubicBezTo>
                <a:cubicBezTo>
                  <a:pt x="358" y="419"/>
                  <a:pt x="358" y="419"/>
                  <a:pt x="358" y="419"/>
                </a:cubicBezTo>
                <a:cubicBezTo>
                  <a:pt x="357" y="422"/>
                  <a:pt x="357" y="422"/>
                  <a:pt x="357" y="422"/>
                </a:cubicBezTo>
                <a:cubicBezTo>
                  <a:pt x="355" y="426"/>
                  <a:pt x="355" y="426"/>
                  <a:pt x="355" y="426"/>
                </a:cubicBezTo>
                <a:cubicBezTo>
                  <a:pt x="356" y="429"/>
                  <a:pt x="356" y="429"/>
                  <a:pt x="356" y="429"/>
                </a:cubicBezTo>
                <a:cubicBezTo>
                  <a:pt x="357" y="429"/>
                  <a:pt x="357" y="429"/>
                  <a:pt x="357" y="429"/>
                </a:cubicBezTo>
                <a:cubicBezTo>
                  <a:pt x="357" y="429"/>
                  <a:pt x="357" y="429"/>
                  <a:pt x="357" y="429"/>
                </a:cubicBezTo>
                <a:cubicBezTo>
                  <a:pt x="358" y="433"/>
                  <a:pt x="358" y="433"/>
                  <a:pt x="358" y="433"/>
                </a:cubicBezTo>
                <a:cubicBezTo>
                  <a:pt x="360" y="435"/>
                  <a:pt x="360" y="435"/>
                  <a:pt x="360" y="435"/>
                </a:cubicBezTo>
                <a:cubicBezTo>
                  <a:pt x="360" y="436"/>
                  <a:pt x="360" y="436"/>
                  <a:pt x="360" y="436"/>
                </a:cubicBezTo>
                <a:cubicBezTo>
                  <a:pt x="358" y="437"/>
                  <a:pt x="358" y="437"/>
                  <a:pt x="358" y="437"/>
                </a:cubicBezTo>
                <a:cubicBezTo>
                  <a:pt x="359" y="439"/>
                  <a:pt x="359" y="439"/>
                  <a:pt x="359" y="439"/>
                </a:cubicBezTo>
                <a:cubicBezTo>
                  <a:pt x="360" y="440"/>
                  <a:pt x="360" y="440"/>
                  <a:pt x="360" y="440"/>
                </a:cubicBezTo>
                <a:cubicBezTo>
                  <a:pt x="359" y="441"/>
                  <a:pt x="359" y="441"/>
                  <a:pt x="359" y="441"/>
                </a:cubicBezTo>
                <a:cubicBezTo>
                  <a:pt x="358" y="442"/>
                  <a:pt x="358" y="442"/>
                  <a:pt x="358" y="442"/>
                </a:cubicBezTo>
                <a:cubicBezTo>
                  <a:pt x="359" y="443"/>
                  <a:pt x="359" y="443"/>
                  <a:pt x="359" y="443"/>
                </a:cubicBezTo>
                <a:cubicBezTo>
                  <a:pt x="359" y="444"/>
                  <a:pt x="359" y="444"/>
                  <a:pt x="359" y="444"/>
                </a:cubicBezTo>
                <a:cubicBezTo>
                  <a:pt x="360" y="446"/>
                  <a:pt x="360" y="446"/>
                  <a:pt x="360" y="446"/>
                </a:cubicBezTo>
                <a:cubicBezTo>
                  <a:pt x="358" y="448"/>
                  <a:pt x="358" y="448"/>
                  <a:pt x="358" y="448"/>
                </a:cubicBezTo>
                <a:cubicBezTo>
                  <a:pt x="357" y="449"/>
                  <a:pt x="357" y="449"/>
                  <a:pt x="357" y="449"/>
                </a:cubicBezTo>
                <a:cubicBezTo>
                  <a:pt x="356" y="451"/>
                  <a:pt x="356" y="451"/>
                  <a:pt x="356" y="451"/>
                </a:cubicBezTo>
                <a:cubicBezTo>
                  <a:pt x="355" y="452"/>
                  <a:pt x="355" y="452"/>
                  <a:pt x="355" y="452"/>
                </a:cubicBezTo>
                <a:cubicBezTo>
                  <a:pt x="355" y="454"/>
                  <a:pt x="355" y="454"/>
                  <a:pt x="355" y="454"/>
                </a:cubicBezTo>
                <a:cubicBezTo>
                  <a:pt x="354" y="456"/>
                  <a:pt x="354" y="456"/>
                  <a:pt x="354" y="456"/>
                </a:cubicBezTo>
                <a:cubicBezTo>
                  <a:pt x="353" y="457"/>
                  <a:pt x="353" y="457"/>
                  <a:pt x="353" y="457"/>
                </a:cubicBezTo>
                <a:cubicBezTo>
                  <a:pt x="351" y="459"/>
                  <a:pt x="351" y="459"/>
                  <a:pt x="351" y="459"/>
                </a:cubicBezTo>
                <a:cubicBezTo>
                  <a:pt x="349" y="458"/>
                  <a:pt x="349" y="458"/>
                  <a:pt x="349" y="458"/>
                </a:cubicBezTo>
                <a:cubicBezTo>
                  <a:pt x="349" y="457"/>
                  <a:pt x="349" y="457"/>
                  <a:pt x="349" y="457"/>
                </a:cubicBezTo>
                <a:cubicBezTo>
                  <a:pt x="350" y="455"/>
                  <a:pt x="350" y="455"/>
                  <a:pt x="350" y="455"/>
                </a:cubicBezTo>
                <a:cubicBezTo>
                  <a:pt x="351" y="456"/>
                  <a:pt x="351" y="456"/>
                  <a:pt x="351" y="456"/>
                </a:cubicBezTo>
                <a:cubicBezTo>
                  <a:pt x="352" y="455"/>
                  <a:pt x="352" y="455"/>
                  <a:pt x="352" y="455"/>
                </a:cubicBezTo>
                <a:cubicBezTo>
                  <a:pt x="352" y="456"/>
                  <a:pt x="352" y="456"/>
                  <a:pt x="352" y="456"/>
                </a:cubicBezTo>
                <a:cubicBezTo>
                  <a:pt x="353" y="456"/>
                  <a:pt x="353" y="456"/>
                  <a:pt x="353" y="456"/>
                </a:cubicBezTo>
                <a:cubicBezTo>
                  <a:pt x="353" y="453"/>
                  <a:pt x="353" y="453"/>
                  <a:pt x="353" y="453"/>
                </a:cubicBezTo>
                <a:cubicBezTo>
                  <a:pt x="354" y="451"/>
                  <a:pt x="354" y="451"/>
                  <a:pt x="354" y="451"/>
                </a:cubicBezTo>
                <a:cubicBezTo>
                  <a:pt x="356" y="450"/>
                  <a:pt x="356" y="450"/>
                  <a:pt x="356" y="450"/>
                </a:cubicBezTo>
                <a:cubicBezTo>
                  <a:pt x="355" y="448"/>
                  <a:pt x="355" y="448"/>
                  <a:pt x="355" y="448"/>
                </a:cubicBezTo>
                <a:cubicBezTo>
                  <a:pt x="354" y="448"/>
                  <a:pt x="354" y="448"/>
                  <a:pt x="354" y="448"/>
                </a:cubicBezTo>
                <a:cubicBezTo>
                  <a:pt x="352" y="450"/>
                  <a:pt x="352" y="450"/>
                  <a:pt x="352" y="450"/>
                </a:cubicBezTo>
                <a:cubicBezTo>
                  <a:pt x="352" y="451"/>
                  <a:pt x="352" y="451"/>
                  <a:pt x="352" y="451"/>
                </a:cubicBezTo>
                <a:cubicBezTo>
                  <a:pt x="350" y="451"/>
                  <a:pt x="350" y="451"/>
                  <a:pt x="350" y="451"/>
                </a:cubicBezTo>
                <a:cubicBezTo>
                  <a:pt x="350" y="450"/>
                  <a:pt x="350" y="450"/>
                  <a:pt x="350" y="450"/>
                </a:cubicBezTo>
                <a:cubicBezTo>
                  <a:pt x="352" y="448"/>
                  <a:pt x="352" y="448"/>
                  <a:pt x="352" y="448"/>
                </a:cubicBezTo>
                <a:cubicBezTo>
                  <a:pt x="354" y="447"/>
                  <a:pt x="354" y="447"/>
                  <a:pt x="354" y="447"/>
                </a:cubicBezTo>
                <a:cubicBezTo>
                  <a:pt x="355" y="446"/>
                  <a:pt x="355" y="446"/>
                  <a:pt x="355" y="446"/>
                </a:cubicBezTo>
                <a:cubicBezTo>
                  <a:pt x="354" y="445"/>
                  <a:pt x="354" y="445"/>
                  <a:pt x="354" y="445"/>
                </a:cubicBezTo>
                <a:cubicBezTo>
                  <a:pt x="353" y="445"/>
                  <a:pt x="353" y="445"/>
                  <a:pt x="353" y="445"/>
                </a:cubicBezTo>
                <a:cubicBezTo>
                  <a:pt x="352" y="445"/>
                  <a:pt x="352" y="445"/>
                  <a:pt x="352" y="445"/>
                </a:cubicBezTo>
                <a:cubicBezTo>
                  <a:pt x="351" y="444"/>
                  <a:pt x="351" y="444"/>
                  <a:pt x="351" y="444"/>
                </a:cubicBezTo>
                <a:cubicBezTo>
                  <a:pt x="349" y="443"/>
                  <a:pt x="349" y="443"/>
                  <a:pt x="349" y="443"/>
                </a:cubicBezTo>
                <a:cubicBezTo>
                  <a:pt x="345" y="442"/>
                  <a:pt x="345" y="442"/>
                  <a:pt x="345" y="442"/>
                </a:cubicBezTo>
                <a:cubicBezTo>
                  <a:pt x="342" y="441"/>
                  <a:pt x="342" y="441"/>
                  <a:pt x="342" y="441"/>
                </a:cubicBezTo>
                <a:cubicBezTo>
                  <a:pt x="338" y="437"/>
                  <a:pt x="338" y="437"/>
                  <a:pt x="338" y="437"/>
                </a:cubicBezTo>
                <a:cubicBezTo>
                  <a:pt x="337" y="437"/>
                  <a:pt x="337" y="437"/>
                  <a:pt x="337" y="437"/>
                </a:cubicBezTo>
                <a:cubicBezTo>
                  <a:pt x="337" y="439"/>
                  <a:pt x="337" y="439"/>
                  <a:pt x="337" y="439"/>
                </a:cubicBezTo>
                <a:cubicBezTo>
                  <a:pt x="335" y="443"/>
                  <a:pt x="335" y="443"/>
                  <a:pt x="335" y="443"/>
                </a:cubicBezTo>
                <a:cubicBezTo>
                  <a:pt x="335" y="445"/>
                  <a:pt x="335" y="445"/>
                  <a:pt x="335" y="445"/>
                </a:cubicBezTo>
                <a:cubicBezTo>
                  <a:pt x="336" y="448"/>
                  <a:pt x="336" y="448"/>
                  <a:pt x="336" y="448"/>
                </a:cubicBezTo>
                <a:cubicBezTo>
                  <a:pt x="335" y="453"/>
                  <a:pt x="335" y="453"/>
                  <a:pt x="335" y="453"/>
                </a:cubicBezTo>
                <a:cubicBezTo>
                  <a:pt x="336" y="456"/>
                  <a:pt x="336" y="456"/>
                  <a:pt x="336" y="456"/>
                </a:cubicBezTo>
                <a:cubicBezTo>
                  <a:pt x="335" y="459"/>
                  <a:pt x="335" y="459"/>
                  <a:pt x="335" y="459"/>
                </a:cubicBezTo>
                <a:cubicBezTo>
                  <a:pt x="336" y="460"/>
                  <a:pt x="336" y="460"/>
                  <a:pt x="336" y="460"/>
                </a:cubicBezTo>
                <a:cubicBezTo>
                  <a:pt x="337" y="460"/>
                  <a:pt x="337" y="460"/>
                  <a:pt x="337" y="460"/>
                </a:cubicBezTo>
                <a:cubicBezTo>
                  <a:pt x="337" y="461"/>
                  <a:pt x="337" y="461"/>
                  <a:pt x="337" y="461"/>
                </a:cubicBezTo>
                <a:cubicBezTo>
                  <a:pt x="336" y="462"/>
                  <a:pt x="336" y="462"/>
                  <a:pt x="336" y="462"/>
                </a:cubicBezTo>
                <a:cubicBezTo>
                  <a:pt x="335" y="462"/>
                  <a:pt x="335" y="462"/>
                  <a:pt x="335" y="462"/>
                </a:cubicBezTo>
                <a:cubicBezTo>
                  <a:pt x="335" y="464"/>
                  <a:pt x="335" y="464"/>
                  <a:pt x="335" y="464"/>
                </a:cubicBezTo>
                <a:cubicBezTo>
                  <a:pt x="335" y="465"/>
                  <a:pt x="335" y="465"/>
                  <a:pt x="335" y="465"/>
                </a:cubicBezTo>
                <a:cubicBezTo>
                  <a:pt x="337" y="465"/>
                  <a:pt x="337" y="465"/>
                  <a:pt x="337" y="465"/>
                </a:cubicBezTo>
                <a:cubicBezTo>
                  <a:pt x="336" y="467"/>
                  <a:pt x="336" y="467"/>
                  <a:pt x="336" y="467"/>
                </a:cubicBezTo>
                <a:cubicBezTo>
                  <a:pt x="336" y="469"/>
                  <a:pt x="336" y="469"/>
                  <a:pt x="336" y="469"/>
                </a:cubicBezTo>
                <a:cubicBezTo>
                  <a:pt x="335" y="470"/>
                  <a:pt x="335" y="470"/>
                  <a:pt x="335" y="470"/>
                </a:cubicBezTo>
                <a:cubicBezTo>
                  <a:pt x="335" y="470"/>
                  <a:pt x="335" y="470"/>
                  <a:pt x="335" y="470"/>
                </a:cubicBezTo>
                <a:cubicBezTo>
                  <a:pt x="334" y="471"/>
                  <a:pt x="334" y="471"/>
                  <a:pt x="334" y="471"/>
                </a:cubicBezTo>
                <a:cubicBezTo>
                  <a:pt x="334" y="472"/>
                  <a:pt x="334" y="472"/>
                  <a:pt x="334" y="472"/>
                </a:cubicBezTo>
                <a:cubicBezTo>
                  <a:pt x="337" y="473"/>
                  <a:pt x="337" y="473"/>
                  <a:pt x="337" y="473"/>
                </a:cubicBezTo>
                <a:cubicBezTo>
                  <a:pt x="340" y="473"/>
                  <a:pt x="340" y="473"/>
                  <a:pt x="340" y="473"/>
                </a:cubicBezTo>
                <a:cubicBezTo>
                  <a:pt x="341" y="474"/>
                  <a:pt x="341" y="474"/>
                  <a:pt x="341" y="474"/>
                </a:cubicBezTo>
                <a:cubicBezTo>
                  <a:pt x="343" y="475"/>
                  <a:pt x="343" y="475"/>
                  <a:pt x="343" y="475"/>
                </a:cubicBezTo>
                <a:cubicBezTo>
                  <a:pt x="344" y="476"/>
                  <a:pt x="344" y="476"/>
                  <a:pt x="344" y="476"/>
                </a:cubicBezTo>
                <a:cubicBezTo>
                  <a:pt x="345" y="478"/>
                  <a:pt x="345" y="478"/>
                  <a:pt x="345" y="478"/>
                </a:cubicBezTo>
                <a:cubicBezTo>
                  <a:pt x="344" y="476"/>
                  <a:pt x="344" y="476"/>
                  <a:pt x="344" y="476"/>
                </a:cubicBezTo>
                <a:cubicBezTo>
                  <a:pt x="342" y="475"/>
                  <a:pt x="342" y="475"/>
                  <a:pt x="342" y="475"/>
                </a:cubicBezTo>
                <a:cubicBezTo>
                  <a:pt x="341" y="475"/>
                  <a:pt x="341" y="475"/>
                  <a:pt x="341" y="475"/>
                </a:cubicBezTo>
                <a:cubicBezTo>
                  <a:pt x="339" y="474"/>
                  <a:pt x="339" y="474"/>
                  <a:pt x="339" y="474"/>
                </a:cubicBezTo>
                <a:cubicBezTo>
                  <a:pt x="336" y="474"/>
                  <a:pt x="336" y="474"/>
                  <a:pt x="336" y="474"/>
                </a:cubicBezTo>
                <a:cubicBezTo>
                  <a:pt x="335" y="473"/>
                  <a:pt x="335" y="473"/>
                  <a:pt x="335" y="473"/>
                </a:cubicBezTo>
                <a:cubicBezTo>
                  <a:pt x="334" y="474"/>
                  <a:pt x="334" y="474"/>
                  <a:pt x="334" y="474"/>
                </a:cubicBezTo>
                <a:cubicBezTo>
                  <a:pt x="334" y="475"/>
                  <a:pt x="334" y="475"/>
                  <a:pt x="334" y="475"/>
                </a:cubicBezTo>
                <a:cubicBezTo>
                  <a:pt x="332" y="478"/>
                  <a:pt x="332" y="478"/>
                  <a:pt x="332" y="478"/>
                </a:cubicBezTo>
                <a:cubicBezTo>
                  <a:pt x="332" y="479"/>
                  <a:pt x="332" y="479"/>
                  <a:pt x="332" y="479"/>
                </a:cubicBezTo>
                <a:cubicBezTo>
                  <a:pt x="332" y="481"/>
                  <a:pt x="332" y="481"/>
                  <a:pt x="332" y="481"/>
                </a:cubicBezTo>
                <a:cubicBezTo>
                  <a:pt x="331" y="484"/>
                  <a:pt x="331" y="484"/>
                  <a:pt x="331" y="484"/>
                </a:cubicBezTo>
                <a:cubicBezTo>
                  <a:pt x="330" y="486"/>
                  <a:pt x="330" y="486"/>
                  <a:pt x="330" y="486"/>
                </a:cubicBezTo>
                <a:cubicBezTo>
                  <a:pt x="327" y="492"/>
                  <a:pt x="327" y="492"/>
                  <a:pt x="327" y="492"/>
                </a:cubicBezTo>
                <a:cubicBezTo>
                  <a:pt x="326" y="496"/>
                  <a:pt x="326" y="496"/>
                  <a:pt x="326" y="496"/>
                </a:cubicBezTo>
                <a:cubicBezTo>
                  <a:pt x="324" y="501"/>
                  <a:pt x="324" y="501"/>
                  <a:pt x="324" y="501"/>
                </a:cubicBezTo>
                <a:cubicBezTo>
                  <a:pt x="323" y="507"/>
                  <a:pt x="323" y="507"/>
                  <a:pt x="323" y="507"/>
                </a:cubicBezTo>
                <a:cubicBezTo>
                  <a:pt x="322" y="509"/>
                  <a:pt x="322" y="509"/>
                  <a:pt x="322" y="509"/>
                </a:cubicBezTo>
                <a:cubicBezTo>
                  <a:pt x="320" y="512"/>
                  <a:pt x="320" y="512"/>
                  <a:pt x="320" y="512"/>
                </a:cubicBezTo>
                <a:cubicBezTo>
                  <a:pt x="319" y="515"/>
                  <a:pt x="319" y="515"/>
                  <a:pt x="319" y="515"/>
                </a:cubicBezTo>
                <a:cubicBezTo>
                  <a:pt x="318" y="516"/>
                  <a:pt x="318" y="516"/>
                  <a:pt x="318" y="516"/>
                </a:cubicBezTo>
                <a:cubicBezTo>
                  <a:pt x="317" y="518"/>
                  <a:pt x="317" y="518"/>
                  <a:pt x="317" y="518"/>
                </a:cubicBezTo>
                <a:cubicBezTo>
                  <a:pt x="315" y="521"/>
                  <a:pt x="315" y="521"/>
                  <a:pt x="315" y="521"/>
                </a:cubicBezTo>
                <a:cubicBezTo>
                  <a:pt x="314" y="523"/>
                  <a:pt x="314" y="523"/>
                  <a:pt x="314" y="523"/>
                </a:cubicBezTo>
                <a:cubicBezTo>
                  <a:pt x="314" y="527"/>
                  <a:pt x="314" y="527"/>
                  <a:pt x="314" y="527"/>
                </a:cubicBezTo>
                <a:cubicBezTo>
                  <a:pt x="313" y="531"/>
                  <a:pt x="313" y="531"/>
                  <a:pt x="313" y="531"/>
                </a:cubicBezTo>
                <a:cubicBezTo>
                  <a:pt x="313" y="533"/>
                  <a:pt x="313" y="533"/>
                  <a:pt x="313" y="533"/>
                </a:cubicBezTo>
                <a:cubicBezTo>
                  <a:pt x="314" y="536"/>
                  <a:pt x="314" y="536"/>
                  <a:pt x="314" y="536"/>
                </a:cubicBezTo>
                <a:cubicBezTo>
                  <a:pt x="314" y="537"/>
                  <a:pt x="314" y="537"/>
                  <a:pt x="314" y="537"/>
                </a:cubicBezTo>
                <a:cubicBezTo>
                  <a:pt x="313" y="538"/>
                  <a:pt x="313" y="538"/>
                  <a:pt x="313" y="538"/>
                </a:cubicBezTo>
                <a:cubicBezTo>
                  <a:pt x="314" y="541"/>
                  <a:pt x="314" y="541"/>
                  <a:pt x="314" y="541"/>
                </a:cubicBezTo>
                <a:cubicBezTo>
                  <a:pt x="314" y="545"/>
                  <a:pt x="314" y="545"/>
                  <a:pt x="314" y="545"/>
                </a:cubicBezTo>
                <a:cubicBezTo>
                  <a:pt x="313" y="547"/>
                  <a:pt x="313" y="547"/>
                  <a:pt x="313" y="547"/>
                </a:cubicBezTo>
                <a:cubicBezTo>
                  <a:pt x="312" y="548"/>
                  <a:pt x="312" y="548"/>
                  <a:pt x="312" y="548"/>
                </a:cubicBezTo>
                <a:cubicBezTo>
                  <a:pt x="312" y="550"/>
                  <a:pt x="312" y="550"/>
                  <a:pt x="312" y="550"/>
                </a:cubicBezTo>
                <a:cubicBezTo>
                  <a:pt x="312" y="550"/>
                  <a:pt x="312" y="550"/>
                  <a:pt x="312" y="550"/>
                </a:cubicBezTo>
                <a:cubicBezTo>
                  <a:pt x="311" y="553"/>
                  <a:pt x="311" y="553"/>
                  <a:pt x="311" y="553"/>
                </a:cubicBezTo>
                <a:cubicBezTo>
                  <a:pt x="308" y="555"/>
                  <a:pt x="308" y="555"/>
                  <a:pt x="308" y="555"/>
                </a:cubicBezTo>
                <a:cubicBezTo>
                  <a:pt x="307" y="557"/>
                  <a:pt x="307" y="557"/>
                  <a:pt x="307" y="557"/>
                </a:cubicBezTo>
                <a:cubicBezTo>
                  <a:pt x="307" y="559"/>
                  <a:pt x="307" y="559"/>
                  <a:pt x="307" y="559"/>
                </a:cubicBezTo>
                <a:cubicBezTo>
                  <a:pt x="309" y="562"/>
                  <a:pt x="309" y="562"/>
                  <a:pt x="309" y="562"/>
                </a:cubicBezTo>
                <a:cubicBezTo>
                  <a:pt x="311" y="566"/>
                  <a:pt x="311" y="566"/>
                  <a:pt x="311" y="566"/>
                </a:cubicBezTo>
                <a:cubicBezTo>
                  <a:pt x="311" y="570"/>
                  <a:pt x="311" y="570"/>
                  <a:pt x="311" y="570"/>
                </a:cubicBezTo>
                <a:cubicBezTo>
                  <a:pt x="311" y="572"/>
                  <a:pt x="311" y="572"/>
                  <a:pt x="311" y="572"/>
                </a:cubicBezTo>
                <a:cubicBezTo>
                  <a:pt x="309" y="574"/>
                  <a:pt x="309" y="574"/>
                  <a:pt x="309" y="574"/>
                </a:cubicBezTo>
                <a:cubicBezTo>
                  <a:pt x="309" y="575"/>
                  <a:pt x="309" y="575"/>
                  <a:pt x="309" y="575"/>
                </a:cubicBezTo>
                <a:cubicBezTo>
                  <a:pt x="310" y="576"/>
                  <a:pt x="310" y="576"/>
                  <a:pt x="310" y="576"/>
                </a:cubicBezTo>
                <a:cubicBezTo>
                  <a:pt x="310" y="579"/>
                  <a:pt x="310" y="579"/>
                  <a:pt x="310" y="579"/>
                </a:cubicBezTo>
                <a:cubicBezTo>
                  <a:pt x="310" y="580"/>
                  <a:pt x="310" y="580"/>
                  <a:pt x="310" y="580"/>
                </a:cubicBezTo>
                <a:cubicBezTo>
                  <a:pt x="309" y="581"/>
                  <a:pt x="309" y="581"/>
                  <a:pt x="309" y="581"/>
                </a:cubicBezTo>
                <a:cubicBezTo>
                  <a:pt x="310" y="583"/>
                  <a:pt x="310" y="583"/>
                  <a:pt x="310" y="583"/>
                </a:cubicBezTo>
                <a:cubicBezTo>
                  <a:pt x="314" y="589"/>
                  <a:pt x="314" y="589"/>
                  <a:pt x="314" y="589"/>
                </a:cubicBezTo>
                <a:cubicBezTo>
                  <a:pt x="314" y="591"/>
                  <a:pt x="314" y="591"/>
                  <a:pt x="314" y="591"/>
                </a:cubicBezTo>
                <a:cubicBezTo>
                  <a:pt x="314" y="592"/>
                  <a:pt x="314" y="592"/>
                  <a:pt x="314" y="592"/>
                </a:cubicBezTo>
                <a:cubicBezTo>
                  <a:pt x="314" y="594"/>
                  <a:pt x="314" y="594"/>
                  <a:pt x="314" y="594"/>
                </a:cubicBezTo>
                <a:cubicBezTo>
                  <a:pt x="316" y="596"/>
                  <a:pt x="316" y="596"/>
                  <a:pt x="316" y="596"/>
                </a:cubicBezTo>
                <a:cubicBezTo>
                  <a:pt x="317" y="597"/>
                  <a:pt x="317" y="597"/>
                  <a:pt x="317" y="597"/>
                </a:cubicBezTo>
                <a:cubicBezTo>
                  <a:pt x="318" y="597"/>
                  <a:pt x="318" y="597"/>
                  <a:pt x="318" y="597"/>
                </a:cubicBezTo>
                <a:cubicBezTo>
                  <a:pt x="318" y="597"/>
                  <a:pt x="318" y="597"/>
                  <a:pt x="318" y="597"/>
                </a:cubicBezTo>
                <a:cubicBezTo>
                  <a:pt x="318" y="595"/>
                  <a:pt x="318" y="595"/>
                  <a:pt x="318" y="595"/>
                </a:cubicBezTo>
                <a:cubicBezTo>
                  <a:pt x="318" y="593"/>
                  <a:pt x="318" y="593"/>
                  <a:pt x="318" y="593"/>
                </a:cubicBezTo>
                <a:cubicBezTo>
                  <a:pt x="319" y="593"/>
                  <a:pt x="319" y="593"/>
                  <a:pt x="319" y="593"/>
                </a:cubicBezTo>
                <a:cubicBezTo>
                  <a:pt x="320" y="593"/>
                  <a:pt x="320" y="593"/>
                  <a:pt x="320" y="593"/>
                </a:cubicBezTo>
                <a:cubicBezTo>
                  <a:pt x="320" y="594"/>
                  <a:pt x="320" y="594"/>
                  <a:pt x="320" y="594"/>
                </a:cubicBezTo>
                <a:cubicBezTo>
                  <a:pt x="322" y="594"/>
                  <a:pt x="322" y="594"/>
                  <a:pt x="322" y="594"/>
                </a:cubicBezTo>
                <a:cubicBezTo>
                  <a:pt x="322" y="595"/>
                  <a:pt x="322" y="595"/>
                  <a:pt x="322" y="595"/>
                </a:cubicBezTo>
                <a:cubicBezTo>
                  <a:pt x="325" y="595"/>
                  <a:pt x="325" y="595"/>
                  <a:pt x="325" y="595"/>
                </a:cubicBezTo>
                <a:cubicBezTo>
                  <a:pt x="323" y="595"/>
                  <a:pt x="323" y="595"/>
                  <a:pt x="323" y="595"/>
                </a:cubicBezTo>
                <a:cubicBezTo>
                  <a:pt x="321" y="596"/>
                  <a:pt x="321" y="596"/>
                  <a:pt x="321" y="596"/>
                </a:cubicBezTo>
                <a:cubicBezTo>
                  <a:pt x="321" y="595"/>
                  <a:pt x="321" y="595"/>
                  <a:pt x="321" y="595"/>
                </a:cubicBezTo>
                <a:cubicBezTo>
                  <a:pt x="320" y="595"/>
                  <a:pt x="320" y="595"/>
                  <a:pt x="320" y="595"/>
                </a:cubicBezTo>
                <a:cubicBezTo>
                  <a:pt x="320" y="597"/>
                  <a:pt x="320" y="597"/>
                  <a:pt x="320" y="597"/>
                </a:cubicBezTo>
                <a:cubicBezTo>
                  <a:pt x="320" y="597"/>
                  <a:pt x="320" y="597"/>
                  <a:pt x="320" y="597"/>
                </a:cubicBezTo>
                <a:cubicBezTo>
                  <a:pt x="321" y="600"/>
                  <a:pt x="321" y="600"/>
                  <a:pt x="321" y="600"/>
                </a:cubicBezTo>
                <a:cubicBezTo>
                  <a:pt x="321" y="601"/>
                  <a:pt x="321" y="601"/>
                  <a:pt x="321" y="601"/>
                </a:cubicBezTo>
                <a:cubicBezTo>
                  <a:pt x="322" y="602"/>
                  <a:pt x="322" y="602"/>
                  <a:pt x="322" y="602"/>
                </a:cubicBezTo>
                <a:cubicBezTo>
                  <a:pt x="320" y="601"/>
                  <a:pt x="320" y="601"/>
                  <a:pt x="320" y="601"/>
                </a:cubicBezTo>
                <a:cubicBezTo>
                  <a:pt x="319" y="599"/>
                  <a:pt x="319" y="599"/>
                  <a:pt x="319" y="599"/>
                </a:cubicBezTo>
                <a:cubicBezTo>
                  <a:pt x="319" y="599"/>
                  <a:pt x="319" y="599"/>
                  <a:pt x="319" y="599"/>
                </a:cubicBezTo>
                <a:cubicBezTo>
                  <a:pt x="318" y="600"/>
                  <a:pt x="318" y="600"/>
                  <a:pt x="318" y="600"/>
                </a:cubicBezTo>
                <a:cubicBezTo>
                  <a:pt x="318" y="601"/>
                  <a:pt x="318" y="601"/>
                  <a:pt x="318" y="601"/>
                </a:cubicBezTo>
                <a:cubicBezTo>
                  <a:pt x="317" y="602"/>
                  <a:pt x="317" y="602"/>
                  <a:pt x="317" y="602"/>
                </a:cubicBezTo>
                <a:cubicBezTo>
                  <a:pt x="317" y="603"/>
                  <a:pt x="317" y="603"/>
                  <a:pt x="317" y="603"/>
                </a:cubicBezTo>
                <a:cubicBezTo>
                  <a:pt x="317" y="605"/>
                  <a:pt x="317" y="605"/>
                  <a:pt x="317" y="605"/>
                </a:cubicBezTo>
                <a:cubicBezTo>
                  <a:pt x="317" y="607"/>
                  <a:pt x="317" y="607"/>
                  <a:pt x="317" y="607"/>
                </a:cubicBezTo>
                <a:cubicBezTo>
                  <a:pt x="318" y="607"/>
                  <a:pt x="318" y="607"/>
                  <a:pt x="318" y="607"/>
                </a:cubicBezTo>
                <a:cubicBezTo>
                  <a:pt x="318" y="609"/>
                  <a:pt x="318" y="609"/>
                  <a:pt x="318" y="609"/>
                </a:cubicBezTo>
                <a:cubicBezTo>
                  <a:pt x="320" y="610"/>
                  <a:pt x="320" y="610"/>
                  <a:pt x="320" y="610"/>
                </a:cubicBezTo>
                <a:cubicBezTo>
                  <a:pt x="321" y="611"/>
                  <a:pt x="321" y="611"/>
                  <a:pt x="321" y="611"/>
                </a:cubicBezTo>
                <a:cubicBezTo>
                  <a:pt x="321" y="613"/>
                  <a:pt x="321" y="613"/>
                  <a:pt x="321" y="613"/>
                </a:cubicBezTo>
                <a:cubicBezTo>
                  <a:pt x="320" y="614"/>
                  <a:pt x="320" y="614"/>
                  <a:pt x="320" y="614"/>
                </a:cubicBezTo>
                <a:cubicBezTo>
                  <a:pt x="319" y="614"/>
                  <a:pt x="319" y="614"/>
                  <a:pt x="319" y="614"/>
                </a:cubicBezTo>
                <a:cubicBezTo>
                  <a:pt x="319" y="615"/>
                  <a:pt x="319" y="615"/>
                  <a:pt x="319" y="615"/>
                </a:cubicBezTo>
                <a:cubicBezTo>
                  <a:pt x="319" y="617"/>
                  <a:pt x="319" y="617"/>
                  <a:pt x="319" y="617"/>
                </a:cubicBezTo>
                <a:cubicBezTo>
                  <a:pt x="319" y="619"/>
                  <a:pt x="319" y="619"/>
                  <a:pt x="319" y="619"/>
                </a:cubicBezTo>
                <a:cubicBezTo>
                  <a:pt x="319" y="620"/>
                  <a:pt x="319" y="620"/>
                  <a:pt x="319" y="620"/>
                </a:cubicBezTo>
                <a:cubicBezTo>
                  <a:pt x="321" y="621"/>
                  <a:pt x="321" y="621"/>
                  <a:pt x="321" y="621"/>
                </a:cubicBezTo>
                <a:cubicBezTo>
                  <a:pt x="322" y="625"/>
                  <a:pt x="322" y="625"/>
                  <a:pt x="322" y="625"/>
                </a:cubicBezTo>
                <a:cubicBezTo>
                  <a:pt x="324" y="629"/>
                  <a:pt x="324" y="629"/>
                  <a:pt x="324" y="629"/>
                </a:cubicBezTo>
                <a:cubicBezTo>
                  <a:pt x="325" y="631"/>
                  <a:pt x="325" y="631"/>
                  <a:pt x="325" y="631"/>
                </a:cubicBezTo>
                <a:cubicBezTo>
                  <a:pt x="326" y="632"/>
                  <a:pt x="326" y="632"/>
                  <a:pt x="326" y="632"/>
                </a:cubicBezTo>
                <a:cubicBezTo>
                  <a:pt x="326" y="633"/>
                  <a:pt x="326" y="633"/>
                  <a:pt x="326" y="633"/>
                </a:cubicBezTo>
                <a:cubicBezTo>
                  <a:pt x="326" y="633"/>
                  <a:pt x="326" y="633"/>
                  <a:pt x="326" y="633"/>
                </a:cubicBezTo>
                <a:cubicBezTo>
                  <a:pt x="327" y="635"/>
                  <a:pt x="327" y="635"/>
                  <a:pt x="327" y="635"/>
                </a:cubicBezTo>
                <a:cubicBezTo>
                  <a:pt x="328" y="637"/>
                  <a:pt x="328" y="637"/>
                  <a:pt x="328" y="637"/>
                </a:cubicBezTo>
                <a:cubicBezTo>
                  <a:pt x="327" y="640"/>
                  <a:pt x="327" y="640"/>
                  <a:pt x="327" y="640"/>
                </a:cubicBezTo>
                <a:cubicBezTo>
                  <a:pt x="327" y="642"/>
                  <a:pt x="327" y="642"/>
                  <a:pt x="327" y="642"/>
                </a:cubicBezTo>
                <a:cubicBezTo>
                  <a:pt x="326" y="642"/>
                  <a:pt x="326" y="642"/>
                  <a:pt x="326" y="642"/>
                </a:cubicBezTo>
                <a:cubicBezTo>
                  <a:pt x="327" y="644"/>
                  <a:pt x="327" y="644"/>
                  <a:pt x="327" y="644"/>
                </a:cubicBezTo>
                <a:cubicBezTo>
                  <a:pt x="328" y="645"/>
                  <a:pt x="328" y="645"/>
                  <a:pt x="328" y="645"/>
                </a:cubicBezTo>
                <a:cubicBezTo>
                  <a:pt x="331" y="645"/>
                  <a:pt x="331" y="645"/>
                  <a:pt x="331" y="645"/>
                </a:cubicBezTo>
                <a:cubicBezTo>
                  <a:pt x="333" y="645"/>
                  <a:pt x="333" y="645"/>
                  <a:pt x="333" y="645"/>
                </a:cubicBezTo>
                <a:cubicBezTo>
                  <a:pt x="335" y="646"/>
                  <a:pt x="335" y="646"/>
                  <a:pt x="335" y="646"/>
                </a:cubicBezTo>
                <a:cubicBezTo>
                  <a:pt x="337" y="646"/>
                  <a:pt x="337" y="646"/>
                  <a:pt x="337" y="646"/>
                </a:cubicBezTo>
                <a:cubicBezTo>
                  <a:pt x="339" y="646"/>
                  <a:pt x="339" y="646"/>
                  <a:pt x="339" y="646"/>
                </a:cubicBezTo>
                <a:cubicBezTo>
                  <a:pt x="340" y="648"/>
                  <a:pt x="340" y="648"/>
                  <a:pt x="340" y="648"/>
                </a:cubicBezTo>
                <a:cubicBezTo>
                  <a:pt x="340" y="650"/>
                  <a:pt x="340" y="650"/>
                  <a:pt x="340" y="650"/>
                </a:cubicBezTo>
                <a:cubicBezTo>
                  <a:pt x="343" y="651"/>
                  <a:pt x="343" y="651"/>
                  <a:pt x="343" y="651"/>
                </a:cubicBezTo>
                <a:cubicBezTo>
                  <a:pt x="345" y="651"/>
                  <a:pt x="345" y="651"/>
                  <a:pt x="345" y="651"/>
                </a:cubicBezTo>
                <a:cubicBezTo>
                  <a:pt x="347" y="652"/>
                  <a:pt x="347" y="652"/>
                  <a:pt x="347" y="652"/>
                </a:cubicBezTo>
                <a:cubicBezTo>
                  <a:pt x="348" y="653"/>
                  <a:pt x="348" y="653"/>
                  <a:pt x="348" y="653"/>
                </a:cubicBezTo>
                <a:cubicBezTo>
                  <a:pt x="348" y="655"/>
                  <a:pt x="348" y="655"/>
                  <a:pt x="348" y="655"/>
                </a:cubicBezTo>
                <a:cubicBezTo>
                  <a:pt x="348" y="655"/>
                  <a:pt x="348" y="655"/>
                  <a:pt x="348" y="655"/>
                </a:cubicBezTo>
                <a:cubicBezTo>
                  <a:pt x="349" y="655"/>
                  <a:pt x="349" y="655"/>
                  <a:pt x="349" y="655"/>
                </a:cubicBezTo>
                <a:cubicBezTo>
                  <a:pt x="351" y="655"/>
                  <a:pt x="351" y="655"/>
                  <a:pt x="351" y="655"/>
                </a:cubicBezTo>
                <a:cubicBezTo>
                  <a:pt x="353" y="657"/>
                  <a:pt x="353" y="657"/>
                  <a:pt x="353" y="657"/>
                </a:cubicBezTo>
                <a:cubicBezTo>
                  <a:pt x="356" y="662"/>
                  <a:pt x="356" y="662"/>
                  <a:pt x="356" y="662"/>
                </a:cubicBezTo>
                <a:cubicBezTo>
                  <a:pt x="357" y="665"/>
                  <a:pt x="357" y="665"/>
                  <a:pt x="357" y="665"/>
                </a:cubicBezTo>
                <a:cubicBezTo>
                  <a:pt x="356" y="668"/>
                  <a:pt x="356" y="668"/>
                  <a:pt x="356" y="668"/>
                </a:cubicBezTo>
                <a:cubicBezTo>
                  <a:pt x="357" y="670"/>
                  <a:pt x="357" y="670"/>
                  <a:pt x="357" y="670"/>
                </a:cubicBezTo>
                <a:cubicBezTo>
                  <a:pt x="357" y="672"/>
                  <a:pt x="357" y="672"/>
                  <a:pt x="357" y="672"/>
                </a:cubicBezTo>
                <a:cubicBezTo>
                  <a:pt x="358" y="677"/>
                  <a:pt x="358" y="677"/>
                  <a:pt x="358" y="677"/>
                </a:cubicBezTo>
                <a:cubicBezTo>
                  <a:pt x="359" y="679"/>
                  <a:pt x="359" y="679"/>
                  <a:pt x="359" y="679"/>
                </a:cubicBezTo>
                <a:cubicBezTo>
                  <a:pt x="361" y="681"/>
                  <a:pt x="361" y="681"/>
                  <a:pt x="361" y="681"/>
                </a:cubicBezTo>
                <a:cubicBezTo>
                  <a:pt x="360" y="681"/>
                  <a:pt x="360" y="681"/>
                  <a:pt x="360" y="681"/>
                </a:cubicBezTo>
                <a:cubicBezTo>
                  <a:pt x="359" y="683"/>
                  <a:pt x="359" y="683"/>
                  <a:pt x="359" y="683"/>
                </a:cubicBezTo>
                <a:cubicBezTo>
                  <a:pt x="360" y="685"/>
                  <a:pt x="360" y="685"/>
                  <a:pt x="360" y="685"/>
                </a:cubicBezTo>
                <a:cubicBezTo>
                  <a:pt x="363" y="688"/>
                  <a:pt x="363" y="688"/>
                  <a:pt x="363" y="688"/>
                </a:cubicBezTo>
                <a:cubicBezTo>
                  <a:pt x="363" y="689"/>
                  <a:pt x="363" y="689"/>
                  <a:pt x="363" y="689"/>
                </a:cubicBezTo>
                <a:cubicBezTo>
                  <a:pt x="362" y="690"/>
                  <a:pt x="362" y="690"/>
                  <a:pt x="362" y="690"/>
                </a:cubicBezTo>
                <a:cubicBezTo>
                  <a:pt x="363" y="691"/>
                  <a:pt x="363" y="691"/>
                  <a:pt x="363" y="691"/>
                </a:cubicBezTo>
                <a:cubicBezTo>
                  <a:pt x="365" y="693"/>
                  <a:pt x="365" y="693"/>
                  <a:pt x="365" y="693"/>
                </a:cubicBezTo>
                <a:cubicBezTo>
                  <a:pt x="365" y="695"/>
                  <a:pt x="365" y="695"/>
                  <a:pt x="365" y="695"/>
                </a:cubicBezTo>
                <a:cubicBezTo>
                  <a:pt x="364" y="696"/>
                  <a:pt x="364" y="696"/>
                  <a:pt x="364" y="696"/>
                </a:cubicBezTo>
                <a:cubicBezTo>
                  <a:pt x="364" y="698"/>
                  <a:pt x="364" y="698"/>
                  <a:pt x="364" y="698"/>
                </a:cubicBezTo>
                <a:cubicBezTo>
                  <a:pt x="365" y="699"/>
                  <a:pt x="365" y="699"/>
                  <a:pt x="365" y="699"/>
                </a:cubicBezTo>
                <a:cubicBezTo>
                  <a:pt x="366" y="700"/>
                  <a:pt x="366" y="700"/>
                  <a:pt x="366" y="700"/>
                </a:cubicBezTo>
                <a:cubicBezTo>
                  <a:pt x="366" y="704"/>
                  <a:pt x="366" y="704"/>
                  <a:pt x="366" y="704"/>
                </a:cubicBezTo>
                <a:cubicBezTo>
                  <a:pt x="367" y="706"/>
                  <a:pt x="367" y="706"/>
                  <a:pt x="367" y="706"/>
                </a:cubicBezTo>
                <a:cubicBezTo>
                  <a:pt x="369" y="708"/>
                  <a:pt x="369" y="708"/>
                  <a:pt x="369" y="708"/>
                </a:cubicBezTo>
                <a:cubicBezTo>
                  <a:pt x="370" y="708"/>
                  <a:pt x="370" y="708"/>
                  <a:pt x="370" y="708"/>
                </a:cubicBezTo>
                <a:cubicBezTo>
                  <a:pt x="373" y="711"/>
                  <a:pt x="373" y="711"/>
                  <a:pt x="373" y="711"/>
                </a:cubicBezTo>
                <a:cubicBezTo>
                  <a:pt x="374" y="713"/>
                  <a:pt x="374" y="713"/>
                  <a:pt x="374" y="713"/>
                </a:cubicBezTo>
                <a:cubicBezTo>
                  <a:pt x="375" y="715"/>
                  <a:pt x="375" y="715"/>
                  <a:pt x="375" y="715"/>
                </a:cubicBezTo>
                <a:cubicBezTo>
                  <a:pt x="377" y="717"/>
                  <a:pt x="377" y="717"/>
                  <a:pt x="377" y="717"/>
                </a:cubicBezTo>
                <a:cubicBezTo>
                  <a:pt x="378" y="720"/>
                  <a:pt x="378" y="720"/>
                  <a:pt x="378" y="720"/>
                </a:cubicBezTo>
                <a:cubicBezTo>
                  <a:pt x="379" y="720"/>
                  <a:pt x="379" y="720"/>
                  <a:pt x="379" y="720"/>
                </a:cubicBezTo>
                <a:cubicBezTo>
                  <a:pt x="380" y="723"/>
                  <a:pt x="380" y="723"/>
                  <a:pt x="380" y="723"/>
                </a:cubicBezTo>
                <a:cubicBezTo>
                  <a:pt x="379" y="724"/>
                  <a:pt x="379" y="724"/>
                  <a:pt x="379" y="724"/>
                </a:cubicBezTo>
                <a:cubicBezTo>
                  <a:pt x="379" y="725"/>
                  <a:pt x="379" y="725"/>
                  <a:pt x="379" y="725"/>
                </a:cubicBezTo>
                <a:cubicBezTo>
                  <a:pt x="380" y="726"/>
                  <a:pt x="380" y="726"/>
                  <a:pt x="380" y="726"/>
                </a:cubicBezTo>
                <a:cubicBezTo>
                  <a:pt x="379" y="728"/>
                  <a:pt x="379" y="728"/>
                  <a:pt x="379" y="728"/>
                </a:cubicBezTo>
                <a:cubicBezTo>
                  <a:pt x="378" y="728"/>
                  <a:pt x="378" y="728"/>
                  <a:pt x="378" y="728"/>
                </a:cubicBezTo>
                <a:cubicBezTo>
                  <a:pt x="377" y="729"/>
                  <a:pt x="377" y="729"/>
                  <a:pt x="377" y="729"/>
                </a:cubicBezTo>
                <a:cubicBezTo>
                  <a:pt x="377" y="729"/>
                  <a:pt x="377" y="729"/>
                  <a:pt x="377" y="729"/>
                </a:cubicBezTo>
                <a:cubicBezTo>
                  <a:pt x="379" y="729"/>
                  <a:pt x="379" y="729"/>
                  <a:pt x="379" y="729"/>
                </a:cubicBezTo>
                <a:cubicBezTo>
                  <a:pt x="379" y="731"/>
                  <a:pt x="379" y="731"/>
                  <a:pt x="379" y="731"/>
                </a:cubicBezTo>
                <a:cubicBezTo>
                  <a:pt x="378" y="732"/>
                  <a:pt x="378" y="732"/>
                  <a:pt x="378" y="732"/>
                </a:cubicBezTo>
                <a:cubicBezTo>
                  <a:pt x="377" y="731"/>
                  <a:pt x="377" y="731"/>
                  <a:pt x="377" y="731"/>
                </a:cubicBezTo>
                <a:cubicBezTo>
                  <a:pt x="374" y="730"/>
                  <a:pt x="374" y="730"/>
                  <a:pt x="374" y="730"/>
                </a:cubicBezTo>
                <a:cubicBezTo>
                  <a:pt x="373" y="730"/>
                  <a:pt x="373" y="730"/>
                  <a:pt x="373" y="730"/>
                </a:cubicBezTo>
                <a:cubicBezTo>
                  <a:pt x="370" y="730"/>
                  <a:pt x="370" y="730"/>
                  <a:pt x="370" y="730"/>
                </a:cubicBezTo>
                <a:cubicBezTo>
                  <a:pt x="369" y="731"/>
                  <a:pt x="369" y="731"/>
                  <a:pt x="369" y="731"/>
                </a:cubicBezTo>
                <a:cubicBezTo>
                  <a:pt x="371" y="733"/>
                  <a:pt x="371" y="733"/>
                  <a:pt x="371" y="733"/>
                </a:cubicBezTo>
                <a:cubicBezTo>
                  <a:pt x="373" y="734"/>
                  <a:pt x="373" y="734"/>
                  <a:pt x="373" y="734"/>
                </a:cubicBezTo>
                <a:cubicBezTo>
                  <a:pt x="373" y="736"/>
                  <a:pt x="373" y="736"/>
                  <a:pt x="373" y="736"/>
                </a:cubicBezTo>
                <a:cubicBezTo>
                  <a:pt x="374" y="738"/>
                  <a:pt x="374" y="738"/>
                  <a:pt x="374" y="738"/>
                </a:cubicBezTo>
                <a:cubicBezTo>
                  <a:pt x="376" y="738"/>
                  <a:pt x="376" y="738"/>
                  <a:pt x="376" y="738"/>
                </a:cubicBezTo>
                <a:cubicBezTo>
                  <a:pt x="379" y="740"/>
                  <a:pt x="379" y="740"/>
                  <a:pt x="379" y="740"/>
                </a:cubicBezTo>
                <a:cubicBezTo>
                  <a:pt x="379" y="741"/>
                  <a:pt x="379" y="741"/>
                  <a:pt x="379" y="741"/>
                </a:cubicBezTo>
                <a:cubicBezTo>
                  <a:pt x="380" y="741"/>
                  <a:pt x="380" y="741"/>
                  <a:pt x="380" y="741"/>
                </a:cubicBezTo>
                <a:cubicBezTo>
                  <a:pt x="381" y="741"/>
                  <a:pt x="381" y="741"/>
                  <a:pt x="381" y="741"/>
                </a:cubicBezTo>
                <a:cubicBezTo>
                  <a:pt x="381" y="742"/>
                  <a:pt x="381" y="742"/>
                  <a:pt x="381" y="742"/>
                </a:cubicBezTo>
                <a:cubicBezTo>
                  <a:pt x="382" y="743"/>
                  <a:pt x="382" y="743"/>
                  <a:pt x="382" y="743"/>
                </a:cubicBezTo>
                <a:cubicBezTo>
                  <a:pt x="383" y="743"/>
                  <a:pt x="383" y="743"/>
                  <a:pt x="383" y="743"/>
                </a:cubicBezTo>
                <a:cubicBezTo>
                  <a:pt x="384" y="743"/>
                  <a:pt x="384" y="743"/>
                  <a:pt x="384" y="743"/>
                </a:cubicBezTo>
                <a:cubicBezTo>
                  <a:pt x="386" y="741"/>
                  <a:pt x="386" y="741"/>
                  <a:pt x="386" y="741"/>
                </a:cubicBezTo>
                <a:cubicBezTo>
                  <a:pt x="387" y="741"/>
                  <a:pt x="387" y="741"/>
                  <a:pt x="387" y="741"/>
                </a:cubicBezTo>
                <a:cubicBezTo>
                  <a:pt x="386" y="742"/>
                  <a:pt x="386" y="742"/>
                  <a:pt x="386" y="742"/>
                </a:cubicBezTo>
                <a:cubicBezTo>
                  <a:pt x="387" y="746"/>
                  <a:pt x="387" y="746"/>
                  <a:pt x="387" y="746"/>
                </a:cubicBezTo>
                <a:cubicBezTo>
                  <a:pt x="390" y="749"/>
                  <a:pt x="390" y="749"/>
                  <a:pt x="390" y="749"/>
                </a:cubicBezTo>
                <a:cubicBezTo>
                  <a:pt x="392" y="750"/>
                  <a:pt x="392" y="750"/>
                  <a:pt x="392" y="750"/>
                </a:cubicBezTo>
                <a:cubicBezTo>
                  <a:pt x="393" y="749"/>
                  <a:pt x="393" y="749"/>
                  <a:pt x="393" y="749"/>
                </a:cubicBezTo>
                <a:cubicBezTo>
                  <a:pt x="394" y="751"/>
                  <a:pt x="394" y="751"/>
                  <a:pt x="394" y="751"/>
                </a:cubicBezTo>
                <a:cubicBezTo>
                  <a:pt x="395" y="755"/>
                  <a:pt x="395" y="755"/>
                  <a:pt x="395" y="755"/>
                </a:cubicBezTo>
                <a:cubicBezTo>
                  <a:pt x="395" y="759"/>
                  <a:pt x="395" y="759"/>
                  <a:pt x="395" y="759"/>
                </a:cubicBezTo>
                <a:cubicBezTo>
                  <a:pt x="395" y="762"/>
                  <a:pt x="395" y="762"/>
                  <a:pt x="395" y="762"/>
                </a:cubicBezTo>
                <a:cubicBezTo>
                  <a:pt x="393" y="765"/>
                  <a:pt x="393" y="765"/>
                  <a:pt x="393" y="765"/>
                </a:cubicBezTo>
                <a:cubicBezTo>
                  <a:pt x="393" y="767"/>
                  <a:pt x="393" y="767"/>
                  <a:pt x="393" y="767"/>
                </a:cubicBezTo>
                <a:cubicBezTo>
                  <a:pt x="395" y="768"/>
                  <a:pt x="395" y="768"/>
                  <a:pt x="395" y="768"/>
                </a:cubicBezTo>
                <a:cubicBezTo>
                  <a:pt x="396" y="768"/>
                  <a:pt x="396" y="768"/>
                  <a:pt x="396" y="768"/>
                </a:cubicBezTo>
                <a:cubicBezTo>
                  <a:pt x="396" y="769"/>
                  <a:pt x="396" y="769"/>
                  <a:pt x="396" y="769"/>
                </a:cubicBezTo>
                <a:cubicBezTo>
                  <a:pt x="398" y="770"/>
                  <a:pt x="398" y="770"/>
                  <a:pt x="398" y="770"/>
                </a:cubicBezTo>
                <a:cubicBezTo>
                  <a:pt x="399" y="772"/>
                  <a:pt x="399" y="772"/>
                  <a:pt x="399" y="772"/>
                </a:cubicBezTo>
                <a:cubicBezTo>
                  <a:pt x="404" y="776"/>
                  <a:pt x="404" y="776"/>
                  <a:pt x="404" y="776"/>
                </a:cubicBezTo>
                <a:cubicBezTo>
                  <a:pt x="405" y="777"/>
                  <a:pt x="405" y="777"/>
                  <a:pt x="405" y="777"/>
                </a:cubicBezTo>
                <a:cubicBezTo>
                  <a:pt x="406" y="778"/>
                  <a:pt x="406" y="778"/>
                  <a:pt x="406" y="778"/>
                </a:cubicBezTo>
                <a:cubicBezTo>
                  <a:pt x="407" y="780"/>
                  <a:pt x="407" y="780"/>
                  <a:pt x="407" y="780"/>
                </a:cubicBezTo>
                <a:cubicBezTo>
                  <a:pt x="410" y="781"/>
                  <a:pt x="410" y="781"/>
                  <a:pt x="410" y="781"/>
                </a:cubicBezTo>
                <a:cubicBezTo>
                  <a:pt x="411" y="782"/>
                  <a:pt x="411" y="782"/>
                  <a:pt x="411" y="782"/>
                </a:cubicBezTo>
                <a:cubicBezTo>
                  <a:pt x="411" y="785"/>
                  <a:pt x="411" y="785"/>
                  <a:pt x="411" y="785"/>
                </a:cubicBezTo>
                <a:cubicBezTo>
                  <a:pt x="412" y="786"/>
                  <a:pt x="412" y="786"/>
                  <a:pt x="412" y="786"/>
                </a:cubicBezTo>
                <a:cubicBezTo>
                  <a:pt x="412" y="787"/>
                  <a:pt x="412" y="787"/>
                  <a:pt x="412" y="787"/>
                </a:cubicBezTo>
                <a:cubicBezTo>
                  <a:pt x="413" y="789"/>
                  <a:pt x="413" y="789"/>
                  <a:pt x="413" y="789"/>
                </a:cubicBezTo>
                <a:cubicBezTo>
                  <a:pt x="414" y="790"/>
                  <a:pt x="414" y="790"/>
                  <a:pt x="414" y="790"/>
                </a:cubicBezTo>
                <a:cubicBezTo>
                  <a:pt x="417" y="788"/>
                  <a:pt x="417" y="788"/>
                  <a:pt x="417" y="788"/>
                </a:cubicBezTo>
                <a:cubicBezTo>
                  <a:pt x="419" y="785"/>
                  <a:pt x="419" y="785"/>
                  <a:pt x="419" y="785"/>
                </a:cubicBezTo>
                <a:cubicBezTo>
                  <a:pt x="419" y="783"/>
                  <a:pt x="419" y="783"/>
                  <a:pt x="419" y="783"/>
                </a:cubicBezTo>
                <a:cubicBezTo>
                  <a:pt x="418" y="782"/>
                  <a:pt x="418" y="782"/>
                  <a:pt x="418" y="782"/>
                </a:cubicBezTo>
                <a:cubicBezTo>
                  <a:pt x="417" y="780"/>
                  <a:pt x="417" y="780"/>
                  <a:pt x="417" y="780"/>
                </a:cubicBezTo>
                <a:cubicBezTo>
                  <a:pt x="416" y="779"/>
                  <a:pt x="416" y="779"/>
                  <a:pt x="416" y="779"/>
                </a:cubicBezTo>
                <a:cubicBezTo>
                  <a:pt x="416" y="777"/>
                  <a:pt x="416" y="777"/>
                  <a:pt x="416" y="777"/>
                </a:cubicBezTo>
                <a:cubicBezTo>
                  <a:pt x="414" y="776"/>
                  <a:pt x="414" y="776"/>
                  <a:pt x="414" y="776"/>
                </a:cubicBezTo>
                <a:cubicBezTo>
                  <a:pt x="414" y="775"/>
                  <a:pt x="414" y="775"/>
                  <a:pt x="414" y="775"/>
                </a:cubicBezTo>
                <a:cubicBezTo>
                  <a:pt x="413" y="774"/>
                  <a:pt x="413" y="774"/>
                  <a:pt x="413" y="774"/>
                </a:cubicBezTo>
                <a:cubicBezTo>
                  <a:pt x="412" y="773"/>
                  <a:pt x="412" y="773"/>
                  <a:pt x="412" y="773"/>
                </a:cubicBezTo>
                <a:cubicBezTo>
                  <a:pt x="411" y="774"/>
                  <a:pt x="411" y="774"/>
                  <a:pt x="411" y="774"/>
                </a:cubicBezTo>
                <a:cubicBezTo>
                  <a:pt x="411" y="775"/>
                  <a:pt x="411" y="775"/>
                  <a:pt x="411" y="775"/>
                </a:cubicBezTo>
                <a:cubicBezTo>
                  <a:pt x="410" y="776"/>
                  <a:pt x="410" y="776"/>
                  <a:pt x="410" y="776"/>
                </a:cubicBezTo>
                <a:cubicBezTo>
                  <a:pt x="410" y="774"/>
                  <a:pt x="410" y="774"/>
                  <a:pt x="410" y="774"/>
                </a:cubicBezTo>
                <a:cubicBezTo>
                  <a:pt x="409" y="773"/>
                  <a:pt x="409" y="773"/>
                  <a:pt x="409" y="773"/>
                </a:cubicBezTo>
                <a:cubicBezTo>
                  <a:pt x="407" y="771"/>
                  <a:pt x="407" y="771"/>
                  <a:pt x="407" y="771"/>
                </a:cubicBezTo>
                <a:cubicBezTo>
                  <a:pt x="407" y="770"/>
                  <a:pt x="407" y="770"/>
                  <a:pt x="407" y="770"/>
                </a:cubicBezTo>
                <a:cubicBezTo>
                  <a:pt x="408" y="768"/>
                  <a:pt x="408" y="768"/>
                  <a:pt x="408" y="768"/>
                </a:cubicBezTo>
                <a:cubicBezTo>
                  <a:pt x="407" y="766"/>
                  <a:pt x="407" y="766"/>
                  <a:pt x="407" y="766"/>
                </a:cubicBezTo>
                <a:cubicBezTo>
                  <a:pt x="406" y="763"/>
                  <a:pt x="406" y="763"/>
                  <a:pt x="406" y="763"/>
                </a:cubicBezTo>
                <a:cubicBezTo>
                  <a:pt x="406" y="762"/>
                  <a:pt x="406" y="762"/>
                  <a:pt x="406" y="762"/>
                </a:cubicBezTo>
                <a:cubicBezTo>
                  <a:pt x="406" y="761"/>
                  <a:pt x="406" y="761"/>
                  <a:pt x="406" y="761"/>
                </a:cubicBezTo>
                <a:cubicBezTo>
                  <a:pt x="405" y="760"/>
                  <a:pt x="405" y="760"/>
                  <a:pt x="405" y="760"/>
                </a:cubicBezTo>
                <a:cubicBezTo>
                  <a:pt x="405" y="758"/>
                  <a:pt x="405" y="758"/>
                  <a:pt x="405" y="758"/>
                </a:cubicBezTo>
                <a:cubicBezTo>
                  <a:pt x="404" y="757"/>
                  <a:pt x="404" y="757"/>
                  <a:pt x="404" y="757"/>
                </a:cubicBezTo>
                <a:cubicBezTo>
                  <a:pt x="404" y="755"/>
                  <a:pt x="404" y="755"/>
                  <a:pt x="404" y="755"/>
                </a:cubicBezTo>
                <a:cubicBezTo>
                  <a:pt x="404" y="754"/>
                  <a:pt x="404" y="754"/>
                  <a:pt x="404" y="754"/>
                </a:cubicBezTo>
                <a:cubicBezTo>
                  <a:pt x="403" y="751"/>
                  <a:pt x="403" y="751"/>
                  <a:pt x="403" y="751"/>
                </a:cubicBezTo>
                <a:cubicBezTo>
                  <a:pt x="404" y="750"/>
                  <a:pt x="404" y="750"/>
                  <a:pt x="404" y="750"/>
                </a:cubicBezTo>
                <a:cubicBezTo>
                  <a:pt x="403" y="746"/>
                  <a:pt x="403" y="746"/>
                  <a:pt x="403" y="746"/>
                </a:cubicBezTo>
                <a:cubicBezTo>
                  <a:pt x="402" y="744"/>
                  <a:pt x="402" y="744"/>
                  <a:pt x="402" y="744"/>
                </a:cubicBezTo>
                <a:cubicBezTo>
                  <a:pt x="402" y="743"/>
                  <a:pt x="402" y="743"/>
                  <a:pt x="402" y="743"/>
                </a:cubicBezTo>
                <a:cubicBezTo>
                  <a:pt x="401" y="743"/>
                  <a:pt x="401" y="743"/>
                  <a:pt x="401" y="743"/>
                </a:cubicBezTo>
                <a:cubicBezTo>
                  <a:pt x="401" y="743"/>
                  <a:pt x="401" y="743"/>
                  <a:pt x="401" y="743"/>
                </a:cubicBezTo>
                <a:cubicBezTo>
                  <a:pt x="401" y="745"/>
                  <a:pt x="401" y="745"/>
                  <a:pt x="401" y="745"/>
                </a:cubicBezTo>
                <a:cubicBezTo>
                  <a:pt x="400" y="745"/>
                  <a:pt x="400" y="745"/>
                  <a:pt x="400" y="745"/>
                </a:cubicBezTo>
                <a:cubicBezTo>
                  <a:pt x="398" y="742"/>
                  <a:pt x="398" y="742"/>
                  <a:pt x="398" y="742"/>
                </a:cubicBezTo>
                <a:cubicBezTo>
                  <a:pt x="398" y="741"/>
                  <a:pt x="398" y="741"/>
                  <a:pt x="398" y="741"/>
                </a:cubicBezTo>
                <a:cubicBezTo>
                  <a:pt x="399" y="740"/>
                  <a:pt x="399" y="740"/>
                  <a:pt x="399" y="740"/>
                </a:cubicBezTo>
                <a:cubicBezTo>
                  <a:pt x="398" y="739"/>
                  <a:pt x="398" y="739"/>
                  <a:pt x="398" y="739"/>
                </a:cubicBezTo>
                <a:cubicBezTo>
                  <a:pt x="397" y="739"/>
                  <a:pt x="397" y="739"/>
                  <a:pt x="397" y="739"/>
                </a:cubicBezTo>
                <a:cubicBezTo>
                  <a:pt x="397" y="735"/>
                  <a:pt x="397" y="735"/>
                  <a:pt x="397" y="735"/>
                </a:cubicBezTo>
                <a:cubicBezTo>
                  <a:pt x="395" y="732"/>
                  <a:pt x="395" y="732"/>
                  <a:pt x="395" y="732"/>
                </a:cubicBezTo>
                <a:cubicBezTo>
                  <a:pt x="394" y="732"/>
                  <a:pt x="394" y="732"/>
                  <a:pt x="394" y="732"/>
                </a:cubicBezTo>
                <a:cubicBezTo>
                  <a:pt x="392" y="730"/>
                  <a:pt x="392" y="730"/>
                  <a:pt x="392" y="730"/>
                </a:cubicBezTo>
                <a:cubicBezTo>
                  <a:pt x="392" y="727"/>
                  <a:pt x="392" y="727"/>
                  <a:pt x="392" y="727"/>
                </a:cubicBezTo>
                <a:cubicBezTo>
                  <a:pt x="392" y="725"/>
                  <a:pt x="392" y="725"/>
                  <a:pt x="392" y="725"/>
                </a:cubicBezTo>
                <a:cubicBezTo>
                  <a:pt x="391" y="723"/>
                  <a:pt x="391" y="723"/>
                  <a:pt x="391" y="723"/>
                </a:cubicBezTo>
                <a:cubicBezTo>
                  <a:pt x="389" y="722"/>
                  <a:pt x="389" y="722"/>
                  <a:pt x="389" y="722"/>
                </a:cubicBezTo>
                <a:cubicBezTo>
                  <a:pt x="389" y="721"/>
                  <a:pt x="389" y="721"/>
                  <a:pt x="389" y="721"/>
                </a:cubicBezTo>
                <a:cubicBezTo>
                  <a:pt x="388" y="719"/>
                  <a:pt x="388" y="719"/>
                  <a:pt x="388" y="719"/>
                </a:cubicBezTo>
                <a:cubicBezTo>
                  <a:pt x="387" y="718"/>
                  <a:pt x="387" y="718"/>
                  <a:pt x="387" y="718"/>
                </a:cubicBezTo>
                <a:cubicBezTo>
                  <a:pt x="385" y="717"/>
                  <a:pt x="385" y="717"/>
                  <a:pt x="385" y="717"/>
                </a:cubicBezTo>
                <a:cubicBezTo>
                  <a:pt x="385" y="715"/>
                  <a:pt x="385" y="715"/>
                  <a:pt x="385" y="715"/>
                </a:cubicBezTo>
                <a:cubicBezTo>
                  <a:pt x="385" y="714"/>
                  <a:pt x="385" y="714"/>
                  <a:pt x="385" y="714"/>
                </a:cubicBezTo>
                <a:cubicBezTo>
                  <a:pt x="385" y="711"/>
                  <a:pt x="385" y="711"/>
                  <a:pt x="385" y="711"/>
                </a:cubicBezTo>
                <a:cubicBezTo>
                  <a:pt x="382" y="709"/>
                  <a:pt x="382" y="709"/>
                  <a:pt x="382" y="709"/>
                </a:cubicBezTo>
                <a:cubicBezTo>
                  <a:pt x="381" y="708"/>
                  <a:pt x="381" y="708"/>
                  <a:pt x="381" y="708"/>
                </a:cubicBezTo>
                <a:cubicBezTo>
                  <a:pt x="380" y="708"/>
                  <a:pt x="380" y="708"/>
                  <a:pt x="380" y="708"/>
                </a:cubicBezTo>
                <a:cubicBezTo>
                  <a:pt x="380" y="706"/>
                  <a:pt x="380" y="706"/>
                  <a:pt x="380" y="706"/>
                </a:cubicBezTo>
                <a:cubicBezTo>
                  <a:pt x="379" y="703"/>
                  <a:pt x="379" y="703"/>
                  <a:pt x="379" y="703"/>
                </a:cubicBezTo>
                <a:cubicBezTo>
                  <a:pt x="378" y="702"/>
                  <a:pt x="378" y="702"/>
                  <a:pt x="378" y="702"/>
                </a:cubicBezTo>
                <a:cubicBezTo>
                  <a:pt x="378" y="700"/>
                  <a:pt x="378" y="700"/>
                  <a:pt x="378" y="700"/>
                </a:cubicBezTo>
                <a:cubicBezTo>
                  <a:pt x="378" y="693"/>
                  <a:pt x="378" y="693"/>
                  <a:pt x="378" y="693"/>
                </a:cubicBezTo>
                <a:cubicBezTo>
                  <a:pt x="378" y="689"/>
                  <a:pt x="378" y="689"/>
                  <a:pt x="378" y="689"/>
                </a:cubicBezTo>
                <a:cubicBezTo>
                  <a:pt x="378" y="686"/>
                  <a:pt x="378" y="686"/>
                  <a:pt x="378" y="686"/>
                </a:cubicBezTo>
                <a:cubicBezTo>
                  <a:pt x="379" y="683"/>
                  <a:pt x="379" y="683"/>
                  <a:pt x="379" y="683"/>
                </a:cubicBezTo>
                <a:cubicBezTo>
                  <a:pt x="379" y="681"/>
                  <a:pt x="379" y="681"/>
                  <a:pt x="379" y="681"/>
                </a:cubicBezTo>
                <a:cubicBezTo>
                  <a:pt x="378" y="679"/>
                  <a:pt x="378" y="679"/>
                  <a:pt x="378" y="679"/>
                </a:cubicBezTo>
                <a:cubicBezTo>
                  <a:pt x="380" y="681"/>
                  <a:pt x="380" y="681"/>
                  <a:pt x="380" y="681"/>
                </a:cubicBezTo>
                <a:cubicBezTo>
                  <a:pt x="382" y="682"/>
                  <a:pt x="382" y="682"/>
                  <a:pt x="382" y="682"/>
                </a:cubicBezTo>
                <a:cubicBezTo>
                  <a:pt x="384" y="685"/>
                  <a:pt x="384" y="685"/>
                  <a:pt x="384" y="685"/>
                </a:cubicBezTo>
                <a:cubicBezTo>
                  <a:pt x="385" y="686"/>
                  <a:pt x="385" y="686"/>
                  <a:pt x="385" y="686"/>
                </a:cubicBezTo>
                <a:cubicBezTo>
                  <a:pt x="387" y="686"/>
                  <a:pt x="387" y="686"/>
                  <a:pt x="387" y="686"/>
                </a:cubicBezTo>
                <a:cubicBezTo>
                  <a:pt x="388" y="685"/>
                  <a:pt x="388" y="685"/>
                  <a:pt x="388" y="685"/>
                </a:cubicBezTo>
                <a:cubicBezTo>
                  <a:pt x="390" y="687"/>
                  <a:pt x="390" y="687"/>
                  <a:pt x="390" y="687"/>
                </a:cubicBezTo>
                <a:cubicBezTo>
                  <a:pt x="390" y="688"/>
                  <a:pt x="390" y="688"/>
                  <a:pt x="390" y="688"/>
                </a:cubicBezTo>
                <a:cubicBezTo>
                  <a:pt x="392" y="688"/>
                  <a:pt x="392" y="688"/>
                  <a:pt x="392" y="688"/>
                </a:cubicBezTo>
                <a:cubicBezTo>
                  <a:pt x="394" y="689"/>
                  <a:pt x="394" y="689"/>
                  <a:pt x="394" y="689"/>
                </a:cubicBezTo>
                <a:cubicBezTo>
                  <a:pt x="394" y="690"/>
                  <a:pt x="394" y="690"/>
                  <a:pt x="394" y="690"/>
                </a:cubicBezTo>
                <a:cubicBezTo>
                  <a:pt x="393" y="692"/>
                  <a:pt x="393" y="692"/>
                  <a:pt x="393" y="692"/>
                </a:cubicBezTo>
                <a:cubicBezTo>
                  <a:pt x="393" y="694"/>
                  <a:pt x="393" y="694"/>
                  <a:pt x="393" y="694"/>
                </a:cubicBezTo>
                <a:cubicBezTo>
                  <a:pt x="394" y="696"/>
                  <a:pt x="394" y="696"/>
                  <a:pt x="394" y="696"/>
                </a:cubicBezTo>
                <a:cubicBezTo>
                  <a:pt x="395" y="699"/>
                  <a:pt x="395" y="699"/>
                  <a:pt x="395" y="699"/>
                </a:cubicBezTo>
                <a:cubicBezTo>
                  <a:pt x="395" y="701"/>
                  <a:pt x="395" y="701"/>
                  <a:pt x="395" y="701"/>
                </a:cubicBezTo>
                <a:cubicBezTo>
                  <a:pt x="396" y="703"/>
                  <a:pt x="396" y="703"/>
                  <a:pt x="396" y="703"/>
                </a:cubicBezTo>
                <a:cubicBezTo>
                  <a:pt x="395" y="705"/>
                  <a:pt x="395" y="705"/>
                  <a:pt x="395" y="705"/>
                </a:cubicBezTo>
                <a:cubicBezTo>
                  <a:pt x="396" y="707"/>
                  <a:pt x="396" y="707"/>
                  <a:pt x="396" y="707"/>
                </a:cubicBezTo>
                <a:cubicBezTo>
                  <a:pt x="399" y="710"/>
                  <a:pt x="399" y="710"/>
                  <a:pt x="399" y="710"/>
                </a:cubicBezTo>
                <a:cubicBezTo>
                  <a:pt x="398" y="711"/>
                  <a:pt x="398" y="711"/>
                  <a:pt x="398" y="711"/>
                </a:cubicBezTo>
                <a:cubicBezTo>
                  <a:pt x="398" y="712"/>
                  <a:pt x="398" y="712"/>
                  <a:pt x="398" y="712"/>
                </a:cubicBezTo>
                <a:cubicBezTo>
                  <a:pt x="398" y="713"/>
                  <a:pt x="398" y="713"/>
                  <a:pt x="398" y="713"/>
                </a:cubicBezTo>
                <a:cubicBezTo>
                  <a:pt x="399" y="713"/>
                  <a:pt x="399" y="713"/>
                  <a:pt x="399" y="713"/>
                </a:cubicBezTo>
                <a:cubicBezTo>
                  <a:pt x="400" y="714"/>
                  <a:pt x="400" y="714"/>
                  <a:pt x="400" y="714"/>
                </a:cubicBezTo>
                <a:cubicBezTo>
                  <a:pt x="401" y="718"/>
                  <a:pt x="401" y="718"/>
                  <a:pt x="401" y="718"/>
                </a:cubicBezTo>
                <a:cubicBezTo>
                  <a:pt x="402" y="718"/>
                  <a:pt x="402" y="718"/>
                  <a:pt x="402" y="718"/>
                </a:cubicBezTo>
                <a:cubicBezTo>
                  <a:pt x="403" y="720"/>
                  <a:pt x="403" y="720"/>
                  <a:pt x="403" y="720"/>
                </a:cubicBezTo>
                <a:cubicBezTo>
                  <a:pt x="403" y="722"/>
                  <a:pt x="403" y="722"/>
                  <a:pt x="403" y="722"/>
                </a:cubicBezTo>
                <a:cubicBezTo>
                  <a:pt x="404" y="723"/>
                  <a:pt x="404" y="723"/>
                  <a:pt x="404" y="723"/>
                </a:cubicBezTo>
                <a:cubicBezTo>
                  <a:pt x="405" y="724"/>
                  <a:pt x="405" y="724"/>
                  <a:pt x="405" y="724"/>
                </a:cubicBezTo>
                <a:cubicBezTo>
                  <a:pt x="406" y="726"/>
                  <a:pt x="406" y="726"/>
                  <a:pt x="406" y="726"/>
                </a:cubicBezTo>
                <a:cubicBezTo>
                  <a:pt x="407" y="728"/>
                  <a:pt x="407" y="728"/>
                  <a:pt x="407" y="728"/>
                </a:cubicBezTo>
                <a:cubicBezTo>
                  <a:pt x="408" y="729"/>
                  <a:pt x="408" y="729"/>
                  <a:pt x="408" y="729"/>
                </a:cubicBezTo>
                <a:cubicBezTo>
                  <a:pt x="409" y="730"/>
                  <a:pt x="409" y="730"/>
                  <a:pt x="409" y="730"/>
                </a:cubicBezTo>
                <a:cubicBezTo>
                  <a:pt x="410" y="730"/>
                  <a:pt x="410" y="730"/>
                  <a:pt x="410" y="730"/>
                </a:cubicBezTo>
                <a:cubicBezTo>
                  <a:pt x="411" y="730"/>
                  <a:pt x="411" y="730"/>
                  <a:pt x="411" y="730"/>
                </a:cubicBezTo>
                <a:cubicBezTo>
                  <a:pt x="412" y="730"/>
                  <a:pt x="412" y="730"/>
                  <a:pt x="412" y="730"/>
                </a:cubicBezTo>
                <a:cubicBezTo>
                  <a:pt x="413" y="731"/>
                  <a:pt x="413" y="731"/>
                  <a:pt x="413" y="731"/>
                </a:cubicBezTo>
                <a:cubicBezTo>
                  <a:pt x="413" y="733"/>
                  <a:pt x="413" y="733"/>
                  <a:pt x="413" y="733"/>
                </a:cubicBezTo>
                <a:cubicBezTo>
                  <a:pt x="412" y="734"/>
                  <a:pt x="412" y="734"/>
                  <a:pt x="412" y="734"/>
                </a:cubicBezTo>
                <a:cubicBezTo>
                  <a:pt x="413" y="737"/>
                  <a:pt x="413" y="737"/>
                  <a:pt x="413" y="737"/>
                </a:cubicBezTo>
                <a:cubicBezTo>
                  <a:pt x="416" y="740"/>
                  <a:pt x="416" y="740"/>
                  <a:pt x="416" y="740"/>
                </a:cubicBezTo>
                <a:cubicBezTo>
                  <a:pt x="418" y="740"/>
                  <a:pt x="418" y="740"/>
                  <a:pt x="418" y="740"/>
                </a:cubicBezTo>
                <a:cubicBezTo>
                  <a:pt x="419" y="740"/>
                  <a:pt x="419" y="740"/>
                  <a:pt x="419" y="740"/>
                </a:cubicBezTo>
                <a:cubicBezTo>
                  <a:pt x="418" y="742"/>
                  <a:pt x="418" y="742"/>
                  <a:pt x="418" y="742"/>
                </a:cubicBezTo>
                <a:cubicBezTo>
                  <a:pt x="419" y="744"/>
                  <a:pt x="419" y="744"/>
                  <a:pt x="419" y="744"/>
                </a:cubicBezTo>
                <a:cubicBezTo>
                  <a:pt x="421" y="744"/>
                  <a:pt x="421" y="744"/>
                  <a:pt x="421" y="744"/>
                </a:cubicBezTo>
                <a:cubicBezTo>
                  <a:pt x="423" y="744"/>
                  <a:pt x="423" y="744"/>
                  <a:pt x="423" y="744"/>
                </a:cubicBezTo>
                <a:cubicBezTo>
                  <a:pt x="424" y="746"/>
                  <a:pt x="424" y="746"/>
                  <a:pt x="424" y="746"/>
                </a:cubicBezTo>
                <a:cubicBezTo>
                  <a:pt x="425" y="748"/>
                  <a:pt x="425" y="748"/>
                  <a:pt x="425" y="748"/>
                </a:cubicBezTo>
                <a:cubicBezTo>
                  <a:pt x="426" y="749"/>
                  <a:pt x="426" y="749"/>
                  <a:pt x="426" y="749"/>
                </a:cubicBezTo>
                <a:cubicBezTo>
                  <a:pt x="427" y="748"/>
                  <a:pt x="427" y="748"/>
                  <a:pt x="427" y="748"/>
                </a:cubicBezTo>
                <a:cubicBezTo>
                  <a:pt x="427" y="749"/>
                  <a:pt x="427" y="749"/>
                  <a:pt x="427" y="749"/>
                </a:cubicBezTo>
                <a:cubicBezTo>
                  <a:pt x="427" y="750"/>
                  <a:pt x="427" y="750"/>
                  <a:pt x="427" y="750"/>
                </a:cubicBezTo>
                <a:cubicBezTo>
                  <a:pt x="427" y="751"/>
                  <a:pt x="427" y="751"/>
                  <a:pt x="427" y="751"/>
                </a:cubicBezTo>
                <a:cubicBezTo>
                  <a:pt x="426" y="750"/>
                  <a:pt x="426" y="750"/>
                  <a:pt x="426" y="750"/>
                </a:cubicBezTo>
                <a:cubicBezTo>
                  <a:pt x="424" y="750"/>
                  <a:pt x="424" y="750"/>
                  <a:pt x="424" y="750"/>
                </a:cubicBezTo>
                <a:cubicBezTo>
                  <a:pt x="423" y="752"/>
                  <a:pt x="423" y="752"/>
                  <a:pt x="423" y="752"/>
                </a:cubicBezTo>
                <a:cubicBezTo>
                  <a:pt x="422" y="755"/>
                  <a:pt x="422" y="755"/>
                  <a:pt x="422" y="755"/>
                </a:cubicBezTo>
                <a:cubicBezTo>
                  <a:pt x="422" y="757"/>
                  <a:pt x="422" y="757"/>
                  <a:pt x="422" y="757"/>
                </a:cubicBezTo>
                <a:cubicBezTo>
                  <a:pt x="424" y="758"/>
                  <a:pt x="424" y="758"/>
                  <a:pt x="424" y="758"/>
                </a:cubicBezTo>
                <a:cubicBezTo>
                  <a:pt x="425" y="758"/>
                  <a:pt x="425" y="758"/>
                  <a:pt x="425" y="758"/>
                </a:cubicBezTo>
                <a:cubicBezTo>
                  <a:pt x="427" y="759"/>
                  <a:pt x="427" y="759"/>
                  <a:pt x="427" y="759"/>
                </a:cubicBezTo>
                <a:cubicBezTo>
                  <a:pt x="431" y="762"/>
                  <a:pt x="431" y="762"/>
                  <a:pt x="431" y="762"/>
                </a:cubicBezTo>
                <a:cubicBezTo>
                  <a:pt x="433" y="763"/>
                  <a:pt x="433" y="763"/>
                  <a:pt x="433" y="763"/>
                </a:cubicBezTo>
                <a:cubicBezTo>
                  <a:pt x="434" y="763"/>
                  <a:pt x="434" y="763"/>
                  <a:pt x="434" y="763"/>
                </a:cubicBezTo>
                <a:cubicBezTo>
                  <a:pt x="435" y="764"/>
                  <a:pt x="435" y="764"/>
                  <a:pt x="435" y="764"/>
                </a:cubicBezTo>
                <a:cubicBezTo>
                  <a:pt x="435" y="766"/>
                  <a:pt x="435" y="766"/>
                  <a:pt x="435" y="766"/>
                </a:cubicBezTo>
                <a:cubicBezTo>
                  <a:pt x="436" y="767"/>
                  <a:pt x="436" y="767"/>
                  <a:pt x="436" y="767"/>
                </a:cubicBezTo>
                <a:cubicBezTo>
                  <a:pt x="435" y="769"/>
                  <a:pt x="435" y="769"/>
                  <a:pt x="435" y="769"/>
                </a:cubicBezTo>
                <a:cubicBezTo>
                  <a:pt x="434" y="770"/>
                  <a:pt x="434" y="770"/>
                  <a:pt x="434" y="770"/>
                </a:cubicBezTo>
                <a:cubicBezTo>
                  <a:pt x="434" y="770"/>
                  <a:pt x="434" y="770"/>
                  <a:pt x="434" y="770"/>
                </a:cubicBezTo>
                <a:cubicBezTo>
                  <a:pt x="436" y="771"/>
                  <a:pt x="436" y="771"/>
                  <a:pt x="436" y="771"/>
                </a:cubicBezTo>
                <a:cubicBezTo>
                  <a:pt x="439" y="773"/>
                  <a:pt x="439" y="773"/>
                  <a:pt x="439" y="773"/>
                </a:cubicBezTo>
                <a:cubicBezTo>
                  <a:pt x="439" y="774"/>
                  <a:pt x="439" y="774"/>
                  <a:pt x="439" y="774"/>
                </a:cubicBezTo>
                <a:cubicBezTo>
                  <a:pt x="440" y="774"/>
                  <a:pt x="440" y="774"/>
                  <a:pt x="440" y="774"/>
                </a:cubicBezTo>
                <a:cubicBezTo>
                  <a:pt x="443" y="777"/>
                  <a:pt x="443" y="777"/>
                  <a:pt x="443" y="777"/>
                </a:cubicBezTo>
                <a:cubicBezTo>
                  <a:pt x="446" y="781"/>
                  <a:pt x="446" y="781"/>
                  <a:pt x="446" y="781"/>
                </a:cubicBezTo>
                <a:cubicBezTo>
                  <a:pt x="448" y="785"/>
                  <a:pt x="448" y="785"/>
                  <a:pt x="448" y="785"/>
                </a:cubicBezTo>
                <a:cubicBezTo>
                  <a:pt x="451" y="788"/>
                  <a:pt x="451" y="788"/>
                  <a:pt x="451" y="788"/>
                </a:cubicBezTo>
                <a:cubicBezTo>
                  <a:pt x="451" y="790"/>
                  <a:pt x="451" y="790"/>
                  <a:pt x="451" y="790"/>
                </a:cubicBezTo>
                <a:cubicBezTo>
                  <a:pt x="455" y="795"/>
                  <a:pt x="455" y="795"/>
                  <a:pt x="455" y="795"/>
                </a:cubicBezTo>
                <a:cubicBezTo>
                  <a:pt x="455" y="797"/>
                  <a:pt x="455" y="797"/>
                  <a:pt x="455" y="797"/>
                </a:cubicBezTo>
                <a:cubicBezTo>
                  <a:pt x="455" y="799"/>
                  <a:pt x="455" y="799"/>
                  <a:pt x="455" y="799"/>
                </a:cubicBezTo>
                <a:cubicBezTo>
                  <a:pt x="455" y="800"/>
                  <a:pt x="455" y="800"/>
                  <a:pt x="455" y="800"/>
                </a:cubicBezTo>
                <a:cubicBezTo>
                  <a:pt x="457" y="803"/>
                  <a:pt x="457" y="803"/>
                  <a:pt x="457" y="803"/>
                </a:cubicBezTo>
                <a:cubicBezTo>
                  <a:pt x="459" y="809"/>
                  <a:pt x="459" y="809"/>
                  <a:pt x="459" y="809"/>
                </a:cubicBezTo>
                <a:cubicBezTo>
                  <a:pt x="459" y="811"/>
                  <a:pt x="459" y="811"/>
                  <a:pt x="459" y="811"/>
                </a:cubicBezTo>
                <a:cubicBezTo>
                  <a:pt x="458" y="813"/>
                  <a:pt x="458" y="813"/>
                  <a:pt x="458" y="813"/>
                </a:cubicBezTo>
                <a:cubicBezTo>
                  <a:pt x="455" y="815"/>
                  <a:pt x="455" y="815"/>
                  <a:pt x="455" y="815"/>
                </a:cubicBezTo>
                <a:cubicBezTo>
                  <a:pt x="455" y="816"/>
                  <a:pt x="455" y="816"/>
                  <a:pt x="455" y="816"/>
                </a:cubicBezTo>
                <a:cubicBezTo>
                  <a:pt x="456" y="816"/>
                  <a:pt x="456" y="816"/>
                  <a:pt x="456" y="816"/>
                </a:cubicBezTo>
                <a:cubicBezTo>
                  <a:pt x="457" y="817"/>
                  <a:pt x="457" y="817"/>
                  <a:pt x="457" y="817"/>
                </a:cubicBezTo>
                <a:cubicBezTo>
                  <a:pt x="456" y="818"/>
                  <a:pt x="456" y="818"/>
                  <a:pt x="456" y="818"/>
                </a:cubicBezTo>
                <a:cubicBezTo>
                  <a:pt x="454" y="818"/>
                  <a:pt x="454" y="818"/>
                  <a:pt x="454" y="818"/>
                </a:cubicBezTo>
                <a:cubicBezTo>
                  <a:pt x="453" y="819"/>
                  <a:pt x="453" y="819"/>
                  <a:pt x="453" y="819"/>
                </a:cubicBezTo>
                <a:cubicBezTo>
                  <a:pt x="453" y="820"/>
                  <a:pt x="453" y="820"/>
                  <a:pt x="453" y="820"/>
                </a:cubicBezTo>
                <a:cubicBezTo>
                  <a:pt x="454" y="823"/>
                  <a:pt x="454" y="823"/>
                  <a:pt x="454" y="823"/>
                </a:cubicBezTo>
                <a:cubicBezTo>
                  <a:pt x="456" y="825"/>
                  <a:pt x="456" y="825"/>
                  <a:pt x="456" y="825"/>
                </a:cubicBezTo>
                <a:cubicBezTo>
                  <a:pt x="456" y="826"/>
                  <a:pt x="456" y="826"/>
                  <a:pt x="456" y="826"/>
                </a:cubicBezTo>
                <a:cubicBezTo>
                  <a:pt x="458" y="829"/>
                  <a:pt x="458" y="829"/>
                  <a:pt x="458" y="829"/>
                </a:cubicBezTo>
                <a:cubicBezTo>
                  <a:pt x="458" y="831"/>
                  <a:pt x="458" y="831"/>
                  <a:pt x="458" y="831"/>
                </a:cubicBezTo>
                <a:cubicBezTo>
                  <a:pt x="459" y="832"/>
                  <a:pt x="459" y="832"/>
                  <a:pt x="459" y="832"/>
                </a:cubicBezTo>
                <a:cubicBezTo>
                  <a:pt x="461" y="832"/>
                  <a:pt x="461" y="832"/>
                  <a:pt x="461" y="832"/>
                </a:cubicBezTo>
                <a:cubicBezTo>
                  <a:pt x="461" y="833"/>
                  <a:pt x="461" y="833"/>
                  <a:pt x="461" y="833"/>
                </a:cubicBezTo>
                <a:cubicBezTo>
                  <a:pt x="465" y="834"/>
                  <a:pt x="465" y="834"/>
                  <a:pt x="465" y="834"/>
                </a:cubicBezTo>
                <a:cubicBezTo>
                  <a:pt x="467" y="833"/>
                  <a:pt x="467" y="833"/>
                  <a:pt x="467" y="833"/>
                </a:cubicBezTo>
                <a:cubicBezTo>
                  <a:pt x="468" y="834"/>
                  <a:pt x="468" y="834"/>
                  <a:pt x="468" y="834"/>
                </a:cubicBezTo>
                <a:cubicBezTo>
                  <a:pt x="467" y="835"/>
                  <a:pt x="467" y="835"/>
                  <a:pt x="467" y="835"/>
                </a:cubicBezTo>
                <a:cubicBezTo>
                  <a:pt x="467" y="836"/>
                  <a:pt x="467" y="836"/>
                  <a:pt x="467" y="836"/>
                </a:cubicBezTo>
                <a:cubicBezTo>
                  <a:pt x="469" y="837"/>
                  <a:pt x="469" y="837"/>
                  <a:pt x="469" y="837"/>
                </a:cubicBezTo>
                <a:cubicBezTo>
                  <a:pt x="472" y="839"/>
                  <a:pt x="472" y="839"/>
                  <a:pt x="472" y="839"/>
                </a:cubicBezTo>
                <a:cubicBezTo>
                  <a:pt x="474" y="842"/>
                  <a:pt x="474" y="842"/>
                  <a:pt x="474" y="842"/>
                </a:cubicBezTo>
                <a:cubicBezTo>
                  <a:pt x="475" y="844"/>
                  <a:pt x="475" y="844"/>
                  <a:pt x="475" y="844"/>
                </a:cubicBezTo>
                <a:cubicBezTo>
                  <a:pt x="477" y="845"/>
                  <a:pt x="477" y="845"/>
                  <a:pt x="477" y="845"/>
                </a:cubicBezTo>
                <a:cubicBezTo>
                  <a:pt x="478" y="845"/>
                  <a:pt x="478" y="845"/>
                  <a:pt x="478" y="845"/>
                </a:cubicBezTo>
                <a:cubicBezTo>
                  <a:pt x="480" y="845"/>
                  <a:pt x="480" y="845"/>
                  <a:pt x="480" y="845"/>
                </a:cubicBezTo>
                <a:cubicBezTo>
                  <a:pt x="481" y="846"/>
                  <a:pt x="481" y="846"/>
                  <a:pt x="481" y="846"/>
                </a:cubicBezTo>
                <a:cubicBezTo>
                  <a:pt x="485" y="847"/>
                  <a:pt x="485" y="847"/>
                  <a:pt x="485" y="847"/>
                </a:cubicBezTo>
                <a:cubicBezTo>
                  <a:pt x="487" y="847"/>
                  <a:pt x="487" y="847"/>
                  <a:pt x="487" y="847"/>
                </a:cubicBezTo>
                <a:cubicBezTo>
                  <a:pt x="487" y="846"/>
                  <a:pt x="487" y="846"/>
                  <a:pt x="487" y="846"/>
                </a:cubicBezTo>
                <a:cubicBezTo>
                  <a:pt x="488" y="846"/>
                  <a:pt x="488" y="846"/>
                  <a:pt x="488" y="846"/>
                </a:cubicBezTo>
                <a:cubicBezTo>
                  <a:pt x="489" y="847"/>
                  <a:pt x="489" y="847"/>
                  <a:pt x="489" y="847"/>
                </a:cubicBezTo>
                <a:cubicBezTo>
                  <a:pt x="494" y="852"/>
                  <a:pt x="494" y="852"/>
                  <a:pt x="494" y="852"/>
                </a:cubicBezTo>
                <a:cubicBezTo>
                  <a:pt x="496" y="853"/>
                  <a:pt x="496" y="853"/>
                  <a:pt x="496" y="853"/>
                </a:cubicBezTo>
                <a:cubicBezTo>
                  <a:pt x="499" y="855"/>
                  <a:pt x="499" y="855"/>
                  <a:pt x="499" y="855"/>
                </a:cubicBezTo>
                <a:cubicBezTo>
                  <a:pt x="503" y="857"/>
                  <a:pt x="503" y="857"/>
                  <a:pt x="503" y="857"/>
                </a:cubicBezTo>
                <a:cubicBezTo>
                  <a:pt x="508" y="858"/>
                  <a:pt x="508" y="858"/>
                  <a:pt x="508" y="858"/>
                </a:cubicBezTo>
                <a:cubicBezTo>
                  <a:pt x="510" y="859"/>
                  <a:pt x="510" y="859"/>
                  <a:pt x="510" y="859"/>
                </a:cubicBezTo>
                <a:cubicBezTo>
                  <a:pt x="512" y="861"/>
                  <a:pt x="512" y="861"/>
                  <a:pt x="512" y="861"/>
                </a:cubicBezTo>
                <a:cubicBezTo>
                  <a:pt x="514" y="861"/>
                  <a:pt x="514" y="861"/>
                  <a:pt x="514" y="861"/>
                </a:cubicBezTo>
                <a:cubicBezTo>
                  <a:pt x="517" y="863"/>
                  <a:pt x="517" y="863"/>
                  <a:pt x="517" y="863"/>
                </a:cubicBezTo>
                <a:cubicBezTo>
                  <a:pt x="519" y="862"/>
                  <a:pt x="519" y="862"/>
                  <a:pt x="519" y="862"/>
                </a:cubicBezTo>
                <a:cubicBezTo>
                  <a:pt x="519" y="863"/>
                  <a:pt x="519" y="863"/>
                  <a:pt x="519" y="863"/>
                </a:cubicBezTo>
                <a:cubicBezTo>
                  <a:pt x="521" y="865"/>
                  <a:pt x="521" y="865"/>
                  <a:pt x="521" y="865"/>
                </a:cubicBezTo>
                <a:cubicBezTo>
                  <a:pt x="523" y="866"/>
                  <a:pt x="523" y="866"/>
                  <a:pt x="523" y="866"/>
                </a:cubicBezTo>
                <a:cubicBezTo>
                  <a:pt x="525" y="866"/>
                  <a:pt x="525" y="866"/>
                  <a:pt x="525" y="866"/>
                </a:cubicBezTo>
                <a:cubicBezTo>
                  <a:pt x="526" y="866"/>
                  <a:pt x="526" y="866"/>
                  <a:pt x="526" y="866"/>
                </a:cubicBezTo>
                <a:cubicBezTo>
                  <a:pt x="527" y="867"/>
                  <a:pt x="527" y="867"/>
                  <a:pt x="527" y="867"/>
                </a:cubicBezTo>
                <a:cubicBezTo>
                  <a:pt x="531" y="869"/>
                  <a:pt x="531" y="869"/>
                  <a:pt x="531" y="869"/>
                </a:cubicBezTo>
                <a:cubicBezTo>
                  <a:pt x="535" y="869"/>
                  <a:pt x="535" y="869"/>
                  <a:pt x="535" y="869"/>
                </a:cubicBezTo>
                <a:cubicBezTo>
                  <a:pt x="537" y="870"/>
                  <a:pt x="537" y="870"/>
                  <a:pt x="537" y="870"/>
                </a:cubicBezTo>
                <a:cubicBezTo>
                  <a:pt x="542" y="872"/>
                  <a:pt x="542" y="872"/>
                  <a:pt x="542" y="872"/>
                </a:cubicBezTo>
                <a:cubicBezTo>
                  <a:pt x="544" y="872"/>
                  <a:pt x="544" y="872"/>
                  <a:pt x="544" y="872"/>
                </a:cubicBezTo>
                <a:cubicBezTo>
                  <a:pt x="550" y="869"/>
                  <a:pt x="550" y="869"/>
                  <a:pt x="550" y="869"/>
                </a:cubicBezTo>
                <a:cubicBezTo>
                  <a:pt x="552" y="869"/>
                  <a:pt x="552" y="869"/>
                  <a:pt x="552" y="869"/>
                </a:cubicBezTo>
                <a:cubicBezTo>
                  <a:pt x="555" y="868"/>
                  <a:pt x="555" y="868"/>
                  <a:pt x="555" y="868"/>
                </a:cubicBezTo>
                <a:cubicBezTo>
                  <a:pt x="557" y="867"/>
                  <a:pt x="557" y="867"/>
                  <a:pt x="557" y="867"/>
                </a:cubicBezTo>
                <a:cubicBezTo>
                  <a:pt x="559" y="867"/>
                  <a:pt x="559" y="867"/>
                  <a:pt x="559" y="867"/>
                </a:cubicBezTo>
                <a:cubicBezTo>
                  <a:pt x="560" y="867"/>
                  <a:pt x="560" y="867"/>
                  <a:pt x="560" y="867"/>
                </a:cubicBezTo>
                <a:cubicBezTo>
                  <a:pt x="560" y="866"/>
                  <a:pt x="560" y="866"/>
                  <a:pt x="560" y="866"/>
                </a:cubicBezTo>
                <a:cubicBezTo>
                  <a:pt x="558" y="866"/>
                  <a:pt x="558" y="866"/>
                  <a:pt x="558" y="866"/>
                </a:cubicBezTo>
                <a:cubicBezTo>
                  <a:pt x="557" y="866"/>
                  <a:pt x="557" y="866"/>
                  <a:pt x="557" y="866"/>
                </a:cubicBezTo>
                <a:cubicBezTo>
                  <a:pt x="557" y="865"/>
                  <a:pt x="557" y="865"/>
                  <a:pt x="557" y="865"/>
                </a:cubicBezTo>
                <a:cubicBezTo>
                  <a:pt x="559" y="864"/>
                  <a:pt x="559" y="864"/>
                  <a:pt x="559" y="864"/>
                </a:cubicBezTo>
                <a:cubicBezTo>
                  <a:pt x="560" y="864"/>
                  <a:pt x="560" y="864"/>
                  <a:pt x="560" y="864"/>
                </a:cubicBezTo>
                <a:cubicBezTo>
                  <a:pt x="560" y="865"/>
                  <a:pt x="560" y="865"/>
                  <a:pt x="560" y="865"/>
                </a:cubicBezTo>
                <a:cubicBezTo>
                  <a:pt x="561" y="865"/>
                  <a:pt x="561" y="865"/>
                  <a:pt x="561" y="865"/>
                </a:cubicBezTo>
                <a:cubicBezTo>
                  <a:pt x="562" y="865"/>
                  <a:pt x="562" y="865"/>
                  <a:pt x="562" y="865"/>
                </a:cubicBezTo>
                <a:cubicBezTo>
                  <a:pt x="562" y="866"/>
                  <a:pt x="562" y="866"/>
                  <a:pt x="562" y="866"/>
                </a:cubicBezTo>
                <a:cubicBezTo>
                  <a:pt x="561" y="866"/>
                  <a:pt x="561" y="866"/>
                  <a:pt x="561" y="866"/>
                </a:cubicBezTo>
                <a:cubicBezTo>
                  <a:pt x="561" y="866"/>
                  <a:pt x="561" y="866"/>
                  <a:pt x="561" y="866"/>
                </a:cubicBezTo>
                <a:cubicBezTo>
                  <a:pt x="561" y="866"/>
                  <a:pt x="561" y="866"/>
                  <a:pt x="561" y="866"/>
                </a:cubicBezTo>
                <a:cubicBezTo>
                  <a:pt x="563" y="866"/>
                  <a:pt x="563" y="866"/>
                  <a:pt x="563" y="866"/>
                </a:cubicBezTo>
                <a:cubicBezTo>
                  <a:pt x="565" y="867"/>
                  <a:pt x="565" y="867"/>
                  <a:pt x="565" y="867"/>
                </a:cubicBezTo>
                <a:cubicBezTo>
                  <a:pt x="568" y="869"/>
                  <a:pt x="568" y="869"/>
                  <a:pt x="568" y="869"/>
                </a:cubicBezTo>
                <a:cubicBezTo>
                  <a:pt x="569" y="870"/>
                  <a:pt x="569" y="870"/>
                  <a:pt x="569" y="870"/>
                </a:cubicBezTo>
                <a:cubicBezTo>
                  <a:pt x="569" y="870"/>
                  <a:pt x="569" y="870"/>
                  <a:pt x="569" y="870"/>
                </a:cubicBezTo>
                <a:cubicBezTo>
                  <a:pt x="567" y="867"/>
                  <a:pt x="567" y="867"/>
                  <a:pt x="567" y="867"/>
                </a:cubicBezTo>
                <a:cubicBezTo>
                  <a:pt x="564" y="866"/>
                  <a:pt x="564" y="866"/>
                  <a:pt x="564" y="866"/>
                </a:cubicBezTo>
                <a:cubicBezTo>
                  <a:pt x="563" y="865"/>
                  <a:pt x="563" y="865"/>
                  <a:pt x="563" y="865"/>
                </a:cubicBezTo>
                <a:cubicBezTo>
                  <a:pt x="564" y="865"/>
                  <a:pt x="564" y="865"/>
                  <a:pt x="564" y="865"/>
                </a:cubicBezTo>
                <a:cubicBezTo>
                  <a:pt x="564" y="866"/>
                  <a:pt x="564" y="866"/>
                  <a:pt x="564" y="866"/>
                </a:cubicBezTo>
                <a:cubicBezTo>
                  <a:pt x="566" y="866"/>
                  <a:pt x="566" y="866"/>
                  <a:pt x="566" y="866"/>
                </a:cubicBezTo>
                <a:cubicBezTo>
                  <a:pt x="568" y="868"/>
                  <a:pt x="568" y="868"/>
                  <a:pt x="568" y="868"/>
                </a:cubicBezTo>
                <a:cubicBezTo>
                  <a:pt x="570" y="870"/>
                  <a:pt x="570" y="870"/>
                  <a:pt x="570" y="870"/>
                </a:cubicBezTo>
                <a:cubicBezTo>
                  <a:pt x="570" y="871"/>
                  <a:pt x="570" y="871"/>
                  <a:pt x="570" y="871"/>
                </a:cubicBezTo>
                <a:cubicBezTo>
                  <a:pt x="571" y="872"/>
                  <a:pt x="571" y="872"/>
                  <a:pt x="571" y="872"/>
                </a:cubicBezTo>
                <a:cubicBezTo>
                  <a:pt x="578" y="878"/>
                  <a:pt x="578" y="878"/>
                  <a:pt x="578" y="878"/>
                </a:cubicBezTo>
                <a:cubicBezTo>
                  <a:pt x="580" y="878"/>
                  <a:pt x="580" y="878"/>
                  <a:pt x="580" y="878"/>
                </a:cubicBezTo>
                <a:cubicBezTo>
                  <a:pt x="580" y="879"/>
                  <a:pt x="580" y="879"/>
                  <a:pt x="580" y="879"/>
                </a:cubicBezTo>
                <a:cubicBezTo>
                  <a:pt x="583" y="882"/>
                  <a:pt x="583" y="882"/>
                  <a:pt x="583" y="882"/>
                </a:cubicBezTo>
                <a:cubicBezTo>
                  <a:pt x="585" y="884"/>
                  <a:pt x="585" y="884"/>
                  <a:pt x="585" y="884"/>
                </a:cubicBezTo>
                <a:cubicBezTo>
                  <a:pt x="586" y="886"/>
                  <a:pt x="586" y="886"/>
                  <a:pt x="586" y="886"/>
                </a:cubicBezTo>
                <a:cubicBezTo>
                  <a:pt x="588" y="888"/>
                  <a:pt x="588" y="888"/>
                  <a:pt x="588" y="888"/>
                </a:cubicBezTo>
                <a:cubicBezTo>
                  <a:pt x="589" y="888"/>
                  <a:pt x="589" y="888"/>
                  <a:pt x="589" y="888"/>
                </a:cubicBezTo>
                <a:cubicBezTo>
                  <a:pt x="591" y="889"/>
                  <a:pt x="591" y="889"/>
                  <a:pt x="591" y="889"/>
                </a:cubicBezTo>
                <a:cubicBezTo>
                  <a:pt x="596" y="891"/>
                  <a:pt x="596" y="891"/>
                  <a:pt x="596" y="891"/>
                </a:cubicBezTo>
                <a:cubicBezTo>
                  <a:pt x="599" y="892"/>
                  <a:pt x="599" y="892"/>
                  <a:pt x="599" y="892"/>
                </a:cubicBezTo>
                <a:cubicBezTo>
                  <a:pt x="601" y="891"/>
                  <a:pt x="601" y="891"/>
                  <a:pt x="601" y="891"/>
                </a:cubicBezTo>
                <a:cubicBezTo>
                  <a:pt x="605" y="893"/>
                  <a:pt x="605" y="893"/>
                  <a:pt x="605" y="893"/>
                </a:cubicBezTo>
                <a:cubicBezTo>
                  <a:pt x="606" y="893"/>
                  <a:pt x="606" y="893"/>
                  <a:pt x="606" y="893"/>
                </a:cubicBezTo>
                <a:cubicBezTo>
                  <a:pt x="608" y="893"/>
                  <a:pt x="608" y="893"/>
                  <a:pt x="608" y="893"/>
                </a:cubicBezTo>
                <a:cubicBezTo>
                  <a:pt x="610" y="894"/>
                  <a:pt x="610" y="894"/>
                  <a:pt x="610" y="894"/>
                </a:cubicBezTo>
                <a:cubicBezTo>
                  <a:pt x="612" y="895"/>
                  <a:pt x="612" y="895"/>
                  <a:pt x="612" y="895"/>
                </a:cubicBezTo>
                <a:cubicBezTo>
                  <a:pt x="613" y="895"/>
                  <a:pt x="613" y="895"/>
                  <a:pt x="613" y="895"/>
                </a:cubicBezTo>
                <a:cubicBezTo>
                  <a:pt x="617" y="896"/>
                  <a:pt x="617" y="896"/>
                  <a:pt x="617" y="896"/>
                </a:cubicBezTo>
                <a:cubicBezTo>
                  <a:pt x="620" y="898"/>
                  <a:pt x="620" y="898"/>
                  <a:pt x="620" y="898"/>
                </a:cubicBezTo>
                <a:cubicBezTo>
                  <a:pt x="620" y="897"/>
                  <a:pt x="620" y="897"/>
                  <a:pt x="620" y="897"/>
                </a:cubicBezTo>
                <a:cubicBezTo>
                  <a:pt x="619" y="896"/>
                  <a:pt x="619" y="896"/>
                  <a:pt x="619" y="896"/>
                </a:cubicBezTo>
                <a:cubicBezTo>
                  <a:pt x="620" y="896"/>
                  <a:pt x="620" y="896"/>
                  <a:pt x="620" y="896"/>
                </a:cubicBezTo>
                <a:cubicBezTo>
                  <a:pt x="621" y="896"/>
                  <a:pt x="621" y="896"/>
                  <a:pt x="621" y="896"/>
                </a:cubicBezTo>
                <a:cubicBezTo>
                  <a:pt x="623" y="898"/>
                  <a:pt x="623" y="898"/>
                  <a:pt x="623" y="898"/>
                </a:cubicBezTo>
                <a:cubicBezTo>
                  <a:pt x="624" y="899"/>
                  <a:pt x="624" y="899"/>
                  <a:pt x="624" y="899"/>
                </a:cubicBezTo>
                <a:cubicBezTo>
                  <a:pt x="629" y="899"/>
                  <a:pt x="629" y="899"/>
                  <a:pt x="629" y="899"/>
                </a:cubicBezTo>
                <a:cubicBezTo>
                  <a:pt x="630" y="897"/>
                  <a:pt x="630" y="897"/>
                  <a:pt x="630" y="897"/>
                </a:cubicBezTo>
                <a:cubicBezTo>
                  <a:pt x="629" y="896"/>
                  <a:pt x="629" y="896"/>
                  <a:pt x="629" y="896"/>
                </a:cubicBezTo>
                <a:cubicBezTo>
                  <a:pt x="630" y="896"/>
                  <a:pt x="630" y="896"/>
                  <a:pt x="630" y="896"/>
                </a:cubicBezTo>
                <a:cubicBezTo>
                  <a:pt x="630" y="896"/>
                  <a:pt x="630" y="896"/>
                  <a:pt x="630" y="896"/>
                </a:cubicBezTo>
                <a:cubicBezTo>
                  <a:pt x="631" y="896"/>
                  <a:pt x="631" y="896"/>
                  <a:pt x="631" y="896"/>
                </a:cubicBezTo>
                <a:cubicBezTo>
                  <a:pt x="632" y="897"/>
                  <a:pt x="632" y="897"/>
                  <a:pt x="632" y="897"/>
                </a:cubicBezTo>
                <a:cubicBezTo>
                  <a:pt x="633" y="897"/>
                  <a:pt x="633" y="897"/>
                  <a:pt x="633" y="897"/>
                </a:cubicBezTo>
                <a:cubicBezTo>
                  <a:pt x="633" y="896"/>
                  <a:pt x="633" y="896"/>
                  <a:pt x="633" y="896"/>
                </a:cubicBezTo>
                <a:cubicBezTo>
                  <a:pt x="634" y="897"/>
                  <a:pt x="634" y="897"/>
                  <a:pt x="634" y="897"/>
                </a:cubicBezTo>
                <a:cubicBezTo>
                  <a:pt x="634" y="898"/>
                  <a:pt x="634" y="898"/>
                  <a:pt x="634" y="898"/>
                </a:cubicBezTo>
                <a:cubicBezTo>
                  <a:pt x="634" y="899"/>
                  <a:pt x="634" y="899"/>
                  <a:pt x="634" y="899"/>
                </a:cubicBezTo>
                <a:cubicBezTo>
                  <a:pt x="634" y="899"/>
                  <a:pt x="634" y="899"/>
                  <a:pt x="634" y="899"/>
                </a:cubicBezTo>
                <a:cubicBezTo>
                  <a:pt x="634" y="900"/>
                  <a:pt x="634" y="900"/>
                  <a:pt x="634" y="900"/>
                </a:cubicBezTo>
                <a:cubicBezTo>
                  <a:pt x="633" y="900"/>
                  <a:pt x="633" y="900"/>
                  <a:pt x="633" y="900"/>
                </a:cubicBezTo>
                <a:cubicBezTo>
                  <a:pt x="632" y="900"/>
                  <a:pt x="632" y="900"/>
                  <a:pt x="632" y="900"/>
                </a:cubicBezTo>
                <a:cubicBezTo>
                  <a:pt x="631" y="900"/>
                  <a:pt x="631" y="900"/>
                  <a:pt x="631" y="900"/>
                </a:cubicBezTo>
                <a:cubicBezTo>
                  <a:pt x="635" y="905"/>
                  <a:pt x="635" y="905"/>
                  <a:pt x="635" y="905"/>
                </a:cubicBezTo>
                <a:cubicBezTo>
                  <a:pt x="637" y="906"/>
                  <a:pt x="637" y="906"/>
                  <a:pt x="637" y="906"/>
                </a:cubicBezTo>
                <a:cubicBezTo>
                  <a:pt x="637" y="907"/>
                  <a:pt x="637" y="907"/>
                  <a:pt x="637" y="907"/>
                </a:cubicBezTo>
                <a:cubicBezTo>
                  <a:pt x="640" y="910"/>
                  <a:pt x="640" y="910"/>
                  <a:pt x="640" y="910"/>
                </a:cubicBezTo>
                <a:cubicBezTo>
                  <a:pt x="642" y="913"/>
                  <a:pt x="642" y="913"/>
                  <a:pt x="642" y="913"/>
                </a:cubicBezTo>
                <a:cubicBezTo>
                  <a:pt x="647" y="918"/>
                  <a:pt x="647" y="918"/>
                  <a:pt x="647" y="918"/>
                </a:cubicBezTo>
                <a:cubicBezTo>
                  <a:pt x="648" y="919"/>
                  <a:pt x="648" y="919"/>
                  <a:pt x="648" y="919"/>
                </a:cubicBezTo>
                <a:cubicBezTo>
                  <a:pt x="649" y="919"/>
                  <a:pt x="649" y="919"/>
                  <a:pt x="649" y="919"/>
                </a:cubicBezTo>
                <a:cubicBezTo>
                  <a:pt x="649" y="919"/>
                  <a:pt x="649" y="919"/>
                  <a:pt x="649" y="919"/>
                </a:cubicBezTo>
                <a:cubicBezTo>
                  <a:pt x="648" y="922"/>
                  <a:pt x="648" y="922"/>
                  <a:pt x="648" y="922"/>
                </a:cubicBezTo>
                <a:cubicBezTo>
                  <a:pt x="648" y="922"/>
                  <a:pt x="648" y="922"/>
                  <a:pt x="648" y="922"/>
                </a:cubicBezTo>
                <a:cubicBezTo>
                  <a:pt x="648" y="923"/>
                  <a:pt x="648" y="923"/>
                  <a:pt x="648" y="923"/>
                </a:cubicBezTo>
                <a:cubicBezTo>
                  <a:pt x="650" y="923"/>
                  <a:pt x="650" y="923"/>
                  <a:pt x="650" y="923"/>
                </a:cubicBezTo>
                <a:cubicBezTo>
                  <a:pt x="650" y="925"/>
                  <a:pt x="650" y="925"/>
                  <a:pt x="650" y="925"/>
                </a:cubicBezTo>
                <a:cubicBezTo>
                  <a:pt x="648" y="926"/>
                  <a:pt x="648" y="926"/>
                  <a:pt x="648" y="926"/>
                </a:cubicBezTo>
                <a:cubicBezTo>
                  <a:pt x="648" y="928"/>
                  <a:pt x="648" y="928"/>
                  <a:pt x="648" y="928"/>
                </a:cubicBezTo>
                <a:cubicBezTo>
                  <a:pt x="648" y="930"/>
                  <a:pt x="648" y="930"/>
                  <a:pt x="648" y="930"/>
                </a:cubicBezTo>
                <a:cubicBezTo>
                  <a:pt x="651" y="933"/>
                  <a:pt x="651" y="933"/>
                  <a:pt x="651" y="933"/>
                </a:cubicBezTo>
                <a:cubicBezTo>
                  <a:pt x="653" y="933"/>
                  <a:pt x="653" y="933"/>
                  <a:pt x="653" y="933"/>
                </a:cubicBezTo>
                <a:cubicBezTo>
                  <a:pt x="655" y="934"/>
                  <a:pt x="655" y="934"/>
                  <a:pt x="655" y="934"/>
                </a:cubicBezTo>
                <a:cubicBezTo>
                  <a:pt x="656" y="935"/>
                  <a:pt x="656" y="935"/>
                  <a:pt x="656" y="935"/>
                </a:cubicBezTo>
                <a:cubicBezTo>
                  <a:pt x="657" y="935"/>
                  <a:pt x="657" y="935"/>
                  <a:pt x="657" y="935"/>
                </a:cubicBezTo>
                <a:cubicBezTo>
                  <a:pt x="658" y="933"/>
                  <a:pt x="658" y="933"/>
                  <a:pt x="658" y="933"/>
                </a:cubicBezTo>
                <a:cubicBezTo>
                  <a:pt x="658" y="932"/>
                  <a:pt x="658" y="932"/>
                  <a:pt x="658" y="932"/>
                </a:cubicBezTo>
                <a:cubicBezTo>
                  <a:pt x="655" y="930"/>
                  <a:pt x="655" y="930"/>
                  <a:pt x="655" y="930"/>
                </a:cubicBezTo>
                <a:cubicBezTo>
                  <a:pt x="654" y="929"/>
                  <a:pt x="654" y="929"/>
                  <a:pt x="654" y="929"/>
                </a:cubicBezTo>
                <a:cubicBezTo>
                  <a:pt x="655" y="928"/>
                  <a:pt x="655" y="928"/>
                  <a:pt x="655" y="928"/>
                </a:cubicBezTo>
                <a:cubicBezTo>
                  <a:pt x="657" y="929"/>
                  <a:pt x="657" y="929"/>
                  <a:pt x="657" y="929"/>
                </a:cubicBezTo>
                <a:cubicBezTo>
                  <a:pt x="659" y="930"/>
                  <a:pt x="659" y="930"/>
                  <a:pt x="659" y="930"/>
                </a:cubicBezTo>
                <a:cubicBezTo>
                  <a:pt x="659" y="932"/>
                  <a:pt x="659" y="932"/>
                  <a:pt x="659" y="932"/>
                </a:cubicBezTo>
                <a:cubicBezTo>
                  <a:pt x="661" y="933"/>
                  <a:pt x="661" y="933"/>
                  <a:pt x="661" y="933"/>
                </a:cubicBezTo>
                <a:cubicBezTo>
                  <a:pt x="661" y="935"/>
                  <a:pt x="661" y="935"/>
                  <a:pt x="661" y="935"/>
                </a:cubicBezTo>
                <a:cubicBezTo>
                  <a:pt x="664" y="937"/>
                  <a:pt x="664" y="937"/>
                  <a:pt x="664" y="937"/>
                </a:cubicBezTo>
                <a:cubicBezTo>
                  <a:pt x="666" y="938"/>
                  <a:pt x="666" y="938"/>
                  <a:pt x="666" y="938"/>
                </a:cubicBezTo>
                <a:cubicBezTo>
                  <a:pt x="667" y="939"/>
                  <a:pt x="667" y="939"/>
                  <a:pt x="667" y="939"/>
                </a:cubicBezTo>
                <a:cubicBezTo>
                  <a:pt x="669" y="942"/>
                  <a:pt x="669" y="942"/>
                  <a:pt x="669" y="942"/>
                </a:cubicBezTo>
                <a:cubicBezTo>
                  <a:pt x="669" y="943"/>
                  <a:pt x="669" y="943"/>
                  <a:pt x="669" y="943"/>
                </a:cubicBezTo>
                <a:cubicBezTo>
                  <a:pt x="668" y="944"/>
                  <a:pt x="668" y="944"/>
                  <a:pt x="668" y="944"/>
                </a:cubicBezTo>
                <a:cubicBezTo>
                  <a:pt x="668" y="946"/>
                  <a:pt x="668" y="946"/>
                  <a:pt x="668" y="946"/>
                </a:cubicBezTo>
                <a:cubicBezTo>
                  <a:pt x="669" y="947"/>
                  <a:pt x="669" y="947"/>
                  <a:pt x="669" y="947"/>
                </a:cubicBezTo>
                <a:cubicBezTo>
                  <a:pt x="671" y="948"/>
                  <a:pt x="671" y="948"/>
                  <a:pt x="671" y="948"/>
                </a:cubicBezTo>
                <a:cubicBezTo>
                  <a:pt x="673" y="949"/>
                  <a:pt x="673" y="949"/>
                  <a:pt x="673" y="949"/>
                </a:cubicBezTo>
                <a:cubicBezTo>
                  <a:pt x="674" y="948"/>
                  <a:pt x="674" y="948"/>
                  <a:pt x="674" y="948"/>
                </a:cubicBezTo>
                <a:cubicBezTo>
                  <a:pt x="674" y="947"/>
                  <a:pt x="674" y="947"/>
                  <a:pt x="674" y="947"/>
                </a:cubicBezTo>
                <a:cubicBezTo>
                  <a:pt x="673" y="946"/>
                  <a:pt x="673" y="946"/>
                  <a:pt x="673" y="946"/>
                </a:cubicBezTo>
                <a:cubicBezTo>
                  <a:pt x="671" y="945"/>
                  <a:pt x="671" y="945"/>
                  <a:pt x="671" y="945"/>
                </a:cubicBezTo>
                <a:cubicBezTo>
                  <a:pt x="671" y="944"/>
                  <a:pt x="671" y="944"/>
                  <a:pt x="671" y="944"/>
                </a:cubicBezTo>
                <a:cubicBezTo>
                  <a:pt x="672" y="944"/>
                  <a:pt x="672" y="944"/>
                  <a:pt x="672" y="944"/>
                </a:cubicBezTo>
                <a:cubicBezTo>
                  <a:pt x="673" y="945"/>
                  <a:pt x="673" y="945"/>
                  <a:pt x="673" y="945"/>
                </a:cubicBezTo>
                <a:cubicBezTo>
                  <a:pt x="675" y="947"/>
                  <a:pt x="675" y="947"/>
                  <a:pt x="675" y="947"/>
                </a:cubicBezTo>
                <a:cubicBezTo>
                  <a:pt x="675" y="949"/>
                  <a:pt x="675" y="949"/>
                  <a:pt x="675" y="949"/>
                </a:cubicBezTo>
                <a:cubicBezTo>
                  <a:pt x="675" y="949"/>
                  <a:pt x="675" y="949"/>
                  <a:pt x="675" y="949"/>
                </a:cubicBezTo>
                <a:cubicBezTo>
                  <a:pt x="676" y="949"/>
                  <a:pt x="676" y="949"/>
                  <a:pt x="676" y="949"/>
                </a:cubicBezTo>
                <a:cubicBezTo>
                  <a:pt x="677" y="950"/>
                  <a:pt x="677" y="950"/>
                  <a:pt x="677" y="950"/>
                </a:cubicBezTo>
                <a:cubicBezTo>
                  <a:pt x="678" y="950"/>
                  <a:pt x="678" y="950"/>
                  <a:pt x="678" y="950"/>
                </a:cubicBezTo>
                <a:cubicBezTo>
                  <a:pt x="678" y="949"/>
                  <a:pt x="678" y="949"/>
                  <a:pt x="678" y="949"/>
                </a:cubicBezTo>
                <a:cubicBezTo>
                  <a:pt x="678" y="948"/>
                  <a:pt x="678" y="948"/>
                  <a:pt x="678" y="948"/>
                </a:cubicBezTo>
                <a:cubicBezTo>
                  <a:pt x="679" y="948"/>
                  <a:pt x="679" y="948"/>
                  <a:pt x="679" y="948"/>
                </a:cubicBezTo>
                <a:cubicBezTo>
                  <a:pt x="680" y="948"/>
                  <a:pt x="680" y="948"/>
                  <a:pt x="680" y="948"/>
                </a:cubicBezTo>
                <a:cubicBezTo>
                  <a:pt x="682" y="948"/>
                  <a:pt x="682" y="948"/>
                  <a:pt x="682" y="948"/>
                </a:cubicBezTo>
                <a:cubicBezTo>
                  <a:pt x="684" y="948"/>
                  <a:pt x="684" y="948"/>
                  <a:pt x="684" y="948"/>
                </a:cubicBezTo>
                <a:cubicBezTo>
                  <a:pt x="684" y="947"/>
                  <a:pt x="684" y="947"/>
                  <a:pt x="684" y="947"/>
                </a:cubicBezTo>
                <a:cubicBezTo>
                  <a:pt x="685" y="948"/>
                  <a:pt x="685" y="948"/>
                  <a:pt x="685" y="948"/>
                </a:cubicBezTo>
                <a:cubicBezTo>
                  <a:pt x="685" y="949"/>
                  <a:pt x="685" y="949"/>
                  <a:pt x="685" y="949"/>
                </a:cubicBezTo>
                <a:cubicBezTo>
                  <a:pt x="686" y="949"/>
                  <a:pt x="686" y="949"/>
                  <a:pt x="686" y="949"/>
                </a:cubicBezTo>
                <a:cubicBezTo>
                  <a:pt x="690" y="950"/>
                  <a:pt x="690" y="950"/>
                  <a:pt x="690" y="950"/>
                </a:cubicBezTo>
                <a:cubicBezTo>
                  <a:pt x="691" y="952"/>
                  <a:pt x="691" y="952"/>
                  <a:pt x="691" y="952"/>
                </a:cubicBezTo>
                <a:cubicBezTo>
                  <a:pt x="692" y="955"/>
                  <a:pt x="692" y="955"/>
                  <a:pt x="692" y="955"/>
                </a:cubicBezTo>
                <a:cubicBezTo>
                  <a:pt x="693" y="956"/>
                  <a:pt x="693" y="956"/>
                  <a:pt x="693" y="956"/>
                </a:cubicBezTo>
                <a:cubicBezTo>
                  <a:pt x="695" y="956"/>
                  <a:pt x="695" y="956"/>
                  <a:pt x="695" y="956"/>
                </a:cubicBezTo>
                <a:cubicBezTo>
                  <a:pt x="696" y="954"/>
                  <a:pt x="696" y="954"/>
                  <a:pt x="696" y="954"/>
                </a:cubicBezTo>
                <a:cubicBezTo>
                  <a:pt x="695" y="954"/>
                  <a:pt x="695" y="954"/>
                  <a:pt x="695" y="954"/>
                </a:cubicBezTo>
                <a:cubicBezTo>
                  <a:pt x="696" y="953"/>
                  <a:pt x="696" y="953"/>
                  <a:pt x="696" y="953"/>
                </a:cubicBezTo>
                <a:cubicBezTo>
                  <a:pt x="697" y="953"/>
                  <a:pt x="697" y="953"/>
                  <a:pt x="697" y="953"/>
                </a:cubicBezTo>
                <a:cubicBezTo>
                  <a:pt x="698" y="954"/>
                  <a:pt x="698" y="954"/>
                  <a:pt x="698" y="954"/>
                </a:cubicBezTo>
                <a:cubicBezTo>
                  <a:pt x="697" y="955"/>
                  <a:pt x="697" y="955"/>
                  <a:pt x="697" y="955"/>
                </a:cubicBezTo>
                <a:cubicBezTo>
                  <a:pt x="698" y="957"/>
                  <a:pt x="698" y="957"/>
                  <a:pt x="698" y="957"/>
                </a:cubicBezTo>
                <a:cubicBezTo>
                  <a:pt x="697" y="958"/>
                  <a:pt x="697" y="958"/>
                  <a:pt x="697" y="958"/>
                </a:cubicBezTo>
                <a:cubicBezTo>
                  <a:pt x="698" y="959"/>
                  <a:pt x="698" y="959"/>
                  <a:pt x="698" y="959"/>
                </a:cubicBezTo>
                <a:cubicBezTo>
                  <a:pt x="701" y="960"/>
                  <a:pt x="701" y="960"/>
                  <a:pt x="701" y="960"/>
                </a:cubicBezTo>
                <a:cubicBezTo>
                  <a:pt x="702" y="958"/>
                  <a:pt x="702" y="958"/>
                  <a:pt x="702" y="958"/>
                </a:cubicBezTo>
                <a:cubicBezTo>
                  <a:pt x="704" y="957"/>
                  <a:pt x="704" y="957"/>
                  <a:pt x="704" y="957"/>
                </a:cubicBezTo>
                <a:cubicBezTo>
                  <a:pt x="705" y="957"/>
                  <a:pt x="705" y="957"/>
                  <a:pt x="705" y="957"/>
                </a:cubicBezTo>
                <a:cubicBezTo>
                  <a:pt x="706" y="957"/>
                  <a:pt x="706" y="957"/>
                  <a:pt x="706" y="957"/>
                </a:cubicBezTo>
                <a:cubicBezTo>
                  <a:pt x="707" y="954"/>
                  <a:pt x="707" y="954"/>
                  <a:pt x="707" y="954"/>
                </a:cubicBezTo>
                <a:cubicBezTo>
                  <a:pt x="705" y="953"/>
                  <a:pt x="705" y="953"/>
                  <a:pt x="705" y="953"/>
                </a:cubicBezTo>
                <a:cubicBezTo>
                  <a:pt x="703" y="952"/>
                  <a:pt x="703" y="952"/>
                  <a:pt x="703" y="952"/>
                </a:cubicBezTo>
                <a:cubicBezTo>
                  <a:pt x="703" y="950"/>
                  <a:pt x="703" y="950"/>
                  <a:pt x="703" y="950"/>
                </a:cubicBezTo>
                <a:cubicBezTo>
                  <a:pt x="703" y="949"/>
                  <a:pt x="703" y="949"/>
                  <a:pt x="703" y="949"/>
                </a:cubicBezTo>
                <a:cubicBezTo>
                  <a:pt x="705" y="948"/>
                  <a:pt x="705" y="948"/>
                  <a:pt x="705" y="948"/>
                </a:cubicBezTo>
                <a:cubicBezTo>
                  <a:pt x="708" y="947"/>
                  <a:pt x="708" y="947"/>
                  <a:pt x="708" y="947"/>
                </a:cubicBezTo>
                <a:cubicBezTo>
                  <a:pt x="711" y="945"/>
                  <a:pt x="711" y="945"/>
                  <a:pt x="711" y="945"/>
                </a:cubicBezTo>
                <a:cubicBezTo>
                  <a:pt x="710" y="944"/>
                  <a:pt x="710" y="944"/>
                  <a:pt x="710" y="944"/>
                </a:cubicBezTo>
                <a:cubicBezTo>
                  <a:pt x="710" y="943"/>
                  <a:pt x="710" y="943"/>
                  <a:pt x="710" y="943"/>
                </a:cubicBezTo>
                <a:cubicBezTo>
                  <a:pt x="710" y="942"/>
                  <a:pt x="710" y="942"/>
                  <a:pt x="710" y="942"/>
                </a:cubicBezTo>
                <a:cubicBezTo>
                  <a:pt x="713" y="940"/>
                  <a:pt x="713" y="940"/>
                  <a:pt x="713" y="940"/>
                </a:cubicBezTo>
                <a:cubicBezTo>
                  <a:pt x="716" y="940"/>
                  <a:pt x="716" y="940"/>
                  <a:pt x="716" y="940"/>
                </a:cubicBezTo>
                <a:cubicBezTo>
                  <a:pt x="717" y="940"/>
                  <a:pt x="717" y="940"/>
                  <a:pt x="717" y="940"/>
                </a:cubicBezTo>
                <a:cubicBezTo>
                  <a:pt x="719" y="942"/>
                  <a:pt x="719" y="942"/>
                  <a:pt x="719" y="942"/>
                </a:cubicBezTo>
                <a:cubicBezTo>
                  <a:pt x="720" y="942"/>
                  <a:pt x="720" y="942"/>
                  <a:pt x="720" y="942"/>
                </a:cubicBezTo>
                <a:cubicBezTo>
                  <a:pt x="722" y="945"/>
                  <a:pt x="722" y="945"/>
                  <a:pt x="722" y="945"/>
                </a:cubicBezTo>
                <a:cubicBezTo>
                  <a:pt x="722" y="947"/>
                  <a:pt x="722" y="947"/>
                  <a:pt x="722" y="947"/>
                </a:cubicBezTo>
                <a:cubicBezTo>
                  <a:pt x="724" y="947"/>
                  <a:pt x="724" y="947"/>
                  <a:pt x="724" y="947"/>
                </a:cubicBezTo>
                <a:cubicBezTo>
                  <a:pt x="724" y="947"/>
                  <a:pt x="724" y="947"/>
                  <a:pt x="724" y="947"/>
                </a:cubicBezTo>
                <a:cubicBezTo>
                  <a:pt x="725" y="945"/>
                  <a:pt x="725" y="945"/>
                  <a:pt x="725" y="945"/>
                </a:cubicBezTo>
                <a:cubicBezTo>
                  <a:pt x="727" y="945"/>
                  <a:pt x="727" y="945"/>
                  <a:pt x="727" y="945"/>
                </a:cubicBezTo>
                <a:cubicBezTo>
                  <a:pt x="727" y="947"/>
                  <a:pt x="727" y="947"/>
                  <a:pt x="727" y="947"/>
                </a:cubicBezTo>
                <a:cubicBezTo>
                  <a:pt x="726" y="948"/>
                  <a:pt x="726" y="948"/>
                  <a:pt x="726" y="948"/>
                </a:cubicBezTo>
                <a:cubicBezTo>
                  <a:pt x="725" y="948"/>
                  <a:pt x="725" y="948"/>
                  <a:pt x="725" y="948"/>
                </a:cubicBezTo>
                <a:cubicBezTo>
                  <a:pt x="723" y="950"/>
                  <a:pt x="723" y="950"/>
                  <a:pt x="723" y="950"/>
                </a:cubicBezTo>
                <a:cubicBezTo>
                  <a:pt x="723" y="951"/>
                  <a:pt x="723" y="951"/>
                  <a:pt x="723" y="951"/>
                </a:cubicBezTo>
                <a:cubicBezTo>
                  <a:pt x="724" y="954"/>
                  <a:pt x="724" y="954"/>
                  <a:pt x="724" y="954"/>
                </a:cubicBezTo>
                <a:cubicBezTo>
                  <a:pt x="726" y="957"/>
                  <a:pt x="726" y="957"/>
                  <a:pt x="726" y="957"/>
                </a:cubicBezTo>
                <a:cubicBezTo>
                  <a:pt x="728" y="959"/>
                  <a:pt x="728" y="959"/>
                  <a:pt x="728" y="959"/>
                </a:cubicBezTo>
                <a:cubicBezTo>
                  <a:pt x="728" y="959"/>
                  <a:pt x="728" y="959"/>
                  <a:pt x="728" y="959"/>
                </a:cubicBezTo>
                <a:cubicBezTo>
                  <a:pt x="729" y="962"/>
                  <a:pt x="729" y="962"/>
                  <a:pt x="729" y="962"/>
                </a:cubicBezTo>
                <a:cubicBezTo>
                  <a:pt x="729" y="964"/>
                  <a:pt x="729" y="964"/>
                  <a:pt x="729" y="964"/>
                </a:cubicBezTo>
                <a:cubicBezTo>
                  <a:pt x="731" y="966"/>
                  <a:pt x="731" y="966"/>
                  <a:pt x="731" y="966"/>
                </a:cubicBezTo>
                <a:cubicBezTo>
                  <a:pt x="732" y="966"/>
                  <a:pt x="732" y="966"/>
                  <a:pt x="732" y="966"/>
                </a:cubicBezTo>
                <a:cubicBezTo>
                  <a:pt x="733" y="966"/>
                  <a:pt x="733" y="966"/>
                  <a:pt x="733" y="966"/>
                </a:cubicBezTo>
                <a:cubicBezTo>
                  <a:pt x="733" y="967"/>
                  <a:pt x="733" y="967"/>
                  <a:pt x="733" y="967"/>
                </a:cubicBezTo>
                <a:cubicBezTo>
                  <a:pt x="734" y="969"/>
                  <a:pt x="734" y="969"/>
                  <a:pt x="734" y="969"/>
                </a:cubicBezTo>
                <a:cubicBezTo>
                  <a:pt x="732" y="970"/>
                  <a:pt x="732" y="970"/>
                  <a:pt x="732" y="970"/>
                </a:cubicBezTo>
                <a:cubicBezTo>
                  <a:pt x="732" y="971"/>
                  <a:pt x="732" y="971"/>
                  <a:pt x="732" y="971"/>
                </a:cubicBezTo>
                <a:cubicBezTo>
                  <a:pt x="733" y="972"/>
                  <a:pt x="733" y="972"/>
                  <a:pt x="733" y="972"/>
                </a:cubicBezTo>
                <a:cubicBezTo>
                  <a:pt x="733" y="975"/>
                  <a:pt x="733" y="975"/>
                  <a:pt x="733" y="975"/>
                </a:cubicBezTo>
                <a:cubicBezTo>
                  <a:pt x="732" y="976"/>
                  <a:pt x="732" y="976"/>
                  <a:pt x="732" y="976"/>
                </a:cubicBezTo>
                <a:cubicBezTo>
                  <a:pt x="731" y="978"/>
                  <a:pt x="731" y="978"/>
                  <a:pt x="731" y="978"/>
                </a:cubicBezTo>
                <a:cubicBezTo>
                  <a:pt x="732" y="978"/>
                  <a:pt x="732" y="978"/>
                  <a:pt x="732" y="978"/>
                </a:cubicBezTo>
                <a:cubicBezTo>
                  <a:pt x="733" y="980"/>
                  <a:pt x="733" y="980"/>
                  <a:pt x="733" y="980"/>
                </a:cubicBezTo>
                <a:cubicBezTo>
                  <a:pt x="733" y="983"/>
                  <a:pt x="733" y="983"/>
                  <a:pt x="733" y="983"/>
                </a:cubicBezTo>
                <a:cubicBezTo>
                  <a:pt x="733" y="988"/>
                  <a:pt x="733" y="988"/>
                  <a:pt x="733" y="988"/>
                </a:cubicBezTo>
                <a:cubicBezTo>
                  <a:pt x="731" y="990"/>
                  <a:pt x="731" y="990"/>
                  <a:pt x="731" y="990"/>
                </a:cubicBezTo>
                <a:cubicBezTo>
                  <a:pt x="731" y="991"/>
                  <a:pt x="731" y="991"/>
                  <a:pt x="731" y="991"/>
                </a:cubicBezTo>
                <a:cubicBezTo>
                  <a:pt x="732" y="993"/>
                  <a:pt x="732" y="993"/>
                  <a:pt x="732" y="993"/>
                </a:cubicBezTo>
                <a:cubicBezTo>
                  <a:pt x="734" y="992"/>
                  <a:pt x="734" y="992"/>
                  <a:pt x="734" y="992"/>
                </a:cubicBezTo>
                <a:cubicBezTo>
                  <a:pt x="734" y="993"/>
                  <a:pt x="734" y="993"/>
                  <a:pt x="734" y="993"/>
                </a:cubicBezTo>
                <a:cubicBezTo>
                  <a:pt x="735" y="995"/>
                  <a:pt x="735" y="995"/>
                  <a:pt x="735" y="995"/>
                </a:cubicBezTo>
                <a:cubicBezTo>
                  <a:pt x="736" y="994"/>
                  <a:pt x="736" y="994"/>
                  <a:pt x="736" y="994"/>
                </a:cubicBezTo>
                <a:cubicBezTo>
                  <a:pt x="736" y="995"/>
                  <a:pt x="736" y="995"/>
                  <a:pt x="736" y="995"/>
                </a:cubicBezTo>
                <a:cubicBezTo>
                  <a:pt x="735" y="997"/>
                  <a:pt x="735" y="997"/>
                  <a:pt x="735" y="997"/>
                </a:cubicBezTo>
                <a:cubicBezTo>
                  <a:pt x="734" y="999"/>
                  <a:pt x="734" y="999"/>
                  <a:pt x="734" y="999"/>
                </a:cubicBezTo>
                <a:cubicBezTo>
                  <a:pt x="730" y="1003"/>
                  <a:pt x="730" y="1003"/>
                  <a:pt x="730" y="1003"/>
                </a:cubicBezTo>
                <a:cubicBezTo>
                  <a:pt x="729" y="1005"/>
                  <a:pt x="729" y="1005"/>
                  <a:pt x="729" y="1005"/>
                </a:cubicBezTo>
                <a:cubicBezTo>
                  <a:pt x="727" y="1008"/>
                  <a:pt x="727" y="1008"/>
                  <a:pt x="727" y="1008"/>
                </a:cubicBezTo>
                <a:cubicBezTo>
                  <a:pt x="723" y="1009"/>
                  <a:pt x="723" y="1009"/>
                  <a:pt x="723" y="1009"/>
                </a:cubicBezTo>
                <a:cubicBezTo>
                  <a:pt x="720" y="1011"/>
                  <a:pt x="720" y="1011"/>
                  <a:pt x="720" y="1011"/>
                </a:cubicBezTo>
                <a:cubicBezTo>
                  <a:pt x="717" y="1015"/>
                  <a:pt x="717" y="1015"/>
                  <a:pt x="717" y="1015"/>
                </a:cubicBezTo>
                <a:cubicBezTo>
                  <a:pt x="717" y="1018"/>
                  <a:pt x="717" y="1018"/>
                  <a:pt x="717" y="1018"/>
                </a:cubicBezTo>
                <a:cubicBezTo>
                  <a:pt x="716" y="1020"/>
                  <a:pt x="716" y="1020"/>
                  <a:pt x="716" y="1020"/>
                </a:cubicBezTo>
                <a:cubicBezTo>
                  <a:pt x="716" y="1023"/>
                  <a:pt x="716" y="1023"/>
                  <a:pt x="716" y="1023"/>
                </a:cubicBezTo>
                <a:cubicBezTo>
                  <a:pt x="713" y="1023"/>
                  <a:pt x="713" y="1023"/>
                  <a:pt x="713" y="1023"/>
                </a:cubicBezTo>
                <a:cubicBezTo>
                  <a:pt x="708" y="1026"/>
                  <a:pt x="708" y="1026"/>
                  <a:pt x="708" y="1026"/>
                </a:cubicBezTo>
                <a:cubicBezTo>
                  <a:pt x="705" y="1026"/>
                  <a:pt x="705" y="1026"/>
                  <a:pt x="705" y="1026"/>
                </a:cubicBezTo>
                <a:cubicBezTo>
                  <a:pt x="703" y="1027"/>
                  <a:pt x="703" y="1027"/>
                  <a:pt x="703" y="1027"/>
                </a:cubicBezTo>
                <a:cubicBezTo>
                  <a:pt x="704" y="1030"/>
                  <a:pt x="704" y="1030"/>
                  <a:pt x="704" y="1030"/>
                </a:cubicBezTo>
                <a:cubicBezTo>
                  <a:pt x="704" y="1031"/>
                  <a:pt x="704" y="1031"/>
                  <a:pt x="704" y="1031"/>
                </a:cubicBezTo>
                <a:cubicBezTo>
                  <a:pt x="705" y="1033"/>
                  <a:pt x="705" y="1033"/>
                  <a:pt x="705" y="1033"/>
                </a:cubicBezTo>
                <a:cubicBezTo>
                  <a:pt x="705" y="1036"/>
                  <a:pt x="705" y="1036"/>
                  <a:pt x="705" y="1036"/>
                </a:cubicBezTo>
                <a:cubicBezTo>
                  <a:pt x="701" y="1040"/>
                  <a:pt x="701" y="1040"/>
                  <a:pt x="701" y="1040"/>
                </a:cubicBezTo>
                <a:cubicBezTo>
                  <a:pt x="700" y="1041"/>
                  <a:pt x="700" y="1041"/>
                  <a:pt x="700" y="1041"/>
                </a:cubicBezTo>
                <a:cubicBezTo>
                  <a:pt x="701" y="1043"/>
                  <a:pt x="701" y="1043"/>
                  <a:pt x="701" y="1043"/>
                </a:cubicBezTo>
                <a:cubicBezTo>
                  <a:pt x="699" y="1045"/>
                  <a:pt x="699" y="1045"/>
                  <a:pt x="699" y="1045"/>
                </a:cubicBezTo>
                <a:cubicBezTo>
                  <a:pt x="697" y="1046"/>
                  <a:pt x="697" y="1046"/>
                  <a:pt x="697" y="1046"/>
                </a:cubicBezTo>
                <a:cubicBezTo>
                  <a:pt x="695" y="1048"/>
                  <a:pt x="695" y="1048"/>
                  <a:pt x="695" y="1048"/>
                </a:cubicBezTo>
                <a:cubicBezTo>
                  <a:pt x="696" y="1050"/>
                  <a:pt x="696" y="1050"/>
                  <a:pt x="696" y="1050"/>
                </a:cubicBezTo>
                <a:cubicBezTo>
                  <a:pt x="697" y="1052"/>
                  <a:pt x="697" y="1052"/>
                  <a:pt x="697" y="1052"/>
                </a:cubicBezTo>
                <a:cubicBezTo>
                  <a:pt x="697" y="1053"/>
                  <a:pt x="697" y="1053"/>
                  <a:pt x="697" y="1053"/>
                </a:cubicBezTo>
                <a:cubicBezTo>
                  <a:pt x="697" y="1056"/>
                  <a:pt x="697" y="1056"/>
                  <a:pt x="697" y="1056"/>
                </a:cubicBezTo>
                <a:cubicBezTo>
                  <a:pt x="696" y="1058"/>
                  <a:pt x="696" y="1058"/>
                  <a:pt x="696" y="1058"/>
                </a:cubicBezTo>
                <a:cubicBezTo>
                  <a:pt x="695" y="1059"/>
                  <a:pt x="695" y="1059"/>
                  <a:pt x="695" y="1059"/>
                </a:cubicBezTo>
                <a:cubicBezTo>
                  <a:pt x="696" y="1061"/>
                  <a:pt x="696" y="1061"/>
                  <a:pt x="696" y="1061"/>
                </a:cubicBezTo>
                <a:cubicBezTo>
                  <a:pt x="698" y="1062"/>
                  <a:pt x="698" y="1062"/>
                  <a:pt x="698" y="1062"/>
                </a:cubicBezTo>
                <a:cubicBezTo>
                  <a:pt x="700" y="1064"/>
                  <a:pt x="700" y="1064"/>
                  <a:pt x="700" y="1064"/>
                </a:cubicBezTo>
                <a:cubicBezTo>
                  <a:pt x="702" y="1065"/>
                  <a:pt x="702" y="1065"/>
                  <a:pt x="702" y="1065"/>
                </a:cubicBezTo>
                <a:cubicBezTo>
                  <a:pt x="703" y="1064"/>
                  <a:pt x="703" y="1064"/>
                  <a:pt x="703" y="1064"/>
                </a:cubicBezTo>
                <a:cubicBezTo>
                  <a:pt x="704" y="1062"/>
                  <a:pt x="704" y="1062"/>
                  <a:pt x="704" y="1062"/>
                </a:cubicBezTo>
                <a:cubicBezTo>
                  <a:pt x="704" y="1061"/>
                  <a:pt x="704" y="1061"/>
                  <a:pt x="704" y="1061"/>
                </a:cubicBezTo>
                <a:cubicBezTo>
                  <a:pt x="706" y="1059"/>
                  <a:pt x="706" y="1059"/>
                  <a:pt x="706" y="1059"/>
                </a:cubicBezTo>
                <a:cubicBezTo>
                  <a:pt x="706" y="1061"/>
                  <a:pt x="706" y="1061"/>
                  <a:pt x="706" y="1061"/>
                </a:cubicBezTo>
                <a:cubicBezTo>
                  <a:pt x="706" y="1062"/>
                  <a:pt x="706" y="1062"/>
                  <a:pt x="706" y="1062"/>
                </a:cubicBezTo>
                <a:cubicBezTo>
                  <a:pt x="707" y="1061"/>
                  <a:pt x="707" y="1061"/>
                  <a:pt x="707" y="1061"/>
                </a:cubicBezTo>
                <a:cubicBezTo>
                  <a:pt x="706" y="1060"/>
                  <a:pt x="706" y="1060"/>
                  <a:pt x="706" y="1060"/>
                </a:cubicBezTo>
                <a:cubicBezTo>
                  <a:pt x="707" y="1060"/>
                  <a:pt x="707" y="1060"/>
                  <a:pt x="707" y="1060"/>
                </a:cubicBezTo>
                <a:cubicBezTo>
                  <a:pt x="708" y="1063"/>
                  <a:pt x="708" y="1063"/>
                  <a:pt x="708" y="1063"/>
                </a:cubicBezTo>
                <a:cubicBezTo>
                  <a:pt x="707" y="1065"/>
                  <a:pt x="707" y="1065"/>
                  <a:pt x="707" y="1065"/>
                </a:cubicBezTo>
                <a:cubicBezTo>
                  <a:pt x="707" y="1067"/>
                  <a:pt x="707" y="1067"/>
                  <a:pt x="707" y="1067"/>
                </a:cubicBezTo>
                <a:cubicBezTo>
                  <a:pt x="706" y="1070"/>
                  <a:pt x="706" y="1070"/>
                  <a:pt x="706" y="1070"/>
                </a:cubicBezTo>
                <a:cubicBezTo>
                  <a:pt x="704" y="1072"/>
                  <a:pt x="704" y="1072"/>
                  <a:pt x="704" y="1072"/>
                </a:cubicBezTo>
                <a:cubicBezTo>
                  <a:pt x="704" y="1072"/>
                  <a:pt x="704" y="1072"/>
                  <a:pt x="704" y="1072"/>
                </a:cubicBezTo>
                <a:cubicBezTo>
                  <a:pt x="699" y="1074"/>
                  <a:pt x="699" y="1074"/>
                  <a:pt x="699" y="1074"/>
                </a:cubicBezTo>
                <a:cubicBezTo>
                  <a:pt x="697" y="1076"/>
                  <a:pt x="697" y="1076"/>
                  <a:pt x="697" y="1076"/>
                </a:cubicBezTo>
                <a:cubicBezTo>
                  <a:pt x="693" y="1079"/>
                  <a:pt x="693" y="1079"/>
                  <a:pt x="693" y="1079"/>
                </a:cubicBezTo>
                <a:cubicBezTo>
                  <a:pt x="693" y="1082"/>
                  <a:pt x="693" y="1082"/>
                  <a:pt x="693" y="1082"/>
                </a:cubicBezTo>
                <a:cubicBezTo>
                  <a:pt x="692" y="1084"/>
                  <a:pt x="692" y="1084"/>
                  <a:pt x="692" y="1084"/>
                </a:cubicBezTo>
                <a:cubicBezTo>
                  <a:pt x="692" y="1085"/>
                  <a:pt x="692" y="1085"/>
                  <a:pt x="692" y="1085"/>
                </a:cubicBezTo>
                <a:cubicBezTo>
                  <a:pt x="694" y="1086"/>
                  <a:pt x="694" y="1086"/>
                  <a:pt x="694" y="1086"/>
                </a:cubicBezTo>
                <a:cubicBezTo>
                  <a:pt x="694" y="1087"/>
                  <a:pt x="694" y="1087"/>
                  <a:pt x="694" y="1087"/>
                </a:cubicBezTo>
                <a:cubicBezTo>
                  <a:pt x="693" y="1088"/>
                  <a:pt x="693" y="1088"/>
                  <a:pt x="693" y="1088"/>
                </a:cubicBezTo>
                <a:cubicBezTo>
                  <a:pt x="693" y="1089"/>
                  <a:pt x="693" y="1089"/>
                  <a:pt x="693" y="1089"/>
                </a:cubicBezTo>
                <a:cubicBezTo>
                  <a:pt x="695" y="1091"/>
                  <a:pt x="695" y="1091"/>
                  <a:pt x="695" y="1091"/>
                </a:cubicBezTo>
                <a:cubicBezTo>
                  <a:pt x="696" y="1094"/>
                  <a:pt x="696" y="1094"/>
                  <a:pt x="696" y="1094"/>
                </a:cubicBezTo>
                <a:cubicBezTo>
                  <a:pt x="696" y="1096"/>
                  <a:pt x="696" y="1096"/>
                  <a:pt x="696" y="1096"/>
                </a:cubicBezTo>
                <a:cubicBezTo>
                  <a:pt x="694" y="1096"/>
                  <a:pt x="694" y="1096"/>
                  <a:pt x="694" y="1096"/>
                </a:cubicBezTo>
                <a:cubicBezTo>
                  <a:pt x="693" y="1097"/>
                  <a:pt x="693" y="1097"/>
                  <a:pt x="693" y="1097"/>
                </a:cubicBezTo>
                <a:cubicBezTo>
                  <a:pt x="692" y="1098"/>
                  <a:pt x="692" y="1098"/>
                  <a:pt x="692" y="1098"/>
                </a:cubicBezTo>
                <a:cubicBezTo>
                  <a:pt x="694" y="1100"/>
                  <a:pt x="694" y="1100"/>
                  <a:pt x="694" y="1100"/>
                </a:cubicBezTo>
                <a:cubicBezTo>
                  <a:pt x="696" y="1101"/>
                  <a:pt x="696" y="1101"/>
                  <a:pt x="696" y="1101"/>
                </a:cubicBezTo>
                <a:cubicBezTo>
                  <a:pt x="699" y="1103"/>
                  <a:pt x="699" y="1103"/>
                  <a:pt x="699" y="1103"/>
                </a:cubicBezTo>
                <a:cubicBezTo>
                  <a:pt x="702" y="1104"/>
                  <a:pt x="702" y="1104"/>
                  <a:pt x="702" y="1104"/>
                </a:cubicBezTo>
                <a:cubicBezTo>
                  <a:pt x="706" y="1106"/>
                  <a:pt x="706" y="1106"/>
                  <a:pt x="706" y="1106"/>
                </a:cubicBezTo>
                <a:cubicBezTo>
                  <a:pt x="708" y="1107"/>
                  <a:pt x="708" y="1107"/>
                  <a:pt x="708" y="1107"/>
                </a:cubicBezTo>
                <a:cubicBezTo>
                  <a:pt x="708" y="1109"/>
                  <a:pt x="708" y="1109"/>
                  <a:pt x="708" y="1109"/>
                </a:cubicBezTo>
                <a:cubicBezTo>
                  <a:pt x="711" y="1112"/>
                  <a:pt x="711" y="1112"/>
                  <a:pt x="711" y="1112"/>
                </a:cubicBezTo>
                <a:cubicBezTo>
                  <a:pt x="711" y="1115"/>
                  <a:pt x="711" y="1115"/>
                  <a:pt x="711" y="1115"/>
                </a:cubicBezTo>
                <a:cubicBezTo>
                  <a:pt x="712" y="1117"/>
                  <a:pt x="712" y="1117"/>
                  <a:pt x="712" y="1117"/>
                </a:cubicBezTo>
                <a:cubicBezTo>
                  <a:pt x="716" y="1119"/>
                  <a:pt x="716" y="1119"/>
                  <a:pt x="716" y="1119"/>
                </a:cubicBezTo>
                <a:cubicBezTo>
                  <a:pt x="718" y="1122"/>
                  <a:pt x="718" y="1122"/>
                  <a:pt x="718" y="1122"/>
                </a:cubicBezTo>
                <a:cubicBezTo>
                  <a:pt x="719" y="1125"/>
                  <a:pt x="719" y="1125"/>
                  <a:pt x="719" y="1125"/>
                </a:cubicBezTo>
                <a:cubicBezTo>
                  <a:pt x="720" y="1127"/>
                  <a:pt x="720" y="1127"/>
                  <a:pt x="720" y="1127"/>
                </a:cubicBezTo>
                <a:cubicBezTo>
                  <a:pt x="720" y="1130"/>
                  <a:pt x="720" y="1130"/>
                  <a:pt x="720" y="1130"/>
                </a:cubicBezTo>
                <a:cubicBezTo>
                  <a:pt x="722" y="1132"/>
                  <a:pt x="722" y="1132"/>
                  <a:pt x="722" y="1132"/>
                </a:cubicBezTo>
                <a:cubicBezTo>
                  <a:pt x="723" y="1133"/>
                  <a:pt x="723" y="1133"/>
                  <a:pt x="723" y="1133"/>
                </a:cubicBezTo>
                <a:cubicBezTo>
                  <a:pt x="725" y="1136"/>
                  <a:pt x="725" y="1136"/>
                  <a:pt x="725" y="1136"/>
                </a:cubicBezTo>
                <a:cubicBezTo>
                  <a:pt x="725" y="1139"/>
                  <a:pt x="725" y="1139"/>
                  <a:pt x="725" y="1139"/>
                </a:cubicBezTo>
                <a:cubicBezTo>
                  <a:pt x="725" y="1140"/>
                  <a:pt x="725" y="1140"/>
                  <a:pt x="725" y="1140"/>
                </a:cubicBezTo>
                <a:cubicBezTo>
                  <a:pt x="726" y="1143"/>
                  <a:pt x="726" y="1143"/>
                  <a:pt x="726" y="1143"/>
                </a:cubicBezTo>
                <a:cubicBezTo>
                  <a:pt x="730" y="1147"/>
                  <a:pt x="730" y="1147"/>
                  <a:pt x="730" y="1147"/>
                </a:cubicBezTo>
                <a:cubicBezTo>
                  <a:pt x="731" y="1149"/>
                  <a:pt x="731" y="1149"/>
                  <a:pt x="731" y="1149"/>
                </a:cubicBezTo>
                <a:cubicBezTo>
                  <a:pt x="730" y="1151"/>
                  <a:pt x="730" y="1151"/>
                  <a:pt x="730" y="1151"/>
                </a:cubicBezTo>
                <a:cubicBezTo>
                  <a:pt x="731" y="1152"/>
                  <a:pt x="731" y="1152"/>
                  <a:pt x="731" y="1152"/>
                </a:cubicBezTo>
                <a:cubicBezTo>
                  <a:pt x="732" y="1153"/>
                  <a:pt x="732" y="1153"/>
                  <a:pt x="732" y="1153"/>
                </a:cubicBezTo>
                <a:cubicBezTo>
                  <a:pt x="735" y="1156"/>
                  <a:pt x="735" y="1156"/>
                  <a:pt x="735" y="1156"/>
                </a:cubicBezTo>
                <a:cubicBezTo>
                  <a:pt x="736" y="1158"/>
                  <a:pt x="736" y="1158"/>
                  <a:pt x="736" y="1158"/>
                </a:cubicBezTo>
                <a:cubicBezTo>
                  <a:pt x="737" y="1160"/>
                  <a:pt x="737" y="1160"/>
                  <a:pt x="737" y="1160"/>
                </a:cubicBezTo>
                <a:cubicBezTo>
                  <a:pt x="738" y="1162"/>
                  <a:pt x="738" y="1162"/>
                  <a:pt x="738" y="1162"/>
                </a:cubicBezTo>
                <a:cubicBezTo>
                  <a:pt x="740" y="1163"/>
                  <a:pt x="740" y="1163"/>
                  <a:pt x="740" y="1163"/>
                </a:cubicBezTo>
                <a:cubicBezTo>
                  <a:pt x="741" y="1165"/>
                  <a:pt x="741" y="1165"/>
                  <a:pt x="741" y="1165"/>
                </a:cubicBezTo>
                <a:cubicBezTo>
                  <a:pt x="744" y="1170"/>
                  <a:pt x="744" y="1170"/>
                  <a:pt x="744" y="1170"/>
                </a:cubicBezTo>
                <a:cubicBezTo>
                  <a:pt x="744" y="1172"/>
                  <a:pt x="744" y="1172"/>
                  <a:pt x="744" y="1172"/>
                </a:cubicBezTo>
                <a:cubicBezTo>
                  <a:pt x="748" y="1177"/>
                  <a:pt x="748" y="1177"/>
                  <a:pt x="748" y="1177"/>
                </a:cubicBezTo>
                <a:cubicBezTo>
                  <a:pt x="748" y="1179"/>
                  <a:pt x="748" y="1179"/>
                  <a:pt x="748" y="1179"/>
                </a:cubicBezTo>
                <a:cubicBezTo>
                  <a:pt x="747" y="1179"/>
                  <a:pt x="747" y="1179"/>
                  <a:pt x="747" y="1179"/>
                </a:cubicBezTo>
                <a:cubicBezTo>
                  <a:pt x="746" y="1178"/>
                  <a:pt x="746" y="1178"/>
                  <a:pt x="746" y="1178"/>
                </a:cubicBezTo>
                <a:cubicBezTo>
                  <a:pt x="746" y="1179"/>
                  <a:pt x="746" y="1179"/>
                  <a:pt x="746" y="1179"/>
                </a:cubicBezTo>
                <a:cubicBezTo>
                  <a:pt x="746" y="1181"/>
                  <a:pt x="746" y="1181"/>
                  <a:pt x="746" y="1181"/>
                </a:cubicBezTo>
                <a:cubicBezTo>
                  <a:pt x="746" y="1183"/>
                  <a:pt x="746" y="1183"/>
                  <a:pt x="746" y="1183"/>
                </a:cubicBezTo>
                <a:cubicBezTo>
                  <a:pt x="747" y="1182"/>
                  <a:pt x="747" y="1182"/>
                  <a:pt x="747" y="1182"/>
                </a:cubicBezTo>
                <a:cubicBezTo>
                  <a:pt x="749" y="1183"/>
                  <a:pt x="749" y="1183"/>
                  <a:pt x="749" y="1183"/>
                </a:cubicBezTo>
                <a:cubicBezTo>
                  <a:pt x="749" y="1185"/>
                  <a:pt x="749" y="1185"/>
                  <a:pt x="749" y="1185"/>
                </a:cubicBezTo>
                <a:cubicBezTo>
                  <a:pt x="749" y="1186"/>
                  <a:pt x="749" y="1186"/>
                  <a:pt x="749" y="1186"/>
                </a:cubicBezTo>
                <a:cubicBezTo>
                  <a:pt x="752" y="1188"/>
                  <a:pt x="752" y="1188"/>
                  <a:pt x="752" y="1188"/>
                </a:cubicBezTo>
                <a:cubicBezTo>
                  <a:pt x="755" y="1189"/>
                  <a:pt x="755" y="1189"/>
                  <a:pt x="755" y="1189"/>
                </a:cubicBezTo>
                <a:cubicBezTo>
                  <a:pt x="755" y="1191"/>
                  <a:pt x="755" y="1191"/>
                  <a:pt x="755" y="1191"/>
                </a:cubicBezTo>
                <a:cubicBezTo>
                  <a:pt x="757" y="1193"/>
                  <a:pt x="757" y="1193"/>
                  <a:pt x="757" y="1193"/>
                </a:cubicBezTo>
                <a:cubicBezTo>
                  <a:pt x="759" y="1193"/>
                  <a:pt x="759" y="1193"/>
                  <a:pt x="759" y="1193"/>
                </a:cubicBezTo>
                <a:cubicBezTo>
                  <a:pt x="759" y="1194"/>
                  <a:pt x="759" y="1194"/>
                  <a:pt x="759" y="1194"/>
                </a:cubicBezTo>
                <a:cubicBezTo>
                  <a:pt x="760" y="1196"/>
                  <a:pt x="760" y="1196"/>
                  <a:pt x="760" y="1196"/>
                </a:cubicBezTo>
                <a:cubicBezTo>
                  <a:pt x="761" y="1196"/>
                  <a:pt x="761" y="1196"/>
                  <a:pt x="761" y="1196"/>
                </a:cubicBezTo>
                <a:cubicBezTo>
                  <a:pt x="765" y="1196"/>
                  <a:pt x="765" y="1196"/>
                  <a:pt x="765" y="1196"/>
                </a:cubicBezTo>
                <a:cubicBezTo>
                  <a:pt x="766" y="1195"/>
                  <a:pt x="766" y="1195"/>
                  <a:pt x="766" y="1195"/>
                </a:cubicBezTo>
                <a:cubicBezTo>
                  <a:pt x="765" y="1197"/>
                  <a:pt x="765" y="1197"/>
                  <a:pt x="765" y="1197"/>
                </a:cubicBezTo>
                <a:cubicBezTo>
                  <a:pt x="767" y="1199"/>
                  <a:pt x="767" y="1199"/>
                  <a:pt x="767" y="1199"/>
                </a:cubicBezTo>
                <a:cubicBezTo>
                  <a:pt x="770" y="1201"/>
                  <a:pt x="770" y="1201"/>
                  <a:pt x="770" y="1201"/>
                </a:cubicBezTo>
                <a:cubicBezTo>
                  <a:pt x="771" y="1202"/>
                  <a:pt x="771" y="1202"/>
                  <a:pt x="771" y="1202"/>
                </a:cubicBezTo>
                <a:cubicBezTo>
                  <a:pt x="772" y="1203"/>
                  <a:pt x="772" y="1203"/>
                  <a:pt x="772" y="1203"/>
                </a:cubicBezTo>
                <a:cubicBezTo>
                  <a:pt x="773" y="1204"/>
                  <a:pt x="773" y="1204"/>
                  <a:pt x="773" y="1204"/>
                </a:cubicBezTo>
                <a:cubicBezTo>
                  <a:pt x="776" y="1205"/>
                  <a:pt x="776" y="1205"/>
                  <a:pt x="776" y="1205"/>
                </a:cubicBezTo>
                <a:cubicBezTo>
                  <a:pt x="777" y="1205"/>
                  <a:pt x="777" y="1205"/>
                  <a:pt x="777" y="1205"/>
                </a:cubicBezTo>
                <a:cubicBezTo>
                  <a:pt x="778" y="1205"/>
                  <a:pt x="778" y="1205"/>
                  <a:pt x="778" y="1205"/>
                </a:cubicBezTo>
                <a:cubicBezTo>
                  <a:pt x="782" y="1208"/>
                  <a:pt x="782" y="1208"/>
                  <a:pt x="782" y="1208"/>
                </a:cubicBezTo>
                <a:cubicBezTo>
                  <a:pt x="785" y="1209"/>
                  <a:pt x="785" y="1209"/>
                  <a:pt x="785" y="1209"/>
                </a:cubicBezTo>
                <a:cubicBezTo>
                  <a:pt x="787" y="1209"/>
                  <a:pt x="787" y="1209"/>
                  <a:pt x="787" y="1209"/>
                </a:cubicBezTo>
                <a:cubicBezTo>
                  <a:pt x="788" y="1209"/>
                  <a:pt x="788" y="1209"/>
                  <a:pt x="788" y="1209"/>
                </a:cubicBezTo>
                <a:cubicBezTo>
                  <a:pt x="788" y="1211"/>
                  <a:pt x="788" y="1211"/>
                  <a:pt x="788" y="1211"/>
                </a:cubicBezTo>
                <a:cubicBezTo>
                  <a:pt x="791" y="1213"/>
                  <a:pt x="791" y="1213"/>
                  <a:pt x="791" y="1213"/>
                </a:cubicBezTo>
                <a:cubicBezTo>
                  <a:pt x="792" y="1214"/>
                  <a:pt x="792" y="1214"/>
                  <a:pt x="792" y="1214"/>
                </a:cubicBezTo>
                <a:cubicBezTo>
                  <a:pt x="795" y="1216"/>
                  <a:pt x="795" y="1216"/>
                  <a:pt x="795" y="1216"/>
                </a:cubicBezTo>
                <a:cubicBezTo>
                  <a:pt x="796" y="1216"/>
                  <a:pt x="796" y="1216"/>
                  <a:pt x="796" y="1216"/>
                </a:cubicBezTo>
                <a:cubicBezTo>
                  <a:pt x="797" y="1218"/>
                  <a:pt x="797" y="1218"/>
                  <a:pt x="797" y="1218"/>
                </a:cubicBezTo>
                <a:cubicBezTo>
                  <a:pt x="797" y="1219"/>
                  <a:pt x="797" y="1219"/>
                  <a:pt x="797" y="1219"/>
                </a:cubicBezTo>
                <a:cubicBezTo>
                  <a:pt x="797" y="1220"/>
                  <a:pt x="797" y="1220"/>
                  <a:pt x="797" y="1220"/>
                </a:cubicBezTo>
                <a:cubicBezTo>
                  <a:pt x="799" y="1221"/>
                  <a:pt x="799" y="1221"/>
                  <a:pt x="799" y="1221"/>
                </a:cubicBezTo>
                <a:cubicBezTo>
                  <a:pt x="801" y="1222"/>
                  <a:pt x="801" y="1222"/>
                  <a:pt x="801" y="1222"/>
                </a:cubicBezTo>
                <a:cubicBezTo>
                  <a:pt x="804" y="1224"/>
                  <a:pt x="804" y="1224"/>
                  <a:pt x="804" y="1224"/>
                </a:cubicBezTo>
                <a:cubicBezTo>
                  <a:pt x="807" y="1227"/>
                  <a:pt x="807" y="1227"/>
                  <a:pt x="807" y="1227"/>
                </a:cubicBezTo>
                <a:cubicBezTo>
                  <a:pt x="808" y="1227"/>
                  <a:pt x="808" y="1227"/>
                  <a:pt x="808" y="1227"/>
                </a:cubicBezTo>
                <a:cubicBezTo>
                  <a:pt x="809" y="1228"/>
                  <a:pt x="809" y="1228"/>
                  <a:pt x="809" y="1228"/>
                </a:cubicBezTo>
                <a:cubicBezTo>
                  <a:pt x="810" y="1229"/>
                  <a:pt x="810" y="1229"/>
                  <a:pt x="810" y="1229"/>
                </a:cubicBezTo>
                <a:cubicBezTo>
                  <a:pt x="810" y="1231"/>
                  <a:pt x="810" y="1231"/>
                  <a:pt x="810" y="1231"/>
                </a:cubicBezTo>
                <a:cubicBezTo>
                  <a:pt x="809" y="1234"/>
                  <a:pt x="809" y="1234"/>
                  <a:pt x="809" y="1234"/>
                </a:cubicBezTo>
                <a:cubicBezTo>
                  <a:pt x="810" y="1236"/>
                  <a:pt x="810" y="1236"/>
                  <a:pt x="810" y="1236"/>
                </a:cubicBezTo>
                <a:cubicBezTo>
                  <a:pt x="812" y="1244"/>
                  <a:pt x="812" y="1244"/>
                  <a:pt x="812" y="1244"/>
                </a:cubicBezTo>
                <a:cubicBezTo>
                  <a:pt x="812" y="1247"/>
                  <a:pt x="812" y="1247"/>
                  <a:pt x="812" y="1247"/>
                </a:cubicBezTo>
                <a:cubicBezTo>
                  <a:pt x="811" y="1249"/>
                  <a:pt x="811" y="1249"/>
                  <a:pt x="811" y="1249"/>
                </a:cubicBezTo>
                <a:cubicBezTo>
                  <a:pt x="810" y="1250"/>
                  <a:pt x="810" y="1250"/>
                  <a:pt x="810" y="1250"/>
                </a:cubicBezTo>
                <a:cubicBezTo>
                  <a:pt x="811" y="1254"/>
                  <a:pt x="811" y="1254"/>
                  <a:pt x="811" y="1254"/>
                </a:cubicBezTo>
                <a:cubicBezTo>
                  <a:pt x="812" y="1258"/>
                  <a:pt x="812" y="1258"/>
                  <a:pt x="812" y="1258"/>
                </a:cubicBezTo>
                <a:cubicBezTo>
                  <a:pt x="813" y="1261"/>
                  <a:pt x="813" y="1261"/>
                  <a:pt x="813" y="1261"/>
                </a:cubicBezTo>
                <a:cubicBezTo>
                  <a:pt x="813" y="1266"/>
                  <a:pt x="813" y="1266"/>
                  <a:pt x="813" y="1266"/>
                </a:cubicBezTo>
                <a:cubicBezTo>
                  <a:pt x="813" y="1268"/>
                  <a:pt x="813" y="1268"/>
                  <a:pt x="813" y="1268"/>
                </a:cubicBezTo>
                <a:cubicBezTo>
                  <a:pt x="812" y="1269"/>
                  <a:pt x="812" y="1269"/>
                  <a:pt x="812" y="1269"/>
                </a:cubicBezTo>
                <a:cubicBezTo>
                  <a:pt x="813" y="1276"/>
                  <a:pt x="813" y="1276"/>
                  <a:pt x="813" y="1276"/>
                </a:cubicBezTo>
                <a:cubicBezTo>
                  <a:pt x="813" y="1277"/>
                  <a:pt x="813" y="1277"/>
                  <a:pt x="813" y="1277"/>
                </a:cubicBezTo>
                <a:cubicBezTo>
                  <a:pt x="811" y="1278"/>
                  <a:pt x="811" y="1278"/>
                  <a:pt x="811" y="1278"/>
                </a:cubicBezTo>
                <a:cubicBezTo>
                  <a:pt x="810" y="1279"/>
                  <a:pt x="810" y="1279"/>
                  <a:pt x="810" y="1279"/>
                </a:cubicBezTo>
                <a:cubicBezTo>
                  <a:pt x="810" y="1283"/>
                  <a:pt x="810" y="1283"/>
                  <a:pt x="810" y="1283"/>
                </a:cubicBezTo>
                <a:cubicBezTo>
                  <a:pt x="811" y="1284"/>
                  <a:pt x="811" y="1284"/>
                  <a:pt x="811" y="1284"/>
                </a:cubicBezTo>
                <a:cubicBezTo>
                  <a:pt x="812" y="1283"/>
                  <a:pt x="812" y="1283"/>
                  <a:pt x="812" y="1283"/>
                </a:cubicBezTo>
                <a:cubicBezTo>
                  <a:pt x="813" y="1284"/>
                  <a:pt x="813" y="1284"/>
                  <a:pt x="813" y="1284"/>
                </a:cubicBezTo>
                <a:cubicBezTo>
                  <a:pt x="812" y="1285"/>
                  <a:pt x="812" y="1285"/>
                  <a:pt x="812" y="1285"/>
                </a:cubicBezTo>
                <a:cubicBezTo>
                  <a:pt x="812" y="1296"/>
                  <a:pt x="812" y="1296"/>
                  <a:pt x="812" y="1296"/>
                </a:cubicBezTo>
                <a:cubicBezTo>
                  <a:pt x="813" y="1300"/>
                  <a:pt x="813" y="1300"/>
                  <a:pt x="813" y="1300"/>
                </a:cubicBezTo>
                <a:cubicBezTo>
                  <a:pt x="813" y="1303"/>
                  <a:pt x="813" y="1303"/>
                  <a:pt x="813" y="1303"/>
                </a:cubicBezTo>
                <a:cubicBezTo>
                  <a:pt x="813" y="1306"/>
                  <a:pt x="813" y="1306"/>
                  <a:pt x="813" y="1306"/>
                </a:cubicBezTo>
                <a:cubicBezTo>
                  <a:pt x="811" y="1308"/>
                  <a:pt x="811" y="1308"/>
                  <a:pt x="811" y="1308"/>
                </a:cubicBezTo>
                <a:cubicBezTo>
                  <a:pt x="811" y="1311"/>
                  <a:pt x="811" y="1311"/>
                  <a:pt x="811" y="1311"/>
                </a:cubicBezTo>
                <a:cubicBezTo>
                  <a:pt x="813" y="1314"/>
                  <a:pt x="813" y="1314"/>
                  <a:pt x="813" y="1314"/>
                </a:cubicBezTo>
                <a:cubicBezTo>
                  <a:pt x="813" y="1316"/>
                  <a:pt x="813" y="1316"/>
                  <a:pt x="813" y="1316"/>
                </a:cubicBezTo>
                <a:cubicBezTo>
                  <a:pt x="813" y="1322"/>
                  <a:pt x="813" y="1322"/>
                  <a:pt x="813" y="1322"/>
                </a:cubicBezTo>
                <a:cubicBezTo>
                  <a:pt x="811" y="1323"/>
                  <a:pt x="811" y="1323"/>
                  <a:pt x="811" y="1323"/>
                </a:cubicBezTo>
                <a:cubicBezTo>
                  <a:pt x="811" y="1326"/>
                  <a:pt x="811" y="1326"/>
                  <a:pt x="811" y="1326"/>
                </a:cubicBezTo>
                <a:cubicBezTo>
                  <a:pt x="812" y="1328"/>
                  <a:pt x="812" y="1328"/>
                  <a:pt x="812" y="1328"/>
                </a:cubicBezTo>
                <a:cubicBezTo>
                  <a:pt x="812" y="1329"/>
                  <a:pt x="812" y="1329"/>
                  <a:pt x="812" y="1329"/>
                </a:cubicBezTo>
                <a:cubicBezTo>
                  <a:pt x="810" y="1331"/>
                  <a:pt x="810" y="1331"/>
                  <a:pt x="810" y="1331"/>
                </a:cubicBezTo>
                <a:cubicBezTo>
                  <a:pt x="810" y="1334"/>
                  <a:pt x="810" y="1334"/>
                  <a:pt x="810" y="1334"/>
                </a:cubicBezTo>
                <a:cubicBezTo>
                  <a:pt x="809" y="1336"/>
                  <a:pt x="809" y="1336"/>
                  <a:pt x="809" y="1336"/>
                </a:cubicBezTo>
                <a:cubicBezTo>
                  <a:pt x="810" y="1339"/>
                  <a:pt x="810" y="1339"/>
                  <a:pt x="810" y="1339"/>
                </a:cubicBezTo>
                <a:cubicBezTo>
                  <a:pt x="809" y="1340"/>
                  <a:pt x="809" y="1340"/>
                  <a:pt x="809" y="1340"/>
                </a:cubicBezTo>
                <a:cubicBezTo>
                  <a:pt x="808" y="1344"/>
                  <a:pt x="808" y="1344"/>
                  <a:pt x="808" y="1344"/>
                </a:cubicBezTo>
                <a:cubicBezTo>
                  <a:pt x="808" y="1346"/>
                  <a:pt x="808" y="1346"/>
                  <a:pt x="808" y="1346"/>
                </a:cubicBezTo>
                <a:cubicBezTo>
                  <a:pt x="809" y="1349"/>
                  <a:pt x="809" y="1349"/>
                  <a:pt x="809" y="1349"/>
                </a:cubicBezTo>
                <a:cubicBezTo>
                  <a:pt x="810" y="1352"/>
                  <a:pt x="810" y="1352"/>
                  <a:pt x="810" y="1352"/>
                </a:cubicBezTo>
                <a:cubicBezTo>
                  <a:pt x="811" y="1353"/>
                  <a:pt x="811" y="1353"/>
                  <a:pt x="811" y="1353"/>
                </a:cubicBezTo>
                <a:cubicBezTo>
                  <a:pt x="810" y="1354"/>
                  <a:pt x="810" y="1354"/>
                  <a:pt x="810" y="1354"/>
                </a:cubicBezTo>
                <a:cubicBezTo>
                  <a:pt x="809" y="1357"/>
                  <a:pt x="809" y="1357"/>
                  <a:pt x="809" y="1357"/>
                </a:cubicBezTo>
                <a:cubicBezTo>
                  <a:pt x="810" y="1358"/>
                  <a:pt x="810" y="1358"/>
                  <a:pt x="810" y="1358"/>
                </a:cubicBezTo>
                <a:cubicBezTo>
                  <a:pt x="809" y="1360"/>
                  <a:pt x="809" y="1360"/>
                  <a:pt x="809" y="1360"/>
                </a:cubicBezTo>
                <a:cubicBezTo>
                  <a:pt x="807" y="1361"/>
                  <a:pt x="807" y="1361"/>
                  <a:pt x="807" y="1361"/>
                </a:cubicBezTo>
                <a:cubicBezTo>
                  <a:pt x="807" y="1363"/>
                  <a:pt x="807" y="1363"/>
                  <a:pt x="807" y="1363"/>
                </a:cubicBezTo>
                <a:cubicBezTo>
                  <a:pt x="808" y="1366"/>
                  <a:pt x="808" y="1366"/>
                  <a:pt x="808" y="1366"/>
                </a:cubicBezTo>
                <a:cubicBezTo>
                  <a:pt x="808" y="1368"/>
                  <a:pt x="808" y="1368"/>
                  <a:pt x="808" y="1368"/>
                </a:cubicBezTo>
                <a:cubicBezTo>
                  <a:pt x="810" y="1374"/>
                  <a:pt x="810" y="1374"/>
                  <a:pt x="810" y="1374"/>
                </a:cubicBezTo>
                <a:cubicBezTo>
                  <a:pt x="810" y="1377"/>
                  <a:pt x="810" y="1377"/>
                  <a:pt x="810" y="1377"/>
                </a:cubicBezTo>
                <a:cubicBezTo>
                  <a:pt x="809" y="1378"/>
                  <a:pt x="809" y="1378"/>
                  <a:pt x="809" y="1378"/>
                </a:cubicBezTo>
                <a:cubicBezTo>
                  <a:pt x="809" y="1380"/>
                  <a:pt x="809" y="1380"/>
                  <a:pt x="809" y="1380"/>
                </a:cubicBezTo>
                <a:cubicBezTo>
                  <a:pt x="812" y="1383"/>
                  <a:pt x="812" y="1383"/>
                  <a:pt x="812" y="1383"/>
                </a:cubicBezTo>
                <a:cubicBezTo>
                  <a:pt x="812" y="1387"/>
                  <a:pt x="812" y="1387"/>
                  <a:pt x="812" y="1387"/>
                </a:cubicBezTo>
                <a:cubicBezTo>
                  <a:pt x="811" y="1389"/>
                  <a:pt x="811" y="1389"/>
                  <a:pt x="811" y="1389"/>
                </a:cubicBezTo>
                <a:cubicBezTo>
                  <a:pt x="811" y="1390"/>
                  <a:pt x="811" y="1390"/>
                  <a:pt x="811" y="1390"/>
                </a:cubicBezTo>
                <a:cubicBezTo>
                  <a:pt x="812" y="1392"/>
                  <a:pt x="812" y="1392"/>
                  <a:pt x="812" y="1392"/>
                </a:cubicBezTo>
                <a:cubicBezTo>
                  <a:pt x="811" y="1393"/>
                  <a:pt x="811" y="1393"/>
                  <a:pt x="811" y="1393"/>
                </a:cubicBezTo>
                <a:cubicBezTo>
                  <a:pt x="811" y="1395"/>
                  <a:pt x="811" y="1395"/>
                  <a:pt x="811" y="1395"/>
                </a:cubicBezTo>
                <a:cubicBezTo>
                  <a:pt x="811" y="1396"/>
                  <a:pt x="811" y="1396"/>
                  <a:pt x="811" y="1396"/>
                </a:cubicBezTo>
                <a:cubicBezTo>
                  <a:pt x="814" y="1399"/>
                  <a:pt x="814" y="1399"/>
                  <a:pt x="814" y="1399"/>
                </a:cubicBezTo>
                <a:cubicBezTo>
                  <a:pt x="814" y="1401"/>
                  <a:pt x="814" y="1401"/>
                  <a:pt x="814" y="1401"/>
                </a:cubicBezTo>
                <a:cubicBezTo>
                  <a:pt x="813" y="1403"/>
                  <a:pt x="813" y="1403"/>
                  <a:pt x="813" y="1403"/>
                </a:cubicBezTo>
                <a:cubicBezTo>
                  <a:pt x="811" y="1404"/>
                  <a:pt x="811" y="1404"/>
                  <a:pt x="811" y="1404"/>
                </a:cubicBezTo>
                <a:cubicBezTo>
                  <a:pt x="810" y="1407"/>
                  <a:pt x="810" y="1407"/>
                  <a:pt x="810" y="1407"/>
                </a:cubicBezTo>
                <a:cubicBezTo>
                  <a:pt x="810" y="1408"/>
                  <a:pt x="810" y="1408"/>
                  <a:pt x="810" y="1408"/>
                </a:cubicBezTo>
                <a:cubicBezTo>
                  <a:pt x="811" y="1408"/>
                  <a:pt x="811" y="1408"/>
                  <a:pt x="811" y="1408"/>
                </a:cubicBezTo>
                <a:cubicBezTo>
                  <a:pt x="810" y="1411"/>
                  <a:pt x="810" y="1411"/>
                  <a:pt x="810" y="1411"/>
                </a:cubicBezTo>
                <a:cubicBezTo>
                  <a:pt x="809" y="1412"/>
                  <a:pt x="809" y="1412"/>
                  <a:pt x="809" y="1412"/>
                </a:cubicBezTo>
                <a:cubicBezTo>
                  <a:pt x="809" y="1414"/>
                  <a:pt x="809" y="1414"/>
                  <a:pt x="809" y="1414"/>
                </a:cubicBezTo>
                <a:cubicBezTo>
                  <a:pt x="809" y="1417"/>
                  <a:pt x="809" y="1417"/>
                  <a:pt x="809" y="1417"/>
                </a:cubicBezTo>
                <a:cubicBezTo>
                  <a:pt x="808" y="1419"/>
                  <a:pt x="808" y="1419"/>
                  <a:pt x="808" y="1419"/>
                </a:cubicBezTo>
                <a:cubicBezTo>
                  <a:pt x="808" y="1420"/>
                  <a:pt x="808" y="1420"/>
                  <a:pt x="808" y="1420"/>
                </a:cubicBezTo>
                <a:cubicBezTo>
                  <a:pt x="807" y="1421"/>
                  <a:pt x="807" y="1421"/>
                  <a:pt x="807" y="1421"/>
                </a:cubicBezTo>
                <a:cubicBezTo>
                  <a:pt x="807" y="1424"/>
                  <a:pt x="807" y="1424"/>
                  <a:pt x="807" y="1424"/>
                </a:cubicBezTo>
                <a:cubicBezTo>
                  <a:pt x="806" y="1425"/>
                  <a:pt x="806" y="1425"/>
                  <a:pt x="806" y="1425"/>
                </a:cubicBezTo>
                <a:cubicBezTo>
                  <a:pt x="806" y="1426"/>
                  <a:pt x="806" y="1426"/>
                  <a:pt x="806" y="1426"/>
                </a:cubicBezTo>
                <a:cubicBezTo>
                  <a:pt x="807" y="1427"/>
                  <a:pt x="807" y="1427"/>
                  <a:pt x="807" y="1427"/>
                </a:cubicBezTo>
                <a:cubicBezTo>
                  <a:pt x="806" y="1429"/>
                  <a:pt x="806" y="1429"/>
                  <a:pt x="806" y="1429"/>
                </a:cubicBezTo>
                <a:cubicBezTo>
                  <a:pt x="805" y="1432"/>
                  <a:pt x="805" y="1432"/>
                  <a:pt x="805" y="1432"/>
                </a:cubicBezTo>
                <a:cubicBezTo>
                  <a:pt x="805" y="1434"/>
                  <a:pt x="805" y="1434"/>
                  <a:pt x="805" y="1434"/>
                </a:cubicBezTo>
                <a:cubicBezTo>
                  <a:pt x="804" y="1434"/>
                  <a:pt x="804" y="1434"/>
                  <a:pt x="804" y="1434"/>
                </a:cubicBezTo>
                <a:cubicBezTo>
                  <a:pt x="804" y="1436"/>
                  <a:pt x="804" y="1436"/>
                  <a:pt x="804" y="1436"/>
                </a:cubicBezTo>
                <a:cubicBezTo>
                  <a:pt x="803" y="1438"/>
                  <a:pt x="803" y="1438"/>
                  <a:pt x="803" y="1438"/>
                </a:cubicBezTo>
                <a:cubicBezTo>
                  <a:pt x="803" y="1439"/>
                  <a:pt x="803" y="1439"/>
                  <a:pt x="803" y="1439"/>
                </a:cubicBezTo>
                <a:cubicBezTo>
                  <a:pt x="804" y="1441"/>
                  <a:pt x="804" y="1441"/>
                  <a:pt x="804" y="1441"/>
                </a:cubicBezTo>
                <a:cubicBezTo>
                  <a:pt x="804" y="1443"/>
                  <a:pt x="804" y="1443"/>
                  <a:pt x="804" y="1443"/>
                </a:cubicBezTo>
                <a:cubicBezTo>
                  <a:pt x="803" y="1444"/>
                  <a:pt x="803" y="1444"/>
                  <a:pt x="803" y="1444"/>
                </a:cubicBezTo>
                <a:cubicBezTo>
                  <a:pt x="801" y="1445"/>
                  <a:pt x="801" y="1445"/>
                  <a:pt x="801" y="1445"/>
                </a:cubicBezTo>
                <a:cubicBezTo>
                  <a:pt x="800" y="1444"/>
                  <a:pt x="800" y="1444"/>
                  <a:pt x="800" y="1444"/>
                </a:cubicBezTo>
                <a:cubicBezTo>
                  <a:pt x="799" y="1444"/>
                  <a:pt x="799" y="1444"/>
                  <a:pt x="799" y="1444"/>
                </a:cubicBezTo>
                <a:cubicBezTo>
                  <a:pt x="799" y="1445"/>
                  <a:pt x="799" y="1445"/>
                  <a:pt x="799" y="1445"/>
                </a:cubicBezTo>
                <a:cubicBezTo>
                  <a:pt x="799" y="1447"/>
                  <a:pt x="799" y="1447"/>
                  <a:pt x="799" y="1447"/>
                </a:cubicBezTo>
                <a:cubicBezTo>
                  <a:pt x="799" y="1451"/>
                  <a:pt x="799" y="1451"/>
                  <a:pt x="799" y="1451"/>
                </a:cubicBezTo>
                <a:cubicBezTo>
                  <a:pt x="800" y="1453"/>
                  <a:pt x="800" y="1453"/>
                  <a:pt x="800" y="1453"/>
                </a:cubicBezTo>
                <a:cubicBezTo>
                  <a:pt x="803" y="1454"/>
                  <a:pt x="803" y="1454"/>
                  <a:pt x="803" y="1454"/>
                </a:cubicBezTo>
                <a:cubicBezTo>
                  <a:pt x="803" y="1457"/>
                  <a:pt x="803" y="1457"/>
                  <a:pt x="803" y="1457"/>
                </a:cubicBezTo>
                <a:cubicBezTo>
                  <a:pt x="802" y="1459"/>
                  <a:pt x="802" y="1459"/>
                  <a:pt x="802" y="1459"/>
                </a:cubicBezTo>
                <a:cubicBezTo>
                  <a:pt x="806" y="1465"/>
                  <a:pt x="806" y="1465"/>
                  <a:pt x="806" y="1465"/>
                </a:cubicBezTo>
                <a:cubicBezTo>
                  <a:pt x="806" y="1466"/>
                  <a:pt x="806" y="1466"/>
                  <a:pt x="806" y="1466"/>
                </a:cubicBezTo>
                <a:cubicBezTo>
                  <a:pt x="807" y="1467"/>
                  <a:pt x="807" y="1467"/>
                  <a:pt x="807" y="1467"/>
                </a:cubicBezTo>
                <a:cubicBezTo>
                  <a:pt x="807" y="1471"/>
                  <a:pt x="807" y="1471"/>
                  <a:pt x="807" y="1471"/>
                </a:cubicBezTo>
                <a:cubicBezTo>
                  <a:pt x="806" y="1475"/>
                  <a:pt x="806" y="1475"/>
                  <a:pt x="806" y="1475"/>
                </a:cubicBezTo>
                <a:cubicBezTo>
                  <a:pt x="806" y="1476"/>
                  <a:pt x="806" y="1476"/>
                  <a:pt x="806" y="1476"/>
                </a:cubicBezTo>
                <a:cubicBezTo>
                  <a:pt x="806" y="1477"/>
                  <a:pt x="806" y="1477"/>
                  <a:pt x="806" y="1477"/>
                </a:cubicBezTo>
                <a:cubicBezTo>
                  <a:pt x="806" y="1478"/>
                  <a:pt x="806" y="1478"/>
                  <a:pt x="806" y="1478"/>
                </a:cubicBezTo>
                <a:cubicBezTo>
                  <a:pt x="805" y="1478"/>
                  <a:pt x="805" y="1478"/>
                  <a:pt x="805" y="1478"/>
                </a:cubicBezTo>
                <a:cubicBezTo>
                  <a:pt x="804" y="1478"/>
                  <a:pt x="804" y="1478"/>
                  <a:pt x="804" y="1478"/>
                </a:cubicBezTo>
                <a:cubicBezTo>
                  <a:pt x="803" y="1480"/>
                  <a:pt x="803" y="1480"/>
                  <a:pt x="803" y="1480"/>
                </a:cubicBezTo>
                <a:cubicBezTo>
                  <a:pt x="804" y="1482"/>
                  <a:pt x="804" y="1482"/>
                  <a:pt x="804" y="1482"/>
                </a:cubicBezTo>
                <a:cubicBezTo>
                  <a:pt x="805" y="1483"/>
                  <a:pt x="805" y="1483"/>
                  <a:pt x="805" y="1483"/>
                </a:cubicBezTo>
                <a:cubicBezTo>
                  <a:pt x="804" y="1487"/>
                  <a:pt x="804" y="1487"/>
                  <a:pt x="804" y="1487"/>
                </a:cubicBezTo>
                <a:cubicBezTo>
                  <a:pt x="804" y="1489"/>
                  <a:pt x="804" y="1489"/>
                  <a:pt x="804" y="1489"/>
                </a:cubicBezTo>
                <a:cubicBezTo>
                  <a:pt x="803" y="1490"/>
                  <a:pt x="803" y="1490"/>
                  <a:pt x="803" y="1490"/>
                </a:cubicBezTo>
                <a:cubicBezTo>
                  <a:pt x="804" y="1491"/>
                  <a:pt x="804" y="1491"/>
                  <a:pt x="804" y="1491"/>
                </a:cubicBezTo>
                <a:cubicBezTo>
                  <a:pt x="804" y="1492"/>
                  <a:pt x="804" y="1492"/>
                  <a:pt x="804" y="1492"/>
                </a:cubicBezTo>
                <a:cubicBezTo>
                  <a:pt x="804" y="1493"/>
                  <a:pt x="804" y="1493"/>
                  <a:pt x="804" y="1493"/>
                </a:cubicBezTo>
                <a:cubicBezTo>
                  <a:pt x="804" y="1494"/>
                  <a:pt x="804" y="1494"/>
                  <a:pt x="804" y="1494"/>
                </a:cubicBezTo>
                <a:cubicBezTo>
                  <a:pt x="807" y="1499"/>
                  <a:pt x="807" y="1499"/>
                  <a:pt x="807" y="1499"/>
                </a:cubicBezTo>
                <a:cubicBezTo>
                  <a:pt x="808" y="1500"/>
                  <a:pt x="808" y="1500"/>
                  <a:pt x="808" y="1500"/>
                </a:cubicBezTo>
                <a:cubicBezTo>
                  <a:pt x="809" y="1501"/>
                  <a:pt x="809" y="1501"/>
                  <a:pt x="809" y="1501"/>
                </a:cubicBezTo>
                <a:cubicBezTo>
                  <a:pt x="812" y="1503"/>
                  <a:pt x="812" y="1503"/>
                  <a:pt x="812" y="1503"/>
                </a:cubicBezTo>
                <a:cubicBezTo>
                  <a:pt x="815" y="1502"/>
                  <a:pt x="815" y="1502"/>
                  <a:pt x="815" y="1502"/>
                </a:cubicBezTo>
                <a:cubicBezTo>
                  <a:pt x="815" y="1499"/>
                  <a:pt x="815" y="1499"/>
                  <a:pt x="815" y="1499"/>
                </a:cubicBezTo>
                <a:cubicBezTo>
                  <a:pt x="815" y="1498"/>
                  <a:pt x="815" y="1498"/>
                  <a:pt x="815" y="1498"/>
                </a:cubicBezTo>
                <a:cubicBezTo>
                  <a:pt x="817" y="1499"/>
                  <a:pt x="817" y="1499"/>
                  <a:pt x="817" y="1499"/>
                </a:cubicBezTo>
                <a:cubicBezTo>
                  <a:pt x="819" y="1500"/>
                  <a:pt x="819" y="1500"/>
                  <a:pt x="819" y="1500"/>
                </a:cubicBezTo>
                <a:cubicBezTo>
                  <a:pt x="819" y="1500"/>
                  <a:pt x="819" y="1500"/>
                  <a:pt x="819" y="1500"/>
                </a:cubicBezTo>
                <a:cubicBezTo>
                  <a:pt x="821" y="1500"/>
                  <a:pt x="821" y="1500"/>
                  <a:pt x="821" y="1500"/>
                </a:cubicBezTo>
                <a:cubicBezTo>
                  <a:pt x="820" y="1501"/>
                  <a:pt x="820" y="1501"/>
                  <a:pt x="820" y="1501"/>
                </a:cubicBezTo>
                <a:cubicBezTo>
                  <a:pt x="817" y="1503"/>
                  <a:pt x="817" y="1503"/>
                  <a:pt x="817" y="1503"/>
                </a:cubicBezTo>
                <a:cubicBezTo>
                  <a:pt x="817" y="1505"/>
                  <a:pt x="817" y="1505"/>
                  <a:pt x="817" y="1505"/>
                </a:cubicBezTo>
                <a:cubicBezTo>
                  <a:pt x="819" y="1505"/>
                  <a:pt x="819" y="1505"/>
                  <a:pt x="819" y="1505"/>
                </a:cubicBezTo>
                <a:cubicBezTo>
                  <a:pt x="820" y="1505"/>
                  <a:pt x="820" y="1505"/>
                  <a:pt x="820" y="1505"/>
                </a:cubicBezTo>
                <a:cubicBezTo>
                  <a:pt x="821" y="1506"/>
                  <a:pt x="821" y="1506"/>
                  <a:pt x="821" y="1506"/>
                </a:cubicBezTo>
                <a:cubicBezTo>
                  <a:pt x="821" y="1510"/>
                  <a:pt x="821" y="1510"/>
                  <a:pt x="821" y="1510"/>
                </a:cubicBezTo>
                <a:cubicBezTo>
                  <a:pt x="822" y="1511"/>
                  <a:pt x="822" y="1511"/>
                  <a:pt x="822" y="1511"/>
                </a:cubicBezTo>
                <a:cubicBezTo>
                  <a:pt x="821" y="1511"/>
                  <a:pt x="821" y="1511"/>
                  <a:pt x="821" y="1511"/>
                </a:cubicBezTo>
                <a:cubicBezTo>
                  <a:pt x="820" y="1510"/>
                  <a:pt x="820" y="1510"/>
                  <a:pt x="820" y="1510"/>
                </a:cubicBezTo>
                <a:cubicBezTo>
                  <a:pt x="820" y="1509"/>
                  <a:pt x="820" y="1509"/>
                  <a:pt x="820" y="1509"/>
                </a:cubicBezTo>
                <a:cubicBezTo>
                  <a:pt x="818" y="1508"/>
                  <a:pt x="818" y="1508"/>
                  <a:pt x="818" y="1508"/>
                </a:cubicBezTo>
                <a:cubicBezTo>
                  <a:pt x="818" y="1509"/>
                  <a:pt x="818" y="1509"/>
                  <a:pt x="818" y="1509"/>
                </a:cubicBezTo>
                <a:cubicBezTo>
                  <a:pt x="818" y="1510"/>
                  <a:pt x="818" y="1510"/>
                  <a:pt x="818" y="1510"/>
                </a:cubicBezTo>
                <a:cubicBezTo>
                  <a:pt x="820" y="1511"/>
                  <a:pt x="820" y="1511"/>
                  <a:pt x="820" y="1511"/>
                </a:cubicBezTo>
                <a:cubicBezTo>
                  <a:pt x="820" y="1512"/>
                  <a:pt x="820" y="1512"/>
                  <a:pt x="820" y="1512"/>
                </a:cubicBezTo>
                <a:cubicBezTo>
                  <a:pt x="819" y="1513"/>
                  <a:pt x="819" y="1513"/>
                  <a:pt x="819" y="1513"/>
                </a:cubicBezTo>
                <a:cubicBezTo>
                  <a:pt x="818" y="1514"/>
                  <a:pt x="818" y="1514"/>
                  <a:pt x="818" y="1514"/>
                </a:cubicBezTo>
                <a:cubicBezTo>
                  <a:pt x="818" y="1516"/>
                  <a:pt x="818" y="1516"/>
                  <a:pt x="818" y="1516"/>
                </a:cubicBezTo>
                <a:cubicBezTo>
                  <a:pt x="820" y="1518"/>
                  <a:pt x="820" y="1518"/>
                  <a:pt x="820" y="1518"/>
                </a:cubicBezTo>
                <a:cubicBezTo>
                  <a:pt x="818" y="1519"/>
                  <a:pt x="818" y="1519"/>
                  <a:pt x="818" y="1519"/>
                </a:cubicBezTo>
                <a:cubicBezTo>
                  <a:pt x="818" y="1521"/>
                  <a:pt x="818" y="1521"/>
                  <a:pt x="818" y="1521"/>
                </a:cubicBezTo>
                <a:cubicBezTo>
                  <a:pt x="819" y="1521"/>
                  <a:pt x="819" y="1521"/>
                  <a:pt x="819" y="1521"/>
                </a:cubicBezTo>
                <a:cubicBezTo>
                  <a:pt x="817" y="1523"/>
                  <a:pt x="817" y="1523"/>
                  <a:pt x="817" y="1523"/>
                </a:cubicBezTo>
                <a:cubicBezTo>
                  <a:pt x="817" y="1524"/>
                  <a:pt x="817" y="1524"/>
                  <a:pt x="817" y="1524"/>
                </a:cubicBezTo>
                <a:cubicBezTo>
                  <a:pt x="820" y="1526"/>
                  <a:pt x="820" y="1526"/>
                  <a:pt x="820" y="1526"/>
                </a:cubicBezTo>
                <a:cubicBezTo>
                  <a:pt x="819" y="1527"/>
                  <a:pt x="819" y="1527"/>
                  <a:pt x="819" y="1527"/>
                </a:cubicBezTo>
                <a:cubicBezTo>
                  <a:pt x="819" y="1530"/>
                  <a:pt x="819" y="1530"/>
                  <a:pt x="819" y="1530"/>
                </a:cubicBezTo>
                <a:cubicBezTo>
                  <a:pt x="817" y="1531"/>
                  <a:pt x="817" y="1531"/>
                  <a:pt x="817" y="1531"/>
                </a:cubicBezTo>
                <a:cubicBezTo>
                  <a:pt x="817" y="1533"/>
                  <a:pt x="817" y="1533"/>
                  <a:pt x="817" y="1533"/>
                </a:cubicBezTo>
                <a:cubicBezTo>
                  <a:pt x="818" y="1534"/>
                  <a:pt x="818" y="1534"/>
                  <a:pt x="818" y="1534"/>
                </a:cubicBezTo>
                <a:cubicBezTo>
                  <a:pt x="820" y="1534"/>
                  <a:pt x="820" y="1534"/>
                  <a:pt x="820" y="1534"/>
                </a:cubicBezTo>
                <a:cubicBezTo>
                  <a:pt x="822" y="1535"/>
                  <a:pt x="822" y="1535"/>
                  <a:pt x="822" y="1535"/>
                </a:cubicBezTo>
                <a:cubicBezTo>
                  <a:pt x="822" y="1537"/>
                  <a:pt x="822" y="1537"/>
                  <a:pt x="822" y="1537"/>
                </a:cubicBezTo>
                <a:cubicBezTo>
                  <a:pt x="824" y="1537"/>
                  <a:pt x="824" y="1537"/>
                  <a:pt x="824" y="1537"/>
                </a:cubicBezTo>
                <a:cubicBezTo>
                  <a:pt x="824" y="1538"/>
                  <a:pt x="824" y="1538"/>
                  <a:pt x="824" y="1538"/>
                </a:cubicBezTo>
                <a:cubicBezTo>
                  <a:pt x="824" y="1541"/>
                  <a:pt x="824" y="1541"/>
                  <a:pt x="824" y="1541"/>
                </a:cubicBezTo>
                <a:cubicBezTo>
                  <a:pt x="823" y="1543"/>
                  <a:pt x="823" y="1543"/>
                  <a:pt x="823" y="1543"/>
                </a:cubicBezTo>
                <a:cubicBezTo>
                  <a:pt x="820" y="1545"/>
                  <a:pt x="820" y="1545"/>
                  <a:pt x="820" y="1545"/>
                </a:cubicBezTo>
                <a:cubicBezTo>
                  <a:pt x="819" y="1545"/>
                  <a:pt x="819" y="1545"/>
                  <a:pt x="819" y="1545"/>
                </a:cubicBezTo>
                <a:cubicBezTo>
                  <a:pt x="819" y="1547"/>
                  <a:pt x="819" y="1547"/>
                  <a:pt x="819" y="1547"/>
                </a:cubicBezTo>
                <a:cubicBezTo>
                  <a:pt x="819" y="1549"/>
                  <a:pt x="819" y="1549"/>
                  <a:pt x="819" y="1549"/>
                </a:cubicBezTo>
                <a:cubicBezTo>
                  <a:pt x="819" y="1550"/>
                  <a:pt x="819" y="1550"/>
                  <a:pt x="819" y="1550"/>
                </a:cubicBezTo>
                <a:cubicBezTo>
                  <a:pt x="819" y="1551"/>
                  <a:pt x="819" y="1551"/>
                  <a:pt x="819" y="1551"/>
                </a:cubicBezTo>
                <a:cubicBezTo>
                  <a:pt x="820" y="1552"/>
                  <a:pt x="820" y="1552"/>
                  <a:pt x="820" y="1552"/>
                </a:cubicBezTo>
                <a:cubicBezTo>
                  <a:pt x="818" y="1554"/>
                  <a:pt x="818" y="1554"/>
                  <a:pt x="818" y="1554"/>
                </a:cubicBezTo>
                <a:cubicBezTo>
                  <a:pt x="817" y="1557"/>
                  <a:pt x="817" y="1557"/>
                  <a:pt x="817" y="1557"/>
                </a:cubicBezTo>
                <a:cubicBezTo>
                  <a:pt x="817" y="1559"/>
                  <a:pt x="817" y="1559"/>
                  <a:pt x="817" y="1559"/>
                </a:cubicBezTo>
                <a:cubicBezTo>
                  <a:pt x="818" y="1560"/>
                  <a:pt x="818" y="1560"/>
                  <a:pt x="818" y="1560"/>
                </a:cubicBezTo>
                <a:cubicBezTo>
                  <a:pt x="818" y="1561"/>
                  <a:pt x="818" y="1561"/>
                  <a:pt x="818" y="1561"/>
                </a:cubicBezTo>
                <a:cubicBezTo>
                  <a:pt x="817" y="1565"/>
                  <a:pt x="817" y="1565"/>
                  <a:pt x="817" y="1565"/>
                </a:cubicBezTo>
                <a:cubicBezTo>
                  <a:pt x="816" y="1565"/>
                  <a:pt x="816" y="1565"/>
                  <a:pt x="816" y="1565"/>
                </a:cubicBezTo>
                <a:cubicBezTo>
                  <a:pt x="816" y="1567"/>
                  <a:pt x="816" y="1567"/>
                  <a:pt x="816" y="1567"/>
                </a:cubicBezTo>
                <a:cubicBezTo>
                  <a:pt x="815" y="1566"/>
                  <a:pt x="815" y="1566"/>
                  <a:pt x="815" y="1566"/>
                </a:cubicBezTo>
                <a:cubicBezTo>
                  <a:pt x="816" y="1565"/>
                  <a:pt x="816" y="1565"/>
                  <a:pt x="816" y="1565"/>
                </a:cubicBezTo>
                <a:cubicBezTo>
                  <a:pt x="816" y="1562"/>
                  <a:pt x="816" y="1562"/>
                  <a:pt x="816" y="1562"/>
                </a:cubicBezTo>
                <a:cubicBezTo>
                  <a:pt x="816" y="1560"/>
                  <a:pt x="816" y="1560"/>
                  <a:pt x="816" y="1560"/>
                </a:cubicBezTo>
                <a:cubicBezTo>
                  <a:pt x="816" y="1559"/>
                  <a:pt x="816" y="1559"/>
                  <a:pt x="816" y="1559"/>
                </a:cubicBezTo>
                <a:cubicBezTo>
                  <a:pt x="815" y="1559"/>
                  <a:pt x="815" y="1559"/>
                  <a:pt x="815" y="1559"/>
                </a:cubicBezTo>
                <a:cubicBezTo>
                  <a:pt x="813" y="1560"/>
                  <a:pt x="813" y="1560"/>
                  <a:pt x="813" y="1560"/>
                </a:cubicBezTo>
                <a:cubicBezTo>
                  <a:pt x="811" y="1561"/>
                  <a:pt x="811" y="1561"/>
                  <a:pt x="811" y="1561"/>
                </a:cubicBezTo>
                <a:cubicBezTo>
                  <a:pt x="810" y="1561"/>
                  <a:pt x="810" y="1561"/>
                  <a:pt x="810" y="1561"/>
                </a:cubicBezTo>
                <a:cubicBezTo>
                  <a:pt x="810" y="1560"/>
                  <a:pt x="810" y="1560"/>
                  <a:pt x="810" y="1560"/>
                </a:cubicBezTo>
                <a:cubicBezTo>
                  <a:pt x="812" y="1559"/>
                  <a:pt x="812" y="1559"/>
                  <a:pt x="812" y="1559"/>
                </a:cubicBezTo>
                <a:cubicBezTo>
                  <a:pt x="813" y="1559"/>
                  <a:pt x="813" y="1559"/>
                  <a:pt x="813" y="1559"/>
                </a:cubicBezTo>
                <a:cubicBezTo>
                  <a:pt x="813" y="1556"/>
                  <a:pt x="813" y="1556"/>
                  <a:pt x="813" y="1556"/>
                </a:cubicBezTo>
                <a:cubicBezTo>
                  <a:pt x="812" y="1555"/>
                  <a:pt x="812" y="1555"/>
                  <a:pt x="812" y="1555"/>
                </a:cubicBezTo>
                <a:cubicBezTo>
                  <a:pt x="810" y="1556"/>
                  <a:pt x="810" y="1556"/>
                  <a:pt x="810" y="1556"/>
                </a:cubicBezTo>
                <a:cubicBezTo>
                  <a:pt x="807" y="1556"/>
                  <a:pt x="807" y="1556"/>
                  <a:pt x="807" y="1556"/>
                </a:cubicBezTo>
                <a:cubicBezTo>
                  <a:pt x="805" y="1556"/>
                  <a:pt x="805" y="1556"/>
                  <a:pt x="805" y="1556"/>
                </a:cubicBezTo>
                <a:cubicBezTo>
                  <a:pt x="804" y="1556"/>
                  <a:pt x="804" y="1556"/>
                  <a:pt x="804" y="1556"/>
                </a:cubicBezTo>
                <a:cubicBezTo>
                  <a:pt x="804" y="1557"/>
                  <a:pt x="804" y="1557"/>
                  <a:pt x="804" y="1557"/>
                </a:cubicBezTo>
                <a:cubicBezTo>
                  <a:pt x="805" y="1559"/>
                  <a:pt x="805" y="1559"/>
                  <a:pt x="805" y="1559"/>
                </a:cubicBezTo>
                <a:cubicBezTo>
                  <a:pt x="806" y="1560"/>
                  <a:pt x="806" y="1560"/>
                  <a:pt x="806" y="1560"/>
                </a:cubicBezTo>
                <a:cubicBezTo>
                  <a:pt x="806" y="1561"/>
                  <a:pt x="806" y="1561"/>
                  <a:pt x="806" y="1561"/>
                </a:cubicBezTo>
                <a:cubicBezTo>
                  <a:pt x="805" y="1561"/>
                  <a:pt x="805" y="1561"/>
                  <a:pt x="805" y="1561"/>
                </a:cubicBezTo>
                <a:cubicBezTo>
                  <a:pt x="804" y="1563"/>
                  <a:pt x="804" y="1563"/>
                  <a:pt x="804" y="1563"/>
                </a:cubicBezTo>
                <a:cubicBezTo>
                  <a:pt x="803" y="1564"/>
                  <a:pt x="803" y="1564"/>
                  <a:pt x="803" y="1564"/>
                </a:cubicBezTo>
                <a:cubicBezTo>
                  <a:pt x="802" y="1566"/>
                  <a:pt x="802" y="1566"/>
                  <a:pt x="802" y="1566"/>
                </a:cubicBezTo>
                <a:cubicBezTo>
                  <a:pt x="799" y="1567"/>
                  <a:pt x="799" y="1567"/>
                  <a:pt x="799" y="1567"/>
                </a:cubicBezTo>
                <a:cubicBezTo>
                  <a:pt x="799" y="1569"/>
                  <a:pt x="799" y="1569"/>
                  <a:pt x="799" y="1569"/>
                </a:cubicBezTo>
                <a:cubicBezTo>
                  <a:pt x="802" y="1572"/>
                  <a:pt x="802" y="1572"/>
                  <a:pt x="802" y="1572"/>
                </a:cubicBezTo>
                <a:cubicBezTo>
                  <a:pt x="804" y="1572"/>
                  <a:pt x="804" y="1572"/>
                  <a:pt x="804" y="1572"/>
                </a:cubicBezTo>
                <a:cubicBezTo>
                  <a:pt x="805" y="1571"/>
                  <a:pt x="805" y="1571"/>
                  <a:pt x="805" y="1571"/>
                </a:cubicBezTo>
                <a:cubicBezTo>
                  <a:pt x="804" y="1570"/>
                  <a:pt x="804" y="1570"/>
                  <a:pt x="804" y="1570"/>
                </a:cubicBezTo>
                <a:cubicBezTo>
                  <a:pt x="803" y="1569"/>
                  <a:pt x="803" y="1569"/>
                  <a:pt x="803" y="1569"/>
                </a:cubicBezTo>
                <a:cubicBezTo>
                  <a:pt x="802" y="1568"/>
                  <a:pt x="802" y="1568"/>
                  <a:pt x="802" y="1568"/>
                </a:cubicBezTo>
                <a:cubicBezTo>
                  <a:pt x="803" y="1567"/>
                  <a:pt x="803" y="1567"/>
                  <a:pt x="803" y="1567"/>
                </a:cubicBezTo>
                <a:cubicBezTo>
                  <a:pt x="806" y="1566"/>
                  <a:pt x="806" y="1566"/>
                  <a:pt x="806" y="1566"/>
                </a:cubicBezTo>
                <a:cubicBezTo>
                  <a:pt x="806" y="1566"/>
                  <a:pt x="806" y="1566"/>
                  <a:pt x="806" y="1566"/>
                </a:cubicBezTo>
                <a:cubicBezTo>
                  <a:pt x="807" y="1568"/>
                  <a:pt x="807" y="1568"/>
                  <a:pt x="807" y="1568"/>
                </a:cubicBezTo>
                <a:cubicBezTo>
                  <a:pt x="809" y="1569"/>
                  <a:pt x="809" y="1569"/>
                  <a:pt x="809" y="1569"/>
                </a:cubicBezTo>
                <a:cubicBezTo>
                  <a:pt x="811" y="1569"/>
                  <a:pt x="811" y="1569"/>
                  <a:pt x="811" y="1569"/>
                </a:cubicBezTo>
                <a:cubicBezTo>
                  <a:pt x="812" y="1568"/>
                  <a:pt x="812" y="1568"/>
                  <a:pt x="812" y="1568"/>
                </a:cubicBezTo>
                <a:cubicBezTo>
                  <a:pt x="813" y="1569"/>
                  <a:pt x="813" y="1569"/>
                  <a:pt x="813" y="1569"/>
                </a:cubicBezTo>
                <a:cubicBezTo>
                  <a:pt x="814" y="1570"/>
                  <a:pt x="814" y="1570"/>
                  <a:pt x="814" y="1570"/>
                </a:cubicBezTo>
                <a:cubicBezTo>
                  <a:pt x="817" y="1571"/>
                  <a:pt x="817" y="1571"/>
                  <a:pt x="817" y="1571"/>
                </a:cubicBezTo>
                <a:cubicBezTo>
                  <a:pt x="818" y="1572"/>
                  <a:pt x="818" y="1572"/>
                  <a:pt x="818" y="1572"/>
                </a:cubicBezTo>
                <a:cubicBezTo>
                  <a:pt x="816" y="1572"/>
                  <a:pt x="816" y="1572"/>
                  <a:pt x="816" y="1572"/>
                </a:cubicBezTo>
                <a:cubicBezTo>
                  <a:pt x="816" y="1574"/>
                  <a:pt x="816" y="1574"/>
                  <a:pt x="816" y="1574"/>
                </a:cubicBezTo>
                <a:cubicBezTo>
                  <a:pt x="817" y="1575"/>
                  <a:pt x="817" y="1575"/>
                  <a:pt x="817" y="1575"/>
                </a:cubicBezTo>
                <a:cubicBezTo>
                  <a:pt x="816" y="1576"/>
                  <a:pt x="816" y="1576"/>
                  <a:pt x="816" y="1576"/>
                </a:cubicBezTo>
                <a:cubicBezTo>
                  <a:pt x="815" y="1577"/>
                  <a:pt x="815" y="1577"/>
                  <a:pt x="815" y="1577"/>
                </a:cubicBezTo>
                <a:cubicBezTo>
                  <a:pt x="816" y="1578"/>
                  <a:pt x="816" y="1578"/>
                  <a:pt x="816" y="1578"/>
                </a:cubicBezTo>
                <a:cubicBezTo>
                  <a:pt x="817" y="1579"/>
                  <a:pt x="817" y="1579"/>
                  <a:pt x="817" y="1579"/>
                </a:cubicBezTo>
                <a:cubicBezTo>
                  <a:pt x="817" y="1580"/>
                  <a:pt x="817" y="1580"/>
                  <a:pt x="817" y="1580"/>
                </a:cubicBezTo>
                <a:cubicBezTo>
                  <a:pt x="815" y="1579"/>
                  <a:pt x="815" y="1579"/>
                  <a:pt x="815" y="1579"/>
                </a:cubicBezTo>
                <a:cubicBezTo>
                  <a:pt x="815" y="1578"/>
                  <a:pt x="815" y="1578"/>
                  <a:pt x="815" y="1578"/>
                </a:cubicBezTo>
                <a:cubicBezTo>
                  <a:pt x="814" y="1578"/>
                  <a:pt x="814" y="1578"/>
                  <a:pt x="814" y="1578"/>
                </a:cubicBezTo>
                <a:cubicBezTo>
                  <a:pt x="813" y="1580"/>
                  <a:pt x="813" y="1580"/>
                  <a:pt x="813" y="1580"/>
                </a:cubicBezTo>
                <a:cubicBezTo>
                  <a:pt x="815" y="1581"/>
                  <a:pt x="815" y="1581"/>
                  <a:pt x="815" y="1581"/>
                </a:cubicBezTo>
                <a:cubicBezTo>
                  <a:pt x="816" y="1583"/>
                  <a:pt x="816" y="1583"/>
                  <a:pt x="816" y="1583"/>
                </a:cubicBezTo>
                <a:cubicBezTo>
                  <a:pt x="818" y="1583"/>
                  <a:pt x="818" y="1583"/>
                  <a:pt x="818" y="1583"/>
                </a:cubicBezTo>
                <a:cubicBezTo>
                  <a:pt x="821" y="1582"/>
                  <a:pt x="821" y="1582"/>
                  <a:pt x="821" y="1582"/>
                </a:cubicBezTo>
                <a:cubicBezTo>
                  <a:pt x="822" y="1583"/>
                  <a:pt x="822" y="1583"/>
                  <a:pt x="822" y="1583"/>
                </a:cubicBezTo>
                <a:cubicBezTo>
                  <a:pt x="823" y="1583"/>
                  <a:pt x="823" y="1583"/>
                  <a:pt x="823" y="1583"/>
                </a:cubicBezTo>
                <a:cubicBezTo>
                  <a:pt x="825" y="1582"/>
                  <a:pt x="825" y="1582"/>
                  <a:pt x="825" y="1582"/>
                </a:cubicBezTo>
                <a:cubicBezTo>
                  <a:pt x="824" y="1583"/>
                  <a:pt x="824" y="1583"/>
                  <a:pt x="824" y="1583"/>
                </a:cubicBezTo>
                <a:cubicBezTo>
                  <a:pt x="824" y="1584"/>
                  <a:pt x="824" y="1584"/>
                  <a:pt x="824" y="1584"/>
                </a:cubicBezTo>
                <a:cubicBezTo>
                  <a:pt x="824" y="1584"/>
                  <a:pt x="824" y="1584"/>
                  <a:pt x="824" y="1584"/>
                </a:cubicBezTo>
                <a:cubicBezTo>
                  <a:pt x="822" y="1585"/>
                  <a:pt x="822" y="1585"/>
                  <a:pt x="822" y="1585"/>
                </a:cubicBezTo>
                <a:cubicBezTo>
                  <a:pt x="821" y="1585"/>
                  <a:pt x="821" y="1585"/>
                  <a:pt x="821" y="1585"/>
                </a:cubicBezTo>
                <a:cubicBezTo>
                  <a:pt x="820" y="1584"/>
                  <a:pt x="820" y="1584"/>
                  <a:pt x="820" y="1584"/>
                </a:cubicBezTo>
                <a:cubicBezTo>
                  <a:pt x="817" y="1585"/>
                  <a:pt x="817" y="1585"/>
                  <a:pt x="817" y="1585"/>
                </a:cubicBezTo>
                <a:cubicBezTo>
                  <a:pt x="816" y="1586"/>
                  <a:pt x="816" y="1586"/>
                  <a:pt x="816" y="1586"/>
                </a:cubicBezTo>
                <a:cubicBezTo>
                  <a:pt x="817" y="1587"/>
                  <a:pt x="817" y="1587"/>
                  <a:pt x="817" y="1587"/>
                </a:cubicBezTo>
                <a:cubicBezTo>
                  <a:pt x="819" y="1589"/>
                  <a:pt x="819" y="1589"/>
                  <a:pt x="819" y="1589"/>
                </a:cubicBezTo>
                <a:cubicBezTo>
                  <a:pt x="819" y="1590"/>
                  <a:pt x="819" y="1590"/>
                  <a:pt x="819" y="1590"/>
                </a:cubicBezTo>
                <a:cubicBezTo>
                  <a:pt x="821" y="1591"/>
                  <a:pt x="821" y="1591"/>
                  <a:pt x="821" y="1591"/>
                </a:cubicBezTo>
                <a:cubicBezTo>
                  <a:pt x="822" y="1590"/>
                  <a:pt x="822" y="1590"/>
                  <a:pt x="822" y="1590"/>
                </a:cubicBezTo>
                <a:cubicBezTo>
                  <a:pt x="822" y="1591"/>
                  <a:pt x="822" y="1591"/>
                  <a:pt x="822" y="1591"/>
                </a:cubicBezTo>
                <a:cubicBezTo>
                  <a:pt x="820" y="1593"/>
                  <a:pt x="820" y="1593"/>
                  <a:pt x="820" y="1593"/>
                </a:cubicBezTo>
                <a:cubicBezTo>
                  <a:pt x="820" y="1594"/>
                  <a:pt x="820" y="1594"/>
                  <a:pt x="820" y="1594"/>
                </a:cubicBezTo>
                <a:cubicBezTo>
                  <a:pt x="821" y="1594"/>
                  <a:pt x="821" y="1594"/>
                  <a:pt x="821" y="1594"/>
                </a:cubicBezTo>
                <a:cubicBezTo>
                  <a:pt x="820" y="1596"/>
                  <a:pt x="820" y="1596"/>
                  <a:pt x="820" y="1596"/>
                </a:cubicBezTo>
                <a:cubicBezTo>
                  <a:pt x="819" y="1596"/>
                  <a:pt x="819" y="1596"/>
                  <a:pt x="819" y="1596"/>
                </a:cubicBezTo>
                <a:cubicBezTo>
                  <a:pt x="819" y="1597"/>
                  <a:pt x="819" y="1597"/>
                  <a:pt x="819" y="1597"/>
                </a:cubicBezTo>
                <a:cubicBezTo>
                  <a:pt x="820" y="1602"/>
                  <a:pt x="820" y="1602"/>
                  <a:pt x="820" y="1602"/>
                </a:cubicBezTo>
                <a:cubicBezTo>
                  <a:pt x="821" y="1603"/>
                  <a:pt x="821" y="1603"/>
                  <a:pt x="821" y="1603"/>
                </a:cubicBezTo>
                <a:cubicBezTo>
                  <a:pt x="821" y="1606"/>
                  <a:pt x="821" y="1606"/>
                  <a:pt x="821" y="1606"/>
                </a:cubicBezTo>
                <a:cubicBezTo>
                  <a:pt x="822" y="1608"/>
                  <a:pt x="822" y="1608"/>
                  <a:pt x="822" y="1608"/>
                </a:cubicBezTo>
                <a:cubicBezTo>
                  <a:pt x="824" y="1608"/>
                  <a:pt x="824" y="1608"/>
                  <a:pt x="824" y="1608"/>
                </a:cubicBezTo>
                <a:cubicBezTo>
                  <a:pt x="824" y="1605"/>
                  <a:pt x="824" y="1605"/>
                  <a:pt x="824" y="1605"/>
                </a:cubicBezTo>
                <a:cubicBezTo>
                  <a:pt x="825" y="1601"/>
                  <a:pt x="825" y="1601"/>
                  <a:pt x="825" y="1601"/>
                </a:cubicBezTo>
                <a:cubicBezTo>
                  <a:pt x="826" y="1600"/>
                  <a:pt x="826" y="1600"/>
                  <a:pt x="826" y="1600"/>
                </a:cubicBezTo>
                <a:cubicBezTo>
                  <a:pt x="827" y="1601"/>
                  <a:pt x="827" y="1601"/>
                  <a:pt x="827" y="1601"/>
                </a:cubicBezTo>
                <a:cubicBezTo>
                  <a:pt x="826" y="1601"/>
                  <a:pt x="826" y="1601"/>
                  <a:pt x="826" y="1601"/>
                </a:cubicBezTo>
                <a:cubicBezTo>
                  <a:pt x="825" y="1605"/>
                  <a:pt x="825" y="1605"/>
                  <a:pt x="825" y="1605"/>
                </a:cubicBezTo>
                <a:cubicBezTo>
                  <a:pt x="825" y="1606"/>
                  <a:pt x="825" y="1606"/>
                  <a:pt x="825" y="1606"/>
                </a:cubicBezTo>
                <a:cubicBezTo>
                  <a:pt x="826" y="1607"/>
                  <a:pt x="826" y="1607"/>
                  <a:pt x="826" y="1607"/>
                </a:cubicBezTo>
                <a:cubicBezTo>
                  <a:pt x="828" y="1607"/>
                  <a:pt x="828" y="1607"/>
                  <a:pt x="828" y="1607"/>
                </a:cubicBezTo>
                <a:cubicBezTo>
                  <a:pt x="827" y="1608"/>
                  <a:pt x="827" y="1608"/>
                  <a:pt x="827" y="1608"/>
                </a:cubicBezTo>
                <a:cubicBezTo>
                  <a:pt x="825" y="1608"/>
                  <a:pt x="825" y="1608"/>
                  <a:pt x="825" y="1608"/>
                </a:cubicBezTo>
                <a:cubicBezTo>
                  <a:pt x="823" y="1610"/>
                  <a:pt x="823" y="1610"/>
                  <a:pt x="823" y="1610"/>
                </a:cubicBezTo>
                <a:cubicBezTo>
                  <a:pt x="823" y="1611"/>
                  <a:pt x="823" y="1611"/>
                  <a:pt x="823" y="1611"/>
                </a:cubicBezTo>
                <a:cubicBezTo>
                  <a:pt x="823" y="1613"/>
                  <a:pt x="823" y="1613"/>
                  <a:pt x="823" y="1613"/>
                </a:cubicBezTo>
                <a:cubicBezTo>
                  <a:pt x="823" y="1615"/>
                  <a:pt x="823" y="1615"/>
                  <a:pt x="823" y="1615"/>
                </a:cubicBezTo>
                <a:cubicBezTo>
                  <a:pt x="822" y="1615"/>
                  <a:pt x="822" y="1615"/>
                  <a:pt x="822" y="1615"/>
                </a:cubicBezTo>
                <a:cubicBezTo>
                  <a:pt x="821" y="1617"/>
                  <a:pt x="821" y="1617"/>
                  <a:pt x="821" y="1617"/>
                </a:cubicBezTo>
                <a:cubicBezTo>
                  <a:pt x="821" y="1618"/>
                  <a:pt x="821" y="1618"/>
                  <a:pt x="821" y="1618"/>
                </a:cubicBezTo>
                <a:cubicBezTo>
                  <a:pt x="824" y="1620"/>
                  <a:pt x="824" y="1620"/>
                  <a:pt x="824" y="1620"/>
                </a:cubicBezTo>
                <a:cubicBezTo>
                  <a:pt x="828" y="1621"/>
                  <a:pt x="828" y="1621"/>
                  <a:pt x="828" y="1621"/>
                </a:cubicBezTo>
                <a:cubicBezTo>
                  <a:pt x="829" y="1622"/>
                  <a:pt x="829" y="1622"/>
                  <a:pt x="829" y="1622"/>
                </a:cubicBezTo>
                <a:cubicBezTo>
                  <a:pt x="829" y="1623"/>
                  <a:pt x="829" y="1623"/>
                  <a:pt x="829" y="1623"/>
                </a:cubicBezTo>
                <a:cubicBezTo>
                  <a:pt x="828" y="1623"/>
                  <a:pt x="828" y="1623"/>
                  <a:pt x="828" y="1623"/>
                </a:cubicBezTo>
                <a:cubicBezTo>
                  <a:pt x="829" y="1625"/>
                  <a:pt x="829" y="1625"/>
                  <a:pt x="829" y="1625"/>
                </a:cubicBezTo>
                <a:cubicBezTo>
                  <a:pt x="830" y="1626"/>
                  <a:pt x="830" y="1626"/>
                  <a:pt x="830" y="1626"/>
                </a:cubicBezTo>
                <a:cubicBezTo>
                  <a:pt x="831" y="1624"/>
                  <a:pt x="831" y="1624"/>
                  <a:pt x="831" y="1624"/>
                </a:cubicBezTo>
                <a:cubicBezTo>
                  <a:pt x="831" y="1626"/>
                  <a:pt x="831" y="1626"/>
                  <a:pt x="831" y="1626"/>
                </a:cubicBezTo>
                <a:cubicBezTo>
                  <a:pt x="831" y="1627"/>
                  <a:pt x="831" y="1627"/>
                  <a:pt x="831" y="1627"/>
                </a:cubicBezTo>
                <a:cubicBezTo>
                  <a:pt x="829" y="1628"/>
                  <a:pt x="829" y="1628"/>
                  <a:pt x="829" y="1628"/>
                </a:cubicBezTo>
                <a:cubicBezTo>
                  <a:pt x="828" y="1629"/>
                  <a:pt x="828" y="1629"/>
                  <a:pt x="828" y="1629"/>
                </a:cubicBezTo>
                <a:cubicBezTo>
                  <a:pt x="829" y="1630"/>
                  <a:pt x="829" y="1630"/>
                  <a:pt x="829" y="1630"/>
                </a:cubicBezTo>
                <a:cubicBezTo>
                  <a:pt x="830" y="1630"/>
                  <a:pt x="830" y="1630"/>
                  <a:pt x="830" y="1630"/>
                </a:cubicBezTo>
                <a:cubicBezTo>
                  <a:pt x="830" y="1631"/>
                  <a:pt x="830" y="1631"/>
                  <a:pt x="830" y="1631"/>
                </a:cubicBezTo>
                <a:cubicBezTo>
                  <a:pt x="832" y="1633"/>
                  <a:pt x="832" y="1633"/>
                  <a:pt x="832" y="1633"/>
                </a:cubicBezTo>
                <a:cubicBezTo>
                  <a:pt x="833" y="1633"/>
                  <a:pt x="833" y="1633"/>
                  <a:pt x="833" y="1633"/>
                </a:cubicBezTo>
                <a:cubicBezTo>
                  <a:pt x="834" y="1632"/>
                  <a:pt x="834" y="1632"/>
                  <a:pt x="834" y="1632"/>
                </a:cubicBezTo>
                <a:cubicBezTo>
                  <a:pt x="834" y="1634"/>
                  <a:pt x="834" y="1634"/>
                  <a:pt x="834" y="1634"/>
                </a:cubicBezTo>
                <a:cubicBezTo>
                  <a:pt x="834" y="1636"/>
                  <a:pt x="834" y="1636"/>
                  <a:pt x="834" y="1636"/>
                </a:cubicBezTo>
                <a:cubicBezTo>
                  <a:pt x="833" y="1636"/>
                  <a:pt x="833" y="1636"/>
                  <a:pt x="833" y="1636"/>
                </a:cubicBezTo>
                <a:cubicBezTo>
                  <a:pt x="833" y="1635"/>
                  <a:pt x="833" y="1635"/>
                  <a:pt x="833" y="1635"/>
                </a:cubicBezTo>
                <a:cubicBezTo>
                  <a:pt x="832" y="1635"/>
                  <a:pt x="832" y="1635"/>
                  <a:pt x="832" y="1635"/>
                </a:cubicBezTo>
                <a:cubicBezTo>
                  <a:pt x="831" y="1636"/>
                  <a:pt x="831" y="1636"/>
                  <a:pt x="831" y="1636"/>
                </a:cubicBezTo>
                <a:cubicBezTo>
                  <a:pt x="833" y="1639"/>
                  <a:pt x="833" y="1639"/>
                  <a:pt x="833" y="1639"/>
                </a:cubicBezTo>
                <a:cubicBezTo>
                  <a:pt x="834" y="1639"/>
                  <a:pt x="834" y="1639"/>
                  <a:pt x="834" y="1639"/>
                </a:cubicBezTo>
                <a:cubicBezTo>
                  <a:pt x="834" y="1641"/>
                  <a:pt x="834" y="1641"/>
                  <a:pt x="834" y="1641"/>
                </a:cubicBezTo>
                <a:cubicBezTo>
                  <a:pt x="835" y="1642"/>
                  <a:pt x="835" y="1642"/>
                  <a:pt x="835" y="1642"/>
                </a:cubicBezTo>
                <a:cubicBezTo>
                  <a:pt x="837" y="1644"/>
                  <a:pt x="837" y="1644"/>
                  <a:pt x="837" y="1644"/>
                </a:cubicBezTo>
                <a:cubicBezTo>
                  <a:pt x="838" y="1643"/>
                  <a:pt x="838" y="1643"/>
                  <a:pt x="838" y="1643"/>
                </a:cubicBezTo>
                <a:cubicBezTo>
                  <a:pt x="837" y="1641"/>
                  <a:pt x="837" y="1641"/>
                  <a:pt x="837" y="1641"/>
                </a:cubicBezTo>
                <a:cubicBezTo>
                  <a:pt x="838" y="1640"/>
                  <a:pt x="838" y="1640"/>
                  <a:pt x="838" y="1640"/>
                </a:cubicBezTo>
                <a:cubicBezTo>
                  <a:pt x="837" y="1638"/>
                  <a:pt x="837" y="1638"/>
                  <a:pt x="837" y="1638"/>
                </a:cubicBezTo>
                <a:cubicBezTo>
                  <a:pt x="839" y="1639"/>
                  <a:pt x="839" y="1639"/>
                  <a:pt x="839" y="1639"/>
                </a:cubicBezTo>
                <a:cubicBezTo>
                  <a:pt x="839" y="1641"/>
                  <a:pt x="839" y="1641"/>
                  <a:pt x="839" y="1641"/>
                </a:cubicBezTo>
                <a:cubicBezTo>
                  <a:pt x="840" y="1642"/>
                  <a:pt x="840" y="1642"/>
                  <a:pt x="840" y="1642"/>
                </a:cubicBezTo>
                <a:cubicBezTo>
                  <a:pt x="841" y="1640"/>
                  <a:pt x="841" y="1640"/>
                  <a:pt x="841" y="1640"/>
                </a:cubicBezTo>
                <a:cubicBezTo>
                  <a:pt x="842" y="1639"/>
                  <a:pt x="842" y="1639"/>
                  <a:pt x="842" y="1639"/>
                </a:cubicBezTo>
                <a:cubicBezTo>
                  <a:pt x="842" y="1638"/>
                  <a:pt x="842" y="1638"/>
                  <a:pt x="842" y="1638"/>
                </a:cubicBezTo>
                <a:cubicBezTo>
                  <a:pt x="841" y="1637"/>
                  <a:pt x="841" y="1637"/>
                  <a:pt x="841" y="1637"/>
                </a:cubicBezTo>
                <a:cubicBezTo>
                  <a:pt x="839" y="1637"/>
                  <a:pt x="839" y="1637"/>
                  <a:pt x="839" y="1637"/>
                </a:cubicBezTo>
                <a:cubicBezTo>
                  <a:pt x="839" y="1636"/>
                  <a:pt x="839" y="1636"/>
                  <a:pt x="839" y="1636"/>
                </a:cubicBezTo>
                <a:cubicBezTo>
                  <a:pt x="840" y="1636"/>
                  <a:pt x="840" y="1636"/>
                  <a:pt x="840" y="1636"/>
                </a:cubicBezTo>
                <a:cubicBezTo>
                  <a:pt x="843" y="1637"/>
                  <a:pt x="843" y="1637"/>
                  <a:pt x="843" y="1637"/>
                </a:cubicBezTo>
                <a:cubicBezTo>
                  <a:pt x="844" y="1638"/>
                  <a:pt x="844" y="1638"/>
                  <a:pt x="844" y="1638"/>
                </a:cubicBezTo>
                <a:cubicBezTo>
                  <a:pt x="846" y="1638"/>
                  <a:pt x="846" y="1638"/>
                  <a:pt x="846" y="1638"/>
                </a:cubicBezTo>
                <a:cubicBezTo>
                  <a:pt x="845" y="1636"/>
                  <a:pt x="845" y="1636"/>
                  <a:pt x="845" y="1636"/>
                </a:cubicBezTo>
                <a:cubicBezTo>
                  <a:pt x="843" y="1635"/>
                  <a:pt x="843" y="1635"/>
                  <a:pt x="843" y="1635"/>
                </a:cubicBezTo>
                <a:cubicBezTo>
                  <a:pt x="840" y="1635"/>
                  <a:pt x="840" y="1635"/>
                  <a:pt x="840" y="1635"/>
                </a:cubicBezTo>
                <a:cubicBezTo>
                  <a:pt x="840" y="1634"/>
                  <a:pt x="840" y="1634"/>
                  <a:pt x="840" y="1634"/>
                </a:cubicBezTo>
                <a:cubicBezTo>
                  <a:pt x="841" y="1634"/>
                  <a:pt x="841" y="1634"/>
                  <a:pt x="841" y="1634"/>
                </a:cubicBezTo>
                <a:cubicBezTo>
                  <a:pt x="844" y="1635"/>
                  <a:pt x="844" y="1635"/>
                  <a:pt x="844" y="1635"/>
                </a:cubicBezTo>
                <a:cubicBezTo>
                  <a:pt x="847" y="1637"/>
                  <a:pt x="847" y="1637"/>
                  <a:pt x="847" y="1637"/>
                </a:cubicBezTo>
                <a:cubicBezTo>
                  <a:pt x="848" y="1639"/>
                  <a:pt x="848" y="1639"/>
                  <a:pt x="848" y="1639"/>
                </a:cubicBezTo>
                <a:cubicBezTo>
                  <a:pt x="846" y="1641"/>
                  <a:pt x="846" y="1641"/>
                  <a:pt x="846" y="1641"/>
                </a:cubicBezTo>
                <a:cubicBezTo>
                  <a:pt x="846" y="1642"/>
                  <a:pt x="846" y="1642"/>
                  <a:pt x="846" y="1642"/>
                </a:cubicBezTo>
                <a:cubicBezTo>
                  <a:pt x="848" y="1645"/>
                  <a:pt x="848" y="1645"/>
                  <a:pt x="848" y="1645"/>
                </a:cubicBezTo>
                <a:cubicBezTo>
                  <a:pt x="847" y="1646"/>
                  <a:pt x="847" y="1646"/>
                  <a:pt x="847" y="1646"/>
                </a:cubicBezTo>
                <a:cubicBezTo>
                  <a:pt x="846" y="1647"/>
                  <a:pt x="846" y="1647"/>
                  <a:pt x="846" y="1647"/>
                </a:cubicBezTo>
                <a:cubicBezTo>
                  <a:pt x="847" y="1645"/>
                  <a:pt x="847" y="1645"/>
                  <a:pt x="847" y="1645"/>
                </a:cubicBezTo>
                <a:cubicBezTo>
                  <a:pt x="845" y="1642"/>
                  <a:pt x="845" y="1642"/>
                  <a:pt x="845" y="1642"/>
                </a:cubicBezTo>
                <a:cubicBezTo>
                  <a:pt x="844" y="1641"/>
                  <a:pt x="844" y="1641"/>
                  <a:pt x="844" y="1641"/>
                </a:cubicBezTo>
                <a:cubicBezTo>
                  <a:pt x="843" y="1642"/>
                  <a:pt x="843" y="1642"/>
                  <a:pt x="843" y="1642"/>
                </a:cubicBezTo>
                <a:cubicBezTo>
                  <a:pt x="843" y="1644"/>
                  <a:pt x="843" y="1644"/>
                  <a:pt x="843" y="1644"/>
                </a:cubicBezTo>
                <a:cubicBezTo>
                  <a:pt x="844" y="1645"/>
                  <a:pt x="844" y="1645"/>
                  <a:pt x="844" y="1645"/>
                </a:cubicBezTo>
                <a:cubicBezTo>
                  <a:pt x="843" y="1646"/>
                  <a:pt x="843" y="1646"/>
                  <a:pt x="843" y="1646"/>
                </a:cubicBezTo>
                <a:cubicBezTo>
                  <a:pt x="842" y="1645"/>
                  <a:pt x="842" y="1645"/>
                  <a:pt x="842" y="1645"/>
                </a:cubicBezTo>
                <a:cubicBezTo>
                  <a:pt x="842" y="1644"/>
                  <a:pt x="842" y="1644"/>
                  <a:pt x="842" y="1644"/>
                </a:cubicBezTo>
                <a:cubicBezTo>
                  <a:pt x="841" y="1644"/>
                  <a:pt x="841" y="1644"/>
                  <a:pt x="841" y="1644"/>
                </a:cubicBezTo>
                <a:cubicBezTo>
                  <a:pt x="839" y="1645"/>
                  <a:pt x="839" y="1645"/>
                  <a:pt x="839" y="1645"/>
                </a:cubicBezTo>
                <a:cubicBezTo>
                  <a:pt x="837" y="1645"/>
                  <a:pt x="837" y="1645"/>
                  <a:pt x="837" y="1645"/>
                </a:cubicBezTo>
                <a:cubicBezTo>
                  <a:pt x="835" y="1646"/>
                  <a:pt x="835" y="1646"/>
                  <a:pt x="835" y="1646"/>
                </a:cubicBezTo>
                <a:cubicBezTo>
                  <a:pt x="837" y="1647"/>
                  <a:pt x="837" y="1647"/>
                  <a:pt x="837" y="1647"/>
                </a:cubicBezTo>
                <a:cubicBezTo>
                  <a:pt x="837" y="1649"/>
                  <a:pt x="837" y="1649"/>
                  <a:pt x="837" y="1649"/>
                </a:cubicBezTo>
                <a:cubicBezTo>
                  <a:pt x="838" y="1651"/>
                  <a:pt x="838" y="1651"/>
                  <a:pt x="838" y="1651"/>
                </a:cubicBezTo>
                <a:cubicBezTo>
                  <a:pt x="838" y="1652"/>
                  <a:pt x="838" y="1652"/>
                  <a:pt x="838" y="1652"/>
                </a:cubicBezTo>
                <a:cubicBezTo>
                  <a:pt x="838" y="1653"/>
                  <a:pt x="838" y="1653"/>
                  <a:pt x="838" y="1653"/>
                </a:cubicBezTo>
                <a:cubicBezTo>
                  <a:pt x="838" y="1654"/>
                  <a:pt x="838" y="1654"/>
                  <a:pt x="838" y="1654"/>
                </a:cubicBezTo>
                <a:cubicBezTo>
                  <a:pt x="839" y="1654"/>
                  <a:pt x="839" y="1654"/>
                  <a:pt x="839" y="1654"/>
                </a:cubicBezTo>
                <a:cubicBezTo>
                  <a:pt x="840" y="1653"/>
                  <a:pt x="840" y="1653"/>
                  <a:pt x="840" y="1653"/>
                </a:cubicBezTo>
                <a:cubicBezTo>
                  <a:pt x="841" y="1653"/>
                  <a:pt x="841" y="1653"/>
                  <a:pt x="841" y="1653"/>
                </a:cubicBezTo>
                <a:cubicBezTo>
                  <a:pt x="843" y="1654"/>
                  <a:pt x="843" y="1654"/>
                  <a:pt x="843" y="1654"/>
                </a:cubicBezTo>
                <a:cubicBezTo>
                  <a:pt x="843" y="1654"/>
                  <a:pt x="843" y="1654"/>
                  <a:pt x="843" y="1654"/>
                </a:cubicBezTo>
                <a:cubicBezTo>
                  <a:pt x="841" y="1655"/>
                  <a:pt x="841" y="1655"/>
                  <a:pt x="841" y="1655"/>
                </a:cubicBezTo>
                <a:cubicBezTo>
                  <a:pt x="840" y="1656"/>
                  <a:pt x="840" y="1656"/>
                  <a:pt x="840" y="1656"/>
                </a:cubicBezTo>
                <a:cubicBezTo>
                  <a:pt x="840" y="1657"/>
                  <a:pt x="840" y="1657"/>
                  <a:pt x="840" y="1657"/>
                </a:cubicBezTo>
                <a:cubicBezTo>
                  <a:pt x="843" y="1657"/>
                  <a:pt x="843" y="1657"/>
                  <a:pt x="843" y="1657"/>
                </a:cubicBezTo>
                <a:cubicBezTo>
                  <a:pt x="845" y="1659"/>
                  <a:pt x="845" y="1659"/>
                  <a:pt x="845" y="1659"/>
                </a:cubicBezTo>
                <a:cubicBezTo>
                  <a:pt x="846" y="1658"/>
                  <a:pt x="846" y="1658"/>
                  <a:pt x="846" y="1658"/>
                </a:cubicBezTo>
                <a:cubicBezTo>
                  <a:pt x="847" y="1657"/>
                  <a:pt x="847" y="1657"/>
                  <a:pt x="847" y="1657"/>
                </a:cubicBezTo>
                <a:cubicBezTo>
                  <a:pt x="846" y="1655"/>
                  <a:pt x="846" y="1655"/>
                  <a:pt x="846" y="1655"/>
                </a:cubicBezTo>
                <a:cubicBezTo>
                  <a:pt x="847" y="1654"/>
                  <a:pt x="847" y="1654"/>
                  <a:pt x="847" y="1654"/>
                </a:cubicBezTo>
                <a:cubicBezTo>
                  <a:pt x="846" y="1652"/>
                  <a:pt x="846" y="1652"/>
                  <a:pt x="846" y="1652"/>
                </a:cubicBezTo>
                <a:cubicBezTo>
                  <a:pt x="845" y="1652"/>
                  <a:pt x="845" y="1652"/>
                  <a:pt x="845" y="1652"/>
                </a:cubicBezTo>
                <a:cubicBezTo>
                  <a:pt x="844" y="1652"/>
                  <a:pt x="844" y="1652"/>
                  <a:pt x="844" y="1652"/>
                </a:cubicBezTo>
                <a:cubicBezTo>
                  <a:pt x="845" y="1652"/>
                  <a:pt x="845" y="1652"/>
                  <a:pt x="845" y="1652"/>
                </a:cubicBezTo>
                <a:cubicBezTo>
                  <a:pt x="846" y="1651"/>
                  <a:pt x="846" y="1651"/>
                  <a:pt x="846" y="1651"/>
                </a:cubicBezTo>
                <a:cubicBezTo>
                  <a:pt x="846" y="1650"/>
                  <a:pt x="846" y="1650"/>
                  <a:pt x="846" y="1650"/>
                </a:cubicBezTo>
                <a:cubicBezTo>
                  <a:pt x="846" y="1649"/>
                  <a:pt x="846" y="1649"/>
                  <a:pt x="846" y="1649"/>
                </a:cubicBezTo>
                <a:cubicBezTo>
                  <a:pt x="849" y="1650"/>
                  <a:pt x="849" y="1650"/>
                  <a:pt x="849" y="1650"/>
                </a:cubicBezTo>
                <a:cubicBezTo>
                  <a:pt x="850" y="1649"/>
                  <a:pt x="850" y="1649"/>
                  <a:pt x="850" y="1649"/>
                </a:cubicBezTo>
                <a:cubicBezTo>
                  <a:pt x="850" y="1650"/>
                  <a:pt x="850" y="1650"/>
                  <a:pt x="850" y="1650"/>
                </a:cubicBezTo>
                <a:cubicBezTo>
                  <a:pt x="851" y="1651"/>
                  <a:pt x="851" y="1651"/>
                  <a:pt x="851" y="1651"/>
                </a:cubicBezTo>
                <a:cubicBezTo>
                  <a:pt x="852" y="1650"/>
                  <a:pt x="852" y="1650"/>
                  <a:pt x="852" y="1650"/>
                </a:cubicBezTo>
                <a:cubicBezTo>
                  <a:pt x="854" y="1649"/>
                  <a:pt x="854" y="1649"/>
                  <a:pt x="854" y="1649"/>
                </a:cubicBezTo>
                <a:cubicBezTo>
                  <a:pt x="855" y="1650"/>
                  <a:pt x="855" y="1650"/>
                  <a:pt x="855" y="1650"/>
                </a:cubicBezTo>
                <a:cubicBezTo>
                  <a:pt x="857" y="1650"/>
                  <a:pt x="857" y="1650"/>
                  <a:pt x="857" y="1650"/>
                </a:cubicBezTo>
                <a:cubicBezTo>
                  <a:pt x="859" y="1650"/>
                  <a:pt x="859" y="1650"/>
                  <a:pt x="859" y="1650"/>
                </a:cubicBezTo>
                <a:cubicBezTo>
                  <a:pt x="859" y="1651"/>
                  <a:pt x="859" y="1651"/>
                  <a:pt x="859" y="1651"/>
                </a:cubicBezTo>
                <a:cubicBezTo>
                  <a:pt x="858" y="1651"/>
                  <a:pt x="858" y="1651"/>
                  <a:pt x="858" y="1651"/>
                </a:cubicBezTo>
                <a:cubicBezTo>
                  <a:pt x="857" y="1652"/>
                  <a:pt x="857" y="1652"/>
                  <a:pt x="857" y="1652"/>
                </a:cubicBezTo>
                <a:cubicBezTo>
                  <a:pt x="856" y="1652"/>
                  <a:pt x="856" y="1652"/>
                  <a:pt x="856" y="1652"/>
                </a:cubicBezTo>
                <a:cubicBezTo>
                  <a:pt x="855" y="1651"/>
                  <a:pt x="855" y="1651"/>
                  <a:pt x="855" y="1651"/>
                </a:cubicBezTo>
                <a:cubicBezTo>
                  <a:pt x="853" y="1652"/>
                  <a:pt x="853" y="1652"/>
                  <a:pt x="853" y="1652"/>
                </a:cubicBezTo>
                <a:cubicBezTo>
                  <a:pt x="850" y="1654"/>
                  <a:pt x="850" y="1654"/>
                  <a:pt x="850" y="1654"/>
                </a:cubicBezTo>
                <a:cubicBezTo>
                  <a:pt x="850" y="1654"/>
                  <a:pt x="850" y="1654"/>
                  <a:pt x="850" y="1654"/>
                </a:cubicBezTo>
                <a:cubicBezTo>
                  <a:pt x="849" y="1654"/>
                  <a:pt x="849" y="1654"/>
                  <a:pt x="849" y="1654"/>
                </a:cubicBezTo>
                <a:cubicBezTo>
                  <a:pt x="847" y="1656"/>
                  <a:pt x="847" y="1656"/>
                  <a:pt x="847" y="1656"/>
                </a:cubicBezTo>
                <a:cubicBezTo>
                  <a:pt x="848" y="1657"/>
                  <a:pt x="848" y="1657"/>
                  <a:pt x="848" y="1657"/>
                </a:cubicBezTo>
                <a:cubicBezTo>
                  <a:pt x="847" y="1658"/>
                  <a:pt x="847" y="1658"/>
                  <a:pt x="847" y="1658"/>
                </a:cubicBezTo>
                <a:cubicBezTo>
                  <a:pt x="847" y="1659"/>
                  <a:pt x="847" y="1659"/>
                  <a:pt x="847" y="1659"/>
                </a:cubicBezTo>
                <a:cubicBezTo>
                  <a:pt x="847" y="1660"/>
                  <a:pt x="847" y="1660"/>
                  <a:pt x="847" y="1660"/>
                </a:cubicBezTo>
                <a:cubicBezTo>
                  <a:pt x="847" y="1660"/>
                  <a:pt x="847" y="1660"/>
                  <a:pt x="847" y="1660"/>
                </a:cubicBezTo>
                <a:cubicBezTo>
                  <a:pt x="847" y="1661"/>
                  <a:pt x="847" y="1661"/>
                  <a:pt x="847" y="1661"/>
                </a:cubicBezTo>
                <a:cubicBezTo>
                  <a:pt x="847" y="1662"/>
                  <a:pt x="847" y="1662"/>
                  <a:pt x="847" y="1662"/>
                </a:cubicBezTo>
                <a:cubicBezTo>
                  <a:pt x="850" y="1663"/>
                  <a:pt x="850" y="1663"/>
                  <a:pt x="850" y="1663"/>
                </a:cubicBezTo>
                <a:cubicBezTo>
                  <a:pt x="852" y="1665"/>
                  <a:pt x="852" y="1665"/>
                  <a:pt x="852" y="1665"/>
                </a:cubicBezTo>
                <a:cubicBezTo>
                  <a:pt x="852" y="1665"/>
                  <a:pt x="852" y="1665"/>
                  <a:pt x="852" y="1665"/>
                </a:cubicBezTo>
                <a:cubicBezTo>
                  <a:pt x="853" y="1664"/>
                  <a:pt x="853" y="1664"/>
                  <a:pt x="853" y="1664"/>
                </a:cubicBezTo>
                <a:cubicBezTo>
                  <a:pt x="852" y="1662"/>
                  <a:pt x="852" y="1662"/>
                  <a:pt x="852" y="1662"/>
                </a:cubicBezTo>
                <a:cubicBezTo>
                  <a:pt x="854" y="1661"/>
                  <a:pt x="854" y="1661"/>
                  <a:pt x="854" y="1661"/>
                </a:cubicBezTo>
                <a:cubicBezTo>
                  <a:pt x="855" y="1661"/>
                  <a:pt x="855" y="1661"/>
                  <a:pt x="855" y="1661"/>
                </a:cubicBezTo>
                <a:cubicBezTo>
                  <a:pt x="855" y="1660"/>
                  <a:pt x="855" y="1660"/>
                  <a:pt x="855" y="1660"/>
                </a:cubicBezTo>
                <a:cubicBezTo>
                  <a:pt x="854" y="1658"/>
                  <a:pt x="854" y="1658"/>
                  <a:pt x="854" y="1658"/>
                </a:cubicBezTo>
                <a:cubicBezTo>
                  <a:pt x="856" y="1657"/>
                  <a:pt x="856" y="1657"/>
                  <a:pt x="856" y="1657"/>
                </a:cubicBezTo>
                <a:cubicBezTo>
                  <a:pt x="858" y="1656"/>
                  <a:pt x="858" y="1656"/>
                  <a:pt x="858" y="1656"/>
                </a:cubicBezTo>
                <a:cubicBezTo>
                  <a:pt x="860" y="1654"/>
                  <a:pt x="860" y="1654"/>
                  <a:pt x="860" y="1654"/>
                </a:cubicBezTo>
                <a:cubicBezTo>
                  <a:pt x="861" y="1653"/>
                  <a:pt x="861" y="1653"/>
                  <a:pt x="861" y="1653"/>
                </a:cubicBezTo>
                <a:cubicBezTo>
                  <a:pt x="861" y="1653"/>
                  <a:pt x="861" y="1653"/>
                  <a:pt x="861" y="1653"/>
                </a:cubicBezTo>
                <a:cubicBezTo>
                  <a:pt x="863" y="1654"/>
                  <a:pt x="863" y="1654"/>
                  <a:pt x="863" y="1654"/>
                </a:cubicBezTo>
                <a:cubicBezTo>
                  <a:pt x="864" y="1654"/>
                  <a:pt x="864" y="1654"/>
                  <a:pt x="864" y="1654"/>
                </a:cubicBezTo>
                <a:cubicBezTo>
                  <a:pt x="864" y="1655"/>
                  <a:pt x="864" y="1655"/>
                  <a:pt x="864" y="1655"/>
                </a:cubicBezTo>
                <a:cubicBezTo>
                  <a:pt x="863" y="1655"/>
                  <a:pt x="863" y="1655"/>
                  <a:pt x="863" y="1655"/>
                </a:cubicBezTo>
                <a:cubicBezTo>
                  <a:pt x="862" y="1657"/>
                  <a:pt x="862" y="1657"/>
                  <a:pt x="862" y="1657"/>
                </a:cubicBezTo>
                <a:cubicBezTo>
                  <a:pt x="861" y="1658"/>
                  <a:pt x="861" y="1658"/>
                  <a:pt x="861" y="1658"/>
                </a:cubicBezTo>
                <a:cubicBezTo>
                  <a:pt x="859" y="1660"/>
                  <a:pt x="859" y="1660"/>
                  <a:pt x="859" y="1660"/>
                </a:cubicBezTo>
                <a:cubicBezTo>
                  <a:pt x="859" y="1662"/>
                  <a:pt x="859" y="1662"/>
                  <a:pt x="859" y="1662"/>
                </a:cubicBezTo>
                <a:cubicBezTo>
                  <a:pt x="860" y="1663"/>
                  <a:pt x="860" y="1663"/>
                  <a:pt x="860" y="1663"/>
                </a:cubicBezTo>
                <a:cubicBezTo>
                  <a:pt x="859" y="1664"/>
                  <a:pt x="859" y="1664"/>
                  <a:pt x="859" y="1664"/>
                </a:cubicBezTo>
                <a:cubicBezTo>
                  <a:pt x="857" y="1665"/>
                  <a:pt x="857" y="1665"/>
                  <a:pt x="857" y="1665"/>
                </a:cubicBezTo>
                <a:cubicBezTo>
                  <a:pt x="857" y="1664"/>
                  <a:pt x="857" y="1664"/>
                  <a:pt x="857" y="1664"/>
                </a:cubicBezTo>
                <a:cubicBezTo>
                  <a:pt x="858" y="1664"/>
                  <a:pt x="858" y="1664"/>
                  <a:pt x="858" y="1664"/>
                </a:cubicBezTo>
                <a:cubicBezTo>
                  <a:pt x="858" y="1661"/>
                  <a:pt x="858" y="1661"/>
                  <a:pt x="858" y="1661"/>
                </a:cubicBezTo>
                <a:cubicBezTo>
                  <a:pt x="858" y="1661"/>
                  <a:pt x="858" y="1661"/>
                  <a:pt x="858" y="1661"/>
                </a:cubicBezTo>
                <a:cubicBezTo>
                  <a:pt x="857" y="1661"/>
                  <a:pt x="857" y="1661"/>
                  <a:pt x="857" y="1661"/>
                </a:cubicBezTo>
                <a:cubicBezTo>
                  <a:pt x="856" y="1663"/>
                  <a:pt x="856" y="1663"/>
                  <a:pt x="856" y="1663"/>
                </a:cubicBezTo>
                <a:cubicBezTo>
                  <a:pt x="856" y="1662"/>
                  <a:pt x="856" y="1662"/>
                  <a:pt x="856" y="1662"/>
                </a:cubicBezTo>
                <a:cubicBezTo>
                  <a:pt x="855" y="1662"/>
                  <a:pt x="855" y="1662"/>
                  <a:pt x="855" y="1662"/>
                </a:cubicBezTo>
                <a:cubicBezTo>
                  <a:pt x="854" y="1663"/>
                  <a:pt x="854" y="1663"/>
                  <a:pt x="854" y="1663"/>
                </a:cubicBezTo>
                <a:cubicBezTo>
                  <a:pt x="855" y="1665"/>
                  <a:pt x="855" y="1665"/>
                  <a:pt x="855" y="1665"/>
                </a:cubicBezTo>
                <a:cubicBezTo>
                  <a:pt x="858" y="1668"/>
                  <a:pt x="858" y="1668"/>
                  <a:pt x="858" y="1668"/>
                </a:cubicBezTo>
                <a:cubicBezTo>
                  <a:pt x="861" y="1669"/>
                  <a:pt x="861" y="1669"/>
                  <a:pt x="861" y="1669"/>
                </a:cubicBezTo>
                <a:cubicBezTo>
                  <a:pt x="863" y="1670"/>
                  <a:pt x="863" y="1670"/>
                  <a:pt x="863" y="1670"/>
                </a:cubicBezTo>
                <a:cubicBezTo>
                  <a:pt x="864" y="1670"/>
                  <a:pt x="864" y="1670"/>
                  <a:pt x="864" y="1670"/>
                </a:cubicBezTo>
                <a:cubicBezTo>
                  <a:pt x="865" y="1670"/>
                  <a:pt x="865" y="1670"/>
                  <a:pt x="865" y="1670"/>
                </a:cubicBezTo>
                <a:cubicBezTo>
                  <a:pt x="866" y="1669"/>
                  <a:pt x="866" y="1669"/>
                  <a:pt x="866" y="1669"/>
                </a:cubicBezTo>
                <a:cubicBezTo>
                  <a:pt x="868" y="1667"/>
                  <a:pt x="868" y="1667"/>
                  <a:pt x="868" y="1667"/>
                </a:cubicBezTo>
                <a:cubicBezTo>
                  <a:pt x="867" y="1664"/>
                  <a:pt x="867" y="1664"/>
                  <a:pt x="867" y="1664"/>
                </a:cubicBezTo>
                <a:cubicBezTo>
                  <a:pt x="867" y="1663"/>
                  <a:pt x="867" y="1663"/>
                  <a:pt x="867" y="1663"/>
                </a:cubicBezTo>
                <a:cubicBezTo>
                  <a:pt x="867" y="1661"/>
                  <a:pt x="867" y="1661"/>
                  <a:pt x="867" y="1661"/>
                </a:cubicBezTo>
                <a:cubicBezTo>
                  <a:pt x="867" y="1659"/>
                  <a:pt x="867" y="1659"/>
                  <a:pt x="867" y="1659"/>
                </a:cubicBezTo>
                <a:cubicBezTo>
                  <a:pt x="867" y="1656"/>
                  <a:pt x="867" y="1656"/>
                  <a:pt x="867" y="1656"/>
                </a:cubicBezTo>
                <a:cubicBezTo>
                  <a:pt x="867" y="1654"/>
                  <a:pt x="867" y="1654"/>
                  <a:pt x="867" y="1654"/>
                </a:cubicBezTo>
                <a:cubicBezTo>
                  <a:pt x="867" y="1652"/>
                  <a:pt x="867" y="1652"/>
                  <a:pt x="867" y="1652"/>
                </a:cubicBezTo>
                <a:cubicBezTo>
                  <a:pt x="869" y="1651"/>
                  <a:pt x="869" y="1651"/>
                  <a:pt x="869" y="1651"/>
                </a:cubicBezTo>
                <a:cubicBezTo>
                  <a:pt x="872" y="1648"/>
                  <a:pt x="872" y="1648"/>
                  <a:pt x="872" y="1648"/>
                </a:cubicBezTo>
                <a:cubicBezTo>
                  <a:pt x="873" y="1647"/>
                  <a:pt x="873" y="1647"/>
                  <a:pt x="873" y="1647"/>
                </a:cubicBezTo>
                <a:cubicBezTo>
                  <a:pt x="875" y="1647"/>
                  <a:pt x="875" y="1647"/>
                  <a:pt x="875" y="1647"/>
                </a:cubicBezTo>
                <a:cubicBezTo>
                  <a:pt x="876" y="1647"/>
                  <a:pt x="876" y="1647"/>
                  <a:pt x="876" y="1647"/>
                </a:cubicBezTo>
                <a:cubicBezTo>
                  <a:pt x="876" y="1644"/>
                  <a:pt x="876" y="1644"/>
                  <a:pt x="876" y="1644"/>
                </a:cubicBezTo>
                <a:cubicBezTo>
                  <a:pt x="877" y="1643"/>
                  <a:pt x="877" y="1643"/>
                  <a:pt x="877" y="1643"/>
                </a:cubicBezTo>
                <a:cubicBezTo>
                  <a:pt x="879" y="1642"/>
                  <a:pt x="879" y="1642"/>
                  <a:pt x="879" y="1642"/>
                </a:cubicBezTo>
                <a:cubicBezTo>
                  <a:pt x="882" y="1644"/>
                  <a:pt x="882" y="1644"/>
                  <a:pt x="882" y="1644"/>
                </a:cubicBezTo>
                <a:cubicBezTo>
                  <a:pt x="883" y="1643"/>
                  <a:pt x="883" y="1643"/>
                  <a:pt x="883" y="1643"/>
                </a:cubicBezTo>
                <a:cubicBezTo>
                  <a:pt x="883" y="1643"/>
                  <a:pt x="883" y="1643"/>
                  <a:pt x="883" y="1643"/>
                </a:cubicBezTo>
                <a:cubicBezTo>
                  <a:pt x="886" y="1644"/>
                  <a:pt x="886" y="1644"/>
                  <a:pt x="886" y="1644"/>
                </a:cubicBezTo>
                <a:cubicBezTo>
                  <a:pt x="887" y="1644"/>
                  <a:pt x="887" y="1644"/>
                  <a:pt x="887" y="1644"/>
                </a:cubicBezTo>
                <a:cubicBezTo>
                  <a:pt x="886" y="1643"/>
                  <a:pt x="886" y="1643"/>
                  <a:pt x="886" y="1643"/>
                </a:cubicBezTo>
                <a:cubicBezTo>
                  <a:pt x="884" y="1641"/>
                  <a:pt x="884" y="1641"/>
                  <a:pt x="884" y="1641"/>
                </a:cubicBezTo>
                <a:cubicBezTo>
                  <a:pt x="881" y="1639"/>
                  <a:pt x="881" y="1639"/>
                  <a:pt x="881" y="1639"/>
                </a:cubicBezTo>
                <a:cubicBezTo>
                  <a:pt x="881" y="1637"/>
                  <a:pt x="881" y="1637"/>
                  <a:pt x="881" y="1637"/>
                </a:cubicBezTo>
                <a:cubicBezTo>
                  <a:pt x="879" y="1635"/>
                  <a:pt x="879" y="1635"/>
                  <a:pt x="879" y="1635"/>
                </a:cubicBezTo>
                <a:cubicBezTo>
                  <a:pt x="878" y="1636"/>
                  <a:pt x="878" y="1636"/>
                  <a:pt x="878" y="1636"/>
                </a:cubicBezTo>
                <a:cubicBezTo>
                  <a:pt x="877" y="1634"/>
                  <a:pt x="877" y="1634"/>
                  <a:pt x="877" y="1634"/>
                </a:cubicBezTo>
                <a:cubicBezTo>
                  <a:pt x="878" y="1634"/>
                  <a:pt x="878" y="1634"/>
                  <a:pt x="878" y="1634"/>
                </a:cubicBezTo>
                <a:cubicBezTo>
                  <a:pt x="879" y="1632"/>
                  <a:pt x="879" y="1632"/>
                  <a:pt x="879" y="1632"/>
                </a:cubicBezTo>
                <a:cubicBezTo>
                  <a:pt x="878" y="1632"/>
                  <a:pt x="878" y="1632"/>
                  <a:pt x="878" y="1632"/>
                </a:cubicBezTo>
                <a:cubicBezTo>
                  <a:pt x="878" y="1631"/>
                  <a:pt x="878" y="1631"/>
                  <a:pt x="878" y="1631"/>
                </a:cubicBezTo>
                <a:cubicBezTo>
                  <a:pt x="876" y="1626"/>
                  <a:pt x="876" y="1626"/>
                  <a:pt x="876" y="1626"/>
                </a:cubicBezTo>
                <a:cubicBezTo>
                  <a:pt x="874" y="1623"/>
                  <a:pt x="874" y="1623"/>
                  <a:pt x="874" y="1623"/>
                </a:cubicBezTo>
                <a:cubicBezTo>
                  <a:pt x="874" y="1620"/>
                  <a:pt x="874" y="1620"/>
                  <a:pt x="874" y="1620"/>
                </a:cubicBezTo>
                <a:cubicBezTo>
                  <a:pt x="875" y="1616"/>
                  <a:pt x="875" y="1616"/>
                  <a:pt x="875" y="1616"/>
                </a:cubicBezTo>
                <a:cubicBezTo>
                  <a:pt x="878" y="1614"/>
                  <a:pt x="878" y="1614"/>
                  <a:pt x="878" y="1614"/>
                </a:cubicBezTo>
                <a:cubicBezTo>
                  <a:pt x="878" y="1613"/>
                  <a:pt x="878" y="1613"/>
                  <a:pt x="878" y="1613"/>
                </a:cubicBezTo>
                <a:cubicBezTo>
                  <a:pt x="878" y="1612"/>
                  <a:pt x="878" y="1612"/>
                  <a:pt x="878" y="1612"/>
                </a:cubicBezTo>
                <a:cubicBezTo>
                  <a:pt x="878" y="1610"/>
                  <a:pt x="878" y="1610"/>
                  <a:pt x="878" y="1610"/>
                </a:cubicBezTo>
                <a:cubicBezTo>
                  <a:pt x="877" y="1609"/>
                  <a:pt x="877" y="1609"/>
                  <a:pt x="877" y="1609"/>
                </a:cubicBezTo>
                <a:cubicBezTo>
                  <a:pt x="878" y="1610"/>
                  <a:pt x="878" y="1610"/>
                  <a:pt x="878" y="1610"/>
                </a:cubicBezTo>
                <a:cubicBezTo>
                  <a:pt x="879" y="1611"/>
                  <a:pt x="879" y="1611"/>
                  <a:pt x="879" y="1611"/>
                </a:cubicBezTo>
                <a:cubicBezTo>
                  <a:pt x="881" y="1612"/>
                  <a:pt x="881" y="1612"/>
                  <a:pt x="881" y="1612"/>
                </a:cubicBezTo>
                <a:cubicBezTo>
                  <a:pt x="883" y="1610"/>
                  <a:pt x="883" y="1610"/>
                  <a:pt x="883" y="1610"/>
                </a:cubicBezTo>
                <a:cubicBezTo>
                  <a:pt x="883" y="1608"/>
                  <a:pt x="883" y="1608"/>
                  <a:pt x="883" y="1608"/>
                </a:cubicBezTo>
                <a:cubicBezTo>
                  <a:pt x="885" y="1606"/>
                  <a:pt x="885" y="1606"/>
                  <a:pt x="885" y="1606"/>
                </a:cubicBezTo>
                <a:cubicBezTo>
                  <a:pt x="886" y="1605"/>
                  <a:pt x="886" y="1605"/>
                  <a:pt x="886" y="1605"/>
                </a:cubicBezTo>
                <a:cubicBezTo>
                  <a:pt x="885" y="1602"/>
                  <a:pt x="885" y="1602"/>
                  <a:pt x="885" y="1602"/>
                </a:cubicBezTo>
                <a:cubicBezTo>
                  <a:pt x="884" y="1601"/>
                  <a:pt x="884" y="1601"/>
                  <a:pt x="884" y="1601"/>
                </a:cubicBezTo>
                <a:cubicBezTo>
                  <a:pt x="883" y="1602"/>
                  <a:pt x="883" y="1602"/>
                  <a:pt x="883" y="1602"/>
                </a:cubicBezTo>
                <a:cubicBezTo>
                  <a:pt x="883" y="1601"/>
                  <a:pt x="883" y="1601"/>
                  <a:pt x="883" y="1601"/>
                </a:cubicBezTo>
                <a:cubicBezTo>
                  <a:pt x="885" y="1599"/>
                  <a:pt x="885" y="1599"/>
                  <a:pt x="885" y="1599"/>
                </a:cubicBezTo>
                <a:cubicBezTo>
                  <a:pt x="886" y="1597"/>
                  <a:pt x="886" y="1597"/>
                  <a:pt x="886" y="1597"/>
                </a:cubicBezTo>
                <a:cubicBezTo>
                  <a:pt x="886" y="1594"/>
                  <a:pt x="886" y="1594"/>
                  <a:pt x="886" y="1594"/>
                </a:cubicBezTo>
                <a:cubicBezTo>
                  <a:pt x="888" y="1592"/>
                  <a:pt x="888" y="1592"/>
                  <a:pt x="888" y="1592"/>
                </a:cubicBezTo>
                <a:cubicBezTo>
                  <a:pt x="890" y="1592"/>
                  <a:pt x="890" y="1592"/>
                  <a:pt x="890" y="1592"/>
                </a:cubicBezTo>
                <a:cubicBezTo>
                  <a:pt x="891" y="1590"/>
                  <a:pt x="891" y="1590"/>
                  <a:pt x="891" y="1590"/>
                </a:cubicBezTo>
                <a:cubicBezTo>
                  <a:pt x="892" y="1588"/>
                  <a:pt x="892" y="1588"/>
                  <a:pt x="892" y="1588"/>
                </a:cubicBezTo>
                <a:cubicBezTo>
                  <a:pt x="893" y="1587"/>
                  <a:pt x="893" y="1587"/>
                  <a:pt x="893" y="1587"/>
                </a:cubicBezTo>
                <a:cubicBezTo>
                  <a:pt x="894" y="1586"/>
                  <a:pt x="894" y="1586"/>
                  <a:pt x="894" y="1586"/>
                </a:cubicBezTo>
                <a:cubicBezTo>
                  <a:pt x="895" y="1585"/>
                  <a:pt x="895" y="1585"/>
                  <a:pt x="895" y="1585"/>
                </a:cubicBezTo>
                <a:cubicBezTo>
                  <a:pt x="897" y="1583"/>
                  <a:pt x="897" y="1583"/>
                  <a:pt x="897" y="1583"/>
                </a:cubicBezTo>
                <a:cubicBezTo>
                  <a:pt x="897" y="1582"/>
                  <a:pt x="897" y="1582"/>
                  <a:pt x="897" y="1582"/>
                </a:cubicBezTo>
                <a:cubicBezTo>
                  <a:pt x="897" y="1581"/>
                  <a:pt x="897" y="1581"/>
                  <a:pt x="897" y="1581"/>
                </a:cubicBezTo>
                <a:cubicBezTo>
                  <a:pt x="898" y="1580"/>
                  <a:pt x="898" y="1580"/>
                  <a:pt x="898" y="1580"/>
                </a:cubicBezTo>
                <a:cubicBezTo>
                  <a:pt x="896" y="1579"/>
                  <a:pt x="896" y="1579"/>
                  <a:pt x="896" y="1579"/>
                </a:cubicBezTo>
                <a:cubicBezTo>
                  <a:pt x="895" y="1579"/>
                  <a:pt x="895" y="1579"/>
                  <a:pt x="895" y="1579"/>
                </a:cubicBezTo>
                <a:cubicBezTo>
                  <a:pt x="897" y="1577"/>
                  <a:pt x="897" y="1577"/>
                  <a:pt x="897" y="1577"/>
                </a:cubicBezTo>
                <a:cubicBezTo>
                  <a:pt x="897" y="1575"/>
                  <a:pt x="897" y="1575"/>
                  <a:pt x="897" y="1575"/>
                </a:cubicBezTo>
                <a:cubicBezTo>
                  <a:pt x="896" y="1573"/>
                  <a:pt x="896" y="1573"/>
                  <a:pt x="896" y="1573"/>
                </a:cubicBezTo>
                <a:cubicBezTo>
                  <a:pt x="896" y="1572"/>
                  <a:pt x="896" y="1572"/>
                  <a:pt x="896" y="1572"/>
                </a:cubicBezTo>
                <a:cubicBezTo>
                  <a:pt x="896" y="1571"/>
                  <a:pt x="896" y="1571"/>
                  <a:pt x="896" y="1571"/>
                </a:cubicBezTo>
                <a:cubicBezTo>
                  <a:pt x="896" y="1570"/>
                  <a:pt x="896" y="1570"/>
                  <a:pt x="896" y="1570"/>
                </a:cubicBezTo>
                <a:cubicBezTo>
                  <a:pt x="894" y="1569"/>
                  <a:pt x="894" y="1569"/>
                  <a:pt x="894" y="1569"/>
                </a:cubicBezTo>
                <a:cubicBezTo>
                  <a:pt x="893" y="1570"/>
                  <a:pt x="893" y="1570"/>
                  <a:pt x="893" y="1570"/>
                </a:cubicBezTo>
                <a:cubicBezTo>
                  <a:pt x="891" y="1570"/>
                  <a:pt x="891" y="1570"/>
                  <a:pt x="891" y="1570"/>
                </a:cubicBezTo>
                <a:cubicBezTo>
                  <a:pt x="888" y="1570"/>
                  <a:pt x="888" y="1570"/>
                  <a:pt x="888" y="1570"/>
                </a:cubicBezTo>
                <a:cubicBezTo>
                  <a:pt x="884" y="1566"/>
                  <a:pt x="884" y="1566"/>
                  <a:pt x="884" y="1566"/>
                </a:cubicBezTo>
                <a:cubicBezTo>
                  <a:pt x="881" y="1564"/>
                  <a:pt x="881" y="1564"/>
                  <a:pt x="881" y="1564"/>
                </a:cubicBezTo>
                <a:cubicBezTo>
                  <a:pt x="880" y="1564"/>
                  <a:pt x="880" y="1564"/>
                  <a:pt x="880" y="1564"/>
                </a:cubicBezTo>
                <a:cubicBezTo>
                  <a:pt x="878" y="1562"/>
                  <a:pt x="878" y="1562"/>
                  <a:pt x="878" y="1562"/>
                </a:cubicBezTo>
                <a:cubicBezTo>
                  <a:pt x="876" y="1558"/>
                  <a:pt x="876" y="1558"/>
                  <a:pt x="876" y="1558"/>
                </a:cubicBezTo>
                <a:cubicBezTo>
                  <a:pt x="876" y="1556"/>
                  <a:pt x="876" y="1556"/>
                  <a:pt x="876" y="1556"/>
                </a:cubicBezTo>
                <a:cubicBezTo>
                  <a:pt x="875" y="1554"/>
                  <a:pt x="875" y="1554"/>
                  <a:pt x="875" y="1554"/>
                </a:cubicBezTo>
                <a:cubicBezTo>
                  <a:pt x="875" y="1553"/>
                  <a:pt x="875" y="1553"/>
                  <a:pt x="875" y="1553"/>
                </a:cubicBezTo>
                <a:cubicBezTo>
                  <a:pt x="877" y="1552"/>
                  <a:pt x="877" y="1552"/>
                  <a:pt x="877" y="1552"/>
                </a:cubicBezTo>
                <a:cubicBezTo>
                  <a:pt x="878" y="1550"/>
                  <a:pt x="878" y="1550"/>
                  <a:pt x="878" y="1550"/>
                </a:cubicBezTo>
                <a:cubicBezTo>
                  <a:pt x="879" y="1547"/>
                  <a:pt x="879" y="1547"/>
                  <a:pt x="879" y="1547"/>
                </a:cubicBezTo>
                <a:cubicBezTo>
                  <a:pt x="880" y="1547"/>
                  <a:pt x="880" y="1547"/>
                  <a:pt x="880" y="1547"/>
                </a:cubicBezTo>
                <a:cubicBezTo>
                  <a:pt x="881" y="1545"/>
                  <a:pt x="881" y="1545"/>
                  <a:pt x="881" y="1545"/>
                </a:cubicBezTo>
                <a:cubicBezTo>
                  <a:pt x="884" y="1545"/>
                  <a:pt x="884" y="1545"/>
                  <a:pt x="884" y="1545"/>
                </a:cubicBezTo>
                <a:cubicBezTo>
                  <a:pt x="886" y="1543"/>
                  <a:pt x="886" y="1543"/>
                  <a:pt x="886" y="1543"/>
                </a:cubicBezTo>
                <a:cubicBezTo>
                  <a:pt x="889" y="1542"/>
                  <a:pt x="889" y="1542"/>
                  <a:pt x="889" y="1542"/>
                </a:cubicBezTo>
                <a:cubicBezTo>
                  <a:pt x="890" y="1543"/>
                  <a:pt x="890" y="1543"/>
                  <a:pt x="890" y="1543"/>
                </a:cubicBezTo>
                <a:cubicBezTo>
                  <a:pt x="894" y="1542"/>
                  <a:pt x="894" y="1542"/>
                  <a:pt x="894" y="1542"/>
                </a:cubicBezTo>
                <a:cubicBezTo>
                  <a:pt x="894" y="1541"/>
                  <a:pt x="894" y="1541"/>
                  <a:pt x="894" y="1541"/>
                </a:cubicBezTo>
                <a:cubicBezTo>
                  <a:pt x="893" y="1540"/>
                  <a:pt x="893" y="1540"/>
                  <a:pt x="893" y="1540"/>
                </a:cubicBezTo>
                <a:cubicBezTo>
                  <a:pt x="891" y="1539"/>
                  <a:pt x="891" y="1539"/>
                  <a:pt x="891" y="1539"/>
                </a:cubicBezTo>
                <a:cubicBezTo>
                  <a:pt x="891" y="1539"/>
                  <a:pt x="891" y="1539"/>
                  <a:pt x="891" y="1539"/>
                </a:cubicBezTo>
                <a:cubicBezTo>
                  <a:pt x="891" y="1537"/>
                  <a:pt x="891" y="1537"/>
                  <a:pt x="891" y="1537"/>
                </a:cubicBezTo>
                <a:cubicBezTo>
                  <a:pt x="894" y="1535"/>
                  <a:pt x="894" y="1535"/>
                  <a:pt x="894" y="1535"/>
                </a:cubicBezTo>
                <a:cubicBezTo>
                  <a:pt x="894" y="1535"/>
                  <a:pt x="894" y="1535"/>
                  <a:pt x="894" y="1535"/>
                </a:cubicBezTo>
                <a:cubicBezTo>
                  <a:pt x="895" y="1533"/>
                  <a:pt x="895" y="1533"/>
                  <a:pt x="895" y="1533"/>
                </a:cubicBezTo>
                <a:cubicBezTo>
                  <a:pt x="895" y="1532"/>
                  <a:pt x="895" y="1532"/>
                  <a:pt x="895" y="1532"/>
                </a:cubicBezTo>
                <a:cubicBezTo>
                  <a:pt x="892" y="1530"/>
                  <a:pt x="892" y="1530"/>
                  <a:pt x="892" y="1530"/>
                </a:cubicBezTo>
                <a:cubicBezTo>
                  <a:pt x="893" y="1528"/>
                  <a:pt x="893" y="1528"/>
                  <a:pt x="893" y="1528"/>
                </a:cubicBezTo>
                <a:cubicBezTo>
                  <a:pt x="893" y="1527"/>
                  <a:pt x="893" y="1527"/>
                  <a:pt x="893" y="1527"/>
                </a:cubicBezTo>
                <a:cubicBezTo>
                  <a:pt x="892" y="1526"/>
                  <a:pt x="892" y="1526"/>
                  <a:pt x="892" y="1526"/>
                </a:cubicBezTo>
                <a:cubicBezTo>
                  <a:pt x="891" y="1523"/>
                  <a:pt x="891" y="1523"/>
                  <a:pt x="891" y="1523"/>
                </a:cubicBezTo>
                <a:cubicBezTo>
                  <a:pt x="893" y="1522"/>
                  <a:pt x="893" y="1522"/>
                  <a:pt x="893" y="1522"/>
                </a:cubicBezTo>
                <a:cubicBezTo>
                  <a:pt x="894" y="1520"/>
                  <a:pt x="894" y="1520"/>
                  <a:pt x="894" y="1520"/>
                </a:cubicBezTo>
                <a:cubicBezTo>
                  <a:pt x="893" y="1519"/>
                  <a:pt x="893" y="1519"/>
                  <a:pt x="893" y="1519"/>
                </a:cubicBezTo>
                <a:cubicBezTo>
                  <a:pt x="894" y="1518"/>
                  <a:pt x="894" y="1518"/>
                  <a:pt x="894" y="1518"/>
                </a:cubicBezTo>
                <a:cubicBezTo>
                  <a:pt x="897" y="1517"/>
                  <a:pt x="897" y="1517"/>
                  <a:pt x="897" y="1517"/>
                </a:cubicBezTo>
                <a:cubicBezTo>
                  <a:pt x="900" y="1514"/>
                  <a:pt x="900" y="1514"/>
                  <a:pt x="900" y="1514"/>
                </a:cubicBezTo>
                <a:cubicBezTo>
                  <a:pt x="899" y="1513"/>
                  <a:pt x="899" y="1513"/>
                  <a:pt x="899" y="1513"/>
                </a:cubicBezTo>
                <a:cubicBezTo>
                  <a:pt x="896" y="1513"/>
                  <a:pt x="896" y="1513"/>
                  <a:pt x="896" y="1513"/>
                </a:cubicBezTo>
                <a:cubicBezTo>
                  <a:pt x="894" y="1512"/>
                  <a:pt x="894" y="1512"/>
                  <a:pt x="894" y="1512"/>
                </a:cubicBezTo>
                <a:cubicBezTo>
                  <a:pt x="894" y="1511"/>
                  <a:pt x="894" y="1511"/>
                  <a:pt x="894" y="1511"/>
                </a:cubicBezTo>
                <a:cubicBezTo>
                  <a:pt x="894" y="1510"/>
                  <a:pt x="894" y="1510"/>
                  <a:pt x="894" y="1510"/>
                </a:cubicBezTo>
                <a:cubicBezTo>
                  <a:pt x="896" y="1509"/>
                  <a:pt x="896" y="1509"/>
                  <a:pt x="896" y="1509"/>
                </a:cubicBezTo>
                <a:cubicBezTo>
                  <a:pt x="898" y="1508"/>
                  <a:pt x="898" y="1508"/>
                  <a:pt x="898" y="1508"/>
                </a:cubicBezTo>
                <a:cubicBezTo>
                  <a:pt x="901" y="1509"/>
                  <a:pt x="901" y="1509"/>
                  <a:pt x="901" y="1509"/>
                </a:cubicBezTo>
                <a:cubicBezTo>
                  <a:pt x="901" y="1510"/>
                  <a:pt x="901" y="1510"/>
                  <a:pt x="901" y="1510"/>
                </a:cubicBezTo>
                <a:cubicBezTo>
                  <a:pt x="901" y="1511"/>
                  <a:pt x="901" y="1511"/>
                  <a:pt x="901" y="1511"/>
                </a:cubicBezTo>
                <a:cubicBezTo>
                  <a:pt x="901" y="1513"/>
                  <a:pt x="901" y="1513"/>
                  <a:pt x="901" y="1513"/>
                </a:cubicBezTo>
                <a:cubicBezTo>
                  <a:pt x="903" y="1513"/>
                  <a:pt x="903" y="1513"/>
                  <a:pt x="903" y="1513"/>
                </a:cubicBezTo>
                <a:cubicBezTo>
                  <a:pt x="907" y="1511"/>
                  <a:pt x="907" y="1511"/>
                  <a:pt x="907" y="1511"/>
                </a:cubicBezTo>
                <a:cubicBezTo>
                  <a:pt x="907" y="1509"/>
                  <a:pt x="907" y="1509"/>
                  <a:pt x="907" y="1509"/>
                </a:cubicBezTo>
                <a:cubicBezTo>
                  <a:pt x="906" y="1507"/>
                  <a:pt x="906" y="1507"/>
                  <a:pt x="906" y="1507"/>
                </a:cubicBezTo>
                <a:cubicBezTo>
                  <a:pt x="905" y="1505"/>
                  <a:pt x="905" y="1505"/>
                  <a:pt x="905" y="1505"/>
                </a:cubicBezTo>
                <a:cubicBezTo>
                  <a:pt x="906" y="1505"/>
                  <a:pt x="906" y="1505"/>
                  <a:pt x="906" y="1505"/>
                </a:cubicBezTo>
                <a:cubicBezTo>
                  <a:pt x="906" y="1503"/>
                  <a:pt x="906" y="1503"/>
                  <a:pt x="906" y="1503"/>
                </a:cubicBezTo>
                <a:cubicBezTo>
                  <a:pt x="905" y="1501"/>
                  <a:pt x="905" y="1501"/>
                  <a:pt x="905" y="1501"/>
                </a:cubicBezTo>
                <a:cubicBezTo>
                  <a:pt x="903" y="1501"/>
                  <a:pt x="903" y="1501"/>
                  <a:pt x="903" y="1501"/>
                </a:cubicBezTo>
                <a:cubicBezTo>
                  <a:pt x="901" y="1502"/>
                  <a:pt x="901" y="1502"/>
                  <a:pt x="901" y="1502"/>
                </a:cubicBezTo>
                <a:cubicBezTo>
                  <a:pt x="900" y="1502"/>
                  <a:pt x="900" y="1502"/>
                  <a:pt x="900" y="1502"/>
                </a:cubicBezTo>
                <a:cubicBezTo>
                  <a:pt x="899" y="1503"/>
                  <a:pt x="899" y="1503"/>
                  <a:pt x="899" y="1503"/>
                </a:cubicBezTo>
                <a:cubicBezTo>
                  <a:pt x="900" y="1503"/>
                  <a:pt x="900" y="1503"/>
                  <a:pt x="900" y="1503"/>
                </a:cubicBezTo>
                <a:cubicBezTo>
                  <a:pt x="901" y="1504"/>
                  <a:pt x="901" y="1504"/>
                  <a:pt x="901" y="1504"/>
                </a:cubicBezTo>
                <a:cubicBezTo>
                  <a:pt x="901" y="1505"/>
                  <a:pt x="901" y="1505"/>
                  <a:pt x="901" y="1505"/>
                </a:cubicBezTo>
                <a:cubicBezTo>
                  <a:pt x="898" y="1506"/>
                  <a:pt x="898" y="1506"/>
                  <a:pt x="898" y="1506"/>
                </a:cubicBezTo>
                <a:cubicBezTo>
                  <a:pt x="896" y="1505"/>
                  <a:pt x="896" y="1505"/>
                  <a:pt x="896" y="1505"/>
                </a:cubicBezTo>
                <a:cubicBezTo>
                  <a:pt x="897" y="1504"/>
                  <a:pt x="897" y="1504"/>
                  <a:pt x="897" y="1504"/>
                </a:cubicBezTo>
                <a:cubicBezTo>
                  <a:pt x="898" y="1504"/>
                  <a:pt x="898" y="1504"/>
                  <a:pt x="898" y="1504"/>
                </a:cubicBezTo>
                <a:cubicBezTo>
                  <a:pt x="897" y="1503"/>
                  <a:pt x="897" y="1503"/>
                  <a:pt x="897" y="1503"/>
                </a:cubicBezTo>
                <a:cubicBezTo>
                  <a:pt x="894" y="1503"/>
                  <a:pt x="894" y="1503"/>
                  <a:pt x="894" y="1503"/>
                </a:cubicBezTo>
                <a:cubicBezTo>
                  <a:pt x="892" y="1502"/>
                  <a:pt x="892" y="1502"/>
                  <a:pt x="892" y="1502"/>
                </a:cubicBezTo>
                <a:cubicBezTo>
                  <a:pt x="891" y="1500"/>
                  <a:pt x="891" y="1500"/>
                  <a:pt x="891" y="1500"/>
                </a:cubicBezTo>
                <a:cubicBezTo>
                  <a:pt x="891" y="1495"/>
                  <a:pt x="891" y="1495"/>
                  <a:pt x="891" y="1495"/>
                </a:cubicBezTo>
                <a:cubicBezTo>
                  <a:pt x="890" y="1492"/>
                  <a:pt x="890" y="1492"/>
                  <a:pt x="890" y="1492"/>
                </a:cubicBezTo>
                <a:cubicBezTo>
                  <a:pt x="888" y="1490"/>
                  <a:pt x="888" y="1490"/>
                  <a:pt x="888" y="1490"/>
                </a:cubicBezTo>
                <a:cubicBezTo>
                  <a:pt x="888" y="1486"/>
                  <a:pt x="888" y="1486"/>
                  <a:pt x="888" y="1486"/>
                </a:cubicBezTo>
                <a:cubicBezTo>
                  <a:pt x="890" y="1484"/>
                  <a:pt x="890" y="1484"/>
                  <a:pt x="890" y="1484"/>
                </a:cubicBezTo>
                <a:cubicBezTo>
                  <a:pt x="892" y="1484"/>
                  <a:pt x="892" y="1484"/>
                  <a:pt x="892" y="1484"/>
                </a:cubicBezTo>
                <a:cubicBezTo>
                  <a:pt x="891" y="1485"/>
                  <a:pt x="891" y="1485"/>
                  <a:pt x="891" y="1485"/>
                </a:cubicBezTo>
                <a:cubicBezTo>
                  <a:pt x="892" y="1486"/>
                  <a:pt x="892" y="1486"/>
                  <a:pt x="892" y="1486"/>
                </a:cubicBezTo>
                <a:cubicBezTo>
                  <a:pt x="894" y="1485"/>
                  <a:pt x="894" y="1485"/>
                  <a:pt x="894" y="1485"/>
                </a:cubicBezTo>
                <a:cubicBezTo>
                  <a:pt x="898" y="1487"/>
                  <a:pt x="898" y="1487"/>
                  <a:pt x="898" y="1487"/>
                </a:cubicBezTo>
                <a:cubicBezTo>
                  <a:pt x="901" y="1490"/>
                  <a:pt x="901" y="1490"/>
                  <a:pt x="901" y="1490"/>
                </a:cubicBezTo>
                <a:cubicBezTo>
                  <a:pt x="904" y="1490"/>
                  <a:pt x="904" y="1490"/>
                  <a:pt x="904" y="1490"/>
                </a:cubicBezTo>
                <a:cubicBezTo>
                  <a:pt x="910" y="1490"/>
                  <a:pt x="910" y="1490"/>
                  <a:pt x="910" y="1490"/>
                </a:cubicBezTo>
                <a:cubicBezTo>
                  <a:pt x="914" y="1488"/>
                  <a:pt x="914" y="1488"/>
                  <a:pt x="914" y="1488"/>
                </a:cubicBezTo>
                <a:cubicBezTo>
                  <a:pt x="913" y="1487"/>
                  <a:pt x="913" y="1487"/>
                  <a:pt x="913" y="1487"/>
                </a:cubicBezTo>
                <a:cubicBezTo>
                  <a:pt x="916" y="1486"/>
                  <a:pt x="916" y="1486"/>
                  <a:pt x="916" y="1486"/>
                </a:cubicBezTo>
                <a:cubicBezTo>
                  <a:pt x="916" y="1484"/>
                  <a:pt x="916" y="1484"/>
                  <a:pt x="916" y="1484"/>
                </a:cubicBezTo>
                <a:cubicBezTo>
                  <a:pt x="916" y="1482"/>
                  <a:pt x="916" y="1482"/>
                  <a:pt x="916" y="1482"/>
                </a:cubicBezTo>
                <a:cubicBezTo>
                  <a:pt x="916" y="1481"/>
                  <a:pt x="916" y="1481"/>
                  <a:pt x="916" y="1481"/>
                </a:cubicBezTo>
                <a:cubicBezTo>
                  <a:pt x="917" y="1480"/>
                  <a:pt x="917" y="1480"/>
                  <a:pt x="917" y="1480"/>
                </a:cubicBezTo>
                <a:cubicBezTo>
                  <a:pt x="915" y="1479"/>
                  <a:pt x="915" y="1479"/>
                  <a:pt x="915" y="1479"/>
                </a:cubicBezTo>
                <a:cubicBezTo>
                  <a:pt x="914" y="1477"/>
                  <a:pt x="914" y="1477"/>
                  <a:pt x="914" y="1477"/>
                </a:cubicBezTo>
                <a:cubicBezTo>
                  <a:pt x="914" y="1475"/>
                  <a:pt x="914" y="1475"/>
                  <a:pt x="914" y="1475"/>
                </a:cubicBezTo>
                <a:cubicBezTo>
                  <a:pt x="914" y="1474"/>
                  <a:pt x="914" y="1474"/>
                  <a:pt x="914" y="1474"/>
                </a:cubicBezTo>
                <a:cubicBezTo>
                  <a:pt x="914" y="1473"/>
                  <a:pt x="914" y="1473"/>
                  <a:pt x="914" y="1473"/>
                </a:cubicBezTo>
                <a:cubicBezTo>
                  <a:pt x="916" y="1471"/>
                  <a:pt x="916" y="1471"/>
                  <a:pt x="916" y="1471"/>
                </a:cubicBezTo>
                <a:cubicBezTo>
                  <a:pt x="916" y="1470"/>
                  <a:pt x="916" y="1470"/>
                  <a:pt x="916" y="1470"/>
                </a:cubicBezTo>
                <a:cubicBezTo>
                  <a:pt x="916" y="1470"/>
                  <a:pt x="916" y="1470"/>
                  <a:pt x="916" y="1470"/>
                </a:cubicBezTo>
                <a:cubicBezTo>
                  <a:pt x="917" y="1469"/>
                  <a:pt x="917" y="1469"/>
                  <a:pt x="917" y="1469"/>
                </a:cubicBezTo>
                <a:cubicBezTo>
                  <a:pt x="916" y="1467"/>
                  <a:pt x="916" y="1467"/>
                  <a:pt x="916" y="1467"/>
                </a:cubicBezTo>
                <a:cubicBezTo>
                  <a:pt x="915" y="1467"/>
                  <a:pt x="915" y="1467"/>
                  <a:pt x="915" y="1467"/>
                </a:cubicBezTo>
                <a:cubicBezTo>
                  <a:pt x="915" y="1466"/>
                  <a:pt x="915" y="1466"/>
                  <a:pt x="915" y="1466"/>
                </a:cubicBezTo>
                <a:cubicBezTo>
                  <a:pt x="914" y="1464"/>
                  <a:pt x="914" y="1464"/>
                  <a:pt x="914" y="1464"/>
                </a:cubicBezTo>
                <a:cubicBezTo>
                  <a:pt x="914" y="1461"/>
                  <a:pt x="914" y="1461"/>
                  <a:pt x="914" y="1461"/>
                </a:cubicBezTo>
                <a:cubicBezTo>
                  <a:pt x="914" y="1460"/>
                  <a:pt x="914" y="1460"/>
                  <a:pt x="914" y="1460"/>
                </a:cubicBezTo>
                <a:cubicBezTo>
                  <a:pt x="914" y="1458"/>
                  <a:pt x="914" y="1458"/>
                  <a:pt x="914" y="1458"/>
                </a:cubicBezTo>
                <a:cubicBezTo>
                  <a:pt x="914" y="1457"/>
                  <a:pt x="914" y="1457"/>
                  <a:pt x="914" y="1457"/>
                </a:cubicBezTo>
                <a:cubicBezTo>
                  <a:pt x="915" y="1458"/>
                  <a:pt x="915" y="1458"/>
                  <a:pt x="915" y="1458"/>
                </a:cubicBezTo>
                <a:cubicBezTo>
                  <a:pt x="916" y="1458"/>
                  <a:pt x="916" y="1458"/>
                  <a:pt x="916" y="1458"/>
                </a:cubicBezTo>
                <a:cubicBezTo>
                  <a:pt x="919" y="1459"/>
                  <a:pt x="919" y="1459"/>
                  <a:pt x="919" y="1459"/>
                </a:cubicBezTo>
                <a:cubicBezTo>
                  <a:pt x="922" y="1461"/>
                  <a:pt x="922" y="1461"/>
                  <a:pt x="922" y="1461"/>
                </a:cubicBezTo>
                <a:cubicBezTo>
                  <a:pt x="923" y="1461"/>
                  <a:pt x="923" y="1461"/>
                  <a:pt x="923" y="1461"/>
                </a:cubicBezTo>
                <a:cubicBezTo>
                  <a:pt x="927" y="1460"/>
                  <a:pt x="927" y="1460"/>
                  <a:pt x="927" y="1460"/>
                </a:cubicBezTo>
                <a:cubicBezTo>
                  <a:pt x="930" y="1461"/>
                  <a:pt x="930" y="1461"/>
                  <a:pt x="930" y="1461"/>
                </a:cubicBezTo>
                <a:cubicBezTo>
                  <a:pt x="934" y="1461"/>
                  <a:pt x="934" y="1461"/>
                  <a:pt x="934" y="1461"/>
                </a:cubicBezTo>
                <a:cubicBezTo>
                  <a:pt x="941" y="1459"/>
                  <a:pt x="941" y="1459"/>
                  <a:pt x="941" y="1459"/>
                </a:cubicBezTo>
                <a:cubicBezTo>
                  <a:pt x="947" y="1456"/>
                  <a:pt x="947" y="1456"/>
                  <a:pt x="947" y="1456"/>
                </a:cubicBezTo>
                <a:cubicBezTo>
                  <a:pt x="948" y="1455"/>
                  <a:pt x="948" y="1455"/>
                  <a:pt x="948" y="1455"/>
                </a:cubicBezTo>
                <a:cubicBezTo>
                  <a:pt x="949" y="1456"/>
                  <a:pt x="949" y="1456"/>
                  <a:pt x="949" y="1456"/>
                </a:cubicBezTo>
                <a:cubicBezTo>
                  <a:pt x="953" y="1455"/>
                  <a:pt x="953" y="1455"/>
                  <a:pt x="953" y="1455"/>
                </a:cubicBezTo>
                <a:cubicBezTo>
                  <a:pt x="958" y="1451"/>
                  <a:pt x="958" y="1451"/>
                  <a:pt x="958" y="1451"/>
                </a:cubicBezTo>
                <a:cubicBezTo>
                  <a:pt x="959" y="1449"/>
                  <a:pt x="959" y="1449"/>
                  <a:pt x="959" y="1449"/>
                </a:cubicBezTo>
                <a:cubicBezTo>
                  <a:pt x="959" y="1447"/>
                  <a:pt x="959" y="1447"/>
                  <a:pt x="959" y="1447"/>
                </a:cubicBezTo>
                <a:cubicBezTo>
                  <a:pt x="960" y="1444"/>
                  <a:pt x="960" y="1444"/>
                  <a:pt x="960" y="1444"/>
                </a:cubicBezTo>
                <a:cubicBezTo>
                  <a:pt x="960" y="1443"/>
                  <a:pt x="960" y="1443"/>
                  <a:pt x="960" y="1443"/>
                </a:cubicBezTo>
                <a:cubicBezTo>
                  <a:pt x="961" y="1444"/>
                  <a:pt x="961" y="1444"/>
                  <a:pt x="961" y="1444"/>
                </a:cubicBezTo>
                <a:cubicBezTo>
                  <a:pt x="961" y="1443"/>
                  <a:pt x="961" y="1443"/>
                  <a:pt x="961" y="1443"/>
                </a:cubicBezTo>
                <a:cubicBezTo>
                  <a:pt x="962" y="1440"/>
                  <a:pt x="962" y="1440"/>
                  <a:pt x="962" y="1440"/>
                </a:cubicBezTo>
                <a:cubicBezTo>
                  <a:pt x="964" y="1437"/>
                  <a:pt x="964" y="1437"/>
                  <a:pt x="964" y="1437"/>
                </a:cubicBezTo>
                <a:cubicBezTo>
                  <a:pt x="965" y="1435"/>
                  <a:pt x="965" y="1435"/>
                  <a:pt x="965" y="1435"/>
                </a:cubicBezTo>
                <a:cubicBezTo>
                  <a:pt x="965" y="1430"/>
                  <a:pt x="965" y="1430"/>
                  <a:pt x="965" y="1430"/>
                </a:cubicBezTo>
                <a:cubicBezTo>
                  <a:pt x="964" y="1429"/>
                  <a:pt x="964" y="1429"/>
                  <a:pt x="964" y="1429"/>
                </a:cubicBezTo>
                <a:cubicBezTo>
                  <a:pt x="964" y="1429"/>
                  <a:pt x="964" y="1429"/>
                  <a:pt x="964" y="1429"/>
                </a:cubicBezTo>
                <a:cubicBezTo>
                  <a:pt x="962" y="1430"/>
                  <a:pt x="962" y="1430"/>
                  <a:pt x="962" y="1430"/>
                </a:cubicBezTo>
                <a:cubicBezTo>
                  <a:pt x="960" y="1430"/>
                  <a:pt x="960" y="1430"/>
                  <a:pt x="960" y="1430"/>
                </a:cubicBezTo>
                <a:cubicBezTo>
                  <a:pt x="957" y="1428"/>
                  <a:pt x="957" y="1428"/>
                  <a:pt x="957" y="1428"/>
                </a:cubicBezTo>
                <a:cubicBezTo>
                  <a:pt x="956" y="1425"/>
                  <a:pt x="956" y="1425"/>
                  <a:pt x="956" y="1425"/>
                </a:cubicBezTo>
                <a:cubicBezTo>
                  <a:pt x="956" y="1424"/>
                  <a:pt x="956" y="1424"/>
                  <a:pt x="956" y="1424"/>
                </a:cubicBezTo>
                <a:cubicBezTo>
                  <a:pt x="959" y="1419"/>
                  <a:pt x="959" y="1419"/>
                  <a:pt x="959" y="1419"/>
                </a:cubicBezTo>
                <a:cubicBezTo>
                  <a:pt x="959" y="1417"/>
                  <a:pt x="959" y="1417"/>
                  <a:pt x="959" y="1417"/>
                </a:cubicBezTo>
                <a:cubicBezTo>
                  <a:pt x="958" y="1415"/>
                  <a:pt x="958" y="1415"/>
                  <a:pt x="958" y="1415"/>
                </a:cubicBezTo>
                <a:cubicBezTo>
                  <a:pt x="952" y="1411"/>
                  <a:pt x="952" y="1411"/>
                  <a:pt x="952" y="1411"/>
                </a:cubicBezTo>
                <a:cubicBezTo>
                  <a:pt x="948" y="1410"/>
                  <a:pt x="948" y="1410"/>
                  <a:pt x="948" y="1410"/>
                </a:cubicBezTo>
                <a:cubicBezTo>
                  <a:pt x="944" y="1406"/>
                  <a:pt x="944" y="1406"/>
                  <a:pt x="944" y="1406"/>
                </a:cubicBezTo>
                <a:cubicBezTo>
                  <a:pt x="943" y="1405"/>
                  <a:pt x="943" y="1405"/>
                  <a:pt x="943" y="1405"/>
                </a:cubicBezTo>
                <a:cubicBezTo>
                  <a:pt x="943" y="1404"/>
                  <a:pt x="943" y="1404"/>
                  <a:pt x="943" y="1404"/>
                </a:cubicBezTo>
                <a:cubicBezTo>
                  <a:pt x="943" y="1402"/>
                  <a:pt x="943" y="1402"/>
                  <a:pt x="943" y="1402"/>
                </a:cubicBezTo>
                <a:cubicBezTo>
                  <a:pt x="942" y="1401"/>
                  <a:pt x="942" y="1401"/>
                  <a:pt x="942" y="1401"/>
                </a:cubicBezTo>
                <a:cubicBezTo>
                  <a:pt x="943" y="1400"/>
                  <a:pt x="943" y="1400"/>
                  <a:pt x="943" y="1400"/>
                </a:cubicBezTo>
                <a:cubicBezTo>
                  <a:pt x="942" y="1396"/>
                  <a:pt x="942" y="1396"/>
                  <a:pt x="942" y="1396"/>
                </a:cubicBezTo>
                <a:cubicBezTo>
                  <a:pt x="942" y="1392"/>
                  <a:pt x="942" y="1392"/>
                  <a:pt x="942" y="1392"/>
                </a:cubicBezTo>
                <a:cubicBezTo>
                  <a:pt x="942" y="1392"/>
                  <a:pt x="942" y="1392"/>
                  <a:pt x="942" y="1392"/>
                </a:cubicBezTo>
                <a:cubicBezTo>
                  <a:pt x="942" y="1396"/>
                  <a:pt x="942" y="1396"/>
                  <a:pt x="942" y="1396"/>
                </a:cubicBezTo>
                <a:cubicBezTo>
                  <a:pt x="944" y="1400"/>
                  <a:pt x="944" y="1400"/>
                  <a:pt x="944" y="1400"/>
                </a:cubicBezTo>
                <a:cubicBezTo>
                  <a:pt x="947" y="1404"/>
                  <a:pt x="947" y="1404"/>
                  <a:pt x="947" y="1404"/>
                </a:cubicBezTo>
                <a:cubicBezTo>
                  <a:pt x="948" y="1404"/>
                  <a:pt x="948" y="1404"/>
                  <a:pt x="948" y="1404"/>
                </a:cubicBezTo>
                <a:cubicBezTo>
                  <a:pt x="951" y="1407"/>
                  <a:pt x="951" y="1407"/>
                  <a:pt x="951" y="1407"/>
                </a:cubicBezTo>
                <a:cubicBezTo>
                  <a:pt x="952" y="1408"/>
                  <a:pt x="952" y="1408"/>
                  <a:pt x="952" y="1408"/>
                </a:cubicBezTo>
                <a:cubicBezTo>
                  <a:pt x="957" y="1407"/>
                  <a:pt x="957" y="1407"/>
                  <a:pt x="957" y="1407"/>
                </a:cubicBezTo>
                <a:cubicBezTo>
                  <a:pt x="959" y="1407"/>
                  <a:pt x="959" y="1407"/>
                  <a:pt x="959" y="1407"/>
                </a:cubicBezTo>
                <a:cubicBezTo>
                  <a:pt x="962" y="1409"/>
                  <a:pt x="962" y="1409"/>
                  <a:pt x="962" y="1409"/>
                </a:cubicBezTo>
                <a:cubicBezTo>
                  <a:pt x="963" y="1409"/>
                  <a:pt x="963" y="1409"/>
                  <a:pt x="963" y="1409"/>
                </a:cubicBezTo>
                <a:cubicBezTo>
                  <a:pt x="965" y="1409"/>
                  <a:pt x="965" y="1409"/>
                  <a:pt x="965" y="1409"/>
                </a:cubicBezTo>
                <a:cubicBezTo>
                  <a:pt x="965" y="1410"/>
                  <a:pt x="965" y="1410"/>
                  <a:pt x="965" y="1410"/>
                </a:cubicBezTo>
                <a:cubicBezTo>
                  <a:pt x="965" y="1411"/>
                  <a:pt x="965" y="1411"/>
                  <a:pt x="965" y="1411"/>
                </a:cubicBezTo>
                <a:cubicBezTo>
                  <a:pt x="965" y="1412"/>
                  <a:pt x="965" y="1412"/>
                  <a:pt x="965" y="1412"/>
                </a:cubicBezTo>
                <a:cubicBezTo>
                  <a:pt x="967" y="1412"/>
                  <a:pt x="967" y="1412"/>
                  <a:pt x="967" y="1412"/>
                </a:cubicBezTo>
                <a:cubicBezTo>
                  <a:pt x="969" y="1410"/>
                  <a:pt x="969" y="1410"/>
                  <a:pt x="969" y="1410"/>
                </a:cubicBezTo>
                <a:cubicBezTo>
                  <a:pt x="972" y="1410"/>
                  <a:pt x="972" y="1410"/>
                  <a:pt x="972" y="1410"/>
                </a:cubicBezTo>
                <a:cubicBezTo>
                  <a:pt x="974" y="1411"/>
                  <a:pt x="974" y="1411"/>
                  <a:pt x="974" y="1411"/>
                </a:cubicBezTo>
                <a:cubicBezTo>
                  <a:pt x="975" y="1411"/>
                  <a:pt x="975" y="1411"/>
                  <a:pt x="975" y="1411"/>
                </a:cubicBezTo>
                <a:cubicBezTo>
                  <a:pt x="976" y="1411"/>
                  <a:pt x="976" y="1411"/>
                  <a:pt x="976" y="1411"/>
                </a:cubicBezTo>
                <a:cubicBezTo>
                  <a:pt x="978" y="1412"/>
                  <a:pt x="978" y="1412"/>
                  <a:pt x="978" y="1412"/>
                </a:cubicBezTo>
                <a:cubicBezTo>
                  <a:pt x="979" y="1412"/>
                  <a:pt x="979" y="1412"/>
                  <a:pt x="979" y="1412"/>
                </a:cubicBezTo>
                <a:cubicBezTo>
                  <a:pt x="980" y="1411"/>
                  <a:pt x="980" y="1411"/>
                  <a:pt x="980" y="1411"/>
                </a:cubicBezTo>
                <a:cubicBezTo>
                  <a:pt x="981" y="1410"/>
                  <a:pt x="981" y="1410"/>
                  <a:pt x="981" y="1410"/>
                </a:cubicBezTo>
                <a:cubicBezTo>
                  <a:pt x="981" y="1410"/>
                  <a:pt x="981" y="1410"/>
                  <a:pt x="981" y="1410"/>
                </a:cubicBezTo>
                <a:cubicBezTo>
                  <a:pt x="982" y="1410"/>
                  <a:pt x="982" y="1410"/>
                  <a:pt x="982" y="1410"/>
                </a:cubicBezTo>
                <a:cubicBezTo>
                  <a:pt x="986" y="1409"/>
                  <a:pt x="986" y="1409"/>
                  <a:pt x="986" y="1409"/>
                </a:cubicBezTo>
                <a:cubicBezTo>
                  <a:pt x="988" y="1406"/>
                  <a:pt x="988" y="1406"/>
                  <a:pt x="988" y="1406"/>
                </a:cubicBezTo>
                <a:cubicBezTo>
                  <a:pt x="989" y="1405"/>
                  <a:pt x="989" y="1405"/>
                  <a:pt x="989" y="1405"/>
                </a:cubicBezTo>
                <a:cubicBezTo>
                  <a:pt x="988" y="1405"/>
                  <a:pt x="988" y="1405"/>
                  <a:pt x="988" y="1405"/>
                </a:cubicBezTo>
                <a:cubicBezTo>
                  <a:pt x="989" y="1403"/>
                  <a:pt x="989" y="1403"/>
                  <a:pt x="989" y="1403"/>
                </a:cubicBezTo>
                <a:cubicBezTo>
                  <a:pt x="991" y="1401"/>
                  <a:pt x="991" y="1401"/>
                  <a:pt x="991" y="1401"/>
                </a:cubicBezTo>
                <a:cubicBezTo>
                  <a:pt x="991" y="1398"/>
                  <a:pt x="991" y="1398"/>
                  <a:pt x="991" y="1398"/>
                </a:cubicBezTo>
                <a:cubicBezTo>
                  <a:pt x="993" y="1397"/>
                  <a:pt x="993" y="1397"/>
                  <a:pt x="993" y="1397"/>
                </a:cubicBezTo>
                <a:cubicBezTo>
                  <a:pt x="994" y="1396"/>
                  <a:pt x="994" y="1396"/>
                  <a:pt x="994" y="1396"/>
                </a:cubicBezTo>
                <a:cubicBezTo>
                  <a:pt x="998" y="1393"/>
                  <a:pt x="998" y="1393"/>
                  <a:pt x="998" y="1393"/>
                </a:cubicBezTo>
                <a:cubicBezTo>
                  <a:pt x="999" y="1390"/>
                  <a:pt x="999" y="1390"/>
                  <a:pt x="999" y="1390"/>
                </a:cubicBezTo>
                <a:cubicBezTo>
                  <a:pt x="1001" y="1383"/>
                  <a:pt x="1001" y="1383"/>
                  <a:pt x="1001" y="1383"/>
                </a:cubicBezTo>
                <a:cubicBezTo>
                  <a:pt x="1002" y="1378"/>
                  <a:pt x="1002" y="1378"/>
                  <a:pt x="1002" y="1378"/>
                </a:cubicBezTo>
                <a:cubicBezTo>
                  <a:pt x="1003" y="1377"/>
                  <a:pt x="1003" y="1377"/>
                  <a:pt x="1003" y="1377"/>
                </a:cubicBezTo>
                <a:cubicBezTo>
                  <a:pt x="1002" y="1376"/>
                  <a:pt x="1002" y="1376"/>
                  <a:pt x="1002" y="1376"/>
                </a:cubicBezTo>
                <a:cubicBezTo>
                  <a:pt x="1000" y="1373"/>
                  <a:pt x="1000" y="1373"/>
                  <a:pt x="1000" y="1373"/>
                </a:cubicBezTo>
                <a:cubicBezTo>
                  <a:pt x="1001" y="1371"/>
                  <a:pt x="1001" y="1371"/>
                  <a:pt x="1001" y="1371"/>
                </a:cubicBezTo>
                <a:cubicBezTo>
                  <a:pt x="1003" y="1371"/>
                  <a:pt x="1003" y="1371"/>
                  <a:pt x="1003" y="1371"/>
                </a:cubicBezTo>
                <a:cubicBezTo>
                  <a:pt x="1003" y="1369"/>
                  <a:pt x="1003" y="1369"/>
                  <a:pt x="1003" y="1369"/>
                </a:cubicBezTo>
                <a:cubicBezTo>
                  <a:pt x="1004" y="1367"/>
                  <a:pt x="1004" y="1367"/>
                  <a:pt x="1004" y="1367"/>
                </a:cubicBezTo>
                <a:cubicBezTo>
                  <a:pt x="1004" y="1366"/>
                  <a:pt x="1004" y="1366"/>
                  <a:pt x="1004" y="1366"/>
                </a:cubicBezTo>
                <a:cubicBezTo>
                  <a:pt x="1005" y="1367"/>
                  <a:pt x="1005" y="1367"/>
                  <a:pt x="1005" y="1367"/>
                </a:cubicBezTo>
                <a:cubicBezTo>
                  <a:pt x="1007" y="1367"/>
                  <a:pt x="1007" y="1367"/>
                  <a:pt x="1007" y="1367"/>
                </a:cubicBezTo>
                <a:cubicBezTo>
                  <a:pt x="1008" y="1365"/>
                  <a:pt x="1008" y="1365"/>
                  <a:pt x="1008" y="1365"/>
                </a:cubicBezTo>
                <a:cubicBezTo>
                  <a:pt x="1009" y="1363"/>
                  <a:pt x="1009" y="1363"/>
                  <a:pt x="1009" y="1363"/>
                </a:cubicBezTo>
                <a:cubicBezTo>
                  <a:pt x="1009" y="1362"/>
                  <a:pt x="1009" y="1362"/>
                  <a:pt x="1009" y="1362"/>
                </a:cubicBezTo>
                <a:cubicBezTo>
                  <a:pt x="1009" y="1360"/>
                  <a:pt x="1009" y="1360"/>
                  <a:pt x="1009" y="1360"/>
                </a:cubicBezTo>
                <a:cubicBezTo>
                  <a:pt x="1010" y="1359"/>
                  <a:pt x="1010" y="1359"/>
                  <a:pt x="1010" y="1359"/>
                </a:cubicBezTo>
                <a:cubicBezTo>
                  <a:pt x="1011" y="1359"/>
                  <a:pt x="1011" y="1359"/>
                  <a:pt x="1011" y="1359"/>
                </a:cubicBezTo>
                <a:cubicBezTo>
                  <a:pt x="1012" y="1357"/>
                  <a:pt x="1012" y="1357"/>
                  <a:pt x="1012" y="1357"/>
                </a:cubicBezTo>
                <a:cubicBezTo>
                  <a:pt x="1011" y="1356"/>
                  <a:pt x="1011" y="1356"/>
                  <a:pt x="1011" y="1356"/>
                </a:cubicBezTo>
                <a:cubicBezTo>
                  <a:pt x="1010" y="1354"/>
                  <a:pt x="1010" y="1354"/>
                  <a:pt x="1010" y="1354"/>
                </a:cubicBezTo>
                <a:cubicBezTo>
                  <a:pt x="1010" y="1351"/>
                  <a:pt x="1010" y="1351"/>
                  <a:pt x="1010" y="1351"/>
                </a:cubicBezTo>
                <a:cubicBezTo>
                  <a:pt x="1010" y="1350"/>
                  <a:pt x="1010" y="1350"/>
                  <a:pt x="1010" y="1350"/>
                </a:cubicBezTo>
                <a:cubicBezTo>
                  <a:pt x="1011" y="1351"/>
                  <a:pt x="1011" y="1351"/>
                  <a:pt x="1011" y="1351"/>
                </a:cubicBezTo>
                <a:cubicBezTo>
                  <a:pt x="1012" y="1353"/>
                  <a:pt x="1012" y="1353"/>
                  <a:pt x="1012" y="1353"/>
                </a:cubicBezTo>
                <a:cubicBezTo>
                  <a:pt x="1014" y="1356"/>
                  <a:pt x="1014" y="1356"/>
                  <a:pt x="1014" y="1356"/>
                </a:cubicBezTo>
                <a:cubicBezTo>
                  <a:pt x="1015" y="1356"/>
                  <a:pt x="1015" y="1356"/>
                  <a:pt x="1015" y="1356"/>
                </a:cubicBezTo>
                <a:cubicBezTo>
                  <a:pt x="1016" y="1355"/>
                  <a:pt x="1016" y="1355"/>
                  <a:pt x="1016" y="1355"/>
                </a:cubicBezTo>
                <a:cubicBezTo>
                  <a:pt x="1017" y="1356"/>
                  <a:pt x="1017" y="1356"/>
                  <a:pt x="1017" y="1356"/>
                </a:cubicBezTo>
                <a:cubicBezTo>
                  <a:pt x="1017" y="1358"/>
                  <a:pt x="1017" y="1358"/>
                  <a:pt x="1017" y="1358"/>
                </a:cubicBezTo>
                <a:cubicBezTo>
                  <a:pt x="1016" y="1358"/>
                  <a:pt x="1016" y="1358"/>
                  <a:pt x="1016" y="1358"/>
                </a:cubicBezTo>
                <a:cubicBezTo>
                  <a:pt x="1015" y="1361"/>
                  <a:pt x="1015" y="1361"/>
                  <a:pt x="1015" y="1361"/>
                </a:cubicBezTo>
                <a:cubicBezTo>
                  <a:pt x="1013" y="1365"/>
                  <a:pt x="1013" y="1365"/>
                  <a:pt x="1013" y="1365"/>
                </a:cubicBezTo>
                <a:cubicBezTo>
                  <a:pt x="1011" y="1365"/>
                  <a:pt x="1011" y="1365"/>
                  <a:pt x="1011" y="1365"/>
                </a:cubicBezTo>
                <a:cubicBezTo>
                  <a:pt x="1011" y="1368"/>
                  <a:pt x="1011" y="1368"/>
                  <a:pt x="1011" y="1368"/>
                </a:cubicBezTo>
                <a:cubicBezTo>
                  <a:pt x="1010" y="1369"/>
                  <a:pt x="1010" y="1369"/>
                  <a:pt x="1010" y="1369"/>
                </a:cubicBezTo>
                <a:cubicBezTo>
                  <a:pt x="1009" y="1369"/>
                  <a:pt x="1009" y="1369"/>
                  <a:pt x="1009" y="1369"/>
                </a:cubicBezTo>
                <a:cubicBezTo>
                  <a:pt x="1007" y="1370"/>
                  <a:pt x="1007" y="1370"/>
                  <a:pt x="1007" y="1370"/>
                </a:cubicBezTo>
                <a:cubicBezTo>
                  <a:pt x="1006" y="1372"/>
                  <a:pt x="1006" y="1372"/>
                  <a:pt x="1006" y="1372"/>
                </a:cubicBezTo>
                <a:cubicBezTo>
                  <a:pt x="1005" y="1373"/>
                  <a:pt x="1005" y="1373"/>
                  <a:pt x="1005" y="1373"/>
                </a:cubicBezTo>
                <a:cubicBezTo>
                  <a:pt x="1004" y="1373"/>
                  <a:pt x="1004" y="1373"/>
                  <a:pt x="1004" y="1373"/>
                </a:cubicBezTo>
                <a:cubicBezTo>
                  <a:pt x="1003" y="1374"/>
                  <a:pt x="1003" y="1374"/>
                  <a:pt x="1003" y="1374"/>
                </a:cubicBezTo>
                <a:cubicBezTo>
                  <a:pt x="1003" y="1375"/>
                  <a:pt x="1003" y="1375"/>
                  <a:pt x="1003" y="1375"/>
                </a:cubicBezTo>
                <a:cubicBezTo>
                  <a:pt x="1005" y="1375"/>
                  <a:pt x="1005" y="1375"/>
                  <a:pt x="1005" y="1375"/>
                </a:cubicBezTo>
                <a:cubicBezTo>
                  <a:pt x="1011" y="1370"/>
                  <a:pt x="1011" y="1370"/>
                  <a:pt x="1011" y="1370"/>
                </a:cubicBezTo>
                <a:cubicBezTo>
                  <a:pt x="1015" y="1367"/>
                  <a:pt x="1015" y="1367"/>
                  <a:pt x="1015" y="1367"/>
                </a:cubicBezTo>
                <a:cubicBezTo>
                  <a:pt x="1019" y="1359"/>
                  <a:pt x="1019" y="1359"/>
                  <a:pt x="1019" y="1359"/>
                </a:cubicBezTo>
                <a:cubicBezTo>
                  <a:pt x="1021" y="1355"/>
                  <a:pt x="1021" y="1355"/>
                  <a:pt x="1021" y="1355"/>
                </a:cubicBezTo>
                <a:cubicBezTo>
                  <a:pt x="1023" y="1349"/>
                  <a:pt x="1023" y="1349"/>
                  <a:pt x="1023" y="1349"/>
                </a:cubicBezTo>
                <a:cubicBezTo>
                  <a:pt x="1028" y="1341"/>
                  <a:pt x="1028" y="1341"/>
                  <a:pt x="1028" y="1341"/>
                </a:cubicBezTo>
                <a:cubicBezTo>
                  <a:pt x="1032" y="1335"/>
                  <a:pt x="1032" y="1335"/>
                  <a:pt x="1032" y="1335"/>
                </a:cubicBezTo>
                <a:cubicBezTo>
                  <a:pt x="1033" y="1334"/>
                  <a:pt x="1033" y="1334"/>
                  <a:pt x="1033" y="1334"/>
                </a:cubicBezTo>
                <a:cubicBezTo>
                  <a:pt x="1032" y="1333"/>
                  <a:pt x="1032" y="1333"/>
                  <a:pt x="1032" y="1333"/>
                </a:cubicBezTo>
                <a:cubicBezTo>
                  <a:pt x="1033" y="1332"/>
                  <a:pt x="1033" y="1332"/>
                  <a:pt x="1033" y="1332"/>
                </a:cubicBezTo>
                <a:cubicBezTo>
                  <a:pt x="1034" y="1331"/>
                  <a:pt x="1034" y="1331"/>
                  <a:pt x="1034" y="1331"/>
                </a:cubicBezTo>
                <a:cubicBezTo>
                  <a:pt x="1034" y="1329"/>
                  <a:pt x="1034" y="1329"/>
                  <a:pt x="1034" y="1329"/>
                </a:cubicBezTo>
                <a:cubicBezTo>
                  <a:pt x="1036" y="1328"/>
                  <a:pt x="1036" y="1328"/>
                  <a:pt x="1036" y="1328"/>
                </a:cubicBezTo>
                <a:cubicBezTo>
                  <a:pt x="1035" y="1326"/>
                  <a:pt x="1035" y="1326"/>
                  <a:pt x="1035" y="1326"/>
                </a:cubicBezTo>
                <a:cubicBezTo>
                  <a:pt x="1036" y="1325"/>
                  <a:pt x="1036" y="1325"/>
                  <a:pt x="1036" y="1325"/>
                </a:cubicBezTo>
                <a:cubicBezTo>
                  <a:pt x="1035" y="1325"/>
                  <a:pt x="1035" y="1325"/>
                  <a:pt x="1035" y="1325"/>
                </a:cubicBezTo>
                <a:cubicBezTo>
                  <a:pt x="1034" y="1324"/>
                  <a:pt x="1034" y="1324"/>
                  <a:pt x="1034" y="1324"/>
                </a:cubicBezTo>
                <a:cubicBezTo>
                  <a:pt x="1035" y="1322"/>
                  <a:pt x="1035" y="1322"/>
                  <a:pt x="1035" y="1322"/>
                </a:cubicBezTo>
                <a:cubicBezTo>
                  <a:pt x="1033" y="1319"/>
                  <a:pt x="1033" y="1319"/>
                  <a:pt x="1033" y="1319"/>
                </a:cubicBezTo>
                <a:cubicBezTo>
                  <a:pt x="1033" y="1318"/>
                  <a:pt x="1033" y="1318"/>
                  <a:pt x="1033" y="1318"/>
                </a:cubicBezTo>
                <a:cubicBezTo>
                  <a:pt x="1033" y="1317"/>
                  <a:pt x="1033" y="1317"/>
                  <a:pt x="1033" y="1317"/>
                </a:cubicBezTo>
                <a:cubicBezTo>
                  <a:pt x="1033" y="1315"/>
                  <a:pt x="1033" y="1315"/>
                  <a:pt x="1033" y="1315"/>
                </a:cubicBezTo>
                <a:cubicBezTo>
                  <a:pt x="1032" y="1312"/>
                  <a:pt x="1032" y="1312"/>
                  <a:pt x="1032" y="1312"/>
                </a:cubicBezTo>
                <a:cubicBezTo>
                  <a:pt x="1031" y="1309"/>
                  <a:pt x="1031" y="1309"/>
                  <a:pt x="1031" y="1309"/>
                </a:cubicBezTo>
                <a:cubicBezTo>
                  <a:pt x="1032" y="1309"/>
                  <a:pt x="1032" y="1309"/>
                  <a:pt x="1032" y="1309"/>
                </a:cubicBezTo>
                <a:cubicBezTo>
                  <a:pt x="1034" y="1308"/>
                  <a:pt x="1034" y="1308"/>
                  <a:pt x="1034" y="1308"/>
                </a:cubicBezTo>
                <a:cubicBezTo>
                  <a:pt x="1034" y="1306"/>
                  <a:pt x="1034" y="1306"/>
                  <a:pt x="1034" y="1306"/>
                </a:cubicBezTo>
                <a:cubicBezTo>
                  <a:pt x="1032" y="1306"/>
                  <a:pt x="1032" y="1306"/>
                  <a:pt x="1032" y="1306"/>
                </a:cubicBezTo>
                <a:cubicBezTo>
                  <a:pt x="1035" y="1305"/>
                  <a:pt x="1035" y="1305"/>
                  <a:pt x="1035" y="1305"/>
                </a:cubicBezTo>
                <a:cubicBezTo>
                  <a:pt x="1035" y="1303"/>
                  <a:pt x="1035" y="1303"/>
                  <a:pt x="1035" y="1303"/>
                </a:cubicBezTo>
                <a:cubicBezTo>
                  <a:pt x="1032" y="1302"/>
                  <a:pt x="1032" y="1302"/>
                  <a:pt x="1032" y="1302"/>
                </a:cubicBezTo>
                <a:cubicBezTo>
                  <a:pt x="1034" y="1301"/>
                  <a:pt x="1034" y="1301"/>
                  <a:pt x="1034" y="1301"/>
                </a:cubicBezTo>
                <a:cubicBezTo>
                  <a:pt x="1036" y="1300"/>
                  <a:pt x="1036" y="1300"/>
                  <a:pt x="1036" y="1300"/>
                </a:cubicBezTo>
                <a:cubicBezTo>
                  <a:pt x="1037" y="1300"/>
                  <a:pt x="1037" y="1300"/>
                  <a:pt x="1037" y="1300"/>
                </a:cubicBezTo>
                <a:cubicBezTo>
                  <a:pt x="1040" y="1297"/>
                  <a:pt x="1040" y="1297"/>
                  <a:pt x="1040" y="1297"/>
                </a:cubicBezTo>
                <a:cubicBezTo>
                  <a:pt x="1042" y="1296"/>
                  <a:pt x="1042" y="1296"/>
                  <a:pt x="1042" y="1296"/>
                </a:cubicBezTo>
                <a:cubicBezTo>
                  <a:pt x="1042" y="1295"/>
                  <a:pt x="1042" y="1295"/>
                  <a:pt x="1042" y="1295"/>
                </a:cubicBezTo>
                <a:cubicBezTo>
                  <a:pt x="1044" y="1293"/>
                  <a:pt x="1044" y="1293"/>
                  <a:pt x="1044" y="1293"/>
                </a:cubicBezTo>
                <a:cubicBezTo>
                  <a:pt x="1048" y="1291"/>
                  <a:pt x="1048" y="1291"/>
                  <a:pt x="1048" y="1291"/>
                </a:cubicBezTo>
                <a:cubicBezTo>
                  <a:pt x="1052" y="1286"/>
                  <a:pt x="1052" y="1286"/>
                  <a:pt x="1052" y="1286"/>
                </a:cubicBezTo>
                <a:cubicBezTo>
                  <a:pt x="1055" y="1286"/>
                  <a:pt x="1055" y="1286"/>
                  <a:pt x="1055" y="1286"/>
                </a:cubicBezTo>
                <a:cubicBezTo>
                  <a:pt x="1057" y="1284"/>
                  <a:pt x="1057" y="1284"/>
                  <a:pt x="1057" y="1284"/>
                </a:cubicBezTo>
                <a:cubicBezTo>
                  <a:pt x="1060" y="1282"/>
                  <a:pt x="1060" y="1282"/>
                  <a:pt x="1060" y="1282"/>
                </a:cubicBezTo>
                <a:cubicBezTo>
                  <a:pt x="1062" y="1282"/>
                  <a:pt x="1062" y="1282"/>
                  <a:pt x="1062" y="1282"/>
                </a:cubicBezTo>
                <a:cubicBezTo>
                  <a:pt x="1063" y="1283"/>
                  <a:pt x="1063" y="1283"/>
                  <a:pt x="1063" y="1283"/>
                </a:cubicBezTo>
                <a:cubicBezTo>
                  <a:pt x="1064" y="1283"/>
                  <a:pt x="1064" y="1283"/>
                  <a:pt x="1064" y="1283"/>
                </a:cubicBezTo>
                <a:cubicBezTo>
                  <a:pt x="1065" y="1282"/>
                  <a:pt x="1065" y="1282"/>
                  <a:pt x="1065" y="1282"/>
                </a:cubicBezTo>
                <a:cubicBezTo>
                  <a:pt x="1066" y="1279"/>
                  <a:pt x="1066" y="1279"/>
                  <a:pt x="1066" y="1279"/>
                </a:cubicBezTo>
                <a:cubicBezTo>
                  <a:pt x="1070" y="1276"/>
                  <a:pt x="1070" y="1276"/>
                  <a:pt x="1070" y="1276"/>
                </a:cubicBezTo>
                <a:cubicBezTo>
                  <a:pt x="1072" y="1276"/>
                  <a:pt x="1072" y="1276"/>
                  <a:pt x="1072" y="1276"/>
                </a:cubicBezTo>
                <a:cubicBezTo>
                  <a:pt x="1072" y="1275"/>
                  <a:pt x="1072" y="1275"/>
                  <a:pt x="1072" y="1275"/>
                </a:cubicBezTo>
                <a:cubicBezTo>
                  <a:pt x="1071" y="1275"/>
                  <a:pt x="1071" y="1275"/>
                  <a:pt x="1071" y="1275"/>
                </a:cubicBezTo>
                <a:cubicBezTo>
                  <a:pt x="1070" y="1274"/>
                  <a:pt x="1070" y="1274"/>
                  <a:pt x="1070" y="1274"/>
                </a:cubicBezTo>
                <a:cubicBezTo>
                  <a:pt x="1069" y="1273"/>
                  <a:pt x="1069" y="1273"/>
                  <a:pt x="1069" y="1273"/>
                </a:cubicBezTo>
                <a:cubicBezTo>
                  <a:pt x="1070" y="1273"/>
                  <a:pt x="1070" y="1273"/>
                  <a:pt x="1070" y="1273"/>
                </a:cubicBezTo>
                <a:cubicBezTo>
                  <a:pt x="1073" y="1271"/>
                  <a:pt x="1073" y="1271"/>
                  <a:pt x="1073" y="1271"/>
                </a:cubicBezTo>
                <a:cubicBezTo>
                  <a:pt x="1075" y="1271"/>
                  <a:pt x="1075" y="1271"/>
                  <a:pt x="1075" y="1271"/>
                </a:cubicBezTo>
                <a:cubicBezTo>
                  <a:pt x="1076" y="1271"/>
                  <a:pt x="1076" y="1271"/>
                  <a:pt x="1076" y="1271"/>
                </a:cubicBezTo>
                <a:cubicBezTo>
                  <a:pt x="1078" y="1270"/>
                  <a:pt x="1078" y="1270"/>
                  <a:pt x="1078" y="1270"/>
                </a:cubicBezTo>
                <a:cubicBezTo>
                  <a:pt x="1079" y="1270"/>
                  <a:pt x="1079" y="1270"/>
                  <a:pt x="1079" y="1270"/>
                </a:cubicBezTo>
                <a:cubicBezTo>
                  <a:pt x="1079" y="1271"/>
                  <a:pt x="1079" y="1271"/>
                  <a:pt x="1079" y="1271"/>
                </a:cubicBezTo>
                <a:cubicBezTo>
                  <a:pt x="1077" y="1273"/>
                  <a:pt x="1077" y="1273"/>
                  <a:pt x="1077" y="1273"/>
                </a:cubicBezTo>
                <a:cubicBezTo>
                  <a:pt x="1074" y="1273"/>
                  <a:pt x="1074" y="1273"/>
                  <a:pt x="1074" y="1273"/>
                </a:cubicBezTo>
                <a:cubicBezTo>
                  <a:pt x="1074" y="1274"/>
                  <a:pt x="1074" y="1274"/>
                  <a:pt x="1074" y="1274"/>
                </a:cubicBezTo>
                <a:cubicBezTo>
                  <a:pt x="1075" y="1274"/>
                  <a:pt x="1075" y="1274"/>
                  <a:pt x="1075" y="1274"/>
                </a:cubicBezTo>
                <a:cubicBezTo>
                  <a:pt x="1078" y="1273"/>
                  <a:pt x="1078" y="1273"/>
                  <a:pt x="1078" y="1273"/>
                </a:cubicBezTo>
                <a:cubicBezTo>
                  <a:pt x="1083" y="1271"/>
                  <a:pt x="1083" y="1271"/>
                  <a:pt x="1083" y="1271"/>
                </a:cubicBezTo>
                <a:cubicBezTo>
                  <a:pt x="1083" y="1270"/>
                  <a:pt x="1083" y="1270"/>
                  <a:pt x="1083" y="1270"/>
                </a:cubicBezTo>
                <a:cubicBezTo>
                  <a:pt x="1084" y="1269"/>
                  <a:pt x="1084" y="1269"/>
                  <a:pt x="1084" y="1269"/>
                </a:cubicBezTo>
                <a:cubicBezTo>
                  <a:pt x="1085" y="1269"/>
                  <a:pt x="1085" y="1269"/>
                  <a:pt x="1085" y="1269"/>
                </a:cubicBezTo>
                <a:cubicBezTo>
                  <a:pt x="1085" y="1271"/>
                  <a:pt x="1085" y="1271"/>
                  <a:pt x="1085" y="1271"/>
                </a:cubicBezTo>
                <a:cubicBezTo>
                  <a:pt x="1085" y="1271"/>
                  <a:pt x="1085" y="1272"/>
                  <a:pt x="1085" y="1272"/>
                </a:cubicBezTo>
                <a:cubicBezTo>
                  <a:pt x="1085" y="1272"/>
                  <a:pt x="1088" y="1273"/>
                  <a:pt x="1088" y="1273"/>
                </a:cubicBezTo>
                <a:cubicBezTo>
                  <a:pt x="1090" y="1272"/>
                  <a:pt x="1090" y="1272"/>
                  <a:pt x="1090" y="1272"/>
                </a:cubicBezTo>
                <a:cubicBezTo>
                  <a:pt x="1092" y="1272"/>
                  <a:pt x="1092" y="1272"/>
                  <a:pt x="1092" y="1272"/>
                </a:cubicBezTo>
                <a:cubicBezTo>
                  <a:pt x="1096" y="1272"/>
                  <a:pt x="1096" y="1272"/>
                  <a:pt x="1096" y="1272"/>
                </a:cubicBezTo>
                <a:cubicBezTo>
                  <a:pt x="1098" y="1271"/>
                  <a:pt x="1098" y="1271"/>
                  <a:pt x="1098" y="1271"/>
                </a:cubicBezTo>
                <a:cubicBezTo>
                  <a:pt x="1098" y="1270"/>
                  <a:pt x="1098" y="1270"/>
                  <a:pt x="1098" y="1270"/>
                </a:cubicBezTo>
                <a:cubicBezTo>
                  <a:pt x="1097" y="1269"/>
                  <a:pt x="1097" y="1269"/>
                  <a:pt x="1097" y="1269"/>
                </a:cubicBezTo>
                <a:cubicBezTo>
                  <a:pt x="1098" y="1268"/>
                  <a:pt x="1098" y="1268"/>
                  <a:pt x="1098" y="1268"/>
                </a:cubicBezTo>
                <a:cubicBezTo>
                  <a:pt x="1102" y="1265"/>
                  <a:pt x="1102" y="1265"/>
                  <a:pt x="1102" y="1265"/>
                </a:cubicBezTo>
                <a:cubicBezTo>
                  <a:pt x="1106" y="1264"/>
                  <a:pt x="1106" y="1264"/>
                  <a:pt x="1106" y="1264"/>
                </a:cubicBezTo>
                <a:cubicBezTo>
                  <a:pt x="1108" y="1263"/>
                  <a:pt x="1108" y="1263"/>
                  <a:pt x="1108" y="1263"/>
                </a:cubicBezTo>
                <a:cubicBezTo>
                  <a:pt x="1109" y="1261"/>
                  <a:pt x="1109" y="1261"/>
                  <a:pt x="1109" y="1261"/>
                </a:cubicBezTo>
                <a:cubicBezTo>
                  <a:pt x="1108" y="1261"/>
                  <a:pt x="1108" y="1261"/>
                  <a:pt x="1108" y="1261"/>
                </a:cubicBezTo>
                <a:cubicBezTo>
                  <a:pt x="1106" y="1257"/>
                  <a:pt x="1106" y="1257"/>
                  <a:pt x="1106" y="1257"/>
                </a:cubicBezTo>
                <a:cubicBezTo>
                  <a:pt x="1108" y="1254"/>
                  <a:pt x="1108" y="1254"/>
                  <a:pt x="1108" y="1254"/>
                </a:cubicBezTo>
                <a:cubicBezTo>
                  <a:pt x="1109" y="1252"/>
                  <a:pt x="1109" y="1252"/>
                  <a:pt x="1109" y="1252"/>
                </a:cubicBezTo>
                <a:cubicBezTo>
                  <a:pt x="1109" y="1250"/>
                  <a:pt x="1109" y="1250"/>
                  <a:pt x="1109" y="1250"/>
                </a:cubicBezTo>
                <a:cubicBezTo>
                  <a:pt x="1110" y="1250"/>
                  <a:pt x="1110" y="1250"/>
                  <a:pt x="1110" y="1250"/>
                </a:cubicBezTo>
                <a:cubicBezTo>
                  <a:pt x="1112" y="1248"/>
                  <a:pt x="1112" y="1248"/>
                  <a:pt x="1112" y="1248"/>
                </a:cubicBezTo>
                <a:cubicBezTo>
                  <a:pt x="1112" y="1246"/>
                  <a:pt x="1112" y="1246"/>
                  <a:pt x="1112" y="1246"/>
                </a:cubicBezTo>
                <a:cubicBezTo>
                  <a:pt x="1112" y="1246"/>
                  <a:pt x="1112" y="1246"/>
                  <a:pt x="1112" y="1246"/>
                </a:cubicBezTo>
                <a:cubicBezTo>
                  <a:pt x="1114" y="1241"/>
                  <a:pt x="1114" y="1241"/>
                  <a:pt x="1114" y="1241"/>
                </a:cubicBezTo>
                <a:cubicBezTo>
                  <a:pt x="1118" y="1237"/>
                  <a:pt x="1118" y="1237"/>
                  <a:pt x="1118" y="1237"/>
                </a:cubicBezTo>
                <a:cubicBezTo>
                  <a:pt x="1118" y="1235"/>
                  <a:pt x="1118" y="1235"/>
                  <a:pt x="1118" y="1235"/>
                </a:cubicBezTo>
                <a:cubicBezTo>
                  <a:pt x="1118" y="1229"/>
                  <a:pt x="1118" y="1229"/>
                  <a:pt x="1118" y="1229"/>
                </a:cubicBezTo>
                <a:cubicBezTo>
                  <a:pt x="1117" y="1227"/>
                  <a:pt x="1117" y="1227"/>
                  <a:pt x="1117" y="1227"/>
                </a:cubicBezTo>
                <a:cubicBezTo>
                  <a:pt x="1118" y="1223"/>
                  <a:pt x="1118" y="1223"/>
                  <a:pt x="1118" y="1223"/>
                </a:cubicBezTo>
                <a:cubicBezTo>
                  <a:pt x="1119" y="1222"/>
                  <a:pt x="1119" y="1222"/>
                  <a:pt x="1119" y="1222"/>
                </a:cubicBezTo>
                <a:cubicBezTo>
                  <a:pt x="1119" y="1221"/>
                  <a:pt x="1119" y="1221"/>
                  <a:pt x="1119" y="1221"/>
                </a:cubicBezTo>
                <a:cubicBezTo>
                  <a:pt x="1122" y="1218"/>
                  <a:pt x="1122" y="1218"/>
                  <a:pt x="1122" y="1218"/>
                </a:cubicBezTo>
                <a:cubicBezTo>
                  <a:pt x="1123" y="1217"/>
                  <a:pt x="1123" y="1217"/>
                  <a:pt x="1123" y="1217"/>
                </a:cubicBezTo>
                <a:cubicBezTo>
                  <a:pt x="1122" y="1213"/>
                  <a:pt x="1122" y="1213"/>
                  <a:pt x="1122" y="1213"/>
                </a:cubicBezTo>
                <a:cubicBezTo>
                  <a:pt x="1124" y="1209"/>
                  <a:pt x="1124" y="1209"/>
                  <a:pt x="1124" y="1209"/>
                </a:cubicBezTo>
                <a:cubicBezTo>
                  <a:pt x="1123" y="1205"/>
                  <a:pt x="1123" y="1205"/>
                  <a:pt x="1123" y="1205"/>
                </a:cubicBezTo>
                <a:cubicBezTo>
                  <a:pt x="1124" y="1203"/>
                  <a:pt x="1124" y="1203"/>
                  <a:pt x="1124" y="1203"/>
                </a:cubicBezTo>
                <a:cubicBezTo>
                  <a:pt x="1124" y="1201"/>
                  <a:pt x="1124" y="1201"/>
                  <a:pt x="1124" y="1201"/>
                </a:cubicBezTo>
                <a:cubicBezTo>
                  <a:pt x="1125" y="1197"/>
                  <a:pt x="1125" y="1197"/>
                  <a:pt x="1125" y="1197"/>
                </a:cubicBezTo>
                <a:cubicBezTo>
                  <a:pt x="1123" y="1184"/>
                  <a:pt x="1123" y="1184"/>
                  <a:pt x="1123" y="1184"/>
                </a:cubicBezTo>
                <a:cubicBezTo>
                  <a:pt x="1123" y="1181"/>
                  <a:pt x="1123" y="1181"/>
                  <a:pt x="1123" y="1181"/>
                </a:cubicBezTo>
                <a:cubicBezTo>
                  <a:pt x="1124" y="1179"/>
                  <a:pt x="1124" y="1179"/>
                  <a:pt x="1124" y="1179"/>
                </a:cubicBezTo>
                <a:cubicBezTo>
                  <a:pt x="1124" y="1177"/>
                  <a:pt x="1124" y="1177"/>
                  <a:pt x="1124" y="1177"/>
                </a:cubicBezTo>
                <a:cubicBezTo>
                  <a:pt x="1123" y="1178"/>
                  <a:pt x="1123" y="1178"/>
                  <a:pt x="1123" y="1178"/>
                </a:cubicBezTo>
                <a:cubicBezTo>
                  <a:pt x="1122" y="1177"/>
                  <a:pt x="1122" y="1177"/>
                  <a:pt x="1122" y="1177"/>
                </a:cubicBezTo>
                <a:cubicBezTo>
                  <a:pt x="1122" y="1176"/>
                  <a:pt x="1122" y="1176"/>
                  <a:pt x="1122" y="1176"/>
                </a:cubicBezTo>
                <a:cubicBezTo>
                  <a:pt x="1123" y="1174"/>
                  <a:pt x="1123" y="1174"/>
                  <a:pt x="1123" y="1174"/>
                </a:cubicBezTo>
                <a:cubicBezTo>
                  <a:pt x="1123" y="1171"/>
                  <a:pt x="1123" y="1171"/>
                  <a:pt x="1123" y="1171"/>
                </a:cubicBezTo>
                <a:cubicBezTo>
                  <a:pt x="1123" y="1170"/>
                  <a:pt x="1123" y="1170"/>
                  <a:pt x="1123" y="1170"/>
                </a:cubicBezTo>
                <a:cubicBezTo>
                  <a:pt x="1125" y="1170"/>
                  <a:pt x="1125" y="1170"/>
                  <a:pt x="1125" y="1170"/>
                </a:cubicBezTo>
                <a:cubicBezTo>
                  <a:pt x="1125" y="1167"/>
                  <a:pt x="1125" y="1167"/>
                  <a:pt x="1125" y="1167"/>
                </a:cubicBezTo>
                <a:cubicBezTo>
                  <a:pt x="1123" y="1165"/>
                  <a:pt x="1123" y="1165"/>
                  <a:pt x="1123" y="1165"/>
                </a:cubicBezTo>
                <a:cubicBezTo>
                  <a:pt x="1121" y="1164"/>
                  <a:pt x="1121" y="1164"/>
                  <a:pt x="1121" y="1164"/>
                </a:cubicBezTo>
                <a:cubicBezTo>
                  <a:pt x="1122" y="1163"/>
                  <a:pt x="1122" y="1163"/>
                  <a:pt x="1122" y="1163"/>
                </a:cubicBezTo>
                <a:cubicBezTo>
                  <a:pt x="1122" y="1162"/>
                  <a:pt x="1122" y="1162"/>
                  <a:pt x="1122" y="1162"/>
                </a:cubicBezTo>
                <a:cubicBezTo>
                  <a:pt x="1122" y="1164"/>
                  <a:pt x="1122" y="1164"/>
                  <a:pt x="1122" y="1164"/>
                </a:cubicBezTo>
                <a:cubicBezTo>
                  <a:pt x="1124" y="1164"/>
                  <a:pt x="1124" y="1164"/>
                  <a:pt x="1124" y="1164"/>
                </a:cubicBezTo>
                <a:cubicBezTo>
                  <a:pt x="1125" y="1165"/>
                  <a:pt x="1125" y="1165"/>
                  <a:pt x="1125" y="1165"/>
                </a:cubicBezTo>
                <a:cubicBezTo>
                  <a:pt x="1126" y="1163"/>
                  <a:pt x="1126" y="1163"/>
                  <a:pt x="1126" y="1163"/>
                </a:cubicBezTo>
                <a:cubicBezTo>
                  <a:pt x="1127" y="1163"/>
                  <a:pt x="1127" y="1163"/>
                  <a:pt x="1127" y="1163"/>
                </a:cubicBezTo>
                <a:cubicBezTo>
                  <a:pt x="1128" y="1164"/>
                  <a:pt x="1128" y="1164"/>
                  <a:pt x="1128" y="1164"/>
                </a:cubicBezTo>
                <a:cubicBezTo>
                  <a:pt x="1129" y="1165"/>
                  <a:pt x="1129" y="1165"/>
                  <a:pt x="1129" y="1165"/>
                </a:cubicBezTo>
                <a:cubicBezTo>
                  <a:pt x="1128" y="1166"/>
                  <a:pt x="1128" y="1166"/>
                  <a:pt x="1128" y="1166"/>
                </a:cubicBezTo>
                <a:cubicBezTo>
                  <a:pt x="1126" y="1167"/>
                  <a:pt x="1126" y="1167"/>
                  <a:pt x="1126" y="1167"/>
                </a:cubicBezTo>
                <a:cubicBezTo>
                  <a:pt x="1126" y="1169"/>
                  <a:pt x="1126" y="1169"/>
                  <a:pt x="1126" y="1169"/>
                </a:cubicBezTo>
                <a:cubicBezTo>
                  <a:pt x="1127" y="1169"/>
                  <a:pt x="1127" y="1169"/>
                  <a:pt x="1127" y="1169"/>
                </a:cubicBezTo>
                <a:cubicBezTo>
                  <a:pt x="1129" y="1167"/>
                  <a:pt x="1129" y="1167"/>
                  <a:pt x="1129" y="1167"/>
                </a:cubicBezTo>
                <a:cubicBezTo>
                  <a:pt x="1132" y="1165"/>
                  <a:pt x="1132" y="1165"/>
                  <a:pt x="1132" y="1165"/>
                </a:cubicBezTo>
                <a:cubicBezTo>
                  <a:pt x="1135" y="1160"/>
                  <a:pt x="1135" y="1160"/>
                  <a:pt x="1135" y="1160"/>
                </a:cubicBezTo>
                <a:cubicBezTo>
                  <a:pt x="1137" y="1156"/>
                  <a:pt x="1137" y="1156"/>
                  <a:pt x="1137" y="1156"/>
                </a:cubicBezTo>
                <a:cubicBezTo>
                  <a:pt x="1137" y="1154"/>
                  <a:pt x="1137" y="1154"/>
                  <a:pt x="1137" y="1154"/>
                </a:cubicBezTo>
                <a:cubicBezTo>
                  <a:pt x="1139" y="1153"/>
                  <a:pt x="1139" y="1153"/>
                  <a:pt x="1139" y="1153"/>
                </a:cubicBezTo>
                <a:cubicBezTo>
                  <a:pt x="1140" y="1149"/>
                  <a:pt x="1140" y="1149"/>
                  <a:pt x="1140" y="1149"/>
                </a:cubicBezTo>
                <a:cubicBezTo>
                  <a:pt x="1141" y="1146"/>
                  <a:pt x="1141" y="1146"/>
                  <a:pt x="1141" y="1146"/>
                </a:cubicBezTo>
                <a:cubicBezTo>
                  <a:pt x="1147" y="1143"/>
                  <a:pt x="1147" y="1143"/>
                  <a:pt x="1147" y="1143"/>
                </a:cubicBezTo>
                <a:cubicBezTo>
                  <a:pt x="1147" y="1141"/>
                  <a:pt x="1147" y="1141"/>
                  <a:pt x="1147" y="1141"/>
                </a:cubicBezTo>
                <a:cubicBezTo>
                  <a:pt x="1149" y="1140"/>
                  <a:pt x="1149" y="1140"/>
                  <a:pt x="1149" y="1140"/>
                </a:cubicBezTo>
                <a:cubicBezTo>
                  <a:pt x="1150" y="1138"/>
                  <a:pt x="1150" y="1138"/>
                  <a:pt x="1150" y="1138"/>
                </a:cubicBezTo>
                <a:cubicBezTo>
                  <a:pt x="1155" y="1134"/>
                  <a:pt x="1155" y="1134"/>
                  <a:pt x="1155" y="1134"/>
                </a:cubicBezTo>
                <a:cubicBezTo>
                  <a:pt x="1159" y="1129"/>
                  <a:pt x="1159" y="1129"/>
                  <a:pt x="1159" y="1129"/>
                </a:cubicBezTo>
                <a:cubicBezTo>
                  <a:pt x="1160" y="1128"/>
                  <a:pt x="1160" y="1128"/>
                  <a:pt x="1160" y="1128"/>
                </a:cubicBezTo>
                <a:cubicBezTo>
                  <a:pt x="1162" y="1122"/>
                  <a:pt x="1162" y="1122"/>
                  <a:pt x="1162" y="1122"/>
                </a:cubicBezTo>
                <a:cubicBezTo>
                  <a:pt x="1163" y="1120"/>
                  <a:pt x="1163" y="1120"/>
                  <a:pt x="1163" y="1120"/>
                </a:cubicBezTo>
                <a:cubicBezTo>
                  <a:pt x="1164" y="1118"/>
                  <a:pt x="1164" y="1118"/>
                  <a:pt x="1164" y="1118"/>
                </a:cubicBezTo>
                <a:cubicBezTo>
                  <a:pt x="1164" y="1116"/>
                  <a:pt x="1164" y="1116"/>
                  <a:pt x="1164" y="1116"/>
                </a:cubicBezTo>
                <a:cubicBezTo>
                  <a:pt x="1163" y="1114"/>
                  <a:pt x="1163" y="1114"/>
                  <a:pt x="1163" y="1114"/>
                </a:cubicBezTo>
                <a:cubicBezTo>
                  <a:pt x="1163" y="1112"/>
                  <a:pt x="1163" y="1112"/>
                  <a:pt x="1163" y="1112"/>
                </a:cubicBezTo>
                <a:lnTo>
                  <a:pt x="1164" y="1111"/>
                </a:lnTo>
                <a:close/>
                <a:moveTo>
                  <a:pt x="503" y="0"/>
                </a:moveTo>
                <a:cubicBezTo>
                  <a:pt x="501" y="0"/>
                  <a:pt x="501" y="0"/>
                  <a:pt x="501" y="0"/>
                </a:cubicBezTo>
                <a:cubicBezTo>
                  <a:pt x="502" y="1"/>
                  <a:pt x="502" y="1"/>
                  <a:pt x="502" y="1"/>
                </a:cubicBezTo>
                <a:lnTo>
                  <a:pt x="503" y="0"/>
                </a:lnTo>
                <a:close/>
                <a:moveTo>
                  <a:pt x="3030" y="1049"/>
                </a:moveTo>
                <a:cubicBezTo>
                  <a:pt x="3032" y="1051"/>
                  <a:pt x="3032" y="1051"/>
                  <a:pt x="3032" y="1051"/>
                </a:cubicBezTo>
                <a:cubicBezTo>
                  <a:pt x="3032" y="1049"/>
                  <a:pt x="3032" y="1049"/>
                  <a:pt x="3032" y="1049"/>
                </a:cubicBezTo>
                <a:cubicBezTo>
                  <a:pt x="3031" y="1048"/>
                  <a:pt x="3031" y="1048"/>
                  <a:pt x="3031" y="1048"/>
                </a:cubicBezTo>
                <a:cubicBezTo>
                  <a:pt x="3029" y="1048"/>
                  <a:pt x="3029" y="1048"/>
                  <a:pt x="3029" y="1048"/>
                </a:cubicBezTo>
                <a:lnTo>
                  <a:pt x="3030" y="1049"/>
                </a:lnTo>
                <a:close/>
                <a:moveTo>
                  <a:pt x="3164" y="1265"/>
                </a:moveTo>
                <a:cubicBezTo>
                  <a:pt x="3167" y="1270"/>
                  <a:pt x="3167" y="1270"/>
                  <a:pt x="3167" y="1270"/>
                </a:cubicBezTo>
                <a:cubicBezTo>
                  <a:pt x="3169" y="1271"/>
                  <a:pt x="3169" y="1271"/>
                  <a:pt x="3169" y="1271"/>
                </a:cubicBezTo>
                <a:cubicBezTo>
                  <a:pt x="3169" y="1273"/>
                  <a:pt x="3169" y="1273"/>
                  <a:pt x="3169" y="1273"/>
                </a:cubicBezTo>
                <a:cubicBezTo>
                  <a:pt x="3170" y="1275"/>
                  <a:pt x="3170" y="1275"/>
                  <a:pt x="3170" y="1275"/>
                </a:cubicBezTo>
                <a:cubicBezTo>
                  <a:pt x="3172" y="1275"/>
                  <a:pt x="3172" y="1275"/>
                  <a:pt x="3172" y="1275"/>
                </a:cubicBezTo>
                <a:cubicBezTo>
                  <a:pt x="3172" y="1276"/>
                  <a:pt x="3172" y="1276"/>
                  <a:pt x="3172" y="1276"/>
                </a:cubicBezTo>
                <a:cubicBezTo>
                  <a:pt x="3175" y="1278"/>
                  <a:pt x="3175" y="1278"/>
                  <a:pt x="3175" y="1278"/>
                </a:cubicBezTo>
                <a:cubicBezTo>
                  <a:pt x="3176" y="1281"/>
                  <a:pt x="3176" y="1281"/>
                  <a:pt x="3176" y="1281"/>
                </a:cubicBezTo>
                <a:cubicBezTo>
                  <a:pt x="3177" y="1281"/>
                  <a:pt x="3177" y="1281"/>
                  <a:pt x="3177" y="1281"/>
                </a:cubicBezTo>
                <a:cubicBezTo>
                  <a:pt x="3178" y="1281"/>
                  <a:pt x="3178" y="1281"/>
                  <a:pt x="3178" y="1281"/>
                </a:cubicBezTo>
                <a:cubicBezTo>
                  <a:pt x="3179" y="1284"/>
                  <a:pt x="3179" y="1284"/>
                  <a:pt x="3179" y="1284"/>
                </a:cubicBezTo>
                <a:cubicBezTo>
                  <a:pt x="3181" y="1284"/>
                  <a:pt x="3181" y="1284"/>
                  <a:pt x="3181" y="1284"/>
                </a:cubicBezTo>
                <a:cubicBezTo>
                  <a:pt x="3182" y="1286"/>
                  <a:pt x="3182" y="1286"/>
                  <a:pt x="3182" y="1286"/>
                </a:cubicBezTo>
                <a:cubicBezTo>
                  <a:pt x="3184" y="1288"/>
                  <a:pt x="3184" y="1288"/>
                  <a:pt x="3184" y="1288"/>
                </a:cubicBezTo>
                <a:cubicBezTo>
                  <a:pt x="3186" y="1287"/>
                  <a:pt x="3186" y="1287"/>
                  <a:pt x="3186" y="1287"/>
                </a:cubicBezTo>
                <a:cubicBezTo>
                  <a:pt x="3187" y="1288"/>
                  <a:pt x="3187" y="1288"/>
                  <a:pt x="3187" y="1288"/>
                </a:cubicBezTo>
                <a:cubicBezTo>
                  <a:pt x="3188" y="1288"/>
                  <a:pt x="3188" y="1288"/>
                  <a:pt x="3188" y="1288"/>
                </a:cubicBezTo>
                <a:cubicBezTo>
                  <a:pt x="3190" y="1289"/>
                  <a:pt x="3190" y="1289"/>
                  <a:pt x="3190" y="1289"/>
                </a:cubicBezTo>
                <a:cubicBezTo>
                  <a:pt x="3190" y="1286"/>
                  <a:pt x="3190" y="1286"/>
                  <a:pt x="3190" y="1286"/>
                </a:cubicBezTo>
                <a:cubicBezTo>
                  <a:pt x="3188" y="1285"/>
                  <a:pt x="3188" y="1285"/>
                  <a:pt x="3188" y="1285"/>
                </a:cubicBezTo>
                <a:cubicBezTo>
                  <a:pt x="3185" y="1283"/>
                  <a:pt x="3185" y="1283"/>
                  <a:pt x="3185" y="1283"/>
                </a:cubicBezTo>
                <a:cubicBezTo>
                  <a:pt x="3182" y="1278"/>
                  <a:pt x="3182" y="1278"/>
                  <a:pt x="3182" y="1278"/>
                </a:cubicBezTo>
                <a:cubicBezTo>
                  <a:pt x="3181" y="1277"/>
                  <a:pt x="3181" y="1277"/>
                  <a:pt x="3181" y="1277"/>
                </a:cubicBezTo>
                <a:cubicBezTo>
                  <a:pt x="3179" y="1278"/>
                  <a:pt x="3179" y="1278"/>
                  <a:pt x="3179" y="1278"/>
                </a:cubicBezTo>
                <a:cubicBezTo>
                  <a:pt x="3177" y="1274"/>
                  <a:pt x="3177" y="1274"/>
                  <a:pt x="3177" y="1274"/>
                </a:cubicBezTo>
                <a:cubicBezTo>
                  <a:pt x="3173" y="1269"/>
                  <a:pt x="3173" y="1269"/>
                  <a:pt x="3173" y="1269"/>
                </a:cubicBezTo>
                <a:cubicBezTo>
                  <a:pt x="3172" y="1268"/>
                  <a:pt x="3172" y="1268"/>
                  <a:pt x="3172" y="1268"/>
                </a:cubicBezTo>
                <a:cubicBezTo>
                  <a:pt x="3171" y="1266"/>
                  <a:pt x="3171" y="1266"/>
                  <a:pt x="3171" y="1266"/>
                </a:cubicBezTo>
                <a:cubicBezTo>
                  <a:pt x="3169" y="1265"/>
                  <a:pt x="3169" y="1265"/>
                  <a:pt x="3169" y="1265"/>
                </a:cubicBezTo>
                <a:cubicBezTo>
                  <a:pt x="3168" y="1263"/>
                  <a:pt x="3168" y="1263"/>
                  <a:pt x="3168" y="1263"/>
                </a:cubicBezTo>
                <a:cubicBezTo>
                  <a:pt x="3167" y="1262"/>
                  <a:pt x="3167" y="1262"/>
                  <a:pt x="3167" y="1262"/>
                </a:cubicBezTo>
                <a:cubicBezTo>
                  <a:pt x="3166" y="1263"/>
                  <a:pt x="3166" y="1263"/>
                  <a:pt x="3166" y="1263"/>
                </a:cubicBezTo>
                <a:cubicBezTo>
                  <a:pt x="3164" y="1260"/>
                  <a:pt x="3164" y="1260"/>
                  <a:pt x="3164" y="1260"/>
                </a:cubicBezTo>
                <a:cubicBezTo>
                  <a:pt x="3163" y="1262"/>
                  <a:pt x="3163" y="1262"/>
                  <a:pt x="3163" y="1262"/>
                </a:cubicBezTo>
                <a:cubicBezTo>
                  <a:pt x="3164" y="1263"/>
                  <a:pt x="3164" y="1263"/>
                  <a:pt x="3164" y="1263"/>
                </a:cubicBezTo>
                <a:lnTo>
                  <a:pt x="3164" y="1265"/>
                </a:lnTo>
                <a:close/>
                <a:moveTo>
                  <a:pt x="3198" y="1566"/>
                </a:moveTo>
                <a:cubicBezTo>
                  <a:pt x="3198" y="1565"/>
                  <a:pt x="3198" y="1565"/>
                  <a:pt x="3198" y="1565"/>
                </a:cubicBezTo>
                <a:cubicBezTo>
                  <a:pt x="3197" y="1565"/>
                  <a:pt x="3197" y="1565"/>
                  <a:pt x="3197" y="1565"/>
                </a:cubicBezTo>
                <a:cubicBezTo>
                  <a:pt x="3196" y="1566"/>
                  <a:pt x="3196" y="1566"/>
                  <a:pt x="3196" y="1566"/>
                </a:cubicBezTo>
                <a:cubicBezTo>
                  <a:pt x="3196" y="1568"/>
                  <a:pt x="3196" y="1568"/>
                  <a:pt x="3196" y="1568"/>
                </a:cubicBezTo>
                <a:cubicBezTo>
                  <a:pt x="3195" y="1568"/>
                  <a:pt x="3195" y="1568"/>
                  <a:pt x="3195" y="1568"/>
                </a:cubicBezTo>
                <a:cubicBezTo>
                  <a:pt x="3196" y="1568"/>
                  <a:pt x="3196" y="1568"/>
                  <a:pt x="3196" y="1568"/>
                </a:cubicBezTo>
                <a:cubicBezTo>
                  <a:pt x="3197" y="1567"/>
                  <a:pt x="3197" y="1567"/>
                  <a:pt x="3197" y="1567"/>
                </a:cubicBezTo>
                <a:lnTo>
                  <a:pt x="3198" y="1566"/>
                </a:lnTo>
                <a:close/>
                <a:moveTo>
                  <a:pt x="3260" y="1520"/>
                </a:moveTo>
                <a:cubicBezTo>
                  <a:pt x="3257" y="1519"/>
                  <a:pt x="3257" y="1519"/>
                  <a:pt x="3257" y="1519"/>
                </a:cubicBezTo>
                <a:cubicBezTo>
                  <a:pt x="3256" y="1518"/>
                  <a:pt x="3256" y="1518"/>
                  <a:pt x="3256" y="1518"/>
                </a:cubicBezTo>
                <a:cubicBezTo>
                  <a:pt x="3257" y="1518"/>
                  <a:pt x="3257" y="1518"/>
                  <a:pt x="3257" y="1518"/>
                </a:cubicBezTo>
                <a:cubicBezTo>
                  <a:pt x="3257" y="1517"/>
                  <a:pt x="3257" y="1517"/>
                  <a:pt x="3257" y="1517"/>
                </a:cubicBezTo>
                <a:cubicBezTo>
                  <a:pt x="3255" y="1517"/>
                  <a:pt x="3255" y="1517"/>
                  <a:pt x="3255" y="1517"/>
                </a:cubicBezTo>
                <a:cubicBezTo>
                  <a:pt x="3253" y="1518"/>
                  <a:pt x="3253" y="1518"/>
                  <a:pt x="3253" y="1518"/>
                </a:cubicBezTo>
                <a:cubicBezTo>
                  <a:pt x="3249" y="1522"/>
                  <a:pt x="3249" y="1522"/>
                  <a:pt x="3249" y="1522"/>
                </a:cubicBezTo>
                <a:cubicBezTo>
                  <a:pt x="3247" y="1522"/>
                  <a:pt x="3247" y="1522"/>
                  <a:pt x="3247" y="1522"/>
                </a:cubicBezTo>
                <a:cubicBezTo>
                  <a:pt x="3245" y="1523"/>
                  <a:pt x="3245" y="1523"/>
                  <a:pt x="3245" y="1523"/>
                </a:cubicBezTo>
                <a:cubicBezTo>
                  <a:pt x="3244" y="1522"/>
                  <a:pt x="3244" y="1522"/>
                  <a:pt x="3244" y="1522"/>
                </a:cubicBezTo>
                <a:cubicBezTo>
                  <a:pt x="3239" y="1518"/>
                  <a:pt x="3239" y="1518"/>
                  <a:pt x="3239" y="1518"/>
                </a:cubicBezTo>
                <a:cubicBezTo>
                  <a:pt x="3238" y="1518"/>
                  <a:pt x="3238" y="1518"/>
                  <a:pt x="3238" y="1518"/>
                </a:cubicBezTo>
                <a:cubicBezTo>
                  <a:pt x="3237" y="1516"/>
                  <a:pt x="3237" y="1516"/>
                  <a:pt x="3237" y="1516"/>
                </a:cubicBezTo>
                <a:cubicBezTo>
                  <a:pt x="3236" y="1515"/>
                  <a:pt x="3236" y="1515"/>
                  <a:pt x="3236" y="1515"/>
                </a:cubicBezTo>
                <a:cubicBezTo>
                  <a:pt x="3237" y="1514"/>
                  <a:pt x="3237" y="1514"/>
                  <a:pt x="3237" y="1514"/>
                </a:cubicBezTo>
                <a:cubicBezTo>
                  <a:pt x="3237" y="1511"/>
                  <a:pt x="3237" y="1511"/>
                  <a:pt x="3237" y="1511"/>
                </a:cubicBezTo>
                <a:cubicBezTo>
                  <a:pt x="3236" y="1508"/>
                  <a:pt x="3236" y="1508"/>
                  <a:pt x="3236" y="1508"/>
                </a:cubicBezTo>
                <a:cubicBezTo>
                  <a:pt x="3236" y="1507"/>
                  <a:pt x="3236" y="1507"/>
                  <a:pt x="3236" y="1507"/>
                </a:cubicBezTo>
                <a:cubicBezTo>
                  <a:pt x="3235" y="1506"/>
                  <a:pt x="3235" y="1506"/>
                  <a:pt x="3235" y="1506"/>
                </a:cubicBezTo>
                <a:cubicBezTo>
                  <a:pt x="3236" y="1504"/>
                  <a:pt x="3236" y="1504"/>
                  <a:pt x="3236" y="1504"/>
                </a:cubicBezTo>
                <a:cubicBezTo>
                  <a:pt x="3236" y="1502"/>
                  <a:pt x="3236" y="1502"/>
                  <a:pt x="3236" y="1502"/>
                </a:cubicBezTo>
                <a:cubicBezTo>
                  <a:pt x="3235" y="1502"/>
                  <a:pt x="3235" y="1502"/>
                  <a:pt x="3235" y="1502"/>
                </a:cubicBezTo>
                <a:cubicBezTo>
                  <a:pt x="3235" y="1500"/>
                  <a:pt x="3235" y="1500"/>
                  <a:pt x="3235" y="1500"/>
                </a:cubicBezTo>
                <a:cubicBezTo>
                  <a:pt x="3234" y="1498"/>
                  <a:pt x="3234" y="1498"/>
                  <a:pt x="3234" y="1498"/>
                </a:cubicBezTo>
                <a:cubicBezTo>
                  <a:pt x="3233" y="1499"/>
                  <a:pt x="3233" y="1499"/>
                  <a:pt x="3233" y="1499"/>
                </a:cubicBezTo>
                <a:cubicBezTo>
                  <a:pt x="3232" y="1498"/>
                  <a:pt x="3232" y="1498"/>
                  <a:pt x="3232" y="1498"/>
                </a:cubicBezTo>
                <a:cubicBezTo>
                  <a:pt x="3231" y="1499"/>
                  <a:pt x="3231" y="1499"/>
                  <a:pt x="3231" y="1499"/>
                </a:cubicBezTo>
                <a:cubicBezTo>
                  <a:pt x="3233" y="1500"/>
                  <a:pt x="3233" y="1500"/>
                  <a:pt x="3233" y="1500"/>
                </a:cubicBezTo>
                <a:cubicBezTo>
                  <a:pt x="3233" y="1502"/>
                  <a:pt x="3233" y="1502"/>
                  <a:pt x="3233" y="1502"/>
                </a:cubicBezTo>
                <a:cubicBezTo>
                  <a:pt x="3233" y="1503"/>
                  <a:pt x="3233" y="1503"/>
                  <a:pt x="3233" y="1503"/>
                </a:cubicBezTo>
                <a:cubicBezTo>
                  <a:pt x="3232" y="1504"/>
                  <a:pt x="3232" y="1504"/>
                  <a:pt x="3232" y="1504"/>
                </a:cubicBezTo>
                <a:cubicBezTo>
                  <a:pt x="3232" y="1506"/>
                  <a:pt x="3232" y="1506"/>
                  <a:pt x="3232" y="1506"/>
                </a:cubicBezTo>
                <a:cubicBezTo>
                  <a:pt x="3233" y="1508"/>
                  <a:pt x="3233" y="1508"/>
                  <a:pt x="3233" y="1508"/>
                </a:cubicBezTo>
                <a:cubicBezTo>
                  <a:pt x="3233" y="1509"/>
                  <a:pt x="3233" y="1509"/>
                  <a:pt x="3233" y="1509"/>
                </a:cubicBezTo>
                <a:cubicBezTo>
                  <a:pt x="3231" y="1509"/>
                  <a:pt x="3231" y="1509"/>
                  <a:pt x="3231" y="1509"/>
                </a:cubicBezTo>
                <a:cubicBezTo>
                  <a:pt x="3230" y="1508"/>
                  <a:pt x="3230" y="1508"/>
                  <a:pt x="3230" y="1508"/>
                </a:cubicBezTo>
                <a:cubicBezTo>
                  <a:pt x="3230" y="1506"/>
                  <a:pt x="3230" y="1506"/>
                  <a:pt x="3230" y="1506"/>
                </a:cubicBezTo>
                <a:cubicBezTo>
                  <a:pt x="3228" y="1506"/>
                  <a:pt x="3228" y="1506"/>
                  <a:pt x="3228" y="1506"/>
                </a:cubicBezTo>
                <a:cubicBezTo>
                  <a:pt x="3228" y="1505"/>
                  <a:pt x="3228" y="1505"/>
                  <a:pt x="3228" y="1505"/>
                </a:cubicBezTo>
                <a:cubicBezTo>
                  <a:pt x="3226" y="1504"/>
                  <a:pt x="3226" y="1504"/>
                  <a:pt x="3226" y="1504"/>
                </a:cubicBezTo>
                <a:cubicBezTo>
                  <a:pt x="3225" y="1504"/>
                  <a:pt x="3225" y="1504"/>
                  <a:pt x="3225" y="1504"/>
                </a:cubicBezTo>
                <a:cubicBezTo>
                  <a:pt x="3225" y="1503"/>
                  <a:pt x="3225" y="1503"/>
                  <a:pt x="3225" y="1503"/>
                </a:cubicBezTo>
                <a:cubicBezTo>
                  <a:pt x="3226" y="1503"/>
                  <a:pt x="3226" y="1503"/>
                  <a:pt x="3226" y="1503"/>
                </a:cubicBezTo>
                <a:cubicBezTo>
                  <a:pt x="3227" y="1501"/>
                  <a:pt x="3227" y="1501"/>
                  <a:pt x="3227" y="1501"/>
                </a:cubicBezTo>
                <a:cubicBezTo>
                  <a:pt x="3225" y="1500"/>
                  <a:pt x="3225" y="1500"/>
                  <a:pt x="3225" y="1500"/>
                </a:cubicBezTo>
                <a:cubicBezTo>
                  <a:pt x="3227" y="1498"/>
                  <a:pt x="3227" y="1498"/>
                  <a:pt x="3227" y="1498"/>
                </a:cubicBezTo>
                <a:cubicBezTo>
                  <a:pt x="3228" y="1497"/>
                  <a:pt x="3228" y="1497"/>
                  <a:pt x="3228" y="1497"/>
                </a:cubicBezTo>
                <a:cubicBezTo>
                  <a:pt x="3229" y="1495"/>
                  <a:pt x="3229" y="1495"/>
                  <a:pt x="3229" y="1495"/>
                </a:cubicBezTo>
                <a:cubicBezTo>
                  <a:pt x="3228" y="1494"/>
                  <a:pt x="3228" y="1494"/>
                  <a:pt x="3228" y="1494"/>
                </a:cubicBezTo>
                <a:cubicBezTo>
                  <a:pt x="3228" y="1493"/>
                  <a:pt x="3228" y="1493"/>
                  <a:pt x="3228" y="1493"/>
                </a:cubicBezTo>
                <a:cubicBezTo>
                  <a:pt x="3228" y="1491"/>
                  <a:pt x="3228" y="1491"/>
                  <a:pt x="3228" y="1491"/>
                </a:cubicBezTo>
                <a:cubicBezTo>
                  <a:pt x="3228" y="1489"/>
                  <a:pt x="3228" y="1489"/>
                  <a:pt x="3228" y="1489"/>
                </a:cubicBezTo>
                <a:cubicBezTo>
                  <a:pt x="3226" y="1487"/>
                  <a:pt x="3226" y="1487"/>
                  <a:pt x="3226" y="1487"/>
                </a:cubicBezTo>
                <a:cubicBezTo>
                  <a:pt x="3226" y="1486"/>
                  <a:pt x="3226" y="1486"/>
                  <a:pt x="3226" y="1486"/>
                </a:cubicBezTo>
                <a:cubicBezTo>
                  <a:pt x="3227" y="1487"/>
                  <a:pt x="3227" y="1487"/>
                  <a:pt x="3227" y="1487"/>
                </a:cubicBezTo>
                <a:cubicBezTo>
                  <a:pt x="3229" y="1486"/>
                  <a:pt x="3229" y="1486"/>
                  <a:pt x="3229" y="1486"/>
                </a:cubicBezTo>
                <a:cubicBezTo>
                  <a:pt x="3229" y="1484"/>
                  <a:pt x="3229" y="1484"/>
                  <a:pt x="3229" y="1484"/>
                </a:cubicBezTo>
                <a:cubicBezTo>
                  <a:pt x="3230" y="1484"/>
                  <a:pt x="3230" y="1484"/>
                  <a:pt x="3230" y="1484"/>
                </a:cubicBezTo>
                <a:cubicBezTo>
                  <a:pt x="3230" y="1481"/>
                  <a:pt x="3230" y="1481"/>
                  <a:pt x="3230" y="1481"/>
                </a:cubicBezTo>
                <a:cubicBezTo>
                  <a:pt x="3229" y="1478"/>
                  <a:pt x="3229" y="1478"/>
                  <a:pt x="3229" y="1478"/>
                </a:cubicBezTo>
                <a:cubicBezTo>
                  <a:pt x="3229" y="1476"/>
                  <a:pt x="3229" y="1476"/>
                  <a:pt x="3229" y="1476"/>
                </a:cubicBezTo>
                <a:cubicBezTo>
                  <a:pt x="3229" y="1477"/>
                  <a:pt x="3229" y="1477"/>
                  <a:pt x="3229" y="1477"/>
                </a:cubicBezTo>
                <a:cubicBezTo>
                  <a:pt x="3226" y="1478"/>
                  <a:pt x="3226" y="1478"/>
                  <a:pt x="3226" y="1478"/>
                </a:cubicBezTo>
                <a:cubicBezTo>
                  <a:pt x="3224" y="1476"/>
                  <a:pt x="3224" y="1476"/>
                  <a:pt x="3224" y="1476"/>
                </a:cubicBezTo>
                <a:cubicBezTo>
                  <a:pt x="3225" y="1475"/>
                  <a:pt x="3225" y="1475"/>
                  <a:pt x="3225" y="1475"/>
                </a:cubicBezTo>
                <a:cubicBezTo>
                  <a:pt x="3224" y="1474"/>
                  <a:pt x="3224" y="1474"/>
                  <a:pt x="3224" y="1474"/>
                </a:cubicBezTo>
                <a:cubicBezTo>
                  <a:pt x="3224" y="1474"/>
                  <a:pt x="3224" y="1474"/>
                  <a:pt x="3224" y="1474"/>
                </a:cubicBezTo>
                <a:cubicBezTo>
                  <a:pt x="3224" y="1473"/>
                  <a:pt x="3224" y="1473"/>
                  <a:pt x="3224" y="1473"/>
                </a:cubicBezTo>
                <a:cubicBezTo>
                  <a:pt x="3226" y="1472"/>
                  <a:pt x="3226" y="1472"/>
                  <a:pt x="3226" y="1472"/>
                </a:cubicBezTo>
                <a:cubicBezTo>
                  <a:pt x="3226" y="1471"/>
                  <a:pt x="3226" y="1471"/>
                  <a:pt x="3226" y="1471"/>
                </a:cubicBezTo>
                <a:cubicBezTo>
                  <a:pt x="3224" y="1470"/>
                  <a:pt x="3224" y="1470"/>
                  <a:pt x="3224" y="1470"/>
                </a:cubicBezTo>
                <a:cubicBezTo>
                  <a:pt x="3222" y="1469"/>
                  <a:pt x="3222" y="1469"/>
                  <a:pt x="3222" y="1469"/>
                </a:cubicBezTo>
                <a:cubicBezTo>
                  <a:pt x="3221" y="1470"/>
                  <a:pt x="3221" y="1470"/>
                  <a:pt x="3221" y="1470"/>
                </a:cubicBezTo>
                <a:cubicBezTo>
                  <a:pt x="3221" y="1468"/>
                  <a:pt x="3221" y="1468"/>
                  <a:pt x="3221" y="1468"/>
                </a:cubicBezTo>
                <a:cubicBezTo>
                  <a:pt x="3222" y="1468"/>
                  <a:pt x="3222" y="1468"/>
                  <a:pt x="3222" y="1468"/>
                </a:cubicBezTo>
                <a:cubicBezTo>
                  <a:pt x="3222" y="1467"/>
                  <a:pt x="3222" y="1467"/>
                  <a:pt x="3222" y="1467"/>
                </a:cubicBezTo>
                <a:cubicBezTo>
                  <a:pt x="3221" y="1467"/>
                  <a:pt x="3221" y="1467"/>
                  <a:pt x="3221" y="1467"/>
                </a:cubicBezTo>
                <a:cubicBezTo>
                  <a:pt x="3220" y="1467"/>
                  <a:pt x="3220" y="1467"/>
                  <a:pt x="3220" y="1467"/>
                </a:cubicBezTo>
                <a:cubicBezTo>
                  <a:pt x="3220" y="1468"/>
                  <a:pt x="3220" y="1468"/>
                  <a:pt x="3220" y="1468"/>
                </a:cubicBezTo>
                <a:cubicBezTo>
                  <a:pt x="3220" y="1470"/>
                  <a:pt x="3220" y="1470"/>
                  <a:pt x="3220" y="1470"/>
                </a:cubicBezTo>
                <a:cubicBezTo>
                  <a:pt x="3218" y="1469"/>
                  <a:pt x="3218" y="1469"/>
                  <a:pt x="3218" y="1469"/>
                </a:cubicBezTo>
                <a:cubicBezTo>
                  <a:pt x="3219" y="1468"/>
                  <a:pt x="3219" y="1468"/>
                  <a:pt x="3219" y="1468"/>
                </a:cubicBezTo>
                <a:cubicBezTo>
                  <a:pt x="3218" y="1466"/>
                  <a:pt x="3218" y="1466"/>
                  <a:pt x="3218" y="1466"/>
                </a:cubicBezTo>
                <a:cubicBezTo>
                  <a:pt x="3217" y="1464"/>
                  <a:pt x="3217" y="1464"/>
                  <a:pt x="3217" y="1464"/>
                </a:cubicBezTo>
                <a:cubicBezTo>
                  <a:pt x="3218" y="1462"/>
                  <a:pt x="3218" y="1462"/>
                  <a:pt x="3218" y="1462"/>
                </a:cubicBezTo>
                <a:cubicBezTo>
                  <a:pt x="3218" y="1461"/>
                  <a:pt x="3218" y="1461"/>
                  <a:pt x="3218" y="1461"/>
                </a:cubicBezTo>
                <a:cubicBezTo>
                  <a:pt x="3218" y="1461"/>
                  <a:pt x="3218" y="1461"/>
                  <a:pt x="3218" y="1461"/>
                </a:cubicBezTo>
                <a:cubicBezTo>
                  <a:pt x="3217" y="1460"/>
                  <a:pt x="3217" y="1460"/>
                  <a:pt x="3217" y="1460"/>
                </a:cubicBezTo>
                <a:cubicBezTo>
                  <a:pt x="3216" y="1461"/>
                  <a:pt x="3216" y="1461"/>
                  <a:pt x="3216" y="1461"/>
                </a:cubicBezTo>
                <a:cubicBezTo>
                  <a:pt x="3213" y="1461"/>
                  <a:pt x="3213" y="1461"/>
                  <a:pt x="3213" y="1461"/>
                </a:cubicBezTo>
                <a:cubicBezTo>
                  <a:pt x="3213" y="1461"/>
                  <a:pt x="3213" y="1461"/>
                  <a:pt x="3213" y="1461"/>
                </a:cubicBezTo>
                <a:cubicBezTo>
                  <a:pt x="3215" y="1463"/>
                  <a:pt x="3215" y="1463"/>
                  <a:pt x="3215" y="1463"/>
                </a:cubicBezTo>
                <a:cubicBezTo>
                  <a:pt x="3217" y="1468"/>
                  <a:pt x="3217" y="1468"/>
                  <a:pt x="3217" y="1468"/>
                </a:cubicBezTo>
                <a:cubicBezTo>
                  <a:pt x="3217" y="1470"/>
                  <a:pt x="3217" y="1470"/>
                  <a:pt x="3217" y="1470"/>
                </a:cubicBezTo>
                <a:cubicBezTo>
                  <a:pt x="3217" y="1473"/>
                  <a:pt x="3217" y="1473"/>
                  <a:pt x="3217" y="1473"/>
                </a:cubicBezTo>
                <a:cubicBezTo>
                  <a:pt x="3216" y="1474"/>
                  <a:pt x="3216" y="1474"/>
                  <a:pt x="3216" y="1474"/>
                </a:cubicBezTo>
                <a:cubicBezTo>
                  <a:pt x="3215" y="1474"/>
                  <a:pt x="3215" y="1474"/>
                  <a:pt x="3215" y="1474"/>
                </a:cubicBezTo>
                <a:cubicBezTo>
                  <a:pt x="3215" y="1475"/>
                  <a:pt x="3215" y="1475"/>
                  <a:pt x="3215" y="1475"/>
                </a:cubicBezTo>
                <a:cubicBezTo>
                  <a:pt x="3216" y="1479"/>
                  <a:pt x="3216" y="1479"/>
                  <a:pt x="3216" y="1479"/>
                </a:cubicBezTo>
                <a:cubicBezTo>
                  <a:pt x="3217" y="1479"/>
                  <a:pt x="3217" y="1479"/>
                  <a:pt x="3217" y="1479"/>
                </a:cubicBezTo>
                <a:cubicBezTo>
                  <a:pt x="3218" y="1478"/>
                  <a:pt x="3218" y="1478"/>
                  <a:pt x="3218" y="1478"/>
                </a:cubicBezTo>
                <a:cubicBezTo>
                  <a:pt x="3220" y="1478"/>
                  <a:pt x="3220" y="1478"/>
                  <a:pt x="3220" y="1478"/>
                </a:cubicBezTo>
                <a:cubicBezTo>
                  <a:pt x="3219" y="1479"/>
                  <a:pt x="3219" y="1479"/>
                  <a:pt x="3219" y="1479"/>
                </a:cubicBezTo>
                <a:cubicBezTo>
                  <a:pt x="3217" y="1480"/>
                  <a:pt x="3217" y="1480"/>
                  <a:pt x="3217" y="1480"/>
                </a:cubicBezTo>
                <a:cubicBezTo>
                  <a:pt x="3218" y="1483"/>
                  <a:pt x="3218" y="1483"/>
                  <a:pt x="3218" y="1483"/>
                </a:cubicBezTo>
                <a:cubicBezTo>
                  <a:pt x="3219" y="1486"/>
                  <a:pt x="3219" y="1486"/>
                  <a:pt x="3219" y="1486"/>
                </a:cubicBezTo>
                <a:cubicBezTo>
                  <a:pt x="3220" y="1491"/>
                  <a:pt x="3220" y="1491"/>
                  <a:pt x="3220" y="1491"/>
                </a:cubicBezTo>
                <a:cubicBezTo>
                  <a:pt x="3220" y="1494"/>
                  <a:pt x="3220" y="1494"/>
                  <a:pt x="3220" y="1494"/>
                </a:cubicBezTo>
                <a:cubicBezTo>
                  <a:pt x="3220" y="1496"/>
                  <a:pt x="3220" y="1496"/>
                  <a:pt x="3220" y="1496"/>
                </a:cubicBezTo>
                <a:cubicBezTo>
                  <a:pt x="3221" y="1495"/>
                  <a:pt x="3221" y="1495"/>
                  <a:pt x="3221" y="1495"/>
                </a:cubicBezTo>
                <a:cubicBezTo>
                  <a:pt x="3221" y="1494"/>
                  <a:pt x="3221" y="1494"/>
                  <a:pt x="3221" y="1494"/>
                </a:cubicBezTo>
                <a:cubicBezTo>
                  <a:pt x="3221" y="1492"/>
                  <a:pt x="3221" y="1492"/>
                  <a:pt x="3221" y="1492"/>
                </a:cubicBezTo>
                <a:cubicBezTo>
                  <a:pt x="3221" y="1492"/>
                  <a:pt x="3221" y="1492"/>
                  <a:pt x="3221" y="1492"/>
                </a:cubicBezTo>
                <a:cubicBezTo>
                  <a:pt x="3222" y="1493"/>
                  <a:pt x="3222" y="1493"/>
                  <a:pt x="3222" y="1493"/>
                </a:cubicBezTo>
                <a:cubicBezTo>
                  <a:pt x="3222" y="1495"/>
                  <a:pt x="3222" y="1495"/>
                  <a:pt x="3222" y="1495"/>
                </a:cubicBezTo>
                <a:cubicBezTo>
                  <a:pt x="3223" y="1495"/>
                  <a:pt x="3223" y="1495"/>
                  <a:pt x="3223" y="1495"/>
                </a:cubicBezTo>
                <a:cubicBezTo>
                  <a:pt x="3223" y="1494"/>
                  <a:pt x="3223" y="1494"/>
                  <a:pt x="3223" y="1494"/>
                </a:cubicBezTo>
                <a:cubicBezTo>
                  <a:pt x="3223" y="1493"/>
                  <a:pt x="3223" y="1493"/>
                  <a:pt x="3223" y="1493"/>
                </a:cubicBezTo>
                <a:cubicBezTo>
                  <a:pt x="3224" y="1493"/>
                  <a:pt x="3224" y="1493"/>
                  <a:pt x="3224" y="1493"/>
                </a:cubicBezTo>
                <a:cubicBezTo>
                  <a:pt x="3224" y="1494"/>
                  <a:pt x="3224" y="1494"/>
                  <a:pt x="3224" y="1494"/>
                </a:cubicBezTo>
                <a:cubicBezTo>
                  <a:pt x="3223" y="1496"/>
                  <a:pt x="3223" y="1496"/>
                  <a:pt x="3223" y="1496"/>
                </a:cubicBezTo>
                <a:cubicBezTo>
                  <a:pt x="3222" y="1498"/>
                  <a:pt x="3222" y="1498"/>
                  <a:pt x="3222" y="1498"/>
                </a:cubicBezTo>
                <a:cubicBezTo>
                  <a:pt x="3222" y="1499"/>
                  <a:pt x="3222" y="1499"/>
                  <a:pt x="3222" y="1499"/>
                </a:cubicBezTo>
                <a:cubicBezTo>
                  <a:pt x="3221" y="1499"/>
                  <a:pt x="3221" y="1499"/>
                  <a:pt x="3221" y="1499"/>
                </a:cubicBezTo>
                <a:cubicBezTo>
                  <a:pt x="3221" y="1498"/>
                  <a:pt x="3221" y="1498"/>
                  <a:pt x="3221" y="1498"/>
                </a:cubicBezTo>
                <a:cubicBezTo>
                  <a:pt x="3220" y="1498"/>
                  <a:pt x="3220" y="1498"/>
                  <a:pt x="3220" y="1498"/>
                </a:cubicBezTo>
                <a:cubicBezTo>
                  <a:pt x="3220" y="1501"/>
                  <a:pt x="3220" y="1501"/>
                  <a:pt x="3220" y="1501"/>
                </a:cubicBezTo>
                <a:cubicBezTo>
                  <a:pt x="3222" y="1505"/>
                  <a:pt x="3222" y="1505"/>
                  <a:pt x="3222" y="1505"/>
                </a:cubicBezTo>
                <a:cubicBezTo>
                  <a:pt x="3222" y="1505"/>
                  <a:pt x="3222" y="1505"/>
                  <a:pt x="3222" y="1505"/>
                </a:cubicBezTo>
                <a:cubicBezTo>
                  <a:pt x="3223" y="1505"/>
                  <a:pt x="3223" y="1505"/>
                  <a:pt x="3223" y="1505"/>
                </a:cubicBezTo>
                <a:cubicBezTo>
                  <a:pt x="3224" y="1506"/>
                  <a:pt x="3224" y="1506"/>
                  <a:pt x="3224" y="1506"/>
                </a:cubicBezTo>
                <a:cubicBezTo>
                  <a:pt x="3224" y="1507"/>
                  <a:pt x="3224" y="1507"/>
                  <a:pt x="3224" y="1507"/>
                </a:cubicBezTo>
                <a:cubicBezTo>
                  <a:pt x="3225" y="1508"/>
                  <a:pt x="3225" y="1508"/>
                  <a:pt x="3225" y="1508"/>
                </a:cubicBezTo>
                <a:cubicBezTo>
                  <a:pt x="3223" y="1509"/>
                  <a:pt x="3223" y="1509"/>
                  <a:pt x="3223" y="1509"/>
                </a:cubicBezTo>
                <a:cubicBezTo>
                  <a:pt x="3223" y="1510"/>
                  <a:pt x="3223" y="1510"/>
                  <a:pt x="3223" y="1510"/>
                </a:cubicBezTo>
                <a:cubicBezTo>
                  <a:pt x="3224" y="1511"/>
                  <a:pt x="3224" y="1511"/>
                  <a:pt x="3224" y="1511"/>
                </a:cubicBezTo>
                <a:cubicBezTo>
                  <a:pt x="3223" y="1512"/>
                  <a:pt x="3223" y="1512"/>
                  <a:pt x="3223" y="1512"/>
                </a:cubicBezTo>
                <a:cubicBezTo>
                  <a:pt x="3222" y="1515"/>
                  <a:pt x="3222" y="1515"/>
                  <a:pt x="3222" y="1515"/>
                </a:cubicBezTo>
                <a:cubicBezTo>
                  <a:pt x="3222" y="1517"/>
                  <a:pt x="3222" y="1517"/>
                  <a:pt x="3222" y="1517"/>
                </a:cubicBezTo>
                <a:cubicBezTo>
                  <a:pt x="3221" y="1518"/>
                  <a:pt x="3221" y="1518"/>
                  <a:pt x="3221" y="1518"/>
                </a:cubicBezTo>
                <a:cubicBezTo>
                  <a:pt x="3222" y="1519"/>
                  <a:pt x="3222" y="1519"/>
                  <a:pt x="3222" y="1519"/>
                </a:cubicBezTo>
                <a:cubicBezTo>
                  <a:pt x="3222" y="1520"/>
                  <a:pt x="3222" y="1520"/>
                  <a:pt x="3222" y="1520"/>
                </a:cubicBezTo>
                <a:cubicBezTo>
                  <a:pt x="3220" y="1520"/>
                  <a:pt x="3220" y="1520"/>
                  <a:pt x="3220" y="1520"/>
                </a:cubicBezTo>
                <a:cubicBezTo>
                  <a:pt x="3220" y="1521"/>
                  <a:pt x="3220" y="1521"/>
                  <a:pt x="3220" y="1521"/>
                </a:cubicBezTo>
                <a:cubicBezTo>
                  <a:pt x="3220" y="1522"/>
                  <a:pt x="3220" y="1522"/>
                  <a:pt x="3220" y="1522"/>
                </a:cubicBezTo>
                <a:cubicBezTo>
                  <a:pt x="3221" y="1523"/>
                  <a:pt x="3221" y="1523"/>
                  <a:pt x="3221" y="1523"/>
                </a:cubicBezTo>
                <a:cubicBezTo>
                  <a:pt x="3220" y="1524"/>
                  <a:pt x="3220" y="1524"/>
                  <a:pt x="3220" y="1524"/>
                </a:cubicBezTo>
                <a:cubicBezTo>
                  <a:pt x="3218" y="1524"/>
                  <a:pt x="3218" y="1524"/>
                  <a:pt x="3218" y="1524"/>
                </a:cubicBezTo>
                <a:cubicBezTo>
                  <a:pt x="3217" y="1526"/>
                  <a:pt x="3217" y="1526"/>
                  <a:pt x="3217" y="1526"/>
                </a:cubicBezTo>
                <a:cubicBezTo>
                  <a:pt x="3216" y="1534"/>
                  <a:pt x="3216" y="1534"/>
                  <a:pt x="3216" y="1534"/>
                </a:cubicBezTo>
                <a:cubicBezTo>
                  <a:pt x="3216" y="1535"/>
                  <a:pt x="3216" y="1535"/>
                  <a:pt x="3216" y="1535"/>
                </a:cubicBezTo>
                <a:cubicBezTo>
                  <a:pt x="3214" y="1536"/>
                  <a:pt x="3214" y="1536"/>
                  <a:pt x="3214" y="1536"/>
                </a:cubicBezTo>
                <a:cubicBezTo>
                  <a:pt x="3213" y="1536"/>
                  <a:pt x="3213" y="1536"/>
                  <a:pt x="3213" y="1536"/>
                </a:cubicBezTo>
                <a:cubicBezTo>
                  <a:pt x="3211" y="1536"/>
                  <a:pt x="3211" y="1536"/>
                  <a:pt x="3211" y="1536"/>
                </a:cubicBezTo>
                <a:cubicBezTo>
                  <a:pt x="3209" y="1536"/>
                  <a:pt x="3209" y="1536"/>
                  <a:pt x="3209" y="1536"/>
                </a:cubicBezTo>
                <a:cubicBezTo>
                  <a:pt x="3206" y="1538"/>
                  <a:pt x="3206" y="1538"/>
                  <a:pt x="3206" y="1538"/>
                </a:cubicBezTo>
                <a:cubicBezTo>
                  <a:pt x="3204" y="1540"/>
                  <a:pt x="3204" y="1540"/>
                  <a:pt x="3204" y="1540"/>
                </a:cubicBezTo>
                <a:cubicBezTo>
                  <a:pt x="3203" y="1542"/>
                  <a:pt x="3203" y="1542"/>
                  <a:pt x="3203" y="1542"/>
                </a:cubicBezTo>
                <a:cubicBezTo>
                  <a:pt x="3204" y="1545"/>
                  <a:pt x="3204" y="1545"/>
                  <a:pt x="3204" y="1545"/>
                </a:cubicBezTo>
                <a:cubicBezTo>
                  <a:pt x="3205" y="1547"/>
                  <a:pt x="3205" y="1547"/>
                  <a:pt x="3205" y="1547"/>
                </a:cubicBezTo>
                <a:cubicBezTo>
                  <a:pt x="3208" y="1549"/>
                  <a:pt x="3208" y="1549"/>
                  <a:pt x="3208" y="1549"/>
                </a:cubicBezTo>
                <a:cubicBezTo>
                  <a:pt x="3210" y="1551"/>
                  <a:pt x="3210" y="1551"/>
                  <a:pt x="3210" y="1551"/>
                </a:cubicBezTo>
                <a:cubicBezTo>
                  <a:pt x="3212" y="1552"/>
                  <a:pt x="3212" y="1552"/>
                  <a:pt x="3212" y="1552"/>
                </a:cubicBezTo>
                <a:cubicBezTo>
                  <a:pt x="3213" y="1553"/>
                  <a:pt x="3213" y="1553"/>
                  <a:pt x="3213" y="1553"/>
                </a:cubicBezTo>
                <a:cubicBezTo>
                  <a:pt x="3214" y="1557"/>
                  <a:pt x="3214" y="1557"/>
                  <a:pt x="3214" y="1557"/>
                </a:cubicBezTo>
                <a:cubicBezTo>
                  <a:pt x="3214" y="1558"/>
                  <a:pt x="3214" y="1558"/>
                  <a:pt x="3214" y="1558"/>
                </a:cubicBezTo>
                <a:cubicBezTo>
                  <a:pt x="3214" y="1558"/>
                  <a:pt x="3214" y="1558"/>
                  <a:pt x="3214" y="1558"/>
                </a:cubicBezTo>
                <a:cubicBezTo>
                  <a:pt x="3214" y="1561"/>
                  <a:pt x="3214" y="1561"/>
                  <a:pt x="3214" y="1561"/>
                </a:cubicBezTo>
                <a:cubicBezTo>
                  <a:pt x="3213" y="1563"/>
                  <a:pt x="3213" y="1563"/>
                  <a:pt x="3213" y="1563"/>
                </a:cubicBezTo>
                <a:cubicBezTo>
                  <a:pt x="3209" y="1568"/>
                  <a:pt x="3209" y="1568"/>
                  <a:pt x="3209" y="1568"/>
                </a:cubicBezTo>
                <a:cubicBezTo>
                  <a:pt x="3206" y="1571"/>
                  <a:pt x="3206" y="1571"/>
                  <a:pt x="3206" y="1571"/>
                </a:cubicBezTo>
                <a:cubicBezTo>
                  <a:pt x="3203" y="1573"/>
                  <a:pt x="3203" y="1573"/>
                  <a:pt x="3203" y="1573"/>
                </a:cubicBezTo>
                <a:cubicBezTo>
                  <a:pt x="3202" y="1575"/>
                  <a:pt x="3202" y="1575"/>
                  <a:pt x="3202" y="1575"/>
                </a:cubicBezTo>
                <a:cubicBezTo>
                  <a:pt x="3202" y="1576"/>
                  <a:pt x="3202" y="1576"/>
                  <a:pt x="3202" y="1576"/>
                </a:cubicBezTo>
                <a:cubicBezTo>
                  <a:pt x="3204" y="1576"/>
                  <a:pt x="3204" y="1576"/>
                  <a:pt x="3204" y="1576"/>
                </a:cubicBezTo>
                <a:cubicBezTo>
                  <a:pt x="3205" y="1575"/>
                  <a:pt x="3205" y="1575"/>
                  <a:pt x="3205" y="1575"/>
                </a:cubicBezTo>
                <a:cubicBezTo>
                  <a:pt x="3205" y="1575"/>
                  <a:pt x="3205" y="1575"/>
                  <a:pt x="3205" y="1575"/>
                </a:cubicBezTo>
                <a:cubicBezTo>
                  <a:pt x="3206" y="1577"/>
                  <a:pt x="3206" y="1577"/>
                  <a:pt x="3206" y="1577"/>
                </a:cubicBezTo>
                <a:cubicBezTo>
                  <a:pt x="3205" y="1578"/>
                  <a:pt x="3205" y="1578"/>
                  <a:pt x="3205" y="1578"/>
                </a:cubicBezTo>
                <a:cubicBezTo>
                  <a:pt x="3206" y="1578"/>
                  <a:pt x="3206" y="1578"/>
                  <a:pt x="3206" y="1578"/>
                </a:cubicBezTo>
                <a:cubicBezTo>
                  <a:pt x="3207" y="1578"/>
                  <a:pt x="3207" y="1578"/>
                  <a:pt x="3207" y="1578"/>
                </a:cubicBezTo>
                <a:cubicBezTo>
                  <a:pt x="3207" y="1578"/>
                  <a:pt x="3207" y="1578"/>
                  <a:pt x="3207" y="1578"/>
                </a:cubicBezTo>
                <a:cubicBezTo>
                  <a:pt x="3207" y="1580"/>
                  <a:pt x="3207" y="1580"/>
                  <a:pt x="3207" y="1580"/>
                </a:cubicBezTo>
                <a:cubicBezTo>
                  <a:pt x="3208" y="1580"/>
                  <a:pt x="3208" y="1580"/>
                  <a:pt x="3208" y="1580"/>
                </a:cubicBezTo>
                <a:cubicBezTo>
                  <a:pt x="3209" y="1580"/>
                  <a:pt x="3209" y="1580"/>
                  <a:pt x="3209" y="1580"/>
                </a:cubicBezTo>
                <a:cubicBezTo>
                  <a:pt x="3213" y="1578"/>
                  <a:pt x="3213" y="1578"/>
                  <a:pt x="3213" y="1578"/>
                </a:cubicBezTo>
                <a:cubicBezTo>
                  <a:pt x="3216" y="1575"/>
                  <a:pt x="3216" y="1575"/>
                  <a:pt x="3216" y="1575"/>
                </a:cubicBezTo>
                <a:cubicBezTo>
                  <a:pt x="3219" y="1572"/>
                  <a:pt x="3219" y="1572"/>
                  <a:pt x="3219" y="1572"/>
                </a:cubicBezTo>
                <a:cubicBezTo>
                  <a:pt x="3222" y="1569"/>
                  <a:pt x="3222" y="1569"/>
                  <a:pt x="3222" y="1569"/>
                </a:cubicBezTo>
                <a:cubicBezTo>
                  <a:pt x="3225" y="1564"/>
                  <a:pt x="3225" y="1564"/>
                  <a:pt x="3225" y="1564"/>
                </a:cubicBezTo>
                <a:cubicBezTo>
                  <a:pt x="3227" y="1563"/>
                  <a:pt x="3227" y="1563"/>
                  <a:pt x="3227" y="1563"/>
                </a:cubicBezTo>
                <a:cubicBezTo>
                  <a:pt x="3228" y="1563"/>
                  <a:pt x="3228" y="1563"/>
                  <a:pt x="3228" y="1563"/>
                </a:cubicBezTo>
                <a:cubicBezTo>
                  <a:pt x="3229" y="1562"/>
                  <a:pt x="3229" y="1562"/>
                  <a:pt x="3229" y="1562"/>
                </a:cubicBezTo>
                <a:cubicBezTo>
                  <a:pt x="3229" y="1560"/>
                  <a:pt x="3229" y="1560"/>
                  <a:pt x="3229" y="1560"/>
                </a:cubicBezTo>
                <a:cubicBezTo>
                  <a:pt x="3230" y="1559"/>
                  <a:pt x="3230" y="1559"/>
                  <a:pt x="3230" y="1559"/>
                </a:cubicBezTo>
                <a:cubicBezTo>
                  <a:pt x="3232" y="1559"/>
                  <a:pt x="3232" y="1559"/>
                  <a:pt x="3232" y="1559"/>
                </a:cubicBezTo>
                <a:cubicBezTo>
                  <a:pt x="3233" y="1555"/>
                  <a:pt x="3233" y="1555"/>
                  <a:pt x="3233" y="1555"/>
                </a:cubicBezTo>
                <a:cubicBezTo>
                  <a:pt x="3236" y="1552"/>
                  <a:pt x="3236" y="1552"/>
                  <a:pt x="3236" y="1552"/>
                </a:cubicBezTo>
                <a:cubicBezTo>
                  <a:pt x="3236" y="1551"/>
                  <a:pt x="3236" y="1551"/>
                  <a:pt x="3236" y="1551"/>
                </a:cubicBezTo>
                <a:cubicBezTo>
                  <a:pt x="3237" y="1550"/>
                  <a:pt x="3237" y="1550"/>
                  <a:pt x="3237" y="1550"/>
                </a:cubicBezTo>
                <a:cubicBezTo>
                  <a:pt x="3235" y="1548"/>
                  <a:pt x="3235" y="1548"/>
                  <a:pt x="3235" y="1548"/>
                </a:cubicBezTo>
                <a:cubicBezTo>
                  <a:pt x="3233" y="1548"/>
                  <a:pt x="3233" y="1548"/>
                  <a:pt x="3233" y="1548"/>
                </a:cubicBezTo>
                <a:cubicBezTo>
                  <a:pt x="3232" y="1548"/>
                  <a:pt x="3232" y="1548"/>
                  <a:pt x="3232" y="1548"/>
                </a:cubicBezTo>
                <a:cubicBezTo>
                  <a:pt x="3233" y="1547"/>
                  <a:pt x="3233" y="1547"/>
                  <a:pt x="3233" y="1547"/>
                </a:cubicBezTo>
                <a:cubicBezTo>
                  <a:pt x="3235" y="1547"/>
                  <a:pt x="3235" y="1547"/>
                  <a:pt x="3235" y="1547"/>
                </a:cubicBezTo>
                <a:cubicBezTo>
                  <a:pt x="3239" y="1542"/>
                  <a:pt x="3239" y="1542"/>
                  <a:pt x="3239" y="1542"/>
                </a:cubicBezTo>
                <a:cubicBezTo>
                  <a:pt x="3241" y="1541"/>
                  <a:pt x="3241" y="1541"/>
                  <a:pt x="3241" y="1541"/>
                </a:cubicBezTo>
                <a:cubicBezTo>
                  <a:pt x="3244" y="1542"/>
                  <a:pt x="3244" y="1542"/>
                  <a:pt x="3244" y="1542"/>
                </a:cubicBezTo>
                <a:cubicBezTo>
                  <a:pt x="3246" y="1542"/>
                  <a:pt x="3246" y="1542"/>
                  <a:pt x="3246" y="1542"/>
                </a:cubicBezTo>
                <a:cubicBezTo>
                  <a:pt x="3246" y="1543"/>
                  <a:pt x="3246" y="1543"/>
                  <a:pt x="3246" y="1543"/>
                </a:cubicBezTo>
                <a:cubicBezTo>
                  <a:pt x="3246" y="1544"/>
                  <a:pt x="3246" y="1544"/>
                  <a:pt x="3246" y="1544"/>
                </a:cubicBezTo>
                <a:cubicBezTo>
                  <a:pt x="3248" y="1543"/>
                  <a:pt x="3248" y="1543"/>
                  <a:pt x="3248" y="1543"/>
                </a:cubicBezTo>
                <a:cubicBezTo>
                  <a:pt x="3249" y="1542"/>
                  <a:pt x="3249" y="1542"/>
                  <a:pt x="3249" y="1542"/>
                </a:cubicBezTo>
                <a:cubicBezTo>
                  <a:pt x="3246" y="1541"/>
                  <a:pt x="3246" y="1541"/>
                  <a:pt x="3246" y="1541"/>
                </a:cubicBezTo>
                <a:cubicBezTo>
                  <a:pt x="3247" y="1539"/>
                  <a:pt x="3247" y="1539"/>
                  <a:pt x="3247" y="1539"/>
                </a:cubicBezTo>
                <a:cubicBezTo>
                  <a:pt x="3248" y="1536"/>
                  <a:pt x="3248" y="1536"/>
                  <a:pt x="3248" y="1536"/>
                </a:cubicBezTo>
                <a:cubicBezTo>
                  <a:pt x="3249" y="1535"/>
                  <a:pt x="3249" y="1535"/>
                  <a:pt x="3249" y="1535"/>
                </a:cubicBezTo>
                <a:cubicBezTo>
                  <a:pt x="3251" y="1535"/>
                  <a:pt x="3251" y="1535"/>
                  <a:pt x="3251" y="1535"/>
                </a:cubicBezTo>
                <a:cubicBezTo>
                  <a:pt x="3251" y="1535"/>
                  <a:pt x="3251" y="1535"/>
                  <a:pt x="3251" y="1535"/>
                </a:cubicBezTo>
                <a:cubicBezTo>
                  <a:pt x="3252" y="1535"/>
                  <a:pt x="3252" y="1535"/>
                  <a:pt x="3252" y="1535"/>
                </a:cubicBezTo>
                <a:cubicBezTo>
                  <a:pt x="3253" y="1533"/>
                  <a:pt x="3253" y="1533"/>
                  <a:pt x="3253" y="1533"/>
                </a:cubicBezTo>
                <a:cubicBezTo>
                  <a:pt x="3256" y="1529"/>
                  <a:pt x="3256" y="1529"/>
                  <a:pt x="3256" y="1529"/>
                </a:cubicBezTo>
                <a:cubicBezTo>
                  <a:pt x="3256" y="1527"/>
                  <a:pt x="3256" y="1527"/>
                  <a:pt x="3256" y="1527"/>
                </a:cubicBezTo>
                <a:cubicBezTo>
                  <a:pt x="3256" y="1526"/>
                  <a:pt x="3256" y="1526"/>
                  <a:pt x="3256" y="1526"/>
                </a:cubicBezTo>
                <a:cubicBezTo>
                  <a:pt x="3257" y="1524"/>
                  <a:pt x="3257" y="1524"/>
                  <a:pt x="3257" y="1524"/>
                </a:cubicBezTo>
                <a:cubicBezTo>
                  <a:pt x="3258" y="1522"/>
                  <a:pt x="3258" y="1522"/>
                  <a:pt x="3258" y="1522"/>
                </a:cubicBezTo>
                <a:cubicBezTo>
                  <a:pt x="3260" y="1521"/>
                  <a:pt x="3260" y="1521"/>
                  <a:pt x="3260" y="1521"/>
                </a:cubicBezTo>
                <a:lnTo>
                  <a:pt x="3260" y="1520"/>
                </a:lnTo>
                <a:close/>
                <a:moveTo>
                  <a:pt x="3190" y="1266"/>
                </a:moveTo>
                <a:cubicBezTo>
                  <a:pt x="3190" y="1265"/>
                  <a:pt x="3190" y="1265"/>
                  <a:pt x="3190" y="1265"/>
                </a:cubicBezTo>
                <a:cubicBezTo>
                  <a:pt x="3188" y="1265"/>
                  <a:pt x="3188" y="1265"/>
                  <a:pt x="3188" y="1265"/>
                </a:cubicBezTo>
                <a:cubicBezTo>
                  <a:pt x="3188" y="1266"/>
                  <a:pt x="3188" y="1266"/>
                  <a:pt x="3188" y="1266"/>
                </a:cubicBezTo>
                <a:cubicBezTo>
                  <a:pt x="3187" y="1268"/>
                  <a:pt x="3187" y="1268"/>
                  <a:pt x="3187" y="1268"/>
                </a:cubicBezTo>
                <a:cubicBezTo>
                  <a:pt x="3189" y="1268"/>
                  <a:pt x="3189" y="1268"/>
                  <a:pt x="3189" y="1268"/>
                </a:cubicBezTo>
                <a:lnTo>
                  <a:pt x="3190" y="1266"/>
                </a:lnTo>
                <a:close/>
                <a:moveTo>
                  <a:pt x="3194" y="1273"/>
                </a:moveTo>
                <a:cubicBezTo>
                  <a:pt x="3196" y="1274"/>
                  <a:pt x="3196" y="1274"/>
                  <a:pt x="3196" y="1274"/>
                </a:cubicBezTo>
                <a:cubicBezTo>
                  <a:pt x="3197" y="1273"/>
                  <a:pt x="3197" y="1273"/>
                  <a:pt x="3197" y="1273"/>
                </a:cubicBezTo>
                <a:cubicBezTo>
                  <a:pt x="3195" y="1271"/>
                  <a:pt x="3195" y="1271"/>
                  <a:pt x="3195" y="1271"/>
                </a:cubicBezTo>
                <a:cubicBezTo>
                  <a:pt x="3196" y="1270"/>
                  <a:pt x="3196" y="1270"/>
                  <a:pt x="3196" y="1270"/>
                </a:cubicBezTo>
                <a:cubicBezTo>
                  <a:pt x="3196" y="1268"/>
                  <a:pt x="3196" y="1268"/>
                  <a:pt x="3196" y="1268"/>
                </a:cubicBezTo>
                <a:cubicBezTo>
                  <a:pt x="3195" y="1267"/>
                  <a:pt x="3195" y="1267"/>
                  <a:pt x="3195" y="1267"/>
                </a:cubicBezTo>
                <a:cubicBezTo>
                  <a:pt x="3193" y="1269"/>
                  <a:pt x="3193" y="1269"/>
                  <a:pt x="3193" y="1269"/>
                </a:cubicBezTo>
                <a:cubicBezTo>
                  <a:pt x="3193" y="1270"/>
                  <a:pt x="3193" y="1270"/>
                  <a:pt x="3193" y="1270"/>
                </a:cubicBezTo>
                <a:cubicBezTo>
                  <a:pt x="3193" y="1271"/>
                  <a:pt x="3193" y="1271"/>
                  <a:pt x="3193" y="1271"/>
                </a:cubicBezTo>
                <a:lnTo>
                  <a:pt x="3194" y="1273"/>
                </a:lnTo>
                <a:close/>
                <a:moveTo>
                  <a:pt x="3192" y="1152"/>
                </a:moveTo>
                <a:cubicBezTo>
                  <a:pt x="3194" y="1151"/>
                  <a:pt x="3194" y="1151"/>
                  <a:pt x="3194" y="1151"/>
                </a:cubicBezTo>
                <a:cubicBezTo>
                  <a:pt x="3193" y="1150"/>
                  <a:pt x="3193" y="1150"/>
                  <a:pt x="3193" y="1150"/>
                </a:cubicBezTo>
                <a:cubicBezTo>
                  <a:pt x="3191" y="1150"/>
                  <a:pt x="3191" y="1150"/>
                  <a:pt x="3191" y="1150"/>
                </a:cubicBezTo>
                <a:cubicBezTo>
                  <a:pt x="3190" y="1151"/>
                  <a:pt x="3190" y="1151"/>
                  <a:pt x="3190" y="1151"/>
                </a:cubicBezTo>
                <a:cubicBezTo>
                  <a:pt x="3190" y="1152"/>
                  <a:pt x="3190" y="1152"/>
                  <a:pt x="3190" y="1152"/>
                </a:cubicBezTo>
                <a:lnTo>
                  <a:pt x="3192" y="1152"/>
                </a:lnTo>
                <a:close/>
                <a:moveTo>
                  <a:pt x="3212" y="1201"/>
                </a:moveTo>
                <a:cubicBezTo>
                  <a:pt x="3211" y="1197"/>
                  <a:pt x="3211" y="1197"/>
                  <a:pt x="3211" y="1197"/>
                </a:cubicBezTo>
                <a:cubicBezTo>
                  <a:pt x="3211" y="1201"/>
                  <a:pt x="3211" y="1201"/>
                  <a:pt x="3211" y="1201"/>
                </a:cubicBezTo>
                <a:cubicBezTo>
                  <a:pt x="3211" y="1203"/>
                  <a:pt x="3211" y="1203"/>
                  <a:pt x="3211" y="1203"/>
                </a:cubicBezTo>
                <a:lnTo>
                  <a:pt x="3212" y="1201"/>
                </a:lnTo>
                <a:close/>
                <a:moveTo>
                  <a:pt x="3207" y="1216"/>
                </a:moveTo>
                <a:cubicBezTo>
                  <a:pt x="3208" y="1217"/>
                  <a:pt x="3208" y="1217"/>
                  <a:pt x="3208" y="1217"/>
                </a:cubicBezTo>
                <a:cubicBezTo>
                  <a:pt x="3209" y="1217"/>
                  <a:pt x="3209" y="1217"/>
                  <a:pt x="3209" y="1217"/>
                </a:cubicBezTo>
                <a:cubicBezTo>
                  <a:pt x="3210" y="1216"/>
                  <a:pt x="3210" y="1216"/>
                  <a:pt x="3210" y="1216"/>
                </a:cubicBezTo>
                <a:cubicBezTo>
                  <a:pt x="3211" y="1216"/>
                  <a:pt x="3211" y="1216"/>
                  <a:pt x="3211" y="1216"/>
                </a:cubicBezTo>
                <a:cubicBezTo>
                  <a:pt x="3211" y="1215"/>
                  <a:pt x="3211" y="1215"/>
                  <a:pt x="3211" y="1215"/>
                </a:cubicBezTo>
                <a:cubicBezTo>
                  <a:pt x="3210" y="1214"/>
                  <a:pt x="3210" y="1214"/>
                  <a:pt x="3210" y="1214"/>
                </a:cubicBezTo>
                <a:cubicBezTo>
                  <a:pt x="3210" y="1213"/>
                  <a:pt x="3210" y="1213"/>
                  <a:pt x="3210" y="1213"/>
                </a:cubicBezTo>
                <a:cubicBezTo>
                  <a:pt x="3207" y="1215"/>
                  <a:pt x="3207" y="1215"/>
                  <a:pt x="3207" y="1215"/>
                </a:cubicBezTo>
                <a:lnTo>
                  <a:pt x="3207" y="1216"/>
                </a:lnTo>
                <a:close/>
                <a:moveTo>
                  <a:pt x="3217" y="1255"/>
                </a:moveTo>
                <a:cubicBezTo>
                  <a:pt x="3218" y="1253"/>
                  <a:pt x="3218" y="1253"/>
                  <a:pt x="3218" y="1253"/>
                </a:cubicBezTo>
                <a:cubicBezTo>
                  <a:pt x="3217" y="1251"/>
                  <a:pt x="3217" y="1251"/>
                  <a:pt x="3217" y="1251"/>
                </a:cubicBezTo>
                <a:cubicBezTo>
                  <a:pt x="3217" y="1253"/>
                  <a:pt x="3217" y="1253"/>
                  <a:pt x="3217" y="1253"/>
                </a:cubicBezTo>
                <a:lnTo>
                  <a:pt x="3217" y="1255"/>
                </a:lnTo>
                <a:close/>
                <a:moveTo>
                  <a:pt x="3209" y="1203"/>
                </a:moveTo>
                <a:cubicBezTo>
                  <a:pt x="3209" y="1202"/>
                  <a:pt x="3209" y="1202"/>
                  <a:pt x="3209" y="1202"/>
                </a:cubicBezTo>
                <a:cubicBezTo>
                  <a:pt x="3207" y="1203"/>
                  <a:pt x="3207" y="1203"/>
                  <a:pt x="3207" y="1203"/>
                </a:cubicBezTo>
                <a:cubicBezTo>
                  <a:pt x="3207" y="1203"/>
                  <a:pt x="3206" y="1204"/>
                  <a:pt x="3206" y="1204"/>
                </a:cubicBezTo>
                <a:cubicBezTo>
                  <a:pt x="3207" y="1204"/>
                  <a:pt x="3207" y="1204"/>
                  <a:pt x="3207" y="1204"/>
                </a:cubicBezTo>
                <a:lnTo>
                  <a:pt x="3209" y="1203"/>
                </a:lnTo>
                <a:close/>
                <a:moveTo>
                  <a:pt x="3216" y="1247"/>
                </a:moveTo>
                <a:cubicBezTo>
                  <a:pt x="3217" y="1244"/>
                  <a:pt x="3217" y="1244"/>
                  <a:pt x="3217" y="1244"/>
                </a:cubicBezTo>
                <a:cubicBezTo>
                  <a:pt x="3215" y="1242"/>
                  <a:pt x="3215" y="1242"/>
                  <a:pt x="3215" y="1242"/>
                </a:cubicBezTo>
                <a:cubicBezTo>
                  <a:pt x="3215" y="1243"/>
                  <a:pt x="3215" y="1243"/>
                  <a:pt x="3215" y="1243"/>
                </a:cubicBezTo>
                <a:cubicBezTo>
                  <a:pt x="3215" y="1245"/>
                  <a:pt x="3215" y="1245"/>
                  <a:pt x="3215" y="1245"/>
                </a:cubicBezTo>
                <a:lnTo>
                  <a:pt x="3216" y="1247"/>
                </a:lnTo>
                <a:close/>
                <a:moveTo>
                  <a:pt x="3212" y="1220"/>
                </a:moveTo>
                <a:cubicBezTo>
                  <a:pt x="3210" y="1219"/>
                  <a:pt x="3210" y="1219"/>
                  <a:pt x="3210" y="1219"/>
                </a:cubicBezTo>
                <a:cubicBezTo>
                  <a:pt x="3209" y="1221"/>
                  <a:pt x="3209" y="1221"/>
                  <a:pt x="3209" y="1221"/>
                </a:cubicBezTo>
                <a:cubicBezTo>
                  <a:pt x="3210" y="1221"/>
                  <a:pt x="3210" y="1221"/>
                  <a:pt x="3210" y="1221"/>
                </a:cubicBezTo>
                <a:cubicBezTo>
                  <a:pt x="3212" y="1221"/>
                  <a:pt x="3212" y="1221"/>
                  <a:pt x="3212" y="1221"/>
                </a:cubicBezTo>
                <a:lnTo>
                  <a:pt x="3212" y="1220"/>
                </a:lnTo>
                <a:close/>
                <a:moveTo>
                  <a:pt x="3208" y="1231"/>
                </a:moveTo>
                <a:cubicBezTo>
                  <a:pt x="3210" y="1233"/>
                  <a:pt x="3210" y="1233"/>
                  <a:pt x="3210" y="1233"/>
                </a:cubicBezTo>
                <a:cubicBezTo>
                  <a:pt x="3212" y="1232"/>
                  <a:pt x="3212" y="1232"/>
                  <a:pt x="3212" y="1232"/>
                </a:cubicBezTo>
                <a:cubicBezTo>
                  <a:pt x="3212" y="1230"/>
                  <a:pt x="3212" y="1230"/>
                  <a:pt x="3212" y="1230"/>
                </a:cubicBezTo>
                <a:cubicBezTo>
                  <a:pt x="3211" y="1229"/>
                  <a:pt x="3211" y="1229"/>
                  <a:pt x="3211" y="1229"/>
                </a:cubicBezTo>
                <a:cubicBezTo>
                  <a:pt x="3208" y="1230"/>
                  <a:pt x="3208" y="1230"/>
                  <a:pt x="3208" y="1230"/>
                </a:cubicBezTo>
                <a:lnTo>
                  <a:pt x="3208" y="1231"/>
                </a:lnTo>
                <a:close/>
                <a:moveTo>
                  <a:pt x="2794" y="661"/>
                </a:moveTo>
                <a:cubicBezTo>
                  <a:pt x="2794" y="660"/>
                  <a:pt x="2794" y="660"/>
                  <a:pt x="2794" y="660"/>
                </a:cubicBezTo>
                <a:cubicBezTo>
                  <a:pt x="2793" y="660"/>
                  <a:pt x="2793" y="660"/>
                  <a:pt x="2793" y="660"/>
                </a:cubicBezTo>
                <a:cubicBezTo>
                  <a:pt x="2793" y="661"/>
                  <a:pt x="2793" y="661"/>
                  <a:pt x="2793" y="661"/>
                </a:cubicBezTo>
                <a:cubicBezTo>
                  <a:pt x="2793" y="663"/>
                  <a:pt x="2793" y="663"/>
                  <a:pt x="2793" y="663"/>
                </a:cubicBezTo>
                <a:cubicBezTo>
                  <a:pt x="2794" y="664"/>
                  <a:pt x="2794" y="664"/>
                  <a:pt x="2794" y="664"/>
                </a:cubicBezTo>
                <a:cubicBezTo>
                  <a:pt x="2795" y="664"/>
                  <a:pt x="2795" y="664"/>
                  <a:pt x="2795" y="664"/>
                </a:cubicBezTo>
                <a:cubicBezTo>
                  <a:pt x="2795" y="663"/>
                  <a:pt x="2795" y="663"/>
                  <a:pt x="2795" y="663"/>
                </a:cubicBezTo>
                <a:lnTo>
                  <a:pt x="2794" y="661"/>
                </a:lnTo>
                <a:close/>
                <a:moveTo>
                  <a:pt x="3212" y="1210"/>
                </a:moveTo>
                <a:cubicBezTo>
                  <a:pt x="3212" y="1208"/>
                  <a:pt x="3212" y="1208"/>
                  <a:pt x="3212" y="1208"/>
                </a:cubicBezTo>
                <a:cubicBezTo>
                  <a:pt x="3212" y="1206"/>
                  <a:pt x="3212" y="1206"/>
                  <a:pt x="3212" y="1206"/>
                </a:cubicBezTo>
                <a:cubicBezTo>
                  <a:pt x="3211" y="1205"/>
                  <a:pt x="3211" y="1205"/>
                  <a:pt x="3211" y="1205"/>
                </a:cubicBezTo>
                <a:cubicBezTo>
                  <a:pt x="3211" y="1205"/>
                  <a:pt x="3210" y="1208"/>
                  <a:pt x="3210" y="1208"/>
                </a:cubicBezTo>
                <a:cubicBezTo>
                  <a:pt x="3211" y="1210"/>
                  <a:pt x="3211" y="1210"/>
                  <a:pt x="3211" y="1210"/>
                </a:cubicBezTo>
                <a:lnTo>
                  <a:pt x="3212" y="1210"/>
                </a:lnTo>
                <a:close/>
                <a:moveTo>
                  <a:pt x="3057" y="1088"/>
                </a:moveTo>
                <a:cubicBezTo>
                  <a:pt x="3059" y="1086"/>
                  <a:pt x="3059" y="1086"/>
                  <a:pt x="3059" y="1086"/>
                </a:cubicBezTo>
                <a:cubicBezTo>
                  <a:pt x="3059" y="1081"/>
                  <a:pt x="3059" y="1081"/>
                  <a:pt x="3059" y="1081"/>
                </a:cubicBezTo>
                <a:cubicBezTo>
                  <a:pt x="3057" y="1079"/>
                  <a:pt x="3057" y="1079"/>
                  <a:pt x="3057" y="1079"/>
                </a:cubicBezTo>
                <a:cubicBezTo>
                  <a:pt x="3056" y="1080"/>
                  <a:pt x="3056" y="1080"/>
                  <a:pt x="3056" y="1080"/>
                </a:cubicBezTo>
                <a:cubicBezTo>
                  <a:pt x="3055" y="1081"/>
                  <a:pt x="3055" y="1081"/>
                  <a:pt x="3055" y="1081"/>
                </a:cubicBezTo>
                <a:cubicBezTo>
                  <a:pt x="3054" y="1080"/>
                  <a:pt x="3054" y="1080"/>
                  <a:pt x="3054" y="1080"/>
                </a:cubicBezTo>
                <a:cubicBezTo>
                  <a:pt x="3051" y="1080"/>
                  <a:pt x="3051" y="1080"/>
                  <a:pt x="3051" y="1080"/>
                </a:cubicBezTo>
                <a:cubicBezTo>
                  <a:pt x="3050" y="1081"/>
                  <a:pt x="3050" y="1081"/>
                  <a:pt x="3050" y="1081"/>
                </a:cubicBezTo>
                <a:cubicBezTo>
                  <a:pt x="3051" y="1086"/>
                  <a:pt x="3051" y="1086"/>
                  <a:pt x="3051" y="1086"/>
                </a:cubicBezTo>
                <a:cubicBezTo>
                  <a:pt x="3052" y="1087"/>
                  <a:pt x="3052" y="1087"/>
                  <a:pt x="3052" y="1087"/>
                </a:cubicBezTo>
                <a:cubicBezTo>
                  <a:pt x="3051" y="1088"/>
                  <a:pt x="3051" y="1088"/>
                  <a:pt x="3051" y="1088"/>
                </a:cubicBezTo>
                <a:cubicBezTo>
                  <a:pt x="3049" y="1088"/>
                  <a:pt x="3049" y="1088"/>
                  <a:pt x="3049" y="1088"/>
                </a:cubicBezTo>
                <a:cubicBezTo>
                  <a:pt x="3045" y="1091"/>
                  <a:pt x="3045" y="1091"/>
                  <a:pt x="3045" y="1091"/>
                </a:cubicBezTo>
                <a:cubicBezTo>
                  <a:pt x="3045" y="1093"/>
                  <a:pt x="3045" y="1093"/>
                  <a:pt x="3045" y="1093"/>
                </a:cubicBezTo>
                <a:cubicBezTo>
                  <a:pt x="3043" y="1094"/>
                  <a:pt x="3043" y="1094"/>
                  <a:pt x="3043" y="1094"/>
                </a:cubicBezTo>
                <a:cubicBezTo>
                  <a:pt x="3042" y="1093"/>
                  <a:pt x="3042" y="1093"/>
                  <a:pt x="3042" y="1093"/>
                </a:cubicBezTo>
                <a:cubicBezTo>
                  <a:pt x="3041" y="1094"/>
                  <a:pt x="3041" y="1094"/>
                  <a:pt x="3041" y="1094"/>
                </a:cubicBezTo>
                <a:cubicBezTo>
                  <a:pt x="3040" y="1093"/>
                  <a:pt x="3040" y="1093"/>
                  <a:pt x="3040" y="1093"/>
                </a:cubicBezTo>
                <a:cubicBezTo>
                  <a:pt x="3038" y="1093"/>
                  <a:pt x="3038" y="1093"/>
                  <a:pt x="3038" y="1093"/>
                </a:cubicBezTo>
                <a:cubicBezTo>
                  <a:pt x="3037" y="1095"/>
                  <a:pt x="3037" y="1095"/>
                  <a:pt x="3037" y="1095"/>
                </a:cubicBezTo>
                <a:cubicBezTo>
                  <a:pt x="3036" y="1094"/>
                  <a:pt x="3036" y="1094"/>
                  <a:pt x="3036" y="1094"/>
                </a:cubicBezTo>
                <a:cubicBezTo>
                  <a:pt x="3035" y="1092"/>
                  <a:pt x="3035" y="1092"/>
                  <a:pt x="3035" y="1092"/>
                </a:cubicBezTo>
                <a:cubicBezTo>
                  <a:pt x="3035" y="1090"/>
                  <a:pt x="3035" y="1090"/>
                  <a:pt x="3035" y="1090"/>
                </a:cubicBezTo>
                <a:cubicBezTo>
                  <a:pt x="3034" y="1089"/>
                  <a:pt x="3034" y="1089"/>
                  <a:pt x="3034" y="1089"/>
                </a:cubicBezTo>
                <a:cubicBezTo>
                  <a:pt x="3033" y="1090"/>
                  <a:pt x="3033" y="1090"/>
                  <a:pt x="3033" y="1090"/>
                </a:cubicBezTo>
                <a:cubicBezTo>
                  <a:pt x="3033" y="1092"/>
                  <a:pt x="3033" y="1092"/>
                  <a:pt x="3033" y="1092"/>
                </a:cubicBezTo>
                <a:cubicBezTo>
                  <a:pt x="3032" y="1093"/>
                  <a:pt x="3032" y="1093"/>
                  <a:pt x="3032" y="1093"/>
                </a:cubicBezTo>
                <a:cubicBezTo>
                  <a:pt x="3030" y="1092"/>
                  <a:pt x="3030" y="1092"/>
                  <a:pt x="3030" y="1092"/>
                </a:cubicBezTo>
                <a:cubicBezTo>
                  <a:pt x="3027" y="1093"/>
                  <a:pt x="3027" y="1093"/>
                  <a:pt x="3027" y="1093"/>
                </a:cubicBezTo>
                <a:cubicBezTo>
                  <a:pt x="3026" y="1093"/>
                  <a:pt x="3026" y="1093"/>
                  <a:pt x="3026" y="1093"/>
                </a:cubicBezTo>
                <a:cubicBezTo>
                  <a:pt x="3024" y="1093"/>
                  <a:pt x="3024" y="1093"/>
                  <a:pt x="3024" y="1093"/>
                </a:cubicBezTo>
                <a:cubicBezTo>
                  <a:pt x="3022" y="1093"/>
                  <a:pt x="3022" y="1093"/>
                  <a:pt x="3022" y="1093"/>
                </a:cubicBezTo>
                <a:cubicBezTo>
                  <a:pt x="3020" y="1093"/>
                  <a:pt x="3020" y="1093"/>
                  <a:pt x="3020" y="1093"/>
                </a:cubicBezTo>
                <a:cubicBezTo>
                  <a:pt x="3018" y="1092"/>
                  <a:pt x="3018" y="1092"/>
                  <a:pt x="3018" y="1092"/>
                </a:cubicBezTo>
                <a:cubicBezTo>
                  <a:pt x="3016" y="1095"/>
                  <a:pt x="3016" y="1095"/>
                  <a:pt x="3016" y="1095"/>
                </a:cubicBezTo>
                <a:cubicBezTo>
                  <a:pt x="3018" y="1097"/>
                  <a:pt x="3018" y="1097"/>
                  <a:pt x="3018" y="1097"/>
                </a:cubicBezTo>
                <a:cubicBezTo>
                  <a:pt x="3020" y="1097"/>
                  <a:pt x="3020" y="1097"/>
                  <a:pt x="3020" y="1097"/>
                </a:cubicBezTo>
                <a:cubicBezTo>
                  <a:pt x="3024" y="1100"/>
                  <a:pt x="3024" y="1100"/>
                  <a:pt x="3024" y="1100"/>
                </a:cubicBezTo>
                <a:cubicBezTo>
                  <a:pt x="3024" y="1101"/>
                  <a:pt x="3024" y="1101"/>
                  <a:pt x="3024" y="1101"/>
                </a:cubicBezTo>
                <a:cubicBezTo>
                  <a:pt x="3025" y="1100"/>
                  <a:pt x="3025" y="1100"/>
                  <a:pt x="3025" y="1100"/>
                </a:cubicBezTo>
                <a:cubicBezTo>
                  <a:pt x="3029" y="1100"/>
                  <a:pt x="3029" y="1100"/>
                  <a:pt x="3029" y="1100"/>
                </a:cubicBezTo>
                <a:cubicBezTo>
                  <a:pt x="3030" y="1102"/>
                  <a:pt x="3030" y="1102"/>
                  <a:pt x="3030" y="1102"/>
                </a:cubicBezTo>
                <a:cubicBezTo>
                  <a:pt x="3032" y="1102"/>
                  <a:pt x="3032" y="1102"/>
                  <a:pt x="3032" y="1102"/>
                </a:cubicBezTo>
                <a:cubicBezTo>
                  <a:pt x="3034" y="1102"/>
                  <a:pt x="3034" y="1102"/>
                  <a:pt x="3034" y="1102"/>
                </a:cubicBezTo>
                <a:cubicBezTo>
                  <a:pt x="3037" y="1101"/>
                  <a:pt x="3037" y="1101"/>
                  <a:pt x="3037" y="1101"/>
                </a:cubicBezTo>
                <a:cubicBezTo>
                  <a:pt x="3039" y="1102"/>
                  <a:pt x="3039" y="1102"/>
                  <a:pt x="3039" y="1102"/>
                </a:cubicBezTo>
                <a:cubicBezTo>
                  <a:pt x="3041" y="1101"/>
                  <a:pt x="3041" y="1101"/>
                  <a:pt x="3041" y="1101"/>
                </a:cubicBezTo>
                <a:cubicBezTo>
                  <a:pt x="3044" y="1102"/>
                  <a:pt x="3044" y="1102"/>
                  <a:pt x="3044" y="1102"/>
                </a:cubicBezTo>
                <a:cubicBezTo>
                  <a:pt x="3044" y="1101"/>
                  <a:pt x="3044" y="1101"/>
                  <a:pt x="3044" y="1101"/>
                </a:cubicBezTo>
                <a:cubicBezTo>
                  <a:pt x="3044" y="1099"/>
                  <a:pt x="3044" y="1099"/>
                  <a:pt x="3044" y="1099"/>
                </a:cubicBezTo>
                <a:cubicBezTo>
                  <a:pt x="3047" y="1099"/>
                  <a:pt x="3047" y="1099"/>
                  <a:pt x="3047" y="1099"/>
                </a:cubicBezTo>
                <a:cubicBezTo>
                  <a:pt x="3051" y="1095"/>
                  <a:pt x="3051" y="1095"/>
                  <a:pt x="3051" y="1095"/>
                </a:cubicBezTo>
                <a:cubicBezTo>
                  <a:pt x="3051" y="1094"/>
                  <a:pt x="3051" y="1094"/>
                  <a:pt x="3051" y="1094"/>
                </a:cubicBezTo>
                <a:cubicBezTo>
                  <a:pt x="3052" y="1093"/>
                  <a:pt x="3052" y="1093"/>
                  <a:pt x="3052" y="1093"/>
                </a:cubicBezTo>
                <a:cubicBezTo>
                  <a:pt x="3053" y="1094"/>
                  <a:pt x="3053" y="1094"/>
                  <a:pt x="3053" y="1094"/>
                </a:cubicBezTo>
                <a:cubicBezTo>
                  <a:pt x="3056" y="1093"/>
                  <a:pt x="3056" y="1093"/>
                  <a:pt x="3056" y="1093"/>
                </a:cubicBezTo>
                <a:cubicBezTo>
                  <a:pt x="3057" y="1092"/>
                  <a:pt x="3057" y="1092"/>
                  <a:pt x="3057" y="1092"/>
                </a:cubicBezTo>
                <a:cubicBezTo>
                  <a:pt x="3055" y="1090"/>
                  <a:pt x="3055" y="1090"/>
                  <a:pt x="3055" y="1090"/>
                </a:cubicBezTo>
                <a:cubicBezTo>
                  <a:pt x="3055" y="1088"/>
                  <a:pt x="3055" y="1088"/>
                  <a:pt x="3055" y="1088"/>
                </a:cubicBezTo>
                <a:cubicBezTo>
                  <a:pt x="3056" y="1087"/>
                  <a:pt x="3056" y="1087"/>
                  <a:pt x="3056" y="1087"/>
                </a:cubicBezTo>
                <a:lnTo>
                  <a:pt x="3057" y="1088"/>
                </a:lnTo>
                <a:close/>
                <a:moveTo>
                  <a:pt x="2699" y="948"/>
                </a:moveTo>
                <a:cubicBezTo>
                  <a:pt x="2699" y="947"/>
                  <a:pt x="2699" y="947"/>
                  <a:pt x="2699" y="947"/>
                </a:cubicBezTo>
                <a:cubicBezTo>
                  <a:pt x="2698" y="948"/>
                  <a:pt x="2698" y="948"/>
                  <a:pt x="2698" y="948"/>
                </a:cubicBezTo>
                <a:lnTo>
                  <a:pt x="2699" y="948"/>
                </a:lnTo>
                <a:close/>
                <a:moveTo>
                  <a:pt x="2695" y="950"/>
                </a:moveTo>
                <a:cubicBezTo>
                  <a:pt x="2695" y="952"/>
                  <a:pt x="2695" y="952"/>
                  <a:pt x="2695" y="952"/>
                </a:cubicBezTo>
                <a:cubicBezTo>
                  <a:pt x="2696" y="954"/>
                  <a:pt x="2696" y="954"/>
                  <a:pt x="2696" y="954"/>
                </a:cubicBezTo>
                <a:cubicBezTo>
                  <a:pt x="2697" y="954"/>
                  <a:pt x="2697" y="954"/>
                  <a:pt x="2697" y="954"/>
                </a:cubicBezTo>
                <a:cubicBezTo>
                  <a:pt x="2697" y="951"/>
                  <a:pt x="2697" y="951"/>
                  <a:pt x="2697" y="951"/>
                </a:cubicBezTo>
                <a:cubicBezTo>
                  <a:pt x="2698" y="950"/>
                  <a:pt x="2698" y="950"/>
                  <a:pt x="2698" y="950"/>
                </a:cubicBezTo>
                <a:cubicBezTo>
                  <a:pt x="2697" y="950"/>
                  <a:pt x="2697" y="950"/>
                  <a:pt x="2697" y="950"/>
                </a:cubicBezTo>
                <a:lnTo>
                  <a:pt x="2695" y="950"/>
                </a:lnTo>
                <a:close/>
                <a:moveTo>
                  <a:pt x="2700" y="949"/>
                </a:moveTo>
                <a:cubicBezTo>
                  <a:pt x="2700" y="947"/>
                  <a:pt x="2700" y="947"/>
                  <a:pt x="2700" y="947"/>
                </a:cubicBezTo>
                <a:cubicBezTo>
                  <a:pt x="2699" y="948"/>
                  <a:pt x="2699" y="948"/>
                  <a:pt x="2699" y="948"/>
                </a:cubicBezTo>
                <a:lnTo>
                  <a:pt x="2700" y="949"/>
                </a:lnTo>
                <a:close/>
                <a:moveTo>
                  <a:pt x="2732" y="833"/>
                </a:moveTo>
                <a:cubicBezTo>
                  <a:pt x="2734" y="832"/>
                  <a:pt x="2734" y="832"/>
                  <a:pt x="2734" y="832"/>
                </a:cubicBezTo>
                <a:cubicBezTo>
                  <a:pt x="2731" y="832"/>
                  <a:pt x="2731" y="832"/>
                  <a:pt x="2731" y="832"/>
                </a:cubicBezTo>
                <a:lnTo>
                  <a:pt x="2732" y="833"/>
                </a:lnTo>
                <a:close/>
                <a:moveTo>
                  <a:pt x="2691" y="1073"/>
                </a:moveTo>
                <a:cubicBezTo>
                  <a:pt x="2691" y="1073"/>
                  <a:pt x="2691" y="1073"/>
                  <a:pt x="2691" y="1073"/>
                </a:cubicBezTo>
                <a:cubicBezTo>
                  <a:pt x="2690" y="1073"/>
                  <a:pt x="2690" y="1073"/>
                  <a:pt x="2690" y="1073"/>
                </a:cubicBezTo>
                <a:cubicBezTo>
                  <a:pt x="2691" y="1076"/>
                  <a:pt x="2691" y="1076"/>
                  <a:pt x="2691" y="1076"/>
                </a:cubicBezTo>
                <a:cubicBezTo>
                  <a:pt x="2691" y="1076"/>
                  <a:pt x="2691" y="1076"/>
                  <a:pt x="2691" y="1076"/>
                </a:cubicBezTo>
                <a:lnTo>
                  <a:pt x="2691" y="1073"/>
                </a:lnTo>
                <a:close/>
                <a:moveTo>
                  <a:pt x="2729" y="829"/>
                </a:moveTo>
                <a:cubicBezTo>
                  <a:pt x="2731" y="829"/>
                  <a:pt x="2731" y="829"/>
                  <a:pt x="2731" y="829"/>
                </a:cubicBezTo>
                <a:cubicBezTo>
                  <a:pt x="2730" y="828"/>
                  <a:pt x="2730" y="828"/>
                  <a:pt x="2730" y="828"/>
                </a:cubicBezTo>
                <a:lnTo>
                  <a:pt x="2729" y="829"/>
                </a:lnTo>
                <a:close/>
                <a:moveTo>
                  <a:pt x="2695" y="960"/>
                </a:moveTo>
                <a:cubicBezTo>
                  <a:pt x="2697" y="959"/>
                  <a:pt x="2697" y="959"/>
                  <a:pt x="2697" y="959"/>
                </a:cubicBezTo>
                <a:cubicBezTo>
                  <a:pt x="2697" y="958"/>
                  <a:pt x="2697" y="958"/>
                  <a:pt x="2697" y="958"/>
                </a:cubicBezTo>
                <a:cubicBezTo>
                  <a:pt x="2694" y="960"/>
                  <a:pt x="2694" y="960"/>
                  <a:pt x="2694" y="960"/>
                </a:cubicBezTo>
                <a:lnTo>
                  <a:pt x="2695" y="960"/>
                </a:lnTo>
                <a:close/>
                <a:moveTo>
                  <a:pt x="2686" y="1112"/>
                </a:moveTo>
                <a:cubicBezTo>
                  <a:pt x="2685" y="1112"/>
                  <a:pt x="2685" y="1112"/>
                  <a:pt x="2685" y="1112"/>
                </a:cubicBezTo>
                <a:cubicBezTo>
                  <a:pt x="2684" y="1112"/>
                  <a:pt x="2684" y="1112"/>
                  <a:pt x="2684" y="1112"/>
                </a:cubicBezTo>
                <a:cubicBezTo>
                  <a:pt x="2684" y="1113"/>
                  <a:pt x="2684" y="1113"/>
                  <a:pt x="2684" y="1113"/>
                </a:cubicBezTo>
                <a:cubicBezTo>
                  <a:pt x="2685" y="1113"/>
                  <a:pt x="2685" y="1113"/>
                  <a:pt x="2685" y="1113"/>
                </a:cubicBezTo>
                <a:lnTo>
                  <a:pt x="2686" y="1112"/>
                </a:lnTo>
                <a:close/>
                <a:moveTo>
                  <a:pt x="2692" y="1124"/>
                </a:moveTo>
                <a:cubicBezTo>
                  <a:pt x="2689" y="1123"/>
                  <a:pt x="2689" y="1123"/>
                  <a:pt x="2689" y="1123"/>
                </a:cubicBezTo>
                <a:cubicBezTo>
                  <a:pt x="2687" y="1125"/>
                  <a:pt x="2687" y="1125"/>
                  <a:pt x="2687" y="1125"/>
                </a:cubicBezTo>
                <a:cubicBezTo>
                  <a:pt x="2686" y="1127"/>
                  <a:pt x="2686" y="1127"/>
                  <a:pt x="2686" y="1127"/>
                </a:cubicBezTo>
                <a:cubicBezTo>
                  <a:pt x="2685" y="1127"/>
                  <a:pt x="2685" y="1127"/>
                  <a:pt x="2685" y="1127"/>
                </a:cubicBezTo>
                <a:cubicBezTo>
                  <a:pt x="2684" y="1128"/>
                  <a:pt x="2684" y="1128"/>
                  <a:pt x="2684" y="1128"/>
                </a:cubicBezTo>
                <a:cubicBezTo>
                  <a:pt x="2684" y="1129"/>
                  <a:pt x="2684" y="1129"/>
                  <a:pt x="2684" y="1129"/>
                </a:cubicBezTo>
                <a:cubicBezTo>
                  <a:pt x="2688" y="1130"/>
                  <a:pt x="2688" y="1130"/>
                  <a:pt x="2688" y="1130"/>
                </a:cubicBezTo>
                <a:cubicBezTo>
                  <a:pt x="2690" y="1129"/>
                  <a:pt x="2690" y="1129"/>
                  <a:pt x="2690" y="1129"/>
                </a:cubicBezTo>
                <a:cubicBezTo>
                  <a:pt x="2691" y="1130"/>
                  <a:pt x="2691" y="1130"/>
                  <a:pt x="2691" y="1130"/>
                </a:cubicBezTo>
                <a:cubicBezTo>
                  <a:pt x="2691" y="1128"/>
                  <a:pt x="2691" y="1128"/>
                  <a:pt x="2691" y="1128"/>
                </a:cubicBezTo>
                <a:cubicBezTo>
                  <a:pt x="2692" y="1127"/>
                  <a:pt x="2692" y="1127"/>
                  <a:pt x="2692" y="1127"/>
                </a:cubicBezTo>
                <a:lnTo>
                  <a:pt x="2692" y="1124"/>
                </a:lnTo>
                <a:close/>
                <a:moveTo>
                  <a:pt x="2690" y="1076"/>
                </a:moveTo>
                <a:cubicBezTo>
                  <a:pt x="2690" y="1073"/>
                  <a:pt x="2690" y="1073"/>
                  <a:pt x="2690" y="1073"/>
                </a:cubicBezTo>
                <a:cubicBezTo>
                  <a:pt x="2689" y="1072"/>
                  <a:pt x="2689" y="1072"/>
                  <a:pt x="2689" y="1072"/>
                </a:cubicBezTo>
                <a:cubicBezTo>
                  <a:pt x="2689" y="1073"/>
                  <a:pt x="2689" y="1073"/>
                  <a:pt x="2689" y="1073"/>
                </a:cubicBezTo>
                <a:cubicBezTo>
                  <a:pt x="2687" y="1075"/>
                  <a:pt x="2687" y="1075"/>
                  <a:pt x="2687" y="1075"/>
                </a:cubicBezTo>
                <a:cubicBezTo>
                  <a:pt x="2687" y="1078"/>
                  <a:pt x="2687" y="1078"/>
                  <a:pt x="2687" y="1078"/>
                </a:cubicBezTo>
                <a:cubicBezTo>
                  <a:pt x="2688" y="1079"/>
                  <a:pt x="2688" y="1079"/>
                  <a:pt x="2688" y="1079"/>
                </a:cubicBezTo>
                <a:cubicBezTo>
                  <a:pt x="2690" y="1078"/>
                  <a:pt x="2690" y="1078"/>
                  <a:pt x="2690" y="1078"/>
                </a:cubicBezTo>
                <a:lnTo>
                  <a:pt x="2690" y="1076"/>
                </a:lnTo>
                <a:close/>
                <a:moveTo>
                  <a:pt x="2704" y="1002"/>
                </a:moveTo>
                <a:cubicBezTo>
                  <a:pt x="2704" y="1002"/>
                  <a:pt x="2704" y="1002"/>
                  <a:pt x="2704" y="1002"/>
                </a:cubicBezTo>
                <a:cubicBezTo>
                  <a:pt x="2704" y="1000"/>
                  <a:pt x="2704" y="1000"/>
                  <a:pt x="2704" y="1000"/>
                </a:cubicBezTo>
                <a:cubicBezTo>
                  <a:pt x="2703" y="1000"/>
                  <a:pt x="2703" y="1000"/>
                  <a:pt x="2703" y="1000"/>
                </a:cubicBezTo>
                <a:lnTo>
                  <a:pt x="2704" y="1002"/>
                </a:lnTo>
                <a:close/>
                <a:moveTo>
                  <a:pt x="2704" y="994"/>
                </a:moveTo>
                <a:cubicBezTo>
                  <a:pt x="2705" y="994"/>
                  <a:pt x="2705" y="994"/>
                  <a:pt x="2705" y="994"/>
                </a:cubicBezTo>
                <a:cubicBezTo>
                  <a:pt x="2704" y="993"/>
                  <a:pt x="2704" y="993"/>
                  <a:pt x="2704" y="993"/>
                </a:cubicBezTo>
                <a:lnTo>
                  <a:pt x="2704" y="994"/>
                </a:lnTo>
                <a:close/>
                <a:moveTo>
                  <a:pt x="2706" y="998"/>
                </a:moveTo>
                <a:cubicBezTo>
                  <a:pt x="2704" y="998"/>
                  <a:pt x="2704" y="998"/>
                  <a:pt x="2704" y="998"/>
                </a:cubicBezTo>
                <a:cubicBezTo>
                  <a:pt x="2705" y="999"/>
                  <a:pt x="2705" y="999"/>
                  <a:pt x="2705" y="999"/>
                </a:cubicBezTo>
                <a:lnTo>
                  <a:pt x="2706" y="998"/>
                </a:lnTo>
                <a:close/>
                <a:moveTo>
                  <a:pt x="2707" y="993"/>
                </a:moveTo>
                <a:cubicBezTo>
                  <a:pt x="2707" y="993"/>
                  <a:pt x="2707" y="993"/>
                  <a:pt x="2707" y="993"/>
                </a:cubicBezTo>
                <a:cubicBezTo>
                  <a:pt x="2704" y="992"/>
                  <a:pt x="2704" y="992"/>
                  <a:pt x="2704" y="992"/>
                </a:cubicBezTo>
                <a:cubicBezTo>
                  <a:pt x="2704" y="992"/>
                  <a:pt x="2704" y="992"/>
                  <a:pt x="2704" y="992"/>
                </a:cubicBezTo>
                <a:cubicBezTo>
                  <a:pt x="2705" y="993"/>
                  <a:pt x="2705" y="993"/>
                  <a:pt x="2705" y="993"/>
                </a:cubicBezTo>
                <a:lnTo>
                  <a:pt x="2707" y="993"/>
                </a:lnTo>
                <a:close/>
                <a:moveTo>
                  <a:pt x="2734" y="827"/>
                </a:moveTo>
                <a:cubicBezTo>
                  <a:pt x="2734" y="825"/>
                  <a:pt x="2734" y="825"/>
                  <a:pt x="2734" y="825"/>
                </a:cubicBezTo>
                <a:cubicBezTo>
                  <a:pt x="2733" y="826"/>
                  <a:pt x="2733" y="826"/>
                  <a:pt x="2733" y="826"/>
                </a:cubicBezTo>
                <a:lnTo>
                  <a:pt x="2734" y="827"/>
                </a:lnTo>
                <a:close/>
                <a:moveTo>
                  <a:pt x="2785" y="924"/>
                </a:moveTo>
                <a:cubicBezTo>
                  <a:pt x="2784" y="925"/>
                  <a:pt x="2784" y="925"/>
                  <a:pt x="2784" y="925"/>
                </a:cubicBezTo>
                <a:cubicBezTo>
                  <a:pt x="2783" y="927"/>
                  <a:pt x="2783" y="927"/>
                  <a:pt x="2783" y="927"/>
                </a:cubicBezTo>
                <a:cubicBezTo>
                  <a:pt x="2784" y="929"/>
                  <a:pt x="2784" y="929"/>
                  <a:pt x="2784" y="929"/>
                </a:cubicBezTo>
                <a:cubicBezTo>
                  <a:pt x="2784" y="930"/>
                  <a:pt x="2784" y="930"/>
                  <a:pt x="2784" y="930"/>
                </a:cubicBezTo>
                <a:cubicBezTo>
                  <a:pt x="2784" y="931"/>
                  <a:pt x="2784" y="931"/>
                  <a:pt x="2784" y="931"/>
                </a:cubicBezTo>
                <a:cubicBezTo>
                  <a:pt x="2785" y="932"/>
                  <a:pt x="2785" y="932"/>
                  <a:pt x="2785" y="932"/>
                </a:cubicBezTo>
                <a:cubicBezTo>
                  <a:pt x="2786" y="929"/>
                  <a:pt x="2786" y="929"/>
                  <a:pt x="2786" y="929"/>
                </a:cubicBezTo>
                <a:cubicBezTo>
                  <a:pt x="2784" y="928"/>
                  <a:pt x="2784" y="928"/>
                  <a:pt x="2784" y="928"/>
                </a:cubicBezTo>
                <a:cubicBezTo>
                  <a:pt x="2784" y="926"/>
                  <a:pt x="2784" y="926"/>
                  <a:pt x="2784" y="926"/>
                </a:cubicBezTo>
                <a:cubicBezTo>
                  <a:pt x="2785" y="925"/>
                  <a:pt x="2785" y="925"/>
                  <a:pt x="2785" y="925"/>
                </a:cubicBezTo>
                <a:lnTo>
                  <a:pt x="2785" y="924"/>
                </a:lnTo>
                <a:close/>
                <a:moveTo>
                  <a:pt x="2785" y="919"/>
                </a:moveTo>
                <a:cubicBezTo>
                  <a:pt x="2785" y="920"/>
                  <a:pt x="2785" y="920"/>
                  <a:pt x="2785" y="920"/>
                </a:cubicBezTo>
                <a:cubicBezTo>
                  <a:pt x="2786" y="920"/>
                  <a:pt x="2786" y="920"/>
                  <a:pt x="2786" y="920"/>
                </a:cubicBezTo>
                <a:cubicBezTo>
                  <a:pt x="2786" y="919"/>
                  <a:pt x="2786" y="919"/>
                  <a:pt x="2786" y="919"/>
                </a:cubicBezTo>
                <a:lnTo>
                  <a:pt x="2785" y="919"/>
                </a:lnTo>
                <a:close/>
                <a:moveTo>
                  <a:pt x="2784" y="932"/>
                </a:moveTo>
                <a:cubicBezTo>
                  <a:pt x="2784" y="932"/>
                  <a:pt x="2784" y="932"/>
                  <a:pt x="2784" y="932"/>
                </a:cubicBezTo>
                <a:cubicBezTo>
                  <a:pt x="2782" y="932"/>
                  <a:pt x="2782" y="932"/>
                  <a:pt x="2782" y="932"/>
                </a:cubicBezTo>
                <a:cubicBezTo>
                  <a:pt x="2782" y="934"/>
                  <a:pt x="2782" y="934"/>
                  <a:pt x="2782" y="934"/>
                </a:cubicBezTo>
                <a:cubicBezTo>
                  <a:pt x="2783" y="938"/>
                  <a:pt x="2783" y="938"/>
                  <a:pt x="2783" y="938"/>
                </a:cubicBezTo>
                <a:cubicBezTo>
                  <a:pt x="2783" y="939"/>
                  <a:pt x="2783" y="939"/>
                  <a:pt x="2783" y="939"/>
                </a:cubicBezTo>
                <a:cubicBezTo>
                  <a:pt x="2781" y="938"/>
                  <a:pt x="2781" y="938"/>
                  <a:pt x="2781" y="938"/>
                </a:cubicBezTo>
                <a:cubicBezTo>
                  <a:pt x="2780" y="938"/>
                  <a:pt x="2780" y="938"/>
                  <a:pt x="2780" y="938"/>
                </a:cubicBezTo>
                <a:cubicBezTo>
                  <a:pt x="2780" y="941"/>
                  <a:pt x="2780" y="941"/>
                  <a:pt x="2780" y="941"/>
                </a:cubicBezTo>
                <a:cubicBezTo>
                  <a:pt x="2780" y="941"/>
                  <a:pt x="2780" y="941"/>
                  <a:pt x="2780" y="941"/>
                </a:cubicBezTo>
                <a:cubicBezTo>
                  <a:pt x="2779" y="941"/>
                  <a:pt x="2779" y="941"/>
                  <a:pt x="2779" y="941"/>
                </a:cubicBezTo>
                <a:cubicBezTo>
                  <a:pt x="2777" y="940"/>
                  <a:pt x="2777" y="940"/>
                  <a:pt x="2777" y="940"/>
                </a:cubicBezTo>
                <a:cubicBezTo>
                  <a:pt x="2776" y="944"/>
                  <a:pt x="2776" y="944"/>
                  <a:pt x="2776" y="944"/>
                </a:cubicBezTo>
                <a:cubicBezTo>
                  <a:pt x="2776" y="944"/>
                  <a:pt x="2776" y="944"/>
                  <a:pt x="2776" y="944"/>
                </a:cubicBezTo>
                <a:cubicBezTo>
                  <a:pt x="2776" y="946"/>
                  <a:pt x="2776" y="946"/>
                  <a:pt x="2776" y="946"/>
                </a:cubicBezTo>
                <a:cubicBezTo>
                  <a:pt x="2775" y="946"/>
                  <a:pt x="2775" y="946"/>
                  <a:pt x="2775" y="946"/>
                </a:cubicBezTo>
                <a:cubicBezTo>
                  <a:pt x="2774" y="944"/>
                  <a:pt x="2774" y="944"/>
                  <a:pt x="2774" y="944"/>
                </a:cubicBezTo>
                <a:cubicBezTo>
                  <a:pt x="2772" y="945"/>
                  <a:pt x="2772" y="945"/>
                  <a:pt x="2772" y="945"/>
                </a:cubicBezTo>
                <a:cubicBezTo>
                  <a:pt x="2771" y="948"/>
                  <a:pt x="2771" y="948"/>
                  <a:pt x="2771" y="948"/>
                </a:cubicBezTo>
                <a:cubicBezTo>
                  <a:pt x="2768" y="950"/>
                  <a:pt x="2768" y="950"/>
                  <a:pt x="2768" y="950"/>
                </a:cubicBezTo>
                <a:cubicBezTo>
                  <a:pt x="2766" y="950"/>
                  <a:pt x="2766" y="950"/>
                  <a:pt x="2766" y="950"/>
                </a:cubicBezTo>
                <a:cubicBezTo>
                  <a:pt x="2765" y="952"/>
                  <a:pt x="2765" y="952"/>
                  <a:pt x="2765" y="952"/>
                </a:cubicBezTo>
                <a:cubicBezTo>
                  <a:pt x="2767" y="949"/>
                  <a:pt x="2767" y="949"/>
                  <a:pt x="2767" y="949"/>
                </a:cubicBezTo>
                <a:cubicBezTo>
                  <a:pt x="2767" y="945"/>
                  <a:pt x="2767" y="945"/>
                  <a:pt x="2767" y="945"/>
                </a:cubicBezTo>
                <a:cubicBezTo>
                  <a:pt x="2764" y="943"/>
                  <a:pt x="2764" y="943"/>
                  <a:pt x="2764" y="943"/>
                </a:cubicBezTo>
                <a:cubicBezTo>
                  <a:pt x="2762" y="943"/>
                  <a:pt x="2762" y="943"/>
                  <a:pt x="2762" y="943"/>
                </a:cubicBezTo>
                <a:cubicBezTo>
                  <a:pt x="2761" y="945"/>
                  <a:pt x="2761" y="945"/>
                  <a:pt x="2761" y="945"/>
                </a:cubicBezTo>
                <a:cubicBezTo>
                  <a:pt x="2759" y="946"/>
                  <a:pt x="2759" y="946"/>
                  <a:pt x="2759" y="946"/>
                </a:cubicBezTo>
                <a:cubicBezTo>
                  <a:pt x="2758" y="948"/>
                  <a:pt x="2758" y="948"/>
                  <a:pt x="2758" y="948"/>
                </a:cubicBezTo>
                <a:cubicBezTo>
                  <a:pt x="2759" y="950"/>
                  <a:pt x="2759" y="950"/>
                  <a:pt x="2759" y="950"/>
                </a:cubicBezTo>
                <a:cubicBezTo>
                  <a:pt x="2756" y="950"/>
                  <a:pt x="2756" y="950"/>
                  <a:pt x="2756" y="950"/>
                </a:cubicBezTo>
                <a:cubicBezTo>
                  <a:pt x="2754" y="950"/>
                  <a:pt x="2754" y="950"/>
                  <a:pt x="2754" y="950"/>
                </a:cubicBezTo>
                <a:cubicBezTo>
                  <a:pt x="2752" y="951"/>
                  <a:pt x="2752" y="951"/>
                  <a:pt x="2752" y="951"/>
                </a:cubicBezTo>
                <a:cubicBezTo>
                  <a:pt x="2750" y="951"/>
                  <a:pt x="2750" y="951"/>
                  <a:pt x="2750" y="951"/>
                </a:cubicBezTo>
                <a:cubicBezTo>
                  <a:pt x="2749" y="954"/>
                  <a:pt x="2749" y="954"/>
                  <a:pt x="2749" y="954"/>
                </a:cubicBezTo>
                <a:cubicBezTo>
                  <a:pt x="2749" y="955"/>
                  <a:pt x="2749" y="955"/>
                  <a:pt x="2749" y="955"/>
                </a:cubicBezTo>
                <a:cubicBezTo>
                  <a:pt x="2749" y="958"/>
                  <a:pt x="2749" y="958"/>
                  <a:pt x="2749" y="958"/>
                </a:cubicBezTo>
                <a:cubicBezTo>
                  <a:pt x="2747" y="961"/>
                  <a:pt x="2747" y="961"/>
                  <a:pt x="2747" y="961"/>
                </a:cubicBezTo>
                <a:cubicBezTo>
                  <a:pt x="2749" y="963"/>
                  <a:pt x="2749" y="963"/>
                  <a:pt x="2749" y="963"/>
                </a:cubicBezTo>
                <a:cubicBezTo>
                  <a:pt x="2750" y="962"/>
                  <a:pt x="2750" y="962"/>
                  <a:pt x="2750" y="962"/>
                </a:cubicBezTo>
                <a:cubicBezTo>
                  <a:pt x="2752" y="958"/>
                  <a:pt x="2752" y="958"/>
                  <a:pt x="2752" y="958"/>
                </a:cubicBezTo>
                <a:cubicBezTo>
                  <a:pt x="2753" y="957"/>
                  <a:pt x="2753" y="957"/>
                  <a:pt x="2753" y="957"/>
                </a:cubicBezTo>
                <a:cubicBezTo>
                  <a:pt x="2754" y="954"/>
                  <a:pt x="2754" y="954"/>
                  <a:pt x="2754" y="954"/>
                </a:cubicBezTo>
                <a:cubicBezTo>
                  <a:pt x="2755" y="954"/>
                  <a:pt x="2755" y="954"/>
                  <a:pt x="2755" y="954"/>
                </a:cubicBezTo>
                <a:cubicBezTo>
                  <a:pt x="2757" y="955"/>
                  <a:pt x="2757" y="955"/>
                  <a:pt x="2757" y="955"/>
                </a:cubicBezTo>
                <a:cubicBezTo>
                  <a:pt x="2756" y="957"/>
                  <a:pt x="2756" y="957"/>
                  <a:pt x="2756" y="957"/>
                </a:cubicBezTo>
                <a:cubicBezTo>
                  <a:pt x="2757" y="957"/>
                  <a:pt x="2757" y="957"/>
                  <a:pt x="2757" y="957"/>
                </a:cubicBezTo>
                <a:cubicBezTo>
                  <a:pt x="2758" y="957"/>
                  <a:pt x="2758" y="957"/>
                  <a:pt x="2758" y="957"/>
                </a:cubicBezTo>
                <a:cubicBezTo>
                  <a:pt x="2759" y="958"/>
                  <a:pt x="2759" y="958"/>
                  <a:pt x="2759" y="958"/>
                </a:cubicBezTo>
                <a:cubicBezTo>
                  <a:pt x="2759" y="956"/>
                  <a:pt x="2759" y="956"/>
                  <a:pt x="2759" y="956"/>
                </a:cubicBezTo>
                <a:cubicBezTo>
                  <a:pt x="2760" y="955"/>
                  <a:pt x="2760" y="955"/>
                  <a:pt x="2760" y="955"/>
                </a:cubicBezTo>
                <a:cubicBezTo>
                  <a:pt x="2761" y="956"/>
                  <a:pt x="2761" y="956"/>
                  <a:pt x="2761" y="956"/>
                </a:cubicBezTo>
                <a:cubicBezTo>
                  <a:pt x="2760" y="957"/>
                  <a:pt x="2760" y="957"/>
                  <a:pt x="2760" y="957"/>
                </a:cubicBezTo>
                <a:cubicBezTo>
                  <a:pt x="2761" y="957"/>
                  <a:pt x="2761" y="957"/>
                  <a:pt x="2761" y="957"/>
                </a:cubicBezTo>
                <a:cubicBezTo>
                  <a:pt x="2763" y="958"/>
                  <a:pt x="2763" y="958"/>
                  <a:pt x="2763" y="958"/>
                </a:cubicBezTo>
                <a:cubicBezTo>
                  <a:pt x="2764" y="958"/>
                  <a:pt x="2764" y="958"/>
                  <a:pt x="2764" y="958"/>
                </a:cubicBezTo>
                <a:cubicBezTo>
                  <a:pt x="2762" y="956"/>
                  <a:pt x="2762" y="956"/>
                  <a:pt x="2762" y="956"/>
                </a:cubicBezTo>
                <a:cubicBezTo>
                  <a:pt x="2763" y="955"/>
                  <a:pt x="2763" y="955"/>
                  <a:pt x="2763" y="955"/>
                </a:cubicBezTo>
                <a:cubicBezTo>
                  <a:pt x="2763" y="955"/>
                  <a:pt x="2763" y="955"/>
                  <a:pt x="2763" y="955"/>
                </a:cubicBezTo>
                <a:cubicBezTo>
                  <a:pt x="2763" y="954"/>
                  <a:pt x="2763" y="954"/>
                  <a:pt x="2763" y="954"/>
                </a:cubicBezTo>
                <a:cubicBezTo>
                  <a:pt x="2764" y="954"/>
                  <a:pt x="2764" y="954"/>
                  <a:pt x="2764" y="954"/>
                </a:cubicBezTo>
                <a:cubicBezTo>
                  <a:pt x="2766" y="955"/>
                  <a:pt x="2766" y="955"/>
                  <a:pt x="2766" y="955"/>
                </a:cubicBezTo>
                <a:cubicBezTo>
                  <a:pt x="2768" y="956"/>
                  <a:pt x="2768" y="956"/>
                  <a:pt x="2768" y="956"/>
                </a:cubicBezTo>
                <a:cubicBezTo>
                  <a:pt x="2770" y="957"/>
                  <a:pt x="2770" y="957"/>
                  <a:pt x="2770" y="957"/>
                </a:cubicBezTo>
                <a:cubicBezTo>
                  <a:pt x="2770" y="959"/>
                  <a:pt x="2770" y="959"/>
                  <a:pt x="2770" y="959"/>
                </a:cubicBezTo>
                <a:cubicBezTo>
                  <a:pt x="2772" y="961"/>
                  <a:pt x="2772" y="961"/>
                  <a:pt x="2772" y="961"/>
                </a:cubicBezTo>
                <a:cubicBezTo>
                  <a:pt x="2770" y="960"/>
                  <a:pt x="2770" y="960"/>
                  <a:pt x="2770" y="960"/>
                </a:cubicBezTo>
                <a:cubicBezTo>
                  <a:pt x="2769" y="960"/>
                  <a:pt x="2769" y="960"/>
                  <a:pt x="2769" y="960"/>
                </a:cubicBezTo>
                <a:cubicBezTo>
                  <a:pt x="2770" y="961"/>
                  <a:pt x="2770" y="961"/>
                  <a:pt x="2770" y="961"/>
                </a:cubicBezTo>
                <a:cubicBezTo>
                  <a:pt x="2769" y="963"/>
                  <a:pt x="2769" y="963"/>
                  <a:pt x="2769" y="963"/>
                </a:cubicBezTo>
                <a:cubicBezTo>
                  <a:pt x="2770" y="964"/>
                  <a:pt x="2770" y="964"/>
                  <a:pt x="2770" y="964"/>
                </a:cubicBezTo>
                <a:cubicBezTo>
                  <a:pt x="2770" y="965"/>
                  <a:pt x="2770" y="965"/>
                  <a:pt x="2770" y="965"/>
                </a:cubicBezTo>
                <a:cubicBezTo>
                  <a:pt x="2769" y="967"/>
                  <a:pt x="2769" y="967"/>
                  <a:pt x="2769" y="967"/>
                </a:cubicBezTo>
                <a:cubicBezTo>
                  <a:pt x="2771" y="968"/>
                  <a:pt x="2771" y="968"/>
                  <a:pt x="2771" y="968"/>
                </a:cubicBezTo>
                <a:cubicBezTo>
                  <a:pt x="2771" y="970"/>
                  <a:pt x="2771" y="970"/>
                  <a:pt x="2771" y="970"/>
                </a:cubicBezTo>
                <a:cubicBezTo>
                  <a:pt x="2773" y="972"/>
                  <a:pt x="2773" y="972"/>
                  <a:pt x="2773" y="972"/>
                </a:cubicBezTo>
                <a:cubicBezTo>
                  <a:pt x="2775" y="972"/>
                  <a:pt x="2775" y="972"/>
                  <a:pt x="2775" y="972"/>
                </a:cubicBezTo>
                <a:cubicBezTo>
                  <a:pt x="2777" y="974"/>
                  <a:pt x="2777" y="974"/>
                  <a:pt x="2777" y="974"/>
                </a:cubicBezTo>
                <a:cubicBezTo>
                  <a:pt x="2779" y="975"/>
                  <a:pt x="2779" y="975"/>
                  <a:pt x="2779" y="975"/>
                </a:cubicBezTo>
                <a:cubicBezTo>
                  <a:pt x="2781" y="974"/>
                  <a:pt x="2781" y="974"/>
                  <a:pt x="2781" y="974"/>
                </a:cubicBezTo>
                <a:cubicBezTo>
                  <a:pt x="2781" y="973"/>
                  <a:pt x="2781" y="973"/>
                  <a:pt x="2781" y="973"/>
                </a:cubicBezTo>
                <a:cubicBezTo>
                  <a:pt x="2782" y="972"/>
                  <a:pt x="2782" y="972"/>
                  <a:pt x="2782" y="972"/>
                </a:cubicBezTo>
                <a:cubicBezTo>
                  <a:pt x="2783" y="973"/>
                  <a:pt x="2783" y="973"/>
                  <a:pt x="2783" y="973"/>
                </a:cubicBezTo>
                <a:cubicBezTo>
                  <a:pt x="2782" y="974"/>
                  <a:pt x="2782" y="974"/>
                  <a:pt x="2782" y="974"/>
                </a:cubicBezTo>
                <a:cubicBezTo>
                  <a:pt x="2783" y="976"/>
                  <a:pt x="2783" y="976"/>
                  <a:pt x="2783" y="976"/>
                </a:cubicBezTo>
                <a:cubicBezTo>
                  <a:pt x="2783" y="977"/>
                  <a:pt x="2783" y="977"/>
                  <a:pt x="2783" y="977"/>
                </a:cubicBezTo>
                <a:cubicBezTo>
                  <a:pt x="2785" y="976"/>
                  <a:pt x="2785" y="976"/>
                  <a:pt x="2785" y="976"/>
                </a:cubicBezTo>
                <a:cubicBezTo>
                  <a:pt x="2787" y="972"/>
                  <a:pt x="2787" y="972"/>
                  <a:pt x="2787" y="972"/>
                </a:cubicBezTo>
                <a:cubicBezTo>
                  <a:pt x="2788" y="970"/>
                  <a:pt x="2788" y="970"/>
                  <a:pt x="2788" y="970"/>
                </a:cubicBezTo>
                <a:cubicBezTo>
                  <a:pt x="2787" y="969"/>
                  <a:pt x="2787" y="969"/>
                  <a:pt x="2787" y="969"/>
                </a:cubicBezTo>
                <a:cubicBezTo>
                  <a:pt x="2786" y="966"/>
                  <a:pt x="2786" y="966"/>
                  <a:pt x="2786" y="966"/>
                </a:cubicBezTo>
                <a:cubicBezTo>
                  <a:pt x="2784" y="965"/>
                  <a:pt x="2784" y="965"/>
                  <a:pt x="2784" y="965"/>
                </a:cubicBezTo>
                <a:cubicBezTo>
                  <a:pt x="2784" y="963"/>
                  <a:pt x="2784" y="963"/>
                  <a:pt x="2784" y="963"/>
                </a:cubicBezTo>
                <a:cubicBezTo>
                  <a:pt x="2787" y="959"/>
                  <a:pt x="2787" y="959"/>
                  <a:pt x="2787" y="959"/>
                </a:cubicBezTo>
                <a:cubicBezTo>
                  <a:pt x="2788" y="958"/>
                  <a:pt x="2788" y="958"/>
                  <a:pt x="2788" y="958"/>
                </a:cubicBezTo>
                <a:cubicBezTo>
                  <a:pt x="2789" y="960"/>
                  <a:pt x="2789" y="960"/>
                  <a:pt x="2789" y="960"/>
                </a:cubicBezTo>
                <a:cubicBezTo>
                  <a:pt x="2790" y="962"/>
                  <a:pt x="2790" y="962"/>
                  <a:pt x="2790" y="962"/>
                </a:cubicBezTo>
                <a:cubicBezTo>
                  <a:pt x="2791" y="964"/>
                  <a:pt x="2791" y="964"/>
                  <a:pt x="2791" y="964"/>
                </a:cubicBezTo>
                <a:cubicBezTo>
                  <a:pt x="2791" y="965"/>
                  <a:pt x="2791" y="965"/>
                  <a:pt x="2791" y="965"/>
                </a:cubicBezTo>
                <a:cubicBezTo>
                  <a:pt x="2792" y="968"/>
                  <a:pt x="2792" y="968"/>
                  <a:pt x="2792" y="968"/>
                </a:cubicBezTo>
                <a:cubicBezTo>
                  <a:pt x="2792" y="970"/>
                  <a:pt x="2792" y="970"/>
                  <a:pt x="2792" y="970"/>
                </a:cubicBezTo>
                <a:cubicBezTo>
                  <a:pt x="2792" y="968"/>
                  <a:pt x="2792" y="968"/>
                  <a:pt x="2792" y="968"/>
                </a:cubicBezTo>
                <a:cubicBezTo>
                  <a:pt x="2793" y="966"/>
                  <a:pt x="2793" y="966"/>
                  <a:pt x="2793" y="966"/>
                </a:cubicBezTo>
                <a:cubicBezTo>
                  <a:pt x="2792" y="963"/>
                  <a:pt x="2792" y="963"/>
                  <a:pt x="2792" y="963"/>
                </a:cubicBezTo>
                <a:cubicBezTo>
                  <a:pt x="2792" y="962"/>
                  <a:pt x="2792" y="962"/>
                  <a:pt x="2792" y="962"/>
                </a:cubicBezTo>
                <a:cubicBezTo>
                  <a:pt x="2793" y="962"/>
                  <a:pt x="2793" y="962"/>
                  <a:pt x="2793" y="962"/>
                </a:cubicBezTo>
                <a:cubicBezTo>
                  <a:pt x="2794" y="963"/>
                  <a:pt x="2794" y="963"/>
                  <a:pt x="2794" y="963"/>
                </a:cubicBezTo>
                <a:cubicBezTo>
                  <a:pt x="2794" y="962"/>
                  <a:pt x="2794" y="962"/>
                  <a:pt x="2794" y="962"/>
                </a:cubicBezTo>
                <a:cubicBezTo>
                  <a:pt x="2795" y="962"/>
                  <a:pt x="2795" y="962"/>
                  <a:pt x="2795" y="962"/>
                </a:cubicBezTo>
                <a:cubicBezTo>
                  <a:pt x="2796" y="959"/>
                  <a:pt x="2796" y="959"/>
                  <a:pt x="2796" y="959"/>
                </a:cubicBezTo>
                <a:cubicBezTo>
                  <a:pt x="2796" y="956"/>
                  <a:pt x="2796" y="956"/>
                  <a:pt x="2796" y="956"/>
                </a:cubicBezTo>
                <a:cubicBezTo>
                  <a:pt x="2794" y="954"/>
                  <a:pt x="2794" y="954"/>
                  <a:pt x="2794" y="954"/>
                </a:cubicBezTo>
                <a:cubicBezTo>
                  <a:pt x="2793" y="952"/>
                  <a:pt x="2793" y="952"/>
                  <a:pt x="2793" y="952"/>
                </a:cubicBezTo>
                <a:cubicBezTo>
                  <a:pt x="2793" y="950"/>
                  <a:pt x="2793" y="950"/>
                  <a:pt x="2793" y="950"/>
                </a:cubicBezTo>
                <a:cubicBezTo>
                  <a:pt x="2793" y="948"/>
                  <a:pt x="2793" y="948"/>
                  <a:pt x="2793" y="948"/>
                </a:cubicBezTo>
                <a:cubicBezTo>
                  <a:pt x="2792" y="949"/>
                  <a:pt x="2792" y="949"/>
                  <a:pt x="2792" y="949"/>
                </a:cubicBezTo>
                <a:cubicBezTo>
                  <a:pt x="2792" y="947"/>
                  <a:pt x="2792" y="947"/>
                  <a:pt x="2792" y="947"/>
                </a:cubicBezTo>
                <a:cubicBezTo>
                  <a:pt x="2792" y="945"/>
                  <a:pt x="2792" y="945"/>
                  <a:pt x="2792" y="945"/>
                </a:cubicBezTo>
                <a:cubicBezTo>
                  <a:pt x="2792" y="945"/>
                  <a:pt x="2792" y="945"/>
                  <a:pt x="2792" y="945"/>
                </a:cubicBezTo>
                <a:cubicBezTo>
                  <a:pt x="2790" y="944"/>
                  <a:pt x="2790" y="944"/>
                  <a:pt x="2790" y="944"/>
                </a:cubicBezTo>
                <a:cubicBezTo>
                  <a:pt x="2791" y="943"/>
                  <a:pt x="2791" y="943"/>
                  <a:pt x="2791" y="943"/>
                </a:cubicBezTo>
                <a:cubicBezTo>
                  <a:pt x="2792" y="943"/>
                  <a:pt x="2792" y="943"/>
                  <a:pt x="2792" y="943"/>
                </a:cubicBezTo>
                <a:cubicBezTo>
                  <a:pt x="2792" y="940"/>
                  <a:pt x="2792" y="940"/>
                  <a:pt x="2792" y="940"/>
                </a:cubicBezTo>
                <a:cubicBezTo>
                  <a:pt x="2791" y="938"/>
                  <a:pt x="2791" y="938"/>
                  <a:pt x="2791" y="938"/>
                </a:cubicBezTo>
                <a:cubicBezTo>
                  <a:pt x="2791" y="937"/>
                  <a:pt x="2791" y="937"/>
                  <a:pt x="2791" y="937"/>
                </a:cubicBezTo>
                <a:cubicBezTo>
                  <a:pt x="2789" y="938"/>
                  <a:pt x="2789" y="938"/>
                  <a:pt x="2789" y="938"/>
                </a:cubicBezTo>
                <a:cubicBezTo>
                  <a:pt x="2787" y="936"/>
                  <a:pt x="2787" y="936"/>
                  <a:pt x="2787" y="936"/>
                </a:cubicBezTo>
                <a:cubicBezTo>
                  <a:pt x="2785" y="934"/>
                  <a:pt x="2785" y="934"/>
                  <a:pt x="2785" y="934"/>
                </a:cubicBezTo>
                <a:lnTo>
                  <a:pt x="2784" y="932"/>
                </a:lnTo>
                <a:close/>
                <a:moveTo>
                  <a:pt x="2785" y="652"/>
                </a:moveTo>
                <a:cubicBezTo>
                  <a:pt x="2785" y="652"/>
                  <a:pt x="2785" y="652"/>
                  <a:pt x="2785" y="652"/>
                </a:cubicBezTo>
                <a:cubicBezTo>
                  <a:pt x="2786" y="653"/>
                  <a:pt x="2786" y="653"/>
                  <a:pt x="2786" y="653"/>
                </a:cubicBezTo>
                <a:cubicBezTo>
                  <a:pt x="2787" y="653"/>
                  <a:pt x="2787" y="653"/>
                  <a:pt x="2787" y="653"/>
                </a:cubicBezTo>
                <a:cubicBezTo>
                  <a:pt x="2785" y="652"/>
                  <a:pt x="2785" y="652"/>
                  <a:pt x="2785" y="652"/>
                </a:cubicBezTo>
                <a:close/>
                <a:moveTo>
                  <a:pt x="2787" y="933"/>
                </a:moveTo>
                <a:cubicBezTo>
                  <a:pt x="2788" y="934"/>
                  <a:pt x="2788" y="934"/>
                  <a:pt x="2788" y="934"/>
                </a:cubicBezTo>
                <a:cubicBezTo>
                  <a:pt x="2788" y="933"/>
                  <a:pt x="2788" y="933"/>
                  <a:pt x="2788" y="933"/>
                </a:cubicBezTo>
                <a:cubicBezTo>
                  <a:pt x="2787" y="932"/>
                  <a:pt x="2787" y="932"/>
                  <a:pt x="2787" y="932"/>
                </a:cubicBezTo>
                <a:lnTo>
                  <a:pt x="2787" y="933"/>
                </a:lnTo>
                <a:close/>
                <a:moveTo>
                  <a:pt x="2797" y="661"/>
                </a:moveTo>
                <a:cubicBezTo>
                  <a:pt x="2796" y="660"/>
                  <a:pt x="2796" y="660"/>
                  <a:pt x="2796" y="660"/>
                </a:cubicBezTo>
                <a:cubicBezTo>
                  <a:pt x="2796" y="661"/>
                  <a:pt x="2796" y="661"/>
                  <a:pt x="2796" y="661"/>
                </a:cubicBezTo>
                <a:cubicBezTo>
                  <a:pt x="2796" y="662"/>
                  <a:pt x="2796" y="662"/>
                  <a:pt x="2796" y="662"/>
                </a:cubicBezTo>
                <a:cubicBezTo>
                  <a:pt x="2797" y="662"/>
                  <a:pt x="2797" y="662"/>
                  <a:pt x="2797" y="662"/>
                </a:cubicBezTo>
                <a:lnTo>
                  <a:pt x="2797" y="661"/>
                </a:lnTo>
                <a:close/>
                <a:moveTo>
                  <a:pt x="2789" y="928"/>
                </a:moveTo>
                <a:cubicBezTo>
                  <a:pt x="2789" y="930"/>
                  <a:pt x="2789" y="930"/>
                  <a:pt x="2789" y="930"/>
                </a:cubicBezTo>
                <a:cubicBezTo>
                  <a:pt x="2788" y="931"/>
                  <a:pt x="2788" y="931"/>
                  <a:pt x="2788" y="931"/>
                </a:cubicBezTo>
                <a:cubicBezTo>
                  <a:pt x="2789" y="932"/>
                  <a:pt x="2789" y="932"/>
                  <a:pt x="2789" y="932"/>
                </a:cubicBezTo>
                <a:cubicBezTo>
                  <a:pt x="2791" y="932"/>
                  <a:pt x="2791" y="932"/>
                  <a:pt x="2791" y="932"/>
                </a:cubicBezTo>
                <a:cubicBezTo>
                  <a:pt x="2790" y="930"/>
                  <a:pt x="2790" y="930"/>
                  <a:pt x="2790" y="930"/>
                </a:cubicBezTo>
                <a:lnTo>
                  <a:pt x="2789" y="928"/>
                </a:lnTo>
                <a:close/>
                <a:moveTo>
                  <a:pt x="2781" y="641"/>
                </a:moveTo>
                <a:cubicBezTo>
                  <a:pt x="2782" y="641"/>
                  <a:pt x="2782" y="641"/>
                  <a:pt x="2782" y="641"/>
                </a:cubicBezTo>
                <a:cubicBezTo>
                  <a:pt x="2783" y="640"/>
                  <a:pt x="2783" y="640"/>
                  <a:pt x="2783" y="640"/>
                </a:cubicBezTo>
                <a:cubicBezTo>
                  <a:pt x="2783" y="639"/>
                  <a:pt x="2783" y="639"/>
                  <a:pt x="2783" y="639"/>
                </a:cubicBezTo>
                <a:cubicBezTo>
                  <a:pt x="2781" y="639"/>
                  <a:pt x="2781" y="639"/>
                  <a:pt x="2781" y="639"/>
                </a:cubicBezTo>
                <a:cubicBezTo>
                  <a:pt x="2781" y="640"/>
                  <a:pt x="2781" y="640"/>
                  <a:pt x="2781" y="640"/>
                </a:cubicBezTo>
                <a:lnTo>
                  <a:pt x="2781" y="641"/>
                </a:lnTo>
                <a:close/>
                <a:moveTo>
                  <a:pt x="2782" y="657"/>
                </a:moveTo>
                <a:cubicBezTo>
                  <a:pt x="2783" y="656"/>
                  <a:pt x="2783" y="656"/>
                  <a:pt x="2783" y="656"/>
                </a:cubicBezTo>
                <a:cubicBezTo>
                  <a:pt x="2782" y="656"/>
                  <a:pt x="2782" y="656"/>
                  <a:pt x="2782" y="656"/>
                </a:cubicBezTo>
                <a:lnTo>
                  <a:pt x="2782" y="657"/>
                </a:lnTo>
                <a:close/>
                <a:moveTo>
                  <a:pt x="2478" y="862"/>
                </a:moveTo>
                <a:cubicBezTo>
                  <a:pt x="2480" y="862"/>
                  <a:pt x="2480" y="862"/>
                  <a:pt x="2480" y="862"/>
                </a:cubicBezTo>
                <a:cubicBezTo>
                  <a:pt x="2482" y="861"/>
                  <a:pt x="2482" y="861"/>
                  <a:pt x="2482" y="861"/>
                </a:cubicBezTo>
                <a:cubicBezTo>
                  <a:pt x="2480" y="861"/>
                  <a:pt x="2480" y="861"/>
                  <a:pt x="2480" y="861"/>
                </a:cubicBezTo>
                <a:cubicBezTo>
                  <a:pt x="2480" y="860"/>
                  <a:pt x="2480" y="860"/>
                  <a:pt x="2480" y="860"/>
                </a:cubicBezTo>
                <a:cubicBezTo>
                  <a:pt x="2480" y="858"/>
                  <a:pt x="2480" y="858"/>
                  <a:pt x="2480" y="858"/>
                </a:cubicBezTo>
                <a:cubicBezTo>
                  <a:pt x="2480" y="858"/>
                  <a:pt x="2480" y="858"/>
                  <a:pt x="2480" y="858"/>
                </a:cubicBezTo>
                <a:cubicBezTo>
                  <a:pt x="2481" y="860"/>
                  <a:pt x="2481" y="860"/>
                  <a:pt x="2481" y="860"/>
                </a:cubicBezTo>
                <a:cubicBezTo>
                  <a:pt x="2483" y="860"/>
                  <a:pt x="2483" y="860"/>
                  <a:pt x="2483" y="860"/>
                </a:cubicBezTo>
                <a:cubicBezTo>
                  <a:pt x="2486" y="858"/>
                  <a:pt x="2486" y="858"/>
                  <a:pt x="2486" y="858"/>
                </a:cubicBezTo>
                <a:cubicBezTo>
                  <a:pt x="2485" y="857"/>
                  <a:pt x="2485" y="857"/>
                  <a:pt x="2485" y="857"/>
                </a:cubicBezTo>
                <a:cubicBezTo>
                  <a:pt x="2486" y="856"/>
                  <a:pt x="2486" y="856"/>
                  <a:pt x="2486" y="856"/>
                </a:cubicBezTo>
                <a:cubicBezTo>
                  <a:pt x="2486" y="854"/>
                  <a:pt x="2486" y="854"/>
                  <a:pt x="2486" y="854"/>
                </a:cubicBezTo>
                <a:cubicBezTo>
                  <a:pt x="2485" y="853"/>
                  <a:pt x="2485" y="853"/>
                  <a:pt x="2485" y="853"/>
                </a:cubicBezTo>
                <a:cubicBezTo>
                  <a:pt x="2485" y="852"/>
                  <a:pt x="2485" y="852"/>
                  <a:pt x="2485" y="852"/>
                </a:cubicBezTo>
                <a:cubicBezTo>
                  <a:pt x="2486" y="851"/>
                  <a:pt x="2486" y="851"/>
                  <a:pt x="2486" y="851"/>
                </a:cubicBezTo>
                <a:cubicBezTo>
                  <a:pt x="2485" y="850"/>
                  <a:pt x="2485" y="850"/>
                  <a:pt x="2485" y="850"/>
                </a:cubicBezTo>
                <a:cubicBezTo>
                  <a:pt x="2487" y="851"/>
                  <a:pt x="2487" y="851"/>
                  <a:pt x="2487" y="851"/>
                </a:cubicBezTo>
                <a:cubicBezTo>
                  <a:pt x="2487" y="852"/>
                  <a:pt x="2487" y="852"/>
                  <a:pt x="2487" y="852"/>
                </a:cubicBezTo>
                <a:cubicBezTo>
                  <a:pt x="2488" y="852"/>
                  <a:pt x="2488" y="852"/>
                  <a:pt x="2488" y="852"/>
                </a:cubicBezTo>
                <a:cubicBezTo>
                  <a:pt x="2488" y="853"/>
                  <a:pt x="2488" y="853"/>
                  <a:pt x="2488" y="853"/>
                </a:cubicBezTo>
                <a:cubicBezTo>
                  <a:pt x="2490" y="857"/>
                  <a:pt x="2490" y="857"/>
                  <a:pt x="2490" y="857"/>
                </a:cubicBezTo>
                <a:cubicBezTo>
                  <a:pt x="2491" y="858"/>
                  <a:pt x="2491" y="858"/>
                  <a:pt x="2491" y="858"/>
                </a:cubicBezTo>
                <a:cubicBezTo>
                  <a:pt x="2491" y="861"/>
                  <a:pt x="2491" y="861"/>
                  <a:pt x="2491" y="861"/>
                </a:cubicBezTo>
                <a:cubicBezTo>
                  <a:pt x="2493" y="861"/>
                  <a:pt x="2493" y="861"/>
                  <a:pt x="2493" y="861"/>
                </a:cubicBezTo>
                <a:cubicBezTo>
                  <a:pt x="2494" y="860"/>
                  <a:pt x="2494" y="860"/>
                  <a:pt x="2494" y="860"/>
                </a:cubicBezTo>
                <a:cubicBezTo>
                  <a:pt x="2495" y="859"/>
                  <a:pt x="2495" y="859"/>
                  <a:pt x="2495" y="859"/>
                </a:cubicBezTo>
                <a:cubicBezTo>
                  <a:pt x="2495" y="860"/>
                  <a:pt x="2495" y="860"/>
                  <a:pt x="2495" y="860"/>
                </a:cubicBezTo>
                <a:cubicBezTo>
                  <a:pt x="2494" y="861"/>
                  <a:pt x="2494" y="861"/>
                  <a:pt x="2494" y="861"/>
                </a:cubicBezTo>
                <a:cubicBezTo>
                  <a:pt x="2496" y="863"/>
                  <a:pt x="2496" y="863"/>
                  <a:pt x="2496" y="863"/>
                </a:cubicBezTo>
                <a:cubicBezTo>
                  <a:pt x="2496" y="864"/>
                  <a:pt x="2496" y="864"/>
                  <a:pt x="2496" y="864"/>
                </a:cubicBezTo>
                <a:cubicBezTo>
                  <a:pt x="2495" y="865"/>
                  <a:pt x="2495" y="865"/>
                  <a:pt x="2495" y="865"/>
                </a:cubicBezTo>
                <a:cubicBezTo>
                  <a:pt x="2495" y="867"/>
                  <a:pt x="2495" y="867"/>
                  <a:pt x="2495" y="867"/>
                </a:cubicBezTo>
                <a:cubicBezTo>
                  <a:pt x="2497" y="868"/>
                  <a:pt x="2497" y="868"/>
                  <a:pt x="2497" y="868"/>
                </a:cubicBezTo>
                <a:cubicBezTo>
                  <a:pt x="2497" y="875"/>
                  <a:pt x="2497" y="875"/>
                  <a:pt x="2497" y="875"/>
                </a:cubicBezTo>
                <a:cubicBezTo>
                  <a:pt x="2498" y="875"/>
                  <a:pt x="2498" y="875"/>
                  <a:pt x="2498" y="875"/>
                </a:cubicBezTo>
                <a:cubicBezTo>
                  <a:pt x="2498" y="879"/>
                  <a:pt x="2498" y="879"/>
                  <a:pt x="2498" y="879"/>
                </a:cubicBezTo>
                <a:cubicBezTo>
                  <a:pt x="2501" y="880"/>
                  <a:pt x="2501" y="880"/>
                  <a:pt x="2501" y="880"/>
                </a:cubicBezTo>
                <a:cubicBezTo>
                  <a:pt x="2500" y="881"/>
                  <a:pt x="2500" y="881"/>
                  <a:pt x="2500" y="881"/>
                </a:cubicBezTo>
                <a:cubicBezTo>
                  <a:pt x="2500" y="883"/>
                  <a:pt x="2500" y="883"/>
                  <a:pt x="2500" y="883"/>
                </a:cubicBezTo>
                <a:cubicBezTo>
                  <a:pt x="2502" y="885"/>
                  <a:pt x="2502" y="885"/>
                  <a:pt x="2502" y="885"/>
                </a:cubicBezTo>
                <a:cubicBezTo>
                  <a:pt x="2501" y="889"/>
                  <a:pt x="2501" y="889"/>
                  <a:pt x="2501" y="889"/>
                </a:cubicBezTo>
                <a:cubicBezTo>
                  <a:pt x="2502" y="891"/>
                  <a:pt x="2502" y="891"/>
                  <a:pt x="2502" y="891"/>
                </a:cubicBezTo>
                <a:cubicBezTo>
                  <a:pt x="2502" y="893"/>
                  <a:pt x="2502" y="893"/>
                  <a:pt x="2502" y="893"/>
                </a:cubicBezTo>
                <a:cubicBezTo>
                  <a:pt x="2503" y="892"/>
                  <a:pt x="2503" y="892"/>
                  <a:pt x="2503" y="892"/>
                </a:cubicBezTo>
                <a:cubicBezTo>
                  <a:pt x="2503" y="889"/>
                  <a:pt x="2503" y="889"/>
                  <a:pt x="2503" y="889"/>
                </a:cubicBezTo>
                <a:cubicBezTo>
                  <a:pt x="2505" y="891"/>
                  <a:pt x="2505" y="891"/>
                  <a:pt x="2505" y="891"/>
                </a:cubicBezTo>
                <a:cubicBezTo>
                  <a:pt x="2505" y="894"/>
                  <a:pt x="2505" y="894"/>
                  <a:pt x="2505" y="894"/>
                </a:cubicBezTo>
                <a:cubicBezTo>
                  <a:pt x="2507" y="895"/>
                  <a:pt x="2507" y="895"/>
                  <a:pt x="2507" y="895"/>
                </a:cubicBezTo>
                <a:cubicBezTo>
                  <a:pt x="2507" y="901"/>
                  <a:pt x="2507" y="901"/>
                  <a:pt x="2507" y="901"/>
                </a:cubicBezTo>
                <a:cubicBezTo>
                  <a:pt x="2508" y="902"/>
                  <a:pt x="2508" y="902"/>
                  <a:pt x="2508" y="902"/>
                </a:cubicBezTo>
                <a:cubicBezTo>
                  <a:pt x="2509" y="904"/>
                  <a:pt x="2509" y="904"/>
                  <a:pt x="2509" y="904"/>
                </a:cubicBezTo>
                <a:cubicBezTo>
                  <a:pt x="2508" y="905"/>
                  <a:pt x="2508" y="905"/>
                  <a:pt x="2508" y="905"/>
                </a:cubicBezTo>
                <a:cubicBezTo>
                  <a:pt x="2508" y="907"/>
                  <a:pt x="2508" y="907"/>
                  <a:pt x="2508" y="907"/>
                </a:cubicBezTo>
                <a:cubicBezTo>
                  <a:pt x="2509" y="909"/>
                  <a:pt x="2509" y="909"/>
                  <a:pt x="2509" y="909"/>
                </a:cubicBezTo>
                <a:cubicBezTo>
                  <a:pt x="2511" y="910"/>
                  <a:pt x="2511" y="910"/>
                  <a:pt x="2511" y="910"/>
                </a:cubicBezTo>
                <a:cubicBezTo>
                  <a:pt x="2509" y="911"/>
                  <a:pt x="2509" y="911"/>
                  <a:pt x="2509" y="911"/>
                </a:cubicBezTo>
                <a:cubicBezTo>
                  <a:pt x="2510" y="914"/>
                  <a:pt x="2510" y="914"/>
                  <a:pt x="2510" y="914"/>
                </a:cubicBezTo>
                <a:cubicBezTo>
                  <a:pt x="2510" y="915"/>
                  <a:pt x="2510" y="915"/>
                  <a:pt x="2510" y="915"/>
                </a:cubicBezTo>
                <a:cubicBezTo>
                  <a:pt x="2509" y="916"/>
                  <a:pt x="2509" y="916"/>
                  <a:pt x="2509" y="916"/>
                </a:cubicBezTo>
                <a:cubicBezTo>
                  <a:pt x="2509" y="918"/>
                  <a:pt x="2509" y="918"/>
                  <a:pt x="2509" y="918"/>
                </a:cubicBezTo>
                <a:cubicBezTo>
                  <a:pt x="2509" y="919"/>
                  <a:pt x="2509" y="919"/>
                  <a:pt x="2509" y="919"/>
                </a:cubicBezTo>
                <a:cubicBezTo>
                  <a:pt x="2509" y="921"/>
                  <a:pt x="2509" y="921"/>
                  <a:pt x="2509" y="921"/>
                </a:cubicBezTo>
                <a:cubicBezTo>
                  <a:pt x="2508" y="923"/>
                  <a:pt x="2508" y="923"/>
                  <a:pt x="2508" y="923"/>
                </a:cubicBezTo>
                <a:cubicBezTo>
                  <a:pt x="2507" y="923"/>
                  <a:pt x="2507" y="923"/>
                  <a:pt x="2507" y="923"/>
                </a:cubicBezTo>
                <a:cubicBezTo>
                  <a:pt x="2507" y="923"/>
                  <a:pt x="2507" y="923"/>
                  <a:pt x="2507" y="923"/>
                </a:cubicBezTo>
                <a:cubicBezTo>
                  <a:pt x="2507" y="924"/>
                  <a:pt x="2507" y="924"/>
                  <a:pt x="2507" y="924"/>
                </a:cubicBezTo>
                <a:cubicBezTo>
                  <a:pt x="2507" y="925"/>
                  <a:pt x="2507" y="925"/>
                  <a:pt x="2507" y="925"/>
                </a:cubicBezTo>
                <a:cubicBezTo>
                  <a:pt x="2507" y="928"/>
                  <a:pt x="2507" y="928"/>
                  <a:pt x="2507" y="928"/>
                </a:cubicBezTo>
                <a:cubicBezTo>
                  <a:pt x="2508" y="931"/>
                  <a:pt x="2508" y="931"/>
                  <a:pt x="2508" y="931"/>
                </a:cubicBezTo>
                <a:cubicBezTo>
                  <a:pt x="2509" y="928"/>
                  <a:pt x="2509" y="928"/>
                  <a:pt x="2509" y="928"/>
                </a:cubicBezTo>
                <a:cubicBezTo>
                  <a:pt x="2510" y="926"/>
                  <a:pt x="2510" y="926"/>
                  <a:pt x="2510" y="926"/>
                </a:cubicBezTo>
                <a:cubicBezTo>
                  <a:pt x="2510" y="926"/>
                  <a:pt x="2510" y="926"/>
                  <a:pt x="2510" y="926"/>
                </a:cubicBezTo>
                <a:cubicBezTo>
                  <a:pt x="2509" y="930"/>
                  <a:pt x="2509" y="930"/>
                  <a:pt x="2509" y="930"/>
                </a:cubicBezTo>
                <a:cubicBezTo>
                  <a:pt x="2510" y="930"/>
                  <a:pt x="2510" y="930"/>
                  <a:pt x="2510" y="930"/>
                </a:cubicBezTo>
                <a:cubicBezTo>
                  <a:pt x="2509" y="932"/>
                  <a:pt x="2509" y="932"/>
                  <a:pt x="2509" y="932"/>
                </a:cubicBezTo>
                <a:cubicBezTo>
                  <a:pt x="2509" y="933"/>
                  <a:pt x="2509" y="933"/>
                  <a:pt x="2509" y="933"/>
                </a:cubicBezTo>
                <a:cubicBezTo>
                  <a:pt x="2508" y="935"/>
                  <a:pt x="2508" y="935"/>
                  <a:pt x="2508" y="935"/>
                </a:cubicBezTo>
                <a:cubicBezTo>
                  <a:pt x="2509" y="935"/>
                  <a:pt x="2509" y="935"/>
                  <a:pt x="2509" y="935"/>
                </a:cubicBezTo>
                <a:cubicBezTo>
                  <a:pt x="2508" y="937"/>
                  <a:pt x="2508" y="937"/>
                  <a:pt x="2508" y="937"/>
                </a:cubicBezTo>
                <a:cubicBezTo>
                  <a:pt x="2507" y="936"/>
                  <a:pt x="2507" y="936"/>
                  <a:pt x="2507" y="936"/>
                </a:cubicBezTo>
                <a:cubicBezTo>
                  <a:pt x="2507" y="940"/>
                  <a:pt x="2507" y="940"/>
                  <a:pt x="2507" y="940"/>
                </a:cubicBezTo>
                <a:cubicBezTo>
                  <a:pt x="2506" y="941"/>
                  <a:pt x="2506" y="941"/>
                  <a:pt x="2506" y="941"/>
                </a:cubicBezTo>
                <a:cubicBezTo>
                  <a:pt x="2506" y="944"/>
                  <a:pt x="2506" y="944"/>
                  <a:pt x="2506" y="944"/>
                </a:cubicBezTo>
                <a:cubicBezTo>
                  <a:pt x="2506" y="945"/>
                  <a:pt x="2506" y="945"/>
                  <a:pt x="2506" y="945"/>
                </a:cubicBezTo>
                <a:cubicBezTo>
                  <a:pt x="2506" y="948"/>
                  <a:pt x="2506" y="948"/>
                  <a:pt x="2506" y="948"/>
                </a:cubicBezTo>
                <a:cubicBezTo>
                  <a:pt x="2507" y="949"/>
                  <a:pt x="2507" y="949"/>
                  <a:pt x="2507" y="949"/>
                </a:cubicBezTo>
                <a:cubicBezTo>
                  <a:pt x="2509" y="950"/>
                  <a:pt x="2509" y="950"/>
                  <a:pt x="2509" y="950"/>
                </a:cubicBezTo>
                <a:cubicBezTo>
                  <a:pt x="2509" y="948"/>
                  <a:pt x="2509" y="948"/>
                  <a:pt x="2509" y="948"/>
                </a:cubicBezTo>
                <a:cubicBezTo>
                  <a:pt x="2510" y="947"/>
                  <a:pt x="2510" y="947"/>
                  <a:pt x="2510" y="947"/>
                </a:cubicBezTo>
                <a:cubicBezTo>
                  <a:pt x="2510" y="948"/>
                  <a:pt x="2510" y="948"/>
                  <a:pt x="2510" y="948"/>
                </a:cubicBezTo>
                <a:cubicBezTo>
                  <a:pt x="2512" y="949"/>
                  <a:pt x="2512" y="949"/>
                  <a:pt x="2512" y="949"/>
                </a:cubicBezTo>
                <a:cubicBezTo>
                  <a:pt x="2512" y="950"/>
                  <a:pt x="2512" y="950"/>
                  <a:pt x="2512" y="950"/>
                </a:cubicBezTo>
                <a:cubicBezTo>
                  <a:pt x="2513" y="950"/>
                  <a:pt x="2513" y="950"/>
                  <a:pt x="2513" y="950"/>
                </a:cubicBezTo>
                <a:cubicBezTo>
                  <a:pt x="2515" y="954"/>
                  <a:pt x="2515" y="954"/>
                  <a:pt x="2515" y="954"/>
                </a:cubicBezTo>
                <a:cubicBezTo>
                  <a:pt x="2516" y="954"/>
                  <a:pt x="2516" y="954"/>
                  <a:pt x="2516" y="954"/>
                </a:cubicBezTo>
                <a:cubicBezTo>
                  <a:pt x="2518" y="957"/>
                  <a:pt x="2518" y="957"/>
                  <a:pt x="2518" y="957"/>
                </a:cubicBezTo>
                <a:cubicBezTo>
                  <a:pt x="2518" y="959"/>
                  <a:pt x="2518" y="959"/>
                  <a:pt x="2518" y="959"/>
                </a:cubicBezTo>
                <a:cubicBezTo>
                  <a:pt x="2520" y="959"/>
                  <a:pt x="2520" y="959"/>
                  <a:pt x="2520" y="959"/>
                </a:cubicBezTo>
                <a:cubicBezTo>
                  <a:pt x="2521" y="961"/>
                  <a:pt x="2521" y="961"/>
                  <a:pt x="2521" y="961"/>
                </a:cubicBezTo>
                <a:cubicBezTo>
                  <a:pt x="2522" y="961"/>
                  <a:pt x="2522" y="961"/>
                  <a:pt x="2522" y="961"/>
                </a:cubicBezTo>
                <a:cubicBezTo>
                  <a:pt x="2522" y="962"/>
                  <a:pt x="2522" y="962"/>
                  <a:pt x="2522" y="962"/>
                </a:cubicBezTo>
                <a:cubicBezTo>
                  <a:pt x="2521" y="963"/>
                  <a:pt x="2521" y="963"/>
                  <a:pt x="2521" y="963"/>
                </a:cubicBezTo>
                <a:cubicBezTo>
                  <a:pt x="2521" y="964"/>
                  <a:pt x="2521" y="964"/>
                  <a:pt x="2521" y="964"/>
                </a:cubicBezTo>
                <a:cubicBezTo>
                  <a:pt x="2526" y="967"/>
                  <a:pt x="2526" y="967"/>
                  <a:pt x="2526" y="967"/>
                </a:cubicBezTo>
                <a:cubicBezTo>
                  <a:pt x="2526" y="968"/>
                  <a:pt x="2526" y="968"/>
                  <a:pt x="2526" y="968"/>
                </a:cubicBezTo>
                <a:cubicBezTo>
                  <a:pt x="2529" y="972"/>
                  <a:pt x="2529" y="972"/>
                  <a:pt x="2529" y="972"/>
                </a:cubicBezTo>
                <a:cubicBezTo>
                  <a:pt x="2530" y="980"/>
                  <a:pt x="2530" y="980"/>
                  <a:pt x="2530" y="980"/>
                </a:cubicBezTo>
                <a:cubicBezTo>
                  <a:pt x="2531" y="983"/>
                  <a:pt x="2531" y="983"/>
                  <a:pt x="2531" y="983"/>
                </a:cubicBezTo>
                <a:cubicBezTo>
                  <a:pt x="2532" y="985"/>
                  <a:pt x="2532" y="985"/>
                  <a:pt x="2532" y="985"/>
                </a:cubicBezTo>
                <a:cubicBezTo>
                  <a:pt x="2532" y="988"/>
                  <a:pt x="2532" y="988"/>
                  <a:pt x="2532" y="988"/>
                </a:cubicBezTo>
                <a:cubicBezTo>
                  <a:pt x="2531" y="989"/>
                  <a:pt x="2531" y="989"/>
                  <a:pt x="2531" y="989"/>
                </a:cubicBezTo>
                <a:cubicBezTo>
                  <a:pt x="2531" y="991"/>
                  <a:pt x="2531" y="991"/>
                  <a:pt x="2531" y="991"/>
                </a:cubicBezTo>
                <a:cubicBezTo>
                  <a:pt x="2533" y="993"/>
                  <a:pt x="2533" y="993"/>
                  <a:pt x="2533" y="993"/>
                </a:cubicBezTo>
                <a:cubicBezTo>
                  <a:pt x="2532" y="994"/>
                  <a:pt x="2532" y="994"/>
                  <a:pt x="2532" y="994"/>
                </a:cubicBezTo>
                <a:cubicBezTo>
                  <a:pt x="2533" y="995"/>
                  <a:pt x="2533" y="995"/>
                  <a:pt x="2533" y="995"/>
                </a:cubicBezTo>
                <a:cubicBezTo>
                  <a:pt x="2536" y="997"/>
                  <a:pt x="2536" y="997"/>
                  <a:pt x="2536" y="997"/>
                </a:cubicBezTo>
                <a:cubicBezTo>
                  <a:pt x="2538" y="1000"/>
                  <a:pt x="2538" y="1000"/>
                  <a:pt x="2538" y="1000"/>
                </a:cubicBezTo>
                <a:cubicBezTo>
                  <a:pt x="2540" y="1001"/>
                  <a:pt x="2540" y="1001"/>
                  <a:pt x="2540" y="1001"/>
                </a:cubicBezTo>
                <a:cubicBezTo>
                  <a:pt x="2541" y="1003"/>
                  <a:pt x="2541" y="1003"/>
                  <a:pt x="2541" y="1003"/>
                </a:cubicBezTo>
                <a:cubicBezTo>
                  <a:pt x="2539" y="1004"/>
                  <a:pt x="2539" y="1004"/>
                  <a:pt x="2539" y="1004"/>
                </a:cubicBezTo>
                <a:cubicBezTo>
                  <a:pt x="2539" y="1005"/>
                  <a:pt x="2539" y="1005"/>
                  <a:pt x="2539" y="1005"/>
                </a:cubicBezTo>
                <a:cubicBezTo>
                  <a:pt x="2541" y="1007"/>
                  <a:pt x="2541" y="1007"/>
                  <a:pt x="2541" y="1007"/>
                </a:cubicBezTo>
                <a:cubicBezTo>
                  <a:pt x="2544" y="1008"/>
                  <a:pt x="2544" y="1008"/>
                  <a:pt x="2544" y="1008"/>
                </a:cubicBezTo>
                <a:cubicBezTo>
                  <a:pt x="2547" y="1010"/>
                  <a:pt x="2547" y="1010"/>
                  <a:pt x="2547" y="1010"/>
                </a:cubicBezTo>
                <a:cubicBezTo>
                  <a:pt x="2547" y="1012"/>
                  <a:pt x="2547" y="1012"/>
                  <a:pt x="2547" y="1012"/>
                </a:cubicBezTo>
                <a:cubicBezTo>
                  <a:pt x="2549" y="1015"/>
                  <a:pt x="2549" y="1015"/>
                  <a:pt x="2549" y="1015"/>
                </a:cubicBezTo>
                <a:cubicBezTo>
                  <a:pt x="2551" y="1015"/>
                  <a:pt x="2551" y="1015"/>
                  <a:pt x="2551" y="1015"/>
                </a:cubicBezTo>
                <a:cubicBezTo>
                  <a:pt x="2552" y="1015"/>
                  <a:pt x="2552" y="1015"/>
                  <a:pt x="2552" y="1015"/>
                </a:cubicBezTo>
                <a:cubicBezTo>
                  <a:pt x="2553" y="1016"/>
                  <a:pt x="2553" y="1016"/>
                  <a:pt x="2553" y="1016"/>
                </a:cubicBezTo>
                <a:cubicBezTo>
                  <a:pt x="2555" y="1017"/>
                  <a:pt x="2555" y="1017"/>
                  <a:pt x="2555" y="1017"/>
                </a:cubicBezTo>
                <a:cubicBezTo>
                  <a:pt x="2558" y="1019"/>
                  <a:pt x="2558" y="1019"/>
                  <a:pt x="2558" y="1019"/>
                </a:cubicBezTo>
                <a:cubicBezTo>
                  <a:pt x="2561" y="1019"/>
                  <a:pt x="2561" y="1019"/>
                  <a:pt x="2561" y="1019"/>
                </a:cubicBezTo>
                <a:cubicBezTo>
                  <a:pt x="2563" y="1021"/>
                  <a:pt x="2563" y="1021"/>
                  <a:pt x="2563" y="1021"/>
                </a:cubicBezTo>
                <a:cubicBezTo>
                  <a:pt x="2565" y="1022"/>
                  <a:pt x="2565" y="1022"/>
                  <a:pt x="2565" y="1022"/>
                </a:cubicBezTo>
                <a:cubicBezTo>
                  <a:pt x="2565" y="1021"/>
                  <a:pt x="2565" y="1021"/>
                  <a:pt x="2565" y="1021"/>
                </a:cubicBezTo>
                <a:cubicBezTo>
                  <a:pt x="2566" y="1022"/>
                  <a:pt x="2566" y="1022"/>
                  <a:pt x="2566" y="1022"/>
                </a:cubicBezTo>
                <a:cubicBezTo>
                  <a:pt x="2568" y="1021"/>
                  <a:pt x="2568" y="1021"/>
                  <a:pt x="2568" y="1021"/>
                </a:cubicBezTo>
                <a:cubicBezTo>
                  <a:pt x="2568" y="1021"/>
                  <a:pt x="2568" y="1021"/>
                  <a:pt x="2568" y="1021"/>
                </a:cubicBezTo>
                <a:cubicBezTo>
                  <a:pt x="2567" y="1020"/>
                  <a:pt x="2567" y="1020"/>
                  <a:pt x="2567" y="1020"/>
                </a:cubicBezTo>
                <a:cubicBezTo>
                  <a:pt x="2568" y="1020"/>
                  <a:pt x="2568" y="1020"/>
                  <a:pt x="2568" y="1020"/>
                </a:cubicBezTo>
                <a:cubicBezTo>
                  <a:pt x="2568" y="1019"/>
                  <a:pt x="2568" y="1019"/>
                  <a:pt x="2568" y="1019"/>
                </a:cubicBezTo>
                <a:cubicBezTo>
                  <a:pt x="2567" y="1018"/>
                  <a:pt x="2567" y="1018"/>
                  <a:pt x="2567" y="1018"/>
                </a:cubicBezTo>
                <a:cubicBezTo>
                  <a:pt x="2568" y="1019"/>
                  <a:pt x="2568" y="1019"/>
                  <a:pt x="2568" y="1019"/>
                </a:cubicBezTo>
                <a:cubicBezTo>
                  <a:pt x="2568" y="1020"/>
                  <a:pt x="2568" y="1020"/>
                  <a:pt x="2568" y="1020"/>
                </a:cubicBezTo>
                <a:cubicBezTo>
                  <a:pt x="2569" y="1021"/>
                  <a:pt x="2569" y="1021"/>
                  <a:pt x="2569" y="1021"/>
                </a:cubicBezTo>
                <a:cubicBezTo>
                  <a:pt x="2570" y="1021"/>
                  <a:pt x="2570" y="1021"/>
                  <a:pt x="2570" y="1021"/>
                </a:cubicBezTo>
                <a:cubicBezTo>
                  <a:pt x="2570" y="1019"/>
                  <a:pt x="2570" y="1019"/>
                  <a:pt x="2570" y="1019"/>
                </a:cubicBezTo>
                <a:cubicBezTo>
                  <a:pt x="2568" y="1015"/>
                  <a:pt x="2568" y="1015"/>
                  <a:pt x="2568" y="1015"/>
                </a:cubicBezTo>
                <a:cubicBezTo>
                  <a:pt x="2567" y="1014"/>
                  <a:pt x="2567" y="1014"/>
                  <a:pt x="2567" y="1014"/>
                </a:cubicBezTo>
                <a:cubicBezTo>
                  <a:pt x="2567" y="1014"/>
                  <a:pt x="2567" y="1014"/>
                  <a:pt x="2567" y="1014"/>
                </a:cubicBezTo>
                <a:cubicBezTo>
                  <a:pt x="2567" y="1013"/>
                  <a:pt x="2567" y="1013"/>
                  <a:pt x="2567" y="1013"/>
                </a:cubicBezTo>
                <a:cubicBezTo>
                  <a:pt x="2566" y="1012"/>
                  <a:pt x="2566" y="1012"/>
                  <a:pt x="2566" y="1012"/>
                </a:cubicBezTo>
                <a:cubicBezTo>
                  <a:pt x="2566" y="1009"/>
                  <a:pt x="2566" y="1009"/>
                  <a:pt x="2566" y="1009"/>
                </a:cubicBezTo>
                <a:cubicBezTo>
                  <a:pt x="2566" y="1009"/>
                  <a:pt x="2566" y="1009"/>
                  <a:pt x="2566" y="1009"/>
                </a:cubicBezTo>
                <a:cubicBezTo>
                  <a:pt x="2566" y="1008"/>
                  <a:pt x="2566" y="1008"/>
                  <a:pt x="2566" y="1008"/>
                </a:cubicBezTo>
                <a:cubicBezTo>
                  <a:pt x="2564" y="1008"/>
                  <a:pt x="2564" y="1008"/>
                  <a:pt x="2564" y="1008"/>
                </a:cubicBezTo>
                <a:cubicBezTo>
                  <a:pt x="2562" y="1006"/>
                  <a:pt x="2562" y="1006"/>
                  <a:pt x="2562" y="1006"/>
                </a:cubicBezTo>
                <a:cubicBezTo>
                  <a:pt x="2561" y="1003"/>
                  <a:pt x="2561" y="1003"/>
                  <a:pt x="2561" y="1003"/>
                </a:cubicBezTo>
                <a:cubicBezTo>
                  <a:pt x="2561" y="998"/>
                  <a:pt x="2561" y="998"/>
                  <a:pt x="2561" y="998"/>
                </a:cubicBezTo>
                <a:cubicBezTo>
                  <a:pt x="2560" y="997"/>
                  <a:pt x="2560" y="997"/>
                  <a:pt x="2560" y="997"/>
                </a:cubicBezTo>
                <a:cubicBezTo>
                  <a:pt x="2560" y="995"/>
                  <a:pt x="2560" y="995"/>
                  <a:pt x="2560" y="995"/>
                </a:cubicBezTo>
                <a:cubicBezTo>
                  <a:pt x="2560" y="994"/>
                  <a:pt x="2560" y="994"/>
                  <a:pt x="2560" y="994"/>
                </a:cubicBezTo>
                <a:cubicBezTo>
                  <a:pt x="2560" y="989"/>
                  <a:pt x="2560" y="989"/>
                  <a:pt x="2560" y="989"/>
                </a:cubicBezTo>
                <a:cubicBezTo>
                  <a:pt x="2561" y="988"/>
                  <a:pt x="2561" y="988"/>
                  <a:pt x="2561" y="988"/>
                </a:cubicBezTo>
                <a:cubicBezTo>
                  <a:pt x="2560" y="984"/>
                  <a:pt x="2560" y="984"/>
                  <a:pt x="2560" y="984"/>
                </a:cubicBezTo>
                <a:cubicBezTo>
                  <a:pt x="2558" y="980"/>
                  <a:pt x="2558" y="980"/>
                  <a:pt x="2558" y="980"/>
                </a:cubicBezTo>
                <a:cubicBezTo>
                  <a:pt x="2550" y="973"/>
                  <a:pt x="2550" y="973"/>
                  <a:pt x="2550" y="973"/>
                </a:cubicBezTo>
                <a:cubicBezTo>
                  <a:pt x="2549" y="970"/>
                  <a:pt x="2549" y="970"/>
                  <a:pt x="2549" y="970"/>
                </a:cubicBezTo>
                <a:cubicBezTo>
                  <a:pt x="2548" y="970"/>
                  <a:pt x="2548" y="970"/>
                  <a:pt x="2548" y="970"/>
                </a:cubicBezTo>
                <a:cubicBezTo>
                  <a:pt x="2547" y="971"/>
                  <a:pt x="2547" y="971"/>
                  <a:pt x="2547" y="971"/>
                </a:cubicBezTo>
                <a:cubicBezTo>
                  <a:pt x="2546" y="971"/>
                  <a:pt x="2546" y="971"/>
                  <a:pt x="2546" y="971"/>
                </a:cubicBezTo>
                <a:cubicBezTo>
                  <a:pt x="2546" y="971"/>
                  <a:pt x="2546" y="971"/>
                  <a:pt x="2546" y="971"/>
                </a:cubicBezTo>
                <a:cubicBezTo>
                  <a:pt x="2545" y="970"/>
                  <a:pt x="2545" y="970"/>
                  <a:pt x="2545" y="970"/>
                </a:cubicBezTo>
                <a:cubicBezTo>
                  <a:pt x="2543" y="969"/>
                  <a:pt x="2543" y="969"/>
                  <a:pt x="2543" y="969"/>
                </a:cubicBezTo>
                <a:cubicBezTo>
                  <a:pt x="2542" y="968"/>
                  <a:pt x="2542" y="968"/>
                  <a:pt x="2542" y="968"/>
                </a:cubicBezTo>
                <a:cubicBezTo>
                  <a:pt x="2541" y="965"/>
                  <a:pt x="2541" y="965"/>
                  <a:pt x="2541" y="965"/>
                </a:cubicBezTo>
                <a:cubicBezTo>
                  <a:pt x="2539" y="964"/>
                  <a:pt x="2539" y="964"/>
                  <a:pt x="2539" y="964"/>
                </a:cubicBezTo>
                <a:cubicBezTo>
                  <a:pt x="2537" y="964"/>
                  <a:pt x="2537" y="964"/>
                  <a:pt x="2537" y="964"/>
                </a:cubicBezTo>
                <a:cubicBezTo>
                  <a:pt x="2536" y="964"/>
                  <a:pt x="2536" y="964"/>
                  <a:pt x="2536" y="964"/>
                </a:cubicBezTo>
                <a:cubicBezTo>
                  <a:pt x="2535" y="963"/>
                  <a:pt x="2535" y="963"/>
                  <a:pt x="2535" y="963"/>
                </a:cubicBezTo>
                <a:cubicBezTo>
                  <a:pt x="2532" y="961"/>
                  <a:pt x="2532" y="961"/>
                  <a:pt x="2532" y="961"/>
                </a:cubicBezTo>
                <a:cubicBezTo>
                  <a:pt x="2531" y="959"/>
                  <a:pt x="2531" y="959"/>
                  <a:pt x="2531" y="959"/>
                </a:cubicBezTo>
                <a:cubicBezTo>
                  <a:pt x="2531" y="958"/>
                  <a:pt x="2531" y="958"/>
                  <a:pt x="2531" y="958"/>
                </a:cubicBezTo>
                <a:cubicBezTo>
                  <a:pt x="2530" y="957"/>
                  <a:pt x="2530" y="957"/>
                  <a:pt x="2530" y="957"/>
                </a:cubicBezTo>
                <a:cubicBezTo>
                  <a:pt x="2530" y="959"/>
                  <a:pt x="2530" y="959"/>
                  <a:pt x="2530" y="959"/>
                </a:cubicBezTo>
                <a:cubicBezTo>
                  <a:pt x="2527" y="958"/>
                  <a:pt x="2527" y="958"/>
                  <a:pt x="2527" y="958"/>
                </a:cubicBezTo>
                <a:cubicBezTo>
                  <a:pt x="2527" y="956"/>
                  <a:pt x="2527" y="956"/>
                  <a:pt x="2527" y="956"/>
                </a:cubicBezTo>
                <a:cubicBezTo>
                  <a:pt x="2529" y="955"/>
                  <a:pt x="2529" y="955"/>
                  <a:pt x="2529" y="955"/>
                </a:cubicBezTo>
                <a:cubicBezTo>
                  <a:pt x="2529" y="956"/>
                  <a:pt x="2529" y="956"/>
                  <a:pt x="2529" y="956"/>
                </a:cubicBezTo>
                <a:cubicBezTo>
                  <a:pt x="2529" y="955"/>
                  <a:pt x="2529" y="955"/>
                  <a:pt x="2529" y="955"/>
                </a:cubicBezTo>
                <a:cubicBezTo>
                  <a:pt x="2530" y="954"/>
                  <a:pt x="2530" y="954"/>
                  <a:pt x="2530" y="954"/>
                </a:cubicBezTo>
                <a:cubicBezTo>
                  <a:pt x="2529" y="950"/>
                  <a:pt x="2529" y="950"/>
                  <a:pt x="2529" y="950"/>
                </a:cubicBezTo>
                <a:cubicBezTo>
                  <a:pt x="2528" y="950"/>
                  <a:pt x="2528" y="950"/>
                  <a:pt x="2528" y="950"/>
                </a:cubicBezTo>
                <a:cubicBezTo>
                  <a:pt x="2528" y="948"/>
                  <a:pt x="2528" y="948"/>
                  <a:pt x="2528" y="948"/>
                </a:cubicBezTo>
                <a:cubicBezTo>
                  <a:pt x="2527" y="946"/>
                  <a:pt x="2527" y="946"/>
                  <a:pt x="2527" y="946"/>
                </a:cubicBezTo>
                <a:cubicBezTo>
                  <a:pt x="2526" y="945"/>
                  <a:pt x="2526" y="945"/>
                  <a:pt x="2526" y="945"/>
                </a:cubicBezTo>
                <a:cubicBezTo>
                  <a:pt x="2526" y="946"/>
                  <a:pt x="2526" y="946"/>
                  <a:pt x="2526" y="946"/>
                </a:cubicBezTo>
                <a:cubicBezTo>
                  <a:pt x="2526" y="947"/>
                  <a:pt x="2526" y="947"/>
                  <a:pt x="2526" y="947"/>
                </a:cubicBezTo>
                <a:cubicBezTo>
                  <a:pt x="2525" y="947"/>
                  <a:pt x="2525" y="947"/>
                  <a:pt x="2525" y="947"/>
                </a:cubicBezTo>
                <a:cubicBezTo>
                  <a:pt x="2524" y="945"/>
                  <a:pt x="2524" y="945"/>
                  <a:pt x="2524" y="945"/>
                </a:cubicBezTo>
                <a:cubicBezTo>
                  <a:pt x="2523" y="944"/>
                  <a:pt x="2523" y="944"/>
                  <a:pt x="2523" y="944"/>
                </a:cubicBezTo>
                <a:cubicBezTo>
                  <a:pt x="2523" y="942"/>
                  <a:pt x="2523" y="942"/>
                  <a:pt x="2523" y="942"/>
                </a:cubicBezTo>
                <a:cubicBezTo>
                  <a:pt x="2522" y="941"/>
                  <a:pt x="2522" y="941"/>
                  <a:pt x="2522" y="941"/>
                </a:cubicBezTo>
                <a:cubicBezTo>
                  <a:pt x="2522" y="939"/>
                  <a:pt x="2522" y="939"/>
                  <a:pt x="2522" y="939"/>
                </a:cubicBezTo>
                <a:cubicBezTo>
                  <a:pt x="2521" y="938"/>
                  <a:pt x="2521" y="938"/>
                  <a:pt x="2521" y="938"/>
                </a:cubicBezTo>
                <a:cubicBezTo>
                  <a:pt x="2520" y="938"/>
                  <a:pt x="2520" y="938"/>
                  <a:pt x="2520" y="938"/>
                </a:cubicBezTo>
                <a:cubicBezTo>
                  <a:pt x="2519" y="937"/>
                  <a:pt x="2519" y="937"/>
                  <a:pt x="2519" y="937"/>
                </a:cubicBezTo>
                <a:cubicBezTo>
                  <a:pt x="2518" y="938"/>
                  <a:pt x="2518" y="938"/>
                  <a:pt x="2518" y="938"/>
                </a:cubicBezTo>
                <a:cubicBezTo>
                  <a:pt x="2518" y="939"/>
                  <a:pt x="2518" y="939"/>
                  <a:pt x="2518" y="939"/>
                </a:cubicBezTo>
                <a:cubicBezTo>
                  <a:pt x="2517" y="939"/>
                  <a:pt x="2517" y="939"/>
                  <a:pt x="2517" y="939"/>
                </a:cubicBezTo>
                <a:cubicBezTo>
                  <a:pt x="2516" y="939"/>
                  <a:pt x="2516" y="939"/>
                  <a:pt x="2516" y="939"/>
                </a:cubicBezTo>
                <a:cubicBezTo>
                  <a:pt x="2517" y="937"/>
                  <a:pt x="2517" y="937"/>
                  <a:pt x="2517" y="937"/>
                </a:cubicBezTo>
                <a:cubicBezTo>
                  <a:pt x="2515" y="934"/>
                  <a:pt x="2515" y="934"/>
                  <a:pt x="2515" y="934"/>
                </a:cubicBezTo>
                <a:cubicBezTo>
                  <a:pt x="2515" y="933"/>
                  <a:pt x="2515" y="933"/>
                  <a:pt x="2515" y="933"/>
                </a:cubicBezTo>
                <a:cubicBezTo>
                  <a:pt x="2515" y="930"/>
                  <a:pt x="2515" y="930"/>
                  <a:pt x="2515" y="930"/>
                </a:cubicBezTo>
                <a:cubicBezTo>
                  <a:pt x="2515" y="930"/>
                  <a:pt x="2515" y="930"/>
                  <a:pt x="2515" y="930"/>
                </a:cubicBezTo>
                <a:cubicBezTo>
                  <a:pt x="2516" y="928"/>
                  <a:pt x="2516" y="928"/>
                  <a:pt x="2516" y="928"/>
                </a:cubicBezTo>
                <a:cubicBezTo>
                  <a:pt x="2515" y="928"/>
                  <a:pt x="2515" y="928"/>
                  <a:pt x="2515" y="928"/>
                </a:cubicBezTo>
                <a:cubicBezTo>
                  <a:pt x="2514" y="928"/>
                  <a:pt x="2514" y="928"/>
                  <a:pt x="2514" y="928"/>
                </a:cubicBezTo>
                <a:cubicBezTo>
                  <a:pt x="2515" y="926"/>
                  <a:pt x="2515" y="926"/>
                  <a:pt x="2515" y="926"/>
                </a:cubicBezTo>
                <a:cubicBezTo>
                  <a:pt x="2515" y="923"/>
                  <a:pt x="2515" y="923"/>
                  <a:pt x="2515" y="923"/>
                </a:cubicBezTo>
                <a:cubicBezTo>
                  <a:pt x="2518" y="920"/>
                  <a:pt x="2518" y="920"/>
                  <a:pt x="2518" y="920"/>
                </a:cubicBezTo>
                <a:cubicBezTo>
                  <a:pt x="2518" y="913"/>
                  <a:pt x="2518" y="913"/>
                  <a:pt x="2518" y="913"/>
                </a:cubicBezTo>
                <a:cubicBezTo>
                  <a:pt x="2520" y="911"/>
                  <a:pt x="2520" y="911"/>
                  <a:pt x="2520" y="911"/>
                </a:cubicBezTo>
                <a:cubicBezTo>
                  <a:pt x="2520" y="908"/>
                  <a:pt x="2520" y="908"/>
                  <a:pt x="2520" y="908"/>
                </a:cubicBezTo>
                <a:cubicBezTo>
                  <a:pt x="2521" y="907"/>
                  <a:pt x="2521" y="907"/>
                  <a:pt x="2521" y="907"/>
                </a:cubicBezTo>
                <a:cubicBezTo>
                  <a:pt x="2522" y="904"/>
                  <a:pt x="2522" y="904"/>
                  <a:pt x="2522" y="904"/>
                </a:cubicBezTo>
                <a:cubicBezTo>
                  <a:pt x="2521" y="903"/>
                  <a:pt x="2521" y="903"/>
                  <a:pt x="2521" y="903"/>
                </a:cubicBezTo>
                <a:cubicBezTo>
                  <a:pt x="2521" y="902"/>
                  <a:pt x="2521" y="902"/>
                  <a:pt x="2521" y="902"/>
                </a:cubicBezTo>
                <a:cubicBezTo>
                  <a:pt x="2521" y="900"/>
                  <a:pt x="2521" y="900"/>
                  <a:pt x="2521" y="900"/>
                </a:cubicBezTo>
                <a:cubicBezTo>
                  <a:pt x="2522" y="898"/>
                  <a:pt x="2522" y="898"/>
                  <a:pt x="2522" y="898"/>
                </a:cubicBezTo>
                <a:cubicBezTo>
                  <a:pt x="2522" y="896"/>
                  <a:pt x="2522" y="896"/>
                  <a:pt x="2522" y="896"/>
                </a:cubicBezTo>
                <a:cubicBezTo>
                  <a:pt x="2520" y="895"/>
                  <a:pt x="2520" y="895"/>
                  <a:pt x="2520" y="895"/>
                </a:cubicBezTo>
                <a:cubicBezTo>
                  <a:pt x="2521" y="894"/>
                  <a:pt x="2521" y="894"/>
                  <a:pt x="2521" y="894"/>
                </a:cubicBezTo>
                <a:cubicBezTo>
                  <a:pt x="2521" y="893"/>
                  <a:pt x="2521" y="893"/>
                  <a:pt x="2521" y="893"/>
                </a:cubicBezTo>
                <a:cubicBezTo>
                  <a:pt x="2521" y="894"/>
                  <a:pt x="2521" y="894"/>
                  <a:pt x="2521" y="894"/>
                </a:cubicBezTo>
                <a:cubicBezTo>
                  <a:pt x="2522" y="894"/>
                  <a:pt x="2522" y="894"/>
                  <a:pt x="2522" y="894"/>
                </a:cubicBezTo>
                <a:cubicBezTo>
                  <a:pt x="2523" y="893"/>
                  <a:pt x="2523" y="893"/>
                  <a:pt x="2523" y="893"/>
                </a:cubicBezTo>
                <a:cubicBezTo>
                  <a:pt x="2524" y="894"/>
                  <a:pt x="2524" y="894"/>
                  <a:pt x="2524" y="894"/>
                </a:cubicBezTo>
                <a:cubicBezTo>
                  <a:pt x="2525" y="893"/>
                  <a:pt x="2525" y="893"/>
                  <a:pt x="2525" y="893"/>
                </a:cubicBezTo>
                <a:cubicBezTo>
                  <a:pt x="2527" y="893"/>
                  <a:pt x="2527" y="893"/>
                  <a:pt x="2527" y="893"/>
                </a:cubicBezTo>
                <a:cubicBezTo>
                  <a:pt x="2527" y="893"/>
                  <a:pt x="2527" y="893"/>
                  <a:pt x="2527" y="893"/>
                </a:cubicBezTo>
                <a:cubicBezTo>
                  <a:pt x="2528" y="893"/>
                  <a:pt x="2528" y="893"/>
                  <a:pt x="2528" y="893"/>
                </a:cubicBezTo>
                <a:cubicBezTo>
                  <a:pt x="2528" y="893"/>
                  <a:pt x="2528" y="893"/>
                  <a:pt x="2528" y="893"/>
                </a:cubicBezTo>
                <a:cubicBezTo>
                  <a:pt x="2530" y="894"/>
                  <a:pt x="2530" y="894"/>
                  <a:pt x="2530" y="894"/>
                </a:cubicBezTo>
                <a:cubicBezTo>
                  <a:pt x="2531" y="895"/>
                  <a:pt x="2531" y="895"/>
                  <a:pt x="2531" y="895"/>
                </a:cubicBezTo>
                <a:cubicBezTo>
                  <a:pt x="2530" y="896"/>
                  <a:pt x="2530" y="896"/>
                  <a:pt x="2530" y="896"/>
                </a:cubicBezTo>
                <a:cubicBezTo>
                  <a:pt x="2530" y="898"/>
                  <a:pt x="2530" y="898"/>
                  <a:pt x="2530" y="898"/>
                </a:cubicBezTo>
                <a:cubicBezTo>
                  <a:pt x="2531" y="900"/>
                  <a:pt x="2531" y="900"/>
                  <a:pt x="2531" y="900"/>
                </a:cubicBezTo>
                <a:cubicBezTo>
                  <a:pt x="2530" y="901"/>
                  <a:pt x="2530" y="901"/>
                  <a:pt x="2530" y="901"/>
                </a:cubicBezTo>
                <a:cubicBezTo>
                  <a:pt x="2530" y="902"/>
                  <a:pt x="2530" y="902"/>
                  <a:pt x="2530" y="902"/>
                </a:cubicBezTo>
                <a:cubicBezTo>
                  <a:pt x="2531" y="902"/>
                  <a:pt x="2531" y="902"/>
                  <a:pt x="2531" y="902"/>
                </a:cubicBezTo>
                <a:cubicBezTo>
                  <a:pt x="2533" y="903"/>
                  <a:pt x="2533" y="903"/>
                  <a:pt x="2533" y="903"/>
                </a:cubicBezTo>
                <a:cubicBezTo>
                  <a:pt x="2535" y="902"/>
                  <a:pt x="2535" y="902"/>
                  <a:pt x="2535" y="902"/>
                </a:cubicBezTo>
                <a:cubicBezTo>
                  <a:pt x="2537" y="903"/>
                  <a:pt x="2537" y="903"/>
                  <a:pt x="2537" y="903"/>
                </a:cubicBezTo>
                <a:cubicBezTo>
                  <a:pt x="2538" y="903"/>
                  <a:pt x="2538" y="903"/>
                  <a:pt x="2538" y="903"/>
                </a:cubicBezTo>
                <a:cubicBezTo>
                  <a:pt x="2538" y="903"/>
                  <a:pt x="2538" y="903"/>
                  <a:pt x="2538" y="903"/>
                </a:cubicBezTo>
                <a:cubicBezTo>
                  <a:pt x="2538" y="902"/>
                  <a:pt x="2538" y="902"/>
                  <a:pt x="2538" y="902"/>
                </a:cubicBezTo>
                <a:cubicBezTo>
                  <a:pt x="2539" y="901"/>
                  <a:pt x="2539" y="901"/>
                  <a:pt x="2539" y="901"/>
                </a:cubicBezTo>
                <a:cubicBezTo>
                  <a:pt x="2540" y="902"/>
                  <a:pt x="2540" y="902"/>
                  <a:pt x="2540" y="902"/>
                </a:cubicBezTo>
                <a:cubicBezTo>
                  <a:pt x="2543" y="905"/>
                  <a:pt x="2543" y="905"/>
                  <a:pt x="2543" y="905"/>
                </a:cubicBezTo>
                <a:cubicBezTo>
                  <a:pt x="2544" y="905"/>
                  <a:pt x="2544" y="905"/>
                  <a:pt x="2544" y="905"/>
                </a:cubicBezTo>
                <a:cubicBezTo>
                  <a:pt x="2544" y="906"/>
                  <a:pt x="2544" y="906"/>
                  <a:pt x="2544" y="906"/>
                </a:cubicBezTo>
                <a:cubicBezTo>
                  <a:pt x="2545" y="906"/>
                  <a:pt x="2545" y="906"/>
                  <a:pt x="2545" y="906"/>
                </a:cubicBezTo>
                <a:cubicBezTo>
                  <a:pt x="2547" y="908"/>
                  <a:pt x="2547" y="908"/>
                  <a:pt x="2547" y="908"/>
                </a:cubicBezTo>
                <a:cubicBezTo>
                  <a:pt x="2547" y="908"/>
                  <a:pt x="2547" y="908"/>
                  <a:pt x="2547" y="908"/>
                </a:cubicBezTo>
                <a:cubicBezTo>
                  <a:pt x="2548" y="908"/>
                  <a:pt x="2548" y="908"/>
                  <a:pt x="2548" y="908"/>
                </a:cubicBezTo>
                <a:cubicBezTo>
                  <a:pt x="2548" y="907"/>
                  <a:pt x="2548" y="907"/>
                  <a:pt x="2548" y="907"/>
                </a:cubicBezTo>
                <a:cubicBezTo>
                  <a:pt x="2549" y="907"/>
                  <a:pt x="2549" y="907"/>
                  <a:pt x="2549" y="907"/>
                </a:cubicBezTo>
                <a:cubicBezTo>
                  <a:pt x="2549" y="907"/>
                  <a:pt x="2549" y="907"/>
                  <a:pt x="2549" y="907"/>
                </a:cubicBezTo>
                <a:cubicBezTo>
                  <a:pt x="2550" y="909"/>
                  <a:pt x="2550" y="909"/>
                  <a:pt x="2550" y="909"/>
                </a:cubicBezTo>
                <a:cubicBezTo>
                  <a:pt x="2550" y="910"/>
                  <a:pt x="2550" y="910"/>
                  <a:pt x="2550" y="910"/>
                </a:cubicBezTo>
                <a:cubicBezTo>
                  <a:pt x="2552" y="912"/>
                  <a:pt x="2552" y="912"/>
                  <a:pt x="2552" y="912"/>
                </a:cubicBezTo>
                <a:cubicBezTo>
                  <a:pt x="2552" y="914"/>
                  <a:pt x="2552" y="914"/>
                  <a:pt x="2552" y="914"/>
                </a:cubicBezTo>
                <a:cubicBezTo>
                  <a:pt x="2553" y="916"/>
                  <a:pt x="2553" y="916"/>
                  <a:pt x="2553" y="916"/>
                </a:cubicBezTo>
                <a:cubicBezTo>
                  <a:pt x="2554" y="915"/>
                  <a:pt x="2554" y="915"/>
                  <a:pt x="2554" y="915"/>
                </a:cubicBezTo>
                <a:cubicBezTo>
                  <a:pt x="2555" y="917"/>
                  <a:pt x="2555" y="917"/>
                  <a:pt x="2555" y="917"/>
                </a:cubicBezTo>
                <a:cubicBezTo>
                  <a:pt x="2554" y="918"/>
                  <a:pt x="2554" y="918"/>
                  <a:pt x="2554" y="918"/>
                </a:cubicBezTo>
                <a:cubicBezTo>
                  <a:pt x="2555" y="920"/>
                  <a:pt x="2555" y="920"/>
                  <a:pt x="2555" y="920"/>
                </a:cubicBezTo>
                <a:cubicBezTo>
                  <a:pt x="2555" y="921"/>
                  <a:pt x="2555" y="921"/>
                  <a:pt x="2555" y="921"/>
                </a:cubicBezTo>
                <a:cubicBezTo>
                  <a:pt x="2557" y="921"/>
                  <a:pt x="2557" y="921"/>
                  <a:pt x="2557" y="921"/>
                </a:cubicBezTo>
                <a:cubicBezTo>
                  <a:pt x="2558" y="921"/>
                  <a:pt x="2558" y="921"/>
                  <a:pt x="2558" y="921"/>
                </a:cubicBezTo>
                <a:cubicBezTo>
                  <a:pt x="2558" y="919"/>
                  <a:pt x="2558" y="919"/>
                  <a:pt x="2558" y="919"/>
                </a:cubicBezTo>
                <a:cubicBezTo>
                  <a:pt x="2559" y="918"/>
                  <a:pt x="2559" y="918"/>
                  <a:pt x="2559" y="918"/>
                </a:cubicBezTo>
                <a:cubicBezTo>
                  <a:pt x="2560" y="918"/>
                  <a:pt x="2560" y="918"/>
                  <a:pt x="2560" y="918"/>
                </a:cubicBezTo>
                <a:cubicBezTo>
                  <a:pt x="2560" y="919"/>
                  <a:pt x="2560" y="919"/>
                  <a:pt x="2560" y="919"/>
                </a:cubicBezTo>
                <a:cubicBezTo>
                  <a:pt x="2561" y="920"/>
                  <a:pt x="2561" y="920"/>
                  <a:pt x="2561" y="920"/>
                </a:cubicBezTo>
                <a:cubicBezTo>
                  <a:pt x="2561" y="922"/>
                  <a:pt x="2561" y="922"/>
                  <a:pt x="2561" y="922"/>
                </a:cubicBezTo>
                <a:cubicBezTo>
                  <a:pt x="2560" y="923"/>
                  <a:pt x="2560" y="923"/>
                  <a:pt x="2560" y="923"/>
                </a:cubicBezTo>
                <a:cubicBezTo>
                  <a:pt x="2560" y="924"/>
                  <a:pt x="2560" y="924"/>
                  <a:pt x="2560" y="924"/>
                </a:cubicBezTo>
                <a:cubicBezTo>
                  <a:pt x="2560" y="925"/>
                  <a:pt x="2560" y="925"/>
                  <a:pt x="2560" y="925"/>
                </a:cubicBezTo>
                <a:cubicBezTo>
                  <a:pt x="2562" y="925"/>
                  <a:pt x="2562" y="925"/>
                  <a:pt x="2562" y="925"/>
                </a:cubicBezTo>
                <a:cubicBezTo>
                  <a:pt x="2563" y="923"/>
                  <a:pt x="2563" y="923"/>
                  <a:pt x="2563" y="923"/>
                </a:cubicBezTo>
                <a:cubicBezTo>
                  <a:pt x="2563" y="923"/>
                  <a:pt x="2563" y="923"/>
                  <a:pt x="2563" y="923"/>
                </a:cubicBezTo>
                <a:cubicBezTo>
                  <a:pt x="2565" y="924"/>
                  <a:pt x="2565" y="924"/>
                  <a:pt x="2565" y="924"/>
                </a:cubicBezTo>
                <a:cubicBezTo>
                  <a:pt x="2567" y="924"/>
                  <a:pt x="2567" y="924"/>
                  <a:pt x="2567" y="924"/>
                </a:cubicBezTo>
                <a:cubicBezTo>
                  <a:pt x="2567" y="924"/>
                  <a:pt x="2567" y="924"/>
                  <a:pt x="2567" y="924"/>
                </a:cubicBezTo>
                <a:cubicBezTo>
                  <a:pt x="2569" y="925"/>
                  <a:pt x="2569" y="925"/>
                  <a:pt x="2569" y="925"/>
                </a:cubicBezTo>
                <a:cubicBezTo>
                  <a:pt x="2569" y="926"/>
                  <a:pt x="2569" y="926"/>
                  <a:pt x="2569" y="926"/>
                </a:cubicBezTo>
                <a:cubicBezTo>
                  <a:pt x="2570" y="927"/>
                  <a:pt x="2570" y="927"/>
                  <a:pt x="2570" y="927"/>
                </a:cubicBezTo>
                <a:cubicBezTo>
                  <a:pt x="2569" y="928"/>
                  <a:pt x="2569" y="928"/>
                  <a:pt x="2569" y="928"/>
                </a:cubicBezTo>
                <a:cubicBezTo>
                  <a:pt x="2571" y="928"/>
                  <a:pt x="2571" y="928"/>
                  <a:pt x="2571" y="928"/>
                </a:cubicBezTo>
                <a:cubicBezTo>
                  <a:pt x="2572" y="928"/>
                  <a:pt x="2572" y="928"/>
                  <a:pt x="2572" y="928"/>
                </a:cubicBezTo>
                <a:cubicBezTo>
                  <a:pt x="2573" y="929"/>
                  <a:pt x="2573" y="929"/>
                  <a:pt x="2573" y="929"/>
                </a:cubicBezTo>
                <a:cubicBezTo>
                  <a:pt x="2575" y="928"/>
                  <a:pt x="2575" y="928"/>
                  <a:pt x="2575" y="928"/>
                </a:cubicBezTo>
                <a:cubicBezTo>
                  <a:pt x="2577" y="928"/>
                  <a:pt x="2577" y="928"/>
                  <a:pt x="2577" y="928"/>
                </a:cubicBezTo>
                <a:cubicBezTo>
                  <a:pt x="2578" y="928"/>
                  <a:pt x="2578" y="928"/>
                  <a:pt x="2578" y="928"/>
                </a:cubicBezTo>
                <a:cubicBezTo>
                  <a:pt x="2577" y="929"/>
                  <a:pt x="2577" y="929"/>
                  <a:pt x="2577" y="929"/>
                </a:cubicBezTo>
                <a:cubicBezTo>
                  <a:pt x="2575" y="931"/>
                  <a:pt x="2575" y="931"/>
                  <a:pt x="2575" y="931"/>
                </a:cubicBezTo>
                <a:cubicBezTo>
                  <a:pt x="2573" y="934"/>
                  <a:pt x="2573" y="934"/>
                  <a:pt x="2573" y="934"/>
                </a:cubicBezTo>
                <a:cubicBezTo>
                  <a:pt x="2573" y="937"/>
                  <a:pt x="2573" y="937"/>
                  <a:pt x="2573" y="937"/>
                </a:cubicBezTo>
                <a:cubicBezTo>
                  <a:pt x="2573" y="938"/>
                  <a:pt x="2573" y="938"/>
                  <a:pt x="2573" y="938"/>
                </a:cubicBezTo>
                <a:cubicBezTo>
                  <a:pt x="2573" y="938"/>
                  <a:pt x="2573" y="938"/>
                  <a:pt x="2573" y="938"/>
                </a:cubicBezTo>
                <a:cubicBezTo>
                  <a:pt x="2573" y="939"/>
                  <a:pt x="2573" y="939"/>
                  <a:pt x="2573" y="939"/>
                </a:cubicBezTo>
                <a:cubicBezTo>
                  <a:pt x="2573" y="942"/>
                  <a:pt x="2573" y="942"/>
                  <a:pt x="2573" y="942"/>
                </a:cubicBezTo>
                <a:cubicBezTo>
                  <a:pt x="2574" y="942"/>
                  <a:pt x="2574" y="942"/>
                  <a:pt x="2574" y="942"/>
                </a:cubicBezTo>
                <a:cubicBezTo>
                  <a:pt x="2575" y="942"/>
                  <a:pt x="2575" y="942"/>
                  <a:pt x="2575" y="942"/>
                </a:cubicBezTo>
                <a:cubicBezTo>
                  <a:pt x="2574" y="943"/>
                  <a:pt x="2574" y="943"/>
                  <a:pt x="2574" y="943"/>
                </a:cubicBezTo>
                <a:cubicBezTo>
                  <a:pt x="2573" y="944"/>
                  <a:pt x="2573" y="944"/>
                  <a:pt x="2573" y="944"/>
                </a:cubicBezTo>
                <a:cubicBezTo>
                  <a:pt x="2571" y="945"/>
                  <a:pt x="2571" y="945"/>
                  <a:pt x="2571" y="945"/>
                </a:cubicBezTo>
                <a:cubicBezTo>
                  <a:pt x="2573" y="945"/>
                  <a:pt x="2573" y="945"/>
                  <a:pt x="2573" y="945"/>
                </a:cubicBezTo>
                <a:cubicBezTo>
                  <a:pt x="2578" y="943"/>
                  <a:pt x="2578" y="943"/>
                  <a:pt x="2578" y="943"/>
                </a:cubicBezTo>
                <a:cubicBezTo>
                  <a:pt x="2578" y="943"/>
                  <a:pt x="2578" y="943"/>
                  <a:pt x="2578" y="943"/>
                </a:cubicBezTo>
                <a:cubicBezTo>
                  <a:pt x="2578" y="943"/>
                  <a:pt x="2578" y="943"/>
                  <a:pt x="2578" y="943"/>
                </a:cubicBezTo>
                <a:cubicBezTo>
                  <a:pt x="2580" y="942"/>
                  <a:pt x="2580" y="942"/>
                  <a:pt x="2580" y="942"/>
                </a:cubicBezTo>
                <a:cubicBezTo>
                  <a:pt x="2580" y="939"/>
                  <a:pt x="2580" y="939"/>
                  <a:pt x="2580" y="939"/>
                </a:cubicBezTo>
                <a:cubicBezTo>
                  <a:pt x="2580" y="938"/>
                  <a:pt x="2580" y="938"/>
                  <a:pt x="2580" y="938"/>
                </a:cubicBezTo>
                <a:cubicBezTo>
                  <a:pt x="2582" y="939"/>
                  <a:pt x="2582" y="939"/>
                  <a:pt x="2582" y="939"/>
                </a:cubicBezTo>
                <a:cubicBezTo>
                  <a:pt x="2582" y="938"/>
                  <a:pt x="2582" y="938"/>
                  <a:pt x="2582" y="938"/>
                </a:cubicBezTo>
                <a:cubicBezTo>
                  <a:pt x="2584" y="936"/>
                  <a:pt x="2584" y="936"/>
                  <a:pt x="2584" y="936"/>
                </a:cubicBezTo>
                <a:cubicBezTo>
                  <a:pt x="2585" y="936"/>
                  <a:pt x="2585" y="936"/>
                  <a:pt x="2585" y="936"/>
                </a:cubicBezTo>
                <a:cubicBezTo>
                  <a:pt x="2586" y="935"/>
                  <a:pt x="2586" y="935"/>
                  <a:pt x="2586" y="935"/>
                </a:cubicBezTo>
                <a:cubicBezTo>
                  <a:pt x="2587" y="935"/>
                  <a:pt x="2587" y="935"/>
                  <a:pt x="2587" y="935"/>
                </a:cubicBezTo>
                <a:cubicBezTo>
                  <a:pt x="2586" y="934"/>
                  <a:pt x="2586" y="934"/>
                  <a:pt x="2586" y="934"/>
                </a:cubicBezTo>
                <a:cubicBezTo>
                  <a:pt x="2586" y="934"/>
                  <a:pt x="2586" y="934"/>
                  <a:pt x="2586" y="934"/>
                </a:cubicBezTo>
                <a:cubicBezTo>
                  <a:pt x="2586" y="932"/>
                  <a:pt x="2586" y="932"/>
                  <a:pt x="2586" y="932"/>
                </a:cubicBezTo>
                <a:cubicBezTo>
                  <a:pt x="2587" y="932"/>
                  <a:pt x="2587" y="932"/>
                  <a:pt x="2587" y="932"/>
                </a:cubicBezTo>
                <a:cubicBezTo>
                  <a:pt x="2588" y="933"/>
                  <a:pt x="2588" y="933"/>
                  <a:pt x="2588" y="933"/>
                </a:cubicBezTo>
                <a:cubicBezTo>
                  <a:pt x="2589" y="934"/>
                  <a:pt x="2589" y="934"/>
                  <a:pt x="2589" y="934"/>
                </a:cubicBezTo>
                <a:cubicBezTo>
                  <a:pt x="2590" y="932"/>
                  <a:pt x="2590" y="932"/>
                  <a:pt x="2590" y="932"/>
                </a:cubicBezTo>
                <a:cubicBezTo>
                  <a:pt x="2590" y="931"/>
                  <a:pt x="2590" y="931"/>
                  <a:pt x="2590" y="931"/>
                </a:cubicBezTo>
                <a:cubicBezTo>
                  <a:pt x="2588" y="929"/>
                  <a:pt x="2588" y="929"/>
                  <a:pt x="2588" y="929"/>
                </a:cubicBezTo>
                <a:cubicBezTo>
                  <a:pt x="2590" y="931"/>
                  <a:pt x="2590" y="931"/>
                  <a:pt x="2590" y="931"/>
                </a:cubicBezTo>
                <a:cubicBezTo>
                  <a:pt x="2592" y="930"/>
                  <a:pt x="2592" y="930"/>
                  <a:pt x="2592" y="930"/>
                </a:cubicBezTo>
                <a:cubicBezTo>
                  <a:pt x="2591" y="929"/>
                  <a:pt x="2591" y="929"/>
                  <a:pt x="2591" y="929"/>
                </a:cubicBezTo>
                <a:cubicBezTo>
                  <a:pt x="2591" y="928"/>
                  <a:pt x="2591" y="928"/>
                  <a:pt x="2591" y="928"/>
                </a:cubicBezTo>
                <a:cubicBezTo>
                  <a:pt x="2589" y="927"/>
                  <a:pt x="2589" y="927"/>
                  <a:pt x="2589" y="927"/>
                </a:cubicBezTo>
                <a:cubicBezTo>
                  <a:pt x="2590" y="927"/>
                  <a:pt x="2590" y="927"/>
                  <a:pt x="2590" y="927"/>
                </a:cubicBezTo>
                <a:cubicBezTo>
                  <a:pt x="2591" y="926"/>
                  <a:pt x="2591" y="926"/>
                  <a:pt x="2591" y="926"/>
                </a:cubicBezTo>
                <a:cubicBezTo>
                  <a:pt x="2591" y="926"/>
                  <a:pt x="2591" y="926"/>
                  <a:pt x="2591" y="926"/>
                </a:cubicBezTo>
                <a:cubicBezTo>
                  <a:pt x="2590" y="925"/>
                  <a:pt x="2590" y="925"/>
                  <a:pt x="2590" y="925"/>
                </a:cubicBezTo>
                <a:cubicBezTo>
                  <a:pt x="2591" y="925"/>
                  <a:pt x="2591" y="925"/>
                  <a:pt x="2591" y="925"/>
                </a:cubicBezTo>
                <a:cubicBezTo>
                  <a:pt x="2592" y="925"/>
                  <a:pt x="2592" y="925"/>
                  <a:pt x="2592" y="925"/>
                </a:cubicBezTo>
                <a:cubicBezTo>
                  <a:pt x="2592" y="924"/>
                  <a:pt x="2592" y="924"/>
                  <a:pt x="2592" y="924"/>
                </a:cubicBezTo>
                <a:cubicBezTo>
                  <a:pt x="2592" y="925"/>
                  <a:pt x="2592" y="925"/>
                  <a:pt x="2592" y="925"/>
                </a:cubicBezTo>
                <a:cubicBezTo>
                  <a:pt x="2592" y="926"/>
                  <a:pt x="2592" y="926"/>
                  <a:pt x="2592" y="926"/>
                </a:cubicBezTo>
                <a:cubicBezTo>
                  <a:pt x="2592" y="926"/>
                  <a:pt x="2592" y="926"/>
                  <a:pt x="2592" y="926"/>
                </a:cubicBezTo>
                <a:cubicBezTo>
                  <a:pt x="2594" y="926"/>
                  <a:pt x="2594" y="926"/>
                  <a:pt x="2594" y="926"/>
                </a:cubicBezTo>
                <a:cubicBezTo>
                  <a:pt x="2595" y="926"/>
                  <a:pt x="2595" y="926"/>
                  <a:pt x="2595" y="926"/>
                </a:cubicBezTo>
                <a:cubicBezTo>
                  <a:pt x="2598" y="926"/>
                  <a:pt x="2598" y="926"/>
                  <a:pt x="2598" y="926"/>
                </a:cubicBezTo>
                <a:cubicBezTo>
                  <a:pt x="2602" y="924"/>
                  <a:pt x="2602" y="924"/>
                  <a:pt x="2602" y="924"/>
                </a:cubicBezTo>
                <a:cubicBezTo>
                  <a:pt x="2604" y="922"/>
                  <a:pt x="2604" y="922"/>
                  <a:pt x="2604" y="922"/>
                </a:cubicBezTo>
                <a:cubicBezTo>
                  <a:pt x="2605" y="922"/>
                  <a:pt x="2605" y="922"/>
                  <a:pt x="2605" y="922"/>
                </a:cubicBezTo>
                <a:cubicBezTo>
                  <a:pt x="2606" y="921"/>
                  <a:pt x="2606" y="921"/>
                  <a:pt x="2606" y="921"/>
                </a:cubicBezTo>
                <a:cubicBezTo>
                  <a:pt x="2608" y="919"/>
                  <a:pt x="2608" y="919"/>
                  <a:pt x="2608" y="919"/>
                </a:cubicBezTo>
                <a:cubicBezTo>
                  <a:pt x="2609" y="918"/>
                  <a:pt x="2609" y="918"/>
                  <a:pt x="2609" y="918"/>
                </a:cubicBezTo>
                <a:cubicBezTo>
                  <a:pt x="2612" y="916"/>
                  <a:pt x="2612" y="916"/>
                  <a:pt x="2612" y="916"/>
                </a:cubicBezTo>
                <a:cubicBezTo>
                  <a:pt x="2613" y="916"/>
                  <a:pt x="2613" y="916"/>
                  <a:pt x="2613" y="916"/>
                </a:cubicBezTo>
                <a:cubicBezTo>
                  <a:pt x="2613" y="913"/>
                  <a:pt x="2613" y="913"/>
                  <a:pt x="2613" y="913"/>
                </a:cubicBezTo>
                <a:cubicBezTo>
                  <a:pt x="2614" y="913"/>
                  <a:pt x="2614" y="913"/>
                  <a:pt x="2614" y="913"/>
                </a:cubicBezTo>
                <a:cubicBezTo>
                  <a:pt x="2615" y="912"/>
                  <a:pt x="2615" y="912"/>
                  <a:pt x="2615" y="912"/>
                </a:cubicBezTo>
                <a:cubicBezTo>
                  <a:pt x="2615" y="911"/>
                  <a:pt x="2615" y="911"/>
                  <a:pt x="2615" y="911"/>
                </a:cubicBezTo>
                <a:cubicBezTo>
                  <a:pt x="2615" y="909"/>
                  <a:pt x="2615" y="909"/>
                  <a:pt x="2615" y="909"/>
                </a:cubicBezTo>
                <a:cubicBezTo>
                  <a:pt x="2614" y="907"/>
                  <a:pt x="2614" y="907"/>
                  <a:pt x="2614" y="907"/>
                </a:cubicBezTo>
                <a:cubicBezTo>
                  <a:pt x="2616" y="906"/>
                  <a:pt x="2616" y="906"/>
                  <a:pt x="2616" y="906"/>
                </a:cubicBezTo>
                <a:cubicBezTo>
                  <a:pt x="2616" y="904"/>
                  <a:pt x="2616" y="904"/>
                  <a:pt x="2616" y="904"/>
                </a:cubicBezTo>
                <a:cubicBezTo>
                  <a:pt x="2617" y="904"/>
                  <a:pt x="2617" y="904"/>
                  <a:pt x="2617" y="904"/>
                </a:cubicBezTo>
                <a:cubicBezTo>
                  <a:pt x="2617" y="903"/>
                  <a:pt x="2617" y="903"/>
                  <a:pt x="2617" y="903"/>
                </a:cubicBezTo>
                <a:cubicBezTo>
                  <a:pt x="2616" y="902"/>
                  <a:pt x="2616" y="902"/>
                  <a:pt x="2616" y="902"/>
                </a:cubicBezTo>
                <a:cubicBezTo>
                  <a:pt x="2616" y="900"/>
                  <a:pt x="2616" y="900"/>
                  <a:pt x="2616" y="900"/>
                </a:cubicBezTo>
                <a:cubicBezTo>
                  <a:pt x="2617" y="900"/>
                  <a:pt x="2617" y="900"/>
                  <a:pt x="2617" y="900"/>
                </a:cubicBezTo>
                <a:cubicBezTo>
                  <a:pt x="2617" y="900"/>
                  <a:pt x="2617" y="900"/>
                  <a:pt x="2617" y="900"/>
                </a:cubicBezTo>
                <a:cubicBezTo>
                  <a:pt x="2617" y="901"/>
                  <a:pt x="2617" y="901"/>
                  <a:pt x="2617" y="901"/>
                </a:cubicBezTo>
                <a:cubicBezTo>
                  <a:pt x="2618" y="901"/>
                  <a:pt x="2618" y="901"/>
                  <a:pt x="2618" y="901"/>
                </a:cubicBezTo>
                <a:cubicBezTo>
                  <a:pt x="2618" y="900"/>
                  <a:pt x="2618" y="900"/>
                  <a:pt x="2618" y="900"/>
                </a:cubicBezTo>
                <a:cubicBezTo>
                  <a:pt x="2617" y="897"/>
                  <a:pt x="2617" y="897"/>
                  <a:pt x="2617" y="897"/>
                </a:cubicBezTo>
                <a:cubicBezTo>
                  <a:pt x="2616" y="896"/>
                  <a:pt x="2616" y="896"/>
                  <a:pt x="2616" y="896"/>
                </a:cubicBezTo>
                <a:cubicBezTo>
                  <a:pt x="2616" y="895"/>
                  <a:pt x="2616" y="895"/>
                  <a:pt x="2616" y="895"/>
                </a:cubicBezTo>
                <a:cubicBezTo>
                  <a:pt x="2615" y="895"/>
                  <a:pt x="2615" y="895"/>
                  <a:pt x="2615" y="895"/>
                </a:cubicBezTo>
                <a:cubicBezTo>
                  <a:pt x="2615" y="892"/>
                  <a:pt x="2615" y="892"/>
                  <a:pt x="2615" y="892"/>
                </a:cubicBezTo>
                <a:cubicBezTo>
                  <a:pt x="2615" y="891"/>
                  <a:pt x="2615" y="891"/>
                  <a:pt x="2615" y="891"/>
                </a:cubicBezTo>
                <a:cubicBezTo>
                  <a:pt x="2615" y="890"/>
                  <a:pt x="2615" y="890"/>
                  <a:pt x="2615" y="890"/>
                </a:cubicBezTo>
                <a:cubicBezTo>
                  <a:pt x="2615" y="888"/>
                  <a:pt x="2615" y="888"/>
                  <a:pt x="2615" y="888"/>
                </a:cubicBezTo>
                <a:cubicBezTo>
                  <a:pt x="2615" y="887"/>
                  <a:pt x="2615" y="887"/>
                  <a:pt x="2615" y="887"/>
                </a:cubicBezTo>
                <a:cubicBezTo>
                  <a:pt x="2614" y="886"/>
                  <a:pt x="2614" y="886"/>
                  <a:pt x="2614" y="886"/>
                </a:cubicBezTo>
                <a:cubicBezTo>
                  <a:pt x="2613" y="883"/>
                  <a:pt x="2613" y="883"/>
                  <a:pt x="2613" y="883"/>
                </a:cubicBezTo>
                <a:cubicBezTo>
                  <a:pt x="2613" y="882"/>
                  <a:pt x="2613" y="882"/>
                  <a:pt x="2613" y="882"/>
                </a:cubicBezTo>
                <a:cubicBezTo>
                  <a:pt x="2612" y="878"/>
                  <a:pt x="2612" y="878"/>
                  <a:pt x="2612" y="878"/>
                </a:cubicBezTo>
                <a:cubicBezTo>
                  <a:pt x="2610" y="876"/>
                  <a:pt x="2610" y="876"/>
                  <a:pt x="2610" y="876"/>
                </a:cubicBezTo>
                <a:cubicBezTo>
                  <a:pt x="2611" y="875"/>
                  <a:pt x="2611" y="875"/>
                  <a:pt x="2611" y="875"/>
                </a:cubicBezTo>
                <a:cubicBezTo>
                  <a:pt x="2610" y="875"/>
                  <a:pt x="2610" y="875"/>
                  <a:pt x="2610" y="875"/>
                </a:cubicBezTo>
                <a:cubicBezTo>
                  <a:pt x="2610" y="873"/>
                  <a:pt x="2610" y="873"/>
                  <a:pt x="2610" y="873"/>
                </a:cubicBezTo>
                <a:cubicBezTo>
                  <a:pt x="2608" y="871"/>
                  <a:pt x="2608" y="871"/>
                  <a:pt x="2608" y="871"/>
                </a:cubicBezTo>
                <a:cubicBezTo>
                  <a:pt x="2608" y="870"/>
                  <a:pt x="2608" y="870"/>
                  <a:pt x="2608" y="870"/>
                </a:cubicBezTo>
                <a:cubicBezTo>
                  <a:pt x="2607" y="870"/>
                  <a:pt x="2607" y="870"/>
                  <a:pt x="2607" y="870"/>
                </a:cubicBezTo>
                <a:cubicBezTo>
                  <a:pt x="2607" y="868"/>
                  <a:pt x="2607" y="868"/>
                  <a:pt x="2607" y="868"/>
                </a:cubicBezTo>
                <a:cubicBezTo>
                  <a:pt x="2606" y="866"/>
                  <a:pt x="2606" y="866"/>
                  <a:pt x="2606" y="866"/>
                </a:cubicBezTo>
                <a:cubicBezTo>
                  <a:pt x="2601" y="862"/>
                  <a:pt x="2601" y="862"/>
                  <a:pt x="2601" y="862"/>
                </a:cubicBezTo>
                <a:cubicBezTo>
                  <a:pt x="2600" y="860"/>
                  <a:pt x="2600" y="860"/>
                  <a:pt x="2600" y="860"/>
                </a:cubicBezTo>
                <a:cubicBezTo>
                  <a:pt x="2595" y="857"/>
                  <a:pt x="2595" y="857"/>
                  <a:pt x="2595" y="857"/>
                </a:cubicBezTo>
                <a:cubicBezTo>
                  <a:pt x="2590" y="854"/>
                  <a:pt x="2590" y="854"/>
                  <a:pt x="2590" y="854"/>
                </a:cubicBezTo>
                <a:cubicBezTo>
                  <a:pt x="2590" y="853"/>
                  <a:pt x="2590" y="853"/>
                  <a:pt x="2590" y="853"/>
                </a:cubicBezTo>
                <a:cubicBezTo>
                  <a:pt x="2587" y="852"/>
                  <a:pt x="2587" y="852"/>
                  <a:pt x="2587" y="852"/>
                </a:cubicBezTo>
                <a:cubicBezTo>
                  <a:pt x="2583" y="848"/>
                  <a:pt x="2583" y="848"/>
                  <a:pt x="2583" y="848"/>
                </a:cubicBezTo>
                <a:cubicBezTo>
                  <a:pt x="2583" y="847"/>
                  <a:pt x="2583" y="847"/>
                  <a:pt x="2583" y="847"/>
                </a:cubicBezTo>
                <a:cubicBezTo>
                  <a:pt x="2582" y="845"/>
                  <a:pt x="2582" y="845"/>
                  <a:pt x="2582" y="845"/>
                </a:cubicBezTo>
                <a:cubicBezTo>
                  <a:pt x="2583" y="844"/>
                  <a:pt x="2583" y="844"/>
                  <a:pt x="2583" y="844"/>
                </a:cubicBezTo>
                <a:cubicBezTo>
                  <a:pt x="2583" y="843"/>
                  <a:pt x="2583" y="843"/>
                  <a:pt x="2583" y="843"/>
                </a:cubicBezTo>
                <a:cubicBezTo>
                  <a:pt x="2581" y="841"/>
                  <a:pt x="2581" y="841"/>
                  <a:pt x="2581" y="841"/>
                </a:cubicBezTo>
                <a:cubicBezTo>
                  <a:pt x="2580" y="841"/>
                  <a:pt x="2580" y="841"/>
                  <a:pt x="2580" y="841"/>
                </a:cubicBezTo>
                <a:cubicBezTo>
                  <a:pt x="2578" y="838"/>
                  <a:pt x="2578" y="838"/>
                  <a:pt x="2578" y="838"/>
                </a:cubicBezTo>
                <a:cubicBezTo>
                  <a:pt x="2575" y="837"/>
                  <a:pt x="2575" y="837"/>
                  <a:pt x="2575" y="837"/>
                </a:cubicBezTo>
                <a:cubicBezTo>
                  <a:pt x="2573" y="836"/>
                  <a:pt x="2573" y="836"/>
                  <a:pt x="2573" y="836"/>
                </a:cubicBezTo>
                <a:cubicBezTo>
                  <a:pt x="2574" y="836"/>
                  <a:pt x="2574" y="836"/>
                  <a:pt x="2574" y="836"/>
                </a:cubicBezTo>
                <a:cubicBezTo>
                  <a:pt x="2575" y="834"/>
                  <a:pt x="2575" y="834"/>
                  <a:pt x="2575" y="834"/>
                </a:cubicBezTo>
                <a:cubicBezTo>
                  <a:pt x="2573" y="833"/>
                  <a:pt x="2573" y="833"/>
                  <a:pt x="2573" y="833"/>
                </a:cubicBezTo>
                <a:cubicBezTo>
                  <a:pt x="2574" y="831"/>
                  <a:pt x="2574" y="831"/>
                  <a:pt x="2574" y="831"/>
                </a:cubicBezTo>
                <a:cubicBezTo>
                  <a:pt x="2575" y="828"/>
                  <a:pt x="2575" y="828"/>
                  <a:pt x="2575" y="828"/>
                </a:cubicBezTo>
                <a:cubicBezTo>
                  <a:pt x="2574" y="827"/>
                  <a:pt x="2574" y="827"/>
                  <a:pt x="2574" y="827"/>
                </a:cubicBezTo>
                <a:cubicBezTo>
                  <a:pt x="2573" y="826"/>
                  <a:pt x="2573" y="826"/>
                  <a:pt x="2573" y="826"/>
                </a:cubicBezTo>
                <a:cubicBezTo>
                  <a:pt x="2573" y="825"/>
                  <a:pt x="2573" y="825"/>
                  <a:pt x="2573" y="825"/>
                </a:cubicBezTo>
                <a:cubicBezTo>
                  <a:pt x="2574" y="824"/>
                  <a:pt x="2574" y="824"/>
                  <a:pt x="2574" y="824"/>
                </a:cubicBezTo>
                <a:cubicBezTo>
                  <a:pt x="2575" y="822"/>
                  <a:pt x="2575" y="822"/>
                  <a:pt x="2575" y="822"/>
                </a:cubicBezTo>
                <a:cubicBezTo>
                  <a:pt x="2576" y="821"/>
                  <a:pt x="2576" y="821"/>
                  <a:pt x="2576" y="821"/>
                </a:cubicBezTo>
                <a:cubicBezTo>
                  <a:pt x="2576" y="821"/>
                  <a:pt x="2576" y="821"/>
                  <a:pt x="2576" y="821"/>
                </a:cubicBezTo>
                <a:cubicBezTo>
                  <a:pt x="2576" y="821"/>
                  <a:pt x="2576" y="821"/>
                  <a:pt x="2576" y="821"/>
                </a:cubicBezTo>
                <a:cubicBezTo>
                  <a:pt x="2577" y="821"/>
                  <a:pt x="2577" y="821"/>
                  <a:pt x="2577" y="821"/>
                </a:cubicBezTo>
                <a:cubicBezTo>
                  <a:pt x="2579" y="819"/>
                  <a:pt x="2579" y="819"/>
                  <a:pt x="2579" y="819"/>
                </a:cubicBezTo>
                <a:cubicBezTo>
                  <a:pt x="2580" y="819"/>
                  <a:pt x="2580" y="819"/>
                  <a:pt x="2580" y="819"/>
                </a:cubicBezTo>
                <a:cubicBezTo>
                  <a:pt x="2580" y="818"/>
                  <a:pt x="2580" y="818"/>
                  <a:pt x="2580" y="818"/>
                </a:cubicBezTo>
                <a:cubicBezTo>
                  <a:pt x="2580" y="817"/>
                  <a:pt x="2580" y="817"/>
                  <a:pt x="2580" y="817"/>
                </a:cubicBezTo>
                <a:cubicBezTo>
                  <a:pt x="2580" y="816"/>
                  <a:pt x="2580" y="816"/>
                  <a:pt x="2580" y="816"/>
                </a:cubicBezTo>
                <a:cubicBezTo>
                  <a:pt x="2580" y="815"/>
                  <a:pt x="2580" y="815"/>
                  <a:pt x="2580" y="815"/>
                </a:cubicBezTo>
                <a:cubicBezTo>
                  <a:pt x="2580" y="813"/>
                  <a:pt x="2580" y="813"/>
                  <a:pt x="2580" y="813"/>
                </a:cubicBezTo>
                <a:cubicBezTo>
                  <a:pt x="2580" y="812"/>
                  <a:pt x="2580" y="812"/>
                  <a:pt x="2580" y="812"/>
                </a:cubicBezTo>
                <a:cubicBezTo>
                  <a:pt x="2580" y="811"/>
                  <a:pt x="2580" y="811"/>
                  <a:pt x="2580" y="811"/>
                </a:cubicBezTo>
                <a:cubicBezTo>
                  <a:pt x="2580" y="810"/>
                  <a:pt x="2580" y="810"/>
                  <a:pt x="2580" y="810"/>
                </a:cubicBezTo>
                <a:cubicBezTo>
                  <a:pt x="2581" y="810"/>
                  <a:pt x="2581" y="810"/>
                  <a:pt x="2581" y="810"/>
                </a:cubicBezTo>
                <a:cubicBezTo>
                  <a:pt x="2582" y="811"/>
                  <a:pt x="2582" y="811"/>
                  <a:pt x="2582" y="811"/>
                </a:cubicBezTo>
                <a:cubicBezTo>
                  <a:pt x="2583" y="811"/>
                  <a:pt x="2583" y="811"/>
                  <a:pt x="2583" y="811"/>
                </a:cubicBezTo>
                <a:cubicBezTo>
                  <a:pt x="2583" y="810"/>
                  <a:pt x="2583" y="810"/>
                  <a:pt x="2583" y="810"/>
                </a:cubicBezTo>
                <a:cubicBezTo>
                  <a:pt x="2585" y="810"/>
                  <a:pt x="2585" y="810"/>
                  <a:pt x="2585" y="810"/>
                </a:cubicBezTo>
                <a:cubicBezTo>
                  <a:pt x="2586" y="810"/>
                  <a:pt x="2586" y="810"/>
                  <a:pt x="2586" y="810"/>
                </a:cubicBezTo>
                <a:cubicBezTo>
                  <a:pt x="2586" y="809"/>
                  <a:pt x="2586" y="809"/>
                  <a:pt x="2586" y="809"/>
                </a:cubicBezTo>
                <a:cubicBezTo>
                  <a:pt x="2587" y="809"/>
                  <a:pt x="2587" y="809"/>
                  <a:pt x="2587" y="809"/>
                </a:cubicBezTo>
                <a:cubicBezTo>
                  <a:pt x="2587" y="807"/>
                  <a:pt x="2587" y="807"/>
                  <a:pt x="2587" y="807"/>
                </a:cubicBezTo>
                <a:cubicBezTo>
                  <a:pt x="2587" y="806"/>
                  <a:pt x="2587" y="806"/>
                  <a:pt x="2587" y="806"/>
                </a:cubicBezTo>
                <a:cubicBezTo>
                  <a:pt x="2589" y="806"/>
                  <a:pt x="2589" y="806"/>
                  <a:pt x="2589" y="806"/>
                </a:cubicBezTo>
                <a:cubicBezTo>
                  <a:pt x="2591" y="806"/>
                  <a:pt x="2591" y="806"/>
                  <a:pt x="2591" y="806"/>
                </a:cubicBezTo>
                <a:cubicBezTo>
                  <a:pt x="2593" y="805"/>
                  <a:pt x="2593" y="805"/>
                  <a:pt x="2593" y="805"/>
                </a:cubicBezTo>
                <a:cubicBezTo>
                  <a:pt x="2594" y="805"/>
                  <a:pt x="2594" y="805"/>
                  <a:pt x="2594" y="805"/>
                </a:cubicBezTo>
                <a:cubicBezTo>
                  <a:pt x="2595" y="805"/>
                  <a:pt x="2595" y="805"/>
                  <a:pt x="2595" y="805"/>
                </a:cubicBezTo>
                <a:cubicBezTo>
                  <a:pt x="2595" y="804"/>
                  <a:pt x="2595" y="804"/>
                  <a:pt x="2595" y="804"/>
                </a:cubicBezTo>
                <a:cubicBezTo>
                  <a:pt x="2595" y="803"/>
                  <a:pt x="2595" y="803"/>
                  <a:pt x="2595" y="803"/>
                </a:cubicBezTo>
                <a:cubicBezTo>
                  <a:pt x="2595" y="803"/>
                  <a:pt x="2595" y="803"/>
                  <a:pt x="2595" y="803"/>
                </a:cubicBezTo>
                <a:cubicBezTo>
                  <a:pt x="2595" y="803"/>
                  <a:pt x="2595" y="803"/>
                  <a:pt x="2595" y="803"/>
                </a:cubicBezTo>
                <a:cubicBezTo>
                  <a:pt x="2595" y="803"/>
                  <a:pt x="2595" y="803"/>
                  <a:pt x="2595" y="803"/>
                </a:cubicBezTo>
                <a:cubicBezTo>
                  <a:pt x="2595" y="803"/>
                  <a:pt x="2595" y="803"/>
                  <a:pt x="2595" y="803"/>
                </a:cubicBezTo>
                <a:cubicBezTo>
                  <a:pt x="2596" y="803"/>
                  <a:pt x="2596" y="803"/>
                  <a:pt x="2596" y="803"/>
                </a:cubicBezTo>
                <a:cubicBezTo>
                  <a:pt x="2596" y="802"/>
                  <a:pt x="2596" y="802"/>
                  <a:pt x="2596" y="802"/>
                </a:cubicBezTo>
                <a:cubicBezTo>
                  <a:pt x="2598" y="803"/>
                  <a:pt x="2598" y="803"/>
                  <a:pt x="2598" y="803"/>
                </a:cubicBezTo>
                <a:cubicBezTo>
                  <a:pt x="2599" y="802"/>
                  <a:pt x="2599" y="802"/>
                  <a:pt x="2599" y="802"/>
                </a:cubicBezTo>
                <a:cubicBezTo>
                  <a:pt x="2599" y="801"/>
                  <a:pt x="2599" y="801"/>
                  <a:pt x="2599" y="801"/>
                </a:cubicBezTo>
                <a:cubicBezTo>
                  <a:pt x="2600" y="799"/>
                  <a:pt x="2600" y="799"/>
                  <a:pt x="2600" y="799"/>
                </a:cubicBezTo>
                <a:cubicBezTo>
                  <a:pt x="2601" y="801"/>
                  <a:pt x="2601" y="801"/>
                  <a:pt x="2601" y="801"/>
                </a:cubicBezTo>
                <a:cubicBezTo>
                  <a:pt x="2603" y="803"/>
                  <a:pt x="2603" y="803"/>
                  <a:pt x="2603" y="803"/>
                </a:cubicBezTo>
                <a:cubicBezTo>
                  <a:pt x="2604" y="803"/>
                  <a:pt x="2604" y="803"/>
                  <a:pt x="2604" y="803"/>
                </a:cubicBezTo>
                <a:cubicBezTo>
                  <a:pt x="2606" y="805"/>
                  <a:pt x="2606" y="805"/>
                  <a:pt x="2606" y="805"/>
                </a:cubicBezTo>
                <a:cubicBezTo>
                  <a:pt x="2607" y="804"/>
                  <a:pt x="2607" y="804"/>
                  <a:pt x="2607" y="804"/>
                </a:cubicBezTo>
                <a:cubicBezTo>
                  <a:pt x="2608" y="804"/>
                  <a:pt x="2608" y="804"/>
                  <a:pt x="2608" y="804"/>
                </a:cubicBezTo>
                <a:cubicBezTo>
                  <a:pt x="2609" y="803"/>
                  <a:pt x="2609" y="803"/>
                  <a:pt x="2609" y="803"/>
                </a:cubicBezTo>
                <a:cubicBezTo>
                  <a:pt x="2611" y="804"/>
                  <a:pt x="2611" y="804"/>
                  <a:pt x="2611" y="804"/>
                </a:cubicBezTo>
                <a:cubicBezTo>
                  <a:pt x="2612" y="804"/>
                  <a:pt x="2612" y="804"/>
                  <a:pt x="2612" y="804"/>
                </a:cubicBezTo>
                <a:cubicBezTo>
                  <a:pt x="2613" y="804"/>
                  <a:pt x="2613" y="804"/>
                  <a:pt x="2613" y="804"/>
                </a:cubicBezTo>
                <a:cubicBezTo>
                  <a:pt x="2614" y="805"/>
                  <a:pt x="2614" y="805"/>
                  <a:pt x="2614" y="805"/>
                </a:cubicBezTo>
                <a:cubicBezTo>
                  <a:pt x="2612" y="805"/>
                  <a:pt x="2612" y="805"/>
                  <a:pt x="2612" y="805"/>
                </a:cubicBezTo>
                <a:cubicBezTo>
                  <a:pt x="2612" y="807"/>
                  <a:pt x="2612" y="807"/>
                  <a:pt x="2612" y="807"/>
                </a:cubicBezTo>
                <a:cubicBezTo>
                  <a:pt x="2610" y="808"/>
                  <a:pt x="2610" y="808"/>
                  <a:pt x="2610" y="808"/>
                </a:cubicBezTo>
                <a:cubicBezTo>
                  <a:pt x="2610" y="810"/>
                  <a:pt x="2610" y="810"/>
                  <a:pt x="2610" y="810"/>
                </a:cubicBezTo>
                <a:cubicBezTo>
                  <a:pt x="2613" y="813"/>
                  <a:pt x="2613" y="813"/>
                  <a:pt x="2613" y="813"/>
                </a:cubicBezTo>
                <a:cubicBezTo>
                  <a:pt x="2614" y="814"/>
                  <a:pt x="2614" y="814"/>
                  <a:pt x="2614" y="814"/>
                </a:cubicBezTo>
                <a:cubicBezTo>
                  <a:pt x="2614" y="815"/>
                  <a:pt x="2614" y="815"/>
                  <a:pt x="2614" y="815"/>
                </a:cubicBezTo>
                <a:cubicBezTo>
                  <a:pt x="2614" y="817"/>
                  <a:pt x="2614" y="817"/>
                  <a:pt x="2614" y="817"/>
                </a:cubicBezTo>
                <a:cubicBezTo>
                  <a:pt x="2615" y="817"/>
                  <a:pt x="2615" y="817"/>
                  <a:pt x="2615" y="817"/>
                </a:cubicBezTo>
                <a:cubicBezTo>
                  <a:pt x="2616" y="815"/>
                  <a:pt x="2616" y="815"/>
                  <a:pt x="2616" y="815"/>
                </a:cubicBezTo>
                <a:cubicBezTo>
                  <a:pt x="2618" y="816"/>
                  <a:pt x="2618" y="816"/>
                  <a:pt x="2618" y="816"/>
                </a:cubicBezTo>
                <a:cubicBezTo>
                  <a:pt x="2618" y="816"/>
                  <a:pt x="2618" y="816"/>
                  <a:pt x="2618" y="816"/>
                </a:cubicBezTo>
                <a:cubicBezTo>
                  <a:pt x="2619" y="816"/>
                  <a:pt x="2619" y="816"/>
                  <a:pt x="2619" y="816"/>
                </a:cubicBezTo>
                <a:cubicBezTo>
                  <a:pt x="2621" y="814"/>
                  <a:pt x="2621" y="814"/>
                  <a:pt x="2621" y="814"/>
                </a:cubicBezTo>
                <a:cubicBezTo>
                  <a:pt x="2620" y="813"/>
                  <a:pt x="2620" y="813"/>
                  <a:pt x="2620" y="813"/>
                </a:cubicBezTo>
                <a:cubicBezTo>
                  <a:pt x="2620" y="813"/>
                  <a:pt x="2620" y="813"/>
                  <a:pt x="2620" y="813"/>
                </a:cubicBezTo>
                <a:cubicBezTo>
                  <a:pt x="2620" y="812"/>
                  <a:pt x="2620" y="812"/>
                  <a:pt x="2620" y="812"/>
                </a:cubicBezTo>
                <a:cubicBezTo>
                  <a:pt x="2618" y="810"/>
                  <a:pt x="2618" y="810"/>
                  <a:pt x="2618" y="810"/>
                </a:cubicBezTo>
                <a:cubicBezTo>
                  <a:pt x="2617" y="810"/>
                  <a:pt x="2617" y="810"/>
                  <a:pt x="2617" y="810"/>
                </a:cubicBezTo>
                <a:cubicBezTo>
                  <a:pt x="2616" y="808"/>
                  <a:pt x="2616" y="808"/>
                  <a:pt x="2616" y="808"/>
                </a:cubicBezTo>
                <a:cubicBezTo>
                  <a:pt x="2617" y="808"/>
                  <a:pt x="2617" y="808"/>
                  <a:pt x="2617" y="808"/>
                </a:cubicBezTo>
                <a:cubicBezTo>
                  <a:pt x="2618" y="807"/>
                  <a:pt x="2618" y="807"/>
                  <a:pt x="2618" y="807"/>
                </a:cubicBezTo>
                <a:cubicBezTo>
                  <a:pt x="2619" y="805"/>
                  <a:pt x="2619" y="805"/>
                  <a:pt x="2619" y="805"/>
                </a:cubicBezTo>
                <a:cubicBezTo>
                  <a:pt x="2618" y="804"/>
                  <a:pt x="2618" y="804"/>
                  <a:pt x="2618" y="804"/>
                </a:cubicBezTo>
                <a:cubicBezTo>
                  <a:pt x="2619" y="804"/>
                  <a:pt x="2619" y="804"/>
                  <a:pt x="2619" y="804"/>
                </a:cubicBezTo>
                <a:cubicBezTo>
                  <a:pt x="2620" y="803"/>
                  <a:pt x="2620" y="803"/>
                  <a:pt x="2620" y="803"/>
                </a:cubicBezTo>
                <a:cubicBezTo>
                  <a:pt x="2620" y="804"/>
                  <a:pt x="2620" y="804"/>
                  <a:pt x="2620" y="804"/>
                </a:cubicBezTo>
                <a:cubicBezTo>
                  <a:pt x="2620" y="805"/>
                  <a:pt x="2620" y="805"/>
                  <a:pt x="2620" y="805"/>
                </a:cubicBezTo>
                <a:cubicBezTo>
                  <a:pt x="2621" y="805"/>
                  <a:pt x="2621" y="805"/>
                  <a:pt x="2621" y="805"/>
                </a:cubicBezTo>
                <a:cubicBezTo>
                  <a:pt x="2620" y="805"/>
                  <a:pt x="2620" y="805"/>
                  <a:pt x="2620" y="805"/>
                </a:cubicBezTo>
                <a:cubicBezTo>
                  <a:pt x="2621" y="805"/>
                  <a:pt x="2621" y="805"/>
                  <a:pt x="2621" y="805"/>
                </a:cubicBezTo>
                <a:cubicBezTo>
                  <a:pt x="2621" y="806"/>
                  <a:pt x="2621" y="806"/>
                  <a:pt x="2621" y="806"/>
                </a:cubicBezTo>
                <a:cubicBezTo>
                  <a:pt x="2621" y="806"/>
                  <a:pt x="2621" y="806"/>
                  <a:pt x="2621" y="806"/>
                </a:cubicBezTo>
                <a:cubicBezTo>
                  <a:pt x="2622" y="806"/>
                  <a:pt x="2622" y="806"/>
                  <a:pt x="2622" y="806"/>
                </a:cubicBezTo>
                <a:cubicBezTo>
                  <a:pt x="2623" y="805"/>
                  <a:pt x="2623" y="805"/>
                  <a:pt x="2623" y="805"/>
                </a:cubicBezTo>
                <a:cubicBezTo>
                  <a:pt x="2625" y="805"/>
                  <a:pt x="2625" y="805"/>
                  <a:pt x="2625" y="805"/>
                </a:cubicBezTo>
                <a:cubicBezTo>
                  <a:pt x="2625" y="803"/>
                  <a:pt x="2625" y="803"/>
                  <a:pt x="2625" y="803"/>
                </a:cubicBezTo>
                <a:cubicBezTo>
                  <a:pt x="2627" y="804"/>
                  <a:pt x="2627" y="804"/>
                  <a:pt x="2627" y="804"/>
                </a:cubicBezTo>
                <a:cubicBezTo>
                  <a:pt x="2629" y="803"/>
                  <a:pt x="2629" y="803"/>
                  <a:pt x="2629" y="803"/>
                </a:cubicBezTo>
                <a:cubicBezTo>
                  <a:pt x="2631" y="802"/>
                  <a:pt x="2631" y="802"/>
                  <a:pt x="2631" y="802"/>
                </a:cubicBezTo>
                <a:cubicBezTo>
                  <a:pt x="2630" y="801"/>
                  <a:pt x="2630" y="801"/>
                  <a:pt x="2630" y="801"/>
                </a:cubicBezTo>
                <a:cubicBezTo>
                  <a:pt x="2632" y="801"/>
                  <a:pt x="2632" y="801"/>
                  <a:pt x="2632" y="801"/>
                </a:cubicBezTo>
                <a:cubicBezTo>
                  <a:pt x="2634" y="800"/>
                  <a:pt x="2634" y="800"/>
                  <a:pt x="2634" y="800"/>
                </a:cubicBezTo>
                <a:cubicBezTo>
                  <a:pt x="2636" y="801"/>
                  <a:pt x="2636" y="801"/>
                  <a:pt x="2636" y="801"/>
                </a:cubicBezTo>
                <a:cubicBezTo>
                  <a:pt x="2637" y="801"/>
                  <a:pt x="2637" y="801"/>
                  <a:pt x="2637" y="801"/>
                </a:cubicBezTo>
                <a:cubicBezTo>
                  <a:pt x="2639" y="799"/>
                  <a:pt x="2639" y="799"/>
                  <a:pt x="2639" y="799"/>
                </a:cubicBezTo>
                <a:cubicBezTo>
                  <a:pt x="2641" y="797"/>
                  <a:pt x="2641" y="797"/>
                  <a:pt x="2641" y="797"/>
                </a:cubicBezTo>
                <a:cubicBezTo>
                  <a:pt x="2643" y="796"/>
                  <a:pt x="2643" y="796"/>
                  <a:pt x="2643" y="796"/>
                </a:cubicBezTo>
                <a:cubicBezTo>
                  <a:pt x="2643" y="795"/>
                  <a:pt x="2643" y="795"/>
                  <a:pt x="2643" y="795"/>
                </a:cubicBezTo>
                <a:cubicBezTo>
                  <a:pt x="2643" y="795"/>
                  <a:pt x="2643" y="795"/>
                  <a:pt x="2643" y="795"/>
                </a:cubicBezTo>
                <a:cubicBezTo>
                  <a:pt x="2644" y="796"/>
                  <a:pt x="2644" y="796"/>
                  <a:pt x="2644" y="796"/>
                </a:cubicBezTo>
                <a:cubicBezTo>
                  <a:pt x="2645" y="795"/>
                  <a:pt x="2645" y="795"/>
                  <a:pt x="2645" y="795"/>
                </a:cubicBezTo>
                <a:cubicBezTo>
                  <a:pt x="2646" y="794"/>
                  <a:pt x="2646" y="794"/>
                  <a:pt x="2646" y="794"/>
                </a:cubicBezTo>
                <a:cubicBezTo>
                  <a:pt x="2648" y="793"/>
                  <a:pt x="2648" y="793"/>
                  <a:pt x="2648" y="793"/>
                </a:cubicBezTo>
                <a:cubicBezTo>
                  <a:pt x="2647" y="791"/>
                  <a:pt x="2647" y="791"/>
                  <a:pt x="2647" y="791"/>
                </a:cubicBezTo>
                <a:cubicBezTo>
                  <a:pt x="2647" y="789"/>
                  <a:pt x="2647" y="789"/>
                  <a:pt x="2647" y="789"/>
                </a:cubicBezTo>
                <a:cubicBezTo>
                  <a:pt x="2647" y="787"/>
                  <a:pt x="2647" y="787"/>
                  <a:pt x="2647" y="787"/>
                </a:cubicBezTo>
                <a:cubicBezTo>
                  <a:pt x="2646" y="786"/>
                  <a:pt x="2646" y="786"/>
                  <a:pt x="2646" y="786"/>
                </a:cubicBezTo>
                <a:cubicBezTo>
                  <a:pt x="2647" y="787"/>
                  <a:pt x="2647" y="787"/>
                  <a:pt x="2647" y="787"/>
                </a:cubicBezTo>
                <a:cubicBezTo>
                  <a:pt x="2650" y="788"/>
                  <a:pt x="2650" y="788"/>
                  <a:pt x="2650" y="788"/>
                </a:cubicBezTo>
                <a:cubicBezTo>
                  <a:pt x="2650" y="790"/>
                  <a:pt x="2650" y="790"/>
                  <a:pt x="2650" y="790"/>
                </a:cubicBezTo>
                <a:cubicBezTo>
                  <a:pt x="2652" y="792"/>
                  <a:pt x="2652" y="792"/>
                  <a:pt x="2652" y="792"/>
                </a:cubicBezTo>
                <a:cubicBezTo>
                  <a:pt x="2654" y="791"/>
                  <a:pt x="2654" y="791"/>
                  <a:pt x="2654" y="791"/>
                </a:cubicBezTo>
                <a:cubicBezTo>
                  <a:pt x="2653" y="793"/>
                  <a:pt x="2653" y="793"/>
                  <a:pt x="2653" y="793"/>
                </a:cubicBezTo>
                <a:cubicBezTo>
                  <a:pt x="2651" y="793"/>
                  <a:pt x="2651" y="793"/>
                  <a:pt x="2651" y="793"/>
                </a:cubicBezTo>
                <a:cubicBezTo>
                  <a:pt x="2652" y="794"/>
                  <a:pt x="2652" y="794"/>
                  <a:pt x="2652" y="794"/>
                </a:cubicBezTo>
                <a:cubicBezTo>
                  <a:pt x="2655" y="792"/>
                  <a:pt x="2655" y="792"/>
                  <a:pt x="2655" y="792"/>
                </a:cubicBezTo>
                <a:cubicBezTo>
                  <a:pt x="2655" y="790"/>
                  <a:pt x="2655" y="790"/>
                  <a:pt x="2655" y="790"/>
                </a:cubicBezTo>
                <a:cubicBezTo>
                  <a:pt x="2657" y="790"/>
                  <a:pt x="2657" y="790"/>
                  <a:pt x="2657" y="790"/>
                </a:cubicBezTo>
                <a:cubicBezTo>
                  <a:pt x="2658" y="789"/>
                  <a:pt x="2658" y="789"/>
                  <a:pt x="2658" y="789"/>
                </a:cubicBezTo>
                <a:cubicBezTo>
                  <a:pt x="2660" y="790"/>
                  <a:pt x="2660" y="790"/>
                  <a:pt x="2660" y="790"/>
                </a:cubicBezTo>
                <a:cubicBezTo>
                  <a:pt x="2661" y="790"/>
                  <a:pt x="2661" y="790"/>
                  <a:pt x="2661" y="790"/>
                </a:cubicBezTo>
                <a:cubicBezTo>
                  <a:pt x="2662" y="788"/>
                  <a:pt x="2662" y="788"/>
                  <a:pt x="2662" y="788"/>
                </a:cubicBezTo>
                <a:cubicBezTo>
                  <a:pt x="2663" y="788"/>
                  <a:pt x="2663" y="788"/>
                  <a:pt x="2663" y="788"/>
                </a:cubicBezTo>
                <a:cubicBezTo>
                  <a:pt x="2664" y="787"/>
                  <a:pt x="2664" y="787"/>
                  <a:pt x="2664" y="787"/>
                </a:cubicBezTo>
                <a:cubicBezTo>
                  <a:pt x="2664" y="788"/>
                  <a:pt x="2664" y="788"/>
                  <a:pt x="2664" y="788"/>
                </a:cubicBezTo>
                <a:cubicBezTo>
                  <a:pt x="2666" y="790"/>
                  <a:pt x="2666" y="790"/>
                  <a:pt x="2666" y="790"/>
                </a:cubicBezTo>
                <a:cubicBezTo>
                  <a:pt x="2667" y="789"/>
                  <a:pt x="2667" y="789"/>
                  <a:pt x="2667" y="789"/>
                </a:cubicBezTo>
                <a:cubicBezTo>
                  <a:pt x="2667" y="787"/>
                  <a:pt x="2667" y="787"/>
                  <a:pt x="2667" y="787"/>
                </a:cubicBezTo>
                <a:cubicBezTo>
                  <a:pt x="2668" y="787"/>
                  <a:pt x="2668" y="787"/>
                  <a:pt x="2668" y="787"/>
                </a:cubicBezTo>
                <a:cubicBezTo>
                  <a:pt x="2668" y="788"/>
                  <a:pt x="2668" y="788"/>
                  <a:pt x="2668" y="788"/>
                </a:cubicBezTo>
                <a:cubicBezTo>
                  <a:pt x="2670" y="788"/>
                  <a:pt x="2670" y="788"/>
                  <a:pt x="2670" y="788"/>
                </a:cubicBezTo>
                <a:cubicBezTo>
                  <a:pt x="2670" y="787"/>
                  <a:pt x="2670" y="787"/>
                  <a:pt x="2670" y="787"/>
                </a:cubicBezTo>
                <a:cubicBezTo>
                  <a:pt x="2673" y="786"/>
                  <a:pt x="2673" y="786"/>
                  <a:pt x="2673" y="786"/>
                </a:cubicBezTo>
                <a:cubicBezTo>
                  <a:pt x="2674" y="785"/>
                  <a:pt x="2674" y="785"/>
                  <a:pt x="2674" y="785"/>
                </a:cubicBezTo>
                <a:cubicBezTo>
                  <a:pt x="2675" y="784"/>
                  <a:pt x="2675" y="784"/>
                  <a:pt x="2675" y="784"/>
                </a:cubicBezTo>
                <a:cubicBezTo>
                  <a:pt x="2675" y="786"/>
                  <a:pt x="2675" y="786"/>
                  <a:pt x="2675" y="786"/>
                </a:cubicBezTo>
                <a:cubicBezTo>
                  <a:pt x="2676" y="785"/>
                  <a:pt x="2676" y="785"/>
                  <a:pt x="2676" y="785"/>
                </a:cubicBezTo>
                <a:cubicBezTo>
                  <a:pt x="2677" y="785"/>
                  <a:pt x="2677" y="785"/>
                  <a:pt x="2677" y="785"/>
                </a:cubicBezTo>
                <a:cubicBezTo>
                  <a:pt x="2678" y="784"/>
                  <a:pt x="2678" y="784"/>
                  <a:pt x="2678" y="784"/>
                </a:cubicBezTo>
                <a:cubicBezTo>
                  <a:pt x="2678" y="783"/>
                  <a:pt x="2678" y="783"/>
                  <a:pt x="2678" y="783"/>
                </a:cubicBezTo>
                <a:cubicBezTo>
                  <a:pt x="2679" y="782"/>
                  <a:pt x="2679" y="782"/>
                  <a:pt x="2679" y="782"/>
                </a:cubicBezTo>
                <a:cubicBezTo>
                  <a:pt x="2679" y="779"/>
                  <a:pt x="2679" y="779"/>
                  <a:pt x="2679" y="779"/>
                </a:cubicBezTo>
                <a:cubicBezTo>
                  <a:pt x="2678" y="777"/>
                  <a:pt x="2678" y="777"/>
                  <a:pt x="2678" y="777"/>
                </a:cubicBezTo>
                <a:cubicBezTo>
                  <a:pt x="2679" y="778"/>
                  <a:pt x="2679" y="778"/>
                  <a:pt x="2679" y="778"/>
                </a:cubicBezTo>
                <a:cubicBezTo>
                  <a:pt x="2680" y="777"/>
                  <a:pt x="2680" y="777"/>
                  <a:pt x="2680" y="777"/>
                </a:cubicBezTo>
                <a:cubicBezTo>
                  <a:pt x="2682" y="776"/>
                  <a:pt x="2682" y="776"/>
                  <a:pt x="2682" y="776"/>
                </a:cubicBezTo>
                <a:cubicBezTo>
                  <a:pt x="2683" y="777"/>
                  <a:pt x="2683" y="777"/>
                  <a:pt x="2683" y="777"/>
                </a:cubicBezTo>
                <a:cubicBezTo>
                  <a:pt x="2685" y="777"/>
                  <a:pt x="2685" y="777"/>
                  <a:pt x="2685" y="777"/>
                </a:cubicBezTo>
                <a:cubicBezTo>
                  <a:pt x="2685" y="775"/>
                  <a:pt x="2685" y="775"/>
                  <a:pt x="2685" y="775"/>
                </a:cubicBezTo>
                <a:cubicBezTo>
                  <a:pt x="2686" y="775"/>
                  <a:pt x="2686" y="775"/>
                  <a:pt x="2686" y="775"/>
                </a:cubicBezTo>
                <a:cubicBezTo>
                  <a:pt x="2686" y="773"/>
                  <a:pt x="2686" y="773"/>
                  <a:pt x="2686" y="773"/>
                </a:cubicBezTo>
                <a:cubicBezTo>
                  <a:pt x="2687" y="773"/>
                  <a:pt x="2687" y="773"/>
                  <a:pt x="2687" y="773"/>
                </a:cubicBezTo>
                <a:cubicBezTo>
                  <a:pt x="2687" y="774"/>
                  <a:pt x="2687" y="774"/>
                  <a:pt x="2687" y="774"/>
                </a:cubicBezTo>
                <a:cubicBezTo>
                  <a:pt x="2688" y="774"/>
                  <a:pt x="2688" y="774"/>
                  <a:pt x="2688" y="774"/>
                </a:cubicBezTo>
                <a:cubicBezTo>
                  <a:pt x="2689" y="772"/>
                  <a:pt x="2689" y="772"/>
                  <a:pt x="2689" y="772"/>
                </a:cubicBezTo>
                <a:cubicBezTo>
                  <a:pt x="2690" y="773"/>
                  <a:pt x="2690" y="773"/>
                  <a:pt x="2690" y="773"/>
                </a:cubicBezTo>
                <a:cubicBezTo>
                  <a:pt x="2691" y="771"/>
                  <a:pt x="2691" y="771"/>
                  <a:pt x="2691" y="771"/>
                </a:cubicBezTo>
                <a:cubicBezTo>
                  <a:pt x="2692" y="771"/>
                  <a:pt x="2692" y="771"/>
                  <a:pt x="2692" y="771"/>
                </a:cubicBezTo>
                <a:cubicBezTo>
                  <a:pt x="2693" y="769"/>
                  <a:pt x="2693" y="769"/>
                  <a:pt x="2693" y="769"/>
                </a:cubicBezTo>
                <a:cubicBezTo>
                  <a:pt x="2691" y="769"/>
                  <a:pt x="2691" y="769"/>
                  <a:pt x="2691" y="769"/>
                </a:cubicBezTo>
                <a:cubicBezTo>
                  <a:pt x="2689" y="769"/>
                  <a:pt x="2689" y="769"/>
                  <a:pt x="2689" y="769"/>
                </a:cubicBezTo>
                <a:cubicBezTo>
                  <a:pt x="2687" y="768"/>
                  <a:pt x="2687" y="768"/>
                  <a:pt x="2687" y="768"/>
                </a:cubicBezTo>
                <a:cubicBezTo>
                  <a:pt x="2690" y="767"/>
                  <a:pt x="2690" y="767"/>
                  <a:pt x="2690" y="767"/>
                </a:cubicBezTo>
                <a:cubicBezTo>
                  <a:pt x="2692" y="765"/>
                  <a:pt x="2692" y="765"/>
                  <a:pt x="2692" y="765"/>
                </a:cubicBezTo>
                <a:cubicBezTo>
                  <a:pt x="2693" y="766"/>
                  <a:pt x="2693" y="766"/>
                  <a:pt x="2693" y="766"/>
                </a:cubicBezTo>
                <a:cubicBezTo>
                  <a:pt x="2694" y="765"/>
                  <a:pt x="2694" y="765"/>
                  <a:pt x="2694" y="765"/>
                </a:cubicBezTo>
                <a:cubicBezTo>
                  <a:pt x="2696" y="767"/>
                  <a:pt x="2696" y="767"/>
                  <a:pt x="2696" y="767"/>
                </a:cubicBezTo>
                <a:cubicBezTo>
                  <a:pt x="2697" y="765"/>
                  <a:pt x="2697" y="765"/>
                  <a:pt x="2697" y="765"/>
                </a:cubicBezTo>
                <a:cubicBezTo>
                  <a:pt x="2696" y="764"/>
                  <a:pt x="2696" y="764"/>
                  <a:pt x="2696" y="764"/>
                </a:cubicBezTo>
                <a:cubicBezTo>
                  <a:pt x="2695" y="763"/>
                  <a:pt x="2695" y="763"/>
                  <a:pt x="2695" y="763"/>
                </a:cubicBezTo>
                <a:cubicBezTo>
                  <a:pt x="2695" y="762"/>
                  <a:pt x="2695" y="762"/>
                  <a:pt x="2695" y="762"/>
                </a:cubicBezTo>
                <a:cubicBezTo>
                  <a:pt x="2697" y="763"/>
                  <a:pt x="2697" y="763"/>
                  <a:pt x="2697" y="763"/>
                </a:cubicBezTo>
                <a:cubicBezTo>
                  <a:pt x="2698" y="762"/>
                  <a:pt x="2698" y="762"/>
                  <a:pt x="2698" y="762"/>
                </a:cubicBezTo>
                <a:cubicBezTo>
                  <a:pt x="2698" y="761"/>
                  <a:pt x="2698" y="761"/>
                  <a:pt x="2698" y="761"/>
                </a:cubicBezTo>
                <a:cubicBezTo>
                  <a:pt x="2697" y="761"/>
                  <a:pt x="2697" y="761"/>
                  <a:pt x="2697" y="761"/>
                </a:cubicBezTo>
                <a:cubicBezTo>
                  <a:pt x="2696" y="759"/>
                  <a:pt x="2696" y="759"/>
                  <a:pt x="2696" y="759"/>
                </a:cubicBezTo>
                <a:cubicBezTo>
                  <a:pt x="2695" y="759"/>
                  <a:pt x="2695" y="759"/>
                  <a:pt x="2695" y="759"/>
                </a:cubicBezTo>
                <a:cubicBezTo>
                  <a:pt x="2697" y="758"/>
                  <a:pt x="2697" y="758"/>
                  <a:pt x="2697" y="758"/>
                </a:cubicBezTo>
                <a:cubicBezTo>
                  <a:pt x="2698" y="759"/>
                  <a:pt x="2698" y="759"/>
                  <a:pt x="2698" y="759"/>
                </a:cubicBezTo>
                <a:cubicBezTo>
                  <a:pt x="2699" y="759"/>
                  <a:pt x="2699" y="759"/>
                  <a:pt x="2699" y="759"/>
                </a:cubicBezTo>
                <a:cubicBezTo>
                  <a:pt x="2699" y="760"/>
                  <a:pt x="2699" y="760"/>
                  <a:pt x="2699" y="760"/>
                </a:cubicBezTo>
                <a:cubicBezTo>
                  <a:pt x="2699" y="759"/>
                  <a:pt x="2699" y="759"/>
                  <a:pt x="2699" y="759"/>
                </a:cubicBezTo>
                <a:cubicBezTo>
                  <a:pt x="2698" y="757"/>
                  <a:pt x="2698" y="757"/>
                  <a:pt x="2698" y="757"/>
                </a:cubicBezTo>
                <a:cubicBezTo>
                  <a:pt x="2698" y="756"/>
                  <a:pt x="2698" y="756"/>
                  <a:pt x="2698" y="756"/>
                </a:cubicBezTo>
                <a:cubicBezTo>
                  <a:pt x="2699" y="756"/>
                  <a:pt x="2699" y="756"/>
                  <a:pt x="2699" y="756"/>
                </a:cubicBezTo>
                <a:cubicBezTo>
                  <a:pt x="2699" y="754"/>
                  <a:pt x="2699" y="754"/>
                  <a:pt x="2699" y="754"/>
                </a:cubicBezTo>
                <a:cubicBezTo>
                  <a:pt x="2701" y="756"/>
                  <a:pt x="2701" y="756"/>
                  <a:pt x="2701" y="756"/>
                </a:cubicBezTo>
                <a:cubicBezTo>
                  <a:pt x="2701" y="757"/>
                  <a:pt x="2701" y="757"/>
                  <a:pt x="2701" y="757"/>
                </a:cubicBezTo>
                <a:cubicBezTo>
                  <a:pt x="2702" y="757"/>
                  <a:pt x="2702" y="757"/>
                  <a:pt x="2702" y="757"/>
                </a:cubicBezTo>
                <a:cubicBezTo>
                  <a:pt x="2703" y="759"/>
                  <a:pt x="2703" y="759"/>
                  <a:pt x="2703" y="759"/>
                </a:cubicBezTo>
                <a:cubicBezTo>
                  <a:pt x="2703" y="756"/>
                  <a:pt x="2703" y="756"/>
                  <a:pt x="2703" y="756"/>
                </a:cubicBezTo>
                <a:cubicBezTo>
                  <a:pt x="2703" y="755"/>
                  <a:pt x="2703" y="755"/>
                  <a:pt x="2703" y="755"/>
                </a:cubicBezTo>
                <a:cubicBezTo>
                  <a:pt x="2702" y="755"/>
                  <a:pt x="2702" y="755"/>
                  <a:pt x="2702" y="755"/>
                </a:cubicBezTo>
                <a:cubicBezTo>
                  <a:pt x="2701" y="754"/>
                  <a:pt x="2701" y="754"/>
                  <a:pt x="2701" y="754"/>
                </a:cubicBezTo>
                <a:cubicBezTo>
                  <a:pt x="2703" y="753"/>
                  <a:pt x="2703" y="753"/>
                  <a:pt x="2703" y="753"/>
                </a:cubicBezTo>
                <a:cubicBezTo>
                  <a:pt x="2703" y="752"/>
                  <a:pt x="2703" y="752"/>
                  <a:pt x="2703" y="752"/>
                </a:cubicBezTo>
                <a:cubicBezTo>
                  <a:pt x="2701" y="752"/>
                  <a:pt x="2701" y="752"/>
                  <a:pt x="2701" y="752"/>
                </a:cubicBezTo>
                <a:cubicBezTo>
                  <a:pt x="2703" y="750"/>
                  <a:pt x="2703" y="750"/>
                  <a:pt x="2703" y="750"/>
                </a:cubicBezTo>
                <a:cubicBezTo>
                  <a:pt x="2702" y="748"/>
                  <a:pt x="2702" y="748"/>
                  <a:pt x="2702" y="748"/>
                </a:cubicBezTo>
                <a:cubicBezTo>
                  <a:pt x="2701" y="749"/>
                  <a:pt x="2701" y="749"/>
                  <a:pt x="2701" y="749"/>
                </a:cubicBezTo>
                <a:cubicBezTo>
                  <a:pt x="2700" y="749"/>
                  <a:pt x="2700" y="749"/>
                  <a:pt x="2700" y="749"/>
                </a:cubicBezTo>
                <a:cubicBezTo>
                  <a:pt x="2700" y="748"/>
                  <a:pt x="2700" y="748"/>
                  <a:pt x="2700" y="748"/>
                </a:cubicBezTo>
                <a:cubicBezTo>
                  <a:pt x="2702" y="746"/>
                  <a:pt x="2702" y="746"/>
                  <a:pt x="2702" y="746"/>
                </a:cubicBezTo>
                <a:cubicBezTo>
                  <a:pt x="2706" y="745"/>
                  <a:pt x="2706" y="745"/>
                  <a:pt x="2706" y="745"/>
                </a:cubicBezTo>
                <a:cubicBezTo>
                  <a:pt x="2705" y="744"/>
                  <a:pt x="2705" y="744"/>
                  <a:pt x="2705" y="744"/>
                </a:cubicBezTo>
                <a:cubicBezTo>
                  <a:pt x="2703" y="745"/>
                  <a:pt x="2703" y="745"/>
                  <a:pt x="2703" y="745"/>
                </a:cubicBezTo>
                <a:cubicBezTo>
                  <a:pt x="2701" y="743"/>
                  <a:pt x="2701" y="743"/>
                  <a:pt x="2701" y="743"/>
                </a:cubicBezTo>
                <a:cubicBezTo>
                  <a:pt x="2703" y="743"/>
                  <a:pt x="2703" y="743"/>
                  <a:pt x="2703" y="743"/>
                </a:cubicBezTo>
                <a:cubicBezTo>
                  <a:pt x="2702" y="741"/>
                  <a:pt x="2702" y="741"/>
                  <a:pt x="2702" y="741"/>
                </a:cubicBezTo>
                <a:cubicBezTo>
                  <a:pt x="2700" y="741"/>
                  <a:pt x="2700" y="741"/>
                  <a:pt x="2700" y="741"/>
                </a:cubicBezTo>
                <a:cubicBezTo>
                  <a:pt x="2701" y="740"/>
                  <a:pt x="2701" y="740"/>
                  <a:pt x="2701" y="740"/>
                </a:cubicBezTo>
                <a:cubicBezTo>
                  <a:pt x="2700" y="739"/>
                  <a:pt x="2700" y="739"/>
                  <a:pt x="2700" y="739"/>
                </a:cubicBezTo>
                <a:cubicBezTo>
                  <a:pt x="2702" y="739"/>
                  <a:pt x="2702" y="739"/>
                  <a:pt x="2702" y="739"/>
                </a:cubicBezTo>
                <a:cubicBezTo>
                  <a:pt x="2702" y="737"/>
                  <a:pt x="2702" y="737"/>
                  <a:pt x="2702" y="737"/>
                </a:cubicBezTo>
                <a:cubicBezTo>
                  <a:pt x="2703" y="737"/>
                  <a:pt x="2703" y="737"/>
                  <a:pt x="2703" y="737"/>
                </a:cubicBezTo>
                <a:cubicBezTo>
                  <a:pt x="2704" y="737"/>
                  <a:pt x="2704" y="737"/>
                  <a:pt x="2704" y="737"/>
                </a:cubicBezTo>
                <a:cubicBezTo>
                  <a:pt x="2704" y="739"/>
                  <a:pt x="2704" y="739"/>
                  <a:pt x="2704" y="739"/>
                </a:cubicBezTo>
                <a:cubicBezTo>
                  <a:pt x="2705" y="739"/>
                  <a:pt x="2705" y="739"/>
                  <a:pt x="2705" y="739"/>
                </a:cubicBezTo>
                <a:cubicBezTo>
                  <a:pt x="2707" y="737"/>
                  <a:pt x="2707" y="737"/>
                  <a:pt x="2707" y="737"/>
                </a:cubicBezTo>
                <a:cubicBezTo>
                  <a:pt x="2708" y="735"/>
                  <a:pt x="2708" y="735"/>
                  <a:pt x="2708" y="735"/>
                </a:cubicBezTo>
                <a:cubicBezTo>
                  <a:pt x="2710" y="736"/>
                  <a:pt x="2710" y="736"/>
                  <a:pt x="2710" y="736"/>
                </a:cubicBezTo>
                <a:cubicBezTo>
                  <a:pt x="2709" y="734"/>
                  <a:pt x="2709" y="734"/>
                  <a:pt x="2709" y="734"/>
                </a:cubicBezTo>
                <a:cubicBezTo>
                  <a:pt x="2707" y="734"/>
                  <a:pt x="2707" y="734"/>
                  <a:pt x="2707" y="734"/>
                </a:cubicBezTo>
                <a:cubicBezTo>
                  <a:pt x="2707" y="732"/>
                  <a:pt x="2707" y="732"/>
                  <a:pt x="2707" y="732"/>
                </a:cubicBezTo>
                <a:cubicBezTo>
                  <a:pt x="2709" y="733"/>
                  <a:pt x="2709" y="733"/>
                  <a:pt x="2709" y="733"/>
                </a:cubicBezTo>
                <a:cubicBezTo>
                  <a:pt x="2711" y="733"/>
                  <a:pt x="2711" y="733"/>
                  <a:pt x="2711" y="733"/>
                </a:cubicBezTo>
                <a:cubicBezTo>
                  <a:pt x="2710" y="731"/>
                  <a:pt x="2710" y="731"/>
                  <a:pt x="2710" y="731"/>
                </a:cubicBezTo>
                <a:cubicBezTo>
                  <a:pt x="2711" y="730"/>
                  <a:pt x="2711" y="730"/>
                  <a:pt x="2711" y="730"/>
                </a:cubicBezTo>
                <a:cubicBezTo>
                  <a:pt x="2710" y="729"/>
                  <a:pt x="2710" y="729"/>
                  <a:pt x="2710" y="729"/>
                </a:cubicBezTo>
                <a:cubicBezTo>
                  <a:pt x="2710" y="728"/>
                  <a:pt x="2710" y="728"/>
                  <a:pt x="2710" y="728"/>
                </a:cubicBezTo>
                <a:cubicBezTo>
                  <a:pt x="2712" y="727"/>
                  <a:pt x="2712" y="727"/>
                  <a:pt x="2712" y="727"/>
                </a:cubicBezTo>
                <a:cubicBezTo>
                  <a:pt x="2711" y="726"/>
                  <a:pt x="2711" y="726"/>
                  <a:pt x="2711" y="726"/>
                </a:cubicBezTo>
                <a:cubicBezTo>
                  <a:pt x="2711" y="724"/>
                  <a:pt x="2711" y="724"/>
                  <a:pt x="2711" y="724"/>
                </a:cubicBezTo>
                <a:cubicBezTo>
                  <a:pt x="2709" y="723"/>
                  <a:pt x="2709" y="723"/>
                  <a:pt x="2709" y="723"/>
                </a:cubicBezTo>
                <a:cubicBezTo>
                  <a:pt x="2712" y="724"/>
                  <a:pt x="2712" y="724"/>
                  <a:pt x="2712" y="724"/>
                </a:cubicBezTo>
                <a:cubicBezTo>
                  <a:pt x="2713" y="723"/>
                  <a:pt x="2713" y="723"/>
                  <a:pt x="2713" y="723"/>
                </a:cubicBezTo>
                <a:cubicBezTo>
                  <a:pt x="2714" y="720"/>
                  <a:pt x="2714" y="720"/>
                  <a:pt x="2714" y="720"/>
                </a:cubicBezTo>
                <a:cubicBezTo>
                  <a:pt x="2716" y="719"/>
                  <a:pt x="2716" y="719"/>
                  <a:pt x="2716" y="719"/>
                </a:cubicBezTo>
                <a:cubicBezTo>
                  <a:pt x="2716" y="721"/>
                  <a:pt x="2716" y="721"/>
                  <a:pt x="2716" y="721"/>
                </a:cubicBezTo>
                <a:cubicBezTo>
                  <a:pt x="2717" y="722"/>
                  <a:pt x="2717" y="722"/>
                  <a:pt x="2717" y="722"/>
                </a:cubicBezTo>
                <a:cubicBezTo>
                  <a:pt x="2717" y="720"/>
                  <a:pt x="2717" y="720"/>
                  <a:pt x="2717" y="720"/>
                </a:cubicBezTo>
                <a:cubicBezTo>
                  <a:pt x="2719" y="719"/>
                  <a:pt x="2719" y="719"/>
                  <a:pt x="2719" y="719"/>
                </a:cubicBezTo>
                <a:cubicBezTo>
                  <a:pt x="2718" y="717"/>
                  <a:pt x="2718" y="717"/>
                  <a:pt x="2718" y="717"/>
                </a:cubicBezTo>
                <a:cubicBezTo>
                  <a:pt x="2716" y="717"/>
                  <a:pt x="2716" y="717"/>
                  <a:pt x="2716" y="717"/>
                </a:cubicBezTo>
                <a:cubicBezTo>
                  <a:pt x="2715" y="716"/>
                  <a:pt x="2715" y="716"/>
                  <a:pt x="2715" y="716"/>
                </a:cubicBezTo>
                <a:cubicBezTo>
                  <a:pt x="2716" y="715"/>
                  <a:pt x="2716" y="715"/>
                  <a:pt x="2716" y="715"/>
                </a:cubicBezTo>
                <a:cubicBezTo>
                  <a:pt x="2717" y="716"/>
                  <a:pt x="2717" y="716"/>
                  <a:pt x="2717" y="716"/>
                </a:cubicBezTo>
                <a:cubicBezTo>
                  <a:pt x="2718" y="715"/>
                  <a:pt x="2718" y="715"/>
                  <a:pt x="2718" y="715"/>
                </a:cubicBezTo>
                <a:cubicBezTo>
                  <a:pt x="2717" y="714"/>
                  <a:pt x="2717" y="714"/>
                  <a:pt x="2717" y="714"/>
                </a:cubicBezTo>
                <a:cubicBezTo>
                  <a:pt x="2716" y="713"/>
                  <a:pt x="2716" y="713"/>
                  <a:pt x="2716" y="713"/>
                </a:cubicBezTo>
                <a:cubicBezTo>
                  <a:pt x="2717" y="712"/>
                  <a:pt x="2717" y="712"/>
                  <a:pt x="2717" y="712"/>
                </a:cubicBezTo>
                <a:cubicBezTo>
                  <a:pt x="2718" y="712"/>
                  <a:pt x="2718" y="712"/>
                  <a:pt x="2718" y="712"/>
                </a:cubicBezTo>
                <a:cubicBezTo>
                  <a:pt x="2718" y="711"/>
                  <a:pt x="2718" y="711"/>
                  <a:pt x="2718" y="711"/>
                </a:cubicBezTo>
                <a:cubicBezTo>
                  <a:pt x="2717" y="710"/>
                  <a:pt x="2717" y="710"/>
                  <a:pt x="2717" y="710"/>
                </a:cubicBezTo>
                <a:cubicBezTo>
                  <a:pt x="2714" y="710"/>
                  <a:pt x="2714" y="710"/>
                  <a:pt x="2714" y="710"/>
                </a:cubicBezTo>
                <a:cubicBezTo>
                  <a:pt x="2714" y="709"/>
                  <a:pt x="2714" y="709"/>
                  <a:pt x="2714" y="709"/>
                </a:cubicBezTo>
                <a:cubicBezTo>
                  <a:pt x="2716" y="707"/>
                  <a:pt x="2716" y="707"/>
                  <a:pt x="2716" y="707"/>
                </a:cubicBezTo>
                <a:cubicBezTo>
                  <a:pt x="2718" y="708"/>
                  <a:pt x="2718" y="708"/>
                  <a:pt x="2718" y="708"/>
                </a:cubicBezTo>
                <a:cubicBezTo>
                  <a:pt x="2719" y="707"/>
                  <a:pt x="2719" y="707"/>
                  <a:pt x="2719" y="707"/>
                </a:cubicBezTo>
                <a:cubicBezTo>
                  <a:pt x="2719" y="706"/>
                  <a:pt x="2719" y="706"/>
                  <a:pt x="2719" y="706"/>
                </a:cubicBezTo>
                <a:cubicBezTo>
                  <a:pt x="2720" y="707"/>
                  <a:pt x="2720" y="707"/>
                  <a:pt x="2720" y="707"/>
                </a:cubicBezTo>
                <a:cubicBezTo>
                  <a:pt x="2720" y="708"/>
                  <a:pt x="2720" y="708"/>
                  <a:pt x="2720" y="708"/>
                </a:cubicBezTo>
                <a:cubicBezTo>
                  <a:pt x="2722" y="707"/>
                  <a:pt x="2722" y="707"/>
                  <a:pt x="2722" y="707"/>
                </a:cubicBezTo>
                <a:cubicBezTo>
                  <a:pt x="2721" y="705"/>
                  <a:pt x="2721" y="705"/>
                  <a:pt x="2721" y="705"/>
                </a:cubicBezTo>
                <a:cubicBezTo>
                  <a:pt x="2721" y="702"/>
                  <a:pt x="2721" y="702"/>
                  <a:pt x="2721" y="702"/>
                </a:cubicBezTo>
                <a:cubicBezTo>
                  <a:pt x="2720" y="702"/>
                  <a:pt x="2720" y="702"/>
                  <a:pt x="2720" y="702"/>
                </a:cubicBezTo>
                <a:cubicBezTo>
                  <a:pt x="2718" y="703"/>
                  <a:pt x="2718" y="703"/>
                  <a:pt x="2718" y="703"/>
                </a:cubicBezTo>
                <a:cubicBezTo>
                  <a:pt x="2719" y="704"/>
                  <a:pt x="2719" y="704"/>
                  <a:pt x="2719" y="704"/>
                </a:cubicBezTo>
                <a:cubicBezTo>
                  <a:pt x="2719" y="704"/>
                  <a:pt x="2719" y="704"/>
                  <a:pt x="2719" y="704"/>
                </a:cubicBezTo>
                <a:cubicBezTo>
                  <a:pt x="2717" y="704"/>
                  <a:pt x="2717" y="704"/>
                  <a:pt x="2717" y="704"/>
                </a:cubicBezTo>
                <a:cubicBezTo>
                  <a:pt x="2714" y="706"/>
                  <a:pt x="2714" y="706"/>
                  <a:pt x="2714" y="706"/>
                </a:cubicBezTo>
                <a:cubicBezTo>
                  <a:pt x="2713" y="706"/>
                  <a:pt x="2713" y="706"/>
                  <a:pt x="2713" y="706"/>
                </a:cubicBezTo>
                <a:cubicBezTo>
                  <a:pt x="2713" y="704"/>
                  <a:pt x="2713" y="704"/>
                  <a:pt x="2713" y="704"/>
                </a:cubicBezTo>
                <a:cubicBezTo>
                  <a:pt x="2715" y="704"/>
                  <a:pt x="2715" y="704"/>
                  <a:pt x="2715" y="704"/>
                </a:cubicBezTo>
                <a:cubicBezTo>
                  <a:pt x="2720" y="699"/>
                  <a:pt x="2720" y="699"/>
                  <a:pt x="2720" y="699"/>
                </a:cubicBezTo>
                <a:cubicBezTo>
                  <a:pt x="2720" y="699"/>
                  <a:pt x="2720" y="699"/>
                  <a:pt x="2720" y="699"/>
                </a:cubicBezTo>
                <a:cubicBezTo>
                  <a:pt x="2718" y="699"/>
                  <a:pt x="2718" y="699"/>
                  <a:pt x="2718" y="699"/>
                </a:cubicBezTo>
                <a:cubicBezTo>
                  <a:pt x="2717" y="698"/>
                  <a:pt x="2717" y="698"/>
                  <a:pt x="2717" y="698"/>
                </a:cubicBezTo>
                <a:cubicBezTo>
                  <a:pt x="2716" y="699"/>
                  <a:pt x="2716" y="699"/>
                  <a:pt x="2716" y="699"/>
                </a:cubicBezTo>
                <a:cubicBezTo>
                  <a:pt x="2713" y="694"/>
                  <a:pt x="2713" y="694"/>
                  <a:pt x="2713" y="694"/>
                </a:cubicBezTo>
                <a:cubicBezTo>
                  <a:pt x="2711" y="694"/>
                  <a:pt x="2711" y="694"/>
                  <a:pt x="2711" y="694"/>
                </a:cubicBezTo>
                <a:cubicBezTo>
                  <a:pt x="2707" y="697"/>
                  <a:pt x="2707" y="697"/>
                  <a:pt x="2707" y="697"/>
                </a:cubicBezTo>
                <a:cubicBezTo>
                  <a:pt x="2706" y="696"/>
                  <a:pt x="2706" y="696"/>
                  <a:pt x="2706" y="696"/>
                </a:cubicBezTo>
                <a:cubicBezTo>
                  <a:pt x="2704" y="693"/>
                  <a:pt x="2704" y="693"/>
                  <a:pt x="2704" y="693"/>
                </a:cubicBezTo>
                <a:cubicBezTo>
                  <a:pt x="2702" y="694"/>
                  <a:pt x="2702" y="694"/>
                  <a:pt x="2702" y="694"/>
                </a:cubicBezTo>
                <a:cubicBezTo>
                  <a:pt x="2700" y="695"/>
                  <a:pt x="2700" y="695"/>
                  <a:pt x="2700" y="695"/>
                </a:cubicBezTo>
                <a:cubicBezTo>
                  <a:pt x="2699" y="697"/>
                  <a:pt x="2699" y="697"/>
                  <a:pt x="2699" y="697"/>
                </a:cubicBezTo>
                <a:cubicBezTo>
                  <a:pt x="2699" y="695"/>
                  <a:pt x="2699" y="695"/>
                  <a:pt x="2699" y="695"/>
                </a:cubicBezTo>
                <a:cubicBezTo>
                  <a:pt x="2702" y="693"/>
                  <a:pt x="2702" y="693"/>
                  <a:pt x="2702" y="693"/>
                </a:cubicBezTo>
                <a:cubicBezTo>
                  <a:pt x="2703" y="693"/>
                  <a:pt x="2703" y="693"/>
                  <a:pt x="2703" y="693"/>
                </a:cubicBezTo>
                <a:cubicBezTo>
                  <a:pt x="2704" y="692"/>
                  <a:pt x="2704" y="692"/>
                  <a:pt x="2704" y="692"/>
                </a:cubicBezTo>
                <a:cubicBezTo>
                  <a:pt x="2707" y="693"/>
                  <a:pt x="2707" y="693"/>
                  <a:pt x="2707" y="693"/>
                </a:cubicBezTo>
                <a:cubicBezTo>
                  <a:pt x="2708" y="692"/>
                  <a:pt x="2708" y="692"/>
                  <a:pt x="2708" y="692"/>
                </a:cubicBezTo>
                <a:cubicBezTo>
                  <a:pt x="2709" y="691"/>
                  <a:pt x="2709" y="691"/>
                  <a:pt x="2709" y="691"/>
                </a:cubicBezTo>
                <a:cubicBezTo>
                  <a:pt x="2710" y="690"/>
                  <a:pt x="2710" y="690"/>
                  <a:pt x="2710" y="690"/>
                </a:cubicBezTo>
                <a:cubicBezTo>
                  <a:pt x="2711" y="690"/>
                  <a:pt x="2711" y="690"/>
                  <a:pt x="2711" y="690"/>
                </a:cubicBezTo>
                <a:cubicBezTo>
                  <a:pt x="2713" y="687"/>
                  <a:pt x="2713" y="687"/>
                  <a:pt x="2713" y="687"/>
                </a:cubicBezTo>
                <a:cubicBezTo>
                  <a:pt x="2716" y="687"/>
                  <a:pt x="2716" y="687"/>
                  <a:pt x="2716" y="687"/>
                </a:cubicBezTo>
                <a:cubicBezTo>
                  <a:pt x="2716" y="685"/>
                  <a:pt x="2716" y="685"/>
                  <a:pt x="2716" y="685"/>
                </a:cubicBezTo>
                <a:cubicBezTo>
                  <a:pt x="2714" y="681"/>
                  <a:pt x="2714" y="681"/>
                  <a:pt x="2714" y="681"/>
                </a:cubicBezTo>
                <a:cubicBezTo>
                  <a:pt x="2708" y="678"/>
                  <a:pt x="2708" y="678"/>
                  <a:pt x="2708" y="678"/>
                </a:cubicBezTo>
                <a:cubicBezTo>
                  <a:pt x="2705" y="676"/>
                  <a:pt x="2705" y="676"/>
                  <a:pt x="2705" y="676"/>
                </a:cubicBezTo>
                <a:cubicBezTo>
                  <a:pt x="2701" y="672"/>
                  <a:pt x="2701" y="672"/>
                  <a:pt x="2701" y="672"/>
                </a:cubicBezTo>
                <a:cubicBezTo>
                  <a:pt x="2699" y="672"/>
                  <a:pt x="2699" y="672"/>
                  <a:pt x="2699" y="672"/>
                </a:cubicBezTo>
                <a:cubicBezTo>
                  <a:pt x="2696" y="674"/>
                  <a:pt x="2696" y="674"/>
                  <a:pt x="2696" y="674"/>
                </a:cubicBezTo>
                <a:cubicBezTo>
                  <a:pt x="2694" y="674"/>
                  <a:pt x="2694" y="674"/>
                  <a:pt x="2694" y="674"/>
                </a:cubicBezTo>
                <a:cubicBezTo>
                  <a:pt x="2691" y="672"/>
                  <a:pt x="2691" y="672"/>
                  <a:pt x="2691" y="672"/>
                </a:cubicBezTo>
                <a:cubicBezTo>
                  <a:pt x="2691" y="671"/>
                  <a:pt x="2691" y="671"/>
                  <a:pt x="2691" y="671"/>
                </a:cubicBezTo>
                <a:cubicBezTo>
                  <a:pt x="2690" y="670"/>
                  <a:pt x="2690" y="670"/>
                  <a:pt x="2690" y="670"/>
                </a:cubicBezTo>
                <a:cubicBezTo>
                  <a:pt x="2688" y="671"/>
                  <a:pt x="2688" y="671"/>
                  <a:pt x="2688" y="671"/>
                </a:cubicBezTo>
                <a:cubicBezTo>
                  <a:pt x="2685" y="671"/>
                  <a:pt x="2685" y="671"/>
                  <a:pt x="2685" y="671"/>
                </a:cubicBezTo>
                <a:cubicBezTo>
                  <a:pt x="2683" y="671"/>
                  <a:pt x="2683" y="671"/>
                  <a:pt x="2683" y="671"/>
                </a:cubicBezTo>
                <a:cubicBezTo>
                  <a:pt x="2680" y="675"/>
                  <a:pt x="2680" y="675"/>
                  <a:pt x="2680" y="675"/>
                </a:cubicBezTo>
                <a:cubicBezTo>
                  <a:pt x="2683" y="670"/>
                  <a:pt x="2683" y="670"/>
                  <a:pt x="2683" y="670"/>
                </a:cubicBezTo>
                <a:cubicBezTo>
                  <a:pt x="2685" y="669"/>
                  <a:pt x="2685" y="669"/>
                  <a:pt x="2685" y="669"/>
                </a:cubicBezTo>
                <a:cubicBezTo>
                  <a:pt x="2686" y="670"/>
                  <a:pt x="2686" y="670"/>
                  <a:pt x="2686" y="670"/>
                </a:cubicBezTo>
                <a:cubicBezTo>
                  <a:pt x="2687" y="670"/>
                  <a:pt x="2687" y="670"/>
                  <a:pt x="2687" y="670"/>
                </a:cubicBezTo>
                <a:cubicBezTo>
                  <a:pt x="2688" y="669"/>
                  <a:pt x="2688" y="669"/>
                  <a:pt x="2688" y="669"/>
                </a:cubicBezTo>
                <a:cubicBezTo>
                  <a:pt x="2689" y="670"/>
                  <a:pt x="2689" y="670"/>
                  <a:pt x="2689" y="670"/>
                </a:cubicBezTo>
                <a:cubicBezTo>
                  <a:pt x="2692" y="669"/>
                  <a:pt x="2692" y="669"/>
                  <a:pt x="2692" y="669"/>
                </a:cubicBezTo>
                <a:cubicBezTo>
                  <a:pt x="2693" y="672"/>
                  <a:pt x="2693" y="672"/>
                  <a:pt x="2693" y="672"/>
                </a:cubicBezTo>
                <a:cubicBezTo>
                  <a:pt x="2694" y="673"/>
                  <a:pt x="2694" y="673"/>
                  <a:pt x="2694" y="673"/>
                </a:cubicBezTo>
                <a:cubicBezTo>
                  <a:pt x="2696" y="673"/>
                  <a:pt x="2696" y="673"/>
                  <a:pt x="2696" y="673"/>
                </a:cubicBezTo>
                <a:cubicBezTo>
                  <a:pt x="2698" y="671"/>
                  <a:pt x="2698" y="671"/>
                  <a:pt x="2698" y="671"/>
                </a:cubicBezTo>
                <a:cubicBezTo>
                  <a:pt x="2701" y="672"/>
                  <a:pt x="2701" y="672"/>
                  <a:pt x="2701" y="672"/>
                </a:cubicBezTo>
                <a:cubicBezTo>
                  <a:pt x="2703" y="673"/>
                  <a:pt x="2703" y="673"/>
                  <a:pt x="2703" y="673"/>
                </a:cubicBezTo>
                <a:cubicBezTo>
                  <a:pt x="2705" y="673"/>
                  <a:pt x="2705" y="673"/>
                  <a:pt x="2705" y="673"/>
                </a:cubicBezTo>
                <a:cubicBezTo>
                  <a:pt x="2707" y="675"/>
                  <a:pt x="2707" y="675"/>
                  <a:pt x="2707" y="675"/>
                </a:cubicBezTo>
                <a:cubicBezTo>
                  <a:pt x="2710" y="674"/>
                  <a:pt x="2710" y="674"/>
                  <a:pt x="2710" y="674"/>
                </a:cubicBezTo>
                <a:cubicBezTo>
                  <a:pt x="2714" y="675"/>
                  <a:pt x="2714" y="675"/>
                  <a:pt x="2714" y="675"/>
                </a:cubicBezTo>
                <a:cubicBezTo>
                  <a:pt x="2715" y="674"/>
                  <a:pt x="2715" y="674"/>
                  <a:pt x="2715" y="674"/>
                </a:cubicBezTo>
                <a:cubicBezTo>
                  <a:pt x="2713" y="671"/>
                  <a:pt x="2713" y="671"/>
                  <a:pt x="2713" y="671"/>
                </a:cubicBezTo>
                <a:cubicBezTo>
                  <a:pt x="2712" y="671"/>
                  <a:pt x="2712" y="671"/>
                  <a:pt x="2712" y="671"/>
                </a:cubicBezTo>
                <a:cubicBezTo>
                  <a:pt x="2710" y="668"/>
                  <a:pt x="2710" y="668"/>
                  <a:pt x="2710" y="668"/>
                </a:cubicBezTo>
                <a:cubicBezTo>
                  <a:pt x="2710" y="667"/>
                  <a:pt x="2710" y="667"/>
                  <a:pt x="2710" y="667"/>
                </a:cubicBezTo>
                <a:cubicBezTo>
                  <a:pt x="2709" y="666"/>
                  <a:pt x="2709" y="666"/>
                  <a:pt x="2709" y="666"/>
                </a:cubicBezTo>
                <a:cubicBezTo>
                  <a:pt x="2707" y="667"/>
                  <a:pt x="2707" y="667"/>
                  <a:pt x="2707" y="667"/>
                </a:cubicBezTo>
                <a:cubicBezTo>
                  <a:pt x="2705" y="666"/>
                  <a:pt x="2705" y="666"/>
                  <a:pt x="2705" y="666"/>
                </a:cubicBezTo>
                <a:cubicBezTo>
                  <a:pt x="2702" y="662"/>
                  <a:pt x="2702" y="662"/>
                  <a:pt x="2702" y="662"/>
                </a:cubicBezTo>
                <a:cubicBezTo>
                  <a:pt x="2702" y="659"/>
                  <a:pt x="2702" y="659"/>
                  <a:pt x="2702" y="659"/>
                </a:cubicBezTo>
                <a:cubicBezTo>
                  <a:pt x="2698" y="656"/>
                  <a:pt x="2698" y="656"/>
                  <a:pt x="2698" y="656"/>
                </a:cubicBezTo>
                <a:cubicBezTo>
                  <a:pt x="2698" y="653"/>
                  <a:pt x="2698" y="653"/>
                  <a:pt x="2698" y="653"/>
                </a:cubicBezTo>
                <a:cubicBezTo>
                  <a:pt x="2696" y="652"/>
                  <a:pt x="2696" y="652"/>
                  <a:pt x="2696" y="652"/>
                </a:cubicBezTo>
                <a:cubicBezTo>
                  <a:pt x="2697" y="650"/>
                  <a:pt x="2697" y="650"/>
                  <a:pt x="2697" y="650"/>
                </a:cubicBezTo>
                <a:cubicBezTo>
                  <a:pt x="2696" y="650"/>
                  <a:pt x="2696" y="650"/>
                  <a:pt x="2696" y="650"/>
                </a:cubicBezTo>
                <a:cubicBezTo>
                  <a:pt x="2693" y="644"/>
                  <a:pt x="2693" y="644"/>
                  <a:pt x="2693" y="644"/>
                </a:cubicBezTo>
                <a:cubicBezTo>
                  <a:pt x="2687" y="641"/>
                  <a:pt x="2687" y="641"/>
                  <a:pt x="2687" y="641"/>
                </a:cubicBezTo>
                <a:cubicBezTo>
                  <a:pt x="2686" y="642"/>
                  <a:pt x="2686" y="642"/>
                  <a:pt x="2686" y="642"/>
                </a:cubicBezTo>
                <a:cubicBezTo>
                  <a:pt x="2686" y="640"/>
                  <a:pt x="2686" y="640"/>
                  <a:pt x="2686" y="640"/>
                </a:cubicBezTo>
                <a:cubicBezTo>
                  <a:pt x="2681" y="638"/>
                  <a:pt x="2681" y="638"/>
                  <a:pt x="2681" y="638"/>
                </a:cubicBezTo>
                <a:cubicBezTo>
                  <a:pt x="2680" y="638"/>
                  <a:pt x="2680" y="638"/>
                  <a:pt x="2680" y="638"/>
                </a:cubicBezTo>
                <a:cubicBezTo>
                  <a:pt x="2680" y="633"/>
                  <a:pt x="2680" y="633"/>
                  <a:pt x="2680" y="633"/>
                </a:cubicBezTo>
                <a:cubicBezTo>
                  <a:pt x="2681" y="629"/>
                  <a:pt x="2681" y="629"/>
                  <a:pt x="2681" y="629"/>
                </a:cubicBezTo>
                <a:cubicBezTo>
                  <a:pt x="2680" y="627"/>
                  <a:pt x="2680" y="627"/>
                  <a:pt x="2680" y="627"/>
                </a:cubicBezTo>
                <a:cubicBezTo>
                  <a:pt x="2681" y="624"/>
                  <a:pt x="2681" y="624"/>
                  <a:pt x="2681" y="624"/>
                </a:cubicBezTo>
                <a:cubicBezTo>
                  <a:pt x="2681" y="625"/>
                  <a:pt x="2681" y="625"/>
                  <a:pt x="2681" y="625"/>
                </a:cubicBezTo>
                <a:cubicBezTo>
                  <a:pt x="2683" y="624"/>
                  <a:pt x="2683" y="624"/>
                  <a:pt x="2683" y="624"/>
                </a:cubicBezTo>
                <a:cubicBezTo>
                  <a:pt x="2684" y="621"/>
                  <a:pt x="2684" y="621"/>
                  <a:pt x="2684" y="621"/>
                </a:cubicBezTo>
                <a:cubicBezTo>
                  <a:pt x="2685" y="622"/>
                  <a:pt x="2685" y="622"/>
                  <a:pt x="2685" y="622"/>
                </a:cubicBezTo>
                <a:cubicBezTo>
                  <a:pt x="2687" y="620"/>
                  <a:pt x="2687" y="620"/>
                  <a:pt x="2687" y="620"/>
                </a:cubicBezTo>
                <a:cubicBezTo>
                  <a:pt x="2685" y="618"/>
                  <a:pt x="2685" y="618"/>
                  <a:pt x="2685" y="618"/>
                </a:cubicBezTo>
                <a:cubicBezTo>
                  <a:pt x="2684" y="617"/>
                  <a:pt x="2684" y="617"/>
                  <a:pt x="2684" y="617"/>
                </a:cubicBezTo>
                <a:cubicBezTo>
                  <a:pt x="2686" y="615"/>
                  <a:pt x="2686" y="615"/>
                  <a:pt x="2686" y="615"/>
                </a:cubicBezTo>
                <a:cubicBezTo>
                  <a:pt x="2689" y="616"/>
                  <a:pt x="2689" y="616"/>
                  <a:pt x="2689" y="616"/>
                </a:cubicBezTo>
                <a:cubicBezTo>
                  <a:pt x="2689" y="613"/>
                  <a:pt x="2689" y="613"/>
                  <a:pt x="2689" y="613"/>
                </a:cubicBezTo>
                <a:cubicBezTo>
                  <a:pt x="2692" y="613"/>
                  <a:pt x="2692" y="613"/>
                  <a:pt x="2692" y="613"/>
                </a:cubicBezTo>
                <a:cubicBezTo>
                  <a:pt x="2692" y="611"/>
                  <a:pt x="2692" y="611"/>
                  <a:pt x="2692" y="611"/>
                </a:cubicBezTo>
                <a:cubicBezTo>
                  <a:pt x="2689" y="610"/>
                  <a:pt x="2689" y="610"/>
                  <a:pt x="2689" y="610"/>
                </a:cubicBezTo>
                <a:cubicBezTo>
                  <a:pt x="2692" y="610"/>
                  <a:pt x="2692" y="610"/>
                  <a:pt x="2692" y="610"/>
                </a:cubicBezTo>
                <a:cubicBezTo>
                  <a:pt x="2693" y="611"/>
                  <a:pt x="2693" y="611"/>
                  <a:pt x="2693" y="611"/>
                </a:cubicBezTo>
                <a:cubicBezTo>
                  <a:pt x="2694" y="610"/>
                  <a:pt x="2694" y="610"/>
                  <a:pt x="2694" y="610"/>
                </a:cubicBezTo>
                <a:cubicBezTo>
                  <a:pt x="2696" y="610"/>
                  <a:pt x="2696" y="610"/>
                  <a:pt x="2696" y="610"/>
                </a:cubicBezTo>
                <a:cubicBezTo>
                  <a:pt x="2697" y="608"/>
                  <a:pt x="2697" y="608"/>
                  <a:pt x="2697" y="608"/>
                </a:cubicBezTo>
                <a:cubicBezTo>
                  <a:pt x="2699" y="608"/>
                  <a:pt x="2699" y="608"/>
                  <a:pt x="2699" y="608"/>
                </a:cubicBezTo>
                <a:cubicBezTo>
                  <a:pt x="2701" y="605"/>
                  <a:pt x="2701" y="605"/>
                  <a:pt x="2701" y="605"/>
                </a:cubicBezTo>
                <a:cubicBezTo>
                  <a:pt x="2702" y="607"/>
                  <a:pt x="2702" y="607"/>
                  <a:pt x="2702" y="607"/>
                </a:cubicBezTo>
                <a:cubicBezTo>
                  <a:pt x="2702" y="605"/>
                  <a:pt x="2702" y="605"/>
                  <a:pt x="2702" y="605"/>
                </a:cubicBezTo>
                <a:cubicBezTo>
                  <a:pt x="2703" y="607"/>
                  <a:pt x="2703" y="607"/>
                  <a:pt x="2703" y="607"/>
                </a:cubicBezTo>
                <a:cubicBezTo>
                  <a:pt x="2705" y="608"/>
                  <a:pt x="2705" y="608"/>
                  <a:pt x="2705" y="608"/>
                </a:cubicBezTo>
                <a:cubicBezTo>
                  <a:pt x="2708" y="606"/>
                  <a:pt x="2708" y="606"/>
                  <a:pt x="2708" y="606"/>
                </a:cubicBezTo>
                <a:cubicBezTo>
                  <a:pt x="2708" y="605"/>
                  <a:pt x="2708" y="605"/>
                  <a:pt x="2708" y="605"/>
                </a:cubicBezTo>
                <a:cubicBezTo>
                  <a:pt x="2706" y="605"/>
                  <a:pt x="2706" y="605"/>
                  <a:pt x="2706" y="605"/>
                </a:cubicBezTo>
                <a:cubicBezTo>
                  <a:pt x="2706" y="603"/>
                  <a:pt x="2706" y="603"/>
                  <a:pt x="2706" y="603"/>
                </a:cubicBezTo>
                <a:cubicBezTo>
                  <a:pt x="2707" y="602"/>
                  <a:pt x="2707" y="602"/>
                  <a:pt x="2707" y="602"/>
                </a:cubicBezTo>
                <a:cubicBezTo>
                  <a:pt x="2708" y="602"/>
                  <a:pt x="2708" y="602"/>
                  <a:pt x="2708" y="602"/>
                </a:cubicBezTo>
                <a:cubicBezTo>
                  <a:pt x="2707" y="600"/>
                  <a:pt x="2707" y="600"/>
                  <a:pt x="2707" y="600"/>
                </a:cubicBezTo>
                <a:cubicBezTo>
                  <a:pt x="2707" y="599"/>
                  <a:pt x="2707" y="599"/>
                  <a:pt x="2707" y="599"/>
                </a:cubicBezTo>
                <a:cubicBezTo>
                  <a:pt x="2709" y="598"/>
                  <a:pt x="2709" y="598"/>
                  <a:pt x="2709" y="598"/>
                </a:cubicBezTo>
                <a:cubicBezTo>
                  <a:pt x="2708" y="597"/>
                  <a:pt x="2708" y="597"/>
                  <a:pt x="2708" y="597"/>
                </a:cubicBezTo>
                <a:cubicBezTo>
                  <a:pt x="2705" y="598"/>
                  <a:pt x="2705" y="598"/>
                  <a:pt x="2705" y="598"/>
                </a:cubicBezTo>
                <a:cubicBezTo>
                  <a:pt x="2702" y="598"/>
                  <a:pt x="2702" y="598"/>
                  <a:pt x="2702" y="598"/>
                </a:cubicBezTo>
                <a:cubicBezTo>
                  <a:pt x="2703" y="597"/>
                  <a:pt x="2703" y="597"/>
                  <a:pt x="2703" y="597"/>
                </a:cubicBezTo>
                <a:cubicBezTo>
                  <a:pt x="2700" y="597"/>
                  <a:pt x="2700" y="597"/>
                  <a:pt x="2700" y="597"/>
                </a:cubicBezTo>
                <a:cubicBezTo>
                  <a:pt x="2699" y="598"/>
                  <a:pt x="2699" y="598"/>
                  <a:pt x="2699" y="598"/>
                </a:cubicBezTo>
                <a:cubicBezTo>
                  <a:pt x="2693" y="598"/>
                  <a:pt x="2693" y="598"/>
                  <a:pt x="2693" y="598"/>
                </a:cubicBezTo>
                <a:cubicBezTo>
                  <a:pt x="2692" y="597"/>
                  <a:pt x="2692" y="597"/>
                  <a:pt x="2692" y="597"/>
                </a:cubicBezTo>
                <a:cubicBezTo>
                  <a:pt x="2691" y="596"/>
                  <a:pt x="2691" y="596"/>
                  <a:pt x="2691" y="596"/>
                </a:cubicBezTo>
                <a:cubicBezTo>
                  <a:pt x="2689" y="595"/>
                  <a:pt x="2689" y="595"/>
                  <a:pt x="2689" y="595"/>
                </a:cubicBezTo>
                <a:cubicBezTo>
                  <a:pt x="2688" y="594"/>
                  <a:pt x="2688" y="594"/>
                  <a:pt x="2688" y="594"/>
                </a:cubicBezTo>
                <a:cubicBezTo>
                  <a:pt x="2688" y="593"/>
                  <a:pt x="2688" y="593"/>
                  <a:pt x="2688" y="593"/>
                </a:cubicBezTo>
                <a:cubicBezTo>
                  <a:pt x="2683" y="596"/>
                  <a:pt x="2683" y="596"/>
                  <a:pt x="2683" y="596"/>
                </a:cubicBezTo>
                <a:cubicBezTo>
                  <a:pt x="2681" y="596"/>
                  <a:pt x="2681" y="596"/>
                  <a:pt x="2681" y="596"/>
                </a:cubicBezTo>
                <a:cubicBezTo>
                  <a:pt x="2681" y="596"/>
                  <a:pt x="2681" y="596"/>
                  <a:pt x="2681" y="596"/>
                </a:cubicBezTo>
                <a:cubicBezTo>
                  <a:pt x="2681" y="598"/>
                  <a:pt x="2681" y="598"/>
                  <a:pt x="2681" y="598"/>
                </a:cubicBezTo>
                <a:cubicBezTo>
                  <a:pt x="2680" y="599"/>
                  <a:pt x="2680" y="599"/>
                  <a:pt x="2680" y="599"/>
                </a:cubicBezTo>
                <a:cubicBezTo>
                  <a:pt x="2677" y="600"/>
                  <a:pt x="2677" y="600"/>
                  <a:pt x="2677" y="600"/>
                </a:cubicBezTo>
                <a:cubicBezTo>
                  <a:pt x="2678" y="601"/>
                  <a:pt x="2678" y="601"/>
                  <a:pt x="2678" y="601"/>
                </a:cubicBezTo>
                <a:cubicBezTo>
                  <a:pt x="2679" y="602"/>
                  <a:pt x="2679" y="602"/>
                  <a:pt x="2679" y="602"/>
                </a:cubicBezTo>
                <a:cubicBezTo>
                  <a:pt x="2678" y="604"/>
                  <a:pt x="2678" y="604"/>
                  <a:pt x="2678" y="604"/>
                </a:cubicBezTo>
                <a:cubicBezTo>
                  <a:pt x="2677" y="605"/>
                  <a:pt x="2677" y="605"/>
                  <a:pt x="2677" y="605"/>
                </a:cubicBezTo>
                <a:cubicBezTo>
                  <a:pt x="2675" y="604"/>
                  <a:pt x="2675" y="604"/>
                  <a:pt x="2675" y="604"/>
                </a:cubicBezTo>
                <a:cubicBezTo>
                  <a:pt x="2673" y="605"/>
                  <a:pt x="2673" y="605"/>
                  <a:pt x="2673" y="605"/>
                </a:cubicBezTo>
                <a:cubicBezTo>
                  <a:pt x="2670" y="605"/>
                  <a:pt x="2670" y="605"/>
                  <a:pt x="2670" y="605"/>
                </a:cubicBezTo>
                <a:cubicBezTo>
                  <a:pt x="2667" y="600"/>
                  <a:pt x="2667" y="600"/>
                  <a:pt x="2667" y="600"/>
                </a:cubicBezTo>
                <a:cubicBezTo>
                  <a:pt x="2667" y="597"/>
                  <a:pt x="2667" y="597"/>
                  <a:pt x="2667" y="597"/>
                </a:cubicBezTo>
                <a:cubicBezTo>
                  <a:pt x="2667" y="595"/>
                  <a:pt x="2667" y="595"/>
                  <a:pt x="2667" y="595"/>
                </a:cubicBezTo>
                <a:cubicBezTo>
                  <a:pt x="2664" y="595"/>
                  <a:pt x="2664" y="595"/>
                  <a:pt x="2664" y="595"/>
                </a:cubicBezTo>
                <a:cubicBezTo>
                  <a:pt x="2663" y="596"/>
                  <a:pt x="2663" y="596"/>
                  <a:pt x="2663" y="596"/>
                </a:cubicBezTo>
                <a:cubicBezTo>
                  <a:pt x="2663" y="595"/>
                  <a:pt x="2663" y="595"/>
                  <a:pt x="2663" y="595"/>
                </a:cubicBezTo>
                <a:cubicBezTo>
                  <a:pt x="2662" y="595"/>
                  <a:pt x="2662" y="595"/>
                  <a:pt x="2662" y="595"/>
                </a:cubicBezTo>
                <a:cubicBezTo>
                  <a:pt x="2661" y="596"/>
                  <a:pt x="2661" y="596"/>
                  <a:pt x="2661" y="596"/>
                </a:cubicBezTo>
                <a:cubicBezTo>
                  <a:pt x="2660" y="595"/>
                  <a:pt x="2660" y="595"/>
                  <a:pt x="2660" y="595"/>
                </a:cubicBezTo>
                <a:cubicBezTo>
                  <a:pt x="2660" y="596"/>
                  <a:pt x="2660" y="596"/>
                  <a:pt x="2660" y="596"/>
                </a:cubicBezTo>
                <a:cubicBezTo>
                  <a:pt x="2659" y="593"/>
                  <a:pt x="2659" y="593"/>
                  <a:pt x="2659" y="593"/>
                </a:cubicBezTo>
                <a:cubicBezTo>
                  <a:pt x="2658" y="592"/>
                  <a:pt x="2658" y="592"/>
                  <a:pt x="2658" y="592"/>
                </a:cubicBezTo>
                <a:cubicBezTo>
                  <a:pt x="2655" y="590"/>
                  <a:pt x="2655" y="590"/>
                  <a:pt x="2655" y="590"/>
                </a:cubicBezTo>
                <a:cubicBezTo>
                  <a:pt x="2653" y="588"/>
                  <a:pt x="2653" y="588"/>
                  <a:pt x="2653" y="588"/>
                </a:cubicBezTo>
                <a:cubicBezTo>
                  <a:pt x="2653" y="586"/>
                  <a:pt x="2653" y="586"/>
                  <a:pt x="2653" y="586"/>
                </a:cubicBezTo>
                <a:cubicBezTo>
                  <a:pt x="2652" y="584"/>
                  <a:pt x="2652" y="584"/>
                  <a:pt x="2652" y="584"/>
                </a:cubicBezTo>
                <a:cubicBezTo>
                  <a:pt x="2652" y="583"/>
                  <a:pt x="2652" y="583"/>
                  <a:pt x="2652" y="583"/>
                </a:cubicBezTo>
                <a:cubicBezTo>
                  <a:pt x="2652" y="582"/>
                  <a:pt x="2652" y="582"/>
                  <a:pt x="2652" y="582"/>
                </a:cubicBezTo>
                <a:cubicBezTo>
                  <a:pt x="2653" y="581"/>
                  <a:pt x="2653" y="581"/>
                  <a:pt x="2653" y="581"/>
                </a:cubicBezTo>
                <a:cubicBezTo>
                  <a:pt x="2653" y="579"/>
                  <a:pt x="2653" y="579"/>
                  <a:pt x="2653" y="579"/>
                </a:cubicBezTo>
                <a:cubicBezTo>
                  <a:pt x="2654" y="578"/>
                  <a:pt x="2654" y="578"/>
                  <a:pt x="2654" y="578"/>
                </a:cubicBezTo>
                <a:cubicBezTo>
                  <a:pt x="2654" y="577"/>
                  <a:pt x="2654" y="577"/>
                  <a:pt x="2654" y="577"/>
                </a:cubicBezTo>
                <a:cubicBezTo>
                  <a:pt x="2658" y="578"/>
                  <a:pt x="2658" y="578"/>
                  <a:pt x="2658" y="578"/>
                </a:cubicBezTo>
                <a:cubicBezTo>
                  <a:pt x="2661" y="578"/>
                  <a:pt x="2661" y="578"/>
                  <a:pt x="2661" y="578"/>
                </a:cubicBezTo>
                <a:cubicBezTo>
                  <a:pt x="2664" y="578"/>
                  <a:pt x="2664" y="578"/>
                  <a:pt x="2664" y="578"/>
                </a:cubicBezTo>
                <a:cubicBezTo>
                  <a:pt x="2665" y="576"/>
                  <a:pt x="2665" y="576"/>
                  <a:pt x="2665" y="576"/>
                </a:cubicBezTo>
                <a:cubicBezTo>
                  <a:pt x="2664" y="575"/>
                  <a:pt x="2664" y="575"/>
                  <a:pt x="2664" y="575"/>
                </a:cubicBezTo>
                <a:cubicBezTo>
                  <a:pt x="2666" y="575"/>
                  <a:pt x="2666" y="575"/>
                  <a:pt x="2666" y="575"/>
                </a:cubicBezTo>
                <a:cubicBezTo>
                  <a:pt x="2666" y="572"/>
                  <a:pt x="2666" y="572"/>
                  <a:pt x="2666" y="572"/>
                </a:cubicBezTo>
                <a:cubicBezTo>
                  <a:pt x="2665" y="572"/>
                  <a:pt x="2665" y="572"/>
                  <a:pt x="2665" y="572"/>
                </a:cubicBezTo>
                <a:cubicBezTo>
                  <a:pt x="2666" y="571"/>
                  <a:pt x="2666" y="571"/>
                  <a:pt x="2666" y="571"/>
                </a:cubicBezTo>
                <a:cubicBezTo>
                  <a:pt x="2667" y="566"/>
                  <a:pt x="2667" y="566"/>
                  <a:pt x="2667" y="566"/>
                </a:cubicBezTo>
                <a:cubicBezTo>
                  <a:pt x="2670" y="564"/>
                  <a:pt x="2670" y="564"/>
                  <a:pt x="2670" y="564"/>
                </a:cubicBezTo>
                <a:cubicBezTo>
                  <a:pt x="2672" y="563"/>
                  <a:pt x="2672" y="563"/>
                  <a:pt x="2672" y="563"/>
                </a:cubicBezTo>
                <a:cubicBezTo>
                  <a:pt x="2674" y="561"/>
                  <a:pt x="2674" y="561"/>
                  <a:pt x="2674" y="561"/>
                </a:cubicBezTo>
                <a:cubicBezTo>
                  <a:pt x="2675" y="560"/>
                  <a:pt x="2675" y="560"/>
                  <a:pt x="2675" y="560"/>
                </a:cubicBezTo>
                <a:cubicBezTo>
                  <a:pt x="2675" y="557"/>
                  <a:pt x="2675" y="557"/>
                  <a:pt x="2675" y="557"/>
                </a:cubicBezTo>
                <a:cubicBezTo>
                  <a:pt x="2677" y="554"/>
                  <a:pt x="2677" y="554"/>
                  <a:pt x="2677" y="554"/>
                </a:cubicBezTo>
                <a:cubicBezTo>
                  <a:pt x="2678" y="552"/>
                  <a:pt x="2678" y="552"/>
                  <a:pt x="2678" y="552"/>
                </a:cubicBezTo>
                <a:cubicBezTo>
                  <a:pt x="2679" y="551"/>
                  <a:pt x="2679" y="551"/>
                  <a:pt x="2679" y="551"/>
                </a:cubicBezTo>
                <a:cubicBezTo>
                  <a:pt x="2680" y="549"/>
                  <a:pt x="2680" y="549"/>
                  <a:pt x="2680" y="549"/>
                </a:cubicBezTo>
                <a:cubicBezTo>
                  <a:pt x="2682" y="549"/>
                  <a:pt x="2682" y="549"/>
                  <a:pt x="2682" y="549"/>
                </a:cubicBezTo>
                <a:cubicBezTo>
                  <a:pt x="2683" y="550"/>
                  <a:pt x="2683" y="550"/>
                  <a:pt x="2683" y="550"/>
                </a:cubicBezTo>
                <a:cubicBezTo>
                  <a:pt x="2685" y="550"/>
                  <a:pt x="2685" y="550"/>
                  <a:pt x="2685" y="550"/>
                </a:cubicBezTo>
                <a:cubicBezTo>
                  <a:pt x="2686" y="548"/>
                  <a:pt x="2686" y="548"/>
                  <a:pt x="2686" y="548"/>
                </a:cubicBezTo>
                <a:cubicBezTo>
                  <a:pt x="2689" y="552"/>
                  <a:pt x="2689" y="552"/>
                  <a:pt x="2689" y="552"/>
                </a:cubicBezTo>
                <a:cubicBezTo>
                  <a:pt x="2693" y="554"/>
                  <a:pt x="2693" y="554"/>
                  <a:pt x="2693" y="554"/>
                </a:cubicBezTo>
                <a:cubicBezTo>
                  <a:pt x="2694" y="556"/>
                  <a:pt x="2694" y="556"/>
                  <a:pt x="2694" y="556"/>
                </a:cubicBezTo>
                <a:cubicBezTo>
                  <a:pt x="2692" y="557"/>
                  <a:pt x="2692" y="557"/>
                  <a:pt x="2692" y="557"/>
                </a:cubicBezTo>
                <a:cubicBezTo>
                  <a:pt x="2692" y="558"/>
                  <a:pt x="2692" y="558"/>
                  <a:pt x="2692" y="558"/>
                </a:cubicBezTo>
                <a:cubicBezTo>
                  <a:pt x="2690" y="561"/>
                  <a:pt x="2690" y="561"/>
                  <a:pt x="2690" y="561"/>
                </a:cubicBezTo>
                <a:cubicBezTo>
                  <a:pt x="2689" y="563"/>
                  <a:pt x="2689" y="563"/>
                  <a:pt x="2689" y="563"/>
                </a:cubicBezTo>
                <a:cubicBezTo>
                  <a:pt x="2688" y="563"/>
                  <a:pt x="2688" y="563"/>
                  <a:pt x="2688" y="563"/>
                </a:cubicBezTo>
                <a:cubicBezTo>
                  <a:pt x="2688" y="564"/>
                  <a:pt x="2688" y="564"/>
                  <a:pt x="2688" y="564"/>
                </a:cubicBezTo>
                <a:cubicBezTo>
                  <a:pt x="2687" y="567"/>
                  <a:pt x="2687" y="567"/>
                  <a:pt x="2687" y="567"/>
                </a:cubicBezTo>
                <a:cubicBezTo>
                  <a:pt x="2690" y="569"/>
                  <a:pt x="2690" y="569"/>
                  <a:pt x="2690" y="569"/>
                </a:cubicBezTo>
                <a:cubicBezTo>
                  <a:pt x="2689" y="570"/>
                  <a:pt x="2689" y="570"/>
                  <a:pt x="2689" y="570"/>
                </a:cubicBezTo>
                <a:cubicBezTo>
                  <a:pt x="2689" y="571"/>
                  <a:pt x="2689" y="571"/>
                  <a:pt x="2689" y="571"/>
                </a:cubicBezTo>
                <a:cubicBezTo>
                  <a:pt x="2689" y="572"/>
                  <a:pt x="2689" y="572"/>
                  <a:pt x="2689" y="572"/>
                </a:cubicBezTo>
                <a:cubicBezTo>
                  <a:pt x="2689" y="573"/>
                  <a:pt x="2689" y="573"/>
                  <a:pt x="2689" y="573"/>
                </a:cubicBezTo>
                <a:cubicBezTo>
                  <a:pt x="2692" y="572"/>
                  <a:pt x="2692" y="572"/>
                  <a:pt x="2692" y="572"/>
                </a:cubicBezTo>
                <a:cubicBezTo>
                  <a:pt x="2694" y="570"/>
                  <a:pt x="2694" y="570"/>
                  <a:pt x="2694" y="570"/>
                </a:cubicBezTo>
                <a:cubicBezTo>
                  <a:pt x="2693" y="572"/>
                  <a:pt x="2693" y="572"/>
                  <a:pt x="2693" y="572"/>
                </a:cubicBezTo>
                <a:cubicBezTo>
                  <a:pt x="2691" y="573"/>
                  <a:pt x="2691" y="573"/>
                  <a:pt x="2691" y="573"/>
                </a:cubicBezTo>
                <a:cubicBezTo>
                  <a:pt x="2691" y="574"/>
                  <a:pt x="2691" y="574"/>
                  <a:pt x="2691" y="574"/>
                </a:cubicBezTo>
                <a:cubicBezTo>
                  <a:pt x="2693" y="575"/>
                  <a:pt x="2693" y="575"/>
                  <a:pt x="2693" y="575"/>
                </a:cubicBezTo>
                <a:cubicBezTo>
                  <a:pt x="2692" y="576"/>
                  <a:pt x="2692" y="576"/>
                  <a:pt x="2692" y="576"/>
                </a:cubicBezTo>
                <a:cubicBezTo>
                  <a:pt x="2692" y="576"/>
                  <a:pt x="2692" y="576"/>
                  <a:pt x="2692" y="576"/>
                </a:cubicBezTo>
                <a:cubicBezTo>
                  <a:pt x="2689" y="576"/>
                  <a:pt x="2689" y="576"/>
                  <a:pt x="2689" y="576"/>
                </a:cubicBezTo>
                <a:cubicBezTo>
                  <a:pt x="2688" y="578"/>
                  <a:pt x="2688" y="578"/>
                  <a:pt x="2688" y="578"/>
                </a:cubicBezTo>
                <a:cubicBezTo>
                  <a:pt x="2687" y="578"/>
                  <a:pt x="2687" y="578"/>
                  <a:pt x="2687" y="578"/>
                </a:cubicBezTo>
                <a:cubicBezTo>
                  <a:pt x="2686" y="579"/>
                  <a:pt x="2686" y="579"/>
                  <a:pt x="2686" y="579"/>
                </a:cubicBezTo>
                <a:cubicBezTo>
                  <a:pt x="2687" y="580"/>
                  <a:pt x="2687" y="580"/>
                  <a:pt x="2687" y="580"/>
                </a:cubicBezTo>
                <a:cubicBezTo>
                  <a:pt x="2688" y="582"/>
                  <a:pt x="2688" y="582"/>
                  <a:pt x="2688" y="582"/>
                </a:cubicBezTo>
                <a:cubicBezTo>
                  <a:pt x="2689" y="582"/>
                  <a:pt x="2689" y="582"/>
                  <a:pt x="2689" y="582"/>
                </a:cubicBezTo>
                <a:cubicBezTo>
                  <a:pt x="2690" y="580"/>
                  <a:pt x="2690" y="580"/>
                  <a:pt x="2690" y="580"/>
                </a:cubicBezTo>
                <a:cubicBezTo>
                  <a:pt x="2691" y="580"/>
                  <a:pt x="2691" y="580"/>
                  <a:pt x="2691" y="580"/>
                </a:cubicBezTo>
                <a:cubicBezTo>
                  <a:pt x="2693" y="578"/>
                  <a:pt x="2693" y="578"/>
                  <a:pt x="2693" y="578"/>
                </a:cubicBezTo>
                <a:cubicBezTo>
                  <a:pt x="2696" y="576"/>
                  <a:pt x="2696" y="576"/>
                  <a:pt x="2696" y="576"/>
                </a:cubicBezTo>
                <a:cubicBezTo>
                  <a:pt x="2696" y="576"/>
                  <a:pt x="2696" y="576"/>
                  <a:pt x="2696" y="576"/>
                </a:cubicBezTo>
                <a:cubicBezTo>
                  <a:pt x="2695" y="574"/>
                  <a:pt x="2695" y="574"/>
                  <a:pt x="2695" y="574"/>
                </a:cubicBezTo>
                <a:cubicBezTo>
                  <a:pt x="2698" y="572"/>
                  <a:pt x="2698" y="572"/>
                  <a:pt x="2698" y="572"/>
                </a:cubicBezTo>
                <a:cubicBezTo>
                  <a:pt x="2702" y="568"/>
                  <a:pt x="2702" y="568"/>
                  <a:pt x="2702" y="568"/>
                </a:cubicBezTo>
                <a:cubicBezTo>
                  <a:pt x="2703" y="569"/>
                  <a:pt x="2703" y="569"/>
                  <a:pt x="2703" y="569"/>
                </a:cubicBezTo>
                <a:cubicBezTo>
                  <a:pt x="2704" y="566"/>
                  <a:pt x="2704" y="566"/>
                  <a:pt x="2704" y="566"/>
                </a:cubicBezTo>
                <a:cubicBezTo>
                  <a:pt x="2706" y="566"/>
                  <a:pt x="2706" y="566"/>
                  <a:pt x="2706" y="566"/>
                </a:cubicBezTo>
                <a:cubicBezTo>
                  <a:pt x="2709" y="565"/>
                  <a:pt x="2709" y="565"/>
                  <a:pt x="2709" y="565"/>
                </a:cubicBezTo>
                <a:cubicBezTo>
                  <a:pt x="2710" y="565"/>
                  <a:pt x="2710" y="565"/>
                  <a:pt x="2710" y="565"/>
                </a:cubicBezTo>
                <a:cubicBezTo>
                  <a:pt x="2711" y="565"/>
                  <a:pt x="2711" y="565"/>
                  <a:pt x="2711" y="565"/>
                </a:cubicBezTo>
                <a:cubicBezTo>
                  <a:pt x="2713" y="565"/>
                  <a:pt x="2713" y="565"/>
                  <a:pt x="2713" y="565"/>
                </a:cubicBezTo>
                <a:cubicBezTo>
                  <a:pt x="2716" y="562"/>
                  <a:pt x="2716" y="562"/>
                  <a:pt x="2716" y="562"/>
                </a:cubicBezTo>
                <a:cubicBezTo>
                  <a:pt x="2717" y="563"/>
                  <a:pt x="2717" y="563"/>
                  <a:pt x="2717" y="563"/>
                </a:cubicBezTo>
                <a:cubicBezTo>
                  <a:pt x="2717" y="563"/>
                  <a:pt x="2717" y="563"/>
                  <a:pt x="2717" y="563"/>
                </a:cubicBezTo>
                <a:cubicBezTo>
                  <a:pt x="2717" y="564"/>
                  <a:pt x="2717" y="564"/>
                  <a:pt x="2717" y="564"/>
                </a:cubicBezTo>
                <a:cubicBezTo>
                  <a:pt x="2718" y="564"/>
                  <a:pt x="2718" y="564"/>
                  <a:pt x="2718" y="564"/>
                </a:cubicBezTo>
                <a:cubicBezTo>
                  <a:pt x="2719" y="567"/>
                  <a:pt x="2719" y="567"/>
                  <a:pt x="2719" y="567"/>
                </a:cubicBezTo>
                <a:cubicBezTo>
                  <a:pt x="2720" y="566"/>
                  <a:pt x="2720" y="566"/>
                  <a:pt x="2720" y="566"/>
                </a:cubicBezTo>
                <a:cubicBezTo>
                  <a:pt x="2720" y="565"/>
                  <a:pt x="2720" y="565"/>
                  <a:pt x="2720" y="565"/>
                </a:cubicBezTo>
                <a:cubicBezTo>
                  <a:pt x="2722" y="566"/>
                  <a:pt x="2722" y="566"/>
                  <a:pt x="2722" y="566"/>
                </a:cubicBezTo>
                <a:cubicBezTo>
                  <a:pt x="2723" y="567"/>
                  <a:pt x="2723" y="567"/>
                  <a:pt x="2723" y="567"/>
                </a:cubicBezTo>
                <a:cubicBezTo>
                  <a:pt x="2727" y="567"/>
                  <a:pt x="2727" y="567"/>
                  <a:pt x="2727" y="567"/>
                </a:cubicBezTo>
                <a:cubicBezTo>
                  <a:pt x="2728" y="566"/>
                  <a:pt x="2728" y="566"/>
                  <a:pt x="2728" y="566"/>
                </a:cubicBezTo>
                <a:cubicBezTo>
                  <a:pt x="2729" y="566"/>
                  <a:pt x="2729" y="566"/>
                  <a:pt x="2729" y="566"/>
                </a:cubicBezTo>
                <a:cubicBezTo>
                  <a:pt x="2728" y="567"/>
                  <a:pt x="2728" y="567"/>
                  <a:pt x="2728" y="567"/>
                </a:cubicBezTo>
                <a:cubicBezTo>
                  <a:pt x="2727" y="568"/>
                  <a:pt x="2727" y="568"/>
                  <a:pt x="2727" y="568"/>
                </a:cubicBezTo>
                <a:cubicBezTo>
                  <a:pt x="2728" y="570"/>
                  <a:pt x="2728" y="570"/>
                  <a:pt x="2728" y="570"/>
                </a:cubicBezTo>
                <a:cubicBezTo>
                  <a:pt x="2726" y="574"/>
                  <a:pt x="2726" y="574"/>
                  <a:pt x="2726" y="574"/>
                </a:cubicBezTo>
                <a:cubicBezTo>
                  <a:pt x="2726" y="579"/>
                  <a:pt x="2726" y="579"/>
                  <a:pt x="2726" y="579"/>
                </a:cubicBezTo>
                <a:cubicBezTo>
                  <a:pt x="2727" y="580"/>
                  <a:pt x="2727" y="580"/>
                  <a:pt x="2727" y="580"/>
                </a:cubicBezTo>
                <a:cubicBezTo>
                  <a:pt x="2730" y="580"/>
                  <a:pt x="2730" y="580"/>
                  <a:pt x="2730" y="580"/>
                </a:cubicBezTo>
                <a:cubicBezTo>
                  <a:pt x="2732" y="579"/>
                  <a:pt x="2732" y="579"/>
                  <a:pt x="2732" y="579"/>
                </a:cubicBezTo>
                <a:cubicBezTo>
                  <a:pt x="2730" y="581"/>
                  <a:pt x="2730" y="581"/>
                  <a:pt x="2730" y="581"/>
                </a:cubicBezTo>
                <a:cubicBezTo>
                  <a:pt x="2728" y="581"/>
                  <a:pt x="2728" y="581"/>
                  <a:pt x="2728" y="581"/>
                </a:cubicBezTo>
                <a:cubicBezTo>
                  <a:pt x="2726" y="584"/>
                  <a:pt x="2726" y="584"/>
                  <a:pt x="2726" y="584"/>
                </a:cubicBezTo>
                <a:cubicBezTo>
                  <a:pt x="2726" y="588"/>
                  <a:pt x="2726" y="588"/>
                  <a:pt x="2726" y="588"/>
                </a:cubicBezTo>
                <a:cubicBezTo>
                  <a:pt x="2726" y="590"/>
                  <a:pt x="2726" y="590"/>
                  <a:pt x="2726" y="590"/>
                </a:cubicBezTo>
                <a:cubicBezTo>
                  <a:pt x="2727" y="590"/>
                  <a:pt x="2727" y="590"/>
                  <a:pt x="2727" y="590"/>
                </a:cubicBezTo>
                <a:cubicBezTo>
                  <a:pt x="2728" y="589"/>
                  <a:pt x="2728" y="589"/>
                  <a:pt x="2728" y="589"/>
                </a:cubicBezTo>
                <a:cubicBezTo>
                  <a:pt x="2730" y="590"/>
                  <a:pt x="2730" y="590"/>
                  <a:pt x="2730" y="590"/>
                </a:cubicBezTo>
                <a:cubicBezTo>
                  <a:pt x="2729" y="593"/>
                  <a:pt x="2729" y="593"/>
                  <a:pt x="2729" y="593"/>
                </a:cubicBezTo>
                <a:cubicBezTo>
                  <a:pt x="2729" y="594"/>
                  <a:pt x="2729" y="594"/>
                  <a:pt x="2729" y="594"/>
                </a:cubicBezTo>
                <a:cubicBezTo>
                  <a:pt x="2732" y="593"/>
                  <a:pt x="2732" y="593"/>
                  <a:pt x="2732" y="593"/>
                </a:cubicBezTo>
                <a:cubicBezTo>
                  <a:pt x="2733" y="593"/>
                  <a:pt x="2733" y="593"/>
                  <a:pt x="2733" y="593"/>
                </a:cubicBezTo>
                <a:cubicBezTo>
                  <a:pt x="2735" y="591"/>
                  <a:pt x="2735" y="591"/>
                  <a:pt x="2735" y="591"/>
                </a:cubicBezTo>
                <a:cubicBezTo>
                  <a:pt x="2734" y="590"/>
                  <a:pt x="2734" y="590"/>
                  <a:pt x="2734" y="590"/>
                </a:cubicBezTo>
                <a:cubicBezTo>
                  <a:pt x="2735" y="589"/>
                  <a:pt x="2735" y="589"/>
                  <a:pt x="2735" y="589"/>
                </a:cubicBezTo>
                <a:cubicBezTo>
                  <a:pt x="2737" y="592"/>
                  <a:pt x="2737" y="592"/>
                  <a:pt x="2737" y="592"/>
                </a:cubicBezTo>
                <a:cubicBezTo>
                  <a:pt x="2738" y="592"/>
                  <a:pt x="2738" y="592"/>
                  <a:pt x="2738" y="592"/>
                </a:cubicBezTo>
                <a:cubicBezTo>
                  <a:pt x="2739" y="591"/>
                  <a:pt x="2739" y="591"/>
                  <a:pt x="2739" y="591"/>
                </a:cubicBezTo>
                <a:cubicBezTo>
                  <a:pt x="2742" y="591"/>
                  <a:pt x="2742" y="591"/>
                  <a:pt x="2742" y="591"/>
                </a:cubicBezTo>
                <a:cubicBezTo>
                  <a:pt x="2741" y="592"/>
                  <a:pt x="2741" y="592"/>
                  <a:pt x="2741" y="592"/>
                </a:cubicBezTo>
                <a:cubicBezTo>
                  <a:pt x="2745" y="595"/>
                  <a:pt x="2745" y="595"/>
                  <a:pt x="2745" y="595"/>
                </a:cubicBezTo>
                <a:cubicBezTo>
                  <a:pt x="2748" y="599"/>
                  <a:pt x="2748" y="599"/>
                  <a:pt x="2748" y="599"/>
                </a:cubicBezTo>
                <a:cubicBezTo>
                  <a:pt x="2749" y="599"/>
                  <a:pt x="2749" y="599"/>
                  <a:pt x="2749" y="599"/>
                </a:cubicBezTo>
                <a:cubicBezTo>
                  <a:pt x="2748" y="600"/>
                  <a:pt x="2748" y="600"/>
                  <a:pt x="2748" y="600"/>
                </a:cubicBezTo>
                <a:cubicBezTo>
                  <a:pt x="2750" y="602"/>
                  <a:pt x="2750" y="602"/>
                  <a:pt x="2750" y="602"/>
                </a:cubicBezTo>
                <a:cubicBezTo>
                  <a:pt x="2751" y="604"/>
                  <a:pt x="2751" y="604"/>
                  <a:pt x="2751" y="604"/>
                </a:cubicBezTo>
                <a:cubicBezTo>
                  <a:pt x="2747" y="603"/>
                  <a:pt x="2747" y="603"/>
                  <a:pt x="2747" y="603"/>
                </a:cubicBezTo>
                <a:cubicBezTo>
                  <a:pt x="2747" y="602"/>
                  <a:pt x="2747" y="602"/>
                  <a:pt x="2747" y="602"/>
                </a:cubicBezTo>
                <a:cubicBezTo>
                  <a:pt x="2746" y="603"/>
                  <a:pt x="2746" y="603"/>
                  <a:pt x="2746" y="603"/>
                </a:cubicBezTo>
                <a:cubicBezTo>
                  <a:pt x="2744" y="603"/>
                  <a:pt x="2744" y="603"/>
                  <a:pt x="2744" y="603"/>
                </a:cubicBezTo>
                <a:cubicBezTo>
                  <a:pt x="2742" y="606"/>
                  <a:pt x="2742" y="606"/>
                  <a:pt x="2742" y="606"/>
                </a:cubicBezTo>
                <a:cubicBezTo>
                  <a:pt x="2747" y="608"/>
                  <a:pt x="2747" y="608"/>
                  <a:pt x="2747" y="608"/>
                </a:cubicBezTo>
                <a:cubicBezTo>
                  <a:pt x="2748" y="608"/>
                  <a:pt x="2748" y="608"/>
                  <a:pt x="2748" y="608"/>
                </a:cubicBezTo>
                <a:cubicBezTo>
                  <a:pt x="2749" y="610"/>
                  <a:pt x="2749" y="610"/>
                  <a:pt x="2749" y="610"/>
                </a:cubicBezTo>
                <a:cubicBezTo>
                  <a:pt x="2749" y="614"/>
                  <a:pt x="2749" y="614"/>
                  <a:pt x="2749" y="614"/>
                </a:cubicBezTo>
                <a:cubicBezTo>
                  <a:pt x="2750" y="615"/>
                  <a:pt x="2750" y="615"/>
                  <a:pt x="2750" y="615"/>
                </a:cubicBezTo>
                <a:cubicBezTo>
                  <a:pt x="2751" y="614"/>
                  <a:pt x="2751" y="614"/>
                  <a:pt x="2751" y="614"/>
                </a:cubicBezTo>
                <a:cubicBezTo>
                  <a:pt x="2753" y="618"/>
                  <a:pt x="2753" y="618"/>
                  <a:pt x="2753" y="618"/>
                </a:cubicBezTo>
                <a:cubicBezTo>
                  <a:pt x="2749" y="620"/>
                  <a:pt x="2749" y="620"/>
                  <a:pt x="2749" y="620"/>
                </a:cubicBezTo>
                <a:cubicBezTo>
                  <a:pt x="2749" y="621"/>
                  <a:pt x="2749" y="621"/>
                  <a:pt x="2749" y="621"/>
                </a:cubicBezTo>
                <a:cubicBezTo>
                  <a:pt x="2751" y="622"/>
                  <a:pt x="2751" y="622"/>
                  <a:pt x="2751" y="622"/>
                </a:cubicBezTo>
                <a:cubicBezTo>
                  <a:pt x="2751" y="624"/>
                  <a:pt x="2751" y="624"/>
                  <a:pt x="2751" y="624"/>
                </a:cubicBezTo>
                <a:cubicBezTo>
                  <a:pt x="2750" y="625"/>
                  <a:pt x="2750" y="625"/>
                  <a:pt x="2750" y="625"/>
                </a:cubicBezTo>
                <a:cubicBezTo>
                  <a:pt x="2750" y="626"/>
                  <a:pt x="2750" y="626"/>
                  <a:pt x="2750" y="626"/>
                </a:cubicBezTo>
                <a:cubicBezTo>
                  <a:pt x="2751" y="628"/>
                  <a:pt x="2751" y="628"/>
                  <a:pt x="2751" y="628"/>
                </a:cubicBezTo>
                <a:cubicBezTo>
                  <a:pt x="2749" y="628"/>
                  <a:pt x="2749" y="628"/>
                  <a:pt x="2749" y="628"/>
                </a:cubicBezTo>
                <a:cubicBezTo>
                  <a:pt x="2752" y="633"/>
                  <a:pt x="2752" y="633"/>
                  <a:pt x="2752" y="633"/>
                </a:cubicBezTo>
                <a:cubicBezTo>
                  <a:pt x="2753" y="633"/>
                  <a:pt x="2753" y="633"/>
                  <a:pt x="2753" y="633"/>
                </a:cubicBezTo>
                <a:cubicBezTo>
                  <a:pt x="2754" y="636"/>
                  <a:pt x="2754" y="636"/>
                  <a:pt x="2754" y="636"/>
                </a:cubicBezTo>
                <a:cubicBezTo>
                  <a:pt x="2754" y="636"/>
                  <a:pt x="2754" y="636"/>
                  <a:pt x="2754" y="636"/>
                </a:cubicBezTo>
                <a:cubicBezTo>
                  <a:pt x="2754" y="638"/>
                  <a:pt x="2754" y="638"/>
                  <a:pt x="2754" y="638"/>
                </a:cubicBezTo>
                <a:cubicBezTo>
                  <a:pt x="2756" y="637"/>
                  <a:pt x="2756" y="637"/>
                  <a:pt x="2756" y="637"/>
                </a:cubicBezTo>
                <a:cubicBezTo>
                  <a:pt x="2756" y="634"/>
                  <a:pt x="2756" y="634"/>
                  <a:pt x="2756" y="634"/>
                </a:cubicBezTo>
                <a:cubicBezTo>
                  <a:pt x="2757" y="636"/>
                  <a:pt x="2757" y="636"/>
                  <a:pt x="2757" y="636"/>
                </a:cubicBezTo>
                <a:cubicBezTo>
                  <a:pt x="2758" y="633"/>
                  <a:pt x="2758" y="633"/>
                  <a:pt x="2758" y="633"/>
                </a:cubicBezTo>
                <a:cubicBezTo>
                  <a:pt x="2763" y="630"/>
                  <a:pt x="2763" y="630"/>
                  <a:pt x="2763" y="630"/>
                </a:cubicBezTo>
                <a:cubicBezTo>
                  <a:pt x="2765" y="629"/>
                  <a:pt x="2765" y="629"/>
                  <a:pt x="2765" y="629"/>
                </a:cubicBezTo>
                <a:cubicBezTo>
                  <a:pt x="2765" y="630"/>
                  <a:pt x="2765" y="630"/>
                  <a:pt x="2765" y="630"/>
                </a:cubicBezTo>
                <a:cubicBezTo>
                  <a:pt x="2766" y="629"/>
                  <a:pt x="2766" y="629"/>
                  <a:pt x="2766" y="629"/>
                </a:cubicBezTo>
                <a:cubicBezTo>
                  <a:pt x="2767" y="629"/>
                  <a:pt x="2767" y="629"/>
                  <a:pt x="2767" y="629"/>
                </a:cubicBezTo>
                <a:cubicBezTo>
                  <a:pt x="2768" y="631"/>
                  <a:pt x="2768" y="631"/>
                  <a:pt x="2768" y="631"/>
                </a:cubicBezTo>
                <a:cubicBezTo>
                  <a:pt x="2770" y="630"/>
                  <a:pt x="2770" y="630"/>
                  <a:pt x="2770" y="630"/>
                </a:cubicBezTo>
                <a:cubicBezTo>
                  <a:pt x="2771" y="631"/>
                  <a:pt x="2771" y="631"/>
                  <a:pt x="2771" y="631"/>
                </a:cubicBezTo>
                <a:cubicBezTo>
                  <a:pt x="2772" y="630"/>
                  <a:pt x="2772" y="630"/>
                  <a:pt x="2772" y="630"/>
                </a:cubicBezTo>
                <a:cubicBezTo>
                  <a:pt x="2771" y="629"/>
                  <a:pt x="2771" y="629"/>
                  <a:pt x="2771" y="629"/>
                </a:cubicBezTo>
                <a:cubicBezTo>
                  <a:pt x="2774" y="627"/>
                  <a:pt x="2774" y="627"/>
                  <a:pt x="2774" y="627"/>
                </a:cubicBezTo>
                <a:cubicBezTo>
                  <a:pt x="2776" y="627"/>
                  <a:pt x="2776" y="627"/>
                  <a:pt x="2776" y="627"/>
                </a:cubicBezTo>
                <a:cubicBezTo>
                  <a:pt x="2779" y="624"/>
                  <a:pt x="2779" y="624"/>
                  <a:pt x="2779" y="624"/>
                </a:cubicBezTo>
                <a:cubicBezTo>
                  <a:pt x="2778" y="623"/>
                  <a:pt x="2778" y="623"/>
                  <a:pt x="2778" y="623"/>
                </a:cubicBezTo>
                <a:cubicBezTo>
                  <a:pt x="2780" y="622"/>
                  <a:pt x="2780" y="622"/>
                  <a:pt x="2780" y="622"/>
                </a:cubicBezTo>
                <a:cubicBezTo>
                  <a:pt x="2779" y="614"/>
                  <a:pt x="2779" y="614"/>
                  <a:pt x="2779" y="614"/>
                </a:cubicBezTo>
                <a:cubicBezTo>
                  <a:pt x="2778" y="614"/>
                  <a:pt x="2778" y="614"/>
                  <a:pt x="2778" y="614"/>
                </a:cubicBezTo>
                <a:cubicBezTo>
                  <a:pt x="2778" y="615"/>
                  <a:pt x="2778" y="615"/>
                  <a:pt x="2778" y="615"/>
                </a:cubicBezTo>
                <a:cubicBezTo>
                  <a:pt x="2778" y="612"/>
                  <a:pt x="2778" y="612"/>
                  <a:pt x="2778" y="612"/>
                </a:cubicBezTo>
                <a:cubicBezTo>
                  <a:pt x="2776" y="605"/>
                  <a:pt x="2776" y="605"/>
                  <a:pt x="2776" y="605"/>
                </a:cubicBezTo>
                <a:cubicBezTo>
                  <a:pt x="2775" y="603"/>
                  <a:pt x="2775" y="603"/>
                  <a:pt x="2775" y="603"/>
                </a:cubicBezTo>
                <a:cubicBezTo>
                  <a:pt x="2775" y="599"/>
                  <a:pt x="2775" y="599"/>
                  <a:pt x="2775" y="599"/>
                </a:cubicBezTo>
                <a:cubicBezTo>
                  <a:pt x="2769" y="591"/>
                  <a:pt x="2769" y="591"/>
                  <a:pt x="2769" y="591"/>
                </a:cubicBezTo>
                <a:cubicBezTo>
                  <a:pt x="2763" y="586"/>
                  <a:pt x="2763" y="586"/>
                  <a:pt x="2763" y="586"/>
                </a:cubicBezTo>
                <a:cubicBezTo>
                  <a:pt x="2759" y="579"/>
                  <a:pt x="2759" y="579"/>
                  <a:pt x="2759" y="579"/>
                </a:cubicBezTo>
                <a:cubicBezTo>
                  <a:pt x="2758" y="577"/>
                  <a:pt x="2758" y="577"/>
                  <a:pt x="2758" y="577"/>
                </a:cubicBezTo>
                <a:cubicBezTo>
                  <a:pt x="2751" y="572"/>
                  <a:pt x="2751" y="572"/>
                  <a:pt x="2751" y="572"/>
                </a:cubicBezTo>
                <a:cubicBezTo>
                  <a:pt x="2750" y="571"/>
                  <a:pt x="2750" y="571"/>
                  <a:pt x="2750" y="571"/>
                </a:cubicBezTo>
                <a:cubicBezTo>
                  <a:pt x="2746" y="570"/>
                  <a:pt x="2746" y="570"/>
                  <a:pt x="2746" y="570"/>
                </a:cubicBezTo>
                <a:cubicBezTo>
                  <a:pt x="2745" y="567"/>
                  <a:pt x="2745" y="567"/>
                  <a:pt x="2745" y="567"/>
                </a:cubicBezTo>
                <a:cubicBezTo>
                  <a:pt x="2746" y="566"/>
                  <a:pt x="2746" y="566"/>
                  <a:pt x="2746" y="566"/>
                </a:cubicBezTo>
                <a:cubicBezTo>
                  <a:pt x="2746" y="564"/>
                  <a:pt x="2746" y="564"/>
                  <a:pt x="2746" y="564"/>
                </a:cubicBezTo>
                <a:cubicBezTo>
                  <a:pt x="2746" y="562"/>
                  <a:pt x="2746" y="562"/>
                  <a:pt x="2746" y="562"/>
                </a:cubicBezTo>
                <a:cubicBezTo>
                  <a:pt x="2748" y="560"/>
                  <a:pt x="2748" y="560"/>
                  <a:pt x="2748" y="560"/>
                </a:cubicBezTo>
                <a:cubicBezTo>
                  <a:pt x="2749" y="558"/>
                  <a:pt x="2749" y="558"/>
                  <a:pt x="2749" y="558"/>
                </a:cubicBezTo>
                <a:cubicBezTo>
                  <a:pt x="2751" y="556"/>
                  <a:pt x="2751" y="556"/>
                  <a:pt x="2751" y="556"/>
                </a:cubicBezTo>
                <a:cubicBezTo>
                  <a:pt x="2753" y="556"/>
                  <a:pt x="2753" y="556"/>
                  <a:pt x="2753" y="556"/>
                </a:cubicBezTo>
                <a:cubicBezTo>
                  <a:pt x="2754" y="555"/>
                  <a:pt x="2754" y="555"/>
                  <a:pt x="2754" y="555"/>
                </a:cubicBezTo>
                <a:cubicBezTo>
                  <a:pt x="2755" y="554"/>
                  <a:pt x="2755" y="554"/>
                  <a:pt x="2755" y="554"/>
                </a:cubicBezTo>
                <a:cubicBezTo>
                  <a:pt x="2755" y="552"/>
                  <a:pt x="2755" y="552"/>
                  <a:pt x="2755" y="552"/>
                </a:cubicBezTo>
                <a:cubicBezTo>
                  <a:pt x="2760" y="547"/>
                  <a:pt x="2760" y="547"/>
                  <a:pt x="2760" y="547"/>
                </a:cubicBezTo>
                <a:cubicBezTo>
                  <a:pt x="2759" y="546"/>
                  <a:pt x="2759" y="546"/>
                  <a:pt x="2759" y="546"/>
                </a:cubicBezTo>
                <a:cubicBezTo>
                  <a:pt x="2762" y="544"/>
                  <a:pt x="2762" y="544"/>
                  <a:pt x="2762" y="544"/>
                </a:cubicBezTo>
                <a:cubicBezTo>
                  <a:pt x="2763" y="542"/>
                  <a:pt x="2763" y="542"/>
                  <a:pt x="2763" y="542"/>
                </a:cubicBezTo>
                <a:cubicBezTo>
                  <a:pt x="2761" y="541"/>
                  <a:pt x="2761" y="541"/>
                  <a:pt x="2761" y="541"/>
                </a:cubicBezTo>
                <a:cubicBezTo>
                  <a:pt x="2761" y="535"/>
                  <a:pt x="2761" y="535"/>
                  <a:pt x="2761" y="535"/>
                </a:cubicBezTo>
                <a:cubicBezTo>
                  <a:pt x="2759" y="534"/>
                  <a:pt x="2759" y="534"/>
                  <a:pt x="2759" y="534"/>
                </a:cubicBezTo>
                <a:cubicBezTo>
                  <a:pt x="2759" y="531"/>
                  <a:pt x="2759" y="531"/>
                  <a:pt x="2759" y="531"/>
                </a:cubicBezTo>
                <a:cubicBezTo>
                  <a:pt x="2760" y="526"/>
                  <a:pt x="2760" y="526"/>
                  <a:pt x="2760" y="526"/>
                </a:cubicBezTo>
                <a:cubicBezTo>
                  <a:pt x="2760" y="523"/>
                  <a:pt x="2760" y="523"/>
                  <a:pt x="2760" y="523"/>
                </a:cubicBezTo>
                <a:cubicBezTo>
                  <a:pt x="2761" y="524"/>
                  <a:pt x="2761" y="524"/>
                  <a:pt x="2761" y="524"/>
                </a:cubicBezTo>
                <a:cubicBezTo>
                  <a:pt x="2765" y="520"/>
                  <a:pt x="2765" y="520"/>
                  <a:pt x="2765" y="520"/>
                </a:cubicBezTo>
                <a:cubicBezTo>
                  <a:pt x="2765" y="520"/>
                  <a:pt x="2765" y="520"/>
                  <a:pt x="2765" y="520"/>
                </a:cubicBezTo>
                <a:cubicBezTo>
                  <a:pt x="2765" y="520"/>
                  <a:pt x="2765" y="520"/>
                  <a:pt x="2765" y="520"/>
                </a:cubicBezTo>
                <a:cubicBezTo>
                  <a:pt x="2766" y="520"/>
                  <a:pt x="2766" y="520"/>
                  <a:pt x="2766" y="520"/>
                </a:cubicBezTo>
                <a:cubicBezTo>
                  <a:pt x="2766" y="517"/>
                  <a:pt x="2766" y="517"/>
                  <a:pt x="2766" y="517"/>
                </a:cubicBezTo>
                <a:cubicBezTo>
                  <a:pt x="2769" y="516"/>
                  <a:pt x="2769" y="516"/>
                  <a:pt x="2769" y="516"/>
                </a:cubicBezTo>
                <a:cubicBezTo>
                  <a:pt x="2770" y="517"/>
                  <a:pt x="2770" y="517"/>
                  <a:pt x="2770" y="517"/>
                </a:cubicBezTo>
                <a:cubicBezTo>
                  <a:pt x="2771" y="514"/>
                  <a:pt x="2771" y="514"/>
                  <a:pt x="2771" y="514"/>
                </a:cubicBezTo>
                <a:cubicBezTo>
                  <a:pt x="2772" y="513"/>
                  <a:pt x="2772" y="513"/>
                  <a:pt x="2772" y="513"/>
                </a:cubicBezTo>
                <a:cubicBezTo>
                  <a:pt x="2772" y="509"/>
                  <a:pt x="2772" y="509"/>
                  <a:pt x="2772" y="509"/>
                </a:cubicBezTo>
                <a:cubicBezTo>
                  <a:pt x="2774" y="508"/>
                  <a:pt x="2774" y="508"/>
                  <a:pt x="2774" y="508"/>
                </a:cubicBezTo>
                <a:cubicBezTo>
                  <a:pt x="2774" y="506"/>
                  <a:pt x="2774" y="506"/>
                  <a:pt x="2774" y="506"/>
                </a:cubicBezTo>
                <a:cubicBezTo>
                  <a:pt x="2774" y="505"/>
                  <a:pt x="2774" y="505"/>
                  <a:pt x="2774" y="505"/>
                </a:cubicBezTo>
                <a:cubicBezTo>
                  <a:pt x="2777" y="506"/>
                  <a:pt x="2777" y="506"/>
                  <a:pt x="2777" y="506"/>
                </a:cubicBezTo>
                <a:cubicBezTo>
                  <a:pt x="2779" y="505"/>
                  <a:pt x="2779" y="505"/>
                  <a:pt x="2779" y="505"/>
                </a:cubicBezTo>
                <a:cubicBezTo>
                  <a:pt x="2780" y="506"/>
                  <a:pt x="2780" y="506"/>
                  <a:pt x="2780" y="506"/>
                </a:cubicBezTo>
                <a:cubicBezTo>
                  <a:pt x="2780" y="510"/>
                  <a:pt x="2780" y="510"/>
                  <a:pt x="2780" y="510"/>
                </a:cubicBezTo>
                <a:cubicBezTo>
                  <a:pt x="2784" y="511"/>
                  <a:pt x="2784" y="511"/>
                  <a:pt x="2784" y="511"/>
                </a:cubicBezTo>
                <a:cubicBezTo>
                  <a:pt x="2787" y="513"/>
                  <a:pt x="2787" y="513"/>
                  <a:pt x="2787" y="513"/>
                </a:cubicBezTo>
                <a:cubicBezTo>
                  <a:pt x="2788" y="512"/>
                  <a:pt x="2788" y="512"/>
                  <a:pt x="2788" y="512"/>
                </a:cubicBezTo>
                <a:cubicBezTo>
                  <a:pt x="2789" y="513"/>
                  <a:pt x="2789" y="513"/>
                  <a:pt x="2789" y="513"/>
                </a:cubicBezTo>
                <a:cubicBezTo>
                  <a:pt x="2791" y="511"/>
                  <a:pt x="2791" y="511"/>
                  <a:pt x="2791" y="511"/>
                </a:cubicBezTo>
                <a:cubicBezTo>
                  <a:pt x="2794" y="510"/>
                  <a:pt x="2794" y="510"/>
                  <a:pt x="2794" y="510"/>
                </a:cubicBezTo>
                <a:cubicBezTo>
                  <a:pt x="2795" y="509"/>
                  <a:pt x="2795" y="509"/>
                  <a:pt x="2795" y="509"/>
                </a:cubicBezTo>
                <a:cubicBezTo>
                  <a:pt x="2796" y="509"/>
                  <a:pt x="2796" y="509"/>
                  <a:pt x="2796" y="509"/>
                </a:cubicBezTo>
                <a:cubicBezTo>
                  <a:pt x="2798" y="506"/>
                  <a:pt x="2798" y="506"/>
                  <a:pt x="2798" y="506"/>
                </a:cubicBezTo>
                <a:cubicBezTo>
                  <a:pt x="2801" y="502"/>
                  <a:pt x="2801" y="502"/>
                  <a:pt x="2801" y="502"/>
                </a:cubicBezTo>
                <a:cubicBezTo>
                  <a:pt x="2800" y="501"/>
                  <a:pt x="2800" y="501"/>
                  <a:pt x="2800" y="501"/>
                </a:cubicBezTo>
                <a:cubicBezTo>
                  <a:pt x="2803" y="500"/>
                  <a:pt x="2803" y="500"/>
                  <a:pt x="2803" y="500"/>
                </a:cubicBezTo>
                <a:cubicBezTo>
                  <a:pt x="2803" y="497"/>
                  <a:pt x="2803" y="497"/>
                  <a:pt x="2803" y="497"/>
                </a:cubicBezTo>
                <a:cubicBezTo>
                  <a:pt x="2802" y="495"/>
                  <a:pt x="2802" y="495"/>
                  <a:pt x="2802" y="495"/>
                </a:cubicBezTo>
                <a:cubicBezTo>
                  <a:pt x="2803" y="496"/>
                  <a:pt x="2803" y="496"/>
                  <a:pt x="2803" y="496"/>
                </a:cubicBezTo>
                <a:cubicBezTo>
                  <a:pt x="2804" y="496"/>
                  <a:pt x="2804" y="496"/>
                  <a:pt x="2804" y="496"/>
                </a:cubicBezTo>
                <a:cubicBezTo>
                  <a:pt x="2806" y="493"/>
                  <a:pt x="2806" y="493"/>
                  <a:pt x="2806" y="493"/>
                </a:cubicBezTo>
                <a:cubicBezTo>
                  <a:pt x="2805" y="491"/>
                  <a:pt x="2805" y="491"/>
                  <a:pt x="2805" y="491"/>
                </a:cubicBezTo>
                <a:cubicBezTo>
                  <a:pt x="2806" y="491"/>
                  <a:pt x="2806" y="491"/>
                  <a:pt x="2806" y="491"/>
                </a:cubicBezTo>
                <a:cubicBezTo>
                  <a:pt x="2806" y="488"/>
                  <a:pt x="2806" y="488"/>
                  <a:pt x="2806" y="488"/>
                </a:cubicBezTo>
                <a:cubicBezTo>
                  <a:pt x="2808" y="487"/>
                  <a:pt x="2808" y="487"/>
                  <a:pt x="2808" y="487"/>
                </a:cubicBezTo>
                <a:cubicBezTo>
                  <a:pt x="2808" y="484"/>
                  <a:pt x="2808" y="484"/>
                  <a:pt x="2808" y="484"/>
                </a:cubicBezTo>
                <a:cubicBezTo>
                  <a:pt x="2810" y="483"/>
                  <a:pt x="2810" y="483"/>
                  <a:pt x="2810" y="483"/>
                </a:cubicBezTo>
                <a:cubicBezTo>
                  <a:pt x="2811" y="482"/>
                  <a:pt x="2811" y="482"/>
                  <a:pt x="2811" y="482"/>
                </a:cubicBezTo>
                <a:cubicBezTo>
                  <a:pt x="2810" y="481"/>
                  <a:pt x="2810" y="481"/>
                  <a:pt x="2810" y="481"/>
                </a:cubicBezTo>
                <a:cubicBezTo>
                  <a:pt x="2810" y="479"/>
                  <a:pt x="2810" y="479"/>
                  <a:pt x="2810" y="479"/>
                </a:cubicBezTo>
                <a:cubicBezTo>
                  <a:pt x="2812" y="478"/>
                  <a:pt x="2812" y="478"/>
                  <a:pt x="2812" y="478"/>
                </a:cubicBezTo>
                <a:cubicBezTo>
                  <a:pt x="2813" y="469"/>
                  <a:pt x="2813" y="469"/>
                  <a:pt x="2813" y="469"/>
                </a:cubicBezTo>
                <a:cubicBezTo>
                  <a:pt x="2816" y="466"/>
                  <a:pt x="2816" y="466"/>
                  <a:pt x="2816" y="466"/>
                </a:cubicBezTo>
                <a:cubicBezTo>
                  <a:pt x="2816" y="465"/>
                  <a:pt x="2816" y="465"/>
                  <a:pt x="2816" y="465"/>
                </a:cubicBezTo>
                <a:cubicBezTo>
                  <a:pt x="2818" y="463"/>
                  <a:pt x="2818" y="463"/>
                  <a:pt x="2818" y="463"/>
                </a:cubicBezTo>
                <a:cubicBezTo>
                  <a:pt x="2818" y="460"/>
                  <a:pt x="2818" y="460"/>
                  <a:pt x="2818" y="460"/>
                </a:cubicBezTo>
                <a:cubicBezTo>
                  <a:pt x="2821" y="457"/>
                  <a:pt x="2821" y="457"/>
                  <a:pt x="2821" y="457"/>
                </a:cubicBezTo>
                <a:cubicBezTo>
                  <a:pt x="2821" y="455"/>
                  <a:pt x="2821" y="455"/>
                  <a:pt x="2821" y="455"/>
                </a:cubicBezTo>
                <a:cubicBezTo>
                  <a:pt x="2820" y="455"/>
                  <a:pt x="2820" y="455"/>
                  <a:pt x="2820" y="455"/>
                </a:cubicBezTo>
                <a:cubicBezTo>
                  <a:pt x="2819" y="452"/>
                  <a:pt x="2819" y="452"/>
                  <a:pt x="2819" y="452"/>
                </a:cubicBezTo>
                <a:cubicBezTo>
                  <a:pt x="2821" y="450"/>
                  <a:pt x="2821" y="450"/>
                  <a:pt x="2821" y="450"/>
                </a:cubicBezTo>
                <a:cubicBezTo>
                  <a:pt x="2820" y="446"/>
                  <a:pt x="2820" y="446"/>
                  <a:pt x="2820" y="446"/>
                </a:cubicBezTo>
                <a:cubicBezTo>
                  <a:pt x="2822" y="444"/>
                  <a:pt x="2822" y="444"/>
                  <a:pt x="2822" y="444"/>
                </a:cubicBezTo>
                <a:cubicBezTo>
                  <a:pt x="2822" y="442"/>
                  <a:pt x="2822" y="442"/>
                  <a:pt x="2822" y="442"/>
                </a:cubicBezTo>
                <a:cubicBezTo>
                  <a:pt x="2821" y="442"/>
                  <a:pt x="2821" y="442"/>
                  <a:pt x="2821" y="442"/>
                </a:cubicBezTo>
                <a:cubicBezTo>
                  <a:pt x="2822" y="439"/>
                  <a:pt x="2822" y="439"/>
                  <a:pt x="2822" y="439"/>
                </a:cubicBezTo>
                <a:cubicBezTo>
                  <a:pt x="2822" y="436"/>
                  <a:pt x="2822" y="436"/>
                  <a:pt x="2822" y="436"/>
                </a:cubicBezTo>
                <a:cubicBezTo>
                  <a:pt x="2824" y="434"/>
                  <a:pt x="2824" y="434"/>
                  <a:pt x="2824" y="434"/>
                </a:cubicBezTo>
                <a:cubicBezTo>
                  <a:pt x="2824" y="431"/>
                  <a:pt x="2824" y="431"/>
                  <a:pt x="2824" y="431"/>
                </a:cubicBezTo>
                <a:cubicBezTo>
                  <a:pt x="2824" y="431"/>
                  <a:pt x="2824" y="431"/>
                  <a:pt x="2824" y="431"/>
                </a:cubicBezTo>
                <a:cubicBezTo>
                  <a:pt x="2824" y="428"/>
                  <a:pt x="2824" y="428"/>
                  <a:pt x="2824" y="428"/>
                </a:cubicBezTo>
                <a:cubicBezTo>
                  <a:pt x="2825" y="424"/>
                  <a:pt x="2825" y="424"/>
                  <a:pt x="2825" y="424"/>
                </a:cubicBezTo>
                <a:cubicBezTo>
                  <a:pt x="2825" y="421"/>
                  <a:pt x="2825" y="421"/>
                  <a:pt x="2825" y="421"/>
                </a:cubicBezTo>
                <a:cubicBezTo>
                  <a:pt x="2828" y="418"/>
                  <a:pt x="2828" y="418"/>
                  <a:pt x="2828" y="418"/>
                </a:cubicBezTo>
                <a:cubicBezTo>
                  <a:pt x="2828" y="416"/>
                  <a:pt x="2828" y="416"/>
                  <a:pt x="2828" y="416"/>
                </a:cubicBezTo>
                <a:cubicBezTo>
                  <a:pt x="2827" y="414"/>
                  <a:pt x="2827" y="414"/>
                  <a:pt x="2827" y="414"/>
                </a:cubicBezTo>
                <a:cubicBezTo>
                  <a:pt x="2827" y="411"/>
                  <a:pt x="2827" y="411"/>
                  <a:pt x="2827" y="411"/>
                </a:cubicBezTo>
                <a:cubicBezTo>
                  <a:pt x="2827" y="410"/>
                  <a:pt x="2827" y="410"/>
                  <a:pt x="2827" y="410"/>
                </a:cubicBezTo>
                <a:cubicBezTo>
                  <a:pt x="2827" y="408"/>
                  <a:pt x="2827" y="408"/>
                  <a:pt x="2827" y="408"/>
                </a:cubicBezTo>
                <a:cubicBezTo>
                  <a:pt x="2826" y="408"/>
                  <a:pt x="2826" y="408"/>
                  <a:pt x="2826" y="408"/>
                </a:cubicBezTo>
                <a:cubicBezTo>
                  <a:pt x="2825" y="403"/>
                  <a:pt x="2825" y="403"/>
                  <a:pt x="2825" y="403"/>
                </a:cubicBezTo>
                <a:cubicBezTo>
                  <a:pt x="2825" y="402"/>
                  <a:pt x="2825" y="402"/>
                  <a:pt x="2825" y="402"/>
                </a:cubicBezTo>
                <a:cubicBezTo>
                  <a:pt x="2825" y="400"/>
                  <a:pt x="2825" y="400"/>
                  <a:pt x="2825" y="400"/>
                </a:cubicBezTo>
                <a:cubicBezTo>
                  <a:pt x="2825" y="396"/>
                  <a:pt x="2825" y="396"/>
                  <a:pt x="2825" y="396"/>
                </a:cubicBezTo>
                <a:cubicBezTo>
                  <a:pt x="2822" y="393"/>
                  <a:pt x="2822" y="393"/>
                  <a:pt x="2822" y="393"/>
                </a:cubicBezTo>
                <a:cubicBezTo>
                  <a:pt x="2821" y="393"/>
                  <a:pt x="2821" y="393"/>
                  <a:pt x="2821" y="393"/>
                </a:cubicBezTo>
                <a:cubicBezTo>
                  <a:pt x="2820" y="391"/>
                  <a:pt x="2820" y="391"/>
                  <a:pt x="2820" y="391"/>
                </a:cubicBezTo>
                <a:cubicBezTo>
                  <a:pt x="2821" y="390"/>
                  <a:pt x="2821" y="390"/>
                  <a:pt x="2821" y="390"/>
                </a:cubicBezTo>
                <a:cubicBezTo>
                  <a:pt x="2823" y="388"/>
                  <a:pt x="2823" y="388"/>
                  <a:pt x="2823" y="388"/>
                </a:cubicBezTo>
                <a:cubicBezTo>
                  <a:pt x="2822" y="387"/>
                  <a:pt x="2822" y="387"/>
                  <a:pt x="2822" y="387"/>
                </a:cubicBezTo>
                <a:cubicBezTo>
                  <a:pt x="2821" y="388"/>
                  <a:pt x="2821" y="388"/>
                  <a:pt x="2821" y="388"/>
                </a:cubicBezTo>
                <a:cubicBezTo>
                  <a:pt x="2819" y="388"/>
                  <a:pt x="2819" y="388"/>
                  <a:pt x="2819" y="388"/>
                </a:cubicBezTo>
                <a:cubicBezTo>
                  <a:pt x="2817" y="381"/>
                  <a:pt x="2817" y="381"/>
                  <a:pt x="2817" y="381"/>
                </a:cubicBezTo>
                <a:cubicBezTo>
                  <a:pt x="2817" y="380"/>
                  <a:pt x="2817" y="380"/>
                  <a:pt x="2817" y="380"/>
                </a:cubicBezTo>
                <a:cubicBezTo>
                  <a:pt x="2817" y="378"/>
                  <a:pt x="2817" y="378"/>
                  <a:pt x="2817" y="378"/>
                </a:cubicBezTo>
                <a:cubicBezTo>
                  <a:pt x="2816" y="374"/>
                  <a:pt x="2816" y="374"/>
                  <a:pt x="2816" y="374"/>
                </a:cubicBezTo>
                <a:cubicBezTo>
                  <a:pt x="2817" y="373"/>
                  <a:pt x="2817" y="373"/>
                  <a:pt x="2817" y="373"/>
                </a:cubicBezTo>
                <a:cubicBezTo>
                  <a:pt x="2815" y="368"/>
                  <a:pt x="2815" y="368"/>
                  <a:pt x="2815" y="368"/>
                </a:cubicBezTo>
                <a:cubicBezTo>
                  <a:pt x="2817" y="367"/>
                  <a:pt x="2817" y="367"/>
                  <a:pt x="2817" y="367"/>
                </a:cubicBezTo>
                <a:cubicBezTo>
                  <a:pt x="2816" y="366"/>
                  <a:pt x="2816" y="366"/>
                  <a:pt x="2816" y="366"/>
                </a:cubicBezTo>
                <a:cubicBezTo>
                  <a:pt x="2816" y="365"/>
                  <a:pt x="2816" y="365"/>
                  <a:pt x="2816" y="365"/>
                </a:cubicBezTo>
                <a:cubicBezTo>
                  <a:pt x="2816" y="364"/>
                  <a:pt x="2816" y="364"/>
                  <a:pt x="2816" y="364"/>
                </a:cubicBezTo>
                <a:cubicBezTo>
                  <a:pt x="2815" y="363"/>
                  <a:pt x="2815" y="363"/>
                  <a:pt x="2815" y="363"/>
                </a:cubicBezTo>
                <a:cubicBezTo>
                  <a:pt x="2816" y="361"/>
                  <a:pt x="2816" y="361"/>
                  <a:pt x="2816" y="361"/>
                </a:cubicBezTo>
                <a:cubicBezTo>
                  <a:pt x="2816" y="359"/>
                  <a:pt x="2816" y="359"/>
                  <a:pt x="2816" y="359"/>
                </a:cubicBezTo>
                <a:cubicBezTo>
                  <a:pt x="2816" y="358"/>
                  <a:pt x="2816" y="358"/>
                  <a:pt x="2816" y="358"/>
                </a:cubicBezTo>
                <a:cubicBezTo>
                  <a:pt x="2817" y="357"/>
                  <a:pt x="2817" y="357"/>
                  <a:pt x="2817" y="357"/>
                </a:cubicBezTo>
                <a:cubicBezTo>
                  <a:pt x="2815" y="355"/>
                  <a:pt x="2815" y="355"/>
                  <a:pt x="2815" y="355"/>
                </a:cubicBezTo>
                <a:cubicBezTo>
                  <a:pt x="2815" y="353"/>
                  <a:pt x="2815" y="353"/>
                  <a:pt x="2815" y="353"/>
                </a:cubicBezTo>
                <a:cubicBezTo>
                  <a:pt x="2816" y="352"/>
                  <a:pt x="2816" y="352"/>
                  <a:pt x="2816" y="352"/>
                </a:cubicBezTo>
                <a:cubicBezTo>
                  <a:pt x="2816" y="350"/>
                  <a:pt x="2816" y="350"/>
                  <a:pt x="2816" y="350"/>
                </a:cubicBezTo>
                <a:cubicBezTo>
                  <a:pt x="2814" y="351"/>
                  <a:pt x="2814" y="351"/>
                  <a:pt x="2814" y="351"/>
                </a:cubicBezTo>
                <a:cubicBezTo>
                  <a:pt x="2813" y="351"/>
                  <a:pt x="2813" y="351"/>
                  <a:pt x="2813" y="351"/>
                </a:cubicBezTo>
                <a:cubicBezTo>
                  <a:pt x="2810" y="349"/>
                  <a:pt x="2810" y="349"/>
                  <a:pt x="2810" y="349"/>
                </a:cubicBezTo>
                <a:cubicBezTo>
                  <a:pt x="2811" y="347"/>
                  <a:pt x="2811" y="347"/>
                  <a:pt x="2811" y="347"/>
                </a:cubicBezTo>
                <a:cubicBezTo>
                  <a:pt x="2812" y="345"/>
                  <a:pt x="2812" y="345"/>
                  <a:pt x="2812" y="345"/>
                </a:cubicBezTo>
                <a:cubicBezTo>
                  <a:pt x="2812" y="343"/>
                  <a:pt x="2812" y="343"/>
                  <a:pt x="2812" y="343"/>
                </a:cubicBezTo>
                <a:cubicBezTo>
                  <a:pt x="2809" y="340"/>
                  <a:pt x="2809" y="340"/>
                  <a:pt x="2809" y="340"/>
                </a:cubicBezTo>
                <a:cubicBezTo>
                  <a:pt x="2807" y="340"/>
                  <a:pt x="2807" y="340"/>
                  <a:pt x="2807" y="340"/>
                </a:cubicBezTo>
                <a:cubicBezTo>
                  <a:pt x="2805" y="338"/>
                  <a:pt x="2805" y="338"/>
                  <a:pt x="2805" y="338"/>
                </a:cubicBezTo>
                <a:cubicBezTo>
                  <a:pt x="2807" y="337"/>
                  <a:pt x="2807" y="337"/>
                  <a:pt x="2807" y="337"/>
                </a:cubicBezTo>
                <a:cubicBezTo>
                  <a:pt x="2807" y="335"/>
                  <a:pt x="2807" y="335"/>
                  <a:pt x="2807" y="335"/>
                </a:cubicBezTo>
                <a:cubicBezTo>
                  <a:pt x="2808" y="334"/>
                  <a:pt x="2808" y="334"/>
                  <a:pt x="2808" y="334"/>
                </a:cubicBezTo>
                <a:cubicBezTo>
                  <a:pt x="2806" y="330"/>
                  <a:pt x="2806" y="330"/>
                  <a:pt x="2806" y="330"/>
                </a:cubicBezTo>
                <a:cubicBezTo>
                  <a:pt x="2805" y="330"/>
                  <a:pt x="2805" y="330"/>
                  <a:pt x="2805" y="330"/>
                </a:cubicBezTo>
                <a:cubicBezTo>
                  <a:pt x="2804" y="329"/>
                  <a:pt x="2804" y="329"/>
                  <a:pt x="2804" y="329"/>
                </a:cubicBezTo>
                <a:cubicBezTo>
                  <a:pt x="2802" y="329"/>
                  <a:pt x="2802" y="329"/>
                  <a:pt x="2802" y="329"/>
                </a:cubicBezTo>
                <a:cubicBezTo>
                  <a:pt x="2802" y="327"/>
                  <a:pt x="2802" y="327"/>
                  <a:pt x="2802" y="327"/>
                </a:cubicBezTo>
                <a:cubicBezTo>
                  <a:pt x="2797" y="326"/>
                  <a:pt x="2797" y="326"/>
                  <a:pt x="2797" y="326"/>
                </a:cubicBezTo>
                <a:cubicBezTo>
                  <a:pt x="2796" y="324"/>
                  <a:pt x="2796" y="324"/>
                  <a:pt x="2796" y="324"/>
                </a:cubicBezTo>
                <a:cubicBezTo>
                  <a:pt x="2793" y="324"/>
                  <a:pt x="2793" y="324"/>
                  <a:pt x="2793" y="324"/>
                </a:cubicBezTo>
                <a:cubicBezTo>
                  <a:pt x="2792" y="323"/>
                  <a:pt x="2792" y="323"/>
                  <a:pt x="2792" y="323"/>
                </a:cubicBezTo>
                <a:cubicBezTo>
                  <a:pt x="2791" y="321"/>
                  <a:pt x="2791" y="321"/>
                  <a:pt x="2791" y="321"/>
                </a:cubicBezTo>
                <a:cubicBezTo>
                  <a:pt x="2790" y="319"/>
                  <a:pt x="2790" y="319"/>
                  <a:pt x="2790" y="319"/>
                </a:cubicBezTo>
                <a:cubicBezTo>
                  <a:pt x="2787" y="319"/>
                  <a:pt x="2787" y="319"/>
                  <a:pt x="2787" y="319"/>
                </a:cubicBezTo>
                <a:cubicBezTo>
                  <a:pt x="2785" y="317"/>
                  <a:pt x="2785" y="317"/>
                  <a:pt x="2785" y="317"/>
                </a:cubicBezTo>
                <a:cubicBezTo>
                  <a:pt x="2783" y="319"/>
                  <a:pt x="2783" y="319"/>
                  <a:pt x="2783" y="319"/>
                </a:cubicBezTo>
                <a:cubicBezTo>
                  <a:pt x="2781" y="319"/>
                  <a:pt x="2781" y="319"/>
                  <a:pt x="2781" y="319"/>
                </a:cubicBezTo>
                <a:cubicBezTo>
                  <a:pt x="2780" y="320"/>
                  <a:pt x="2780" y="320"/>
                  <a:pt x="2780" y="320"/>
                </a:cubicBezTo>
                <a:cubicBezTo>
                  <a:pt x="2779" y="320"/>
                  <a:pt x="2779" y="320"/>
                  <a:pt x="2779" y="320"/>
                </a:cubicBezTo>
                <a:cubicBezTo>
                  <a:pt x="2778" y="320"/>
                  <a:pt x="2778" y="320"/>
                  <a:pt x="2778" y="320"/>
                </a:cubicBezTo>
                <a:cubicBezTo>
                  <a:pt x="2778" y="319"/>
                  <a:pt x="2778" y="319"/>
                  <a:pt x="2778" y="319"/>
                </a:cubicBezTo>
                <a:cubicBezTo>
                  <a:pt x="2776" y="317"/>
                  <a:pt x="2776" y="317"/>
                  <a:pt x="2776" y="317"/>
                </a:cubicBezTo>
                <a:cubicBezTo>
                  <a:pt x="2774" y="318"/>
                  <a:pt x="2774" y="318"/>
                  <a:pt x="2774" y="318"/>
                </a:cubicBezTo>
                <a:cubicBezTo>
                  <a:pt x="2775" y="321"/>
                  <a:pt x="2775" y="321"/>
                  <a:pt x="2775" y="321"/>
                </a:cubicBezTo>
                <a:cubicBezTo>
                  <a:pt x="2777" y="323"/>
                  <a:pt x="2777" y="323"/>
                  <a:pt x="2777" y="323"/>
                </a:cubicBezTo>
                <a:cubicBezTo>
                  <a:pt x="2776" y="325"/>
                  <a:pt x="2776" y="325"/>
                  <a:pt x="2776" y="325"/>
                </a:cubicBezTo>
                <a:cubicBezTo>
                  <a:pt x="2777" y="328"/>
                  <a:pt x="2777" y="328"/>
                  <a:pt x="2777" y="328"/>
                </a:cubicBezTo>
                <a:cubicBezTo>
                  <a:pt x="2776" y="331"/>
                  <a:pt x="2776" y="331"/>
                  <a:pt x="2776" y="331"/>
                </a:cubicBezTo>
                <a:cubicBezTo>
                  <a:pt x="2775" y="332"/>
                  <a:pt x="2775" y="332"/>
                  <a:pt x="2775" y="332"/>
                </a:cubicBezTo>
                <a:cubicBezTo>
                  <a:pt x="2775" y="329"/>
                  <a:pt x="2775" y="329"/>
                  <a:pt x="2775" y="329"/>
                </a:cubicBezTo>
                <a:cubicBezTo>
                  <a:pt x="2775" y="327"/>
                  <a:pt x="2775" y="327"/>
                  <a:pt x="2775" y="327"/>
                </a:cubicBezTo>
                <a:cubicBezTo>
                  <a:pt x="2774" y="324"/>
                  <a:pt x="2774" y="324"/>
                  <a:pt x="2774" y="324"/>
                </a:cubicBezTo>
                <a:cubicBezTo>
                  <a:pt x="2773" y="325"/>
                  <a:pt x="2773" y="325"/>
                  <a:pt x="2773" y="325"/>
                </a:cubicBezTo>
                <a:cubicBezTo>
                  <a:pt x="2774" y="327"/>
                  <a:pt x="2774" y="327"/>
                  <a:pt x="2774" y="327"/>
                </a:cubicBezTo>
                <a:cubicBezTo>
                  <a:pt x="2773" y="330"/>
                  <a:pt x="2773" y="330"/>
                  <a:pt x="2773" y="330"/>
                </a:cubicBezTo>
                <a:cubicBezTo>
                  <a:pt x="2771" y="332"/>
                  <a:pt x="2771" y="332"/>
                  <a:pt x="2771" y="332"/>
                </a:cubicBezTo>
                <a:cubicBezTo>
                  <a:pt x="2766" y="332"/>
                  <a:pt x="2766" y="332"/>
                  <a:pt x="2766" y="332"/>
                </a:cubicBezTo>
                <a:cubicBezTo>
                  <a:pt x="2765" y="332"/>
                  <a:pt x="2765" y="332"/>
                  <a:pt x="2765" y="332"/>
                </a:cubicBezTo>
                <a:cubicBezTo>
                  <a:pt x="2767" y="330"/>
                  <a:pt x="2767" y="330"/>
                  <a:pt x="2767" y="330"/>
                </a:cubicBezTo>
                <a:cubicBezTo>
                  <a:pt x="2768" y="330"/>
                  <a:pt x="2768" y="330"/>
                  <a:pt x="2768" y="330"/>
                </a:cubicBezTo>
                <a:cubicBezTo>
                  <a:pt x="2768" y="327"/>
                  <a:pt x="2768" y="327"/>
                  <a:pt x="2768" y="327"/>
                </a:cubicBezTo>
                <a:cubicBezTo>
                  <a:pt x="2769" y="326"/>
                  <a:pt x="2769" y="326"/>
                  <a:pt x="2769" y="326"/>
                </a:cubicBezTo>
                <a:cubicBezTo>
                  <a:pt x="2770" y="325"/>
                  <a:pt x="2770" y="325"/>
                  <a:pt x="2770" y="325"/>
                </a:cubicBezTo>
                <a:cubicBezTo>
                  <a:pt x="2767" y="325"/>
                  <a:pt x="2767" y="325"/>
                  <a:pt x="2767" y="325"/>
                </a:cubicBezTo>
                <a:cubicBezTo>
                  <a:pt x="2766" y="326"/>
                  <a:pt x="2766" y="326"/>
                  <a:pt x="2766" y="326"/>
                </a:cubicBezTo>
                <a:cubicBezTo>
                  <a:pt x="2766" y="324"/>
                  <a:pt x="2766" y="324"/>
                  <a:pt x="2766" y="324"/>
                </a:cubicBezTo>
                <a:cubicBezTo>
                  <a:pt x="2764" y="325"/>
                  <a:pt x="2764" y="325"/>
                  <a:pt x="2764" y="325"/>
                </a:cubicBezTo>
                <a:cubicBezTo>
                  <a:pt x="2763" y="327"/>
                  <a:pt x="2763" y="327"/>
                  <a:pt x="2763" y="327"/>
                </a:cubicBezTo>
                <a:cubicBezTo>
                  <a:pt x="2762" y="328"/>
                  <a:pt x="2762" y="328"/>
                  <a:pt x="2762" y="328"/>
                </a:cubicBezTo>
                <a:cubicBezTo>
                  <a:pt x="2761" y="328"/>
                  <a:pt x="2761" y="328"/>
                  <a:pt x="2761" y="328"/>
                </a:cubicBezTo>
                <a:cubicBezTo>
                  <a:pt x="2760" y="329"/>
                  <a:pt x="2760" y="329"/>
                  <a:pt x="2760" y="329"/>
                </a:cubicBezTo>
                <a:cubicBezTo>
                  <a:pt x="2758" y="327"/>
                  <a:pt x="2758" y="327"/>
                  <a:pt x="2758" y="327"/>
                </a:cubicBezTo>
                <a:cubicBezTo>
                  <a:pt x="2758" y="325"/>
                  <a:pt x="2758" y="325"/>
                  <a:pt x="2758" y="325"/>
                </a:cubicBezTo>
                <a:cubicBezTo>
                  <a:pt x="2757" y="321"/>
                  <a:pt x="2757" y="321"/>
                  <a:pt x="2757" y="321"/>
                </a:cubicBezTo>
                <a:cubicBezTo>
                  <a:pt x="2755" y="318"/>
                  <a:pt x="2755" y="318"/>
                  <a:pt x="2755" y="318"/>
                </a:cubicBezTo>
                <a:cubicBezTo>
                  <a:pt x="2755" y="313"/>
                  <a:pt x="2755" y="313"/>
                  <a:pt x="2755" y="313"/>
                </a:cubicBezTo>
                <a:cubicBezTo>
                  <a:pt x="2753" y="314"/>
                  <a:pt x="2753" y="314"/>
                  <a:pt x="2753" y="314"/>
                </a:cubicBezTo>
                <a:cubicBezTo>
                  <a:pt x="2752" y="313"/>
                  <a:pt x="2752" y="313"/>
                  <a:pt x="2752" y="313"/>
                </a:cubicBezTo>
                <a:cubicBezTo>
                  <a:pt x="2750" y="315"/>
                  <a:pt x="2750" y="315"/>
                  <a:pt x="2750" y="315"/>
                </a:cubicBezTo>
                <a:cubicBezTo>
                  <a:pt x="2748" y="315"/>
                  <a:pt x="2748" y="315"/>
                  <a:pt x="2748" y="315"/>
                </a:cubicBezTo>
                <a:cubicBezTo>
                  <a:pt x="2746" y="317"/>
                  <a:pt x="2746" y="317"/>
                  <a:pt x="2746" y="317"/>
                </a:cubicBezTo>
                <a:cubicBezTo>
                  <a:pt x="2744" y="317"/>
                  <a:pt x="2744" y="317"/>
                  <a:pt x="2744" y="317"/>
                </a:cubicBezTo>
                <a:cubicBezTo>
                  <a:pt x="2742" y="315"/>
                  <a:pt x="2742" y="315"/>
                  <a:pt x="2742" y="315"/>
                </a:cubicBezTo>
                <a:cubicBezTo>
                  <a:pt x="2740" y="316"/>
                  <a:pt x="2740" y="316"/>
                  <a:pt x="2740" y="316"/>
                </a:cubicBezTo>
                <a:cubicBezTo>
                  <a:pt x="2738" y="315"/>
                  <a:pt x="2738" y="315"/>
                  <a:pt x="2738" y="315"/>
                </a:cubicBezTo>
                <a:cubicBezTo>
                  <a:pt x="2737" y="313"/>
                  <a:pt x="2737" y="313"/>
                  <a:pt x="2737" y="313"/>
                </a:cubicBezTo>
                <a:cubicBezTo>
                  <a:pt x="2738" y="311"/>
                  <a:pt x="2738" y="311"/>
                  <a:pt x="2738" y="311"/>
                </a:cubicBezTo>
                <a:cubicBezTo>
                  <a:pt x="2739" y="309"/>
                  <a:pt x="2739" y="309"/>
                  <a:pt x="2739" y="309"/>
                </a:cubicBezTo>
                <a:cubicBezTo>
                  <a:pt x="2741" y="306"/>
                  <a:pt x="2741" y="306"/>
                  <a:pt x="2741" y="306"/>
                </a:cubicBezTo>
                <a:cubicBezTo>
                  <a:pt x="2741" y="304"/>
                  <a:pt x="2741" y="304"/>
                  <a:pt x="2741" y="304"/>
                </a:cubicBezTo>
                <a:cubicBezTo>
                  <a:pt x="2744" y="302"/>
                  <a:pt x="2744" y="302"/>
                  <a:pt x="2744" y="302"/>
                </a:cubicBezTo>
                <a:cubicBezTo>
                  <a:pt x="2744" y="298"/>
                  <a:pt x="2744" y="298"/>
                  <a:pt x="2744" y="298"/>
                </a:cubicBezTo>
                <a:cubicBezTo>
                  <a:pt x="2747" y="296"/>
                  <a:pt x="2747" y="296"/>
                  <a:pt x="2747" y="296"/>
                </a:cubicBezTo>
                <a:cubicBezTo>
                  <a:pt x="2747" y="293"/>
                  <a:pt x="2747" y="293"/>
                  <a:pt x="2747" y="293"/>
                </a:cubicBezTo>
                <a:cubicBezTo>
                  <a:pt x="2748" y="293"/>
                  <a:pt x="2748" y="293"/>
                  <a:pt x="2748" y="293"/>
                </a:cubicBezTo>
                <a:cubicBezTo>
                  <a:pt x="2748" y="292"/>
                  <a:pt x="2748" y="292"/>
                  <a:pt x="2748" y="292"/>
                </a:cubicBezTo>
                <a:cubicBezTo>
                  <a:pt x="2750" y="289"/>
                  <a:pt x="2750" y="289"/>
                  <a:pt x="2750" y="289"/>
                </a:cubicBezTo>
                <a:cubicBezTo>
                  <a:pt x="2750" y="287"/>
                  <a:pt x="2750" y="287"/>
                  <a:pt x="2750" y="287"/>
                </a:cubicBezTo>
                <a:cubicBezTo>
                  <a:pt x="2752" y="284"/>
                  <a:pt x="2752" y="284"/>
                  <a:pt x="2752" y="284"/>
                </a:cubicBezTo>
                <a:cubicBezTo>
                  <a:pt x="2751" y="282"/>
                  <a:pt x="2751" y="282"/>
                  <a:pt x="2751" y="282"/>
                </a:cubicBezTo>
                <a:cubicBezTo>
                  <a:pt x="2751" y="281"/>
                  <a:pt x="2751" y="281"/>
                  <a:pt x="2751" y="281"/>
                </a:cubicBezTo>
                <a:cubicBezTo>
                  <a:pt x="2751" y="277"/>
                  <a:pt x="2751" y="277"/>
                  <a:pt x="2751" y="277"/>
                </a:cubicBezTo>
                <a:cubicBezTo>
                  <a:pt x="2752" y="272"/>
                  <a:pt x="2752" y="272"/>
                  <a:pt x="2752" y="272"/>
                </a:cubicBezTo>
                <a:cubicBezTo>
                  <a:pt x="2753" y="272"/>
                  <a:pt x="2753" y="272"/>
                  <a:pt x="2753" y="272"/>
                </a:cubicBezTo>
                <a:cubicBezTo>
                  <a:pt x="2754" y="268"/>
                  <a:pt x="2754" y="268"/>
                  <a:pt x="2754" y="268"/>
                </a:cubicBezTo>
                <a:cubicBezTo>
                  <a:pt x="2755" y="268"/>
                  <a:pt x="2755" y="268"/>
                  <a:pt x="2755" y="268"/>
                </a:cubicBezTo>
                <a:cubicBezTo>
                  <a:pt x="2755" y="265"/>
                  <a:pt x="2755" y="265"/>
                  <a:pt x="2755" y="265"/>
                </a:cubicBezTo>
                <a:cubicBezTo>
                  <a:pt x="2758" y="262"/>
                  <a:pt x="2758" y="262"/>
                  <a:pt x="2758" y="262"/>
                </a:cubicBezTo>
                <a:cubicBezTo>
                  <a:pt x="2758" y="259"/>
                  <a:pt x="2758" y="259"/>
                  <a:pt x="2758" y="259"/>
                </a:cubicBezTo>
                <a:cubicBezTo>
                  <a:pt x="2760" y="258"/>
                  <a:pt x="2760" y="258"/>
                  <a:pt x="2760" y="258"/>
                </a:cubicBezTo>
                <a:cubicBezTo>
                  <a:pt x="2759" y="255"/>
                  <a:pt x="2759" y="255"/>
                  <a:pt x="2759" y="255"/>
                </a:cubicBezTo>
                <a:cubicBezTo>
                  <a:pt x="2760" y="254"/>
                  <a:pt x="2760" y="254"/>
                  <a:pt x="2760" y="254"/>
                </a:cubicBezTo>
                <a:cubicBezTo>
                  <a:pt x="2760" y="251"/>
                  <a:pt x="2760" y="251"/>
                  <a:pt x="2760" y="251"/>
                </a:cubicBezTo>
                <a:cubicBezTo>
                  <a:pt x="2761" y="251"/>
                  <a:pt x="2761" y="251"/>
                  <a:pt x="2761" y="251"/>
                </a:cubicBezTo>
                <a:cubicBezTo>
                  <a:pt x="2762" y="251"/>
                  <a:pt x="2762" y="251"/>
                  <a:pt x="2762" y="251"/>
                </a:cubicBezTo>
                <a:cubicBezTo>
                  <a:pt x="2762" y="249"/>
                  <a:pt x="2762" y="249"/>
                  <a:pt x="2762" y="249"/>
                </a:cubicBezTo>
                <a:cubicBezTo>
                  <a:pt x="2761" y="247"/>
                  <a:pt x="2761" y="247"/>
                  <a:pt x="2761" y="247"/>
                </a:cubicBezTo>
                <a:cubicBezTo>
                  <a:pt x="2761" y="243"/>
                  <a:pt x="2761" y="243"/>
                  <a:pt x="2761" y="243"/>
                </a:cubicBezTo>
                <a:cubicBezTo>
                  <a:pt x="2761" y="240"/>
                  <a:pt x="2761" y="240"/>
                  <a:pt x="2761" y="240"/>
                </a:cubicBezTo>
                <a:cubicBezTo>
                  <a:pt x="2762" y="237"/>
                  <a:pt x="2762" y="237"/>
                  <a:pt x="2762" y="237"/>
                </a:cubicBezTo>
                <a:cubicBezTo>
                  <a:pt x="2765" y="234"/>
                  <a:pt x="2765" y="234"/>
                  <a:pt x="2765" y="234"/>
                </a:cubicBezTo>
                <a:cubicBezTo>
                  <a:pt x="2766" y="230"/>
                  <a:pt x="2766" y="230"/>
                  <a:pt x="2766" y="230"/>
                </a:cubicBezTo>
                <a:cubicBezTo>
                  <a:pt x="2763" y="226"/>
                  <a:pt x="2763" y="226"/>
                  <a:pt x="2763" y="226"/>
                </a:cubicBezTo>
                <a:cubicBezTo>
                  <a:pt x="2763" y="224"/>
                  <a:pt x="2763" y="224"/>
                  <a:pt x="2763" y="224"/>
                </a:cubicBezTo>
                <a:cubicBezTo>
                  <a:pt x="2765" y="222"/>
                  <a:pt x="2765" y="222"/>
                  <a:pt x="2765" y="222"/>
                </a:cubicBezTo>
                <a:cubicBezTo>
                  <a:pt x="2766" y="220"/>
                  <a:pt x="2766" y="220"/>
                  <a:pt x="2766" y="220"/>
                </a:cubicBezTo>
                <a:cubicBezTo>
                  <a:pt x="2770" y="217"/>
                  <a:pt x="2770" y="217"/>
                  <a:pt x="2770" y="217"/>
                </a:cubicBezTo>
                <a:cubicBezTo>
                  <a:pt x="2770" y="215"/>
                  <a:pt x="2770" y="215"/>
                  <a:pt x="2770" y="215"/>
                </a:cubicBezTo>
                <a:cubicBezTo>
                  <a:pt x="2771" y="215"/>
                  <a:pt x="2771" y="215"/>
                  <a:pt x="2771" y="215"/>
                </a:cubicBezTo>
                <a:cubicBezTo>
                  <a:pt x="2773" y="216"/>
                  <a:pt x="2773" y="216"/>
                  <a:pt x="2773" y="216"/>
                </a:cubicBezTo>
                <a:cubicBezTo>
                  <a:pt x="2775" y="216"/>
                  <a:pt x="2775" y="216"/>
                  <a:pt x="2775" y="216"/>
                </a:cubicBezTo>
                <a:cubicBezTo>
                  <a:pt x="2778" y="213"/>
                  <a:pt x="2778" y="213"/>
                  <a:pt x="2778" y="213"/>
                </a:cubicBezTo>
                <a:cubicBezTo>
                  <a:pt x="2781" y="213"/>
                  <a:pt x="2781" y="213"/>
                  <a:pt x="2781" y="213"/>
                </a:cubicBezTo>
                <a:cubicBezTo>
                  <a:pt x="2784" y="211"/>
                  <a:pt x="2784" y="211"/>
                  <a:pt x="2784" y="211"/>
                </a:cubicBezTo>
                <a:cubicBezTo>
                  <a:pt x="2787" y="211"/>
                  <a:pt x="2787" y="211"/>
                  <a:pt x="2787" y="211"/>
                </a:cubicBezTo>
                <a:cubicBezTo>
                  <a:pt x="2789" y="210"/>
                  <a:pt x="2789" y="210"/>
                  <a:pt x="2789" y="210"/>
                </a:cubicBezTo>
                <a:cubicBezTo>
                  <a:pt x="2790" y="210"/>
                  <a:pt x="2790" y="210"/>
                  <a:pt x="2790" y="210"/>
                </a:cubicBezTo>
                <a:cubicBezTo>
                  <a:pt x="2792" y="210"/>
                  <a:pt x="2792" y="210"/>
                  <a:pt x="2792" y="210"/>
                </a:cubicBezTo>
                <a:cubicBezTo>
                  <a:pt x="2793" y="208"/>
                  <a:pt x="2793" y="208"/>
                  <a:pt x="2793" y="208"/>
                </a:cubicBezTo>
                <a:cubicBezTo>
                  <a:pt x="2795" y="209"/>
                  <a:pt x="2795" y="209"/>
                  <a:pt x="2795" y="209"/>
                </a:cubicBezTo>
                <a:cubicBezTo>
                  <a:pt x="2794" y="211"/>
                  <a:pt x="2794" y="211"/>
                  <a:pt x="2794" y="211"/>
                </a:cubicBezTo>
                <a:cubicBezTo>
                  <a:pt x="2795" y="212"/>
                  <a:pt x="2795" y="212"/>
                  <a:pt x="2795" y="212"/>
                </a:cubicBezTo>
                <a:cubicBezTo>
                  <a:pt x="2797" y="214"/>
                  <a:pt x="2797" y="214"/>
                  <a:pt x="2797" y="214"/>
                </a:cubicBezTo>
                <a:cubicBezTo>
                  <a:pt x="2798" y="212"/>
                  <a:pt x="2798" y="212"/>
                  <a:pt x="2798" y="212"/>
                </a:cubicBezTo>
                <a:cubicBezTo>
                  <a:pt x="2800" y="210"/>
                  <a:pt x="2800" y="210"/>
                  <a:pt x="2800" y="210"/>
                </a:cubicBezTo>
                <a:cubicBezTo>
                  <a:pt x="2797" y="208"/>
                  <a:pt x="2797" y="208"/>
                  <a:pt x="2797" y="208"/>
                </a:cubicBezTo>
                <a:cubicBezTo>
                  <a:pt x="2797" y="207"/>
                  <a:pt x="2797" y="207"/>
                  <a:pt x="2797" y="207"/>
                </a:cubicBezTo>
                <a:cubicBezTo>
                  <a:pt x="2799" y="206"/>
                  <a:pt x="2799" y="206"/>
                  <a:pt x="2799" y="206"/>
                </a:cubicBezTo>
                <a:cubicBezTo>
                  <a:pt x="2803" y="206"/>
                  <a:pt x="2803" y="206"/>
                  <a:pt x="2803" y="206"/>
                </a:cubicBezTo>
                <a:cubicBezTo>
                  <a:pt x="2805" y="205"/>
                  <a:pt x="2805" y="205"/>
                  <a:pt x="2805" y="205"/>
                </a:cubicBezTo>
                <a:cubicBezTo>
                  <a:pt x="2809" y="206"/>
                  <a:pt x="2809" y="206"/>
                  <a:pt x="2809" y="206"/>
                </a:cubicBezTo>
                <a:cubicBezTo>
                  <a:pt x="2810" y="207"/>
                  <a:pt x="2810" y="207"/>
                  <a:pt x="2810" y="207"/>
                </a:cubicBezTo>
                <a:cubicBezTo>
                  <a:pt x="2811" y="207"/>
                  <a:pt x="2811" y="207"/>
                  <a:pt x="2811" y="207"/>
                </a:cubicBezTo>
                <a:cubicBezTo>
                  <a:pt x="2812" y="206"/>
                  <a:pt x="2812" y="206"/>
                  <a:pt x="2812" y="206"/>
                </a:cubicBezTo>
                <a:cubicBezTo>
                  <a:pt x="2813" y="206"/>
                  <a:pt x="2813" y="206"/>
                  <a:pt x="2813" y="206"/>
                </a:cubicBezTo>
                <a:cubicBezTo>
                  <a:pt x="2813" y="204"/>
                  <a:pt x="2813" y="204"/>
                  <a:pt x="2813" y="204"/>
                </a:cubicBezTo>
                <a:cubicBezTo>
                  <a:pt x="2814" y="204"/>
                  <a:pt x="2814" y="204"/>
                  <a:pt x="2814" y="204"/>
                </a:cubicBezTo>
                <a:cubicBezTo>
                  <a:pt x="2817" y="204"/>
                  <a:pt x="2817" y="204"/>
                  <a:pt x="2817" y="204"/>
                </a:cubicBezTo>
                <a:cubicBezTo>
                  <a:pt x="2819" y="205"/>
                  <a:pt x="2819" y="205"/>
                  <a:pt x="2819" y="205"/>
                </a:cubicBezTo>
                <a:cubicBezTo>
                  <a:pt x="2823" y="204"/>
                  <a:pt x="2823" y="204"/>
                  <a:pt x="2823" y="204"/>
                </a:cubicBezTo>
                <a:cubicBezTo>
                  <a:pt x="2823" y="202"/>
                  <a:pt x="2823" y="202"/>
                  <a:pt x="2823" y="202"/>
                </a:cubicBezTo>
                <a:cubicBezTo>
                  <a:pt x="2821" y="202"/>
                  <a:pt x="2821" y="202"/>
                  <a:pt x="2821" y="202"/>
                </a:cubicBezTo>
                <a:cubicBezTo>
                  <a:pt x="2821" y="202"/>
                  <a:pt x="2821" y="202"/>
                  <a:pt x="2821" y="202"/>
                </a:cubicBezTo>
                <a:cubicBezTo>
                  <a:pt x="2818" y="201"/>
                  <a:pt x="2818" y="201"/>
                  <a:pt x="2818" y="201"/>
                </a:cubicBezTo>
                <a:cubicBezTo>
                  <a:pt x="2820" y="199"/>
                  <a:pt x="2820" y="199"/>
                  <a:pt x="2820" y="199"/>
                </a:cubicBezTo>
                <a:cubicBezTo>
                  <a:pt x="2820" y="200"/>
                  <a:pt x="2820" y="200"/>
                  <a:pt x="2820" y="200"/>
                </a:cubicBezTo>
                <a:cubicBezTo>
                  <a:pt x="2823" y="199"/>
                  <a:pt x="2823" y="199"/>
                  <a:pt x="2823" y="199"/>
                </a:cubicBezTo>
                <a:cubicBezTo>
                  <a:pt x="2820" y="197"/>
                  <a:pt x="2820" y="197"/>
                  <a:pt x="2820" y="197"/>
                </a:cubicBezTo>
                <a:cubicBezTo>
                  <a:pt x="2820" y="196"/>
                  <a:pt x="2820" y="196"/>
                  <a:pt x="2820" y="196"/>
                </a:cubicBezTo>
                <a:cubicBezTo>
                  <a:pt x="2822" y="196"/>
                  <a:pt x="2822" y="196"/>
                  <a:pt x="2822" y="196"/>
                </a:cubicBezTo>
                <a:cubicBezTo>
                  <a:pt x="2824" y="193"/>
                  <a:pt x="2824" y="193"/>
                  <a:pt x="2824" y="193"/>
                </a:cubicBezTo>
                <a:cubicBezTo>
                  <a:pt x="2827" y="193"/>
                  <a:pt x="2827" y="193"/>
                  <a:pt x="2827" y="193"/>
                </a:cubicBezTo>
                <a:cubicBezTo>
                  <a:pt x="2829" y="194"/>
                  <a:pt x="2829" y="194"/>
                  <a:pt x="2829" y="194"/>
                </a:cubicBezTo>
                <a:cubicBezTo>
                  <a:pt x="2830" y="193"/>
                  <a:pt x="2830" y="193"/>
                  <a:pt x="2830" y="193"/>
                </a:cubicBezTo>
                <a:cubicBezTo>
                  <a:pt x="2834" y="194"/>
                  <a:pt x="2834" y="194"/>
                  <a:pt x="2834" y="194"/>
                </a:cubicBezTo>
                <a:cubicBezTo>
                  <a:pt x="2837" y="194"/>
                  <a:pt x="2837" y="194"/>
                  <a:pt x="2837" y="194"/>
                </a:cubicBezTo>
                <a:cubicBezTo>
                  <a:pt x="2836" y="195"/>
                  <a:pt x="2836" y="195"/>
                  <a:pt x="2836" y="195"/>
                </a:cubicBezTo>
                <a:cubicBezTo>
                  <a:pt x="2838" y="196"/>
                  <a:pt x="2838" y="196"/>
                  <a:pt x="2838" y="196"/>
                </a:cubicBezTo>
                <a:cubicBezTo>
                  <a:pt x="2839" y="195"/>
                  <a:pt x="2839" y="195"/>
                  <a:pt x="2839" y="195"/>
                </a:cubicBezTo>
                <a:cubicBezTo>
                  <a:pt x="2838" y="194"/>
                  <a:pt x="2838" y="194"/>
                  <a:pt x="2838" y="194"/>
                </a:cubicBezTo>
                <a:cubicBezTo>
                  <a:pt x="2841" y="194"/>
                  <a:pt x="2841" y="194"/>
                  <a:pt x="2841" y="194"/>
                </a:cubicBezTo>
                <a:cubicBezTo>
                  <a:pt x="2844" y="194"/>
                  <a:pt x="2844" y="194"/>
                  <a:pt x="2844" y="194"/>
                </a:cubicBezTo>
                <a:cubicBezTo>
                  <a:pt x="2846" y="195"/>
                  <a:pt x="2846" y="195"/>
                  <a:pt x="2846" y="195"/>
                </a:cubicBezTo>
                <a:cubicBezTo>
                  <a:pt x="2848" y="196"/>
                  <a:pt x="2848" y="196"/>
                  <a:pt x="2848" y="196"/>
                </a:cubicBezTo>
                <a:cubicBezTo>
                  <a:pt x="2848" y="197"/>
                  <a:pt x="2848" y="197"/>
                  <a:pt x="2848" y="197"/>
                </a:cubicBezTo>
                <a:cubicBezTo>
                  <a:pt x="2851" y="197"/>
                  <a:pt x="2851" y="197"/>
                  <a:pt x="2851" y="197"/>
                </a:cubicBezTo>
                <a:cubicBezTo>
                  <a:pt x="2852" y="196"/>
                  <a:pt x="2852" y="196"/>
                  <a:pt x="2852" y="196"/>
                </a:cubicBezTo>
                <a:cubicBezTo>
                  <a:pt x="2854" y="196"/>
                  <a:pt x="2854" y="196"/>
                  <a:pt x="2854" y="196"/>
                </a:cubicBezTo>
                <a:cubicBezTo>
                  <a:pt x="2854" y="197"/>
                  <a:pt x="2854" y="197"/>
                  <a:pt x="2854" y="197"/>
                </a:cubicBezTo>
                <a:cubicBezTo>
                  <a:pt x="2851" y="200"/>
                  <a:pt x="2851" y="200"/>
                  <a:pt x="2851" y="200"/>
                </a:cubicBezTo>
                <a:cubicBezTo>
                  <a:pt x="2848" y="200"/>
                  <a:pt x="2848" y="200"/>
                  <a:pt x="2848" y="200"/>
                </a:cubicBezTo>
                <a:cubicBezTo>
                  <a:pt x="2847" y="201"/>
                  <a:pt x="2847" y="201"/>
                  <a:pt x="2847" y="201"/>
                </a:cubicBezTo>
                <a:cubicBezTo>
                  <a:pt x="2847" y="203"/>
                  <a:pt x="2847" y="203"/>
                  <a:pt x="2847" y="203"/>
                </a:cubicBezTo>
                <a:cubicBezTo>
                  <a:pt x="2846" y="203"/>
                  <a:pt x="2846" y="203"/>
                  <a:pt x="2846" y="203"/>
                </a:cubicBezTo>
                <a:cubicBezTo>
                  <a:pt x="2845" y="204"/>
                  <a:pt x="2845" y="204"/>
                  <a:pt x="2845" y="204"/>
                </a:cubicBezTo>
                <a:cubicBezTo>
                  <a:pt x="2846" y="204"/>
                  <a:pt x="2846" y="204"/>
                  <a:pt x="2846" y="204"/>
                </a:cubicBezTo>
                <a:cubicBezTo>
                  <a:pt x="2847" y="204"/>
                  <a:pt x="2847" y="204"/>
                  <a:pt x="2847" y="204"/>
                </a:cubicBezTo>
                <a:cubicBezTo>
                  <a:pt x="2850" y="208"/>
                  <a:pt x="2850" y="208"/>
                  <a:pt x="2850" y="208"/>
                </a:cubicBezTo>
                <a:cubicBezTo>
                  <a:pt x="2851" y="207"/>
                  <a:pt x="2851" y="207"/>
                  <a:pt x="2851" y="207"/>
                </a:cubicBezTo>
                <a:cubicBezTo>
                  <a:pt x="2854" y="206"/>
                  <a:pt x="2854" y="206"/>
                  <a:pt x="2854" y="206"/>
                </a:cubicBezTo>
                <a:cubicBezTo>
                  <a:pt x="2855" y="205"/>
                  <a:pt x="2855" y="205"/>
                  <a:pt x="2855" y="205"/>
                </a:cubicBezTo>
                <a:cubicBezTo>
                  <a:pt x="2855" y="204"/>
                  <a:pt x="2855" y="204"/>
                  <a:pt x="2855" y="204"/>
                </a:cubicBezTo>
                <a:cubicBezTo>
                  <a:pt x="2857" y="203"/>
                  <a:pt x="2857" y="203"/>
                  <a:pt x="2857" y="203"/>
                </a:cubicBezTo>
                <a:cubicBezTo>
                  <a:pt x="2855" y="201"/>
                  <a:pt x="2855" y="201"/>
                  <a:pt x="2855" y="201"/>
                </a:cubicBezTo>
                <a:cubicBezTo>
                  <a:pt x="2857" y="201"/>
                  <a:pt x="2857" y="201"/>
                  <a:pt x="2857" y="201"/>
                </a:cubicBezTo>
                <a:cubicBezTo>
                  <a:pt x="2859" y="203"/>
                  <a:pt x="2859" y="203"/>
                  <a:pt x="2859" y="203"/>
                </a:cubicBezTo>
                <a:cubicBezTo>
                  <a:pt x="2861" y="203"/>
                  <a:pt x="2861" y="203"/>
                  <a:pt x="2861" y="203"/>
                </a:cubicBezTo>
                <a:cubicBezTo>
                  <a:pt x="2862" y="202"/>
                  <a:pt x="2862" y="202"/>
                  <a:pt x="2862" y="202"/>
                </a:cubicBezTo>
                <a:cubicBezTo>
                  <a:pt x="2861" y="201"/>
                  <a:pt x="2861" y="201"/>
                  <a:pt x="2861" y="201"/>
                </a:cubicBezTo>
                <a:cubicBezTo>
                  <a:pt x="2862" y="200"/>
                  <a:pt x="2862" y="200"/>
                  <a:pt x="2862" y="200"/>
                </a:cubicBezTo>
                <a:cubicBezTo>
                  <a:pt x="2863" y="199"/>
                  <a:pt x="2863" y="199"/>
                  <a:pt x="2863" y="199"/>
                </a:cubicBezTo>
                <a:cubicBezTo>
                  <a:pt x="2864" y="199"/>
                  <a:pt x="2864" y="199"/>
                  <a:pt x="2864" y="199"/>
                </a:cubicBezTo>
                <a:cubicBezTo>
                  <a:pt x="2864" y="197"/>
                  <a:pt x="2864" y="197"/>
                  <a:pt x="2864" y="197"/>
                </a:cubicBezTo>
                <a:cubicBezTo>
                  <a:pt x="2863" y="196"/>
                  <a:pt x="2863" y="196"/>
                  <a:pt x="2863" y="196"/>
                </a:cubicBezTo>
                <a:cubicBezTo>
                  <a:pt x="2865" y="195"/>
                  <a:pt x="2865" y="195"/>
                  <a:pt x="2865" y="195"/>
                </a:cubicBezTo>
                <a:cubicBezTo>
                  <a:pt x="2866" y="196"/>
                  <a:pt x="2866" y="196"/>
                  <a:pt x="2866" y="196"/>
                </a:cubicBezTo>
                <a:cubicBezTo>
                  <a:pt x="2867" y="195"/>
                  <a:pt x="2867" y="195"/>
                  <a:pt x="2867" y="195"/>
                </a:cubicBezTo>
                <a:cubicBezTo>
                  <a:pt x="2868" y="196"/>
                  <a:pt x="2868" y="196"/>
                  <a:pt x="2868" y="196"/>
                </a:cubicBezTo>
                <a:cubicBezTo>
                  <a:pt x="2869" y="198"/>
                  <a:pt x="2869" y="198"/>
                  <a:pt x="2869" y="198"/>
                </a:cubicBezTo>
                <a:cubicBezTo>
                  <a:pt x="2870" y="199"/>
                  <a:pt x="2870" y="199"/>
                  <a:pt x="2870" y="199"/>
                </a:cubicBezTo>
                <a:cubicBezTo>
                  <a:pt x="2873" y="196"/>
                  <a:pt x="2873" y="196"/>
                  <a:pt x="2873" y="196"/>
                </a:cubicBezTo>
                <a:cubicBezTo>
                  <a:pt x="2871" y="195"/>
                  <a:pt x="2871" y="195"/>
                  <a:pt x="2871" y="195"/>
                </a:cubicBezTo>
                <a:cubicBezTo>
                  <a:pt x="2872" y="194"/>
                  <a:pt x="2872" y="194"/>
                  <a:pt x="2872" y="194"/>
                </a:cubicBezTo>
                <a:cubicBezTo>
                  <a:pt x="2873" y="193"/>
                  <a:pt x="2873" y="193"/>
                  <a:pt x="2873" y="193"/>
                </a:cubicBezTo>
                <a:cubicBezTo>
                  <a:pt x="2875" y="194"/>
                  <a:pt x="2875" y="194"/>
                  <a:pt x="2875" y="194"/>
                </a:cubicBezTo>
                <a:cubicBezTo>
                  <a:pt x="2876" y="193"/>
                  <a:pt x="2876" y="193"/>
                  <a:pt x="2876" y="193"/>
                </a:cubicBezTo>
                <a:cubicBezTo>
                  <a:pt x="2877" y="193"/>
                  <a:pt x="2877" y="193"/>
                  <a:pt x="2877" y="193"/>
                </a:cubicBezTo>
                <a:cubicBezTo>
                  <a:pt x="2878" y="192"/>
                  <a:pt x="2878" y="192"/>
                  <a:pt x="2878" y="192"/>
                </a:cubicBezTo>
                <a:cubicBezTo>
                  <a:pt x="2876" y="190"/>
                  <a:pt x="2876" y="190"/>
                  <a:pt x="2876" y="190"/>
                </a:cubicBezTo>
                <a:cubicBezTo>
                  <a:pt x="2876" y="190"/>
                  <a:pt x="2876" y="190"/>
                  <a:pt x="2876" y="190"/>
                </a:cubicBezTo>
                <a:cubicBezTo>
                  <a:pt x="2876" y="189"/>
                  <a:pt x="2876" y="189"/>
                  <a:pt x="2876" y="189"/>
                </a:cubicBezTo>
                <a:cubicBezTo>
                  <a:pt x="2874" y="188"/>
                  <a:pt x="2874" y="188"/>
                  <a:pt x="2874" y="188"/>
                </a:cubicBezTo>
                <a:cubicBezTo>
                  <a:pt x="2873" y="187"/>
                  <a:pt x="2873" y="187"/>
                  <a:pt x="2873" y="187"/>
                </a:cubicBezTo>
                <a:cubicBezTo>
                  <a:pt x="2873" y="187"/>
                  <a:pt x="2873" y="187"/>
                  <a:pt x="2873" y="187"/>
                </a:cubicBezTo>
                <a:cubicBezTo>
                  <a:pt x="2873" y="188"/>
                  <a:pt x="2873" y="188"/>
                  <a:pt x="2873" y="188"/>
                </a:cubicBezTo>
                <a:cubicBezTo>
                  <a:pt x="2872" y="188"/>
                  <a:pt x="2872" y="188"/>
                  <a:pt x="2872" y="188"/>
                </a:cubicBezTo>
                <a:cubicBezTo>
                  <a:pt x="2870" y="187"/>
                  <a:pt x="2870" y="187"/>
                  <a:pt x="2870" y="187"/>
                </a:cubicBezTo>
                <a:cubicBezTo>
                  <a:pt x="2869" y="188"/>
                  <a:pt x="2869" y="188"/>
                  <a:pt x="2869" y="188"/>
                </a:cubicBezTo>
                <a:cubicBezTo>
                  <a:pt x="2870" y="189"/>
                  <a:pt x="2870" y="189"/>
                  <a:pt x="2870" y="189"/>
                </a:cubicBezTo>
                <a:cubicBezTo>
                  <a:pt x="2868" y="189"/>
                  <a:pt x="2868" y="189"/>
                  <a:pt x="2868" y="189"/>
                </a:cubicBezTo>
                <a:cubicBezTo>
                  <a:pt x="2867" y="189"/>
                  <a:pt x="2867" y="189"/>
                  <a:pt x="2867" y="189"/>
                </a:cubicBezTo>
                <a:cubicBezTo>
                  <a:pt x="2865" y="188"/>
                  <a:pt x="2865" y="188"/>
                  <a:pt x="2865" y="188"/>
                </a:cubicBezTo>
                <a:cubicBezTo>
                  <a:pt x="2866" y="187"/>
                  <a:pt x="2866" y="187"/>
                  <a:pt x="2866" y="187"/>
                </a:cubicBezTo>
                <a:cubicBezTo>
                  <a:pt x="2867" y="186"/>
                  <a:pt x="2867" y="186"/>
                  <a:pt x="2867" y="186"/>
                </a:cubicBezTo>
                <a:cubicBezTo>
                  <a:pt x="2864" y="182"/>
                  <a:pt x="2864" y="182"/>
                  <a:pt x="2864" y="182"/>
                </a:cubicBezTo>
                <a:cubicBezTo>
                  <a:pt x="2866" y="181"/>
                  <a:pt x="2866" y="181"/>
                  <a:pt x="2866" y="181"/>
                </a:cubicBezTo>
                <a:cubicBezTo>
                  <a:pt x="2864" y="179"/>
                  <a:pt x="2864" y="179"/>
                  <a:pt x="2864" y="179"/>
                </a:cubicBezTo>
                <a:cubicBezTo>
                  <a:pt x="2865" y="175"/>
                  <a:pt x="2865" y="175"/>
                  <a:pt x="2865" y="175"/>
                </a:cubicBezTo>
                <a:cubicBezTo>
                  <a:pt x="2865" y="173"/>
                  <a:pt x="2865" y="173"/>
                  <a:pt x="2865" y="173"/>
                </a:cubicBezTo>
                <a:cubicBezTo>
                  <a:pt x="2866" y="171"/>
                  <a:pt x="2866" y="171"/>
                  <a:pt x="2866" y="171"/>
                </a:cubicBezTo>
                <a:cubicBezTo>
                  <a:pt x="2866" y="168"/>
                  <a:pt x="2866" y="168"/>
                  <a:pt x="2866" y="168"/>
                </a:cubicBezTo>
                <a:cubicBezTo>
                  <a:pt x="2868" y="166"/>
                  <a:pt x="2868" y="166"/>
                  <a:pt x="2868" y="166"/>
                </a:cubicBezTo>
                <a:cubicBezTo>
                  <a:pt x="2868" y="164"/>
                  <a:pt x="2868" y="164"/>
                  <a:pt x="2868" y="164"/>
                </a:cubicBezTo>
                <a:cubicBezTo>
                  <a:pt x="2868" y="163"/>
                  <a:pt x="2868" y="163"/>
                  <a:pt x="2868" y="163"/>
                </a:cubicBezTo>
                <a:cubicBezTo>
                  <a:pt x="2870" y="162"/>
                  <a:pt x="2870" y="162"/>
                  <a:pt x="2870" y="162"/>
                </a:cubicBezTo>
                <a:cubicBezTo>
                  <a:pt x="2867" y="160"/>
                  <a:pt x="2867" y="160"/>
                  <a:pt x="2867" y="160"/>
                </a:cubicBezTo>
                <a:cubicBezTo>
                  <a:pt x="2868" y="152"/>
                  <a:pt x="2868" y="152"/>
                  <a:pt x="2868" y="152"/>
                </a:cubicBezTo>
                <a:cubicBezTo>
                  <a:pt x="2870" y="151"/>
                  <a:pt x="2870" y="151"/>
                  <a:pt x="2870" y="151"/>
                </a:cubicBezTo>
                <a:cubicBezTo>
                  <a:pt x="2868" y="148"/>
                  <a:pt x="2868" y="148"/>
                  <a:pt x="2868" y="148"/>
                </a:cubicBezTo>
                <a:cubicBezTo>
                  <a:pt x="2868" y="146"/>
                  <a:pt x="2868" y="146"/>
                  <a:pt x="2868" y="146"/>
                </a:cubicBezTo>
                <a:cubicBezTo>
                  <a:pt x="2866" y="145"/>
                  <a:pt x="2866" y="145"/>
                  <a:pt x="2866" y="145"/>
                </a:cubicBezTo>
                <a:cubicBezTo>
                  <a:pt x="2866" y="144"/>
                  <a:pt x="2866" y="144"/>
                  <a:pt x="2866" y="144"/>
                </a:cubicBezTo>
                <a:cubicBezTo>
                  <a:pt x="2868" y="142"/>
                  <a:pt x="2868" y="142"/>
                  <a:pt x="2868" y="142"/>
                </a:cubicBezTo>
                <a:cubicBezTo>
                  <a:pt x="2868" y="139"/>
                  <a:pt x="2868" y="139"/>
                  <a:pt x="2868" y="139"/>
                </a:cubicBezTo>
                <a:cubicBezTo>
                  <a:pt x="2869" y="139"/>
                  <a:pt x="2869" y="139"/>
                  <a:pt x="2869" y="139"/>
                </a:cubicBezTo>
                <a:cubicBezTo>
                  <a:pt x="2871" y="135"/>
                  <a:pt x="2871" y="135"/>
                  <a:pt x="2871" y="135"/>
                </a:cubicBezTo>
                <a:cubicBezTo>
                  <a:pt x="2874" y="135"/>
                  <a:pt x="2874" y="135"/>
                  <a:pt x="2874" y="135"/>
                </a:cubicBezTo>
                <a:cubicBezTo>
                  <a:pt x="2875" y="135"/>
                  <a:pt x="2875" y="135"/>
                  <a:pt x="2875" y="135"/>
                </a:cubicBezTo>
                <a:cubicBezTo>
                  <a:pt x="2876" y="135"/>
                  <a:pt x="2876" y="135"/>
                  <a:pt x="2876" y="135"/>
                </a:cubicBezTo>
                <a:cubicBezTo>
                  <a:pt x="2877" y="134"/>
                  <a:pt x="2877" y="134"/>
                  <a:pt x="2877" y="134"/>
                </a:cubicBezTo>
                <a:cubicBezTo>
                  <a:pt x="2881" y="133"/>
                  <a:pt x="2881" y="133"/>
                  <a:pt x="2881" y="133"/>
                </a:cubicBezTo>
                <a:cubicBezTo>
                  <a:pt x="2881" y="132"/>
                  <a:pt x="2881" y="132"/>
                  <a:pt x="2881" y="132"/>
                </a:cubicBezTo>
                <a:cubicBezTo>
                  <a:pt x="2883" y="132"/>
                  <a:pt x="2883" y="132"/>
                  <a:pt x="2883" y="132"/>
                </a:cubicBezTo>
                <a:cubicBezTo>
                  <a:pt x="2883" y="130"/>
                  <a:pt x="2883" y="130"/>
                  <a:pt x="2883" y="130"/>
                </a:cubicBezTo>
                <a:cubicBezTo>
                  <a:pt x="2884" y="130"/>
                  <a:pt x="2884" y="130"/>
                  <a:pt x="2884" y="130"/>
                </a:cubicBezTo>
                <a:cubicBezTo>
                  <a:pt x="2885" y="129"/>
                  <a:pt x="2885" y="129"/>
                  <a:pt x="2885" y="129"/>
                </a:cubicBezTo>
                <a:cubicBezTo>
                  <a:pt x="2887" y="129"/>
                  <a:pt x="2887" y="129"/>
                  <a:pt x="2887" y="129"/>
                </a:cubicBezTo>
                <a:cubicBezTo>
                  <a:pt x="2888" y="131"/>
                  <a:pt x="2888" y="131"/>
                  <a:pt x="2888" y="131"/>
                </a:cubicBezTo>
                <a:cubicBezTo>
                  <a:pt x="2889" y="131"/>
                  <a:pt x="2889" y="131"/>
                  <a:pt x="2889" y="131"/>
                </a:cubicBezTo>
                <a:cubicBezTo>
                  <a:pt x="2889" y="131"/>
                  <a:pt x="2889" y="131"/>
                  <a:pt x="2889" y="131"/>
                </a:cubicBezTo>
                <a:cubicBezTo>
                  <a:pt x="2890" y="133"/>
                  <a:pt x="2890" y="133"/>
                  <a:pt x="2890" y="133"/>
                </a:cubicBezTo>
                <a:cubicBezTo>
                  <a:pt x="2891" y="133"/>
                  <a:pt x="2891" y="133"/>
                  <a:pt x="2891" y="133"/>
                </a:cubicBezTo>
                <a:cubicBezTo>
                  <a:pt x="2893" y="131"/>
                  <a:pt x="2893" y="131"/>
                  <a:pt x="2893" y="131"/>
                </a:cubicBezTo>
                <a:cubicBezTo>
                  <a:pt x="2893" y="129"/>
                  <a:pt x="2893" y="129"/>
                  <a:pt x="2893" y="129"/>
                </a:cubicBezTo>
                <a:cubicBezTo>
                  <a:pt x="2894" y="128"/>
                  <a:pt x="2894" y="128"/>
                  <a:pt x="2894" y="128"/>
                </a:cubicBezTo>
                <a:cubicBezTo>
                  <a:pt x="2894" y="126"/>
                  <a:pt x="2894" y="126"/>
                  <a:pt x="2894" y="126"/>
                </a:cubicBezTo>
                <a:cubicBezTo>
                  <a:pt x="2895" y="126"/>
                  <a:pt x="2895" y="126"/>
                  <a:pt x="2895" y="126"/>
                </a:cubicBezTo>
                <a:cubicBezTo>
                  <a:pt x="2896" y="127"/>
                  <a:pt x="2896" y="127"/>
                  <a:pt x="2896" y="127"/>
                </a:cubicBezTo>
                <a:cubicBezTo>
                  <a:pt x="2898" y="129"/>
                  <a:pt x="2898" y="129"/>
                  <a:pt x="2898" y="129"/>
                </a:cubicBezTo>
                <a:cubicBezTo>
                  <a:pt x="2898" y="131"/>
                  <a:pt x="2898" y="131"/>
                  <a:pt x="2898" y="131"/>
                </a:cubicBezTo>
                <a:cubicBezTo>
                  <a:pt x="2898" y="132"/>
                  <a:pt x="2898" y="132"/>
                  <a:pt x="2898" y="132"/>
                </a:cubicBezTo>
                <a:cubicBezTo>
                  <a:pt x="2899" y="133"/>
                  <a:pt x="2899" y="133"/>
                  <a:pt x="2899" y="133"/>
                </a:cubicBezTo>
                <a:cubicBezTo>
                  <a:pt x="2899" y="135"/>
                  <a:pt x="2899" y="135"/>
                  <a:pt x="2899" y="135"/>
                </a:cubicBezTo>
                <a:cubicBezTo>
                  <a:pt x="2898" y="137"/>
                  <a:pt x="2898" y="137"/>
                  <a:pt x="2898" y="137"/>
                </a:cubicBezTo>
                <a:cubicBezTo>
                  <a:pt x="2899" y="137"/>
                  <a:pt x="2899" y="137"/>
                  <a:pt x="2899" y="137"/>
                </a:cubicBezTo>
                <a:cubicBezTo>
                  <a:pt x="2899" y="139"/>
                  <a:pt x="2899" y="139"/>
                  <a:pt x="2899" y="139"/>
                </a:cubicBezTo>
                <a:cubicBezTo>
                  <a:pt x="2899" y="139"/>
                  <a:pt x="2899" y="139"/>
                  <a:pt x="2899" y="139"/>
                </a:cubicBezTo>
                <a:cubicBezTo>
                  <a:pt x="2899" y="141"/>
                  <a:pt x="2899" y="141"/>
                  <a:pt x="2899" y="141"/>
                </a:cubicBezTo>
                <a:cubicBezTo>
                  <a:pt x="2899" y="142"/>
                  <a:pt x="2899" y="142"/>
                  <a:pt x="2899" y="142"/>
                </a:cubicBezTo>
                <a:cubicBezTo>
                  <a:pt x="2898" y="143"/>
                  <a:pt x="2898" y="143"/>
                  <a:pt x="2898" y="143"/>
                </a:cubicBezTo>
                <a:cubicBezTo>
                  <a:pt x="2898" y="144"/>
                  <a:pt x="2898" y="144"/>
                  <a:pt x="2898" y="144"/>
                </a:cubicBezTo>
                <a:cubicBezTo>
                  <a:pt x="2899" y="145"/>
                  <a:pt x="2899" y="145"/>
                  <a:pt x="2899" y="145"/>
                </a:cubicBezTo>
                <a:cubicBezTo>
                  <a:pt x="2900" y="143"/>
                  <a:pt x="2900" y="143"/>
                  <a:pt x="2900" y="143"/>
                </a:cubicBezTo>
                <a:cubicBezTo>
                  <a:pt x="2901" y="145"/>
                  <a:pt x="2901" y="145"/>
                  <a:pt x="2901" y="145"/>
                </a:cubicBezTo>
                <a:cubicBezTo>
                  <a:pt x="2903" y="145"/>
                  <a:pt x="2903" y="145"/>
                  <a:pt x="2903" y="145"/>
                </a:cubicBezTo>
                <a:cubicBezTo>
                  <a:pt x="2903" y="149"/>
                  <a:pt x="2903" y="149"/>
                  <a:pt x="2903" y="149"/>
                </a:cubicBezTo>
                <a:cubicBezTo>
                  <a:pt x="2904" y="148"/>
                  <a:pt x="2904" y="148"/>
                  <a:pt x="2904" y="148"/>
                </a:cubicBezTo>
                <a:cubicBezTo>
                  <a:pt x="2904" y="146"/>
                  <a:pt x="2904" y="146"/>
                  <a:pt x="2904" y="146"/>
                </a:cubicBezTo>
                <a:cubicBezTo>
                  <a:pt x="2906" y="145"/>
                  <a:pt x="2906" y="145"/>
                  <a:pt x="2906" y="145"/>
                </a:cubicBezTo>
                <a:cubicBezTo>
                  <a:pt x="2908" y="145"/>
                  <a:pt x="2908" y="145"/>
                  <a:pt x="2908" y="145"/>
                </a:cubicBezTo>
                <a:cubicBezTo>
                  <a:pt x="2908" y="146"/>
                  <a:pt x="2908" y="146"/>
                  <a:pt x="2908" y="146"/>
                </a:cubicBezTo>
                <a:cubicBezTo>
                  <a:pt x="2907" y="149"/>
                  <a:pt x="2907" y="149"/>
                  <a:pt x="2907" y="149"/>
                </a:cubicBezTo>
                <a:cubicBezTo>
                  <a:pt x="2909" y="151"/>
                  <a:pt x="2909" y="151"/>
                  <a:pt x="2909" y="151"/>
                </a:cubicBezTo>
                <a:cubicBezTo>
                  <a:pt x="2909" y="153"/>
                  <a:pt x="2909" y="153"/>
                  <a:pt x="2909" y="153"/>
                </a:cubicBezTo>
                <a:cubicBezTo>
                  <a:pt x="2910" y="150"/>
                  <a:pt x="2910" y="150"/>
                  <a:pt x="2910" y="150"/>
                </a:cubicBezTo>
                <a:cubicBezTo>
                  <a:pt x="2912" y="149"/>
                  <a:pt x="2912" y="149"/>
                  <a:pt x="2912" y="149"/>
                </a:cubicBezTo>
                <a:cubicBezTo>
                  <a:pt x="2912" y="148"/>
                  <a:pt x="2912" y="148"/>
                  <a:pt x="2912" y="148"/>
                </a:cubicBezTo>
                <a:cubicBezTo>
                  <a:pt x="2913" y="146"/>
                  <a:pt x="2913" y="146"/>
                  <a:pt x="2913" y="146"/>
                </a:cubicBezTo>
                <a:cubicBezTo>
                  <a:pt x="2913" y="141"/>
                  <a:pt x="2913" y="141"/>
                  <a:pt x="2913" y="141"/>
                </a:cubicBezTo>
                <a:cubicBezTo>
                  <a:pt x="2914" y="140"/>
                  <a:pt x="2914" y="140"/>
                  <a:pt x="2914" y="140"/>
                </a:cubicBezTo>
                <a:cubicBezTo>
                  <a:pt x="2913" y="139"/>
                  <a:pt x="2913" y="139"/>
                  <a:pt x="2913" y="139"/>
                </a:cubicBezTo>
                <a:cubicBezTo>
                  <a:pt x="2914" y="137"/>
                  <a:pt x="2914" y="137"/>
                  <a:pt x="2914" y="137"/>
                </a:cubicBezTo>
                <a:cubicBezTo>
                  <a:pt x="2915" y="135"/>
                  <a:pt x="2915" y="135"/>
                  <a:pt x="2915" y="135"/>
                </a:cubicBezTo>
                <a:cubicBezTo>
                  <a:pt x="2914" y="135"/>
                  <a:pt x="2914" y="135"/>
                  <a:pt x="2914" y="135"/>
                </a:cubicBezTo>
                <a:cubicBezTo>
                  <a:pt x="2914" y="134"/>
                  <a:pt x="2914" y="134"/>
                  <a:pt x="2914" y="134"/>
                </a:cubicBezTo>
                <a:cubicBezTo>
                  <a:pt x="2915" y="134"/>
                  <a:pt x="2915" y="134"/>
                  <a:pt x="2915" y="134"/>
                </a:cubicBezTo>
                <a:cubicBezTo>
                  <a:pt x="2915" y="131"/>
                  <a:pt x="2915" y="131"/>
                  <a:pt x="2915" y="131"/>
                </a:cubicBezTo>
                <a:cubicBezTo>
                  <a:pt x="2914" y="129"/>
                  <a:pt x="2914" y="129"/>
                  <a:pt x="2914" y="129"/>
                </a:cubicBezTo>
                <a:cubicBezTo>
                  <a:pt x="2915" y="126"/>
                  <a:pt x="2915" y="126"/>
                  <a:pt x="2915" y="126"/>
                </a:cubicBezTo>
                <a:cubicBezTo>
                  <a:pt x="2917" y="125"/>
                  <a:pt x="2917" y="125"/>
                  <a:pt x="2917" y="125"/>
                </a:cubicBezTo>
                <a:cubicBezTo>
                  <a:pt x="2919" y="125"/>
                  <a:pt x="2919" y="125"/>
                  <a:pt x="2919" y="125"/>
                </a:cubicBezTo>
                <a:cubicBezTo>
                  <a:pt x="2920" y="126"/>
                  <a:pt x="2920" y="126"/>
                  <a:pt x="2920" y="126"/>
                </a:cubicBezTo>
                <a:cubicBezTo>
                  <a:pt x="2922" y="127"/>
                  <a:pt x="2922" y="127"/>
                  <a:pt x="2922" y="127"/>
                </a:cubicBezTo>
                <a:cubicBezTo>
                  <a:pt x="2922" y="126"/>
                  <a:pt x="2922" y="126"/>
                  <a:pt x="2922" y="126"/>
                </a:cubicBezTo>
                <a:cubicBezTo>
                  <a:pt x="2921" y="125"/>
                  <a:pt x="2921" y="125"/>
                  <a:pt x="2921" y="125"/>
                </a:cubicBezTo>
                <a:cubicBezTo>
                  <a:pt x="2921" y="123"/>
                  <a:pt x="2921" y="123"/>
                  <a:pt x="2921" y="123"/>
                </a:cubicBezTo>
                <a:cubicBezTo>
                  <a:pt x="2918" y="121"/>
                  <a:pt x="2918" y="121"/>
                  <a:pt x="2918" y="121"/>
                </a:cubicBezTo>
                <a:cubicBezTo>
                  <a:pt x="2917" y="117"/>
                  <a:pt x="2917" y="117"/>
                  <a:pt x="2917" y="117"/>
                </a:cubicBezTo>
                <a:cubicBezTo>
                  <a:pt x="2916" y="116"/>
                  <a:pt x="2916" y="116"/>
                  <a:pt x="2916" y="116"/>
                </a:cubicBezTo>
                <a:cubicBezTo>
                  <a:pt x="2916" y="115"/>
                  <a:pt x="2916" y="115"/>
                  <a:pt x="2916" y="115"/>
                </a:cubicBezTo>
                <a:cubicBezTo>
                  <a:pt x="2914" y="114"/>
                  <a:pt x="2914" y="114"/>
                  <a:pt x="2914" y="114"/>
                </a:cubicBezTo>
                <a:cubicBezTo>
                  <a:pt x="2913" y="111"/>
                  <a:pt x="2913" y="111"/>
                  <a:pt x="2913" y="111"/>
                </a:cubicBezTo>
                <a:cubicBezTo>
                  <a:pt x="2914" y="110"/>
                  <a:pt x="2914" y="110"/>
                  <a:pt x="2914" y="110"/>
                </a:cubicBezTo>
                <a:cubicBezTo>
                  <a:pt x="2914" y="108"/>
                  <a:pt x="2914" y="108"/>
                  <a:pt x="2914" y="108"/>
                </a:cubicBezTo>
                <a:cubicBezTo>
                  <a:pt x="2911" y="106"/>
                  <a:pt x="2911" y="106"/>
                  <a:pt x="2911" y="106"/>
                </a:cubicBezTo>
                <a:cubicBezTo>
                  <a:pt x="2912" y="104"/>
                  <a:pt x="2912" y="104"/>
                  <a:pt x="2912" y="104"/>
                </a:cubicBezTo>
                <a:cubicBezTo>
                  <a:pt x="2911" y="103"/>
                  <a:pt x="2911" y="103"/>
                  <a:pt x="2911" y="103"/>
                </a:cubicBezTo>
                <a:cubicBezTo>
                  <a:pt x="2914" y="101"/>
                  <a:pt x="2914" y="101"/>
                  <a:pt x="2914" y="101"/>
                </a:cubicBezTo>
                <a:cubicBezTo>
                  <a:pt x="2916" y="101"/>
                  <a:pt x="2916" y="101"/>
                  <a:pt x="2916" y="101"/>
                </a:cubicBezTo>
                <a:cubicBezTo>
                  <a:pt x="2917" y="99"/>
                  <a:pt x="2917" y="99"/>
                  <a:pt x="2917" y="99"/>
                </a:cubicBezTo>
                <a:cubicBezTo>
                  <a:pt x="2920" y="99"/>
                  <a:pt x="2920" y="99"/>
                  <a:pt x="2920" y="99"/>
                </a:cubicBezTo>
                <a:cubicBezTo>
                  <a:pt x="2921" y="98"/>
                  <a:pt x="2921" y="98"/>
                  <a:pt x="2921" y="98"/>
                </a:cubicBezTo>
                <a:cubicBezTo>
                  <a:pt x="2924" y="100"/>
                  <a:pt x="2924" y="100"/>
                  <a:pt x="2924" y="100"/>
                </a:cubicBezTo>
                <a:cubicBezTo>
                  <a:pt x="2927" y="100"/>
                  <a:pt x="2927" y="100"/>
                  <a:pt x="2927" y="100"/>
                </a:cubicBezTo>
                <a:cubicBezTo>
                  <a:pt x="2928" y="101"/>
                  <a:pt x="2928" y="101"/>
                  <a:pt x="2928" y="101"/>
                </a:cubicBezTo>
                <a:cubicBezTo>
                  <a:pt x="2930" y="101"/>
                  <a:pt x="2930" y="101"/>
                  <a:pt x="2930" y="101"/>
                </a:cubicBezTo>
                <a:cubicBezTo>
                  <a:pt x="2931" y="101"/>
                  <a:pt x="2931" y="101"/>
                  <a:pt x="2931" y="101"/>
                </a:cubicBezTo>
                <a:cubicBezTo>
                  <a:pt x="2928" y="102"/>
                  <a:pt x="2928" y="102"/>
                  <a:pt x="2928" y="102"/>
                </a:cubicBezTo>
                <a:cubicBezTo>
                  <a:pt x="2930" y="103"/>
                  <a:pt x="2930" y="103"/>
                  <a:pt x="2930" y="103"/>
                </a:cubicBezTo>
                <a:cubicBezTo>
                  <a:pt x="2928" y="104"/>
                  <a:pt x="2928" y="104"/>
                  <a:pt x="2928" y="104"/>
                </a:cubicBezTo>
                <a:cubicBezTo>
                  <a:pt x="2925" y="103"/>
                  <a:pt x="2925" y="103"/>
                  <a:pt x="2925" y="103"/>
                </a:cubicBezTo>
                <a:cubicBezTo>
                  <a:pt x="2923" y="106"/>
                  <a:pt x="2923" y="106"/>
                  <a:pt x="2923" y="106"/>
                </a:cubicBezTo>
                <a:cubicBezTo>
                  <a:pt x="2922" y="108"/>
                  <a:pt x="2922" y="108"/>
                  <a:pt x="2922" y="108"/>
                </a:cubicBezTo>
                <a:cubicBezTo>
                  <a:pt x="2923" y="110"/>
                  <a:pt x="2923" y="110"/>
                  <a:pt x="2923" y="110"/>
                </a:cubicBezTo>
                <a:cubicBezTo>
                  <a:pt x="2924" y="112"/>
                  <a:pt x="2924" y="112"/>
                  <a:pt x="2924" y="112"/>
                </a:cubicBezTo>
                <a:cubicBezTo>
                  <a:pt x="2925" y="113"/>
                  <a:pt x="2925" y="113"/>
                  <a:pt x="2925" y="113"/>
                </a:cubicBezTo>
                <a:cubicBezTo>
                  <a:pt x="2925" y="115"/>
                  <a:pt x="2925" y="115"/>
                  <a:pt x="2925" y="115"/>
                </a:cubicBezTo>
                <a:cubicBezTo>
                  <a:pt x="2927" y="118"/>
                  <a:pt x="2927" y="118"/>
                  <a:pt x="2927" y="118"/>
                </a:cubicBezTo>
                <a:cubicBezTo>
                  <a:pt x="2928" y="119"/>
                  <a:pt x="2928" y="119"/>
                  <a:pt x="2928" y="119"/>
                </a:cubicBezTo>
                <a:cubicBezTo>
                  <a:pt x="2928" y="119"/>
                  <a:pt x="2928" y="119"/>
                  <a:pt x="2928" y="119"/>
                </a:cubicBezTo>
                <a:cubicBezTo>
                  <a:pt x="2927" y="120"/>
                  <a:pt x="2927" y="120"/>
                  <a:pt x="2927" y="120"/>
                </a:cubicBezTo>
                <a:cubicBezTo>
                  <a:pt x="2929" y="121"/>
                  <a:pt x="2929" y="121"/>
                  <a:pt x="2929" y="121"/>
                </a:cubicBezTo>
                <a:cubicBezTo>
                  <a:pt x="2930" y="123"/>
                  <a:pt x="2930" y="123"/>
                  <a:pt x="2930" y="123"/>
                </a:cubicBezTo>
                <a:cubicBezTo>
                  <a:pt x="2930" y="124"/>
                  <a:pt x="2930" y="124"/>
                  <a:pt x="2930" y="124"/>
                </a:cubicBezTo>
                <a:cubicBezTo>
                  <a:pt x="2929" y="125"/>
                  <a:pt x="2929" y="125"/>
                  <a:pt x="2929" y="125"/>
                </a:cubicBezTo>
                <a:cubicBezTo>
                  <a:pt x="2930" y="130"/>
                  <a:pt x="2930" y="130"/>
                  <a:pt x="2930" y="130"/>
                </a:cubicBezTo>
                <a:cubicBezTo>
                  <a:pt x="2930" y="130"/>
                  <a:pt x="2930" y="130"/>
                  <a:pt x="2930" y="130"/>
                </a:cubicBezTo>
                <a:cubicBezTo>
                  <a:pt x="2931" y="129"/>
                  <a:pt x="2931" y="129"/>
                  <a:pt x="2931" y="129"/>
                </a:cubicBezTo>
                <a:cubicBezTo>
                  <a:pt x="2932" y="129"/>
                  <a:pt x="2932" y="129"/>
                  <a:pt x="2932" y="129"/>
                </a:cubicBezTo>
                <a:cubicBezTo>
                  <a:pt x="2933" y="131"/>
                  <a:pt x="2933" y="131"/>
                  <a:pt x="2933" y="131"/>
                </a:cubicBezTo>
                <a:cubicBezTo>
                  <a:pt x="2934" y="132"/>
                  <a:pt x="2934" y="132"/>
                  <a:pt x="2934" y="132"/>
                </a:cubicBezTo>
                <a:cubicBezTo>
                  <a:pt x="2932" y="135"/>
                  <a:pt x="2932" y="135"/>
                  <a:pt x="2932" y="135"/>
                </a:cubicBezTo>
                <a:cubicBezTo>
                  <a:pt x="2932" y="139"/>
                  <a:pt x="2932" y="139"/>
                  <a:pt x="2932" y="139"/>
                </a:cubicBezTo>
                <a:cubicBezTo>
                  <a:pt x="2934" y="140"/>
                  <a:pt x="2934" y="140"/>
                  <a:pt x="2934" y="140"/>
                </a:cubicBezTo>
                <a:cubicBezTo>
                  <a:pt x="2935" y="140"/>
                  <a:pt x="2935" y="140"/>
                  <a:pt x="2935" y="140"/>
                </a:cubicBezTo>
                <a:cubicBezTo>
                  <a:pt x="2937" y="140"/>
                  <a:pt x="2937" y="140"/>
                  <a:pt x="2937" y="140"/>
                </a:cubicBezTo>
                <a:cubicBezTo>
                  <a:pt x="2938" y="141"/>
                  <a:pt x="2938" y="141"/>
                  <a:pt x="2938" y="141"/>
                </a:cubicBezTo>
                <a:cubicBezTo>
                  <a:pt x="2937" y="142"/>
                  <a:pt x="2937" y="142"/>
                  <a:pt x="2937" y="142"/>
                </a:cubicBezTo>
                <a:cubicBezTo>
                  <a:pt x="2936" y="142"/>
                  <a:pt x="2936" y="142"/>
                  <a:pt x="2936" y="142"/>
                </a:cubicBezTo>
                <a:cubicBezTo>
                  <a:pt x="2934" y="143"/>
                  <a:pt x="2934" y="143"/>
                  <a:pt x="2934" y="143"/>
                </a:cubicBezTo>
                <a:cubicBezTo>
                  <a:pt x="2933" y="143"/>
                  <a:pt x="2933" y="143"/>
                  <a:pt x="2933" y="143"/>
                </a:cubicBezTo>
                <a:cubicBezTo>
                  <a:pt x="2931" y="146"/>
                  <a:pt x="2931" y="146"/>
                  <a:pt x="2931" y="146"/>
                </a:cubicBezTo>
                <a:cubicBezTo>
                  <a:pt x="2931" y="148"/>
                  <a:pt x="2931" y="148"/>
                  <a:pt x="2931" y="148"/>
                </a:cubicBezTo>
                <a:cubicBezTo>
                  <a:pt x="2928" y="149"/>
                  <a:pt x="2928" y="149"/>
                  <a:pt x="2928" y="149"/>
                </a:cubicBezTo>
                <a:cubicBezTo>
                  <a:pt x="2928" y="150"/>
                  <a:pt x="2928" y="150"/>
                  <a:pt x="2928" y="150"/>
                </a:cubicBezTo>
                <a:cubicBezTo>
                  <a:pt x="2926" y="151"/>
                  <a:pt x="2926" y="151"/>
                  <a:pt x="2926" y="151"/>
                </a:cubicBezTo>
                <a:cubicBezTo>
                  <a:pt x="2926" y="153"/>
                  <a:pt x="2926" y="153"/>
                  <a:pt x="2926" y="153"/>
                </a:cubicBezTo>
                <a:cubicBezTo>
                  <a:pt x="2925" y="154"/>
                  <a:pt x="2925" y="154"/>
                  <a:pt x="2925" y="154"/>
                </a:cubicBezTo>
                <a:cubicBezTo>
                  <a:pt x="2926" y="157"/>
                  <a:pt x="2926" y="157"/>
                  <a:pt x="2926" y="157"/>
                </a:cubicBezTo>
                <a:cubicBezTo>
                  <a:pt x="2927" y="156"/>
                  <a:pt x="2927" y="156"/>
                  <a:pt x="2927" y="156"/>
                </a:cubicBezTo>
                <a:cubicBezTo>
                  <a:pt x="2927" y="159"/>
                  <a:pt x="2927" y="159"/>
                  <a:pt x="2927" y="159"/>
                </a:cubicBezTo>
                <a:cubicBezTo>
                  <a:pt x="2925" y="162"/>
                  <a:pt x="2925" y="162"/>
                  <a:pt x="2925" y="162"/>
                </a:cubicBezTo>
                <a:cubicBezTo>
                  <a:pt x="2926" y="163"/>
                  <a:pt x="2926" y="163"/>
                  <a:pt x="2926" y="163"/>
                </a:cubicBezTo>
                <a:cubicBezTo>
                  <a:pt x="2927" y="164"/>
                  <a:pt x="2927" y="164"/>
                  <a:pt x="2927" y="164"/>
                </a:cubicBezTo>
                <a:cubicBezTo>
                  <a:pt x="2926" y="168"/>
                  <a:pt x="2926" y="168"/>
                  <a:pt x="2926" y="168"/>
                </a:cubicBezTo>
                <a:cubicBezTo>
                  <a:pt x="2927" y="172"/>
                  <a:pt x="2927" y="172"/>
                  <a:pt x="2927" y="172"/>
                </a:cubicBezTo>
                <a:cubicBezTo>
                  <a:pt x="2926" y="173"/>
                  <a:pt x="2926" y="173"/>
                  <a:pt x="2926" y="173"/>
                </a:cubicBezTo>
                <a:cubicBezTo>
                  <a:pt x="2924" y="174"/>
                  <a:pt x="2924" y="174"/>
                  <a:pt x="2924" y="174"/>
                </a:cubicBezTo>
                <a:cubicBezTo>
                  <a:pt x="2923" y="176"/>
                  <a:pt x="2923" y="176"/>
                  <a:pt x="2923" y="176"/>
                </a:cubicBezTo>
                <a:cubicBezTo>
                  <a:pt x="2924" y="177"/>
                  <a:pt x="2924" y="177"/>
                  <a:pt x="2924" y="177"/>
                </a:cubicBezTo>
                <a:cubicBezTo>
                  <a:pt x="2924" y="181"/>
                  <a:pt x="2924" y="181"/>
                  <a:pt x="2924" y="181"/>
                </a:cubicBezTo>
                <a:cubicBezTo>
                  <a:pt x="2923" y="182"/>
                  <a:pt x="2923" y="182"/>
                  <a:pt x="2923" y="182"/>
                </a:cubicBezTo>
                <a:cubicBezTo>
                  <a:pt x="2923" y="183"/>
                  <a:pt x="2923" y="183"/>
                  <a:pt x="2923" y="183"/>
                </a:cubicBezTo>
                <a:cubicBezTo>
                  <a:pt x="2925" y="185"/>
                  <a:pt x="2925" y="185"/>
                  <a:pt x="2925" y="185"/>
                </a:cubicBezTo>
                <a:cubicBezTo>
                  <a:pt x="2924" y="185"/>
                  <a:pt x="2924" y="185"/>
                  <a:pt x="2924" y="185"/>
                </a:cubicBezTo>
                <a:cubicBezTo>
                  <a:pt x="2923" y="188"/>
                  <a:pt x="2923" y="188"/>
                  <a:pt x="2923" y="188"/>
                </a:cubicBezTo>
                <a:cubicBezTo>
                  <a:pt x="2924" y="190"/>
                  <a:pt x="2924" y="190"/>
                  <a:pt x="2924" y="190"/>
                </a:cubicBezTo>
                <a:cubicBezTo>
                  <a:pt x="2924" y="192"/>
                  <a:pt x="2924" y="192"/>
                  <a:pt x="2924" y="192"/>
                </a:cubicBezTo>
                <a:cubicBezTo>
                  <a:pt x="2922" y="194"/>
                  <a:pt x="2922" y="194"/>
                  <a:pt x="2922" y="194"/>
                </a:cubicBezTo>
                <a:cubicBezTo>
                  <a:pt x="2923" y="196"/>
                  <a:pt x="2923" y="196"/>
                  <a:pt x="2923" y="196"/>
                </a:cubicBezTo>
                <a:cubicBezTo>
                  <a:pt x="2923" y="200"/>
                  <a:pt x="2923" y="200"/>
                  <a:pt x="2923" y="200"/>
                </a:cubicBezTo>
                <a:cubicBezTo>
                  <a:pt x="2925" y="204"/>
                  <a:pt x="2925" y="204"/>
                  <a:pt x="2925" y="204"/>
                </a:cubicBezTo>
                <a:cubicBezTo>
                  <a:pt x="2921" y="210"/>
                  <a:pt x="2921" y="210"/>
                  <a:pt x="2921" y="210"/>
                </a:cubicBezTo>
                <a:cubicBezTo>
                  <a:pt x="2923" y="212"/>
                  <a:pt x="2923" y="212"/>
                  <a:pt x="2923" y="212"/>
                </a:cubicBezTo>
                <a:cubicBezTo>
                  <a:pt x="2921" y="212"/>
                  <a:pt x="2921" y="212"/>
                  <a:pt x="2921" y="212"/>
                </a:cubicBezTo>
                <a:cubicBezTo>
                  <a:pt x="2918" y="212"/>
                  <a:pt x="2918" y="212"/>
                  <a:pt x="2918" y="212"/>
                </a:cubicBezTo>
                <a:cubicBezTo>
                  <a:pt x="2918" y="216"/>
                  <a:pt x="2918" y="216"/>
                  <a:pt x="2918" y="216"/>
                </a:cubicBezTo>
                <a:cubicBezTo>
                  <a:pt x="2918" y="218"/>
                  <a:pt x="2918" y="218"/>
                  <a:pt x="2918" y="218"/>
                </a:cubicBezTo>
                <a:cubicBezTo>
                  <a:pt x="2916" y="220"/>
                  <a:pt x="2916" y="220"/>
                  <a:pt x="2916" y="220"/>
                </a:cubicBezTo>
                <a:cubicBezTo>
                  <a:pt x="2912" y="218"/>
                  <a:pt x="2912" y="218"/>
                  <a:pt x="2912" y="218"/>
                </a:cubicBezTo>
                <a:cubicBezTo>
                  <a:pt x="2910" y="220"/>
                  <a:pt x="2910" y="220"/>
                  <a:pt x="2910" y="220"/>
                </a:cubicBezTo>
                <a:cubicBezTo>
                  <a:pt x="2910" y="221"/>
                  <a:pt x="2910" y="221"/>
                  <a:pt x="2910" y="221"/>
                </a:cubicBezTo>
                <a:cubicBezTo>
                  <a:pt x="2913" y="221"/>
                  <a:pt x="2913" y="221"/>
                  <a:pt x="2913" y="221"/>
                </a:cubicBezTo>
                <a:cubicBezTo>
                  <a:pt x="2917" y="227"/>
                  <a:pt x="2917" y="227"/>
                  <a:pt x="2917" y="227"/>
                </a:cubicBezTo>
                <a:cubicBezTo>
                  <a:pt x="2916" y="232"/>
                  <a:pt x="2916" y="232"/>
                  <a:pt x="2916" y="232"/>
                </a:cubicBezTo>
                <a:cubicBezTo>
                  <a:pt x="2916" y="233"/>
                  <a:pt x="2916" y="233"/>
                  <a:pt x="2916" y="233"/>
                </a:cubicBezTo>
                <a:cubicBezTo>
                  <a:pt x="2917" y="234"/>
                  <a:pt x="2917" y="234"/>
                  <a:pt x="2917" y="234"/>
                </a:cubicBezTo>
                <a:cubicBezTo>
                  <a:pt x="2915" y="235"/>
                  <a:pt x="2915" y="235"/>
                  <a:pt x="2915" y="235"/>
                </a:cubicBezTo>
                <a:cubicBezTo>
                  <a:pt x="2915" y="238"/>
                  <a:pt x="2915" y="238"/>
                  <a:pt x="2915" y="238"/>
                </a:cubicBezTo>
                <a:cubicBezTo>
                  <a:pt x="2912" y="241"/>
                  <a:pt x="2912" y="241"/>
                  <a:pt x="2912" y="241"/>
                </a:cubicBezTo>
                <a:cubicBezTo>
                  <a:pt x="2912" y="245"/>
                  <a:pt x="2912" y="245"/>
                  <a:pt x="2912" y="245"/>
                </a:cubicBezTo>
                <a:cubicBezTo>
                  <a:pt x="2914" y="249"/>
                  <a:pt x="2914" y="249"/>
                  <a:pt x="2914" y="249"/>
                </a:cubicBezTo>
                <a:cubicBezTo>
                  <a:pt x="2914" y="256"/>
                  <a:pt x="2914" y="256"/>
                  <a:pt x="2914" y="256"/>
                </a:cubicBezTo>
                <a:cubicBezTo>
                  <a:pt x="2917" y="260"/>
                  <a:pt x="2917" y="260"/>
                  <a:pt x="2917" y="260"/>
                </a:cubicBezTo>
                <a:cubicBezTo>
                  <a:pt x="2917" y="264"/>
                  <a:pt x="2917" y="264"/>
                  <a:pt x="2917" y="264"/>
                </a:cubicBezTo>
                <a:cubicBezTo>
                  <a:pt x="2922" y="274"/>
                  <a:pt x="2922" y="274"/>
                  <a:pt x="2922" y="274"/>
                </a:cubicBezTo>
                <a:cubicBezTo>
                  <a:pt x="2927" y="285"/>
                  <a:pt x="2927" y="285"/>
                  <a:pt x="2927" y="285"/>
                </a:cubicBezTo>
                <a:cubicBezTo>
                  <a:pt x="2933" y="294"/>
                  <a:pt x="2933" y="294"/>
                  <a:pt x="2933" y="294"/>
                </a:cubicBezTo>
                <a:cubicBezTo>
                  <a:pt x="2935" y="296"/>
                  <a:pt x="2935" y="296"/>
                  <a:pt x="2935" y="296"/>
                </a:cubicBezTo>
                <a:cubicBezTo>
                  <a:pt x="2935" y="299"/>
                  <a:pt x="2935" y="299"/>
                  <a:pt x="2935" y="299"/>
                </a:cubicBezTo>
                <a:cubicBezTo>
                  <a:pt x="2943" y="308"/>
                  <a:pt x="2943" y="308"/>
                  <a:pt x="2943" y="308"/>
                </a:cubicBezTo>
                <a:cubicBezTo>
                  <a:pt x="2950" y="322"/>
                  <a:pt x="2950" y="322"/>
                  <a:pt x="2950" y="322"/>
                </a:cubicBezTo>
                <a:cubicBezTo>
                  <a:pt x="2954" y="324"/>
                  <a:pt x="2954" y="324"/>
                  <a:pt x="2954" y="324"/>
                </a:cubicBezTo>
                <a:cubicBezTo>
                  <a:pt x="2957" y="324"/>
                  <a:pt x="2957" y="324"/>
                  <a:pt x="2957" y="324"/>
                </a:cubicBezTo>
                <a:cubicBezTo>
                  <a:pt x="2958" y="323"/>
                  <a:pt x="2958" y="323"/>
                  <a:pt x="2958" y="323"/>
                </a:cubicBezTo>
                <a:cubicBezTo>
                  <a:pt x="2957" y="325"/>
                  <a:pt x="2957" y="325"/>
                  <a:pt x="2957" y="325"/>
                </a:cubicBezTo>
                <a:cubicBezTo>
                  <a:pt x="2956" y="326"/>
                  <a:pt x="2956" y="326"/>
                  <a:pt x="2956" y="326"/>
                </a:cubicBezTo>
                <a:cubicBezTo>
                  <a:pt x="2954" y="326"/>
                  <a:pt x="2954" y="326"/>
                  <a:pt x="2954" y="326"/>
                </a:cubicBezTo>
                <a:cubicBezTo>
                  <a:pt x="2957" y="330"/>
                  <a:pt x="2957" y="330"/>
                  <a:pt x="2957" y="330"/>
                </a:cubicBezTo>
                <a:cubicBezTo>
                  <a:pt x="2961" y="338"/>
                  <a:pt x="2961" y="338"/>
                  <a:pt x="2961" y="338"/>
                </a:cubicBezTo>
                <a:cubicBezTo>
                  <a:pt x="2961" y="342"/>
                  <a:pt x="2961" y="342"/>
                  <a:pt x="2961" y="342"/>
                </a:cubicBezTo>
                <a:cubicBezTo>
                  <a:pt x="2963" y="345"/>
                  <a:pt x="2963" y="345"/>
                  <a:pt x="2963" y="345"/>
                </a:cubicBezTo>
                <a:cubicBezTo>
                  <a:pt x="2967" y="346"/>
                  <a:pt x="2967" y="346"/>
                  <a:pt x="2967" y="346"/>
                </a:cubicBezTo>
                <a:cubicBezTo>
                  <a:pt x="2968" y="347"/>
                  <a:pt x="2968" y="347"/>
                  <a:pt x="2968" y="347"/>
                </a:cubicBezTo>
                <a:cubicBezTo>
                  <a:pt x="2968" y="349"/>
                  <a:pt x="2968" y="349"/>
                  <a:pt x="2968" y="349"/>
                </a:cubicBezTo>
                <a:cubicBezTo>
                  <a:pt x="2968" y="351"/>
                  <a:pt x="2968" y="351"/>
                  <a:pt x="2968" y="351"/>
                </a:cubicBezTo>
                <a:cubicBezTo>
                  <a:pt x="2968" y="353"/>
                  <a:pt x="2968" y="353"/>
                  <a:pt x="2968" y="353"/>
                </a:cubicBezTo>
                <a:cubicBezTo>
                  <a:pt x="2970" y="348"/>
                  <a:pt x="2970" y="348"/>
                  <a:pt x="2970" y="348"/>
                </a:cubicBezTo>
                <a:cubicBezTo>
                  <a:pt x="2971" y="344"/>
                  <a:pt x="2971" y="344"/>
                  <a:pt x="2971" y="344"/>
                </a:cubicBezTo>
                <a:cubicBezTo>
                  <a:pt x="2972" y="343"/>
                  <a:pt x="2972" y="343"/>
                  <a:pt x="2972" y="343"/>
                </a:cubicBezTo>
                <a:cubicBezTo>
                  <a:pt x="2972" y="341"/>
                  <a:pt x="2972" y="341"/>
                  <a:pt x="2972" y="341"/>
                </a:cubicBezTo>
                <a:cubicBezTo>
                  <a:pt x="2975" y="339"/>
                  <a:pt x="2975" y="339"/>
                  <a:pt x="2975" y="339"/>
                </a:cubicBezTo>
                <a:cubicBezTo>
                  <a:pt x="2975" y="337"/>
                  <a:pt x="2975" y="337"/>
                  <a:pt x="2975" y="337"/>
                </a:cubicBezTo>
                <a:cubicBezTo>
                  <a:pt x="2975" y="336"/>
                  <a:pt x="2975" y="336"/>
                  <a:pt x="2975" y="336"/>
                </a:cubicBezTo>
                <a:cubicBezTo>
                  <a:pt x="2975" y="335"/>
                  <a:pt x="2975" y="335"/>
                  <a:pt x="2975" y="335"/>
                </a:cubicBezTo>
                <a:cubicBezTo>
                  <a:pt x="2976" y="330"/>
                  <a:pt x="2976" y="330"/>
                  <a:pt x="2976" y="330"/>
                </a:cubicBezTo>
                <a:cubicBezTo>
                  <a:pt x="2975" y="328"/>
                  <a:pt x="2975" y="328"/>
                  <a:pt x="2975" y="328"/>
                </a:cubicBezTo>
                <a:cubicBezTo>
                  <a:pt x="2975" y="325"/>
                  <a:pt x="2975" y="325"/>
                  <a:pt x="2975" y="325"/>
                </a:cubicBezTo>
                <a:cubicBezTo>
                  <a:pt x="2977" y="324"/>
                  <a:pt x="2977" y="324"/>
                  <a:pt x="2977" y="324"/>
                </a:cubicBezTo>
                <a:cubicBezTo>
                  <a:pt x="2975" y="322"/>
                  <a:pt x="2975" y="322"/>
                  <a:pt x="2975" y="322"/>
                </a:cubicBezTo>
                <a:cubicBezTo>
                  <a:pt x="2974" y="323"/>
                  <a:pt x="2974" y="323"/>
                  <a:pt x="2974" y="323"/>
                </a:cubicBezTo>
                <a:cubicBezTo>
                  <a:pt x="2973" y="322"/>
                  <a:pt x="2973" y="322"/>
                  <a:pt x="2973" y="322"/>
                </a:cubicBezTo>
                <a:cubicBezTo>
                  <a:pt x="2973" y="321"/>
                  <a:pt x="2973" y="321"/>
                  <a:pt x="2973" y="321"/>
                </a:cubicBezTo>
                <a:cubicBezTo>
                  <a:pt x="2972" y="318"/>
                  <a:pt x="2972" y="318"/>
                  <a:pt x="2972" y="318"/>
                </a:cubicBezTo>
                <a:cubicBezTo>
                  <a:pt x="2973" y="318"/>
                  <a:pt x="2973" y="318"/>
                  <a:pt x="2973" y="318"/>
                </a:cubicBezTo>
                <a:cubicBezTo>
                  <a:pt x="2974" y="317"/>
                  <a:pt x="2974" y="317"/>
                  <a:pt x="2974" y="317"/>
                </a:cubicBezTo>
                <a:cubicBezTo>
                  <a:pt x="2972" y="315"/>
                  <a:pt x="2972" y="315"/>
                  <a:pt x="2972" y="315"/>
                </a:cubicBezTo>
                <a:cubicBezTo>
                  <a:pt x="2972" y="314"/>
                  <a:pt x="2972" y="314"/>
                  <a:pt x="2972" y="314"/>
                </a:cubicBezTo>
                <a:cubicBezTo>
                  <a:pt x="2973" y="312"/>
                  <a:pt x="2973" y="312"/>
                  <a:pt x="2973" y="312"/>
                </a:cubicBezTo>
                <a:cubicBezTo>
                  <a:pt x="2971" y="312"/>
                  <a:pt x="2971" y="312"/>
                  <a:pt x="2971" y="312"/>
                </a:cubicBezTo>
                <a:cubicBezTo>
                  <a:pt x="2969" y="311"/>
                  <a:pt x="2969" y="311"/>
                  <a:pt x="2969" y="311"/>
                </a:cubicBezTo>
                <a:cubicBezTo>
                  <a:pt x="2971" y="309"/>
                  <a:pt x="2971" y="309"/>
                  <a:pt x="2971" y="309"/>
                </a:cubicBezTo>
                <a:cubicBezTo>
                  <a:pt x="2973" y="310"/>
                  <a:pt x="2973" y="310"/>
                  <a:pt x="2973" y="310"/>
                </a:cubicBezTo>
                <a:cubicBezTo>
                  <a:pt x="2975" y="308"/>
                  <a:pt x="2975" y="308"/>
                  <a:pt x="2975" y="308"/>
                </a:cubicBezTo>
                <a:cubicBezTo>
                  <a:pt x="2977" y="308"/>
                  <a:pt x="2977" y="308"/>
                  <a:pt x="2977" y="308"/>
                </a:cubicBezTo>
                <a:cubicBezTo>
                  <a:pt x="2979" y="306"/>
                  <a:pt x="2979" y="306"/>
                  <a:pt x="2979" y="306"/>
                </a:cubicBezTo>
                <a:cubicBezTo>
                  <a:pt x="2981" y="305"/>
                  <a:pt x="2981" y="305"/>
                  <a:pt x="2981" y="305"/>
                </a:cubicBezTo>
                <a:cubicBezTo>
                  <a:pt x="2981" y="306"/>
                  <a:pt x="2981" y="306"/>
                  <a:pt x="2981" y="306"/>
                </a:cubicBezTo>
                <a:cubicBezTo>
                  <a:pt x="2984" y="306"/>
                  <a:pt x="2984" y="306"/>
                  <a:pt x="2984" y="306"/>
                </a:cubicBezTo>
                <a:cubicBezTo>
                  <a:pt x="2982" y="304"/>
                  <a:pt x="2982" y="304"/>
                  <a:pt x="2982" y="304"/>
                </a:cubicBezTo>
                <a:cubicBezTo>
                  <a:pt x="2979" y="303"/>
                  <a:pt x="2979" y="303"/>
                  <a:pt x="2979" y="303"/>
                </a:cubicBezTo>
                <a:cubicBezTo>
                  <a:pt x="2979" y="300"/>
                  <a:pt x="2979" y="300"/>
                  <a:pt x="2979" y="300"/>
                </a:cubicBezTo>
                <a:cubicBezTo>
                  <a:pt x="2977" y="298"/>
                  <a:pt x="2977" y="298"/>
                  <a:pt x="2977" y="298"/>
                </a:cubicBezTo>
                <a:cubicBezTo>
                  <a:pt x="2975" y="293"/>
                  <a:pt x="2975" y="293"/>
                  <a:pt x="2975" y="293"/>
                </a:cubicBezTo>
                <a:cubicBezTo>
                  <a:pt x="2976" y="288"/>
                  <a:pt x="2976" y="288"/>
                  <a:pt x="2976" y="288"/>
                </a:cubicBezTo>
                <a:cubicBezTo>
                  <a:pt x="2974" y="286"/>
                  <a:pt x="2974" y="286"/>
                  <a:pt x="2974" y="286"/>
                </a:cubicBezTo>
                <a:cubicBezTo>
                  <a:pt x="2976" y="285"/>
                  <a:pt x="2976" y="285"/>
                  <a:pt x="2976" y="285"/>
                </a:cubicBezTo>
                <a:cubicBezTo>
                  <a:pt x="2976" y="282"/>
                  <a:pt x="2976" y="282"/>
                  <a:pt x="2976" y="282"/>
                </a:cubicBezTo>
                <a:cubicBezTo>
                  <a:pt x="2978" y="278"/>
                  <a:pt x="2978" y="278"/>
                  <a:pt x="2978" y="278"/>
                </a:cubicBezTo>
                <a:cubicBezTo>
                  <a:pt x="2977" y="277"/>
                  <a:pt x="2977" y="277"/>
                  <a:pt x="2977" y="277"/>
                </a:cubicBezTo>
                <a:cubicBezTo>
                  <a:pt x="2978" y="277"/>
                  <a:pt x="2978" y="277"/>
                  <a:pt x="2978" y="277"/>
                </a:cubicBezTo>
                <a:cubicBezTo>
                  <a:pt x="2982" y="275"/>
                  <a:pt x="2982" y="275"/>
                  <a:pt x="2982" y="275"/>
                </a:cubicBezTo>
                <a:cubicBezTo>
                  <a:pt x="2982" y="276"/>
                  <a:pt x="2982" y="276"/>
                  <a:pt x="2982" y="276"/>
                </a:cubicBezTo>
                <a:cubicBezTo>
                  <a:pt x="2988" y="274"/>
                  <a:pt x="2988" y="274"/>
                  <a:pt x="2988" y="274"/>
                </a:cubicBezTo>
                <a:cubicBezTo>
                  <a:pt x="2988" y="271"/>
                  <a:pt x="2988" y="271"/>
                  <a:pt x="2988" y="271"/>
                </a:cubicBezTo>
                <a:cubicBezTo>
                  <a:pt x="2989" y="270"/>
                  <a:pt x="2989" y="270"/>
                  <a:pt x="2989" y="270"/>
                </a:cubicBezTo>
                <a:cubicBezTo>
                  <a:pt x="2987" y="269"/>
                  <a:pt x="2987" y="269"/>
                  <a:pt x="2987" y="269"/>
                </a:cubicBezTo>
                <a:cubicBezTo>
                  <a:pt x="2984" y="264"/>
                  <a:pt x="2984" y="264"/>
                  <a:pt x="2984" y="264"/>
                </a:cubicBezTo>
                <a:cubicBezTo>
                  <a:pt x="2982" y="264"/>
                  <a:pt x="2982" y="264"/>
                  <a:pt x="2982" y="264"/>
                </a:cubicBezTo>
                <a:cubicBezTo>
                  <a:pt x="2977" y="256"/>
                  <a:pt x="2977" y="256"/>
                  <a:pt x="2977" y="256"/>
                </a:cubicBezTo>
                <a:cubicBezTo>
                  <a:pt x="2977" y="254"/>
                  <a:pt x="2977" y="254"/>
                  <a:pt x="2977" y="254"/>
                </a:cubicBezTo>
                <a:cubicBezTo>
                  <a:pt x="2976" y="253"/>
                  <a:pt x="2976" y="253"/>
                  <a:pt x="2976" y="253"/>
                </a:cubicBezTo>
                <a:cubicBezTo>
                  <a:pt x="2975" y="246"/>
                  <a:pt x="2975" y="246"/>
                  <a:pt x="2975" y="246"/>
                </a:cubicBezTo>
                <a:cubicBezTo>
                  <a:pt x="2976" y="245"/>
                  <a:pt x="2976" y="245"/>
                  <a:pt x="2976" y="245"/>
                </a:cubicBezTo>
                <a:cubicBezTo>
                  <a:pt x="2975" y="242"/>
                  <a:pt x="2975" y="242"/>
                  <a:pt x="2975" y="242"/>
                </a:cubicBezTo>
                <a:cubicBezTo>
                  <a:pt x="2976" y="239"/>
                  <a:pt x="2976" y="239"/>
                  <a:pt x="2976" y="239"/>
                </a:cubicBezTo>
                <a:cubicBezTo>
                  <a:pt x="2976" y="237"/>
                  <a:pt x="2976" y="237"/>
                  <a:pt x="2976" y="237"/>
                </a:cubicBezTo>
                <a:cubicBezTo>
                  <a:pt x="2974" y="238"/>
                  <a:pt x="2974" y="238"/>
                  <a:pt x="2974" y="238"/>
                </a:cubicBezTo>
                <a:cubicBezTo>
                  <a:pt x="2974" y="237"/>
                  <a:pt x="2974" y="237"/>
                  <a:pt x="2974" y="237"/>
                </a:cubicBezTo>
                <a:cubicBezTo>
                  <a:pt x="2975" y="234"/>
                  <a:pt x="2975" y="234"/>
                  <a:pt x="2975" y="234"/>
                </a:cubicBezTo>
                <a:cubicBezTo>
                  <a:pt x="2977" y="233"/>
                  <a:pt x="2977" y="233"/>
                  <a:pt x="2977" y="233"/>
                </a:cubicBezTo>
                <a:cubicBezTo>
                  <a:pt x="2977" y="232"/>
                  <a:pt x="2977" y="232"/>
                  <a:pt x="2977" y="232"/>
                </a:cubicBezTo>
                <a:cubicBezTo>
                  <a:pt x="2977" y="231"/>
                  <a:pt x="2977" y="231"/>
                  <a:pt x="2977" y="231"/>
                </a:cubicBezTo>
                <a:cubicBezTo>
                  <a:pt x="2978" y="230"/>
                  <a:pt x="2978" y="230"/>
                  <a:pt x="2978" y="230"/>
                </a:cubicBezTo>
                <a:cubicBezTo>
                  <a:pt x="2979" y="232"/>
                  <a:pt x="2979" y="232"/>
                  <a:pt x="2979" y="232"/>
                </a:cubicBezTo>
                <a:cubicBezTo>
                  <a:pt x="2978" y="234"/>
                  <a:pt x="2978" y="234"/>
                  <a:pt x="2978" y="234"/>
                </a:cubicBezTo>
                <a:cubicBezTo>
                  <a:pt x="2977" y="236"/>
                  <a:pt x="2977" y="236"/>
                  <a:pt x="2977" y="236"/>
                </a:cubicBezTo>
                <a:cubicBezTo>
                  <a:pt x="2978" y="239"/>
                  <a:pt x="2978" y="239"/>
                  <a:pt x="2978" y="239"/>
                </a:cubicBezTo>
                <a:cubicBezTo>
                  <a:pt x="2981" y="240"/>
                  <a:pt x="2981" y="240"/>
                  <a:pt x="2981" y="240"/>
                </a:cubicBezTo>
                <a:cubicBezTo>
                  <a:pt x="2983" y="242"/>
                  <a:pt x="2983" y="242"/>
                  <a:pt x="2983" y="242"/>
                </a:cubicBezTo>
                <a:cubicBezTo>
                  <a:pt x="2985" y="242"/>
                  <a:pt x="2985" y="242"/>
                  <a:pt x="2985" y="242"/>
                </a:cubicBezTo>
                <a:cubicBezTo>
                  <a:pt x="2985" y="239"/>
                  <a:pt x="2985" y="239"/>
                  <a:pt x="2985" y="239"/>
                </a:cubicBezTo>
                <a:cubicBezTo>
                  <a:pt x="2986" y="238"/>
                  <a:pt x="2986" y="238"/>
                  <a:pt x="2986" y="238"/>
                </a:cubicBezTo>
                <a:cubicBezTo>
                  <a:pt x="2984" y="234"/>
                  <a:pt x="2984" y="234"/>
                  <a:pt x="2984" y="234"/>
                </a:cubicBezTo>
                <a:cubicBezTo>
                  <a:pt x="2980" y="231"/>
                  <a:pt x="2980" y="231"/>
                  <a:pt x="2980" y="231"/>
                </a:cubicBezTo>
                <a:cubicBezTo>
                  <a:pt x="2980" y="226"/>
                  <a:pt x="2980" y="226"/>
                  <a:pt x="2980" y="226"/>
                </a:cubicBezTo>
                <a:cubicBezTo>
                  <a:pt x="2978" y="225"/>
                  <a:pt x="2978" y="225"/>
                  <a:pt x="2978" y="225"/>
                </a:cubicBezTo>
                <a:cubicBezTo>
                  <a:pt x="2977" y="224"/>
                  <a:pt x="2977" y="224"/>
                  <a:pt x="2977" y="224"/>
                </a:cubicBezTo>
                <a:cubicBezTo>
                  <a:pt x="2976" y="225"/>
                  <a:pt x="2976" y="225"/>
                  <a:pt x="2976" y="225"/>
                </a:cubicBezTo>
                <a:cubicBezTo>
                  <a:pt x="2975" y="226"/>
                  <a:pt x="2975" y="226"/>
                  <a:pt x="2975" y="226"/>
                </a:cubicBezTo>
                <a:cubicBezTo>
                  <a:pt x="2975" y="227"/>
                  <a:pt x="2975" y="227"/>
                  <a:pt x="2975" y="227"/>
                </a:cubicBezTo>
                <a:cubicBezTo>
                  <a:pt x="2974" y="228"/>
                  <a:pt x="2974" y="228"/>
                  <a:pt x="2974" y="228"/>
                </a:cubicBezTo>
                <a:cubicBezTo>
                  <a:pt x="2972" y="227"/>
                  <a:pt x="2972" y="227"/>
                  <a:pt x="2972" y="227"/>
                </a:cubicBezTo>
                <a:cubicBezTo>
                  <a:pt x="2972" y="223"/>
                  <a:pt x="2972" y="223"/>
                  <a:pt x="2972" y="223"/>
                </a:cubicBezTo>
                <a:cubicBezTo>
                  <a:pt x="2970" y="221"/>
                  <a:pt x="2970" y="221"/>
                  <a:pt x="2970" y="221"/>
                </a:cubicBezTo>
                <a:cubicBezTo>
                  <a:pt x="2968" y="217"/>
                  <a:pt x="2968" y="217"/>
                  <a:pt x="2968" y="217"/>
                </a:cubicBezTo>
                <a:cubicBezTo>
                  <a:pt x="2970" y="215"/>
                  <a:pt x="2970" y="215"/>
                  <a:pt x="2970" y="215"/>
                </a:cubicBezTo>
                <a:cubicBezTo>
                  <a:pt x="2971" y="215"/>
                  <a:pt x="2971" y="215"/>
                  <a:pt x="2971" y="215"/>
                </a:cubicBezTo>
                <a:cubicBezTo>
                  <a:pt x="2970" y="213"/>
                  <a:pt x="2970" y="213"/>
                  <a:pt x="2970" y="213"/>
                </a:cubicBezTo>
                <a:cubicBezTo>
                  <a:pt x="2971" y="211"/>
                  <a:pt x="2971" y="211"/>
                  <a:pt x="2971" y="211"/>
                </a:cubicBezTo>
                <a:cubicBezTo>
                  <a:pt x="2970" y="210"/>
                  <a:pt x="2970" y="210"/>
                  <a:pt x="2970" y="210"/>
                </a:cubicBezTo>
                <a:cubicBezTo>
                  <a:pt x="2971" y="208"/>
                  <a:pt x="2971" y="208"/>
                  <a:pt x="2971" y="208"/>
                </a:cubicBezTo>
                <a:cubicBezTo>
                  <a:pt x="2970" y="207"/>
                  <a:pt x="2970" y="207"/>
                  <a:pt x="2970" y="207"/>
                </a:cubicBezTo>
                <a:cubicBezTo>
                  <a:pt x="2969" y="206"/>
                  <a:pt x="2969" y="206"/>
                  <a:pt x="2969" y="206"/>
                </a:cubicBezTo>
                <a:cubicBezTo>
                  <a:pt x="2967" y="206"/>
                  <a:pt x="2967" y="206"/>
                  <a:pt x="2967" y="206"/>
                </a:cubicBezTo>
                <a:cubicBezTo>
                  <a:pt x="2964" y="204"/>
                  <a:pt x="2964" y="204"/>
                  <a:pt x="2964" y="204"/>
                </a:cubicBezTo>
                <a:cubicBezTo>
                  <a:pt x="2962" y="203"/>
                  <a:pt x="2962" y="203"/>
                  <a:pt x="2962" y="203"/>
                </a:cubicBezTo>
                <a:cubicBezTo>
                  <a:pt x="2960" y="205"/>
                  <a:pt x="2960" y="205"/>
                  <a:pt x="2960" y="205"/>
                </a:cubicBezTo>
                <a:cubicBezTo>
                  <a:pt x="2961" y="206"/>
                  <a:pt x="2961" y="206"/>
                  <a:pt x="2961" y="206"/>
                </a:cubicBezTo>
                <a:cubicBezTo>
                  <a:pt x="2963" y="209"/>
                  <a:pt x="2963" y="209"/>
                  <a:pt x="2963" y="209"/>
                </a:cubicBezTo>
                <a:cubicBezTo>
                  <a:pt x="2963" y="211"/>
                  <a:pt x="2963" y="211"/>
                  <a:pt x="2963" y="211"/>
                </a:cubicBezTo>
                <a:cubicBezTo>
                  <a:pt x="2962" y="211"/>
                  <a:pt x="2962" y="211"/>
                  <a:pt x="2962" y="211"/>
                </a:cubicBezTo>
                <a:cubicBezTo>
                  <a:pt x="2959" y="210"/>
                  <a:pt x="2959" y="210"/>
                  <a:pt x="2959" y="210"/>
                </a:cubicBezTo>
                <a:cubicBezTo>
                  <a:pt x="2957" y="207"/>
                  <a:pt x="2957" y="207"/>
                  <a:pt x="2957" y="207"/>
                </a:cubicBezTo>
                <a:cubicBezTo>
                  <a:pt x="2955" y="205"/>
                  <a:pt x="2955" y="205"/>
                  <a:pt x="2955" y="205"/>
                </a:cubicBezTo>
                <a:cubicBezTo>
                  <a:pt x="2953" y="204"/>
                  <a:pt x="2953" y="204"/>
                  <a:pt x="2953" y="204"/>
                </a:cubicBezTo>
                <a:cubicBezTo>
                  <a:pt x="2954" y="203"/>
                  <a:pt x="2954" y="203"/>
                  <a:pt x="2954" y="203"/>
                </a:cubicBezTo>
                <a:cubicBezTo>
                  <a:pt x="2952" y="199"/>
                  <a:pt x="2952" y="199"/>
                  <a:pt x="2952" y="199"/>
                </a:cubicBezTo>
                <a:cubicBezTo>
                  <a:pt x="2952" y="197"/>
                  <a:pt x="2952" y="197"/>
                  <a:pt x="2952" y="197"/>
                </a:cubicBezTo>
                <a:cubicBezTo>
                  <a:pt x="2953" y="196"/>
                  <a:pt x="2953" y="196"/>
                  <a:pt x="2953" y="196"/>
                </a:cubicBezTo>
                <a:cubicBezTo>
                  <a:pt x="2951" y="194"/>
                  <a:pt x="2951" y="194"/>
                  <a:pt x="2951" y="194"/>
                </a:cubicBezTo>
                <a:cubicBezTo>
                  <a:pt x="2952" y="192"/>
                  <a:pt x="2952" y="192"/>
                  <a:pt x="2952" y="192"/>
                </a:cubicBezTo>
                <a:cubicBezTo>
                  <a:pt x="2951" y="189"/>
                  <a:pt x="2951" y="189"/>
                  <a:pt x="2951" y="189"/>
                </a:cubicBezTo>
                <a:cubicBezTo>
                  <a:pt x="2952" y="188"/>
                  <a:pt x="2952" y="188"/>
                  <a:pt x="2952" y="188"/>
                </a:cubicBezTo>
                <a:cubicBezTo>
                  <a:pt x="2952" y="186"/>
                  <a:pt x="2952" y="186"/>
                  <a:pt x="2952" y="186"/>
                </a:cubicBezTo>
                <a:cubicBezTo>
                  <a:pt x="2953" y="184"/>
                  <a:pt x="2953" y="184"/>
                  <a:pt x="2953" y="184"/>
                </a:cubicBezTo>
                <a:cubicBezTo>
                  <a:pt x="2953" y="181"/>
                  <a:pt x="2953" y="181"/>
                  <a:pt x="2953" y="181"/>
                </a:cubicBezTo>
                <a:cubicBezTo>
                  <a:pt x="2952" y="182"/>
                  <a:pt x="2952" y="182"/>
                  <a:pt x="2952" y="182"/>
                </a:cubicBezTo>
                <a:cubicBezTo>
                  <a:pt x="2950" y="180"/>
                  <a:pt x="2950" y="180"/>
                  <a:pt x="2950" y="180"/>
                </a:cubicBezTo>
                <a:cubicBezTo>
                  <a:pt x="2950" y="179"/>
                  <a:pt x="2950" y="179"/>
                  <a:pt x="2950" y="179"/>
                </a:cubicBezTo>
                <a:cubicBezTo>
                  <a:pt x="2951" y="179"/>
                  <a:pt x="2951" y="179"/>
                  <a:pt x="2951" y="179"/>
                </a:cubicBezTo>
                <a:cubicBezTo>
                  <a:pt x="2953" y="180"/>
                  <a:pt x="2953" y="180"/>
                  <a:pt x="2953" y="180"/>
                </a:cubicBezTo>
                <a:cubicBezTo>
                  <a:pt x="2953" y="179"/>
                  <a:pt x="2953" y="179"/>
                  <a:pt x="2953" y="179"/>
                </a:cubicBezTo>
                <a:cubicBezTo>
                  <a:pt x="2952" y="178"/>
                  <a:pt x="2952" y="178"/>
                  <a:pt x="2952" y="178"/>
                </a:cubicBezTo>
                <a:cubicBezTo>
                  <a:pt x="2950" y="176"/>
                  <a:pt x="2950" y="176"/>
                  <a:pt x="2950" y="176"/>
                </a:cubicBezTo>
                <a:cubicBezTo>
                  <a:pt x="2951" y="175"/>
                  <a:pt x="2951" y="175"/>
                  <a:pt x="2951" y="175"/>
                </a:cubicBezTo>
                <a:cubicBezTo>
                  <a:pt x="2952" y="175"/>
                  <a:pt x="2952" y="175"/>
                  <a:pt x="2952" y="175"/>
                </a:cubicBezTo>
                <a:cubicBezTo>
                  <a:pt x="2951" y="174"/>
                  <a:pt x="2951" y="174"/>
                  <a:pt x="2951" y="174"/>
                </a:cubicBezTo>
                <a:cubicBezTo>
                  <a:pt x="2950" y="172"/>
                  <a:pt x="2950" y="172"/>
                  <a:pt x="2950" y="172"/>
                </a:cubicBezTo>
                <a:cubicBezTo>
                  <a:pt x="2948" y="171"/>
                  <a:pt x="2948" y="171"/>
                  <a:pt x="2948" y="171"/>
                </a:cubicBezTo>
                <a:cubicBezTo>
                  <a:pt x="2947" y="170"/>
                  <a:pt x="2947" y="170"/>
                  <a:pt x="2947" y="170"/>
                </a:cubicBezTo>
                <a:cubicBezTo>
                  <a:pt x="2948" y="170"/>
                  <a:pt x="2948" y="170"/>
                  <a:pt x="2948" y="170"/>
                </a:cubicBezTo>
                <a:cubicBezTo>
                  <a:pt x="2948" y="167"/>
                  <a:pt x="2948" y="167"/>
                  <a:pt x="2948" y="167"/>
                </a:cubicBezTo>
                <a:cubicBezTo>
                  <a:pt x="2946" y="165"/>
                  <a:pt x="2946" y="165"/>
                  <a:pt x="2946" y="165"/>
                </a:cubicBezTo>
                <a:cubicBezTo>
                  <a:pt x="2946" y="163"/>
                  <a:pt x="2946" y="163"/>
                  <a:pt x="2946" y="163"/>
                </a:cubicBezTo>
                <a:cubicBezTo>
                  <a:pt x="2947" y="162"/>
                  <a:pt x="2947" y="162"/>
                  <a:pt x="2947" y="162"/>
                </a:cubicBezTo>
                <a:cubicBezTo>
                  <a:pt x="2948" y="161"/>
                  <a:pt x="2948" y="161"/>
                  <a:pt x="2948" y="161"/>
                </a:cubicBezTo>
                <a:cubicBezTo>
                  <a:pt x="2946" y="159"/>
                  <a:pt x="2946" y="159"/>
                  <a:pt x="2946" y="159"/>
                </a:cubicBezTo>
                <a:cubicBezTo>
                  <a:pt x="2947" y="158"/>
                  <a:pt x="2947" y="158"/>
                  <a:pt x="2947" y="158"/>
                </a:cubicBezTo>
                <a:cubicBezTo>
                  <a:pt x="2948" y="158"/>
                  <a:pt x="2948" y="158"/>
                  <a:pt x="2948" y="158"/>
                </a:cubicBezTo>
                <a:cubicBezTo>
                  <a:pt x="2950" y="159"/>
                  <a:pt x="2950" y="159"/>
                  <a:pt x="2950" y="159"/>
                </a:cubicBezTo>
                <a:cubicBezTo>
                  <a:pt x="2951" y="158"/>
                  <a:pt x="2951" y="158"/>
                  <a:pt x="2951" y="158"/>
                </a:cubicBezTo>
                <a:cubicBezTo>
                  <a:pt x="2952" y="156"/>
                  <a:pt x="2952" y="156"/>
                  <a:pt x="2952" y="156"/>
                </a:cubicBezTo>
                <a:cubicBezTo>
                  <a:pt x="2954" y="155"/>
                  <a:pt x="2954" y="155"/>
                  <a:pt x="2954" y="155"/>
                </a:cubicBezTo>
                <a:cubicBezTo>
                  <a:pt x="2955" y="157"/>
                  <a:pt x="2955" y="157"/>
                  <a:pt x="2955" y="157"/>
                </a:cubicBezTo>
                <a:cubicBezTo>
                  <a:pt x="2956" y="157"/>
                  <a:pt x="2956" y="157"/>
                  <a:pt x="2956" y="157"/>
                </a:cubicBezTo>
                <a:cubicBezTo>
                  <a:pt x="2957" y="159"/>
                  <a:pt x="2957" y="159"/>
                  <a:pt x="2957" y="159"/>
                </a:cubicBezTo>
                <a:cubicBezTo>
                  <a:pt x="2960" y="155"/>
                  <a:pt x="2960" y="155"/>
                  <a:pt x="2960" y="155"/>
                </a:cubicBezTo>
                <a:cubicBezTo>
                  <a:pt x="2957" y="154"/>
                  <a:pt x="2957" y="154"/>
                  <a:pt x="2957" y="154"/>
                </a:cubicBezTo>
                <a:cubicBezTo>
                  <a:pt x="2958" y="152"/>
                  <a:pt x="2958" y="152"/>
                  <a:pt x="2958" y="152"/>
                </a:cubicBezTo>
                <a:cubicBezTo>
                  <a:pt x="2959" y="151"/>
                  <a:pt x="2959" y="151"/>
                  <a:pt x="2959" y="151"/>
                </a:cubicBezTo>
                <a:cubicBezTo>
                  <a:pt x="2962" y="146"/>
                  <a:pt x="2962" y="146"/>
                  <a:pt x="2962" y="146"/>
                </a:cubicBezTo>
                <a:cubicBezTo>
                  <a:pt x="2962" y="144"/>
                  <a:pt x="2962" y="144"/>
                  <a:pt x="2962" y="144"/>
                </a:cubicBezTo>
                <a:cubicBezTo>
                  <a:pt x="2963" y="146"/>
                  <a:pt x="2963" y="146"/>
                  <a:pt x="2963" y="146"/>
                </a:cubicBezTo>
                <a:cubicBezTo>
                  <a:pt x="2965" y="147"/>
                  <a:pt x="2965" y="147"/>
                  <a:pt x="2965" y="147"/>
                </a:cubicBezTo>
                <a:cubicBezTo>
                  <a:pt x="2965" y="149"/>
                  <a:pt x="2965" y="149"/>
                  <a:pt x="2965" y="149"/>
                </a:cubicBezTo>
                <a:cubicBezTo>
                  <a:pt x="2968" y="156"/>
                  <a:pt x="2968" y="156"/>
                  <a:pt x="2968" y="156"/>
                </a:cubicBezTo>
                <a:cubicBezTo>
                  <a:pt x="2969" y="157"/>
                  <a:pt x="2969" y="157"/>
                  <a:pt x="2969" y="157"/>
                </a:cubicBezTo>
                <a:cubicBezTo>
                  <a:pt x="2970" y="157"/>
                  <a:pt x="2970" y="157"/>
                  <a:pt x="2970" y="157"/>
                </a:cubicBezTo>
                <a:cubicBezTo>
                  <a:pt x="2971" y="151"/>
                  <a:pt x="2971" y="151"/>
                  <a:pt x="2971" y="151"/>
                </a:cubicBezTo>
                <a:cubicBezTo>
                  <a:pt x="2972" y="149"/>
                  <a:pt x="2972" y="149"/>
                  <a:pt x="2972" y="149"/>
                </a:cubicBezTo>
                <a:cubicBezTo>
                  <a:pt x="2971" y="147"/>
                  <a:pt x="2971" y="147"/>
                  <a:pt x="2971" y="147"/>
                </a:cubicBezTo>
                <a:cubicBezTo>
                  <a:pt x="2972" y="145"/>
                  <a:pt x="2972" y="145"/>
                  <a:pt x="2972" y="145"/>
                </a:cubicBezTo>
                <a:cubicBezTo>
                  <a:pt x="2971" y="143"/>
                  <a:pt x="2971" y="143"/>
                  <a:pt x="2971" y="143"/>
                </a:cubicBezTo>
                <a:cubicBezTo>
                  <a:pt x="2973" y="144"/>
                  <a:pt x="2973" y="144"/>
                  <a:pt x="2973" y="144"/>
                </a:cubicBezTo>
                <a:cubicBezTo>
                  <a:pt x="2974" y="143"/>
                  <a:pt x="2974" y="143"/>
                  <a:pt x="2974" y="143"/>
                </a:cubicBezTo>
                <a:cubicBezTo>
                  <a:pt x="2975" y="139"/>
                  <a:pt x="2975" y="139"/>
                  <a:pt x="2975" y="139"/>
                </a:cubicBezTo>
                <a:cubicBezTo>
                  <a:pt x="2977" y="139"/>
                  <a:pt x="2977" y="139"/>
                  <a:pt x="2977" y="139"/>
                </a:cubicBezTo>
                <a:cubicBezTo>
                  <a:pt x="2979" y="136"/>
                  <a:pt x="2979" y="136"/>
                  <a:pt x="2979" y="136"/>
                </a:cubicBezTo>
                <a:cubicBezTo>
                  <a:pt x="2981" y="135"/>
                  <a:pt x="2981" y="135"/>
                  <a:pt x="2981" y="135"/>
                </a:cubicBezTo>
                <a:cubicBezTo>
                  <a:pt x="2982" y="136"/>
                  <a:pt x="2982" y="136"/>
                  <a:pt x="2982" y="136"/>
                </a:cubicBezTo>
                <a:cubicBezTo>
                  <a:pt x="2986" y="134"/>
                  <a:pt x="2986" y="134"/>
                  <a:pt x="2986" y="134"/>
                </a:cubicBezTo>
                <a:cubicBezTo>
                  <a:pt x="2989" y="135"/>
                  <a:pt x="2989" y="135"/>
                  <a:pt x="2989" y="135"/>
                </a:cubicBezTo>
                <a:cubicBezTo>
                  <a:pt x="2994" y="138"/>
                  <a:pt x="2994" y="138"/>
                  <a:pt x="2994" y="138"/>
                </a:cubicBezTo>
                <a:cubicBezTo>
                  <a:pt x="2994" y="139"/>
                  <a:pt x="2994" y="139"/>
                  <a:pt x="2994" y="139"/>
                </a:cubicBezTo>
                <a:cubicBezTo>
                  <a:pt x="2996" y="140"/>
                  <a:pt x="2996" y="140"/>
                  <a:pt x="2996" y="140"/>
                </a:cubicBezTo>
                <a:cubicBezTo>
                  <a:pt x="2998" y="139"/>
                  <a:pt x="2998" y="139"/>
                  <a:pt x="2998" y="139"/>
                </a:cubicBezTo>
                <a:cubicBezTo>
                  <a:pt x="2999" y="140"/>
                  <a:pt x="2999" y="140"/>
                  <a:pt x="2999" y="140"/>
                </a:cubicBezTo>
                <a:cubicBezTo>
                  <a:pt x="2998" y="141"/>
                  <a:pt x="2998" y="141"/>
                  <a:pt x="2998" y="141"/>
                </a:cubicBezTo>
                <a:cubicBezTo>
                  <a:pt x="3001" y="144"/>
                  <a:pt x="3001" y="144"/>
                  <a:pt x="3001" y="144"/>
                </a:cubicBezTo>
                <a:cubicBezTo>
                  <a:pt x="3002" y="143"/>
                  <a:pt x="3002" y="143"/>
                  <a:pt x="3002" y="143"/>
                </a:cubicBezTo>
                <a:cubicBezTo>
                  <a:pt x="3004" y="145"/>
                  <a:pt x="3004" y="145"/>
                  <a:pt x="3004" y="145"/>
                </a:cubicBezTo>
                <a:cubicBezTo>
                  <a:pt x="3006" y="144"/>
                  <a:pt x="3006" y="144"/>
                  <a:pt x="3006" y="144"/>
                </a:cubicBezTo>
                <a:cubicBezTo>
                  <a:pt x="3007" y="145"/>
                  <a:pt x="3007" y="145"/>
                  <a:pt x="3007" y="145"/>
                </a:cubicBezTo>
                <a:cubicBezTo>
                  <a:pt x="3007" y="143"/>
                  <a:pt x="3007" y="143"/>
                  <a:pt x="3007" y="143"/>
                </a:cubicBezTo>
                <a:cubicBezTo>
                  <a:pt x="3004" y="139"/>
                  <a:pt x="3004" y="139"/>
                  <a:pt x="3004" y="139"/>
                </a:cubicBezTo>
                <a:cubicBezTo>
                  <a:pt x="3005" y="138"/>
                  <a:pt x="3005" y="138"/>
                  <a:pt x="3005" y="138"/>
                </a:cubicBezTo>
                <a:cubicBezTo>
                  <a:pt x="3005" y="137"/>
                  <a:pt x="3005" y="137"/>
                  <a:pt x="3005" y="137"/>
                </a:cubicBezTo>
                <a:cubicBezTo>
                  <a:pt x="3003" y="136"/>
                  <a:pt x="3003" y="136"/>
                  <a:pt x="3003" y="136"/>
                </a:cubicBezTo>
                <a:cubicBezTo>
                  <a:pt x="3004" y="134"/>
                  <a:pt x="3004" y="134"/>
                  <a:pt x="3004" y="134"/>
                </a:cubicBezTo>
                <a:cubicBezTo>
                  <a:pt x="3005" y="133"/>
                  <a:pt x="3005" y="133"/>
                  <a:pt x="3005" y="133"/>
                </a:cubicBezTo>
                <a:cubicBezTo>
                  <a:pt x="3005" y="128"/>
                  <a:pt x="3005" y="128"/>
                  <a:pt x="3005" y="128"/>
                </a:cubicBezTo>
                <a:cubicBezTo>
                  <a:pt x="3007" y="124"/>
                  <a:pt x="3007" y="124"/>
                  <a:pt x="3007" y="124"/>
                </a:cubicBezTo>
                <a:cubicBezTo>
                  <a:pt x="3006" y="123"/>
                  <a:pt x="3006" y="123"/>
                  <a:pt x="3006" y="123"/>
                </a:cubicBezTo>
                <a:cubicBezTo>
                  <a:pt x="3008" y="120"/>
                  <a:pt x="3008" y="120"/>
                  <a:pt x="3008" y="120"/>
                </a:cubicBezTo>
                <a:cubicBezTo>
                  <a:pt x="3008" y="118"/>
                  <a:pt x="3008" y="118"/>
                  <a:pt x="3008" y="118"/>
                </a:cubicBezTo>
                <a:cubicBezTo>
                  <a:pt x="3009" y="117"/>
                  <a:pt x="3009" y="117"/>
                  <a:pt x="3009" y="117"/>
                </a:cubicBezTo>
                <a:cubicBezTo>
                  <a:pt x="3007" y="114"/>
                  <a:pt x="3007" y="114"/>
                  <a:pt x="3007" y="114"/>
                </a:cubicBezTo>
                <a:cubicBezTo>
                  <a:pt x="3006" y="113"/>
                  <a:pt x="3006" y="113"/>
                  <a:pt x="3006" y="113"/>
                </a:cubicBezTo>
                <a:cubicBezTo>
                  <a:pt x="3006" y="112"/>
                  <a:pt x="3006" y="112"/>
                  <a:pt x="3006" y="112"/>
                </a:cubicBezTo>
                <a:cubicBezTo>
                  <a:pt x="3009" y="112"/>
                  <a:pt x="3009" y="112"/>
                  <a:pt x="3009" y="112"/>
                </a:cubicBezTo>
                <a:cubicBezTo>
                  <a:pt x="3010" y="110"/>
                  <a:pt x="3010" y="110"/>
                  <a:pt x="3010" y="110"/>
                </a:cubicBezTo>
                <a:cubicBezTo>
                  <a:pt x="3007" y="108"/>
                  <a:pt x="3007" y="108"/>
                  <a:pt x="3007" y="108"/>
                </a:cubicBezTo>
                <a:cubicBezTo>
                  <a:pt x="3006" y="107"/>
                  <a:pt x="3006" y="107"/>
                  <a:pt x="3006" y="107"/>
                </a:cubicBezTo>
                <a:cubicBezTo>
                  <a:pt x="3007" y="106"/>
                  <a:pt x="3007" y="106"/>
                  <a:pt x="3007" y="106"/>
                </a:cubicBezTo>
                <a:cubicBezTo>
                  <a:pt x="3008" y="107"/>
                  <a:pt x="3008" y="107"/>
                  <a:pt x="3008" y="107"/>
                </a:cubicBezTo>
                <a:cubicBezTo>
                  <a:pt x="3010" y="107"/>
                  <a:pt x="3010" y="107"/>
                  <a:pt x="3010" y="107"/>
                </a:cubicBezTo>
                <a:cubicBezTo>
                  <a:pt x="3010" y="105"/>
                  <a:pt x="3010" y="105"/>
                  <a:pt x="3010" y="105"/>
                </a:cubicBezTo>
                <a:cubicBezTo>
                  <a:pt x="3009" y="104"/>
                  <a:pt x="3009" y="104"/>
                  <a:pt x="3009" y="104"/>
                </a:cubicBezTo>
                <a:cubicBezTo>
                  <a:pt x="3011" y="102"/>
                  <a:pt x="3011" y="102"/>
                  <a:pt x="3011" y="102"/>
                </a:cubicBezTo>
                <a:cubicBezTo>
                  <a:pt x="3011" y="101"/>
                  <a:pt x="3011" y="101"/>
                  <a:pt x="3011" y="101"/>
                </a:cubicBezTo>
                <a:cubicBezTo>
                  <a:pt x="3010" y="99"/>
                  <a:pt x="3010" y="99"/>
                  <a:pt x="3010" y="99"/>
                </a:cubicBezTo>
                <a:cubicBezTo>
                  <a:pt x="3011" y="99"/>
                  <a:pt x="3011" y="99"/>
                  <a:pt x="3011" y="99"/>
                </a:cubicBezTo>
                <a:cubicBezTo>
                  <a:pt x="3012" y="99"/>
                  <a:pt x="3012" y="99"/>
                  <a:pt x="3012" y="99"/>
                </a:cubicBezTo>
                <a:cubicBezTo>
                  <a:pt x="3013" y="97"/>
                  <a:pt x="3013" y="97"/>
                  <a:pt x="3013" y="97"/>
                </a:cubicBezTo>
                <a:cubicBezTo>
                  <a:pt x="3014" y="96"/>
                  <a:pt x="3014" y="96"/>
                  <a:pt x="3014" y="96"/>
                </a:cubicBezTo>
                <a:cubicBezTo>
                  <a:pt x="3013" y="95"/>
                  <a:pt x="3013" y="95"/>
                  <a:pt x="3013" y="95"/>
                </a:cubicBezTo>
                <a:cubicBezTo>
                  <a:pt x="3014" y="95"/>
                  <a:pt x="3014" y="95"/>
                  <a:pt x="3014" y="95"/>
                </a:cubicBezTo>
                <a:cubicBezTo>
                  <a:pt x="3017" y="93"/>
                  <a:pt x="3017" y="93"/>
                  <a:pt x="3017" y="93"/>
                </a:cubicBezTo>
                <a:cubicBezTo>
                  <a:pt x="3016" y="91"/>
                  <a:pt x="3016" y="91"/>
                  <a:pt x="3016" y="91"/>
                </a:cubicBezTo>
                <a:cubicBezTo>
                  <a:pt x="3016" y="89"/>
                  <a:pt x="3016" y="89"/>
                  <a:pt x="3016" y="89"/>
                </a:cubicBezTo>
                <a:cubicBezTo>
                  <a:pt x="3017" y="90"/>
                  <a:pt x="3017" y="90"/>
                  <a:pt x="3017" y="90"/>
                </a:cubicBezTo>
                <a:cubicBezTo>
                  <a:pt x="3019" y="88"/>
                  <a:pt x="3019" y="88"/>
                  <a:pt x="3019" y="88"/>
                </a:cubicBezTo>
                <a:cubicBezTo>
                  <a:pt x="3018" y="85"/>
                  <a:pt x="3018" y="85"/>
                  <a:pt x="3018" y="85"/>
                </a:cubicBezTo>
                <a:cubicBezTo>
                  <a:pt x="3018" y="82"/>
                  <a:pt x="3018" y="82"/>
                  <a:pt x="3018" y="82"/>
                </a:cubicBezTo>
                <a:cubicBezTo>
                  <a:pt x="3020" y="82"/>
                  <a:pt x="3020" y="82"/>
                  <a:pt x="3020" y="82"/>
                </a:cubicBezTo>
                <a:cubicBezTo>
                  <a:pt x="3020" y="83"/>
                  <a:pt x="3020" y="83"/>
                  <a:pt x="3020" y="83"/>
                </a:cubicBezTo>
                <a:cubicBezTo>
                  <a:pt x="3021" y="82"/>
                  <a:pt x="3021" y="82"/>
                  <a:pt x="3021" y="82"/>
                </a:cubicBezTo>
                <a:cubicBezTo>
                  <a:pt x="3024" y="78"/>
                  <a:pt x="3024" y="78"/>
                  <a:pt x="3024" y="78"/>
                </a:cubicBezTo>
                <a:cubicBezTo>
                  <a:pt x="3023" y="78"/>
                  <a:pt x="3023" y="78"/>
                  <a:pt x="3023" y="78"/>
                </a:cubicBezTo>
                <a:cubicBezTo>
                  <a:pt x="3023" y="76"/>
                  <a:pt x="3023" y="76"/>
                  <a:pt x="3023" y="76"/>
                </a:cubicBezTo>
                <a:cubicBezTo>
                  <a:pt x="3025" y="76"/>
                  <a:pt x="3025" y="76"/>
                  <a:pt x="3025" y="76"/>
                </a:cubicBezTo>
                <a:cubicBezTo>
                  <a:pt x="3028" y="72"/>
                  <a:pt x="3028" y="72"/>
                  <a:pt x="3028" y="72"/>
                </a:cubicBezTo>
                <a:cubicBezTo>
                  <a:pt x="3027" y="72"/>
                  <a:pt x="3027" y="72"/>
                  <a:pt x="3027" y="72"/>
                </a:cubicBezTo>
                <a:cubicBezTo>
                  <a:pt x="3028" y="71"/>
                  <a:pt x="3028" y="71"/>
                  <a:pt x="3028" y="71"/>
                </a:cubicBezTo>
                <a:cubicBezTo>
                  <a:pt x="3030" y="71"/>
                  <a:pt x="3030" y="71"/>
                  <a:pt x="3030" y="71"/>
                </a:cubicBezTo>
                <a:cubicBezTo>
                  <a:pt x="3033" y="69"/>
                  <a:pt x="3033" y="69"/>
                  <a:pt x="3033" y="69"/>
                </a:cubicBezTo>
                <a:cubicBezTo>
                  <a:pt x="3032" y="67"/>
                  <a:pt x="3032" y="67"/>
                  <a:pt x="3032" y="67"/>
                </a:cubicBezTo>
                <a:cubicBezTo>
                  <a:pt x="3033" y="66"/>
                  <a:pt x="3033" y="66"/>
                  <a:pt x="3033" y="66"/>
                </a:cubicBezTo>
                <a:cubicBezTo>
                  <a:pt x="3034" y="67"/>
                  <a:pt x="3034" y="67"/>
                  <a:pt x="3034" y="67"/>
                </a:cubicBezTo>
                <a:cubicBezTo>
                  <a:pt x="3035" y="69"/>
                  <a:pt x="3035" y="69"/>
                  <a:pt x="3035" y="69"/>
                </a:cubicBezTo>
                <a:cubicBezTo>
                  <a:pt x="3036" y="69"/>
                  <a:pt x="3036" y="69"/>
                  <a:pt x="3036" y="69"/>
                </a:cubicBezTo>
                <a:cubicBezTo>
                  <a:pt x="3038" y="69"/>
                  <a:pt x="3038" y="69"/>
                  <a:pt x="3038" y="69"/>
                </a:cubicBezTo>
                <a:cubicBezTo>
                  <a:pt x="3040" y="70"/>
                  <a:pt x="3040" y="70"/>
                  <a:pt x="3040" y="70"/>
                </a:cubicBezTo>
                <a:cubicBezTo>
                  <a:pt x="3047" y="70"/>
                  <a:pt x="3047" y="70"/>
                  <a:pt x="3047" y="70"/>
                </a:cubicBezTo>
                <a:cubicBezTo>
                  <a:pt x="3049" y="71"/>
                  <a:pt x="3049" y="71"/>
                  <a:pt x="3049" y="71"/>
                </a:cubicBezTo>
                <a:cubicBezTo>
                  <a:pt x="3050" y="71"/>
                  <a:pt x="3050" y="71"/>
                  <a:pt x="3050" y="71"/>
                </a:cubicBezTo>
                <a:cubicBezTo>
                  <a:pt x="3049" y="68"/>
                  <a:pt x="3049" y="68"/>
                  <a:pt x="3049" y="68"/>
                </a:cubicBezTo>
                <a:cubicBezTo>
                  <a:pt x="3047" y="67"/>
                  <a:pt x="3047" y="67"/>
                  <a:pt x="3047" y="67"/>
                </a:cubicBezTo>
                <a:cubicBezTo>
                  <a:pt x="3047" y="66"/>
                  <a:pt x="3047" y="66"/>
                  <a:pt x="3047" y="66"/>
                </a:cubicBezTo>
                <a:cubicBezTo>
                  <a:pt x="3048" y="65"/>
                  <a:pt x="3048" y="65"/>
                  <a:pt x="3048" y="65"/>
                </a:cubicBezTo>
                <a:cubicBezTo>
                  <a:pt x="3048" y="59"/>
                  <a:pt x="3048" y="59"/>
                  <a:pt x="3048" y="59"/>
                </a:cubicBezTo>
                <a:cubicBezTo>
                  <a:pt x="3045" y="55"/>
                  <a:pt x="3045" y="55"/>
                  <a:pt x="3045" y="55"/>
                </a:cubicBezTo>
                <a:cubicBezTo>
                  <a:pt x="3043" y="55"/>
                  <a:pt x="3043" y="55"/>
                  <a:pt x="3043" y="55"/>
                </a:cubicBezTo>
                <a:cubicBezTo>
                  <a:pt x="3040" y="51"/>
                  <a:pt x="3040" y="51"/>
                  <a:pt x="3040" y="51"/>
                </a:cubicBezTo>
                <a:cubicBezTo>
                  <a:pt x="3042" y="50"/>
                  <a:pt x="3042" y="50"/>
                  <a:pt x="3042" y="50"/>
                </a:cubicBezTo>
                <a:cubicBezTo>
                  <a:pt x="3039" y="47"/>
                  <a:pt x="3039" y="47"/>
                  <a:pt x="3039" y="47"/>
                </a:cubicBezTo>
                <a:cubicBezTo>
                  <a:pt x="3035" y="46"/>
                  <a:pt x="3035" y="46"/>
                  <a:pt x="3035" y="46"/>
                </a:cubicBezTo>
                <a:cubicBezTo>
                  <a:pt x="3030" y="43"/>
                  <a:pt x="3030" y="43"/>
                  <a:pt x="3030" y="43"/>
                </a:cubicBezTo>
                <a:cubicBezTo>
                  <a:pt x="3028" y="40"/>
                  <a:pt x="3028" y="40"/>
                  <a:pt x="3028" y="40"/>
                </a:cubicBezTo>
                <a:cubicBezTo>
                  <a:pt x="3028" y="42"/>
                  <a:pt x="3028" y="42"/>
                  <a:pt x="3028" y="42"/>
                </a:cubicBezTo>
                <a:cubicBezTo>
                  <a:pt x="3026" y="41"/>
                  <a:pt x="3026" y="41"/>
                  <a:pt x="3026" y="41"/>
                </a:cubicBezTo>
                <a:cubicBezTo>
                  <a:pt x="3026" y="42"/>
                  <a:pt x="3026" y="42"/>
                  <a:pt x="3026" y="42"/>
                </a:cubicBezTo>
                <a:cubicBezTo>
                  <a:pt x="3025" y="44"/>
                  <a:pt x="3025" y="44"/>
                  <a:pt x="3025" y="44"/>
                </a:cubicBezTo>
                <a:cubicBezTo>
                  <a:pt x="3023" y="45"/>
                  <a:pt x="3023" y="45"/>
                  <a:pt x="3023" y="45"/>
                </a:cubicBezTo>
                <a:cubicBezTo>
                  <a:pt x="3022" y="44"/>
                  <a:pt x="3022" y="44"/>
                  <a:pt x="3022" y="44"/>
                </a:cubicBezTo>
                <a:cubicBezTo>
                  <a:pt x="3023" y="41"/>
                  <a:pt x="3023" y="41"/>
                  <a:pt x="3023" y="41"/>
                </a:cubicBezTo>
                <a:cubicBezTo>
                  <a:pt x="3025" y="40"/>
                  <a:pt x="3025" y="40"/>
                  <a:pt x="3025" y="40"/>
                </a:cubicBezTo>
                <a:cubicBezTo>
                  <a:pt x="3023" y="38"/>
                  <a:pt x="3023" y="38"/>
                  <a:pt x="3023" y="38"/>
                </a:cubicBezTo>
                <a:cubicBezTo>
                  <a:pt x="3024" y="37"/>
                  <a:pt x="3024" y="37"/>
                  <a:pt x="3024" y="37"/>
                </a:cubicBezTo>
                <a:cubicBezTo>
                  <a:pt x="3025" y="37"/>
                  <a:pt x="3025" y="37"/>
                  <a:pt x="3025" y="37"/>
                </a:cubicBezTo>
                <a:cubicBezTo>
                  <a:pt x="3026" y="39"/>
                  <a:pt x="3026" y="39"/>
                  <a:pt x="3026" y="39"/>
                </a:cubicBezTo>
                <a:cubicBezTo>
                  <a:pt x="3022" y="32"/>
                  <a:pt x="3022" y="32"/>
                  <a:pt x="3022" y="32"/>
                </a:cubicBezTo>
                <a:cubicBezTo>
                  <a:pt x="3019" y="30"/>
                  <a:pt x="3019" y="30"/>
                  <a:pt x="3019" y="30"/>
                </a:cubicBezTo>
                <a:cubicBezTo>
                  <a:pt x="3019" y="33"/>
                  <a:pt x="3019" y="33"/>
                  <a:pt x="3019" y="33"/>
                </a:cubicBezTo>
                <a:cubicBezTo>
                  <a:pt x="3019" y="34"/>
                  <a:pt x="3019" y="34"/>
                  <a:pt x="3019" y="34"/>
                </a:cubicBezTo>
                <a:cubicBezTo>
                  <a:pt x="3018" y="34"/>
                  <a:pt x="3018" y="34"/>
                  <a:pt x="3018" y="34"/>
                </a:cubicBezTo>
                <a:cubicBezTo>
                  <a:pt x="3014" y="30"/>
                  <a:pt x="3014" y="30"/>
                  <a:pt x="3014" y="30"/>
                </a:cubicBezTo>
                <a:cubicBezTo>
                  <a:pt x="3015" y="29"/>
                  <a:pt x="3015" y="29"/>
                  <a:pt x="3015" y="29"/>
                </a:cubicBezTo>
                <a:cubicBezTo>
                  <a:pt x="3017" y="29"/>
                  <a:pt x="3017" y="29"/>
                  <a:pt x="3017" y="29"/>
                </a:cubicBezTo>
                <a:cubicBezTo>
                  <a:pt x="3016" y="27"/>
                  <a:pt x="3016" y="27"/>
                  <a:pt x="3016" y="27"/>
                </a:cubicBezTo>
                <a:cubicBezTo>
                  <a:pt x="3010" y="23"/>
                  <a:pt x="3010" y="23"/>
                  <a:pt x="3010" y="23"/>
                </a:cubicBezTo>
                <a:cubicBezTo>
                  <a:pt x="3009" y="23"/>
                  <a:pt x="3009" y="23"/>
                  <a:pt x="3009" y="23"/>
                </a:cubicBezTo>
                <a:cubicBezTo>
                  <a:pt x="3010" y="24"/>
                  <a:pt x="3010" y="24"/>
                  <a:pt x="3010" y="24"/>
                </a:cubicBezTo>
                <a:cubicBezTo>
                  <a:pt x="3009" y="26"/>
                  <a:pt x="3009" y="26"/>
                  <a:pt x="3009" y="26"/>
                </a:cubicBezTo>
                <a:cubicBezTo>
                  <a:pt x="3006" y="26"/>
                  <a:pt x="3006" y="26"/>
                  <a:pt x="3006" y="26"/>
                </a:cubicBezTo>
                <a:cubicBezTo>
                  <a:pt x="3004" y="24"/>
                  <a:pt x="3004" y="24"/>
                  <a:pt x="3004" y="24"/>
                </a:cubicBezTo>
                <a:cubicBezTo>
                  <a:pt x="3001" y="23"/>
                  <a:pt x="3001" y="23"/>
                  <a:pt x="3001" y="23"/>
                </a:cubicBezTo>
                <a:cubicBezTo>
                  <a:pt x="2999" y="19"/>
                  <a:pt x="2999" y="19"/>
                  <a:pt x="2999" y="19"/>
                </a:cubicBezTo>
                <a:cubicBezTo>
                  <a:pt x="2999" y="18"/>
                  <a:pt x="2999" y="18"/>
                  <a:pt x="2999" y="18"/>
                </a:cubicBezTo>
                <a:cubicBezTo>
                  <a:pt x="2997" y="17"/>
                  <a:pt x="2997" y="17"/>
                  <a:pt x="2997" y="17"/>
                </a:cubicBezTo>
                <a:cubicBezTo>
                  <a:pt x="2996" y="17"/>
                  <a:pt x="2996" y="17"/>
                  <a:pt x="2996" y="17"/>
                </a:cubicBezTo>
                <a:cubicBezTo>
                  <a:pt x="2993" y="20"/>
                  <a:pt x="2993" y="20"/>
                  <a:pt x="2993" y="20"/>
                </a:cubicBezTo>
                <a:cubicBezTo>
                  <a:pt x="2993" y="21"/>
                  <a:pt x="2993" y="21"/>
                  <a:pt x="2993" y="21"/>
                </a:cubicBezTo>
                <a:cubicBezTo>
                  <a:pt x="2991" y="21"/>
                  <a:pt x="2991" y="21"/>
                  <a:pt x="2991" y="21"/>
                </a:cubicBezTo>
                <a:cubicBezTo>
                  <a:pt x="2990" y="22"/>
                  <a:pt x="2990" y="22"/>
                  <a:pt x="2990" y="22"/>
                </a:cubicBezTo>
                <a:cubicBezTo>
                  <a:pt x="2989" y="26"/>
                  <a:pt x="2989" y="26"/>
                  <a:pt x="2989" y="26"/>
                </a:cubicBezTo>
                <a:cubicBezTo>
                  <a:pt x="2990" y="27"/>
                  <a:pt x="2990" y="27"/>
                  <a:pt x="2990" y="27"/>
                </a:cubicBezTo>
                <a:cubicBezTo>
                  <a:pt x="2989" y="26"/>
                  <a:pt x="2989" y="26"/>
                  <a:pt x="2989" y="26"/>
                </a:cubicBezTo>
                <a:cubicBezTo>
                  <a:pt x="2987" y="22"/>
                  <a:pt x="2987" y="22"/>
                  <a:pt x="2987" y="22"/>
                </a:cubicBezTo>
                <a:cubicBezTo>
                  <a:pt x="2988" y="20"/>
                  <a:pt x="2988" y="20"/>
                  <a:pt x="2988" y="20"/>
                </a:cubicBezTo>
                <a:cubicBezTo>
                  <a:pt x="2985" y="18"/>
                  <a:pt x="2985" y="18"/>
                  <a:pt x="2985" y="18"/>
                </a:cubicBezTo>
                <a:cubicBezTo>
                  <a:pt x="2984" y="15"/>
                  <a:pt x="2984" y="15"/>
                  <a:pt x="2984" y="15"/>
                </a:cubicBezTo>
                <a:cubicBezTo>
                  <a:pt x="2983" y="15"/>
                  <a:pt x="2983" y="15"/>
                  <a:pt x="2983" y="15"/>
                </a:cubicBezTo>
                <a:cubicBezTo>
                  <a:pt x="2985" y="15"/>
                  <a:pt x="2985" y="15"/>
                  <a:pt x="2985" y="15"/>
                </a:cubicBezTo>
                <a:cubicBezTo>
                  <a:pt x="2987" y="17"/>
                  <a:pt x="2987" y="17"/>
                  <a:pt x="2987" y="17"/>
                </a:cubicBezTo>
                <a:cubicBezTo>
                  <a:pt x="2987" y="15"/>
                  <a:pt x="2987" y="15"/>
                  <a:pt x="2987" y="15"/>
                </a:cubicBezTo>
                <a:cubicBezTo>
                  <a:pt x="2989" y="15"/>
                  <a:pt x="2989" y="15"/>
                  <a:pt x="2989" y="15"/>
                </a:cubicBezTo>
                <a:cubicBezTo>
                  <a:pt x="2991" y="16"/>
                  <a:pt x="2991" y="16"/>
                  <a:pt x="2991" y="16"/>
                </a:cubicBezTo>
                <a:cubicBezTo>
                  <a:pt x="2994" y="14"/>
                  <a:pt x="2994" y="14"/>
                  <a:pt x="2994" y="14"/>
                </a:cubicBezTo>
                <a:cubicBezTo>
                  <a:pt x="2993" y="12"/>
                  <a:pt x="2993" y="12"/>
                  <a:pt x="2993" y="12"/>
                </a:cubicBezTo>
                <a:cubicBezTo>
                  <a:pt x="2987" y="10"/>
                  <a:pt x="2987" y="10"/>
                  <a:pt x="2987" y="10"/>
                </a:cubicBezTo>
                <a:cubicBezTo>
                  <a:pt x="2986" y="12"/>
                  <a:pt x="2986" y="12"/>
                  <a:pt x="2986" y="12"/>
                </a:cubicBezTo>
                <a:cubicBezTo>
                  <a:pt x="2983" y="12"/>
                  <a:pt x="2983" y="12"/>
                  <a:pt x="2983" y="12"/>
                </a:cubicBezTo>
                <a:cubicBezTo>
                  <a:pt x="2981" y="11"/>
                  <a:pt x="2981" y="11"/>
                  <a:pt x="2981" y="11"/>
                </a:cubicBezTo>
                <a:cubicBezTo>
                  <a:pt x="2983" y="11"/>
                  <a:pt x="2983" y="11"/>
                  <a:pt x="2983" y="11"/>
                </a:cubicBezTo>
                <a:cubicBezTo>
                  <a:pt x="2985" y="9"/>
                  <a:pt x="2985" y="9"/>
                  <a:pt x="2985" y="9"/>
                </a:cubicBezTo>
                <a:cubicBezTo>
                  <a:pt x="2987" y="8"/>
                  <a:pt x="2987" y="8"/>
                  <a:pt x="2987" y="8"/>
                </a:cubicBezTo>
                <a:cubicBezTo>
                  <a:pt x="2988" y="9"/>
                  <a:pt x="2988" y="9"/>
                  <a:pt x="2988" y="9"/>
                </a:cubicBezTo>
                <a:cubicBezTo>
                  <a:pt x="2991" y="10"/>
                  <a:pt x="2991" y="10"/>
                  <a:pt x="2991" y="10"/>
                </a:cubicBezTo>
                <a:cubicBezTo>
                  <a:pt x="2993" y="11"/>
                  <a:pt x="2993" y="11"/>
                  <a:pt x="2993" y="11"/>
                </a:cubicBezTo>
                <a:cubicBezTo>
                  <a:pt x="2996" y="14"/>
                  <a:pt x="2996" y="14"/>
                  <a:pt x="2996" y="14"/>
                </a:cubicBezTo>
                <a:cubicBezTo>
                  <a:pt x="2998" y="15"/>
                  <a:pt x="2998" y="15"/>
                  <a:pt x="2998" y="15"/>
                </a:cubicBezTo>
                <a:cubicBezTo>
                  <a:pt x="2999" y="17"/>
                  <a:pt x="2999" y="17"/>
                  <a:pt x="2999" y="17"/>
                </a:cubicBezTo>
                <a:cubicBezTo>
                  <a:pt x="3001" y="17"/>
                  <a:pt x="3001" y="17"/>
                  <a:pt x="3001" y="17"/>
                </a:cubicBezTo>
                <a:cubicBezTo>
                  <a:pt x="3003" y="15"/>
                  <a:pt x="3003" y="15"/>
                  <a:pt x="3003" y="15"/>
                </a:cubicBezTo>
                <a:cubicBezTo>
                  <a:pt x="3004" y="17"/>
                  <a:pt x="3004" y="17"/>
                  <a:pt x="3004" y="17"/>
                </a:cubicBezTo>
                <a:cubicBezTo>
                  <a:pt x="3009" y="13"/>
                  <a:pt x="3009" y="13"/>
                  <a:pt x="3009" y="13"/>
                </a:cubicBezTo>
                <a:cubicBezTo>
                  <a:pt x="3009" y="14"/>
                  <a:pt x="3009" y="14"/>
                  <a:pt x="3009" y="14"/>
                </a:cubicBezTo>
                <a:cubicBezTo>
                  <a:pt x="3009" y="16"/>
                  <a:pt x="3009" y="16"/>
                  <a:pt x="3009" y="16"/>
                </a:cubicBezTo>
                <a:cubicBezTo>
                  <a:pt x="3011" y="15"/>
                  <a:pt x="3011" y="15"/>
                  <a:pt x="3011" y="15"/>
                </a:cubicBezTo>
                <a:cubicBezTo>
                  <a:pt x="3011" y="12"/>
                  <a:pt x="3011" y="12"/>
                  <a:pt x="3011" y="12"/>
                </a:cubicBezTo>
                <a:cubicBezTo>
                  <a:pt x="3013" y="8"/>
                  <a:pt x="3013" y="8"/>
                  <a:pt x="3013" y="8"/>
                </a:cubicBezTo>
                <a:cubicBezTo>
                  <a:pt x="3013" y="7"/>
                  <a:pt x="3013" y="7"/>
                  <a:pt x="3013" y="7"/>
                </a:cubicBezTo>
                <a:cubicBezTo>
                  <a:pt x="3013" y="4"/>
                  <a:pt x="3013" y="4"/>
                  <a:pt x="3013" y="4"/>
                </a:cubicBezTo>
                <a:cubicBezTo>
                  <a:pt x="3012" y="0"/>
                  <a:pt x="3012" y="0"/>
                  <a:pt x="3012" y="0"/>
                </a:cubicBezTo>
                <a:cubicBezTo>
                  <a:pt x="3012" y="0"/>
                  <a:pt x="3012" y="0"/>
                  <a:pt x="3012" y="0"/>
                </a:cubicBezTo>
                <a:cubicBezTo>
                  <a:pt x="2304" y="0"/>
                  <a:pt x="2304" y="0"/>
                  <a:pt x="2304" y="0"/>
                </a:cubicBezTo>
                <a:cubicBezTo>
                  <a:pt x="2303" y="1"/>
                  <a:pt x="2303" y="1"/>
                  <a:pt x="2303" y="1"/>
                </a:cubicBezTo>
                <a:cubicBezTo>
                  <a:pt x="2302" y="3"/>
                  <a:pt x="2302" y="3"/>
                  <a:pt x="2302" y="3"/>
                </a:cubicBezTo>
                <a:cubicBezTo>
                  <a:pt x="2300" y="3"/>
                  <a:pt x="2300" y="3"/>
                  <a:pt x="2300" y="3"/>
                </a:cubicBezTo>
                <a:cubicBezTo>
                  <a:pt x="2299" y="4"/>
                  <a:pt x="2299" y="4"/>
                  <a:pt x="2299" y="4"/>
                </a:cubicBezTo>
                <a:cubicBezTo>
                  <a:pt x="2299" y="2"/>
                  <a:pt x="2299" y="2"/>
                  <a:pt x="2299" y="2"/>
                </a:cubicBezTo>
                <a:cubicBezTo>
                  <a:pt x="2301" y="1"/>
                  <a:pt x="2301" y="1"/>
                  <a:pt x="2301" y="1"/>
                </a:cubicBezTo>
                <a:cubicBezTo>
                  <a:pt x="2301" y="0"/>
                  <a:pt x="2301" y="0"/>
                  <a:pt x="2301" y="0"/>
                </a:cubicBezTo>
                <a:cubicBezTo>
                  <a:pt x="2143" y="0"/>
                  <a:pt x="2143" y="0"/>
                  <a:pt x="2143" y="0"/>
                </a:cubicBezTo>
                <a:cubicBezTo>
                  <a:pt x="2143" y="1"/>
                  <a:pt x="2143" y="1"/>
                  <a:pt x="2143" y="1"/>
                </a:cubicBezTo>
                <a:cubicBezTo>
                  <a:pt x="2144" y="2"/>
                  <a:pt x="2144" y="2"/>
                  <a:pt x="2144" y="2"/>
                </a:cubicBezTo>
                <a:cubicBezTo>
                  <a:pt x="2145" y="1"/>
                  <a:pt x="2145" y="1"/>
                  <a:pt x="2145" y="1"/>
                </a:cubicBezTo>
                <a:cubicBezTo>
                  <a:pt x="2148" y="1"/>
                  <a:pt x="2148" y="1"/>
                  <a:pt x="2148" y="1"/>
                </a:cubicBezTo>
                <a:cubicBezTo>
                  <a:pt x="2148" y="3"/>
                  <a:pt x="2148" y="3"/>
                  <a:pt x="2148" y="3"/>
                </a:cubicBezTo>
                <a:cubicBezTo>
                  <a:pt x="2151" y="5"/>
                  <a:pt x="2151" y="5"/>
                  <a:pt x="2151" y="5"/>
                </a:cubicBezTo>
                <a:cubicBezTo>
                  <a:pt x="2153" y="5"/>
                  <a:pt x="2153" y="5"/>
                  <a:pt x="2153" y="5"/>
                </a:cubicBezTo>
                <a:cubicBezTo>
                  <a:pt x="2154" y="8"/>
                  <a:pt x="2154" y="8"/>
                  <a:pt x="2154" y="8"/>
                </a:cubicBezTo>
                <a:cubicBezTo>
                  <a:pt x="2153" y="11"/>
                  <a:pt x="2153" y="11"/>
                  <a:pt x="2153" y="11"/>
                </a:cubicBezTo>
                <a:cubicBezTo>
                  <a:pt x="2149" y="14"/>
                  <a:pt x="2149" y="14"/>
                  <a:pt x="2149" y="14"/>
                </a:cubicBezTo>
                <a:cubicBezTo>
                  <a:pt x="2147" y="16"/>
                  <a:pt x="2147" y="16"/>
                  <a:pt x="2147" y="16"/>
                </a:cubicBezTo>
                <a:cubicBezTo>
                  <a:pt x="2147" y="17"/>
                  <a:pt x="2147" y="17"/>
                  <a:pt x="2147" y="17"/>
                </a:cubicBezTo>
                <a:cubicBezTo>
                  <a:pt x="2151" y="21"/>
                  <a:pt x="2151" y="21"/>
                  <a:pt x="2151" y="21"/>
                </a:cubicBezTo>
                <a:cubicBezTo>
                  <a:pt x="2153" y="22"/>
                  <a:pt x="2153" y="22"/>
                  <a:pt x="2153" y="22"/>
                </a:cubicBezTo>
                <a:cubicBezTo>
                  <a:pt x="2149" y="22"/>
                  <a:pt x="2149" y="22"/>
                  <a:pt x="2149" y="22"/>
                </a:cubicBezTo>
                <a:cubicBezTo>
                  <a:pt x="2145" y="18"/>
                  <a:pt x="2145" y="18"/>
                  <a:pt x="2145" y="18"/>
                </a:cubicBezTo>
                <a:cubicBezTo>
                  <a:pt x="2145" y="16"/>
                  <a:pt x="2145" y="16"/>
                  <a:pt x="2145" y="16"/>
                </a:cubicBezTo>
                <a:cubicBezTo>
                  <a:pt x="2147" y="12"/>
                  <a:pt x="2147" y="12"/>
                  <a:pt x="2147" y="12"/>
                </a:cubicBezTo>
                <a:cubicBezTo>
                  <a:pt x="2149" y="11"/>
                  <a:pt x="2149" y="11"/>
                  <a:pt x="2149" y="11"/>
                </a:cubicBezTo>
                <a:cubicBezTo>
                  <a:pt x="2148" y="10"/>
                  <a:pt x="2148" y="10"/>
                  <a:pt x="2148" y="10"/>
                </a:cubicBezTo>
                <a:cubicBezTo>
                  <a:pt x="2149" y="7"/>
                  <a:pt x="2149" y="7"/>
                  <a:pt x="2149" y="7"/>
                </a:cubicBezTo>
                <a:cubicBezTo>
                  <a:pt x="2149" y="7"/>
                  <a:pt x="2149" y="7"/>
                  <a:pt x="2149" y="7"/>
                </a:cubicBezTo>
                <a:cubicBezTo>
                  <a:pt x="2142" y="10"/>
                  <a:pt x="2142" y="10"/>
                  <a:pt x="2142" y="10"/>
                </a:cubicBezTo>
                <a:cubicBezTo>
                  <a:pt x="2138" y="11"/>
                  <a:pt x="2138" y="11"/>
                  <a:pt x="2138" y="11"/>
                </a:cubicBezTo>
                <a:cubicBezTo>
                  <a:pt x="2137" y="13"/>
                  <a:pt x="2137" y="13"/>
                  <a:pt x="2137" y="13"/>
                </a:cubicBezTo>
                <a:cubicBezTo>
                  <a:pt x="2135" y="14"/>
                  <a:pt x="2135" y="14"/>
                  <a:pt x="2135" y="14"/>
                </a:cubicBezTo>
                <a:cubicBezTo>
                  <a:pt x="2133" y="14"/>
                  <a:pt x="2133" y="14"/>
                  <a:pt x="2133" y="14"/>
                </a:cubicBezTo>
                <a:cubicBezTo>
                  <a:pt x="2130" y="14"/>
                  <a:pt x="2130" y="14"/>
                  <a:pt x="2130" y="14"/>
                </a:cubicBezTo>
                <a:cubicBezTo>
                  <a:pt x="2127" y="17"/>
                  <a:pt x="2127" y="17"/>
                  <a:pt x="2127" y="17"/>
                </a:cubicBezTo>
                <a:cubicBezTo>
                  <a:pt x="2119" y="19"/>
                  <a:pt x="2119" y="19"/>
                  <a:pt x="2119" y="19"/>
                </a:cubicBezTo>
                <a:cubicBezTo>
                  <a:pt x="2114" y="21"/>
                  <a:pt x="2114" y="21"/>
                  <a:pt x="2114" y="21"/>
                </a:cubicBezTo>
                <a:cubicBezTo>
                  <a:pt x="2112" y="21"/>
                  <a:pt x="2112" y="21"/>
                  <a:pt x="2112" y="21"/>
                </a:cubicBezTo>
                <a:cubicBezTo>
                  <a:pt x="2109" y="23"/>
                  <a:pt x="2109" y="23"/>
                  <a:pt x="2109" y="23"/>
                </a:cubicBezTo>
                <a:cubicBezTo>
                  <a:pt x="2106" y="23"/>
                  <a:pt x="2106" y="23"/>
                  <a:pt x="2106" y="23"/>
                </a:cubicBezTo>
                <a:cubicBezTo>
                  <a:pt x="2105" y="25"/>
                  <a:pt x="2105" y="25"/>
                  <a:pt x="2105" y="25"/>
                </a:cubicBezTo>
                <a:cubicBezTo>
                  <a:pt x="2107" y="26"/>
                  <a:pt x="2107" y="26"/>
                  <a:pt x="2107" y="26"/>
                </a:cubicBezTo>
                <a:cubicBezTo>
                  <a:pt x="2107" y="29"/>
                  <a:pt x="2107" y="29"/>
                  <a:pt x="2107" y="29"/>
                </a:cubicBezTo>
                <a:cubicBezTo>
                  <a:pt x="2106" y="31"/>
                  <a:pt x="2106" y="31"/>
                  <a:pt x="2106" y="31"/>
                </a:cubicBezTo>
                <a:cubicBezTo>
                  <a:pt x="2108" y="32"/>
                  <a:pt x="2108" y="32"/>
                  <a:pt x="2108" y="32"/>
                </a:cubicBezTo>
                <a:cubicBezTo>
                  <a:pt x="2109" y="32"/>
                  <a:pt x="2109" y="32"/>
                  <a:pt x="2109" y="32"/>
                </a:cubicBezTo>
                <a:cubicBezTo>
                  <a:pt x="2110" y="33"/>
                  <a:pt x="2110" y="33"/>
                  <a:pt x="2110" y="33"/>
                </a:cubicBezTo>
                <a:cubicBezTo>
                  <a:pt x="2109" y="35"/>
                  <a:pt x="2109" y="35"/>
                  <a:pt x="2109" y="35"/>
                </a:cubicBezTo>
                <a:cubicBezTo>
                  <a:pt x="2112" y="37"/>
                  <a:pt x="2112" y="37"/>
                  <a:pt x="2112" y="37"/>
                </a:cubicBezTo>
                <a:cubicBezTo>
                  <a:pt x="2115" y="41"/>
                  <a:pt x="2115" y="41"/>
                  <a:pt x="2115" y="41"/>
                </a:cubicBezTo>
                <a:cubicBezTo>
                  <a:pt x="2115" y="45"/>
                  <a:pt x="2115" y="45"/>
                  <a:pt x="2115" y="45"/>
                </a:cubicBezTo>
                <a:cubicBezTo>
                  <a:pt x="2116" y="47"/>
                  <a:pt x="2116" y="47"/>
                  <a:pt x="2116" y="47"/>
                </a:cubicBezTo>
                <a:cubicBezTo>
                  <a:pt x="2117" y="47"/>
                  <a:pt x="2117" y="47"/>
                  <a:pt x="2117" y="47"/>
                </a:cubicBezTo>
                <a:cubicBezTo>
                  <a:pt x="2117" y="50"/>
                  <a:pt x="2117" y="50"/>
                  <a:pt x="2117" y="50"/>
                </a:cubicBezTo>
                <a:cubicBezTo>
                  <a:pt x="2120" y="51"/>
                  <a:pt x="2120" y="51"/>
                  <a:pt x="2120" y="51"/>
                </a:cubicBezTo>
                <a:cubicBezTo>
                  <a:pt x="2122" y="51"/>
                  <a:pt x="2122" y="51"/>
                  <a:pt x="2122" y="51"/>
                </a:cubicBezTo>
                <a:cubicBezTo>
                  <a:pt x="2129" y="52"/>
                  <a:pt x="2129" y="52"/>
                  <a:pt x="2129" y="52"/>
                </a:cubicBezTo>
                <a:cubicBezTo>
                  <a:pt x="2132" y="50"/>
                  <a:pt x="2132" y="50"/>
                  <a:pt x="2132" y="50"/>
                </a:cubicBezTo>
                <a:cubicBezTo>
                  <a:pt x="2132" y="52"/>
                  <a:pt x="2132" y="52"/>
                  <a:pt x="2132" y="52"/>
                </a:cubicBezTo>
                <a:cubicBezTo>
                  <a:pt x="2133" y="53"/>
                  <a:pt x="2133" y="53"/>
                  <a:pt x="2133" y="53"/>
                </a:cubicBezTo>
                <a:cubicBezTo>
                  <a:pt x="2132" y="56"/>
                  <a:pt x="2132" y="56"/>
                  <a:pt x="2132" y="56"/>
                </a:cubicBezTo>
                <a:cubicBezTo>
                  <a:pt x="2136" y="57"/>
                  <a:pt x="2136" y="57"/>
                  <a:pt x="2136" y="57"/>
                </a:cubicBezTo>
                <a:cubicBezTo>
                  <a:pt x="2137" y="60"/>
                  <a:pt x="2137" y="60"/>
                  <a:pt x="2137" y="60"/>
                </a:cubicBezTo>
                <a:cubicBezTo>
                  <a:pt x="2142" y="60"/>
                  <a:pt x="2142" y="60"/>
                  <a:pt x="2142" y="60"/>
                </a:cubicBezTo>
                <a:cubicBezTo>
                  <a:pt x="2146" y="63"/>
                  <a:pt x="2146" y="63"/>
                  <a:pt x="2146" y="63"/>
                </a:cubicBezTo>
                <a:cubicBezTo>
                  <a:pt x="2147" y="63"/>
                  <a:pt x="2147" y="63"/>
                  <a:pt x="2147" y="63"/>
                </a:cubicBezTo>
                <a:cubicBezTo>
                  <a:pt x="2149" y="65"/>
                  <a:pt x="2149" y="65"/>
                  <a:pt x="2149" y="65"/>
                </a:cubicBezTo>
                <a:cubicBezTo>
                  <a:pt x="2150" y="70"/>
                  <a:pt x="2150" y="70"/>
                  <a:pt x="2150" y="70"/>
                </a:cubicBezTo>
                <a:cubicBezTo>
                  <a:pt x="2151" y="72"/>
                  <a:pt x="2151" y="72"/>
                  <a:pt x="2151" y="72"/>
                </a:cubicBezTo>
                <a:cubicBezTo>
                  <a:pt x="2150" y="75"/>
                  <a:pt x="2150" y="75"/>
                  <a:pt x="2150" y="75"/>
                </a:cubicBezTo>
                <a:cubicBezTo>
                  <a:pt x="2152" y="78"/>
                  <a:pt x="2152" y="78"/>
                  <a:pt x="2152" y="78"/>
                </a:cubicBezTo>
                <a:cubicBezTo>
                  <a:pt x="2154" y="79"/>
                  <a:pt x="2154" y="79"/>
                  <a:pt x="2154" y="79"/>
                </a:cubicBezTo>
                <a:cubicBezTo>
                  <a:pt x="2158" y="84"/>
                  <a:pt x="2158" y="84"/>
                  <a:pt x="2158" y="84"/>
                </a:cubicBezTo>
                <a:cubicBezTo>
                  <a:pt x="2159" y="88"/>
                  <a:pt x="2159" y="88"/>
                  <a:pt x="2159" y="88"/>
                </a:cubicBezTo>
                <a:cubicBezTo>
                  <a:pt x="2162" y="91"/>
                  <a:pt x="2162" y="91"/>
                  <a:pt x="2162" y="91"/>
                </a:cubicBezTo>
                <a:cubicBezTo>
                  <a:pt x="2162" y="93"/>
                  <a:pt x="2162" y="93"/>
                  <a:pt x="2162" y="93"/>
                </a:cubicBezTo>
                <a:cubicBezTo>
                  <a:pt x="2160" y="97"/>
                  <a:pt x="2160" y="97"/>
                  <a:pt x="2160" y="97"/>
                </a:cubicBezTo>
                <a:cubicBezTo>
                  <a:pt x="2159" y="97"/>
                  <a:pt x="2159" y="97"/>
                  <a:pt x="2159" y="97"/>
                </a:cubicBezTo>
                <a:cubicBezTo>
                  <a:pt x="2157" y="97"/>
                  <a:pt x="2157" y="97"/>
                  <a:pt x="2157" y="97"/>
                </a:cubicBezTo>
                <a:cubicBezTo>
                  <a:pt x="2159" y="100"/>
                  <a:pt x="2159" y="100"/>
                  <a:pt x="2159" y="100"/>
                </a:cubicBezTo>
                <a:cubicBezTo>
                  <a:pt x="2162" y="100"/>
                  <a:pt x="2162" y="100"/>
                  <a:pt x="2162" y="100"/>
                </a:cubicBezTo>
                <a:cubicBezTo>
                  <a:pt x="2164" y="102"/>
                  <a:pt x="2164" y="102"/>
                  <a:pt x="2164" y="102"/>
                </a:cubicBezTo>
                <a:cubicBezTo>
                  <a:pt x="2168" y="106"/>
                  <a:pt x="2168" y="106"/>
                  <a:pt x="2168" y="106"/>
                </a:cubicBezTo>
                <a:cubicBezTo>
                  <a:pt x="2172" y="107"/>
                  <a:pt x="2172" y="107"/>
                  <a:pt x="2172" y="107"/>
                </a:cubicBezTo>
                <a:cubicBezTo>
                  <a:pt x="2172" y="107"/>
                  <a:pt x="2172" y="107"/>
                  <a:pt x="2172" y="107"/>
                </a:cubicBezTo>
                <a:cubicBezTo>
                  <a:pt x="2174" y="107"/>
                  <a:pt x="2174" y="107"/>
                  <a:pt x="2174" y="107"/>
                </a:cubicBezTo>
                <a:cubicBezTo>
                  <a:pt x="2177" y="105"/>
                  <a:pt x="2177" y="105"/>
                  <a:pt x="2177" y="105"/>
                </a:cubicBezTo>
                <a:cubicBezTo>
                  <a:pt x="2180" y="104"/>
                  <a:pt x="2180" y="104"/>
                  <a:pt x="2180" y="104"/>
                </a:cubicBezTo>
                <a:cubicBezTo>
                  <a:pt x="2184" y="106"/>
                  <a:pt x="2184" y="106"/>
                  <a:pt x="2184" y="106"/>
                </a:cubicBezTo>
                <a:cubicBezTo>
                  <a:pt x="2187" y="107"/>
                  <a:pt x="2187" y="107"/>
                  <a:pt x="2187" y="107"/>
                </a:cubicBezTo>
                <a:cubicBezTo>
                  <a:pt x="2189" y="108"/>
                  <a:pt x="2189" y="108"/>
                  <a:pt x="2189" y="108"/>
                </a:cubicBezTo>
                <a:cubicBezTo>
                  <a:pt x="2190" y="110"/>
                  <a:pt x="2190" y="110"/>
                  <a:pt x="2190" y="110"/>
                </a:cubicBezTo>
                <a:cubicBezTo>
                  <a:pt x="2190" y="114"/>
                  <a:pt x="2190" y="114"/>
                  <a:pt x="2190" y="114"/>
                </a:cubicBezTo>
                <a:cubicBezTo>
                  <a:pt x="2189" y="110"/>
                  <a:pt x="2189" y="110"/>
                  <a:pt x="2189" y="110"/>
                </a:cubicBezTo>
                <a:cubicBezTo>
                  <a:pt x="2188" y="108"/>
                  <a:pt x="2188" y="108"/>
                  <a:pt x="2188" y="108"/>
                </a:cubicBezTo>
                <a:cubicBezTo>
                  <a:pt x="2185" y="108"/>
                  <a:pt x="2185" y="108"/>
                  <a:pt x="2185" y="108"/>
                </a:cubicBezTo>
                <a:cubicBezTo>
                  <a:pt x="2180" y="105"/>
                  <a:pt x="2180" y="105"/>
                  <a:pt x="2180" y="105"/>
                </a:cubicBezTo>
                <a:cubicBezTo>
                  <a:pt x="2178" y="105"/>
                  <a:pt x="2178" y="105"/>
                  <a:pt x="2178" y="105"/>
                </a:cubicBezTo>
                <a:cubicBezTo>
                  <a:pt x="2175" y="108"/>
                  <a:pt x="2175" y="108"/>
                  <a:pt x="2175" y="108"/>
                </a:cubicBezTo>
                <a:cubicBezTo>
                  <a:pt x="2175" y="111"/>
                  <a:pt x="2175" y="111"/>
                  <a:pt x="2175" y="111"/>
                </a:cubicBezTo>
                <a:cubicBezTo>
                  <a:pt x="2175" y="113"/>
                  <a:pt x="2175" y="113"/>
                  <a:pt x="2175" y="113"/>
                </a:cubicBezTo>
                <a:cubicBezTo>
                  <a:pt x="2171" y="108"/>
                  <a:pt x="2171" y="108"/>
                  <a:pt x="2171" y="108"/>
                </a:cubicBezTo>
                <a:cubicBezTo>
                  <a:pt x="2167" y="108"/>
                  <a:pt x="2167" y="108"/>
                  <a:pt x="2167" y="108"/>
                </a:cubicBezTo>
                <a:cubicBezTo>
                  <a:pt x="2165" y="107"/>
                  <a:pt x="2165" y="107"/>
                  <a:pt x="2165" y="107"/>
                </a:cubicBezTo>
                <a:cubicBezTo>
                  <a:pt x="2165" y="104"/>
                  <a:pt x="2165" y="104"/>
                  <a:pt x="2165" y="104"/>
                </a:cubicBezTo>
                <a:cubicBezTo>
                  <a:pt x="2163" y="102"/>
                  <a:pt x="2163" y="102"/>
                  <a:pt x="2163" y="102"/>
                </a:cubicBezTo>
                <a:cubicBezTo>
                  <a:pt x="2160" y="101"/>
                  <a:pt x="2160" y="101"/>
                  <a:pt x="2160" y="101"/>
                </a:cubicBezTo>
                <a:cubicBezTo>
                  <a:pt x="2157" y="101"/>
                  <a:pt x="2157" y="101"/>
                  <a:pt x="2157" y="101"/>
                </a:cubicBezTo>
                <a:cubicBezTo>
                  <a:pt x="2153" y="99"/>
                  <a:pt x="2153" y="99"/>
                  <a:pt x="2153" y="99"/>
                </a:cubicBezTo>
                <a:cubicBezTo>
                  <a:pt x="2154" y="98"/>
                  <a:pt x="2154" y="98"/>
                  <a:pt x="2154" y="98"/>
                </a:cubicBezTo>
                <a:cubicBezTo>
                  <a:pt x="2154" y="96"/>
                  <a:pt x="2154" y="96"/>
                  <a:pt x="2154" y="96"/>
                </a:cubicBezTo>
                <a:cubicBezTo>
                  <a:pt x="2155" y="95"/>
                  <a:pt x="2155" y="95"/>
                  <a:pt x="2155" y="95"/>
                </a:cubicBezTo>
                <a:cubicBezTo>
                  <a:pt x="2155" y="93"/>
                  <a:pt x="2155" y="93"/>
                  <a:pt x="2155" y="93"/>
                </a:cubicBezTo>
                <a:cubicBezTo>
                  <a:pt x="2155" y="88"/>
                  <a:pt x="2155" y="88"/>
                  <a:pt x="2155" y="88"/>
                </a:cubicBezTo>
                <a:cubicBezTo>
                  <a:pt x="2153" y="85"/>
                  <a:pt x="2153" y="85"/>
                  <a:pt x="2153" y="85"/>
                </a:cubicBezTo>
                <a:cubicBezTo>
                  <a:pt x="2152" y="84"/>
                  <a:pt x="2152" y="84"/>
                  <a:pt x="2152" y="84"/>
                </a:cubicBezTo>
                <a:cubicBezTo>
                  <a:pt x="2151" y="87"/>
                  <a:pt x="2151" y="87"/>
                  <a:pt x="2151" y="87"/>
                </a:cubicBezTo>
                <a:cubicBezTo>
                  <a:pt x="2149" y="88"/>
                  <a:pt x="2149" y="88"/>
                  <a:pt x="2149" y="88"/>
                </a:cubicBezTo>
                <a:cubicBezTo>
                  <a:pt x="2149" y="90"/>
                  <a:pt x="2149" y="90"/>
                  <a:pt x="2149" y="90"/>
                </a:cubicBezTo>
                <a:cubicBezTo>
                  <a:pt x="2148" y="92"/>
                  <a:pt x="2148" y="92"/>
                  <a:pt x="2148" y="92"/>
                </a:cubicBezTo>
                <a:cubicBezTo>
                  <a:pt x="2149" y="93"/>
                  <a:pt x="2149" y="93"/>
                  <a:pt x="2149" y="93"/>
                </a:cubicBezTo>
                <a:cubicBezTo>
                  <a:pt x="2148" y="95"/>
                  <a:pt x="2148" y="95"/>
                  <a:pt x="2148" y="95"/>
                </a:cubicBezTo>
                <a:cubicBezTo>
                  <a:pt x="2147" y="95"/>
                  <a:pt x="2147" y="95"/>
                  <a:pt x="2147" y="95"/>
                </a:cubicBezTo>
                <a:cubicBezTo>
                  <a:pt x="2146" y="89"/>
                  <a:pt x="2146" y="89"/>
                  <a:pt x="2146" y="89"/>
                </a:cubicBezTo>
                <a:cubicBezTo>
                  <a:pt x="2147" y="87"/>
                  <a:pt x="2147" y="87"/>
                  <a:pt x="2147" y="87"/>
                </a:cubicBezTo>
                <a:cubicBezTo>
                  <a:pt x="2147" y="85"/>
                  <a:pt x="2147" y="85"/>
                  <a:pt x="2147" y="85"/>
                </a:cubicBezTo>
                <a:cubicBezTo>
                  <a:pt x="2144" y="82"/>
                  <a:pt x="2144" y="82"/>
                  <a:pt x="2144" y="82"/>
                </a:cubicBezTo>
                <a:cubicBezTo>
                  <a:pt x="2144" y="79"/>
                  <a:pt x="2144" y="79"/>
                  <a:pt x="2144" y="79"/>
                </a:cubicBezTo>
                <a:cubicBezTo>
                  <a:pt x="2142" y="77"/>
                  <a:pt x="2142" y="77"/>
                  <a:pt x="2142" y="77"/>
                </a:cubicBezTo>
                <a:cubicBezTo>
                  <a:pt x="2143" y="74"/>
                  <a:pt x="2143" y="74"/>
                  <a:pt x="2143" y="74"/>
                </a:cubicBezTo>
                <a:cubicBezTo>
                  <a:pt x="2145" y="72"/>
                  <a:pt x="2145" y="72"/>
                  <a:pt x="2145" y="72"/>
                </a:cubicBezTo>
                <a:cubicBezTo>
                  <a:pt x="2146" y="71"/>
                  <a:pt x="2146" y="71"/>
                  <a:pt x="2146" y="71"/>
                </a:cubicBezTo>
                <a:cubicBezTo>
                  <a:pt x="2145" y="69"/>
                  <a:pt x="2145" y="69"/>
                  <a:pt x="2145" y="69"/>
                </a:cubicBezTo>
                <a:cubicBezTo>
                  <a:pt x="2146" y="65"/>
                  <a:pt x="2146" y="65"/>
                  <a:pt x="2146" y="65"/>
                </a:cubicBezTo>
                <a:cubicBezTo>
                  <a:pt x="2143" y="65"/>
                  <a:pt x="2143" y="65"/>
                  <a:pt x="2143" y="65"/>
                </a:cubicBezTo>
                <a:cubicBezTo>
                  <a:pt x="2143" y="65"/>
                  <a:pt x="2143" y="65"/>
                  <a:pt x="2143" y="65"/>
                </a:cubicBezTo>
                <a:cubicBezTo>
                  <a:pt x="2141" y="64"/>
                  <a:pt x="2141" y="64"/>
                  <a:pt x="2141" y="64"/>
                </a:cubicBezTo>
                <a:cubicBezTo>
                  <a:pt x="2137" y="66"/>
                  <a:pt x="2137" y="66"/>
                  <a:pt x="2137" y="66"/>
                </a:cubicBezTo>
                <a:cubicBezTo>
                  <a:pt x="2131" y="67"/>
                  <a:pt x="2131" y="67"/>
                  <a:pt x="2131" y="67"/>
                </a:cubicBezTo>
                <a:cubicBezTo>
                  <a:pt x="2128" y="67"/>
                  <a:pt x="2128" y="67"/>
                  <a:pt x="2128" y="67"/>
                </a:cubicBezTo>
                <a:cubicBezTo>
                  <a:pt x="2124" y="62"/>
                  <a:pt x="2124" y="62"/>
                  <a:pt x="2124" y="62"/>
                </a:cubicBezTo>
                <a:cubicBezTo>
                  <a:pt x="2122" y="61"/>
                  <a:pt x="2122" y="61"/>
                  <a:pt x="2122" y="61"/>
                </a:cubicBezTo>
                <a:cubicBezTo>
                  <a:pt x="2121" y="59"/>
                  <a:pt x="2121" y="59"/>
                  <a:pt x="2121" y="59"/>
                </a:cubicBezTo>
                <a:cubicBezTo>
                  <a:pt x="2116" y="59"/>
                  <a:pt x="2116" y="59"/>
                  <a:pt x="2116" y="59"/>
                </a:cubicBezTo>
                <a:cubicBezTo>
                  <a:pt x="2113" y="57"/>
                  <a:pt x="2113" y="57"/>
                  <a:pt x="2113" y="57"/>
                </a:cubicBezTo>
                <a:cubicBezTo>
                  <a:pt x="2111" y="54"/>
                  <a:pt x="2111" y="54"/>
                  <a:pt x="2111" y="54"/>
                </a:cubicBezTo>
                <a:cubicBezTo>
                  <a:pt x="2104" y="54"/>
                  <a:pt x="2104" y="54"/>
                  <a:pt x="2104" y="54"/>
                </a:cubicBezTo>
                <a:cubicBezTo>
                  <a:pt x="2102" y="54"/>
                  <a:pt x="2102" y="54"/>
                  <a:pt x="2102" y="54"/>
                </a:cubicBezTo>
                <a:cubicBezTo>
                  <a:pt x="2099" y="55"/>
                  <a:pt x="2099" y="55"/>
                  <a:pt x="2099" y="55"/>
                </a:cubicBezTo>
                <a:cubicBezTo>
                  <a:pt x="2097" y="59"/>
                  <a:pt x="2097" y="59"/>
                  <a:pt x="2097" y="59"/>
                </a:cubicBezTo>
                <a:cubicBezTo>
                  <a:pt x="2097" y="61"/>
                  <a:pt x="2097" y="61"/>
                  <a:pt x="2097" y="61"/>
                </a:cubicBezTo>
                <a:cubicBezTo>
                  <a:pt x="2095" y="62"/>
                  <a:pt x="2095" y="62"/>
                  <a:pt x="2095" y="62"/>
                </a:cubicBezTo>
                <a:cubicBezTo>
                  <a:pt x="2094" y="61"/>
                  <a:pt x="2094" y="61"/>
                  <a:pt x="2094" y="61"/>
                </a:cubicBezTo>
                <a:cubicBezTo>
                  <a:pt x="2094" y="62"/>
                  <a:pt x="2094" y="62"/>
                  <a:pt x="2094" y="62"/>
                </a:cubicBezTo>
                <a:cubicBezTo>
                  <a:pt x="2095" y="64"/>
                  <a:pt x="2095" y="64"/>
                  <a:pt x="2095" y="64"/>
                </a:cubicBezTo>
                <a:cubicBezTo>
                  <a:pt x="2099" y="62"/>
                  <a:pt x="2099" y="62"/>
                  <a:pt x="2099" y="62"/>
                </a:cubicBezTo>
                <a:cubicBezTo>
                  <a:pt x="2102" y="63"/>
                  <a:pt x="2102" y="63"/>
                  <a:pt x="2102" y="63"/>
                </a:cubicBezTo>
                <a:cubicBezTo>
                  <a:pt x="2104" y="66"/>
                  <a:pt x="2104" y="66"/>
                  <a:pt x="2104" y="66"/>
                </a:cubicBezTo>
                <a:cubicBezTo>
                  <a:pt x="2102" y="70"/>
                  <a:pt x="2102" y="70"/>
                  <a:pt x="2102" y="70"/>
                </a:cubicBezTo>
                <a:cubicBezTo>
                  <a:pt x="2099" y="71"/>
                  <a:pt x="2099" y="71"/>
                  <a:pt x="2099" y="71"/>
                </a:cubicBezTo>
                <a:cubicBezTo>
                  <a:pt x="2095" y="69"/>
                  <a:pt x="2095" y="69"/>
                  <a:pt x="2095" y="69"/>
                </a:cubicBezTo>
                <a:cubicBezTo>
                  <a:pt x="2092" y="66"/>
                  <a:pt x="2092" y="66"/>
                  <a:pt x="2092" y="66"/>
                </a:cubicBezTo>
                <a:cubicBezTo>
                  <a:pt x="2090" y="66"/>
                  <a:pt x="2090" y="66"/>
                  <a:pt x="2090" y="66"/>
                </a:cubicBezTo>
                <a:cubicBezTo>
                  <a:pt x="2087" y="68"/>
                  <a:pt x="2087" y="68"/>
                  <a:pt x="2087" y="68"/>
                </a:cubicBezTo>
                <a:cubicBezTo>
                  <a:pt x="2086" y="69"/>
                  <a:pt x="2086" y="69"/>
                  <a:pt x="2086" y="69"/>
                </a:cubicBezTo>
                <a:cubicBezTo>
                  <a:pt x="2085" y="70"/>
                  <a:pt x="2085" y="70"/>
                  <a:pt x="2085" y="70"/>
                </a:cubicBezTo>
                <a:cubicBezTo>
                  <a:pt x="2088" y="74"/>
                  <a:pt x="2088" y="74"/>
                  <a:pt x="2088" y="74"/>
                </a:cubicBezTo>
                <a:cubicBezTo>
                  <a:pt x="2089" y="74"/>
                  <a:pt x="2089" y="74"/>
                  <a:pt x="2089" y="74"/>
                </a:cubicBezTo>
                <a:cubicBezTo>
                  <a:pt x="2090" y="77"/>
                  <a:pt x="2090" y="77"/>
                  <a:pt x="2090" y="77"/>
                </a:cubicBezTo>
                <a:cubicBezTo>
                  <a:pt x="2094" y="80"/>
                  <a:pt x="2094" y="80"/>
                  <a:pt x="2094" y="80"/>
                </a:cubicBezTo>
                <a:cubicBezTo>
                  <a:pt x="2097" y="80"/>
                  <a:pt x="2097" y="80"/>
                  <a:pt x="2097" y="80"/>
                </a:cubicBezTo>
                <a:cubicBezTo>
                  <a:pt x="2099" y="82"/>
                  <a:pt x="2099" y="82"/>
                  <a:pt x="2099" y="82"/>
                </a:cubicBezTo>
                <a:cubicBezTo>
                  <a:pt x="2104" y="82"/>
                  <a:pt x="2104" y="82"/>
                  <a:pt x="2104" y="82"/>
                </a:cubicBezTo>
                <a:cubicBezTo>
                  <a:pt x="2105" y="81"/>
                  <a:pt x="2105" y="81"/>
                  <a:pt x="2105" y="81"/>
                </a:cubicBezTo>
                <a:cubicBezTo>
                  <a:pt x="2106" y="81"/>
                  <a:pt x="2106" y="81"/>
                  <a:pt x="2106" y="81"/>
                </a:cubicBezTo>
                <a:cubicBezTo>
                  <a:pt x="2106" y="82"/>
                  <a:pt x="2106" y="82"/>
                  <a:pt x="2106" y="82"/>
                </a:cubicBezTo>
                <a:cubicBezTo>
                  <a:pt x="2110" y="82"/>
                  <a:pt x="2110" y="82"/>
                  <a:pt x="2110" y="82"/>
                </a:cubicBezTo>
                <a:cubicBezTo>
                  <a:pt x="2111" y="85"/>
                  <a:pt x="2111" y="85"/>
                  <a:pt x="2111" y="85"/>
                </a:cubicBezTo>
                <a:cubicBezTo>
                  <a:pt x="2112" y="86"/>
                  <a:pt x="2112" y="86"/>
                  <a:pt x="2112" y="86"/>
                </a:cubicBezTo>
                <a:cubicBezTo>
                  <a:pt x="2113" y="88"/>
                  <a:pt x="2113" y="88"/>
                  <a:pt x="2113" y="88"/>
                </a:cubicBezTo>
                <a:cubicBezTo>
                  <a:pt x="2117" y="88"/>
                  <a:pt x="2117" y="88"/>
                  <a:pt x="2117" y="88"/>
                </a:cubicBezTo>
                <a:cubicBezTo>
                  <a:pt x="2119" y="87"/>
                  <a:pt x="2119" y="87"/>
                  <a:pt x="2119" y="87"/>
                </a:cubicBezTo>
                <a:cubicBezTo>
                  <a:pt x="2117" y="89"/>
                  <a:pt x="2117" y="89"/>
                  <a:pt x="2117" y="89"/>
                </a:cubicBezTo>
                <a:cubicBezTo>
                  <a:pt x="2113" y="90"/>
                  <a:pt x="2113" y="90"/>
                  <a:pt x="2113" y="90"/>
                </a:cubicBezTo>
                <a:cubicBezTo>
                  <a:pt x="2110" y="88"/>
                  <a:pt x="2110" y="88"/>
                  <a:pt x="2110" y="88"/>
                </a:cubicBezTo>
                <a:cubicBezTo>
                  <a:pt x="2108" y="88"/>
                  <a:pt x="2108" y="88"/>
                  <a:pt x="2108" y="88"/>
                </a:cubicBezTo>
                <a:cubicBezTo>
                  <a:pt x="2106" y="85"/>
                  <a:pt x="2106" y="85"/>
                  <a:pt x="2106" y="85"/>
                </a:cubicBezTo>
                <a:cubicBezTo>
                  <a:pt x="2104" y="84"/>
                  <a:pt x="2104" y="84"/>
                  <a:pt x="2104" y="84"/>
                </a:cubicBezTo>
                <a:cubicBezTo>
                  <a:pt x="2102" y="85"/>
                  <a:pt x="2102" y="85"/>
                  <a:pt x="2102" y="85"/>
                </a:cubicBezTo>
                <a:cubicBezTo>
                  <a:pt x="2100" y="85"/>
                  <a:pt x="2100" y="85"/>
                  <a:pt x="2100" y="85"/>
                </a:cubicBezTo>
                <a:cubicBezTo>
                  <a:pt x="2098" y="88"/>
                  <a:pt x="2098" y="88"/>
                  <a:pt x="2098" y="88"/>
                </a:cubicBezTo>
                <a:cubicBezTo>
                  <a:pt x="2097" y="86"/>
                  <a:pt x="2097" y="86"/>
                  <a:pt x="2097" y="86"/>
                </a:cubicBezTo>
                <a:cubicBezTo>
                  <a:pt x="2095" y="85"/>
                  <a:pt x="2095" y="85"/>
                  <a:pt x="2095" y="85"/>
                </a:cubicBezTo>
                <a:cubicBezTo>
                  <a:pt x="2093" y="86"/>
                  <a:pt x="2093" y="86"/>
                  <a:pt x="2093" y="86"/>
                </a:cubicBezTo>
                <a:cubicBezTo>
                  <a:pt x="2090" y="86"/>
                  <a:pt x="2090" y="86"/>
                  <a:pt x="2090" y="86"/>
                </a:cubicBezTo>
                <a:cubicBezTo>
                  <a:pt x="2087" y="84"/>
                  <a:pt x="2087" y="84"/>
                  <a:pt x="2087" y="84"/>
                </a:cubicBezTo>
                <a:cubicBezTo>
                  <a:pt x="2085" y="84"/>
                  <a:pt x="2085" y="84"/>
                  <a:pt x="2085" y="84"/>
                </a:cubicBezTo>
                <a:cubicBezTo>
                  <a:pt x="2084" y="83"/>
                  <a:pt x="2084" y="83"/>
                  <a:pt x="2084" y="83"/>
                </a:cubicBezTo>
                <a:cubicBezTo>
                  <a:pt x="2085" y="82"/>
                  <a:pt x="2085" y="82"/>
                  <a:pt x="2085" y="82"/>
                </a:cubicBezTo>
                <a:cubicBezTo>
                  <a:pt x="2085" y="80"/>
                  <a:pt x="2085" y="80"/>
                  <a:pt x="2085" y="80"/>
                </a:cubicBezTo>
                <a:cubicBezTo>
                  <a:pt x="2084" y="79"/>
                  <a:pt x="2084" y="79"/>
                  <a:pt x="2084" y="79"/>
                </a:cubicBezTo>
                <a:cubicBezTo>
                  <a:pt x="2084" y="77"/>
                  <a:pt x="2084" y="77"/>
                  <a:pt x="2084" y="77"/>
                </a:cubicBezTo>
                <a:cubicBezTo>
                  <a:pt x="2081" y="74"/>
                  <a:pt x="2081" y="74"/>
                  <a:pt x="2081" y="74"/>
                </a:cubicBezTo>
                <a:cubicBezTo>
                  <a:pt x="2079" y="72"/>
                  <a:pt x="2079" y="72"/>
                  <a:pt x="2079" y="72"/>
                </a:cubicBezTo>
                <a:cubicBezTo>
                  <a:pt x="2080" y="70"/>
                  <a:pt x="2080" y="70"/>
                  <a:pt x="2080" y="70"/>
                </a:cubicBezTo>
                <a:cubicBezTo>
                  <a:pt x="2079" y="67"/>
                  <a:pt x="2079" y="67"/>
                  <a:pt x="2079" y="67"/>
                </a:cubicBezTo>
                <a:cubicBezTo>
                  <a:pt x="2079" y="62"/>
                  <a:pt x="2079" y="62"/>
                  <a:pt x="2079" y="62"/>
                </a:cubicBezTo>
                <a:cubicBezTo>
                  <a:pt x="2077" y="60"/>
                  <a:pt x="2077" y="60"/>
                  <a:pt x="2077" y="60"/>
                </a:cubicBezTo>
                <a:cubicBezTo>
                  <a:pt x="2076" y="57"/>
                  <a:pt x="2076" y="57"/>
                  <a:pt x="2076" y="57"/>
                </a:cubicBezTo>
                <a:cubicBezTo>
                  <a:pt x="2076" y="56"/>
                  <a:pt x="2076" y="56"/>
                  <a:pt x="2076" y="56"/>
                </a:cubicBezTo>
                <a:cubicBezTo>
                  <a:pt x="2074" y="56"/>
                  <a:pt x="2074" y="56"/>
                  <a:pt x="2074" y="56"/>
                </a:cubicBezTo>
                <a:cubicBezTo>
                  <a:pt x="2074" y="53"/>
                  <a:pt x="2074" y="53"/>
                  <a:pt x="2074" y="53"/>
                </a:cubicBezTo>
                <a:cubicBezTo>
                  <a:pt x="2071" y="51"/>
                  <a:pt x="2071" y="51"/>
                  <a:pt x="2071" y="51"/>
                </a:cubicBezTo>
                <a:cubicBezTo>
                  <a:pt x="2069" y="52"/>
                  <a:pt x="2069" y="52"/>
                  <a:pt x="2069" y="52"/>
                </a:cubicBezTo>
                <a:cubicBezTo>
                  <a:pt x="2074" y="60"/>
                  <a:pt x="2074" y="60"/>
                  <a:pt x="2074" y="60"/>
                </a:cubicBezTo>
                <a:cubicBezTo>
                  <a:pt x="2075" y="65"/>
                  <a:pt x="2075" y="65"/>
                  <a:pt x="2075" y="65"/>
                </a:cubicBezTo>
                <a:cubicBezTo>
                  <a:pt x="2074" y="70"/>
                  <a:pt x="2074" y="70"/>
                  <a:pt x="2074" y="70"/>
                </a:cubicBezTo>
                <a:cubicBezTo>
                  <a:pt x="2071" y="73"/>
                  <a:pt x="2071" y="73"/>
                  <a:pt x="2071" y="73"/>
                </a:cubicBezTo>
                <a:cubicBezTo>
                  <a:pt x="2069" y="76"/>
                  <a:pt x="2069" y="76"/>
                  <a:pt x="2069" y="76"/>
                </a:cubicBezTo>
                <a:cubicBezTo>
                  <a:pt x="2069" y="77"/>
                  <a:pt x="2069" y="77"/>
                  <a:pt x="2069" y="77"/>
                </a:cubicBezTo>
                <a:cubicBezTo>
                  <a:pt x="2070" y="78"/>
                  <a:pt x="2070" y="78"/>
                  <a:pt x="2070" y="78"/>
                </a:cubicBezTo>
                <a:cubicBezTo>
                  <a:pt x="2071" y="81"/>
                  <a:pt x="2071" y="81"/>
                  <a:pt x="2071" y="81"/>
                </a:cubicBezTo>
                <a:cubicBezTo>
                  <a:pt x="2069" y="85"/>
                  <a:pt x="2069" y="85"/>
                  <a:pt x="2069" y="85"/>
                </a:cubicBezTo>
                <a:cubicBezTo>
                  <a:pt x="2069" y="88"/>
                  <a:pt x="2069" y="88"/>
                  <a:pt x="2069" y="88"/>
                </a:cubicBezTo>
                <a:cubicBezTo>
                  <a:pt x="2073" y="90"/>
                  <a:pt x="2073" y="90"/>
                  <a:pt x="2073" y="90"/>
                </a:cubicBezTo>
                <a:cubicBezTo>
                  <a:pt x="2078" y="94"/>
                  <a:pt x="2078" y="94"/>
                  <a:pt x="2078" y="94"/>
                </a:cubicBezTo>
                <a:cubicBezTo>
                  <a:pt x="2079" y="97"/>
                  <a:pt x="2079" y="97"/>
                  <a:pt x="2079" y="97"/>
                </a:cubicBezTo>
                <a:cubicBezTo>
                  <a:pt x="2082" y="97"/>
                  <a:pt x="2082" y="97"/>
                  <a:pt x="2082" y="97"/>
                </a:cubicBezTo>
                <a:cubicBezTo>
                  <a:pt x="2084" y="99"/>
                  <a:pt x="2084" y="99"/>
                  <a:pt x="2084" y="99"/>
                </a:cubicBezTo>
                <a:cubicBezTo>
                  <a:pt x="2086" y="103"/>
                  <a:pt x="2086" y="103"/>
                  <a:pt x="2086" y="103"/>
                </a:cubicBezTo>
                <a:cubicBezTo>
                  <a:pt x="2085" y="110"/>
                  <a:pt x="2085" y="110"/>
                  <a:pt x="2085" y="110"/>
                </a:cubicBezTo>
                <a:cubicBezTo>
                  <a:pt x="2084" y="112"/>
                  <a:pt x="2084" y="112"/>
                  <a:pt x="2084" y="112"/>
                </a:cubicBezTo>
                <a:cubicBezTo>
                  <a:pt x="2087" y="116"/>
                  <a:pt x="2087" y="116"/>
                  <a:pt x="2087" y="116"/>
                </a:cubicBezTo>
                <a:cubicBezTo>
                  <a:pt x="2086" y="120"/>
                  <a:pt x="2086" y="120"/>
                  <a:pt x="2086" y="120"/>
                </a:cubicBezTo>
                <a:cubicBezTo>
                  <a:pt x="2088" y="123"/>
                  <a:pt x="2088" y="123"/>
                  <a:pt x="2088" y="123"/>
                </a:cubicBezTo>
                <a:cubicBezTo>
                  <a:pt x="2091" y="127"/>
                  <a:pt x="2091" y="127"/>
                  <a:pt x="2091" y="127"/>
                </a:cubicBezTo>
                <a:cubicBezTo>
                  <a:pt x="2092" y="129"/>
                  <a:pt x="2092" y="129"/>
                  <a:pt x="2092" y="129"/>
                </a:cubicBezTo>
                <a:cubicBezTo>
                  <a:pt x="2091" y="132"/>
                  <a:pt x="2091" y="132"/>
                  <a:pt x="2091" y="132"/>
                </a:cubicBezTo>
                <a:cubicBezTo>
                  <a:pt x="2092" y="133"/>
                  <a:pt x="2092" y="133"/>
                  <a:pt x="2092" y="133"/>
                </a:cubicBezTo>
                <a:cubicBezTo>
                  <a:pt x="2095" y="134"/>
                  <a:pt x="2095" y="134"/>
                  <a:pt x="2095" y="134"/>
                </a:cubicBezTo>
                <a:cubicBezTo>
                  <a:pt x="2098" y="132"/>
                  <a:pt x="2098" y="132"/>
                  <a:pt x="2098" y="132"/>
                </a:cubicBezTo>
                <a:cubicBezTo>
                  <a:pt x="2102" y="133"/>
                  <a:pt x="2102" y="133"/>
                  <a:pt x="2102" y="133"/>
                </a:cubicBezTo>
                <a:cubicBezTo>
                  <a:pt x="2103" y="132"/>
                  <a:pt x="2103" y="132"/>
                  <a:pt x="2103" y="132"/>
                </a:cubicBezTo>
                <a:cubicBezTo>
                  <a:pt x="2104" y="129"/>
                  <a:pt x="2104" y="129"/>
                  <a:pt x="2104" y="129"/>
                </a:cubicBezTo>
                <a:cubicBezTo>
                  <a:pt x="2106" y="127"/>
                  <a:pt x="2106" y="127"/>
                  <a:pt x="2106" y="127"/>
                </a:cubicBezTo>
                <a:cubicBezTo>
                  <a:pt x="2109" y="127"/>
                  <a:pt x="2109" y="127"/>
                  <a:pt x="2109" y="127"/>
                </a:cubicBezTo>
                <a:cubicBezTo>
                  <a:pt x="2111" y="127"/>
                  <a:pt x="2111" y="127"/>
                  <a:pt x="2111" y="127"/>
                </a:cubicBezTo>
                <a:cubicBezTo>
                  <a:pt x="2114" y="129"/>
                  <a:pt x="2114" y="129"/>
                  <a:pt x="2114" y="129"/>
                </a:cubicBezTo>
                <a:cubicBezTo>
                  <a:pt x="2116" y="128"/>
                  <a:pt x="2116" y="128"/>
                  <a:pt x="2116" y="128"/>
                </a:cubicBezTo>
                <a:cubicBezTo>
                  <a:pt x="2118" y="131"/>
                  <a:pt x="2118" y="131"/>
                  <a:pt x="2118" y="131"/>
                </a:cubicBezTo>
                <a:cubicBezTo>
                  <a:pt x="2123" y="133"/>
                  <a:pt x="2123" y="133"/>
                  <a:pt x="2123" y="133"/>
                </a:cubicBezTo>
                <a:cubicBezTo>
                  <a:pt x="2126" y="132"/>
                  <a:pt x="2126" y="132"/>
                  <a:pt x="2126" y="132"/>
                </a:cubicBezTo>
                <a:cubicBezTo>
                  <a:pt x="2128" y="135"/>
                  <a:pt x="2128" y="135"/>
                  <a:pt x="2128" y="135"/>
                </a:cubicBezTo>
                <a:cubicBezTo>
                  <a:pt x="2128" y="137"/>
                  <a:pt x="2128" y="137"/>
                  <a:pt x="2128" y="137"/>
                </a:cubicBezTo>
                <a:cubicBezTo>
                  <a:pt x="2131" y="139"/>
                  <a:pt x="2131" y="139"/>
                  <a:pt x="2131" y="139"/>
                </a:cubicBezTo>
                <a:cubicBezTo>
                  <a:pt x="2132" y="140"/>
                  <a:pt x="2132" y="140"/>
                  <a:pt x="2132" y="140"/>
                </a:cubicBezTo>
                <a:cubicBezTo>
                  <a:pt x="2133" y="141"/>
                  <a:pt x="2133" y="141"/>
                  <a:pt x="2133" y="141"/>
                </a:cubicBezTo>
                <a:cubicBezTo>
                  <a:pt x="2133" y="142"/>
                  <a:pt x="2133" y="142"/>
                  <a:pt x="2133" y="142"/>
                </a:cubicBezTo>
                <a:cubicBezTo>
                  <a:pt x="2135" y="144"/>
                  <a:pt x="2135" y="144"/>
                  <a:pt x="2135" y="144"/>
                </a:cubicBezTo>
                <a:cubicBezTo>
                  <a:pt x="2133" y="145"/>
                  <a:pt x="2133" y="145"/>
                  <a:pt x="2133" y="145"/>
                </a:cubicBezTo>
                <a:cubicBezTo>
                  <a:pt x="2131" y="146"/>
                  <a:pt x="2131" y="146"/>
                  <a:pt x="2131" y="146"/>
                </a:cubicBezTo>
                <a:cubicBezTo>
                  <a:pt x="2131" y="149"/>
                  <a:pt x="2131" y="149"/>
                  <a:pt x="2131" y="149"/>
                </a:cubicBezTo>
                <a:cubicBezTo>
                  <a:pt x="2132" y="152"/>
                  <a:pt x="2132" y="152"/>
                  <a:pt x="2132" y="152"/>
                </a:cubicBezTo>
                <a:cubicBezTo>
                  <a:pt x="2134" y="153"/>
                  <a:pt x="2134" y="153"/>
                  <a:pt x="2134" y="153"/>
                </a:cubicBezTo>
                <a:cubicBezTo>
                  <a:pt x="2133" y="154"/>
                  <a:pt x="2133" y="154"/>
                  <a:pt x="2133" y="154"/>
                </a:cubicBezTo>
                <a:cubicBezTo>
                  <a:pt x="2134" y="156"/>
                  <a:pt x="2134" y="156"/>
                  <a:pt x="2134" y="156"/>
                </a:cubicBezTo>
                <a:cubicBezTo>
                  <a:pt x="2136" y="156"/>
                  <a:pt x="2136" y="156"/>
                  <a:pt x="2136" y="156"/>
                </a:cubicBezTo>
                <a:cubicBezTo>
                  <a:pt x="2138" y="158"/>
                  <a:pt x="2138" y="158"/>
                  <a:pt x="2138" y="158"/>
                </a:cubicBezTo>
                <a:cubicBezTo>
                  <a:pt x="2141" y="158"/>
                  <a:pt x="2141" y="158"/>
                  <a:pt x="2141" y="158"/>
                </a:cubicBezTo>
                <a:cubicBezTo>
                  <a:pt x="2142" y="155"/>
                  <a:pt x="2142" y="155"/>
                  <a:pt x="2142" y="155"/>
                </a:cubicBezTo>
                <a:cubicBezTo>
                  <a:pt x="2143" y="157"/>
                  <a:pt x="2143" y="157"/>
                  <a:pt x="2143" y="157"/>
                </a:cubicBezTo>
                <a:cubicBezTo>
                  <a:pt x="2145" y="156"/>
                  <a:pt x="2145" y="156"/>
                  <a:pt x="2145" y="156"/>
                </a:cubicBezTo>
                <a:cubicBezTo>
                  <a:pt x="2146" y="157"/>
                  <a:pt x="2146" y="157"/>
                  <a:pt x="2146" y="157"/>
                </a:cubicBezTo>
                <a:cubicBezTo>
                  <a:pt x="2145" y="157"/>
                  <a:pt x="2145" y="157"/>
                  <a:pt x="2145" y="157"/>
                </a:cubicBezTo>
                <a:cubicBezTo>
                  <a:pt x="2144" y="159"/>
                  <a:pt x="2144" y="159"/>
                  <a:pt x="2144" y="159"/>
                </a:cubicBezTo>
                <a:cubicBezTo>
                  <a:pt x="2141" y="159"/>
                  <a:pt x="2141" y="159"/>
                  <a:pt x="2141" y="159"/>
                </a:cubicBezTo>
                <a:cubicBezTo>
                  <a:pt x="2140" y="159"/>
                  <a:pt x="2140" y="159"/>
                  <a:pt x="2140" y="159"/>
                </a:cubicBezTo>
                <a:cubicBezTo>
                  <a:pt x="2137" y="160"/>
                  <a:pt x="2137" y="160"/>
                  <a:pt x="2137" y="160"/>
                </a:cubicBezTo>
                <a:cubicBezTo>
                  <a:pt x="2134" y="158"/>
                  <a:pt x="2134" y="158"/>
                  <a:pt x="2134" y="158"/>
                </a:cubicBezTo>
                <a:cubicBezTo>
                  <a:pt x="2132" y="158"/>
                  <a:pt x="2132" y="158"/>
                  <a:pt x="2132" y="158"/>
                </a:cubicBezTo>
                <a:cubicBezTo>
                  <a:pt x="2130" y="156"/>
                  <a:pt x="2130" y="156"/>
                  <a:pt x="2130" y="156"/>
                </a:cubicBezTo>
                <a:cubicBezTo>
                  <a:pt x="2131" y="155"/>
                  <a:pt x="2131" y="155"/>
                  <a:pt x="2131" y="155"/>
                </a:cubicBezTo>
                <a:cubicBezTo>
                  <a:pt x="2131" y="152"/>
                  <a:pt x="2131" y="152"/>
                  <a:pt x="2131" y="152"/>
                </a:cubicBezTo>
                <a:cubicBezTo>
                  <a:pt x="2129" y="150"/>
                  <a:pt x="2129" y="150"/>
                  <a:pt x="2129" y="150"/>
                </a:cubicBezTo>
                <a:cubicBezTo>
                  <a:pt x="2128" y="148"/>
                  <a:pt x="2128" y="148"/>
                  <a:pt x="2128" y="148"/>
                </a:cubicBezTo>
                <a:cubicBezTo>
                  <a:pt x="2127" y="146"/>
                  <a:pt x="2127" y="146"/>
                  <a:pt x="2127" y="146"/>
                </a:cubicBezTo>
                <a:cubicBezTo>
                  <a:pt x="2127" y="144"/>
                  <a:pt x="2127" y="144"/>
                  <a:pt x="2127" y="144"/>
                </a:cubicBezTo>
                <a:cubicBezTo>
                  <a:pt x="2124" y="141"/>
                  <a:pt x="2124" y="141"/>
                  <a:pt x="2124" y="141"/>
                </a:cubicBezTo>
                <a:cubicBezTo>
                  <a:pt x="2124" y="141"/>
                  <a:pt x="2124" y="141"/>
                  <a:pt x="2124" y="141"/>
                </a:cubicBezTo>
                <a:cubicBezTo>
                  <a:pt x="2123" y="139"/>
                  <a:pt x="2123" y="139"/>
                  <a:pt x="2123" y="139"/>
                </a:cubicBezTo>
                <a:cubicBezTo>
                  <a:pt x="2119" y="138"/>
                  <a:pt x="2119" y="138"/>
                  <a:pt x="2119" y="138"/>
                </a:cubicBezTo>
                <a:cubicBezTo>
                  <a:pt x="2119" y="135"/>
                  <a:pt x="2119" y="135"/>
                  <a:pt x="2119" y="135"/>
                </a:cubicBezTo>
                <a:cubicBezTo>
                  <a:pt x="2116" y="132"/>
                  <a:pt x="2116" y="132"/>
                  <a:pt x="2116" y="132"/>
                </a:cubicBezTo>
                <a:cubicBezTo>
                  <a:pt x="2113" y="132"/>
                  <a:pt x="2113" y="132"/>
                  <a:pt x="2113" y="132"/>
                </a:cubicBezTo>
                <a:cubicBezTo>
                  <a:pt x="2109" y="136"/>
                  <a:pt x="2109" y="136"/>
                  <a:pt x="2109" y="136"/>
                </a:cubicBezTo>
                <a:cubicBezTo>
                  <a:pt x="2107" y="136"/>
                  <a:pt x="2107" y="136"/>
                  <a:pt x="2107" y="136"/>
                </a:cubicBezTo>
                <a:cubicBezTo>
                  <a:pt x="2105" y="139"/>
                  <a:pt x="2105" y="139"/>
                  <a:pt x="2105" y="139"/>
                </a:cubicBezTo>
                <a:cubicBezTo>
                  <a:pt x="2102" y="141"/>
                  <a:pt x="2102" y="141"/>
                  <a:pt x="2102" y="141"/>
                </a:cubicBezTo>
                <a:cubicBezTo>
                  <a:pt x="2102" y="147"/>
                  <a:pt x="2102" y="147"/>
                  <a:pt x="2102" y="147"/>
                </a:cubicBezTo>
                <a:cubicBezTo>
                  <a:pt x="2103" y="149"/>
                  <a:pt x="2103" y="149"/>
                  <a:pt x="2103" y="149"/>
                </a:cubicBezTo>
                <a:cubicBezTo>
                  <a:pt x="2108" y="151"/>
                  <a:pt x="2108" y="151"/>
                  <a:pt x="2108" y="151"/>
                </a:cubicBezTo>
                <a:cubicBezTo>
                  <a:pt x="2111" y="159"/>
                  <a:pt x="2111" y="159"/>
                  <a:pt x="2111" y="159"/>
                </a:cubicBezTo>
                <a:cubicBezTo>
                  <a:pt x="2110" y="160"/>
                  <a:pt x="2110" y="160"/>
                  <a:pt x="2110" y="160"/>
                </a:cubicBezTo>
                <a:cubicBezTo>
                  <a:pt x="2107" y="166"/>
                  <a:pt x="2107" y="166"/>
                  <a:pt x="2107" y="166"/>
                </a:cubicBezTo>
                <a:cubicBezTo>
                  <a:pt x="2107" y="169"/>
                  <a:pt x="2107" y="169"/>
                  <a:pt x="2107" y="169"/>
                </a:cubicBezTo>
                <a:cubicBezTo>
                  <a:pt x="2108" y="172"/>
                  <a:pt x="2108" y="172"/>
                  <a:pt x="2108" y="172"/>
                </a:cubicBezTo>
                <a:cubicBezTo>
                  <a:pt x="2107" y="177"/>
                  <a:pt x="2107" y="177"/>
                  <a:pt x="2107" y="177"/>
                </a:cubicBezTo>
                <a:cubicBezTo>
                  <a:pt x="2106" y="179"/>
                  <a:pt x="2106" y="179"/>
                  <a:pt x="2106" y="179"/>
                </a:cubicBezTo>
                <a:cubicBezTo>
                  <a:pt x="2104" y="182"/>
                  <a:pt x="2104" y="182"/>
                  <a:pt x="2104" y="182"/>
                </a:cubicBezTo>
                <a:cubicBezTo>
                  <a:pt x="2103" y="183"/>
                  <a:pt x="2103" y="183"/>
                  <a:pt x="2103" y="183"/>
                </a:cubicBezTo>
                <a:cubicBezTo>
                  <a:pt x="2102" y="184"/>
                  <a:pt x="2102" y="184"/>
                  <a:pt x="2102" y="184"/>
                </a:cubicBezTo>
                <a:cubicBezTo>
                  <a:pt x="2100" y="186"/>
                  <a:pt x="2100" y="186"/>
                  <a:pt x="2100" y="186"/>
                </a:cubicBezTo>
                <a:cubicBezTo>
                  <a:pt x="2100" y="188"/>
                  <a:pt x="2100" y="188"/>
                  <a:pt x="2100" y="188"/>
                </a:cubicBezTo>
                <a:cubicBezTo>
                  <a:pt x="2101" y="190"/>
                  <a:pt x="2101" y="190"/>
                  <a:pt x="2101" y="190"/>
                </a:cubicBezTo>
                <a:cubicBezTo>
                  <a:pt x="2102" y="192"/>
                  <a:pt x="2102" y="192"/>
                  <a:pt x="2102" y="192"/>
                </a:cubicBezTo>
                <a:cubicBezTo>
                  <a:pt x="2099" y="194"/>
                  <a:pt x="2099" y="194"/>
                  <a:pt x="2099" y="194"/>
                </a:cubicBezTo>
                <a:cubicBezTo>
                  <a:pt x="2095" y="193"/>
                  <a:pt x="2095" y="193"/>
                  <a:pt x="2095" y="193"/>
                </a:cubicBezTo>
                <a:cubicBezTo>
                  <a:pt x="2094" y="192"/>
                  <a:pt x="2094" y="192"/>
                  <a:pt x="2094" y="192"/>
                </a:cubicBezTo>
                <a:cubicBezTo>
                  <a:pt x="2090" y="192"/>
                  <a:pt x="2090" y="192"/>
                  <a:pt x="2090" y="192"/>
                </a:cubicBezTo>
                <a:cubicBezTo>
                  <a:pt x="2087" y="192"/>
                  <a:pt x="2087" y="192"/>
                  <a:pt x="2087" y="192"/>
                </a:cubicBezTo>
                <a:cubicBezTo>
                  <a:pt x="2083" y="191"/>
                  <a:pt x="2083" y="191"/>
                  <a:pt x="2083" y="191"/>
                </a:cubicBezTo>
                <a:cubicBezTo>
                  <a:pt x="2076" y="190"/>
                  <a:pt x="2076" y="190"/>
                  <a:pt x="2076" y="190"/>
                </a:cubicBezTo>
                <a:cubicBezTo>
                  <a:pt x="2073" y="188"/>
                  <a:pt x="2073" y="188"/>
                  <a:pt x="2073" y="188"/>
                </a:cubicBezTo>
                <a:cubicBezTo>
                  <a:pt x="2072" y="186"/>
                  <a:pt x="2072" y="186"/>
                  <a:pt x="2072" y="186"/>
                </a:cubicBezTo>
                <a:cubicBezTo>
                  <a:pt x="2069" y="186"/>
                  <a:pt x="2069" y="186"/>
                  <a:pt x="2069" y="186"/>
                </a:cubicBezTo>
                <a:cubicBezTo>
                  <a:pt x="2068" y="188"/>
                  <a:pt x="2068" y="188"/>
                  <a:pt x="2068" y="188"/>
                </a:cubicBezTo>
                <a:cubicBezTo>
                  <a:pt x="2067" y="187"/>
                  <a:pt x="2067" y="187"/>
                  <a:pt x="2067" y="187"/>
                </a:cubicBezTo>
                <a:cubicBezTo>
                  <a:pt x="2066" y="187"/>
                  <a:pt x="2066" y="187"/>
                  <a:pt x="2066" y="187"/>
                </a:cubicBezTo>
                <a:cubicBezTo>
                  <a:pt x="2067" y="185"/>
                  <a:pt x="2067" y="185"/>
                  <a:pt x="2067" y="185"/>
                </a:cubicBezTo>
                <a:cubicBezTo>
                  <a:pt x="2070" y="184"/>
                  <a:pt x="2070" y="184"/>
                  <a:pt x="2070" y="184"/>
                </a:cubicBezTo>
                <a:cubicBezTo>
                  <a:pt x="2076" y="184"/>
                  <a:pt x="2076" y="184"/>
                  <a:pt x="2076" y="184"/>
                </a:cubicBezTo>
                <a:cubicBezTo>
                  <a:pt x="2077" y="182"/>
                  <a:pt x="2077" y="182"/>
                  <a:pt x="2077" y="182"/>
                </a:cubicBezTo>
                <a:cubicBezTo>
                  <a:pt x="2082" y="185"/>
                  <a:pt x="2082" y="185"/>
                  <a:pt x="2082" y="185"/>
                </a:cubicBezTo>
                <a:cubicBezTo>
                  <a:pt x="2083" y="185"/>
                  <a:pt x="2083" y="185"/>
                  <a:pt x="2083" y="185"/>
                </a:cubicBezTo>
                <a:cubicBezTo>
                  <a:pt x="2084" y="183"/>
                  <a:pt x="2084" y="183"/>
                  <a:pt x="2084" y="183"/>
                </a:cubicBezTo>
                <a:cubicBezTo>
                  <a:pt x="2086" y="183"/>
                  <a:pt x="2086" y="183"/>
                  <a:pt x="2086" y="183"/>
                </a:cubicBezTo>
                <a:cubicBezTo>
                  <a:pt x="2086" y="185"/>
                  <a:pt x="2086" y="185"/>
                  <a:pt x="2086" y="185"/>
                </a:cubicBezTo>
                <a:cubicBezTo>
                  <a:pt x="2083" y="187"/>
                  <a:pt x="2083" y="187"/>
                  <a:pt x="2083" y="187"/>
                </a:cubicBezTo>
                <a:cubicBezTo>
                  <a:pt x="2085" y="188"/>
                  <a:pt x="2085" y="188"/>
                  <a:pt x="2085" y="188"/>
                </a:cubicBezTo>
                <a:cubicBezTo>
                  <a:pt x="2088" y="188"/>
                  <a:pt x="2088" y="188"/>
                  <a:pt x="2088" y="188"/>
                </a:cubicBezTo>
                <a:cubicBezTo>
                  <a:pt x="2090" y="186"/>
                  <a:pt x="2090" y="186"/>
                  <a:pt x="2090" y="186"/>
                </a:cubicBezTo>
                <a:cubicBezTo>
                  <a:pt x="2092" y="185"/>
                  <a:pt x="2092" y="185"/>
                  <a:pt x="2092" y="185"/>
                </a:cubicBezTo>
                <a:cubicBezTo>
                  <a:pt x="2092" y="183"/>
                  <a:pt x="2092" y="183"/>
                  <a:pt x="2092" y="183"/>
                </a:cubicBezTo>
                <a:cubicBezTo>
                  <a:pt x="2090" y="181"/>
                  <a:pt x="2090" y="181"/>
                  <a:pt x="2090" y="181"/>
                </a:cubicBezTo>
                <a:cubicBezTo>
                  <a:pt x="2090" y="180"/>
                  <a:pt x="2090" y="180"/>
                  <a:pt x="2090" y="180"/>
                </a:cubicBezTo>
                <a:cubicBezTo>
                  <a:pt x="2092" y="181"/>
                  <a:pt x="2092" y="181"/>
                  <a:pt x="2092" y="181"/>
                </a:cubicBezTo>
                <a:cubicBezTo>
                  <a:pt x="2093" y="180"/>
                  <a:pt x="2093" y="180"/>
                  <a:pt x="2093" y="180"/>
                </a:cubicBezTo>
                <a:cubicBezTo>
                  <a:pt x="2093" y="176"/>
                  <a:pt x="2093" y="176"/>
                  <a:pt x="2093" y="176"/>
                </a:cubicBezTo>
                <a:cubicBezTo>
                  <a:pt x="2096" y="174"/>
                  <a:pt x="2096" y="174"/>
                  <a:pt x="2096" y="174"/>
                </a:cubicBezTo>
                <a:cubicBezTo>
                  <a:pt x="2095" y="173"/>
                  <a:pt x="2095" y="173"/>
                  <a:pt x="2095" y="173"/>
                </a:cubicBezTo>
                <a:cubicBezTo>
                  <a:pt x="2094" y="173"/>
                  <a:pt x="2094" y="173"/>
                  <a:pt x="2094" y="173"/>
                </a:cubicBezTo>
                <a:cubicBezTo>
                  <a:pt x="2093" y="173"/>
                  <a:pt x="2093" y="173"/>
                  <a:pt x="2093" y="173"/>
                </a:cubicBezTo>
                <a:cubicBezTo>
                  <a:pt x="2096" y="171"/>
                  <a:pt x="2096" y="171"/>
                  <a:pt x="2096" y="171"/>
                </a:cubicBezTo>
                <a:cubicBezTo>
                  <a:pt x="2096" y="167"/>
                  <a:pt x="2096" y="167"/>
                  <a:pt x="2096" y="167"/>
                </a:cubicBezTo>
                <a:cubicBezTo>
                  <a:pt x="2095" y="166"/>
                  <a:pt x="2095" y="166"/>
                  <a:pt x="2095" y="166"/>
                </a:cubicBezTo>
                <a:cubicBezTo>
                  <a:pt x="2096" y="164"/>
                  <a:pt x="2096" y="164"/>
                  <a:pt x="2096" y="164"/>
                </a:cubicBezTo>
                <a:cubicBezTo>
                  <a:pt x="2096" y="163"/>
                  <a:pt x="2096" y="163"/>
                  <a:pt x="2096" y="163"/>
                </a:cubicBezTo>
                <a:cubicBezTo>
                  <a:pt x="2098" y="162"/>
                  <a:pt x="2098" y="162"/>
                  <a:pt x="2098" y="162"/>
                </a:cubicBezTo>
                <a:cubicBezTo>
                  <a:pt x="2098" y="158"/>
                  <a:pt x="2098" y="158"/>
                  <a:pt x="2098" y="158"/>
                </a:cubicBezTo>
                <a:cubicBezTo>
                  <a:pt x="2095" y="156"/>
                  <a:pt x="2095" y="156"/>
                  <a:pt x="2095" y="156"/>
                </a:cubicBezTo>
                <a:cubicBezTo>
                  <a:pt x="2094" y="152"/>
                  <a:pt x="2094" y="152"/>
                  <a:pt x="2094" y="152"/>
                </a:cubicBezTo>
                <a:cubicBezTo>
                  <a:pt x="2095" y="150"/>
                  <a:pt x="2095" y="150"/>
                  <a:pt x="2095" y="150"/>
                </a:cubicBezTo>
                <a:cubicBezTo>
                  <a:pt x="2095" y="147"/>
                  <a:pt x="2095" y="147"/>
                  <a:pt x="2095" y="147"/>
                </a:cubicBezTo>
                <a:cubicBezTo>
                  <a:pt x="2096" y="148"/>
                  <a:pt x="2096" y="148"/>
                  <a:pt x="2096" y="148"/>
                </a:cubicBezTo>
                <a:cubicBezTo>
                  <a:pt x="2096" y="146"/>
                  <a:pt x="2096" y="146"/>
                  <a:pt x="2096" y="146"/>
                </a:cubicBezTo>
                <a:cubicBezTo>
                  <a:pt x="2093" y="143"/>
                  <a:pt x="2093" y="143"/>
                  <a:pt x="2093" y="143"/>
                </a:cubicBezTo>
                <a:cubicBezTo>
                  <a:pt x="2091" y="143"/>
                  <a:pt x="2091" y="143"/>
                  <a:pt x="2091" y="143"/>
                </a:cubicBezTo>
                <a:cubicBezTo>
                  <a:pt x="2090" y="141"/>
                  <a:pt x="2090" y="141"/>
                  <a:pt x="2090" y="141"/>
                </a:cubicBezTo>
                <a:cubicBezTo>
                  <a:pt x="2087" y="140"/>
                  <a:pt x="2087" y="140"/>
                  <a:pt x="2087" y="140"/>
                </a:cubicBezTo>
                <a:cubicBezTo>
                  <a:pt x="2083" y="135"/>
                  <a:pt x="2083" y="135"/>
                  <a:pt x="2083" y="135"/>
                </a:cubicBezTo>
                <a:cubicBezTo>
                  <a:pt x="2082" y="131"/>
                  <a:pt x="2082" y="131"/>
                  <a:pt x="2082" y="131"/>
                </a:cubicBezTo>
                <a:cubicBezTo>
                  <a:pt x="2081" y="130"/>
                  <a:pt x="2081" y="130"/>
                  <a:pt x="2081" y="130"/>
                </a:cubicBezTo>
                <a:cubicBezTo>
                  <a:pt x="2082" y="128"/>
                  <a:pt x="2082" y="128"/>
                  <a:pt x="2082" y="128"/>
                </a:cubicBezTo>
                <a:cubicBezTo>
                  <a:pt x="2079" y="126"/>
                  <a:pt x="2079" y="126"/>
                  <a:pt x="2079" y="126"/>
                </a:cubicBezTo>
                <a:cubicBezTo>
                  <a:pt x="2078" y="124"/>
                  <a:pt x="2078" y="124"/>
                  <a:pt x="2078" y="124"/>
                </a:cubicBezTo>
                <a:cubicBezTo>
                  <a:pt x="2079" y="122"/>
                  <a:pt x="2079" y="122"/>
                  <a:pt x="2079" y="122"/>
                </a:cubicBezTo>
                <a:cubicBezTo>
                  <a:pt x="2076" y="117"/>
                  <a:pt x="2076" y="117"/>
                  <a:pt x="2076" y="117"/>
                </a:cubicBezTo>
                <a:cubicBezTo>
                  <a:pt x="2076" y="114"/>
                  <a:pt x="2076" y="114"/>
                  <a:pt x="2076" y="114"/>
                </a:cubicBezTo>
                <a:cubicBezTo>
                  <a:pt x="2074" y="112"/>
                  <a:pt x="2074" y="112"/>
                  <a:pt x="2074" y="112"/>
                </a:cubicBezTo>
                <a:cubicBezTo>
                  <a:pt x="2074" y="110"/>
                  <a:pt x="2074" y="110"/>
                  <a:pt x="2074" y="110"/>
                </a:cubicBezTo>
                <a:cubicBezTo>
                  <a:pt x="2074" y="109"/>
                  <a:pt x="2074" y="109"/>
                  <a:pt x="2074" y="109"/>
                </a:cubicBezTo>
                <a:cubicBezTo>
                  <a:pt x="2073" y="107"/>
                  <a:pt x="2073" y="107"/>
                  <a:pt x="2073" y="107"/>
                </a:cubicBezTo>
                <a:cubicBezTo>
                  <a:pt x="2072" y="101"/>
                  <a:pt x="2072" y="101"/>
                  <a:pt x="2072" y="101"/>
                </a:cubicBezTo>
                <a:cubicBezTo>
                  <a:pt x="2071" y="99"/>
                  <a:pt x="2071" y="99"/>
                  <a:pt x="2071" y="99"/>
                </a:cubicBezTo>
                <a:cubicBezTo>
                  <a:pt x="2068" y="97"/>
                  <a:pt x="2068" y="97"/>
                  <a:pt x="2068" y="97"/>
                </a:cubicBezTo>
                <a:cubicBezTo>
                  <a:pt x="2067" y="93"/>
                  <a:pt x="2067" y="93"/>
                  <a:pt x="2067" y="93"/>
                </a:cubicBezTo>
                <a:cubicBezTo>
                  <a:pt x="2066" y="92"/>
                  <a:pt x="2066" y="92"/>
                  <a:pt x="2066" y="92"/>
                </a:cubicBezTo>
                <a:cubicBezTo>
                  <a:pt x="2065" y="93"/>
                  <a:pt x="2065" y="93"/>
                  <a:pt x="2065" y="93"/>
                </a:cubicBezTo>
                <a:cubicBezTo>
                  <a:pt x="2065" y="92"/>
                  <a:pt x="2065" y="92"/>
                  <a:pt x="2065" y="92"/>
                </a:cubicBezTo>
                <a:cubicBezTo>
                  <a:pt x="2062" y="92"/>
                  <a:pt x="2062" y="92"/>
                  <a:pt x="2062" y="92"/>
                </a:cubicBezTo>
                <a:cubicBezTo>
                  <a:pt x="2061" y="89"/>
                  <a:pt x="2061" y="89"/>
                  <a:pt x="2061" y="89"/>
                </a:cubicBezTo>
                <a:cubicBezTo>
                  <a:pt x="2059" y="87"/>
                  <a:pt x="2059" y="87"/>
                  <a:pt x="2059" y="87"/>
                </a:cubicBezTo>
                <a:cubicBezTo>
                  <a:pt x="2058" y="85"/>
                  <a:pt x="2058" y="85"/>
                  <a:pt x="2058" y="85"/>
                </a:cubicBezTo>
                <a:cubicBezTo>
                  <a:pt x="2059" y="84"/>
                  <a:pt x="2059" y="84"/>
                  <a:pt x="2059" y="84"/>
                </a:cubicBezTo>
                <a:cubicBezTo>
                  <a:pt x="2060" y="82"/>
                  <a:pt x="2060" y="82"/>
                  <a:pt x="2060" y="82"/>
                </a:cubicBezTo>
                <a:cubicBezTo>
                  <a:pt x="2059" y="80"/>
                  <a:pt x="2059" y="80"/>
                  <a:pt x="2059" y="80"/>
                </a:cubicBezTo>
                <a:cubicBezTo>
                  <a:pt x="2059" y="79"/>
                  <a:pt x="2059" y="79"/>
                  <a:pt x="2059" y="79"/>
                </a:cubicBezTo>
                <a:cubicBezTo>
                  <a:pt x="2058" y="77"/>
                  <a:pt x="2058" y="77"/>
                  <a:pt x="2058" y="77"/>
                </a:cubicBezTo>
                <a:cubicBezTo>
                  <a:pt x="2059" y="72"/>
                  <a:pt x="2059" y="72"/>
                  <a:pt x="2059" y="72"/>
                </a:cubicBezTo>
                <a:cubicBezTo>
                  <a:pt x="2058" y="69"/>
                  <a:pt x="2058" y="69"/>
                  <a:pt x="2058" y="69"/>
                </a:cubicBezTo>
                <a:cubicBezTo>
                  <a:pt x="2058" y="65"/>
                  <a:pt x="2058" y="65"/>
                  <a:pt x="2058" y="65"/>
                </a:cubicBezTo>
                <a:cubicBezTo>
                  <a:pt x="2057" y="64"/>
                  <a:pt x="2057" y="64"/>
                  <a:pt x="2057" y="64"/>
                </a:cubicBezTo>
                <a:cubicBezTo>
                  <a:pt x="2057" y="62"/>
                  <a:pt x="2057" y="62"/>
                  <a:pt x="2057" y="62"/>
                </a:cubicBezTo>
                <a:cubicBezTo>
                  <a:pt x="2055" y="59"/>
                  <a:pt x="2055" y="59"/>
                  <a:pt x="2055" y="59"/>
                </a:cubicBezTo>
                <a:cubicBezTo>
                  <a:pt x="2057" y="59"/>
                  <a:pt x="2057" y="59"/>
                  <a:pt x="2057" y="59"/>
                </a:cubicBezTo>
                <a:cubicBezTo>
                  <a:pt x="2056" y="57"/>
                  <a:pt x="2056" y="57"/>
                  <a:pt x="2056" y="57"/>
                </a:cubicBezTo>
                <a:cubicBezTo>
                  <a:pt x="2054" y="56"/>
                  <a:pt x="2054" y="56"/>
                  <a:pt x="2054" y="56"/>
                </a:cubicBezTo>
                <a:cubicBezTo>
                  <a:pt x="2051" y="56"/>
                  <a:pt x="2051" y="56"/>
                  <a:pt x="2051" y="56"/>
                </a:cubicBezTo>
                <a:cubicBezTo>
                  <a:pt x="2045" y="54"/>
                  <a:pt x="2045" y="54"/>
                  <a:pt x="2045" y="54"/>
                </a:cubicBezTo>
                <a:cubicBezTo>
                  <a:pt x="2043" y="54"/>
                  <a:pt x="2043" y="54"/>
                  <a:pt x="2043" y="54"/>
                </a:cubicBezTo>
                <a:cubicBezTo>
                  <a:pt x="2042" y="55"/>
                  <a:pt x="2042" y="55"/>
                  <a:pt x="2042" y="55"/>
                </a:cubicBezTo>
                <a:cubicBezTo>
                  <a:pt x="2040" y="54"/>
                  <a:pt x="2040" y="54"/>
                  <a:pt x="2040" y="54"/>
                </a:cubicBezTo>
                <a:cubicBezTo>
                  <a:pt x="2038" y="54"/>
                  <a:pt x="2038" y="54"/>
                  <a:pt x="2038" y="54"/>
                </a:cubicBezTo>
                <a:cubicBezTo>
                  <a:pt x="2036" y="55"/>
                  <a:pt x="2036" y="55"/>
                  <a:pt x="2036" y="55"/>
                </a:cubicBezTo>
                <a:cubicBezTo>
                  <a:pt x="2033" y="55"/>
                  <a:pt x="2033" y="55"/>
                  <a:pt x="2033" y="55"/>
                </a:cubicBezTo>
                <a:cubicBezTo>
                  <a:pt x="2031" y="56"/>
                  <a:pt x="2031" y="56"/>
                  <a:pt x="2031" y="56"/>
                </a:cubicBezTo>
                <a:cubicBezTo>
                  <a:pt x="2030" y="55"/>
                  <a:pt x="2030" y="55"/>
                  <a:pt x="2030" y="55"/>
                </a:cubicBezTo>
                <a:cubicBezTo>
                  <a:pt x="2031" y="54"/>
                  <a:pt x="2031" y="54"/>
                  <a:pt x="2031" y="54"/>
                </a:cubicBezTo>
                <a:cubicBezTo>
                  <a:pt x="2029" y="54"/>
                  <a:pt x="2029" y="54"/>
                  <a:pt x="2029" y="54"/>
                </a:cubicBezTo>
                <a:cubicBezTo>
                  <a:pt x="2027" y="54"/>
                  <a:pt x="2027" y="54"/>
                  <a:pt x="2027" y="54"/>
                </a:cubicBezTo>
                <a:cubicBezTo>
                  <a:pt x="2028" y="58"/>
                  <a:pt x="2028" y="58"/>
                  <a:pt x="2028" y="58"/>
                </a:cubicBezTo>
                <a:cubicBezTo>
                  <a:pt x="2027" y="62"/>
                  <a:pt x="2027" y="62"/>
                  <a:pt x="2027" y="62"/>
                </a:cubicBezTo>
                <a:cubicBezTo>
                  <a:pt x="2029" y="64"/>
                  <a:pt x="2029" y="64"/>
                  <a:pt x="2029" y="64"/>
                </a:cubicBezTo>
                <a:cubicBezTo>
                  <a:pt x="2028" y="65"/>
                  <a:pt x="2028" y="65"/>
                  <a:pt x="2028" y="65"/>
                </a:cubicBezTo>
                <a:cubicBezTo>
                  <a:pt x="2027" y="69"/>
                  <a:pt x="2027" y="69"/>
                  <a:pt x="2027" y="69"/>
                </a:cubicBezTo>
                <a:cubicBezTo>
                  <a:pt x="2028" y="70"/>
                  <a:pt x="2028" y="70"/>
                  <a:pt x="2028" y="70"/>
                </a:cubicBezTo>
                <a:cubicBezTo>
                  <a:pt x="2028" y="72"/>
                  <a:pt x="2028" y="72"/>
                  <a:pt x="2028" y="72"/>
                </a:cubicBezTo>
                <a:cubicBezTo>
                  <a:pt x="2029" y="74"/>
                  <a:pt x="2029" y="74"/>
                  <a:pt x="2029" y="74"/>
                </a:cubicBezTo>
                <a:cubicBezTo>
                  <a:pt x="2028" y="75"/>
                  <a:pt x="2028" y="75"/>
                  <a:pt x="2028" y="75"/>
                </a:cubicBezTo>
                <a:cubicBezTo>
                  <a:pt x="2028" y="78"/>
                  <a:pt x="2028" y="78"/>
                  <a:pt x="2028" y="78"/>
                </a:cubicBezTo>
                <a:cubicBezTo>
                  <a:pt x="2030" y="81"/>
                  <a:pt x="2030" y="81"/>
                  <a:pt x="2030" y="81"/>
                </a:cubicBezTo>
                <a:cubicBezTo>
                  <a:pt x="2029" y="83"/>
                  <a:pt x="2029" y="83"/>
                  <a:pt x="2029" y="83"/>
                </a:cubicBezTo>
                <a:cubicBezTo>
                  <a:pt x="2029" y="85"/>
                  <a:pt x="2029" y="85"/>
                  <a:pt x="2029" y="85"/>
                </a:cubicBezTo>
                <a:cubicBezTo>
                  <a:pt x="2030" y="88"/>
                  <a:pt x="2030" y="88"/>
                  <a:pt x="2030" y="88"/>
                </a:cubicBezTo>
                <a:cubicBezTo>
                  <a:pt x="2029" y="89"/>
                  <a:pt x="2029" y="89"/>
                  <a:pt x="2029" y="89"/>
                </a:cubicBezTo>
                <a:cubicBezTo>
                  <a:pt x="2027" y="90"/>
                  <a:pt x="2027" y="90"/>
                  <a:pt x="2027" y="90"/>
                </a:cubicBezTo>
                <a:cubicBezTo>
                  <a:pt x="2023" y="96"/>
                  <a:pt x="2023" y="96"/>
                  <a:pt x="2023" y="96"/>
                </a:cubicBezTo>
                <a:cubicBezTo>
                  <a:pt x="2022" y="97"/>
                  <a:pt x="2022" y="97"/>
                  <a:pt x="2022" y="97"/>
                </a:cubicBezTo>
                <a:cubicBezTo>
                  <a:pt x="2022" y="99"/>
                  <a:pt x="2022" y="99"/>
                  <a:pt x="2022" y="99"/>
                </a:cubicBezTo>
                <a:cubicBezTo>
                  <a:pt x="2024" y="101"/>
                  <a:pt x="2024" y="101"/>
                  <a:pt x="2024" y="101"/>
                </a:cubicBezTo>
                <a:cubicBezTo>
                  <a:pt x="2023" y="102"/>
                  <a:pt x="2023" y="102"/>
                  <a:pt x="2023" y="102"/>
                </a:cubicBezTo>
                <a:cubicBezTo>
                  <a:pt x="2022" y="106"/>
                  <a:pt x="2022" y="106"/>
                  <a:pt x="2022" y="106"/>
                </a:cubicBezTo>
                <a:cubicBezTo>
                  <a:pt x="2025" y="108"/>
                  <a:pt x="2025" y="108"/>
                  <a:pt x="2025" y="108"/>
                </a:cubicBezTo>
                <a:cubicBezTo>
                  <a:pt x="2026" y="107"/>
                  <a:pt x="2026" y="107"/>
                  <a:pt x="2026" y="107"/>
                </a:cubicBezTo>
                <a:cubicBezTo>
                  <a:pt x="2027" y="108"/>
                  <a:pt x="2027" y="108"/>
                  <a:pt x="2027" y="108"/>
                </a:cubicBezTo>
                <a:cubicBezTo>
                  <a:pt x="2029" y="112"/>
                  <a:pt x="2029" y="112"/>
                  <a:pt x="2029" y="112"/>
                </a:cubicBezTo>
                <a:cubicBezTo>
                  <a:pt x="2031" y="112"/>
                  <a:pt x="2031" y="112"/>
                  <a:pt x="2031" y="112"/>
                </a:cubicBezTo>
                <a:cubicBezTo>
                  <a:pt x="2033" y="114"/>
                  <a:pt x="2033" y="114"/>
                  <a:pt x="2033" y="114"/>
                </a:cubicBezTo>
                <a:cubicBezTo>
                  <a:pt x="2032" y="114"/>
                  <a:pt x="2032" y="114"/>
                  <a:pt x="2032" y="114"/>
                </a:cubicBezTo>
                <a:cubicBezTo>
                  <a:pt x="2030" y="115"/>
                  <a:pt x="2030" y="115"/>
                  <a:pt x="2030" y="115"/>
                </a:cubicBezTo>
                <a:cubicBezTo>
                  <a:pt x="2030" y="118"/>
                  <a:pt x="2030" y="118"/>
                  <a:pt x="2030" y="118"/>
                </a:cubicBezTo>
                <a:cubicBezTo>
                  <a:pt x="2033" y="120"/>
                  <a:pt x="2033" y="120"/>
                  <a:pt x="2033" y="120"/>
                </a:cubicBezTo>
                <a:cubicBezTo>
                  <a:pt x="2033" y="122"/>
                  <a:pt x="2033" y="122"/>
                  <a:pt x="2033" y="122"/>
                </a:cubicBezTo>
                <a:cubicBezTo>
                  <a:pt x="2032" y="124"/>
                  <a:pt x="2032" y="124"/>
                  <a:pt x="2032" y="124"/>
                </a:cubicBezTo>
                <a:cubicBezTo>
                  <a:pt x="2030" y="123"/>
                  <a:pt x="2030" y="123"/>
                  <a:pt x="2030" y="123"/>
                </a:cubicBezTo>
                <a:cubicBezTo>
                  <a:pt x="2030" y="124"/>
                  <a:pt x="2030" y="124"/>
                  <a:pt x="2030" y="124"/>
                </a:cubicBezTo>
                <a:cubicBezTo>
                  <a:pt x="2032" y="129"/>
                  <a:pt x="2032" y="129"/>
                  <a:pt x="2032" y="129"/>
                </a:cubicBezTo>
                <a:cubicBezTo>
                  <a:pt x="2034" y="130"/>
                  <a:pt x="2034" y="130"/>
                  <a:pt x="2034" y="130"/>
                </a:cubicBezTo>
                <a:cubicBezTo>
                  <a:pt x="2034" y="134"/>
                  <a:pt x="2034" y="134"/>
                  <a:pt x="2034" y="134"/>
                </a:cubicBezTo>
                <a:cubicBezTo>
                  <a:pt x="2035" y="132"/>
                  <a:pt x="2035" y="132"/>
                  <a:pt x="2035" y="132"/>
                </a:cubicBezTo>
                <a:cubicBezTo>
                  <a:pt x="2037" y="133"/>
                  <a:pt x="2037" y="133"/>
                  <a:pt x="2037" y="133"/>
                </a:cubicBezTo>
                <a:cubicBezTo>
                  <a:pt x="2039" y="133"/>
                  <a:pt x="2039" y="133"/>
                  <a:pt x="2039" y="133"/>
                </a:cubicBezTo>
                <a:cubicBezTo>
                  <a:pt x="2042" y="135"/>
                  <a:pt x="2042" y="135"/>
                  <a:pt x="2042" y="135"/>
                </a:cubicBezTo>
                <a:cubicBezTo>
                  <a:pt x="2044" y="132"/>
                  <a:pt x="2044" y="132"/>
                  <a:pt x="2044" y="132"/>
                </a:cubicBezTo>
                <a:cubicBezTo>
                  <a:pt x="2045" y="133"/>
                  <a:pt x="2045" y="133"/>
                  <a:pt x="2045" y="133"/>
                </a:cubicBezTo>
                <a:cubicBezTo>
                  <a:pt x="2045" y="137"/>
                  <a:pt x="2045" y="137"/>
                  <a:pt x="2045" y="137"/>
                </a:cubicBezTo>
                <a:cubicBezTo>
                  <a:pt x="2046" y="139"/>
                  <a:pt x="2046" y="139"/>
                  <a:pt x="2046" y="139"/>
                </a:cubicBezTo>
                <a:cubicBezTo>
                  <a:pt x="2047" y="139"/>
                  <a:pt x="2047" y="139"/>
                  <a:pt x="2047" y="139"/>
                </a:cubicBezTo>
                <a:cubicBezTo>
                  <a:pt x="2051" y="144"/>
                  <a:pt x="2051" y="144"/>
                  <a:pt x="2051" y="144"/>
                </a:cubicBezTo>
                <a:cubicBezTo>
                  <a:pt x="2053" y="144"/>
                  <a:pt x="2053" y="144"/>
                  <a:pt x="2053" y="144"/>
                </a:cubicBezTo>
                <a:cubicBezTo>
                  <a:pt x="2055" y="143"/>
                  <a:pt x="2055" y="143"/>
                  <a:pt x="2055" y="143"/>
                </a:cubicBezTo>
                <a:cubicBezTo>
                  <a:pt x="2057" y="143"/>
                  <a:pt x="2057" y="143"/>
                  <a:pt x="2057" y="143"/>
                </a:cubicBezTo>
                <a:cubicBezTo>
                  <a:pt x="2057" y="144"/>
                  <a:pt x="2057" y="144"/>
                  <a:pt x="2057" y="144"/>
                </a:cubicBezTo>
                <a:cubicBezTo>
                  <a:pt x="2059" y="144"/>
                  <a:pt x="2059" y="144"/>
                  <a:pt x="2059" y="144"/>
                </a:cubicBezTo>
                <a:cubicBezTo>
                  <a:pt x="2057" y="145"/>
                  <a:pt x="2057" y="145"/>
                  <a:pt x="2057" y="145"/>
                </a:cubicBezTo>
                <a:cubicBezTo>
                  <a:pt x="2057" y="151"/>
                  <a:pt x="2057" y="151"/>
                  <a:pt x="2057" y="151"/>
                </a:cubicBezTo>
                <a:cubicBezTo>
                  <a:pt x="2057" y="152"/>
                  <a:pt x="2057" y="152"/>
                  <a:pt x="2057" y="152"/>
                </a:cubicBezTo>
                <a:cubicBezTo>
                  <a:pt x="2058" y="154"/>
                  <a:pt x="2058" y="154"/>
                  <a:pt x="2058" y="154"/>
                </a:cubicBezTo>
                <a:cubicBezTo>
                  <a:pt x="2058" y="155"/>
                  <a:pt x="2058" y="155"/>
                  <a:pt x="2058" y="155"/>
                </a:cubicBezTo>
                <a:cubicBezTo>
                  <a:pt x="2056" y="156"/>
                  <a:pt x="2056" y="156"/>
                  <a:pt x="2056" y="156"/>
                </a:cubicBezTo>
                <a:cubicBezTo>
                  <a:pt x="2057" y="158"/>
                  <a:pt x="2057" y="158"/>
                  <a:pt x="2057" y="158"/>
                </a:cubicBezTo>
                <a:cubicBezTo>
                  <a:pt x="2057" y="160"/>
                  <a:pt x="2057" y="160"/>
                  <a:pt x="2057" y="160"/>
                </a:cubicBezTo>
                <a:cubicBezTo>
                  <a:pt x="2055" y="159"/>
                  <a:pt x="2055" y="159"/>
                  <a:pt x="2055" y="159"/>
                </a:cubicBezTo>
                <a:cubicBezTo>
                  <a:pt x="2052" y="155"/>
                  <a:pt x="2052" y="155"/>
                  <a:pt x="2052" y="155"/>
                </a:cubicBezTo>
                <a:cubicBezTo>
                  <a:pt x="2050" y="153"/>
                  <a:pt x="2050" y="153"/>
                  <a:pt x="2050" y="153"/>
                </a:cubicBezTo>
                <a:cubicBezTo>
                  <a:pt x="2046" y="152"/>
                  <a:pt x="2046" y="152"/>
                  <a:pt x="2046" y="152"/>
                </a:cubicBezTo>
                <a:cubicBezTo>
                  <a:pt x="2045" y="149"/>
                  <a:pt x="2045" y="149"/>
                  <a:pt x="2045" y="149"/>
                </a:cubicBezTo>
                <a:cubicBezTo>
                  <a:pt x="2043" y="147"/>
                  <a:pt x="2043" y="147"/>
                  <a:pt x="2043" y="147"/>
                </a:cubicBezTo>
                <a:cubicBezTo>
                  <a:pt x="2038" y="147"/>
                  <a:pt x="2038" y="147"/>
                  <a:pt x="2038" y="147"/>
                </a:cubicBezTo>
                <a:cubicBezTo>
                  <a:pt x="2032" y="144"/>
                  <a:pt x="2032" y="144"/>
                  <a:pt x="2032" y="144"/>
                </a:cubicBezTo>
                <a:cubicBezTo>
                  <a:pt x="2029" y="143"/>
                  <a:pt x="2029" y="143"/>
                  <a:pt x="2029" y="143"/>
                </a:cubicBezTo>
                <a:cubicBezTo>
                  <a:pt x="2028" y="141"/>
                  <a:pt x="2028" y="141"/>
                  <a:pt x="2028" y="141"/>
                </a:cubicBezTo>
                <a:cubicBezTo>
                  <a:pt x="2027" y="141"/>
                  <a:pt x="2027" y="141"/>
                  <a:pt x="2027" y="141"/>
                </a:cubicBezTo>
                <a:cubicBezTo>
                  <a:pt x="2025" y="140"/>
                  <a:pt x="2025" y="140"/>
                  <a:pt x="2025" y="140"/>
                </a:cubicBezTo>
                <a:cubicBezTo>
                  <a:pt x="2022" y="141"/>
                  <a:pt x="2022" y="141"/>
                  <a:pt x="2022" y="141"/>
                </a:cubicBezTo>
                <a:cubicBezTo>
                  <a:pt x="2020" y="142"/>
                  <a:pt x="2020" y="142"/>
                  <a:pt x="2020" y="142"/>
                </a:cubicBezTo>
                <a:cubicBezTo>
                  <a:pt x="2019" y="140"/>
                  <a:pt x="2019" y="140"/>
                  <a:pt x="2019" y="140"/>
                </a:cubicBezTo>
                <a:cubicBezTo>
                  <a:pt x="2020" y="139"/>
                  <a:pt x="2020" y="139"/>
                  <a:pt x="2020" y="139"/>
                </a:cubicBezTo>
                <a:cubicBezTo>
                  <a:pt x="2019" y="138"/>
                  <a:pt x="2019" y="138"/>
                  <a:pt x="2019" y="138"/>
                </a:cubicBezTo>
                <a:cubicBezTo>
                  <a:pt x="2013" y="135"/>
                  <a:pt x="2013" y="135"/>
                  <a:pt x="2013" y="135"/>
                </a:cubicBezTo>
                <a:cubicBezTo>
                  <a:pt x="2010" y="133"/>
                  <a:pt x="2010" y="133"/>
                  <a:pt x="2010" y="133"/>
                </a:cubicBezTo>
                <a:cubicBezTo>
                  <a:pt x="2000" y="133"/>
                  <a:pt x="2000" y="133"/>
                  <a:pt x="2000" y="133"/>
                </a:cubicBezTo>
                <a:cubicBezTo>
                  <a:pt x="1993" y="134"/>
                  <a:pt x="1993" y="134"/>
                  <a:pt x="1993" y="134"/>
                </a:cubicBezTo>
                <a:cubicBezTo>
                  <a:pt x="1991" y="133"/>
                  <a:pt x="1991" y="133"/>
                  <a:pt x="1991" y="133"/>
                </a:cubicBezTo>
                <a:cubicBezTo>
                  <a:pt x="1989" y="134"/>
                  <a:pt x="1989" y="134"/>
                  <a:pt x="1989" y="134"/>
                </a:cubicBezTo>
                <a:cubicBezTo>
                  <a:pt x="1987" y="133"/>
                  <a:pt x="1987" y="133"/>
                  <a:pt x="1987" y="133"/>
                </a:cubicBezTo>
                <a:cubicBezTo>
                  <a:pt x="1986" y="133"/>
                  <a:pt x="1986" y="133"/>
                  <a:pt x="1986" y="133"/>
                </a:cubicBezTo>
                <a:cubicBezTo>
                  <a:pt x="1985" y="133"/>
                  <a:pt x="1985" y="133"/>
                  <a:pt x="1985" y="133"/>
                </a:cubicBezTo>
                <a:cubicBezTo>
                  <a:pt x="1983" y="134"/>
                  <a:pt x="1983" y="134"/>
                  <a:pt x="1983" y="134"/>
                </a:cubicBezTo>
                <a:cubicBezTo>
                  <a:pt x="1984" y="136"/>
                  <a:pt x="1984" y="136"/>
                  <a:pt x="1984" y="136"/>
                </a:cubicBezTo>
                <a:cubicBezTo>
                  <a:pt x="1984" y="138"/>
                  <a:pt x="1984" y="138"/>
                  <a:pt x="1984" y="138"/>
                </a:cubicBezTo>
                <a:cubicBezTo>
                  <a:pt x="1982" y="138"/>
                  <a:pt x="1982" y="138"/>
                  <a:pt x="1982" y="138"/>
                </a:cubicBezTo>
                <a:cubicBezTo>
                  <a:pt x="1982" y="139"/>
                  <a:pt x="1982" y="139"/>
                  <a:pt x="1982" y="139"/>
                </a:cubicBezTo>
                <a:cubicBezTo>
                  <a:pt x="1984" y="141"/>
                  <a:pt x="1984" y="141"/>
                  <a:pt x="1984" y="141"/>
                </a:cubicBezTo>
                <a:cubicBezTo>
                  <a:pt x="1985" y="142"/>
                  <a:pt x="1985" y="142"/>
                  <a:pt x="1985" y="142"/>
                </a:cubicBezTo>
                <a:cubicBezTo>
                  <a:pt x="1986" y="146"/>
                  <a:pt x="1986" y="146"/>
                  <a:pt x="1986" y="146"/>
                </a:cubicBezTo>
                <a:cubicBezTo>
                  <a:pt x="1987" y="148"/>
                  <a:pt x="1987" y="148"/>
                  <a:pt x="1987" y="148"/>
                </a:cubicBezTo>
                <a:cubicBezTo>
                  <a:pt x="1987" y="146"/>
                  <a:pt x="1987" y="146"/>
                  <a:pt x="1987" y="146"/>
                </a:cubicBezTo>
                <a:cubicBezTo>
                  <a:pt x="1989" y="146"/>
                  <a:pt x="1989" y="146"/>
                  <a:pt x="1989" y="146"/>
                </a:cubicBezTo>
                <a:cubicBezTo>
                  <a:pt x="1990" y="149"/>
                  <a:pt x="1990" y="149"/>
                  <a:pt x="1990" y="149"/>
                </a:cubicBezTo>
                <a:cubicBezTo>
                  <a:pt x="1991" y="151"/>
                  <a:pt x="1991" y="151"/>
                  <a:pt x="1991" y="151"/>
                </a:cubicBezTo>
                <a:cubicBezTo>
                  <a:pt x="1993" y="152"/>
                  <a:pt x="1993" y="152"/>
                  <a:pt x="1993" y="152"/>
                </a:cubicBezTo>
                <a:cubicBezTo>
                  <a:pt x="1996" y="155"/>
                  <a:pt x="1996" y="155"/>
                  <a:pt x="1996" y="155"/>
                </a:cubicBezTo>
                <a:cubicBezTo>
                  <a:pt x="1993" y="154"/>
                  <a:pt x="1993" y="154"/>
                  <a:pt x="1993" y="154"/>
                </a:cubicBezTo>
                <a:cubicBezTo>
                  <a:pt x="1992" y="153"/>
                  <a:pt x="1992" y="153"/>
                  <a:pt x="1992" y="153"/>
                </a:cubicBezTo>
                <a:cubicBezTo>
                  <a:pt x="1990" y="154"/>
                  <a:pt x="1990" y="154"/>
                  <a:pt x="1990" y="154"/>
                </a:cubicBezTo>
                <a:cubicBezTo>
                  <a:pt x="1990" y="157"/>
                  <a:pt x="1990" y="157"/>
                  <a:pt x="1990" y="157"/>
                </a:cubicBezTo>
                <a:cubicBezTo>
                  <a:pt x="1988" y="158"/>
                  <a:pt x="1988" y="158"/>
                  <a:pt x="1988" y="158"/>
                </a:cubicBezTo>
                <a:cubicBezTo>
                  <a:pt x="1985" y="157"/>
                  <a:pt x="1985" y="157"/>
                  <a:pt x="1985" y="157"/>
                </a:cubicBezTo>
                <a:cubicBezTo>
                  <a:pt x="1984" y="158"/>
                  <a:pt x="1984" y="158"/>
                  <a:pt x="1984" y="158"/>
                </a:cubicBezTo>
                <a:cubicBezTo>
                  <a:pt x="1983" y="159"/>
                  <a:pt x="1983" y="159"/>
                  <a:pt x="1983" y="159"/>
                </a:cubicBezTo>
                <a:cubicBezTo>
                  <a:pt x="1986" y="162"/>
                  <a:pt x="1986" y="162"/>
                  <a:pt x="1986" y="162"/>
                </a:cubicBezTo>
                <a:cubicBezTo>
                  <a:pt x="1986" y="163"/>
                  <a:pt x="1986" y="163"/>
                  <a:pt x="1986" y="163"/>
                </a:cubicBezTo>
                <a:cubicBezTo>
                  <a:pt x="1986" y="164"/>
                  <a:pt x="1986" y="164"/>
                  <a:pt x="1986" y="164"/>
                </a:cubicBezTo>
                <a:cubicBezTo>
                  <a:pt x="1985" y="165"/>
                  <a:pt x="1985" y="165"/>
                  <a:pt x="1985" y="165"/>
                </a:cubicBezTo>
                <a:cubicBezTo>
                  <a:pt x="1980" y="165"/>
                  <a:pt x="1980" y="165"/>
                  <a:pt x="1980" y="165"/>
                </a:cubicBezTo>
                <a:cubicBezTo>
                  <a:pt x="1979" y="163"/>
                  <a:pt x="1979" y="163"/>
                  <a:pt x="1979" y="163"/>
                </a:cubicBezTo>
                <a:cubicBezTo>
                  <a:pt x="1979" y="162"/>
                  <a:pt x="1979" y="162"/>
                  <a:pt x="1979" y="162"/>
                </a:cubicBezTo>
                <a:cubicBezTo>
                  <a:pt x="1978" y="160"/>
                  <a:pt x="1978" y="160"/>
                  <a:pt x="1978" y="160"/>
                </a:cubicBezTo>
                <a:cubicBezTo>
                  <a:pt x="1980" y="158"/>
                  <a:pt x="1980" y="158"/>
                  <a:pt x="1980" y="158"/>
                </a:cubicBezTo>
                <a:cubicBezTo>
                  <a:pt x="1980" y="157"/>
                  <a:pt x="1980" y="157"/>
                  <a:pt x="1980" y="157"/>
                </a:cubicBezTo>
                <a:cubicBezTo>
                  <a:pt x="1978" y="155"/>
                  <a:pt x="1978" y="155"/>
                  <a:pt x="1978" y="155"/>
                </a:cubicBezTo>
                <a:cubicBezTo>
                  <a:pt x="1976" y="154"/>
                  <a:pt x="1976" y="154"/>
                  <a:pt x="1976" y="154"/>
                </a:cubicBezTo>
                <a:cubicBezTo>
                  <a:pt x="1978" y="153"/>
                  <a:pt x="1978" y="153"/>
                  <a:pt x="1978" y="153"/>
                </a:cubicBezTo>
                <a:cubicBezTo>
                  <a:pt x="1978" y="152"/>
                  <a:pt x="1978" y="152"/>
                  <a:pt x="1978" y="152"/>
                </a:cubicBezTo>
                <a:cubicBezTo>
                  <a:pt x="1976" y="153"/>
                  <a:pt x="1976" y="153"/>
                  <a:pt x="1976" y="153"/>
                </a:cubicBezTo>
                <a:cubicBezTo>
                  <a:pt x="1975" y="153"/>
                  <a:pt x="1975" y="153"/>
                  <a:pt x="1975" y="153"/>
                </a:cubicBezTo>
                <a:cubicBezTo>
                  <a:pt x="1972" y="155"/>
                  <a:pt x="1972" y="155"/>
                  <a:pt x="1972" y="155"/>
                </a:cubicBezTo>
                <a:cubicBezTo>
                  <a:pt x="1971" y="156"/>
                  <a:pt x="1971" y="156"/>
                  <a:pt x="1971" y="156"/>
                </a:cubicBezTo>
                <a:cubicBezTo>
                  <a:pt x="1969" y="157"/>
                  <a:pt x="1969" y="157"/>
                  <a:pt x="1969" y="157"/>
                </a:cubicBezTo>
                <a:cubicBezTo>
                  <a:pt x="1969" y="159"/>
                  <a:pt x="1969" y="159"/>
                  <a:pt x="1969" y="159"/>
                </a:cubicBezTo>
                <a:cubicBezTo>
                  <a:pt x="1966" y="159"/>
                  <a:pt x="1966" y="159"/>
                  <a:pt x="1966" y="159"/>
                </a:cubicBezTo>
                <a:cubicBezTo>
                  <a:pt x="1965" y="160"/>
                  <a:pt x="1965" y="160"/>
                  <a:pt x="1965" y="160"/>
                </a:cubicBezTo>
                <a:cubicBezTo>
                  <a:pt x="1965" y="161"/>
                  <a:pt x="1965" y="161"/>
                  <a:pt x="1965" y="161"/>
                </a:cubicBezTo>
                <a:cubicBezTo>
                  <a:pt x="1963" y="162"/>
                  <a:pt x="1963" y="162"/>
                  <a:pt x="1963" y="162"/>
                </a:cubicBezTo>
                <a:cubicBezTo>
                  <a:pt x="1959" y="162"/>
                  <a:pt x="1959" y="162"/>
                  <a:pt x="1959" y="162"/>
                </a:cubicBezTo>
                <a:cubicBezTo>
                  <a:pt x="1958" y="162"/>
                  <a:pt x="1958" y="162"/>
                  <a:pt x="1958" y="162"/>
                </a:cubicBezTo>
                <a:cubicBezTo>
                  <a:pt x="1957" y="162"/>
                  <a:pt x="1957" y="162"/>
                  <a:pt x="1957" y="162"/>
                </a:cubicBezTo>
                <a:cubicBezTo>
                  <a:pt x="1955" y="162"/>
                  <a:pt x="1955" y="162"/>
                  <a:pt x="1955" y="162"/>
                </a:cubicBezTo>
                <a:cubicBezTo>
                  <a:pt x="1954" y="161"/>
                  <a:pt x="1954" y="161"/>
                  <a:pt x="1954" y="161"/>
                </a:cubicBezTo>
                <a:cubicBezTo>
                  <a:pt x="1952" y="163"/>
                  <a:pt x="1952" y="163"/>
                  <a:pt x="1952" y="163"/>
                </a:cubicBezTo>
                <a:cubicBezTo>
                  <a:pt x="1951" y="164"/>
                  <a:pt x="1951" y="164"/>
                  <a:pt x="1951" y="164"/>
                </a:cubicBezTo>
                <a:cubicBezTo>
                  <a:pt x="1949" y="164"/>
                  <a:pt x="1949" y="164"/>
                  <a:pt x="1949" y="164"/>
                </a:cubicBezTo>
                <a:cubicBezTo>
                  <a:pt x="1947" y="166"/>
                  <a:pt x="1947" y="166"/>
                  <a:pt x="1947" y="166"/>
                </a:cubicBezTo>
                <a:cubicBezTo>
                  <a:pt x="1947" y="167"/>
                  <a:pt x="1947" y="167"/>
                  <a:pt x="1947" y="167"/>
                </a:cubicBezTo>
                <a:cubicBezTo>
                  <a:pt x="1949" y="168"/>
                  <a:pt x="1949" y="168"/>
                  <a:pt x="1949" y="168"/>
                </a:cubicBezTo>
                <a:cubicBezTo>
                  <a:pt x="1948" y="170"/>
                  <a:pt x="1948" y="170"/>
                  <a:pt x="1948" y="170"/>
                </a:cubicBezTo>
                <a:cubicBezTo>
                  <a:pt x="1949" y="171"/>
                  <a:pt x="1949" y="171"/>
                  <a:pt x="1949" y="171"/>
                </a:cubicBezTo>
                <a:cubicBezTo>
                  <a:pt x="1948" y="172"/>
                  <a:pt x="1948" y="172"/>
                  <a:pt x="1948" y="172"/>
                </a:cubicBezTo>
                <a:cubicBezTo>
                  <a:pt x="1946" y="170"/>
                  <a:pt x="1946" y="170"/>
                  <a:pt x="1946" y="170"/>
                </a:cubicBezTo>
                <a:cubicBezTo>
                  <a:pt x="1945" y="169"/>
                  <a:pt x="1945" y="169"/>
                  <a:pt x="1945" y="169"/>
                </a:cubicBezTo>
                <a:cubicBezTo>
                  <a:pt x="1944" y="169"/>
                  <a:pt x="1944" y="169"/>
                  <a:pt x="1944" y="169"/>
                </a:cubicBezTo>
                <a:cubicBezTo>
                  <a:pt x="1942" y="172"/>
                  <a:pt x="1942" y="172"/>
                  <a:pt x="1942" y="172"/>
                </a:cubicBezTo>
                <a:cubicBezTo>
                  <a:pt x="1941" y="174"/>
                  <a:pt x="1941" y="174"/>
                  <a:pt x="1941" y="174"/>
                </a:cubicBezTo>
                <a:cubicBezTo>
                  <a:pt x="1941" y="172"/>
                  <a:pt x="1941" y="172"/>
                  <a:pt x="1941" y="172"/>
                </a:cubicBezTo>
                <a:cubicBezTo>
                  <a:pt x="1939" y="171"/>
                  <a:pt x="1939" y="171"/>
                  <a:pt x="1939" y="171"/>
                </a:cubicBezTo>
                <a:cubicBezTo>
                  <a:pt x="1938" y="172"/>
                  <a:pt x="1938" y="172"/>
                  <a:pt x="1938" y="172"/>
                </a:cubicBezTo>
                <a:cubicBezTo>
                  <a:pt x="1937" y="172"/>
                  <a:pt x="1937" y="172"/>
                  <a:pt x="1937" y="172"/>
                </a:cubicBezTo>
                <a:cubicBezTo>
                  <a:pt x="1935" y="172"/>
                  <a:pt x="1935" y="172"/>
                  <a:pt x="1935" y="172"/>
                </a:cubicBezTo>
                <a:cubicBezTo>
                  <a:pt x="1933" y="172"/>
                  <a:pt x="1933" y="172"/>
                  <a:pt x="1933" y="172"/>
                </a:cubicBezTo>
                <a:cubicBezTo>
                  <a:pt x="1933" y="170"/>
                  <a:pt x="1933" y="170"/>
                  <a:pt x="1933" y="170"/>
                </a:cubicBezTo>
                <a:cubicBezTo>
                  <a:pt x="1935" y="168"/>
                  <a:pt x="1935" y="168"/>
                  <a:pt x="1935" y="168"/>
                </a:cubicBezTo>
                <a:cubicBezTo>
                  <a:pt x="1937" y="168"/>
                  <a:pt x="1937" y="168"/>
                  <a:pt x="1937" y="168"/>
                </a:cubicBezTo>
                <a:cubicBezTo>
                  <a:pt x="1938" y="167"/>
                  <a:pt x="1938" y="167"/>
                  <a:pt x="1938" y="167"/>
                </a:cubicBezTo>
                <a:cubicBezTo>
                  <a:pt x="1937" y="164"/>
                  <a:pt x="1937" y="164"/>
                  <a:pt x="1937" y="164"/>
                </a:cubicBezTo>
                <a:cubicBezTo>
                  <a:pt x="1937" y="164"/>
                  <a:pt x="1937" y="164"/>
                  <a:pt x="1937" y="164"/>
                </a:cubicBezTo>
                <a:cubicBezTo>
                  <a:pt x="1938" y="163"/>
                  <a:pt x="1938" y="163"/>
                  <a:pt x="1938" y="163"/>
                </a:cubicBezTo>
                <a:cubicBezTo>
                  <a:pt x="1936" y="161"/>
                  <a:pt x="1936" y="161"/>
                  <a:pt x="1936" y="161"/>
                </a:cubicBezTo>
                <a:cubicBezTo>
                  <a:pt x="1935" y="161"/>
                  <a:pt x="1935" y="161"/>
                  <a:pt x="1935" y="161"/>
                </a:cubicBezTo>
                <a:cubicBezTo>
                  <a:pt x="1934" y="161"/>
                  <a:pt x="1934" y="161"/>
                  <a:pt x="1934" y="161"/>
                </a:cubicBezTo>
                <a:cubicBezTo>
                  <a:pt x="1933" y="160"/>
                  <a:pt x="1933" y="160"/>
                  <a:pt x="1933" y="160"/>
                </a:cubicBezTo>
                <a:cubicBezTo>
                  <a:pt x="1937" y="158"/>
                  <a:pt x="1937" y="158"/>
                  <a:pt x="1937" y="158"/>
                </a:cubicBezTo>
                <a:cubicBezTo>
                  <a:pt x="1938" y="158"/>
                  <a:pt x="1938" y="158"/>
                  <a:pt x="1938" y="158"/>
                </a:cubicBezTo>
                <a:cubicBezTo>
                  <a:pt x="1940" y="157"/>
                  <a:pt x="1940" y="157"/>
                  <a:pt x="1940" y="157"/>
                </a:cubicBezTo>
                <a:cubicBezTo>
                  <a:pt x="1940" y="156"/>
                  <a:pt x="1940" y="156"/>
                  <a:pt x="1940" y="156"/>
                </a:cubicBezTo>
                <a:cubicBezTo>
                  <a:pt x="1936" y="157"/>
                  <a:pt x="1936" y="157"/>
                  <a:pt x="1936" y="157"/>
                </a:cubicBezTo>
                <a:cubicBezTo>
                  <a:pt x="1931" y="159"/>
                  <a:pt x="1931" y="159"/>
                  <a:pt x="1931" y="159"/>
                </a:cubicBezTo>
                <a:cubicBezTo>
                  <a:pt x="1929" y="161"/>
                  <a:pt x="1929" y="161"/>
                  <a:pt x="1929" y="161"/>
                </a:cubicBezTo>
                <a:cubicBezTo>
                  <a:pt x="1930" y="161"/>
                  <a:pt x="1930" y="161"/>
                  <a:pt x="1930" y="161"/>
                </a:cubicBezTo>
                <a:cubicBezTo>
                  <a:pt x="1931" y="163"/>
                  <a:pt x="1931" y="163"/>
                  <a:pt x="1931" y="163"/>
                </a:cubicBezTo>
                <a:cubicBezTo>
                  <a:pt x="1931" y="165"/>
                  <a:pt x="1931" y="165"/>
                  <a:pt x="1931" y="165"/>
                </a:cubicBezTo>
                <a:cubicBezTo>
                  <a:pt x="1930" y="166"/>
                  <a:pt x="1930" y="166"/>
                  <a:pt x="1930" y="166"/>
                </a:cubicBezTo>
                <a:cubicBezTo>
                  <a:pt x="1929" y="166"/>
                  <a:pt x="1929" y="166"/>
                  <a:pt x="1929" y="166"/>
                </a:cubicBezTo>
                <a:cubicBezTo>
                  <a:pt x="1927" y="164"/>
                  <a:pt x="1927" y="164"/>
                  <a:pt x="1927" y="164"/>
                </a:cubicBezTo>
                <a:cubicBezTo>
                  <a:pt x="1928" y="163"/>
                  <a:pt x="1928" y="163"/>
                  <a:pt x="1928" y="163"/>
                </a:cubicBezTo>
                <a:cubicBezTo>
                  <a:pt x="1928" y="163"/>
                  <a:pt x="1928" y="163"/>
                  <a:pt x="1928" y="163"/>
                </a:cubicBezTo>
                <a:cubicBezTo>
                  <a:pt x="1928" y="162"/>
                  <a:pt x="1928" y="162"/>
                  <a:pt x="1928" y="162"/>
                </a:cubicBezTo>
                <a:cubicBezTo>
                  <a:pt x="1927" y="162"/>
                  <a:pt x="1927" y="162"/>
                  <a:pt x="1927" y="162"/>
                </a:cubicBezTo>
                <a:cubicBezTo>
                  <a:pt x="1924" y="165"/>
                  <a:pt x="1924" y="165"/>
                  <a:pt x="1924" y="165"/>
                </a:cubicBezTo>
                <a:cubicBezTo>
                  <a:pt x="1924" y="166"/>
                  <a:pt x="1924" y="166"/>
                  <a:pt x="1924" y="166"/>
                </a:cubicBezTo>
                <a:cubicBezTo>
                  <a:pt x="1925" y="168"/>
                  <a:pt x="1925" y="168"/>
                  <a:pt x="1925" y="168"/>
                </a:cubicBezTo>
                <a:cubicBezTo>
                  <a:pt x="1927" y="168"/>
                  <a:pt x="1927" y="168"/>
                  <a:pt x="1927" y="168"/>
                </a:cubicBezTo>
                <a:cubicBezTo>
                  <a:pt x="1926" y="170"/>
                  <a:pt x="1926" y="170"/>
                  <a:pt x="1926" y="170"/>
                </a:cubicBezTo>
                <a:cubicBezTo>
                  <a:pt x="1924" y="172"/>
                  <a:pt x="1924" y="172"/>
                  <a:pt x="1924" y="172"/>
                </a:cubicBezTo>
                <a:cubicBezTo>
                  <a:pt x="1923" y="171"/>
                  <a:pt x="1923" y="171"/>
                  <a:pt x="1923" y="171"/>
                </a:cubicBezTo>
                <a:cubicBezTo>
                  <a:pt x="1924" y="170"/>
                  <a:pt x="1924" y="170"/>
                  <a:pt x="1924" y="170"/>
                </a:cubicBezTo>
                <a:cubicBezTo>
                  <a:pt x="1923" y="169"/>
                  <a:pt x="1923" y="169"/>
                  <a:pt x="1923" y="169"/>
                </a:cubicBezTo>
                <a:cubicBezTo>
                  <a:pt x="1922" y="169"/>
                  <a:pt x="1922" y="169"/>
                  <a:pt x="1922" y="169"/>
                </a:cubicBezTo>
                <a:cubicBezTo>
                  <a:pt x="1922" y="167"/>
                  <a:pt x="1922" y="167"/>
                  <a:pt x="1922" y="167"/>
                </a:cubicBezTo>
                <a:cubicBezTo>
                  <a:pt x="1918" y="168"/>
                  <a:pt x="1918" y="168"/>
                  <a:pt x="1918" y="168"/>
                </a:cubicBezTo>
                <a:cubicBezTo>
                  <a:pt x="1918" y="170"/>
                  <a:pt x="1918" y="170"/>
                  <a:pt x="1918" y="170"/>
                </a:cubicBezTo>
                <a:cubicBezTo>
                  <a:pt x="1915" y="171"/>
                  <a:pt x="1915" y="171"/>
                  <a:pt x="1915" y="171"/>
                </a:cubicBezTo>
                <a:cubicBezTo>
                  <a:pt x="1913" y="170"/>
                  <a:pt x="1913" y="170"/>
                  <a:pt x="1913" y="170"/>
                </a:cubicBezTo>
                <a:cubicBezTo>
                  <a:pt x="1912" y="171"/>
                  <a:pt x="1912" y="171"/>
                  <a:pt x="1912" y="171"/>
                </a:cubicBezTo>
                <a:cubicBezTo>
                  <a:pt x="1912" y="172"/>
                  <a:pt x="1912" y="172"/>
                  <a:pt x="1912" y="172"/>
                </a:cubicBezTo>
                <a:cubicBezTo>
                  <a:pt x="1908" y="177"/>
                  <a:pt x="1908" y="177"/>
                  <a:pt x="1908" y="177"/>
                </a:cubicBezTo>
                <a:cubicBezTo>
                  <a:pt x="1906" y="178"/>
                  <a:pt x="1906" y="178"/>
                  <a:pt x="1906" y="178"/>
                </a:cubicBezTo>
                <a:cubicBezTo>
                  <a:pt x="1903" y="182"/>
                  <a:pt x="1903" y="182"/>
                  <a:pt x="1903" y="182"/>
                </a:cubicBezTo>
                <a:cubicBezTo>
                  <a:pt x="1901" y="183"/>
                  <a:pt x="1901" y="183"/>
                  <a:pt x="1901" y="183"/>
                </a:cubicBezTo>
                <a:cubicBezTo>
                  <a:pt x="1899" y="182"/>
                  <a:pt x="1899" y="182"/>
                  <a:pt x="1899" y="182"/>
                </a:cubicBezTo>
                <a:cubicBezTo>
                  <a:pt x="1898" y="182"/>
                  <a:pt x="1898" y="182"/>
                  <a:pt x="1898" y="182"/>
                </a:cubicBezTo>
                <a:cubicBezTo>
                  <a:pt x="1899" y="184"/>
                  <a:pt x="1899" y="184"/>
                  <a:pt x="1899" y="184"/>
                </a:cubicBezTo>
                <a:cubicBezTo>
                  <a:pt x="1902" y="186"/>
                  <a:pt x="1902" y="186"/>
                  <a:pt x="1902" y="186"/>
                </a:cubicBezTo>
                <a:cubicBezTo>
                  <a:pt x="1902" y="187"/>
                  <a:pt x="1902" y="187"/>
                  <a:pt x="1902" y="187"/>
                </a:cubicBezTo>
                <a:cubicBezTo>
                  <a:pt x="1899" y="186"/>
                  <a:pt x="1899" y="186"/>
                  <a:pt x="1899" y="186"/>
                </a:cubicBezTo>
                <a:cubicBezTo>
                  <a:pt x="1898" y="187"/>
                  <a:pt x="1898" y="187"/>
                  <a:pt x="1898" y="187"/>
                </a:cubicBezTo>
                <a:cubicBezTo>
                  <a:pt x="1893" y="188"/>
                  <a:pt x="1893" y="188"/>
                  <a:pt x="1893" y="188"/>
                </a:cubicBezTo>
                <a:cubicBezTo>
                  <a:pt x="1892" y="189"/>
                  <a:pt x="1892" y="189"/>
                  <a:pt x="1892" y="189"/>
                </a:cubicBezTo>
                <a:cubicBezTo>
                  <a:pt x="1893" y="190"/>
                  <a:pt x="1893" y="190"/>
                  <a:pt x="1893" y="190"/>
                </a:cubicBezTo>
                <a:cubicBezTo>
                  <a:pt x="1893" y="192"/>
                  <a:pt x="1893" y="192"/>
                  <a:pt x="1893" y="192"/>
                </a:cubicBezTo>
                <a:cubicBezTo>
                  <a:pt x="1892" y="195"/>
                  <a:pt x="1892" y="195"/>
                  <a:pt x="1892" y="195"/>
                </a:cubicBezTo>
                <a:cubicBezTo>
                  <a:pt x="1893" y="198"/>
                  <a:pt x="1893" y="198"/>
                  <a:pt x="1893" y="198"/>
                </a:cubicBezTo>
                <a:cubicBezTo>
                  <a:pt x="1892" y="200"/>
                  <a:pt x="1892" y="200"/>
                  <a:pt x="1892" y="200"/>
                </a:cubicBezTo>
                <a:cubicBezTo>
                  <a:pt x="1889" y="201"/>
                  <a:pt x="1889" y="201"/>
                  <a:pt x="1889" y="201"/>
                </a:cubicBezTo>
                <a:cubicBezTo>
                  <a:pt x="1888" y="202"/>
                  <a:pt x="1888" y="202"/>
                  <a:pt x="1888" y="202"/>
                </a:cubicBezTo>
                <a:cubicBezTo>
                  <a:pt x="1886" y="202"/>
                  <a:pt x="1886" y="202"/>
                  <a:pt x="1886" y="202"/>
                </a:cubicBezTo>
                <a:cubicBezTo>
                  <a:pt x="1885" y="204"/>
                  <a:pt x="1885" y="204"/>
                  <a:pt x="1885" y="204"/>
                </a:cubicBezTo>
                <a:cubicBezTo>
                  <a:pt x="1884" y="201"/>
                  <a:pt x="1884" y="201"/>
                  <a:pt x="1884" y="201"/>
                </a:cubicBezTo>
                <a:cubicBezTo>
                  <a:pt x="1881" y="203"/>
                  <a:pt x="1881" y="203"/>
                  <a:pt x="1881" y="203"/>
                </a:cubicBezTo>
                <a:cubicBezTo>
                  <a:pt x="1879" y="203"/>
                  <a:pt x="1879" y="203"/>
                  <a:pt x="1879" y="203"/>
                </a:cubicBezTo>
                <a:cubicBezTo>
                  <a:pt x="1875" y="198"/>
                  <a:pt x="1875" y="198"/>
                  <a:pt x="1875" y="198"/>
                </a:cubicBezTo>
                <a:cubicBezTo>
                  <a:pt x="1871" y="195"/>
                  <a:pt x="1871" y="195"/>
                  <a:pt x="1871" y="195"/>
                </a:cubicBezTo>
                <a:cubicBezTo>
                  <a:pt x="1870" y="194"/>
                  <a:pt x="1870" y="194"/>
                  <a:pt x="1870" y="194"/>
                </a:cubicBezTo>
                <a:cubicBezTo>
                  <a:pt x="1870" y="191"/>
                  <a:pt x="1870" y="191"/>
                  <a:pt x="1870" y="191"/>
                </a:cubicBezTo>
                <a:cubicBezTo>
                  <a:pt x="1870" y="190"/>
                  <a:pt x="1870" y="190"/>
                  <a:pt x="1870" y="190"/>
                </a:cubicBezTo>
                <a:cubicBezTo>
                  <a:pt x="1871" y="190"/>
                  <a:pt x="1871" y="190"/>
                  <a:pt x="1871" y="190"/>
                </a:cubicBezTo>
                <a:cubicBezTo>
                  <a:pt x="1872" y="189"/>
                  <a:pt x="1872" y="189"/>
                  <a:pt x="1872" y="189"/>
                </a:cubicBezTo>
                <a:cubicBezTo>
                  <a:pt x="1872" y="188"/>
                  <a:pt x="1872" y="188"/>
                  <a:pt x="1872" y="188"/>
                </a:cubicBezTo>
                <a:cubicBezTo>
                  <a:pt x="1873" y="187"/>
                  <a:pt x="1873" y="187"/>
                  <a:pt x="1873" y="187"/>
                </a:cubicBezTo>
                <a:cubicBezTo>
                  <a:pt x="1876" y="187"/>
                  <a:pt x="1876" y="187"/>
                  <a:pt x="1876" y="187"/>
                </a:cubicBezTo>
                <a:cubicBezTo>
                  <a:pt x="1877" y="185"/>
                  <a:pt x="1877" y="185"/>
                  <a:pt x="1877" y="185"/>
                </a:cubicBezTo>
                <a:cubicBezTo>
                  <a:pt x="1881" y="185"/>
                  <a:pt x="1881" y="185"/>
                  <a:pt x="1881" y="185"/>
                </a:cubicBezTo>
                <a:cubicBezTo>
                  <a:pt x="1881" y="184"/>
                  <a:pt x="1881" y="184"/>
                  <a:pt x="1881" y="184"/>
                </a:cubicBezTo>
                <a:cubicBezTo>
                  <a:pt x="1878" y="180"/>
                  <a:pt x="1878" y="180"/>
                  <a:pt x="1878" y="180"/>
                </a:cubicBezTo>
                <a:cubicBezTo>
                  <a:pt x="1878" y="178"/>
                  <a:pt x="1878" y="178"/>
                  <a:pt x="1878" y="178"/>
                </a:cubicBezTo>
                <a:cubicBezTo>
                  <a:pt x="1875" y="178"/>
                  <a:pt x="1875" y="178"/>
                  <a:pt x="1875" y="178"/>
                </a:cubicBezTo>
                <a:cubicBezTo>
                  <a:pt x="1873" y="176"/>
                  <a:pt x="1873" y="176"/>
                  <a:pt x="1873" y="176"/>
                </a:cubicBezTo>
                <a:cubicBezTo>
                  <a:pt x="1873" y="174"/>
                  <a:pt x="1873" y="174"/>
                  <a:pt x="1873" y="174"/>
                </a:cubicBezTo>
                <a:cubicBezTo>
                  <a:pt x="1871" y="172"/>
                  <a:pt x="1871" y="172"/>
                  <a:pt x="1871" y="172"/>
                </a:cubicBezTo>
                <a:cubicBezTo>
                  <a:pt x="1865" y="172"/>
                  <a:pt x="1865" y="172"/>
                  <a:pt x="1865" y="172"/>
                </a:cubicBezTo>
                <a:cubicBezTo>
                  <a:pt x="1862" y="172"/>
                  <a:pt x="1862" y="172"/>
                  <a:pt x="1862" y="172"/>
                </a:cubicBezTo>
                <a:cubicBezTo>
                  <a:pt x="1860" y="173"/>
                  <a:pt x="1860" y="173"/>
                  <a:pt x="1860" y="173"/>
                </a:cubicBezTo>
                <a:cubicBezTo>
                  <a:pt x="1858" y="173"/>
                  <a:pt x="1858" y="173"/>
                  <a:pt x="1858" y="173"/>
                </a:cubicBezTo>
                <a:cubicBezTo>
                  <a:pt x="1853" y="170"/>
                  <a:pt x="1853" y="170"/>
                  <a:pt x="1853" y="170"/>
                </a:cubicBezTo>
                <a:cubicBezTo>
                  <a:pt x="1851" y="170"/>
                  <a:pt x="1851" y="170"/>
                  <a:pt x="1851" y="170"/>
                </a:cubicBezTo>
                <a:cubicBezTo>
                  <a:pt x="1851" y="171"/>
                  <a:pt x="1851" y="171"/>
                  <a:pt x="1851" y="171"/>
                </a:cubicBezTo>
                <a:cubicBezTo>
                  <a:pt x="1856" y="175"/>
                  <a:pt x="1856" y="175"/>
                  <a:pt x="1856" y="175"/>
                </a:cubicBezTo>
                <a:cubicBezTo>
                  <a:pt x="1859" y="177"/>
                  <a:pt x="1859" y="177"/>
                  <a:pt x="1859" y="177"/>
                </a:cubicBezTo>
                <a:cubicBezTo>
                  <a:pt x="1861" y="182"/>
                  <a:pt x="1861" y="182"/>
                  <a:pt x="1861" y="182"/>
                </a:cubicBezTo>
                <a:cubicBezTo>
                  <a:pt x="1861" y="184"/>
                  <a:pt x="1861" y="184"/>
                  <a:pt x="1861" y="184"/>
                </a:cubicBezTo>
                <a:cubicBezTo>
                  <a:pt x="1862" y="185"/>
                  <a:pt x="1862" y="185"/>
                  <a:pt x="1862" y="185"/>
                </a:cubicBezTo>
                <a:cubicBezTo>
                  <a:pt x="1861" y="186"/>
                  <a:pt x="1861" y="186"/>
                  <a:pt x="1861" y="186"/>
                </a:cubicBezTo>
                <a:cubicBezTo>
                  <a:pt x="1861" y="188"/>
                  <a:pt x="1861" y="188"/>
                  <a:pt x="1861" y="188"/>
                </a:cubicBezTo>
                <a:cubicBezTo>
                  <a:pt x="1861" y="189"/>
                  <a:pt x="1861" y="189"/>
                  <a:pt x="1861" y="189"/>
                </a:cubicBezTo>
                <a:cubicBezTo>
                  <a:pt x="1861" y="190"/>
                  <a:pt x="1861" y="190"/>
                  <a:pt x="1861" y="190"/>
                </a:cubicBezTo>
                <a:cubicBezTo>
                  <a:pt x="1861" y="195"/>
                  <a:pt x="1861" y="195"/>
                  <a:pt x="1861" y="195"/>
                </a:cubicBezTo>
                <a:cubicBezTo>
                  <a:pt x="1860" y="197"/>
                  <a:pt x="1860" y="197"/>
                  <a:pt x="1860" y="197"/>
                </a:cubicBezTo>
                <a:cubicBezTo>
                  <a:pt x="1861" y="200"/>
                  <a:pt x="1861" y="200"/>
                  <a:pt x="1861" y="200"/>
                </a:cubicBezTo>
                <a:cubicBezTo>
                  <a:pt x="1864" y="200"/>
                  <a:pt x="1864" y="200"/>
                  <a:pt x="1864" y="200"/>
                </a:cubicBezTo>
                <a:cubicBezTo>
                  <a:pt x="1866" y="201"/>
                  <a:pt x="1866" y="201"/>
                  <a:pt x="1866" y="201"/>
                </a:cubicBezTo>
                <a:cubicBezTo>
                  <a:pt x="1867" y="202"/>
                  <a:pt x="1867" y="202"/>
                  <a:pt x="1867" y="202"/>
                </a:cubicBezTo>
                <a:cubicBezTo>
                  <a:pt x="1867" y="203"/>
                  <a:pt x="1867" y="203"/>
                  <a:pt x="1867" y="203"/>
                </a:cubicBezTo>
                <a:cubicBezTo>
                  <a:pt x="1867" y="205"/>
                  <a:pt x="1867" y="205"/>
                  <a:pt x="1867" y="205"/>
                </a:cubicBezTo>
                <a:cubicBezTo>
                  <a:pt x="1867" y="206"/>
                  <a:pt x="1867" y="206"/>
                  <a:pt x="1867" y="206"/>
                </a:cubicBezTo>
                <a:cubicBezTo>
                  <a:pt x="1867" y="207"/>
                  <a:pt x="1867" y="207"/>
                  <a:pt x="1867" y="207"/>
                </a:cubicBezTo>
                <a:cubicBezTo>
                  <a:pt x="1868" y="208"/>
                  <a:pt x="1868" y="208"/>
                  <a:pt x="1868" y="208"/>
                </a:cubicBezTo>
                <a:cubicBezTo>
                  <a:pt x="1867" y="209"/>
                  <a:pt x="1867" y="209"/>
                  <a:pt x="1867" y="209"/>
                </a:cubicBezTo>
                <a:cubicBezTo>
                  <a:pt x="1867" y="214"/>
                  <a:pt x="1867" y="214"/>
                  <a:pt x="1867" y="214"/>
                </a:cubicBezTo>
                <a:cubicBezTo>
                  <a:pt x="1866" y="215"/>
                  <a:pt x="1866" y="215"/>
                  <a:pt x="1866" y="215"/>
                </a:cubicBezTo>
                <a:cubicBezTo>
                  <a:pt x="1868" y="218"/>
                  <a:pt x="1868" y="218"/>
                  <a:pt x="1868" y="218"/>
                </a:cubicBezTo>
                <a:cubicBezTo>
                  <a:pt x="1868" y="221"/>
                  <a:pt x="1868" y="221"/>
                  <a:pt x="1868" y="221"/>
                </a:cubicBezTo>
                <a:cubicBezTo>
                  <a:pt x="1867" y="220"/>
                  <a:pt x="1867" y="220"/>
                  <a:pt x="1867" y="220"/>
                </a:cubicBezTo>
                <a:cubicBezTo>
                  <a:pt x="1866" y="218"/>
                  <a:pt x="1866" y="218"/>
                  <a:pt x="1866" y="218"/>
                </a:cubicBezTo>
                <a:cubicBezTo>
                  <a:pt x="1864" y="216"/>
                  <a:pt x="1864" y="216"/>
                  <a:pt x="1864" y="216"/>
                </a:cubicBezTo>
                <a:cubicBezTo>
                  <a:pt x="1861" y="218"/>
                  <a:pt x="1861" y="218"/>
                  <a:pt x="1861" y="218"/>
                </a:cubicBezTo>
                <a:cubicBezTo>
                  <a:pt x="1861" y="216"/>
                  <a:pt x="1861" y="216"/>
                  <a:pt x="1861" y="216"/>
                </a:cubicBezTo>
                <a:cubicBezTo>
                  <a:pt x="1860" y="214"/>
                  <a:pt x="1860" y="214"/>
                  <a:pt x="1860" y="214"/>
                </a:cubicBezTo>
                <a:cubicBezTo>
                  <a:pt x="1857" y="214"/>
                  <a:pt x="1857" y="214"/>
                  <a:pt x="1857" y="214"/>
                </a:cubicBezTo>
                <a:cubicBezTo>
                  <a:pt x="1854" y="214"/>
                  <a:pt x="1854" y="214"/>
                  <a:pt x="1854" y="214"/>
                </a:cubicBezTo>
                <a:cubicBezTo>
                  <a:pt x="1852" y="213"/>
                  <a:pt x="1852" y="213"/>
                  <a:pt x="1852" y="213"/>
                </a:cubicBezTo>
                <a:cubicBezTo>
                  <a:pt x="1850" y="212"/>
                  <a:pt x="1850" y="212"/>
                  <a:pt x="1850" y="212"/>
                </a:cubicBezTo>
                <a:cubicBezTo>
                  <a:pt x="1848" y="214"/>
                  <a:pt x="1848" y="214"/>
                  <a:pt x="1848" y="214"/>
                </a:cubicBezTo>
                <a:cubicBezTo>
                  <a:pt x="1846" y="218"/>
                  <a:pt x="1846" y="218"/>
                  <a:pt x="1846" y="218"/>
                </a:cubicBezTo>
                <a:cubicBezTo>
                  <a:pt x="1843" y="221"/>
                  <a:pt x="1843" y="221"/>
                  <a:pt x="1843" y="221"/>
                </a:cubicBezTo>
                <a:cubicBezTo>
                  <a:pt x="1840" y="222"/>
                  <a:pt x="1840" y="222"/>
                  <a:pt x="1840" y="222"/>
                </a:cubicBezTo>
                <a:cubicBezTo>
                  <a:pt x="1839" y="223"/>
                  <a:pt x="1839" y="223"/>
                  <a:pt x="1839" y="223"/>
                </a:cubicBezTo>
                <a:cubicBezTo>
                  <a:pt x="1838" y="226"/>
                  <a:pt x="1838" y="226"/>
                  <a:pt x="1838" y="226"/>
                </a:cubicBezTo>
                <a:cubicBezTo>
                  <a:pt x="1836" y="229"/>
                  <a:pt x="1836" y="229"/>
                  <a:pt x="1836" y="229"/>
                </a:cubicBezTo>
                <a:cubicBezTo>
                  <a:pt x="1833" y="231"/>
                  <a:pt x="1833" y="231"/>
                  <a:pt x="1833" y="231"/>
                </a:cubicBezTo>
                <a:cubicBezTo>
                  <a:pt x="1833" y="233"/>
                  <a:pt x="1833" y="233"/>
                  <a:pt x="1833" y="233"/>
                </a:cubicBezTo>
                <a:cubicBezTo>
                  <a:pt x="1834" y="236"/>
                  <a:pt x="1834" y="236"/>
                  <a:pt x="1834" y="236"/>
                </a:cubicBezTo>
                <a:cubicBezTo>
                  <a:pt x="1838" y="240"/>
                  <a:pt x="1838" y="240"/>
                  <a:pt x="1838" y="240"/>
                </a:cubicBezTo>
                <a:cubicBezTo>
                  <a:pt x="1841" y="244"/>
                  <a:pt x="1841" y="244"/>
                  <a:pt x="1841" y="244"/>
                </a:cubicBezTo>
                <a:cubicBezTo>
                  <a:pt x="1840" y="246"/>
                  <a:pt x="1840" y="246"/>
                  <a:pt x="1840" y="246"/>
                </a:cubicBezTo>
                <a:cubicBezTo>
                  <a:pt x="1838" y="246"/>
                  <a:pt x="1838" y="246"/>
                  <a:pt x="1838" y="246"/>
                </a:cubicBezTo>
                <a:cubicBezTo>
                  <a:pt x="1838" y="248"/>
                  <a:pt x="1838" y="248"/>
                  <a:pt x="1838" y="248"/>
                </a:cubicBezTo>
                <a:cubicBezTo>
                  <a:pt x="1836" y="250"/>
                  <a:pt x="1836" y="250"/>
                  <a:pt x="1836" y="250"/>
                </a:cubicBezTo>
                <a:cubicBezTo>
                  <a:pt x="1835" y="251"/>
                  <a:pt x="1835" y="251"/>
                  <a:pt x="1835" y="251"/>
                </a:cubicBezTo>
                <a:cubicBezTo>
                  <a:pt x="1833" y="249"/>
                  <a:pt x="1833" y="249"/>
                  <a:pt x="1833" y="249"/>
                </a:cubicBezTo>
                <a:cubicBezTo>
                  <a:pt x="1826" y="246"/>
                  <a:pt x="1826" y="246"/>
                  <a:pt x="1826" y="246"/>
                </a:cubicBezTo>
                <a:cubicBezTo>
                  <a:pt x="1824" y="246"/>
                  <a:pt x="1824" y="246"/>
                  <a:pt x="1824" y="246"/>
                </a:cubicBezTo>
                <a:cubicBezTo>
                  <a:pt x="1823" y="244"/>
                  <a:pt x="1823" y="244"/>
                  <a:pt x="1823" y="244"/>
                </a:cubicBezTo>
                <a:cubicBezTo>
                  <a:pt x="1820" y="244"/>
                  <a:pt x="1820" y="244"/>
                  <a:pt x="1820" y="244"/>
                </a:cubicBezTo>
                <a:cubicBezTo>
                  <a:pt x="1818" y="243"/>
                  <a:pt x="1818" y="243"/>
                  <a:pt x="1818" y="243"/>
                </a:cubicBezTo>
                <a:cubicBezTo>
                  <a:pt x="1817" y="240"/>
                  <a:pt x="1817" y="240"/>
                  <a:pt x="1817" y="240"/>
                </a:cubicBezTo>
                <a:cubicBezTo>
                  <a:pt x="1814" y="240"/>
                  <a:pt x="1814" y="240"/>
                  <a:pt x="1814" y="240"/>
                </a:cubicBezTo>
                <a:cubicBezTo>
                  <a:pt x="1811" y="238"/>
                  <a:pt x="1811" y="238"/>
                  <a:pt x="1811" y="238"/>
                </a:cubicBezTo>
                <a:cubicBezTo>
                  <a:pt x="1809" y="238"/>
                  <a:pt x="1809" y="238"/>
                  <a:pt x="1809" y="238"/>
                </a:cubicBezTo>
                <a:cubicBezTo>
                  <a:pt x="1809" y="240"/>
                  <a:pt x="1809" y="240"/>
                  <a:pt x="1809" y="240"/>
                </a:cubicBezTo>
                <a:cubicBezTo>
                  <a:pt x="1809" y="241"/>
                  <a:pt x="1809" y="241"/>
                  <a:pt x="1809" y="241"/>
                </a:cubicBezTo>
                <a:cubicBezTo>
                  <a:pt x="1809" y="242"/>
                  <a:pt x="1809" y="242"/>
                  <a:pt x="1809" y="242"/>
                </a:cubicBezTo>
                <a:cubicBezTo>
                  <a:pt x="1809" y="243"/>
                  <a:pt x="1809" y="243"/>
                  <a:pt x="1809" y="243"/>
                </a:cubicBezTo>
                <a:cubicBezTo>
                  <a:pt x="1808" y="245"/>
                  <a:pt x="1808" y="245"/>
                  <a:pt x="1808" y="245"/>
                </a:cubicBezTo>
                <a:cubicBezTo>
                  <a:pt x="1806" y="244"/>
                  <a:pt x="1806" y="244"/>
                  <a:pt x="1806" y="244"/>
                </a:cubicBezTo>
                <a:cubicBezTo>
                  <a:pt x="1808" y="247"/>
                  <a:pt x="1808" y="247"/>
                  <a:pt x="1808" y="247"/>
                </a:cubicBezTo>
                <a:cubicBezTo>
                  <a:pt x="1808" y="249"/>
                  <a:pt x="1808" y="249"/>
                  <a:pt x="1808" y="249"/>
                </a:cubicBezTo>
                <a:cubicBezTo>
                  <a:pt x="1811" y="251"/>
                  <a:pt x="1811" y="251"/>
                  <a:pt x="1811" y="251"/>
                </a:cubicBezTo>
                <a:cubicBezTo>
                  <a:pt x="1813" y="253"/>
                  <a:pt x="1813" y="253"/>
                  <a:pt x="1813" y="253"/>
                </a:cubicBezTo>
                <a:cubicBezTo>
                  <a:pt x="1815" y="254"/>
                  <a:pt x="1815" y="254"/>
                  <a:pt x="1815" y="254"/>
                </a:cubicBezTo>
                <a:cubicBezTo>
                  <a:pt x="1817" y="253"/>
                  <a:pt x="1817" y="253"/>
                  <a:pt x="1817" y="253"/>
                </a:cubicBezTo>
                <a:cubicBezTo>
                  <a:pt x="1818" y="254"/>
                  <a:pt x="1818" y="254"/>
                  <a:pt x="1818" y="254"/>
                </a:cubicBezTo>
                <a:cubicBezTo>
                  <a:pt x="1820" y="252"/>
                  <a:pt x="1820" y="252"/>
                  <a:pt x="1820" y="252"/>
                </a:cubicBezTo>
                <a:cubicBezTo>
                  <a:pt x="1820" y="254"/>
                  <a:pt x="1820" y="254"/>
                  <a:pt x="1820" y="254"/>
                </a:cubicBezTo>
                <a:cubicBezTo>
                  <a:pt x="1822" y="255"/>
                  <a:pt x="1822" y="255"/>
                  <a:pt x="1822" y="255"/>
                </a:cubicBezTo>
                <a:cubicBezTo>
                  <a:pt x="1822" y="256"/>
                  <a:pt x="1822" y="256"/>
                  <a:pt x="1822" y="256"/>
                </a:cubicBezTo>
                <a:cubicBezTo>
                  <a:pt x="1822" y="257"/>
                  <a:pt x="1822" y="257"/>
                  <a:pt x="1822" y="257"/>
                </a:cubicBezTo>
                <a:cubicBezTo>
                  <a:pt x="1823" y="258"/>
                  <a:pt x="1823" y="258"/>
                  <a:pt x="1823" y="258"/>
                </a:cubicBezTo>
                <a:cubicBezTo>
                  <a:pt x="1823" y="261"/>
                  <a:pt x="1823" y="261"/>
                  <a:pt x="1823" y="261"/>
                </a:cubicBezTo>
                <a:cubicBezTo>
                  <a:pt x="1822" y="262"/>
                  <a:pt x="1822" y="262"/>
                  <a:pt x="1822" y="262"/>
                </a:cubicBezTo>
                <a:cubicBezTo>
                  <a:pt x="1820" y="262"/>
                  <a:pt x="1820" y="262"/>
                  <a:pt x="1820" y="262"/>
                </a:cubicBezTo>
                <a:cubicBezTo>
                  <a:pt x="1818" y="264"/>
                  <a:pt x="1818" y="264"/>
                  <a:pt x="1818" y="264"/>
                </a:cubicBezTo>
                <a:cubicBezTo>
                  <a:pt x="1817" y="264"/>
                  <a:pt x="1817" y="264"/>
                  <a:pt x="1817" y="264"/>
                </a:cubicBezTo>
                <a:cubicBezTo>
                  <a:pt x="1815" y="262"/>
                  <a:pt x="1815" y="262"/>
                  <a:pt x="1815" y="262"/>
                </a:cubicBezTo>
                <a:cubicBezTo>
                  <a:pt x="1812" y="262"/>
                  <a:pt x="1812" y="262"/>
                  <a:pt x="1812" y="262"/>
                </a:cubicBezTo>
                <a:cubicBezTo>
                  <a:pt x="1811" y="261"/>
                  <a:pt x="1811" y="261"/>
                  <a:pt x="1811" y="261"/>
                </a:cubicBezTo>
                <a:cubicBezTo>
                  <a:pt x="1808" y="261"/>
                  <a:pt x="1808" y="261"/>
                  <a:pt x="1808" y="261"/>
                </a:cubicBezTo>
                <a:cubicBezTo>
                  <a:pt x="1807" y="260"/>
                  <a:pt x="1807" y="260"/>
                  <a:pt x="1807" y="260"/>
                </a:cubicBezTo>
                <a:cubicBezTo>
                  <a:pt x="1807" y="258"/>
                  <a:pt x="1807" y="258"/>
                  <a:pt x="1807" y="258"/>
                </a:cubicBezTo>
                <a:cubicBezTo>
                  <a:pt x="1805" y="257"/>
                  <a:pt x="1805" y="257"/>
                  <a:pt x="1805" y="257"/>
                </a:cubicBezTo>
                <a:cubicBezTo>
                  <a:pt x="1803" y="255"/>
                  <a:pt x="1803" y="255"/>
                  <a:pt x="1803" y="255"/>
                </a:cubicBezTo>
                <a:cubicBezTo>
                  <a:pt x="1803" y="255"/>
                  <a:pt x="1803" y="255"/>
                  <a:pt x="1803" y="255"/>
                </a:cubicBezTo>
                <a:cubicBezTo>
                  <a:pt x="1801" y="256"/>
                  <a:pt x="1801" y="256"/>
                  <a:pt x="1801" y="256"/>
                </a:cubicBezTo>
                <a:cubicBezTo>
                  <a:pt x="1797" y="255"/>
                  <a:pt x="1797" y="255"/>
                  <a:pt x="1797" y="255"/>
                </a:cubicBezTo>
                <a:cubicBezTo>
                  <a:pt x="1796" y="253"/>
                  <a:pt x="1796" y="253"/>
                  <a:pt x="1796" y="253"/>
                </a:cubicBezTo>
                <a:cubicBezTo>
                  <a:pt x="1795" y="252"/>
                  <a:pt x="1795" y="252"/>
                  <a:pt x="1795" y="252"/>
                </a:cubicBezTo>
                <a:cubicBezTo>
                  <a:pt x="1796" y="251"/>
                  <a:pt x="1796" y="251"/>
                  <a:pt x="1796" y="251"/>
                </a:cubicBezTo>
                <a:cubicBezTo>
                  <a:pt x="1795" y="248"/>
                  <a:pt x="1795" y="248"/>
                  <a:pt x="1795" y="248"/>
                </a:cubicBezTo>
                <a:cubicBezTo>
                  <a:pt x="1795" y="246"/>
                  <a:pt x="1795" y="246"/>
                  <a:pt x="1795" y="246"/>
                </a:cubicBezTo>
                <a:cubicBezTo>
                  <a:pt x="1793" y="245"/>
                  <a:pt x="1793" y="245"/>
                  <a:pt x="1793" y="245"/>
                </a:cubicBezTo>
                <a:cubicBezTo>
                  <a:pt x="1793" y="243"/>
                  <a:pt x="1793" y="243"/>
                  <a:pt x="1793" y="243"/>
                </a:cubicBezTo>
                <a:cubicBezTo>
                  <a:pt x="1791" y="241"/>
                  <a:pt x="1791" y="241"/>
                  <a:pt x="1791" y="241"/>
                </a:cubicBezTo>
                <a:cubicBezTo>
                  <a:pt x="1790" y="238"/>
                  <a:pt x="1790" y="238"/>
                  <a:pt x="1790" y="238"/>
                </a:cubicBezTo>
                <a:cubicBezTo>
                  <a:pt x="1789" y="238"/>
                  <a:pt x="1789" y="238"/>
                  <a:pt x="1789" y="238"/>
                </a:cubicBezTo>
                <a:cubicBezTo>
                  <a:pt x="1789" y="236"/>
                  <a:pt x="1789" y="236"/>
                  <a:pt x="1789" y="236"/>
                </a:cubicBezTo>
                <a:cubicBezTo>
                  <a:pt x="1791" y="236"/>
                  <a:pt x="1791" y="236"/>
                  <a:pt x="1791" y="236"/>
                </a:cubicBezTo>
                <a:cubicBezTo>
                  <a:pt x="1791" y="232"/>
                  <a:pt x="1791" y="232"/>
                  <a:pt x="1791" y="232"/>
                </a:cubicBezTo>
                <a:cubicBezTo>
                  <a:pt x="1791" y="230"/>
                  <a:pt x="1791" y="230"/>
                  <a:pt x="1791" y="230"/>
                </a:cubicBezTo>
                <a:cubicBezTo>
                  <a:pt x="1790" y="230"/>
                  <a:pt x="1790" y="230"/>
                  <a:pt x="1790" y="230"/>
                </a:cubicBezTo>
                <a:cubicBezTo>
                  <a:pt x="1790" y="229"/>
                  <a:pt x="1790" y="229"/>
                  <a:pt x="1790" y="229"/>
                </a:cubicBezTo>
                <a:cubicBezTo>
                  <a:pt x="1791" y="227"/>
                  <a:pt x="1791" y="227"/>
                  <a:pt x="1791" y="227"/>
                </a:cubicBezTo>
                <a:cubicBezTo>
                  <a:pt x="1790" y="227"/>
                  <a:pt x="1790" y="227"/>
                  <a:pt x="1790" y="227"/>
                </a:cubicBezTo>
                <a:cubicBezTo>
                  <a:pt x="1788" y="224"/>
                  <a:pt x="1788" y="224"/>
                  <a:pt x="1788" y="224"/>
                </a:cubicBezTo>
                <a:cubicBezTo>
                  <a:pt x="1783" y="222"/>
                  <a:pt x="1783" y="222"/>
                  <a:pt x="1783" y="222"/>
                </a:cubicBezTo>
                <a:cubicBezTo>
                  <a:pt x="1782" y="223"/>
                  <a:pt x="1782" y="223"/>
                  <a:pt x="1782" y="223"/>
                </a:cubicBezTo>
                <a:cubicBezTo>
                  <a:pt x="1781" y="222"/>
                  <a:pt x="1781" y="222"/>
                  <a:pt x="1781" y="222"/>
                </a:cubicBezTo>
                <a:cubicBezTo>
                  <a:pt x="1779" y="222"/>
                  <a:pt x="1779" y="222"/>
                  <a:pt x="1779" y="222"/>
                </a:cubicBezTo>
                <a:cubicBezTo>
                  <a:pt x="1779" y="223"/>
                  <a:pt x="1779" y="223"/>
                  <a:pt x="1779" y="223"/>
                </a:cubicBezTo>
                <a:cubicBezTo>
                  <a:pt x="1776" y="222"/>
                  <a:pt x="1776" y="222"/>
                  <a:pt x="1776" y="222"/>
                </a:cubicBezTo>
                <a:cubicBezTo>
                  <a:pt x="1777" y="221"/>
                  <a:pt x="1777" y="221"/>
                  <a:pt x="1777" y="221"/>
                </a:cubicBezTo>
                <a:cubicBezTo>
                  <a:pt x="1779" y="221"/>
                  <a:pt x="1779" y="221"/>
                  <a:pt x="1779" y="221"/>
                </a:cubicBezTo>
                <a:cubicBezTo>
                  <a:pt x="1780" y="219"/>
                  <a:pt x="1780" y="219"/>
                  <a:pt x="1780" y="219"/>
                </a:cubicBezTo>
                <a:cubicBezTo>
                  <a:pt x="1777" y="219"/>
                  <a:pt x="1777" y="219"/>
                  <a:pt x="1777" y="219"/>
                </a:cubicBezTo>
                <a:cubicBezTo>
                  <a:pt x="1777" y="219"/>
                  <a:pt x="1777" y="219"/>
                  <a:pt x="1777" y="219"/>
                </a:cubicBezTo>
                <a:cubicBezTo>
                  <a:pt x="1779" y="218"/>
                  <a:pt x="1779" y="218"/>
                  <a:pt x="1779" y="218"/>
                </a:cubicBezTo>
                <a:cubicBezTo>
                  <a:pt x="1777" y="217"/>
                  <a:pt x="1777" y="217"/>
                  <a:pt x="1777" y="217"/>
                </a:cubicBezTo>
                <a:cubicBezTo>
                  <a:pt x="1776" y="218"/>
                  <a:pt x="1776" y="218"/>
                  <a:pt x="1776" y="218"/>
                </a:cubicBezTo>
                <a:cubicBezTo>
                  <a:pt x="1773" y="219"/>
                  <a:pt x="1773" y="219"/>
                  <a:pt x="1773" y="219"/>
                </a:cubicBezTo>
                <a:cubicBezTo>
                  <a:pt x="1772" y="218"/>
                  <a:pt x="1772" y="218"/>
                  <a:pt x="1772" y="218"/>
                </a:cubicBezTo>
                <a:cubicBezTo>
                  <a:pt x="1773" y="217"/>
                  <a:pt x="1773" y="217"/>
                  <a:pt x="1773" y="217"/>
                </a:cubicBezTo>
                <a:cubicBezTo>
                  <a:pt x="1775" y="216"/>
                  <a:pt x="1775" y="216"/>
                  <a:pt x="1775" y="216"/>
                </a:cubicBezTo>
                <a:cubicBezTo>
                  <a:pt x="1775" y="215"/>
                  <a:pt x="1775" y="215"/>
                  <a:pt x="1775" y="215"/>
                </a:cubicBezTo>
                <a:cubicBezTo>
                  <a:pt x="1772" y="215"/>
                  <a:pt x="1772" y="215"/>
                  <a:pt x="1772" y="215"/>
                </a:cubicBezTo>
                <a:cubicBezTo>
                  <a:pt x="1771" y="213"/>
                  <a:pt x="1771" y="213"/>
                  <a:pt x="1771" y="213"/>
                </a:cubicBezTo>
                <a:cubicBezTo>
                  <a:pt x="1769" y="211"/>
                  <a:pt x="1769" y="211"/>
                  <a:pt x="1769" y="211"/>
                </a:cubicBezTo>
                <a:cubicBezTo>
                  <a:pt x="1768" y="209"/>
                  <a:pt x="1768" y="209"/>
                  <a:pt x="1768" y="209"/>
                </a:cubicBezTo>
                <a:cubicBezTo>
                  <a:pt x="1766" y="207"/>
                  <a:pt x="1766" y="207"/>
                  <a:pt x="1766" y="207"/>
                </a:cubicBezTo>
                <a:cubicBezTo>
                  <a:pt x="1767" y="207"/>
                  <a:pt x="1767" y="207"/>
                  <a:pt x="1767" y="207"/>
                </a:cubicBezTo>
                <a:cubicBezTo>
                  <a:pt x="1768" y="206"/>
                  <a:pt x="1768" y="206"/>
                  <a:pt x="1768" y="206"/>
                </a:cubicBezTo>
                <a:cubicBezTo>
                  <a:pt x="1769" y="207"/>
                  <a:pt x="1769" y="207"/>
                  <a:pt x="1769" y="207"/>
                </a:cubicBezTo>
                <a:cubicBezTo>
                  <a:pt x="1772" y="207"/>
                  <a:pt x="1772" y="207"/>
                  <a:pt x="1772" y="207"/>
                </a:cubicBezTo>
                <a:cubicBezTo>
                  <a:pt x="1772" y="209"/>
                  <a:pt x="1772" y="209"/>
                  <a:pt x="1772" y="209"/>
                </a:cubicBezTo>
                <a:cubicBezTo>
                  <a:pt x="1776" y="213"/>
                  <a:pt x="1776" y="213"/>
                  <a:pt x="1776" y="213"/>
                </a:cubicBezTo>
                <a:cubicBezTo>
                  <a:pt x="1778" y="213"/>
                  <a:pt x="1778" y="213"/>
                  <a:pt x="1778" y="213"/>
                </a:cubicBezTo>
                <a:cubicBezTo>
                  <a:pt x="1778" y="212"/>
                  <a:pt x="1778" y="212"/>
                  <a:pt x="1778" y="212"/>
                </a:cubicBezTo>
                <a:cubicBezTo>
                  <a:pt x="1780" y="214"/>
                  <a:pt x="1780" y="214"/>
                  <a:pt x="1780" y="214"/>
                </a:cubicBezTo>
                <a:cubicBezTo>
                  <a:pt x="1783" y="214"/>
                  <a:pt x="1783" y="214"/>
                  <a:pt x="1783" y="214"/>
                </a:cubicBezTo>
                <a:cubicBezTo>
                  <a:pt x="1784" y="213"/>
                  <a:pt x="1784" y="213"/>
                  <a:pt x="1784" y="213"/>
                </a:cubicBezTo>
                <a:cubicBezTo>
                  <a:pt x="1785" y="214"/>
                  <a:pt x="1785" y="214"/>
                  <a:pt x="1785" y="214"/>
                </a:cubicBezTo>
                <a:cubicBezTo>
                  <a:pt x="1784" y="215"/>
                  <a:pt x="1784" y="215"/>
                  <a:pt x="1784" y="215"/>
                </a:cubicBezTo>
                <a:cubicBezTo>
                  <a:pt x="1785" y="216"/>
                  <a:pt x="1785" y="216"/>
                  <a:pt x="1785" y="216"/>
                </a:cubicBezTo>
                <a:cubicBezTo>
                  <a:pt x="1785" y="217"/>
                  <a:pt x="1785" y="217"/>
                  <a:pt x="1785" y="217"/>
                </a:cubicBezTo>
                <a:cubicBezTo>
                  <a:pt x="1787" y="217"/>
                  <a:pt x="1787" y="217"/>
                  <a:pt x="1787" y="217"/>
                </a:cubicBezTo>
                <a:cubicBezTo>
                  <a:pt x="1788" y="216"/>
                  <a:pt x="1788" y="216"/>
                  <a:pt x="1788" y="216"/>
                </a:cubicBezTo>
                <a:cubicBezTo>
                  <a:pt x="1791" y="216"/>
                  <a:pt x="1791" y="216"/>
                  <a:pt x="1791" y="216"/>
                </a:cubicBezTo>
                <a:cubicBezTo>
                  <a:pt x="1790" y="217"/>
                  <a:pt x="1790" y="217"/>
                  <a:pt x="1790" y="217"/>
                </a:cubicBezTo>
                <a:cubicBezTo>
                  <a:pt x="1792" y="217"/>
                  <a:pt x="1792" y="217"/>
                  <a:pt x="1792" y="217"/>
                </a:cubicBezTo>
                <a:cubicBezTo>
                  <a:pt x="1794" y="216"/>
                  <a:pt x="1794" y="216"/>
                  <a:pt x="1794" y="216"/>
                </a:cubicBezTo>
                <a:cubicBezTo>
                  <a:pt x="1794" y="218"/>
                  <a:pt x="1794" y="218"/>
                  <a:pt x="1794" y="218"/>
                </a:cubicBezTo>
                <a:cubicBezTo>
                  <a:pt x="1796" y="220"/>
                  <a:pt x="1796" y="220"/>
                  <a:pt x="1796" y="220"/>
                </a:cubicBezTo>
                <a:cubicBezTo>
                  <a:pt x="1798" y="219"/>
                  <a:pt x="1798" y="219"/>
                  <a:pt x="1798" y="219"/>
                </a:cubicBezTo>
                <a:cubicBezTo>
                  <a:pt x="1799" y="220"/>
                  <a:pt x="1799" y="220"/>
                  <a:pt x="1799" y="220"/>
                </a:cubicBezTo>
                <a:cubicBezTo>
                  <a:pt x="1800" y="221"/>
                  <a:pt x="1800" y="221"/>
                  <a:pt x="1800" y="221"/>
                </a:cubicBezTo>
                <a:cubicBezTo>
                  <a:pt x="1802" y="221"/>
                  <a:pt x="1802" y="221"/>
                  <a:pt x="1802" y="221"/>
                </a:cubicBezTo>
                <a:cubicBezTo>
                  <a:pt x="1804" y="221"/>
                  <a:pt x="1804" y="221"/>
                  <a:pt x="1804" y="221"/>
                </a:cubicBezTo>
                <a:cubicBezTo>
                  <a:pt x="1806" y="220"/>
                  <a:pt x="1806" y="220"/>
                  <a:pt x="1806" y="220"/>
                </a:cubicBezTo>
                <a:cubicBezTo>
                  <a:pt x="1808" y="222"/>
                  <a:pt x="1808" y="222"/>
                  <a:pt x="1808" y="222"/>
                </a:cubicBezTo>
                <a:cubicBezTo>
                  <a:pt x="1811" y="223"/>
                  <a:pt x="1811" y="223"/>
                  <a:pt x="1811" y="223"/>
                </a:cubicBezTo>
                <a:cubicBezTo>
                  <a:pt x="1817" y="223"/>
                  <a:pt x="1817" y="223"/>
                  <a:pt x="1817" y="223"/>
                </a:cubicBezTo>
                <a:cubicBezTo>
                  <a:pt x="1822" y="223"/>
                  <a:pt x="1822" y="223"/>
                  <a:pt x="1822" y="223"/>
                </a:cubicBezTo>
                <a:cubicBezTo>
                  <a:pt x="1822" y="222"/>
                  <a:pt x="1822" y="222"/>
                  <a:pt x="1822" y="222"/>
                </a:cubicBezTo>
                <a:cubicBezTo>
                  <a:pt x="1825" y="222"/>
                  <a:pt x="1825" y="222"/>
                  <a:pt x="1825" y="222"/>
                </a:cubicBezTo>
                <a:cubicBezTo>
                  <a:pt x="1827" y="221"/>
                  <a:pt x="1827" y="221"/>
                  <a:pt x="1827" y="221"/>
                </a:cubicBezTo>
                <a:cubicBezTo>
                  <a:pt x="1830" y="220"/>
                  <a:pt x="1830" y="220"/>
                  <a:pt x="1830" y="220"/>
                </a:cubicBezTo>
                <a:cubicBezTo>
                  <a:pt x="1833" y="218"/>
                  <a:pt x="1833" y="218"/>
                  <a:pt x="1833" y="218"/>
                </a:cubicBezTo>
                <a:cubicBezTo>
                  <a:pt x="1837" y="213"/>
                  <a:pt x="1837" y="213"/>
                  <a:pt x="1837" y="213"/>
                </a:cubicBezTo>
                <a:cubicBezTo>
                  <a:pt x="1837" y="212"/>
                  <a:pt x="1837" y="212"/>
                  <a:pt x="1837" y="212"/>
                </a:cubicBezTo>
                <a:cubicBezTo>
                  <a:pt x="1839" y="209"/>
                  <a:pt x="1839" y="209"/>
                  <a:pt x="1839" y="209"/>
                </a:cubicBezTo>
                <a:cubicBezTo>
                  <a:pt x="1839" y="208"/>
                  <a:pt x="1839" y="208"/>
                  <a:pt x="1839" y="208"/>
                </a:cubicBezTo>
                <a:cubicBezTo>
                  <a:pt x="1840" y="206"/>
                  <a:pt x="1840" y="206"/>
                  <a:pt x="1840" y="206"/>
                </a:cubicBezTo>
                <a:cubicBezTo>
                  <a:pt x="1840" y="203"/>
                  <a:pt x="1840" y="203"/>
                  <a:pt x="1840" y="203"/>
                </a:cubicBezTo>
                <a:cubicBezTo>
                  <a:pt x="1840" y="201"/>
                  <a:pt x="1840" y="201"/>
                  <a:pt x="1840" y="201"/>
                </a:cubicBezTo>
                <a:cubicBezTo>
                  <a:pt x="1840" y="198"/>
                  <a:pt x="1840" y="198"/>
                  <a:pt x="1840" y="198"/>
                </a:cubicBezTo>
                <a:cubicBezTo>
                  <a:pt x="1840" y="197"/>
                  <a:pt x="1840" y="197"/>
                  <a:pt x="1840" y="197"/>
                </a:cubicBezTo>
                <a:cubicBezTo>
                  <a:pt x="1839" y="198"/>
                  <a:pt x="1839" y="198"/>
                  <a:pt x="1839" y="198"/>
                </a:cubicBezTo>
                <a:cubicBezTo>
                  <a:pt x="1837" y="195"/>
                  <a:pt x="1837" y="195"/>
                  <a:pt x="1837" y="195"/>
                </a:cubicBezTo>
                <a:cubicBezTo>
                  <a:pt x="1836" y="194"/>
                  <a:pt x="1836" y="194"/>
                  <a:pt x="1836" y="194"/>
                </a:cubicBezTo>
                <a:cubicBezTo>
                  <a:pt x="1835" y="192"/>
                  <a:pt x="1835" y="192"/>
                  <a:pt x="1835" y="192"/>
                </a:cubicBezTo>
                <a:cubicBezTo>
                  <a:pt x="1833" y="190"/>
                  <a:pt x="1833" y="190"/>
                  <a:pt x="1833" y="190"/>
                </a:cubicBezTo>
                <a:cubicBezTo>
                  <a:pt x="1831" y="189"/>
                  <a:pt x="1831" y="189"/>
                  <a:pt x="1831" y="189"/>
                </a:cubicBezTo>
                <a:cubicBezTo>
                  <a:pt x="1831" y="190"/>
                  <a:pt x="1831" y="190"/>
                  <a:pt x="1831" y="190"/>
                </a:cubicBezTo>
                <a:cubicBezTo>
                  <a:pt x="1829" y="189"/>
                  <a:pt x="1829" y="189"/>
                  <a:pt x="1829" y="189"/>
                </a:cubicBezTo>
                <a:cubicBezTo>
                  <a:pt x="1829" y="188"/>
                  <a:pt x="1829" y="188"/>
                  <a:pt x="1829" y="188"/>
                </a:cubicBezTo>
                <a:cubicBezTo>
                  <a:pt x="1825" y="185"/>
                  <a:pt x="1825" y="185"/>
                  <a:pt x="1825" y="185"/>
                </a:cubicBezTo>
                <a:cubicBezTo>
                  <a:pt x="1825" y="183"/>
                  <a:pt x="1825" y="183"/>
                  <a:pt x="1825" y="183"/>
                </a:cubicBezTo>
                <a:cubicBezTo>
                  <a:pt x="1823" y="181"/>
                  <a:pt x="1823" y="181"/>
                  <a:pt x="1823" y="181"/>
                </a:cubicBezTo>
                <a:cubicBezTo>
                  <a:pt x="1822" y="181"/>
                  <a:pt x="1822" y="181"/>
                  <a:pt x="1822" y="181"/>
                </a:cubicBezTo>
                <a:cubicBezTo>
                  <a:pt x="1822" y="182"/>
                  <a:pt x="1822" y="182"/>
                  <a:pt x="1822" y="182"/>
                </a:cubicBezTo>
                <a:cubicBezTo>
                  <a:pt x="1824" y="184"/>
                  <a:pt x="1824" y="184"/>
                  <a:pt x="1824" y="184"/>
                </a:cubicBezTo>
                <a:cubicBezTo>
                  <a:pt x="1822" y="185"/>
                  <a:pt x="1822" y="185"/>
                  <a:pt x="1822" y="185"/>
                </a:cubicBezTo>
                <a:cubicBezTo>
                  <a:pt x="1820" y="183"/>
                  <a:pt x="1820" y="183"/>
                  <a:pt x="1820" y="183"/>
                </a:cubicBezTo>
                <a:cubicBezTo>
                  <a:pt x="1818" y="182"/>
                  <a:pt x="1818" y="182"/>
                  <a:pt x="1818" y="182"/>
                </a:cubicBezTo>
                <a:cubicBezTo>
                  <a:pt x="1815" y="180"/>
                  <a:pt x="1815" y="180"/>
                  <a:pt x="1815" y="180"/>
                </a:cubicBezTo>
                <a:cubicBezTo>
                  <a:pt x="1814" y="180"/>
                  <a:pt x="1814" y="180"/>
                  <a:pt x="1814" y="180"/>
                </a:cubicBezTo>
                <a:cubicBezTo>
                  <a:pt x="1814" y="181"/>
                  <a:pt x="1814" y="181"/>
                  <a:pt x="1814" y="181"/>
                </a:cubicBezTo>
                <a:cubicBezTo>
                  <a:pt x="1815" y="182"/>
                  <a:pt x="1815" y="182"/>
                  <a:pt x="1815" y="182"/>
                </a:cubicBezTo>
                <a:cubicBezTo>
                  <a:pt x="1813" y="181"/>
                  <a:pt x="1813" y="181"/>
                  <a:pt x="1813" y="181"/>
                </a:cubicBezTo>
                <a:cubicBezTo>
                  <a:pt x="1811" y="178"/>
                  <a:pt x="1811" y="178"/>
                  <a:pt x="1811" y="178"/>
                </a:cubicBezTo>
                <a:cubicBezTo>
                  <a:pt x="1809" y="177"/>
                  <a:pt x="1809" y="177"/>
                  <a:pt x="1809" y="177"/>
                </a:cubicBezTo>
                <a:cubicBezTo>
                  <a:pt x="1807" y="176"/>
                  <a:pt x="1807" y="176"/>
                  <a:pt x="1807" y="176"/>
                </a:cubicBezTo>
                <a:cubicBezTo>
                  <a:pt x="1800" y="171"/>
                  <a:pt x="1800" y="171"/>
                  <a:pt x="1800" y="171"/>
                </a:cubicBezTo>
                <a:cubicBezTo>
                  <a:pt x="1790" y="165"/>
                  <a:pt x="1790" y="165"/>
                  <a:pt x="1790" y="165"/>
                </a:cubicBezTo>
                <a:cubicBezTo>
                  <a:pt x="1788" y="164"/>
                  <a:pt x="1788" y="164"/>
                  <a:pt x="1788" y="164"/>
                </a:cubicBezTo>
                <a:cubicBezTo>
                  <a:pt x="1787" y="165"/>
                  <a:pt x="1787" y="165"/>
                  <a:pt x="1787" y="165"/>
                </a:cubicBezTo>
                <a:cubicBezTo>
                  <a:pt x="1785" y="164"/>
                  <a:pt x="1785" y="164"/>
                  <a:pt x="1785" y="164"/>
                </a:cubicBezTo>
                <a:cubicBezTo>
                  <a:pt x="1783" y="164"/>
                  <a:pt x="1783" y="164"/>
                  <a:pt x="1783" y="164"/>
                </a:cubicBezTo>
                <a:cubicBezTo>
                  <a:pt x="1783" y="164"/>
                  <a:pt x="1783" y="164"/>
                  <a:pt x="1783" y="164"/>
                </a:cubicBezTo>
                <a:cubicBezTo>
                  <a:pt x="1782" y="165"/>
                  <a:pt x="1782" y="165"/>
                  <a:pt x="1782" y="165"/>
                </a:cubicBezTo>
                <a:cubicBezTo>
                  <a:pt x="1780" y="165"/>
                  <a:pt x="1780" y="165"/>
                  <a:pt x="1780" y="165"/>
                </a:cubicBezTo>
                <a:cubicBezTo>
                  <a:pt x="1777" y="164"/>
                  <a:pt x="1777" y="164"/>
                  <a:pt x="1777" y="164"/>
                </a:cubicBezTo>
                <a:cubicBezTo>
                  <a:pt x="1775" y="163"/>
                  <a:pt x="1775" y="163"/>
                  <a:pt x="1775" y="163"/>
                </a:cubicBezTo>
                <a:cubicBezTo>
                  <a:pt x="1773" y="162"/>
                  <a:pt x="1773" y="162"/>
                  <a:pt x="1773" y="162"/>
                </a:cubicBezTo>
                <a:cubicBezTo>
                  <a:pt x="1773" y="162"/>
                  <a:pt x="1773" y="162"/>
                  <a:pt x="1773" y="162"/>
                </a:cubicBezTo>
                <a:cubicBezTo>
                  <a:pt x="1774" y="164"/>
                  <a:pt x="1774" y="164"/>
                  <a:pt x="1774" y="164"/>
                </a:cubicBezTo>
                <a:cubicBezTo>
                  <a:pt x="1774" y="165"/>
                  <a:pt x="1774" y="165"/>
                  <a:pt x="1774" y="165"/>
                </a:cubicBezTo>
                <a:cubicBezTo>
                  <a:pt x="1773" y="164"/>
                  <a:pt x="1773" y="164"/>
                  <a:pt x="1773" y="164"/>
                </a:cubicBezTo>
                <a:cubicBezTo>
                  <a:pt x="1771" y="164"/>
                  <a:pt x="1771" y="164"/>
                  <a:pt x="1771" y="164"/>
                </a:cubicBezTo>
                <a:cubicBezTo>
                  <a:pt x="1770" y="165"/>
                  <a:pt x="1770" y="165"/>
                  <a:pt x="1770" y="165"/>
                </a:cubicBezTo>
                <a:cubicBezTo>
                  <a:pt x="1770" y="166"/>
                  <a:pt x="1770" y="166"/>
                  <a:pt x="1770" y="166"/>
                </a:cubicBezTo>
                <a:cubicBezTo>
                  <a:pt x="1769" y="168"/>
                  <a:pt x="1769" y="168"/>
                  <a:pt x="1769" y="168"/>
                </a:cubicBezTo>
                <a:cubicBezTo>
                  <a:pt x="1767" y="169"/>
                  <a:pt x="1767" y="169"/>
                  <a:pt x="1767" y="169"/>
                </a:cubicBezTo>
                <a:cubicBezTo>
                  <a:pt x="1768" y="167"/>
                  <a:pt x="1768" y="167"/>
                  <a:pt x="1768" y="167"/>
                </a:cubicBezTo>
                <a:cubicBezTo>
                  <a:pt x="1769" y="166"/>
                  <a:pt x="1769" y="166"/>
                  <a:pt x="1769" y="166"/>
                </a:cubicBezTo>
                <a:cubicBezTo>
                  <a:pt x="1769" y="165"/>
                  <a:pt x="1769" y="165"/>
                  <a:pt x="1769" y="165"/>
                </a:cubicBezTo>
                <a:cubicBezTo>
                  <a:pt x="1767" y="165"/>
                  <a:pt x="1767" y="165"/>
                  <a:pt x="1767" y="165"/>
                </a:cubicBezTo>
                <a:cubicBezTo>
                  <a:pt x="1767" y="164"/>
                  <a:pt x="1767" y="164"/>
                  <a:pt x="1767" y="164"/>
                </a:cubicBezTo>
                <a:cubicBezTo>
                  <a:pt x="1768" y="163"/>
                  <a:pt x="1768" y="163"/>
                  <a:pt x="1768" y="163"/>
                </a:cubicBezTo>
                <a:cubicBezTo>
                  <a:pt x="1767" y="163"/>
                  <a:pt x="1767" y="163"/>
                  <a:pt x="1767" y="163"/>
                </a:cubicBezTo>
                <a:cubicBezTo>
                  <a:pt x="1766" y="164"/>
                  <a:pt x="1766" y="164"/>
                  <a:pt x="1766" y="164"/>
                </a:cubicBezTo>
                <a:cubicBezTo>
                  <a:pt x="1765" y="166"/>
                  <a:pt x="1765" y="166"/>
                  <a:pt x="1765" y="166"/>
                </a:cubicBezTo>
                <a:cubicBezTo>
                  <a:pt x="1765" y="165"/>
                  <a:pt x="1765" y="165"/>
                  <a:pt x="1765" y="165"/>
                </a:cubicBezTo>
                <a:cubicBezTo>
                  <a:pt x="1765" y="164"/>
                  <a:pt x="1765" y="164"/>
                  <a:pt x="1765" y="164"/>
                </a:cubicBezTo>
                <a:cubicBezTo>
                  <a:pt x="1764" y="163"/>
                  <a:pt x="1764" y="163"/>
                  <a:pt x="1764" y="163"/>
                </a:cubicBezTo>
                <a:cubicBezTo>
                  <a:pt x="1763" y="164"/>
                  <a:pt x="1763" y="164"/>
                  <a:pt x="1763" y="164"/>
                </a:cubicBezTo>
                <a:cubicBezTo>
                  <a:pt x="1763" y="165"/>
                  <a:pt x="1763" y="165"/>
                  <a:pt x="1763" y="165"/>
                </a:cubicBezTo>
                <a:cubicBezTo>
                  <a:pt x="1763" y="163"/>
                  <a:pt x="1763" y="163"/>
                  <a:pt x="1763" y="163"/>
                </a:cubicBezTo>
                <a:cubicBezTo>
                  <a:pt x="1761" y="163"/>
                  <a:pt x="1761" y="163"/>
                  <a:pt x="1761" y="163"/>
                </a:cubicBezTo>
                <a:cubicBezTo>
                  <a:pt x="1759" y="164"/>
                  <a:pt x="1759" y="164"/>
                  <a:pt x="1759" y="164"/>
                </a:cubicBezTo>
                <a:cubicBezTo>
                  <a:pt x="1759" y="162"/>
                  <a:pt x="1759" y="162"/>
                  <a:pt x="1759" y="162"/>
                </a:cubicBezTo>
                <a:cubicBezTo>
                  <a:pt x="1758" y="162"/>
                  <a:pt x="1758" y="162"/>
                  <a:pt x="1758" y="162"/>
                </a:cubicBezTo>
                <a:cubicBezTo>
                  <a:pt x="1757" y="163"/>
                  <a:pt x="1757" y="163"/>
                  <a:pt x="1757" y="163"/>
                </a:cubicBezTo>
                <a:cubicBezTo>
                  <a:pt x="1756" y="161"/>
                  <a:pt x="1756" y="161"/>
                  <a:pt x="1756" y="161"/>
                </a:cubicBezTo>
                <a:cubicBezTo>
                  <a:pt x="1756" y="159"/>
                  <a:pt x="1756" y="159"/>
                  <a:pt x="1756" y="159"/>
                </a:cubicBezTo>
                <a:cubicBezTo>
                  <a:pt x="1757" y="157"/>
                  <a:pt x="1757" y="157"/>
                  <a:pt x="1757" y="157"/>
                </a:cubicBezTo>
                <a:cubicBezTo>
                  <a:pt x="1757" y="159"/>
                  <a:pt x="1757" y="159"/>
                  <a:pt x="1757" y="159"/>
                </a:cubicBezTo>
                <a:cubicBezTo>
                  <a:pt x="1759" y="160"/>
                  <a:pt x="1759" y="160"/>
                  <a:pt x="1759" y="160"/>
                </a:cubicBezTo>
                <a:cubicBezTo>
                  <a:pt x="1761" y="160"/>
                  <a:pt x="1761" y="160"/>
                  <a:pt x="1761" y="160"/>
                </a:cubicBezTo>
                <a:cubicBezTo>
                  <a:pt x="1763" y="161"/>
                  <a:pt x="1763" y="161"/>
                  <a:pt x="1763" y="161"/>
                </a:cubicBezTo>
                <a:cubicBezTo>
                  <a:pt x="1764" y="159"/>
                  <a:pt x="1764" y="159"/>
                  <a:pt x="1764" y="159"/>
                </a:cubicBezTo>
                <a:cubicBezTo>
                  <a:pt x="1764" y="158"/>
                  <a:pt x="1764" y="158"/>
                  <a:pt x="1764" y="158"/>
                </a:cubicBezTo>
                <a:cubicBezTo>
                  <a:pt x="1763" y="157"/>
                  <a:pt x="1763" y="157"/>
                  <a:pt x="1763" y="157"/>
                </a:cubicBezTo>
                <a:cubicBezTo>
                  <a:pt x="1763" y="157"/>
                  <a:pt x="1763" y="157"/>
                  <a:pt x="1763" y="157"/>
                </a:cubicBezTo>
                <a:cubicBezTo>
                  <a:pt x="1761" y="156"/>
                  <a:pt x="1761" y="156"/>
                  <a:pt x="1761" y="156"/>
                </a:cubicBezTo>
                <a:cubicBezTo>
                  <a:pt x="1760" y="157"/>
                  <a:pt x="1760" y="157"/>
                  <a:pt x="1760" y="157"/>
                </a:cubicBezTo>
                <a:cubicBezTo>
                  <a:pt x="1759" y="156"/>
                  <a:pt x="1759" y="156"/>
                  <a:pt x="1759" y="156"/>
                </a:cubicBezTo>
                <a:cubicBezTo>
                  <a:pt x="1758" y="154"/>
                  <a:pt x="1758" y="154"/>
                  <a:pt x="1758" y="154"/>
                </a:cubicBezTo>
                <a:cubicBezTo>
                  <a:pt x="1756" y="153"/>
                  <a:pt x="1756" y="153"/>
                  <a:pt x="1756" y="153"/>
                </a:cubicBezTo>
                <a:cubicBezTo>
                  <a:pt x="1754" y="153"/>
                  <a:pt x="1754" y="153"/>
                  <a:pt x="1754" y="153"/>
                </a:cubicBezTo>
                <a:cubicBezTo>
                  <a:pt x="1754" y="154"/>
                  <a:pt x="1754" y="154"/>
                  <a:pt x="1754" y="154"/>
                </a:cubicBezTo>
                <a:cubicBezTo>
                  <a:pt x="1755" y="155"/>
                  <a:pt x="1755" y="155"/>
                  <a:pt x="1755" y="155"/>
                </a:cubicBezTo>
                <a:cubicBezTo>
                  <a:pt x="1755" y="155"/>
                  <a:pt x="1755" y="155"/>
                  <a:pt x="1755" y="155"/>
                </a:cubicBezTo>
                <a:cubicBezTo>
                  <a:pt x="1755" y="156"/>
                  <a:pt x="1755" y="156"/>
                  <a:pt x="1755" y="156"/>
                </a:cubicBezTo>
                <a:cubicBezTo>
                  <a:pt x="1754" y="156"/>
                  <a:pt x="1754" y="156"/>
                  <a:pt x="1754" y="156"/>
                </a:cubicBezTo>
                <a:cubicBezTo>
                  <a:pt x="1753" y="156"/>
                  <a:pt x="1753" y="156"/>
                  <a:pt x="1753" y="156"/>
                </a:cubicBezTo>
                <a:cubicBezTo>
                  <a:pt x="1753" y="157"/>
                  <a:pt x="1753" y="157"/>
                  <a:pt x="1753" y="157"/>
                </a:cubicBezTo>
                <a:cubicBezTo>
                  <a:pt x="1754" y="158"/>
                  <a:pt x="1754" y="158"/>
                  <a:pt x="1754" y="158"/>
                </a:cubicBezTo>
                <a:cubicBezTo>
                  <a:pt x="1754" y="158"/>
                  <a:pt x="1754" y="158"/>
                  <a:pt x="1754" y="158"/>
                </a:cubicBezTo>
                <a:cubicBezTo>
                  <a:pt x="1752" y="158"/>
                  <a:pt x="1752" y="158"/>
                  <a:pt x="1752" y="158"/>
                </a:cubicBezTo>
                <a:cubicBezTo>
                  <a:pt x="1751" y="160"/>
                  <a:pt x="1751" y="160"/>
                  <a:pt x="1751" y="160"/>
                </a:cubicBezTo>
                <a:cubicBezTo>
                  <a:pt x="1751" y="162"/>
                  <a:pt x="1751" y="162"/>
                  <a:pt x="1751" y="162"/>
                </a:cubicBezTo>
                <a:cubicBezTo>
                  <a:pt x="1750" y="161"/>
                  <a:pt x="1750" y="161"/>
                  <a:pt x="1750" y="161"/>
                </a:cubicBezTo>
                <a:cubicBezTo>
                  <a:pt x="1750" y="159"/>
                  <a:pt x="1750" y="159"/>
                  <a:pt x="1750" y="159"/>
                </a:cubicBezTo>
                <a:cubicBezTo>
                  <a:pt x="1749" y="158"/>
                  <a:pt x="1749" y="158"/>
                  <a:pt x="1749" y="158"/>
                </a:cubicBezTo>
                <a:cubicBezTo>
                  <a:pt x="1747" y="158"/>
                  <a:pt x="1747" y="158"/>
                  <a:pt x="1747" y="158"/>
                </a:cubicBezTo>
                <a:cubicBezTo>
                  <a:pt x="1747" y="158"/>
                  <a:pt x="1747" y="158"/>
                  <a:pt x="1747" y="158"/>
                </a:cubicBezTo>
                <a:cubicBezTo>
                  <a:pt x="1747" y="158"/>
                  <a:pt x="1747" y="158"/>
                  <a:pt x="1747" y="158"/>
                </a:cubicBezTo>
                <a:cubicBezTo>
                  <a:pt x="1745" y="157"/>
                  <a:pt x="1745" y="157"/>
                  <a:pt x="1745" y="157"/>
                </a:cubicBezTo>
                <a:cubicBezTo>
                  <a:pt x="1744" y="157"/>
                  <a:pt x="1744" y="157"/>
                  <a:pt x="1744" y="157"/>
                </a:cubicBezTo>
                <a:cubicBezTo>
                  <a:pt x="1744" y="157"/>
                  <a:pt x="1744" y="157"/>
                  <a:pt x="1744" y="157"/>
                </a:cubicBezTo>
                <a:cubicBezTo>
                  <a:pt x="1744" y="158"/>
                  <a:pt x="1744" y="158"/>
                  <a:pt x="1744" y="158"/>
                </a:cubicBezTo>
                <a:cubicBezTo>
                  <a:pt x="1743" y="158"/>
                  <a:pt x="1743" y="158"/>
                  <a:pt x="1743" y="158"/>
                </a:cubicBezTo>
                <a:cubicBezTo>
                  <a:pt x="1742" y="156"/>
                  <a:pt x="1742" y="156"/>
                  <a:pt x="1742" y="156"/>
                </a:cubicBezTo>
                <a:cubicBezTo>
                  <a:pt x="1741" y="156"/>
                  <a:pt x="1741" y="156"/>
                  <a:pt x="1741" y="156"/>
                </a:cubicBezTo>
                <a:cubicBezTo>
                  <a:pt x="1741" y="157"/>
                  <a:pt x="1741" y="157"/>
                  <a:pt x="1741" y="157"/>
                </a:cubicBezTo>
                <a:cubicBezTo>
                  <a:pt x="1741" y="160"/>
                  <a:pt x="1741" y="160"/>
                  <a:pt x="1741" y="160"/>
                </a:cubicBezTo>
                <a:cubicBezTo>
                  <a:pt x="1740" y="159"/>
                  <a:pt x="1740" y="159"/>
                  <a:pt x="1740" y="159"/>
                </a:cubicBezTo>
                <a:cubicBezTo>
                  <a:pt x="1740" y="158"/>
                  <a:pt x="1740" y="158"/>
                  <a:pt x="1740" y="158"/>
                </a:cubicBezTo>
                <a:cubicBezTo>
                  <a:pt x="1738" y="159"/>
                  <a:pt x="1738" y="159"/>
                  <a:pt x="1738" y="159"/>
                </a:cubicBezTo>
                <a:cubicBezTo>
                  <a:pt x="1738" y="160"/>
                  <a:pt x="1738" y="160"/>
                  <a:pt x="1738" y="160"/>
                </a:cubicBezTo>
                <a:cubicBezTo>
                  <a:pt x="1737" y="158"/>
                  <a:pt x="1737" y="158"/>
                  <a:pt x="1737" y="158"/>
                </a:cubicBezTo>
                <a:cubicBezTo>
                  <a:pt x="1737" y="156"/>
                  <a:pt x="1737" y="156"/>
                  <a:pt x="1737" y="156"/>
                </a:cubicBezTo>
                <a:cubicBezTo>
                  <a:pt x="1736" y="156"/>
                  <a:pt x="1736" y="156"/>
                  <a:pt x="1736" y="156"/>
                </a:cubicBezTo>
                <a:cubicBezTo>
                  <a:pt x="1735" y="154"/>
                  <a:pt x="1735" y="154"/>
                  <a:pt x="1735" y="154"/>
                </a:cubicBezTo>
                <a:cubicBezTo>
                  <a:pt x="1734" y="153"/>
                  <a:pt x="1734" y="153"/>
                  <a:pt x="1734" y="153"/>
                </a:cubicBezTo>
                <a:cubicBezTo>
                  <a:pt x="1733" y="153"/>
                  <a:pt x="1733" y="153"/>
                  <a:pt x="1733" y="153"/>
                </a:cubicBezTo>
                <a:cubicBezTo>
                  <a:pt x="1731" y="153"/>
                  <a:pt x="1731" y="153"/>
                  <a:pt x="1731" y="153"/>
                </a:cubicBezTo>
                <a:cubicBezTo>
                  <a:pt x="1729" y="153"/>
                  <a:pt x="1729" y="153"/>
                  <a:pt x="1729" y="153"/>
                </a:cubicBezTo>
                <a:cubicBezTo>
                  <a:pt x="1728" y="151"/>
                  <a:pt x="1728" y="151"/>
                  <a:pt x="1728" y="151"/>
                </a:cubicBezTo>
                <a:cubicBezTo>
                  <a:pt x="1728" y="151"/>
                  <a:pt x="1728" y="151"/>
                  <a:pt x="1728" y="151"/>
                </a:cubicBezTo>
                <a:cubicBezTo>
                  <a:pt x="1731" y="151"/>
                  <a:pt x="1731" y="151"/>
                  <a:pt x="1731" y="151"/>
                </a:cubicBezTo>
                <a:cubicBezTo>
                  <a:pt x="1733" y="151"/>
                  <a:pt x="1733" y="151"/>
                  <a:pt x="1733" y="151"/>
                </a:cubicBezTo>
                <a:cubicBezTo>
                  <a:pt x="1736" y="152"/>
                  <a:pt x="1736" y="152"/>
                  <a:pt x="1736" y="152"/>
                </a:cubicBezTo>
                <a:cubicBezTo>
                  <a:pt x="1739" y="152"/>
                  <a:pt x="1739" y="152"/>
                  <a:pt x="1739" y="152"/>
                </a:cubicBezTo>
                <a:cubicBezTo>
                  <a:pt x="1742" y="151"/>
                  <a:pt x="1742" y="151"/>
                  <a:pt x="1742" y="151"/>
                </a:cubicBezTo>
                <a:cubicBezTo>
                  <a:pt x="1744" y="148"/>
                  <a:pt x="1744" y="148"/>
                  <a:pt x="1744" y="148"/>
                </a:cubicBezTo>
                <a:cubicBezTo>
                  <a:pt x="1748" y="147"/>
                  <a:pt x="1748" y="147"/>
                  <a:pt x="1748" y="147"/>
                </a:cubicBezTo>
                <a:cubicBezTo>
                  <a:pt x="1749" y="145"/>
                  <a:pt x="1749" y="145"/>
                  <a:pt x="1749" y="145"/>
                </a:cubicBezTo>
                <a:cubicBezTo>
                  <a:pt x="1749" y="145"/>
                  <a:pt x="1749" y="145"/>
                  <a:pt x="1749" y="145"/>
                </a:cubicBezTo>
                <a:cubicBezTo>
                  <a:pt x="1748" y="144"/>
                  <a:pt x="1748" y="144"/>
                  <a:pt x="1748" y="144"/>
                </a:cubicBezTo>
                <a:cubicBezTo>
                  <a:pt x="1748" y="143"/>
                  <a:pt x="1748" y="143"/>
                  <a:pt x="1748" y="143"/>
                </a:cubicBezTo>
                <a:cubicBezTo>
                  <a:pt x="1746" y="143"/>
                  <a:pt x="1746" y="143"/>
                  <a:pt x="1746" y="143"/>
                </a:cubicBezTo>
                <a:cubicBezTo>
                  <a:pt x="1745" y="143"/>
                  <a:pt x="1745" y="143"/>
                  <a:pt x="1745" y="143"/>
                </a:cubicBezTo>
                <a:cubicBezTo>
                  <a:pt x="1742" y="141"/>
                  <a:pt x="1742" y="141"/>
                  <a:pt x="1742" y="141"/>
                </a:cubicBezTo>
                <a:cubicBezTo>
                  <a:pt x="1741" y="141"/>
                  <a:pt x="1741" y="141"/>
                  <a:pt x="1741" y="141"/>
                </a:cubicBezTo>
                <a:cubicBezTo>
                  <a:pt x="1739" y="143"/>
                  <a:pt x="1739" y="143"/>
                  <a:pt x="1739" y="143"/>
                </a:cubicBezTo>
                <a:cubicBezTo>
                  <a:pt x="1738" y="143"/>
                  <a:pt x="1738" y="143"/>
                  <a:pt x="1738" y="143"/>
                </a:cubicBezTo>
                <a:cubicBezTo>
                  <a:pt x="1738" y="142"/>
                  <a:pt x="1738" y="142"/>
                  <a:pt x="1738" y="142"/>
                </a:cubicBezTo>
                <a:cubicBezTo>
                  <a:pt x="1740" y="141"/>
                  <a:pt x="1740" y="141"/>
                  <a:pt x="1740" y="141"/>
                </a:cubicBezTo>
                <a:cubicBezTo>
                  <a:pt x="1740" y="140"/>
                  <a:pt x="1740" y="140"/>
                  <a:pt x="1740" y="140"/>
                </a:cubicBezTo>
                <a:cubicBezTo>
                  <a:pt x="1738" y="139"/>
                  <a:pt x="1738" y="139"/>
                  <a:pt x="1738" y="139"/>
                </a:cubicBezTo>
                <a:cubicBezTo>
                  <a:pt x="1738" y="139"/>
                  <a:pt x="1738" y="139"/>
                  <a:pt x="1738" y="139"/>
                </a:cubicBezTo>
                <a:cubicBezTo>
                  <a:pt x="1736" y="139"/>
                  <a:pt x="1736" y="139"/>
                  <a:pt x="1736" y="139"/>
                </a:cubicBezTo>
                <a:cubicBezTo>
                  <a:pt x="1735" y="141"/>
                  <a:pt x="1735" y="141"/>
                  <a:pt x="1735" y="141"/>
                </a:cubicBezTo>
                <a:cubicBezTo>
                  <a:pt x="1734" y="141"/>
                  <a:pt x="1734" y="141"/>
                  <a:pt x="1734" y="141"/>
                </a:cubicBezTo>
                <a:cubicBezTo>
                  <a:pt x="1734" y="139"/>
                  <a:pt x="1734" y="139"/>
                  <a:pt x="1734" y="139"/>
                </a:cubicBezTo>
                <a:cubicBezTo>
                  <a:pt x="1733" y="139"/>
                  <a:pt x="1733" y="139"/>
                  <a:pt x="1733" y="139"/>
                </a:cubicBezTo>
                <a:cubicBezTo>
                  <a:pt x="1733" y="141"/>
                  <a:pt x="1733" y="141"/>
                  <a:pt x="1733" y="141"/>
                </a:cubicBezTo>
                <a:cubicBezTo>
                  <a:pt x="1732" y="141"/>
                  <a:pt x="1732" y="141"/>
                  <a:pt x="1732" y="141"/>
                </a:cubicBezTo>
                <a:cubicBezTo>
                  <a:pt x="1731" y="140"/>
                  <a:pt x="1731" y="140"/>
                  <a:pt x="1731" y="140"/>
                </a:cubicBezTo>
                <a:cubicBezTo>
                  <a:pt x="1733" y="139"/>
                  <a:pt x="1733" y="139"/>
                  <a:pt x="1733" y="139"/>
                </a:cubicBezTo>
                <a:cubicBezTo>
                  <a:pt x="1733" y="137"/>
                  <a:pt x="1733" y="137"/>
                  <a:pt x="1733" y="137"/>
                </a:cubicBezTo>
                <a:cubicBezTo>
                  <a:pt x="1731" y="136"/>
                  <a:pt x="1731" y="136"/>
                  <a:pt x="1731" y="136"/>
                </a:cubicBezTo>
                <a:cubicBezTo>
                  <a:pt x="1729" y="136"/>
                  <a:pt x="1729" y="136"/>
                  <a:pt x="1729" y="136"/>
                </a:cubicBezTo>
                <a:cubicBezTo>
                  <a:pt x="1728" y="137"/>
                  <a:pt x="1728" y="137"/>
                  <a:pt x="1728" y="137"/>
                </a:cubicBezTo>
                <a:cubicBezTo>
                  <a:pt x="1727" y="140"/>
                  <a:pt x="1727" y="140"/>
                  <a:pt x="1727" y="140"/>
                </a:cubicBezTo>
                <a:cubicBezTo>
                  <a:pt x="1726" y="140"/>
                  <a:pt x="1726" y="140"/>
                  <a:pt x="1726" y="140"/>
                </a:cubicBezTo>
                <a:cubicBezTo>
                  <a:pt x="1726" y="141"/>
                  <a:pt x="1726" y="141"/>
                  <a:pt x="1726" y="141"/>
                </a:cubicBezTo>
                <a:cubicBezTo>
                  <a:pt x="1727" y="144"/>
                  <a:pt x="1727" y="144"/>
                  <a:pt x="1727" y="144"/>
                </a:cubicBezTo>
                <a:cubicBezTo>
                  <a:pt x="1727" y="145"/>
                  <a:pt x="1727" y="145"/>
                  <a:pt x="1727" y="145"/>
                </a:cubicBezTo>
                <a:cubicBezTo>
                  <a:pt x="1726" y="146"/>
                  <a:pt x="1726" y="146"/>
                  <a:pt x="1726" y="146"/>
                </a:cubicBezTo>
                <a:cubicBezTo>
                  <a:pt x="1725" y="145"/>
                  <a:pt x="1725" y="145"/>
                  <a:pt x="1725" y="145"/>
                </a:cubicBezTo>
                <a:cubicBezTo>
                  <a:pt x="1724" y="144"/>
                  <a:pt x="1724" y="144"/>
                  <a:pt x="1724" y="144"/>
                </a:cubicBezTo>
                <a:cubicBezTo>
                  <a:pt x="1723" y="145"/>
                  <a:pt x="1723" y="145"/>
                  <a:pt x="1723" y="145"/>
                </a:cubicBezTo>
                <a:cubicBezTo>
                  <a:pt x="1722" y="145"/>
                  <a:pt x="1722" y="145"/>
                  <a:pt x="1722" y="145"/>
                </a:cubicBezTo>
                <a:cubicBezTo>
                  <a:pt x="1719" y="146"/>
                  <a:pt x="1719" y="146"/>
                  <a:pt x="1719" y="146"/>
                </a:cubicBezTo>
                <a:cubicBezTo>
                  <a:pt x="1721" y="143"/>
                  <a:pt x="1721" y="143"/>
                  <a:pt x="1721" y="143"/>
                </a:cubicBezTo>
                <a:cubicBezTo>
                  <a:pt x="1723" y="143"/>
                  <a:pt x="1723" y="143"/>
                  <a:pt x="1723" y="143"/>
                </a:cubicBezTo>
                <a:cubicBezTo>
                  <a:pt x="1724" y="141"/>
                  <a:pt x="1724" y="141"/>
                  <a:pt x="1724" y="141"/>
                </a:cubicBezTo>
                <a:cubicBezTo>
                  <a:pt x="1723" y="140"/>
                  <a:pt x="1723" y="140"/>
                  <a:pt x="1723" y="140"/>
                </a:cubicBezTo>
                <a:cubicBezTo>
                  <a:pt x="1723" y="140"/>
                  <a:pt x="1723" y="140"/>
                  <a:pt x="1723" y="140"/>
                </a:cubicBezTo>
                <a:cubicBezTo>
                  <a:pt x="1721" y="142"/>
                  <a:pt x="1721" y="142"/>
                  <a:pt x="1721" y="142"/>
                </a:cubicBezTo>
                <a:cubicBezTo>
                  <a:pt x="1720" y="141"/>
                  <a:pt x="1720" y="141"/>
                  <a:pt x="1720" y="141"/>
                </a:cubicBezTo>
                <a:cubicBezTo>
                  <a:pt x="1720" y="140"/>
                  <a:pt x="1720" y="140"/>
                  <a:pt x="1720" y="140"/>
                </a:cubicBezTo>
                <a:cubicBezTo>
                  <a:pt x="1721" y="139"/>
                  <a:pt x="1721" y="139"/>
                  <a:pt x="1721" y="139"/>
                </a:cubicBezTo>
                <a:cubicBezTo>
                  <a:pt x="1721" y="138"/>
                  <a:pt x="1721" y="138"/>
                  <a:pt x="1721" y="138"/>
                </a:cubicBezTo>
                <a:cubicBezTo>
                  <a:pt x="1719" y="138"/>
                  <a:pt x="1719" y="138"/>
                  <a:pt x="1719" y="138"/>
                </a:cubicBezTo>
                <a:cubicBezTo>
                  <a:pt x="1719" y="137"/>
                  <a:pt x="1719" y="137"/>
                  <a:pt x="1719" y="137"/>
                </a:cubicBezTo>
                <a:cubicBezTo>
                  <a:pt x="1721" y="137"/>
                  <a:pt x="1721" y="137"/>
                  <a:pt x="1721" y="137"/>
                </a:cubicBezTo>
                <a:cubicBezTo>
                  <a:pt x="1721" y="137"/>
                  <a:pt x="1721" y="137"/>
                  <a:pt x="1721" y="137"/>
                </a:cubicBezTo>
                <a:cubicBezTo>
                  <a:pt x="1723" y="137"/>
                  <a:pt x="1723" y="137"/>
                  <a:pt x="1723" y="137"/>
                </a:cubicBezTo>
                <a:cubicBezTo>
                  <a:pt x="1725" y="134"/>
                  <a:pt x="1725" y="134"/>
                  <a:pt x="1725" y="134"/>
                </a:cubicBezTo>
                <a:cubicBezTo>
                  <a:pt x="1724" y="133"/>
                  <a:pt x="1724" y="133"/>
                  <a:pt x="1724" y="133"/>
                </a:cubicBezTo>
                <a:cubicBezTo>
                  <a:pt x="1722" y="133"/>
                  <a:pt x="1722" y="133"/>
                  <a:pt x="1722" y="133"/>
                </a:cubicBezTo>
                <a:cubicBezTo>
                  <a:pt x="1721" y="133"/>
                  <a:pt x="1721" y="133"/>
                  <a:pt x="1721" y="133"/>
                </a:cubicBezTo>
                <a:cubicBezTo>
                  <a:pt x="1722" y="131"/>
                  <a:pt x="1722" y="131"/>
                  <a:pt x="1722" y="131"/>
                </a:cubicBezTo>
                <a:cubicBezTo>
                  <a:pt x="1721" y="130"/>
                  <a:pt x="1721" y="130"/>
                  <a:pt x="1721" y="130"/>
                </a:cubicBezTo>
                <a:cubicBezTo>
                  <a:pt x="1720" y="131"/>
                  <a:pt x="1720" y="131"/>
                  <a:pt x="1720" y="131"/>
                </a:cubicBezTo>
                <a:cubicBezTo>
                  <a:pt x="1719" y="131"/>
                  <a:pt x="1719" y="131"/>
                  <a:pt x="1719" y="131"/>
                </a:cubicBezTo>
                <a:cubicBezTo>
                  <a:pt x="1718" y="130"/>
                  <a:pt x="1718" y="130"/>
                  <a:pt x="1718" y="130"/>
                </a:cubicBezTo>
                <a:cubicBezTo>
                  <a:pt x="1716" y="131"/>
                  <a:pt x="1716" y="131"/>
                  <a:pt x="1716" y="131"/>
                </a:cubicBezTo>
                <a:cubicBezTo>
                  <a:pt x="1716" y="132"/>
                  <a:pt x="1716" y="132"/>
                  <a:pt x="1716" y="132"/>
                </a:cubicBezTo>
                <a:cubicBezTo>
                  <a:pt x="1717" y="134"/>
                  <a:pt x="1717" y="134"/>
                  <a:pt x="1717" y="134"/>
                </a:cubicBezTo>
                <a:cubicBezTo>
                  <a:pt x="1717" y="135"/>
                  <a:pt x="1717" y="135"/>
                  <a:pt x="1717" y="135"/>
                </a:cubicBezTo>
                <a:cubicBezTo>
                  <a:pt x="1716" y="135"/>
                  <a:pt x="1716" y="135"/>
                  <a:pt x="1716" y="135"/>
                </a:cubicBezTo>
                <a:cubicBezTo>
                  <a:pt x="1714" y="133"/>
                  <a:pt x="1714" y="133"/>
                  <a:pt x="1714" y="133"/>
                </a:cubicBezTo>
                <a:cubicBezTo>
                  <a:pt x="1713" y="134"/>
                  <a:pt x="1713" y="134"/>
                  <a:pt x="1713" y="134"/>
                </a:cubicBezTo>
                <a:cubicBezTo>
                  <a:pt x="1713" y="136"/>
                  <a:pt x="1713" y="136"/>
                  <a:pt x="1713" y="136"/>
                </a:cubicBezTo>
                <a:cubicBezTo>
                  <a:pt x="1713" y="136"/>
                  <a:pt x="1713" y="136"/>
                  <a:pt x="1713" y="136"/>
                </a:cubicBezTo>
                <a:cubicBezTo>
                  <a:pt x="1715" y="136"/>
                  <a:pt x="1715" y="136"/>
                  <a:pt x="1715" y="136"/>
                </a:cubicBezTo>
                <a:cubicBezTo>
                  <a:pt x="1716" y="137"/>
                  <a:pt x="1716" y="137"/>
                  <a:pt x="1716" y="137"/>
                </a:cubicBezTo>
                <a:cubicBezTo>
                  <a:pt x="1715" y="138"/>
                  <a:pt x="1715" y="138"/>
                  <a:pt x="1715" y="138"/>
                </a:cubicBezTo>
                <a:cubicBezTo>
                  <a:pt x="1714" y="138"/>
                  <a:pt x="1714" y="138"/>
                  <a:pt x="1714" y="138"/>
                </a:cubicBezTo>
                <a:cubicBezTo>
                  <a:pt x="1714" y="140"/>
                  <a:pt x="1714" y="140"/>
                  <a:pt x="1714" y="140"/>
                </a:cubicBezTo>
                <a:cubicBezTo>
                  <a:pt x="1713" y="141"/>
                  <a:pt x="1713" y="141"/>
                  <a:pt x="1713" y="141"/>
                </a:cubicBezTo>
                <a:cubicBezTo>
                  <a:pt x="1713" y="142"/>
                  <a:pt x="1713" y="142"/>
                  <a:pt x="1713" y="142"/>
                </a:cubicBezTo>
                <a:cubicBezTo>
                  <a:pt x="1713" y="142"/>
                  <a:pt x="1713" y="142"/>
                  <a:pt x="1713" y="142"/>
                </a:cubicBezTo>
                <a:cubicBezTo>
                  <a:pt x="1712" y="143"/>
                  <a:pt x="1712" y="143"/>
                  <a:pt x="1712" y="143"/>
                </a:cubicBezTo>
                <a:cubicBezTo>
                  <a:pt x="1713" y="145"/>
                  <a:pt x="1713" y="145"/>
                  <a:pt x="1713" y="145"/>
                </a:cubicBezTo>
                <a:cubicBezTo>
                  <a:pt x="1712" y="146"/>
                  <a:pt x="1712" y="146"/>
                  <a:pt x="1712" y="146"/>
                </a:cubicBezTo>
                <a:cubicBezTo>
                  <a:pt x="1711" y="145"/>
                  <a:pt x="1711" y="145"/>
                  <a:pt x="1711" y="145"/>
                </a:cubicBezTo>
                <a:cubicBezTo>
                  <a:pt x="1710" y="146"/>
                  <a:pt x="1710" y="146"/>
                  <a:pt x="1710" y="146"/>
                </a:cubicBezTo>
                <a:cubicBezTo>
                  <a:pt x="1710" y="147"/>
                  <a:pt x="1710" y="147"/>
                  <a:pt x="1710" y="147"/>
                </a:cubicBezTo>
                <a:cubicBezTo>
                  <a:pt x="1708" y="147"/>
                  <a:pt x="1708" y="147"/>
                  <a:pt x="1708" y="147"/>
                </a:cubicBezTo>
                <a:cubicBezTo>
                  <a:pt x="1708" y="146"/>
                  <a:pt x="1708" y="146"/>
                  <a:pt x="1708" y="146"/>
                </a:cubicBezTo>
                <a:cubicBezTo>
                  <a:pt x="1710" y="142"/>
                  <a:pt x="1710" y="142"/>
                  <a:pt x="1710" y="142"/>
                </a:cubicBezTo>
                <a:cubicBezTo>
                  <a:pt x="1708" y="141"/>
                  <a:pt x="1708" y="141"/>
                  <a:pt x="1708" y="141"/>
                </a:cubicBezTo>
                <a:cubicBezTo>
                  <a:pt x="1708" y="141"/>
                  <a:pt x="1708" y="141"/>
                  <a:pt x="1708" y="141"/>
                </a:cubicBezTo>
                <a:cubicBezTo>
                  <a:pt x="1709" y="139"/>
                  <a:pt x="1709" y="139"/>
                  <a:pt x="1709" y="139"/>
                </a:cubicBezTo>
                <a:cubicBezTo>
                  <a:pt x="1709" y="136"/>
                  <a:pt x="1709" y="136"/>
                  <a:pt x="1709" y="136"/>
                </a:cubicBezTo>
                <a:cubicBezTo>
                  <a:pt x="1709" y="135"/>
                  <a:pt x="1709" y="135"/>
                  <a:pt x="1709" y="135"/>
                </a:cubicBezTo>
                <a:cubicBezTo>
                  <a:pt x="1708" y="135"/>
                  <a:pt x="1708" y="135"/>
                  <a:pt x="1708" y="135"/>
                </a:cubicBezTo>
                <a:cubicBezTo>
                  <a:pt x="1705" y="140"/>
                  <a:pt x="1705" y="140"/>
                  <a:pt x="1705" y="140"/>
                </a:cubicBezTo>
                <a:cubicBezTo>
                  <a:pt x="1705" y="142"/>
                  <a:pt x="1705" y="142"/>
                  <a:pt x="1705" y="142"/>
                </a:cubicBezTo>
                <a:cubicBezTo>
                  <a:pt x="1703" y="145"/>
                  <a:pt x="1703" y="145"/>
                  <a:pt x="1703" y="145"/>
                </a:cubicBezTo>
                <a:cubicBezTo>
                  <a:pt x="1702" y="148"/>
                  <a:pt x="1702" y="148"/>
                  <a:pt x="1702" y="148"/>
                </a:cubicBezTo>
                <a:cubicBezTo>
                  <a:pt x="1703" y="149"/>
                  <a:pt x="1703" y="149"/>
                  <a:pt x="1703" y="149"/>
                </a:cubicBezTo>
                <a:cubicBezTo>
                  <a:pt x="1702" y="151"/>
                  <a:pt x="1702" y="151"/>
                  <a:pt x="1702" y="151"/>
                </a:cubicBezTo>
                <a:cubicBezTo>
                  <a:pt x="1700" y="154"/>
                  <a:pt x="1700" y="154"/>
                  <a:pt x="1700" y="154"/>
                </a:cubicBezTo>
                <a:cubicBezTo>
                  <a:pt x="1698" y="154"/>
                  <a:pt x="1698" y="154"/>
                  <a:pt x="1698" y="154"/>
                </a:cubicBezTo>
                <a:cubicBezTo>
                  <a:pt x="1698" y="153"/>
                  <a:pt x="1698" y="153"/>
                  <a:pt x="1698" y="153"/>
                </a:cubicBezTo>
                <a:cubicBezTo>
                  <a:pt x="1698" y="151"/>
                  <a:pt x="1698" y="151"/>
                  <a:pt x="1698" y="151"/>
                </a:cubicBezTo>
                <a:cubicBezTo>
                  <a:pt x="1700" y="149"/>
                  <a:pt x="1700" y="149"/>
                  <a:pt x="1700" y="149"/>
                </a:cubicBezTo>
                <a:cubicBezTo>
                  <a:pt x="1699" y="147"/>
                  <a:pt x="1699" y="147"/>
                  <a:pt x="1699" y="147"/>
                </a:cubicBezTo>
                <a:cubicBezTo>
                  <a:pt x="1700" y="146"/>
                  <a:pt x="1700" y="146"/>
                  <a:pt x="1700" y="146"/>
                </a:cubicBezTo>
                <a:cubicBezTo>
                  <a:pt x="1699" y="144"/>
                  <a:pt x="1699" y="144"/>
                  <a:pt x="1699" y="144"/>
                </a:cubicBezTo>
                <a:cubicBezTo>
                  <a:pt x="1702" y="141"/>
                  <a:pt x="1702" y="141"/>
                  <a:pt x="1702" y="141"/>
                </a:cubicBezTo>
                <a:cubicBezTo>
                  <a:pt x="1703" y="139"/>
                  <a:pt x="1703" y="139"/>
                  <a:pt x="1703" y="139"/>
                </a:cubicBezTo>
                <a:cubicBezTo>
                  <a:pt x="1703" y="138"/>
                  <a:pt x="1703" y="138"/>
                  <a:pt x="1703" y="138"/>
                </a:cubicBezTo>
                <a:cubicBezTo>
                  <a:pt x="1703" y="137"/>
                  <a:pt x="1703" y="137"/>
                  <a:pt x="1703" y="137"/>
                </a:cubicBezTo>
                <a:cubicBezTo>
                  <a:pt x="1701" y="137"/>
                  <a:pt x="1701" y="137"/>
                  <a:pt x="1701" y="137"/>
                </a:cubicBezTo>
                <a:cubicBezTo>
                  <a:pt x="1700" y="135"/>
                  <a:pt x="1700" y="135"/>
                  <a:pt x="1700" y="135"/>
                </a:cubicBezTo>
                <a:cubicBezTo>
                  <a:pt x="1699" y="136"/>
                  <a:pt x="1699" y="136"/>
                  <a:pt x="1699" y="136"/>
                </a:cubicBezTo>
                <a:cubicBezTo>
                  <a:pt x="1699" y="138"/>
                  <a:pt x="1699" y="138"/>
                  <a:pt x="1699" y="138"/>
                </a:cubicBezTo>
                <a:cubicBezTo>
                  <a:pt x="1698" y="139"/>
                  <a:pt x="1698" y="139"/>
                  <a:pt x="1698" y="139"/>
                </a:cubicBezTo>
                <a:cubicBezTo>
                  <a:pt x="1698" y="137"/>
                  <a:pt x="1698" y="137"/>
                  <a:pt x="1698" y="137"/>
                </a:cubicBezTo>
                <a:cubicBezTo>
                  <a:pt x="1697" y="136"/>
                  <a:pt x="1697" y="136"/>
                  <a:pt x="1697" y="136"/>
                </a:cubicBezTo>
                <a:cubicBezTo>
                  <a:pt x="1695" y="135"/>
                  <a:pt x="1695" y="135"/>
                  <a:pt x="1695" y="135"/>
                </a:cubicBezTo>
                <a:cubicBezTo>
                  <a:pt x="1694" y="136"/>
                  <a:pt x="1694" y="136"/>
                  <a:pt x="1694" y="136"/>
                </a:cubicBezTo>
                <a:cubicBezTo>
                  <a:pt x="1694" y="139"/>
                  <a:pt x="1694" y="139"/>
                  <a:pt x="1694" y="139"/>
                </a:cubicBezTo>
                <a:cubicBezTo>
                  <a:pt x="1693" y="140"/>
                  <a:pt x="1693" y="140"/>
                  <a:pt x="1693" y="140"/>
                </a:cubicBezTo>
                <a:cubicBezTo>
                  <a:pt x="1693" y="139"/>
                  <a:pt x="1693" y="139"/>
                  <a:pt x="1693" y="139"/>
                </a:cubicBezTo>
                <a:cubicBezTo>
                  <a:pt x="1691" y="138"/>
                  <a:pt x="1691" y="138"/>
                  <a:pt x="1691" y="138"/>
                </a:cubicBezTo>
                <a:cubicBezTo>
                  <a:pt x="1691" y="139"/>
                  <a:pt x="1691" y="139"/>
                  <a:pt x="1691" y="139"/>
                </a:cubicBezTo>
                <a:cubicBezTo>
                  <a:pt x="1691" y="140"/>
                  <a:pt x="1691" y="140"/>
                  <a:pt x="1691" y="140"/>
                </a:cubicBezTo>
                <a:cubicBezTo>
                  <a:pt x="1693" y="141"/>
                  <a:pt x="1693" y="141"/>
                  <a:pt x="1693" y="141"/>
                </a:cubicBezTo>
                <a:cubicBezTo>
                  <a:pt x="1694" y="143"/>
                  <a:pt x="1694" y="143"/>
                  <a:pt x="1694" y="143"/>
                </a:cubicBezTo>
                <a:cubicBezTo>
                  <a:pt x="1693" y="143"/>
                  <a:pt x="1693" y="143"/>
                  <a:pt x="1693" y="143"/>
                </a:cubicBezTo>
                <a:cubicBezTo>
                  <a:pt x="1692" y="142"/>
                  <a:pt x="1692" y="142"/>
                  <a:pt x="1692" y="142"/>
                </a:cubicBezTo>
                <a:cubicBezTo>
                  <a:pt x="1691" y="144"/>
                  <a:pt x="1691" y="144"/>
                  <a:pt x="1691" y="144"/>
                </a:cubicBezTo>
                <a:cubicBezTo>
                  <a:pt x="1691" y="145"/>
                  <a:pt x="1691" y="145"/>
                  <a:pt x="1691" y="145"/>
                </a:cubicBezTo>
                <a:cubicBezTo>
                  <a:pt x="1691" y="145"/>
                  <a:pt x="1691" y="145"/>
                  <a:pt x="1691" y="145"/>
                </a:cubicBezTo>
                <a:cubicBezTo>
                  <a:pt x="1691" y="146"/>
                  <a:pt x="1691" y="146"/>
                  <a:pt x="1691" y="146"/>
                </a:cubicBezTo>
                <a:cubicBezTo>
                  <a:pt x="1689" y="145"/>
                  <a:pt x="1689" y="145"/>
                  <a:pt x="1689" y="145"/>
                </a:cubicBezTo>
                <a:cubicBezTo>
                  <a:pt x="1688" y="145"/>
                  <a:pt x="1688" y="145"/>
                  <a:pt x="1688" y="145"/>
                </a:cubicBezTo>
                <a:cubicBezTo>
                  <a:pt x="1687" y="147"/>
                  <a:pt x="1687" y="147"/>
                  <a:pt x="1687" y="147"/>
                </a:cubicBezTo>
                <a:cubicBezTo>
                  <a:pt x="1686" y="148"/>
                  <a:pt x="1686" y="148"/>
                  <a:pt x="1686" y="148"/>
                </a:cubicBezTo>
                <a:cubicBezTo>
                  <a:pt x="1686" y="148"/>
                  <a:pt x="1686" y="148"/>
                  <a:pt x="1686" y="148"/>
                </a:cubicBezTo>
                <a:cubicBezTo>
                  <a:pt x="1686" y="149"/>
                  <a:pt x="1686" y="149"/>
                  <a:pt x="1686" y="149"/>
                </a:cubicBezTo>
                <a:cubicBezTo>
                  <a:pt x="1685" y="150"/>
                  <a:pt x="1685" y="150"/>
                  <a:pt x="1685" y="150"/>
                </a:cubicBezTo>
                <a:cubicBezTo>
                  <a:pt x="1684" y="152"/>
                  <a:pt x="1684" y="152"/>
                  <a:pt x="1684" y="152"/>
                </a:cubicBezTo>
                <a:cubicBezTo>
                  <a:pt x="1686" y="153"/>
                  <a:pt x="1686" y="153"/>
                  <a:pt x="1686" y="153"/>
                </a:cubicBezTo>
                <a:cubicBezTo>
                  <a:pt x="1685" y="154"/>
                  <a:pt x="1685" y="154"/>
                  <a:pt x="1685" y="154"/>
                </a:cubicBezTo>
                <a:cubicBezTo>
                  <a:pt x="1686" y="155"/>
                  <a:pt x="1686" y="155"/>
                  <a:pt x="1686" y="155"/>
                </a:cubicBezTo>
                <a:cubicBezTo>
                  <a:pt x="1687" y="156"/>
                  <a:pt x="1687" y="156"/>
                  <a:pt x="1687" y="156"/>
                </a:cubicBezTo>
                <a:cubicBezTo>
                  <a:pt x="1686" y="157"/>
                  <a:pt x="1686" y="157"/>
                  <a:pt x="1686" y="157"/>
                </a:cubicBezTo>
                <a:cubicBezTo>
                  <a:pt x="1683" y="156"/>
                  <a:pt x="1683" y="156"/>
                  <a:pt x="1683" y="156"/>
                </a:cubicBezTo>
                <a:cubicBezTo>
                  <a:pt x="1683" y="154"/>
                  <a:pt x="1683" y="154"/>
                  <a:pt x="1683" y="154"/>
                </a:cubicBezTo>
                <a:cubicBezTo>
                  <a:pt x="1682" y="154"/>
                  <a:pt x="1682" y="154"/>
                  <a:pt x="1682" y="154"/>
                </a:cubicBezTo>
                <a:cubicBezTo>
                  <a:pt x="1683" y="152"/>
                  <a:pt x="1683" y="152"/>
                  <a:pt x="1683" y="152"/>
                </a:cubicBezTo>
                <a:cubicBezTo>
                  <a:pt x="1681" y="151"/>
                  <a:pt x="1681" y="151"/>
                  <a:pt x="1681" y="151"/>
                </a:cubicBezTo>
                <a:cubicBezTo>
                  <a:pt x="1679" y="152"/>
                  <a:pt x="1679" y="152"/>
                  <a:pt x="1679" y="152"/>
                </a:cubicBezTo>
                <a:cubicBezTo>
                  <a:pt x="1677" y="151"/>
                  <a:pt x="1677" y="151"/>
                  <a:pt x="1677" y="151"/>
                </a:cubicBezTo>
                <a:cubicBezTo>
                  <a:pt x="1674" y="149"/>
                  <a:pt x="1674" y="149"/>
                  <a:pt x="1674" y="149"/>
                </a:cubicBezTo>
                <a:cubicBezTo>
                  <a:pt x="1673" y="149"/>
                  <a:pt x="1673" y="149"/>
                  <a:pt x="1673" y="149"/>
                </a:cubicBezTo>
                <a:cubicBezTo>
                  <a:pt x="1672" y="150"/>
                  <a:pt x="1672" y="150"/>
                  <a:pt x="1672" y="150"/>
                </a:cubicBezTo>
                <a:cubicBezTo>
                  <a:pt x="1671" y="149"/>
                  <a:pt x="1671" y="149"/>
                  <a:pt x="1671" y="149"/>
                </a:cubicBezTo>
                <a:cubicBezTo>
                  <a:pt x="1670" y="150"/>
                  <a:pt x="1670" y="150"/>
                  <a:pt x="1670" y="150"/>
                </a:cubicBezTo>
                <a:cubicBezTo>
                  <a:pt x="1668" y="151"/>
                  <a:pt x="1668" y="151"/>
                  <a:pt x="1668" y="151"/>
                </a:cubicBezTo>
                <a:cubicBezTo>
                  <a:pt x="1668" y="152"/>
                  <a:pt x="1668" y="152"/>
                  <a:pt x="1668" y="152"/>
                </a:cubicBezTo>
                <a:cubicBezTo>
                  <a:pt x="1670" y="154"/>
                  <a:pt x="1670" y="154"/>
                  <a:pt x="1670" y="154"/>
                </a:cubicBezTo>
                <a:cubicBezTo>
                  <a:pt x="1672" y="154"/>
                  <a:pt x="1672" y="154"/>
                  <a:pt x="1672" y="154"/>
                </a:cubicBezTo>
                <a:cubicBezTo>
                  <a:pt x="1673" y="155"/>
                  <a:pt x="1673" y="155"/>
                  <a:pt x="1673" y="155"/>
                </a:cubicBezTo>
                <a:cubicBezTo>
                  <a:pt x="1675" y="155"/>
                  <a:pt x="1675" y="155"/>
                  <a:pt x="1675" y="155"/>
                </a:cubicBezTo>
                <a:cubicBezTo>
                  <a:pt x="1674" y="157"/>
                  <a:pt x="1674" y="157"/>
                  <a:pt x="1674" y="157"/>
                </a:cubicBezTo>
                <a:cubicBezTo>
                  <a:pt x="1674" y="159"/>
                  <a:pt x="1674" y="159"/>
                  <a:pt x="1674" y="159"/>
                </a:cubicBezTo>
                <a:cubicBezTo>
                  <a:pt x="1676" y="161"/>
                  <a:pt x="1676" y="161"/>
                  <a:pt x="1676" y="161"/>
                </a:cubicBezTo>
                <a:cubicBezTo>
                  <a:pt x="1675" y="162"/>
                  <a:pt x="1675" y="162"/>
                  <a:pt x="1675" y="162"/>
                </a:cubicBezTo>
                <a:cubicBezTo>
                  <a:pt x="1674" y="161"/>
                  <a:pt x="1674" y="161"/>
                  <a:pt x="1674" y="161"/>
                </a:cubicBezTo>
                <a:cubicBezTo>
                  <a:pt x="1673" y="159"/>
                  <a:pt x="1673" y="159"/>
                  <a:pt x="1673" y="159"/>
                </a:cubicBezTo>
                <a:cubicBezTo>
                  <a:pt x="1671" y="158"/>
                  <a:pt x="1671" y="158"/>
                  <a:pt x="1671" y="158"/>
                </a:cubicBezTo>
                <a:cubicBezTo>
                  <a:pt x="1670" y="157"/>
                  <a:pt x="1670" y="157"/>
                  <a:pt x="1670" y="157"/>
                </a:cubicBezTo>
                <a:cubicBezTo>
                  <a:pt x="1669" y="159"/>
                  <a:pt x="1669" y="159"/>
                  <a:pt x="1669" y="159"/>
                </a:cubicBezTo>
                <a:cubicBezTo>
                  <a:pt x="1668" y="160"/>
                  <a:pt x="1668" y="160"/>
                  <a:pt x="1668" y="160"/>
                </a:cubicBezTo>
                <a:cubicBezTo>
                  <a:pt x="1668" y="158"/>
                  <a:pt x="1668" y="158"/>
                  <a:pt x="1668" y="158"/>
                </a:cubicBezTo>
                <a:cubicBezTo>
                  <a:pt x="1666" y="159"/>
                  <a:pt x="1666" y="159"/>
                  <a:pt x="1666" y="159"/>
                </a:cubicBezTo>
                <a:cubicBezTo>
                  <a:pt x="1666" y="160"/>
                  <a:pt x="1666" y="160"/>
                  <a:pt x="1666" y="160"/>
                </a:cubicBezTo>
                <a:cubicBezTo>
                  <a:pt x="1664" y="162"/>
                  <a:pt x="1664" y="162"/>
                  <a:pt x="1664" y="162"/>
                </a:cubicBezTo>
                <a:cubicBezTo>
                  <a:pt x="1664" y="163"/>
                  <a:pt x="1664" y="163"/>
                  <a:pt x="1664" y="163"/>
                </a:cubicBezTo>
                <a:cubicBezTo>
                  <a:pt x="1666" y="164"/>
                  <a:pt x="1666" y="164"/>
                  <a:pt x="1666" y="164"/>
                </a:cubicBezTo>
                <a:cubicBezTo>
                  <a:pt x="1667" y="166"/>
                  <a:pt x="1667" y="166"/>
                  <a:pt x="1667" y="166"/>
                </a:cubicBezTo>
                <a:cubicBezTo>
                  <a:pt x="1666" y="166"/>
                  <a:pt x="1666" y="166"/>
                  <a:pt x="1666" y="166"/>
                </a:cubicBezTo>
                <a:cubicBezTo>
                  <a:pt x="1665" y="165"/>
                  <a:pt x="1665" y="165"/>
                  <a:pt x="1665" y="165"/>
                </a:cubicBezTo>
                <a:cubicBezTo>
                  <a:pt x="1663" y="167"/>
                  <a:pt x="1663" y="167"/>
                  <a:pt x="1663" y="167"/>
                </a:cubicBezTo>
                <a:cubicBezTo>
                  <a:pt x="1663" y="168"/>
                  <a:pt x="1663" y="168"/>
                  <a:pt x="1663" y="168"/>
                </a:cubicBezTo>
                <a:cubicBezTo>
                  <a:pt x="1661" y="170"/>
                  <a:pt x="1661" y="170"/>
                  <a:pt x="1661" y="170"/>
                </a:cubicBezTo>
                <a:cubicBezTo>
                  <a:pt x="1661" y="169"/>
                  <a:pt x="1661" y="169"/>
                  <a:pt x="1661" y="169"/>
                </a:cubicBezTo>
                <a:cubicBezTo>
                  <a:pt x="1662" y="168"/>
                  <a:pt x="1662" y="168"/>
                  <a:pt x="1662" y="168"/>
                </a:cubicBezTo>
                <a:cubicBezTo>
                  <a:pt x="1662" y="167"/>
                  <a:pt x="1662" y="167"/>
                  <a:pt x="1662" y="167"/>
                </a:cubicBezTo>
                <a:cubicBezTo>
                  <a:pt x="1663" y="164"/>
                  <a:pt x="1663" y="164"/>
                  <a:pt x="1663" y="164"/>
                </a:cubicBezTo>
                <a:cubicBezTo>
                  <a:pt x="1662" y="158"/>
                  <a:pt x="1662" y="158"/>
                  <a:pt x="1662" y="158"/>
                </a:cubicBezTo>
                <a:cubicBezTo>
                  <a:pt x="1661" y="159"/>
                  <a:pt x="1661" y="159"/>
                  <a:pt x="1661" y="159"/>
                </a:cubicBezTo>
                <a:cubicBezTo>
                  <a:pt x="1658" y="163"/>
                  <a:pt x="1658" y="163"/>
                  <a:pt x="1658" y="163"/>
                </a:cubicBezTo>
                <a:cubicBezTo>
                  <a:pt x="1658" y="165"/>
                  <a:pt x="1658" y="165"/>
                  <a:pt x="1658" y="165"/>
                </a:cubicBezTo>
                <a:cubicBezTo>
                  <a:pt x="1659" y="166"/>
                  <a:pt x="1659" y="166"/>
                  <a:pt x="1659" y="166"/>
                </a:cubicBezTo>
                <a:cubicBezTo>
                  <a:pt x="1657" y="168"/>
                  <a:pt x="1657" y="168"/>
                  <a:pt x="1657" y="168"/>
                </a:cubicBezTo>
                <a:cubicBezTo>
                  <a:pt x="1657" y="166"/>
                  <a:pt x="1657" y="166"/>
                  <a:pt x="1657" y="166"/>
                </a:cubicBezTo>
                <a:cubicBezTo>
                  <a:pt x="1658" y="164"/>
                  <a:pt x="1658" y="164"/>
                  <a:pt x="1658" y="164"/>
                </a:cubicBezTo>
                <a:cubicBezTo>
                  <a:pt x="1657" y="161"/>
                  <a:pt x="1657" y="161"/>
                  <a:pt x="1657" y="161"/>
                </a:cubicBezTo>
                <a:cubicBezTo>
                  <a:pt x="1656" y="161"/>
                  <a:pt x="1656" y="161"/>
                  <a:pt x="1656" y="161"/>
                </a:cubicBezTo>
                <a:cubicBezTo>
                  <a:pt x="1654" y="162"/>
                  <a:pt x="1654" y="162"/>
                  <a:pt x="1654" y="162"/>
                </a:cubicBezTo>
                <a:cubicBezTo>
                  <a:pt x="1653" y="165"/>
                  <a:pt x="1653" y="165"/>
                  <a:pt x="1653" y="165"/>
                </a:cubicBezTo>
                <a:cubicBezTo>
                  <a:pt x="1654" y="167"/>
                  <a:pt x="1654" y="167"/>
                  <a:pt x="1654" y="167"/>
                </a:cubicBezTo>
                <a:cubicBezTo>
                  <a:pt x="1654" y="169"/>
                  <a:pt x="1654" y="169"/>
                  <a:pt x="1654" y="169"/>
                </a:cubicBezTo>
                <a:cubicBezTo>
                  <a:pt x="1656" y="171"/>
                  <a:pt x="1656" y="171"/>
                  <a:pt x="1656" y="171"/>
                </a:cubicBezTo>
                <a:cubicBezTo>
                  <a:pt x="1657" y="172"/>
                  <a:pt x="1657" y="172"/>
                  <a:pt x="1657" y="172"/>
                </a:cubicBezTo>
                <a:cubicBezTo>
                  <a:pt x="1656" y="174"/>
                  <a:pt x="1656" y="174"/>
                  <a:pt x="1656" y="174"/>
                </a:cubicBezTo>
                <a:cubicBezTo>
                  <a:pt x="1655" y="171"/>
                  <a:pt x="1655" y="171"/>
                  <a:pt x="1655" y="171"/>
                </a:cubicBezTo>
                <a:cubicBezTo>
                  <a:pt x="1653" y="171"/>
                  <a:pt x="1653" y="171"/>
                  <a:pt x="1653" y="171"/>
                </a:cubicBezTo>
                <a:cubicBezTo>
                  <a:pt x="1652" y="167"/>
                  <a:pt x="1652" y="167"/>
                  <a:pt x="1652" y="167"/>
                </a:cubicBezTo>
                <a:cubicBezTo>
                  <a:pt x="1651" y="167"/>
                  <a:pt x="1651" y="167"/>
                  <a:pt x="1651" y="167"/>
                </a:cubicBezTo>
                <a:cubicBezTo>
                  <a:pt x="1649" y="167"/>
                  <a:pt x="1649" y="167"/>
                  <a:pt x="1649" y="167"/>
                </a:cubicBezTo>
                <a:cubicBezTo>
                  <a:pt x="1648" y="169"/>
                  <a:pt x="1648" y="169"/>
                  <a:pt x="1648" y="169"/>
                </a:cubicBezTo>
                <a:cubicBezTo>
                  <a:pt x="1651" y="171"/>
                  <a:pt x="1651" y="171"/>
                  <a:pt x="1651" y="171"/>
                </a:cubicBezTo>
                <a:cubicBezTo>
                  <a:pt x="1652" y="171"/>
                  <a:pt x="1652" y="171"/>
                  <a:pt x="1652" y="171"/>
                </a:cubicBezTo>
                <a:cubicBezTo>
                  <a:pt x="1653" y="172"/>
                  <a:pt x="1653" y="172"/>
                  <a:pt x="1653" y="172"/>
                </a:cubicBezTo>
                <a:cubicBezTo>
                  <a:pt x="1651" y="171"/>
                  <a:pt x="1651" y="171"/>
                  <a:pt x="1651" y="171"/>
                </a:cubicBezTo>
                <a:cubicBezTo>
                  <a:pt x="1649" y="172"/>
                  <a:pt x="1649" y="172"/>
                  <a:pt x="1649" y="172"/>
                </a:cubicBezTo>
                <a:cubicBezTo>
                  <a:pt x="1650" y="174"/>
                  <a:pt x="1650" y="174"/>
                  <a:pt x="1650" y="174"/>
                </a:cubicBezTo>
                <a:cubicBezTo>
                  <a:pt x="1648" y="173"/>
                  <a:pt x="1648" y="173"/>
                  <a:pt x="1648" y="173"/>
                </a:cubicBezTo>
                <a:cubicBezTo>
                  <a:pt x="1648" y="170"/>
                  <a:pt x="1648" y="170"/>
                  <a:pt x="1648" y="170"/>
                </a:cubicBezTo>
                <a:cubicBezTo>
                  <a:pt x="1647" y="170"/>
                  <a:pt x="1647" y="170"/>
                  <a:pt x="1647" y="170"/>
                </a:cubicBezTo>
                <a:cubicBezTo>
                  <a:pt x="1647" y="168"/>
                  <a:pt x="1647" y="168"/>
                  <a:pt x="1647" y="168"/>
                </a:cubicBezTo>
                <a:cubicBezTo>
                  <a:pt x="1646" y="169"/>
                  <a:pt x="1646" y="169"/>
                  <a:pt x="1646" y="169"/>
                </a:cubicBezTo>
                <a:cubicBezTo>
                  <a:pt x="1645" y="172"/>
                  <a:pt x="1645" y="172"/>
                  <a:pt x="1645" y="172"/>
                </a:cubicBezTo>
                <a:cubicBezTo>
                  <a:pt x="1646" y="173"/>
                  <a:pt x="1646" y="173"/>
                  <a:pt x="1646" y="173"/>
                </a:cubicBezTo>
                <a:cubicBezTo>
                  <a:pt x="1646" y="175"/>
                  <a:pt x="1646" y="175"/>
                  <a:pt x="1646" y="175"/>
                </a:cubicBezTo>
                <a:cubicBezTo>
                  <a:pt x="1644" y="174"/>
                  <a:pt x="1644" y="174"/>
                  <a:pt x="1644" y="174"/>
                </a:cubicBezTo>
                <a:cubicBezTo>
                  <a:pt x="1643" y="175"/>
                  <a:pt x="1643" y="175"/>
                  <a:pt x="1643" y="175"/>
                </a:cubicBezTo>
                <a:cubicBezTo>
                  <a:pt x="1641" y="177"/>
                  <a:pt x="1641" y="177"/>
                  <a:pt x="1641" y="177"/>
                </a:cubicBezTo>
                <a:cubicBezTo>
                  <a:pt x="1641" y="177"/>
                  <a:pt x="1641" y="177"/>
                  <a:pt x="1641" y="177"/>
                </a:cubicBezTo>
                <a:cubicBezTo>
                  <a:pt x="1643" y="177"/>
                  <a:pt x="1643" y="177"/>
                  <a:pt x="1643" y="177"/>
                </a:cubicBezTo>
                <a:cubicBezTo>
                  <a:pt x="1644" y="178"/>
                  <a:pt x="1644" y="178"/>
                  <a:pt x="1644" y="178"/>
                </a:cubicBezTo>
                <a:cubicBezTo>
                  <a:pt x="1642" y="179"/>
                  <a:pt x="1642" y="179"/>
                  <a:pt x="1642" y="179"/>
                </a:cubicBezTo>
                <a:cubicBezTo>
                  <a:pt x="1641" y="179"/>
                  <a:pt x="1641" y="179"/>
                  <a:pt x="1641" y="179"/>
                </a:cubicBezTo>
                <a:cubicBezTo>
                  <a:pt x="1642" y="180"/>
                  <a:pt x="1642" y="180"/>
                  <a:pt x="1642" y="180"/>
                </a:cubicBezTo>
                <a:cubicBezTo>
                  <a:pt x="1642" y="181"/>
                  <a:pt x="1642" y="181"/>
                  <a:pt x="1642" y="181"/>
                </a:cubicBezTo>
                <a:cubicBezTo>
                  <a:pt x="1640" y="181"/>
                  <a:pt x="1640" y="181"/>
                  <a:pt x="1640" y="181"/>
                </a:cubicBezTo>
                <a:cubicBezTo>
                  <a:pt x="1640" y="182"/>
                  <a:pt x="1640" y="182"/>
                  <a:pt x="1640" y="182"/>
                </a:cubicBezTo>
                <a:cubicBezTo>
                  <a:pt x="1641" y="183"/>
                  <a:pt x="1641" y="183"/>
                  <a:pt x="1641" y="183"/>
                </a:cubicBezTo>
                <a:cubicBezTo>
                  <a:pt x="1639" y="183"/>
                  <a:pt x="1639" y="183"/>
                  <a:pt x="1639" y="183"/>
                </a:cubicBezTo>
                <a:cubicBezTo>
                  <a:pt x="1639" y="182"/>
                  <a:pt x="1639" y="182"/>
                  <a:pt x="1639" y="182"/>
                </a:cubicBezTo>
                <a:cubicBezTo>
                  <a:pt x="1637" y="182"/>
                  <a:pt x="1637" y="182"/>
                  <a:pt x="1637" y="182"/>
                </a:cubicBezTo>
                <a:cubicBezTo>
                  <a:pt x="1636" y="184"/>
                  <a:pt x="1636" y="184"/>
                  <a:pt x="1636" y="184"/>
                </a:cubicBezTo>
                <a:cubicBezTo>
                  <a:pt x="1636" y="185"/>
                  <a:pt x="1636" y="185"/>
                  <a:pt x="1636" y="185"/>
                </a:cubicBezTo>
                <a:cubicBezTo>
                  <a:pt x="1636" y="186"/>
                  <a:pt x="1636" y="186"/>
                  <a:pt x="1636" y="186"/>
                </a:cubicBezTo>
                <a:cubicBezTo>
                  <a:pt x="1634" y="186"/>
                  <a:pt x="1634" y="186"/>
                  <a:pt x="1634" y="186"/>
                </a:cubicBezTo>
                <a:cubicBezTo>
                  <a:pt x="1633" y="188"/>
                  <a:pt x="1633" y="188"/>
                  <a:pt x="1633" y="188"/>
                </a:cubicBezTo>
                <a:cubicBezTo>
                  <a:pt x="1634" y="188"/>
                  <a:pt x="1634" y="188"/>
                  <a:pt x="1634" y="188"/>
                </a:cubicBezTo>
                <a:cubicBezTo>
                  <a:pt x="1639" y="187"/>
                  <a:pt x="1639" y="187"/>
                  <a:pt x="1639" y="187"/>
                </a:cubicBezTo>
                <a:cubicBezTo>
                  <a:pt x="1640" y="187"/>
                  <a:pt x="1640" y="187"/>
                  <a:pt x="1640" y="187"/>
                </a:cubicBezTo>
                <a:cubicBezTo>
                  <a:pt x="1642" y="187"/>
                  <a:pt x="1642" y="187"/>
                  <a:pt x="1642" y="187"/>
                </a:cubicBezTo>
                <a:cubicBezTo>
                  <a:pt x="1643" y="186"/>
                  <a:pt x="1643" y="186"/>
                  <a:pt x="1643" y="186"/>
                </a:cubicBezTo>
                <a:cubicBezTo>
                  <a:pt x="1643" y="188"/>
                  <a:pt x="1643" y="188"/>
                  <a:pt x="1643" y="188"/>
                </a:cubicBezTo>
                <a:cubicBezTo>
                  <a:pt x="1642" y="189"/>
                  <a:pt x="1642" y="189"/>
                  <a:pt x="1642" y="189"/>
                </a:cubicBezTo>
                <a:cubicBezTo>
                  <a:pt x="1641" y="192"/>
                  <a:pt x="1641" y="192"/>
                  <a:pt x="1641" y="192"/>
                </a:cubicBezTo>
                <a:cubicBezTo>
                  <a:pt x="1641" y="193"/>
                  <a:pt x="1641" y="193"/>
                  <a:pt x="1641" y="193"/>
                </a:cubicBezTo>
                <a:cubicBezTo>
                  <a:pt x="1640" y="192"/>
                  <a:pt x="1640" y="192"/>
                  <a:pt x="1640" y="192"/>
                </a:cubicBezTo>
                <a:cubicBezTo>
                  <a:pt x="1640" y="190"/>
                  <a:pt x="1640" y="190"/>
                  <a:pt x="1640" y="190"/>
                </a:cubicBezTo>
                <a:cubicBezTo>
                  <a:pt x="1638" y="191"/>
                  <a:pt x="1638" y="191"/>
                  <a:pt x="1638" y="191"/>
                </a:cubicBezTo>
                <a:cubicBezTo>
                  <a:pt x="1637" y="190"/>
                  <a:pt x="1637" y="190"/>
                  <a:pt x="1637" y="190"/>
                </a:cubicBezTo>
                <a:cubicBezTo>
                  <a:pt x="1635" y="190"/>
                  <a:pt x="1635" y="190"/>
                  <a:pt x="1635" y="190"/>
                </a:cubicBezTo>
                <a:cubicBezTo>
                  <a:pt x="1636" y="190"/>
                  <a:pt x="1636" y="190"/>
                  <a:pt x="1636" y="190"/>
                </a:cubicBezTo>
                <a:cubicBezTo>
                  <a:pt x="1635" y="192"/>
                  <a:pt x="1635" y="192"/>
                  <a:pt x="1635" y="192"/>
                </a:cubicBezTo>
                <a:cubicBezTo>
                  <a:pt x="1634" y="191"/>
                  <a:pt x="1634" y="191"/>
                  <a:pt x="1634" y="191"/>
                </a:cubicBezTo>
                <a:cubicBezTo>
                  <a:pt x="1633" y="191"/>
                  <a:pt x="1633" y="191"/>
                  <a:pt x="1633" y="191"/>
                </a:cubicBezTo>
                <a:cubicBezTo>
                  <a:pt x="1634" y="192"/>
                  <a:pt x="1634" y="192"/>
                  <a:pt x="1634" y="192"/>
                </a:cubicBezTo>
                <a:cubicBezTo>
                  <a:pt x="1635" y="194"/>
                  <a:pt x="1635" y="194"/>
                  <a:pt x="1635" y="194"/>
                </a:cubicBezTo>
                <a:cubicBezTo>
                  <a:pt x="1634" y="194"/>
                  <a:pt x="1634" y="194"/>
                  <a:pt x="1634" y="194"/>
                </a:cubicBezTo>
                <a:cubicBezTo>
                  <a:pt x="1633" y="195"/>
                  <a:pt x="1633" y="195"/>
                  <a:pt x="1633" y="195"/>
                </a:cubicBezTo>
                <a:cubicBezTo>
                  <a:pt x="1634" y="196"/>
                  <a:pt x="1634" y="196"/>
                  <a:pt x="1634" y="196"/>
                </a:cubicBezTo>
                <a:cubicBezTo>
                  <a:pt x="1633" y="197"/>
                  <a:pt x="1633" y="197"/>
                  <a:pt x="1633" y="197"/>
                </a:cubicBezTo>
                <a:cubicBezTo>
                  <a:pt x="1632" y="196"/>
                  <a:pt x="1632" y="196"/>
                  <a:pt x="1632" y="196"/>
                </a:cubicBezTo>
                <a:cubicBezTo>
                  <a:pt x="1632" y="194"/>
                  <a:pt x="1632" y="194"/>
                  <a:pt x="1632" y="194"/>
                </a:cubicBezTo>
                <a:cubicBezTo>
                  <a:pt x="1631" y="192"/>
                  <a:pt x="1631" y="192"/>
                  <a:pt x="1631" y="192"/>
                </a:cubicBezTo>
                <a:cubicBezTo>
                  <a:pt x="1630" y="194"/>
                  <a:pt x="1630" y="194"/>
                  <a:pt x="1630" y="194"/>
                </a:cubicBezTo>
                <a:cubicBezTo>
                  <a:pt x="1628" y="194"/>
                  <a:pt x="1628" y="194"/>
                  <a:pt x="1628" y="194"/>
                </a:cubicBezTo>
                <a:cubicBezTo>
                  <a:pt x="1628" y="193"/>
                  <a:pt x="1628" y="193"/>
                  <a:pt x="1628" y="193"/>
                </a:cubicBezTo>
                <a:cubicBezTo>
                  <a:pt x="1628" y="192"/>
                  <a:pt x="1628" y="192"/>
                  <a:pt x="1628" y="192"/>
                </a:cubicBezTo>
                <a:cubicBezTo>
                  <a:pt x="1627" y="192"/>
                  <a:pt x="1627" y="192"/>
                  <a:pt x="1627" y="192"/>
                </a:cubicBezTo>
                <a:cubicBezTo>
                  <a:pt x="1625" y="194"/>
                  <a:pt x="1625" y="194"/>
                  <a:pt x="1625" y="194"/>
                </a:cubicBezTo>
                <a:cubicBezTo>
                  <a:pt x="1627" y="195"/>
                  <a:pt x="1627" y="195"/>
                  <a:pt x="1627" y="195"/>
                </a:cubicBezTo>
                <a:cubicBezTo>
                  <a:pt x="1629" y="195"/>
                  <a:pt x="1629" y="195"/>
                  <a:pt x="1629" y="195"/>
                </a:cubicBezTo>
                <a:cubicBezTo>
                  <a:pt x="1631" y="196"/>
                  <a:pt x="1631" y="196"/>
                  <a:pt x="1631" y="196"/>
                </a:cubicBezTo>
                <a:cubicBezTo>
                  <a:pt x="1630" y="198"/>
                  <a:pt x="1630" y="198"/>
                  <a:pt x="1630" y="198"/>
                </a:cubicBezTo>
                <a:cubicBezTo>
                  <a:pt x="1626" y="198"/>
                  <a:pt x="1626" y="198"/>
                  <a:pt x="1626" y="198"/>
                </a:cubicBezTo>
                <a:cubicBezTo>
                  <a:pt x="1625" y="197"/>
                  <a:pt x="1625" y="197"/>
                  <a:pt x="1625" y="197"/>
                </a:cubicBezTo>
                <a:cubicBezTo>
                  <a:pt x="1624" y="198"/>
                  <a:pt x="1624" y="198"/>
                  <a:pt x="1624" y="198"/>
                </a:cubicBezTo>
                <a:cubicBezTo>
                  <a:pt x="1623" y="199"/>
                  <a:pt x="1623" y="199"/>
                  <a:pt x="1623" y="199"/>
                </a:cubicBezTo>
                <a:cubicBezTo>
                  <a:pt x="1624" y="201"/>
                  <a:pt x="1624" y="201"/>
                  <a:pt x="1624" y="201"/>
                </a:cubicBezTo>
                <a:cubicBezTo>
                  <a:pt x="1623" y="202"/>
                  <a:pt x="1623" y="202"/>
                  <a:pt x="1623" y="202"/>
                </a:cubicBezTo>
                <a:cubicBezTo>
                  <a:pt x="1624" y="202"/>
                  <a:pt x="1624" y="202"/>
                  <a:pt x="1624" y="202"/>
                </a:cubicBezTo>
                <a:cubicBezTo>
                  <a:pt x="1626" y="200"/>
                  <a:pt x="1626" y="200"/>
                  <a:pt x="1626" y="200"/>
                </a:cubicBezTo>
                <a:cubicBezTo>
                  <a:pt x="1628" y="200"/>
                  <a:pt x="1628" y="200"/>
                  <a:pt x="1628" y="200"/>
                </a:cubicBezTo>
                <a:cubicBezTo>
                  <a:pt x="1629" y="201"/>
                  <a:pt x="1629" y="201"/>
                  <a:pt x="1629" y="201"/>
                </a:cubicBezTo>
                <a:cubicBezTo>
                  <a:pt x="1626" y="201"/>
                  <a:pt x="1626" y="201"/>
                  <a:pt x="1626" y="201"/>
                </a:cubicBezTo>
                <a:cubicBezTo>
                  <a:pt x="1626" y="203"/>
                  <a:pt x="1626" y="203"/>
                  <a:pt x="1626" y="203"/>
                </a:cubicBezTo>
                <a:cubicBezTo>
                  <a:pt x="1627" y="205"/>
                  <a:pt x="1627" y="205"/>
                  <a:pt x="1627" y="205"/>
                </a:cubicBezTo>
                <a:cubicBezTo>
                  <a:pt x="1629" y="206"/>
                  <a:pt x="1629" y="206"/>
                  <a:pt x="1629" y="206"/>
                </a:cubicBezTo>
                <a:cubicBezTo>
                  <a:pt x="1629" y="208"/>
                  <a:pt x="1629" y="208"/>
                  <a:pt x="1629" y="208"/>
                </a:cubicBezTo>
                <a:cubicBezTo>
                  <a:pt x="1627" y="207"/>
                  <a:pt x="1627" y="207"/>
                  <a:pt x="1627" y="207"/>
                </a:cubicBezTo>
                <a:cubicBezTo>
                  <a:pt x="1626" y="207"/>
                  <a:pt x="1626" y="207"/>
                  <a:pt x="1626" y="207"/>
                </a:cubicBezTo>
                <a:cubicBezTo>
                  <a:pt x="1625" y="205"/>
                  <a:pt x="1625" y="205"/>
                  <a:pt x="1625" y="205"/>
                </a:cubicBezTo>
                <a:cubicBezTo>
                  <a:pt x="1624" y="205"/>
                  <a:pt x="1624" y="205"/>
                  <a:pt x="1624" y="205"/>
                </a:cubicBezTo>
                <a:cubicBezTo>
                  <a:pt x="1622" y="206"/>
                  <a:pt x="1622" y="206"/>
                  <a:pt x="1622" y="206"/>
                </a:cubicBezTo>
                <a:cubicBezTo>
                  <a:pt x="1624" y="207"/>
                  <a:pt x="1624" y="207"/>
                  <a:pt x="1624" y="207"/>
                </a:cubicBezTo>
                <a:cubicBezTo>
                  <a:pt x="1622" y="207"/>
                  <a:pt x="1622" y="207"/>
                  <a:pt x="1622" y="207"/>
                </a:cubicBezTo>
                <a:cubicBezTo>
                  <a:pt x="1620" y="209"/>
                  <a:pt x="1620" y="209"/>
                  <a:pt x="1620" y="209"/>
                </a:cubicBezTo>
                <a:cubicBezTo>
                  <a:pt x="1620" y="210"/>
                  <a:pt x="1620" y="210"/>
                  <a:pt x="1620" y="210"/>
                </a:cubicBezTo>
                <a:cubicBezTo>
                  <a:pt x="1622" y="211"/>
                  <a:pt x="1622" y="211"/>
                  <a:pt x="1622" y="211"/>
                </a:cubicBezTo>
                <a:cubicBezTo>
                  <a:pt x="1624" y="210"/>
                  <a:pt x="1624" y="210"/>
                  <a:pt x="1624" y="210"/>
                </a:cubicBezTo>
                <a:cubicBezTo>
                  <a:pt x="1625" y="211"/>
                  <a:pt x="1625" y="211"/>
                  <a:pt x="1625" y="211"/>
                </a:cubicBezTo>
                <a:cubicBezTo>
                  <a:pt x="1627" y="210"/>
                  <a:pt x="1627" y="210"/>
                  <a:pt x="1627" y="210"/>
                </a:cubicBezTo>
                <a:cubicBezTo>
                  <a:pt x="1627" y="212"/>
                  <a:pt x="1627" y="212"/>
                  <a:pt x="1627" y="212"/>
                </a:cubicBezTo>
                <a:cubicBezTo>
                  <a:pt x="1628" y="213"/>
                  <a:pt x="1628" y="213"/>
                  <a:pt x="1628" y="213"/>
                </a:cubicBezTo>
                <a:cubicBezTo>
                  <a:pt x="1628" y="214"/>
                  <a:pt x="1628" y="214"/>
                  <a:pt x="1628" y="214"/>
                </a:cubicBezTo>
                <a:cubicBezTo>
                  <a:pt x="1626" y="212"/>
                  <a:pt x="1626" y="212"/>
                  <a:pt x="1626" y="212"/>
                </a:cubicBezTo>
                <a:cubicBezTo>
                  <a:pt x="1624" y="212"/>
                  <a:pt x="1624" y="212"/>
                  <a:pt x="1624" y="212"/>
                </a:cubicBezTo>
                <a:cubicBezTo>
                  <a:pt x="1623" y="213"/>
                  <a:pt x="1623" y="213"/>
                  <a:pt x="1623" y="213"/>
                </a:cubicBezTo>
                <a:cubicBezTo>
                  <a:pt x="1620" y="213"/>
                  <a:pt x="1620" y="213"/>
                  <a:pt x="1620" y="213"/>
                </a:cubicBezTo>
                <a:cubicBezTo>
                  <a:pt x="1620" y="215"/>
                  <a:pt x="1620" y="215"/>
                  <a:pt x="1620" y="215"/>
                </a:cubicBezTo>
                <a:cubicBezTo>
                  <a:pt x="1618" y="215"/>
                  <a:pt x="1618" y="215"/>
                  <a:pt x="1618" y="215"/>
                </a:cubicBezTo>
                <a:cubicBezTo>
                  <a:pt x="1617" y="215"/>
                  <a:pt x="1617" y="215"/>
                  <a:pt x="1617" y="215"/>
                </a:cubicBezTo>
                <a:cubicBezTo>
                  <a:pt x="1615" y="216"/>
                  <a:pt x="1615" y="216"/>
                  <a:pt x="1615" y="216"/>
                </a:cubicBezTo>
                <a:cubicBezTo>
                  <a:pt x="1614" y="216"/>
                  <a:pt x="1614" y="216"/>
                  <a:pt x="1614" y="216"/>
                </a:cubicBezTo>
                <a:cubicBezTo>
                  <a:pt x="1613" y="217"/>
                  <a:pt x="1613" y="217"/>
                  <a:pt x="1613" y="217"/>
                </a:cubicBezTo>
                <a:cubicBezTo>
                  <a:pt x="1615" y="218"/>
                  <a:pt x="1615" y="218"/>
                  <a:pt x="1615" y="218"/>
                </a:cubicBezTo>
                <a:cubicBezTo>
                  <a:pt x="1616" y="219"/>
                  <a:pt x="1616" y="219"/>
                  <a:pt x="1616" y="219"/>
                </a:cubicBezTo>
                <a:cubicBezTo>
                  <a:pt x="1615" y="220"/>
                  <a:pt x="1615" y="220"/>
                  <a:pt x="1615" y="220"/>
                </a:cubicBezTo>
                <a:cubicBezTo>
                  <a:pt x="1614" y="219"/>
                  <a:pt x="1614" y="219"/>
                  <a:pt x="1614" y="219"/>
                </a:cubicBezTo>
                <a:cubicBezTo>
                  <a:pt x="1613" y="220"/>
                  <a:pt x="1613" y="220"/>
                  <a:pt x="1613" y="220"/>
                </a:cubicBezTo>
                <a:cubicBezTo>
                  <a:pt x="1615" y="221"/>
                  <a:pt x="1615" y="221"/>
                  <a:pt x="1615" y="221"/>
                </a:cubicBezTo>
                <a:cubicBezTo>
                  <a:pt x="1614" y="222"/>
                  <a:pt x="1614" y="222"/>
                  <a:pt x="1614" y="222"/>
                </a:cubicBezTo>
                <a:cubicBezTo>
                  <a:pt x="1612" y="221"/>
                  <a:pt x="1612" y="221"/>
                  <a:pt x="1612" y="221"/>
                </a:cubicBezTo>
                <a:cubicBezTo>
                  <a:pt x="1612" y="221"/>
                  <a:pt x="1612" y="221"/>
                  <a:pt x="1612" y="221"/>
                </a:cubicBezTo>
                <a:cubicBezTo>
                  <a:pt x="1612" y="222"/>
                  <a:pt x="1612" y="222"/>
                  <a:pt x="1612" y="222"/>
                </a:cubicBezTo>
                <a:cubicBezTo>
                  <a:pt x="1613" y="223"/>
                  <a:pt x="1613" y="223"/>
                  <a:pt x="1613" y="223"/>
                </a:cubicBezTo>
                <a:cubicBezTo>
                  <a:pt x="1612" y="223"/>
                  <a:pt x="1612" y="223"/>
                  <a:pt x="1612" y="223"/>
                </a:cubicBezTo>
                <a:cubicBezTo>
                  <a:pt x="1612" y="224"/>
                  <a:pt x="1612" y="224"/>
                  <a:pt x="1612" y="224"/>
                </a:cubicBezTo>
                <a:cubicBezTo>
                  <a:pt x="1613" y="224"/>
                  <a:pt x="1613" y="224"/>
                  <a:pt x="1613" y="224"/>
                </a:cubicBezTo>
                <a:cubicBezTo>
                  <a:pt x="1612" y="225"/>
                  <a:pt x="1612" y="225"/>
                  <a:pt x="1612" y="225"/>
                </a:cubicBezTo>
                <a:cubicBezTo>
                  <a:pt x="1611" y="225"/>
                  <a:pt x="1611" y="225"/>
                  <a:pt x="1611" y="225"/>
                </a:cubicBezTo>
                <a:cubicBezTo>
                  <a:pt x="1610" y="225"/>
                  <a:pt x="1610" y="225"/>
                  <a:pt x="1610" y="225"/>
                </a:cubicBezTo>
                <a:cubicBezTo>
                  <a:pt x="1610" y="226"/>
                  <a:pt x="1610" y="226"/>
                  <a:pt x="1610" y="226"/>
                </a:cubicBezTo>
                <a:cubicBezTo>
                  <a:pt x="1610" y="227"/>
                  <a:pt x="1610" y="227"/>
                  <a:pt x="1610" y="227"/>
                </a:cubicBezTo>
                <a:cubicBezTo>
                  <a:pt x="1611" y="227"/>
                  <a:pt x="1611" y="227"/>
                  <a:pt x="1611" y="227"/>
                </a:cubicBezTo>
                <a:cubicBezTo>
                  <a:pt x="1613" y="228"/>
                  <a:pt x="1613" y="228"/>
                  <a:pt x="1613" y="228"/>
                </a:cubicBezTo>
                <a:cubicBezTo>
                  <a:pt x="1614" y="229"/>
                  <a:pt x="1614" y="229"/>
                  <a:pt x="1614" y="229"/>
                </a:cubicBezTo>
                <a:cubicBezTo>
                  <a:pt x="1615" y="230"/>
                  <a:pt x="1615" y="230"/>
                  <a:pt x="1615" y="230"/>
                </a:cubicBezTo>
                <a:cubicBezTo>
                  <a:pt x="1616" y="229"/>
                  <a:pt x="1616" y="229"/>
                  <a:pt x="1616" y="229"/>
                </a:cubicBezTo>
                <a:cubicBezTo>
                  <a:pt x="1615" y="230"/>
                  <a:pt x="1615" y="230"/>
                  <a:pt x="1615" y="230"/>
                </a:cubicBezTo>
                <a:cubicBezTo>
                  <a:pt x="1615" y="231"/>
                  <a:pt x="1615" y="231"/>
                  <a:pt x="1615" y="231"/>
                </a:cubicBezTo>
                <a:cubicBezTo>
                  <a:pt x="1613" y="231"/>
                  <a:pt x="1613" y="231"/>
                  <a:pt x="1613" y="231"/>
                </a:cubicBezTo>
                <a:cubicBezTo>
                  <a:pt x="1613" y="230"/>
                  <a:pt x="1613" y="230"/>
                  <a:pt x="1613" y="230"/>
                </a:cubicBezTo>
                <a:cubicBezTo>
                  <a:pt x="1610" y="230"/>
                  <a:pt x="1610" y="230"/>
                  <a:pt x="1610" y="230"/>
                </a:cubicBezTo>
                <a:cubicBezTo>
                  <a:pt x="1608" y="232"/>
                  <a:pt x="1608" y="232"/>
                  <a:pt x="1608" y="232"/>
                </a:cubicBezTo>
                <a:cubicBezTo>
                  <a:pt x="1609" y="233"/>
                  <a:pt x="1609" y="233"/>
                  <a:pt x="1609" y="233"/>
                </a:cubicBezTo>
                <a:cubicBezTo>
                  <a:pt x="1611" y="233"/>
                  <a:pt x="1611" y="233"/>
                  <a:pt x="1611" y="233"/>
                </a:cubicBezTo>
                <a:cubicBezTo>
                  <a:pt x="1611" y="234"/>
                  <a:pt x="1611" y="234"/>
                  <a:pt x="1611" y="234"/>
                </a:cubicBezTo>
                <a:cubicBezTo>
                  <a:pt x="1612" y="235"/>
                  <a:pt x="1612" y="235"/>
                  <a:pt x="1612" y="235"/>
                </a:cubicBezTo>
                <a:cubicBezTo>
                  <a:pt x="1612" y="237"/>
                  <a:pt x="1612" y="237"/>
                  <a:pt x="1612" y="237"/>
                </a:cubicBezTo>
                <a:cubicBezTo>
                  <a:pt x="1611" y="235"/>
                  <a:pt x="1611" y="235"/>
                  <a:pt x="1611" y="235"/>
                </a:cubicBezTo>
                <a:cubicBezTo>
                  <a:pt x="1610" y="235"/>
                  <a:pt x="1610" y="235"/>
                  <a:pt x="1610" y="235"/>
                </a:cubicBezTo>
                <a:cubicBezTo>
                  <a:pt x="1609" y="237"/>
                  <a:pt x="1609" y="237"/>
                  <a:pt x="1609" y="237"/>
                </a:cubicBezTo>
                <a:cubicBezTo>
                  <a:pt x="1609" y="238"/>
                  <a:pt x="1609" y="238"/>
                  <a:pt x="1609" y="238"/>
                </a:cubicBezTo>
                <a:cubicBezTo>
                  <a:pt x="1608" y="238"/>
                  <a:pt x="1608" y="238"/>
                  <a:pt x="1608" y="238"/>
                </a:cubicBezTo>
                <a:cubicBezTo>
                  <a:pt x="1609" y="239"/>
                  <a:pt x="1609" y="239"/>
                  <a:pt x="1609" y="239"/>
                </a:cubicBezTo>
                <a:cubicBezTo>
                  <a:pt x="1609" y="241"/>
                  <a:pt x="1609" y="241"/>
                  <a:pt x="1609" y="241"/>
                </a:cubicBezTo>
                <a:cubicBezTo>
                  <a:pt x="1609" y="241"/>
                  <a:pt x="1609" y="241"/>
                  <a:pt x="1609" y="241"/>
                </a:cubicBezTo>
                <a:cubicBezTo>
                  <a:pt x="1608" y="240"/>
                  <a:pt x="1608" y="240"/>
                  <a:pt x="1608" y="240"/>
                </a:cubicBezTo>
                <a:cubicBezTo>
                  <a:pt x="1607" y="240"/>
                  <a:pt x="1607" y="240"/>
                  <a:pt x="1607" y="240"/>
                </a:cubicBezTo>
                <a:cubicBezTo>
                  <a:pt x="1607" y="242"/>
                  <a:pt x="1607" y="242"/>
                  <a:pt x="1607" y="242"/>
                </a:cubicBezTo>
                <a:cubicBezTo>
                  <a:pt x="1609" y="242"/>
                  <a:pt x="1609" y="242"/>
                  <a:pt x="1609" y="242"/>
                </a:cubicBezTo>
                <a:cubicBezTo>
                  <a:pt x="1609" y="243"/>
                  <a:pt x="1609" y="243"/>
                  <a:pt x="1609" y="243"/>
                </a:cubicBezTo>
                <a:cubicBezTo>
                  <a:pt x="1609" y="244"/>
                  <a:pt x="1609" y="244"/>
                  <a:pt x="1609" y="244"/>
                </a:cubicBezTo>
                <a:cubicBezTo>
                  <a:pt x="1607" y="243"/>
                  <a:pt x="1607" y="243"/>
                  <a:pt x="1607" y="243"/>
                </a:cubicBezTo>
                <a:cubicBezTo>
                  <a:pt x="1606" y="243"/>
                  <a:pt x="1606" y="243"/>
                  <a:pt x="1606" y="243"/>
                </a:cubicBezTo>
                <a:cubicBezTo>
                  <a:pt x="1606" y="245"/>
                  <a:pt x="1606" y="245"/>
                  <a:pt x="1606" y="245"/>
                </a:cubicBezTo>
                <a:cubicBezTo>
                  <a:pt x="1606" y="245"/>
                  <a:pt x="1606" y="245"/>
                  <a:pt x="1606" y="245"/>
                </a:cubicBezTo>
                <a:cubicBezTo>
                  <a:pt x="1606" y="247"/>
                  <a:pt x="1606" y="247"/>
                  <a:pt x="1606" y="247"/>
                </a:cubicBezTo>
                <a:cubicBezTo>
                  <a:pt x="1607" y="248"/>
                  <a:pt x="1607" y="248"/>
                  <a:pt x="1607" y="248"/>
                </a:cubicBezTo>
                <a:cubicBezTo>
                  <a:pt x="1608" y="248"/>
                  <a:pt x="1608" y="248"/>
                  <a:pt x="1608" y="248"/>
                </a:cubicBezTo>
                <a:cubicBezTo>
                  <a:pt x="1609" y="247"/>
                  <a:pt x="1609" y="247"/>
                  <a:pt x="1609" y="247"/>
                </a:cubicBezTo>
                <a:cubicBezTo>
                  <a:pt x="1610" y="247"/>
                  <a:pt x="1610" y="247"/>
                  <a:pt x="1610" y="247"/>
                </a:cubicBezTo>
                <a:cubicBezTo>
                  <a:pt x="1609" y="249"/>
                  <a:pt x="1609" y="249"/>
                  <a:pt x="1609" y="249"/>
                </a:cubicBezTo>
                <a:cubicBezTo>
                  <a:pt x="1608" y="249"/>
                  <a:pt x="1608" y="249"/>
                  <a:pt x="1608" y="249"/>
                </a:cubicBezTo>
                <a:cubicBezTo>
                  <a:pt x="1606" y="251"/>
                  <a:pt x="1606" y="251"/>
                  <a:pt x="1606" y="251"/>
                </a:cubicBezTo>
                <a:cubicBezTo>
                  <a:pt x="1605" y="251"/>
                  <a:pt x="1605" y="251"/>
                  <a:pt x="1605" y="251"/>
                </a:cubicBezTo>
                <a:cubicBezTo>
                  <a:pt x="1603" y="252"/>
                  <a:pt x="1603" y="252"/>
                  <a:pt x="1603" y="252"/>
                </a:cubicBezTo>
                <a:cubicBezTo>
                  <a:pt x="1603" y="253"/>
                  <a:pt x="1603" y="253"/>
                  <a:pt x="1603" y="253"/>
                </a:cubicBezTo>
                <a:cubicBezTo>
                  <a:pt x="1602" y="253"/>
                  <a:pt x="1602" y="253"/>
                  <a:pt x="1602" y="253"/>
                </a:cubicBezTo>
                <a:cubicBezTo>
                  <a:pt x="1600" y="254"/>
                  <a:pt x="1600" y="254"/>
                  <a:pt x="1600" y="254"/>
                </a:cubicBezTo>
                <a:cubicBezTo>
                  <a:pt x="1602" y="255"/>
                  <a:pt x="1602" y="255"/>
                  <a:pt x="1602" y="255"/>
                </a:cubicBezTo>
                <a:cubicBezTo>
                  <a:pt x="1601" y="256"/>
                  <a:pt x="1601" y="256"/>
                  <a:pt x="1601" y="256"/>
                </a:cubicBezTo>
                <a:cubicBezTo>
                  <a:pt x="1599" y="256"/>
                  <a:pt x="1599" y="256"/>
                  <a:pt x="1599" y="256"/>
                </a:cubicBezTo>
                <a:cubicBezTo>
                  <a:pt x="1598" y="258"/>
                  <a:pt x="1598" y="258"/>
                  <a:pt x="1598" y="258"/>
                </a:cubicBezTo>
                <a:cubicBezTo>
                  <a:pt x="1598" y="259"/>
                  <a:pt x="1598" y="259"/>
                  <a:pt x="1598" y="259"/>
                </a:cubicBezTo>
                <a:cubicBezTo>
                  <a:pt x="1600" y="259"/>
                  <a:pt x="1600" y="259"/>
                  <a:pt x="1600" y="259"/>
                </a:cubicBezTo>
                <a:cubicBezTo>
                  <a:pt x="1598" y="260"/>
                  <a:pt x="1598" y="260"/>
                  <a:pt x="1598" y="260"/>
                </a:cubicBezTo>
                <a:cubicBezTo>
                  <a:pt x="1597" y="262"/>
                  <a:pt x="1597" y="262"/>
                  <a:pt x="1597" y="262"/>
                </a:cubicBezTo>
                <a:cubicBezTo>
                  <a:pt x="1596" y="262"/>
                  <a:pt x="1596" y="262"/>
                  <a:pt x="1596" y="262"/>
                </a:cubicBezTo>
                <a:cubicBezTo>
                  <a:pt x="1596" y="260"/>
                  <a:pt x="1596" y="260"/>
                  <a:pt x="1596" y="260"/>
                </a:cubicBezTo>
                <a:cubicBezTo>
                  <a:pt x="1595" y="260"/>
                  <a:pt x="1595" y="260"/>
                  <a:pt x="1595" y="260"/>
                </a:cubicBezTo>
                <a:cubicBezTo>
                  <a:pt x="1594" y="260"/>
                  <a:pt x="1594" y="260"/>
                  <a:pt x="1594" y="260"/>
                </a:cubicBezTo>
                <a:cubicBezTo>
                  <a:pt x="1593" y="260"/>
                  <a:pt x="1593" y="260"/>
                  <a:pt x="1593" y="260"/>
                </a:cubicBezTo>
                <a:cubicBezTo>
                  <a:pt x="1593" y="262"/>
                  <a:pt x="1593" y="262"/>
                  <a:pt x="1593" y="262"/>
                </a:cubicBezTo>
                <a:cubicBezTo>
                  <a:pt x="1592" y="262"/>
                  <a:pt x="1592" y="262"/>
                  <a:pt x="1592" y="262"/>
                </a:cubicBezTo>
                <a:cubicBezTo>
                  <a:pt x="1592" y="264"/>
                  <a:pt x="1592" y="264"/>
                  <a:pt x="1592" y="264"/>
                </a:cubicBezTo>
                <a:cubicBezTo>
                  <a:pt x="1593" y="265"/>
                  <a:pt x="1593" y="265"/>
                  <a:pt x="1593" y="265"/>
                </a:cubicBezTo>
                <a:cubicBezTo>
                  <a:pt x="1590" y="265"/>
                  <a:pt x="1590" y="265"/>
                  <a:pt x="1590" y="265"/>
                </a:cubicBezTo>
                <a:cubicBezTo>
                  <a:pt x="1589" y="265"/>
                  <a:pt x="1589" y="265"/>
                  <a:pt x="1589" y="265"/>
                </a:cubicBezTo>
                <a:cubicBezTo>
                  <a:pt x="1589" y="267"/>
                  <a:pt x="1589" y="267"/>
                  <a:pt x="1589" y="267"/>
                </a:cubicBezTo>
                <a:cubicBezTo>
                  <a:pt x="1588" y="268"/>
                  <a:pt x="1588" y="268"/>
                  <a:pt x="1588" y="268"/>
                </a:cubicBezTo>
                <a:cubicBezTo>
                  <a:pt x="1588" y="269"/>
                  <a:pt x="1588" y="269"/>
                  <a:pt x="1588" y="269"/>
                </a:cubicBezTo>
                <a:cubicBezTo>
                  <a:pt x="1588" y="271"/>
                  <a:pt x="1588" y="271"/>
                  <a:pt x="1588" y="271"/>
                </a:cubicBezTo>
                <a:cubicBezTo>
                  <a:pt x="1586" y="272"/>
                  <a:pt x="1586" y="272"/>
                  <a:pt x="1586" y="272"/>
                </a:cubicBezTo>
                <a:cubicBezTo>
                  <a:pt x="1584" y="274"/>
                  <a:pt x="1584" y="274"/>
                  <a:pt x="1584" y="274"/>
                </a:cubicBezTo>
                <a:cubicBezTo>
                  <a:pt x="1585" y="275"/>
                  <a:pt x="1585" y="275"/>
                  <a:pt x="1585" y="275"/>
                </a:cubicBezTo>
                <a:cubicBezTo>
                  <a:pt x="1587" y="273"/>
                  <a:pt x="1587" y="273"/>
                  <a:pt x="1587" y="273"/>
                </a:cubicBezTo>
                <a:cubicBezTo>
                  <a:pt x="1588" y="273"/>
                  <a:pt x="1588" y="273"/>
                  <a:pt x="1588" y="273"/>
                </a:cubicBezTo>
                <a:cubicBezTo>
                  <a:pt x="1588" y="275"/>
                  <a:pt x="1588" y="275"/>
                  <a:pt x="1588" y="275"/>
                </a:cubicBezTo>
                <a:cubicBezTo>
                  <a:pt x="1587" y="275"/>
                  <a:pt x="1587" y="275"/>
                  <a:pt x="1587" y="275"/>
                </a:cubicBezTo>
                <a:cubicBezTo>
                  <a:pt x="1586" y="277"/>
                  <a:pt x="1586" y="277"/>
                  <a:pt x="1586" y="277"/>
                </a:cubicBezTo>
                <a:cubicBezTo>
                  <a:pt x="1588" y="279"/>
                  <a:pt x="1588" y="279"/>
                  <a:pt x="1588" y="279"/>
                </a:cubicBezTo>
                <a:cubicBezTo>
                  <a:pt x="1590" y="277"/>
                  <a:pt x="1590" y="277"/>
                  <a:pt x="1590" y="277"/>
                </a:cubicBezTo>
                <a:cubicBezTo>
                  <a:pt x="1592" y="277"/>
                  <a:pt x="1592" y="277"/>
                  <a:pt x="1592" y="277"/>
                </a:cubicBezTo>
                <a:cubicBezTo>
                  <a:pt x="1595" y="274"/>
                  <a:pt x="1595" y="274"/>
                  <a:pt x="1595" y="274"/>
                </a:cubicBezTo>
                <a:cubicBezTo>
                  <a:pt x="1595" y="273"/>
                  <a:pt x="1595" y="273"/>
                  <a:pt x="1595" y="273"/>
                </a:cubicBezTo>
                <a:cubicBezTo>
                  <a:pt x="1594" y="273"/>
                  <a:pt x="1594" y="273"/>
                  <a:pt x="1594" y="273"/>
                </a:cubicBezTo>
                <a:cubicBezTo>
                  <a:pt x="1595" y="271"/>
                  <a:pt x="1595" y="271"/>
                  <a:pt x="1595" y="271"/>
                </a:cubicBezTo>
                <a:cubicBezTo>
                  <a:pt x="1595" y="269"/>
                  <a:pt x="1595" y="269"/>
                  <a:pt x="1595" y="269"/>
                </a:cubicBezTo>
                <a:cubicBezTo>
                  <a:pt x="1596" y="269"/>
                  <a:pt x="1596" y="269"/>
                  <a:pt x="1596" y="269"/>
                </a:cubicBezTo>
                <a:cubicBezTo>
                  <a:pt x="1597" y="268"/>
                  <a:pt x="1597" y="268"/>
                  <a:pt x="1597" y="268"/>
                </a:cubicBezTo>
                <a:cubicBezTo>
                  <a:pt x="1599" y="268"/>
                  <a:pt x="1599" y="268"/>
                  <a:pt x="1599" y="268"/>
                </a:cubicBezTo>
                <a:cubicBezTo>
                  <a:pt x="1600" y="268"/>
                  <a:pt x="1600" y="268"/>
                  <a:pt x="1600" y="268"/>
                </a:cubicBezTo>
                <a:cubicBezTo>
                  <a:pt x="1597" y="270"/>
                  <a:pt x="1597" y="270"/>
                  <a:pt x="1597" y="270"/>
                </a:cubicBezTo>
                <a:cubicBezTo>
                  <a:pt x="1597" y="272"/>
                  <a:pt x="1597" y="272"/>
                  <a:pt x="1597" y="272"/>
                </a:cubicBezTo>
                <a:cubicBezTo>
                  <a:pt x="1600" y="272"/>
                  <a:pt x="1600" y="272"/>
                  <a:pt x="1600" y="272"/>
                </a:cubicBezTo>
                <a:cubicBezTo>
                  <a:pt x="1599" y="274"/>
                  <a:pt x="1599" y="274"/>
                  <a:pt x="1599" y="274"/>
                </a:cubicBezTo>
                <a:cubicBezTo>
                  <a:pt x="1597" y="274"/>
                  <a:pt x="1597" y="274"/>
                  <a:pt x="1597" y="274"/>
                </a:cubicBezTo>
                <a:cubicBezTo>
                  <a:pt x="1594" y="277"/>
                  <a:pt x="1594" y="277"/>
                  <a:pt x="1594" y="277"/>
                </a:cubicBezTo>
                <a:cubicBezTo>
                  <a:pt x="1596" y="278"/>
                  <a:pt x="1596" y="278"/>
                  <a:pt x="1596" y="278"/>
                </a:cubicBezTo>
                <a:cubicBezTo>
                  <a:pt x="1595" y="279"/>
                  <a:pt x="1595" y="279"/>
                  <a:pt x="1595" y="279"/>
                </a:cubicBezTo>
                <a:cubicBezTo>
                  <a:pt x="1595" y="281"/>
                  <a:pt x="1595" y="281"/>
                  <a:pt x="1595" y="281"/>
                </a:cubicBezTo>
                <a:cubicBezTo>
                  <a:pt x="1593" y="281"/>
                  <a:pt x="1593" y="281"/>
                  <a:pt x="1593" y="281"/>
                </a:cubicBezTo>
                <a:cubicBezTo>
                  <a:pt x="1592" y="279"/>
                  <a:pt x="1592" y="279"/>
                  <a:pt x="1592" y="279"/>
                </a:cubicBezTo>
                <a:cubicBezTo>
                  <a:pt x="1590" y="279"/>
                  <a:pt x="1590" y="279"/>
                  <a:pt x="1590" y="279"/>
                </a:cubicBezTo>
                <a:cubicBezTo>
                  <a:pt x="1589" y="280"/>
                  <a:pt x="1589" y="280"/>
                  <a:pt x="1589" y="280"/>
                </a:cubicBezTo>
                <a:cubicBezTo>
                  <a:pt x="1589" y="282"/>
                  <a:pt x="1589" y="282"/>
                  <a:pt x="1589" y="282"/>
                </a:cubicBezTo>
                <a:cubicBezTo>
                  <a:pt x="1587" y="283"/>
                  <a:pt x="1587" y="283"/>
                  <a:pt x="1587" y="283"/>
                </a:cubicBezTo>
                <a:cubicBezTo>
                  <a:pt x="1585" y="284"/>
                  <a:pt x="1585" y="284"/>
                  <a:pt x="1585" y="284"/>
                </a:cubicBezTo>
                <a:cubicBezTo>
                  <a:pt x="1587" y="282"/>
                  <a:pt x="1587" y="282"/>
                  <a:pt x="1587" y="282"/>
                </a:cubicBezTo>
                <a:cubicBezTo>
                  <a:pt x="1587" y="282"/>
                  <a:pt x="1587" y="282"/>
                  <a:pt x="1587" y="282"/>
                </a:cubicBezTo>
                <a:cubicBezTo>
                  <a:pt x="1586" y="280"/>
                  <a:pt x="1586" y="280"/>
                  <a:pt x="1586" y="280"/>
                </a:cubicBezTo>
                <a:cubicBezTo>
                  <a:pt x="1586" y="278"/>
                  <a:pt x="1586" y="278"/>
                  <a:pt x="1586" y="278"/>
                </a:cubicBezTo>
                <a:cubicBezTo>
                  <a:pt x="1585" y="276"/>
                  <a:pt x="1585" y="276"/>
                  <a:pt x="1585" y="276"/>
                </a:cubicBezTo>
                <a:cubicBezTo>
                  <a:pt x="1583" y="276"/>
                  <a:pt x="1583" y="276"/>
                  <a:pt x="1583" y="276"/>
                </a:cubicBezTo>
                <a:cubicBezTo>
                  <a:pt x="1583" y="278"/>
                  <a:pt x="1583" y="278"/>
                  <a:pt x="1583" y="278"/>
                </a:cubicBezTo>
                <a:cubicBezTo>
                  <a:pt x="1581" y="278"/>
                  <a:pt x="1581" y="278"/>
                  <a:pt x="1581" y="278"/>
                </a:cubicBezTo>
                <a:cubicBezTo>
                  <a:pt x="1581" y="279"/>
                  <a:pt x="1581" y="279"/>
                  <a:pt x="1581" y="279"/>
                </a:cubicBezTo>
                <a:cubicBezTo>
                  <a:pt x="1583" y="279"/>
                  <a:pt x="1583" y="279"/>
                  <a:pt x="1583" y="279"/>
                </a:cubicBezTo>
                <a:cubicBezTo>
                  <a:pt x="1581" y="281"/>
                  <a:pt x="1581" y="281"/>
                  <a:pt x="1581" y="281"/>
                </a:cubicBezTo>
                <a:cubicBezTo>
                  <a:pt x="1579" y="280"/>
                  <a:pt x="1579" y="280"/>
                  <a:pt x="1579" y="280"/>
                </a:cubicBezTo>
                <a:cubicBezTo>
                  <a:pt x="1578" y="281"/>
                  <a:pt x="1578" y="281"/>
                  <a:pt x="1578" y="281"/>
                </a:cubicBezTo>
                <a:cubicBezTo>
                  <a:pt x="1576" y="282"/>
                  <a:pt x="1576" y="282"/>
                  <a:pt x="1576" y="282"/>
                </a:cubicBezTo>
                <a:cubicBezTo>
                  <a:pt x="1577" y="283"/>
                  <a:pt x="1577" y="283"/>
                  <a:pt x="1577" y="283"/>
                </a:cubicBezTo>
                <a:cubicBezTo>
                  <a:pt x="1578" y="282"/>
                  <a:pt x="1578" y="282"/>
                  <a:pt x="1578" y="282"/>
                </a:cubicBezTo>
                <a:cubicBezTo>
                  <a:pt x="1578" y="283"/>
                  <a:pt x="1578" y="283"/>
                  <a:pt x="1578" y="283"/>
                </a:cubicBezTo>
                <a:cubicBezTo>
                  <a:pt x="1576" y="284"/>
                  <a:pt x="1576" y="284"/>
                  <a:pt x="1576" y="284"/>
                </a:cubicBezTo>
                <a:cubicBezTo>
                  <a:pt x="1575" y="285"/>
                  <a:pt x="1575" y="285"/>
                  <a:pt x="1575" y="285"/>
                </a:cubicBezTo>
                <a:cubicBezTo>
                  <a:pt x="1574" y="284"/>
                  <a:pt x="1574" y="284"/>
                  <a:pt x="1574" y="284"/>
                </a:cubicBezTo>
                <a:cubicBezTo>
                  <a:pt x="1573" y="284"/>
                  <a:pt x="1573" y="284"/>
                  <a:pt x="1573" y="284"/>
                </a:cubicBezTo>
                <a:cubicBezTo>
                  <a:pt x="1573" y="285"/>
                  <a:pt x="1573" y="285"/>
                  <a:pt x="1573" y="285"/>
                </a:cubicBezTo>
                <a:cubicBezTo>
                  <a:pt x="1575" y="286"/>
                  <a:pt x="1575" y="286"/>
                  <a:pt x="1575" y="286"/>
                </a:cubicBezTo>
                <a:cubicBezTo>
                  <a:pt x="1578" y="286"/>
                  <a:pt x="1578" y="286"/>
                  <a:pt x="1578" y="286"/>
                </a:cubicBezTo>
                <a:cubicBezTo>
                  <a:pt x="1577" y="288"/>
                  <a:pt x="1577" y="288"/>
                  <a:pt x="1577" y="288"/>
                </a:cubicBezTo>
                <a:cubicBezTo>
                  <a:pt x="1578" y="288"/>
                  <a:pt x="1578" y="288"/>
                  <a:pt x="1578" y="288"/>
                </a:cubicBezTo>
                <a:cubicBezTo>
                  <a:pt x="1578" y="290"/>
                  <a:pt x="1578" y="290"/>
                  <a:pt x="1578" y="290"/>
                </a:cubicBezTo>
                <a:cubicBezTo>
                  <a:pt x="1576" y="289"/>
                  <a:pt x="1576" y="289"/>
                  <a:pt x="1576" y="289"/>
                </a:cubicBezTo>
                <a:cubicBezTo>
                  <a:pt x="1575" y="287"/>
                  <a:pt x="1575" y="287"/>
                  <a:pt x="1575" y="287"/>
                </a:cubicBezTo>
                <a:cubicBezTo>
                  <a:pt x="1574" y="287"/>
                  <a:pt x="1574" y="287"/>
                  <a:pt x="1574" y="287"/>
                </a:cubicBezTo>
                <a:cubicBezTo>
                  <a:pt x="1572" y="286"/>
                  <a:pt x="1572" y="286"/>
                  <a:pt x="1572" y="286"/>
                </a:cubicBezTo>
                <a:cubicBezTo>
                  <a:pt x="1572" y="285"/>
                  <a:pt x="1572" y="285"/>
                  <a:pt x="1572" y="285"/>
                </a:cubicBezTo>
                <a:cubicBezTo>
                  <a:pt x="1571" y="285"/>
                  <a:pt x="1571" y="285"/>
                  <a:pt x="1571" y="285"/>
                </a:cubicBezTo>
                <a:cubicBezTo>
                  <a:pt x="1571" y="286"/>
                  <a:pt x="1571" y="286"/>
                  <a:pt x="1571" y="286"/>
                </a:cubicBezTo>
                <a:cubicBezTo>
                  <a:pt x="1572" y="289"/>
                  <a:pt x="1572" y="289"/>
                  <a:pt x="1572" y="289"/>
                </a:cubicBezTo>
                <a:cubicBezTo>
                  <a:pt x="1574" y="290"/>
                  <a:pt x="1574" y="290"/>
                  <a:pt x="1574" y="290"/>
                </a:cubicBezTo>
                <a:cubicBezTo>
                  <a:pt x="1576" y="290"/>
                  <a:pt x="1576" y="290"/>
                  <a:pt x="1576" y="290"/>
                </a:cubicBezTo>
                <a:cubicBezTo>
                  <a:pt x="1577" y="291"/>
                  <a:pt x="1577" y="291"/>
                  <a:pt x="1577" y="291"/>
                </a:cubicBezTo>
                <a:cubicBezTo>
                  <a:pt x="1575" y="291"/>
                  <a:pt x="1575" y="291"/>
                  <a:pt x="1575" y="291"/>
                </a:cubicBezTo>
                <a:cubicBezTo>
                  <a:pt x="1572" y="290"/>
                  <a:pt x="1572" y="290"/>
                  <a:pt x="1572" y="290"/>
                </a:cubicBezTo>
                <a:cubicBezTo>
                  <a:pt x="1570" y="287"/>
                  <a:pt x="1570" y="287"/>
                  <a:pt x="1570" y="287"/>
                </a:cubicBezTo>
                <a:cubicBezTo>
                  <a:pt x="1568" y="288"/>
                  <a:pt x="1568" y="288"/>
                  <a:pt x="1568" y="288"/>
                </a:cubicBezTo>
                <a:cubicBezTo>
                  <a:pt x="1567" y="287"/>
                  <a:pt x="1567" y="287"/>
                  <a:pt x="1567" y="287"/>
                </a:cubicBezTo>
                <a:cubicBezTo>
                  <a:pt x="1565" y="287"/>
                  <a:pt x="1565" y="287"/>
                  <a:pt x="1565" y="287"/>
                </a:cubicBezTo>
                <a:cubicBezTo>
                  <a:pt x="1564" y="286"/>
                  <a:pt x="1564" y="286"/>
                  <a:pt x="1564" y="286"/>
                </a:cubicBezTo>
                <a:cubicBezTo>
                  <a:pt x="1563" y="287"/>
                  <a:pt x="1563" y="287"/>
                  <a:pt x="1563" y="287"/>
                </a:cubicBezTo>
                <a:cubicBezTo>
                  <a:pt x="1563" y="288"/>
                  <a:pt x="1563" y="288"/>
                  <a:pt x="1563" y="288"/>
                </a:cubicBezTo>
                <a:cubicBezTo>
                  <a:pt x="1562" y="289"/>
                  <a:pt x="1562" y="289"/>
                  <a:pt x="1562" y="289"/>
                </a:cubicBezTo>
                <a:cubicBezTo>
                  <a:pt x="1564" y="291"/>
                  <a:pt x="1564" y="291"/>
                  <a:pt x="1564" y="291"/>
                </a:cubicBezTo>
                <a:cubicBezTo>
                  <a:pt x="1567" y="290"/>
                  <a:pt x="1567" y="290"/>
                  <a:pt x="1567" y="290"/>
                </a:cubicBezTo>
                <a:cubicBezTo>
                  <a:pt x="1568" y="291"/>
                  <a:pt x="1568" y="291"/>
                  <a:pt x="1568" y="291"/>
                </a:cubicBezTo>
                <a:cubicBezTo>
                  <a:pt x="1566" y="292"/>
                  <a:pt x="1566" y="292"/>
                  <a:pt x="1566" y="292"/>
                </a:cubicBezTo>
                <a:cubicBezTo>
                  <a:pt x="1567" y="292"/>
                  <a:pt x="1567" y="292"/>
                  <a:pt x="1567" y="292"/>
                </a:cubicBezTo>
                <a:cubicBezTo>
                  <a:pt x="1569" y="291"/>
                  <a:pt x="1569" y="291"/>
                  <a:pt x="1569" y="291"/>
                </a:cubicBezTo>
                <a:cubicBezTo>
                  <a:pt x="1571" y="291"/>
                  <a:pt x="1571" y="291"/>
                  <a:pt x="1571" y="291"/>
                </a:cubicBezTo>
                <a:cubicBezTo>
                  <a:pt x="1570" y="292"/>
                  <a:pt x="1570" y="292"/>
                  <a:pt x="1570" y="292"/>
                </a:cubicBezTo>
                <a:cubicBezTo>
                  <a:pt x="1567" y="293"/>
                  <a:pt x="1567" y="293"/>
                  <a:pt x="1567" y="293"/>
                </a:cubicBezTo>
                <a:cubicBezTo>
                  <a:pt x="1566" y="295"/>
                  <a:pt x="1566" y="295"/>
                  <a:pt x="1566" y="295"/>
                </a:cubicBezTo>
                <a:cubicBezTo>
                  <a:pt x="1564" y="294"/>
                  <a:pt x="1564" y="294"/>
                  <a:pt x="1564" y="294"/>
                </a:cubicBezTo>
                <a:cubicBezTo>
                  <a:pt x="1562" y="292"/>
                  <a:pt x="1562" y="292"/>
                  <a:pt x="1562" y="292"/>
                </a:cubicBezTo>
                <a:cubicBezTo>
                  <a:pt x="1561" y="292"/>
                  <a:pt x="1561" y="292"/>
                  <a:pt x="1561" y="292"/>
                </a:cubicBezTo>
                <a:cubicBezTo>
                  <a:pt x="1560" y="293"/>
                  <a:pt x="1560" y="293"/>
                  <a:pt x="1560" y="293"/>
                </a:cubicBezTo>
                <a:cubicBezTo>
                  <a:pt x="1559" y="292"/>
                  <a:pt x="1559" y="292"/>
                  <a:pt x="1559" y="292"/>
                </a:cubicBezTo>
                <a:cubicBezTo>
                  <a:pt x="1558" y="293"/>
                  <a:pt x="1558" y="293"/>
                  <a:pt x="1558" y="293"/>
                </a:cubicBezTo>
                <a:cubicBezTo>
                  <a:pt x="1557" y="292"/>
                  <a:pt x="1557" y="292"/>
                  <a:pt x="1557" y="292"/>
                </a:cubicBezTo>
                <a:cubicBezTo>
                  <a:pt x="1555" y="293"/>
                  <a:pt x="1555" y="293"/>
                  <a:pt x="1555" y="293"/>
                </a:cubicBezTo>
                <a:cubicBezTo>
                  <a:pt x="1556" y="294"/>
                  <a:pt x="1556" y="294"/>
                  <a:pt x="1556" y="294"/>
                </a:cubicBezTo>
                <a:cubicBezTo>
                  <a:pt x="1559" y="294"/>
                  <a:pt x="1559" y="294"/>
                  <a:pt x="1559" y="294"/>
                </a:cubicBezTo>
                <a:cubicBezTo>
                  <a:pt x="1561" y="295"/>
                  <a:pt x="1561" y="295"/>
                  <a:pt x="1561" y="295"/>
                </a:cubicBezTo>
                <a:cubicBezTo>
                  <a:pt x="1563" y="297"/>
                  <a:pt x="1563" y="297"/>
                  <a:pt x="1563" y="297"/>
                </a:cubicBezTo>
                <a:cubicBezTo>
                  <a:pt x="1563" y="298"/>
                  <a:pt x="1563" y="298"/>
                  <a:pt x="1563" y="298"/>
                </a:cubicBezTo>
                <a:cubicBezTo>
                  <a:pt x="1564" y="300"/>
                  <a:pt x="1564" y="300"/>
                  <a:pt x="1564" y="300"/>
                </a:cubicBezTo>
                <a:cubicBezTo>
                  <a:pt x="1562" y="300"/>
                  <a:pt x="1562" y="300"/>
                  <a:pt x="1562" y="300"/>
                </a:cubicBezTo>
                <a:cubicBezTo>
                  <a:pt x="1561" y="300"/>
                  <a:pt x="1561" y="300"/>
                  <a:pt x="1561" y="300"/>
                </a:cubicBezTo>
                <a:cubicBezTo>
                  <a:pt x="1561" y="297"/>
                  <a:pt x="1561" y="297"/>
                  <a:pt x="1561" y="297"/>
                </a:cubicBezTo>
                <a:cubicBezTo>
                  <a:pt x="1560" y="296"/>
                  <a:pt x="1560" y="296"/>
                  <a:pt x="1560" y="296"/>
                </a:cubicBezTo>
                <a:cubicBezTo>
                  <a:pt x="1558" y="297"/>
                  <a:pt x="1558" y="297"/>
                  <a:pt x="1558" y="297"/>
                </a:cubicBezTo>
                <a:cubicBezTo>
                  <a:pt x="1559" y="298"/>
                  <a:pt x="1559" y="298"/>
                  <a:pt x="1559" y="298"/>
                </a:cubicBezTo>
                <a:cubicBezTo>
                  <a:pt x="1558" y="299"/>
                  <a:pt x="1558" y="299"/>
                  <a:pt x="1558" y="299"/>
                </a:cubicBezTo>
                <a:cubicBezTo>
                  <a:pt x="1556" y="298"/>
                  <a:pt x="1556" y="298"/>
                  <a:pt x="1556" y="298"/>
                </a:cubicBezTo>
                <a:cubicBezTo>
                  <a:pt x="1554" y="300"/>
                  <a:pt x="1554" y="300"/>
                  <a:pt x="1554" y="300"/>
                </a:cubicBezTo>
                <a:cubicBezTo>
                  <a:pt x="1556" y="301"/>
                  <a:pt x="1556" y="301"/>
                  <a:pt x="1556" y="301"/>
                </a:cubicBezTo>
                <a:cubicBezTo>
                  <a:pt x="1554" y="301"/>
                  <a:pt x="1554" y="301"/>
                  <a:pt x="1554" y="301"/>
                </a:cubicBezTo>
                <a:cubicBezTo>
                  <a:pt x="1553" y="302"/>
                  <a:pt x="1553" y="302"/>
                  <a:pt x="1553" y="302"/>
                </a:cubicBezTo>
                <a:cubicBezTo>
                  <a:pt x="1553" y="300"/>
                  <a:pt x="1553" y="300"/>
                  <a:pt x="1553" y="300"/>
                </a:cubicBezTo>
                <a:cubicBezTo>
                  <a:pt x="1550" y="300"/>
                  <a:pt x="1550" y="300"/>
                  <a:pt x="1550" y="300"/>
                </a:cubicBezTo>
                <a:cubicBezTo>
                  <a:pt x="1551" y="301"/>
                  <a:pt x="1551" y="301"/>
                  <a:pt x="1551" y="301"/>
                </a:cubicBezTo>
                <a:cubicBezTo>
                  <a:pt x="1550" y="302"/>
                  <a:pt x="1550" y="302"/>
                  <a:pt x="1550" y="302"/>
                </a:cubicBezTo>
                <a:cubicBezTo>
                  <a:pt x="1549" y="300"/>
                  <a:pt x="1549" y="300"/>
                  <a:pt x="1549" y="300"/>
                </a:cubicBezTo>
                <a:cubicBezTo>
                  <a:pt x="1547" y="299"/>
                  <a:pt x="1547" y="299"/>
                  <a:pt x="1547" y="299"/>
                </a:cubicBezTo>
                <a:cubicBezTo>
                  <a:pt x="1547" y="299"/>
                  <a:pt x="1547" y="299"/>
                  <a:pt x="1547" y="299"/>
                </a:cubicBezTo>
                <a:cubicBezTo>
                  <a:pt x="1547" y="300"/>
                  <a:pt x="1547" y="300"/>
                  <a:pt x="1547" y="300"/>
                </a:cubicBezTo>
                <a:cubicBezTo>
                  <a:pt x="1549" y="302"/>
                  <a:pt x="1549" y="302"/>
                  <a:pt x="1549" y="302"/>
                </a:cubicBezTo>
                <a:cubicBezTo>
                  <a:pt x="1548" y="303"/>
                  <a:pt x="1548" y="303"/>
                  <a:pt x="1548" y="303"/>
                </a:cubicBezTo>
                <a:cubicBezTo>
                  <a:pt x="1549" y="304"/>
                  <a:pt x="1549" y="304"/>
                  <a:pt x="1549" y="304"/>
                </a:cubicBezTo>
                <a:cubicBezTo>
                  <a:pt x="1551" y="303"/>
                  <a:pt x="1551" y="303"/>
                  <a:pt x="1551" y="303"/>
                </a:cubicBezTo>
                <a:cubicBezTo>
                  <a:pt x="1554" y="304"/>
                  <a:pt x="1554" y="304"/>
                  <a:pt x="1554" y="304"/>
                </a:cubicBezTo>
                <a:cubicBezTo>
                  <a:pt x="1556" y="305"/>
                  <a:pt x="1556" y="305"/>
                  <a:pt x="1556" y="305"/>
                </a:cubicBezTo>
                <a:cubicBezTo>
                  <a:pt x="1559" y="305"/>
                  <a:pt x="1559" y="305"/>
                  <a:pt x="1559" y="305"/>
                </a:cubicBezTo>
                <a:cubicBezTo>
                  <a:pt x="1560" y="305"/>
                  <a:pt x="1560" y="305"/>
                  <a:pt x="1560" y="305"/>
                </a:cubicBezTo>
                <a:cubicBezTo>
                  <a:pt x="1561" y="305"/>
                  <a:pt x="1561" y="305"/>
                  <a:pt x="1561" y="305"/>
                </a:cubicBezTo>
                <a:cubicBezTo>
                  <a:pt x="1559" y="306"/>
                  <a:pt x="1559" y="306"/>
                  <a:pt x="1559" y="306"/>
                </a:cubicBezTo>
                <a:cubicBezTo>
                  <a:pt x="1557" y="306"/>
                  <a:pt x="1557" y="306"/>
                  <a:pt x="1557" y="306"/>
                </a:cubicBezTo>
                <a:cubicBezTo>
                  <a:pt x="1556" y="307"/>
                  <a:pt x="1556" y="307"/>
                  <a:pt x="1556" y="307"/>
                </a:cubicBezTo>
                <a:cubicBezTo>
                  <a:pt x="1552" y="305"/>
                  <a:pt x="1552" y="305"/>
                  <a:pt x="1552" y="305"/>
                </a:cubicBezTo>
                <a:cubicBezTo>
                  <a:pt x="1550" y="306"/>
                  <a:pt x="1550" y="306"/>
                  <a:pt x="1550" y="306"/>
                </a:cubicBezTo>
                <a:cubicBezTo>
                  <a:pt x="1550" y="305"/>
                  <a:pt x="1550" y="305"/>
                  <a:pt x="1550" y="305"/>
                </a:cubicBezTo>
                <a:cubicBezTo>
                  <a:pt x="1548" y="306"/>
                  <a:pt x="1548" y="306"/>
                  <a:pt x="1548" y="306"/>
                </a:cubicBezTo>
                <a:cubicBezTo>
                  <a:pt x="1546" y="307"/>
                  <a:pt x="1546" y="307"/>
                  <a:pt x="1546" y="307"/>
                </a:cubicBezTo>
                <a:cubicBezTo>
                  <a:pt x="1546" y="308"/>
                  <a:pt x="1546" y="308"/>
                  <a:pt x="1546" y="308"/>
                </a:cubicBezTo>
                <a:cubicBezTo>
                  <a:pt x="1549" y="309"/>
                  <a:pt x="1549" y="309"/>
                  <a:pt x="1549" y="309"/>
                </a:cubicBezTo>
                <a:cubicBezTo>
                  <a:pt x="1548" y="310"/>
                  <a:pt x="1548" y="310"/>
                  <a:pt x="1548" y="310"/>
                </a:cubicBezTo>
                <a:cubicBezTo>
                  <a:pt x="1549" y="311"/>
                  <a:pt x="1549" y="311"/>
                  <a:pt x="1549" y="311"/>
                </a:cubicBezTo>
                <a:cubicBezTo>
                  <a:pt x="1550" y="310"/>
                  <a:pt x="1550" y="310"/>
                  <a:pt x="1550" y="310"/>
                </a:cubicBezTo>
                <a:cubicBezTo>
                  <a:pt x="1553" y="310"/>
                  <a:pt x="1553" y="310"/>
                  <a:pt x="1553" y="310"/>
                </a:cubicBezTo>
                <a:cubicBezTo>
                  <a:pt x="1551" y="311"/>
                  <a:pt x="1551" y="311"/>
                  <a:pt x="1551" y="311"/>
                </a:cubicBezTo>
                <a:cubicBezTo>
                  <a:pt x="1548" y="311"/>
                  <a:pt x="1548" y="311"/>
                  <a:pt x="1548" y="311"/>
                </a:cubicBezTo>
                <a:cubicBezTo>
                  <a:pt x="1548" y="312"/>
                  <a:pt x="1548" y="312"/>
                  <a:pt x="1548" y="312"/>
                </a:cubicBezTo>
                <a:cubicBezTo>
                  <a:pt x="1547" y="312"/>
                  <a:pt x="1547" y="312"/>
                  <a:pt x="1547" y="312"/>
                </a:cubicBezTo>
                <a:cubicBezTo>
                  <a:pt x="1547" y="312"/>
                  <a:pt x="1547" y="312"/>
                  <a:pt x="1547" y="312"/>
                </a:cubicBezTo>
                <a:cubicBezTo>
                  <a:pt x="1548" y="313"/>
                  <a:pt x="1548" y="313"/>
                  <a:pt x="1548" y="313"/>
                </a:cubicBezTo>
                <a:cubicBezTo>
                  <a:pt x="1549" y="313"/>
                  <a:pt x="1549" y="313"/>
                  <a:pt x="1549" y="313"/>
                </a:cubicBezTo>
                <a:cubicBezTo>
                  <a:pt x="1547" y="314"/>
                  <a:pt x="1547" y="314"/>
                  <a:pt x="1547" y="314"/>
                </a:cubicBezTo>
                <a:cubicBezTo>
                  <a:pt x="1547" y="314"/>
                  <a:pt x="1547" y="314"/>
                  <a:pt x="1547" y="314"/>
                </a:cubicBezTo>
                <a:cubicBezTo>
                  <a:pt x="1547" y="315"/>
                  <a:pt x="1547" y="315"/>
                  <a:pt x="1547" y="315"/>
                </a:cubicBezTo>
                <a:cubicBezTo>
                  <a:pt x="1548" y="316"/>
                  <a:pt x="1548" y="316"/>
                  <a:pt x="1548" y="316"/>
                </a:cubicBezTo>
                <a:cubicBezTo>
                  <a:pt x="1548" y="317"/>
                  <a:pt x="1548" y="317"/>
                  <a:pt x="1548" y="317"/>
                </a:cubicBezTo>
                <a:cubicBezTo>
                  <a:pt x="1551" y="317"/>
                  <a:pt x="1551" y="317"/>
                  <a:pt x="1551" y="317"/>
                </a:cubicBezTo>
                <a:cubicBezTo>
                  <a:pt x="1552" y="316"/>
                  <a:pt x="1552" y="316"/>
                  <a:pt x="1552" y="316"/>
                </a:cubicBezTo>
                <a:cubicBezTo>
                  <a:pt x="1555" y="315"/>
                  <a:pt x="1555" y="315"/>
                  <a:pt x="1555" y="315"/>
                </a:cubicBezTo>
                <a:cubicBezTo>
                  <a:pt x="1557" y="316"/>
                  <a:pt x="1557" y="316"/>
                  <a:pt x="1557" y="316"/>
                </a:cubicBezTo>
                <a:cubicBezTo>
                  <a:pt x="1558" y="316"/>
                  <a:pt x="1558" y="316"/>
                  <a:pt x="1558" y="316"/>
                </a:cubicBezTo>
                <a:cubicBezTo>
                  <a:pt x="1559" y="315"/>
                  <a:pt x="1559" y="315"/>
                  <a:pt x="1559" y="315"/>
                </a:cubicBezTo>
                <a:cubicBezTo>
                  <a:pt x="1559" y="314"/>
                  <a:pt x="1559" y="314"/>
                  <a:pt x="1559" y="314"/>
                </a:cubicBezTo>
                <a:cubicBezTo>
                  <a:pt x="1561" y="314"/>
                  <a:pt x="1561" y="314"/>
                  <a:pt x="1561" y="314"/>
                </a:cubicBezTo>
                <a:cubicBezTo>
                  <a:pt x="1561" y="315"/>
                  <a:pt x="1561" y="315"/>
                  <a:pt x="1561" y="315"/>
                </a:cubicBezTo>
                <a:cubicBezTo>
                  <a:pt x="1563" y="315"/>
                  <a:pt x="1563" y="315"/>
                  <a:pt x="1563" y="315"/>
                </a:cubicBezTo>
                <a:cubicBezTo>
                  <a:pt x="1565" y="313"/>
                  <a:pt x="1565" y="313"/>
                  <a:pt x="1565" y="313"/>
                </a:cubicBezTo>
                <a:cubicBezTo>
                  <a:pt x="1566" y="314"/>
                  <a:pt x="1566" y="314"/>
                  <a:pt x="1566" y="314"/>
                </a:cubicBezTo>
                <a:cubicBezTo>
                  <a:pt x="1565" y="314"/>
                  <a:pt x="1565" y="314"/>
                  <a:pt x="1565" y="314"/>
                </a:cubicBezTo>
                <a:cubicBezTo>
                  <a:pt x="1564" y="315"/>
                  <a:pt x="1564" y="315"/>
                  <a:pt x="1564" y="315"/>
                </a:cubicBezTo>
                <a:cubicBezTo>
                  <a:pt x="1566" y="316"/>
                  <a:pt x="1566" y="316"/>
                  <a:pt x="1566" y="316"/>
                </a:cubicBezTo>
                <a:cubicBezTo>
                  <a:pt x="1567" y="315"/>
                  <a:pt x="1567" y="315"/>
                  <a:pt x="1567" y="315"/>
                </a:cubicBezTo>
                <a:cubicBezTo>
                  <a:pt x="1567" y="314"/>
                  <a:pt x="1567" y="314"/>
                  <a:pt x="1567" y="314"/>
                </a:cubicBezTo>
                <a:cubicBezTo>
                  <a:pt x="1568" y="312"/>
                  <a:pt x="1568" y="312"/>
                  <a:pt x="1568" y="312"/>
                </a:cubicBezTo>
                <a:cubicBezTo>
                  <a:pt x="1568" y="313"/>
                  <a:pt x="1568" y="313"/>
                  <a:pt x="1568" y="313"/>
                </a:cubicBezTo>
                <a:cubicBezTo>
                  <a:pt x="1569" y="315"/>
                  <a:pt x="1569" y="315"/>
                  <a:pt x="1569" y="315"/>
                </a:cubicBezTo>
                <a:cubicBezTo>
                  <a:pt x="1568" y="317"/>
                  <a:pt x="1568" y="317"/>
                  <a:pt x="1568" y="317"/>
                </a:cubicBezTo>
                <a:cubicBezTo>
                  <a:pt x="1566" y="317"/>
                  <a:pt x="1566" y="317"/>
                  <a:pt x="1566" y="317"/>
                </a:cubicBezTo>
                <a:cubicBezTo>
                  <a:pt x="1564" y="318"/>
                  <a:pt x="1564" y="318"/>
                  <a:pt x="1564" y="318"/>
                </a:cubicBezTo>
                <a:cubicBezTo>
                  <a:pt x="1565" y="319"/>
                  <a:pt x="1565" y="319"/>
                  <a:pt x="1565" y="319"/>
                </a:cubicBezTo>
                <a:cubicBezTo>
                  <a:pt x="1564" y="320"/>
                  <a:pt x="1564" y="320"/>
                  <a:pt x="1564" y="320"/>
                </a:cubicBezTo>
                <a:cubicBezTo>
                  <a:pt x="1562" y="320"/>
                  <a:pt x="1562" y="320"/>
                  <a:pt x="1562" y="320"/>
                </a:cubicBezTo>
                <a:cubicBezTo>
                  <a:pt x="1562" y="319"/>
                  <a:pt x="1562" y="319"/>
                  <a:pt x="1562" y="319"/>
                </a:cubicBezTo>
                <a:cubicBezTo>
                  <a:pt x="1563" y="319"/>
                  <a:pt x="1563" y="319"/>
                  <a:pt x="1563" y="319"/>
                </a:cubicBezTo>
                <a:cubicBezTo>
                  <a:pt x="1563" y="317"/>
                  <a:pt x="1563" y="317"/>
                  <a:pt x="1563" y="317"/>
                </a:cubicBezTo>
                <a:cubicBezTo>
                  <a:pt x="1561" y="316"/>
                  <a:pt x="1561" y="316"/>
                  <a:pt x="1561" y="316"/>
                </a:cubicBezTo>
                <a:cubicBezTo>
                  <a:pt x="1559" y="318"/>
                  <a:pt x="1559" y="318"/>
                  <a:pt x="1559" y="318"/>
                </a:cubicBezTo>
                <a:cubicBezTo>
                  <a:pt x="1558" y="320"/>
                  <a:pt x="1558" y="320"/>
                  <a:pt x="1558" y="320"/>
                </a:cubicBezTo>
                <a:cubicBezTo>
                  <a:pt x="1557" y="318"/>
                  <a:pt x="1557" y="318"/>
                  <a:pt x="1557" y="318"/>
                </a:cubicBezTo>
                <a:cubicBezTo>
                  <a:pt x="1555" y="317"/>
                  <a:pt x="1555" y="317"/>
                  <a:pt x="1555" y="317"/>
                </a:cubicBezTo>
                <a:cubicBezTo>
                  <a:pt x="1553" y="318"/>
                  <a:pt x="1553" y="318"/>
                  <a:pt x="1553" y="318"/>
                </a:cubicBezTo>
                <a:cubicBezTo>
                  <a:pt x="1552" y="317"/>
                  <a:pt x="1552" y="317"/>
                  <a:pt x="1552" y="317"/>
                </a:cubicBezTo>
                <a:cubicBezTo>
                  <a:pt x="1549" y="319"/>
                  <a:pt x="1549" y="319"/>
                  <a:pt x="1549" y="319"/>
                </a:cubicBezTo>
                <a:cubicBezTo>
                  <a:pt x="1548" y="319"/>
                  <a:pt x="1548" y="319"/>
                  <a:pt x="1548" y="319"/>
                </a:cubicBezTo>
                <a:cubicBezTo>
                  <a:pt x="1547" y="318"/>
                  <a:pt x="1547" y="318"/>
                  <a:pt x="1547" y="318"/>
                </a:cubicBezTo>
                <a:cubicBezTo>
                  <a:pt x="1546" y="318"/>
                  <a:pt x="1546" y="318"/>
                  <a:pt x="1546" y="318"/>
                </a:cubicBezTo>
                <a:cubicBezTo>
                  <a:pt x="1547" y="320"/>
                  <a:pt x="1547" y="320"/>
                  <a:pt x="1547" y="320"/>
                </a:cubicBezTo>
                <a:cubicBezTo>
                  <a:pt x="1546" y="321"/>
                  <a:pt x="1546" y="321"/>
                  <a:pt x="1546" y="321"/>
                </a:cubicBezTo>
                <a:cubicBezTo>
                  <a:pt x="1547" y="321"/>
                  <a:pt x="1547" y="321"/>
                  <a:pt x="1547" y="321"/>
                </a:cubicBezTo>
                <a:cubicBezTo>
                  <a:pt x="1549" y="321"/>
                  <a:pt x="1549" y="321"/>
                  <a:pt x="1549" y="321"/>
                </a:cubicBezTo>
                <a:cubicBezTo>
                  <a:pt x="1550" y="320"/>
                  <a:pt x="1550" y="320"/>
                  <a:pt x="1550" y="320"/>
                </a:cubicBezTo>
                <a:cubicBezTo>
                  <a:pt x="1551" y="320"/>
                  <a:pt x="1551" y="320"/>
                  <a:pt x="1551" y="320"/>
                </a:cubicBezTo>
                <a:cubicBezTo>
                  <a:pt x="1549" y="322"/>
                  <a:pt x="1549" y="322"/>
                  <a:pt x="1549" y="322"/>
                </a:cubicBezTo>
                <a:cubicBezTo>
                  <a:pt x="1550" y="323"/>
                  <a:pt x="1550" y="323"/>
                  <a:pt x="1550" y="323"/>
                </a:cubicBezTo>
                <a:cubicBezTo>
                  <a:pt x="1549" y="324"/>
                  <a:pt x="1549" y="324"/>
                  <a:pt x="1549" y="324"/>
                </a:cubicBezTo>
                <a:cubicBezTo>
                  <a:pt x="1547" y="323"/>
                  <a:pt x="1547" y="323"/>
                  <a:pt x="1547" y="323"/>
                </a:cubicBezTo>
                <a:cubicBezTo>
                  <a:pt x="1548" y="325"/>
                  <a:pt x="1548" y="325"/>
                  <a:pt x="1548" y="325"/>
                </a:cubicBezTo>
                <a:cubicBezTo>
                  <a:pt x="1549" y="326"/>
                  <a:pt x="1549" y="326"/>
                  <a:pt x="1549" y="326"/>
                </a:cubicBezTo>
                <a:cubicBezTo>
                  <a:pt x="1552" y="323"/>
                  <a:pt x="1552" y="323"/>
                  <a:pt x="1552" y="323"/>
                </a:cubicBezTo>
                <a:cubicBezTo>
                  <a:pt x="1554" y="324"/>
                  <a:pt x="1554" y="324"/>
                  <a:pt x="1554" y="324"/>
                </a:cubicBezTo>
                <a:cubicBezTo>
                  <a:pt x="1553" y="325"/>
                  <a:pt x="1553" y="325"/>
                  <a:pt x="1553" y="325"/>
                </a:cubicBezTo>
                <a:cubicBezTo>
                  <a:pt x="1553" y="327"/>
                  <a:pt x="1553" y="327"/>
                  <a:pt x="1553" y="327"/>
                </a:cubicBezTo>
                <a:cubicBezTo>
                  <a:pt x="1551" y="328"/>
                  <a:pt x="1551" y="328"/>
                  <a:pt x="1551" y="328"/>
                </a:cubicBezTo>
                <a:cubicBezTo>
                  <a:pt x="1551" y="328"/>
                  <a:pt x="1551" y="328"/>
                  <a:pt x="1551" y="328"/>
                </a:cubicBezTo>
                <a:cubicBezTo>
                  <a:pt x="1553" y="329"/>
                  <a:pt x="1553" y="329"/>
                  <a:pt x="1553" y="329"/>
                </a:cubicBezTo>
                <a:cubicBezTo>
                  <a:pt x="1552" y="330"/>
                  <a:pt x="1552" y="330"/>
                  <a:pt x="1552" y="330"/>
                </a:cubicBezTo>
                <a:cubicBezTo>
                  <a:pt x="1553" y="332"/>
                  <a:pt x="1553" y="332"/>
                  <a:pt x="1553" y="332"/>
                </a:cubicBezTo>
                <a:cubicBezTo>
                  <a:pt x="1552" y="333"/>
                  <a:pt x="1552" y="333"/>
                  <a:pt x="1552" y="333"/>
                </a:cubicBezTo>
                <a:cubicBezTo>
                  <a:pt x="1553" y="334"/>
                  <a:pt x="1553" y="334"/>
                  <a:pt x="1553" y="334"/>
                </a:cubicBezTo>
                <a:cubicBezTo>
                  <a:pt x="1555" y="331"/>
                  <a:pt x="1555" y="331"/>
                  <a:pt x="1555" y="331"/>
                </a:cubicBezTo>
                <a:cubicBezTo>
                  <a:pt x="1556" y="330"/>
                  <a:pt x="1556" y="330"/>
                  <a:pt x="1556" y="330"/>
                </a:cubicBezTo>
                <a:cubicBezTo>
                  <a:pt x="1556" y="328"/>
                  <a:pt x="1556" y="328"/>
                  <a:pt x="1556" y="328"/>
                </a:cubicBezTo>
                <a:cubicBezTo>
                  <a:pt x="1560" y="327"/>
                  <a:pt x="1560" y="327"/>
                  <a:pt x="1560" y="327"/>
                </a:cubicBezTo>
                <a:cubicBezTo>
                  <a:pt x="1562" y="327"/>
                  <a:pt x="1562" y="327"/>
                  <a:pt x="1562" y="327"/>
                </a:cubicBezTo>
                <a:cubicBezTo>
                  <a:pt x="1563" y="327"/>
                  <a:pt x="1563" y="327"/>
                  <a:pt x="1563" y="327"/>
                </a:cubicBezTo>
                <a:cubicBezTo>
                  <a:pt x="1562" y="327"/>
                  <a:pt x="1562" y="327"/>
                  <a:pt x="1562" y="327"/>
                </a:cubicBezTo>
                <a:cubicBezTo>
                  <a:pt x="1560" y="329"/>
                  <a:pt x="1560" y="329"/>
                  <a:pt x="1560" y="329"/>
                </a:cubicBezTo>
                <a:cubicBezTo>
                  <a:pt x="1560" y="331"/>
                  <a:pt x="1560" y="331"/>
                  <a:pt x="1560" y="331"/>
                </a:cubicBezTo>
                <a:cubicBezTo>
                  <a:pt x="1561" y="333"/>
                  <a:pt x="1561" y="333"/>
                  <a:pt x="1561" y="333"/>
                </a:cubicBezTo>
                <a:cubicBezTo>
                  <a:pt x="1559" y="331"/>
                  <a:pt x="1559" y="331"/>
                  <a:pt x="1559" y="331"/>
                </a:cubicBezTo>
                <a:cubicBezTo>
                  <a:pt x="1559" y="329"/>
                  <a:pt x="1559" y="329"/>
                  <a:pt x="1559" y="329"/>
                </a:cubicBezTo>
                <a:cubicBezTo>
                  <a:pt x="1558" y="329"/>
                  <a:pt x="1558" y="329"/>
                  <a:pt x="1558" y="329"/>
                </a:cubicBezTo>
                <a:cubicBezTo>
                  <a:pt x="1557" y="331"/>
                  <a:pt x="1557" y="331"/>
                  <a:pt x="1557" y="331"/>
                </a:cubicBezTo>
                <a:cubicBezTo>
                  <a:pt x="1556" y="332"/>
                  <a:pt x="1556" y="332"/>
                  <a:pt x="1556" y="332"/>
                </a:cubicBezTo>
                <a:cubicBezTo>
                  <a:pt x="1558" y="333"/>
                  <a:pt x="1558" y="333"/>
                  <a:pt x="1558" y="333"/>
                </a:cubicBezTo>
                <a:cubicBezTo>
                  <a:pt x="1556" y="335"/>
                  <a:pt x="1556" y="335"/>
                  <a:pt x="1556" y="335"/>
                </a:cubicBezTo>
                <a:cubicBezTo>
                  <a:pt x="1555" y="335"/>
                  <a:pt x="1555" y="335"/>
                  <a:pt x="1555" y="335"/>
                </a:cubicBezTo>
                <a:cubicBezTo>
                  <a:pt x="1554" y="336"/>
                  <a:pt x="1554" y="336"/>
                  <a:pt x="1554" y="336"/>
                </a:cubicBezTo>
                <a:cubicBezTo>
                  <a:pt x="1555" y="337"/>
                  <a:pt x="1555" y="337"/>
                  <a:pt x="1555" y="337"/>
                </a:cubicBezTo>
                <a:cubicBezTo>
                  <a:pt x="1558" y="337"/>
                  <a:pt x="1558" y="337"/>
                  <a:pt x="1558" y="337"/>
                </a:cubicBezTo>
                <a:cubicBezTo>
                  <a:pt x="1558" y="338"/>
                  <a:pt x="1558" y="338"/>
                  <a:pt x="1558" y="338"/>
                </a:cubicBezTo>
                <a:cubicBezTo>
                  <a:pt x="1556" y="338"/>
                  <a:pt x="1556" y="338"/>
                  <a:pt x="1556" y="338"/>
                </a:cubicBezTo>
                <a:cubicBezTo>
                  <a:pt x="1556" y="339"/>
                  <a:pt x="1556" y="339"/>
                  <a:pt x="1556" y="339"/>
                </a:cubicBezTo>
                <a:cubicBezTo>
                  <a:pt x="1556" y="340"/>
                  <a:pt x="1556" y="340"/>
                  <a:pt x="1556" y="340"/>
                </a:cubicBezTo>
                <a:cubicBezTo>
                  <a:pt x="1553" y="339"/>
                  <a:pt x="1553" y="339"/>
                  <a:pt x="1553" y="339"/>
                </a:cubicBezTo>
                <a:cubicBezTo>
                  <a:pt x="1552" y="339"/>
                  <a:pt x="1552" y="339"/>
                  <a:pt x="1552" y="339"/>
                </a:cubicBezTo>
                <a:cubicBezTo>
                  <a:pt x="1552" y="341"/>
                  <a:pt x="1552" y="341"/>
                  <a:pt x="1552" y="341"/>
                </a:cubicBezTo>
                <a:cubicBezTo>
                  <a:pt x="1552" y="339"/>
                  <a:pt x="1552" y="339"/>
                  <a:pt x="1552" y="339"/>
                </a:cubicBezTo>
                <a:cubicBezTo>
                  <a:pt x="1550" y="340"/>
                  <a:pt x="1550" y="340"/>
                  <a:pt x="1550" y="340"/>
                </a:cubicBezTo>
                <a:cubicBezTo>
                  <a:pt x="1549" y="342"/>
                  <a:pt x="1549" y="342"/>
                  <a:pt x="1549" y="342"/>
                </a:cubicBezTo>
                <a:cubicBezTo>
                  <a:pt x="1549" y="344"/>
                  <a:pt x="1549" y="344"/>
                  <a:pt x="1549" y="344"/>
                </a:cubicBezTo>
                <a:cubicBezTo>
                  <a:pt x="1552" y="347"/>
                  <a:pt x="1552" y="347"/>
                  <a:pt x="1552" y="347"/>
                </a:cubicBezTo>
                <a:cubicBezTo>
                  <a:pt x="1552" y="345"/>
                  <a:pt x="1552" y="345"/>
                  <a:pt x="1552" y="345"/>
                </a:cubicBezTo>
                <a:cubicBezTo>
                  <a:pt x="1553" y="346"/>
                  <a:pt x="1553" y="346"/>
                  <a:pt x="1553" y="346"/>
                </a:cubicBezTo>
                <a:cubicBezTo>
                  <a:pt x="1555" y="345"/>
                  <a:pt x="1555" y="345"/>
                  <a:pt x="1555" y="345"/>
                </a:cubicBezTo>
                <a:cubicBezTo>
                  <a:pt x="1554" y="344"/>
                  <a:pt x="1554" y="344"/>
                  <a:pt x="1554" y="344"/>
                </a:cubicBezTo>
                <a:cubicBezTo>
                  <a:pt x="1555" y="343"/>
                  <a:pt x="1555" y="343"/>
                  <a:pt x="1555" y="343"/>
                </a:cubicBezTo>
                <a:cubicBezTo>
                  <a:pt x="1557" y="344"/>
                  <a:pt x="1557" y="344"/>
                  <a:pt x="1557" y="344"/>
                </a:cubicBezTo>
                <a:cubicBezTo>
                  <a:pt x="1556" y="345"/>
                  <a:pt x="1556" y="345"/>
                  <a:pt x="1556" y="345"/>
                </a:cubicBezTo>
                <a:cubicBezTo>
                  <a:pt x="1557" y="346"/>
                  <a:pt x="1557" y="346"/>
                  <a:pt x="1557" y="346"/>
                </a:cubicBezTo>
                <a:cubicBezTo>
                  <a:pt x="1557" y="348"/>
                  <a:pt x="1557" y="348"/>
                  <a:pt x="1557" y="348"/>
                </a:cubicBezTo>
                <a:cubicBezTo>
                  <a:pt x="1556" y="349"/>
                  <a:pt x="1556" y="349"/>
                  <a:pt x="1556" y="349"/>
                </a:cubicBezTo>
                <a:cubicBezTo>
                  <a:pt x="1557" y="351"/>
                  <a:pt x="1557" y="351"/>
                  <a:pt x="1557" y="351"/>
                </a:cubicBezTo>
                <a:cubicBezTo>
                  <a:pt x="1558" y="350"/>
                  <a:pt x="1558" y="350"/>
                  <a:pt x="1558" y="350"/>
                </a:cubicBezTo>
                <a:cubicBezTo>
                  <a:pt x="1560" y="350"/>
                  <a:pt x="1560" y="350"/>
                  <a:pt x="1560" y="350"/>
                </a:cubicBezTo>
                <a:cubicBezTo>
                  <a:pt x="1561" y="351"/>
                  <a:pt x="1561" y="351"/>
                  <a:pt x="1561" y="351"/>
                </a:cubicBezTo>
                <a:cubicBezTo>
                  <a:pt x="1559" y="351"/>
                  <a:pt x="1559" y="351"/>
                  <a:pt x="1559" y="351"/>
                </a:cubicBezTo>
                <a:cubicBezTo>
                  <a:pt x="1558" y="352"/>
                  <a:pt x="1558" y="352"/>
                  <a:pt x="1558" y="352"/>
                </a:cubicBezTo>
                <a:cubicBezTo>
                  <a:pt x="1559" y="354"/>
                  <a:pt x="1559" y="354"/>
                  <a:pt x="1559" y="354"/>
                </a:cubicBezTo>
                <a:cubicBezTo>
                  <a:pt x="1559" y="354"/>
                  <a:pt x="1559" y="354"/>
                  <a:pt x="1559" y="354"/>
                </a:cubicBezTo>
                <a:cubicBezTo>
                  <a:pt x="1555" y="352"/>
                  <a:pt x="1555" y="352"/>
                  <a:pt x="1555" y="352"/>
                </a:cubicBezTo>
                <a:cubicBezTo>
                  <a:pt x="1554" y="352"/>
                  <a:pt x="1554" y="352"/>
                  <a:pt x="1554" y="352"/>
                </a:cubicBezTo>
                <a:cubicBezTo>
                  <a:pt x="1553" y="351"/>
                  <a:pt x="1553" y="351"/>
                  <a:pt x="1553" y="351"/>
                </a:cubicBezTo>
                <a:cubicBezTo>
                  <a:pt x="1552" y="351"/>
                  <a:pt x="1552" y="351"/>
                  <a:pt x="1552" y="351"/>
                </a:cubicBezTo>
                <a:cubicBezTo>
                  <a:pt x="1552" y="353"/>
                  <a:pt x="1552" y="353"/>
                  <a:pt x="1552" y="353"/>
                </a:cubicBezTo>
                <a:cubicBezTo>
                  <a:pt x="1550" y="354"/>
                  <a:pt x="1550" y="354"/>
                  <a:pt x="1550" y="354"/>
                </a:cubicBezTo>
                <a:cubicBezTo>
                  <a:pt x="1553" y="358"/>
                  <a:pt x="1553" y="358"/>
                  <a:pt x="1553" y="358"/>
                </a:cubicBezTo>
                <a:cubicBezTo>
                  <a:pt x="1555" y="359"/>
                  <a:pt x="1555" y="359"/>
                  <a:pt x="1555" y="359"/>
                </a:cubicBezTo>
                <a:cubicBezTo>
                  <a:pt x="1558" y="361"/>
                  <a:pt x="1558" y="361"/>
                  <a:pt x="1558" y="361"/>
                </a:cubicBezTo>
                <a:cubicBezTo>
                  <a:pt x="1562" y="363"/>
                  <a:pt x="1562" y="363"/>
                  <a:pt x="1562" y="363"/>
                </a:cubicBezTo>
                <a:cubicBezTo>
                  <a:pt x="1562" y="364"/>
                  <a:pt x="1562" y="364"/>
                  <a:pt x="1562" y="364"/>
                </a:cubicBezTo>
                <a:cubicBezTo>
                  <a:pt x="1561" y="364"/>
                  <a:pt x="1561" y="364"/>
                  <a:pt x="1561" y="364"/>
                </a:cubicBezTo>
                <a:cubicBezTo>
                  <a:pt x="1563" y="366"/>
                  <a:pt x="1563" y="366"/>
                  <a:pt x="1563" y="366"/>
                </a:cubicBezTo>
                <a:cubicBezTo>
                  <a:pt x="1564" y="365"/>
                  <a:pt x="1564" y="365"/>
                  <a:pt x="1564" y="365"/>
                </a:cubicBezTo>
                <a:cubicBezTo>
                  <a:pt x="1563" y="363"/>
                  <a:pt x="1563" y="363"/>
                  <a:pt x="1563" y="363"/>
                </a:cubicBezTo>
                <a:cubicBezTo>
                  <a:pt x="1565" y="363"/>
                  <a:pt x="1565" y="363"/>
                  <a:pt x="1565" y="363"/>
                </a:cubicBezTo>
                <a:cubicBezTo>
                  <a:pt x="1566" y="364"/>
                  <a:pt x="1566" y="364"/>
                  <a:pt x="1566" y="364"/>
                </a:cubicBezTo>
                <a:cubicBezTo>
                  <a:pt x="1566" y="365"/>
                  <a:pt x="1566" y="365"/>
                  <a:pt x="1566" y="365"/>
                </a:cubicBezTo>
                <a:cubicBezTo>
                  <a:pt x="1568" y="367"/>
                  <a:pt x="1568" y="367"/>
                  <a:pt x="1568" y="367"/>
                </a:cubicBezTo>
                <a:cubicBezTo>
                  <a:pt x="1569" y="366"/>
                  <a:pt x="1569" y="366"/>
                  <a:pt x="1569" y="366"/>
                </a:cubicBezTo>
                <a:cubicBezTo>
                  <a:pt x="1569" y="366"/>
                  <a:pt x="1569" y="366"/>
                  <a:pt x="1569" y="366"/>
                </a:cubicBezTo>
                <a:cubicBezTo>
                  <a:pt x="1571" y="366"/>
                  <a:pt x="1571" y="366"/>
                  <a:pt x="1571" y="366"/>
                </a:cubicBezTo>
                <a:cubicBezTo>
                  <a:pt x="1573" y="364"/>
                  <a:pt x="1573" y="364"/>
                  <a:pt x="1573" y="364"/>
                </a:cubicBezTo>
                <a:cubicBezTo>
                  <a:pt x="1574" y="363"/>
                  <a:pt x="1574" y="363"/>
                  <a:pt x="1574" y="363"/>
                </a:cubicBezTo>
                <a:cubicBezTo>
                  <a:pt x="1575" y="362"/>
                  <a:pt x="1575" y="362"/>
                  <a:pt x="1575" y="362"/>
                </a:cubicBezTo>
                <a:cubicBezTo>
                  <a:pt x="1575" y="363"/>
                  <a:pt x="1575" y="363"/>
                  <a:pt x="1575" y="363"/>
                </a:cubicBezTo>
                <a:cubicBezTo>
                  <a:pt x="1576" y="364"/>
                  <a:pt x="1576" y="364"/>
                  <a:pt x="1576" y="364"/>
                </a:cubicBezTo>
                <a:cubicBezTo>
                  <a:pt x="1577" y="364"/>
                  <a:pt x="1577" y="364"/>
                  <a:pt x="1577" y="364"/>
                </a:cubicBezTo>
                <a:cubicBezTo>
                  <a:pt x="1581" y="361"/>
                  <a:pt x="1581" y="361"/>
                  <a:pt x="1581" y="361"/>
                </a:cubicBezTo>
                <a:cubicBezTo>
                  <a:pt x="1580" y="359"/>
                  <a:pt x="1580" y="359"/>
                  <a:pt x="1580" y="359"/>
                </a:cubicBezTo>
                <a:cubicBezTo>
                  <a:pt x="1579" y="357"/>
                  <a:pt x="1579" y="357"/>
                  <a:pt x="1579" y="357"/>
                </a:cubicBezTo>
                <a:cubicBezTo>
                  <a:pt x="1582" y="359"/>
                  <a:pt x="1582" y="359"/>
                  <a:pt x="1582" y="359"/>
                </a:cubicBezTo>
                <a:cubicBezTo>
                  <a:pt x="1584" y="357"/>
                  <a:pt x="1584" y="357"/>
                  <a:pt x="1584" y="357"/>
                </a:cubicBezTo>
                <a:cubicBezTo>
                  <a:pt x="1583" y="356"/>
                  <a:pt x="1583" y="356"/>
                  <a:pt x="1583" y="356"/>
                </a:cubicBezTo>
                <a:cubicBezTo>
                  <a:pt x="1584" y="355"/>
                  <a:pt x="1584" y="355"/>
                  <a:pt x="1584" y="355"/>
                </a:cubicBezTo>
                <a:cubicBezTo>
                  <a:pt x="1584" y="354"/>
                  <a:pt x="1584" y="354"/>
                  <a:pt x="1584" y="354"/>
                </a:cubicBezTo>
                <a:cubicBezTo>
                  <a:pt x="1586" y="353"/>
                  <a:pt x="1586" y="353"/>
                  <a:pt x="1586" y="353"/>
                </a:cubicBezTo>
                <a:cubicBezTo>
                  <a:pt x="1587" y="353"/>
                  <a:pt x="1587" y="353"/>
                  <a:pt x="1587" y="353"/>
                </a:cubicBezTo>
                <a:cubicBezTo>
                  <a:pt x="1588" y="351"/>
                  <a:pt x="1588" y="351"/>
                  <a:pt x="1588" y="351"/>
                </a:cubicBezTo>
                <a:cubicBezTo>
                  <a:pt x="1586" y="349"/>
                  <a:pt x="1586" y="349"/>
                  <a:pt x="1586" y="349"/>
                </a:cubicBezTo>
                <a:cubicBezTo>
                  <a:pt x="1587" y="348"/>
                  <a:pt x="1587" y="348"/>
                  <a:pt x="1587" y="348"/>
                </a:cubicBezTo>
                <a:cubicBezTo>
                  <a:pt x="1585" y="346"/>
                  <a:pt x="1585" y="346"/>
                  <a:pt x="1585" y="346"/>
                </a:cubicBezTo>
                <a:cubicBezTo>
                  <a:pt x="1584" y="345"/>
                  <a:pt x="1584" y="345"/>
                  <a:pt x="1584" y="345"/>
                </a:cubicBezTo>
                <a:cubicBezTo>
                  <a:pt x="1584" y="343"/>
                  <a:pt x="1584" y="343"/>
                  <a:pt x="1584" y="343"/>
                </a:cubicBezTo>
                <a:cubicBezTo>
                  <a:pt x="1585" y="344"/>
                  <a:pt x="1585" y="344"/>
                  <a:pt x="1585" y="344"/>
                </a:cubicBezTo>
                <a:cubicBezTo>
                  <a:pt x="1587" y="346"/>
                  <a:pt x="1587" y="346"/>
                  <a:pt x="1587" y="346"/>
                </a:cubicBezTo>
                <a:cubicBezTo>
                  <a:pt x="1587" y="349"/>
                  <a:pt x="1587" y="349"/>
                  <a:pt x="1587" y="349"/>
                </a:cubicBezTo>
                <a:cubicBezTo>
                  <a:pt x="1588" y="350"/>
                  <a:pt x="1588" y="350"/>
                  <a:pt x="1588" y="350"/>
                </a:cubicBezTo>
                <a:cubicBezTo>
                  <a:pt x="1589" y="350"/>
                  <a:pt x="1589" y="350"/>
                  <a:pt x="1589" y="350"/>
                </a:cubicBezTo>
                <a:cubicBezTo>
                  <a:pt x="1589" y="351"/>
                  <a:pt x="1589" y="351"/>
                  <a:pt x="1589" y="351"/>
                </a:cubicBezTo>
                <a:cubicBezTo>
                  <a:pt x="1590" y="352"/>
                  <a:pt x="1590" y="352"/>
                  <a:pt x="1590" y="352"/>
                </a:cubicBezTo>
                <a:cubicBezTo>
                  <a:pt x="1592" y="351"/>
                  <a:pt x="1592" y="351"/>
                  <a:pt x="1592" y="351"/>
                </a:cubicBezTo>
                <a:cubicBezTo>
                  <a:pt x="1591" y="350"/>
                  <a:pt x="1591" y="350"/>
                  <a:pt x="1591" y="350"/>
                </a:cubicBezTo>
                <a:cubicBezTo>
                  <a:pt x="1591" y="349"/>
                  <a:pt x="1591" y="349"/>
                  <a:pt x="1591" y="349"/>
                </a:cubicBezTo>
                <a:cubicBezTo>
                  <a:pt x="1591" y="348"/>
                  <a:pt x="1591" y="348"/>
                  <a:pt x="1591" y="348"/>
                </a:cubicBezTo>
                <a:cubicBezTo>
                  <a:pt x="1593" y="350"/>
                  <a:pt x="1593" y="350"/>
                  <a:pt x="1593" y="350"/>
                </a:cubicBezTo>
                <a:cubicBezTo>
                  <a:pt x="1593" y="350"/>
                  <a:pt x="1593" y="350"/>
                  <a:pt x="1593" y="350"/>
                </a:cubicBezTo>
                <a:cubicBezTo>
                  <a:pt x="1595" y="348"/>
                  <a:pt x="1595" y="348"/>
                  <a:pt x="1595" y="348"/>
                </a:cubicBezTo>
                <a:cubicBezTo>
                  <a:pt x="1596" y="346"/>
                  <a:pt x="1596" y="346"/>
                  <a:pt x="1596" y="346"/>
                </a:cubicBezTo>
                <a:cubicBezTo>
                  <a:pt x="1595" y="344"/>
                  <a:pt x="1595" y="344"/>
                  <a:pt x="1595" y="344"/>
                </a:cubicBezTo>
                <a:cubicBezTo>
                  <a:pt x="1594" y="343"/>
                  <a:pt x="1594" y="343"/>
                  <a:pt x="1594" y="343"/>
                </a:cubicBezTo>
                <a:cubicBezTo>
                  <a:pt x="1593" y="342"/>
                  <a:pt x="1593" y="342"/>
                  <a:pt x="1593" y="342"/>
                </a:cubicBezTo>
                <a:cubicBezTo>
                  <a:pt x="1594" y="342"/>
                  <a:pt x="1594" y="342"/>
                  <a:pt x="1594" y="342"/>
                </a:cubicBezTo>
                <a:cubicBezTo>
                  <a:pt x="1595" y="341"/>
                  <a:pt x="1595" y="341"/>
                  <a:pt x="1595" y="341"/>
                </a:cubicBezTo>
                <a:cubicBezTo>
                  <a:pt x="1595" y="341"/>
                  <a:pt x="1595" y="341"/>
                  <a:pt x="1595" y="341"/>
                </a:cubicBezTo>
                <a:cubicBezTo>
                  <a:pt x="1596" y="340"/>
                  <a:pt x="1596" y="340"/>
                  <a:pt x="1596" y="340"/>
                </a:cubicBezTo>
                <a:cubicBezTo>
                  <a:pt x="1595" y="338"/>
                  <a:pt x="1595" y="338"/>
                  <a:pt x="1595" y="338"/>
                </a:cubicBezTo>
                <a:cubicBezTo>
                  <a:pt x="1595" y="337"/>
                  <a:pt x="1595" y="337"/>
                  <a:pt x="1595" y="337"/>
                </a:cubicBezTo>
                <a:cubicBezTo>
                  <a:pt x="1597" y="335"/>
                  <a:pt x="1597" y="335"/>
                  <a:pt x="1597" y="335"/>
                </a:cubicBezTo>
                <a:cubicBezTo>
                  <a:pt x="1598" y="337"/>
                  <a:pt x="1598" y="337"/>
                  <a:pt x="1598" y="337"/>
                </a:cubicBezTo>
                <a:cubicBezTo>
                  <a:pt x="1597" y="339"/>
                  <a:pt x="1597" y="339"/>
                  <a:pt x="1597" y="339"/>
                </a:cubicBezTo>
                <a:cubicBezTo>
                  <a:pt x="1597" y="341"/>
                  <a:pt x="1597" y="341"/>
                  <a:pt x="1597" y="341"/>
                </a:cubicBezTo>
                <a:cubicBezTo>
                  <a:pt x="1597" y="343"/>
                  <a:pt x="1597" y="343"/>
                  <a:pt x="1597" y="343"/>
                </a:cubicBezTo>
                <a:cubicBezTo>
                  <a:pt x="1598" y="345"/>
                  <a:pt x="1598" y="345"/>
                  <a:pt x="1598" y="345"/>
                </a:cubicBezTo>
                <a:cubicBezTo>
                  <a:pt x="1599" y="346"/>
                  <a:pt x="1599" y="346"/>
                  <a:pt x="1599" y="346"/>
                </a:cubicBezTo>
                <a:cubicBezTo>
                  <a:pt x="1601" y="348"/>
                  <a:pt x="1601" y="348"/>
                  <a:pt x="1601" y="348"/>
                </a:cubicBezTo>
                <a:cubicBezTo>
                  <a:pt x="1603" y="348"/>
                  <a:pt x="1603" y="348"/>
                  <a:pt x="1603" y="348"/>
                </a:cubicBezTo>
                <a:cubicBezTo>
                  <a:pt x="1604" y="349"/>
                  <a:pt x="1604" y="349"/>
                  <a:pt x="1604" y="349"/>
                </a:cubicBezTo>
                <a:cubicBezTo>
                  <a:pt x="1603" y="349"/>
                  <a:pt x="1603" y="349"/>
                  <a:pt x="1603" y="349"/>
                </a:cubicBezTo>
                <a:cubicBezTo>
                  <a:pt x="1603" y="350"/>
                  <a:pt x="1603" y="350"/>
                  <a:pt x="1603" y="350"/>
                </a:cubicBezTo>
                <a:cubicBezTo>
                  <a:pt x="1602" y="351"/>
                  <a:pt x="1602" y="351"/>
                  <a:pt x="1602" y="351"/>
                </a:cubicBezTo>
                <a:cubicBezTo>
                  <a:pt x="1602" y="355"/>
                  <a:pt x="1602" y="355"/>
                  <a:pt x="1602" y="355"/>
                </a:cubicBezTo>
                <a:cubicBezTo>
                  <a:pt x="1603" y="356"/>
                  <a:pt x="1603" y="356"/>
                  <a:pt x="1603" y="356"/>
                </a:cubicBezTo>
                <a:cubicBezTo>
                  <a:pt x="1603" y="359"/>
                  <a:pt x="1603" y="359"/>
                  <a:pt x="1603" y="359"/>
                </a:cubicBezTo>
                <a:cubicBezTo>
                  <a:pt x="1605" y="360"/>
                  <a:pt x="1605" y="360"/>
                  <a:pt x="1605" y="360"/>
                </a:cubicBezTo>
                <a:cubicBezTo>
                  <a:pt x="1605" y="361"/>
                  <a:pt x="1605" y="361"/>
                  <a:pt x="1605" y="361"/>
                </a:cubicBezTo>
                <a:cubicBezTo>
                  <a:pt x="1605" y="363"/>
                  <a:pt x="1605" y="363"/>
                  <a:pt x="1605" y="363"/>
                </a:cubicBezTo>
                <a:cubicBezTo>
                  <a:pt x="1607" y="362"/>
                  <a:pt x="1607" y="362"/>
                  <a:pt x="1607" y="362"/>
                </a:cubicBezTo>
                <a:cubicBezTo>
                  <a:pt x="1606" y="361"/>
                  <a:pt x="1606" y="361"/>
                  <a:pt x="1606" y="361"/>
                </a:cubicBezTo>
                <a:cubicBezTo>
                  <a:pt x="1606" y="359"/>
                  <a:pt x="1606" y="359"/>
                  <a:pt x="1606" y="359"/>
                </a:cubicBezTo>
                <a:cubicBezTo>
                  <a:pt x="1607" y="359"/>
                  <a:pt x="1607" y="359"/>
                  <a:pt x="1607" y="359"/>
                </a:cubicBezTo>
                <a:cubicBezTo>
                  <a:pt x="1606" y="360"/>
                  <a:pt x="1606" y="360"/>
                  <a:pt x="1606" y="360"/>
                </a:cubicBezTo>
                <a:cubicBezTo>
                  <a:pt x="1608" y="361"/>
                  <a:pt x="1608" y="361"/>
                  <a:pt x="1608" y="361"/>
                </a:cubicBezTo>
                <a:cubicBezTo>
                  <a:pt x="1609" y="362"/>
                  <a:pt x="1609" y="362"/>
                  <a:pt x="1609" y="362"/>
                </a:cubicBezTo>
                <a:cubicBezTo>
                  <a:pt x="1607" y="364"/>
                  <a:pt x="1607" y="364"/>
                  <a:pt x="1607" y="364"/>
                </a:cubicBezTo>
                <a:cubicBezTo>
                  <a:pt x="1606" y="365"/>
                  <a:pt x="1606" y="365"/>
                  <a:pt x="1606" y="365"/>
                </a:cubicBezTo>
                <a:cubicBezTo>
                  <a:pt x="1607" y="367"/>
                  <a:pt x="1607" y="367"/>
                  <a:pt x="1607" y="367"/>
                </a:cubicBezTo>
                <a:cubicBezTo>
                  <a:pt x="1607" y="369"/>
                  <a:pt x="1607" y="369"/>
                  <a:pt x="1607" y="369"/>
                </a:cubicBezTo>
                <a:cubicBezTo>
                  <a:pt x="1606" y="370"/>
                  <a:pt x="1606" y="370"/>
                  <a:pt x="1606" y="370"/>
                </a:cubicBezTo>
                <a:cubicBezTo>
                  <a:pt x="1607" y="372"/>
                  <a:pt x="1607" y="372"/>
                  <a:pt x="1607" y="372"/>
                </a:cubicBezTo>
                <a:cubicBezTo>
                  <a:pt x="1608" y="372"/>
                  <a:pt x="1608" y="372"/>
                  <a:pt x="1608" y="372"/>
                </a:cubicBezTo>
                <a:cubicBezTo>
                  <a:pt x="1609" y="375"/>
                  <a:pt x="1609" y="375"/>
                  <a:pt x="1609" y="375"/>
                </a:cubicBezTo>
                <a:cubicBezTo>
                  <a:pt x="1610" y="376"/>
                  <a:pt x="1610" y="376"/>
                  <a:pt x="1610" y="376"/>
                </a:cubicBezTo>
                <a:cubicBezTo>
                  <a:pt x="1612" y="379"/>
                  <a:pt x="1612" y="379"/>
                  <a:pt x="1612" y="379"/>
                </a:cubicBezTo>
                <a:cubicBezTo>
                  <a:pt x="1612" y="382"/>
                  <a:pt x="1612" y="382"/>
                  <a:pt x="1612" y="382"/>
                </a:cubicBezTo>
                <a:cubicBezTo>
                  <a:pt x="1614" y="383"/>
                  <a:pt x="1614" y="383"/>
                  <a:pt x="1614" y="383"/>
                </a:cubicBezTo>
                <a:cubicBezTo>
                  <a:pt x="1615" y="385"/>
                  <a:pt x="1615" y="385"/>
                  <a:pt x="1615" y="385"/>
                </a:cubicBezTo>
                <a:cubicBezTo>
                  <a:pt x="1617" y="387"/>
                  <a:pt x="1617" y="387"/>
                  <a:pt x="1617" y="387"/>
                </a:cubicBezTo>
                <a:cubicBezTo>
                  <a:pt x="1619" y="386"/>
                  <a:pt x="1619" y="386"/>
                  <a:pt x="1619" y="386"/>
                </a:cubicBezTo>
                <a:cubicBezTo>
                  <a:pt x="1620" y="388"/>
                  <a:pt x="1620" y="388"/>
                  <a:pt x="1620" y="388"/>
                </a:cubicBezTo>
                <a:cubicBezTo>
                  <a:pt x="1618" y="391"/>
                  <a:pt x="1618" y="391"/>
                  <a:pt x="1618" y="391"/>
                </a:cubicBezTo>
                <a:cubicBezTo>
                  <a:pt x="1616" y="391"/>
                  <a:pt x="1616" y="391"/>
                  <a:pt x="1616" y="391"/>
                </a:cubicBezTo>
                <a:cubicBezTo>
                  <a:pt x="1615" y="392"/>
                  <a:pt x="1615" y="392"/>
                  <a:pt x="1615" y="392"/>
                </a:cubicBezTo>
                <a:cubicBezTo>
                  <a:pt x="1617" y="393"/>
                  <a:pt x="1617" y="393"/>
                  <a:pt x="1617" y="393"/>
                </a:cubicBezTo>
                <a:cubicBezTo>
                  <a:pt x="1617" y="395"/>
                  <a:pt x="1617" y="395"/>
                  <a:pt x="1617" y="395"/>
                </a:cubicBezTo>
                <a:cubicBezTo>
                  <a:pt x="1619" y="396"/>
                  <a:pt x="1619" y="396"/>
                  <a:pt x="1619" y="396"/>
                </a:cubicBezTo>
                <a:cubicBezTo>
                  <a:pt x="1620" y="400"/>
                  <a:pt x="1620" y="400"/>
                  <a:pt x="1620" y="400"/>
                </a:cubicBezTo>
                <a:cubicBezTo>
                  <a:pt x="1619" y="402"/>
                  <a:pt x="1619" y="402"/>
                  <a:pt x="1619" y="402"/>
                </a:cubicBezTo>
                <a:cubicBezTo>
                  <a:pt x="1620" y="403"/>
                  <a:pt x="1620" y="403"/>
                  <a:pt x="1620" y="403"/>
                </a:cubicBezTo>
                <a:cubicBezTo>
                  <a:pt x="1622" y="403"/>
                  <a:pt x="1622" y="403"/>
                  <a:pt x="1622" y="403"/>
                </a:cubicBezTo>
                <a:cubicBezTo>
                  <a:pt x="1627" y="402"/>
                  <a:pt x="1627" y="402"/>
                  <a:pt x="1627" y="402"/>
                </a:cubicBezTo>
                <a:cubicBezTo>
                  <a:pt x="1630" y="403"/>
                  <a:pt x="1630" y="403"/>
                  <a:pt x="1630" y="403"/>
                </a:cubicBezTo>
                <a:cubicBezTo>
                  <a:pt x="1632" y="401"/>
                  <a:pt x="1632" y="401"/>
                  <a:pt x="1632" y="401"/>
                </a:cubicBezTo>
                <a:cubicBezTo>
                  <a:pt x="1631" y="399"/>
                  <a:pt x="1631" y="399"/>
                  <a:pt x="1631" y="399"/>
                </a:cubicBezTo>
                <a:cubicBezTo>
                  <a:pt x="1630" y="398"/>
                  <a:pt x="1630" y="398"/>
                  <a:pt x="1630" y="398"/>
                </a:cubicBezTo>
                <a:cubicBezTo>
                  <a:pt x="1632" y="395"/>
                  <a:pt x="1632" y="395"/>
                  <a:pt x="1632" y="395"/>
                </a:cubicBezTo>
                <a:cubicBezTo>
                  <a:pt x="1635" y="395"/>
                  <a:pt x="1635" y="395"/>
                  <a:pt x="1635" y="395"/>
                </a:cubicBezTo>
                <a:cubicBezTo>
                  <a:pt x="1635" y="391"/>
                  <a:pt x="1635" y="391"/>
                  <a:pt x="1635" y="391"/>
                </a:cubicBezTo>
                <a:cubicBezTo>
                  <a:pt x="1636" y="393"/>
                  <a:pt x="1636" y="393"/>
                  <a:pt x="1636" y="393"/>
                </a:cubicBezTo>
                <a:cubicBezTo>
                  <a:pt x="1640" y="393"/>
                  <a:pt x="1640" y="393"/>
                  <a:pt x="1640" y="393"/>
                </a:cubicBezTo>
                <a:cubicBezTo>
                  <a:pt x="1642" y="392"/>
                  <a:pt x="1642" y="392"/>
                  <a:pt x="1642" y="392"/>
                </a:cubicBezTo>
                <a:cubicBezTo>
                  <a:pt x="1644" y="393"/>
                  <a:pt x="1644" y="393"/>
                  <a:pt x="1644" y="393"/>
                </a:cubicBezTo>
                <a:cubicBezTo>
                  <a:pt x="1645" y="394"/>
                  <a:pt x="1645" y="394"/>
                  <a:pt x="1645" y="394"/>
                </a:cubicBezTo>
                <a:cubicBezTo>
                  <a:pt x="1647" y="392"/>
                  <a:pt x="1647" y="392"/>
                  <a:pt x="1647" y="392"/>
                </a:cubicBezTo>
                <a:cubicBezTo>
                  <a:pt x="1648" y="388"/>
                  <a:pt x="1648" y="388"/>
                  <a:pt x="1648" y="388"/>
                </a:cubicBezTo>
                <a:cubicBezTo>
                  <a:pt x="1649" y="386"/>
                  <a:pt x="1649" y="386"/>
                  <a:pt x="1649" y="386"/>
                </a:cubicBezTo>
                <a:cubicBezTo>
                  <a:pt x="1650" y="381"/>
                  <a:pt x="1650" y="381"/>
                  <a:pt x="1650" y="381"/>
                </a:cubicBezTo>
                <a:cubicBezTo>
                  <a:pt x="1651" y="379"/>
                  <a:pt x="1651" y="379"/>
                  <a:pt x="1651" y="379"/>
                </a:cubicBezTo>
                <a:cubicBezTo>
                  <a:pt x="1649" y="378"/>
                  <a:pt x="1649" y="378"/>
                  <a:pt x="1649" y="378"/>
                </a:cubicBezTo>
                <a:cubicBezTo>
                  <a:pt x="1649" y="376"/>
                  <a:pt x="1649" y="376"/>
                  <a:pt x="1649" y="376"/>
                </a:cubicBezTo>
                <a:cubicBezTo>
                  <a:pt x="1651" y="374"/>
                  <a:pt x="1651" y="374"/>
                  <a:pt x="1651" y="374"/>
                </a:cubicBezTo>
                <a:cubicBezTo>
                  <a:pt x="1649" y="372"/>
                  <a:pt x="1649" y="372"/>
                  <a:pt x="1649" y="372"/>
                </a:cubicBezTo>
                <a:cubicBezTo>
                  <a:pt x="1651" y="370"/>
                  <a:pt x="1651" y="370"/>
                  <a:pt x="1651" y="370"/>
                </a:cubicBezTo>
                <a:cubicBezTo>
                  <a:pt x="1649" y="369"/>
                  <a:pt x="1649" y="369"/>
                  <a:pt x="1649" y="369"/>
                </a:cubicBezTo>
                <a:cubicBezTo>
                  <a:pt x="1650" y="367"/>
                  <a:pt x="1650" y="367"/>
                  <a:pt x="1650" y="367"/>
                </a:cubicBezTo>
                <a:cubicBezTo>
                  <a:pt x="1648" y="365"/>
                  <a:pt x="1648" y="365"/>
                  <a:pt x="1648" y="365"/>
                </a:cubicBezTo>
                <a:cubicBezTo>
                  <a:pt x="1651" y="366"/>
                  <a:pt x="1651" y="366"/>
                  <a:pt x="1651" y="366"/>
                </a:cubicBezTo>
                <a:cubicBezTo>
                  <a:pt x="1653" y="366"/>
                  <a:pt x="1653" y="366"/>
                  <a:pt x="1653" y="366"/>
                </a:cubicBezTo>
                <a:cubicBezTo>
                  <a:pt x="1651" y="364"/>
                  <a:pt x="1651" y="364"/>
                  <a:pt x="1651" y="364"/>
                </a:cubicBezTo>
                <a:cubicBezTo>
                  <a:pt x="1652" y="361"/>
                  <a:pt x="1652" y="361"/>
                  <a:pt x="1652" y="361"/>
                </a:cubicBezTo>
                <a:cubicBezTo>
                  <a:pt x="1652" y="360"/>
                  <a:pt x="1652" y="360"/>
                  <a:pt x="1652" y="360"/>
                </a:cubicBezTo>
                <a:cubicBezTo>
                  <a:pt x="1649" y="359"/>
                  <a:pt x="1649" y="359"/>
                  <a:pt x="1649" y="359"/>
                </a:cubicBezTo>
                <a:cubicBezTo>
                  <a:pt x="1653" y="359"/>
                  <a:pt x="1653" y="359"/>
                  <a:pt x="1653" y="359"/>
                </a:cubicBezTo>
                <a:cubicBezTo>
                  <a:pt x="1651" y="357"/>
                  <a:pt x="1651" y="357"/>
                  <a:pt x="1651" y="357"/>
                </a:cubicBezTo>
                <a:cubicBezTo>
                  <a:pt x="1649" y="357"/>
                  <a:pt x="1649" y="357"/>
                  <a:pt x="1649" y="357"/>
                </a:cubicBezTo>
                <a:cubicBezTo>
                  <a:pt x="1650" y="355"/>
                  <a:pt x="1650" y="355"/>
                  <a:pt x="1650" y="355"/>
                </a:cubicBezTo>
                <a:cubicBezTo>
                  <a:pt x="1651" y="355"/>
                  <a:pt x="1651" y="355"/>
                  <a:pt x="1651" y="355"/>
                </a:cubicBezTo>
                <a:cubicBezTo>
                  <a:pt x="1651" y="356"/>
                  <a:pt x="1651" y="356"/>
                  <a:pt x="1651" y="356"/>
                </a:cubicBezTo>
                <a:cubicBezTo>
                  <a:pt x="1653" y="355"/>
                  <a:pt x="1653" y="355"/>
                  <a:pt x="1653" y="355"/>
                </a:cubicBezTo>
                <a:cubicBezTo>
                  <a:pt x="1653" y="353"/>
                  <a:pt x="1653" y="353"/>
                  <a:pt x="1653" y="353"/>
                </a:cubicBezTo>
                <a:cubicBezTo>
                  <a:pt x="1654" y="355"/>
                  <a:pt x="1654" y="355"/>
                  <a:pt x="1654" y="355"/>
                </a:cubicBezTo>
                <a:cubicBezTo>
                  <a:pt x="1654" y="353"/>
                  <a:pt x="1654" y="353"/>
                  <a:pt x="1654" y="353"/>
                </a:cubicBezTo>
                <a:cubicBezTo>
                  <a:pt x="1656" y="351"/>
                  <a:pt x="1656" y="351"/>
                  <a:pt x="1656" y="351"/>
                </a:cubicBezTo>
                <a:cubicBezTo>
                  <a:pt x="1657" y="351"/>
                  <a:pt x="1657" y="351"/>
                  <a:pt x="1657" y="351"/>
                </a:cubicBezTo>
                <a:cubicBezTo>
                  <a:pt x="1657" y="350"/>
                  <a:pt x="1657" y="350"/>
                  <a:pt x="1657" y="350"/>
                </a:cubicBezTo>
                <a:cubicBezTo>
                  <a:pt x="1658" y="348"/>
                  <a:pt x="1658" y="348"/>
                  <a:pt x="1658" y="348"/>
                </a:cubicBezTo>
                <a:cubicBezTo>
                  <a:pt x="1658" y="349"/>
                  <a:pt x="1658" y="349"/>
                  <a:pt x="1658" y="349"/>
                </a:cubicBezTo>
                <a:cubicBezTo>
                  <a:pt x="1658" y="351"/>
                  <a:pt x="1658" y="351"/>
                  <a:pt x="1658" y="351"/>
                </a:cubicBezTo>
                <a:cubicBezTo>
                  <a:pt x="1659" y="351"/>
                  <a:pt x="1659" y="351"/>
                  <a:pt x="1659" y="351"/>
                </a:cubicBezTo>
                <a:cubicBezTo>
                  <a:pt x="1661" y="349"/>
                  <a:pt x="1661" y="349"/>
                  <a:pt x="1661" y="349"/>
                </a:cubicBezTo>
                <a:cubicBezTo>
                  <a:pt x="1662" y="349"/>
                  <a:pt x="1662" y="349"/>
                  <a:pt x="1662" y="349"/>
                </a:cubicBezTo>
                <a:cubicBezTo>
                  <a:pt x="1664" y="347"/>
                  <a:pt x="1664" y="347"/>
                  <a:pt x="1664" y="347"/>
                </a:cubicBezTo>
                <a:cubicBezTo>
                  <a:pt x="1663" y="346"/>
                  <a:pt x="1663" y="346"/>
                  <a:pt x="1663" y="346"/>
                </a:cubicBezTo>
                <a:cubicBezTo>
                  <a:pt x="1662" y="345"/>
                  <a:pt x="1662" y="345"/>
                  <a:pt x="1662" y="345"/>
                </a:cubicBezTo>
                <a:cubicBezTo>
                  <a:pt x="1660" y="344"/>
                  <a:pt x="1660" y="344"/>
                  <a:pt x="1660" y="344"/>
                </a:cubicBezTo>
                <a:cubicBezTo>
                  <a:pt x="1658" y="345"/>
                  <a:pt x="1658" y="345"/>
                  <a:pt x="1658" y="345"/>
                </a:cubicBezTo>
                <a:cubicBezTo>
                  <a:pt x="1657" y="344"/>
                  <a:pt x="1657" y="344"/>
                  <a:pt x="1657" y="344"/>
                </a:cubicBezTo>
                <a:cubicBezTo>
                  <a:pt x="1655" y="345"/>
                  <a:pt x="1655" y="345"/>
                  <a:pt x="1655" y="345"/>
                </a:cubicBezTo>
                <a:cubicBezTo>
                  <a:pt x="1654" y="344"/>
                  <a:pt x="1654" y="344"/>
                  <a:pt x="1654" y="344"/>
                </a:cubicBezTo>
                <a:cubicBezTo>
                  <a:pt x="1652" y="343"/>
                  <a:pt x="1652" y="343"/>
                  <a:pt x="1652" y="343"/>
                </a:cubicBezTo>
                <a:cubicBezTo>
                  <a:pt x="1651" y="342"/>
                  <a:pt x="1651" y="342"/>
                  <a:pt x="1651" y="342"/>
                </a:cubicBezTo>
                <a:cubicBezTo>
                  <a:pt x="1648" y="342"/>
                  <a:pt x="1648" y="342"/>
                  <a:pt x="1648" y="342"/>
                </a:cubicBezTo>
                <a:cubicBezTo>
                  <a:pt x="1648" y="343"/>
                  <a:pt x="1648" y="343"/>
                  <a:pt x="1648" y="343"/>
                </a:cubicBezTo>
                <a:cubicBezTo>
                  <a:pt x="1647" y="343"/>
                  <a:pt x="1647" y="343"/>
                  <a:pt x="1647" y="343"/>
                </a:cubicBezTo>
                <a:cubicBezTo>
                  <a:pt x="1644" y="342"/>
                  <a:pt x="1644" y="342"/>
                  <a:pt x="1644" y="342"/>
                </a:cubicBezTo>
                <a:cubicBezTo>
                  <a:pt x="1644" y="342"/>
                  <a:pt x="1644" y="342"/>
                  <a:pt x="1644" y="342"/>
                </a:cubicBezTo>
                <a:cubicBezTo>
                  <a:pt x="1645" y="341"/>
                  <a:pt x="1645" y="341"/>
                  <a:pt x="1645" y="341"/>
                </a:cubicBezTo>
                <a:cubicBezTo>
                  <a:pt x="1647" y="342"/>
                  <a:pt x="1647" y="342"/>
                  <a:pt x="1647" y="342"/>
                </a:cubicBezTo>
                <a:cubicBezTo>
                  <a:pt x="1648" y="340"/>
                  <a:pt x="1648" y="340"/>
                  <a:pt x="1648" y="340"/>
                </a:cubicBezTo>
                <a:cubicBezTo>
                  <a:pt x="1649" y="341"/>
                  <a:pt x="1649" y="341"/>
                  <a:pt x="1649" y="341"/>
                </a:cubicBezTo>
                <a:cubicBezTo>
                  <a:pt x="1651" y="340"/>
                  <a:pt x="1651" y="340"/>
                  <a:pt x="1651" y="340"/>
                </a:cubicBezTo>
                <a:cubicBezTo>
                  <a:pt x="1651" y="339"/>
                  <a:pt x="1651" y="339"/>
                  <a:pt x="1651" y="339"/>
                </a:cubicBezTo>
                <a:cubicBezTo>
                  <a:pt x="1653" y="339"/>
                  <a:pt x="1653" y="339"/>
                  <a:pt x="1653" y="339"/>
                </a:cubicBezTo>
                <a:cubicBezTo>
                  <a:pt x="1654" y="340"/>
                  <a:pt x="1654" y="340"/>
                  <a:pt x="1654" y="340"/>
                </a:cubicBezTo>
                <a:cubicBezTo>
                  <a:pt x="1655" y="340"/>
                  <a:pt x="1655" y="340"/>
                  <a:pt x="1655" y="340"/>
                </a:cubicBezTo>
                <a:cubicBezTo>
                  <a:pt x="1655" y="339"/>
                  <a:pt x="1655" y="339"/>
                  <a:pt x="1655" y="339"/>
                </a:cubicBezTo>
                <a:cubicBezTo>
                  <a:pt x="1656" y="340"/>
                  <a:pt x="1656" y="340"/>
                  <a:pt x="1656" y="340"/>
                </a:cubicBezTo>
                <a:cubicBezTo>
                  <a:pt x="1659" y="341"/>
                  <a:pt x="1659" y="341"/>
                  <a:pt x="1659" y="341"/>
                </a:cubicBezTo>
                <a:cubicBezTo>
                  <a:pt x="1658" y="342"/>
                  <a:pt x="1658" y="342"/>
                  <a:pt x="1658" y="342"/>
                </a:cubicBezTo>
                <a:cubicBezTo>
                  <a:pt x="1660" y="343"/>
                  <a:pt x="1660" y="343"/>
                  <a:pt x="1660" y="343"/>
                </a:cubicBezTo>
                <a:cubicBezTo>
                  <a:pt x="1663" y="342"/>
                  <a:pt x="1663" y="342"/>
                  <a:pt x="1663" y="342"/>
                </a:cubicBezTo>
                <a:cubicBezTo>
                  <a:pt x="1664" y="340"/>
                  <a:pt x="1664" y="340"/>
                  <a:pt x="1664" y="340"/>
                </a:cubicBezTo>
                <a:cubicBezTo>
                  <a:pt x="1666" y="338"/>
                  <a:pt x="1666" y="338"/>
                  <a:pt x="1666" y="338"/>
                </a:cubicBezTo>
                <a:cubicBezTo>
                  <a:pt x="1667" y="335"/>
                  <a:pt x="1667" y="335"/>
                  <a:pt x="1667" y="335"/>
                </a:cubicBezTo>
                <a:cubicBezTo>
                  <a:pt x="1665" y="333"/>
                  <a:pt x="1665" y="333"/>
                  <a:pt x="1665" y="333"/>
                </a:cubicBezTo>
                <a:cubicBezTo>
                  <a:pt x="1665" y="331"/>
                  <a:pt x="1665" y="331"/>
                  <a:pt x="1665" y="331"/>
                </a:cubicBezTo>
                <a:cubicBezTo>
                  <a:pt x="1662" y="329"/>
                  <a:pt x="1662" y="329"/>
                  <a:pt x="1662" y="329"/>
                </a:cubicBezTo>
                <a:cubicBezTo>
                  <a:pt x="1663" y="328"/>
                  <a:pt x="1663" y="328"/>
                  <a:pt x="1663" y="328"/>
                </a:cubicBezTo>
                <a:cubicBezTo>
                  <a:pt x="1659" y="325"/>
                  <a:pt x="1659" y="325"/>
                  <a:pt x="1659" y="325"/>
                </a:cubicBezTo>
                <a:cubicBezTo>
                  <a:pt x="1659" y="324"/>
                  <a:pt x="1659" y="324"/>
                  <a:pt x="1659" y="324"/>
                </a:cubicBezTo>
                <a:cubicBezTo>
                  <a:pt x="1657" y="323"/>
                  <a:pt x="1657" y="323"/>
                  <a:pt x="1657" y="323"/>
                </a:cubicBezTo>
                <a:cubicBezTo>
                  <a:pt x="1656" y="325"/>
                  <a:pt x="1656" y="325"/>
                  <a:pt x="1656" y="325"/>
                </a:cubicBezTo>
                <a:cubicBezTo>
                  <a:pt x="1655" y="323"/>
                  <a:pt x="1655" y="323"/>
                  <a:pt x="1655" y="323"/>
                </a:cubicBezTo>
                <a:cubicBezTo>
                  <a:pt x="1654" y="323"/>
                  <a:pt x="1654" y="323"/>
                  <a:pt x="1654" y="323"/>
                </a:cubicBezTo>
                <a:cubicBezTo>
                  <a:pt x="1654" y="322"/>
                  <a:pt x="1654" y="322"/>
                  <a:pt x="1654" y="322"/>
                </a:cubicBezTo>
                <a:cubicBezTo>
                  <a:pt x="1652" y="321"/>
                  <a:pt x="1652" y="321"/>
                  <a:pt x="1652" y="321"/>
                </a:cubicBezTo>
                <a:cubicBezTo>
                  <a:pt x="1651" y="320"/>
                  <a:pt x="1651" y="320"/>
                  <a:pt x="1651" y="320"/>
                </a:cubicBezTo>
                <a:cubicBezTo>
                  <a:pt x="1650" y="318"/>
                  <a:pt x="1650" y="318"/>
                  <a:pt x="1650" y="318"/>
                </a:cubicBezTo>
                <a:cubicBezTo>
                  <a:pt x="1652" y="317"/>
                  <a:pt x="1652" y="317"/>
                  <a:pt x="1652" y="317"/>
                </a:cubicBezTo>
                <a:cubicBezTo>
                  <a:pt x="1650" y="314"/>
                  <a:pt x="1650" y="314"/>
                  <a:pt x="1650" y="314"/>
                </a:cubicBezTo>
                <a:cubicBezTo>
                  <a:pt x="1651" y="314"/>
                  <a:pt x="1651" y="314"/>
                  <a:pt x="1651" y="314"/>
                </a:cubicBezTo>
                <a:cubicBezTo>
                  <a:pt x="1651" y="313"/>
                  <a:pt x="1651" y="313"/>
                  <a:pt x="1651" y="313"/>
                </a:cubicBezTo>
                <a:cubicBezTo>
                  <a:pt x="1650" y="312"/>
                  <a:pt x="1650" y="312"/>
                  <a:pt x="1650" y="312"/>
                </a:cubicBezTo>
                <a:cubicBezTo>
                  <a:pt x="1651" y="310"/>
                  <a:pt x="1651" y="310"/>
                  <a:pt x="1651" y="310"/>
                </a:cubicBezTo>
                <a:cubicBezTo>
                  <a:pt x="1651" y="307"/>
                  <a:pt x="1651" y="307"/>
                  <a:pt x="1651" y="307"/>
                </a:cubicBezTo>
                <a:cubicBezTo>
                  <a:pt x="1651" y="307"/>
                  <a:pt x="1651" y="307"/>
                  <a:pt x="1651" y="307"/>
                </a:cubicBezTo>
                <a:cubicBezTo>
                  <a:pt x="1653" y="308"/>
                  <a:pt x="1653" y="308"/>
                  <a:pt x="1653" y="308"/>
                </a:cubicBezTo>
                <a:cubicBezTo>
                  <a:pt x="1653" y="306"/>
                  <a:pt x="1653" y="306"/>
                  <a:pt x="1653" y="306"/>
                </a:cubicBezTo>
                <a:cubicBezTo>
                  <a:pt x="1651" y="304"/>
                  <a:pt x="1651" y="304"/>
                  <a:pt x="1651" y="304"/>
                </a:cubicBezTo>
                <a:cubicBezTo>
                  <a:pt x="1652" y="301"/>
                  <a:pt x="1652" y="301"/>
                  <a:pt x="1652" y="301"/>
                </a:cubicBezTo>
                <a:cubicBezTo>
                  <a:pt x="1651" y="299"/>
                  <a:pt x="1651" y="299"/>
                  <a:pt x="1651" y="299"/>
                </a:cubicBezTo>
                <a:cubicBezTo>
                  <a:pt x="1652" y="298"/>
                  <a:pt x="1652" y="298"/>
                  <a:pt x="1652" y="298"/>
                </a:cubicBezTo>
                <a:cubicBezTo>
                  <a:pt x="1652" y="296"/>
                  <a:pt x="1652" y="296"/>
                  <a:pt x="1652" y="296"/>
                </a:cubicBezTo>
                <a:cubicBezTo>
                  <a:pt x="1649" y="293"/>
                  <a:pt x="1649" y="293"/>
                  <a:pt x="1649" y="293"/>
                </a:cubicBezTo>
                <a:cubicBezTo>
                  <a:pt x="1651" y="293"/>
                  <a:pt x="1651" y="293"/>
                  <a:pt x="1651" y="293"/>
                </a:cubicBezTo>
                <a:cubicBezTo>
                  <a:pt x="1654" y="293"/>
                  <a:pt x="1654" y="293"/>
                  <a:pt x="1654" y="293"/>
                </a:cubicBezTo>
                <a:cubicBezTo>
                  <a:pt x="1655" y="290"/>
                  <a:pt x="1655" y="290"/>
                  <a:pt x="1655" y="290"/>
                </a:cubicBezTo>
                <a:cubicBezTo>
                  <a:pt x="1655" y="289"/>
                  <a:pt x="1655" y="289"/>
                  <a:pt x="1655" y="289"/>
                </a:cubicBezTo>
                <a:cubicBezTo>
                  <a:pt x="1655" y="287"/>
                  <a:pt x="1655" y="287"/>
                  <a:pt x="1655" y="287"/>
                </a:cubicBezTo>
                <a:cubicBezTo>
                  <a:pt x="1657" y="288"/>
                  <a:pt x="1657" y="288"/>
                  <a:pt x="1657" y="288"/>
                </a:cubicBezTo>
                <a:cubicBezTo>
                  <a:pt x="1660" y="286"/>
                  <a:pt x="1660" y="286"/>
                  <a:pt x="1660" y="286"/>
                </a:cubicBezTo>
                <a:cubicBezTo>
                  <a:pt x="1660" y="284"/>
                  <a:pt x="1660" y="284"/>
                  <a:pt x="1660" y="284"/>
                </a:cubicBezTo>
                <a:cubicBezTo>
                  <a:pt x="1659" y="284"/>
                  <a:pt x="1659" y="284"/>
                  <a:pt x="1659" y="284"/>
                </a:cubicBezTo>
                <a:cubicBezTo>
                  <a:pt x="1659" y="282"/>
                  <a:pt x="1659" y="282"/>
                  <a:pt x="1659" y="282"/>
                </a:cubicBezTo>
                <a:cubicBezTo>
                  <a:pt x="1660" y="281"/>
                  <a:pt x="1660" y="281"/>
                  <a:pt x="1660" y="281"/>
                </a:cubicBezTo>
                <a:cubicBezTo>
                  <a:pt x="1661" y="282"/>
                  <a:pt x="1661" y="282"/>
                  <a:pt x="1661" y="282"/>
                </a:cubicBezTo>
                <a:cubicBezTo>
                  <a:pt x="1662" y="282"/>
                  <a:pt x="1662" y="282"/>
                  <a:pt x="1662" y="282"/>
                </a:cubicBezTo>
                <a:cubicBezTo>
                  <a:pt x="1663" y="280"/>
                  <a:pt x="1663" y="280"/>
                  <a:pt x="1663" y="280"/>
                </a:cubicBezTo>
                <a:cubicBezTo>
                  <a:pt x="1664" y="280"/>
                  <a:pt x="1664" y="280"/>
                  <a:pt x="1664" y="280"/>
                </a:cubicBezTo>
                <a:cubicBezTo>
                  <a:pt x="1664" y="281"/>
                  <a:pt x="1664" y="281"/>
                  <a:pt x="1664" y="281"/>
                </a:cubicBezTo>
                <a:cubicBezTo>
                  <a:pt x="1666" y="280"/>
                  <a:pt x="1666" y="280"/>
                  <a:pt x="1666" y="280"/>
                </a:cubicBezTo>
                <a:cubicBezTo>
                  <a:pt x="1666" y="278"/>
                  <a:pt x="1666" y="278"/>
                  <a:pt x="1666" y="278"/>
                </a:cubicBezTo>
                <a:cubicBezTo>
                  <a:pt x="1667" y="275"/>
                  <a:pt x="1667" y="275"/>
                  <a:pt x="1667" y="275"/>
                </a:cubicBezTo>
                <a:cubicBezTo>
                  <a:pt x="1668" y="275"/>
                  <a:pt x="1668" y="275"/>
                  <a:pt x="1668" y="275"/>
                </a:cubicBezTo>
                <a:cubicBezTo>
                  <a:pt x="1669" y="277"/>
                  <a:pt x="1669" y="277"/>
                  <a:pt x="1669" y="277"/>
                </a:cubicBezTo>
                <a:cubicBezTo>
                  <a:pt x="1670" y="277"/>
                  <a:pt x="1670" y="277"/>
                  <a:pt x="1670" y="277"/>
                </a:cubicBezTo>
                <a:cubicBezTo>
                  <a:pt x="1671" y="275"/>
                  <a:pt x="1671" y="275"/>
                  <a:pt x="1671" y="275"/>
                </a:cubicBezTo>
                <a:cubicBezTo>
                  <a:pt x="1673" y="274"/>
                  <a:pt x="1673" y="274"/>
                  <a:pt x="1673" y="274"/>
                </a:cubicBezTo>
                <a:cubicBezTo>
                  <a:pt x="1672" y="272"/>
                  <a:pt x="1672" y="272"/>
                  <a:pt x="1672" y="272"/>
                </a:cubicBezTo>
                <a:cubicBezTo>
                  <a:pt x="1673" y="270"/>
                  <a:pt x="1673" y="270"/>
                  <a:pt x="1673" y="270"/>
                </a:cubicBezTo>
                <a:cubicBezTo>
                  <a:pt x="1674" y="271"/>
                  <a:pt x="1674" y="271"/>
                  <a:pt x="1674" y="271"/>
                </a:cubicBezTo>
                <a:cubicBezTo>
                  <a:pt x="1676" y="269"/>
                  <a:pt x="1676" y="269"/>
                  <a:pt x="1676" y="269"/>
                </a:cubicBezTo>
                <a:cubicBezTo>
                  <a:pt x="1677" y="269"/>
                  <a:pt x="1677" y="269"/>
                  <a:pt x="1677" y="269"/>
                </a:cubicBezTo>
                <a:cubicBezTo>
                  <a:pt x="1679" y="266"/>
                  <a:pt x="1679" y="266"/>
                  <a:pt x="1679" y="266"/>
                </a:cubicBezTo>
                <a:cubicBezTo>
                  <a:pt x="1679" y="263"/>
                  <a:pt x="1679" y="263"/>
                  <a:pt x="1679" y="263"/>
                </a:cubicBezTo>
                <a:cubicBezTo>
                  <a:pt x="1680" y="261"/>
                  <a:pt x="1680" y="261"/>
                  <a:pt x="1680" y="261"/>
                </a:cubicBezTo>
                <a:cubicBezTo>
                  <a:pt x="1682" y="261"/>
                  <a:pt x="1682" y="261"/>
                  <a:pt x="1682" y="261"/>
                </a:cubicBezTo>
                <a:cubicBezTo>
                  <a:pt x="1684" y="258"/>
                  <a:pt x="1684" y="258"/>
                  <a:pt x="1684" y="258"/>
                </a:cubicBezTo>
                <a:cubicBezTo>
                  <a:pt x="1682" y="258"/>
                  <a:pt x="1682" y="258"/>
                  <a:pt x="1682" y="258"/>
                </a:cubicBezTo>
                <a:cubicBezTo>
                  <a:pt x="1681" y="257"/>
                  <a:pt x="1681" y="257"/>
                  <a:pt x="1681" y="257"/>
                </a:cubicBezTo>
                <a:cubicBezTo>
                  <a:pt x="1682" y="256"/>
                  <a:pt x="1682" y="256"/>
                  <a:pt x="1682" y="256"/>
                </a:cubicBezTo>
                <a:cubicBezTo>
                  <a:pt x="1682" y="255"/>
                  <a:pt x="1682" y="255"/>
                  <a:pt x="1682" y="255"/>
                </a:cubicBezTo>
                <a:cubicBezTo>
                  <a:pt x="1680" y="255"/>
                  <a:pt x="1680" y="255"/>
                  <a:pt x="1680" y="255"/>
                </a:cubicBezTo>
                <a:cubicBezTo>
                  <a:pt x="1678" y="253"/>
                  <a:pt x="1678" y="253"/>
                  <a:pt x="1678" y="253"/>
                </a:cubicBezTo>
                <a:cubicBezTo>
                  <a:pt x="1680" y="253"/>
                  <a:pt x="1680" y="253"/>
                  <a:pt x="1680" y="253"/>
                </a:cubicBezTo>
                <a:cubicBezTo>
                  <a:pt x="1680" y="251"/>
                  <a:pt x="1680" y="251"/>
                  <a:pt x="1680" y="251"/>
                </a:cubicBezTo>
                <a:cubicBezTo>
                  <a:pt x="1681" y="248"/>
                  <a:pt x="1681" y="248"/>
                  <a:pt x="1681" y="248"/>
                </a:cubicBezTo>
                <a:cubicBezTo>
                  <a:pt x="1682" y="247"/>
                  <a:pt x="1682" y="247"/>
                  <a:pt x="1682" y="247"/>
                </a:cubicBezTo>
                <a:cubicBezTo>
                  <a:pt x="1681" y="245"/>
                  <a:pt x="1681" y="245"/>
                  <a:pt x="1681" y="245"/>
                </a:cubicBezTo>
                <a:cubicBezTo>
                  <a:pt x="1680" y="245"/>
                  <a:pt x="1680" y="245"/>
                  <a:pt x="1680" y="245"/>
                </a:cubicBezTo>
                <a:cubicBezTo>
                  <a:pt x="1679" y="244"/>
                  <a:pt x="1679" y="244"/>
                  <a:pt x="1679" y="244"/>
                </a:cubicBezTo>
                <a:cubicBezTo>
                  <a:pt x="1679" y="243"/>
                  <a:pt x="1679" y="243"/>
                  <a:pt x="1679" y="243"/>
                </a:cubicBezTo>
                <a:cubicBezTo>
                  <a:pt x="1681" y="244"/>
                  <a:pt x="1681" y="244"/>
                  <a:pt x="1681" y="244"/>
                </a:cubicBezTo>
                <a:cubicBezTo>
                  <a:pt x="1681" y="244"/>
                  <a:pt x="1681" y="244"/>
                  <a:pt x="1681" y="244"/>
                </a:cubicBezTo>
                <a:cubicBezTo>
                  <a:pt x="1682" y="244"/>
                  <a:pt x="1682" y="244"/>
                  <a:pt x="1682" y="244"/>
                </a:cubicBezTo>
                <a:cubicBezTo>
                  <a:pt x="1682" y="243"/>
                  <a:pt x="1682" y="243"/>
                  <a:pt x="1682" y="243"/>
                </a:cubicBezTo>
                <a:cubicBezTo>
                  <a:pt x="1680" y="242"/>
                  <a:pt x="1680" y="242"/>
                  <a:pt x="1680" y="242"/>
                </a:cubicBezTo>
                <a:cubicBezTo>
                  <a:pt x="1682" y="241"/>
                  <a:pt x="1682" y="241"/>
                  <a:pt x="1682" y="241"/>
                </a:cubicBezTo>
                <a:cubicBezTo>
                  <a:pt x="1683" y="241"/>
                  <a:pt x="1683" y="241"/>
                  <a:pt x="1683" y="241"/>
                </a:cubicBezTo>
                <a:cubicBezTo>
                  <a:pt x="1685" y="240"/>
                  <a:pt x="1685" y="240"/>
                  <a:pt x="1685" y="240"/>
                </a:cubicBezTo>
                <a:cubicBezTo>
                  <a:pt x="1684" y="239"/>
                  <a:pt x="1684" y="239"/>
                  <a:pt x="1684" y="239"/>
                </a:cubicBezTo>
                <a:cubicBezTo>
                  <a:pt x="1682" y="237"/>
                  <a:pt x="1682" y="237"/>
                  <a:pt x="1682" y="237"/>
                </a:cubicBezTo>
                <a:cubicBezTo>
                  <a:pt x="1684" y="237"/>
                  <a:pt x="1684" y="237"/>
                  <a:pt x="1684" y="237"/>
                </a:cubicBezTo>
                <a:cubicBezTo>
                  <a:pt x="1685" y="238"/>
                  <a:pt x="1685" y="238"/>
                  <a:pt x="1685" y="238"/>
                </a:cubicBezTo>
                <a:cubicBezTo>
                  <a:pt x="1686" y="238"/>
                  <a:pt x="1686" y="238"/>
                  <a:pt x="1686" y="238"/>
                </a:cubicBezTo>
                <a:cubicBezTo>
                  <a:pt x="1687" y="236"/>
                  <a:pt x="1687" y="236"/>
                  <a:pt x="1687" y="236"/>
                </a:cubicBezTo>
                <a:cubicBezTo>
                  <a:pt x="1687" y="234"/>
                  <a:pt x="1687" y="234"/>
                  <a:pt x="1687" y="234"/>
                </a:cubicBezTo>
                <a:cubicBezTo>
                  <a:pt x="1688" y="233"/>
                  <a:pt x="1688" y="233"/>
                  <a:pt x="1688" y="233"/>
                </a:cubicBezTo>
                <a:cubicBezTo>
                  <a:pt x="1689" y="236"/>
                  <a:pt x="1689" y="236"/>
                  <a:pt x="1689" y="236"/>
                </a:cubicBezTo>
                <a:cubicBezTo>
                  <a:pt x="1691" y="234"/>
                  <a:pt x="1691" y="234"/>
                  <a:pt x="1691" y="234"/>
                </a:cubicBezTo>
                <a:cubicBezTo>
                  <a:pt x="1692" y="235"/>
                  <a:pt x="1692" y="235"/>
                  <a:pt x="1692" y="235"/>
                </a:cubicBezTo>
                <a:cubicBezTo>
                  <a:pt x="1693" y="236"/>
                  <a:pt x="1693" y="236"/>
                  <a:pt x="1693" y="236"/>
                </a:cubicBezTo>
                <a:cubicBezTo>
                  <a:pt x="1694" y="234"/>
                  <a:pt x="1694" y="234"/>
                  <a:pt x="1694" y="234"/>
                </a:cubicBezTo>
                <a:cubicBezTo>
                  <a:pt x="1696" y="235"/>
                  <a:pt x="1696" y="235"/>
                  <a:pt x="1696" y="235"/>
                </a:cubicBezTo>
                <a:cubicBezTo>
                  <a:pt x="1698" y="234"/>
                  <a:pt x="1698" y="234"/>
                  <a:pt x="1698" y="234"/>
                </a:cubicBezTo>
                <a:cubicBezTo>
                  <a:pt x="1699" y="235"/>
                  <a:pt x="1699" y="235"/>
                  <a:pt x="1699" y="235"/>
                </a:cubicBezTo>
                <a:cubicBezTo>
                  <a:pt x="1701" y="235"/>
                  <a:pt x="1701" y="235"/>
                  <a:pt x="1701" y="235"/>
                </a:cubicBezTo>
                <a:cubicBezTo>
                  <a:pt x="1703" y="234"/>
                  <a:pt x="1703" y="234"/>
                  <a:pt x="1703" y="234"/>
                </a:cubicBezTo>
                <a:cubicBezTo>
                  <a:pt x="1703" y="234"/>
                  <a:pt x="1703" y="234"/>
                  <a:pt x="1703" y="234"/>
                </a:cubicBezTo>
                <a:cubicBezTo>
                  <a:pt x="1703" y="235"/>
                  <a:pt x="1703" y="235"/>
                  <a:pt x="1703" y="235"/>
                </a:cubicBezTo>
                <a:cubicBezTo>
                  <a:pt x="1705" y="235"/>
                  <a:pt x="1705" y="235"/>
                  <a:pt x="1705" y="235"/>
                </a:cubicBezTo>
                <a:cubicBezTo>
                  <a:pt x="1707" y="237"/>
                  <a:pt x="1707" y="237"/>
                  <a:pt x="1707" y="237"/>
                </a:cubicBezTo>
                <a:cubicBezTo>
                  <a:pt x="1711" y="237"/>
                  <a:pt x="1711" y="237"/>
                  <a:pt x="1711" y="237"/>
                </a:cubicBezTo>
                <a:cubicBezTo>
                  <a:pt x="1714" y="240"/>
                  <a:pt x="1714" y="240"/>
                  <a:pt x="1714" y="240"/>
                </a:cubicBezTo>
                <a:cubicBezTo>
                  <a:pt x="1712" y="240"/>
                  <a:pt x="1712" y="240"/>
                  <a:pt x="1712" y="240"/>
                </a:cubicBezTo>
                <a:cubicBezTo>
                  <a:pt x="1713" y="242"/>
                  <a:pt x="1713" y="242"/>
                  <a:pt x="1713" y="242"/>
                </a:cubicBezTo>
                <a:cubicBezTo>
                  <a:pt x="1713" y="245"/>
                  <a:pt x="1713" y="245"/>
                  <a:pt x="1713" y="245"/>
                </a:cubicBezTo>
                <a:cubicBezTo>
                  <a:pt x="1713" y="245"/>
                  <a:pt x="1713" y="245"/>
                  <a:pt x="1713" y="245"/>
                </a:cubicBezTo>
                <a:cubicBezTo>
                  <a:pt x="1716" y="248"/>
                  <a:pt x="1716" y="248"/>
                  <a:pt x="1716" y="248"/>
                </a:cubicBezTo>
                <a:cubicBezTo>
                  <a:pt x="1713" y="248"/>
                  <a:pt x="1713" y="248"/>
                  <a:pt x="1713" y="248"/>
                </a:cubicBezTo>
                <a:cubicBezTo>
                  <a:pt x="1713" y="248"/>
                  <a:pt x="1713" y="248"/>
                  <a:pt x="1713" y="248"/>
                </a:cubicBezTo>
                <a:cubicBezTo>
                  <a:pt x="1715" y="250"/>
                  <a:pt x="1715" y="250"/>
                  <a:pt x="1715" y="250"/>
                </a:cubicBezTo>
                <a:cubicBezTo>
                  <a:pt x="1715" y="252"/>
                  <a:pt x="1715" y="252"/>
                  <a:pt x="1715" y="252"/>
                </a:cubicBezTo>
                <a:cubicBezTo>
                  <a:pt x="1712" y="250"/>
                  <a:pt x="1712" y="250"/>
                  <a:pt x="1712" y="250"/>
                </a:cubicBezTo>
                <a:cubicBezTo>
                  <a:pt x="1710" y="250"/>
                  <a:pt x="1710" y="250"/>
                  <a:pt x="1710" y="250"/>
                </a:cubicBezTo>
                <a:cubicBezTo>
                  <a:pt x="1707" y="252"/>
                  <a:pt x="1707" y="252"/>
                  <a:pt x="1707" y="252"/>
                </a:cubicBezTo>
                <a:cubicBezTo>
                  <a:pt x="1707" y="253"/>
                  <a:pt x="1707" y="253"/>
                  <a:pt x="1707" y="253"/>
                </a:cubicBezTo>
                <a:cubicBezTo>
                  <a:pt x="1705" y="255"/>
                  <a:pt x="1705" y="255"/>
                  <a:pt x="1705" y="255"/>
                </a:cubicBezTo>
                <a:cubicBezTo>
                  <a:pt x="1705" y="257"/>
                  <a:pt x="1705" y="257"/>
                  <a:pt x="1705" y="257"/>
                </a:cubicBezTo>
                <a:cubicBezTo>
                  <a:pt x="1704" y="257"/>
                  <a:pt x="1704" y="257"/>
                  <a:pt x="1704" y="257"/>
                </a:cubicBezTo>
                <a:cubicBezTo>
                  <a:pt x="1701" y="260"/>
                  <a:pt x="1701" y="260"/>
                  <a:pt x="1701" y="260"/>
                </a:cubicBezTo>
                <a:cubicBezTo>
                  <a:pt x="1701" y="264"/>
                  <a:pt x="1701" y="264"/>
                  <a:pt x="1701" y="264"/>
                </a:cubicBezTo>
                <a:cubicBezTo>
                  <a:pt x="1700" y="264"/>
                  <a:pt x="1700" y="264"/>
                  <a:pt x="1700" y="264"/>
                </a:cubicBezTo>
                <a:cubicBezTo>
                  <a:pt x="1699" y="263"/>
                  <a:pt x="1699" y="263"/>
                  <a:pt x="1699" y="263"/>
                </a:cubicBezTo>
                <a:cubicBezTo>
                  <a:pt x="1699" y="263"/>
                  <a:pt x="1699" y="263"/>
                  <a:pt x="1699" y="263"/>
                </a:cubicBezTo>
                <a:cubicBezTo>
                  <a:pt x="1699" y="265"/>
                  <a:pt x="1699" y="265"/>
                  <a:pt x="1699" y="265"/>
                </a:cubicBezTo>
                <a:cubicBezTo>
                  <a:pt x="1699" y="267"/>
                  <a:pt x="1699" y="267"/>
                  <a:pt x="1699" y="267"/>
                </a:cubicBezTo>
                <a:cubicBezTo>
                  <a:pt x="1697" y="267"/>
                  <a:pt x="1697" y="267"/>
                  <a:pt x="1697" y="267"/>
                </a:cubicBezTo>
                <a:cubicBezTo>
                  <a:pt x="1695" y="269"/>
                  <a:pt x="1695" y="269"/>
                  <a:pt x="1695" y="269"/>
                </a:cubicBezTo>
                <a:cubicBezTo>
                  <a:pt x="1696" y="271"/>
                  <a:pt x="1696" y="271"/>
                  <a:pt x="1696" y="271"/>
                </a:cubicBezTo>
                <a:cubicBezTo>
                  <a:pt x="1697" y="272"/>
                  <a:pt x="1697" y="272"/>
                  <a:pt x="1697" y="272"/>
                </a:cubicBezTo>
                <a:cubicBezTo>
                  <a:pt x="1695" y="271"/>
                  <a:pt x="1695" y="271"/>
                  <a:pt x="1695" y="271"/>
                </a:cubicBezTo>
                <a:cubicBezTo>
                  <a:pt x="1694" y="270"/>
                  <a:pt x="1694" y="270"/>
                  <a:pt x="1694" y="270"/>
                </a:cubicBezTo>
                <a:cubicBezTo>
                  <a:pt x="1693" y="271"/>
                  <a:pt x="1693" y="271"/>
                  <a:pt x="1693" y="271"/>
                </a:cubicBezTo>
                <a:cubicBezTo>
                  <a:pt x="1692" y="273"/>
                  <a:pt x="1692" y="273"/>
                  <a:pt x="1692" y="273"/>
                </a:cubicBezTo>
                <a:cubicBezTo>
                  <a:pt x="1692" y="274"/>
                  <a:pt x="1692" y="274"/>
                  <a:pt x="1692" y="274"/>
                </a:cubicBezTo>
                <a:cubicBezTo>
                  <a:pt x="1691" y="274"/>
                  <a:pt x="1691" y="274"/>
                  <a:pt x="1691" y="274"/>
                </a:cubicBezTo>
                <a:cubicBezTo>
                  <a:pt x="1690" y="274"/>
                  <a:pt x="1690" y="274"/>
                  <a:pt x="1690" y="274"/>
                </a:cubicBezTo>
                <a:cubicBezTo>
                  <a:pt x="1692" y="276"/>
                  <a:pt x="1692" y="276"/>
                  <a:pt x="1692" y="276"/>
                </a:cubicBezTo>
                <a:cubicBezTo>
                  <a:pt x="1692" y="277"/>
                  <a:pt x="1692" y="277"/>
                  <a:pt x="1692" y="277"/>
                </a:cubicBezTo>
                <a:cubicBezTo>
                  <a:pt x="1691" y="278"/>
                  <a:pt x="1691" y="278"/>
                  <a:pt x="1691" y="278"/>
                </a:cubicBezTo>
                <a:cubicBezTo>
                  <a:pt x="1690" y="279"/>
                  <a:pt x="1690" y="279"/>
                  <a:pt x="1690" y="279"/>
                </a:cubicBezTo>
                <a:cubicBezTo>
                  <a:pt x="1688" y="280"/>
                  <a:pt x="1688" y="280"/>
                  <a:pt x="1688" y="280"/>
                </a:cubicBezTo>
                <a:cubicBezTo>
                  <a:pt x="1687" y="280"/>
                  <a:pt x="1687" y="280"/>
                  <a:pt x="1687" y="280"/>
                </a:cubicBezTo>
                <a:cubicBezTo>
                  <a:pt x="1687" y="279"/>
                  <a:pt x="1687" y="279"/>
                  <a:pt x="1687" y="279"/>
                </a:cubicBezTo>
                <a:cubicBezTo>
                  <a:pt x="1686" y="278"/>
                  <a:pt x="1686" y="278"/>
                  <a:pt x="1686" y="278"/>
                </a:cubicBezTo>
                <a:cubicBezTo>
                  <a:pt x="1684" y="279"/>
                  <a:pt x="1684" y="279"/>
                  <a:pt x="1684" y="279"/>
                </a:cubicBezTo>
                <a:cubicBezTo>
                  <a:pt x="1685" y="281"/>
                  <a:pt x="1685" y="281"/>
                  <a:pt x="1685" y="281"/>
                </a:cubicBezTo>
                <a:cubicBezTo>
                  <a:pt x="1684" y="282"/>
                  <a:pt x="1684" y="282"/>
                  <a:pt x="1684" y="282"/>
                </a:cubicBezTo>
                <a:cubicBezTo>
                  <a:pt x="1685" y="284"/>
                  <a:pt x="1685" y="284"/>
                  <a:pt x="1685" y="284"/>
                </a:cubicBezTo>
                <a:cubicBezTo>
                  <a:pt x="1684" y="285"/>
                  <a:pt x="1684" y="285"/>
                  <a:pt x="1684" y="285"/>
                </a:cubicBezTo>
                <a:cubicBezTo>
                  <a:pt x="1683" y="286"/>
                  <a:pt x="1683" y="286"/>
                  <a:pt x="1683" y="286"/>
                </a:cubicBezTo>
                <a:cubicBezTo>
                  <a:pt x="1682" y="287"/>
                  <a:pt x="1682" y="287"/>
                  <a:pt x="1682" y="287"/>
                </a:cubicBezTo>
                <a:cubicBezTo>
                  <a:pt x="1683" y="289"/>
                  <a:pt x="1683" y="289"/>
                  <a:pt x="1683" y="289"/>
                </a:cubicBezTo>
                <a:cubicBezTo>
                  <a:pt x="1683" y="290"/>
                  <a:pt x="1683" y="290"/>
                  <a:pt x="1683" y="290"/>
                </a:cubicBezTo>
                <a:cubicBezTo>
                  <a:pt x="1683" y="292"/>
                  <a:pt x="1683" y="292"/>
                  <a:pt x="1683" y="292"/>
                </a:cubicBezTo>
                <a:cubicBezTo>
                  <a:pt x="1683" y="293"/>
                  <a:pt x="1683" y="293"/>
                  <a:pt x="1683" y="293"/>
                </a:cubicBezTo>
                <a:cubicBezTo>
                  <a:pt x="1684" y="293"/>
                  <a:pt x="1684" y="293"/>
                  <a:pt x="1684" y="293"/>
                </a:cubicBezTo>
                <a:cubicBezTo>
                  <a:pt x="1685" y="294"/>
                  <a:pt x="1685" y="294"/>
                  <a:pt x="1685" y="294"/>
                </a:cubicBezTo>
                <a:cubicBezTo>
                  <a:pt x="1685" y="296"/>
                  <a:pt x="1685" y="296"/>
                  <a:pt x="1685" y="296"/>
                </a:cubicBezTo>
                <a:cubicBezTo>
                  <a:pt x="1684" y="297"/>
                  <a:pt x="1684" y="297"/>
                  <a:pt x="1684" y="297"/>
                </a:cubicBezTo>
                <a:cubicBezTo>
                  <a:pt x="1685" y="299"/>
                  <a:pt x="1685" y="299"/>
                  <a:pt x="1685" y="299"/>
                </a:cubicBezTo>
                <a:cubicBezTo>
                  <a:pt x="1685" y="300"/>
                  <a:pt x="1685" y="300"/>
                  <a:pt x="1685" y="300"/>
                </a:cubicBezTo>
                <a:cubicBezTo>
                  <a:pt x="1687" y="303"/>
                  <a:pt x="1687" y="303"/>
                  <a:pt x="1687" y="303"/>
                </a:cubicBezTo>
                <a:cubicBezTo>
                  <a:pt x="1688" y="304"/>
                  <a:pt x="1688" y="304"/>
                  <a:pt x="1688" y="304"/>
                </a:cubicBezTo>
                <a:cubicBezTo>
                  <a:pt x="1687" y="305"/>
                  <a:pt x="1687" y="305"/>
                  <a:pt x="1687" y="305"/>
                </a:cubicBezTo>
                <a:cubicBezTo>
                  <a:pt x="1688" y="307"/>
                  <a:pt x="1688" y="307"/>
                  <a:pt x="1688" y="307"/>
                </a:cubicBezTo>
                <a:cubicBezTo>
                  <a:pt x="1687" y="308"/>
                  <a:pt x="1687" y="308"/>
                  <a:pt x="1687" y="308"/>
                </a:cubicBezTo>
                <a:cubicBezTo>
                  <a:pt x="1687" y="311"/>
                  <a:pt x="1687" y="311"/>
                  <a:pt x="1687" y="311"/>
                </a:cubicBezTo>
                <a:cubicBezTo>
                  <a:pt x="1687" y="312"/>
                  <a:pt x="1687" y="312"/>
                  <a:pt x="1687" y="312"/>
                </a:cubicBezTo>
                <a:cubicBezTo>
                  <a:pt x="1687" y="316"/>
                  <a:pt x="1687" y="316"/>
                  <a:pt x="1687" y="316"/>
                </a:cubicBezTo>
                <a:cubicBezTo>
                  <a:pt x="1688" y="318"/>
                  <a:pt x="1688" y="318"/>
                  <a:pt x="1688" y="318"/>
                </a:cubicBezTo>
                <a:cubicBezTo>
                  <a:pt x="1687" y="320"/>
                  <a:pt x="1687" y="320"/>
                  <a:pt x="1687" y="320"/>
                </a:cubicBezTo>
                <a:cubicBezTo>
                  <a:pt x="1687" y="322"/>
                  <a:pt x="1687" y="322"/>
                  <a:pt x="1687" y="322"/>
                </a:cubicBezTo>
                <a:cubicBezTo>
                  <a:pt x="1687" y="323"/>
                  <a:pt x="1687" y="323"/>
                  <a:pt x="1687" y="323"/>
                </a:cubicBezTo>
                <a:cubicBezTo>
                  <a:pt x="1690" y="322"/>
                  <a:pt x="1690" y="322"/>
                  <a:pt x="1690" y="322"/>
                </a:cubicBezTo>
                <a:cubicBezTo>
                  <a:pt x="1691" y="322"/>
                  <a:pt x="1691" y="322"/>
                  <a:pt x="1691" y="322"/>
                </a:cubicBezTo>
                <a:cubicBezTo>
                  <a:pt x="1692" y="321"/>
                  <a:pt x="1692" y="321"/>
                  <a:pt x="1692" y="321"/>
                </a:cubicBezTo>
                <a:cubicBezTo>
                  <a:pt x="1694" y="324"/>
                  <a:pt x="1694" y="324"/>
                  <a:pt x="1694" y="324"/>
                </a:cubicBezTo>
                <a:cubicBezTo>
                  <a:pt x="1695" y="323"/>
                  <a:pt x="1695" y="323"/>
                  <a:pt x="1695" y="323"/>
                </a:cubicBezTo>
                <a:cubicBezTo>
                  <a:pt x="1697" y="325"/>
                  <a:pt x="1697" y="325"/>
                  <a:pt x="1697" y="325"/>
                </a:cubicBezTo>
                <a:cubicBezTo>
                  <a:pt x="1700" y="324"/>
                  <a:pt x="1700" y="324"/>
                  <a:pt x="1700" y="324"/>
                </a:cubicBezTo>
                <a:cubicBezTo>
                  <a:pt x="1700" y="325"/>
                  <a:pt x="1700" y="325"/>
                  <a:pt x="1700" y="325"/>
                </a:cubicBezTo>
                <a:cubicBezTo>
                  <a:pt x="1700" y="326"/>
                  <a:pt x="1700" y="326"/>
                  <a:pt x="1700" y="326"/>
                </a:cubicBezTo>
                <a:cubicBezTo>
                  <a:pt x="1701" y="326"/>
                  <a:pt x="1701" y="326"/>
                  <a:pt x="1701" y="326"/>
                </a:cubicBezTo>
                <a:cubicBezTo>
                  <a:pt x="1703" y="324"/>
                  <a:pt x="1703" y="324"/>
                  <a:pt x="1703" y="324"/>
                </a:cubicBezTo>
                <a:cubicBezTo>
                  <a:pt x="1703" y="326"/>
                  <a:pt x="1703" y="326"/>
                  <a:pt x="1703" y="326"/>
                </a:cubicBezTo>
                <a:cubicBezTo>
                  <a:pt x="1702" y="327"/>
                  <a:pt x="1702" y="327"/>
                  <a:pt x="1702" y="327"/>
                </a:cubicBezTo>
                <a:cubicBezTo>
                  <a:pt x="1704" y="331"/>
                  <a:pt x="1704" y="331"/>
                  <a:pt x="1704" y="331"/>
                </a:cubicBezTo>
                <a:cubicBezTo>
                  <a:pt x="1705" y="332"/>
                  <a:pt x="1705" y="332"/>
                  <a:pt x="1705" y="332"/>
                </a:cubicBezTo>
                <a:cubicBezTo>
                  <a:pt x="1704" y="334"/>
                  <a:pt x="1704" y="334"/>
                  <a:pt x="1704" y="334"/>
                </a:cubicBezTo>
                <a:cubicBezTo>
                  <a:pt x="1705" y="335"/>
                  <a:pt x="1705" y="335"/>
                  <a:pt x="1705" y="335"/>
                </a:cubicBezTo>
                <a:cubicBezTo>
                  <a:pt x="1706" y="332"/>
                  <a:pt x="1706" y="332"/>
                  <a:pt x="1706" y="332"/>
                </a:cubicBezTo>
                <a:cubicBezTo>
                  <a:pt x="1707" y="331"/>
                  <a:pt x="1707" y="331"/>
                  <a:pt x="1707" y="331"/>
                </a:cubicBezTo>
                <a:cubicBezTo>
                  <a:pt x="1707" y="332"/>
                  <a:pt x="1707" y="332"/>
                  <a:pt x="1707" y="332"/>
                </a:cubicBezTo>
                <a:cubicBezTo>
                  <a:pt x="1709" y="332"/>
                  <a:pt x="1709" y="332"/>
                  <a:pt x="1709" y="332"/>
                </a:cubicBezTo>
                <a:cubicBezTo>
                  <a:pt x="1711" y="332"/>
                  <a:pt x="1711" y="332"/>
                  <a:pt x="1711" y="332"/>
                </a:cubicBezTo>
                <a:cubicBezTo>
                  <a:pt x="1714" y="329"/>
                  <a:pt x="1714" y="329"/>
                  <a:pt x="1714" y="329"/>
                </a:cubicBezTo>
                <a:cubicBezTo>
                  <a:pt x="1716" y="329"/>
                  <a:pt x="1716" y="329"/>
                  <a:pt x="1716" y="329"/>
                </a:cubicBezTo>
                <a:cubicBezTo>
                  <a:pt x="1720" y="327"/>
                  <a:pt x="1720" y="327"/>
                  <a:pt x="1720" y="327"/>
                </a:cubicBezTo>
                <a:cubicBezTo>
                  <a:pt x="1720" y="326"/>
                  <a:pt x="1720" y="326"/>
                  <a:pt x="1720" y="326"/>
                </a:cubicBezTo>
                <a:cubicBezTo>
                  <a:pt x="1723" y="326"/>
                  <a:pt x="1723" y="326"/>
                  <a:pt x="1723" y="326"/>
                </a:cubicBezTo>
                <a:cubicBezTo>
                  <a:pt x="1724" y="326"/>
                  <a:pt x="1724" y="326"/>
                  <a:pt x="1724" y="326"/>
                </a:cubicBezTo>
                <a:cubicBezTo>
                  <a:pt x="1726" y="324"/>
                  <a:pt x="1726" y="324"/>
                  <a:pt x="1726" y="324"/>
                </a:cubicBezTo>
                <a:cubicBezTo>
                  <a:pt x="1726" y="324"/>
                  <a:pt x="1726" y="324"/>
                  <a:pt x="1726" y="324"/>
                </a:cubicBezTo>
                <a:cubicBezTo>
                  <a:pt x="1726" y="326"/>
                  <a:pt x="1726" y="326"/>
                  <a:pt x="1726" y="326"/>
                </a:cubicBezTo>
                <a:cubicBezTo>
                  <a:pt x="1727" y="327"/>
                  <a:pt x="1727" y="327"/>
                  <a:pt x="1727" y="327"/>
                </a:cubicBezTo>
                <a:cubicBezTo>
                  <a:pt x="1728" y="324"/>
                  <a:pt x="1728" y="324"/>
                  <a:pt x="1728" y="324"/>
                </a:cubicBezTo>
                <a:cubicBezTo>
                  <a:pt x="1729" y="324"/>
                  <a:pt x="1729" y="324"/>
                  <a:pt x="1729" y="324"/>
                </a:cubicBezTo>
                <a:cubicBezTo>
                  <a:pt x="1728" y="322"/>
                  <a:pt x="1728" y="322"/>
                  <a:pt x="1728" y="322"/>
                </a:cubicBezTo>
                <a:cubicBezTo>
                  <a:pt x="1729" y="321"/>
                  <a:pt x="1729" y="321"/>
                  <a:pt x="1729" y="321"/>
                </a:cubicBezTo>
                <a:cubicBezTo>
                  <a:pt x="1730" y="323"/>
                  <a:pt x="1730" y="323"/>
                  <a:pt x="1730" y="323"/>
                </a:cubicBezTo>
                <a:cubicBezTo>
                  <a:pt x="1731" y="324"/>
                  <a:pt x="1731" y="324"/>
                  <a:pt x="1731" y="324"/>
                </a:cubicBezTo>
                <a:cubicBezTo>
                  <a:pt x="1731" y="322"/>
                  <a:pt x="1731" y="322"/>
                  <a:pt x="1731" y="322"/>
                </a:cubicBezTo>
                <a:cubicBezTo>
                  <a:pt x="1732" y="324"/>
                  <a:pt x="1732" y="324"/>
                  <a:pt x="1732" y="324"/>
                </a:cubicBezTo>
                <a:cubicBezTo>
                  <a:pt x="1733" y="324"/>
                  <a:pt x="1733" y="324"/>
                  <a:pt x="1733" y="324"/>
                </a:cubicBezTo>
                <a:cubicBezTo>
                  <a:pt x="1734" y="323"/>
                  <a:pt x="1734" y="323"/>
                  <a:pt x="1734" y="323"/>
                </a:cubicBezTo>
                <a:cubicBezTo>
                  <a:pt x="1735" y="323"/>
                  <a:pt x="1735" y="323"/>
                  <a:pt x="1735" y="323"/>
                </a:cubicBezTo>
                <a:cubicBezTo>
                  <a:pt x="1735" y="324"/>
                  <a:pt x="1735" y="324"/>
                  <a:pt x="1735" y="324"/>
                </a:cubicBezTo>
                <a:cubicBezTo>
                  <a:pt x="1737" y="323"/>
                  <a:pt x="1737" y="323"/>
                  <a:pt x="1737" y="323"/>
                </a:cubicBezTo>
                <a:cubicBezTo>
                  <a:pt x="1739" y="322"/>
                  <a:pt x="1739" y="322"/>
                  <a:pt x="1739" y="322"/>
                </a:cubicBezTo>
                <a:cubicBezTo>
                  <a:pt x="1741" y="323"/>
                  <a:pt x="1741" y="323"/>
                  <a:pt x="1741" y="323"/>
                </a:cubicBezTo>
                <a:cubicBezTo>
                  <a:pt x="1744" y="323"/>
                  <a:pt x="1744" y="323"/>
                  <a:pt x="1744" y="323"/>
                </a:cubicBezTo>
                <a:cubicBezTo>
                  <a:pt x="1744" y="322"/>
                  <a:pt x="1744" y="322"/>
                  <a:pt x="1744" y="322"/>
                </a:cubicBezTo>
                <a:cubicBezTo>
                  <a:pt x="1743" y="321"/>
                  <a:pt x="1743" y="321"/>
                  <a:pt x="1743" y="321"/>
                </a:cubicBezTo>
                <a:cubicBezTo>
                  <a:pt x="1744" y="321"/>
                  <a:pt x="1744" y="321"/>
                  <a:pt x="1744" y="321"/>
                </a:cubicBezTo>
                <a:cubicBezTo>
                  <a:pt x="1745" y="321"/>
                  <a:pt x="1745" y="321"/>
                  <a:pt x="1745" y="321"/>
                </a:cubicBezTo>
                <a:cubicBezTo>
                  <a:pt x="1746" y="322"/>
                  <a:pt x="1746" y="322"/>
                  <a:pt x="1746" y="322"/>
                </a:cubicBezTo>
                <a:cubicBezTo>
                  <a:pt x="1748" y="323"/>
                  <a:pt x="1748" y="323"/>
                  <a:pt x="1748" y="323"/>
                </a:cubicBezTo>
                <a:cubicBezTo>
                  <a:pt x="1748" y="323"/>
                  <a:pt x="1748" y="322"/>
                  <a:pt x="1749" y="321"/>
                </a:cubicBezTo>
                <a:cubicBezTo>
                  <a:pt x="1748" y="318"/>
                  <a:pt x="1748" y="318"/>
                  <a:pt x="1748" y="318"/>
                </a:cubicBezTo>
                <a:cubicBezTo>
                  <a:pt x="1749" y="321"/>
                  <a:pt x="1749" y="321"/>
                  <a:pt x="1749" y="321"/>
                </a:cubicBezTo>
                <a:cubicBezTo>
                  <a:pt x="1749" y="321"/>
                  <a:pt x="1749" y="321"/>
                  <a:pt x="1749" y="321"/>
                </a:cubicBezTo>
                <a:cubicBezTo>
                  <a:pt x="1749" y="321"/>
                  <a:pt x="1749" y="320"/>
                  <a:pt x="1749" y="320"/>
                </a:cubicBezTo>
                <a:cubicBezTo>
                  <a:pt x="1749" y="320"/>
                  <a:pt x="1752" y="319"/>
                  <a:pt x="1752" y="319"/>
                </a:cubicBezTo>
                <a:cubicBezTo>
                  <a:pt x="1754" y="318"/>
                  <a:pt x="1754" y="318"/>
                  <a:pt x="1754" y="318"/>
                </a:cubicBezTo>
                <a:cubicBezTo>
                  <a:pt x="1753" y="320"/>
                  <a:pt x="1753" y="320"/>
                  <a:pt x="1753" y="320"/>
                </a:cubicBezTo>
                <a:cubicBezTo>
                  <a:pt x="1753" y="321"/>
                  <a:pt x="1753" y="321"/>
                  <a:pt x="1753" y="321"/>
                </a:cubicBezTo>
                <a:cubicBezTo>
                  <a:pt x="1753" y="323"/>
                  <a:pt x="1753" y="323"/>
                  <a:pt x="1753" y="323"/>
                </a:cubicBezTo>
                <a:cubicBezTo>
                  <a:pt x="1751" y="321"/>
                  <a:pt x="1751" y="321"/>
                  <a:pt x="1751" y="321"/>
                </a:cubicBezTo>
                <a:cubicBezTo>
                  <a:pt x="1751" y="322"/>
                  <a:pt x="1751" y="322"/>
                  <a:pt x="1751" y="322"/>
                </a:cubicBezTo>
                <a:cubicBezTo>
                  <a:pt x="1753" y="325"/>
                  <a:pt x="1753" y="325"/>
                  <a:pt x="1753" y="325"/>
                </a:cubicBezTo>
                <a:cubicBezTo>
                  <a:pt x="1755" y="325"/>
                  <a:pt x="1755" y="325"/>
                  <a:pt x="1755" y="325"/>
                </a:cubicBezTo>
                <a:cubicBezTo>
                  <a:pt x="1757" y="327"/>
                  <a:pt x="1757" y="327"/>
                  <a:pt x="1757" y="327"/>
                </a:cubicBezTo>
                <a:cubicBezTo>
                  <a:pt x="1759" y="327"/>
                  <a:pt x="1759" y="327"/>
                  <a:pt x="1759" y="327"/>
                </a:cubicBezTo>
                <a:cubicBezTo>
                  <a:pt x="1760" y="327"/>
                  <a:pt x="1760" y="327"/>
                  <a:pt x="1760" y="327"/>
                </a:cubicBezTo>
                <a:cubicBezTo>
                  <a:pt x="1762" y="327"/>
                  <a:pt x="1762" y="327"/>
                  <a:pt x="1762" y="327"/>
                </a:cubicBezTo>
                <a:cubicBezTo>
                  <a:pt x="1763" y="329"/>
                  <a:pt x="1763" y="329"/>
                  <a:pt x="1763" y="329"/>
                </a:cubicBezTo>
                <a:cubicBezTo>
                  <a:pt x="1762" y="331"/>
                  <a:pt x="1762" y="331"/>
                  <a:pt x="1762" y="331"/>
                </a:cubicBezTo>
                <a:cubicBezTo>
                  <a:pt x="1759" y="330"/>
                  <a:pt x="1759" y="330"/>
                  <a:pt x="1759" y="330"/>
                </a:cubicBezTo>
                <a:cubicBezTo>
                  <a:pt x="1758" y="330"/>
                  <a:pt x="1758" y="330"/>
                  <a:pt x="1758" y="330"/>
                </a:cubicBezTo>
                <a:cubicBezTo>
                  <a:pt x="1757" y="332"/>
                  <a:pt x="1757" y="332"/>
                  <a:pt x="1757" y="332"/>
                </a:cubicBezTo>
                <a:cubicBezTo>
                  <a:pt x="1755" y="334"/>
                  <a:pt x="1755" y="334"/>
                  <a:pt x="1755" y="334"/>
                </a:cubicBezTo>
                <a:cubicBezTo>
                  <a:pt x="1753" y="332"/>
                  <a:pt x="1753" y="332"/>
                  <a:pt x="1753" y="332"/>
                </a:cubicBezTo>
                <a:cubicBezTo>
                  <a:pt x="1752" y="333"/>
                  <a:pt x="1752" y="333"/>
                  <a:pt x="1752" y="333"/>
                </a:cubicBezTo>
                <a:cubicBezTo>
                  <a:pt x="1752" y="335"/>
                  <a:pt x="1752" y="335"/>
                  <a:pt x="1752" y="335"/>
                </a:cubicBezTo>
                <a:cubicBezTo>
                  <a:pt x="1750" y="336"/>
                  <a:pt x="1750" y="336"/>
                  <a:pt x="1750" y="336"/>
                </a:cubicBezTo>
                <a:cubicBezTo>
                  <a:pt x="1749" y="334"/>
                  <a:pt x="1749" y="334"/>
                  <a:pt x="1749" y="334"/>
                </a:cubicBezTo>
                <a:cubicBezTo>
                  <a:pt x="1748" y="335"/>
                  <a:pt x="1748" y="335"/>
                  <a:pt x="1748" y="335"/>
                </a:cubicBezTo>
                <a:cubicBezTo>
                  <a:pt x="1748" y="336"/>
                  <a:pt x="1748" y="336"/>
                  <a:pt x="1748" y="336"/>
                </a:cubicBezTo>
                <a:cubicBezTo>
                  <a:pt x="1749" y="337"/>
                  <a:pt x="1749" y="337"/>
                  <a:pt x="1749" y="337"/>
                </a:cubicBezTo>
                <a:cubicBezTo>
                  <a:pt x="1749" y="339"/>
                  <a:pt x="1749" y="339"/>
                  <a:pt x="1749" y="339"/>
                </a:cubicBezTo>
                <a:cubicBezTo>
                  <a:pt x="1749" y="340"/>
                  <a:pt x="1749" y="340"/>
                  <a:pt x="1749" y="340"/>
                </a:cubicBezTo>
                <a:cubicBezTo>
                  <a:pt x="1750" y="341"/>
                  <a:pt x="1750" y="341"/>
                  <a:pt x="1750" y="341"/>
                </a:cubicBezTo>
                <a:cubicBezTo>
                  <a:pt x="1749" y="340"/>
                  <a:pt x="1749" y="340"/>
                  <a:pt x="1749" y="340"/>
                </a:cubicBezTo>
                <a:cubicBezTo>
                  <a:pt x="1748" y="341"/>
                  <a:pt x="1748" y="341"/>
                  <a:pt x="1748" y="341"/>
                </a:cubicBezTo>
                <a:cubicBezTo>
                  <a:pt x="1740" y="340"/>
                  <a:pt x="1740" y="340"/>
                  <a:pt x="1740" y="340"/>
                </a:cubicBezTo>
                <a:cubicBezTo>
                  <a:pt x="1737" y="338"/>
                  <a:pt x="1737" y="338"/>
                  <a:pt x="1737" y="338"/>
                </a:cubicBezTo>
                <a:cubicBezTo>
                  <a:pt x="1733" y="338"/>
                  <a:pt x="1733" y="338"/>
                  <a:pt x="1733" y="338"/>
                </a:cubicBezTo>
                <a:cubicBezTo>
                  <a:pt x="1731" y="337"/>
                  <a:pt x="1731" y="337"/>
                  <a:pt x="1731" y="337"/>
                </a:cubicBezTo>
                <a:cubicBezTo>
                  <a:pt x="1729" y="338"/>
                  <a:pt x="1729" y="338"/>
                  <a:pt x="1729" y="338"/>
                </a:cubicBezTo>
                <a:cubicBezTo>
                  <a:pt x="1727" y="336"/>
                  <a:pt x="1727" y="336"/>
                  <a:pt x="1727" y="336"/>
                </a:cubicBezTo>
                <a:cubicBezTo>
                  <a:pt x="1727" y="337"/>
                  <a:pt x="1727" y="337"/>
                  <a:pt x="1727" y="337"/>
                </a:cubicBezTo>
                <a:cubicBezTo>
                  <a:pt x="1726" y="337"/>
                  <a:pt x="1726" y="337"/>
                  <a:pt x="1726" y="337"/>
                </a:cubicBezTo>
                <a:cubicBezTo>
                  <a:pt x="1726" y="338"/>
                  <a:pt x="1726" y="338"/>
                  <a:pt x="1726" y="338"/>
                </a:cubicBezTo>
                <a:cubicBezTo>
                  <a:pt x="1727" y="339"/>
                  <a:pt x="1727" y="339"/>
                  <a:pt x="1727" y="339"/>
                </a:cubicBezTo>
                <a:cubicBezTo>
                  <a:pt x="1725" y="340"/>
                  <a:pt x="1725" y="340"/>
                  <a:pt x="1725" y="340"/>
                </a:cubicBezTo>
                <a:cubicBezTo>
                  <a:pt x="1724" y="339"/>
                  <a:pt x="1724" y="339"/>
                  <a:pt x="1724" y="339"/>
                </a:cubicBezTo>
                <a:cubicBezTo>
                  <a:pt x="1720" y="339"/>
                  <a:pt x="1720" y="339"/>
                  <a:pt x="1720" y="339"/>
                </a:cubicBezTo>
                <a:cubicBezTo>
                  <a:pt x="1720" y="338"/>
                  <a:pt x="1720" y="338"/>
                  <a:pt x="1720" y="338"/>
                </a:cubicBezTo>
                <a:cubicBezTo>
                  <a:pt x="1719" y="340"/>
                  <a:pt x="1719" y="340"/>
                  <a:pt x="1719" y="340"/>
                </a:cubicBezTo>
                <a:cubicBezTo>
                  <a:pt x="1717" y="340"/>
                  <a:pt x="1717" y="340"/>
                  <a:pt x="1717" y="340"/>
                </a:cubicBezTo>
                <a:cubicBezTo>
                  <a:pt x="1715" y="341"/>
                  <a:pt x="1715" y="341"/>
                  <a:pt x="1715" y="341"/>
                </a:cubicBezTo>
                <a:cubicBezTo>
                  <a:pt x="1715" y="342"/>
                  <a:pt x="1715" y="342"/>
                  <a:pt x="1715" y="342"/>
                </a:cubicBezTo>
                <a:cubicBezTo>
                  <a:pt x="1714" y="342"/>
                  <a:pt x="1714" y="342"/>
                  <a:pt x="1714" y="342"/>
                </a:cubicBezTo>
                <a:cubicBezTo>
                  <a:pt x="1711" y="343"/>
                  <a:pt x="1711" y="343"/>
                  <a:pt x="1711" y="343"/>
                </a:cubicBezTo>
                <a:cubicBezTo>
                  <a:pt x="1709" y="345"/>
                  <a:pt x="1709" y="345"/>
                  <a:pt x="1709" y="345"/>
                </a:cubicBezTo>
                <a:cubicBezTo>
                  <a:pt x="1710" y="352"/>
                  <a:pt x="1710" y="352"/>
                  <a:pt x="1710" y="352"/>
                </a:cubicBezTo>
                <a:cubicBezTo>
                  <a:pt x="1711" y="352"/>
                  <a:pt x="1711" y="352"/>
                  <a:pt x="1711" y="352"/>
                </a:cubicBezTo>
                <a:cubicBezTo>
                  <a:pt x="1712" y="351"/>
                  <a:pt x="1712" y="351"/>
                  <a:pt x="1712" y="351"/>
                </a:cubicBezTo>
                <a:cubicBezTo>
                  <a:pt x="1713" y="352"/>
                  <a:pt x="1713" y="352"/>
                  <a:pt x="1713" y="352"/>
                </a:cubicBezTo>
                <a:cubicBezTo>
                  <a:pt x="1712" y="353"/>
                  <a:pt x="1712" y="353"/>
                  <a:pt x="1712" y="353"/>
                </a:cubicBezTo>
                <a:cubicBezTo>
                  <a:pt x="1711" y="353"/>
                  <a:pt x="1711" y="353"/>
                  <a:pt x="1711" y="353"/>
                </a:cubicBezTo>
                <a:cubicBezTo>
                  <a:pt x="1711" y="356"/>
                  <a:pt x="1711" y="356"/>
                  <a:pt x="1711" y="356"/>
                </a:cubicBezTo>
                <a:cubicBezTo>
                  <a:pt x="1713" y="358"/>
                  <a:pt x="1713" y="358"/>
                  <a:pt x="1713" y="358"/>
                </a:cubicBezTo>
                <a:cubicBezTo>
                  <a:pt x="1716" y="361"/>
                  <a:pt x="1716" y="361"/>
                  <a:pt x="1716" y="361"/>
                </a:cubicBezTo>
                <a:cubicBezTo>
                  <a:pt x="1717" y="361"/>
                  <a:pt x="1717" y="361"/>
                  <a:pt x="1717" y="361"/>
                </a:cubicBezTo>
                <a:cubicBezTo>
                  <a:pt x="1717" y="359"/>
                  <a:pt x="1717" y="359"/>
                  <a:pt x="1717" y="359"/>
                </a:cubicBezTo>
                <a:cubicBezTo>
                  <a:pt x="1719" y="357"/>
                  <a:pt x="1719" y="357"/>
                  <a:pt x="1719" y="357"/>
                </a:cubicBezTo>
                <a:cubicBezTo>
                  <a:pt x="1720" y="359"/>
                  <a:pt x="1720" y="359"/>
                  <a:pt x="1720" y="359"/>
                </a:cubicBezTo>
                <a:cubicBezTo>
                  <a:pt x="1719" y="364"/>
                  <a:pt x="1719" y="364"/>
                  <a:pt x="1719" y="364"/>
                </a:cubicBezTo>
                <a:cubicBezTo>
                  <a:pt x="1719" y="368"/>
                  <a:pt x="1719" y="368"/>
                  <a:pt x="1719" y="368"/>
                </a:cubicBezTo>
                <a:cubicBezTo>
                  <a:pt x="1719" y="372"/>
                  <a:pt x="1719" y="372"/>
                  <a:pt x="1719" y="372"/>
                </a:cubicBezTo>
                <a:cubicBezTo>
                  <a:pt x="1718" y="376"/>
                  <a:pt x="1718" y="376"/>
                  <a:pt x="1718" y="376"/>
                </a:cubicBezTo>
                <a:cubicBezTo>
                  <a:pt x="1715" y="379"/>
                  <a:pt x="1715" y="379"/>
                  <a:pt x="1715" y="379"/>
                </a:cubicBezTo>
                <a:cubicBezTo>
                  <a:pt x="1713" y="379"/>
                  <a:pt x="1713" y="379"/>
                  <a:pt x="1713" y="379"/>
                </a:cubicBezTo>
                <a:cubicBezTo>
                  <a:pt x="1710" y="377"/>
                  <a:pt x="1710" y="377"/>
                  <a:pt x="1710" y="377"/>
                </a:cubicBezTo>
                <a:cubicBezTo>
                  <a:pt x="1710" y="375"/>
                  <a:pt x="1710" y="375"/>
                  <a:pt x="1710" y="375"/>
                </a:cubicBezTo>
                <a:cubicBezTo>
                  <a:pt x="1705" y="370"/>
                  <a:pt x="1705" y="370"/>
                  <a:pt x="1705" y="370"/>
                </a:cubicBezTo>
                <a:cubicBezTo>
                  <a:pt x="1705" y="367"/>
                  <a:pt x="1705" y="367"/>
                  <a:pt x="1705" y="367"/>
                </a:cubicBezTo>
                <a:cubicBezTo>
                  <a:pt x="1704" y="367"/>
                  <a:pt x="1704" y="367"/>
                  <a:pt x="1704" y="367"/>
                </a:cubicBezTo>
                <a:cubicBezTo>
                  <a:pt x="1703" y="369"/>
                  <a:pt x="1703" y="369"/>
                  <a:pt x="1703" y="369"/>
                </a:cubicBezTo>
                <a:cubicBezTo>
                  <a:pt x="1700" y="370"/>
                  <a:pt x="1700" y="370"/>
                  <a:pt x="1700" y="370"/>
                </a:cubicBezTo>
                <a:cubicBezTo>
                  <a:pt x="1699" y="371"/>
                  <a:pt x="1699" y="371"/>
                  <a:pt x="1699" y="371"/>
                </a:cubicBezTo>
                <a:cubicBezTo>
                  <a:pt x="1697" y="371"/>
                  <a:pt x="1697" y="371"/>
                  <a:pt x="1697" y="371"/>
                </a:cubicBezTo>
                <a:cubicBezTo>
                  <a:pt x="1695" y="373"/>
                  <a:pt x="1695" y="373"/>
                  <a:pt x="1695" y="373"/>
                </a:cubicBezTo>
                <a:cubicBezTo>
                  <a:pt x="1695" y="375"/>
                  <a:pt x="1695" y="375"/>
                  <a:pt x="1695" y="375"/>
                </a:cubicBezTo>
                <a:cubicBezTo>
                  <a:pt x="1694" y="375"/>
                  <a:pt x="1694" y="375"/>
                  <a:pt x="1694" y="375"/>
                </a:cubicBezTo>
                <a:cubicBezTo>
                  <a:pt x="1695" y="378"/>
                  <a:pt x="1695" y="378"/>
                  <a:pt x="1695" y="378"/>
                </a:cubicBezTo>
                <a:cubicBezTo>
                  <a:pt x="1692" y="381"/>
                  <a:pt x="1692" y="381"/>
                  <a:pt x="1692" y="381"/>
                </a:cubicBezTo>
                <a:cubicBezTo>
                  <a:pt x="1692" y="383"/>
                  <a:pt x="1692" y="383"/>
                  <a:pt x="1692" y="383"/>
                </a:cubicBezTo>
                <a:cubicBezTo>
                  <a:pt x="1692" y="385"/>
                  <a:pt x="1692" y="385"/>
                  <a:pt x="1692" y="385"/>
                </a:cubicBezTo>
                <a:cubicBezTo>
                  <a:pt x="1690" y="387"/>
                  <a:pt x="1690" y="387"/>
                  <a:pt x="1690" y="387"/>
                </a:cubicBezTo>
                <a:cubicBezTo>
                  <a:pt x="1691" y="392"/>
                  <a:pt x="1691" y="392"/>
                  <a:pt x="1691" y="392"/>
                </a:cubicBezTo>
                <a:cubicBezTo>
                  <a:pt x="1693" y="393"/>
                  <a:pt x="1693" y="393"/>
                  <a:pt x="1693" y="393"/>
                </a:cubicBezTo>
                <a:cubicBezTo>
                  <a:pt x="1693" y="393"/>
                  <a:pt x="1693" y="393"/>
                  <a:pt x="1693" y="393"/>
                </a:cubicBezTo>
                <a:cubicBezTo>
                  <a:pt x="1693" y="396"/>
                  <a:pt x="1693" y="396"/>
                  <a:pt x="1693" y="396"/>
                </a:cubicBezTo>
                <a:cubicBezTo>
                  <a:pt x="1694" y="399"/>
                  <a:pt x="1694" y="399"/>
                  <a:pt x="1694" y="399"/>
                </a:cubicBezTo>
                <a:cubicBezTo>
                  <a:pt x="1693" y="400"/>
                  <a:pt x="1693" y="400"/>
                  <a:pt x="1693" y="400"/>
                </a:cubicBezTo>
                <a:cubicBezTo>
                  <a:pt x="1693" y="400"/>
                  <a:pt x="1693" y="400"/>
                  <a:pt x="1693" y="400"/>
                </a:cubicBezTo>
                <a:cubicBezTo>
                  <a:pt x="1697" y="400"/>
                  <a:pt x="1697" y="400"/>
                  <a:pt x="1697" y="400"/>
                </a:cubicBezTo>
                <a:cubicBezTo>
                  <a:pt x="1699" y="403"/>
                  <a:pt x="1699" y="403"/>
                  <a:pt x="1699" y="403"/>
                </a:cubicBezTo>
                <a:cubicBezTo>
                  <a:pt x="1702" y="405"/>
                  <a:pt x="1702" y="405"/>
                  <a:pt x="1702" y="405"/>
                </a:cubicBezTo>
                <a:cubicBezTo>
                  <a:pt x="1706" y="404"/>
                  <a:pt x="1706" y="404"/>
                  <a:pt x="1706" y="404"/>
                </a:cubicBezTo>
                <a:cubicBezTo>
                  <a:pt x="1707" y="405"/>
                  <a:pt x="1707" y="405"/>
                  <a:pt x="1707" y="405"/>
                </a:cubicBezTo>
                <a:cubicBezTo>
                  <a:pt x="1708" y="407"/>
                  <a:pt x="1708" y="407"/>
                  <a:pt x="1708" y="407"/>
                </a:cubicBezTo>
                <a:cubicBezTo>
                  <a:pt x="1709" y="407"/>
                  <a:pt x="1709" y="407"/>
                  <a:pt x="1709" y="407"/>
                </a:cubicBezTo>
                <a:cubicBezTo>
                  <a:pt x="1710" y="408"/>
                  <a:pt x="1710" y="408"/>
                  <a:pt x="1710" y="408"/>
                </a:cubicBezTo>
                <a:cubicBezTo>
                  <a:pt x="1709" y="410"/>
                  <a:pt x="1709" y="410"/>
                  <a:pt x="1709" y="410"/>
                </a:cubicBezTo>
                <a:cubicBezTo>
                  <a:pt x="1709" y="413"/>
                  <a:pt x="1709" y="413"/>
                  <a:pt x="1709" y="413"/>
                </a:cubicBezTo>
                <a:cubicBezTo>
                  <a:pt x="1711" y="413"/>
                  <a:pt x="1711" y="413"/>
                  <a:pt x="1711" y="413"/>
                </a:cubicBezTo>
                <a:cubicBezTo>
                  <a:pt x="1698" y="414"/>
                  <a:pt x="1698" y="414"/>
                  <a:pt x="1698" y="414"/>
                </a:cubicBezTo>
                <a:cubicBezTo>
                  <a:pt x="1685" y="413"/>
                  <a:pt x="1685" y="413"/>
                  <a:pt x="1685" y="413"/>
                </a:cubicBezTo>
                <a:cubicBezTo>
                  <a:pt x="1684" y="414"/>
                  <a:pt x="1684" y="414"/>
                  <a:pt x="1684" y="414"/>
                </a:cubicBezTo>
                <a:cubicBezTo>
                  <a:pt x="1680" y="417"/>
                  <a:pt x="1680" y="417"/>
                  <a:pt x="1680" y="417"/>
                </a:cubicBezTo>
                <a:cubicBezTo>
                  <a:pt x="1677" y="418"/>
                  <a:pt x="1677" y="418"/>
                  <a:pt x="1677" y="418"/>
                </a:cubicBezTo>
                <a:cubicBezTo>
                  <a:pt x="1676" y="417"/>
                  <a:pt x="1676" y="417"/>
                  <a:pt x="1676" y="417"/>
                </a:cubicBezTo>
                <a:cubicBezTo>
                  <a:pt x="1679" y="415"/>
                  <a:pt x="1679" y="415"/>
                  <a:pt x="1679" y="415"/>
                </a:cubicBezTo>
                <a:cubicBezTo>
                  <a:pt x="1682" y="413"/>
                  <a:pt x="1682" y="413"/>
                  <a:pt x="1682" y="413"/>
                </a:cubicBezTo>
                <a:cubicBezTo>
                  <a:pt x="1681" y="413"/>
                  <a:pt x="1681" y="413"/>
                  <a:pt x="1681" y="413"/>
                </a:cubicBezTo>
                <a:cubicBezTo>
                  <a:pt x="1679" y="415"/>
                  <a:pt x="1679" y="415"/>
                  <a:pt x="1679" y="415"/>
                </a:cubicBezTo>
                <a:cubicBezTo>
                  <a:pt x="1675" y="417"/>
                  <a:pt x="1675" y="417"/>
                  <a:pt x="1675" y="417"/>
                </a:cubicBezTo>
                <a:cubicBezTo>
                  <a:pt x="1671" y="415"/>
                  <a:pt x="1671" y="415"/>
                  <a:pt x="1671" y="415"/>
                </a:cubicBezTo>
                <a:cubicBezTo>
                  <a:pt x="1670" y="413"/>
                  <a:pt x="1670" y="413"/>
                  <a:pt x="1670" y="413"/>
                </a:cubicBezTo>
                <a:cubicBezTo>
                  <a:pt x="1671" y="411"/>
                  <a:pt x="1671" y="411"/>
                  <a:pt x="1671" y="411"/>
                </a:cubicBezTo>
                <a:cubicBezTo>
                  <a:pt x="1673" y="412"/>
                  <a:pt x="1673" y="412"/>
                  <a:pt x="1673" y="412"/>
                </a:cubicBezTo>
                <a:cubicBezTo>
                  <a:pt x="1674" y="412"/>
                  <a:pt x="1674" y="412"/>
                  <a:pt x="1674" y="412"/>
                </a:cubicBezTo>
                <a:cubicBezTo>
                  <a:pt x="1674" y="412"/>
                  <a:pt x="1674" y="412"/>
                  <a:pt x="1674" y="412"/>
                </a:cubicBezTo>
                <a:cubicBezTo>
                  <a:pt x="1671" y="410"/>
                  <a:pt x="1671" y="410"/>
                  <a:pt x="1671" y="410"/>
                </a:cubicBezTo>
                <a:cubicBezTo>
                  <a:pt x="1666" y="409"/>
                  <a:pt x="1666" y="409"/>
                  <a:pt x="1666" y="409"/>
                </a:cubicBezTo>
                <a:cubicBezTo>
                  <a:pt x="1662" y="411"/>
                  <a:pt x="1662" y="411"/>
                  <a:pt x="1662" y="411"/>
                </a:cubicBezTo>
                <a:cubicBezTo>
                  <a:pt x="1659" y="411"/>
                  <a:pt x="1659" y="411"/>
                  <a:pt x="1659" y="411"/>
                </a:cubicBezTo>
                <a:cubicBezTo>
                  <a:pt x="1656" y="412"/>
                  <a:pt x="1656" y="412"/>
                  <a:pt x="1656" y="412"/>
                </a:cubicBezTo>
                <a:cubicBezTo>
                  <a:pt x="1654" y="414"/>
                  <a:pt x="1654" y="414"/>
                  <a:pt x="1654" y="414"/>
                </a:cubicBezTo>
                <a:cubicBezTo>
                  <a:pt x="1652" y="415"/>
                  <a:pt x="1652" y="415"/>
                  <a:pt x="1652" y="415"/>
                </a:cubicBezTo>
                <a:cubicBezTo>
                  <a:pt x="1650" y="417"/>
                  <a:pt x="1650" y="417"/>
                  <a:pt x="1650" y="417"/>
                </a:cubicBezTo>
                <a:cubicBezTo>
                  <a:pt x="1650" y="418"/>
                  <a:pt x="1650" y="418"/>
                  <a:pt x="1650" y="418"/>
                </a:cubicBezTo>
                <a:cubicBezTo>
                  <a:pt x="1647" y="418"/>
                  <a:pt x="1647" y="418"/>
                  <a:pt x="1647" y="418"/>
                </a:cubicBezTo>
                <a:cubicBezTo>
                  <a:pt x="1642" y="421"/>
                  <a:pt x="1642" y="421"/>
                  <a:pt x="1642" y="421"/>
                </a:cubicBezTo>
                <a:cubicBezTo>
                  <a:pt x="1639" y="421"/>
                  <a:pt x="1639" y="421"/>
                  <a:pt x="1639" y="421"/>
                </a:cubicBezTo>
                <a:cubicBezTo>
                  <a:pt x="1637" y="424"/>
                  <a:pt x="1637" y="424"/>
                  <a:pt x="1637" y="424"/>
                </a:cubicBezTo>
                <a:cubicBezTo>
                  <a:pt x="1637" y="426"/>
                  <a:pt x="1637" y="426"/>
                  <a:pt x="1637" y="426"/>
                </a:cubicBezTo>
                <a:cubicBezTo>
                  <a:pt x="1636" y="426"/>
                  <a:pt x="1636" y="426"/>
                  <a:pt x="1636" y="426"/>
                </a:cubicBezTo>
                <a:cubicBezTo>
                  <a:pt x="1636" y="427"/>
                  <a:pt x="1636" y="427"/>
                  <a:pt x="1636" y="427"/>
                </a:cubicBezTo>
                <a:cubicBezTo>
                  <a:pt x="1635" y="427"/>
                  <a:pt x="1635" y="427"/>
                  <a:pt x="1635" y="427"/>
                </a:cubicBezTo>
                <a:cubicBezTo>
                  <a:pt x="1633" y="428"/>
                  <a:pt x="1633" y="428"/>
                  <a:pt x="1633" y="428"/>
                </a:cubicBezTo>
                <a:cubicBezTo>
                  <a:pt x="1632" y="426"/>
                  <a:pt x="1632" y="426"/>
                  <a:pt x="1632" y="426"/>
                </a:cubicBezTo>
                <a:cubicBezTo>
                  <a:pt x="1630" y="427"/>
                  <a:pt x="1630" y="427"/>
                  <a:pt x="1630" y="427"/>
                </a:cubicBezTo>
                <a:cubicBezTo>
                  <a:pt x="1629" y="425"/>
                  <a:pt x="1629" y="425"/>
                  <a:pt x="1629" y="425"/>
                </a:cubicBezTo>
                <a:cubicBezTo>
                  <a:pt x="1629" y="423"/>
                  <a:pt x="1629" y="423"/>
                  <a:pt x="1629" y="423"/>
                </a:cubicBezTo>
                <a:cubicBezTo>
                  <a:pt x="1628" y="422"/>
                  <a:pt x="1628" y="422"/>
                  <a:pt x="1628" y="422"/>
                </a:cubicBezTo>
                <a:cubicBezTo>
                  <a:pt x="1626" y="422"/>
                  <a:pt x="1626" y="422"/>
                  <a:pt x="1626" y="422"/>
                </a:cubicBezTo>
                <a:cubicBezTo>
                  <a:pt x="1623" y="419"/>
                  <a:pt x="1623" y="419"/>
                  <a:pt x="1623" y="419"/>
                </a:cubicBezTo>
                <a:cubicBezTo>
                  <a:pt x="1621" y="419"/>
                  <a:pt x="1621" y="419"/>
                  <a:pt x="1621" y="419"/>
                </a:cubicBezTo>
                <a:cubicBezTo>
                  <a:pt x="1621" y="418"/>
                  <a:pt x="1621" y="418"/>
                  <a:pt x="1621" y="418"/>
                </a:cubicBezTo>
                <a:cubicBezTo>
                  <a:pt x="1620" y="419"/>
                  <a:pt x="1620" y="419"/>
                  <a:pt x="1620" y="419"/>
                </a:cubicBezTo>
                <a:cubicBezTo>
                  <a:pt x="1618" y="419"/>
                  <a:pt x="1618" y="419"/>
                  <a:pt x="1618" y="419"/>
                </a:cubicBezTo>
                <a:cubicBezTo>
                  <a:pt x="1616" y="420"/>
                  <a:pt x="1616" y="420"/>
                  <a:pt x="1616" y="420"/>
                </a:cubicBezTo>
                <a:cubicBezTo>
                  <a:pt x="1615" y="419"/>
                  <a:pt x="1615" y="419"/>
                  <a:pt x="1615" y="419"/>
                </a:cubicBezTo>
                <a:cubicBezTo>
                  <a:pt x="1616" y="418"/>
                  <a:pt x="1616" y="418"/>
                  <a:pt x="1616" y="418"/>
                </a:cubicBezTo>
                <a:cubicBezTo>
                  <a:pt x="1616" y="419"/>
                  <a:pt x="1616" y="419"/>
                  <a:pt x="1616" y="419"/>
                </a:cubicBezTo>
                <a:cubicBezTo>
                  <a:pt x="1617" y="418"/>
                  <a:pt x="1617" y="418"/>
                  <a:pt x="1617" y="418"/>
                </a:cubicBezTo>
                <a:cubicBezTo>
                  <a:pt x="1619" y="417"/>
                  <a:pt x="1619" y="417"/>
                  <a:pt x="1619" y="417"/>
                </a:cubicBezTo>
                <a:cubicBezTo>
                  <a:pt x="1616" y="417"/>
                  <a:pt x="1616" y="417"/>
                  <a:pt x="1616" y="417"/>
                </a:cubicBezTo>
                <a:cubicBezTo>
                  <a:pt x="1616" y="417"/>
                  <a:pt x="1616" y="417"/>
                  <a:pt x="1616" y="417"/>
                </a:cubicBezTo>
                <a:cubicBezTo>
                  <a:pt x="1615" y="418"/>
                  <a:pt x="1615" y="418"/>
                  <a:pt x="1615" y="418"/>
                </a:cubicBezTo>
                <a:cubicBezTo>
                  <a:pt x="1613" y="419"/>
                  <a:pt x="1613" y="419"/>
                  <a:pt x="1613" y="419"/>
                </a:cubicBezTo>
                <a:cubicBezTo>
                  <a:pt x="1613" y="420"/>
                  <a:pt x="1613" y="420"/>
                  <a:pt x="1613" y="420"/>
                </a:cubicBezTo>
                <a:cubicBezTo>
                  <a:pt x="1609" y="421"/>
                  <a:pt x="1609" y="421"/>
                  <a:pt x="1609" y="421"/>
                </a:cubicBezTo>
                <a:cubicBezTo>
                  <a:pt x="1608" y="423"/>
                  <a:pt x="1608" y="423"/>
                  <a:pt x="1608" y="423"/>
                </a:cubicBezTo>
                <a:cubicBezTo>
                  <a:pt x="1608" y="424"/>
                  <a:pt x="1608" y="424"/>
                  <a:pt x="1608" y="424"/>
                </a:cubicBezTo>
                <a:cubicBezTo>
                  <a:pt x="1606" y="424"/>
                  <a:pt x="1606" y="424"/>
                  <a:pt x="1606" y="424"/>
                </a:cubicBezTo>
                <a:cubicBezTo>
                  <a:pt x="1605" y="423"/>
                  <a:pt x="1605" y="423"/>
                  <a:pt x="1605" y="423"/>
                </a:cubicBezTo>
                <a:cubicBezTo>
                  <a:pt x="1603" y="423"/>
                  <a:pt x="1603" y="423"/>
                  <a:pt x="1603" y="423"/>
                </a:cubicBezTo>
                <a:cubicBezTo>
                  <a:pt x="1602" y="423"/>
                  <a:pt x="1602" y="423"/>
                  <a:pt x="1602" y="423"/>
                </a:cubicBezTo>
                <a:cubicBezTo>
                  <a:pt x="1600" y="423"/>
                  <a:pt x="1600" y="423"/>
                  <a:pt x="1600" y="423"/>
                </a:cubicBezTo>
                <a:cubicBezTo>
                  <a:pt x="1601" y="421"/>
                  <a:pt x="1601" y="421"/>
                  <a:pt x="1601" y="421"/>
                </a:cubicBezTo>
                <a:cubicBezTo>
                  <a:pt x="1603" y="422"/>
                  <a:pt x="1603" y="422"/>
                  <a:pt x="1603" y="422"/>
                </a:cubicBezTo>
                <a:cubicBezTo>
                  <a:pt x="1604" y="420"/>
                  <a:pt x="1604" y="420"/>
                  <a:pt x="1604" y="420"/>
                </a:cubicBezTo>
                <a:cubicBezTo>
                  <a:pt x="1604" y="418"/>
                  <a:pt x="1604" y="418"/>
                  <a:pt x="1604" y="418"/>
                </a:cubicBezTo>
                <a:cubicBezTo>
                  <a:pt x="1603" y="418"/>
                  <a:pt x="1603" y="418"/>
                  <a:pt x="1603" y="418"/>
                </a:cubicBezTo>
                <a:cubicBezTo>
                  <a:pt x="1602" y="419"/>
                  <a:pt x="1602" y="419"/>
                  <a:pt x="1602" y="419"/>
                </a:cubicBezTo>
                <a:cubicBezTo>
                  <a:pt x="1601" y="420"/>
                  <a:pt x="1601" y="420"/>
                  <a:pt x="1601" y="420"/>
                </a:cubicBezTo>
                <a:cubicBezTo>
                  <a:pt x="1598" y="418"/>
                  <a:pt x="1598" y="418"/>
                  <a:pt x="1598" y="418"/>
                </a:cubicBezTo>
                <a:cubicBezTo>
                  <a:pt x="1598" y="417"/>
                  <a:pt x="1598" y="417"/>
                  <a:pt x="1598" y="417"/>
                </a:cubicBezTo>
                <a:cubicBezTo>
                  <a:pt x="1597" y="418"/>
                  <a:pt x="1597" y="418"/>
                  <a:pt x="1597" y="418"/>
                </a:cubicBezTo>
                <a:cubicBezTo>
                  <a:pt x="1596" y="419"/>
                  <a:pt x="1596" y="419"/>
                  <a:pt x="1596" y="419"/>
                </a:cubicBezTo>
                <a:cubicBezTo>
                  <a:pt x="1595" y="420"/>
                  <a:pt x="1595" y="420"/>
                  <a:pt x="1595" y="420"/>
                </a:cubicBezTo>
                <a:cubicBezTo>
                  <a:pt x="1594" y="418"/>
                  <a:pt x="1594" y="418"/>
                  <a:pt x="1594" y="418"/>
                </a:cubicBezTo>
                <a:cubicBezTo>
                  <a:pt x="1592" y="418"/>
                  <a:pt x="1592" y="418"/>
                  <a:pt x="1592" y="418"/>
                </a:cubicBezTo>
                <a:cubicBezTo>
                  <a:pt x="1592" y="416"/>
                  <a:pt x="1592" y="416"/>
                  <a:pt x="1592" y="416"/>
                </a:cubicBezTo>
                <a:cubicBezTo>
                  <a:pt x="1593" y="415"/>
                  <a:pt x="1593" y="415"/>
                  <a:pt x="1593" y="415"/>
                </a:cubicBezTo>
                <a:cubicBezTo>
                  <a:pt x="1594" y="413"/>
                  <a:pt x="1594" y="413"/>
                  <a:pt x="1594" y="413"/>
                </a:cubicBezTo>
                <a:cubicBezTo>
                  <a:pt x="1592" y="413"/>
                  <a:pt x="1592" y="413"/>
                  <a:pt x="1592" y="413"/>
                </a:cubicBezTo>
                <a:cubicBezTo>
                  <a:pt x="1590" y="411"/>
                  <a:pt x="1590" y="411"/>
                  <a:pt x="1590" y="411"/>
                </a:cubicBezTo>
                <a:cubicBezTo>
                  <a:pt x="1590" y="411"/>
                  <a:pt x="1590" y="411"/>
                  <a:pt x="1590" y="411"/>
                </a:cubicBezTo>
                <a:cubicBezTo>
                  <a:pt x="1590" y="409"/>
                  <a:pt x="1590" y="409"/>
                  <a:pt x="1590" y="409"/>
                </a:cubicBezTo>
                <a:cubicBezTo>
                  <a:pt x="1589" y="408"/>
                  <a:pt x="1589" y="408"/>
                  <a:pt x="1589" y="408"/>
                </a:cubicBezTo>
                <a:cubicBezTo>
                  <a:pt x="1588" y="408"/>
                  <a:pt x="1588" y="408"/>
                  <a:pt x="1588" y="408"/>
                </a:cubicBezTo>
                <a:cubicBezTo>
                  <a:pt x="1588" y="407"/>
                  <a:pt x="1588" y="407"/>
                  <a:pt x="1588" y="407"/>
                </a:cubicBezTo>
                <a:cubicBezTo>
                  <a:pt x="1590" y="406"/>
                  <a:pt x="1590" y="406"/>
                  <a:pt x="1590" y="406"/>
                </a:cubicBezTo>
                <a:cubicBezTo>
                  <a:pt x="1590" y="404"/>
                  <a:pt x="1590" y="404"/>
                  <a:pt x="1590" y="404"/>
                </a:cubicBezTo>
                <a:cubicBezTo>
                  <a:pt x="1589" y="404"/>
                  <a:pt x="1589" y="404"/>
                  <a:pt x="1589" y="404"/>
                </a:cubicBezTo>
                <a:cubicBezTo>
                  <a:pt x="1589" y="402"/>
                  <a:pt x="1589" y="402"/>
                  <a:pt x="1589" y="402"/>
                </a:cubicBezTo>
                <a:cubicBezTo>
                  <a:pt x="1593" y="400"/>
                  <a:pt x="1593" y="400"/>
                  <a:pt x="1593" y="400"/>
                </a:cubicBezTo>
                <a:cubicBezTo>
                  <a:pt x="1592" y="400"/>
                  <a:pt x="1592" y="400"/>
                  <a:pt x="1592" y="400"/>
                </a:cubicBezTo>
                <a:cubicBezTo>
                  <a:pt x="1593" y="398"/>
                  <a:pt x="1593" y="398"/>
                  <a:pt x="1593" y="398"/>
                </a:cubicBezTo>
                <a:cubicBezTo>
                  <a:pt x="1594" y="399"/>
                  <a:pt x="1594" y="399"/>
                  <a:pt x="1594" y="399"/>
                </a:cubicBezTo>
                <a:cubicBezTo>
                  <a:pt x="1596" y="398"/>
                  <a:pt x="1596" y="398"/>
                  <a:pt x="1596" y="398"/>
                </a:cubicBezTo>
                <a:cubicBezTo>
                  <a:pt x="1596" y="395"/>
                  <a:pt x="1596" y="395"/>
                  <a:pt x="1596" y="395"/>
                </a:cubicBezTo>
                <a:cubicBezTo>
                  <a:pt x="1595" y="393"/>
                  <a:pt x="1595" y="393"/>
                  <a:pt x="1595" y="393"/>
                </a:cubicBezTo>
                <a:cubicBezTo>
                  <a:pt x="1596" y="392"/>
                  <a:pt x="1596" y="392"/>
                  <a:pt x="1596" y="392"/>
                </a:cubicBezTo>
                <a:cubicBezTo>
                  <a:pt x="1598" y="392"/>
                  <a:pt x="1598" y="392"/>
                  <a:pt x="1598" y="392"/>
                </a:cubicBezTo>
                <a:cubicBezTo>
                  <a:pt x="1599" y="393"/>
                  <a:pt x="1599" y="393"/>
                  <a:pt x="1599" y="393"/>
                </a:cubicBezTo>
                <a:cubicBezTo>
                  <a:pt x="1600" y="393"/>
                  <a:pt x="1600" y="393"/>
                  <a:pt x="1600" y="393"/>
                </a:cubicBezTo>
                <a:cubicBezTo>
                  <a:pt x="1601" y="393"/>
                  <a:pt x="1601" y="393"/>
                  <a:pt x="1601" y="393"/>
                </a:cubicBezTo>
                <a:cubicBezTo>
                  <a:pt x="1602" y="392"/>
                  <a:pt x="1602" y="392"/>
                  <a:pt x="1602" y="392"/>
                </a:cubicBezTo>
                <a:cubicBezTo>
                  <a:pt x="1602" y="390"/>
                  <a:pt x="1602" y="390"/>
                  <a:pt x="1602" y="390"/>
                </a:cubicBezTo>
                <a:cubicBezTo>
                  <a:pt x="1600" y="388"/>
                  <a:pt x="1600" y="388"/>
                  <a:pt x="1600" y="388"/>
                </a:cubicBezTo>
                <a:cubicBezTo>
                  <a:pt x="1599" y="389"/>
                  <a:pt x="1599" y="389"/>
                  <a:pt x="1599" y="389"/>
                </a:cubicBezTo>
                <a:cubicBezTo>
                  <a:pt x="1597" y="389"/>
                  <a:pt x="1597" y="389"/>
                  <a:pt x="1597" y="389"/>
                </a:cubicBezTo>
                <a:cubicBezTo>
                  <a:pt x="1596" y="388"/>
                  <a:pt x="1596" y="388"/>
                  <a:pt x="1596" y="388"/>
                </a:cubicBezTo>
                <a:cubicBezTo>
                  <a:pt x="1595" y="386"/>
                  <a:pt x="1595" y="386"/>
                  <a:pt x="1595" y="386"/>
                </a:cubicBezTo>
                <a:cubicBezTo>
                  <a:pt x="1594" y="386"/>
                  <a:pt x="1594" y="386"/>
                  <a:pt x="1594" y="386"/>
                </a:cubicBezTo>
                <a:cubicBezTo>
                  <a:pt x="1595" y="385"/>
                  <a:pt x="1595" y="385"/>
                  <a:pt x="1595" y="385"/>
                </a:cubicBezTo>
                <a:cubicBezTo>
                  <a:pt x="1595" y="383"/>
                  <a:pt x="1595" y="383"/>
                  <a:pt x="1595" y="383"/>
                </a:cubicBezTo>
                <a:cubicBezTo>
                  <a:pt x="1593" y="382"/>
                  <a:pt x="1593" y="382"/>
                  <a:pt x="1593" y="382"/>
                </a:cubicBezTo>
                <a:cubicBezTo>
                  <a:pt x="1590" y="382"/>
                  <a:pt x="1590" y="382"/>
                  <a:pt x="1590" y="382"/>
                </a:cubicBezTo>
                <a:cubicBezTo>
                  <a:pt x="1588" y="382"/>
                  <a:pt x="1588" y="382"/>
                  <a:pt x="1588" y="382"/>
                </a:cubicBezTo>
                <a:cubicBezTo>
                  <a:pt x="1587" y="382"/>
                  <a:pt x="1587" y="382"/>
                  <a:pt x="1587" y="382"/>
                </a:cubicBezTo>
                <a:cubicBezTo>
                  <a:pt x="1586" y="383"/>
                  <a:pt x="1586" y="383"/>
                  <a:pt x="1586" y="383"/>
                </a:cubicBezTo>
                <a:cubicBezTo>
                  <a:pt x="1588" y="385"/>
                  <a:pt x="1588" y="385"/>
                  <a:pt x="1588" y="385"/>
                </a:cubicBezTo>
                <a:cubicBezTo>
                  <a:pt x="1587" y="386"/>
                  <a:pt x="1587" y="386"/>
                  <a:pt x="1587" y="386"/>
                </a:cubicBezTo>
                <a:cubicBezTo>
                  <a:pt x="1589" y="388"/>
                  <a:pt x="1589" y="388"/>
                  <a:pt x="1589" y="388"/>
                </a:cubicBezTo>
                <a:cubicBezTo>
                  <a:pt x="1589" y="389"/>
                  <a:pt x="1589" y="389"/>
                  <a:pt x="1589" y="389"/>
                </a:cubicBezTo>
                <a:cubicBezTo>
                  <a:pt x="1587" y="388"/>
                  <a:pt x="1587" y="388"/>
                  <a:pt x="1587" y="388"/>
                </a:cubicBezTo>
                <a:cubicBezTo>
                  <a:pt x="1585" y="388"/>
                  <a:pt x="1585" y="388"/>
                  <a:pt x="1585" y="388"/>
                </a:cubicBezTo>
                <a:cubicBezTo>
                  <a:pt x="1585" y="387"/>
                  <a:pt x="1585" y="387"/>
                  <a:pt x="1585" y="387"/>
                </a:cubicBezTo>
                <a:cubicBezTo>
                  <a:pt x="1586" y="386"/>
                  <a:pt x="1586" y="386"/>
                  <a:pt x="1586" y="386"/>
                </a:cubicBezTo>
                <a:cubicBezTo>
                  <a:pt x="1585" y="384"/>
                  <a:pt x="1585" y="384"/>
                  <a:pt x="1585" y="384"/>
                </a:cubicBezTo>
                <a:cubicBezTo>
                  <a:pt x="1585" y="384"/>
                  <a:pt x="1585" y="384"/>
                  <a:pt x="1585" y="384"/>
                </a:cubicBezTo>
                <a:cubicBezTo>
                  <a:pt x="1583" y="387"/>
                  <a:pt x="1583" y="387"/>
                  <a:pt x="1583" y="387"/>
                </a:cubicBezTo>
                <a:cubicBezTo>
                  <a:pt x="1584" y="388"/>
                  <a:pt x="1584" y="388"/>
                  <a:pt x="1584" y="388"/>
                </a:cubicBezTo>
                <a:cubicBezTo>
                  <a:pt x="1582" y="389"/>
                  <a:pt x="1582" y="389"/>
                  <a:pt x="1582" y="389"/>
                </a:cubicBezTo>
                <a:cubicBezTo>
                  <a:pt x="1581" y="388"/>
                  <a:pt x="1581" y="388"/>
                  <a:pt x="1581" y="388"/>
                </a:cubicBezTo>
                <a:cubicBezTo>
                  <a:pt x="1579" y="388"/>
                  <a:pt x="1579" y="388"/>
                  <a:pt x="1579" y="388"/>
                </a:cubicBezTo>
                <a:cubicBezTo>
                  <a:pt x="1578" y="387"/>
                  <a:pt x="1578" y="387"/>
                  <a:pt x="1578" y="387"/>
                </a:cubicBezTo>
                <a:cubicBezTo>
                  <a:pt x="1577" y="389"/>
                  <a:pt x="1577" y="389"/>
                  <a:pt x="1577" y="389"/>
                </a:cubicBezTo>
                <a:cubicBezTo>
                  <a:pt x="1579" y="390"/>
                  <a:pt x="1579" y="390"/>
                  <a:pt x="1579" y="390"/>
                </a:cubicBezTo>
                <a:cubicBezTo>
                  <a:pt x="1579" y="392"/>
                  <a:pt x="1579" y="392"/>
                  <a:pt x="1579" y="392"/>
                </a:cubicBezTo>
                <a:cubicBezTo>
                  <a:pt x="1577" y="391"/>
                  <a:pt x="1577" y="391"/>
                  <a:pt x="1577" y="391"/>
                </a:cubicBezTo>
                <a:cubicBezTo>
                  <a:pt x="1577" y="392"/>
                  <a:pt x="1577" y="392"/>
                  <a:pt x="1577" y="392"/>
                </a:cubicBezTo>
                <a:cubicBezTo>
                  <a:pt x="1577" y="394"/>
                  <a:pt x="1577" y="394"/>
                  <a:pt x="1577" y="394"/>
                </a:cubicBezTo>
                <a:cubicBezTo>
                  <a:pt x="1578" y="395"/>
                  <a:pt x="1578" y="395"/>
                  <a:pt x="1578" y="395"/>
                </a:cubicBezTo>
                <a:cubicBezTo>
                  <a:pt x="1578" y="397"/>
                  <a:pt x="1578" y="397"/>
                  <a:pt x="1578" y="397"/>
                </a:cubicBezTo>
                <a:cubicBezTo>
                  <a:pt x="1580" y="398"/>
                  <a:pt x="1580" y="398"/>
                  <a:pt x="1580" y="398"/>
                </a:cubicBezTo>
                <a:cubicBezTo>
                  <a:pt x="1577" y="400"/>
                  <a:pt x="1577" y="400"/>
                  <a:pt x="1577" y="400"/>
                </a:cubicBezTo>
                <a:cubicBezTo>
                  <a:pt x="1576" y="403"/>
                  <a:pt x="1576" y="403"/>
                  <a:pt x="1576" y="403"/>
                </a:cubicBezTo>
                <a:cubicBezTo>
                  <a:pt x="1577" y="403"/>
                  <a:pt x="1577" y="403"/>
                  <a:pt x="1577" y="403"/>
                </a:cubicBezTo>
                <a:cubicBezTo>
                  <a:pt x="1578" y="403"/>
                  <a:pt x="1578" y="403"/>
                  <a:pt x="1578" y="403"/>
                </a:cubicBezTo>
                <a:cubicBezTo>
                  <a:pt x="1581" y="405"/>
                  <a:pt x="1581" y="405"/>
                  <a:pt x="1581" y="405"/>
                </a:cubicBezTo>
                <a:cubicBezTo>
                  <a:pt x="1581" y="408"/>
                  <a:pt x="1581" y="408"/>
                  <a:pt x="1581" y="408"/>
                </a:cubicBezTo>
                <a:cubicBezTo>
                  <a:pt x="1580" y="408"/>
                  <a:pt x="1580" y="408"/>
                  <a:pt x="1580" y="408"/>
                </a:cubicBezTo>
                <a:cubicBezTo>
                  <a:pt x="1581" y="410"/>
                  <a:pt x="1581" y="410"/>
                  <a:pt x="1581" y="410"/>
                </a:cubicBezTo>
                <a:cubicBezTo>
                  <a:pt x="1581" y="410"/>
                  <a:pt x="1581" y="410"/>
                  <a:pt x="1581" y="410"/>
                </a:cubicBezTo>
                <a:cubicBezTo>
                  <a:pt x="1581" y="412"/>
                  <a:pt x="1581" y="412"/>
                  <a:pt x="1581" y="412"/>
                </a:cubicBezTo>
                <a:cubicBezTo>
                  <a:pt x="1582" y="413"/>
                  <a:pt x="1582" y="413"/>
                  <a:pt x="1582" y="413"/>
                </a:cubicBezTo>
                <a:cubicBezTo>
                  <a:pt x="1583" y="413"/>
                  <a:pt x="1583" y="413"/>
                  <a:pt x="1583" y="413"/>
                </a:cubicBezTo>
                <a:cubicBezTo>
                  <a:pt x="1583" y="414"/>
                  <a:pt x="1583" y="414"/>
                  <a:pt x="1583" y="414"/>
                </a:cubicBezTo>
                <a:cubicBezTo>
                  <a:pt x="1585" y="416"/>
                  <a:pt x="1585" y="416"/>
                  <a:pt x="1585" y="416"/>
                </a:cubicBezTo>
                <a:cubicBezTo>
                  <a:pt x="1583" y="417"/>
                  <a:pt x="1583" y="417"/>
                  <a:pt x="1583" y="417"/>
                </a:cubicBezTo>
                <a:cubicBezTo>
                  <a:pt x="1582" y="417"/>
                  <a:pt x="1582" y="417"/>
                  <a:pt x="1582" y="417"/>
                </a:cubicBezTo>
                <a:cubicBezTo>
                  <a:pt x="1582" y="419"/>
                  <a:pt x="1582" y="419"/>
                  <a:pt x="1582" y="419"/>
                </a:cubicBezTo>
                <a:cubicBezTo>
                  <a:pt x="1584" y="418"/>
                  <a:pt x="1584" y="418"/>
                  <a:pt x="1584" y="418"/>
                </a:cubicBezTo>
                <a:cubicBezTo>
                  <a:pt x="1584" y="420"/>
                  <a:pt x="1584" y="420"/>
                  <a:pt x="1584" y="420"/>
                </a:cubicBezTo>
                <a:cubicBezTo>
                  <a:pt x="1585" y="422"/>
                  <a:pt x="1585" y="422"/>
                  <a:pt x="1585" y="422"/>
                </a:cubicBezTo>
                <a:cubicBezTo>
                  <a:pt x="1584" y="423"/>
                  <a:pt x="1584" y="423"/>
                  <a:pt x="1584" y="423"/>
                </a:cubicBezTo>
                <a:cubicBezTo>
                  <a:pt x="1584" y="424"/>
                  <a:pt x="1584" y="424"/>
                  <a:pt x="1584" y="424"/>
                </a:cubicBezTo>
                <a:cubicBezTo>
                  <a:pt x="1585" y="425"/>
                  <a:pt x="1585" y="425"/>
                  <a:pt x="1585" y="425"/>
                </a:cubicBezTo>
                <a:cubicBezTo>
                  <a:pt x="1588" y="425"/>
                  <a:pt x="1588" y="425"/>
                  <a:pt x="1588" y="425"/>
                </a:cubicBezTo>
                <a:cubicBezTo>
                  <a:pt x="1591" y="429"/>
                  <a:pt x="1591" y="429"/>
                  <a:pt x="1591" y="429"/>
                </a:cubicBezTo>
                <a:cubicBezTo>
                  <a:pt x="1595" y="430"/>
                  <a:pt x="1595" y="430"/>
                  <a:pt x="1595" y="430"/>
                </a:cubicBezTo>
                <a:cubicBezTo>
                  <a:pt x="1591" y="429"/>
                  <a:pt x="1591" y="429"/>
                  <a:pt x="1591" y="429"/>
                </a:cubicBezTo>
                <a:cubicBezTo>
                  <a:pt x="1587" y="426"/>
                  <a:pt x="1587" y="426"/>
                  <a:pt x="1587" y="426"/>
                </a:cubicBezTo>
                <a:cubicBezTo>
                  <a:pt x="1585" y="427"/>
                  <a:pt x="1585" y="427"/>
                  <a:pt x="1585" y="427"/>
                </a:cubicBezTo>
                <a:cubicBezTo>
                  <a:pt x="1584" y="426"/>
                  <a:pt x="1584" y="426"/>
                  <a:pt x="1584" y="426"/>
                </a:cubicBezTo>
                <a:cubicBezTo>
                  <a:pt x="1582" y="426"/>
                  <a:pt x="1582" y="426"/>
                  <a:pt x="1582" y="426"/>
                </a:cubicBezTo>
                <a:cubicBezTo>
                  <a:pt x="1581" y="428"/>
                  <a:pt x="1581" y="428"/>
                  <a:pt x="1581" y="428"/>
                </a:cubicBezTo>
                <a:cubicBezTo>
                  <a:pt x="1581" y="430"/>
                  <a:pt x="1581" y="430"/>
                  <a:pt x="1581" y="430"/>
                </a:cubicBezTo>
                <a:cubicBezTo>
                  <a:pt x="1581" y="433"/>
                  <a:pt x="1581" y="433"/>
                  <a:pt x="1581" y="433"/>
                </a:cubicBezTo>
                <a:cubicBezTo>
                  <a:pt x="1582" y="435"/>
                  <a:pt x="1582" y="435"/>
                  <a:pt x="1582" y="435"/>
                </a:cubicBezTo>
                <a:cubicBezTo>
                  <a:pt x="1580" y="432"/>
                  <a:pt x="1580" y="432"/>
                  <a:pt x="1580" y="432"/>
                </a:cubicBezTo>
                <a:cubicBezTo>
                  <a:pt x="1580" y="430"/>
                  <a:pt x="1580" y="430"/>
                  <a:pt x="1580" y="430"/>
                </a:cubicBezTo>
                <a:cubicBezTo>
                  <a:pt x="1579" y="429"/>
                  <a:pt x="1579" y="429"/>
                  <a:pt x="1579" y="429"/>
                </a:cubicBezTo>
                <a:cubicBezTo>
                  <a:pt x="1578" y="429"/>
                  <a:pt x="1578" y="429"/>
                  <a:pt x="1578" y="429"/>
                </a:cubicBezTo>
                <a:cubicBezTo>
                  <a:pt x="1578" y="430"/>
                  <a:pt x="1578" y="430"/>
                  <a:pt x="1578" y="430"/>
                </a:cubicBezTo>
                <a:cubicBezTo>
                  <a:pt x="1579" y="432"/>
                  <a:pt x="1579" y="432"/>
                  <a:pt x="1579" y="432"/>
                </a:cubicBezTo>
                <a:cubicBezTo>
                  <a:pt x="1578" y="433"/>
                  <a:pt x="1578" y="433"/>
                  <a:pt x="1578" y="433"/>
                </a:cubicBezTo>
                <a:cubicBezTo>
                  <a:pt x="1576" y="431"/>
                  <a:pt x="1576" y="431"/>
                  <a:pt x="1576" y="431"/>
                </a:cubicBezTo>
                <a:cubicBezTo>
                  <a:pt x="1576" y="429"/>
                  <a:pt x="1576" y="429"/>
                  <a:pt x="1576" y="429"/>
                </a:cubicBezTo>
                <a:cubicBezTo>
                  <a:pt x="1574" y="427"/>
                  <a:pt x="1574" y="427"/>
                  <a:pt x="1574" y="427"/>
                </a:cubicBezTo>
                <a:cubicBezTo>
                  <a:pt x="1572" y="428"/>
                  <a:pt x="1572" y="428"/>
                  <a:pt x="1572" y="428"/>
                </a:cubicBezTo>
                <a:cubicBezTo>
                  <a:pt x="1568" y="429"/>
                  <a:pt x="1568" y="429"/>
                  <a:pt x="1568" y="429"/>
                </a:cubicBezTo>
                <a:cubicBezTo>
                  <a:pt x="1568" y="431"/>
                  <a:pt x="1568" y="431"/>
                  <a:pt x="1568" y="431"/>
                </a:cubicBezTo>
                <a:cubicBezTo>
                  <a:pt x="1568" y="433"/>
                  <a:pt x="1568" y="433"/>
                  <a:pt x="1568" y="433"/>
                </a:cubicBezTo>
                <a:cubicBezTo>
                  <a:pt x="1571" y="433"/>
                  <a:pt x="1571" y="433"/>
                  <a:pt x="1571" y="433"/>
                </a:cubicBezTo>
                <a:cubicBezTo>
                  <a:pt x="1571" y="435"/>
                  <a:pt x="1571" y="435"/>
                  <a:pt x="1571" y="435"/>
                </a:cubicBezTo>
                <a:cubicBezTo>
                  <a:pt x="1571" y="435"/>
                  <a:pt x="1571" y="435"/>
                  <a:pt x="1571" y="435"/>
                </a:cubicBezTo>
                <a:cubicBezTo>
                  <a:pt x="1569" y="435"/>
                  <a:pt x="1569" y="435"/>
                  <a:pt x="1569" y="435"/>
                </a:cubicBezTo>
                <a:cubicBezTo>
                  <a:pt x="1567" y="433"/>
                  <a:pt x="1567" y="433"/>
                  <a:pt x="1567" y="433"/>
                </a:cubicBezTo>
                <a:cubicBezTo>
                  <a:pt x="1565" y="432"/>
                  <a:pt x="1565" y="432"/>
                  <a:pt x="1565" y="432"/>
                </a:cubicBezTo>
                <a:cubicBezTo>
                  <a:pt x="1562" y="432"/>
                  <a:pt x="1562" y="432"/>
                  <a:pt x="1562" y="432"/>
                </a:cubicBezTo>
                <a:cubicBezTo>
                  <a:pt x="1560" y="434"/>
                  <a:pt x="1560" y="434"/>
                  <a:pt x="1560" y="434"/>
                </a:cubicBezTo>
                <a:cubicBezTo>
                  <a:pt x="1558" y="433"/>
                  <a:pt x="1558" y="433"/>
                  <a:pt x="1558" y="433"/>
                </a:cubicBezTo>
                <a:cubicBezTo>
                  <a:pt x="1557" y="434"/>
                  <a:pt x="1557" y="434"/>
                  <a:pt x="1557" y="434"/>
                </a:cubicBezTo>
                <a:cubicBezTo>
                  <a:pt x="1555" y="434"/>
                  <a:pt x="1555" y="434"/>
                  <a:pt x="1555" y="434"/>
                </a:cubicBezTo>
                <a:cubicBezTo>
                  <a:pt x="1552" y="436"/>
                  <a:pt x="1552" y="436"/>
                  <a:pt x="1552" y="436"/>
                </a:cubicBezTo>
                <a:cubicBezTo>
                  <a:pt x="1549" y="438"/>
                  <a:pt x="1549" y="438"/>
                  <a:pt x="1549" y="438"/>
                </a:cubicBezTo>
                <a:cubicBezTo>
                  <a:pt x="1548" y="438"/>
                  <a:pt x="1548" y="438"/>
                  <a:pt x="1548" y="438"/>
                </a:cubicBezTo>
                <a:cubicBezTo>
                  <a:pt x="1546" y="439"/>
                  <a:pt x="1546" y="439"/>
                  <a:pt x="1546" y="439"/>
                </a:cubicBezTo>
                <a:cubicBezTo>
                  <a:pt x="1546" y="441"/>
                  <a:pt x="1546" y="441"/>
                  <a:pt x="1546" y="441"/>
                </a:cubicBezTo>
                <a:cubicBezTo>
                  <a:pt x="1544" y="443"/>
                  <a:pt x="1544" y="443"/>
                  <a:pt x="1544" y="443"/>
                </a:cubicBezTo>
                <a:cubicBezTo>
                  <a:pt x="1544" y="445"/>
                  <a:pt x="1544" y="445"/>
                  <a:pt x="1544" y="445"/>
                </a:cubicBezTo>
                <a:cubicBezTo>
                  <a:pt x="1544" y="447"/>
                  <a:pt x="1544" y="447"/>
                  <a:pt x="1544" y="447"/>
                </a:cubicBezTo>
                <a:cubicBezTo>
                  <a:pt x="1543" y="449"/>
                  <a:pt x="1543" y="449"/>
                  <a:pt x="1543" y="449"/>
                </a:cubicBezTo>
                <a:cubicBezTo>
                  <a:pt x="1542" y="450"/>
                  <a:pt x="1542" y="450"/>
                  <a:pt x="1542" y="450"/>
                </a:cubicBezTo>
                <a:cubicBezTo>
                  <a:pt x="1541" y="451"/>
                  <a:pt x="1541" y="451"/>
                  <a:pt x="1541" y="451"/>
                </a:cubicBezTo>
                <a:cubicBezTo>
                  <a:pt x="1541" y="453"/>
                  <a:pt x="1541" y="453"/>
                  <a:pt x="1541" y="453"/>
                </a:cubicBezTo>
                <a:cubicBezTo>
                  <a:pt x="1543" y="455"/>
                  <a:pt x="1543" y="455"/>
                  <a:pt x="1543" y="455"/>
                </a:cubicBezTo>
                <a:cubicBezTo>
                  <a:pt x="1545" y="455"/>
                  <a:pt x="1545" y="455"/>
                  <a:pt x="1545" y="455"/>
                </a:cubicBezTo>
                <a:cubicBezTo>
                  <a:pt x="1543" y="455"/>
                  <a:pt x="1543" y="455"/>
                  <a:pt x="1543" y="455"/>
                </a:cubicBezTo>
                <a:cubicBezTo>
                  <a:pt x="1542" y="456"/>
                  <a:pt x="1542" y="456"/>
                  <a:pt x="1542" y="456"/>
                </a:cubicBezTo>
                <a:cubicBezTo>
                  <a:pt x="1541" y="457"/>
                  <a:pt x="1541" y="457"/>
                  <a:pt x="1541" y="457"/>
                </a:cubicBezTo>
                <a:cubicBezTo>
                  <a:pt x="1542" y="458"/>
                  <a:pt x="1542" y="458"/>
                  <a:pt x="1542" y="458"/>
                </a:cubicBezTo>
                <a:cubicBezTo>
                  <a:pt x="1543" y="458"/>
                  <a:pt x="1543" y="458"/>
                  <a:pt x="1543" y="458"/>
                </a:cubicBezTo>
                <a:cubicBezTo>
                  <a:pt x="1543" y="459"/>
                  <a:pt x="1543" y="459"/>
                  <a:pt x="1543" y="459"/>
                </a:cubicBezTo>
                <a:cubicBezTo>
                  <a:pt x="1542" y="459"/>
                  <a:pt x="1542" y="459"/>
                  <a:pt x="1542" y="459"/>
                </a:cubicBezTo>
                <a:cubicBezTo>
                  <a:pt x="1540" y="458"/>
                  <a:pt x="1540" y="458"/>
                  <a:pt x="1540" y="458"/>
                </a:cubicBezTo>
                <a:cubicBezTo>
                  <a:pt x="1538" y="457"/>
                  <a:pt x="1538" y="457"/>
                  <a:pt x="1538" y="457"/>
                </a:cubicBezTo>
                <a:cubicBezTo>
                  <a:pt x="1536" y="457"/>
                  <a:pt x="1536" y="457"/>
                  <a:pt x="1536" y="457"/>
                </a:cubicBezTo>
                <a:cubicBezTo>
                  <a:pt x="1537" y="458"/>
                  <a:pt x="1537" y="458"/>
                  <a:pt x="1537" y="458"/>
                </a:cubicBezTo>
                <a:cubicBezTo>
                  <a:pt x="1539" y="459"/>
                  <a:pt x="1539" y="459"/>
                  <a:pt x="1539" y="459"/>
                </a:cubicBezTo>
                <a:cubicBezTo>
                  <a:pt x="1540" y="460"/>
                  <a:pt x="1540" y="460"/>
                  <a:pt x="1540" y="460"/>
                </a:cubicBezTo>
                <a:cubicBezTo>
                  <a:pt x="1541" y="460"/>
                  <a:pt x="1541" y="460"/>
                  <a:pt x="1541" y="460"/>
                </a:cubicBezTo>
                <a:cubicBezTo>
                  <a:pt x="1543" y="461"/>
                  <a:pt x="1543" y="461"/>
                  <a:pt x="1543" y="461"/>
                </a:cubicBezTo>
                <a:cubicBezTo>
                  <a:pt x="1541" y="460"/>
                  <a:pt x="1541" y="460"/>
                  <a:pt x="1541" y="460"/>
                </a:cubicBezTo>
                <a:cubicBezTo>
                  <a:pt x="1540" y="460"/>
                  <a:pt x="1540" y="460"/>
                  <a:pt x="1540" y="460"/>
                </a:cubicBezTo>
                <a:cubicBezTo>
                  <a:pt x="1537" y="459"/>
                  <a:pt x="1537" y="459"/>
                  <a:pt x="1537" y="459"/>
                </a:cubicBezTo>
                <a:cubicBezTo>
                  <a:pt x="1535" y="459"/>
                  <a:pt x="1535" y="459"/>
                  <a:pt x="1535" y="459"/>
                </a:cubicBezTo>
                <a:cubicBezTo>
                  <a:pt x="1535" y="460"/>
                  <a:pt x="1535" y="460"/>
                  <a:pt x="1535" y="460"/>
                </a:cubicBezTo>
                <a:cubicBezTo>
                  <a:pt x="1533" y="461"/>
                  <a:pt x="1533" y="461"/>
                  <a:pt x="1533" y="461"/>
                </a:cubicBezTo>
                <a:cubicBezTo>
                  <a:pt x="1532" y="464"/>
                  <a:pt x="1532" y="464"/>
                  <a:pt x="1532" y="464"/>
                </a:cubicBezTo>
                <a:cubicBezTo>
                  <a:pt x="1531" y="464"/>
                  <a:pt x="1531" y="464"/>
                  <a:pt x="1531" y="464"/>
                </a:cubicBezTo>
                <a:cubicBezTo>
                  <a:pt x="1528" y="465"/>
                  <a:pt x="1528" y="465"/>
                  <a:pt x="1528" y="465"/>
                </a:cubicBezTo>
                <a:cubicBezTo>
                  <a:pt x="1527" y="465"/>
                  <a:pt x="1527" y="465"/>
                  <a:pt x="1527" y="465"/>
                </a:cubicBezTo>
                <a:cubicBezTo>
                  <a:pt x="1524" y="466"/>
                  <a:pt x="1524" y="466"/>
                  <a:pt x="1524" y="466"/>
                </a:cubicBezTo>
                <a:cubicBezTo>
                  <a:pt x="1523" y="468"/>
                  <a:pt x="1523" y="468"/>
                  <a:pt x="1523" y="468"/>
                </a:cubicBezTo>
                <a:cubicBezTo>
                  <a:pt x="1524" y="471"/>
                  <a:pt x="1524" y="471"/>
                  <a:pt x="1524" y="471"/>
                </a:cubicBezTo>
                <a:cubicBezTo>
                  <a:pt x="1523" y="475"/>
                  <a:pt x="1523" y="475"/>
                  <a:pt x="1523" y="475"/>
                </a:cubicBezTo>
                <a:cubicBezTo>
                  <a:pt x="1520" y="477"/>
                  <a:pt x="1520" y="477"/>
                  <a:pt x="1520" y="477"/>
                </a:cubicBezTo>
                <a:cubicBezTo>
                  <a:pt x="1520" y="479"/>
                  <a:pt x="1520" y="479"/>
                  <a:pt x="1520" y="479"/>
                </a:cubicBezTo>
                <a:cubicBezTo>
                  <a:pt x="1517" y="480"/>
                  <a:pt x="1517" y="480"/>
                  <a:pt x="1517" y="480"/>
                </a:cubicBezTo>
                <a:cubicBezTo>
                  <a:pt x="1515" y="480"/>
                  <a:pt x="1515" y="480"/>
                  <a:pt x="1515" y="480"/>
                </a:cubicBezTo>
                <a:cubicBezTo>
                  <a:pt x="1513" y="479"/>
                  <a:pt x="1513" y="479"/>
                  <a:pt x="1513" y="479"/>
                </a:cubicBezTo>
                <a:cubicBezTo>
                  <a:pt x="1510" y="481"/>
                  <a:pt x="1510" y="481"/>
                  <a:pt x="1510" y="481"/>
                </a:cubicBezTo>
                <a:cubicBezTo>
                  <a:pt x="1509" y="483"/>
                  <a:pt x="1509" y="483"/>
                  <a:pt x="1509" y="483"/>
                </a:cubicBezTo>
                <a:cubicBezTo>
                  <a:pt x="1509" y="484"/>
                  <a:pt x="1509" y="484"/>
                  <a:pt x="1509" y="484"/>
                </a:cubicBezTo>
                <a:cubicBezTo>
                  <a:pt x="1511" y="485"/>
                  <a:pt x="1511" y="485"/>
                  <a:pt x="1511" y="485"/>
                </a:cubicBezTo>
                <a:cubicBezTo>
                  <a:pt x="1509" y="486"/>
                  <a:pt x="1509" y="486"/>
                  <a:pt x="1509" y="486"/>
                </a:cubicBezTo>
                <a:cubicBezTo>
                  <a:pt x="1506" y="487"/>
                  <a:pt x="1506" y="487"/>
                  <a:pt x="1506" y="487"/>
                </a:cubicBezTo>
                <a:cubicBezTo>
                  <a:pt x="1502" y="486"/>
                  <a:pt x="1502" y="486"/>
                  <a:pt x="1502" y="486"/>
                </a:cubicBezTo>
                <a:cubicBezTo>
                  <a:pt x="1500" y="485"/>
                  <a:pt x="1500" y="485"/>
                  <a:pt x="1500" y="485"/>
                </a:cubicBezTo>
                <a:cubicBezTo>
                  <a:pt x="1499" y="486"/>
                  <a:pt x="1499" y="486"/>
                  <a:pt x="1499" y="486"/>
                </a:cubicBezTo>
                <a:cubicBezTo>
                  <a:pt x="1498" y="485"/>
                  <a:pt x="1498" y="485"/>
                  <a:pt x="1498" y="485"/>
                </a:cubicBezTo>
                <a:cubicBezTo>
                  <a:pt x="1497" y="484"/>
                  <a:pt x="1497" y="484"/>
                  <a:pt x="1497" y="484"/>
                </a:cubicBezTo>
                <a:cubicBezTo>
                  <a:pt x="1497" y="482"/>
                  <a:pt x="1497" y="482"/>
                  <a:pt x="1497" y="482"/>
                </a:cubicBezTo>
                <a:cubicBezTo>
                  <a:pt x="1496" y="482"/>
                  <a:pt x="1496" y="482"/>
                  <a:pt x="1496" y="482"/>
                </a:cubicBezTo>
                <a:cubicBezTo>
                  <a:pt x="1494" y="482"/>
                  <a:pt x="1494" y="482"/>
                  <a:pt x="1494" y="482"/>
                </a:cubicBezTo>
                <a:cubicBezTo>
                  <a:pt x="1492" y="482"/>
                  <a:pt x="1492" y="482"/>
                  <a:pt x="1492" y="482"/>
                </a:cubicBezTo>
                <a:cubicBezTo>
                  <a:pt x="1491" y="482"/>
                  <a:pt x="1491" y="482"/>
                  <a:pt x="1491" y="482"/>
                </a:cubicBezTo>
                <a:cubicBezTo>
                  <a:pt x="1491" y="484"/>
                  <a:pt x="1491" y="484"/>
                  <a:pt x="1491" y="484"/>
                </a:cubicBezTo>
                <a:cubicBezTo>
                  <a:pt x="1491" y="485"/>
                  <a:pt x="1491" y="485"/>
                  <a:pt x="1491" y="485"/>
                </a:cubicBezTo>
                <a:cubicBezTo>
                  <a:pt x="1494" y="488"/>
                  <a:pt x="1494" y="488"/>
                  <a:pt x="1494" y="488"/>
                </a:cubicBezTo>
                <a:cubicBezTo>
                  <a:pt x="1494" y="489"/>
                  <a:pt x="1494" y="489"/>
                  <a:pt x="1494" y="489"/>
                </a:cubicBezTo>
                <a:cubicBezTo>
                  <a:pt x="1494" y="491"/>
                  <a:pt x="1494" y="491"/>
                  <a:pt x="1494" y="491"/>
                </a:cubicBezTo>
                <a:cubicBezTo>
                  <a:pt x="1494" y="492"/>
                  <a:pt x="1494" y="492"/>
                  <a:pt x="1494" y="492"/>
                </a:cubicBezTo>
                <a:cubicBezTo>
                  <a:pt x="1495" y="494"/>
                  <a:pt x="1495" y="494"/>
                  <a:pt x="1495" y="494"/>
                </a:cubicBezTo>
                <a:cubicBezTo>
                  <a:pt x="1495" y="495"/>
                  <a:pt x="1495" y="495"/>
                  <a:pt x="1495" y="495"/>
                </a:cubicBezTo>
                <a:cubicBezTo>
                  <a:pt x="1491" y="495"/>
                  <a:pt x="1491" y="495"/>
                  <a:pt x="1491" y="495"/>
                </a:cubicBezTo>
                <a:cubicBezTo>
                  <a:pt x="1490" y="495"/>
                  <a:pt x="1490" y="495"/>
                  <a:pt x="1490" y="495"/>
                </a:cubicBezTo>
                <a:cubicBezTo>
                  <a:pt x="1489" y="495"/>
                  <a:pt x="1489" y="495"/>
                  <a:pt x="1489" y="495"/>
                </a:cubicBezTo>
                <a:cubicBezTo>
                  <a:pt x="1487" y="495"/>
                  <a:pt x="1487" y="495"/>
                  <a:pt x="1487" y="495"/>
                </a:cubicBezTo>
                <a:cubicBezTo>
                  <a:pt x="1486" y="495"/>
                  <a:pt x="1486" y="495"/>
                  <a:pt x="1486" y="495"/>
                </a:cubicBezTo>
                <a:cubicBezTo>
                  <a:pt x="1484" y="497"/>
                  <a:pt x="1484" y="497"/>
                  <a:pt x="1484" y="497"/>
                </a:cubicBezTo>
                <a:cubicBezTo>
                  <a:pt x="1481" y="493"/>
                  <a:pt x="1481" y="493"/>
                  <a:pt x="1481" y="493"/>
                </a:cubicBezTo>
                <a:cubicBezTo>
                  <a:pt x="1479" y="492"/>
                  <a:pt x="1479" y="492"/>
                  <a:pt x="1479" y="492"/>
                </a:cubicBezTo>
                <a:cubicBezTo>
                  <a:pt x="1477" y="493"/>
                  <a:pt x="1477" y="493"/>
                  <a:pt x="1477" y="493"/>
                </a:cubicBezTo>
                <a:cubicBezTo>
                  <a:pt x="1475" y="495"/>
                  <a:pt x="1475" y="495"/>
                  <a:pt x="1475" y="495"/>
                </a:cubicBezTo>
                <a:cubicBezTo>
                  <a:pt x="1474" y="494"/>
                  <a:pt x="1474" y="494"/>
                  <a:pt x="1474" y="494"/>
                </a:cubicBezTo>
                <a:cubicBezTo>
                  <a:pt x="1473" y="495"/>
                  <a:pt x="1473" y="495"/>
                  <a:pt x="1473" y="495"/>
                </a:cubicBezTo>
                <a:cubicBezTo>
                  <a:pt x="1472" y="494"/>
                  <a:pt x="1472" y="494"/>
                  <a:pt x="1472" y="494"/>
                </a:cubicBezTo>
                <a:cubicBezTo>
                  <a:pt x="1470" y="495"/>
                  <a:pt x="1470" y="495"/>
                  <a:pt x="1470" y="495"/>
                </a:cubicBezTo>
                <a:cubicBezTo>
                  <a:pt x="1469" y="496"/>
                  <a:pt x="1469" y="496"/>
                  <a:pt x="1469" y="496"/>
                </a:cubicBezTo>
                <a:cubicBezTo>
                  <a:pt x="1466" y="496"/>
                  <a:pt x="1466" y="496"/>
                  <a:pt x="1466" y="496"/>
                </a:cubicBezTo>
                <a:cubicBezTo>
                  <a:pt x="1464" y="498"/>
                  <a:pt x="1464" y="498"/>
                  <a:pt x="1464" y="498"/>
                </a:cubicBezTo>
                <a:cubicBezTo>
                  <a:pt x="1465" y="499"/>
                  <a:pt x="1465" y="499"/>
                  <a:pt x="1465" y="499"/>
                </a:cubicBezTo>
                <a:cubicBezTo>
                  <a:pt x="1467" y="498"/>
                  <a:pt x="1467" y="498"/>
                  <a:pt x="1467" y="498"/>
                </a:cubicBezTo>
                <a:cubicBezTo>
                  <a:pt x="1468" y="499"/>
                  <a:pt x="1468" y="499"/>
                  <a:pt x="1468" y="499"/>
                </a:cubicBezTo>
                <a:cubicBezTo>
                  <a:pt x="1469" y="500"/>
                  <a:pt x="1469" y="500"/>
                  <a:pt x="1469" y="500"/>
                </a:cubicBezTo>
                <a:cubicBezTo>
                  <a:pt x="1467" y="499"/>
                  <a:pt x="1467" y="499"/>
                  <a:pt x="1467" y="499"/>
                </a:cubicBezTo>
                <a:cubicBezTo>
                  <a:pt x="1466" y="499"/>
                  <a:pt x="1466" y="499"/>
                  <a:pt x="1466" y="499"/>
                </a:cubicBezTo>
                <a:cubicBezTo>
                  <a:pt x="1467" y="501"/>
                  <a:pt x="1467" y="501"/>
                  <a:pt x="1467" y="501"/>
                </a:cubicBezTo>
                <a:cubicBezTo>
                  <a:pt x="1467" y="500"/>
                  <a:pt x="1467" y="500"/>
                  <a:pt x="1467" y="500"/>
                </a:cubicBezTo>
                <a:cubicBezTo>
                  <a:pt x="1468" y="500"/>
                  <a:pt x="1468" y="500"/>
                  <a:pt x="1468" y="500"/>
                </a:cubicBezTo>
                <a:cubicBezTo>
                  <a:pt x="1469" y="502"/>
                  <a:pt x="1469" y="502"/>
                  <a:pt x="1469" y="502"/>
                </a:cubicBezTo>
                <a:cubicBezTo>
                  <a:pt x="1468" y="502"/>
                  <a:pt x="1468" y="502"/>
                  <a:pt x="1468" y="502"/>
                </a:cubicBezTo>
                <a:cubicBezTo>
                  <a:pt x="1466" y="503"/>
                  <a:pt x="1466" y="503"/>
                  <a:pt x="1466" y="503"/>
                </a:cubicBezTo>
                <a:cubicBezTo>
                  <a:pt x="1466" y="503"/>
                  <a:pt x="1466" y="503"/>
                  <a:pt x="1466" y="503"/>
                </a:cubicBezTo>
                <a:cubicBezTo>
                  <a:pt x="1468" y="503"/>
                  <a:pt x="1468" y="503"/>
                  <a:pt x="1468" y="503"/>
                </a:cubicBezTo>
                <a:cubicBezTo>
                  <a:pt x="1468" y="506"/>
                  <a:pt x="1468" y="506"/>
                  <a:pt x="1468" y="506"/>
                </a:cubicBezTo>
                <a:cubicBezTo>
                  <a:pt x="1468" y="507"/>
                  <a:pt x="1468" y="507"/>
                  <a:pt x="1468" y="507"/>
                </a:cubicBezTo>
                <a:cubicBezTo>
                  <a:pt x="1470" y="505"/>
                  <a:pt x="1470" y="505"/>
                  <a:pt x="1470" y="505"/>
                </a:cubicBezTo>
                <a:cubicBezTo>
                  <a:pt x="1472" y="506"/>
                  <a:pt x="1472" y="506"/>
                  <a:pt x="1472" y="506"/>
                </a:cubicBezTo>
                <a:cubicBezTo>
                  <a:pt x="1473" y="506"/>
                  <a:pt x="1473" y="506"/>
                  <a:pt x="1473" y="506"/>
                </a:cubicBezTo>
                <a:cubicBezTo>
                  <a:pt x="1476" y="507"/>
                  <a:pt x="1476" y="507"/>
                  <a:pt x="1476" y="507"/>
                </a:cubicBezTo>
                <a:cubicBezTo>
                  <a:pt x="1477" y="508"/>
                  <a:pt x="1477" y="508"/>
                  <a:pt x="1477" y="508"/>
                </a:cubicBezTo>
                <a:cubicBezTo>
                  <a:pt x="1478" y="508"/>
                  <a:pt x="1478" y="508"/>
                  <a:pt x="1478" y="508"/>
                </a:cubicBezTo>
                <a:cubicBezTo>
                  <a:pt x="1480" y="509"/>
                  <a:pt x="1480" y="509"/>
                  <a:pt x="1480" y="509"/>
                </a:cubicBezTo>
                <a:cubicBezTo>
                  <a:pt x="1482" y="508"/>
                  <a:pt x="1482" y="508"/>
                  <a:pt x="1482" y="508"/>
                </a:cubicBezTo>
                <a:cubicBezTo>
                  <a:pt x="1483" y="508"/>
                  <a:pt x="1483" y="508"/>
                  <a:pt x="1483" y="508"/>
                </a:cubicBezTo>
                <a:cubicBezTo>
                  <a:pt x="1482" y="509"/>
                  <a:pt x="1482" y="509"/>
                  <a:pt x="1482" y="509"/>
                </a:cubicBezTo>
                <a:cubicBezTo>
                  <a:pt x="1483" y="510"/>
                  <a:pt x="1483" y="510"/>
                  <a:pt x="1483" y="510"/>
                </a:cubicBezTo>
                <a:cubicBezTo>
                  <a:pt x="1485" y="509"/>
                  <a:pt x="1485" y="509"/>
                  <a:pt x="1485" y="509"/>
                </a:cubicBezTo>
                <a:cubicBezTo>
                  <a:pt x="1486" y="510"/>
                  <a:pt x="1486" y="510"/>
                  <a:pt x="1486" y="510"/>
                </a:cubicBezTo>
                <a:cubicBezTo>
                  <a:pt x="1485" y="512"/>
                  <a:pt x="1485" y="512"/>
                  <a:pt x="1485" y="512"/>
                </a:cubicBezTo>
                <a:cubicBezTo>
                  <a:pt x="1486" y="513"/>
                  <a:pt x="1486" y="513"/>
                  <a:pt x="1486" y="513"/>
                </a:cubicBezTo>
                <a:cubicBezTo>
                  <a:pt x="1487" y="514"/>
                  <a:pt x="1487" y="514"/>
                  <a:pt x="1487" y="514"/>
                </a:cubicBezTo>
                <a:cubicBezTo>
                  <a:pt x="1489" y="512"/>
                  <a:pt x="1489" y="512"/>
                  <a:pt x="1489" y="512"/>
                </a:cubicBezTo>
                <a:cubicBezTo>
                  <a:pt x="1491" y="513"/>
                  <a:pt x="1491" y="513"/>
                  <a:pt x="1491" y="513"/>
                </a:cubicBezTo>
                <a:cubicBezTo>
                  <a:pt x="1492" y="514"/>
                  <a:pt x="1492" y="514"/>
                  <a:pt x="1492" y="514"/>
                </a:cubicBezTo>
                <a:cubicBezTo>
                  <a:pt x="1491" y="513"/>
                  <a:pt x="1491" y="513"/>
                  <a:pt x="1491" y="513"/>
                </a:cubicBezTo>
                <a:cubicBezTo>
                  <a:pt x="1489" y="513"/>
                  <a:pt x="1489" y="513"/>
                  <a:pt x="1489" y="513"/>
                </a:cubicBezTo>
                <a:cubicBezTo>
                  <a:pt x="1488" y="515"/>
                  <a:pt x="1488" y="515"/>
                  <a:pt x="1488" y="515"/>
                </a:cubicBezTo>
                <a:cubicBezTo>
                  <a:pt x="1489" y="516"/>
                  <a:pt x="1489" y="516"/>
                  <a:pt x="1489" y="516"/>
                </a:cubicBezTo>
                <a:cubicBezTo>
                  <a:pt x="1489" y="518"/>
                  <a:pt x="1489" y="518"/>
                  <a:pt x="1489" y="518"/>
                </a:cubicBezTo>
                <a:cubicBezTo>
                  <a:pt x="1488" y="519"/>
                  <a:pt x="1488" y="519"/>
                  <a:pt x="1488" y="519"/>
                </a:cubicBezTo>
                <a:cubicBezTo>
                  <a:pt x="1489" y="521"/>
                  <a:pt x="1489" y="521"/>
                  <a:pt x="1489" y="521"/>
                </a:cubicBezTo>
                <a:cubicBezTo>
                  <a:pt x="1490" y="521"/>
                  <a:pt x="1490" y="521"/>
                  <a:pt x="1490" y="521"/>
                </a:cubicBezTo>
                <a:cubicBezTo>
                  <a:pt x="1493" y="524"/>
                  <a:pt x="1493" y="524"/>
                  <a:pt x="1493" y="524"/>
                </a:cubicBezTo>
                <a:cubicBezTo>
                  <a:pt x="1495" y="524"/>
                  <a:pt x="1495" y="524"/>
                  <a:pt x="1495" y="524"/>
                </a:cubicBezTo>
                <a:cubicBezTo>
                  <a:pt x="1498" y="526"/>
                  <a:pt x="1498" y="526"/>
                  <a:pt x="1498" y="526"/>
                </a:cubicBezTo>
                <a:cubicBezTo>
                  <a:pt x="1498" y="527"/>
                  <a:pt x="1498" y="527"/>
                  <a:pt x="1498" y="527"/>
                </a:cubicBezTo>
                <a:cubicBezTo>
                  <a:pt x="1499" y="529"/>
                  <a:pt x="1499" y="529"/>
                  <a:pt x="1499" y="529"/>
                </a:cubicBezTo>
                <a:cubicBezTo>
                  <a:pt x="1498" y="531"/>
                  <a:pt x="1498" y="531"/>
                  <a:pt x="1498" y="531"/>
                </a:cubicBezTo>
                <a:cubicBezTo>
                  <a:pt x="1497" y="531"/>
                  <a:pt x="1497" y="531"/>
                  <a:pt x="1497" y="531"/>
                </a:cubicBezTo>
                <a:cubicBezTo>
                  <a:pt x="1497" y="533"/>
                  <a:pt x="1497" y="533"/>
                  <a:pt x="1497" y="533"/>
                </a:cubicBezTo>
                <a:cubicBezTo>
                  <a:pt x="1499" y="533"/>
                  <a:pt x="1499" y="533"/>
                  <a:pt x="1499" y="533"/>
                </a:cubicBezTo>
                <a:cubicBezTo>
                  <a:pt x="1502" y="536"/>
                  <a:pt x="1502" y="536"/>
                  <a:pt x="1502" y="536"/>
                </a:cubicBezTo>
                <a:cubicBezTo>
                  <a:pt x="1504" y="541"/>
                  <a:pt x="1504" y="541"/>
                  <a:pt x="1504" y="541"/>
                </a:cubicBezTo>
                <a:cubicBezTo>
                  <a:pt x="1501" y="539"/>
                  <a:pt x="1501" y="539"/>
                  <a:pt x="1501" y="539"/>
                </a:cubicBezTo>
                <a:cubicBezTo>
                  <a:pt x="1501" y="536"/>
                  <a:pt x="1501" y="536"/>
                  <a:pt x="1501" y="536"/>
                </a:cubicBezTo>
                <a:cubicBezTo>
                  <a:pt x="1499" y="535"/>
                  <a:pt x="1499" y="535"/>
                  <a:pt x="1499" y="535"/>
                </a:cubicBezTo>
                <a:cubicBezTo>
                  <a:pt x="1498" y="536"/>
                  <a:pt x="1498" y="536"/>
                  <a:pt x="1498" y="536"/>
                </a:cubicBezTo>
                <a:cubicBezTo>
                  <a:pt x="1497" y="541"/>
                  <a:pt x="1497" y="541"/>
                  <a:pt x="1497" y="541"/>
                </a:cubicBezTo>
                <a:cubicBezTo>
                  <a:pt x="1497" y="545"/>
                  <a:pt x="1497" y="545"/>
                  <a:pt x="1497" y="545"/>
                </a:cubicBezTo>
                <a:cubicBezTo>
                  <a:pt x="1498" y="546"/>
                  <a:pt x="1498" y="546"/>
                  <a:pt x="1498" y="546"/>
                </a:cubicBezTo>
                <a:cubicBezTo>
                  <a:pt x="1497" y="547"/>
                  <a:pt x="1497" y="547"/>
                  <a:pt x="1497" y="547"/>
                </a:cubicBezTo>
                <a:cubicBezTo>
                  <a:pt x="1496" y="554"/>
                  <a:pt x="1496" y="554"/>
                  <a:pt x="1496" y="554"/>
                </a:cubicBezTo>
                <a:cubicBezTo>
                  <a:pt x="1495" y="560"/>
                  <a:pt x="1495" y="560"/>
                  <a:pt x="1495" y="560"/>
                </a:cubicBezTo>
                <a:cubicBezTo>
                  <a:pt x="1492" y="561"/>
                  <a:pt x="1492" y="561"/>
                  <a:pt x="1492" y="561"/>
                </a:cubicBezTo>
                <a:cubicBezTo>
                  <a:pt x="1491" y="562"/>
                  <a:pt x="1491" y="562"/>
                  <a:pt x="1491" y="562"/>
                </a:cubicBezTo>
                <a:cubicBezTo>
                  <a:pt x="1490" y="562"/>
                  <a:pt x="1490" y="562"/>
                  <a:pt x="1490" y="562"/>
                </a:cubicBezTo>
                <a:cubicBezTo>
                  <a:pt x="1489" y="563"/>
                  <a:pt x="1489" y="563"/>
                  <a:pt x="1489" y="563"/>
                </a:cubicBezTo>
                <a:cubicBezTo>
                  <a:pt x="1484" y="560"/>
                  <a:pt x="1484" y="560"/>
                  <a:pt x="1484" y="560"/>
                </a:cubicBezTo>
                <a:cubicBezTo>
                  <a:pt x="1482" y="560"/>
                  <a:pt x="1482" y="560"/>
                  <a:pt x="1482" y="560"/>
                </a:cubicBezTo>
                <a:cubicBezTo>
                  <a:pt x="1480" y="562"/>
                  <a:pt x="1480" y="562"/>
                  <a:pt x="1480" y="562"/>
                </a:cubicBezTo>
                <a:cubicBezTo>
                  <a:pt x="1476" y="561"/>
                  <a:pt x="1476" y="561"/>
                  <a:pt x="1476" y="561"/>
                </a:cubicBezTo>
                <a:cubicBezTo>
                  <a:pt x="1476" y="560"/>
                  <a:pt x="1476" y="560"/>
                  <a:pt x="1476" y="560"/>
                </a:cubicBezTo>
                <a:cubicBezTo>
                  <a:pt x="1472" y="559"/>
                  <a:pt x="1472" y="559"/>
                  <a:pt x="1472" y="559"/>
                </a:cubicBezTo>
                <a:cubicBezTo>
                  <a:pt x="1467" y="561"/>
                  <a:pt x="1467" y="561"/>
                  <a:pt x="1467" y="561"/>
                </a:cubicBezTo>
                <a:cubicBezTo>
                  <a:pt x="1464" y="561"/>
                  <a:pt x="1464" y="561"/>
                  <a:pt x="1464" y="561"/>
                </a:cubicBezTo>
                <a:cubicBezTo>
                  <a:pt x="1457" y="559"/>
                  <a:pt x="1457" y="559"/>
                  <a:pt x="1457" y="559"/>
                </a:cubicBezTo>
                <a:cubicBezTo>
                  <a:pt x="1454" y="558"/>
                  <a:pt x="1454" y="558"/>
                  <a:pt x="1454" y="558"/>
                </a:cubicBezTo>
                <a:cubicBezTo>
                  <a:pt x="1453" y="557"/>
                  <a:pt x="1453" y="557"/>
                  <a:pt x="1453" y="557"/>
                </a:cubicBezTo>
                <a:cubicBezTo>
                  <a:pt x="1450" y="558"/>
                  <a:pt x="1450" y="558"/>
                  <a:pt x="1450" y="558"/>
                </a:cubicBezTo>
                <a:cubicBezTo>
                  <a:pt x="1448" y="559"/>
                  <a:pt x="1448" y="559"/>
                  <a:pt x="1448" y="559"/>
                </a:cubicBezTo>
                <a:cubicBezTo>
                  <a:pt x="1445" y="558"/>
                  <a:pt x="1445" y="558"/>
                  <a:pt x="1445" y="558"/>
                </a:cubicBezTo>
                <a:cubicBezTo>
                  <a:pt x="1443" y="558"/>
                  <a:pt x="1443" y="558"/>
                  <a:pt x="1443" y="558"/>
                </a:cubicBezTo>
                <a:cubicBezTo>
                  <a:pt x="1441" y="560"/>
                  <a:pt x="1441" y="560"/>
                  <a:pt x="1441" y="560"/>
                </a:cubicBezTo>
                <a:cubicBezTo>
                  <a:pt x="1439" y="557"/>
                  <a:pt x="1439" y="557"/>
                  <a:pt x="1439" y="557"/>
                </a:cubicBezTo>
                <a:cubicBezTo>
                  <a:pt x="1437" y="556"/>
                  <a:pt x="1437" y="556"/>
                  <a:pt x="1437" y="556"/>
                </a:cubicBezTo>
                <a:cubicBezTo>
                  <a:pt x="1435" y="557"/>
                  <a:pt x="1435" y="557"/>
                  <a:pt x="1435" y="557"/>
                </a:cubicBezTo>
                <a:cubicBezTo>
                  <a:pt x="1435" y="557"/>
                  <a:pt x="1435" y="557"/>
                  <a:pt x="1435" y="557"/>
                </a:cubicBezTo>
                <a:cubicBezTo>
                  <a:pt x="1431" y="559"/>
                  <a:pt x="1431" y="559"/>
                  <a:pt x="1431" y="559"/>
                </a:cubicBezTo>
                <a:cubicBezTo>
                  <a:pt x="1431" y="560"/>
                  <a:pt x="1431" y="560"/>
                  <a:pt x="1431" y="560"/>
                </a:cubicBezTo>
                <a:cubicBezTo>
                  <a:pt x="1432" y="561"/>
                  <a:pt x="1432" y="561"/>
                  <a:pt x="1432" y="561"/>
                </a:cubicBezTo>
                <a:cubicBezTo>
                  <a:pt x="1431" y="562"/>
                  <a:pt x="1431" y="562"/>
                  <a:pt x="1431" y="562"/>
                </a:cubicBezTo>
                <a:cubicBezTo>
                  <a:pt x="1428" y="563"/>
                  <a:pt x="1428" y="563"/>
                  <a:pt x="1428" y="563"/>
                </a:cubicBezTo>
                <a:cubicBezTo>
                  <a:pt x="1426" y="562"/>
                  <a:pt x="1426" y="562"/>
                  <a:pt x="1426" y="562"/>
                </a:cubicBezTo>
                <a:cubicBezTo>
                  <a:pt x="1422" y="563"/>
                  <a:pt x="1422" y="563"/>
                  <a:pt x="1422" y="563"/>
                </a:cubicBezTo>
                <a:cubicBezTo>
                  <a:pt x="1421" y="566"/>
                  <a:pt x="1421" y="566"/>
                  <a:pt x="1421" y="566"/>
                </a:cubicBezTo>
                <a:cubicBezTo>
                  <a:pt x="1422" y="568"/>
                  <a:pt x="1422" y="568"/>
                  <a:pt x="1422" y="568"/>
                </a:cubicBezTo>
                <a:cubicBezTo>
                  <a:pt x="1424" y="567"/>
                  <a:pt x="1424" y="567"/>
                  <a:pt x="1424" y="567"/>
                </a:cubicBezTo>
                <a:cubicBezTo>
                  <a:pt x="1424" y="568"/>
                  <a:pt x="1424" y="568"/>
                  <a:pt x="1424" y="568"/>
                </a:cubicBezTo>
                <a:cubicBezTo>
                  <a:pt x="1424" y="569"/>
                  <a:pt x="1424" y="569"/>
                  <a:pt x="1424" y="569"/>
                </a:cubicBezTo>
                <a:cubicBezTo>
                  <a:pt x="1424" y="572"/>
                  <a:pt x="1424" y="572"/>
                  <a:pt x="1424" y="572"/>
                </a:cubicBezTo>
                <a:cubicBezTo>
                  <a:pt x="1425" y="572"/>
                  <a:pt x="1425" y="572"/>
                  <a:pt x="1425" y="572"/>
                </a:cubicBezTo>
                <a:cubicBezTo>
                  <a:pt x="1426" y="570"/>
                  <a:pt x="1426" y="570"/>
                  <a:pt x="1426" y="570"/>
                </a:cubicBezTo>
                <a:cubicBezTo>
                  <a:pt x="1426" y="572"/>
                  <a:pt x="1426" y="572"/>
                  <a:pt x="1426" y="572"/>
                </a:cubicBezTo>
                <a:cubicBezTo>
                  <a:pt x="1427" y="573"/>
                  <a:pt x="1427" y="573"/>
                  <a:pt x="1427" y="573"/>
                </a:cubicBezTo>
                <a:cubicBezTo>
                  <a:pt x="1425" y="574"/>
                  <a:pt x="1425" y="574"/>
                  <a:pt x="1425" y="574"/>
                </a:cubicBezTo>
                <a:cubicBezTo>
                  <a:pt x="1427" y="575"/>
                  <a:pt x="1427" y="575"/>
                  <a:pt x="1427" y="575"/>
                </a:cubicBezTo>
                <a:cubicBezTo>
                  <a:pt x="1425" y="577"/>
                  <a:pt x="1425" y="577"/>
                  <a:pt x="1425" y="577"/>
                </a:cubicBezTo>
                <a:cubicBezTo>
                  <a:pt x="1425" y="577"/>
                  <a:pt x="1425" y="577"/>
                  <a:pt x="1425" y="577"/>
                </a:cubicBezTo>
                <a:cubicBezTo>
                  <a:pt x="1425" y="580"/>
                  <a:pt x="1425" y="580"/>
                  <a:pt x="1425" y="580"/>
                </a:cubicBezTo>
                <a:cubicBezTo>
                  <a:pt x="1426" y="583"/>
                  <a:pt x="1426" y="583"/>
                  <a:pt x="1426" y="583"/>
                </a:cubicBezTo>
                <a:cubicBezTo>
                  <a:pt x="1426" y="589"/>
                  <a:pt x="1426" y="589"/>
                  <a:pt x="1426" y="589"/>
                </a:cubicBezTo>
                <a:cubicBezTo>
                  <a:pt x="1426" y="590"/>
                  <a:pt x="1426" y="590"/>
                  <a:pt x="1426" y="590"/>
                </a:cubicBezTo>
                <a:cubicBezTo>
                  <a:pt x="1425" y="593"/>
                  <a:pt x="1425" y="593"/>
                  <a:pt x="1425" y="593"/>
                </a:cubicBezTo>
                <a:cubicBezTo>
                  <a:pt x="1427" y="595"/>
                  <a:pt x="1427" y="595"/>
                  <a:pt x="1427" y="595"/>
                </a:cubicBezTo>
                <a:cubicBezTo>
                  <a:pt x="1426" y="596"/>
                  <a:pt x="1426" y="596"/>
                  <a:pt x="1426" y="596"/>
                </a:cubicBezTo>
                <a:cubicBezTo>
                  <a:pt x="1425" y="599"/>
                  <a:pt x="1425" y="599"/>
                  <a:pt x="1425" y="599"/>
                </a:cubicBezTo>
                <a:cubicBezTo>
                  <a:pt x="1424" y="602"/>
                  <a:pt x="1424" y="602"/>
                  <a:pt x="1424" y="602"/>
                </a:cubicBezTo>
                <a:cubicBezTo>
                  <a:pt x="1422" y="605"/>
                  <a:pt x="1422" y="605"/>
                  <a:pt x="1422" y="605"/>
                </a:cubicBezTo>
                <a:cubicBezTo>
                  <a:pt x="1422" y="607"/>
                  <a:pt x="1422" y="607"/>
                  <a:pt x="1422" y="607"/>
                </a:cubicBezTo>
                <a:cubicBezTo>
                  <a:pt x="1419" y="611"/>
                  <a:pt x="1419" y="611"/>
                  <a:pt x="1419" y="611"/>
                </a:cubicBezTo>
                <a:cubicBezTo>
                  <a:pt x="1418" y="617"/>
                  <a:pt x="1418" y="617"/>
                  <a:pt x="1418" y="617"/>
                </a:cubicBezTo>
                <a:cubicBezTo>
                  <a:pt x="1418" y="619"/>
                  <a:pt x="1418" y="619"/>
                  <a:pt x="1418" y="619"/>
                </a:cubicBezTo>
                <a:cubicBezTo>
                  <a:pt x="1420" y="619"/>
                  <a:pt x="1420" y="619"/>
                  <a:pt x="1420" y="619"/>
                </a:cubicBezTo>
                <a:cubicBezTo>
                  <a:pt x="1421" y="617"/>
                  <a:pt x="1421" y="617"/>
                  <a:pt x="1421" y="617"/>
                </a:cubicBezTo>
                <a:cubicBezTo>
                  <a:pt x="1423" y="616"/>
                  <a:pt x="1423" y="616"/>
                  <a:pt x="1423" y="616"/>
                </a:cubicBezTo>
                <a:cubicBezTo>
                  <a:pt x="1423" y="617"/>
                  <a:pt x="1423" y="617"/>
                  <a:pt x="1423" y="617"/>
                </a:cubicBezTo>
                <a:cubicBezTo>
                  <a:pt x="1423" y="618"/>
                  <a:pt x="1423" y="618"/>
                  <a:pt x="1423" y="618"/>
                </a:cubicBezTo>
                <a:cubicBezTo>
                  <a:pt x="1420" y="620"/>
                  <a:pt x="1420" y="620"/>
                  <a:pt x="1420" y="620"/>
                </a:cubicBezTo>
                <a:cubicBezTo>
                  <a:pt x="1420" y="622"/>
                  <a:pt x="1420" y="622"/>
                  <a:pt x="1420" y="622"/>
                </a:cubicBezTo>
                <a:cubicBezTo>
                  <a:pt x="1421" y="623"/>
                  <a:pt x="1421" y="623"/>
                  <a:pt x="1421" y="623"/>
                </a:cubicBezTo>
                <a:cubicBezTo>
                  <a:pt x="1423" y="621"/>
                  <a:pt x="1423" y="621"/>
                  <a:pt x="1423" y="621"/>
                </a:cubicBezTo>
                <a:cubicBezTo>
                  <a:pt x="1425" y="621"/>
                  <a:pt x="1425" y="621"/>
                  <a:pt x="1425" y="621"/>
                </a:cubicBezTo>
                <a:cubicBezTo>
                  <a:pt x="1424" y="623"/>
                  <a:pt x="1424" y="623"/>
                  <a:pt x="1424" y="623"/>
                </a:cubicBezTo>
                <a:cubicBezTo>
                  <a:pt x="1425" y="625"/>
                  <a:pt x="1425" y="625"/>
                  <a:pt x="1425" y="625"/>
                </a:cubicBezTo>
                <a:cubicBezTo>
                  <a:pt x="1424" y="628"/>
                  <a:pt x="1424" y="628"/>
                  <a:pt x="1424" y="628"/>
                </a:cubicBezTo>
                <a:cubicBezTo>
                  <a:pt x="1424" y="633"/>
                  <a:pt x="1424" y="633"/>
                  <a:pt x="1424" y="633"/>
                </a:cubicBezTo>
                <a:cubicBezTo>
                  <a:pt x="1423" y="637"/>
                  <a:pt x="1423" y="637"/>
                  <a:pt x="1423" y="637"/>
                </a:cubicBezTo>
                <a:cubicBezTo>
                  <a:pt x="1422" y="638"/>
                  <a:pt x="1422" y="638"/>
                  <a:pt x="1422" y="638"/>
                </a:cubicBezTo>
                <a:cubicBezTo>
                  <a:pt x="1423" y="639"/>
                  <a:pt x="1423" y="639"/>
                  <a:pt x="1423" y="639"/>
                </a:cubicBezTo>
                <a:cubicBezTo>
                  <a:pt x="1426" y="637"/>
                  <a:pt x="1426" y="637"/>
                  <a:pt x="1426" y="637"/>
                </a:cubicBezTo>
                <a:cubicBezTo>
                  <a:pt x="1430" y="638"/>
                  <a:pt x="1430" y="638"/>
                  <a:pt x="1430" y="638"/>
                </a:cubicBezTo>
                <a:cubicBezTo>
                  <a:pt x="1432" y="640"/>
                  <a:pt x="1432" y="640"/>
                  <a:pt x="1432" y="640"/>
                </a:cubicBezTo>
                <a:cubicBezTo>
                  <a:pt x="1435" y="638"/>
                  <a:pt x="1435" y="638"/>
                  <a:pt x="1435" y="638"/>
                </a:cubicBezTo>
                <a:cubicBezTo>
                  <a:pt x="1438" y="638"/>
                  <a:pt x="1438" y="638"/>
                  <a:pt x="1438" y="638"/>
                </a:cubicBezTo>
                <a:cubicBezTo>
                  <a:pt x="1438" y="637"/>
                  <a:pt x="1438" y="637"/>
                  <a:pt x="1438" y="637"/>
                </a:cubicBezTo>
                <a:cubicBezTo>
                  <a:pt x="1438" y="637"/>
                  <a:pt x="1438" y="637"/>
                  <a:pt x="1438" y="637"/>
                </a:cubicBezTo>
                <a:cubicBezTo>
                  <a:pt x="1440" y="637"/>
                  <a:pt x="1440" y="637"/>
                  <a:pt x="1440" y="637"/>
                </a:cubicBezTo>
                <a:cubicBezTo>
                  <a:pt x="1443" y="638"/>
                  <a:pt x="1443" y="638"/>
                  <a:pt x="1443" y="638"/>
                </a:cubicBezTo>
                <a:cubicBezTo>
                  <a:pt x="1447" y="642"/>
                  <a:pt x="1447" y="642"/>
                  <a:pt x="1447" y="642"/>
                </a:cubicBezTo>
                <a:cubicBezTo>
                  <a:pt x="1447" y="642"/>
                  <a:pt x="1447" y="642"/>
                  <a:pt x="1447" y="642"/>
                </a:cubicBezTo>
                <a:cubicBezTo>
                  <a:pt x="1449" y="647"/>
                  <a:pt x="1449" y="647"/>
                  <a:pt x="1449" y="647"/>
                </a:cubicBezTo>
                <a:cubicBezTo>
                  <a:pt x="1452" y="650"/>
                  <a:pt x="1452" y="650"/>
                  <a:pt x="1452" y="650"/>
                </a:cubicBezTo>
                <a:cubicBezTo>
                  <a:pt x="1455" y="651"/>
                  <a:pt x="1455" y="651"/>
                  <a:pt x="1455" y="651"/>
                </a:cubicBezTo>
                <a:cubicBezTo>
                  <a:pt x="1458" y="649"/>
                  <a:pt x="1458" y="649"/>
                  <a:pt x="1458" y="649"/>
                </a:cubicBezTo>
                <a:cubicBezTo>
                  <a:pt x="1458" y="647"/>
                  <a:pt x="1458" y="647"/>
                  <a:pt x="1458" y="647"/>
                </a:cubicBezTo>
                <a:cubicBezTo>
                  <a:pt x="1460" y="646"/>
                  <a:pt x="1460" y="646"/>
                  <a:pt x="1460" y="646"/>
                </a:cubicBezTo>
                <a:cubicBezTo>
                  <a:pt x="1464" y="646"/>
                  <a:pt x="1464" y="646"/>
                  <a:pt x="1464" y="646"/>
                </a:cubicBezTo>
                <a:cubicBezTo>
                  <a:pt x="1467" y="643"/>
                  <a:pt x="1467" y="643"/>
                  <a:pt x="1467" y="643"/>
                </a:cubicBezTo>
                <a:cubicBezTo>
                  <a:pt x="1470" y="642"/>
                  <a:pt x="1470" y="642"/>
                  <a:pt x="1470" y="642"/>
                </a:cubicBezTo>
                <a:cubicBezTo>
                  <a:pt x="1472" y="641"/>
                  <a:pt x="1472" y="641"/>
                  <a:pt x="1472" y="641"/>
                </a:cubicBezTo>
                <a:cubicBezTo>
                  <a:pt x="1476" y="642"/>
                  <a:pt x="1476" y="642"/>
                  <a:pt x="1476" y="642"/>
                </a:cubicBezTo>
                <a:cubicBezTo>
                  <a:pt x="1479" y="643"/>
                  <a:pt x="1479" y="643"/>
                  <a:pt x="1479" y="643"/>
                </a:cubicBezTo>
                <a:cubicBezTo>
                  <a:pt x="1480" y="642"/>
                  <a:pt x="1480" y="642"/>
                  <a:pt x="1480" y="642"/>
                </a:cubicBezTo>
                <a:cubicBezTo>
                  <a:pt x="1481" y="642"/>
                  <a:pt x="1481" y="642"/>
                  <a:pt x="1481" y="642"/>
                </a:cubicBezTo>
                <a:cubicBezTo>
                  <a:pt x="1483" y="643"/>
                  <a:pt x="1483" y="643"/>
                  <a:pt x="1483" y="643"/>
                </a:cubicBezTo>
                <a:cubicBezTo>
                  <a:pt x="1485" y="642"/>
                  <a:pt x="1485" y="642"/>
                  <a:pt x="1485" y="642"/>
                </a:cubicBezTo>
                <a:cubicBezTo>
                  <a:pt x="1486" y="640"/>
                  <a:pt x="1486" y="640"/>
                  <a:pt x="1486" y="640"/>
                </a:cubicBezTo>
                <a:cubicBezTo>
                  <a:pt x="1488" y="642"/>
                  <a:pt x="1488" y="642"/>
                  <a:pt x="1488" y="642"/>
                </a:cubicBezTo>
                <a:cubicBezTo>
                  <a:pt x="1490" y="643"/>
                  <a:pt x="1490" y="643"/>
                  <a:pt x="1490" y="643"/>
                </a:cubicBezTo>
                <a:cubicBezTo>
                  <a:pt x="1492" y="639"/>
                  <a:pt x="1492" y="639"/>
                  <a:pt x="1492" y="639"/>
                </a:cubicBezTo>
                <a:cubicBezTo>
                  <a:pt x="1492" y="637"/>
                  <a:pt x="1492" y="637"/>
                  <a:pt x="1492" y="637"/>
                </a:cubicBezTo>
                <a:cubicBezTo>
                  <a:pt x="1498" y="634"/>
                  <a:pt x="1498" y="634"/>
                  <a:pt x="1498" y="634"/>
                </a:cubicBezTo>
                <a:cubicBezTo>
                  <a:pt x="1502" y="634"/>
                  <a:pt x="1502" y="634"/>
                  <a:pt x="1502" y="634"/>
                </a:cubicBezTo>
                <a:cubicBezTo>
                  <a:pt x="1503" y="633"/>
                  <a:pt x="1503" y="633"/>
                  <a:pt x="1503" y="633"/>
                </a:cubicBezTo>
                <a:cubicBezTo>
                  <a:pt x="1502" y="632"/>
                  <a:pt x="1502" y="632"/>
                  <a:pt x="1502" y="632"/>
                </a:cubicBezTo>
                <a:cubicBezTo>
                  <a:pt x="1502" y="629"/>
                  <a:pt x="1502" y="629"/>
                  <a:pt x="1502" y="629"/>
                </a:cubicBezTo>
                <a:cubicBezTo>
                  <a:pt x="1505" y="624"/>
                  <a:pt x="1505" y="624"/>
                  <a:pt x="1505" y="624"/>
                </a:cubicBezTo>
                <a:cubicBezTo>
                  <a:pt x="1505" y="622"/>
                  <a:pt x="1505" y="622"/>
                  <a:pt x="1505" y="622"/>
                </a:cubicBezTo>
                <a:cubicBezTo>
                  <a:pt x="1509" y="621"/>
                  <a:pt x="1509" y="621"/>
                  <a:pt x="1509" y="621"/>
                </a:cubicBezTo>
                <a:cubicBezTo>
                  <a:pt x="1511" y="619"/>
                  <a:pt x="1511" y="619"/>
                  <a:pt x="1511" y="619"/>
                </a:cubicBezTo>
                <a:cubicBezTo>
                  <a:pt x="1508" y="615"/>
                  <a:pt x="1508" y="615"/>
                  <a:pt x="1508" y="615"/>
                </a:cubicBezTo>
                <a:cubicBezTo>
                  <a:pt x="1507" y="615"/>
                  <a:pt x="1507" y="615"/>
                  <a:pt x="1507" y="615"/>
                </a:cubicBezTo>
                <a:cubicBezTo>
                  <a:pt x="1506" y="613"/>
                  <a:pt x="1506" y="613"/>
                  <a:pt x="1506" y="613"/>
                </a:cubicBezTo>
                <a:cubicBezTo>
                  <a:pt x="1505" y="610"/>
                  <a:pt x="1505" y="610"/>
                  <a:pt x="1505" y="610"/>
                </a:cubicBezTo>
                <a:cubicBezTo>
                  <a:pt x="1506" y="608"/>
                  <a:pt x="1506" y="608"/>
                  <a:pt x="1506" y="608"/>
                </a:cubicBezTo>
                <a:cubicBezTo>
                  <a:pt x="1510" y="602"/>
                  <a:pt x="1510" y="602"/>
                  <a:pt x="1510" y="602"/>
                </a:cubicBezTo>
                <a:cubicBezTo>
                  <a:pt x="1512" y="601"/>
                  <a:pt x="1512" y="601"/>
                  <a:pt x="1512" y="601"/>
                </a:cubicBezTo>
                <a:cubicBezTo>
                  <a:pt x="1515" y="596"/>
                  <a:pt x="1515" y="596"/>
                  <a:pt x="1515" y="596"/>
                </a:cubicBezTo>
                <a:cubicBezTo>
                  <a:pt x="1516" y="596"/>
                  <a:pt x="1516" y="596"/>
                  <a:pt x="1516" y="596"/>
                </a:cubicBezTo>
                <a:cubicBezTo>
                  <a:pt x="1515" y="596"/>
                  <a:pt x="1515" y="596"/>
                  <a:pt x="1515" y="596"/>
                </a:cubicBezTo>
                <a:cubicBezTo>
                  <a:pt x="1516" y="597"/>
                  <a:pt x="1516" y="597"/>
                  <a:pt x="1516" y="597"/>
                </a:cubicBezTo>
                <a:cubicBezTo>
                  <a:pt x="1517" y="596"/>
                  <a:pt x="1517" y="596"/>
                  <a:pt x="1517" y="596"/>
                </a:cubicBezTo>
                <a:cubicBezTo>
                  <a:pt x="1517" y="593"/>
                  <a:pt x="1517" y="593"/>
                  <a:pt x="1517" y="593"/>
                </a:cubicBezTo>
                <a:cubicBezTo>
                  <a:pt x="1516" y="592"/>
                  <a:pt x="1516" y="592"/>
                  <a:pt x="1516" y="592"/>
                </a:cubicBezTo>
                <a:cubicBezTo>
                  <a:pt x="1519" y="591"/>
                  <a:pt x="1519" y="591"/>
                  <a:pt x="1519" y="591"/>
                </a:cubicBezTo>
                <a:cubicBezTo>
                  <a:pt x="1521" y="589"/>
                  <a:pt x="1521" y="589"/>
                  <a:pt x="1521" y="589"/>
                </a:cubicBezTo>
                <a:cubicBezTo>
                  <a:pt x="1525" y="590"/>
                  <a:pt x="1525" y="590"/>
                  <a:pt x="1525" y="590"/>
                </a:cubicBezTo>
                <a:cubicBezTo>
                  <a:pt x="1525" y="590"/>
                  <a:pt x="1528" y="588"/>
                  <a:pt x="1528" y="588"/>
                </a:cubicBezTo>
                <a:cubicBezTo>
                  <a:pt x="1528" y="588"/>
                  <a:pt x="1530" y="586"/>
                  <a:pt x="1530" y="586"/>
                </a:cubicBezTo>
                <a:cubicBezTo>
                  <a:pt x="1534" y="584"/>
                  <a:pt x="1534" y="584"/>
                  <a:pt x="1534" y="584"/>
                </a:cubicBezTo>
                <a:cubicBezTo>
                  <a:pt x="1535" y="582"/>
                  <a:pt x="1535" y="582"/>
                  <a:pt x="1535" y="582"/>
                </a:cubicBezTo>
                <a:cubicBezTo>
                  <a:pt x="1535" y="579"/>
                  <a:pt x="1535" y="579"/>
                  <a:pt x="1535" y="579"/>
                </a:cubicBezTo>
                <a:cubicBezTo>
                  <a:pt x="1535" y="576"/>
                  <a:pt x="1535" y="576"/>
                  <a:pt x="1535" y="576"/>
                </a:cubicBezTo>
                <a:cubicBezTo>
                  <a:pt x="1536" y="575"/>
                  <a:pt x="1536" y="575"/>
                  <a:pt x="1536" y="575"/>
                </a:cubicBezTo>
                <a:cubicBezTo>
                  <a:pt x="1536" y="574"/>
                  <a:pt x="1536" y="574"/>
                  <a:pt x="1536" y="574"/>
                </a:cubicBezTo>
                <a:cubicBezTo>
                  <a:pt x="1536" y="573"/>
                  <a:pt x="1536" y="573"/>
                  <a:pt x="1536" y="573"/>
                </a:cubicBezTo>
                <a:cubicBezTo>
                  <a:pt x="1535" y="570"/>
                  <a:pt x="1535" y="570"/>
                  <a:pt x="1535" y="570"/>
                </a:cubicBezTo>
                <a:cubicBezTo>
                  <a:pt x="1536" y="567"/>
                  <a:pt x="1536" y="567"/>
                  <a:pt x="1536" y="567"/>
                </a:cubicBezTo>
                <a:cubicBezTo>
                  <a:pt x="1536" y="565"/>
                  <a:pt x="1536" y="565"/>
                  <a:pt x="1536" y="565"/>
                </a:cubicBezTo>
                <a:cubicBezTo>
                  <a:pt x="1538" y="563"/>
                  <a:pt x="1538" y="563"/>
                  <a:pt x="1538" y="563"/>
                </a:cubicBezTo>
                <a:cubicBezTo>
                  <a:pt x="1542" y="559"/>
                  <a:pt x="1542" y="559"/>
                  <a:pt x="1542" y="559"/>
                </a:cubicBezTo>
                <a:cubicBezTo>
                  <a:pt x="1543" y="559"/>
                  <a:pt x="1543" y="559"/>
                  <a:pt x="1543" y="559"/>
                </a:cubicBezTo>
                <a:cubicBezTo>
                  <a:pt x="1544" y="560"/>
                  <a:pt x="1544" y="560"/>
                  <a:pt x="1544" y="560"/>
                </a:cubicBezTo>
                <a:cubicBezTo>
                  <a:pt x="1547" y="560"/>
                  <a:pt x="1547" y="560"/>
                  <a:pt x="1547" y="560"/>
                </a:cubicBezTo>
                <a:cubicBezTo>
                  <a:pt x="1549" y="562"/>
                  <a:pt x="1549" y="562"/>
                  <a:pt x="1549" y="562"/>
                </a:cubicBezTo>
                <a:cubicBezTo>
                  <a:pt x="1551" y="562"/>
                  <a:pt x="1551" y="562"/>
                  <a:pt x="1551" y="562"/>
                </a:cubicBezTo>
                <a:cubicBezTo>
                  <a:pt x="1552" y="561"/>
                  <a:pt x="1552" y="561"/>
                  <a:pt x="1552" y="561"/>
                </a:cubicBezTo>
                <a:cubicBezTo>
                  <a:pt x="1554" y="560"/>
                  <a:pt x="1554" y="560"/>
                  <a:pt x="1554" y="560"/>
                </a:cubicBezTo>
                <a:cubicBezTo>
                  <a:pt x="1560" y="564"/>
                  <a:pt x="1560" y="564"/>
                  <a:pt x="1560" y="564"/>
                </a:cubicBezTo>
                <a:cubicBezTo>
                  <a:pt x="1562" y="566"/>
                  <a:pt x="1562" y="566"/>
                  <a:pt x="1562" y="566"/>
                </a:cubicBezTo>
                <a:cubicBezTo>
                  <a:pt x="1566" y="566"/>
                  <a:pt x="1566" y="566"/>
                  <a:pt x="1566" y="566"/>
                </a:cubicBezTo>
                <a:cubicBezTo>
                  <a:pt x="1568" y="564"/>
                  <a:pt x="1568" y="564"/>
                  <a:pt x="1568" y="564"/>
                </a:cubicBezTo>
                <a:cubicBezTo>
                  <a:pt x="1568" y="563"/>
                  <a:pt x="1568" y="563"/>
                  <a:pt x="1568" y="563"/>
                </a:cubicBezTo>
                <a:cubicBezTo>
                  <a:pt x="1569" y="561"/>
                  <a:pt x="1569" y="561"/>
                  <a:pt x="1569" y="561"/>
                </a:cubicBezTo>
                <a:cubicBezTo>
                  <a:pt x="1576" y="556"/>
                  <a:pt x="1576" y="556"/>
                  <a:pt x="1576" y="556"/>
                </a:cubicBezTo>
                <a:cubicBezTo>
                  <a:pt x="1576" y="556"/>
                  <a:pt x="1576" y="556"/>
                  <a:pt x="1576" y="556"/>
                </a:cubicBezTo>
                <a:cubicBezTo>
                  <a:pt x="1581" y="555"/>
                  <a:pt x="1581" y="555"/>
                  <a:pt x="1581" y="555"/>
                </a:cubicBezTo>
                <a:cubicBezTo>
                  <a:pt x="1583" y="553"/>
                  <a:pt x="1583" y="553"/>
                  <a:pt x="1583" y="553"/>
                </a:cubicBezTo>
                <a:cubicBezTo>
                  <a:pt x="1583" y="552"/>
                  <a:pt x="1583" y="552"/>
                  <a:pt x="1583" y="552"/>
                </a:cubicBezTo>
                <a:cubicBezTo>
                  <a:pt x="1588" y="549"/>
                  <a:pt x="1588" y="549"/>
                  <a:pt x="1588" y="549"/>
                </a:cubicBezTo>
                <a:cubicBezTo>
                  <a:pt x="1595" y="550"/>
                  <a:pt x="1595" y="550"/>
                  <a:pt x="1595" y="550"/>
                </a:cubicBezTo>
                <a:cubicBezTo>
                  <a:pt x="1597" y="552"/>
                  <a:pt x="1597" y="552"/>
                  <a:pt x="1597" y="552"/>
                </a:cubicBezTo>
                <a:cubicBezTo>
                  <a:pt x="1600" y="553"/>
                  <a:pt x="1600" y="553"/>
                  <a:pt x="1600" y="553"/>
                </a:cubicBezTo>
                <a:cubicBezTo>
                  <a:pt x="1600" y="554"/>
                  <a:pt x="1600" y="554"/>
                  <a:pt x="1600" y="554"/>
                </a:cubicBezTo>
                <a:cubicBezTo>
                  <a:pt x="1601" y="555"/>
                  <a:pt x="1601" y="555"/>
                  <a:pt x="1601" y="555"/>
                </a:cubicBezTo>
                <a:cubicBezTo>
                  <a:pt x="1602" y="557"/>
                  <a:pt x="1602" y="557"/>
                  <a:pt x="1602" y="557"/>
                </a:cubicBezTo>
                <a:cubicBezTo>
                  <a:pt x="1604" y="560"/>
                  <a:pt x="1604" y="560"/>
                  <a:pt x="1604" y="560"/>
                </a:cubicBezTo>
                <a:cubicBezTo>
                  <a:pt x="1604" y="562"/>
                  <a:pt x="1604" y="562"/>
                  <a:pt x="1604" y="562"/>
                </a:cubicBezTo>
                <a:cubicBezTo>
                  <a:pt x="1605" y="563"/>
                  <a:pt x="1605" y="563"/>
                  <a:pt x="1605" y="563"/>
                </a:cubicBezTo>
                <a:cubicBezTo>
                  <a:pt x="1605" y="565"/>
                  <a:pt x="1605" y="565"/>
                  <a:pt x="1605" y="565"/>
                </a:cubicBezTo>
                <a:cubicBezTo>
                  <a:pt x="1608" y="567"/>
                  <a:pt x="1608" y="567"/>
                  <a:pt x="1608" y="567"/>
                </a:cubicBezTo>
                <a:cubicBezTo>
                  <a:pt x="1609" y="568"/>
                  <a:pt x="1609" y="568"/>
                  <a:pt x="1609" y="568"/>
                </a:cubicBezTo>
                <a:cubicBezTo>
                  <a:pt x="1612" y="571"/>
                  <a:pt x="1612" y="571"/>
                  <a:pt x="1612" y="571"/>
                </a:cubicBezTo>
                <a:cubicBezTo>
                  <a:pt x="1612" y="573"/>
                  <a:pt x="1612" y="573"/>
                  <a:pt x="1612" y="573"/>
                </a:cubicBezTo>
                <a:cubicBezTo>
                  <a:pt x="1615" y="573"/>
                  <a:pt x="1615" y="573"/>
                  <a:pt x="1615" y="573"/>
                </a:cubicBezTo>
                <a:cubicBezTo>
                  <a:pt x="1617" y="575"/>
                  <a:pt x="1617" y="575"/>
                  <a:pt x="1617" y="575"/>
                </a:cubicBezTo>
                <a:cubicBezTo>
                  <a:pt x="1617" y="577"/>
                  <a:pt x="1617" y="577"/>
                  <a:pt x="1617" y="577"/>
                </a:cubicBezTo>
                <a:cubicBezTo>
                  <a:pt x="1619" y="577"/>
                  <a:pt x="1619" y="577"/>
                  <a:pt x="1619" y="577"/>
                </a:cubicBezTo>
                <a:cubicBezTo>
                  <a:pt x="1623" y="583"/>
                  <a:pt x="1623" y="583"/>
                  <a:pt x="1623" y="583"/>
                </a:cubicBezTo>
                <a:cubicBezTo>
                  <a:pt x="1627" y="586"/>
                  <a:pt x="1627" y="586"/>
                  <a:pt x="1627" y="586"/>
                </a:cubicBezTo>
                <a:cubicBezTo>
                  <a:pt x="1629" y="586"/>
                  <a:pt x="1629" y="586"/>
                  <a:pt x="1629" y="586"/>
                </a:cubicBezTo>
                <a:cubicBezTo>
                  <a:pt x="1630" y="587"/>
                  <a:pt x="1630" y="587"/>
                  <a:pt x="1630" y="587"/>
                </a:cubicBezTo>
                <a:cubicBezTo>
                  <a:pt x="1631" y="589"/>
                  <a:pt x="1631" y="589"/>
                  <a:pt x="1631" y="589"/>
                </a:cubicBezTo>
                <a:cubicBezTo>
                  <a:pt x="1633" y="589"/>
                  <a:pt x="1633" y="589"/>
                  <a:pt x="1633" y="589"/>
                </a:cubicBezTo>
                <a:cubicBezTo>
                  <a:pt x="1634" y="588"/>
                  <a:pt x="1634" y="588"/>
                  <a:pt x="1634" y="588"/>
                </a:cubicBezTo>
                <a:cubicBezTo>
                  <a:pt x="1636" y="588"/>
                  <a:pt x="1636" y="588"/>
                  <a:pt x="1636" y="588"/>
                </a:cubicBezTo>
                <a:cubicBezTo>
                  <a:pt x="1638" y="589"/>
                  <a:pt x="1638" y="589"/>
                  <a:pt x="1638" y="589"/>
                </a:cubicBezTo>
                <a:cubicBezTo>
                  <a:pt x="1640" y="593"/>
                  <a:pt x="1640" y="593"/>
                  <a:pt x="1640" y="593"/>
                </a:cubicBezTo>
                <a:cubicBezTo>
                  <a:pt x="1641" y="593"/>
                  <a:pt x="1641" y="593"/>
                  <a:pt x="1641" y="593"/>
                </a:cubicBezTo>
                <a:cubicBezTo>
                  <a:pt x="1643" y="593"/>
                  <a:pt x="1643" y="593"/>
                  <a:pt x="1643" y="593"/>
                </a:cubicBezTo>
                <a:cubicBezTo>
                  <a:pt x="1644" y="594"/>
                  <a:pt x="1644" y="594"/>
                  <a:pt x="1644" y="594"/>
                </a:cubicBezTo>
                <a:cubicBezTo>
                  <a:pt x="1644" y="595"/>
                  <a:pt x="1644" y="595"/>
                  <a:pt x="1644" y="595"/>
                </a:cubicBezTo>
                <a:cubicBezTo>
                  <a:pt x="1646" y="595"/>
                  <a:pt x="1646" y="595"/>
                  <a:pt x="1646" y="595"/>
                </a:cubicBezTo>
                <a:cubicBezTo>
                  <a:pt x="1648" y="595"/>
                  <a:pt x="1648" y="595"/>
                  <a:pt x="1648" y="595"/>
                </a:cubicBezTo>
                <a:cubicBezTo>
                  <a:pt x="1649" y="597"/>
                  <a:pt x="1649" y="597"/>
                  <a:pt x="1649" y="597"/>
                </a:cubicBezTo>
                <a:cubicBezTo>
                  <a:pt x="1649" y="599"/>
                  <a:pt x="1649" y="599"/>
                  <a:pt x="1649" y="599"/>
                </a:cubicBezTo>
                <a:cubicBezTo>
                  <a:pt x="1648" y="600"/>
                  <a:pt x="1648" y="600"/>
                  <a:pt x="1648" y="600"/>
                </a:cubicBezTo>
                <a:cubicBezTo>
                  <a:pt x="1649" y="601"/>
                  <a:pt x="1649" y="601"/>
                  <a:pt x="1649" y="601"/>
                </a:cubicBezTo>
                <a:cubicBezTo>
                  <a:pt x="1651" y="601"/>
                  <a:pt x="1651" y="601"/>
                  <a:pt x="1651" y="601"/>
                </a:cubicBezTo>
                <a:cubicBezTo>
                  <a:pt x="1652" y="602"/>
                  <a:pt x="1652" y="602"/>
                  <a:pt x="1652" y="602"/>
                </a:cubicBezTo>
                <a:cubicBezTo>
                  <a:pt x="1655" y="603"/>
                  <a:pt x="1655" y="603"/>
                  <a:pt x="1655" y="603"/>
                </a:cubicBezTo>
                <a:cubicBezTo>
                  <a:pt x="1656" y="602"/>
                  <a:pt x="1656" y="602"/>
                  <a:pt x="1656" y="602"/>
                </a:cubicBezTo>
                <a:cubicBezTo>
                  <a:pt x="1657" y="603"/>
                  <a:pt x="1657" y="603"/>
                  <a:pt x="1657" y="603"/>
                </a:cubicBezTo>
                <a:cubicBezTo>
                  <a:pt x="1658" y="606"/>
                  <a:pt x="1658" y="606"/>
                  <a:pt x="1658" y="606"/>
                </a:cubicBezTo>
                <a:cubicBezTo>
                  <a:pt x="1659" y="610"/>
                  <a:pt x="1659" y="610"/>
                  <a:pt x="1659" y="610"/>
                </a:cubicBezTo>
                <a:cubicBezTo>
                  <a:pt x="1660" y="611"/>
                  <a:pt x="1660" y="611"/>
                  <a:pt x="1660" y="611"/>
                </a:cubicBezTo>
                <a:cubicBezTo>
                  <a:pt x="1661" y="615"/>
                  <a:pt x="1661" y="615"/>
                  <a:pt x="1661" y="615"/>
                </a:cubicBezTo>
                <a:cubicBezTo>
                  <a:pt x="1662" y="616"/>
                  <a:pt x="1662" y="616"/>
                  <a:pt x="1662" y="616"/>
                </a:cubicBezTo>
                <a:cubicBezTo>
                  <a:pt x="1662" y="618"/>
                  <a:pt x="1662" y="618"/>
                  <a:pt x="1662" y="618"/>
                </a:cubicBezTo>
                <a:cubicBezTo>
                  <a:pt x="1661" y="619"/>
                  <a:pt x="1661" y="619"/>
                  <a:pt x="1661" y="619"/>
                </a:cubicBezTo>
                <a:cubicBezTo>
                  <a:pt x="1660" y="619"/>
                  <a:pt x="1660" y="619"/>
                  <a:pt x="1660" y="619"/>
                </a:cubicBezTo>
                <a:cubicBezTo>
                  <a:pt x="1659" y="620"/>
                  <a:pt x="1659" y="620"/>
                  <a:pt x="1659" y="620"/>
                </a:cubicBezTo>
                <a:cubicBezTo>
                  <a:pt x="1660" y="622"/>
                  <a:pt x="1660" y="622"/>
                  <a:pt x="1660" y="622"/>
                </a:cubicBezTo>
                <a:cubicBezTo>
                  <a:pt x="1659" y="624"/>
                  <a:pt x="1659" y="624"/>
                  <a:pt x="1659" y="624"/>
                </a:cubicBezTo>
                <a:cubicBezTo>
                  <a:pt x="1658" y="625"/>
                  <a:pt x="1658" y="625"/>
                  <a:pt x="1658" y="625"/>
                </a:cubicBezTo>
                <a:cubicBezTo>
                  <a:pt x="1657" y="626"/>
                  <a:pt x="1657" y="626"/>
                  <a:pt x="1657" y="626"/>
                </a:cubicBezTo>
                <a:cubicBezTo>
                  <a:pt x="1656" y="626"/>
                  <a:pt x="1656" y="626"/>
                  <a:pt x="1656" y="626"/>
                </a:cubicBezTo>
                <a:cubicBezTo>
                  <a:pt x="1657" y="628"/>
                  <a:pt x="1657" y="628"/>
                  <a:pt x="1657" y="628"/>
                </a:cubicBezTo>
                <a:cubicBezTo>
                  <a:pt x="1659" y="630"/>
                  <a:pt x="1659" y="630"/>
                  <a:pt x="1659" y="630"/>
                </a:cubicBezTo>
                <a:cubicBezTo>
                  <a:pt x="1662" y="630"/>
                  <a:pt x="1662" y="630"/>
                  <a:pt x="1662" y="630"/>
                </a:cubicBezTo>
                <a:cubicBezTo>
                  <a:pt x="1663" y="628"/>
                  <a:pt x="1663" y="628"/>
                  <a:pt x="1663" y="628"/>
                </a:cubicBezTo>
                <a:cubicBezTo>
                  <a:pt x="1663" y="626"/>
                  <a:pt x="1663" y="626"/>
                  <a:pt x="1663" y="626"/>
                </a:cubicBezTo>
                <a:cubicBezTo>
                  <a:pt x="1666" y="624"/>
                  <a:pt x="1666" y="624"/>
                  <a:pt x="1666" y="624"/>
                </a:cubicBezTo>
                <a:cubicBezTo>
                  <a:pt x="1666" y="619"/>
                  <a:pt x="1666" y="619"/>
                  <a:pt x="1666" y="619"/>
                </a:cubicBezTo>
                <a:cubicBezTo>
                  <a:pt x="1668" y="617"/>
                  <a:pt x="1668" y="617"/>
                  <a:pt x="1668" y="617"/>
                </a:cubicBezTo>
                <a:cubicBezTo>
                  <a:pt x="1670" y="617"/>
                  <a:pt x="1670" y="617"/>
                  <a:pt x="1670" y="617"/>
                </a:cubicBezTo>
                <a:cubicBezTo>
                  <a:pt x="1671" y="615"/>
                  <a:pt x="1671" y="615"/>
                  <a:pt x="1671" y="615"/>
                </a:cubicBezTo>
                <a:cubicBezTo>
                  <a:pt x="1670" y="614"/>
                  <a:pt x="1670" y="614"/>
                  <a:pt x="1670" y="614"/>
                </a:cubicBezTo>
                <a:cubicBezTo>
                  <a:pt x="1670" y="612"/>
                  <a:pt x="1670" y="612"/>
                  <a:pt x="1670" y="612"/>
                </a:cubicBezTo>
                <a:cubicBezTo>
                  <a:pt x="1670" y="611"/>
                  <a:pt x="1670" y="611"/>
                  <a:pt x="1670" y="611"/>
                </a:cubicBezTo>
                <a:cubicBezTo>
                  <a:pt x="1667" y="608"/>
                  <a:pt x="1667" y="608"/>
                  <a:pt x="1667" y="608"/>
                </a:cubicBezTo>
                <a:cubicBezTo>
                  <a:pt x="1665" y="608"/>
                  <a:pt x="1665" y="608"/>
                  <a:pt x="1665" y="608"/>
                </a:cubicBezTo>
                <a:cubicBezTo>
                  <a:pt x="1665" y="607"/>
                  <a:pt x="1665" y="607"/>
                  <a:pt x="1665" y="607"/>
                </a:cubicBezTo>
                <a:cubicBezTo>
                  <a:pt x="1665" y="605"/>
                  <a:pt x="1665" y="605"/>
                  <a:pt x="1665" y="605"/>
                </a:cubicBezTo>
                <a:cubicBezTo>
                  <a:pt x="1666" y="604"/>
                  <a:pt x="1666" y="604"/>
                  <a:pt x="1666" y="604"/>
                </a:cubicBezTo>
                <a:cubicBezTo>
                  <a:pt x="1666" y="603"/>
                  <a:pt x="1666" y="603"/>
                  <a:pt x="1666" y="603"/>
                </a:cubicBezTo>
                <a:cubicBezTo>
                  <a:pt x="1666" y="601"/>
                  <a:pt x="1666" y="601"/>
                  <a:pt x="1666" y="601"/>
                </a:cubicBezTo>
                <a:cubicBezTo>
                  <a:pt x="1668" y="600"/>
                  <a:pt x="1668" y="600"/>
                  <a:pt x="1668" y="600"/>
                </a:cubicBezTo>
                <a:cubicBezTo>
                  <a:pt x="1668" y="598"/>
                  <a:pt x="1668" y="598"/>
                  <a:pt x="1668" y="598"/>
                </a:cubicBezTo>
                <a:cubicBezTo>
                  <a:pt x="1669" y="597"/>
                  <a:pt x="1669" y="597"/>
                  <a:pt x="1669" y="597"/>
                </a:cubicBezTo>
                <a:cubicBezTo>
                  <a:pt x="1671" y="597"/>
                  <a:pt x="1671" y="597"/>
                  <a:pt x="1671" y="597"/>
                </a:cubicBezTo>
                <a:cubicBezTo>
                  <a:pt x="1673" y="598"/>
                  <a:pt x="1673" y="598"/>
                  <a:pt x="1673" y="598"/>
                </a:cubicBezTo>
                <a:cubicBezTo>
                  <a:pt x="1673" y="599"/>
                  <a:pt x="1673" y="599"/>
                  <a:pt x="1673" y="599"/>
                </a:cubicBezTo>
                <a:cubicBezTo>
                  <a:pt x="1676" y="599"/>
                  <a:pt x="1676" y="599"/>
                  <a:pt x="1676" y="599"/>
                </a:cubicBezTo>
                <a:cubicBezTo>
                  <a:pt x="1677" y="600"/>
                  <a:pt x="1677" y="600"/>
                  <a:pt x="1677" y="600"/>
                </a:cubicBezTo>
                <a:cubicBezTo>
                  <a:pt x="1677" y="601"/>
                  <a:pt x="1677" y="601"/>
                  <a:pt x="1677" y="601"/>
                </a:cubicBezTo>
                <a:cubicBezTo>
                  <a:pt x="1678" y="603"/>
                  <a:pt x="1678" y="603"/>
                  <a:pt x="1678" y="603"/>
                </a:cubicBezTo>
                <a:cubicBezTo>
                  <a:pt x="1679" y="605"/>
                  <a:pt x="1679" y="605"/>
                  <a:pt x="1679" y="605"/>
                </a:cubicBezTo>
                <a:cubicBezTo>
                  <a:pt x="1681" y="605"/>
                  <a:pt x="1681" y="605"/>
                  <a:pt x="1681" y="605"/>
                </a:cubicBezTo>
                <a:cubicBezTo>
                  <a:pt x="1681" y="605"/>
                  <a:pt x="1681" y="605"/>
                  <a:pt x="1681" y="605"/>
                </a:cubicBezTo>
                <a:cubicBezTo>
                  <a:pt x="1682" y="604"/>
                  <a:pt x="1682" y="604"/>
                  <a:pt x="1682" y="604"/>
                </a:cubicBezTo>
                <a:cubicBezTo>
                  <a:pt x="1682" y="603"/>
                  <a:pt x="1682" y="603"/>
                  <a:pt x="1682" y="603"/>
                </a:cubicBezTo>
                <a:cubicBezTo>
                  <a:pt x="1682" y="602"/>
                  <a:pt x="1682" y="602"/>
                  <a:pt x="1682" y="602"/>
                </a:cubicBezTo>
                <a:cubicBezTo>
                  <a:pt x="1683" y="599"/>
                  <a:pt x="1683" y="599"/>
                  <a:pt x="1683" y="599"/>
                </a:cubicBezTo>
                <a:cubicBezTo>
                  <a:pt x="1682" y="598"/>
                  <a:pt x="1682" y="598"/>
                  <a:pt x="1682" y="598"/>
                </a:cubicBezTo>
                <a:cubicBezTo>
                  <a:pt x="1680" y="596"/>
                  <a:pt x="1680" y="596"/>
                  <a:pt x="1680" y="596"/>
                </a:cubicBezTo>
                <a:cubicBezTo>
                  <a:pt x="1677" y="596"/>
                  <a:pt x="1677" y="596"/>
                  <a:pt x="1677" y="596"/>
                </a:cubicBezTo>
                <a:cubicBezTo>
                  <a:pt x="1675" y="593"/>
                  <a:pt x="1675" y="593"/>
                  <a:pt x="1675" y="593"/>
                </a:cubicBezTo>
                <a:cubicBezTo>
                  <a:pt x="1672" y="591"/>
                  <a:pt x="1672" y="591"/>
                  <a:pt x="1672" y="591"/>
                </a:cubicBezTo>
                <a:cubicBezTo>
                  <a:pt x="1664" y="587"/>
                  <a:pt x="1664" y="587"/>
                  <a:pt x="1664" y="587"/>
                </a:cubicBezTo>
                <a:cubicBezTo>
                  <a:pt x="1660" y="586"/>
                  <a:pt x="1660" y="586"/>
                  <a:pt x="1660" y="586"/>
                </a:cubicBezTo>
                <a:cubicBezTo>
                  <a:pt x="1658" y="586"/>
                  <a:pt x="1658" y="586"/>
                  <a:pt x="1658" y="586"/>
                </a:cubicBezTo>
                <a:cubicBezTo>
                  <a:pt x="1657" y="584"/>
                  <a:pt x="1657" y="584"/>
                  <a:pt x="1657" y="584"/>
                </a:cubicBezTo>
                <a:cubicBezTo>
                  <a:pt x="1657" y="583"/>
                  <a:pt x="1657" y="583"/>
                  <a:pt x="1657" y="583"/>
                </a:cubicBezTo>
                <a:cubicBezTo>
                  <a:pt x="1660" y="582"/>
                  <a:pt x="1660" y="582"/>
                  <a:pt x="1660" y="582"/>
                </a:cubicBezTo>
                <a:cubicBezTo>
                  <a:pt x="1660" y="580"/>
                  <a:pt x="1660" y="580"/>
                  <a:pt x="1660" y="580"/>
                </a:cubicBezTo>
                <a:cubicBezTo>
                  <a:pt x="1658" y="579"/>
                  <a:pt x="1658" y="579"/>
                  <a:pt x="1658" y="579"/>
                </a:cubicBezTo>
                <a:cubicBezTo>
                  <a:pt x="1656" y="580"/>
                  <a:pt x="1656" y="580"/>
                  <a:pt x="1656" y="580"/>
                </a:cubicBezTo>
                <a:cubicBezTo>
                  <a:pt x="1654" y="579"/>
                  <a:pt x="1654" y="579"/>
                  <a:pt x="1654" y="579"/>
                </a:cubicBezTo>
                <a:cubicBezTo>
                  <a:pt x="1650" y="579"/>
                  <a:pt x="1650" y="579"/>
                  <a:pt x="1650" y="579"/>
                </a:cubicBezTo>
                <a:cubicBezTo>
                  <a:pt x="1649" y="578"/>
                  <a:pt x="1649" y="578"/>
                  <a:pt x="1649" y="578"/>
                </a:cubicBezTo>
                <a:cubicBezTo>
                  <a:pt x="1647" y="578"/>
                  <a:pt x="1647" y="578"/>
                  <a:pt x="1647" y="578"/>
                </a:cubicBezTo>
                <a:cubicBezTo>
                  <a:pt x="1646" y="577"/>
                  <a:pt x="1646" y="577"/>
                  <a:pt x="1646" y="577"/>
                </a:cubicBezTo>
                <a:cubicBezTo>
                  <a:pt x="1643" y="574"/>
                  <a:pt x="1643" y="574"/>
                  <a:pt x="1643" y="574"/>
                </a:cubicBezTo>
                <a:cubicBezTo>
                  <a:pt x="1641" y="572"/>
                  <a:pt x="1641" y="572"/>
                  <a:pt x="1641" y="572"/>
                </a:cubicBezTo>
                <a:cubicBezTo>
                  <a:pt x="1640" y="570"/>
                  <a:pt x="1640" y="570"/>
                  <a:pt x="1640" y="570"/>
                </a:cubicBezTo>
                <a:cubicBezTo>
                  <a:pt x="1638" y="568"/>
                  <a:pt x="1638" y="568"/>
                  <a:pt x="1638" y="568"/>
                </a:cubicBezTo>
                <a:cubicBezTo>
                  <a:pt x="1638" y="566"/>
                  <a:pt x="1638" y="566"/>
                  <a:pt x="1638" y="566"/>
                </a:cubicBezTo>
                <a:cubicBezTo>
                  <a:pt x="1637" y="566"/>
                  <a:pt x="1637" y="566"/>
                  <a:pt x="1637" y="566"/>
                </a:cubicBezTo>
                <a:cubicBezTo>
                  <a:pt x="1637" y="564"/>
                  <a:pt x="1637" y="564"/>
                  <a:pt x="1637" y="564"/>
                </a:cubicBezTo>
                <a:cubicBezTo>
                  <a:pt x="1630" y="557"/>
                  <a:pt x="1630" y="557"/>
                  <a:pt x="1630" y="557"/>
                </a:cubicBezTo>
                <a:cubicBezTo>
                  <a:pt x="1629" y="556"/>
                  <a:pt x="1629" y="556"/>
                  <a:pt x="1629" y="556"/>
                </a:cubicBezTo>
                <a:cubicBezTo>
                  <a:pt x="1627" y="554"/>
                  <a:pt x="1627" y="554"/>
                  <a:pt x="1627" y="554"/>
                </a:cubicBezTo>
                <a:cubicBezTo>
                  <a:pt x="1622" y="552"/>
                  <a:pt x="1622" y="552"/>
                  <a:pt x="1622" y="552"/>
                </a:cubicBezTo>
                <a:cubicBezTo>
                  <a:pt x="1621" y="550"/>
                  <a:pt x="1621" y="550"/>
                  <a:pt x="1621" y="550"/>
                </a:cubicBezTo>
                <a:cubicBezTo>
                  <a:pt x="1621" y="547"/>
                  <a:pt x="1621" y="547"/>
                  <a:pt x="1621" y="547"/>
                </a:cubicBezTo>
                <a:cubicBezTo>
                  <a:pt x="1620" y="545"/>
                  <a:pt x="1620" y="545"/>
                  <a:pt x="1620" y="545"/>
                </a:cubicBezTo>
                <a:cubicBezTo>
                  <a:pt x="1621" y="544"/>
                  <a:pt x="1621" y="544"/>
                  <a:pt x="1621" y="544"/>
                </a:cubicBezTo>
                <a:cubicBezTo>
                  <a:pt x="1622" y="542"/>
                  <a:pt x="1622" y="542"/>
                  <a:pt x="1622" y="542"/>
                </a:cubicBezTo>
                <a:cubicBezTo>
                  <a:pt x="1621" y="540"/>
                  <a:pt x="1621" y="540"/>
                  <a:pt x="1621" y="540"/>
                </a:cubicBezTo>
                <a:cubicBezTo>
                  <a:pt x="1620" y="538"/>
                  <a:pt x="1620" y="538"/>
                  <a:pt x="1620" y="538"/>
                </a:cubicBezTo>
                <a:cubicBezTo>
                  <a:pt x="1621" y="536"/>
                  <a:pt x="1621" y="536"/>
                  <a:pt x="1621" y="536"/>
                </a:cubicBezTo>
                <a:cubicBezTo>
                  <a:pt x="1623" y="536"/>
                  <a:pt x="1623" y="536"/>
                  <a:pt x="1623" y="536"/>
                </a:cubicBezTo>
                <a:cubicBezTo>
                  <a:pt x="1625" y="534"/>
                  <a:pt x="1625" y="534"/>
                  <a:pt x="1625" y="534"/>
                </a:cubicBezTo>
                <a:cubicBezTo>
                  <a:pt x="1627" y="534"/>
                  <a:pt x="1627" y="534"/>
                  <a:pt x="1627" y="534"/>
                </a:cubicBezTo>
                <a:cubicBezTo>
                  <a:pt x="1629" y="533"/>
                  <a:pt x="1629" y="533"/>
                  <a:pt x="1629" y="533"/>
                </a:cubicBezTo>
                <a:cubicBezTo>
                  <a:pt x="1630" y="532"/>
                  <a:pt x="1630" y="532"/>
                  <a:pt x="1630" y="532"/>
                </a:cubicBezTo>
                <a:cubicBezTo>
                  <a:pt x="1632" y="533"/>
                  <a:pt x="1632" y="533"/>
                  <a:pt x="1632" y="533"/>
                </a:cubicBezTo>
                <a:cubicBezTo>
                  <a:pt x="1632" y="533"/>
                  <a:pt x="1632" y="533"/>
                  <a:pt x="1632" y="533"/>
                </a:cubicBezTo>
                <a:cubicBezTo>
                  <a:pt x="1634" y="534"/>
                  <a:pt x="1634" y="534"/>
                  <a:pt x="1634" y="534"/>
                </a:cubicBezTo>
                <a:cubicBezTo>
                  <a:pt x="1634" y="535"/>
                  <a:pt x="1634" y="535"/>
                  <a:pt x="1634" y="535"/>
                </a:cubicBezTo>
                <a:cubicBezTo>
                  <a:pt x="1633" y="536"/>
                  <a:pt x="1633" y="536"/>
                  <a:pt x="1633" y="536"/>
                </a:cubicBezTo>
                <a:cubicBezTo>
                  <a:pt x="1633" y="537"/>
                  <a:pt x="1633" y="537"/>
                  <a:pt x="1633" y="537"/>
                </a:cubicBezTo>
                <a:cubicBezTo>
                  <a:pt x="1633" y="538"/>
                  <a:pt x="1633" y="538"/>
                  <a:pt x="1633" y="538"/>
                </a:cubicBezTo>
                <a:cubicBezTo>
                  <a:pt x="1633" y="542"/>
                  <a:pt x="1633" y="542"/>
                  <a:pt x="1633" y="542"/>
                </a:cubicBezTo>
                <a:cubicBezTo>
                  <a:pt x="1635" y="544"/>
                  <a:pt x="1635" y="544"/>
                  <a:pt x="1635" y="544"/>
                </a:cubicBezTo>
                <a:cubicBezTo>
                  <a:pt x="1635" y="544"/>
                  <a:pt x="1635" y="544"/>
                  <a:pt x="1635" y="544"/>
                </a:cubicBezTo>
                <a:cubicBezTo>
                  <a:pt x="1636" y="545"/>
                  <a:pt x="1636" y="545"/>
                  <a:pt x="1636" y="545"/>
                </a:cubicBezTo>
                <a:cubicBezTo>
                  <a:pt x="1639" y="541"/>
                  <a:pt x="1639" y="541"/>
                  <a:pt x="1639" y="541"/>
                </a:cubicBezTo>
                <a:cubicBezTo>
                  <a:pt x="1639" y="539"/>
                  <a:pt x="1639" y="539"/>
                  <a:pt x="1639" y="539"/>
                </a:cubicBezTo>
                <a:cubicBezTo>
                  <a:pt x="1641" y="537"/>
                  <a:pt x="1641" y="537"/>
                  <a:pt x="1641" y="537"/>
                </a:cubicBezTo>
                <a:cubicBezTo>
                  <a:pt x="1643" y="537"/>
                  <a:pt x="1643" y="537"/>
                  <a:pt x="1643" y="537"/>
                </a:cubicBezTo>
                <a:cubicBezTo>
                  <a:pt x="1643" y="539"/>
                  <a:pt x="1643" y="539"/>
                  <a:pt x="1643" y="539"/>
                </a:cubicBezTo>
                <a:cubicBezTo>
                  <a:pt x="1645" y="541"/>
                  <a:pt x="1645" y="541"/>
                  <a:pt x="1645" y="541"/>
                </a:cubicBezTo>
                <a:cubicBezTo>
                  <a:pt x="1646" y="544"/>
                  <a:pt x="1646" y="544"/>
                  <a:pt x="1646" y="544"/>
                </a:cubicBezTo>
                <a:cubicBezTo>
                  <a:pt x="1648" y="547"/>
                  <a:pt x="1648" y="547"/>
                  <a:pt x="1648" y="547"/>
                </a:cubicBezTo>
                <a:cubicBezTo>
                  <a:pt x="1651" y="550"/>
                  <a:pt x="1651" y="550"/>
                  <a:pt x="1651" y="550"/>
                </a:cubicBezTo>
                <a:cubicBezTo>
                  <a:pt x="1651" y="550"/>
                  <a:pt x="1651" y="550"/>
                  <a:pt x="1651" y="550"/>
                </a:cubicBezTo>
                <a:cubicBezTo>
                  <a:pt x="1653" y="552"/>
                  <a:pt x="1653" y="552"/>
                  <a:pt x="1653" y="552"/>
                </a:cubicBezTo>
                <a:cubicBezTo>
                  <a:pt x="1652" y="551"/>
                  <a:pt x="1652" y="551"/>
                  <a:pt x="1652" y="551"/>
                </a:cubicBezTo>
                <a:cubicBezTo>
                  <a:pt x="1650" y="551"/>
                  <a:pt x="1650" y="551"/>
                  <a:pt x="1650" y="551"/>
                </a:cubicBezTo>
                <a:cubicBezTo>
                  <a:pt x="1649" y="553"/>
                  <a:pt x="1649" y="553"/>
                  <a:pt x="1649" y="553"/>
                </a:cubicBezTo>
                <a:cubicBezTo>
                  <a:pt x="1650" y="555"/>
                  <a:pt x="1650" y="555"/>
                  <a:pt x="1650" y="555"/>
                </a:cubicBezTo>
                <a:cubicBezTo>
                  <a:pt x="1652" y="555"/>
                  <a:pt x="1652" y="555"/>
                  <a:pt x="1652" y="555"/>
                </a:cubicBezTo>
                <a:cubicBezTo>
                  <a:pt x="1654" y="557"/>
                  <a:pt x="1654" y="557"/>
                  <a:pt x="1654" y="557"/>
                </a:cubicBezTo>
                <a:cubicBezTo>
                  <a:pt x="1657" y="558"/>
                  <a:pt x="1657" y="558"/>
                  <a:pt x="1657" y="558"/>
                </a:cubicBezTo>
                <a:cubicBezTo>
                  <a:pt x="1657" y="559"/>
                  <a:pt x="1657" y="559"/>
                  <a:pt x="1657" y="559"/>
                </a:cubicBezTo>
                <a:cubicBezTo>
                  <a:pt x="1659" y="561"/>
                  <a:pt x="1659" y="561"/>
                  <a:pt x="1659" y="561"/>
                </a:cubicBezTo>
                <a:cubicBezTo>
                  <a:pt x="1661" y="560"/>
                  <a:pt x="1661" y="560"/>
                  <a:pt x="1661" y="560"/>
                </a:cubicBezTo>
                <a:cubicBezTo>
                  <a:pt x="1665" y="561"/>
                  <a:pt x="1665" y="561"/>
                  <a:pt x="1665" y="561"/>
                </a:cubicBezTo>
                <a:cubicBezTo>
                  <a:pt x="1668" y="562"/>
                  <a:pt x="1668" y="562"/>
                  <a:pt x="1668" y="562"/>
                </a:cubicBezTo>
                <a:cubicBezTo>
                  <a:pt x="1673" y="567"/>
                  <a:pt x="1673" y="567"/>
                  <a:pt x="1673" y="567"/>
                </a:cubicBezTo>
                <a:cubicBezTo>
                  <a:pt x="1671" y="567"/>
                  <a:pt x="1671" y="567"/>
                  <a:pt x="1671" y="567"/>
                </a:cubicBezTo>
                <a:cubicBezTo>
                  <a:pt x="1669" y="566"/>
                  <a:pt x="1669" y="566"/>
                  <a:pt x="1669" y="566"/>
                </a:cubicBezTo>
                <a:cubicBezTo>
                  <a:pt x="1670" y="567"/>
                  <a:pt x="1670" y="567"/>
                  <a:pt x="1670" y="567"/>
                </a:cubicBezTo>
                <a:cubicBezTo>
                  <a:pt x="1672" y="568"/>
                  <a:pt x="1672" y="568"/>
                  <a:pt x="1672" y="568"/>
                </a:cubicBezTo>
                <a:cubicBezTo>
                  <a:pt x="1674" y="568"/>
                  <a:pt x="1674" y="568"/>
                  <a:pt x="1674" y="568"/>
                </a:cubicBezTo>
                <a:cubicBezTo>
                  <a:pt x="1677" y="569"/>
                  <a:pt x="1677" y="569"/>
                  <a:pt x="1677" y="569"/>
                </a:cubicBezTo>
                <a:cubicBezTo>
                  <a:pt x="1678" y="568"/>
                  <a:pt x="1678" y="568"/>
                  <a:pt x="1678" y="568"/>
                </a:cubicBezTo>
                <a:cubicBezTo>
                  <a:pt x="1681" y="571"/>
                  <a:pt x="1681" y="571"/>
                  <a:pt x="1681" y="571"/>
                </a:cubicBezTo>
                <a:cubicBezTo>
                  <a:pt x="1681" y="572"/>
                  <a:pt x="1681" y="572"/>
                  <a:pt x="1681" y="572"/>
                </a:cubicBezTo>
                <a:cubicBezTo>
                  <a:pt x="1683" y="573"/>
                  <a:pt x="1683" y="573"/>
                  <a:pt x="1683" y="573"/>
                </a:cubicBezTo>
                <a:cubicBezTo>
                  <a:pt x="1687" y="578"/>
                  <a:pt x="1687" y="578"/>
                  <a:pt x="1687" y="578"/>
                </a:cubicBezTo>
                <a:cubicBezTo>
                  <a:pt x="1687" y="579"/>
                  <a:pt x="1687" y="579"/>
                  <a:pt x="1687" y="579"/>
                </a:cubicBezTo>
                <a:cubicBezTo>
                  <a:pt x="1690" y="580"/>
                  <a:pt x="1690" y="580"/>
                  <a:pt x="1690" y="580"/>
                </a:cubicBezTo>
                <a:cubicBezTo>
                  <a:pt x="1693" y="582"/>
                  <a:pt x="1693" y="582"/>
                  <a:pt x="1693" y="582"/>
                </a:cubicBezTo>
                <a:cubicBezTo>
                  <a:pt x="1692" y="583"/>
                  <a:pt x="1692" y="583"/>
                  <a:pt x="1692" y="583"/>
                </a:cubicBezTo>
                <a:cubicBezTo>
                  <a:pt x="1691" y="584"/>
                  <a:pt x="1691" y="584"/>
                  <a:pt x="1691" y="584"/>
                </a:cubicBezTo>
                <a:cubicBezTo>
                  <a:pt x="1690" y="588"/>
                  <a:pt x="1690" y="588"/>
                  <a:pt x="1690" y="588"/>
                </a:cubicBezTo>
                <a:cubicBezTo>
                  <a:pt x="1692" y="591"/>
                  <a:pt x="1692" y="591"/>
                  <a:pt x="1692" y="591"/>
                </a:cubicBezTo>
                <a:cubicBezTo>
                  <a:pt x="1691" y="593"/>
                  <a:pt x="1691" y="593"/>
                  <a:pt x="1691" y="593"/>
                </a:cubicBezTo>
                <a:cubicBezTo>
                  <a:pt x="1691" y="596"/>
                  <a:pt x="1691" y="596"/>
                  <a:pt x="1691" y="596"/>
                </a:cubicBezTo>
                <a:cubicBezTo>
                  <a:pt x="1692" y="598"/>
                  <a:pt x="1692" y="598"/>
                  <a:pt x="1692" y="598"/>
                </a:cubicBezTo>
                <a:cubicBezTo>
                  <a:pt x="1691" y="600"/>
                  <a:pt x="1691" y="600"/>
                  <a:pt x="1691" y="600"/>
                </a:cubicBezTo>
                <a:cubicBezTo>
                  <a:pt x="1692" y="601"/>
                  <a:pt x="1692" y="601"/>
                  <a:pt x="1692" y="601"/>
                </a:cubicBezTo>
                <a:cubicBezTo>
                  <a:pt x="1696" y="601"/>
                  <a:pt x="1696" y="601"/>
                  <a:pt x="1696" y="601"/>
                </a:cubicBezTo>
                <a:cubicBezTo>
                  <a:pt x="1698" y="606"/>
                  <a:pt x="1698" y="606"/>
                  <a:pt x="1698" y="606"/>
                </a:cubicBezTo>
                <a:cubicBezTo>
                  <a:pt x="1699" y="607"/>
                  <a:pt x="1699" y="607"/>
                  <a:pt x="1699" y="607"/>
                </a:cubicBezTo>
                <a:cubicBezTo>
                  <a:pt x="1700" y="608"/>
                  <a:pt x="1700" y="608"/>
                  <a:pt x="1700" y="608"/>
                </a:cubicBezTo>
                <a:cubicBezTo>
                  <a:pt x="1700" y="611"/>
                  <a:pt x="1700" y="611"/>
                  <a:pt x="1700" y="611"/>
                </a:cubicBezTo>
                <a:cubicBezTo>
                  <a:pt x="1703" y="613"/>
                  <a:pt x="1703" y="613"/>
                  <a:pt x="1703" y="613"/>
                </a:cubicBezTo>
                <a:cubicBezTo>
                  <a:pt x="1705" y="616"/>
                  <a:pt x="1705" y="616"/>
                  <a:pt x="1705" y="616"/>
                </a:cubicBezTo>
                <a:cubicBezTo>
                  <a:pt x="1706" y="616"/>
                  <a:pt x="1706" y="616"/>
                  <a:pt x="1706" y="616"/>
                </a:cubicBezTo>
                <a:cubicBezTo>
                  <a:pt x="1706" y="617"/>
                  <a:pt x="1706" y="617"/>
                  <a:pt x="1706" y="617"/>
                </a:cubicBezTo>
                <a:cubicBezTo>
                  <a:pt x="1709" y="621"/>
                  <a:pt x="1709" y="621"/>
                  <a:pt x="1709" y="621"/>
                </a:cubicBezTo>
                <a:cubicBezTo>
                  <a:pt x="1710" y="624"/>
                  <a:pt x="1710" y="624"/>
                  <a:pt x="1710" y="624"/>
                </a:cubicBezTo>
                <a:cubicBezTo>
                  <a:pt x="1711" y="625"/>
                  <a:pt x="1711" y="625"/>
                  <a:pt x="1711" y="625"/>
                </a:cubicBezTo>
                <a:cubicBezTo>
                  <a:pt x="1713" y="623"/>
                  <a:pt x="1713" y="623"/>
                  <a:pt x="1713" y="623"/>
                </a:cubicBezTo>
                <a:cubicBezTo>
                  <a:pt x="1714" y="625"/>
                  <a:pt x="1714" y="625"/>
                  <a:pt x="1714" y="625"/>
                </a:cubicBezTo>
                <a:cubicBezTo>
                  <a:pt x="1717" y="625"/>
                  <a:pt x="1717" y="625"/>
                  <a:pt x="1717" y="625"/>
                </a:cubicBezTo>
                <a:cubicBezTo>
                  <a:pt x="1718" y="623"/>
                  <a:pt x="1718" y="623"/>
                  <a:pt x="1718" y="623"/>
                </a:cubicBezTo>
                <a:cubicBezTo>
                  <a:pt x="1719" y="623"/>
                  <a:pt x="1719" y="623"/>
                  <a:pt x="1719" y="623"/>
                </a:cubicBezTo>
                <a:cubicBezTo>
                  <a:pt x="1722" y="625"/>
                  <a:pt x="1722" y="625"/>
                  <a:pt x="1722" y="625"/>
                </a:cubicBezTo>
                <a:cubicBezTo>
                  <a:pt x="1724" y="624"/>
                  <a:pt x="1724" y="624"/>
                  <a:pt x="1724" y="624"/>
                </a:cubicBezTo>
                <a:cubicBezTo>
                  <a:pt x="1724" y="626"/>
                  <a:pt x="1724" y="626"/>
                  <a:pt x="1724" y="626"/>
                </a:cubicBezTo>
                <a:cubicBezTo>
                  <a:pt x="1725" y="626"/>
                  <a:pt x="1725" y="626"/>
                  <a:pt x="1725" y="626"/>
                </a:cubicBezTo>
                <a:cubicBezTo>
                  <a:pt x="1726" y="626"/>
                  <a:pt x="1726" y="626"/>
                  <a:pt x="1726" y="626"/>
                </a:cubicBezTo>
                <a:cubicBezTo>
                  <a:pt x="1728" y="627"/>
                  <a:pt x="1728" y="627"/>
                  <a:pt x="1728" y="627"/>
                </a:cubicBezTo>
                <a:cubicBezTo>
                  <a:pt x="1727" y="628"/>
                  <a:pt x="1727" y="628"/>
                  <a:pt x="1727" y="628"/>
                </a:cubicBezTo>
                <a:cubicBezTo>
                  <a:pt x="1726" y="629"/>
                  <a:pt x="1726" y="629"/>
                  <a:pt x="1726" y="629"/>
                </a:cubicBezTo>
                <a:cubicBezTo>
                  <a:pt x="1724" y="628"/>
                  <a:pt x="1724" y="628"/>
                  <a:pt x="1724" y="628"/>
                </a:cubicBezTo>
                <a:cubicBezTo>
                  <a:pt x="1722" y="628"/>
                  <a:pt x="1722" y="628"/>
                  <a:pt x="1722" y="628"/>
                </a:cubicBezTo>
                <a:cubicBezTo>
                  <a:pt x="1718" y="625"/>
                  <a:pt x="1718" y="625"/>
                  <a:pt x="1718" y="625"/>
                </a:cubicBezTo>
                <a:cubicBezTo>
                  <a:pt x="1717" y="626"/>
                  <a:pt x="1717" y="626"/>
                  <a:pt x="1717" y="626"/>
                </a:cubicBezTo>
                <a:cubicBezTo>
                  <a:pt x="1715" y="627"/>
                  <a:pt x="1715" y="627"/>
                  <a:pt x="1715" y="627"/>
                </a:cubicBezTo>
                <a:cubicBezTo>
                  <a:pt x="1713" y="626"/>
                  <a:pt x="1713" y="626"/>
                  <a:pt x="1713" y="626"/>
                </a:cubicBezTo>
                <a:cubicBezTo>
                  <a:pt x="1712" y="628"/>
                  <a:pt x="1712" y="628"/>
                  <a:pt x="1712" y="628"/>
                </a:cubicBezTo>
                <a:cubicBezTo>
                  <a:pt x="1711" y="628"/>
                  <a:pt x="1711" y="628"/>
                  <a:pt x="1711" y="628"/>
                </a:cubicBezTo>
                <a:cubicBezTo>
                  <a:pt x="1710" y="630"/>
                  <a:pt x="1710" y="630"/>
                  <a:pt x="1710" y="630"/>
                </a:cubicBezTo>
                <a:cubicBezTo>
                  <a:pt x="1712" y="632"/>
                  <a:pt x="1712" y="632"/>
                  <a:pt x="1712" y="632"/>
                </a:cubicBezTo>
                <a:cubicBezTo>
                  <a:pt x="1714" y="633"/>
                  <a:pt x="1714" y="633"/>
                  <a:pt x="1714" y="633"/>
                </a:cubicBezTo>
                <a:cubicBezTo>
                  <a:pt x="1716" y="635"/>
                  <a:pt x="1716" y="635"/>
                  <a:pt x="1716" y="635"/>
                </a:cubicBezTo>
                <a:cubicBezTo>
                  <a:pt x="1717" y="637"/>
                  <a:pt x="1717" y="637"/>
                  <a:pt x="1717" y="637"/>
                </a:cubicBezTo>
                <a:cubicBezTo>
                  <a:pt x="1716" y="638"/>
                  <a:pt x="1716" y="638"/>
                  <a:pt x="1716" y="638"/>
                </a:cubicBezTo>
                <a:cubicBezTo>
                  <a:pt x="1716" y="639"/>
                  <a:pt x="1716" y="639"/>
                  <a:pt x="1716" y="639"/>
                </a:cubicBezTo>
                <a:cubicBezTo>
                  <a:pt x="1718" y="642"/>
                  <a:pt x="1718" y="642"/>
                  <a:pt x="1718" y="642"/>
                </a:cubicBezTo>
                <a:cubicBezTo>
                  <a:pt x="1719" y="643"/>
                  <a:pt x="1719" y="643"/>
                  <a:pt x="1719" y="643"/>
                </a:cubicBezTo>
                <a:cubicBezTo>
                  <a:pt x="1720" y="642"/>
                  <a:pt x="1720" y="642"/>
                  <a:pt x="1720" y="642"/>
                </a:cubicBezTo>
                <a:cubicBezTo>
                  <a:pt x="1719" y="641"/>
                  <a:pt x="1719" y="641"/>
                  <a:pt x="1719" y="641"/>
                </a:cubicBezTo>
                <a:cubicBezTo>
                  <a:pt x="1720" y="639"/>
                  <a:pt x="1720" y="639"/>
                  <a:pt x="1720" y="639"/>
                </a:cubicBezTo>
                <a:cubicBezTo>
                  <a:pt x="1721" y="641"/>
                  <a:pt x="1721" y="641"/>
                  <a:pt x="1721" y="641"/>
                </a:cubicBezTo>
                <a:cubicBezTo>
                  <a:pt x="1723" y="643"/>
                  <a:pt x="1723" y="643"/>
                  <a:pt x="1723" y="643"/>
                </a:cubicBezTo>
                <a:cubicBezTo>
                  <a:pt x="1724" y="644"/>
                  <a:pt x="1724" y="644"/>
                  <a:pt x="1724" y="644"/>
                </a:cubicBezTo>
                <a:cubicBezTo>
                  <a:pt x="1723" y="646"/>
                  <a:pt x="1723" y="646"/>
                  <a:pt x="1723" y="646"/>
                </a:cubicBezTo>
                <a:cubicBezTo>
                  <a:pt x="1725" y="647"/>
                  <a:pt x="1725" y="647"/>
                  <a:pt x="1725" y="647"/>
                </a:cubicBezTo>
                <a:cubicBezTo>
                  <a:pt x="1725" y="644"/>
                  <a:pt x="1725" y="644"/>
                  <a:pt x="1725" y="644"/>
                </a:cubicBezTo>
                <a:cubicBezTo>
                  <a:pt x="1726" y="642"/>
                  <a:pt x="1726" y="642"/>
                  <a:pt x="1726" y="642"/>
                </a:cubicBezTo>
                <a:cubicBezTo>
                  <a:pt x="1727" y="642"/>
                  <a:pt x="1727" y="642"/>
                  <a:pt x="1727" y="642"/>
                </a:cubicBezTo>
                <a:cubicBezTo>
                  <a:pt x="1728" y="644"/>
                  <a:pt x="1728" y="644"/>
                  <a:pt x="1728" y="644"/>
                </a:cubicBezTo>
                <a:cubicBezTo>
                  <a:pt x="1731" y="646"/>
                  <a:pt x="1731" y="646"/>
                  <a:pt x="1731" y="646"/>
                </a:cubicBezTo>
                <a:cubicBezTo>
                  <a:pt x="1730" y="644"/>
                  <a:pt x="1730" y="644"/>
                  <a:pt x="1730" y="644"/>
                </a:cubicBezTo>
                <a:cubicBezTo>
                  <a:pt x="1730" y="642"/>
                  <a:pt x="1730" y="642"/>
                  <a:pt x="1730" y="642"/>
                </a:cubicBezTo>
                <a:cubicBezTo>
                  <a:pt x="1729" y="640"/>
                  <a:pt x="1729" y="640"/>
                  <a:pt x="1729" y="640"/>
                </a:cubicBezTo>
                <a:cubicBezTo>
                  <a:pt x="1728" y="637"/>
                  <a:pt x="1728" y="637"/>
                  <a:pt x="1728" y="637"/>
                </a:cubicBezTo>
                <a:cubicBezTo>
                  <a:pt x="1726" y="635"/>
                  <a:pt x="1726" y="635"/>
                  <a:pt x="1726" y="635"/>
                </a:cubicBezTo>
                <a:cubicBezTo>
                  <a:pt x="1727" y="634"/>
                  <a:pt x="1727" y="634"/>
                  <a:pt x="1727" y="634"/>
                </a:cubicBezTo>
                <a:cubicBezTo>
                  <a:pt x="1728" y="634"/>
                  <a:pt x="1728" y="634"/>
                  <a:pt x="1728" y="634"/>
                </a:cubicBezTo>
                <a:cubicBezTo>
                  <a:pt x="1730" y="635"/>
                  <a:pt x="1730" y="635"/>
                  <a:pt x="1730" y="635"/>
                </a:cubicBezTo>
                <a:cubicBezTo>
                  <a:pt x="1729" y="636"/>
                  <a:pt x="1729" y="636"/>
                  <a:pt x="1729" y="636"/>
                </a:cubicBezTo>
                <a:cubicBezTo>
                  <a:pt x="1730" y="637"/>
                  <a:pt x="1730" y="637"/>
                  <a:pt x="1730" y="637"/>
                </a:cubicBezTo>
                <a:cubicBezTo>
                  <a:pt x="1731" y="636"/>
                  <a:pt x="1731" y="636"/>
                  <a:pt x="1731" y="636"/>
                </a:cubicBezTo>
                <a:cubicBezTo>
                  <a:pt x="1733" y="636"/>
                  <a:pt x="1733" y="636"/>
                  <a:pt x="1733" y="636"/>
                </a:cubicBezTo>
                <a:cubicBezTo>
                  <a:pt x="1733" y="636"/>
                  <a:pt x="1733" y="636"/>
                  <a:pt x="1733" y="636"/>
                </a:cubicBezTo>
                <a:cubicBezTo>
                  <a:pt x="1733" y="635"/>
                  <a:pt x="1733" y="635"/>
                  <a:pt x="1733" y="635"/>
                </a:cubicBezTo>
                <a:cubicBezTo>
                  <a:pt x="1732" y="634"/>
                  <a:pt x="1732" y="634"/>
                  <a:pt x="1732" y="634"/>
                </a:cubicBezTo>
                <a:cubicBezTo>
                  <a:pt x="1732" y="634"/>
                  <a:pt x="1732" y="634"/>
                  <a:pt x="1732" y="634"/>
                </a:cubicBezTo>
                <a:cubicBezTo>
                  <a:pt x="1730" y="633"/>
                  <a:pt x="1730" y="633"/>
                  <a:pt x="1730" y="633"/>
                </a:cubicBezTo>
                <a:cubicBezTo>
                  <a:pt x="1730" y="632"/>
                  <a:pt x="1730" y="632"/>
                  <a:pt x="1730" y="632"/>
                </a:cubicBezTo>
                <a:cubicBezTo>
                  <a:pt x="1728" y="630"/>
                  <a:pt x="1728" y="630"/>
                  <a:pt x="1728" y="630"/>
                </a:cubicBezTo>
                <a:cubicBezTo>
                  <a:pt x="1730" y="630"/>
                  <a:pt x="1730" y="630"/>
                  <a:pt x="1730" y="630"/>
                </a:cubicBezTo>
                <a:cubicBezTo>
                  <a:pt x="1732" y="630"/>
                  <a:pt x="1732" y="630"/>
                  <a:pt x="1732" y="630"/>
                </a:cubicBezTo>
                <a:cubicBezTo>
                  <a:pt x="1733" y="629"/>
                  <a:pt x="1733" y="629"/>
                  <a:pt x="1733" y="629"/>
                </a:cubicBezTo>
                <a:cubicBezTo>
                  <a:pt x="1736" y="631"/>
                  <a:pt x="1736" y="631"/>
                  <a:pt x="1736" y="631"/>
                </a:cubicBezTo>
                <a:cubicBezTo>
                  <a:pt x="1736" y="631"/>
                  <a:pt x="1736" y="631"/>
                  <a:pt x="1736" y="631"/>
                </a:cubicBezTo>
                <a:cubicBezTo>
                  <a:pt x="1738" y="632"/>
                  <a:pt x="1738" y="632"/>
                  <a:pt x="1738" y="632"/>
                </a:cubicBezTo>
                <a:cubicBezTo>
                  <a:pt x="1738" y="631"/>
                  <a:pt x="1738" y="631"/>
                  <a:pt x="1738" y="631"/>
                </a:cubicBezTo>
                <a:cubicBezTo>
                  <a:pt x="1737" y="628"/>
                  <a:pt x="1737" y="628"/>
                  <a:pt x="1737" y="628"/>
                </a:cubicBezTo>
                <a:cubicBezTo>
                  <a:pt x="1737" y="626"/>
                  <a:pt x="1737" y="626"/>
                  <a:pt x="1737" y="626"/>
                </a:cubicBezTo>
                <a:cubicBezTo>
                  <a:pt x="1736" y="624"/>
                  <a:pt x="1736" y="624"/>
                  <a:pt x="1736" y="624"/>
                </a:cubicBezTo>
                <a:cubicBezTo>
                  <a:pt x="1732" y="622"/>
                  <a:pt x="1732" y="622"/>
                  <a:pt x="1732" y="622"/>
                </a:cubicBezTo>
                <a:cubicBezTo>
                  <a:pt x="1730" y="621"/>
                  <a:pt x="1730" y="621"/>
                  <a:pt x="1730" y="621"/>
                </a:cubicBezTo>
                <a:cubicBezTo>
                  <a:pt x="1730" y="620"/>
                  <a:pt x="1730" y="620"/>
                  <a:pt x="1730" y="620"/>
                </a:cubicBezTo>
                <a:cubicBezTo>
                  <a:pt x="1728" y="620"/>
                  <a:pt x="1728" y="620"/>
                  <a:pt x="1728" y="620"/>
                </a:cubicBezTo>
                <a:cubicBezTo>
                  <a:pt x="1727" y="619"/>
                  <a:pt x="1727" y="619"/>
                  <a:pt x="1727" y="619"/>
                </a:cubicBezTo>
                <a:cubicBezTo>
                  <a:pt x="1725" y="619"/>
                  <a:pt x="1725" y="619"/>
                  <a:pt x="1725" y="619"/>
                </a:cubicBezTo>
                <a:cubicBezTo>
                  <a:pt x="1723" y="617"/>
                  <a:pt x="1723" y="617"/>
                  <a:pt x="1723" y="617"/>
                </a:cubicBezTo>
                <a:cubicBezTo>
                  <a:pt x="1726" y="617"/>
                  <a:pt x="1726" y="617"/>
                  <a:pt x="1726" y="617"/>
                </a:cubicBezTo>
                <a:cubicBezTo>
                  <a:pt x="1727" y="615"/>
                  <a:pt x="1727" y="615"/>
                  <a:pt x="1727" y="615"/>
                </a:cubicBezTo>
                <a:cubicBezTo>
                  <a:pt x="1727" y="614"/>
                  <a:pt x="1727" y="614"/>
                  <a:pt x="1727" y="614"/>
                </a:cubicBezTo>
                <a:cubicBezTo>
                  <a:pt x="1725" y="614"/>
                  <a:pt x="1725" y="614"/>
                  <a:pt x="1725" y="614"/>
                </a:cubicBezTo>
                <a:cubicBezTo>
                  <a:pt x="1726" y="612"/>
                  <a:pt x="1726" y="612"/>
                  <a:pt x="1726" y="612"/>
                </a:cubicBezTo>
                <a:cubicBezTo>
                  <a:pt x="1726" y="611"/>
                  <a:pt x="1726" y="611"/>
                  <a:pt x="1726" y="611"/>
                </a:cubicBezTo>
                <a:cubicBezTo>
                  <a:pt x="1727" y="612"/>
                  <a:pt x="1727" y="612"/>
                  <a:pt x="1727" y="612"/>
                </a:cubicBezTo>
                <a:cubicBezTo>
                  <a:pt x="1729" y="613"/>
                  <a:pt x="1729" y="613"/>
                  <a:pt x="1729" y="613"/>
                </a:cubicBezTo>
                <a:cubicBezTo>
                  <a:pt x="1728" y="614"/>
                  <a:pt x="1728" y="614"/>
                  <a:pt x="1728" y="614"/>
                </a:cubicBezTo>
                <a:cubicBezTo>
                  <a:pt x="1728" y="615"/>
                  <a:pt x="1728" y="615"/>
                  <a:pt x="1728" y="615"/>
                </a:cubicBezTo>
                <a:cubicBezTo>
                  <a:pt x="1729" y="615"/>
                  <a:pt x="1729" y="615"/>
                  <a:pt x="1729" y="615"/>
                </a:cubicBezTo>
                <a:cubicBezTo>
                  <a:pt x="1730" y="612"/>
                  <a:pt x="1730" y="612"/>
                  <a:pt x="1730" y="612"/>
                </a:cubicBezTo>
                <a:cubicBezTo>
                  <a:pt x="1729" y="611"/>
                  <a:pt x="1729" y="611"/>
                  <a:pt x="1729" y="611"/>
                </a:cubicBezTo>
                <a:cubicBezTo>
                  <a:pt x="1726" y="607"/>
                  <a:pt x="1726" y="607"/>
                  <a:pt x="1726" y="607"/>
                </a:cubicBezTo>
                <a:cubicBezTo>
                  <a:pt x="1724" y="606"/>
                  <a:pt x="1724" y="606"/>
                  <a:pt x="1724" y="606"/>
                </a:cubicBezTo>
                <a:cubicBezTo>
                  <a:pt x="1724" y="605"/>
                  <a:pt x="1724" y="605"/>
                  <a:pt x="1724" y="605"/>
                </a:cubicBezTo>
                <a:cubicBezTo>
                  <a:pt x="1722" y="603"/>
                  <a:pt x="1722" y="603"/>
                  <a:pt x="1722" y="603"/>
                </a:cubicBezTo>
                <a:cubicBezTo>
                  <a:pt x="1722" y="602"/>
                  <a:pt x="1722" y="602"/>
                  <a:pt x="1722" y="602"/>
                </a:cubicBezTo>
                <a:cubicBezTo>
                  <a:pt x="1722" y="598"/>
                  <a:pt x="1722" y="598"/>
                  <a:pt x="1722" y="598"/>
                </a:cubicBezTo>
                <a:cubicBezTo>
                  <a:pt x="1723" y="595"/>
                  <a:pt x="1723" y="595"/>
                  <a:pt x="1723" y="595"/>
                </a:cubicBezTo>
                <a:cubicBezTo>
                  <a:pt x="1726" y="595"/>
                  <a:pt x="1726" y="595"/>
                  <a:pt x="1726" y="595"/>
                </a:cubicBezTo>
                <a:cubicBezTo>
                  <a:pt x="1726" y="597"/>
                  <a:pt x="1726" y="597"/>
                  <a:pt x="1726" y="597"/>
                </a:cubicBezTo>
                <a:cubicBezTo>
                  <a:pt x="1725" y="597"/>
                  <a:pt x="1725" y="597"/>
                  <a:pt x="1725" y="597"/>
                </a:cubicBezTo>
                <a:cubicBezTo>
                  <a:pt x="1725" y="598"/>
                  <a:pt x="1725" y="598"/>
                  <a:pt x="1725" y="598"/>
                </a:cubicBezTo>
                <a:cubicBezTo>
                  <a:pt x="1728" y="599"/>
                  <a:pt x="1728" y="599"/>
                  <a:pt x="1728" y="599"/>
                </a:cubicBezTo>
                <a:cubicBezTo>
                  <a:pt x="1729" y="602"/>
                  <a:pt x="1729" y="602"/>
                  <a:pt x="1729" y="602"/>
                </a:cubicBezTo>
                <a:cubicBezTo>
                  <a:pt x="1731" y="603"/>
                  <a:pt x="1731" y="603"/>
                  <a:pt x="1731" y="603"/>
                </a:cubicBezTo>
                <a:cubicBezTo>
                  <a:pt x="1733" y="603"/>
                  <a:pt x="1733" y="603"/>
                  <a:pt x="1733" y="603"/>
                </a:cubicBezTo>
                <a:cubicBezTo>
                  <a:pt x="1731" y="602"/>
                  <a:pt x="1731" y="602"/>
                  <a:pt x="1731" y="602"/>
                </a:cubicBezTo>
                <a:cubicBezTo>
                  <a:pt x="1730" y="601"/>
                  <a:pt x="1730" y="601"/>
                  <a:pt x="1730" y="601"/>
                </a:cubicBezTo>
                <a:cubicBezTo>
                  <a:pt x="1731" y="599"/>
                  <a:pt x="1731" y="599"/>
                  <a:pt x="1731" y="599"/>
                </a:cubicBezTo>
                <a:cubicBezTo>
                  <a:pt x="1733" y="600"/>
                  <a:pt x="1733" y="600"/>
                  <a:pt x="1733" y="600"/>
                </a:cubicBezTo>
                <a:cubicBezTo>
                  <a:pt x="1734" y="602"/>
                  <a:pt x="1734" y="602"/>
                  <a:pt x="1734" y="602"/>
                </a:cubicBezTo>
                <a:cubicBezTo>
                  <a:pt x="1736" y="603"/>
                  <a:pt x="1736" y="603"/>
                  <a:pt x="1736" y="603"/>
                </a:cubicBezTo>
                <a:cubicBezTo>
                  <a:pt x="1737" y="602"/>
                  <a:pt x="1737" y="602"/>
                  <a:pt x="1737" y="602"/>
                </a:cubicBezTo>
                <a:cubicBezTo>
                  <a:pt x="1735" y="600"/>
                  <a:pt x="1735" y="600"/>
                  <a:pt x="1735" y="600"/>
                </a:cubicBezTo>
                <a:cubicBezTo>
                  <a:pt x="1734" y="600"/>
                  <a:pt x="1734" y="600"/>
                  <a:pt x="1734" y="600"/>
                </a:cubicBezTo>
                <a:cubicBezTo>
                  <a:pt x="1734" y="599"/>
                  <a:pt x="1734" y="599"/>
                  <a:pt x="1734" y="599"/>
                </a:cubicBezTo>
                <a:cubicBezTo>
                  <a:pt x="1737" y="599"/>
                  <a:pt x="1737" y="599"/>
                  <a:pt x="1737" y="599"/>
                </a:cubicBezTo>
                <a:cubicBezTo>
                  <a:pt x="1739" y="600"/>
                  <a:pt x="1739" y="600"/>
                  <a:pt x="1739" y="600"/>
                </a:cubicBezTo>
                <a:cubicBezTo>
                  <a:pt x="1739" y="600"/>
                  <a:pt x="1739" y="600"/>
                  <a:pt x="1739" y="600"/>
                </a:cubicBezTo>
                <a:cubicBezTo>
                  <a:pt x="1737" y="598"/>
                  <a:pt x="1737" y="598"/>
                  <a:pt x="1737" y="598"/>
                </a:cubicBezTo>
                <a:cubicBezTo>
                  <a:pt x="1735" y="597"/>
                  <a:pt x="1735" y="597"/>
                  <a:pt x="1735" y="597"/>
                </a:cubicBezTo>
                <a:cubicBezTo>
                  <a:pt x="1733" y="595"/>
                  <a:pt x="1733" y="595"/>
                  <a:pt x="1733" y="595"/>
                </a:cubicBezTo>
                <a:cubicBezTo>
                  <a:pt x="1734" y="594"/>
                  <a:pt x="1734" y="594"/>
                  <a:pt x="1734" y="594"/>
                </a:cubicBezTo>
                <a:cubicBezTo>
                  <a:pt x="1736" y="595"/>
                  <a:pt x="1736" y="595"/>
                  <a:pt x="1736" y="595"/>
                </a:cubicBezTo>
                <a:cubicBezTo>
                  <a:pt x="1738" y="594"/>
                  <a:pt x="1738" y="594"/>
                  <a:pt x="1738" y="594"/>
                </a:cubicBezTo>
                <a:cubicBezTo>
                  <a:pt x="1739" y="591"/>
                  <a:pt x="1739" y="591"/>
                  <a:pt x="1739" y="591"/>
                </a:cubicBezTo>
                <a:cubicBezTo>
                  <a:pt x="1740" y="590"/>
                  <a:pt x="1740" y="590"/>
                  <a:pt x="1740" y="590"/>
                </a:cubicBezTo>
                <a:cubicBezTo>
                  <a:pt x="1742" y="592"/>
                  <a:pt x="1742" y="592"/>
                  <a:pt x="1742" y="592"/>
                </a:cubicBezTo>
                <a:cubicBezTo>
                  <a:pt x="1744" y="592"/>
                  <a:pt x="1744" y="592"/>
                  <a:pt x="1744" y="592"/>
                </a:cubicBezTo>
                <a:cubicBezTo>
                  <a:pt x="1746" y="590"/>
                  <a:pt x="1746" y="590"/>
                  <a:pt x="1746" y="590"/>
                </a:cubicBezTo>
                <a:cubicBezTo>
                  <a:pt x="1746" y="589"/>
                  <a:pt x="1746" y="589"/>
                  <a:pt x="1746" y="589"/>
                </a:cubicBezTo>
                <a:cubicBezTo>
                  <a:pt x="1747" y="589"/>
                  <a:pt x="1747" y="589"/>
                  <a:pt x="1747" y="589"/>
                </a:cubicBezTo>
                <a:cubicBezTo>
                  <a:pt x="1748" y="591"/>
                  <a:pt x="1748" y="591"/>
                  <a:pt x="1748" y="591"/>
                </a:cubicBezTo>
                <a:cubicBezTo>
                  <a:pt x="1752" y="591"/>
                  <a:pt x="1752" y="591"/>
                  <a:pt x="1752" y="591"/>
                </a:cubicBezTo>
                <a:cubicBezTo>
                  <a:pt x="1755" y="592"/>
                  <a:pt x="1755" y="592"/>
                  <a:pt x="1755" y="592"/>
                </a:cubicBezTo>
                <a:cubicBezTo>
                  <a:pt x="1756" y="592"/>
                  <a:pt x="1756" y="592"/>
                  <a:pt x="1756" y="592"/>
                </a:cubicBezTo>
                <a:cubicBezTo>
                  <a:pt x="1756" y="594"/>
                  <a:pt x="1756" y="594"/>
                  <a:pt x="1756" y="594"/>
                </a:cubicBezTo>
                <a:cubicBezTo>
                  <a:pt x="1758" y="595"/>
                  <a:pt x="1758" y="595"/>
                  <a:pt x="1758" y="595"/>
                </a:cubicBezTo>
                <a:cubicBezTo>
                  <a:pt x="1759" y="594"/>
                  <a:pt x="1759" y="594"/>
                  <a:pt x="1759" y="594"/>
                </a:cubicBezTo>
                <a:cubicBezTo>
                  <a:pt x="1760" y="595"/>
                  <a:pt x="1760" y="595"/>
                  <a:pt x="1760" y="595"/>
                </a:cubicBezTo>
                <a:cubicBezTo>
                  <a:pt x="1762" y="594"/>
                  <a:pt x="1762" y="594"/>
                  <a:pt x="1762" y="594"/>
                </a:cubicBezTo>
                <a:cubicBezTo>
                  <a:pt x="1760" y="596"/>
                  <a:pt x="1760" y="596"/>
                  <a:pt x="1760" y="596"/>
                </a:cubicBezTo>
                <a:cubicBezTo>
                  <a:pt x="1759" y="596"/>
                  <a:pt x="1759" y="596"/>
                  <a:pt x="1759" y="596"/>
                </a:cubicBezTo>
                <a:cubicBezTo>
                  <a:pt x="1758" y="599"/>
                  <a:pt x="1758" y="599"/>
                  <a:pt x="1758" y="599"/>
                </a:cubicBezTo>
                <a:cubicBezTo>
                  <a:pt x="1758" y="600"/>
                  <a:pt x="1758" y="600"/>
                  <a:pt x="1758" y="600"/>
                </a:cubicBezTo>
                <a:cubicBezTo>
                  <a:pt x="1763" y="597"/>
                  <a:pt x="1763" y="597"/>
                  <a:pt x="1763" y="597"/>
                </a:cubicBezTo>
                <a:cubicBezTo>
                  <a:pt x="1768" y="594"/>
                  <a:pt x="1768" y="594"/>
                  <a:pt x="1768" y="594"/>
                </a:cubicBezTo>
                <a:cubicBezTo>
                  <a:pt x="1769" y="591"/>
                  <a:pt x="1769" y="591"/>
                  <a:pt x="1769" y="591"/>
                </a:cubicBezTo>
                <a:cubicBezTo>
                  <a:pt x="1771" y="590"/>
                  <a:pt x="1771" y="590"/>
                  <a:pt x="1771" y="590"/>
                </a:cubicBezTo>
                <a:cubicBezTo>
                  <a:pt x="1774" y="590"/>
                  <a:pt x="1774" y="590"/>
                  <a:pt x="1774" y="590"/>
                </a:cubicBezTo>
                <a:cubicBezTo>
                  <a:pt x="1775" y="589"/>
                  <a:pt x="1775" y="589"/>
                  <a:pt x="1775" y="589"/>
                </a:cubicBezTo>
                <a:cubicBezTo>
                  <a:pt x="1778" y="589"/>
                  <a:pt x="1778" y="589"/>
                  <a:pt x="1778" y="589"/>
                </a:cubicBezTo>
                <a:cubicBezTo>
                  <a:pt x="1779" y="590"/>
                  <a:pt x="1779" y="590"/>
                  <a:pt x="1779" y="590"/>
                </a:cubicBezTo>
                <a:cubicBezTo>
                  <a:pt x="1781" y="590"/>
                  <a:pt x="1781" y="590"/>
                  <a:pt x="1781" y="590"/>
                </a:cubicBezTo>
                <a:cubicBezTo>
                  <a:pt x="1783" y="589"/>
                  <a:pt x="1783" y="589"/>
                  <a:pt x="1783" y="589"/>
                </a:cubicBezTo>
                <a:cubicBezTo>
                  <a:pt x="1783" y="587"/>
                  <a:pt x="1783" y="587"/>
                  <a:pt x="1783" y="587"/>
                </a:cubicBezTo>
                <a:cubicBezTo>
                  <a:pt x="1781" y="586"/>
                  <a:pt x="1781" y="586"/>
                  <a:pt x="1781" y="586"/>
                </a:cubicBezTo>
                <a:cubicBezTo>
                  <a:pt x="1779" y="584"/>
                  <a:pt x="1779" y="584"/>
                  <a:pt x="1779" y="584"/>
                </a:cubicBezTo>
                <a:cubicBezTo>
                  <a:pt x="1777" y="584"/>
                  <a:pt x="1777" y="584"/>
                  <a:pt x="1777" y="584"/>
                </a:cubicBezTo>
                <a:cubicBezTo>
                  <a:pt x="1774" y="581"/>
                  <a:pt x="1774" y="581"/>
                  <a:pt x="1774" y="581"/>
                </a:cubicBezTo>
                <a:cubicBezTo>
                  <a:pt x="1773" y="577"/>
                  <a:pt x="1773" y="577"/>
                  <a:pt x="1773" y="577"/>
                </a:cubicBezTo>
                <a:cubicBezTo>
                  <a:pt x="1773" y="577"/>
                  <a:pt x="1773" y="577"/>
                  <a:pt x="1773" y="577"/>
                </a:cubicBezTo>
                <a:cubicBezTo>
                  <a:pt x="1772" y="575"/>
                  <a:pt x="1772" y="575"/>
                  <a:pt x="1772" y="575"/>
                </a:cubicBezTo>
                <a:cubicBezTo>
                  <a:pt x="1770" y="572"/>
                  <a:pt x="1770" y="572"/>
                  <a:pt x="1770" y="572"/>
                </a:cubicBezTo>
                <a:cubicBezTo>
                  <a:pt x="1768" y="572"/>
                  <a:pt x="1768" y="572"/>
                  <a:pt x="1768" y="572"/>
                </a:cubicBezTo>
                <a:cubicBezTo>
                  <a:pt x="1768" y="571"/>
                  <a:pt x="1768" y="571"/>
                  <a:pt x="1768" y="571"/>
                </a:cubicBezTo>
                <a:cubicBezTo>
                  <a:pt x="1771" y="568"/>
                  <a:pt x="1771" y="568"/>
                  <a:pt x="1771" y="568"/>
                </a:cubicBezTo>
                <a:cubicBezTo>
                  <a:pt x="1771" y="566"/>
                  <a:pt x="1771" y="566"/>
                  <a:pt x="1771" y="566"/>
                </a:cubicBezTo>
                <a:cubicBezTo>
                  <a:pt x="1771" y="562"/>
                  <a:pt x="1771" y="562"/>
                  <a:pt x="1771" y="562"/>
                </a:cubicBezTo>
                <a:cubicBezTo>
                  <a:pt x="1774" y="559"/>
                  <a:pt x="1774" y="559"/>
                  <a:pt x="1774" y="559"/>
                </a:cubicBezTo>
                <a:cubicBezTo>
                  <a:pt x="1775" y="560"/>
                  <a:pt x="1775" y="560"/>
                  <a:pt x="1775" y="560"/>
                </a:cubicBezTo>
                <a:cubicBezTo>
                  <a:pt x="1777" y="558"/>
                  <a:pt x="1777" y="558"/>
                  <a:pt x="1777" y="558"/>
                </a:cubicBezTo>
                <a:cubicBezTo>
                  <a:pt x="1777" y="555"/>
                  <a:pt x="1777" y="555"/>
                  <a:pt x="1777" y="555"/>
                </a:cubicBezTo>
                <a:cubicBezTo>
                  <a:pt x="1777" y="554"/>
                  <a:pt x="1777" y="554"/>
                  <a:pt x="1777" y="554"/>
                </a:cubicBezTo>
                <a:cubicBezTo>
                  <a:pt x="1776" y="552"/>
                  <a:pt x="1776" y="552"/>
                  <a:pt x="1776" y="552"/>
                </a:cubicBezTo>
                <a:cubicBezTo>
                  <a:pt x="1777" y="550"/>
                  <a:pt x="1777" y="550"/>
                  <a:pt x="1777" y="550"/>
                </a:cubicBezTo>
                <a:cubicBezTo>
                  <a:pt x="1777" y="547"/>
                  <a:pt x="1777" y="547"/>
                  <a:pt x="1777" y="547"/>
                </a:cubicBezTo>
                <a:cubicBezTo>
                  <a:pt x="1777" y="545"/>
                  <a:pt x="1777" y="545"/>
                  <a:pt x="1777" y="545"/>
                </a:cubicBezTo>
                <a:cubicBezTo>
                  <a:pt x="1778" y="544"/>
                  <a:pt x="1778" y="544"/>
                  <a:pt x="1778" y="544"/>
                </a:cubicBezTo>
                <a:cubicBezTo>
                  <a:pt x="1778" y="542"/>
                  <a:pt x="1778" y="542"/>
                  <a:pt x="1778" y="542"/>
                </a:cubicBezTo>
                <a:cubicBezTo>
                  <a:pt x="1782" y="542"/>
                  <a:pt x="1782" y="542"/>
                  <a:pt x="1782" y="542"/>
                </a:cubicBezTo>
                <a:cubicBezTo>
                  <a:pt x="1784" y="541"/>
                  <a:pt x="1784" y="541"/>
                  <a:pt x="1784" y="541"/>
                </a:cubicBezTo>
                <a:cubicBezTo>
                  <a:pt x="1786" y="539"/>
                  <a:pt x="1786" y="539"/>
                  <a:pt x="1786" y="539"/>
                </a:cubicBezTo>
                <a:cubicBezTo>
                  <a:pt x="1786" y="537"/>
                  <a:pt x="1786" y="537"/>
                  <a:pt x="1786" y="537"/>
                </a:cubicBezTo>
                <a:cubicBezTo>
                  <a:pt x="1784" y="536"/>
                  <a:pt x="1784" y="536"/>
                  <a:pt x="1784" y="536"/>
                </a:cubicBezTo>
                <a:cubicBezTo>
                  <a:pt x="1786" y="535"/>
                  <a:pt x="1786" y="535"/>
                  <a:pt x="1786" y="535"/>
                </a:cubicBezTo>
                <a:cubicBezTo>
                  <a:pt x="1786" y="535"/>
                  <a:pt x="1786" y="535"/>
                  <a:pt x="1786" y="535"/>
                </a:cubicBezTo>
                <a:cubicBezTo>
                  <a:pt x="1786" y="533"/>
                  <a:pt x="1786" y="533"/>
                  <a:pt x="1786" y="533"/>
                </a:cubicBezTo>
                <a:cubicBezTo>
                  <a:pt x="1785" y="532"/>
                  <a:pt x="1785" y="532"/>
                  <a:pt x="1785" y="532"/>
                </a:cubicBezTo>
                <a:cubicBezTo>
                  <a:pt x="1785" y="531"/>
                  <a:pt x="1785" y="531"/>
                  <a:pt x="1785" y="531"/>
                </a:cubicBezTo>
                <a:cubicBezTo>
                  <a:pt x="1785" y="530"/>
                  <a:pt x="1785" y="530"/>
                  <a:pt x="1785" y="530"/>
                </a:cubicBezTo>
                <a:cubicBezTo>
                  <a:pt x="1786" y="531"/>
                  <a:pt x="1786" y="531"/>
                  <a:pt x="1786" y="531"/>
                </a:cubicBezTo>
                <a:cubicBezTo>
                  <a:pt x="1787" y="531"/>
                  <a:pt x="1787" y="531"/>
                  <a:pt x="1787" y="531"/>
                </a:cubicBezTo>
                <a:cubicBezTo>
                  <a:pt x="1791" y="526"/>
                  <a:pt x="1791" y="526"/>
                  <a:pt x="1791" y="526"/>
                </a:cubicBezTo>
                <a:cubicBezTo>
                  <a:pt x="1791" y="525"/>
                  <a:pt x="1791" y="525"/>
                  <a:pt x="1791" y="525"/>
                </a:cubicBezTo>
                <a:cubicBezTo>
                  <a:pt x="1792" y="525"/>
                  <a:pt x="1792" y="525"/>
                  <a:pt x="1792" y="525"/>
                </a:cubicBezTo>
                <a:cubicBezTo>
                  <a:pt x="1794" y="522"/>
                  <a:pt x="1794" y="522"/>
                  <a:pt x="1794" y="522"/>
                </a:cubicBezTo>
                <a:cubicBezTo>
                  <a:pt x="1794" y="520"/>
                  <a:pt x="1794" y="520"/>
                  <a:pt x="1794" y="520"/>
                </a:cubicBezTo>
                <a:cubicBezTo>
                  <a:pt x="1795" y="519"/>
                  <a:pt x="1795" y="519"/>
                  <a:pt x="1795" y="519"/>
                </a:cubicBezTo>
                <a:cubicBezTo>
                  <a:pt x="1798" y="518"/>
                  <a:pt x="1798" y="518"/>
                  <a:pt x="1798" y="518"/>
                </a:cubicBezTo>
                <a:cubicBezTo>
                  <a:pt x="1800" y="516"/>
                  <a:pt x="1800" y="516"/>
                  <a:pt x="1800" y="516"/>
                </a:cubicBezTo>
                <a:cubicBezTo>
                  <a:pt x="1801" y="517"/>
                  <a:pt x="1801" y="517"/>
                  <a:pt x="1801" y="517"/>
                </a:cubicBezTo>
                <a:cubicBezTo>
                  <a:pt x="1801" y="518"/>
                  <a:pt x="1801" y="518"/>
                  <a:pt x="1801" y="518"/>
                </a:cubicBezTo>
                <a:cubicBezTo>
                  <a:pt x="1802" y="518"/>
                  <a:pt x="1802" y="518"/>
                  <a:pt x="1802" y="518"/>
                </a:cubicBezTo>
                <a:cubicBezTo>
                  <a:pt x="1803" y="516"/>
                  <a:pt x="1803" y="516"/>
                  <a:pt x="1803" y="516"/>
                </a:cubicBezTo>
                <a:cubicBezTo>
                  <a:pt x="1804" y="515"/>
                  <a:pt x="1804" y="515"/>
                  <a:pt x="1804" y="515"/>
                </a:cubicBezTo>
                <a:cubicBezTo>
                  <a:pt x="1805" y="516"/>
                  <a:pt x="1805" y="516"/>
                  <a:pt x="1805" y="516"/>
                </a:cubicBezTo>
                <a:cubicBezTo>
                  <a:pt x="1806" y="517"/>
                  <a:pt x="1806" y="517"/>
                  <a:pt x="1806" y="517"/>
                </a:cubicBezTo>
                <a:cubicBezTo>
                  <a:pt x="1808" y="518"/>
                  <a:pt x="1808" y="518"/>
                  <a:pt x="1808" y="518"/>
                </a:cubicBezTo>
                <a:cubicBezTo>
                  <a:pt x="1811" y="517"/>
                  <a:pt x="1811" y="517"/>
                  <a:pt x="1811" y="517"/>
                </a:cubicBezTo>
                <a:cubicBezTo>
                  <a:pt x="1809" y="518"/>
                  <a:pt x="1809" y="518"/>
                  <a:pt x="1809" y="518"/>
                </a:cubicBezTo>
                <a:cubicBezTo>
                  <a:pt x="1807" y="519"/>
                  <a:pt x="1807" y="519"/>
                  <a:pt x="1807" y="519"/>
                </a:cubicBezTo>
                <a:cubicBezTo>
                  <a:pt x="1805" y="518"/>
                  <a:pt x="1805" y="518"/>
                  <a:pt x="1805" y="518"/>
                </a:cubicBezTo>
                <a:cubicBezTo>
                  <a:pt x="1802" y="519"/>
                  <a:pt x="1802" y="519"/>
                  <a:pt x="1802" y="519"/>
                </a:cubicBezTo>
                <a:cubicBezTo>
                  <a:pt x="1800" y="519"/>
                  <a:pt x="1800" y="519"/>
                  <a:pt x="1800" y="519"/>
                </a:cubicBezTo>
                <a:cubicBezTo>
                  <a:pt x="1801" y="520"/>
                  <a:pt x="1801" y="520"/>
                  <a:pt x="1801" y="520"/>
                </a:cubicBezTo>
                <a:cubicBezTo>
                  <a:pt x="1804" y="520"/>
                  <a:pt x="1804" y="520"/>
                  <a:pt x="1804" y="520"/>
                </a:cubicBezTo>
                <a:cubicBezTo>
                  <a:pt x="1807" y="521"/>
                  <a:pt x="1807" y="521"/>
                  <a:pt x="1807" y="521"/>
                </a:cubicBezTo>
                <a:cubicBezTo>
                  <a:pt x="1807" y="522"/>
                  <a:pt x="1807" y="522"/>
                  <a:pt x="1807" y="522"/>
                </a:cubicBezTo>
                <a:cubicBezTo>
                  <a:pt x="1806" y="522"/>
                  <a:pt x="1806" y="522"/>
                  <a:pt x="1806" y="522"/>
                </a:cubicBezTo>
                <a:cubicBezTo>
                  <a:pt x="1807" y="524"/>
                  <a:pt x="1807" y="524"/>
                  <a:pt x="1807" y="524"/>
                </a:cubicBezTo>
                <a:cubicBezTo>
                  <a:pt x="1809" y="524"/>
                  <a:pt x="1809" y="524"/>
                  <a:pt x="1809" y="524"/>
                </a:cubicBezTo>
                <a:cubicBezTo>
                  <a:pt x="1810" y="525"/>
                  <a:pt x="1810" y="525"/>
                  <a:pt x="1810" y="525"/>
                </a:cubicBezTo>
                <a:cubicBezTo>
                  <a:pt x="1812" y="524"/>
                  <a:pt x="1812" y="524"/>
                  <a:pt x="1812" y="524"/>
                </a:cubicBezTo>
                <a:cubicBezTo>
                  <a:pt x="1815" y="523"/>
                  <a:pt x="1815" y="523"/>
                  <a:pt x="1815" y="523"/>
                </a:cubicBezTo>
                <a:cubicBezTo>
                  <a:pt x="1817" y="524"/>
                  <a:pt x="1817" y="524"/>
                  <a:pt x="1817" y="524"/>
                </a:cubicBezTo>
                <a:cubicBezTo>
                  <a:pt x="1819" y="525"/>
                  <a:pt x="1819" y="525"/>
                  <a:pt x="1819" y="525"/>
                </a:cubicBezTo>
                <a:cubicBezTo>
                  <a:pt x="1820" y="524"/>
                  <a:pt x="1820" y="524"/>
                  <a:pt x="1820" y="524"/>
                </a:cubicBezTo>
                <a:cubicBezTo>
                  <a:pt x="1821" y="524"/>
                  <a:pt x="1821" y="524"/>
                  <a:pt x="1821" y="524"/>
                </a:cubicBezTo>
                <a:cubicBezTo>
                  <a:pt x="1821" y="527"/>
                  <a:pt x="1821" y="527"/>
                  <a:pt x="1821" y="527"/>
                </a:cubicBezTo>
                <a:cubicBezTo>
                  <a:pt x="1822" y="528"/>
                  <a:pt x="1822" y="528"/>
                  <a:pt x="1822" y="528"/>
                </a:cubicBezTo>
                <a:cubicBezTo>
                  <a:pt x="1821" y="529"/>
                  <a:pt x="1821" y="529"/>
                  <a:pt x="1821" y="529"/>
                </a:cubicBezTo>
                <a:cubicBezTo>
                  <a:pt x="1818" y="529"/>
                  <a:pt x="1818" y="529"/>
                  <a:pt x="1818" y="529"/>
                </a:cubicBezTo>
                <a:cubicBezTo>
                  <a:pt x="1815" y="531"/>
                  <a:pt x="1815" y="531"/>
                  <a:pt x="1815" y="531"/>
                </a:cubicBezTo>
                <a:cubicBezTo>
                  <a:pt x="1813" y="535"/>
                  <a:pt x="1813" y="535"/>
                  <a:pt x="1813" y="535"/>
                </a:cubicBezTo>
                <a:cubicBezTo>
                  <a:pt x="1814" y="535"/>
                  <a:pt x="1814" y="535"/>
                  <a:pt x="1814" y="535"/>
                </a:cubicBezTo>
                <a:cubicBezTo>
                  <a:pt x="1816" y="534"/>
                  <a:pt x="1816" y="534"/>
                  <a:pt x="1816" y="534"/>
                </a:cubicBezTo>
                <a:cubicBezTo>
                  <a:pt x="1818" y="535"/>
                  <a:pt x="1818" y="535"/>
                  <a:pt x="1818" y="535"/>
                </a:cubicBezTo>
                <a:cubicBezTo>
                  <a:pt x="1819" y="535"/>
                  <a:pt x="1819" y="535"/>
                  <a:pt x="1819" y="535"/>
                </a:cubicBezTo>
                <a:cubicBezTo>
                  <a:pt x="1822" y="538"/>
                  <a:pt x="1822" y="538"/>
                  <a:pt x="1822" y="538"/>
                </a:cubicBezTo>
                <a:cubicBezTo>
                  <a:pt x="1823" y="539"/>
                  <a:pt x="1823" y="539"/>
                  <a:pt x="1823" y="539"/>
                </a:cubicBezTo>
                <a:cubicBezTo>
                  <a:pt x="1821" y="543"/>
                  <a:pt x="1821" y="543"/>
                  <a:pt x="1821" y="543"/>
                </a:cubicBezTo>
                <a:cubicBezTo>
                  <a:pt x="1821" y="543"/>
                  <a:pt x="1821" y="543"/>
                  <a:pt x="1821" y="543"/>
                </a:cubicBezTo>
                <a:cubicBezTo>
                  <a:pt x="1823" y="545"/>
                  <a:pt x="1823" y="545"/>
                  <a:pt x="1823" y="545"/>
                </a:cubicBezTo>
                <a:cubicBezTo>
                  <a:pt x="1826" y="545"/>
                  <a:pt x="1826" y="545"/>
                  <a:pt x="1826" y="545"/>
                </a:cubicBezTo>
                <a:cubicBezTo>
                  <a:pt x="1830" y="543"/>
                  <a:pt x="1830" y="543"/>
                  <a:pt x="1830" y="543"/>
                </a:cubicBezTo>
                <a:cubicBezTo>
                  <a:pt x="1834" y="540"/>
                  <a:pt x="1834" y="540"/>
                  <a:pt x="1834" y="540"/>
                </a:cubicBezTo>
                <a:cubicBezTo>
                  <a:pt x="1838" y="540"/>
                  <a:pt x="1838" y="540"/>
                  <a:pt x="1838" y="540"/>
                </a:cubicBezTo>
                <a:cubicBezTo>
                  <a:pt x="1839" y="538"/>
                  <a:pt x="1839" y="538"/>
                  <a:pt x="1839" y="538"/>
                </a:cubicBezTo>
                <a:cubicBezTo>
                  <a:pt x="1842" y="536"/>
                  <a:pt x="1842" y="536"/>
                  <a:pt x="1842" y="536"/>
                </a:cubicBezTo>
                <a:cubicBezTo>
                  <a:pt x="1846" y="537"/>
                  <a:pt x="1846" y="537"/>
                  <a:pt x="1846" y="537"/>
                </a:cubicBezTo>
                <a:cubicBezTo>
                  <a:pt x="1849" y="537"/>
                  <a:pt x="1849" y="537"/>
                  <a:pt x="1849" y="537"/>
                </a:cubicBezTo>
                <a:cubicBezTo>
                  <a:pt x="1850" y="535"/>
                  <a:pt x="1850" y="535"/>
                  <a:pt x="1850" y="535"/>
                </a:cubicBezTo>
                <a:cubicBezTo>
                  <a:pt x="1849" y="533"/>
                  <a:pt x="1849" y="533"/>
                  <a:pt x="1849" y="533"/>
                </a:cubicBezTo>
                <a:cubicBezTo>
                  <a:pt x="1850" y="532"/>
                  <a:pt x="1850" y="532"/>
                  <a:pt x="1850" y="532"/>
                </a:cubicBezTo>
                <a:cubicBezTo>
                  <a:pt x="1851" y="531"/>
                  <a:pt x="1851" y="531"/>
                  <a:pt x="1851" y="531"/>
                </a:cubicBezTo>
                <a:cubicBezTo>
                  <a:pt x="1849" y="531"/>
                  <a:pt x="1849" y="531"/>
                  <a:pt x="1849" y="531"/>
                </a:cubicBezTo>
                <a:cubicBezTo>
                  <a:pt x="1845" y="531"/>
                  <a:pt x="1845" y="531"/>
                  <a:pt x="1845" y="531"/>
                </a:cubicBezTo>
                <a:cubicBezTo>
                  <a:pt x="1845" y="533"/>
                  <a:pt x="1845" y="533"/>
                  <a:pt x="1845" y="533"/>
                </a:cubicBezTo>
                <a:cubicBezTo>
                  <a:pt x="1843" y="532"/>
                  <a:pt x="1843" y="532"/>
                  <a:pt x="1843" y="532"/>
                </a:cubicBezTo>
                <a:cubicBezTo>
                  <a:pt x="1841" y="532"/>
                  <a:pt x="1841" y="532"/>
                  <a:pt x="1841" y="532"/>
                </a:cubicBezTo>
                <a:cubicBezTo>
                  <a:pt x="1840" y="534"/>
                  <a:pt x="1840" y="534"/>
                  <a:pt x="1840" y="534"/>
                </a:cubicBezTo>
                <a:cubicBezTo>
                  <a:pt x="1839" y="534"/>
                  <a:pt x="1839" y="534"/>
                  <a:pt x="1839" y="534"/>
                </a:cubicBezTo>
                <a:cubicBezTo>
                  <a:pt x="1834" y="528"/>
                  <a:pt x="1834" y="528"/>
                  <a:pt x="1834" y="528"/>
                </a:cubicBezTo>
                <a:cubicBezTo>
                  <a:pt x="1833" y="526"/>
                  <a:pt x="1833" y="526"/>
                  <a:pt x="1833" y="526"/>
                </a:cubicBezTo>
                <a:cubicBezTo>
                  <a:pt x="1831" y="523"/>
                  <a:pt x="1831" y="523"/>
                  <a:pt x="1831" y="523"/>
                </a:cubicBezTo>
                <a:cubicBezTo>
                  <a:pt x="1831" y="524"/>
                  <a:pt x="1831" y="524"/>
                  <a:pt x="1831" y="524"/>
                </a:cubicBezTo>
                <a:cubicBezTo>
                  <a:pt x="1832" y="527"/>
                  <a:pt x="1832" y="527"/>
                  <a:pt x="1832" y="527"/>
                </a:cubicBezTo>
                <a:cubicBezTo>
                  <a:pt x="1835" y="531"/>
                  <a:pt x="1835" y="531"/>
                  <a:pt x="1835" y="531"/>
                </a:cubicBezTo>
                <a:cubicBezTo>
                  <a:pt x="1839" y="534"/>
                  <a:pt x="1839" y="534"/>
                  <a:pt x="1839" y="534"/>
                </a:cubicBezTo>
                <a:cubicBezTo>
                  <a:pt x="1838" y="535"/>
                  <a:pt x="1838" y="535"/>
                  <a:pt x="1838" y="535"/>
                </a:cubicBezTo>
                <a:cubicBezTo>
                  <a:pt x="1835" y="534"/>
                  <a:pt x="1835" y="534"/>
                  <a:pt x="1835" y="534"/>
                </a:cubicBezTo>
                <a:cubicBezTo>
                  <a:pt x="1834" y="533"/>
                  <a:pt x="1834" y="533"/>
                  <a:pt x="1834" y="533"/>
                </a:cubicBezTo>
                <a:cubicBezTo>
                  <a:pt x="1834" y="530"/>
                  <a:pt x="1834" y="530"/>
                  <a:pt x="1834" y="530"/>
                </a:cubicBezTo>
                <a:cubicBezTo>
                  <a:pt x="1833" y="530"/>
                  <a:pt x="1833" y="530"/>
                  <a:pt x="1833" y="530"/>
                </a:cubicBezTo>
                <a:cubicBezTo>
                  <a:pt x="1831" y="531"/>
                  <a:pt x="1831" y="531"/>
                  <a:pt x="1831" y="531"/>
                </a:cubicBezTo>
                <a:cubicBezTo>
                  <a:pt x="1832" y="529"/>
                  <a:pt x="1832" y="529"/>
                  <a:pt x="1832" y="529"/>
                </a:cubicBezTo>
                <a:cubicBezTo>
                  <a:pt x="1831" y="529"/>
                  <a:pt x="1831" y="529"/>
                  <a:pt x="1831" y="529"/>
                </a:cubicBezTo>
                <a:cubicBezTo>
                  <a:pt x="1830" y="530"/>
                  <a:pt x="1830" y="530"/>
                  <a:pt x="1830" y="530"/>
                </a:cubicBezTo>
                <a:cubicBezTo>
                  <a:pt x="1830" y="529"/>
                  <a:pt x="1830" y="529"/>
                  <a:pt x="1830" y="529"/>
                </a:cubicBezTo>
                <a:cubicBezTo>
                  <a:pt x="1831" y="528"/>
                  <a:pt x="1831" y="528"/>
                  <a:pt x="1831" y="528"/>
                </a:cubicBezTo>
                <a:cubicBezTo>
                  <a:pt x="1830" y="527"/>
                  <a:pt x="1830" y="527"/>
                  <a:pt x="1830" y="527"/>
                </a:cubicBezTo>
                <a:cubicBezTo>
                  <a:pt x="1829" y="527"/>
                  <a:pt x="1829" y="527"/>
                  <a:pt x="1829" y="527"/>
                </a:cubicBezTo>
                <a:cubicBezTo>
                  <a:pt x="1828" y="526"/>
                  <a:pt x="1828" y="526"/>
                  <a:pt x="1828" y="526"/>
                </a:cubicBezTo>
                <a:cubicBezTo>
                  <a:pt x="1826" y="525"/>
                  <a:pt x="1826" y="525"/>
                  <a:pt x="1826" y="525"/>
                </a:cubicBezTo>
                <a:cubicBezTo>
                  <a:pt x="1823" y="525"/>
                  <a:pt x="1823" y="525"/>
                  <a:pt x="1823" y="525"/>
                </a:cubicBezTo>
                <a:cubicBezTo>
                  <a:pt x="1822" y="524"/>
                  <a:pt x="1822" y="524"/>
                  <a:pt x="1822" y="524"/>
                </a:cubicBezTo>
                <a:cubicBezTo>
                  <a:pt x="1822" y="524"/>
                  <a:pt x="1822" y="524"/>
                  <a:pt x="1822" y="524"/>
                </a:cubicBezTo>
                <a:cubicBezTo>
                  <a:pt x="1824" y="524"/>
                  <a:pt x="1824" y="524"/>
                  <a:pt x="1824" y="524"/>
                </a:cubicBezTo>
                <a:cubicBezTo>
                  <a:pt x="1826" y="523"/>
                  <a:pt x="1826" y="523"/>
                  <a:pt x="1826" y="523"/>
                </a:cubicBezTo>
                <a:cubicBezTo>
                  <a:pt x="1827" y="524"/>
                  <a:pt x="1827" y="524"/>
                  <a:pt x="1827" y="524"/>
                </a:cubicBezTo>
                <a:cubicBezTo>
                  <a:pt x="1829" y="524"/>
                  <a:pt x="1829" y="524"/>
                  <a:pt x="1829" y="524"/>
                </a:cubicBezTo>
                <a:cubicBezTo>
                  <a:pt x="1830" y="523"/>
                  <a:pt x="1830" y="523"/>
                  <a:pt x="1830" y="523"/>
                </a:cubicBezTo>
                <a:cubicBezTo>
                  <a:pt x="1831" y="522"/>
                  <a:pt x="1831" y="522"/>
                  <a:pt x="1831" y="522"/>
                </a:cubicBezTo>
                <a:cubicBezTo>
                  <a:pt x="1834" y="519"/>
                  <a:pt x="1834" y="519"/>
                  <a:pt x="1834" y="519"/>
                </a:cubicBezTo>
                <a:cubicBezTo>
                  <a:pt x="1835" y="518"/>
                  <a:pt x="1835" y="518"/>
                  <a:pt x="1835" y="518"/>
                </a:cubicBezTo>
                <a:cubicBezTo>
                  <a:pt x="1836" y="519"/>
                  <a:pt x="1836" y="519"/>
                  <a:pt x="1836" y="519"/>
                </a:cubicBezTo>
                <a:cubicBezTo>
                  <a:pt x="1836" y="519"/>
                  <a:pt x="1836" y="519"/>
                  <a:pt x="1836" y="519"/>
                </a:cubicBezTo>
                <a:cubicBezTo>
                  <a:pt x="1834" y="522"/>
                  <a:pt x="1834" y="522"/>
                  <a:pt x="1834" y="522"/>
                </a:cubicBezTo>
                <a:cubicBezTo>
                  <a:pt x="1833" y="522"/>
                  <a:pt x="1833" y="522"/>
                  <a:pt x="1833" y="522"/>
                </a:cubicBezTo>
                <a:cubicBezTo>
                  <a:pt x="1834" y="523"/>
                  <a:pt x="1834" y="523"/>
                  <a:pt x="1834" y="523"/>
                </a:cubicBezTo>
                <a:cubicBezTo>
                  <a:pt x="1835" y="523"/>
                  <a:pt x="1835" y="523"/>
                  <a:pt x="1835" y="523"/>
                </a:cubicBezTo>
                <a:cubicBezTo>
                  <a:pt x="1837" y="519"/>
                  <a:pt x="1837" y="519"/>
                  <a:pt x="1837" y="519"/>
                </a:cubicBezTo>
                <a:cubicBezTo>
                  <a:pt x="1838" y="518"/>
                  <a:pt x="1838" y="518"/>
                  <a:pt x="1838" y="518"/>
                </a:cubicBezTo>
                <a:cubicBezTo>
                  <a:pt x="1837" y="517"/>
                  <a:pt x="1837" y="517"/>
                  <a:pt x="1837" y="517"/>
                </a:cubicBezTo>
                <a:cubicBezTo>
                  <a:pt x="1836" y="515"/>
                  <a:pt x="1836" y="515"/>
                  <a:pt x="1836" y="515"/>
                </a:cubicBezTo>
                <a:cubicBezTo>
                  <a:pt x="1837" y="515"/>
                  <a:pt x="1837" y="515"/>
                  <a:pt x="1837" y="515"/>
                </a:cubicBezTo>
                <a:cubicBezTo>
                  <a:pt x="1838" y="518"/>
                  <a:pt x="1838" y="518"/>
                  <a:pt x="1838" y="518"/>
                </a:cubicBezTo>
                <a:cubicBezTo>
                  <a:pt x="1840" y="518"/>
                  <a:pt x="1840" y="518"/>
                  <a:pt x="1840" y="518"/>
                </a:cubicBezTo>
                <a:cubicBezTo>
                  <a:pt x="1842" y="517"/>
                  <a:pt x="1842" y="517"/>
                  <a:pt x="1842" y="517"/>
                </a:cubicBezTo>
                <a:cubicBezTo>
                  <a:pt x="1844" y="517"/>
                  <a:pt x="1844" y="517"/>
                  <a:pt x="1844" y="517"/>
                </a:cubicBezTo>
                <a:cubicBezTo>
                  <a:pt x="1846" y="516"/>
                  <a:pt x="1846" y="516"/>
                  <a:pt x="1846" y="516"/>
                </a:cubicBezTo>
                <a:cubicBezTo>
                  <a:pt x="1848" y="516"/>
                  <a:pt x="1848" y="516"/>
                  <a:pt x="1848" y="516"/>
                </a:cubicBezTo>
                <a:cubicBezTo>
                  <a:pt x="1849" y="516"/>
                  <a:pt x="1849" y="516"/>
                  <a:pt x="1849" y="516"/>
                </a:cubicBezTo>
                <a:cubicBezTo>
                  <a:pt x="1851" y="514"/>
                  <a:pt x="1851" y="514"/>
                  <a:pt x="1851" y="514"/>
                </a:cubicBezTo>
                <a:cubicBezTo>
                  <a:pt x="1852" y="512"/>
                  <a:pt x="1852" y="512"/>
                  <a:pt x="1852" y="512"/>
                </a:cubicBezTo>
                <a:cubicBezTo>
                  <a:pt x="1854" y="512"/>
                  <a:pt x="1854" y="512"/>
                  <a:pt x="1854" y="512"/>
                </a:cubicBezTo>
                <a:cubicBezTo>
                  <a:pt x="1855" y="510"/>
                  <a:pt x="1855" y="510"/>
                  <a:pt x="1855" y="510"/>
                </a:cubicBezTo>
                <a:cubicBezTo>
                  <a:pt x="1856" y="509"/>
                  <a:pt x="1856" y="509"/>
                  <a:pt x="1856" y="509"/>
                </a:cubicBezTo>
                <a:cubicBezTo>
                  <a:pt x="1859" y="509"/>
                  <a:pt x="1859" y="509"/>
                  <a:pt x="1859" y="509"/>
                </a:cubicBezTo>
                <a:cubicBezTo>
                  <a:pt x="1861" y="508"/>
                  <a:pt x="1861" y="508"/>
                  <a:pt x="1861" y="508"/>
                </a:cubicBezTo>
                <a:cubicBezTo>
                  <a:pt x="1862" y="508"/>
                  <a:pt x="1862" y="508"/>
                  <a:pt x="1862" y="508"/>
                </a:cubicBezTo>
                <a:cubicBezTo>
                  <a:pt x="1863" y="510"/>
                  <a:pt x="1863" y="510"/>
                  <a:pt x="1863" y="510"/>
                </a:cubicBezTo>
                <a:cubicBezTo>
                  <a:pt x="1865" y="509"/>
                  <a:pt x="1865" y="509"/>
                  <a:pt x="1865" y="509"/>
                </a:cubicBezTo>
                <a:cubicBezTo>
                  <a:pt x="1865" y="504"/>
                  <a:pt x="1865" y="504"/>
                  <a:pt x="1865" y="504"/>
                </a:cubicBezTo>
                <a:cubicBezTo>
                  <a:pt x="1865" y="509"/>
                  <a:pt x="1865" y="509"/>
                  <a:pt x="1865" y="509"/>
                </a:cubicBezTo>
                <a:cubicBezTo>
                  <a:pt x="1865" y="509"/>
                  <a:pt x="1865" y="509"/>
                  <a:pt x="1865" y="509"/>
                </a:cubicBezTo>
                <a:cubicBezTo>
                  <a:pt x="1865" y="509"/>
                  <a:pt x="1865" y="509"/>
                  <a:pt x="1865" y="509"/>
                </a:cubicBezTo>
                <a:cubicBezTo>
                  <a:pt x="1867" y="509"/>
                  <a:pt x="1867" y="509"/>
                  <a:pt x="1867" y="509"/>
                </a:cubicBezTo>
                <a:cubicBezTo>
                  <a:pt x="1869" y="507"/>
                  <a:pt x="1869" y="507"/>
                  <a:pt x="1869" y="507"/>
                </a:cubicBezTo>
                <a:cubicBezTo>
                  <a:pt x="1872" y="507"/>
                  <a:pt x="1872" y="507"/>
                  <a:pt x="1872" y="507"/>
                </a:cubicBezTo>
                <a:cubicBezTo>
                  <a:pt x="1873" y="508"/>
                  <a:pt x="1873" y="508"/>
                  <a:pt x="1873" y="508"/>
                </a:cubicBezTo>
                <a:cubicBezTo>
                  <a:pt x="1872" y="510"/>
                  <a:pt x="1872" y="510"/>
                  <a:pt x="1872" y="510"/>
                </a:cubicBezTo>
                <a:cubicBezTo>
                  <a:pt x="1867" y="513"/>
                  <a:pt x="1867" y="513"/>
                  <a:pt x="1867" y="513"/>
                </a:cubicBezTo>
                <a:cubicBezTo>
                  <a:pt x="1865" y="514"/>
                  <a:pt x="1865" y="514"/>
                  <a:pt x="1865" y="514"/>
                </a:cubicBezTo>
                <a:cubicBezTo>
                  <a:pt x="1866" y="515"/>
                  <a:pt x="1866" y="515"/>
                  <a:pt x="1866" y="515"/>
                </a:cubicBezTo>
                <a:cubicBezTo>
                  <a:pt x="1867" y="515"/>
                  <a:pt x="1867" y="515"/>
                  <a:pt x="1867" y="515"/>
                </a:cubicBezTo>
                <a:cubicBezTo>
                  <a:pt x="1866" y="517"/>
                  <a:pt x="1866" y="517"/>
                  <a:pt x="1866" y="517"/>
                </a:cubicBezTo>
                <a:cubicBezTo>
                  <a:pt x="1863" y="516"/>
                  <a:pt x="1863" y="516"/>
                  <a:pt x="1863" y="516"/>
                </a:cubicBezTo>
                <a:cubicBezTo>
                  <a:pt x="1860" y="517"/>
                  <a:pt x="1860" y="517"/>
                  <a:pt x="1860" y="517"/>
                </a:cubicBezTo>
                <a:cubicBezTo>
                  <a:pt x="1861" y="519"/>
                  <a:pt x="1861" y="519"/>
                  <a:pt x="1861" y="519"/>
                </a:cubicBezTo>
                <a:cubicBezTo>
                  <a:pt x="1863" y="521"/>
                  <a:pt x="1863" y="521"/>
                  <a:pt x="1863" y="521"/>
                </a:cubicBezTo>
                <a:cubicBezTo>
                  <a:pt x="1864" y="520"/>
                  <a:pt x="1864" y="520"/>
                  <a:pt x="1864" y="520"/>
                </a:cubicBezTo>
                <a:cubicBezTo>
                  <a:pt x="1864" y="521"/>
                  <a:pt x="1864" y="521"/>
                  <a:pt x="1864" y="521"/>
                </a:cubicBezTo>
                <a:cubicBezTo>
                  <a:pt x="1866" y="522"/>
                  <a:pt x="1866" y="522"/>
                  <a:pt x="1866" y="522"/>
                </a:cubicBezTo>
                <a:cubicBezTo>
                  <a:pt x="1866" y="523"/>
                  <a:pt x="1866" y="523"/>
                  <a:pt x="1866" y="523"/>
                </a:cubicBezTo>
                <a:cubicBezTo>
                  <a:pt x="1865" y="523"/>
                  <a:pt x="1865" y="523"/>
                  <a:pt x="1865" y="523"/>
                </a:cubicBezTo>
                <a:cubicBezTo>
                  <a:pt x="1864" y="524"/>
                  <a:pt x="1864" y="524"/>
                  <a:pt x="1864" y="524"/>
                </a:cubicBezTo>
                <a:cubicBezTo>
                  <a:pt x="1863" y="524"/>
                  <a:pt x="1863" y="524"/>
                  <a:pt x="1863" y="524"/>
                </a:cubicBezTo>
                <a:cubicBezTo>
                  <a:pt x="1862" y="525"/>
                  <a:pt x="1862" y="525"/>
                  <a:pt x="1862" y="525"/>
                </a:cubicBezTo>
                <a:cubicBezTo>
                  <a:pt x="1862" y="525"/>
                  <a:pt x="1862" y="525"/>
                  <a:pt x="1862" y="525"/>
                </a:cubicBezTo>
                <a:cubicBezTo>
                  <a:pt x="1860" y="528"/>
                  <a:pt x="1860" y="528"/>
                  <a:pt x="1860" y="528"/>
                </a:cubicBezTo>
                <a:cubicBezTo>
                  <a:pt x="1860" y="530"/>
                  <a:pt x="1860" y="530"/>
                  <a:pt x="1860" y="530"/>
                </a:cubicBezTo>
                <a:cubicBezTo>
                  <a:pt x="1861" y="530"/>
                  <a:pt x="1861" y="530"/>
                  <a:pt x="1861" y="530"/>
                </a:cubicBezTo>
                <a:cubicBezTo>
                  <a:pt x="1860" y="533"/>
                  <a:pt x="1860" y="533"/>
                  <a:pt x="1860" y="533"/>
                </a:cubicBezTo>
                <a:cubicBezTo>
                  <a:pt x="1858" y="533"/>
                  <a:pt x="1858" y="533"/>
                  <a:pt x="1858" y="533"/>
                </a:cubicBezTo>
                <a:cubicBezTo>
                  <a:pt x="1858" y="533"/>
                  <a:pt x="1858" y="533"/>
                  <a:pt x="1858" y="533"/>
                </a:cubicBezTo>
                <a:cubicBezTo>
                  <a:pt x="1856" y="532"/>
                  <a:pt x="1856" y="532"/>
                  <a:pt x="1856" y="532"/>
                </a:cubicBezTo>
                <a:cubicBezTo>
                  <a:pt x="1854" y="531"/>
                  <a:pt x="1854" y="531"/>
                  <a:pt x="1854" y="531"/>
                </a:cubicBezTo>
                <a:cubicBezTo>
                  <a:pt x="1854" y="532"/>
                  <a:pt x="1854" y="532"/>
                  <a:pt x="1854" y="532"/>
                </a:cubicBezTo>
                <a:cubicBezTo>
                  <a:pt x="1855" y="534"/>
                  <a:pt x="1855" y="534"/>
                  <a:pt x="1855" y="534"/>
                </a:cubicBezTo>
                <a:cubicBezTo>
                  <a:pt x="1853" y="534"/>
                  <a:pt x="1853" y="534"/>
                  <a:pt x="1853" y="534"/>
                </a:cubicBezTo>
                <a:cubicBezTo>
                  <a:pt x="1852" y="536"/>
                  <a:pt x="1852" y="536"/>
                  <a:pt x="1852" y="536"/>
                </a:cubicBezTo>
                <a:cubicBezTo>
                  <a:pt x="1854" y="536"/>
                  <a:pt x="1854" y="536"/>
                  <a:pt x="1854" y="536"/>
                </a:cubicBezTo>
                <a:cubicBezTo>
                  <a:pt x="1855" y="536"/>
                  <a:pt x="1855" y="536"/>
                  <a:pt x="1855" y="536"/>
                </a:cubicBezTo>
                <a:cubicBezTo>
                  <a:pt x="1858" y="538"/>
                  <a:pt x="1858" y="538"/>
                  <a:pt x="1858" y="538"/>
                </a:cubicBezTo>
                <a:cubicBezTo>
                  <a:pt x="1858" y="540"/>
                  <a:pt x="1858" y="540"/>
                  <a:pt x="1858" y="540"/>
                </a:cubicBezTo>
                <a:cubicBezTo>
                  <a:pt x="1860" y="542"/>
                  <a:pt x="1860" y="542"/>
                  <a:pt x="1860" y="542"/>
                </a:cubicBezTo>
                <a:cubicBezTo>
                  <a:pt x="1864" y="542"/>
                  <a:pt x="1864" y="542"/>
                  <a:pt x="1864" y="542"/>
                </a:cubicBezTo>
                <a:cubicBezTo>
                  <a:pt x="1868" y="544"/>
                  <a:pt x="1868" y="544"/>
                  <a:pt x="1868" y="544"/>
                </a:cubicBezTo>
                <a:cubicBezTo>
                  <a:pt x="1871" y="545"/>
                  <a:pt x="1871" y="545"/>
                  <a:pt x="1871" y="545"/>
                </a:cubicBezTo>
                <a:cubicBezTo>
                  <a:pt x="1877" y="549"/>
                  <a:pt x="1877" y="549"/>
                  <a:pt x="1877" y="549"/>
                </a:cubicBezTo>
                <a:cubicBezTo>
                  <a:pt x="1879" y="552"/>
                  <a:pt x="1879" y="552"/>
                  <a:pt x="1879" y="552"/>
                </a:cubicBezTo>
                <a:cubicBezTo>
                  <a:pt x="1880" y="553"/>
                  <a:pt x="1880" y="553"/>
                  <a:pt x="1880" y="553"/>
                </a:cubicBezTo>
                <a:cubicBezTo>
                  <a:pt x="1881" y="554"/>
                  <a:pt x="1881" y="554"/>
                  <a:pt x="1881" y="554"/>
                </a:cubicBezTo>
                <a:cubicBezTo>
                  <a:pt x="1883" y="555"/>
                  <a:pt x="1883" y="555"/>
                  <a:pt x="1883" y="555"/>
                </a:cubicBezTo>
                <a:cubicBezTo>
                  <a:pt x="1884" y="555"/>
                  <a:pt x="1884" y="555"/>
                  <a:pt x="1884" y="555"/>
                </a:cubicBezTo>
                <a:cubicBezTo>
                  <a:pt x="1885" y="557"/>
                  <a:pt x="1885" y="557"/>
                  <a:pt x="1885" y="557"/>
                </a:cubicBezTo>
                <a:cubicBezTo>
                  <a:pt x="1887" y="557"/>
                  <a:pt x="1887" y="557"/>
                  <a:pt x="1887" y="557"/>
                </a:cubicBezTo>
                <a:cubicBezTo>
                  <a:pt x="1888" y="557"/>
                  <a:pt x="1888" y="557"/>
                  <a:pt x="1888" y="557"/>
                </a:cubicBezTo>
                <a:cubicBezTo>
                  <a:pt x="1889" y="560"/>
                  <a:pt x="1889" y="560"/>
                  <a:pt x="1889" y="560"/>
                </a:cubicBezTo>
                <a:cubicBezTo>
                  <a:pt x="1891" y="560"/>
                  <a:pt x="1891" y="560"/>
                  <a:pt x="1891" y="560"/>
                </a:cubicBezTo>
                <a:cubicBezTo>
                  <a:pt x="1892" y="561"/>
                  <a:pt x="1892" y="561"/>
                  <a:pt x="1892" y="561"/>
                </a:cubicBezTo>
                <a:cubicBezTo>
                  <a:pt x="1893" y="560"/>
                  <a:pt x="1893" y="560"/>
                  <a:pt x="1893" y="560"/>
                </a:cubicBezTo>
                <a:cubicBezTo>
                  <a:pt x="1896" y="562"/>
                  <a:pt x="1896" y="562"/>
                  <a:pt x="1896" y="562"/>
                </a:cubicBezTo>
                <a:cubicBezTo>
                  <a:pt x="1896" y="563"/>
                  <a:pt x="1896" y="563"/>
                  <a:pt x="1896" y="563"/>
                </a:cubicBezTo>
                <a:cubicBezTo>
                  <a:pt x="1899" y="564"/>
                  <a:pt x="1899" y="564"/>
                  <a:pt x="1899" y="564"/>
                </a:cubicBezTo>
                <a:cubicBezTo>
                  <a:pt x="1901" y="567"/>
                  <a:pt x="1901" y="567"/>
                  <a:pt x="1901" y="567"/>
                </a:cubicBezTo>
                <a:cubicBezTo>
                  <a:pt x="1902" y="569"/>
                  <a:pt x="1902" y="569"/>
                  <a:pt x="1902" y="569"/>
                </a:cubicBezTo>
                <a:cubicBezTo>
                  <a:pt x="1903" y="573"/>
                  <a:pt x="1903" y="573"/>
                  <a:pt x="1903" y="573"/>
                </a:cubicBezTo>
                <a:cubicBezTo>
                  <a:pt x="1904" y="576"/>
                  <a:pt x="1904" y="576"/>
                  <a:pt x="1904" y="576"/>
                </a:cubicBezTo>
                <a:cubicBezTo>
                  <a:pt x="1904" y="577"/>
                  <a:pt x="1904" y="577"/>
                  <a:pt x="1904" y="577"/>
                </a:cubicBezTo>
                <a:cubicBezTo>
                  <a:pt x="1904" y="579"/>
                  <a:pt x="1904" y="579"/>
                  <a:pt x="1904" y="579"/>
                </a:cubicBezTo>
                <a:cubicBezTo>
                  <a:pt x="1904" y="579"/>
                  <a:pt x="1904" y="579"/>
                  <a:pt x="1904" y="579"/>
                </a:cubicBezTo>
                <a:cubicBezTo>
                  <a:pt x="1904" y="579"/>
                  <a:pt x="1904" y="579"/>
                  <a:pt x="1904" y="579"/>
                </a:cubicBezTo>
                <a:cubicBezTo>
                  <a:pt x="1903" y="580"/>
                  <a:pt x="1903" y="580"/>
                  <a:pt x="1903" y="580"/>
                </a:cubicBezTo>
                <a:cubicBezTo>
                  <a:pt x="1902" y="583"/>
                  <a:pt x="1902" y="583"/>
                  <a:pt x="1902" y="583"/>
                </a:cubicBezTo>
                <a:cubicBezTo>
                  <a:pt x="1900" y="584"/>
                  <a:pt x="1900" y="584"/>
                  <a:pt x="1900" y="584"/>
                </a:cubicBezTo>
                <a:cubicBezTo>
                  <a:pt x="1896" y="586"/>
                  <a:pt x="1896" y="586"/>
                  <a:pt x="1896" y="586"/>
                </a:cubicBezTo>
                <a:cubicBezTo>
                  <a:pt x="1896" y="587"/>
                  <a:pt x="1896" y="587"/>
                  <a:pt x="1896" y="587"/>
                </a:cubicBezTo>
                <a:cubicBezTo>
                  <a:pt x="1892" y="588"/>
                  <a:pt x="1892" y="588"/>
                  <a:pt x="1892" y="588"/>
                </a:cubicBezTo>
                <a:cubicBezTo>
                  <a:pt x="1891" y="589"/>
                  <a:pt x="1891" y="589"/>
                  <a:pt x="1891" y="589"/>
                </a:cubicBezTo>
                <a:cubicBezTo>
                  <a:pt x="1887" y="588"/>
                  <a:pt x="1887" y="588"/>
                  <a:pt x="1887" y="588"/>
                </a:cubicBezTo>
                <a:cubicBezTo>
                  <a:pt x="1886" y="587"/>
                  <a:pt x="1886" y="587"/>
                  <a:pt x="1886" y="587"/>
                </a:cubicBezTo>
                <a:cubicBezTo>
                  <a:pt x="1884" y="587"/>
                  <a:pt x="1884" y="587"/>
                  <a:pt x="1884" y="587"/>
                </a:cubicBezTo>
                <a:cubicBezTo>
                  <a:pt x="1884" y="587"/>
                  <a:pt x="1884" y="587"/>
                  <a:pt x="1884" y="587"/>
                </a:cubicBezTo>
                <a:cubicBezTo>
                  <a:pt x="1882" y="587"/>
                  <a:pt x="1882" y="587"/>
                  <a:pt x="1882" y="587"/>
                </a:cubicBezTo>
                <a:cubicBezTo>
                  <a:pt x="1878" y="587"/>
                  <a:pt x="1878" y="587"/>
                  <a:pt x="1878" y="587"/>
                </a:cubicBezTo>
                <a:cubicBezTo>
                  <a:pt x="1874" y="589"/>
                  <a:pt x="1874" y="589"/>
                  <a:pt x="1874" y="589"/>
                </a:cubicBezTo>
                <a:cubicBezTo>
                  <a:pt x="1870" y="588"/>
                  <a:pt x="1870" y="588"/>
                  <a:pt x="1870" y="588"/>
                </a:cubicBezTo>
                <a:cubicBezTo>
                  <a:pt x="1868" y="587"/>
                  <a:pt x="1868" y="587"/>
                  <a:pt x="1868" y="587"/>
                </a:cubicBezTo>
                <a:cubicBezTo>
                  <a:pt x="1867" y="588"/>
                  <a:pt x="1867" y="588"/>
                  <a:pt x="1867" y="588"/>
                </a:cubicBezTo>
                <a:cubicBezTo>
                  <a:pt x="1863" y="586"/>
                  <a:pt x="1863" y="586"/>
                  <a:pt x="1863" y="586"/>
                </a:cubicBezTo>
                <a:cubicBezTo>
                  <a:pt x="1861" y="586"/>
                  <a:pt x="1861" y="586"/>
                  <a:pt x="1861" y="586"/>
                </a:cubicBezTo>
                <a:cubicBezTo>
                  <a:pt x="1857" y="583"/>
                  <a:pt x="1857" y="583"/>
                  <a:pt x="1857" y="583"/>
                </a:cubicBezTo>
                <a:cubicBezTo>
                  <a:pt x="1856" y="583"/>
                  <a:pt x="1856" y="583"/>
                  <a:pt x="1856" y="583"/>
                </a:cubicBezTo>
                <a:cubicBezTo>
                  <a:pt x="1855" y="584"/>
                  <a:pt x="1855" y="584"/>
                  <a:pt x="1855" y="584"/>
                </a:cubicBezTo>
                <a:cubicBezTo>
                  <a:pt x="1854" y="584"/>
                  <a:pt x="1854" y="584"/>
                  <a:pt x="1854" y="584"/>
                </a:cubicBezTo>
                <a:cubicBezTo>
                  <a:pt x="1852" y="582"/>
                  <a:pt x="1852" y="582"/>
                  <a:pt x="1852" y="582"/>
                </a:cubicBezTo>
                <a:cubicBezTo>
                  <a:pt x="1852" y="579"/>
                  <a:pt x="1852" y="579"/>
                  <a:pt x="1852" y="579"/>
                </a:cubicBezTo>
                <a:cubicBezTo>
                  <a:pt x="1850" y="578"/>
                  <a:pt x="1850" y="578"/>
                  <a:pt x="1850" y="578"/>
                </a:cubicBezTo>
                <a:cubicBezTo>
                  <a:pt x="1849" y="578"/>
                  <a:pt x="1849" y="578"/>
                  <a:pt x="1849" y="578"/>
                </a:cubicBezTo>
                <a:cubicBezTo>
                  <a:pt x="1846" y="581"/>
                  <a:pt x="1846" y="581"/>
                  <a:pt x="1846" y="581"/>
                </a:cubicBezTo>
                <a:cubicBezTo>
                  <a:pt x="1846" y="580"/>
                  <a:pt x="1846" y="580"/>
                  <a:pt x="1846" y="580"/>
                </a:cubicBezTo>
                <a:cubicBezTo>
                  <a:pt x="1845" y="581"/>
                  <a:pt x="1845" y="581"/>
                  <a:pt x="1845" y="581"/>
                </a:cubicBezTo>
                <a:cubicBezTo>
                  <a:pt x="1841" y="577"/>
                  <a:pt x="1841" y="577"/>
                  <a:pt x="1841" y="577"/>
                </a:cubicBezTo>
                <a:cubicBezTo>
                  <a:pt x="1841" y="575"/>
                  <a:pt x="1841" y="575"/>
                  <a:pt x="1841" y="575"/>
                </a:cubicBezTo>
                <a:cubicBezTo>
                  <a:pt x="1840" y="575"/>
                  <a:pt x="1840" y="575"/>
                  <a:pt x="1840" y="575"/>
                </a:cubicBezTo>
                <a:cubicBezTo>
                  <a:pt x="1838" y="576"/>
                  <a:pt x="1838" y="576"/>
                  <a:pt x="1838" y="576"/>
                </a:cubicBezTo>
                <a:cubicBezTo>
                  <a:pt x="1834" y="576"/>
                  <a:pt x="1834" y="576"/>
                  <a:pt x="1834" y="576"/>
                </a:cubicBezTo>
                <a:cubicBezTo>
                  <a:pt x="1833" y="576"/>
                  <a:pt x="1833" y="576"/>
                  <a:pt x="1833" y="576"/>
                </a:cubicBezTo>
                <a:cubicBezTo>
                  <a:pt x="1831" y="576"/>
                  <a:pt x="1831" y="576"/>
                  <a:pt x="1831" y="576"/>
                </a:cubicBezTo>
                <a:cubicBezTo>
                  <a:pt x="1826" y="576"/>
                  <a:pt x="1826" y="576"/>
                  <a:pt x="1826" y="576"/>
                </a:cubicBezTo>
                <a:cubicBezTo>
                  <a:pt x="1823" y="577"/>
                  <a:pt x="1823" y="577"/>
                  <a:pt x="1823" y="577"/>
                </a:cubicBezTo>
                <a:cubicBezTo>
                  <a:pt x="1819" y="579"/>
                  <a:pt x="1819" y="579"/>
                  <a:pt x="1819" y="579"/>
                </a:cubicBezTo>
                <a:cubicBezTo>
                  <a:pt x="1817" y="579"/>
                  <a:pt x="1817" y="579"/>
                  <a:pt x="1817" y="579"/>
                </a:cubicBezTo>
                <a:cubicBezTo>
                  <a:pt x="1813" y="580"/>
                  <a:pt x="1813" y="580"/>
                  <a:pt x="1813" y="580"/>
                </a:cubicBezTo>
                <a:cubicBezTo>
                  <a:pt x="1812" y="581"/>
                  <a:pt x="1812" y="581"/>
                  <a:pt x="1812" y="581"/>
                </a:cubicBezTo>
                <a:cubicBezTo>
                  <a:pt x="1810" y="582"/>
                  <a:pt x="1810" y="582"/>
                  <a:pt x="1810" y="582"/>
                </a:cubicBezTo>
                <a:cubicBezTo>
                  <a:pt x="1808" y="583"/>
                  <a:pt x="1808" y="583"/>
                  <a:pt x="1808" y="583"/>
                </a:cubicBezTo>
                <a:cubicBezTo>
                  <a:pt x="1807" y="584"/>
                  <a:pt x="1807" y="584"/>
                  <a:pt x="1807" y="584"/>
                </a:cubicBezTo>
                <a:cubicBezTo>
                  <a:pt x="1806" y="586"/>
                  <a:pt x="1806" y="586"/>
                  <a:pt x="1806" y="586"/>
                </a:cubicBezTo>
                <a:cubicBezTo>
                  <a:pt x="1806" y="587"/>
                  <a:pt x="1806" y="587"/>
                  <a:pt x="1806" y="587"/>
                </a:cubicBezTo>
                <a:cubicBezTo>
                  <a:pt x="1806" y="588"/>
                  <a:pt x="1806" y="588"/>
                  <a:pt x="1806" y="588"/>
                </a:cubicBezTo>
                <a:cubicBezTo>
                  <a:pt x="1802" y="588"/>
                  <a:pt x="1802" y="588"/>
                  <a:pt x="1802" y="588"/>
                </a:cubicBezTo>
                <a:cubicBezTo>
                  <a:pt x="1797" y="586"/>
                  <a:pt x="1797" y="586"/>
                  <a:pt x="1797" y="586"/>
                </a:cubicBezTo>
                <a:cubicBezTo>
                  <a:pt x="1795" y="586"/>
                  <a:pt x="1795" y="586"/>
                  <a:pt x="1795" y="586"/>
                </a:cubicBezTo>
                <a:cubicBezTo>
                  <a:pt x="1794" y="587"/>
                  <a:pt x="1794" y="587"/>
                  <a:pt x="1794" y="587"/>
                </a:cubicBezTo>
                <a:cubicBezTo>
                  <a:pt x="1792" y="587"/>
                  <a:pt x="1792" y="587"/>
                  <a:pt x="1792" y="587"/>
                </a:cubicBezTo>
                <a:cubicBezTo>
                  <a:pt x="1789" y="587"/>
                  <a:pt x="1789" y="587"/>
                  <a:pt x="1789" y="587"/>
                </a:cubicBezTo>
                <a:cubicBezTo>
                  <a:pt x="1787" y="587"/>
                  <a:pt x="1787" y="587"/>
                  <a:pt x="1787" y="587"/>
                </a:cubicBezTo>
                <a:cubicBezTo>
                  <a:pt x="1784" y="588"/>
                  <a:pt x="1784" y="588"/>
                  <a:pt x="1784" y="588"/>
                </a:cubicBezTo>
                <a:cubicBezTo>
                  <a:pt x="1784" y="589"/>
                  <a:pt x="1784" y="589"/>
                  <a:pt x="1784" y="589"/>
                </a:cubicBezTo>
                <a:cubicBezTo>
                  <a:pt x="1786" y="592"/>
                  <a:pt x="1786" y="592"/>
                  <a:pt x="1786" y="592"/>
                </a:cubicBezTo>
                <a:cubicBezTo>
                  <a:pt x="1789" y="592"/>
                  <a:pt x="1789" y="592"/>
                  <a:pt x="1789" y="592"/>
                </a:cubicBezTo>
                <a:cubicBezTo>
                  <a:pt x="1791" y="593"/>
                  <a:pt x="1791" y="593"/>
                  <a:pt x="1791" y="593"/>
                </a:cubicBezTo>
                <a:cubicBezTo>
                  <a:pt x="1791" y="594"/>
                  <a:pt x="1791" y="594"/>
                  <a:pt x="1791" y="594"/>
                </a:cubicBezTo>
                <a:cubicBezTo>
                  <a:pt x="1787" y="594"/>
                  <a:pt x="1787" y="594"/>
                  <a:pt x="1787" y="594"/>
                </a:cubicBezTo>
                <a:cubicBezTo>
                  <a:pt x="1783" y="595"/>
                  <a:pt x="1783" y="595"/>
                  <a:pt x="1783" y="595"/>
                </a:cubicBezTo>
                <a:cubicBezTo>
                  <a:pt x="1782" y="596"/>
                  <a:pt x="1782" y="596"/>
                  <a:pt x="1782" y="596"/>
                </a:cubicBezTo>
                <a:cubicBezTo>
                  <a:pt x="1782" y="597"/>
                  <a:pt x="1782" y="597"/>
                  <a:pt x="1782" y="597"/>
                </a:cubicBezTo>
                <a:cubicBezTo>
                  <a:pt x="1784" y="597"/>
                  <a:pt x="1784" y="597"/>
                  <a:pt x="1784" y="597"/>
                </a:cubicBezTo>
                <a:cubicBezTo>
                  <a:pt x="1785" y="598"/>
                  <a:pt x="1785" y="598"/>
                  <a:pt x="1785" y="598"/>
                </a:cubicBezTo>
                <a:cubicBezTo>
                  <a:pt x="1783" y="599"/>
                  <a:pt x="1783" y="599"/>
                  <a:pt x="1783" y="599"/>
                </a:cubicBezTo>
                <a:cubicBezTo>
                  <a:pt x="1779" y="599"/>
                  <a:pt x="1779" y="599"/>
                  <a:pt x="1779" y="599"/>
                </a:cubicBezTo>
                <a:cubicBezTo>
                  <a:pt x="1777" y="598"/>
                  <a:pt x="1777" y="598"/>
                  <a:pt x="1777" y="598"/>
                </a:cubicBezTo>
                <a:cubicBezTo>
                  <a:pt x="1774" y="599"/>
                  <a:pt x="1774" y="599"/>
                  <a:pt x="1774" y="599"/>
                </a:cubicBezTo>
                <a:cubicBezTo>
                  <a:pt x="1773" y="597"/>
                  <a:pt x="1773" y="597"/>
                  <a:pt x="1773" y="597"/>
                </a:cubicBezTo>
                <a:cubicBezTo>
                  <a:pt x="1772" y="597"/>
                  <a:pt x="1772" y="597"/>
                  <a:pt x="1772" y="597"/>
                </a:cubicBezTo>
                <a:cubicBezTo>
                  <a:pt x="1770" y="599"/>
                  <a:pt x="1770" y="599"/>
                  <a:pt x="1770" y="599"/>
                </a:cubicBezTo>
                <a:cubicBezTo>
                  <a:pt x="1769" y="599"/>
                  <a:pt x="1769" y="599"/>
                  <a:pt x="1769" y="599"/>
                </a:cubicBezTo>
                <a:cubicBezTo>
                  <a:pt x="1766" y="597"/>
                  <a:pt x="1766" y="597"/>
                  <a:pt x="1766" y="597"/>
                </a:cubicBezTo>
                <a:cubicBezTo>
                  <a:pt x="1764" y="597"/>
                  <a:pt x="1764" y="597"/>
                  <a:pt x="1764" y="597"/>
                </a:cubicBezTo>
                <a:cubicBezTo>
                  <a:pt x="1759" y="601"/>
                  <a:pt x="1759" y="601"/>
                  <a:pt x="1759" y="601"/>
                </a:cubicBezTo>
                <a:cubicBezTo>
                  <a:pt x="1758" y="602"/>
                  <a:pt x="1758" y="602"/>
                  <a:pt x="1758" y="602"/>
                </a:cubicBezTo>
                <a:cubicBezTo>
                  <a:pt x="1758" y="604"/>
                  <a:pt x="1758" y="604"/>
                  <a:pt x="1758" y="604"/>
                </a:cubicBezTo>
                <a:cubicBezTo>
                  <a:pt x="1758" y="605"/>
                  <a:pt x="1758" y="605"/>
                  <a:pt x="1758" y="605"/>
                </a:cubicBezTo>
                <a:cubicBezTo>
                  <a:pt x="1758" y="607"/>
                  <a:pt x="1758" y="607"/>
                  <a:pt x="1758" y="607"/>
                </a:cubicBezTo>
                <a:cubicBezTo>
                  <a:pt x="1758" y="608"/>
                  <a:pt x="1758" y="608"/>
                  <a:pt x="1758" y="608"/>
                </a:cubicBezTo>
                <a:cubicBezTo>
                  <a:pt x="1758" y="610"/>
                  <a:pt x="1758" y="610"/>
                  <a:pt x="1758" y="610"/>
                </a:cubicBezTo>
                <a:cubicBezTo>
                  <a:pt x="1761" y="609"/>
                  <a:pt x="1761" y="609"/>
                  <a:pt x="1761" y="609"/>
                </a:cubicBezTo>
                <a:cubicBezTo>
                  <a:pt x="1762" y="609"/>
                  <a:pt x="1762" y="609"/>
                  <a:pt x="1762" y="609"/>
                </a:cubicBezTo>
                <a:cubicBezTo>
                  <a:pt x="1764" y="608"/>
                  <a:pt x="1764" y="608"/>
                  <a:pt x="1764" y="608"/>
                </a:cubicBezTo>
                <a:cubicBezTo>
                  <a:pt x="1766" y="609"/>
                  <a:pt x="1766" y="609"/>
                  <a:pt x="1766" y="609"/>
                </a:cubicBezTo>
                <a:cubicBezTo>
                  <a:pt x="1764" y="611"/>
                  <a:pt x="1764" y="611"/>
                  <a:pt x="1764" y="611"/>
                </a:cubicBezTo>
                <a:cubicBezTo>
                  <a:pt x="1764" y="612"/>
                  <a:pt x="1764" y="612"/>
                  <a:pt x="1764" y="612"/>
                </a:cubicBezTo>
                <a:cubicBezTo>
                  <a:pt x="1765" y="614"/>
                  <a:pt x="1765" y="614"/>
                  <a:pt x="1765" y="614"/>
                </a:cubicBezTo>
                <a:cubicBezTo>
                  <a:pt x="1765" y="615"/>
                  <a:pt x="1765" y="615"/>
                  <a:pt x="1765" y="615"/>
                </a:cubicBezTo>
                <a:cubicBezTo>
                  <a:pt x="1765" y="616"/>
                  <a:pt x="1765" y="616"/>
                  <a:pt x="1765" y="616"/>
                </a:cubicBezTo>
                <a:cubicBezTo>
                  <a:pt x="1766" y="616"/>
                  <a:pt x="1766" y="616"/>
                  <a:pt x="1766" y="616"/>
                </a:cubicBezTo>
                <a:cubicBezTo>
                  <a:pt x="1767" y="615"/>
                  <a:pt x="1767" y="615"/>
                  <a:pt x="1767" y="615"/>
                </a:cubicBezTo>
                <a:cubicBezTo>
                  <a:pt x="1768" y="616"/>
                  <a:pt x="1768" y="616"/>
                  <a:pt x="1768" y="616"/>
                </a:cubicBezTo>
                <a:cubicBezTo>
                  <a:pt x="1766" y="618"/>
                  <a:pt x="1766" y="618"/>
                  <a:pt x="1766" y="618"/>
                </a:cubicBezTo>
                <a:cubicBezTo>
                  <a:pt x="1764" y="619"/>
                  <a:pt x="1764" y="619"/>
                  <a:pt x="1764" y="619"/>
                </a:cubicBezTo>
                <a:cubicBezTo>
                  <a:pt x="1765" y="620"/>
                  <a:pt x="1765" y="620"/>
                  <a:pt x="1765" y="620"/>
                </a:cubicBezTo>
                <a:cubicBezTo>
                  <a:pt x="1766" y="620"/>
                  <a:pt x="1766" y="620"/>
                  <a:pt x="1766" y="620"/>
                </a:cubicBezTo>
                <a:cubicBezTo>
                  <a:pt x="1765" y="621"/>
                  <a:pt x="1765" y="621"/>
                  <a:pt x="1765" y="621"/>
                </a:cubicBezTo>
                <a:cubicBezTo>
                  <a:pt x="1764" y="623"/>
                  <a:pt x="1764" y="623"/>
                  <a:pt x="1764" y="623"/>
                </a:cubicBezTo>
                <a:cubicBezTo>
                  <a:pt x="1763" y="623"/>
                  <a:pt x="1763" y="623"/>
                  <a:pt x="1763" y="623"/>
                </a:cubicBezTo>
                <a:cubicBezTo>
                  <a:pt x="1762" y="620"/>
                  <a:pt x="1762" y="620"/>
                  <a:pt x="1762" y="620"/>
                </a:cubicBezTo>
                <a:cubicBezTo>
                  <a:pt x="1761" y="620"/>
                  <a:pt x="1761" y="620"/>
                  <a:pt x="1761" y="620"/>
                </a:cubicBezTo>
                <a:cubicBezTo>
                  <a:pt x="1761" y="621"/>
                  <a:pt x="1761" y="621"/>
                  <a:pt x="1761" y="621"/>
                </a:cubicBezTo>
                <a:cubicBezTo>
                  <a:pt x="1761" y="623"/>
                  <a:pt x="1761" y="623"/>
                  <a:pt x="1761" y="623"/>
                </a:cubicBezTo>
                <a:cubicBezTo>
                  <a:pt x="1760" y="624"/>
                  <a:pt x="1760" y="624"/>
                  <a:pt x="1760" y="624"/>
                </a:cubicBezTo>
                <a:cubicBezTo>
                  <a:pt x="1761" y="626"/>
                  <a:pt x="1761" y="626"/>
                  <a:pt x="1761" y="626"/>
                </a:cubicBezTo>
                <a:cubicBezTo>
                  <a:pt x="1762" y="627"/>
                  <a:pt x="1762" y="627"/>
                  <a:pt x="1762" y="627"/>
                </a:cubicBezTo>
                <a:cubicBezTo>
                  <a:pt x="1763" y="626"/>
                  <a:pt x="1763" y="626"/>
                  <a:pt x="1763" y="626"/>
                </a:cubicBezTo>
                <a:cubicBezTo>
                  <a:pt x="1765" y="627"/>
                  <a:pt x="1765" y="627"/>
                  <a:pt x="1765" y="627"/>
                </a:cubicBezTo>
                <a:cubicBezTo>
                  <a:pt x="1766" y="627"/>
                  <a:pt x="1766" y="627"/>
                  <a:pt x="1766" y="627"/>
                </a:cubicBezTo>
                <a:cubicBezTo>
                  <a:pt x="1769" y="629"/>
                  <a:pt x="1769" y="629"/>
                  <a:pt x="1769" y="629"/>
                </a:cubicBezTo>
                <a:cubicBezTo>
                  <a:pt x="1769" y="631"/>
                  <a:pt x="1769" y="631"/>
                  <a:pt x="1769" y="631"/>
                </a:cubicBezTo>
                <a:cubicBezTo>
                  <a:pt x="1768" y="633"/>
                  <a:pt x="1768" y="633"/>
                  <a:pt x="1768" y="633"/>
                </a:cubicBezTo>
                <a:cubicBezTo>
                  <a:pt x="1769" y="634"/>
                  <a:pt x="1769" y="634"/>
                  <a:pt x="1769" y="634"/>
                </a:cubicBezTo>
                <a:cubicBezTo>
                  <a:pt x="1769" y="635"/>
                  <a:pt x="1769" y="635"/>
                  <a:pt x="1769" y="635"/>
                </a:cubicBezTo>
                <a:cubicBezTo>
                  <a:pt x="1770" y="635"/>
                  <a:pt x="1770" y="635"/>
                  <a:pt x="1770" y="635"/>
                </a:cubicBezTo>
                <a:cubicBezTo>
                  <a:pt x="1773" y="637"/>
                  <a:pt x="1773" y="637"/>
                  <a:pt x="1773" y="637"/>
                </a:cubicBezTo>
                <a:cubicBezTo>
                  <a:pt x="1772" y="639"/>
                  <a:pt x="1772" y="639"/>
                  <a:pt x="1772" y="639"/>
                </a:cubicBezTo>
                <a:cubicBezTo>
                  <a:pt x="1770" y="639"/>
                  <a:pt x="1770" y="639"/>
                  <a:pt x="1770" y="639"/>
                </a:cubicBezTo>
                <a:cubicBezTo>
                  <a:pt x="1770" y="640"/>
                  <a:pt x="1770" y="640"/>
                  <a:pt x="1770" y="640"/>
                </a:cubicBezTo>
                <a:cubicBezTo>
                  <a:pt x="1771" y="640"/>
                  <a:pt x="1771" y="640"/>
                  <a:pt x="1771" y="640"/>
                </a:cubicBezTo>
                <a:cubicBezTo>
                  <a:pt x="1774" y="640"/>
                  <a:pt x="1774" y="640"/>
                  <a:pt x="1774" y="640"/>
                </a:cubicBezTo>
                <a:cubicBezTo>
                  <a:pt x="1779" y="640"/>
                  <a:pt x="1779" y="640"/>
                  <a:pt x="1779" y="640"/>
                </a:cubicBezTo>
                <a:cubicBezTo>
                  <a:pt x="1778" y="640"/>
                  <a:pt x="1778" y="640"/>
                  <a:pt x="1778" y="640"/>
                </a:cubicBezTo>
                <a:cubicBezTo>
                  <a:pt x="1777" y="641"/>
                  <a:pt x="1777" y="641"/>
                  <a:pt x="1777" y="641"/>
                </a:cubicBezTo>
                <a:cubicBezTo>
                  <a:pt x="1775" y="642"/>
                  <a:pt x="1775" y="642"/>
                  <a:pt x="1775" y="642"/>
                </a:cubicBezTo>
                <a:cubicBezTo>
                  <a:pt x="1772" y="642"/>
                  <a:pt x="1772" y="642"/>
                  <a:pt x="1772" y="642"/>
                </a:cubicBezTo>
                <a:cubicBezTo>
                  <a:pt x="1771" y="643"/>
                  <a:pt x="1771" y="643"/>
                  <a:pt x="1771" y="643"/>
                </a:cubicBezTo>
                <a:cubicBezTo>
                  <a:pt x="1772" y="644"/>
                  <a:pt x="1772" y="644"/>
                  <a:pt x="1772" y="644"/>
                </a:cubicBezTo>
                <a:cubicBezTo>
                  <a:pt x="1774" y="643"/>
                  <a:pt x="1774" y="643"/>
                  <a:pt x="1774" y="643"/>
                </a:cubicBezTo>
                <a:cubicBezTo>
                  <a:pt x="1776" y="643"/>
                  <a:pt x="1776" y="643"/>
                  <a:pt x="1776" y="643"/>
                </a:cubicBezTo>
                <a:cubicBezTo>
                  <a:pt x="1777" y="643"/>
                  <a:pt x="1777" y="643"/>
                  <a:pt x="1777" y="643"/>
                </a:cubicBezTo>
                <a:cubicBezTo>
                  <a:pt x="1777" y="644"/>
                  <a:pt x="1777" y="644"/>
                  <a:pt x="1777" y="644"/>
                </a:cubicBezTo>
                <a:cubicBezTo>
                  <a:pt x="1778" y="645"/>
                  <a:pt x="1778" y="645"/>
                  <a:pt x="1778" y="645"/>
                </a:cubicBezTo>
                <a:cubicBezTo>
                  <a:pt x="1779" y="643"/>
                  <a:pt x="1779" y="643"/>
                  <a:pt x="1779" y="643"/>
                </a:cubicBezTo>
                <a:cubicBezTo>
                  <a:pt x="1780" y="641"/>
                  <a:pt x="1780" y="641"/>
                  <a:pt x="1780" y="641"/>
                </a:cubicBezTo>
                <a:cubicBezTo>
                  <a:pt x="1782" y="641"/>
                  <a:pt x="1782" y="641"/>
                  <a:pt x="1782" y="641"/>
                </a:cubicBezTo>
                <a:cubicBezTo>
                  <a:pt x="1783" y="643"/>
                  <a:pt x="1783" y="643"/>
                  <a:pt x="1783" y="643"/>
                </a:cubicBezTo>
                <a:cubicBezTo>
                  <a:pt x="1784" y="643"/>
                  <a:pt x="1784" y="643"/>
                  <a:pt x="1784" y="643"/>
                </a:cubicBezTo>
                <a:cubicBezTo>
                  <a:pt x="1786" y="644"/>
                  <a:pt x="1786" y="644"/>
                  <a:pt x="1786" y="644"/>
                </a:cubicBezTo>
                <a:cubicBezTo>
                  <a:pt x="1787" y="642"/>
                  <a:pt x="1787" y="642"/>
                  <a:pt x="1787" y="642"/>
                </a:cubicBezTo>
                <a:cubicBezTo>
                  <a:pt x="1788" y="643"/>
                  <a:pt x="1788" y="643"/>
                  <a:pt x="1788" y="643"/>
                </a:cubicBezTo>
                <a:cubicBezTo>
                  <a:pt x="1788" y="644"/>
                  <a:pt x="1788" y="644"/>
                  <a:pt x="1788" y="644"/>
                </a:cubicBezTo>
                <a:cubicBezTo>
                  <a:pt x="1787" y="644"/>
                  <a:pt x="1787" y="644"/>
                  <a:pt x="1787" y="644"/>
                </a:cubicBezTo>
                <a:cubicBezTo>
                  <a:pt x="1788" y="646"/>
                  <a:pt x="1788" y="646"/>
                  <a:pt x="1788" y="646"/>
                </a:cubicBezTo>
                <a:cubicBezTo>
                  <a:pt x="1789" y="647"/>
                  <a:pt x="1789" y="647"/>
                  <a:pt x="1789" y="647"/>
                </a:cubicBezTo>
                <a:cubicBezTo>
                  <a:pt x="1791" y="649"/>
                  <a:pt x="1791" y="649"/>
                  <a:pt x="1791" y="649"/>
                </a:cubicBezTo>
                <a:cubicBezTo>
                  <a:pt x="1792" y="648"/>
                  <a:pt x="1792" y="648"/>
                  <a:pt x="1792" y="648"/>
                </a:cubicBezTo>
                <a:cubicBezTo>
                  <a:pt x="1794" y="649"/>
                  <a:pt x="1794" y="649"/>
                  <a:pt x="1794" y="649"/>
                </a:cubicBezTo>
                <a:cubicBezTo>
                  <a:pt x="1796" y="649"/>
                  <a:pt x="1796" y="649"/>
                  <a:pt x="1796" y="649"/>
                </a:cubicBezTo>
                <a:cubicBezTo>
                  <a:pt x="1797" y="648"/>
                  <a:pt x="1797" y="648"/>
                  <a:pt x="1797" y="648"/>
                </a:cubicBezTo>
                <a:cubicBezTo>
                  <a:pt x="1799" y="648"/>
                  <a:pt x="1799" y="648"/>
                  <a:pt x="1799" y="648"/>
                </a:cubicBezTo>
                <a:cubicBezTo>
                  <a:pt x="1801" y="647"/>
                  <a:pt x="1801" y="647"/>
                  <a:pt x="1801" y="647"/>
                </a:cubicBezTo>
                <a:cubicBezTo>
                  <a:pt x="1802" y="648"/>
                  <a:pt x="1802" y="648"/>
                  <a:pt x="1802" y="648"/>
                </a:cubicBezTo>
                <a:cubicBezTo>
                  <a:pt x="1804" y="647"/>
                  <a:pt x="1804" y="647"/>
                  <a:pt x="1804" y="647"/>
                </a:cubicBezTo>
                <a:cubicBezTo>
                  <a:pt x="1803" y="645"/>
                  <a:pt x="1803" y="645"/>
                  <a:pt x="1803" y="645"/>
                </a:cubicBezTo>
                <a:cubicBezTo>
                  <a:pt x="1804" y="644"/>
                  <a:pt x="1804" y="644"/>
                  <a:pt x="1804" y="644"/>
                </a:cubicBezTo>
                <a:cubicBezTo>
                  <a:pt x="1803" y="641"/>
                  <a:pt x="1803" y="641"/>
                  <a:pt x="1803" y="641"/>
                </a:cubicBezTo>
                <a:cubicBezTo>
                  <a:pt x="1808" y="641"/>
                  <a:pt x="1808" y="641"/>
                  <a:pt x="1808" y="641"/>
                </a:cubicBezTo>
                <a:cubicBezTo>
                  <a:pt x="1811" y="641"/>
                  <a:pt x="1811" y="641"/>
                  <a:pt x="1811" y="641"/>
                </a:cubicBezTo>
                <a:cubicBezTo>
                  <a:pt x="1816" y="644"/>
                  <a:pt x="1816" y="644"/>
                  <a:pt x="1816" y="644"/>
                </a:cubicBezTo>
                <a:cubicBezTo>
                  <a:pt x="1818" y="644"/>
                  <a:pt x="1818" y="644"/>
                  <a:pt x="1818" y="644"/>
                </a:cubicBezTo>
                <a:cubicBezTo>
                  <a:pt x="1821" y="648"/>
                  <a:pt x="1821" y="648"/>
                  <a:pt x="1821" y="648"/>
                </a:cubicBezTo>
                <a:cubicBezTo>
                  <a:pt x="1824" y="650"/>
                  <a:pt x="1824" y="650"/>
                  <a:pt x="1824" y="650"/>
                </a:cubicBezTo>
                <a:cubicBezTo>
                  <a:pt x="1833" y="649"/>
                  <a:pt x="1833" y="649"/>
                  <a:pt x="1833" y="649"/>
                </a:cubicBezTo>
                <a:cubicBezTo>
                  <a:pt x="1836" y="647"/>
                  <a:pt x="1836" y="647"/>
                  <a:pt x="1836" y="647"/>
                </a:cubicBezTo>
                <a:cubicBezTo>
                  <a:pt x="1837" y="647"/>
                  <a:pt x="1837" y="647"/>
                  <a:pt x="1837" y="647"/>
                </a:cubicBezTo>
                <a:cubicBezTo>
                  <a:pt x="1837" y="648"/>
                  <a:pt x="1837" y="648"/>
                  <a:pt x="1837" y="648"/>
                </a:cubicBezTo>
                <a:cubicBezTo>
                  <a:pt x="1839" y="647"/>
                  <a:pt x="1839" y="647"/>
                  <a:pt x="1839" y="647"/>
                </a:cubicBezTo>
                <a:cubicBezTo>
                  <a:pt x="1839" y="645"/>
                  <a:pt x="1839" y="645"/>
                  <a:pt x="1839" y="645"/>
                </a:cubicBezTo>
                <a:cubicBezTo>
                  <a:pt x="1843" y="640"/>
                  <a:pt x="1843" y="640"/>
                  <a:pt x="1843" y="640"/>
                </a:cubicBezTo>
                <a:cubicBezTo>
                  <a:pt x="1844" y="640"/>
                  <a:pt x="1844" y="640"/>
                  <a:pt x="1844" y="640"/>
                </a:cubicBezTo>
                <a:cubicBezTo>
                  <a:pt x="1849" y="642"/>
                  <a:pt x="1849" y="642"/>
                  <a:pt x="1849" y="642"/>
                </a:cubicBezTo>
                <a:cubicBezTo>
                  <a:pt x="1851" y="643"/>
                  <a:pt x="1851" y="643"/>
                  <a:pt x="1851" y="643"/>
                </a:cubicBezTo>
                <a:cubicBezTo>
                  <a:pt x="1854" y="642"/>
                  <a:pt x="1854" y="642"/>
                  <a:pt x="1854" y="642"/>
                </a:cubicBezTo>
                <a:cubicBezTo>
                  <a:pt x="1854" y="641"/>
                  <a:pt x="1854" y="641"/>
                  <a:pt x="1854" y="641"/>
                </a:cubicBezTo>
                <a:cubicBezTo>
                  <a:pt x="1857" y="640"/>
                  <a:pt x="1857" y="640"/>
                  <a:pt x="1857" y="640"/>
                </a:cubicBezTo>
                <a:cubicBezTo>
                  <a:pt x="1858" y="640"/>
                  <a:pt x="1858" y="640"/>
                  <a:pt x="1858" y="640"/>
                </a:cubicBezTo>
                <a:cubicBezTo>
                  <a:pt x="1859" y="642"/>
                  <a:pt x="1859" y="642"/>
                  <a:pt x="1859" y="642"/>
                </a:cubicBezTo>
                <a:cubicBezTo>
                  <a:pt x="1857" y="644"/>
                  <a:pt x="1857" y="644"/>
                  <a:pt x="1857" y="644"/>
                </a:cubicBezTo>
                <a:cubicBezTo>
                  <a:pt x="1855" y="646"/>
                  <a:pt x="1855" y="646"/>
                  <a:pt x="1855" y="646"/>
                </a:cubicBezTo>
                <a:cubicBezTo>
                  <a:pt x="1855" y="647"/>
                  <a:pt x="1855" y="647"/>
                  <a:pt x="1855" y="647"/>
                </a:cubicBezTo>
                <a:cubicBezTo>
                  <a:pt x="1857" y="649"/>
                  <a:pt x="1857" y="649"/>
                  <a:pt x="1857" y="649"/>
                </a:cubicBezTo>
                <a:cubicBezTo>
                  <a:pt x="1857" y="650"/>
                  <a:pt x="1857" y="650"/>
                  <a:pt x="1857" y="650"/>
                </a:cubicBezTo>
                <a:cubicBezTo>
                  <a:pt x="1856" y="650"/>
                  <a:pt x="1856" y="650"/>
                  <a:pt x="1856" y="650"/>
                </a:cubicBezTo>
                <a:cubicBezTo>
                  <a:pt x="1855" y="651"/>
                  <a:pt x="1855" y="651"/>
                  <a:pt x="1855" y="651"/>
                </a:cubicBezTo>
                <a:cubicBezTo>
                  <a:pt x="1856" y="654"/>
                  <a:pt x="1856" y="654"/>
                  <a:pt x="1856" y="654"/>
                </a:cubicBezTo>
                <a:cubicBezTo>
                  <a:pt x="1857" y="657"/>
                  <a:pt x="1857" y="657"/>
                  <a:pt x="1857" y="657"/>
                </a:cubicBezTo>
                <a:cubicBezTo>
                  <a:pt x="1858" y="660"/>
                  <a:pt x="1858" y="660"/>
                  <a:pt x="1858" y="660"/>
                </a:cubicBezTo>
                <a:cubicBezTo>
                  <a:pt x="1857" y="662"/>
                  <a:pt x="1857" y="662"/>
                  <a:pt x="1857" y="662"/>
                </a:cubicBezTo>
                <a:cubicBezTo>
                  <a:pt x="1857" y="666"/>
                  <a:pt x="1857" y="666"/>
                  <a:pt x="1857" y="666"/>
                </a:cubicBezTo>
                <a:cubicBezTo>
                  <a:pt x="1857" y="667"/>
                  <a:pt x="1857" y="667"/>
                  <a:pt x="1857" y="667"/>
                </a:cubicBezTo>
                <a:cubicBezTo>
                  <a:pt x="1856" y="667"/>
                  <a:pt x="1856" y="667"/>
                  <a:pt x="1856" y="667"/>
                </a:cubicBezTo>
                <a:cubicBezTo>
                  <a:pt x="1855" y="674"/>
                  <a:pt x="1855" y="674"/>
                  <a:pt x="1855" y="674"/>
                </a:cubicBezTo>
                <a:cubicBezTo>
                  <a:pt x="1854" y="677"/>
                  <a:pt x="1854" y="677"/>
                  <a:pt x="1854" y="677"/>
                </a:cubicBezTo>
                <a:cubicBezTo>
                  <a:pt x="1852" y="679"/>
                  <a:pt x="1852" y="679"/>
                  <a:pt x="1852" y="679"/>
                </a:cubicBezTo>
                <a:cubicBezTo>
                  <a:pt x="1852" y="682"/>
                  <a:pt x="1852" y="682"/>
                  <a:pt x="1852" y="682"/>
                </a:cubicBezTo>
                <a:cubicBezTo>
                  <a:pt x="1851" y="682"/>
                  <a:pt x="1851" y="682"/>
                  <a:pt x="1851" y="682"/>
                </a:cubicBezTo>
                <a:cubicBezTo>
                  <a:pt x="1849" y="685"/>
                  <a:pt x="1849" y="685"/>
                  <a:pt x="1849" y="685"/>
                </a:cubicBezTo>
                <a:cubicBezTo>
                  <a:pt x="1849" y="692"/>
                  <a:pt x="1849" y="692"/>
                  <a:pt x="1849" y="692"/>
                </a:cubicBezTo>
                <a:cubicBezTo>
                  <a:pt x="1846" y="698"/>
                  <a:pt x="1846" y="698"/>
                  <a:pt x="1846" y="698"/>
                </a:cubicBezTo>
                <a:cubicBezTo>
                  <a:pt x="1843" y="702"/>
                  <a:pt x="1843" y="702"/>
                  <a:pt x="1843" y="702"/>
                </a:cubicBezTo>
                <a:cubicBezTo>
                  <a:pt x="1841" y="704"/>
                  <a:pt x="1841" y="704"/>
                  <a:pt x="1841" y="704"/>
                </a:cubicBezTo>
                <a:cubicBezTo>
                  <a:pt x="1838" y="705"/>
                  <a:pt x="1838" y="705"/>
                  <a:pt x="1838" y="705"/>
                </a:cubicBezTo>
                <a:cubicBezTo>
                  <a:pt x="1832" y="704"/>
                  <a:pt x="1832" y="704"/>
                  <a:pt x="1832" y="704"/>
                </a:cubicBezTo>
                <a:cubicBezTo>
                  <a:pt x="1827" y="705"/>
                  <a:pt x="1827" y="705"/>
                  <a:pt x="1827" y="705"/>
                </a:cubicBezTo>
                <a:cubicBezTo>
                  <a:pt x="1823" y="703"/>
                  <a:pt x="1823" y="703"/>
                  <a:pt x="1823" y="703"/>
                </a:cubicBezTo>
                <a:cubicBezTo>
                  <a:pt x="1823" y="705"/>
                  <a:pt x="1823" y="705"/>
                  <a:pt x="1823" y="705"/>
                </a:cubicBezTo>
                <a:cubicBezTo>
                  <a:pt x="1824" y="707"/>
                  <a:pt x="1824" y="707"/>
                  <a:pt x="1824" y="707"/>
                </a:cubicBezTo>
                <a:cubicBezTo>
                  <a:pt x="1824" y="708"/>
                  <a:pt x="1824" y="708"/>
                  <a:pt x="1824" y="708"/>
                </a:cubicBezTo>
                <a:cubicBezTo>
                  <a:pt x="1823" y="706"/>
                  <a:pt x="1823" y="706"/>
                  <a:pt x="1823" y="706"/>
                </a:cubicBezTo>
                <a:cubicBezTo>
                  <a:pt x="1821" y="705"/>
                  <a:pt x="1821" y="705"/>
                  <a:pt x="1821" y="705"/>
                </a:cubicBezTo>
                <a:cubicBezTo>
                  <a:pt x="1820" y="703"/>
                  <a:pt x="1820" y="703"/>
                  <a:pt x="1820" y="703"/>
                </a:cubicBezTo>
                <a:cubicBezTo>
                  <a:pt x="1821" y="702"/>
                  <a:pt x="1821" y="702"/>
                  <a:pt x="1821" y="702"/>
                </a:cubicBezTo>
                <a:cubicBezTo>
                  <a:pt x="1820" y="702"/>
                  <a:pt x="1820" y="702"/>
                  <a:pt x="1820" y="702"/>
                </a:cubicBezTo>
                <a:cubicBezTo>
                  <a:pt x="1819" y="702"/>
                  <a:pt x="1819" y="702"/>
                  <a:pt x="1819" y="702"/>
                </a:cubicBezTo>
                <a:cubicBezTo>
                  <a:pt x="1817" y="701"/>
                  <a:pt x="1817" y="701"/>
                  <a:pt x="1817" y="701"/>
                </a:cubicBezTo>
                <a:cubicBezTo>
                  <a:pt x="1813" y="700"/>
                  <a:pt x="1813" y="700"/>
                  <a:pt x="1813" y="700"/>
                </a:cubicBezTo>
                <a:cubicBezTo>
                  <a:pt x="1813" y="701"/>
                  <a:pt x="1813" y="701"/>
                  <a:pt x="1813" y="701"/>
                </a:cubicBezTo>
                <a:cubicBezTo>
                  <a:pt x="1814" y="701"/>
                  <a:pt x="1814" y="701"/>
                  <a:pt x="1814" y="701"/>
                </a:cubicBezTo>
                <a:cubicBezTo>
                  <a:pt x="1814" y="702"/>
                  <a:pt x="1814" y="702"/>
                  <a:pt x="1814" y="702"/>
                </a:cubicBezTo>
                <a:cubicBezTo>
                  <a:pt x="1812" y="702"/>
                  <a:pt x="1812" y="702"/>
                  <a:pt x="1812" y="702"/>
                </a:cubicBezTo>
                <a:cubicBezTo>
                  <a:pt x="1811" y="702"/>
                  <a:pt x="1811" y="702"/>
                  <a:pt x="1811" y="702"/>
                </a:cubicBezTo>
                <a:cubicBezTo>
                  <a:pt x="1808" y="703"/>
                  <a:pt x="1808" y="703"/>
                  <a:pt x="1808" y="703"/>
                </a:cubicBezTo>
                <a:cubicBezTo>
                  <a:pt x="1808" y="702"/>
                  <a:pt x="1808" y="702"/>
                  <a:pt x="1808" y="702"/>
                </a:cubicBezTo>
                <a:cubicBezTo>
                  <a:pt x="1808" y="702"/>
                  <a:pt x="1808" y="702"/>
                  <a:pt x="1808" y="702"/>
                </a:cubicBezTo>
                <a:cubicBezTo>
                  <a:pt x="1810" y="701"/>
                  <a:pt x="1810" y="701"/>
                  <a:pt x="1810" y="701"/>
                </a:cubicBezTo>
                <a:cubicBezTo>
                  <a:pt x="1811" y="701"/>
                  <a:pt x="1811" y="701"/>
                  <a:pt x="1811" y="701"/>
                </a:cubicBezTo>
                <a:cubicBezTo>
                  <a:pt x="1809" y="701"/>
                  <a:pt x="1809" y="701"/>
                  <a:pt x="1809" y="701"/>
                </a:cubicBezTo>
                <a:cubicBezTo>
                  <a:pt x="1806" y="701"/>
                  <a:pt x="1806" y="701"/>
                  <a:pt x="1806" y="701"/>
                </a:cubicBezTo>
                <a:cubicBezTo>
                  <a:pt x="1805" y="702"/>
                  <a:pt x="1805" y="702"/>
                  <a:pt x="1805" y="702"/>
                </a:cubicBezTo>
                <a:cubicBezTo>
                  <a:pt x="1802" y="703"/>
                  <a:pt x="1802" y="703"/>
                  <a:pt x="1802" y="703"/>
                </a:cubicBezTo>
                <a:cubicBezTo>
                  <a:pt x="1801" y="704"/>
                  <a:pt x="1801" y="704"/>
                  <a:pt x="1801" y="704"/>
                </a:cubicBezTo>
                <a:cubicBezTo>
                  <a:pt x="1799" y="705"/>
                  <a:pt x="1799" y="705"/>
                  <a:pt x="1799" y="705"/>
                </a:cubicBezTo>
                <a:cubicBezTo>
                  <a:pt x="1796" y="707"/>
                  <a:pt x="1796" y="707"/>
                  <a:pt x="1796" y="707"/>
                </a:cubicBezTo>
                <a:cubicBezTo>
                  <a:pt x="1796" y="708"/>
                  <a:pt x="1796" y="708"/>
                  <a:pt x="1796" y="708"/>
                </a:cubicBezTo>
                <a:cubicBezTo>
                  <a:pt x="1793" y="708"/>
                  <a:pt x="1793" y="708"/>
                  <a:pt x="1793" y="708"/>
                </a:cubicBezTo>
                <a:cubicBezTo>
                  <a:pt x="1789" y="706"/>
                  <a:pt x="1789" y="706"/>
                  <a:pt x="1789" y="706"/>
                </a:cubicBezTo>
                <a:cubicBezTo>
                  <a:pt x="1787" y="705"/>
                  <a:pt x="1787" y="705"/>
                  <a:pt x="1787" y="705"/>
                </a:cubicBezTo>
                <a:cubicBezTo>
                  <a:pt x="1783" y="706"/>
                  <a:pt x="1783" y="706"/>
                  <a:pt x="1783" y="706"/>
                </a:cubicBezTo>
                <a:cubicBezTo>
                  <a:pt x="1780" y="704"/>
                  <a:pt x="1780" y="704"/>
                  <a:pt x="1780" y="704"/>
                </a:cubicBezTo>
                <a:cubicBezTo>
                  <a:pt x="1779" y="704"/>
                  <a:pt x="1779" y="704"/>
                  <a:pt x="1779" y="704"/>
                </a:cubicBezTo>
                <a:cubicBezTo>
                  <a:pt x="1778" y="705"/>
                  <a:pt x="1778" y="705"/>
                  <a:pt x="1778" y="705"/>
                </a:cubicBezTo>
                <a:cubicBezTo>
                  <a:pt x="1775" y="703"/>
                  <a:pt x="1775" y="703"/>
                  <a:pt x="1775" y="703"/>
                </a:cubicBezTo>
                <a:cubicBezTo>
                  <a:pt x="1772" y="702"/>
                  <a:pt x="1772" y="702"/>
                  <a:pt x="1772" y="702"/>
                </a:cubicBezTo>
                <a:cubicBezTo>
                  <a:pt x="1764" y="701"/>
                  <a:pt x="1764" y="701"/>
                  <a:pt x="1764" y="701"/>
                </a:cubicBezTo>
                <a:cubicBezTo>
                  <a:pt x="1760" y="700"/>
                  <a:pt x="1760" y="700"/>
                  <a:pt x="1760" y="700"/>
                </a:cubicBezTo>
                <a:cubicBezTo>
                  <a:pt x="1755" y="700"/>
                  <a:pt x="1755" y="700"/>
                  <a:pt x="1755" y="700"/>
                </a:cubicBezTo>
                <a:cubicBezTo>
                  <a:pt x="1754" y="700"/>
                  <a:pt x="1754" y="700"/>
                  <a:pt x="1754" y="700"/>
                </a:cubicBezTo>
                <a:cubicBezTo>
                  <a:pt x="1754" y="700"/>
                  <a:pt x="1754" y="700"/>
                  <a:pt x="1754" y="700"/>
                </a:cubicBezTo>
                <a:cubicBezTo>
                  <a:pt x="1753" y="698"/>
                  <a:pt x="1753" y="698"/>
                  <a:pt x="1753" y="698"/>
                </a:cubicBezTo>
                <a:cubicBezTo>
                  <a:pt x="1752" y="696"/>
                  <a:pt x="1752" y="696"/>
                  <a:pt x="1752" y="696"/>
                </a:cubicBezTo>
                <a:cubicBezTo>
                  <a:pt x="1750" y="696"/>
                  <a:pt x="1750" y="696"/>
                  <a:pt x="1750" y="696"/>
                </a:cubicBezTo>
                <a:cubicBezTo>
                  <a:pt x="1748" y="696"/>
                  <a:pt x="1748" y="696"/>
                  <a:pt x="1748" y="696"/>
                </a:cubicBezTo>
                <a:cubicBezTo>
                  <a:pt x="1741" y="695"/>
                  <a:pt x="1741" y="695"/>
                  <a:pt x="1741" y="695"/>
                </a:cubicBezTo>
                <a:cubicBezTo>
                  <a:pt x="1740" y="694"/>
                  <a:pt x="1740" y="694"/>
                  <a:pt x="1740" y="694"/>
                </a:cubicBezTo>
                <a:cubicBezTo>
                  <a:pt x="1737" y="694"/>
                  <a:pt x="1737" y="694"/>
                  <a:pt x="1737" y="694"/>
                </a:cubicBezTo>
                <a:cubicBezTo>
                  <a:pt x="1733" y="693"/>
                  <a:pt x="1733" y="693"/>
                  <a:pt x="1733" y="693"/>
                </a:cubicBezTo>
                <a:cubicBezTo>
                  <a:pt x="1733" y="692"/>
                  <a:pt x="1733" y="692"/>
                  <a:pt x="1733" y="692"/>
                </a:cubicBezTo>
                <a:cubicBezTo>
                  <a:pt x="1733" y="691"/>
                  <a:pt x="1733" y="691"/>
                  <a:pt x="1733" y="691"/>
                </a:cubicBezTo>
                <a:cubicBezTo>
                  <a:pt x="1733" y="690"/>
                  <a:pt x="1733" y="690"/>
                  <a:pt x="1733" y="690"/>
                </a:cubicBezTo>
                <a:cubicBezTo>
                  <a:pt x="1729" y="688"/>
                  <a:pt x="1729" y="688"/>
                  <a:pt x="1729" y="688"/>
                </a:cubicBezTo>
                <a:cubicBezTo>
                  <a:pt x="1727" y="688"/>
                  <a:pt x="1727" y="688"/>
                  <a:pt x="1727" y="688"/>
                </a:cubicBezTo>
                <a:cubicBezTo>
                  <a:pt x="1723" y="687"/>
                  <a:pt x="1723" y="687"/>
                  <a:pt x="1723" y="687"/>
                </a:cubicBezTo>
                <a:cubicBezTo>
                  <a:pt x="1722" y="686"/>
                  <a:pt x="1722" y="686"/>
                  <a:pt x="1722" y="686"/>
                </a:cubicBezTo>
                <a:cubicBezTo>
                  <a:pt x="1721" y="687"/>
                  <a:pt x="1721" y="687"/>
                  <a:pt x="1721" y="687"/>
                </a:cubicBezTo>
                <a:cubicBezTo>
                  <a:pt x="1719" y="686"/>
                  <a:pt x="1719" y="686"/>
                  <a:pt x="1719" y="686"/>
                </a:cubicBezTo>
                <a:cubicBezTo>
                  <a:pt x="1719" y="686"/>
                  <a:pt x="1719" y="686"/>
                  <a:pt x="1719" y="686"/>
                </a:cubicBezTo>
                <a:cubicBezTo>
                  <a:pt x="1715" y="688"/>
                  <a:pt x="1715" y="688"/>
                  <a:pt x="1715" y="688"/>
                </a:cubicBezTo>
                <a:cubicBezTo>
                  <a:pt x="1710" y="688"/>
                  <a:pt x="1710" y="688"/>
                  <a:pt x="1710" y="688"/>
                </a:cubicBezTo>
                <a:cubicBezTo>
                  <a:pt x="1706" y="690"/>
                  <a:pt x="1706" y="690"/>
                  <a:pt x="1706" y="690"/>
                </a:cubicBezTo>
                <a:cubicBezTo>
                  <a:pt x="1704" y="693"/>
                  <a:pt x="1704" y="693"/>
                  <a:pt x="1704" y="693"/>
                </a:cubicBezTo>
                <a:cubicBezTo>
                  <a:pt x="1703" y="695"/>
                  <a:pt x="1703" y="695"/>
                  <a:pt x="1703" y="695"/>
                </a:cubicBezTo>
                <a:cubicBezTo>
                  <a:pt x="1702" y="696"/>
                  <a:pt x="1702" y="696"/>
                  <a:pt x="1702" y="696"/>
                </a:cubicBezTo>
                <a:cubicBezTo>
                  <a:pt x="1701" y="702"/>
                  <a:pt x="1701" y="702"/>
                  <a:pt x="1701" y="702"/>
                </a:cubicBezTo>
                <a:cubicBezTo>
                  <a:pt x="1703" y="704"/>
                  <a:pt x="1703" y="704"/>
                  <a:pt x="1703" y="704"/>
                </a:cubicBezTo>
                <a:cubicBezTo>
                  <a:pt x="1704" y="709"/>
                  <a:pt x="1704" y="709"/>
                  <a:pt x="1704" y="709"/>
                </a:cubicBezTo>
                <a:cubicBezTo>
                  <a:pt x="1704" y="711"/>
                  <a:pt x="1704" y="711"/>
                  <a:pt x="1704" y="711"/>
                </a:cubicBezTo>
                <a:cubicBezTo>
                  <a:pt x="1701" y="713"/>
                  <a:pt x="1701" y="713"/>
                  <a:pt x="1701" y="713"/>
                </a:cubicBezTo>
                <a:cubicBezTo>
                  <a:pt x="1701" y="714"/>
                  <a:pt x="1701" y="714"/>
                  <a:pt x="1701" y="714"/>
                </a:cubicBezTo>
                <a:cubicBezTo>
                  <a:pt x="1697" y="717"/>
                  <a:pt x="1697" y="717"/>
                  <a:pt x="1697" y="717"/>
                </a:cubicBezTo>
                <a:cubicBezTo>
                  <a:pt x="1695" y="718"/>
                  <a:pt x="1695" y="718"/>
                  <a:pt x="1695" y="718"/>
                </a:cubicBezTo>
                <a:cubicBezTo>
                  <a:pt x="1691" y="716"/>
                  <a:pt x="1691" y="716"/>
                  <a:pt x="1691" y="716"/>
                </a:cubicBezTo>
                <a:cubicBezTo>
                  <a:pt x="1687" y="713"/>
                  <a:pt x="1687" y="713"/>
                  <a:pt x="1687" y="713"/>
                </a:cubicBezTo>
                <a:cubicBezTo>
                  <a:pt x="1684" y="711"/>
                  <a:pt x="1684" y="711"/>
                  <a:pt x="1684" y="711"/>
                </a:cubicBezTo>
                <a:cubicBezTo>
                  <a:pt x="1679" y="708"/>
                  <a:pt x="1679" y="708"/>
                  <a:pt x="1679" y="708"/>
                </a:cubicBezTo>
                <a:cubicBezTo>
                  <a:pt x="1672" y="705"/>
                  <a:pt x="1672" y="705"/>
                  <a:pt x="1672" y="705"/>
                </a:cubicBezTo>
                <a:cubicBezTo>
                  <a:pt x="1668" y="705"/>
                  <a:pt x="1668" y="705"/>
                  <a:pt x="1668" y="705"/>
                </a:cubicBezTo>
                <a:cubicBezTo>
                  <a:pt x="1667" y="705"/>
                  <a:pt x="1667" y="705"/>
                  <a:pt x="1667" y="705"/>
                </a:cubicBezTo>
                <a:cubicBezTo>
                  <a:pt x="1663" y="705"/>
                  <a:pt x="1663" y="705"/>
                  <a:pt x="1663" y="705"/>
                </a:cubicBezTo>
                <a:cubicBezTo>
                  <a:pt x="1660" y="704"/>
                  <a:pt x="1660" y="704"/>
                  <a:pt x="1660" y="704"/>
                </a:cubicBezTo>
                <a:cubicBezTo>
                  <a:pt x="1657" y="698"/>
                  <a:pt x="1657" y="698"/>
                  <a:pt x="1657" y="698"/>
                </a:cubicBezTo>
                <a:cubicBezTo>
                  <a:pt x="1657" y="694"/>
                  <a:pt x="1657" y="694"/>
                  <a:pt x="1657" y="694"/>
                </a:cubicBezTo>
                <a:cubicBezTo>
                  <a:pt x="1654" y="691"/>
                  <a:pt x="1654" y="691"/>
                  <a:pt x="1654" y="691"/>
                </a:cubicBezTo>
                <a:cubicBezTo>
                  <a:pt x="1648" y="690"/>
                  <a:pt x="1648" y="690"/>
                  <a:pt x="1648" y="690"/>
                </a:cubicBezTo>
                <a:cubicBezTo>
                  <a:pt x="1644" y="688"/>
                  <a:pt x="1644" y="688"/>
                  <a:pt x="1644" y="688"/>
                </a:cubicBezTo>
                <a:cubicBezTo>
                  <a:pt x="1639" y="688"/>
                  <a:pt x="1639" y="688"/>
                  <a:pt x="1639" y="688"/>
                </a:cubicBezTo>
                <a:cubicBezTo>
                  <a:pt x="1636" y="687"/>
                  <a:pt x="1636" y="687"/>
                  <a:pt x="1636" y="687"/>
                </a:cubicBezTo>
                <a:cubicBezTo>
                  <a:pt x="1629" y="688"/>
                  <a:pt x="1629" y="688"/>
                  <a:pt x="1629" y="688"/>
                </a:cubicBezTo>
                <a:cubicBezTo>
                  <a:pt x="1624" y="687"/>
                  <a:pt x="1624" y="687"/>
                  <a:pt x="1624" y="687"/>
                </a:cubicBezTo>
                <a:cubicBezTo>
                  <a:pt x="1622" y="685"/>
                  <a:pt x="1622" y="685"/>
                  <a:pt x="1622" y="685"/>
                </a:cubicBezTo>
                <a:cubicBezTo>
                  <a:pt x="1619" y="685"/>
                  <a:pt x="1619" y="685"/>
                  <a:pt x="1619" y="685"/>
                </a:cubicBezTo>
                <a:cubicBezTo>
                  <a:pt x="1618" y="684"/>
                  <a:pt x="1618" y="684"/>
                  <a:pt x="1618" y="684"/>
                </a:cubicBezTo>
                <a:cubicBezTo>
                  <a:pt x="1615" y="682"/>
                  <a:pt x="1615" y="682"/>
                  <a:pt x="1615" y="682"/>
                </a:cubicBezTo>
                <a:cubicBezTo>
                  <a:pt x="1615" y="681"/>
                  <a:pt x="1615" y="681"/>
                  <a:pt x="1615" y="681"/>
                </a:cubicBezTo>
                <a:cubicBezTo>
                  <a:pt x="1615" y="680"/>
                  <a:pt x="1615" y="680"/>
                  <a:pt x="1615" y="680"/>
                </a:cubicBezTo>
                <a:cubicBezTo>
                  <a:pt x="1613" y="679"/>
                  <a:pt x="1613" y="679"/>
                  <a:pt x="1613" y="679"/>
                </a:cubicBezTo>
                <a:cubicBezTo>
                  <a:pt x="1613" y="680"/>
                  <a:pt x="1613" y="680"/>
                  <a:pt x="1613" y="680"/>
                </a:cubicBezTo>
                <a:cubicBezTo>
                  <a:pt x="1613" y="680"/>
                  <a:pt x="1613" y="680"/>
                  <a:pt x="1613" y="680"/>
                </a:cubicBezTo>
                <a:cubicBezTo>
                  <a:pt x="1612" y="681"/>
                  <a:pt x="1612" y="681"/>
                  <a:pt x="1612" y="681"/>
                </a:cubicBezTo>
                <a:cubicBezTo>
                  <a:pt x="1611" y="680"/>
                  <a:pt x="1611" y="680"/>
                  <a:pt x="1611" y="680"/>
                </a:cubicBezTo>
                <a:cubicBezTo>
                  <a:pt x="1610" y="679"/>
                  <a:pt x="1610" y="679"/>
                  <a:pt x="1610" y="679"/>
                </a:cubicBezTo>
                <a:cubicBezTo>
                  <a:pt x="1609" y="679"/>
                  <a:pt x="1609" y="679"/>
                  <a:pt x="1609" y="679"/>
                </a:cubicBezTo>
                <a:cubicBezTo>
                  <a:pt x="1606" y="677"/>
                  <a:pt x="1606" y="677"/>
                  <a:pt x="1606" y="677"/>
                </a:cubicBezTo>
                <a:cubicBezTo>
                  <a:pt x="1604" y="674"/>
                  <a:pt x="1604" y="674"/>
                  <a:pt x="1604" y="674"/>
                </a:cubicBezTo>
                <a:cubicBezTo>
                  <a:pt x="1605" y="671"/>
                  <a:pt x="1605" y="671"/>
                  <a:pt x="1605" y="671"/>
                </a:cubicBezTo>
                <a:cubicBezTo>
                  <a:pt x="1610" y="667"/>
                  <a:pt x="1610" y="667"/>
                  <a:pt x="1610" y="667"/>
                </a:cubicBezTo>
                <a:cubicBezTo>
                  <a:pt x="1613" y="665"/>
                  <a:pt x="1613" y="665"/>
                  <a:pt x="1613" y="665"/>
                </a:cubicBezTo>
                <a:cubicBezTo>
                  <a:pt x="1614" y="664"/>
                  <a:pt x="1614" y="664"/>
                  <a:pt x="1614" y="664"/>
                </a:cubicBezTo>
                <a:cubicBezTo>
                  <a:pt x="1613" y="663"/>
                  <a:pt x="1613" y="663"/>
                  <a:pt x="1613" y="663"/>
                </a:cubicBezTo>
                <a:cubicBezTo>
                  <a:pt x="1614" y="661"/>
                  <a:pt x="1614" y="661"/>
                  <a:pt x="1614" y="661"/>
                </a:cubicBezTo>
                <a:cubicBezTo>
                  <a:pt x="1613" y="660"/>
                  <a:pt x="1613" y="660"/>
                  <a:pt x="1613" y="660"/>
                </a:cubicBezTo>
                <a:cubicBezTo>
                  <a:pt x="1613" y="659"/>
                  <a:pt x="1613" y="659"/>
                  <a:pt x="1613" y="659"/>
                </a:cubicBezTo>
                <a:cubicBezTo>
                  <a:pt x="1613" y="656"/>
                  <a:pt x="1613" y="656"/>
                  <a:pt x="1613" y="656"/>
                </a:cubicBezTo>
                <a:cubicBezTo>
                  <a:pt x="1610" y="655"/>
                  <a:pt x="1610" y="655"/>
                  <a:pt x="1610" y="655"/>
                </a:cubicBezTo>
                <a:cubicBezTo>
                  <a:pt x="1607" y="652"/>
                  <a:pt x="1607" y="652"/>
                  <a:pt x="1607" y="652"/>
                </a:cubicBezTo>
                <a:cubicBezTo>
                  <a:pt x="1608" y="649"/>
                  <a:pt x="1608" y="649"/>
                  <a:pt x="1608" y="649"/>
                </a:cubicBezTo>
                <a:cubicBezTo>
                  <a:pt x="1610" y="647"/>
                  <a:pt x="1610" y="647"/>
                  <a:pt x="1610" y="647"/>
                </a:cubicBezTo>
                <a:cubicBezTo>
                  <a:pt x="1610" y="645"/>
                  <a:pt x="1610" y="645"/>
                  <a:pt x="1610" y="645"/>
                </a:cubicBezTo>
                <a:cubicBezTo>
                  <a:pt x="1612" y="642"/>
                  <a:pt x="1612" y="642"/>
                  <a:pt x="1612" y="642"/>
                </a:cubicBezTo>
                <a:cubicBezTo>
                  <a:pt x="1612" y="640"/>
                  <a:pt x="1612" y="640"/>
                  <a:pt x="1612" y="640"/>
                </a:cubicBezTo>
                <a:cubicBezTo>
                  <a:pt x="1612" y="640"/>
                  <a:pt x="1612" y="640"/>
                  <a:pt x="1612" y="640"/>
                </a:cubicBezTo>
                <a:cubicBezTo>
                  <a:pt x="1608" y="643"/>
                  <a:pt x="1608" y="643"/>
                  <a:pt x="1608" y="643"/>
                </a:cubicBezTo>
                <a:cubicBezTo>
                  <a:pt x="1607" y="644"/>
                  <a:pt x="1607" y="644"/>
                  <a:pt x="1607" y="644"/>
                </a:cubicBezTo>
                <a:cubicBezTo>
                  <a:pt x="1606" y="644"/>
                  <a:pt x="1606" y="644"/>
                  <a:pt x="1606" y="644"/>
                </a:cubicBezTo>
                <a:cubicBezTo>
                  <a:pt x="1604" y="640"/>
                  <a:pt x="1604" y="640"/>
                  <a:pt x="1604" y="640"/>
                </a:cubicBezTo>
                <a:cubicBezTo>
                  <a:pt x="1603" y="640"/>
                  <a:pt x="1603" y="640"/>
                  <a:pt x="1603" y="640"/>
                </a:cubicBezTo>
                <a:cubicBezTo>
                  <a:pt x="1603" y="638"/>
                  <a:pt x="1603" y="638"/>
                  <a:pt x="1603" y="638"/>
                </a:cubicBezTo>
                <a:cubicBezTo>
                  <a:pt x="1602" y="637"/>
                  <a:pt x="1602" y="637"/>
                  <a:pt x="1602" y="637"/>
                </a:cubicBezTo>
                <a:cubicBezTo>
                  <a:pt x="1600" y="637"/>
                  <a:pt x="1600" y="637"/>
                  <a:pt x="1600" y="637"/>
                </a:cubicBezTo>
                <a:cubicBezTo>
                  <a:pt x="1600" y="639"/>
                  <a:pt x="1600" y="639"/>
                  <a:pt x="1600" y="639"/>
                </a:cubicBezTo>
                <a:cubicBezTo>
                  <a:pt x="1599" y="637"/>
                  <a:pt x="1599" y="637"/>
                  <a:pt x="1599" y="637"/>
                </a:cubicBezTo>
                <a:cubicBezTo>
                  <a:pt x="1596" y="638"/>
                  <a:pt x="1596" y="638"/>
                  <a:pt x="1596" y="638"/>
                </a:cubicBezTo>
                <a:cubicBezTo>
                  <a:pt x="1592" y="640"/>
                  <a:pt x="1592" y="640"/>
                  <a:pt x="1592" y="640"/>
                </a:cubicBezTo>
                <a:cubicBezTo>
                  <a:pt x="1590" y="642"/>
                  <a:pt x="1590" y="642"/>
                  <a:pt x="1590" y="642"/>
                </a:cubicBezTo>
                <a:cubicBezTo>
                  <a:pt x="1590" y="642"/>
                  <a:pt x="1590" y="642"/>
                  <a:pt x="1590" y="642"/>
                </a:cubicBezTo>
                <a:cubicBezTo>
                  <a:pt x="1589" y="641"/>
                  <a:pt x="1589" y="641"/>
                  <a:pt x="1589" y="641"/>
                </a:cubicBezTo>
                <a:cubicBezTo>
                  <a:pt x="1586" y="642"/>
                  <a:pt x="1586" y="642"/>
                  <a:pt x="1586" y="642"/>
                </a:cubicBezTo>
                <a:cubicBezTo>
                  <a:pt x="1585" y="642"/>
                  <a:pt x="1585" y="642"/>
                  <a:pt x="1585" y="642"/>
                </a:cubicBezTo>
                <a:cubicBezTo>
                  <a:pt x="1581" y="643"/>
                  <a:pt x="1581" y="643"/>
                  <a:pt x="1581" y="643"/>
                </a:cubicBezTo>
                <a:cubicBezTo>
                  <a:pt x="1578" y="641"/>
                  <a:pt x="1578" y="641"/>
                  <a:pt x="1578" y="641"/>
                </a:cubicBezTo>
                <a:cubicBezTo>
                  <a:pt x="1576" y="640"/>
                  <a:pt x="1576" y="640"/>
                  <a:pt x="1576" y="640"/>
                </a:cubicBezTo>
                <a:cubicBezTo>
                  <a:pt x="1576" y="641"/>
                  <a:pt x="1576" y="641"/>
                  <a:pt x="1576" y="641"/>
                </a:cubicBezTo>
                <a:cubicBezTo>
                  <a:pt x="1574" y="643"/>
                  <a:pt x="1574" y="643"/>
                  <a:pt x="1574" y="643"/>
                </a:cubicBezTo>
                <a:cubicBezTo>
                  <a:pt x="1570" y="642"/>
                  <a:pt x="1570" y="642"/>
                  <a:pt x="1570" y="642"/>
                </a:cubicBezTo>
                <a:cubicBezTo>
                  <a:pt x="1570" y="641"/>
                  <a:pt x="1570" y="641"/>
                  <a:pt x="1570" y="641"/>
                </a:cubicBezTo>
                <a:cubicBezTo>
                  <a:pt x="1569" y="640"/>
                  <a:pt x="1569" y="640"/>
                  <a:pt x="1569" y="640"/>
                </a:cubicBezTo>
                <a:cubicBezTo>
                  <a:pt x="1566" y="640"/>
                  <a:pt x="1566" y="640"/>
                  <a:pt x="1566" y="640"/>
                </a:cubicBezTo>
                <a:cubicBezTo>
                  <a:pt x="1566" y="642"/>
                  <a:pt x="1566" y="642"/>
                  <a:pt x="1566" y="642"/>
                </a:cubicBezTo>
                <a:cubicBezTo>
                  <a:pt x="1564" y="642"/>
                  <a:pt x="1564" y="642"/>
                  <a:pt x="1564" y="642"/>
                </a:cubicBezTo>
                <a:cubicBezTo>
                  <a:pt x="1563" y="643"/>
                  <a:pt x="1563" y="643"/>
                  <a:pt x="1563" y="643"/>
                </a:cubicBezTo>
                <a:cubicBezTo>
                  <a:pt x="1562" y="643"/>
                  <a:pt x="1562" y="643"/>
                  <a:pt x="1562" y="643"/>
                </a:cubicBezTo>
                <a:cubicBezTo>
                  <a:pt x="1560" y="643"/>
                  <a:pt x="1560" y="643"/>
                  <a:pt x="1560" y="643"/>
                </a:cubicBezTo>
                <a:cubicBezTo>
                  <a:pt x="1558" y="645"/>
                  <a:pt x="1558" y="645"/>
                  <a:pt x="1558" y="645"/>
                </a:cubicBezTo>
                <a:cubicBezTo>
                  <a:pt x="1556" y="645"/>
                  <a:pt x="1556" y="645"/>
                  <a:pt x="1556" y="645"/>
                </a:cubicBezTo>
                <a:cubicBezTo>
                  <a:pt x="1555" y="642"/>
                  <a:pt x="1555" y="642"/>
                  <a:pt x="1555" y="642"/>
                </a:cubicBezTo>
                <a:cubicBezTo>
                  <a:pt x="1552" y="642"/>
                  <a:pt x="1552" y="642"/>
                  <a:pt x="1552" y="642"/>
                </a:cubicBezTo>
                <a:cubicBezTo>
                  <a:pt x="1551" y="642"/>
                  <a:pt x="1551" y="642"/>
                  <a:pt x="1551" y="642"/>
                </a:cubicBezTo>
                <a:cubicBezTo>
                  <a:pt x="1548" y="642"/>
                  <a:pt x="1548" y="642"/>
                  <a:pt x="1548" y="642"/>
                </a:cubicBezTo>
                <a:cubicBezTo>
                  <a:pt x="1546" y="642"/>
                  <a:pt x="1546" y="642"/>
                  <a:pt x="1546" y="642"/>
                </a:cubicBezTo>
                <a:cubicBezTo>
                  <a:pt x="1545" y="642"/>
                  <a:pt x="1545" y="642"/>
                  <a:pt x="1545" y="642"/>
                </a:cubicBezTo>
                <a:cubicBezTo>
                  <a:pt x="1543" y="642"/>
                  <a:pt x="1543" y="642"/>
                  <a:pt x="1543" y="642"/>
                </a:cubicBezTo>
                <a:cubicBezTo>
                  <a:pt x="1542" y="642"/>
                  <a:pt x="1542" y="642"/>
                  <a:pt x="1542" y="642"/>
                </a:cubicBezTo>
                <a:cubicBezTo>
                  <a:pt x="1541" y="644"/>
                  <a:pt x="1541" y="644"/>
                  <a:pt x="1541" y="644"/>
                </a:cubicBezTo>
                <a:cubicBezTo>
                  <a:pt x="1538" y="644"/>
                  <a:pt x="1538" y="644"/>
                  <a:pt x="1538" y="644"/>
                </a:cubicBezTo>
                <a:cubicBezTo>
                  <a:pt x="1537" y="643"/>
                  <a:pt x="1537" y="643"/>
                  <a:pt x="1537" y="643"/>
                </a:cubicBezTo>
                <a:cubicBezTo>
                  <a:pt x="1534" y="646"/>
                  <a:pt x="1534" y="646"/>
                  <a:pt x="1534" y="646"/>
                </a:cubicBezTo>
                <a:cubicBezTo>
                  <a:pt x="1532" y="646"/>
                  <a:pt x="1532" y="646"/>
                  <a:pt x="1532" y="646"/>
                </a:cubicBezTo>
                <a:cubicBezTo>
                  <a:pt x="1530" y="644"/>
                  <a:pt x="1530" y="644"/>
                  <a:pt x="1530" y="644"/>
                </a:cubicBezTo>
                <a:cubicBezTo>
                  <a:pt x="1528" y="645"/>
                  <a:pt x="1528" y="645"/>
                  <a:pt x="1528" y="645"/>
                </a:cubicBezTo>
                <a:cubicBezTo>
                  <a:pt x="1524" y="645"/>
                  <a:pt x="1524" y="645"/>
                  <a:pt x="1524" y="645"/>
                </a:cubicBezTo>
                <a:cubicBezTo>
                  <a:pt x="1522" y="645"/>
                  <a:pt x="1522" y="645"/>
                  <a:pt x="1522" y="645"/>
                </a:cubicBezTo>
                <a:cubicBezTo>
                  <a:pt x="1517" y="649"/>
                  <a:pt x="1517" y="649"/>
                  <a:pt x="1517" y="649"/>
                </a:cubicBezTo>
                <a:cubicBezTo>
                  <a:pt x="1514" y="649"/>
                  <a:pt x="1514" y="649"/>
                  <a:pt x="1514" y="649"/>
                </a:cubicBezTo>
                <a:cubicBezTo>
                  <a:pt x="1513" y="649"/>
                  <a:pt x="1513" y="649"/>
                  <a:pt x="1513" y="649"/>
                </a:cubicBezTo>
                <a:cubicBezTo>
                  <a:pt x="1510" y="651"/>
                  <a:pt x="1510" y="651"/>
                  <a:pt x="1510" y="651"/>
                </a:cubicBezTo>
                <a:cubicBezTo>
                  <a:pt x="1510" y="652"/>
                  <a:pt x="1510" y="652"/>
                  <a:pt x="1510" y="652"/>
                </a:cubicBezTo>
                <a:cubicBezTo>
                  <a:pt x="1509" y="654"/>
                  <a:pt x="1509" y="654"/>
                  <a:pt x="1509" y="654"/>
                </a:cubicBezTo>
                <a:cubicBezTo>
                  <a:pt x="1508" y="654"/>
                  <a:pt x="1508" y="654"/>
                  <a:pt x="1508" y="654"/>
                </a:cubicBezTo>
                <a:cubicBezTo>
                  <a:pt x="1507" y="653"/>
                  <a:pt x="1507" y="653"/>
                  <a:pt x="1507" y="653"/>
                </a:cubicBezTo>
                <a:cubicBezTo>
                  <a:pt x="1506" y="653"/>
                  <a:pt x="1506" y="653"/>
                  <a:pt x="1506" y="653"/>
                </a:cubicBezTo>
                <a:cubicBezTo>
                  <a:pt x="1505" y="654"/>
                  <a:pt x="1505" y="654"/>
                  <a:pt x="1505" y="654"/>
                </a:cubicBezTo>
                <a:cubicBezTo>
                  <a:pt x="1504" y="655"/>
                  <a:pt x="1504" y="655"/>
                  <a:pt x="1504" y="655"/>
                </a:cubicBezTo>
                <a:cubicBezTo>
                  <a:pt x="1501" y="655"/>
                  <a:pt x="1501" y="655"/>
                  <a:pt x="1501" y="655"/>
                </a:cubicBezTo>
                <a:cubicBezTo>
                  <a:pt x="1499" y="656"/>
                  <a:pt x="1499" y="656"/>
                  <a:pt x="1499" y="656"/>
                </a:cubicBezTo>
                <a:cubicBezTo>
                  <a:pt x="1498" y="657"/>
                  <a:pt x="1498" y="657"/>
                  <a:pt x="1498" y="657"/>
                </a:cubicBezTo>
                <a:cubicBezTo>
                  <a:pt x="1497" y="659"/>
                  <a:pt x="1497" y="659"/>
                  <a:pt x="1497" y="659"/>
                </a:cubicBezTo>
                <a:cubicBezTo>
                  <a:pt x="1495" y="661"/>
                  <a:pt x="1495" y="661"/>
                  <a:pt x="1495" y="661"/>
                </a:cubicBezTo>
                <a:cubicBezTo>
                  <a:pt x="1492" y="662"/>
                  <a:pt x="1492" y="662"/>
                  <a:pt x="1492" y="662"/>
                </a:cubicBezTo>
                <a:cubicBezTo>
                  <a:pt x="1489" y="662"/>
                  <a:pt x="1489" y="662"/>
                  <a:pt x="1489" y="662"/>
                </a:cubicBezTo>
                <a:cubicBezTo>
                  <a:pt x="1488" y="662"/>
                  <a:pt x="1488" y="662"/>
                  <a:pt x="1488" y="662"/>
                </a:cubicBezTo>
                <a:cubicBezTo>
                  <a:pt x="1482" y="662"/>
                  <a:pt x="1482" y="662"/>
                  <a:pt x="1482" y="662"/>
                </a:cubicBezTo>
                <a:cubicBezTo>
                  <a:pt x="1481" y="660"/>
                  <a:pt x="1481" y="660"/>
                  <a:pt x="1481" y="660"/>
                </a:cubicBezTo>
                <a:cubicBezTo>
                  <a:pt x="1480" y="658"/>
                  <a:pt x="1480" y="658"/>
                  <a:pt x="1480" y="658"/>
                </a:cubicBezTo>
                <a:cubicBezTo>
                  <a:pt x="1480" y="658"/>
                  <a:pt x="1480" y="658"/>
                  <a:pt x="1480" y="658"/>
                </a:cubicBezTo>
                <a:cubicBezTo>
                  <a:pt x="1480" y="658"/>
                  <a:pt x="1480" y="658"/>
                  <a:pt x="1480" y="658"/>
                </a:cubicBezTo>
                <a:cubicBezTo>
                  <a:pt x="1478" y="660"/>
                  <a:pt x="1478" y="660"/>
                  <a:pt x="1478" y="660"/>
                </a:cubicBezTo>
                <a:cubicBezTo>
                  <a:pt x="1475" y="661"/>
                  <a:pt x="1475" y="661"/>
                  <a:pt x="1475" y="661"/>
                </a:cubicBezTo>
                <a:cubicBezTo>
                  <a:pt x="1471" y="660"/>
                  <a:pt x="1471" y="660"/>
                  <a:pt x="1471" y="660"/>
                </a:cubicBezTo>
                <a:cubicBezTo>
                  <a:pt x="1470" y="660"/>
                  <a:pt x="1470" y="660"/>
                  <a:pt x="1470" y="660"/>
                </a:cubicBezTo>
                <a:cubicBezTo>
                  <a:pt x="1468" y="661"/>
                  <a:pt x="1468" y="661"/>
                  <a:pt x="1468" y="661"/>
                </a:cubicBezTo>
                <a:cubicBezTo>
                  <a:pt x="1464" y="661"/>
                  <a:pt x="1464" y="661"/>
                  <a:pt x="1464" y="661"/>
                </a:cubicBezTo>
                <a:cubicBezTo>
                  <a:pt x="1462" y="661"/>
                  <a:pt x="1462" y="661"/>
                  <a:pt x="1462" y="661"/>
                </a:cubicBezTo>
                <a:cubicBezTo>
                  <a:pt x="1459" y="658"/>
                  <a:pt x="1459" y="658"/>
                  <a:pt x="1459" y="658"/>
                </a:cubicBezTo>
                <a:cubicBezTo>
                  <a:pt x="1458" y="657"/>
                  <a:pt x="1458" y="657"/>
                  <a:pt x="1458" y="657"/>
                </a:cubicBezTo>
                <a:cubicBezTo>
                  <a:pt x="1458" y="655"/>
                  <a:pt x="1458" y="655"/>
                  <a:pt x="1458" y="655"/>
                </a:cubicBezTo>
                <a:cubicBezTo>
                  <a:pt x="1458" y="654"/>
                  <a:pt x="1458" y="654"/>
                  <a:pt x="1458" y="654"/>
                </a:cubicBezTo>
                <a:cubicBezTo>
                  <a:pt x="1458" y="654"/>
                  <a:pt x="1458" y="654"/>
                  <a:pt x="1458" y="654"/>
                </a:cubicBezTo>
                <a:cubicBezTo>
                  <a:pt x="1458" y="653"/>
                  <a:pt x="1458" y="653"/>
                  <a:pt x="1458" y="653"/>
                </a:cubicBezTo>
                <a:cubicBezTo>
                  <a:pt x="1456" y="654"/>
                  <a:pt x="1456" y="654"/>
                  <a:pt x="1456" y="654"/>
                </a:cubicBezTo>
                <a:cubicBezTo>
                  <a:pt x="1455" y="654"/>
                  <a:pt x="1455" y="654"/>
                  <a:pt x="1455" y="654"/>
                </a:cubicBezTo>
                <a:cubicBezTo>
                  <a:pt x="1453" y="654"/>
                  <a:pt x="1453" y="654"/>
                  <a:pt x="1453" y="654"/>
                </a:cubicBezTo>
                <a:cubicBezTo>
                  <a:pt x="1451" y="656"/>
                  <a:pt x="1451" y="656"/>
                  <a:pt x="1451" y="656"/>
                </a:cubicBezTo>
                <a:cubicBezTo>
                  <a:pt x="1451" y="662"/>
                  <a:pt x="1451" y="662"/>
                  <a:pt x="1451" y="662"/>
                </a:cubicBezTo>
                <a:cubicBezTo>
                  <a:pt x="1449" y="665"/>
                  <a:pt x="1449" y="665"/>
                  <a:pt x="1449" y="665"/>
                </a:cubicBezTo>
                <a:cubicBezTo>
                  <a:pt x="1448" y="669"/>
                  <a:pt x="1448" y="669"/>
                  <a:pt x="1448" y="669"/>
                </a:cubicBezTo>
                <a:cubicBezTo>
                  <a:pt x="1447" y="671"/>
                  <a:pt x="1447" y="671"/>
                  <a:pt x="1447" y="671"/>
                </a:cubicBezTo>
                <a:cubicBezTo>
                  <a:pt x="1442" y="676"/>
                  <a:pt x="1442" y="676"/>
                  <a:pt x="1442" y="676"/>
                </a:cubicBezTo>
                <a:cubicBezTo>
                  <a:pt x="1441" y="676"/>
                  <a:pt x="1441" y="676"/>
                  <a:pt x="1441" y="676"/>
                </a:cubicBezTo>
                <a:cubicBezTo>
                  <a:pt x="1439" y="677"/>
                  <a:pt x="1439" y="677"/>
                  <a:pt x="1439" y="677"/>
                </a:cubicBezTo>
                <a:cubicBezTo>
                  <a:pt x="1435" y="679"/>
                  <a:pt x="1435" y="679"/>
                  <a:pt x="1435" y="679"/>
                </a:cubicBezTo>
                <a:cubicBezTo>
                  <a:pt x="1433" y="682"/>
                  <a:pt x="1433" y="682"/>
                  <a:pt x="1433" y="682"/>
                </a:cubicBezTo>
                <a:cubicBezTo>
                  <a:pt x="1431" y="682"/>
                  <a:pt x="1431" y="682"/>
                  <a:pt x="1431" y="682"/>
                </a:cubicBezTo>
                <a:cubicBezTo>
                  <a:pt x="1427" y="684"/>
                  <a:pt x="1427" y="684"/>
                  <a:pt x="1427" y="684"/>
                </a:cubicBezTo>
                <a:cubicBezTo>
                  <a:pt x="1425" y="685"/>
                  <a:pt x="1425" y="685"/>
                  <a:pt x="1425" y="685"/>
                </a:cubicBezTo>
                <a:cubicBezTo>
                  <a:pt x="1424" y="687"/>
                  <a:pt x="1424" y="687"/>
                  <a:pt x="1424" y="687"/>
                </a:cubicBezTo>
                <a:cubicBezTo>
                  <a:pt x="1419" y="691"/>
                  <a:pt x="1419" y="691"/>
                  <a:pt x="1419" y="691"/>
                </a:cubicBezTo>
                <a:cubicBezTo>
                  <a:pt x="1421" y="694"/>
                  <a:pt x="1421" y="694"/>
                  <a:pt x="1421" y="694"/>
                </a:cubicBezTo>
                <a:cubicBezTo>
                  <a:pt x="1420" y="697"/>
                  <a:pt x="1420" y="697"/>
                  <a:pt x="1420" y="697"/>
                </a:cubicBezTo>
                <a:cubicBezTo>
                  <a:pt x="1416" y="700"/>
                  <a:pt x="1416" y="700"/>
                  <a:pt x="1416" y="700"/>
                </a:cubicBezTo>
                <a:cubicBezTo>
                  <a:pt x="1414" y="706"/>
                  <a:pt x="1414" y="706"/>
                  <a:pt x="1414" y="706"/>
                </a:cubicBezTo>
                <a:cubicBezTo>
                  <a:pt x="1413" y="708"/>
                  <a:pt x="1413" y="708"/>
                  <a:pt x="1413" y="708"/>
                </a:cubicBezTo>
                <a:cubicBezTo>
                  <a:pt x="1415" y="711"/>
                  <a:pt x="1415" y="711"/>
                  <a:pt x="1415" y="711"/>
                </a:cubicBezTo>
                <a:cubicBezTo>
                  <a:pt x="1414" y="715"/>
                  <a:pt x="1414" y="715"/>
                  <a:pt x="1414" y="715"/>
                </a:cubicBezTo>
                <a:cubicBezTo>
                  <a:pt x="1415" y="716"/>
                  <a:pt x="1415" y="716"/>
                  <a:pt x="1415" y="716"/>
                </a:cubicBezTo>
                <a:cubicBezTo>
                  <a:pt x="1416" y="717"/>
                  <a:pt x="1416" y="717"/>
                  <a:pt x="1416" y="717"/>
                </a:cubicBezTo>
                <a:cubicBezTo>
                  <a:pt x="1415" y="720"/>
                  <a:pt x="1415" y="720"/>
                  <a:pt x="1415" y="720"/>
                </a:cubicBezTo>
                <a:cubicBezTo>
                  <a:pt x="1409" y="727"/>
                  <a:pt x="1409" y="727"/>
                  <a:pt x="1409" y="727"/>
                </a:cubicBezTo>
                <a:cubicBezTo>
                  <a:pt x="1408" y="730"/>
                  <a:pt x="1408" y="730"/>
                  <a:pt x="1408" y="730"/>
                </a:cubicBezTo>
                <a:cubicBezTo>
                  <a:pt x="1405" y="733"/>
                  <a:pt x="1405" y="733"/>
                  <a:pt x="1405" y="733"/>
                </a:cubicBezTo>
                <a:cubicBezTo>
                  <a:pt x="1402" y="734"/>
                  <a:pt x="1402" y="734"/>
                  <a:pt x="1402" y="734"/>
                </a:cubicBezTo>
                <a:cubicBezTo>
                  <a:pt x="1395" y="740"/>
                  <a:pt x="1395" y="740"/>
                  <a:pt x="1395" y="740"/>
                </a:cubicBezTo>
                <a:cubicBezTo>
                  <a:pt x="1385" y="742"/>
                  <a:pt x="1385" y="742"/>
                  <a:pt x="1385" y="742"/>
                </a:cubicBezTo>
                <a:cubicBezTo>
                  <a:pt x="1383" y="745"/>
                  <a:pt x="1383" y="745"/>
                  <a:pt x="1383" y="745"/>
                </a:cubicBezTo>
                <a:cubicBezTo>
                  <a:pt x="1379" y="751"/>
                  <a:pt x="1379" y="751"/>
                  <a:pt x="1379" y="751"/>
                </a:cubicBezTo>
                <a:cubicBezTo>
                  <a:pt x="1379" y="755"/>
                  <a:pt x="1379" y="755"/>
                  <a:pt x="1379" y="755"/>
                </a:cubicBezTo>
                <a:cubicBezTo>
                  <a:pt x="1377" y="755"/>
                  <a:pt x="1377" y="755"/>
                  <a:pt x="1377" y="755"/>
                </a:cubicBezTo>
                <a:cubicBezTo>
                  <a:pt x="1370" y="758"/>
                  <a:pt x="1370" y="758"/>
                  <a:pt x="1370" y="758"/>
                </a:cubicBezTo>
                <a:cubicBezTo>
                  <a:pt x="1369" y="760"/>
                  <a:pt x="1369" y="760"/>
                  <a:pt x="1369" y="760"/>
                </a:cubicBezTo>
                <a:cubicBezTo>
                  <a:pt x="1366" y="762"/>
                  <a:pt x="1366" y="762"/>
                  <a:pt x="1366" y="762"/>
                </a:cubicBezTo>
                <a:cubicBezTo>
                  <a:pt x="1367" y="765"/>
                  <a:pt x="1367" y="765"/>
                  <a:pt x="1367" y="765"/>
                </a:cubicBezTo>
                <a:cubicBezTo>
                  <a:pt x="1361" y="774"/>
                  <a:pt x="1361" y="774"/>
                  <a:pt x="1361" y="774"/>
                </a:cubicBezTo>
                <a:cubicBezTo>
                  <a:pt x="1361" y="777"/>
                  <a:pt x="1361" y="777"/>
                  <a:pt x="1361" y="777"/>
                </a:cubicBezTo>
                <a:cubicBezTo>
                  <a:pt x="1356" y="781"/>
                  <a:pt x="1356" y="781"/>
                  <a:pt x="1356" y="781"/>
                </a:cubicBezTo>
                <a:cubicBezTo>
                  <a:pt x="1354" y="782"/>
                  <a:pt x="1354" y="782"/>
                  <a:pt x="1354" y="782"/>
                </a:cubicBezTo>
                <a:cubicBezTo>
                  <a:pt x="1352" y="787"/>
                  <a:pt x="1352" y="787"/>
                  <a:pt x="1352" y="787"/>
                </a:cubicBezTo>
                <a:cubicBezTo>
                  <a:pt x="1352" y="789"/>
                  <a:pt x="1352" y="789"/>
                  <a:pt x="1352" y="789"/>
                </a:cubicBezTo>
                <a:cubicBezTo>
                  <a:pt x="1348" y="794"/>
                  <a:pt x="1348" y="794"/>
                  <a:pt x="1348" y="794"/>
                </a:cubicBezTo>
                <a:cubicBezTo>
                  <a:pt x="1348" y="795"/>
                  <a:pt x="1348" y="795"/>
                  <a:pt x="1348" y="795"/>
                </a:cubicBezTo>
                <a:cubicBezTo>
                  <a:pt x="1349" y="796"/>
                  <a:pt x="1349" y="796"/>
                  <a:pt x="1349" y="796"/>
                </a:cubicBezTo>
                <a:cubicBezTo>
                  <a:pt x="1347" y="797"/>
                  <a:pt x="1347" y="797"/>
                  <a:pt x="1347" y="797"/>
                </a:cubicBezTo>
                <a:cubicBezTo>
                  <a:pt x="1344" y="803"/>
                  <a:pt x="1344" y="803"/>
                  <a:pt x="1344" y="803"/>
                </a:cubicBezTo>
                <a:cubicBezTo>
                  <a:pt x="1343" y="803"/>
                  <a:pt x="1343" y="803"/>
                  <a:pt x="1343" y="803"/>
                </a:cubicBezTo>
                <a:cubicBezTo>
                  <a:pt x="1342" y="805"/>
                  <a:pt x="1342" y="805"/>
                  <a:pt x="1342" y="805"/>
                </a:cubicBezTo>
                <a:cubicBezTo>
                  <a:pt x="1342" y="807"/>
                  <a:pt x="1342" y="807"/>
                  <a:pt x="1342" y="807"/>
                </a:cubicBezTo>
                <a:cubicBezTo>
                  <a:pt x="1341" y="809"/>
                  <a:pt x="1341" y="809"/>
                  <a:pt x="1341" y="809"/>
                </a:cubicBezTo>
                <a:cubicBezTo>
                  <a:pt x="1341" y="813"/>
                  <a:pt x="1341" y="813"/>
                  <a:pt x="1341" y="813"/>
                </a:cubicBezTo>
                <a:cubicBezTo>
                  <a:pt x="1341" y="813"/>
                  <a:pt x="1341" y="813"/>
                  <a:pt x="1341" y="813"/>
                </a:cubicBezTo>
                <a:cubicBezTo>
                  <a:pt x="1340" y="815"/>
                  <a:pt x="1340" y="815"/>
                  <a:pt x="1340" y="815"/>
                </a:cubicBezTo>
                <a:cubicBezTo>
                  <a:pt x="1340" y="819"/>
                  <a:pt x="1340" y="819"/>
                  <a:pt x="1340" y="819"/>
                </a:cubicBezTo>
                <a:cubicBezTo>
                  <a:pt x="1342" y="817"/>
                  <a:pt x="1342" y="817"/>
                  <a:pt x="1342" y="817"/>
                </a:cubicBezTo>
                <a:cubicBezTo>
                  <a:pt x="1343" y="819"/>
                  <a:pt x="1343" y="819"/>
                  <a:pt x="1343" y="819"/>
                </a:cubicBezTo>
                <a:cubicBezTo>
                  <a:pt x="1344" y="819"/>
                  <a:pt x="1344" y="819"/>
                  <a:pt x="1344" y="819"/>
                </a:cubicBezTo>
                <a:cubicBezTo>
                  <a:pt x="1345" y="818"/>
                  <a:pt x="1345" y="818"/>
                  <a:pt x="1345" y="818"/>
                </a:cubicBezTo>
                <a:cubicBezTo>
                  <a:pt x="1348" y="823"/>
                  <a:pt x="1348" y="823"/>
                  <a:pt x="1348" y="823"/>
                </a:cubicBezTo>
                <a:cubicBezTo>
                  <a:pt x="1347" y="824"/>
                  <a:pt x="1347" y="824"/>
                  <a:pt x="1347" y="824"/>
                </a:cubicBezTo>
                <a:cubicBezTo>
                  <a:pt x="1348" y="826"/>
                  <a:pt x="1348" y="826"/>
                  <a:pt x="1348" y="826"/>
                </a:cubicBezTo>
                <a:cubicBezTo>
                  <a:pt x="1347" y="830"/>
                  <a:pt x="1347" y="830"/>
                  <a:pt x="1347" y="830"/>
                </a:cubicBezTo>
                <a:cubicBezTo>
                  <a:pt x="1345" y="830"/>
                  <a:pt x="1345" y="830"/>
                  <a:pt x="1345" y="830"/>
                </a:cubicBezTo>
                <a:cubicBezTo>
                  <a:pt x="1344" y="831"/>
                  <a:pt x="1344" y="831"/>
                  <a:pt x="1344" y="831"/>
                </a:cubicBezTo>
                <a:cubicBezTo>
                  <a:pt x="1347" y="835"/>
                  <a:pt x="1347" y="835"/>
                  <a:pt x="1347" y="835"/>
                </a:cubicBezTo>
                <a:cubicBezTo>
                  <a:pt x="1349" y="845"/>
                  <a:pt x="1349" y="845"/>
                  <a:pt x="1349" y="845"/>
                </a:cubicBezTo>
                <a:cubicBezTo>
                  <a:pt x="1349" y="853"/>
                  <a:pt x="1349" y="853"/>
                  <a:pt x="1349" y="853"/>
                </a:cubicBezTo>
                <a:cubicBezTo>
                  <a:pt x="1346" y="856"/>
                  <a:pt x="1346" y="856"/>
                  <a:pt x="1346" y="856"/>
                </a:cubicBezTo>
                <a:cubicBezTo>
                  <a:pt x="1344" y="862"/>
                  <a:pt x="1344" y="862"/>
                  <a:pt x="1344" y="862"/>
                </a:cubicBezTo>
                <a:cubicBezTo>
                  <a:pt x="1344" y="867"/>
                  <a:pt x="1344" y="867"/>
                  <a:pt x="1344" y="867"/>
                </a:cubicBezTo>
                <a:cubicBezTo>
                  <a:pt x="1343" y="870"/>
                  <a:pt x="1343" y="870"/>
                  <a:pt x="1343" y="870"/>
                </a:cubicBezTo>
                <a:cubicBezTo>
                  <a:pt x="1341" y="875"/>
                  <a:pt x="1341" y="875"/>
                  <a:pt x="1341" y="875"/>
                </a:cubicBezTo>
                <a:cubicBezTo>
                  <a:pt x="1335" y="880"/>
                  <a:pt x="1335" y="880"/>
                  <a:pt x="1335" y="880"/>
                </a:cubicBezTo>
                <a:cubicBezTo>
                  <a:pt x="1338" y="883"/>
                  <a:pt x="1338" y="883"/>
                  <a:pt x="1338" y="883"/>
                </a:cubicBezTo>
                <a:cubicBezTo>
                  <a:pt x="1340" y="887"/>
                  <a:pt x="1340" y="887"/>
                  <a:pt x="1340" y="887"/>
                </a:cubicBezTo>
                <a:cubicBezTo>
                  <a:pt x="1342" y="887"/>
                  <a:pt x="1342" y="887"/>
                  <a:pt x="1342" y="887"/>
                </a:cubicBezTo>
                <a:cubicBezTo>
                  <a:pt x="1342" y="889"/>
                  <a:pt x="1342" y="889"/>
                  <a:pt x="1342" y="889"/>
                </a:cubicBezTo>
                <a:cubicBezTo>
                  <a:pt x="1341" y="890"/>
                  <a:pt x="1341" y="890"/>
                  <a:pt x="1341" y="890"/>
                </a:cubicBezTo>
                <a:cubicBezTo>
                  <a:pt x="1344" y="891"/>
                  <a:pt x="1344" y="891"/>
                  <a:pt x="1344" y="891"/>
                </a:cubicBezTo>
                <a:cubicBezTo>
                  <a:pt x="1342" y="892"/>
                  <a:pt x="1342" y="892"/>
                  <a:pt x="1342" y="892"/>
                </a:cubicBezTo>
                <a:cubicBezTo>
                  <a:pt x="1343" y="893"/>
                  <a:pt x="1343" y="893"/>
                  <a:pt x="1343" y="893"/>
                </a:cubicBezTo>
                <a:cubicBezTo>
                  <a:pt x="1343" y="895"/>
                  <a:pt x="1343" y="895"/>
                  <a:pt x="1343" y="895"/>
                </a:cubicBezTo>
                <a:cubicBezTo>
                  <a:pt x="1346" y="896"/>
                  <a:pt x="1346" y="896"/>
                  <a:pt x="1346" y="896"/>
                </a:cubicBezTo>
                <a:cubicBezTo>
                  <a:pt x="1348" y="895"/>
                  <a:pt x="1348" y="895"/>
                  <a:pt x="1348" y="895"/>
                </a:cubicBezTo>
                <a:cubicBezTo>
                  <a:pt x="1347" y="897"/>
                  <a:pt x="1347" y="897"/>
                  <a:pt x="1347" y="897"/>
                </a:cubicBezTo>
                <a:cubicBezTo>
                  <a:pt x="1344" y="897"/>
                  <a:pt x="1344" y="897"/>
                  <a:pt x="1344" y="897"/>
                </a:cubicBezTo>
                <a:cubicBezTo>
                  <a:pt x="1342" y="894"/>
                  <a:pt x="1342" y="894"/>
                  <a:pt x="1342" y="894"/>
                </a:cubicBezTo>
                <a:cubicBezTo>
                  <a:pt x="1340" y="896"/>
                  <a:pt x="1340" y="896"/>
                  <a:pt x="1340" y="896"/>
                </a:cubicBezTo>
                <a:cubicBezTo>
                  <a:pt x="1341" y="897"/>
                  <a:pt x="1341" y="897"/>
                  <a:pt x="1341" y="897"/>
                </a:cubicBezTo>
                <a:cubicBezTo>
                  <a:pt x="1341" y="901"/>
                  <a:pt x="1341" y="901"/>
                  <a:pt x="1341" y="901"/>
                </a:cubicBezTo>
                <a:cubicBezTo>
                  <a:pt x="1340" y="902"/>
                  <a:pt x="1340" y="902"/>
                  <a:pt x="1340" y="902"/>
                </a:cubicBezTo>
                <a:cubicBezTo>
                  <a:pt x="1341" y="902"/>
                  <a:pt x="1341" y="902"/>
                  <a:pt x="1341" y="902"/>
                </a:cubicBezTo>
                <a:cubicBezTo>
                  <a:pt x="1343" y="901"/>
                  <a:pt x="1343" y="901"/>
                  <a:pt x="1343" y="901"/>
                </a:cubicBezTo>
                <a:cubicBezTo>
                  <a:pt x="1346" y="902"/>
                  <a:pt x="1346" y="902"/>
                  <a:pt x="1346" y="902"/>
                </a:cubicBezTo>
                <a:cubicBezTo>
                  <a:pt x="1344" y="904"/>
                  <a:pt x="1344" y="904"/>
                  <a:pt x="1344" y="904"/>
                </a:cubicBezTo>
                <a:cubicBezTo>
                  <a:pt x="1343" y="903"/>
                  <a:pt x="1343" y="903"/>
                  <a:pt x="1343" y="903"/>
                </a:cubicBezTo>
                <a:cubicBezTo>
                  <a:pt x="1341" y="903"/>
                  <a:pt x="1341" y="903"/>
                  <a:pt x="1341" y="903"/>
                </a:cubicBezTo>
                <a:cubicBezTo>
                  <a:pt x="1342" y="904"/>
                  <a:pt x="1342" y="904"/>
                  <a:pt x="1342" y="904"/>
                </a:cubicBezTo>
                <a:cubicBezTo>
                  <a:pt x="1342" y="906"/>
                  <a:pt x="1342" y="906"/>
                  <a:pt x="1342" y="906"/>
                </a:cubicBezTo>
                <a:cubicBezTo>
                  <a:pt x="1342" y="906"/>
                  <a:pt x="1342" y="906"/>
                  <a:pt x="1342" y="906"/>
                </a:cubicBezTo>
                <a:cubicBezTo>
                  <a:pt x="1343" y="907"/>
                  <a:pt x="1343" y="907"/>
                  <a:pt x="1343" y="907"/>
                </a:cubicBezTo>
                <a:cubicBezTo>
                  <a:pt x="1346" y="907"/>
                  <a:pt x="1346" y="907"/>
                  <a:pt x="1346" y="907"/>
                </a:cubicBezTo>
                <a:cubicBezTo>
                  <a:pt x="1348" y="907"/>
                  <a:pt x="1348" y="907"/>
                  <a:pt x="1348" y="907"/>
                </a:cubicBezTo>
                <a:cubicBezTo>
                  <a:pt x="1346" y="909"/>
                  <a:pt x="1346" y="909"/>
                  <a:pt x="1346" y="909"/>
                </a:cubicBezTo>
                <a:cubicBezTo>
                  <a:pt x="1348" y="911"/>
                  <a:pt x="1348" y="911"/>
                  <a:pt x="1348" y="911"/>
                </a:cubicBezTo>
                <a:cubicBezTo>
                  <a:pt x="1350" y="911"/>
                  <a:pt x="1350" y="911"/>
                  <a:pt x="1350" y="911"/>
                </a:cubicBezTo>
                <a:cubicBezTo>
                  <a:pt x="1350" y="912"/>
                  <a:pt x="1350" y="912"/>
                  <a:pt x="1350" y="912"/>
                </a:cubicBezTo>
                <a:cubicBezTo>
                  <a:pt x="1351" y="912"/>
                  <a:pt x="1351" y="912"/>
                  <a:pt x="1351" y="912"/>
                </a:cubicBezTo>
                <a:cubicBezTo>
                  <a:pt x="1354" y="911"/>
                  <a:pt x="1354" y="911"/>
                  <a:pt x="1354" y="911"/>
                </a:cubicBezTo>
                <a:cubicBezTo>
                  <a:pt x="1356" y="911"/>
                  <a:pt x="1356" y="911"/>
                  <a:pt x="1356" y="911"/>
                </a:cubicBezTo>
                <a:cubicBezTo>
                  <a:pt x="1359" y="912"/>
                  <a:pt x="1359" y="912"/>
                  <a:pt x="1359" y="912"/>
                </a:cubicBezTo>
                <a:cubicBezTo>
                  <a:pt x="1358" y="913"/>
                  <a:pt x="1358" y="913"/>
                  <a:pt x="1358" y="913"/>
                </a:cubicBezTo>
                <a:cubicBezTo>
                  <a:pt x="1353" y="913"/>
                  <a:pt x="1353" y="913"/>
                  <a:pt x="1353" y="913"/>
                </a:cubicBezTo>
                <a:cubicBezTo>
                  <a:pt x="1354" y="914"/>
                  <a:pt x="1354" y="914"/>
                  <a:pt x="1354" y="914"/>
                </a:cubicBezTo>
                <a:cubicBezTo>
                  <a:pt x="1356" y="914"/>
                  <a:pt x="1356" y="914"/>
                  <a:pt x="1356" y="914"/>
                </a:cubicBezTo>
                <a:cubicBezTo>
                  <a:pt x="1357" y="915"/>
                  <a:pt x="1357" y="915"/>
                  <a:pt x="1357" y="915"/>
                </a:cubicBezTo>
                <a:cubicBezTo>
                  <a:pt x="1356" y="916"/>
                  <a:pt x="1356" y="916"/>
                  <a:pt x="1356" y="916"/>
                </a:cubicBezTo>
                <a:cubicBezTo>
                  <a:pt x="1357" y="916"/>
                  <a:pt x="1357" y="916"/>
                  <a:pt x="1357" y="916"/>
                </a:cubicBezTo>
                <a:cubicBezTo>
                  <a:pt x="1355" y="918"/>
                  <a:pt x="1355" y="918"/>
                  <a:pt x="1355" y="918"/>
                </a:cubicBezTo>
                <a:cubicBezTo>
                  <a:pt x="1359" y="918"/>
                  <a:pt x="1359" y="918"/>
                  <a:pt x="1359" y="918"/>
                </a:cubicBezTo>
                <a:cubicBezTo>
                  <a:pt x="1359" y="920"/>
                  <a:pt x="1359" y="920"/>
                  <a:pt x="1359" y="920"/>
                </a:cubicBezTo>
                <a:cubicBezTo>
                  <a:pt x="1359" y="920"/>
                  <a:pt x="1359" y="920"/>
                  <a:pt x="1359" y="920"/>
                </a:cubicBezTo>
                <a:cubicBezTo>
                  <a:pt x="1362" y="920"/>
                  <a:pt x="1362" y="920"/>
                  <a:pt x="1362" y="920"/>
                </a:cubicBezTo>
                <a:cubicBezTo>
                  <a:pt x="1362" y="920"/>
                  <a:pt x="1362" y="920"/>
                  <a:pt x="1362" y="920"/>
                </a:cubicBezTo>
                <a:cubicBezTo>
                  <a:pt x="1364" y="921"/>
                  <a:pt x="1364" y="921"/>
                  <a:pt x="1364" y="921"/>
                </a:cubicBezTo>
                <a:cubicBezTo>
                  <a:pt x="1363" y="925"/>
                  <a:pt x="1363" y="925"/>
                  <a:pt x="1363" y="925"/>
                </a:cubicBezTo>
                <a:cubicBezTo>
                  <a:pt x="1365" y="928"/>
                  <a:pt x="1365" y="928"/>
                  <a:pt x="1365" y="928"/>
                </a:cubicBezTo>
                <a:cubicBezTo>
                  <a:pt x="1367" y="928"/>
                  <a:pt x="1367" y="928"/>
                  <a:pt x="1367" y="928"/>
                </a:cubicBezTo>
                <a:cubicBezTo>
                  <a:pt x="1369" y="929"/>
                  <a:pt x="1369" y="929"/>
                  <a:pt x="1369" y="929"/>
                </a:cubicBezTo>
                <a:cubicBezTo>
                  <a:pt x="1370" y="928"/>
                  <a:pt x="1370" y="928"/>
                  <a:pt x="1370" y="928"/>
                </a:cubicBezTo>
                <a:cubicBezTo>
                  <a:pt x="1371" y="928"/>
                  <a:pt x="1371" y="928"/>
                  <a:pt x="1371" y="928"/>
                </a:cubicBezTo>
                <a:cubicBezTo>
                  <a:pt x="1371" y="929"/>
                  <a:pt x="1371" y="929"/>
                  <a:pt x="1371" y="929"/>
                </a:cubicBezTo>
                <a:cubicBezTo>
                  <a:pt x="1370" y="931"/>
                  <a:pt x="1370" y="931"/>
                  <a:pt x="1370" y="931"/>
                </a:cubicBezTo>
                <a:cubicBezTo>
                  <a:pt x="1371" y="932"/>
                  <a:pt x="1371" y="932"/>
                  <a:pt x="1371" y="932"/>
                </a:cubicBezTo>
                <a:cubicBezTo>
                  <a:pt x="1374" y="932"/>
                  <a:pt x="1374" y="932"/>
                  <a:pt x="1374" y="932"/>
                </a:cubicBezTo>
                <a:cubicBezTo>
                  <a:pt x="1374" y="935"/>
                  <a:pt x="1374" y="935"/>
                  <a:pt x="1374" y="935"/>
                </a:cubicBezTo>
                <a:cubicBezTo>
                  <a:pt x="1377" y="936"/>
                  <a:pt x="1377" y="936"/>
                  <a:pt x="1377" y="936"/>
                </a:cubicBezTo>
                <a:cubicBezTo>
                  <a:pt x="1379" y="938"/>
                  <a:pt x="1379" y="938"/>
                  <a:pt x="1379" y="938"/>
                </a:cubicBezTo>
                <a:cubicBezTo>
                  <a:pt x="1379" y="938"/>
                  <a:pt x="1379" y="938"/>
                  <a:pt x="1379" y="938"/>
                </a:cubicBezTo>
                <a:cubicBezTo>
                  <a:pt x="1378" y="940"/>
                  <a:pt x="1378" y="940"/>
                  <a:pt x="1378" y="940"/>
                </a:cubicBezTo>
                <a:cubicBezTo>
                  <a:pt x="1377" y="941"/>
                  <a:pt x="1377" y="941"/>
                  <a:pt x="1377" y="941"/>
                </a:cubicBezTo>
                <a:cubicBezTo>
                  <a:pt x="1379" y="942"/>
                  <a:pt x="1379" y="942"/>
                  <a:pt x="1379" y="942"/>
                </a:cubicBezTo>
                <a:cubicBezTo>
                  <a:pt x="1378" y="944"/>
                  <a:pt x="1378" y="944"/>
                  <a:pt x="1378" y="944"/>
                </a:cubicBezTo>
                <a:cubicBezTo>
                  <a:pt x="1378" y="946"/>
                  <a:pt x="1378" y="946"/>
                  <a:pt x="1378" y="946"/>
                </a:cubicBezTo>
                <a:cubicBezTo>
                  <a:pt x="1380" y="946"/>
                  <a:pt x="1380" y="946"/>
                  <a:pt x="1380" y="946"/>
                </a:cubicBezTo>
                <a:cubicBezTo>
                  <a:pt x="1381" y="950"/>
                  <a:pt x="1381" y="950"/>
                  <a:pt x="1381" y="950"/>
                </a:cubicBezTo>
                <a:cubicBezTo>
                  <a:pt x="1381" y="952"/>
                  <a:pt x="1381" y="952"/>
                  <a:pt x="1381" y="952"/>
                </a:cubicBezTo>
                <a:cubicBezTo>
                  <a:pt x="1383" y="954"/>
                  <a:pt x="1383" y="954"/>
                  <a:pt x="1383" y="954"/>
                </a:cubicBezTo>
                <a:cubicBezTo>
                  <a:pt x="1386" y="954"/>
                  <a:pt x="1386" y="954"/>
                  <a:pt x="1386" y="954"/>
                </a:cubicBezTo>
                <a:cubicBezTo>
                  <a:pt x="1386" y="954"/>
                  <a:pt x="1386" y="954"/>
                  <a:pt x="1386" y="954"/>
                </a:cubicBezTo>
                <a:cubicBezTo>
                  <a:pt x="1385" y="956"/>
                  <a:pt x="1385" y="956"/>
                  <a:pt x="1385" y="956"/>
                </a:cubicBezTo>
                <a:cubicBezTo>
                  <a:pt x="1386" y="957"/>
                  <a:pt x="1386" y="957"/>
                  <a:pt x="1386" y="957"/>
                </a:cubicBezTo>
                <a:cubicBezTo>
                  <a:pt x="1387" y="959"/>
                  <a:pt x="1387" y="959"/>
                  <a:pt x="1387" y="959"/>
                </a:cubicBezTo>
                <a:cubicBezTo>
                  <a:pt x="1387" y="960"/>
                  <a:pt x="1387" y="960"/>
                  <a:pt x="1387" y="960"/>
                </a:cubicBezTo>
                <a:cubicBezTo>
                  <a:pt x="1389" y="960"/>
                  <a:pt x="1389" y="960"/>
                  <a:pt x="1389" y="960"/>
                </a:cubicBezTo>
                <a:cubicBezTo>
                  <a:pt x="1395" y="963"/>
                  <a:pt x="1395" y="963"/>
                  <a:pt x="1395" y="963"/>
                </a:cubicBezTo>
                <a:cubicBezTo>
                  <a:pt x="1398" y="963"/>
                  <a:pt x="1398" y="963"/>
                  <a:pt x="1398" y="963"/>
                </a:cubicBezTo>
                <a:cubicBezTo>
                  <a:pt x="1400" y="964"/>
                  <a:pt x="1400" y="964"/>
                  <a:pt x="1400" y="964"/>
                </a:cubicBezTo>
                <a:cubicBezTo>
                  <a:pt x="1399" y="965"/>
                  <a:pt x="1399" y="965"/>
                  <a:pt x="1399" y="965"/>
                </a:cubicBezTo>
                <a:cubicBezTo>
                  <a:pt x="1401" y="966"/>
                  <a:pt x="1401" y="966"/>
                  <a:pt x="1401" y="966"/>
                </a:cubicBezTo>
                <a:cubicBezTo>
                  <a:pt x="1403" y="970"/>
                  <a:pt x="1403" y="970"/>
                  <a:pt x="1403" y="970"/>
                </a:cubicBezTo>
                <a:cubicBezTo>
                  <a:pt x="1405" y="970"/>
                  <a:pt x="1405" y="970"/>
                  <a:pt x="1405" y="970"/>
                </a:cubicBezTo>
                <a:cubicBezTo>
                  <a:pt x="1409" y="973"/>
                  <a:pt x="1409" y="973"/>
                  <a:pt x="1409" y="973"/>
                </a:cubicBezTo>
                <a:cubicBezTo>
                  <a:pt x="1409" y="973"/>
                  <a:pt x="1409" y="973"/>
                  <a:pt x="1409" y="973"/>
                </a:cubicBezTo>
                <a:cubicBezTo>
                  <a:pt x="1409" y="973"/>
                  <a:pt x="1409" y="973"/>
                  <a:pt x="1409" y="973"/>
                </a:cubicBezTo>
                <a:cubicBezTo>
                  <a:pt x="1415" y="979"/>
                  <a:pt x="1415" y="979"/>
                  <a:pt x="1415" y="979"/>
                </a:cubicBezTo>
                <a:cubicBezTo>
                  <a:pt x="1418" y="979"/>
                  <a:pt x="1418" y="979"/>
                  <a:pt x="1418" y="979"/>
                </a:cubicBezTo>
                <a:cubicBezTo>
                  <a:pt x="1425" y="985"/>
                  <a:pt x="1425" y="985"/>
                  <a:pt x="1425" y="985"/>
                </a:cubicBezTo>
                <a:cubicBezTo>
                  <a:pt x="1435" y="989"/>
                  <a:pt x="1435" y="989"/>
                  <a:pt x="1435" y="989"/>
                </a:cubicBezTo>
                <a:cubicBezTo>
                  <a:pt x="1436" y="989"/>
                  <a:pt x="1436" y="989"/>
                  <a:pt x="1436" y="989"/>
                </a:cubicBezTo>
                <a:cubicBezTo>
                  <a:pt x="1440" y="986"/>
                  <a:pt x="1440" y="986"/>
                  <a:pt x="1440" y="986"/>
                </a:cubicBezTo>
                <a:cubicBezTo>
                  <a:pt x="1442" y="986"/>
                  <a:pt x="1442" y="986"/>
                  <a:pt x="1442" y="986"/>
                </a:cubicBezTo>
                <a:cubicBezTo>
                  <a:pt x="1443" y="985"/>
                  <a:pt x="1443" y="985"/>
                  <a:pt x="1443" y="985"/>
                </a:cubicBezTo>
                <a:cubicBezTo>
                  <a:pt x="1450" y="982"/>
                  <a:pt x="1450" y="982"/>
                  <a:pt x="1450" y="982"/>
                </a:cubicBezTo>
                <a:cubicBezTo>
                  <a:pt x="1450" y="981"/>
                  <a:pt x="1450" y="981"/>
                  <a:pt x="1450" y="981"/>
                </a:cubicBezTo>
                <a:cubicBezTo>
                  <a:pt x="1454" y="981"/>
                  <a:pt x="1454" y="981"/>
                  <a:pt x="1454" y="981"/>
                </a:cubicBezTo>
                <a:cubicBezTo>
                  <a:pt x="1467" y="981"/>
                  <a:pt x="1467" y="981"/>
                  <a:pt x="1467" y="981"/>
                </a:cubicBezTo>
                <a:cubicBezTo>
                  <a:pt x="1472" y="979"/>
                  <a:pt x="1472" y="979"/>
                  <a:pt x="1472" y="979"/>
                </a:cubicBezTo>
                <a:cubicBezTo>
                  <a:pt x="1477" y="981"/>
                  <a:pt x="1477" y="981"/>
                  <a:pt x="1477" y="981"/>
                </a:cubicBezTo>
                <a:cubicBezTo>
                  <a:pt x="1477" y="979"/>
                  <a:pt x="1477" y="979"/>
                  <a:pt x="1477" y="979"/>
                </a:cubicBezTo>
                <a:cubicBezTo>
                  <a:pt x="1479" y="978"/>
                  <a:pt x="1479" y="978"/>
                  <a:pt x="1479" y="978"/>
                </a:cubicBezTo>
                <a:cubicBezTo>
                  <a:pt x="1481" y="981"/>
                  <a:pt x="1481" y="981"/>
                  <a:pt x="1481" y="981"/>
                </a:cubicBezTo>
                <a:cubicBezTo>
                  <a:pt x="1481" y="982"/>
                  <a:pt x="1481" y="982"/>
                  <a:pt x="1481" y="982"/>
                </a:cubicBezTo>
                <a:cubicBezTo>
                  <a:pt x="1487" y="983"/>
                  <a:pt x="1487" y="983"/>
                  <a:pt x="1487" y="983"/>
                </a:cubicBezTo>
                <a:cubicBezTo>
                  <a:pt x="1491" y="985"/>
                  <a:pt x="1491" y="985"/>
                  <a:pt x="1491" y="985"/>
                </a:cubicBezTo>
                <a:cubicBezTo>
                  <a:pt x="1499" y="980"/>
                  <a:pt x="1499" y="980"/>
                  <a:pt x="1499" y="980"/>
                </a:cubicBezTo>
                <a:cubicBezTo>
                  <a:pt x="1505" y="980"/>
                  <a:pt x="1505" y="980"/>
                  <a:pt x="1505" y="980"/>
                </a:cubicBezTo>
                <a:cubicBezTo>
                  <a:pt x="1511" y="975"/>
                  <a:pt x="1511" y="975"/>
                  <a:pt x="1511" y="975"/>
                </a:cubicBezTo>
                <a:cubicBezTo>
                  <a:pt x="1516" y="973"/>
                  <a:pt x="1516" y="973"/>
                  <a:pt x="1516" y="973"/>
                </a:cubicBezTo>
                <a:cubicBezTo>
                  <a:pt x="1521" y="972"/>
                  <a:pt x="1521" y="972"/>
                  <a:pt x="1521" y="972"/>
                </a:cubicBezTo>
                <a:cubicBezTo>
                  <a:pt x="1522" y="972"/>
                  <a:pt x="1522" y="972"/>
                  <a:pt x="1522" y="972"/>
                </a:cubicBezTo>
                <a:cubicBezTo>
                  <a:pt x="1527" y="969"/>
                  <a:pt x="1527" y="969"/>
                  <a:pt x="1527" y="969"/>
                </a:cubicBezTo>
                <a:cubicBezTo>
                  <a:pt x="1528" y="969"/>
                  <a:pt x="1528" y="969"/>
                  <a:pt x="1528" y="969"/>
                </a:cubicBezTo>
                <a:cubicBezTo>
                  <a:pt x="1532" y="969"/>
                  <a:pt x="1532" y="969"/>
                  <a:pt x="1532" y="969"/>
                </a:cubicBezTo>
                <a:cubicBezTo>
                  <a:pt x="1539" y="967"/>
                  <a:pt x="1539" y="967"/>
                  <a:pt x="1539" y="967"/>
                </a:cubicBezTo>
                <a:cubicBezTo>
                  <a:pt x="1539" y="967"/>
                  <a:pt x="1539" y="967"/>
                  <a:pt x="1539" y="967"/>
                </a:cubicBezTo>
                <a:cubicBezTo>
                  <a:pt x="1543" y="968"/>
                  <a:pt x="1543" y="968"/>
                  <a:pt x="1543" y="968"/>
                </a:cubicBezTo>
                <a:cubicBezTo>
                  <a:pt x="1547" y="967"/>
                  <a:pt x="1547" y="967"/>
                  <a:pt x="1547" y="967"/>
                </a:cubicBezTo>
                <a:cubicBezTo>
                  <a:pt x="1554" y="971"/>
                  <a:pt x="1554" y="971"/>
                  <a:pt x="1554" y="971"/>
                </a:cubicBezTo>
                <a:cubicBezTo>
                  <a:pt x="1558" y="975"/>
                  <a:pt x="1558" y="975"/>
                  <a:pt x="1558" y="975"/>
                </a:cubicBezTo>
                <a:cubicBezTo>
                  <a:pt x="1561" y="980"/>
                  <a:pt x="1561" y="980"/>
                  <a:pt x="1561" y="980"/>
                </a:cubicBezTo>
                <a:cubicBezTo>
                  <a:pt x="1561" y="983"/>
                  <a:pt x="1561" y="983"/>
                  <a:pt x="1561" y="983"/>
                </a:cubicBezTo>
                <a:cubicBezTo>
                  <a:pt x="1562" y="983"/>
                  <a:pt x="1562" y="983"/>
                  <a:pt x="1562" y="983"/>
                </a:cubicBezTo>
                <a:cubicBezTo>
                  <a:pt x="1563" y="987"/>
                  <a:pt x="1563" y="987"/>
                  <a:pt x="1563" y="987"/>
                </a:cubicBezTo>
                <a:cubicBezTo>
                  <a:pt x="1566" y="989"/>
                  <a:pt x="1566" y="989"/>
                  <a:pt x="1566" y="989"/>
                </a:cubicBezTo>
                <a:cubicBezTo>
                  <a:pt x="1569" y="990"/>
                  <a:pt x="1569" y="990"/>
                  <a:pt x="1569" y="990"/>
                </a:cubicBezTo>
                <a:cubicBezTo>
                  <a:pt x="1579" y="990"/>
                  <a:pt x="1579" y="990"/>
                  <a:pt x="1579" y="990"/>
                </a:cubicBezTo>
                <a:cubicBezTo>
                  <a:pt x="1581" y="989"/>
                  <a:pt x="1581" y="989"/>
                  <a:pt x="1581" y="989"/>
                </a:cubicBezTo>
                <a:cubicBezTo>
                  <a:pt x="1583" y="989"/>
                  <a:pt x="1583" y="989"/>
                  <a:pt x="1583" y="989"/>
                </a:cubicBezTo>
                <a:cubicBezTo>
                  <a:pt x="1587" y="988"/>
                  <a:pt x="1587" y="988"/>
                  <a:pt x="1587" y="988"/>
                </a:cubicBezTo>
                <a:cubicBezTo>
                  <a:pt x="1589" y="988"/>
                  <a:pt x="1589" y="988"/>
                  <a:pt x="1589" y="988"/>
                </a:cubicBezTo>
                <a:cubicBezTo>
                  <a:pt x="1591" y="988"/>
                  <a:pt x="1591" y="988"/>
                  <a:pt x="1591" y="988"/>
                </a:cubicBezTo>
                <a:cubicBezTo>
                  <a:pt x="1592" y="985"/>
                  <a:pt x="1592" y="985"/>
                  <a:pt x="1592" y="985"/>
                </a:cubicBezTo>
                <a:cubicBezTo>
                  <a:pt x="1594" y="987"/>
                  <a:pt x="1594" y="987"/>
                  <a:pt x="1594" y="987"/>
                </a:cubicBezTo>
                <a:cubicBezTo>
                  <a:pt x="1595" y="986"/>
                  <a:pt x="1595" y="986"/>
                  <a:pt x="1595" y="986"/>
                </a:cubicBezTo>
                <a:cubicBezTo>
                  <a:pt x="1595" y="986"/>
                  <a:pt x="1595" y="986"/>
                  <a:pt x="1595" y="986"/>
                </a:cubicBezTo>
                <a:cubicBezTo>
                  <a:pt x="1596" y="987"/>
                  <a:pt x="1596" y="987"/>
                  <a:pt x="1596" y="987"/>
                </a:cubicBezTo>
                <a:cubicBezTo>
                  <a:pt x="1598" y="986"/>
                  <a:pt x="1598" y="986"/>
                  <a:pt x="1598" y="986"/>
                </a:cubicBezTo>
                <a:cubicBezTo>
                  <a:pt x="1599" y="992"/>
                  <a:pt x="1599" y="992"/>
                  <a:pt x="1599" y="992"/>
                </a:cubicBezTo>
                <a:cubicBezTo>
                  <a:pt x="1601" y="993"/>
                  <a:pt x="1601" y="993"/>
                  <a:pt x="1601" y="993"/>
                </a:cubicBezTo>
                <a:cubicBezTo>
                  <a:pt x="1602" y="994"/>
                  <a:pt x="1602" y="994"/>
                  <a:pt x="1602" y="994"/>
                </a:cubicBezTo>
                <a:cubicBezTo>
                  <a:pt x="1605" y="992"/>
                  <a:pt x="1605" y="992"/>
                  <a:pt x="1605" y="992"/>
                </a:cubicBezTo>
                <a:cubicBezTo>
                  <a:pt x="1606" y="995"/>
                  <a:pt x="1606" y="995"/>
                  <a:pt x="1606" y="995"/>
                </a:cubicBezTo>
                <a:cubicBezTo>
                  <a:pt x="1606" y="996"/>
                  <a:pt x="1606" y="996"/>
                  <a:pt x="1606" y="996"/>
                </a:cubicBezTo>
                <a:cubicBezTo>
                  <a:pt x="1606" y="999"/>
                  <a:pt x="1606" y="999"/>
                  <a:pt x="1606" y="999"/>
                </a:cubicBezTo>
                <a:cubicBezTo>
                  <a:pt x="1608" y="1002"/>
                  <a:pt x="1608" y="1002"/>
                  <a:pt x="1608" y="1002"/>
                </a:cubicBezTo>
                <a:cubicBezTo>
                  <a:pt x="1608" y="1005"/>
                  <a:pt x="1608" y="1005"/>
                  <a:pt x="1608" y="1005"/>
                </a:cubicBezTo>
                <a:cubicBezTo>
                  <a:pt x="1607" y="1009"/>
                  <a:pt x="1607" y="1009"/>
                  <a:pt x="1607" y="1009"/>
                </a:cubicBezTo>
                <a:cubicBezTo>
                  <a:pt x="1608" y="1010"/>
                  <a:pt x="1608" y="1010"/>
                  <a:pt x="1608" y="1010"/>
                </a:cubicBezTo>
                <a:cubicBezTo>
                  <a:pt x="1606" y="1012"/>
                  <a:pt x="1606" y="1012"/>
                  <a:pt x="1606" y="1012"/>
                </a:cubicBezTo>
                <a:cubicBezTo>
                  <a:pt x="1606" y="1012"/>
                  <a:pt x="1606" y="1012"/>
                  <a:pt x="1606" y="1012"/>
                </a:cubicBezTo>
                <a:cubicBezTo>
                  <a:pt x="1607" y="1014"/>
                  <a:pt x="1607" y="1014"/>
                  <a:pt x="1607" y="1014"/>
                </a:cubicBezTo>
                <a:cubicBezTo>
                  <a:pt x="1604" y="1018"/>
                  <a:pt x="1604" y="1018"/>
                  <a:pt x="1604" y="1018"/>
                </a:cubicBezTo>
                <a:cubicBezTo>
                  <a:pt x="1601" y="1023"/>
                  <a:pt x="1601" y="1023"/>
                  <a:pt x="1601" y="1023"/>
                </a:cubicBezTo>
                <a:cubicBezTo>
                  <a:pt x="1604" y="1024"/>
                  <a:pt x="1604" y="1024"/>
                  <a:pt x="1604" y="1024"/>
                </a:cubicBezTo>
                <a:cubicBezTo>
                  <a:pt x="1604" y="1025"/>
                  <a:pt x="1604" y="1025"/>
                  <a:pt x="1604" y="1025"/>
                </a:cubicBezTo>
                <a:cubicBezTo>
                  <a:pt x="1603" y="1027"/>
                  <a:pt x="1603" y="1027"/>
                  <a:pt x="1603" y="1027"/>
                </a:cubicBezTo>
                <a:cubicBezTo>
                  <a:pt x="1601" y="1027"/>
                  <a:pt x="1601" y="1027"/>
                  <a:pt x="1601" y="1027"/>
                </a:cubicBezTo>
                <a:cubicBezTo>
                  <a:pt x="1603" y="1030"/>
                  <a:pt x="1603" y="1030"/>
                  <a:pt x="1603" y="1030"/>
                </a:cubicBezTo>
                <a:cubicBezTo>
                  <a:pt x="1606" y="1031"/>
                  <a:pt x="1606" y="1031"/>
                  <a:pt x="1606" y="1031"/>
                </a:cubicBezTo>
                <a:cubicBezTo>
                  <a:pt x="1602" y="1032"/>
                  <a:pt x="1602" y="1032"/>
                  <a:pt x="1602" y="1032"/>
                </a:cubicBezTo>
                <a:cubicBezTo>
                  <a:pt x="1601" y="1031"/>
                  <a:pt x="1601" y="1031"/>
                  <a:pt x="1601" y="1031"/>
                </a:cubicBezTo>
                <a:cubicBezTo>
                  <a:pt x="1601" y="1034"/>
                  <a:pt x="1601" y="1034"/>
                  <a:pt x="1601" y="1034"/>
                </a:cubicBezTo>
                <a:cubicBezTo>
                  <a:pt x="1600" y="1040"/>
                  <a:pt x="1600" y="1040"/>
                  <a:pt x="1600" y="1040"/>
                </a:cubicBezTo>
                <a:cubicBezTo>
                  <a:pt x="1598" y="1041"/>
                  <a:pt x="1598" y="1041"/>
                  <a:pt x="1598" y="1041"/>
                </a:cubicBezTo>
                <a:cubicBezTo>
                  <a:pt x="1596" y="1040"/>
                  <a:pt x="1596" y="1040"/>
                  <a:pt x="1596" y="1040"/>
                </a:cubicBezTo>
                <a:cubicBezTo>
                  <a:pt x="1596" y="1041"/>
                  <a:pt x="1596" y="1041"/>
                  <a:pt x="1596" y="1041"/>
                </a:cubicBezTo>
                <a:cubicBezTo>
                  <a:pt x="1598" y="1046"/>
                  <a:pt x="1598" y="1046"/>
                  <a:pt x="1598" y="1046"/>
                </a:cubicBezTo>
                <a:cubicBezTo>
                  <a:pt x="1599" y="1047"/>
                  <a:pt x="1599" y="1047"/>
                  <a:pt x="1599" y="1047"/>
                </a:cubicBezTo>
                <a:cubicBezTo>
                  <a:pt x="1599" y="1048"/>
                  <a:pt x="1599" y="1048"/>
                  <a:pt x="1599" y="1048"/>
                </a:cubicBezTo>
                <a:cubicBezTo>
                  <a:pt x="1601" y="1051"/>
                  <a:pt x="1601" y="1051"/>
                  <a:pt x="1601" y="1051"/>
                </a:cubicBezTo>
                <a:cubicBezTo>
                  <a:pt x="1601" y="1054"/>
                  <a:pt x="1601" y="1054"/>
                  <a:pt x="1601" y="1054"/>
                </a:cubicBezTo>
                <a:cubicBezTo>
                  <a:pt x="1602" y="1055"/>
                  <a:pt x="1602" y="1055"/>
                  <a:pt x="1602" y="1055"/>
                </a:cubicBezTo>
                <a:cubicBezTo>
                  <a:pt x="1603" y="1058"/>
                  <a:pt x="1603" y="1058"/>
                  <a:pt x="1603" y="1058"/>
                </a:cubicBezTo>
                <a:cubicBezTo>
                  <a:pt x="1606" y="1060"/>
                  <a:pt x="1606" y="1060"/>
                  <a:pt x="1606" y="1060"/>
                </a:cubicBezTo>
                <a:cubicBezTo>
                  <a:pt x="1605" y="1060"/>
                  <a:pt x="1605" y="1060"/>
                  <a:pt x="1605" y="1060"/>
                </a:cubicBezTo>
                <a:cubicBezTo>
                  <a:pt x="1608" y="1063"/>
                  <a:pt x="1608" y="1063"/>
                  <a:pt x="1608" y="1063"/>
                </a:cubicBezTo>
                <a:cubicBezTo>
                  <a:pt x="1612" y="1067"/>
                  <a:pt x="1612" y="1067"/>
                  <a:pt x="1612" y="1067"/>
                </a:cubicBezTo>
                <a:cubicBezTo>
                  <a:pt x="1613" y="1069"/>
                  <a:pt x="1613" y="1069"/>
                  <a:pt x="1613" y="1069"/>
                </a:cubicBezTo>
                <a:cubicBezTo>
                  <a:pt x="1617" y="1071"/>
                  <a:pt x="1617" y="1071"/>
                  <a:pt x="1617" y="1071"/>
                </a:cubicBezTo>
                <a:cubicBezTo>
                  <a:pt x="1617" y="1073"/>
                  <a:pt x="1617" y="1073"/>
                  <a:pt x="1617" y="1073"/>
                </a:cubicBezTo>
                <a:cubicBezTo>
                  <a:pt x="1619" y="1073"/>
                  <a:pt x="1619" y="1073"/>
                  <a:pt x="1619" y="1073"/>
                </a:cubicBezTo>
                <a:cubicBezTo>
                  <a:pt x="1620" y="1074"/>
                  <a:pt x="1620" y="1074"/>
                  <a:pt x="1620" y="1074"/>
                </a:cubicBezTo>
                <a:cubicBezTo>
                  <a:pt x="1622" y="1076"/>
                  <a:pt x="1622" y="1076"/>
                  <a:pt x="1622" y="1076"/>
                </a:cubicBezTo>
                <a:cubicBezTo>
                  <a:pt x="1622" y="1077"/>
                  <a:pt x="1622" y="1077"/>
                  <a:pt x="1622" y="1077"/>
                </a:cubicBezTo>
                <a:cubicBezTo>
                  <a:pt x="1625" y="1079"/>
                  <a:pt x="1625" y="1079"/>
                  <a:pt x="1625" y="1079"/>
                </a:cubicBezTo>
                <a:cubicBezTo>
                  <a:pt x="1625" y="1081"/>
                  <a:pt x="1625" y="1081"/>
                  <a:pt x="1625" y="1081"/>
                </a:cubicBezTo>
                <a:cubicBezTo>
                  <a:pt x="1627" y="1083"/>
                  <a:pt x="1627" y="1083"/>
                  <a:pt x="1627" y="1083"/>
                </a:cubicBezTo>
                <a:cubicBezTo>
                  <a:pt x="1627" y="1084"/>
                  <a:pt x="1627" y="1084"/>
                  <a:pt x="1627" y="1084"/>
                </a:cubicBezTo>
                <a:cubicBezTo>
                  <a:pt x="1628" y="1086"/>
                  <a:pt x="1628" y="1086"/>
                  <a:pt x="1628" y="1086"/>
                </a:cubicBezTo>
                <a:cubicBezTo>
                  <a:pt x="1629" y="1087"/>
                  <a:pt x="1629" y="1087"/>
                  <a:pt x="1629" y="1087"/>
                </a:cubicBezTo>
                <a:cubicBezTo>
                  <a:pt x="1630" y="1090"/>
                  <a:pt x="1630" y="1090"/>
                  <a:pt x="1630" y="1090"/>
                </a:cubicBezTo>
                <a:cubicBezTo>
                  <a:pt x="1629" y="1092"/>
                  <a:pt x="1629" y="1092"/>
                  <a:pt x="1629" y="1092"/>
                </a:cubicBezTo>
                <a:cubicBezTo>
                  <a:pt x="1629" y="1093"/>
                  <a:pt x="1629" y="1093"/>
                  <a:pt x="1629" y="1093"/>
                </a:cubicBezTo>
                <a:cubicBezTo>
                  <a:pt x="1630" y="1095"/>
                  <a:pt x="1630" y="1095"/>
                  <a:pt x="1630" y="1095"/>
                </a:cubicBezTo>
                <a:cubicBezTo>
                  <a:pt x="1633" y="1095"/>
                  <a:pt x="1633" y="1095"/>
                  <a:pt x="1633" y="1095"/>
                </a:cubicBezTo>
                <a:cubicBezTo>
                  <a:pt x="1634" y="1096"/>
                  <a:pt x="1634" y="1096"/>
                  <a:pt x="1634" y="1096"/>
                </a:cubicBezTo>
                <a:cubicBezTo>
                  <a:pt x="1631" y="1097"/>
                  <a:pt x="1631" y="1097"/>
                  <a:pt x="1631" y="1097"/>
                </a:cubicBezTo>
                <a:cubicBezTo>
                  <a:pt x="1632" y="1098"/>
                  <a:pt x="1632" y="1098"/>
                  <a:pt x="1632" y="1098"/>
                </a:cubicBezTo>
                <a:cubicBezTo>
                  <a:pt x="1632" y="1100"/>
                  <a:pt x="1632" y="1100"/>
                  <a:pt x="1632" y="1100"/>
                </a:cubicBezTo>
                <a:cubicBezTo>
                  <a:pt x="1638" y="1106"/>
                  <a:pt x="1638" y="1106"/>
                  <a:pt x="1638" y="1106"/>
                </a:cubicBezTo>
                <a:cubicBezTo>
                  <a:pt x="1638" y="1114"/>
                  <a:pt x="1638" y="1114"/>
                  <a:pt x="1638" y="1114"/>
                </a:cubicBezTo>
                <a:cubicBezTo>
                  <a:pt x="1641" y="1118"/>
                  <a:pt x="1641" y="1118"/>
                  <a:pt x="1641" y="1118"/>
                </a:cubicBezTo>
                <a:cubicBezTo>
                  <a:pt x="1641" y="1122"/>
                  <a:pt x="1641" y="1122"/>
                  <a:pt x="1641" y="1122"/>
                </a:cubicBezTo>
                <a:cubicBezTo>
                  <a:pt x="1637" y="1126"/>
                  <a:pt x="1637" y="1126"/>
                  <a:pt x="1637" y="1126"/>
                </a:cubicBezTo>
                <a:cubicBezTo>
                  <a:pt x="1639" y="1127"/>
                  <a:pt x="1639" y="1127"/>
                  <a:pt x="1639" y="1127"/>
                </a:cubicBezTo>
                <a:cubicBezTo>
                  <a:pt x="1639" y="1131"/>
                  <a:pt x="1639" y="1131"/>
                  <a:pt x="1639" y="1131"/>
                </a:cubicBezTo>
                <a:cubicBezTo>
                  <a:pt x="1641" y="1133"/>
                  <a:pt x="1641" y="1133"/>
                  <a:pt x="1641" y="1133"/>
                </a:cubicBezTo>
                <a:cubicBezTo>
                  <a:pt x="1641" y="1136"/>
                  <a:pt x="1641" y="1136"/>
                  <a:pt x="1641" y="1136"/>
                </a:cubicBezTo>
                <a:cubicBezTo>
                  <a:pt x="1645" y="1142"/>
                  <a:pt x="1645" y="1142"/>
                  <a:pt x="1645" y="1142"/>
                </a:cubicBezTo>
                <a:cubicBezTo>
                  <a:pt x="1644" y="1144"/>
                  <a:pt x="1644" y="1144"/>
                  <a:pt x="1644" y="1144"/>
                </a:cubicBezTo>
                <a:cubicBezTo>
                  <a:pt x="1646" y="1146"/>
                  <a:pt x="1646" y="1146"/>
                  <a:pt x="1646" y="1146"/>
                </a:cubicBezTo>
                <a:cubicBezTo>
                  <a:pt x="1646" y="1154"/>
                  <a:pt x="1646" y="1154"/>
                  <a:pt x="1646" y="1154"/>
                </a:cubicBezTo>
                <a:cubicBezTo>
                  <a:pt x="1642" y="1162"/>
                  <a:pt x="1642" y="1162"/>
                  <a:pt x="1642" y="1162"/>
                </a:cubicBezTo>
                <a:cubicBezTo>
                  <a:pt x="1640" y="1162"/>
                  <a:pt x="1640" y="1162"/>
                  <a:pt x="1640" y="1162"/>
                </a:cubicBezTo>
                <a:cubicBezTo>
                  <a:pt x="1636" y="1165"/>
                  <a:pt x="1636" y="1165"/>
                  <a:pt x="1636" y="1165"/>
                </a:cubicBezTo>
                <a:cubicBezTo>
                  <a:pt x="1636" y="1168"/>
                  <a:pt x="1636" y="1168"/>
                  <a:pt x="1636" y="1168"/>
                </a:cubicBezTo>
                <a:cubicBezTo>
                  <a:pt x="1630" y="1173"/>
                  <a:pt x="1630" y="1173"/>
                  <a:pt x="1630" y="1173"/>
                </a:cubicBezTo>
                <a:cubicBezTo>
                  <a:pt x="1630" y="1176"/>
                  <a:pt x="1630" y="1176"/>
                  <a:pt x="1630" y="1176"/>
                </a:cubicBezTo>
                <a:cubicBezTo>
                  <a:pt x="1629" y="1177"/>
                  <a:pt x="1629" y="1177"/>
                  <a:pt x="1629" y="1177"/>
                </a:cubicBezTo>
                <a:cubicBezTo>
                  <a:pt x="1629" y="1185"/>
                  <a:pt x="1629" y="1185"/>
                  <a:pt x="1629" y="1185"/>
                </a:cubicBezTo>
                <a:cubicBezTo>
                  <a:pt x="1627" y="1188"/>
                  <a:pt x="1627" y="1188"/>
                  <a:pt x="1627" y="1188"/>
                </a:cubicBezTo>
                <a:cubicBezTo>
                  <a:pt x="1626" y="1192"/>
                  <a:pt x="1626" y="1192"/>
                  <a:pt x="1626" y="1192"/>
                </a:cubicBezTo>
                <a:cubicBezTo>
                  <a:pt x="1623" y="1195"/>
                  <a:pt x="1623" y="1195"/>
                  <a:pt x="1623" y="1195"/>
                </a:cubicBezTo>
                <a:cubicBezTo>
                  <a:pt x="1623" y="1199"/>
                  <a:pt x="1623" y="1199"/>
                  <a:pt x="1623" y="1199"/>
                </a:cubicBezTo>
                <a:cubicBezTo>
                  <a:pt x="1623" y="1202"/>
                  <a:pt x="1623" y="1202"/>
                  <a:pt x="1623" y="1202"/>
                </a:cubicBezTo>
                <a:cubicBezTo>
                  <a:pt x="1623" y="1207"/>
                  <a:pt x="1623" y="1207"/>
                  <a:pt x="1623" y="1207"/>
                </a:cubicBezTo>
                <a:cubicBezTo>
                  <a:pt x="1623" y="1210"/>
                  <a:pt x="1623" y="1210"/>
                  <a:pt x="1623" y="1210"/>
                </a:cubicBezTo>
                <a:cubicBezTo>
                  <a:pt x="1623" y="1211"/>
                  <a:pt x="1623" y="1211"/>
                  <a:pt x="1623" y="1211"/>
                </a:cubicBezTo>
                <a:cubicBezTo>
                  <a:pt x="1623" y="1220"/>
                  <a:pt x="1623" y="1220"/>
                  <a:pt x="1623" y="1220"/>
                </a:cubicBezTo>
                <a:cubicBezTo>
                  <a:pt x="1629" y="1226"/>
                  <a:pt x="1629" y="1226"/>
                  <a:pt x="1629" y="1226"/>
                </a:cubicBezTo>
                <a:cubicBezTo>
                  <a:pt x="1633" y="1232"/>
                  <a:pt x="1633" y="1232"/>
                  <a:pt x="1633" y="1232"/>
                </a:cubicBezTo>
                <a:cubicBezTo>
                  <a:pt x="1638" y="1243"/>
                  <a:pt x="1638" y="1243"/>
                  <a:pt x="1638" y="1243"/>
                </a:cubicBezTo>
                <a:cubicBezTo>
                  <a:pt x="1638" y="1248"/>
                  <a:pt x="1638" y="1248"/>
                  <a:pt x="1638" y="1248"/>
                </a:cubicBezTo>
                <a:cubicBezTo>
                  <a:pt x="1643" y="1255"/>
                  <a:pt x="1643" y="1255"/>
                  <a:pt x="1643" y="1255"/>
                </a:cubicBezTo>
                <a:cubicBezTo>
                  <a:pt x="1643" y="1258"/>
                  <a:pt x="1643" y="1258"/>
                  <a:pt x="1643" y="1258"/>
                </a:cubicBezTo>
                <a:cubicBezTo>
                  <a:pt x="1649" y="1265"/>
                  <a:pt x="1649" y="1265"/>
                  <a:pt x="1649" y="1265"/>
                </a:cubicBezTo>
                <a:cubicBezTo>
                  <a:pt x="1649" y="1269"/>
                  <a:pt x="1649" y="1269"/>
                  <a:pt x="1649" y="1269"/>
                </a:cubicBezTo>
                <a:cubicBezTo>
                  <a:pt x="1647" y="1270"/>
                  <a:pt x="1647" y="1270"/>
                  <a:pt x="1647" y="1270"/>
                </a:cubicBezTo>
                <a:cubicBezTo>
                  <a:pt x="1649" y="1275"/>
                  <a:pt x="1649" y="1275"/>
                  <a:pt x="1649" y="1275"/>
                </a:cubicBezTo>
                <a:cubicBezTo>
                  <a:pt x="1649" y="1283"/>
                  <a:pt x="1649" y="1283"/>
                  <a:pt x="1649" y="1283"/>
                </a:cubicBezTo>
                <a:cubicBezTo>
                  <a:pt x="1652" y="1291"/>
                  <a:pt x="1652" y="1291"/>
                  <a:pt x="1652" y="1291"/>
                </a:cubicBezTo>
                <a:cubicBezTo>
                  <a:pt x="1652" y="1295"/>
                  <a:pt x="1652" y="1295"/>
                  <a:pt x="1652" y="1295"/>
                </a:cubicBezTo>
                <a:cubicBezTo>
                  <a:pt x="1653" y="1298"/>
                  <a:pt x="1653" y="1298"/>
                  <a:pt x="1653" y="1298"/>
                </a:cubicBezTo>
                <a:cubicBezTo>
                  <a:pt x="1651" y="1299"/>
                  <a:pt x="1651" y="1299"/>
                  <a:pt x="1651" y="1299"/>
                </a:cubicBezTo>
                <a:cubicBezTo>
                  <a:pt x="1653" y="1301"/>
                  <a:pt x="1653" y="1301"/>
                  <a:pt x="1653" y="1301"/>
                </a:cubicBezTo>
                <a:cubicBezTo>
                  <a:pt x="1653" y="1306"/>
                  <a:pt x="1653" y="1306"/>
                  <a:pt x="1653" y="1306"/>
                </a:cubicBezTo>
                <a:cubicBezTo>
                  <a:pt x="1655" y="1307"/>
                  <a:pt x="1655" y="1307"/>
                  <a:pt x="1655" y="1307"/>
                </a:cubicBezTo>
                <a:cubicBezTo>
                  <a:pt x="1656" y="1308"/>
                  <a:pt x="1656" y="1308"/>
                  <a:pt x="1656" y="1308"/>
                </a:cubicBezTo>
                <a:cubicBezTo>
                  <a:pt x="1654" y="1309"/>
                  <a:pt x="1654" y="1309"/>
                  <a:pt x="1654" y="1309"/>
                </a:cubicBezTo>
                <a:cubicBezTo>
                  <a:pt x="1654" y="1311"/>
                  <a:pt x="1654" y="1311"/>
                  <a:pt x="1654" y="1311"/>
                </a:cubicBezTo>
                <a:cubicBezTo>
                  <a:pt x="1656" y="1313"/>
                  <a:pt x="1656" y="1313"/>
                  <a:pt x="1656" y="1313"/>
                </a:cubicBezTo>
                <a:cubicBezTo>
                  <a:pt x="1656" y="1317"/>
                  <a:pt x="1656" y="1317"/>
                  <a:pt x="1656" y="1317"/>
                </a:cubicBezTo>
                <a:cubicBezTo>
                  <a:pt x="1658" y="1320"/>
                  <a:pt x="1658" y="1320"/>
                  <a:pt x="1658" y="1320"/>
                </a:cubicBezTo>
                <a:cubicBezTo>
                  <a:pt x="1661" y="1324"/>
                  <a:pt x="1661" y="1324"/>
                  <a:pt x="1661" y="1324"/>
                </a:cubicBezTo>
                <a:cubicBezTo>
                  <a:pt x="1663" y="1327"/>
                  <a:pt x="1663" y="1327"/>
                  <a:pt x="1663" y="1327"/>
                </a:cubicBezTo>
                <a:cubicBezTo>
                  <a:pt x="1664" y="1328"/>
                  <a:pt x="1664" y="1328"/>
                  <a:pt x="1664" y="1328"/>
                </a:cubicBezTo>
                <a:cubicBezTo>
                  <a:pt x="1667" y="1331"/>
                  <a:pt x="1667" y="1331"/>
                  <a:pt x="1667" y="1331"/>
                </a:cubicBezTo>
                <a:cubicBezTo>
                  <a:pt x="1667" y="1331"/>
                  <a:pt x="1667" y="1331"/>
                  <a:pt x="1667" y="1331"/>
                </a:cubicBezTo>
                <a:cubicBezTo>
                  <a:pt x="1668" y="1334"/>
                  <a:pt x="1668" y="1334"/>
                  <a:pt x="1668" y="1334"/>
                </a:cubicBezTo>
                <a:cubicBezTo>
                  <a:pt x="1671" y="1336"/>
                  <a:pt x="1671" y="1336"/>
                  <a:pt x="1671" y="1336"/>
                </a:cubicBezTo>
                <a:cubicBezTo>
                  <a:pt x="1673" y="1343"/>
                  <a:pt x="1673" y="1343"/>
                  <a:pt x="1673" y="1343"/>
                </a:cubicBezTo>
                <a:cubicBezTo>
                  <a:pt x="1673" y="1345"/>
                  <a:pt x="1673" y="1345"/>
                  <a:pt x="1673" y="1345"/>
                </a:cubicBezTo>
                <a:cubicBezTo>
                  <a:pt x="1675" y="1351"/>
                  <a:pt x="1675" y="1351"/>
                  <a:pt x="1675" y="1351"/>
                </a:cubicBezTo>
                <a:cubicBezTo>
                  <a:pt x="1676" y="1357"/>
                  <a:pt x="1676" y="1357"/>
                  <a:pt x="1676" y="1357"/>
                </a:cubicBezTo>
                <a:cubicBezTo>
                  <a:pt x="1679" y="1361"/>
                  <a:pt x="1679" y="1361"/>
                  <a:pt x="1679" y="1361"/>
                </a:cubicBezTo>
                <a:cubicBezTo>
                  <a:pt x="1679" y="1363"/>
                  <a:pt x="1679" y="1363"/>
                  <a:pt x="1679" y="1363"/>
                </a:cubicBezTo>
                <a:cubicBezTo>
                  <a:pt x="1682" y="1368"/>
                  <a:pt x="1682" y="1368"/>
                  <a:pt x="1682" y="1368"/>
                </a:cubicBezTo>
                <a:cubicBezTo>
                  <a:pt x="1682" y="1369"/>
                  <a:pt x="1682" y="1369"/>
                  <a:pt x="1682" y="1369"/>
                </a:cubicBezTo>
                <a:cubicBezTo>
                  <a:pt x="1683" y="1373"/>
                  <a:pt x="1683" y="1373"/>
                  <a:pt x="1683" y="1373"/>
                </a:cubicBezTo>
                <a:cubicBezTo>
                  <a:pt x="1683" y="1376"/>
                  <a:pt x="1683" y="1376"/>
                  <a:pt x="1683" y="1376"/>
                </a:cubicBezTo>
                <a:cubicBezTo>
                  <a:pt x="1681" y="1377"/>
                  <a:pt x="1681" y="1377"/>
                  <a:pt x="1681" y="1377"/>
                </a:cubicBezTo>
                <a:cubicBezTo>
                  <a:pt x="1680" y="1377"/>
                  <a:pt x="1680" y="1377"/>
                  <a:pt x="1680" y="1377"/>
                </a:cubicBezTo>
                <a:cubicBezTo>
                  <a:pt x="1679" y="1376"/>
                  <a:pt x="1679" y="1376"/>
                  <a:pt x="1679" y="1376"/>
                </a:cubicBezTo>
                <a:cubicBezTo>
                  <a:pt x="1678" y="1377"/>
                  <a:pt x="1678" y="1377"/>
                  <a:pt x="1678" y="1377"/>
                </a:cubicBezTo>
                <a:cubicBezTo>
                  <a:pt x="1678" y="1380"/>
                  <a:pt x="1678" y="1380"/>
                  <a:pt x="1678" y="1380"/>
                </a:cubicBezTo>
                <a:cubicBezTo>
                  <a:pt x="1680" y="1382"/>
                  <a:pt x="1680" y="1382"/>
                  <a:pt x="1680" y="1382"/>
                </a:cubicBezTo>
                <a:cubicBezTo>
                  <a:pt x="1682" y="1384"/>
                  <a:pt x="1682" y="1384"/>
                  <a:pt x="1682" y="1384"/>
                </a:cubicBezTo>
                <a:cubicBezTo>
                  <a:pt x="1683" y="1387"/>
                  <a:pt x="1683" y="1387"/>
                  <a:pt x="1683" y="1387"/>
                </a:cubicBezTo>
                <a:cubicBezTo>
                  <a:pt x="1682" y="1389"/>
                  <a:pt x="1682" y="1389"/>
                  <a:pt x="1682" y="1389"/>
                </a:cubicBezTo>
                <a:cubicBezTo>
                  <a:pt x="1683" y="1392"/>
                  <a:pt x="1683" y="1392"/>
                  <a:pt x="1683" y="1392"/>
                </a:cubicBezTo>
                <a:cubicBezTo>
                  <a:pt x="1682" y="1394"/>
                  <a:pt x="1682" y="1394"/>
                  <a:pt x="1682" y="1394"/>
                </a:cubicBezTo>
                <a:cubicBezTo>
                  <a:pt x="1682" y="1396"/>
                  <a:pt x="1682" y="1396"/>
                  <a:pt x="1682" y="1396"/>
                </a:cubicBezTo>
                <a:cubicBezTo>
                  <a:pt x="1683" y="1397"/>
                  <a:pt x="1683" y="1397"/>
                  <a:pt x="1683" y="1397"/>
                </a:cubicBezTo>
                <a:cubicBezTo>
                  <a:pt x="1683" y="1395"/>
                  <a:pt x="1683" y="1395"/>
                  <a:pt x="1683" y="1395"/>
                </a:cubicBezTo>
                <a:cubicBezTo>
                  <a:pt x="1685" y="1393"/>
                  <a:pt x="1685" y="1393"/>
                  <a:pt x="1685" y="1393"/>
                </a:cubicBezTo>
                <a:cubicBezTo>
                  <a:pt x="1687" y="1394"/>
                  <a:pt x="1687" y="1394"/>
                  <a:pt x="1687" y="1394"/>
                </a:cubicBezTo>
                <a:cubicBezTo>
                  <a:pt x="1688" y="1396"/>
                  <a:pt x="1688" y="1396"/>
                  <a:pt x="1688" y="1396"/>
                </a:cubicBezTo>
                <a:cubicBezTo>
                  <a:pt x="1687" y="1396"/>
                  <a:pt x="1687" y="1396"/>
                  <a:pt x="1687" y="1396"/>
                </a:cubicBezTo>
                <a:cubicBezTo>
                  <a:pt x="1688" y="1397"/>
                  <a:pt x="1688" y="1397"/>
                  <a:pt x="1688" y="1397"/>
                </a:cubicBezTo>
                <a:cubicBezTo>
                  <a:pt x="1689" y="1396"/>
                  <a:pt x="1689" y="1396"/>
                  <a:pt x="1689" y="1396"/>
                </a:cubicBezTo>
                <a:cubicBezTo>
                  <a:pt x="1691" y="1397"/>
                  <a:pt x="1691" y="1397"/>
                  <a:pt x="1691" y="1397"/>
                </a:cubicBezTo>
                <a:cubicBezTo>
                  <a:pt x="1691" y="1400"/>
                  <a:pt x="1691" y="1400"/>
                  <a:pt x="1691" y="1400"/>
                </a:cubicBezTo>
                <a:cubicBezTo>
                  <a:pt x="1692" y="1399"/>
                  <a:pt x="1692" y="1399"/>
                  <a:pt x="1692" y="1399"/>
                </a:cubicBezTo>
                <a:cubicBezTo>
                  <a:pt x="1697" y="1401"/>
                  <a:pt x="1697" y="1401"/>
                  <a:pt x="1697" y="1401"/>
                </a:cubicBezTo>
                <a:cubicBezTo>
                  <a:pt x="1698" y="1401"/>
                  <a:pt x="1698" y="1401"/>
                  <a:pt x="1698" y="1401"/>
                </a:cubicBezTo>
                <a:cubicBezTo>
                  <a:pt x="1699" y="1401"/>
                  <a:pt x="1699" y="1401"/>
                  <a:pt x="1699" y="1401"/>
                </a:cubicBezTo>
                <a:cubicBezTo>
                  <a:pt x="1700" y="1400"/>
                  <a:pt x="1700" y="1400"/>
                  <a:pt x="1700" y="1400"/>
                </a:cubicBezTo>
                <a:cubicBezTo>
                  <a:pt x="1702" y="1399"/>
                  <a:pt x="1702" y="1399"/>
                  <a:pt x="1702" y="1399"/>
                </a:cubicBezTo>
                <a:cubicBezTo>
                  <a:pt x="1704" y="1397"/>
                  <a:pt x="1704" y="1397"/>
                  <a:pt x="1704" y="1397"/>
                </a:cubicBezTo>
                <a:cubicBezTo>
                  <a:pt x="1706" y="1397"/>
                  <a:pt x="1706" y="1397"/>
                  <a:pt x="1706" y="1397"/>
                </a:cubicBezTo>
                <a:cubicBezTo>
                  <a:pt x="1707" y="1397"/>
                  <a:pt x="1707" y="1397"/>
                  <a:pt x="1707" y="1397"/>
                </a:cubicBezTo>
                <a:cubicBezTo>
                  <a:pt x="1709" y="1397"/>
                  <a:pt x="1709" y="1397"/>
                  <a:pt x="1709" y="1397"/>
                </a:cubicBezTo>
                <a:cubicBezTo>
                  <a:pt x="1712" y="1398"/>
                  <a:pt x="1712" y="1398"/>
                  <a:pt x="1712" y="1398"/>
                </a:cubicBezTo>
                <a:cubicBezTo>
                  <a:pt x="1714" y="1397"/>
                  <a:pt x="1714" y="1397"/>
                  <a:pt x="1714" y="1397"/>
                </a:cubicBezTo>
                <a:cubicBezTo>
                  <a:pt x="1716" y="1397"/>
                  <a:pt x="1716" y="1397"/>
                  <a:pt x="1716" y="1397"/>
                </a:cubicBezTo>
                <a:cubicBezTo>
                  <a:pt x="1717" y="1396"/>
                  <a:pt x="1717" y="1396"/>
                  <a:pt x="1717" y="1396"/>
                </a:cubicBezTo>
                <a:cubicBezTo>
                  <a:pt x="1718" y="1395"/>
                  <a:pt x="1718" y="1395"/>
                  <a:pt x="1718" y="1395"/>
                </a:cubicBezTo>
                <a:cubicBezTo>
                  <a:pt x="1719" y="1395"/>
                  <a:pt x="1719" y="1395"/>
                  <a:pt x="1719" y="1395"/>
                </a:cubicBezTo>
                <a:cubicBezTo>
                  <a:pt x="1720" y="1395"/>
                  <a:pt x="1720" y="1395"/>
                  <a:pt x="1720" y="1395"/>
                </a:cubicBezTo>
                <a:cubicBezTo>
                  <a:pt x="1721" y="1394"/>
                  <a:pt x="1721" y="1394"/>
                  <a:pt x="1721" y="1394"/>
                </a:cubicBezTo>
                <a:cubicBezTo>
                  <a:pt x="1723" y="1393"/>
                  <a:pt x="1723" y="1393"/>
                  <a:pt x="1723" y="1393"/>
                </a:cubicBezTo>
                <a:cubicBezTo>
                  <a:pt x="1728" y="1393"/>
                  <a:pt x="1728" y="1393"/>
                  <a:pt x="1728" y="1393"/>
                </a:cubicBezTo>
                <a:cubicBezTo>
                  <a:pt x="1730" y="1394"/>
                  <a:pt x="1730" y="1394"/>
                  <a:pt x="1730" y="1394"/>
                </a:cubicBezTo>
                <a:cubicBezTo>
                  <a:pt x="1732" y="1394"/>
                  <a:pt x="1732" y="1394"/>
                  <a:pt x="1732" y="1394"/>
                </a:cubicBezTo>
                <a:cubicBezTo>
                  <a:pt x="1732" y="1393"/>
                  <a:pt x="1732" y="1393"/>
                  <a:pt x="1732" y="1393"/>
                </a:cubicBezTo>
                <a:cubicBezTo>
                  <a:pt x="1735" y="1392"/>
                  <a:pt x="1735" y="1392"/>
                  <a:pt x="1735" y="1392"/>
                </a:cubicBezTo>
                <a:cubicBezTo>
                  <a:pt x="1740" y="1393"/>
                  <a:pt x="1740" y="1393"/>
                  <a:pt x="1740" y="1393"/>
                </a:cubicBezTo>
                <a:cubicBezTo>
                  <a:pt x="1741" y="1394"/>
                  <a:pt x="1741" y="1394"/>
                  <a:pt x="1741" y="1394"/>
                </a:cubicBezTo>
                <a:cubicBezTo>
                  <a:pt x="1746" y="1395"/>
                  <a:pt x="1746" y="1395"/>
                  <a:pt x="1746" y="1395"/>
                </a:cubicBezTo>
                <a:cubicBezTo>
                  <a:pt x="1747" y="1395"/>
                  <a:pt x="1747" y="1395"/>
                  <a:pt x="1747" y="1395"/>
                </a:cubicBezTo>
                <a:cubicBezTo>
                  <a:pt x="1746" y="1394"/>
                  <a:pt x="1746" y="1394"/>
                  <a:pt x="1746" y="1394"/>
                </a:cubicBezTo>
                <a:cubicBezTo>
                  <a:pt x="1747" y="1392"/>
                  <a:pt x="1747" y="1392"/>
                  <a:pt x="1747" y="1392"/>
                </a:cubicBezTo>
                <a:cubicBezTo>
                  <a:pt x="1749" y="1392"/>
                  <a:pt x="1749" y="1392"/>
                  <a:pt x="1749" y="1392"/>
                </a:cubicBezTo>
                <a:cubicBezTo>
                  <a:pt x="1751" y="1393"/>
                  <a:pt x="1751" y="1393"/>
                  <a:pt x="1751" y="1393"/>
                </a:cubicBezTo>
                <a:cubicBezTo>
                  <a:pt x="1755" y="1393"/>
                  <a:pt x="1755" y="1393"/>
                  <a:pt x="1755" y="1393"/>
                </a:cubicBezTo>
                <a:cubicBezTo>
                  <a:pt x="1755" y="1393"/>
                  <a:pt x="1755" y="1393"/>
                  <a:pt x="1755" y="1393"/>
                </a:cubicBezTo>
                <a:cubicBezTo>
                  <a:pt x="1753" y="1391"/>
                  <a:pt x="1753" y="1391"/>
                  <a:pt x="1753" y="1391"/>
                </a:cubicBezTo>
                <a:cubicBezTo>
                  <a:pt x="1754" y="1390"/>
                  <a:pt x="1754" y="1390"/>
                  <a:pt x="1754" y="1390"/>
                </a:cubicBezTo>
                <a:cubicBezTo>
                  <a:pt x="1757" y="1389"/>
                  <a:pt x="1757" y="1389"/>
                  <a:pt x="1757" y="1389"/>
                </a:cubicBezTo>
                <a:cubicBezTo>
                  <a:pt x="1760" y="1389"/>
                  <a:pt x="1760" y="1389"/>
                  <a:pt x="1760" y="1389"/>
                </a:cubicBezTo>
                <a:cubicBezTo>
                  <a:pt x="1761" y="1390"/>
                  <a:pt x="1761" y="1390"/>
                  <a:pt x="1761" y="1390"/>
                </a:cubicBezTo>
                <a:cubicBezTo>
                  <a:pt x="1763" y="1389"/>
                  <a:pt x="1763" y="1389"/>
                  <a:pt x="1763" y="1389"/>
                </a:cubicBezTo>
                <a:cubicBezTo>
                  <a:pt x="1766" y="1388"/>
                  <a:pt x="1766" y="1388"/>
                  <a:pt x="1766" y="1388"/>
                </a:cubicBezTo>
                <a:cubicBezTo>
                  <a:pt x="1769" y="1387"/>
                  <a:pt x="1769" y="1387"/>
                  <a:pt x="1769" y="1387"/>
                </a:cubicBezTo>
                <a:cubicBezTo>
                  <a:pt x="1769" y="1386"/>
                  <a:pt x="1769" y="1386"/>
                  <a:pt x="1769" y="1386"/>
                </a:cubicBezTo>
                <a:cubicBezTo>
                  <a:pt x="1772" y="1386"/>
                  <a:pt x="1772" y="1386"/>
                  <a:pt x="1772" y="1386"/>
                </a:cubicBezTo>
                <a:cubicBezTo>
                  <a:pt x="1773" y="1384"/>
                  <a:pt x="1773" y="1384"/>
                  <a:pt x="1773" y="1384"/>
                </a:cubicBezTo>
                <a:cubicBezTo>
                  <a:pt x="1780" y="1380"/>
                  <a:pt x="1780" y="1380"/>
                  <a:pt x="1780" y="1380"/>
                </a:cubicBezTo>
                <a:cubicBezTo>
                  <a:pt x="1782" y="1378"/>
                  <a:pt x="1782" y="1378"/>
                  <a:pt x="1782" y="1378"/>
                </a:cubicBezTo>
                <a:cubicBezTo>
                  <a:pt x="1782" y="1377"/>
                  <a:pt x="1782" y="1377"/>
                  <a:pt x="1782" y="1377"/>
                </a:cubicBezTo>
                <a:cubicBezTo>
                  <a:pt x="1783" y="1377"/>
                  <a:pt x="1783" y="1377"/>
                  <a:pt x="1783" y="1377"/>
                </a:cubicBezTo>
                <a:cubicBezTo>
                  <a:pt x="1794" y="1366"/>
                  <a:pt x="1794" y="1366"/>
                  <a:pt x="1794" y="1366"/>
                </a:cubicBezTo>
                <a:cubicBezTo>
                  <a:pt x="1794" y="1366"/>
                  <a:pt x="1794" y="1366"/>
                  <a:pt x="1794" y="1366"/>
                </a:cubicBezTo>
                <a:cubicBezTo>
                  <a:pt x="1795" y="1366"/>
                  <a:pt x="1795" y="1366"/>
                  <a:pt x="1795" y="1366"/>
                </a:cubicBezTo>
                <a:cubicBezTo>
                  <a:pt x="1797" y="1363"/>
                  <a:pt x="1797" y="1363"/>
                  <a:pt x="1797" y="1363"/>
                </a:cubicBezTo>
                <a:cubicBezTo>
                  <a:pt x="1799" y="1363"/>
                  <a:pt x="1799" y="1363"/>
                  <a:pt x="1799" y="1363"/>
                </a:cubicBezTo>
                <a:cubicBezTo>
                  <a:pt x="1800" y="1360"/>
                  <a:pt x="1800" y="1360"/>
                  <a:pt x="1800" y="1360"/>
                </a:cubicBezTo>
                <a:cubicBezTo>
                  <a:pt x="1803" y="1357"/>
                  <a:pt x="1803" y="1357"/>
                  <a:pt x="1803" y="1357"/>
                </a:cubicBezTo>
                <a:cubicBezTo>
                  <a:pt x="1807" y="1350"/>
                  <a:pt x="1807" y="1350"/>
                  <a:pt x="1807" y="1350"/>
                </a:cubicBezTo>
                <a:cubicBezTo>
                  <a:pt x="1809" y="1347"/>
                  <a:pt x="1809" y="1347"/>
                  <a:pt x="1809" y="1347"/>
                </a:cubicBezTo>
                <a:cubicBezTo>
                  <a:pt x="1810" y="1347"/>
                  <a:pt x="1810" y="1347"/>
                  <a:pt x="1810" y="1347"/>
                </a:cubicBezTo>
                <a:cubicBezTo>
                  <a:pt x="1812" y="1344"/>
                  <a:pt x="1812" y="1344"/>
                  <a:pt x="1812" y="1344"/>
                </a:cubicBezTo>
                <a:cubicBezTo>
                  <a:pt x="1812" y="1343"/>
                  <a:pt x="1812" y="1343"/>
                  <a:pt x="1812" y="1343"/>
                </a:cubicBezTo>
                <a:cubicBezTo>
                  <a:pt x="1814" y="1341"/>
                  <a:pt x="1814" y="1341"/>
                  <a:pt x="1814" y="1341"/>
                </a:cubicBezTo>
                <a:cubicBezTo>
                  <a:pt x="1815" y="1339"/>
                  <a:pt x="1815" y="1339"/>
                  <a:pt x="1815" y="1339"/>
                </a:cubicBezTo>
                <a:cubicBezTo>
                  <a:pt x="1817" y="1337"/>
                  <a:pt x="1817" y="1337"/>
                  <a:pt x="1817" y="1337"/>
                </a:cubicBezTo>
                <a:cubicBezTo>
                  <a:pt x="1818" y="1336"/>
                  <a:pt x="1818" y="1336"/>
                  <a:pt x="1818" y="1336"/>
                </a:cubicBezTo>
                <a:cubicBezTo>
                  <a:pt x="1820" y="1335"/>
                  <a:pt x="1820" y="1335"/>
                  <a:pt x="1820" y="1335"/>
                </a:cubicBezTo>
                <a:cubicBezTo>
                  <a:pt x="1821" y="1334"/>
                  <a:pt x="1821" y="1334"/>
                  <a:pt x="1821" y="1334"/>
                </a:cubicBezTo>
                <a:cubicBezTo>
                  <a:pt x="1822" y="1334"/>
                  <a:pt x="1822" y="1334"/>
                  <a:pt x="1822" y="1334"/>
                </a:cubicBezTo>
                <a:cubicBezTo>
                  <a:pt x="1825" y="1331"/>
                  <a:pt x="1825" y="1331"/>
                  <a:pt x="1825" y="1331"/>
                </a:cubicBezTo>
                <a:cubicBezTo>
                  <a:pt x="1825" y="1329"/>
                  <a:pt x="1825" y="1329"/>
                  <a:pt x="1825" y="1329"/>
                </a:cubicBezTo>
                <a:cubicBezTo>
                  <a:pt x="1827" y="1327"/>
                  <a:pt x="1827" y="1327"/>
                  <a:pt x="1827" y="1327"/>
                </a:cubicBezTo>
                <a:cubicBezTo>
                  <a:pt x="1827" y="1323"/>
                  <a:pt x="1827" y="1323"/>
                  <a:pt x="1827" y="1323"/>
                </a:cubicBezTo>
                <a:cubicBezTo>
                  <a:pt x="1829" y="1320"/>
                  <a:pt x="1829" y="1320"/>
                  <a:pt x="1829" y="1320"/>
                </a:cubicBezTo>
                <a:cubicBezTo>
                  <a:pt x="1829" y="1317"/>
                  <a:pt x="1829" y="1317"/>
                  <a:pt x="1829" y="1317"/>
                </a:cubicBezTo>
                <a:cubicBezTo>
                  <a:pt x="1831" y="1314"/>
                  <a:pt x="1831" y="1314"/>
                  <a:pt x="1831" y="1314"/>
                </a:cubicBezTo>
                <a:cubicBezTo>
                  <a:pt x="1830" y="1313"/>
                  <a:pt x="1830" y="1313"/>
                  <a:pt x="1830" y="1313"/>
                </a:cubicBezTo>
                <a:cubicBezTo>
                  <a:pt x="1831" y="1312"/>
                  <a:pt x="1831" y="1312"/>
                  <a:pt x="1831" y="1312"/>
                </a:cubicBezTo>
                <a:cubicBezTo>
                  <a:pt x="1831" y="1311"/>
                  <a:pt x="1831" y="1311"/>
                  <a:pt x="1831" y="1311"/>
                </a:cubicBezTo>
                <a:cubicBezTo>
                  <a:pt x="1831" y="1310"/>
                  <a:pt x="1831" y="1310"/>
                  <a:pt x="1831" y="1310"/>
                </a:cubicBezTo>
                <a:cubicBezTo>
                  <a:pt x="1832" y="1308"/>
                  <a:pt x="1832" y="1308"/>
                  <a:pt x="1832" y="1308"/>
                </a:cubicBezTo>
                <a:cubicBezTo>
                  <a:pt x="1833" y="1305"/>
                  <a:pt x="1833" y="1305"/>
                  <a:pt x="1833" y="1305"/>
                </a:cubicBezTo>
                <a:cubicBezTo>
                  <a:pt x="1833" y="1304"/>
                  <a:pt x="1833" y="1304"/>
                  <a:pt x="1833" y="1304"/>
                </a:cubicBezTo>
                <a:cubicBezTo>
                  <a:pt x="1832" y="1304"/>
                  <a:pt x="1832" y="1304"/>
                  <a:pt x="1832" y="1304"/>
                </a:cubicBezTo>
                <a:cubicBezTo>
                  <a:pt x="1831" y="1306"/>
                  <a:pt x="1831" y="1306"/>
                  <a:pt x="1831" y="1306"/>
                </a:cubicBezTo>
                <a:cubicBezTo>
                  <a:pt x="1830" y="1306"/>
                  <a:pt x="1830" y="1306"/>
                  <a:pt x="1830" y="1306"/>
                </a:cubicBezTo>
                <a:cubicBezTo>
                  <a:pt x="1829" y="1307"/>
                  <a:pt x="1829" y="1307"/>
                  <a:pt x="1829" y="1307"/>
                </a:cubicBezTo>
                <a:cubicBezTo>
                  <a:pt x="1829" y="1305"/>
                  <a:pt x="1829" y="1305"/>
                  <a:pt x="1829" y="1305"/>
                </a:cubicBezTo>
                <a:cubicBezTo>
                  <a:pt x="1828" y="1303"/>
                  <a:pt x="1828" y="1303"/>
                  <a:pt x="1828" y="1303"/>
                </a:cubicBezTo>
                <a:cubicBezTo>
                  <a:pt x="1828" y="1303"/>
                  <a:pt x="1828" y="1303"/>
                  <a:pt x="1828" y="1303"/>
                </a:cubicBezTo>
                <a:cubicBezTo>
                  <a:pt x="1829" y="1302"/>
                  <a:pt x="1829" y="1302"/>
                  <a:pt x="1829" y="1302"/>
                </a:cubicBezTo>
                <a:cubicBezTo>
                  <a:pt x="1830" y="1302"/>
                  <a:pt x="1830" y="1302"/>
                  <a:pt x="1830" y="1302"/>
                </a:cubicBezTo>
                <a:cubicBezTo>
                  <a:pt x="1831" y="1300"/>
                  <a:pt x="1831" y="1300"/>
                  <a:pt x="1831" y="1300"/>
                </a:cubicBezTo>
                <a:cubicBezTo>
                  <a:pt x="1832" y="1298"/>
                  <a:pt x="1832" y="1298"/>
                  <a:pt x="1832" y="1298"/>
                </a:cubicBezTo>
                <a:cubicBezTo>
                  <a:pt x="1833" y="1297"/>
                  <a:pt x="1833" y="1297"/>
                  <a:pt x="1833" y="1297"/>
                </a:cubicBezTo>
                <a:cubicBezTo>
                  <a:pt x="1835" y="1297"/>
                  <a:pt x="1835" y="1297"/>
                  <a:pt x="1835" y="1297"/>
                </a:cubicBezTo>
                <a:cubicBezTo>
                  <a:pt x="1839" y="1293"/>
                  <a:pt x="1839" y="1293"/>
                  <a:pt x="1839" y="1293"/>
                </a:cubicBezTo>
                <a:cubicBezTo>
                  <a:pt x="1847" y="1292"/>
                  <a:pt x="1847" y="1292"/>
                  <a:pt x="1847" y="1292"/>
                </a:cubicBezTo>
                <a:cubicBezTo>
                  <a:pt x="1854" y="1289"/>
                  <a:pt x="1854" y="1289"/>
                  <a:pt x="1854" y="1289"/>
                </a:cubicBezTo>
                <a:cubicBezTo>
                  <a:pt x="1858" y="1285"/>
                  <a:pt x="1858" y="1285"/>
                  <a:pt x="1858" y="1285"/>
                </a:cubicBezTo>
                <a:cubicBezTo>
                  <a:pt x="1858" y="1282"/>
                  <a:pt x="1858" y="1282"/>
                  <a:pt x="1858" y="1282"/>
                </a:cubicBezTo>
                <a:cubicBezTo>
                  <a:pt x="1860" y="1280"/>
                  <a:pt x="1860" y="1280"/>
                  <a:pt x="1860" y="1280"/>
                </a:cubicBezTo>
                <a:cubicBezTo>
                  <a:pt x="1859" y="1279"/>
                  <a:pt x="1859" y="1279"/>
                  <a:pt x="1859" y="1279"/>
                </a:cubicBezTo>
                <a:cubicBezTo>
                  <a:pt x="1858" y="1280"/>
                  <a:pt x="1858" y="1280"/>
                  <a:pt x="1858" y="1280"/>
                </a:cubicBezTo>
                <a:cubicBezTo>
                  <a:pt x="1857" y="1278"/>
                  <a:pt x="1857" y="1278"/>
                  <a:pt x="1857" y="1278"/>
                </a:cubicBezTo>
                <a:cubicBezTo>
                  <a:pt x="1858" y="1278"/>
                  <a:pt x="1858" y="1278"/>
                  <a:pt x="1858" y="1278"/>
                </a:cubicBezTo>
                <a:cubicBezTo>
                  <a:pt x="1858" y="1276"/>
                  <a:pt x="1858" y="1276"/>
                  <a:pt x="1858" y="1276"/>
                </a:cubicBezTo>
                <a:cubicBezTo>
                  <a:pt x="1859" y="1275"/>
                  <a:pt x="1859" y="1275"/>
                  <a:pt x="1859" y="1275"/>
                </a:cubicBezTo>
                <a:cubicBezTo>
                  <a:pt x="1859" y="1273"/>
                  <a:pt x="1859" y="1273"/>
                  <a:pt x="1859" y="1273"/>
                </a:cubicBezTo>
                <a:cubicBezTo>
                  <a:pt x="1860" y="1270"/>
                  <a:pt x="1860" y="1270"/>
                  <a:pt x="1860" y="1270"/>
                </a:cubicBezTo>
                <a:cubicBezTo>
                  <a:pt x="1860" y="1270"/>
                  <a:pt x="1860" y="1270"/>
                  <a:pt x="1860" y="1270"/>
                </a:cubicBezTo>
                <a:cubicBezTo>
                  <a:pt x="1860" y="1267"/>
                  <a:pt x="1860" y="1267"/>
                  <a:pt x="1860" y="1267"/>
                </a:cubicBezTo>
                <a:cubicBezTo>
                  <a:pt x="1861" y="1266"/>
                  <a:pt x="1861" y="1266"/>
                  <a:pt x="1861" y="1266"/>
                </a:cubicBezTo>
                <a:cubicBezTo>
                  <a:pt x="1861" y="1263"/>
                  <a:pt x="1861" y="1263"/>
                  <a:pt x="1861" y="1263"/>
                </a:cubicBezTo>
                <a:cubicBezTo>
                  <a:pt x="1860" y="1263"/>
                  <a:pt x="1860" y="1263"/>
                  <a:pt x="1860" y="1263"/>
                </a:cubicBezTo>
                <a:cubicBezTo>
                  <a:pt x="1860" y="1261"/>
                  <a:pt x="1860" y="1261"/>
                  <a:pt x="1860" y="1261"/>
                </a:cubicBezTo>
                <a:cubicBezTo>
                  <a:pt x="1859" y="1264"/>
                  <a:pt x="1859" y="1264"/>
                  <a:pt x="1859" y="1264"/>
                </a:cubicBezTo>
                <a:cubicBezTo>
                  <a:pt x="1859" y="1265"/>
                  <a:pt x="1859" y="1265"/>
                  <a:pt x="1859" y="1265"/>
                </a:cubicBezTo>
                <a:cubicBezTo>
                  <a:pt x="1858" y="1265"/>
                  <a:pt x="1858" y="1265"/>
                  <a:pt x="1858" y="1265"/>
                </a:cubicBezTo>
                <a:cubicBezTo>
                  <a:pt x="1858" y="1263"/>
                  <a:pt x="1858" y="1263"/>
                  <a:pt x="1858" y="1263"/>
                </a:cubicBezTo>
                <a:cubicBezTo>
                  <a:pt x="1858" y="1257"/>
                  <a:pt x="1858" y="1257"/>
                  <a:pt x="1858" y="1257"/>
                </a:cubicBezTo>
                <a:cubicBezTo>
                  <a:pt x="1857" y="1255"/>
                  <a:pt x="1857" y="1255"/>
                  <a:pt x="1857" y="1255"/>
                </a:cubicBezTo>
                <a:cubicBezTo>
                  <a:pt x="1857" y="1252"/>
                  <a:pt x="1857" y="1252"/>
                  <a:pt x="1857" y="1252"/>
                </a:cubicBezTo>
                <a:cubicBezTo>
                  <a:pt x="1856" y="1250"/>
                  <a:pt x="1856" y="1250"/>
                  <a:pt x="1856" y="1250"/>
                </a:cubicBezTo>
                <a:cubicBezTo>
                  <a:pt x="1855" y="1250"/>
                  <a:pt x="1855" y="1250"/>
                  <a:pt x="1855" y="1250"/>
                </a:cubicBezTo>
                <a:cubicBezTo>
                  <a:pt x="1856" y="1249"/>
                  <a:pt x="1856" y="1249"/>
                  <a:pt x="1856" y="1249"/>
                </a:cubicBezTo>
                <a:cubicBezTo>
                  <a:pt x="1856" y="1248"/>
                  <a:pt x="1856" y="1248"/>
                  <a:pt x="1856" y="1248"/>
                </a:cubicBezTo>
                <a:cubicBezTo>
                  <a:pt x="1853" y="1244"/>
                  <a:pt x="1853" y="1244"/>
                  <a:pt x="1853" y="1244"/>
                </a:cubicBezTo>
                <a:cubicBezTo>
                  <a:pt x="1854" y="1242"/>
                  <a:pt x="1854" y="1242"/>
                  <a:pt x="1854" y="1242"/>
                </a:cubicBezTo>
                <a:cubicBezTo>
                  <a:pt x="1854" y="1241"/>
                  <a:pt x="1854" y="1241"/>
                  <a:pt x="1854" y="1241"/>
                </a:cubicBezTo>
                <a:cubicBezTo>
                  <a:pt x="1855" y="1240"/>
                  <a:pt x="1855" y="1240"/>
                  <a:pt x="1855" y="1240"/>
                </a:cubicBezTo>
                <a:cubicBezTo>
                  <a:pt x="1855" y="1238"/>
                  <a:pt x="1855" y="1238"/>
                  <a:pt x="1855" y="1238"/>
                </a:cubicBezTo>
                <a:cubicBezTo>
                  <a:pt x="1854" y="1237"/>
                  <a:pt x="1854" y="1237"/>
                  <a:pt x="1854" y="1237"/>
                </a:cubicBezTo>
                <a:cubicBezTo>
                  <a:pt x="1854" y="1236"/>
                  <a:pt x="1854" y="1236"/>
                  <a:pt x="1854" y="1236"/>
                </a:cubicBezTo>
                <a:cubicBezTo>
                  <a:pt x="1855" y="1236"/>
                  <a:pt x="1855" y="1236"/>
                  <a:pt x="1855" y="1236"/>
                </a:cubicBezTo>
                <a:cubicBezTo>
                  <a:pt x="1857" y="1237"/>
                  <a:pt x="1857" y="1237"/>
                  <a:pt x="1857" y="1237"/>
                </a:cubicBezTo>
                <a:cubicBezTo>
                  <a:pt x="1858" y="1236"/>
                  <a:pt x="1858" y="1236"/>
                  <a:pt x="1858" y="1236"/>
                </a:cubicBezTo>
                <a:cubicBezTo>
                  <a:pt x="1860" y="1236"/>
                  <a:pt x="1860" y="1236"/>
                  <a:pt x="1860" y="1236"/>
                </a:cubicBezTo>
                <a:cubicBezTo>
                  <a:pt x="1862" y="1234"/>
                  <a:pt x="1862" y="1234"/>
                  <a:pt x="1862" y="1234"/>
                </a:cubicBezTo>
                <a:cubicBezTo>
                  <a:pt x="1862" y="1232"/>
                  <a:pt x="1862" y="1232"/>
                  <a:pt x="1862" y="1232"/>
                </a:cubicBezTo>
                <a:cubicBezTo>
                  <a:pt x="1867" y="1229"/>
                  <a:pt x="1867" y="1229"/>
                  <a:pt x="1867" y="1229"/>
                </a:cubicBezTo>
                <a:cubicBezTo>
                  <a:pt x="1869" y="1228"/>
                  <a:pt x="1869" y="1228"/>
                  <a:pt x="1869" y="1228"/>
                </a:cubicBezTo>
                <a:cubicBezTo>
                  <a:pt x="1869" y="1227"/>
                  <a:pt x="1869" y="1227"/>
                  <a:pt x="1869" y="1227"/>
                </a:cubicBezTo>
                <a:cubicBezTo>
                  <a:pt x="1870" y="1227"/>
                  <a:pt x="1870" y="1227"/>
                  <a:pt x="1870" y="1227"/>
                </a:cubicBezTo>
                <a:cubicBezTo>
                  <a:pt x="1871" y="1226"/>
                  <a:pt x="1871" y="1226"/>
                  <a:pt x="1871" y="1226"/>
                </a:cubicBezTo>
                <a:cubicBezTo>
                  <a:pt x="1871" y="1225"/>
                  <a:pt x="1871" y="1225"/>
                  <a:pt x="1871" y="1225"/>
                </a:cubicBezTo>
                <a:cubicBezTo>
                  <a:pt x="1876" y="1222"/>
                  <a:pt x="1876" y="1222"/>
                  <a:pt x="1876" y="1222"/>
                </a:cubicBezTo>
                <a:cubicBezTo>
                  <a:pt x="1876" y="1221"/>
                  <a:pt x="1876" y="1221"/>
                  <a:pt x="1876" y="1221"/>
                </a:cubicBezTo>
                <a:cubicBezTo>
                  <a:pt x="1877" y="1221"/>
                  <a:pt x="1877" y="1221"/>
                  <a:pt x="1877" y="1221"/>
                </a:cubicBezTo>
                <a:cubicBezTo>
                  <a:pt x="1878" y="1218"/>
                  <a:pt x="1878" y="1218"/>
                  <a:pt x="1878" y="1218"/>
                </a:cubicBezTo>
                <a:cubicBezTo>
                  <a:pt x="1878" y="1219"/>
                  <a:pt x="1878" y="1219"/>
                  <a:pt x="1878" y="1219"/>
                </a:cubicBezTo>
                <a:cubicBezTo>
                  <a:pt x="1879" y="1219"/>
                  <a:pt x="1879" y="1219"/>
                  <a:pt x="1879" y="1219"/>
                </a:cubicBezTo>
                <a:cubicBezTo>
                  <a:pt x="1882" y="1216"/>
                  <a:pt x="1882" y="1216"/>
                  <a:pt x="1882" y="1216"/>
                </a:cubicBezTo>
                <a:cubicBezTo>
                  <a:pt x="1882" y="1215"/>
                  <a:pt x="1882" y="1215"/>
                  <a:pt x="1882" y="1215"/>
                </a:cubicBezTo>
                <a:cubicBezTo>
                  <a:pt x="1883" y="1215"/>
                  <a:pt x="1883" y="1215"/>
                  <a:pt x="1883" y="1215"/>
                </a:cubicBezTo>
                <a:cubicBezTo>
                  <a:pt x="1887" y="1213"/>
                  <a:pt x="1887" y="1213"/>
                  <a:pt x="1887" y="1213"/>
                </a:cubicBezTo>
                <a:cubicBezTo>
                  <a:pt x="1890" y="1211"/>
                  <a:pt x="1890" y="1211"/>
                  <a:pt x="1890" y="1211"/>
                </a:cubicBezTo>
                <a:cubicBezTo>
                  <a:pt x="1890" y="1211"/>
                  <a:pt x="1890" y="1211"/>
                  <a:pt x="1890" y="1211"/>
                </a:cubicBezTo>
                <a:cubicBezTo>
                  <a:pt x="1893" y="1211"/>
                  <a:pt x="1893" y="1211"/>
                  <a:pt x="1893" y="1211"/>
                </a:cubicBezTo>
                <a:cubicBezTo>
                  <a:pt x="1899" y="1208"/>
                  <a:pt x="1899" y="1208"/>
                  <a:pt x="1899" y="1208"/>
                </a:cubicBezTo>
                <a:cubicBezTo>
                  <a:pt x="1900" y="1206"/>
                  <a:pt x="1900" y="1206"/>
                  <a:pt x="1900" y="1206"/>
                </a:cubicBezTo>
                <a:cubicBezTo>
                  <a:pt x="1901" y="1206"/>
                  <a:pt x="1901" y="1206"/>
                  <a:pt x="1901" y="1206"/>
                </a:cubicBezTo>
                <a:cubicBezTo>
                  <a:pt x="1907" y="1202"/>
                  <a:pt x="1907" y="1202"/>
                  <a:pt x="1907" y="1202"/>
                </a:cubicBezTo>
                <a:cubicBezTo>
                  <a:pt x="1907" y="1201"/>
                  <a:pt x="1907" y="1201"/>
                  <a:pt x="1907" y="1201"/>
                </a:cubicBezTo>
                <a:cubicBezTo>
                  <a:pt x="1909" y="1200"/>
                  <a:pt x="1909" y="1200"/>
                  <a:pt x="1909" y="1200"/>
                </a:cubicBezTo>
                <a:cubicBezTo>
                  <a:pt x="1911" y="1198"/>
                  <a:pt x="1911" y="1198"/>
                  <a:pt x="1911" y="1198"/>
                </a:cubicBezTo>
                <a:cubicBezTo>
                  <a:pt x="1911" y="1196"/>
                  <a:pt x="1911" y="1196"/>
                  <a:pt x="1911" y="1196"/>
                </a:cubicBezTo>
                <a:cubicBezTo>
                  <a:pt x="1913" y="1193"/>
                  <a:pt x="1913" y="1193"/>
                  <a:pt x="1913" y="1193"/>
                </a:cubicBezTo>
                <a:cubicBezTo>
                  <a:pt x="1914" y="1193"/>
                  <a:pt x="1914" y="1193"/>
                  <a:pt x="1914" y="1193"/>
                </a:cubicBezTo>
                <a:cubicBezTo>
                  <a:pt x="1915" y="1191"/>
                  <a:pt x="1915" y="1191"/>
                  <a:pt x="1915" y="1191"/>
                </a:cubicBezTo>
                <a:cubicBezTo>
                  <a:pt x="1915" y="1190"/>
                  <a:pt x="1915" y="1190"/>
                  <a:pt x="1915" y="1190"/>
                </a:cubicBezTo>
                <a:cubicBezTo>
                  <a:pt x="1914" y="1190"/>
                  <a:pt x="1914" y="1190"/>
                  <a:pt x="1914" y="1190"/>
                </a:cubicBezTo>
                <a:cubicBezTo>
                  <a:pt x="1914" y="1190"/>
                  <a:pt x="1914" y="1190"/>
                  <a:pt x="1914" y="1190"/>
                </a:cubicBezTo>
                <a:cubicBezTo>
                  <a:pt x="1913" y="1190"/>
                  <a:pt x="1913" y="1190"/>
                  <a:pt x="1913" y="1190"/>
                </a:cubicBezTo>
                <a:cubicBezTo>
                  <a:pt x="1915" y="1188"/>
                  <a:pt x="1915" y="1188"/>
                  <a:pt x="1915" y="1188"/>
                </a:cubicBezTo>
                <a:cubicBezTo>
                  <a:pt x="1916" y="1188"/>
                  <a:pt x="1916" y="1188"/>
                  <a:pt x="1916" y="1188"/>
                </a:cubicBezTo>
                <a:cubicBezTo>
                  <a:pt x="1916" y="1187"/>
                  <a:pt x="1916" y="1187"/>
                  <a:pt x="1916" y="1187"/>
                </a:cubicBezTo>
                <a:cubicBezTo>
                  <a:pt x="1916" y="1186"/>
                  <a:pt x="1916" y="1186"/>
                  <a:pt x="1916" y="1186"/>
                </a:cubicBezTo>
                <a:cubicBezTo>
                  <a:pt x="1917" y="1186"/>
                  <a:pt x="1917" y="1186"/>
                  <a:pt x="1917" y="1186"/>
                </a:cubicBezTo>
                <a:cubicBezTo>
                  <a:pt x="1918" y="1184"/>
                  <a:pt x="1918" y="1184"/>
                  <a:pt x="1918" y="1184"/>
                </a:cubicBezTo>
                <a:cubicBezTo>
                  <a:pt x="1917" y="1180"/>
                  <a:pt x="1917" y="1180"/>
                  <a:pt x="1917" y="1180"/>
                </a:cubicBezTo>
                <a:cubicBezTo>
                  <a:pt x="1917" y="1180"/>
                  <a:pt x="1917" y="1180"/>
                  <a:pt x="1917" y="1180"/>
                </a:cubicBezTo>
                <a:cubicBezTo>
                  <a:pt x="1915" y="1180"/>
                  <a:pt x="1915" y="1180"/>
                  <a:pt x="1915" y="1180"/>
                </a:cubicBezTo>
                <a:cubicBezTo>
                  <a:pt x="1914" y="1179"/>
                  <a:pt x="1914" y="1179"/>
                  <a:pt x="1914" y="1179"/>
                </a:cubicBezTo>
                <a:cubicBezTo>
                  <a:pt x="1914" y="1178"/>
                  <a:pt x="1914" y="1178"/>
                  <a:pt x="1914" y="1178"/>
                </a:cubicBezTo>
                <a:cubicBezTo>
                  <a:pt x="1916" y="1178"/>
                  <a:pt x="1916" y="1178"/>
                  <a:pt x="1916" y="1178"/>
                </a:cubicBezTo>
                <a:cubicBezTo>
                  <a:pt x="1916" y="1174"/>
                  <a:pt x="1916" y="1174"/>
                  <a:pt x="1916" y="1174"/>
                </a:cubicBezTo>
                <a:cubicBezTo>
                  <a:pt x="1915" y="1173"/>
                  <a:pt x="1915" y="1173"/>
                  <a:pt x="1915" y="1173"/>
                </a:cubicBezTo>
                <a:cubicBezTo>
                  <a:pt x="1916" y="1173"/>
                  <a:pt x="1916" y="1173"/>
                  <a:pt x="1916" y="1173"/>
                </a:cubicBezTo>
                <a:cubicBezTo>
                  <a:pt x="1916" y="1168"/>
                  <a:pt x="1916" y="1168"/>
                  <a:pt x="1916" y="1168"/>
                </a:cubicBezTo>
                <a:cubicBezTo>
                  <a:pt x="1916" y="1165"/>
                  <a:pt x="1916" y="1165"/>
                  <a:pt x="1916" y="1165"/>
                </a:cubicBezTo>
                <a:cubicBezTo>
                  <a:pt x="1917" y="1164"/>
                  <a:pt x="1917" y="1164"/>
                  <a:pt x="1917" y="1164"/>
                </a:cubicBezTo>
                <a:cubicBezTo>
                  <a:pt x="1917" y="1162"/>
                  <a:pt x="1917" y="1162"/>
                  <a:pt x="1917" y="1162"/>
                </a:cubicBezTo>
                <a:cubicBezTo>
                  <a:pt x="1916" y="1161"/>
                  <a:pt x="1916" y="1161"/>
                  <a:pt x="1916" y="1161"/>
                </a:cubicBezTo>
                <a:cubicBezTo>
                  <a:pt x="1916" y="1158"/>
                  <a:pt x="1916" y="1158"/>
                  <a:pt x="1916" y="1158"/>
                </a:cubicBezTo>
                <a:cubicBezTo>
                  <a:pt x="1917" y="1158"/>
                  <a:pt x="1917" y="1158"/>
                  <a:pt x="1917" y="1158"/>
                </a:cubicBezTo>
                <a:cubicBezTo>
                  <a:pt x="1916" y="1156"/>
                  <a:pt x="1916" y="1156"/>
                  <a:pt x="1916" y="1156"/>
                </a:cubicBezTo>
                <a:cubicBezTo>
                  <a:pt x="1915" y="1152"/>
                  <a:pt x="1915" y="1152"/>
                  <a:pt x="1915" y="1152"/>
                </a:cubicBezTo>
                <a:cubicBezTo>
                  <a:pt x="1916" y="1151"/>
                  <a:pt x="1916" y="1151"/>
                  <a:pt x="1916" y="1151"/>
                </a:cubicBezTo>
                <a:cubicBezTo>
                  <a:pt x="1916" y="1151"/>
                  <a:pt x="1916" y="1151"/>
                  <a:pt x="1916" y="1151"/>
                </a:cubicBezTo>
                <a:cubicBezTo>
                  <a:pt x="1916" y="1150"/>
                  <a:pt x="1916" y="1150"/>
                  <a:pt x="1916" y="1150"/>
                </a:cubicBezTo>
                <a:cubicBezTo>
                  <a:pt x="1916" y="1149"/>
                  <a:pt x="1916" y="1149"/>
                  <a:pt x="1916" y="1149"/>
                </a:cubicBezTo>
                <a:cubicBezTo>
                  <a:pt x="1918" y="1146"/>
                  <a:pt x="1918" y="1146"/>
                  <a:pt x="1918" y="1146"/>
                </a:cubicBezTo>
                <a:cubicBezTo>
                  <a:pt x="1917" y="1145"/>
                  <a:pt x="1917" y="1145"/>
                  <a:pt x="1917" y="1145"/>
                </a:cubicBezTo>
                <a:cubicBezTo>
                  <a:pt x="1918" y="1144"/>
                  <a:pt x="1918" y="1144"/>
                  <a:pt x="1918" y="1144"/>
                </a:cubicBezTo>
                <a:cubicBezTo>
                  <a:pt x="1918" y="1142"/>
                  <a:pt x="1918" y="1142"/>
                  <a:pt x="1918" y="1142"/>
                </a:cubicBezTo>
                <a:cubicBezTo>
                  <a:pt x="1918" y="1141"/>
                  <a:pt x="1918" y="1141"/>
                  <a:pt x="1918" y="1141"/>
                </a:cubicBezTo>
                <a:cubicBezTo>
                  <a:pt x="1917" y="1141"/>
                  <a:pt x="1917" y="1141"/>
                  <a:pt x="1917" y="1141"/>
                </a:cubicBezTo>
                <a:cubicBezTo>
                  <a:pt x="1917" y="1140"/>
                  <a:pt x="1917" y="1140"/>
                  <a:pt x="1917" y="1140"/>
                </a:cubicBezTo>
                <a:cubicBezTo>
                  <a:pt x="1915" y="1138"/>
                  <a:pt x="1915" y="1138"/>
                  <a:pt x="1915" y="1138"/>
                </a:cubicBezTo>
                <a:cubicBezTo>
                  <a:pt x="1913" y="1138"/>
                  <a:pt x="1913" y="1138"/>
                  <a:pt x="1913" y="1138"/>
                </a:cubicBezTo>
                <a:cubicBezTo>
                  <a:pt x="1909" y="1134"/>
                  <a:pt x="1909" y="1134"/>
                  <a:pt x="1909" y="1134"/>
                </a:cubicBezTo>
                <a:cubicBezTo>
                  <a:pt x="1909" y="1133"/>
                  <a:pt x="1909" y="1133"/>
                  <a:pt x="1909" y="1133"/>
                </a:cubicBezTo>
                <a:cubicBezTo>
                  <a:pt x="1908" y="1130"/>
                  <a:pt x="1908" y="1130"/>
                  <a:pt x="1908" y="1130"/>
                </a:cubicBezTo>
                <a:cubicBezTo>
                  <a:pt x="1907" y="1129"/>
                  <a:pt x="1907" y="1129"/>
                  <a:pt x="1907" y="1129"/>
                </a:cubicBezTo>
                <a:cubicBezTo>
                  <a:pt x="1908" y="1127"/>
                  <a:pt x="1908" y="1127"/>
                  <a:pt x="1908" y="1127"/>
                </a:cubicBezTo>
                <a:cubicBezTo>
                  <a:pt x="1907" y="1126"/>
                  <a:pt x="1907" y="1126"/>
                  <a:pt x="1907" y="1126"/>
                </a:cubicBezTo>
                <a:cubicBezTo>
                  <a:pt x="1907" y="1124"/>
                  <a:pt x="1907" y="1124"/>
                  <a:pt x="1907" y="1124"/>
                </a:cubicBezTo>
                <a:cubicBezTo>
                  <a:pt x="1906" y="1123"/>
                  <a:pt x="1906" y="1123"/>
                  <a:pt x="1906" y="1123"/>
                </a:cubicBezTo>
                <a:cubicBezTo>
                  <a:pt x="1907" y="1123"/>
                  <a:pt x="1907" y="1123"/>
                  <a:pt x="1907" y="1123"/>
                </a:cubicBezTo>
                <a:cubicBezTo>
                  <a:pt x="1906" y="1120"/>
                  <a:pt x="1906" y="1120"/>
                  <a:pt x="1906" y="1120"/>
                </a:cubicBezTo>
                <a:cubicBezTo>
                  <a:pt x="1905" y="1118"/>
                  <a:pt x="1905" y="1118"/>
                  <a:pt x="1905" y="1118"/>
                </a:cubicBezTo>
                <a:cubicBezTo>
                  <a:pt x="1907" y="1117"/>
                  <a:pt x="1907" y="1117"/>
                  <a:pt x="1907" y="1117"/>
                </a:cubicBezTo>
                <a:cubicBezTo>
                  <a:pt x="1907" y="1114"/>
                  <a:pt x="1907" y="1114"/>
                  <a:pt x="1907" y="1114"/>
                </a:cubicBezTo>
                <a:cubicBezTo>
                  <a:pt x="1905" y="1113"/>
                  <a:pt x="1905" y="1113"/>
                  <a:pt x="1905" y="1113"/>
                </a:cubicBezTo>
                <a:cubicBezTo>
                  <a:pt x="1905" y="1109"/>
                  <a:pt x="1905" y="1109"/>
                  <a:pt x="1905" y="1109"/>
                </a:cubicBezTo>
                <a:cubicBezTo>
                  <a:pt x="1906" y="1107"/>
                  <a:pt x="1906" y="1107"/>
                  <a:pt x="1906" y="1107"/>
                </a:cubicBezTo>
                <a:cubicBezTo>
                  <a:pt x="1907" y="1106"/>
                  <a:pt x="1907" y="1106"/>
                  <a:pt x="1907" y="1106"/>
                </a:cubicBezTo>
                <a:cubicBezTo>
                  <a:pt x="1908" y="1106"/>
                  <a:pt x="1908" y="1106"/>
                  <a:pt x="1908" y="1106"/>
                </a:cubicBezTo>
                <a:cubicBezTo>
                  <a:pt x="1908" y="1105"/>
                  <a:pt x="1908" y="1105"/>
                  <a:pt x="1908" y="1105"/>
                </a:cubicBezTo>
                <a:cubicBezTo>
                  <a:pt x="1907" y="1101"/>
                  <a:pt x="1907" y="1101"/>
                  <a:pt x="1907" y="1101"/>
                </a:cubicBezTo>
                <a:cubicBezTo>
                  <a:pt x="1906" y="1101"/>
                  <a:pt x="1906" y="1101"/>
                  <a:pt x="1906" y="1101"/>
                </a:cubicBezTo>
                <a:cubicBezTo>
                  <a:pt x="1904" y="1099"/>
                  <a:pt x="1904" y="1099"/>
                  <a:pt x="1904" y="1099"/>
                </a:cubicBezTo>
                <a:cubicBezTo>
                  <a:pt x="1901" y="1096"/>
                  <a:pt x="1901" y="1096"/>
                  <a:pt x="1901" y="1096"/>
                </a:cubicBezTo>
                <a:cubicBezTo>
                  <a:pt x="1901" y="1094"/>
                  <a:pt x="1901" y="1094"/>
                  <a:pt x="1901" y="1094"/>
                </a:cubicBezTo>
                <a:cubicBezTo>
                  <a:pt x="1902" y="1090"/>
                  <a:pt x="1902" y="1090"/>
                  <a:pt x="1902" y="1090"/>
                </a:cubicBezTo>
                <a:cubicBezTo>
                  <a:pt x="1905" y="1083"/>
                  <a:pt x="1905" y="1083"/>
                  <a:pt x="1905" y="1083"/>
                </a:cubicBezTo>
                <a:cubicBezTo>
                  <a:pt x="1905" y="1082"/>
                  <a:pt x="1905" y="1082"/>
                  <a:pt x="1905" y="1082"/>
                </a:cubicBezTo>
                <a:cubicBezTo>
                  <a:pt x="1905" y="1081"/>
                  <a:pt x="1905" y="1081"/>
                  <a:pt x="1905" y="1081"/>
                </a:cubicBezTo>
                <a:cubicBezTo>
                  <a:pt x="1905" y="1080"/>
                  <a:pt x="1905" y="1080"/>
                  <a:pt x="1905" y="1080"/>
                </a:cubicBezTo>
                <a:cubicBezTo>
                  <a:pt x="1905" y="1080"/>
                  <a:pt x="1905" y="1080"/>
                  <a:pt x="1905" y="1080"/>
                </a:cubicBezTo>
                <a:cubicBezTo>
                  <a:pt x="1906" y="1080"/>
                  <a:pt x="1906" y="1080"/>
                  <a:pt x="1906" y="1080"/>
                </a:cubicBezTo>
                <a:cubicBezTo>
                  <a:pt x="1908" y="1079"/>
                  <a:pt x="1908" y="1079"/>
                  <a:pt x="1908" y="1079"/>
                </a:cubicBezTo>
                <a:cubicBezTo>
                  <a:pt x="1912" y="1074"/>
                  <a:pt x="1912" y="1074"/>
                  <a:pt x="1912" y="1074"/>
                </a:cubicBezTo>
                <a:cubicBezTo>
                  <a:pt x="1913" y="1071"/>
                  <a:pt x="1913" y="1071"/>
                  <a:pt x="1913" y="1071"/>
                </a:cubicBezTo>
                <a:cubicBezTo>
                  <a:pt x="1913" y="1068"/>
                  <a:pt x="1913" y="1068"/>
                  <a:pt x="1913" y="1068"/>
                </a:cubicBezTo>
                <a:cubicBezTo>
                  <a:pt x="1915" y="1066"/>
                  <a:pt x="1915" y="1066"/>
                  <a:pt x="1915" y="1066"/>
                </a:cubicBezTo>
                <a:cubicBezTo>
                  <a:pt x="1916" y="1064"/>
                  <a:pt x="1916" y="1064"/>
                  <a:pt x="1916" y="1064"/>
                </a:cubicBezTo>
                <a:cubicBezTo>
                  <a:pt x="1916" y="1063"/>
                  <a:pt x="1916" y="1063"/>
                  <a:pt x="1916" y="1063"/>
                </a:cubicBezTo>
                <a:cubicBezTo>
                  <a:pt x="1916" y="1062"/>
                  <a:pt x="1916" y="1062"/>
                  <a:pt x="1916" y="1062"/>
                </a:cubicBezTo>
                <a:cubicBezTo>
                  <a:pt x="1917" y="1060"/>
                  <a:pt x="1917" y="1060"/>
                  <a:pt x="1917" y="1060"/>
                </a:cubicBezTo>
                <a:cubicBezTo>
                  <a:pt x="1917" y="1060"/>
                  <a:pt x="1917" y="1060"/>
                  <a:pt x="1917" y="1060"/>
                </a:cubicBezTo>
                <a:cubicBezTo>
                  <a:pt x="1919" y="1059"/>
                  <a:pt x="1919" y="1059"/>
                  <a:pt x="1919" y="1059"/>
                </a:cubicBezTo>
                <a:cubicBezTo>
                  <a:pt x="1922" y="1059"/>
                  <a:pt x="1922" y="1059"/>
                  <a:pt x="1922" y="1059"/>
                </a:cubicBezTo>
                <a:cubicBezTo>
                  <a:pt x="1924" y="1057"/>
                  <a:pt x="1924" y="1057"/>
                  <a:pt x="1924" y="1057"/>
                </a:cubicBezTo>
                <a:cubicBezTo>
                  <a:pt x="1927" y="1055"/>
                  <a:pt x="1927" y="1055"/>
                  <a:pt x="1927" y="1055"/>
                </a:cubicBezTo>
                <a:cubicBezTo>
                  <a:pt x="1926" y="1054"/>
                  <a:pt x="1926" y="1054"/>
                  <a:pt x="1926" y="1054"/>
                </a:cubicBezTo>
                <a:cubicBezTo>
                  <a:pt x="1928" y="1053"/>
                  <a:pt x="1928" y="1053"/>
                  <a:pt x="1928" y="1053"/>
                </a:cubicBezTo>
                <a:cubicBezTo>
                  <a:pt x="1928" y="1053"/>
                  <a:pt x="1928" y="1053"/>
                  <a:pt x="1928" y="1053"/>
                </a:cubicBezTo>
                <a:cubicBezTo>
                  <a:pt x="1932" y="1049"/>
                  <a:pt x="1932" y="1049"/>
                  <a:pt x="1932" y="1049"/>
                </a:cubicBezTo>
                <a:cubicBezTo>
                  <a:pt x="1932" y="1048"/>
                  <a:pt x="1932" y="1048"/>
                  <a:pt x="1932" y="1048"/>
                </a:cubicBezTo>
                <a:cubicBezTo>
                  <a:pt x="1932" y="1048"/>
                  <a:pt x="1932" y="1048"/>
                  <a:pt x="1932" y="1048"/>
                </a:cubicBezTo>
                <a:cubicBezTo>
                  <a:pt x="1940" y="1038"/>
                  <a:pt x="1940" y="1038"/>
                  <a:pt x="1940" y="1038"/>
                </a:cubicBezTo>
                <a:cubicBezTo>
                  <a:pt x="1941" y="1036"/>
                  <a:pt x="1941" y="1036"/>
                  <a:pt x="1941" y="1036"/>
                </a:cubicBezTo>
                <a:cubicBezTo>
                  <a:pt x="1943" y="1034"/>
                  <a:pt x="1943" y="1034"/>
                  <a:pt x="1943" y="1034"/>
                </a:cubicBezTo>
                <a:cubicBezTo>
                  <a:pt x="1945" y="1034"/>
                  <a:pt x="1945" y="1034"/>
                  <a:pt x="1945" y="1034"/>
                </a:cubicBezTo>
                <a:cubicBezTo>
                  <a:pt x="1946" y="1032"/>
                  <a:pt x="1946" y="1032"/>
                  <a:pt x="1946" y="1032"/>
                </a:cubicBezTo>
                <a:cubicBezTo>
                  <a:pt x="1947" y="1032"/>
                  <a:pt x="1947" y="1032"/>
                  <a:pt x="1947" y="1032"/>
                </a:cubicBezTo>
                <a:cubicBezTo>
                  <a:pt x="1953" y="1025"/>
                  <a:pt x="1953" y="1025"/>
                  <a:pt x="1953" y="1025"/>
                </a:cubicBezTo>
                <a:cubicBezTo>
                  <a:pt x="1954" y="1025"/>
                  <a:pt x="1954" y="1025"/>
                  <a:pt x="1954" y="1025"/>
                </a:cubicBezTo>
                <a:cubicBezTo>
                  <a:pt x="1961" y="1018"/>
                  <a:pt x="1961" y="1018"/>
                  <a:pt x="1961" y="1018"/>
                </a:cubicBezTo>
                <a:cubicBezTo>
                  <a:pt x="1965" y="1015"/>
                  <a:pt x="1965" y="1015"/>
                  <a:pt x="1965" y="1015"/>
                </a:cubicBezTo>
                <a:cubicBezTo>
                  <a:pt x="1968" y="1013"/>
                  <a:pt x="1968" y="1013"/>
                  <a:pt x="1968" y="1013"/>
                </a:cubicBezTo>
                <a:cubicBezTo>
                  <a:pt x="1971" y="1012"/>
                  <a:pt x="1971" y="1012"/>
                  <a:pt x="1971" y="1012"/>
                </a:cubicBezTo>
                <a:cubicBezTo>
                  <a:pt x="1976" y="1008"/>
                  <a:pt x="1976" y="1008"/>
                  <a:pt x="1976" y="1008"/>
                </a:cubicBezTo>
                <a:cubicBezTo>
                  <a:pt x="1987" y="998"/>
                  <a:pt x="1987" y="998"/>
                  <a:pt x="1987" y="998"/>
                </a:cubicBezTo>
                <a:cubicBezTo>
                  <a:pt x="1993" y="992"/>
                  <a:pt x="1993" y="992"/>
                  <a:pt x="1993" y="992"/>
                </a:cubicBezTo>
                <a:cubicBezTo>
                  <a:pt x="1996" y="989"/>
                  <a:pt x="1996" y="989"/>
                  <a:pt x="1996" y="989"/>
                </a:cubicBezTo>
                <a:cubicBezTo>
                  <a:pt x="1996" y="987"/>
                  <a:pt x="1996" y="987"/>
                  <a:pt x="1996" y="987"/>
                </a:cubicBezTo>
                <a:cubicBezTo>
                  <a:pt x="2003" y="977"/>
                  <a:pt x="2003" y="977"/>
                  <a:pt x="2003" y="977"/>
                </a:cubicBezTo>
                <a:cubicBezTo>
                  <a:pt x="2003" y="976"/>
                  <a:pt x="2003" y="976"/>
                  <a:pt x="2003" y="976"/>
                </a:cubicBezTo>
                <a:cubicBezTo>
                  <a:pt x="2007" y="970"/>
                  <a:pt x="2007" y="970"/>
                  <a:pt x="2007" y="970"/>
                </a:cubicBezTo>
                <a:cubicBezTo>
                  <a:pt x="2007" y="967"/>
                  <a:pt x="2007" y="967"/>
                  <a:pt x="2007" y="967"/>
                </a:cubicBezTo>
                <a:cubicBezTo>
                  <a:pt x="2013" y="956"/>
                  <a:pt x="2013" y="956"/>
                  <a:pt x="2013" y="956"/>
                </a:cubicBezTo>
                <a:cubicBezTo>
                  <a:pt x="2014" y="955"/>
                  <a:pt x="2014" y="955"/>
                  <a:pt x="2014" y="955"/>
                </a:cubicBezTo>
                <a:cubicBezTo>
                  <a:pt x="2013" y="954"/>
                  <a:pt x="2013" y="954"/>
                  <a:pt x="2013" y="954"/>
                </a:cubicBezTo>
                <a:cubicBezTo>
                  <a:pt x="2013" y="952"/>
                  <a:pt x="2013" y="952"/>
                  <a:pt x="2013" y="952"/>
                </a:cubicBezTo>
                <a:cubicBezTo>
                  <a:pt x="2016" y="950"/>
                  <a:pt x="2016" y="950"/>
                  <a:pt x="2016" y="950"/>
                </a:cubicBezTo>
                <a:cubicBezTo>
                  <a:pt x="2017" y="950"/>
                  <a:pt x="2017" y="950"/>
                  <a:pt x="2017" y="950"/>
                </a:cubicBezTo>
                <a:cubicBezTo>
                  <a:pt x="2018" y="948"/>
                  <a:pt x="2018" y="948"/>
                  <a:pt x="2018" y="948"/>
                </a:cubicBezTo>
                <a:cubicBezTo>
                  <a:pt x="2020" y="943"/>
                  <a:pt x="2020" y="943"/>
                  <a:pt x="2020" y="943"/>
                </a:cubicBezTo>
                <a:cubicBezTo>
                  <a:pt x="2024" y="938"/>
                  <a:pt x="2024" y="938"/>
                  <a:pt x="2024" y="938"/>
                </a:cubicBezTo>
                <a:cubicBezTo>
                  <a:pt x="2024" y="936"/>
                  <a:pt x="2024" y="936"/>
                  <a:pt x="2024" y="936"/>
                </a:cubicBezTo>
                <a:cubicBezTo>
                  <a:pt x="2024" y="935"/>
                  <a:pt x="2024" y="935"/>
                  <a:pt x="2024" y="935"/>
                </a:cubicBezTo>
                <a:cubicBezTo>
                  <a:pt x="2025" y="932"/>
                  <a:pt x="2025" y="932"/>
                  <a:pt x="2025" y="932"/>
                </a:cubicBezTo>
                <a:cubicBezTo>
                  <a:pt x="2024" y="931"/>
                  <a:pt x="2024" y="931"/>
                  <a:pt x="2024" y="931"/>
                </a:cubicBezTo>
                <a:cubicBezTo>
                  <a:pt x="2025" y="929"/>
                  <a:pt x="2025" y="929"/>
                  <a:pt x="2025" y="929"/>
                </a:cubicBezTo>
                <a:cubicBezTo>
                  <a:pt x="2026" y="928"/>
                  <a:pt x="2026" y="928"/>
                  <a:pt x="2026" y="928"/>
                </a:cubicBezTo>
                <a:cubicBezTo>
                  <a:pt x="2028" y="928"/>
                  <a:pt x="2028" y="928"/>
                  <a:pt x="2028" y="928"/>
                </a:cubicBezTo>
                <a:cubicBezTo>
                  <a:pt x="2028" y="929"/>
                  <a:pt x="2028" y="929"/>
                  <a:pt x="2028" y="929"/>
                </a:cubicBezTo>
                <a:cubicBezTo>
                  <a:pt x="2028" y="928"/>
                  <a:pt x="2028" y="928"/>
                  <a:pt x="2028" y="928"/>
                </a:cubicBezTo>
                <a:cubicBezTo>
                  <a:pt x="2028" y="927"/>
                  <a:pt x="2028" y="927"/>
                  <a:pt x="2028" y="927"/>
                </a:cubicBezTo>
                <a:cubicBezTo>
                  <a:pt x="2027" y="927"/>
                  <a:pt x="2027" y="927"/>
                  <a:pt x="2027" y="927"/>
                </a:cubicBezTo>
                <a:cubicBezTo>
                  <a:pt x="2027" y="927"/>
                  <a:pt x="2027" y="927"/>
                  <a:pt x="2027" y="927"/>
                </a:cubicBezTo>
                <a:cubicBezTo>
                  <a:pt x="2026" y="928"/>
                  <a:pt x="2026" y="928"/>
                  <a:pt x="2026" y="928"/>
                </a:cubicBezTo>
                <a:cubicBezTo>
                  <a:pt x="2027" y="926"/>
                  <a:pt x="2027" y="926"/>
                  <a:pt x="2027" y="926"/>
                </a:cubicBezTo>
                <a:cubicBezTo>
                  <a:pt x="2026" y="924"/>
                  <a:pt x="2026" y="924"/>
                  <a:pt x="2026" y="924"/>
                </a:cubicBezTo>
                <a:cubicBezTo>
                  <a:pt x="2026" y="923"/>
                  <a:pt x="2026" y="923"/>
                  <a:pt x="2026" y="923"/>
                </a:cubicBezTo>
                <a:cubicBezTo>
                  <a:pt x="2026" y="921"/>
                  <a:pt x="2026" y="921"/>
                  <a:pt x="2026" y="921"/>
                </a:cubicBezTo>
                <a:cubicBezTo>
                  <a:pt x="2027" y="920"/>
                  <a:pt x="2027" y="920"/>
                  <a:pt x="2027" y="920"/>
                </a:cubicBezTo>
                <a:cubicBezTo>
                  <a:pt x="2027" y="919"/>
                  <a:pt x="2027" y="919"/>
                  <a:pt x="2027" y="919"/>
                </a:cubicBezTo>
                <a:cubicBezTo>
                  <a:pt x="2026" y="919"/>
                  <a:pt x="2026" y="919"/>
                  <a:pt x="2026" y="919"/>
                </a:cubicBezTo>
                <a:cubicBezTo>
                  <a:pt x="2026" y="919"/>
                  <a:pt x="2026" y="919"/>
                  <a:pt x="2026" y="919"/>
                </a:cubicBezTo>
                <a:cubicBezTo>
                  <a:pt x="2026" y="918"/>
                  <a:pt x="2026" y="918"/>
                  <a:pt x="2026" y="918"/>
                </a:cubicBezTo>
                <a:cubicBezTo>
                  <a:pt x="2026" y="916"/>
                  <a:pt x="2026" y="916"/>
                  <a:pt x="2026" y="916"/>
                </a:cubicBezTo>
                <a:cubicBezTo>
                  <a:pt x="2027" y="914"/>
                  <a:pt x="2027" y="914"/>
                  <a:pt x="2027" y="914"/>
                </a:cubicBezTo>
                <a:cubicBezTo>
                  <a:pt x="2028" y="913"/>
                  <a:pt x="2028" y="913"/>
                  <a:pt x="2028" y="913"/>
                </a:cubicBezTo>
                <a:cubicBezTo>
                  <a:pt x="2028" y="912"/>
                  <a:pt x="2028" y="912"/>
                  <a:pt x="2028" y="912"/>
                </a:cubicBezTo>
                <a:cubicBezTo>
                  <a:pt x="2026" y="913"/>
                  <a:pt x="2026" y="913"/>
                  <a:pt x="2026" y="913"/>
                </a:cubicBezTo>
                <a:cubicBezTo>
                  <a:pt x="2024" y="912"/>
                  <a:pt x="2024" y="912"/>
                  <a:pt x="2024" y="912"/>
                </a:cubicBezTo>
                <a:cubicBezTo>
                  <a:pt x="2023" y="911"/>
                  <a:pt x="2023" y="911"/>
                  <a:pt x="2023" y="911"/>
                </a:cubicBezTo>
                <a:cubicBezTo>
                  <a:pt x="2023" y="911"/>
                  <a:pt x="2023" y="911"/>
                  <a:pt x="2023" y="911"/>
                </a:cubicBezTo>
                <a:cubicBezTo>
                  <a:pt x="2022" y="911"/>
                  <a:pt x="2022" y="911"/>
                  <a:pt x="2022" y="911"/>
                </a:cubicBezTo>
                <a:cubicBezTo>
                  <a:pt x="2021" y="912"/>
                  <a:pt x="2021" y="912"/>
                  <a:pt x="2021" y="912"/>
                </a:cubicBezTo>
                <a:cubicBezTo>
                  <a:pt x="2021" y="913"/>
                  <a:pt x="2021" y="913"/>
                  <a:pt x="2021" y="913"/>
                </a:cubicBezTo>
                <a:cubicBezTo>
                  <a:pt x="2020" y="914"/>
                  <a:pt x="2020" y="914"/>
                  <a:pt x="2020" y="914"/>
                </a:cubicBezTo>
                <a:cubicBezTo>
                  <a:pt x="2020" y="914"/>
                  <a:pt x="2020" y="914"/>
                  <a:pt x="2020" y="914"/>
                </a:cubicBezTo>
                <a:cubicBezTo>
                  <a:pt x="2018" y="916"/>
                  <a:pt x="2018" y="916"/>
                  <a:pt x="2018" y="916"/>
                </a:cubicBezTo>
                <a:cubicBezTo>
                  <a:pt x="2015" y="916"/>
                  <a:pt x="2015" y="916"/>
                  <a:pt x="2015" y="916"/>
                </a:cubicBezTo>
                <a:cubicBezTo>
                  <a:pt x="2014" y="917"/>
                  <a:pt x="2014" y="917"/>
                  <a:pt x="2014" y="917"/>
                </a:cubicBezTo>
                <a:cubicBezTo>
                  <a:pt x="2014" y="916"/>
                  <a:pt x="2014" y="916"/>
                  <a:pt x="2014" y="916"/>
                </a:cubicBezTo>
                <a:cubicBezTo>
                  <a:pt x="2011" y="916"/>
                  <a:pt x="2011" y="916"/>
                  <a:pt x="2011" y="916"/>
                </a:cubicBezTo>
                <a:cubicBezTo>
                  <a:pt x="2009" y="918"/>
                  <a:pt x="2009" y="918"/>
                  <a:pt x="2009" y="918"/>
                </a:cubicBezTo>
                <a:cubicBezTo>
                  <a:pt x="2004" y="919"/>
                  <a:pt x="2004" y="919"/>
                  <a:pt x="2004" y="919"/>
                </a:cubicBezTo>
                <a:cubicBezTo>
                  <a:pt x="2003" y="919"/>
                  <a:pt x="2003" y="919"/>
                  <a:pt x="2003" y="919"/>
                </a:cubicBezTo>
                <a:cubicBezTo>
                  <a:pt x="2002" y="918"/>
                  <a:pt x="2002" y="918"/>
                  <a:pt x="2002" y="918"/>
                </a:cubicBezTo>
                <a:cubicBezTo>
                  <a:pt x="1999" y="919"/>
                  <a:pt x="1999" y="919"/>
                  <a:pt x="1999" y="919"/>
                </a:cubicBezTo>
                <a:cubicBezTo>
                  <a:pt x="1996" y="920"/>
                  <a:pt x="1996" y="920"/>
                  <a:pt x="1996" y="920"/>
                </a:cubicBezTo>
                <a:cubicBezTo>
                  <a:pt x="1993" y="920"/>
                  <a:pt x="1993" y="920"/>
                  <a:pt x="1993" y="920"/>
                </a:cubicBezTo>
                <a:cubicBezTo>
                  <a:pt x="1992" y="920"/>
                  <a:pt x="1992" y="920"/>
                  <a:pt x="1992" y="920"/>
                </a:cubicBezTo>
                <a:cubicBezTo>
                  <a:pt x="1990" y="919"/>
                  <a:pt x="1990" y="919"/>
                  <a:pt x="1990" y="919"/>
                </a:cubicBezTo>
                <a:cubicBezTo>
                  <a:pt x="1988" y="920"/>
                  <a:pt x="1988" y="920"/>
                  <a:pt x="1988" y="920"/>
                </a:cubicBezTo>
                <a:cubicBezTo>
                  <a:pt x="1981" y="924"/>
                  <a:pt x="1981" y="924"/>
                  <a:pt x="1981" y="924"/>
                </a:cubicBezTo>
                <a:cubicBezTo>
                  <a:pt x="1979" y="924"/>
                  <a:pt x="1979" y="924"/>
                  <a:pt x="1979" y="924"/>
                </a:cubicBezTo>
                <a:cubicBezTo>
                  <a:pt x="1977" y="923"/>
                  <a:pt x="1977" y="923"/>
                  <a:pt x="1977" y="923"/>
                </a:cubicBezTo>
                <a:cubicBezTo>
                  <a:pt x="1976" y="923"/>
                  <a:pt x="1976" y="923"/>
                  <a:pt x="1976" y="923"/>
                </a:cubicBezTo>
                <a:cubicBezTo>
                  <a:pt x="1973" y="923"/>
                  <a:pt x="1973" y="923"/>
                  <a:pt x="1973" y="923"/>
                </a:cubicBezTo>
                <a:cubicBezTo>
                  <a:pt x="1972" y="923"/>
                  <a:pt x="1972" y="923"/>
                  <a:pt x="1972" y="923"/>
                </a:cubicBezTo>
                <a:cubicBezTo>
                  <a:pt x="1971" y="923"/>
                  <a:pt x="1971" y="923"/>
                  <a:pt x="1971" y="923"/>
                </a:cubicBezTo>
                <a:cubicBezTo>
                  <a:pt x="1968" y="926"/>
                  <a:pt x="1968" y="926"/>
                  <a:pt x="1968" y="926"/>
                </a:cubicBezTo>
                <a:cubicBezTo>
                  <a:pt x="1966" y="926"/>
                  <a:pt x="1966" y="926"/>
                  <a:pt x="1966" y="926"/>
                </a:cubicBezTo>
                <a:cubicBezTo>
                  <a:pt x="1964" y="927"/>
                  <a:pt x="1964" y="927"/>
                  <a:pt x="1964" y="927"/>
                </a:cubicBezTo>
                <a:cubicBezTo>
                  <a:pt x="1963" y="928"/>
                  <a:pt x="1963" y="928"/>
                  <a:pt x="1963" y="928"/>
                </a:cubicBezTo>
                <a:cubicBezTo>
                  <a:pt x="1960" y="929"/>
                  <a:pt x="1960" y="929"/>
                  <a:pt x="1960" y="929"/>
                </a:cubicBezTo>
                <a:cubicBezTo>
                  <a:pt x="1957" y="928"/>
                  <a:pt x="1957" y="928"/>
                  <a:pt x="1957" y="928"/>
                </a:cubicBezTo>
                <a:cubicBezTo>
                  <a:pt x="1955" y="926"/>
                  <a:pt x="1955" y="926"/>
                  <a:pt x="1955" y="926"/>
                </a:cubicBezTo>
                <a:cubicBezTo>
                  <a:pt x="1954" y="926"/>
                  <a:pt x="1954" y="926"/>
                  <a:pt x="1954" y="926"/>
                </a:cubicBezTo>
                <a:cubicBezTo>
                  <a:pt x="1953" y="924"/>
                  <a:pt x="1953" y="924"/>
                  <a:pt x="1953" y="924"/>
                </a:cubicBezTo>
                <a:cubicBezTo>
                  <a:pt x="1947" y="917"/>
                  <a:pt x="1947" y="917"/>
                  <a:pt x="1947" y="917"/>
                </a:cubicBezTo>
                <a:cubicBezTo>
                  <a:pt x="1946" y="917"/>
                  <a:pt x="1946" y="917"/>
                  <a:pt x="1946" y="917"/>
                </a:cubicBezTo>
                <a:cubicBezTo>
                  <a:pt x="1946" y="916"/>
                  <a:pt x="1946" y="916"/>
                  <a:pt x="1946" y="916"/>
                </a:cubicBezTo>
                <a:cubicBezTo>
                  <a:pt x="1945" y="915"/>
                  <a:pt x="1945" y="915"/>
                  <a:pt x="1945" y="915"/>
                </a:cubicBezTo>
                <a:cubicBezTo>
                  <a:pt x="1943" y="915"/>
                  <a:pt x="1943" y="915"/>
                  <a:pt x="1943" y="915"/>
                </a:cubicBezTo>
                <a:cubicBezTo>
                  <a:pt x="1941" y="916"/>
                  <a:pt x="1941" y="916"/>
                  <a:pt x="1941" y="916"/>
                </a:cubicBezTo>
                <a:cubicBezTo>
                  <a:pt x="1940" y="916"/>
                  <a:pt x="1940" y="916"/>
                  <a:pt x="1940" y="916"/>
                </a:cubicBezTo>
                <a:cubicBezTo>
                  <a:pt x="1939" y="914"/>
                  <a:pt x="1939" y="914"/>
                  <a:pt x="1939" y="914"/>
                </a:cubicBezTo>
                <a:cubicBezTo>
                  <a:pt x="1941" y="914"/>
                  <a:pt x="1941" y="914"/>
                  <a:pt x="1941" y="914"/>
                </a:cubicBezTo>
                <a:cubicBezTo>
                  <a:pt x="1942" y="913"/>
                  <a:pt x="1942" y="913"/>
                  <a:pt x="1942" y="913"/>
                </a:cubicBezTo>
                <a:cubicBezTo>
                  <a:pt x="1944" y="913"/>
                  <a:pt x="1944" y="913"/>
                  <a:pt x="1944" y="913"/>
                </a:cubicBezTo>
                <a:cubicBezTo>
                  <a:pt x="1946" y="911"/>
                  <a:pt x="1946" y="911"/>
                  <a:pt x="1946" y="911"/>
                </a:cubicBezTo>
                <a:cubicBezTo>
                  <a:pt x="1947" y="910"/>
                  <a:pt x="1947" y="910"/>
                  <a:pt x="1947" y="910"/>
                </a:cubicBezTo>
                <a:cubicBezTo>
                  <a:pt x="1946" y="907"/>
                  <a:pt x="1946" y="907"/>
                  <a:pt x="1946" y="907"/>
                </a:cubicBezTo>
                <a:cubicBezTo>
                  <a:pt x="1947" y="906"/>
                  <a:pt x="1947" y="906"/>
                  <a:pt x="1947" y="906"/>
                </a:cubicBezTo>
                <a:cubicBezTo>
                  <a:pt x="1946" y="906"/>
                  <a:pt x="1946" y="906"/>
                  <a:pt x="1946" y="906"/>
                </a:cubicBezTo>
                <a:cubicBezTo>
                  <a:pt x="1944" y="904"/>
                  <a:pt x="1944" y="904"/>
                  <a:pt x="1944" y="904"/>
                </a:cubicBezTo>
                <a:cubicBezTo>
                  <a:pt x="1944" y="903"/>
                  <a:pt x="1944" y="903"/>
                  <a:pt x="1944" y="903"/>
                </a:cubicBezTo>
                <a:cubicBezTo>
                  <a:pt x="1944" y="903"/>
                  <a:pt x="1944" y="903"/>
                  <a:pt x="1944" y="903"/>
                </a:cubicBezTo>
                <a:cubicBezTo>
                  <a:pt x="1943" y="903"/>
                  <a:pt x="1943" y="903"/>
                  <a:pt x="1943" y="903"/>
                </a:cubicBezTo>
                <a:cubicBezTo>
                  <a:pt x="1943" y="902"/>
                  <a:pt x="1943" y="902"/>
                  <a:pt x="1943" y="902"/>
                </a:cubicBezTo>
                <a:cubicBezTo>
                  <a:pt x="1942" y="903"/>
                  <a:pt x="1942" y="903"/>
                  <a:pt x="1942" y="903"/>
                </a:cubicBezTo>
                <a:cubicBezTo>
                  <a:pt x="1941" y="902"/>
                  <a:pt x="1941" y="902"/>
                  <a:pt x="1941" y="902"/>
                </a:cubicBezTo>
                <a:cubicBezTo>
                  <a:pt x="1940" y="902"/>
                  <a:pt x="1940" y="902"/>
                  <a:pt x="1940" y="902"/>
                </a:cubicBezTo>
                <a:cubicBezTo>
                  <a:pt x="1939" y="901"/>
                  <a:pt x="1939" y="901"/>
                  <a:pt x="1939" y="901"/>
                </a:cubicBezTo>
                <a:cubicBezTo>
                  <a:pt x="1939" y="900"/>
                  <a:pt x="1939" y="900"/>
                  <a:pt x="1939" y="900"/>
                </a:cubicBezTo>
                <a:cubicBezTo>
                  <a:pt x="1938" y="898"/>
                  <a:pt x="1938" y="898"/>
                  <a:pt x="1938" y="898"/>
                </a:cubicBezTo>
                <a:cubicBezTo>
                  <a:pt x="1937" y="898"/>
                  <a:pt x="1937" y="898"/>
                  <a:pt x="1937" y="898"/>
                </a:cubicBezTo>
                <a:cubicBezTo>
                  <a:pt x="1935" y="893"/>
                  <a:pt x="1935" y="893"/>
                  <a:pt x="1935" y="893"/>
                </a:cubicBezTo>
                <a:cubicBezTo>
                  <a:pt x="1934" y="893"/>
                  <a:pt x="1934" y="893"/>
                  <a:pt x="1934" y="893"/>
                </a:cubicBezTo>
                <a:cubicBezTo>
                  <a:pt x="1934" y="893"/>
                  <a:pt x="1934" y="893"/>
                  <a:pt x="1934" y="893"/>
                </a:cubicBezTo>
                <a:cubicBezTo>
                  <a:pt x="1933" y="893"/>
                  <a:pt x="1933" y="893"/>
                  <a:pt x="1933" y="893"/>
                </a:cubicBezTo>
                <a:cubicBezTo>
                  <a:pt x="1932" y="891"/>
                  <a:pt x="1932" y="891"/>
                  <a:pt x="1932" y="891"/>
                </a:cubicBezTo>
                <a:cubicBezTo>
                  <a:pt x="1930" y="890"/>
                  <a:pt x="1930" y="890"/>
                  <a:pt x="1930" y="890"/>
                </a:cubicBezTo>
                <a:cubicBezTo>
                  <a:pt x="1928" y="888"/>
                  <a:pt x="1928" y="888"/>
                  <a:pt x="1928" y="888"/>
                </a:cubicBezTo>
                <a:cubicBezTo>
                  <a:pt x="1925" y="884"/>
                  <a:pt x="1925" y="884"/>
                  <a:pt x="1925" y="884"/>
                </a:cubicBezTo>
                <a:cubicBezTo>
                  <a:pt x="1924" y="883"/>
                  <a:pt x="1924" y="883"/>
                  <a:pt x="1924" y="883"/>
                </a:cubicBezTo>
                <a:cubicBezTo>
                  <a:pt x="1921" y="882"/>
                  <a:pt x="1921" y="882"/>
                  <a:pt x="1921" y="882"/>
                </a:cubicBezTo>
                <a:cubicBezTo>
                  <a:pt x="1921" y="881"/>
                  <a:pt x="1921" y="881"/>
                  <a:pt x="1921" y="881"/>
                </a:cubicBezTo>
                <a:cubicBezTo>
                  <a:pt x="1919" y="879"/>
                  <a:pt x="1919" y="879"/>
                  <a:pt x="1919" y="879"/>
                </a:cubicBezTo>
                <a:cubicBezTo>
                  <a:pt x="1917" y="880"/>
                  <a:pt x="1917" y="880"/>
                  <a:pt x="1917" y="880"/>
                </a:cubicBezTo>
                <a:cubicBezTo>
                  <a:pt x="1917" y="879"/>
                  <a:pt x="1917" y="879"/>
                  <a:pt x="1917" y="879"/>
                </a:cubicBezTo>
                <a:cubicBezTo>
                  <a:pt x="1915" y="879"/>
                  <a:pt x="1915" y="879"/>
                  <a:pt x="1915" y="879"/>
                </a:cubicBezTo>
                <a:cubicBezTo>
                  <a:pt x="1914" y="880"/>
                  <a:pt x="1914" y="880"/>
                  <a:pt x="1914" y="880"/>
                </a:cubicBezTo>
                <a:cubicBezTo>
                  <a:pt x="1913" y="879"/>
                  <a:pt x="1913" y="879"/>
                  <a:pt x="1913" y="879"/>
                </a:cubicBezTo>
                <a:cubicBezTo>
                  <a:pt x="1911" y="876"/>
                  <a:pt x="1911" y="876"/>
                  <a:pt x="1911" y="876"/>
                </a:cubicBezTo>
                <a:cubicBezTo>
                  <a:pt x="1912" y="876"/>
                  <a:pt x="1912" y="876"/>
                  <a:pt x="1912" y="876"/>
                </a:cubicBezTo>
                <a:cubicBezTo>
                  <a:pt x="1910" y="873"/>
                  <a:pt x="1910" y="873"/>
                  <a:pt x="1910" y="873"/>
                </a:cubicBezTo>
                <a:cubicBezTo>
                  <a:pt x="1909" y="873"/>
                  <a:pt x="1909" y="873"/>
                  <a:pt x="1909" y="873"/>
                </a:cubicBezTo>
                <a:cubicBezTo>
                  <a:pt x="1909" y="875"/>
                  <a:pt x="1909" y="875"/>
                  <a:pt x="1909" y="875"/>
                </a:cubicBezTo>
                <a:cubicBezTo>
                  <a:pt x="1910" y="875"/>
                  <a:pt x="1910" y="875"/>
                  <a:pt x="1910" y="875"/>
                </a:cubicBezTo>
                <a:cubicBezTo>
                  <a:pt x="1910" y="878"/>
                  <a:pt x="1910" y="878"/>
                  <a:pt x="1910" y="878"/>
                </a:cubicBezTo>
                <a:cubicBezTo>
                  <a:pt x="1908" y="878"/>
                  <a:pt x="1908" y="878"/>
                  <a:pt x="1908" y="878"/>
                </a:cubicBezTo>
                <a:cubicBezTo>
                  <a:pt x="1908" y="874"/>
                  <a:pt x="1908" y="874"/>
                  <a:pt x="1908" y="874"/>
                </a:cubicBezTo>
                <a:cubicBezTo>
                  <a:pt x="1907" y="872"/>
                  <a:pt x="1907" y="872"/>
                  <a:pt x="1907" y="872"/>
                </a:cubicBezTo>
                <a:cubicBezTo>
                  <a:pt x="1905" y="872"/>
                  <a:pt x="1905" y="872"/>
                  <a:pt x="1905" y="872"/>
                </a:cubicBezTo>
                <a:cubicBezTo>
                  <a:pt x="1905" y="871"/>
                  <a:pt x="1905" y="871"/>
                  <a:pt x="1905" y="871"/>
                </a:cubicBezTo>
                <a:cubicBezTo>
                  <a:pt x="1905" y="868"/>
                  <a:pt x="1905" y="868"/>
                  <a:pt x="1905" y="868"/>
                </a:cubicBezTo>
                <a:cubicBezTo>
                  <a:pt x="1904" y="868"/>
                  <a:pt x="1904" y="868"/>
                  <a:pt x="1904" y="868"/>
                </a:cubicBezTo>
                <a:cubicBezTo>
                  <a:pt x="1903" y="861"/>
                  <a:pt x="1903" y="861"/>
                  <a:pt x="1903" y="861"/>
                </a:cubicBezTo>
                <a:cubicBezTo>
                  <a:pt x="1899" y="850"/>
                  <a:pt x="1899" y="850"/>
                  <a:pt x="1899" y="850"/>
                </a:cubicBezTo>
                <a:cubicBezTo>
                  <a:pt x="1896" y="847"/>
                  <a:pt x="1896" y="847"/>
                  <a:pt x="1896" y="847"/>
                </a:cubicBezTo>
                <a:cubicBezTo>
                  <a:pt x="1895" y="847"/>
                  <a:pt x="1895" y="847"/>
                  <a:pt x="1895" y="847"/>
                </a:cubicBezTo>
                <a:cubicBezTo>
                  <a:pt x="1895" y="846"/>
                  <a:pt x="1895" y="846"/>
                  <a:pt x="1895" y="846"/>
                </a:cubicBezTo>
                <a:cubicBezTo>
                  <a:pt x="1893" y="845"/>
                  <a:pt x="1893" y="845"/>
                  <a:pt x="1893" y="845"/>
                </a:cubicBezTo>
                <a:cubicBezTo>
                  <a:pt x="1891" y="845"/>
                  <a:pt x="1891" y="845"/>
                  <a:pt x="1891" y="845"/>
                </a:cubicBezTo>
                <a:cubicBezTo>
                  <a:pt x="1891" y="843"/>
                  <a:pt x="1891" y="843"/>
                  <a:pt x="1891" y="843"/>
                </a:cubicBezTo>
                <a:cubicBezTo>
                  <a:pt x="1887" y="840"/>
                  <a:pt x="1887" y="840"/>
                  <a:pt x="1887" y="840"/>
                </a:cubicBezTo>
                <a:cubicBezTo>
                  <a:pt x="1885" y="839"/>
                  <a:pt x="1885" y="839"/>
                  <a:pt x="1885" y="839"/>
                </a:cubicBezTo>
                <a:cubicBezTo>
                  <a:pt x="1883" y="836"/>
                  <a:pt x="1883" y="836"/>
                  <a:pt x="1883" y="836"/>
                </a:cubicBezTo>
                <a:cubicBezTo>
                  <a:pt x="1882" y="831"/>
                  <a:pt x="1882" y="831"/>
                  <a:pt x="1882" y="831"/>
                </a:cubicBezTo>
                <a:cubicBezTo>
                  <a:pt x="1882" y="828"/>
                  <a:pt x="1882" y="828"/>
                  <a:pt x="1882" y="828"/>
                </a:cubicBezTo>
                <a:cubicBezTo>
                  <a:pt x="1882" y="824"/>
                  <a:pt x="1882" y="824"/>
                  <a:pt x="1882" y="824"/>
                </a:cubicBezTo>
                <a:cubicBezTo>
                  <a:pt x="1879" y="816"/>
                  <a:pt x="1879" y="816"/>
                  <a:pt x="1879" y="816"/>
                </a:cubicBezTo>
                <a:cubicBezTo>
                  <a:pt x="1879" y="815"/>
                  <a:pt x="1879" y="815"/>
                  <a:pt x="1879" y="815"/>
                </a:cubicBezTo>
                <a:cubicBezTo>
                  <a:pt x="1879" y="814"/>
                  <a:pt x="1879" y="814"/>
                  <a:pt x="1879" y="814"/>
                </a:cubicBezTo>
                <a:cubicBezTo>
                  <a:pt x="1880" y="815"/>
                  <a:pt x="1880" y="815"/>
                  <a:pt x="1880" y="815"/>
                </a:cubicBezTo>
                <a:cubicBezTo>
                  <a:pt x="1881" y="816"/>
                  <a:pt x="1881" y="816"/>
                  <a:pt x="1881" y="816"/>
                </a:cubicBezTo>
                <a:cubicBezTo>
                  <a:pt x="1881" y="816"/>
                  <a:pt x="1881" y="816"/>
                  <a:pt x="1881" y="816"/>
                </a:cubicBezTo>
                <a:cubicBezTo>
                  <a:pt x="1881" y="815"/>
                  <a:pt x="1881" y="815"/>
                  <a:pt x="1881" y="815"/>
                </a:cubicBezTo>
                <a:cubicBezTo>
                  <a:pt x="1879" y="813"/>
                  <a:pt x="1879" y="813"/>
                  <a:pt x="1879" y="813"/>
                </a:cubicBezTo>
                <a:cubicBezTo>
                  <a:pt x="1878" y="810"/>
                  <a:pt x="1878" y="810"/>
                  <a:pt x="1878" y="810"/>
                </a:cubicBezTo>
                <a:cubicBezTo>
                  <a:pt x="1878" y="809"/>
                  <a:pt x="1878" y="809"/>
                  <a:pt x="1878" y="809"/>
                </a:cubicBezTo>
                <a:cubicBezTo>
                  <a:pt x="1878" y="809"/>
                  <a:pt x="1878" y="809"/>
                  <a:pt x="1878" y="809"/>
                </a:cubicBezTo>
                <a:cubicBezTo>
                  <a:pt x="1878" y="808"/>
                  <a:pt x="1878" y="808"/>
                  <a:pt x="1878" y="808"/>
                </a:cubicBezTo>
                <a:cubicBezTo>
                  <a:pt x="1878" y="808"/>
                  <a:pt x="1878" y="808"/>
                  <a:pt x="1878" y="808"/>
                </a:cubicBezTo>
                <a:cubicBezTo>
                  <a:pt x="1877" y="807"/>
                  <a:pt x="1877" y="807"/>
                  <a:pt x="1877" y="807"/>
                </a:cubicBezTo>
                <a:cubicBezTo>
                  <a:pt x="1878" y="806"/>
                  <a:pt x="1878" y="806"/>
                  <a:pt x="1878" y="806"/>
                </a:cubicBezTo>
                <a:cubicBezTo>
                  <a:pt x="1878" y="805"/>
                  <a:pt x="1878" y="805"/>
                  <a:pt x="1878" y="805"/>
                </a:cubicBezTo>
                <a:cubicBezTo>
                  <a:pt x="1878" y="805"/>
                  <a:pt x="1878" y="805"/>
                  <a:pt x="1878" y="805"/>
                </a:cubicBezTo>
                <a:cubicBezTo>
                  <a:pt x="1876" y="804"/>
                  <a:pt x="1876" y="804"/>
                  <a:pt x="1876" y="804"/>
                </a:cubicBezTo>
                <a:cubicBezTo>
                  <a:pt x="1874" y="802"/>
                  <a:pt x="1874" y="802"/>
                  <a:pt x="1874" y="802"/>
                </a:cubicBezTo>
                <a:cubicBezTo>
                  <a:pt x="1873" y="801"/>
                  <a:pt x="1873" y="801"/>
                  <a:pt x="1873" y="801"/>
                </a:cubicBezTo>
                <a:cubicBezTo>
                  <a:pt x="1871" y="800"/>
                  <a:pt x="1871" y="800"/>
                  <a:pt x="1871" y="800"/>
                </a:cubicBezTo>
                <a:cubicBezTo>
                  <a:pt x="1870" y="797"/>
                  <a:pt x="1870" y="797"/>
                  <a:pt x="1870" y="797"/>
                </a:cubicBezTo>
                <a:cubicBezTo>
                  <a:pt x="1868" y="798"/>
                  <a:pt x="1868" y="798"/>
                  <a:pt x="1868" y="798"/>
                </a:cubicBezTo>
                <a:cubicBezTo>
                  <a:pt x="1867" y="798"/>
                  <a:pt x="1867" y="798"/>
                  <a:pt x="1867" y="798"/>
                </a:cubicBezTo>
                <a:cubicBezTo>
                  <a:pt x="1863" y="796"/>
                  <a:pt x="1863" y="796"/>
                  <a:pt x="1863" y="796"/>
                </a:cubicBezTo>
                <a:cubicBezTo>
                  <a:pt x="1862" y="791"/>
                  <a:pt x="1862" y="791"/>
                  <a:pt x="1862" y="791"/>
                </a:cubicBezTo>
                <a:cubicBezTo>
                  <a:pt x="1862" y="789"/>
                  <a:pt x="1862" y="789"/>
                  <a:pt x="1862" y="789"/>
                </a:cubicBezTo>
                <a:cubicBezTo>
                  <a:pt x="1862" y="787"/>
                  <a:pt x="1862" y="787"/>
                  <a:pt x="1862" y="787"/>
                </a:cubicBezTo>
                <a:cubicBezTo>
                  <a:pt x="1861" y="785"/>
                  <a:pt x="1861" y="785"/>
                  <a:pt x="1861" y="785"/>
                </a:cubicBezTo>
                <a:cubicBezTo>
                  <a:pt x="1862" y="784"/>
                  <a:pt x="1862" y="784"/>
                  <a:pt x="1862" y="784"/>
                </a:cubicBezTo>
                <a:cubicBezTo>
                  <a:pt x="1862" y="785"/>
                  <a:pt x="1862" y="785"/>
                  <a:pt x="1862" y="785"/>
                </a:cubicBezTo>
                <a:cubicBezTo>
                  <a:pt x="1865" y="785"/>
                  <a:pt x="1865" y="785"/>
                  <a:pt x="1865" y="785"/>
                </a:cubicBezTo>
                <a:cubicBezTo>
                  <a:pt x="1864" y="784"/>
                  <a:pt x="1864" y="784"/>
                  <a:pt x="1864" y="784"/>
                </a:cubicBezTo>
                <a:cubicBezTo>
                  <a:pt x="1863" y="784"/>
                  <a:pt x="1863" y="784"/>
                  <a:pt x="1863" y="784"/>
                </a:cubicBezTo>
                <a:cubicBezTo>
                  <a:pt x="1862" y="781"/>
                  <a:pt x="1862" y="781"/>
                  <a:pt x="1862" y="781"/>
                </a:cubicBezTo>
                <a:cubicBezTo>
                  <a:pt x="1861" y="781"/>
                  <a:pt x="1861" y="781"/>
                  <a:pt x="1861" y="781"/>
                </a:cubicBezTo>
                <a:cubicBezTo>
                  <a:pt x="1861" y="782"/>
                  <a:pt x="1861" y="782"/>
                  <a:pt x="1861" y="782"/>
                </a:cubicBezTo>
                <a:cubicBezTo>
                  <a:pt x="1860" y="780"/>
                  <a:pt x="1860" y="780"/>
                  <a:pt x="1860" y="780"/>
                </a:cubicBezTo>
                <a:cubicBezTo>
                  <a:pt x="1859" y="777"/>
                  <a:pt x="1859" y="777"/>
                  <a:pt x="1859" y="777"/>
                </a:cubicBezTo>
                <a:cubicBezTo>
                  <a:pt x="1855" y="772"/>
                  <a:pt x="1855" y="772"/>
                  <a:pt x="1855" y="772"/>
                </a:cubicBezTo>
                <a:cubicBezTo>
                  <a:pt x="1853" y="770"/>
                  <a:pt x="1853" y="770"/>
                  <a:pt x="1853" y="770"/>
                </a:cubicBezTo>
                <a:cubicBezTo>
                  <a:pt x="1853" y="768"/>
                  <a:pt x="1853" y="768"/>
                  <a:pt x="1853" y="768"/>
                </a:cubicBezTo>
                <a:cubicBezTo>
                  <a:pt x="1846" y="758"/>
                  <a:pt x="1846" y="758"/>
                  <a:pt x="1846" y="758"/>
                </a:cubicBezTo>
                <a:cubicBezTo>
                  <a:pt x="1846" y="756"/>
                  <a:pt x="1846" y="756"/>
                  <a:pt x="1846" y="756"/>
                </a:cubicBezTo>
                <a:cubicBezTo>
                  <a:pt x="1845" y="754"/>
                  <a:pt x="1845" y="754"/>
                  <a:pt x="1845" y="754"/>
                </a:cubicBezTo>
                <a:cubicBezTo>
                  <a:pt x="1845" y="751"/>
                  <a:pt x="1845" y="751"/>
                  <a:pt x="1845" y="751"/>
                </a:cubicBezTo>
                <a:cubicBezTo>
                  <a:pt x="1844" y="749"/>
                  <a:pt x="1844" y="749"/>
                  <a:pt x="1844" y="749"/>
                </a:cubicBezTo>
                <a:cubicBezTo>
                  <a:pt x="1844" y="748"/>
                  <a:pt x="1844" y="748"/>
                  <a:pt x="1844" y="748"/>
                </a:cubicBezTo>
                <a:cubicBezTo>
                  <a:pt x="1840" y="744"/>
                  <a:pt x="1840" y="744"/>
                  <a:pt x="1840" y="744"/>
                </a:cubicBezTo>
                <a:cubicBezTo>
                  <a:pt x="1840" y="743"/>
                  <a:pt x="1840" y="743"/>
                  <a:pt x="1840" y="743"/>
                </a:cubicBezTo>
                <a:cubicBezTo>
                  <a:pt x="1841" y="741"/>
                  <a:pt x="1841" y="741"/>
                  <a:pt x="1841" y="741"/>
                </a:cubicBezTo>
                <a:cubicBezTo>
                  <a:pt x="1840" y="740"/>
                  <a:pt x="1840" y="740"/>
                  <a:pt x="1840" y="740"/>
                </a:cubicBezTo>
                <a:cubicBezTo>
                  <a:pt x="1834" y="735"/>
                  <a:pt x="1834" y="735"/>
                  <a:pt x="1834" y="735"/>
                </a:cubicBezTo>
                <a:cubicBezTo>
                  <a:pt x="1833" y="733"/>
                  <a:pt x="1833" y="733"/>
                  <a:pt x="1833" y="733"/>
                </a:cubicBezTo>
                <a:cubicBezTo>
                  <a:pt x="1830" y="729"/>
                  <a:pt x="1830" y="729"/>
                  <a:pt x="1830" y="729"/>
                </a:cubicBezTo>
                <a:cubicBezTo>
                  <a:pt x="1830" y="726"/>
                  <a:pt x="1830" y="726"/>
                  <a:pt x="1830" y="726"/>
                </a:cubicBezTo>
                <a:cubicBezTo>
                  <a:pt x="1827" y="724"/>
                  <a:pt x="1827" y="724"/>
                  <a:pt x="1827" y="724"/>
                </a:cubicBezTo>
                <a:cubicBezTo>
                  <a:pt x="1828" y="722"/>
                  <a:pt x="1828" y="722"/>
                  <a:pt x="1828" y="722"/>
                </a:cubicBezTo>
                <a:cubicBezTo>
                  <a:pt x="1828" y="721"/>
                  <a:pt x="1828" y="721"/>
                  <a:pt x="1828" y="721"/>
                </a:cubicBezTo>
                <a:cubicBezTo>
                  <a:pt x="1828" y="720"/>
                  <a:pt x="1828" y="720"/>
                  <a:pt x="1828" y="720"/>
                </a:cubicBezTo>
                <a:cubicBezTo>
                  <a:pt x="1828" y="721"/>
                  <a:pt x="1828" y="721"/>
                  <a:pt x="1828" y="721"/>
                </a:cubicBezTo>
                <a:cubicBezTo>
                  <a:pt x="1829" y="721"/>
                  <a:pt x="1829" y="721"/>
                  <a:pt x="1829" y="721"/>
                </a:cubicBezTo>
                <a:cubicBezTo>
                  <a:pt x="1830" y="723"/>
                  <a:pt x="1830" y="723"/>
                  <a:pt x="1830" y="723"/>
                </a:cubicBezTo>
                <a:cubicBezTo>
                  <a:pt x="1831" y="724"/>
                  <a:pt x="1831" y="724"/>
                  <a:pt x="1831" y="724"/>
                </a:cubicBezTo>
                <a:cubicBezTo>
                  <a:pt x="1831" y="726"/>
                  <a:pt x="1831" y="726"/>
                  <a:pt x="1831" y="726"/>
                </a:cubicBezTo>
                <a:cubicBezTo>
                  <a:pt x="1835" y="729"/>
                  <a:pt x="1835" y="729"/>
                  <a:pt x="1835" y="729"/>
                </a:cubicBezTo>
                <a:cubicBezTo>
                  <a:pt x="1835" y="731"/>
                  <a:pt x="1835" y="731"/>
                  <a:pt x="1835" y="731"/>
                </a:cubicBezTo>
                <a:cubicBezTo>
                  <a:pt x="1836" y="733"/>
                  <a:pt x="1836" y="733"/>
                  <a:pt x="1836" y="733"/>
                </a:cubicBezTo>
                <a:cubicBezTo>
                  <a:pt x="1839" y="734"/>
                  <a:pt x="1839" y="734"/>
                  <a:pt x="1839" y="734"/>
                </a:cubicBezTo>
                <a:cubicBezTo>
                  <a:pt x="1839" y="736"/>
                  <a:pt x="1839" y="736"/>
                  <a:pt x="1839" y="736"/>
                </a:cubicBezTo>
                <a:cubicBezTo>
                  <a:pt x="1844" y="741"/>
                  <a:pt x="1844" y="741"/>
                  <a:pt x="1844" y="741"/>
                </a:cubicBezTo>
                <a:cubicBezTo>
                  <a:pt x="1847" y="743"/>
                  <a:pt x="1847" y="743"/>
                  <a:pt x="1847" y="743"/>
                </a:cubicBezTo>
                <a:cubicBezTo>
                  <a:pt x="1847" y="743"/>
                  <a:pt x="1847" y="743"/>
                  <a:pt x="1847" y="743"/>
                </a:cubicBezTo>
                <a:cubicBezTo>
                  <a:pt x="1848" y="742"/>
                  <a:pt x="1848" y="742"/>
                  <a:pt x="1848" y="742"/>
                </a:cubicBezTo>
                <a:cubicBezTo>
                  <a:pt x="1849" y="741"/>
                  <a:pt x="1849" y="741"/>
                  <a:pt x="1849" y="741"/>
                </a:cubicBezTo>
                <a:cubicBezTo>
                  <a:pt x="1850" y="737"/>
                  <a:pt x="1850" y="737"/>
                  <a:pt x="1850" y="737"/>
                </a:cubicBezTo>
                <a:cubicBezTo>
                  <a:pt x="1849" y="736"/>
                  <a:pt x="1849" y="736"/>
                  <a:pt x="1849" y="736"/>
                </a:cubicBezTo>
                <a:cubicBezTo>
                  <a:pt x="1850" y="733"/>
                  <a:pt x="1850" y="733"/>
                  <a:pt x="1850" y="733"/>
                </a:cubicBezTo>
                <a:cubicBezTo>
                  <a:pt x="1850" y="731"/>
                  <a:pt x="1850" y="731"/>
                  <a:pt x="1850" y="731"/>
                </a:cubicBezTo>
                <a:cubicBezTo>
                  <a:pt x="1852" y="726"/>
                  <a:pt x="1852" y="726"/>
                  <a:pt x="1852" y="726"/>
                </a:cubicBezTo>
                <a:cubicBezTo>
                  <a:pt x="1852" y="725"/>
                  <a:pt x="1852" y="725"/>
                  <a:pt x="1852" y="725"/>
                </a:cubicBezTo>
                <a:cubicBezTo>
                  <a:pt x="1853" y="723"/>
                  <a:pt x="1853" y="723"/>
                  <a:pt x="1853" y="723"/>
                </a:cubicBezTo>
                <a:cubicBezTo>
                  <a:pt x="1853" y="723"/>
                  <a:pt x="1853" y="723"/>
                  <a:pt x="1853" y="723"/>
                </a:cubicBezTo>
                <a:cubicBezTo>
                  <a:pt x="1854" y="724"/>
                  <a:pt x="1854" y="724"/>
                  <a:pt x="1854" y="724"/>
                </a:cubicBezTo>
                <a:cubicBezTo>
                  <a:pt x="1853" y="726"/>
                  <a:pt x="1853" y="726"/>
                  <a:pt x="1853" y="726"/>
                </a:cubicBezTo>
                <a:cubicBezTo>
                  <a:pt x="1853" y="727"/>
                  <a:pt x="1853" y="727"/>
                  <a:pt x="1853" y="727"/>
                </a:cubicBezTo>
                <a:cubicBezTo>
                  <a:pt x="1852" y="731"/>
                  <a:pt x="1852" y="731"/>
                  <a:pt x="1852" y="731"/>
                </a:cubicBezTo>
                <a:cubicBezTo>
                  <a:pt x="1853" y="735"/>
                  <a:pt x="1853" y="735"/>
                  <a:pt x="1853" y="735"/>
                </a:cubicBezTo>
                <a:cubicBezTo>
                  <a:pt x="1851" y="738"/>
                  <a:pt x="1851" y="738"/>
                  <a:pt x="1851" y="738"/>
                </a:cubicBezTo>
                <a:cubicBezTo>
                  <a:pt x="1852" y="739"/>
                  <a:pt x="1852" y="739"/>
                  <a:pt x="1852" y="739"/>
                </a:cubicBezTo>
                <a:cubicBezTo>
                  <a:pt x="1853" y="738"/>
                  <a:pt x="1853" y="738"/>
                  <a:pt x="1853" y="738"/>
                </a:cubicBezTo>
                <a:cubicBezTo>
                  <a:pt x="1854" y="739"/>
                  <a:pt x="1854" y="739"/>
                  <a:pt x="1854" y="739"/>
                </a:cubicBezTo>
                <a:cubicBezTo>
                  <a:pt x="1855" y="738"/>
                  <a:pt x="1855" y="738"/>
                  <a:pt x="1855" y="738"/>
                </a:cubicBezTo>
                <a:cubicBezTo>
                  <a:pt x="1857" y="739"/>
                  <a:pt x="1857" y="739"/>
                  <a:pt x="1857" y="739"/>
                </a:cubicBezTo>
                <a:cubicBezTo>
                  <a:pt x="1857" y="740"/>
                  <a:pt x="1857" y="740"/>
                  <a:pt x="1857" y="740"/>
                </a:cubicBezTo>
                <a:cubicBezTo>
                  <a:pt x="1861" y="745"/>
                  <a:pt x="1861" y="745"/>
                  <a:pt x="1861" y="745"/>
                </a:cubicBezTo>
                <a:cubicBezTo>
                  <a:pt x="1861" y="747"/>
                  <a:pt x="1861" y="747"/>
                  <a:pt x="1861" y="747"/>
                </a:cubicBezTo>
                <a:cubicBezTo>
                  <a:pt x="1862" y="747"/>
                  <a:pt x="1862" y="747"/>
                  <a:pt x="1862" y="747"/>
                </a:cubicBezTo>
                <a:cubicBezTo>
                  <a:pt x="1863" y="750"/>
                  <a:pt x="1863" y="750"/>
                  <a:pt x="1863" y="750"/>
                </a:cubicBezTo>
                <a:cubicBezTo>
                  <a:pt x="1865" y="751"/>
                  <a:pt x="1865" y="751"/>
                  <a:pt x="1865" y="751"/>
                </a:cubicBezTo>
                <a:cubicBezTo>
                  <a:pt x="1866" y="752"/>
                  <a:pt x="1866" y="752"/>
                  <a:pt x="1866" y="752"/>
                </a:cubicBezTo>
                <a:cubicBezTo>
                  <a:pt x="1869" y="757"/>
                  <a:pt x="1869" y="757"/>
                  <a:pt x="1869" y="757"/>
                </a:cubicBezTo>
                <a:cubicBezTo>
                  <a:pt x="1869" y="758"/>
                  <a:pt x="1869" y="758"/>
                  <a:pt x="1869" y="758"/>
                </a:cubicBezTo>
                <a:cubicBezTo>
                  <a:pt x="1870" y="760"/>
                  <a:pt x="1870" y="760"/>
                  <a:pt x="1870" y="760"/>
                </a:cubicBezTo>
                <a:cubicBezTo>
                  <a:pt x="1871" y="760"/>
                  <a:pt x="1871" y="760"/>
                  <a:pt x="1871" y="760"/>
                </a:cubicBezTo>
                <a:cubicBezTo>
                  <a:pt x="1872" y="763"/>
                  <a:pt x="1872" y="763"/>
                  <a:pt x="1872" y="763"/>
                </a:cubicBezTo>
                <a:cubicBezTo>
                  <a:pt x="1873" y="764"/>
                  <a:pt x="1873" y="764"/>
                  <a:pt x="1873" y="764"/>
                </a:cubicBezTo>
                <a:cubicBezTo>
                  <a:pt x="1875" y="765"/>
                  <a:pt x="1875" y="765"/>
                  <a:pt x="1875" y="765"/>
                </a:cubicBezTo>
                <a:cubicBezTo>
                  <a:pt x="1877" y="770"/>
                  <a:pt x="1877" y="770"/>
                  <a:pt x="1877" y="770"/>
                </a:cubicBezTo>
                <a:cubicBezTo>
                  <a:pt x="1879" y="771"/>
                  <a:pt x="1879" y="771"/>
                  <a:pt x="1879" y="771"/>
                </a:cubicBezTo>
                <a:cubicBezTo>
                  <a:pt x="1879" y="774"/>
                  <a:pt x="1879" y="774"/>
                  <a:pt x="1879" y="774"/>
                </a:cubicBezTo>
                <a:cubicBezTo>
                  <a:pt x="1879" y="775"/>
                  <a:pt x="1879" y="775"/>
                  <a:pt x="1879" y="775"/>
                </a:cubicBezTo>
                <a:cubicBezTo>
                  <a:pt x="1879" y="777"/>
                  <a:pt x="1879" y="777"/>
                  <a:pt x="1879" y="777"/>
                </a:cubicBezTo>
                <a:cubicBezTo>
                  <a:pt x="1881" y="778"/>
                  <a:pt x="1881" y="778"/>
                  <a:pt x="1881" y="778"/>
                </a:cubicBezTo>
                <a:cubicBezTo>
                  <a:pt x="1881" y="780"/>
                  <a:pt x="1881" y="780"/>
                  <a:pt x="1881" y="780"/>
                </a:cubicBezTo>
                <a:cubicBezTo>
                  <a:pt x="1882" y="781"/>
                  <a:pt x="1882" y="781"/>
                  <a:pt x="1882" y="781"/>
                </a:cubicBezTo>
                <a:cubicBezTo>
                  <a:pt x="1884" y="779"/>
                  <a:pt x="1884" y="779"/>
                  <a:pt x="1884" y="779"/>
                </a:cubicBezTo>
                <a:cubicBezTo>
                  <a:pt x="1886" y="781"/>
                  <a:pt x="1886" y="781"/>
                  <a:pt x="1886" y="781"/>
                </a:cubicBezTo>
                <a:cubicBezTo>
                  <a:pt x="1889" y="782"/>
                  <a:pt x="1889" y="782"/>
                  <a:pt x="1889" y="782"/>
                </a:cubicBezTo>
                <a:cubicBezTo>
                  <a:pt x="1892" y="785"/>
                  <a:pt x="1892" y="785"/>
                  <a:pt x="1892" y="785"/>
                </a:cubicBezTo>
                <a:cubicBezTo>
                  <a:pt x="1892" y="787"/>
                  <a:pt x="1892" y="787"/>
                  <a:pt x="1892" y="787"/>
                </a:cubicBezTo>
                <a:cubicBezTo>
                  <a:pt x="1893" y="787"/>
                  <a:pt x="1893" y="787"/>
                  <a:pt x="1893" y="787"/>
                </a:cubicBezTo>
                <a:cubicBezTo>
                  <a:pt x="1893" y="790"/>
                  <a:pt x="1893" y="790"/>
                  <a:pt x="1893" y="790"/>
                </a:cubicBezTo>
                <a:cubicBezTo>
                  <a:pt x="1894" y="791"/>
                  <a:pt x="1894" y="791"/>
                  <a:pt x="1894" y="791"/>
                </a:cubicBezTo>
                <a:cubicBezTo>
                  <a:pt x="1895" y="794"/>
                  <a:pt x="1895" y="794"/>
                  <a:pt x="1895" y="794"/>
                </a:cubicBezTo>
                <a:cubicBezTo>
                  <a:pt x="1897" y="796"/>
                  <a:pt x="1897" y="796"/>
                  <a:pt x="1897" y="796"/>
                </a:cubicBezTo>
                <a:cubicBezTo>
                  <a:pt x="1898" y="800"/>
                  <a:pt x="1898" y="800"/>
                  <a:pt x="1898" y="800"/>
                </a:cubicBezTo>
                <a:cubicBezTo>
                  <a:pt x="1898" y="801"/>
                  <a:pt x="1898" y="801"/>
                  <a:pt x="1898" y="801"/>
                </a:cubicBezTo>
                <a:cubicBezTo>
                  <a:pt x="1898" y="804"/>
                  <a:pt x="1898" y="804"/>
                  <a:pt x="1898" y="804"/>
                </a:cubicBezTo>
                <a:cubicBezTo>
                  <a:pt x="1897" y="805"/>
                  <a:pt x="1897" y="805"/>
                  <a:pt x="1897" y="805"/>
                </a:cubicBezTo>
                <a:cubicBezTo>
                  <a:pt x="1898" y="806"/>
                  <a:pt x="1898" y="806"/>
                  <a:pt x="1898" y="806"/>
                </a:cubicBezTo>
                <a:cubicBezTo>
                  <a:pt x="1899" y="810"/>
                  <a:pt x="1899" y="810"/>
                  <a:pt x="1899" y="810"/>
                </a:cubicBezTo>
                <a:cubicBezTo>
                  <a:pt x="1899" y="814"/>
                  <a:pt x="1899" y="814"/>
                  <a:pt x="1899" y="814"/>
                </a:cubicBezTo>
                <a:cubicBezTo>
                  <a:pt x="1901" y="815"/>
                  <a:pt x="1901" y="815"/>
                  <a:pt x="1901" y="815"/>
                </a:cubicBezTo>
                <a:cubicBezTo>
                  <a:pt x="1901" y="817"/>
                  <a:pt x="1901" y="817"/>
                  <a:pt x="1901" y="817"/>
                </a:cubicBezTo>
                <a:cubicBezTo>
                  <a:pt x="1906" y="822"/>
                  <a:pt x="1906" y="822"/>
                  <a:pt x="1906" y="822"/>
                </a:cubicBezTo>
                <a:cubicBezTo>
                  <a:pt x="1908" y="823"/>
                  <a:pt x="1908" y="823"/>
                  <a:pt x="1908" y="823"/>
                </a:cubicBezTo>
                <a:cubicBezTo>
                  <a:pt x="1910" y="823"/>
                  <a:pt x="1910" y="823"/>
                  <a:pt x="1910" y="823"/>
                </a:cubicBezTo>
                <a:cubicBezTo>
                  <a:pt x="1912" y="825"/>
                  <a:pt x="1912" y="825"/>
                  <a:pt x="1912" y="825"/>
                </a:cubicBezTo>
                <a:cubicBezTo>
                  <a:pt x="1913" y="825"/>
                  <a:pt x="1913" y="825"/>
                  <a:pt x="1913" y="825"/>
                </a:cubicBezTo>
                <a:cubicBezTo>
                  <a:pt x="1915" y="828"/>
                  <a:pt x="1915" y="828"/>
                  <a:pt x="1915" y="828"/>
                </a:cubicBezTo>
                <a:cubicBezTo>
                  <a:pt x="1916" y="829"/>
                  <a:pt x="1916" y="829"/>
                  <a:pt x="1916" y="829"/>
                </a:cubicBezTo>
                <a:cubicBezTo>
                  <a:pt x="1918" y="830"/>
                  <a:pt x="1918" y="830"/>
                  <a:pt x="1918" y="830"/>
                </a:cubicBezTo>
                <a:cubicBezTo>
                  <a:pt x="1918" y="831"/>
                  <a:pt x="1918" y="831"/>
                  <a:pt x="1918" y="831"/>
                </a:cubicBezTo>
                <a:cubicBezTo>
                  <a:pt x="1919" y="832"/>
                  <a:pt x="1919" y="832"/>
                  <a:pt x="1919" y="832"/>
                </a:cubicBezTo>
                <a:cubicBezTo>
                  <a:pt x="1921" y="840"/>
                  <a:pt x="1921" y="840"/>
                  <a:pt x="1921" y="840"/>
                </a:cubicBezTo>
                <a:cubicBezTo>
                  <a:pt x="1924" y="842"/>
                  <a:pt x="1924" y="842"/>
                  <a:pt x="1924" y="842"/>
                </a:cubicBezTo>
                <a:cubicBezTo>
                  <a:pt x="1924" y="844"/>
                  <a:pt x="1924" y="844"/>
                  <a:pt x="1924" y="844"/>
                </a:cubicBezTo>
                <a:cubicBezTo>
                  <a:pt x="1931" y="852"/>
                  <a:pt x="1931" y="852"/>
                  <a:pt x="1931" y="852"/>
                </a:cubicBezTo>
                <a:cubicBezTo>
                  <a:pt x="1933" y="852"/>
                  <a:pt x="1933" y="852"/>
                  <a:pt x="1933" y="852"/>
                </a:cubicBezTo>
                <a:cubicBezTo>
                  <a:pt x="1933" y="856"/>
                  <a:pt x="1933" y="856"/>
                  <a:pt x="1933" y="856"/>
                </a:cubicBezTo>
                <a:cubicBezTo>
                  <a:pt x="1936" y="857"/>
                  <a:pt x="1936" y="857"/>
                  <a:pt x="1936" y="857"/>
                </a:cubicBezTo>
                <a:cubicBezTo>
                  <a:pt x="1938" y="863"/>
                  <a:pt x="1938" y="863"/>
                  <a:pt x="1938" y="863"/>
                </a:cubicBezTo>
                <a:cubicBezTo>
                  <a:pt x="1939" y="864"/>
                  <a:pt x="1939" y="864"/>
                  <a:pt x="1939" y="864"/>
                </a:cubicBezTo>
                <a:cubicBezTo>
                  <a:pt x="1940" y="870"/>
                  <a:pt x="1940" y="870"/>
                  <a:pt x="1940" y="870"/>
                </a:cubicBezTo>
                <a:cubicBezTo>
                  <a:pt x="1940" y="873"/>
                  <a:pt x="1940" y="873"/>
                  <a:pt x="1940" y="873"/>
                </a:cubicBezTo>
                <a:cubicBezTo>
                  <a:pt x="1939" y="873"/>
                  <a:pt x="1939" y="873"/>
                  <a:pt x="1939" y="873"/>
                </a:cubicBezTo>
                <a:cubicBezTo>
                  <a:pt x="1939" y="874"/>
                  <a:pt x="1939" y="874"/>
                  <a:pt x="1939" y="874"/>
                </a:cubicBezTo>
                <a:cubicBezTo>
                  <a:pt x="1937" y="873"/>
                  <a:pt x="1937" y="873"/>
                  <a:pt x="1937" y="873"/>
                </a:cubicBezTo>
                <a:cubicBezTo>
                  <a:pt x="1938" y="875"/>
                  <a:pt x="1938" y="875"/>
                  <a:pt x="1938" y="875"/>
                </a:cubicBezTo>
                <a:cubicBezTo>
                  <a:pt x="1939" y="875"/>
                  <a:pt x="1939" y="875"/>
                  <a:pt x="1939" y="875"/>
                </a:cubicBezTo>
                <a:cubicBezTo>
                  <a:pt x="1939" y="876"/>
                  <a:pt x="1939" y="876"/>
                  <a:pt x="1939" y="876"/>
                </a:cubicBezTo>
                <a:cubicBezTo>
                  <a:pt x="1941" y="879"/>
                  <a:pt x="1941" y="879"/>
                  <a:pt x="1941" y="879"/>
                </a:cubicBezTo>
                <a:cubicBezTo>
                  <a:pt x="1943" y="889"/>
                  <a:pt x="1943" y="889"/>
                  <a:pt x="1943" y="889"/>
                </a:cubicBezTo>
                <a:cubicBezTo>
                  <a:pt x="1945" y="891"/>
                  <a:pt x="1945" y="891"/>
                  <a:pt x="1945" y="891"/>
                </a:cubicBezTo>
                <a:cubicBezTo>
                  <a:pt x="1945" y="894"/>
                  <a:pt x="1945" y="894"/>
                  <a:pt x="1945" y="894"/>
                </a:cubicBezTo>
                <a:cubicBezTo>
                  <a:pt x="1944" y="895"/>
                  <a:pt x="1944" y="895"/>
                  <a:pt x="1944" y="895"/>
                </a:cubicBezTo>
                <a:cubicBezTo>
                  <a:pt x="1945" y="897"/>
                  <a:pt x="1945" y="897"/>
                  <a:pt x="1945" y="897"/>
                </a:cubicBezTo>
                <a:cubicBezTo>
                  <a:pt x="1947" y="900"/>
                  <a:pt x="1947" y="900"/>
                  <a:pt x="1947" y="900"/>
                </a:cubicBezTo>
                <a:cubicBezTo>
                  <a:pt x="1948" y="902"/>
                  <a:pt x="1948" y="902"/>
                  <a:pt x="1948" y="902"/>
                </a:cubicBezTo>
                <a:cubicBezTo>
                  <a:pt x="1949" y="904"/>
                  <a:pt x="1949" y="904"/>
                  <a:pt x="1949" y="904"/>
                </a:cubicBezTo>
                <a:cubicBezTo>
                  <a:pt x="1951" y="904"/>
                  <a:pt x="1951" y="904"/>
                  <a:pt x="1951" y="904"/>
                </a:cubicBezTo>
                <a:cubicBezTo>
                  <a:pt x="1951" y="903"/>
                  <a:pt x="1951" y="903"/>
                  <a:pt x="1951" y="903"/>
                </a:cubicBezTo>
                <a:cubicBezTo>
                  <a:pt x="1954" y="904"/>
                  <a:pt x="1954" y="904"/>
                  <a:pt x="1954" y="904"/>
                </a:cubicBezTo>
                <a:cubicBezTo>
                  <a:pt x="1956" y="903"/>
                  <a:pt x="1956" y="903"/>
                  <a:pt x="1956" y="903"/>
                </a:cubicBezTo>
                <a:cubicBezTo>
                  <a:pt x="1958" y="902"/>
                  <a:pt x="1958" y="902"/>
                  <a:pt x="1958" y="902"/>
                </a:cubicBezTo>
                <a:cubicBezTo>
                  <a:pt x="1960" y="902"/>
                  <a:pt x="1960" y="902"/>
                  <a:pt x="1960" y="902"/>
                </a:cubicBezTo>
                <a:cubicBezTo>
                  <a:pt x="1961" y="903"/>
                  <a:pt x="1961" y="903"/>
                  <a:pt x="1961" y="903"/>
                </a:cubicBezTo>
                <a:cubicBezTo>
                  <a:pt x="1963" y="902"/>
                  <a:pt x="1963" y="902"/>
                  <a:pt x="1963" y="902"/>
                </a:cubicBezTo>
                <a:cubicBezTo>
                  <a:pt x="1965" y="899"/>
                  <a:pt x="1965" y="899"/>
                  <a:pt x="1965" y="899"/>
                </a:cubicBezTo>
                <a:cubicBezTo>
                  <a:pt x="1966" y="899"/>
                  <a:pt x="1966" y="899"/>
                  <a:pt x="1966" y="899"/>
                </a:cubicBezTo>
                <a:cubicBezTo>
                  <a:pt x="1967" y="896"/>
                  <a:pt x="1967" y="896"/>
                  <a:pt x="1967" y="896"/>
                </a:cubicBezTo>
                <a:cubicBezTo>
                  <a:pt x="1969" y="895"/>
                  <a:pt x="1969" y="895"/>
                  <a:pt x="1969" y="895"/>
                </a:cubicBezTo>
                <a:cubicBezTo>
                  <a:pt x="1971" y="894"/>
                  <a:pt x="1971" y="894"/>
                  <a:pt x="1971" y="894"/>
                </a:cubicBezTo>
                <a:cubicBezTo>
                  <a:pt x="1972" y="895"/>
                  <a:pt x="1972" y="895"/>
                  <a:pt x="1972" y="895"/>
                </a:cubicBezTo>
                <a:cubicBezTo>
                  <a:pt x="1973" y="895"/>
                  <a:pt x="1973" y="895"/>
                  <a:pt x="1973" y="895"/>
                </a:cubicBezTo>
                <a:cubicBezTo>
                  <a:pt x="1976" y="895"/>
                  <a:pt x="1976" y="895"/>
                  <a:pt x="1976" y="895"/>
                </a:cubicBezTo>
                <a:cubicBezTo>
                  <a:pt x="1976" y="896"/>
                  <a:pt x="1976" y="896"/>
                  <a:pt x="1976" y="896"/>
                </a:cubicBezTo>
                <a:cubicBezTo>
                  <a:pt x="1978" y="896"/>
                  <a:pt x="1978" y="896"/>
                  <a:pt x="1978" y="896"/>
                </a:cubicBezTo>
                <a:cubicBezTo>
                  <a:pt x="1983" y="894"/>
                  <a:pt x="1983" y="894"/>
                  <a:pt x="1983" y="894"/>
                </a:cubicBezTo>
                <a:cubicBezTo>
                  <a:pt x="1987" y="894"/>
                  <a:pt x="1987" y="894"/>
                  <a:pt x="1987" y="894"/>
                </a:cubicBezTo>
                <a:cubicBezTo>
                  <a:pt x="1988" y="893"/>
                  <a:pt x="1988" y="893"/>
                  <a:pt x="1988" y="893"/>
                </a:cubicBezTo>
                <a:cubicBezTo>
                  <a:pt x="1988" y="892"/>
                  <a:pt x="1988" y="892"/>
                  <a:pt x="1988" y="892"/>
                </a:cubicBezTo>
                <a:cubicBezTo>
                  <a:pt x="1992" y="889"/>
                  <a:pt x="1992" y="889"/>
                  <a:pt x="1992" y="889"/>
                </a:cubicBezTo>
                <a:cubicBezTo>
                  <a:pt x="1993" y="889"/>
                  <a:pt x="1993" y="889"/>
                  <a:pt x="1993" y="889"/>
                </a:cubicBezTo>
                <a:cubicBezTo>
                  <a:pt x="1995" y="890"/>
                  <a:pt x="1995" y="890"/>
                  <a:pt x="1995" y="890"/>
                </a:cubicBezTo>
                <a:cubicBezTo>
                  <a:pt x="1996" y="890"/>
                  <a:pt x="1996" y="890"/>
                  <a:pt x="1996" y="890"/>
                </a:cubicBezTo>
                <a:cubicBezTo>
                  <a:pt x="1997" y="889"/>
                  <a:pt x="1997" y="889"/>
                  <a:pt x="1997" y="889"/>
                </a:cubicBezTo>
                <a:cubicBezTo>
                  <a:pt x="1998" y="889"/>
                  <a:pt x="1998" y="889"/>
                  <a:pt x="1998" y="889"/>
                </a:cubicBezTo>
                <a:cubicBezTo>
                  <a:pt x="1999" y="889"/>
                  <a:pt x="1999" y="889"/>
                  <a:pt x="1999" y="889"/>
                </a:cubicBezTo>
                <a:cubicBezTo>
                  <a:pt x="2002" y="887"/>
                  <a:pt x="2002" y="887"/>
                  <a:pt x="2002" y="887"/>
                </a:cubicBezTo>
                <a:cubicBezTo>
                  <a:pt x="2004" y="883"/>
                  <a:pt x="2004" y="883"/>
                  <a:pt x="2004" y="883"/>
                </a:cubicBezTo>
                <a:cubicBezTo>
                  <a:pt x="2006" y="883"/>
                  <a:pt x="2006" y="883"/>
                  <a:pt x="2006" y="883"/>
                </a:cubicBezTo>
                <a:cubicBezTo>
                  <a:pt x="2007" y="883"/>
                  <a:pt x="2007" y="883"/>
                  <a:pt x="2007" y="883"/>
                </a:cubicBezTo>
                <a:cubicBezTo>
                  <a:pt x="2018" y="879"/>
                  <a:pt x="2018" y="879"/>
                  <a:pt x="2018" y="879"/>
                </a:cubicBezTo>
                <a:cubicBezTo>
                  <a:pt x="2019" y="878"/>
                  <a:pt x="2019" y="878"/>
                  <a:pt x="2019" y="878"/>
                </a:cubicBezTo>
                <a:cubicBezTo>
                  <a:pt x="2026" y="877"/>
                  <a:pt x="2026" y="877"/>
                  <a:pt x="2026" y="877"/>
                </a:cubicBezTo>
                <a:cubicBezTo>
                  <a:pt x="2030" y="875"/>
                  <a:pt x="2030" y="875"/>
                  <a:pt x="2030" y="875"/>
                </a:cubicBezTo>
                <a:cubicBezTo>
                  <a:pt x="2032" y="873"/>
                  <a:pt x="2032" y="873"/>
                  <a:pt x="2032" y="873"/>
                </a:cubicBezTo>
                <a:cubicBezTo>
                  <a:pt x="2036" y="872"/>
                  <a:pt x="2036" y="872"/>
                  <a:pt x="2036" y="872"/>
                </a:cubicBezTo>
                <a:cubicBezTo>
                  <a:pt x="2036" y="871"/>
                  <a:pt x="2036" y="871"/>
                  <a:pt x="2036" y="871"/>
                </a:cubicBezTo>
                <a:cubicBezTo>
                  <a:pt x="2036" y="871"/>
                  <a:pt x="2036" y="871"/>
                  <a:pt x="2036" y="871"/>
                </a:cubicBezTo>
                <a:cubicBezTo>
                  <a:pt x="2035" y="870"/>
                  <a:pt x="2035" y="870"/>
                  <a:pt x="2035" y="870"/>
                </a:cubicBezTo>
                <a:cubicBezTo>
                  <a:pt x="2035" y="867"/>
                  <a:pt x="2035" y="867"/>
                  <a:pt x="2035" y="867"/>
                </a:cubicBezTo>
                <a:cubicBezTo>
                  <a:pt x="2039" y="863"/>
                  <a:pt x="2039" y="863"/>
                  <a:pt x="2039" y="863"/>
                </a:cubicBezTo>
                <a:cubicBezTo>
                  <a:pt x="2043" y="862"/>
                  <a:pt x="2043" y="862"/>
                  <a:pt x="2043" y="862"/>
                </a:cubicBezTo>
                <a:cubicBezTo>
                  <a:pt x="2045" y="862"/>
                  <a:pt x="2045" y="862"/>
                  <a:pt x="2045" y="862"/>
                </a:cubicBezTo>
                <a:cubicBezTo>
                  <a:pt x="2046" y="861"/>
                  <a:pt x="2046" y="861"/>
                  <a:pt x="2046" y="861"/>
                </a:cubicBezTo>
                <a:cubicBezTo>
                  <a:pt x="2047" y="862"/>
                  <a:pt x="2047" y="862"/>
                  <a:pt x="2047" y="862"/>
                </a:cubicBezTo>
                <a:cubicBezTo>
                  <a:pt x="2049" y="862"/>
                  <a:pt x="2049" y="862"/>
                  <a:pt x="2049" y="862"/>
                </a:cubicBezTo>
                <a:cubicBezTo>
                  <a:pt x="2050" y="859"/>
                  <a:pt x="2050" y="859"/>
                  <a:pt x="2050" y="859"/>
                </a:cubicBezTo>
                <a:cubicBezTo>
                  <a:pt x="2052" y="860"/>
                  <a:pt x="2052" y="860"/>
                  <a:pt x="2052" y="860"/>
                </a:cubicBezTo>
                <a:cubicBezTo>
                  <a:pt x="2056" y="858"/>
                  <a:pt x="2056" y="858"/>
                  <a:pt x="2056" y="858"/>
                </a:cubicBezTo>
                <a:cubicBezTo>
                  <a:pt x="2058" y="858"/>
                  <a:pt x="2058" y="858"/>
                  <a:pt x="2058" y="858"/>
                </a:cubicBezTo>
                <a:cubicBezTo>
                  <a:pt x="2060" y="857"/>
                  <a:pt x="2060" y="857"/>
                  <a:pt x="2060" y="857"/>
                </a:cubicBezTo>
                <a:cubicBezTo>
                  <a:pt x="2061" y="858"/>
                  <a:pt x="2061" y="858"/>
                  <a:pt x="2061" y="858"/>
                </a:cubicBezTo>
                <a:cubicBezTo>
                  <a:pt x="2062" y="858"/>
                  <a:pt x="2062" y="858"/>
                  <a:pt x="2062" y="858"/>
                </a:cubicBezTo>
                <a:cubicBezTo>
                  <a:pt x="2065" y="855"/>
                  <a:pt x="2065" y="855"/>
                  <a:pt x="2065" y="855"/>
                </a:cubicBezTo>
                <a:cubicBezTo>
                  <a:pt x="2065" y="854"/>
                  <a:pt x="2065" y="854"/>
                  <a:pt x="2065" y="854"/>
                </a:cubicBezTo>
                <a:cubicBezTo>
                  <a:pt x="2065" y="854"/>
                  <a:pt x="2065" y="854"/>
                  <a:pt x="2065" y="854"/>
                </a:cubicBezTo>
                <a:cubicBezTo>
                  <a:pt x="2065" y="853"/>
                  <a:pt x="2065" y="853"/>
                  <a:pt x="2065" y="853"/>
                </a:cubicBezTo>
                <a:cubicBezTo>
                  <a:pt x="2064" y="852"/>
                  <a:pt x="2064" y="852"/>
                  <a:pt x="2064" y="852"/>
                </a:cubicBezTo>
                <a:cubicBezTo>
                  <a:pt x="2065" y="851"/>
                  <a:pt x="2065" y="851"/>
                  <a:pt x="2065" y="851"/>
                </a:cubicBezTo>
                <a:cubicBezTo>
                  <a:pt x="2064" y="850"/>
                  <a:pt x="2064" y="850"/>
                  <a:pt x="2064" y="850"/>
                </a:cubicBezTo>
                <a:cubicBezTo>
                  <a:pt x="2066" y="849"/>
                  <a:pt x="2066" y="849"/>
                  <a:pt x="2066" y="849"/>
                </a:cubicBezTo>
                <a:cubicBezTo>
                  <a:pt x="2067" y="848"/>
                  <a:pt x="2067" y="848"/>
                  <a:pt x="2067" y="848"/>
                </a:cubicBezTo>
                <a:cubicBezTo>
                  <a:pt x="2070" y="848"/>
                  <a:pt x="2070" y="848"/>
                  <a:pt x="2070" y="848"/>
                </a:cubicBezTo>
                <a:cubicBezTo>
                  <a:pt x="2073" y="847"/>
                  <a:pt x="2073" y="847"/>
                  <a:pt x="2073" y="847"/>
                </a:cubicBezTo>
                <a:cubicBezTo>
                  <a:pt x="2074" y="848"/>
                  <a:pt x="2074" y="848"/>
                  <a:pt x="2074" y="848"/>
                </a:cubicBezTo>
                <a:cubicBezTo>
                  <a:pt x="2076" y="846"/>
                  <a:pt x="2076" y="846"/>
                  <a:pt x="2076" y="846"/>
                </a:cubicBezTo>
                <a:cubicBezTo>
                  <a:pt x="2077" y="845"/>
                  <a:pt x="2077" y="845"/>
                  <a:pt x="2077" y="845"/>
                </a:cubicBezTo>
                <a:cubicBezTo>
                  <a:pt x="2077" y="842"/>
                  <a:pt x="2077" y="842"/>
                  <a:pt x="2077" y="842"/>
                </a:cubicBezTo>
                <a:cubicBezTo>
                  <a:pt x="2080" y="838"/>
                  <a:pt x="2080" y="838"/>
                  <a:pt x="2080" y="838"/>
                </a:cubicBezTo>
                <a:cubicBezTo>
                  <a:pt x="2083" y="837"/>
                  <a:pt x="2083" y="837"/>
                  <a:pt x="2083" y="837"/>
                </a:cubicBezTo>
                <a:cubicBezTo>
                  <a:pt x="2084" y="838"/>
                  <a:pt x="2084" y="838"/>
                  <a:pt x="2084" y="838"/>
                </a:cubicBezTo>
                <a:cubicBezTo>
                  <a:pt x="2085" y="837"/>
                  <a:pt x="2085" y="837"/>
                  <a:pt x="2085" y="837"/>
                </a:cubicBezTo>
                <a:cubicBezTo>
                  <a:pt x="2090" y="836"/>
                  <a:pt x="2090" y="836"/>
                  <a:pt x="2090" y="836"/>
                </a:cubicBezTo>
                <a:cubicBezTo>
                  <a:pt x="2091" y="835"/>
                  <a:pt x="2091" y="835"/>
                  <a:pt x="2091" y="835"/>
                </a:cubicBezTo>
                <a:cubicBezTo>
                  <a:pt x="2090" y="835"/>
                  <a:pt x="2090" y="835"/>
                  <a:pt x="2090" y="835"/>
                </a:cubicBezTo>
                <a:cubicBezTo>
                  <a:pt x="2088" y="831"/>
                  <a:pt x="2088" y="831"/>
                  <a:pt x="2088" y="831"/>
                </a:cubicBezTo>
                <a:cubicBezTo>
                  <a:pt x="2089" y="831"/>
                  <a:pt x="2089" y="831"/>
                  <a:pt x="2089" y="831"/>
                </a:cubicBezTo>
                <a:cubicBezTo>
                  <a:pt x="2088" y="829"/>
                  <a:pt x="2088" y="829"/>
                  <a:pt x="2088" y="829"/>
                </a:cubicBezTo>
                <a:cubicBezTo>
                  <a:pt x="2088" y="829"/>
                  <a:pt x="2088" y="829"/>
                  <a:pt x="2088" y="829"/>
                </a:cubicBezTo>
                <a:cubicBezTo>
                  <a:pt x="2088" y="827"/>
                  <a:pt x="2088" y="827"/>
                  <a:pt x="2088" y="827"/>
                </a:cubicBezTo>
                <a:cubicBezTo>
                  <a:pt x="2088" y="826"/>
                  <a:pt x="2088" y="826"/>
                  <a:pt x="2088" y="826"/>
                </a:cubicBezTo>
                <a:cubicBezTo>
                  <a:pt x="2090" y="822"/>
                  <a:pt x="2090" y="822"/>
                  <a:pt x="2090" y="822"/>
                </a:cubicBezTo>
                <a:cubicBezTo>
                  <a:pt x="2091" y="822"/>
                  <a:pt x="2091" y="822"/>
                  <a:pt x="2091" y="822"/>
                </a:cubicBezTo>
                <a:cubicBezTo>
                  <a:pt x="2090" y="821"/>
                  <a:pt x="2090" y="821"/>
                  <a:pt x="2090" y="821"/>
                </a:cubicBezTo>
                <a:cubicBezTo>
                  <a:pt x="2091" y="821"/>
                  <a:pt x="2091" y="821"/>
                  <a:pt x="2091" y="821"/>
                </a:cubicBezTo>
                <a:cubicBezTo>
                  <a:pt x="2092" y="818"/>
                  <a:pt x="2092" y="818"/>
                  <a:pt x="2092" y="818"/>
                </a:cubicBezTo>
                <a:cubicBezTo>
                  <a:pt x="2093" y="818"/>
                  <a:pt x="2093" y="818"/>
                  <a:pt x="2093" y="818"/>
                </a:cubicBezTo>
                <a:cubicBezTo>
                  <a:pt x="2094" y="818"/>
                  <a:pt x="2094" y="818"/>
                  <a:pt x="2094" y="818"/>
                </a:cubicBezTo>
                <a:cubicBezTo>
                  <a:pt x="2094" y="819"/>
                  <a:pt x="2094" y="819"/>
                  <a:pt x="2094" y="819"/>
                </a:cubicBezTo>
                <a:cubicBezTo>
                  <a:pt x="2093" y="820"/>
                  <a:pt x="2093" y="820"/>
                  <a:pt x="2093" y="820"/>
                </a:cubicBezTo>
                <a:cubicBezTo>
                  <a:pt x="2094" y="821"/>
                  <a:pt x="2094" y="821"/>
                  <a:pt x="2094" y="821"/>
                </a:cubicBezTo>
                <a:cubicBezTo>
                  <a:pt x="2096" y="821"/>
                  <a:pt x="2096" y="821"/>
                  <a:pt x="2096" y="821"/>
                </a:cubicBezTo>
                <a:cubicBezTo>
                  <a:pt x="2097" y="817"/>
                  <a:pt x="2097" y="817"/>
                  <a:pt x="2097" y="817"/>
                </a:cubicBezTo>
                <a:cubicBezTo>
                  <a:pt x="2098" y="816"/>
                  <a:pt x="2098" y="816"/>
                  <a:pt x="2098" y="816"/>
                </a:cubicBezTo>
                <a:cubicBezTo>
                  <a:pt x="2099" y="814"/>
                  <a:pt x="2099" y="814"/>
                  <a:pt x="2099" y="814"/>
                </a:cubicBezTo>
                <a:cubicBezTo>
                  <a:pt x="2102" y="811"/>
                  <a:pt x="2102" y="811"/>
                  <a:pt x="2102" y="811"/>
                </a:cubicBezTo>
                <a:cubicBezTo>
                  <a:pt x="2105" y="805"/>
                  <a:pt x="2105" y="805"/>
                  <a:pt x="2105" y="805"/>
                </a:cubicBezTo>
                <a:cubicBezTo>
                  <a:pt x="2106" y="804"/>
                  <a:pt x="2106" y="804"/>
                  <a:pt x="2106" y="804"/>
                </a:cubicBezTo>
                <a:cubicBezTo>
                  <a:pt x="2105" y="803"/>
                  <a:pt x="2105" y="803"/>
                  <a:pt x="2105" y="803"/>
                </a:cubicBezTo>
                <a:cubicBezTo>
                  <a:pt x="2107" y="800"/>
                  <a:pt x="2107" y="800"/>
                  <a:pt x="2107" y="800"/>
                </a:cubicBezTo>
                <a:cubicBezTo>
                  <a:pt x="2107" y="798"/>
                  <a:pt x="2107" y="798"/>
                  <a:pt x="2107" y="798"/>
                </a:cubicBezTo>
                <a:cubicBezTo>
                  <a:pt x="2106" y="798"/>
                  <a:pt x="2106" y="798"/>
                  <a:pt x="2106" y="798"/>
                </a:cubicBezTo>
                <a:cubicBezTo>
                  <a:pt x="2104" y="797"/>
                  <a:pt x="2104" y="797"/>
                  <a:pt x="2104" y="797"/>
                </a:cubicBezTo>
                <a:cubicBezTo>
                  <a:pt x="2101" y="794"/>
                  <a:pt x="2101" y="794"/>
                  <a:pt x="2101" y="794"/>
                </a:cubicBezTo>
                <a:cubicBezTo>
                  <a:pt x="2100" y="792"/>
                  <a:pt x="2100" y="792"/>
                  <a:pt x="2100" y="792"/>
                </a:cubicBezTo>
                <a:cubicBezTo>
                  <a:pt x="2098" y="791"/>
                  <a:pt x="2098" y="791"/>
                  <a:pt x="2098" y="791"/>
                </a:cubicBezTo>
                <a:cubicBezTo>
                  <a:pt x="2097" y="788"/>
                  <a:pt x="2097" y="788"/>
                  <a:pt x="2097" y="788"/>
                </a:cubicBezTo>
                <a:cubicBezTo>
                  <a:pt x="2094" y="784"/>
                  <a:pt x="2094" y="784"/>
                  <a:pt x="2094" y="784"/>
                </a:cubicBezTo>
                <a:cubicBezTo>
                  <a:pt x="2093" y="784"/>
                  <a:pt x="2093" y="784"/>
                  <a:pt x="2093" y="784"/>
                </a:cubicBezTo>
                <a:cubicBezTo>
                  <a:pt x="2090" y="785"/>
                  <a:pt x="2090" y="785"/>
                  <a:pt x="2090" y="785"/>
                </a:cubicBezTo>
                <a:cubicBezTo>
                  <a:pt x="2086" y="784"/>
                  <a:pt x="2086" y="784"/>
                  <a:pt x="2086" y="784"/>
                </a:cubicBezTo>
                <a:cubicBezTo>
                  <a:pt x="2084" y="784"/>
                  <a:pt x="2084" y="784"/>
                  <a:pt x="2084" y="784"/>
                </a:cubicBezTo>
                <a:cubicBezTo>
                  <a:pt x="2083" y="785"/>
                  <a:pt x="2083" y="785"/>
                  <a:pt x="2083" y="785"/>
                </a:cubicBezTo>
                <a:cubicBezTo>
                  <a:pt x="2080" y="784"/>
                  <a:pt x="2080" y="784"/>
                  <a:pt x="2080" y="784"/>
                </a:cubicBezTo>
                <a:cubicBezTo>
                  <a:pt x="2074" y="779"/>
                  <a:pt x="2074" y="779"/>
                  <a:pt x="2074" y="779"/>
                </a:cubicBezTo>
                <a:cubicBezTo>
                  <a:pt x="2074" y="778"/>
                  <a:pt x="2074" y="778"/>
                  <a:pt x="2074" y="778"/>
                </a:cubicBezTo>
                <a:cubicBezTo>
                  <a:pt x="2071" y="774"/>
                  <a:pt x="2071" y="774"/>
                  <a:pt x="2071" y="774"/>
                </a:cubicBezTo>
                <a:cubicBezTo>
                  <a:pt x="2070" y="768"/>
                  <a:pt x="2070" y="768"/>
                  <a:pt x="2070" y="768"/>
                </a:cubicBezTo>
                <a:cubicBezTo>
                  <a:pt x="2070" y="765"/>
                  <a:pt x="2070" y="765"/>
                  <a:pt x="2070" y="765"/>
                </a:cubicBezTo>
                <a:cubicBezTo>
                  <a:pt x="2070" y="764"/>
                  <a:pt x="2070" y="764"/>
                  <a:pt x="2070" y="764"/>
                </a:cubicBezTo>
                <a:cubicBezTo>
                  <a:pt x="2069" y="764"/>
                  <a:pt x="2069" y="764"/>
                  <a:pt x="2069" y="764"/>
                </a:cubicBezTo>
                <a:cubicBezTo>
                  <a:pt x="2068" y="764"/>
                  <a:pt x="2068" y="764"/>
                  <a:pt x="2068" y="764"/>
                </a:cubicBezTo>
                <a:cubicBezTo>
                  <a:pt x="2068" y="763"/>
                  <a:pt x="2068" y="763"/>
                  <a:pt x="2068" y="763"/>
                </a:cubicBezTo>
                <a:cubicBezTo>
                  <a:pt x="2068" y="762"/>
                  <a:pt x="2068" y="762"/>
                  <a:pt x="2068" y="762"/>
                </a:cubicBezTo>
                <a:cubicBezTo>
                  <a:pt x="2069" y="761"/>
                  <a:pt x="2069" y="761"/>
                  <a:pt x="2069" y="761"/>
                </a:cubicBezTo>
                <a:cubicBezTo>
                  <a:pt x="2069" y="758"/>
                  <a:pt x="2069" y="758"/>
                  <a:pt x="2069" y="758"/>
                </a:cubicBezTo>
                <a:cubicBezTo>
                  <a:pt x="2069" y="757"/>
                  <a:pt x="2069" y="757"/>
                  <a:pt x="2069" y="757"/>
                </a:cubicBezTo>
                <a:cubicBezTo>
                  <a:pt x="2069" y="756"/>
                  <a:pt x="2069" y="756"/>
                  <a:pt x="2069" y="756"/>
                </a:cubicBezTo>
                <a:cubicBezTo>
                  <a:pt x="2069" y="756"/>
                  <a:pt x="2069" y="756"/>
                  <a:pt x="2069" y="756"/>
                </a:cubicBezTo>
                <a:cubicBezTo>
                  <a:pt x="2069" y="755"/>
                  <a:pt x="2069" y="755"/>
                  <a:pt x="2069" y="755"/>
                </a:cubicBezTo>
                <a:cubicBezTo>
                  <a:pt x="2070" y="755"/>
                  <a:pt x="2070" y="755"/>
                  <a:pt x="2070" y="755"/>
                </a:cubicBezTo>
                <a:cubicBezTo>
                  <a:pt x="2069" y="755"/>
                  <a:pt x="2069" y="755"/>
                  <a:pt x="2069" y="755"/>
                </a:cubicBezTo>
                <a:cubicBezTo>
                  <a:pt x="2069" y="755"/>
                  <a:pt x="2069" y="755"/>
                  <a:pt x="2069" y="755"/>
                </a:cubicBezTo>
                <a:cubicBezTo>
                  <a:pt x="2068" y="755"/>
                  <a:pt x="2068" y="755"/>
                  <a:pt x="2068" y="755"/>
                </a:cubicBezTo>
                <a:cubicBezTo>
                  <a:pt x="2067" y="758"/>
                  <a:pt x="2067" y="758"/>
                  <a:pt x="2067" y="758"/>
                </a:cubicBezTo>
                <a:cubicBezTo>
                  <a:pt x="2067" y="758"/>
                  <a:pt x="2067" y="758"/>
                  <a:pt x="2067" y="758"/>
                </a:cubicBezTo>
                <a:cubicBezTo>
                  <a:pt x="2066" y="758"/>
                  <a:pt x="2066" y="758"/>
                  <a:pt x="2066" y="758"/>
                </a:cubicBezTo>
                <a:cubicBezTo>
                  <a:pt x="2066" y="759"/>
                  <a:pt x="2066" y="759"/>
                  <a:pt x="2066" y="759"/>
                </a:cubicBezTo>
                <a:cubicBezTo>
                  <a:pt x="2066" y="759"/>
                  <a:pt x="2066" y="759"/>
                  <a:pt x="2066" y="759"/>
                </a:cubicBezTo>
                <a:cubicBezTo>
                  <a:pt x="2066" y="761"/>
                  <a:pt x="2066" y="761"/>
                  <a:pt x="2066" y="761"/>
                </a:cubicBezTo>
                <a:cubicBezTo>
                  <a:pt x="2065" y="762"/>
                  <a:pt x="2065" y="762"/>
                  <a:pt x="2065" y="762"/>
                </a:cubicBezTo>
                <a:cubicBezTo>
                  <a:pt x="2059" y="766"/>
                  <a:pt x="2059" y="766"/>
                  <a:pt x="2059" y="766"/>
                </a:cubicBezTo>
                <a:cubicBezTo>
                  <a:pt x="2059" y="768"/>
                  <a:pt x="2059" y="768"/>
                  <a:pt x="2059" y="768"/>
                </a:cubicBezTo>
                <a:cubicBezTo>
                  <a:pt x="2053" y="773"/>
                  <a:pt x="2053" y="773"/>
                  <a:pt x="2053" y="773"/>
                </a:cubicBezTo>
                <a:cubicBezTo>
                  <a:pt x="2052" y="775"/>
                  <a:pt x="2052" y="775"/>
                  <a:pt x="2052" y="775"/>
                </a:cubicBezTo>
                <a:cubicBezTo>
                  <a:pt x="2053" y="775"/>
                  <a:pt x="2053" y="775"/>
                  <a:pt x="2053" y="775"/>
                </a:cubicBezTo>
                <a:cubicBezTo>
                  <a:pt x="2054" y="776"/>
                  <a:pt x="2054" y="776"/>
                  <a:pt x="2054" y="776"/>
                </a:cubicBezTo>
                <a:cubicBezTo>
                  <a:pt x="2051" y="779"/>
                  <a:pt x="2051" y="779"/>
                  <a:pt x="2051" y="779"/>
                </a:cubicBezTo>
                <a:cubicBezTo>
                  <a:pt x="2050" y="778"/>
                  <a:pt x="2050" y="778"/>
                  <a:pt x="2050" y="778"/>
                </a:cubicBezTo>
                <a:cubicBezTo>
                  <a:pt x="2049" y="778"/>
                  <a:pt x="2049" y="778"/>
                  <a:pt x="2049" y="778"/>
                </a:cubicBezTo>
                <a:cubicBezTo>
                  <a:pt x="2048" y="778"/>
                  <a:pt x="2048" y="778"/>
                  <a:pt x="2048" y="778"/>
                </a:cubicBezTo>
                <a:cubicBezTo>
                  <a:pt x="2048" y="780"/>
                  <a:pt x="2048" y="780"/>
                  <a:pt x="2048" y="780"/>
                </a:cubicBezTo>
                <a:cubicBezTo>
                  <a:pt x="2047" y="780"/>
                  <a:pt x="2047" y="780"/>
                  <a:pt x="2047" y="780"/>
                </a:cubicBezTo>
                <a:cubicBezTo>
                  <a:pt x="2047" y="781"/>
                  <a:pt x="2047" y="781"/>
                  <a:pt x="2047" y="781"/>
                </a:cubicBezTo>
                <a:cubicBezTo>
                  <a:pt x="2044" y="782"/>
                  <a:pt x="2044" y="782"/>
                  <a:pt x="2044" y="782"/>
                </a:cubicBezTo>
                <a:cubicBezTo>
                  <a:pt x="2042" y="782"/>
                  <a:pt x="2042" y="782"/>
                  <a:pt x="2042" y="782"/>
                </a:cubicBezTo>
                <a:cubicBezTo>
                  <a:pt x="2041" y="781"/>
                  <a:pt x="2041" y="781"/>
                  <a:pt x="2041" y="781"/>
                </a:cubicBezTo>
                <a:cubicBezTo>
                  <a:pt x="2039" y="781"/>
                  <a:pt x="2039" y="781"/>
                  <a:pt x="2039" y="781"/>
                </a:cubicBezTo>
                <a:cubicBezTo>
                  <a:pt x="2038" y="780"/>
                  <a:pt x="2038" y="780"/>
                  <a:pt x="2038" y="780"/>
                </a:cubicBezTo>
                <a:cubicBezTo>
                  <a:pt x="2037" y="781"/>
                  <a:pt x="2037" y="781"/>
                  <a:pt x="2037" y="781"/>
                </a:cubicBezTo>
                <a:cubicBezTo>
                  <a:pt x="2033" y="780"/>
                  <a:pt x="2033" y="780"/>
                  <a:pt x="2033" y="780"/>
                </a:cubicBezTo>
                <a:cubicBezTo>
                  <a:pt x="2029" y="783"/>
                  <a:pt x="2029" y="783"/>
                  <a:pt x="2029" y="783"/>
                </a:cubicBezTo>
                <a:cubicBezTo>
                  <a:pt x="2027" y="783"/>
                  <a:pt x="2027" y="783"/>
                  <a:pt x="2027" y="783"/>
                </a:cubicBezTo>
                <a:cubicBezTo>
                  <a:pt x="2026" y="783"/>
                  <a:pt x="2026" y="783"/>
                  <a:pt x="2026" y="783"/>
                </a:cubicBezTo>
                <a:cubicBezTo>
                  <a:pt x="2024" y="783"/>
                  <a:pt x="2024" y="783"/>
                  <a:pt x="2024" y="783"/>
                </a:cubicBezTo>
                <a:cubicBezTo>
                  <a:pt x="2024" y="779"/>
                  <a:pt x="2024" y="779"/>
                  <a:pt x="2024" y="779"/>
                </a:cubicBezTo>
                <a:cubicBezTo>
                  <a:pt x="2023" y="780"/>
                  <a:pt x="2023" y="780"/>
                  <a:pt x="2023" y="780"/>
                </a:cubicBezTo>
                <a:cubicBezTo>
                  <a:pt x="2022" y="779"/>
                  <a:pt x="2022" y="779"/>
                  <a:pt x="2022" y="779"/>
                </a:cubicBezTo>
                <a:cubicBezTo>
                  <a:pt x="2022" y="779"/>
                  <a:pt x="2022" y="779"/>
                  <a:pt x="2022" y="779"/>
                </a:cubicBezTo>
                <a:cubicBezTo>
                  <a:pt x="2021" y="778"/>
                  <a:pt x="2021" y="778"/>
                  <a:pt x="2021" y="778"/>
                </a:cubicBezTo>
                <a:cubicBezTo>
                  <a:pt x="2021" y="777"/>
                  <a:pt x="2021" y="777"/>
                  <a:pt x="2021" y="777"/>
                </a:cubicBezTo>
                <a:cubicBezTo>
                  <a:pt x="2022" y="776"/>
                  <a:pt x="2022" y="776"/>
                  <a:pt x="2022" y="776"/>
                </a:cubicBezTo>
                <a:cubicBezTo>
                  <a:pt x="2020" y="776"/>
                  <a:pt x="2020" y="776"/>
                  <a:pt x="2020" y="776"/>
                </a:cubicBezTo>
                <a:cubicBezTo>
                  <a:pt x="2020" y="775"/>
                  <a:pt x="2020" y="775"/>
                  <a:pt x="2020" y="775"/>
                </a:cubicBezTo>
                <a:cubicBezTo>
                  <a:pt x="2020" y="775"/>
                  <a:pt x="2020" y="775"/>
                  <a:pt x="2020" y="775"/>
                </a:cubicBezTo>
                <a:cubicBezTo>
                  <a:pt x="2021" y="775"/>
                  <a:pt x="2021" y="775"/>
                  <a:pt x="2021" y="775"/>
                </a:cubicBezTo>
                <a:cubicBezTo>
                  <a:pt x="2022" y="770"/>
                  <a:pt x="2022" y="770"/>
                  <a:pt x="2022" y="770"/>
                </a:cubicBezTo>
                <a:cubicBezTo>
                  <a:pt x="2020" y="768"/>
                  <a:pt x="2020" y="768"/>
                  <a:pt x="2020" y="768"/>
                </a:cubicBezTo>
                <a:cubicBezTo>
                  <a:pt x="2020" y="768"/>
                  <a:pt x="2020" y="768"/>
                  <a:pt x="2020" y="768"/>
                </a:cubicBezTo>
                <a:cubicBezTo>
                  <a:pt x="2019" y="765"/>
                  <a:pt x="2019" y="765"/>
                  <a:pt x="2019" y="765"/>
                </a:cubicBezTo>
                <a:cubicBezTo>
                  <a:pt x="2020" y="765"/>
                  <a:pt x="2020" y="765"/>
                  <a:pt x="2020" y="765"/>
                </a:cubicBezTo>
                <a:cubicBezTo>
                  <a:pt x="2021" y="761"/>
                  <a:pt x="2021" y="761"/>
                  <a:pt x="2021" y="761"/>
                </a:cubicBezTo>
                <a:cubicBezTo>
                  <a:pt x="2020" y="761"/>
                  <a:pt x="2020" y="761"/>
                  <a:pt x="2020" y="761"/>
                </a:cubicBezTo>
                <a:cubicBezTo>
                  <a:pt x="2019" y="761"/>
                  <a:pt x="2019" y="761"/>
                  <a:pt x="2019" y="761"/>
                </a:cubicBezTo>
                <a:cubicBezTo>
                  <a:pt x="2019" y="759"/>
                  <a:pt x="2019" y="759"/>
                  <a:pt x="2019" y="759"/>
                </a:cubicBezTo>
                <a:cubicBezTo>
                  <a:pt x="2017" y="758"/>
                  <a:pt x="2017" y="758"/>
                  <a:pt x="2017" y="758"/>
                </a:cubicBezTo>
                <a:cubicBezTo>
                  <a:pt x="2017" y="758"/>
                  <a:pt x="2017" y="758"/>
                  <a:pt x="2017" y="758"/>
                </a:cubicBezTo>
                <a:cubicBezTo>
                  <a:pt x="2016" y="759"/>
                  <a:pt x="2016" y="759"/>
                  <a:pt x="2016" y="759"/>
                </a:cubicBezTo>
                <a:cubicBezTo>
                  <a:pt x="2016" y="759"/>
                  <a:pt x="2016" y="759"/>
                  <a:pt x="2016" y="759"/>
                </a:cubicBezTo>
                <a:cubicBezTo>
                  <a:pt x="2016" y="760"/>
                  <a:pt x="2016" y="760"/>
                  <a:pt x="2016" y="760"/>
                </a:cubicBezTo>
                <a:cubicBezTo>
                  <a:pt x="2015" y="760"/>
                  <a:pt x="2015" y="760"/>
                  <a:pt x="2015" y="760"/>
                </a:cubicBezTo>
                <a:cubicBezTo>
                  <a:pt x="2015" y="762"/>
                  <a:pt x="2015" y="762"/>
                  <a:pt x="2015" y="762"/>
                </a:cubicBezTo>
                <a:cubicBezTo>
                  <a:pt x="2015" y="762"/>
                  <a:pt x="2015" y="762"/>
                  <a:pt x="2015" y="762"/>
                </a:cubicBezTo>
                <a:cubicBezTo>
                  <a:pt x="2015" y="765"/>
                  <a:pt x="2015" y="765"/>
                  <a:pt x="2015" y="765"/>
                </a:cubicBezTo>
                <a:cubicBezTo>
                  <a:pt x="2015" y="765"/>
                  <a:pt x="2015" y="765"/>
                  <a:pt x="2015" y="765"/>
                </a:cubicBezTo>
                <a:cubicBezTo>
                  <a:pt x="2014" y="765"/>
                  <a:pt x="2014" y="765"/>
                  <a:pt x="2014" y="765"/>
                </a:cubicBezTo>
                <a:cubicBezTo>
                  <a:pt x="2014" y="768"/>
                  <a:pt x="2014" y="768"/>
                  <a:pt x="2014" y="768"/>
                </a:cubicBezTo>
                <a:cubicBezTo>
                  <a:pt x="2014" y="769"/>
                  <a:pt x="2014" y="769"/>
                  <a:pt x="2014" y="769"/>
                </a:cubicBezTo>
                <a:cubicBezTo>
                  <a:pt x="2015" y="770"/>
                  <a:pt x="2015" y="770"/>
                  <a:pt x="2015" y="770"/>
                </a:cubicBezTo>
                <a:cubicBezTo>
                  <a:pt x="2015" y="772"/>
                  <a:pt x="2015" y="772"/>
                  <a:pt x="2015" y="772"/>
                </a:cubicBezTo>
                <a:cubicBezTo>
                  <a:pt x="2014" y="772"/>
                  <a:pt x="2014" y="772"/>
                  <a:pt x="2014" y="772"/>
                </a:cubicBezTo>
                <a:cubicBezTo>
                  <a:pt x="2014" y="773"/>
                  <a:pt x="2014" y="773"/>
                  <a:pt x="2014" y="773"/>
                </a:cubicBezTo>
                <a:cubicBezTo>
                  <a:pt x="2012" y="770"/>
                  <a:pt x="2012" y="770"/>
                  <a:pt x="2012" y="770"/>
                </a:cubicBezTo>
                <a:cubicBezTo>
                  <a:pt x="2012" y="768"/>
                  <a:pt x="2012" y="768"/>
                  <a:pt x="2012" y="768"/>
                </a:cubicBezTo>
                <a:cubicBezTo>
                  <a:pt x="2006" y="761"/>
                  <a:pt x="2006" y="761"/>
                  <a:pt x="2006" y="761"/>
                </a:cubicBezTo>
                <a:cubicBezTo>
                  <a:pt x="2005" y="759"/>
                  <a:pt x="2005" y="759"/>
                  <a:pt x="2005" y="759"/>
                </a:cubicBezTo>
                <a:cubicBezTo>
                  <a:pt x="2006" y="759"/>
                  <a:pt x="2006" y="759"/>
                  <a:pt x="2006" y="759"/>
                </a:cubicBezTo>
                <a:cubicBezTo>
                  <a:pt x="2006" y="758"/>
                  <a:pt x="2006" y="758"/>
                  <a:pt x="2006" y="758"/>
                </a:cubicBezTo>
                <a:cubicBezTo>
                  <a:pt x="2004" y="753"/>
                  <a:pt x="2004" y="753"/>
                  <a:pt x="2004" y="753"/>
                </a:cubicBezTo>
                <a:cubicBezTo>
                  <a:pt x="2004" y="752"/>
                  <a:pt x="2004" y="752"/>
                  <a:pt x="2004" y="752"/>
                </a:cubicBezTo>
                <a:cubicBezTo>
                  <a:pt x="2003" y="750"/>
                  <a:pt x="2003" y="750"/>
                  <a:pt x="2003" y="750"/>
                </a:cubicBezTo>
                <a:cubicBezTo>
                  <a:pt x="2002" y="750"/>
                  <a:pt x="2002" y="750"/>
                  <a:pt x="2002" y="750"/>
                </a:cubicBezTo>
                <a:cubicBezTo>
                  <a:pt x="1999" y="745"/>
                  <a:pt x="1999" y="745"/>
                  <a:pt x="1999" y="745"/>
                </a:cubicBezTo>
                <a:cubicBezTo>
                  <a:pt x="1998" y="745"/>
                  <a:pt x="1998" y="745"/>
                  <a:pt x="1998" y="745"/>
                </a:cubicBezTo>
                <a:cubicBezTo>
                  <a:pt x="1996" y="744"/>
                  <a:pt x="1996" y="744"/>
                  <a:pt x="1996" y="744"/>
                </a:cubicBezTo>
                <a:cubicBezTo>
                  <a:pt x="1996" y="743"/>
                  <a:pt x="1996" y="743"/>
                  <a:pt x="1996" y="743"/>
                </a:cubicBezTo>
                <a:cubicBezTo>
                  <a:pt x="1997" y="743"/>
                  <a:pt x="1997" y="743"/>
                  <a:pt x="1997" y="743"/>
                </a:cubicBezTo>
                <a:cubicBezTo>
                  <a:pt x="1998" y="743"/>
                  <a:pt x="1998" y="743"/>
                  <a:pt x="1998" y="743"/>
                </a:cubicBezTo>
                <a:cubicBezTo>
                  <a:pt x="1997" y="742"/>
                  <a:pt x="1997" y="742"/>
                  <a:pt x="1997" y="742"/>
                </a:cubicBezTo>
                <a:cubicBezTo>
                  <a:pt x="1995" y="742"/>
                  <a:pt x="1995" y="742"/>
                  <a:pt x="1995" y="742"/>
                </a:cubicBezTo>
                <a:cubicBezTo>
                  <a:pt x="1992" y="741"/>
                  <a:pt x="1992" y="741"/>
                  <a:pt x="1992" y="741"/>
                </a:cubicBezTo>
                <a:cubicBezTo>
                  <a:pt x="1990" y="736"/>
                  <a:pt x="1990" y="736"/>
                  <a:pt x="1990" y="736"/>
                </a:cubicBezTo>
                <a:cubicBezTo>
                  <a:pt x="1989" y="733"/>
                  <a:pt x="1989" y="733"/>
                  <a:pt x="1989" y="733"/>
                </a:cubicBezTo>
                <a:cubicBezTo>
                  <a:pt x="1988" y="733"/>
                  <a:pt x="1988" y="733"/>
                  <a:pt x="1988" y="733"/>
                </a:cubicBezTo>
                <a:cubicBezTo>
                  <a:pt x="1988" y="731"/>
                  <a:pt x="1988" y="731"/>
                  <a:pt x="1988" y="731"/>
                </a:cubicBezTo>
                <a:cubicBezTo>
                  <a:pt x="1987" y="731"/>
                  <a:pt x="1987" y="731"/>
                  <a:pt x="1987" y="731"/>
                </a:cubicBezTo>
                <a:cubicBezTo>
                  <a:pt x="1986" y="730"/>
                  <a:pt x="1986" y="730"/>
                  <a:pt x="1986" y="730"/>
                </a:cubicBezTo>
                <a:cubicBezTo>
                  <a:pt x="1985" y="729"/>
                  <a:pt x="1985" y="729"/>
                  <a:pt x="1985" y="729"/>
                </a:cubicBezTo>
                <a:cubicBezTo>
                  <a:pt x="1985" y="729"/>
                  <a:pt x="1985" y="729"/>
                  <a:pt x="1985" y="729"/>
                </a:cubicBezTo>
                <a:cubicBezTo>
                  <a:pt x="1986" y="729"/>
                  <a:pt x="1986" y="729"/>
                  <a:pt x="1986" y="729"/>
                </a:cubicBezTo>
                <a:cubicBezTo>
                  <a:pt x="1985" y="728"/>
                  <a:pt x="1985" y="728"/>
                  <a:pt x="1985" y="728"/>
                </a:cubicBezTo>
                <a:cubicBezTo>
                  <a:pt x="1985" y="726"/>
                  <a:pt x="1985" y="726"/>
                  <a:pt x="1985" y="726"/>
                </a:cubicBezTo>
                <a:cubicBezTo>
                  <a:pt x="1984" y="724"/>
                  <a:pt x="1984" y="724"/>
                  <a:pt x="1984" y="724"/>
                </a:cubicBezTo>
                <a:cubicBezTo>
                  <a:pt x="1983" y="725"/>
                  <a:pt x="1983" y="725"/>
                  <a:pt x="1983" y="725"/>
                </a:cubicBezTo>
                <a:cubicBezTo>
                  <a:pt x="1979" y="723"/>
                  <a:pt x="1979" y="723"/>
                  <a:pt x="1979" y="723"/>
                </a:cubicBezTo>
                <a:cubicBezTo>
                  <a:pt x="1985" y="722"/>
                  <a:pt x="1985" y="722"/>
                  <a:pt x="1985" y="722"/>
                </a:cubicBezTo>
                <a:cubicBezTo>
                  <a:pt x="1984" y="717"/>
                  <a:pt x="1984" y="717"/>
                  <a:pt x="1984" y="717"/>
                </a:cubicBezTo>
                <a:cubicBezTo>
                  <a:pt x="1985" y="716"/>
                  <a:pt x="1985" y="716"/>
                  <a:pt x="1985" y="716"/>
                </a:cubicBezTo>
                <a:cubicBezTo>
                  <a:pt x="1986" y="714"/>
                  <a:pt x="1986" y="714"/>
                  <a:pt x="1986" y="714"/>
                </a:cubicBezTo>
                <a:cubicBezTo>
                  <a:pt x="1987" y="714"/>
                  <a:pt x="1987" y="714"/>
                  <a:pt x="1987" y="714"/>
                </a:cubicBezTo>
                <a:cubicBezTo>
                  <a:pt x="1988" y="713"/>
                  <a:pt x="1988" y="713"/>
                  <a:pt x="1988" y="713"/>
                </a:cubicBezTo>
                <a:cubicBezTo>
                  <a:pt x="1988" y="714"/>
                  <a:pt x="1988" y="714"/>
                  <a:pt x="1988" y="714"/>
                </a:cubicBezTo>
                <a:cubicBezTo>
                  <a:pt x="1989" y="716"/>
                  <a:pt x="1989" y="716"/>
                  <a:pt x="1989" y="716"/>
                </a:cubicBezTo>
                <a:cubicBezTo>
                  <a:pt x="1990" y="716"/>
                  <a:pt x="1990" y="716"/>
                  <a:pt x="1990" y="716"/>
                </a:cubicBezTo>
                <a:cubicBezTo>
                  <a:pt x="1991" y="715"/>
                  <a:pt x="1991" y="715"/>
                  <a:pt x="1991" y="715"/>
                </a:cubicBezTo>
                <a:cubicBezTo>
                  <a:pt x="1991" y="713"/>
                  <a:pt x="1991" y="713"/>
                  <a:pt x="1991" y="713"/>
                </a:cubicBezTo>
                <a:cubicBezTo>
                  <a:pt x="1990" y="712"/>
                  <a:pt x="1990" y="712"/>
                  <a:pt x="1990" y="712"/>
                </a:cubicBezTo>
                <a:cubicBezTo>
                  <a:pt x="1991" y="712"/>
                  <a:pt x="1991" y="712"/>
                  <a:pt x="1991" y="712"/>
                </a:cubicBezTo>
                <a:cubicBezTo>
                  <a:pt x="1993" y="712"/>
                  <a:pt x="1993" y="712"/>
                  <a:pt x="1993" y="712"/>
                </a:cubicBezTo>
                <a:cubicBezTo>
                  <a:pt x="1993" y="711"/>
                  <a:pt x="1993" y="711"/>
                  <a:pt x="1993" y="711"/>
                </a:cubicBezTo>
                <a:cubicBezTo>
                  <a:pt x="1993" y="712"/>
                  <a:pt x="1993" y="712"/>
                  <a:pt x="1993" y="712"/>
                </a:cubicBezTo>
                <a:cubicBezTo>
                  <a:pt x="1992" y="713"/>
                  <a:pt x="1992" y="713"/>
                  <a:pt x="1992" y="713"/>
                </a:cubicBezTo>
                <a:cubicBezTo>
                  <a:pt x="1995" y="715"/>
                  <a:pt x="1995" y="715"/>
                  <a:pt x="1995" y="715"/>
                </a:cubicBezTo>
                <a:cubicBezTo>
                  <a:pt x="1996" y="714"/>
                  <a:pt x="1996" y="714"/>
                  <a:pt x="1996" y="714"/>
                </a:cubicBezTo>
                <a:cubicBezTo>
                  <a:pt x="1997" y="716"/>
                  <a:pt x="1997" y="716"/>
                  <a:pt x="1997" y="716"/>
                </a:cubicBezTo>
                <a:cubicBezTo>
                  <a:pt x="1998" y="716"/>
                  <a:pt x="1998" y="716"/>
                  <a:pt x="1998" y="716"/>
                </a:cubicBezTo>
                <a:cubicBezTo>
                  <a:pt x="2001" y="713"/>
                  <a:pt x="2001" y="713"/>
                  <a:pt x="2001" y="713"/>
                </a:cubicBezTo>
                <a:cubicBezTo>
                  <a:pt x="2002" y="714"/>
                  <a:pt x="2002" y="714"/>
                  <a:pt x="2002" y="714"/>
                </a:cubicBezTo>
                <a:cubicBezTo>
                  <a:pt x="2004" y="717"/>
                  <a:pt x="2004" y="717"/>
                  <a:pt x="2004" y="717"/>
                </a:cubicBezTo>
                <a:cubicBezTo>
                  <a:pt x="2004" y="719"/>
                  <a:pt x="2004" y="719"/>
                  <a:pt x="2004" y="719"/>
                </a:cubicBezTo>
                <a:cubicBezTo>
                  <a:pt x="2008" y="723"/>
                  <a:pt x="2008" y="723"/>
                  <a:pt x="2008" y="723"/>
                </a:cubicBezTo>
                <a:cubicBezTo>
                  <a:pt x="2008" y="726"/>
                  <a:pt x="2008" y="726"/>
                  <a:pt x="2008" y="726"/>
                </a:cubicBezTo>
                <a:cubicBezTo>
                  <a:pt x="2009" y="727"/>
                  <a:pt x="2009" y="727"/>
                  <a:pt x="2009" y="727"/>
                </a:cubicBezTo>
                <a:cubicBezTo>
                  <a:pt x="2011" y="727"/>
                  <a:pt x="2011" y="727"/>
                  <a:pt x="2011" y="727"/>
                </a:cubicBezTo>
                <a:cubicBezTo>
                  <a:pt x="2012" y="729"/>
                  <a:pt x="2012" y="729"/>
                  <a:pt x="2012" y="729"/>
                </a:cubicBezTo>
                <a:cubicBezTo>
                  <a:pt x="2011" y="729"/>
                  <a:pt x="2011" y="729"/>
                  <a:pt x="2011" y="729"/>
                </a:cubicBezTo>
                <a:cubicBezTo>
                  <a:pt x="2010" y="728"/>
                  <a:pt x="2010" y="728"/>
                  <a:pt x="2010" y="728"/>
                </a:cubicBezTo>
                <a:cubicBezTo>
                  <a:pt x="2010" y="729"/>
                  <a:pt x="2010" y="729"/>
                  <a:pt x="2010" y="729"/>
                </a:cubicBezTo>
                <a:cubicBezTo>
                  <a:pt x="2012" y="730"/>
                  <a:pt x="2012" y="730"/>
                  <a:pt x="2012" y="730"/>
                </a:cubicBezTo>
                <a:cubicBezTo>
                  <a:pt x="2013" y="730"/>
                  <a:pt x="2013" y="730"/>
                  <a:pt x="2013" y="730"/>
                </a:cubicBezTo>
                <a:cubicBezTo>
                  <a:pt x="2013" y="732"/>
                  <a:pt x="2013" y="732"/>
                  <a:pt x="2013" y="732"/>
                </a:cubicBezTo>
                <a:cubicBezTo>
                  <a:pt x="2016" y="738"/>
                  <a:pt x="2016" y="738"/>
                  <a:pt x="2016" y="738"/>
                </a:cubicBezTo>
                <a:cubicBezTo>
                  <a:pt x="2018" y="740"/>
                  <a:pt x="2018" y="740"/>
                  <a:pt x="2018" y="740"/>
                </a:cubicBezTo>
                <a:cubicBezTo>
                  <a:pt x="2022" y="739"/>
                  <a:pt x="2022" y="739"/>
                  <a:pt x="2022" y="739"/>
                </a:cubicBezTo>
                <a:cubicBezTo>
                  <a:pt x="2024" y="740"/>
                  <a:pt x="2024" y="740"/>
                  <a:pt x="2024" y="740"/>
                </a:cubicBezTo>
                <a:cubicBezTo>
                  <a:pt x="2026" y="741"/>
                  <a:pt x="2026" y="741"/>
                  <a:pt x="2026" y="741"/>
                </a:cubicBezTo>
                <a:cubicBezTo>
                  <a:pt x="2029" y="741"/>
                  <a:pt x="2029" y="741"/>
                  <a:pt x="2029" y="741"/>
                </a:cubicBezTo>
                <a:cubicBezTo>
                  <a:pt x="2029" y="742"/>
                  <a:pt x="2029" y="742"/>
                  <a:pt x="2029" y="742"/>
                </a:cubicBezTo>
                <a:cubicBezTo>
                  <a:pt x="2031" y="742"/>
                  <a:pt x="2031" y="742"/>
                  <a:pt x="2031" y="742"/>
                </a:cubicBezTo>
                <a:cubicBezTo>
                  <a:pt x="2031" y="743"/>
                  <a:pt x="2031" y="743"/>
                  <a:pt x="2031" y="743"/>
                </a:cubicBezTo>
                <a:cubicBezTo>
                  <a:pt x="2030" y="744"/>
                  <a:pt x="2030" y="744"/>
                  <a:pt x="2030" y="744"/>
                </a:cubicBezTo>
                <a:cubicBezTo>
                  <a:pt x="2033" y="747"/>
                  <a:pt x="2033" y="747"/>
                  <a:pt x="2033" y="747"/>
                </a:cubicBezTo>
                <a:cubicBezTo>
                  <a:pt x="2036" y="748"/>
                  <a:pt x="2036" y="748"/>
                  <a:pt x="2036" y="748"/>
                </a:cubicBezTo>
                <a:cubicBezTo>
                  <a:pt x="2037" y="749"/>
                  <a:pt x="2037" y="749"/>
                  <a:pt x="2037" y="749"/>
                </a:cubicBezTo>
                <a:cubicBezTo>
                  <a:pt x="2039" y="749"/>
                  <a:pt x="2039" y="749"/>
                  <a:pt x="2039" y="749"/>
                </a:cubicBezTo>
                <a:cubicBezTo>
                  <a:pt x="2042" y="752"/>
                  <a:pt x="2042" y="752"/>
                  <a:pt x="2042" y="752"/>
                </a:cubicBezTo>
                <a:cubicBezTo>
                  <a:pt x="2043" y="752"/>
                  <a:pt x="2043" y="752"/>
                  <a:pt x="2043" y="752"/>
                </a:cubicBezTo>
                <a:cubicBezTo>
                  <a:pt x="2046" y="751"/>
                  <a:pt x="2046" y="751"/>
                  <a:pt x="2046" y="751"/>
                </a:cubicBezTo>
                <a:cubicBezTo>
                  <a:pt x="2049" y="752"/>
                  <a:pt x="2049" y="752"/>
                  <a:pt x="2049" y="752"/>
                </a:cubicBezTo>
                <a:cubicBezTo>
                  <a:pt x="2053" y="755"/>
                  <a:pt x="2053" y="755"/>
                  <a:pt x="2053" y="755"/>
                </a:cubicBezTo>
                <a:cubicBezTo>
                  <a:pt x="2057" y="752"/>
                  <a:pt x="2057" y="752"/>
                  <a:pt x="2057" y="752"/>
                </a:cubicBezTo>
                <a:cubicBezTo>
                  <a:pt x="2061" y="749"/>
                  <a:pt x="2061" y="749"/>
                  <a:pt x="2061" y="749"/>
                </a:cubicBezTo>
                <a:cubicBezTo>
                  <a:pt x="2061" y="748"/>
                  <a:pt x="2061" y="748"/>
                  <a:pt x="2061" y="748"/>
                </a:cubicBezTo>
                <a:cubicBezTo>
                  <a:pt x="2061" y="749"/>
                  <a:pt x="2061" y="749"/>
                  <a:pt x="2061" y="749"/>
                </a:cubicBezTo>
                <a:cubicBezTo>
                  <a:pt x="2063" y="749"/>
                  <a:pt x="2063" y="749"/>
                  <a:pt x="2063" y="749"/>
                </a:cubicBezTo>
                <a:cubicBezTo>
                  <a:pt x="2066" y="747"/>
                  <a:pt x="2066" y="747"/>
                  <a:pt x="2066" y="747"/>
                </a:cubicBezTo>
                <a:cubicBezTo>
                  <a:pt x="2068" y="746"/>
                  <a:pt x="2068" y="746"/>
                  <a:pt x="2068" y="746"/>
                </a:cubicBezTo>
                <a:cubicBezTo>
                  <a:pt x="2071" y="747"/>
                  <a:pt x="2071" y="747"/>
                  <a:pt x="2071" y="747"/>
                </a:cubicBezTo>
                <a:cubicBezTo>
                  <a:pt x="2071" y="748"/>
                  <a:pt x="2071" y="748"/>
                  <a:pt x="2071" y="748"/>
                </a:cubicBezTo>
                <a:cubicBezTo>
                  <a:pt x="2072" y="748"/>
                  <a:pt x="2072" y="748"/>
                  <a:pt x="2072" y="748"/>
                </a:cubicBezTo>
                <a:cubicBezTo>
                  <a:pt x="2073" y="749"/>
                  <a:pt x="2073" y="749"/>
                  <a:pt x="2073" y="749"/>
                </a:cubicBezTo>
                <a:cubicBezTo>
                  <a:pt x="2074" y="751"/>
                  <a:pt x="2074" y="751"/>
                  <a:pt x="2074" y="751"/>
                </a:cubicBezTo>
                <a:cubicBezTo>
                  <a:pt x="2076" y="755"/>
                  <a:pt x="2076" y="755"/>
                  <a:pt x="2076" y="755"/>
                </a:cubicBezTo>
                <a:cubicBezTo>
                  <a:pt x="2078" y="759"/>
                  <a:pt x="2078" y="759"/>
                  <a:pt x="2078" y="759"/>
                </a:cubicBezTo>
                <a:cubicBezTo>
                  <a:pt x="2078" y="761"/>
                  <a:pt x="2078" y="761"/>
                  <a:pt x="2078" y="761"/>
                </a:cubicBezTo>
                <a:cubicBezTo>
                  <a:pt x="2079" y="762"/>
                  <a:pt x="2079" y="762"/>
                  <a:pt x="2079" y="762"/>
                </a:cubicBezTo>
                <a:cubicBezTo>
                  <a:pt x="2079" y="763"/>
                  <a:pt x="2079" y="763"/>
                  <a:pt x="2079" y="763"/>
                </a:cubicBezTo>
                <a:cubicBezTo>
                  <a:pt x="2085" y="763"/>
                  <a:pt x="2085" y="763"/>
                  <a:pt x="2085" y="763"/>
                </a:cubicBezTo>
                <a:cubicBezTo>
                  <a:pt x="2087" y="763"/>
                  <a:pt x="2087" y="763"/>
                  <a:pt x="2087" y="763"/>
                </a:cubicBezTo>
                <a:cubicBezTo>
                  <a:pt x="2089" y="765"/>
                  <a:pt x="2089" y="765"/>
                  <a:pt x="2089" y="765"/>
                </a:cubicBezTo>
                <a:cubicBezTo>
                  <a:pt x="2091" y="763"/>
                  <a:pt x="2091" y="763"/>
                  <a:pt x="2091" y="763"/>
                </a:cubicBezTo>
                <a:cubicBezTo>
                  <a:pt x="2092" y="763"/>
                  <a:pt x="2092" y="763"/>
                  <a:pt x="2092" y="763"/>
                </a:cubicBezTo>
                <a:cubicBezTo>
                  <a:pt x="2095" y="765"/>
                  <a:pt x="2095" y="765"/>
                  <a:pt x="2095" y="765"/>
                </a:cubicBezTo>
                <a:cubicBezTo>
                  <a:pt x="2100" y="765"/>
                  <a:pt x="2100" y="765"/>
                  <a:pt x="2100" y="765"/>
                </a:cubicBezTo>
                <a:cubicBezTo>
                  <a:pt x="2103" y="766"/>
                  <a:pt x="2103" y="766"/>
                  <a:pt x="2103" y="766"/>
                </a:cubicBezTo>
                <a:cubicBezTo>
                  <a:pt x="2108" y="766"/>
                  <a:pt x="2108" y="766"/>
                  <a:pt x="2108" y="766"/>
                </a:cubicBezTo>
                <a:cubicBezTo>
                  <a:pt x="2110" y="767"/>
                  <a:pt x="2110" y="767"/>
                  <a:pt x="2110" y="767"/>
                </a:cubicBezTo>
                <a:cubicBezTo>
                  <a:pt x="2110" y="767"/>
                  <a:pt x="2110" y="767"/>
                  <a:pt x="2110" y="767"/>
                </a:cubicBezTo>
                <a:cubicBezTo>
                  <a:pt x="2112" y="768"/>
                  <a:pt x="2112" y="768"/>
                  <a:pt x="2112" y="768"/>
                </a:cubicBezTo>
                <a:cubicBezTo>
                  <a:pt x="2112" y="768"/>
                  <a:pt x="2112" y="768"/>
                  <a:pt x="2112" y="768"/>
                </a:cubicBezTo>
                <a:cubicBezTo>
                  <a:pt x="2113" y="766"/>
                  <a:pt x="2113" y="766"/>
                  <a:pt x="2113" y="766"/>
                </a:cubicBezTo>
                <a:cubicBezTo>
                  <a:pt x="2114" y="766"/>
                  <a:pt x="2114" y="766"/>
                  <a:pt x="2114" y="766"/>
                </a:cubicBezTo>
                <a:cubicBezTo>
                  <a:pt x="2115" y="767"/>
                  <a:pt x="2115" y="767"/>
                  <a:pt x="2115" y="767"/>
                </a:cubicBezTo>
                <a:cubicBezTo>
                  <a:pt x="2118" y="768"/>
                  <a:pt x="2118" y="768"/>
                  <a:pt x="2118" y="768"/>
                </a:cubicBezTo>
                <a:cubicBezTo>
                  <a:pt x="2121" y="770"/>
                  <a:pt x="2121" y="770"/>
                  <a:pt x="2121" y="770"/>
                </a:cubicBezTo>
                <a:cubicBezTo>
                  <a:pt x="2123" y="769"/>
                  <a:pt x="2123" y="769"/>
                  <a:pt x="2123" y="769"/>
                </a:cubicBezTo>
                <a:cubicBezTo>
                  <a:pt x="2123" y="768"/>
                  <a:pt x="2123" y="768"/>
                  <a:pt x="2123" y="768"/>
                </a:cubicBezTo>
                <a:cubicBezTo>
                  <a:pt x="2125" y="768"/>
                  <a:pt x="2125" y="768"/>
                  <a:pt x="2125" y="768"/>
                </a:cubicBezTo>
                <a:cubicBezTo>
                  <a:pt x="2125" y="769"/>
                  <a:pt x="2125" y="769"/>
                  <a:pt x="2125" y="769"/>
                </a:cubicBezTo>
                <a:cubicBezTo>
                  <a:pt x="2126" y="770"/>
                  <a:pt x="2126" y="770"/>
                  <a:pt x="2126" y="770"/>
                </a:cubicBezTo>
                <a:cubicBezTo>
                  <a:pt x="2129" y="768"/>
                  <a:pt x="2129" y="768"/>
                  <a:pt x="2129" y="768"/>
                </a:cubicBezTo>
                <a:cubicBezTo>
                  <a:pt x="2131" y="768"/>
                  <a:pt x="2131" y="768"/>
                  <a:pt x="2131" y="768"/>
                </a:cubicBezTo>
                <a:cubicBezTo>
                  <a:pt x="2131" y="769"/>
                  <a:pt x="2131" y="769"/>
                  <a:pt x="2131" y="769"/>
                </a:cubicBezTo>
                <a:cubicBezTo>
                  <a:pt x="2132" y="768"/>
                  <a:pt x="2132" y="768"/>
                  <a:pt x="2132" y="768"/>
                </a:cubicBezTo>
                <a:cubicBezTo>
                  <a:pt x="2133" y="767"/>
                  <a:pt x="2133" y="767"/>
                  <a:pt x="2133" y="767"/>
                </a:cubicBezTo>
                <a:cubicBezTo>
                  <a:pt x="2136" y="767"/>
                  <a:pt x="2136" y="767"/>
                  <a:pt x="2136" y="767"/>
                </a:cubicBezTo>
                <a:cubicBezTo>
                  <a:pt x="2137" y="768"/>
                  <a:pt x="2137" y="768"/>
                  <a:pt x="2137" y="768"/>
                </a:cubicBezTo>
                <a:cubicBezTo>
                  <a:pt x="2138" y="767"/>
                  <a:pt x="2138" y="767"/>
                  <a:pt x="2138" y="767"/>
                </a:cubicBezTo>
                <a:cubicBezTo>
                  <a:pt x="2140" y="767"/>
                  <a:pt x="2140" y="767"/>
                  <a:pt x="2140" y="767"/>
                </a:cubicBezTo>
                <a:cubicBezTo>
                  <a:pt x="2141" y="767"/>
                  <a:pt x="2141" y="767"/>
                  <a:pt x="2141" y="767"/>
                </a:cubicBezTo>
                <a:cubicBezTo>
                  <a:pt x="2141" y="766"/>
                  <a:pt x="2141" y="766"/>
                  <a:pt x="2141" y="766"/>
                </a:cubicBezTo>
                <a:cubicBezTo>
                  <a:pt x="2142" y="765"/>
                  <a:pt x="2142" y="765"/>
                  <a:pt x="2142" y="765"/>
                </a:cubicBezTo>
                <a:cubicBezTo>
                  <a:pt x="2144" y="767"/>
                  <a:pt x="2144" y="767"/>
                  <a:pt x="2144" y="767"/>
                </a:cubicBezTo>
                <a:cubicBezTo>
                  <a:pt x="2145" y="767"/>
                  <a:pt x="2145" y="767"/>
                  <a:pt x="2145" y="767"/>
                </a:cubicBezTo>
                <a:cubicBezTo>
                  <a:pt x="2145" y="766"/>
                  <a:pt x="2145" y="766"/>
                  <a:pt x="2145" y="766"/>
                </a:cubicBezTo>
                <a:cubicBezTo>
                  <a:pt x="2146" y="766"/>
                  <a:pt x="2146" y="766"/>
                  <a:pt x="2146" y="766"/>
                </a:cubicBezTo>
                <a:cubicBezTo>
                  <a:pt x="2147" y="767"/>
                  <a:pt x="2147" y="767"/>
                  <a:pt x="2147" y="767"/>
                </a:cubicBezTo>
                <a:cubicBezTo>
                  <a:pt x="2149" y="767"/>
                  <a:pt x="2149" y="767"/>
                  <a:pt x="2149" y="767"/>
                </a:cubicBezTo>
                <a:cubicBezTo>
                  <a:pt x="2150" y="768"/>
                  <a:pt x="2150" y="768"/>
                  <a:pt x="2150" y="768"/>
                </a:cubicBezTo>
                <a:cubicBezTo>
                  <a:pt x="2152" y="768"/>
                  <a:pt x="2152" y="768"/>
                  <a:pt x="2152" y="768"/>
                </a:cubicBezTo>
                <a:cubicBezTo>
                  <a:pt x="2154" y="766"/>
                  <a:pt x="2154" y="766"/>
                  <a:pt x="2154" y="766"/>
                </a:cubicBezTo>
                <a:cubicBezTo>
                  <a:pt x="2157" y="766"/>
                  <a:pt x="2157" y="766"/>
                  <a:pt x="2157" y="766"/>
                </a:cubicBezTo>
                <a:cubicBezTo>
                  <a:pt x="2158" y="766"/>
                  <a:pt x="2158" y="766"/>
                  <a:pt x="2158" y="766"/>
                </a:cubicBezTo>
                <a:cubicBezTo>
                  <a:pt x="2160" y="765"/>
                  <a:pt x="2160" y="765"/>
                  <a:pt x="2160" y="765"/>
                </a:cubicBezTo>
                <a:cubicBezTo>
                  <a:pt x="2161" y="765"/>
                  <a:pt x="2161" y="765"/>
                  <a:pt x="2161" y="765"/>
                </a:cubicBezTo>
                <a:cubicBezTo>
                  <a:pt x="2162" y="765"/>
                  <a:pt x="2162" y="765"/>
                  <a:pt x="2162" y="765"/>
                </a:cubicBezTo>
                <a:cubicBezTo>
                  <a:pt x="2162" y="765"/>
                  <a:pt x="2162" y="765"/>
                  <a:pt x="2162" y="765"/>
                </a:cubicBezTo>
                <a:cubicBezTo>
                  <a:pt x="2165" y="766"/>
                  <a:pt x="2165" y="766"/>
                  <a:pt x="2165" y="766"/>
                </a:cubicBezTo>
                <a:cubicBezTo>
                  <a:pt x="2168" y="765"/>
                  <a:pt x="2168" y="765"/>
                  <a:pt x="2168" y="765"/>
                </a:cubicBezTo>
                <a:cubicBezTo>
                  <a:pt x="2171" y="765"/>
                  <a:pt x="2171" y="765"/>
                  <a:pt x="2171" y="765"/>
                </a:cubicBezTo>
                <a:cubicBezTo>
                  <a:pt x="2173" y="766"/>
                  <a:pt x="2173" y="766"/>
                  <a:pt x="2173" y="766"/>
                </a:cubicBezTo>
                <a:cubicBezTo>
                  <a:pt x="2174" y="769"/>
                  <a:pt x="2174" y="769"/>
                  <a:pt x="2174" y="769"/>
                </a:cubicBezTo>
                <a:cubicBezTo>
                  <a:pt x="2173" y="770"/>
                  <a:pt x="2173" y="770"/>
                  <a:pt x="2173" y="770"/>
                </a:cubicBezTo>
                <a:cubicBezTo>
                  <a:pt x="2174" y="771"/>
                  <a:pt x="2174" y="771"/>
                  <a:pt x="2174" y="771"/>
                </a:cubicBezTo>
                <a:cubicBezTo>
                  <a:pt x="2173" y="771"/>
                  <a:pt x="2173" y="771"/>
                  <a:pt x="2173" y="771"/>
                </a:cubicBezTo>
                <a:cubicBezTo>
                  <a:pt x="2173" y="771"/>
                  <a:pt x="2173" y="771"/>
                  <a:pt x="2173" y="771"/>
                </a:cubicBezTo>
                <a:cubicBezTo>
                  <a:pt x="2175" y="771"/>
                  <a:pt x="2175" y="771"/>
                  <a:pt x="2175" y="771"/>
                </a:cubicBezTo>
                <a:cubicBezTo>
                  <a:pt x="2178" y="770"/>
                  <a:pt x="2178" y="770"/>
                  <a:pt x="2178" y="770"/>
                </a:cubicBezTo>
                <a:cubicBezTo>
                  <a:pt x="2178" y="772"/>
                  <a:pt x="2178" y="772"/>
                  <a:pt x="2178" y="772"/>
                </a:cubicBezTo>
                <a:cubicBezTo>
                  <a:pt x="2180" y="775"/>
                  <a:pt x="2180" y="775"/>
                  <a:pt x="2180" y="775"/>
                </a:cubicBezTo>
                <a:cubicBezTo>
                  <a:pt x="2181" y="778"/>
                  <a:pt x="2181" y="778"/>
                  <a:pt x="2181" y="778"/>
                </a:cubicBezTo>
                <a:cubicBezTo>
                  <a:pt x="2181" y="779"/>
                  <a:pt x="2181" y="779"/>
                  <a:pt x="2181" y="779"/>
                </a:cubicBezTo>
                <a:cubicBezTo>
                  <a:pt x="2181" y="780"/>
                  <a:pt x="2181" y="780"/>
                  <a:pt x="2181" y="780"/>
                </a:cubicBezTo>
                <a:cubicBezTo>
                  <a:pt x="2180" y="781"/>
                  <a:pt x="2180" y="781"/>
                  <a:pt x="2180" y="781"/>
                </a:cubicBezTo>
                <a:cubicBezTo>
                  <a:pt x="2181" y="781"/>
                  <a:pt x="2181" y="781"/>
                  <a:pt x="2181" y="781"/>
                </a:cubicBezTo>
                <a:cubicBezTo>
                  <a:pt x="2182" y="781"/>
                  <a:pt x="2182" y="781"/>
                  <a:pt x="2182" y="781"/>
                </a:cubicBezTo>
                <a:cubicBezTo>
                  <a:pt x="2182" y="783"/>
                  <a:pt x="2182" y="783"/>
                  <a:pt x="2182" y="783"/>
                </a:cubicBezTo>
                <a:cubicBezTo>
                  <a:pt x="2184" y="783"/>
                  <a:pt x="2184" y="783"/>
                  <a:pt x="2184" y="783"/>
                </a:cubicBezTo>
                <a:cubicBezTo>
                  <a:pt x="2187" y="783"/>
                  <a:pt x="2187" y="783"/>
                  <a:pt x="2187" y="783"/>
                </a:cubicBezTo>
                <a:cubicBezTo>
                  <a:pt x="2191" y="785"/>
                  <a:pt x="2191" y="785"/>
                  <a:pt x="2191" y="785"/>
                </a:cubicBezTo>
                <a:cubicBezTo>
                  <a:pt x="2190" y="786"/>
                  <a:pt x="2190" y="786"/>
                  <a:pt x="2190" y="786"/>
                </a:cubicBezTo>
                <a:cubicBezTo>
                  <a:pt x="2192" y="785"/>
                  <a:pt x="2192" y="785"/>
                  <a:pt x="2192" y="785"/>
                </a:cubicBezTo>
                <a:cubicBezTo>
                  <a:pt x="2195" y="783"/>
                  <a:pt x="2195" y="783"/>
                  <a:pt x="2195" y="783"/>
                </a:cubicBezTo>
                <a:cubicBezTo>
                  <a:pt x="2198" y="782"/>
                  <a:pt x="2198" y="782"/>
                  <a:pt x="2198" y="782"/>
                </a:cubicBezTo>
                <a:cubicBezTo>
                  <a:pt x="2196" y="784"/>
                  <a:pt x="2196" y="784"/>
                  <a:pt x="2196" y="784"/>
                </a:cubicBezTo>
                <a:cubicBezTo>
                  <a:pt x="2194" y="786"/>
                  <a:pt x="2194" y="786"/>
                  <a:pt x="2194" y="786"/>
                </a:cubicBezTo>
                <a:cubicBezTo>
                  <a:pt x="2193" y="788"/>
                  <a:pt x="2193" y="788"/>
                  <a:pt x="2193" y="788"/>
                </a:cubicBezTo>
                <a:cubicBezTo>
                  <a:pt x="2195" y="789"/>
                  <a:pt x="2195" y="789"/>
                  <a:pt x="2195" y="789"/>
                </a:cubicBezTo>
                <a:cubicBezTo>
                  <a:pt x="2198" y="792"/>
                  <a:pt x="2198" y="792"/>
                  <a:pt x="2198" y="792"/>
                </a:cubicBezTo>
                <a:cubicBezTo>
                  <a:pt x="2204" y="795"/>
                  <a:pt x="2204" y="795"/>
                  <a:pt x="2204" y="795"/>
                </a:cubicBezTo>
                <a:cubicBezTo>
                  <a:pt x="2206" y="794"/>
                  <a:pt x="2206" y="794"/>
                  <a:pt x="2206" y="794"/>
                </a:cubicBezTo>
                <a:cubicBezTo>
                  <a:pt x="2209" y="794"/>
                  <a:pt x="2209" y="794"/>
                  <a:pt x="2209" y="794"/>
                </a:cubicBezTo>
                <a:cubicBezTo>
                  <a:pt x="2213" y="792"/>
                  <a:pt x="2213" y="792"/>
                  <a:pt x="2213" y="792"/>
                </a:cubicBezTo>
                <a:cubicBezTo>
                  <a:pt x="2213" y="791"/>
                  <a:pt x="2213" y="791"/>
                  <a:pt x="2213" y="791"/>
                </a:cubicBezTo>
                <a:cubicBezTo>
                  <a:pt x="2213" y="791"/>
                  <a:pt x="2213" y="791"/>
                  <a:pt x="2213" y="791"/>
                </a:cubicBezTo>
                <a:cubicBezTo>
                  <a:pt x="2213" y="791"/>
                  <a:pt x="2213" y="791"/>
                  <a:pt x="2213" y="791"/>
                </a:cubicBezTo>
                <a:cubicBezTo>
                  <a:pt x="2216" y="791"/>
                  <a:pt x="2216" y="791"/>
                  <a:pt x="2216" y="791"/>
                </a:cubicBezTo>
                <a:cubicBezTo>
                  <a:pt x="2215" y="793"/>
                  <a:pt x="2215" y="793"/>
                  <a:pt x="2215" y="793"/>
                </a:cubicBezTo>
                <a:cubicBezTo>
                  <a:pt x="2214" y="793"/>
                  <a:pt x="2214" y="793"/>
                  <a:pt x="2214" y="793"/>
                </a:cubicBezTo>
                <a:cubicBezTo>
                  <a:pt x="2212" y="796"/>
                  <a:pt x="2212" y="796"/>
                  <a:pt x="2212" y="796"/>
                </a:cubicBezTo>
                <a:cubicBezTo>
                  <a:pt x="2211" y="796"/>
                  <a:pt x="2211" y="796"/>
                  <a:pt x="2211" y="796"/>
                </a:cubicBezTo>
                <a:cubicBezTo>
                  <a:pt x="2207" y="799"/>
                  <a:pt x="2207" y="799"/>
                  <a:pt x="2207" y="799"/>
                </a:cubicBezTo>
                <a:cubicBezTo>
                  <a:pt x="2207" y="800"/>
                  <a:pt x="2207" y="800"/>
                  <a:pt x="2207" y="800"/>
                </a:cubicBezTo>
                <a:cubicBezTo>
                  <a:pt x="2205" y="799"/>
                  <a:pt x="2205" y="799"/>
                  <a:pt x="2205" y="799"/>
                </a:cubicBezTo>
                <a:cubicBezTo>
                  <a:pt x="2205" y="799"/>
                  <a:pt x="2205" y="799"/>
                  <a:pt x="2205" y="799"/>
                </a:cubicBezTo>
                <a:cubicBezTo>
                  <a:pt x="2204" y="800"/>
                  <a:pt x="2204" y="800"/>
                  <a:pt x="2204" y="800"/>
                </a:cubicBezTo>
                <a:cubicBezTo>
                  <a:pt x="2202" y="800"/>
                  <a:pt x="2202" y="800"/>
                  <a:pt x="2202" y="800"/>
                </a:cubicBezTo>
                <a:cubicBezTo>
                  <a:pt x="2202" y="798"/>
                  <a:pt x="2202" y="798"/>
                  <a:pt x="2202" y="798"/>
                </a:cubicBezTo>
                <a:cubicBezTo>
                  <a:pt x="2201" y="798"/>
                  <a:pt x="2201" y="798"/>
                  <a:pt x="2201" y="798"/>
                </a:cubicBezTo>
                <a:cubicBezTo>
                  <a:pt x="2200" y="798"/>
                  <a:pt x="2200" y="798"/>
                  <a:pt x="2200" y="798"/>
                </a:cubicBezTo>
                <a:cubicBezTo>
                  <a:pt x="2199" y="798"/>
                  <a:pt x="2199" y="798"/>
                  <a:pt x="2199" y="798"/>
                </a:cubicBezTo>
                <a:cubicBezTo>
                  <a:pt x="2199" y="799"/>
                  <a:pt x="2199" y="799"/>
                  <a:pt x="2199" y="799"/>
                </a:cubicBezTo>
                <a:cubicBezTo>
                  <a:pt x="2199" y="800"/>
                  <a:pt x="2199" y="800"/>
                  <a:pt x="2199" y="800"/>
                </a:cubicBezTo>
                <a:cubicBezTo>
                  <a:pt x="2204" y="805"/>
                  <a:pt x="2204" y="805"/>
                  <a:pt x="2204" y="805"/>
                </a:cubicBezTo>
                <a:cubicBezTo>
                  <a:pt x="2205" y="805"/>
                  <a:pt x="2205" y="805"/>
                  <a:pt x="2205" y="805"/>
                </a:cubicBezTo>
                <a:cubicBezTo>
                  <a:pt x="2206" y="805"/>
                  <a:pt x="2206" y="805"/>
                  <a:pt x="2206" y="805"/>
                </a:cubicBezTo>
                <a:cubicBezTo>
                  <a:pt x="2206" y="806"/>
                  <a:pt x="2206" y="806"/>
                  <a:pt x="2206" y="806"/>
                </a:cubicBezTo>
                <a:cubicBezTo>
                  <a:pt x="2209" y="810"/>
                  <a:pt x="2209" y="810"/>
                  <a:pt x="2209" y="810"/>
                </a:cubicBezTo>
                <a:cubicBezTo>
                  <a:pt x="2217" y="817"/>
                  <a:pt x="2217" y="817"/>
                  <a:pt x="2217" y="817"/>
                </a:cubicBezTo>
                <a:cubicBezTo>
                  <a:pt x="2221" y="817"/>
                  <a:pt x="2221" y="817"/>
                  <a:pt x="2221" y="817"/>
                </a:cubicBezTo>
                <a:cubicBezTo>
                  <a:pt x="2223" y="817"/>
                  <a:pt x="2223" y="817"/>
                  <a:pt x="2223" y="817"/>
                </a:cubicBezTo>
                <a:cubicBezTo>
                  <a:pt x="2228" y="813"/>
                  <a:pt x="2228" y="813"/>
                  <a:pt x="2228" y="813"/>
                </a:cubicBezTo>
                <a:cubicBezTo>
                  <a:pt x="2232" y="812"/>
                  <a:pt x="2232" y="812"/>
                  <a:pt x="2232" y="812"/>
                </a:cubicBezTo>
                <a:cubicBezTo>
                  <a:pt x="2232" y="810"/>
                  <a:pt x="2232" y="810"/>
                  <a:pt x="2232" y="810"/>
                </a:cubicBezTo>
                <a:cubicBezTo>
                  <a:pt x="2233" y="809"/>
                  <a:pt x="2233" y="809"/>
                  <a:pt x="2233" y="809"/>
                </a:cubicBezTo>
                <a:cubicBezTo>
                  <a:pt x="2234" y="805"/>
                  <a:pt x="2234" y="805"/>
                  <a:pt x="2234" y="805"/>
                </a:cubicBezTo>
                <a:cubicBezTo>
                  <a:pt x="2232" y="803"/>
                  <a:pt x="2232" y="803"/>
                  <a:pt x="2232" y="803"/>
                </a:cubicBezTo>
                <a:cubicBezTo>
                  <a:pt x="2234" y="799"/>
                  <a:pt x="2234" y="799"/>
                  <a:pt x="2234" y="799"/>
                </a:cubicBezTo>
                <a:cubicBezTo>
                  <a:pt x="2234" y="797"/>
                  <a:pt x="2234" y="797"/>
                  <a:pt x="2234" y="797"/>
                </a:cubicBezTo>
                <a:cubicBezTo>
                  <a:pt x="2234" y="796"/>
                  <a:pt x="2234" y="796"/>
                  <a:pt x="2234" y="796"/>
                </a:cubicBezTo>
                <a:cubicBezTo>
                  <a:pt x="2235" y="798"/>
                  <a:pt x="2235" y="798"/>
                  <a:pt x="2235" y="798"/>
                </a:cubicBezTo>
                <a:cubicBezTo>
                  <a:pt x="2237" y="798"/>
                  <a:pt x="2237" y="798"/>
                  <a:pt x="2237" y="798"/>
                </a:cubicBezTo>
                <a:cubicBezTo>
                  <a:pt x="2238" y="798"/>
                  <a:pt x="2238" y="798"/>
                  <a:pt x="2238" y="798"/>
                </a:cubicBezTo>
                <a:cubicBezTo>
                  <a:pt x="2240" y="797"/>
                  <a:pt x="2240" y="797"/>
                  <a:pt x="2240" y="797"/>
                </a:cubicBezTo>
                <a:cubicBezTo>
                  <a:pt x="2239" y="798"/>
                  <a:pt x="2239" y="798"/>
                  <a:pt x="2239" y="798"/>
                </a:cubicBezTo>
                <a:cubicBezTo>
                  <a:pt x="2238" y="800"/>
                  <a:pt x="2238" y="800"/>
                  <a:pt x="2238" y="800"/>
                </a:cubicBezTo>
                <a:cubicBezTo>
                  <a:pt x="2236" y="800"/>
                  <a:pt x="2236" y="800"/>
                  <a:pt x="2236" y="800"/>
                </a:cubicBezTo>
                <a:cubicBezTo>
                  <a:pt x="2236" y="800"/>
                  <a:pt x="2236" y="800"/>
                  <a:pt x="2236" y="800"/>
                </a:cubicBezTo>
                <a:cubicBezTo>
                  <a:pt x="2236" y="802"/>
                  <a:pt x="2236" y="802"/>
                  <a:pt x="2236" y="802"/>
                </a:cubicBezTo>
                <a:cubicBezTo>
                  <a:pt x="2237" y="804"/>
                  <a:pt x="2237" y="804"/>
                  <a:pt x="2237" y="804"/>
                </a:cubicBezTo>
                <a:cubicBezTo>
                  <a:pt x="2236" y="806"/>
                  <a:pt x="2236" y="806"/>
                  <a:pt x="2236" y="806"/>
                </a:cubicBezTo>
                <a:cubicBezTo>
                  <a:pt x="2238" y="806"/>
                  <a:pt x="2238" y="806"/>
                  <a:pt x="2238" y="806"/>
                </a:cubicBezTo>
                <a:cubicBezTo>
                  <a:pt x="2240" y="805"/>
                  <a:pt x="2240" y="805"/>
                  <a:pt x="2240" y="805"/>
                </a:cubicBezTo>
                <a:cubicBezTo>
                  <a:pt x="2242" y="806"/>
                  <a:pt x="2242" y="806"/>
                  <a:pt x="2242" y="806"/>
                </a:cubicBezTo>
                <a:cubicBezTo>
                  <a:pt x="2240" y="806"/>
                  <a:pt x="2240" y="806"/>
                  <a:pt x="2240" y="806"/>
                </a:cubicBezTo>
                <a:cubicBezTo>
                  <a:pt x="2239" y="807"/>
                  <a:pt x="2239" y="807"/>
                  <a:pt x="2239" y="807"/>
                </a:cubicBezTo>
                <a:cubicBezTo>
                  <a:pt x="2237" y="808"/>
                  <a:pt x="2237" y="808"/>
                  <a:pt x="2237" y="808"/>
                </a:cubicBezTo>
                <a:cubicBezTo>
                  <a:pt x="2238" y="813"/>
                  <a:pt x="2238" y="813"/>
                  <a:pt x="2238" y="813"/>
                </a:cubicBezTo>
                <a:cubicBezTo>
                  <a:pt x="2239" y="814"/>
                  <a:pt x="2239" y="814"/>
                  <a:pt x="2239" y="814"/>
                </a:cubicBezTo>
                <a:cubicBezTo>
                  <a:pt x="2240" y="817"/>
                  <a:pt x="2240" y="817"/>
                  <a:pt x="2240" y="817"/>
                </a:cubicBezTo>
                <a:cubicBezTo>
                  <a:pt x="2240" y="820"/>
                  <a:pt x="2240" y="820"/>
                  <a:pt x="2240" y="820"/>
                </a:cubicBezTo>
                <a:cubicBezTo>
                  <a:pt x="2239" y="822"/>
                  <a:pt x="2239" y="822"/>
                  <a:pt x="2239" y="822"/>
                </a:cubicBezTo>
                <a:cubicBezTo>
                  <a:pt x="2239" y="824"/>
                  <a:pt x="2239" y="824"/>
                  <a:pt x="2239" y="824"/>
                </a:cubicBezTo>
                <a:cubicBezTo>
                  <a:pt x="2241" y="825"/>
                  <a:pt x="2241" y="825"/>
                  <a:pt x="2241" y="825"/>
                </a:cubicBezTo>
                <a:cubicBezTo>
                  <a:pt x="2239" y="826"/>
                  <a:pt x="2239" y="826"/>
                  <a:pt x="2239" y="826"/>
                </a:cubicBezTo>
                <a:cubicBezTo>
                  <a:pt x="2240" y="829"/>
                  <a:pt x="2240" y="829"/>
                  <a:pt x="2240" y="829"/>
                </a:cubicBezTo>
                <a:cubicBezTo>
                  <a:pt x="2243" y="834"/>
                  <a:pt x="2243" y="834"/>
                  <a:pt x="2243" y="834"/>
                </a:cubicBezTo>
                <a:cubicBezTo>
                  <a:pt x="2243" y="836"/>
                  <a:pt x="2243" y="836"/>
                  <a:pt x="2243" y="836"/>
                </a:cubicBezTo>
                <a:cubicBezTo>
                  <a:pt x="2244" y="838"/>
                  <a:pt x="2244" y="838"/>
                  <a:pt x="2244" y="838"/>
                </a:cubicBezTo>
                <a:cubicBezTo>
                  <a:pt x="2242" y="838"/>
                  <a:pt x="2242" y="838"/>
                  <a:pt x="2242" y="838"/>
                </a:cubicBezTo>
                <a:cubicBezTo>
                  <a:pt x="2242" y="840"/>
                  <a:pt x="2242" y="840"/>
                  <a:pt x="2242" y="840"/>
                </a:cubicBezTo>
                <a:cubicBezTo>
                  <a:pt x="2245" y="844"/>
                  <a:pt x="2245" y="844"/>
                  <a:pt x="2245" y="844"/>
                </a:cubicBezTo>
                <a:cubicBezTo>
                  <a:pt x="2243" y="844"/>
                  <a:pt x="2243" y="844"/>
                  <a:pt x="2243" y="844"/>
                </a:cubicBezTo>
                <a:cubicBezTo>
                  <a:pt x="2245" y="847"/>
                  <a:pt x="2245" y="847"/>
                  <a:pt x="2245" y="847"/>
                </a:cubicBezTo>
                <a:cubicBezTo>
                  <a:pt x="2245" y="850"/>
                  <a:pt x="2245" y="850"/>
                  <a:pt x="2245" y="850"/>
                </a:cubicBezTo>
                <a:cubicBezTo>
                  <a:pt x="2249" y="858"/>
                  <a:pt x="2249" y="858"/>
                  <a:pt x="2249" y="858"/>
                </a:cubicBezTo>
                <a:cubicBezTo>
                  <a:pt x="2249" y="864"/>
                  <a:pt x="2249" y="864"/>
                  <a:pt x="2249" y="864"/>
                </a:cubicBezTo>
                <a:cubicBezTo>
                  <a:pt x="2251" y="868"/>
                  <a:pt x="2251" y="868"/>
                  <a:pt x="2251" y="868"/>
                </a:cubicBezTo>
                <a:cubicBezTo>
                  <a:pt x="2253" y="869"/>
                  <a:pt x="2253" y="869"/>
                  <a:pt x="2253" y="869"/>
                </a:cubicBezTo>
                <a:cubicBezTo>
                  <a:pt x="2253" y="872"/>
                  <a:pt x="2253" y="872"/>
                  <a:pt x="2253" y="872"/>
                </a:cubicBezTo>
                <a:cubicBezTo>
                  <a:pt x="2255" y="873"/>
                  <a:pt x="2255" y="873"/>
                  <a:pt x="2255" y="873"/>
                </a:cubicBezTo>
                <a:cubicBezTo>
                  <a:pt x="2255" y="874"/>
                  <a:pt x="2255" y="874"/>
                  <a:pt x="2255" y="874"/>
                </a:cubicBezTo>
                <a:cubicBezTo>
                  <a:pt x="2257" y="879"/>
                  <a:pt x="2257" y="879"/>
                  <a:pt x="2257" y="879"/>
                </a:cubicBezTo>
                <a:cubicBezTo>
                  <a:pt x="2258" y="879"/>
                  <a:pt x="2258" y="879"/>
                  <a:pt x="2258" y="879"/>
                </a:cubicBezTo>
                <a:cubicBezTo>
                  <a:pt x="2258" y="880"/>
                  <a:pt x="2258" y="880"/>
                  <a:pt x="2258" y="880"/>
                </a:cubicBezTo>
                <a:cubicBezTo>
                  <a:pt x="2261" y="883"/>
                  <a:pt x="2261" y="883"/>
                  <a:pt x="2261" y="883"/>
                </a:cubicBezTo>
                <a:cubicBezTo>
                  <a:pt x="2261" y="883"/>
                  <a:pt x="2261" y="883"/>
                  <a:pt x="2261" y="883"/>
                </a:cubicBezTo>
                <a:cubicBezTo>
                  <a:pt x="2261" y="887"/>
                  <a:pt x="2261" y="887"/>
                  <a:pt x="2261" y="887"/>
                </a:cubicBezTo>
                <a:cubicBezTo>
                  <a:pt x="2262" y="888"/>
                  <a:pt x="2262" y="888"/>
                  <a:pt x="2262" y="888"/>
                </a:cubicBezTo>
                <a:cubicBezTo>
                  <a:pt x="2264" y="891"/>
                  <a:pt x="2264" y="891"/>
                  <a:pt x="2264" y="891"/>
                </a:cubicBezTo>
                <a:cubicBezTo>
                  <a:pt x="2264" y="894"/>
                  <a:pt x="2264" y="894"/>
                  <a:pt x="2264" y="894"/>
                </a:cubicBezTo>
                <a:cubicBezTo>
                  <a:pt x="2266" y="898"/>
                  <a:pt x="2266" y="898"/>
                  <a:pt x="2266" y="898"/>
                </a:cubicBezTo>
                <a:cubicBezTo>
                  <a:pt x="2267" y="900"/>
                  <a:pt x="2267" y="900"/>
                  <a:pt x="2267" y="900"/>
                </a:cubicBezTo>
                <a:cubicBezTo>
                  <a:pt x="2267" y="904"/>
                  <a:pt x="2267" y="904"/>
                  <a:pt x="2267" y="904"/>
                </a:cubicBezTo>
                <a:cubicBezTo>
                  <a:pt x="2268" y="905"/>
                  <a:pt x="2268" y="905"/>
                  <a:pt x="2268" y="905"/>
                </a:cubicBezTo>
                <a:cubicBezTo>
                  <a:pt x="2269" y="908"/>
                  <a:pt x="2269" y="908"/>
                  <a:pt x="2269" y="908"/>
                </a:cubicBezTo>
                <a:cubicBezTo>
                  <a:pt x="2272" y="911"/>
                  <a:pt x="2272" y="911"/>
                  <a:pt x="2272" y="911"/>
                </a:cubicBezTo>
                <a:cubicBezTo>
                  <a:pt x="2273" y="911"/>
                  <a:pt x="2273" y="911"/>
                  <a:pt x="2273" y="911"/>
                </a:cubicBezTo>
                <a:cubicBezTo>
                  <a:pt x="2275" y="914"/>
                  <a:pt x="2275" y="914"/>
                  <a:pt x="2275" y="914"/>
                </a:cubicBezTo>
                <a:cubicBezTo>
                  <a:pt x="2278" y="917"/>
                  <a:pt x="2278" y="917"/>
                  <a:pt x="2278" y="917"/>
                </a:cubicBezTo>
                <a:cubicBezTo>
                  <a:pt x="2279" y="920"/>
                  <a:pt x="2279" y="920"/>
                  <a:pt x="2279" y="920"/>
                </a:cubicBezTo>
                <a:cubicBezTo>
                  <a:pt x="2280" y="923"/>
                  <a:pt x="2280" y="923"/>
                  <a:pt x="2280" y="923"/>
                </a:cubicBezTo>
                <a:cubicBezTo>
                  <a:pt x="2280" y="923"/>
                  <a:pt x="2280" y="923"/>
                  <a:pt x="2280" y="923"/>
                </a:cubicBezTo>
                <a:cubicBezTo>
                  <a:pt x="2280" y="925"/>
                  <a:pt x="2280" y="925"/>
                  <a:pt x="2280" y="925"/>
                </a:cubicBezTo>
                <a:cubicBezTo>
                  <a:pt x="2283" y="929"/>
                  <a:pt x="2283" y="929"/>
                  <a:pt x="2283" y="929"/>
                </a:cubicBezTo>
                <a:cubicBezTo>
                  <a:pt x="2284" y="933"/>
                  <a:pt x="2284" y="933"/>
                  <a:pt x="2284" y="933"/>
                </a:cubicBezTo>
                <a:cubicBezTo>
                  <a:pt x="2284" y="937"/>
                  <a:pt x="2284" y="937"/>
                  <a:pt x="2284" y="937"/>
                </a:cubicBezTo>
                <a:cubicBezTo>
                  <a:pt x="2288" y="945"/>
                  <a:pt x="2288" y="945"/>
                  <a:pt x="2288" y="945"/>
                </a:cubicBezTo>
                <a:cubicBezTo>
                  <a:pt x="2291" y="948"/>
                  <a:pt x="2291" y="948"/>
                  <a:pt x="2291" y="948"/>
                </a:cubicBezTo>
                <a:cubicBezTo>
                  <a:pt x="2294" y="951"/>
                  <a:pt x="2294" y="951"/>
                  <a:pt x="2294" y="951"/>
                </a:cubicBezTo>
                <a:cubicBezTo>
                  <a:pt x="2297" y="951"/>
                  <a:pt x="2297" y="951"/>
                  <a:pt x="2297" y="951"/>
                </a:cubicBezTo>
                <a:cubicBezTo>
                  <a:pt x="2301" y="948"/>
                  <a:pt x="2301" y="948"/>
                  <a:pt x="2301" y="948"/>
                </a:cubicBezTo>
                <a:cubicBezTo>
                  <a:pt x="2302" y="946"/>
                  <a:pt x="2302" y="946"/>
                  <a:pt x="2302" y="946"/>
                </a:cubicBezTo>
                <a:cubicBezTo>
                  <a:pt x="2301" y="945"/>
                  <a:pt x="2301" y="945"/>
                  <a:pt x="2301" y="945"/>
                </a:cubicBezTo>
                <a:cubicBezTo>
                  <a:pt x="2302" y="945"/>
                  <a:pt x="2302" y="945"/>
                  <a:pt x="2302" y="945"/>
                </a:cubicBezTo>
                <a:cubicBezTo>
                  <a:pt x="2302" y="944"/>
                  <a:pt x="2302" y="944"/>
                  <a:pt x="2302" y="944"/>
                </a:cubicBezTo>
                <a:cubicBezTo>
                  <a:pt x="2303" y="942"/>
                  <a:pt x="2303" y="942"/>
                  <a:pt x="2303" y="942"/>
                </a:cubicBezTo>
                <a:cubicBezTo>
                  <a:pt x="2307" y="940"/>
                  <a:pt x="2307" y="940"/>
                  <a:pt x="2307" y="940"/>
                </a:cubicBezTo>
                <a:cubicBezTo>
                  <a:pt x="2307" y="940"/>
                  <a:pt x="2307" y="940"/>
                  <a:pt x="2307" y="940"/>
                </a:cubicBezTo>
                <a:cubicBezTo>
                  <a:pt x="2312" y="939"/>
                  <a:pt x="2312" y="939"/>
                  <a:pt x="2312" y="939"/>
                </a:cubicBezTo>
                <a:cubicBezTo>
                  <a:pt x="2313" y="939"/>
                  <a:pt x="2313" y="939"/>
                  <a:pt x="2313" y="939"/>
                </a:cubicBezTo>
                <a:cubicBezTo>
                  <a:pt x="2314" y="940"/>
                  <a:pt x="2314" y="940"/>
                  <a:pt x="2314" y="940"/>
                </a:cubicBezTo>
                <a:cubicBezTo>
                  <a:pt x="2314" y="939"/>
                  <a:pt x="2314" y="939"/>
                  <a:pt x="2314" y="939"/>
                </a:cubicBezTo>
                <a:cubicBezTo>
                  <a:pt x="2313" y="939"/>
                  <a:pt x="2313" y="939"/>
                  <a:pt x="2313" y="939"/>
                </a:cubicBezTo>
                <a:cubicBezTo>
                  <a:pt x="2310" y="937"/>
                  <a:pt x="2310" y="937"/>
                  <a:pt x="2310" y="937"/>
                </a:cubicBezTo>
                <a:cubicBezTo>
                  <a:pt x="2310" y="936"/>
                  <a:pt x="2310" y="936"/>
                  <a:pt x="2310" y="936"/>
                </a:cubicBezTo>
                <a:cubicBezTo>
                  <a:pt x="2311" y="935"/>
                  <a:pt x="2311" y="935"/>
                  <a:pt x="2311" y="935"/>
                </a:cubicBezTo>
                <a:cubicBezTo>
                  <a:pt x="2313" y="931"/>
                  <a:pt x="2313" y="931"/>
                  <a:pt x="2313" y="931"/>
                </a:cubicBezTo>
                <a:cubicBezTo>
                  <a:pt x="2313" y="931"/>
                  <a:pt x="2313" y="931"/>
                  <a:pt x="2313" y="931"/>
                </a:cubicBezTo>
                <a:cubicBezTo>
                  <a:pt x="2314" y="928"/>
                  <a:pt x="2314" y="928"/>
                  <a:pt x="2314" y="928"/>
                </a:cubicBezTo>
                <a:cubicBezTo>
                  <a:pt x="2316" y="928"/>
                  <a:pt x="2316" y="928"/>
                  <a:pt x="2316" y="928"/>
                </a:cubicBezTo>
                <a:cubicBezTo>
                  <a:pt x="2318" y="929"/>
                  <a:pt x="2318" y="929"/>
                  <a:pt x="2318" y="929"/>
                </a:cubicBezTo>
                <a:cubicBezTo>
                  <a:pt x="2319" y="928"/>
                  <a:pt x="2319" y="928"/>
                  <a:pt x="2319" y="928"/>
                </a:cubicBezTo>
                <a:cubicBezTo>
                  <a:pt x="2319" y="926"/>
                  <a:pt x="2319" y="926"/>
                  <a:pt x="2319" y="926"/>
                </a:cubicBezTo>
                <a:cubicBezTo>
                  <a:pt x="2319" y="917"/>
                  <a:pt x="2319" y="917"/>
                  <a:pt x="2319" y="917"/>
                </a:cubicBezTo>
                <a:cubicBezTo>
                  <a:pt x="2318" y="916"/>
                  <a:pt x="2318" y="916"/>
                  <a:pt x="2318" y="916"/>
                </a:cubicBezTo>
                <a:cubicBezTo>
                  <a:pt x="2318" y="912"/>
                  <a:pt x="2318" y="912"/>
                  <a:pt x="2318" y="912"/>
                </a:cubicBezTo>
                <a:cubicBezTo>
                  <a:pt x="2320" y="907"/>
                  <a:pt x="2320" y="907"/>
                  <a:pt x="2320" y="907"/>
                </a:cubicBezTo>
                <a:cubicBezTo>
                  <a:pt x="2323" y="900"/>
                  <a:pt x="2323" y="900"/>
                  <a:pt x="2323" y="900"/>
                </a:cubicBezTo>
                <a:cubicBezTo>
                  <a:pt x="2322" y="895"/>
                  <a:pt x="2322" y="895"/>
                  <a:pt x="2322" y="895"/>
                </a:cubicBezTo>
                <a:cubicBezTo>
                  <a:pt x="2320" y="895"/>
                  <a:pt x="2320" y="895"/>
                  <a:pt x="2320" y="895"/>
                </a:cubicBezTo>
                <a:cubicBezTo>
                  <a:pt x="2320" y="887"/>
                  <a:pt x="2320" y="887"/>
                  <a:pt x="2320" y="887"/>
                </a:cubicBezTo>
                <a:cubicBezTo>
                  <a:pt x="2319" y="884"/>
                  <a:pt x="2319" y="884"/>
                  <a:pt x="2319" y="884"/>
                </a:cubicBezTo>
                <a:cubicBezTo>
                  <a:pt x="2321" y="882"/>
                  <a:pt x="2321" y="882"/>
                  <a:pt x="2321" y="882"/>
                </a:cubicBezTo>
                <a:cubicBezTo>
                  <a:pt x="2319" y="877"/>
                  <a:pt x="2319" y="877"/>
                  <a:pt x="2319" y="877"/>
                </a:cubicBezTo>
                <a:cubicBezTo>
                  <a:pt x="2319" y="874"/>
                  <a:pt x="2319" y="874"/>
                  <a:pt x="2319" y="874"/>
                </a:cubicBezTo>
                <a:cubicBezTo>
                  <a:pt x="2320" y="872"/>
                  <a:pt x="2320" y="872"/>
                  <a:pt x="2320" y="872"/>
                </a:cubicBezTo>
                <a:cubicBezTo>
                  <a:pt x="2324" y="868"/>
                  <a:pt x="2324" y="868"/>
                  <a:pt x="2324" y="868"/>
                </a:cubicBezTo>
                <a:cubicBezTo>
                  <a:pt x="2324" y="868"/>
                  <a:pt x="2324" y="868"/>
                  <a:pt x="2324" y="868"/>
                </a:cubicBezTo>
                <a:cubicBezTo>
                  <a:pt x="2325" y="870"/>
                  <a:pt x="2325" y="870"/>
                  <a:pt x="2325" y="870"/>
                </a:cubicBezTo>
                <a:cubicBezTo>
                  <a:pt x="2327" y="870"/>
                  <a:pt x="2327" y="870"/>
                  <a:pt x="2327" y="870"/>
                </a:cubicBezTo>
                <a:cubicBezTo>
                  <a:pt x="2330" y="867"/>
                  <a:pt x="2330" y="867"/>
                  <a:pt x="2330" y="867"/>
                </a:cubicBezTo>
                <a:cubicBezTo>
                  <a:pt x="2330" y="864"/>
                  <a:pt x="2330" y="864"/>
                  <a:pt x="2330" y="864"/>
                </a:cubicBezTo>
                <a:cubicBezTo>
                  <a:pt x="2332" y="863"/>
                  <a:pt x="2332" y="863"/>
                  <a:pt x="2332" y="863"/>
                </a:cubicBezTo>
                <a:cubicBezTo>
                  <a:pt x="2336" y="863"/>
                  <a:pt x="2336" y="863"/>
                  <a:pt x="2336" y="863"/>
                </a:cubicBezTo>
                <a:cubicBezTo>
                  <a:pt x="2339" y="862"/>
                  <a:pt x="2339" y="862"/>
                  <a:pt x="2339" y="862"/>
                </a:cubicBezTo>
                <a:cubicBezTo>
                  <a:pt x="2340" y="859"/>
                  <a:pt x="2340" y="859"/>
                  <a:pt x="2340" y="859"/>
                </a:cubicBezTo>
                <a:cubicBezTo>
                  <a:pt x="2340" y="857"/>
                  <a:pt x="2340" y="857"/>
                  <a:pt x="2340" y="857"/>
                </a:cubicBezTo>
                <a:cubicBezTo>
                  <a:pt x="2340" y="855"/>
                  <a:pt x="2340" y="855"/>
                  <a:pt x="2340" y="855"/>
                </a:cubicBezTo>
                <a:cubicBezTo>
                  <a:pt x="2343" y="853"/>
                  <a:pt x="2343" y="853"/>
                  <a:pt x="2343" y="853"/>
                </a:cubicBezTo>
                <a:cubicBezTo>
                  <a:pt x="2347" y="851"/>
                  <a:pt x="2347" y="851"/>
                  <a:pt x="2347" y="851"/>
                </a:cubicBezTo>
                <a:cubicBezTo>
                  <a:pt x="2349" y="849"/>
                  <a:pt x="2349" y="849"/>
                  <a:pt x="2349" y="849"/>
                </a:cubicBezTo>
                <a:cubicBezTo>
                  <a:pt x="2350" y="847"/>
                  <a:pt x="2350" y="847"/>
                  <a:pt x="2350" y="847"/>
                </a:cubicBezTo>
                <a:cubicBezTo>
                  <a:pt x="2359" y="839"/>
                  <a:pt x="2359" y="839"/>
                  <a:pt x="2359" y="839"/>
                </a:cubicBezTo>
                <a:cubicBezTo>
                  <a:pt x="2361" y="834"/>
                  <a:pt x="2361" y="834"/>
                  <a:pt x="2361" y="834"/>
                </a:cubicBezTo>
                <a:cubicBezTo>
                  <a:pt x="2368" y="828"/>
                  <a:pt x="2368" y="828"/>
                  <a:pt x="2368" y="828"/>
                </a:cubicBezTo>
                <a:cubicBezTo>
                  <a:pt x="2367" y="828"/>
                  <a:pt x="2367" y="828"/>
                  <a:pt x="2367" y="828"/>
                </a:cubicBezTo>
                <a:cubicBezTo>
                  <a:pt x="2367" y="829"/>
                  <a:pt x="2367" y="829"/>
                  <a:pt x="2367" y="829"/>
                </a:cubicBezTo>
                <a:cubicBezTo>
                  <a:pt x="2365" y="829"/>
                  <a:pt x="2365" y="829"/>
                  <a:pt x="2365" y="829"/>
                </a:cubicBezTo>
                <a:cubicBezTo>
                  <a:pt x="2365" y="827"/>
                  <a:pt x="2365" y="827"/>
                  <a:pt x="2365" y="827"/>
                </a:cubicBezTo>
                <a:cubicBezTo>
                  <a:pt x="2366" y="826"/>
                  <a:pt x="2366" y="826"/>
                  <a:pt x="2366" y="826"/>
                </a:cubicBezTo>
                <a:cubicBezTo>
                  <a:pt x="2368" y="825"/>
                  <a:pt x="2368" y="825"/>
                  <a:pt x="2368" y="825"/>
                </a:cubicBezTo>
                <a:cubicBezTo>
                  <a:pt x="2369" y="825"/>
                  <a:pt x="2369" y="825"/>
                  <a:pt x="2369" y="825"/>
                </a:cubicBezTo>
                <a:cubicBezTo>
                  <a:pt x="2369" y="826"/>
                  <a:pt x="2369" y="826"/>
                  <a:pt x="2369" y="826"/>
                </a:cubicBezTo>
                <a:cubicBezTo>
                  <a:pt x="2369" y="827"/>
                  <a:pt x="2369" y="827"/>
                  <a:pt x="2369" y="827"/>
                </a:cubicBezTo>
                <a:cubicBezTo>
                  <a:pt x="2370" y="827"/>
                  <a:pt x="2370" y="827"/>
                  <a:pt x="2370" y="827"/>
                </a:cubicBezTo>
                <a:cubicBezTo>
                  <a:pt x="2376" y="824"/>
                  <a:pt x="2376" y="824"/>
                  <a:pt x="2376" y="824"/>
                </a:cubicBezTo>
                <a:cubicBezTo>
                  <a:pt x="2376" y="823"/>
                  <a:pt x="2376" y="823"/>
                  <a:pt x="2376" y="823"/>
                </a:cubicBezTo>
                <a:cubicBezTo>
                  <a:pt x="2379" y="821"/>
                  <a:pt x="2379" y="821"/>
                  <a:pt x="2379" y="821"/>
                </a:cubicBezTo>
                <a:cubicBezTo>
                  <a:pt x="2379" y="819"/>
                  <a:pt x="2379" y="819"/>
                  <a:pt x="2379" y="819"/>
                </a:cubicBezTo>
                <a:cubicBezTo>
                  <a:pt x="2380" y="819"/>
                  <a:pt x="2380" y="819"/>
                  <a:pt x="2380" y="819"/>
                </a:cubicBezTo>
                <a:cubicBezTo>
                  <a:pt x="2381" y="817"/>
                  <a:pt x="2381" y="817"/>
                  <a:pt x="2381" y="817"/>
                </a:cubicBezTo>
                <a:cubicBezTo>
                  <a:pt x="2383" y="815"/>
                  <a:pt x="2383" y="815"/>
                  <a:pt x="2383" y="815"/>
                </a:cubicBezTo>
                <a:cubicBezTo>
                  <a:pt x="2382" y="815"/>
                  <a:pt x="2382" y="815"/>
                  <a:pt x="2382" y="815"/>
                </a:cubicBezTo>
                <a:cubicBezTo>
                  <a:pt x="2382" y="814"/>
                  <a:pt x="2382" y="814"/>
                  <a:pt x="2382" y="814"/>
                </a:cubicBezTo>
                <a:cubicBezTo>
                  <a:pt x="2381" y="812"/>
                  <a:pt x="2381" y="812"/>
                  <a:pt x="2381" y="812"/>
                </a:cubicBezTo>
                <a:cubicBezTo>
                  <a:pt x="2381" y="811"/>
                  <a:pt x="2381" y="811"/>
                  <a:pt x="2381" y="811"/>
                </a:cubicBezTo>
                <a:cubicBezTo>
                  <a:pt x="2382" y="809"/>
                  <a:pt x="2382" y="809"/>
                  <a:pt x="2382" y="809"/>
                </a:cubicBezTo>
                <a:cubicBezTo>
                  <a:pt x="2382" y="808"/>
                  <a:pt x="2382" y="808"/>
                  <a:pt x="2382" y="808"/>
                </a:cubicBezTo>
                <a:cubicBezTo>
                  <a:pt x="2383" y="807"/>
                  <a:pt x="2383" y="807"/>
                  <a:pt x="2383" y="807"/>
                </a:cubicBezTo>
                <a:cubicBezTo>
                  <a:pt x="2390" y="804"/>
                  <a:pt x="2390" y="804"/>
                  <a:pt x="2390" y="804"/>
                </a:cubicBezTo>
                <a:cubicBezTo>
                  <a:pt x="2391" y="803"/>
                  <a:pt x="2391" y="803"/>
                  <a:pt x="2391" y="803"/>
                </a:cubicBezTo>
                <a:cubicBezTo>
                  <a:pt x="2391" y="801"/>
                  <a:pt x="2391" y="801"/>
                  <a:pt x="2391" y="801"/>
                </a:cubicBezTo>
                <a:cubicBezTo>
                  <a:pt x="2392" y="800"/>
                  <a:pt x="2392" y="800"/>
                  <a:pt x="2392" y="800"/>
                </a:cubicBezTo>
                <a:cubicBezTo>
                  <a:pt x="2393" y="799"/>
                  <a:pt x="2393" y="799"/>
                  <a:pt x="2393" y="799"/>
                </a:cubicBezTo>
                <a:cubicBezTo>
                  <a:pt x="2392" y="798"/>
                  <a:pt x="2392" y="798"/>
                  <a:pt x="2392" y="798"/>
                </a:cubicBezTo>
                <a:cubicBezTo>
                  <a:pt x="2391" y="798"/>
                  <a:pt x="2391" y="798"/>
                  <a:pt x="2391" y="798"/>
                </a:cubicBezTo>
                <a:cubicBezTo>
                  <a:pt x="2390" y="797"/>
                  <a:pt x="2390" y="797"/>
                  <a:pt x="2390" y="797"/>
                </a:cubicBezTo>
                <a:cubicBezTo>
                  <a:pt x="2392" y="797"/>
                  <a:pt x="2392" y="797"/>
                  <a:pt x="2392" y="797"/>
                </a:cubicBezTo>
                <a:cubicBezTo>
                  <a:pt x="2394" y="799"/>
                  <a:pt x="2394" y="799"/>
                  <a:pt x="2394" y="799"/>
                </a:cubicBezTo>
                <a:cubicBezTo>
                  <a:pt x="2393" y="800"/>
                  <a:pt x="2393" y="800"/>
                  <a:pt x="2393" y="800"/>
                </a:cubicBezTo>
                <a:cubicBezTo>
                  <a:pt x="2394" y="803"/>
                  <a:pt x="2394" y="803"/>
                  <a:pt x="2394" y="803"/>
                </a:cubicBezTo>
                <a:cubicBezTo>
                  <a:pt x="2396" y="803"/>
                  <a:pt x="2396" y="803"/>
                  <a:pt x="2396" y="803"/>
                </a:cubicBezTo>
                <a:cubicBezTo>
                  <a:pt x="2396" y="803"/>
                  <a:pt x="2396" y="803"/>
                  <a:pt x="2396" y="803"/>
                </a:cubicBezTo>
                <a:cubicBezTo>
                  <a:pt x="2397" y="803"/>
                  <a:pt x="2397" y="803"/>
                  <a:pt x="2397" y="803"/>
                </a:cubicBezTo>
                <a:cubicBezTo>
                  <a:pt x="2398" y="802"/>
                  <a:pt x="2398" y="802"/>
                  <a:pt x="2398" y="802"/>
                </a:cubicBezTo>
                <a:cubicBezTo>
                  <a:pt x="2398" y="803"/>
                  <a:pt x="2398" y="803"/>
                  <a:pt x="2398" y="803"/>
                </a:cubicBezTo>
                <a:cubicBezTo>
                  <a:pt x="2398" y="802"/>
                  <a:pt x="2398" y="802"/>
                  <a:pt x="2398" y="802"/>
                </a:cubicBezTo>
                <a:cubicBezTo>
                  <a:pt x="2398" y="801"/>
                  <a:pt x="2398" y="801"/>
                  <a:pt x="2398" y="801"/>
                </a:cubicBezTo>
                <a:cubicBezTo>
                  <a:pt x="2399" y="802"/>
                  <a:pt x="2399" y="802"/>
                  <a:pt x="2399" y="802"/>
                </a:cubicBezTo>
                <a:cubicBezTo>
                  <a:pt x="2400" y="804"/>
                  <a:pt x="2400" y="804"/>
                  <a:pt x="2400" y="804"/>
                </a:cubicBezTo>
                <a:cubicBezTo>
                  <a:pt x="2401" y="805"/>
                  <a:pt x="2401" y="805"/>
                  <a:pt x="2401" y="805"/>
                </a:cubicBezTo>
                <a:cubicBezTo>
                  <a:pt x="2401" y="804"/>
                  <a:pt x="2401" y="804"/>
                  <a:pt x="2401" y="804"/>
                </a:cubicBezTo>
                <a:cubicBezTo>
                  <a:pt x="2402" y="805"/>
                  <a:pt x="2402" y="805"/>
                  <a:pt x="2402" y="805"/>
                </a:cubicBezTo>
                <a:cubicBezTo>
                  <a:pt x="2403" y="804"/>
                  <a:pt x="2403" y="804"/>
                  <a:pt x="2403" y="804"/>
                </a:cubicBezTo>
                <a:cubicBezTo>
                  <a:pt x="2402" y="801"/>
                  <a:pt x="2402" y="801"/>
                  <a:pt x="2402" y="801"/>
                </a:cubicBezTo>
                <a:cubicBezTo>
                  <a:pt x="2403" y="801"/>
                  <a:pt x="2403" y="801"/>
                  <a:pt x="2403" y="801"/>
                </a:cubicBezTo>
                <a:cubicBezTo>
                  <a:pt x="2404" y="801"/>
                  <a:pt x="2404" y="801"/>
                  <a:pt x="2404" y="801"/>
                </a:cubicBezTo>
                <a:cubicBezTo>
                  <a:pt x="2404" y="803"/>
                  <a:pt x="2404" y="803"/>
                  <a:pt x="2404" y="803"/>
                </a:cubicBezTo>
                <a:cubicBezTo>
                  <a:pt x="2405" y="804"/>
                  <a:pt x="2405" y="804"/>
                  <a:pt x="2405" y="804"/>
                </a:cubicBezTo>
                <a:cubicBezTo>
                  <a:pt x="2406" y="804"/>
                  <a:pt x="2406" y="804"/>
                  <a:pt x="2406" y="804"/>
                </a:cubicBezTo>
                <a:cubicBezTo>
                  <a:pt x="2406" y="802"/>
                  <a:pt x="2406" y="802"/>
                  <a:pt x="2406" y="802"/>
                </a:cubicBezTo>
                <a:cubicBezTo>
                  <a:pt x="2407" y="802"/>
                  <a:pt x="2407" y="802"/>
                  <a:pt x="2407" y="802"/>
                </a:cubicBezTo>
                <a:cubicBezTo>
                  <a:pt x="2409" y="803"/>
                  <a:pt x="2409" y="803"/>
                  <a:pt x="2409" y="803"/>
                </a:cubicBezTo>
                <a:cubicBezTo>
                  <a:pt x="2409" y="803"/>
                  <a:pt x="2409" y="803"/>
                  <a:pt x="2409" y="803"/>
                </a:cubicBezTo>
                <a:cubicBezTo>
                  <a:pt x="2410" y="803"/>
                  <a:pt x="2410" y="803"/>
                  <a:pt x="2410" y="803"/>
                </a:cubicBezTo>
                <a:cubicBezTo>
                  <a:pt x="2410" y="801"/>
                  <a:pt x="2410" y="801"/>
                  <a:pt x="2410" y="801"/>
                </a:cubicBezTo>
                <a:cubicBezTo>
                  <a:pt x="2409" y="798"/>
                  <a:pt x="2409" y="798"/>
                  <a:pt x="2409" y="798"/>
                </a:cubicBezTo>
                <a:cubicBezTo>
                  <a:pt x="2409" y="798"/>
                  <a:pt x="2409" y="798"/>
                  <a:pt x="2409" y="798"/>
                </a:cubicBezTo>
                <a:cubicBezTo>
                  <a:pt x="2410" y="796"/>
                  <a:pt x="2410" y="796"/>
                  <a:pt x="2410" y="796"/>
                </a:cubicBezTo>
                <a:cubicBezTo>
                  <a:pt x="2410" y="795"/>
                  <a:pt x="2410" y="795"/>
                  <a:pt x="2410" y="795"/>
                </a:cubicBezTo>
                <a:cubicBezTo>
                  <a:pt x="2410" y="794"/>
                  <a:pt x="2410" y="794"/>
                  <a:pt x="2410" y="794"/>
                </a:cubicBezTo>
                <a:cubicBezTo>
                  <a:pt x="2411" y="795"/>
                  <a:pt x="2411" y="795"/>
                  <a:pt x="2411" y="795"/>
                </a:cubicBezTo>
                <a:cubicBezTo>
                  <a:pt x="2411" y="796"/>
                  <a:pt x="2411" y="796"/>
                  <a:pt x="2411" y="796"/>
                </a:cubicBezTo>
                <a:cubicBezTo>
                  <a:pt x="2410" y="799"/>
                  <a:pt x="2410" y="799"/>
                  <a:pt x="2410" y="799"/>
                </a:cubicBezTo>
                <a:cubicBezTo>
                  <a:pt x="2411" y="801"/>
                  <a:pt x="2411" y="801"/>
                  <a:pt x="2411" y="801"/>
                </a:cubicBezTo>
                <a:cubicBezTo>
                  <a:pt x="2412" y="799"/>
                  <a:pt x="2412" y="799"/>
                  <a:pt x="2412" y="799"/>
                </a:cubicBezTo>
                <a:cubicBezTo>
                  <a:pt x="2414" y="798"/>
                  <a:pt x="2414" y="798"/>
                  <a:pt x="2414" y="798"/>
                </a:cubicBezTo>
                <a:cubicBezTo>
                  <a:pt x="2413" y="799"/>
                  <a:pt x="2413" y="799"/>
                  <a:pt x="2413" y="799"/>
                </a:cubicBezTo>
                <a:cubicBezTo>
                  <a:pt x="2412" y="799"/>
                  <a:pt x="2412" y="799"/>
                  <a:pt x="2412" y="799"/>
                </a:cubicBezTo>
                <a:cubicBezTo>
                  <a:pt x="2412" y="801"/>
                  <a:pt x="2412" y="801"/>
                  <a:pt x="2412" y="801"/>
                </a:cubicBezTo>
                <a:cubicBezTo>
                  <a:pt x="2413" y="802"/>
                  <a:pt x="2413" y="802"/>
                  <a:pt x="2413" y="802"/>
                </a:cubicBezTo>
                <a:cubicBezTo>
                  <a:pt x="2415" y="799"/>
                  <a:pt x="2415" y="799"/>
                  <a:pt x="2415" y="799"/>
                </a:cubicBezTo>
                <a:cubicBezTo>
                  <a:pt x="2417" y="798"/>
                  <a:pt x="2417" y="798"/>
                  <a:pt x="2417" y="798"/>
                </a:cubicBezTo>
                <a:cubicBezTo>
                  <a:pt x="2417" y="796"/>
                  <a:pt x="2417" y="796"/>
                  <a:pt x="2417" y="796"/>
                </a:cubicBezTo>
                <a:cubicBezTo>
                  <a:pt x="2416" y="793"/>
                  <a:pt x="2416" y="793"/>
                  <a:pt x="2416" y="793"/>
                </a:cubicBezTo>
                <a:cubicBezTo>
                  <a:pt x="2414" y="793"/>
                  <a:pt x="2414" y="793"/>
                  <a:pt x="2414" y="793"/>
                </a:cubicBezTo>
                <a:cubicBezTo>
                  <a:pt x="2416" y="792"/>
                  <a:pt x="2416" y="792"/>
                  <a:pt x="2416" y="792"/>
                </a:cubicBezTo>
                <a:cubicBezTo>
                  <a:pt x="2417" y="791"/>
                  <a:pt x="2417" y="791"/>
                  <a:pt x="2417" y="791"/>
                </a:cubicBezTo>
                <a:cubicBezTo>
                  <a:pt x="2415" y="789"/>
                  <a:pt x="2415" y="789"/>
                  <a:pt x="2415" y="789"/>
                </a:cubicBezTo>
                <a:cubicBezTo>
                  <a:pt x="2415" y="785"/>
                  <a:pt x="2415" y="785"/>
                  <a:pt x="2415" y="785"/>
                </a:cubicBezTo>
                <a:cubicBezTo>
                  <a:pt x="2416" y="788"/>
                  <a:pt x="2416" y="788"/>
                  <a:pt x="2416" y="788"/>
                </a:cubicBezTo>
                <a:cubicBezTo>
                  <a:pt x="2417" y="790"/>
                  <a:pt x="2417" y="790"/>
                  <a:pt x="2417" y="790"/>
                </a:cubicBezTo>
                <a:cubicBezTo>
                  <a:pt x="2419" y="790"/>
                  <a:pt x="2419" y="790"/>
                  <a:pt x="2419" y="790"/>
                </a:cubicBezTo>
                <a:cubicBezTo>
                  <a:pt x="2419" y="791"/>
                  <a:pt x="2419" y="791"/>
                  <a:pt x="2419" y="791"/>
                </a:cubicBezTo>
                <a:cubicBezTo>
                  <a:pt x="2423" y="792"/>
                  <a:pt x="2423" y="792"/>
                  <a:pt x="2423" y="792"/>
                </a:cubicBezTo>
                <a:cubicBezTo>
                  <a:pt x="2425" y="791"/>
                  <a:pt x="2425" y="791"/>
                  <a:pt x="2425" y="791"/>
                </a:cubicBezTo>
                <a:cubicBezTo>
                  <a:pt x="2425" y="792"/>
                  <a:pt x="2425" y="792"/>
                  <a:pt x="2425" y="792"/>
                </a:cubicBezTo>
                <a:cubicBezTo>
                  <a:pt x="2425" y="791"/>
                  <a:pt x="2425" y="791"/>
                  <a:pt x="2425" y="791"/>
                </a:cubicBezTo>
                <a:cubicBezTo>
                  <a:pt x="2426" y="791"/>
                  <a:pt x="2426" y="791"/>
                  <a:pt x="2426" y="791"/>
                </a:cubicBezTo>
                <a:cubicBezTo>
                  <a:pt x="2429" y="798"/>
                  <a:pt x="2429" y="798"/>
                  <a:pt x="2429" y="798"/>
                </a:cubicBezTo>
                <a:cubicBezTo>
                  <a:pt x="2430" y="799"/>
                  <a:pt x="2430" y="799"/>
                  <a:pt x="2430" y="799"/>
                </a:cubicBezTo>
                <a:cubicBezTo>
                  <a:pt x="2430" y="800"/>
                  <a:pt x="2430" y="800"/>
                  <a:pt x="2430" y="800"/>
                </a:cubicBezTo>
                <a:cubicBezTo>
                  <a:pt x="2430" y="803"/>
                  <a:pt x="2430" y="803"/>
                  <a:pt x="2430" y="803"/>
                </a:cubicBezTo>
                <a:cubicBezTo>
                  <a:pt x="2431" y="803"/>
                  <a:pt x="2431" y="803"/>
                  <a:pt x="2431" y="803"/>
                </a:cubicBezTo>
                <a:cubicBezTo>
                  <a:pt x="2430" y="806"/>
                  <a:pt x="2430" y="806"/>
                  <a:pt x="2430" y="806"/>
                </a:cubicBezTo>
                <a:cubicBezTo>
                  <a:pt x="2430" y="807"/>
                  <a:pt x="2430" y="807"/>
                  <a:pt x="2430" y="807"/>
                </a:cubicBezTo>
                <a:cubicBezTo>
                  <a:pt x="2432" y="805"/>
                  <a:pt x="2432" y="805"/>
                  <a:pt x="2432" y="805"/>
                </a:cubicBezTo>
                <a:cubicBezTo>
                  <a:pt x="2432" y="805"/>
                  <a:pt x="2432" y="805"/>
                  <a:pt x="2432" y="805"/>
                </a:cubicBezTo>
                <a:cubicBezTo>
                  <a:pt x="2432" y="806"/>
                  <a:pt x="2432" y="806"/>
                  <a:pt x="2432" y="806"/>
                </a:cubicBezTo>
                <a:cubicBezTo>
                  <a:pt x="2431" y="807"/>
                  <a:pt x="2431" y="807"/>
                  <a:pt x="2431" y="807"/>
                </a:cubicBezTo>
                <a:cubicBezTo>
                  <a:pt x="2432" y="809"/>
                  <a:pt x="2432" y="809"/>
                  <a:pt x="2432" y="809"/>
                </a:cubicBezTo>
                <a:cubicBezTo>
                  <a:pt x="2434" y="811"/>
                  <a:pt x="2434" y="811"/>
                  <a:pt x="2434" y="811"/>
                </a:cubicBezTo>
                <a:cubicBezTo>
                  <a:pt x="2435" y="815"/>
                  <a:pt x="2435" y="815"/>
                  <a:pt x="2435" y="815"/>
                </a:cubicBezTo>
                <a:cubicBezTo>
                  <a:pt x="2436" y="815"/>
                  <a:pt x="2436" y="815"/>
                  <a:pt x="2436" y="815"/>
                </a:cubicBezTo>
                <a:cubicBezTo>
                  <a:pt x="2435" y="812"/>
                  <a:pt x="2435" y="812"/>
                  <a:pt x="2435" y="812"/>
                </a:cubicBezTo>
                <a:cubicBezTo>
                  <a:pt x="2436" y="812"/>
                  <a:pt x="2436" y="812"/>
                  <a:pt x="2436" y="812"/>
                </a:cubicBezTo>
                <a:cubicBezTo>
                  <a:pt x="2436" y="812"/>
                  <a:pt x="2436" y="812"/>
                  <a:pt x="2436" y="812"/>
                </a:cubicBezTo>
                <a:cubicBezTo>
                  <a:pt x="2437" y="814"/>
                  <a:pt x="2437" y="814"/>
                  <a:pt x="2437" y="814"/>
                </a:cubicBezTo>
                <a:cubicBezTo>
                  <a:pt x="2437" y="817"/>
                  <a:pt x="2437" y="817"/>
                  <a:pt x="2437" y="817"/>
                </a:cubicBezTo>
                <a:cubicBezTo>
                  <a:pt x="2442" y="821"/>
                  <a:pt x="2442" y="821"/>
                  <a:pt x="2442" y="821"/>
                </a:cubicBezTo>
                <a:cubicBezTo>
                  <a:pt x="2441" y="819"/>
                  <a:pt x="2441" y="819"/>
                  <a:pt x="2441" y="819"/>
                </a:cubicBezTo>
                <a:cubicBezTo>
                  <a:pt x="2441" y="818"/>
                  <a:pt x="2441" y="818"/>
                  <a:pt x="2441" y="818"/>
                </a:cubicBezTo>
                <a:cubicBezTo>
                  <a:pt x="2442" y="819"/>
                  <a:pt x="2442" y="819"/>
                  <a:pt x="2442" y="819"/>
                </a:cubicBezTo>
                <a:cubicBezTo>
                  <a:pt x="2444" y="819"/>
                  <a:pt x="2444" y="819"/>
                  <a:pt x="2444" y="819"/>
                </a:cubicBezTo>
                <a:cubicBezTo>
                  <a:pt x="2443" y="821"/>
                  <a:pt x="2443" y="821"/>
                  <a:pt x="2443" y="821"/>
                </a:cubicBezTo>
                <a:cubicBezTo>
                  <a:pt x="2443" y="822"/>
                  <a:pt x="2443" y="822"/>
                  <a:pt x="2443" y="822"/>
                </a:cubicBezTo>
                <a:cubicBezTo>
                  <a:pt x="2445" y="821"/>
                  <a:pt x="2445" y="821"/>
                  <a:pt x="2445" y="821"/>
                </a:cubicBezTo>
                <a:cubicBezTo>
                  <a:pt x="2445" y="820"/>
                  <a:pt x="2445" y="820"/>
                  <a:pt x="2445" y="820"/>
                </a:cubicBezTo>
                <a:cubicBezTo>
                  <a:pt x="2446" y="821"/>
                  <a:pt x="2446" y="821"/>
                  <a:pt x="2446" y="821"/>
                </a:cubicBezTo>
                <a:cubicBezTo>
                  <a:pt x="2447" y="822"/>
                  <a:pt x="2447" y="822"/>
                  <a:pt x="2447" y="822"/>
                </a:cubicBezTo>
                <a:cubicBezTo>
                  <a:pt x="2448" y="823"/>
                  <a:pt x="2448" y="823"/>
                  <a:pt x="2448" y="823"/>
                </a:cubicBezTo>
                <a:cubicBezTo>
                  <a:pt x="2451" y="824"/>
                  <a:pt x="2451" y="824"/>
                  <a:pt x="2451" y="824"/>
                </a:cubicBezTo>
                <a:cubicBezTo>
                  <a:pt x="2453" y="827"/>
                  <a:pt x="2453" y="827"/>
                  <a:pt x="2453" y="827"/>
                </a:cubicBezTo>
                <a:cubicBezTo>
                  <a:pt x="2453" y="828"/>
                  <a:pt x="2453" y="828"/>
                  <a:pt x="2453" y="828"/>
                </a:cubicBezTo>
                <a:cubicBezTo>
                  <a:pt x="2452" y="829"/>
                  <a:pt x="2452" y="829"/>
                  <a:pt x="2452" y="829"/>
                </a:cubicBezTo>
                <a:cubicBezTo>
                  <a:pt x="2451" y="828"/>
                  <a:pt x="2451" y="828"/>
                  <a:pt x="2451" y="828"/>
                </a:cubicBezTo>
                <a:cubicBezTo>
                  <a:pt x="2449" y="828"/>
                  <a:pt x="2449" y="828"/>
                  <a:pt x="2449" y="828"/>
                </a:cubicBezTo>
                <a:cubicBezTo>
                  <a:pt x="2451" y="830"/>
                  <a:pt x="2451" y="830"/>
                  <a:pt x="2451" y="830"/>
                </a:cubicBezTo>
                <a:cubicBezTo>
                  <a:pt x="2451" y="830"/>
                  <a:pt x="2451" y="830"/>
                  <a:pt x="2451" y="830"/>
                </a:cubicBezTo>
                <a:cubicBezTo>
                  <a:pt x="2451" y="831"/>
                  <a:pt x="2451" y="831"/>
                  <a:pt x="2451" y="831"/>
                </a:cubicBezTo>
                <a:cubicBezTo>
                  <a:pt x="2449" y="830"/>
                  <a:pt x="2449" y="830"/>
                  <a:pt x="2449" y="830"/>
                </a:cubicBezTo>
                <a:cubicBezTo>
                  <a:pt x="2449" y="829"/>
                  <a:pt x="2449" y="829"/>
                  <a:pt x="2449" y="829"/>
                </a:cubicBezTo>
                <a:cubicBezTo>
                  <a:pt x="2447" y="828"/>
                  <a:pt x="2447" y="828"/>
                  <a:pt x="2447" y="828"/>
                </a:cubicBezTo>
                <a:cubicBezTo>
                  <a:pt x="2447" y="829"/>
                  <a:pt x="2447" y="829"/>
                  <a:pt x="2447" y="829"/>
                </a:cubicBezTo>
                <a:cubicBezTo>
                  <a:pt x="2449" y="831"/>
                  <a:pt x="2449" y="831"/>
                  <a:pt x="2449" y="831"/>
                </a:cubicBezTo>
                <a:cubicBezTo>
                  <a:pt x="2449" y="832"/>
                  <a:pt x="2449" y="832"/>
                  <a:pt x="2449" y="832"/>
                </a:cubicBezTo>
                <a:cubicBezTo>
                  <a:pt x="2451" y="834"/>
                  <a:pt x="2451" y="834"/>
                  <a:pt x="2451" y="834"/>
                </a:cubicBezTo>
                <a:cubicBezTo>
                  <a:pt x="2455" y="836"/>
                  <a:pt x="2455" y="836"/>
                  <a:pt x="2455" y="836"/>
                </a:cubicBezTo>
                <a:cubicBezTo>
                  <a:pt x="2454" y="832"/>
                  <a:pt x="2454" y="832"/>
                  <a:pt x="2454" y="832"/>
                </a:cubicBezTo>
                <a:cubicBezTo>
                  <a:pt x="2453" y="830"/>
                  <a:pt x="2453" y="830"/>
                  <a:pt x="2453" y="830"/>
                </a:cubicBezTo>
                <a:cubicBezTo>
                  <a:pt x="2456" y="832"/>
                  <a:pt x="2456" y="832"/>
                  <a:pt x="2456" y="832"/>
                </a:cubicBezTo>
                <a:cubicBezTo>
                  <a:pt x="2456" y="834"/>
                  <a:pt x="2456" y="834"/>
                  <a:pt x="2456" y="834"/>
                </a:cubicBezTo>
                <a:cubicBezTo>
                  <a:pt x="2457" y="835"/>
                  <a:pt x="2457" y="835"/>
                  <a:pt x="2457" y="835"/>
                </a:cubicBezTo>
                <a:cubicBezTo>
                  <a:pt x="2458" y="837"/>
                  <a:pt x="2458" y="837"/>
                  <a:pt x="2458" y="837"/>
                </a:cubicBezTo>
                <a:cubicBezTo>
                  <a:pt x="2458" y="840"/>
                  <a:pt x="2458" y="840"/>
                  <a:pt x="2458" y="840"/>
                </a:cubicBezTo>
                <a:cubicBezTo>
                  <a:pt x="2460" y="841"/>
                  <a:pt x="2460" y="841"/>
                  <a:pt x="2460" y="841"/>
                </a:cubicBezTo>
                <a:cubicBezTo>
                  <a:pt x="2459" y="841"/>
                  <a:pt x="2459" y="841"/>
                  <a:pt x="2459" y="841"/>
                </a:cubicBezTo>
                <a:cubicBezTo>
                  <a:pt x="2460" y="842"/>
                  <a:pt x="2460" y="842"/>
                  <a:pt x="2460" y="842"/>
                </a:cubicBezTo>
                <a:cubicBezTo>
                  <a:pt x="2461" y="843"/>
                  <a:pt x="2461" y="843"/>
                  <a:pt x="2461" y="843"/>
                </a:cubicBezTo>
                <a:cubicBezTo>
                  <a:pt x="2461" y="847"/>
                  <a:pt x="2461" y="847"/>
                  <a:pt x="2461" y="847"/>
                </a:cubicBezTo>
                <a:cubicBezTo>
                  <a:pt x="2463" y="851"/>
                  <a:pt x="2463" y="851"/>
                  <a:pt x="2463" y="851"/>
                </a:cubicBezTo>
                <a:cubicBezTo>
                  <a:pt x="2464" y="852"/>
                  <a:pt x="2464" y="852"/>
                  <a:pt x="2464" y="852"/>
                </a:cubicBezTo>
                <a:cubicBezTo>
                  <a:pt x="2462" y="853"/>
                  <a:pt x="2462" y="853"/>
                  <a:pt x="2462" y="853"/>
                </a:cubicBezTo>
                <a:cubicBezTo>
                  <a:pt x="2460" y="864"/>
                  <a:pt x="2460" y="864"/>
                  <a:pt x="2460" y="864"/>
                </a:cubicBezTo>
                <a:cubicBezTo>
                  <a:pt x="2461" y="866"/>
                  <a:pt x="2461" y="866"/>
                  <a:pt x="2461" y="866"/>
                </a:cubicBezTo>
                <a:cubicBezTo>
                  <a:pt x="2460" y="866"/>
                  <a:pt x="2460" y="866"/>
                  <a:pt x="2460" y="866"/>
                </a:cubicBezTo>
                <a:cubicBezTo>
                  <a:pt x="2460" y="867"/>
                  <a:pt x="2460" y="867"/>
                  <a:pt x="2460" y="867"/>
                </a:cubicBezTo>
                <a:cubicBezTo>
                  <a:pt x="2462" y="865"/>
                  <a:pt x="2462" y="865"/>
                  <a:pt x="2462" y="865"/>
                </a:cubicBezTo>
                <a:cubicBezTo>
                  <a:pt x="2464" y="863"/>
                  <a:pt x="2464" y="863"/>
                  <a:pt x="2464" y="863"/>
                </a:cubicBezTo>
                <a:cubicBezTo>
                  <a:pt x="2465" y="860"/>
                  <a:pt x="2465" y="860"/>
                  <a:pt x="2465" y="860"/>
                </a:cubicBezTo>
                <a:cubicBezTo>
                  <a:pt x="2465" y="863"/>
                  <a:pt x="2465" y="863"/>
                  <a:pt x="2465" y="863"/>
                </a:cubicBezTo>
                <a:cubicBezTo>
                  <a:pt x="2463" y="866"/>
                  <a:pt x="2463" y="866"/>
                  <a:pt x="2463" y="866"/>
                </a:cubicBezTo>
                <a:cubicBezTo>
                  <a:pt x="2463" y="869"/>
                  <a:pt x="2463" y="869"/>
                  <a:pt x="2463" y="869"/>
                </a:cubicBezTo>
                <a:cubicBezTo>
                  <a:pt x="2464" y="869"/>
                  <a:pt x="2464" y="869"/>
                  <a:pt x="2464" y="869"/>
                </a:cubicBezTo>
                <a:cubicBezTo>
                  <a:pt x="2464" y="867"/>
                  <a:pt x="2464" y="867"/>
                  <a:pt x="2464" y="867"/>
                </a:cubicBezTo>
                <a:cubicBezTo>
                  <a:pt x="2467" y="866"/>
                  <a:pt x="2467" y="866"/>
                  <a:pt x="2467" y="866"/>
                </a:cubicBezTo>
                <a:cubicBezTo>
                  <a:pt x="2468" y="867"/>
                  <a:pt x="2468" y="867"/>
                  <a:pt x="2468" y="867"/>
                </a:cubicBezTo>
                <a:cubicBezTo>
                  <a:pt x="2469" y="867"/>
                  <a:pt x="2469" y="867"/>
                  <a:pt x="2469" y="867"/>
                </a:cubicBezTo>
                <a:cubicBezTo>
                  <a:pt x="2469" y="866"/>
                  <a:pt x="2469" y="866"/>
                  <a:pt x="2469" y="866"/>
                </a:cubicBezTo>
                <a:cubicBezTo>
                  <a:pt x="2469" y="867"/>
                  <a:pt x="2469" y="867"/>
                  <a:pt x="2469" y="867"/>
                </a:cubicBezTo>
                <a:cubicBezTo>
                  <a:pt x="2470" y="867"/>
                  <a:pt x="2470" y="867"/>
                  <a:pt x="2470" y="867"/>
                </a:cubicBezTo>
                <a:cubicBezTo>
                  <a:pt x="2471" y="866"/>
                  <a:pt x="2471" y="866"/>
                  <a:pt x="2471" y="866"/>
                </a:cubicBezTo>
                <a:cubicBezTo>
                  <a:pt x="2473" y="866"/>
                  <a:pt x="2473" y="866"/>
                  <a:pt x="2473" y="866"/>
                </a:cubicBezTo>
                <a:cubicBezTo>
                  <a:pt x="2477" y="864"/>
                  <a:pt x="2477" y="864"/>
                  <a:pt x="2477" y="864"/>
                </a:cubicBezTo>
                <a:cubicBezTo>
                  <a:pt x="2477" y="862"/>
                  <a:pt x="2477" y="862"/>
                  <a:pt x="2477" y="862"/>
                </a:cubicBezTo>
                <a:lnTo>
                  <a:pt x="2478" y="862"/>
                </a:lnTo>
                <a:close/>
                <a:moveTo>
                  <a:pt x="2594" y="883"/>
                </a:moveTo>
                <a:cubicBezTo>
                  <a:pt x="2594" y="883"/>
                  <a:pt x="2594" y="883"/>
                  <a:pt x="2594" y="883"/>
                </a:cubicBezTo>
                <a:cubicBezTo>
                  <a:pt x="2592" y="883"/>
                  <a:pt x="2592" y="883"/>
                  <a:pt x="2592" y="883"/>
                </a:cubicBezTo>
                <a:lnTo>
                  <a:pt x="2594" y="883"/>
                </a:lnTo>
                <a:close/>
                <a:moveTo>
                  <a:pt x="1735" y="173"/>
                </a:moveTo>
                <a:cubicBezTo>
                  <a:pt x="1734" y="169"/>
                  <a:pt x="1734" y="169"/>
                  <a:pt x="1734" y="169"/>
                </a:cubicBezTo>
                <a:cubicBezTo>
                  <a:pt x="1735" y="173"/>
                  <a:pt x="1735" y="173"/>
                  <a:pt x="1735" y="173"/>
                </a:cubicBezTo>
                <a:close/>
                <a:moveTo>
                  <a:pt x="1753" y="726"/>
                </a:moveTo>
                <a:cubicBezTo>
                  <a:pt x="1757" y="806"/>
                  <a:pt x="1757" y="806"/>
                  <a:pt x="1757" y="806"/>
                </a:cubicBezTo>
                <a:cubicBezTo>
                  <a:pt x="1758" y="826"/>
                  <a:pt x="1758" y="826"/>
                  <a:pt x="1758" y="826"/>
                </a:cubicBezTo>
                <a:lnTo>
                  <a:pt x="1753" y="726"/>
                </a:lnTo>
                <a:close/>
                <a:moveTo>
                  <a:pt x="1857" y="690"/>
                </a:moveTo>
                <a:cubicBezTo>
                  <a:pt x="1857" y="690"/>
                  <a:pt x="1857" y="690"/>
                  <a:pt x="1857" y="690"/>
                </a:cubicBezTo>
                <a:cubicBezTo>
                  <a:pt x="1858" y="690"/>
                  <a:pt x="1858" y="690"/>
                  <a:pt x="1858" y="690"/>
                </a:cubicBezTo>
                <a:lnTo>
                  <a:pt x="1857" y="690"/>
                </a:lnTo>
                <a:close/>
                <a:moveTo>
                  <a:pt x="1858" y="680"/>
                </a:moveTo>
                <a:cubicBezTo>
                  <a:pt x="1858" y="680"/>
                  <a:pt x="1858" y="680"/>
                  <a:pt x="1858" y="680"/>
                </a:cubicBezTo>
                <a:cubicBezTo>
                  <a:pt x="1857" y="680"/>
                  <a:pt x="1857" y="680"/>
                  <a:pt x="1857" y="680"/>
                </a:cubicBezTo>
                <a:cubicBezTo>
                  <a:pt x="1858" y="680"/>
                  <a:pt x="1858" y="680"/>
                  <a:pt x="1858" y="680"/>
                </a:cubicBezTo>
                <a:close/>
                <a:moveTo>
                  <a:pt x="2061" y="825"/>
                </a:moveTo>
                <a:cubicBezTo>
                  <a:pt x="2032" y="834"/>
                  <a:pt x="2032" y="834"/>
                  <a:pt x="2032" y="834"/>
                </a:cubicBezTo>
                <a:cubicBezTo>
                  <a:pt x="1994" y="845"/>
                  <a:pt x="1994" y="845"/>
                  <a:pt x="1994" y="845"/>
                </a:cubicBezTo>
                <a:lnTo>
                  <a:pt x="2061" y="825"/>
                </a:lnTo>
                <a:close/>
                <a:moveTo>
                  <a:pt x="1950" y="726"/>
                </a:moveTo>
                <a:cubicBezTo>
                  <a:pt x="1969" y="727"/>
                  <a:pt x="1969" y="727"/>
                  <a:pt x="1969" y="727"/>
                </a:cubicBezTo>
                <a:cubicBezTo>
                  <a:pt x="1970" y="727"/>
                  <a:pt x="1970" y="727"/>
                  <a:pt x="1970" y="727"/>
                </a:cubicBezTo>
                <a:lnTo>
                  <a:pt x="1950" y="726"/>
                </a:lnTo>
                <a:close/>
                <a:moveTo>
                  <a:pt x="2033" y="638"/>
                </a:moveTo>
                <a:cubicBezTo>
                  <a:pt x="2031" y="637"/>
                  <a:pt x="2031" y="637"/>
                  <a:pt x="2031" y="637"/>
                </a:cubicBezTo>
                <a:cubicBezTo>
                  <a:pt x="2025" y="637"/>
                  <a:pt x="2025" y="637"/>
                  <a:pt x="2025" y="637"/>
                </a:cubicBezTo>
                <a:cubicBezTo>
                  <a:pt x="2020" y="637"/>
                  <a:pt x="2020" y="637"/>
                  <a:pt x="2020" y="637"/>
                </a:cubicBezTo>
                <a:cubicBezTo>
                  <a:pt x="2014" y="639"/>
                  <a:pt x="2014" y="639"/>
                  <a:pt x="2014" y="639"/>
                </a:cubicBezTo>
                <a:cubicBezTo>
                  <a:pt x="2011" y="639"/>
                  <a:pt x="2011" y="639"/>
                  <a:pt x="2011" y="639"/>
                </a:cubicBezTo>
                <a:cubicBezTo>
                  <a:pt x="2004" y="637"/>
                  <a:pt x="2004" y="637"/>
                  <a:pt x="2004" y="637"/>
                </a:cubicBezTo>
                <a:cubicBezTo>
                  <a:pt x="2002" y="637"/>
                  <a:pt x="2002" y="637"/>
                  <a:pt x="2002" y="637"/>
                </a:cubicBezTo>
                <a:cubicBezTo>
                  <a:pt x="1997" y="635"/>
                  <a:pt x="1997" y="635"/>
                  <a:pt x="1997" y="635"/>
                </a:cubicBezTo>
                <a:cubicBezTo>
                  <a:pt x="1996" y="633"/>
                  <a:pt x="1996" y="633"/>
                  <a:pt x="1996" y="633"/>
                </a:cubicBezTo>
                <a:cubicBezTo>
                  <a:pt x="1995" y="631"/>
                  <a:pt x="1995" y="631"/>
                  <a:pt x="1995" y="631"/>
                </a:cubicBezTo>
                <a:cubicBezTo>
                  <a:pt x="1993" y="631"/>
                  <a:pt x="1993" y="631"/>
                  <a:pt x="1993" y="631"/>
                </a:cubicBezTo>
                <a:cubicBezTo>
                  <a:pt x="1991" y="629"/>
                  <a:pt x="1991" y="629"/>
                  <a:pt x="1991" y="629"/>
                </a:cubicBezTo>
                <a:cubicBezTo>
                  <a:pt x="1989" y="630"/>
                  <a:pt x="1989" y="630"/>
                  <a:pt x="1989" y="630"/>
                </a:cubicBezTo>
                <a:cubicBezTo>
                  <a:pt x="1987" y="630"/>
                  <a:pt x="1987" y="630"/>
                  <a:pt x="1987" y="630"/>
                </a:cubicBezTo>
                <a:cubicBezTo>
                  <a:pt x="1985" y="630"/>
                  <a:pt x="1985" y="630"/>
                  <a:pt x="1985" y="630"/>
                </a:cubicBezTo>
                <a:cubicBezTo>
                  <a:pt x="1983" y="628"/>
                  <a:pt x="1983" y="628"/>
                  <a:pt x="1983" y="628"/>
                </a:cubicBezTo>
                <a:cubicBezTo>
                  <a:pt x="1981" y="627"/>
                  <a:pt x="1981" y="627"/>
                  <a:pt x="1981" y="627"/>
                </a:cubicBezTo>
                <a:cubicBezTo>
                  <a:pt x="1980" y="627"/>
                  <a:pt x="1980" y="627"/>
                  <a:pt x="1980" y="627"/>
                </a:cubicBezTo>
                <a:cubicBezTo>
                  <a:pt x="1981" y="624"/>
                  <a:pt x="1981" y="624"/>
                  <a:pt x="1981" y="624"/>
                </a:cubicBezTo>
                <a:cubicBezTo>
                  <a:pt x="1981" y="622"/>
                  <a:pt x="1981" y="622"/>
                  <a:pt x="1981" y="622"/>
                </a:cubicBezTo>
                <a:cubicBezTo>
                  <a:pt x="1979" y="620"/>
                  <a:pt x="1979" y="620"/>
                  <a:pt x="1979" y="620"/>
                </a:cubicBezTo>
                <a:cubicBezTo>
                  <a:pt x="1979" y="619"/>
                  <a:pt x="1979" y="619"/>
                  <a:pt x="1979" y="619"/>
                </a:cubicBezTo>
                <a:cubicBezTo>
                  <a:pt x="1979" y="615"/>
                  <a:pt x="1979" y="615"/>
                  <a:pt x="1979" y="615"/>
                </a:cubicBezTo>
                <a:cubicBezTo>
                  <a:pt x="1979" y="614"/>
                  <a:pt x="1979" y="614"/>
                  <a:pt x="1979" y="614"/>
                </a:cubicBezTo>
                <a:cubicBezTo>
                  <a:pt x="1979" y="613"/>
                  <a:pt x="1979" y="613"/>
                  <a:pt x="1979" y="613"/>
                </a:cubicBezTo>
                <a:cubicBezTo>
                  <a:pt x="1978" y="610"/>
                  <a:pt x="1978" y="610"/>
                  <a:pt x="1978" y="610"/>
                </a:cubicBezTo>
                <a:cubicBezTo>
                  <a:pt x="1979" y="608"/>
                  <a:pt x="1979" y="608"/>
                  <a:pt x="1979" y="608"/>
                </a:cubicBezTo>
                <a:cubicBezTo>
                  <a:pt x="1980" y="608"/>
                  <a:pt x="1980" y="608"/>
                  <a:pt x="1980" y="608"/>
                </a:cubicBezTo>
                <a:cubicBezTo>
                  <a:pt x="1981" y="609"/>
                  <a:pt x="1981" y="609"/>
                  <a:pt x="1981" y="609"/>
                </a:cubicBezTo>
                <a:cubicBezTo>
                  <a:pt x="1980" y="611"/>
                  <a:pt x="1980" y="611"/>
                  <a:pt x="1980" y="611"/>
                </a:cubicBezTo>
                <a:cubicBezTo>
                  <a:pt x="1981" y="613"/>
                  <a:pt x="1981" y="613"/>
                  <a:pt x="1981" y="613"/>
                </a:cubicBezTo>
                <a:cubicBezTo>
                  <a:pt x="1982" y="611"/>
                  <a:pt x="1982" y="611"/>
                  <a:pt x="1982" y="611"/>
                </a:cubicBezTo>
                <a:cubicBezTo>
                  <a:pt x="1982" y="608"/>
                  <a:pt x="1982" y="608"/>
                  <a:pt x="1982" y="608"/>
                </a:cubicBezTo>
                <a:cubicBezTo>
                  <a:pt x="1982" y="607"/>
                  <a:pt x="1982" y="607"/>
                  <a:pt x="1982" y="607"/>
                </a:cubicBezTo>
                <a:cubicBezTo>
                  <a:pt x="1982" y="605"/>
                  <a:pt x="1982" y="605"/>
                  <a:pt x="1982" y="605"/>
                </a:cubicBezTo>
                <a:cubicBezTo>
                  <a:pt x="1982" y="604"/>
                  <a:pt x="1982" y="604"/>
                  <a:pt x="1982" y="604"/>
                </a:cubicBezTo>
                <a:cubicBezTo>
                  <a:pt x="1982" y="603"/>
                  <a:pt x="1982" y="603"/>
                  <a:pt x="1982" y="603"/>
                </a:cubicBezTo>
                <a:cubicBezTo>
                  <a:pt x="1983" y="601"/>
                  <a:pt x="1983" y="601"/>
                  <a:pt x="1983" y="601"/>
                </a:cubicBezTo>
                <a:cubicBezTo>
                  <a:pt x="1983" y="599"/>
                  <a:pt x="1983" y="599"/>
                  <a:pt x="1983" y="599"/>
                </a:cubicBezTo>
                <a:cubicBezTo>
                  <a:pt x="1982" y="597"/>
                  <a:pt x="1982" y="597"/>
                  <a:pt x="1982" y="597"/>
                </a:cubicBezTo>
                <a:cubicBezTo>
                  <a:pt x="1985" y="594"/>
                  <a:pt x="1985" y="594"/>
                  <a:pt x="1985" y="594"/>
                </a:cubicBezTo>
                <a:cubicBezTo>
                  <a:pt x="1988" y="594"/>
                  <a:pt x="1988" y="594"/>
                  <a:pt x="1988" y="594"/>
                </a:cubicBezTo>
                <a:cubicBezTo>
                  <a:pt x="1990" y="593"/>
                  <a:pt x="1990" y="593"/>
                  <a:pt x="1990" y="593"/>
                </a:cubicBezTo>
                <a:cubicBezTo>
                  <a:pt x="1991" y="593"/>
                  <a:pt x="1991" y="593"/>
                  <a:pt x="1991" y="593"/>
                </a:cubicBezTo>
                <a:cubicBezTo>
                  <a:pt x="1990" y="591"/>
                  <a:pt x="1990" y="591"/>
                  <a:pt x="1990" y="591"/>
                </a:cubicBezTo>
                <a:cubicBezTo>
                  <a:pt x="1987" y="590"/>
                  <a:pt x="1987" y="590"/>
                  <a:pt x="1987" y="590"/>
                </a:cubicBezTo>
                <a:cubicBezTo>
                  <a:pt x="1984" y="590"/>
                  <a:pt x="1984" y="590"/>
                  <a:pt x="1984" y="590"/>
                </a:cubicBezTo>
                <a:cubicBezTo>
                  <a:pt x="1982" y="588"/>
                  <a:pt x="1982" y="588"/>
                  <a:pt x="1982" y="588"/>
                </a:cubicBezTo>
                <a:cubicBezTo>
                  <a:pt x="1982" y="587"/>
                  <a:pt x="1982" y="587"/>
                  <a:pt x="1982" y="587"/>
                </a:cubicBezTo>
                <a:cubicBezTo>
                  <a:pt x="1978" y="584"/>
                  <a:pt x="1978" y="584"/>
                  <a:pt x="1978" y="584"/>
                </a:cubicBezTo>
                <a:cubicBezTo>
                  <a:pt x="1977" y="581"/>
                  <a:pt x="1977" y="581"/>
                  <a:pt x="1977" y="581"/>
                </a:cubicBezTo>
                <a:cubicBezTo>
                  <a:pt x="1977" y="579"/>
                  <a:pt x="1977" y="579"/>
                  <a:pt x="1977" y="579"/>
                </a:cubicBezTo>
                <a:cubicBezTo>
                  <a:pt x="1974" y="575"/>
                  <a:pt x="1974" y="575"/>
                  <a:pt x="1974" y="575"/>
                </a:cubicBezTo>
                <a:cubicBezTo>
                  <a:pt x="1972" y="574"/>
                  <a:pt x="1972" y="574"/>
                  <a:pt x="1972" y="574"/>
                </a:cubicBezTo>
                <a:cubicBezTo>
                  <a:pt x="1968" y="578"/>
                  <a:pt x="1968" y="578"/>
                  <a:pt x="1968" y="578"/>
                </a:cubicBezTo>
                <a:cubicBezTo>
                  <a:pt x="1971" y="574"/>
                  <a:pt x="1971" y="574"/>
                  <a:pt x="1971" y="574"/>
                </a:cubicBezTo>
                <a:cubicBezTo>
                  <a:pt x="1972" y="574"/>
                  <a:pt x="1972" y="574"/>
                  <a:pt x="1972" y="574"/>
                </a:cubicBezTo>
                <a:cubicBezTo>
                  <a:pt x="1971" y="573"/>
                  <a:pt x="1971" y="573"/>
                  <a:pt x="1971" y="573"/>
                </a:cubicBezTo>
                <a:cubicBezTo>
                  <a:pt x="1965" y="569"/>
                  <a:pt x="1965" y="569"/>
                  <a:pt x="1965" y="569"/>
                </a:cubicBezTo>
                <a:cubicBezTo>
                  <a:pt x="1961" y="564"/>
                  <a:pt x="1961" y="564"/>
                  <a:pt x="1961" y="564"/>
                </a:cubicBezTo>
                <a:cubicBezTo>
                  <a:pt x="1961" y="561"/>
                  <a:pt x="1961" y="561"/>
                  <a:pt x="1961" y="561"/>
                </a:cubicBezTo>
                <a:cubicBezTo>
                  <a:pt x="1959" y="559"/>
                  <a:pt x="1959" y="559"/>
                  <a:pt x="1959" y="559"/>
                </a:cubicBezTo>
                <a:cubicBezTo>
                  <a:pt x="1959" y="556"/>
                  <a:pt x="1959" y="556"/>
                  <a:pt x="1959" y="556"/>
                </a:cubicBezTo>
                <a:cubicBezTo>
                  <a:pt x="1958" y="555"/>
                  <a:pt x="1958" y="555"/>
                  <a:pt x="1958" y="555"/>
                </a:cubicBezTo>
                <a:cubicBezTo>
                  <a:pt x="1958" y="554"/>
                  <a:pt x="1958" y="554"/>
                  <a:pt x="1958" y="554"/>
                </a:cubicBezTo>
                <a:cubicBezTo>
                  <a:pt x="1957" y="554"/>
                  <a:pt x="1957" y="554"/>
                  <a:pt x="1957" y="554"/>
                </a:cubicBezTo>
                <a:cubicBezTo>
                  <a:pt x="1957" y="552"/>
                  <a:pt x="1957" y="552"/>
                  <a:pt x="1957" y="552"/>
                </a:cubicBezTo>
                <a:cubicBezTo>
                  <a:pt x="1958" y="553"/>
                  <a:pt x="1958" y="553"/>
                  <a:pt x="1958" y="553"/>
                </a:cubicBezTo>
                <a:cubicBezTo>
                  <a:pt x="1959" y="551"/>
                  <a:pt x="1959" y="551"/>
                  <a:pt x="1959" y="551"/>
                </a:cubicBezTo>
                <a:cubicBezTo>
                  <a:pt x="1959" y="549"/>
                  <a:pt x="1959" y="549"/>
                  <a:pt x="1959" y="549"/>
                </a:cubicBezTo>
                <a:cubicBezTo>
                  <a:pt x="1958" y="549"/>
                  <a:pt x="1958" y="549"/>
                  <a:pt x="1958" y="549"/>
                </a:cubicBezTo>
                <a:cubicBezTo>
                  <a:pt x="1957" y="550"/>
                  <a:pt x="1957" y="550"/>
                  <a:pt x="1957" y="550"/>
                </a:cubicBezTo>
                <a:cubicBezTo>
                  <a:pt x="1955" y="549"/>
                  <a:pt x="1955" y="549"/>
                  <a:pt x="1955" y="549"/>
                </a:cubicBezTo>
                <a:cubicBezTo>
                  <a:pt x="1955" y="545"/>
                  <a:pt x="1955" y="545"/>
                  <a:pt x="1955" y="545"/>
                </a:cubicBezTo>
                <a:cubicBezTo>
                  <a:pt x="1953" y="545"/>
                  <a:pt x="1953" y="545"/>
                  <a:pt x="1953" y="545"/>
                </a:cubicBezTo>
                <a:cubicBezTo>
                  <a:pt x="1952" y="543"/>
                  <a:pt x="1952" y="543"/>
                  <a:pt x="1952" y="543"/>
                </a:cubicBezTo>
                <a:cubicBezTo>
                  <a:pt x="1950" y="543"/>
                  <a:pt x="1950" y="543"/>
                  <a:pt x="1950" y="543"/>
                </a:cubicBezTo>
                <a:cubicBezTo>
                  <a:pt x="1949" y="543"/>
                  <a:pt x="1949" y="543"/>
                  <a:pt x="1949" y="543"/>
                </a:cubicBezTo>
                <a:cubicBezTo>
                  <a:pt x="1948" y="540"/>
                  <a:pt x="1948" y="540"/>
                  <a:pt x="1948" y="540"/>
                </a:cubicBezTo>
                <a:cubicBezTo>
                  <a:pt x="1948" y="538"/>
                  <a:pt x="1948" y="538"/>
                  <a:pt x="1948" y="538"/>
                </a:cubicBezTo>
                <a:cubicBezTo>
                  <a:pt x="1950" y="537"/>
                  <a:pt x="1950" y="537"/>
                  <a:pt x="1950" y="537"/>
                </a:cubicBezTo>
                <a:cubicBezTo>
                  <a:pt x="1950" y="533"/>
                  <a:pt x="1950" y="533"/>
                  <a:pt x="1950" y="533"/>
                </a:cubicBezTo>
                <a:cubicBezTo>
                  <a:pt x="1950" y="532"/>
                  <a:pt x="1950" y="532"/>
                  <a:pt x="1950" y="532"/>
                </a:cubicBezTo>
                <a:cubicBezTo>
                  <a:pt x="1951" y="530"/>
                  <a:pt x="1951" y="530"/>
                  <a:pt x="1951" y="530"/>
                </a:cubicBezTo>
                <a:cubicBezTo>
                  <a:pt x="1952" y="529"/>
                  <a:pt x="1952" y="529"/>
                  <a:pt x="1952" y="529"/>
                </a:cubicBezTo>
                <a:cubicBezTo>
                  <a:pt x="1953" y="527"/>
                  <a:pt x="1953" y="527"/>
                  <a:pt x="1953" y="527"/>
                </a:cubicBezTo>
                <a:cubicBezTo>
                  <a:pt x="1953" y="525"/>
                  <a:pt x="1953" y="525"/>
                  <a:pt x="1953" y="525"/>
                </a:cubicBezTo>
                <a:cubicBezTo>
                  <a:pt x="1953" y="524"/>
                  <a:pt x="1953" y="524"/>
                  <a:pt x="1953" y="524"/>
                </a:cubicBezTo>
                <a:cubicBezTo>
                  <a:pt x="1955" y="524"/>
                  <a:pt x="1955" y="524"/>
                  <a:pt x="1955" y="524"/>
                </a:cubicBezTo>
                <a:cubicBezTo>
                  <a:pt x="1955" y="525"/>
                  <a:pt x="1955" y="525"/>
                  <a:pt x="1955" y="525"/>
                </a:cubicBezTo>
                <a:cubicBezTo>
                  <a:pt x="1956" y="525"/>
                  <a:pt x="1956" y="525"/>
                  <a:pt x="1956" y="525"/>
                </a:cubicBezTo>
                <a:cubicBezTo>
                  <a:pt x="1957" y="523"/>
                  <a:pt x="1957" y="523"/>
                  <a:pt x="1957" y="523"/>
                </a:cubicBezTo>
                <a:cubicBezTo>
                  <a:pt x="1958" y="524"/>
                  <a:pt x="1958" y="524"/>
                  <a:pt x="1958" y="524"/>
                </a:cubicBezTo>
                <a:cubicBezTo>
                  <a:pt x="1959" y="523"/>
                  <a:pt x="1959" y="523"/>
                  <a:pt x="1959" y="523"/>
                </a:cubicBezTo>
                <a:cubicBezTo>
                  <a:pt x="1960" y="523"/>
                  <a:pt x="1960" y="523"/>
                  <a:pt x="1960" y="523"/>
                </a:cubicBezTo>
                <a:cubicBezTo>
                  <a:pt x="1961" y="522"/>
                  <a:pt x="1961" y="522"/>
                  <a:pt x="1961" y="522"/>
                </a:cubicBezTo>
                <a:cubicBezTo>
                  <a:pt x="1961" y="522"/>
                  <a:pt x="1961" y="522"/>
                  <a:pt x="1961" y="522"/>
                </a:cubicBezTo>
                <a:cubicBezTo>
                  <a:pt x="1960" y="521"/>
                  <a:pt x="1960" y="521"/>
                  <a:pt x="1960" y="521"/>
                </a:cubicBezTo>
                <a:cubicBezTo>
                  <a:pt x="1961" y="521"/>
                  <a:pt x="1961" y="521"/>
                  <a:pt x="1961" y="521"/>
                </a:cubicBezTo>
                <a:cubicBezTo>
                  <a:pt x="1961" y="521"/>
                  <a:pt x="1961" y="521"/>
                  <a:pt x="1961" y="521"/>
                </a:cubicBezTo>
                <a:cubicBezTo>
                  <a:pt x="1962" y="521"/>
                  <a:pt x="1963" y="521"/>
                  <a:pt x="1963" y="521"/>
                </a:cubicBezTo>
                <a:cubicBezTo>
                  <a:pt x="1964" y="522"/>
                  <a:pt x="1964" y="522"/>
                  <a:pt x="1964" y="522"/>
                </a:cubicBezTo>
                <a:cubicBezTo>
                  <a:pt x="1965" y="521"/>
                  <a:pt x="1965" y="521"/>
                  <a:pt x="1965" y="521"/>
                </a:cubicBezTo>
                <a:cubicBezTo>
                  <a:pt x="1964" y="520"/>
                  <a:pt x="1964" y="520"/>
                  <a:pt x="1964" y="520"/>
                </a:cubicBezTo>
                <a:cubicBezTo>
                  <a:pt x="1961" y="518"/>
                  <a:pt x="1961" y="518"/>
                  <a:pt x="1961" y="518"/>
                </a:cubicBezTo>
                <a:cubicBezTo>
                  <a:pt x="1963" y="518"/>
                  <a:pt x="1963" y="518"/>
                  <a:pt x="1963" y="518"/>
                </a:cubicBezTo>
                <a:cubicBezTo>
                  <a:pt x="1965" y="519"/>
                  <a:pt x="1965" y="519"/>
                  <a:pt x="1965" y="519"/>
                </a:cubicBezTo>
                <a:cubicBezTo>
                  <a:pt x="1965" y="518"/>
                  <a:pt x="1965" y="518"/>
                  <a:pt x="1965" y="518"/>
                </a:cubicBezTo>
                <a:cubicBezTo>
                  <a:pt x="1967" y="519"/>
                  <a:pt x="1967" y="519"/>
                  <a:pt x="1967" y="519"/>
                </a:cubicBezTo>
                <a:cubicBezTo>
                  <a:pt x="1967" y="518"/>
                  <a:pt x="1967" y="518"/>
                  <a:pt x="1967" y="518"/>
                </a:cubicBezTo>
                <a:cubicBezTo>
                  <a:pt x="1966" y="517"/>
                  <a:pt x="1966" y="517"/>
                  <a:pt x="1966" y="517"/>
                </a:cubicBezTo>
                <a:cubicBezTo>
                  <a:pt x="1967" y="517"/>
                  <a:pt x="1967" y="517"/>
                  <a:pt x="1967" y="517"/>
                </a:cubicBezTo>
                <a:cubicBezTo>
                  <a:pt x="1967" y="516"/>
                  <a:pt x="1967" y="516"/>
                  <a:pt x="1967" y="516"/>
                </a:cubicBezTo>
                <a:cubicBezTo>
                  <a:pt x="1966" y="515"/>
                  <a:pt x="1966" y="515"/>
                  <a:pt x="1966" y="515"/>
                </a:cubicBezTo>
                <a:cubicBezTo>
                  <a:pt x="1968" y="515"/>
                  <a:pt x="1968" y="515"/>
                  <a:pt x="1968" y="515"/>
                </a:cubicBezTo>
                <a:cubicBezTo>
                  <a:pt x="1968" y="514"/>
                  <a:pt x="1968" y="514"/>
                  <a:pt x="1968" y="514"/>
                </a:cubicBezTo>
                <a:cubicBezTo>
                  <a:pt x="1968" y="513"/>
                  <a:pt x="1968" y="513"/>
                  <a:pt x="1968" y="513"/>
                </a:cubicBezTo>
                <a:cubicBezTo>
                  <a:pt x="1968" y="513"/>
                  <a:pt x="1968" y="513"/>
                  <a:pt x="1968" y="513"/>
                </a:cubicBezTo>
                <a:cubicBezTo>
                  <a:pt x="1968" y="513"/>
                  <a:pt x="1968" y="513"/>
                  <a:pt x="1968" y="513"/>
                </a:cubicBezTo>
                <a:cubicBezTo>
                  <a:pt x="1965" y="511"/>
                  <a:pt x="1965" y="511"/>
                  <a:pt x="1965" y="511"/>
                </a:cubicBezTo>
                <a:cubicBezTo>
                  <a:pt x="1968" y="513"/>
                  <a:pt x="1968" y="513"/>
                  <a:pt x="1968" y="513"/>
                </a:cubicBezTo>
                <a:cubicBezTo>
                  <a:pt x="1969" y="513"/>
                  <a:pt x="1969" y="513"/>
                  <a:pt x="1969" y="513"/>
                </a:cubicBezTo>
                <a:cubicBezTo>
                  <a:pt x="1969" y="514"/>
                  <a:pt x="1969" y="514"/>
                  <a:pt x="1969" y="514"/>
                </a:cubicBezTo>
                <a:cubicBezTo>
                  <a:pt x="1971" y="514"/>
                  <a:pt x="1971" y="514"/>
                  <a:pt x="1971" y="514"/>
                </a:cubicBezTo>
                <a:cubicBezTo>
                  <a:pt x="1971" y="513"/>
                  <a:pt x="1971" y="513"/>
                  <a:pt x="1971" y="513"/>
                </a:cubicBezTo>
                <a:cubicBezTo>
                  <a:pt x="1972" y="513"/>
                  <a:pt x="1972" y="513"/>
                  <a:pt x="1972" y="513"/>
                </a:cubicBezTo>
                <a:cubicBezTo>
                  <a:pt x="1973" y="514"/>
                  <a:pt x="1973" y="514"/>
                  <a:pt x="1973" y="514"/>
                </a:cubicBezTo>
                <a:cubicBezTo>
                  <a:pt x="1974" y="513"/>
                  <a:pt x="1974" y="513"/>
                  <a:pt x="1974" y="513"/>
                </a:cubicBezTo>
                <a:cubicBezTo>
                  <a:pt x="1974" y="512"/>
                  <a:pt x="1974" y="512"/>
                  <a:pt x="1974" y="512"/>
                </a:cubicBezTo>
                <a:cubicBezTo>
                  <a:pt x="1975" y="512"/>
                  <a:pt x="1975" y="512"/>
                  <a:pt x="1975" y="512"/>
                </a:cubicBezTo>
                <a:cubicBezTo>
                  <a:pt x="1977" y="510"/>
                  <a:pt x="1977" y="510"/>
                  <a:pt x="1977" y="510"/>
                </a:cubicBezTo>
                <a:cubicBezTo>
                  <a:pt x="1977" y="509"/>
                  <a:pt x="1977" y="509"/>
                  <a:pt x="1977" y="509"/>
                </a:cubicBezTo>
                <a:cubicBezTo>
                  <a:pt x="1979" y="509"/>
                  <a:pt x="1979" y="509"/>
                  <a:pt x="1979" y="509"/>
                </a:cubicBezTo>
                <a:cubicBezTo>
                  <a:pt x="1980" y="508"/>
                  <a:pt x="1980" y="508"/>
                  <a:pt x="1980" y="508"/>
                </a:cubicBezTo>
                <a:cubicBezTo>
                  <a:pt x="1981" y="508"/>
                  <a:pt x="1981" y="508"/>
                  <a:pt x="1981" y="508"/>
                </a:cubicBezTo>
                <a:cubicBezTo>
                  <a:pt x="1981" y="508"/>
                  <a:pt x="1981" y="508"/>
                  <a:pt x="1981" y="508"/>
                </a:cubicBezTo>
                <a:cubicBezTo>
                  <a:pt x="1982" y="508"/>
                  <a:pt x="1982" y="508"/>
                  <a:pt x="1982" y="508"/>
                </a:cubicBezTo>
                <a:cubicBezTo>
                  <a:pt x="1982" y="507"/>
                  <a:pt x="1982" y="507"/>
                  <a:pt x="1982" y="507"/>
                </a:cubicBezTo>
                <a:cubicBezTo>
                  <a:pt x="1984" y="505"/>
                  <a:pt x="1984" y="505"/>
                  <a:pt x="1984" y="505"/>
                </a:cubicBezTo>
                <a:cubicBezTo>
                  <a:pt x="1986" y="505"/>
                  <a:pt x="1986" y="505"/>
                  <a:pt x="1986" y="505"/>
                </a:cubicBezTo>
                <a:cubicBezTo>
                  <a:pt x="1987" y="506"/>
                  <a:pt x="1987" y="506"/>
                  <a:pt x="1987" y="506"/>
                </a:cubicBezTo>
                <a:cubicBezTo>
                  <a:pt x="1989" y="506"/>
                  <a:pt x="1989" y="506"/>
                  <a:pt x="1989" y="506"/>
                </a:cubicBezTo>
                <a:cubicBezTo>
                  <a:pt x="1989" y="505"/>
                  <a:pt x="1989" y="505"/>
                  <a:pt x="1989" y="505"/>
                </a:cubicBezTo>
                <a:cubicBezTo>
                  <a:pt x="1990" y="506"/>
                  <a:pt x="1990" y="506"/>
                  <a:pt x="1990" y="506"/>
                </a:cubicBezTo>
                <a:cubicBezTo>
                  <a:pt x="1990" y="507"/>
                  <a:pt x="1990" y="507"/>
                  <a:pt x="1990" y="507"/>
                </a:cubicBezTo>
                <a:cubicBezTo>
                  <a:pt x="1991" y="508"/>
                  <a:pt x="1991" y="508"/>
                  <a:pt x="1991" y="508"/>
                </a:cubicBezTo>
                <a:cubicBezTo>
                  <a:pt x="1991" y="508"/>
                  <a:pt x="1991" y="508"/>
                  <a:pt x="1991" y="508"/>
                </a:cubicBezTo>
                <a:cubicBezTo>
                  <a:pt x="1993" y="508"/>
                  <a:pt x="1993" y="508"/>
                  <a:pt x="1993" y="508"/>
                </a:cubicBezTo>
                <a:cubicBezTo>
                  <a:pt x="1993" y="508"/>
                  <a:pt x="1993" y="508"/>
                  <a:pt x="1993" y="508"/>
                </a:cubicBezTo>
                <a:cubicBezTo>
                  <a:pt x="1994" y="509"/>
                  <a:pt x="1994" y="509"/>
                  <a:pt x="1994" y="509"/>
                </a:cubicBezTo>
                <a:cubicBezTo>
                  <a:pt x="1995" y="508"/>
                  <a:pt x="1995" y="508"/>
                  <a:pt x="1995" y="508"/>
                </a:cubicBezTo>
                <a:cubicBezTo>
                  <a:pt x="1995" y="507"/>
                  <a:pt x="1995" y="507"/>
                  <a:pt x="1995" y="507"/>
                </a:cubicBezTo>
                <a:cubicBezTo>
                  <a:pt x="1996" y="507"/>
                  <a:pt x="1996" y="507"/>
                  <a:pt x="1996" y="507"/>
                </a:cubicBezTo>
                <a:cubicBezTo>
                  <a:pt x="1997" y="506"/>
                  <a:pt x="1997" y="506"/>
                  <a:pt x="1997" y="506"/>
                </a:cubicBezTo>
                <a:cubicBezTo>
                  <a:pt x="1998" y="506"/>
                  <a:pt x="1998" y="506"/>
                  <a:pt x="1998" y="506"/>
                </a:cubicBezTo>
                <a:cubicBezTo>
                  <a:pt x="1999" y="506"/>
                  <a:pt x="1999" y="506"/>
                  <a:pt x="1999" y="506"/>
                </a:cubicBezTo>
                <a:cubicBezTo>
                  <a:pt x="2003" y="506"/>
                  <a:pt x="2003" y="506"/>
                  <a:pt x="2003" y="506"/>
                </a:cubicBezTo>
                <a:cubicBezTo>
                  <a:pt x="2003" y="507"/>
                  <a:pt x="2003" y="507"/>
                  <a:pt x="2003" y="507"/>
                </a:cubicBezTo>
                <a:cubicBezTo>
                  <a:pt x="2004" y="508"/>
                  <a:pt x="2004" y="508"/>
                  <a:pt x="2004" y="508"/>
                </a:cubicBezTo>
                <a:cubicBezTo>
                  <a:pt x="2005" y="509"/>
                  <a:pt x="2005" y="509"/>
                  <a:pt x="2005" y="509"/>
                </a:cubicBezTo>
                <a:cubicBezTo>
                  <a:pt x="2005" y="509"/>
                  <a:pt x="2005" y="509"/>
                  <a:pt x="2005" y="509"/>
                </a:cubicBezTo>
                <a:cubicBezTo>
                  <a:pt x="2004" y="511"/>
                  <a:pt x="2004" y="511"/>
                  <a:pt x="2004" y="511"/>
                </a:cubicBezTo>
                <a:cubicBezTo>
                  <a:pt x="2005" y="512"/>
                  <a:pt x="2005" y="512"/>
                  <a:pt x="2005" y="512"/>
                </a:cubicBezTo>
                <a:cubicBezTo>
                  <a:pt x="2006" y="513"/>
                  <a:pt x="2006" y="513"/>
                  <a:pt x="2006" y="513"/>
                </a:cubicBezTo>
                <a:cubicBezTo>
                  <a:pt x="2006" y="515"/>
                  <a:pt x="2006" y="515"/>
                  <a:pt x="2006" y="515"/>
                </a:cubicBezTo>
                <a:cubicBezTo>
                  <a:pt x="2005" y="517"/>
                  <a:pt x="2005" y="517"/>
                  <a:pt x="2005" y="517"/>
                </a:cubicBezTo>
                <a:cubicBezTo>
                  <a:pt x="2005" y="518"/>
                  <a:pt x="2005" y="518"/>
                  <a:pt x="2005" y="518"/>
                </a:cubicBezTo>
                <a:cubicBezTo>
                  <a:pt x="2006" y="519"/>
                  <a:pt x="2006" y="519"/>
                  <a:pt x="2006" y="519"/>
                </a:cubicBezTo>
                <a:cubicBezTo>
                  <a:pt x="2007" y="519"/>
                  <a:pt x="2007" y="519"/>
                  <a:pt x="2007" y="519"/>
                </a:cubicBezTo>
                <a:cubicBezTo>
                  <a:pt x="2006" y="520"/>
                  <a:pt x="2006" y="520"/>
                  <a:pt x="2006" y="520"/>
                </a:cubicBezTo>
                <a:cubicBezTo>
                  <a:pt x="2005" y="521"/>
                  <a:pt x="2005" y="521"/>
                  <a:pt x="2005" y="521"/>
                </a:cubicBezTo>
                <a:cubicBezTo>
                  <a:pt x="2004" y="523"/>
                  <a:pt x="2004" y="523"/>
                  <a:pt x="2004" y="523"/>
                </a:cubicBezTo>
                <a:cubicBezTo>
                  <a:pt x="2006" y="526"/>
                  <a:pt x="2006" y="526"/>
                  <a:pt x="2006" y="526"/>
                </a:cubicBezTo>
                <a:cubicBezTo>
                  <a:pt x="2007" y="526"/>
                  <a:pt x="2007" y="526"/>
                  <a:pt x="2007" y="526"/>
                </a:cubicBezTo>
                <a:cubicBezTo>
                  <a:pt x="2009" y="527"/>
                  <a:pt x="2009" y="527"/>
                  <a:pt x="2009" y="527"/>
                </a:cubicBezTo>
                <a:cubicBezTo>
                  <a:pt x="2009" y="528"/>
                  <a:pt x="2009" y="528"/>
                  <a:pt x="2009" y="528"/>
                </a:cubicBezTo>
                <a:cubicBezTo>
                  <a:pt x="2006" y="529"/>
                  <a:pt x="2006" y="529"/>
                  <a:pt x="2006" y="529"/>
                </a:cubicBezTo>
                <a:cubicBezTo>
                  <a:pt x="2005" y="529"/>
                  <a:pt x="2005" y="529"/>
                  <a:pt x="2005" y="529"/>
                </a:cubicBezTo>
                <a:cubicBezTo>
                  <a:pt x="2003" y="527"/>
                  <a:pt x="2003" y="527"/>
                  <a:pt x="2003" y="527"/>
                </a:cubicBezTo>
                <a:cubicBezTo>
                  <a:pt x="2002" y="527"/>
                  <a:pt x="2002" y="527"/>
                  <a:pt x="2002" y="527"/>
                </a:cubicBezTo>
                <a:cubicBezTo>
                  <a:pt x="2001" y="527"/>
                  <a:pt x="2001" y="527"/>
                  <a:pt x="2001" y="527"/>
                </a:cubicBezTo>
                <a:cubicBezTo>
                  <a:pt x="2000" y="527"/>
                  <a:pt x="2000" y="527"/>
                  <a:pt x="2000" y="527"/>
                </a:cubicBezTo>
                <a:cubicBezTo>
                  <a:pt x="1998" y="527"/>
                  <a:pt x="1998" y="527"/>
                  <a:pt x="1998" y="527"/>
                </a:cubicBezTo>
                <a:cubicBezTo>
                  <a:pt x="1996" y="527"/>
                  <a:pt x="1996" y="527"/>
                  <a:pt x="1996" y="527"/>
                </a:cubicBezTo>
                <a:cubicBezTo>
                  <a:pt x="1995" y="527"/>
                  <a:pt x="1995" y="527"/>
                  <a:pt x="1995" y="527"/>
                </a:cubicBezTo>
                <a:cubicBezTo>
                  <a:pt x="1993" y="527"/>
                  <a:pt x="1993" y="527"/>
                  <a:pt x="1993" y="527"/>
                </a:cubicBezTo>
                <a:cubicBezTo>
                  <a:pt x="1991" y="528"/>
                  <a:pt x="1991" y="528"/>
                  <a:pt x="1991" y="528"/>
                </a:cubicBezTo>
                <a:cubicBezTo>
                  <a:pt x="1990" y="529"/>
                  <a:pt x="1990" y="529"/>
                  <a:pt x="1990" y="529"/>
                </a:cubicBezTo>
                <a:cubicBezTo>
                  <a:pt x="1990" y="530"/>
                  <a:pt x="1990" y="530"/>
                  <a:pt x="1990" y="530"/>
                </a:cubicBezTo>
                <a:cubicBezTo>
                  <a:pt x="1990" y="532"/>
                  <a:pt x="1990" y="532"/>
                  <a:pt x="1990" y="532"/>
                </a:cubicBezTo>
                <a:cubicBezTo>
                  <a:pt x="1989" y="532"/>
                  <a:pt x="1989" y="532"/>
                  <a:pt x="1989" y="532"/>
                </a:cubicBezTo>
                <a:cubicBezTo>
                  <a:pt x="1989" y="533"/>
                  <a:pt x="1989" y="533"/>
                  <a:pt x="1989" y="533"/>
                </a:cubicBezTo>
                <a:cubicBezTo>
                  <a:pt x="1991" y="536"/>
                  <a:pt x="1991" y="536"/>
                  <a:pt x="1991" y="536"/>
                </a:cubicBezTo>
                <a:cubicBezTo>
                  <a:pt x="1991" y="537"/>
                  <a:pt x="1991" y="537"/>
                  <a:pt x="1991" y="537"/>
                </a:cubicBezTo>
                <a:cubicBezTo>
                  <a:pt x="1992" y="538"/>
                  <a:pt x="1992" y="538"/>
                  <a:pt x="1992" y="538"/>
                </a:cubicBezTo>
                <a:cubicBezTo>
                  <a:pt x="1994" y="537"/>
                  <a:pt x="1994" y="537"/>
                  <a:pt x="1994" y="537"/>
                </a:cubicBezTo>
                <a:cubicBezTo>
                  <a:pt x="1994" y="538"/>
                  <a:pt x="1994" y="538"/>
                  <a:pt x="1994" y="538"/>
                </a:cubicBezTo>
                <a:cubicBezTo>
                  <a:pt x="1994" y="539"/>
                  <a:pt x="1994" y="539"/>
                  <a:pt x="1994" y="539"/>
                </a:cubicBezTo>
                <a:cubicBezTo>
                  <a:pt x="1992" y="538"/>
                  <a:pt x="1992" y="538"/>
                  <a:pt x="1992" y="538"/>
                </a:cubicBezTo>
                <a:cubicBezTo>
                  <a:pt x="1991" y="539"/>
                  <a:pt x="1991" y="539"/>
                  <a:pt x="1991" y="539"/>
                </a:cubicBezTo>
                <a:cubicBezTo>
                  <a:pt x="1990" y="540"/>
                  <a:pt x="1990" y="540"/>
                  <a:pt x="1990" y="540"/>
                </a:cubicBezTo>
                <a:cubicBezTo>
                  <a:pt x="1989" y="539"/>
                  <a:pt x="1989" y="539"/>
                  <a:pt x="1989" y="539"/>
                </a:cubicBezTo>
                <a:cubicBezTo>
                  <a:pt x="1988" y="539"/>
                  <a:pt x="1988" y="539"/>
                  <a:pt x="1988" y="539"/>
                </a:cubicBezTo>
                <a:cubicBezTo>
                  <a:pt x="1987" y="539"/>
                  <a:pt x="1987" y="539"/>
                  <a:pt x="1987" y="539"/>
                </a:cubicBezTo>
                <a:cubicBezTo>
                  <a:pt x="1984" y="539"/>
                  <a:pt x="1984" y="539"/>
                  <a:pt x="1984" y="539"/>
                </a:cubicBezTo>
                <a:cubicBezTo>
                  <a:pt x="1983" y="539"/>
                  <a:pt x="1983" y="539"/>
                  <a:pt x="1983" y="539"/>
                </a:cubicBezTo>
                <a:cubicBezTo>
                  <a:pt x="1982" y="540"/>
                  <a:pt x="1982" y="540"/>
                  <a:pt x="1982" y="540"/>
                </a:cubicBezTo>
                <a:cubicBezTo>
                  <a:pt x="1982" y="541"/>
                  <a:pt x="1982" y="541"/>
                  <a:pt x="1982" y="541"/>
                </a:cubicBezTo>
                <a:cubicBezTo>
                  <a:pt x="1983" y="542"/>
                  <a:pt x="1983" y="542"/>
                  <a:pt x="1983" y="542"/>
                </a:cubicBezTo>
                <a:cubicBezTo>
                  <a:pt x="1985" y="542"/>
                  <a:pt x="1985" y="542"/>
                  <a:pt x="1985" y="542"/>
                </a:cubicBezTo>
                <a:cubicBezTo>
                  <a:pt x="1987" y="543"/>
                  <a:pt x="1987" y="543"/>
                  <a:pt x="1987" y="543"/>
                </a:cubicBezTo>
                <a:cubicBezTo>
                  <a:pt x="1988" y="544"/>
                  <a:pt x="1988" y="544"/>
                  <a:pt x="1988" y="544"/>
                </a:cubicBezTo>
                <a:cubicBezTo>
                  <a:pt x="1989" y="545"/>
                  <a:pt x="1989" y="545"/>
                  <a:pt x="1989" y="545"/>
                </a:cubicBezTo>
                <a:cubicBezTo>
                  <a:pt x="1989" y="547"/>
                  <a:pt x="1989" y="547"/>
                  <a:pt x="1989" y="547"/>
                </a:cubicBezTo>
                <a:cubicBezTo>
                  <a:pt x="1990" y="548"/>
                  <a:pt x="1990" y="548"/>
                  <a:pt x="1990" y="548"/>
                </a:cubicBezTo>
                <a:cubicBezTo>
                  <a:pt x="1991" y="549"/>
                  <a:pt x="1991" y="549"/>
                  <a:pt x="1991" y="549"/>
                </a:cubicBezTo>
                <a:cubicBezTo>
                  <a:pt x="1994" y="552"/>
                  <a:pt x="1994" y="552"/>
                  <a:pt x="1994" y="552"/>
                </a:cubicBezTo>
                <a:cubicBezTo>
                  <a:pt x="1994" y="554"/>
                  <a:pt x="1994" y="554"/>
                  <a:pt x="1994" y="554"/>
                </a:cubicBezTo>
                <a:cubicBezTo>
                  <a:pt x="1994" y="557"/>
                  <a:pt x="1994" y="557"/>
                  <a:pt x="1994" y="557"/>
                </a:cubicBezTo>
                <a:cubicBezTo>
                  <a:pt x="1994" y="557"/>
                  <a:pt x="1994" y="557"/>
                  <a:pt x="1994" y="557"/>
                </a:cubicBezTo>
                <a:cubicBezTo>
                  <a:pt x="1996" y="556"/>
                  <a:pt x="1996" y="556"/>
                  <a:pt x="1996" y="556"/>
                </a:cubicBezTo>
                <a:cubicBezTo>
                  <a:pt x="1997" y="556"/>
                  <a:pt x="1997" y="556"/>
                  <a:pt x="1997" y="556"/>
                </a:cubicBezTo>
                <a:cubicBezTo>
                  <a:pt x="1998" y="556"/>
                  <a:pt x="1998" y="556"/>
                  <a:pt x="1998" y="556"/>
                </a:cubicBezTo>
                <a:cubicBezTo>
                  <a:pt x="1999" y="558"/>
                  <a:pt x="1999" y="558"/>
                  <a:pt x="1999" y="558"/>
                </a:cubicBezTo>
                <a:cubicBezTo>
                  <a:pt x="2000" y="559"/>
                  <a:pt x="2000" y="559"/>
                  <a:pt x="2000" y="559"/>
                </a:cubicBezTo>
                <a:cubicBezTo>
                  <a:pt x="2000" y="561"/>
                  <a:pt x="2000" y="561"/>
                  <a:pt x="2000" y="561"/>
                </a:cubicBezTo>
                <a:cubicBezTo>
                  <a:pt x="2001" y="561"/>
                  <a:pt x="2001" y="561"/>
                  <a:pt x="2001" y="561"/>
                </a:cubicBezTo>
                <a:cubicBezTo>
                  <a:pt x="2003" y="560"/>
                  <a:pt x="2003" y="560"/>
                  <a:pt x="2003" y="560"/>
                </a:cubicBezTo>
                <a:cubicBezTo>
                  <a:pt x="2005" y="561"/>
                  <a:pt x="2005" y="561"/>
                  <a:pt x="2005" y="561"/>
                </a:cubicBezTo>
                <a:cubicBezTo>
                  <a:pt x="2006" y="561"/>
                  <a:pt x="2006" y="561"/>
                  <a:pt x="2006" y="561"/>
                </a:cubicBezTo>
                <a:cubicBezTo>
                  <a:pt x="2008" y="561"/>
                  <a:pt x="2008" y="561"/>
                  <a:pt x="2008" y="561"/>
                </a:cubicBezTo>
                <a:cubicBezTo>
                  <a:pt x="2009" y="562"/>
                  <a:pt x="2009" y="562"/>
                  <a:pt x="2009" y="562"/>
                </a:cubicBezTo>
                <a:cubicBezTo>
                  <a:pt x="2009" y="562"/>
                  <a:pt x="2009" y="562"/>
                  <a:pt x="2009" y="562"/>
                </a:cubicBezTo>
                <a:cubicBezTo>
                  <a:pt x="2009" y="563"/>
                  <a:pt x="2009" y="563"/>
                  <a:pt x="2009" y="563"/>
                </a:cubicBezTo>
                <a:cubicBezTo>
                  <a:pt x="2009" y="566"/>
                  <a:pt x="2009" y="566"/>
                  <a:pt x="2009" y="566"/>
                </a:cubicBezTo>
                <a:cubicBezTo>
                  <a:pt x="2007" y="569"/>
                  <a:pt x="2007" y="569"/>
                  <a:pt x="2007" y="569"/>
                </a:cubicBezTo>
                <a:cubicBezTo>
                  <a:pt x="2008" y="571"/>
                  <a:pt x="2008" y="571"/>
                  <a:pt x="2008" y="571"/>
                </a:cubicBezTo>
                <a:cubicBezTo>
                  <a:pt x="2008" y="574"/>
                  <a:pt x="2008" y="574"/>
                  <a:pt x="2008" y="574"/>
                </a:cubicBezTo>
                <a:cubicBezTo>
                  <a:pt x="2008" y="575"/>
                  <a:pt x="2008" y="575"/>
                  <a:pt x="2008" y="575"/>
                </a:cubicBezTo>
                <a:cubicBezTo>
                  <a:pt x="2010" y="576"/>
                  <a:pt x="2010" y="576"/>
                  <a:pt x="2010" y="576"/>
                </a:cubicBezTo>
                <a:cubicBezTo>
                  <a:pt x="2010" y="578"/>
                  <a:pt x="2010" y="578"/>
                  <a:pt x="2010" y="578"/>
                </a:cubicBezTo>
                <a:cubicBezTo>
                  <a:pt x="2012" y="579"/>
                  <a:pt x="2012" y="579"/>
                  <a:pt x="2012" y="579"/>
                </a:cubicBezTo>
                <a:cubicBezTo>
                  <a:pt x="2013" y="581"/>
                  <a:pt x="2013" y="581"/>
                  <a:pt x="2013" y="581"/>
                </a:cubicBezTo>
                <a:cubicBezTo>
                  <a:pt x="2015" y="584"/>
                  <a:pt x="2015" y="584"/>
                  <a:pt x="2015" y="584"/>
                </a:cubicBezTo>
                <a:cubicBezTo>
                  <a:pt x="2014" y="587"/>
                  <a:pt x="2014" y="587"/>
                  <a:pt x="2014" y="587"/>
                </a:cubicBezTo>
                <a:cubicBezTo>
                  <a:pt x="2013" y="589"/>
                  <a:pt x="2013" y="589"/>
                  <a:pt x="2013" y="589"/>
                </a:cubicBezTo>
                <a:cubicBezTo>
                  <a:pt x="2014" y="595"/>
                  <a:pt x="2014" y="595"/>
                  <a:pt x="2014" y="595"/>
                </a:cubicBezTo>
                <a:cubicBezTo>
                  <a:pt x="2015" y="596"/>
                  <a:pt x="2015" y="596"/>
                  <a:pt x="2015" y="596"/>
                </a:cubicBezTo>
                <a:cubicBezTo>
                  <a:pt x="2015" y="598"/>
                  <a:pt x="2015" y="598"/>
                  <a:pt x="2015" y="598"/>
                </a:cubicBezTo>
                <a:cubicBezTo>
                  <a:pt x="2019" y="601"/>
                  <a:pt x="2019" y="601"/>
                  <a:pt x="2019" y="601"/>
                </a:cubicBezTo>
                <a:cubicBezTo>
                  <a:pt x="2019" y="600"/>
                  <a:pt x="2019" y="600"/>
                  <a:pt x="2019" y="600"/>
                </a:cubicBezTo>
                <a:cubicBezTo>
                  <a:pt x="2017" y="598"/>
                  <a:pt x="2017" y="598"/>
                  <a:pt x="2017" y="598"/>
                </a:cubicBezTo>
                <a:cubicBezTo>
                  <a:pt x="2018" y="598"/>
                  <a:pt x="2018" y="598"/>
                  <a:pt x="2018" y="598"/>
                </a:cubicBezTo>
                <a:cubicBezTo>
                  <a:pt x="2021" y="598"/>
                  <a:pt x="2021" y="598"/>
                  <a:pt x="2021" y="598"/>
                </a:cubicBezTo>
                <a:cubicBezTo>
                  <a:pt x="2022" y="597"/>
                  <a:pt x="2022" y="597"/>
                  <a:pt x="2022" y="597"/>
                </a:cubicBezTo>
                <a:cubicBezTo>
                  <a:pt x="2023" y="598"/>
                  <a:pt x="2023" y="598"/>
                  <a:pt x="2023" y="598"/>
                </a:cubicBezTo>
                <a:cubicBezTo>
                  <a:pt x="2023" y="600"/>
                  <a:pt x="2023" y="600"/>
                  <a:pt x="2023" y="600"/>
                </a:cubicBezTo>
                <a:cubicBezTo>
                  <a:pt x="2023" y="602"/>
                  <a:pt x="2023" y="602"/>
                  <a:pt x="2023" y="602"/>
                </a:cubicBezTo>
                <a:cubicBezTo>
                  <a:pt x="2025" y="602"/>
                  <a:pt x="2025" y="602"/>
                  <a:pt x="2025" y="602"/>
                </a:cubicBezTo>
                <a:cubicBezTo>
                  <a:pt x="2026" y="603"/>
                  <a:pt x="2026" y="603"/>
                  <a:pt x="2026" y="603"/>
                </a:cubicBezTo>
                <a:cubicBezTo>
                  <a:pt x="2025" y="604"/>
                  <a:pt x="2025" y="604"/>
                  <a:pt x="2025" y="604"/>
                </a:cubicBezTo>
                <a:cubicBezTo>
                  <a:pt x="2024" y="604"/>
                  <a:pt x="2024" y="604"/>
                  <a:pt x="2024" y="604"/>
                </a:cubicBezTo>
                <a:cubicBezTo>
                  <a:pt x="2022" y="604"/>
                  <a:pt x="2022" y="604"/>
                  <a:pt x="2022" y="604"/>
                </a:cubicBezTo>
                <a:cubicBezTo>
                  <a:pt x="2022" y="603"/>
                  <a:pt x="2022" y="603"/>
                  <a:pt x="2022" y="603"/>
                </a:cubicBezTo>
                <a:cubicBezTo>
                  <a:pt x="2020" y="605"/>
                  <a:pt x="2020" y="605"/>
                  <a:pt x="2020" y="605"/>
                </a:cubicBezTo>
                <a:cubicBezTo>
                  <a:pt x="2020" y="607"/>
                  <a:pt x="2020" y="607"/>
                  <a:pt x="2020" y="607"/>
                </a:cubicBezTo>
                <a:cubicBezTo>
                  <a:pt x="2021" y="608"/>
                  <a:pt x="2021" y="608"/>
                  <a:pt x="2021" y="608"/>
                </a:cubicBezTo>
                <a:cubicBezTo>
                  <a:pt x="2021" y="606"/>
                  <a:pt x="2021" y="606"/>
                  <a:pt x="2021" y="606"/>
                </a:cubicBezTo>
                <a:cubicBezTo>
                  <a:pt x="2022" y="606"/>
                  <a:pt x="2022" y="606"/>
                  <a:pt x="2022" y="606"/>
                </a:cubicBezTo>
                <a:cubicBezTo>
                  <a:pt x="2023" y="606"/>
                  <a:pt x="2023" y="606"/>
                  <a:pt x="2023" y="606"/>
                </a:cubicBezTo>
                <a:cubicBezTo>
                  <a:pt x="2024" y="606"/>
                  <a:pt x="2024" y="606"/>
                  <a:pt x="2024" y="606"/>
                </a:cubicBezTo>
                <a:cubicBezTo>
                  <a:pt x="2025" y="608"/>
                  <a:pt x="2025" y="608"/>
                  <a:pt x="2025" y="608"/>
                </a:cubicBezTo>
                <a:cubicBezTo>
                  <a:pt x="2028" y="610"/>
                  <a:pt x="2028" y="610"/>
                  <a:pt x="2028" y="610"/>
                </a:cubicBezTo>
                <a:cubicBezTo>
                  <a:pt x="2029" y="612"/>
                  <a:pt x="2029" y="612"/>
                  <a:pt x="2029" y="612"/>
                </a:cubicBezTo>
                <a:cubicBezTo>
                  <a:pt x="2029" y="615"/>
                  <a:pt x="2029" y="615"/>
                  <a:pt x="2029" y="615"/>
                </a:cubicBezTo>
                <a:cubicBezTo>
                  <a:pt x="2029" y="616"/>
                  <a:pt x="2029" y="616"/>
                  <a:pt x="2029" y="616"/>
                </a:cubicBezTo>
                <a:cubicBezTo>
                  <a:pt x="2029" y="621"/>
                  <a:pt x="2029" y="621"/>
                  <a:pt x="2029" y="621"/>
                </a:cubicBezTo>
                <a:cubicBezTo>
                  <a:pt x="2030" y="625"/>
                  <a:pt x="2030" y="625"/>
                  <a:pt x="2030" y="625"/>
                </a:cubicBezTo>
                <a:cubicBezTo>
                  <a:pt x="2032" y="630"/>
                  <a:pt x="2032" y="630"/>
                  <a:pt x="2032" y="630"/>
                </a:cubicBezTo>
                <a:cubicBezTo>
                  <a:pt x="2033" y="633"/>
                  <a:pt x="2033" y="633"/>
                  <a:pt x="2033" y="633"/>
                </a:cubicBezTo>
                <a:cubicBezTo>
                  <a:pt x="2034" y="635"/>
                  <a:pt x="2034" y="635"/>
                  <a:pt x="2034" y="635"/>
                </a:cubicBezTo>
                <a:lnTo>
                  <a:pt x="2033" y="638"/>
                </a:lnTo>
                <a:close/>
                <a:moveTo>
                  <a:pt x="2780" y="659"/>
                </a:moveTo>
                <a:cubicBezTo>
                  <a:pt x="2781" y="661"/>
                  <a:pt x="2781" y="661"/>
                  <a:pt x="2781" y="661"/>
                </a:cubicBezTo>
                <a:cubicBezTo>
                  <a:pt x="2782" y="661"/>
                  <a:pt x="2782" y="661"/>
                  <a:pt x="2782" y="661"/>
                </a:cubicBezTo>
                <a:cubicBezTo>
                  <a:pt x="2783" y="660"/>
                  <a:pt x="2783" y="660"/>
                  <a:pt x="2783" y="660"/>
                </a:cubicBezTo>
                <a:cubicBezTo>
                  <a:pt x="2782" y="659"/>
                  <a:pt x="2782" y="659"/>
                  <a:pt x="2782" y="659"/>
                </a:cubicBezTo>
                <a:cubicBezTo>
                  <a:pt x="2781" y="658"/>
                  <a:pt x="2781" y="658"/>
                  <a:pt x="2781" y="658"/>
                </a:cubicBezTo>
                <a:cubicBezTo>
                  <a:pt x="2781" y="657"/>
                  <a:pt x="2781" y="657"/>
                  <a:pt x="2781" y="657"/>
                </a:cubicBezTo>
                <a:cubicBezTo>
                  <a:pt x="2780" y="657"/>
                  <a:pt x="2780" y="657"/>
                  <a:pt x="2780" y="657"/>
                </a:cubicBezTo>
                <a:lnTo>
                  <a:pt x="2780" y="659"/>
                </a:lnTo>
                <a:close/>
                <a:moveTo>
                  <a:pt x="2785" y="654"/>
                </a:moveTo>
                <a:cubicBezTo>
                  <a:pt x="2785" y="654"/>
                  <a:pt x="2785" y="654"/>
                  <a:pt x="2785" y="654"/>
                </a:cubicBezTo>
                <a:cubicBezTo>
                  <a:pt x="2784" y="654"/>
                  <a:pt x="2784" y="654"/>
                  <a:pt x="2784" y="654"/>
                </a:cubicBezTo>
                <a:lnTo>
                  <a:pt x="2785" y="654"/>
                </a:lnTo>
                <a:close/>
                <a:moveTo>
                  <a:pt x="2784" y="922"/>
                </a:moveTo>
                <a:cubicBezTo>
                  <a:pt x="2785" y="923"/>
                  <a:pt x="2785" y="923"/>
                  <a:pt x="2785" y="923"/>
                </a:cubicBezTo>
                <a:cubicBezTo>
                  <a:pt x="2786" y="922"/>
                  <a:pt x="2786" y="922"/>
                  <a:pt x="2786" y="922"/>
                </a:cubicBezTo>
                <a:cubicBezTo>
                  <a:pt x="2784" y="921"/>
                  <a:pt x="2784" y="921"/>
                  <a:pt x="2784" y="921"/>
                </a:cubicBezTo>
                <a:lnTo>
                  <a:pt x="2784" y="922"/>
                </a:lnTo>
                <a:close/>
                <a:moveTo>
                  <a:pt x="2784" y="655"/>
                </a:moveTo>
                <a:cubicBezTo>
                  <a:pt x="2783" y="655"/>
                  <a:pt x="2783" y="655"/>
                  <a:pt x="2783" y="655"/>
                </a:cubicBezTo>
                <a:cubicBezTo>
                  <a:pt x="2784" y="655"/>
                  <a:pt x="2784" y="655"/>
                  <a:pt x="2784" y="655"/>
                </a:cubicBezTo>
                <a:close/>
                <a:moveTo>
                  <a:pt x="2698" y="961"/>
                </a:moveTo>
                <a:cubicBezTo>
                  <a:pt x="2700" y="960"/>
                  <a:pt x="2700" y="960"/>
                  <a:pt x="2700" y="960"/>
                </a:cubicBezTo>
                <a:cubicBezTo>
                  <a:pt x="2700" y="959"/>
                  <a:pt x="2700" y="959"/>
                  <a:pt x="2700" y="959"/>
                </a:cubicBezTo>
                <a:cubicBezTo>
                  <a:pt x="2699" y="958"/>
                  <a:pt x="2699" y="958"/>
                  <a:pt x="2699" y="958"/>
                </a:cubicBezTo>
                <a:cubicBezTo>
                  <a:pt x="2698" y="960"/>
                  <a:pt x="2698" y="960"/>
                  <a:pt x="2698" y="960"/>
                </a:cubicBezTo>
                <a:lnTo>
                  <a:pt x="2698" y="961"/>
                </a:lnTo>
                <a:close/>
                <a:moveTo>
                  <a:pt x="2947" y="1538"/>
                </a:moveTo>
                <a:cubicBezTo>
                  <a:pt x="2947" y="1536"/>
                  <a:pt x="2947" y="1536"/>
                  <a:pt x="2947" y="1536"/>
                </a:cubicBezTo>
                <a:cubicBezTo>
                  <a:pt x="2946" y="1537"/>
                  <a:pt x="2946" y="1537"/>
                  <a:pt x="2946" y="1537"/>
                </a:cubicBezTo>
                <a:lnTo>
                  <a:pt x="2947" y="1538"/>
                </a:lnTo>
                <a:close/>
                <a:moveTo>
                  <a:pt x="2940" y="1507"/>
                </a:moveTo>
                <a:cubicBezTo>
                  <a:pt x="2938" y="1507"/>
                  <a:pt x="2938" y="1507"/>
                  <a:pt x="2938" y="1507"/>
                </a:cubicBezTo>
                <a:cubicBezTo>
                  <a:pt x="2939" y="1508"/>
                  <a:pt x="2939" y="1508"/>
                  <a:pt x="2939" y="1508"/>
                </a:cubicBezTo>
                <a:lnTo>
                  <a:pt x="2940" y="1507"/>
                </a:lnTo>
                <a:close/>
                <a:moveTo>
                  <a:pt x="2946" y="1525"/>
                </a:moveTo>
                <a:cubicBezTo>
                  <a:pt x="2946" y="1526"/>
                  <a:pt x="2946" y="1526"/>
                  <a:pt x="2946" y="1526"/>
                </a:cubicBezTo>
                <a:cubicBezTo>
                  <a:pt x="2945" y="1528"/>
                  <a:pt x="2945" y="1528"/>
                  <a:pt x="2945" y="1528"/>
                </a:cubicBezTo>
                <a:cubicBezTo>
                  <a:pt x="2946" y="1529"/>
                  <a:pt x="2946" y="1529"/>
                  <a:pt x="2946" y="1529"/>
                </a:cubicBezTo>
                <a:cubicBezTo>
                  <a:pt x="2947" y="1531"/>
                  <a:pt x="2947" y="1531"/>
                  <a:pt x="2947" y="1531"/>
                </a:cubicBezTo>
                <a:cubicBezTo>
                  <a:pt x="2950" y="1529"/>
                  <a:pt x="2950" y="1529"/>
                  <a:pt x="2950" y="1529"/>
                </a:cubicBezTo>
                <a:cubicBezTo>
                  <a:pt x="2950" y="1527"/>
                  <a:pt x="2950" y="1527"/>
                  <a:pt x="2950" y="1527"/>
                </a:cubicBezTo>
                <a:cubicBezTo>
                  <a:pt x="2947" y="1524"/>
                  <a:pt x="2947" y="1524"/>
                  <a:pt x="2947" y="1524"/>
                </a:cubicBezTo>
                <a:lnTo>
                  <a:pt x="2946" y="1525"/>
                </a:lnTo>
                <a:close/>
                <a:moveTo>
                  <a:pt x="2946" y="1532"/>
                </a:moveTo>
                <a:cubicBezTo>
                  <a:pt x="2945" y="1533"/>
                  <a:pt x="2945" y="1533"/>
                  <a:pt x="2945" y="1533"/>
                </a:cubicBezTo>
                <a:cubicBezTo>
                  <a:pt x="2945" y="1534"/>
                  <a:pt x="2945" y="1534"/>
                  <a:pt x="2945" y="1534"/>
                </a:cubicBezTo>
                <a:cubicBezTo>
                  <a:pt x="2948" y="1534"/>
                  <a:pt x="2948" y="1534"/>
                  <a:pt x="2948" y="1534"/>
                </a:cubicBezTo>
                <a:cubicBezTo>
                  <a:pt x="2950" y="1535"/>
                  <a:pt x="2950" y="1535"/>
                  <a:pt x="2950" y="1535"/>
                </a:cubicBezTo>
                <a:cubicBezTo>
                  <a:pt x="2950" y="1534"/>
                  <a:pt x="2950" y="1534"/>
                  <a:pt x="2950" y="1534"/>
                </a:cubicBezTo>
                <a:cubicBezTo>
                  <a:pt x="2948" y="1532"/>
                  <a:pt x="2948" y="1532"/>
                  <a:pt x="2948" y="1532"/>
                </a:cubicBezTo>
                <a:lnTo>
                  <a:pt x="2946" y="1532"/>
                </a:lnTo>
                <a:close/>
                <a:moveTo>
                  <a:pt x="2914" y="1536"/>
                </a:moveTo>
                <a:cubicBezTo>
                  <a:pt x="2915" y="1536"/>
                  <a:pt x="2915" y="1536"/>
                  <a:pt x="2915" y="1536"/>
                </a:cubicBezTo>
                <a:cubicBezTo>
                  <a:pt x="2916" y="1535"/>
                  <a:pt x="2916" y="1535"/>
                  <a:pt x="2916" y="1535"/>
                </a:cubicBezTo>
                <a:cubicBezTo>
                  <a:pt x="2915" y="1534"/>
                  <a:pt x="2915" y="1534"/>
                  <a:pt x="2915" y="1534"/>
                </a:cubicBezTo>
                <a:cubicBezTo>
                  <a:pt x="2914" y="1534"/>
                  <a:pt x="2914" y="1534"/>
                  <a:pt x="2914" y="1534"/>
                </a:cubicBezTo>
                <a:lnTo>
                  <a:pt x="2914" y="1536"/>
                </a:lnTo>
                <a:close/>
                <a:moveTo>
                  <a:pt x="2916" y="1530"/>
                </a:moveTo>
                <a:cubicBezTo>
                  <a:pt x="2915" y="1531"/>
                  <a:pt x="2915" y="1531"/>
                  <a:pt x="2915" y="1531"/>
                </a:cubicBezTo>
                <a:cubicBezTo>
                  <a:pt x="2915" y="1532"/>
                  <a:pt x="2915" y="1532"/>
                  <a:pt x="2915" y="1532"/>
                </a:cubicBezTo>
                <a:cubicBezTo>
                  <a:pt x="2916" y="1532"/>
                  <a:pt x="2916" y="1532"/>
                  <a:pt x="2916" y="1532"/>
                </a:cubicBezTo>
                <a:lnTo>
                  <a:pt x="2916" y="1530"/>
                </a:lnTo>
                <a:close/>
                <a:moveTo>
                  <a:pt x="2912" y="1531"/>
                </a:moveTo>
                <a:cubicBezTo>
                  <a:pt x="2912" y="1532"/>
                  <a:pt x="2912" y="1532"/>
                  <a:pt x="2912" y="1532"/>
                </a:cubicBezTo>
                <a:cubicBezTo>
                  <a:pt x="2913" y="1533"/>
                  <a:pt x="2913" y="1533"/>
                  <a:pt x="2913" y="1533"/>
                </a:cubicBezTo>
                <a:cubicBezTo>
                  <a:pt x="2914" y="1532"/>
                  <a:pt x="2914" y="1532"/>
                  <a:pt x="2914" y="1532"/>
                </a:cubicBezTo>
                <a:cubicBezTo>
                  <a:pt x="2914" y="1530"/>
                  <a:pt x="2914" y="1530"/>
                  <a:pt x="2914" y="1530"/>
                </a:cubicBezTo>
                <a:lnTo>
                  <a:pt x="2912" y="1531"/>
                </a:lnTo>
                <a:close/>
                <a:moveTo>
                  <a:pt x="3043" y="1353"/>
                </a:moveTo>
                <a:cubicBezTo>
                  <a:pt x="3044" y="1352"/>
                  <a:pt x="3044" y="1352"/>
                  <a:pt x="3044" y="1352"/>
                </a:cubicBezTo>
                <a:cubicBezTo>
                  <a:pt x="3043" y="1350"/>
                  <a:pt x="3043" y="1350"/>
                  <a:pt x="3043" y="1350"/>
                </a:cubicBezTo>
                <a:lnTo>
                  <a:pt x="3043" y="1353"/>
                </a:lnTo>
                <a:close/>
                <a:moveTo>
                  <a:pt x="2943" y="1540"/>
                </a:moveTo>
                <a:cubicBezTo>
                  <a:pt x="2942" y="1542"/>
                  <a:pt x="2942" y="1542"/>
                  <a:pt x="2942" y="1542"/>
                </a:cubicBezTo>
                <a:cubicBezTo>
                  <a:pt x="2941" y="1541"/>
                  <a:pt x="2941" y="1541"/>
                  <a:pt x="2941" y="1541"/>
                </a:cubicBezTo>
                <a:cubicBezTo>
                  <a:pt x="2940" y="1541"/>
                  <a:pt x="2940" y="1541"/>
                  <a:pt x="2940" y="1541"/>
                </a:cubicBezTo>
                <a:cubicBezTo>
                  <a:pt x="2939" y="1542"/>
                  <a:pt x="2939" y="1542"/>
                  <a:pt x="2939" y="1542"/>
                </a:cubicBezTo>
                <a:cubicBezTo>
                  <a:pt x="2938" y="1543"/>
                  <a:pt x="2938" y="1543"/>
                  <a:pt x="2938" y="1543"/>
                </a:cubicBezTo>
                <a:cubicBezTo>
                  <a:pt x="2932" y="1543"/>
                  <a:pt x="2932" y="1543"/>
                  <a:pt x="2932" y="1543"/>
                </a:cubicBezTo>
                <a:cubicBezTo>
                  <a:pt x="2930" y="1543"/>
                  <a:pt x="2930" y="1543"/>
                  <a:pt x="2930" y="1543"/>
                </a:cubicBezTo>
                <a:cubicBezTo>
                  <a:pt x="2930" y="1545"/>
                  <a:pt x="2930" y="1545"/>
                  <a:pt x="2930" y="1545"/>
                </a:cubicBezTo>
                <a:cubicBezTo>
                  <a:pt x="2929" y="1544"/>
                  <a:pt x="2929" y="1544"/>
                  <a:pt x="2929" y="1544"/>
                </a:cubicBezTo>
                <a:cubicBezTo>
                  <a:pt x="2927" y="1544"/>
                  <a:pt x="2927" y="1544"/>
                  <a:pt x="2927" y="1544"/>
                </a:cubicBezTo>
                <a:cubicBezTo>
                  <a:pt x="2926" y="1545"/>
                  <a:pt x="2926" y="1545"/>
                  <a:pt x="2926" y="1545"/>
                </a:cubicBezTo>
                <a:cubicBezTo>
                  <a:pt x="2924" y="1543"/>
                  <a:pt x="2924" y="1543"/>
                  <a:pt x="2924" y="1543"/>
                </a:cubicBezTo>
                <a:cubicBezTo>
                  <a:pt x="2921" y="1541"/>
                  <a:pt x="2921" y="1541"/>
                  <a:pt x="2921" y="1541"/>
                </a:cubicBezTo>
                <a:cubicBezTo>
                  <a:pt x="2917" y="1539"/>
                  <a:pt x="2917" y="1539"/>
                  <a:pt x="2917" y="1539"/>
                </a:cubicBezTo>
                <a:cubicBezTo>
                  <a:pt x="2918" y="1536"/>
                  <a:pt x="2918" y="1536"/>
                  <a:pt x="2918" y="1536"/>
                </a:cubicBezTo>
                <a:cubicBezTo>
                  <a:pt x="2917" y="1537"/>
                  <a:pt x="2917" y="1537"/>
                  <a:pt x="2917" y="1537"/>
                </a:cubicBezTo>
                <a:cubicBezTo>
                  <a:pt x="2916" y="1538"/>
                  <a:pt x="2916" y="1538"/>
                  <a:pt x="2916" y="1538"/>
                </a:cubicBezTo>
                <a:cubicBezTo>
                  <a:pt x="2915" y="1537"/>
                  <a:pt x="2915" y="1537"/>
                  <a:pt x="2915" y="1537"/>
                </a:cubicBezTo>
                <a:cubicBezTo>
                  <a:pt x="2913" y="1536"/>
                  <a:pt x="2913" y="1536"/>
                  <a:pt x="2913" y="1536"/>
                </a:cubicBezTo>
                <a:cubicBezTo>
                  <a:pt x="2911" y="1535"/>
                  <a:pt x="2911" y="1535"/>
                  <a:pt x="2911" y="1535"/>
                </a:cubicBezTo>
                <a:cubicBezTo>
                  <a:pt x="2910" y="1536"/>
                  <a:pt x="2910" y="1536"/>
                  <a:pt x="2910" y="1536"/>
                </a:cubicBezTo>
                <a:cubicBezTo>
                  <a:pt x="2910" y="1538"/>
                  <a:pt x="2910" y="1538"/>
                  <a:pt x="2910" y="1538"/>
                </a:cubicBezTo>
                <a:cubicBezTo>
                  <a:pt x="2910" y="1538"/>
                  <a:pt x="2910" y="1538"/>
                  <a:pt x="2910" y="1538"/>
                </a:cubicBezTo>
                <a:cubicBezTo>
                  <a:pt x="2910" y="1540"/>
                  <a:pt x="2910" y="1540"/>
                  <a:pt x="2910" y="1540"/>
                </a:cubicBezTo>
                <a:cubicBezTo>
                  <a:pt x="2910" y="1544"/>
                  <a:pt x="2910" y="1544"/>
                  <a:pt x="2910" y="1544"/>
                </a:cubicBezTo>
                <a:cubicBezTo>
                  <a:pt x="2910" y="1547"/>
                  <a:pt x="2910" y="1547"/>
                  <a:pt x="2910" y="1547"/>
                </a:cubicBezTo>
                <a:cubicBezTo>
                  <a:pt x="2910" y="1551"/>
                  <a:pt x="2910" y="1551"/>
                  <a:pt x="2910" y="1551"/>
                </a:cubicBezTo>
                <a:cubicBezTo>
                  <a:pt x="2910" y="1555"/>
                  <a:pt x="2910" y="1555"/>
                  <a:pt x="2910" y="1555"/>
                </a:cubicBezTo>
                <a:cubicBezTo>
                  <a:pt x="2910" y="1558"/>
                  <a:pt x="2910" y="1558"/>
                  <a:pt x="2910" y="1558"/>
                </a:cubicBezTo>
                <a:cubicBezTo>
                  <a:pt x="2911" y="1558"/>
                  <a:pt x="2911" y="1558"/>
                  <a:pt x="2911" y="1558"/>
                </a:cubicBezTo>
                <a:cubicBezTo>
                  <a:pt x="2911" y="1560"/>
                  <a:pt x="2911" y="1560"/>
                  <a:pt x="2911" y="1560"/>
                </a:cubicBezTo>
                <a:cubicBezTo>
                  <a:pt x="2913" y="1562"/>
                  <a:pt x="2913" y="1562"/>
                  <a:pt x="2913" y="1562"/>
                </a:cubicBezTo>
                <a:cubicBezTo>
                  <a:pt x="2910" y="1561"/>
                  <a:pt x="2910" y="1561"/>
                  <a:pt x="2910" y="1561"/>
                </a:cubicBezTo>
                <a:cubicBezTo>
                  <a:pt x="2909" y="1560"/>
                  <a:pt x="2909" y="1560"/>
                  <a:pt x="2909" y="1560"/>
                </a:cubicBezTo>
                <a:cubicBezTo>
                  <a:pt x="2908" y="1561"/>
                  <a:pt x="2908" y="1561"/>
                  <a:pt x="2908" y="1561"/>
                </a:cubicBezTo>
                <a:cubicBezTo>
                  <a:pt x="2908" y="1565"/>
                  <a:pt x="2908" y="1565"/>
                  <a:pt x="2908" y="1565"/>
                </a:cubicBezTo>
                <a:cubicBezTo>
                  <a:pt x="2909" y="1566"/>
                  <a:pt x="2909" y="1566"/>
                  <a:pt x="2909" y="1566"/>
                </a:cubicBezTo>
                <a:cubicBezTo>
                  <a:pt x="2909" y="1567"/>
                  <a:pt x="2909" y="1567"/>
                  <a:pt x="2909" y="1567"/>
                </a:cubicBezTo>
                <a:cubicBezTo>
                  <a:pt x="2909" y="1573"/>
                  <a:pt x="2909" y="1573"/>
                  <a:pt x="2909" y="1573"/>
                </a:cubicBezTo>
                <a:cubicBezTo>
                  <a:pt x="2910" y="1574"/>
                  <a:pt x="2910" y="1574"/>
                  <a:pt x="2910" y="1574"/>
                </a:cubicBezTo>
                <a:cubicBezTo>
                  <a:pt x="2910" y="1575"/>
                  <a:pt x="2910" y="1575"/>
                  <a:pt x="2910" y="1575"/>
                </a:cubicBezTo>
                <a:cubicBezTo>
                  <a:pt x="2910" y="1577"/>
                  <a:pt x="2910" y="1577"/>
                  <a:pt x="2910" y="1577"/>
                </a:cubicBezTo>
                <a:cubicBezTo>
                  <a:pt x="2912" y="1578"/>
                  <a:pt x="2912" y="1578"/>
                  <a:pt x="2912" y="1578"/>
                </a:cubicBezTo>
                <a:cubicBezTo>
                  <a:pt x="2911" y="1579"/>
                  <a:pt x="2911" y="1579"/>
                  <a:pt x="2911" y="1579"/>
                </a:cubicBezTo>
                <a:cubicBezTo>
                  <a:pt x="2911" y="1581"/>
                  <a:pt x="2911" y="1581"/>
                  <a:pt x="2911" y="1581"/>
                </a:cubicBezTo>
                <a:cubicBezTo>
                  <a:pt x="2911" y="1581"/>
                  <a:pt x="2912" y="1582"/>
                  <a:pt x="2912" y="1582"/>
                </a:cubicBezTo>
                <a:cubicBezTo>
                  <a:pt x="2914" y="1581"/>
                  <a:pt x="2914" y="1581"/>
                  <a:pt x="2914" y="1581"/>
                </a:cubicBezTo>
                <a:cubicBezTo>
                  <a:pt x="2915" y="1583"/>
                  <a:pt x="2915" y="1583"/>
                  <a:pt x="2915" y="1583"/>
                </a:cubicBezTo>
                <a:cubicBezTo>
                  <a:pt x="2917" y="1581"/>
                  <a:pt x="2917" y="1581"/>
                  <a:pt x="2917" y="1581"/>
                </a:cubicBezTo>
                <a:cubicBezTo>
                  <a:pt x="2917" y="1582"/>
                  <a:pt x="2917" y="1582"/>
                  <a:pt x="2917" y="1582"/>
                </a:cubicBezTo>
                <a:cubicBezTo>
                  <a:pt x="2918" y="1584"/>
                  <a:pt x="2918" y="1584"/>
                  <a:pt x="2918" y="1584"/>
                </a:cubicBezTo>
                <a:cubicBezTo>
                  <a:pt x="2919" y="1584"/>
                  <a:pt x="2919" y="1584"/>
                  <a:pt x="2919" y="1584"/>
                </a:cubicBezTo>
                <a:cubicBezTo>
                  <a:pt x="2921" y="1581"/>
                  <a:pt x="2921" y="1581"/>
                  <a:pt x="2921" y="1581"/>
                </a:cubicBezTo>
                <a:cubicBezTo>
                  <a:pt x="2921" y="1579"/>
                  <a:pt x="2921" y="1579"/>
                  <a:pt x="2921" y="1579"/>
                </a:cubicBezTo>
                <a:cubicBezTo>
                  <a:pt x="2922" y="1576"/>
                  <a:pt x="2922" y="1576"/>
                  <a:pt x="2922" y="1576"/>
                </a:cubicBezTo>
                <a:cubicBezTo>
                  <a:pt x="2924" y="1577"/>
                  <a:pt x="2924" y="1577"/>
                  <a:pt x="2924" y="1577"/>
                </a:cubicBezTo>
                <a:cubicBezTo>
                  <a:pt x="2924" y="1576"/>
                  <a:pt x="2924" y="1576"/>
                  <a:pt x="2924" y="1576"/>
                </a:cubicBezTo>
                <a:cubicBezTo>
                  <a:pt x="2926" y="1575"/>
                  <a:pt x="2926" y="1575"/>
                  <a:pt x="2926" y="1575"/>
                </a:cubicBezTo>
                <a:cubicBezTo>
                  <a:pt x="2927" y="1573"/>
                  <a:pt x="2927" y="1573"/>
                  <a:pt x="2927" y="1573"/>
                </a:cubicBezTo>
                <a:cubicBezTo>
                  <a:pt x="2927" y="1575"/>
                  <a:pt x="2927" y="1575"/>
                  <a:pt x="2927" y="1575"/>
                </a:cubicBezTo>
                <a:cubicBezTo>
                  <a:pt x="2928" y="1575"/>
                  <a:pt x="2928" y="1575"/>
                  <a:pt x="2928" y="1575"/>
                </a:cubicBezTo>
                <a:cubicBezTo>
                  <a:pt x="2929" y="1574"/>
                  <a:pt x="2929" y="1574"/>
                  <a:pt x="2929" y="1574"/>
                </a:cubicBezTo>
                <a:cubicBezTo>
                  <a:pt x="2931" y="1573"/>
                  <a:pt x="2931" y="1573"/>
                  <a:pt x="2931" y="1573"/>
                </a:cubicBezTo>
                <a:cubicBezTo>
                  <a:pt x="2932" y="1574"/>
                  <a:pt x="2932" y="1574"/>
                  <a:pt x="2932" y="1574"/>
                </a:cubicBezTo>
                <a:cubicBezTo>
                  <a:pt x="2932" y="1576"/>
                  <a:pt x="2932" y="1576"/>
                  <a:pt x="2932" y="1576"/>
                </a:cubicBezTo>
                <a:cubicBezTo>
                  <a:pt x="2930" y="1575"/>
                  <a:pt x="2930" y="1575"/>
                  <a:pt x="2930" y="1575"/>
                </a:cubicBezTo>
                <a:cubicBezTo>
                  <a:pt x="2930" y="1578"/>
                  <a:pt x="2930" y="1578"/>
                  <a:pt x="2930" y="1578"/>
                </a:cubicBezTo>
                <a:cubicBezTo>
                  <a:pt x="2931" y="1577"/>
                  <a:pt x="2931" y="1577"/>
                  <a:pt x="2931" y="1577"/>
                </a:cubicBezTo>
                <a:cubicBezTo>
                  <a:pt x="2932" y="1577"/>
                  <a:pt x="2932" y="1577"/>
                  <a:pt x="2932" y="1577"/>
                </a:cubicBezTo>
                <a:cubicBezTo>
                  <a:pt x="2935" y="1574"/>
                  <a:pt x="2935" y="1574"/>
                  <a:pt x="2935" y="1574"/>
                </a:cubicBezTo>
                <a:cubicBezTo>
                  <a:pt x="2935" y="1573"/>
                  <a:pt x="2935" y="1573"/>
                  <a:pt x="2935" y="1573"/>
                </a:cubicBezTo>
                <a:cubicBezTo>
                  <a:pt x="2933" y="1572"/>
                  <a:pt x="2933" y="1572"/>
                  <a:pt x="2933" y="1572"/>
                </a:cubicBezTo>
                <a:cubicBezTo>
                  <a:pt x="2934" y="1570"/>
                  <a:pt x="2934" y="1570"/>
                  <a:pt x="2934" y="1570"/>
                </a:cubicBezTo>
                <a:cubicBezTo>
                  <a:pt x="2934" y="1568"/>
                  <a:pt x="2934" y="1568"/>
                  <a:pt x="2934" y="1568"/>
                </a:cubicBezTo>
                <a:cubicBezTo>
                  <a:pt x="2936" y="1568"/>
                  <a:pt x="2936" y="1568"/>
                  <a:pt x="2936" y="1568"/>
                </a:cubicBezTo>
                <a:cubicBezTo>
                  <a:pt x="2937" y="1567"/>
                  <a:pt x="2937" y="1567"/>
                  <a:pt x="2937" y="1567"/>
                </a:cubicBezTo>
                <a:cubicBezTo>
                  <a:pt x="2937" y="1562"/>
                  <a:pt x="2937" y="1562"/>
                  <a:pt x="2937" y="1562"/>
                </a:cubicBezTo>
                <a:cubicBezTo>
                  <a:pt x="2938" y="1562"/>
                  <a:pt x="2938" y="1562"/>
                  <a:pt x="2938" y="1562"/>
                </a:cubicBezTo>
                <a:cubicBezTo>
                  <a:pt x="2939" y="1560"/>
                  <a:pt x="2939" y="1560"/>
                  <a:pt x="2939" y="1560"/>
                </a:cubicBezTo>
                <a:cubicBezTo>
                  <a:pt x="2940" y="1563"/>
                  <a:pt x="2940" y="1563"/>
                  <a:pt x="2940" y="1563"/>
                </a:cubicBezTo>
                <a:cubicBezTo>
                  <a:pt x="2940" y="1564"/>
                  <a:pt x="2940" y="1564"/>
                  <a:pt x="2940" y="1564"/>
                </a:cubicBezTo>
                <a:cubicBezTo>
                  <a:pt x="2941" y="1562"/>
                  <a:pt x="2941" y="1562"/>
                  <a:pt x="2941" y="1562"/>
                </a:cubicBezTo>
                <a:cubicBezTo>
                  <a:pt x="2941" y="1560"/>
                  <a:pt x="2941" y="1560"/>
                  <a:pt x="2941" y="1560"/>
                </a:cubicBezTo>
                <a:cubicBezTo>
                  <a:pt x="2942" y="1559"/>
                  <a:pt x="2942" y="1559"/>
                  <a:pt x="2942" y="1559"/>
                </a:cubicBezTo>
                <a:cubicBezTo>
                  <a:pt x="2941" y="1557"/>
                  <a:pt x="2941" y="1557"/>
                  <a:pt x="2941" y="1557"/>
                </a:cubicBezTo>
                <a:cubicBezTo>
                  <a:pt x="2943" y="1554"/>
                  <a:pt x="2943" y="1554"/>
                  <a:pt x="2943" y="1554"/>
                </a:cubicBezTo>
                <a:cubicBezTo>
                  <a:pt x="2943" y="1551"/>
                  <a:pt x="2943" y="1551"/>
                  <a:pt x="2943" y="1551"/>
                </a:cubicBezTo>
                <a:cubicBezTo>
                  <a:pt x="2945" y="1548"/>
                  <a:pt x="2945" y="1548"/>
                  <a:pt x="2945" y="1548"/>
                </a:cubicBezTo>
                <a:cubicBezTo>
                  <a:pt x="2946" y="1543"/>
                  <a:pt x="2946" y="1543"/>
                  <a:pt x="2946" y="1543"/>
                </a:cubicBezTo>
                <a:cubicBezTo>
                  <a:pt x="2946" y="1542"/>
                  <a:pt x="2946" y="1542"/>
                  <a:pt x="2946" y="1542"/>
                </a:cubicBezTo>
                <a:cubicBezTo>
                  <a:pt x="2944" y="1540"/>
                  <a:pt x="2944" y="1540"/>
                  <a:pt x="2944" y="1540"/>
                </a:cubicBezTo>
                <a:lnTo>
                  <a:pt x="2943" y="1540"/>
                </a:lnTo>
                <a:close/>
                <a:moveTo>
                  <a:pt x="3046" y="1314"/>
                </a:moveTo>
                <a:cubicBezTo>
                  <a:pt x="3045" y="1316"/>
                  <a:pt x="3045" y="1316"/>
                  <a:pt x="3045" y="1316"/>
                </a:cubicBezTo>
                <a:cubicBezTo>
                  <a:pt x="3046" y="1317"/>
                  <a:pt x="3046" y="1317"/>
                  <a:pt x="3046" y="1317"/>
                </a:cubicBezTo>
                <a:cubicBezTo>
                  <a:pt x="3045" y="1319"/>
                  <a:pt x="3045" y="1319"/>
                  <a:pt x="3045" y="1319"/>
                </a:cubicBezTo>
                <a:cubicBezTo>
                  <a:pt x="3043" y="1321"/>
                  <a:pt x="3043" y="1321"/>
                  <a:pt x="3043" y="1321"/>
                </a:cubicBezTo>
                <a:cubicBezTo>
                  <a:pt x="3043" y="1323"/>
                  <a:pt x="3043" y="1323"/>
                  <a:pt x="3043" y="1323"/>
                </a:cubicBezTo>
                <a:cubicBezTo>
                  <a:pt x="3043" y="1325"/>
                  <a:pt x="3043" y="1325"/>
                  <a:pt x="3043" y="1325"/>
                </a:cubicBezTo>
                <a:cubicBezTo>
                  <a:pt x="3043" y="1328"/>
                  <a:pt x="3043" y="1328"/>
                  <a:pt x="3043" y="1328"/>
                </a:cubicBezTo>
                <a:cubicBezTo>
                  <a:pt x="3045" y="1328"/>
                  <a:pt x="3045" y="1328"/>
                  <a:pt x="3045" y="1328"/>
                </a:cubicBezTo>
                <a:cubicBezTo>
                  <a:pt x="3044" y="1326"/>
                  <a:pt x="3044" y="1326"/>
                  <a:pt x="3044" y="1326"/>
                </a:cubicBezTo>
                <a:cubicBezTo>
                  <a:pt x="3045" y="1322"/>
                  <a:pt x="3045" y="1322"/>
                  <a:pt x="3045" y="1322"/>
                </a:cubicBezTo>
                <a:cubicBezTo>
                  <a:pt x="3047" y="1319"/>
                  <a:pt x="3047" y="1319"/>
                  <a:pt x="3047" y="1319"/>
                </a:cubicBezTo>
                <a:cubicBezTo>
                  <a:pt x="3047" y="1316"/>
                  <a:pt x="3047" y="1316"/>
                  <a:pt x="3047" y="1316"/>
                </a:cubicBezTo>
                <a:cubicBezTo>
                  <a:pt x="3047" y="1314"/>
                  <a:pt x="3047" y="1314"/>
                  <a:pt x="3047" y="1314"/>
                </a:cubicBezTo>
                <a:lnTo>
                  <a:pt x="3046" y="1314"/>
                </a:lnTo>
                <a:close/>
                <a:moveTo>
                  <a:pt x="2888" y="1184"/>
                </a:moveTo>
                <a:cubicBezTo>
                  <a:pt x="2888" y="1184"/>
                  <a:pt x="2888" y="1184"/>
                  <a:pt x="2888" y="1184"/>
                </a:cubicBezTo>
                <a:cubicBezTo>
                  <a:pt x="2889" y="1185"/>
                  <a:pt x="2889" y="1185"/>
                  <a:pt x="2889" y="1185"/>
                </a:cubicBezTo>
                <a:cubicBezTo>
                  <a:pt x="2890" y="1184"/>
                  <a:pt x="2890" y="1184"/>
                  <a:pt x="2890" y="1184"/>
                </a:cubicBezTo>
                <a:cubicBezTo>
                  <a:pt x="2889" y="1182"/>
                  <a:pt x="2889" y="1182"/>
                  <a:pt x="2889" y="1182"/>
                </a:cubicBezTo>
                <a:cubicBezTo>
                  <a:pt x="2888" y="1184"/>
                  <a:pt x="2888" y="1184"/>
                  <a:pt x="2888" y="1184"/>
                </a:cubicBezTo>
                <a:close/>
                <a:moveTo>
                  <a:pt x="2896" y="1205"/>
                </a:moveTo>
                <a:cubicBezTo>
                  <a:pt x="2895" y="1204"/>
                  <a:pt x="2895" y="1204"/>
                  <a:pt x="2895" y="1204"/>
                </a:cubicBezTo>
                <a:cubicBezTo>
                  <a:pt x="2894" y="1205"/>
                  <a:pt x="2894" y="1205"/>
                  <a:pt x="2894" y="1205"/>
                </a:cubicBezTo>
                <a:cubicBezTo>
                  <a:pt x="2895" y="1207"/>
                  <a:pt x="2895" y="1207"/>
                  <a:pt x="2895" y="1207"/>
                </a:cubicBezTo>
                <a:lnTo>
                  <a:pt x="2896" y="1205"/>
                </a:lnTo>
                <a:close/>
                <a:moveTo>
                  <a:pt x="2929" y="1501"/>
                </a:moveTo>
                <a:cubicBezTo>
                  <a:pt x="2929" y="1500"/>
                  <a:pt x="2929" y="1500"/>
                  <a:pt x="2929" y="1500"/>
                </a:cubicBezTo>
                <a:cubicBezTo>
                  <a:pt x="2928" y="1501"/>
                  <a:pt x="2928" y="1501"/>
                  <a:pt x="2928" y="1501"/>
                </a:cubicBezTo>
                <a:cubicBezTo>
                  <a:pt x="2929" y="1502"/>
                  <a:pt x="2929" y="1502"/>
                  <a:pt x="2929" y="1502"/>
                </a:cubicBezTo>
                <a:lnTo>
                  <a:pt x="2929" y="1501"/>
                </a:lnTo>
                <a:close/>
                <a:moveTo>
                  <a:pt x="3042" y="1356"/>
                </a:moveTo>
                <a:cubicBezTo>
                  <a:pt x="3042" y="1354"/>
                  <a:pt x="3042" y="1354"/>
                  <a:pt x="3042" y="1354"/>
                </a:cubicBezTo>
                <a:cubicBezTo>
                  <a:pt x="3041" y="1350"/>
                  <a:pt x="3041" y="1350"/>
                  <a:pt x="3041" y="1350"/>
                </a:cubicBezTo>
                <a:cubicBezTo>
                  <a:pt x="3040" y="1349"/>
                  <a:pt x="3040" y="1349"/>
                  <a:pt x="3040" y="1349"/>
                </a:cubicBezTo>
                <a:cubicBezTo>
                  <a:pt x="3040" y="1347"/>
                  <a:pt x="3040" y="1347"/>
                  <a:pt x="3040" y="1347"/>
                </a:cubicBezTo>
                <a:cubicBezTo>
                  <a:pt x="3041" y="1346"/>
                  <a:pt x="3041" y="1346"/>
                  <a:pt x="3041" y="1346"/>
                </a:cubicBezTo>
                <a:cubicBezTo>
                  <a:pt x="3041" y="1343"/>
                  <a:pt x="3041" y="1343"/>
                  <a:pt x="3041" y="1343"/>
                </a:cubicBezTo>
                <a:cubicBezTo>
                  <a:pt x="3042" y="1340"/>
                  <a:pt x="3042" y="1340"/>
                  <a:pt x="3042" y="1340"/>
                </a:cubicBezTo>
                <a:cubicBezTo>
                  <a:pt x="3042" y="1339"/>
                  <a:pt x="3042" y="1339"/>
                  <a:pt x="3042" y="1339"/>
                </a:cubicBezTo>
                <a:cubicBezTo>
                  <a:pt x="3042" y="1333"/>
                  <a:pt x="3042" y="1333"/>
                  <a:pt x="3042" y="1333"/>
                </a:cubicBezTo>
                <a:cubicBezTo>
                  <a:pt x="3043" y="1331"/>
                  <a:pt x="3043" y="1331"/>
                  <a:pt x="3043" y="1331"/>
                </a:cubicBezTo>
                <a:cubicBezTo>
                  <a:pt x="3042" y="1330"/>
                  <a:pt x="3042" y="1330"/>
                  <a:pt x="3042" y="1330"/>
                </a:cubicBezTo>
                <a:cubicBezTo>
                  <a:pt x="3042" y="1328"/>
                  <a:pt x="3042" y="1328"/>
                  <a:pt x="3042" y="1328"/>
                </a:cubicBezTo>
                <a:cubicBezTo>
                  <a:pt x="3042" y="1324"/>
                  <a:pt x="3042" y="1324"/>
                  <a:pt x="3042" y="1324"/>
                </a:cubicBezTo>
                <a:cubicBezTo>
                  <a:pt x="3041" y="1324"/>
                  <a:pt x="3041" y="1324"/>
                  <a:pt x="3041" y="1324"/>
                </a:cubicBezTo>
                <a:cubicBezTo>
                  <a:pt x="3042" y="1322"/>
                  <a:pt x="3042" y="1322"/>
                  <a:pt x="3042" y="1322"/>
                </a:cubicBezTo>
                <a:cubicBezTo>
                  <a:pt x="3040" y="1321"/>
                  <a:pt x="3040" y="1321"/>
                  <a:pt x="3040" y="1321"/>
                </a:cubicBezTo>
                <a:cubicBezTo>
                  <a:pt x="3039" y="1319"/>
                  <a:pt x="3039" y="1319"/>
                  <a:pt x="3039" y="1319"/>
                </a:cubicBezTo>
                <a:cubicBezTo>
                  <a:pt x="3039" y="1317"/>
                  <a:pt x="3039" y="1317"/>
                  <a:pt x="3039" y="1317"/>
                </a:cubicBezTo>
                <a:cubicBezTo>
                  <a:pt x="3037" y="1315"/>
                  <a:pt x="3037" y="1315"/>
                  <a:pt x="3037" y="1315"/>
                </a:cubicBezTo>
                <a:cubicBezTo>
                  <a:pt x="3036" y="1312"/>
                  <a:pt x="3036" y="1312"/>
                  <a:pt x="3036" y="1312"/>
                </a:cubicBezTo>
                <a:cubicBezTo>
                  <a:pt x="3035" y="1309"/>
                  <a:pt x="3035" y="1309"/>
                  <a:pt x="3035" y="1309"/>
                </a:cubicBezTo>
                <a:cubicBezTo>
                  <a:pt x="3034" y="1306"/>
                  <a:pt x="3034" y="1306"/>
                  <a:pt x="3034" y="1306"/>
                </a:cubicBezTo>
                <a:cubicBezTo>
                  <a:pt x="3032" y="1306"/>
                  <a:pt x="3032" y="1306"/>
                  <a:pt x="3032" y="1306"/>
                </a:cubicBezTo>
                <a:cubicBezTo>
                  <a:pt x="3031" y="1307"/>
                  <a:pt x="3031" y="1307"/>
                  <a:pt x="3031" y="1307"/>
                </a:cubicBezTo>
                <a:cubicBezTo>
                  <a:pt x="3029" y="1306"/>
                  <a:pt x="3029" y="1306"/>
                  <a:pt x="3029" y="1306"/>
                </a:cubicBezTo>
                <a:cubicBezTo>
                  <a:pt x="3029" y="1303"/>
                  <a:pt x="3029" y="1303"/>
                  <a:pt x="3029" y="1303"/>
                </a:cubicBezTo>
                <a:cubicBezTo>
                  <a:pt x="3028" y="1303"/>
                  <a:pt x="3028" y="1303"/>
                  <a:pt x="3028" y="1303"/>
                </a:cubicBezTo>
                <a:cubicBezTo>
                  <a:pt x="3028" y="1301"/>
                  <a:pt x="3028" y="1301"/>
                  <a:pt x="3028" y="1301"/>
                </a:cubicBezTo>
                <a:cubicBezTo>
                  <a:pt x="3025" y="1299"/>
                  <a:pt x="3025" y="1299"/>
                  <a:pt x="3025" y="1299"/>
                </a:cubicBezTo>
                <a:cubicBezTo>
                  <a:pt x="3024" y="1298"/>
                  <a:pt x="3024" y="1298"/>
                  <a:pt x="3024" y="1298"/>
                </a:cubicBezTo>
                <a:cubicBezTo>
                  <a:pt x="3025" y="1297"/>
                  <a:pt x="3025" y="1297"/>
                  <a:pt x="3025" y="1297"/>
                </a:cubicBezTo>
                <a:cubicBezTo>
                  <a:pt x="3023" y="1294"/>
                  <a:pt x="3023" y="1294"/>
                  <a:pt x="3023" y="1294"/>
                </a:cubicBezTo>
                <a:cubicBezTo>
                  <a:pt x="3025" y="1292"/>
                  <a:pt x="3025" y="1292"/>
                  <a:pt x="3025" y="1292"/>
                </a:cubicBezTo>
                <a:cubicBezTo>
                  <a:pt x="3026" y="1289"/>
                  <a:pt x="3026" y="1289"/>
                  <a:pt x="3026" y="1289"/>
                </a:cubicBezTo>
                <a:cubicBezTo>
                  <a:pt x="3025" y="1287"/>
                  <a:pt x="3025" y="1287"/>
                  <a:pt x="3025" y="1287"/>
                </a:cubicBezTo>
                <a:cubicBezTo>
                  <a:pt x="3025" y="1285"/>
                  <a:pt x="3025" y="1285"/>
                  <a:pt x="3025" y="1285"/>
                </a:cubicBezTo>
                <a:cubicBezTo>
                  <a:pt x="3024" y="1284"/>
                  <a:pt x="3024" y="1284"/>
                  <a:pt x="3024" y="1284"/>
                </a:cubicBezTo>
                <a:cubicBezTo>
                  <a:pt x="3024" y="1285"/>
                  <a:pt x="3024" y="1285"/>
                  <a:pt x="3024" y="1285"/>
                </a:cubicBezTo>
                <a:cubicBezTo>
                  <a:pt x="3024" y="1286"/>
                  <a:pt x="3024" y="1286"/>
                  <a:pt x="3024" y="1286"/>
                </a:cubicBezTo>
                <a:cubicBezTo>
                  <a:pt x="3024" y="1287"/>
                  <a:pt x="3024" y="1287"/>
                  <a:pt x="3024" y="1287"/>
                </a:cubicBezTo>
                <a:cubicBezTo>
                  <a:pt x="3019" y="1283"/>
                  <a:pt x="3019" y="1283"/>
                  <a:pt x="3019" y="1283"/>
                </a:cubicBezTo>
                <a:cubicBezTo>
                  <a:pt x="3018" y="1281"/>
                  <a:pt x="3018" y="1281"/>
                  <a:pt x="3018" y="1281"/>
                </a:cubicBezTo>
                <a:cubicBezTo>
                  <a:pt x="3017" y="1281"/>
                  <a:pt x="3017" y="1281"/>
                  <a:pt x="3017" y="1281"/>
                </a:cubicBezTo>
                <a:cubicBezTo>
                  <a:pt x="3017" y="1283"/>
                  <a:pt x="3017" y="1283"/>
                  <a:pt x="3017" y="1283"/>
                </a:cubicBezTo>
                <a:cubicBezTo>
                  <a:pt x="3017" y="1284"/>
                  <a:pt x="3017" y="1284"/>
                  <a:pt x="3017" y="1284"/>
                </a:cubicBezTo>
                <a:cubicBezTo>
                  <a:pt x="3018" y="1287"/>
                  <a:pt x="3018" y="1287"/>
                  <a:pt x="3018" y="1287"/>
                </a:cubicBezTo>
                <a:cubicBezTo>
                  <a:pt x="3016" y="1285"/>
                  <a:pt x="3016" y="1285"/>
                  <a:pt x="3016" y="1285"/>
                </a:cubicBezTo>
                <a:cubicBezTo>
                  <a:pt x="3014" y="1286"/>
                  <a:pt x="3014" y="1286"/>
                  <a:pt x="3014" y="1286"/>
                </a:cubicBezTo>
                <a:cubicBezTo>
                  <a:pt x="3014" y="1284"/>
                  <a:pt x="3014" y="1284"/>
                  <a:pt x="3014" y="1284"/>
                </a:cubicBezTo>
                <a:cubicBezTo>
                  <a:pt x="3014" y="1282"/>
                  <a:pt x="3014" y="1282"/>
                  <a:pt x="3014" y="1282"/>
                </a:cubicBezTo>
                <a:cubicBezTo>
                  <a:pt x="3013" y="1277"/>
                  <a:pt x="3013" y="1277"/>
                  <a:pt x="3013" y="1277"/>
                </a:cubicBezTo>
                <a:cubicBezTo>
                  <a:pt x="3014" y="1276"/>
                  <a:pt x="3014" y="1276"/>
                  <a:pt x="3014" y="1276"/>
                </a:cubicBezTo>
                <a:cubicBezTo>
                  <a:pt x="3014" y="1275"/>
                  <a:pt x="3014" y="1275"/>
                  <a:pt x="3014" y="1275"/>
                </a:cubicBezTo>
                <a:cubicBezTo>
                  <a:pt x="3012" y="1274"/>
                  <a:pt x="3012" y="1274"/>
                  <a:pt x="3012" y="1274"/>
                </a:cubicBezTo>
                <a:cubicBezTo>
                  <a:pt x="3013" y="1272"/>
                  <a:pt x="3013" y="1272"/>
                  <a:pt x="3013" y="1272"/>
                </a:cubicBezTo>
                <a:cubicBezTo>
                  <a:pt x="3011" y="1271"/>
                  <a:pt x="3011" y="1271"/>
                  <a:pt x="3011" y="1271"/>
                </a:cubicBezTo>
                <a:cubicBezTo>
                  <a:pt x="3012" y="1269"/>
                  <a:pt x="3012" y="1269"/>
                  <a:pt x="3012" y="1269"/>
                </a:cubicBezTo>
                <a:cubicBezTo>
                  <a:pt x="3008" y="1266"/>
                  <a:pt x="3008" y="1266"/>
                  <a:pt x="3008" y="1266"/>
                </a:cubicBezTo>
                <a:cubicBezTo>
                  <a:pt x="3008" y="1264"/>
                  <a:pt x="3008" y="1264"/>
                  <a:pt x="3008" y="1264"/>
                </a:cubicBezTo>
                <a:cubicBezTo>
                  <a:pt x="3007" y="1262"/>
                  <a:pt x="3007" y="1262"/>
                  <a:pt x="3007" y="1262"/>
                </a:cubicBezTo>
                <a:cubicBezTo>
                  <a:pt x="3009" y="1262"/>
                  <a:pt x="3009" y="1262"/>
                  <a:pt x="3009" y="1262"/>
                </a:cubicBezTo>
                <a:cubicBezTo>
                  <a:pt x="3009" y="1260"/>
                  <a:pt x="3009" y="1260"/>
                  <a:pt x="3009" y="1260"/>
                </a:cubicBezTo>
                <a:cubicBezTo>
                  <a:pt x="3008" y="1257"/>
                  <a:pt x="3008" y="1257"/>
                  <a:pt x="3008" y="1257"/>
                </a:cubicBezTo>
                <a:cubicBezTo>
                  <a:pt x="3007" y="1258"/>
                  <a:pt x="3007" y="1258"/>
                  <a:pt x="3007" y="1258"/>
                </a:cubicBezTo>
                <a:cubicBezTo>
                  <a:pt x="3005" y="1258"/>
                  <a:pt x="3005" y="1258"/>
                  <a:pt x="3005" y="1258"/>
                </a:cubicBezTo>
                <a:cubicBezTo>
                  <a:pt x="3003" y="1255"/>
                  <a:pt x="3003" y="1255"/>
                  <a:pt x="3003" y="1255"/>
                </a:cubicBezTo>
                <a:cubicBezTo>
                  <a:pt x="3001" y="1255"/>
                  <a:pt x="3001" y="1255"/>
                  <a:pt x="3001" y="1255"/>
                </a:cubicBezTo>
                <a:cubicBezTo>
                  <a:pt x="3000" y="1253"/>
                  <a:pt x="3000" y="1253"/>
                  <a:pt x="3000" y="1253"/>
                </a:cubicBezTo>
                <a:cubicBezTo>
                  <a:pt x="2999" y="1254"/>
                  <a:pt x="2999" y="1254"/>
                  <a:pt x="2999" y="1254"/>
                </a:cubicBezTo>
                <a:cubicBezTo>
                  <a:pt x="2998" y="1253"/>
                  <a:pt x="2998" y="1253"/>
                  <a:pt x="2998" y="1253"/>
                </a:cubicBezTo>
                <a:cubicBezTo>
                  <a:pt x="2996" y="1252"/>
                  <a:pt x="2996" y="1252"/>
                  <a:pt x="2996" y="1252"/>
                </a:cubicBezTo>
                <a:cubicBezTo>
                  <a:pt x="2994" y="1254"/>
                  <a:pt x="2994" y="1254"/>
                  <a:pt x="2994" y="1254"/>
                </a:cubicBezTo>
                <a:cubicBezTo>
                  <a:pt x="2995" y="1252"/>
                  <a:pt x="2995" y="1252"/>
                  <a:pt x="2995" y="1252"/>
                </a:cubicBezTo>
                <a:cubicBezTo>
                  <a:pt x="2997" y="1251"/>
                  <a:pt x="2997" y="1251"/>
                  <a:pt x="2997" y="1251"/>
                </a:cubicBezTo>
                <a:cubicBezTo>
                  <a:pt x="2997" y="1250"/>
                  <a:pt x="2997" y="1250"/>
                  <a:pt x="2997" y="1250"/>
                </a:cubicBezTo>
                <a:cubicBezTo>
                  <a:pt x="2997" y="1249"/>
                  <a:pt x="2997" y="1249"/>
                  <a:pt x="2997" y="1249"/>
                </a:cubicBezTo>
                <a:cubicBezTo>
                  <a:pt x="2995" y="1249"/>
                  <a:pt x="2995" y="1249"/>
                  <a:pt x="2995" y="1249"/>
                </a:cubicBezTo>
                <a:cubicBezTo>
                  <a:pt x="2993" y="1249"/>
                  <a:pt x="2993" y="1249"/>
                  <a:pt x="2993" y="1249"/>
                </a:cubicBezTo>
                <a:cubicBezTo>
                  <a:pt x="2992" y="1247"/>
                  <a:pt x="2992" y="1247"/>
                  <a:pt x="2992" y="1247"/>
                </a:cubicBezTo>
                <a:cubicBezTo>
                  <a:pt x="2991" y="1247"/>
                  <a:pt x="2991" y="1247"/>
                  <a:pt x="2991" y="1247"/>
                </a:cubicBezTo>
                <a:cubicBezTo>
                  <a:pt x="2987" y="1245"/>
                  <a:pt x="2987" y="1245"/>
                  <a:pt x="2987" y="1245"/>
                </a:cubicBezTo>
                <a:cubicBezTo>
                  <a:pt x="2985" y="1241"/>
                  <a:pt x="2985" y="1241"/>
                  <a:pt x="2985" y="1241"/>
                </a:cubicBezTo>
                <a:cubicBezTo>
                  <a:pt x="2985" y="1238"/>
                  <a:pt x="2985" y="1238"/>
                  <a:pt x="2985" y="1238"/>
                </a:cubicBezTo>
                <a:cubicBezTo>
                  <a:pt x="2984" y="1235"/>
                  <a:pt x="2984" y="1235"/>
                  <a:pt x="2984" y="1235"/>
                </a:cubicBezTo>
                <a:cubicBezTo>
                  <a:pt x="2984" y="1233"/>
                  <a:pt x="2984" y="1233"/>
                  <a:pt x="2984" y="1233"/>
                </a:cubicBezTo>
                <a:cubicBezTo>
                  <a:pt x="2985" y="1233"/>
                  <a:pt x="2985" y="1233"/>
                  <a:pt x="2985" y="1233"/>
                </a:cubicBezTo>
                <a:cubicBezTo>
                  <a:pt x="2985" y="1229"/>
                  <a:pt x="2985" y="1229"/>
                  <a:pt x="2985" y="1229"/>
                </a:cubicBezTo>
                <a:cubicBezTo>
                  <a:pt x="2984" y="1224"/>
                  <a:pt x="2984" y="1224"/>
                  <a:pt x="2984" y="1224"/>
                </a:cubicBezTo>
                <a:cubicBezTo>
                  <a:pt x="2983" y="1221"/>
                  <a:pt x="2983" y="1221"/>
                  <a:pt x="2983" y="1221"/>
                </a:cubicBezTo>
                <a:cubicBezTo>
                  <a:pt x="2984" y="1221"/>
                  <a:pt x="2984" y="1221"/>
                  <a:pt x="2984" y="1221"/>
                </a:cubicBezTo>
                <a:cubicBezTo>
                  <a:pt x="2983" y="1219"/>
                  <a:pt x="2983" y="1219"/>
                  <a:pt x="2983" y="1219"/>
                </a:cubicBezTo>
                <a:cubicBezTo>
                  <a:pt x="2981" y="1219"/>
                  <a:pt x="2981" y="1219"/>
                  <a:pt x="2981" y="1219"/>
                </a:cubicBezTo>
                <a:cubicBezTo>
                  <a:pt x="2979" y="1215"/>
                  <a:pt x="2979" y="1215"/>
                  <a:pt x="2979" y="1215"/>
                </a:cubicBezTo>
                <a:cubicBezTo>
                  <a:pt x="2979" y="1210"/>
                  <a:pt x="2979" y="1210"/>
                  <a:pt x="2979" y="1210"/>
                </a:cubicBezTo>
                <a:cubicBezTo>
                  <a:pt x="2980" y="1210"/>
                  <a:pt x="2980" y="1210"/>
                  <a:pt x="2980" y="1210"/>
                </a:cubicBezTo>
                <a:cubicBezTo>
                  <a:pt x="2980" y="1209"/>
                  <a:pt x="2980" y="1209"/>
                  <a:pt x="2980" y="1209"/>
                </a:cubicBezTo>
                <a:cubicBezTo>
                  <a:pt x="2979" y="1208"/>
                  <a:pt x="2979" y="1208"/>
                  <a:pt x="2979" y="1208"/>
                </a:cubicBezTo>
                <a:cubicBezTo>
                  <a:pt x="2979" y="1201"/>
                  <a:pt x="2979" y="1201"/>
                  <a:pt x="2979" y="1201"/>
                </a:cubicBezTo>
                <a:cubicBezTo>
                  <a:pt x="2979" y="1200"/>
                  <a:pt x="2979" y="1200"/>
                  <a:pt x="2979" y="1200"/>
                </a:cubicBezTo>
                <a:cubicBezTo>
                  <a:pt x="2979" y="1198"/>
                  <a:pt x="2979" y="1198"/>
                  <a:pt x="2979" y="1198"/>
                </a:cubicBezTo>
                <a:cubicBezTo>
                  <a:pt x="2979" y="1197"/>
                  <a:pt x="2979" y="1197"/>
                  <a:pt x="2979" y="1197"/>
                </a:cubicBezTo>
                <a:cubicBezTo>
                  <a:pt x="2980" y="1196"/>
                  <a:pt x="2980" y="1196"/>
                  <a:pt x="2980" y="1196"/>
                </a:cubicBezTo>
                <a:cubicBezTo>
                  <a:pt x="2976" y="1192"/>
                  <a:pt x="2976" y="1192"/>
                  <a:pt x="2976" y="1192"/>
                </a:cubicBezTo>
                <a:cubicBezTo>
                  <a:pt x="2974" y="1191"/>
                  <a:pt x="2974" y="1191"/>
                  <a:pt x="2974" y="1191"/>
                </a:cubicBezTo>
                <a:cubicBezTo>
                  <a:pt x="2975" y="1190"/>
                  <a:pt x="2975" y="1190"/>
                  <a:pt x="2975" y="1190"/>
                </a:cubicBezTo>
                <a:cubicBezTo>
                  <a:pt x="2972" y="1188"/>
                  <a:pt x="2972" y="1188"/>
                  <a:pt x="2972" y="1188"/>
                </a:cubicBezTo>
                <a:cubicBezTo>
                  <a:pt x="2970" y="1189"/>
                  <a:pt x="2970" y="1189"/>
                  <a:pt x="2970" y="1189"/>
                </a:cubicBezTo>
                <a:cubicBezTo>
                  <a:pt x="2969" y="1188"/>
                  <a:pt x="2969" y="1188"/>
                  <a:pt x="2969" y="1188"/>
                </a:cubicBezTo>
                <a:cubicBezTo>
                  <a:pt x="2968" y="1191"/>
                  <a:pt x="2968" y="1191"/>
                  <a:pt x="2968" y="1191"/>
                </a:cubicBezTo>
                <a:cubicBezTo>
                  <a:pt x="2966" y="1191"/>
                  <a:pt x="2966" y="1191"/>
                  <a:pt x="2966" y="1191"/>
                </a:cubicBezTo>
                <a:cubicBezTo>
                  <a:pt x="2964" y="1188"/>
                  <a:pt x="2964" y="1188"/>
                  <a:pt x="2964" y="1188"/>
                </a:cubicBezTo>
                <a:cubicBezTo>
                  <a:pt x="2965" y="1186"/>
                  <a:pt x="2965" y="1186"/>
                  <a:pt x="2965" y="1186"/>
                </a:cubicBezTo>
                <a:cubicBezTo>
                  <a:pt x="2963" y="1183"/>
                  <a:pt x="2963" y="1183"/>
                  <a:pt x="2963" y="1183"/>
                </a:cubicBezTo>
                <a:cubicBezTo>
                  <a:pt x="2964" y="1179"/>
                  <a:pt x="2964" y="1179"/>
                  <a:pt x="2964" y="1179"/>
                </a:cubicBezTo>
                <a:cubicBezTo>
                  <a:pt x="2964" y="1175"/>
                  <a:pt x="2964" y="1175"/>
                  <a:pt x="2964" y="1175"/>
                </a:cubicBezTo>
                <a:cubicBezTo>
                  <a:pt x="2963" y="1175"/>
                  <a:pt x="2963" y="1175"/>
                  <a:pt x="2963" y="1175"/>
                </a:cubicBezTo>
                <a:cubicBezTo>
                  <a:pt x="2962" y="1173"/>
                  <a:pt x="2962" y="1173"/>
                  <a:pt x="2962" y="1173"/>
                </a:cubicBezTo>
                <a:cubicBezTo>
                  <a:pt x="2963" y="1172"/>
                  <a:pt x="2963" y="1172"/>
                  <a:pt x="2963" y="1172"/>
                </a:cubicBezTo>
                <a:cubicBezTo>
                  <a:pt x="2961" y="1170"/>
                  <a:pt x="2961" y="1170"/>
                  <a:pt x="2961" y="1170"/>
                </a:cubicBezTo>
                <a:cubicBezTo>
                  <a:pt x="2961" y="1168"/>
                  <a:pt x="2961" y="1168"/>
                  <a:pt x="2961" y="1168"/>
                </a:cubicBezTo>
                <a:cubicBezTo>
                  <a:pt x="2960" y="1167"/>
                  <a:pt x="2960" y="1167"/>
                  <a:pt x="2960" y="1167"/>
                </a:cubicBezTo>
                <a:cubicBezTo>
                  <a:pt x="2960" y="1165"/>
                  <a:pt x="2960" y="1165"/>
                  <a:pt x="2960" y="1165"/>
                </a:cubicBezTo>
                <a:cubicBezTo>
                  <a:pt x="2962" y="1163"/>
                  <a:pt x="2962" y="1163"/>
                  <a:pt x="2962" y="1163"/>
                </a:cubicBezTo>
                <a:cubicBezTo>
                  <a:pt x="2960" y="1163"/>
                  <a:pt x="2960" y="1163"/>
                  <a:pt x="2960" y="1163"/>
                </a:cubicBezTo>
                <a:cubicBezTo>
                  <a:pt x="2959" y="1163"/>
                  <a:pt x="2959" y="1163"/>
                  <a:pt x="2959" y="1163"/>
                </a:cubicBezTo>
                <a:cubicBezTo>
                  <a:pt x="2957" y="1162"/>
                  <a:pt x="2957" y="1162"/>
                  <a:pt x="2957" y="1162"/>
                </a:cubicBezTo>
                <a:cubicBezTo>
                  <a:pt x="2958" y="1157"/>
                  <a:pt x="2958" y="1157"/>
                  <a:pt x="2958" y="1157"/>
                </a:cubicBezTo>
                <a:cubicBezTo>
                  <a:pt x="2957" y="1156"/>
                  <a:pt x="2957" y="1156"/>
                  <a:pt x="2957" y="1156"/>
                </a:cubicBezTo>
                <a:cubicBezTo>
                  <a:pt x="2957" y="1153"/>
                  <a:pt x="2957" y="1153"/>
                  <a:pt x="2957" y="1153"/>
                </a:cubicBezTo>
                <a:cubicBezTo>
                  <a:pt x="2955" y="1153"/>
                  <a:pt x="2955" y="1153"/>
                  <a:pt x="2955" y="1153"/>
                </a:cubicBezTo>
                <a:cubicBezTo>
                  <a:pt x="2955" y="1151"/>
                  <a:pt x="2955" y="1151"/>
                  <a:pt x="2955" y="1151"/>
                </a:cubicBezTo>
                <a:cubicBezTo>
                  <a:pt x="2952" y="1152"/>
                  <a:pt x="2952" y="1152"/>
                  <a:pt x="2952" y="1152"/>
                </a:cubicBezTo>
                <a:cubicBezTo>
                  <a:pt x="2951" y="1154"/>
                  <a:pt x="2951" y="1154"/>
                  <a:pt x="2951" y="1154"/>
                </a:cubicBezTo>
                <a:cubicBezTo>
                  <a:pt x="2951" y="1157"/>
                  <a:pt x="2951" y="1157"/>
                  <a:pt x="2951" y="1157"/>
                </a:cubicBezTo>
                <a:cubicBezTo>
                  <a:pt x="2950" y="1160"/>
                  <a:pt x="2950" y="1160"/>
                  <a:pt x="2950" y="1160"/>
                </a:cubicBezTo>
                <a:cubicBezTo>
                  <a:pt x="2950" y="1161"/>
                  <a:pt x="2950" y="1161"/>
                  <a:pt x="2950" y="1161"/>
                </a:cubicBezTo>
                <a:cubicBezTo>
                  <a:pt x="2950" y="1163"/>
                  <a:pt x="2950" y="1163"/>
                  <a:pt x="2950" y="1163"/>
                </a:cubicBezTo>
                <a:cubicBezTo>
                  <a:pt x="2949" y="1163"/>
                  <a:pt x="2949" y="1163"/>
                  <a:pt x="2949" y="1163"/>
                </a:cubicBezTo>
                <a:cubicBezTo>
                  <a:pt x="2947" y="1166"/>
                  <a:pt x="2947" y="1166"/>
                  <a:pt x="2947" y="1166"/>
                </a:cubicBezTo>
                <a:cubicBezTo>
                  <a:pt x="2945" y="1169"/>
                  <a:pt x="2945" y="1169"/>
                  <a:pt x="2945" y="1169"/>
                </a:cubicBezTo>
                <a:cubicBezTo>
                  <a:pt x="2947" y="1170"/>
                  <a:pt x="2947" y="1170"/>
                  <a:pt x="2947" y="1170"/>
                </a:cubicBezTo>
                <a:cubicBezTo>
                  <a:pt x="2949" y="1172"/>
                  <a:pt x="2949" y="1172"/>
                  <a:pt x="2949" y="1172"/>
                </a:cubicBezTo>
                <a:cubicBezTo>
                  <a:pt x="2948" y="1173"/>
                  <a:pt x="2948" y="1173"/>
                  <a:pt x="2948" y="1173"/>
                </a:cubicBezTo>
                <a:cubicBezTo>
                  <a:pt x="2946" y="1173"/>
                  <a:pt x="2946" y="1173"/>
                  <a:pt x="2946" y="1173"/>
                </a:cubicBezTo>
                <a:cubicBezTo>
                  <a:pt x="2946" y="1175"/>
                  <a:pt x="2946" y="1175"/>
                  <a:pt x="2946" y="1175"/>
                </a:cubicBezTo>
                <a:cubicBezTo>
                  <a:pt x="2944" y="1177"/>
                  <a:pt x="2944" y="1177"/>
                  <a:pt x="2944" y="1177"/>
                </a:cubicBezTo>
                <a:cubicBezTo>
                  <a:pt x="2946" y="1179"/>
                  <a:pt x="2946" y="1179"/>
                  <a:pt x="2946" y="1179"/>
                </a:cubicBezTo>
                <a:cubicBezTo>
                  <a:pt x="2946" y="1181"/>
                  <a:pt x="2946" y="1181"/>
                  <a:pt x="2946" y="1181"/>
                </a:cubicBezTo>
                <a:cubicBezTo>
                  <a:pt x="2945" y="1180"/>
                  <a:pt x="2945" y="1180"/>
                  <a:pt x="2945" y="1180"/>
                </a:cubicBezTo>
                <a:cubicBezTo>
                  <a:pt x="2943" y="1181"/>
                  <a:pt x="2943" y="1181"/>
                  <a:pt x="2943" y="1181"/>
                </a:cubicBezTo>
                <a:cubicBezTo>
                  <a:pt x="2943" y="1186"/>
                  <a:pt x="2943" y="1186"/>
                  <a:pt x="2943" y="1186"/>
                </a:cubicBezTo>
                <a:cubicBezTo>
                  <a:pt x="2943" y="1189"/>
                  <a:pt x="2943" y="1189"/>
                  <a:pt x="2943" y="1189"/>
                </a:cubicBezTo>
                <a:cubicBezTo>
                  <a:pt x="2943" y="1193"/>
                  <a:pt x="2943" y="1193"/>
                  <a:pt x="2943" y="1193"/>
                </a:cubicBezTo>
                <a:cubicBezTo>
                  <a:pt x="2944" y="1195"/>
                  <a:pt x="2944" y="1195"/>
                  <a:pt x="2944" y="1195"/>
                </a:cubicBezTo>
                <a:cubicBezTo>
                  <a:pt x="2944" y="1198"/>
                  <a:pt x="2944" y="1198"/>
                  <a:pt x="2944" y="1198"/>
                </a:cubicBezTo>
                <a:cubicBezTo>
                  <a:pt x="2942" y="1200"/>
                  <a:pt x="2942" y="1200"/>
                  <a:pt x="2942" y="1200"/>
                </a:cubicBezTo>
                <a:cubicBezTo>
                  <a:pt x="2942" y="1202"/>
                  <a:pt x="2942" y="1202"/>
                  <a:pt x="2942" y="1202"/>
                </a:cubicBezTo>
                <a:cubicBezTo>
                  <a:pt x="2940" y="1206"/>
                  <a:pt x="2940" y="1206"/>
                  <a:pt x="2940" y="1206"/>
                </a:cubicBezTo>
                <a:cubicBezTo>
                  <a:pt x="2939" y="1211"/>
                  <a:pt x="2939" y="1211"/>
                  <a:pt x="2939" y="1211"/>
                </a:cubicBezTo>
                <a:cubicBezTo>
                  <a:pt x="2937" y="1213"/>
                  <a:pt x="2937" y="1213"/>
                  <a:pt x="2937" y="1213"/>
                </a:cubicBezTo>
                <a:cubicBezTo>
                  <a:pt x="2938" y="1216"/>
                  <a:pt x="2938" y="1216"/>
                  <a:pt x="2938" y="1216"/>
                </a:cubicBezTo>
                <a:cubicBezTo>
                  <a:pt x="2937" y="1219"/>
                  <a:pt x="2937" y="1219"/>
                  <a:pt x="2937" y="1219"/>
                </a:cubicBezTo>
                <a:cubicBezTo>
                  <a:pt x="2935" y="1221"/>
                  <a:pt x="2935" y="1221"/>
                  <a:pt x="2935" y="1221"/>
                </a:cubicBezTo>
                <a:cubicBezTo>
                  <a:pt x="2935" y="1224"/>
                  <a:pt x="2935" y="1224"/>
                  <a:pt x="2935" y="1224"/>
                </a:cubicBezTo>
                <a:cubicBezTo>
                  <a:pt x="2932" y="1227"/>
                  <a:pt x="2932" y="1227"/>
                  <a:pt x="2932" y="1227"/>
                </a:cubicBezTo>
                <a:cubicBezTo>
                  <a:pt x="2925" y="1229"/>
                  <a:pt x="2925" y="1229"/>
                  <a:pt x="2925" y="1229"/>
                </a:cubicBezTo>
                <a:cubicBezTo>
                  <a:pt x="2923" y="1227"/>
                  <a:pt x="2923" y="1227"/>
                  <a:pt x="2923" y="1227"/>
                </a:cubicBezTo>
                <a:cubicBezTo>
                  <a:pt x="2920" y="1227"/>
                  <a:pt x="2920" y="1227"/>
                  <a:pt x="2920" y="1227"/>
                </a:cubicBezTo>
                <a:cubicBezTo>
                  <a:pt x="2919" y="1225"/>
                  <a:pt x="2919" y="1225"/>
                  <a:pt x="2919" y="1225"/>
                </a:cubicBezTo>
                <a:cubicBezTo>
                  <a:pt x="2916" y="1223"/>
                  <a:pt x="2916" y="1223"/>
                  <a:pt x="2916" y="1223"/>
                </a:cubicBezTo>
                <a:cubicBezTo>
                  <a:pt x="2916" y="1222"/>
                  <a:pt x="2916" y="1222"/>
                  <a:pt x="2916" y="1222"/>
                </a:cubicBezTo>
                <a:cubicBezTo>
                  <a:pt x="2915" y="1221"/>
                  <a:pt x="2915" y="1221"/>
                  <a:pt x="2915" y="1221"/>
                </a:cubicBezTo>
                <a:cubicBezTo>
                  <a:pt x="2915" y="1219"/>
                  <a:pt x="2915" y="1219"/>
                  <a:pt x="2915" y="1219"/>
                </a:cubicBezTo>
                <a:cubicBezTo>
                  <a:pt x="2912" y="1219"/>
                  <a:pt x="2912" y="1219"/>
                  <a:pt x="2912" y="1219"/>
                </a:cubicBezTo>
                <a:cubicBezTo>
                  <a:pt x="2910" y="1218"/>
                  <a:pt x="2910" y="1218"/>
                  <a:pt x="2910" y="1218"/>
                </a:cubicBezTo>
                <a:cubicBezTo>
                  <a:pt x="2907" y="1218"/>
                  <a:pt x="2907" y="1218"/>
                  <a:pt x="2907" y="1218"/>
                </a:cubicBezTo>
                <a:cubicBezTo>
                  <a:pt x="2904" y="1216"/>
                  <a:pt x="2904" y="1216"/>
                  <a:pt x="2904" y="1216"/>
                </a:cubicBezTo>
                <a:cubicBezTo>
                  <a:pt x="2904" y="1214"/>
                  <a:pt x="2904" y="1214"/>
                  <a:pt x="2904" y="1214"/>
                </a:cubicBezTo>
                <a:cubicBezTo>
                  <a:pt x="2902" y="1211"/>
                  <a:pt x="2902" y="1211"/>
                  <a:pt x="2902" y="1211"/>
                </a:cubicBezTo>
                <a:cubicBezTo>
                  <a:pt x="2899" y="1211"/>
                  <a:pt x="2899" y="1211"/>
                  <a:pt x="2899" y="1211"/>
                </a:cubicBezTo>
                <a:cubicBezTo>
                  <a:pt x="2897" y="1209"/>
                  <a:pt x="2897" y="1209"/>
                  <a:pt x="2897" y="1209"/>
                </a:cubicBezTo>
                <a:cubicBezTo>
                  <a:pt x="2896" y="1208"/>
                  <a:pt x="2896" y="1208"/>
                  <a:pt x="2896" y="1208"/>
                </a:cubicBezTo>
                <a:cubicBezTo>
                  <a:pt x="2895" y="1208"/>
                  <a:pt x="2895" y="1208"/>
                  <a:pt x="2895" y="1208"/>
                </a:cubicBezTo>
                <a:cubicBezTo>
                  <a:pt x="2894" y="1207"/>
                  <a:pt x="2894" y="1207"/>
                  <a:pt x="2894" y="1207"/>
                </a:cubicBezTo>
                <a:cubicBezTo>
                  <a:pt x="2892" y="1207"/>
                  <a:pt x="2892" y="1207"/>
                  <a:pt x="2892" y="1207"/>
                </a:cubicBezTo>
                <a:cubicBezTo>
                  <a:pt x="2890" y="1207"/>
                  <a:pt x="2890" y="1207"/>
                  <a:pt x="2890" y="1207"/>
                </a:cubicBezTo>
                <a:cubicBezTo>
                  <a:pt x="2890" y="1206"/>
                  <a:pt x="2890" y="1206"/>
                  <a:pt x="2890" y="1206"/>
                </a:cubicBezTo>
                <a:cubicBezTo>
                  <a:pt x="2888" y="1204"/>
                  <a:pt x="2888" y="1204"/>
                  <a:pt x="2888" y="1204"/>
                </a:cubicBezTo>
                <a:cubicBezTo>
                  <a:pt x="2887" y="1202"/>
                  <a:pt x="2887" y="1202"/>
                  <a:pt x="2887" y="1202"/>
                </a:cubicBezTo>
                <a:cubicBezTo>
                  <a:pt x="2885" y="1199"/>
                  <a:pt x="2885" y="1199"/>
                  <a:pt x="2885" y="1199"/>
                </a:cubicBezTo>
                <a:cubicBezTo>
                  <a:pt x="2883" y="1199"/>
                  <a:pt x="2883" y="1199"/>
                  <a:pt x="2883" y="1199"/>
                </a:cubicBezTo>
                <a:cubicBezTo>
                  <a:pt x="2881" y="1196"/>
                  <a:pt x="2881" y="1196"/>
                  <a:pt x="2881" y="1196"/>
                </a:cubicBezTo>
                <a:cubicBezTo>
                  <a:pt x="2881" y="1194"/>
                  <a:pt x="2881" y="1194"/>
                  <a:pt x="2881" y="1194"/>
                </a:cubicBezTo>
                <a:cubicBezTo>
                  <a:pt x="2883" y="1191"/>
                  <a:pt x="2883" y="1191"/>
                  <a:pt x="2883" y="1191"/>
                </a:cubicBezTo>
                <a:cubicBezTo>
                  <a:pt x="2883" y="1188"/>
                  <a:pt x="2883" y="1188"/>
                  <a:pt x="2883" y="1188"/>
                </a:cubicBezTo>
                <a:cubicBezTo>
                  <a:pt x="2885" y="1187"/>
                  <a:pt x="2885" y="1187"/>
                  <a:pt x="2885" y="1187"/>
                </a:cubicBezTo>
                <a:cubicBezTo>
                  <a:pt x="2886" y="1184"/>
                  <a:pt x="2886" y="1184"/>
                  <a:pt x="2886" y="1184"/>
                </a:cubicBezTo>
                <a:cubicBezTo>
                  <a:pt x="2887" y="1182"/>
                  <a:pt x="2887" y="1182"/>
                  <a:pt x="2887" y="1182"/>
                </a:cubicBezTo>
                <a:cubicBezTo>
                  <a:pt x="2885" y="1184"/>
                  <a:pt x="2885" y="1184"/>
                  <a:pt x="2885" y="1184"/>
                </a:cubicBezTo>
                <a:cubicBezTo>
                  <a:pt x="2883" y="1181"/>
                  <a:pt x="2883" y="1181"/>
                  <a:pt x="2883" y="1181"/>
                </a:cubicBezTo>
                <a:cubicBezTo>
                  <a:pt x="2886" y="1179"/>
                  <a:pt x="2886" y="1179"/>
                  <a:pt x="2886" y="1179"/>
                </a:cubicBezTo>
                <a:cubicBezTo>
                  <a:pt x="2885" y="1177"/>
                  <a:pt x="2885" y="1177"/>
                  <a:pt x="2885" y="1177"/>
                </a:cubicBezTo>
                <a:cubicBezTo>
                  <a:pt x="2886" y="1177"/>
                  <a:pt x="2886" y="1177"/>
                  <a:pt x="2886" y="1177"/>
                </a:cubicBezTo>
                <a:cubicBezTo>
                  <a:pt x="2887" y="1177"/>
                  <a:pt x="2887" y="1177"/>
                  <a:pt x="2887" y="1177"/>
                </a:cubicBezTo>
                <a:cubicBezTo>
                  <a:pt x="2888" y="1178"/>
                  <a:pt x="2888" y="1178"/>
                  <a:pt x="2888" y="1178"/>
                </a:cubicBezTo>
                <a:cubicBezTo>
                  <a:pt x="2890" y="1178"/>
                  <a:pt x="2890" y="1178"/>
                  <a:pt x="2890" y="1178"/>
                </a:cubicBezTo>
                <a:cubicBezTo>
                  <a:pt x="2892" y="1177"/>
                  <a:pt x="2892" y="1177"/>
                  <a:pt x="2892" y="1177"/>
                </a:cubicBezTo>
                <a:cubicBezTo>
                  <a:pt x="2893" y="1175"/>
                  <a:pt x="2893" y="1175"/>
                  <a:pt x="2893" y="1175"/>
                </a:cubicBezTo>
                <a:cubicBezTo>
                  <a:pt x="2891" y="1173"/>
                  <a:pt x="2891" y="1173"/>
                  <a:pt x="2891" y="1173"/>
                </a:cubicBezTo>
                <a:cubicBezTo>
                  <a:pt x="2893" y="1172"/>
                  <a:pt x="2893" y="1172"/>
                  <a:pt x="2893" y="1172"/>
                </a:cubicBezTo>
                <a:cubicBezTo>
                  <a:pt x="2894" y="1172"/>
                  <a:pt x="2894" y="1172"/>
                  <a:pt x="2894" y="1172"/>
                </a:cubicBezTo>
                <a:cubicBezTo>
                  <a:pt x="2895" y="1169"/>
                  <a:pt x="2895" y="1169"/>
                  <a:pt x="2895" y="1169"/>
                </a:cubicBezTo>
                <a:cubicBezTo>
                  <a:pt x="2897" y="1168"/>
                  <a:pt x="2897" y="1168"/>
                  <a:pt x="2897" y="1168"/>
                </a:cubicBezTo>
                <a:cubicBezTo>
                  <a:pt x="2898" y="1166"/>
                  <a:pt x="2898" y="1166"/>
                  <a:pt x="2898" y="1166"/>
                </a:cubicBezTo>
                <a:cubicBezTo>
                  <a:pt x="2898" y="1165"/>
                  <a:pt x="2898" y="1165"/>
                  <a:pt x="2898" y="1165"/>
                </a:cubicBezTo>
                <a:cubicBezTo>
                  <a:pt x="2896" y="1164"/>
                  <a:pt x="2896" y="1164"/>
                  <a:pt x="2896" y="1164"/>
                </a:cubicBezTo>
                <a:cubicBezTo>
                  <a:pt x="2895" y="1166"/>
                  <a:pt x="2895" y="1166"/>
                  <a:pt x="2895" y="1166"/>
                </a:cubicBezTo>
                <a:cubicBezTo>
                  <a:pt x="2893" y="1165"/>
                  <a:pt x="2893" y="1165"/>
                  <a:pt x="2893" y="1165"/>
                </a:cubicBezTo>
                <a:cubicBezTo>
                  <a:pt x="2893" y="1162"/>
                  <a:pt x="2893" y="1162"/>
                  <a:pt x="2893" y="1162"/>
                </a:cubicBezTo>
                <a:cubicBezTo>
                  <a:pt x="2891" y="1163"/>
                  <a:pt x="2891" y="1163"/>
                  <a:pt x="2891" y="1163"/>
                </a:cubicBezTo>
                <a:cubicBezTo>
                  <a:pt x="2889" y="1166"/>
                  <a:pt x="2889" y="1166"/>
                  <a:pt x="2889" y="1166"/>
                </a:cubicBezTo>
                <a:cubicBezTo>
                  <a:pt x="2890" y="1166"/>
                  <a:pt x="2890" y="1166"/>
                  <a:pt x="2890" y="1166"/>
                </a:cubicBezTo>
                <a:cubicBezTo>
                  <a:pt x="2890" y="1167"/>
                  <a:pt x="2890" y="1167"/>
                  <a:pt x="2890" y="1167"/>
                </a:cubicBezTo>
                <a:cubicBezTo>
                  <a:pt x="2889" y="1168"/>
                  <a:pt x="2889" y="1168"/>
                  <a:pt x="2889" y="1168"/>
                </a:cubicBezTo>
                <a:cubicBezTo>
                  <a:pt x="2887" y="1167"/>
                  <a:pt x="2887" y="1167"/>
                  <a:pt x="2887" y="1167"/>
                </a:cubicBezTo>
                <a:cubicBezTo>
                  <a:pt x="2887" y="1166"/>
                  <a:pt x="2887" y="1166"/>
                  <a:pt x="2887" y="1166"/>
                </a:cubicBezTo>
                <a:cubicBezTo>
                  <a:pt x="2886" y="1165"/>
                  <a:pt x="2886" y="1165"/>
                  <a:pt x="2886" y="1165"/>
                </a:cubicBezTo>
                <a:cubicBezTo>
                  <a:pt x="2885" y="1166"/>
                  <a:pt x="2885" y="1166"/>
                  <a:pt x="2885" y="1166"/>
                </a:cubicBezTo>
                <a:cubicBezTo>
                  <a:pt x="2884" y="1167"/>
                  <a:pt x="2884" y="1167"/>
                  <a:pt x="2884" y="1167"/>
                </a:cubicBezTo>
                <a:cubicBezTo>
                  <a:pt x="2884" y="1165"/>
                  <a:pt x="2884" y="1165"/>
                  <a:pt x="2884" y="1165"/>
                </a:cubicBezTo>
                <a:cubicBezTo>
                  <a:pt x="2885" y="1164"/>
                  <a:pt x="2885" y="1164"/>
                  <a:pt x="2885" y="1164"/>
                </a:cubicBezTo>
                <a:cubicBezTo>
                  <a:pt x="2885" y="1163"/>
                  <a:pt x="2885" y="1163"/>
                  <a:pt x="2885" y="1163"/>
                </a:cubicBezTo>
                <a:cubicBezTo>
                  <a:pt x="2884" y="1164"/>
                  <a:pt x="2884" y="1164"/>
                  <a:pt x="2884" y="1164"/>
                </a:cubicBezTo>
                <a:cubicBezTo>
                  <a:pt x="2883" y="1165"/>
                  <a:pt x="2883" y="1165"/>
                  <a:pt x="2883" y="1165"/>
                </a:cubicBezTo>
                <a:cubicBezTo>
                  <a:pt x="2880" y="1166"/>
                  <a:pt x="2880" y="1166"/>
                  <a:pt x="2880" y="1166"/>
                </a:cubicBezTo>
                <a:cubicBezTo>
                  <a:pt x="2880" y="1167"/>
                  <a:pt x="2880" y="1167"/>
                  <a:pt x="2880" y="1167"/>
                </a:cubicBezTo>
                <a:cubicBezTo>
                  <a:pt x="2879" y="1167"/>
                  <a:pt x="2879" y="1167"/>
                  <a:pt x="2879" y="1167"/>
                </a:cubicBezTo>
                <a:cubicBezTo>
                  <a:pt x="2878" y="1166"/>
                  <a:pt x="2878" y="1166"/>
                  <a:pt x="2878" y="1166"/>
                </a:cubicBezTo>
                <a:cubicBezTo>
                  <a:pt x="2876" y="1166"/>
                  <a:pt x="2876" y="1166"/>
                  <a:pt x="2876" y="1166"/>
                </a:cubicBezTo>
                <a:cubicBezTo>
                  <a:pt x="2876" y="1165"/>
                  <a:pt x="2876" y="1165"/>
                  <a:pt x="2876" y="1165"/>
                </a:cubicBezTo>
                <a:cubicBezTo>
                  <a:pt x="2875" y="1163"/>
                  <a:pt x="2875" y="1163"/>
                  <a:pt x="2875" y="1163"/>
                </a:cubicBezTo>
                <a:cubicBezTo>
                  <a:pt x="2874" y="1163"/>
                  <a:pt x="2874" y="1163"/>
                  <a:pt x="2874" y="1163"/>
                </a:cubicBezTo>
                <a:cubicBezTo>
                  <a:pt x="2872" y="1164"/>
                  <a:pt x="2872" y="1164"/>
                  <a:pt x="2872" y="1164"/>
                </a:cubicBezTo>
                <a:cubicBezTo>
                  <a:pt x="2870" y="1163"/>
                  <a:pt x="2870" y="1163"/>
                  <a:pt x="2870" y="1163"/>
                </a:cubicBezTo>
                <a:cubicBezTo>
                  <a:pt x="2869" y="1164"/>
                  <a:pt x="2869" y="1164"/>
                  <a:pt x="2869" y="1164"/>
                </a:cubicBezTo>
                <a:cubicBezTo>
                  <a:pt x="2868" y="1162"/>
                  <a:pt x="2868" y="1162"/>
                  <a:pt x="2868" y="1162"/>
                </a:cubicBezTo>
                <a:cubicBezTo>
                  <a:pt x="2867" y="1162"/>
                  <a:pt x="2867" y="1162"/>
                  <a:pt x="2867" y="1162"/>
                </a:cubicBezTo>
                <a:cubicBezTo>
                  <a:pt x="2866" y="1160"/>
                  <a:pt x="2866" y="1160"/>
                  <a:pt x="2866" y="1160"/>
                </a:cubicBezTo>
                <a:cubicBezTo>
                  <a:pt x="2864" y="1161"/>
                  <a:pt x="2864" y="1161"/>
                  <a:pt x="2864" y="1161"/>
                </a:cubicBezTo>
                <a:cubicBezTo>
                  <a:pt x="2861" y="1161"/>
                  <a:pt x="2861" y="1161"/>
                  <a:pt x="2861" y="1161"/>
                </a:cubicBezTo>
                <a:cubicBezTo>
                  <a:pt x="2859" y="1160"/>
                  <a:pt x="2859" y="1160"/>
                  <a:pt x="2859" y="1160"/>
                </a:cubicBezTo>
                <a:cubicBezTo>
                  <a:pt x="2859" y="1158"/>
                  <a:pt x="2859" y="1158"/>
                  <a:pt x="2859" y="1158"/>
                </a:cubicBezTo>
                <a:cubicBezTo>
                  <a:pt x="2858" y="1156"/>
                  <a:pt x="2858" y="1156"/>
                  <a:pt x="2858" y="1156"/>
                </a:cubicBezTo>
                <a:cubicBezTo>
                  <a:pt x="2857" y="1156"/>
                  <a:pt x="2857" y="1156"/>
                  <a:pt x="2857" y="1156"/>
                </a:cubicBezTo>
                <a:cubicBezTo>
                  <a:pt x="2857" y="1157"/>
                  <a:pt x="2857" y="1157"/>
                  <a:pt x="2857" y="1157"/>
                </a:cubicBezTo>
                <a:cubicBezTo>
                  <a:pt x="2854" y="1158"/>
                  <a:pt x="2854" y="1158"/>
                  <a:pt x="2854" y="1158"/>
                </a:cubicBezTo>
                <a:cubicBezTo>
                  <a:pt x="2853" y="1156"/>
                  <a:pt x="2853" y="1156"/>
                  <a:pt x="2853" y="1156"/>
                </a:cubicBezTo>
                <a:cubicBezTo>
                  <a:pt x="2852" y="1156"/>
                  <a:pt x="2852" y="1156"/>
                  <a:pt x="2852" y="1156"/>
                </a:cubicBezTo>
                <a:cubicBezTo>
                  <a:pt x="2849" y="1154"/>
                  <a:pt x="2849" y="1154"/>
                  <a:pt x="2849" y="1154"/>
                </a:cubicBezTo>
                <a:cubicBezTo>
                  <a:pt x="2848" y="1155"/>
                  <a:pt x="2848" y="1155"/>
                  <a:pt x="2848" y="1155"/>
                </a:cubicBezTo>
                <a:cubicBezTo>
                  <a:pt x="2847" y="1154"/>
                  <a:pt x="2847" y="1154"/>
                  <a:pt x="2847" y="1154"/>
                </a:cubicBezTo>
                <a:cubicBezTo>
                  <a:pt x="2845" y="1155"/>
                  <a:pt x="2845" y="1155"/>
                  <a:pt x="2845" y="1155"/>
                </a:cubicBezTo>
                <a:cubicBezTo>
                  <a:pt x="2847" y="1157"/>
                  <a:pt x="2847" y="1157"/>
                  <a:pt x="2847" y="1157"/>
                </a:cubicBezTo>
                <a:cubicBezTo>
                  <a:pt x="2847" y="1157"/>
                  <a:pt x="2847" y="1157"/>
                  <a:pt x="2847" y="1157"/>
                </a:cubicBezTo>
                <a:cubicBezTo>
                  <a:pt x="2849" y="1158"/>
                  <a:pt x="2849" y="1158"/>
                  <a:pt x="2849" y="1158"/>
                </a:cubicBezTo>
                <a:cubicBezTo>
                  <a:pt x="2850" y="1157"/>
                  <a:pt x="2850" y="1157"/>
                  <a:pt x="2850" y="1157"/>
                </a:cubicBezTo>
                <a:cubicBezTo>
                  <a:pt x="2853" y="1160"/>
                  <a:pt x="2853" y="1160"/>
                  <a:pt x="2853" y="1160"/>
                </a:cubicBezTo>
                <a:cubicBezTo>
                  <a:pt x="2853" y="1161"/>
                  <a:pt x="2853" y="1161"/>
                  <a:pt x="2853" y="1161"/>
                </a:cubicBezTo>
                <a:cubicBezTo>
                  <a:pt x="2854" y="1164"/>
                  <a:pt x="2854" y="1164"/>
                  <a:pt x="2854" y="1164"/>
                </a:cubicBezTo>
                <a:cubicBezTo>
                  <a:pt x="2852" y="1164"/>
                  <a:pt x="2852" y="1164"/>
                  <a:pt x="2852" y="1164"/>
                </a:cubicBezTo>
                <a:cubicBezTo>
                  <a:pt x="2851" y="1167"/>
                  <a:pt x="2851" y="1167"/>
                  <a:pt x="2851" y="1167"/>
                </a:cubicBezTo>
                <a:cubicBezTo>
                  <a:pt x="2850" y="1165"/>
                  <a:pt x="2850" y="1165"/>
                  <a:pt x="2850" y="1165"/>
                </a:cubicBezTo>
                <a:cubicBezTo>
                  <a:pt x="2849" y="1165"/>
                  <a:pt x="2849" y="1165"/>
                  <a:pt x="2849" y="1165"/>
                </a:cubicBezTo>
                <a:cubicBezTo>
                  <a:pt x="2847" y="1166"/>
                  <a:pt x="2847" y="1166"/>
                  <a:pt x="2847" y="1166"/>
                </a:cubicBezTo>
                <a:cubicBezTo>
                  <a:pt x="2841" y="1166"/>
                  <a:pt x="2841" y="1166"/>
                  <a:pt x="2841" y="1166"/>
                </a:cubicBezTo>
                <a:cubicBezTo>
                  <a:pt x="2839" y="1164"/>
                  <a:pt x="2839" y="1164"/>
                  <a:pt x="2839" y="1164"/>
                </a:cubicBezTo>
                <a:cubicBezTo>
                  <a:pt x="2839" y="1165"/>
                  <a:pt x="2839" y="1165"/>
                  <a:pt x="2839" y="1165"/>
                </a:cubicBezTo>
                <a:cubicBezTo>
                  <a:pt x="2836" y="1166"/>
                  <a:pt x="2836" y="1166"/>
                  <a:pt x="2836" y="1166"/>
                </a:cubicBezTo>
                <a:cubicBezTo>
                  <a:pt x="2837" y="1168"/>
                  <a:pt x="2837" y="1168"/>
                  <a:pt x="2837" y="1168"/>
                </a:cubicBezTo>
                <a:cubicBezTo>
                  <a:pt x="2835" y="1167"/>
                  <a:pt x="2835" y="1167"/>
                  <a:pt x="2835" y="1167"/>
                </a:cubicBezTo>
                <a:cubicBezTo>
                  <a:pt x="2835" y="1170"/>
                  <a:pt x="2835" y="1170"/>
                  <a:pt x="2835" y="1170"/>
                </a:cubicBezTo>
                <a:cubicBezTo>
                  <a:pt x="2835" y="1169"/>
                  <a:pt x="2835" y="1169"/>
                  <a:pt x="2835" y="1169"/>
                </a:cubicBezTo>
                <a:cubicBezTo>
                  <a:pt x="2832" y="1168"/>
                  <a:pt x="2832" y="1168"/>
                  <a:pt x="2832" y="1168"/>
                </a:cubicBezTo>
                <a:cubicBezTo>
                  <a:pt x="2831" y="1170"/>
                  <a:pt x="2831" y="1170"/>
                  <a:pt x="2831" y="1170"/>
                </a:cubicBezTo>
                <a:cubicBezTo>
                  <a:pt x="2832" y="1171"/>
                  <a:pt x="2832" y="1171"/>
                  <a:pt x="2832" y="1171"/>
                </a:cubicBezTo>
                <a:cubicBezTo>
                  <a:pt x="2832" y="1172"/>
                  <a:pt x="2832" y="1172"/>
                  <a:pt x="2832" y="1172"/>
                </a:cubicBezTo>
                <a:cubicBezTo>
                  <a:pt x="2830" y="1171"/>
                  <a:pt x="2830" y="1171"/>
                  <a:pt x="2830" y="1171"/>
                </a:cubicBezTo>
                <a:cubicBezTo>
                  <a:pt x="2828" y="1172"/>
                  <a:pt x="2828" y="1172"/>
                  <a:pt x="2828" y="1172"/>
                </a:cubicBezTo>
                <a:cubicBezTo>
                  <a:pt x="2829" y="1173"/>
                  <a:pt x="2829" y="1173"/>
                  <a:pt x="2829" y="1173"/>
                </a:cubicBezTo>
                <a:cubicBezTo>
                  <a:pt x="2828" y="1174"/>
                  <a:pt x="2828" y="1174"/>
                  <a:pt x="2828" y="1174"/>
                </a:cubicBezTo>
                <a:cubicBezTo>
                  <a:pt x="2827" y="1175"/>
                  <a:pt x="2827" y="1175"/>
                  <a:pt x="2827" y="1175"/>
                </a:cubicBezTo>
                <a:cubicBezTo>
                  <a:pt x="2827" y="1176"/>
                  <a:pt x="2827" y="1176"/>
                  <a:pt x="2827" y="1176"/>
                </a:cubicBezTo>
                <a:cubicBezTo>
                  <a:pt x="2828" y="1178"/>
                  <a:pt x="2828" y="1178"/>
                  <a:pt x="2828" y="1178"/>
                </a:cubicBezTo>
                <a:cubicBezTo>
                  <a:pt x="2829" y="1179"/>
                  <a:pt x="2829" y="1179"/>
                  <a:pt x="2829" y="1179"/>
                </a:cubicBezTo>
                <a:cubicBezTo>
                  <a:pt x="2827" y="1178"/>
                  <a:pt x="2827" y="1178"/>
                  <a:pt x="2827" y="1178"/>
                </a:cubicBezTo>
                <a:cubicBezTo>
                  <a:pt x="2825" y="1179"/>
                  <a:pt x="2825" y="1179"/>
                  <a:pt x="2825" y="1179"/>
                </a:cubicBezTo>
                <a:cubicBezTo>
                  <a:pt x="2824" y="1179"/>
                  <a:pt x="2824" y="1179"/>
                  <a:pt x="2824" y="1179"/>
                </a:cubicBezTo>
                <a:cubicBezTo>
                  <a:pt x="2822" y="1182"/>
                  <a:pt x="2822" y="1182"/>
                  <a:pt x="2822" y="1182"/>
                </a:cubicBezTo>
                <a:cubicBezTo>
                  <a:pt x="2820" y="1185"/>
                  <a:pt x="2820" y="1185"/>
                  <a:pt x="2820" y="1185"/>
                </a:cubicBezTo>
                <a:cubicBezTo>
                  <a:pt x="2819" y="1186"/>
                  <a:pt x="2819" y="1186"/>
                  <a:pt x="2819" y="1186"/>
                </a:cubicBezTo>
                <a:cubicBezTo>
                  <a:pt x="2818" y="1188"/>
                  <a:pt x="2818" y="1188"/>
                  <a:pt x="2818" y="1188"/>
                </a:cubicBezTo>
                <a:cubicBezTo>
                  <a:pt x="2817" y="1189"/>
                  <a:pt x="2817" y="1189"/>
                  <a:pt x="2817" y="1189"/>
                </a:cubicBezTo>
                <a:cubicBezTo>
                  <a:pt x="2818" y="1191"/>
                  <a:pt x="2818" y="1191"/>
                  <a:pt x="2818" y="1191"/>
                </a:cubicBezTo>
                <a:cubicBezTo>
                  <a:pt x="2822" y="1191"/>
                  <a:pt x="2822" y="1191"/>
                  <a:pt x="2822" y="1191"/>
                </a:cubicBezTo>
                <a:cubicBezTo>
                  <a:pt x="2820" y="1192"/>
                  <a:pt x="2820" y="1192"/>
                  <a:pt x="2820" y="1192"/>
                </a:cubicBezTo>
                <a:cubicBezTo>
                  <a:pt x="2819" y="1193"/>
                  <a:pt x="2819" y="1193"/>
                  <a:pt x="2819" y="1193"/>
                </a:cubicBezTo>
                <a:cubicBezTo>
                  <a:pt x="2824" y="1194"/>
                  <a:pt x="2824" y="1194"/>
                  <a:pt x="2824" y="1194"/>
                </a:cubicBezTo>
                <a:cubicBezTo>
                  <a:pt x="2822" y="1195"/>
                  <a:pt x="2822" y="1195"/>
                  <a:pt x="2822" y="1195"/>
                </a:cubicBezTo>
                <a:cubicBezTo>
                  <a:pt x="2819" y="1195"/>
                  <a:pt x="2819" y="1195"/>
                  <a:pt x="2819" y="1195"/>
                </a:cubicBezTo>
                <a:cubicBezTo>
                  <a:pt x="2819" y="1194"/>
                  <a:pt x="2819" y="1194"/>
                  <a:pt x="2819" y="1194"/>
                </a:cubicBezTo>
                <a:cubicBezTo>
                  <a:pt x="2819" y="1195"/>
                  <a:pt x="2819" y="1195"/>
                  <a:pt x="2819" y="1195"/>
                </a:cubicBezTo>
                <a:cubicBezTo>
                  <a:pt x="2820" y="1196"/>
                  <a:pt x="2820" y="1196"/>
                  <a:pt x="2820" y="1196"/>
                </a:cubicBezTo>
                <a:cubicBezTo>
                  <a:pt x="2820" y="1198"/>
                  <a:pt x="2820" y="1198"/>
                  <a:pt x="2820" y="1198"/>
                </a:cubicBezTo>
                <a:cubicBezTo>
                  <a:pt x="2822" y="1201"/>
                  <a:pt x="2822" y="1201"/>
                  <a:pt x="2822" y="1201"/>
                </a:cubicBezTo>
                <a:cubicBezTo>
                  <a:pt x="2819" y="1199"/>
                  <a:pt x="2819" y="1199"/>
                  <a:pt x="2819" y="1199"/>
                </a:cubicBezTo>
                <a:cubicBezTo>
                  <a:pt x="2818" y="1196"/>
                  <a:pt x="2818" y="1196"/>
                  <a:pt x="2818" y="1196"/>
                </a:cubicBezTo>
                <a:cubicBezTo>
                  <a:pt x="2816" y="1195"/>
                  <a:pt x="2816" y="1195"/>
                  <a:pt x="2816" y="1195"/>
                </a:cubicBezTo>
                <a:cubicBezTo>
                  <a:pt x="2816" y="1197"/>
                  <a:pt x="2816" y="1197"/>
                  <a:pt x="2816" y="1197"/>
                </a:cubicBezTo>
                <a:cubicBezTo>
                  <a:pt x="2815" y="1198"/>
                  <a:pt x="2815" y="1198"/>
                  <a:pt x="2815" y="1198"/>
                </a:cubicBezTo>
                <a:cubicBezTo>
                  <a:pt x="2815" y="1196"/>
                  <a:pt x="2815" y="1196"/>
                  <a:pt x="2815" y="1196"/>
                </a:cubicBezTo>
                <a:cubicBezTo>
                  <a:pt x="2811" y="1194"/>
                  <a:pt x="2811" y="1194"/>
                  <a:pt x="2811" y="1194"/>
                </a:cubicBezTo>
                <a:cubicBezTo>
                  <a:pt x="2807" y="1194"/>
                  <a:pt x="2807" y="1194"/>
                  <a:pt x="2807" y="1194"/>
                </a:cubicBezTo>
                <a:cubicBezTo>
                  <a:pt x="2808" y="1195"/>
                  <a:pt x="2808" y="1195"/>
                  <a:pt x="2808" y="1195"/>
                </a:cubicBezTo>
                <a:cubicBezTo>
                  <a:pt x="2807" y="1197"/>
                  <a:pt x="2807" y="1197"/>
                  <a:pt x="2807" y="1197"/>
                </a:cubicBezTo>
                <a:cubicBezTo>
                  <a:pt x="2806" y="1196"/>
                  <a:pt x="2806" y="1196"/>
                  <a:pt x="2806" y="1196"/>
                </a:cubicBezTo>
                <a:cubicBezTo>
                  <a:pt x="2805" y="1196"/>
                  <a:pt x="2805" y="1196"/>
                  <a:pt x="2805" y="1196"/>
                </a:cubicBezTo>
                <a:cubicBezTo>
                  <a:pt x="2804" y="1197"/>
                  <a:pt x="2804" y="1197"/>
                  <a:pt x="2804" y="1197"/>
                </a:cubicBezTo>
                <a:cubicBezTo>
                  <a:pt x="2806" y="1199"/>
                  <a:pt x="2806" y="1199"/>
                  <a:pt x="2806" y="1199"/>
                </a:cubicBezTo>
                <a:cubicBezTo>
                  <a:pt x="2806" y="1200"/>
                  <a:pt x="2806" y="1200"/>
                  <a:pt x="2806" y="1200"/>
                </a:cubicBezTo>
                <a:cubicBezTo>
                  <a:pt x="2805" y="1199"/>
                  <a:pt x="2805" y="1199"/>
                  <a:pt x="2805" y="1199"/>
                </a:cubicBezTo>
                <a:cubicBezTo>
                  <a:pt x="2804" y="1199"/>
                  <a:pt x="2804" y="1199"/>
                  <a:pt x="2804" y="1199"/>
                </a:cubicBezTo>
                <a:cubicBezTo>
                  <a:pt x="2804" y="1200"/>
                  <a:pt x="2804" y="1200"/>
                  <a:pt x="2804" y="1200"/>
                </a:cubicBezTo>
                <a:cubicBezTo>
                  <a:pt x="2802" y="1201"/>
                  <a:pt x="2802" y="1201"/>
                  <a:pt x="2802" y="1201"/>
                </a:cubicBezTo>
                <a:cubicBezTo>
                  <a:pt x="2799" y="1202"/>
                  <a:pt x="2799" y="1202"/>
                  <a:pt x="2799" y="1202"/>
                </a:cubicBezTo>
                <a:cubicBezTo>
                  <a:pt x="2802" y="1201"/>
                  <a:pt x="2802" y="1201"/>
                  <a:pt x="2802" y="1201"/>
                </a:cubicBezTo>
                <a:cubicBezTo>
                  <a:pt x="2803" y="1199"/>
                  <a:pt x="2803" y="1199"/>
                  <a:pt x="2803" y="1199"/>
                </a:cubicBezTo>
                <a:cubicBezTo>
                  <a:pt x="2803" y="1196"/>
                  <a:pt x="2803" y="1196"/>
                  <a:pt x="2803" y="1196"/>
                </a:cubicBezTo>
                <a:cubicBezTo>
                  <a:pt x="2805" y="1194"/>
                  <a:pt x="2805" y="1194"/>
                  <a:pt x="2805" y="1194"/>
                </a:cubicBezTo>
                <a:cubicBezTo>
                  <a:pt x="2804" y="1192"/>
                  <a:pt x="2804" y="1192"/>
                  <a:pt x="2804" y="1192"/>
                </a:cubicBezTo>
                <a:cubicBezTo>
                  <a:pt x="2802" y="1192"/>
                  <a:pt x="2802" y="1192"/>
                  <a:pt x="2802" y="1192"/>
                </a:cubicBezTo>
                <a:cubicBezTo>
                  <a:pt x="2799" y="1187"/>
                  <a:pt x="2799" y="1187"/>
                  <a:pt x="2799" y="1187"/>
                </a:cubicBezTo>
                <a:cubicBezTo>
                  <a:pt x="2798" y="1185"/>
                  <a:pt x="2798" y="1185"/>
                  <a:pt x="2798" y="1185"/>
                </a:cubicBezTo>
                <a:cubicBezTo>
                  <a:pt x="2795" y="1184"/>
                  <a:pt x="2795" y="1184"/>
                  <a:pt x="2795" y="1184"/>
                </a:cubicBezTo>
                <a:cubicBezTo>
                  <a:pt x="2793" y="1183"/>
                  <a:pt x="2793" y="1183"/>
                  <a:pt x="2793" y="1183"/>
                </a:cubicBezTo>
                <a:cubicBezTo>
                  <a:pt x="2792" y="1183"/>
                  <a:pt x="2792" y="1183"/>
                  <a:pt x="2792" y="1183"/>
                </a:cubicBezTo>
                <a:cubicBezTo>
                  <a:pt x="2793" y="1184"/>
                  <a:pt x="2793" y="1184"/>
                  <a:pt x="2793" y="1184"/>
                </a:cubicBezTo>
                <a:cubicBezTo>
                  <a:pt x="2791" y="1185"/>
                  <a:pt x="2791" y="1185"/>
                  <a:pt x="2791" y="1185"/>
                </a:cubicBezTo>
                <a:cubicBezTo>
                  <a:pt x="2790" y="1187"/>
                  <a:pt x="2790" y="1187"/>
                  <a:pt x="2790" y="1187"/>
                </a:cubicBezTo>
                <a:cubicBezTo>
                  <a:pt x="2789" y="1187"/>
                  <a:pt x="2789" y="1187"/>
                  <a:pt x="2789" y="1187"/>
                </a:cubicBezTo>
                <a:cubicBezTo>
                  <a:pt x="2789" y="1186"/>
                  <a:pt x="2789" y="1186"/>
                  <a:pt x="2789" y="1186"/>
                </a:cubicBezTo>
                <a:cubicBezTo>
                  <a:pt x="2787" y="1186"/>
                  <a:pt x="2787" y="1186"/>
                  <a:pt x="2787" y="1186"/>
                </a:cubicBezTo>
                <a:cubicBezTo>
                  <a:pt x="2787" y="1187"/>
                  <a:pt x="2787" y="1187"/>
                  <a:pt x="2787" y="1187"/>
                </a:cubicBezTo>
                <a:cubicBezTo>
                  <a:pt x="2785" y="1184"/>
                  <a:pt x="2785" y="1184"/>
                  <a:pt x="2785" y="1184"/>
                </a:cubicBezTo>
                <a:cubicBezTo>
                  <a:pt x="2784" y="1184"/>
                  <a:pt x="2784" y="1184"/>
                  <a:pt x="2784" y="1184"/>
                </a:cubicBezTo>
                <a:cubicBezTo>
                  <a:pt x="2784" y="1186"/>
                  <a:pt x="2784" y="1186"/>
                  <a:pt x="2784" y="1186"/>
                </a:cubicBezTo>
                <a:cubicBezTo>
                  <a:pt x="2785" y="1187"/>
                  <a:pt x="2785" y="1187"/>
                  <a:pt x="2785" y="1187"/>
                </a:cubicBezTo>
                <a:cubicBezTo>
                  <a:pt x="2783" y="1188"/>
                  <a:pt x="2783" y="1188"/>
                  <a:pt x="2783" y="1188"/>
                </a:cubicBezTo>
                <a:cubicBezTo>
                  <a:pt x="2783" y="1190"/>
                  <a:pt x="2783" y="1190"/>
                  <a:pt x="2783" y="1190"/>
                </a:cubicBezTo>
                <a:cubicBezTo>
                  <a:pt x="2783" y="1191"/>
                  <a:pt x="2783" y="1191"/>
                  <a:pt x="2783" y="1191"/>
                </a:cubicBezTo>
                <a:cubicBezTo>
                  <a:pt x="2781" y="1193"/>
                  <a:pt x="2781" y="1193"/>
                  <a:pt x="2781" y="1193"/>
                </a:cubicBezTo>
                <a:cubicBezTo>
                  <a:pt x="2780" y="1191"/>
                  <a:pt x="2780" y="1191"/>
                  <a:pt x="2780" y="1191"/>
                </a:cubicBezTo>
                <a:cubicBezTo>
                  <a:pt x="2779" y="1191"/>
                  <a:pt x="2779" y="1191"/>
                  <a:pt x="2779" y="1191"/>
                </a:cubicBezTo>
                <a:cubicBezTo>
                  <a:pt x="2779" y="1190"/>
                  <a:pt x="2779" y="1190"/>
                  <a:pt x="2779" y="1190"/>
                </a:cubicBezTo>
                <a:cubicBezTo>
                  <a:pt x="2780" y="1188"/>
                  <a:pt x="2780" y="1188"/>
                  <a:pt x="2780" y="1188"/>
                </a:cubicBezTo>
                <a:cubicBezTo>
                  <a:pt x="2779" y="1188"/>
                  <a:pt x="2779" y="1188"/>
                  <a:pt x="2779" y="1188"/>
                </a:cubicBezTo>
                <a:cubicBezTo>
                  <a:pt x="2778" y="1191"/>
                  <a:pt x="2778" y="1191"/>
                  <a:pt x="2778" y="1191"/>
                </a:cubicBezTo>
                <a:cubicBezTo>
                  <a:pt x="2776" y="1191"/>
                  <a:pt x="2776" y="1191"/>
                  <a:pt x="2776" y="1191"/>
                </a:cubicBezTo>
                <a:cubicBezTo>
                  <a:pt x="2775" y="1192"/>
                  <a:pt x="2775" y="1192"/>
                  <a:pt x="2775" y="1192"/>
                </a:cubicBezTo>
                <a:cubicBezTo>
                  <a:pt x="2775" y="1194"/>
                  <a:pt x="2775" y="1194"/>
                  <a:pt x="2775" y="1194"/>
                </a:cubicBezTo>
                <a:cubicBezTo>
                  <a:pt x="2778" y="1195"/>
                  <a:pt x="2778" y="1195"/>
                  <a:pt x="2778" y="1195"/>
                </a:cubicBezTo>
                <a:cubicBezTo>
                  <a:pt x="2775" y="1198"/>
                  <a:pt x="2775" y="1198"/>
                  <a:pt x="2775" y="1198"/>
                </a:cubicBezTo>
                <a:cubicBezTo>
                  <a:pt x="2773" y="1196"/>
                  <a:pt x="2773" y="1196"/>
                  <a:pt x="2773" y="1196"/>
                </a:cubicBezTo>
                <a:cubicBezTo>
                  <a:pt x="2771" y="1198"/>
                  <a:pt x="2771" y="1198"/>
                  <a:pt x="2771" y="1198"/>
                </a:cubicBezTo>
                <a:cubicBezTo>
                  <a:pt x="2771" y="1200"/>
                  <a:pt x="2771" y="1200"/>
                  <a:pt x="2771" y="1200"/>
                </a:cubicBezTo>
                <a:cubicBezTo>
                  <a:pt x="2774" y="1200"/>
                  <a:pt x="2774" y="1200"/>
                  <a:pt x="2774" y="1200"/>
                </a:cubicBezTo>
                <a:cubicBezTo>
                  <a:pt x="2773" y="1202"/>
                  <a:pt x="2773" y="1202"/>
                  <a:pt x="2773" y="1202"/>
                </a:cubicBezTo>
                <a:cubicBezTo>
                  <a:pt x="2772" y="1202"/>
                  <a:pt x="2772" y="1202"/>
                  <a:pt x="2772" y="1202"/>
                </a:cubicBezTo>
                <a:cubicBezTo>
                  <a:pt x="2770" y="1199"/>
                  <a:pt x="2770" y="1199"/>
                  <a:pt x="2770" y="1199"/>
                </a:cubicBezTo>
                <a:cubicBezTo>
                  <a:pt x="2768" y="1201"/>
                  <a:pt x="2768" y="1201"/>
                  <a:pt x="2768" y="1201"/>
                </a:cubicBezTo>
                <a:cubicBezTo>
                  <a:pt x="2766" y="1202"/>
                  <a:pt x="2766" y="1202"/>
                  <a:pt x="2766" y="1202"/>
                </a:cubicBezTo>
                <a:cubicBezTo>
                  <a:pt x="2766" y="1203"/>
                  <a:pt x="2766" y="1203"/>
                  <a:pt x="2766" y="1203"/>
                </a:cubicBezTo>
                <a:cubicBezTo>
                  <a:pt x="2767" y="1205"/>
                  <a:pt x="2767" y="1205"/>
                  <a:pt x="2767" y="1205"/>
                </a:cubicBezTo>
                <a:cubicBezTo>
                  <a:pt x="2767" y="1206"/>
                  <a:pt x="2767" y="1206"/>
                  <a:pt x="2767" y="1206"/>
                </a:cubicBezTo>
                <a:cubicBezTo>
                  <a:pt x="2768" y="1205"/>
                  <a:pt x="2768" y="1205"/>
                  <a:pt x="2768" y="1205"/>
                </a:cubicBezTo>
                <a:cubicBezTo>
                  <a:pt x="2767" y="1207"/>
                  <a:pt x="2767" y="1207"/>
                  <a:pt x="2767" y="1207"/>
                </a:cubicBezTo>
                <a:cubicBezTo>
                  <a:pt x="2768" y="1209"/>
                  <a:pt x="2768" y="1209"/>
                  <a:pt x="2768" y="1209"/>
                </a:cubicBezTo>
                <a:cubicBezTo>
                  <a:pt x="2766" y="1210"/>
                  <a:pt x="2766" y="1210"/>
                  <a:pt x="2766" y="1210"/>
                </a:cubicBezTo>
                <a:cubicBezTo>
                  <a:pt x="2765" y="1211"/>
                  <a:pt x="2765" y="1211"/>
                  <a:pt x="2765" y="1211"/>
                </a:cubicBezTo>
                <a:cubicBezTo>
                  <a:pt x="2768" y="1212"/>
                  <a:pt x="2768" y="1212"/>
                  <a:pt x="2768" y="1212"/>
                </a:cubicBezTo>
                <a:cubicBezTo>
                  <a:pt x="2766" y="1213"/>
                  <a:pt x="2766" y="1213"/>
                  <a:pt x="2766" y="1213"/>
                </a:cubicBezTo>
                <a:cubicBezTo>
                  <a:pt x="2766" y="1214"/>
                  <a:pt x="2766" y="1214"/>
                  <a:pt x="2766" y="1214"/>
                </a:cubicBezTo>
                <a:cubicBezTo>
                  <a:pt x="2764" y="1213"/>
                  <a:pt x="2764" y="1213"/>
                  <a:pt x="2764" y="1213"/>
                </a:cubicBezTo>
                <a:cubicBezTo>
                  <a:pt x="2763" y="1212"/>
                  <a:pt x="2763" y="1212"/>
                  <a:pt x="2763" y="1212"/>
                </a:cubicBezTo>
                <a:cubicBezTo>
                  <a:pt x="2761" y="1211"/>
                  <a:pt x="2761" y="1211"/>
                  <a:pt x="2761" y="1211"/>
                </a:cubicBezTo>
                <a:cubicBezTo>
                  <a:pt x="2760" y="1212"/>
                  <a:pt x="2760" y="1212"/>
                  <a:pt x="2760" y="1212"/>
                </a:cubicBezTo>
                <a:cubicBezTo>
                  <a:pt x="2759" y="1211"/>
                  <a:pt x="2759" y="1211"/>
                  <a:pt x="2759" y="1211"/>
                </a:cubicBezTo>
                <a:cubicBezTo>
                  <a:pt x="2757" y="1209"/>
                  <a:pt x="2757" y="1209"/>
                  <a:pt x="2757" y="1209"/>
                </a:cubicBezTo>
                <a:cubicBezTo>
                  <a:pt x="2756" y="1211"/>
                  <a:pt x="2756" y="1211"/>
                  <a:pt x="2756" y="1211"/>
                </a:cubicBezTo>
                <a:cubicBezTo>
                  <a:pt x="2758" y="1212"/>
                  <a:pt x="2758" y="1212"/>
                  <a:pt x="2758" y="1212"/>
                </a:cubicBezTo>
                <a:cubicBezTo>
                  <a:pt x="2757" y="1213"/>
                  <a:pt x="2757" y="1213"/>
                  <a:pt x="2757" y="1213"/>
                </a:cubicBezTo>
                <a:cubicBezTo>
                  <a:pt x="2756" y="1215"/>
                  <a:pt x="2756" y="1215"/>
                  <a:pt x="2756" y="1215"/>
                </a:cubicBezTo>
                <a:cubicBezTo>
                  <a:pt x="2758" y="1217"/>
                  <a:pt x="2758" y="1217"/>
                  <a:pt x="2758" y="1217"/>
                </a:cubicBezTo>
                <a:cubicBezTo>
                  <a:pt x="2760" y="1217"/>
                  <a:pt x="2760" y="1217"/>
                  <a:pt x="2760" y="1217"/>
                </a:cubicBezTo>
                <a:cubicBezTo>
                  <a:pt x="2759" y="1218"/>
                  <a:pt x="2759" y="1218"/>
                  <a:pt x="2759" y="1218"/>
                </a:cubicBezTo>
                <a:cubicBezTo>
                  <a:pt x="2759" y="1220"/>
                  <a:pt x="2759" y="1220"/>
                  <a:pt x="2759" y="1220"/>
                </a:cubicBezTo>
                <a:cubicBezTo>
                  <a:pt x="2759" y="1219"/>
                  <a:pt x="2759" y="1219"/>
                  <a:pt x="2759" y="1219"/>
                </a:cubicBezTo>
                <a:cubicBezTo>
                  <a:pt x="2757" y="1219"/>
                  <a:pt x="2757" y="1219"/>
                  <a:pt x="2757" y="1219"/>
                </a:cubicBezTo>
                <a:cubicBezTo>
                  <a:pt x="2758" y="1221"/>
                  <a:pt x="2758" y="1221"/>
                  <a:pt x="2758" y="1221"/>
                </a:cubicBezTo>
                <a:cubicBezTo>
                  <a:pt x="2757" y="1224"/>
                  <a:pt x="2757" y="1224"/>
                  <a:pt x="2757" y="1224"/>
                </a:cubicBezTo>
                <a:cubicBezTo>
                  <a:pt x="2757" y="1226"/>
                  <a:pt x="2757" y="1226"/>
                  <a:pt x="2757" y="1226"/>
                </a:cubicBezTo>
                <a:cubicBezTo>
                  <a:pt x="2753" y="1219"/>
                  <a:pt x="2753" y="1219"/>
                  <a:pt x="2753" y="1219"/>
                </a:cubicBezTo>
                <a:cubicBezTo>
                  <a:pt x="2751" y="1215"/>
                  <a:pt x="2751" y="1215"/>
                  <a:pt x="2751" y="1215"/>
                </a:cubicBezTo>
                <a:cubicBezTo>
                  <a:pt x="2750" y="1214"/>
                  <a:pt x="2750" y="1214"/>
                  <a:pt x="2750" y="1214"/>
                </a:cubicBezTo>
                <a:cubicBezTo>
                  <a:pt x="2751" y="1211"/>
                  <a:pt x="2751" y="1211"/>
                  <a:pt x="2751" y="1211"/>
                </a:cubicBezTo>
                <a:cubicBezTo>
                  <a:pt x="2750" y="1212"/>
                  <a:pt x="2750" y="1212"/>
                  <a:pt x="2750" y="1212"/>
                </a:cubicBezTo>
                <a:cubicBezTo>
                  <a:pt x="2748" y="1214"/>
                  <a:pt x="2748" y="1214"/>
                  <a:pt x="2748" y="1214"/>
                </a:cubicBezTo>
                <a:cubicBezTo>
                  <a:pt x="2747" y="1217"/>
                  <a:pt x="2747" y="1217"/>
                  <a:pt x="2747" y="1217"/>
                </a:cubicBezTo>
                <a:cubicBezTo>
                  <a:pt x="2746" y="1217"/>
                  <a:pt x="2746" y="1217"/>
                  <a:pt x="2746" y="1217"/>
                </a:cubicBezTo>
                <a:cubicBezTo>
                  <a:pt x="2745" y="1218"/>
                  <a:pt x="2745" y="1218"/>
                  <a:pt x="2745" y="1218"/>
                </a:cubicBezTo>
                <a:cubicBezTo>
                  <a:pt x="2743" y="1218"/>
                  <a:pt x="2743" y="1218"/>
                  <a:pt x="2743" y="1218"/>
                </a:cubicBezTo>
                <a:cubicBezTo>
                  <a:pt x="2742" y="1219"/>
                  <a:pt x="2742" y="1219"/>
                  <a:pt x="2742" y="1219"/>
                </a:cubicBezTo>
                <a:cubicBezTo>
                  <a:pt x="2741" y="1221"/>
                  <a:pt x="2741" y="1221"/>
                  <a:pt x="2741" y="1221"/>
                </a:cubicBezTo>
                <a:cubicBezTo>
                  <a:pt x="2741" y="1224"/>
                  <a:pt x="2741" y="1224"/>
                  <a:pt x="2741" y="1224"/>
                </a:cubicBezTo>
                <a:cubicBezTo>
                  <a:pt x="2741" y="1229"/>
                  <a:pt x="2741" y="1229"/>
                  <a:pt x="2741" y="1229"/>
                </a:cubicBezTo>
                <a:cubicBezTo>
                  <a:pt x="2742" y="1229"/>
                  <a:pt x="2742" y="1229"/>
                  <a:pt x="2742" y="1229"/>
                </a:cubicBezTo>
                <a:cubicBezTo>
                  <a:pt x="2742" y="1231"/>
                  <a:pt x="2742" y="1231"/>
                  <a:pt x="2742" y="1231"/>
                </a:cubicBezTo>
                <a:cubicBezTo>
                  <a:pt x="2740" y="1232"/>
                  <a:pt x="2740" y="1232"/>
                  <a:pt x="2740" y="1232"/>
                </a:cubicBezTo>
                <a:cubicBezTo>
                  <a:pt x="2739" y="1234"/>
                  <a:pt x="2739" y="1234"/>
                  <a:pt x="2739" y="1234"/>
                </a:cubicBezTo>
                <a:cubicBezTo>
                  <a:pt x="2736" y="1235"/>
                  <a:pt x="2736" y="1235"/>
                  <a:pt x="2736" y="1235"/>
                </a:cubicBezTo>
                <a:cubicBezTo>
                  <a:pt x="2737" y="1236"/>
                  <a:pt x="2737" y="1236"/>
                  <a:pt x="2737" y="1236"/>
                </a:cubicBezTo>
                <a:cubicBezTo>
                  <a:pt x="2734" y="1238"/>
                  <a:pt x="2734" y="1238"/>
                  <a:pt x="2734" y="1238"/>
                </a:cubicBezTo>
                <a:cubicBezTo>
                  <a:pt x="2734" y="1240"/>
                  <a:pt x="2734" y="1240"/>
                  <a:pt x="2734" y="1240"/>
                </a:cubicBezTo>
                <a:cubicBezTo>
                  <a:pt x="2733" y="1241"/>
                  <a:pt x="2733" y="1241"/>
                  <a:pt x="2733" y="1241"/>
                </a:cubicBezTo>
                <a:cubicBezTo>
                  <a:pt x="2730" y="1246"/>
                  <a:pt x="2730" y="1246"/>
                  <a:pt x="2730" y="1246"/>
                </a:cubicBezTo>
                <a:cubicBezTo>
                  <a:pt x="2724" y="1249"/>
                  <a:pt x="2724" y="1249"/>
                  <a:pt x="2724" y="1249"/>
                </a:cubicBezTo>
                <a:cubicBezTo>
                  <a:pt x="2719" y="1250"/>
                  <a:pt x="2719" y="1250"/>
                  <a:pt x="2719" y="1250"/>
                </a:cubicBezTo>
                <a:cubicBezTo>
                  <a:pt x="2716" y="1251"/>
                  <a:pt x="2716" y="1251"/>
                  <a:pt x="2716" y="1251"/>
                </a:cubicBezTo>
                <a:cubicBezTo>
                  <a:pt x="2713" y="1251"/>
                  <a:pt x="2713" y="1251"/>
                  <a:pt x="2713" y="1251"/>
                </a:cubicBezTo>
                <a:cubicBezTo>
                  <a:pt x="2711" y="1251"/>
                  <a:pt x="2711" y="1251"/>
                  <a:pt x="2711" y="1251"/>
                </a:cubicBezTo>
                <a:cubicBezTo>
                  <a:pt x="2708" y="1251"/>
                  <a:pt x="2708" y="1251"/>
                  <a:pt x="2708" y="1251"/>
                </a:cubicBezTo>
                <a:cubicBezTo>
                  <a:pt x="2705" y="1252"/>
                  <a:pt x="2705" y="1252"/>
                  <a:pt x="2705" y="1252"/>
                </a:cubicBezTo>
                <a:cubicBezTo>
                  <a:pt x="2705" y="1254"/>
                  <a:pt x="2705" y="1254"/>
                  <a:pt x="2705" y="1254"/>
                </a:cubicBezTo>
                <a:cubicBezTo>
                  <a:pt x="2703" y="1255"/>
                  <a:pt x="2703" y="1255"/>
                  <a:pt x="2703" y="1255"/>
                </a:cubicBezTo>
                <a:cubicBezTo>
                  <a:pt x="2696" y="1255"/>
                  <a:pt x="2696" y="1255"/>
                  <a:pt x="2696" y="1255"/>
                </a:cubicBezTo>
                <a:cubicBezTo>
                  <a:pt x="2695" y="1256"/>
                  <a:pt x="2695" y="1256"/>
                  <a:pt x="2695" y="1256"/>
                </a:cubicBezTo>
                <a:cubicBezTo>
                  <a:pt x="2694" y="1257"/>
                  <a:pt x="2694" y="1257"/>
                  <a:pt x="2694" y="1257"/>
                </a:cubicBezTo>
                <a:cubicBezTo>
                  <a:pt x="2690" y="1259"/>
                  <a:pt x="2690" y="1259"/>
                  <a:pt x="2690" y="1259"/>
                </a:cubicBezTo>
                <a:cubicBezTo>
                  <a:pt x="2687" y="1259"/>
                  <a:pt x="2687" y="1259"/>
                  <a:pt x="2687" y="1259"/>
                </a:cubicBezTo>
                <a:cubicBezTo>
                  <a:pt x="2685" y="1258"/>
                  <a:pt x="2685" y="1258"/>
                  <a:pt x="2685" y="1258"/>
                </a:cubicBezTo>
                <a:cubicBezTo>
                  <a:pt x="2684" y="1259"/>
                  <a:pt x="2684" y="1259"/>
                  <a:pt x="2684" y="1259"/>
                </a:cubicBezTo>
                <a:cubicBezTo>
                  <a:pt x="2683" y="1257"/>
                  <a:pt x="2683" y="1257"/>
                  <a:pt x="2683" y="1257"/>
                </a:cubicBezTo>
                <a:cubicBezTo>
                  <a:pt x="2681" y="1258"/>
                  <a:pt x="2681" y="1258"/>
                  <a:pt x="2681" y="1258"/>
                </a:cubicBezTo>
                <a:cubicBezTo>
                  <a:pt x="2680" y="1261"/>
                  <a:pt x="2680" y="1261"/>
                  <a:pt x="2680" y="1261"/>
                </a:cubicBezTo>
                <a:cubicBezTo>
                  <a:pt x="2675" y="1261"/>
                  <a:pt x="2675" y="1261"/>
                  <a:pt x="2675" y="1261"/>
                </a:cubicBezTo>
                <a:cubicBezTo>
                  <a:pt x="2675" y="1262"/>
                  <a:pt x="2675" y="1262"/>
                  <a:pt x="2675" y="1262"/>
                </a:cubicBezTo>
                <a:cubicBezTo>
                  <a:pt x="2674" y="1262"/>
                  <a:pt x="2674" y="1262"/>
                  <a:pt x="2674" y="1262"/>
                </a:cubicBezTo>
                <a:cubicBezTo>
                  <a:pt x="2670" y="1265"/>
                  <a:pt x="2670" y="1265"/>
                  <a:pt x="2670" y="1265"/>
                </a:cubicBezTo>
                <a:cubicBezTo>
                  <a:pt x="2666" y="1267"/>
                  <a:pt x="2666" y="1267"/>
                  <a:pt x="2666" y="1267"/>
                </a:cubicBezTo>
                <a:cubicBezTo>
                  <a:pt x="2660" y="1269"/>
                  <a:pt x="2660" y="1269"/>
                  <a:pt x="2660" y="1269"/>
                </a:cubicBezTo>
                <a:cubicBezTo>
                  <a:pt x="2658" y="1273"/>
                  <a:pt x="2658" y="1273"/>
                  <a:pt x="2658" y="1273"/>
                </a:cubicBezTo>
                <a:cubicBezTo>
                  <a:pt x="2658" y="1276"/>
                  <a:pt x="2658" y="1276"/>
                  <a:pt x="2658" y="1276"/>
                </a:cubicBezTo>
                <a:cubicBezTo>
                  <a:pt x="2655" y="1278"/>
                  <a:pt x="2655" y="1278"/>
                  <a:pt x="2655" y="1278"/>
                </a:cubicBezTo>
                <a:cubicBezTo>
                  <a:pt x="2654" y="1277"/>
                  <a:pt x="2654" y="1277"/>
                  <a:pt x="2654" y="1277"/>
                </a:cubicBezTo>
                <a:cubicBezTo>
                  <a:pt x="2655" y="1276"/>
                  <a:pt x="2655" y="1276"/>
                  <a:pt x="2655" y="1276"/>
                </a:cubicBezTo>
                <a:cubicBezTo>
                  <a:pt x="2654" y="1274"/>
                  <a:pt x="2654" y="1274"/>
                  <a:pt x="2654" y="1274"/>
                </a:cubicBezTo>
                <a:cubicBezTo>
                  <a:pt x="2655" y="1272"/>
                  <a:pt x="2655" y="1272"/>
                  <a:pt x="2655" y="1272"/>
                </a:cubicBezTo>
                <a:cubicBezTo>
                  <a:pt x="2655" y="1270"/>
                  <a:pt x="2655" y="1270"/>
                  <a:pt x="2655" y="1270"/>
                </a:cubicBezTo>
                <a:cubicBezTo>
                  <a:pt x="2652" y="1272"/>
                  <a:pt x="2652" y="1272"/>
                  <a:pt x="2652" y="1272"/>
                </a:cubicBezTo>
                <a:cubicBezTo>
                  <a:pt x="2651" y="1275"/>
                  <a:pt x="2651" y="1275"/>
                  <a:pt x="2651" y="1275"/>
                </a:cubicBezTo>
                <a:cubicBezTo>
                  <a:pt x="2649" y="1280"/>
                  <a:pt x="2649" y="1280"/>
                  <a:pt x="2649" y="1280"/>
                </a:cubicBezTo>
                <a:cubicBezTo>
                  <a:pt x="2651" y="1283"/>
                  <a:pt x="2651" y="1283"/>
                  <a:pt x="2651" y="1283"/>
                </a:cubicBezTo>
                <a:cubicBezTo>
                  <a:pt x="2649" y="1285"/>
                  <a:pt x="2649" y="1285"/>
                  <a:pt x="2649" y="1285"/>
                </a:cubicBezTo>
                <a:cubicBezTo>
                  <a:pt x="2650" y="1290"/>
                  <a:pt x="2650" y="1290"/>
                  <a:pt x="2650" y="1290"/>
                </a:cubicBezTo>
                <a:cubicBezTo>
                  <a:pt x="2646" y="1295"/>
                  <a:pt x="2646" y="1295"/>
                  <a:pt x="2646" y="1295"/>
                </a:cubicBezTo>
                <a:cubicBezTo>
                  <a:pt x="2644" y="1301"/>
                  <a:pt x="2644" y="1301"/>
                  <a:pt x="2644" y="1301"/>
                </a:cubicBezTo>
                <a:cubicBezTo>
                  <a:pt x="2645" y="1305"/>
                  <a:pt x="2645" y="1305"/>
                  <a:pt x="2645" y="1305"/>
                </a:cubicBezTo>
                <a:cubicBezTo>
                  <a:pt x="2645" y="1310"/>
                  <a:pt x="2645" y="1310"/>
                  <a:pt x="2645" y="1310"/>
                </a:cubicBezTo>
                <a:cubicBezTo>
                  <a:pt x="2648" y="1316"/>
                  <a:pt x="2648" y="1316"/>
                  <a:pt x="2648" y="1316"/>
                </a:cubicBezTo>
                <a:cubicBezTo>
                  <a:pt x="2648" y="1318"/>
                  <a:pt x="2648" y="1318"/>
                  <a:pt x="2648" y="1318"/>
                </a:cubicBezTo>
                <a:cubicBezTo>
                  <a:pt x="2650" y="1320"/>
                  <a:pt x="2650" y="1320"/>
                  <a:pt x="2650" y="1320"/>
                </a:cubicBezTo>
                <a:cubicBezTo>
                  <a:pt x="2649" y="1323"/>
                  <a:pt x="2649" y="1323"/>
                  <a:pt x="2649" y="1323"/>
                </a:cubicBezTo>
                <a:cubicBezTo>
                  <a:pt x="2649" y="1325"/>
                  <a:pt x="2649" y="1325"/>
                  <a:pt x="2649" y="1325"/>
                </a:cubicBezTo>
                <a:cubicBezTo>
                  <a:pt x="2647" y="1326"/>
                  <a:pt x="2647" y="1326"/>
                  <a:pt x="2647" y="1326"/>
                </a:cubicBezTo>
                <a:cubicBezTo>
                  <a:pt x="2646" y="1324"/>
                  <a:pt x="2646" y="1324"/>
                  <a:pt x="2646" y="1324"/>
                </a:cubicBezTo>
                <a:cubicBezTo>
                  <a:pt x="2646" y="1321"/>
                  <a:pt x="2646" y="1321"/>
                  <a:pt x="2646" y="1321"/>
                </a:cubicBezTo>
                <a:cubicBezTo>
                  <a:pt x="2645" y="1323"/>
                  <a:pt x="2645" y="1323"/>
                  <a:pt x="2645" y="1323"/>
                </a:cubicBezTo>
                <a:cubicBezTo>
                  <a:pt x="2644" y="1322"/>
                  <a:pt x="2644" y="1322"/>
                  <a:pt x="2644" y="1322"/>
                </a:cubicBezTo>
                <a:cubicBezTo>
                  <a:pt x="2644" y="1319"/>
                  <a:pt x="2644" y="1319"/>
                  <a:pt x="2644" y="1319"/>
                </a:cubicBezTo>
                <a:cubicBezTo>
                  <a:pt x="2642" y="1315"/>
                  <a:pt x="2642" y="1315"/>
                  <a:pt x="2642" y="1315"/>
                </a:cubicBezTo>
                <a:cubicBezTo>
                  <a:pt x="2641" y="1317"/>
                  <a:pt x="2641" y="1317"/>
                  <a:pt x="2641" y="1317"/>
                </a:cubicBezTo>
                <a:cubicBezTo>
                  <a:pt x="2641" y="1321"/>
                  <a:pt x="2641" y="1321"/>
                  <a:pt x="2641" y="1321"/>
                </a:cubicBezTo>
                <a:cubicBezTo>
                  <a:pt x="2644" y="1324"/>
                  <a:pt x="2644" y="1324"/>
                  <a:pt x="2644" y="1324"/>
                </a:cubicBezTo>
                <a:cubicBezTo>
                  <a:pt x="2646" y="1328"/>
                  <a:pt x="2646" y="1328"/>
                  <a:pt x="2646" y="1328"/>
                </a:cubicBezTo>
                <a:cubicBezTo>
                  <a:pt x="2643" y="1328"/>
                  <a:pt x="2643" y="1328"/>
                  <a:pt x="2643" y="1328"/>
                </a:cubicBezTo>
                <a:cubicBezTo>
                  <a:pt x="2641" y="1325"/>
                  <a:pt x="2641" y="1325"/>
                  <a:pt x="2641" y="1325"/>
                </a:cubicBezTo>
                <a:cubicBezTo>
                  <a:pt x="2640" y="1322"/>
                  <a:pt x="2640" y="1322"/>
                  <a:pt x="2640" y="1322"/>
                </a:cubicBezTo>
                <a:cubicBezTo>
                  <a:pt x="2640" y="1323"/>
                  <a:pt x="2640" y="1323"/>
                  <a:pt x="2640" y="1323"/>
                </a:cubicBezTo>
                <a:cubicBezTo>
                  <a:pt x="2638" y="1324"/>
                  <a:pt x="2638" y="1324"/>
                  <a:pt x="2638" y="1324"/>
                </a:cubicBezTo>
                <a:cubicBezTo>
                  <a:pt x="2640" y="1327"/>
                  <a:pt x="2640" y="1327"/>
                  <a:pt x="2640" y="1327"/>
                </a:cubicBezTo>
                <a:cubicBezTo>
                  <a:pt x="2644" y="1331"/>
                  <a:pt x="2644" y="1331"/>
                  <a:pt x="2644" y="1331"/>
                </a:cubicBezTo>
                <a:cubicBezTo>
                  <a:pt x="2646" y="1337"/>
                  <a:pt x="2646" y="1337"/>
                  <a:pt x="2646" y="1337"/>
                </a:cubicBezTo>
                <a:cubicBezTo>
                  <a:pt x="2645" y="1347"/>
                  <a:pt x="2645" y="1347"/>
                  <a:pt x="2645" y="1347"/>
                </a:cubicBezTo>
                <a:cubicBezTo>
                  <a:pt x="2647" y="1349"/>
                  <a:pt x="2647" y="1349"/>
                  <a:pt x="2647" y="1349"/>
                </a:cubicBezTo>
                <a:cubicBezTo>
                  <a:pt x="2648" y="1355"/>
                  <a:pt x="2648" y="1355"/>
                  <a:pt x="2648" y="1355"/>
                </a:cubicBezTo>
                <a:cubicBezTo>
                  <a:pt x="2651" y="1363"/>
                  <a:pt x="2651" y="1363"/>
                  <a:pt x="2651" y="1363"/>
                </a:cubicBezTo>
                <a:cubicBezTo>
                  <a:pt x="2650" y="1365"/>
                  <a:pt x="2650" y="1365"/>
                  <a:pt x="2650" y="1365"/>
                </a:cubicBezTo>
                <a:cubicBezTo>
                  <a:pt x="2650" y="1377"/>
                  <a:pt x="2650" y="1377"/>
                  <a:pt x="2650" y="1377"/>
                </a:cubicBezTo>
                <a:cubicBezTo>
                  <a:pt x="2650" y="1378"/>
                  <a:pt x="2650" y="1378"/>
                  <a:pt x="2650" y="1378"/>
                </a:cubicBezTo>
                <a:cubicBezTo>
                  <a:pt x="2651" y="1381"/>
                  <a:pt x="2651" y="1381"/>
                  <a:pt x="2651" y="1381"/>
                </a:cubicBezTo>
                <a:cubicBezTo>
                  <a:pt x="2651" y="1385"/>
                  <a:pt x="2651" y="1385"/>
                  <a:pt x="2651" y="1385"/>
                </a:cubicBezTo>
                <a:cubicBezTo>
                  <a:pt x="2653" y="1390"/>
                  <a:pt x="2653" y="1390"/>
                  <a:pt x="2653" y="1390"/>
                </a:cubicBezTo>
                <a:cubicBezTo>
                  <a:pt x="2653" y="1392"/>
                  <a:pt x="2653" y="1392"/>
                  <a:pt x="2653" y="1392"/>
                </a:cubicBezTo>
                <a:cubicBezTo>
                  <a:pt x="2651" y="1394"/>
                  <a:pt x="2651" y="1394"/>
                  <a:pt x="2651" y="1394"/>
                </a:cubicBezTo>
                <a:cubicBezTo>
                  <a:pt x="2652" y="1395"/>
                  <a:pt x="2652" y="1395"/>
                  <a:pt x="2652" y="1395"/>
                </a:cubicBezTo>
                <a:cubicBezTo>
                  <a:pt x="2651" y="1397"/>
                  <a:pt x="2651" y="1397"/>
                  <a:pt x="2651" y="1397"/>
                </a:cubicBezTo>
                <a:cubicBezTo>
                  <a:pt x="2651" y="1402"/>
                  <a:pt x="2651" y="1402"/>
                  <a:pt x="2651" y="1402"/>
                </a:cubicBezTo>
                <a:cubicBezTo>
                  <a:pt x="2649" y="1403"/>
                  <a:pt x="2649" y="1403"/>
                  <a:pt x="2649" y="1403"/>
                </a:cubicBezTo>
                <a:cubicBezTo>
                  <a:pt x="2650" y="1405"/>
                  <a:pt x="2650" y="1405"/>
                  <a:pt x="2650" y="1405"/>
                </a:cubicBezTo>
                <a:cubicBezTo>
                  <a:pt x="2649" y="1407"/>
                  <a:pt x="2649" y="1407"/>
                  <a:pt x="2649" y="1407"/>
                </a:cubicBezTo>
                <a:cubicBezTo>
                  <a:pt x="2647" y="1409"/>
                  <a:pt x="2647" y="1409"/>
                  <a:pt x="2647" y="1409"/>
                </a:cubicBezTo>
                <a:cubicBezTo>
                  <a:pt x="2648" y="1411"/>
                  <a:pt x="2648" y="1411"/>
                  <a:pt x="2648" y="1411"/>
                </a:cubicBezTo>
                <a:cubicBezTo>
                  <a:pt x="2645" y="1414"/>
                  <a:pt x="2645" y="1414"/>
                  <a:pt x="2645" y="1414"/>
                </a:cubicBezTo>
                <a:cubicBezTo>
                  <a:pt x="2643" y="1413"/>
                  <a:pt x="2643" y="1413"/>
                  <a:pt x="2643" y="1413"/>
                </a:cubicBezTo>
                <a:cubicBezTo>
                  <a:pt x="2641" y="1416"/>
                  <a:pt x="2641" y="1416"/>
                  <a:pt x="2641" y="1416"/>
                </a:cubicBezTo>
                <a:cubicBezTo>
                  <a:pt x="2641" y="1423"/>
                  <a:pt x="2641" y="1423"/>
                  <a:pt x="2641" y="1423"/>
                </a:cubicBezTo>
                <a:cubicBezTo>
                  <a:pt x="2642" y="1424"/>
                  <a:pt x="2642" y="1424"/>
                  <a:pt x="2642" y="1424"/>
                </a:cubicBezTo>
                <a:cubicBezTo>
                  <a:pt x="2644" y="1424"/>
                  <a:pt x="2644" y="1424"/>
                  <a:pt x="2644" y="1424"/>
                </a:cubicBezTo>
                <a:cubicBezTo>
                  <a:pt x="2648" y="1428"/>
                  <a:pt x="2648" y="1428"/>
                  <a:pt x="2648" y="1428"/>
                </a:cubicBezTo>
                <a:cubicBezTo>
                  <a:pt x="2648" y="1430"/>
                  <a:pt x="2648" y="1430"/>
                  <a:pt x="2648" y="1430"/>
                </a:cubicBezTo>
                <a:cubicBezTo>
                  <a:pt x="2649" y="1431"/>
                  <a:pt x="2649" y="1431"/>
                  <a:pt x="2649" y="1431"/>
                </a:cubicBezTo>
                <a:cubicBezTo>
                  <a:pt x="2651" y="1431"/>
                  <a:pt x="2651" y="1431"/>
                  <a:pt x="2651" y="1431"/>
                </a:cubicBezTo>
                <a:cubicBezTo>
                  <a:pt x="2652" y="1432"/>
                  <a:pt x="2652" y="1432"/>
                  <a:pt x="2652" y="1432"/>
                </a:cubicBezTo>
                <a:cubicBezTo>
                  <a:pt x="2655" y="1433"/>
                  <a:pt x="2655" y="1433"/>
                  <a:pt x="2655" y="1433"/>
                </a:cubicBezTo>
                <a:cubicBezTo>
                  <a:pt x="2656" y="1433"/>
                  <a:pt x="2656" y="1433"/>
                  <a:pt x="2656" y="1433"/>
                </a:cubicBezTo>
                <a:cubicBezTo>
                  <a:pt x="2656" y="1434"/>
                  <a:pt x="2656" y="1434"/>
                  <a:pt x="2656" y="1434"/>
                </a:cubicBezTo>
                <a:cubicBezTo>
                  <a:pt x="2659" y="1434"/>
                  <a:pt x="2659" y="1434"/>
                  <a:pt x="2659" y="1434"/>
                </a:cubicBezTo>
                <a:cubicBezTo>
                  <a:pt x="2661" y="1433"/>
                  <a:pt x="2661" y="1433"/>
                  <a:pt x="2661" y="1433"/>
                </a:cubicBezTo>
                <a:cubicBezTo>
                  <a:pt x="2662" y="1435"/>
                  <a:pt x="2662" y="1435"/>
                  <a:pt x="2662" y="1435"/>
                </a:cubicBezTo>
                <a:cubicBezTo>
                  <a:pt x="2663" y="1434"/>
                  <a:pt x="2663" y="1434"/>
                  <a:pt x="2663" y="1434"/>
                </a:cubicBezTo>
                <a:cubicBezTo>
                  <a:pt x="2664" y="1434"/>
                  <a:pt x="2664" y="1434"/>
                  <a:pt x="2664" y="1434"/>
                </a:cubicBezTo>
                <a:cubicBezTo>
                  <a:pt x="2667" y="1434"/>
                  <a:pt x="2667" y="1434"/>
                  <a:pt x="2667" y="1434"/>
                </a:cubicBezTo>
                <a:cubicBezTo>
                  <a:pt x="2669" y="1434"/>
                  <a:pt x="2669" y="1434"/>
                  <a:pt x="2669" y="1434"/>
                </a:cubicBezTo>
                <a:cubicBezTo>
                  <a:pt x="2669" y="1432"/>
                  <a:pt x="2669" y="1432"/>
                  <a:pt x="2669" y="1432"/>
                </a:cubicBezTo>
                <a:cubicBezTo>
                  <a:pt x="2671" y="1432"/>
                  <a:pt x="2671" y="1432"/>
                  <a:pt x="2671" y="1432"/>
                </a:cubicBezTo>
                <a:cubicBezTo>
                  <a:pt x="2673" y="1429"/>
                  <a:pt x="2673" y="1429"/>
                  <a:pt x="2673" y="1429"/>
                </a:cubicBezTo>
                <a:cubicBezTo>
                  <a:pt x="2676" y="1430"/>
                  <a:pt x="2676" y="1430"/>
                  <a:pt x="2676" y="1430"/>
                </a:cubicBezTo>
                <a:cubicBezTo>
                  <a:pt x="2676" y="1428"/>
                  <a:pt x="2676" y="1428"/>
                  <a:pt x="2676" y="1428"/>
                </a:cubicBezTo>
                <a:cubicBezTo>
                  <a:pt x="2678" y="1427"/>
                  <a:pt x="2678" y="1427"/>
                  <a:pt x="2678" y="1427"/>
                </a:cubicBezTo>
                <a:cubicBezTo>
                  <a:pt x="2679" y="1427"/>
                  <a:pt x="2679" y="1427"/>
                  <a:pt x="2679" y="1427"/>
                </a:cubicBezTo>
                <a:cubicBezTo>
                  <a:pt x="2681" y="1429"/>
                  <a:pt x="2681" y="1429"/>
                  <a:pt x="2681" y="1429"/>
                </a:cubicBezTo>
                <a:cubicBezTo>
                  <a:pt x="2682" y="1426"/>
                  <a:pt x="2682" y="1426"/>
                  <a:pt x="2682" y="1426"/>
                </a:cubicBezTo>
                <a:cubicBezTo>
                  <a:pt x="2683" y="1427"/>
                  <a:pt x="2683" y="1427"/>
                  <a:pt x="2683" y="1427"/>
                </a:cubicBezTo>
                <a:cubicBezTo>
                  <a:pt x="2684" y="1426"/>
                  <a:pt x="2684" y="1426"/>
                  <a:pt x="2684" y="1426"/>
                </a:cubicBezTo>
                <a:cubicBezTo>
                  <a:pt x="2685" y="1424"/>
                  <a:pt x="2685" y="1424"/>
                  <a:pt x="2685" y="1424"/>
                </a:cubicBezTo>
                <a:cubicBezTo>
                  <a:pt x="2690" y="1420"/>
                  <a:pt x="2690" y="1420"/>
                  <a:pt x="2690" y="1420"/>
                </a:cubicBezTo>
                <a:cubicBezTo>
                  <a:pt x="2692" y="1421"/>
                  <a:pt x="2692" y="1421"/>
                  <a:pt x="2692" y="1421"/>
                </a:cubicBezTo>
                <a:cubicBezTo>
                  <a:pt x="2694" y="1421"/>
                  <a:pt x="2694" y="1421"/>
                  <a:pt x="2694" y="1421"/>
                </a:cubicBezTo>
                <a:cubicBezTo>
                  <a:pt x="2696" y="1420"/>
                  <a:pt x="2696" y="1420"/>
                  <a:pt x="2696" y="1420"/>
                </a:cubicBezTo>
                <a:cubicBezTo>
                  <a:pt x="2701" y="1419"/>
                  <a:pt x="2701" y="1419"/>
                  <a:pt x="2701" y="1419"/>
                </a:cubicBezTo>
                <a:cubicBezTo>
                  <a:pt x="2702" y="1420"/>
                  <a:pt x="2702" y="1420"/>
                  <a:pt x="2702" y="1420"/>
                </a:cubicBezTo>
                <a:cubicBezTo>
                  <a:pt x="2705" y="1419"/>
                  <a:pt x="2705" y="1419"/>
                  <a:pt x="2705" y="1419"/>
                </a:cubicBezTo>
                <a:cubicBezTo>
                  <a:pt x="2706" y="1420"/>
                  <a:pt x="2706" y="1420"/>
                  <a:pt x="2706" y="1420"/>
                </a:cubicBezTo>
                <a:cubicBezTo>
                  <a:pt x="2708" y="1420"/>
                  <a:pt x="2708" y="1420"/>
                  <a:pt x="2708" y="1420"/>
                </a:cubicBezTo>
                <a:cubicBezTo>
                  <a:pt x="2710" y="1420"/>
                  <a:pt x="2710" y="1420"/>
                  <a:pt x="2710" y="1420"/>
                </a:cubicBezTo>
                <a:cubicBezTo>
                  <a:pt x="2710" y="1422"/>
                  <a:pt x="2710" y="1422"/>
                  <a:pt x="2710" y="1422"/>
                </a:cubicBezTo>
                <a:cubicBezTo>
                  <a:pt x="2712" y="1422"/>
                  <a:pt x="2712" y="1422"/>
                  <a:pt x="2712" y="1422"/>
                </a:cubicBezTo>
                <a:cubicBezTo>
                  <a:pt x="2713" y="1421"/>
                  <a:pt x="2713" y="1421"/>
                  <a:pt x="2713" y="1421"/>
                </a:cubicBezTo>
                <a:cubicBezTo>
                  <a:pt x="2714" y="1422"/>
                  <a:pt x="2714" y="1422"/>
                  <a:pt x="2714" y="1422"/>
                </a:cubicBezTo>
                <a:cubicBezTo>
                  <a:pt x="2716" y="1421"/>
                  <a:pt x="2716" y="1421"/>
                  <a:pt x="2716" y="1421"/>
                </a:cubicBezTo>
                <a:cubicBezTo>
                  <a:pt x="2720" y="1421"/>
                  <a:pt x="2720" y="1421"/>
                  <a:pt x="2720" y="1421"/>
                </a:cubicBezTo>
                <a:cubicBezTo>
                  <a:pt x="2720" y="1422"/>
                  <a:pt x="2720" y="1422"/>
                  <a:pt x="2720" y="1422"/>
                </a:cubicBezTo>
                <a:cubicBezTo>
                  <a:pt x="2720" y="1423"/>
                  <a:pt x="2720" y="1423"/>
                  <a:pt x="2720" y="1423"/>
                </a:cubicBezTo>
                <a:cubicBezTo>
                  <a:pt x="2722" y="1421"/>
                  <a:pt x="2722" y="1421"/>
                  <a:pt x="2722" y="1421"/>
                </a:cubicBezTo>
                <a:cubicBezTo>
                  <a:pt x="2725" y="1421"/>
                  <a:pt x="2725" y="1421"/>
                  <a:pt x="2725" y="1421"/>
                </a:cubicBezTo>
                <a:cubicBezTo>
                  <a:pt x="2727" y="1419"/>
                  <a:pt x="2727" y="1419"/>
                  <a:pt x="2727" y="1419"/>
                </a:cubicBezTo>
                <a:cubicBezTo>
                  <a:pt x="2728" y="1417"/>
                  <a:pt x="2728" y="1417"/>
                  <a:pt x="2728" y="1417"/>
                </a:cubicBezTo>
                <a:cubicBezTo>
                  <a:pt x="2729" y="1417"/>
                  <a:pt x="2729" y="1417"/>
                  <a:pt x="2729" y="1417"/>
                </a:cubicBezTo>
                <a:cubicBezTo>
                  <a:pt x="2732" y="1415"/>
                  <a:pt x="2732" y="1415"/>
                  <a:pt x="2732" y="1415"/>
                </a:cubicBezTo>
                <a:cubicBezTo>
                  <a:pt x="2733" y="1411"/>
                  <a:pt x="2733" y="1411"/>
                  <a:pt x="2733" y="1411"/>
                </a:cubicBezTo>
                <a:cubicBezTo>
                  <a:pt x="2735" y="1409"/>
                  <a:pt x="2735" y="1409"/>
                  <a:pt x="2735" y="1409"/>
                </a:cubicBezTo>
                <a:cubicBezTo>
                  <a:pt x="2738" y="1408"/>
                  <a:pt x="2738" y="1408"/>
                  <a:pt x="2738" y="1408"/>
                </a:cubicBezTo>
                <a:cubicBezTo>
                  <a:pt x="2739" y="1409"/>
                  <a:pt x="2739" y="1409"/>
                  <a:pt x="2739" y="1409"/>
                </a:cubicBezTo>
                <a:cubicBezTo>
                  <a:pt x="2743" y="1407"/>
                  <a:pt x="2743" y="1407"/>
                  <a:pt x="2743" y="1407"/>
                </a:cubicBezTo>
                <a:cubicBezTo>
                  <a:pt x="2749" y="1404"/>
                  <a:pt x="2749" y="1404"/>
                  <a:pt x="2749" y="1404"/>
                </a:cubicBezTo>
                <a:cubicBezTo>
                  <a:pt x="2752" y="1401"/>
                  <a:pt x="2752" y="1401"/>
                  <a:pt x="2752" y="1401"/>
                </a:cubicBezTo>
                <a:cubicBezTo>
                  <a:pt x="2754" y="1400"/>
                  <a:pt x="2754" y="1400"/>
                  <a:pt x="2754" y="1400"/>
                </a:cubicBezTo>
                <a:cubicBezTo>
                  <a:pt x="2755" y="1401"/>
                  <a:pt x="2755" y="1401"/>
                  <a:pt x="2755" y="1401"/>
                </a:cubicBezTo>
                <a:cubicBezTo>
                  <a:pt x="2757" y="1400"/>
                  <a:pt x="2757" y="1400"/>
                  <a:pt x="2757" y="1400"/>
                </a:cubicBezTo>
                <a:cubicBezTo>
                  <a:pt x="2760" y="1402"/>
                  <a:pt x="2760" y="1402"/>
                  <a:pt x="2760" y="1402"/>
                </a:cubicBezTo>
                <a:cubicBezTo>
                  <a:pt x="2763" y="1402"/>
                  <a:pt x="2763" y="1402"/>
                  <a:pt x="2763" y="1402"/>
                </a:cubicBezTo>
                <a:cubicBezTo>
                  <a:pt x="2764" y="1401"/>
                  <a:pt x="2764" y="1401"/>
                  <a:pt x="2764" y="1401"/>
                </a:cubicBezTo>
                <a:cubicBezTo>
                  <a:pt x="2768" y="1401"/>
                  <a:pt x="2768" y="1401"/>
                  <a:pt x="2768" y="1401"/>
                </a:cubicBezTo>
                <a:cubicBezTo>
                  <a:pt x="2774" y="1399"/>
                  <a:pt x="2774" y="1399"/>
                  <a:pt x="2774" y="1399"/>
                </a:cubicBezTo>
                <a:cubicBezTo>
                  <a:pt x="2777" y="1399"/>
                  <a:pt x="2777" y="1399"/>
                  <a:pt x="2777" y="1399"/>
                </a:cubicBezTo>
                <a:cubicBezTo>
                  <a:pt x="2780" y="1397"/>
                  <a:pt x="2780" y="1397"/>
                  <a:pt x="2780" y="1397"/>
                </a:cubicBezTo>
                <a:cubicBezTo>
                  <a:pt x="2781" y="1397"/>
                  <a:pt x="2781" y="1397"/>
                  <a:pt x="2781" y="1397"/>
                </a:cubicBezTo>
                <a:cubicBezTo>
                  <a:pt x="2784" y="1395"/>
                  <a:pt x="2784" y="1395"/>
                  <a:pt x="2784" y="1395"/>
                </a:cubicBezTo>
                <a:cubicBezTo>
                  <a:pt x="2788" y="1395"/>
                  <a:pt x="2788" y="1395"/>
                  <a:pt x="2788" y="1395"/>
                </a:cubicBezTo>
                <a:cubicBezTo>
                  <a:pt x="2799" y="1394"/>
                  <a:pt x="2799" y="1394"/>
                  <a:pt x="2799" y="1394"/>
                </a:cubicBezTo>
                <a:cubicBezTo>
                  <a:pt x="2803" y="1395"/>
                  <a:pt x="2803" y="1395"/>
                  <a:pt x="2803" y="1395"/>
                </a:cubicBezTo>
                <a:cubicBezTo>
                  <a:pt x="2806" y="1395"/>
                  <a:pt x="2806" y="1395"/>
                  <a:pt x="2806" y="1395"/>
                </a:cubicBezTo>
                <a:cubicBezTo>
                  <a:pt x="2809" y="1394"/>
                  <a:pt x="2809" y="1394"/>
                  <a:pt x="2809" y="1394"/>
                </a:cubicBezTo>
                <a:cubicBezTo>
                  <a:pt x="2811" y="1394"/>
                  <a:pt x="2811" y="1394"/>
                  <a:pt x="2811" y="1394"/>
                </a:cubicBezTo>
                <a:cubicBezTo>
                  <a:pt x="2814" y="1397"/>
                  <a:pt x="2814" y="1397"/>
                  <a:pt x="2814" y="1397"/>
                </a:cubicBezTo>
                <a:cubicBezTo>
                  <a:pt x="2816" y="1401"/>
                  <a:pt x="2816" y="1401"/>
                  <a:pt x="2816" y="1401"/>
                </a:cubicBezTo>
                <a:cubicBezTo>
                  <a:pt x="2818" y="1402"/>
                  <a:pt x="2818" y="1402"/>
                  <a:pt x="2818" y="1402"/>
                </a:cubicBezTo>
                <a:cubicBezTo>
                  <a:pt x="2820" y="1401"/>
                  <a:pt x="2820" y="1401"/>
                  <a:pt x="2820" y="1401"/>
                </a:cubicBezTo>
                <a:cubicBezTo>
                  <a:pt x="2821" y="1400"/>
                  <a:pt x="2821" y="1400"/>
                  <a:pt x="2821" y="1400"/>
                </a:cubicBezTo>
                <a:cubicBezTo>
                  <a:pt x="2822" y="1401"/>
                  <a:pt x="2822" y="1401"/>
                  <a:pt x="2822" y="1401"/>
                </a:cubicBezTo>
                <a:cubicBezTo>
                  <a:pt x="2823" y="1401"/>
                  <a:pt x="2823" y="1401"/>
                  <a:pt x="2823" y="1401"/>
                </a:cubicBezTo>
                <a:cubicBezTo>
                  <a:pt x="2825" y="1401"/>
                  <a:pt x="2825" y="1401"/>
                  <a:pt x="2825" y="1401"/>
                </a:cubicBezTo>
                <a:cubicBezTo>
                  <a:pt x="2827" y="1404"/>
                  <a:pt x="2827" y="1404"/>
                  <a:pt x="2827" y="1404"/>
                </a:cubicBezTo>
                <a:cubicBezTo>
                  <a:pt x="2830" y="1404"/>
                  <a:pt x="2830" y="1404"/>
                  <a:pt x="2830" y="1404"/>
                </a:cubicBezTo>
                <a:cubicBezTo>
                  <a:pt x="2831" y="1403"/>
                  <a:pt x="2831" y="1403"/>
                  <a:pt x="2831" y="1403"/>
                </a:cubicBezTo>
                <a:cubicBezTo>
                  <a:pt x="2835" y="1407"/>
                  <a:pt x="2835" y="1407"/>
                  <a:pt x="2835" y="1407"/>
                </a:cubicBezTo>
                <a:cubicBezTo>
                  <a:pt x="2835" y="1408"/>
                  <a:pt x="2835" y="1408"/>
                  <a:pt x="2835" y="1408"/>
                </a:cubicBezTo>
                <a:cubicBezTo>
                  <a:pt x="2836" y="1408"/>
                  <a:pt x="2836" y="1408"/>
                  <a:pt x="2836" y="1408"/>
                </a:cubicBezTo>
                <a:cubicBezTo>
                  <a:pt x="2838" y="1410"/>
                  <a:pt x="2838" y="1410"/>
                  <a:pt x="2838" y="1410"/>
                </a:cubicBezTo>
                <a:cubicBezTo>
                  <a:pt x="2837" y="1412"/>
                  <a:pt x="2837" y="1412"/>
                  <a:pt x="2837" y="1412"/>
                </a:cubicBezTo>
                <a:cubicBezTo>
                  <a:pt x="2835" y="1412"/>
                  <a:pt x="2835" y="1412"/>
                  <a:pt x="2835" y="1412"/>
                </a:cubicBezTo>
                <a:cubicBezTo>
                  <a:pt x="2835" y="1413"/>
                  <a:pt x="2835" y="1413"/>
                  <a:pt x="2835" y="1413"/>
                </a:cubicBezTo>
                <a:cubicBezTo>
                  <a:pt x="2837" y="1417"/>
                  <a:pt x="2837" y="1417"/>
                  <a:pt x="2837" y="1417"/>
                </a:cubicBezTo>
                <a:cubicBezTo>
                  <a:pt x="2839" y="1417"/>
                  <a:pt x="2839" y="1417"/>
                  <a:pt x="2839" y="1417"/>
                </a:cubicBezTo>
                <a:cubicBezTo>
                  <a:pt x="2841" y="1419"/>
                  <a:pt x="2841" y="1419"/>
                  <a:pt x="2841" y="1419"/>
                </a:cubicBezTo>
                <a:cubicBezTo>
                  <a:pt x="2841" y="1422"/>
                  <a:pt x="2841" y="1422"/>
                  <a:pt x="2841" y="1422"/>
                </a:cubicBezTo>
                <a:cubicBezTo>
                  <a:pt x="2841" y="1424"/>
                  <a:pt x="2841" y="1424"/>
                  <a:pt x="2841" y="1424"/>
                </a:cubicBezTo>
                <a:cubicBezTo>
                  <a:pt x="2843" y="1429"/>
                  <a:pt x="2843" y="1429"/>
                  <a:pt x="2843" y="1429"/>
                </a:cubicBezTo>
                <a:cubicBezTo>
                  <a:pt x="2842" y="1431"/>
                  <a:pt x="2842" y="1431"/>
                  <a:pt x="2842" y="1431"/>
                </a:cubicBezTo>
                <a:cubicBezTo>
                  <a:pt x="2843" y="1433"/>
                  <a:pt x="2843" y="1433"/>
                  <a:pt x="2843" y="1433"/>
                </a:cubicBezTo>
                <a:cubicBezTo>
                  <a:pt x="2843" y="1435"/>
                  <a:pt x="2843" y="1435"/>
                  <a:pt x="2843" y="1435"/>
                </a:cubicBezTo>
                <a:cubicBezTo>
                  <a:pt x="2842" y="1437"/>
                  <a:pt x="2842" y="1437"/>
                  <a:pt x="2842" y="1437"/>
                </a:cubicBezTo>
                <a:cubicBezTo>
                  <a:pt x="2841" y="1436"/>
                  <a:pt x="2841" y="1436"/>
                  <a:pt x="2841" y="1436"/>
                </a:cubicBezTo>
                <a:cubicBezTo>
                  <a:pt x="2840" y="1437"/>
                  <a:pt x="2840" y="1437"/>
                  <a:pt x="2840" y="1437"/>
                </a:cubicBezTo>
                <a:cubicBezTo>
                  <a:pt x="2842" y="1439"/>
                  <a:pt x="2842" y="1439"/>
                  <a:pt x="2842" y="1439"/>
                </a:cubicBezTo>
                <a:cubicBezTo>
                  <a:pt x="2843" y="1439"/>
                  <a:pt x="2843" y="1439"/>
                  <a:pt x="2843" y="1439"/>
                </a:cubicBezTo>
                <a:cubicBezTo>
                  <a:pt x="2844" y="1441"/>
                  <a:pt x="2844" y="1441"/>
                  <a:pt x="2844" y="1441"/>
                </a:cubicBezTo>
                <a:cubicBezTo>
                  <a:pt x="2846" y="1441"/>
                  <a:pt x="2846" y="1441"/>
                  <a:pt x="2846" y="1441"/>
                </a:cubicBezTo>
                <a:cubicBezTo>
                  <a:pt x="2848" y="1442"/>
                  <a:pt x="2848" y="1442"/>
                  <a:pt x="2848" y="1442"/>
                </a:cubicBezTo>
                <a:cubicBezTo>
                  <a:pt x="2848" y="1440"/>
                  <a:pt x="2848" y="1440"/>
                  <a:pt x="2848" y="1440"/>
                </a:cubicBezTo>
                <a:cubicBezTo>
                  <a:pt x="2847" y="1439"/>
                  <a:pt x="2847" y="1439"/>
                  <a:pt x="2847" y="1439"/>
                </a:cubicBezTo>
                <a:cubicBezTo>
                  <a:pt x="2848" y="1438"/>
                  <a:pt x="2848" y="1438"/>
                  <a:pt x="2848" y="1438"/>
                </a:cubicBezTo>
                <a:cubicBezTo>
                  <a:pt x="2849" y="1436"/>
                  <a:pt x="2849" y="1436"/>
                  <a:pt x="2849" y="1436"/>
                </a:cubicBezTo>
                <a:cubicBezTo>
                  <a:pt x="2850" y="1435"/>
                  <a:pt x="2850" y="1435"/>
                  <a:pt x="2850" y="1435"/>
                </a:cubicBezTo>
                <a:cubicBezTo>
                  <a:pt x="2851" y="1434"/>
                  <a:pt x="2851" y="1434"/>
                  <a:pt x="2851" y="1434"/>
                </a:cubicBezTo>
                <a:cubicBezTo>
                  <a:pt x="2853" y="1433"/>
                  <a:pt x="2853" y="1433"/>
                  <a:pt x="2853" y="1433"/>
                </a:cubicBezTo>
                <a:cubicBezTo>
                  <a:pt x="2854" y="1431"/>
                  <a:pt x="2854" y="1431"/>
                  <a:pt x="2854" y="1431"/>
                </a:cubicBezTo>
                <a:cubicBezTo>
                  <a:pt x="2855" y="1429"/>
                  <a:pt x="2855" y="1429"/>
                  <a:pt x="2855" y="1429"/>
                </a:cubicBezTo>
                <a:cubicBezTo>
                  <a:pt x="2860" y="1427"/>
                  <a:pt x="2860" y="1427"/>
                  <a:pt x="2860" y="1427"/>
                </a:cubicBezTo>
                <a:cubicBezTo>
                  <a:pt x="2860" y="1425"/>
                  <a:pt x="2860" y="1425"/>
                  <a:pt x="2860" y="1425"/>
                </a:cubicBezTo>
                <a:cubicBezTo>
                  <a:pt x="2861" y="1425"/>
                  <a:pt x="2861" y="1425"/>
                  <a:pt x="2861" y="1425"/>
                </a:cubicBezTo>
                <a:cubicBezTo>
                  <a:pt x="2864" y="1424"/>
                  <a:pt x="2864" y="1424"/>
                  <a:pt x="2864" y="1424"/>
                </a:cubicBezTo>
                <a:cubicBezTo>
                  <a:pt x="2865" y="1421"/>
                  <a:pt x="2865" y="1421"/>
                  <a:pt x="2865" y="1421"/>
                </a:cubicBezTo>
                <a:cubicBezTo>
                  <a:pt x="2868" y="1417"/>
                  <a:pt x="2868" y="1417"/>
                  <a:pt x="2868" y="1417"/>
                </a:cubicBezTo>
                <a:cubicBezTo>
                  <a:pt x="2871" y="1416"/>
                  <a:pt x="2871" y="1416"/>
                  <a:pt x="2871" y="1416"/>
                </a:cubicBezTo>
                <a:cubicBezTo>
                  <a:pt x="2872" y="1414"/>
                  <a:pt x="2872" y="1414"/>
                  <a:pt x="2872" y="1414"/>
                </a:cubicBezTo>
                <a:cubicBezTo>
                  <a:pt x="2871" y="1412"/>
                  <a:pt x="2871" y="1412"/>
                  <a:pt x="2871" y="1412"/>
                </a:cubicBezTo>
                <a:cubicBezTo>
                  <a:pt x="2872" y="1410"/>
                  <a:pt x="2872" y="1410"/>
                  <a:pt x="2872" y="1410"/>
                </a:cubicBezTo>
                <a:cubicBezTo>
                  <a:pt x="2873" y="1413"/>
                  <a:pt x="2873" y="1413"/>
                  <a:pt x="2873" y="1413"/>
                </a:cubicBezTo>
                <a:cubicBezTo>
                  <a:pt x="2873" y="1415"/>
                  <a:pt x="2873" y="1415"/>
                  <a:pt x="2873" y="1415"/>
                </a:cubicBezTo>
                <a:cubicBezTo>
                  <a:pt x="2873" y="1418"/>
                  <a:pt x="2873" y="1418"/>
                  <a:pt x="2873" y="1418"/>
                </a:cubicBezTo>
                <a:cubicBezTo>
                  <a:pt x="2872" y="1419"/>
                  <a:pt x="2872" y="1419"/>
                  <a:pt x="2872" y="1419"/>
                </a:cubicBezTo>
                <a:cubicBezTo>
                  <a:pt x="2871" y="1425"/>
                  <a:pt x="2871" y="1425"/>
                  <a:pt x="2871" y="1425"/>
                </a:cubicBezTo>
                <a:cubicBezTo>
                  <a:pt x="2867" y="1427"/>
                  <a:pt x="2867" y="1427"/>
                  <a:pt x="2867" y="1427"/>
                </a:cubicBezTo>
                <a:cubicBezTo>
                  <a:pt x="2866" y="1430"/>
                  <a:pt x="2866" y="1430"/>
                  <a:pt x="2866" y="1430"/>
                </a:cubicBezTo>
                <a:cubicBezTo>
                  <a:pt x="2865" y="1431"/>
                  <a:pt x="2865" y="1431"/>
                  <a:pt x="2865" y="1431"/>
                </a:cubicBezTo>
                <a:cubicBezTo>
                  <a:pt x="2865" y="1433"/>
                  <a:pt x="2865" y="1433"/>
                  <a:pt x="2865" y="1433"/>
                </a:cubicBezTo>
                <a:cubicBezTo>
                  <a:pt x="2863" y="1437"/>
                  <a:pt x="2863" y="1437"/>
                  <a:pt x="2863" y="1437"/>
                </a:cubicBezTo>
                <a:cubicBezTo>
                  <a:pt x="2864" y="1438"/>
                  <a:pt x="2864" y="1438"/>
                  <a:pt x="2864" y="1438"/>
                </a:cubicBezTo>
                <a:cubicBezTo>
                  <a:pt x="2862" y="1443"/>
                  <a:pt x="2862" y="1443"/>
                  <a:pt x="2862" y="1443"/>
                </a:cubicBezTo>
                <a:cubicBezTo>
                  <a:pt x="2857" y="1442"/>
                  <a:pt x="2857" y="1442"/>
                  <a:pt x="2857" y="1442"/>
                </a:cubicBezTo>
                <a:cubicBezTo>
                  <a:pt x="2856" y="1445"/>
                  <a:pt x="2856" y="1445"/>
                  <a:pt x="2856" y="1445"/>
                </a:cubicBezTo>
                <a:cubicBezTo>
                  <a:pt x="2855" y="1447"/>
                  <a:pt x="2855" y="1447"/>
                  <a:pt x="2855" y="1447"/>
                </a:cubicBezTo>
                <a:cubicBezTo>
                  <a:pt x="2855" y="1448"/>
                  <a:pt x="2855" y="1448"/>
                  <a:pt x="2855" y="1448"/>
                </a:cubicBezTo>
                <a:cubicBezTo>
                  <a:pt x="2858" y="1447"/>
                  <a:pt x="2858" y="1447"/>
                  <a:pt x="2858" y="1447"/>
                </a:cubicBezTo>
                <a:cubicBezTo>
                  <a:pt x="2861" y="1446"/>
                  <a:pt x="2861" y="1446"/>
                  <a:pt x="2861" y="1446"/>
                </a:cubicBezTo>
                <a:cubicBezTo>
                  <a:pt x="2864" y="1447"/>
                  <a:pt x="2864" y="1447"/>
                  <a:pt x="2864" y="1447"/>
                </a:cubicBezTo>
                <a:cubicBezTo>
                  <a:pt x="2867" y="1441"/>
                  <a:pt x="2867" y="1441"/>
                  <a:pt x="2867" y="1441"/>
                </a:cubicBezTo>
                <a:cubicBezTo>
                  <a:pt x="2868" y="1436"/>
                  <a:pt x="2868" y="1436"/>
                  <a:pt x="2868" y="1436"/>
                </a:cubicBezTo>
                <a:cubicBezTo>
                  <a:pt x="2871" y="1433"/>
                  <a:pt x="2871" y="1433"/>
                  <a:pt x="2871" y="1433"/>
                </a:cubicBezTo>
                <a:cubicBezTo>
                  <a:pt x="2872" y="1434"/>
                  <a:pt x="2872" y="1434"/>
                  <a:pt x="2872" y="1434"/>
                </a:cubicBezTo>
                <a:cubicBezTo>
                  <a:pt x="2872" y="1439"/>
                  <a:pt x="2872" y="1439"/>
                  <a:pt x="2872" y="1439"/>
                </a:cubicBezTo>
                <a:cubicBezTo>
                  <a:pt x="2873" y="1442"/>
                  <a:pt x="2873" y="1442"/>
                  <a:pt x="2873" y="1442"/>
                </a:cubicBezTo>
                <a:cubicBezTo>
                  <a:pt x="2872" y="1442"/>
                  <a:pt x="2872" y="1442"/>
                  <a:pt x="2872" y="1442"/>
                </a:cubicBezTo>
                <a:cubicBezTo>
                  <a:pt x="2873" y="1447"/>
                  <a:pt x="2873" y="1447"/>
                  <a:pt x="2873" y="1447"/>
                </a:cubicBezTo>
                <a:cubicBezTo>
                  <a:pt x="2870" y="1451"/>
                  <a:pt x="2870" y="1451"/>
                  <a:pt x="2870" y="1451"/>
                </a:cubicBezTo>
                <a:cubicBezTo>
                  <a:pt x="2866" y="1453"/>
                  <a:pt x="2866" y="1453"/>
                  <a:pt x="2866" y="1453"/>
                </a:cubicBezTo>
                <a:cubicBezTo>
                  <a:pt x="2867" y="1454"/>
                  <a:pt x="2867" y="1454"/>
                  <a:pt x="2867" y="1454"/>
                </a:cubicBezTo>
                <a:cubicBezTo>
                  <a:pt x="2870" y="1454"/>
                  <a:pt x="2870" y="1454"/>
                  <a:pt x="2870" y="1454"/>
                </a:cubicBezTo>
                <a:cubicBezTo>
                  <a:pt x="2872" y="1454"/>
                  <a:pt x="2872" y="1454"/>
                  <a:pt x="2872" y="1454"/>
                </a:cubicBezTo>
                <a:cubicBezTo>
                  <a:pt x="2873" y="1453"/>
                  <a:pt x="2873" y="1453"/>
                  <a:pt x="2873" y="1453"/>
                </a:cubicBezTo>
                <a:cubicBezTo>
                  <a:pt x="2875" y="1452"/>
                  <a:pt x="2875" y="1452"/>
                  <a:pt x="2875" y="1452"/>
                </a:cubicBezTo>
                <a:cubicBezTo>
                  <a:pt x="2877" y="1450"/>
                  <a:pt x="2877" y="1450"/>
                  <a:pt x="2877" y="1450"/>
                </a:cubicBezTo>
                <a:cubicBezTo>
                  <a:pt x="2879" y="1451"/>
                  <a:pt x="2879" y="1451"/>
                  <a:pt x="2879" y="1451"/>
                </a:cubicBezTo>
                <a:cubicBezTo>
                  <a:pt x="2880" y="1451"/>
                  <a:pt x="2880" y="1451"/>
                  <a:pt x="2880" y="1451"/>
                </a:cubicBezTo>
                <a:cubicBezTo>
                  <a:pt x="2879" y="1452"/>
                  <a:pt x="2879" y="1452"/>
                  <a:pt x="2879" y="1452"/>
                </a:cubicBezTo>
                <a:cubicBezTo>
                  <a:pt x="2878" y="1454"/>
                  <a:pt x="2878" y="1454"/>
                  <a:pt x="2878" y="1454"/>
                </a:cubicBezTo>
                <a:cubicBezTo>
                  <a:pt x="2876" y="1454"/>
                  <a:pt x="2876" y="1454"/>
                  <a:pt x="2876" y="1454"/>
                </a:cubicBezTo>
                <a:cubicBezTo>
                  <a:pt x="2876" y="1455"/>
                  <a:pt x="2876" y="1455"/>
                  <a:pt x="2876" y="1455"/>
                </a:cubicBezTo>
                <a:cubicBezTo>
                  <a:pt x="2878" y="1458"/>
                  <a:pt x="2878" y="1458"/>
                  <a:pt x="2878" y="1458"/>
                </a:cubicBezTo>
                <a:cubicBezTo>
                  <a:pt x="2878" y="1460"/>
                  <a:pt x="2878" y="1460"/>
                  <a:pt x="2878" y="1460"/>
                </a:cubicBezTo>
                <a:cubicBezTo>
                  <a:pt x="2880" y="1463"/>
                  <a:pt x="2880" y="1463"/>
                  <a:pt x="2880" y="1463"/>
                </a:cubicBezTo>
                <a:cubicBezTo>
                  <a:pt x="2880" y="1467"/>
                  <a:pt x="2880" y="1467"/>
                  <a:pt x="2880" y="1467"/>
                </a:cubicBezTo>
                <a:cubicBezTo>
                  <a:pt x="2879" y="1471"/>
                  <a:pt x="2879" y="1471"/>
                  <a:pt x="2879" y="1471"/>
                </a:cubicBezTo>
                <a:cubicBezTo>
                  <a:pt x="2877" y="1474"/>
                  <a:pt x="2877" y="1474"/>
                  <a:pt x="2877" y="1474"/>
                </a:cubicBezTo>
                <a:cubicBezTo>
                  <a:pt x="2877" y="1475"/>
                  <a:pt x="2877" y="1475"/>
                  <a:pt x="2877" y="1475"/>
                </a:cubicBezTo>
                <a:cubicBezTo>
                  <a:pt x="2877" y="1479"/>
                  <a:pt x="2877" y="1479"/>
                  <a:pt x="2877" y="1479"/>
                </a:cubicBezTo>
                <a:cubicBezTo>
                  <a:pt x="2879" y="1481"/>
                  <a:pt x="2879" y="1481"/>
                  <a:pt x="2879" y="1481"/>
                </a:cubicBezTo>
                <a:cubicBezTo>
                  <a:pt x="2880" y="1483"/>
                  <a:pt x="2880" y="1483"/>
                  <a:pt x="2880" y="1483"/>
                </a:cubicBezTo>
                <a:cubicBezTo>
                  <a:pt x="2881" y="1486"/>
                  <a:pt x="2881" y="1486"/>
                  <a:pt x="2881" y="1486"/>
                </a:cubicBezTo>
                <a:cubicBezTo>
                  <a:pt x="2884" y="1491"/>
                  <a:pt x="2884" y="1491"/>
                  <a:pt x="2884" y="1491"/>
                </a:cubicBezTo>
                <a:cubicBezTo>
                  <a:pt x="2887" y="1492"/>
                  <a:pt x="2887" y="1492"/>
                  <a:pt x="2887" y="1492"/>
                </a:cubicBezTo>
                <a:cubicBezTo>
                  <a:pt x="2889" y="1493"/>
                  <a:pt x="2889" y="1493"/>
                  <a:pt x="2889" y="1493"/>
                </a:cubicBezTo>
                <a:cubicBezTo>
                  <a:pt x="2890" y="1496"/>
                  <a:pt x="2890" y="1496"/>
                  <a:pt x="2890" y="1496"/>
                </a:cubicBezTo>
                <a:cubicBezTo>
                  <a:pt x="2892" y="1496"/>
                  <a:pt x="2892" y="1496"/>
                  <a:pt x="2892" y="1496"/>
                </a:cubicBezTo>
                <a:cubicBezTo>
                  <a:pt x="2892" y="1495"/>
                  <a:pt x="2892" y="1495"/>
                  <a:pt x="2892" y="1495"/>
                </a:cubicBezTo>
                <a:cubicBezTo>
                  <a:pt x="2894" y="1495"/>
                  <a:pt x="2894" y="1495"/>
                  <a:pt x="2894" y="1495"/>
                </a:cubicBezTo>
                <a:cubicBezTo>
                  <a:pt x="2896" y="1495"/>
                  <a:pt x="2896" y="1495"/>
                  <a:pt x="2896" y="1495"/>
                </a:cubicBezTo>
                <a:cubicBezTo>
                  <a:pt x="2899" y="1498"/>
                  <a:pt x="2899" y="1498"/>
                  <a:pt x="2899" y="1498"/>
                </a:cubicBezTo>
                <a:cubicBezTo>
                  <a:pt x="2901" y="1498"/>
                  <a:pt x="2901" y="1498"/>
                  <a:pt x="2901" y="1498"/>
                </a:cubicBezTo>
                <a:cubicBezTo>
                  <a:pt x="2903" y="1501"/>
                  <a:pt x="2903" y="1501"/>
                  <a:pt x="2903" y="1501"/>
                </a:cubicBezTo>
                <a:cubicBezTo>
                  <a:pt x="2904" y="1503"/>
                  <a:pt x="2904" y="1503"/>
                  <a:pt x="2904" y="1503"/>
                </a:cubicBezTo>
                <a:cubicBezTo>
                  <a:pt x="2906" y="1503"/>
                  <a:pt x="2906" y="1503"/>
                  <a:pt x="2906" y="1503"/>
                </a:cubicBezTo>
                <a:cubicBezTo>
                  <a:pt x="2908" y="1506"/>
                  <a:pt x="2908" y="1506"/>
                  <a:pt x="2908" y="1506"/>
                </a:cubicBezTo>
                <a:cubicBezTo>
                  <a:pt x="2909" y="1506"/>
                  <a:pt x="2909" y="1506"/>
                  <a:pt x="2909" y="1506"/>
                </a:cubicBezTo>
                <a:cubicBezTo>
                  <a:pt x="2910" y="1504"/>
                  <a:pt x="2910" y="1504"/>
                  <a:pt x="2910" y="1504"/>
                </a:cubicBezTo>
                <a:cubicBezTo>
                  <a:pt x="2914" y="1503"/>
                  <a:pt x="2914" y="1503"/>
                  <a:pt x="2914" y="1503"/>
                </a:cubicBezTo>
                <a:cubicBezTo>
                  <a:pt x="2915" y="1501"/>
                  <a:pt x="2915" y="1501"/>
                  <a:pt x="2915" y="1501"/>
                </a:cubicBezTo>
                <a:cubicBezTo>
                  <a:pt x="2917" y="1501"/>
                  <a:pt x="2917" y="1501"/>
                  <a:pt x="2917" y="1501"/>
                </a:cubicBezTo>
                <a:cubicBezTo>
                  <a:pt x="2920" y="1498"/>
                  <a:pt x="2920" y="1498"/>
                  <a:pt x="2920" y="1498"/>
                </a:cubicBezTo>
                <a:cubicBezTo>
                  <a:pt x="2922" y="1499"/>
                  <a:pt x="2922" y="1499"/>
                  <a:pt x="2922" y="1499"/>
                </a:cubicBezTo>
                <a:cubicBezTo>
                  <a:pt x="2923" y="1498"/>
                  <a:pt x="2923" y="1498"/>
                  <a:pt x="2923" y="1498"/>
                </a:cubicBezTo>
                <a:cubicBezTo>
                  <a:pt x="2922" y="1497"/>
                  <a:pt x="2922" y="1497"/>
                  <a:pt x="2922" y="1497"/>
                </a:cubicBezTo>
                <a:cubicBezTo>
                  <a:pt x="2920" y="1496"/>
                  <a:pt x="2920" y="1496"/>
                  <a:pt x="2920" y="1496"/>
                </a:cubicBezTo>
                <a:cubicBezTo>
                  <a:pt x="2921" y="1495"/>
                  <a:pt x="2921" y="1495"/>
                  <a:pt x="2921" y="1495"/>
                </a:cubicBezTo>
                <a:cubicBezTo>
                  <a:pt x="2925" y="1492"/>
                  <a:pt x="2925" y="1492"/>
                  <a:pt x="2925" y="1492"/>
                </a:cubicBezTo>
                <a:cubicBezTo>
                  <a:pt x="2928" y="1494"/>
                  <a:pt x="2928" y="1494"/>
                  <a:pt x="2928" y="1494"/>
                </a:cubicBezTo>
                <a:cubicBezTo>
                  <a:pt x="2928" y="1497"/>
                  <a:pt x="2928" y="1497"/>
                  <a:pt x="2928" y="1497"/>
                </a:cubicBezTo>
                <a:cubicBezTo>
                  <a:pt x="2924" y="1499"/>
                  <a:pt x="2924" y="1499"/>
                  <a:pt x="2924" y="1499"/>
                </a:cubicBezTo>
                <a:cubicBezTo>
                  <a:pt x="2925" y="1501"/>
                  <a:pt x="2925" y="1501"/>
                  <a:pt x="2925" y="1501"/>
                </a:cubicBezTo>
                <a:cubicBezTo>
                  <a:pt x="2926" y="1501"/>
                  <a:pt x="2926" y="1501"/>
                  <a:pt x="2926" y="1501"/>
                </a:cubicBezTo>
                <a:cubicBezTo>
                  <a:pt x="2928" y="1499"/>
                  <a:pt x="2928" y="1499"/>
                  <a:pt x="2928" y="1499"/>
                </a:cubicBezTo>
                <a:cubicBezTo>
                  <a:pt x="2929" y="1498"/>
                  <a:pt x="2929" y="1498"/>
                  <a:pt x="2929" y="1498"/>
                </a:cubicBezTo>
                <a:cubicBezTo>
                  <a:pt x="2931" y="1499"/>
                  <a:pt x="2931" y="1499"/>
                  <a:pt x="2931" y="1499"/>
                </a:cubicBezTo>
                <a:cubicBezTo>
                  <a:pt x="2931" y="1501"/>
                  <a:pt x="2931" y="1501"/>
                  <a:pt x="2931" y="1501"/>
                </a:cubicBezTo>
                <a:cubicBezTo>
                  <a:pt x="2930" y="1501"/>
                  <a:pt x="2930" y="1501"/>
                  <a:pt x="2930" y="1501"/>
                </a:cubicBezTo>
                <a:cubicBezTo>
                  <a:pt x="2928" y="1503"/>
                  <a:pt x="2928" y="1503"/>
                  <a:pt x="2928" y="1503"/>
                </a:cubicBezTo>
                <a:cubicBezTo>
                  <a:pt x="2931" y="1506"/>
                  <a:pt x="2931" y="1506"/>
                  <a:pt x="2931" y="1506"/>
                </a:cubicBezTo>
                <a:cubicBezTo>
                  <a:pt x="2932" y="1509"/>
                  <a:pt x="2932" y="1509"/>
                  <a:pt x="2932" y="1509"/>
                </a:cubicBezTo>
                <a:cubicBezTo>
                  <a:pt x="2933" y="1509"/>
                  <a:pt x="2933" y="1509"/>
                  <a:pt x="2933" y="1509"/>
                </a:cubicBezTo>
                <a:cubicBezTo>
                  <a:pt x="2934" y="1509"/>
                  <a:pt x="2934" y="1509"/>
                  <a:pt x="2934" y="1509"/>
                </a:cubicBezTo>
                <a:cubicBezTo>
                  <a:pt x="2934" y="1511"/>
                  <a:pt x="2934" y="1511"/>
                  <a:pt x="2934" y="1511"/>
                </a:cubicBezTo>
                <a:cubicBezTo>
                  <a:pt x="2935" y="1513"/>
                  <a:pt x="2935" y="1513"/>
                  <a:pt x="2935" y="1513"/>
                </a:cubicBezTo>
                <a:cubicBezTo>
                  <a:pt x="2937" y="1511"/>
                  <a:pt x="2937" y="1511"/>
                  <a:pt x="2937" y="1511"/>
                </a:cubicBezTo>
                <a:cubicBezTo>
                  <a:pt x="2937" y="1508"/>
                  <a:pt x="2937" y="1508"/>
                  <a:pt x="2937" y="1508"/>
                </a:cubicBezTo>
                <a:cubicBezTo>
                  <a:pt x="2935" y="1509"/>
                  <a:pt x="2935" y="1509"/>
                  <a:pt x="2935" y="1509"/>
                </a:cubicBezTo>
                <a:cubicBezTo>
                  <a:pt x="2935" y="1508"/>
                  <a:pt x="2935" y="1508"/>
                  <a:pt x="2935" y="1508"/>
                </a:cubicBezTo>
                <a:cubicBezTo>
                  <a:pt x="2936" y="1507"/>
                  <a:pt x="2936" y="1507"/>
                  <a:pt x="2936" y="1507"/>
                </a:cubicBezTo>
                <a:cubicBezTo>
                  <a:pt x="2941" y="1507"/>
                  <a:pt x="2941" y="1507"/>
                  <a:pt x="2941" y="1507"/>
                </a:cubicBezTo>
                <a:cubicBezTo>
                  <a:pt x="2942" y="1508"/>
                  <a:pt x="2942" y="1508"/>
                  <a:pt x="2942" y="1508"/>
                </a:cubicBezTo>
                <a:cubicBezTo>
                  <a:pt x="2942" y="1507"/>
                  <a:pt x="2942" y="1507"/>
                  <a:pt x="2942" y="1507"/>
                </a:cubicBezTo>
                <a:cubicBezTo>
                  <a:pt x="2945" y="1503"/>
                  <a:pt x="2945" y="1503"/>
                  <a:pt x="2945" y="1503"/>
                </a:cubicBezTo>
                <a:cubicBezTo>
                  <a:pt x="2950" y="1500"/>
                  <a:pt x="2950" y="1500"/>
                  <a:pt x="2950" y="1500"/>
                </a:cubicBezTo>
                <a:cubicBezTo>
                  <a:pt x="2953" y="1497"/>
                  <a:pt x="2953" y="1497"/>
                  <a:pt x="2953" y="1497"/>
                </a:cubicBezTo>
                <a:cubicBezTo>
                  <a:pt x="2951" y="1497"/>
                  <a:pt x="2951" y="1497"/>
                  <a:pt x="2951" y="1497"/>
                </a:cubicBezTo>
                <a:cubicBezTo>
                  <a:pt x="2950" y="1498"/>
                  <a:pt x="2950" y="1498"/>
                  <a:pt x="2950" y="1498"/>
                </a:cubicBezTo>
                <a:cubicBezTo>
                  <a:pt x="2951" y="1497"/>
                  <a:pt x="2951" y="1497"/>
                  <a:pt x="2951" y="1497"/>
                </a:cubicBezTo>
                <a:cubicBezTo>
                  <a:pt x="2949" y="1497"/>
                  <a:pt x="2949" y="1497"/>
                  <a:pt x="2949" y="1497"/>
                </a:cubicBezTo>
                <a:cubicBezTo>
                  <a:pt x="2951" y="1497"/>
                  <a:pt x="2951" y="1497"/>
                  <a:pt x="2951" y="1497"/>
                </a:cubicBezTo>
                <a:cubicBezTo>
                  <a:pt x="2953" y="1497"/>
                  <a:pt x="2953" y="1497"/>
                  <a:pt x="2953" y="1497"/>
                </a:cubicBezTo>
                <a:cubicBezTo>
                  <a:pt x="2957" y="1496"/>
                  <a:pt x="2957" y="1496"/>
                  <a:pt x="2957" y="1496"/>
                </a:cubicBezTo>
                <a:cubicBezTo>
                  <a:pt x="2965" y="1494"/>
                  <a:pt x="2965" y="1494"/>
                  <a:pt x="2965" y="1494"/>
                </a:cubicBezTo>
                <a:cubicBezTo>
                  <a:pt x="2971" y="1495"/>
                  <a:pt x="2971" y="1495"/>
                  <a:pt x="2971" y="1495"/>
                </a:cubicBezTo>
                <a:cubicBezTo>
                  <a:pt x="2974" y="1494"/>
                  <a:pt x="2974" y="1494"/>
                  <a:pt x="2974" y="1494"/>
                </a:cubicBezTo>
                <a:cubicBezTo>
                  <a:pt x="2974" y="1492"/>
                  <a:pt x="2974" y="1492"/>
                  <a:pt x="2974" y="1492"/>
                </a:cubicBezTo>
                <a:cubicBezTo>
                  <a:pt x="2976" y="1492"/>
                  <a:pt x="2976" y="1492"/>
                  <a:pt x="2976" y="1492"/>
                </a:cubicBezTo>
                <a:cubicBezTo>
                  <a:pt x="2978" y="1491"/>
                  <a:pt x="2978" y="1491"/>
                  <a:pt x="2978" y="1491"/>
                </a:cubicBezTo>
                <a:cubicBezTo>
                  <a:pt x="2979" y="1487"/>
                  <a:pt x="2979" y="1487"/>
                  <a:pt x="2979" y="1487"/>
                </a:cubicBezTo>
                <a:cubicBezTo>
                  <a:pt x="2979" y="1483"/>
                  <a:pt x="2979" y="1483"/>
                  <a:pt x="2979" y="1483"/>
                </a:cubicBezTo>
                <a:cubicBezTo>
                  <a:pt x="2979" y="1481"/>
                  <a:pt x="2979" y="1481"/>
                  <a:pt x="2979" y="1481"/>
                </a:cubicBezTo>
                <a:cubicBezTo>
                  <a:pt x="2982" y="1478"/>
                  <a:pt x="2982" y="1478"/>
                  <a:pt x="2982" y="1478"/>
                </a:cubicBezTo>
                <a:cubicBezTo>
                  <a:pt x="2982" y="1472"/>
                  <a:pt x="2982" y="1472"/>
                  <a:pt x="2982" y="1472"/>
                </a:cubicBezTo>
                <a:cubicBezTo>
                  <a:pt x="2984" y="1469"/>
                  <a:pt x="2984" y="1469"/>
                  <a:pt x="2984" y="1469"/>
                </a:cubicBezTo>
                <a:cubicBezTo>
                  <a:pt x="2984" y="1465"/>
                  <a:pt x="2984" y="1465"/>
                  <a:pt x="2984" y="1465"/>
                </a:cubicBezTo>
                <a:cubicBezTo>
                  <a:pt x="2986" y="1464"/>
                  <a:pt x="2986" y="1464"/>
                  <a:pt x="2986" y="1464"/>
                </a:cubicBezTo>
                <a:cubicBezTo>
                  <a:pt x="2986" y="1462"/>
                  <a:pt x="2986" y="1462"/>
                  <a:pt x="2986" y="1462"/>
                </a:cubicBezTo>
                <a:cubicBezTo>
                  <a:pt x="2992" y="1455"/>
                  <a:pt x="2992" y="1455"/>
                  <a:pt x="2992" y="1455"/>
                </a:cubicBezTo>
                <a:cubicBezTo>
                  <a:pt x="2994" y="1454"/>
                  <a:pt x="2994" y="1454"/>
                  <a:pt x="2994" y="1454"/>
                </a:cubicBezTo>
                <a:cubicBezTo>
                  <a:pt x="2995" y="1450"/>
                  <a:pt x="2995" y="1450"/>
                  <a:pt x="2995" y="1450"/>
                </a:cubicBezTo>
                <a:cubicBezTo>
                  <a:pt x="2998" y="1447"/>
                  <a:pt x="2998" y="1447"/>
                  <a:pt x="2998" y="1447"/>
                </a:cubicBezTo>
                <a:cubicBezTo>
                  <a:pt x="2999" y="1443"/>
                  <a:pt x="2999" y="1443"/>
                  <a:pt x="2999" y="1443"/>
                </a:cubicBezTo>
                <a:cubicBezTo>
                  <a:pt x="3002" y="1440"/>
                  <a:pt x="3002" y="1440"/>
                  <a:pt x="3002" y="1440"/>
                </a:cubicBezTo>
                <a:cubicBezTo>
                  <a:pt x="3001" y="1438"/>
                  <a:pt x="3001" y="1438"/>
                  <a:pt x="3001" y="1438"/>
                </a:cubicBezTo>
                <a:cubicBezTo>
                  <a:pt x="3003" y="1437"/>
                  <a:pt x="3003" y="1437"/>
                  <a:pt x="3003" y="1437"/>
                </a:cubicBezTo>
                <a:cubicBezTo>
                  <a:pt x="3005" y="1433"/>
                  <a:pt x="3005" y="1433"/>
                  <a:pt x="3005" y="1433"/>
                </a:cubicBezTo>
                <a:cubicBezTo>
                  <a:pt x="3003" y="1432"/>
                  <a:pt x="3003" y="1432"/>
                  <a:pt x="3003" y="1432"/>
                </a:cubicBezTo>
                <a:cubicBezTo>
                  <a:pt x="3007" y="1431"/>
                  <a:pt x="3007" y="1431"/>
                  <a:pt x="3007" y="1431"/>
                </a:cubicBezTo>
                <a:cubicBezTo>
                  <a:pt x="3009" y="1427"/>
                  <a:pt x="3009" y="1427"/>
                  <a:pt x="3009" y="1427"/>
                </a:cubicBezTo>
                <a:cubicBezTo>
                  <a:pt x="3010" y="1426"/>
                  <a:pt x="3010" y="1426"/>
                  <a:pt x="3010" y="1426"/>
                </a:cubicBezTo>
                <a:cubicBezTo>
                  <a:pt x="3011" y="1423"/>
                  <a:pt x="3011" y="1423"/>
                  <a:pt x="3011" y="1423"/>
                </a:cubicBezTo>
                <a:cubicBezTo>
                  <a:pt x="3014" y="1422"/>
                  <a:pt x="3014" y="1422"/>
                  <a:pt x="3014" y="1422"/>
                </a:cubicBezTo>
                <a:cubicBezTo>
                  <a:pt x="3016" y="1421"/>
                  <a:pt x="3016" y="1421"/>
                  <a:pt x="3016" y="1421"/>
                </a:cubicBezTo>
                <a:cubicBezTo>
                  <a:pt x="3013" y="1421"/>
                  <a:pt x="3013" y="1421"/>
                  <a:pt x="3013" y="1421"/>
                </a:cubicBezTo>
                <a:cubicBezTo>
                  <a:pt x="3014" y="1420"/>
                  <a:pt x="3014" y="1420"/>
                  <a:pt x="3014" y="1420"/>
                </a:cubicBezTo>
                <a:cubicBezTo>
                  <a:pt x="3018" y="1420"/>
                  <a:pt x="3018" y="1420"/>
                  <a:pt x="3018" y="1420"/>
                </a:cubicBezTo>
                <a:cubicBezTo>
                  <a:pt x="3021" y="1417"/>
                  <a:pt x="3021" y="1417"/>
                  <a:pt x="3021" y="1417"/>
                </a:cubicBezTo>
                <a:cubicBezTo>
                  <a:pt x="3022" y="1415"/>
                  <a:pt x="3022" y="1415"/>
                  <a:pt x="3022" y="1415"/>
                </a:cubicBezTo>
                <a:cubicBezTo>
                  <a:pt x="3021" y="1414"/>
                  <a:pt x="3021" y="1414"/>
                  <a:pt x="3021" y="1414"/>
                </a:cubicBezTo>
                <a:cubicBezTo>
                  <a:pt x="3022" y="1412"/>
                  <a:pt x="3022" y="1412"/>
                  <a:pt x="3022" y="1412"/>
                </a:cubicBezTo>
                <a:cubicBezTo>
                  <a:pt x="3025" y="1409"/>
                  <a:pt x="3025" y="1409"/>
                  <a:pt x="3025" y="1409"/>
                </a:cubicBezTo>
                <a:cubicBezTo>
                  <a:pt x="3025" y="1407"/>
                  <a:pt x="3025" y="1407"/>
                  <a:pt x="3025" y="1407"/>
                </a:cubicBezTo>
                <a:cubicBezTo>
                  <a:pt x="3027" y="1406"/>
                  <a:pt x="3027" y="1406"/>
                  <a:pt x="3027" y="1406"/>
                </a:cubicBezTo>
                <a:cubicBezTo>
                  <a:pt x="3029" y="1402"/>
                  <a:pt x="3029" y="1402"/>
                  <a:pt x="3029" y="1402"/>
                </a:cubicBezTo>
                <a:cubicBezTo>
                  <a:pt x="3029" y="1400"/>
                  <a:pt x="3029" y="1400"/>
                  <a:pt x="3029" y="1400"/>
                </a:cubicBezTo>
                <a:cubicBezTo>
                  <a:pt x="3030" y="1397"/>
                  <a:pt x="3030" y="1397"/>
                  <a:pt x="3030" y="1397"/>
                </a:cubicBezTo>
                <a:cubicBezTo>
                  <a:pt x="3029" y="1396"/>
                  <a:pt x="3029" y="1396"/>
                  <a:pt x="3029" y="1396"/>
                </a:cubicBezTo>
                <a:cubicBezTo>
                  <a:pt x="3030" y="1395"/>
                  <a:pt x="3030" y="1395"/>
                  <a:pt x="3030" y="1395"/>
                </a:cubicBezTo>
                <a:cubicBezTo>
                  <a:pt x="3033" y="1388"/>
                  <a:pt x="3033" y="1388"/>
                  <a:pt x="3033" y="1388"/>
                </a:cubicBezTo>
                <a:cubicBezTo>
                  <a:pt x="3033" y="1385"/>
                  <a:pt x="3033" y="1385"/>
                  <a:pt x="3033" y="1385"/>
                </a:cubicBezTo>
                <a:cubicBezTo>
                  <a:pt x="3037" y="1378"/>
                  <a:pt x="3037" y="1378"/>
                  <a:pt x="3037" y="1378"/>
                </a:cubicBezTo>
                <a:cubicBezTo>
                  <a:pt x="3037" y="1376"/>
                  <a:pt x="3037" y="1376"/>
                  <a:pt x="3037" y="1376"/>
                </a:cubicBezTo>
                <a:cubicBezTo>
                  <a:pt x="3039" y="1371"/>
                  <a:pt x="3039" y="1371"/>
                  <a:pt x="3039" y="1371"/>
                </a:cubicBezTo>
                <a:cubicBezTo>
                  <a:pt x="3041" y="1369"/>
                  <a:pt x="3041" y="1369"/>
                  <a:pt x="3041" y="1369"/>
                </a:cubicBezTo>
                <a:cubicBezTo>
                  <a:pt x="3042" y="1366"/>
                  <a:pt x="3042" y="1366"/>
                  <a:pt x="3042" y="1366"/>
                </a:cubicBezTo>
                <a:cubicBezTo>
                  <a:pt x="3042" y="1363"/>
                  <a:pt x="3042" y="1363"/>
                  <a:pt x="3042" y="1363"/>
                </a:cubicBezTo>
                <a:cubicBezTo>
                  <a:pt x="3043" y="1361"/>
                  <a:pt x="3043" y="1361"/>
                  <a:pt x="3043" y="1361"/>
                </a:cubicBezTo>
                <a:lnTo>
                  <a:pt x="3042" y="1356"/>
                </a:lnTo>
                <a:close/>
                <a:moveTo>
                  <a:pt x="2891" y="1188"/>
                </a:moveTo>
                <a:cubicBezTo>
                  <a:pt x="2892" y="1188"/>
                  <a:pt x="2892" y="1188"/>
                  <a:pt x="2892" y="1188"/>
                </a:cubicBezTo>
                <a:cubicBezTo>
                  <a:pt x="2895" y="1188"/>
                  <a:pt x="2895" y="1188"/>
                  <a:pt x="2895" y="1188"/>
                </a:cubicBezTo>
                <a:cubicBezTo>
                  <a:pt x="2896" y="1187"/>
                  <a:pt x="2896" y="1187"/>
                  <a:pt x="2896" y="1187"/>
                </a:cubicBezTo>
                <a:cubicBezTo>
                  <a:pt x="2895" y="1186"/>
                  <a:pt x="2895" y="1186"/>
                  <a:pt x="2895" y="1186"/>
                </a:cubicBezTo>
                <a:cubicBezTo>
                  <a:pt x="2894" y="1187"/>
                  <a:pt x="2894" y="1187"/>
                  <a:pt x="2894" y="1187"/>
                </a:cubicBezTo>
                <a:cubicBezTo>
                  <a:pt x="2894" y="1186"/>
                  <a:pt x="2894" y="1186"/>
                  <a:pt x="2894" y="1186"/>
                </a:cubicBezTo>
                <a:cubicBezTo>
                  <a:pt x="2895" y="1184"/>
                  <a:pt x="2895" y="1184"/>
                  <a:pt x="2895" y="1184"/>
                </a:cubicBezTo>
                <a:cubicBezTo>
                  <a:pt x="2895" y="1184"/>
                  <a:pt x="2895" y="1184"/>
                  <a:pt x="2895" y="1184"/>
                </a:cubicBezTo>
                <a:cubicBezTo>
                  <a:pt x="2893" y="1185"/>
                  <a:pt x="2893" y="1185"/>
                  <a:pt x="2893" y="1185"/>
                </a:cubicBezTo>
                <a:cubicBezTo>
                  <a:pt x="2893" y="1183"/>
                  <a:pt x="2893" y="1183"/>
                  <a:pt x="2893" y="1183"/>
                </a:cubicBezTo>
                <a:cubicBezTo>
                  <a:pt x="2892" y="1183"/>
                  <a:pt x="2892" y="1183"/>
                  <a:pt x="2892" y="1183"/>
                </a:cubicBezTo>
                <a:cubicBezTo>
                  <a:pt x="2892" y="1184"/>
                  <a:pt x="2892" y="1184"/>
                  <a:pt x="2892" y="1184"/>
                </a:cubicBezTo>
                <a:cubicBezTo>
                  <a:pt x="2890" y="1184"/>
                  <a:pt x="2890" y="1184"/>
                  <a:pt x="2890" y="1184"/>
                </a:cubicBezTo>
                <a:cubicBezTo>
                  <a:pt x="2891" y="1185"/>
                  <a:pt x="2891" y="1185"/>
                  <a:pt x="2891" y="1185"/>
                </a:cubicBezTo>
                <a:cubicBezTo>
                  <a:pt x="2890" y="1185"/>
                  <a:pt x="2890" y="1185"/>
                  <a:pt x="2890" y="1185"/>
                </a:cubicBezTo>
                <a:cubicBezTo>
                  <a:pt x="2891" y="1188"/>
                  <a:pt x="2891" y="1188"/>
                  <a:pt x="2891" y="1188"/>
                </a:cubicBezTo>
                <a:cubicBezTo>
                  <a:pt x="2890" y="1188"/>
                  <a:pt x="2890" y="1188"/>
                  <a:pt x="2890" y="1188"/>
                </a:cubicBezTo>
                <a:lnTo>
                  <a:pt x="2891" y="1188"/>
                </a:lnTo>
                <a:close/>
                <a:moveTo>
                  <a:pt x="2936" y="1570"/>
                </a:moveTo>
                <a:cubicBezTo>
                  <a:pt x="2937" y="1570"/>
                  <a:pt x="2937" y="1570"/>
                  <a:pt x="2937" y="1570"/>
                </a:cubicBezTo>
                <a:cubicBezTo>
                  <a:pt x="2936" y="1569"/>
                  <a:pt x="2936" y="1569"/>
                  <a:pt x="2936" y="1569"/>
                </a:cubicBezTo>
                <a:lnTo>
                  <a:pt x="2936" y="1570"/>
                </a:lnTo>
                <a:close/>
                <a:moveTo>
                  <a:pt x="2683" y="1124"/>
                </a:moveTo>
                <a:cubicBezTo>
                  <a:pt x="2681" y="1121"/>
                  <a:pt x="2681" y="1121"/>
                  <a:pt x="2681" y="1121"/>
                </a:cubicBezTo>
                <a:cubicBezTo>
                  <a:pt x="2678" y="1121"/>
                  <a:pt x="2678" y="1121"/>
                  <a:pt x="2678" y="1121"/>
                </a:cubicBezTo>
                <a:cubicBezTo>
                  <a:pt x="2675" y="1122"/>
                  <a:pt x="2675" y="1122"/>
                  <a:pt x="2675" y="1122"/>
                </a:cubicBezTo>
                <a:cubicBezTo>
                  <a:pt x="2673" y="1121"/>
                  <a:pt x="2673" y="1121"/>
                  <a:pt x="2673" y="1121"/>
                </a:cubicBezTo>
                <a:cubicBezTo>
                  <a:pt x="2671" y="1122"/>
                  <a:pt x="2671" y="1122"/>
                  <a:pt x="2671" y="1122"/>
                </a:cubicBezTo>
                <a:cubicBezTo>
                  <a:pt x="2671" y="1123"/>
                  <a:pt x="2671" y="1123"/>
                  <a:pt x="2671" y="1123"/>
                </a:cubicBezTo>
                <a:cubicBezTo>
                  <a:pt x="2672" y="1125"/>
                  <a:pt x="2672" y="1125"/>
                  <a:pt x="2672" y="1125"/>
                </a:cubicBezTo>
                <a:cubicBezTo>
                  <a:pt x="2674" y="1125"/>
                  <a:pt x="2674" y="1125"/>
                  <a:pt x="2674" y="1125"/>
                </a:cubicBezTo>
                <a:cubicBezTo>
                  <a:pt x="2677" y="1127"/>
                  <a:pt x="2677" y="1127"/>
                  <a:pt x="2677" y="1127"/>
                </a:cubicBezTo>
                <a:cubicBezTo>
                  <a:pt x="2677" y="1128"/>
                  <a:pt x="2677" y="1128"/>
                  <a:pt x="2677" y="1128"/>
                </a:cubicBezTo>
                <a:cubicBezTo>
                  <a:pt x="2678" y="1127"/>
                  <a:pt x="2678" y="1127"/>
                  <a:pt x="2678" y="1127"/>
                </a:cubicBezTo>
                <a:cubicBezTo>
                  <a:pt x="2680" y="1126"/>
                  <a:pt x="2680" y="1126"/>
                  <a:pt x="2680" y="1126"/>
                </a:cubicBezTo>
                <a:cubicBezTo>
                  <a:pt x="2680" y="1125"/>
                  <a:pt x="2680" y="1125"/>
                  <a:pt x="2680" y="1125"/>
                </a:cubicBezTo>
                <a:cubicBezTo>
                  <a:pt x="2682" y="1125"/>
                  <a:pt x="2682" y="1125"/>
                  <a:pt x="2682" y="1125"/>
                </a:cubicBezTo>
                <a:lnTo>
                  <a:pt x="2683" y="1124"/>
                </a:lnTo>
                <a:close/>
                <a:moveTo>
                  <a:pt x="2624" y="1052"/>
                </a:moveTo>
                <a:cubicBezTo>
                  <a:pt x="2625" y="1052"/>
                  <a:pt x="2625" y="1052"/>
                  <a:pt x="2625" y="1052"/>
                </a:cubicBezTo>
                <a:cubicBezTo>
                  <a:pt x="2627" y="1050"/>
                  <a:pt x="2627" y="1050"/>
                  <a:pt x="2627" y="1050"/>
                </a:cubicBezTo>
                <a:cubicBezTo>
                  <a:pt x="2625" y="1048"/>
                  <a:pt x="2625" y="1048"/>
                  <a:pt x="2625" y="1048"/>
                </a:cubicBezTo>
                <a:cubicBezTo>
                  <a:pt x="2623" y="1048"/>
                  <a:pt x="2623" y="1048"/>
                  <a:pt x="2623" y="1048"/>
                </a:cubicBezTo>
                <a:cubicBezTo>
                  <a:pt x="2623" y="1048"/>
                  <a:pt x="2623" y="1050"/>
                  <a:pt x="2623" y="1050"/>
                </a:cubicBezTo>
                <a:cubicBezTo>
                  <a:pt x="2623" y="1051"/>
                  <a:pt x="2623" y="1051"/>
                  <a:pt x="2623" y="1051"/>
                </a:cubicBezTo>
                <a:lnTo>
                  <a:pt x="2624" y="1052"/>
                </a:lnTo>
                <a:close/>
                <a:moveTo>
                  <a:pt x="2616" y="1055"/>
                </a:moveTo>
                <a:cubicBezTo>
                  <a:pt x="2618" y="1056"/>
                  <a:pt x="2618" y="1056"/>
                  <a:pt x="2618" y="1056"/>
                </a:cubicBezTo>
                <a:cubicBezTo>
                  <a:pt x="2618" y="1055"/>
                  <a:pt x="2618" y="1055"/>
                  <a:pt x="2618" y="1055"/>
                </a:cubicBezTo>
                <a:cubicBezTo>
                  <a:pt x="2618" y="1054"/>
                  <a:pt x="2618" y="1054"/>
                  <a:pt x="2618" y="1054"/>
                </a:cubicBezTo>
                <a:cubicBezTo>
                  <a:pt x="2616" y="1054"/>
                  <a:pt x="2616" y="1054"/>
                  <a:pt x="2616" y="1054"/>
                </a:cubicBezTo>
                <a:lnTo>
                  <a:pt x="2616" y="1055"/>
                </a:lnTo>
                <a:close/>
                <a:moveTo>
                  <a:pt x="2622" y="1041"/>
                </a:moveTo>
                <a:cubicBezTo>
                  <a:pt x="2620" y="1041"/>
                  <a:pt x="2620" y="1041"/>
                  <a:pt x="2620" y="1041"/>
                </a:cubicBezTo>
                <a:cubicBezTo>
                  <a:pt x="2619" y="1041"/>
                  <a:pt x="2619" y="1041"/>
                  <a:pt x="2619" y="1041"/>
                </a:cubicBezTo>
                <a:cubicBezTo>
                  <a:pt x="2620" y="1042"/>
                  <a:pt x="2620" y="1042"/>
                  <a:pt x="2620" y="1042"/>
                </a:cubicBezTo>
                <a:cubicBezTo>
                  <a:pt x="2622" y="1043"/>
                  <a:pt x="2622" y="1043"/>
                  <a:pt x="2622" y="1043"/>
                </a:cubicBezTo>
                <a:cubicBezTo>
                  <a:pt x="2623" y="1042"/>
                  <a:pt x="2623" y="1042"/>
                  <a:pt x="2623" y="1042"/>
                </a:cubicBezTo>
                <a:lnTo>
                  <a:pt x="2622" y="1041"/>
                </a:lnTo>
                <a:close/>
                <a:moveTo>
                  <a:pt x="2681" y="1129"/>
                </a:moveTo>
                <a:cubicBezTo>
                  <a:pt x="2682" y="1128"/>
                  <a:pt x="2682" y="1128"/>
                  <a:pt x="2682" y="1128"/>
                </a:cubicBezTo>
                <a:cubicBezTo>
                  <a:pt x="2681" y="1127"/>
                  <a:pt x="2681" y="1127"/>
                  <a:pt x="2681" y="1127"/>
                </a:cubicBezTo>
                <a:cubicBezTo>
                  <a:pt x="2680" y="1128"/>
                  <a:pt x="2680" y="1128"/>
                  <a:pt x="2680" y="1128"/>
                </a:cubicBezTo>
                <a:lnTo>
                  <a:pt x="2681" y="1129"/>
                </a:lnTo>
                <a:close/>
                <a:moveTo>
                  <a:pt x="2680" y="1109"/>
                </a:moveTo>
                <a:cubicBezTo>
                  <a:pt x="2681" y="1109"/>
                  <a:pt x="2681" y="1109"/>
                  <a:pt x="2681" y="1109"/>
                </a:cubicBezTo>
                <a:cubicBezTo>
                  <a:pt x="2682" y="1109"/>
                  <a:pt x="2682" y="1109"/>
                  <a:pt x="2682" y="1109"/>
                </a:cubicBezTo>
                <a:cubicBezTo>
                  <a:pt x="2682" y="1109"/>
                  <a:pt x="2682" y="1109"/>
                  <a:pt x="2682" y="1109"/>
                </a:cubicBezTo>
                <a:cubicBezTo>
                  <a:pt x="2680" y="1108"/>
                  <a:pt x="2680" y="1108"/>
                  <a:pt x="2680" y="1108"/>
                </a:cubicBezTo>
                <a:cubicBezTo>
                  <a:pt x="2679" y="1108"/>
                  <a:pt x="2679" y="1108"/>
                  <a:pt x="2679" y="1108"/>
                </a:cubicBezTo>
                <a:cubicBezTo>
                  <a:pt x="2678" y="1109"/>
                  <a:pt x="2678" y="1109"/>
                  <a:pt x="2678" y="1109"/>
                </a:cubicBezTo>
                <a:cubicBezTo>
                  <a:pt x="2678" y="1109"/>
                  <a:pt x="2678" y="1109"/>
                  <a:pt x="2678" y="1109"/>
                </a:cubicBezTo>
                <a:cubicBezTo>
                  <a:pt x="2679" y="1111"/>
                  <a:pt x="2679" y="1111"/>
                  <a:pt x="2679" y="1111"/>
                </a:cubicBezTo>
                <a:lnTo>
                  <a:pt x="2680" y="1109"/>
                </a:lnTo>
                <a:close/>
                <a:moveTo>
                  <a:pt x="2663" y="1110"/>
                </a:moveTo>
                <a:cubicBezTo>
                  <a:pt x="2662" y="1109"/>
                  <a:pt x="2662" y="1109"/>
                  <a:pt x="2662" y="1109"/>
                </a:cubicBezTo>
                <a:cubicBezTo>
                  <a:pt x="2656" y="1109"/>
                  <a:pt x="2656" y="1109"/>
                  <a:pt x="2656" y="1109"/>
                </a:cubicBezTo>
                <a:cubicBezTo>
                  <a:pt x="2655" y="1108"/>
                  <a:pt x="2655" y="1108"/>
                  <a:pt x="2655" y="1108"/>
                </a:cubicBezTo>
                <a:cubicBezTo>
                  <a:pt x="2654" y="1110"/>
                  <a:pt x="2654" y="1110"/>
                  <a:pt x="2654" y="1110"/>
                </a:cubicBezTo>
                <a:cubicBezTo>
                  <a:pt x="2656" y="1112"/>
                  <a:pt x="2656" y="1112"/>
                  <a:pt x="2656" y="1112"/>
                </a:cubicBezTo>
                <a:cubicBezTo>
                  <a:pt x="2657" y="1113"/>
                  <a:pt x="2657" y="1113"/>
                  <a:pt x="2657" y="1113"/>
                </a:cubicBezTo>
                <a:cubicBezTo>
                  <a:pt x="2659" y="1112"/>
                  <a:pt x="2659" y="1112"/>
                  <a:pt x="2659" y="1112"/>
                </a:cubicBezTo>
                <a:cubicBezTo>
                  <a:pt x="2662" y="1112"/>
                  <a:pt x="2662" y="1112"/>
                  <a:pt x="2662" y="1112"/>
                </a:cubicBezTo>
                <a:cubicBezTo>
                  <a:pt x="2664" y="1111"/>
                  <a:pt x="2664" y="1111"/>
                  <a:pt x="2664" y="1111"/>
                </a:cubicBezTo>
                <a:cubicBezTo>
                  <a:pt x="2666" y="1111"/>
                  <a:pt x="2666" y="1111"/>
                  <a:pt x="2666" y="1111"/>
                </a:cubicBezTo>
                <a:cubicBezTo>
                  <a:pt x="2667" y="1110"/>
                  <a:pt x="2667" y="1110"/>
                  <a:pt x="2667" y="1110"/>
                </a:cubicBezTo>
                <a:cubicBezTo>
                  <a:pt x="2666" y="1109"/>
                  <a:pt x="2666" y="1109"/>
                  <a:pt x="2666" y="1109"/>
                </a:cubicBezTo>
                <a:lnTo>
                  <a:pt x="2663" y="1110"/>
                </a:lnTo>
                <a:close/>
                <a:moveTo>
                  <a:pt x="2625" y="1048"/>
                </a:moveTo>
                <a:cubicBezTo>
                  <a:pt x="2625" y="1047"/>
                  <a:pt x="2625" y="1047"/>
                  <a:pt x="2625" y="1047"/>
                </a:cubicBezTo>
                <a:cubicBezTo>
                  <a:pt x="2625" y="1047"/>
                  <a:pt x="2625" y="1047"/>
                  <a:pt x="2625" y="1047"/>
                </a:cubicBezTo>
                <a:cubicBezTo>
                  <a:pt x="2623" y="1046"/>
                  <a:pt x="2623" y="1046"/>
                  <a:pt x="2623" y="1046"/>
                </a:cubicBezTo>
                <a:cubicBezTo>
                  <a:pt x="2621" y="1045"/>
                  <a:pt x="2621" y="1045"/>
                  <a:pt x="2621" y="1045"/>
                </a:cubicBezTo>
                <a:cubicBezTo>
                  <a:pt x="2621" y="1046"/>
                  <a:pt x="2621" y="1046"/>
                  <a:pt x="2621" y="1046"/>
                </a:cubicBezTo>
                <a:cubicBezTo>
                  <a:pt x="2622" y="1048"/>
                  <a:pt x="2622" y="1048"/>
                  <a:pt x="2622" y="1048"/>
                </a:cubicBezTo>
                <a:cubicBezTo>
                  <a:pt x="2623" y="1048"/>
                  <a:pt x="2623" y="1048"/>
                  <a:pt x="2623" y="1048"/>
                </a:cubicBezTo>
                <a:lnTo>
                  <a:pt x="2625" y="1048"/>
                </a:lnTo>
                <a:close/>
                <a:moveTo>
                  <a:pt x="2864" y="1456"/>
                </a:moveTo>
                <a:cubicBezTo>
                  <a:pt x="2862" y="1456"/>
                  <a:pt x="2862" y="1456"/>
                  <a:pt x="2862" y="1456"/>
                </a:cubicBezTo>
                <a:cubicBezTo>
                  <a:pt x="2863" y="1455"/>
                  <a:pt x="2863" y="1455"/>
                  <a:pt x="2863" y="1455"/>
                </a:cubicBezTo>
                <a:cubicBezTo>
                  <a:pt x="2862" y="1455"/>
                  <a:pt x="2862" y="1455"/>
                  <a:pt x="2862" y="1455"/>
                </a:cubicBezTo>
                <a:cubicBezTo>
                  <a:pt x="2861" y="1454"/>
                  <a:pt x="2861" y="1454"/>
                  <a:pt x="2861" y="1454"/>
                </a:cubicBezTo>
                <a:cubicBezTo>
                  <a:pt x="2862" y="1453"/>
                  <a:pt x="2862" y="1453"/>
                  <a:pt x="2862" y="1453"/>
                </a:cubicBezTo>
                <a:cubicBezTo>
                  <a:pt x="2860" y="1453"/>
                  <a:pt x="2860" y="1453"/>
                  <a:pt x="2860" y="1453"/>
                </a:cubicBezTo>
                <a:cubicBezTo>
                  <a:pt x="2858" y="1453"/>
                  <a:pt x="2858" y="1453"/>
                  <a:pt x="2858" y="1453"/>
                </a:cubicBezTo>
                <a:cubicBezTo>
                  <a:pt x="2853" y="1454"/>
                  <a:pt x="2853" y="1454"/>
                  <a:pt x="2853" y="1454"/>
                </a:cubicBezTo>
                <a:cubicBezTo>
                  <a:pt x="2850" y="1456"/>
                  <a:pt x="2850" y="1456"/>
                  <a:pt x="2850" y="1456"/>
                </a:cubicBezTo>
                <a:cubicBezTo>
                  <a:pt x="2850" y="1457"/>
                  <a:pt x="2850" y="1457"/>
                  <a:pt x="2850" y="1457"/>
                </a:cubicBezTo>
                <a:cubicBezTo>
                  <a:pt x="2852" y="1458"/>
                  <a:pt x="2852" y="1458"/>
                  <a:pt x="2852" y="1458"/>
                </a:cubicBezTo>
                <a:cubicBezTo>
                  <a:pt x="2854" y="1458"/>
                  <a:pt x="2854" y="1458"/>
                  <a:pt x="2854" y="1458"/>
                </a:cubicBezTo>
                <a:cubicBezTo>
                  <a:pt x="2855" y="1458"/>
                  <a:pt x="2855" y="1458"/>
                  <a:pt x="2855" y="1458"/>
                </a:cubicBezTo>
                <a:cubicBezTo>
                  <a:pt x="2857" y="1458"/>
                  <a:pt x="2857" y="1458"/>
                  <a:pt x="2857" y="1458"/>
                </a:cubicBezTo>
                <a:cubicBezTo>
                  <a:pt x="2858" y="1458"/>
                  <a:pt x="2858" y="1458"/>
                  <a:pt x="2858" y="1458"/>
                </a:cubicBezTo>
                <a:cubicBezTo>
                  <a:pt x="2859" y="1459"/>
                  <a:pt x="2859" y="1459"/>
                  <a:pt x="2859" y="1459"/>
                </a:cubicBezTo>
                <a:cubicBezTo>
                  <a:pt x="2860" y="1459"/>
                  <a:pt x="2860" y="1459"/>
                  <a:pt x="2860" y="1459"/>
                </a:cubicBezTo>
                <a:cubicBezTo>
                  <a:pt x="2860" y="1458"/>
                  <a:pt x="2860" y="1458"/>
                  <a:pt x="2860" y="1458"/>
                </a:cubicBezTo>
                <a:cubicBezTo>
                  <a:pt x="2861" y="1458"/>
                  <a:pt x="2861" y="1458"/>
                  <a:pt x="2861" y="1458"/>
                </a:cubicBezTo>
                <a:cubicBezTo>
                  <a:pt x="2862" y="1457"/>
                  <a:pt x="2862" y="1457"/>
                  <a:pt x="2862" y="1457"/>
                </a:cubicBezTo>
                <a:cubicBezTo>
                  <a:pt x="2865" y="1457"/>
                  <a:pt x="2865" y="1457"/>
                  <a:pt x="2865" y="1457"/>
                </a:cubicBezTo>
                <a:cubicBezTo>
                  <a:pt x="2866" y="1456"/>
                  <a:pt x="2866" y="1456"/>
                  <a:pt x="2866" y="1456"/>
                </a:cubicBezTo>
                <a:cubicBezTo>
                  <a:pt x="2865" y="1456"/>
                  <a:pt x="2865" y="1456"/>
                  <a:pt x="2865" y="1456"/>
                </a:cubicBezTo>
                <a:lnTo>
                  <a:pt x="2864" y="1456"/>
                </a:lnTo>
                <a:close/>
                <a:moveTo>
                  <a:pt x="2910" y="1524"/>
                </a:moveTo>
                <a:cubicBezTo>
                  <a:pt x="2911" y="1522"/>
                  <a:pt x="2911" y="1522"/>
                  <a:pt x="2911" y="1522"/>
                </a:cubicBezTo>
                <a:cubicBezTo>
                  <a:pt x="2911" y="1520"/>
                  <a:pt x="2911" y="1520"/>
                  <a:pt x="2911" y="1520"/>
                </a:cubicBezTo>
                <a:cubicBezTo>
                  <a:pt x="2911" y="1517"/>
                  <a:pt x="2911" y="1517"/>
                  <a:pt x="2911" y="1517"/>
                </a:cubicBezTo>
                <a:cubicBezTo>
                  <a:pt x="2910" y="1516"/>
                  <a:pt x="2910" y="1516"/>
                  <a:pt x="2910" y="1516"/>
                </a:cubicBezTo>
                <a:cubicBezTo>
                  <a:pt x="2909" y="1517"/>
                  <a:pt x="2909" y="1517"/>
                  <a:pt x="2909" y="1517"/>
                </a:cubicBezTo>
                <a:cubicBezTo>
                  <a:pt x="2907" y="1519"/>
                  <a:pt x="2907" y="1519"/>
                  <a:pt x="2907" y="1519"/>
                </a:cubicBezTo>
                <a:cubicBezTo>
                  <a:pt x="2908" y="1521"/>
                  <a:pt x="2908" y="1521"/>
                  <a:pt x="2908" y="1521"/>
                </a:cubicBezTo>
                <a:cubicBezTo>
                  <a:pt x="2906" y="1523"/>
                  <a:pt x="2906" y="1523"/>
                  <a:pt x="2906" y="1523"/>
                </a:cubicBezTo>
                <a:cubicBezTo>
                  <a:pt x="2907" y="1524"/>
                  <a:pt x="2907" y="1524"/>
                  <a:pt x="2907" y="1524"/>
                </a:cubicBezTo>
                <a:cubicBezTo>
                  <a:pt x="2906" y="1526"/>
                  <a:pt x="2906" y="1526"/>
                  <a:pt x="2906" y="1526"/>
                </a:cubicBezTo>
                <a:cubicBezTo>
                  <a:pt x="2908" y="1526"/>
                  <a:pt x="2908" y="1526"/>
                  <a:pt x="2908" y="1526"/>
                </a:cubicBezTo>
                <a:cubicBezTo>
                  <a:pt x="2909" y="1525"/>
                  <a:pt x="2909" y="1525"/>
                  <a:pt x="2909" y="1525"/>
                </a:cubicBezTo>
                <a:lnTo>
                  <a:pt x="2910" y="1524"/>
                </a:lnTo>
                <a:close/>
                <a:moveTo>
                  <a:pt x="2924" y="1578"/>
                </a:moveTo>
                <a:cubicBezTo>
                  <a:pt x="2924" y="1579"/>
                  <a:pt x="2924" y="1579"/>
                  <a:pt x="2924" y="1579"/>
                </a:cubicBezTo>
                <a:cubicBezTo>
                  <a:pt x="2923" y="1582"/>
                  <a:pt x="2923" y="1582"/>
                  <a:pt x="2923" y="1582"/>
                </a:cubicBezTo>
                <a:cubicBezTo>
                  <a:pt x="2924" y="1582"/>
                  <a:pt x="2924" y="1582"/>
                  <a:pt x="2924" y="1582"/>
                </a:cubicBezTo>
                <a:cubicBezTo>
                  <a:pt x="2925" y="1579"/>
                  <a:pt x="2925" y="1579"/>
                  <a:pt x="2925" y="1579"/>
                </a:cubicBezTo>
                <a:cubicBezTo>
                  <a:pt x="2926" y="1578"/>
                  <a:pt x="2926" y="1578"/>
                  <a:pt x="2926" y="1578"/>
                </a:cubicBezTo>
                <a:cubicBezTo>
                  <a:pt x="2925" y="1577"/>
                  <a:pt x="2925" y="1577"/>
                  <a:pt x="2925" y="1577"/>
                </a:cubicBezTo>
                <a:lnTo>
                  <a:pt x="2924" y="1578"/>
                </a:lnTo>
                <a:close/>
                <a:moveTo>
                  <a:pt x="2636" y="1317"/>
                </a:moveTo>
                <a:cubicBezTo>
                  <a:pt x="2637" y="1321"/>
                  <a:pt x="2637" y="1321"/>
                  <a:pt x="2637" y="1321"/>
                </a:cubicBezTo>
                <a:cubicBezTo>
                  <a:pt x="2638" y="1318"/>
                  <a:pt x="2638" y="1318"/>
                  <a:pt x="2638" y="1318"/>
                </a:cubicBezTo>
                <a:cubicBezTo>
                  <a:pt x="2637" y="1315"/>
                  <a:pt x="2637" y="1315"/>
                  <a:pt x="2637" y="1315"/>
                </a:cubicBezTo>
                <a:lnTo>
                  <a:pt x="2636" y="1317"/>
                </a:lnTo>
                <a:close/>
                <a:moveTo>
                  <a:pt x="2638" y="1312"/>
                </a:moveTo>
                <a:cubicBezTo>
                  <a:pt x="2638" y="1309"/>
                  <a:pt x="2638" y="1309"/>
                  <a:pt x="2638" y="1309"/>
                </a:cubicBezTo>
                <a:cubicBezTo>
                  <a:pt x="2637" y="1313"/>
                  <a:pt x="2637" y="1313"/>
                  <a:pt x="2637" y="1313"/>
                </a:cubicBezTo>
                <a:cubicBezTo>
                  <a:pt x="2637" y="1313"/>
                  <a:pt x="2638" y="1312"/>
                  <a:pt x="2638" y="1312"/>
                </a:cubicBezTo>
                <a:close/>
                <a:moveTo>
                  <a:pt x="2668" y="1261"/>
                </a:moveTo>
                <a:cubicBezTo>
                  <a:pt x="2669" y="1260"/>
                  <a:pt x="2669" y="1260"/>
                  <a:pt x="2669" y="1260"/>
                </a:cubicBezTo>
                <a:cubicBezTo>
                  <a:pt x="2669" y="1257"/>
                  <a:pt x="2669" y="1257"/>
                  <a:pt x="2669" y="1257"/>
                </a:cubicBezTo>
                <a:cubicBezTo>
                  <a:pt x="2667" y="1260"/>
                  <a:pt x="2667" y="1260"/>
                  <a:pt x="2667" y="1260"/>
                </a:cubicBezTo>
                <a:lnTo>
                  <a:pt x="2668" y="1261"/>
                </a:lnTo>
                <a:close/>
                <a:moveTo>
                  <a:pt x="2783" y="633"/>
                </a:moveTo>
                <a:cubicBezTo>
                  <a:pt x="2782" y="633"/>
                  <a:pt x="2782" y="633"/>
                  <a:pt x="2782" y="633"/>
                </a:cubicBezTo>
                <a:cubicBezTo>
                  <a:pt x="2781" y="635"/>
                  <a:pt x="2781" y="635"/>
                  <a:pt x="2781" y="635"/>
                </a:cubicBezTo>
                <a:cubicBezTo>
                  <a:pt x="2781" y="636"/>
                  <a:pt x="2781" y="636"/>
                  <a:pt x="2781" y="636"/>
                </a:cubicBezTo>
                <a:cubicBezTo>
                  <a:pt x="2782" y="638"/>
                  <a:pt x="2782" y="638"/>
                  <a:pt x="2782" y="638"/>
                </a:cubicBezTo>
                <a:cubicBezTo>
                  <a:pt x="2783" y="637"/>
                  <a:pt x="2783" y="637"/>
                  <a:pt x="2783" y="637"/>
                </a:cubicBezTo>
                <a:cubicBezTo>
                  <a:pt x="2784" y="635"/>
                  <a:pt x="2784" y="635"/>
                  <a:pt x="2784" y="635"/>
                </a:cubicBezTo>
                <a:cubicBezTo>
                  <a:pt x="2783" y="634"/>
                  <a:pt x="2783" y="634"/>
                  <a:pt x="2783" y="634"/>
                </a:cubicBezTo>
                <a:lnTo>
                  <a:pt x="2783" y="633"/>
                </a:lnTo>
                <a:close/>
                <a:moveTo>
                  <a:pt x="824" y="1635"/>
                </a:moveTo>
                <a:cubicBezTo>
                  <a:pt x="825" y="1634"/>
                  <a:pt x="825" y="1634"/>
                  <a:pt x="825" y="1634"/>
                </a:cubicBezTo>
                <a:cubicBezTo>
                  <a:pt x="826" y="1634"/>
                  <a:pt x="826" y="1634"/>
                  <a:pt x="826" y="1634"/>
                </a:cubicBezTo>
                <a:cubicBezTo>
                  <a:pt x="826" y="1633"/>
                  <a:pt x="826" y="1633"/>
                  <a:pt x="826" y="1633"/>
                </a:cubicBezTo>
                <a:cubicBezTo>
                  <a:pt x="823" y="1631"/>
                  <a:pt x="823" y="1631"/>
                  <a:pt x="823" y="1631"/>
                </a:cubicBezTo>
                <a:cubicBezTo>
                  <a:pt x="822" y="1631"/>
                  <a:pt x="822" y="1631"/>
                  <a:pt x="822" y="1631"/>
                </a:cubicBezTo>
                <a:cubicBezTo>
                  <a:pt x="821" y="1630"/>
                  <a:pt x="821" y="1630"/>
                  <a:pt x="821" y="1630"/>
                </a:cubicBezTo>
                <a:cubicBezTo>
                  <a:pt x="820" y="1630"/>
                  <a:pt x="820" y="1630"/>
                  <a:pt x="820" y="1630"/>
                </a:cubicBezTo>
                <a:cubicBezTo>
                  <a:pt x="821" y="1632"/>
                  <a:pt x="821" y="1632"/>
                  <a:pt x="821" y="1632"/>
                </a:cubicBezTo>
                <a:cubicBezTo>
                  <a:pt x="820" y="1634"/>
                  <a:pt x="820" y="1634"/>
                  <a:pt x="820" y="1634"/>
                </a:cubicBezTo>
                <a:cubicBezTo>
                  <a:pt x="819" y="1635"/>
                  <a:pt x="819" y="1635"/>
                  <a:pt x="819" y="1635"/>
                </a:cubicBezTo>
                <a:cubicBezTo>
                  <a:pt x="820" y="1635"/>
                  <a:pt x="820" y="1635"/>
                  <a:pt x="820" y="1635"/>
                </a:cubicBezTo>
                <a:cubicBezTo>
                  <a:pt x="822" y="1635"/>
                  <a:pt x="822" y="1635"/>
                  <a:pt x="822" y="1635"/>
                </a:cubicBezTo>
                <a:lnTo>
                  <a:pt x="824" y="1635"/>
                </a:lnTo>
                <a:close/>
                <a:moveTo>
                  <a:pt x="820" y="1625"/>
                </a:moveTo>
                <a:cubicBezTo>
                  <a:pt x="820" y="1624"/>
                  <a:pt x="820" y="1624"/>
                  <a:pt x="820" y="1624"/>
                </a:cubicBezTo>
                <a:cubicBezTo>
                  <a:pt x="819" y="1623"/>
                  <a:pt x="819" y="1623"/>
                  <a:pt x="819" y="1623"/>
                </a:cubicBezTo>
                <a:cubicBezTo>
                  <a:pt x="818" y="1624"/>
                  <a:pt x="818" y="1624"/>
                  <a:pt x="818" y="1624"/>
                </a:cubicBezTo>
                <a:cubicBezTo>
                  <a:pt x="819" y="1626"/>
                  <a:pt x="819" y="1626"/>
                  <a:pt x="819" y="1626"/>
                </a:cubicBezTo>
                <a:lnTo>
                  <a:pt x="820" y="1625"/>
                </a:lnTo>
                <a:close/>
                <a:moveTo>
                  <a:pt x="823" y="1638"/>
                </a:moveTo>
                <a:cubicBezTo>
                  <a:pt x="823" y="1639"/>
                  <a:pt x="823" y="1639"/>
                  <a:pt x="823" y="1639"/>
                </a:cubicBezTo>
                <a:cubicBezTo>
                  <a:pt x="823" y="1639"/>
                  <a:pt x="823" y="1639"/>
                  <a:pt x="823" y="1639"/>
                </a:cubicBezTo>
                <a:cubicBezTo>
                  <a:pt x="823" y="1640"/>
                  <a:pt x="823" y="1640"/>
                  <a:pt x="823" y="1640"/>
                </a:cubicBezTo>
                <a:cubicBezTo>
                  <a:pt x="822" y="1641"/>
                  <a:pt x="822" y="1641"/>
                  <a:pt x="822" y="1641"/>
                </a:cubicBezTo>
                <a:cubicBezTo>
                  <a:pt x="823" y="1642"/>
                  <a:pt x="823" y="1642"/>
                  <a:pt x="823" y="1642"/>
                </a:cubicBezTo>
                <a:cubicBezTo>
                  <a:pt x="824" y="1643"/>
                  <a:pt x="824" y="1643"/>
                  <a:pt x="824" y="1643"/>
                </a:cubicBezTo>
                <a:cubicBezTo>
                  <a:pt x="825" y="1643"/>
                  <a:pt x="825" y="1643"/>
                  <a:pt x="825" y="1643"/>
                </a:cubicBezTo>
                <a:cubicBezTo>
                  <a:pt x="824" y="1642"/>
                  <a:pt x="824" y="1642"/>
                  <a:pt x="824" y="1642"/>
                </a:cubicBezTo>
                <a:cubicBezTo>
                  <a:pt x="825" y="1641"/>
                  <a:pt x="825" y="1641"/>
                  <a:pt x="825" y="1641"/>
                </a:cubicBezTo>
                <a:cubicBezTo>
                  <a:pt x="825" y="1639"/>
                  <a:pt x="825" y="1639"/>
                  <a:pt x="825" y="1639"/>
                </a:cubicBezTo>
                <a:cubicBezTo>
                  <a:pt x="824" y="1638"/>
                  <a:pt x="824" y="1638"/>
                  <a:pt x="824" y="1638"/>
                </a:cubicBezTo>
                <a:lnTo>
                  <a:pt x="823" y="1638"/>
                </a:lnTo>
                <a:close/>
                <a:moveTo>
                  <a:pt x="828" y="1642"/>
                </a:moveTo>
                <a:cubicBezTo>
                  <a:pt x="828" y="1641"/>
                  <a:pt x="828" y="1641"/>
                  <a:pt x="828" y="1641"/>
                </a:cubicBezTo>
                <a:cubicBezTo>
                  <a:pt x="827" y="1640"/>
                  <a:pt x="827" y="1640"/>
                  <a:pt x="827" y="1640"/>
                </a:cubicBezTo>
                <a:cubicBezTo>
                  <a:pt x="826" y="1639"/>
                  <a:pt x="826" y="1639"/>
                  <a:pt x="826" y="1639"/>
                </a:cubicBezTo>
                <a:cubicBezTo>
                  <a:pt x="826" y="1639"/>
                  <a:pt x="826" y="1639"/>
                  <a:pt x="826" y="1639"/>
                </a:cubicBezTo>
                <a:cubicBezTo>
                  <a:pt x="825" y="1640"/>
                  <a:pt x="825" y="1640"/>
                  <a:pt x="825" y="1640"/>
                </a:cubicBezTo>
                <a:cubicBezTo>
                  <a:pt x="826" y="1642"/>
                  <a:pt x="826" y="1642"/>
                  <a:pt x="826" y="1642"/>
                </a:cubicBezTo>
                <a:cubicBezTo>
                  <a:pt x="826" y="1642"/>
                  <a:pt x="826" y="1642"/>
                  <a:pt x="826" y="1642"/>
                </a:cubicBezTo>
                <a:cubicBezTo>
                  <a:pt x="826" y="1643"/>
                  <a:pt x="826" y="1643"/>
                  <a:pt x="826" y="1643"/>
                </a:cubicBezTo>
                <a:cubicBezTo>
                  <a:pt x="827" y="1643"/>
                  <a:pt x="827" y="1643"/>
                  <a:pt x="827" y="1643"/>
                </a:cubicBezTo>
                <a:lnTo>
                  <a:pt x="828" y="1642"/>
                </a:lnTo>
                <a:close/>
                <a:moveTo>
                  <a:pt x="827" y="1645"/>
                </a:moveTo>
                <a:cubicBezTo>
                  <a:pt x="827" y="1647"/>
                  <a:pt x="827" y="1647"/>
                  <a:pt x="827" y="1647"/>
                </a:cubicBezTo>
                <a:cubicBezTo>
                  <a:pt x="827" y="1648"/>
                  <a:pt x="827" y="1648"/>
                  <a:pt x="827" y="1648"/>
                </a:cubicBezTo>
                <a:cubicBezTo>
                  <a:pt x="827" y="1648"/>
                  <a:pt x="827" y="1648"/>
                  <a:pt x="827" y="1648"/>
                </a:cubicBezTo>
                <a:cubicBezTo>
                  <a:pt x="828" y="1648"/>
                  <a:pt x="828" y="1648"/>
                  <a:pt x="828" y="1648"/>
                </a:cubicBezTo>
                <a:cubicBezTo>
                  <a:pt x="829" y="1645"/>
                  <a:pt x="829" y="1645"/>
                  <a:pt x="829" y="1645"/>
                </a:cubicBezTo>
                <a:cubicBezTo>
                  <a:pt x="828" y="1644"/>
                  <a:pt x="828" y="1644"/>
                  <a:pt x="828" y="1644"/>
                </a:cubicBezTo>
                <a:lnTo>
                  <a:pt x="827" y="1645"/>
                </a:lnTo>
                <a:close/>
                <a:moveTo>
                  <a:pt x="821" y="1625"/>
                </a:moveTo>
                <a:cubicBezTo>
                  <a:pt x="820" y="1625"/>
                  <a:pt x="820" y="1625"/>
                  <a:pt x="820" y="1625"/>
                </a:cubicBezTo>
                <a:cubicBezTo>
                  <a:pt x="821" y="1628"/>
                  <a:pt x="821" y="1628"/>
                  <a:pt x="821" y="1628"/>
                </a:cubicBezTo>
                <a:cubicBezTo>
                  <a:pt x="823" y="1630"/>
                  <a:pt x="823" y="1630"/>
                  <a:pt x="823" y="1630"/>
                </a:cubicBezTo>
                <a:cubicBezTo>
                  <a:pt x="825" y="1630"/>
                  <a:pt x="825" y="1630"/>
                  <a:pt x="825" y="1630"/>
                </a:cubicBezTo>
                <a:cubicBezTo>
                  <a:pt x="826" y="1629"/>
                  <a:pt x="826" y="1629"/>
                  <a:pt x="826" y="1629"/>
                </a:cubicBezTo>
                <a:cubicBezTo>
                  <a:pt x="824" y="1626"/>
                  <a:pt x="824" y="1626"/>
                  <a:pt x="824" y="1626"/>
                </a:cubicBezTo>
                <a:lnTo>
                  <a:pt x="821" y="1625"/>
                </a:lnTo>
                <a:close/>
                <a:moveTo>
                  <a:pt x="819" y="1616"/>
                </a:moveTo>
                <a:cubicBezTo>
                  <a:pt x="817" y="1616"/>
                  <a:pt x="817" y="1616"/>
                  <a:pt x="817" y="1616"/>
                </a:cubicBezTo>
                <a:cubicBezTo>
                  <a:pt x="816" y="1616"/>
                  <a:pt x="816" y="1616"/>
                  <a:pt x="816" y="1616"/>
                </a:cubicBezTo>
                <a:cubicBezTo>
                  <a:pt x="815" y="1616"/>
                  <a:pt x="815" y="1616"/>
                  <a:pt x="815" y="1616"/>
                </a:cubicBezTo>
                <a:cubicBezTo>
                  <a:pt x="815" y="1617"/>
                  <a:pt x="815" y="1617"/>
                  <a:pt x="815" y="1617"/>
                </a:cubicBezTo>
                <a:cubicBezTo>
                  <a:pt x="815" y="1618"/>
                  <a:pt x="815" y="1618"/>
                  <a:pt x="815" y="1618"/>
                </a:cubicBezTo>
                <a:cubicBezTo>
                  <a:pt x="816" y="1619"/>
                  <a:pt x="816" y="1619"/>
                  <a:pt x="816" y="1619"/>
                </a:cubicBezTo>
                <a:cubicBezTo>
                  <a:pt x="816" y="1621"/>
                  <a:pt x="816" y="1621"/>
                  <a:pt x="816" y="1621"/>
                </a:cubicBezTo>
                <a:cubicBezTo>
                  <a:pt x="817" y="1621"/>
                  <a:pt x="817" y="1621"/>
                  <a:pt x="817" y="1621"/>
                </a:cubicBezTo>
                <a:cubicBezTo>
                  <a:pt x="818" y="1620"/>
                  <a:pt x="818" y="1620"/>
                  <a:pt x="818" y="1620"/>
                </a:cubicBezTo>
                <a:cubicBezTo>
                  <a:pt x="818" y="1618"/>
                  <a:pt x="818" y="1618"/>
                  <a:pt x="818" y="1618"/>
                </a:cubicBezTo>
                <a:lnTo>
                  <a:pt x="819" y="1616"/>
                </a:lnTo>
                <a:close/>
                <a:moveTo>
                  <a:pt x="815" y="1624"/>
                </a:moveTo>
                <a:cubicBezTo>
                  <a:pt x="816" y="1623"/>
                  <a:pt x="816" y="1623"/>
                  <a:pt x="816" y="1623"/>
                </a:cubicBezTo>
                <a:cubicBezTo>
                  <a:pt x="817" y="1622"/>
                  <a:pt x="817" y="1622"/>
                  <a:pt x="817" y="1622"/>
                </a:cubicBezTo>
                <a:cubicBezTo>
                  <a:pt x="815" y="1622"/>
                  <a:pt x="815" y="1622"/>
                  <a:pt x="815" y="1622"/>
                </a:cubicBezTo>
                <a:lnTo>
                  <a:pt x="815" y="1624"/>
                </a:lnTo>
                <a:close/>
                <a:moveTo>
                  <a:pt x="831" y="1643"/>
                </a:moveTo>
                <a:cubicBezTo>
                  <a:pt x="831" y="1642"/>
                  <a:pt x="831" y="1642"/>
                  <a:pt x="831" y="1642"/>
                </a:cubicBezTo>
                <a:cubicBezTo>
                  <a:pt x="829" y="1641"/>
                  <a:pt x="829" y="1641"/>
                  <a:pt x="829" y="1641"/>
                </a:cubicBezTo>
                <a:cubicBezTo>
                  <a:pt x="829" y="1642"/>
                  <a:pt x="829" y="1642"/>
                  <a:pt x="829" y="1642"/>
                </a:cubicBezTo>
                <a:cubicBezTo>
                  <a:pt x="831" y="1643"/>
                  <a:pt x="831" y="1643"/>
                  <a:pt x="831" y="1643"/>
                </a:cubicBezTo>
                <a:close/>
                <a:moveTo>
                  <a:pt x="832" y="1639"/>
                </a:moveTo>
                <a:cubicBezTo>
                  <a:pt x="831" y="1637"/>
                  <a:pt x="831" y="1637"/>
                  <a:pt x="831" y="1637"/>
                </a:cubicBezTo>
                <a:cubicBezTo>
                  <a:pt x="830" y="1637"/>
                  <a:pt x="830" y="1637"/>
                  <a:pt x="830" y="1637"/>
                </a:cubicBezTo>
                <a:cubicBezTo>
                  <a:pt x="830" y="1640"/>
                  <a:pt x="830" y="1640"/>
                  <a:pt x="830" y="1640"/>
                </a:cubicBezTo>
                <a:cubicBezTo>
                  <a:pt x="831" y="1641"/>
                  <a:pt x="831" y="1641"/>
                  <a:pt x="831" y="1641"/>
                </a:cubicBezTo>
                <a:cubicBezTo>
                  <a:pt x="834" y="1643"/>
                  <a:pt x="834" y="1643"/>
                  <a:pt x="834" y="1643"/>
                </a:cubicBezTo>
                <a:cubicBezTo>
                  <a:pt x="834" y="1642"/>
                  <a:pt x="834" y="1642"/>
                  <a:pt x="834" y="1642"/>
                </a:cubicBezTo>
                <a:cubicBezTo>
                  <a:pt x="834" y="1641"/>
                  <a:pt x="834" y="1641"/>
                  <a:pt x="834" y="1641"/>
                </a:cubicBezTo>
                <a:lnTo>
                  <a:pt x="832" y="1639"/>
                </a:lnTo>
                <a:close/>
                <a:moveTo>
                  <a:pt x="849" y="1674"/>
                </a:moveTo>
                <a:cubicBezTo>
                  <a:pt x="850" y="1674"/>
                  <a:pt x="850" y="1674"/>
                  <a:pt x="850" y="1674"/>
                </a:cubicBezTo>
                <a:cubicBezTo>
                  <a:pt x="851" y="1675"/>
                  <a:pt x="851" y="1675"/>
                  <a:pt x="851" y="1675"/>
                </a:cubicBezTo>
                <a:cubicBezTo>
                  <a:pt x="852" y="1674"/>
                  <a:pt x="852" y="1674"/>
                  <a:pt x="852" y="1674"/>
                </a:cubicBezTo>
                <a:cubicBezTo>
                  <a:pt x="851" y="1673"/>
                  <a:pt x="851" y="1673"/>
                  <a:pt x="851" y="1673"/>
                </a:cubicBezTo>
                <a:lnTo>
                  <a:pt x="849" y="1674"/>
                </a:lnTo>
                <a:close/>
                <a:moveTo>
                  <a:pt x="844" y="1665"/>
                </a:moveTo>
                <a:cubicBezTo>
                  <a:pt x="846" y="1665"/>
                  <a:pt x="846" y="1665"/>
                  <a:pt x="846" y="1665"/>
                </a:cubicBezTo>
                <a:cubicBezTo>
                  <a:pt x="847" y="1664"/>
                  <a:pt x="847" y="1664"/>
                  <a:pt x="847" y="1664"/>
                </a:cubicBezTo>
                <a:cubicBezTo>
                  <a:pt x="846" y="1664"/>
                  <a:pt x="846" y="1664"/>
                  <a:pt x="846" y="1664"/>
                </a:cubicBezTo>
                <a:cubicBezTo>
                  <a:pt x="845" y="1664"/>
                  <a:pt x="845" y="1664"/>
                  <a:pt x="845" y="1664"/>
                </a:cubicBezTo>
                <a:cubicBezTo>
                  <a:pt x="843" y="1662"/>
                  <a:pt x="843" y="1662"/>
                  <a:pt x="843" y="1662"/>
                </a:cubicBezTo>
                <a:cubicBezTo>
                  <a:pt x="842" y="1661"/>
                  <a:pt x="842" y="1661"/>
                  <a:pt x="842" y="1661"/>
                </a:cubicBezTo>
                <a:cubicBezTo>
                  <a:pt x="840" y="1661"/>
                  <a:pt x="840" y="1661"/>
                  <a:pt x="840" y="1661"/>
                </a:cubicBezTo>
                <a:cubicBezTo>
                  <a:pt x="839" y="1660"/>
                  <a:pt x="839" y="1660"/>
                  <a:pt x="839" y="1660"/>
                </a:cubicBezTo>
                <a:cubicBezTo>
                  <a:pt x="837" y="1660"/>
                  <a:pt x="837" y="1660"/>
                  <a:pt x="837" y="1660"/>
                </a:cubicBezTo>
                <a:cubicBezTo>
                  <a:pt x="835" y="1660"/>
                  <a:pt x="835" y="1660"/>
                  <a:pt x="835" y="1660"/>
                </a:cubicBezTo>
                <a:cubicBezTo>
                  <a:pt x="834" y="1659"/>
                  <a:pt x="834" y="1659"/>
                  <a:pt x="834" y="1659"/>
                </a:cubicBezTo>
                <a:cubicBezTo>
                  <a:pt x="832" y="1656"/>
                  <a:pt x="832" y="1656"/>
                  <a:pt x="832" y="1656"/>
                </a:cubicBezTo>
                <a:cubicBezTo>
                  <a:pt x="830" y="1655"/>
                  <a:pt x="830" y="1655"/>
                  <a:pt x="830" y="1655"/>
                </a:cubicBezTo>
                <a:cubicBezTo>
                  <a:pt x="830" y="1656"/>
                  <a:pt x="830" y="1656"/>
                  <a:pt x="830" y="1656"/>
                </a:cubicBezTo>
                <a:cubicBezTo>
                  <a:pt x="830" y="1658"/>
                  <a:pt x="830" y="1658"/>
                  <a:pt x="830" y="1658"/>
                </a:cubicBezTo>
                <a:cubicBezTo>
                  <a:pt x="832" y="1661"/>
                  <a:pt x="832" y="1661"/>
                  <a:pt x="832" y="1661"/>
                </a:cubicBezTo>
                <a:cubicBezTo>
                  <a:pt x="834" y="1661"/>
                  <a:pt x="834" y="1661"/>
                  <a:pt x="834" y="1661"/>
                </a:cubicBezTo>
                <a:cubicBezTo>
                  <a:pt x="837" y="1662"/>
                  <a:pt x="837" y="1662"/>
                  <a:pt x="837" y="1662"/>
                </a:cubicBezTo>
                <a:cubicBezTo>
                  <a:pt x="838" y="1664"/>
                  <a:pt x="838" y="1664"/>
                  <a:pt x="838" y="1664"/>
                </a:cubicBezTo>
                <a:cubicBezTo>
                  <a:pt x="839" y="1664"/>
                  <a:pt x="839" y="1664"/>
                  <a:pt x="839" y="1664"/>
                </a:cubicBezTo>
                <a:cubicBezTo>
                  <a:pt x="840" y="1663"/>
                  <a:pt x="840" y="1663"/>
                  <a:pt x="840" y="1663"/>
                </a:cubicBezTo>
                <a:cubicBezTo>
                  <a:pt x="843" y="1664"/>
                  <a:pt x="843" y="1664"/>
                  <a:pt x="843" y="1664"/>
                </a:cubicBezTo>
                <a:lnTo>
                  <a:pt x="844" y="1665"/>
                </a:lnTo>
                <a:close/>
                <a:moveTo>
                  <a:pt x="831" y="1646"/>
                </a:moveTo>
                <a:cubicBezTo>
                  <a:pt x="832" y="1647"/>
                  <a:pt x="832" y="1647"/>
                  <a:pt x="832" y="1647"/>
                </a:cubicBezTo>
                <a:cubicBezTo>
                  <a:pt x="834" y="1649"/>
                  <a:pt x="834" y="1649"/>
                  <a:pt x="834" y="1649"/>
                </a:cubicBezTo>
                <a:cubicBezTo>
                  <a:pt x="835" y="1649"/>
                  <a:pt x="835" y="1649"/>
                  <a:pt x="835" y="1649"/>
                </a:cubicBezTo>
                <a:cubicBezTo>
                  <a:pt x="835" y="1648"/>
                  <a:pt x="835" y="1648"/>
                  <a:pt x="835" y="1648"/>
                </a:cubicBezTo>
                <a:cubicBezTo>
                  <a:pt x="832" y="1645"/>
                  <a:pt x="832" y="1645"/>
                  <a:pt x="832" y="1645"/>
                </a:cubicBezTo>
                <a:lnTo>
                  <a:pt x="831" y="1646"/>
                </a:lnTo>
                <a:close/>
                <a:moveTo>
                  <a:pt x="834" y="1645"/>
                </a:moveTo>
                <a:cubicBezTo>
                  <a:pt x="834" y="1644"/>
                  <a:pt x="834" y="1644"/>
                  <a:pt x="834" y="1644"/>
                </a:cubicBezTo>
                <a:cubicBezTo>
                  <a:pt x="832" y="1644"/>
                  <a:pt x="832" y="1644"/>
                  <a:pt x="832" y="1644"/>
                </a:cubicBezTo>
                <a:cubicBezTo>
                  <a:pt x="832" y="1644"/>
                  <a:pt x="832" y="1644"/>
                  <a:pt x="832" y="1644"/>
                </a:cubicBezTo>
                <a:cubicBezTo>
                  <a:pt x="833" y="1646"/>
                  <a:pt x="833" y="1646"/>
                  <a:pt x="833" y="1646"/>
                </a:cubicBezTo>
                <a:lnTo>
                  <a:pt x="834" y="1645"/>
                </a:lnTo>
                <a:close/>
                <a:moveTo>
                  <a:pt x="826" y="1625"/>
                </a:moveTo>
                <a:cubicBezTo>
                  <a:pt x="824" y="1622"/>
                  <a:pt x="824" y="1622"/>
                  <a:pt x="824" y="1622"/>
                </a:cubicBezTo>
                <a:cubicBezTo>
                  <a:pt x="823" y="1622"/>
                  <a:pt x="823" y="1622"/>
                  <a:pt x="823" y="1622"/>
                </a:cubicBezTo>
                <a:cubicBezTo>
                  <a:pt x="821" y="1621"/>
                  <a:pt x="821" y="1621"/>
                  <a:pt x="821" y="1621"/>
                </a:cubicBezTo>
                <a:cubicBezTo>
                  <a:pt x="821" y="1621"/>
                  <a:pt x="821" y="1621"/>
                  <a:pt x="821" y="1621"/>
                </a:cubicBezTo>
                <a:cubicBezTo>
                  <a:pt x="821" y="1622"/>
                  <a:pt x="821" y="1622"/>
                  <a:pt x="821" y="1622"/>
                </a:cubicBezTo>
                <a:cubicBezTo>
                  <a:pt x="822" y="1624"/>
                  <a:pt x="822" y="1624"/>
                  <a:pt x="822" y="1624"/>
                </a:cubicBezTo>
                <a:cubicBezTo>
                  <a:pt x="824" y="1625"/>
                  <a:pt x="824" y="1625"/>
                  <a:pt x="824" y="1625"/>
                </a:cubicBezTo>
                <a:cubicBezTo>
                  <a:pt x="827" y="1627"/>
                  <a:pt x="827" y="1627"/>
                  <a:pt x="827" y="1627"/>
                </a:cubicBezTo>
                <a:lnTo>
                  <a:pt x="826" y="1625"/>
                </a:lnTo>
                <a:close/>
                <a:moveTo>
                  <a:pt x="833" y="1651"/>
                </a:moveTo>
                <a:cubicBezTo>
                  <a:pt x="832" y="1651"/>
                  <a:pt x="832" y="1651"/>
                  <a:pt x="832" y="1651"/>
                </a:cubicBezTo>
                <a:cubicBezTo>
                  <a:pt x="832" y="1652"/>
                  <a:pt x="832" y="1652"/>
                  <a:pt x="832" y="1652"/>
                </a:cubicBezTo>
                <a:cubicBezTo>
                  <a:pt x="834" y="1652"/>
                  <a:pt x="834" y="1652"/>
                  <a:pt x="834" y="1652"/>
                </a:cubicBezTo>
                <a:cubicBezTo>
                  <a:pt x="835" y="1653"/>
                  <a:pt x="835" y="1653"/>
                  <a:pt x="835" y="1653"/>
                </a:cubicBezTo>
                <a:cubicBezTo>
                  <a:pt x="836" y="1654"/>
                  <a:pt x="836" y="1654"/>
                  <a:pt x="836" y="1654"/>
                </a:cubicBezTo>
                <a:cubicBezTo>
                  <a:pt x="837" y="1654"/>
                  <a:pt x="837" y="1654"/>
                  <a:pt x="837" y="1654"/>
                </a:cubicBezTo>
                <a:cubicBezTo>
                  <a:pt x="838" y="1652"/>
                  <a:pt x="838" y="1652"/>
                  <a:pt x="838" y="1652"/>
                </a:cubicBezTo>
                <a:cubicBezTo>
                  <a:pt x="837" y="1651"/>
                  <a:pt x="837" y="1651"/>
                  <a:pt x="837" y="1651"/>
                </a:cubicBezTo>
                <a:cubicBezTo>
                  <a:pt x="835" y="1651"/>
                  <a:pt x="835" y="1651"/>
                  <a:pt x="835" y="1651"/>
                </a:cubicBezTo>
                <a:lnTo>
                  <a:pt x="833" y="1651"/>
                </a:lnTo>
                <a:close/>
                <a:moveTo>
                  <a:pt x="836" y="1665"/>
                </a:moveTo>
                <a:cubicBezTo>
                  <a:pt x="835" y="1666"/>
                  <a:pt x="835" y="1666"/>
                  <a:pt x="835" y="1666"/>
                </a:cubicBezTo>
                <a:cubicBezTo>
                  <a:pt x="837" y="1666"/>
                  <a:pt x="837" y="1666"/>
                  <a:pt x="837" y="1666"/>
                </a:cubicBezTo>
                <a:cubicBezTo>
                  <a:pt x="837" y="1666"/>
                  <a:pt x="836" y="1665"/>
                  <a:pt x="836" y="1665"/>
                </a:cubicBezTo>
                <a:close/>
                <a:moveTo>
                  <a:pt x="305" y="284"/>
                </a:moveTo>
                <a:cubicBezTo>
                  <a:pt x="304" y="283"/>
                  <a:pt x="304" y="283"/>
                  <a:pt x="304" y="283"/>
                </a:cubicBezTo>
                <a:cubicBezTo>
                  <a:pt x="303" y="284"/>
                  <a:pt x="303" y="284"/>
                  <a:pt x="303" y="284"/>
                </a:cubicBezTo>
                <a:cubicBezTo>
                  <a:pt x="303" y="283"/>
                  <a:pt x="303" y="283"/>
                  <a:pt x="303" y="283"/>
                </a:cubicBezTo>
                <a:cubicBezTo>
                  <a:pt x="304" y="281"/>
                  <a:pt x="304" y="281"/>
                  <a:pt x="304" y="281"/>
                </a:cubicBezTo>
                <a:cubicBezTo>
                  <a:pt x="302" y="279"/>
                  <a:pt x="302" y="279"/>
                  <a:pt x="302" y="279"/>
                </a:cubicBezTo>
                <a:cubicBezTo>
                  <a:pt x="301" y="279"/>
                  <a:pt x="301" y="279"/>
                  <a:pt x="301" y="279"/>
                </a:cubicBezTo>
                <a:cubicBezTo>
                  <a:pt x="301" y="281"/>
                  <a:pt x="301" y="281"/>
                  <a:pt x="301" y="281"/>
                </a:cubicBezTo>
                <a:cubicBezTo>
                  <a:pt x="299" y="280"/>
                  <a:pt x="299" y="280"/>
                  <a:pt x="299" y="280"/>
                </a:cubicBezTo>
                <a:cubicBezTo>
                  <a:pt x="298" y="281"/>
                  <a:pt x="298" y="281"/>
                  <a:pt x="298" y="281"/>
                </a:cubicBezTo>
                <a:cubicBezTo>
                  <a:pt x="298" y="283"/>
                  <a:pt x="298" y="283"/>
                  <a:pt x="298" y="283"/>
                </a:cubicBezTo>
                <a:cubicBezTo>
                  <a:pt x="299" y="284"/>
                  <a:pt x="299" y="284"/>
                  <a:pt x="299" y="284"/>
                </a:cubicBezTo>
                <a:cubicBezTo>
                  <a:pt x="298" y="286"/>
                  <a:pt x="298" y="286"/>
                  <a:pt x="298" y="286"/>
                </a:cubicBezTo>
                <a:cubicBezTo>
                  <a:pt x="299" y="287"/>
                  <a:pt x="299" y="287"/>
                  <a:pt x="299" y="287"/>
                </a:cubicBezTo>
                <a:cubicBezTo>
                  <a:pt x="299" y="289"/>
                  <a:pt x="299" y="289"/>
                  <a:pt x="299" y="289"/>
                </a:cubicBezTo>
                <a:cubicBezTo>
                  <a:pt x="298" y="290"/>
                  <a:pt x="298" y="290"/>
                  <a:pt x="298" y="290"/>
                </a:cubicBezTo>
                <a:cubicBezTo>
                  <a:pt x="297" y="289"/>
                  <a:pt x="297" y="289"/>
                  <a:pt x="297" y="289"/>
                </a:cubicBezTo>
                <a:cubicBezTo>
                  <a:pt x="296" y="290"/>
                  <a:pt x="296" y="290"/>
                  <a:pt x="296" y="290"/>
                </a:cubicBezTo>
                <a:cubicBezTo>
                  <a:pt x="296" y="291"/>
                  <a:pt x="296" y="291"/>
                  <a:pt x="296" y="291"/>
                </a:cubicBezTo>
                <a:cubicBezTo>
                  <a:pt x="296" y="293"/>
                  <a:pt x="296" y="293"/>
                  <a:pt x="296" y="293"/>
                </a:cubicBezTo>
                <a:cubicBezTo>
                  <a:pt x="295" y="294"/>
                  <a:pt x="295" y="294"/>
                  <a:pt x="295" y="294"/>
                </a:cubicBezTo>
                <a:cubicBezTo>
                  <a:pt x="296" y="295"/>
                  <a:pt x="296" y="295"/>
                  <a:pt x="296" y="295"/>
                </a:cubicBezTo>
                <a:cubicBezTo>
                  <a:pt x="297" y="292"/>
                  <a:pt x="297" y="292"/>
                  <a:pt x="297" y="292"/>
                </a:cubicBezTo>
                <a:cubicBezTo>
                  <a:pt x="298" y="293"/>
                  <a:pt x="298" y="293"/>
                  <a:pt x="298" y="293"/>
                </a:cubicBezTo>
                <a:cubicBezTo>
                  <a:pt x="297" y="295"/>
                  <a:pt x="297" y="295"/>
                  <a:pt x="297" y="295"/>
                </a:cubicBezTo>
                <a:cubicBezTo>
                  <a:pt x="299" y="294"/>
                  <a:pt x="299" y="294"/>
                  <a:pt x="299" y="294"/>
                </a:cubicBezTo>
                <a:cubicBezTo>
                  <a:pt x="300" y="293"/>
                  <a:pt x="300" y="293"/>
                  <a:pt x="300" y="293"/>
                </a:cubicBezTo>
                <a:cubicBezTo>
                  <a:pt x="300" y="291"/>
                  <a:pt x="300" y="291"/>
                  <a:pt x="300" y="291"/>
                </a:cubicBezTo>
                <a:cubicBezTo>
                  <a:pt x="303" y="288"/>
                  <a:pt x="303" y="288"/>
                  <a:pt x="303" y="288"/>
                </a:cubicBezTo>
                <a:lnTo>
                  <a:pt x="305" y="284"/>
                </a:lnTo>
                <a:close/>
                <a:moveTo>
                  <a:pt x="299" y="270"/>
                </a:moveTo>
                <a:cubicBezTo>
                  <a:pt x="298" y="270"/>
                  <a:pt x="298" y="270"/>
                  <a:pt x="298" y="270"/>
                </a:cubicBezTo>
                <a:cubicBezTo>
                  <a:pt x="299" y="271"/>
                  <a:pt x="299" y="271"/>
                  <a:pt x="299" y="271"/>
                </a:cubicBezTo>
                <a:lnTo>
                  <a:pt x="299" y="270"/>
                </a:lnTo>
                <a:close/>
                <a:moveTo>
                  <a:pt x="302" y="297"/>
                </a:moveTo>
                <a:cubicBezTo>
                  <a:pt x="304" y="296"/>
                  <a:pt x="304" y="296"/>
                  <a:pt x="304" y="296"/>
                </a:cubicBezTo>
                <a:cubicBezTo>
                  <a:pt x="302" y="295"/>
                  <a:pt x="302" y="295"/>
                  <a:pt x="302" y="295"/>
                </a:cubicBezTo>
                <a:cubicBezTo>
                  <a:pt x="301" y="295"/>
                  <a:pt x="301" y="295"/>
                  <a:pt x="301" y="295"/>
                </a:cubicBezTo>
                <a:cubicBezTo>
                  <a:pt x="299" y="298"/>
                  <a:pt x="299" y="298"/>
                  <a:pt x="299" y="298"/>
                </a:cubicBezTo>
                <a:cubicBezTo>
                  <a:pt x="300" y="298"/>
                  <a:pt x="300" y="298"/>
                  <a:pt x="300" y="298"/>
                </a:cubicBezTo>
                <a:cubicBezTo>
                  <a:pt x="301" y="297"/>
                  <a:pt x="301" y="297"/>
                  <a:pt x="301" y="297"/>
                </a:cubicBezTo>
                <a:lnTo>
                  <a:pt x="302" y="297"/>
                </a:lnTo>
                <a:close/>
                <a:moveTo>
                  <a:pt x="297" y="321"/>
                </a:moveTo>
                <a:cubicBezTo>
                  <a:pt x="298" y="322"/>
                  <a:pt x="298" y="322"/>
                  <a:pt x="298" y="322"/>
                </a:cubicBezTo>
                <a:cubicBezTo>
                  <a:pt x="300" y="320"/>
                  <a:pt x="300" y="320"/>
                  <a:pt x="300" y="320"/>
                </a:cubicBezTo>
                <a:cubicBezTo>
                  <a:pt x="298" y="317"/>
                  <a:pt x="298" y="317"/>
                  <a:pt x="298" y="317"/>
                </a:cubicBezTo>
                <a:cubicBezTo>
                  <a:pt x="299" y="316"/>
                  <a:pt x="299" y="316"/>
                  <a:pt x="299" y="316"/>
                </a:cubicBezTo>
                <a:cubicBezTo>
                  <a:pt x="297" y="315"/>
                  <a:pt x="297" y="315"/>
                  <a:pt x="297" y="315"/>
                </a:cubicBezTo>
                <a:cubicBezTo>
                  <a:pt x="296" y="316"/>
                  <a:pt x="296" y="316"/>
                  <a:pt x="296" y="316"/>
                </a:cubicBezTo>
                <a:cubicBezTo>
                  <a:pt x="296" y="317"/>
                  <a:pt x="296" y="317"/>
                  <a:pt x="296" y="317"/>
                </a:cubicBezTo>
                <a:cubicBezTo>
                  <a:pt x="297" y="319"/>
                  <a:pt x="297" y="319"/>
                  <a:pt x="297" y="319"/>
                </a:cubicBezTo>
                <a:lnTo>
                  <a:pt x="297" y="321"/>
                </a:lnTo>
                <a:close/>
                <a:moveTo>
                  <a:pt x="300" y="301"/>
                </a:moveTo>
                <a:cubicBezTo>
                  <a:pt x="300" y="300"/>
                  <a:pt x="300" y="300"/>
                  <a:pt x="300" y="300"/>
                </a:cubicBezTo>
                <a:cubicBezTo>
                  <a:pt x="299" y="301"/>
                  <a:pt x="299" y="301"/>
                  <a:pt x="299" y="301"/>
                </a:cubicBezTo>
                <a:cubicBezTo>
                  <a:pt x="299" y="302"/>
                  <a:pt x="299" y="302"/>
                  <a:pt x="299" y="302"/>
                </a:cubicBezTo>
                <a:lnTo>
                  <a:pt x="300" y="301"/>
                </a:lnTo>
                <a:close/>
                <a:moveTo>
                  <a:pt x="301" y="334"/>
                </a:moveTo>
                <a:cubicBezTo>
                  <a:pt x="299" y="337"/>
                  <a:pt x="299" y="337"/>
                  <a:pt x="299" y="337"/>
                </a:cubicBezTo>
                <a:cubicBezTo>
                  <a:pt x="297" y="341"/>
                  <a:pt x="297" y="341"/>
                  <a:pt x="297" y="341"/>
                </a:cubicBezTo>
                <a:cubicBezTo>
                  <a:pt x="295" y="341"/>
                  <a:pt x="295" y="341"/>
                  <a:pt x="295" y="341"/>
                </a:cubicBezTo>
                <a:cubicBezTo>
                  <a:pt x="295" y="340"/>
                  <a:pt x="295" y="340"/>
                  <a:pt x="295" y="340"/>
                </a:cubicBezTo>
                <a:cubicBezTo>
                  <a:pt x="294" y="339"/>
                  <a:pt x="294" y="339"/>
                  <a:pt x="294" y="339"/>
                </a:cubicBezTo>
                <a:cubicBezTo>
                  <a:pt x="297" y="338"/>
                  <a:pt x="297" y="338"/>
                  <a:pt x="297" y="338"/>
                </a:cubicBezTo>
                <a:cubicBezTo>
                  <a:pt x="299" y="336"/>
                  <a:pt x="299" y="336"/>
                  <a:pt x="299" y="336"/>
                </a:cubicBezTo>
                <a:cubicBezTo>
                  <a:pt x="299" y="334"/>
                  <a:pt x="299" y="334"/>
                  <a:pt x="299" y="334"/>
                </a:cubicBezTo>
                <a:cubicBezTo>
                  <a:pt x="299" y="332"/>
                  <a:pt x="299" y="332"/>
                  <a:pt x="299" y="332"/>
                </a:cubicBezTo>
                <a:cubicBezTo>
                  <a:pt x="298" y="332"/>
                  <a:pt x="298" y="332"/>
                  <a:pt x="298" y="332"/>
                </a:cubicBezTo>
                <a:cubicBezTo>
                  <a:pt x="297" y="333"/>
                  <a:pt x="297" y="333"/>
                  <a:pt x="297" y="333"/>
                </a:cubicBezTo>
                <a:cubicBezTo>
                  <a:pt x="295" y="333"/>
                  <a:pt x="295" y="333"/>
                  <a:pt x="295" y="333"/>
                </a:cubicBezTo>
                <a:cubicBezTo>
                  <a:pt x="296" y="331"/>
                  <a:pt x="296" y="331"/>
                  <a:pt x="296" y="331"/>
                </a:cubicBezTo>
                <a:cubicBezTo>
                  <a:pt x="293" y="330"/>
                  <a:pt x="293" y="330"/>
                  <a:pt x="293" y="330"/>
                </a:cubicBezTo>
                <a:cubicBezTo>
                  <a:pt x="290" y="335"/>
                  <a:pt x="290" y="335"/>
                  <a:pt x="290" y="335"/>
                </a:cubicBezTo>
                <a:cubicBezTo>
                  <a:pt x="290" y="339"/>
                  <a:pt x="290" y="339"/>
                  <a:pt x="290" y="339"/>
                </a:cubicBezTo>
                <a:cubicBezTo>
                  <a:pt x="289" y="341"/>
                  <a:pt x="289" y="341"/>
                  <a:pt x="289" y="341"/>
                </a:cubicBezTo>
                <a:cubicBezTo>
                  <a:pt x="289" y="342"/>
                  <a:pt x="289" y="342"/>
                  <a:pt x="289" y="342"/>
                </a:cubicBezTo>
                <a:cubicBezTo>
                  <a:pt x="291" y="343"/>
                  <a:pt x="291" y="343"/>
                  <a:pt x="291" y="343"/>
                </a:cubicBezTo>
                <a:cubicBezTo>
                  <a:pt x="292" y="344"/>
                  <a:pt x="292" y="344"/>
                  <a:pt x="292" y="344"/>
                </a:cubicBezTo>
                <a:cubicBezTo>
                  <a:pt x="292" y="346"/>
                  <a:pt x="292" y="346"/>
                  <a:pt x="292" y="346"/>
                </a:cubicBezTo>
                <a:cubicBezTo>
                  <a:pt x="291" y="346"/>
                  <a:pt x="291" y="346"/>
                  <a:pt x="291" y="346"/>
                </a:cubicBezTo>
                <a:cubicBezTo>
                  <a:pt x="289" y="345"/>
                  <a:pt x="289" y="345"/>
                  <a:pt x="289" y="345"/>
                </a:cubicBezTo>
                <a:cubicBezTo>
                  <a:pt x="289" y="347"/>
                  <a:pt x="289" y="347"/>
                  <a:pt x="289" y="347"/>
                </a:cubicBezTo>
                <a:cubicBezTo>
                  <a:pt x="291" y="348"/>
                  <a:pt x="291" y="348"/>
                  <a:pt x="291" y="348"/>
                </a:cubicBezTo>
                <a:cubicBezTo>
                  <a:pt x="290" y="350"/>
                  <a:pt x="290" y="350"/>
                  <a:pt x="290" y="350"/>
                </a:cubicBezTo>
                <a:cubicBezTo>
                  <a:pt x="291" y="351"/>
                  <a:pt x="291" y="351"/>
                  <a:pt x="291" y="351"/>
                </a:cubicBezTo>
                <a:cubicBezTo>
                  <a:pt x="293" y="353"/>
                  <a:pt x="293" y="353"/>
                  <a:pt x="293" y="353"/>
                </a:cubicBezTo>
                <a:cubicBezTo>
                  <a:pt x="290" y="353"/>
                  <a:pt x="290" y="353"/>
                  <a:pt x="290" y="353"/>
                </a:cubicBezTo>
                <a:cubicBezTo>
                  <a:pt x="289" y="354"/>
                  <a:pt x="289" y="354"/>
                  <a:pt x="289" y="354"/>
                </a:cubicBezTo>
                <a:cubicBezTo>
                  <a:pt x="290" y="356"/>
                  <a:pt x="290" y="356"/>
                  <a:pt x="290" y="356"/>
                </a:cubicBezTo>
                <a:cubicBezTo>
                  <a:pt x="292" y="356"/>
                  <a:pt x="292" y="356"/>
                  <a:pt x="292" y="356"/>
                </a:cubicBezTo>
                <a:cubicBezTo>
                  <a:pt x="292" y="358"/>
                  <a:pt x="292" y="358"/>
                  <a:pt x="292" y="358"/>
                </a:cubicBezTo>
                <a:cubicBezTo>
                  <a:pt x="292" y="360"/>
                  <a:pt x="292" y="360"/>
                  <a:pt x="292" y="360"/>
                </a:cubicBezTo>
                <a:cubicBezTo>
                  <a:pt x="295" y="367"/>
                  <a:pt x="295" y="367"/>
                  <a:pt x="295" y="367"/>
                </a:cubicBezTo>
                <a:cubicBezTo>
                  <a:pt x="298" y="368"/>
                  <a:pt x="298" y="368"/>
                  <a:pt x="298" y="368"/>
                </a:cubicBezTo>
                <a:cubicBezTo>
                  <a:pt x="299" y="366"/>
                  <a:pt x="299" y="366"/>
                  <a:pt x="299" y="366"/>
                </a:cubicBezTo>
                <a:cubicBezTo>
                  <a:pt x="298" y="365"/>
                  <a:pt x="298" y="365"/>
                  <a:pt x="298" y="365"/>
                </a:cubicBezTo>
                <a:cubicBezTo>
                  <a:pt x="297" y="365"/>
                  <a:pt x="297" y="365"/>
                  <a:pt x="297" y="365"/>
                </a:cubicBezTo>
                <a:cubicBezTo>
                  <a:pt x="296" y="362"/>
                  <a:pt x="296" y="362"/>
                  <a:pt x="296" y="362"/>
                </a:cubicBezTo>
                <a:cubicBezTo>
                  <a:pt x="295" y="359"/>
                  <a:pt x="295" y="359"/>
                  <a:pt x="295" y="359"/>
                </a:cubicBezTo>
                <a:cubicBezTo>
                  <a:pt x="295" y="356"/>
                  <a:pt x="295" y="356"/>
                  <a:pt x="295" y="356"/>
                </a:cubicBezTo>
                <a:cubicBezTo>
                  <a:pt x="295" y="354"/>
                  <a:pt x="295" y="354"/>
                  <a:pt x="295" y="354"/>
                </a:cubicBezTo>
                <a:cubicBezTo>
                  <a:pt x="296" y="351"/>
                  <a:pt x="296" y="351"/>
                  <a:pt x="296" y="351"/>
                </a:cubicBezTo>
                <a:cubicBezTo>
                  <a:pt x="298" y="351"/>
                  <a:pt x="298" y="351"/>
                  <a:pt x="298" y="351"/>
                </a:cubicBezTo>
                <a:cubicBezTo>
                  <a:pt x="298" y="349"/>
                  <a:pt x="298" y="349"/>
                  <a:pt x="298" y="349"/>
                </a:cubicBezTo>
                <a:cubicBezTo>
                  <a:pt x="296" y="349"/>
                  <a:pt x="296" y="349"/>
                  <a:pt x="296" y="349"/>
                </a:cubicBezTo>
                <a:cubicBezTo>
                  <a:pt x="295" y="349"/>
                  <a:pt x="295" y="349"/>
                  <a:pt x="295" y="349"/>
                </a:cubicBezTo>
                <a:cubicBezTo>
                  <a:pt x="293" y="349"/>
                  <a:pt x="293" y="349"/>
                  <a:pt x="293" y="349"/>
                </a:cubicBezTo>
                <a:cubicBezTo>
                  <a:pt x="295" y="348"/>
                  <a:pt x="295" y="348"/>
                  <a:pt x="295" y="348"/>
                </a:cubicBezTo>
                <a:cubicBezTo>
                  <a:pt x="296" y="348"/>
                  <a:pt x="296" y="348"/>
                  <a:pt x="296" y="348"/>
                </a:cubicBezTo>
                <a:cubicBezTo>
                  <a:pt x="299" y="346"/>
                  <a:pt x="299" y="346"/>
                  <a:pt x="299" y="346"/>
                </a:cubicBezTo>
                <a:cubicBezTo>
                  <a:pt x="299" y="343"/>
                  <a:pt x="299" y="343"/>
                  <a:pt x="299" y="343"/>
                </a:cubicBezTo>
                <a:cubicBezTo>
                  <a:pt x="301" y="340"/>
                  <a:pt x="301" y="340"/>
                  <a:pt x="301" y="340"/>
                </a:cubicBezTo>
                <a:cubicBezTo>
                  <a:pt x="301" y="337"/>
                  <a:pt x="301" y="337"/>
                  <a:pt x="301" y="337"/>
                </a:cubicBezTo>
                <a:cubicBezTo>
                  <a:pt x="305" y="333"/>
                  <a:pt x="305" y="333"/>
                  <a:pt x="305" y="333"/>
                </a:cubicBezTo>
                <a:cubicBezTo>
                  <a:pt x="304" y="333"/>
                  <a:pt x="304" y="333"/>
                  <a:pt x="304" y="333"/>
                </a:cubicBezTo>
                <a:lnTo>
                  <a:pt x="301" y="334"/>
                </a:lnTo>
                <a:close/>
                <a:moveTo>
                  <a:pt x="298" y="312"/>
                </a:moveTo>
                <a:cubicBezTo>
                  <a:pt x="297" y="313"/>
                  <a:pt x="297" y="313"/>
                  <a:pt x="297" y="313"/>
                </a:cubicBezTo>
                <a:cubicBezTo>
                  <a:pt x="297" y="315"/>
                  <a:pt x="297" y="315"/>
                  <a:pt x="297" y="315"/>
                </a:cubicBezTo>
                <a:cubicBezTo>
                  <a:pt x="299" y="314"/>
                  <a:pt x="299" y="314"/>
                  <a:pt x="299" y="314"/>
                </a:cubicBezTo>
                <a:cubicBezTo>
                  <a:pt x="298" y="313"/>
                  <a:pt x="298" y="313"/>
                  <a:pt x="298" y="313"/>
                </a:cubicBezTo>
                <a:lnTo>
                  <a:pt x="298" y="312"/>
                </a:lnTo>
                <a:close/>
                <a:moveTo>
                  <a:pt x="814" y="1594"/>
                </a:moveTo>
                <a:cubicBezTo>
                  <a:pt x="816" y="1594"/>
                  <a:pt x="816" y="1594"/>
                  <a:pt x="816" y="1594"/>
                </a:cubicBezTo>
                <a:cubicBezTo>
                  <a:pt x="818" y="1594"/>
                  <a:pt x="818" y="1594"/>
                  <a:pt x="818" y="1594"/>
                </a:cubicBezTo>
                <a:cubicBezTo>
                  <a:pt x="817" y="1591"/>
                  <a:pt x="817" y="1591"/>
                  <a:pt x="817" y="1591"/>
                </a:cubicBezTo>
                <a:cubicBezTo>
                  <a:pt x="815" y="1590"/>
                  <a:pt x="815" y="1590"/>
                  <a:pt x="815" y="1590"/>
                </a:cubicBezTo>
                <a:cubicBezTo>
                  <a:pt x="815" y="1587"/>
                  <a:pt x="815" y="1587"/>
                  <a:pt x="815" y="1587"/>
                </a:cubicBezTo>
                <a:cubicBezTo>
                  <a:pt x="813" y="1587"/>
                  <a:pt x="813" y="1587"/>
                  <a:pt x="813" y="1587"/>
                </a:cubicBezTo>
                <a:cubicBezTo>
                  <a:pt x="813" y="1583"/>
                  <a:pt x="813" y="1583"/>
                  <a:pt x="813" y="1583"/>
                </a:cubicBezTo>
                <a:cubicBezTo>
                  <a:pt x="812" y="1584"/>
                  <a:pt x="812" y="1584"/>
                  <a:pt x="812" y="1584"/>
                </a:cubicBezTo>
                <a:cubicBezTo>
                  <a:pt x="810" y="1585"/>
                  <a:pt x="810" y="1585"/>
                  <a:pt x="810" y="1585"/>
                </a:cubicBezTo>
                <a:cubicBezTo>
                  <a:pt x="809" y="1586"/>
                  <a:pt x="809" y="1586"/>
                  <a:pt x="809" y="1586"/>
                </a:cubicBezTo>
                <a:cubicBezTo>
                  <a:pt x="811" y="1587"/>
                  <a:pt x="811" y="1587"/>
                  <a:pt x="811" y="1587"/>
                </a:cubicBezTo>
                <a:cubicBezTo>
                  <a:pt x="813" y="1591"/>
                  <a:pt x="813" y="1591"/>
                  <a:pt x="813" y="1591"/>
                </a:cubicBezTo>
                <a:cubicBezTo>
                  <a:pt x="814" y="1590"/>
                  <a:pt x="814" y="1590"/>
                  <a:pt x="814" y="1590"/>
                </a:cubicBezTo>
                <a:cubicBezTo>
                  <a:pt x="815" y="1591"/>
                  <a:pt x="815" y="1591"/>
                  <a:pt x="815" y="1591"/>
                </a:cubicBezTo>
                <a:cubicBezTo>
                  <a:pt x="813" y="1592"/>
                  <a:pt x="813" y="1592"/>
                  <a:pt x="813" y="1592"/>
                </a:cubicBezTo>
                <a:lnTo>
                  <a:pt x="814" y="1594"/>
                </a:lnTo>
                <a:close/>
                <a:moveTo>
                  <a:pt x="810" y="1604"/>
                </a:moveTo>
                <a:cubicBezTo>
                  <a:pt x="812" y="1601"/>
                  <a:pt x="812" y="1601"/>
                  <a:pt x="812" y="1601"/>
                </a:cubicBezTo>
                <a:cubicBezTo>
                  <a:pt x="813" y="1600"/>
                  <a:pt x="813" y="1600"/>
                  <a:pt x="813" y="1600"/>
                </a:cubicBezTo>
                <a:cubicBezTo>
                  <a:pt x="812" y="1599"/>
                  <a:pt x="812" y="1599"/>
                  <a:pt x="812" y="1599"/>
                </a:cubicBezTo>
                <a:cubicBezTo>
                  <a:pt x="810" y="1598"/>
                  <a:pt x="810" y="1598"/>
                  <a:pt x="810" y="1598"/>
                </a:cubicBezTo>
                <a:cubicBezTo>
                  <a:pt x="809" y="1597"/>
                  <a:pt x="809" y="1597"/>
                  <a:pt x="809" y="1597"/>
                </a:cubicBezTo>
                <a:cubicBezTo>
                  <a:pt x="808" y="1598"/>
                  <a:pt x="808" y="1598"/>
                  <a:pt x="808" y="1598"/>
                </a:cubicBezTo>
                <a:cubicBezTo>
                  <a:pt x="809" y="1602"/>
                  <a:pt x="809" y="1602"/>
                  <a:pt x="809" y="1602"/>
                </a:cubicBezTo>
                <a:cubicBezTo>
                  <a:pt x="809" y="1603"/>
                  <a:pt x="809" y="1603"/>
                  <a:pt x="809" y="1603"/>
                </a:cubicBezTo>
                <a:lnTo>
                  <a:pt x="810" y="1604"/>
                </a:lnTo>
                <a:close/>
                <a:moveTo>
                  <a:pt x="302" y="315"/>
                </a:moveTo>
                <a:cubicBezTo>
                  <a:pt x="301" y="314"/>
                  <a:pt x="301" y="314"/>
                  <a:pt x="301" y="314"/>
                </a:cubicBezTo>
                <a:cubicBezTo>
                  <a:pt x="300" y="315"/>
                  <a:pt x="300" y="315"/>
                  <a:pt x="300" y="315"/>
                </a:cubicBezTo>
                <a:cubicBezTo>
                  <a:pt x="301" y="316"/>
                  <a:pt x="301" y="316"/>
                  <a:pt x="301" y="316"/>
                </a:cubicBezTo>
                <a:lnTo>
                  <a:pt x="302" y="315"/>
                </a:lnTo>
                <a:close/>
                <a:moveTo>
                  <a:pt x="810" y="1609"/>
                </a:moveTo>
                <a:cubicBezTo>
                  <a:pt x="811" y="1610"/>
                  <a:pt x="811" y="1610"/>
                  <a:pt x="811" y="1610"/>
                </a:cubicBezTo>
                <a:cubicBezTo>
                  <a:pt x="810" y="1611"/>
                  <a:pt x="810" y="1611"/>
                  <a:pt x="810" y="1611"/>
                </a:cubicBezTo>
                <a:cubicBezTo>
                  <a:pt x="811" y="1612"/>
                  <a:pt x="811" y="1612"/>
                  <a:pt x="811" y="1612"/>
                </a:cubicBezTo>
                <a:cubicBezTo>
                  <a:pt x="813" y="1611"/>
                  <a:pt x="813" y="1611"/>
                  <a:pt x="813" y="1611"/>
                </a:cubicBezTo>
                <a:cubicBezTo>
                  <a:pt x="813" y="1610"/>
                  <a:pt x="813" y="1610"/>
                  <a:pt x="813" y="1610"/>
                </a:cubicBezTo>
                <a:cubicBezTo>
                  <a:pt x="812" y="1608"/>
                  <a:pt x="812" y="1608"/>
                  <a:pt x="812" y="1608"/>
                </a:cubicBezTo>
                <a:lnTo>
                  <a:pt x="810" y="1609"/>
                </a:lnTo>
                <a:close/>
                <a:moveTo>
                  <a:pt x="809" y="1594"/>
                </a:moveTo>
                <a:cubicBezTo>
                  <a:pt x="808" y="1592"/>
                  <a:pt x="808" y="1592"/>
                  <a:pt x="808" y="1592"/>
                </a:cubicBezTo>
                <a:cubicBezTo>
                  <a:pt x="807" y="1592"/>
                  <a:pt x="807" y="1592"/>
                  <a:pt x="807" y="1592"/>
                </a:cubicBezTo>
                <a:cubicBezTo>
                  <a:pt x="806" y="1592"/>
                  <a:pt x="806" y="1592"/>
                  <a:pt x="806" y="1592"/>
                </a:cubicBezTo>
                <a:cubicBezTo>
                  <a:pt x="806" y="1594"/>
                  <a:pt x="806" y="1594"/>
                  <a:pt x="806" y="1594"/>
                </a:cubicBezTo>
                <a:cubicBezTo>
                  <a:pt x="807" y="1595"/>
                  <a:pt x="807" y="1595"/>
                  <a:pt x="807" y="1595"/>
                </a:cubicBezTo>
                <a:cubicBezTo>
                  <a:pt x="808" y="1596"/>
                  <a:pt x="808" y="1596"/>
                  <a:pt x="808" y="1596"/>
                </a:cubicBezTo>
                <a:cubicBezTo>
                  <a:pt x="809" y="1596"/>
                  <a:pt x="809" y="1596"/>
                  <a:pt x="809" y="1596"/>
                </a:cubicBezTo>
                <a:lnTo>
                  <a:pt x="809" y="1594"/>
                </a:lnTo>
                <a:close/>
                <a:moveTo>
                  <a:pt x="307" y="320"/>
                </a:moveTo>
                <a:cubicBezTo>
                  <a:pt x="308" y="319"/>
                  <a:pt x="308" y="319"/>
                  <a:pt x="308" y="319"/>
                </a:cubicBezTo>
                <a:cubicBezTo>
                  <a:pt x="307" y="318"/>
                  <a:pt x="307" y="318"/>
                  <a:pt x="307" y="318"/>
                </a:cubicBezTo>
                <a:cubicBezTo>
                  <a:pt x="306" y="318"/>
                  <a:pt x="306" y="318"/>
                  <a:pt x="306" y="318"/>
                </a:cubicBezTo>
                <a:cubicBezTo>
                  <a:pt x="307" y="316"/>
                  <a:pt x="307" y="316"/>
                  <a:pt x="307" y="316"/>
                </a:cubicBezTo>
                <a:cubicBezTo>
                  <a:pt x="308" y="316"/>
                  <a:pt x="308" y="316"/>
                  <a:pt x="308" y="316"/>
                </a:cubicBezTo>
                <a:cubicBezTo>
                  <a:pt x="310" y="314"/>
                  <a:pt x="310" y="314"/>
                  <a:pt x="310" y="314"/>
                </a:cubicBezTo>
                <a:cubicBezTo>
                  <a:pt x="310" y="313"/>
                  <a:pt x="310" y="313"/>
                  <a:pt x="310" y="313"/>
                </a:cubicBezTo>
                <a:cubicBezTo>
                  <a:pt x="309" y="313"/>
                  <a:pt x="309" y="313"/>
                  <a:pt x="309" y="313"/>
                </a:cubicBezTo>
                <a:cubicBezTo>
                  <a:pt x="308" y="313"/>
                  <a:pt x="308" y="313"/>
                  <a:pt x="308" y="313"/>
                </a:cubicBezTo>
                <a:cubicBezTo>
                  <a:pt x="308" y="312"/>
                  <a:pt x="308" y="312"/>
                  <a:pt x="308" y="312"/>
                </a:cubicBezTo>
                <a:cubicBezTo>
                  <a:pt x="310" y="311"/>
                  <a:pt x="310" y="311"/>
                  <a:pt x="310" y="311"/>
                </a:cubicBezTo>
                <a:cubicBezTo>
                  <a:pt x="309" y="309"/>
                  <a:pt x="309" y="309"/>
                  <a:pt x="309" y="309"/>
                </a:cubicBezTo>
                <a:cubicBezTo>
                  <a:pt x="307" y="307"/>
                  <a:pt x="307" y="307"/>
                  <a:pt x="307" y="307"/>
                </a:cubicBezTo>
                <a:cubicBezTo>
                  <a:pt x="307" y="306"/>
                  <a:pt x="307" y="306"/>
                  <a:pt x="307" y="306"/>
                </a:cubicBezTo>
                <a:cubicBezTo>
                  <a:pt x="308" y="306"/>
                  <a:pt x="308" y="306"/>
                  <a:pt x="308" y="306"/>
                </a:cubicBezTo>
                <a:cubicBezTo>
                  <a:pt x="309" y="306"/>
                  <a:pt x="309" y="306"/>
                  <a:pt x="309" y="306"/>
                </a:cubicBezTo>
                <a:cubicBezTo>
                  <a:pt x="309" y="304"/>
                  <a:pt x="309" y="304"/>
                  <a:pt x="309" y="304"/>
                </a:cubicBezTo>
                <a:cubicBezTo>
                  <a:pt x="308" y="303"/>
                  <a:pt x="308" y="303"/>
                  <a:pt x="308" y="303"/>
                </a:cubicBezTo>
                <a:cubicBezTo>
                  <a:pt x="309" y="303"/>
                  <a:pt x="309" y="303"/>
                  <a:pt x="309" y="303"/>
                </a:cubicBezTo>
                <a:cubicBezTo>
                  <a:pt x="309" y="300"/>
                  <a:pt x="309" y="300"/>
                  <a:pt x="309" y="300"/>
                </a:cubicBezTo>
                <a:cubicBezTo>
                  <a:pt x="307" y="298"/>
                  <a:pt x="307" y="298"/>
                  <a:pt x="307" y="298"/>
                </a:cubicBezTo>
                <a:cubicBezTo>
                  <a:pt x="306" y="299"/>
                  <a:pt x="306" y="299"/>
                  <a:pt x="306" y="299"/>
                </a:cubicBezTo>
                <a:cubicBezTo>
                  <a:pt x="305" y="297"/>
                  <a:pt x="305" y="297"/>
                  <a:pt x="305" y="297"/>
                </a:cubicBezTo>
                <a:cubicBezTo>
                  <a:pt x="305" y="296"/>
                  <a:pt x="305" y="296"/>
                  <a:pt x="305" y="296"/>
                </a:cubicBezTo>
                <a:cubicBezTo>
                  <a:pt x="307" y="294"/>
                  <a:pt x="307" y="294"/>
                  <a:pt x="307" y="294"/>
                </a:cubicBezTo>
                <a:cubicBezTo>
                  <a:pt x="305" y="292"/>
                  <a:pt x="305" y="292"/>
                  <a:pt x="305" y="292"/>
                </a:cubicBezTo>
                <a:cubicBezTo>
                  <a:pt x="304" y="292"/>
                  <a:pt x="304" y="292"/>
                  <a:pt x="304" y="292"/>
                </a:cubicBezTo>
                <a:cubicBezTo>
                  <a:pt x="303" y="293"/>
                  <a:pt x="303" y="293"/>
                  <a:pt x="303" y="293"/>
                </a:cubicBezTo>
                <a:cubicBezTo>
                  <a:pt x="304" y="294"/>
                  <a:pt x="304" y="294"/>
                  <a:pt x="304" y="294"/>
                </a:cubicBezTo>
                <a:cubicBezTo>
                  <a:pt x="305" y="296"/>
                  <a:pt x="305" y="296"/>
                  <a:pt x="305" y="296"/>
                </a:cubicBezTo>
                <a:cubicBezTo>
                  <a:pt x="304" y="299"/>
                  <a:pt x="304" y="299"/>
                  <a:pt x="304" y="299"/>
                </a:cubicBezTo>
                <a:cubicBezTo>
                  <a:pt x="304" y="301"/>
                  <a:pt x="304" y="301"/>
                  <a:pt x="304" y="301"/>
                </a:cubicBezTo>
                <a:cubicBezTo>
                  <a:pt x="303" y="303"/>
                  <a:pt x="303" y="303"/>
                  <a:pt x="303" y="303"/>
                </a:cubicBezTo>
                <a:cubicBezTo>
                  <a:pt x="301" y="303"/>
                  <a:pt x="301" y="303"/>
                  <a:pt x="301" y="303"/>
                </a:cubicBezTo>
                <a:cubicBezTo>
                  <a:pt x="301" y="304"/>
                  <a:pt x="301" y="304"/>
                  <a:pt x="301" y="304"/>
                </a:cubicBezTo>
                <a:cubicBezTo>
                  <a:pt x="301" y="305"/>
                  <a:pt x="301" y="305"/>
                  <a:pt x="301" y="305"/>
                </a:cubicBezTo>
                <a:cubicBezTo>
                  <a:pt x="302" y="304"/>
                  <a:pt x="302" y="304"/>
                  <a:pt x="302" y="304"/>
                </a:cubicBezTo>
                <a:cubicBezTo>
                  <a:pt x="304" y="305"/>
                  <a:pt x="304" y="305"/>
                  <a:pt x="304" y="305"/>
                </a:cubicBezTo>
                <a:cubicBezTo>
                  <a:pt x="304" y="306"/>
                  <a:pt x="304" y="306"/>
                  <a:pt x="304" y="306"/>
                </a:cubicBezTo>
                <a:cubicBezTo>
                  <a:pt x="302" y="307"/>
                  <a:pt x="302" y="307"/>
                  <a:pt x="302" y="307"/>
                </a:cubicBezTo>
                <a:cubicBezTo>
                  <a:pt x="302" y="308"/>
                  <a:pt x="302" y="308"/>
                  <a:pt x="302" y="308"/>
                </a:cubicBezTo>
                <a:cubicBezTo>
                  <a:pt x="301" y="309"/>
                  <a:pt x="301" y="309"/>
                  <a:pt x="301" y="309"/>
                </a:cubicBezTo>
                <a:cubicBezTo>
                  <a:pt x="300" y="309"/>
                  <a:pt x="300" y="309"/>
                  <a:pt x="300" y="309"/>
                </a:cubicBezTo>
                <a:cubicBezTo>
                  <a:pt x="299" y="310"/>
                  <a:pt x="299" y="310"/>
                  <a:pt x="299" y="310"/>
                </a:cubicBezTo>
                <a:cubicBezTo>
                  <a:pt x="300" y="311"/>
                  <a:pt x="300" y="311"/>
                  <a:pt x="300" y="311"/>
                </a:cubicBezTo>
                <a:cubicBezTo>
                  <a:pt x="301" y="311"/>
                  <a:pt x="301" y="311"/>
                  <a:pt x="301" y="311"/>
                </a:cubicBezTo>
                <a:cubicBezTo>
                  <a:pt x="302" y="312"/>
                  <a:pt x="302" y="312"/>
                  <a:pt x="302" y="312"/>
                </a:cubicBezTo>
                <a:cubicBezTo>
                  <a:pt x="303" y="311"/>
                  <a:pt x="303" y="311"/>
                  <a:pt x="303" y="311"/>
                </a:cubicBezTo>
                <a:cubicBezTo>
                  <a:pt x="304" y="311"/>
                  <a:pt x="304" y="311"/>
                  <a:pt x="304" y="311"/>
                </a:cubicBezTo>
                <a:cubicBezTo>
                  <a:pt x="305" y="312"/>
                  <a:pt x="305" y="312"/>
                  <a:pt x="305" y="312"/>
                </a:cubicBezTo>
                <a:cubicBezTo>
                  <a:pt x="303" y="313"/>
                  <a:pt x="303" y="313"/>
                  <a:pt x="303" y="313"/>
                </a:cubicBezTo>
                <a:cubicBezTo>
                  <a:pt x="303" y="314"/>
                  <a:pt x="303" y="314"/>
                  <a:pt x="303" y="314"/>
                </a:cubicBezTo>
                <a:cubicBezTo>
                  <a:pt x="304" y="315"/>
                  <a:pt x="304" y="315"/>
                  <a:pt x="304" y="315"/>
                </a:cubicBezTo>
                <a:cubicBezTo>
                  <a:pt x="303" y="316"/>
                  <a:pt x="303" y="316"/>
                  <a:pt x="303" y="316"/>
                </a:cubicBezTo>
                <a:cubicBezTo>
                  <a:pt x="302" y="318"/>
                  <a:pt x="302" y="318"/>
                  <a:pt x="302" y="318"/>
                </a:cubicBezTo>
                <a:cubicBezTo>
                  <a:pt x="304" y="320"/>
                  <a:pt x="304" y="320"/>
                  <a:pt x="304" y="320"/>
                </a:cubicBezTo>
                <a:cubicBezTo>
                  <a:pt x="304" y="321"/>
                  <a:pt x="304" y="321"/>
                  <a:pt x="304" y="321"/>
                </a:cubicBezTo>
                <a:cubicBezTo>
                  <a:pt x="305" y="322"/>
                  <a:pt x="305" y="322"/>
                  <a:pt x="305" y="322"/>
                </a:cubicBezTo>
                <a:cubicBezTo>
                  <a:pt x="306" y="322"/>
                  <a:pt x="306" y="322"/>
                  <a:pt x="306" y="322"/>
                </a:cubicBezTo>
                <a:cubicBezTo>
                  <a:pt x="307" y="321"/>
                  <a:pt x="307" y="321"/>
                  <a:pt x="307" y="321"/>
                </a:cubicBezTo>
                <a:lnTo>
                  <a:pt x="307" y="320"/>
                </a:lnTo>
                <a:close/>
                <a:moveTo>
                  <a:pt x="807" y="1586"/>
                </a:moveTo>
                <a:cubicBezTo>
                  <a:pt x="806" y="1587"/>
                  <a:pt x="806" y="1587"/>
                  <a:pt x="806" y="1587"/>
                </a:cubicBezTo>
                <a:cubicBezTo>
                  <a:pt x="806" y="1588"/>
                  <a:pt x="806" y="1588"/>
                  <a:pt x="806" y="1588"/>
                </a:cubicBezTo>
                <a:cubicBezTo>
                  <a:pt x="806" y="1591"/>
                  <a:pt x="806" y="1591"/>
                  <a:pt x="806" y="1591"/>
                </a:cubicBezTo>
                <a:cubicBezTo>
                  <a:pt x="808" y="1591"/>
                  <a:pt x="808" y="1591"/>
                  <a:pt x="808" y="1591"/>
                </a:cubicBezTo>
                <a:cubicBezTo>
                  <a:pt x="810" y="1592"/>
                  <a:pt x="810" y="1592"/>
                  <a:pt x="810" y="1592"/>
                </a:cubicBezTo>
                <a:cubicBezTo>
                  <a:pt x="810" y="1593"/>
                  <a:pt x="810" y="1593"/>
                  <a:pt x="810" y="1593"/>
                </a:cubicBezTo>
                <a:cubicBezTo>
                  <a:pt x="810" y="1596"/>
                  <a:pt x="810" y="1596"/>
                  <a:pt x="810" y="1596"/>
                </a:cubicBezTo>
                <a:cubicBezTo>
                  <a:pt x="812" y="1597"/>
                  <a:pt x="812" y="1597"/>
                  <a:pt x="812" y="1597"/>
                </a:cubicBezTo>
                <a:cubicBezTo>
                  <a:pt x="813" y="1596"/>
                  <a:pt x="813" y="1596"/>
                  <a:pt x="813" y="1596"/>
                </a:cubicBezTo>
                <a:cubicBezTo>
                  <a:pt x="813" y="1594"/>
                  <a:pt x="813" y="1594"/>
                  <a:pt x="813" y="1594"/>
                </a:cubicBezTo>
                <a:cubicBezTo>
                  <a:pt x="811" y="1591"/>
                  <a:pt x="811" y="1591"/>
                  <a:pt x="811" y="1591"/>
                </a:cubicBezTo>
                <a:cubicBezTo>
                  <a:pt x="808" y="1587"/>
                  <a:pt x="808" y="1587"/>
                  <a:pt x="808" y="1587"/>
                </a:cubicBezTo>
                <a:lnTo>
                  <a:pt x="807" y="1586"/>
                </a:lnTo>
                <a:close/>
                <a:moveTo>
                  <a:pt x="816" y="1613"/>
                </a:moveTo>
                <a:cubicBezTo>
                  <a:pt x="817" y="1612"/>
                  <a:pt x="817" y="1612"/>
                  <a:pt x="817" y="1612"/>
                </a:cubicBezTo>
                <a:cubicBezTo>
                  <a:pt x="818" y="1610"/>
                  <a:pt x="818" y="1610"/>
                  <a:pt x="818" y="1610"/>
                </a:cubicBezTo>
                <a:cubicBezTo>
                  <a:pt x="818" y="1612"/>
                  <a:pt x="818" y="1612"/>
                  <a:pt x="818" y="1612"/>
                </a:cubicBezTo>
                <a:cubicBezTo>
                  <a:pt x="819" y="1614"/>
                  <a:pt x="819" y="1614"/>
                  <a:pt x="819" y="1614"/>
                </a:cubicBezTo>
                <a:cubicBezTo>
                  <a:pt x="820" y="1615"/>
                  <a:pt x="820" y="1615"/>
                  <a:pt x="820" y="1615"/>
                </a:cubicBezTo>
                <a:cubicBezTo>
                  <a:pt x="821" y="1614"/>
                  <a:pt x="821" y="1614"/>
                  <a:pt x="821" y="1614"/>
                </a:cubicBezTo>
                <a:cubicBezTo>
                  <a:pt x="821" y="1611"/>
                  <a:pt x="821" y="1611"/>
                  <a:pt x="821" y="1611"/>
                </a:cubicBezTo>
                <a:cubicBezTo>
                  <a:pt x="820" y="1608"/>
                  <a:pt x="820" y="1608"/>
                  <a:pt x="820" y="1608"/>
                </a:cubicBezTo>
                <a:cubicBezTo>
                  <a:pt x="821" y="1607"/>
                  <a:pt x="821" y="1607"/>
                  <a:pt x="821" y="1607"/>
                </a:cubicBezTo>
                <a:cubicBezTo>
                  <a:pt x="820" y="1604"/>
                  <a:pt x="820" y="1604"/>
                  <a:pt x="820" y="1604"/>
                </a:cubicBezTo>
                <a:cubicBezTo>
                  <a:pt x="819" y="1601"/>
                  <a:pt x="819" y="1601"/>
                  <a:pt x="819" y="1601"/>
                </a:cubicBezTo>
                <a:cubicBezTo>
                  <a:pt x="818" y="1597"/>
                  <a:pt x="818" y="1597"/>
                  <a:pt x="818" y="1597"/>
                </a:cubicBezTo>
                <a:cubicBezTo>
                  <a:pt x="817" y="1596"/>
                  <a:pt x="817" y="1596"/>
                  <a:pt x="817" y="1596"/>
                </a:cubicBezTo>
                <a:cubicBezTo>
                  <a:pt x="814" y="1596"/>
                  <a:pt x="814" y="1596"/>
                  <a:pt x="814" y="1596"/>
                </a:cubicBezTo>
                <a:cubicBezTo>
                  <a:pt x="813" y="1597"/>
                  <a:pt x="813" y="1597"/>
                  <a:pt x="813" y="1597"/>
                </a:cubicBezTo>
                <a:cubicBezTo>
                  <a:pt x="813" y="1599"/>
                  <a:pt x="813" y="1599"/>
                  <a:pt x="813" y="1599"/>
                </a:cubicBezTo>
                <a:cubicBezTo>
                  <a:pt x="814" y="1600"/>
                  <a:pt x="814" y="1600"/>
                  <a:pt x="814" y="1600"/>
                </a:cubicBezTo>
                <a:cubicBezTo>
                  <a:pt x="814" y="1602"/>
                  <a:pt x="814" y="1602"/>
                  <a:pt x="814" y="1602"/>
                </a:cubicBezTo>
                <a:cubicBezTo>
                  <a:pt x="814" y="1603"/>
                  <a:pt x="814" y="1603"/>
                  <a:pt x="814" y="1603"/>
                </a:cubicBezTo>
                <a:cubicBezTo>
                  <a:pt x="815" y="1603"/>
                  <a:pt x="815" y="1603"/>
                  <a:pt x="815" y="1603"/>
                </a:cubicBezTo>
                <a:cubicBezTo>
                  <a:pt x="816" y="1602"/>
                  <a:pt x="816" y="1602"/>
                  <a:pt x="816" y="1602"/>
                </a:cubicBezTo>
                <a:cubicBezTo>
                  <a:pt x="815" y="1603"/>
                  <a:pt x="815" y="1603"/>
                  <a:pt x="815" y="1603"/>
                </a:cubicBezTo>
                <a:cubicBezTo>
                  <a:pt x="814" y="1605"/>
                  <a:pt x="814" y="1605"/>
                  <a:pt x="814" y="1605"/>
                </a:cubicBezTo>
                <a:cubicBezTo>
                  <a:pt x="812" y="1605"/>
                  <a:pt x="812" y="1605"/>
                  <a:pt x="812" y="1605"/>
                </a:cubicBezTo>
                <a:cubicBezTo>
                  <a:pt x="814" y="1609"/>
                  <a:pt x="814" y="1609"/>
                  <a:pt x="814" y="1609"/>
                </a:cubicBezTo>
                <a:cubicBezTo>
                  <a:pt x="815" y="1611"/>
                  <a:pt x="815" y="1611"/>
                  <a:pt x="815" y="1611"/>
                </a:cubicBezTo>
                <a:lnTo>
                  <a:pt x="816" y="1613"/>
                </a:lnTo>
                <a:close/>
                <a:moveTo>
                  <a:pt x="1997" y="1171"/>
                </a:moveTo>
                <a:cubicBezTo>
                  <a:pt x="1998" y="1170"/>
                  <a:pt x="1998" y="1170"/>
                  <a:pt x="1998" y="1170"/>
                </a:cubicBezTo>
                <a:cubicBezTo>
                  <a:pt x="1997" y="1169"/>
                  <a:pt x="1997" y="1169"/>
                  <a:pt x="1997" y="1169"/>
                </a:cubicBezTo>
                <a:cubicBezTo>
                  <a:pt x="1997" y="1170"/>
                  <a:pt x="1997" y="1170"/>
                  <a:pt x="1997" y="1170"/>
                </a:cubicBezTo>
                <a:lnTo>
                  <a:pt x="1997" y="1171"/>
                </a:lnTo>
                <a:close/>
                <a:moveTo>
                  <a:pt x="1349" y="58"/>
                </a:moveTo>
                <a:cubicBezTo>
                  <a:pt x="1347" y="58"/>
                  <a:pt x="1347" y="58"/>
                  <a:pt x="1347" y="58"/>
                </a:cubicBezTo>
                <a:cubicBezTo>
                  <a:pt x="1345" y="61"/>
                  <a:pt x="1345" y="61"/>
                  <a:pt x="1345" y="61"/>
                </a:cubicBezTo>
                <a:cubicBezTo>
                  <a:pt x="1345" y="63"/>
                  <a:pt x="1345" y="63"/>
                  <a:pt x="1345" y="63"/>
                </a:cubicBezTo>
                <a:cubicBezTo>
                  <a:pt x="1347" y="64"/>
                  <a:pt x="1347" y="64"/>
                  <a:pt x="1347" y="64"/>
                </a:cubicBezTo>
                <a:cubicBezTo>
                  <a:pt x="1348" y="64"/>
                  <a:pt x="1348" y="64"/>
                  <a:pt x="1348" y="64"/>
                </a:cubicBezTo>
                <a:cubicBezTo>
                  <a:pt x="1350" y="66"/>
                  <a:pt x="1350" y="66"/>
                  <a:pt x="1350" y="66"/>
                </a:cubicBezTo>
                <a:cubicBezTo>
                  <a:pt x="1351" y="66"/>
                  <a:pt x="1351" y="66"/>
                  <a:pt x="1351" y="66"/>
                </a:cubicBezTo>
                <a:cubicBezTo>
                  <a:pt x="1354" y="66"/>
                  <a:pt x="1354" y="66"/>
                  <a:pt x="1354" y="66"/>
                </a:cubicBezTo>
                <a:cubicBezTo>
                  <a:pt x="1355" y="65"/>
                  <a:pt x="1355" y="65"/>
                  <a:pt x="1355" y="65"/>
                </a:cubicBezTo>
                <a:cubicBezTo>
                  <a:pt x="1356" y="63"/>
                  <a:pt x="1356" y="63"/>
                  <a:pt x="1356" y="63"/>
                </a:cubicBezTo>
                <a:cubicBezTo>
                  <a:pt x="1356" y="62"/>
                  <a:pt x="1356" y="62"/>
                  <a:pt x="1356" y="62"/>
                </a:cubicBezTo>
                <a:cubicBezTo>
                  <a:pt x="1356" y="60"/>
                  <a:pt x="1356" y="60"/>
                  <a:pt x="1356" y="60"/>
                </a:cubicBezTo>
                <a:cubicBezTo>
                  <a:pt x="1352" y="57"/>
                  <a:pt x="1352" y="57"/>
                  <a:pt x="1352" y="57"/>
                </a:cubicBezTo>
                <a:lnTo>
                  <a:pt x="1349" y="58"/>
                </a:lnTo>
                <a:close/>
                <a:moveTo>
                  <a:pt x="1336" y="276"/>
                </a:moveTo>
                <a:cubicBezTo>
                  <a:pt x="1335" y="277"/>
                  <a:pt x="1335" y="277"/>
                  <a:pt x="1335" y="277"/>
                </a:cubicBezTo>
                <a:cubicBezTo>
                  <a:pt x="1336" y="278"/>
                  <a:pt x="1336" y="278"/>
                  <a:pt x="1336" y="278"/>
                </a:cubicBezTo>
                <a:cubicBezTo>
                  <a:pt x="1337" y="278"/>
                  <a:pt x="1337" y="278"/>
                  <a:pt x="1337" y="278"/>
                </a:cubicBezTo>
                <a:cubicBezTo>
                  <a:pt x="1337" y="275"/>
                  <a:pt x="1337" y="275"/>
                  <a:pt x="1337" y="275"/>
                </a:cubicBezTo>
                <a:lnTo>
                  <a:pt x="1336" y="276"/>
                </a:lnTo>
                <a:close/>
                <a:moveTo>
                  <a:pt x="1366" y="57"/>
                </a:moveTo>
                <a:cubicBezTo>
                  <a:pt x="1367" y="57"/>
                  <a:pt x="1367" y="57"/>
                  <a:pt x="1367" y="57"/>
                </a:cubicBezTo>
                <a:cubicBezTo>
                  <a:pt x="1368" y="55"/>
                  <a:pt x="1368" y="55"/>
                  <a:pt x="1368" y="55"/>
                </a:cubicBezTo>
                <a:cubicBezTo>
                  <a:pt x="1368" y="54"/>
                  <a:pt x="1368" y="54"/>
                  <a:pt x="1368" y="54"/>
                </a:cubicBezTo>
                <a:cubicBezTo>
                  <a:pt x="1367" y="54"/>
                  <a:pt x="1367" y="54"/>
                  <a:pt x="1367" y="54"/>
                </a:cubicBezTo>
                <a:cubicBezTo>
                  <a:pt x="1366" y="55"/>
                  <a:pt x="1366" y="55"/>
                  <a:pt x="1366" y="55"/>
                </a:cubicBezTo>
                <a:lnTo>
                  <a:pt x="1366" y="57"/>
                </a:lnTo>
                <a:close/>
                <a:moveTo>
                  <a:pt x="1378" y="44"/>
                </a:moveTo>
                <a:cubicBezTo>
                  <a:pt x="1377" y="44"/>
                  <a:pt x="1377" y="44"/>
                  <a:pt x="1377" y="44"/>
                </a:cubicBezTo>
                <a:cubicBezTo>
                  <a:pt x="1376" y="42"/>
                  <a:pt x="1376" y="42"/>
                  <a:pt x="1376" y="42"/>
                </a:cubicBezTo>
                <a:cubicBezTo>
                  <a:pt x="1376" y="40"/>
                  <a:pt x="1376" y="40"/>
                  <a:pt x="1376" y="40"/>
                </a:cubicBezTo>
                <a:cubicBezTo>
                  <a:pt x="1375" y="39"/>
                  <a:pt x="1375" y="39"/>
                  <a:pt x="1375" y="39"/>
                </a:cubicBezTo>
                <a:cubicBezTo>
                  <a:pt x="1375" y="38"/>
                  <a:pt x="1375" y="38"/>
                  <a:pt x="1375" y="38"/>
                </a:cubicBezTo>
                <a:cubicBezTo>
                  <a:pt x="1376" y="38"/>
                  <a:pt x="1376" y="38"/>
                  <a:pt x="1376" y="38"/>
                </a:cubicBezTo>
                <a:cubicBezTo>
                  <a:pt x="1377" y="36"/>
                  <a:pt x="1377" y="36"/>
                  <a:pt x="1377" y="36"/>
                </a:cubicBezTo>
                <a:cubicBezTo>
                  <a:pt x="1375" y="35"/>
                  <a:pt x="1375" y="35"/>
                  <a:pt x="1375" y="35"/>
                </a:cubicBezTo>
                <a:cubicBezTo>
                  <a:pt x="1374" y="37"/>
                  <a:pt x="1374" y="37"/>
                  <a:pt x="1374" y="37"/>
                </a:cubicBezTo>
                <a:cubicBezTo>
                  <a:pt x="1372" y="37"/>
                  <a:pt x="1372" y="37"/>
                  <a:pt x="1372" y="37"/>
                </a:cubicBezTo>
                <a:cubicBezTo>
                  <a:pt x="1371" y="37"/>
                  <a:pt x="1371" y="37"/>
                  <a:pt x="1371" y="37"/>
                </a:cubicBezTo>
                <a:cubicBezTo>
                  <a:pt x="1370" y="37"/>
                  <a:pt x="1370" y="37"/>
                  <a:pt x="1370" y="37"/>
                </a:cubicBezTo>
                <a:cubicBezTo>
                  <a:pt x="1370" y="42"/>
                  <a:pt x="1370" y="42"/>
                  <a:pt x="1370" y="42"/>
                </a:cubicBezTo>
                <a:cubicBezTo>
                  <a:pt x="1369" y="44"/>
                  <a:pt x="1369" y="44"/>
                  <a:pt x="1369" y="44"/>
                </a:cubicBezTo>
                <a:cubicBezTo>
                  <a:pt x="1370" y="46"/>
                  <a:pt x="1370" y="46"/>
                  <a:pt x="1370" y="46"/>
                </a:cubicBezTo>
                <a:cubicBezTo>
                  <a:pt x="1371" y="47"/>
                  <a:pt x="1371" y="47"/>
                  <a:pt x="1371" y="47"/>
                </a:cubicBezTo>
                <a:cubicBezTo>
                  <a:pt x="1373" y="47"/>
                  <a:pt x="1373" y="47"/>
                  <a:pt x="1373" y="47"/>
                </a:cubicBezTo>
                <a:cubicBezTo>
                  <a:pt x="1376" y="47"/>
                  <a:pt x="1376" y="47"/>
                  <a:pt x="1376" y="47"/>
                </a:cubicBezTo>
                <a:cubicBezTo>
                  <a:pt x="1376" y="46"/>
                  <a:pt x="1376" y="46"/>
                  <a:pt x="1376" y="46"/>
                </a:cubicBezTo>
                <a:cubicBezTo>
                  <a:pt x="1377" y="47"/>
                  <a:pt x="1377" y="47"/>
                  <a:pt x="1377" y="47"/>
                </a:cubicBezTo>
                <a:cubicBezTo>
                  <a:pt x="1378" y="48"/>
                  <a:pt x="1378" y="48"/>
                  <a:pt x="1378" y="48"/>
                </a:cubicBezTo>
                <a:cubicBezTo>
                  <a:pt x="1379" y="46"/>
                  <a:pt x="1379" y="46"/>
                  <a:pt x="1379" y="46"/>
                </a:cubicBezTo>
                <a:cubicBezTo>
                  <a:pt x="1380" y="45"/>
                  <a:pt x="1380" y="45"/>
                  <a:pt x="1380" y="45"/>
                </a:cubicBezTo>
                <a:cubicBezTo>
                  <a:pt x="1380" y="42"/>
                  <a:pt x="1380" y="42"/>
                  <a:pt x="1380" y="42"/>
                </a:cubicBezTo>
                <a:cubicBezTo>
                  <a:pt x="1379" y="42"/>
                  <a:pt x="1379" y="42"/>
                  <a:pt x="1379" y="42"/>
                </a:cubicBezTo>
                <a:cubicBezTo>
                  <a:pt x="1378" y="43"/>
                  <a:pt x="1378" y="43"/>
                  <a:pt x="1378" y="43"/>
                </a:cubicBezTo>
                <a:lnTo>
                  <a:pt x="1378" y="44"/>
                </a:lnTo>
                <a:close/>
                <a:moveTo>
                  <a:pt x="1373" y="6"/>
                </a:moveTo>
                <a:cubicBezTo>
                  <a:pt x="1372" y="5"/>
                  <a:pt x="1372" y="5"/>
                  <a:pt x="1372" y="5"/>
                </a:cubicBezTo>
                <a:cubicBezTo>
                  <a:pt x="1371" y="7"/>
                  <a:pt x="1371" y="7"/>
                  <a:pt x="1371" y="7"/>
                </a:cubicBezTo>
                <a:cubicBezTo>
                  <a:pt x="1371" y="7"/>
                  <a:pt x="1371" y="7"/>
                  <a:pt x="1371" y="7"/>
                </a:cubicBezTo>
                <a:cubicBezTo>
                  <a:pt x="1372" y="8"/>
                  <a:pt x="1372" y="8"/>
                  <a:pt x="1372" y="8"/>
                </a:cubicBezTo>
                <a:cubicBezTo>
                  <a:pt x="1372" y="9"/>
                  <a:pt x="1372" y="9"/>
                  <a:pt x="1372" y="9"/>
                </a:cubicBezTo>
                <a:cubicBezTo>
                  <a:pt x="1371" y="10"/>
                  <a:pt x="1371" y="10"/>
                  <a:pt x="1371" y="10"/>
                </a:cubicBezTo>
                <a:cubicBezTo>
                  <a:pt x="1371" y="13"/>
                  <a:pt x="1371" y="13"/>
                  <a:pt x="1371" y="13"/>
                </a:cubicBezTo>
                <a:cubicBezTo>
                  <a:pt x="1373" y="15"/>
                  <a:pt x="1373" y="15"/>
                  <a:pt x="1373" y="15"/>
                </a:cubicBezTo>
                <a:cubicBezTo>
                  <a:pt x="1373" y="19"/>
                  <a:pt x="1373" y="19"/>
                  <a:pt x="1373" y="19"/>
                </a:cubicBezTo>
                <a:cubicBezTo>
                  <a:pt x="1372" y="21"/>
                  <a:pt x="1372" y="21"/>
                  <a:pt x="1372" y="21"/>
                </a:cubicBezTo>
                <a:cubicBezTo>
                  <a:pt x="1372" y="23"/>
                  <a:pt x="1372" y="23"/>
                  <a:pt x="1372" y="23"/>
                </a:cubicBezTo>
                <a:cubicBezTo>
                  <a:pt x="1373" y="24"/>
                  <a:pt x="1373" y="24"/>
                  <a:pt x="1373" y="24"/>
                </a:cubicBezTo>
                <a:cubicBezTo>
                  <a:pt x="1374" y="23"/>
                  <a:pt x="1374" y="23"/>
                  <a:pt x="1374" y="23"/>
                </a:cubicBezTo>
                <a:cubicBezTo>
                  <a:pt x="1374" y="20"/>
                  <a:pt x="1374" y="20"/>
                  <a:pt x="1374" y="20"/>
                </a:cubicBezTo>
                <a:cubicBezTo>
                  <a:pt x="1375" y="19"/>
                  <a:pt x="1375" y="19"/>
                  <a:pt x="1375" y="19"/>
                </a:cubicBezTo>
                <a:cubicBezTo>
                  <a:pt x="1375" y="16"/>
                  <a:pt x="1375" y="16"/>
                  <a:pt x="1375" y="16"/>
                </a:cubicBezTo>
                <a:cubicBezTo>
                  <a:pt x="1373" y="14"/>
                  <a:pt x="1373" y="14"/>
                  <a:pt x="1373" y="14"/>
                </a:cubicBezTo>
                <a:cubicBezTo>
                  <a:pt x="1373" y="10"/>
                  <a:pt x="1373" y="10"/>
                  <a:pt x="1373" y="10"/>
                </a:cubicBezTo>
                <a:cubicBezTo>
                  <a:pt x="1374" y="8"/>
                  <a:pt x="1374" y="8"/>
                  <a:pt x="1374" y="8"/>
                </a:cubicBezTo>
                <a:lnTo>
                  <a:pt x="1373" y="6"/>
                </a:lnTo>
                <a:close/>
                <a:moveTo>
                  <a:pt x="1323" y="82"/>
                </a:moveTo>
                <a:cubicBezTo>
                  <a:pt x="1326" y="85"/>
                  <a:pt x="1326" y="85"/>
                  <a:pt x="1326" y="85"/>
                </a:cubicBezTo>
                <a:cubicBezTo>
                  <a:pt x="1330" y="85"/>
                  <a:pt x="1330" y="85"/>
                  <a:pt x="1330" y="85"/>
                </a:cubicBezTo>
                <a:cubicBezTo>
                  <a:pt x="1331" y="85"/>
                  <a:pt x="1331" y="85"/>
                  <a:pt x="1331" y="85"/>
                </a:cubicBezTo>
                <a:cubicBezTo>
                  <a:pt x="1330" y="84"/>
                  <a:pt x="1330" y="84"/>
                  <a:pt x="1330" y="84"/>
                </a:cubicBezTo>
                <a:cubicBezTo>
                  <a:pt x="1325" y="81"/>
                  <a:pt x="1325" y="81"/>
                  <a:pt x="1325" y="81"/>
                </a:cubicBezTo>
                <a:cubicBezTo>
                  <a:pt x="1319" y="80"/>
                  <a:pt x="1319" y="80"/>
                  <a:pt x="1319" y="80"/>
                </a:cubicBezTo>
                <a:cubicBezTo>
                  <a:pt x="1318" y="80"/>
                  <a:pt x="1318" y="80"/>
                  <a:pt x="1318" y="80"/>
                </a:cubicBezTo>
                <a:cubicBezTo>
                  <a:pt x="1318" y="82"/>
                  <a:pt x="1318" y="82"/>
                  <a:pt x="1318" y="82"/>
                </a:cubicBezTo>
                <a:cubicBezTo>
                  <a:pt x="1315" y="82"/>
                  <a:pt x="1315" y="82"/>
                  <a:pt x="1315" y="82"/>
                </a:cubicBezTo>
                <a:cubicBezTo>
                  <a:pt x="1314" y="83"/>
                  <a:pt x="1314" y="83"/>
                  <a:pt x="1314" y="83"/>
                </a:cubicBezTo>
                <a:cubicBezTo>
                  <a:pt x="1315" y="85"/>
                  <a:pt x="1315" y="85"/>
                  <a:pt x="1315" y="85"/>
                </a:cubicBezTo>
                <a:cubicBezTo>
                  <a:pt x="1318" y="85"/>
                  <a:pt x="1318" y="85"/>
                  <a:pt x="1318" y="85"/>
                </a:cubicBezTo>
                <a:cubicBezTo>
                  <a:pt x="1320" y="88"/>
                  <a:pt x="1320" y="88"/>
                  <a:pt x="1320" y="88"/>
                </a:cubicBezTo>
                <a:cubicBezTo>
                  <a:pt x="1323" y="89"/>
                  <a:pt x="1323" y="89"/>
                  <a:pt x="1323" y="89"/>
                </a:cubicBezTo>
                <a:cubicBezTo>
                  <a:pt x="1327" y="88"/>
                  <a:pt x="1327" y="88"/>
                  <a:pt x="1327" y="88"/>
                </a:cubicBezTo>
                <a:cubicBezTo>
                  <a:pt x="1333" y="89"/>
                  <a:pt x="1333" y="89"/>
                  <a:pt x="1333" y="89"/>
                </a:cubicBezTo>
                <a:cubicBezTo>
                  <a:pt x="1335" y="88"/>
                  <a:pt x="1335" y="88"/>
                  <a:pt x="1335" y="88"/>
                </a:cubicBezTo>
                <a:cubicBezTo>
                  <a:pt x="1335" y="87"/>
                  <a:pt x="1335" y="87"/>
                  <a:pt x="1335" y="87"/>
                </a:cubicBezTo>
                <a:cubicBezTo>
                  <a:pt x="1333" y="87"/>
                  <a:pt x="1333" y="87"/>
                  <a:pt x="1333" y="87"/>
                </a:cubicBezTo>
                <a:cubicBezTo>
                  <a:pt x="1328" y="87"/>
                  <a:pt x="1328" y="87"/>
                  <a:pt x="1328" y="87"/>
                </a:cubicBezTo>
                <a:cubicBezTo>
                  <a:pt x="1326" y="86"/>
                  <a:pt x="1326" y="86"/>
                  <a:pt x="1326" y="86"/>
                </a:cubicBezTo>
                <a:cubicBezTo>
                  <a:pt x="1323" y="85"/>
                  <a:pt x="1323" y="85"/>
                  <a:pt x="1323" y="85"/>
                </a:cubicBezTo>
                <a:cubicBezTo>
                  <a:pt x="1321" y="84"/>
                  <a:pt x="1321" y="84"/>
                  <a:pt x="1321" y="84"/>
                </a:cubicBezTo>
                <a:cubicBezTo>
                  <a:pt x="1320" y="83"/>
                  <a:pt x="1320" y="83"/>
                  <a:pt x="1320" y="83"/>
                </a:cubicBezTo>
                <a:cubicBezTo>
                  <a:pt x="1321" y="82"/>
                  <a:pt x="1321" y="82"/>
                  <a:pt x="1321" y="82"/>
                </a:cubicBezTo>
                <a:lnTo>
                  <a:pt x="1323" y="82"/>
                </a:lnTo>
                <a:close/>
                <a:moveTo>
                  <a:pt x="1345" y="88"/>
                </a:moveTo>
                <a:cubicBezTo>
                  <a:pt x="1346" y="89"/>
                  <a:pt x="1346" y="89"/>
                  <a:pt x="1346" y="89"/>
                </a:cubicBezTo>
                <a:cubicBezTo>
                  <a:pt x="1347" y="88"/>
                  <a:pt x="1347" y="88"/>
                  <a:pt x="1347" y="88"/>
                </a:cubicBezTo>
                <a:cubicBezTo>
                  <a:pt x="1347" y="87"/>
                  <a:pt x="1347" y="87"/>
                  <a:pt x="1347" y="87"/>
                </a:cubicBezTo>
                <a:cubicBezTo>
                  <a:pt x="1345" y="88"/>
                  <a:pt x="1345" y="88"/>
                  <a:pt x="1345" y="88"/>
                </a:cubicBezTo>
                <a:close/>
                <a:moveTo>
                  <a:pt x="1342" y="93"/>
                </a:moveTo>
                <a:cubicBezTo>
                  <a:pt x="1339" y="91"/>
                  <a:pt x="1339" y="91"/>
                  <a:pt x="1339" y="91"/>
                </a:cubicBezTo>
                <a:cubicBezTo>
                  <a:pt x="1338" y="91"/>
                  <a:pt x="1338" y="91"/>
                  <a:pt x="1338" y="91"/>
                </a:cubicBezTo>
                <a:cubicBezTo>
                  <a:pt x="1335" y="89"/>
                  <a:pt x="1335" y="89"/>
                  <a:pt x="1335" y="89"/>
                </a:cubicBezTo>
                <a:cubicBezTo>
                  <a:pt x="1333" y="89"/>
                  <a:pt x="1333" y="89"/>
                  <a:pt x="1333" y="89"/>
                </a:cubicBezTo>
                <a:cubicBezTo>
                  <a:pt x="1329" y="90"/>
                  <a:pt x="1329" y="90"/>
                  <a:pt x="1329" y="90"/>
                </a:cubicBezTo>
                <a:cubicBezTo>
                  <a:pt x="1327" y="89"/>
                  <a:pt x="1327" y="89"/>
                  <a:pt x="1327" y="89"/>
                </a:cubicBezTo>
                <a:cubicBezTo>
                  <a:pt x="1324" y="90"/>
                  <a:pt x="1324" y="90"/>
                  <a:pt x="1324" y="90"/>
                </a:cubicBezTo>
                <a:cubicBezTo>
                  <a:pt x="1323" y="89"/>
                  <a:pt x="1323" y="89"/>
                  <a:pt x="1323" y="89"/>
                </a:cubicBezTo>
                <a:cubicBezTo>
                  <a:pt x="1323" y="89"/>
                  <a:pt x="1322" y="90"/>
                  <a:pt x="1322" y="90"/>
                </a:cubicBezTo>
                <a:cubicBezTo>
                  <a:pt x="1323" y="91"/>
                  <a:pt x="1323" y="91"/>
                  <a:pt x="1323" y="91"/>
                </a:cubicBezTo>
                <a:cubicBezTo>
                  <a:pt x="1326" y="91"/>
                  <a:pt x="1326" y="91"/>
                  <a:pt x="1326" y="91"/>
                </a:cubicBezTo>
                <a:cubicBezTo>
                  <a:pt x="1328" y="93"/>
                  <a:pt x="1328" y="93"/>
                  <a:pt x="1328" y="93"/>
                </a:cubicBezTo>
                <a:cubicBezTo>
                  <a:pt x="1331" y="93"/>
                  <a:pt x="1331" y="93"/>
                  <a:pt x="1331" y="93"/>
                </a:cubicBezTo>
                <a:cubicBezTo>
                  <a:pt x="1333" y="94"/>
                  <a:pt x="1333" y="94"/>
                  <a:pt x="1333" y="94"/>
                </a:cubicBezTo>
                <a:cubicBezTo>
                  <a:pt x="1335" y="94"/>
                  <a:pt x="1335" y="94"/>
                  <a:pt x="1335" y="94"/>
                </a:cubicBezTo>
                <a:cubicBezTo>
                  <a:pt x="1335" y="94"/>
                  <a:pt x="1335" y="94"/>
                  <a:pt x="1335" y="94"/>
                </a:cubicBezTo>
                <a:cubicBezTo>
                  <a:pt x="1335" y="96"/>
                  <a:pt x="1335" y="96"/>
                  <a:pt x="1335" y="96"/>
                </a:cubicBezTo>
                <a:cubicBezTo>
                  <a:pt x="1337" y="97"/>
                  <a:pt x="1337" y="97"/>
                  <a:pt x="1337" y="97"/>
                </a:cubicBezTo>
                <a:cubicBezTo>
                  <a:pt x="1339" y="96"/>
                  <a:pt x="1339" y="96"/>
                  <a:pt x="1339" y="96"/>
                </a:cubicBezTo>
                <a:cubicBezTo>
                  <a:pt x="1340" y="97"/>
                  <a:pt x="1340" y="97"/>
                  <a:pt x="1340" y="97"/>
                </a:cubicBezTo>
                <a:cubicBezTo>
                  <a:pt x="1341" y="96"/>
                  <a:pt x="1341" y="96"/>
                  <a:pt x="1341" y="96"/>
                </a:cubicBezTo>
                <a:cubicBezTo>
                  <a:pt x="1341" y="95"/>
                  <a:pt x="1341" y="95"/>
                  <a:pt x="1341" y="95"/>
                </a:cubicBezTo>
                <a:cubicBezTo>
                  <a:pt x="1341" y="94"/>
                  <a:pt x="1341" y="94"/>
                  <a:pt x="1341" y="94"/>
                </a:cubicBezTo>
                <a:cubicBezTo>
                  <a:pt x="1341" y="93"/>
                  <a:pt x="1341" y="93"/>
                  <a:pt x="1341" y="93"/>
                </a:cubicBezTo>
                <a:lnTo>
                  <a:pt x="1342" y="93"/>
                </a:lnTo>
                <a:close/>
                <a:moveTo>
                  <a:pt x="2008" y="1206"/>
                </a:moveTo>
                <a:cubicBezTo>
                  <a:pt x="2008" y="1207"/>
                  <a:pt x="2008" y="1207"/>
                  <a:pt x="2008" y="1207"/>
                </a:cubicBezTo>
                <a:cubicBezTo>
                  <a:pt x="2008" y="1209"/>
                  <a:pt x="2008" y="1209"/>
                  <a:pt x="2008" y="1209"/>
                </a:cubicBezTo>
                <a:cubicBezTo>
                  <a:pt x="2008" y="1210"/>
                  <a:pt x="2008" y="1210"/>
                  <a:pt x="2008" y="1210"/>
                </a:cubicBezTo>
                <a:cubicBezTo>
                  <a:pt x="2009" y="1208"/>
                  <a:pt x="2009" y="1208"/>
                  <a:pt x="2009" y="1208"/>
                </a:cubicBezTo>
                <a:cubicBezTo>
                  <a:pt x="2009" y="1207"/>
                  <a:pt x="2009" y="1207"/>
                  <a:pt x="2009" y="1207"/>
                </a:cubicBezTo>
                <a:cubicBezTo>
                  <a:pt x="2010" y="1205"/>
                  <a:pt x="2010" y="1205"/>
                  <a:pt x="2010" y="1205"/>
                </a:cubicBezTo>
                <a:cubicBezTo>
                  <a:pt x="2009" y="1206"/>
                  <a:pt x="2009" y="1206"/>
                  <a:pt x="2009" y="1206"/>
                </a:cubicBezTo>
                <a:lnTo>
                  <a:pt x="2008" y="1206"/>
                </a:lnTo>
                <a:close/>
                <a:moveTo>
                  <a:pt x="297" y="309"/>
                </a:moveTo>
                <a:cubicBezTo>
                  <a:pt x="296" y="311"/>
                  <a:pt x="296" y="311"/>
                  <a:pt x="296" y="311"/>
                </a:cubicBezTo>
                <a:cubicBezTo>
                  <a:pt x="297" y="311"/>
                  <a:pt x="297" y="311"/>
                  <a:pt x="297" y="311"/>
                </a:cubicBezTo>
                <a:lnTo>
                  <a:pt x="297" y="309"/>
                </a:lnTo>
                <a:close/>
                <a:moveTo>
                  <a:pt x="1995" y="1172"/>
                </a:moveTo>
                <a:cubicBezTo>
                  <a:pt x="1996" y="1170"/>
                  <a:pt x="1996" y="1170"/>
                  <a:pt x="1996" y="1170"/>
                </a:cubicBezTo>
                <a:cubicBezTo>
                  <a:pt x="1995" y="1170"/>
                  <a:pt x="1995" y="1170"/>
                  <a:pt x="1995" y="1170"/>
                </a:cubicBezTo>
                <a:cubicBezTo>
                  <a:pt x="1994" y="1169"/>
                  <a:pt x="1994" y="1169"/>
                  <a:pt x="1994" y="1169"/>
                </a:cubicBezTo>
                <a:cubicBezTo>
                  <a:pt x="1994" y="1169"/>
                  <a:pt x="1994" y="1169"/>
                  <a:pt x="1994" y="1169"/>
                </a:cubicBezTo>
                <a:cubicBezTo>
                  <a:pt x="1993" y="1171"/>
                  <a:pt x="1993" y="1171"/>
                  <a:pt x="1993" y="1171"/>
                </a:cubicBezTo>
                <a:cubicBezTo>
                  <a:pt x="1994" y="1171"/>
                  <a:pt x="1994" y="1171"/>
                  <a:pt x="1994" y="1171"/>
                </a:cubicBezTo>
                <a:lnTo>
                  <a:pt x="1995" y="1172"/>
                </a:lnTo>
                <a:close/>
                <a:moveTo>
                  <a:pt x="1384" y="956"/>
                </a:moveTo>
                <a:cubicBezTo>
                  <a:pt x="1383" y="956"/>
                  <a:pt x="1383" y="956"/>
                  <a:pt x="1383" y="956"/>
                </a:cubicBezTo>
                <a:cubicBezTo>
                  <a:pt x="1383" y="957"/>
                  <a:pt x="1383" y="957"/>
                  <a:pt x="1383" y="957"/>
                </a:cubicBezTo>
                <a:cubicBezTo>
                  <a:pt x="1383" y="958"/>
                  <a:pt x="1383" y="958"/>
                  <a:pt x="1383" y="958"/>
                </a:cubicBezTo>
                <a:cubicBezTo>
                  <a:pt x="1384" y="959"/>
                  <a:pt x="1384" y="959"/>
                  <a:pt x="1384" y="959"/>
                </a:cubicBezTo>
                <a:cubicBezTo>
                  <a:pt x="1385" y="959"/>
                  <a:pt x="1385" y="959"/>
                  <a:pt x="1385" y="959"/>
                </a:cubicBezTo>
                <a:cubicBezTo>
                  <a:pt x="1385" y="957"/>
                  <a:pt x="1385" y="957"/>
                  <a:pt x="1385" y="957"/>
                </a:cubicBezTo>
                <a:lnTo>
                  <a:pt x="1384" y="956"/>
                </a:lnTo>
                <a:close/>
                <a:moveTo>
                  <a:pt x="1999" y="1165"/>
                </a:moveTo>
                <a:cubicBezTo>
                  <a:pt x="1999" y="1164"/>
                  <a:pt x="1999" y="1164"/>
                  <a:pt x="1999" y="1164"/>
                </a:cubicBezTo>
                <a:cubicBezTo>
                  <a:pt x="1997" y="1166"/>
                  <a:pt x="1997" y="1166"/>
                  <a:pt x="1997" y="1166"/>
                </a:cubicBezTo>
                <a:cubicBezTo>
                  <a:pt x="1998" y="1167"/>
                  <a:pt x="1998" y="1167"/>
                  <a:pt x="1998" y="1167"/>
                </a:cubicBezTo>
                <a:lnTo>
                  <a:pt x="1999" y="1165"/>
                </a:lnTo>
                <a:close/>
                <a:moveTo>
                  <a:pt x="2012" y="1187"/>
                </a:moveTo>
                <a:cubicBezTo>
                  <a:pt x="2012" y="1185"/>
                  <a:pt x="2012" y="1185"/>
                  <a:pt x="2012" y="1185"/>
                </a:cubicBezTo>
                <a:cubicBezTo>
                  <a:pt x="2013" y="1185"/>
                  <a:pt x="2013" y="1185"/>
                  <a:pt x="2013" y="1185"/>
                </a:cubicBezTo>
                <a:cubicBezTo>
                  <a:pt x="2013" y="1182"/>
                  <a:pt x="2013" y="1182"/>
                  <a:pt x="2013" y="1182"/>
                </a:cubicBezTo>
                <a:cubicBezTo>
                  <a:pt x="2012" y="1180"/>
                  <a:pt x="2012" y="1180"/>
                  <a:pt x="2012" y="1180"/>
                </a:cubicBezTo>
                <a:cubicBezTo>
                  <a:pt x="2012" y="1179"/>
                  <a:pt x="2012" y="1179"/>
                  <a:pt x="2012" y="1179"/>
                </a:cubicBezTo>
                <a:cubicBezTo>
                  <a:pt x="2013" y="1173"/>
                  <a:pt x="2013" y="1173"/>
                  <a:pt x="2013" y="1173"/>
                </a:cubicBezTo>
                <a:cubicBezTo>
                  <a:pt x="2011" y="1171"/>
                  <a:pt x="2011" y="1171"/>
                  <a:pt x="2011" y="1171"/>
                </a:cubicBezTo>
                <a:cubicBezTo>
                  <a:pt x="2011" y="1167"/>
                  <a:pt x="2011" y="1167"/>
                  <a:pt x="2011" y="1167"/>
                </a:cubicBezTo>
                <a:cubicBezTo>
                  <a:pt x="2010" y="1165"/>
                  <a:pt x="2010" y="1165"/>
                  <a:pt x="2010" y="1165"/>
                </a:cubicBezTo>
                <a:cubicBezTo>
                  <a:pt x="2009" y="1166"/>
                  <a:pt x="2009" y="1166"/>
                  <a:pt x="2009" y="1166"/>
                </a:cubicBezTo>
                <a:cubicBezTo>
                  <a:pt x="2008" y="1163"/>
                  <a:pt x="2008" y="1163"/>
                  <a:pt x="2008" y="1163"/>
                </a:cubicBezTo>
                <a:cubicBezTo>
                  <a:pt x="2007" y="1161"/>
                  <a:pt x="2007" y="1161"/>
                  <a:pt x="2007" y="1161"/>
                </a:cubicBezTo>
                <a:cubicBezTo>
                  <a:pt x="2006" y="1161"/>
                  <a:pt x="2006" y="1161"/>
                  <a:pt x="2006" y="1161"/>
                </a:cubicBezTo>
                <a:cubicBezTo>
                  <a:pt x="2007" y="1159"/>
                  <a:pt x="2007" y="1159"/>
                  <a:pt x="2007" y="1159"/>
                </a:cubicBezTo>
                <a:cubicBezTo>
                  <a:pt x="2006" y="1156"/>
                  <a:pt x="2006" y="1156"/>
                  <a:pt x="2006" y="1156"/>
                </a:cubicBezTo>
                <a:cubicBezTo>
                  <a:pt x="2003" y="1159"/>
                  <a:pt x="2003" y="1159"/>
                  <a:pt x="2003" y="1159"/>
                </a:cubicBezTo>
                <a:cubicBezTo>
                  <a:pt x="2004" y="1160"/>
                  <a:pt x="2004" y="1160"/>
                  <a:pt x="2004" y="1160"/>
                </a:cubicBezTo>
                <a:cubicBezTo>
                  <a:pt x="2002" y="1161"/>
                  <a:pt x="2002" y="1161"/>
                  <a:pt x="2002" y="1161"/>
                </a:cubicBezTo>
                <a:cubicBezTo>
                  <a:pt x="2000" y="1160"/>
                  <a:pt x="2000" y="1160"/>
                  <a:pt x="2000" y="1160"/>
                </a:cubicBezTo>
                <a:cubicBezTo>
                  <a:pt x="1999" y="1160"/>
                  <a:pt x="1999" y="1160"/>
                  <a:pt x="1999" y="1160"/>
                </a:cubicBezTo>
                <a:cubicBezTo>
                  <a:pt x="2001" y="1163"/>
                  <a:pt x="2001" y="1163"/>
                  <a:pt x="2001" y="1163"/>
                </a:cubicBezTo>
                <a:cubicBezTo>
                  <a:pt x="2001" y="1164"/>
                  <a:pt x="2001" y="1164"/>
                  <a:pt x="2001" y="1164"/>
                </a:cubicBezTo>
                <a:cubicBezTo>
                  <a:pt x="2002" y="1165"/>
                  <a:pt x="2002" y="1165"/>
                  <a:pt x="2002" y="1165"/>
                </a:cubicBezTo>
                <a:cubicBezTo>
                  <a:pt x="2002" y="1166"/>
                  <a:pt x="2002" y="1166"/>
                  <a:pt x="2002" y="1166"/>
                </a:cubicBezTo>
                <a:cubicBezTo>
                  <a:pt x="2000" y="1168"/>
                  <a:pt x="2000" y="1168"/>
                  <a:pt x="2000" y="1168"/>
                </a:cubicBezTo>
                <a:cubicBezTo>
                  <a:pt x="2000" y="1171"/>
                  <a:pt x="2000" y="1171"/>
                  <a:pt x="2000" y="1171"/>
                </a:cubicBezTo>
                <a:cubicBezTo>
                  <a:pt x="1999" y="1173"/>
                  <a:pt x="1999" y="1173"/>
                  <a:pt x="1999" y="1173"/>
                </a:cubicBezTo>
                <a:cubicBezTo>
                  <a:pt x="1998" y="1172"/>
                  <a:pt x="1998" y="1172"/>
                  <a:pt x="1998" y="1172"/>
                </a:cubicBezTo>
                <a:cubicBezTo>
                  <a:pt x="1996" y="1174"/>
                  <a:pt x="1996" y="1174"/>
                  <a:pt x="1996" y="1174"/>
                </a:cubicBezTo>
                <a:cubicBezTo>
                  <a:pt x="1996" y="1176"/>
                  <a:pt x="1996" y="1176"/>
                  <a:pt x="1996" y="1176"/>
                </a:cubicBezTo>
                <a:cubicBezTo>
                  <a:pt x="1994" y="1177"/>
                  <a:pt x="1994" y="1177"/>
                  <a:pt x="1994" y="1177"/>
                </a:cubicBezTo>
                <a:cubicBezTo>
                  <a:pt x="1993" y="1176"/>
                  <a:pt x="1993" y="1176"/>
                  <a:pt x="1993" y="1176"/>
                </a:cubicBezTo>
                <a:cubicBezTo>
                  <a:pt x="1993" y="1174"/>
                  <a:pt x="1993" y="1174"/>
                  <a:pt x="1993" y="1174"/>
                </a:cubicBezTo>
                <a:cubicBezTo>
                  <a:pt x="1992" y="1173"/>
                  <a:pt x="1992" y="1173"/>
                  <a:pt x="1992" y="1173"/>
                </a:cubicBezTo>
                <a:cubicBezTo>
                  <a:pt x="1991" y="1175"/>
                  <a:pt x="1991" y="1175"/>
                  <a:pt x="1991" y="1175"/>
                </a:cubicBezTo>
                <a:cubicBezTo>
                  <a:pt x="1991" y="1177"/>
                  <a:pt x="1991" y="1177"/>
                  <a:pt x="1991" y="1177"/>
                </a:cubicBezTo>
                <a:cubicBezTo>
                  <a:pt x="1993" y="1179"/>
                  <a:pt x="1993" y="1179"/>
                  <a:pt x="1993" y="1179"/>
                </a:cubicBezTo>
                <a:cubicBezTo>
                  <a:pt x="1993" y="1180"/>
                  <a:pt x="1993" y="1180"/>
                  <a:pt x="1993" y="1180"/>
                </a:cubicBezTo>
                <a:cubicBezTo>
                  <a:pt x="1992" y="1181"/>
                  <a:pt x="1992" y="1181"/>
                  <a:pt x="1992" y="1181"/>
                </a:cubicBezTo>
                <a:cubicBezTo>
                  <a:pt x="1991" y="1180"/>
                  <a:pt x="1991" y="1180"/>
                  <a:pt x="1991" y="1180"/>
                </a:cubicBezTo>
                <a:cubicBezTo>
                  <a:pt x="1989" y="1181"/>
                  <a:pt x="1989" y="1181"/>
                  <a:pt x="1989" y="1181"/>
                </a:cubicBezTo>
                <a:cubicBezTo>
                  <a:pt x="1990" y="1183"/>
                  <a:pt x="1990" y="1183"/>
                  <a:pt x="1990" y="1183"/>
                </a:cubicBezTo>
                <a:cubicBezTo>
                  <a:pt x="1992" y="1183"/>
                  <a:pt x="1992" y="1183"/>
                  <a:pt x="1992" y="1183"/>
                </a:cubicBezTo>
                <a:cubicBezTo>
                  <a:pt x="1992" y="1184"/>
                  <a:pt x="1992" y="1184"/>
                  <a:pt x="1992" y="1184"/>
                </a:cubicBezTo>
                <a:cubicBezTo>
                  <a:pt x="1991" y="1186"/>
                  <a:pt x="1991" y="1186"/>
                  <a:pt x="1991" y="1186"/>
                </a:cubicBezTo>
                <a:cubicBezTo>
                  <a:pt x="1990" y="1184"/>
                  <a:pt x="1990" y="1184"/>
                  <a:pt x="1990" y="1184"/>
                </a:cubicBezTo>
                <a:cubicBezTo>
                  <a:pt x="1989" y="1185"/>
                  <a:pt x="1989" y="1185"/>
                  <a:pt x="1989" y="1185"/>
                </a:cubicBezTo>
                <a:cubicBezTo>
                  <a:pt x="1988" y="1186"/>
                  <a:pt x="1988" y="1186"/>
                  <a:pt x="1988" y="1186"/>
                </a:cubicBezTo>
                <a:cubicBezTo>
                  <a:pt x="1985" y="1189"/>
                  <a:pt x="1985" y="1189"/>
                  <a:pt x="1985" y="1189"/>
                </a:cubicBezTo>
                <a:cubicBezTo>
                  <a:pt x="1985" y="1186"/>
                  <a:pt x="1985" y="1186"/>
                  <a:pt x="1985" y="1186"/>
                </a:cubicBezTo>
                <a:cubicBezTo>
                  <a:pt x="1986" y="1186"/>
                  <a:pt x="1986" y="1186"/>
                  <a:pt x="1986" y="1186"/>
                </a:cubicBezTo>
                <a:cubicBezTo>
                  <a:pt x="1985" y="1184"/>
                  <a:pt x="1985" y="1184"/>
                  <a:pt x="1985" y="1184"/>
                </a:cubicBezTo>
                <a:cubicBezTo>
                  <a:pt x="1983" y="1186"/>
                  <a:pt x="1983" y="1186"/>
                  <a:pt x="1983" y="1186"/>
                </a:cubicBezTo>
                <a:cubicBezTo>
                  <a:pt x="1984" y="1187"/>
                  <a:pt x="1984" y="1187"/>
                  <a:pt x="1984" y="1187"/>
                </a:cubicBezTo>
                <a:cubicBezTo>
                  <a:pt x="1984" y="1188"/>
                  <a:pt x="1984" y="1188"/>
                  <a:pt x="1984" y="1188"/>
                </a:cubicBezTo>
                <a:cubicBezTo>
                  <a:pt x="1982" y="1189"/>
                  <a:pt x="1982" y="1189"/>
                  <a:pt x="1982" y="1189"/>
                </a:cubicBezTo>
                <a:cubicBezTo>
                  <a:pt x="1983" y="1191"/>
                  <a:pt x="1983" y="1191"/>
                  <a:pt x="1983" y="1191"/>
                </a:cubicBezTo>
                <a:cubicBezTo>
                  <a:pt x="1984" y="1192"/>
                  <a:pt x="1984" y="1192"/>
                  <a:pt x="1984" y="1192"/>
                </a:cubicBezTo>
                <a:cubicBezTo>
                  <a:pt x="1984" y="1193"/>
                  <a:pt x="1984" y="1193"/>
                  <a:pt x="1984" y="1193"/>
                </a:cubicBezTo>
                <a:cubicBezTo>
                  <a:pt x="1983" y="1193"/>
                  <a:pt x="1983" y="1193"/>
                  <a:pt x="1983" y="1193"/>
                </a:cubicBezTo>
                <a:cubicBezTo>
                  <a:pt x="1981" y="1194"/>
                  <a:pt x="1981" y="1194"/>
                  <a:pt x="1981" y="1194"/>
                </a:cubicBezTo>
                <a:cubicBezTo>
                  <a:pt x="1981" y="1193"/>
                  <a:pt x="1981" y="1193"/>
                  <a:pt x="1981" y="1193"/>
                </a:cubicBezTo>
                <a:cubicBezTo>
                  <a:pt x="1980" y="1192"/>
                  <a:pt x="1980" y="1192"/>
                  <a:pt x="1980" y="1192"/>
                </a:cubicBezTo>
                <a:cubicBezTo>
                  <a:pt x="1981" y="1191"/>
                  <a:pt x="1981" y="1191"/>
                  <a:pt x="1981" y="1191"/>
                </a:cubicBezTo>
                <a:cubicBezTo>
                  <a:pt x="1980" y="1190"/>
                  <a:pt x="1980" y="1190"/>
                  <a:pt x="1980" y="1190"/>
                </a:cubicBezTo>
                <a:cubicBezTo>
                  <a:pt x="1976" y="1193"/>
                  <a:pt x="1976" y="1193"/>
                  <a:pt x="1976" y="1193"/>
                </a:cubicBezTo>
                <a:cubicBezTo>
                  <a:pt x="1976" y="1196"/>
                  <a:pt x="1976" y="1196"/>
                  <a:pt x="1976" y="1196"/>
                </a:cubicBezTo>
                <a:cubicBezTo>
                  <a:pt x="1976" y="1197"/>
                  <a:pt x="1976" y="1197"/>
                  <a:pt x="1976" y="1197"/>
                </a:cubicBezTo>
                <a:cubicBezTo>
                  <a:pt x="1975" y="1199"/>
                  <a:pt x="1975" y="1199"/>
                  <a:pt x="1975" y="1199"/>
                </a:cubicBezTo>
                <a:cubicBezTo>
                  <a:pt x="1974" y="1198"/>
                  <a:pt x="1974" y="1198"/>
                  <a:pt x="1974" y="1198"/>
                </a:cubicBezTo>
                <a:cubicBezTo>
                  <a:pt x="1973" y="1198"/>
                  <a:pt x="1973" y="1198"/>
                  <a:pt x="1973" y="1198"/>
                </a:cubicBezTo>
                <a:cubicBezTo>
                  <a:pt x="1973" y="1195"/>
                  <a:pt x="1973" y="1195"/>
                  <a:pt x="1973" y="1195"/>
                </a:cubicBezTo>
                <a:cubicBezTo>
                  <a:pt x="1972" y="1195"/>
                  <a:pt x="1972" y="1195"/>
                  <a:pt x="1972" y="1195"/>
                </a:cubicBezTo>
                <a:cubicBezTo>
                  <a:pt x="1970" y="1197"/>
                  <a:pt x="1970" y="1197"/>
                  <a:pt x="1970" y="1197"/>
                </a:cubicBezTo>
                <a:cubicBezTo>
                  <a:pt x="1967" y="1195"/>
                  <a:pt x="1967" y="1195"/>
                  <a:pt x="1967" y="1195"/>
                </a:cubicBezTo>
                <a:cubicBezTo>
                  <a:pt x="1967" y="1196"/>
                  <a:pt x="1967" y="1196"/>
                  <a:pt x="1967" y="1196"/>
                </a:cubicBezTo>
                <a:cubicBezTo>
                  <a:pt x="1966" y="1196"/>
                  <a:pt x="1966" y="1196"/>
                  <a:pt x="1966" y="1196"/>
                </a:cubicBezTo>
                <a:cubicBezTo>
                  <a:pt x="1966" y="1199"/>
                  <a:pt x="1966" y="1199"/>
                  <a:pt x="1966" y="1199"/>
                </a:cubicBezTo>
                <a:cubicBezTo>
                  <a:pt x="1966" y="1199"/>
                  <a:pt x="1966" y="1199"/>
                  <a:pt x="1966" y="1199"/>
                </a:cubicBezTo>
                <a:cubicBezTo>
                  <a:pt x="1965" y="1199"/>
                  <a:pt x="1965" y="1199"/>
                  <a:pt x="1965" y="1199"/>
                </a:cubicBezTo>
                <a:cubicBezTo>
                  <a:pt x="1965" y="1198"/>
                  <a:pt x="1965" y="1198"/>
                  <a:pt x="1965" y="1198"/>
                </a:cubicBezTo>
                <a:cubicBezTo>
                  <a:pt x="1964" y="1197"/>
                  <a:pt x="1964" y="1197"/>
                  <a:pt x="1964" y="1197"/>
                </a:cubicBezTo>
                <a:cubicBezTo>
                  <a:pt x="1963" y="1199"/>
                  <a:pt x="1963" y="1199"/>
                  <a:pt x="1963" y="1199"/>
                </a:cubicBezTo>
                <a:cubicBezTo>
                  <a:pt x="1962" y="1197"/>
                  <a:pt x="1962" y="1197"/>
                  <a:pt x="1962" y="1197"/>
                </a:cubicBezTo>
                <a:cubicBezTo>
                  <a:pt x="1958" y="1201"/>
                  <a:pt x="1958" y="1201"/>
                  <a:pt x="1958" y="1201"/>
                </a:cubicBezTo>
                <a:cubicBezTo>
                  <a:pt x="1957" y="1201"/>
                  <a:pt x="1957" y="1201"/>
                  <a:pt x="1957" y="1201"/>
                </a:cubicBezTo>
                <a:cubicBezTo>
                  <a:pt x="1956" y="1200"/>
                  <a:pt x="1956" y="1200"/>
                  <a:pt x="1956" y="1200"/>
                </a:cubicBezTo>
                <a:cubicBezTo>
                  <a:pt x="1954" y="1200"/>
                  <a:pt x="1954" y="1200"/>
                  <a:pt x="1954" y="1200"/>
                </a:cubicBezTo>
                <a:cubicBezTo>
                  <a:pt x="1953" y="1202"/>
                  <a:pt x="1953" y="1202"/>
                  <a:pt x="1953" y="1202"/>
                </a:cubicBezTo>
                <a:cubicBezTo>
                  <a:pt x="1953" y="1205"/>
                  <a:pt x="1953" y="1205"/>
                  <a:pt x="1953" y="1205"/>
                </a:cubicBezTo>
                <a:cubicBezTo>
                  <a:pt x="1950" y="1209"/>
                  <a:pt x="1950" y="1209"/>
                  <a:pt x="1950" y="1209"/>
                </a:cubicBezTo>
                <a:cubicBezTo>
                  <a:pt x="1950" y="1210"/>
                  <a:pt x="1950" y="1210"/>
                  <a:pt x="1950" y="1210"/>
                </a:cubicBezTo>
                <a:cubicBezTo>
                  <a:pt x="1947" y="1213"/>
                  <a:pt x="1947" y="1213"/>
                  <a:pt x="1947" y="1213"/>
                </a:cubicBezTo>
                <a:cubicBezTo>
                  <a:pt x="1947" y="1215"/>
                  <a:pt x="1947" y="1215"/>
                  <a:pt x="1947" y="1215"/>
                </a:cubicBezTo>
                <a:cubicBezTo>
                  <a:pt x="1949" y="1216"/>
                  <a:pt x="1949" y="1216"/>
                  <a:pt x="1949" y="1216"/>
                </a:cubicBezTo>
                <a:cubicBezTo>
                  <a:pt x="1948" y="1218"/>
                  <a:pt x="1948" y="1218"/>
                  <a:pt x="1948" y="1218"/>
                </a:cubicBezTo>
                <a:cubicBezTo>
                  <a:pt x="1949" y="1221"/>
                  <a:pt x="1949" y="1221"/>
                  <a:pt x="1949" y="1221"/>
                </a:cubicBezTo>
                <a:cubicBezTo>
                  <a:pt x="1949" y="1223"/>
                  <a:pt x="1949" y="1223"/>
                  <a:pt x="1949" y="1223"/>
                </a:cubicBezTo>
                <a:cubicBezTo>
                  <a:pt x="1951" y="1229"/>
                  <a:pt x="1951" y="1229"/>
                  <a:pt x="1951" y="1229"/>
                </a:cubicBezTo>
                <a:cubicBezTo>
                  <a:pt x="1951" y="1230"/>
                  <a:pt x="1951" y="1230"/>
                  <a:pt x="1951" y="1230"/>
                </a:cubicBezTo>
                <a:cubicBezTo>
                  <a:pt x="1953" y="1232"/>
                  <a:pt x="1953" y="1232"/>
                  <a:pt x="1953" y="1232"/>
                </a:cubicBezTo>
                <a:cubicBezTo>
                  <a:pt x="1953" y="1233"/>
                  <a:pt x="1953" y="1233"/>
                  <a:pt x="1953" y="1233"/>
                </a:cubicBezTo>
                <a:cubicBezTo>
                  <a:pt x="1952" y="1235"/>
                  <a:pt x="1952" y="1235"/>
                  <a:pt x="1952" y="1235"/>
                </a:cubicBezTo>
                <a:cubicBezTo>
                  <a:pt x="1952" y="1236"/>
                  <a:pt x="1952" y="1236"/>
                  <a:pt x="1952" y="1236"/>
                </a:cubicBezTo>
                <a:cubicBezTo>
                  <a:pt x="1951" y="1241"/>
                  <a:pt x="1951" y="1241"/>
                  <a:pt x="1951" y="1241"/>
                </a:cubicBezTo>
                <a:cubicBezTo>
                  <a:pt x="1949" y="1242"/>
                  <a:pt x="1949" y="1242"/>
                  <a:pt x="1949" y="1242"/>
                </a:cubicBezTo>
                <a:cubicBezTo>
                  <a:pt x="1948" y="1244"/>
                  <a:pt x="1948" y="1244"/>
                  <a:pt x="1948" y="1244"/>
                </a:cubicBezTo>
                <a:cubicBezTo>
                  <a:pt x="1947" y="1245"/>
                  <a:pt x="1947" y="1245"/>
                  <a:pt x="1947" y="1245"/>
                </a:cubicBezTo>
                <a:cubicBezTo>
                  <a:pt x="1947" y="1246"/>
                  <a:pt x="1947" y="1246"/>
                  <a:pt x="1947" y="1246"/>
                </a:cubicBezTo>
                <a:cubicBezTo>
                  <a:pt x="1945" y="1248"/>
                  <a:pt x="1945" y="1248"/>
                  <a:pt x="1945" y="1248"/>
                </a:cubicBezTo>
                <a:cubicBezTo>
                  <a:pt x="1945" y="1252"/>
                  <a:pt x="1945" y="1252"/>
                  <a:pt x="1945" y="1252"/>
                </a:cubicBezTo>
                <a:cubicBezTo>
                  <a:pt x="1943" y="1253"/>
                  <a:pt x="1943" y="1253"/>
                  <a:pt x="1943" y="1253"/>
                </a:cubicBezTo>
                <a:cubicBezTo>
                  <a:pt x="1940" y="1254"/>
                  <a:pt x="1940" y="1254"/>
                  <a:pt x="1940" y="1254"/>
                </a:cubicBezTo>
                <a:cubicBezTo>
                  <a:pt x="1940" y="1255"/>
                  <a:pt x="1940" y="1255"/>
                  <a:pt x="1940" y="1255"/>
                </a:cubicBezTo>
                <a:cubicBezTo>
                  <a:pt x="1940" y="1258"/>
                  <a:pt x="1940" y="1258"/>
                  <a:pt x="1940" y="1258"/>
                </a:cubicBezTo>
                <a:cubicBezTo>
                  <a:pt x="1938" y="1260"/>
                  <a:pt x="1938" y="1260"/>
                  <a:pt x="1938" y="1260"/>
                </a:cubicBezTo>
                <a:cubicBezTo>
                  <a:pt x="1938" y="1263"/>
                  <a:pt x="1938" y="1263"/>
                  <a:pt x="1938" y="1263"/>
                </a:cubicBezTo>
                <a:cubicBezTo>
                  <a:pt x="1937" y="1265"/>
                  <a:pt x="1937" y="1265"/>
                  <a:pt x="1937" y="1265"/>
                </a:cubicBezTo>
                <a:cubicBezTo>
                  <a:pt x="1938" y="1266"/>
                  <a:pt x="1938" y="1266"/>
                  <a:pt x="1938" y="1266"/>
                </a:cubicBezTo>
                <a:cubicBezTo>
                  <a:pt x="1938" y="1269"/>
                  <a:pt x="1938" y="1269"/>
                  <a:pt x="1938" y="1269"/>
                </a:cubicBezTo>
                <a:cubicBezTo>
                  <a:pt x="1941" y="1272"/>
                  <a:pt x="1941" y="1272"/>
                  <a:pt x="1941" y="1272"/>
                </a:cubicBezTo>
                <a:cubicBezTo>
                  <a:pt x="1940" y="1274"/>
                  <a:pt x="1940" y="1274"/>
                  <a:pt x="1940" y="1274"/>
                </a:cubicBezTo>
                <a:cubicBezTo>
                  <a:pt x="1941" y="1276"/>
                  <a:pt x="1941" y="1276"/>
                  <a:pt x="1941" y="1276"/>
                </a:cubicBezTo>
                <a:cubicBezTo>
                  <a:pt x="1942" y="1277"/>
                  <a:pt x="1942" y="1277"/>
                  <a:pt x="1942" y="1277"/>
                </a:cubicBezTo>
                <a:cubicBezTo>
                  <a:pt x="1943" y="1277"/>
                  <a:pt x="1943" y="1277"/>
                  <a:pt x="1943" y="1277"/>
                </a:cubicBezTo>
                <a:cubicBezTo>
                  <a:pt x="1942" y="1277"/>
                  <a:pt x="1942" y="1277"/>
                  <a:pt x="1942" y="1277"/>
                </a:cubicBezTo>
                <a:cubicBezTo>
                  <a:pt x="1940" y="1278"/>
                  <a:pt x="1940" y="1278"/>
                  <a:pt x="1940" y="1278"/>
                </a:cubicBezTo>
                <a:cubicBezTo>
                  <a:pt x="1940" y="1280"/>
                  <a:pt x="1940" y="1280"/>
                  <a:pt x="1940" y="1280"/>
                </a:cubicBezTo>
                <a:cubicBezTo>
                  <a:pt x="1940" y="1283"/>
                  <a:pt x="1940" y="1283"/>
                  <a:pt x="1940" y="1283"/>
                </a:cubicBezTo>
                <a:cubicBezTo>
                  <a:pt x="1940" y="1287"/>
                  <a:pt x="1940" y="1287"/>
                  <a:pt x="1940" y="1287"/>
                </a:cubicBezTo>
                <a:cubicBezTo>
                  <a:pt x="1941" y="1288"/>
                  <a:pt x="1941" y="1288"/>
                  <a:pt x="1941" y="1288"/>
                </a:cubicBezTo>
                <a:cubicBezTo>
                  <a:pt x="1941" y="1290"/>
                  <a:pt x="1941" y="1290"/>
                  <a:pt x="1941" y="1290"/>
                </a:cubicBezTo>
                <a:cubicBezTo>
                  <a:pt x="1942" y="1290"/>
                  <a:pt x="1942" y="1290"/>
                  <a:pt x="1942" y="1290"/>
                </a:cubicBezTo>
                <a:cubicBezTo>
                  <a:pt x="1943" y="1292"/>
                  <a:pt x="1943" y="1292"/>
                  <a:pt x="1943" y="1292"/>
                </a:cubicBezTo>
                <a:cubicBezTo>
                  <a:pt x="1944" y="1293"/>
                  <a:pt x="1944" y="1293"/>
                  <a:pt x="1944" y="1293"/>
                </a:cubicBezTo>
                <a:cubicBezTo>
                  <a:pt x="1945" y="1294"/>
                  <a:pt x="1945" y="1294"/>
                  <a:pt x="1945" y="1294"/>
                </a:cubicBezTo>
                <a:cubicBezTo>
                  <a:pt x="1947" y="1296"/>
                  <a:pt x="1947" y="1296"/>
                  <a:pt x="1947" y="1296"/>
                </a:cubicBezTo>
                <a:cubicBezTo>
                  <a:pt x="1948" y="1295"/>
                  <a:pt x="1948" y="1295"/>
                  <a:pt x="1948" y="1295"/>
                </a:cubicBezTo>
                <a:cubicBezTo>
                  <a:pt x="1949" y="1296"/>
                  <a:pt x="1949" y="1296"/>
                  <a:pt x="1949" y="1296"/>
                </a:cubicBezTo>
                <a:cubicBezTo>
                  <a:pt x="1950" y="1296"/>
                  <a:pt x="1950" y="1296"/>
                  <a:pt x="1950" y="1296"/>
                </a:cubicBezTo>
                <a:cubicBezTo>
                  <a:pt x="1952" y="1299"/>
                  <a:pt x="1952" y="1299"/>
                  <a:pt x="1952" y="1299"/>
                </a:cubicBezTo>
                <a:cubicBezTo>
                  <a:pt x="1953" y="1299"/>
                  <a:pt x="1953" y="1299"/>
                  <a:pt x="1953" y="1299"/>
                </a:cubicBezTo>
                <a:cubicBezTo>
                  <a:pt x="1953" y="1300"/>
                  <a:pt x="1953" y="1300"/>
                  <a:pt x="1953" y="1300"/>
                </a:cubicBezTo>
                <a:cubicBezTo>
                  <a:pt x="1954" y="1300"/>
                  <a:pt x="1954" y="1300"/>
                  <a:pt x="1954" y="1300"/>
                </a:cubicBezTo>
                <a:cubicBezTo>
                  <a:pt x="1955" y="1299"/>
                  <a:pt x="1955" y="1299"/>
                  <a:pt x="1955" y="1299"/>
                </a:cubicBezTo>
                <a:cubicBezTo>
                  <a:pt x="1957" y="1300"/>
                  <a:pt x="1957" y="1300"/>
                  <a:pt x="1957" y="1300"/>
                </a:cubicBezTo>
                <a:cubicBezTo>
                  <a:pt x="1960" y="1298"/>
                  <a:pt x="1960" y="1298"/>
                  <a:pt x="1960" y="1298"/>
                </a:cubicBezTo>
                <a:cubicBezTo>
                  <a:pt x="1962" y="1296"/>
                  <a:pt x="1962" y="1296"/>
                  <a:pt x="1962" y="1296"/>
                </a:cubicBezTo>
                <a:cubicBezTo>
                  <a:pt x="1968" y="1295"/>
                  <a:pt x="1968" y="1295"/>
                  <a:pt x="1968" y="1295"/>
                </a:cubicBezTo>
                <a:cubicBezTo>
                  <a:pt x="1970" y="1296"/>
                  <a:pt x="1970" y="1296"/>
                  <a:pt x="1970" y="1296"/>
                </a:cubicBezTo>
                <a:cubicBezTo>
                  <a:pt x="1973" y="1294"/>
                  <a:pt x="1973" y="1294"/>
                  <a:pt x="1973" y="1294"/>
                </a:cubicBezTo>
                <a:cubicBezTo>
                  <a:pt x="1974" y="1293"/>
                  <a:pt x="1974" y="1293"/>
                  <a:pt x="1974" y="1293"/>
                </a:cubicBezTo>
                <a:cubicBezTo>
                  <a:pt x="1976" y="1292"/>
                  <a:pt x="1976" y="1292"/>
                  <a:pt x="1976" y="1292"/>
                </a:cubicBezTo>
                <a:cubicBezTo>
                  <a:pt x="1977" y="1289"/>
                  <a:pt x="1977" y="1289"/>
                  <a:pt x="1977" y="1289"/>
                </a:cubicBezTo>
                <a:cubicBezTo>
                  <a:pt x="1978" y="1287"/>
                  <a:pt x="1978" y="1287"/>
                  <a:pt x="1978" y="1287"/>
                </a:cubicBezTo>
                <a:cubicBezTo>
                  <a:pt x="1978" y="1285"/>
                  <a:pt x="1978" y="1285"/>
                  <a:pt x="1978" y="1285"/>
                </a:cubicBezTo>
                <a:cubicBezTo>
                  <a:pt x="1980" y="1284"/>
                  <a:pt x="1980" y="1284"/>
                  <a:pt x="1980" y="1284"/>
                </a:cubicBezTo>
                <a:cubicBezTo>
                  <a:pt x="1980" y="1281"/>
                  <a:pt x="1980" y="1281"/>
                  <a:pt x="1980" y="1281"/>
                </a:cubicBezTo>
                <a:cubicBezTo>
                  <a:pt x="1980" y="1280"/>
                  <a:pt x="1980" y="1280"/>
                  <a:pt x="1980" y="1280"/>
                </a:cubicBezTo>
                <a:cubicBezTo>
                  <a:pt x="1981" y="1279"/>
                  <a:pt x="1981" y="1279"/>
                  <a:pt x="1981" y="1279"/>
                </a:cubicBezTo>
                <a:cubicBezTo>
                  <a:pt x="1982" y="1276"/>
                  <a:pt x="1982" y="1276"/>
                  <a:pt x="1982" y="1276"/>
                </a:cubicBezTo>
                <a:cubicBezTo>
                  <a:pt x="1982" y="1275"/>
                  <a:pt x="1982" y="1275"/>
                  <a:pt x="1982" y="1275"/>
                </a:cubicBezTo>
                <a:cubicBezTo>
                  <a:pt x="1983" y="1275"/>
                  <a:pt x="1983" y="1275"/>
                  <a:pt x="1983" y="1275"/>
                </a:cubicBezTo>
                <a:cubicBezTo>
                  <a:pt x="1984" y="1272"/>
                  <a:pt x="1984" y="1272"/>
                  <a:pt x="1984" y="1272"/>
                </a:cubicBezTo>
                <a:cubicBezTo>
                  <a:pt x="1986" y="1265"/>
                  <a:pt x="1986" y="1265"/>
                  <a:pt x="1986" y="1265"/>
                </a:cubicBezTo>
                <a:cubicBezTo>
                  <a:pt x="1987" y="1262"/>
                  <a:pt x="1987" y="1262"/>
                  <a:pt x="1987" y="1262"/>
                </a:cubicBezTo>
                <a:cubicBezTo>
                  <a:pt x="1988" y="1260"/>
                  <a:pt x="1988" y="1260"/>
                  <a:pt x="1988" y="1260"/>
                </a:cubicBezTo>
                <a:cubicBezTo>
                  <a:pt x="1989" y="1256"/>
                  <a:pt x="1989" y="1256"/>
                  <a:pt x="1989" y="1256"/>
                </a:cubicBezTo>
                <a:cubicBezTo>
                  <a:pt x="1992" y="1251"/>
                  <a:pt x="1992" y="1251"/>
                  <a:pt x="1992" y="1251"/>
                </a:cubicBezTo>
                <a:cubicBezTo>
                  <a:pt x="1995" y="1243"/>
                  <a:pt x="1995" y="1243"/>
                  <a:pt x="1995" y="1243"/>
                </a:cubicBezTo>
                <a:cubicBezTo>
                  <a:pt x="1997" y="1240"/>
                  <a:pt x="1997" y="1240"/>
                  <a:pt x="1997" y="1240"/>
                </a:cubicBezTo>
                <a:cubicBezTo>
                  <a:pt x="1997" y="1236"/>
                  <a:pt x="1997" y="1236"/>
                  <a:pt x="1997" y="1236"/>
                </a:cubicBezTo>
                <a:cubicBezTo>
                  <a:pt x="1999" y="1233"/>
                  <a:pt x="1999" y="1233"/>
                  <a:pt x="1999" y="1233"/>
                </a:cubicBezTo>
                <a:cubicBezTo>
                  <a:pt x="1999" y="1231"/>
                  <a:pt x="1999" y="1231"/>
                  <a:pt x="1999" y="1231"/>
                </a:cubicBezTo>
                <a:cubicBezTo>
                  <a:pt x="2001" y="1228"/>
                  <a:pt x="2001" y="1228"/>
                  <a:pt x="2001" y="1228"/>
                </a:cubicBezTo>
                <a:cubicBezTo>
                  <a:pt x="2002" y="1222"/>
                  <a:pt x="2002" y="1222"/>
                  <a:pt x="2002" y="1222"/>
                </a:cubicBezTo>
                <a:cubicBezTo>
                  <a:pt x="2003" y="1218"/>
                  <a:pt x="2003" y="1218"/>
                  <a:pt x="2003" y="1218"/>
                </a:cubicBezTo>
                <a:cubicBezTo>
                  <a:pt x="2004" y="1217"/>
                  <a:pt x="2004" y="1217"/>
                  <a:pt x="2004" y="1217"/>
                </a:cubicBezTo>
                <a:cubicBezTo>
                  <a:pt x="2005" y="1214"/>
                  <a:pt x="2005" y="1214"/>
                  <a:pt x="2005" y="1214"/>
                </a:cubicBezTo>
                <a:cubicBezTo>
                  <a:pt x="2004" y="1212"/>
                  <a:pt x="2004" y="1212"/>
                  <a:pt x="2004" y="1212"/>
                </a:cubicBezTo>
                <a:cubicBezTo>
                  <a:pt x="2004" y="1210"/>
                  <a:pt x="2004" y="1210"/>
                  <a:pt x="2004" y="1210"/>
                </a:cubicBezTo>
                <a:cubicBezTo>
                  <a:pt x="2007" y="1207"/>
                  <a:pt x="2007" y="1207"/>
                  <a:pt x="2007" y="1207"/>
                </a:cubicBezTo>
                <a:cubicBezTo>
                  <a:pt x="2006" y="1206"/>
                  <a:pt x="2006" y="1206"/>
                  <a:pt x="2006" y="1206"/>
                </a:cubicBezTo>
                <a:cubicBezTo>
                  <a:pt x="2008" y="1204"/>
                  <a:pt x="2008" y="1204"/>
                  <a:pt x="2008" y="1204"/>
                </a:cubicBezTo>
                <a:cubicBezTo>
                  <a:pt x="2007" y="1201"/>
                  <a:pt x="2007" y="1201"/>
                  <a:pt x="2007" y="1201"/>
                </a:cubicBezTo>
                <a:cubicBezTo>
                  <a:pt x="2007" y="1201"/>
                  <a:pt x="2007" y="1201"/>
                  <a:pt x="2007" y="1201"/>
                </a:cubicBezTo>
                <a:cubicBezTo>
                  <a:pt x="2007" y="1199"/>
                  <a:pt x="2007" y="1199"/>
                  <a:pt x="2007" y="1199"/>
                </a:cubicBezTo>
                <a:cubicBezTo>
                  <a:pt x="2007" y="1196"/>
                  <a:pt x="2007" y="1196"/>
                  <a:pt x="2007" y="1196"/>
                </a:cubicBezTo>
                <a:cubicBezTo>
                  <a:pt x="2007" y="1196"/>
                  <a:pt x="2007" y="1196"/>
                  <a:pt x="2007" y="1196"/>
                </a:cubicBezTo>
                <a:cubicBezTo>
                  <a:pt x="2007" y="1193"/>
                  <a:pt x="2007" y="1193"/>
                  <a:pt x="2007" y="1193"/>
                </a:cubicBezTo>
                <a:cubicBezTo>
                  <a:pt x="2008" y="1193"/>
                  <a:pt x="2008" y="1193"/>
                  <a:pt x="2008" y="1193"/>
                </a:cubicBezTo>
                <a:cubicBezTo>
                  <a:pt x="2009" y="1194"/>
                  <a:pt x="2009" y="1194"/>
                  <a:pt x="2009" y="1194"/>
                </a:cubicBezTo>
                <a:cubicBezTo>
                  <a:pt x="2009" y="1196"/>
                  <a:pt x="2009" y="1196"/>
                  <a:pt x="2009" y="1196"/>
                </a:cubicBezTo>
                <a:cubicBezTo>
                  <a:pt x="2011" y="1198"/>
                  <a:pt x="2011" y="1198"/>
                  <a:pt x="2011" y="1198"/>
                </a:cubicBezTo>
                <a:cubicBezTo>
                  <a:pt x="2012" y="1198"/>
                  <a:pt x="2012" y="1198"/>
                  <a:pt x="2012" y="1198"/>
                </a:cubicBezTo>
                <a:cubicBezTo>
                  <a:pt x="2013" y="1197"/>
                  <a:pt x="2013" y="1197"/>
                  <a:pt x="2013" y="1197"/>
                </a:cubicBezTo>
                <a:cubicBezTo>
                  <a:pt x="2013" y="1195"/>
                  <a:pt x="2013" y="1195"/>
                  <a:pt x="2013" y="1195"/>
                </a:cubicBezTo>
                <a:cubicBezTo>
                  <a:pt x="2014" y="1195"/>
                  <a:pt x="2014" y="1195"/>
                  <a:pt x="2014" y="1195"/>
                </a:cubicBezTo>
                <a:cubicBezTo>
                  <a:pt x="2014" y="1193"/>
                  <a:pt x="2014" y="1193"/>
                  <a:pt x="2014" y="1193"/>
                </a:cubicBezTo>
                <a:cubicBezTo>
                  <a:pt x="2015" y="1192"/>
                  <a:pt x="2015" y="1192"/>
                  <a:pt x="2015" y="1192"/>
                </a:cubicBezTo>
                <a:cubicBezTo>
                  <a:pt x="2014" y="1190"/>
                  <a:pt x="2014" y="1190"/>
                  <a:pt x="2014" y="1190"/>
                </a:cubicBezTo>
                <a:lnTo>
                  <a:pt x="2012" y="1187"/>
                </a:lnTo>
                <a:close/>
                <a:moveTo>
                  <a:pt x="1597" y="998"/>
                </a:moveTo>
                <a:cubicBezTo>
                  <a:pt x="1597" y="995"/>
                  <a:pt x="1597" y="995"/>
                  <a:pt x="1597" y="995"/>
                </a:cubicBezTo>
                <a:cubicBezTo>
                  <a:pt x="1596" y="994"/>
                  <a:pt x="1596" y="994"/>
                  <a:pt x="1596" y="994"/>
                </a:cubicBezTo>
                <a:cubicBezTo>
                  <a:pt x="1594" y="996"/>
                  <a:pt x="1594" y="996"/>
                  <a:pt x="1594" y="996"/>
                </a:cubicBezTo>
                <a:cubicBezTo>
                  <a:pt x="1594" y="999"/>
                  <a:pt x="1594" y="999"/>
                  <a:pt x="1594" y="999"/>
                </a:cubicBezTo>
                <a:cubicBezTo>
                  <a:pt x="1592" y="999"/>
                  <a:pt x="1592" y="999"/>
                  <a:pt x="1592" y="999"/>
                </a:cubicBezTo>
                <a:cubicBezTo>
                  <a:pt x="1592" y="1000"/>
                  <a:pt x="1592" y="1000"/>
                  <a:pt x="1592" y="1000"/>
                </a:cubicBezTo>
                <a:cubicBezTo>
                  <a:pt x="1594" y="1001"/>
                  <a:pt x="1594" y="1001"/>
                  <a:pt x="1594" y="1001"/>
                </a:cubicBezTo>
                <a:cubicBezTo>
                  <a:pt x="1596" y="1002"/>
                  <a:pt x="1596" y="1002"/>
                  <a:pt x="1596" y="1002"/>
                </a:cubicBezTo>
                <a:lnTo>
                  <a:pt x="1597" y="998"/>
                </a:lnTo>
                <a:close/>
                <a:moveTo>
                  <a:pt x="1317" y="92"/>
                </a:moveTo>
                <a:cubicBezTo>
                  <a:pt x="1317" y="93"/>
                  <a:pt x="1317" y="93"/>
                  <a:pt x="1317" y="93"/>
                </a:cubicBezTo>
                <a:cubicBezTo>
                  <a:pt x="1318" y="94"/>
                  <a:pt x="1318" y="94"/>
                  <a:pt x="1318" y="94"/>
                </a:cubicBezTo>
                <a:cubicBezTo>
                  <a:pt x="1319" y="93"/>
                  <a:pt x="1319" y="93"/>
                  <a:pt x="1319" y="93"/>
                </a:cubicBezTo>
                <a:cubicBezTo>
                  <a:pt x="1318" y="92"/>
                  <a:pt x="1318" y="92"/>
                  <a:pt x="1318" y="92"/>
                </a:cubicBezTo>
                <a:cubicBezTo>
                  <a:pt x="1319" y="91"/>
                  <a:pt x="1319" y="91"/>
                  <a:pt x="1319" y="91"/>
                </a:cubicBezTo>
                <a:lnTo>
                  <a:pt x="1317" y="92"/>
                </a:lnTo>
                <a:close/>
                <a:moveTo>
                  <a:pt x="869" y="1684"/>
                </a:moveTo>
                <a:cubicBezTo>
                  <a:pt x="868" y="1683"/>
                  <a:pt x="868" y="1683"/>
                  <a:pt x="868" y="1683"/>
                </a:cubicBezTo>
                <a:cubicBezTo>
                  <a:pt x="867" y="1685"/>
                  <a:pt x="867" y="1685"/>
                  <a:pt x="867" y="1685"/>
                </a:cubicBezTo>
                <a:cubicBezTo>
                  <a:pt x="868" y="1685"/>
                  <a:pt x="868" y="1685"/>
                  <a:pt x="868" y="1685"/>
                </a:cubicBezTo>
                <a:cubicBezTo>
                  <a:pt x="869" y="1685"/>
                  <a:pt x="869" y="1685"/>
                  <a:pt x="869" y="1685"/>
                </a:cubicBezTo>
                <a:lnTo>
                  <a:pt x="869" y="1684"/>
                </a:lnTo>
                <a:close/>
                <a:moveTo>
                  <a:pt x="907" y="1684"/>
                </a:moveTo>
                <a:cubicBezTo>
                  <a:pt x="905" y="1683"/>
                  <a:pt x="905" y="1683"/>
                  <a:pt x="905" y="1683"/>
                </a:cubicBezTo>
                <a:cubicBezTo>
                  <a:pt x="902" y="1683"/>
                  <a:pt x="902" y="1683"/>
                  <a:pt x="902" y="1683"/>
                </a:cubicBezTo>
                <a:cubicBezTo>
                  <a:pt x="899" y="1683"/>
                  <a:pt x="899" y="1683"/>
                  <a:pt x="899" y="1683"/>
                </a:cubicBezTo>
                <a:cubicBezTo>
                  <a:pt x="896" y="1683"/>
                  <a:pt x="896" y="1683"/>
                  <a:pt x="896" y="1683"/>
                </a:cubicBezTo>
                <a:cubicBezTo>
                  <a:pt x="893" y="1684"/>
                  <a:pt x="893" y="1684"/>
                  <a:pt x="893" y="1684"/>
                </a:cubicBezTo>
                <a:cubicBezTo>
                  <a:pt x="889" y="1685"/>
                  <a:pt x="889" y="1685"/>
                  <a:pt x="889" y="1685"/>
                </a:cubicBezTo>
                <a:cubicBezTo>
                  <a:pt x="886" y="1685"/>
                  <a:pt x="886" y="1685"/>
                  <a:pt x="886" y="1685"/>
                </a:cubicBezTo>
                <a:cubicBezTo>
                  <a:pt x="885" y="1685"/>
                  <a:pt x="885" y="1685"/>
                  <a:pt x="885" y="1685"/>
                </a:cubicBezTo>
                <a:cubicBezTo>
                  <a:pt x="884" y="1685"/>
                  <a:pt x="884" y="1685"/>
                  <a:pt x="884" y="1685"/>
                </a:cubicBezTo>
                <a:cubicBezTo>
                  <a:pt x="882" y="1686"/>
                  <a:pt x="882" y="1686"/>
                  <a:pt x="882" y="1686"/>
                </a:cubicBezTo>
                <a:cubicBezTo>
                  <a:pt x="883" y="1687"/>
                  <a:pt x="883" y="1687"/>
                  <a:pt x="883" y="1687"/>
                </a:cubicBezTo>
                <a:cubicBezTo>
                  <a:pt x="884" y="1686"/>
                  <a:pt x="884" y="1686"/>
                  <a:pt x="884" y="1686"/>
                </a:cubicBezTo>
                <a:cubicBezTo>
                  <a:pt x="886" y="1687"/>
                  <a:pt x="886" y="1687"/>
                  <a:pt x="886" y="1687"/>
                </a:cubicBezTo>
                <a:cubicBezTo>
                  <a:pt x="883" y="1688"/>
                  <a:pt x="883" y="1688"/>
                  <a:pt x="883" y="1688"/>
                </a:cubicBezTo>
                <a:cubicBezTo>
                  <a:pt x="882" y="1689"/>
                  <a:pt x="882" y="1689"/>
                  <a:pt x="882" y="1689"/>
                </a:cubicBezTo>
                <a:cubicBezTo>
                  <a:pt x="881" y="1690"/>
                  <a:pt x="881" y="1690"/>
                  <a:pt x="881" y="1690"/>
                </a:cubicBezTo>
                <a:cubicBezTo>
                  <a:pt x="883" y="1691"/>
                  <a:pt x="883" y="1691"/>
                  <a:pt x="883" y="1691"/>
                </a:cubicBezTo>
                <a:cubicBezTo>
                  <a:pt x="885" y="1690"/>
                  <a:pt x="885" y="1690"/>
                  <a:pt x="885" y="1690"/>
                </a:cubicBezTo>
                <a:cubicBezTo>
                  <a:pt x="884" y="1691"/>
                  <a:pt x="884" y="1691"/>
                  <a:pt x="884" y="1691"/>
                </a:cubicBezTo>
                <a:cubicBezTo>
                  <a:pt x="885" y="1692"/>
                  <a:pt x="885" y="1692"/>
                  <a:pt x="885" y="1692"/>
                </a:cubicBezTo>
                <a:cubicBezTo>
                  <a:pt x="886" y="1693"/>
                  <a:pt x="886" y="1693"/>
                  <a:pt x="886" y="1693"/>
                </a:cubicBezTo>
                <a:cubicBezTo>
                  <a:pt x="887" y="1692"/>
                  <a:pt x="887" y="1692"/>
                  <a:pt x="887" y="1692"/>
                </a:cubicBezTo>
                <a:cubicBezTo>
                  <a:pt x="889" y="1693"/>
                  <a:pt x="889" y="1693"/>
                  <a:pt x="889" y="1693"/>
                </a:cubicBezTo>
                <a:cubicBezTo>
                  <a:pt x="890" y="1693"/>
                  <a:pt x="890" y="1693"/>
                  <a:pt x="890" y="1693"/>
                </a:cubicBezTo>
                <a:cubicBezTo>
                  <a:pt x="891" y="1692"/>
                  <a:pt x="891" y="1692"/>
                  <a:pt x="891" y="1692"/>
                </a:cubicBezTo>
                <a:cubicBezTo>
                  <a:pt x="889" y="1691"/>
                  <a:pt x="889" y="1691"/>
                  <a:pt x="889" y="1691"/>
                </a:cubicBezTo>
                <a:cubicBezTo>
                  <a:pt x="889" y="1690"/>
                  <a:pt x="889" y="1690"/>
                  <a:pt x="889" y="1690"/>
                </a:cubicBezTo>
                <a:cubicBezTo>
                  <a:pt x="891" y="1690"/>
                  <a:pt x="891" y="1690"/>
                  <a:pt x="891" y="1690"/>
                </a:cubicBezTo>
                <a:cubicBezTo>
                  <a:pt x="892" y="1692"/>
                  <a:pt x="892" y="1692"/>
                  <a:pt x="892" y="1692"/>
                </a:cubicBezTo>
                <a:cubicBezTo>
                  <a:pt x="893" y="1693"/>
                  <a:pt x="893" y="1693"/>
                  <a:pt x="893" y="1693"/>
                </a:cubicBezTo>
                <a:cubicBezTo>
                  <a:pt x="895" y="1692"/>
                  <a:pt x="895" y="1692"/>
                  <a:pt x="895" y="1692"/>
                </a:cubicBezTo>
                <a:cubicBezTo>
                  <a:pt x="896" y="1692"/>
                  <a:pt x="896" y="1692"/>
                  <a:pt x="896" y="1692"/>
                </a:cubicBezTo>
                <a:cubicBezTo>
                  <a:pt x="899" y="1694"/>
                  <a:pt x="899" y="1694"/>
                  <a:pt x="899" y="1694"/>
                </a:cubicBezTo>
                <a:cubicBezTo>
                  <a:pt x="900" y="1694"/>
                  <a:pt x="900" y="1694"/>
                  <a:pt x="900" y="1694"/>
                </a:cubicBezTo>
                <a:cubicBezTo>
                  <a:pt x="900" y="1693"/>
                  <a:pt x="900" y="1693"/>
                  <a:pt x="900" y="1693"/>
                </a:cubicBezTo>
                <a:cubicBezTo>
                  <a:pt x="897" y="1691"/>
                  <a:pt x="897" y="1691"/>
                  <a:pt x="897" y="1691"/>
                </a:cubicBezTo>
                <a:cubicBezTo>
                  <a:pt x="896" y="1690"/>
                  <a:pt x="896" y="1690"/>
                  <a:pt x="896" y="1690"/>
                </a:cubicBezTo>
                <a:cubicBezTo>
                  <a:pt x="896" y="1689"/>
                  <a:pt x="896" y="1689"/>
                  <a:pt x="896" y="1689"/>
                </a:cubicBezTo>
                <a:cubicBezTo>
                  <a:pt x="895" y="1689"/>
                  <a:pt x="895" y="1689"/>
                  <a:pt x="895" y="1689"/>
                </a:cubicBezTo>
                <a:cubicBezTo>
                  <a:pt x="893" y="1688"/>
                  <a:pt x="893" y="1688"/>
                  <a:pt x="893" y="1688"/>
                </a:cubicBezTo>
                <a:cubicBezTo>
                  <a:pt x="893" y="1688"/>
                  <a:pt x="893" y="1688"/>
                  <a:pt x="893" y="1688"/>
                </a:cubicBezTo>
                <a:cubicBezTo>
                  <a:pt x="891" y="1687"/>
                  <a:pt x="891" y="1687"/>
                  <a:pt x="891" y="1687"/>
                </a:cubicBezTo>
                <a:cubicBezTo>
                  <a:pt x="893" y="1686"/>
                  <a:pt x="893" y="1686"/>
                  <a:pt x="893" y="1686"/>
                </a:cubicBezTo>
                <a:cubicBezTo>
                  <a:pt x="894" y="1686"/>
                  <a:pt x="894" y="1686"/>
                  <a:pt x="894" y="1686"/>
                </a:cubicBezTo>
                <a:cubicBezTo>
                  <a:pt x="896" y="1685"/>
                  <a:pt x="896" y="1685"/>
                  <a:pt x="896" y="1685"/>
                </a:cubicBezTo>
                <a:cubicBezTo>
                  <a:pt x="897" y="1685"/>
                  <a:pt x="897" y="1685"/>
                  <a:pt x="897" y="1685"/>
                </a:cubicBezTo>
                <a:cubicBezTo>
                  <a:pt x="898" y="1687"/>
                  <a:pt x="898" y="1687"/>
                  <a:pt x="898" y="1687"/>
                </a:cubicBezTo>
                <a:cubicBezTo>
                  <a:pt x="899" y="1688"/>
                  <a:pt x="899" y="1688"/>
                  <a:pt x="899" y="1688"/>
                </a:cubicBezTo>
                <a:cubicBezTo>
                  <a:pt x="901" y="1688"/>
                  <a:pt x="901" y="1688"/>
                  <a:pt x="901" y="1688"/>
                </a:cubicBezTo>
                <a:cubicBezTo>
                  <a:pt x="903" y="1687"/>
                  <a:pt x="903" y="1687"/>
                  <a:pt x="903" y="1687"/>
                </a:cubicBezTo>
                <a:cubicBezTo>
                  <a:pt x="904" y="1687"/>
                  <a:pt x="904" y="1687"/>
                  <a:pt x="904" y="1687"/>
                </a:cubicBezTo>
                <a:cubicBezTo>
                  <a:pt x="905" y="1688"/>
                  <a:pt x="905" y="1688"/>
                  <a:pt x="905" y="1688"/>
                </a:cubicBezTo>
                <a:cubicBezTo>
                  <a:pt x="907" y="1687"/>
                  <a:pt x="907" y="1687"/>
                  <a:pt x="907" y="1687"/>
                </a:cubicBezTo>
                <a:cubicBezTo>
                  <a:pt x="908" y="1686"/>
                  <a:pt x="908" y="1686"/>
                  <a:pt x="908" y="1686"/>
                </a:cubicBezTo>
                <a:cubicBezTo>
                  <a:pt x="907" y="1685"/>
                  <a:pt x="907" y="1685"/>
                  <a:pt x="907" y="1685"/>
                </a:cubicBezTo>
                <a:lnTo>
                  <a:pt x="907" y="1684"/>
                </a:lnTo>
                <a:close/>
                <a:moveTo>
                  <a:pt x="858" y="1671"/>
                </a:moveTo>
                <a:cubicBezTo>
                  <a:pt x="857" y="1669"/>
                  <a:pt x="857" y="1669"/>
                  <a:pt x="857" y="1669"/>
                </a:cubicBezTo>
                <a:cubicBezTo>
                  <a:pt x="856" y="1669"/>
                  <a:pt x="856" y="1669"/>
                  <a:pt x="856" y="1669"/>
                </a:cubicBezTo>
                <a:cubicBezTo>
                  <a:pt x="853" y="1669"/>
                  <a:pt x="853" y="1669"/>
                  <a:pt x="853" y="1669"/>
                </a:cubicBezTo>
                <a:cubicBezTo>
                  <a:pt x="853" y="1668"/>
                  <a:pt x="853" y="1668"/>
                  <a:pt x="853" y="1668"/>
                </a:cubicBezTo>
                <a:cubicBezTo>
                  <a:pt x="852" y="1668"/>
                  <a:pt x="852" y="1668"/>
                  <a:pt x="852" y="1668"/>
                </a:cubicBezTo>
                <a:cubicBezTo>
                  <a:pt x="849" y="1666"/>
                  <a:pt x="849" y="1666"/>
                  <a:pt x="849" y="1666"/>
                </a:cubicBezTo>
                <a:cubicBezTo>
                  <a:pt x="847" y="1666"/>
                  <a:pt x="847" y="1666"/>
                  <a:pt x="847" y="1666"/>
                </a:cubicBezTo>
                <a:cubicBezTo>
                  <a:pt x="845" y="1666"/>
                  <a:pt x="845" y="1666"/>
                  <a:pt x="845" y="1666"/>
                </a:cubicBezTo>
                <a:cubicBezTo>
                  <a:pt x="844" y="1666"/>
                  <a:pt x="844" y="1666"/>
                  <a:pt x="844" y="1666"/>
                </a:cubicBezTo>
                <a:cubicBezTo>
                  <a:pt x="843" y="1665"/>
                  <a:pt x="843" y="1665"/>
                  <a:pt x="843" y="1665"/>
                </a:cubicBezTo>
                <a:cubicBezTo>
                  <a:pt x="841" y="1665"/>
                  <a:pt x="841" y="1665"/>
                  <a:pt x="841" y="1665"/>
                </a:cubicBezTo>
                <a:cubicBezTo>
                  <a:pt x="841" y="1666"/>
                  <a:pt x="841" y="1666"/>
                  <a:pt x="841" y="1666"/>
                </a:cubicBezTo>
                <a:cubicBezTo>
                  <a:pt x="841" y="1667"/>
                  <a:pt x="841" y="1667"/>
                  <a:pt x="841" y="1667"/>
                </a:cubicBezTo>
                <a:cubicBezTo>
                  <a:pt x="843" y="1668"/>
                  <a:pt x="843" y="1668"/>
                  <a:pt x="843" y="1668"/>
                </a:cubicBezTo>
                <a:cubicBezTo>
                  <a:pt x="844" y="1670"/>
                  <a:pt x="844" y="1670"/>
                  <a:pt x="844" y="1670"/>
                </a:cubicBezTo>
                <a:cubicBezTo>
                  <a:pt x="845" y="1670"/>
                  <a:pt x="845" y="1670"/>
                  <a:pt x="845" y="1670"/>
                </a:cubicBezTo>
                <a:cubicBezTo>
                  <a:pt x="847" y="1673"/>
                  <a:pt x="847" y="1673"/>
                  <a:pt x="847" y="1673"/>
                </a:cubicBezTo>
                <a:cubicBezTo>
                  <a:pt x="849" y="1673"/>
                  <a:pt x="849" y="1673"/>
                  <a:pt x="849" y="1673"/>
                </a:cubicBezTo>
                <a:cubicBezTo>
                  <a:pt x="851" y="1672"/>
                  <a:pt x="851" y="1672"/>
                  <a:pt x="851" y="1672"/>
                </a:cubicBezTo>
                <a:cubicBezTo>
                  <a:pt x="852" y="1673"/>
                  <a:pt x="852" y="1673"/>
                  <a:pt x="852" y="1673"/>
                </a:cubicBezTo>
                <a:cubicBezTo>
                  <a:pt x="852" y="1674"/>
                  <a:pt x="852" y="1674"/>
                  <a:pt x="852" y="1674"/>
                </a:cubicBezTo>
                <a:cubicBezTo>
                  <a:pt x="854" y="1676"/>
                  <a:pt x="854" y="1676"/>
                  <a:pt x="854" y="1676"/>
                </a:cubicBezTo>
                <a:cubicBezTo>
                  <a:pt x="855" y="1675"/>
                  <a:pt x="855" y="1675"/>
                  <a:pt x="855" y="1675"/>
                </a:cubicBezTo>
                <a:cubicBezTo>
                  <a:pt x="855" y="1674"/>
                  <a:pt x="855" y="1674"/>
                  <a:pt x="855" y="1674"/>
                </a:cubicBezTo>
                <a:cubicBezTo>
                  <a:pt x="856" y="1673"/>
                  <a:pt x="856" y="1673"/>
                  <a:pt x="856" y="1673"/>
                </a:cubicBezTo>
                <a:cubicBezTo>
                  <a:pt x="856" y="1672"/>
                  <a:pt x="856" y="1672"/>
                  <a:pt x="856" y="1672"/>
                </a:cubicBezTo>
                <a:cubicBezTo>
                  <a:pt x="855" y="1671"/>
                  <a:pt x="855" y="1671"/>
                  <a:pt x="855" y="1671"/>
                </a:cubicBezTo>
                <a:cubicBezTo>
                  <a:pt x="856" y="1671"/>
                  <a:pt x="856" y="1671"/>
                  <a:pt x="856" y="1671"/>
                </a:cubicBezTo>
                <a:lnTo>
                  <a:pt x="858" y="1671"/>
                </a:lnTo>
                <a:close/>
                <a:moveTo>
                  <a:pt x="921" y="1676"/>
                </a:moveTo>
                <a:cubicBezTo>
                  <a:pt x="917" y="1677"/>
                  <a:pt x="917" y="1677"/>
                  <a:pt x="917" y="1677"/>
                </a:cubicBezTo>
                <a:cubicBezTo>
                  <a:pt x="915" y="1677"/>
                  <a:pt x="915" y="1677"/>
                  <a:pt x="915" y="1677"/>
                </a:cubicBezTo>
                <a:cubicBezTo>
                  <a:pt x="913" y="1674"/>
                  <a:pt x="913" y="1674"/>
                  <a:pt x="913" y="1674"/>
                </a:cubicBezTo>
                <a:cubicBezTo>
                  <a:pt x="910" y="1674"/>
                  <a:pt x="910" y="1674"/>
                  <a:pt x="910" y="1674"/>
                </a:cubicBezTo>
                <a:cubicBezTo>
                  <a:pt x="909" y="1672"/>
                  <a:pt x="909" y="1672"/>
                  <a:pt x="909" y="1672"/>
                </a:cubicBezTo>
                <a:cubicBezTo>
                  <a:pt x="901" y="1670"/>
                  <a:pt x="901" y="1670"/>
                  <a:pt x="901" y="1670"/>
                </a:cubicBezTo>
                <a:cubicBezTo>
                  <a:pt x="899" y="1669"/>
                  <a:pt x="899" y="1669"/>
                  <a:pt x="899" y="1669"/>
                </a:cubicBezTo>
                <a:cubicBezTo>
                  <a:pt x="899" y="1667"/>
                  <a:pt x="899" y="1667"/>
                  <a:pt x="899" y="1667"/>
                </a:cubicBezTo>
                <a:cubicBezTo>
                  <a:pt x="896" y="1665"/>
                  <a:pt x="896" y="1665"/>
                  <a:pt x="896" y="1665"/>
                </a:cubicBezTo>
                <a:cubicBezTo>
                  <a:pt x="894" y="1664"/>
                  <a:pt x="894" y="1664"/>
                  <a:pt x="894" y="1664"/>
                </a:cubicBezTo>
                <a:cubicBezTo>
                  <a:pt x="892" y="1661"/>
                  <a:pt x="892" y="1661"/>
                  <a:pt x="892" y="1661"/>
                </a:cubicBezTo>
                <a:cubicBezTo>
                  <a:pt x="891" y="1659"/>
                  <a:pt x="891" y="1659"/>
                  <a:pt x="891" y="1659"/>
                </a:cubicBezTo>
                <a:cubicBezTo>
                  <a:pt x="889" y="1659"/>
                  <a:pt x="889" y="1659"/>
                  <a:pt x="889" y="1659"/>
                </a:cubicBezTo>
                <a:cubicBezTo>
                  <a:pt x="887" y="1659"/>
                  <a:pt x="887" y="1659"/>
                  <a:pt x="887" y="1659"/>
                </a:cubicBezTo>
                <a:cubicBezTo>
                  <a:pt x="886" y="1659"/>
                  <a:pt x="886" y="1659"/>
                  <a:pt x="886" y="1659"/>
                </a:cubicBezTo>
                <a:cubicBezTo>
                  <a:pt x="887" y="1658"/>
                  <a:pt x="887" y="1658"/>
                  <a:pt x="887" y="1658"/>
                </a:cubicBezTo>
                <a:cubicBezTo>
                  <a:pt x="887" y="1657"/>
                  <a:pt x="887" y="1657"/>
                  <a:pt x="887" y="1657"/>
                </a:cubicBezTo>
                <a:cubicBezTo>
                  <a:pt x="889" y="1656"/>
                  <a:pt x="889" y="1656"/>
                  <a:pt x="889" y="1656"/>
                </a:cubicBezTo>
                <a:cubicBezTo>
                  <a:pt x="890" y="1657"/>
                  <a:pt x="890" y="1657"/>
                  <a:pt x="890" y="1657"/>
                </a:cubicBezTo>
                <a:cubicBezTo>
                  <a:pt x="889" y="1652"/>
                  <a:pt x="889" y="1652"/>
                  <a:pt x="889" y="1652"/>
                </a:cubicBezTo>
                <a:cubicBezTo>
                  <a:pt x="886" y="1649"/>
                  <a:pt x="886" y="1649"/>
                  <a:pt x="886" y="1649"/>
                </a:cubicBezTo>
                <a:cubicBezTo>
                  <a:pt x="884" y="1647"/>
                  <a:pt x="884" y="1647"/>
                  <a:pt x="884" y="1647"/>
                </a:cubicBezTo>
                <a:cubicBezTo>
                  <a:pt x="884" y="1647"/>
                  <a:pt x="884" y="1647"/>
                  <a:pt x="884" y="1647"/>
                </a:cubicBezTo>
                <a:cubicBezTo>
                  <a:pt x="881" y="1648"/>
                  <a:pt x="881" y="1648"/>
                  <a:pt x="881" y="1648"/>
                </a:cubicBezTo>
                <a:cubicBezTo>
                  <a:pt x="880" y="1649"/>
                  <a:pt x="880" y="1649"/>
                  <a:pt x="880" y="1649"/>
                </a:cubicBezTo>
                <a:cubicBezTo>
                  <a:pt x="879" y="1647"/>
                  <a:pt x="879" y="1647"/>
                  <a:pt x="879" y="1647"/>
                </a:cubicBezTo>
                <a:cubicBezTo>
                  <a:pt x="877" y="1647"/>
                  <a:pt x="877" y="1647"/>
                  <a:pt x="877" y="1647"/>
                </a:cubicBezTo>
                <a:cubicBezTo>
                  <a:pt x="876" y="1648"/>
                  <a:pt x="876" y="1648"/>
                  <a:pt x="876" y="1648"/>
                </a:cubicBezTo>
                <a:cubicBezTo>
                  <a:pt x="877" y="1650"/>
                  <a:pt x="877" y="1650"/>
                  <a:pt x="877" y="1650"/>
                </a:cubicBezTo>
                <a:cubicBezTo>
                  <a:pt x="876" y="1651"/>
                  <a:pt x="876" y="1651"/>
                  <a:pt x="876" y="1651"/>
                </a:cubicBezTo>
                <a:cubicBezTo>
                  <a:pt x="875" y="1653"/>
                  <a:pt x="875" y="1653"/>
                  <a:pt x="875" y="1653"/>
                </a:cubicBezTo>
                <a:cubicBezTo>
                  <a:pt x="874" y="1654"/>
                  <a:pt x="874" y="1654"/>
                  <a:pt x="874" y="1654"/>
                </a:cubicBezTo>
                <a:cubicBezTo>
                  <a:pt x="872" y="1653"/>
                  <a:pt x="872" y="1653"/>
                  <a:pt x="872" y="1653"/>
                </a:cubicBezTo>
                <a:cubicBezTo>
                  <a:pt x="871" y="1652"/>
                  <a:pt x="871" y="1652"/>
                  <a:pt x="871" y="1652"/>
                </a:cubicBezTo>
                <a:cubicBezTo>
                  <a:pt x="870" y="1654"/>
                  <a:pt x="870" y="1654"/>
                  <a:pt x="870" y="1654"/>
                </a:cubicBezTo>
                <a:cubicBezTo>
                  <a:pt x="871" y="1655"/>
                  <a:pt x="871" y="1655"/>
                  <a:pt x="871" y="1655"/>
                </a:cubicBezTo>
                <a:cubicBezTo>
                  <a:pt x="872" y="1655"/>
                  <a:pt x="872" y="1655"/>
                  <a:pt x="872" y="1655"/>
                </a:cubicBezTo>
                <a:cubicBezTo>
                  <a:pt x="872" y="1656"/>
                  <a:pt x="872" y="1656"/>
                  <a:pt x="872" y="1656"/>
                </a:cubicBezTo>
                <a:cubicBezTo>
                  <a:pt x="870" y="1658"/>
                  <a:pt x="870" y="1658"/>
                  <a:pt x="870" y="1658"/>
                </a:cubicBezTo>
                <a:cubicBezTo>
                  <a:pt x="871" y="1659"/>
                  <a:pt x="871" y="1659"/>
                  <a:pt x="871" y="1659"/>
                </a:cubicBezTo>
                <a:cubicBezTo>
                  <a:pt x="871" y="1661"/>
                  <a:pt x="871" y="1661"/>
                  <a:pt x="871" y="1661"/>
                </a:cubicBezTo>
                <a:cubicBezTo>
                  <a:pt x="873" y="1664"/>
                  <a:pt x="873" y="1664"/>
                  <a:pt x="873" y="1664"/>
                </a:cubicBezTo>
                <a:cubicBezTo>
                  <a:pt x="875" y="1664"/>
                  <a:pt x="875" y="1664"/>
                  <a:pt x="875" y="1664"/>
                </a:cubicBezTo>
                <a:cubicBezTo>
                  <a:pt x="876" y="1662"/>
                  <a:pt x="876" y="1662"/>
                  <a:pt x="876" y="1662"/>
                </a:cubicBezTo>
                <a:cubicBezTo>
                  <a:pt x="879" y="1661"/>
                  <a:pt x="879" y="1661"/>
                  <a:pt x="879" y="1661"/>
                </a:cubicBezTo>
                <a:cubicBezTo>
                  <a:pt x="881" y="1661"/>
                  <a:pt x="881" y="1661"/>
                  <a:pt x="881" y="1661"/>
                </a:cubicBezTo>
                <a:cubicBezTo>
                  <a:pt x="882" y="1662"/>
                  <a:pt x="882" y="1662"/>
                  <a:pt x="882" y="1662"/>
                </a:cubicBezTo>
                <a:cubicBezTo>
                  <a:pt x="880" y="1665"/>
                  <a:pt x="880" y="1665"/>
                  <a:pt x="880" y="1665"/>
                </a:cubicBezTo>
                <a:cubicBezTo>
                  <a:pt x="878" y="1665"/>
                  <a:pt x="878" y="1665"/>
                  <a:pt x="878" y="1665"/>
                </a:cubicBezTo>
                <a:cubicBezTo>
                  <a:pt x="878" y="1666"/>
                  <a:pt x="878" y="1666"/>
                  <a:pt x="878" y="1666"/>
                </a:cubicBezTo>
                <a:cubicBezTo>
                  <a:pt x="875" y="1668"/>
                  <a:pt x="875" y="1668"/>
                  <a:pt x="875" y="1668"/>
                </a:cubicBezTo>
                <a:cubicBezTo>
                  <a:pt x="875" y="1669"/>
                  <a:pt x="875" y="1669"/>
                  <a:pt x="875" y="1669"/>
                </a:cubicBezTo>
                <a:cubicBezTo>
                  <a:pt x="875" y="1670"/>
                  <a:pt x="875" y="1670"/>
                  <a:pt x="875" y="1670"/>
                </a:cubicBezTo>
                <a:cubicBezTo>
                  <a:pt x="877" y="1671"/>
                  <a:pt x="877" y="1671"/>
                  <a:pt x="877" y="1671"/>
                </a:cubicBezTo>
                <a:cubicBezTo>
                  <a:pt x="879" y="1673"/>
                  <a:pt x="879" y="1673"/>
                  <a:pt x="879" y="1673"/>
                </a:cubicBezTo>
                <a:cubicBezTo>
                  <a:pt x="881" y="1672"/>
                  <a:pt x="881" y="1672"/>
                  <a:pt x="881" y="1672"/>
                </a:cubicBezTo>
                <a:cubicBezTo>
                  <a:pt x="884" y="1674"/>
                  <a:pt x="884" y="1674"/>
                  <a:pt x="884" y="1674"/>
                </a:cubicBezTo>
                <a:cubicBezTo>
                  <a:pt x="889" y="1677"/>
                  <a:pt x="889" y="1677"/>
                  <a:pt x="889" y="1677"/>
                </a:cubicBezTo>
                <a:cubicBezTo>
                  <a:pt x="891" y="1678"/>
                  <a:pt x="891" y="1678"/>
                  <a:pt x="891" y="1678"/>
                </a:cubicBezTo>
                <a:cubicBezTo>
                  <a:pt x="892" y="1678"/>
                  <a:pt x="892" y="1678"/>
                  <a:pt x="892" y="1678"/>
                </a:cubicBezTo>
                <a:cubicBezTo>
                  <a:pt x="896" y="1677"/>
                  <a:pt x="896" y="1677"/>
                  <a:pt x="896" y="1677"/>
                </a:cubicBezTo>
                <a:cubicBezTo>
                  <a:pt x="898" y="1677"/>
                  <a:pt x="898" y="1677"/>
                  <a:pt x="898" y="1677"/>
                </a:cubicBezTo>
                <a:cubicBezTo>
                  <a:pt x="901" y="1676"/>
                  <a:pt x="901" y="1676"/>
                  <a:pt x="901" y="1676"/>
                </a:cubicBezTo>
                <a:cubicBezTo>
                  <a:pt x="901" y="1677"/>
                  <a:pt x="901" y="1677"/>
                  <a:pt x="901" y="1677"/>
                </a:cubicBezTo>
                <a:cubicBezTo>
                  <a:pt x="899" y="1677"/>
                  <a:pt x="899" y="1677"/>
                  <a:pt x="899" y="1677"/>
                </a:cubicBezTo>
                <a:cubicBezTo>
                  <a:pt x="897" y="1678"/>
                  <a:pt x="897" y="1678"/>
                  <a:pt x="897" y="1678"/>
                </a:cubicBezTo>
                <a:cubicBezTo>
                  <a:pt x="892" y="1679"/>
                  <a:pt x="892" y="1679"/>
                  <a:pt x="892" y="1679"/>
                </a:cubicBezTo>
                <a:cubicBezTo>
                  <a:pt x="891" y="1679"/>
                  <a:pt x="891" y="1679"/>
                  <a:pt x="891" y="1679"/>
                </a:cubicBezTo>
                <a:cubicBezTo>
                  <a:pt x="889" y="1677"/>
                  <a:pt x="889" y="1677"/>
                  <a:pt x="889" y="1677"/>
                </a:cubicBezTo>
                <a:cubicBezTo>
                  <a:pt x="885" y="1676"/>
                  <a:pt x="885" y="1676"/>
                  <a:pt x="885" y="1676"/>
                </a:cubicBezTo>
                <a:cubicBezTo>
                  <a:pt x="880" y="1675"/>
                  <a:pt x="880" y="1675"/>
                  <a:pt x="880" y="1675"/>
                </a:cubicBezTo>
                <a:cubicBezTo>
                  <a:pt x="878" y="1674"/>
                  <a:pt x="878" y="1674"/>
                  <a:pt x="878" y="1674"/>
                </a:cubicBezTo>
                <a:cubicBezTo>
                  <a:pt x="878" y="1675"/>
                  <a:pt x="878" y="1675"/>
                  <a:pt x="878" y="1675"/>
                </a:cubicBezTo>
                <a:cubicBezTo>
                  <a:pt x="878" y="1675"/>
                  <a:pt x="878" y="1675"/>
                  <a:pt x="878" y="1675"/>
                </a:cubicBezTo>
                <a:cubicBezTo>
                  <a:pt x="877" y="1676"/>
                  <a:pt x="877" y="1676"/>
                  <a:pt x="877" y="1676"/>
                </a:cubicBezTo>
                <a:cubicBezTo>
                  <a:pt x="877" y="1676"/>
                  <a:pt x="877" y="1676"/>
                  <a:pt x="877" y="1676"/>
                </a:cubicBezTo>
                <a:cubicBezTo>
                  <a:pt x="873" y="1674"/>
                  <a:pt x="873" y="1674"/>
                  <a:pt x="873" y="1674"/>
                </a:cubicBezTo>
                <a:cubicBezTo>
                  <a:pt x="871" y="1673"/>
                  <a:pt x="871" y="1673"/>
                  <a:pt x="871" y="1673"/>
                </a:cubicBezTo>
                <a:cubicBezTo>
                  <a:pt x="871" y="1674"/>
                  <a:pt x="871" y="1674"/>
                  <a:pt x="871" y="1674"/>
                </a:cubicBezTo>
                <a:cubicBezTo>
                  <a:pt x="872" y="1675"/>
                  <a:pt x="872" y="1675"/>
                  <a:pt x="872" y="1675"/>
                </a:cubicBezTo>
                <a:cubicBezTo>
                  <a:pt x="876" y="1677"/>
                  <a:pt x="876" y="1677"/>
                  <a:pt x="876" y="1677"/>
                </a:cubicBezTo>
                <a:cubicBezTo>
                  <a:pt x="876" y="1678"/>
                  <a:pt x="876" y="1678"/>
                  <a:pt x="876" y="1678"/>
                </a:cubicBezTo>
                <a:cubicBezTo>
                  <a:pt x="875" y="1678"/>
                  <a:pt x="875" y="1678"/>
                  <a:pt x="875" y="1678"/>
                </a:cubicBezTo>
                <a:cubicBezTo>
                  <a:pt x="875" y="1678"/>
                  <a:pt x="875" y="1678"/>
                  <a:pt x="875" y="1678"/>
                </a:cubicBezTo>
                <a:cubicBezTo>
                  <a:pt x="874" y="1679"/>
                  <a:pt x="874" y="1679"/>
                  <a:pt x="874" y="1679"/>
                </a:cubicBezTo>
                <a:cubicBezTo>
                  <a:pt x="874" y="1679"/>
                  <a:pt x="874" y="1679"/>
                  <a:pt x="874" y="1679"/>
                </a:cubicBezTo>
                <a:cubicBezTo>
                  <a:pt x="873" y="1678"/>
                  <a:pt x="873" y="1678"/>
                  <a:pt x="873" y="1678"/>
                </a:cubicBezTo>
                <a:cubicBezTo>
                  <a:pt x="871" y="1676"/>
                  <a:pt x="871" y="1676"/>
                  <a:pt x="871" y="1676"/>
                </a:cubicBezTo>
                <a:cubicBezTo>
                  <a:pt x="870" y="1677"/>
                  <a:pt x="870" y="1677"/>
                  <a:pt x="870" y="1677"/>
                </a:cubicBezTo>
                <a:cubicBezTo>
                  <a:pt x="871" y="1678"/>
                  <a:pt x="871" y="1678"/>
                  <a:pt x="871" y="1678"/>
                </a:cubicBezTo>
                <a:cubicBezTo>
                  <a:pt x="869" y="1678"/>
                  <a:pt x="869" y="1678"/>
                  <a:pt x="869" y="1678"/>
                </a:cubicBezTo>
                <a:cubicBezTo>
                  <a:pt x="866" y="1679"/>
                  <a:pt x="866" y="1679"/>
                  <a:pt x="866" y="1679"/>
                </a:cubicBezTo>
                <a:cubicBezTo>
                  <a:pt x="865" y="1679"/>
                  <a:pt x="865" y="1679"/>
                  <a:pt x="865" y="1679"/>
                </a:cubicBezTo>
                <a:cubicBezTo>
                  <a:pt x="866" y="1680"/>
                  <a:pt x="866" y="1680"/>
                  <a:pt x="866" y="1680"/>
                </a:cubicBezTo>
                <a:cubicBezTo>
                  <a:pt x="866" y="1680"/>
                  <a:pt x="866" y="1680"/>
                  <a:pt x="866" y="1680"/>
                </a:cubicBezTo>
                <a:cubicBezTo>
                  <a:pt x="864" y="1680"/>
                  <a:pt x="864" y="1680"/>
                  <a:pt x="864" y="1680"/>
                </a:cubicBezTo>
                <a:cubicBezTo>
                  <a:pt x="862" y="1681"/>
                  <a:pt x="862" y="1681"/>
                  <a:pt x="862" y="1681"/>
                </a:cubicBezTo>
                <a:cubicBezTo>
                  <a:pt x="862" y="1682"/>
                  <a:pt x="862" y="1682"/>
                  <a:pt x="862" y="1682"/>
                </a:cubicBezTo>
                <a:cubicBezTo>
                  <a:pt x="865" y="1682"/>
                  <a:pt x="865" y="1682"/>
                  <a:pt x="865" y="1682"/>
                </a:cubicBezTo>
                <a:cubicBezTo>
                  <a:pt x="866" y="1682"/>
                  <a:pt x="866" y="1682"/>
                  <a:pt x="866" y="1682"/>
                </a:cubicBezTo>
                <a:cubicBezTo>
                  <a:pt x="867" y="1681"/>
                  <a:pt x="867" y="1681"/>
                  <a:pt x="867" y="1681"/>
                </a:cubicBezTo>
                <a:cubicBezTo>
                  <a:pt x="868" y="1681"/>
                  <a:pt x="868" y="1681"/>
                  <a:pt x="868" y="1681"/>
                </a:cubicBezTo>
                <a:cubicBezTo>
                  <a:pt x="869" y="1681"/>
                  <a:pt x="869" y="1681"/>
                  <a:pt x="869" y="1681"/>
                </a:cubicBezTo>
                <a:cubicBezTo>
                  <a:pt x="871" y="1683"/>
                  <a:pt x="871" y="1683"/>
                  <a:pt x="871" y="1683"/>
                </a:cubicBezTo>
                <a:cubicBezTo>
                  <a:pt x="872" y="1682"/>
                  <a:pt x="872" y="1682"/>
                  <a:pt x="872" y="1682"/>
                </a:cubicBezTo>
                <a:cubicBezTo>
                  <a:pt x="872" y="1683"/>
                  <a:pt x="872" y="1683"/>
                  <a:pt x="872" y="1683"/>
                </a:cubicBezTo>
                <a:cubicBezTo>
                  <a:pt x="872" y="1684"/>
                  <a:pt x="872" y="1684"/>
                  <a:pt x="872" y="1684"/>
                </a:cubicBezTo>
                <a:cubicBezTo>
                  <a:pt x="874" y="1685"/>
                  <a:pt x="874" y="1685"/>
                  <a:pt x="874" y="1685"/>
                </a:cubicBezTo>
                <a:cubicBezTo>
                  <a:pt x="872" y="1685"/>
                  <a:pt x="872" y="1685"/>
                  <a:pt x="872" y="1685"/>
                </a:cubicBezTo>
                <a:cubicBezTo>
                  <a:pt x="871" y="1687"/>
                  <a:pt x="871" y="1687"/>
                  <a:pt x="871" y="1687"/>
                </a:cubicBezTo>
                <a:cubicBezTo>
                  <a:pt x="872" y="1689"/>
                  <a:pt x="872" y="1689"/>
                  <a:pt x="872" y="1689"/>
                </a:cubicBezTo>
                <a:cubicBezTo>
                  <a:pt x="874" y="1689"/>
                  <a:pt x="874" y="1689"/>
                  <a:pt x="874" y="1689"/>
                </a:cubicBezTo>
                <a:cubicBezTo>
                  <a:pt x="875" y="1689"/>
                  <a:pt x="875" y="1689"/>
                  <a:pt x="875" y="1689"/>
                </a:cubicBezTo>
                <a:cubicBezTo>
                  <a:pt x="876" y="1691"/>
                  <a:pt x="876" y="1691"/>
                  <a:pt x="876" y="1691"/>
                </a:cubicBezTo>
                <a:cubicBezTo>
                  <a:pt x="878" y="1691"/>
                  <a:pt x="878" y="1691"/>
                  <a:pt x="878" y="1691"/>
                </a:cubicBezTo>
                <a:cubicBezTo>
                  <a:pt x="878" y="1690"/>
                  <a:pt x="878" y="1690"/>
                  <a:pt x="878" y="1690"/>
                </a:cubicBezTo>
                <a:cubicBezTo>
                  <a:pt x="877" y="1689"/>
                  <a:pt x="877" y="1689"/>
                  <a:pt x="877" y="1689"/>
                </a:cubicBezTo>
                <a:cubicBezTo>
                  <a:pt x="875" y="1688"/>
                  <a:pt x="875" y="1688"/>
                  <a:pt x="875" y="1688"/>
                </a:cubicBezTo>
                <a:cubicBezTo>
                  <a:pt x="874" y="1687"/>
                  <a:pt x="874" y="1687"/>
                  <a:pt x="874" y="1687"/>
                </a:cubicBezTo>
                <a:cubicBezTo>
                  <a:pt x="875" y="1687"/>
                  <a:pt x="875" y="1687"/>
                  <a:pt x="875" y="1687"/>
                </a:cubicBezTo>
                <a:cubicBezTo>
                  <a:pt x="876" y="1687"/>
                  <a:pt x="876" y="1687"/>
                  <a:pt x="876" y="1687"/>
                </a:cubicBezTo>
                <a:cubicBezTo>
                  <a:pt x="878" y="1687"/>
                  <a:pt x="878" y="1687"/>
                  <a:pt x="878" y="1687"/>
                </a:cubicBezTo>
                <a:cubicBezTo>
                  <a:pt x="878" y="1686"/>
                  <a:pt x="878" y="1686"/>
                  <a:pt x="878" y="1686"/>
                </a:cubicBezTo>
                <a:cubicBezTo>
                  <a:pt x="877" y="1685"/>
                  <a:pt x="877" y="1685"/>
                  <a:pt x="877" y="1685"/>
                </a:cubicBezTo>
                <a:cubicBezTo>
                  <a:pt x="875" y="1685"/>
                  <a:pt x="875" y="1685"/>
                  <a:pt x="875" y="1685"/>
                </a:cubicBezTo>
                <a:cubicBezTo>
                  <a:pt x="880" y="1683"/>
                  <a:pt x="880" y="1683"/>
                  <a:pt x="880" y="1683"/>
                </a:cubicBezTo>
                <a:cubicBezTo>
                  <a:pt x="881" y="1682"/>
                  <a:pt x="881" y="1682"/>
                  <a:pt x="881" y="1682"/>
                </a:cubicBezTo>
                <a:cubicBezTo>
                  <a:pt x="890" y="1684"/>
                  <a:pt x="890" y="1684"/>
                  <a:pt x="890" y="1684"/>
                </a:cubicBezTo>
                <a:cubicBezTo>
                  <a:pt x="891" y="1684"/>
                  <a:pt x="891" y="1684"/>
                  <a:pt x="891" y="1684"/>
                </a:cubicBezTo>
                <a:cubicBezTo>
                  <a:pt x="890" y="1682"/>
                  <a:pt x="890" y="1682"/>
                  <a:pt x="890" y="1682"/>
                </a:cubicBezTo>
                <a:cubicBezTo>
                  <a:pt x="894" y="1682"/>
                  <a:pt x="894" y="1682"/>
                  <a:pt x="894" y="1682"/>
                </a:cubicBezTo>
                <a:cubicBezTo>
                  <a:pt x="897" y="1681"/>
                  <a:pt x="897" y="1681"/>
                  <a:pt x="897" y="1681"/>
                </a:cubicBezTo>
                <a:cubicBezTo>
                  <a:pt x="901" y="1682"/>
                  <a:pt x="901" y="1682"/>
                  <a:pt x="901" y="1682"/>
                </a:cubicBezTo>
                <a:cubicBezTo>
                  <a:pt x="904" y="1681"/>
                  <a:pt x="904" y="1681"/>
                  <a:pt x="904" y="1681"/>
                </a:cubicBezTo>
                <a:cubicBezTo>
                  <a:pt x="908" y="1682"/>
                  <a:pt x="908" y="1682"/>
                  <a:pt x="908" y="1682"/>
                </a:cubicBezTo>
                <a:cubicBezTo>
                  <a:pt x="911" y="1683"/>
                  <a:pt x="911" y="1683"/>
                  <a:pt x="911" y="1683"/>
                </a:cubicBezTo>
                <a:cubicBezTo>
                  <a:pt x="913" y="1684"/>
                  <a:pt x="913" y="1684"/>
                  <a:pt x="913" y="1684"/>
                </a:cubicBezTo>
                <a:cubicBezTo>
                  <a:pt x="915" y="1683"/>
                  <a:pt x="915" y="1683"/>
                  <a:pt x="915" y="1683"/>
                </a:cubicBezTo>
                <a:cubicBezTo>
                  <a:pt x="917" y="1682"/>
                  <a:pt x="917" y="1682"/>
                  <a:pt x="917" y="1682"/>
                </a:cubicBezTo>
                <a:cubicBezTo>
                  <a:pt x="918" y="1680"/>
                  <a:pt x="918" y="1680"/>
                  <a:pt x="918" y="1680"/>
                </a:cubicBezTo>
                <a:cubicBezTo>
                  <a:pt x="920" y="1679"/>
                  <a:pt x="920" y="1679"/>
                  <a:pt x="920" y="1679"/>
                </a:cubicBezTo>
                <a:cubicBezTo>
                  <a:pt x="921" y="1680"/>
                  <a:pt x="921" y="1680"/>
                  <a:pt x="921" y="1680"/>
                </a:cubicBezTo>
                <a:cubicBezTo>
                  <a:pt x="923" y="1678"/>
                  <a:pt x="923" y="1678"/>
                  <a:pt x="923" y="1678"/>
                </a:cubicBezTo>
                <a:cubicBezTo>
                  <a:pt x="923" y="1677"/>
                  <a:pt x="923" y="1677"/>
                  <a:pt x="923" y="1677"/>
                </a:cubicBezTo>
                <a:lnTo>
                  <a:pt x="921" y="1676"/>
                </a:lnTo>
                <a:close/>
                <a:moveTo>
                  <a:pt x="872" y="1665"/>
                </a:moveTo>
                <a:cubicBezTo>
                  <a:pt x="871" y="1663"/>
                  <a:pt x="871" y="1663"/>
                  <a:pt x="871" y="1663"/>
                </a:cubicBezTo>
                <a:cubicBezTo>
                  <a:pt x="870" y="1663"/>
                  <a:pt x="870" y="1663"/>
                  <a:pt x="870" y="1663"/>
                </a:cubicBezTo>
                <a:cubicBezTo>
                  <a:pt x="870" y="1665"/>
                  <a:pt x="870" y="1665"/>
                  <a:pt x="870" y="1665"/>
                </a:cubicBezTo>
                <a:cubicBezTo>
                  <a:pt x="869" y="1666"/>
                  <a:pt x="869" y="1666"/>
                  <a:pt x="869" y="1666"/>
                </a:cubicBezTo>
                <a:cubicBezTo>
                  <a:pt x="870" y="1668"/>
                  <a:pt x="870" y="1668"/>
                  <a:pt x="870" y="1668"/>
                </a:cubicBezTo>
                <a:cubicBezTo>
                  <a:pt x="869" y="1669"/>
                  <a:pt x="869" y="1669"/>
                  <a:pt x="869" y="1669"/>
                </a:cubicBezTo>
                <a:cubicBezTo>
                  <a:pt x="869" y="1671"/>
                  <a:pt x="869" y="1671"/>
                  <a:pt x="869" y="1671"/>
                </a:cubicBezTo>
                <a:cubicBezTo>
                  <a:pt x="871" y="1672"/>
                  <a:pt x="871" y="1672"/>
                  <a:pt x="871" y="1672"/>
                </a:cubicBezTo>
                <a:cubicBezTo>
                  <a:pt x="873" y="1672"/>
                  <a:pt x="873" y="1672"/>
                  <a:pt x="873" y="1672"/>
                </a:cubicBezTo>
                <a:cubicBezTo>
                  <a:pt x="874" y="1673"/>
                  <a:pt x="874" y="1673"/>
                  <a:pt x="874" y="1673"/>
                </a:cubicBezTo>
                <a:cubicBezTo>
                  <a:pt x="875" y="1672"/>
                  <a:pt x="875" y="1672"/>
                  <a:pt x="875" y="1672"/>
                </a:cubicBezTo>
                <a:cubicBezTo>
                  <a:pt x="872" y="1671"/>
                  <a:pt x="872" y="1671"/>
                  <a:pt x="872" y="1671"/>
                </a:cubicBezTo>
                <a:cubicBezTo>
                  <a:pt x="874" y="1669"/>
                  <a:pt x="874" y="1669"/>
                  <a:pt x="874" y="1669"/>
                </a:cubicBezTo>
                <a:cubicBezTo>
                  <a:pt x="873" y="1668"/>
                  <a:pt x="873" y="1668"/>
                  <a:pt x="873" y="1668"/>
                </a:cubicBezTo>
                <a:cubicBezTo>
                  <a:pt x="873" y="1667"/>
                  <a:pt x="873" y="1667"/>
                  <a:pt x="873" y="1667"/>
                </a:cubicBezTo>
                <a:lnTo>
                  <a:pt x="872" y="1665"/>
                </a:lnTo>
                <a:close/>
                <a:moveTo>
                  <a:pt x="867" y="1687"/>
                </a:moveTo>
                <a:cubicBezTo>
                  <a:pt x="868" y="1688"/>
                  <a:pt x="868" y="1688"/>
                  <a:pt x="868" y="1688"/>
                </a:cubicBezTo>
                <a:cubicBezTo>
                  <a:pt x="869" y="1687"/>
                  <a:pt x="869" y="1687"/>
                  <a:pt x="869" y="1687"/>
                </a:cubicBezTo>
                <a:cubicBezTo>
                  <a:pt x="869" y="1686"/>
                  <a:pt x="869" y="1686"/>
                  <a:pt x="869" y="1686"/>
                </a:cubicBezTo>
                <a:lnTo>
                  <a:pt x="867" y="1687"/>
                </a:lnTo>
                <a:close/>
                <a:moveTo>
                  <a:pt x="858" y="1675"/>
                </a:moveTo>
                <a:cubicBezTo>
                  <a:pt x="856" y="1676"/>
                  <a:pt x="856" y="1676"/>
                  <a:pt x="856" y="1676"/>
                </a:cubicBezTo>
                <a:cubicBezTo>
                  <a:pt x="856" y="1677"/>
                  <a:pt x="856" y="1677"/>
                  <a:pt x="856" y="1677"/>
                </a:cubicBezTo>
                <a:cubicBezTo>
                  <a:pt x="858" y="1677"/>
                  <a:pt x="858" y="1677"/>
                  <a:pt x="858" y="1677"/>
                </a:cubicBezTo>
                <a:cubicBezTo>
                  <a:pt x="859" y="1675"/>
                  <a:pt x="859" y="1675"/>
                  <a:pt x="859" y="1675"/>
                </a:cubicBezTo>
                <a:cubicBezTo>
                  <a:pt x="859" y="1675"/>
                  <a:pt x="859" y="1675"/>
                  <a:pt x="859" y="1675"/>
                </a:cubicBezTo>
                <a:cubicBezTo>
                  <a:pt x="858" y="1674"/>
                  <a:pt x="858" y="1674"/>
                  <a:pt x="858" y="1674"/>
                </a:cubicBezTo>
                <a:lnTo>
                  <a:pt x="858" y="1675"/>
                </a:lnTo>
                <a:close/>
                <a:moveTo>
                  <a:pt x="864" y="1676"/>
                </a:moveTo>
                <a:cubicBezTo>
                  <a:pt x="865" y="1675"/>
                  <a:pt x="865" y="1675"/>
                  <a:pt x="865" y="1675"/>
                </a:cubicBezTo>
                <a:cubicBezTo>
                  <a:pt x="866" y="1676"/>
                  <a:pt x="866" y="1676"/>
                  <a:pt x="866" y="1676"/>
                </a:cubicBezTo>
                <a:cubicBezTo>
                  <a:pt x="867" y="1676"/>
                  <a:pt x="867" y="1676"/>
                  <a:pt x="867" y="1676"/>
                </a:cubicBezTo>
                <a:cubicBezTo>
                  <a:pt x="869" y="1676"/>
                  <a:pt x="869" y="1676"/>
                  <a:pt x="869" y="1676"/>
                </a:cubicBezTo>
                <a:cubicBezTo>
                  <a:pt x="868" y="1674"/>
                  <a:pt x="868" y="1674"/>
                  <a:pt x="868" y="1674"/>
                </a:cubicBezTo>
                <a:cubicBezTo>
                  <a:pt x="869" y="1673"/>
                  <a:pt x="869" y="1673"/>
                  <a:pt x="869" y="1673"/>
                </a:cubicBezTo>
                <a:cubicBezTo>
                  <a:pt x="868" y="1672"/>
                  <a:pt x="868" y="1672"/>
                  <a:pt x="868" y="1672"/>
                </a:cubicBezTo>
                <a:cubicBezTo>
                  <a:pt x="867" y="1672"/>
                  <a:pt x="867" y="1672"/>
                  <a:pt x="867" y="1672"/>
                </a:cubicBezTo>
                <a:cubicBezTo>
                  <a:pt x="866" y="1673"/>
                  <a:pt x="866" y="1673"/>
                  <a:pt x="866" y="1673"/>
                </a:cubicBezTo>
                <a:cubicBezTo>
                  <a:pt x="865" y="1672"/>
                  <a:pt x="865" y="1672"/>
                  <a:pt x="865" y="1672"/>
                </a:cubicBezTo>
                <a:cubicBezTo>
                  <a:pt x="862" y="1671"/>
                  <a:pt x="862" y="1671"/>
                  <a:pt x="862" y="1671"/>
                </a:cubicBezTo>
                <a:cubicBezTo>
                  <a:pt x="861" y="1672"/>
                  <a:pt x="861" y="1672"/>
                  <a:pt x="861" y="1672"/>
                </a:cubicBezTo>
                <a:cubicBezTo>
                  <a:pt x="858" y="1672"/>
                  <a:pt x="858" y="1672"/>
                  <a:pt x="858" y="1672"/>
                </a:cubicBezTo>
                <a:cubicBezTo>
                  <a:pt x="858" y="1673"/>
                  <a:pt x="858" y="1673"/>
                  <a:pt x="858" y="1673"/>
                </a:cubicBezTo>
                <a:cubicBezTo>
                  <a:pt x="860" y="1674"/>
                  <a:pt x="860" y="1674"/>
                  <a:pt x="860" y="1674"/>
                </a:cubicBezTo>
                <a:cubicBezTo>
                  <a:pt x="860" y="1675"/>
                  <a:pt x="860" y="1675"/>
                  <a:pt x="860" y="1675"/>
                </a:cubicBezTo>
                <a:cubicBezTo>
                  <a:pt x="861" y="1674"/>
                  <a:pt x="861" y="1674"/>
                  <a:pt x="861" y="1674"/>
                </a:cubicBezTo>
                <a:cubicBezTo>
                  <a:pt x="863" y="1675"/>
                  <a:pt x="863" y="1675"/>
                  <a:pt x="863" y="1675"/>
                </a:cubicBezTo>
                <a:lnTo>
                  <a:pt x="864" y="1676"/>
                </a:lnTo>
                <a:close/>
                <a:moveTo>
                  <a:pt x="1177" y="234"/>
                </a:moveTo>
                <a:cubicBezTo>
                  <a:pt x="1177" y="235"/>
                  <a:pt x="1177" y="235"/>
                  <a:pt x="1177" y="235"/>
                </a:cubicBezTo>
                <a:cubicBezTo>
                  <a:pt x="1178" y="235"/>
                  <a:pt x="1178" y="235"/>
                  <a:pt x="1178" y="235"/>
                </a:cubicBezTo>
                <a:cubicBezTo>
                  <a:pt x="1178" y="234"/>
                  <a:pt x="1178" y="234"/>
                  <a:pt x="1178" y="234"/>
                </a:cubicBezTo>
                <a:cubicBezTo>
                  <a:pt x="1178" y="234"/>
                  <a:pt x="1178" y="234"/>
                  <a:pt x="1178" y="234"/>
                </a:cubicBezTo>
                <a:lnTo>
                  <a:pt x="1177" y="234"/>
                </a:lnTo>
                <a:close/>
                <a:moveTo>
                  <a:pt x="1335" y="273"/>
                </a:moveTo>
                <a:cubicBezTo>
                  <a:pt x="1337" y="274"/>
                  <a:pt x="1337" y="274"/>
                  <a:pt x="1337" y="274"/>
                </a:cubicBezTo>
                <a:cubicBezTo>
                  <a:pt x="1339" y="273"/>
                  <a:pt x="1339" y="273"/>
                  <a:pt x="1339" y="273"/>
                </a:cubicBezTo>
                <a:cubicBezTo>
                  <a:pt x="1340" y="273"/>
                  <a:pt x="1340" y="273"/>
                  <a:pt x="1340" y="273"/>
                </a:cubicBezTo>
                <a:cubicBezTo>
                  <a:pt x="1344" y="276"/>
                  <a:pt x="1344" y="276"/>
                  <a:pt x="1344" y="276"/>
                </a:cubicBezTo>
                <a:cubicBezTo>
                  <a:pt x="1348" y="276"/>
                  <a:pt x="1348" y="276"/>
                  <a:pt x="1348" y="276"/>
                </a:cubicBezTo>
                <a:cubicBezTo>
                  <a:pt x="1350" y="277"/>
                  <a:pt x="1350" y="277"/>
                  <a:pt x="1350" y="277"/>
                </a:cubicBezTo>
                <a:cubicBezTo>
                  <a:pt x="1352" y="276"/>
                  <a:pt x="1352" y="276"/>
                  <a:pt x="1352" y="276"/>
                </a:cubicBezTo>
                <a:cubicBezTo>
                  <a:pt x="1352" y="273"/>
                  <a:pt x="1352" y="273"/>
                  <a:pt x="1352" y="273"/>
                </a:cubicBezTo>
                <a:cubicBezTo>
                  <a:pt x="1353" y="272"/>
                  <a:pt x="1353" y="272"/>
                  <a:pt x="1353" y="272"/>
                </a:cubicBezTo>
                <a:cubicBezTo>
                  <a:pt x="1353" y="274"/>
                  <a:pt x="1353" y="274"/>
                  <a:pt x="1353" y="274"/>
                </a:cubicBezTo>
                <a:cubicBezTo>
                  <a:pt x="1355" y="274"/>
                  <a:pt x="1355" y="274"/>
                  <a:pt x="1355" y="274"/>
                </a:cubicBezTo>
                <a:cubicBezTo>
                  <a:pt x="1358" y="272"/>
                  <a:pt x="1358" y="272"/>
                  <a:pt x="1358" y="272"/>
                </a:cubicBezTo>
                <a:cubicBezTo>
                  <a:pt x="1358" y="270"/>
                  <a:pt x="1358" y="270"/>
                  <a:pt x="1358" y="270"/>
                </a:cubicBezTo>
                <a:cubicBezTo>
                  <a:pt x="1360" y="269"/>
                  <a:pt x="1360" y="269"/>
                  <a:pt x="1360" y="269"/>
                </a:cubicBezTo>
                <a:cubicBezTo>
                  <a:pt x="1359" y="271"/>
                  <a:pt x="1359" y="271"/>
                  <a:pt x="1359" y="271"/>
                </a:cubicBezTo>
                <a:cubicBezTo>
                  <a:pt x="1360" y="272"/>
                  <a:pt x="1360" y="272"/>
                  <a:pt x="1360" y="272"/>
                </a:cubicBezTo>
                <a:cubicBezTo>
                  <a:pt x="1361" y="271"/>
                  <a:pt x="1361" y="271"/>
                  <a:pt x="1361" y="271"/>
                </a:cubicBezTo>
                <a:cubicBezTo>
                  <a:pt x="1362" y="270"/>
                  <a:pt x="1362" y="270"/>
                  <a:pt x="1362" y="270"/>
                </a:cubicBezTo>
                <a:cubicBezTo>
                  <a:pt x="1364" y="268"/>
                  <a:pt x="1364" y="268"/>
                  <a:pt x="1364" y="268"/>
                </a:cubicBezTo>
                <a:cubicBezTo>
                  <a:pt x="1365" y="269"/>
                  <a:pt x="1365" y="269"/>
                  <a:pt x="1365" y="269"/>
                </a:cubicBezTo>
                <a:cubicBezTo>
                  <a:pt x="1366" y="268"/>
                  <a:pt x="1366" y="268"/>
                  <a:pt x="1366" y="268"/>
                </a:cubicBezTo>
                <a:cubicBezTo>
                  <a:pt x="1368" y="268"/>
                  <a:pt x="1368" y="268"/>
                  <a:pt x="1368" y="268"/>
                </a:cubicBezTo>
                <a:cubicBezTo>
                  <a:pt x="1368" y="269"/>
                  <a:pt x="1368" y="269"/>
                  <a:pt x="1368" y="269"/>
                </a:cubicBezTo>
                <a:cubicBezTo>
                  <a:pt x="1368" y="268"/>
                  <a:pt x="1368" y="268"/>
                  <a:pt x="1368" y="268"/>
                </a:cubicBezTo>
                <a:cubicBezTo>
                  <a:pt x="1373" y="265"/>
                  <a:pt x="1373" y="265"/>
                  <a:pt x="1373" y="265"/>
                </a:cubicBezTo>
                <a:cubicBezTo>
                  <a:pt x="1374" y="263"/>
                  <a:pt x="1374" y="263"/>
                  <a:pt x="1374" y="263"/>
                </a:cubicBezTo>
                <a:cubicBezTo>
                  <a:pt x="1379" y="262"/>
                  <a:pt x="1379" y="262"/>
                  <a:pt x="1379" y="262"/>
                </a:cubicBezTo>
                <a:cubicBezTo>
                  <a:pt x="1380" y="260"/>
                  <a:pt x="1380" y="260"/>
                  <a:pt x="1380" y="260"/>
                </a:cubicBezTo>
                <a:cubicBezTo>
                  <a:pt x="1380" y="259"/>
                  <a:pt x="1380" y="259"/>
                  <a:pt x="1380" y="259"/>
                </a:cubicBezTo>
                <a:cubicBezTo>
                  <a:pt x="1380" y="258"/>
                  <a:pt x="1380" y="258"/>
                  <a:pt x="1380" y="258"/>
                </a:cubicBezTo>
                <a:cubicBezTo>
                  <a:pt x="1381" y="258"/>
                  <a:pt x="1381" y="258"/>
                  <a:pt x="1381" y="258"/>
                </a:cubicBezTo>
                <a:cubicBezTo>
                  <a:pt x="1381" y="260"/>
                  <a:pt x="1381" y="260"/>
                  <a:pt x="1381" y="260"/>
                </a:cubicBezTo>
                <a:cubicBezTo>
                  <a:pt x="1384" y="261"/>
                  <a:pt x="1384" y="261"/>
                  <a:pt x="1384" y="261"/>
                </a:cubicBezTo>
                <a:cubicBezTo>
                  <a:pt x="1385" y="259"/>
                  <a:pt x="1385" y="259"/>
                  <a:pt x="1385" y="259"/>
                </a:cubicBezTo>
                <a:cubicBezTo>
                  <a:pt x="1386" y="258"/>
                  <a:pt x="1386" y="258"/>
                  <a:pt x="1386" y="258"/>
                </a:cubicBezTo>
                <a:cubicBezTo>
                  <a:pt x="1385" y="257"/>
                  <a:pt x="1385" y="257"/>
                  <a:pt x="1385" y="257"/>
                </a:cubicBezTo>
                <a:cubicBezTo>
                  <a:pt x="1385" y="256"/>
                  <a:pt x="1385" y="256"/>
                  <a:pt x="1385" y="256"/>
                </a:cubicBezTo>
                <a:cubicBezTo>
                  <a:pt x="1386" y="255"/>
                  <a:pt x="1386" y="255"/>
                  <a:pt x="1386" y="255"/>
                </a:cubicBezTo>
                <a:cubicBezTo>
                  <a:pt x="1386" y="253"/>
                  <a:pt x="1386" y="253"/>
                  <a:pt x="1386" y="253"/>
                </a:cubicBezTo>
                <a:cubicBezTo>
                  <a:pt x="1386" y="252"/>
                  <a:pt x="1386" y="252"/>
                  <a:pt x="1386" y="252"/>
                </a:cubicBezTo>
                <a:cubicBezTo>
                  <a:pt x="1388" y="253"/>
                  <a:pt x="1388" y="253"/>
                  <a:pt x="1388" y="253"/>
                </a:cubicBezTo>
                <a:cubicBezTo>
                  <a:pt x="1388" y="255"/>
                  <a:pt x="1388" y="255"/>
                  <a:pt x="1388" y="255"/>
                </a:cubicBezTo>
                <a:cubicBezTo>
                  <a:pt x="1390" y="254"/>
                  <a:pt x="1390" y="254"/>
                  <a:pt x="1390" y="254"/>
                </a:cubicBezTo>
                <a:cubicBezTo>
                  <a:pt x="1391" y="252"/>
                  <a:pt x="1391" y="252"/>
                  <a:pt x="1391" y="252"/>
                </a:cubicBezTo>
                <a:cubicBezTo>
                  <a:pt x="1391" y="250"/>
                  <a:pt x="1391" y="250"/>
                  <a:pt x="1391" y="250"/>
                </a:cubicBezTo>
                <a:cubicBezTo>
                  <a:pt x="1389" y="249"/>
                  <a:pt x="1389" y="249"/>
                  <a:pt x="1389" y="249"/>
                </a:cubicBezTo>
                <a:cubicBezTo>
                  <a:pt x="1389" y="247"/>
                  <a:pt x="1389" y="247"/>
                  <a:pt x="1389" y="247"/>
                </a:cubicBezTo>
                <a:cubicBezTo>
                  <a:pt x="1390" y="246"/>
                  <a:pt x="1390" y="246"/>
                  <a:pt x="1390" y="246"/>
                </a:cubicBezTo>
                <a:cubicBezTo>
                  <a:pt x="1390" y="244"/>
                  <a:pt x="1390" y="244"/>
                  <a:pt x="1390" y="244"/>
                </a:cubicBezTo>
                <a:cubicBezTo>
                  <a:pt x="1391" y="243"/>
                  <a:pt x="1391" y="243"/>
                  <a:pt x="1391" y="243"/>
                </a:cubicBezTo>
                <a:cubicBezTo>
                  <a:pt x="1393" y="243"/>
                  <a:pt x="1393" y="243"/>
                  <a:pt x="1393" y="243"/>
                </a:cubicBezTo>
                <a:cubicBezTo>
                  <a:pt x="1394" y="241"/>
                  <a:pt x="1394" y="241"/>
                  <a:pt x="1394" y="241"/>
                </a:cubicBezTo>
                <a:cubicBezTo>
                  <a:pt x="1392" y="240"/>
                  <a:pt x="1392" y="240"/>
                  <a:pt x="1392" y="240"/>
                </a:cubicBezTo>
                <a:cubicBezTo>
                  <a:pt x="1388" y="239"/>
                  <a:pt x="1388" y="239"/>
                  <a:pt x="1388" y="239"/>
                </a:cubicBezTo>
                <a:cubicBezTo>
                  <a:pt x="1387" y="240"/>
                  <a:pt x="1387" y="240"/>
                  <a:pt x="1387" y="240"/>
                </a:cubicBezTo>
                <a:cubicBezTo>
                  <a:pt x="1388" y="239"/>
                  <a:pt x="1388" y="239"/>
                  <a:pt x="1388" y="239"/>
                </a:cubicBezTo>
                <a:cubicBezTo>
                  <a:pt x="1388" y="237"/>
                  <a:pt x="1388" y="237"/>
                  <a:pt x="1388" y="237"/>
                </a:cubicBezTo>
                <a:cubicBezTo>
                  <a:pt x="1386" y="237"/>
                  <a:pt x="1386" y="237"/>
                  <a:pt x="1386" y="237"/>
                </a:cubicBezTo>
                <a:cubicBezTo>
                  <a:pt x="1385" y="237"/>
                  <a:pt x="1385" y="237"/>
                  <a:pt x="1385" y="237"/>
                </a:cubicBezTo>
                <a:cubicBezTo>
                  <a:pt x="1384" y="236"/>
                  <a:pt x="1384" y="236"/>
                  <a:pt x="1384" y="236"/>
                </a:cubicBezTo>
                <a:cubicBezTo>
                  <a:pt x="1386" y="234"/>
                  <a:pt x="1386" y="234"/>
                  <a:pt x="1386" y="234"/>
                </a:cubicBezTo>
                <a:cubicBezTo>
                  <a:pt x="1387" y="233"/>
                  <a:pt x="1387" y="233"/>
                  <a:pt x="1387" y="233"/>
                </a:cubicBezTo>
                <a:cubicBezTo>
                  <a:pt x="1387" y="231"/>
                  <a:pt x="1387" y="231"/>
                  <a:pt x="1387" y="231"/>
                </a:cubicBezTo>
                <a:cubicBezTo>
                  <a:pt x="1386" y="230"/>
                  <a:pt x="1386" y="230"/>
                  <a:pt x="1386" y="230"/>
                </a:cubicBezTo>
                <a:cubicBezTo>
                  <a:pt x="1384" y="231"/>
                  <a:pt x="1384" y="231"/>
                  <a:pt x="1384" y="231"/>
                </a:cubicBezTo>
                <a:cubicBezTo>
                  <a:pt x="1383" y="230"/>
                  <a:pt x="1383" y="230"/>
                  <a:pt x="1383" y="230"/>
                </a:cubicBezTo>
                <a:cubicBezTo>
                  <a:pt x="1382" y="229"/>
                  <a:pt x="1382" y="229"/>
                  <a:pt x="1382" y="229"/>
                </a:cubicBezTo>
                <a:cubicBezTo>
                  <a:pt x="1384" y="228"/>
                  <a:pt x="1384" y="228"/>
                  <a:pt x="1384" y="228"/>
                </a:cubicBezTo>
                <a:cubicBezTo>
                  <a:pt x="1384" y="226"/>
                  <a:pt x="1384" y="226"/>
                  <a:pt x="1384" y="226"/>
                </a:cubicBezTo>
                <a:cubicBezTo>
                  <a:pt x="1385" y="226"/>
                  <a:pt x="1385" y="226"/>
                  <a:pt x="1385" y="226"/>
                </a:cubicBezTo>
                <a:cubicBezTo>
                  <a:pt x="1387" y="225"/>
                  <a:pt x="1387" y="225"/>
                  <a:pt x="1387" y="225"/>
                </a:cubicBezTo>
                <a:cubicBezTo>
                  <a:pt x="1385" y="224"/>
                  <a:pt x="1385" y="224"/>
                  <a:pt x="1385" y="224"/>
                </a:cubicBezTo>
                <a:cubicBezTo>
                  <a:pt x="1383" y="225"/>
                  <a:pt x="1383" y="225"/>
                  <a:pt x="1383" y="225"/>
                </a:cubicBezTo>
                <a:cubicBezTo>
                  <a:pt x="1380" y="228"/>
                  <a:pt x="1380" y="228"/>
                  <a:pt x="1380" y="228"/>
                </a:cubicBezTo>
                <a:cubicBezTo>
                  <a:pt x="1379" y="229"/>
                  <a:pt x="1379" y="229"/>
                  <a:pt x="1379" y="229"/>
                </a:cubicBezTo>
                <a:cubicBezTo>
                  <a:pt x="1378" y="229"/>
                  <a:pt x="1378" y="229"/>
                  <a:pt x="1378" y="229"/>
                </a:cubicBezTo>
                <a:cubicBezTo>
                  <a:pt x="1377" y="228"/>
                  <a:pt x="1377" y="228"/>
                  <a:pt x="1377" y="228"/>
                </a:cubicBezTo>
                <a:cubicBezTo>
                  <a:pt x="1378" y="226"/>
                  <a:pt x="1378" y="226"/>
                  <a:pt x="1378" y="226"/>
                </a:cubicBezTo>
                <a:cubicBezTo>
                  <a:pt x="1377" y="225"/>
                  <a:pt x="1377" y="225"/>
                  <a:pt x="1377" y="225"/>
                </a:cubicBezTo>
                <a:cubicBezTo>
                  <a:pt x="1376" y="224"/>
                  <a:pt x="1376" y="224"/>
                  <a:pt x="1376" y="224"/>
                </a:cubicBezTo>
                <a:cubicBezTo>
                  <a:pt x="1375" y="223"/>
                  <a:pt x="1375" y="223"/>
                  <a:pt x="1375" y="223"/>
                </a:cubicBezTo>
                <a:cubicBezTo>
                  <a:pt x="1373" y="224"/>
                  <a:pt x="1373" y="224"/>
                  <a:pt x="1373" y="224"/>
                </a:cubicBezTo>
                <a:cubicBezTo>
                  <a:pt x="1372" y="223"/>
                  <a:pt x="1372" y="223"/>
                  <a:pt x="1372" y="223"/>
                </a:cubicBezTo>
                <a:cubicBezTo>
                  <a:pt x="1371" y="225"/>
                  <a:pt x="1371" y="225"/>
                  <a:pt x="1371" y="225"/>
                </a:cubicBezTo>
                <a:cubicBezTo>
                  <a:pt x="1372" y="227"/>
                  <a:pt x="1372" y="227"/>
                  <a:pt x="1372" y="227"/>
                </a:cubicBezTo>
                <a:cubicBezTo>
                  <a:pt x="1371" y="228"/>
                  <a:pt x="1371" y="228"/>
                  <a:pt x="1371" y="228"/>
                </a:cubicBezTo>
                <a:cubicBezTo>
                  <a:pt x="1369" y="229"/>
                  <a:pt x="1369" y="229"/>
                  <a:pt x="1369" y="229"/>
                </a:cubicBezTo>
                <a:cubicBezTo>
                  <a:pt x="1367" y="230"/>
                  <a:pt x="1367" y="230"/>
                  <a:pt x="1367" y="230"/>
                </a:cubicBezTo>
                <a:cubicBezTo>
                  <a:pt x="1367" y="228"/>
                  <a:pt x="1367" y="228"/>
                  <a:pt x="1367" y="228"/>
                </a:cubicBezTo>
                <a:cubicBezTo>
                  <a:pt x="1366" y="227"/>
                  <a:pt x="1366" y="227"/>
                  <a:pt x="1366" y="227"/>
                </a:cubicBezTo>
                <a:cubicBezTo>
                  <a:pt x="1365" y="229"/>
                  <a:pt x="1365" y="229"/>
                  <a:pt x="1365" y="229"/>
                </a:cubicBezTo>
                <a:cubicBezTo>
                  <a:pt x="1364" y="231"/>
                  <a:pt x="1364" y="231"/>
                  <a:pt x="1364" y="231"/>
                </a:cubicBezTo>
                <a:cubicBezTo>
                  <a:pt x="1362" y="231"/>
                  <a:pt x="1362" y="231"/>
                  <a:pt x="1362" y="231"/>
                </a:cubicBezTo>
                <a:cubicBezTo>
                  <a:pt x="1360" y="228"/>
                  <a:pt x="1360" y="228"/>
                  <a:pt x="1360" y="228"/>
                </a:cubicBezTo>
                <a:cubicBezTo>
                  <a:pt x="1358" y="228"/>
                  <a:pt x="1358" y="228"/>
                  <a:pt x="1358" y="228"/>
                </a:cubicBezTo>
                <a:cubicBezTo>
                  <a:pt x="1358" y="228"/>
                  <a:pt x="1358" y="228"/>
                  <a:pt x="1358" y="228"/>
                </a:cubicBezTo>
                <a:cubicBezTo>
                  <a:pt x="1356" y="228"/>
                  <a:pt x="1356" y="228"/>
                  <a:pt x="1356" y="228"/>
                </a:cubicBezTo>
                <a:cubicBezTo>
                  <a:pt x="1355" y="231"/>
                  <a:pt x="1355" y="231"/>
                  <a:pt x="1355" y="231"/>
                </a:cubicBezTo>
                <a:cubicBezTo>
                  <a:pt x="1357" y="235"/>
                  <a:pt x="1357" y="235"/>
                  <a:pt x="1357" y="235"/>
                </a:cubicBezTo>
                <a:cubicBezTo>
                  <a:pt x="1355" y="240"/>
                  <a:pt x="1355" y="240"/>
                  <a:pt x="1355" y="240"/>
                </a:cubicBezTo>
                <a:cubicBezTo>
                  <a:pt x="1356" y="236"/>
                  <a:pt x="1356" y="236"/>
                  <a:pt x="1356" y="236"/>
                </a:cubicBezTo>
                <a:cubicBezTo>
                  <a:pt x="1354" y="233"/>
                  <a:pt x="1354" y="233"/>
                  <a:pt x="1354" y="233"/>
                </a:cubicBezTo>
                <a:cubicBezTo>
                  <a:pt x="1354" y="231"/>
                  <a:pt x="1354" y="231"/>
                  <a:pt x="1354" y="231"/>
                </a:cubicBezTo>
                <a:cubicBezTo>
                  <a:pt x="1353" y="230"/>
                  <a:pt x="1353" y="230"/>
                  <a:pt x="1353" y="230"/>
                </a:cubicBezTo>
                <a:cubicBezTo>
                  <a:pt x="1353" y="228"/>
                  <a:pt x="1353" y="228"/>
                  <a:pt x="1353" y="228"/>
                </a:cubicBezTo>
                <a:cubicBezTo>
                  <a:pt x="1351" y="227"/>
                  <a:pt x="1351" y="227"/>
                  <a:pt x="1351" y="227"/>
                </a:cubicBezTo>
                <a:cubicBezTo>
                  <a:pt x="1347" y="230"/>
                  <a:pt x="1347" y="230"/>
                  <a:pt x="1347" y="230"/>
                </a:cubicBezTo>
                <a:cubicBezTo>
                  <a:pt x="1347" y="232"/>
                  <a:pt x="1347" y="232"/>
                  <a:pt x="1347" y="232"/>
                </a:cubicBezTo>
                <a:cubicBezTo>
                  <a:pt x="1347" y="233"/>
                  <a:pt x="1347" y="233"/>
                  <a:pt x="1347" y="233"/>
                </a:cubicBezTo>
                <a:cubicBezTo>
                  <a:pt x="1346" y="236"/>
                  <a:pt x="1346" y="236"/>
                  <a:pt x="1346" y="236"/>
                </a:cubicBezTo>
                <a:cubicBezTo>
                  <a:pt x="1344" y="236"/>
                  <a:pt x="1344" y="236"/>
                  <a:pt x="1344" y="236"/>
                </a:cubicBezTo>
                <a:cubicBezTo>
                  <a:pt x="1344" y="233"/>
                  <a:pt x="1344" y="233"/>
                  <a:pt x="1344" y="233"/>
                </a:cubicBezTo>
                <a:cubicBezTo>
                  <a:pt x="1343" y="233"/>
                  <a:pt x="1343" y="233"/>
                  <a:pt x="1343" y="233"/>
                </a:cubicBezTo>
                <a:cubicBezTo>
                  <a:pt x="1342" y="228"/>
                  <a:pt x="1342" y="228"/>
                  <a:pt x="1342" y="228"/>
                </a:cubicBezTo>
                <a:cubicBezTo>
                  <a:pt x="1341" y="227"/>
                  <a:pt x="1341" y="227"/>
                  <a:pt x="1341" y="227"/>
                </a:cubicBezTo>
                <a:cubicBezTo>
                  <a:pt x="1338" y="229"/>
                  <a:pt x="1338" y="229"/>
                  <a:pt x="1338" y="229"/>
                </a:cubicBezTo>
                <a:cubicBezTo>
                  <a:pt x="1339" y="234"/>
                  <a:pt x="1339" y="234"/>
                  <a:pt x="1339" y="234"/>
                </a:cubicBezTo>
                <a:cubicBezTo>
                  <a:pt x="1340" y="235"/>
                  <a:pt x="1340" y="235"/>
                  <a:pt x="1340" y="235"/>
                </a:cubicBezTo>
                <a:cubicBezTo>
                  <a:pt x="1340" y="239"/>
                  <a:pt x="1340" y="239"/>
                  <a:pt x="1340" y="239"/>
                </a:cubicBezTo>
                <a:cubicBezTo>
                  <a:pt x="1338" y="240"/>
                  <a:pt x="1338" y="240"/>
                  <a:pt x="1338" y="240"/>
                </a:cubicBezTo>
                <a:cubicBezTo>
                  <a:pt x="1337" y="240"/>
                  <a:pt x="1337" y="240"/>
                  <a:pt x="1337" y="240"/>
                </a:cubicBezTo>
                <a:cubicBezTo>
                  <a:pt x="1337" y="238"/>
                  <a:pt x="1337" y="238"/>
                  <a:pt x="1337" y="238"/>
                </a:cubicBezTo>
                <a:cubicBezTo>
                  <a:pt x="1335" y="239"/>
                  <a:pt x="1335" y="239"/>
                  <a:pt x="1335" y="239"/>
                </a:cubicBezTo>
                <a:cubicBezTo>
                  <a:pt x="1334" y="241"/>
                  <a:pt x="1334" y="241"/>
                  <a:pt x="1334" y="241"/>
                </a:cubicBezTo>
                <a:cubicBezTo>
                  <a:pt x="1333" y="242"/>
                  <a:pt x="1333" y="242"/>
                  <a:pt x="1333" y="242"/>
                </a:cubicBezTo>
                <a:cubicBezTo>
                  <a:pt x="1332" y="245"/>
                  <a:pt x="1332" y="245"/>
                  <a:pt x="1332" y="245"/>
                </a:cubicBezTo>
                <a:cubicBezTo>
                  <a:pt x="1331" y="242"/>
                  <a:pt x="1331" y="242"/>
                  <a:pt x="1331" y="242"/>
                </a:cubicBezTo>
                <a:cubicBezTo>
                  <a:pt x="1330" y="242"/>
                  <a:pt x="1330" y="242"/>
                  <a:pt x="1330" y="242"/>
                </a:cubicBezTo>
                <a:cubicBezTo>
                  <a:pt x="1330" y="240"/>
                  <a:pt x="1330" y="240"/>
                  <a:pt x="1330" y="240"/>
                </a:cubicBezTo>
                <a:cubicBezTo>
                  <a:pt x="1331" y="239"/>
                  <a:pt x="1331" y="239"/>
                  <a:pt x="1331" y="239"/>
                </a:cubicBezTo>
                <a:cubicBezTo>
                  <a:pt x="1331" y="237"/>
                  <a:pt x="1331" y="237"/>
                  <a:pt x="1331" y="237"/>
                </a:cubicBezTo>
                <a:cubicBezTo>
                  <a:pt x="1329" y="237"/>
                  <a:pt x="1329" y="237"/>
                  <a:pt x="1329" y="237"/>
                </a:cubicBezTo>
                <a:cubicBezTo>
                  <a:pt x="1330" y="236"/>
                  <a:pt x="1330" y="236"/>
                  <a:pt x="1330" y="236"/>
                </a:cubicBezTo>
                <a:cubicBezTo>
                  <a:pt x="1329" y="233"/>
                  <a:pt x="1329" y="233"/>
                  <a:pt x="1329" y="233"/>
                </a:cubicBezTo>
                <a:cubicBezTo>
                  <a:pt x="1330" y="234"/>
                  <a:pt x="1330" y="234"/>
                  <a:pt x="1330" y="234"/>
                </a:cubicBezTo>
                <a:cubicBezTo>
                  <a:pt x="1332" y="233"/>
                  <a:pt x="1332" y="233"/>
                  <a:pt x="1332" y="233"/>
                </a:cubicBezTo>
                <a:cubicBezTo>
                  <a:pt x="1332" y="232"/>
                  <a:pt x="1332" y="232"/>
                  <a:pt x="1332" y="232"/>
                </a:cubicBezTo>
                <a:cubicBezTo>
                  <a:pt x="1330" y="231"/>
                  <a:pt x="1330" y="231"/>
                  <a:pt x="1330" y="231"/>
                </a:cubicBezTo>
                <a:cubicBezTo>
                  <a:pt x="1331" y="229"/>
                  <a:pt x="1331" y="229"/>
                  <a:pt x="1331" y="229"/>
                </a:cubicBezTo>
                <a:cubicBezTo>
                  <a:pt x="1330" y="228"/>
                  <a:pt x="1330" y="228"/>
                  <a:pt x="1330" y="228"/>
                </a:cubicBezTo>
                <a:cubicBezTo>
                  <a:pt x="1329" y="229"/>
                  <a:pt x="1329" y="229"/>
                  <a:pt x="1329" y="229"/>
                </a:cubicBezTo>
                <a:cubicBezTo>
                  <a:pt x="1328" y="227"/>
                  <a:pt x="1328" y="227"/>
                  <a:pt x="1328" y="227"/>
                </a:cubicBezTo>
                <a:cubicBezTo>
                  <a:pt x="1325" y="226"/>
                  <a:pt x="1325" y="226"/>
                  <a:pt x="1325" y="226"/>
                </a:cubicBezTo>
                <a:cubicBezTo>
                  <a:pt x="1325" y="224"/>
                  <a:pt x="1325" y="224"/>
                  <a:pt x="1325" y="224"/>
                </a:cubicBezTo>
                <a:cubicBezTo>
                  <a:pt x="1324" y="222"/>
                  <a:pt x="1324" y="222"/>
                  <a:pt x="1324" y="222"/>
                </a:cubicBezTo>
                <a:cubicBezTo>
                  <a:pt x="1322" y="223"/>
                  <a:pt x="1322" y="223"/>
                  <a:pt x="1322" y="223"/>
                </a:cubicBezTo>
                <a:cubicBezTo>
                  <a:pt x="1320" y="222"/>
                  <a:pt x="1320" y="222"/>
                  <a:pt x="1320" y="222"/>
                </a:cubicBezTo>
                <a:cubicBezTo>
                  <a:pt x="1317" y="222"/>
                  <a:pt x="1317" y="222"/>
                  <a:pt x="1317" y="222"/>
                </a:cubicBezTo>
                <a:cubicBezTo>
                  <a:pt x="1317" y="223"/>
                  <a:pt x="1317" y="223"/>
                  <a:pt x="1317" y="223"/>
                </a:cubicBezTo>
                <a:cubicBezTo>
                  <a:pt x="1318" y="224"/>
                  <a:pt x="1318" y="224"/>
                  <a:pt x="1318" y="224"/>
                </a:cubicBezTo>
                <a:cubicBezTo>
                  <a:pt x="1319" y="224"/>
                  <a:pt x="1319" y="224"/>
                  <a:pt x="1319" y="224"/>
                </a:cubicBezTo>
                <a:cubicBezTo>
                  <a:pt x="1319" y="223"/>
                  <a:pt x="1319" y="223"/>
                  <a:pt x="1319" y="223"/>
                </a:cubicBezTo>
                <a:cubicBezTo>
                  <a:pt x="1321" y="223"/>
                  <a:pt x="1321" y="223"/>
                  <a:pt x="1321" y="223"/>
                </a:cubicBezTo>
                <a:cubicBezTo>
                  <a:pt x="1322" y="224"/>
                  <a:pt x="1322" y="224"/>
                  <a:pt x="1322" y="224"/>
                </a:cubicBezTo>
                <a:cubicBezTo>
                  <a:pt x="1323" y="225"/>
                  <a:pt x="1323" y="225"/>
                  <a:pt x="1323" y="225"/>
                </a:cubicBezTo>
                <a:cubicBezTo>
                  <a:pt x="1323" y="226"/>
                  <a:pt x="1323" y="226"/>
                  <a:pt x="1323" y="226"/>
                </a:cubicBezTo>
                <a:cubicBezTo>
                  <a:pt x="1321" y="225"/>
                  <a:pt x="1321" y="225"/>
                  <a:pt x="1321" y="225"/>
                </a:cubicBezTo>
                <a:cubicBezTo>
                  <a:pt x="1319" y="225"/>
                  <a:pt x="1319" y="225"/>
                  <a:pt x="1319" y="225"/>
                </a:cubicBezTo>
                <a:cubicBezTo>
                  <a:pt x="1319" y="226"/>
                  <a:pt x="1319" y="226"/>
                  <a:pt x="1319" y="226"/>
                </a:cubicBezTo>
                <a:cubicBezTo>
                  <a:pt x="1322" y="228"/>
                  <a:pt x="1322" y="228"/>
                  <a:pt x="1322" y="228"/>
                </a:cubicBezTo>
                <a:cubicBezTo>
                  <a:pt x="1324" y="230"/>
                  <a:pt x="1324" y="230"/>
                  <a:pt x="1324" y="230"/>
                </a:cubicBezTo>
                <a:cubicBezTo>
                  <a:pt x="1323" y="231"/>
                  <a:pt x="1323" y="231"/>
                  <a:pt x="1323" y="231"/>
                </a:cubicBezTo>
                <a:cubicBezTo>
                  <a:pt x="1323" y="231"/>
                  <a:pt x="1323" y="231"/>
                  <a:pt x="1323" y="231"/>
                </a:cubicBezTo>
                <a:cubicBezTo>
                  <a:pt x="1323" y="230"/>
                  <a:pt x="1323" y="230"/>
                  <a:pt x="1323" y="230"/>
                </a:cubicBezTo>
                <a:cubicBezTo>
                  <a:pt x="1320" y="229"/>
                  <a:pt x="1320" y="229"/>
                  <a:pt x="1320" y="229"/>
                </a:cubicBezTo>
                <a:cubicBezTo>
                  <a:pt x="1319" y="230"/>
                  <a:pt x="1319" y="230"/>
                  <a:pt x="1319" y="230"/>
                </a:cubicBezTo>
                <a:cubicBezTo>
                  <a:pt x="1318" y="230"/>
                  <a:pt x="1318" y="230"/>
                  <a:pt x="1318" y="230"/>
                </a:cubicBezTo>
                <a:cubicBezTo>
                  <a:pt x="1318" y="228"/>
                  <a:pt x="1318" y="228"/>
                  <a:pt x="1318" y="228"/>
                </a:cubicBezTo>
                <a:cubicBezTo>
                  <a:pt x="1317" y="226"/>
                  <a:pt x="1317" y="226"/>
                  <a:pt x="1317" y="226"/>
                </a:cubicBezTo>
                <a:cubicBezTo>
                  <a:pt x="1315" y="225"/>
                  <a:pt x="1315" y="225"/>
                  <a:pt x="1315" y="225"/>
                </a:cubicBezTo>
                <a:cubicBezTo>
                  <a:pt x="1313" y="226"/>
                  <a:pt x="1313" y="226"/>
                  <a:pt x="1313" y="226"/>
                </a:cubicBezTo>
                <a:cubicBezTo>
                  <a:pt x="1315" y="228"/>
                  <a:pt x="1315" y="228"/>
                  <a:pt x="1315" y="228"/>
                </a:cubicBezTo>
                <a:cubicBezTo>
                  <a:pt x="1314" y="229"/>
                  <a:pt x="1314" y="229"/>
                  <a:pt x="1314" y="229"/>
                </a:cubicBezTo>
                <a:cubicBezTo>
                  <a:pt x="1313" y="227"/>
                  <a:pt x="1313" y="227"/>
                  <a:pt x="1313" y="227"/>
                </a:cubicBezTo>
                <a:cubicBezTo>
                  <a:pt x="1312" y="227"/>
                  <a:pt x="1312" y="227"/>
                  <a:pt x="1312" y="227"/>
                </a:cubicBezTo>
                <a:cubicBezTo>
                  <a:pt x="1311" y="228"/>
                  <a:pt x="1311" y="228"/>
                  <a:pt x="1311" y="228"/>
                </a:cubicBezTo>
                <a:cubicBezTo>
                  <a:pt x="1312" y="230"/>
                  <a:pt x="1312" y="230"/>
                  <a:pt x="1312" y="230"/>
                </a:cubicBezTo>
                <a:cubicBezTo>
                  <a:pt x="1313" y="230"/>
                  <a:pt x="1313" y="230"/>
                  <a:pt x="1313" y="230"/>
                </a:cubicBezTo>
                <a:cubicBezTo>
                  <a:pt x="1314" y="231"/>
                  <a:pt x="1314" y="231"/>
                  <a:pt x="1314" y="231"/>
                </a:cubicBezTo>
                <a:cubicBezTo>
                  <a:pt x="1312" y="231"/>
                  <a:pt x="1312" y="231"/>
                  <a:pt x="1312" y="231"/>
                </a:cubicBezTo>
                <a:cubicBezTo>
                  <a:pt x="1311" y="231"/>
                  <a:pt x="1311" y="231"/>
                  <a:pt x="1311" y="231"/>
                </a:cubicBezTo>
                <a:cubicBezTo>
                  <a:pt x="1312" y="233"/>
                  <a:pt x="1312" y="233"/>
                  <a:pt x="1312" y="233"/>
                </a:cubicBezTo>
                <a:cubicBezTo>
                  <a:pt x="1314" y="234"/>
                  <a:pt x="1314" y="234"/>
                  <a:pt x="1314" y="234"/>
                </a:cubicBezTo>
                <a:cubicBezTo>
                  <a:pt x="1313" y="234"/>
                  <a:pt x="1313" y="234"/>
                  <a:pt x="1313" y="234"/>
                </a:cubicBezTo>
                <a:cubicBezTo>
                  <a:pt x="1312" y="234"/>
                  <a:pt x="1312" y="234"/>
                  <a:pt x="1312" y="234"/>
                </a:cubicBezTo>
                <a:cubicBezTo>
                  <a:pt x="1313" y="236"/>
                  <a:pt x="1313" y="236"/>
                  <a:pt x="1313" y="236"/>
                </a:cubicBezTo>
                <a:cubicBezTo>
                  <a:pt x="1312" y="236"/>
                  <a:pt x="1312" y="236"/>
                  <a:pt x="1312" y="236"/>
                </a:cubicBezTo>
                <a:cubicBezTo>
                  <a:pt x="1309" y="233"/>
                  <a:pt x="1309" y="233"/>
                  <a:pt x="1309" y="233"/>
                </a:cubicBezTo>
                <a:cubicBezTo>
                  <a:pt x="1309" y="233"/>
                  <a:pt x="1309" y="233"/>
                  <a:pt x="1309" y="233"/>
                </a:cubicBezTo>
                <a:cubicBezTo>
                  <a:pt x="1308" y="234"/>
                  <a:pt x="1308" y="234"/>
                  <a:pt x="1308" y="234"/>
                </a:cubicBezTo>
                <a:cubicBezTo>
                  <a:pt x="1309" y="236"/>
                  <a:pt x="1309" y="236"/>
                  <a:pt x="1309" y="236"/>
                </a:cubicBezTo>
                <a:cubicBezTo>
                  <a:pt x="1310" y="238"/>
                  <a:pt x="1310" y="238"/>
                  <a:pt x="1310" y="238"/>
                </a:cubicBezTo>
                <a:cubicBezTo>
                  <a:pt x="1309" y="238"/>
                  <a:pt x="1309" y="238"/>
                  <a:pt x="1309" y="238"/>
                </a:cubicBezTo>
                <a:cubicBezTo>
                  <a:pt x="1307" y="236"/>
                  <a:pt x="1307" y="236"/>
                  <a:pt x="1307" y="236"/>
                </a:cubicBezTo>
                <a:cubicBezTo>
                  <a:pt x="1305" y="235"/>
                  <a:pt x="1305" y="235"/>
                  <a:pt x="1305" y="235"/>
                </a:cubicBezTo>
                <a:cubicBezTo>
                  <a:pt x="1304" y="237"/>
                  <a:pt x="1304" y="237"/>
                  <a:pt x="1304" y="237"/>
                </a:cubicBezTo>
                <a:cubicBezTo>
                  <a:pt x="1307" y="238"/>
                  <a:pt x="1307" y="238"/>
                  <a:pt x="1307" y="238"/>
                </a:cubicBezTo>
                <a:cubicBezTo>
                  <a:pt x="1308" y="240"/>
                  <a:pt x="1308" y="240"/>
                  <a:pt x="1308" y="240"/>
                </a:cubicBezTo>
                <a:cubicBezTo>
                  <a:pt x="1311" y="240"/>
                  <a:pt x="1311" y="240"/>
                  <a:pt x="1311" y="240"/>
                </a:cubicBezTo>
                <a:cubicBezTo>
                  <a:pt x="1312" y="238"/>
                  <a:pt x="1312" y="238"/>
                  <a:pt x="1312" y="238"/>
                </a:cubicBezTo>
                <a:cubicBezTo>
                  <a:pt x="1314" y="238"/>
                  <a:pt x="1314" y="238"/>
                  <a:pt x="1314" y="238"/>
                </a:cubicBezTo>
                <a:cubicBezTo>
                  <a:pt x="1315" y="236"/>
                  <a:pt x="1315" y="236"/>
                  <a:pt x="1315" y="236"/>
                </a:cubicBezTo>
                <a:cubicBezTo>
                  <a:pt x="1316" y="237"/>
                  <a:pt x="1316" y="237"/>
                  <a:pt x="1316" y="237"/>
                </a:cubicBezTo>
                <a:cubicBezTo>
                  <a:pt x="1316" y="238"/>
                  <a:pt x="1316" y="238"/>
                  <a:pt x="1316" y="238"/>
                </a:cubicBezTo>
                <a:cubicBezTo>
                  <a:pt x="1317" y="238"/>
                  <a:pt x="1317" y="238"/>
                  <a:pt x="1317" y="238"/>
                </a:cubicBezTo>
                <a:cubicBezTo>
                  <a:pt x="1318" y="237"/>
                  <a:pt x="1318" y="237"/>
                  <a:pt x="1318" y="237"/>
                </a:cubicBezTo>
                <a:cubicBezTo>
                  <a:pt x="1319" y="239"/>
                  <a:pt x="1319" y="239"/>
                  <a:pt x="1319" y="239"/>
                </a:cubicBezTo>
                <a:cubicBezTo>
                  <a:pt x="1319" y="239"/>
                  <a:pt x="1319" y="239"/>
                  <a:pt x="1319" y="239"/>
                </a:cubicBezTo>
                <a:cubicBezTo>
                  <a:pt x="1321" y="238"/>
                  <a:pt x="1321" y="238"/>
                  <a:pt x="1321" y="238"/>
                </a:cubicBezTo>
                <a:cubicBezTo>
                  <a:pt x="1321" y="237"/>
                  <a:pt x="1321" y="237"/>
                  <a:pt x="1321" y="237"/>
                </a:cubicBezTo>
                <a:cubicBezTo>
                  <a:pt x="1322" y="239"/>
                  <a:pt x="1322" y="239"/>
                  <a:pt x="1322" y="239"/>
                </a:cubicBezTo>
                <a:cubicBezTo>
                  <a:pt x="1322" y="239"/>
                  <a:pt x="1322" y="239"/>
                  <a:pt x="1322" y="239"/>
                </a:cubicBezTo>
                <a:cubicBezTo>
                  <a:pt x="1324" y="237"/>
                  <a:pt x="1324" y="237"/>
                  <a:pt x="1324" y="237"/>
                </a:cubicBezTo>
                <a:cubicBezTo>
                  <a:pt x="1324" y="238"/>
                  <a:pt x="1324" y="238"/>
                  <a:pt x="1324" y="238"/>
                </a:cubicBezTo>
                <a:cubicBezTo>
                  <a:pt x="1324" y="240"/>
                  <a:pt x="1324" y="240"/>
                  <a:pt x="1324" y="240"/>
                </a:cubicBezTo>
                <a:cubicBezTo>
                  <a:pt x="1324" y="240"/>
                  <a:pt x="1324" y="240"/>
                  <a:pt x="1324" y="240"/>
                </a:cubicBezTo>
                <a:cubicBezTo>
                  <a:pt x="1326" y="239"/>
                  <a:pt x="1326" y="239"/>
                  <a:pt x="1326" y="239"/>
                </a:cubicBezTo>
                <a:cubicBezTo>
                  <a:pt x="1328" y="240"/>
                  <a:pt x="1328" y="240"/>
                  <a:pt x="1328" y="240"/>
                </a:cubicBezTo>
                <a:cubicBezTo>
                  <a:pt x="1327" y="241"/>
                  <a:pt x="1327" y="241"/>
                  <a:pt x="1327" y="241"/>
                </a:cubicBezTo>
                <a:cubicBezTo>
                  <a:pt x="1326" y="241"/>
                  <a:pt x="1326" y="241"/>
                  <a:pt x="1326" y="241"/>
                </a:cubicBezTo>
                <a:cubicBezTo>
                  <a:pt x="1324" y="242"/>
                  <a:pt x="1324" y="242"/>
                  <a:pt x="1324" y="242"/>
                </a:cubicBezTo>
                <a:cubicBezTo>
                  <a:pt x="1323" y="242"/>
                  <a:pt x="1323" y="242"/>
                  <a:pt x="1323" y="242"/>
                </a:cubicBezTo>
                <a:cubicBezTo>
                  <a:pt x="1320" y="243"/>
                  <a:pt x="1320" y="243"/>
                  <a:pt x="1320" y="243"/>
                </a:cubicBezTo>
                <a:cubicBezTo>
                  <a:pt x="1320" y="244"/>
                  <a:pt x="1320" y="244"/>
                  <a:pt x="1320" y="244"/>
                </a:cubicBezTo>
                <a:cubicBezTo>
                  <a:pt x="1323" y="245"/>
                  <a:pt x="1323" y="245"/>
                  <a:pt x="1323" y="245"/>
                </a:cubicBezTo>
                <a:cubicBezTo>
                  <a:pt x="1325" y="245"/>
                  <a:pt x="1325" y="245"/>
                  <a:pt x="1325" y="245"/>
                </a:cubicBezTo>
                <a:cubicBezTo>
                  <a:pt x="1326" y="243"/>
                  <a:pt x="1326" y="243"/>
                  <a:pt x="1326" y="243"/>
                </a:cubicBezTo>
                <a:cubicBezTo>
                  <a:pt x="1327" y="243"/>
                  <a:pt x="1327" y="243"/>
                  <a:pt x="1327" y="243"/>
                </a:cubicBezTo>
                <a:cubicBezTo>
                  <a:pt x="1327" y="245"/>
                  <a:pt x="1327" y="245"/>
                  <a:pt x="1327" y="245"/>
                </a:cubicBezTo>
                <a:cubicBezTo>
                  <a:pt x="1326" y="246"/>
                  <a:pt x="1326" y="246"/>
                  <a:pt x="1326" y="246"/>
                </a:cubicBezTo>
                <a:cubicBezTo>
                  <a:pt x="1322" y="247"/>
                  <a:pt x="1322" y="247"/>
                  <a:pt x="1322" y="247"/>
                </a:cubicBezTo>
                <a:cubicBezTo>
                  <a:pt x="1321" y="246"/>
                  <a:pt x="1321" y="246"/>
                  <a:pt x="1321" y="246"/>
                </a:cubicBezTo>
                <a:cubicBezTo>
                  <a:pt x="1319" y="248"/>
                  <a:pt x="1319" y="248"/>
                  <a:pt x="1319" y="248"/>
                </a:cubicBezTo>
                <a:cubicBezTo>
                  <a:pt x="1318" y="247"/>
                  <a:pt x="1318" y="247"/>
                  <a:pt x="1318" y="247"/>
                </a:cubicBezTo>
                <a:cubicBezTo>
                  <a:pt x="1318" y="246"/>
                  <a:pt x="1318" y="246"/>
                  <a:pt x="1318" y="246"/>
                </a:cubicBezTo>
                <a:cubicBezTo>
                  <a:pt x="1318" y="245"/>
                  <a:pt x="1318" y="245"/>
                  <a:pt x="1318" y="245"/>
                </a:cubicBezTo>
                <a:cubicBezTo>
                  <a:pt x="1317" y="245"/>
                  <a:pt x="1317" y="245"/>
                  <a:pt x="1317" y="245"/>
                </a:cubicBezTo>
                <a:cubicBezTo>
                  <a:pt x="1317" y="245"/>
                  <a:pt x="1317" y="245"/>
                  <a:pt x="1317" y="245"/>
                </a:cubicBezTo>
                <a:cubicBezTo>
                  <a:pt x="1317" y="246"/>
                  <a:pt x="1317" y="246"/>
                  <a:pt x="1317" y="246"/>
                </a:cubicBezTo>
                <a:cubicBezTo>
                  <a:pt x="1315" y="247"/>
                  <a:pt x="1315" y="247"/>
                  <a:pt x="1315" y="247"/>
                </a:cubicBezTo>
                <a:cubicBezTo>
                  <a:pt x="1314" y="247"/>
                  <a:pt x="1314" y="247"/>
                  <a:pt x="1314" y="247"/>
                </a:cubicBezTo>
                <a:cubicBezTo>
                  <a:pt x="1312" y="247"/>
                  <a:pt x="1312" y="247"/>
                  <a:pt x="1312" y="247"/>
                </a:cubicBezTo>
                <a:cubicBezTo>
                  <a:pt x="1311" y="248"/>
                  <a:pt x="1311" y="248"/>
                  <a:pt x="1311" y="248"/>
                </a:cubicBezTo>
                <a:cubicBezTo>
                  <a:pt x="1309" y="247"/>
                  <a:pt x="1309" y="247"/>
                  <a:pt x="1309" y="247"/>
                </a:cubicBezTo>
                <a:cubicBezTo>
                  <a:pt x="1307" y="248"/>
                  <a:pt x="1307" y="248"/>
                  <a:pt x="1307" y="248"/>
                </a:cubicBezTo>
                <a:cubicBezTo>
                  <a:pt x="1306" y="247"/>
                  <a:pt x="1306" y="247"/>
                  <a:pt x="1306" y="247"/>
                </a:cubicBezTo>
                <a:cubicBezTo>
                  <a:pt x="1308" y="250"/>
                  <a:pt x="1308" y="250"/>
                  <a:pt x="1308" y="250"/>
                </a:cubicBezTo>
                <a:cubicBezTo>
                  <a:pt x="1308" y="251"/>
                  <a:pt x="1308" y="251"/>
                  <a:pt x="1308" y="251"/>
                </a:cubicBezTo>
                <a:cubicBezTo>
                  <a:pt x="1311" y="252"/>
                  <a:pt x="1311" y="252"/>
                  <a:pt x="1311" y="252"/>
                </a:cubicBezTo>
                <a:cubicBezTo>
                  <a:pt x="1311" y="251"/>
                  <a:pt x="1311" y="251"/>
                  <a:pt x="1311" y="251"/>
                </a:cubicBezTo>
                <a:cubicBezTo>
                  <a:pt x="1314" y="252"/>
                  <a:pt x="1314" y="252"/>
                  <a:pt x="1314" y="252"/>
                </a:cubicBezTo>
                <a:cubicBezTo>
                  <a:pt x="1318" y="252"/>
                  <a:pt x="1318" y="252"/>
                  <a:pt x="1318" y="252"/>
                </a:cubicBezTo>
                <a:cubicBezTo>
                  <a:pt x="1320" y="252"/>
                  <a:pt x="1320" y="252"/>
                  <a:pt x="1320" y="252"/>
                </a:cubicBezTo>
                <a:cubicBezTo>
                  <a:pt x="1320" y="253"/>
                  <a:pt x="1320" y="253"/>
                  <a:pt x="1320" y="253"/>
                </a:cubicBezTo>
                <a:cubicBezTo>
                  <a:pt x="1319" y="253"/>
                  <a:pt x="1319" y="253"/>
                  <a:pt x="1319" y="253"/>
                </a:cubicBezTo>
                <a:cubicBezTo>
                  <a:pt x="1319" y="255"/>
                  <a:pt x="1319" y="255"/>
                  <a:pt x="1319" y="255"/>
                </a:cubicBezTo>
                <a:cubicBezTo>
                  <a:pt x="1321" y="256"/>
                  <a:pt x="1321" y="256"/>
                  <a:pt x="1321" y="256"/>
                </a:cubicBezTo>
                <a:cubicBezTo>
                  <a:pt x="1321" y="257"/>
                  <a:pt x="1321" y="257"/>
                  <a:pt x="1321" y="257"/>
                </a:cubicBezTo>
                <a:cubicBezTo>
                  <a:pt x="1322" y="257"/>
                  <a:pt x="1322" y="257"/>
                  <a:pt x="1322" y="257"/>
                </a:cubicBezTo>
                <a:cubicBezTo>
                  <a:pt x="1325" y="255"/>
                  <a:pt x="1325" y="255"/>
                  <a:pt x="1325" y="255"/>
                </a:cubicBezTo>
                <a:cubicBezTo>
                  <a:pt x="1324" y="256"/>
                  <a:pt x="1324" y="256"/>
                  <a:pt x="1324" y="256"/>
                </a:cubicBezTo>
                <a:cubicBezTo>
                  <a:pt x="1323" y="258"/>
                  <a:pt x="1323" y="258"/>
                  <a:pt x="1323" y="258"/>
                </a:cubicBezTo>
                <a:cubicBezTo>
                  <a:pt x="1322" y="259"/>
                  <a:pt x="1322" y="259"/>
                  <a:pt x="1322" y="259"/>
                </a:cubicBezTo>
                <a:cubicBezTo>
                  <a:pt x="1323" y="260"/>
                  <a:pt x="1323" y="260"/>
                  <a:pt x="1323" y="260"/>
                </a:cubicBezTo>
                <a:cubicBezTo>
                  <a:pt x="1326" y="258"/>
                  <a:pt x="1326" y="258"/>
                  <a:pt x="1326" y="258"/>
                </a:cubicBezTo>
                <a:cubicBezTo>
                  <a:pt x="1328" y="259"/>
                  <a:pt x="1328" y="259"/>
                  <a:pt x="1328" y="259"/>
                </a:cubicBezTo>
                <a:cubicBezTo>
                  <a:pt x="1329" y="260"/>
                  <a:pt x="1329" y="260"/>
                  <a:pt x="1329" y="260"/>
                </a:cubicBezTo>
                <a:cubicBezTo>
                  <a:pt x="1327" y="259"/>
                  <a:pt x="1327" y="259"/>
                  <a:pt x="1327" y="259"/>
                </a:cubicBezTo>
                <a:cubicBezTo>
                  <a:pt x="1325" y="260"/>
                  <a:pt x="1325" y="260"/>
                  <a:pt x="1325" y="260"/>
                </a:cubicBezTo>
                <a:cubicBezTo>
                  <a:pt x="1324" y="261"/>
                  <a:pt x="1324" y="261"/>
                  <a:pt x="1324" y="261"/>
                </a:cubicBezTo>
                <a:cubicBezTo>
                  <a:pt x="1322" y="261"/>
                  <a:pt x="1322" y="261"/>
                  <a:pt x="1322" y="261"/>
                </a:cubicBezTo>
                <a:cubicBezTo>
                  <a:pt x="1322" y="263"/>
                  <a:pt x="1322" y="263"/>
                  <a:pt x="1322" y="263"/>
                </a:cubicBezTo>
                <a:cubicBezTo>
                  <a:pt x="1321" y="264"/>
                  <a:pt x="1321" y="264"/>
                  <a:pt x="1321" y="264"/>
                </a:cubicBezTo>
                <a:cubicBezTo>
                  <a:pt x="1320" y="263"/>
                  <a:pt x="1320" y="263"/>
                  <a:pt x="1320" y="263"/>
                </a:cubicBezTo>
                <a:cubicBezTo>
                  <a:pt x="1318" y="264"/>
                  <a:pt x="1318" y="264"/>
                  <a:pt x="1318" y="264"/>
                </a:cubicBezTo>
                <a:cubicBezTo>
                  <a:pt x="1318" y="263"/>
                  <a:pt x="1318" y="263"/>
                  <a:pt x="1318" y="263"/>
                </a:cubicBezTo>
                <a:cubicBezTo>
                  <a:pt x="1316" y="262"/>
                  <a:pt x="1316" y="262"/>
                  <a:pt x="1316" y="262"/>
                </a:cubicBezTo>
                <a:cubicBezTo>
                  <a:pt x="1316" y="263"/>
                  <a:pt x="1316" y="263"/>
                  <a:pt x="1316" y="263"/>
                </a:cubicBezTo>
                <a:cubicBezTo>
                  <a:pt x="1315" y="263"/>
                  <a:pt x="1315" y="263"/>
                  <a:pt x="1315" y="263"/>
                </a:cubicBezTo>
                <a:cubicBezTo>
                  <a:pt x="1316" y="265"/>
                  <a:pt x="1316" y="265"/>
                  <a:pt x="1316" y="265"/>
                </a:cubicBezTo>
                <a:cubicBezTo>
                  <a:pt x="1317" y="265"/>
                  <a:pt x="1317" y="265"/>
                  <a:pt x="1317" y="265"/>
                </a:cubicBezTo>
                <a:cubicBezTo>
                  <a:pt x="1316" y="266"/>
                  <a:pt x="1316" y="266"/>
                  <a:pt x="1316" y="266"/>
                </a:cubicBezTo>
                <a:cubicBezTo>
                  <a:pt x="1316" y="269"/>
                  <a:pt x="1316" y="269"/>
                  <a:pt x="1316" y="269"/>
                </a:cubicBezTo>
                <a:cubicBezTo>
                  <a:pt x="1318" y="269"/>
                  <a:pt x="1318" y="269"/>
                  <a:pt x="1318" y="269"/>
                </a:cubicBezTo>
                <a:cubicBezTo>
                  <a:pt x="1319" y="269"/>
                  <a:pt x="1319" y="269"/>
                  <a:pt x="1319" y="269"/>
                </a:cubicBezTo>
                <a:cubicBezTo>
                  <a:pt x="1320" y="269"/>
                  <a:pt x="1320" y="269"/>
                  <a:pt x="1320" y="269"/>
                </a:cubicBezTo>
                <a:cubicBezTo>
                  <a:pt x="1324" y="270"/>
                  <a:pt x="1324" y="270"/>
                  <a:pt x="1324" y="270"/>
                </a:cubicBezTo>
                <a:cubicBezTo>
                  <a:pt x="1326" y="268"/>
                  <a:pt x="1326" y="268"/>
                  <a:pt x="1326" y="268"/>
                </a:cubicBezTo>
                <a:cubicBezTo>
                  <a:pt x="1328" y="269"/>
                  <a:pt x="1328" y="269"/>
                  <a:pt x="1328" y="269"/>
                </a:cubicBezTo>
                <a:cubicBezTo>
                  <a:pt x="1330" y="268"/>
                  <a:pt x="1330" y="268"/>
                  <a:pt x="1330" y="268"/>
                </a:cubicBezTo>
                <a:cubicBezTo>
                  <a:pt x="1330" y="269"/>
                  <a:pt x="1330" y="269"/>
                  <a:pt x="1330" y="269"/>
                </a:cubicBezTo>
                <a:cubicBezTo>
                  <a:pt x="1331" y="270"/>
                  <a:pt x="1331" y="270"/>
                  <a:pt x="1331" y="270"/>
                </a:cubicBezTo>
                <a:cubicBezTo>
                  <a:pt x="1333" y="269"/>
                  <a:pt x="1333" y="269"/>
                  <a:pt x="1333" y="269"/>
                </a:cubicBezTo>
                <a:cubicBezTo>
                  <a:pt x="1333" y="271"/>
                  <a:pt x="1333" y="271"/>
                  <a:pt x="1333" y="271"/>
                </a:cubicBezTo>
                <a:lnTo>
                  <a:pt x="1335" y="273"/>
                </a:lnTo>
                <a:close/>
                <a:moveTo>
                  <a:pt x="1322" y="162"/>
                </a:moveTo>
                <a:cubicBezTo>
                  <a:pt x="1323" y="162"/>
                  <a:pt x="1323" y="162"/>
                  <a:pt x="1323" y="162"/>
                </a:cubicBezTo>
                <a:cubicBezTo>
                  <a:pt x="1324" y="162"/>
                  <a:pt x="1324" y="162"/>
                  <a:pt x="1324" y="162"/>
                </a:cubicBezTo>
                <a:cubicBezTo>
                  <a:pt x="1323" y="161"/>
                  <a:pt x="1323" y="161"/>
                  <a:pt x="1323" y="161"/>
                </a:cubicBezTo>
                <a:cubicBezTo>
                  <a:pt x="1322" y="161"/>
                  <a:pt x="1322" y="161"/>
                  <a:pt x="1322" y="161"/>
                </a:cubicBezTo>
                <a:lnTo>
                  <a:pt x="1322" y="162"/>
                </a:lnTo>
                <a:close/>
                <a:moveTo>
                  <a:pt x="1202" y="227"/>
                </a:moveTo>
                <a:cubicBezTo>
                  <a:pt x="1201" y="228"/>
                  <a:pt x="1201" y="228"/>
                  <a:pt x="1201" y="228"/>
                </a:cubicBezTo>
                <a:cubicBezTo>
                  <a:pt x="1201" y="229"/>
                  <a:pt x="1201" y="229"/>
                  <a:pt x="1201" y="229"/>
                </a:cubicBezTo>
                <a:cubicBezTo>
                  <a:pt x="1202" y="229"/>
                  <a:pt x="1202" y="229"/>
                  <a:pt x="1202" y="229"/>
                </a:cubicBezTo>
                <a:cubicBezTo>
                  <a:pt x="1202" y="229"/>
                  <a:pt x="1202" y="229"/>
                  <a:pt x="1202" y="229"/>
                </a:cubicBezTo>
                <a:cubicBezTo>
                  <a:pt x="1202" y="228"/>
                  <a:pt x="1202" y="228"/>
                  <a:pt x="1202" y="228"/>
                </a:cubicBezTo>
                <a:lnTo>
                  <a:pt x="1202" y="227"/>
                </a:lnTo>
                <a:close/>
                <a:moveTo>
                  <a:pt x="1180" y="231"/>
                </a:moveTo>
                <a:cubicBezTo>
                  <a:pt x="1180" y="232"/>
                  <a:pt x="1180" y="232"/>
                  <a:pt x="1180" y="232"/>
                </a:cubicBezTo>
                <a:cubicBezTo>
                  <a:pt x="1181" y="231"/>
                  <a:pt x="1181" y="231"/>
                  <a:pt x="1181" y="231"/>
                </a:cubicBezTo>
                <a:cubicBezTo>
                  <a:pt x="1180" y="231"/>
                  <a:pt x="1180" y="231"/>
                  <a:pt x="1180" y="231"/>
                </a:cubicBezTo>
                <a:close/>
                <a:moveTo>
                  <a:pt x="1334" y="100"/>
                </a:moveTo>
                <a:cubicBezTo>
                  <a:pt x="1335" y="101"/>
                  <a:pt x="1335" y="101"/>
                  <a:pt x="1335" y="101"/>
                </a:cubicBezTo>
                <a:cubicBezTo>
                  <a:pt x="1337" y="102"/>
                  <a:pt x="1337" y="102"/>
                  <a:pt x="1337" y="102"/>
                </a:cubicBezTo>
                <a:cubicBezTo>
                  <a:pt x="1339" y="102"/>
                  <a:pt x="1339" y="102"/>
                  <a:pt x="1339" y="102"/>
                </a:cubicBezTo>
                <a:cubicBezTo>
                  <a:pt x="1340" y="103"/>
                  <a:pt x="1340" y="103"/>
                  <a:pt x="1340" y="103"/>
                </a:cubicBezTo>
                <a:cubicBezTo>
                  <a:pt x="1340" y="102"/>
                  <a:pt x="1340" y="102"/>
                  <a:pt x="1340" y="102"/>
                </a:cubicBezTo>
                <a:cubicBezTo>
                  <a:pt x="1339" y="100"/>
                  <a:pt x="1339" y="100"/>
                  <a:pt x="1339" y="100"/>
                </a:cubicBezTo>
                <a:cubicBezTo>
                  <a:pt x="1334" y="98"/>
                  <a:pt x="1334" y="98"/>
                  <a:pt x="1334" y="98"/>
                </a:cubicBezTo>
                <a:cubicBezTo>
                  <a:pt x="1333" y="95"/>
                  <a:pt x="1333" y="95"/>
                  <a:pt x="1333" y="95"/>
                </a:cubicBezTo>
                <a:cubicBezTo>
                  <a:pt x="1332" y="95"/>
                  <a:pt x="1332" y="95"/>
                  <a:pt x="1332" y="95"/>
                </a:cubicBezTo>
                <a:cubicBezTo>
                  <a:pt x="1330" y="95"/>
                  <a:pt x="1330" y="95"/>
                  <a:pt x="1330" y="95"/>
                </a:cubicBezTo>
                <a:cubicBezTo>
                  <a:pt x="1328" y="93"/>
                  <a:pt x="1328" y="93"/>
                  <a:pt x="1328" y="93"/>
                </a:cubicBezTo>
                <a:cubicBezTo>
                  <a:pt x="1326" y="93"/>
                  <a:pt x="1326" y="93"/>
                  <a:pt x="1326" y="93"/>
                </a:cubicBezTo>
                <a:cubicBezTo>
                  <a:pt x="1325" y="93"/>
                  <a:pt x="1325" y="93"/>
                  <a:pt x="1325" y="93"/>
                </a:cubicBezTo>
                <a:cubicBezTo>
                  <a:pt x="1323" y="92"/>
                  <a:pt x="1323" y="92"/>
                  <a:pt x="1323" y="92"/>
                </a:cubicBezTo>
                <a:cubicBezTo>
                  <a:pt x="1322" y="93"/>
                  <a:pt x="1322" y="93"/>
                  <a:pt x="1322" y="93"/>
                </a:cubicBezTo>
                <a:cubicBezTo>
                  <a:pt x="1322" y="94"/>
                  <a:pt x="1322" y="94"/>
                  <a:pt x="1322" y="94"/>
                </a:cubicBezTo>
                <a:cubicBezTo>
                  <a:pt x="1323" y="95"/>
                  <a:pt x="1323" y="95"/>
                  <a:pt x="1323" y="95"/>
                </a:cubicBezTo>
                <a:cubicBezTo>
                  <a:pt x="1322" y="97"/>
                  <a:pt x="1322" y="97"/>
                  <a:pt x="1322" y="97"/>
                </a:cubicBezTo>
                <a:cubicBezTo>
                  <a:pt x="1324" y="99"/>
                  <a:pt x="1324" y="99"/>
                  <a:pt x="1324" y="99"/>
                </a:cubicBezTo>
                <a:cubicBezTo>
                  <a:pt x="1325" y="101"/>
                  <a:pt x="1325" y="101"/>
                  <a:pt x="1325" y="101"/>
                </a:cubicBezTo>
                <a:cubicBezTo>
                  <a:pt x="1327" y="102"/>
                  <a:pt x="1327" y="102"/>
                  <a:pt x="1327" y="102"/>
                </a:cubicBezTo>
                <a:cubicBezTo>
                  <a:pt x="1330" y="104"/>
                  <a:pt x="1330" y="104"/>
                  <a:pt x="1330" y="104"/>
                </a:cubicBezTo>
                <a:cubicBezTo>
                  <a:pt x="1331" y="106"/>
                  <a:pt x="1331" y="106"/>
                  <a:pt x="1331" y="106"/>
                </a:cubicBezTo>
                <a:cubicBezTo>
                  <a:pt x="1333" y="107"/>
                  <a:pt x="1333" y="107"/>
                  <a:pt x="1333" y="107"/>
                </a:cubicBezTo>
                <a:cubicBezTo>
                  <a:pt x="1334" y="107"/>
                  <a:pt x="1334" y="107"/>
                  <a:pt x="1334" y="107"/>
                </a:cubicBezTo>
                <a:cubicBezTo>
                  <a:pt x="1335" y="108"/>
                  <a:pt x="1335" y="108"/>
                  <a:pt x="1335" y="108"/>
                </a:cubicBezTo>
                <a:cubicBezTo>
                  <a:pt x="1337" y="109"/>
                  <a:pt x="1337" y="109"/>
                  <a:pt x="1337" y="109"/>
                </a:cubicBezTo>
                <a:cubicBezTo>
                  <a:pt x="1337" y="108"/>
                  <a:pt x="1337" y="108"/>
                  <a:pt x="1337" y="108"/>
                </a:cubicBezTo>
                <a:cubicBezTo>
                  <a:pt x="1337" y="107"/>
                  <a:pt x="1337" y="107"/>
                  <a:pt x="1337" y="107"/>
                </a:cubicBezTo>
                <a:cubicBezTo>
                  <a:pt x="1338" y="106"/>
                  <a:pt x="1338" y="106"/>
                  <a:pt x="1338" y="106"/>
                </a:cubicBezTo>
                <a:cubicBezTo>
                  <a:pt x="1337" y="104"/>
                  <a:pt x="1337" y="104"/>
                  <a:pt x="1337" y="104"/>
                </a:cubicBezTo>
                <a:cubicBezTo>
                  <a:pt x="1335" y="103"/>
                  <a:pt x="1335" y="103"/>
                  <a:pt x="1335" y="103"/>
                </a:cubicBezTo>
                <a:cubicBezTo>
                  <a:pt x="1334" y="103"/>
                  <a:pt x="1334" y="103"/>
                  <a:pt x="1334" y="103"/>
                </a:cubicBezTo>
                <a:cubicBezTo>
                  <a:pt x="1333" y="102"/>
                  <a:pt x="1333" y="102"/>
                  <a:pt x="1333" y="102"/>
                </a:cubicBezTo>
                <a:cubicBezTo>
                  <a:pt x="1333" y="101"/>
                  <a:pt x="1333" y="101"/>
                  <a:pt x="1333" y="101"/>
                </a:cubicBezTo>
                <a:lnTo>
                  <a:pt x="1334" y="100"/>
                </a:lnTo>
                <a:close/>
                <a:moveTo>
                  <a:pt x="1197" y="225"/>
                </a:moveTo>
                <a:cubicBezTo>
                  <a:pt x="1196" y="224"/>
                  <a:pt x="1196" y="224"/>
                  <a:pt x="1196" y="224"/>
                </a:cubicBezTo>
                <a:cubicBezTo>
                  <a:pt x="1195" y="224"/>
                  <a:pt x="1195" y="224"/>
                  <a:pt x="1195" y="224"/>
                </a:cubicBezTo>
                <a:cubicBezTo>
                  <a:pt x="1194" y="226"/>
                  <a:pt x="1194" y="226"/>
                  <a:pt x="1194" y="226"/>
                </a:cubicBezTo>
                <a:cubicBezTo>
                  <a:pt x="1194" y="227"/>
                  <a:pt x="1194" y="227"/>
                  <a:pt x="1194" y="227"/>
                </a:cubicBezTo>
                <a:cubicBezTo>
                  <a:pt x="1193" y="228"/>
                  <a:pt x="1193" y="228"/>
                  <a:pt x="1193" y="228"/>
                </a:cubicBezTo>
                <a:cubicBezTo>
                  <a:pt x="1195" y="229"/>
                  <a:pt x="1195" y="229"/>
                  <a:pt x="1195" y="229"/>
                </a:cubicBezTo>
                <a:cubicBezTo>
                  <a:pt x="1195" y="230"/>
                  <a:pt x="1195" y="230"/>
                  <a:pt x="1195" y="230"/>
                </a:cubicBezTo>
                <a:cubicBezTo>
                  <a:pt x="1196" y="230"/>
                  <a:pt x="1196" y="230"/>
                  <a:pt x="1196" y="230"/>
                </a:cubicBezTo>
                <a:cubicBezTo>
                  <a:pt x="1197" y="229"/>
                  <a:pt x="1197" y="229"/>
                  <a:pt x="1197" y="229"/>
                </a:cubicBezTo>
                <a:cubicBezTo>
                  <a:pt x="1199" y="229"/>
                  <a:pt x="1199" y="229"/>
                  <a:pt x="1199" y="229"/>
                </a:cubicBezTo>
                <a:cubicBezTo>
                  <a:pt x="1199" y="228"/>
                  <a:pt x="1199" y="228"/>
                  <a:pt x="1199" y="228"/>
                </a:cubicBezTo>
                <a:cubicBezTo>
                  <a:pt x="1198" y="226"/>
                  <a:pt x="1198" y="226"/>
                  <a:pt x="1198" y="226"/>
                </a:cubicBezTo>
                <a:lnTo>
                  <a:pt x="1197" y="225"/>
                </a:lnTo>
                <a:close/>
                <a:moveTo>
                  <a:pt x="1170" y="243"/>
                </a:moveTo>
                <a:cubicBezTo>
                  <a:pt x="1169" y="242"/>
                  <a:pt x="1169" y="242"/>
                  <a:pt x="1169" y="242"/>
                </a:cubicBezTo>
                <a:cubicBezTo>
                  <a:pt x="1169" y="240"/>
                  <a:pt x="1169" y="240"/>
                  <a:pt x="1169" y="240"/>
                </a:cubicBezTo>
                <a:cubicBezTo>
                  <a:pt x="1168" y="239"/>
                  <a:pt x="1168" y="239"/>
                  <a:pt x="1168" y="239"/>
                </a:cubicBezTo>
                <a:cubicBezTo>
                  <a:pt x="1167" y="240"/>
                  <a:pt x="1167" y="240"/>
                  <a:pt x="1167" y="240"/>
                </a:cubicBezTo>
                <a:cubicBezTo>
                  <a:pt x="1168" y="241"/>
                  <a:pt x="1168" y="241"/>
                  <a:pt x="1168" y="241"/>
                </a:cubicBezTo>
                <a:cubicBezTo>
                  <a:pt x="1169" y="243"/>
                  <a:pt x="1169" y="243"/>
                  <a:pt x="1169" y="243"/>
                </a:cubicBezTo>
                <a:cubicBezTo>
                  <a:pt x="1168" y="245"/>
                  <a:pt x="1168" y="245"/>
                  <a:pt x="1168" y="245"/>
                </a:cubicBezTo>
                <a:cubicBezTo>
                  <a:pt x="1169" y="247"/>
                  <a:pt x="1169" y="247"/>
                  <a:pt x="1169" y="247"/>
                </a:cubicBezTo>
                <a:cubicBezTo>
                  <a:pt x="1170" y="247"/>
                  <a:pt x="1170" y="247"/>
                  <a:pt x="1170" y="247"/>
                </a:cubicBezTo>
                <a:cubicBezTo>
                  <a:pt x="1170" y="245"/>
                  <a:pt x="1170" y="245"/>
                  <a:pt x="1170" y="245"/>
                </a:cubicBezTo>
                <a:lnTo>
                  <a:pt x="1170" y="243"/>
                </a:lnTo>
                <a:close/>
                <a:moveTo>
                  <a:pt x="335" y="399"/>
                </a:moveTo>
                <a:cubicBezTo>
                  <a:pt x="333" y="398"/>
                  <a:pt x="333" y="398"/>
                  <a:pt x="333" y="398"/>
                </a:cubicBezTo>
                <a:cubicBezTo>
                  <a:pt x="333" y="398"/>
                  <a:pt x="333" y="398"/>
                  <a:pt x="333" y="398"/>
                </a:cubicBezTo>
                <a:cubicBezTo>
                  <a:pt x="332" y="399"/>
                  <a:pt x="332" y="399"/>
                  <a:pt x="332" y="399"/>
                </a:cubicBezTo>
                <a:cubicBezTo>
                  <a:pt x="331" y="400"/>
                  <a:pt x="331" y="400"/>
                  <a:pt x="331" y="400"/>
                </a:cubicBezTo>
                <a:cubicBezTo>
                  <a:pt x="333" y="400"/>
                  <a:pt x="333" y="400"/>
                  <a:pt x="333" y="400"/>
                </a:cubicBezTo>
                <a:lnTo>
                  <a:pt x="335" y="399"/>
                </a:lnTo>
                <a:close/>
                <a:moveTo>
                  <a:pt x="151" y="217"/>
                </a:moveTo>
                <a:cubicBezTo>
                  <a:pt x="151" y="216"/>
                  <a:pt x="151" y="216"/>
                  <a:pt x="151" y="216"/>
                </a:cubicBezTo>
                <a:cubicBezTo>
                  <a:pt x="152" y="215"/>
                  <a:pt x="152" y="215"/>
                  <a:pt x="152" y="215"/>
                </a:cubicBezTo>
                <a:cubicBezTo>
                  <a:pt x="152" y="213"/>
                  <a:pt x="152" y="213"/>
                  <a:pt x="152" y="213"/>
                </a:cubicBezTo>
                <a:cubicBezTo>
                  <a:pt x="150" y="214"/>
                  <a:pt x="150" y="214"/>
                  <a:pt x="150" y="214"/>
                </a:cubicBezTo>
                <a:cubicBezTo>
                  <a:pt x="150" y="215"/>
                  <a:pt x="150" y="215"/>
                  <a:pt x="150" y="215"/>
                </a:cubicBezTo>
                <a:cubicBezTo>
                  <a:pt x="149" y="215"/>
                  <a:pt x="149" y="215"/>
                  <a:pt x="149" y="215"/>
                </a:cubicBezTo>
                <a:cubicBezTo>
                  <a:pt x="149" y="213"/>
                  <a:pt x="149" y="213"/>
                  <a:pt x="149" y="213"/>
                </a:cubicBezTo>
                <a:cubicBezTo>
                  <a:pt x="148" y="212"/>
                  <a:pt x="148" y="212"/>
                  <a:pt x="148" y="212"/>
                </a:cubicBezTo>
                <a:cubicBezTo>
                  <a:pt x="146" y="213"/>
                  <a:pt x="146" y="213"/>
                  <a:pt x="146" y="213"/>
                </a:cubicBezTo>
                <a:cubicBezTo>
                  <a:pt x="146" y="214"/>
                  <a:pt x="146" y="214"/>
                  <a:pt x="146" y="214"/>
                </a:cubicBezTo>
                <a:cubicBezTo>
                  <a:pt x="146" y="215"/>
                  <a:pt x="146" y="215"/>
                  <a:pt x="146" y="215"/>
                </a:cubicBezTo>
                <a:cubicBezTo>
                  <a:pt x="145" y="217"/>
                  <a:pt x="145" y="217"/>
                  <a:pt x="145" y="217"/>
                </a:cubicBezTo>
                <a:cubicBezTo>
                  <a:pt x="144" y="216"/>
                  <a:pt x="144" y="216"/>
                  <a:pt x="144" y="216"/>
                </a:cubicBezTo>
                <a:cubicBezTo>
                  <a:pt x="143" y="217"/>
                  <a:pt x="143" y="217"/>
                  <a:pt x="143" y="217"/>
                </a:cubicBezTo>
                <a:cubicBezTo>
                  <a:pt x="142" y="217"/>
                  <a:pt x="142" y="217"/>
                  <a:pt x="142" y="217"/>
                </a:cubicBezTo>
                <a:cubicBezTo>
                  <a:pt x="141" y="218"/>
                  <a:pt x="141" y="218"/>
                  <a:pt x="141" y="218"/>
                </a:cubicBezTo>
                <a:cubicBezTo>
                  <a:pt x="141" y="218"/>
                  <a:pt x="141" y="218"/>
                  <a:pt x="141" y="218"/>
                </a:cubicBezTo>
                <a:cubicBezTo>
                  <a:pt x="144" y="221"/>
                  <a:pt x="144" y="221"/>
                  <a:pt x="144" y="221"/>
                </a:cubicBezTo>
                <a:cubicBezTo>
                  <a:pt x="145" y="221"/>
                  <a:pt x="145" y="221"/>
                  <a:pt x="145" y="221"/>
                </a:cubicBezTo>
                <a:cubicBezTo>
                  <a:pt x="147" y="219"/>
                  <a:pt x="147" y="219"/>
                  <a:pt x="147" y="219"/>
                </a:cubicBezTo>
                <a:cubicBezTo>
                  <a:pt x="147" y="220"/>
                  <a:pt x="147" y="220"/>
                  <a:pt x="147" y="220"/>
                </a:cubicBezTo>
                <a:cubicBezTo>
                  <a:pt x="148" y="220"/>
                  <a:pt x="148" y="220"/>
                  <a:pt x="148" y="220"/>
                </a:cubicBezTo>
                <a:cubicBezTo>
                  <a:pt x="150" y="219"/>
                  <a:pt x="150" y="219"/>
                  <a:pt x="150" y="219"/>
                </a:cubicBezTo>
                <a:cubicBezTo>
                  <a:pt x="151" y="219"/>
                  <a:pt x="151" y="219"/>
                  <a:pt x="151" y="219"/>
                </a:cubicBezTo>
                <a:cubicBezTo>
                  <a:pt x="153" y="219"/>
                  <a:pt x="153" y="219"/>
                  <a:pt x="153" y="219"/>
                </a:cubicBezTo>
                <a:cubicBezTo>
                  <a:pt x="152" y="218"/>
                  <a:pt x="152" y="218"/>
                  <a:pt x="152" y="218"/>
                </a:cubicBezTo>
                <a:lnTo>
                  <a:pt x="151" y="217"/>
                </a:lnTo>
                <a:close/>
                <a:moveTo>
                  <a:pt x="212" y="174"/>
                </a:moveTo>
                <a:cubicBezTo>
                  <a:pt x="211" y="176"/>
                  <a:pt x="211" y="176"/>
                  <a:pt x="211" y="176"/>
                </a:cubicBezTo>
                <a:cubicBezTo>
                  <a:pt x="213" y="178"/>
                  <a:pt x="213" y="178"/>
                  <a:pt x="213" y="178"/>
                </a:cubicBezTo>
                <a:cubicBezTo>
                  <a:pt x="214" y="177"/>
                  <a:pt x="214" y="177"/>
                  <a:pt x="214" y="177"/>
                </a:cubicBezTo>
                <a:cubicBezTo>
                  <a:pt x="213" y="176"/>
                  <a:pt x="213" y="176"/>
                  <a:pt x="213" y="176"/>
                </a:cubicBezTo>
                <a:cubicBezTo>
                  <a:pt x="214" y="175"/>
                  <a:pt x="214" y="175"/>
                  <a:pt x="214" y="175"/>
                </a:cubicBezTo>
                <a:lnTo>
                  <a:pt x="212" y="174"/>
                </a:lnTo>
                <a:close/>
                <a:moveTo>
                  <a:pt x="206" y="193"/>
                </a:moveTo>
                <a:cubicBezTo>
                  <a:pt x="206" y="191"/>
                  <a:pt x="206" y="191"/>
                  <a:pt x="206" y="191"/>
                </a:cubicBezTo>
                <a:cubicBezTo>
                  <a:pt x="203" y="194"/>
                  <a:pt x="203" y="194"/>
                  <a:pt x="203" y="194"/>
                </a:cubicBezTo>
                <a:cubicBezTo>
                  <a:pt x="203" y="194"/>
                  <a:pt x="204" y="194"/>
                  <a:pt x="204" y="194"/>
                </a:cubicBezTo>
                <a:lnTo>
                  <a:pt x="206" y="193"/>
                </a:lnTo>
                <a:close/>
                <a:moveTo>
                  <a:pt x="208" y="189"/>
                </a:moveTo>
                <a:cubicBezTo>
                  <a:pt x="209" y="190"/>
                  <a:pt x="209" y="190"/>
                  <a:pt x="209" y="190"/>
                </a:cubicBezTo>
                <a:cubicBezTo>
                  <a:pt x="210" y="190"/>
                  <a:pt x="210" y="190"/>
                  <a:pt x="210" y="190"/>
                </a:cubicBezTo>
                <a:cubicBezTo>
                  <a:pt x="210" y="189"/>
                  <a:pt x="210" y="189"/>
                  <a:pt x="210" y="189"/>
                </a:cubicBezTo>
                <a:cubicBezTo>
                  <a:pt x="212" y="187"/>
                  <a:pt x="212" y="187"/>
                  <a:pt x="212" y="187"/>
                </a:cubicBezTo>
                <a:cubicBezTo>
                  <a:pt x="213" y="186"/>
                  <a:pt x="213" y="186"/>
                  <a:pt x="213" y="186"/>
                </a:cubicBezTo>
                <a:cubicBezTo>
                  <a:pt x="214" y="184"/>
                  <a:pt x="214" y="184"/>
                  <a:pt x="214" y="184"/>
                </a:cubicBezTo>
                <a:cubicBezTo>
                  <a:pt x="214" y="183"/>
                  <a:pt x="214" y="183"/>
                  <a:pt x="214" y="183"/>
                </a:cubicBezTo>
                <a:cubicBezTo>
                  <a:pt x="212" y="183"/>
                  <a:pt x="212" y="183"/>
                  <a:pt x="212" y="183"/>
                </a:cubicBezTo>
                <a:cubicBezTo>
                  <a:pt x="211" y="185"/>
                  <a:pt x="211" y="185"/>
                  <a:pt x="211" y="185"/>
                </a:cubicBezTo>
                <a:cubicBezTo>
                  <a:pt x="211" y="186"/>
                  <a:pt x="211" y="186"/>
                  <a:pt x="211" y="186"/>
                </a:cubicBezTo>
                <a:lnTo>
                  <a:pt x="208" y="189"/>
                </a:lnTo>
                <a:close/>
                <a:moveTo>
                  <a:pt x="211" y="207"/>
                </a:moveTo>
                <a:cubicBezTo>
                  <a:pt x="214" y="207"/>
                  <a:pt x="214" y="207"/>
                  <a:pt x="214" y="207"/>
                </a:cubicBezTo>
                <a:cubicBezTo>
                  <a:pt x="213" y="206"/>
                  <a:pt x="213" y="206"/>
                  <a:pt x="213" y="206"/>
                </a:cubicBezTo>
                <a:lnTo>
                  <a:pt x="211" y="207"/>
                </a:lnTo>
                <a:close/>
                <a:moveTo>
                  <a:pt x="152" y="210"/>
                </a:moveTo>
                <a:cubicBezTo>
                  <a:pt x="152" y="209"/>
                  <a:pt x="152" y="209"/>
                  <a:pt x="152" y="209"/>
                </a:cubicBezTo>
                <a:cubicBezTo>
                  <a:pt x="150" y="208"/>
                  <a:pt x="150" y="208"/>
                  <a:pt x="150" y="208"/>
                </a:cubicBezTo>
                <a:cubicBezTo>
                  <a:pt x="150" y="209"/>
                  <a:pt x="150" y="209"/>
                  <a:pt x="150" y="209"/>
                </a:cubicBezTo>
                <a:cubicBezTo>
                  <a:pt x="149" y="210"/>
                  <a:pt x="149" y="210"/>
                  <a:pt x="149" y="210"/>
                </a:cubicBezTo>
                <a:cubicBezTo>
                  <a:pt x="150" y="211"/>
                  <a:pt x="150" y="211"/>
                  <a:pt x="150" y="211"/>
                </a:cubicBezTo>
                <a:lnTo>
                  <a:pt x="152" y="210"/>
                </a:lnTo>
                <a:close/>
                <a:moveTo>
                  <a:pt x="217" y="180"/>
                </a:moveTo>
                <a:cubicBezTo>
                  <a:pt x="217" y="181"/>
                  <a:pt x="217" y="181"/>
                  <a:pt x="217" y="181"/>
                </a:cubicBezTo>
                <a:cubicBezTo>
                  <a:pt x="219" y="181"/>
                  <a:pt x="219" y="181"/>
                  <a:pt x="219" y="181"/>
                </a:cubicBezTo>
                <a:cubicBezTo>
                  <a:pt x="219" y="180"/>
                  <a:pt x="219" y="180"/>
                  <a:pt x="219" y="180"/>
                </a:cubicBezTo>
                <a:lnTo>
                  <a:pt x="217" y="180"/>
                </a:lnTo>
                <a:close/>
                <a:moveTo>
                  <a:pt x="150" y="191"/>
                </a:moveTo>
                <a:cubicBezTo>
                  <a:pt x="151" y="192"/>
                  <a:pt x="151" y="192"/>
                  <a:pt x="151" y="192"/>
                </a:cubicBezTo>
                <a:cubicBezTo>
                  <a:pt x="153" y="192"/>
                  <a:pt x="153" y="192"/>
                  <a:pt x="153" y="192"/>
                </a:cubicBezTo>
                <a:cubicBezTo>
                  <a:pt x="151" y="191"/>
                  <a:pt x="151" y="191"/>
                  <a:pt x="151" y="191"/>
                </a:cubicBezTo>
                <a:lnTo>
                  <a:pt x="150" y="191"/>
                </a:lnTo>
                <a:close/>
                <a:moveTo>
                  <a:pt x="217" y="188"/>
                </a:moveTo>
                <a:cubicBezTo>
                  <a:pt x="216" y="187"/>
                  <a:pt x="216" y="187"/>
                  <a:pt x="216" y="187"/>
                </a:cubicBezTo>
                <a:cubicBezTo>
                  <a:pt x="214" y="189"/>
                  <a:pt x="214" y="189"/>
                  <a:pt x="214" y="189"/>
                </a:cubicBezTo>
                <a:cubicBezTo>
                  <a:pt x="214" y="190"/>
                  <a:pt x="214" y="190"/>
                  <a:pt x="214" y="190"/>
                </a:cubicBezTo>
                <a:cubicBezTo>
                  <a:pt x="212" y="192"/>
                  <a:pt x="212" y="192"/>
                  <a:pt x="212" y="192"/>
                </a:cubicBezTo>
                <a:cubicBezTo>
                  <a:pt x="210" y="192"/>
                  <a:pt x="210" y="192"/>
                  <a:pt x="210" y="192"/>
                </a:cubicBezTo>
                <a:cubicBezTo>
                  <a:pt x="206" y="196"/>
                  <a:pt x="206" y="196"/>
                  <a:pt x="206" y="196"/>
                </a:cubicBezTo>
                <a:cubicBezTo>
                  <a:pt x="206" y="197"/>
                  <a:pt x="206" y="197"/>
                  <a:pt x="206" y="197"/>
                </a:cubicBezTo>
                <a:cubicBezTo>
                  <a:pt x="205" y="197"/>
                  <a:pt x="205" y="197"/>
                  <a:pt x="205" y="197"/>
                </a:cubicBezTo>
                <a:cubicBezTo>
                  <a:pt x="204" y="197"/>
                  <a:pt x="204" y="197"/>
                  <a:pt x="204" y="197"/>
                </a:cubicBezTo>
                <a:cubicBezTo>
                  <a:pt x="203" y="198"/>
                  <a:pt x="203" y="198"/>
                  <a:pt x="203" y="198"/>
                </a:cubicBezTo>
                <a:cubicBezTo>
                  <a:pt x="206" y="198"/>
                  <a:pt x="206" y="198"/>
                  <a:pt x="206" y="198"/>
                </a:cubicBezTo>
                <a:cubicBezTo>
                  <a:pt x="207" y="198"/>
                  <a:pt x="207" y="198"/>
                  <a:pt x="207" y="198"/>
                </a:cubicBezTo>
                <a:cubicBezTo>
                  <a:pt x="209" y="198"/>
                  <a:pt x="209" y="198"/>
                  <a:pt x="209" y="198"/>
                </a:cubicBezTo>
                <a:cubicBezTo>
                  <a:pt x="209" y="197"/>
                  <a:pt x="209" y="197"/>
                  <a:pt x="209" y="197"/>
                </a:cubicBezTo>
                <a:cubicBezTo>
                  <a:pt x="209" y="196"/>
                  <a:pt x="209" y="196"/>
                  <a:pt x="209" y="196"/>
                </a:cubicBezTo>
                <a:cubicBezTo>
                  <a:pt x="211" y="195"/>
                  <a:pt x="211" y="195"/>
                  <a:pt x="211" y="195"/>
                </a:cubicBezTo>
                <a:cubicBezTo>
                  <a:pt x="214" y="192"/>
                  <a:pt x="214" y="192"/>
                  <a:pt x="214" y="192"/>
                </a:cubicBezTo>
                <a:cubicBezTo>
                  <a:pt x="216" y="191"/>
                  <a:pt x="216" y="191"/>
                  <a:pt x="216" y="191"/>
                </a:cubicBezTo>
                <a:cubicBezTo>
                  <a:pt x="217" y="190"/>
                  <a:pt x="217" y="190"/>
                  <a:pt x="217" y="190"/>
                </a:cubicBezTo>
                <a:cubicBezTo>
                  <a:pt x="216" y="189"/>
                  <a:pt x="216" y="189"/>
                  <a:pt x="216" y="189"/>
                </a:cubicBezTo>
                <a:lnTo>
                  <a:pt x="217" y="188"/>
                </a:lnTo>
                <a:close/>
                <a:moveTo>
                  <a:pt x="296" y="249"/>
                </a:moveTo>
                <a:cubicBezTo>
                  <a:pt x="294" y="250"/>
                  <a:pt x="294" y="250"/>
                  <a:pt x="294" y="250"/>
                </a:cubicBezTo>
                <a:cubicBezTo>
                  <a:pt x="296" y="251"/>
                  <a:pt x="296" y="251"/>
                  <a:pt x="296" y="251"/>
                </a:cubicBezTo>
                <a:cubicBezTo>
                  <a:pt x="297" y="250"/>
                  <a:pt x="297" y="250"/>
                  <a:pt x="297" y="250"/>
                </a:cubicBezTo>
                <a:lnTo>
                  <a:pt x="296" y="249"/>
                </a:lnTo>
                <a:close/>
                <a:moveTo>
                  <a:pt x="222" y="188"/>
                </a:moveTo>
                <a:cubicBezTo>
                  <a:pt x="222" y="186"/>
                  <a:pt x="222" y="186"/>
                  <a:pt x="222" y="186"/>
                </a:cubicBezTo>
                <a:cubicBezTo>
                  <a:pt x="221" y="185"/>
                  <a:pt x="221" y="185"/>
                  <a:pt x="221" y="185"/>
                </a:cubicBezTo>
                <a:cubicBezTo>
                  <a:pt x="220" y="186"/>
                  <a:pt x="220" y="186"/>
                  <a:pt x="220" y="186"/>
                </a:cubicBezTo>
                <a:cubicBezTo>
                  <a:pt x="220" y="189"/>
                  <a:pt x="220" y="189"/>
                  <a:pt x="220" y="189"/>
                </a:cubicBezTo>
                <a:cubicBezTo>
                  <a:pt x="223" y="190"/>
                  <a:pt x="223" y="190"/>
                  <a:pt x="223" y="190"/>
                </a:cubicBezTo>
                <a:cubicBezTo>
                  <a:pt x="224" y="189"/>
                  <a:pt x="224" y="189"/>
                  <a:pt x="224" y="189"/>
                </a:cubicBezTo>
                <a:cubicBezTo>
                  <a:pt x="224" y="188"/>
                  <a:pt x="224" y="188"/>
                  <a:pt x="224" y="188"/>
                </a:cubicBezTo>
                <a:lnTo>
                  <a:pt x="222" y="188"/>
                </a:lnTo>
                <a:close/>
                <a:moveTo>
                  <a:pt x="307" y="251"/>
                </a:moveTo>
                <a:cubicBezTo>
                  <a:pt x="305" y="254"/>
                  <a:pt x="305" y="254"/>
                  <a:pt x="305" y="254"/>
                </a:cubicBezTo>
                <a:cubicBezTo>
                  <a:pt x="305" y="260"/>
                  <a:pt x="305" y="260"/>
                  <a:pt x="305" y="260"/>
                </a:cubicBezTo>
                <a:cubicBezTo>
                  <a:pt x="303" y="263"/>
                  <a:pt x="303" y="263"/>
                  <a:pt x="303" y="263"/>
                </a:cubicBezTo>
                <a:cubicBezTo>
                  <a:pt x="302" y="266"/>
                  <a:pt x="302" y="266"/>
                  <a:pt x="302" y="266"/>
                </a:cubicBezTo>
                <a:cubicBezTo>
                  <a:pt x="304" y="267"/>
                  <a:pt x="304" y="267"/>
                  <a:pt x="304" y="267"/>
                </a:cubicBezTo>
                <a:cubicBezTo>
                  <a:pt x="303" y="269"/>
                  <a:pt x="303" y="269"/>
                  <a:pt x="303" y="269"/>
                </a:cubicBezTo>
                <a:cubicBezTo>
                  <a:pt x="304" y="270"/>
                  <a:pt x="304" y="270"/>
                  <a:pt x="304" y="270"/>
                </a:cubicBezTo>
                <a:cubicBezTo>
                  <a:pt x="302" y="270"/>
                  <a:pt x="302" y="270"/>
                  <a:pt x="302" y="270"/>
                </a:cubicBezTo>
                <a:cubicBezTo>
                  <a:pt x="300" y="271"/>
                  <a:pt x="300" y="271"/>
                  <a:pt x="300" y="271"/>
                </a:cubicBezTo>
                <a:cubicBezTo>
                  <a:pt x="300" y="273"/>
                  <a:pt x="300" y="273"/>
                  <a:pt x="300" y="273"/>
                </a:cubicBezTo>
                <a:cubicBezTo>
                  <a:pt x="299" y="275"/>
                  <a:pt x="299" y="275"/>
                  <a:pt x="299" y="275"/>
                </a:cubicBezTo>
                <a:cubicBezTo>
                  <a:pt x="300" y="277"/>
                  <a:pt x="300" y="277"/>
                  <a:pt x="300" y="277"/>
                </a:cubicBezTo>
                <a:cubicBezTo>
                  <a:pt x="302" y="275"/>
                  <a:pt x="302" y="275"/>
                  <a:pt x="302" y="275"/>
                </a:cubicBezTo>
                <a:cubicBezTo>
                  <a:pt x="305" y="274"/>
                  <a:pt x="305" y="274"/>
                  <a:pt x="305" y="274"/>
                </a:cubicBezTo>
                <a:cubicBezTo>
                  <a:pt x="305" y="271"/>
                  <a:pt x="305" y="271"/>
                  <a:pt x="305" y="271"/>
                </a:cubicBezTo>
                <a:cubicBezTo>
                  <a:pt x="307" y="271"/>
                  <a:pt x="307" y="271"/>
                  <a:pt x="307" y="271"/>
                </a:cubicBezTo>
                <a:cubicBezTo>
                  <a:pt x="308" y="270"/>
                  <a:pt x="308" y="270"/>
                  <a:pt x="308" y="270"/>
                </a:cubicBezTo>
                <a:cubicBezTo>
                  <a:pt x="308" y="269"/>
                  <a:pt x="308" y="269"/>
                  <a:pt x="308" y="269"/>
                </a:cubicBezTo>
                <a:cubicBezTo>
                  <a:pt x="308" y="267"/>
                  <a:pt x="308" y="267"/>
                  <a:pt x="308" y="267"/>
                </a:cubicBezTo>
                <a:cubicBezTo>
                  <a:pt x="309" y="260"/>
                  <a:pt x="309" y="260"/>
                  <a:pt x="309" y="260"/>
                </a:cubicBezTo>
                <a:cubicBezTo>
                  <a:pt x="309" y="259"/>
                  <a:pt x="309" y="259"/>
                  <a:pt x="309" y="259"/>
                </a:cubicBezTo>
                <a:cubicBezTo>
                  <a:pt x="310" y="263"/>
                  <a:pt x="310" y="263"/>
                  <a:pt x="310" y="263"/>
                </a:cubicBezTo>
                <a:cubicBezTo>
                  <a:pt x="310" y="267"/>
                  <a:pt x="310" y="267"/>
                  <a:pt x="310" y="267"/>
                </a:cubicBezTo>
                <a:cubicBezTo>
                  <a:pt x="310" y="268"/>
                  <a:pt x="310" y="268"/>
                  <a:pt x="310" y="268"/>
                </a:cubicBezTo>
                <a:cubicBezTo>
                  <a:pt x="312" y="265"/>
                  <a:pt x="312" y="265"/>
                  <a:pt x="312" y="265"/>
                </a:cubicBezTo>
                <a:cubicBezTo>
                  <a:pt x="311" y="258"/>
                  <a:pt x="311" y="258"/>
                  <a:pt x="311" y="258"/>
                </a:cubicBezTo>
                <a:cubicBezTo>
                  <a:pt x="310" y="256"/>
                  <a:pt x="310" y="256"/>
                  <a:pt x="310" y="256"/>
                </a:cubicBezTo>
                <a:cubicBezTo>
                  <a:pt x="307" y="254"/>
                  <a:pt x="307" y="254"/>
                  <a:pt x="307" y="254"/>
                </a:cubicBezTo>
                <a:cubicBezTo>
                  <a:pt x="307" y="252"/>
                  <a:pt x="307" y="252"/>
                  <a:pt x="307" y="252"/>
                </a:cubicBezTo>
                <a:lnTo>
                  <a:pt x="307" y="251"/>
                </a:lnTo>
                <a:close/>
                <a:moveTo>
                  <a:pt x="290" y="257"/>
                </a:moveTo>
                <a:cubicBezTo>
                  <a:pt x="289" y="259"/>
                  <a:pt x="289" y="259"/>
                  <a:pt x="289" y="259"/>
                </a:cubicBezTo>
                <a:cubicBezTo>
                  <a:pt x="291" y="262"/>
                  <a:pt x="291" y="262"/>
                  <a:pt x="291" y="262"/>
                </a:cubicBezTo>
                <a:cubicBezTo>
                  <a:pt x="290" y="264"/>
                  <a:pt x="290" y="264"/>
                  <a:pt x="290" y="264"/>
                </a:cubicBezTo>
                <a:cubicBezTo>
                  <a:pt x="291" y="265"/>
                  <a:pt x="291" y="265"/>
                  <a:pt x="291" y="265"/>
                </a:cubicBezTo>
                <a:cubicBezTo>
                  <a:pt x="290" y="266"/>
                  <a:pt x="290" y="266"/>
                  <a:pt x="290" y="266"/>
                </a:cubicBezTo>
                <a:cubicBezTo>
                  <a:pt x="292" y="268"/>
                  <a:pt x="292" y="268"/>
                  <a:pt x="292" y="268"/>
                </a:cubicBezTo>
                <a:cubicBezTo>
                  <a:pt x="294" y="269"/>
                  <a:pt x="294" y="269"/>
                  <a:pt x="294" y="269"/>
                </a:cubicBezTo>
                <a:cubicBezTo>
                  <a:pt x="295" y="267"/>
                  <a:pt x="295" y="267"/>
                  <a:pt x="295" y="267"/>
                </a:cubicBezTo>
                <a:cubicBezTo>
                  <a:pt x="295" y="265"/>
                  <a:pt x="295" y="265"/>
                  <a:pt x="295" y="265"/>
                </a:cubicBezTo>
                <a:cubicBezTo>
                  <a:pt x="294" y="262"/>
                  <a:pt x="294" y="262"/>
                  <a:pt x="294" y="262"/>
                </a:cubicBezTo>
                <a:cubicBezTo>
                  <a:pt x="294" y="260"/>
                  <a:pt x="294" y="260"/>
                  <a:pt x="294" y="260"/>
                </a:cubicBezTo>
                <a:cubicBezTo>
                  <a:pt x="297" y="264"/>
                  <a:pt x="297" y="264"/>
                  <a:pt x="297" y="264"/>
                </a:cubicBezTo>
                <a:cubicBezTo>
                  <a:pt x="297" y="266"/>
                  <a:pt x="297" y="266"/>
                  <a:pt x="297" y="266"/>
                </a:cubicBezTo>
                <a:cubicBezTo>
                  <a:pt x="299" y="268"/>
                  <a:pt x="299" y="268"/>
                  <a:pt x="299" y="268"/>
                </a:cubicBezTo>
                <a:cubicBezTo>
                  <a:pt x="300" y="268"/>
                  <a:pt x="300" y="268"/>
                  <a:pt x="300" y="268"/>
                </a:cubicBezTo>
                <a:cubicBezTo>
                  <a:pt x="300" y="265"/>
                  <a:pt x="300" y="265"/>
                  <a:pt x="300" y="265"/>
                </a:cubicBezTo>
                <a:cubicBezTo>
                  <a:pt x="301" y="264"/>
                  <a:pt x="301" y="264"/>
                  <a:pt x="301" y="264"/>
                </a:cubicBezTo>
                <a:cubicBezTo>
                  <a:pt x="300" y="263"/>
                  <a:pt x="300" y="263"/>
                  <a:pt x="300" y="263"/>
                </a:cubicBezTo>
                <a:cubicBezTo>
                  <a:pt x="298" y="263"/>
                  <a:pt x="298" y="263"/>
                  <a:pt x="298" y="263"/>
                </a:cubicBezTo>
                <a:cubicBezTo>
                  <a:pt x="298" y="261"/>
                  <a:pt x="298" y="261"/>
                  <a:pt x="298" y="261"/>
                </a:cubicBezTo>
                <a:cubicBezTo>
                  <a:pt x="295" y="257"/>
                  <a:pt x="295" y="257"/>
                  <a:pt x="295" y="257"/>
                </a:cubicBezTo>
                <a:cubicBezTo>
                  <a:pt x="295" y="256"/>
                  <a:pt x="295" y="256"/>
                  <a:pt x="295" y="256"/>
                </a:cubicBezTo>
                <a:cubicBezTo>
                  <a:pt x="298" y="259"/>
                  <a:pt x="298" y="259"/>
                  <a:pt x="298" y="259"/>
                </a:cubicBezTo>
                <a:cubicBezTo>
                  <a:pt x="299" y="261"/>
                  <a:pt x="299" y="261"/>
                  <a:pt x="299" y="261"/>
                </a:cubicBezTo>
                <a:cubicBezTo>
                  <a:pt x="301" y="261"/>
                  <a:pt x="301" y="261"/>
                  <a:pt x="301" y="261"/>
                </a:cubicBezTo>
                <a:cubicBezTo>
                  <a:pt x="302" y="260"/>
                  <a:pt x="302" y="260"/>
                  <a:pt x="302" y="260"/>
                </a:cubicBezTo>
                <a:cubicBezTo>
                  <a:pt x="301" y="259"/>
                  <a:pt x="301" y="259"/>
                  <a:pt x="301" y="259"/>
                </a:cubicBezTo>
                <a:cubicBezTo>
                  <a:pt x="303" y="258"/>
                  <a:pt x="303" y="258"/>
                  <a:pt x="303" y="258"/>
                </a:cubicBezTo>
                <a:cubicBezTo>
                  <a:pt x="303" y="257"/>
                  <a:pt x="303" y="257"/>
                  <a:pt x="303" y="257"/>
                </a:cubicBezTo>
                <a:cubicBezTo>
                  <a:pt x="301" y="255"/>
                  <a:pt x="301" y="255"/>
                  <a:pt x="301" y="255"/>
                </a:cubicBezTo>
                <a:cubicBezTo>
                  <a:pt x="299" y="256"/>
                  <a:pt x="299" y="256"/>
                  <a:pt x="299" y="256"/>
                </a:cubicBezTo>
                <a:cubicBezTo>
                  <a:pt x="298" y="257"/>
                  <a:pt x="298" y="257"/>
                  <a:pt x="298" y="257"/>
                </a:cubicBezTo>
                <a:cubicBezTo>
                  <a:pt x="298" y="256"/>
                  <a:pt x="298" y="256"/>
                  <a:pt x="298" y="256"/>
                </a:cubicBezTo>
                <a:cubicBezTo>
                  <a:pt x="299" y="254"/>
                  <a:pt x="299" y="254"/>
                  <a:pt x="299" y="254"/>
                </a:cubicBezTo>
                <a:cubicBezTo>
                  <a:pt x="299" y="253"/>
                  <a:pt x="299" y="253"/>
                  <a:pt x="299" y="253"/>
                </a:cubicBezTo>
                <a:cubicBezTo>
                  <a:pt x="297" y="252"/>
                  <a:pt x="297" y="252"/>
                  <a:pt x="297" y="252"/>
                </a:cubicBezTo>
                <a:cubicBezTo>
                  <a:pt x="294" y="252"/>
                  <a:pt x="294" y="252"/>
                  <a:pt x="294" y="252"/>
                </a:cubicBezTo>
                <a:cubicBezTo>
                  <a:pt x="294" y="253"/>
                  <a:pt x="294" y="253"/>
                  <a:pt x="294" y="253"/>
                </a:cubicBezTo>
                <a:cubicBezTo>
                  <a:pt x="293" y="254"/>
                  <a:pt x="293" y="254"/>
                  <a:pt x="293" y="254"/>
                </a:cubicBezTo>
                <a:cubicBezTo>
                  <a:pt x="292" y="252"/>
                  <a:pt x="292" y="252"/>
                  <a:pt x="292" y="252"/>
                </a:cubicBezTo>
                <a:cubicBezTo>
                  <a:pt x="291" y="254"/>
                  <a:pt x="291" y="254"/>
                  <a:pt x="291" y="254"/>
                </a:cubicBezTo>
                <a:cubicBezTo>
                  <a:pt x="291" y="256"/>
                  <a:pt x="291" y="256"/>
                  <a:pt x="291" y="256"/>
                </a:cubicBezTo>
                <a:cubicBezTo>
                  <a:pt x="292" y="257"/>
                  <a:pt x="292" y="257"/>
                  <a:pt x="292" y="257"/>
                </a:cubicBezTo>
                <a:cubicBezTo>
                  <a:pt x="291" y="258"/>
                  <a:pt x="291" y="258"/>
                  <a:pt x="291" y="258"/>
                </a:cubicBezTo>
                <a:lnTo>
                  <a:pt x="290" y="257"/>
                </a:lnTo>
                <a:close/>
                <a:moveTo>
                  <a:pt x="289" y="275"/>
                </a:moveTo>
                <a:cubicBezTo>
                  <a:pt x="291" y="275"/>
                  <a:pt x="291" y="275"/>
                  <a:pt x="291" y="275"/>
                </a:cubicBezTo>
                <a:cubicBezTo>
                  <a:pt x="291" y="272"/>
                  <a:pt x="291" y="272"/>
                  <a:pt x="291" y="272"/>
                </a:cubicBezTo>
                <a:cubicBezTo>
                  <a:pt x="291" y="271"/>
                  <a:pt x="291" y="271"/>
                  <a:pt x="291" y="271"/>
                </a:cubicBezTo>
                <a:cubicBezTo>
                  <a:pt x="291" y="270"/>
                  <a:pt x="291" y="270"/>
                  <a:pt x="291" y="270"/>
                </a:cubicBezTo>
                <a:cubicBezTo>
                  <a:pt x="289" y="271"/>
                  <a:pt x="289" y="271"/>
                  <a:pt x="289" y="271"/>
                </a:cubicBezTo>
                <a:cubicBezTo>
                  <a:pt x="289" y="272"/>
                  <a:pt x="289" y="272"/>
                  <a:pt x="289" y="272"/>
                </a:cubicBezTo>
                <a:cubicBezTo>
                  <a:pt x="290" y="273"/>
                  <a:pt x="290" y="273"/>
                  <a:pt x="290" y="273"/>
                </a:cubicBezTo>
                <a:cubicBezTo>
                  <a:pt x="288" y="274"/>
                  <a:pt x="288" y="274"/>
                  <a:pt x="288" y="274"/>
                </a:cubicBezTo>
                <a:lnTo>
                  <a:pt x="289" y="275"/>
                </a:lnTo>
                <a:close/>
                <a:moveTo>
                  <a:pt x="223" y="177"/>
                </a:moveTo>
                <a:cubicBezTo>
                  <a:pt x="222" y="176"/>
                  <a:pt x="222" y="176"/>
                  <a:pt x="222" y="176"/>
                </a:cubicBezTo>
                <a:cubicBezTo>
                  <a:pt x="221" y="177"/>
                  <a:pt x="221" y="177"/>
                  <a:pt x="221" y="177"/>
                </a:cubicBezTo>
                <a:cubicBezTo>
                  <a:pt x="222" y="178"/>
                  <a:pt x="222" y="178"/>
                  <a:pt x="222" y="178"/>
                </a:cubicBezTo>
                <a:lnTo>
                  <a:pt x="223" y="177"/>
                </a:lnTo>
                <a:close/>
                <a:moveTo>
                  <a:pt x="233" y="202"/>
                </a:moveTo>
                <a:cubicBezTo>
                  <a:pt x="233" y="204"/>
                  <a:pt x="233" y="204"/>
                  <a:pt x="233" y="204"/>
                </a:cubicBezTo>
                <a:cubicBezTo>
                  <a:pt x="235" y="203"/>
                  <a:pt x="235" y="203"/>
                  <a:pt x="235" y="203"/>
                </a:cubicBezTo>
                <a:cubicBezTo>
                  <a:pt x="237" y="201"/>
                  <a:pt x="237" y="201"/>
                  <a:pt x="237" y="201"/>
                </a:cubicBezTo>
                <a:cubicBezTo>
                  <a:pt x="236" y="201"/>
                  <a:pt x="236" y="201"/>
                  <a:pt x="236" y="201"/>
                </a:cubicBezTo>
                <a:lnTo>
                  <a:pt x="233" y="202"/>
                </a:lnTo>
                <a:close/>
                <a:moveTo>
                  <a:pt x="89" y="243"/>
                </a:moveTo>
                <a:cubicBezTo>
                  <a:pt x="91" y="245"/>
                  <a:pt x="91" y="245"/>
                  <a:pt x="91" y="245"/>
                </a:cubicBezTo>
                <a:cubicBezTo>
                  <a:pt x="92" y="244"/>
                  <a:pt x="92" y="244"/>
                  <a:pt x="92" y="244"/>
                </a:cubicBezTo>
                <a:cubicBezTo>
                  <a:pt x="91" y="243"/>
                  <a:pt x="91" y="243"/>
                  <a:pt x="91" y="243"/>
                </a:cubicBezTo>
                <a:lnTo>
                  <a:pt x="89" y="243"/>
                </a:lnTo>
                <a:close/>
                <a:moveTo>
                  <a:pt x="34" y="263"/>
                </a:moveTo>
                <a:cubicBezTo>
                  <a:pt x="35" y="265"/>
                  <a:pt x="35" y="265"/>
                  <a:pt x="35" y="265"/>
                </a:cubicBezTo>
                <a:cubicBezTo>
                  <a:pt x="36" y="264"/>
                  <a:pt x="36" y="264"/>
                  <a:pt x="36" y="264"/>
                </a:cubicBezTo>
                <a:cubicBezTo>
                  <a:pt x="35" y="263"/>
                  <a:pt x="35" y="263"/>
                  <a:pt x="35" y="263"/>
                </a:cubicBezTo>
                <a:lnTo>
                  <a:pt x="34" y="263"/>
                </a:lnTo>
                <a:close/>
                <a:moveTo>
                  <a:pt x="44" y="261"/>
                </a:moveTo>
                <a:cubicBezTo>
                  <a:pt x="43" y="263"/>
                  <a:pt x="43" y="263"/>
                  <a:pt x="43" y="263"/>
                </a:cubicBezTo>
                <a:cubicBezTo>
                  <a:pt x="44" y="265"/>
                  <a:pt x="44" y="265"/>
                  <a:pt x="44" y="265"/>
                </a:cubicBezTo>
                <a:cubicBezTo>
                  <a:pt x="45" y="265"/>
                  <a:pt x="45" y="265"/>
                  <a:pt x="45" y="265"/>
                </a:cubicBezTo>
                <a:cubicBezTo>
                  <a:pt x="46" y="263"/>
                  <a:pt x="46" y="263"/>
                  <a:pt x="46" y="263"/>
                </a:cubicBezTo>
                <a:cubicBezTo>
                  <a:pt x="46" y="262"/>
                  <a:pt x="46" y="262"/>
                  <a:pt x="46" y="262"/>
                </a:cubicBezTo>
                <a:cubicBezTo>
                  <a:pt x="45" y="261"/>
                  <a:pt x="45" y="261"/>
                  <a:pt x="45" y="261"/>
                </a:cubicBezTo>
                <a:lnTo>
                  <a:pt x="44" y="261"/>
                </a:lnTo>
                <a:close/>
                <a:moveTo>
                  <a:pt x="50" y="266"/>
                </a:moveTo>
                <a:cubicBezTo>
                  <a:pt x="48" y="268"/>
                  <a:pt x="48" y="268"/>
                  <a:pt x="48" y="268"/>
                </a:cubicBezTo>
                <a:cubicBezTo>
                  <a:pt x="47" y="271"/>
                  <a:pt x="47" y="271"/>
                  <a:pt x="47" y="271"/>
                </a:cubicBezTo>
                <a:cubicBezTo>
                  <a:pt x="48" y="269"/>
                  <a:pt x="48" y="269"/>
                  <a:pt x="48" y="269"/>
                </a:cubicBezTo>
                <a:cubicBezTo>
                  <a:pt x="51" y="268"/>
                  <a:pt x="51" y="268"/>
                  <a:pt x="51" y="268"/>
                </a:cubicBezTo>
                <a:cubicBezTo>
                  <a:pt x="51" y="267"/>
                  <a:pt x="51" y="267"/>
                  <a:pt x="51" y="267"/>
                </a:cubicBezTo>
                <a:cubicBezTo>
                  <a:pt x="53" y="265"/>
                  <a:pt x="53" y="265"/>
                  <a:pt x="53" y="265"/>
                </a:cubicBezTo>
                <a:cubicBezTo>
                  <a:pt x="50" y="265"/>
                  <a:pt x="50" y="265"/>
                  <a:pt x="50" y="265"/>
                </a:cubicBezTo>
                <a:lnTo>
                  <a:pt x="50" y="266"/>
                </a:lnTo>
                <a:close/>
                <a:moveTo>
                  <a:pt x="19" y="274"/>
                </a:moveTo>
                <a:cubicBezTo>
                  <a:pt x="21" y="276"/>
                  <a:pt x="21" y="276"/>
                  <a:pt x="21" y="276"/>
                </a:cubicBezTo>
                <a:cubicBezTo>
                  <a:pt x="22" y="275"/>
                  <a:pt x="22" y="275"/>
                  <a:pt x="22" y="275"/>
                </a:cubicBezTo>
                <a:cubicBezTo>
                  <a:pt x="20" y="273"/>
                  <a:pt x="20" y="273"/>
                  <a:pt x="20" y="273"/>
                </a:cubicBezTo>
                <a:lnTo>
                  <a:pt x="19" y="274"/>
                </a:lnTo>
                <a:close/>
                <a:moveTo>
                  <a:pt x="20" y="268"/>
                </a:moveTo>
                <a:cubicBezTo>
                  <a:pt x="18" y="266"/>
                  <a:pt x="18" y="266"/>
                  <a:pt x="18" y="266"/>
                </a:cubicBezTo>
                <a:cubicBezTo>
                  <a:pt x="18" y="264"/>
                  <a:pt x="18" y="264"/>
                  <a:pt x="18" y="264"/>
                </a:cubicBezTo>
                <a:cubicBezTo>
                  <a:pt x="17" y="262"/>
                  <a:pt x="17" y="262"/>
                  <a:pt x="17" y="262"/>
                </a:cubicBezTo>
                <a:cubicBezTo>
                  <a:pt x="14" y="262"/>
                  <a:pt x="14" y="262"/>
                  <a:pt x="14" y="262"/>
                </a:cubicBezTo>
                <a:cubicBezTo>
                  <a:pt x="14" y="263"/>
                  <a:pt x="14" y="263"/>
                  <a:pt x="14" y="263"/>
                </a:cubicBezTo>
                <a:cubicBezTo>
                  <a:pt x="12" y="263"/>
                  <a:pt x="12" y="263"/>
                  <a:pt x="12" y="263"/>
                </a:cubicBezTo>
                <a:cubicBezTo>
                  <a:pt x="10" y="263"/>
                  <a:pt x="10" y="263"/>
                  <a:pt x="10" y="263"/>
                </a:cubicBezTo>
                <a:cubicBezTo>
                  <a:pt x="9" y="264"/>
                  <a:pt x="9" y="264"/>
                  <a:pt x="9" y="264"/>
                </a:cubicBezTo>
                <a:cubicBezTo>
                  <a:pt x="8" y="262"/>
                  <a:pt x="8" y="262"/>
                  <a:pt x="8" y="262"/>
                </a:cubicBezTo>
                <a:cubicBezTo>
                  <a:pt x="7" y="262"/>
                  <a:pt x="7" y="262"/>
                  <a:pt x="7" y="262"/>
                </a:cubicBezTo>
                <a:cubicBezTo>
                  <a:pt x="5" y="266"/>
                  <a:pt x="5" y="266"/>
                  <a:pt x="5" y="266"/>
                </a:cubicBezTo>
                <a:cubicBezTo>
                  <a:pt x="4" y="266"/>
                  <a:pt x="4" y="266"/>
                  <a:pt x="4" y="266"/>
                </a:cubicBezTo>
                <a:cubicBezTo>
                  <a:pt x="3" y="267"/>
                  <a:pt x="3" y="267"/>
                  <a:pt x="3" y="267"/>
                </a:cubicBezTo>
                <a:cubicBezTo>
                  <a:pt x="2" y="267"/>
                  <a:pt x="2" y="267"/>
                  <a:pt x="2" y="267"/>
                </a:cubicBezTo>
                <a:cubicBezTo>
                  <a:pt x="1" y="268"/>
                  <a:pt x="1" y="268"/>
                  <a:pt x="1" y="268"/>
                </a:cubicBezTo>
                <a:cubicBezTo>
                  <a:pt x="0" y="270"/>
                  <a:pt x="0" y="270"/>
                  <a:pt x="0" y="270"/>
                </a:cubicBezTo>
                <a:cubicBezTo>
                  <a:pt x="1" y="271"/>
                  <a:pt x="1" y="271"/>
                  <a:pt x="1" y="271"/>
                </a:cubicBezTo>
                <a:cubicBezTo>
                  <a:pt x="3" y="273"/>
                  <a:pt x="3" y="273"/>
                  <a:pt x="3" y="273"/>
                </a:cubicBezTo>
                <a:cubicBezTo>
                  <a:pt x="4" y="272"/>
                  <a:pt x="4" y="272"/>
                  <a:pt x="4" y="272"/>
                </a:cubicBezTo>
                <a:cubicBezTo>
                  <a:pt x="5" y="272"/>
                  <a:pt x="5" y="272"/>
                  <a:pt x="5" y="272"/>
                </a:cubicBezTo>
                <a:cubicBezTo>
                  <a:pt x="7" y="270"/>
                  <a:pt x="7" y="270"/>
                  <a:pt x="7" y="270"/>
                </a:cubicBezTo>
                <a:cubicBezTo>
                  <a:pt x="11" y="270"/>
                  <a:pt x="11" y="270"/>
                  <a:pt x="11" y="270"/>
                </a:cubicBezTo>
                <a:cubicBezTo>
                  <a:pt x="13" y="270"/>
                  <a:pt x="13" y="270"/>
                  <a:pt x="13" y="270"/>
                </a:cubicBezTo>
                <a:cubicBezTo>
                  <a:pt x="16" y="270"/>
                  <a:pt x="16" y="270"/>
                  <a:pt x="16" y="270"/>
                </a:cubicBezTo>
                <a:cubicBezTo>
                  <a:pt x="18" y="269"/>
                  <a:pt x="18" y="269"/>
                  <a:pt x="18" y="269"/>
                </a:cubicBezTo>
                <a:cubicBezTo>
                  <a:pt x="20" y="269"/>
                  <a:pt x="20" y="269"/>
                  <a:pt x="20" y="269"/>
                </a:cubicBezTo>
                <a:lnTo>
                  <a:pt x="20" y="268"/>
                </a:lnTo>
                <a:close/>
                <a:moveTo>
                  <a:pt x="49" y="262"/>
                </a:moveTo>
                <a:cubicBezTo>
                  <a:pt x="48" y="261"/>
                  <a:pt x="48" y="261"/>
                  <a:pt x="48" y="261"/>
                </a:cubicBezTo>
                <a:cubicBezTo>
                  <a:pt x="48" y="263"/>
                  <a:pt x="48" y="263"/>
                  <a:pt x="48" y="263"/>
                </a:cubicBezTo>
                <a:lnTo>
                  <a:pt x="49" y="262"/>
                </a:lnTo>
                <a:close/>
                <a:moveTo>
                  <a:pt x="27" y="267"/>
                </a:moveTo>
                <a:cubicBezTo>
                  <a:pt x="28" y="268"/>
                  <a:pt x="28" y="268"/>
                  <a:pt x="28" y="268"/>
                </a:cubicBezTo>
                <a:cubicBezTo>
                  <a:pt x="29" y="267"/>
                  <a:pt x="29" y="267"/>
                  <a:pt x="29" y="267"/>
                </a:cubicBezTo>
                <a:cubicBezTo>
                  <a:pt x="29" y="265"/>
                  <a:pt x="29" y="265"/>
                  <a:pt x="29" y="265"/>
                </a:cubicBezTo>
                <a:lnTo>
                  <a:pt x="27" y="267"/>
                </a:lnTo>
                <a:close/>
                <a:moveTo>
                  <a:pt x="117" y="248"/>
                </a:moveTo>
                <a:cubicBezTo>
                  <a:pt x="118" y="247"/>
                  <a:pt x="118" y="247"/>
                  <a:pt x="118" y="247"/>
                </a:cubicBezTo>
                <a:cubicBezTo>
                  <a:pt x="116" y="247"/>
                  <a:pt x="116" y="247"/>
                  <a:pt x="116" y="247"/>
                </a:cubicBezTo>
                <a:lnTo>
                  <a:pt x="117" y="248"/>
                </a:lnTo>
                <a:close/>
                <a:moveTo>
                  <a:pt x="96" y="261"/>
                </a:moveTo>
                <a:cubicBezTo>
                  <a:pt x="97" y="261"/>
                  <a:pt x="97" y="261"/>
                  <a:pt x="97" y="261"/>
                </a:cubicBezTo>
                <a:cubicBezTo>
                  <a:pt x="98" y="261"/>
                  <a:pt x="98" y="261"/>
                  <a:pt x="98" y="261"/>
                </a:cubicBezTo>
                <a:cubicBezTo>
                  <a:pt x="98" y="259"/>
                  <a:pt x="98" y="259"/>
                  <a:pt x="98" y="259"/>
                </a:cubicBezTo>
                <a:cubicBezTo>
                  <a:pt x="96" y="260"/>
                  <a:pt x="96" y="260"/>
                  <a:pt x="96" y="260"/>
                </a:cubicBezTo>
                <a:lnTo>
                  <a:pt x="96" y="261"/>
                </a:lnTo>
                <a:close/>
                <a:moveTo>
                  <a:pt x="111" y="250"/>
                </a:moveTo>
                <a:cubicBezTo>
                  <a:pt x="112" y="249"/>
                  <a:pt x="112" y="249"/>
                  <a:pt x="112" y="249"/>
                </a:cubicBezTo>
                <a:cubicBezTo>
                  <a:pt x="116" y="246"/>
                  <a:pt x="116" y="246"/>
                  <a:pt x="116" y="246"/>
                </a:cubicBezTo>
                <a:cubicBezTo>
                  <a:pt x="112" y="247"/>
                  <a:pt x="112" y="247"/>
                  <a:pt x="112" y="247"/>
                </a:cubicBezTo>
                <a:lnTo>
                  <a:pt x="111" y="250"/>
                </a:lnTo>
                <a:close/>
                <a:moveTo>
                  <a:pt x="51" y="260"/>
                </a:moveTo>
                <a:cubicBezTo>
                  <a:pt x="51" y="260"/>
                  <a:pt x="50" y="261"/>
                  <a:pt x="50" y="261"/>
                </a:cubicBezTo>
                <a:cubicBezTo>
                  <a:pt x="51" y="261"/>
                  <a:pt x="51" y="261"/>
                  <a:pt x="51" y="261"/>
                </a:cubicBezTo>
                <a:lnTo>
                  <a:pt x="51" y="260"/>
                </a:lnTo>
                <a:close/>
                <a:moveTo>
                  <a:pt x="145" y="223"/>
                </a:moveTo>
                <a:cubicBezTo>
                  <a:pt x="143" y="223"/>
                  <a:pt x="143" y="223"/>
                  <a:pt x="143" y="223"/>
                </a:cubicBezTo>
                <a:cubicBezTo>
                  <a:pt x="141" y="225"/>
                  <a:pt x="141" y="225"/>
                  <a:pt x="141" y="225"/>
                </a:cubicBezTo>
                <a:cubicBezTo>
                  <a:pt x="140" y="225"/>
                  <a:pt x="140" y="225"/>
                  <a:pt x="140" y="225"/>
                </a:cubicBezTo>
                <a:cubicBezTo>
                  <a:pt x="140" y="224"/>
                  <a:pt x="140" y="224"/>
                  <a:pt x="140" y="224"/>
                </a:cubicBezTo>
                <a:cubicBezTo>
                  <a:pt x="141" y="224"/>
                  <a:pt x="141" y="224"/>
                  <a:pt x="141" y="224"/>
                </a:cubicBezTo>
                <a:cubicBezTo>
                  <a:pt x="141" y="222"/>
                  <a:pt x="141" y="222"/>
                  <a:pt x="141" y="222"/>
                </a:cubicBezTo>
                <a:cubicBezTo>
                  <a:pt x="139" y="221"/>
                  <a:pt x="139" y="221"/>
                  <a:pt x="139" y="221"/>
                </a:cubicBezTo>
                <a:cubicBezTo>
                  <a:pt x="138" y="222"/>
                  <a:pt x="138" y="222"/>
                  <a:pt x="138" y="222"/>
                </a:cubicBezTo>
                <a:cubicBezTo>
                  <a:pt x="139" y="223"/>
                  <a:pt x="139" y="223"/>
                  <a:pt x="139" y="223"/>
                </a:cubicBezTo>
                <a:cubicBezTo>
                  <a:pt x="138" y="225"/>
                  <a:pt x="138" y="225"/>
                  <a:pt x="138" y="225"/>
                </a:cubicBezTo>
                <a:cubicBezTo>
                  <a:pt x="137" y="224"/>
                  <a:pt x="137" y="224"/>
                  <a:pt x="137" y="224"/>
                </a:cubicBezTo>
                <a:cubicBezTo>
                  <a:pt x="137" y="225"/>
                  <a:pt x="137" y="225"/>
                  <a:pt x="137" y="225"/>
                </a:cubicBezTo>
                <a:cubicBezTo>
                  <a:pt x="136" y="226"/>
                  <a:pt x="136" y="226"/>
                  <a:pt x="136" y="226"/>
                </a:cubicBezTo>
                <a:cubicBezTo>
                  <a:pt x="135" y="227"/>
                  <a:pt x="135" y="227"/>
                  <a:pt x="135" y="227"/>
                </a:cubicBezTo>
                <a:cubicBezTo>
                  <a:pt x="135" y="225"/>
                  <a:pt x="135" y="225"/>
                  <a:pt x="135" y="225"/>
                </a:cubicBezTo>
                <a:cubicBezTo>
                  <a:pt x="135" y="224"/>
                  <a:pt x="135" y="224"/>
                  <a:pt x="135" y="224"/>
                </a:cubicBezTo>
                <a:cubicBezTo>
                  <a:pt x="135" y="222"/>
                  <a:pt x="135" y="222"/>
                  <a:pt x="135" y="222"/>
                </a:cubicBezTo>
                <a:cubicBezTo>
                  <a:pt x="134" y="221"/>
                  <a:pt x="134" y="221"/>
                  <a:pt x="134" y="221"/>
                </a:cubicBezTo>
                <a:cubicBezTo>
                  <a:pt x="133" y="221"/>
                  <a:pt x="133" y="221"/>
                  <a:pt x="133" y="221"/>
                </a:cubicBezTo>
                <a:cubicBezTo>
                  <a:pt x="131" y="223"/>
                  <a:pt x="131" y="223"/>
                  <a:pt x="131" y="223"/>
                </a:cubicBezTo>
                <a:cubicBezTo>
                  <a:pt x="131" y="224"/>
                  <a:pt x="131" y="224"/>
                  <a:pt x="131" y="224"/>
                </a:cubicBezTo>
                <a:cubicBezTo>
                  <a:pt x="133" y="225"/>
                  <a:pt x="133" y="225"/>
                  <a:pt x="133" y="225"/>
                </a:cubicBezTo>
                <a:cubicBezTo>
                  <a:pt x="132" y="227"/>
                  <a:pt x="132" y="227"/>
                  <a:pt x="132" y="227"/>
                </a:cubicBezTo>
                <a:cubicBezTo>
                  <a:pt x="131" y="226"/>
                  <a:pt x="131" y="226"/>
                  <a:pt x="131" y="226"/>
                </a:cubicBezTo>
                <a:cubicBezTo>
                  <a:pt x="131" y="226"/>
                  <a:pt x="131" y="226"/>
                  <a:pt x="131" y="226"/>
                </a:cubicBezTo>
                <a:cubicBezTo>
                  <a:pt x="131" y="228"/>
                  <a:pt x="131" y="228"/>
                  <a:pt x="131" y="228"/>
                </a:cubicBezTo>
                <a:cubicBezTo>
                  <a:pt x="130" y="230"/>
                  <a:pt x="130" y="230"/>
                  <a:pt x="130" y="230"/>
                </a:cubicBezTo>
                <a:cubicBezTo>
                  <a:pt x="129" y="230"/>
                  <a:pt x="129" y="230"/>
                  <a:pt x="129" y="230"/>
                </a:cubicBezTo>
                <a:cubicBezTo>
                  <a:pt x="129" y="226"/>
                  <a:pt x="129" y="226"/>
                  <a:pt x="129" y="226"/>
                </a:cubicBezTo>
                <a:cubicBezTo>
                  <a:pt x="128" y="226"/>
                  <a:pt x="128" y="226"/>
                  <a:pt x="128" y="226"/>
                </a:cubicBezTo>
                <a:cubicBezTo>
                  <a:pt x="125" y="226"/>
                  <a:pt x="125" y="226"/>
                  <a:pt x="125" y="226"/>
                </a:cubicBezTo>
                <a:cubicBezTo>
                  <a:pt x="121" y="228"/>
                  <a:pt x="121" y="228"/>
                  <a:pt x="121" y="228"/>
                </a:cubicBezTo>
                <a:cubicBezTo>
                  <a:pt x="118" y="230"/>
                  <a:pt x="118" y="230"/>
                  <a:pt x="118" y="230"/>
                </a:cubicBezTo>
                <a:cubicBezTo>
                  <a:pt x="118" y="231"/>
                  <a:pt x="118" y="231"/>
                  <a:pt x="118" y="231"/>
                </a:cubicBezTo>
                <a:cubicBezTo>
                  <a:pt x="118" y="232"/>
                  <a:pt x="118" y="232"/>
                  <a:pt x="118" y="232"/>
                </a:cubicBezTo>
                <a:cubicBezTo>
                  <a:pt x="119" y="235"/>
                  <a:pt x="119" y="235"/>
                  <a:pt x="119" y="235"/>
                </a:cubicBezTo>
                <a:cubicBezTo>
                  <a:pt x="118" y="237"/>
                  <a:pt x="118" y="237"/>
                  <a:pt x="118" y="237"/>
                </a:cubicBezTo>
                <a:cubicBezTo>
                  <a:pt x="117" y="238"/>
                  <a:pt x="117" y="238"/>
                  <a:pt x="117" y="238"/>
                </a:cubicBezTo>
                <a:cubicBezTo>
                  <a:pt x="117" y="240"/>
                  <a:pt x="117" y="240"/>
                  <a:pt x="117" y="240"/>
                </a:cubicBezTo>
                <a:cubicBezTo>
                  <a:pt x="119" y="241"/>
                  <a:pt x="119" y="241"/>
                  <a:pt x="119" y="241"/>
                </a:cubicBezTo>
                <a:cubicBezTo>
                  <a:pt x="120" y="241"/>
                  <a:pt x="120" y="241"/>
                  <a:pt x="120" y="241"/>
                </a:cubicBezTo>
                <a:cubicBezTo>
                  <a:pt x="120" y="239"/>
                  <a:pt x="120" y="239"/>
                  <a:pt x="120" y="239"/>
                </a:cubicBezTo>
                <a:cubicBezTo>
                  <a:pt x="120" y="239"/>
                  <a:pt x="120" y="239"/>
                  <a:pt x="120" y="239"/>
                </a:cubicBezTo>
                <a:cubicBezTo>
                  <a:pt x="119" y="239"/>
                  <a:pt x="119" y="239"/>
                  <a:pt x="119" y="239"/>
                </a:cubicBezTo>
                <a:cubicBezTo>
                  <a:pt x="120" y="237"/>
                  <a:pt x="120" y="237"/>
                  <a:pt x="120" y="237"/>
                </a:cubicBezTo>
                <a:cubicBezTo>
                  <a:pt x="122" y="238"/>
                  <a:pt x="122" y="238"/>
                  <a:pt x="122" y="238"/>
                </a:cubicBezTo>
                <a:cubicBezTo>
                  <a:pt x="121" y="239"/>
                  <a:pt x="121" y="239"/>
                  <a:pt x="121" y="239"/>
                </a:cubicBezTo>
                <a:cubicBezTo>
                  <a:pt x="122" y="239"/>
                  <a:pt x="122" y="239"/>
                  <a:pt x="122" y="239"/>
                </a:cubicBezTo>
                <a:cubicBezTo>
                  <a:pt x="124" y="238"/>
                  <a:pt x="124" y="238"/>
                  <a:pt x="124" y="238"/>
                </a:cubicBezTo>
                <a:cubicBezTo>
                  <a:pt x="125" y="238"/>
                  <a:pt x="125" y="238"/>
                  <a:pt x="125" y="238"/>
                </a:cubicBezTo>
                <a:cubicBezTo>
                  <a:pt x="123" y="240"/>
                  <a:pt x="123" y="240"/>
                  <a:pt x="123" y="240"/>
                </a:cubicBezTo>
                <a:cubicBezTo>
                  <a:pt x="123" y="241"/>
                  <a:pt x="123" y="241"/>
                  <a:pt x="123" y="241"/>
                </a:cubicBezTo>
                <a:cubicBezTo>
                  <a:pt x="120" y="244"/>
                  <a:pt x="120" y="244"/>
                  <a:pt x="120" y="244"/>
                </a:cubicBezTo>
                <a:cubicBezTo>
                  <a:pt x="119" y="245"/>
                  <a:pt x="119" y="245"/>
                  <a:pt x="119" y="245"/>
                </a:cubicBezTo>
                <a:cubicBezTo>
                  <a:pt x="122" y="245"/>
                  <a:pt x="122" y="245"/>
                  <a:pt x="122" y="245"/>
                </a:cubicBezTo>
                <a:cubicBezTo>
                  <a:pt x="122" y="244"/>
                  <a:pt x="122" y="244"/>
                  <a:pt x="122" y="244"/>
                </a:cubicBezTo>
                <a:cubicBezTo>
                  <a:pt x="124" y="243"/>
                  <a:pt x="124" y="243"/>
                  <a:pt x="124" y="243"/>
                </a:cubicBezTo>
                <a:cubicBezTo>
                  <a:pt x="124" y="242"/>
                  <a:pt x="124" y="242"/>
                  <a:pt x="124" y="242"/>
                </a:cubicBezTo>
                <a:cubicBezTo>
                  <a:pt x="126" y="241"/>
                  <a:pt x="126" y="241"/>
                  <a:pt x="126" y="241"/>
                </a:cubicBezTo>
                <a:cubicBezTo>
                  <a:pt x="125" y="240"/>
                  <a:pt x="125" y="240"/>
                  <a:pt x="125" y="240"/>
                </a:cubicBezTo>
                <a:cubicBezTo>
                  <a:pt x="127" y="239"/>
                  <a:pt x="127" y="239"/>
                  <a:pt x="127" y="239"/>
                </a:cubicBezTo>
                <a:cubicBezTo>
                  <a:pt x="127" y="239"/>
                  <a:pt x="127" y="239"/>
                  <a:pt x="127" y="239"/>
                </a:cubicBezTo>
                <a:cubicBezTo>
                  <a:pt x="128" y="236"/>
                  <a:pt x="128" y="236"/>
                  <a:pt x="128" y="236"/>
                </a:cubicBezTo>
                <a:cubicBezTo>
                  <a:pt x="129" y="237"/>
                  <a:pt x="129" y="237"/>
                  <a:pt x="129" y="237"/>
                </a:cubicBezTo>
                <a:cubicBezTo>
                  <a:pt x="131" y="236"/>
                  <a:pt x="131" y="236"/>
                  <a:pt x="131" y="236"/>
                </a:cubicBezTo>
                <a:cubicBezTo>
                  <a:pt x="133" y="237"/>
                  <a:pt x="133" y="237"/>
                  <a:pt x="133" y="237"/>
                </a:cubicBezTo>
                <a:cubicBezTo>
                  <a:pt x="134" y="236"/>
                  <a:pt x="134" y="236"/>
                  <a:pt x="134" y="236"/>
                </a:cubicBezTo>
                <a:cubicBezTo>
                  <a:pt x="133" y="234"/>
                  <a:pt x="133" y="234"/>
                  <a:pt x="133" y="234"/>
                </a:cubicBezTo>
                <a:cubicBezTo>
                  <a:pt x="131" y="234"/>
                  <a:pt x="131" y="234"/>
                  <a:pt x="131" y="234"/>
                </a:cubicBezTo>
                <a:cubicBezTo>
                  <a:pt x="133" y="233"/>
                  <a:pt x="133" y="233"/>
                  <a:pt x="133" y="233"/>
                </a:cubicBezTo>
                <a:cubicBezTo>
                  <a:pt x="135" y="233"/>
                  <a:pt x="135" y="233"/>
                  <a:pt x="135" y="233"/>
                </a:cubicBezTo>
                <a:cubicBezTo>
                  <a:pt x="137" y="235"/>
                  <a:pt x="137" y="235"/>
                  <a:pt x="137" y="235"/>
                </a:cubicBezTo>
                <a:cubicBezTo>
                  <a:pt x="138" y="235"/>
                  <a:pt x="138" y="235"/>
                  <a:pt x="138" y="235"/>
                </a:cubicBezTo>
                <a:cubicBezTo>
                  <a:pt x="139" y="233"/>
                  <a:pt x="139" y="233"/>
                  <a:pt x="139" y="233"/>
                </a:cubicBezTo>
                <a:cubicBezTo>
                  <a:pt x="138" y="231"/>
                  <a:pt x="138" y="231"/>
                  <a:pt x="138" y="231"/>
                </a:cubicBezTo>
                <a:cubicBezTo>
                  <a:pt x="137" y="231"/>
                  <a:pt x="137" y="231"/>
                  <a:pt x="137" y="231"/>
                </a:cubicBezTo>
                <a:cubicBezTo>
                  <a:pt x="137" y="230"/>
                  <a:pt x="137" y="230"/>
                  <a:pt x="137" y="230"/>
                </a:cubicBezTo>
                <a:cubicBezTo>
                  <a:pt x="139" y="230"/>
                  <a:pt x="139" y="230"/>
                  <a:pt x="139" y="230"/>
                </a:cubicBezTo>
                <a:cubicBezTo>
                  <a:pt x="140" y="230"/>
                  <a:pt x="140" y="230"/>
                  <a:pt x="140" y="230"/>
                </a:cubicBezTo>
                <a:cubicBezTo>
                  <a:pt x="142" y="230"/>
                  <a:pt x="142" y="230"/>
                  <a:pt x="142" y="230"/>
                </a:cubicBezTo>
                <a:cubicBezTo>
                  <a:pt x="142" y="231"/>
                  <a:pt x="142" y="231"/>
                  <a:pt x="142" y="231"/>
                </a:cubicBezTo>
                <a:cubicBezTo>
                  <a:pt x="144" y="231"/>
                  <a:pt x="144" y="231"/>
                  <a:pt x="144" y="231"/>
                </a:cubicBezTo>
                <a:cubicBezTo>
                  <a:pt x="145" y="229"/>
                  <a:pt x="145" y="229"/>
                  <a:pt x="145" y="229"/>
                </a:cubicBezTo>
                <a:cubicBezTo>
                  <a:pt x="144" y="228"/>
                  <a:pt x="144" y="228"/>
                  <a:pt x="144" y="228"/>
                </a:cubicBezTo>
                <a:cubicBezTo>
                  <a:pt x="143" y="227"/>
                  <a:pt x="143" y="227"/>
                  <a:pt x="143" y="227"/>
                </a:cubicBezTo>
                <a:cubicBezTo>
                  <a:pt x="143" y="226"/>
                  <a:pt x="143" y="226"/>
                  <a:pt x="143" y="226"/>
                </a:cubicBezTo>
                <a:cubicBezTo>
                  <a:pt x="145" y="226"/>
                  <a:pt x="145" y="226"/>
                  <a:pt x="145" y="226"/>
                </a:cubicBezTo>
                <a:cubicBezTo>
                  <a:pt x="147" y="225"/>
                  <a:pt x="147" y="225"/>
                  <a:pt x="147" y="225"/>
                </a:cubicBezTo>
                <a:cubicBezTo>
                  <a:pt x="146" y="223"/>
                  <a:pt x="146" y="223"/>
                  <a:pt x="146" y="223"/>
                </a:cubicBezTo>
                <a:lnTo>
                  <a:pt x="145" y="223"/>
                </a:lnTo>
                <a:close/>
                <a:moveTo>
                  <a:pt x="313" y="285"/>
                </a:moveTo>
                <a:cubicBezTo>
                  <a:pt x="311" y="287"/>
                  <a:pt x="311" y="287"/>
                  <a:pt x="311" y="287"/>
                </a:cubicBezTo>
                <a:cubicBezTo>
                  <a:pt x="311" y="289"/>
                  <a:pt x="311" y="289"/>
                  <a:pt x="311" y="289"/>
                </a:cubicBezTo>
                <a:cubicBezTo>
                  <a:pt x="312" y="290"/>
                  <a:pt x="312" y="290"/>
                  <a:pt x="312" y="290"/>
                </a:cubicBezTo>
                <a:cubicBezTo>
                  <a:pt x="314" y="289"/>
                  <a:pt x="314" y="289"/>
                  <a:pt x="314" y="289"/>
                </a:cubicBezTo>
                <a:cubicBezTo>
                  <a:pt x="315" y="287"/>
                  <a:pt x="315" y="287"/>
                  <a:pt x="315" y="287"/>
                </a:cubicBezTo>
                <a:cubicBezTo>
                  <a:pt x="314" y="284"/>
                  <a:pt x="314" y="284"/>
                  <a:pt x="314" y="284"/>
                </a:cubicBezTo>
                <a:lnTo>
                  <a:pt x="313" y="285"/>
                </a:lnTo>
                <a:close/>
                <a:moveTo>
                  <a:pt x="294" y="308"/>
                </a:moveTo>
                <a:cubicBezTo>
                  <a:pt x="294" y="310"/>
                  <a:pt x="294" y="310"/>
                  <a:pt x="294" y="310"/>
                </a:cubicBezTo>
                <a:cubicBezTo>
                  <a:pt x="296" y="308"/>
                  <a:pt x="296" y="308"/>
                  <a:pt x="296" y="308"/>
                </a:cubicBezTo>
                <a:lnTo>
                  <a:pt x="294" y="308"/>
                </a:lnTo>
                <a:close/>
                <a:moveTo>
                  <a:pt x="56" y="266"/>
                </a:moveTo>
                <a:cubicBezTo>
                  <a:pt x="55" y="268"/>
                  <a:pt x="55" y="268"/>
                  <a:pt x="55" y="268"/>
                </a:cubicBezTo>
                <a:cubicBezTo>
                  <a:pt x="55" y="268"/>
                  <a:pt x="56" y="268"/>
                  <a:pt x="56" y="268"/>
                </a:cubicBezTo>
                <a:lnTo>
                  <a:pt x="56" y="266"/>
                </a:lnTo>
                <a:close/>
                <a:moveTo>
                  <a:pt x="56" y="270"/>
                </a:moveTo>
                <a:cubicBezTo>
                  <a:pt x="56" y="271"/>
                  <a:pt x="56" y="271"/>
                  <a:pt x="56" y="271"/>
                </a:cubicBezTo>
                <a:cubicBezTo>
                  <a:pt x="57" y="270"/>
                  <a:pt x="57" y="270"/>
                  <a:pt x="57" y="270"/>
                </a:cubicBezTo>
                <a:cubicBezTo>
                  <a:pt x="57" y="269"/>
                  <a:pt x="57" y="269"/>
                  <a:pt x="57" y="269"/>
                </a:cubicBezTo>
                <a:lnTo>
                  <a:pt x="56" y="270"/>
                </a:lnTo>
                <a:close/>
                <a:moveTo>
                  <a:pt x="323" y="362"/>
                </a:moveTo>
                <a:cubicBezTo>
                  <a:pt x="321" y="364"/>
                  <a:pt x="321" y="364"/>
                  <a:pt x="321" y="364"/>
                </a:cubicBezTo>
                <a:cubicBezTo>
                  <a:pt x="323" y="365"/>
                  <a:pt x="323" y="365"/>
                  <a:pt x="323" y="365"/>
                </a:cubicBezTo>
                <a:cubicBezTo>
                  <a:pt x="324" y="364"/>
                  <a:pt x="324" y="364"/>
                  <a:pt x="324" y="364"/>
                </a:cubicBezTo>
                <a:lnTo>
                  <a:pt x="323" y="362"/>
                </a:lnTo>
                <a:close/>
                <a:moveTo>
                  <a:pt x="318" y="358"/>
                </a:moveTo>
                <a:cubicBezTo>
                  <a:pt x="318" y="361"/>
                  <a:pt x="318" y="361"/>
                  <a:pt x="318" y="361"/>
                </a:cubicBezTo>
                <a:cubicBezTo>
                  <a:pt x="319" y="362"/>
                  <a:pt x="319" y="362"/>
                  <a:pt x="319" y="362"/>
                </a:cubicBezTo>
                <a:cubicBezTo>
                  <a:pt x="319" y="364"/>
                  <a:pt x="319" y="364"/>
                  <a:pt x="319" y="364"/>
                </a:cubicBezTo>
                <a:cubicBezTo>
                  <a:pt x="320" y="362"/>
                  <a:pt x="320" y="362"/>
                  <a:pt x="320" y="362"/>
                </a:cubicBezTo>
                <a:cubicBezTo>
                  <a:pt x="319" y="360"/>
                  <a:pt x="319" y="360"/>
                  <a:pt x="319" y="360"/>
                </a:cubicBezTo>
                <a:lnTo>
                  <a:pt x="318" y="358"/>
                </a:lnTo>
                <a:close/>
                <a:moveTo>
                  <a:pt x="316" y="297"/>
                </a:moveTo>
                <a:cubicBezTo>
                  <a:pt x="317" y="296"/>
                  <a:pt x="317" y="296"/>
                  <a:pt x="317" y="296"/>
                </a:cubicBezTo>
                <a:cubicBezTo>
                  <a:pt x="317" y="294"/>
                  <a:pt x="317" y="294"/>
                  <a:pt x="317" y="294"/>
                </a:cubicBezTo>
                <a:cubicBezTo>
                  <a:pt x="316" y="293"/>
                  <a:pt x="316" y="293"/>
                  <a:pt x="316" y="293"/>
                </a:cubicBezTo>
                <a:cubicBezTo>
                  <a:pt x="315" y="295"/>
                  <a:pt x="315" y="295"/>
                  <a:pt x="315" y="295"/>
                </a:cubicBezTo>
                <a:cubicBezTo>
                  <a:pt x="315" y="296"/>
                  <a:pt x="315" y="296"/>
                  <a:pt x="315" y="296"/>
                </a:cubicBezTo>
                <a:lnTo>
                  <a:pt x="316" y="297"/>
                </a:lnTo>
                <a:close/>
                <a:moveTo>
                  <a:pt x="316" y="340"/>
                </a:moveTo>
                <a:cubicBezTo>
                  <a:pt x="315" y="340"/>
                  <a:pt x="315" y="340"/>
                  <a:pt x="315" y="340"/>
                </a:cubicBezTo>
                <a:cubicBezTo>
                  <a:pt x="315" y="340"/>
                  <a:pt x="315" y="340"/>
                  <a:pt x="315" y="340"/>
                </a:cubicBezTo>
                <a:cubicBezTo>
                  <a:pt x="315" y="343"/>
                  <a:pt x="315" y="343"/>
                  <a:pt x="315" y="343"/>
                </a:cubicBezTo>
                <a:cubicBezTo>
                  <a:pt x="317" y="345"/>
                  <a:pt x="317" y="345"/>
                  <a:pt x="317" y="345"/>
                </a:cubicBezTo>
                <a:cubicBezTo>
                  <a:pt x="317" y="348"/>
                  <a:pt x="317" y="348"/>
                  <a:pt x="317" y="348"/>
                </a:cubicBezTo>
                <a:cubicBezTo>
                  <a:pt x="319" y="350"/>
                  <a:pt x="319" y="350"/>
                  <a:pt x="319" y="350"/>
                </a:cubicBezTo>
                <a:cubicBezTo>
                  <a:pt x="319" y="347"/>
                  <a:pt x="319" y="347"/>
                  <a:pt x="319" y="347"/>
                </a:cubicBezTo>
                <a:cubicBezTo>
                  <a:pt x="317" y="343"/>
                  <a:pt x="317" y="343"/>
                  <a:pt x="317" y="343"/>
                </a:cubicBezTo>
                <a:lnTo>
                  <a:pt x="316" y="340"/>
                </a:lnTo>
                <a:close/>
                <a:moveTo>
                  <a:pt x="322" y="381"/>
                </a:moveTo>
                <a:cubicBezTo>
                  <a:pt x="322" y="383"/>
                  <a:pt x="322" y="383"/>
                  <a:pt x="322" y="383"/>
                </a:cubicBezTo>
                <a:cubicBezTo>
                  <a:pt x="323" y="384"/>
                  <a:pt x="323" y="384"/>
                  <a:pt x="323" y="384"/>
                </a:cubicBezTo>
                <a:cubicBezTo>
                  <a:pt x="323" y="381"/>
                  <a:pt x="323" y="381"/>
                  <a:pt x="323" y="381"/>
                </a:cubicBezTo>
                <a:cubicBezTo>
                  <a:pt x="323" y="380"/>
                  <a:pt x="323" y="380"/>
                  <a:pt x="323" y="380"/>
                </a:cubicBezTo>
                <a:lnTo>
                  <a:pt x="322" y="381"/>
                </a:lnTo>
                <a:close/>
                <a:moveTo>
                  <a:pt x="323" y="372"/>
                </a:moveTo>
                <a:cubicBezTo>
                  <a:pt x="323" y="373"/>
                  <a:pt x="323" y="373"/>
                  <a:pt x="323" y="373"/>
                </a:cubicBezTo>
                <a:cubicBezTo>
                  <a:pt x="324" y="373"/>
                  <a:pt x="324" y="373"/>
                  <a:pt x="324" y="373"/>
                </a:cubicBezTo>
                <a:cubicBezTo>
                  <a:pt x="325" y="372"/>
                  <a:pt x="325" y="372"/>
                  <a:pt x="325" y="372"/>
                </a:cubicBezTo>
                <a:cubicBezTo>
                  <a:pt x="324" y="371"/>
                  <a:pt x="324" y="371"/>
                  <a:pt x="324" y="371"/>
                </a:cubicBezTo>
                <a:lnTo>
                  <a:pt x="323" y="372"/>
                </a:lnTo>
                <a:close/>
                <a:moveTo>
                  <a:pt x="326" y="375"/>
                </a:moveTo>
                <a:cubicBezTo>
                  <a:pt x="325" y="374"/>
                  <a:pt x="325" y="374"/>
                  <a:pt x="325" y="374"/>
                </a:cubicBezTo>
                <a:cubicBezTo>
                  <a:pt x="323" y="375"/>
                  <a:pt x="323" y="375"/>
                  <a:pt x="323" y="375"/>
                </a:cubicBezTo>
                <a:cubicBezTo>
                  <a:pt x="322" y="377"/>
                  <a:pt x="322" y="377"/>
                  <a:pt x="322" y="377"/>
                </a:cubicBezTo>
                <a:cubicBezTo>
                  <a:pt x="323" y="377"/>
                  <a:pt x="323" y="377"/>
                  <a:pt x="323" y="377"/>
                </a:cubicBezTo>
                <a:cubicBezTo>
                  <a:pt x="323" y="377"/>
                  <a:pt x="325" y="377"/>
                  <a:pt x="325" y="377"/>
                </a:cubicBezTo>
                <a:lnTo>
                  <a:pt x="326" y="375"/>
                </a:lnTo>
                <a:close/>
                <a:moveTo>
                  <a:pt x="294" y="297"/>
                </a:moveTo>
                <a:cubicBezTo>
                  <a:pt x="293" y="297"/>
                  <a:pt x="293" y="297"/>
                  <a:pt x="293" y="297"/>
                </a:cubicBezTo>
                <a:cubicBezTo>
                  <a:pt x="293" y="298"/>
                  <a:pt x="293" y="298"/>
                  <a:pt x="293" y="298"/>
                </a:cubicBezTo>
                <a:lnTo>
                  <a:pt x="294" y="297"/>
                </a:lnTo>
                <a:close/>
                <a:moveTo>
                  <a:pt x="309" y="279"/>
                </a:moveTo>
                <a:cubicBezTo>
                  <a:pt x="307" y="277"/>
                  <a:pt x="307" y="277"/>
                  <a:pt x="307" y="277"/>
                </a:cubicBezTo>
                <a:cubicBezTo>
                  <a:pt x="305" y="277"/>
                  <a:pt x="305" y="277"/>
                  <a:pt x="305" y="277"/>
                </a:cubicBezTo>
                <a:cubicBezTo>
                  <a:pt x="304" y="278"/>
                  <a:pt x="304" y="278"/>
                  <a:pt x="304" y="278"/>
                </a:cubicBezTo>
                <a:cubicBezTo>
                  <a:pt x="305" y="279"/>
                  <a:pt x="305" y="279"/>
                  <a:pt x="305" y="279"/>
                </a:cubicBezTo>
                <a:cubicBezTo>
                  <a:pt x="305" y="281"/>
                  <a:pt x="305" y="281"/>
                  <a:pt x="305" y="281"/>
                </a:cubicBezTo>
                <a:cubicBezTo>
                  <a:pt x="307" y="282"/>
                  <a:pt x="307" y="282"/>
                  <a:pt x="307" y="282"/>
                </a:cubicBezTo>
                <a:cubicBezTo>
                  <a:pt x="306" y="283"/>
                  <a:pt x="306" y="283"/>
                  <a:pt x="306" y="283"/>
                </a:cubicBezTo>
                <a:cubicBezTo>
                  <a:pt x="304" y="288"/>
                  <a:pt x="304" y="288"/>
                  <a:pt x="304" y="288"/>
                </a:cubicBezTo>
                <a:cubicBezTo>
                  <a:pt x="304" y="290"/>
                  <a:pt x="304" y="290"/>
                  <a:pt x="304" y="290"/>
                </a:cubicBezTo>
                <a:cubicBezTo>
                  <a:pt x="306" y="290"/>
                  <a:pt x="306" y="290"/>
                  <a:pt x="306" y="290"/>
                </a:cubicBezTo>
                <a:cubicBezTo>
                  <a:pt x="307" y="289"/>
                  <a:pt x="307" y="289"/>
                  <a:pt x="307" y="289"/>
                </a:cubicBezTo>
                <a:cubicBezTo>
                  <a:pt x="308" y="290"/>
                  <a:pt x="308" y="290"/>
                  <a:pt x="308" y="290"/>
                </a:cubicBezTo>
                <a:cubicBezTo>
                  <a:pt x="309" y="289"/>
                  <a:pt x="309" y="289"/>
                  <a:pt x="309" y="289"/>
                </a:cubicBezTo>
                <a:cubicBezTo>
                  <a:pt x="308" y="287"/>
                  <a:pt x="308" y="287"/>
                  <a:pt x="308" y="287"/>
                </a:cubicBezTo>
                <a:cubicBezTo>
                  <a:pt x="309" y="286"/>
                  <a:pt x="309" y="286"/>
                  <a:pt x="309" y="286"/>
                </a:cubicBezTo>
                <a:cubicBezTo>
                  <a:pt x="309" y="284"/>
                  <a:pt x="309" y="284"/>
                  <a:pt x="309" y="284"/>
                </a:cubicBezTo>
                <a:cubicBezTo>
                  <a:pt x="310" y="284"/>
                  <a:pt x="310" y="284"/>
                  <a:pt x="310" y="284"/>
                </a:cubicBezTo>
                <a:cubicBezTo>
                  <a:pt x="310" y="286"/>
                  <a:pt x="310" y="286"/>
                  <a:pt x="310" y="286"/>
                </a:cubicBezTo>
                <a:cubicBezTo>
                  <a:pt x="311" y="286"/>
                  <a:pt x="311" y="286"/>
                  <a:pt x="311" y="286"/>
                </a:cubicBezTo>
                <a:cubicBezTo>
                  <a:pt x="313" y="283"/>
                  <a:pt x="313" y="283"/>
                  <a:pt x="313" y="283"/>
                </a:cubicBezTo>
                <a:cubicBezTo>
                  <a:pt x="313" y="281"/>
                  <a:pt x="313" y="281"/>
                  <a:pt x="313" y="281"/>
                </a:cubicBezTo>
                <a:cubicBezTo>
                  <a:pt x="311" y="279"/>
                  <a:pt x="311" y="279"/>
                  <a:pt x="311" y="279"/>
                </a:cubicBezTo>
                <a:lnTo>
                  <a:pt x="309" y="279"/>
                </a:lnTo>
                <a:close/>
                <a:moveTo>
                  <a:pt x="292" y="291"/>
                </a:moveTo>
                <a:cubicBezTo>
                  <a:pt x="293" y="291"/>
                  <a:pt x="293" y="291"/>
                  <a:pt x="293" y="291"/>
                </a:cubicBezTo>
                <a:cubicBezTo>
                  <a:pt x="294" y="289"/>
                  <a:pt x="294" y="289"/>
                  <a:pt x="294" y="289"/>
                </a:cubicBezTo>
                <a:cubicBezTo>
                  <a:pt x="294" y="287"/>
                  <a:pt x="294" y="287"/>
                  <a:pt x="294" y="287"/>
                </a:cubicBezTo>
                <a:cubicBezTo>
                  <a:pt x="295" y="284"/>
                  <a:pt x="295" y="284"/>
                  <a:pt x="295" y="284"/>
                </a:cubicBezTo>
                <a:cubicBezTo>
                  <a:pt x="296" y="283"/>
                  <a:pt x="296" y="283"/>
                  <a:pt x="296" y="283"/>
                </a:cubicBezTo>
                <a:cubicBezTo>
                  <a:pt x="296" y="279"/>
                  <a:pt x="296" y="279"/>
                  <a:pt x="296" y="279"/>
                </a:cubicBezTo>
                <a:cubicBezTo>
                  <a:pt x="297" y="278"/>
                  <a:pt x="297" y="278"/>
                  <a:pt x="297" y="278"/>
                </a:cubicBezTo>
                <a:cubicBezTo>
                  <a:pt x="298" y="275"/>
                  <a:pt x="298" y="275"/>
                  <a:pt x="298" y="275"/>
                </a:cubicBezTo>
                <a:cubicBezTo>
                  <a:pt x="298" y="272"/>
                  <a:pt x="298" y="272"/>
                  <a:pt x="298" y="272"/>
                </a:cubicBezTo>
                <a:cubicBezTo>
                  <a:pt x="297" y="269"/>
                  <a:pt x="297" y="269"/>
                  <a:pt x="297" y="269"/>
                </a:cubicBezTo>
                <a:cubicBezTo>
                  <a:pt x="296" y="268"/>
                  <a:pt x="296" y="268"/>
                  <a:pt x="296" y="268"/>
                </a:cubicBezTo>
                <a:cubicBezTo>
                  <a:pt x="295" y="269"/>
                  <a:pt x="295" y="269"/>
                  <a:pt x="295" y="269"/>
                </a:cubicBezTo>
                <a:cubicBezTo>
                  <a:pt x="293" y="270"/>
                  <a:pt x="293" y="270"/>
                  <a:pt x="293" y="270"/>
                </a:cubicBezTo>
                <a:cubicBezTo>
                  <a:pt x="293" y="271"/>
                  <a:pt x="293" y="271"/>
                  <a:pt x="293" y="271"/>
                </a:cubicBezTo>
                <a:cubicBezTo>
                  <a:pt x="295" y="273"/>
                  <a:pt x="295" y="273"/>
                  <a:pt x="295" y="273"/>
                </a:cubicBezTo>
                <a:cubicBezTo>
                  <a:pt x="294" y="274"/>
                  <a:pt x="294" y="274"/>
                  <a:pt x="294" y="274"/>
                </a:cubicBezTo>
                <a:cubicBezTo>
                  <a:pt x="293" y="276"/>
                  <a:pt x="293" y="276"/>
                  <a:pt x="293" y="276"/>
                </a:cubicBezTo>
                <a:cubicBezTo>
                  <a:pt x="293" y="277"/>
                  <a:pt x="293" y="277"/>
                  <a:pt x="293" y="277"/>
                </a:cubicBezTo>
                <a:cubicBezTo>
                  <a:pt x="291" y="278"/>
                  <a:pt x="291" y="278"/>
                  <a:pt x="291" y="278"/>
                </a:cubicBezTo>
                <a:cubicBezTo>
                  <a:pt x="291" y="279"/>
                  <a:pt x="291" y="279"/>
                  <a:pt x="291" y="279"/>
                </a:cubicBezTo>
                <a:cubicBezTo>
                  <a:pt x="293" y="279"/>
                  <a:pt x="293" y="279"/>
                  <a:pt x="293" y="279"/>
                </a:cubicBezTo>
                <a:cubicBezTo>
                  <a:pt x="292" y="280"/>
                  <a:pt x="292" y="280"/>
                  <a:pt x="292" y="280"/>
                </a:cubicBezTo>
                <a:cubicBezTo>
                  <a:pt x="292" y="281"/>
                  <a:pt x="292" y="281"/>
                  <a:pt x="292" y="281"/>
                </a:cubicBezTo>
                <a:cubicBezTo>
                  <a:pt x="292" y="282"/>
                  <a:pt x="292" y="282"/>
                  <a:pt x="292" y="282"/>
                </a:cubicBezTo>
                <a:cubicBezTo>
                  <a:pt x="293" y="282"/>
                  <a:pt x="293" y="282"/>
                  <a:pt x="293" y="282"/>
                </a:cubicBezTo>
                <a:cubicBezTo>
                  <a:pt x="294" y="281"/>
                  <a:pt x="294" y="281"/>
                  <a:pt x="294" y="281"/>
                </a:cubicBezTo>
                <a:cubicBezTo>
                  <a:pt x="294" y="282"/>
                  <a:pt x="294" y="282"/>
                  <a:pt x="294" y="282"/>
                </a:cubicBezTo>
                <a:cubicBezTo>
                  <a:pt x="293" y="283"/>
                  <a:pt x="293" y="283"/>
                  <a:pt x="293" y="283"/>
                </a:cubicBezTo>
                <a:cubicBezTo>
                  <a:pt x="292" y="283"/>
                  <a:pt x="292" y="283"/>
                  <a:pt x="292" y="283"/>
                </a:cubicBezTo>
                <a:cubicBezTo>
                  <a:pt x="291" y="285"/>
                  <a:pt x="291" y="285"/>
                  <a:pt x="291" y="285"/>
                </a:cubicBezTo>
                <a:cubicBezTo>
                  <a:pt x="291" y="287"/>
                  <a:pt x="291" y="287"/>
                  <a:pt x="291" y="287"/>
                </a:cubicBezTo>
                <a:cubicBezTo>
                  <a:pt x="292" y="288"/>
                  <a:pt x="292" y="288"/>
                  <a:pt x="292" y="288"/>
                </a:cubicBezTo>
                <a:cubicBezTo>
                  <a:pt x="292" y="290"/>
                  <a:pt x="292" y="290"/>
                  <a:pt x="292" y="290"/>
                </a:cubicBezTo>
                <a:lnTo>
                  <a:pt x="292" y="291"/>
                </a:lnTo>
                <a:close/>
                <a:moveTo>
                  <a:pt x="310" y="344"/>
                </a:moveTo>
                <a:cubicBezTo>
                  <a:pt x="311" y="346"/>
                  <a:pt x="311" y="346"/>
                  <a:pt x="311" y="346"/>
                </a:cubicBezTo>
                <a:cubicBezTo>
                  <a:pt x="314" y="349"/>
                  <a:pt x="314" y="349"/>
                  <a:pt x="314" y="349"/>
                </a:cubicBezTo>
                <a:cubicBezTo>
                  <a:pt x="314" y="351"/>
                  <a:pt x="314" y="351"/>
                  <a:pt x="314" y="351"/>
                </a:cubicBezTo>
                <a:cubicBezTo>
                  <a:pt x="316" y="352"/>
                  <a:pt x="316" y="352"/>
                  <a:pt x="316" y="352"/>
                </a:cubicBezTo>
                <a:cubicBezTo>
                  <a:pt x="317" y="350"/>
                  <a:pt x="317" y="350"/>
                  <a:pt x="317" y="350"/>
                </a:cubicBezTo>
                <a:cubicBezTo>
                  <a:pt x="315" y="347"/>
                  <a:pt x="315" y="347"/>
                  <a:pt x="315" y="347"/>
                </a:cubicBezTo>
                <a:cubicBezTo>
                  <a:pt x="311" y="342"/>
                  <a:pt x="311" y="342"/>
                  <a:pt x="311" y="342"/>
                </a:cubicBezTo>
                <a:cubicBezTo>
                  <a:pt x="311" y="342"/>
                  <a:pt x="310" y="344"/>
                  <a:pt x="310" y="344"/>
                </a:cubicBezTo>
                <a:close/>
                <a:moveTo>
                  <a:pt x="349" y="420"/>
                </a:moveTo>
                <a:cubicBezTo>
                  <a:pt x="347" y="417"/>
                  <a:pt x="347" y="417"/>
                  <a:pt x="347" y="417"/>
                </a:cubicBezTo>
                <a:cubicBezTo>
                  <a:pt x="345" y="416"/>
                  <a:pt x="345" y="416"/>
                  <a:pt x="345" y="416"/>
                </a:cubicBezTo>
                <a:cubicBezTo>
                  <a:pt x="345" y="418"/>
                  <a:pt x="345" y="418"/>
                  <a:pt x="345" y="418"/>
                </a:cubicBezTo>
                <a:cubicBezTo>
                  <a:pt x="348" y="421"/>
                  <a:pt x="348" y="421"/>
                  <a:pt x="348" y="421"/>
                </a:cubicBezTo>
                <a:lnTo>
                  <a:pt x="349" y="420"/>
                </a:lnTo>
                <a:close/>
                <a:moveTo>
                  <a:pt x="313" y="296"/>
                </a:moveTo>
                <a:cubicBezTo>
                  <a:pt x="314" y="295"/>
                  <a:pt x="314" y="295"/>
                  <a:pt x="314" y="295"/>
                </a:cubicBezTo>
                <a:cubicBezTo>
                  <a:pt x="314" y="294"/>
                  <a:pt x="314" y="294"/>
                  <a:pt x="314" y="294"/>
                </a:cubicBezTo>
                <a:cubicBezTo>
                  <a:pt x="311" y="296"/>
                  <a:pt x="311" y="296"/>
                  <a:pt x="311" y="296"/>
                </a:cubicBezTo>
                <a:cubicBezTo>
                  <a:pt x="310" y="297"/>
                  <a:pt x="310" y="297"/>
                  <a:pt x="310" y="297"/>
                </a:cubicBezTo>
                <a:cubicBezTo>
                  <a:pt x="312" y="298"/>
                  <a:pt x="312" y="298"/>
                  <a:pt x="312" y="298"/>
                </a:cubicBezTo>
                <a:lnTo>
                  <a:pt x="313" y="296"/>
                </a:lnTo>
                <a:close/>
                <a:moveTo>
                  <a:pt x="313" y="292"/>
                </a:moveTo>
                <a:cubicBezTo>
                  <a:pt x="313" y="291"/>
                  <a:pt x="313" y="291"/>
                  <a:pt x="313" y="291"/>
                </a:cubicBezTo>
                <a:cubicBezTo>
                  <a:pt x="310" y="291"/>
                  <a:pt x="310" y="291"/>
                  <a:pt x="310" y="291"/>
                </a:cubicBezTo>
                <a:cubicBezTo>
                  <a:pt x="308" y="292"/>
                  <a:pt x="308" y="292"/>
                  <a:pt x="308" y="292"/>
                </a:cubicBezTo>
                <a:cubicBezTo>
                  <a:pt x="309" y="294"/>
                  <a:pt x="309" y="294"/>
                  <a:pt x="309" y="294"/>
                </a:cubicBezTo>
                <a:cubicBezTo>
                  <a:pt x="311" y="295"/>
                  <a:pt x="311" y="295"/>
                  <a:pt x="311" y="295"/>
                </a:cubicBezTo>
                <a:lnTo>
                  <a:pt x="313" y="292"/>
                </a:lnTo>
                <a:close/>
                <a:moveTo>
                  <a:pt x="314" y="299"/>
                </a:moveTo>
                <a:cubicBezTo>
                  <a:pt x="314" y="297"/>
                  <a:pt x="314" y="297"/>
                  <a:pt x="314" y="297"/>
                </a:cubicBezTo>
                <a:cubicBezTo>
                  <a:pt x="313" y="297"/>
                  <a:pt x="313" y="297"/>
                  <a:pt x="313" y="297"/>
                </a:cubicBezTo>
                <a:cubicBezTo>
                  <a:pt x="312" y="300"/>
                  <a:pt x="312" y="300"/>
                  <a:pt x="312" y="300"/>
                </a:cubicBezTo>
                <a:cubicBezTo>
                  <a:pt x="313" y="300"/>
                  <a:pt x="313" y="300"/>
                  <a:pt x="313" y="300"/>
                </a:cubicBezTo>
                <a:lnTo>
                  <a:pt x="314" y="299"/>
                </a:lnTo>
                <a:close/>
                <a:moveTo>
                  <a:pt x="318" y="355"/>
                </a:moveTo>
                <a:cubicBezTo>
                  <a:pt x="319" y="354"/>
                  <a:pt x="319" y="354"/>
                  <a:pt x="319" y="354"/>
                </a:cubicBezTo>
                <a:cubicBezTo>
                  <a:pt x="318" y="352"/>
                  <a:pt x="318" y="352"/>
                  <a:pt x="318" y="352"/>
                </a:cubicBezTo>
                <a:lnTo>
                  <a:pt x="318" y="355"/>
                </a:lnTo>
                <a:close/>
                <a:moveTo>
                  <a:pt x="311" y="311"/>
                </a:moveTo>
                <a:cubicBezTo>
                  <a:pt x="312" y="312"/>
                  <a:pt x="312" y="312"/>
                  <a:pt x="312" y="312"/>
                </a:cubicBezTo>
                <a:cubicBezTo>
                  <a:pt x="312" y="313"/>
                  <a:pt x="312" y="313"/>
                  <a:pt x="312" y="313"/>
                </a:cubicBezTo>
                <a:cubicBezTo>
                  <a:pt x="314" y="312"/>
                  <a:pt x="314" y="312"/>
                  <a:pt x="314" y="312"/>
                </a:cubicBezTo>
                <a:cubicBezTo>
                  <a:pt x="312" y="310"/>
                  <a:pt x="312" y="310"/>
                  <a:pt x="312" y="310"/>
                </a:cubicBezTo>
                <a:lnTo>
                  <a:pt x="311" y="311"/>
                </a:lnTo>
                <a:close/>
                <a:moveTo>
                  <a:pt x="314" y="337"/>
                </a:moveTo>
                <a:cubicBezTo>
                  <a:pt x="314" y="339"/>
                  <a:pt x="314" y="339"/>
                  <a:pt x="314" y="339"/>
                </a:cubicBezTo>
                <a:cubicBezTo>
                  <a:pt x="316" y="339"/>
                  <a:pt x="316" y="339"/>
                  <a:pt x="316" y="339"/>
                </a:cubicBezTo>
                <a:cubicBezTo>
                  <a:pt x="317" y="336"/>
                  <a:pt x="317" y="336"/>
                  <a:pt x="317" y="336"/>
                </a:cubicBezTo>
                <a:cubicBezTo>
                  <a:pt x="315" y="335"/>
                  <a:pt x="315" y="335"/>
                  <a:pt x="315" y="335"/>
                </a:cubicBezTo>
                <a:cubicBezTo>
                  <a:pt x="312" y="336"/>
                  <a:pt x="312" y="336"/>
                  <a:pt x="312" y="336"/>
                </a:cubicBezTo>
                <a:cubicBezTo>
                  <a:pt x="311" y="337"/>
                  <a:pt x="311" y="337"/>
                  <a:pt x="311" y="337"/>
                </a:cubicBezTo>
                <a:lnTo>
                  <a:pt x="314" y="337"/>
                </a:lnTo>
                <a:close/>
                <a:moveTo>
                  <a:pt x="321" y="356"/>
                </a:moveTo>
                <a:cubicBezTo>
                  <a:pt x="321" y="358"/>
                  <a:pt x="321" y="358"/>
                  <a:pt x="321" y="358"/>
                </a:cubicBezTo>
                <a:cubicBezTo>
                  <a:pt x="321" y="359"/>
                  <a:pt x="321" y="359"/>
                  <a:pt x="321" y="359"/>
                </a:cubicBezTo>
                <a:cubicBezTo>
                  <a:pt x="322" y="359"/>
                  <a:pt x="322" y="359"/>
                  <a:pt x="322" y="359"/>
                </a:cubicBezTo>
                <a:cubicBezTo>
                  <a:pt x="324" y="357"/>
                  <a:pt x="324" y="357"/>
                  <a:pt x="324" y="357"/>
                </a:cubicBezTo>
                <a:cubicBezTo>
                  <a:pt x="323" y="360"/>
                  <a:pt x="323" y="360"/>
                  <a:pt x="323" y="360"/>
                </a:cubicBezTo>
                <a:cubicBezTo>
                  <a:pt x="323" y="362"/>
                  <a:pt x="323" y="362"/>
                  <a:pt x="323" y="362"/>
                </a:cubicBezTo>
                <a:cubicBezTo>
                  <a:pt x="325" y="359"/>
                  <a:pt x="325" y="359"/>
                  <a:pt x="325" y="359"/>
                </a:cubicBezTo>
                <a:cubicBezTo>
                  <a:pt x="326" y="355"/>
                  <a:pt x="326" y="355"/>
                  <a:pt x="326" y="355"/>
                </a:cubicBezTo>
                <a:cubicBezTo>
                  <a:pt x="324" y="353"/>
                  <a:pt x="324" y="353"/>
                  <a:pt x="324" y="353"/>
                </a:cubicBezTo>
                <a:cubicBezTo>
                  <a:pt x="322" y="354"/>
                  <a:pt x="322" y="354"/>
                  <a:pt x="322" y="354"/>
                </a:cubicBezTo>
                <a:cubicBezTo>
                  <a:pt x="319" y="356"/>
                  <a:pt x="319" y="356"/>
                  <a:pt x="319" y="356"/>
                </a:cubicBezTo>
                <a:lnTo>
                  <a:pt x="321" y="356"/>
                </a:lnTo>
                <a:close/>
                <a:moveTo>
                  <a:pt x="313" y="316"/>
                </a:moveTo>
                <a:cubicBezTo>
                  <a:pt x="312" y="317"/>
                  <a:pt x="312" y="317"/>
                  <a:pt x="312" y="317"/>
                </a:cubicBezTo>
                <a:cubicBezTo>
                  <a:pt x="314" y="318"/>
                  <a:pt x="314" y="318"/>
                  <a:pt x="314" y="318"/>
                </a:cubicBezTo>
                <a:cubicBezTo>
                  <a:pt x="315" y="316"/>
                  <a:pt x="315" y="316"/>
                  <a:pt x="315" y="316"/>
                </a:cubicBezTo>
                <a:cubicBezTo>
                  <a:pt x="314" y="313"/>
                  <a:pt x="314" y="313"/>
                  <a:pt x="314" y="313"/>
                </a:cubicBezTo>
                <a:cubicBezTo>
                  <a:pt x="313" y="314"/>
                  <a:pt x="313" y="314"/>
                  <a:pt x="313" y="314"/>
                </a:cubicBezTo>
                <a:lnTo>
                  <a:pt x="313" y="316"/>
                </a:lnTo>
                <a:close/>
                <a:moveTo>
                  <a:pt x="315" y="310"/>
                </a:moveTo>
                <a:cubicBezTo>
                  <a:pt x="319" y="309"/>
                  <a:pt x="319" y="309"/>
                  <a:pt x="319" y="309"/>
                </a:cubicBezTo>
                <a:cubicBezTo>
                  <a:pt x="319" y="310"/>
                  <a:pt x="319" y="310"/>
                  <a:pt x="319" y="310"/>
                </a:cubicBezTo>
                <a:cubicBezTo>
                  <a:pt x="317" y="311"/>
                  <a:pt x="317" y="311"/>
                  <a:pt x="317" y="311"/>
                </a:cubicBezTo>
                <a:cubicBezTo>
                  <a:pt x="315" y="313"/>
                  <a:pt x="315" y="313"/>
                  <a:pt x="315" y="313"/>
                </a:cubicBezTo>
                <a:cubicBezTo>
                  <a:pt x="316" y="314"/>
                  <a:pt x="316" y="314"/>
                  <a:pt x="316" y="314"/>
                </a:cubicBezTo>
                <a:cubicBezTo>
                  <a:pt x="319" y="312"/>
                  <a:pt x="319" y="312"/>
                  <a:pt x="319" y="312"/>
                </a:cubicBezTo>
                <a:cubicBezTo>
                  <a:pt x="322" y="308"/>
                  <a:pt x="322" y="308"/>
                  <a:pt x="322" y="308"/>
                </a:cubicBezTo>
                <a:cubicBezTo>
                  <a:pt x="321" y="306"/>
                  <a:pt x="321" y="306"/>
                  <a:pt x="321" y="306"/>
                </a:cubicBezTo>
                <a:cubicBezTo>
                  <a:pt x="322" y="304"/>
                  <a:pt x="322" y="304"/>
                  <a:pt x="322" y="304"/>
                </a:cubicBezTo>
                <a:cubicBezTo>
                  <a:pt x="321" y="302"/>
                  <a:pt x="321" y="302"/>
                  <a:pt x="321" y="302"/>
                </a:cubicBezTo>
                <a:cubicBezTo>
                  <a:pt x="319" y="302"/>
                  <a:pt x="319" y="302"/>
                  <a:pt x="319" y="302"/>
                </a:cubicBezTo>
                <a:cubicBezTo>
                  <a:pt x="319" y="303"/>
                  <a:pt x="319" y="303"/>
                  <a:pt x="319" y="303"/>
                </a:cubicBezTo>
                <a:cubicBezTo>
                  <a:pt x="317" y="304"/>
                  <a:pt x="317" y="304"/>
                  <a:pt x="317" y="304"/>
                </a:cubicBezTo>
                <a:cubicBezTo>
                  <a:pt x="316" y="307"/>
                  <a:pt x="316" y="307"/>
                  <a:pt x="316" y="307"/>
                </a:cubicBezTo>
                <a:cubicBezTo>
                  <a:pt x="316" y="308"/>
                  <a:pt x="316" y="308"/>
                  <a:pt x="316" y="308"/>
                </a:cubicBezTo>
                <a:cubicBezTo>
                  <a:pt x="314" y="309"/>
                  <a:pt x="314" y="309"/>
                  <a:pt x="314" y="309"/>
                </a:cubicBezTo>
                <a:lnTo>
                  <a:pt x="315" y="310"/>
                </a:lnTo>
                <a:close/>
                <a:moveTo>
                  <a:pt x="312" y="320"/>
                </a:moveTo>
                <a:cubicBezTo>
                  <a:pt x="314" y="321"/>
                  <a:pt x="314" y="321"/>
                  <a:pt x="314" y="321"/>
                </a:cubicBezTo>
                <a:cubicBezTo>
                  <a:pt x="315" y="319"/>
                  <a:pt x="315" y="319"/>
                  <a:pt x="315" y="319"/>
                </a:cubicBezTo>
                <a:cubicBezTo>
                  <a:pt x="314" y="318"/>
                  <a:pt x="314" y="318"/>
                  <a:pt x="314" y="318"/>
                </a:cubicBezTo>
                <a:lnTo>
                  <a:pt x="312" y="320"/>
                </a:lnTo>
                <a:close/>
                <a:moveTo>
                  <a:pt x="316" y="327"/>
                </a:moveTo>
                <a:cubicBezTo>
                  <a:pt x="316" y="325"/>
                  <a:pt x="316" y="325"/>
                  <a:pt x="316" y="325"/>
                </a:cubicBezTo>
                <a:cubicBezTo>
                  <a:pt x="314" y="326"/>
                  <a:pt x="314" y="326"/>
                  <a:pt x="314" y="326"/>
                </a:cubicBezTo>
                <a:cubicBezTo>
                  <a:pt x="314" y="328"/>
                  <a:pt x="314" y="328"/>
                  <a:pt x="314" y="328"/>
                </a:cubicBezTo>
                <a:lnTo>
                  <a:pt x="316" y="327"/>
                </a:lnTo>
                <a:close/>
                <a:moveTo>
                  <a:pt x="321" y="351"/>
                </a:moveTo>
                <a:cubicBezTo>
                  <a:pt x="319" y="351"/>
                  <a:pt x="319" y="351"/>
                  <a:pt x="319" y="351"/>
                </a:cubicBezTo>
                <a:cubicBezTo>
                  <a:pt x="321" y="353"/>
                  <a:pt x="321" y="353"/>
                  <a:pt x="321" y="353"/>
                </a:cubicBezTo>
                <a:cubicBezTo>
                  <a:pt x="321" y="352"/>
                  <a:pt x="321" y="352"/>
                  <a:pt x="321" y="352"/>
                </a:cubicBezTo>
                <a:lnTo>
                  <a:pt x="321" y="351"/>
                </a:lnTo>
                <a:close/>
                <a:moveTo>
                  <a:pt x="333" y="403"/>
                </a:moveTo>
                <a:cubicBezTo>
                  <a:pt x="333" y="401"/>
                  <a:pt x="333" y="401"/>
                  <a:pt x="333" y="401"/>
                </a:cubicBezTo>
                <a:cubicBezTo>
                  <a:pt x="330" y="402"/>
                  <a:pt x="330" y="402"/>
                  <a:pt x="330" y="402"/>
                </a:cubicBezTo>
                <a:lnTo>
                  <a:pt x="333" y="403"/>
                </a:lnTo>
                <a:close/>
                <a:moveTo>
                  <a:pt x="330" y="397"/>
                </a:moveTo>
                <a:cubicBezTo>
                  <a:pt x="332" y="397"/>
                  <a:pt x="332" y="397"/>
                  <a:pt x="332" y="397"/>
                </a:cubicBezTo>
                <a:cubicBezTo>
                  <a:pt x="331" y="395"/>
                  <a:pt x="331" y="395"/>
                  <a:pt x="331" y="395"/>
                </a:cubicBezTo>
                <a:lnTo>
                  <a:pt x="330" y="397"/>
                </a:lnTo>
                <a:close/>
                <a:moveTo>
                  <a:pt x="328" y="401"/>
                </a:moveTo>
                <a:cubicBezTo>
                  <a:pt x="324" y="400"/>
                  <a:pt x="324" y="400"/>
                  <a:pt x="324" y="400"/>
                </a:cubicBezTo>
                <a:cubicBezTo>
                  <a:pt x="323" y="398"/>
                  <a:pt x="323" y="398"/>
                  <a:pt x="323" y="398"/>
                </a:cubicBezTo>
                <a:cubicBezTo>
                  <a:pt x="322" y="396"/>
                  <a:pt x="322" y="396"/>
                  <a:pt x="322" y="396"/>
                </a:cubicBezTo>
                <a:cubicBezTo>
                  <a:pt x="320" y="396"/>
                  <a:pt x="320" y="396"/>
                  <a:pt x="320" y="396"/>
                </a:cubicBezTo>
                <a:cubicBezTo>
                  <a:pt x="319" y="394"/>
                  <a:pt x="319" y="394"/>
                  <a:pt x="319" y="394"/>
                </a:cubicBezTo>
                <a:cubicBezTo>
                  <a:pt x="317" y="394"/>
                  <a:pt x="317" y="394"/>
                  <a:pt x="317" y="394"/>
                </a:cubicBezTo>
                <a:cubicBezTo>
                  <a:pt x="316" y="394"/>
                  <a:pt x="316" y="394"/>
                  <a:pt x="316" y="394"/>
                </a:cubicBezTo>
                <a:cubicBezTo>
                  <a:pt x="313" y="394"/>
                  <a:pt x="313" y="394"/>
                  <a:pt x="313" y="394"/>
                </a:cubicBezTo>
                <a:cubicBezTo>
                  <a:pt x="314" y="397"/>
                  <a:pt x="314" y="397"/>
                  <a:pt x="314" y="397"/>
                </a:cubicBezTo>
                <a:cubicBezTo>
                  <a:pt x="315" y="397"/>
                  <a:pt x="315" y="397"/>
                  <a:pt x="315" y="397"/>
                </a:cubicBezTo>
                <a:cubicBezTo>
                  <a:pt x="316" y="400"/>
                  <a:pt x="316" y="400"/>
                  <a:pt x="316" y="400"/>
                </a:cubicBezTo>
                <a:cubicBezTo>
                  <a:pt x="321" y="400"/>
                  <a:pt x="321" y="400"/>
                  <a:pt x="321" y="400"/>
                </a:cubicBezTo>
                <a:cubicBezTo>
                  <a:pt x="319" y="401"/>
                  <a:pt x="319" y="401"/>
                  <a:pt x="319" y="401"/>
                </a:cubicBezTo>
                <a:cubicBezTo>
                  <a:pt x="316" y="401"/>
                  <a:pt x="316" y="401"/>
                  <a:pt x="316" y="401"/>
                </a:cubicBezTo>
                <a:cubicBezTo>
                  <a:pt x="315" y="403"/>
                  <a:pt x="315" y="403"/>
                  <a:pt x="315" y="403"/>
                </a:cubicBezTo>
                <a:cubicBezTo>
                  <a:pt x="316" y="404"/>
                  <a:pt x="316" y="404"/>
                  <a:pt x="316" y="404"/>
                </a:cubicBezTo>
                <a:cubicBezTo>
                  <a:pt x="315" y="407"/>
                  <a:pt x="315" y="407"/>
                  <a:pt x="315" y="407"/>
                </a:cubicBezTo>
                <a:cubicBezTo>
                  <a:pt x="316" y="407"/>
                  <a:pt x="316" y="407"/>
                  <a:pt x="316" y="407"/>
                </a:cubicBezTo>
                <a:cubicBezTo>
                  <a:pt x="318" y="406"/>
                  <a:pt x="318" y="406"/>
                  <a:pt x="318" y="406"/>
                </a:cubicBezTo>
                <a:cubicBezTo>
                  <a:pt x="318" y="408"/>
                  <a:pt x="318" y="408"/>
                  <a:pt x="318" y="408"/>
                </a:cubicBezTo>
                <a:cubicBezTo>
                  <a:pt x="320" y="408"/>
                  <a:pt x="320" y="408"/>
                  <a:pt x="320" y="408"/>
                </a:cubicBezTo>
                <a:cubicBezTo>
                  <a:pt x="320" y="410"/>
                  <a:pt x="320" y="410"/>
                  <a:pt x="320" y="410"/>
                </a:cubicBezTo>
                <a:cubicBezTo>
                  <a:pt x="322" y="411"/>
                  <a:pt x="322" y="411"/>
                  <a:pt x="322" y="411"/>
                </a:cubicBezTo>
                <a:cubicBezTo>
                  <a:pt x="325" y="410"/>
                  <a:pt x="325" y="410"/>
                  <a:pt x="325" y="410"/>
                </a:cubicBezTo>
                <a:cubicBezTo>
                  <a:pt x="322" y="413"/>
                  <a:pt x="322" y="413"/>
                  <a:pt x="322" y="413"/>
                </a:cubicBezTo>
                <a:cubicBezTo>
                  <a:pt x="323" y="416"/>
                  <a:pt x="323" y="416"/>
                  <a:pt x="323" y="416"/>
                </a:cubicBezTo>
                <a:cubicBezTo>
                  <a:pt x="325" y="415"/>
                  <a:pt x="325" y="415"/>
                  <a:pt x="325" y="415"/>
                </a:cubicBezTo>
                <a:cubicBezTo>
                  <a:pt x="325" y="414"/>
                  <a:pt x="325" y="414"/>
                  <a:pt x="325" y="414"/>
                </a:cubicBezTo>
                <a:cubicBezTo>
                  <a:pt x="327" y="413"/>
                  <a:pt x="327" y="413"/>
                  <a:pt x="327" y="413"/>
                </a:cubicBezTo>
                <a:cubicBezTo>
                  <a:pt x="327" y="415"/>
                  <a:pt x="327" y="415"/>
                  <a:pt x="327" y="415"/>
                </a:cubicBezTo>
                <a:cubicBezTo>
                  <a:pt x="325" y="417"/>
                  <a:pt x="325" y="417"/>
                  <a:pt x="325" y="417"/>
                </a:cubicBezTo>
                <a:cubicBezTo>
                  <a:pt x="325" y="418"/>
                  <a:pt x="325" y="418"/>
                  <a:pt x="325" y="418"/>
                </a:cubicBezTo>
                <a:cubicBezTo>
                  <a:pt x="326" y="418"/>
                  <a:pt x="326" y="418"/>
                  <a:pt x="326" y="418"/>
                </a:cubicBezTo>
                <a:cubicBezTo>
                  <a:pt x="327" y="421"/>
                  <a:pt x="327" y="421"/>
                  <a:pt x="327" y="421"/>
                </a:cubicBezTo>
                <a:cubicBezTo>
                  <a:pt x="330" y="420"/>
                  <a:pt x="330" y="420"/>
                  <a:pt x="330" y="420"/>
                </a:cubicBezTo>
                <a:cubicBezTo>
                  <a:pt x="330" y="422"/>
                  <a:pt x="330" y="422"/>
                  <a:pt x="330" y="422"/>
                </a:cubicBezTo>
                <a:cubicBezTo>
                  <a:pt x="331" y="422"/>
                  <a:pt x="331" y="422"/>
                  <a:pt x="331" y="422"/>
                </a:cubicBezTo>
                <a:cubicBezTo>
                  <a:pt x="332" y="424"/>
                  <a:pt x="332" y="424"/>
                  <a:pt x="332" y="424"/>
                </a:cubicBezTo>
                <a:cubicBezTo>
                  <a:pt x="331" y="426"/>
                  <a:pt x="331" y="426"/>
                  <a:pt x="331" y="426"/>
                </a:cubicBezTo>
                <a:cubicBezTo>
                  <a:pt x="334" y="428"/>
                  <a:pt x="334" y="428"/>
                  <a:pt x="334" y="428"/>
                </a:cubicBezTo>
                <a:cubicBezTo>
                  <a:pt x="335" y="426"/>
                  <a:pt x="335" y="426"/>
                  <a:pt x="335" y="426"/>
                </a:cubicBezTo>
                <a:cubicBezTo>
                  <a:pt x="336" y="428"/>
                  <a:pt x="336" y="428"/>
                  <a:pt x="336" y="428"/>
                </a:cubicBezTo>
                <a:cubicBezTo>
                  <a:pt x="338" y="428"/>
                  <a:pt x="338" y="428"/>
                  <a:pt x="338" y="428"/>
                </a:cubicBezTo>
                <a:cubicBezTo>
                  <a:pt x="335" y="430"/>
                  <a:pt x="335" y="430"/>
                  <a:pt x="335" y="430"/>
                </a:cubicBezTo>
                <a:cubicBezTo>
                  <a:pt x="339" y="434"/>
                  <a:pt x="339" y="434"/>
                  <a:pt x="339" y="434"/>
                </a:cubicBezTo>
                <a:cubicBezTo>
                  <a:pt x="340" y="435"/>
                  <a:pt x="340" y="435"/>
                  <a:pt x="340" y="435"/>
                </a:cubicBezTo>
                <a:cubicBezTo>
                  <a:pt x="341" y="436"/>
                  <a:pt x="341" y="436"/>
                  <a:pt x="341" y="436"/>
                </a:cubicBezTo>
                <a:cubicBezTo>
                  <a:pt x="347" y="440"/>
                  <a:pt x="347" y="440"/>
                  <a:pt x="347" y="440"/>
                </a:cubicBezTo>
                <a:cubicBezTo>
                  <a:pt x="348" y="439"/>
                  <a:pt x="348" y="439"/>
                  <a:pt x="348" y="439"/>
                </a:cubicBezTo>
                <a:cubicBezTo>
                  <a:pt x="350" y="439"/>
                  <a:pt x="350" y="439"/>
                  <a:pt x="350" y="439"/>
                </a:cubicBezTo>
                <a:cubicBezTo>
                  <a:pt x="349" y="434"/>
                  <a:pt x="349" y="434"/>
                  <a:pt x="349" y="434"/>
                </a:cubicBezTo>
                <a:cubicBezTo>
                  <a:pt x="349" y="431"/>
                  <a:pt x="349" y="431"/>
                  <a:pt x="349" y="431"/>
                </a:cubicBezTo>
                <a:cubicBezTo>
                  <a:pt x="348" y="430"/>
                  <a:pt x="348" y="430"/>
                  <a:pt x="348" y="430"/>
                </a:cubicBezTo>
                <a:cubicBezTo>
                  <a:pt x="349" y="426"/>
                  <a:pt x="349" y="426"/>
                  <a:pt x="349" y="426"/>
                </a:cubicBezTo>
                <a:cubicBezTo>
                  <a:pt x="347" y="424"/>
                  <a:pt x="347" y="424"/>
                  <a:pt x="347" y="424"/>
                </a:cubicBezTo>
                <a:cubicBezTo>
                  <a:pt x="343" y="420"/>
                  <a:pt x="343" y="420"/>
                  <a:pt x="343" y="420"/>
                </a:cubicBezTo>
                <a:cubicBezTo>
                  <a:pt x="342" y="415"/>
                  <a:pt x="342" y="415"/>
                  <a:pt x="342" y="415"/>
                </a:cubicBezTo>
                <a:cubicBezTo>
                  <a:pt x="340" y="411"/>
                  <a:pt x="340" y="411"/>
                  <a:pt x="340" y="411"/>
                </a:cubicBezTo>
                <a:cubicBezTo>
                  <a:pt x="340" y="407"/>
                  <a:pt x="340" y="407"/>
                  <a:pt x="340" y="407"/>
                </a:cubicBezTo>
                <a:cubicBezTo>
                  <a:pt x="339" y="406"/>
                  <a:pt x="339" y="406"/>
                  <a:pt x="339" y="406"/>
                </a:cubicBezTo>
                <a:cubicBezTo>
                  <a:pt x="336" y="406"/>
                  <a:pt x="336" y="406"/>
                  <a:pt x="336" y="406"/>
                </a:cubicBezTo>
                <a:cubicBezTo>
                  <a:pt x="333" y="404"/>
                  <a:pt x="333" y="404"/>
                  <a:pt x="333" y="404"/>
                </a:cubicBezTo>
                <a:cubicBezTo>
                  <a:pt x="331" y="404"/>
                  <a:pt x="331" y="404"/>
                  <a:pt x="331" y="404"/>
                </a:cubicBezTo>
                <a:cubicBezTo>
                  <a:pt x="329" y="403"/>
                  <a:pt x="329" y="403"/>
                  <a:pt x="329" y="403"/>
                </a:cubicBezTo>
                <a:lnTo>
                  <a:pt x="328" y="401"/>
                </a:lnTo>
                <a:close/>
                <a:moveTo>
                  <a:pt x="326" y="346"/>
                </a:moveTo>
                <a:cubicBezTo>
                  <a:pt x="327" y="345"/>
                  <a:pt x="327" y="345"/>
                  <a:pt x="327" y="345"/>
                </a:cubicBezTo>
                <a:cubicBezTo>
                  <a:pt x="326" y="345"/>
                  <a:pt x="326" y="345"/>
                  <a:pt x="326" y="345"/>
                </a:cubicBezTo>
                <a:cubicBezTo>
                  <a:pt x="324" y="346"/>
                  <a:pt x="324" y="346"/>
                  <a:pt x="324" y="346"/>
                </a:cubicBezTo>
                <a:cubicBezTo>
                  <a:pt x="323" y="348"/>
                  <a:pt x="323" y="348"/>
                  <a:pt x="323" y="348"/>
                </a:cubicBezTo>
                <a:cubicBezTo>
                  <a:pt x="324" y="347"/>
                  <a:pt x="324" y="347"/>
                  <a:pt x="324" y="347"/>
                </a:cubicBezTo>
                <a:lnTo>
                  <a:pt x="326" y="346"/>
                </a:lnTo>
                <a:close/>
                <a:moveTo>
                  <a:pt x="2319" y="950"/>
                </a:moveTo>
                <a:cubicBezTo>
                  <a:pt x="2318" y="949"/>
                  <a:pt x="2318" y="949"/>
                  <a:pt x="2318" y="949"/>
                </a:cubicBezTo>
                <a:cubicBezTo>
                  <a:pt x="2319" y="949"/>
                  <a:pt x="2319" y="949"/>
                  <a:pt x="2319" y="949"/>
                </a:cubicBezTo>
                <a:cubicBezTo>
                  <a:pt x="2319" y="948"/>
                  <a:pt x="2319" y="948"/>
                  <a:pt x="2319" y="948"/>
                </a:cubicBezTo>
                <a:cubicBezTo>
                  <a:pt x="2318" y="949"/>
                  <a:pt x="2318" y="949"/>
                  <a:pt x="2318" y="949"/>
                </a:cubicBezTo>
                <a:cubicBezTo>
                  <a:pt x="2318" y="950"/>
                  <a:pt x="2318" y="950"/>
                  <a:pt x="2318" y="950"/>
                </a:cubicBezTo>
                <a:cubicBezTo>
                  <a:pt x="2318" y="953"/>
                  <a:pt x="2318" y="953"/>
                  <a:pt x="2318" y="953"/>
                </a:cubicBezTo>
                <a:lnTo>
                  <a:pt x="2319" y="950"/>
                </a:lnTo>
                <a:close/>
                <a:moveTo>
                  <a:pt x="341" y="408"/>
                </a:moveTo>
                <a:cubicBezTo>
                  <a:pt x="341" y="411"/>
                  <a:pt x="341" y="411"/>
                  <a:pt x="341" y="411"/>
                </a:cubicBezTo>
                <a:cubicBezTo>
                  <a:pt x="342" y="408"/>
                  <a:pt x="342" y="408"/>
                  <a:pt x="342" y="408"/>
                </a:cubicBezTo>
                <a:lnTo>
                  <a:pt x="341" y="408"/>
                </a:lnTo>
                <a:close/>
                <a:moveTo>
                  <a:pt x="325" y="364"/>
                </a:moveTo>
                <a:cubicBezTo>
                  <a:pt x="326" y="364"/>
                  <a:pt x="326" y="364"/>
                  <a:pt x="326" y="364"/>
                </a:cubicBezTo>
                <a:cubicBezTo>
                  <a:pt x="326" y="363"/>
                  <a:pt x="326" y="363"/>
                  <a:pt x="326" y="363"/>
                </a:cubicBezTo>
                <a:cubicBezTo>
                  <a:pt x="327" y="362"/>
                  <a:pt x="327" y="362"/>
                  <a:pt x="327" y="362"/>
                </a:cubicBezTo>
                <a:cubicBezTo>
                  <a:pt x="326" y="360"/>
                  <a:pt x="326" y="360"/>
                  <a:pt x="326" y="360"/>
                </a:cubicBezTo>
                <a:cubicBezTo>
                  <a:pt x="325" y="362"/>
                  <a:pt x="325" y="362"/>
                  <a:pt x="325" y="362"/>
                </a:cubicBezTo>
                <a:lnTo>
                  <a:pt x="325" y="364"/>
                </a:lnTo>
                <a:close/>
                <a:moveTo>
                  <a:pt x="2798" y="643"/>
                </a:moveTo>
                <a:cubicBezTo>
                  <a:pt x="2796" y="644"/>
                  <a:pt x="2796" y="644"/>
                  <a:pt x="2796" y="644"/>
                </a:cubicBezTo>
                <a:cubicBezTo>
                  <a:pt x="2795" y="645"/>
                  <a:pt x="2795" y="645"/>
                  <a:pt x="2795" y="645"/>
                </a:cubicBezTo>
                <a:cubicBezTo>
                  <a:pt x="2794" y="646"/>
                  <a:pt x="2794" y="646"/>
                  <a:pt x="2794" y="646"/>
                </a:cubicBezTo>
                <a:cubicBezTo>
                  <a:pt x="2792" y="648"/>
                  <a:pt x="2792" y="648"/>
                  <a:pt x="2792" y="648"/>
                </a:cubicBezTo>
                <a:cubicBezTo>
                  <a:pt x="2791" y="650"/>
                  <a:pt x="2791" y="650"/>
                  <a:pt x="2791" y="650"/>
                </a:cubicBezTo>
                <a:cubicBezTo>
                  <a:pt x="2790" y="650"/>
                  <a:pt x="2790" y="650"/>
                  <a:pt x="2790" y="650"/>
                </a:cubicBezTo>
                <a:cubicBezTo>
                  <a:pt x="2788" y="651"/>
                  <a:pt x="2788" y="651"/>
                  <a:pt x="2788" y="651"/>
                </a:cubicBezTo>
                <a:cubicBezTo>
                  <a:pt x="2789" y="651"/>
                  <a:pt x="2789" y="651"/>
                  <a:pt x="2789" y="651"/>
                </a:cubicBezTo>
                <a:cubicBezTo>
                  <a:pt x="2790" y="651"/>
                  <a:pt x="2790" y="651"/>
                  <a:pt x="2790" y="651"/>
                </a:cubicBezTo>
                <a:cubicBezTo>
                  <a:pt x="2790" y="653"/>
                  <a:pt x="2790" y="653"/>
                  <a:pt x="2790" y="653"/>
                </a:cubicBezTo>
                <a:cubicBezTo>
                  <a:pt x="2791" y="655"/>
                  <a:pt x="2791" y="655"/>
                  <a:pt x="2791" y="655"/>
                </a:cubicBezTo>
                <a:cubicBezTo>
                  <a:pt x="2791" y="656"/>
                  <a:pt x="2791" y="656"/>
                  <a:pt x="2791" y="656"/>
                </a:cubicBezTo>
                <a:cubicBezTo>
                  <a:pt x="2790" y="654"/>
                  <a:pt x="2790" y="654"/>
                  <a:pt x="2790" y="654"/>
                </a:cubicBezTo>
                <a:cubicBezTo>
                  <a:pt x="2789" y="653"/>
                  <a:pt x="2789" y="653"/>
                  <a:pt x="2789" y="653"/>
                </a:cubicBezTo>
                <a:cubicBezTo>
                  <a:pt x="2789" y="655"/>
                  <a:pt x="2789" y="655"/>
                  <a:pt x="2789" y="655"/>
                </a:cubicBezTo>
                <a:cubicBezTo>
                  <a:pt x="2790" y="657"/>
                  <a:pt x="2790" y="657"/>
                  <a:pt x="2790" y="657"/>
                </a:cubicBezTo>
                <a:cubicBezTo>
                  <a:pt x="2791" y="657"/>
                  <a:pt x="2791" y="657"/>
                  <a:pt x="2791" y="657"/>
                </a:cubicBezTo>
                <a:cubicBezTo>
                  <a:pt x="2791" y="658"/>
                  <a:pt x="2791" y="658"/>
                  <a:pt x="2791" y="658"/>
                </a:cubicBezTo>
                <a:cubicBezTo>
                  <a:pt x="2790" y="660"/>
                  <a:pt x="2790" y="660"/>
                  <a:pt x="2790" y="660"/>
                </a:cubicBezTo>
                <a:cubicBezTo>
                  <a:pt x="2791" y="659"/>
                  <a:pt x="2791" y="659"/>
                  <a:pt x="2791" y="659"/>
                </a:cubicBezTo>
                <a:cubicBezTo>
                  <a:pt x="2792" y="658"/>
                  <a:pt x="2792" y="658"/>
                  <a:pt x="2792" y="658"/>
                </a:cubicBezTo>
                <a:cubicBezTo>
                  <a:pt x="2794" y="657"/>
                  <a:pt x="2794" y="657"/>
                  <a:pt x="2794" y="657"/>
                </a:cubicBezTo>
                <a:cubicBezTo>
                  <a:pt x="2795" y="658"/>
                  <a:pt x="2795" y="658"/>
                  <a:pt x="2795" y="658"/>
                </a:cubicBezTo>
                <a:cubicBezTo>
                  <a:pt x="2794" y="658"/>
                  <a:pt x="2794" y="658"/>
                  <a:pt x="2794" y="658"/>
                </a:cubicBezTo>
                <a:cubicBezTo>
                  <a:pt x="2795" y="659"/>
                  <a:pt x="2795" y="659"/>
                  <a:pt x="2795" y="659"/>
                </a:cubicBezTo>
                <a:cubicBezTo>
                  <a:pt x="2796" y="658"/>
                  <a:pt x="2796" y="658"/>
                  <a:pt x="2796" y="658"/>
                </a:cubicBezTo>
                <a:cubicBezTo>
                  <a:pt x="2796" y="657"/>
                  <a:pt x="2796" y="657"/>
                  <a:pt x="2796" y="657"/>
                </a:cubicBezTo>
                <a:cubicBezTo>
                  <a:pt x="2795" y="656"/>
                  <a:pt x="2795" y="656"/>
                  <a:pt x="2795" y="656"/>
                </a:cubicBezTo>
                <a:cubicBezTo>
                  <a:pt x="2793" y="656"/>
                  <a:pt x="2793" y="656"/>
                  <a:pt x="2793" y="656"/>
                </a:cubicBezTo>
                <a:cubicBezTo>
                  <a:pt x="2793" y="655"/>
                  <a:pt x="2793" y="655"/>
                  <a:pt x="2793" y="655"/>
                </a:cubicBezTo>
                <a:cubicBezTo>
                  <a:pt x="2794" y="654"/>
                  <a:pt x="2794" y="654"/>
                  <a:pt x="2794" y="654"/>
                </a:cubicBezTo>
                <a:cubicBezTo>
                  <a:pt x="2793" y="653"/>
                  <a:pt x="2793" y="653"/>
                  <a:pt x="2793" y="653"/>
                </a:cubicBezTo>
                <a:cubicBezTo>
                  <a:pt x="2794" y="652"/>
                  <a:pt x="2794" y="652"/>
                  <a:pt x="2794" y="652"/>
                </a:cubicBezTo>
                <a:cubicBezTo>
                  <a:pt x="2796" y="652"/>
                  <a:pt x="2796" y="652"/>
                  <a:pt x="2796" y="652"/>
                </a:cubicBezTo>
                <a:cubicBezTo>
                  <a:pt x="2797" y="655"/>
                  <a:pt x="2797" y="655"/>
                  <a:pt x="2797" y="655"/>
                </a:cubicBezTo>
                <a:cubicBezTo>
                  <a:pt x="2798" y="658"/>
                  <a:pt x="2798" y="658"/>
                  <a:pt x="2798" y="658"/>
                </a:cubicBezTo>
                <a:cubicBezTo>
                  <a:pt x="2799" y="659"/>
                  <a:pt x="2799" y="659"/>
                  <a:pt x="2799" y="659"/>
                </a:cubicBezTo>
                <a:cubicBezTo>
                  <a:pt x="2799" y="662"/>
                  <a:pt x="2799" y="662"/>
                  <a:pt x="2799" y="662"/>
                </a:cubicBezTo>
                <a:cubicBezTo>
                  <a:pt x="2797" y="665"/>
                  <a:pt x="2797" y="665"/>
                  <a:pt x="2797" y="665"/>
                </a:cubicBezTo>
                <a:cubicBezTo>
                  <a:pt x="2795" y="666"/>
                  <a:pt x="2795" y="666"/>
                  <a:pt x="2795" y="666"/>
                </a:cubicBezTo>
                <a:cubicBezTo>
                  <a:pt x="2796" y="667"/>
                  <a:pt x="2796" y="667"/>
                  <a:pt x="2796" y="667"/>
                </a:cubicBezTo>
                <a:cubicBezTo>
                  <a:pt x="2797" y="669"/>
                  <a:pt x="2797" y="669"/>
                  <a:pt x="2797" y="669"/>
                </a:cubicBezTo>
                <a:cubicBezTo>
                  <a:pt x="2798" y="673"/>
                  <a:pt x="2798" y="673"/>
                  <a:pt x="2798" y="673"/>
                </a:cubicBezTo>
                <a:cubicBezTo>
                  <a:pt x="2800" y="675"/>
                  <a:pt x="2800" y="675"/>
                  <a:pt x="2800" y="675"/>
                </a:cubicBezTo>
                <a:cubicBezTo>
                  <a:pt x="2800" y="677"/>
                  <a:pt x="2800" y="677"/>
                  <a:pt x="2800" y="677"/>
                </a:cubicBezTo>
                <a:cubicBezTo>
                  <a:pt x="2799" y="678"/>
                  <a:pt x="2799" y="678"/>
                  <a:pt x="2799" y="678"/>
                </a:cubicBezTo>
                <a:cubicBezTo>
                  <a:pt x="2800" y="679"/>
                  <a:pt x="2800" y="679"/>
                  <a:pt x="2800" y="679"/>
                </a:cubicBezTo>
                <a:cubicBezTo>
                  <a:pt x="2802" y="679"/>
                  <a:pt x="2802" y="679"/>
                  <a:pt x="2802" y="679"/>
                </a:cubicBezTo>
                <a:cubicBezTo>
                  <a:pt x="2803" y="680"/>
                  <a:pt x="2803" y="680"/>
                  <a:pt x="2803" y="680"/>
                </a:cubicBezTo>
                <a:cubicBezTo>
                  <a:pt x="2804" y="679"/>
                  <a:pt x="2804" y="679"/>
                  <a:pt x="2804" y="679"/>
                </a:cubicBezTo>
                <a:cubicBezTo>
                  <a:pt x="2804" y="678"/>
                  <a:pt x="2804" y="678"/>
                  <a:pt x="2804" y="678"/>
                </a:cubicBezTo>
                <a:cubicBezTo>
                  <a:pt x="2802" y="676"/>
                  <a:pt x="2802" y="676"/>
                  <a:pt x="2802" y="676"/>
                </a:cubicBezTo>
                <a:cubicBezTo>
                  <a:pt x="2802" y="672"/>
                  <a:pt x="2802" y="672"/>
                  <a:pt x="2802" y="672"/>
                </a:cubicBezTo>
                <a:cubicBezTo>
                  <a:pt x="2803" y="671"/>
                  <a:pt x="2803" y="671"/>
                  <a:pt x="2803" y="671"/>
                </a:cubicBezTo>
                <a:cubicBezTo>
                  <a:pt x="2804" y="672"/>
                  <a:pt x="2804" y="672"/>
                  <a:pt x="2804" y="672"/>
                </a:cubicBezTo>
                <a:cubicBezTo>
                  <a:pt x="2804" y="673"/>
                  <a:pt x="2804" y="673"/>
                  <a:pt x="2804" y="673"/>
                </a:cubicBezTo>
                <a:cubicBezTo>
                  <a:pt x="2804" y="674"/>
                  <a:pt x="2804" y="674"/>
                  <a:pt x="2804" y="674"/>
                </a:cubicBezTo>
                <a:cubicBezTo>
                  <a:pt x="2805" y="676"/>
                  <a:pt x="2805" y="676"/>
                  <a:pt x="2805" y="676"/>
                </a:cubicBezTo>
                <a:cubicBezTo>
                  <a:pt x="2806" y="678"/>
                  <a:pt x="2806" y="678"/>
                  <a:pt x="2806" y="678"/>
                </a:cubicBezTo>
                <a:cubicBezTo>
                  <a:pt x="2805" y="680"/>
                  <a:pt x="2805" y="680"/>
                  <a:pt x="2805" y="680"/>
                </a:cubicBezTo>
                <a:cubicBezTo>
                  <a:pt x="2806" y="681"/>
                  <a:pt x="2806" y="681"/>
                  <a:pt x="2806" y="681"/>
                </a:cubicBezTo>
                <a:cubicBezTo>
                  <a:pt x="2807" y="680"/>
                  <a:pt x="2807" y="680"/>
                  <a:pt x="2807" y="680"/>
                </a:cubicBezTo>
                <a:cubicBezTo>
                  <a:pt x="2809" y="677"/>
                  <a:pt x="2809" y="677"/>
                  <a:pt x="2809" y="677"/>
                </a:cubicBezTo>
                <a:cubicBezTo>
                  <a:pt x="2808" y="676"/>
                  <a:pt x="2808" y="676"/>
                  <a:pt x="2808" y="676"/>
                </a:cubicBezTo>
                <a:cubicBezTo>
                  <a:pt x="2807" y="675"/>
                  <a:pt x="2807" y="675"/>
                  <a:pt x="2807" y="675"/>
                </a:cubicBezTo>
                <a:cubicBezTo>
                  <a:pt x="2808" y="674"/>
                  <a:pt x="2808" y="674"/>
                  <a:pt x="2808" y="674"/>
                </a:cubicBezTo>
                <a:cubicBezTo>
                  <a:pt x="2810" y="675"/>
                  <a:pt x="2810" y="675"/>
                  <a:pt x="2810" y="675"/>
                </a:cubicBezTo>
                <a:cubicBezTo>
                  <a:pt x="2811" y="675"/>
                  <a:pt x="2811" y="675"/>
                  <a:pt x="2811" y="675"/>
                </a:cubicBezTo>
                <a:cubicBezTo>
                  <a:pt x="2811" y="673"/>
                  <a:pt x="2811" y="673"/>
                  <a:pt x="2811" y="673"/>
                </a:cubicBezTo>
                <a:cubicBezTo>
                  <a:pt x="2811" y="670"/>
                  <a:pt x="2811" y="670"/>
                  <a:pt x="2811" y="670"/>
                </a:cubicBezTo>
                <a:cubicBezTo>
                  <a:pt x="2811" y="668"/>
                  <a:pt x="2811" y="668"/>
                  <a:pt x="2811" y="668"/>
                </a:cubicBezTo>
                <a:cubicBezTo>
                  <a:pt x="2811" y="663"/>
                  <a:pt x="2811" y="663"/>
                  <a:pt x="2811" y="663"/>
                </a:cubicBezTo>
                <a:cubicBezTo>
                  <a:pt x="2811" y="660"/>
                  <a:pt x="2811" y="660"/>
                  <a:pt x="2811" y="660"/>
                </a:cubicBezTo>
                <a:cubicBezTo>
                  <a:pt x="2812" y="658"/>
                  <a:pt x="2812" y="658"/>
                  <a:pt x="2812" y="658"/>
                </a:cubicBezTo>
                <a:cubicBezTo>
                  <a:pt x="2814" y="656"/>
                  <a:pt x="2814" y="656"/>
                  <a:pt x="2814" y="656"/>
                </a:cubicBezTo>
                <a:cubicBezTo>
                  <a:pt x="2813" y="654"/>
                  <a:pt x="2813" y="654"/>
                  <a:pt x="2813" y="654"/>
                </a:cubicBezTo>
                <a:cubicBezTo>
                  <a:pt x="2812" y="654"/>
                  <a:pt x="2812" y="654"/>
                  <a:pt x="2812" y="654"/>
                </a:cubicBezTo>
                <a:cubicBezTo>
                  <a:pt x="2812" y="652"/>
                  <a:pt x="2812" y="652"/>
                  <a:pt x="2812" y="652"/>
                </a:cubicBezTo>
                <a:cubicBezTo>
                  <a:pt x="2811" y="652"/>
                  <a:pt x="2811" y="652"/>
                  <a:pt x="2811" y="652"/>
                </a:cubicBezTo>
                <a:cubicBezTo>
                  <a:pt x="2811" y="651"/>
                  <a:pt x="2811" y="651"/>
                  <a:pt x="2811" y="651"/>
                </a:cubicBezTo>
                <a:cubicBezTo>
                  <a:pt x="2808" y="651"/>
                  <a:pt x="2808" y="651"/>
                  <a:pt x="2808" y="651"/>
                </a:cubicBezTo>
                <a:cubicBezTo>
                  <a:pt x="2807" y="650"/>
                  <a:pt x="2807" y="650"/>
                  <a:pt x="2807" y="650"/>
                </a:cubicBezTo>
                <a:cubicBezTo>
                  <a:pt x="2809" y="649"/>
                  <a:pt x="2809" y="649"/>
                  <a:pt x="2809" y="649"/>
                </a:cubicBezTo>
                <a:cubicBezTo>
                  <a:pt x="2810" y="648"/>
                  <a:pt x="2810" y="648"/>
                  <a:pt x="2810" y="648"/>
                </a:cubicBezTo>
                <a:cubicBezTo>
                  <a:pt x="2809" y="645"/>
                  <a:pt x="2809" y="645"/>
                  <a:pt x="2809" y="645"/>
                </a:cubicBezTo>
                <a:cubicBezTo>
                  <a:pt x="2808" y="644"/>
                  <a:pt x="2808" y="644"/>
                  <a:pt x="2808" y="644"/>
                </a:cubicBezTo>
                <a:cubicBezTo>
                  <a:pt x="2806" y="644"/>
                  <a:pt x="2806" y="644"/>
                  <a:pt x="2806" y="644"/>
                </a:cubicBezTo>
                <a:cubicBezTo>
                  <a:pt x="2806" y="645"/>
                  <a:pt x="2806" y="645"/>
                  <a:pt x="2806" y="645"/>
                </a:cubicBezTo>
                <a:cubicBezTo>
                  <a:pt x="2805" y="646"/>
                  <a:pt x="2805" y="646"/>
                  <a:pt x="2805" y="646"/>
                </a:cubicBezTo>
                <a:cubicBezTo>
                  <a:pt x="2803" y="646"/>
                  <a:pt x="2803" y="646"/>
                  <a:pt x="2803" y="646"/>
                </a:cubicBezTo>
                <a:cubicBezTo>
                  <a:pt x="2801" y="643"/>
                  <a:pt x="2801" y="643"/>
                  <a:pt x="2801" y="643"/>
                </a:cubicBezTo>
                <a:cubicBezTo>
                  <a:pt x="2802" y="642"/>
                  <a:pt x="2802" y="642"/>
                  <a:pt x="2802" y="642"/>
                </a:cubicBezTo>
                <a:cubicBezTo>
                  <a:pt x="2805" y="640"/>
                  <a:pt x="2805" y="640"/>
                  <a:pt x="2805" y="640"/>
                </a:cubicBezTo>
                <a:cubicBezTo>
                  <a:pt x="2807" y="640"/>
                  <a:pt x="2807" y="640"/>
                  <a:pt x="2807" y="640"/>
                </a:cubicBezTo>
                <a:cubicBezTo>
                  <a:pt x="2810" y="641"/>
                  <a:pt x="2810" y="641"/>
                  <a:pt x="2810" y="641"/>
                </a:cubicBezTo>
                <a:cubicBezTo>
                  <a:pt x="2812" y="642"/>
                  <a:pt x="2812" y="642"/>
                  <a:pt x="2812" y="642"/>
                </a:cubicBezTo>
                <a:cubicBezTo>
                  <a:pt x="2812" y="641"/>
                  <a:pt x="2812" y="641"/>
                  <a:pt x="2812" y="641"/>
                </a:cubicBezTo>
                <a:cubicBezTo>
                  <a:pt x="2812" y="639"/>
                  <a:pt x="2812" y="639"/>
                  <a:pt x="2812" y="639"/>
                </a:cubicBezTo>
                <a:cubicBezTo>
                  <a:pt x="2812" y="637"/>
                  <a:pt x="2812" y="637"/>
                  <a:pt x="2812" y="637"/>
                </a:cubicBezTo>
                <a:cubicBezTo>
                  <a:pt x="2812" y="636"/>
                  <a:pt x="2812" y="636"/>
                  <a:pt x="2812" y="636"/>
                </a:cubicBezTo>
                <a:cubicBezTo>
                  <a:pt x="2813" y="635"/>
                  <a:pt x="2813" y="635"/>
                  <a:pt x="2813" y="635"/>
                </a:cubicBezTo>
                <a:cubicBezTo>
                  <a:pt x="2814" y="635"/>
                  <a:pt x="2814" y="635"/>
                  <a:pt x="2814" y="635"/>
                </a:cubicBezTo>
                <a:cubicBezTo>
                  <a:pt x="2815" y="636"/>
                  <a:pt x="2815" y="636"/>
                  <a:pt x="2815" y="636"/>
                </a:cubicBezTo>
                <a:cubicBezTo>
                  <a:pt x="2816" y="636"/>
                  <a:pt x="2816" y="636"/>
                  <a:pt x="2816" y="636"/>
                </a:cubicBezTo>
                <a:cubicBezTo>
                  <a:pt x="2818" y="635"/>
                  <a:pt x="2818" y="635"/>
                  <a:pt x="2818" y="635"/>
                </a:cubicBezTo>
                <a:cubicBezTo>
                  <a:pt x="2821" y="635"/>
                  <a:pt x="2821" y="635"/>
                  <a:pt x="2821" y="635"/>
                </a:cubicBezTo>
                <a:cubicBezTo>
                  <a:pt x="2824" y="634"/>
                  <a:pt x="2824" y="634"/>
                  <a:pt x="2824" y="634"/>
                </a:cubicBezTo>
                <a:cubicBezTo>
                  <a:pt x="2826" y="633"/>
                  <a:pt x="2826" y="633"/>
                  <a:pt x="2826" y="633"/>
                </a:cubicBezTo>
                <a:cubicBezTo>
                  <a:pt x="2827" y="634"/>
                  <a:pt x="2827" y="634"/>
                  <a:pt x="2827" y="634"/>
                </a:cubicBezTo>
                <a:cubicBezTo>
                  <a:pt x="2828" y="633"/>
                  <a:pt x="2828" y="633"/>
                  <a:pt x="2828" y="633"/>
                </a:cubicBezTo>
                <a:cubicBezTo>
                  <a:pt x="2828" y="633"/>
                  <a:pt x="2828" y="633"/>
                  <a:pt x="2828" y="633"/>
                </a:cubicBezTo>
                <a:cubicBezTo>
                  <a:pt x="2830" y="631"/>
                  <a:pt x="2830" y="631"/>
                  <a:pt x="2830" y="631"/>
                </a:cubicBezTo>
                <a:cubicBezTo>
                  <a:pt x="2831" y="630"/>
                  <a:pt x="2831" y="630"/>
                  <a:pt x="2831" y="630"/>
                </a:cubicBezTo>
                <a:cubicBezTo>
                  <a:pt x="2833" y="628"/>
                  <a:pt x="2833" y="628"/>
                  <a:pt x="2833" y="628"/>
                </a:cubicBezTo>
                <a:cubicBezTo>
                  <a:pt x="2836" y="628"/>
                  <a:pt x="2836" y="628"/>
                  <a:pt x="2836" y="628"/>
                </a:cubicBezTo>
                <a:cubicBezTo>
                  <a:pt x="2839" y="628"/>
                  <a:pt x="2839" y="628"/>
                  <a:pt x="2839" y="628"/>
                </a:cubicBezTo>
                <a:cubicBezTo>
                  <a:pt x="2840" y="628"/>
                  <a:pt x="2840" y="628"/>
                  <a:pt x="2840" y="628"/>
                </a:cubicBezTo>
                <a:cubicBezTo>
                  <a:pt x="2841" y="628"/>
                  <a:pt x="2841" y="628"/>
                  <a:pt x="2841" y="628"/>
                </a:cubicBezTo>
                <a:cubicBezTo>
                  <a:pt x="2841" y="630"/>
                  <a:pt x="2841" y="630"/>
                  <a:pt x="2841" y="630"/>
                </a:cubicBezTo>
                <a:cubicBezTo>
                  <a:pt x="2840" y="632"/>
                  <a:pt x="2840" y="632"/>
                  <a:pt x="2840" y="632"/>
                </a:cubicBezTo>
                <a:cubicBezTo>
                  <a:pt x="2839" y="634"/>
                  <a:pt x="2839" y="634"/>
                  <a:pt x="2839" y="634"/>
                </a:cubicBezTo>
                <a:cubicBezTo>
                  <a:pt x="2840" y="635"/>
                  <a:pt x="2840" y="635"/>
                  <a:pt x="2840" y="635"/>
                </a:cubicBezTo>
                <a:cubicBezTo>
                  <a:pt x="2840" y="636"/>
                  <a:pt x="2840" y="636"/>
                  <a:pt x="2840" y="636"/>
                </a:cubicBezTo>
                <a:cubicBezTo>
                  <a:pt x="2841" y="638"/>
                  <a:pt x="2841" y="638"/>
                  <a:pt x="2841" y="638"/>
                </a:cubicBezTo>
                <a:cubicBezTo>
                  <a:pt x="2840" y="639"/>
                  <a:pt x="2840" y="639"/>
                  <a:pt x="2840" y="639"/>
                </a:cubicBezTo>
                <a:cubicBezTo>
                  <a:pt x="2841" y="641"/>
                  <a:pt x="2841" y="641"/>
                  <a:pt x="2841" y="641"/>
                </a:cubicBezTo>
                <a:cubicBezTo>
                  <a:pt x="2843" y="642"/>
                  <a:pt x="2843" y="642"/>
                  <a:pt x="2843" y="642"/>
                </a:cubicBezTo>
                <a:cubicBezTo>
                  <a:pt x="2846" y="645"/>
                  <a:pt x="2846" y="645"/>
                  <a:pt x="2846" y="645"/>
                </a:cubicBezTo>
                <a:cubicBezTo>
                  <a:pt x="2848" y="645"/>
                  <a:pt x="2848" y="645"/>
                  <a:pt x="2848" y="645"/>
                </a:cubicBezTo>
                <a:cubicBezTo>
                  <a:pt x="2849" y="644"/>
                  <a:pt x="2849" y="644"/>
                  <a:pt x="2849" y="644"/>
                </a:cubicBezTo>
                <a:cubicBezTo>
                  <a:pt x="2851" y="642"/>
                  <a:pt x="2851" y="642"/>
                  <a:pt x="2851" y="642"/>
                </a:cubicBezTo>
                <a:cubicBezTo>
                  <a:pt x="2851" y="640"/>
                  <a:pt x="2851" y="640"/>
                  <a:pt x="2851" y="640"/>
                </a:cubicBezTo>
                <a:cubicBezTo>
                  <a:pt x="2852" y="639"/>
                  <a:pt x="2852" y="639"/>
                  <a:pt x="2852" y="639"/>
                </a:cubicBezTo>
                <a:cubicBezTo>
                  <a:pt x="2852" y="638"/>
                  <a:pt x="2852" y="638"/>
                  <a:pt x="2852" y="638"/>
                </a:cubicBezTo>
                <a:cubicBezTo>
                  <a:pt x="2852" y="637"/>
                  <a:pt x="2852" y="637"/>
                  <a:pt x="2852" y="637"/>
                </a:cubicBezTo>
                <a:cubicBezTo>
                  <a:pt x="2853" y="634"/>
                  <a:pt x="2853" y="634"/>
                  <a:pt x="2853" y="634"/>
                </a:cubicBezTo>
                <a:cubicBezTo>
                  <a:pt x="2855" y="634"/>
                  <a:pt x="2855" y="634"/>
                  <a:pt x="2855" y="634"/>
                </a:cubicBezTo>
                <a:cubicBezTo>
                  <a:pt x="2857" y="634"/>
                  <a:pt x="2857" y="634"/>
                  <a:pt x="2857" y="634"/>
                </a:cubicBezTo>
                <a:cubicBezTo>
                  <a:pt x="2857" y="633"/>
                  <a:pt x="2857" y="633"/>
                  <a:pt x="2857" y="633"/>
                </a:cubicBezTo>
                <a:cubicBezTo>
                  <a:pt x="2857" y="632"/>
                  <a:pt x="2857" y="632"/>
                  <a:pt x="2857" y="632"/>
                </a:cubicBezTo>
                <a:cubicBezTo>
                  <a:pt x="2856" y="630"/>
                  <a:pt x="2856" y="630"/>
                  <a:pt x="2856" y="630"/>
                </a:cubicBezTo>
                <a:cubicBezTo>
                  <a:pt x="2853" y="628"/>
                  <a:pt x="2853" y="628"/>
                  <a:pt x="2853" y="628"/>
                </a:cubicBezTo>
                <a:cubicBezTo>
                  <a:pt x="2852" y="627"/>
                  <a:pt x="2852" y="627"/>
                  <a:pt x="2852" y="627"/>
                </a:cubicBezTo>
                <a:cubicBezTo>
                  <a:pt x="2853" y="625"/>
                  <a:pt x="2853" y="625"/>
                  <a:pt x="2853" y="625"/>
                </a:cubicBezTo>
                <a:cubicBezTo>
                  <a:pt x="2854" y="624"/>
                  <a:pt x="2854" y="624"/>
                  <a:pt x="2854" y="624"/>
                </a:cubicBezTo>
                <a:cubicBezTo>
                  <a:pt x="2855" y="623"/>
                  <a:pt x="2855" y="623"/>
                  <a:pt x="2855" y="623"/>
                </a:cubicBezTo>
                <a:cubicBezTo>
                  <a:pt x="2854" y="624"/>
                  <a:pt x="2854" y="624"/>
                  <a:pt x="2854" y="624"/>
                </a:cubicBezTo>
                <a:cubicBezTo>
                  <a:pt x="2855" y="626"/>
                  <a:pt x="2855" y="626"/>
                  <a:pt x="2855" y="626"/>
                </a:cubicBezTo>
                <a:cubicBezTo>
                  <a:pt x="2855" y="627"/>
                  <a:pt x="2855" y="627"/>
                  <a:pt x="2855" y="627"/>
                </a:cubicBezTo>
                <a:cubicBezTo>
                  <a:pt x="2856" y="626"/>
                  <a:pt x="2856" y="626"/>
                  <a:pt x="2856" y="626"/>
                </a:cubicBezTo>
                <a:cubicBezTo>
                  <a:pt x="2857" y="626"/>
                  <a:pt x="2857" y="626"/>
                  <a:pt x="2857" y="626"/>
                </a:cubicBezTo>
                <a:cubicBezTo>
                  <a:pt x="2858" y="626"/>
                  <a:pt x="2858" y="626"/>
                  <a:pt x="2858" y="626"/>
                </a:cubicBezTo>
                <a:cubicBezTo>
                  <a:pt x="2859" y="627"/>
                  <a:pt x="2859" y="627"/>
                  <a:pt x="2859" y="627"/>
                </a:cubicBezTo>
                <a:cubicBezTo>
                  <a:pt x="2860" y="627"/>
                  <a:pt x="2860" y="627"/>
                  <a:pt x="2860" y="627"/>
                </a:cubicBezTo>
                <a:cubicBezTo>
                  <a:pt x="2861" y="627"/>
                  <a:pt x="2861" y="627"/>
                  <a:pt x="2861" y="627"/>
                </a:cubicBezTo>
                <a:cubicBezTo>
                  <a:pt x="2860" y="628"/>
                  <a:pt x="2860" y="628"/>
                  <a:pt x="2860" y="628"/>
                </a:cubicBezTo>
                <a:cubicBezTo>
                  <a:pt x="2859" y="628"/>
                  <a:pt x="2859" y="628"/>
                  <a:pt x="2859" y="628"/>
                </a:cubicBezTo>
                <a:cubicBezTo>
                  <a:pt x="2858" y="629"/>
                  <a:pt x="2858" y="629"/>
                  <a:pt x="2858" y="629"/>
                </a:cubicBezTo>
                <a:cubicBezTo>
                  <a:pt x="2859" y="629"/>
                  <a:pt x="2859" y="629"/>
                  <a:pt x="2859" y="629"/>
                </a:cubicBezTo>
                <a:cubicBezTo>
                  <a:pt x="2861" y="628"/>
                  <a:pt x="2861" y="628"/>
                  <a:pt x="2861" y="628"/>
                </a:cubicBezTo>
                <a:cubicBezTo>
                  <a:pt x="2863" y="627"/>
                  <a:pt x="2863" y="627"/>
                  <a:pt x="2863" y="627"/>
                </a:cubicBezTo>
                <a:cubicBezTo>
                  <a:pt x="2868" y="628"/>
                  <a:pt x="2868" y="628"/>
                  <a:pt x="2868" y="628"/>
                </a:cubicBezTo>
                <a:cubicBezTo>
                  <a:pt x="2871" y="627"/>
                  <a:pt x="2871" y="627"/>
                  <a:pt x="2871" y="627"/>
                </a:cubicBezTo>
                <a:cubicBezTo>
                  <a:pt x="2870" y="627"/>
                  <a:pt x="2870" y="627"/>
                  <a:pt x="2870" y="627"/>
                </a:cubicBezTo>
                <a:cubicBezTo>
                  <a:pt x="2870" y="625"/>
                  <a:pt x="2870" y="625"/>
                  <a:pt x="2870" y="625"/>
                </a:cubicBezTo>
                <a:cubicBezTo>
                  <a:pt x="2870" y="622"/>
                  <a:pt x="2870" y="622"/>
                  <a:pt x="2870" y="622"/>
                </a:cubicBezTo>
                <a:cubicBezTo>
                  <a:pt x="2872" y="621"/>
                  <a:pt x="2872" y="621"/>
                  <a:pt x="2872" y="621"/>
                </a:cubicBezTo>
                <a:cubicBezTo>
                  <a:pt x="2874" y="621"/>
                  <a:pt x="2874" y="621"/>
                  <a:pt x="2874" y="621"/>
                </a:cubicBezTo>
                <a:cubicBezTo>
                  <a:pt x="2874" y="623"/>
                  <a:pt x="2874" y="623"/>
                  <a:pt x="2874" y="623"/>
                </a:cubicBezTo>
                <a:cubicBezTo>
                  <a:pt x="2874" y="625"/>
                  <a:pt x="2874" y="625"/>
                  <a:pt x="2874" y="625"/>
                </a:cubicBezTo>
                <a:cubicBezTo>
                  <a:pt x="2875" y="627"/>
                  <a:pt x="2875" y="627"/>
                  <a:pt x="2875" y="627"/>
                </a:cubicBezTo>
                <a:cubicBezTo>
                  <a:pt x="2876" y="627"/>
                  <a:pt x="2876" y="627"/>
                  <a:pt x="2876" y="627"/>
                </a:cubicBezTo>
                <a:cubicBezTo>
                  <a:pt x="2878" y="625"/>
                  <a:pt x="2878" y="625"/>
                  <a:pt x="2878" y="625"/>
                </a:cubicBezTo>
                <a:cubicBezTo>
                  <a:pt x="2876" y="621"/>
                  <a:pt x="2876" y="621"/>
                  <a:pt x="2876" y="621"/>
                </a:cubicBezTo>
                <a:cubicBezTo>
                  <a:pt x="2877" y="619"/>
                  <a:pt x="2877" y="619"/>
                  <a:pt x="2877" y="619"/>
                </a:cubicBezTo>
                <a:cubicBezTo>
                  <a:pt x="2880" y="617"/>
                  <a:pt x="2880" y="617"/>
                  <a:pt x="2880" y="617"/>
                </a:cubicBezTo>
                <a:cubicBezTo>
                  <a:pt x="2881" y="617"/>
                  <a:pt x="2881" y="617"/>
                  <a:pt x="2881" y="617"/>
                </a:cubicBezTo>
                <a:cubicBezTo>
                  <a:pt x="2881" y="616"/>
                  <a:pt x="2881" y="616"/>
                  <a:pt x="2881" y="616"/>
                </a:cubicBezTo>
                <a:cubicBezTo>
                  <a:pt x="2880" y="615"/>
                  <a:pt x="2880" y="615"/>
                  <a:pt x="2880" y="615"/>
                </a:cubicBezTo>
                <a:cubicBezTo>
                  <a:pt x="2881" y="612"/>
                  <a:pt x="2881" y="612"/>
                  <a:pt x="2881" y="612"/>
                </a:cubicBezTo>
                <a:cubicBezTo>
                  <a:pt x="2882" y="612"/>
                  <a:pt x="2882" y="612"/>
                  <a:pt x="2882" y="612"/>
                </a:cubicBezTo>
                <a:cubicBezTo>
                  <a:pt x="2884" y="612"/>
                  <a:pt x="2884" y="612"/>
                  <a:pt x="2884" y="612"/>
                </a:cubicBezTo>
                <a:cubicBezTo>
                  <a:pt x="2884" y="613"/>
                  <a:pt x="2884" y="613"/>
                  <a:pt x="2884" y="613"/>
                </a:cubicBezTo>
                <a:cubicBezTo>
                  <a:pt x="2884" y="614"/>
                  <a:pt x="2884" y="614"/>
                  <a:pt x="2884" y="614"/>
                </a:cubicBezTo>
                <a:cubicBezTo>
                  <a:pt x="2883" y="617"/>
                  <a:pt x="2883" y="617"/>
                  <a:pt x="2883" y="617"/>
                </a:cubicBezTo>
                <a:cubicBezTo>
                  <a:pt x="2884" y="623"/>
                  <a:pt x="2884" y="623"/>
                  <a:pt x="2884" y="623"/>
                </a:cubicBezTo>
                <a:cubicBezTo>
                  <a:pt x="2885" y="623"/>
                  <a:pt x="2885" y="623"/>
                  <a:pt x="2885" y="623"/>
                </a:cubicBezTo>
                <a:cubicBezTo>
                  <a:pt x="2886" y="622"/>
                  <a:pt x="2886" y="622"/>
                  <a:pt x="2886" y="622"/>
                </a:cubicBezTo>
                <a:cubicBezTo>
                  <a:pt x="2887" y="621"/>
                  <a:pt x="2887" y="621"/>
                  <a:pt x="2887" y="621"/>
                </a:cubicBezTo>
                <a:cubicBezTo>
                  <a:pt x="2888" y="620"/>
                  <a:pt x="2888" y="620"/>
                  <a:pt x="2888" y="620"/>
                </a:cubicBezTo>
                <a:cubicBezTo>
                  <a:pt x="2890" y="618"/>
                  <a:pt x="2890" y="618"/>
                  <a:pt x="2890" y="618"/>
                </a:cubicBezTo>
                <a:cubicBezTo>
                  <a:pt x="2891" y="616"/>
                  <a:pt x="2891" y="616"/>
                  <a:pt x="2891" y="616"/>
                </a:cubicBezTo>
                <a:cubicBezTo>
                  <a:pt x="2891" y="614"/>
                  <a:pt x="2891" y="614"/>
                  <a:pt x="2891" y="614"/>
                </a:cubicBezTo>
                <a:cubicBezTo>
                  <a:pt x="2893" y="612"/>
                  <a:pt x="2893" y="612"/>
                  <a:pt x="2893" y="612"/>
                </a:cubicBezTo>
                <a:cubicBezTo>
                  <a:pt x="2892" y="611"/>
                  <a:pt x="2892" y="611"/>
                  <a:pt x="2892" y="611"/>
                </a:cubicBezTo>
                <a:cubicBezTo>
                  <a:pt x="2891" y="610"/>
                  <a:pt x="2891" y="610"/>
                  <a:pt x="2891" y="610"/>
                </a:cubicBezTo>
                <a:cubicBezTo>
                  <a:pt x="2889" y="607"/>
                  <a:pt x="2889" y="607"/>
                  <a:pt x="2889" y="607"/>
                </a:cubicBezTo>
                <a:cubicBezTo>
                  <a:pt x="2888" y="604"/>
                  <a:pt x="2888" y="604"/>
                  <a:pt x="2888" y="604"/>
                </a:cubicBezTo>
                <a:cubicBezTo>
                  <a:pt x="2888" y="599"/>
                  <a:pt x="2888" y="599"/>
                  <a:pt x="2888" y="599"/>
                </a:cubicBezTo>
                <a:cubicBezTo>
                  <a:pt x="2888" y="594"/>
                  <a:pt x="2888" y="594"/>
                  <a:pt x="2888" y="594"/>
                </a:cubicBezTo>
                <a:cubicBezTo>
                  <a:pt x="2888" y="590"/>
                  <a:pt x="2888" y="590"/>
                  <a:pt x="2888" y="590"/>
                </a:cubicBezTo>
                <a:cubicBezTo>
                  <a:pt x="2887" y="583"/>
                  <a:pt x="2887" y="583"/>
                  <a:pt x="2887" y="583"/>
                </a:cubicBezTo>
                <a:cubicBezTo>
                  <a:pt x="2884" y="579"/>
                  <a:pt x="2884" y="579"/>
                  <a:pt x="2884" y="579"/>
                </a:cubicBezTo>
                <a:cubicBezTo>
                  <a:pt x="2884" y="577"/>
                  <a:pt x="2884" y="577"/>
                  <a:pt x="2884" y="577"/>
                </a:cubicBezTo>
                <a:cubicBezTo>
                  <a:pt x="2885" y="573"/>
                  <a:pt x="2885" y="573"/>
                  <a:pt x="2885" y="573"/>
                </a:cubicBezTo>
                <a:cubicBezTo>
                  <a:pt x="2888" y="572"/>
                  <a:pt x="2888" y="572"/>
                  <a:pt x="2888" y="572"/>
                </a:cubicBezTo>
                <a:cubicBezTo>
                  <a:pt x="2889" y="572"/>
                  <a:pt x="2889" y="572"/>
                  <a:pt x="2889" y="572"/>
                </a:cubicBezTo>
                <a:cubicBezTo>
                  <a:pt x="2890" y="573"/>
                  <a:pt x="2890" y="573"/>
                  <a:pt x="2890" y="573"/>
                </a:cubicBezTo>
                <a:cubicBezTo>
                  <a:pt x="2891" y="573"/>
                  <a:pt x="2891" y="573"/>
                  <a:pt x="2891" y="573"/>
                </a:cubicBezTo>
                <a:cubicBezTo>
                  <a:pt x="2890" y="570"/>
                  <a:pt x="2890" y="570"/>
                  <a:pt x="2890" y="570"/>
                </a:cubicBezTo>
                <a:cubicBezTo>
                  <a:pt x="2890" y="569"/>
                  <a:pt x="2890" y="569"/>
                  <a:pt x="2890" y="569"/>
                </a:cubicBezTo>
                <a:cubicBezTo>
                  <a:pt x="2889" y="568"/>
                  <a:pt x="2889" y="568"/>
                  <a:pt x="2889" y="568"/>
                </a:cubicBezTo>
                <a:cubicBezTo>
                  <a:pt x="2889" y="566"/>
                  <a:pt x="2889" y="566"/>
                  <a:pt x="2889" y="566"/>
                </a:cubicBezTo>
                <a:cubicBezTo>
                  <a:pt x="2889" y="565"/>
                  <a:pt x="2889" y="565"/>
                  <a:pt x="2889" y="565"/>
                </a:cubicBezTo>
                <a:cubicBezTo>
                  <a:pt x="2889" y="563"/>
                  <a:pt x="2889" y="563"/>
                  <a:pt x="2889" y="563"/>
                </a:cubicBezTo>
                <a:cubicBezTo>
                  <a:pt x="2889" y="562"/>
                  <a:pt x="2889" y="562"/>
                  <a:pt x="2889" y="562"/>
                </a:cubicBezTo>
                <a:cubicBezTo>
                  <a:pt x="2889" y="561"/>
                  <a:pt x="2889" y="561"/>
                  <a:pt x="2889" y="561"/>
                </a:cubicBezTo>
                <a:cubicBezTo>
                  <a:pt x="2890" y="560"/>
                  <a:pt x="2890" y="560"/>
                  <a:pt x="2890" y="560"/>
                </a:cubicBezTo>
                <a:cubicBezTo>
                  <a:pt x="2889" y="559"/>
                  <a:pt x="2889" y="559"/>
                  <a:pt x="2889" y="559"/>
                </a:cubicBezTo>
                <a:cubicBezTo>
                  <a:pt x="2889" y="557"/>
                  <a:pt x="2889" y="557"/>
                  <a:pt x="2889" y="557"/>
                </a:cubicBezTo>
                <a:cubicBezTo>
                  <a:pt x="2889" y="555"/>
                  <a:pt x="2889" y="555"/>
                  <a:pt x="2889" y="555"/>
                </a:cubicBezTo>
                <a:cubicBezTo>
                  <a:pt x="2889" y="554"/>
                  <a:pt x="2889" y="554"/>
                  <a:pt x="2889" y="554"/>
                </a:cubicBezTo>
                <a:cubicBezTo>
                  <a:pt x="2888" y="550"/>
                  <a:pt x="2888" y="550"/>
                  <a:pt x="2888" y="550"/>
                </a:cubicBezTo>
                <a:cubicBezTo>
                  <a:pt x="2886" y="547"/>
                  <a:pt x="2886" y="547"/>
                  <a:pt x="2886" y="547"/>
                </a:cubicBezTo>
                <a:cubicBezTo>
                  <a:pt x="2885" y="547"/>
                  <a:pt x="2885" y="547"/>
                  <a:pt x="2885" y="547"/>
                </a:cubicBezTo>
                <a:cubicBezTo>
                  <a:pt x="2884" y="546"/>
                  <a:pt x="2884" y="546"/>
                  <a:pt x="2884" y="546"/>
                </a:cubicBezTo>
                <a:cubicBezTo>
                  <a:pt x="2884" y="542"/>
                  <a:pt x="2884" y="542"/>
                  <a:pt x="2884" y="542"/>
                </a:cubicBezTo>
                <a:cubicBezTo>
                  <a:pt x="2882" y="540"/>
                  <a:pt x="2882" y="540"/>
                  <a:pt x="2882" y="540"/>
                </a:cubicBezTo>
                <a:cubicBezTo>
                  <a:pt x="2878" y="535"/>
                  <a:pt x="2878" y="535"/>
                  <a:pt x="2878" y="535"/>
                </a:cubicBezTo>
                <a:cubicBezTo>
                  <a:pt x="2877" y="533"/>
                  <a:pt x="2877" y="533"/>
                  <a:pt x="2877" y="533"/>
                </a:cubicBezTo>
                <a:cubicBezTo>
                  <a:pt x="2876" y="530"/>
                  <a:pt x="2876" y="530"/>
                  <a:pt x="2876" y="530"/>
                </a:cubicBezTo>
                <a:cubicBezTo>
                  <a:pt x="2876" y="527"/>
                  <a:pt x="2876" y="527"/>
                  <a:pt x="2876" y="527"/>
                </a:cubicBezTo>
                <a:cubicBezTo>
                  <a:pt x="2876" y="526"/>
                  <a:pt x="2876" y="526"/>
                  <a:pt x="2876" y="526"/>
                </a:cubicBezTo>
                <a:cubicBezTo>
                  <a:pt x="2875" y="527"/>
                  <a:pt x="2875" y="527"/>
                  <a:pt x="2875" y="527"/>
                </a:cubicBezTo>
                <a:cubicBezTo>
                  <a:pt x="2874" y="527"/>
                  <a:pt x="2874" y="527"/>
                  <a:pt x="2874" y="527"/>
                </a:cubicBezTo>
                <a:cubicBezTo>
                  <a:pt x="2873" y="526"/>
                  <a:pt x="2873" y="526"/>
                  <a:pt x="2873" y="526"/>
                </a:cubicBezTo>
                <a:cubicBezTo>
                  <a:pt x="2871" y="526"/>
                  <a:pt x="2871" y="526"/>
                  <a:pt x="2871" y="526"/>
                </a:cubicBezTo>
                <a:cubicBezTo>
                  <a:pt x="2870" y="525"/>
                  <a:pt x="2870" y="525"/>
                  <a:pt x="2870" y="525"/>
                </a:cubicBezTo>
                <a:cubicBezTo>
                  <a:pt x="2871" y="526"/>
                  <a:pt x="2871" y="526"/>
                  <a:pt x="2871" y="526"/>
                </a:cubicBezTo>
                <a:cubicBezTo>
                  <a:pt x="2870" y="529"/>
                  <a:pt x="2870" y="529"/>
                  <a:pt x="2870" y="529"/>
                </a:cubicBezTo>
                <a:cubicBezTo>
                  <a:pt x="2870" y="530"/>
                  <a:pt x="2870" y="530"/>
                  <a:pt x="2870" y="530"/>
                </a:cubicBezTo>
                <a:cubicBezTo>
                  <a:pt x="2871" y="531"/>
                  <a:pt x="2871" y="531"/>
                  <a:pt x="2871" y="531"/>
                </a:cubicBezTo>
                <a:cubicBezTo>
                  <a:pt x="2872" y="531"/>
                  <a:pt x="2872" y="531"/>
                  <a:pt x="2872" y="531"/>
                </a:cubicBezTo>
                <a:cubicBezTo>
                  <a:pt x="2874" y="529"/>
                  <a:pt x="2874" y="529"/>
                  <a:pt x="2874" y="529"/>
                </a:cubicBezTo>
                <a:cubicBezTo>
                  <a:pt x="2875" y="531"/>
                  <a:pt x="2875" y="531"/>
                  <a:pt x="2875" y="531"/>
                </a:cubicBezTo>
                <a:cubicBezTo>
                  <a:pt x="2874" y="533"/>
                  <a:pt x="2874" y="533"/>
                  <a:pt x="2874" y="533"/>
                </a:cubicBezTo>
                <a:cubicBezTo>
                  <a:pt x="2873" y="534"/>
                  <a:pt x="2873" y="534"/>
                  <a:pt x="2873" y="534"/>
                </a:cubicBezTo>
                <a:cubicBezTo>
                  <a:pt x="2872" y="533"/>
                  <a:pt x="2872" y="533"/>
                  <a:pt x="2872" y="533"/>
                </a:cubicBezTo>
                <a:cubicBezTo>
                  <a:pt x="2871" y="533"/>
                  <a:pt x="2871" y="533"/>
                  <a:pt x="2871" y="533"/>
                </a:cubicBezTo>
                <a:cubicBezTo>
                  <a:pt x="2872" y="535"/>
                  <a:pt x="2872" y="535"/>
                  <a:pt x="2872" y="535"/>
                </a:cubicBezTo>
                <a:cubicBezTo>
                  <a:pt x="2871" y="536"/>
                  <a:pt x="2871" y="536"/>
                  <a:pt x="2871" y="536"/>
                </a:cubicBezTo>
                <a:cubicBezTo>
                  <a:pt x="2869" y="536"/>
                  <a:pt x="2869" y="536"/>
                  <a:pt x="2869" y="536"/>
                </a:cubicBezTo>
                <a:cubicBezTo>
                  <a:pt x="2869" y="534"/>
                  <a:pt x="2869" y="534"/>
                  <a:pt x="2869" y="534"/>
                </a:cubicBezTo>
                <a:cubicBezTo>
                  <a:pt x="2869" y="532"/>
                  <a:pt x="2869" y="532"/>
                  <a:pt x="2869" y="532"/>
                </a:cubicBezTo>
                <a:cubicBezTo>
                  <a:pt x="2868" y="531"/>
                  <a:pt x="2868" y="531"/>
                  <a:pt x="2868" y="531"/>
                </a:cubicBezTo>
                <a:cubicBezTo>
                  <a:pt x="2867" y="531"/>
                  <a:pt x="2867" y="531"/>
                  <a:pt x="2867" y="531"/>
                </a:cubicBezTo>
                <a:cubicBezTo>
                  <a:pt x="2866" y="531"/>
                  <a:pt x="2866" y="531"/>
                  <a:pt x="2866" y="531"/>
                </a:cubicBezTo>
                <a:cubicBezTo>
                  <a:pt x="2865" y="532"/>
                  <a:pt x="2865" y="532"/>
                  <a:pt x="2865" y="532"/>
                </a:cubicBezTo>
                <a:cubicBezTo>
                  <a:pt x="2866" y="535"/>
                  <a:pt x="2866" y="535"/>
                  <a:pt x="2866" y="535"/>
                </a:cubicBezTo>
                <a:cubicBezTo>
                  <a:pt x="2866" y="537"/>
                  <a:pt x="2866" y="537"/>
                  <a:pt x="2866" y="537"/>
                </a:cubicBezTo>
                <a:cubicBezTo>
                  <a:pt x="2865" y="538"/>
                  <a:pt x="2865" y="538"/>
                  <a:pt x="2865" y="538"/>
                </a:cubicBezTo>
                <a:cubicBezTo>
                  <a:pt x="2864" y="539"/>
                  <a:pt x="2864" y="539"/>
                  <a:pt x="2864" y="539"/>
                </a:cubicBezTo>
                <a:cubicBezTo>
                  <a:pt x="2864" y="541"/>
                  <a:pt x="2864" y="541"/>
                  <a:pt x="2864" y="541"/>
                </a:cubicBezTo>
                <a:cubicBezTo>
                  <a:pt x="2866" y="543"/>
                  <a:pt x="2866" y="543"/>
                  <a:pt x="2866" y="543"/>
                </a:cubicBezTo>
                <a:cubicBezTo>
                  <a:pt x="2867" y="545"/>
                  <a:pt x="2867" y="545"/>
                  <a:pt x="2867" y="545"/>
                </a:cubicBezTo>
                <a:cubicBezTo>
                  <a:pt x="2866" y="547"/>
                  <a:pt x="2866" y="547"/>
                  <a:pt x="2866" y="547"/>
                </a:cubicBezTo>
                <a:cubicBezTo>
                  <a:pt x="2865" y="548"/>
                  <a:pt x="2865" y="548"/>
                  <a:pt x="2865" y="548"/>
                </a:cubicBezTo>
                <a:cubicBezTo>
                  <a:pt x="2863" y="548"/>
                  <a:pt x="2863" y="548"/>
                  <a:pt x="2863" y="548"/>
                </a:cubicBezTo>
                <a:cubicBezTo>
                  <a:pt x="2863" y="549"/>
                  <a:pt x="2863" y="549"/>
                  <a:pt x="2863" y="549"/>
                </a:cubicBezTo>
                <a:cubicBezTo>
                  <a:pt x="2864" y="551"/>
                  <a:pt x="2864" y="551"/>
                  <a:pt x="2864" y="551"/>
                </a:cubicBezTo>
                <a:cubicBezTo>
                  <a:pt x="2866" y="551"/>
                  <a:pt x="2866" y="551"/>
                  <a:pt x="2866" y="551"/>
                </a:cubicBezTo>
                <a:cubicBezTo>
                  <a:pt x="2867" y="549"/>
                  <a:pt x="2867" y="549"/>
                  <a:pt x="2867" y="549"/>
                </a:cubicBezTo>
                <a:cubicBezTo>
                  <a:pt x="2869" y="554"/>
                  <a:pt x="2869" y="554"/>
                  <a:pt x="2869" y="554"/>
                </a:cubicBezTo>
                <a:cubicBezTo>
                  <a:pt x="2870" y="558"/>
                  <a:pt x="2870" y="558"/>
                  <a:pt x="2870" y="558"/>
                </a:cubicBezTo>
                <a:cubicBezTo>
                  <a:pt x="2870" y="561"/>
                  <a:pt x="2870" y="561"/>
                  <a:pt x="2870" y="561"/>
                </a:cubicBezTo>
                <a:cubicBezTo>
                  <a:pt x="2870" y="566"/>
                  <a:pt x="2870" y="566"/>
                  <a:pt x="2870" y="566"/>
                </a:cubicBezTo>
                <a:cubicBezTo>
                  <a:pt x="2868" y="573"/>
                  <a:pt x="2868" y="573"/>
                  <a:pt x="2868" y="573"/>
                </a:cubicBezTo>
                <a:cubicBezTo>
                  <a:pt x="2869" y="576"/>
                  <a:pt x="2869" y="576"/>
                  <a:pt x="2869" y="576"/>
                </a:cubicBezTo>
                <a:cubicBezTo>
                  <a:pt x="2868" y="579"/>
                  <a:pt x="2868" y="579"/>
                  <a:pt x="2868" y="579"/>
                </a:cubicBezTo>
                <a:cubicBezTo>
                  <a:pt x="2865" y="580"/>
                  <a:pt x="2865" y="580"/>
                  <a:pt x="2865" y="580"/>
                </a:cubicBezTo>
                <a:cubicBezTo>
                  <a:pt x="2864" y="583"/>
                  <a:pt x="2864" y="583"/>
                  <a:pt x="2864" y="583"/>
                </a:cubicBezTo>
                <a:cubicBezTo>
                  <a:pt x="2864" y="586"/>
                  <a:pt x="2864" y="586"/>
                  <a:pt x="2864" y="586"/>
                </a:cubicBezTo>
                <a:cubicBezTo>
                  <a:pt x="2863" y="588"/>
                  <a:pt x="2863" y="588"/>
                  <a:pt x="2863" y="588"/>
                </a:cubicBezTo>
                <a:cubicBezTo>
                  <a:pt x="2863" y="590"/>
                  <a:pt x="2863" y="590"/>
                  <a:pt x="2863" y="590"/>
                </a:cubicBezTo>
                <a:cubicBezTo>
                  <a:pt x="2860" y="593"/>
                  <a:pt x="2860" y="593"/>
                  <a:pt x="2860" y="593"/>
                </a:cubicBezTo>
                <a:cubicBezTo>
                  <a:pt x="2855" y="596"/>
                  <a:pt x="2855" y="596"/>
                  <a:pt x="2855" y="596"/>
                </a:cubicBezTo>
                <a:cubicBezTo>
                  <a:pt x="2854" y="596"/>
                  <a:pt x="2854" y="596"/>
                  <a:pt x="2854" y="596"/>
                </a:cubicBezTo>
                <a:cubicBezTo>
                  <a:pt x="2853" y="598"/>
                  <a:pt x="2853" y="598"/>
                  <a:pt x="2853" y="598"/>
                </a:cubicBezTo>
                <a:cubicBezTo>
                  <a:pt x="2850" y="597"/>
                  <a:pt x="2850" y="597"/>
                  <a:pt x="2850" y="597"/>
                </a:cubicBezTo>
                <a:cubicBezTo>
                  <a:pt x="2848" y="594"/>
                  <a:pt x="2848" y="594"/>
                  <a:pt x="2848" y="594"/>
                </a:cubicBezTo>
                <a:cubicBezTo>
                  <a:pt x="2848" y="593"/>
                  <a:pt x="2848" y="593"/>
                  <a:pt x="2848" y="593"/>
                </a:cubicBezTo>
                <a:cubicBezTo>
                  <a:pt x="2849" y="592"/>
                  <a:pt x="2849" y="592"/>
                  <a:pt x="2849" y="592"/>
                </a:cubicBezTo>
                <a:cubicBezTo>
                  <a:pt x="2850" y="590"/>
                  <a:pt x="2850" y="590"/>
                  <a:pt x="2850" y="590"/>
                </a:cubicBezTo>
                <a:cubicBezTo>
                  <a:pt x="2850" y="589"/>
                  <a:pt x="2850" y="589"/>
                  <a:pt x="2850" y="589"/>
                </a:cubicBezTo>
                <a:cubicBezTo>
                  <a:pt x="2851" y="588"/>
                  <a:pt x="2851" y="588"/>
                  <a:pt x="2851" y="588"/>
                </a:cubicBezTo>
                <a:cubicBezTo>
                  <a:pt x="2851" y="587"/>
                  <a:pt x="2851" y="587"/>
                  <a:pt x="2851" y="587"/>
                </a:cubicBezTo>
                <a:cubicBezTo>
                  <a:pt x="2849" y="588"/>
                  <a:pt x="2849" y="588"/>
                  <a:pt x="2849" y="588"/>
                </a:cubicBezTo>
                <a:cubicBezTo>
                  <a:pt x="2847" y="590"/>
                  <a:pt x="2847" y="590"/>
                  <a:pt x="2847" y="590"/>
                </a:cubicBezTo>
                <a:cubicBezTo>
                  <a:pt x="2845" y="590"/>
                  <a:pt x="2845" y="590"/>
                  <a:pt x="2845" y="590"/>
                </a:cubicBezTo>
                <a:cubicBezTo>
                  <a:pt x="2844" y="592"/>
                  <a:pt x="2844" y="592"/>
                  <a:pt x="2844" y="592"/>
                </a:cubicBezTo>
                <a:cubicBezTo>
                  <a:pt x="2846" y="595"/>
                  <a:pt x="2846" y="595"/>
                  <a:pt x="2846" y="595"/>
                </a:cubicBezTo>
                <a:cubicBezTo>
                  <a:pt x="2846" y="600"/>
                  <a:pt x="2846" y="600"/>
                  <a:pt x="2846" y="600"/>
                </a:cubicBezTo>
                <a:cubicBezTo>
                  <a:pt x="2846" y="602"/>
                  <a:pt x="2846" y="602"/>
                  <a:pt x="2846" y="602"/>
                </a:cubicBezTo>
                <a:cubicBezTo>
                  <a:pt x="2843" y="604"/>
                  <a:pt x="2843" y="604"/>
                  <a:pt x="2843" y="604"/>
                </a:cubicBezTo>
                <a:cubicBezTo>
                  <a:pt x="2843" y="606"/>
                  <a:pt x="2843" y="606"/>
                  <a:pt x="2843" y="606"/>
                </a:cubicBezTo>
                <a:cubicBezTo>
                  <a:pt x="2843" y="606"/>
                  <a:pt x="2843" y="606"/>
                  <a:pt x="2843" y="606"/>
                </a:cubicBezTo>
                <a:cubicBezTo>
                  <a:pt x="2842" y="610"/>
                  <a:pt x="2842" y="610"/>
                  <a:pt x="2842" y="610"/>
                </a:cubicBezTo>
                <a:cubicBezTo>
                  <a:pt x="2843" y="611"/>
                  <a:pt x="2843" y="611"/>
                  <a:pt x="2843" y="611"/>
                </a:cubicBezTo>
                <a:cubicBezTo>
                  <a:pt x="2843" y="612"/>
                  <a:pt x="2843" y="612"/>
                  <a:pt x="2843" y="612"/>
                </a:cubicBezTo>
                <a:cubicBezTo>
                  <a:pt x="2843" y="613"/>
                  <a:pt x="2843" y="613"/>
                  <a:pt x="2843" y="613"/>
                </a:cubicBezTo>
                <a:cubicBezTo>
                  <a:pt x="2843" y="614"/>
                  <a:pt x="2843" y="614"/>
                  <a:pt x="2843" y="614"/>
                </a:cubicBezTo>
                <a:cubicBezTo>
                  <a:pt x="2842" y="615"/>
                  <a:pt x="2842" y="615"/>
                  <a:pt x="2842" y="615"/>
                </a:cubicBezTo>
                <a:cubicBezTo>
                  <a:pt x="2842" y="615"/>
                  <a:pt x="2842" y="615"/>
                  <a:pt x="2842" y="615"/>
                </a:cubicBezTo>
                <a:cubicBezTo>
                  <a:pt x="2842" y="616"/>
                  <a:pt x="2842" y="616"/>
                  <a:pt x="2842" y="616"/>
                </a:cubicBezTo>
                <a:cubicBezTo>
                  <a:pt x="2841" y="617"/>
                  <a:pt x="2841" y="617"/>
                  <a:pt x="2841" y="617"/>
                </a:cubicBezTo>
                <a:cubicBezTo>
                  <a:pt x="2840" y="616"/>
                  <a:pt x="2840" y="616"/>
                  <a:pt x="2840" y="616"/>
                </a:cubicBezTo>
                <a:cubicBezTo>
                  <a:pt x="2838" y="617"/>
                  <a:pt x="2838" y="617"/>
                  <a:pt x="2838" y="617"/>
                </a:cubicBezTo>
                <a:cubicBezTo>
                  <a:pt x="2837" y="616"/>
                  <a:pt x="2837" y="616"/>
                  <a:pt x="2837" y="616"/>
                </a:cubicBezTo>
                <a:cubicBezTo>
                  <a:pt x="2837" y="614"/>
                  <a:pt x="2837" y="614"/>
                  <a:pt x="2837" y="614"/>
                </a:cubicBezTo>
                <a:cubicBezTo>
                  <a:pt x="2836" y="614"/>
                  <a:pt x="2836" y="614"/>
                  <a:pt x="2836" y="614"/>
                </a:cubicBezTo>
                <a:cubicBezTo>
                  <a:pt x="2835" y="615"/>
                  <a:pt x="2835" y="615"/>
                  <a:pt x="2835" y="615"/>
                </a:cubicBezTo>
                <a:cubicBezTo>
                  <a:pt x="2834" y="615"/>
                  <a:pt x="2834" y="615"/>
                  <a:pt x="2834" y="615"/>
                </a:cubicBezTo>
                <a:cubicBezTo>
                  <a:pt x="2833" y="615"/>
                  <a:pt x="2833" y="615"/>
                  <a:pt x="2833" y="615"/>
                </a:cubicBezTo>
                <a:cubicBezTo>
                  <a:pt x="2829" y="616"/>
                  <a:pt x="2829" y="616"/>
                  <a:pt x="2829" y="616"/>
                </a:cubicBezTo>
                <a:cubicBezTo>
                  <a:pt x="2826" y="617"/>
                  <a:pt x="2826" y="617"/>
                  <a:pt x="2826" y="617"/>
                </a:cubicBezTo>
                <a:cubicBezTo>
                  <a:pt x="2824" y="618"/>
                  <a:pt x="2824" y="618"/>
                  <a:pt x="2824" y="618"/>
                </a:cubicBezTo>
                <a:cubicBezTo>
                  <a:pt x="2822" y="618"/>
                  <a:pt x="2822" y="618"/>
                  <a:pt x="2822" y="618"/>
                </a:cubicBezTo>
                <a:cubicBezTo>
                  <a:pt x="2819" y="619"/>
                  <a:pt x="2819" y="619"/>
                  <a:pt x="2819" y="619"/>
                </a:cubicBezTo>
                <a:cubicBezTo>
                  <a:pt x="2818" y="618"/>
                  <a:pt x="2818" y="618"/>
                  <a:pt x="2818" y="618"/>
                </a:cubicBezTo>
                <a:cubicBezTo>
                  <a:pt x="2816" y="618"/>
                  <a:pt x="2816" y="618"/>
                  <a:pt x="2816" y="618"/>
                </a:cubicBezTo>
                <a:cubicBezTo>
                  <a:pt x="2812" y="621"/>
                  <a:pt x="2812" y="621"/>
                  <a:pt x="2812" y="621"/>
                </a:cubicBezTo>
                <a:cubicBezTo>
                  <a:pt x="2812" y="624"/>
                  <a:pt x="2812" y="624"/>
                  <a:pt x="2812" y="624"/>
                </a:cubicBezTo>
                <a:cubicBezTo>
                  <a:pt x="2810" y="624"/>
                  <a:pt x="2810" y="624"/>
                  <a:pt x="2810" y="624"/>
                </a:cubicBezTo>
                <a:cubicBezTo>
                  <a:pt x="2810" y="626"/>
                  <a:pt x="2810" y="626"/>
                  <a:pt x="2810" y="626"/>
                </a:cubicBezTo>
                <a:cubicBezTo>
                  <a:pt x="2807" y="629"/>
                  <a:pt x="2807" y="629"/>
                  <a:pt x="2807" y="629"/>
                </a:cubicBezTo>
                <a:cubicBezTo>
                  <a:pt x="2805" y="630"/>
                  <a:pt x="2805" y="630"/>
                  <a:pt x="2805" y="630"/>
                </a:cubicBezTo>
                <a:cubicBezTo>
                  <a:pt x="2804" y="632"/>
                  <a:pt x="2804" y="632"/>
                  <a:pt x="2804" y="632"/>
                </a:cubicBezTo>
                <a:cubicBezTo>
                  <a:pt x="2803" y="633"/>
                  <a:pt x="2803" y="633"/>
                  <a:pt x="2803" y="633"/>
                </a:cubicBezTo>
                <a:cubicBezTo>
                  <a:pt x="2802" y="635"/>
                  <a:pt x="2802" y="635"/>
                  <a:pt x="2802" y="635"/>
                </a:cubicBezTo>
                <a:cubicBezTo>
                  <a:pt x="2799" y="635"/>
                  <a:pt x="2799" y="635"/>
                  <a:pt x="2799" y="635"/>
                </a:cubicBezTo>
                <a:cubicBezTo>
                  <a:pt x="2798" y="637"/>
                  <a:pt x="2798" y="637"/>
                  <a:pt x="2798" y="637"/>
                </a:cubicBezTo>
                <a:cubicBezTo>
                  <a:pt x="2799" y="640"/>
                  <a:pt x="2799" y="640"/>
                  <a:pt x="2799" y="640"/>
                </a:cubicBezTo>
                <a:cubicBezTo>
                  <a:pt x="2800" y="640"/>
                  <a:pt x="2800" y="640"/>
                  <a:pt x="2800" y="640"/>
                </a:cubicBezTo>
                <a:cubicBezTo>
                  <a:pt x="2800" y="641"/>
                  <a:pt x="2800" y="641"/>
                  <a:pt x="2800" y="641"/>
                </a:cubicBezTo>
                <a:cubicBezTo>
                  <a:pt x="2800" y="642"/>
                  <a:pt x="2800" y="642"/>
                  <a:pt x="2800" y="642"/>
                </a:cubicBezTo>
                <a:lnTo>
                  <a:pt x="2798" y="643"/>
                </a:lnTo>
                <a:close/>
                <a:moveTo>
                  <a:pt x="2953" y="420"/>
                </a:moveTo>
                <a:cubicBezTo>
                  <a:pt x="2952" y="419"/>
                  <a:pt x="2952" y="419"/>
                  <a:pt x="2952" y="419"/>
                </a:cubicBezTo>
                <a:cubicBezTo>
                  <a:pt x="2952" y="420"/>
                  <a:pt x="2952" y="420"/>
                  <a:pt x="2952" y="420"/>
                </a:cubicBezTo>
                <a:cubicBezTo>
                  <a:pt x="2952" y="420"/>
                  <a:pt x="2952" y="420"/>
                  <a:pt x="2952" y="420"/>
                </a:cubicBezTo>
                <a:cubicBezTo>
                  <a:pt x="2953" y="421"/>
                  <a:pt x="2953" y="421"/>
                  <a:pt x="2953" y="421"/>
                </a:cubicBezTo>
                <a:lnTo>
                  <a:pt x="2953" y="420"/>
                </a:lnTo>
                <a:close/>
                <a:moveTo>
                  <a:pt x="2960" y="363"/>
                </a:moveTo>
                <a:cubicBezTo>
                  <a:pt x="2959" y="365"/>
                  <a:pt x="2959" y="365"/>
                  <a:pt x="2959" y="365"/>
                </a:cubicBezTo>
                <a:cubicBezTo>
                  <a:pt x="2958" y="365"/>
                  <a:pt x="2958" y="365"/>
                  <a:pt x="2958" y="365"/>
                </a:cubicBezTo>
                <a:cubicBezTo>
                  <a:pt x="2958" y="366"/>
                  <a:pt x="2958" y="366"/>
                  <a:pt x="2958" y="366"/>
                </a:cubicBezTo>
                <a:cubicBezTo>
                  <a:pt x="2959" y="367"/>
                  <a:pt x="2959" y="367"/>
                  <a:pt x="2959" y="367"/>
                </a:cubicBezTo>
                <a:cubicBezTo>
                  <a:pt x="2959" y="369"/>
                  <a:pt x="2959" y="369"/>
                  <a:pt x="2959" y="369"/>
                </a:cubicBezTo>
                <a:cubicBezTo>
                  <a:pt x="2958" y="370"/>
                  <a:pt x="2958" y="370"/>
                  <a:pt x="2958" y="370"/>
                </a:cubicBezTo>
                <a:cubicBezTo>
                  <a:pt x="2959" y="370"/>
                  <a:pt x="2959" y="370"/>
                  <a:pt x="2959" y="370"/>
                </a:cubicBezTo>
                <a:cubicBezTo>
                  <a:pt x="2961" y="370"/>
                  <a:pt x="2961" y="370"/>
                  <a:pt x="2961" y="370"/>
                </a:cubicBezTo>
                <a:cubicBezTo>
                  <a:pt x="2961" y="371"/>
                  <a:pt x="2961" y="371"/>
                  <a:pt x="2961" y="371"/>
                </a:cubicBezTo>
                <a:cubicBezTo>
                  <a:pt x="2962" y="371"/>
                  <a:pt x="2962" y="371"/>
                  <a:pt x="2962" y="371"/>
                </a:cubicBezTo>
                <a:cubicBezTo>
                  <a:pt x="2962" y="369"/>
                  <a:pt x="2962" y="369"/>
                  <a:pt x="2962" y="369"/>
                </a:cubicBezTo>
                <a:cubicBezTo>
                  <a:pt x="2962" y="367"/>
                  <a:pt x="2962" y="367"/>
                  <a:pt x="2962" y="367"/>
                </a:cubicBezTo>
                <a:cubicBezTo>
                  <a:pt x="2964" y="366"/>
                  <a:pt x="2964" y="366"/>
                  <a:pt x="2964" y="366"/>
                </a:cubicBezTo>
                <a:cubicBezTo>
                  <a:pt x="2965" y="365"/>
                  <a:pt x="2965" y="365"/>
                  <a:pt x="2965" y="365"/>
                </a:cubicBezTo>
                <a:cubicBezTo>
                  <a:pt x="2965" y="363"/>
                  <a:pt x="2965" y="363"/>
                  <a:pt x="2965" y="363"/>
                </a:cubicBezTo>
                <a:cubicBezTo>
                  <a:pt x="2965" y="361"/>
                  <a:pt x="2965" y="361"/>
                  <a:pt x="2965" y="361"/>
                </a:cubicBezTo>
                <a:cubicBezTo>
                  <a:pt x="2966" y="360"/>
                  <a:pt x="2966" y="360"/>
                  <a:pt x="2966" y="360"/>
                </a:cubicBezTo>
                <a:cubicBezTo>
                  <a:pt x="2966" y="358"/>
                  <a:pt x="2966" y="358"/>
                  <a:pt x="2966" y="358"/>
                </a:cubicBezTo>
                <a:cubicBezTo>
                  <a:pt x="2963" y="355"/>
                  <a:pt x="2963" y="355"/>
                  <a:pt x="2963" y="355"/>
                </a:cubicBezTo>
                <a:cubicBezTo>
                  <a:pt x="2962" y="357"/>
                  <a:pt x="2962" y="357"/>
                  <a:pt x="2962" y="357"/>
                </a:cubicBezTo>
                <a:cubicBezTo>
                  <a:pt x="2962" y="360"/>
                  <a:pt x="2962" y="360"/>
                  <a:pt x="2962" y="360"/>
                </a:cubicBezTo>
                <a:cubicBezTo>
                  <a:pt x="2962" y="362"/>
                  <a:pt x="2962" y="362"/>
                  <a:pt x="2962" y="362"/>
                </a:cubicBezTo>
                <a:lnTo>
                  <a:pt x="2960" y="363"/>
                </a:lnTo>
                <a:close/>
                <a:moveTo>
                  <a:pt x="2951" y="427"/>
                </a:moveTo>
                <a:cubicBezTo>
                  <a:pt x="2951" y="424"/>
                  <a:pt x="2951" y="424"/>
                  <a:pt x="2951" y="424"/>
                </a:cubicBezTo>
                <a:cubicBezTo>
                  <a:pt x="2951" y="424"/>
                  <a:pt x="2951" y="424"/>
                  <a:pt x="2951" y="424"/>
                </a:cubicBezTo>
                <a:cubicBezTo>
                  <a:pt x="2950" y="425"/>
                  <a:pt x="2950" y="425"/>
                  <a:pt x="2950" y="425"/>
                </a:cubicBezTo>
                <a:cubicBezTo>
                  <a:pt x="2950" y="428"/>
                  <a:pt x="2950" y="428"/>
                  <a:pt x="2950" y="428"/>
                </a:cubicBezTo>
                <a:cubicBezTo>
                  <a:pt x="2950" y="428"/>
                  <a:pt x="2950" y="428"/>
                  <a:pt x="2950" y="428"/>
                </a:cubicBezTo>
                <a:lnTo>
                  <a:pt x="2951" y="427"/>
                </a:lnTo>
                <a:close/>
                <a:moveTo>
                  <a:pt x="2967" y="357"/>
                </a:moveTo>
                <a:cubicBezTo>
                  <a:pt x="2968" y="356"/>
                  <a:pt x="2968" y="356"/>
                  <a:pt x="2968" y="356"/>
                </a:cubicBezTo>
                <a:cubicBezTo>
                  <a:pt x="2967" y="354"/>
                  <a:pt x="2967" y="354"/>
                  <a:pt x="2967" y="354"/>
                </a:cubicBezTo>
                <a:cubicBezTo>
                  <a:pt x="2966" y="353"/>
                  <a:pt x="2966" y="353"/>
                  <a:pt x="2966" y="353"/>
                </a:cubicBezTo>
                <a:cubicBezTo>
                  <a:pt x="2965" y="354"/>
                  <a:pt x="2965" y="354"/>
                  <a:pt x="2965" y="354"/>
                </a:cubicBezTo>
                <a:cubicBezTo>
                  <a:pt x="2965" y="355"/>
                  <a:pt x="2965" y="355"/>
                  <a:pt x="2965" y="355"/>
                </a:cubicBezTo>
                <a:cubicBezTo>
                  <a:pt x="2966" y="357"/>
                  <a:pt x="2966" y="357"/>
                  <a:pt x="2966" y="357"/>
                </a:cubicBezTo>
                <a:lnTo>
                  <a:pt x="2967" y="357"/>
                </a:lnTo>
                <a:close/>
                <a:moveTo>
                  <a:pt x="3025" y="1132"/>
                </a:moveTo>
                <a:cubicBezTo>
                  <a:pt x="3024" y="1131"/>
                  <a:pt x="3024" y="1131"/>
                  <a:pt x="3024" y="1131"/>
                </a:cubicBezTo>
                <a:cubicBezTo>
                  <a:pt x="3023" y="1131"/>
                  <a:pt x="3023" y="1131"/>
                  <a:pt x="3023" y="1131"/>
                </a:cubicBezTo>
                <a:cubicBezTo>
                  <a:pt x="3022" y="1131"/>
                  <a:pt x="3022" y="1131"/>
                  <a:pt x="3022" y="1131"/>
                </a:cubicBezTo>
                <a:cubicBezTo>
                  <a:pt x="3021" y="1131"/>
                  <a:pt x="3021" y="1131"/>
                  <a:pt x="3021" y="1131"/>
                </a:cubicBezTo>
                <a:cubicBezTo>
                  <a:pt x="3020" y="1131"/>
                  <a:pt x="3020" y="1131"/>
                  <a:pt x="3020" y="1131"/>
                </a:cubicBezTo>
                <a:cubicBezTo>
                  <a:pt x="3018" y="1129"/>
                  <a:pt x="3018" y="1129"/>
                  <a:pt x="3018" y="1129"/>
                </a:cubicBezTo>
                <a:cubicBezTo>
                  <a:pt x="3018" y="1126"/>
                  <a:pt x="3018" y="1126"/>
                  <a:pt x="3018" y="1126"/>
                </a:cubicBezTo>
                <a:cubicBezTo>
                  <a:pt x="3016" y="1125"/>
                  <a:pt x="3016" y="1125"/>
                  <a:pt x="3016" y="1125"/>
                </a:cubicBezTo>
                <a:cubicBezTo>
                  <a:pt x="3014" y="1121"/>
                  <a:pt x="3014" y="1121"/>
                  <a:pt x="3014" y="1121"/>
                </a:cubicBezTo>
                <a:cubicBezTo>
                  <a:pt x="3013" y="1120"/>
                  <a:pt x="3013" y="1120"/>
                  <a:pt x="3013" y="1120"/>
                </a:cubicBezTo>
                <a:cubicBezTo>
                  <a:pt x="3013" y="1119"/>
                  <a:pt x="3013" y="1119"/>
                  <a:pt x="3013" y="1119"/>
                </a:cubicBezTo>
                <a:cubicBezTo>
                  <a:pt x="3010" y="1119"/>
                  <a:pt x="3010" y="1119"/>
                  <a:pt x="3010" y="1119"/>
                </a:cubicBezTo>
                <a:cubicBezTo>
                  <a:pt x="3009" y="1118"/>
                  <a:pt x="3009" y="1118"/>
                  <a:pt x="3009" y="1118"/>
                </a:cubicBezTo>
                <a:cubicBezTo>
                  <a:pt x="3008" y="1116"/>
                  <a:pt x="3008" y="1116"/>
                  <a:pt x="3008" y="1116"/>
                </a:cubicBezTo>
                <a:cubicBezTo>
                  <a:pt x="3006" y="1114"/>
                  <a:pt x="3006" y="1114"/>
                  <a:pt x="3006" y="1114"/>
                </a:cubicBezTo>
                <a:cubicBezTo>
                  <a:pt x="3005" y="1111"/>
                  <a:pt x="3005" y="1111"/>
                  <a:pt x="3005" y="1111"/>
                </a:cubicBezTo>
                <a:cubicBezTo>
                  <a:pt x="3004" y="1110"/>
                  <a:pt x="3004" y="1110"/>
                  <a:pt x="3004" y="1110"/>
                </a:cubicBezTo>
                <a:cubicBezTo>
                  <a:pt x="3003" y="1108"/>
                  <a:pt x="3003" y="1108"/>
                  <a:pt x="3003" y="1108"/>
                </a:cubicBezTo>
                <a:cubicBezTo>
                  <a:pt x="3003" y="1107"/>
                  <a:pt x="3003" y="1107"/>
                  <a:pt x="3003" y="1107"/>
                </a:cubicBezTo>
                <a:cubicBezTo>
                  <a:pt x="3007" y="1108"/>
                  <a:pt x="3007" y="1108"/>
                  <a:pt x="3007" y="1108"/>
                </a:cubicBezTo>
                <a:cubicBezTo>
                  <a:pt x="3011" y="1106"/>
                  <a:pt x="3011" y="1106"/>
                  <a:pt x="3011" y="1106"/>
                </a:cubicBezTo>
                <a:cubicBezTo>
                  <a:pt x="3012" y="1104"/>
                  <a:pt x="3012" y="1104"/>
                  <a:pt x="3012" y="1104"/>
                </a:cubicBezTo>
                <a:cubicBezTo>
                  <a:pt x="3011" y="1102"/>
                  <a:pt x="3011" y="1102"/>
                  <a:pt x="3011" y="1102"/>
                </a:cubicBezTo>
                <a:cubicBezTo>
                  <a:pt x="3008" y="1099"/>
                  <a:pt x="3008" y="1099"/>
                  <a:pt x="3008" y="1099"/>
                </a:cubicBezTo>
                <a:cubicBezTo>
                  <a:pt x="3006" y="1098"/>
                  <a:pt x="3006" y="1098"/>
                  <a:pt x="3006" y="1098"/>
                </a:cubicBezTo>
                <a:cubicBezTo>
                  <a:pt x="3005" y="1099"/>
                  <a:pt x="3005" y="1099"/>
                  <a:pt x="3005" y="1099"/>
                </a:cubicBezTo>
                <a:cubicBezTo>
                  <a:pt x="3003" y="1098"/>
                  <a:pt x="3003" y="1098"/>
                  <a:pt x="3003" y="1098"/>
                </a:cubicBezTo>
                <a:cubicBezTo>
                  <a:pt x="3000" y="1096"/>
                  <a:pt x="3000" y="1096"/>
                  <a:pt x="3000" y="1096"/>
                </a:cubicBezTo>
                <a:cubicBezTo>
                  <a:pt x="2998" y="1094"/>
                  <a:pt x="2998" y="1094"/>
                  <a:pt x="2998" y="1094"/>
                </a:cubicBezTo>
                <a:cubicBezTo>
                  <a:pt x="2996" y="1095"/>
                  <a:pt x="2996" y="1095"/>
                  <a:pt x="2996" y="1095"/>
                </a:cubicBezTo>
                <a:cubicBezTo>
                  <a:pt x="2991" y="1093"/>
                  <a:pt x="2991" y="1093"/>
                  <a:pt x="2991" y="1093"/>
                </a:cubicBezTo>
                <a:cubicBezTo>
                  <a:pt x="2990" y="1092"/>
                  <a:pt x="2990" y="1092"/>
                  <a:pt x="2990" y="1092"/>
                </a:cubicBezTo>
                <a:cubicBezTo>
                  <a:pt x="2992" y="1089"/>
                  <a:pt x="2992" y="1089"/>
                  <a:pt x="2992" y="1089"/>
                </a:cubicBezTo>
                <a:cubicBezTo>
                  <a:pt x="2992" y="1087"/>
                  <a:pt x="2992" y="1087"/>
                  <a:pt x="2992" y="1087"/>
                </a:cubicBezTo>
                <a:cubicBezTo>
                  <a:pt x="2991" y="1086"/>
                  <a:pt x="2991" y="1086"/>
                  <a:pt x="2991" y="1086"/>
                </a:cubicBezTo>
                <a:cubicBezTo>
                  <a:pt x="2987" y="1082"/>
                  <a:pt x="2987" y="1082"/>
                  <a:pt x="2987" y="1082"/>
                </a:cubicBezTo>
                <a:cubicBezTo>
                  <a:pt x="2986" y="1082"/>
                  <a:pt x="2986" y="1082"/>
                  <a:pt x="2986" y="1082"/>
                </a:cubicBezTo>
                <a:cubicBezTo>
                  <a:pt x="2985" y="1083"/>
                  <a:pt x="2985" y="1083"/>
                  <a:pt x="2985" y="1083"/>
                </a:cubicBezTo>
                <a:cubicBezTo>
                  <a:pt x="2984" y="1081"/>
                  <a:pt x="2984" y="1081"/>
                  <a:pt x="2984" y="1081"/>
                </a:cubicBezTo>
                <a:cubicBezTo>
                  <a:pt x="2982" y="1080"/>
                  <a:pt x="2982" y="1080"/>
                  <a:pt x="2982" y="1080"/>
                </a:cubicBezTo>
                <a:cubicBezTo>
                  <a:pt x="2982" y="1078"/>
                  <a:pt x="2982" y="1078"/>
                  <a:pt x="2982" y="1078"/>
                </a:cubicBezTo>
                <a:cubicBezTo>
                  <a:pt x="2980" y="1078"/>
                  <a:pt x="2980" y="1078"/>
                  <a:pt x="2980" y="1078"/>
                </a:cubicBezTo>
                <a:cubicBezTo>
                  <a:pt x="2978" y="1076"/>
                  <a:pt x="2978" y="1076"/>
                  <a:pt x="2978" y="1076"/>
                </a:cubicBezTo>
                <a:cubicBezTo>
                  <a:pt x="2978" y="1077"/>
                  <a:pt x="2978" y="1077"/>
                  <a:pt x="2978" y="1077"/>
                </a:cubicBezTo>
                <a:cubicBezTo>
                  <a:pt x="2976" y="1076"/>
                  <a:pt x="2976" y="1076"/>
                  <a:pt x="2976" y="1076"/>
                </a:cubicBezTo>
                <a:cubicBezTo>
                  <a:pt x="2974" y="1075"/>
                  <a:pt x="2974" y="1075"/>
                  <a:pt x="2974" y="1075"/>
                </a:cubicBezTo>
                <a:cubicBezTo>
                  <a:pt x="2971" y="1074"/>
                  <a:pt x="2971" y="1074"/>
                  <a:pt x="2971" y="1074"/>
                </a:cubicBezTo>
                <a:cubicBezTo>
                  <a:pt x="2969" y="1073"/>
                  <a:pt x="2969" y="1073"/>
                  <a:pt x="2969" y="1073"/>
                </a:cubicBezTo>
                <a:cubicBezTo>
                  <a:pt x="2965" y="1071"/>
                  <a:pt x="2965" y="1071"/>
                  <a:pt x="2965" y="1071"/>
                </a:cubicBezTo>
                <a:cubicBezTo>
                  <a:pt x="2960" y="1070"/>
                  <a:pt x="2960" y="1070"/>
                  <a:pt x="2960" y="1070"/>
                </a:cubicBezTo>
                <a:cubicBezTo>
                  <a:pt x="2958" y="1070"/>
                  <a:pt x="2958" y="1070"/>
                  <a:pt x="2958" y="1070"/>
                </a:cubicBezTo>
                <a:cubicBezTo>
                  <a:pt x="2957" y="1068"/>
                  <a:pt x="2957" y="1068"/>
                  <a:pt x="2957" y="1068"/>
                </a:cubicBezTo>
                <a:cubicBezTo>
                  <a:pt x="2956" y="1068"/>
                  <a:pt x="2956" y="1068"/>
                  <a:pt x="2956" y="1068"/>
                </a:cubicBezTo>
                <a:cubicBezTo>
                  <a:pt x="2955" y="1069"/>
                  <a:pt x="2955" y="1069"/>
                  <a:pt x="2955" y="1069"/>
                </a:cubicBezTo>
                <a:cubicBezTo>
                  <a:pt x="2951" y="1067"/>
                  <a:pt x="2951" y="1067"/>
                  <a:pt x="2951" y="1067"/>
                </a:cubicBezTo>
                <a:cubicBezTo>
                  <a:pt x="2950" y="1066"/>
                  <a:pt x="2950" y="1066"/>
                  <a:pt x="2950" y="1066"/>
                </a:cubicBezTo>
                <a:cubicBezTo>
                  <a:pt x="2948" y="1065"/>
                  <a:pt x="2948" y="1065"/>
                  <a:pt x="2948" y="1065"/>
                </a:cubicBezTo>
                <a:cubicBezTo>
                  <a:pt x="2945" y="1064"/>
                  <a:pt x="2945" y="1064"/>
                  <a:pt x="2945" y="1064"/>
                </a:cubicBezTo>
                <a:cubicBezTo>
                  <a:pt x="2943" y="1064"/>
                  <a:pt x="2943" y="1064"/>
                  <a:pt x="2943" y="1064"/>
                </a:cubicBezTo>
                <a:cubicBezTo>
                  <a:pt x="2943" y="1064"/>
                  <a:pt x="2943" y="1064"/>
                  <a:pt x="2943" y="1064"/>
                </a:cubicBezTo>
                <a:cubicBezTo>
                  <a:pt x="2941" y="1064"/>
                  <a:pt x="2941" y="1064"/>
                  <a:pt x="2941" y="1064"/>
                </a:cubicBezTo>
                <a:cubicBezTo>
                  <a:pt x="2940" y="1064"/>
                  <a:pt x="2940" y="1064"/>
                  <a:pt x="2940" y="1064"/>
                </a:cubicBezTo>
                <a:cubicBezTo>
                  <a:pt x="2940" y="1063"/>
                  <a:pt x="2940" y="1063"/>
                  <a:pt x="2940" y="1063"/>
                </a:cubicBezTo>
                <a:cubicBezTo>
                  <a:pt x="2940" y="1062"/>
                  <a:pt x="2940" y="1062"/>
                  <a:pt x="2940" y="1062"/>
                </a:cubicBezTo>
                <a:cubicBezTo>
                  <a:pt x="2939" y="1061"/>
                  <a:pt x="2939" y="1061"/>
                  <a:pt x="2939" y="1061"/>
                </a:cubicBezTo>
                <a:cubicBezTo>
                  <a:pt x="2937" y="1061"/>
                  <a:pt x="2937" y="1061"/>
                  <a:pt x="2937" y="1061"/>
                </a:cubicBezTo>
                <a:cubicBezTo>
                  <a:pt x="2934" y="1060"/>
                  <a:pt x="2934" y="1060"/>
                  <a:pt x="2934" y="1060"/>
                </a:cubicBezTo>
                <a:cubicBezTo>
                  <a:pt x="2933" y="1060"/>
                  <a:pt x="2933" y="1060"/>
                  <a:pt x="2933" y="1060"/>
                </a:cubicBezTo>
                <a:cubicBezTo>
                  <a:pt x="2932" y="1060"/>
                  <a:pt x="2932" y="1060"/>
                  <a:pt x="2932" y="1060"/>
                </a:cubicBezTo>
                <a:cubicBezTo>
                  <a:pt x="2926" y="1058"/>
                  <a:pt x="2926" y="1058"/>
                  <a:pt x="2926" y="1058"/>
                </a:cubicBezTo>
                <a:cubicBezTo>
                  <a:pt x="2923" y="1057"/>
                  <a:pt x="2923" y="1057"/>
                  <a:pt x="2923" y="1057"/>
                </a:cubicBezTo>
                <a:cubicBezTo>
                  <a:pt x="2921" y="1057"/>
                  <a:pt x="2921" y="1057"/>
                  <a:pt x="2921" y="1057"/>
                </a:cubicBezTo>
                <a:cubicBezTo>
                  <a:pt x="2919" y="1055"/>
                  <a:pt x="2919" y="1055"/>
                  <a:pt x="2919" y="1055"/>
                </a:cubicBezTo>
                <a:cubicBezTo>
                  <a:pt x="2916" y="1054"/>
                  <a:pt x="2916" y="1054"/>
                  <a:pt x="2916" y="1054"/>
                </a:cubicBezTo>
                <a:cubicBezTo>
                  <a:pt x="2913" y="1053"/>
                  <a:pt x="2913" y="1053"/>
                  <a:pt x="2913" y="1053"/>
                </a:cubicBezTo>
                <a:cubicBezTo>
                  <a:pt x="2911" y="1051"/>
                  <a:pt x="2911" y="1051"/>
                  <a:pt x="2911" y="1051"/>
                </a:cubicBezTo>
                <a:cubicBezTo>
                  <a:pt x="2909" y="1051"/>
                  <a:pt x="2909" y="1051"/>
                  <a:pt x="2909" y="1051"/>
                </a:cubicBezTo>
                <a:cubicBezTo>
                  <a:pt x="2904" y="1054"/>
                  <a:pt x="2904" y="1054"/>
                  <a:pt x="2904" y="1054"/>
                </a:cubicBezTo>
                <a:cubicBezTo>
                  <a:pt x="2903" y="1055"/>
                  <a:pt x="2903" y="1055"/>
                  <a:pt x="2903" y="1055"/>
                </a:cubicBezTo>
                <a:cubicBezTo>
                  <a:pt x="2904" y="1057"/>
                  <a:pt x="2904" y="1057"/>
                  <a:pt x="2904" y="1057"/>
                </a:cubicBezTo>
                <a:cubicBezTo>
                  <a:pt x="2904" y="1058"/>
                  <a:pt x="2904" y="1058"/>
                  <a:pt x="2904" y="1058"/>
                </a:cubicBezTo>
                <a:cubicBezTo>
                  <a:pt x="2901" y="1059"/>
                  <a:pt x="2901" y="1059"/>
                  <a:pt x="2901" y="1059"/>
                </a:cubicBezTo>
                <a:cubicBezTo>
                  <a:pt x="2899" y="1059"/>
                  <a:pt x="2899" y="1059"/>
                  <a:pt x="2899" y="1059"/>
                </a:cubicBezTo>
                <a:cubicBezTo>
                  <a:pt x="2898" y="1060"/>
                  <a:pt x="2898" y="1060"/>
                  <a:pt x="2898" y="1060"/>
                </a:cubicBezTo>
                <a:cubicBezTo>
                  <a:pt x="2897" y="1059"/>
                  <a:pt x="2897" y="1059"/>
                  <a:pt x="2897" y="1059"/>
                </a:cubicBezTo>
                <a:cubicBezTo>
                  <a:pt x="2896" y="1060"/>
                  <a:pt x="2896" y="1060"/>
                  <a:pt x="2896" y="1060"/>
                </a:cubicBezTo>
                <a:cubicBezTo>
                  <a:pt x="2896" y="1062"/>
                  <a:pt x="2896" y="1062"/>
                  <a:pt x="2896" y="1062"/>
                </a:cubicBezTo>
                <a:cubicBezTo>
                  <a:pt x="2894" y="1063"/>
                  <a:pt x="2894" y="1063"/>
                  <a:pt x="2894" y="1063"/>
                </a:cubicBezTo>
                <a:cubicBezTo>
                  <a:pt x="2892" y="1063"/>
                  <a:pt x="2892" y="1063"/>
                  <a:pt x="2892" y="1063"/>
                </a:cubicBezTo>
                <a:cubicBezTo>
                  <a:pt x="2891" y="1065"/>
                  <a:pt x="2891" y="1065"/>
                  <a:pt x="2891" y="1065"/>
                </a:cubicBezTo>
                <a:cubicBezTo>
                  <a:pt x="2891" y="1068"/>
                  <a:pt x="2891" y="1068"/>
                  <a:pt x="2891" y="1068"/>
                </a:cubicBezTo>
                <a:cubicBezTo>
                  <a:pt x="2889" y="1068"/>
                  <a:pt x="2889" y="1068"/>
                  <a:pt x="2889" y="1068"/>
                </a:cubicBezTo>
                <a:cubicBezTo>
                  <a:pt x="2888" y="1069"/>
                  <a:pt x="2888" y="1069"/>
                  <a:pt x="2888" y="1069"/>
                </a:cubicBezTo>
                <a:cubicBezTo>
                  <a:pt x="2888" y="1071"/>
                  <a:pt x="2888" y="1071"/>
                  <a:pt x="2888" y="1071"/>
                </a:cubicBezTo>
                <a:cubicBezTo>
                  <a:pt x="2886" y="1072"/>
                  <a:pt x="2886" y="1072"/>
                  <a:pt x="2886" y="1072"/>
                </a:cubicBezTo>
                <a:cubicBezTo>
                  <a:pt x="2884" y="1072"/>
                  <a:pt x="2884" y="1072"/>
                  <a:pt x="2884" y="1072"/>
                </a:cubicBezTo>
                <a:cubicBezTo>
                  <a:pt x="2883" y="1071"/>
                  <a:pt x="2883" y="1071"/>
                  <a:pt x="2883" y="1071"/>
                </a:cubicBezTo>
                <a:cubicBezTo>
                  <a:pt x="2881" y="1069"/>
                  <a:pt x="2881" y="1069"/>
                  <a:pt x="2881" y="1069"/>
                </a:cubicBezTo>
                <a:cubicBezTo>
                  <a:pt x="2880" y="1067"/>
                  <a:pt x="2880" y="1067"/>
                  <a:pt x="2880" y="1067"/>
                </a:cubicBezTo>
                <a:cubicBezTo>
                  <a:pt x="2879" y="1068"/>
                  <a:pt x="2879" y="1068"/>
                  <a:pt x="2879" y="1068"/>
                </a:cubicBezTo>
                <a:cubicBezTo>
                  <a:pt x="2879" y="1066"/>
                  <a:pt x="2879" y="1066"/>
                  <a:pt x="2879" y="1066"/>
                </a:cubicBezTo>
                <a:cubicBezTo>
                  <a:pt x="2879" y="1064"/>
                  <a:pt x="2879" y="1064"/>
                  <a:pt x="2879" y="1064"/>
                </a:cubicBezTo>
                <a:cubicBezTo>
                  <a:pt x="2878" y="1063"/>
                  <a:pt x="2878" y="1063"/>
                  <a:pt x="2878" y="1063"/>
                </a:cubicBezTo>
                <a:cubicBezTo>
                  <a:pt x="2877" y="1064"/>
                  <a:pt x="2877" y="1064"/>
                  <a:pt x="2877" y="1064"/>
                </a:cubicBezTo>
                <a:cubicBezTo>
                  <a:pt x="2877" y="1066"/>
                  <a:pt x="2877" y="1066"/>
                  <a:pt x="2877" y="1066"/>
                </a:cubicBezTo>
                <a:cubicBezTo>
                  <a:pt x="2876" y="1066"/>
                  <a:pt x="2876" y="1066"/>
                  <a:pt x="2876" y="1066"/>
                </a:cubicBezTo>
                <a:cubicBezTo>
                  <a:pt x="2875" y="1065"/>
                  <a:pt x="2875" y="1065"/>
                  <a:pt x="2875" y="1065"/>
                </a:cubicBezTo>
                <a:cubicBezTo>
                  <a:pt x="2874" y="1063"/>
                  <a:pt x="2874" y="1063"/>
                  <a:pt x="2874" y="1063"/>
                </a:cubicBezTo>
                <a:cubicBezTo>
                  <a:pt x="2874" y="1058"/>
                  <a:pt x="2874" y="1058"/>
                  <a:pt x="2874" y="1058"/>
                </a:cubicBezTo>
                <a:cubicBezTo>
                  <a:pt x="2873" y="1055"/>
                  <a:pt x="2873" y="1055"/>
                  <a:pt x="2873" y="1055"/>
                </a:cubicBezTo>
                <a:cubicBezTo>
                  <a:pt x="2874" y="1053"/>
                  <a:pt x="2874" y="1053"/>
                  <a:pt x="2874" y="1053"/>
                </a:cubicBezTo>
                <a:cubicBezTo>
                  <a:pt x="2875" y="1052"/>
                  <a:pt x="2875" y="1052"/>
                  <a:pt x="2875" y="1052"/>
                </a:cubicBezTo>
                <a:cubicBezTo>
                  <a:pt x="2875" y="1050"/>
                  <a:pt x="2875" y="1050"/>
                  <a:pt x="2875" y="1050"/>
                </a:cubicBezTo>
                <a:cubicBezTo>
                  <a:pt x="2873" y="1048"/>
                  <a:pt x="2873" y="1048"/>
                  <a:pt x="2873" y="1048"/>
                </a:cubicBezTo>
                <a:cubicBezTo>
                  <a:pt x="2873" y="1046"/>
                  <a:pt x="2873" y="1046"/>
                  <a:pt x="2873" y="1046"/>
                </a:cubicBezTo>
                <a:cubicBezTo>
                  <a:pt x="2873" y="1045"/>
                  <a:pt x="2873" y="1045"/>
                  <a:pt x="2873" y="1045"/>
                </a:cubicBezTo>
                <a:cubicBezTo>
                  <a:pt x="2873" y="1044"/>
                  <a:pt x="2873" y="1044"/>
                  <a:pt x="2873" y="1044"/>
                </a:cubicBezTo>
                <a:cubicBezTo>
                  <a:pt x="2869" y="1043"/>
                  <a:pt x="2869" y="1043"/>
                  <a:pt x="2869" y="1043"/>
                </a:cubicBezTo>
                <a:cubicBezTo>
                  <a:pt x="2866" y="1044"/>
                  <a:pt x="2866" y="1044"/>
                  <a:pt x="2866" y="1044"/>
                </a:cubicBezTo>
                <a:cubicBezTo>
                  <a:pt x="2863" y="1041"/>
                  <a:pt x="2863" y="1041"/>
                  <a:pt x="2863" y="1041"/>
                </a:cubicBezTo>
                <a:cubicBezTo>
                  <a:pt x="2858" y="1039"/>
                  <a:pt x="2858" y="1039"/>
                  <a:pt x="2858" y="1039"/>
                </a:cubicBezTo>
                <a:cubicBezTo>
                  <a:pt x="2854" y="1040"/>
                  <a:pt x="2854" y="1040"/>
                  <a:pt x="2854" y="1040"/>
                </a:cubicBezTo>
                <a:cubicBezTo>
                  <a:pt x="2854" y="1041"/>
                  <a:pt x="2854" y="1041"/>
                  <a:pt x="2854" y="1041"/>
                </a:cubicBezTo>
                <a:cubicBezTo>
                  <a:pt x="2851" y="1043"/>
                  <a:pt x="2851" y="1043"/>
                  <a:pt x="2851" y="1043"/>
                </a:cubicBezTo>
                <a:cubicBezTo>
                  <a:pt x="2849" y="1043"/>
                  <a:pt x="2849" y="1043"/>
                  <a:pt x="2849" y="1043"/>
                </a:cubicBezTo>
                <a:cubicBezTo>
                  <a:pt x="2848" y="1045"/>
                  <a:pt x="2848" y="1045"/>
                  <a:pt x="2848" y="1045"/>
                </a:cubicBezTo>
                <a:cubicBezTo>
                  <a:pt x="2845" y="1045"/>
                  <a:pt x="2845" y="1045"/>
                  <a:pt x="2845" y="1045"/>
                </a:cubicBezTo>
                <a:cubicBezTo>
                  <a:pt x="2844" y="1046"/>
                  <a:pt x="2844" y="1046"/>
                  <a:pt x="2844" y="1046"/>
                </a:cubicBezTo>
                <a:cubicBezTo>
                  <a:pt x="2844" y="1047"/>
                  <a:pt x="2844" y="1047"/>
                  <a:pt x="2844" y="1047"/>
                </a:cubicBezTo>
                <a:cubicBezTo>
                  <a:pt x="2844" y="1049"/>
                  <a:pt x="2844" y="1049"/>
                  <a:pt x="2844" y="1049"/>
                </a:cubicBezTo>
                <a:cubicBezTo>
                  <a:pt x="2842" y="1050"/>
                  <a:pt x="2842" y="1050"/>
                  <a:pt x="2842" y="1050"/>
                </a:cubicBezTo>
                <a:cubicBezTo>
                  <a:pt x="2841" y="1052"/>
                  <a:pt x="2841" y="1052"/>
                  <a:pt x="2841" y="1052"/>
                </a:cubicBezTo>
                <a:cubicBezTo>
                  <a:pt x="2844" y="1052"/>
                  <a:pt x="2844" y="1052"/>
                  <a:pt x="2844" y="1052"/>
                </a:cubicBezTo>
                <a:cubicBezTo>
                  <a:pt x="2845" y="1051"/>
                  <a:pt x="2845" y="1051"/>
                  <a:pt x="2845" y="1051"/>
                </a:cubicBezTo>
                <a:cubicBezTo>
                  <a:pt x="2846" y="1050"/>
                  <a:pt x="2846" y="1050"/>
                  <a:pt x="2846" y="1050"/>
                </a:cubicBezTo>
                <a:cubicBezTo>
                  <a:pt x="2847" y="1051"/>
                  <a:pt x="2847" y="1051"/>
                  <a:pt x="2847" y="1051"/>
                </a:cubicBezTo>
                <a:cubicBezTo>
                  <a:pt x="2850" y="1053"/>
                  <a:pt x="2850" y="1053"/>
                  <a:pt x="2850" y="1053"/>
                </a:cubicBezTo>
                <a:cubicBezTo>
                  <a:pt x="2851" y="1055"/>
                  <a:pt x="2851" y="1055"/>
                  <a:pt x="2851" y="1055"/>
                </a:cubicBezTo>
                <a:cubicBezTo>
                  <a:pt x="2851" y="1056"/>
                  <a:pt x="2851" y="1056"/>
                  <a:pt x="2851" y="1056"/>
                </a:cubicBezTo>
                <a:cubicBezTo>
                  <a:pt x="2851" y="1058"/>
                  <a:pt x="2851" y="1058"/>
                  <a:pt x="2851" y="1058"/>
                </a:cubicBezTo>
                <a:cubicBezTo>
                  <a:pt x="2853" y="1060"/>
                  <a:pt x="2853" y="1060"/>
                  <a:pt x="2853" y="1060"/>
                </a:cubicBezTo>
                <a:cubicBezTo>
                  <a:pt x="2855" y="1060"/>
                  <a:pt x="2855" y="1060"/>
                  <a:pt x="2855" y="1060"/>
                </a:cubicBezTo>
                <a:cubicBezTo>
                  <a:pt x="2857" y="1059"/>
                  <a:pt x="2857" y="1059"/>
                  <a:pt x="2857" y="1059"/>
                </a:cubicBezTo>
                <a:cubicBezTo>
                  <a:pt x="2858" y="1060"/>
                  <a:pt x="2858" y="1060"/>
                  <a:pt x="2858" y="1060"/>
                </a:cubicBezTo>
                <a:cubicBezTo>
                  <a:pt x="2859" y="1060"/>
                  <a:pt x="2859" y="1060"/>
                  <a:pt x="2859" y="1060"/>
                </a:cubicBezTo>
                <a:cubicBezTo>
                  <a:pt x="2861" y="1060"/>
                  <a:pt x="2861" y="1060"/>
                  <a:pt x="2861" y="1060"/>
                </a:cubicBezTo>
                <a:cubicBezTo>
                  <a:pt x="2864" y="1059"/>
                  <a:pt x="2864" y="1059"/>
                  <a:pt x="2864" y="1059"/>
                </a:cubicBezTo>
                <a:cubicBezTo>
                  <a:pt x="2865" y="1060"/>
                  <a:pt x="2865" y="1060"/>
                  <a:pt x="2865" y="1060"/>
                </a:cubicBezTo>
                <a:cubicBezTo>
                  <a:pt x="2866" y="1059"/>
                  <a:pt x="2866" y="1059"/>
                  <a:pt x="2866" y="1059"/>
                </a:cubicBezTo>
                <a:cubicBezTo>
                  <a:pt x="2865" y="1058"/>
                  <a:pt x="2865" y="1058"/>
                  <a:pt x="2865" y="1058"/>
                </a:cubicBezTo>
                <a:cubicBezTo>
                  <a:pt x="2870" y="1059"/>
                  <a:pt x="2870" y="1059"/>
                  <a:pt x="2870" y="1059"/>
                </a:cubicBezTo>
                <a:cubicBezTo>
                  <a:pt x="2871" y="1060"/>
                  <a:pt x="2871" y="1060"/>
                  <a:pt x="2871" y="1060"/>
                </a:cubicBezTo>
                <a:cubicBezTo>
                  <a:pt x="2871" y="1062"/>
                  <a:pt x="2871" y="1062"/>
                  <a:pt x="2871" y="1062"/>
                </a:cubicBezTo>
                <a:cubicBezTo>
                  <a:pt x="2870" y="1062"/>
                  <a:pt x="2870" y="1062"/>
                  <a:pt x="2870" y="1062"/>
                </a:cubicBezTo>
                <a:cubicBezTo>
                  <a:pt x="2869" y="1064"/>
                  <a:pt x="2869" y="1064"/>
                  <a:pt x="2869" y="1064"/>
                </a:cubicBezTo>
                <a:cubicBezTo>
                  <a:pt x="2868" y="1066"/>
                  <a:pt x="2868" y="1066"/>
                  <a:pt x="2868" y="1066"/>
                </a:cubicBezTo>
                <a:cubicBezTo>
                  <a:pt x="2866" y="1064"/>
                  <a:pt x="2866" y="1064"/>
                  <a:pt x="2866" y="1064"/>
                </a:cubicBezTo>
                <a:cubicBezTo>
                  <a:pt x="2863" y="1062"/>
                  <a:pt x="2863" y="1062"/>
                  <a:pt x="2863" y="1062"/>
                </a:cubicBezTo>
                <a:cubicBezTo>
                  <a:pt x="2862" y="1063"/>
                  <a:pt x="2862" y="1063"/>
                  <a:pt x="2862" y="1063"/>
                </a:cubicBezTo>
                <a:cubicBezTo>
                  <a:pt x="2861" y="1065"/>
                  <a:pt x="2861" y="1065"/>
                  <a:pt x="2861" y="1065"/>
                </a:cubicBezTo>
                <a:cubicBezTo>
                  <a:pt x="2859" y="1066"/>
                  <a:pt x="2859" y="1066"/>
                  <a:pt x="2859" y="1066"/>
                </a:cubicBezTo>
                <a:cubicBezTo>
                  <a:pt x="2858" y="1066"/>
                  <a:pt x="2858" y="1066"/>
                  <a:pt x="2858" y="1066"/>
                </a:cubicBezTo>
                <a:cubicBezTo>
                  <a:pt x="2855" y="1065"/>
                  <a:pt x="2855" y="1065"/>
                  <a:pt x="2855" y="1065"/>
                </a:cubicBezTo>
                <a:cubicBezTo>
                  <a:pt x="2855" y="1064"/>
                  <a:pt x="2855" y="1064"/>
                  <a:pt x="2855" y="1064"/>
                </a:cubicBezTo>
                <a:cubicBezTo>
                  <a:pt x="2852" y="1065"/>
                  <a:pt x="2852" y="1065"/>
                  <a:pt x="2852" y="1065"/>
                </a:cubicBezTo>
                <a:cubicBezTo>
                  <a:pt x="2851" y="1066"/>
                  <a:pt x="2851" y="1066"/>
                  <a:pt x="2851" y="1066"/>
                </a:cubicBezTo>
                <a:cubicBezTo>
                  <a:pt x="2852" y="1067"/>
                  <a:pt x="2852" y="1067"/>
                  <a:pt x="2852" y="1067"/>
                </a:cubicBezTo>
                <a:cubicBezTo>
                  <a:pt x="2854" y="1068"/>
                  <a:pt x="2854" y="1068"/>
                  <a:pt x="2854" y="1068"/>
                </a:cubicBezTo>
                <a:cubicBezTo>
                  <a:pt x="2856" y="1069"/>
                  <a:pt x="2856" y="1069"/>
                  <a:pt x="2856" y="1069"/>
                </a:cubicBezTo>
                <a:cubicBezTo>
                  <a:pt x="2857" y="1071"/>
                  <a:pt x="2857" y="1071"/>
                  <a:pt x="2857" y="1071"/>
                </a:cubicBezTo>
                <a:cubicBezTo>
                  <a:pt x="2858" y="1072"/>
                  <a:pt x="2858" y="1072"/>
                  <a:pt x="2858" y="1072"/>
                </a:cubicBezTo>
                <a:cubicBezTo>
                  <a:pt x="2859" y="1071"/>
                  <a:pt x="2859" y="1071"/>
                  <a:pt x="2859" y="1071"/>
                </a:cubicBezTo>
                <a:cubicBezTo>
                  <a:pt x="2859" y="1073"/>
                  <a:pt x="2859" y="1073"/>
                  <a:pt x="2859" y="1073"/>
                </a:cubicBezTo>
                <a:cubicBezTo>
                  <a:pt x="2859" y="1074"/>
                  <a:pt x="2859" y="1074"/>
                  <a:pt x="2859" y="1074"/>
                </a:cubicBezTo>
                <a:cubicBezTo>
                  <a:pt x="2858" y="1074"/>
                  <a:pt x="2858" y="1074"/>
                  <a:pt x="2858" y="1074"/>
                </a:cubicBezTo>
                <a:cubicBezTo>
                  <a:pt x="2858" y="1076"/>
                  <a:pt x="2858" y="1076"/>
                  <a:pt x="2858" y="1076"/>
                </a:cubicBezTo>
                <a:cubicBezTo>
                  <a:pt x="2860" y="1079"/>
                  <a:pt x="2860" y="1079"/>
                  <a:pt x="2860" y="1079"/>
                </a:cubicBezTo>
                <a:cubicBezTo>
                  <a:pt x="2861" y="1080"/>
                  <a:pt x="2861" y="1080"/>
                  <a:pt x="2861" y="1080"/>
                </a:cubicBezTo>
                <a:cubicBezTo>
                  <a:pt x="2863" y="1079"/>
                  <a:pt x="2863" y="1079"/>
                  <a:pt x="2863" y="1079"/>
                </a:cubicBezTo>
                <a:cubicBezTo>
                  <a:pt x="2865" y="1077"/>
                  <a:pt x="2865" y="1077"/>
                  <a:pt x="2865" y="1077"/>
                </a:cubicBezTo>
                <a:cubicBezTo>
                  <a:pt x="2865" y="1075"/>
                  <a:pt x="2865" y="1075"/>
                  <a:pt x="2865" y="1075"/>
                </a:cubicBezTo>
                <a:cubicBezTo>
                  <a:pt x="2867" y="1072"/>
                  <a:pt x="2867" y="1072"/>
                  <a:pt x="2867" y="1072"/>
                </a:cubicBezTo>
                <a:cubicBezTo>
                  <a:pt x="2868" y="1072"/>
                  <a:pt x="2868" y="1072"/>
                  <a:pt x="2868" y="1072"/>
                </a:cubicBezTo>
                <a:cubicBezTo>
                  <a:pt x="2868" y="1070"/>
                  <a:pt x="2868" y="1070"/>
                  <a:pt x="2868" y="1070"/>
                </a:cubicBezTo>
                <a:cubicBezTo>
                  <a:pt x="2869" y="1068"/>
                  <a:pt x="2869" y="1068"/>
                  <a:pt x="2869" y="1068"/>
                </a:cubicBezTo>
                <a:cubicBezTo>
                  <a:pt x="2870" y="1066"/>
                  <a:pt x="2870" y="1066"/>
                  <a:pt x="2870" y="1066"/>
                </a:cubicBezTo>
                <a:cubicBezTo>
                  <a:pt x="2870" y="1069"/>
                  <a:pt x="2870" y="1069"/>
                  <a:pt x="2870" y="1069"/>
                </a:cubicBezTo>
                <a:cubicBezTo>
                  <a:pt x="2869" y="1070"/>
                  <a:pt x="2869" y="1070"/>
                  <a:pt x="2869" y="1070"/>
                </a:cubicBezTo>
                <a:cubicBezTo>
                  <a:pt x="2869" y="1072"/>
                  <a:pt x="2869" y="1072"/>
                  <a:pt x="2869" y="1072"/>
                </a:cubicBezTo>
                <a:cubicBezTo>
                  <a:pt x="2870" y="1075"/>
                  <a:pt x="2870" y="1075"/>
                  <a:pt x="2870" y="1075"/>
                </a:cubicBezTo>
                <a:cubicBezTo>
                  <a:pt x="2871" y="1076"/>
                  <a:pt x="2871" y="1076"/>
                  <a:pt x="2871" y="1076"/>
                </a:cubicBezTo>
                <a:cubicBezTo>
                  <a:pt x="2872" y="1075"/>
                  <a:pt x="2872" y="1075"/>
                  <a:pt x="2872" y="1075"/>
                </a:cubicBezTo>
                <a:cubicBezTo>
                  <a:pt x="2872" y="1075"/>
                  <a:pt x="2872" y="1075"/>
                  <a:pt x="2872" y="1075"/>
                </a:cubicBezTo>
                <a:cubicBezTo>
                  <a:pt x="2873" y="1075"/>
                  <a:pt x="2873" y="1075"/>
                  <a:pt x="2873" y="1075"/>
                </a:cubicBezTo>
                <a:cubicBezTo>
                  <a:pt x="2874" y="1077"/>
                  <a:pt x="2874" y="1077"/>
                  <a:pt x="2874" y="1077"/>
                </a:cubicBezTo>
                <a:cubicBezTo>
                  <a:pt x="2875" y="1076"/>
                  <a:pt x="2875" y="1076"/>
                  <a:pt x="2875" y="1076"/>
                </a:cubicBezTo>
                <a:cubicBezTo>
                  <a:pt x="2875" y="1077"/>
                  <a:pt x="2875" y="1077"/>
                  <a:pt x="2875" y="1077"/>
                </a:cubicBezTo>
                <a:cubicBezTo>
                  <a:pt x="2876" y="1077"/>
                  <a:pt x="2876" y="1077"/>
                  <a:pt x="2876" y="1077"/>
                </a:cubicBezTo>
                <a:cubicBezTo>
                  <a:pt x="2877" y="1078"/>
                  <a:pt x="2877" y="1078"/>
                  <a:pt x="2877" y="1078"/>
                </a:cubicBezTo>
                <a:cubicBezTo>
                  <a:pt x="2879" y="1077"/>
                  <a:pt x="2879" y="1077"/>
                  <a:pt x="2879" y="1077"/>
                </a:cubicBezTo>
                <a:cubicBezTo>
                  <a:pt x="2880" y="1077"/>
                  <a:pt x="2880" y="1077"/>
                  <a:pt x="2880" y="1077"/>
                </a:cubicBezTo>
                <a:cubicBezTo>
                  <a:pt x="2880" y="1078"/>
                  <a:pt x="2880" y="1078"/>
                  <a:pt x="2880" y="1078"/>
                </a:cubicBezTo>
                <a:cubicBezTo>
                  <a:pt x="2880" y="1078"/>
                  <a:pt x="2880" y="1078"/>
                  <a:pt x="2880" y="1078"/>
                </a:cubicBezTo>
                <a:cubicBezTo>
                  <a:pt x="2878" y="1078"/>
                  <a:pt x="2878" y="1078"/>
                  <a:pt x="2878" y="1078"/>
                </a:cubicBezTo>
                <a:cubicBezTo>
                  <a:pt x="2878" y="1079"/>
                  <a:pt x="2878" y="1079"/>
                  <a:pt x="2878" y="1079"/>
                </a:cubicBezTo>
                <a:cubicBezTo>
                  <a:pt x="2880" y="1080"/>
                  <a:pt x="2880" y="1080"/>
                  <a:pt x="2880" y="1080"/>
                </a:cubicBezTo>
                <a:cubicBezTo>
                  <a:pt x="2880" y="1081"/>
                  <a:pt x="2880" y="1081"/>
                  <a:pt x="2880" y="1081"/>
                </a:cubicBezTo>
                <a:cubicBezTo>
                  <a:pt x="2881" y="1082"/>
                  <a:pt x="2881" y="1082"/>
                  <a:pt x="2881" y="1082"/>
                </a:cubicBezTo>
                <a:cubicBezTo>
                  <a:pt x="2883" y="1083"/>
                  <a:pt x="2883" y="1083"/>
                  <a:pt x="2883" y="1083"/>
                </a:cubicBezTo>
                <a:cubicBezTo>
                  <a:pt x="2886" y="1083"/>
                  <a:pt x="2886" y="1083"/>
                  <a:pt x="2886" y="1083"/>
                </a:cubicBezTo>
                <a:cubicBezTo>
                  <a:pt x="2893" y="1085"/>
                  <a:pt x="2893" y="1085"/>
                  <a:pt x="2893" y="1085"/>
                </a:cubicBezTo>
                <a:cubicBezTo>
                  <a:pt x="2899" y="1087"/>
                  <a:pt x="2899" y="1087"/>
                  <a:pt x="2899" y="1087"/>
                </a:cubicBezTo>
                <a:cubicBezTo>
                  <a:pt x="2900" y="1086"/>
                  <a:pt x="2900" y="1086"/>
                  <a:pt x="2900" y="1086"/>
                </a:cubicBezTo>
                <a:cubicBezTo>
                  <a:pt x="2903" y="1087"/>
                  <a:pt x="2903" y="1087"/>
                  <a:pt x="2903" y="1087"/>
                </a:cubicBezTo>
                <a:cubicBezTo>
                  <a:pt x="2904" y="1089"/>
                  <a:pt x="2904" y="1089"/>
                  <a:pt x="2904" y="1089"/>
                </a:cubicBezTo>
                <a:cubicBezTo>
                  <a:pt x="2907" y="1090"/>
                  <a:pt x="2907" y="1090"/>
                  <a:pt x="2907" y="1090"/>
                </a:cubicBezTo>
                <a:cubicBezTo>
                  <a:pt x="2908" y="1090"/>
                  <a:pt x="2908" y="1090"/>
                  <a:pt x="2908" y="1090"/>
                </a:cubicBezTo>
                <a:cubicBezTo>
                  <a:pt x="2910" y="1089"/>
                  <a:pt x="2910" y="1089"/>
                  <a:pt x="2910" y="1089"/>
                </a:cubicBezTo>
                <a:cubicBezTo>
                  <a:pt x="2908" y="1091"/>
                  <a:pt x="2908" y="1091"/>
                  <a:pt x="2908" y="1091"/>
                </a:cubicBezTo>
                <a:cubicBezTo>
                  <a:pt x="2909" y="1092"/>
                  <a:pt x="2909" y="1092"/>
                  <a:pt x="2909" y="1092"/>
                </a:cubicBezTo>
                <a:cubicBezTo>
                  <a:pt x="2910" y="1091"/>
                  <a:pt x="2910" y="1091"/>
                  <a:pt x="2910" y="1091"/>
                </a:cubicBezTo>
                <a:cubicBezTo>
                  <a:pt x="2911" y="1092"/>
                  <a:pt x="2911" y="1092"/>
                  <a:pt x="2911" y="1092"/>
                </a:cubicBezTo>
                <a:cubicBezTo>
                  <a:pt x="2913" y="1092"/>
                  <a:pt x="2913" y="1092"/>
                  <a:pt x="2913" y="1092"/>
                </a:cubicBezTo>
                <a:cubicBezTo>
                  <a:pt x="2912" y="1093"/>
                  <a:pt x="2912" y="1093"/>
                  <a:pt x="2912" y="1093"/>
                </a:cubicBezTo>
                <a:cubicBezTo>
                  <a:pt x="2912" y="1094"/>
                  <a:pt x="2912" y="1094"/>
                  <a:pt x="2912" y="1094"/>
                </a:cubicBezTo>
                <a:cubicBezTo>
                  <a:pt x="2912" y="1095"/>
                  <a:pt x="2912" y="1095"/>
                  <a:pt x="2912" y="1095"/>
                </a:cubicBezTo>
                <a:cubicBezTo>
                  <a:pt x="2913" y="1095"/>
                  <a:pt x="2913" y="1095"/>
                  <a:pt x="2913" y="1095"/>
                </a:cubicBezTo>
                <a:cubicBezTo>
                  <a:pt x="2915" y="1095"/>
                  <a:pt x="2915" y="1095"/>
                  <a:pt x="2915" y="1095"/>
                </a:cubicBezTo>
                <a:cubicBezTo>
                  <a:pt x="2913" y="1097"/>
                  <a:pt x="2913" y="1097"/>
                  <a:pt x="2913" y="1097"/>
                </a:cubicBezTo>
                <a:cubicBezTo>
                  <a:pt x="2913" y="1098"/>
                  <a:pt x="2913" y="1098"/>
                  <a:pt x="2913" y="1098"/>
                </a:cubicBezTo>
                <a:cubicBezTo>
                  <a:pt x="2915" y="1100"/>
                  <a:pt x="2915" y="1100"/>
                  <a:pt x="2915" y="1100"/>
                </a:cubicBezTo>
                <a:cubicBezTo>
                  <a:pt x="2915" y="1102"/>
                  <a:pt x="2915" y="1102"/>
                  <a:pt x="2915" y="1102"/>
                </a:cubicBezTo>
                <a:cubicBezTo>
                  <a:pt x="2915" y="1104"/>
                  <a:pt x="2915" y="1104"/>
                  <a:pt x="2915" y="1104"/>
                </a:cubicBezTo>
                <a:cubicBezTo>
                  <a:pt x="2917" y="1105"/>
                  <a:pt x="2917" y="1105"/>
                  <a:pt x="2917" y="1105"/>
                </a:cubicBezTo>
                <a:cubicBezTo>
                  <a:pt x="2920" y="1107"/>
                  <a:pt x="2920" y="1107"/>
                  <a:pt x="2920" y="1107"/>
                </a:cubicBezTo>
                <a:cubicBezTo>
                  <a:pt x="2920" y="1108"/>
                  <a:pt x="2920" y="1108"/>
                  <a:pt x="2920" y="1108"/>
                </a:cubicBezTo>
                <a:cubicBezTo>
                  <a:pt x="2919" y="1108"/>
                  <a:pt x="2919" y="1108"/>
                  <a:pt x="2919" y="1108"/>
                </a:cubicBezTo>
                <a:cubicBezTo>
                  <a:pt x="2918" y="1108"/>
                  <a:pt x="2918" y="1108"/>
                  <a:pt x="2918" y="1108"/>
                </a:cubicBezTo>
                <a:cubicBezTo>
                  <a:pt x="2917" y="1109"/>
                  <a:pt x="2917" y="1109"/>
                  <a:pt x="2917" y="1109"/>
                </a:cubicBezTo>
                <a:cubicBezTo>
                  <a:pt x="2919" y="1110"/>
                  <a:pt x="2919" y="1110"/>
                  <a:pt x="2919" y="1110"/>
                </a:cubicBezTo>
                <a:cubicBezTo>
                  <a:pt x="2921" y="1111"/>
                  <a:pt x="2921" y="1111"/>
                  <a:pt x="2921" y="1111"/>
                </a:cubicBezTo>
                <a:cubicBezTo>
                  <a:pt x="2923" y="1111"/>
                  <a:pt x="2923" y="1111"/>
                  <a:pt x="2923" y="1111"/>
                </a:cubicBezTo>
                <a:cubicBezTo>
                  <a:pt x="2925" y="1111"/>
                  <a:pt x="2925" y="1111"/>
                  <a:pt x="2925" y="1111"/>
                </a:cubicBezTo>
                <a:cubicBezTo>
                  <a:pt x="2923" y="1111"/>
                  <a:pt x="2923" y="1111"/>
                  <a:pt x="2923" y="1111"/>
                </a:cubicBezTo>
                <a:cubicBezTo>
                  <a:pt x="2921" y="1112"/>
                  <a:pt x="2921" y="1112"/>
                  <a:pt x="2921" y="1112"/>
                </a:cubicBezTo>
                <a:cubicBezTo>
                  <a:pt x="2920" y="1112"/>
                  <a:pt x="2920" y="1112"/>
                  <a:pt x="2920" y="1112"/>
                </a:cubicBezTo>
                <a:cubicBezTo>
                  <a:pt x="2919" y="1112"/>
                  <a:pt x="2919" y="1112"/>
                  <a:pt x="2919" y="1112"/>
                </a:cubicBezTo>
                <a:cubicBezTo>
                  <a:pt x="2920" y="1114"/>
                  <a:pt x="2920" y="1114"/>
                  <a:pt x="2920" y="1114"/>
                </a:cubicBezTo>
                <a:cubicBezTo>
                  <a:pt x="2922" y="1114"/>
                  <a:pt x="2922" y="1114"/>
                  <a:pt x="2922" y="1114"/>
                </a:cubicBezTo>
                <a:cubicBezTo>
                  <a:pt x="2921" y="1117"/>
                  <a:pt x="2921" y="1117"/>
                  <a:pt x="2921" y="1117"/>
                </a:cubicBezTo>
                <a:cubicBezTo>
                  <a:pt x="2921" y="1117"/>
                  <a:pt x="2921" y="1117"/>
                  <a:pt x="2921" y="1117"/>
                </a:cubicBezTo>
                <a:cubicBezTo>
                  <a:pt x="2921" y="1119"/>
                  <a:pt x="2921" y="1119"/>
                  <a:pt x="2921" y="1119"/>
                </a:cubicBezTo>
                <a:cubicBezTo>
                  <a:pt x="2920" y="1120"/>
                  <a:pt x="2920" y="1120"/>
                  <a:pt x="2920" y="1120"/>
                </a:cubicBezTo>
                <a:cubicBezTo>
                  <a:pt x="2919" y="1121"/>
                  <a:pt x="2919" y="1121"/>
                  <a:pt x="2919" y="1121"/>
                </a:cubicBezTo>
                <a:cubicBezTo>
                  <a:pt x="2921" y="1122"/>
                  <a:pt x="2921" y="1122"/>
                  <a:pt x="2921" y="1122"/>
                </a:cubicBezTo>
                <a:cubicBezTo>
                  <a:pt x="2923" y="1121"/>
                  <a:pt x="2923" y="1121"/>
                  <a:pt x="2923" y="1121"/>
                </a:cubicBezTo>
                <a:cubicBezTo>
                  <a:pt x="2924" y="1122"/>
                  <a:pt x="2924" y="1122"/>
                  <a:pt x="2924" y="1122"/>
                </a:cubicBezTo>
                <a:cubicBezTo>
                  <a:pt x="2925" y="1122"/>
                  <a:pt x="2925" y="1122"/>
                  <a:pt x="2925" y="1122"/>
                </a:cubicBezTo>
                <a:cubicBezTo>
                  <a:pt x="2927" y="1121"/>
                  <a:pt x="2927" y="1121"/>
                  <a:pt x="2927" y="1121"/>
                </a:cubicBezTo>
                <a:cubicBezTo>
                  <a:pt x="2930" y="1121"/>
                  <a:pt x="2930" y="1121"/>
                  <a:pt x="2930" y="1121"/>
                </a:cubicBezTo>
                <a:cubicBezTo>
                  <a:pt x="2931" y="1120"/>
                  <a:pt x="2931" y="1120"/>
                  <a:pt x="2931" y="1120"/>
                </a:cubicBezTo>
                <a:cubicBezTo>
                  <a:pt x="2932" y="1118"/>
                  <a:pt x="2932" y="1118"/>
                  <a:pt x="2932" y="1118"/>
                </a:cubicBezTo>
                <a:cubicBezTo>
                  <a:pt x="2932" y="1120"/>
                  <a:pt x="2932" y="1120"/>
                  <a:pt x="2932" y="1120"/>
                </a:cubicBezTo>
                <a:cubicBezTo>
                  <a:pt x="2931" y="1122"/>
                  <a:pt x="2931" y="1122"/>
                  <a:pt x="2931" y="1122"/>
                </a:cubicBezTo>
                <a:cubicBezTo>
                  <a:pt x="2931" y="1123"/>
                  <a:pt x="2931" y="1123"/>
                  <a:pt x="2931" y="1123"/>
                </a:cubicBezTo>
                <a:cubicBezTo>
                  <a:pt x="2932" y="1124"/>
                  <a:pt x="2932" y="1124"/>
                  <a:pt x="2932" y="1124"/>
                </a:cubicBezTo>
                <a:cubicBezTo>
                  <a:pt x="2934" y="1126"/>
                  <a:pt x="2934" y="1126"/>
                  <a:pt x="2934" y="1126"/>
                </a:cubicBezTo>
                <a:cubicBezTo>
                  <a:pt x="2934" y="1126"/>
                  <a:pt x="2934" y="1126"/>
                  <a:pt x="2934" y="1126"/>
                </a:cubicBezTo>
                <a:cubicBezTo>
                  <a:pt x="2935" y="1128"/>
                  <a:pt x="2935" y="1128"/>
                  <a:pt x="2935" y="1128"/>
                </a:cubicBezTo>
                <a:cubicBezTo>
                  <a:pt x="2938" y="1131"/>
                  <a:pt x="2938" y="1131"/>
                  <a:pt x="2938" y="1131"/>
                </a:cubicBezTo>
                <a:cubicBezTo>
                  <a:pt x="2940" y="1132"/>
                  <a:pt x="2940" y="1132"/>
                  <a:pt x="2940" y="1132"/>
                </a:cubicBezTo>
                <a:cubicBezTo>
                  <a:pt x="2941" y="1132"/>
                  <a:pt x="2941" y="1132"/>
                  <a:pt x="2941" y="1132"/>
                </a:cubicBezTo>
                <a:cubicBezTo>
                  <a:pt x="2944" y="1132"/>
                  <a:pt x="2944" y="1132"/>
                  <a:pt x="2944" y="1132"/>
                </a:cubicBezTo>
                <a:cubicBezTo>
                  <a:pt x="2945" y="1132"/>
                  <a:pt x="2945" y="1132"/>
                  <a:pt x="2945" y="1132"/>
                </a:cubicBezTo>
                <a:cubicBezTo>
                  <a:pt x="2947" y="1132"/>
                  <a:pt x="2947" y="1132"/>
                  <a:pt x="2947" y="1132"/>
                </a:cubicBezTo>
                <a:cubicBezTo>
                  <a:pt x="2953" y="1132"/>
                  <a:pt x="2953" y="1132"/>
                  <a:pt x="2953" y="1132"/>
                </a:cubicBezTo>
                <a:cubicBezTo>
                  <a:pt x="2954" y="1132"/>
                  <a:pt x="2954" y="1132"/>
                  <a:pt x="2954" y="1132"/>
                </a:cubicBezTo>
                <a:cubicBezTo>
                  <a:pt x="2954" y="1133"/>
                  <a:pt x="2954" y="1133"/>
                  <a:pt x="2954" y="1133"/>
                </a:cubicBezTo>
                <a:cubicBezTo>
                  <a:pt x="2956" y="1134"/>
                  <a:pt x="2956" y="1134"/>
                  <a:pt x="2956" y="1134"/>
                </a:cubicBezTo>
                <a:cubicBezTo>
                  <a:pt x="2957" y="1135"/>
                  <a:pt x="2957" y="1135"/>
                  <a:pt x="2957" y="1135"/>
                </a:cubicBezTo>
                <a:cubicBezTo>
                  <a:pt x="2959" y="1133"/>
                  <a:pt x="2959" y="1133"/>
                  <a:pt x="2959" y="1133"/>
                </a:cubicBezTo>
                <a:cubicBezTo>
                  <a:pt x="2963" y="1132"/>
                  <a:pt x="2963" y="1132"/>
                  <a:pt x="2963" y="1132"/>
                </a:cubicBezTo>
                <a:cubicBezTo>
                  <a:pt x="2963" y="1131"/>
                  <a:pt x="2963" y="1131"/>
                  <a:pt x="2963" y="1131"/>
                </a:cubicBezTo>
                <a:cubicBezTo>
                  <a:pt x="2964" y="1132"/>
                  <a:pt x="2964" y="1132"/>
                  <a:pt x="2964" y="1132"/>
                </a:cubicBezTo>
                <a:cubicBezTo>
                  <a:pt x="2965" y="1131"/>
                  <a:pt x="2965" y="1131"/>
                  <a:pt x="2965" y="1131"/>
                </a:cubicBezTo>
                <a:cubicBezTo>
                  <a:pt x="2965" y="1128"/>
                  <a:pt x="2965" y="1128"/>
                  <a:pt x="2965" y="1128"/>
                </a:cubicBezTo>
                <a:cubicBezTo>
                  <a:pt x="2962" y="1126"/>
                  <a:pt x="2962" y="1126"/>
                  <a:pt x="2962" y="1126"/>
                </a:cubicBezTo>
                <a:cubicBezTo>
                  <a:pt x="2959" y="1125"/>
                  <a:pt x="2959" y="1125"/>
                  <a:pt x="2959" y="1125"/>
                </a:cubicBezTo>
                <a:cubicBezTo>
                  <a:pt x="2957" y="1125"/>
                  <a:pt x="2957" y="1125"/>
                  <a:pt x="2957" y="1125"/>
                </a:cubicBezTo>
                <a:cubicBezTo>
                  <a:pt x="2956" y="1124"/>
                  <a:pt x="2956" y="1124"/>
                  <a:pt x="2956" y="1124"/>
                </a:cubicBezTo>
                <a:cubicBezTo>
                  <a:pt x="2954" y="1123"/>
                  <a:pt x="2954" y="1123"/>
                  <a:pt x="2954" y="1123"/>
                </a:cubicBezTo>
                <a:cubicBezTo>
                  <a:pt x="2954" y="1123"/>
                  <a:pt x="2954" y="1123"/>
                  <a:pt x="2954" y="1123"/>
                </a:cubicBezTo>
                <a:cubicBezTo>
                  <a:pt x="2953" y="1122"/>
                  <a:pt x="2953" y="1122"/>
                  <a:pt x="2953" y="1122"/>
                </a:cubicBezTo>
                <a:cubicBezTo>
                  <a:pt x="2952" y="1120"/>
                  <a:pt x="2952" y="1120"/>
                  <a:pt x="2952" y="1120"/>
                </a:cubicBezTo>
                <a:cubicBezTo>
                  <a:pt x="2951" y="1118"/>
                  <a:pt x="2951" y="1118"/>
                  <a:pt x="2951" y="1118"/>
                </a:cubicBezTo>
                <a:cubicBezTo>
                  <a:pt x="2949" y="1117"/>
                  <a:pt x="2949" y="1117"/>
                  <a:pt x="2949" y="1117"/>
                </a:cubicBezTo>
                <a:cubicBezTo>
                  <a:pt x="2948" y="1115"/>
                  <a:pt x="2948" y="1115"/>
                  <a:pt x="2948" y="1115"/>
                </a:cubicBezTo>
                <a:cubicBezTo>
                  <a:pt x="2947" y="1114"/>
                  <a:pt x="2947" y="1114"/>
                  <a:pt x="2947" y="1114"/>
                </a:cubicBezTo>
                <a:cubicBezTo>
                  <a:pt x="2948" y="1115"/>
                  <a:pt x="2948" y="1115"/>
                  <a:pt x="2948" y="1115"/>
                </a:cubicBezTo>
                <a:cubicBezTo>
                  <a:pt x="2949" y="1117"/>
                  <a:pt x="2949" y="1117"/>
                  <a:pt x="2949" y="1117"/>
                </a:cubicBezTo>
                <a:cubicBezTo>
                  <a:pt x="2950" y="1117"/>
                  <a:pt x="2950" y="1117"/>
                  <a:pt x="2950" y="1117"/>
                </a:cubicBezTo>
                <a:cubicBezTo>
                  <a:pt x="2952" y="1118"/>
                  <a:pt x="2952" y="1118"/>
                  <a:pt x="2952" y="1118"/>
                </a:cubicBezTo>
                <a:cubicBezTo>
                  <a:pt x="2953" y="1120"/>
                  <a:pt x="2953" y="1120"/>
                  <a:pt x="2953" y="1120"/>
                </a:cubicBezTo>
                <a:cubicBezTo>
                  <a:pt x="2953" y="1122"/>
                  <a:pt x="2953" y="1122"/>
                  <a:pt x="2953" y="1122"/>
                </a:cubicBezTo>
                <a:cubicBezTo>
                  <a:pt x="2954" y="1122"/>
                  <a:pt x="2954" y="1122"/>
                  <a:pt x="2954" y="1122"/>
                </a:cubicBezTo>
                <a:cubicBezTo>
                  <a:pt x="2956" y="1123"/>
                  <a:pt x="2956" y="1123"/>
                  <a:pt x="2956" y="1123"/>
                </a:cubicBezTo>
                <a:cubicBezTo>
                  <a:pt x="2958" y="1124"/>
                  <a:pt x="2958" y="1124"/>
                  <a:pt x="2958" y="1124"/>
                </a:cubicBezTo>
                <a:cubicBezTo>
                  <a:pt x="2959" y="1124"/>
                  <a:pt x="2959" y="1124"/>
                  <a:pt x="2959" y="1124"/>
                </a:cubicBezTo>
                <a:cubicBezTo>
                  <a:pt x="2961" y="1124"/>
                  <a:pt x="2961" y="1124"/>
                  <a:pt x="2961" y="1124"/>
                </a:cubicBezTo>
                <a:cubicBezTo>
                  <a:pt x="2964" y="1123"/>
                  <a:pt x="2964" y="1123"/>
                  <a:pt x="2964" y="1123"/>
                </a:cubicBezTo>
                <a:cubicBezTo>
                  <a:pt x="2966" y="1123"/>
                  <a:pt x="2966" y="1123"/>
                  <a:pt x="2966" y="1123"/>
                </a:cubicBezTo>
                <a:cubicBezTo>
                  <a:pt x="2968" y="1123"/>
                  <a:pt x="2968" y="1123"/>
                  <a:pt x="2968" y="1123"/>
                </a:cubicBezTo>
                <a:cubicBezTo>
                  <a:pt x="2967" y="1122"/>
                  <a:pt x="2967" y="1122"/>
                  <a:pt x="2967" y="1122"/>
                </a:cubicBezTo>
                <a:cubicBezTo>
                  <a:pt x="2966" y="1121"/>
                  <a:pt x="2966" y="1121"/>
                  <a:pt x="2966" y="1121"/>
                </a:cubicBezTo>
                <a:cubicBezTo>
                  <a:pt x="2965" y="1120"/>
                  <a:pt x="2965" y="1120"/>
                  <a:pt x="2965" y="1120"/>
                </a:cubicBezTo>
                <a:cubicBezTo>
                  <a:pt x="2964" y="1120"/>
                  <a:pt x="2964" y="1120"/>
                  <a:pt x="2964" y="1120"/>
                </a:cubicBezTo>
                <a:cubicBezTo>
                  <a:pt x="2963" y="1119"/>
                  <a:pt x="2963" y="1119"/>
                  <a:pt x="2963" y="1119"/>
                </a:cubicBezTo>
                <a:cubicBezTo>
                  <a:pt x="2964" y="1120"/>
                  <a:pt x="2964" y="1120"/>
                  <a:pt x="2964" y="1120"/>
                </a:cubicBezTo>
                <a:cubicBezTo>
                  <a:pt x="2966" y="1119"/>
                  <a:pt x="2966" y="1119"/>
                  <a:pt x="2966" y="1119"/>
                </a:cubicBezTo>
                <a:cubicBezTo>
                  <a:pt x="2968" y="1121"/>
                  <a:pt x="2968" y="1121"/>
                  <a:pt x="2968" y="1121"/>
                </a:cubicBezTo>
                <a:cubicBezTo>
                  <a:pt x="2969" y="1121"/>
                  <a:pt x="2969" y="1121"/>
                  <a:pt x="2969" y="1121"/>
                </a:cubicBezTo>
                <a:cubicBezTo>
                  <a:pt x="2969" y="1120"/>
                  <a:pt x="2969" y="1120"/>
                  <a:pt x="2969" y="1120"/>
                </a:cubicBezTo>
                <a:cubicBezTo>
                  <a:pt x="2969" y="1119"/>
                  <a:pt x="2969" y="1119"/>
                  <a:pt x="2969" y="1119"/>
                </a:cubicBezTo>
                <a:cubicBezTo>
                  <a:pt x="2970" y="1118"/>
                  <a:pt x="2970" y="1118"/>
                  <a:pt x="2970" y="1118"/>
                </a:cubicBezTo>
                <a:cubicBezTo>
                  <a:pt x="2970" y="1117"/>
                  <a:pt x="2970" y="1117"/>
                  <a:pt x="2970" y="1117"/>
                </a:cubicBezTo>
                <a:cubicBezTo>
                  <a:pt x="2969" y="1115"/>
                  <a:pt x="2969" y="1115"/>
                  <a:pt x="2969" y="1115"/>
                </a:cubicBezTo>
                <a:cubicBezTo>
                  <a:pt x="2968" y="1114"/>
                  <a:pt x="2968" y="1114"/>
                  <a:pt x="2968" y="1114"/>
                </a:cubicBezTo>
                <a:cubicBezTo>
                  <a:pt x="2968" y="1113"/>
                  <a:pt x="2968" y="1113"/>
                  <a:pt x="2968" y="1113"/>
                </a:cubicBezTo>
                <a:cubicBezTo>
                  <a:pt x="2970" y="1114"/>
                  <a:pt x="2970" y="1114"/>
                  <a:pt x="2970" y="1114"/>
                </a:cubicBezTo>
                <a:cubicBezTo>
                  <a:pt x="2970" y="1115"/>
                  <a:pt x="2970" y="1115"/>
                  <a:pt x="2970" y="1115"/>
                </a:cubicBezTo>
                <a:cubicBezTo>
                  <a:pt x="2972" y="1117"/>
                  <a:pt x="2972" y="1117"/>
                  <a:pt x="2972" y="1117"/>
                </a:cubicBezTo>
                <a:cubicBezTo>
                  <a:pt x="2974" y="1117"/>
                  <a:pt x="2974" y="1117"/>
                  <a:pt x="2974" y="1117"/>
                </a:cubicBezTo>
                <a:cubicBezTo>
                  <a:pt x="2974" y="1116"/>
                  <a:pt x="2974" y="1116"/>
                  <a:pt x="2974" y="1116"/>
                </a:cubicBezTo>
                <a:cubicBezTo>
                  <a:pt x="2974" y="1115"/>
                  <a:pt x="2974" y="1115"/>
                  <a:pt x="2974" y="1115"/>
                </a:cubicBezTo>
                <a:cubicBezTo>
                  <a:pt x="2974" y="1115"/>
                  <a:pt x="2974" y="1115"/>
                  <a:pt x="2974" y="1115"/>
                </a:cubicBezTo>
                <a:cubicBezTo>
                  <a:pt x="2975" y="1117"/>
                  <a:pt x="2975" y="1117"/>
                  <a:pt x="2975" y="1117"/>
                </a:cubicBezTo>
                <a:cubicBezTo>
                  <a:pt x="2975" y="1117"/>
                  <a:pt x="2975" y="1117"/>
                  <a:pt x="2975" y="1117"/>
                </a:cubicBezTo>
                <a:cubicBezTo>
                  <a:pt x="2976" y="1116"/>
                  <a:pt x="2976" y="1116"/>
                  <a:pt x="2976" y="1116"/>
                </a:cubicBezTo>
                <a:cubicBezTo>
                  <a:pt x="2975" y="1115"/>
                  <a:pt x="2975" y="1115"/>
                  <a:pt x="2975" y="1115"/>
                </a:cubicBezTo>
                <a:cubicBezTo>
                  <a:pt x="2976" y="1112"/>
                  <a:pt x="2976" y="1112"/>
                  <a:pt x="2976" y="1112"/>
                </a:cubicBezTo>
                <a:cubicBezTo>
                  <a:pt x="2976" y="1114"/>
                  <a:pt x="2976" y="1114"/>
                  <a:pt x="2976" y="1114"/>
                </a:cubicBezTo>
                <a:cubicBezTo>
                  <a:pt x="2979" y="1114"/>
                  <a:pt x="2979" y="1114"/>
                  <a:pt x="2979" y="1114"/>
                </a:cubicBezTo>
                <a:cubicBezTo>
                  <a:pt x="2979" y="1116"/>
                  <a:pt x="2979" y="1116"/>
                  <a:pt x="2979" y="1116"/>
                </a:cubicBezTo>
                <a:cubicBezTo>
                  <a:pt x="2981" y="1116"/>
                  <a:pt x="2981" y="1116"/>
                  <a:pt x="2981" y="1116"/>
                </a:cubicBezTo>
                <a:cubicBezTo>
                  <a:pt x="2982" y="1116"/>
                  <a:pt x="2982" y="1116"/>
                  <a:pt x="2982" y="1116"/>
                </a:cubicBezTo>
                <a:cubicBezTo>
                  <a:pt x="2983" y="1117"/>
                  <a:pt x="2983" y="1117"/>
                  <a:pt x="2983" y="1117"/>
                </a:cubicBezTo>
                <a:cubicBezTo>
                  <a:pt x="2984" y="1115"/>
                  <a:pt x="2984" y="1115"/>
                  <a:pt x="2984" y="1115"/>
                </a:cubicBezTo>
                <a:cubicBezTo>
                  <a:pt x="2983" y="1117"/>
                  <a:pt x="2983" y="1117"/>
                  <a:pt x="2983" y="1117"/>
                </a:cubicBezTo>
                <a:cubicBezTo>
                  <a:pt x="2984" y="1118"/>
                  <a:pt x="2984" y="1118"/>
                  <a:pt x="2984" y="1118"/>
                </a:cubicBezTo>
                <a:cubicBezTo>
                  <a:pt x="2985" y="1118"/>
                  <a:pt x="2985" y="1118"/>
                  <a:pt x="2985" y="1118"/>
                </a:cubicBezTo>
                <a:cubicBezTo>
                  <a:pt x="2986" y="1120"/>
                  <a:pt x="2986" y="1120"/>
                  <a:pt x="2986" y="1120"/>
                </a:cubicBezTo>
                <a:cubicBezTo>
                  <a:pt x="2991" y="1121"/>
                  <a:pt x="2991" y="1121"/>
                  <a:pt x="2991" y="1121"/>
                </a:cubicBezTo>
                <a:cubicBezTo>
                  <a:pt x="2993" y="1122"/>
                  <a:pt x="2993" y="1122"/>
                  <a:pt x="2993" y="1122"/>
                </a:cubicBezTo>
                <a:cubicBezTo>
                  <a:pt x="2995" y="1124"/>
                  <a:pt x="2995" y="1124"/>
                  <a:pt x="2995" y="1124"/>
                </a:cubicBezTo>
                <a:cubicBezTo>
                  <a:pt x="2995" y="1126"/>
                  <a:pt x="2995" y="1126"/>
                  <a:pt x="2995" y="1126"/>
                </a:cubicBezTo>
                <a:cubicBezTo>
                  <a:pt x="2998" y="1130"/>
                  <a:pt x="2998" y="1130"/>
                  <a:pt x="2998" y="1130"/>
                </a:cubicBezTo>
                <a:cubicBezTo>
                  <a:pt x="2999" y="1131"/>
                  <a:pt x="2999" y="1131"/>
                  <a:pt x="2999" y="1131"/>
                </a:cubicBezTo>
                <a:cubicBezTo>
                  <a:pt x="3000" y="1132"/>
                  <a:pt x="3000" y="1132"/>
                  <a:pt x="3000" y="1132"/>
                </a:cubicBezTo>
                <a:cubicBezTo>
                  <a:pt x="3001" y="1133"/>
                  <a:pt x="3001" y="1133"/>
                  <a:pt x="3001" y="1133"/>
                </a:cubicBezTo>
                <a:cubicBezTo>
                  <a:pt x="3002" y="1135"/>
                  <a:pt x="3002" y="1135"/>
                  <a:pt x="3002" y="1135"/>
                </a:cubicBezTo>
                <a:cubicBezTo>
                  <a:pt x="3007" y="1139"/>
                  <a:pt x="3007" y="1139"/>
                  <a:pt x="3007" y="1139"/>
                </a:cubicBezTo>
                <a:cubicBezTo>
                  <a:pt x="3007" y="1141"/>
                  <a:pt x="3007" y="1141"/>
                  <a:pt x="3007" y="1141"/>
                </a:cubicBezTo>
                <a:cubicBezTo>
                  <a:pt x="3008" y="1142"/>
                  <a:pt x="3008" y="1142"/>
                  <a:pt x="3008" y="1142"/>
                </a:cubicBezTo>
                <a:cubicBezTo>
                  <a:pt x="3011" y="1143"/>
                  <a:pt x="3011" y="1143"/>
                  <a:pt x="3011" y="1143"/>
                </a:cubicBezTo>
                <a:cubicBezTo>
                  <a:pt x="3012" y="1143"/>
                  <a:pt x="3012" y="1143"/>
                  <a:pt x="3012" y="1143"/>
                </a:cubicBezTo>
                <a:cubicBezTo>
                  <a:pt x="3013" y="1143"/>
                  <a:pt x="3013" y="1143"/>
                  <a:pt x="3013" y="1143"/>
                </a:cubicBezTo>
                <a:cubicBezTo>
                  <a:pt x="3015" y="1143"/>
                  <a:pt x="3015" y="1143"/>
                  <a:pt x="3015" y="1143"/>
                </a:cubicBezTo>
                <a:cubicBezTo>
                  <a:pt x="3018" y="1143"/>
                  <a:pt x="3018" y="1143"/>
                  <a:pt x="3018" y="1143"/>
                </a:cubicBezTo>
                <a:cubicBezTo>
                  <a:pt x="3020" y="1144"/>
                  <a:pt x="3020" y="1144"/>
                  <a:pt x="3020" y="1144"/>
                </a:cubicBezTo>
                <a:cubicBezTo>
                  <a:pt x="3022" y="1144"/>
                  <a:pt x="3022" y="1144"/>
                  <a:pt x="3022" y="1144"/>
                </a:cubicBezTo>
                <a:cubicBezTo>
                  <a:pt x="3025" y="1144"/>
                  <a:pt x="3025" y="1144"/>
                  <a:pt x="3025" y="1144"/>
                </a:cubicBezTo>
                <a:cubicBezTo>
                  <a:pt x="3027" y="1145"/>
                  <a:pt x="3027" y="1145"/>
                  <a:pt x="3027" y="1145"/>
                </a:cubicBezTo>
                <a:cubicBezTo>
                  <a:pt x="3029" y="1145"/>
                  <a:pt x="3029" y="1145"/>
                  <a:pt x="3029" y="1145"/>
                </a:cubicBezTo>
                <a:cubicBezTo>
                  <a:pt x="3030" y="1146"/>
                  <a:pt x="3030" y="1146"/>
                  <a:pt x="3030" y="1146"/>
                </a:cubicBezTo>
                <a:cubicBezTo>
                  <a:pt x="3032" y="1146"/>
                  <a:pt x="3032" y="1146"/>
                  <a:pt x="3032" y="1146"/>
                </a:cubicBezTo>
                <a:cubicBezTo>
                  <a:pt x="3032" y="1146"/>
                  <a:pt x="3032" y="1146"/>
                  <a:pt x="3032" y="1146"/>
                </a:cubicBezTo>
                <a:cubicBezTo>
                  <a:pt x="3031" y="1147"/>
                  <a:pt x="3031" y="1147"/>
                  <a:pt x="3031" y="1147"/>
                </a:cubicBezTo>
                <a:cubicBezTo>
                  <a:pt x="3033" y="1148"/>
                  <a:pt x="3033" y="1148"/>
                  <a:pt x="3033" y="1148"/>
                </a:cubicBezTo>
                <a:cubicBezTo>
                  <a:pt x="3035" y="1149"/>
                  <a:pt x="3035" y="1149"/>
                  <a:pt x="3035" y="1149"/>
                </a:cubicBezTo>
                <a:cubicBezTo>
                  <a:pt x="3038" y="1149"/>
                  <a:pt x="3038" y="1149"/>
                  <a:pt x="3038" y="1149"/>
                </a:cubicBezTo>
                <a:cubicBezTo>
                  <a:pt x="3038" y="1147"/>
                  <a:pt x="3038" y="1147"/>
                  <a:pt x="3038" y="1147"/>
                </a:cubicBezTo>
                <a:cubicBezTo>
                  <a:pt x="3036" y="1146"/>
                  <a:pt x="3036" y="1146"/>
                  <a:pt x="3036" y="1146"/>
                </a:cubicBezTo>
                <a:cubicBezTo>
                  <a:pt x="3035" y="1146"/>
                  <a:pt x="3035" y="1146"/>
                  <a:pt x="3035" y="1146"/>
                </a:cubicBezTo>
                <a:cubicBezTo>
                  <a:pt x="3035" y="1145"/>
                  <a:pt x="3035" y="1145"/>
                  <a:pt x="3035" y="1145"/>
                </a:cubicBezTo>
                <a:cubicBezTo>
                  <a:pt x="3037" y="1144"/>
                  <a:pt x="3037" y="1144"/>
                  <a:pt x="3037" y="1144"/>
                </a:cubicBezTo>
                <a:cubicBezTo>
                  <a:pt x="3039" y="1145"/>
                  <a:pt x="3039" y="1145"/>
                  <a:pt x="3039" y="1145"/>
                </a:cubicBezTo>
                <a:cubicBezTo>
                  <a:pt x="3040" y="1144"/>
                  <a:pt x="3040" y="1144"/>
                  <a:pt x="3040" y="1144"/>
                </a:cubicBezTo>
                <a:cubicBezTo>
                  <a:pt x="3036" y="1143"/>
                  <a:pt x="3036" y="1143"/>
                  <a:pt x="3036" y="1143"/>
                </a:cubicBezTo>
                <a:cubicBezTo>
                  <a:pt x="3032" y="1142"/>
                  <a:pt x="3032" y="1142"/>
                  <a:pt x="3032" y="1142"/>
                </a:cubicBezTo>
                <a:cubicBezTo>
                  <a:pt x="3029" y="1141"/>
                  <a:pt x="3029" y="1141"/>
                  <a:pt x="3029" y="1141"/>
                </a:cubicBezTo>
                <a:cubicBezTo>
                  <a:pt x="3028" y="1140"/>
                  <a:pt x="3028" y="1140"/>
                  <a:pt x="3028" y="1140"/>
                </a:cubicBezTo>
                <a:cubicBezTo>
                  <a:pt x="3031" y="1139"/>
                  <a:pt x="3031" y="1139"/>
                  <a:pt x="3031" y="1139"/>
                </a:cubicBezTo>
                <a:cubicBezTo>
                  <a:pt x="3032" y="1139"/>
                  <a:pt x="3032" y="1139"/>
                  <a:pt x="3032" y="1139"/>
                </a:cubicBezTo>
                <a:cubicBezTo>
                  <a:pt x="3033" y="1138"/>
                  <a:pt x="3033" y="1138"/>
                  <a:pt x="3033" y="1138"/>
                </a:cubicBezTo>
                <a:cubicBezTo>
                  <a:pt x="3032" y="1137"/>
                  <a:pt x="3032" y="1137"/>
                  <a:pt x="3032" y="1137"/>
                </a:cubicBezTo>
                <a:cubicBezTo>
                  <a:pt x="3028" y="1137"/>
                  <a:pt x="3028" y="1137"/>
                  <a:pt x="3028" y="1137"/>
                </a:cubicBezTo>
                <a:cubicBezTo>
                  <a:pt x="3025" y="1137"/>
                  <a:pt x="3025" y="1137"/>
                  <a:pt x="3025" y="1137"/>
                </a:cubicBezTo>
                <a:cubicBezTo>
                  <a:pt x="3024" y="1136"/>
                  <a:pt x="3024" y="1136"/>
                  <a:pt x="3024" y="1136"/>
                </a:cubicBezTo>
                <a:cubicBezTo>
                  <a:pt x="3024" y="1134"/>
                  <a:pt x="3024" y="1134"/>
                  <a:pt x="3024" y="1134"/>
                </a:cubicBezTo>
                <a:cubicBezTo>
                  <a:pt x="3025" y="1133"/>
                  <a:pt x="3025" y="1133"/>
                  <a:pt x="3025" y="1133"/>
                </a:cubicBezTo>
                <a:lnTo>
                  <a:pt x="3025" y="1132"/>
                </a:lnTo>
                <a:close/>
                <a:moveTo>
                  <a:pt x="2936" y="449"/>
                </a:moveTo>
                <a:cubicBezTo>
                  <a:pt x="2937" y="447"/>
                  <a:pt x="2937" y="447"/>
                  <a:pt x="2937" y="447"/>
                </a:cubicBezTo>
                <a:cubicBezTo>
                  <a:pt x="2939" y="446"/>
                  <a:pt x="2939" y="446"/>
                  <a:pt x="2939" y="446"/>
                </a:cubicBezTo>
                <a:cubicBezTo>
                  <a:pt x="2939" y="444"/>
                  <a:pt x="2939" y="444"/>
                  <a:pt x="2939" y="444"/>
                </a:cubicBezTo>
                <a:cubicBezTo>
                  <a:pt x="2939" y="442"/>
                  <a:pt x="2939" y="442"/>
                  <a:pt x="2939" y="442"/>
                </a:cubicBezTo>
                <a:cubicBezTo>
                  <a:pt x="2941" y="439"/>
                  <a:pt x="2941" y="439"/>
                  <a:pt x="2941" y="439"/>
                </a:cubicBezTo>
                <a:cubicBezTo>
                  <a:pt x="2940" y="440"/>
                  <a:pt x="2940" y="440"/>
                  <a:pt x="2940" y="440"/>
                </a:cubicBezTo>
                <a:cubicBezTo>
                  <a:pt x="2938" y="440"/>
                  <a:pt x="2938" y="440"/>
                  <a:pt x="2938" y="440"/>
                </a:cubicBezTo>
                <a:cubicBezTo>
                  <a:pt x="2937" y="442"/>
                  <a:pt x="2937" y="442"/>
                  <a:pt x="2937" y="442"/>
                </a:cubicBezTo>
                <a:cubicBezTo>
                  <a:pt x="2937" y="443"/>
                  <a:pt x="2937" y="443"/>
                  <a:pt x="2937" y="443"/>
                </a:cubicBezTo>
                <a:cubicBezTo>
                  <a:pt x="2936" y="445"/>
                  <a:pt x="2936" y="445"/>
                  <a:pt x="2936" y="445"/>
                </a:cubicBezTo>
                <a:cubicBezTo>
                  <a:pt x="2935" y="445"/>
                  <a:pt x="2935" y="445"/>
                  <a:pt x="2935" y="445"/>
                </a:cubicBezTo>
                <a:cubicBezTo>
                  <a:pt x="2935" y="447"/>
                  <a:pt x="2935" y="447"/>
                  <a:pt x="2935" y="447"/>
                </a:cubicBezTo>
                <a:cubicBezTo>
                  <a:pt x="2933" y="448"/>
                  <a:pt x="2933" y="448"/>
                  <a:pt x="2933" y="448"/>
                </a:cubicBezTo>
                <a:cubicBezTo>
                  <a:pt x="2933" y="451"/>
                  <a:pt x="2933" y="451"/>
                  <a:pt x="2933" y="451"/>
                </a:cubicBezTo>
                <a:cubicBezTo>
                  <a:pt x="2934" y="452"/>
                  <a:pt x="2934" y="452"/>
                  <a:pt x="2934" y="452"/>
                </a:cubicBezTo>
                <a:lnTo>
                  <a:pt x="2936" y="449"/>
                </a:lnTo>
                <a:close/>
                <a:moveTo>
                  <a:pt x="2914" y="484"/>
                </a:moveTo>
                <a:cubicBezTo>
                  <a:pt x="2915" y="484"/>
                  <a:pt x="2915" y="484"/>
                  <a:pt x="2915" y="484"/>
                </a:cubicBezTo>
                <a:cubicBezTo>
                  <a:pt x="2917" y="483"/>
                  <a:pt x="2917" y="483"/>
                  <a:pt x="2917" y="483"/>
                </a:cubicBezTo>
                <a:cubicBezTo>
                  <a:pt x="2917" y="482"/>
                  <a:pt x="2917" y="482"/>
                  <a:pt x="2917" y="482"/>
                </a:cubicBezTo>
                <a:cubicBezTo>
                  <a:pt x="2916" y="482"/>
                  <a:pt x="2916" y="482"/>
                  <a:pt x="2916" y="482"/>
                </a:cubicBezTo>
                <a:lnTo>
                  <a:pt x="2914" y="484"/>
                </a:lnTo>
                <a:close/>
                <a:moveTo>
                  <a:pt x="2961" y="387"/>
                </a:moveTo>
                <a:cubicBezTo>
                  <a:pt x="2960" y="386"/>
                  <a:pt x="2960" y="386"/>
                  <a:pt x="2960" y="386"/>
                </a:cubicBezTo>
                <a:cubicBezTo>
                  <a:pt x="2959" y="385"/>
                  <a:pt x="2959" y="385"/>
                  <a:pt x="2959" y="385"/>
                </a:cubicBezTo>
                <a:cubicBezTo>
                  <a:pt x="2958" y="386"/>
                  <a:pt x="2958" y="386"/>
                  <a:pt x="2958" y="386"/>
                </a:cubicBezTo>
                <a:cubicBezTo>
                  <a:pt x="2959" y="386"/>
                  <a:pt x="2959" y="386"/>
                  <a:pt x="2959" y="386"/>
                </a:cubicBezTo>
                <a:cubicBezTo>
                  <a:pt x="2960" y="387"/>
                  <a:pt x="2960" y="387"/>
                  <a:pt x="2960" y="387"/>
                </a:cubicBezTo>
                <a:lnTo>
                  <a:pt x="2961" y="387"/>
                </a:lnTo>
                <a:close/>
                <a:moveTo>
                  <a:pt x="2960" y="382"/>
                </a:moveTo>
                <a:cubicBezTo>
                  <a:pt x="2959" y="380"/>
                  <a:pt x="2959" y="380"/>
                  <a:pt x="2959" y="380"/>
                </a:cubicBezTo>
                <a:cubicBezTo>
                  <a:pt x="2959" y="379"/>
                  <a:pt x="2959" y="379"/>
                  <a:pt x="2959" y="379"/>
                </a:cubicBezTo>
                <a:cubicBezTo>
                  <a:pt x="2959" y="378"/>
                  <a:pt x="2959" y="378"/>
                  <a:pt x="2959" y="378"/>
                </a:cubicBezTo>
                <a:cubicBezTo>
                  <a:pt x="2959" y="380"/>
                  <a:pt x="2959" y="380"/>
                  <a:pt x="2959" y="380"/>
                </a:cubicBezTo>
                <a:cubicBezTo>
                  <a:pt x="2958" y="382"/>
                  <a:pt x="2958" y="382"/>
                  <a:pt x="2958" y="382"/>
                </a:cubicBezTo>
                <a:cubicBezTo>
                  <a:pt x="2959" y="384"/>
                  <a:pt x="2959" y="384"/>
                  <a:pt x="2959" y="384"/>
                </a:cubicBezTo>
                <a:cubicBezTo>
                  <a:pt x="2959" y="383"/>
                  <a:pt x="2960" y="382"/>
                  <a:pt x="2960" y="382"/>
                </a:cubicBezTo>
                <a:close/>
                <a:moveTo>
                  <a:pt x="2954" y="415"/>
                </a:moveTo>
                <a:cubicBezTo>
                  <a:pt x="2955" y="413"/>
                  <a:pt x="2955" y="413"/>
                  <a:pt x="2955" y="413"/>
                </a:cubicBezTo>
                <a:cubicBezTo>
                  <a:pt x="2954" y="412"/>
                  <a:pt x="2954" y="412"/>
                  <a:pt x="2954" y="412"/>
                </a:cubicBezTo>
                <a:cubicBezTo>
                  <a:pt x="2954" y="413"/>
                  <a:pt x="2954" y="413"/>
                  <a:pt x="2954" y="413"/>
                </a:cubicBezTo>
                <a:lnTo>
                  <a:pt x="2954" y="415"/>
                </a:lnTo>
                <a:close/>
                <a:moveTo>
                  <a:pt x="2995" y="1084"/>
                </a:moveTo>
                <a:cubicBezTo>
                  <a:pt x="2993" y="1084"/>
                  <a:pt x="2993" y="1084"/>
                  <a:pt x="2993" y="1084"/>
                </a:cubicBezTo>
                <a:cubicBezTo>
                  <a:pt x="2993" y="1086"/>
                  <a:pt x="2993" y="1086"/>
                  <a:pt x="2993" y="1086"/>
                </a:cubicBezTo>
                <a:cubicBezTo>
                  <a:pt x="2995" y="1085"/>
                  <a:pt x="2995" y="1085"/>
                  <a:pt x="2995" y="1085"/>
                </a:cubicBezTo>
                <a:lnTo>
                  <a:pt x="2995" y="1084"/>
                </a:lnTo>
                <a:close/>
                <a:moveTo>
                  <a:pt x="2958" y="393"/>
                </a:moveTo>
                <a:cubicBezTo>
                  <a:pt x="2958" y="395"/>
                  <a:pt x="2958" y="395"/>
                  <a:pt x="2958" y="395"/>
                </a:cubicBezTo>
                <a:cubicBezTo>
                  <a:pt x="2958" y="395"/>
                  <a:pt x="2958" y="395"/>
                  <a:pt x="2958" y="395"/>
                </a:cubicBezTo>
                <a:cubicBezTo>
                  <a:pt x="2959" y="394"/>
                  <a:pt x="2959" y="394"/>
                  <a:pt x="2959" y="394"/>
                </a:cubicBezTo>
                <a:cubicBezTo>
                  <a:pt x="2959" y="392"/>
                  <a:pt x="2959" y="392"/>
                  <a:pt x="2959" y="392"/>
                </a:cubicBezTo>
                <a:cubicBezTo>
                  <a:pt x="2958" y="391"/>
                  <a:pt x="2958" y="391"/>
                  <a:pt x="2958" y="391"/>
                </a:cubicBezTo>
                <a:lnTo>
                  <a:pt x="2958" y="393"/>
                </a:lnTo>
                <a:close/>
                <a:moveTo>
                  <a:pt x="2954" y="407"/>
                </a:moveTo>
                <a:cubicBezTo>
                  <a:pt x="2955" y="407"/>
                  <a:pt x="2955" y="407"/>
                  <a:pt x="2955" y="407"/>
                </a:cubicBezTo>
                <a:cubicBezTo>
                  <a:pt x="2956" y="407"/>
                  <a:pt x="2956" y="407"/>
                  <a:pt x="2956" y="407"/>
                </a:cubicBezTo>
                <a:cubicBezTo>
                  <a:pt x="2955" y="406"/>
                  <a:pt x="2955" y="406"/>
                  <a:pt x="2955" y="406"/>
                </a:cubicBezTo>
                <a:lnTo>
                  <a:pt x="2954" y="407"/>
                </a:lnTo>
                <a:close/>
                <a:moveTo>
                  <a:pt x="2913" y="471"/>
                </a:moveTo>
                <a:cubicBezTo>
                  <a:pt x="2914" y="473"/>
                  <a:pt x="2914" y="473"/>
                  <a:pt x="2914" y="473"/>
                </a:cubicBezTo>
                <a:cubicBezTo>
                  <a:pt x="2915" y="473"/>
                  <a:pt x="2915" y="473"/>
                  <a:pt x="2915" y="473"/>
                </a:cubicBezTo>
                <a:cubicBezTo>
                  <a:pt x="2915" y="471"/>
                  <a:pt x="2915" y="471"/>
                  <a:pt x="2915" y="471"/>
                </a:cubicBezTo>
                <a:cubicBezTo>
                  <a:pt x="2917" y="470"/>
                  <a:pt x="2917" y="470"/>
                  <a:pt x="2917" y="470"/>
                </a:cubicBezTo>
                <a:cubicBezTo>
                  <a:pt x="2916" y="467"/>
                  <a:pt x="2916" y="467"/>
                  <a:pt x="2916" y="467"/>
                </a:cubicBezTo>
                <a:cubicBezTo>
                  <a:pt x="2917" y="466"/>
                  <a:pt x="2917" y="466"/>
                  <a:pt x="2917" y="466"/>
                </a:cubicBezTo>
                <a:cubicBezTo>
                  <a:pt x="2918" y="465"/>
                  <a:pt x="2918" y="465"/>
                  <a:pt x="2918" y="465"/>
                </a:cubicBezTo>
                <a:cubicBezTo>
                  <a:pt x="2918" y="464"/>
                  <a:pt x="2918" y="464"/>
                  <a:pt x="2918" y="464"/>
                </a:cubicBezTo>
                <a:cubicBezTo>
                  <a:pt x="2920" y="465"/>
                  <a:pt x="2920" y="465"/>
                  <a:pt x="2920" y="465"/>
                </a:cubicBezTo>
                <a:cubicBezTo>
                  <a:pt x="2921" y="463"/>
                  <a:pt x="2921" y="463"/>
                  <a:pt x="2921" y="463"/>
                </a:cubicBezTo>
                <a:cubicBezTo>
                  <a:pt x="2922" y="460"/>
                  <a:pt x="2922" y="460"/>
                  <a:pt x="2922" y="460"/>
                </a:cubicBezTo>
                <a:cubicBezTo>
                  <a:pt x="2924" y="458"/>
                  <a:pt x="2924" y="458"/>
                  <a:pt x="2924" y="458"/>
                </a:cubicBezTo>
                <a:cubicBezTo>
                  <a:pt x="2927" y="458"/>
                  <a:pt x="2927" y="458"/>
                  <a:pt x="2927" y="458"/>
                </a:cubicBezTo>
                <a:cubicBezTo>
                  <a:pt x="2928" y="457"/>
                  <a:pt x="2928" y="457"/>
                  <a:pt x="2928" y="457"/>
                </a:cubicBezTo>
                <a:cubicBezTo>
                  <a:pt x="2928" y="455"/>
                  <a:pt x="2928" y="455"/>
                  <a:pt x="2928" y="455"/>
                </a:cubicBezTo>
                <a:cubicBezTo>
                  <a:pt x="2927" y="453"/>
                  <a:pt x="2927" y="453"/>
                  <a:pt x="2927" y="453"/>
                </a:cubicBezTo>
                <a:cubicBezTo>
                  <a:pt x="2926" y="453"/>
                  <a:pt x="2926" y="453"/>
                  <a:pt x="2926" y="453"/>
                </a:cubicBezTo>
                <a:cubicBezTo>
                  <a:pt x="2924" y="456"/>
                  <a:pt x="2924" y="456"/>
                  <a:pt x="2924" y="456"/>
                </a:cubicBezTo>
                <a:cubicBezTo>
                  <a:pt x="2924" y="457"/>
                  <a:pt x="2924" y="457"/>
                  <a:pt x="2924" y="457"/>
                </a:cubicBezTo>
                <a:cubicBezTo>
                  <a:pt x="2922" y="457"/>
                  <a:pt x="2922" y="457"/>
                  <a:pt x="2922" y="457"/>
                </a:cubicBezTo>
                <a:cubicBezTo>
                  <a:pt x="2921" y="458"/>
                  <a:pt x="2921" y="458"/>
                  <a:pt x="2921" y="458"/>
                </a:cubicBezTo>
                <a:cubicBezTo>
                  <a:pt x="2920" y="458"/>
                  <a:pt x="2920" y="458"/>
                  <a:pt x="2920" y="458"/>
                </a:cubicBezTo>
                <a:cubicBezTo>
                  <a:pt x="2919" y="456"/>
                  <a:pt x="2919" y="456"/>
                  <a:pt x="2919" y="456"/>
                </a:cubicBezTo>
                <a:cubicBezTo>
                  <a:pt x="2919" y="457"/>
                  <a:pt x="2919" y="457"/>
                  <a:pt x="2919" y="457"/>
                </a:cubicBezTo>
                <a:cubicBezTo>
                  <a:pt x="2918" y="458"/>
                  <a:pt x="2918" y="458"/>
                  <a:pt x="2918" y="458"/>
                </a:cubicBezTo>
                <a:cubicBezTo>
                  <a:pt x="2919" y="459"/>
                  <a:pt x="2919" y="459"/>
                  <a:pt x="2919" y="459"/>
                </a:cubicBezTo>
                <a:cubicBezTo>
                  <a:pt x="2918" y="461"/>
                  <a:pt x="2918" y="461"/>
                  <a:pt x="2918" y="461"/>
                </a:cubicBezTo>
                <a:cubicBezTo>
                  <a:pt x="2917" y="463"/>
                  <a:pt x="2917" y="463"/>
                  <a:pt x="2917" y="463"/>
                </a:cubicBezTo>
                <a:cubicBezTo>
                  <a:pt x="2916" y="463"/>
                  <a:pt x="2916" y="463"/>
                  <a:pt x="2916" y="463"/>
                </a:cubicBezTo>
                <a:cubicBezTo>
                  <a:pt x="2916" y="464"/>
                  <a:pt x="2916" y="464"/>
                  <a:pt x="2916" y="464"/>
                </a:cubicBezTo>
                <a:cubicBezTo>
                  <a:pt x="2915" y="466"/>
                  <a:pt x="2915" y="466"/>
                  <a:pt x="2915" y="466"/>
                </a:cubicBezTo>
                <a:cubicBezTo>
                  <a:pt x="2914" y="467"/>
                  <a:pt x="2914" y="467"/>
                  <a:pt x="2914" y="467"/>
                </a:cubicBezTo>
                <a:cubicBezTo>
                  <a:pt x="2914" y="468"/>
                  <a:pt x="2914" y="468"/>
                  <a:pt x="2914" y="468"/>
                </a:cubicBezTo>
                <a:cubicBezTo>
                  <a:pt x="2914" y="469"/>
                  <a:pt x="2914" y="469"/>
                  <a:pt x="2914" y="469"/>
                </a:cubicBezTo>
                <a:cubicBezTo>
                  <a:pt x="2914" y="470"/>
                  <a:pt x="2914" y="470"/>
                  <a:pt x="2914" y="470"/>
                </a:cubicBezTo>
                <a:lnTo>
                  <a:pt x="2913" y="471"/>
                </a:lnTo>
                <a:close/>
                <a:moveTo>
                  <a:pt x="2956" y="390"/>
                </a:moveTo>
                <a:cubicBezTo>
                  <a:pt x="2957" y="390"/>
                  <a:pt x="2957" y="390"/>
                  <a:pt x="2957" y="390"/>
                </a:cubicBezTo>
                <a:cubicBezTo>
                  <a:pt x="2956" y="389"/>
                  <a:pt x="2956" y="389"/>
                  <a:pt x="2956" y="389"/>
                </a:cubicBezTo>
                <a:cubicBezTo>
                  <a:pt x="2956" y="389"/>
                  <a:pt x="2956" y="389"/>
                  <a:pt x="2956" y="389"/>
                </a:cubicBezTo>
                <a:cubicBezTo>
                  <a:pt x="2955" y="390"/>
                  <a:pt x="2955" y="390"/>
                  <a:pt x="2955" y="390"/>
                </a:cubicBezTo>
                <a:lnTo>
                  <a:pt x="2956" y="390"/>
                </a:lnTo>
                <a:close/>
                <a:moveTo>
                  <a:pt x="2956" y="354"/>
                </a:moveTo>
                <a:cubicBezTo>
                  <a:pt x="2955" y="356"/>
                  <a:pt x="2955" y="356"/>
                  <a:pt x="2955" y="356"/>
                </a:cubicBezTo>
                <a:cubicBezTo>
                  <a:pt x="2956" y="357"/>
                  <a:pt x="2956" y="357"/>
                  <a:pt x="2956" y="357"/>
                </a:cubicBezTo>
                <a:cubicBezTo>
                  <a:pt x="2958" y="356"/>
                  <a:pt x="2958" y="356"/>
                  <a:pt x="2958" y="356"/>
                </a:cubicBezTo>
                <a:cubicBezTo>
                  <a:pt x="2959" y="355"/>
                  <a:pt x="2959" y="355"/>
                  <a:pt x="2959" y="355"/>
                </a:cubicBezTo>
                <a:cubicBezTo>
                  <a:pt x="2957" y="353"/>
                  <a:pt x="2957" y="353"/>
                  <a:pt x="2957" y="353"/>
                </a:cubicBezTo>
                <a:lnTo>
                  <a:pt x="2956" y="354"/>
                </a:lnTo>
                <a:close/>
                <a:moveTo>
                  <a:pt x="2954" y="417"/>
                </a:moveTo>
                <a:cubicBezTo>
                  <a:pt x="2955" y="416"/>
                  <a:pt x="2955" y="416"/>
                  <a:pt x="2955" y="416"/>
                </a:cubicBezTo>
                <a:cubicBezTo>
                  <a:pt x="2954" y="416"/>
                  <a:pt x="2954" y="416"/>
                  <a:pt x="2954" y="416"/>
                </a:cubicBezTo>
                <a:lnTo>
                  <a:pt x="2954" y="417"/>
                </a:lnTo>
                <a:close/>
                <a:moveTo>
                  <a:pt x="2901" y="479"/>
                </a:moveTo>
                <a:cubicBezTo>
                  <a:pt x="2901" y="478"/>
                  <a:pt x="2901" y="478"/>
                  <a:pt x="2901" y="478"/>
                </a:cubicBezTo>
                <a:cubicBezTo>
                  <a:pt x="2900" y="477"/>
                  <a:pt x="2900" y="477"/>
                  <a:pt x="2900" y="477"/>
                </a:cubicBezTo>
                <a:cubicBezTo>
                  <a:pt x="2900" y="477"/>
                  <a:pt x="2900" y="477"/>
                  <a:pt x="2900" y="477"/>
                </a:cubicBezTo>
                <a:cubicBezTo>
                  <a:pt x="2899" y="479"/>
                  <a:pt x="2899" y="479"/>
                  <a:pt x="2899" y="479"/>
                </a:cubicBezTo>
                <a:cubicBezTo>
                  <a:pt x="2898" y="481"/>
                  <a:pt x="2898" y="481"/>
                  <a:pt x="2898" y="481"/>
                </a:cubicBezTo>
                <a:cubicBezTo>
                  <a:pt x="2895" y="484"/>
                  <a:pt x="2895" y="484"/>
                  <a:pt x="2895" y="484"/>
                </a:cubicBezTo>
                <a:cubicBezTo>
                  <a:pt x="2892" y="484"/>
                  <a:pt x="2892" y="484"/>
                  <a:pt x="2892" y="484"/>
                </a:cubicBezTo>
                <a:cubicBezTo>
                  <a:pt x="2891" y="484"/>
                  <a:pt x="2891" y="484"/>
                  <a:pt x="2891" y="484"/>
                </a:cubicBezTo>
                <a:cubicBezTo>
                  <a:pt x="2890" y="484"/>
                  <a:pt x="2890" y="484"/>
                  <a:pt x="2890" y="484"/>
                </a:cubicBezTo>
                <a:cubicBezTo>
                  <a:pt x="2888" y="482"/>
                  <a:pt x="2888" y="482"/>
                  <a:pt x="2888" y="482"/>
                </a:cubicBezTo>
                <a:cubicBezTo>
                  <a:pt x="2885" y="482"/>
                  <a:pt x="2885" y="482"/>
                  <a:pt x="2885" y="482"/>
                </a:cubicBezTo>
                <a:cubicBezTo>
                  <a:pt x="2882" y="480"/>
                  <a:pt x="2882" y="480"/>
                  <a:pt x="2882" y="480"/>
                </a:cubicBezTo>
                <a:cubicBezTo>
                  <a:pt x="2881" y="478"/>
                  <a:pt x="2881" y="478"/>
                  <a:pt x="2881" y="478"/>
                </a:cubicBezTo>
                <a:cubicBezTo>
                  <a:pt x="2879" y="478"/>
                  <a:pt x="2879" y="478"/>
                  <a:pt x="2879" y="478"/>
                </a:cubicBezTo>
                <a:cubicBezTo>
                  <a:pt x="2878" y="476"/>
                  <a:pt x="2878" y="476"/>
                  <a:pt x="2878" y="476"/>
                </a:cubicBezTo>
                <a:cubicBezTo>
                  <a:pt x="2875" y="475"/>
                  <a:pt x="2875" y="475"/>
                  <a:pt x="2875" y="475"/>
                </a:cubicBezTo>
                <a:cubicBezTo>
                  <a:pt x="2871" y="470"/>
                  <a:pt x="2871" y="470"/>
                  <a:pt x="2871" y="470"/>
                </a:cubicBezTo>
                <a:cubicBezTo>
                  <a:pt x="2869" y="467"/>
                  <a:pt x="2869" y="467"/>
                  <a:pt x="2869" y="467"/>
                </a:cubicBezTo>
                <a:cubicBezTo>
                  <a:pt x="2866" y="467"/>
                  <a:pt x="2866" y="467"/>
                  <a:pt x="2866" y="467"/>
                </a:cubicBezTo>
                <a:cubicBezTo>
                  <a:pt x="2863" y="464"/>
                  <a:pt x="2863" y="464"/>
                  <a:pt x="2863" y="464"/>
                </a:cubicBezTo>
                <a:cubicBezTo>
                  <a:pt x="2862" y="463"/>
                  <a:pt x="2862" y="463"/>
                  <a:pt x="2862" y="463"/>
                </a:cubicBezTo>
                <a:cubicBezTo>
                  <a:pt x="2860" y="463"/>
                  <a:pt x="2860" y="463"/>
                  <a:pt x="2860" y="463"/>
                </a:cubicBezTo>
                <a:cubicBezTo>
                  <a:pt x="2860" y="463"/>
                  <a:pt x="2860" y="463"/>
                  <a:pt x="2860" y="463"/>
                </a:cubicBezTo>
                <a:cubicBezTo>
                  <a:pt x="2859" y="465"/>
                  <a:pt x="2859" y="465"/>
                  <a:pt x="2859" y="465"/>
                </a:cubicBezTo>
                <a:cubicBezTo>
                  <a:pt x="2858" y="465"/>
                  <a:pt x="2858" y="465"/>
                  <a:pt x="2858" y="465"/>
                </a:cubicBezTo>
                <a:cubicBezTo>
                  <a:pt x="2858" y="465"/>
                  <a:pt x="2858" y="465"/>
                  <a:pt x="2858" y="465"/>
                </a:cubicBezTo>
                <a:cubicBezTo>
                  <a:pt x="2859" y="467"/>
                  <a:pt x="2859" y="467"/>
                  <a:pt x="2859" y="467"/>
                </a:cubicBezTo>
                <a:cubicBezTo>
                  <a:pt x="2859" y="469"/>
                  <a:pt x="2859" y="469"/>
                  <a:pt x="2859" y="469"/>
                </a:cubicBezTo>
                <a:cubicBezTo>
                  <a:pt x="2863" y="474"/>
                  <a:pt x="2863" y="474"/>
                  <a:pt x="2863" y="474"/>
                </a:cubicBezTo>
                <a:cubicBezTo>
                  <a:pt x="2864" y="477"/>
                  <a:pt x="2864" y="477"/>
                  <a:pt x="2864" y="477"/>
                </a:cubicBezTo>
                <a:cubicBezTo>
                  <a:pt x="2864" y="481"/>
                  <a:pt x="2864" y="481"/>
                  <a:pt x="2864" y="481"/>
                </a:cubicBezTo>
                <a:cubicBezTo>
                  <a:pt x="2864" y="482"/>
                  <a:pt x="2864" y="482"/>
                  <a:pt x="2864" y="482"/>
                </a:cubicBezTo>
                <a:cubicBezTo>
                  <a:pt x="2865" y="485"/>
                  <a:pt x="2865" y="485"/>
                  <a:pt x="2865" y="485"/>
                </a:cubicBezTo>
                <a:cubicBezTo>
                  <a:pt x="2865" y="487"/>
                  <a:pt x="2865" y="487"/>
                  <a:pt x="2865" y="487"/>
                </a:cubicBezTo>
                <a:cubicBezTo>
                  <a:pt x="2865" y="488"/>
                  <a:pt x="2865" y="488"/>
                  <a:pt x="2865" y="488"/>
                </a:cubicBezTo>
                <a:cubicBezTo>
                  <a:pt x="2864" y="488"/>
                  <a:pt x="2864" y="488"/>
                  <a:pt x="2864" y="488"/>
                </a:cubicBezTo>
                <a:cubicBezTo>
                  <a:pt x="2863" y="490"/>
                  <a:pt x="2863" y="490"/>
                  <a:pt x="2863" y="490"/>
                </a:cubicBezTo>
                <a:cubicBezTo>
                  <a:pt x="2863" y="492"/>
                  <a:pt x="2863" y="492"/>
                  <a:pt x="2863" y="492"/>
                </a:cubicBezTo>
                <a:cubicBezTo>
                  <a:pt x="2864" y="493"/>
                  <a:pt x="2864" y="493"/>
                  <a:pt x="2864" y="493"/>
                </a:cubicBezTo>
                <a:cubicBezTo>
                  <a:pt x="2865" y="494"/>
                  <a:pt x="2865" y="494"/>
                  <a:pt x="2865" y="494"/>
                </a:cubicBezTo>
                <a:cubicBezTo>
                  <a:pt x="2866" y="495"/>
                  <a:pt x="2866" y="495"/>
                  <a:pt x="2866" y="495"/>
                </a:cubicBezTo>
                <a:cubicBezTo>
                  <a:pt x="2866" y="496"/>
                  <a:pt x="2866" y="496"/>
                  <a:pt x="2866" y="496"/>
                </a:cubicBezTo>
                <a:cubicBezTo>
                  <a:pt x="2866" y="497"/>
                  <a:pt x="2866" y="497"/>
                  <a:pt x="2866" y="497"/>
                </a:cubicBezTo>
                <a:cubicBezTo>
                  <a:pt x="2866" y="498"/>
                  <a:pt x="2866" y="498"/>
                  <a:pt x="2866" y="498"/>
                </a:cubicBezTo>
                <a:cubicBezTo>
                  <a:pt x="2864" y="499"/>
                  <a:pt x="2864" y="499"/>
                  <a:pt x="2864" y="499"/>
                </a:cubicBezTo>
                <a:cubicBezTo>
                  <a:pt x="2861" y="499"/>
                  <a:pt x="2861" y="499"/>
                  <a:pt x="2861" y="499"/>
                </a:cubicBezTo>
                <a:cubicBezTo>
                  <a:pt x="2858" y="497"/>
                  <a:pt x="2858" y="497"/>
                  <a:pt x="2858" y="497"/>
                </a:cubicBezTo>
                <a:cubicBezTo>
                  <a:pt x="2856" y="497"/>
                  <a:pt x="2856" y="497"/>
                  <a:pt x="2856" y="497"/>
                </a:cubicBezTo>
                <a:cubicBezTo>
                  <a:pt x="2856" y="499"/>
                  <a:pt x="2856" y="499"/>
                  <a:pt x="2856" y="499"/>
                </a:cubicBezTo>
                <a:cubicBezTo>
                  <a:pt x="2856" y="500"/>
                  <a:pt x="2856" y="500"/>
                  <a:pt x="2856" y="500"/>
                </a:cubicBezTo>
                <a:cubicBezTo>
                  <a:pt x="2857" y="500"/>
                  <a:pt x="2857" y="500"/>
                  <a:pt x="2857" y="500"/>
                </a:cubicBezTo>
                <a:cubicBezTo>
                  <a:pt x="2859" y="501"/>
                  <a:pt x="2859" y="501"/>
                  <a:pt x="2859" y="501"/>
                </a:cubicBezTo>
                <a:cubicBezTo>
                  <a:pt x="2859" y="502"/>
                  <a:pt x="2859" y="502"/>
                  <a:pt x="2859" y="502"/>
                </a:cubicBezTo>
                <a:cubicBezTo>
                  <a:pt x="2859" y="503"/>
                  <a:pt x="2859" y="503"/>
                  <a:pt x="2859" y="503"/>
                </a:cubicBezTo>
                <a:cubicBezTo>
                  <a:pt x="2858" y="505"/>
                  <a:pt x="2858" y="505"/>
                  <a:pt x="2858" y="505"/>
                </a:cubicBezTo>
                <a:cubicBezTo>
                  <a:pt x="2856" y="505"/>
                  <a:pt x="2856" y="505"/>
                  <a:pt x="2856" y="505"/>
                </a:cubicBezTo>
                <a:cubicBezTo>
                  <a:pt x="2856" y="506"/>
                  <a:pt x="2856" y="506"/>
                  <a:pt x="2856" y="506"/>
                </a:cubicBezTo>
                <a:cubicBezTo>
                  <a:pt x="2855" y="507"/>
                  <a:pt x="2855" y="507"/>
                  <a:pt x="2855" y="507"/>
                </a:cubicBezTo>
                <a:cubicBezTo>
                  <a:pt x="2854" y="509"/>
                  <a:pt x="2854" y="509"/>
                  <a:pt x="2854" y="509"/>
                </a:cubicBezTo>
                <a:cubicBezTo>
                  <a:pt x="2855" y="511"/>
                  <a:pt x="2855" y="511"/>
                  <a:pt x="2855" y="511"/>
                </a:cubicBezTo>
                <a:cubicBezTo>
                  <a:pt x="2854" y="513"/>
                  <a:pt x="2854" y="513"/>
                  <a:pt x="2854" y="513"/>
                </a:cubicBezTo>
                <a:cubicBezTo>
                  <a:pt x="2855" y="515"/>
                  <a:pt x="2855" y="515"/>
                  <a:pt x="2855" y="515"/>
                </a:cubicBezTo>
                <a:cubicBezTo>
                  <a:pt x="2856" y="515"/>
                  <a:pt x="2856" y="515"/>
                  <a:pt x="2856" y="515"/>
                </a:cubicBezTo>
                <a:cubicBezTo>
                  <a:pt x="2858" y="516"/>
                  <a:pt x="2858" y="516"/>
                  <a:pt x="2858" y="516"/>
                </a:cubicBezTo>
                <a:cubicBezTo>
                  <a:pt x="2859" y="517"/>
                  <a:pt x="2859" y="517"/>
                  <a:pt x="2859" y="517"/>
                </a:cubicBezTo>
                <a:cubicBezTo>
                  <a:pt x="2860" y="521"/>
                  <a:pt x="2860" y="521"/>
                  <a:pt x="2860" y="521"/>
                </a:cubicBezTo>
                <a:cubicBezTo>
                  <a:pt x="2861" y="525"/>
                  <a:pt x="2861" y="525"/>
                  <a:pt x="2861" y="525"/>
                </a:cubicBezTo>
                <a:cubicBezTo>
                  <a:pt x="2860" y="525"/>
                  <a:pt x="2860" y="525"/>
                  <a:pt x="2860" y="525"/>
                </a:cubicBezTo>
                <a:cubicBezTo>
                  <a:pt x="2861" y="527"/>
                  <a:pt x="2861" y="527"/>
                  <a:pt x="2861" y="527"/>
                </a:cubicBezTo>
                <a:cubicBezTo>
                  <a:pt x="2863" y="528"/>
                  <a:pt x="2863" y="528"/>
                  <a:pt x="2863" y="528"/>
                </a:cubicBezTo>
                <a:cubicBezTo>
                  <a:pt x="2865" y="525"/>
                  <a:pt x="2865" y="525"/>
                  <a:pt x="2865" y="525"/>
                </a:cubicBezTo>
                <a:cubicBezTo>
                  <a:pt x="2866" y="523"/>
                  <a:pt x="2866" y="523"/>
                  <a:pt x="2866" y="523"/>
                </a:cubicBezTo>
                <a:cubicBezTo>
                  <a:pt x="2866" y="522"/>
                  <a:pt x="2866" y="522"/>
                  <a:pt x="2866" y="522"/>
                </a:cubicBezTo>
                <a:cubicBezTo>
                  <a:pt x="2867" y="521"/>
                  <a:pt x="2867" y="521"/>
                  <a:pt x="2867" y="521"/>
                </a:cubicBezTo>
                <a:cubicBezTo>
                  <a:pt x="2869" y="521"/>
                  <a:pt x="2869" y="521"/>
                  <a:pt x="2869" y="521"/>
                </a:cubicBezTo>
                <a:cubicBezTo>
                  <a:pt x="2871" y="522"/>
                  <a:pt x="2871" y="522"/>
                  <a:pt x="2871" y="522"/>
                </a:cubicBezTo>
                <a:cubicBezTo>
                  <a:pt x="2871" y="521"/>
                  <a:pt x="2871" y="521"/>
                  <a:pt x="2871" y="521"/>
                </a:cubicBezTo>
                <a:cubicBezTo>
                  <a:pt x="2873" y="519"/>
                  <a:pt x="2873" y="519"/>
                  <a:pt x="2873" y="519"/>
                </a:cubicBezTo>
                <a:cubicBezTo>
                  <a:pt x="2872" y="518"/>
                  <a:pt x="2872" y="518"/>
                  <a:pt x="2872" y="518"/>
                </a:cubicBezTo>
                <a:cubicBezTo>
                  <a:pt x="2870" y="518"/>
                  <a:pt x="2870" y="518"/>
                  <a:pt x="2870" y="518"/>
                </a:cubicBezTo>
                <a:cubicBezTo>
                  <a:pt x="2868" y="517"/>
                  <a:pt x="2868" y="517"/>
                  <a:pt x="2868" y="517"/>
                </a:cubicBezTo>
                <a:cubicBezTo>
                  <a:pt x="2865" y="514"/>
                  <a:pt x="2865" y="514"/>
                  <a:pt x="2865" y="514"/>
                </a:cubicBezTo>
                <a:cubicBezTo>
                  <a:pt x="2863" y="515"/>
                  <a:pt x="2863" y="515"/>
                  <a:pt x="2863" y="515"/>
                </a:cubicBezTo>
                <a:cubicBezTo>
                  <a:pt x="2861" y="514"/>
                  <a:pt x="2861" y="514"/>
                  <a:pt x="2861" y="514"/>
                </a:cubicBezTo>
                <a:cubicBezTo>
                  <a:pt x="2860" y="512"/>
                  <a:pt x="2860" y="512"/>
                  <a:pt x="2860" y="512"/>
                </a:cubicBezTo>
                <a:cubicBezTo>
                  <a:pt x="2860" y="510"/>
                  <a:pt x="2860" y="510"/>
                  <a:pt x="2860" y="510"/>
                </a:cubicBezTo>
                <a:cubicBezTo>
                  <a:pt x="2861" y="509"/>
                  <a:pt x="2861" y="509"/>
                  <a:pt x="2861" y="509"/>
                </a:cubicBezTo>
                <a:cubicBezTo>
                  <a:pt x="2863" y="509"/>
                  <a:pt x="2863" y="509"/>
                  <a:pt x="2863" y="509"/>
                </a:cubicBezTo>
                <a:cubicBezTo>
                  <a:pt x="2865" y="510"/>
                  <a:pt x="2865" y="510"/>
                  <a:pt x="2865" y="510"/>
                </a:cubicBezTo>
                <a:cubicBezTo>
                  <a:pt x="2866" y="511"/>
                  <a:pt x="2866" y="511"/>
                  <a:pt x="2866" y="511"/>
                </a:cubicBezTo>
                <a:cubicBezTo>
                  <a:pt x="2869" y="508"/>
                  <a:pt x="2869" y="508"/>
                  <a:pt x="2869" y="508"/>
                </a:cubicBezTo>
                <a:cubicBezTo>
                  <a:pt x="2871" y="506"/>
                  <a:pt x="2871" y="506"/>
                  <a:pt x="2871" y="506"/>
                </a:cubicBezTo>
                <a:cubicBezTo>
                  <a:pt x="2873" y="506"/>
                  <a:pt x="2873" y="506"/>
                  <a:pt x="2873" y="506"/>
                </a:cubicBezTo>
                <a:cubicBezTo>
                  <a:pt x="2874" y="507"/>
                  <a:pt x="2874" y="507"/>
                  <a:pt x="2874" y="507"/>
                </a:cubicBezTo>
                <a:cubicBezTo>
                  <a:pt x="2875" y="507"/>
                  <a:pt x="2875" y="507"/>
                  <a:pt x="2875" y="507"/>
                </a:cubicBezTo>
                <a:cubicBezTo>
                  <a:pt x="2877" y="507"/>
                  <a:pt x="2877" y="507"/>
                  <a:pt x="2877" y="507"/>
                </a:cubicBezTo>
                <a:cubicBezTo>
                  <a:pt x="2879" y="509"/>
                  <a:pt x="2879" y="509"/>
                  <a:pt x="2879" y="509"/>
                </a:cubicBezTo>
                <a:cubicBezTo>
                  <a:pt x="2882" y="511"/>
                  <a:pt x="2882" y="511"/>
                  <a:pt x="2882" y="511"/>
                </a:cubicBezTo>
                <a:cubicBezTo>
                  <a:pt x="2885" y="513"/>
                  <a:pt x="2885" y="513"/>
                  <a:pt x="2885" y="513"/>
                </a:cubicBezTo>
                <a:cubicBezTo>
                  <a:pt x="2888" y="514"/>
                  <a:pt x="2888" y="514"/>
                  <a:pt x="2888" y="514"/>
                </a:cubicBezTo>
                <a:cubicBezTo>
                  <a:pt x="2889" y="515"/>
                  <a:pt x="2889" y="515"/>
                  <a:pt x="2889" y="515"/>
                </a:cubicBezTo>
                <a:cubicBezTo>
                  <a:pt x="2891" y="516"/>
                  <a:pt x="2891" y="516"/>
                  <a:pt x="2891" y="516"/>
                </a:cubicBezTo>
                <a:cubicBezTo>
                  <a:pt x="2890" y="514"/>
                  <a:pt x="2890" y="514"/>
                  <a:pt x="2890" y="514"/>
                </a:cubicBezTo>
                <a:cubicBezTo>
                  <a:pt x="2891" y="513"/>
                  <a:pt x="2891" y="513"/>
                  <a:pt x="2891" y="513"/>
                </a:cubicBezTo>
                <a:cubicBezTo>
                  <a:pt x="2890" y="510"/>
                  <a:pt x="2890" y="510"/>
                  <a:pt x="2890" y="510"/>
                </a:cubicBezTo>
                <a:cubicBezTo>
                  <a:pt x="2891" y="507"/>
                  <a:pt x="2891" y="507"/>
                  <a:pt x="2891" y="507"/>
                </a:cubicBezTo>
                <a:cubicBezTo>
                  <a:pt x="2892" y="503"/>
                  <a:pt x="2892" y="503"/>
                  <a:pt x="2892" y="503"/>
                </a:cubicBezTo>
                <a:cubicBezTo>
                  <a:pt x="2894" y="499"/>
                  <a:pt x="2894" y="499"/>
                  <a:pt x="2894" y="499"/>
                </a:cubicBezTo>
                <a:cubicBezTo>
                  <a:pt x="2896" y="499"/>
                  <a:pt x="2896" y="499"/>
                  <a:pt x="2896" y="499"/>
                </a:cubicBezTo>
                <a:cubicBezTo>
                  <a:pt x="2898" y="499"/>
                  <a:pt x="2898" y="499"/>
                  <a:pt x="2898" y="499"/>
                </a:cubicBezTo>
                <a:cubicBezTo>
                  <a:pt x="2901" y="499"/>
                  <a:pt x="2901" y="499"/>
                  <a:pt x="2901" y="499"/>
                </a:cubicBezTo>
                <a:cubicBezTo>
                  <a:pt x="2900" y="498"/>
                  <a:pt x="2900" y="498"/>
                  <a:pt x="2900" y="498"/>
                </a:cubicBezTo>
                <a:cubicBezTo>
                  <a:pt x="2902" y="497"/>
                  <a:pt x="2902" y="497"/>
                  <a:pt x="2902" y="497"/>
                </a:cubicBezTo>
                <a:cubicBezTo>
                  <a:pt x="2902" y="498"/>
                  <a:pt x="2902" y="498"/>
                  <a:pt x="2902" y="498"/>
                </a:cubicBezTo>
                <a:cubicBezTo>
                  <a:pt x="2904" y="498"/>
                  <a:pt x="2904" y="498"/>
                  <a:pt x="2904" y="498"/>
                </a:cubicBezTo>
                <a:cubicBezTo>
                  <a:pt x="2905" y="497"/>
                  <a:pt x="2905" y="497"/>
                  <a:pt x="2905" y="497"/>
                </a:cubicBezTo>
                <a:cubicBezTo>
                  <a:pt x="2905" y="495"/>
                  <a:pt x="2905" y="495"/>
                  <a:pt x="2905" y="495"/>
                </a:cubicBezTo>
                <a:cubicBezTo>
                  <a:pt x="2907" y="494"/>
                  <a:pt x="2907" y="494"/>
                  <a:pt x="2907" y="494"/>
                </a:cubicBezTo>
                <a:cubicBezTo>
                  <a:pt x="2908" y="493"/>
                  <a:pt x="2908" y="493"/>
                  <a:pt x="2908" y="493"/>
                </a:cubicBezTo>
                <a:cubicBezTo>
                  <a:pt x="2908" y="491"/>
                  <a:pt x="2908" y="491"/>
                  <a:pt x="2908" y="491"/>
                </a:cubicBezTo>
                <a:cubicBezTo>
                  <a:pt x="2909" y="491"/>
                  <a:pt x="2909" y="491"/>
                  <a:pt x="2909" y="491"/>
                </a:cubicBezTo>
                <a:cubicBezTo>
                  <a:pt x="2910" y="489"/>
                  <a:pt x="2910" y="489"/>
                  <a:pt x="2910" y="489"/>
                </a:cubicBezTo>
                <a:cubicBezTo>
                  <a:pt x="2908" y="489"/>
                  <a:pt x="2908" y="489"/>
                  <a:pt x="2908" y="489"/>
                </a:cubicBezTo>
                <a:cubicBezTo>
                  <a:pt x="2907" y="491"/>
                  <a:pt x="2907" y="491"/>
                  <a:pt x="2907" y="491"/>
                </a:cubicBezTo>
                <a:cubicBezTo>
                  <a:pt x="2906" y="492"/>
                  <a:pt x="2906" y="492"/>
                  <a:pt x="2906" y="492"/>
                </a:cubicBezTo>
                <a:cubicBezTo>
                  <a:pt x="2905" y="492"/>
                  <a:pt x="2905" y="492"/>
                  <a:pt x="2905" y="492"/>
                </a:cubicBezTo>
                <a:cubicBezTo>
                  <a:pt x="2905" y="491"/>
                  <a:pt x="2905" y="491"/>
                  <a:pt x="2905" y="491"/>
                </a:cubicBezTo>
                <a:cubicBezTo>
                  <a:pt x="2905" y="490"/>
                  <a:pt x="2905" y="490"/>
                  <a:pt x="2905" y="490"/>
                </a:cubicBezTo>
                <a:cubicBezTo>
                  <a:pt x="2903" y="488"/>
                  <a:pt x="2903" y="488"/>
                  <a:pt x="2903" y="488"/>
                </a:cubicBezTo>
                <a:cubicBezTo>
                  <a:pt x="2900" y="486"/>
                  <a:pt x="2900" y="486"/>
                  <a:pt x="2900" y="486"/>
                </a:cubicBezTo>
                <a:cubicBezTo>
                  <a:pt x="2900" y="485"/>
                  <a:pt x="2900" y="485"/>
                  <a:pt x="2900" y="485"/>
                </a:cubicBezTo>
                <a:cubicBezTo>
                  <a:pt x="2900" y="482"/>
                  <a:pt x="2900" y="482"/>
                  <a:pt x="2900" y="482"/>
                </a:cubicBezTo>
                <a:lnTo>
                  <a:pt x="2901" y="479"/>
                </a:lnTo>
                <a:close/>
                <a:moveTo>
                  <a:pt x="2766" y="631"/>
                </a:moveTo>
                <a:cubicBezTo>
                  <a:pt x="2765" y="631"/>
                  <a:pt x="2765" y="631"/>
                  <a:pt x="2765" y="631"/>
                </a:cubicBezTo>
                <a:cubicBezTo>
                  <a:pt x="2766" y="632"/>
                  <a:pt x="2766" y="632"/>
                  <a:pt x="2766" y="632"/>
                </a:cubicBezTo>
                <a:cubicBezTo>
                  <a:pt x="2767" y="632"/>
                  <a:pt x="2767" y="632"/>
                  <a:pt x="2767" y="632"/>
                </a:cubicBezTo>
                <a:lnTo>
                  <a:pt x="2766" y="631"/>
                </a:lnTo>
                <a:close/>
                <a:moveTo>
                  <a:pt x="2766" y="891"/>
                </a:moveTo>
                <a:cubicBezTo>
                  <a:pt x="2769" y="890"/>
                  <a:pt x="2769" y="890"/>
                  <a:pt x="2769" y="890"/>
                </a:cubicBezTo>
                <a:cubicBezTo>
                  <a:pt x="2770" y="888"/>
                  <a:pt x="2770" y="888"/>
                  <a:pt x="2770" y="888"/>
                </a:cubicBezTo>
                <a:cubicBezTo>
                  <a:pt x="2769" y="886"/>
                  <a:pt x="2769" y="886"/>
                  <a:pt x="2769" y="886"/>
                </a:cubicBezTo>
                <a:cubicBezTo>
                  <a:pt x="2767" y="884"/>
                  <a:pt x="2767" y="884"/>
                  <a:pt x="2767" y="884"/>
                </a:cubicBezTo>
                <a:cubicBezTo>
                  <a:pt x="2766" y="885"/>
                  <a:pt x="2766" y="885"/>
                  <a:pt x="2766" y="885"/>
                </a:cubicBezTo>
                <a:cubicBezTo>
                  <a:pt x="2767" y="888"/>
                  <a:pt x="2767" y="888"/>
                  <a:pt x="2767" y="888"/>
                </a:cubicBezTo>
                <a:cubicBezTo>
                  <a:pt x="2766" y="889"/>
                  <a:pt x="2766" y="889"/>
                  <a:pt x="2766" y="889"/>
                </a:cubicBezTo>
                <a:cubicBezTo>
                  <a:pt x="2765" y="890"/>
                  <a:pt x="2765" y="890"/>
                  <a:pt x="2765" y="890"/>
                </a:cubicBezTo>
                <a:lnTo>
                  <a:pt x="2766" y="891"/>
                </a:lnTo>
                <a:close/>
                <a:moveTo>
                  <a:pt x="2759" y="652"/>
                </a:moveTo>
                <a:cubicBezTo>
                  <a:pt x="2761" y="650"/>
                  <a:pt x="2761" y="650"/>
                  <a:pt x="2761" y="650"/>
                </a:cubicBezTo>
                <a:cubicBezTo>
                  <a:pt x="2760" y="648"/>
                  <a:pt x="2760" y="648"/>
                  <a:pt x="2760" y="648"/>
                </a:cubicBezTo>
                <a:cubicBezTo>
                  <a:pt x="2758" y="648"/>
                  <a:pt x="2758" y="648"/>
                  <a:pt x="2758" y="648"/>
                </a:cubicBezTo>
                <a:cubicBezTo>
                  <a:pt x="2754" y="649"/>
                  <a:pt x="2754" y="649"/>
                  <a:pt x="2754" y="649"/>
                </a:cubicBezTo>
                <a:cubicBezTo>
                  <a:pt x="2753" y="651"/>
                  <a:pt x="2753" y="651"/>
                  <a:pt x="2753" y="651"/>
                </a:cubicBezTo>
                <a:cubicBezTo>
                  <a:pt x="2754" y="652"/>
                  <a:pt x="2754" y="652"/>
                  <a:pt x="2754" y="652"/>
                </a:cubicBezTo>
                <a:cubicBezTo>
                  <a:pt x="2756" y="653"/>
                  <a:pt x="2756" y="653"/>
                  <a:pt x="2756" y="653"/>
                </a:cubicBezTo>
                <a:lnTo>
                  <a:pt x="2759" y="652"/>
                </a:lnTo>
                <a:close/>
                <a:moveTo>
                  <a:pt x="2739" y="830"/>
                </a:moveTo>
                <a:cubicBezTo>
                  <a:pt x="2737" y="831"/>
                  <a:pt x="2737" y="831"/>
                  <a:pt x="2737" y="831"/>
                </a:cubicBezTo>
                <a:cubicBezTo>
                  <a:pt x="2739" y="832"/>
                  <a:pt x="2739" y="832"/>
                  <a:pt x="2739" y="832"/>
                </a:cubicBezTo>
                <a:cubicBezTo>
                  <a:pt x="2739" y="831"/>
                  <a:pt x="2739" y="831"/>
                  <a:pt x="2739" y="831"/>
                </a:cubicBezTo>
                <a:cubicBezTo>
                  <a:pt x="2739" y="831"/>
                  <a:pt x="2739" y="830"/>
                  <a:pt x="2739" y="830"/>
                </a:cubicBezTo>
                <a:close/>
                <a:moveTo>
                  <a:pt x="2340" y="959"/>
                </a:moveTo>
                <a:cubicBezTo>
                  <a:pt x="2339" y="958"/>
                  <a:pt x="2339" y="958"/>
                  <a:pt x="2339" y="958"/>
                </a:cubicBezTo>
                <a:cubicBezTo>
                  <a:pt x="2340" y="956"/>
                  <a:pt x="2340" y="956"/>
                  <a:pt x="2340" y="956"/>
                </a:cubicBezTo>
                <a:cubicBezTo>
                  <a:pt x="2338" y="955"/>
                  <a:pt x="2338" y="955"/>
                  <a:pt x="2338" y="955"/>
                </a:cubicBezTo>
                <a:cubicBezTo>
                  <a:pt x="2336" y="950"/>
                  <a:pt x="2336" y="950"/>
                  <a:pt x="2336" y="950"/>
                </a:cubicBezTo>
                <a:cubicBezTo>
                  <a:pt x="2335" y="947"/>
                  <a:pt x="2335" y="947"/>
                  <a:pt x="2335" y="947"/>
                </a:cubicBezTo>
                <a:cubicBezTo>
                  <a:pt x="2333" y="947"/>
                  <a:pt x="2333" y="947"/>
                  <a:pt x="2333" y="947"/>
                </a:cubicBezTo>
                <a:cubicBezTo>
                  <a:pt x="2333" y="947"/>
                  <a:pt x="2333" y="947"/>
                  <a:pt x="2333" y="947"/>
                </a:cubicBezTo>
                <a:cubicBezTo>
                  <a:pt x="2332" y="947"/>
                  <a:pt x="2332" y="947"/>
                  <a:pt x="2332" y="947"/>
                </a:cubicBezTo>
                <a:cubicBezTo>
                  <a:pt x="2334" y="946"/>
                  <a:pt x="2334" y="946"/>
                  <a:pt x="2334" y="946"/>
                </a:cubicBezTo>
                <a:cubicBezTo>
                  <a:pt x="2333" y="945"/>
                  <a:pt x="2333" y="945"/>
                  <a:pt x="2333" y="945"/>
                </a:cubicBezTo>
                <a:cubicBezTo>
                  <a:pt x="2333" y="945"/>
                  <a:pt x="2333" y="945"/>
                  <a:pt x="2333" y="945"/>
                </a:cubicBezTo>
                <a:cubicBezTo>
                  <a:pt x="2331" y="942"/>
                  <a:pt x="2331" y="942"/>
                  <a:pt x="2331" y="942"/>
                </a:cubicBezTo>
                <a:cubicBezTo>
                  <a:pt x="2330" y="942"/>
                  <a:pt x="2330" y="942"/>
                  <a:pt x="2330" y="942"/>
                </a:cubicBezTo>
                <a:cubicBezTo>
                  <a:pt x="2330" y="940"/>
                  <a:pt x="2330" y="940"/>
                  <a:pt x="2330" y="940"/>
                </a:cubicBezTo>
                <a:cubicBezTo>
                  <a:pt x="2329" y="940"/>
                  <a:pt x="2329" y="940"/>
                  <a:pt x="2329" y="940"/>
                </a:cubicBezTo>
                <a:cubicBezTo>
                  <a:pt x="2329" y="938"/>
                  <a:pt x="2329" y="938"/>
                  <a:pt x="2329" y="938"/>
                </a:cubicBezTo>
                <a:cubicBezTo>
                  <a:pt x="2326" y="937"/>
                  <a:pt x="2326" y="937"/>
                  <a:pt x="2326" y="937"/>
                </a:cubicBezTo>
                <a:cubicBezTo>
                  <a:pt x="2326" y="938"/>
                  <a:pt x="2326" y="938"/>
                  <a:pt x="2326" y="938"/>
                </a:cubicBezTo>
                <a:cubicBezTo>
                  <a:pt x="2324" y="938"/>
                  <a:pt x="2324" y="938"/>
                  <a:pt x="2324" y="938"/>
                </a:cubicBezTo>
                <a:cubicBezTo>
                  <a:pt x="2324" y="937"/>
                  <a:pt x="2324" y="937"/>
                  <a:pt x="2324" y="937"/>
                </a:cubicBezTo>
                <a:cubicBezTo>
                  <a:pt x="2322" y="936"/>
                  <a:pt x="2322" y="936"/>
                  <a:pt x="2322" y="936"/>
                </a:cubicBezTo>
                <a:cubicBezTo>
                  <a:pt x="2322" y="937"/>
                  <a:pt x="2322" y="937"/>
                  <a:pt x="2322" y="937"/>
                </a:cubicBezTo>
                <a:cubicBezTo>
                  <a:pt x="2323" y="937"/>
                  <a:pt x="2323" y="937"/>
                  <a:pt x="2323" y="937"/>
                </a:cubicBezTo>
                <a:cubicBezTo>
                  <a:pt x="2322" y="938"/>
                  <a:pt x="2322" y="938"/>
                  <a:pt x="2322" y="938"/>
                </a:cubicBezTo>
                <a:cubicBezTo>
                  <a:pt x="2322" y="938"/>
                  <a:pt x="2322" y="938"/>
                  <a:pt x="2322" y="938"/>
                </a:cubicBezTo>
                <a:cubicBezTo>
                  <a:pt x="2322" y="939"/>
                  <a:pt x="2322" y="939"/>
                  <a:pt x="2322" y="939"/>
                </a:cubicBezTo>
                <a:cubicBezTo>
                  <a:pt x="2322" y="940"/>
                  <a:pt x="2322" y="940"/>
                  <a:pt x="2322" y="940"/>
                </a:cubicBezTo>
                <a:cubicBezTo>
                  <a:pt x="2321" y="942"/>
                  <a:pt x="2321" y="942"/>
                  <a:pt x="2321" y="942"/>
                </a:cubicBezTo>
                <a:cubicBezTo>
                  <a:pt x="2320" y="942"/>
                  <a:pt x="2320" y="942"/>
                  <a:pt x="2320" y="942"/>
                </a:cubicBezTo>
                <a:cubicBezTo>
                  <a:pt x="2319" y="941"/>
                  <a:pt x="2319" y="941"/>
                  <a:pt x="2319" y="941"/>
                </a:cubicBezTo>
                <a:cubicBezTo>
                  <a:pt x="2318" y="940"/>
                  <a:pt x="2318" y="940"/>
                  <a:pt x="2318" y="940"/>
                </a:cubicBezTo>
                <a:cubicBezTo>
                  <a:pt x="2318" y="941"/>
                  <a:pt x="2318" y="941"/>
                  <a:pt x="2318" y="941"/>
                </a:cubicBezTo>
                <a:cubicBezTo>
                  <a:pt x="2319" y="941"/>
                  <a:pt x="2319" y="941"/>
                  <a:pt x="2319" y="941"/>
                </a:cubicBezTo>
                <a:cubicBezTo>
                  <a:pt x="2320" y="942"/>
                  <a:pt x="2320" y="942"/>
                  <a:pt x="2320" y="942"/>
                </a:cubicBezTo>
                <a:cubicBezTo>
                  <a:pt x="2319" y="943"/>
                  <a:pt x="2319" y="943"/>
                  <a:pt x="2319" y="943"/>
                </a:cubicBezTo>
                <a:cubicBezTo>
                  <a:pt x="2320" y="945"/>
                  <a:pt x="2320" y="945"/>
                  <a:pt x="2320" y="945"/>
                </a:cubicBezTo>
                <a:cubicBezTo>
                  <a:pt x="2320" y="948"/>
                  <a:pt x="2320" y="948"/>
                  <a:pt x="2320" y="948"/>
                </a:cubicBezTo>
                <a:cubicBezTo>
                  <a:pt x="2319" y="949"/>
                  <a:pt x="2319" y="949"/>
                  <a:pt x="2319" y="949"/>
                </a:cubicBezTo>
                <a:cubicBezTo>
                  <a:pt x="2319" y="953"/>
                  <a:pt x="2319" y="953"/>
                  <a:pt x="2319" y="953"/>
                </a:cubicBezTo>
                <a:cubicBezTo>
                  <a:pt x="2319" y="954"/>
                  <a:pt x="2319" y="954"/>
                  <a:pt x="2319" y="954"/>
                </a:cubicBezTo>
                <a:cubicBezTo>
                  <a:pt x="2318" y="955"/>
                  <a:pt x="2318" y="955"/>
                  <a:pt x="2318" y="955"/>
                </a:cubicBezTo>
                <a:cubicBezTo>
                  <a:pt x="2319" y="959"/>
                  <a:pt x="2319" y="959"/>
                  <a:pt x="2319" y="959"/>
                </a:cubicBezTo>
                <a:cubicBezTo>
                  <a:pt x="2319" y="960"/>
                  <a:pt x="2319" y="960"/>
                  <a:pt x="2319" y="960"/>
                </a:cubicBezTo>
                <a:cubicBezTo>
                  <a:pt x="2320" y="965"/>
                  <a:pt x="2320" y="965"/>
                  <a:pt x="2320" y="965"/>
                </a:cubicBezTo>
                <a:cubicBezTo>
                  <a:pt x="2322" y="970"/>
                  <a:pt x="2322" y="970"/>
                  <a:pt x="2322" y="970"/>
                </a:cubicBezTo>
                <a:cubicBezTo>
                  <a:pt x="2323" y="973"/>
                  <a:pt x="2323" y="973"/>
                  <a:pt x="2323" y="973"/>
                </a:cubicBezTo>
                <a:cubicBezTo>
                  <a:pt x="2326" y="974"/>
                  <a:pt x="2326" y="974"/>
                  <a:pt x="2326" y="974"/>
                </a:cubicBezTo>
                <a:cubicBezTo>
                  <a:pt x="2328" y="974"/>
                  <a:pt x="2328" y="974"/>
                  <a:pt x="2328" y="974"/>
                </a:cubicBezTo>
                <a:cubicBezTo>
                  <a:pt x="2331" y="973"/>
                  <a:pt x="2331" y="973"/>
                  <a:pt x="2331" y="973"/>
                </a:cubicBezTo>
                <a:cubicBezTo>
                  <a:pt x="2334" y="972"/>
                  <a:pt x="2334" y="972"/>
                  <a:pt x="2334" y="972"/>
                </a:cubicBezTo>
                <a:cubicBezTo>
                  <a:pt x="2338" y="969"/>
                  <a:pt x="2338" y="969"/>
                  <a:pt x="2338" y="969"/>
                </a:cubicBezTo>
                <a:cubicBezTo>
                  <a:pt x="2339" y="966"/>
                  <a:pt x="2339" y="966"/>
                  <a:pt x="2339" y="966"/>
                </a:cubicBezTo>
                <a:cubicBezTo>
                  <a:pt x="2340" y="964"/>
                  <a:pt x="2340" y="964"/>
                  <a:pt x="2340" y="964"/>
                </a:cubicBezTo>
                <a:cubicBezTo>
                  <a:pt x="2340" y="962"/>
                  <a:pt x="2340" y="962"/>
                  <a:pt x="2340" y="962"/>
                </a:cubicBezTo>
                <a:cubicBezTo>
                  <a:pt x="2340" y="962"/>
                  <a:pt x="2340" y="962"/>
                  <a:pt x="2340" y="962"/>
                </a:cubicBezTo>
                <a:lnTo>
                  <a:pt x="2340" y="959"/>
                </a:lnTo>
                <a:close/>
                <a:moveTo>
                  <a:pt x="2744" y="873"/>
                </a:moveTo>
                <a:cubicBezTo>
                  <a:pt x="2741" y="874"/>
                  <a:pt x="2741" y="874"/>
                  <a:pt x="2741" y="874"/>
                </a:cubicBezTo>
                <a:cubicBezTo>
                  <a:pt x="2742" y="877"/>
                  <a:pt x="2742" y="877"/>
                  <a:pt x="2742" y="877"/>
                </a:cubicBezTo>
                <a:cubicBezTo>
                  <a:pt x="2742" y="878"/>
                  <a:pt x="2742" y="878"/>
                  <a:pt x="2742" y="878"/>
                </a:cubicBezTo>
                <a:cubicBezTo>
                  <a:pt x="2743" y="879"/>
                  <a:pt x="2743" y="879"/>
                  <a:pt x="2743" y="879"/>
                </a:cubicBezTo>
                <a:cubicBezTo>
                  <a:pt x="2744" y="878"/>
                  <a:pt x="2744" y="878"/>
                  <a:pt x="2744" y="878"/>
                </a:cubicBezTo>
                <a:cubicBezTo>
                  <a:pt x="2744" y="875"/>
                  <a:pt x="2744" y="875"/>
                  <a:pt x="2744" y="875"/>
                </a:cubicBezTo>
                <a:cubicBezTo>
                  <a:pt x="2745" y="874"/>
                  <a:pt x="2745" y="874"/>
                  <a:pt x="2745" y="874"/>
                </a:cubicBezTo>
                <a:lnTo>
                  <a:pt x="2744" y="873"/>
                </a:lnTo>
                <a:close/>
                <a:moveTo>
                  <a:pt x="2752" y="638"/>
                </a:moveTo>
                <a:cubicBezTo>
                  <a:pt x="2753" y="638"/>
                  <a:pt x="2753" y="638"/>
                  <a:pt x="2753" y="638"/>
                </a:cubicBezTo>
                <a:cubicBezTo>
                  <a:pt x="2752" y="637"/>
                  <a:pt x="2752" y="637"/>
                  <a:pt x="2752" y="637"/>
                </a:cubicBezTo>
                <a:cubicBezTo>
                  <a:pt x="2752" y="636"/>
                  <a:pt x="2752" y="636"/>
                  <a:pt x="2752" y="636"/>
                </a:cubicBezTo>
                <a:cubicBezTo>
                  <a:pt x="2751" y="637"/>
                  <a:pt x="2751" y="637"/>
                  <a:pt x="2751" y="637"/>
                </a:cubicBezTo>
                <a:cubicBezTo>
                  <a:pt x="2751" y="637"/>
                  <a:pt x="2751" y="637"/>
                  <a:pt x="2751" y="637"/>
                </a:cubicBezTo>
                <a:cubicBezTo>
                  <a:pt x="2750" y="637"/>
                  <a:pt x="2750" y="637"/>
                  <a:pt x="2750" y="637"/>
                </a:cubicBezTo>
                <a:cubicBezTo>
                  <a:pt x="2751" y="639"/>
                  <a:pt x="2751" y="639"/>
                  <a:pt x="2751" y="639"/>
                </a:cubicBezTo>
                <a:lnTo>
                  <a:pt x="2752" y="638"/>
                </a:lnTo>
                <a:close/>
                <a:moveTo>
                  <a:pt x="2817" y="610"/>
                </a:moveTo>
                <a:cubicBezTo>
                  <a:pt x="2817" y="608"/>
                  <a:pt x="2817" y="608"/>
                  <a:pt x="2817" y="608"/>
                </a:cubicBezTo>
                <a:cubicBezTo>
                  <a:pt x="2816" y="608"/>
                  <a:pt x="2816" y="608"/>
                  <a:pt x="2816" y="608"/>
                </a:cubicBezTo>
                <a:cubicBezTo>
                  <a:pt x="2815" y="609"/>
                  <a:pt x="2815" y="609"/>
                  <a:pt x="2815" y="609"/>
                </a:cubicBezTo>
                <a:cubicBezTo>
                  <a:pt x="2816" y="610"/>
                  <a:pt x="2816" y="610"/>
                  <a:pt x="2816" y="610"/>
                </a:cubicBezTo>
                <a:cubicBezTo>
                  <a:pt x="2816" y="610"/>
                  <a:pt x="2816" y="610"/>
                  <a:pt x="2816" y="610"/>
                </a:cubicBezTo>
                <a:lnTo>
                  <a:pt x="2817" y="610"/>
                </a:lnTo>
                <a:close/>
                <a:moveTo>
                  <a:pt x="2826" y="363"/>
                </a:moveTo>
                <a:cubicBezTo>
                  <a:pt x="2828" y="364"/>
                  <a:pt x="2828" y="364"/>
                  <a:pt x="2828" y="364"/>
                </a:cubicBezTo>
                <a:cubicBezTo>
                  <a:pt x="2830" y="367"/>
                  <a:pt x="2830" y="367"/>
                  <a:pt x="2830" y="367"/>
                </a:cubicBezTo>
                <a:cubicBezTo>
                  <a:pt x="2831" y="371"/>
                  <a:pt x="2831" y="371"/>
                  <a:pt x="2831" y="371"/>
                </a:cubicBezTo>
                <a:cubicBezTo>
                  <a:pt x="2831" y="373"/>
                  <a:pt x="2831" y="373"/>
                  <a:pt x="2831" y="373"/>
                </a:cubicBezTo>
                <a:cubicBezTo>
                  <a:pt x="2832" y="376"/>
                  <a:pt x="2832" y="376"/>
                  <a:pt x="2832" y="376"/>
                </a:cubicBezTo>
                <a:cubicBezTo>
                  <a:pt x="2832" y="378"/>
                  <a:pt x="2832" y="378"/>
                  <a:pt x="2832" y="378"/>
                </a:cubicBezTo>
                <a:cubicBezTo>
                  <a:pt x="2834" y="379"/>
                  <a:pt x="2834" y="379"/>
                  <a:pt x="2834" y="379"/>
                </a:cubicBezTo>
                <a:cubicBezTo>
                  <a:pt x="2836" y="381"/>
                  <a:pt x="2836" y="381"/>
                  <a:pt x="2836" y="381"/>
                </a:cubicBezTo>
                <a:cubicBezTo>
                  <a:pt x="2835" y="382"/>
                  <a:pt x="2835" y="382"/>
                  <a:pt x="2835" y="382"/>
                </a:cubicBezTo>
                <a:cubicBezTo>
                  <a:pt x="2835" y="384"/>
                  <a:pt x="2835" y="384"/>
                  <a:pt x="2835" y="384"/>
                </a:cubicBezTo>
                <a:cubicBezTo>
                  <a:pt x="2838" y="387"/>
                  <a:pt x="2838" y="387"/>
                  <a:pt x="2838" y="387"/>
                </a:cubicBezTo>
                <a:cubicBezTo>
                  <a:pt x="2838" y="389"/>
                  <a:pt x="2838" y="389"/>
                  <a:pt x="2838" y="389"/>
                </a:cubicBezTo>
                <a:cubicBezTo>
                  <a:pt x="2839" y="392"/>
                  <a:pt x="2839" y="392"/>
                  <a:pt x="2839" y="392"/>
                </a:cubicBezTo>
                <a:cubicBezTo>
                  <a:pt x="2840" y="396"/>
                  <a:pt x="2840" y="396"/>
                  <a:pt x="2840" y="396"/>
                </a:cubicBezTo>
                <a:cubicBezTo>
                  <a:pt x="2840" y="397"/>
                  <a:pt x="2840" y="397"/>
                  <a:pt x="2840" y="397"/>
                </a:cubicBezTo>
                <a:cubicBezTo>
                  <a:pt x="2840" y="399"/>
                  <a:pt x="2840" y="399"/>
                  <a:pt x="2840" y="399"/>
                </a:cubicBezTo>
                <a:cubicBezTo>
                  <a:pt x="2840" y="403"/>
                  <a:pt x="2840" y="403"/>
                  <a:pt x="2840" y="403"/>
                </a:cubicBezTo>
                <a:cubicBezTo>
                  <a:pt x="2842" y="406"/>
                  <a:pt x="2842" y="406"/>
                  <a:pt x="2842" y="406"/>
                </a:cubicBezTo>
                <a:cubicBezTo>
                  <a:pt x="2842" y="408"/>
                  <a:pt x="2842" y="408"/>
                  <a:pt x="2842" y="408"/>
                </a:cubicBezTo>
                <a:cubicBezTo>
                  <a:pt x="2842" y="411"/>
                  <a:pt x="2842" y="411"/>
                  <a:pt x="2842" y="411"/>
                </a:cubicBezTo>
                <a:cubicBezTo>
                  <a:pt x="2844" y="412"/>
                  <a:pt x="2844" y="412"/>
                  <a:pt x="2844" y="412"/>
                </a:cubicBezTo>
                <a:cubicBezTo>
                  <a:pt x="2848" y="417"/>
                  <a:pt x="2848" y="417"/>
                  <a:pt x="2848" y="417"/>
                </a:cubicBezTo>
                <a:cubicBezTo>
                  <a:pt x="2848" y="419"/>
                  <a:pt x="2848" y="419"/>
                  <a:pt x="2848" y="419"/>
                </a:cubicBezTo>
                <a:cubicBezTo>
                  <a:pt x="2849" y="422"/>
                  <a:pt x="2849" y="422"/>
                  <a:pt x="2849" y="422"/>
                </a:cubicBezTo>
                <a:cubicBezTo>
                  <a:pt x="2849" y="426"/>
                  <a:pt x="2849" y="426"/>
                  <a:pt x="2849" y="426"/>
                </a:cubicBezTo>
                <a:cubicBezTo>
                  <a:pt x="2849" y="429"/>
                  <a:pt x="2849" y="429"/>
                  <a:pt x="2849" y="429"/>
                </a:cubicBezTo>
                <a:cubicBezTo>
                  <a:pt x="2851" y="433"/>
                  <a:pt x="2851" y="433"/>
                  <a:pt x="2851" y="433"/>
                </a:cubicBezTo>
                <a:cubicBezTo>
                  <a:pt x="2851" y="435"/>
                  <a:pt x="2851" y="435"/>
                  <a:pt x="2851" y="435"/>
                </a:cubicBezTo>
                <a:cubicBezTo>
                  <a:pt x="2854" y="438"/>
                  <a:pt x="2854" y="438"/>
                  <a:pt x="2854" y="438"/>
                </a:cubicBezTo>
                <a:cubicBezTo>
                  <a:pt x="2854" y="440"/>
                  <a:pt x="2854" y="440"/>
                  <a:pt x="2854" y="440"/>
                </a:cubicBezTo>
                <a:cubicBezTo>
                  <a:pt x="2854" y="443"/>
                  <a:pt x="2854" y="443"/>
                  <a:pt x="2854" y="443"/>
                </a:cubicBezTo>
                <a:cubicBezTo>
                  <a:pt x="2854" y="447"/>
                  <a:pt x="2854" y="447"/>
                  <a:pt x="2854" y="447"/>
                </a:cubicBezTo>
                <a:cubicBezTo>
                  <a:pt x="2854" y="450"/>
                  <a:pt x="2854" y="450"/>
                  <a:pt x="2854" y="450"/>
                </a:cubicBezTo>
                <a:cubicBezTo>
                  <a:pt x="2857" y="451"/>
                  <a:pt x="2857" y="451"/>
                  <a:pt x="2857" y="451"/>
                </a:cubicBezTo>
                <a:cubicBezTo>
                  <a:pt x="2858" y="454"/>
                  <a:pt x="2858" y="454"/>
                  <a:pt x="2858" y="454"/>
                </a:cubicBezTo>
                <a:cubicBezTo>
                  <a:pt x="2861" y="456"/>
                  <a:pt x="2861" y="456"/>
                  <a:pt x="2861" y="456"/>
                </a:cubicBezTo>
                <a:cubicBezTo>
                  <a:pt x="2860" y="454"/>
                  <a:pt x="2860" y="454"/>
                  <a:pt x="2860" y="454"/>
                </a:cubicBezTo>
                <a:cubicBezTo>
                  <a:pt x="2861" y="451"/>
                  <a:pt x="2861" y="451"/>
                  <a:pt x="2861" y="451"/>
                </a:cubicBezTo>
                <a:cubicBezTo>
                  <a:pt x="2860" y="449"/>
                  <a:pt x="2860" y="449"/>
                  <a:pt x="2860" y="449"/>
                </a:cubicBezTo>
                <a:cubicBezTo>
                  <a:pt x="2859" y="447"/>
                  <a:pt x="2859" y="447"/>
                  <a:pt x="2859" y="447"/>
                </a:cubicBezTo>
                <a:cubicBezTo>
                  <a:pt x="2860" y="444"/>
                  <a:pt x="2860" y="444"/>
                  <a:pt x="2860" y="444"/>
                </a:cubicBezTo>
                <a:cubicBezTo>
                  <a:pt x="2861" y="442"/>
                  <a:pt x="2861" y="442"/>
                  <a:pt x="2861" y="442"/>
                </a:cubicBezTo>
                <a:cubicBezTo>
                  <a:pt x="2862" y="443"/>
                  <a:pt x="2862" y="443"/>
                  <a:pt x="2862" y="443"/>
                </a:cubicBezTo>
                <a:cubicBezTo>
                  <a:pt x="2862" y="444"/>
                  <a:pt x="2862" y="444"/>
                  <a:pt x="2862" y="444"/>
                </a:cubicBezTo>
                <a:cubicBezTo>
                  <a:pt x="2863" y="445"/>
                  <a:pt x="2863" y="445"/>
                  <a:pt x="2863" y="445"/>
                </a:cubicBezTo>
                <a:cubicBezTo>
                  <a:pt x="2867" y="445"/>
                  <a:pt x="2867" y="445"/>
                  <a:pt x="2867" y="445"/>
                </a:cubicBezTo>
                <a:cubicBezTo>
                  <a:pt x="2868" y="444"/>
                  <a:pt x="2868" y="444"/>
                  <a:pt x="2868" y="444"/>
                </a:cubicBezTo>
                <a:cubicBezTo>
                  <a:pt x="2869" y="443"/>
                  <a:pt x="2869" y="443"/>
                  <a:pt x="2869" y="443"/>
                </a:cubicBezTo>
                <a:cubicBezTo>
                  <a:pt x="2869" y="444"/>
                  <a:pt x="2869" y="444"/>
                  <a:pt x="2869" y="444"/>
                </a:cubicBezTo>
                <a:cubicBezTo>
                  <a:pt x="2869" y="445"/>
                  <a:pt x="2869" y="445"/>
                  <a:pt x="2869" y="445"/>
                </a:cubicBezTo>
                <a:cubicBezTo>
                  <a:pt x="2869" y="447"/>
                  <a:pt x="2869" y="447"/>
                  <a:pt x="2869" y="447"/>
                </a:cubicBezTo>
                <a:cubicBezTo>
                  <a:pt x="2871" y="449"/>
                  <a:pt x="2871" y="449"/>
                  <a:pt x="2871" y="449"/>
                </a:cubicBezTo>
                <a:cubicBezTo>
                  <a:pt x="2871" y="451"/>
                  <a:pt x="2871" y="451"/>
                  <a:pt x="2871" y="451"/>
                </a:cubicBezTo>
                <a:cubicBezTo>
                  <a:pt x="2873" y="452"/>
                  <a:pt x="2873" y="452"/>
                  <a:pt x="2873" y="452"/>
                </a:cubicBezTo>
                <a:cubicBezTo>
                  <a:pt x="2873" y="451"/>
                  <a:pt x="2873" y="451"/>
                  <a:pt x="2873" y="451"/>
                </a:cubicBezTo>
                <a:cubicBezTo>
                  <a:pt x="2872" y="449"/>
                  <a:pt x="2872" y="449"/>
                  <a:pt x="2872" y="449"/>
                </a:cubicBezTo>
                <a:cubicBezTo>
                  <a:pt x="2872" y="447"/>
                  <a:pt x="2872" y="447"/>
                  <a:pt x="2872" y="447"/>
                </a:cubicBezTo>
                <a:cubicBezTo>
                  <a:pt x="2872" y="445"/>
                  <a:pt x="2872" y="445"/>
                  <a:pt x="2872" y="445"/>
                </a:cubicBezTo>
                <a:cubicBezTo>
                  <a:pt x="2871" y="443"/>
                  <a:pt x="2871" y="443"/>
                  <a:pt x="2871" y="443"/>
                </a:cubicBezTo>
                <a:cubicBezTo>
                  <a:pt x="2870" y="441"/>
                  <a:pt x="2870" y="441"/>
                  <a:pt x="2870" y="441"/>
                </a:cubicBezTo>
                <a:cubicBezTo>
                  <a:pt x="2869" y="439"/>
                  <a:pt x="2869" y="439"/>
                  <a:pt x="2869" y="439"/>
                </a:cubicBezTo>
                <a:cubicBezTo>
                  <a:pt x="2868" y="440"/>
                  <a:pt x="2868" y="440"/>
                  <a:pt x="2868" y="440"/>
                </a:cubicBezTo>
                <a:cubicBezTo>
                  <a:pt x="2867" y="440"/>
                  <a:pt x="2867" y="440"/>
                  <a:pt x="2867" y="440"/>
                </a:cubicBezTo>
                <a:cubicBezTo>
                  <a:pt x="2864" y="438"/>
                  <a:pt x="2864" y="438"/>
                  <a:pt x="2864" y="438"/>
                </a:cubicBezTo>
                <a:cubicBezTo>
                  <a:pt x="2863" y="435"/>
                  <a:pt x="2863" y="435"/>
                  <a:pt x="2863" y="435"/>
                </a:cubicBezTo>
                <a:cubicBezTo>
                  <a:pt x="2862" y="433"/>
                  <a:pt x="2862" y="433"/>
                  <a:pt x="2862" y="433"/>
                </a:cubicBezTo>
                <a:cubicBezTo>
                  <a:pt x="2860" y="431"/>
                  <a:pt x="2860" y="431"/>
                  <a:pt x="2860" y="431"/>
                </a:cubicBezTo>
                <a:cubicBezTo>
                  <a:pt x="2858" y="430"/>
                  <a:pt x="2858" y="430"/>
                  <a:pt x="2858" y="430"/>
                </a:cubicBezTo>
                <a:cubicBezTo>
                  <a:pt x="2856" y="428"/>
                  <a:pt x="2856" y="428"/>
                  <a:pt x="2856" y="428"/>
                </a:cubicBezTo>
                <a:cubicBezTo>
                  <a:pt x="2856" y="425"/>
                  <a:pt x="2856" y="425"/>
                  <a:pt x="2856" y="425"/>
                </a:cubicBezTo>
                <a:cubicBezTo>
                  <a:pt x="2854" y="422"/>
                  <a:pt x="2854" y="422"/>
                  <a:pt x="2854" y="422"/>
                </a:cubicBezTo>
                <a:cubicBezTo>
                  <a:pt x="2853" y="420"/>
                  <a:pt x="2853" y="420"/>
                  <a:pt x="2853" y="420"/>
                </a:cubicBezTo>
                <a:cubicBezTo>
                  <a:pt x="2853" y="416"/>
                  <a:pt x="2853" y="416"/>
                  <a:pt x="2853" y="416"/>
                </a:cubicBezTo>
                <a:cubicBezTo>
                  <a:pt x="2853" y="412"/>
                  <a:pt x="2853" y="412"/>
                  <a:pt x="2853" y="412"/>
                </a:cubicBezTo>
                <a:cubicBezTo>
                  <a:pt x="2852" y="410"/>
                  <a:pt x="2852" y="410"/>
                  <a:pt x="2852" y="410"/>
                </a:cubicBezTo>
                <a:cubicBezTo>
                  <a:pt x="2852" y="407"/>
                  <a:pt x="2852" y="407"/>
                  <a:pt x="2852" y="407"/>
                </a:cubicBezTo>
                <a:cubicBezTo>
                  <a:pt x="2852" y="405"/>
                  <a:pt x="2852" y="405"/>
                  <a:pt x="2852" y="405"/>
                </a:cubicBezTo>
                <a:cubicBezTo>
                  <a:pt x="2851" y="402"/>
                  <a:pt x="2851" y="402"/>
                  <a:pt x="2851" y="402"/>
                </a:cubicBezTo>
                <a:cubicBezTo>
                  <a:pt x="2852" y="401"/>
                  <a:pt x="2852" y="401"/>
                  <a:pt x="2852" y="401"/>
                </a:cubicBezTo>
                <a:cubicBezTo>
                  <a:pt x="2852" y="400"/>
                  <a:pt x="2852" y="400"/>
                  <a:pt x="2852" y="400"/>
                </a:cubicBezTo>
                <a:cubicBezTo>
                  <a:pt x="2852" y="398"/>
                  <a:pt x="2852" y="398"/>
                  <a:pt x="2852" y="398"/>
                </a:cubicBezTo>
                <a:cubicBezTo>
                  <a:pt x="2853" y="398"/>
                  <a:pt x="2853" y="398"/>
                  <a:pt x="2853" y="398"/>
                </a:cubicBezTo>
                <a:cubicBezTo>
                  <a:pt x="2854" y="398"/>
                  <a:pt x="2854" y="398"/>
                  <a:pt x="2854" y="398"/>
                </a:cubicBezTo>
                <a:cubicBezTo>
                  <a:pt x="2856" y="398"/>
                  <a:pt x="2856" y="398"/>
                  <a:pt x="2856" y="398"/>
                </a:cubicBezTo>
                <a:cubicBezTo>
                  <a:pt x="2859" y="398"/>
                  <a:pt x="2859" y="398"/>
                  <a:pt x="2859" y="398"/>
                </a:cubicBezTo>
                <a:cubicBezTo>
                  <a:pt x="2861" y="400"/>
                  <a:pt x="2861" y="400"/>
                  <a:pt x="2861" y="400"/>
                </a:cubicBezTo>
                <a:cubicBezTo>
                  <a:pt x="2862" y="403"/>
                  <a:pt x="2862" y="403"/>
                  <a:pt x="2862" y="403"/>
                </a:cubicBezTo>
                <a:cubicBezTo>
                  <a:pt x="2864" y="403"/>
                  <a:pt x="2864" y="403"/>
                  <a:pt x="2864" y="403"/>
                </a:cubicBezTo>
                <a:cubicBezTo>
                  <a:pt x="2866" y="405"/>
                  <a:pt x="2866" y="405"/>
                  <a:pt x="2866" y="405"/>
                </a:cubicBezTo>
                <a:cubicBezTo>
                  <a:pt x="2868" y="407"/>
                  <a:pt x="2868" y="407"/>
                  <a:pt x="2868" y="407"/>
                </a:cubicBezTo>
                <a:cubicBezTo>
                  <a:pt x="2869" y="408"/>
                  <a:pt x="2869" y="408"/>
                  <a:pt x="2869" y="408"/>
                </a:cubicBezTo>
                <a:cubicBezTo>
                  <a:pt x="2868" y="405"/>
                  <a:pt x="2868" y="405"/>
                  <a:pt x="2868" y="405"/>
                </a:cubicBezTo>
                <a:cubicBezTo>
                  <a:pt x="2866" y="403"/>
                  <a:pt x="2866" y="403"/>
                  <a:pt x="2866" y="403"/>
                </a:cubicBezTo>
                <a:cubicBezTo>
                  <a:pt x="2863" y="401"/>
                  <a:pt x="2863" y="401"/>
                  <a:pt x="2863" y="401"/>
                </a:cubicBezTo>
                <a:cubicBezTo>
                  <a:pt x="2862" y="398"/>
                  <a:pt x="2862" y="398"/>
                  <a:pt x="2862" y="398"/>
                </a:cubicBezTo>
                <a:cubicBezTo>
                  <a:pt x="2860" y="395"/>
                  <a:pt x="2860" y="395"/>
                  <a:pt x="2860" y="395"/>
                </a:cubicBezTo>
                <a:cubicBezTo>
                  <a:pt x="2860" y="394"/>
                  <a:pt x="2860" y="394"/>
                  <a:pt x="2860" y="394"/>
                </a:cubicBezTo>
                <a:cubicBezTo>
                  <a:pt x="2859" y="393"/>
                  <a:pt x="2859" y="393"/>
                  <a:pt x="2859" y="393"/>
                </a:cubicBezTo>
                <a:cubicBezTo>
                  <a:pt x="2857" y="389"/>
                  <a:pt x="2857" y="389"/>
                  <a:pt x="2857" y="389"/>
                </a:cubicBezTo>
                <a:cubicBezTo>
                  <a:pt x="2856" y="387"/>
                  <a:pt x="2856" y="387"/>
                  <a:pt x="2856" y="387"/>
                </a:cubicBezTo>
                <a:cubicBezTo>
                  <a:pt x="2855" y="386"/>
                  <a:pt x="2855" y="386"/>
                  <a:pt x="2855" y="386"/>
                </a:cubicBezTo>
                <a:cubicBezTo>
                  <a:pt x="2854" y="384"/>
                  <a:pt x="2854" y="384"/>
                  <a:pt x="2854" y="384"/>
                </a:cubicBezTo>
                <a:cubicBezTo>
                  <a:pt x="2851" y="381"/>
                  <a:pt x="2851" y="381"/>
                  <a:pt x="2851" y="381"/>
                </a:cubicBezTo>
                <a:cubicBezTo>
                  <a:pt x="2849" y="376"/>
                  <a:pt x="2849" y="376"/>
                  <a:pt x="2849" y="376"/>
                </a:cubicBezTo>
                <a:cubicBezTo>
                  <a:pt x="2848" y="373"/>
                  <a:pt x="2848" y="373"/>
                  <a:pt x="2848" y="373"/>
                </a:cubicBezTo>
                <a:cubicBezTo>
                  <a:pt x="2844" y="369"/>
                  <a:pt x="2844" y="369"/>
                  <a:pt x="2844" y="369"/>
                </a:cubicBezTo>
                <a:cubicBezTo>
                  <a:pt x="2842" y="365"/>
                  <a:pt x="2842" y="365"/>
                  <a:pt x="2842" y="365"/>
                </a:cubicBezTo>
                <a:cubicBezTo>
                  <a:pt x="2841" y="364"/>
                  <a:pt x="2841" y="364"/>
                  <a:pt x="2841" y="364"/>
                </a:cubicBezTo>
                <a:cubicBezTo>
                  <a:pt x="2841" y="362"/>
                  <a:pt x="2841" y="362"/>
                  <a:pt x="2841" y="362"/>
                </a:cubicBezTo>
                <a:cubicBezTo>
                  <a:pt x="2840" y="360"/>
                  <a:pt x="2840" y="360"/>
                  <a:pt x="2840" y="360"/>
                </a:cubicBezTo>
                <a:cubicBezTo>
                  <a:pt x="2839" y="360"/>
                  <a:pt x="2839" y="360"/>
                  <a:pt x="2839" y="360"/>
                </a:cubicBezTo>
                <a:cubicBezTo>
                  <a:pt x="2838" y="361"/>
                  <a:pt x="2838" y="361"/>
                  <a:pt x="2838" y="361"/>
                </a:cubicBezTo>
                <a:cubicBezTo>
                  <a:pt x="2837" y="360"/>
                  <a:pt x="2837" y="360"/>
                  <a:pt x="2837" y="360"/>
                </a:cubicBezTo>
                <a:cubicBezTo>
                  <a:pt x="2837" y="360"/>
                  <a:pt x="2837" y="360"/>
                  <a:pt x="2837" y="360"/>
                </a:cubicBezTo>
                <a:cubicBezTo>
                  <a:pt x="2837" y="358"/>
                  <a:pt x="2837" y="358"/>
                  <a:pt x="2837" y="358"/>
                </a:cubicBezTo>
                <a:cubicBezTo>
                  <a:pt x="2837" y="356"/>
                  <a:pt x="2837" y="356"/>
                  <a:pt x="2837" y="356"/>
                </a:cubicBezTo>
                <a:cubicBezTo>
                  <a:pt x="2835" y="355"/>
                  <a:pt x="2835" y="355"/>
                  <a:pt x="2835" y="355"/>
                </a:cubicBezTo>
                <a:cubicBezTo>
                  <a:pt x="2833" y="353"/>
                  <a:pt x="2833" y="353"/>
                  <a:pt x="2833" y="353"/>
                </a:cubicBezTo>
                <a:cubicBezTo>
                  <a:pt x="2832" y="350"/>
                  <a:pt x="2832" y="350"/>
                  <a:pt x="2832" y="350"/>
                </a:cubicBezTo>
                <a:cubicBezTo>
                  <a:pt x="2831" y="349"/>
                  <a:pt x="2831" y="349"/>
                  <a:pt x="2831" y="349"/>
                </a:cubicBezTo>
                <a:cubicBezTo>
                  <a:pt x="2831" y="347"/>
                  <a:pt x="2831" y="347"/>
                  <a:pt x="2831" y="347"/>
                </a:cubicBezTo>
                <a:cubicBezTo>
                  <a:pt x="2831" y="345"/>
                  <a:pt x="2831" y="345"/>
                  <a:pt x="2831" y="345"/>
                </a:cubicBezTo>
                <a:cubicBezTo>
                  <a:pt x="2832" y="345"/>
                  <a:pt x="2832" y="345"/>
                  <a:pt x="2832" y="345"/>
                </a:cubicBezTo>
                <a:cubicBezTo>
                  <a:pt x="2831" y="342"/>
                  <a:pt x="2831" y="342"/>
                  <a:pt x="2831" y="342"/>
                </a:cubicBezTo>
                <a:cubicBezTo>
                  <a:pt x="2831" y="339"/>
                  <a:pt x="2831" y="339"/>
                  <a:pt x="2831" y="339"/>
                </a:cubicBezTo>
                <a:cubicBezTo>
                  <a:pt x="2830" y="337"/>
                  <a:pt x="2830" y="337"/>
                  <a:pt x="2830" y="337"/>
                </a:cubicBezTo>
                <a:cubicBezTo>
                  <a:pt x="2828" y="336"/>
                  <a:pt x="2828" y="336"/>
                  <a:pt x="2828" y="336"/>
                </a:cubicBezTo>
                <a:cubicBezTo>
                  <a:pt x="2826" y="334"/>
                  <a:pt x="2826" y="334"/>
                  <a:pt x="2826" y="334"/>
                </a:cubicBezTo>
                <a:cubicBezTo>
                  <a:pt x="2826" y="332"/>
                  <a:pt x="2826" y="332"/>
                  <a:pt x="2826" y="332"/>
                </a:cubicBezTo>
                <a:cubicBezTo>
                  <a:pt x="2825" y="331"/>
                  <a:pt x="2825" y="331"/>
                  <a:pt x="2825" y="331"/>
                </a:cubicBezTo>
                <a:cubicBezTo>
                  <a:pt x="2825" y="330"/>
                  <a:pt x="2825" y="330"/>
                  <a:pt x="2825" y="330"/>
                </a:cubicBezTo>
                <a:cubicBezTo>
                  <a:pt x="2825" y="330"/>
                  <a:pt x="2825" y="330"/>
                  <a:pt x="2825" y="330"/>
                </a:cubicBezTo>
                <a:cubicBezTo>
                  <a:pt x="2827" y="332"/>
                  <a:pt x="2827" y="332"/>
                  <a:pt x="2827" y="332"/>
                </a:cubicBezTo>
                <a:cubicBezTo>
                  <a:pt x="2829" y="335"/>
                  <a:pt x="2829" y="335"/>
                  <a:pt x="2829" y="335"/>
                </a:cubicBezTo>
                <a:cubicBezTo>
                  <a:pt x="2828" y="332"/>
                  <a:pt x="2828" y="332"/>
                  <a:pt x="2828" y="332"/>
                </a:cubicBezTo>
                <a:cubicBezTo>
                  <a:pt x="2826" y="329"/>
                  <a:pt x="2826" y="329"/>
                  <a:pt x="2826" y="329"/>
                </a:cubicBezTo>
                <a:cubicBezTo>
                  <a:pt x="2824" y="326"/>
                  <a:pt x="2824" y="326"/>
                  <a:pt x="2824" y="326"/>
                </a:cubicBezTo>
                <a:cubicBezTo>
                  <a:pt x="2823" y="326"/>
                  <a:pt x="2823" y="326"/>
                  <a:pt x="2823" y="326"/>
                </a:cubicBezTo>
                <a:cubicBezTo>
                  <a:pt x="2822" y="324"/>
                  <a:pt x="2822" y="324"/>
                  <a:pt x="2822" y="324"/>
                </a:cubicBezTo>
                <a:cubicBezTo>
                  <a:pt x="2818" y="321"/>
                  <a:pt x="2818" y="321"/>
                  <a:pt x="2818" y="321"/>
                </a:cubicBezTo>
                <a:cubicBezTo>
                  <a:pt x="2817" y="319"/>
                  <a:pt x="2817" y="319"/>
                  <a:pt x="2817" y="319"/>
                </a:cubicBezTo>
                <a:cubicBezTo>
                  <a:pt x="2817" y="316"/>
                  <a:pt x="2817" y="316"/>
                  <a:pt x="2817" y="316"/>
                </a:cubicBezTo>
                <a:cubicBezTo>
                  <a:pt x="2816" y="314"/>
                  <a:pt x="2816" y="314"/>
                  <a:pt x="2816" y="314"/>
                </a:cubicBezTo>
                <a:cubicBezTo>
                  <a:pt x="2813" y="313"/>
                  <a:pt x="2813" y="313"/>
                  <a:pt x="2813" y="313"/>
                </a:cubicBezTo>
                <a:cubicBezTo>
                  <a:pt x="2811" y="310"/>
                  <a:pt x="2811" y="310"/>
                  <a:pt x="2811" y="310"/>
                </a:cubicBezTo>
                <a:cubicBezTo>
                  <a:pt x="2811" y="309"/>
                  <a:pt x="2811" y="309"/>
                  <a:pt x="2811" y="309"/>
                </a:cubicBezTo>
                <a:cubicBezTo>
                  <a:pt x="2810" y="310"/>
                  <a:pt x="2810" y="310"/>
                  <a:pt x="2810" y="310"/>
                </a:cubicBezTo>
                <a:cubicBezTo>
                  <a:pt x="2811" y="311"/>
                  <a:pt x="2811" y="311"/>
                  <a:pt x="2811" y="311"/>
                </a:cubicBezTo>
                <a:cubicBezTo>
                  <a:pt x="2811" y="313"/>
                  <a:pt x="2811" y="313"/>
                  <a:pt x="2811" y="313"/>
                </a:cubicBezTo>
                <a:cubicBezTo>
                  <a:pt x="2810" y="313"/>
                  <a:pt x="2810" y="313"/>
                  <a:pt x="2810" y="313"/>
                </a:cubicBezTo>
                <a:cubicBezTo>
                  <a:pt x="2808" y="312"/>
                  <a:pt x="2808" y="312"/>
                  <a:pt x="2808" y="312"/>
                </a:cubicBezTo>
                <a:cubicBezTo>
                  <a:pt x="2806" y="312"/>
                  <a:pt x="2806" y="312"/>
                  <a:pt x="2806" y="312"/>
                </a:cubicBezTo>
                <a:cubicBezTo>
                  <a:pt x="2809" y="315"/>
                  <a:pt x="2809" y="315"/>
                  <a:pt x="2809" y="315"/>
                </a:cubicBezTo>
                <a:cubicBezTo>
                  <a:pt x="2812" y="317"/>
                  <a:pt x="2812" y="317"/>
                  <a:pt x="2812" y="317"/>
                </a:cubicBezTo>
                <a:cubicBezTo>
                  <a:pt x="2814" y="319"/>
                  <a:pt x="2814" y="319"/>
                  <a:pt x="2814" y="319"/>
                </a:cubicBezTo>
                <a:cubicBezTo>
                  <a:pt x="2813" y="321"/>
                  <a:pt x="2813" y="321"/>
                  <a:pt x="2813" y="321"/>
                </a:cubicBezTo>
                <a:cubicBezTo>
                  <a:pt x="2814" y="320"/>
                  <a:pt x="2814" y="320"/>
                  <a:pt x="2814" y="320"/>
                </a:cubicBezTo>
                <a:cubicBezTo>
                  <a:pt x="2815" y="320"/>
                  <a:pt x="2815" y="320"/>
                  <a:pt x="2815" y="320"/>
                </a:cubicBezTo>
                <a:cubicBezTo>
                  <a:pt x="2816" y="321"/>
                  <a:pt x="2816" y="321"/>
                  <a:pt x="2816" y="321"/>
                </a:cubicBezTo>
                <a:cubicBezTo>
                  <a:pt x="2815" y="322"/>
                  <a:pt x="2815" y="322"/>
                  <a:pt x="2815" y="322"/>
                </a:cubicBezTo>
                <a:cubicBezTo>
                  <a:pt x="2814" y="323"/>
                  <a:pt x="2814" y="323"/>
                  <a:pt x="2814" y="323"/>
                </a:cubicBezTo>
                <a:cubicBezTo>
                  <a:pt x="2814" y="324"/>
                  <a:pt x="2814" y="324"/>
                  <a:pt x="2814" y="324"/>
                </a:cubicBezTo>
                <a:cubicBezTo>
                  <a:pt x="2816" y="324"/>
                  <a:pt x="2816" y="324"/>
                  <a:pt x="2816" y="324"/>
                </a:cubicBezTo>
                <a:cubicBezTo>
                  <a:pt x="2816" y="326"/>
                  <a:pt x="2816" y="326"/>
                  <a:pt x="2816" y="326"/>
                </a:cubicBezTo>
                <a:cubicBezTo>
                  <a:pt x="2814" y="327"/>
                  <a:pt x="2814" y="327"/>
                  <a:pt x="2814" y="327"/>
                </a:cubicBezTo>
                <a:cubicBezTo>
                  <a:pt x="2813" y="327"/>
                  <a:pt x="2813" y="327"/>
                  <a:pt x="2813" y="327"/>
                </a:cubicBezTo>
                <a:cubicBezTo>
                  <a:pt x="2812" y="325"/>
                  <a:pt x="2812" y="325"/>
                  <a:pt x="2812" y="325"/>
                </a:cubicBezTo>
                <a:cubicBezTo>
                  <a:pt x="2810" y="326"/>
                  <a:pt x="2810" y="326"/>
                  <a:pt x="2810" y="326"/>
                </a:cubicBezTo>
                <a:cubicBezTo>
                  <a:pt x="2809" y="329"/>
                  <a:pt x="2809" y="329"/>
                  <a:pt x="2809" y="329"/>
                </a:cubicBezTo>
                <a:cubicBezTo>
                  <a:pt x="2811" y="331"/>
                  <a:pt x="2811" y="331"/>
                  <a:pt x="2811" y="331"/>
                </a:cubicBezTo>
                <a:cubicBezTo>
                  <a:pt x="2812" y="334"/>
                  <a:pt x="2812" y="334"/>
                  <a:pt x="2812" y="334"/>
                </a:cubicBezTo>
                <a:cubicBezTo>
                  <a:pt x="2814" y="336"/>
                  <a:pt x="2814" y="336"/>
                  <a:pt x="2814" y="336"/>
                </a:cubicBezTo>
                <a:cubicBezTo>
                  <a:pt x="2815" y="339"/>
                  <a:pt x="2815" y="339"/>
                  <a:pt x="2815" y="339"/>
                </a:cubicBezTo>
                <a:cubicBezTo>
                  <a:pt x="2816" y="344"/>
                  <a:pt x="2816" y="344"/>
                  <a:pt x="2816" y="344"/>
                </a:cubicBezTo>
                <a:cubicBezTo>
                  <a:pt x="2816" y="345"/>
                  <a:pt x="2816" y="345"/>
                  <a:pt x="2816" y="345"/>
                </a:cubicBezTo>
                <a:cubicBezTo>
                  <a:pt x="2817" y="348"/>
                  <a:pt x="2817" y="348"/>
                  <a:pt x="2817" y="348"/>
                </a:cubicBezTo>
                <a:cubicBezTo>
                  <a:pt x="2818" y="353"/>
                  <a:pt x="2818" y="353"/>
                  <a:pt x="2818" y="353"/>
                </a:cubicBezTo>
                <a:cubicBezTo>
                  <a:pt x="2820" y="356"/>
                  <a:pt x="2820" y="356"/>
                  <a:pt x="2820" y="356"/>
                </a:cubicBezTo>
                <a:cubicBezTo>
                  <a:pt x="2822" y="357"/>
                  <a:pt x="2822" y="357"/>
                  <a:pt x="2822" y="357"/>
                </a:cubicBezTo>
                <a:cubicBezTo>
                  <a:pt x="2822" y="358"/>
                  <a:pt x="2822" y="358"/>
                  <a:pt x="2822" y="358"/>
                </a:cubicBezTo>
                <a:cubicBezTo>
                  <a:pt x="2821" y="359"/>
                  <a:pt x="2821" y="359"/>
                  <a:pt x="2821" y="359"/>
                </a:cubicBezTo>
                <a:lnTo>
                  <a:pt x="2826" y="363"/>
                </a:lnTo>
                <a:close/>
                <a:moveTo>
                  <a:pt x="2843" y="204"/>
                </a:moveTo>
                <a:cubicBezTo>
                  <a:pt x="2843" y="203"/>
                  <a:pt x="2843" y="203"/>
                  <a:pt x="2843" y="203"/>
                </a:cubicBezTo>
                <a:cubicBezTo>
                  <a:pt x="2842" y="203"/>
                  <a:pt x="2842" y="203"/>
                  <a:pt x="2842" y="203"/>
                </a:cubicBezTo>
                <a:cubicBezTo>
                  <a:pt x="2841" y="205"/>
                  <a:pt x="2841" y="205"/>
                  <a:pt x="2841" y="205"/>
                </a:cubicBezTo>
                <a:cubicBezTo>
                  <a:pt x="2840" y="206"/>
                  <a:pt x="2840" y="206"/>
                  <a:pt x="2840" y="206"/>
                </a:cubicBezTo>
                <a:cubicBezTo>
                  <a:pt x="2841" y="206"/>
                  <a:pt x="2841" y="206"/>
                  <a:pt x="2841" y="206"/>
                </a:cubicBezTo>
                <a:lnTo>
                  <a:pt x="2843" y="204"/>
                </a:lnTo>
                <a:close/>
                <a:moveTo>
                  <a:pt x="2770" y="902"/>
                </a:moveTo>
                <a:cubicBezTo>
                  <a:pt x="2769" y="901"/>
                  <a:pt x="2769" y="901"/>
                  <a:pt x="2769" y="901"/>
                </a:cubicBezTo>
                <a:cubicBezTo>
                  <a:pt x="2769" y="903"/>
                  <a:pt x="2769" y="903"/>
                  <a:pt x="2769" y="903"/>
                </a:cubicBezTo>
                <a:cubicBezTo>
                  <a:pt x="2771" y="906"/>
                  <a:pt x="2771" y="906"/>
                  <a:pt x="2771" y="906"/>
                </a:cubicBezTo>
                <a:cubicBezTo>
                  <a:pt x="2773" y="908"/>
                  <a:pt x="2773" y="908"/>
                  <a:pt x="2773" y="908"/>
                </a:cubicBezTo>
                <a:cubicBezTo>
                  <a:pt x="2776" y="911"/>
                  <a:pt x="2776" y="911"/>
                  <a:pt x="2776" y="911"/>
                </a:cubicBezTo>
                <a:cubicBezTo>
                  <a:pt x="2777" y="911"/>
                  <a:pt x="2777" y="911"/>
                  <a:pt x="2777" y="911"/>
                </a:cubicBezTo>
                <a:cubicBezTo>
                  <a:pt x="2776" y="912"/>
                  <a:pt x="2776" y="912"/>
                  <a:pt x="2776" y="912"/>
                </a:cubicBezTo>
                <a:cubicBezTo>
                  <a:pt x="2775" y="913"/>
                  <a:pt x="2775" y="913"/>
                  <a:pt x="2775" y="913"/>
                </a:cubicBezTo>
                <a:cubicBezTo>
                  <a:pt x="2775" y="914"/>
                  <a:pt x="2775" y="914"/>
                  <a:pt x="2775" y="914"/>
                </a:cubicBezTo>
                <a:cubicBezTo>
                  <a:pt x="2776" y="913"/>
                  <a:pt x="2776" y="913"/>
                  <a:pt x="2776" y="913"/>
                </a:cubicBezTo>
                <a:cubicBezTo>
                  <a:pt x="2776" y="914"/>
                  <a:pt x="2776" y="914"/>
                  <a:pt x="2776" y="914"/>
                </a:cubicBezTo>
                <a:cubicBezTo>
                  <a:pt x="2777" y="915"/>
                  <a:pt x="2777" y="915"/>
                  <a:pt x="2777" y="915"/>
                </a:cubicBezTo>
                <a:cubicBezTo>
                  <a:pt x="2779" y="916"/>
                  <a:pt x="2779" y="916"/>
                  <a:pt x="2779" y="916"/>
                </a:cubicBezTo>
                <a:cubicBezTo>
                  <a:pt x="2779" y="917"/>
                  <a:pt x="2779" y="917"/>
                  <a:pt x="2779" y="917"/>
                </a:cubicBezTo>
                <a:cubicBezTo>
                  <a:pt x="2782" y="917"/>
                  <a:pt x="2782" y="917"/>
                  <a:pt x="2782" y="917"/>
                </a:cubicBezTo>
                <a:cubicBezTo>
                  <a:pt x="2783" y="917"/>
                  <a:pt x="2783" y="917"/>
                  <a:pt x="2783" y="917"/>
                </a:cubicBezTo>
                <a:cubicBezTo>
                  <a:pt x="2783" y="917"/>
                  <a:pt x="2783" y="917"/>
                  <a:pt x="2783" y="917"/>
                </a:cubicBezTo>
                <a:cubicBezTo>
                  <a:pt x="2784" y="917"/>
                  <a:pt x="2784" y="917"/>
                  <a:pt x="2784" y="917"/>
                </a:cubicBezTo>
                <a:cubicBezTo>
                  <a:pt x="2783" y="916"/>
                  <a:pt x="2783" y="916"/>
                  <a:pt x="2783" y="916"/>
                </a:cubicBezTo>
                <a:cubicBezTo>
                  <a:pt x="2783" y="914"/>
                  <a:pt x="2783" y="914"/>
                  <a:pt x="2783" y="914"/>
                </a:cubicBezTo>
                <a:cubicBezTo>
                  <a:pt x="2782" y="913"/>
                  <a:pt x="2782" y="913"/>
                  <a:pt x="2782" y="913"/>
                </a:cubicBezTo>
                <a:cubicBezTo>
                  <a:pt x="2782" y="910"/>
                  <a:pt x="2782" y="910"/>
                  <a:pt x="2782" y="910"/>
                </a:cubicBezTo>
                <a:cubicBezTo>
                  <a:pt x="2782" y="907"/>
                  <a:pt x="2782" y="907"/>
                  <a:pt x="2782" y="907"/>
                </a:cubicBezTo>
                <a:cubicBezTo>
                  <a:pt x="2782" y="906"/>
                  <a:pt x="2782" y="906"/>
                  <a:pt x="2782" y="906"/>
                </a:cubicBezTo>
                <a:cubicBezTo>
                  <a:pt x="2781" y="905"/>
                  <a:pt x="2781" y="905"/>
                  <a:pt x="2781" y="905"/>
                </a:cubicBezTo>
                <a:cubicBezTo>
                  <a:pt x="2779" y="903"/>
                  <a:pt x="2779" y="903"/>
                  <a:pt x="2779" y="903"/>
                </a:cubicBezTo>
                <a:cubicBezTo>
                  <a:pt x="2778" y="901"/>
                  <a:pt x="2778" y="901"/>
                  <a:pt x="2778" y="901"/>
                </a:cubicBezTo>
                <a:cubicBezTo>
                  <a:pt x="2777" y="901"/>
                  <a:pt x="2777" y="901"/>
                  <a:pt x="2777" y="901"/>
                </a:cubicBezTo>
                <a:cubicBezTo>
                  <a:pt x="2776" y="901"/>
                  <a:pt x="2776" y="901"/>
                  <a:pt x="2776" y="901"/>
                </a:cubicBezTo>
                <a:cubicBezTo>
                  <a:pt x="2775" y="901"/>
                  <a:pt x="2775" y="901"/>
                  <a:pt x="2775" y="901"/>
                </a:cubicBezTo>
                <a:cubicBezTo>
                  <a:pt x="2774" y="901"/>
                  <a:pt x="2774" y="901"/>
                  <a:pt x="2774" y="901"/>
                </a:cubicBezTo>
                <a:cubicBezTo>
                  <a:pt x="2774" y="902"/>
                  <a:pt x="2774" y="902"/>
                  <a:pt x="2774" y="902"/>
                </a:cubicBezTo>
                <a:cubicBezTo>
                  <a:pt x="2772" y="902"/>
                  <a:pt x="2772" y="902"/>
                  <a:pt x="2772" y="902"/>
                </a:cubicBezTo>
                <a:lnTo>
                  <a:pt x="2770" y="902"/>
                </a:lnTo>
                <a:close/>
                <a:moveTo>
                  <a:pt x="2774" y="632"/>
                </a:moveTo>
                <a:cubicBezTo>
                  <a:pt x="2775" y="630"/>
                  <a:pt x="2775" y="630"/>
                  <a:pt x="2775" y="630"/>
                </a:cubicBezTo>
                <a:cubicBezTo>
                  <a:pt x="2775" y="629"/>
                  <a:pt x="2775" y="629"/>
                  <a:pt x="2775" y="629"/>
                </a:cubicBezTo>
                <a:cubicBezTo>
                  <a:pt x="2774" y="628"/>
                  <a:pt x="2774" y="628"/>
                  <a:pt x="2774" y="628"/>
                </a:cubicBezTo>
                <a:cubicBezTo>
                  <a:pt x="2773" y="629"/>
                  <a:pt x="2773" y="629"/>
                  <a:pt x="2773" y="629"/>
                </a:cubicBezTo>
                <a:cubicBezTo>
                  <a:pt x="2773" y="630"/>
                  <a:pt x="2773" y="630"/>
                  <a:pt x="2773" y="630"/>
                </a:cubicBezTo>
                <a:cubicBezTo>
                  <a:pt x="2773" y="632"/>
                  <a:pt x="2773" y="632"/>
                  <a:pt x="2773" y="632"/>
                </a:cubicBezTo>
                <a:lnTo>
                  <a:pt x="2774" y="632"/>
                </a:lnTo>
                <a:close/>
                <a:moveTo>
                  <a:pt x="2880" y="1165"/>
                </a:moveTo>
                <a:cubicBezTo>
                  <a:pt x="2882" y="1164"/>
                  <a:pt x="2882" y="1164"/>
                  <a:pt x="2882" y="1164"/>
                </a:cubicBezTo>
                <a:cubicBezTo>
                  <a:pt x="2882" y="1164"/>
                  <a:pt x="2882" y="1164"/>
                  <a:pt x="2882" y="1164"/>
                </a:cubicBezTo>
                <a:cubicBezTo>
                  <a:pt x="2879" y="1164"/>
                  <a:pt x="2879" y="1164"/>
                  <a:pt x="2879" y="1164"/>
                </a:cubicBezTo>
                <a:lnTo>
                  <a:pt x="2880" y="1165"/>
                </a:lnTo>
                <a:close/>
                <a:moveTo>
                  <a:pt x="2814" y="610"/>
                </a:moveTo>
                <a:cubicBezTo>
                  <a:pt x="2813" y="611"/>
                  <a:pt x="2813" y="611"/>
                  <a:pt x="2813" y="611"/>
                </a:cubicBezTo>
                <a:cubicBezTo>
                  <a:pt x="2814" y="612"/>
                  <a:pt x="2814" y="612"/>
                  <a:pt x="2814" y="612"/>
                </a:cubicBezTo>
                <a:cubicBezTo>
                  <a:pt x="2815" y="611"/>
                  <a:pt x="2815" y="611"/>
                  <a:pt x="2815" y="611"/>
                </a:cubicBezTo>
                <a:lnTo>
                  <a:pt x="2814" y="610"/>
                </a:lnTo>
                <a:close/>
                <a:moveTo>
                  <a:pt x="2979" y="1117"/>
                </a:moveTo>
                <a:cubicBezTo>
                  <a:pt x="2979" y="1116"/>
                  <a:pt x="2979" y="1116"/>
                  <a:pt x="2979" y="1116"/>
                </a:cubicBezTo>
                <a:cubicBezTo>
                  <a:pt x="2979" y="1117"/>
                  <a:pt x="2979" y="1117"/>
                  <a:pt x="2979" y="1117"/>
                </a:cubicBezTo>
                <a:close/>
                <a:moveTo>
                  <a:pt x="2965" y="1125"/>
                </a:moveTo>
                <a:cubicBezTo>
                  <a:pt x="2966" y="1126"/>
                  <a:pt x="2966" y="1126"/>
                  <a:pt x="2966" y="1126"/>
                </a:cubicBezTo>
                <a:cubicBezTo>
                  <a:pt x="2967" y="1125"/>
                  <a:pt x="2967" y="1125"/>
                  <a:pt x="2967" y="1125"/>
                </a:cubicBezTo>
                <a:lnTo>
                  <a:pt x="2965" y="1125"/>
                </a:lnTo>
                <a:close/>
                <a:moveTo>
                  <a:pt x="3007" y="1056"/>
                </a:moveTo>
                <a:cubicBezTo>
                  <a:pt x="3006" y="1056"/>
                  <a:pt x="3006" y="1056"/>
                  <a:pt x="3006" y="1056"/>
                </a:cubicBezTo>
                <a:cubicBezTo>
                  <a:pt x="3004" y="1056"/>
                  <a:pt x="3004" y="1056"/>
                  <a:pt x="3004" y="1056"/>
                </a:cubicBezTo>
                <a:cubicBezTo>
                  <a:pt x="3003" y="1056"/>
                  <a:pt x="3003" y="1056"/>
                  <a:pt x="3003" y="1056"/>
                </a:cubicBezTo>
                <a:cubicBezTo>
                  <a:pt x="3001" y="1056"/>
                  <a:pt x="3001" y="1056"/>
                  <a:pt x="3001" y="1056"/>
                </a:cubicBezTo>
                <a:cubicBezTo>
                  <a:pt x="3000" y="1056"/>
                  <a:pt x="3000" y="1056"/>
                  <a:pt x="3000" y="1056"/>
                </a:cubicBezTo>
                <a:cubicBezTo>
                  <a:pt x="3000" y="1056"/>
                  <a:pt x="3001" y="1058"/>
                  <a:pt x="3001" y="1058"/>
                </a:cubicBezTo>
                <a:cubicBezTo>
                  <a:pt x="3003" y="1058"/>
                  <a:pt x="3003" y="1058"/>
                  <a:pt x="3003" y="1058"/>
                </a:cubicBezTo>
                <a:cubicBezTo>
                  <a:pt x="3004" y="1059"/>
                  <a:pt x="3004" y="1059"/>
                  <a:pt x="3004" y="1059"/>
                </a:cubicBezTo>
                <a:cubicBezTo>
                  <a:pt x="3006" y="1059"/>
                  <a:pt x="3006" y="1059"/>
                  <a:pt x="3006" y="1059"/>
                </a:cubicBezTo>
                <a:cubicBezTo>
                  <a:pt x="3008" y="1057"/>
                  <a:pt x="3008" y="1057"/>
                  <a:pt x="3008" y="1057"/>
                </a:cubicBezTo>
                <a:lnTo>
                  <a:pt x="3007" y="1056"/>
                </a:lnTo>
                <a:close/>
                <a:moveTo>
                  <a:pt x="2921" y="1214"/>
                </a:moveTo>
                <a:cubicBezTo>
                  <a:pt x="2919" y="1214"/>
                  <a:pt x="2919" y="1214"/>
                  <a:pt x="2919" y="1214"/>
                </a:cubicBezTo>
                <a:cubicBezTo>
                  <a:pt x="2916" y="1215"/>
                  <a:pt x="2916" y="1215"/>
                  <a:pt x="2916" y="1215"/>
                </a:cubicBezTo>
                <a:cubicBezTo>
                  <a:pt x="2916" y="1215"/>
                  <a:pt x="2916" y="1217"/>
                  <a:pt x="2916" y="1217"/>
                </a:cubicBezTo>
                <a:cubicBezTo>
                  <a:pt x="2917" y="1217"/>
                  <a:pt x="2917" y="1217"/>
                  <a:pt x="2917" y="1217"/>
                </a:cubicBezTo>
                <a:cubicBezTo>
                  <a:pt x="2918" y="1217"/>
                  <a:pt x="2918" y="1217"/>
                  <a:pt x="2918" y="1217"/>
                </a:cubicBezTo>
                <a:cubicBezTo>
                  <a:pt x="2919" y="1215"/>
                  <a:pt x="2919" y="1215"/>
                  <a:pt x="2919" y="1215"/>
                </a:cubicBezTo>
                <a:cubicBezTo>
                  <a:pt x="2921" y="1215"/>
                  <a:pt x="2921" y="1215"/>
                  <a:pt x="2921" y="1215"/>
                </a:cubicBezTo>
                <a:lnTo>
                  <a:pt x="2921" y="1214"/>
                </a:lnTo>
                <a:close/>
                <a:moveTo>
                  <a:pt x="2971" y="1120"/>
                </a:moveTo>
                <a:cubicBezTo>
                  <a:pt x="2970" y="1118"/>
                  <a:pt x="2970" y="1118"/>
                  <a:pt x="2970" y="1118"/>
                </a:cubicBezTo>
                <a:cubicBezTo>
                  <a:pt x="2969" y="1119"/>
                  <a:pt x="2969" y="1119"/>
                  <a:pt x="2969" y="1119"/>
                </a:cubicBezTo>
                <a:cubicBezTo>
                  <a:pt x="2969" y="1120"/>
                  <a:pt x="2969" y="1120"/>
                  <a:pt x="2969" y="1120"/>
                </a:cubicBezTo>
                <a:cubicBezTo>
                  <a:pt x="2970" y="1121"/>
                  <a:pt x="2970" y="1121"/>
                  <a:pt x="2970" y="1121"/>
                </a:cubicBezTo>
                <a:cubicBezTo>
                  <a:pt x="2970" y="1121"/>
                  <a:pt x="2970" y="1121"/>
                  <a:pt x="2970" y="1121"/>
                </a:cubicBezTo>
                <a:lnTo>
                  <a:pt x="2971" y="1120"/>
                </a:lnTo>
                <a:close/>
                <a:moveTo>
                  <a:pt x="2951" y="1148"/>
                </a:moveTo>
                <a:cubicBezTo>
                  <a:pt x="2951" y="1151"/>
                  <a:pt x="2951" y="1151"/>
                  <a:pt x="2951" y="1151"/>
                </a:cubicBezTo>
                <a:cubicBezTo>
                  <a:pt x="2952" y="1150"/>
                  <a:pt x="2952" y="1150"/>
                  <a:pt x="2952" y="1150"/>
                </a:cubicBezTo>
                <a:cubicBezTo>
                  <a:pt x="2953" y="1150"/>
                  <a:pt x="2953" y="1150"/>
                  <a:pt x="2953" y="1150"/>
                </a:cubicBezTo>
                <a:cubicBezTo>
                  <a:pt x="2952" y="1148"/>
                  <a:pt x="2952" y="1148"/>
                  <a:pt x="2952" y="1148"/>
                </a:cubicBezTo>
                <a:lnTo>
                  <a:pt x="2951" y="1148"/>
                </a:lnTo>
                <a:close/>
                <a:moveTo>
                  <a:pt x="2967" y="1126"/>
                </a:moveTo>
                <a:cubicBezTo>
                  <a:pt x="2968" y="1127"/>
                  <a:pt x="2968" y="1127"/>
                  <a:pt x="2968" y="1127"/>
                </a:cubicBezTo>
                <a:cubicBezTo>
                  <a:pt x="2968" y="1126"/>
                  <a:pt x="2968" y="1126"/>
                  <a:pt x="2968" y="1126"/>
                </a:cubicBezTo>
                <a:lnTo>
                  <a:pt x="2967" y="1126"/>
                </a:lnTo>
                <a:close/>
                <a:moveTo>
                  <a:pt x="2970" y="1124"/>
                </a:moveTo>
                <a:cubicBezTo>
                  <a:pt x="2969" y="1124"/>
                  <a:pt x="2969" y="1124"/>
                  <a:pt x="2969" y="1124"/>
                </a:cubicBezTo>
                <a:cubicBezTo>
                  <a:pt x="2968" y="1125"/>
                  <a:pt x="2968" y="1125"/>
                  <a:pt x="2968" y="1125"/>
                </a:cubicBezTo>
                <a:cubicBezTo>
                  <a:pt x="2968" y="1125"/>
                  <a:pt x="2970" y="1125"/>
                  <a:pt x="2970" y="1125"/>
                </a:cubicBezTo>
                <a:lnTo>
                  <a:pt x="2970" y="1124"/>
                </a:lnTo>
                <a:close/>
                <a:moveTo>
                  <a:pt x="2967" y="1121"/>
                </a:moveTo>
                <a:cubicBezTo>
                  <a:pt x="2968" y="1122"/>
                  <a:pt x="2968" y="1122"/>
                  <a:pt x="2968" y="1122"/>
                </a:cubicBezTo>
                <a:cubicBezTo>
                  <a:pt x="2969" y="1122"/>
                  <a:pt x="2969" y="1122"/>
                  <a:pt x="2969" y="1122"/>
                </a:cubicBezTo>
                <a:cubicBezTo>
                  <a:pt x="2969" y="1122"/>
                  <a:pt x="2969" y="1122"/>
                  <a:pt x="2969" y="1122"/>
                </a:cubicBezTo>
                <a:lnTo>
                  <a:pt x="2967" y="1121"/>
                </a:lnTo>
                <a:close/>
                <a:moveTo>
                  <a:pt x="2952" y="1143"/>
                </a:moveTo>
                <a:cubicBezTo>
                  <a:pt x="2953" y="1144"/>
                  <a:pt x="2953" y="1144"/>
                  <a:pt x="2953" y="1144"/>
                </a:cubicBezTo>
                <a:cubicBezTo>
                  <a:pt x="2954" y="1143"/>
                  <a:pt x="2954" y="1143"/>
                  <a:pt x="2954" y="1143"/>
                </a:cubicBezTo>
                <a:lnTo>
                  <a:pt x="2952" y="1143"/>
                </a:lnTo>
                <a:close/>
                <a:moveTo>
                  <a:pt x="2886" y="1160"/>
                </a:moveTo>
                <a:cubicBezTo>
                  <a:pt x="2885" y="1161"/>
                  <a:pt x="2885" y="1161"/>
                  <a:pt x="2885" y="1161"/>
                </a:cubicBezTo>
                <a:cubicBezTo>
                  <a:pt x="2886" y="1161"/>
                  <a:pt x="2886" y="1161"/>
                  <a:pt x="2886" y="1161"/>
                </a:cubicBezTo>
                <a:lnTo>
                  <a:pt x="2886" y="1160"/>
                </a:lnTo>
                <a:close/>
                <a:moveTo>
                  <a:pt x="2919" y="1118"/>
                </a:moveTo>
                <a:cubicBezTo>
                  <a:pt x="2920" y="1118"/>
                  <a:pt x="2920" y="1118"/>
                  <a:pt x="2920" y="1118"/>
                </a:cubicBezTo>
                <a:cubicBezTo>
                  <a:pt x="2920" y="1116"/>
                  <a:pt x="2920" y="1116"/>
                  <a:pt x="2920" y="1116"/>
                </a:cubicBezTo>
                <a:cubicBezTo>
                  <a:pt x="2921" y="1115"/>
                  <a:pt x="2921" y="1115"/>
                  <a:pt x="2921" y="1115"/>
                </a:cubicBezTo>
                <a:cubicBezTo>
                  <a:pt x="2919" y="1114"/>
                  <a:pt x="2919" y="1114"/>
                  <a:pt x="2919" y="1114"/>
                </a:cubicBezTo>
                <a:cubicBezTo>
                  <a:pt x="2918" y="1114"/>
                  <a:pt x="2918" y="1114"/>
                  <a:pt x="2918" y="1114"/>
                </a:cubicBezTo>
                <a:cubicBezTo>
                  <a:pt x="2915" y="1113"/>
                  <a:pt x="2915" y="1113"/>
                  <a:pt x="2915" y="1113"/>
                </a:cubicBezTo>
                <a:cubicBezTo>
                  <a:pt x="2913" y="1115"/>
                  <a:pt x="2913" y="1115"/>
                  <a:pt x="2913" y="1115"/>
                </a:cubicBezTo>
                <a:cubicBezTo>
                  <a:pt x="2912" y="1117"/>
                  <a:pt x="2912" y="1117"/>
                  <a:pt x="2912" y="1117"/>
                </a:cubicBezTo>
                <a:cubicBezTo>
                  <a:pt x="2911" y="1119"/>
                  <a:pt x="2911" y="1119"/>
                  <a:pt x="2911" y="1119"/>
                </a:cubicBezTo>
                <a:cubicBezTo>
                  <a:pt x="2906" y="1124"/>
                  <a:pt x="2906" y="1124"/>
                  <a:pt x="2906" y="1124"/>
                </a:cubicBezTo>
                <a:cubicBezTo>
                  <a:pt x="2906" y="1124"/>
                  <a:pt x="2910" y="1123"/>
                  <a:pt x="2910" y="1123"/>
                </a:cubicBezTo>
                <a:cubicBezTo>
                  <a:pt x="2911" y="1123"/>
                  <a:pt x="2911" y="1123"/>
                  <a:pt x="2911" y="1123"/>
                </a:cubicBezTo>
                <a:cubicBezTo>
                  <a:pt x="2914" y="1123"/>
                  <a:pt x="2914" y="1123"/>
                  <a:pt x="2914" y="1123"/>
                </a:cubicBezTo>
                <a:cubicBezTo>
                  <a:pt x="2915" y="1123"/>
                  <a:pt x="2915" y="1123"/>
                  <a:pt x="2915" y="1123"/>
                </a:cubicBezTo>
                <a:cubicBezTo>
                  <a:pt x="2917" y="1121"/>
                  <a:pt x="2917" y="1121"/>
                  <a:pt x="2917" y="1121"/>
                </a:cubicBezTo>
                <a:cubicBezTo>
                  <a:pt x="2919" y="1120"/>
                  <a:pt x="2919" y="1120"/>
                  <a:pt x="2919" y="1120"/>
                </a:cubicBezTo>
                <a:cubicBezTo>
                  <a:pt x="2919" y="1119"/>
                  <a:pt x="2919" y="1119"/>
                  <a:pt x="2919" y="1119"/>
                </a:cubicBezTo>
                <a:lnTo>
                  <a:pt x="2919" y="1118"/>
                </a:lnTo>
                <a:close/>
                <a:moveTo>
                  <a:pt x="2890" y="1159"/>
                </a:moveTo>
                <a:cubicBezTo>
                  <a:pt x="2889" y="1159"/>
                  <a:pt x="2889" y="1159"/>
                  <a:pt x="2889" y="1159"/>
                </a:cubicBezTo>
                <a:cubicBezTo>
                  <a:pt x="2889" y="1160"/>
                  <a:pt x="2889" y="1160"/>
                  <a:pt x="2889" y="1160"/>
                </a:cubicBezTo>
                <a:lnTo>
                  <a:pt x="2890" y="1159"/>
                </a:lnTo>
                <a:close/>
                <a:moveTo>
                  <a:pt x="2882" y="1163"/>
                </a:moveTo>
                <a:cubicBezTo>
                  <a:pt x="2883" y="1164"/>
                  <a:pt x="2883" y="1164"/>
                  <a:pt x="2883" y="1164"/>
                </a:cubicBezTo>
                <a:cubicBezTo>
                  <a:pt x="2884" y="1163"/>
                  <a:pt x="2884" y="1163"/>
                  <a:pt x="2884" y="1163"/>
                </a:cubicBezTo>
                <a:cubicBezTo>
                  <a:pt x="2885" y="1162"/>
                  <a:pt x="2885" y="1162"/>
                  <a:pt x="2885" y="1162"/>
                </a:cubicBezTo>
                <a:cubicBezTo>
                  <a:pt x="2886" y="1161"/>
                  <a:pt x="2886" y="1161"/>
                  <a:pt x="2886" y="1161"/>
                </a:cubicBezTo>
                <a:cubicBezTo>
                  <a:pt x="2884" y="1161"/>
                  <a:pt x="2884" y="1161"/>
                  <a:pt x="2884" y="1161"/>
                </a:cubicBezTo>
                <a:lnTo>
                  <a:pt x="2882" y="1163"/>
                </a:lnTo>
                <a:close/>
                <a:moveTo>
                  <a:pt x="2917" y="1122"/>
                </a:moveTo>
                <a:cubicBezTo>
                  <a:pt x="2916" y="1123"/>
                  <a:pt x="2916" y="1123"/>
                  <a:pt x="2916" y="1123"/>
                </a:cubicBezTo>
                <a:cubicBezTo>
                  <a:pt x="2917" y="1123"/>
                  <a:pt x="2917" y="1123"/>
                  <a:pt x="2917" y="1123"/>
                </a:cubicBezTo>
                <a:cubicBezTo>
                  <a:pt x="2919" y="1124"/>
                  <a:pt x="2919" y="1124"/>
                  <a:pt x="2919" y="1124"/>
                </a:cubicBezTo>
                <a:cubicBezTo>
                  <a:pt x="2920" y="1123"/>
                  <a:pt x="2920" y="1123"/>
                  <a:pt x="2920" y="1123"/>
                </a:cubicBezTo>
                <a:cubicBezTo>
                  <a:pt x="2919" y="1121"/>
                  <a:pt x="2919" y="1121"/>
                  <a:pt x="2919" y="1121"/>
                </a:cubicBezTo>
                <a:cubicBezTo>
                  <a:pt x="2918" y="1121"/>
                  <a:pt x="2918" y="1121"/>
                  <a:pt x="2918" y="1121"/>
                </a:cubicBezTo>
                <a:lnTo>
                  <a:pt x="2917" y="1122"/>
                </a:lnTo>
                <a:close/>
                <a:moveTo>
                  <a:pt x="2893" y="1156"/>
                </a:moveTo>
                <a:cubicBezTo>
                  <a:pt x="2894" y="1157"/>
                  <a:pt x="2894" y="1157"/>
                  <a:pt x="2894" y="1157"/>
                </a:cubicBezTo>
                <a:cubicBezTo>
                  <a:pt x="2894" y="1156"/>
                  <a:pt x="2894" y="1156"/>
                  <a:pt x="2894" y="1156"/>
                </a:cubicBezTo>
                <a:cubicBezTo>
                  <a:pt x="2896" y="1154"/>
                  <a:pt x="2896" y="1154"/>
                  <a:pt x="2896" y="1154"/>
                </a:cubicBezTo>
                <a:cubicBezTo>
                  <a:pt x="2895" y="1153"/>
                  <a:pt x="2895" y="1153"/>
                  <a:pt x="2895" y="1153"/>
                </a:cubicBezTo>
                <a:cubicBezTo>
                  <a:pt x="2893" y="1155"/>
                  <a:pt x="2893" y="1155"/>
                  <a:pt x="2893" y="1155"/>
                </a:cubicBezTo>
                <a:lnTo>
                  <a:pt x="2893" y="1156"/>
                </a:lnTo>
                <a:close/>
                <a:moveTo>
                  <a:pt x="2892" y="1159"/>
                </a:moveTo>
                <a:cubicBezTo>
                  <a:pt x="2891" y="1158"/>
                  <a:pt x="2891" y="1158"/>
                  <a:pt x="2891" y="1158"/>
                </a:cubicBezTo>
                <a:cubicBezTo>
                  <a:pt x="2890" y="1158"/>
                  <a:pt x="2890" y="1158"/>
                  <a:pt x="2890" y="1158"/>
                </a:cubicBezTo>
                <a:lnTo>
                  <a:pt x="2892" y="1159"/>
                </a:lnTo>
                <a:close/>
                <a:moveTo>
                  <a:pt x="2919" y="1222"/>
                </a:moveTo>
                <a:cubicBezTo>
                  <a:pt x="2920" y="1221"/>
                  <a:pt x="2920" y="1221"/>
                  <a:pt x="2920" y="1221"/>
                </a:cubicBezTo>
                <a:cubicBezTo>
                  <a:pt x="2920" y="1220"/>
                  <a:pt x="2920" y="1220"/>
                  <a:pt x="2920" y="1220"/>
                </a:cubicBezTo>
                <a:cubicBezTo>
                  <a:pt x="2918" y="1221"/>
                  <a:pt x="2918" y="1221"/>
                  <a:pt x="2918" y="1221"/>
                </a:cubicBezTo>
                <a:lnTo>
                  <a:pt x="2919" y="1222"/>
                </a:lnTo>
                <a:close/>
                <a:moveTo>
                  <a:pt x="3040" y="1135"/>
                </a:moveTo>
                <a:cubicBezTo>
                  <a:pt x="3040" y="1135"/>
                  <a:pt x="3040" y="1135"/>
                  <a:pt x="3040" y="1135"/>
                </a:cubicBezTo>
                <a:cubicBezTo>
                  <a:pt x="3038" y="1135"/>
                  <a:pt x="3038" y="1135"/>
                  <a:pt x="3038" y="1135"/>
                </a:cubicBezTo>
                <a:cubicBezTo>
                  <a:pt x="3038" y="1135"/>
                  <a:pt x="3038" y="1135"/>
                  <a:pt x="3038" y="1135"/>
                </a:cubicBezTo>
                <a:cubicBezTo>
                  <a:pt x="3038" y="1137"/>
                  <a:pt x="3038" y="1137"/>
                  <a:pt x="3038" y="1137"/>
                </a:cubicBezTo>
                <a:cubicBezTo>
                  <a:pt x="3039" y="1138"/>
                  <a:pt x="3039" y="1138"/>
                  <a:pt x="3039" y="1138"/>
                </a:cubicBezTo>
                <a:cubicBezTo>
                  <a:pt x="3041" y="1138"/>
                  <a:pt x="3041" y="1138"/>
                  <a:pt x="3041" y="1138"/>
                </a:cubicBezTo>
                <a:cubicBezTo>
                  <a:pt x="3041" y="1138"/>
                  <a:pt x="3041" y="1138"/>
                  <a:pt x="3041" y="1138"/>
                </a:cubicBezTo>
                <a:cubicBezTo>
                  <a:pt x="3042" y="1137"/>
                  <a:pt x="3042" y="1137"/>
                  <a:pt x="3042" y="1137"/>
                </a:cubicBezTo>
                <a:cubicBezTo>
                  <a:pt x="3041" y="1137"/>
                  <a:pt x="3041" y="1137"/>
                  <a:pt x="3041" y="1137"/>
                </a:cubicBezTo>
                <a:cubicBezTo>
                  <a:pt x="3040" y="1137"/>
                  <a:pt x="3040" y="1137"/>
                  <a:pt x="3040" y="1137"/>
                </a:cubicBezTo>
                <a:cubicBezTo>
                  <a:pt x="3041" y="1136"/>
                  <a:pt x="3041" y="1136"/>
                  <a:pt x="3041" y="1136"/>
                </a:cubicBezTo>
                <a:lnTo>
                  <a:pt x="3040" y="1135"/>
                </a:lnTo>
                <a:close/>
                <a:moveTo>
                  <a:pt x="3045" y="1128"/>
                </a:moveTo>
                <a:cubicBezTo>
                  <a:pt x="3045" y="1126"/>
                  <a:pt x="3045" y="1126"/>
                  <a:pt x="3045" y="1126"/>
                </a:cubicBezTo>
                <a:cubicBezTo>
                  <a:pt x="3045" y="1124"/>
                  <a:pt x="3045" y="1124"/>
                  <a:pt x="3045" y="1124"/>
                </a:cubicBezTo>
                <a:cubicBezTo>
                  <a:pt x="3044" y="1124"/>
                  <a:pt x="3044" y="1124"/>
                  <a:pt x="3044" y="1124"/>
                </a:cubicBezTo>
                <a:cubicBezTo>
                  <a:pt x="3044" y="1125"/>
                  <a:pt x="3044" y="1125"/>
                  <a:pt x="3044" y="1125"/>
                </a:cubicBezTo>
                <a:cubicBezTo>
                  <a:pt x="3044" y="1126"/>
                  <a:pt x="3044" y="1126"/>
                  <a:pt x="3044" y="1126"/>
                </a:cubicBezTo>
                <a:cubicBezTo>
                  <a:pt x="3045" y="1126"/>
                  <a:pt x="3045" y="1126"/>
                  <a:pt x="3045" y="1126"/>
                </a:cubicBezTo>
                <a:cubicBezTo>
                  <a:pt x="3045" y="1127"/>
                  <a:pt x="3045" y="1127"/>
                  <a:pt x="3045" y="1127"/>
                </a:cubicBezTo>
                <a:cubicBezTo>
                  <a:pt x="3045" y="1128"/>
                  <a:pt x="3045" y="1128"/>
                  <a:pt x="3045" y="1128"/>
                </a:cubicBezTo>
                <a:close/>
                <a:moveTo>
                  <a:pt x="3028" y="1298"/>
                </a:moveTo>
                <a:cubicBezTo>
                  <a:pt x="3027" y="1297"/>
                  <a:pt x="3027" y="1297"/>
                  <a:pt x="3027" y="1297"/>
                </a:cubicBezTo>
                <a:cubicBezTo>
                  <a:pt x="3027" y="1298"/>
                  <a:pt x="3027" y="1298"/>
                  <a:pt x="3027" y="1298"/>
                </a:cubicBezTo>
                <a:cubicBezTo>
                  <a:pt x="3028" y="1301"/>
                  <a:pt x="3028" y="1301"/>
                  <a:pt x="3028" y="1301"/>
                </a:cubicBezTo>
                <a:cubicBezTo>
                  <a:pt x="3029" y="1302"/>
                  <a:pt x="3029" y="1302"/>
                  <a:pt x="3029" y="1302"/>
                </a:cubicBezTo>
                <a:cubicBezTo>
                  <a:pt x="3030" y="1301"/>
                  <a:pt x="3030" y="1301"/>
                  <a:pt x="3030" y="1301"/>
                </a:cubicBezTo>
                <a:cubicBezTo>
                  <a:pt x="3029" y="1300"/>
                  <a:pt x="3029" y="1300"/>
                  <a:pt x="3029" y="1300"/>
                </a:cubicBezTo>
                <a:cubicBezTo>
                  <a:pt x="3029" y="1298"/>
                  <a:pt x="3029" y="1298"/>
                  <a:pt x="3029" y="1298"/>
                </a:cubicBezTo>
                <a:lnTo>
                  <a:pt x="3028" y="1298"/>
                </a:lnTo>
                <a:close/>
                <a:moveTo>
                  <a:pt x="3043" y="1140"/>
                </a:moveTo>
                <a:cubicBezTo>
                  <a:pt x="3042" y="1140"/>
                  <a:pt x="3042" y="1140"/>
                  <a:pt x="3042" y="1140"/>
                </a:cubicBezTo>
                <a:cubicBezTo>
                  <a:pt x="3042" y="1140"/>
                  <a:pt x="3042" y="1140"/>
                  <a:pt x="3042" y="1140"/>
                </a:cubicBezTo>
                <a:cubicBezTo>
                  <a:pt x="3041" y="1139"/>
                  <a:pt x="3041" y="1139"/>
                  <a:pt x="3041" y="1139"/>
                </a:cubicBezTo>
                <a:cubicBezTo>
                  <a:pt x="3040" y="1139"/>
                  <a:pt x="3040" y="1139"/>
                  <a:pt x="3040" y="1139"/>
                </a:cubicBezTo>
                <a:cubicBezTo>
                  <a:pt x="3040" y="1139"/>
                  <a:pt x="3040" y="1139"/>
                  <a:pt x="3040" y="1139"/>
                </a:cubicBezTo>
                <a:cubicBezTo>
                  <a:pt x="3041" y="1139"/>
                  <a:pt x="3041" y="1139"/>
                  <a:pt x="3041" y="1139"/>
                </a:cubicBezTo>
                <a:cubicBezTo>
                  <a:pt x="3042" y="1141"/>
                  <a:pt x="3042" y="1141"/>
                  <a:pt x="3042" y="1141"/>
                </a:cubicBezTo>
                <a:cubicBezTo>
                  <a:pt x="3042" y="1141"/>
                  <a:pt x="3042" y="1141"/>
                  <a:pt x="3042" y="1141"/>
                </a:cubicBezTo>
                <a:cubicBezTo>
                  <a:pt x="3042" y="1143"/>
                  <a:pt x="3042" y="1143"/>
                  <a:pt x="3042" y="1143"/>
                </a:cubicBezTo>
                <a:cubicBezTo>
                  <a:pt x="3043" y="1143"/>
                  <a:pt x="3043" y="1143"/>
                  <a:pt x="3043" y="1143"/>
                </a:cubicBezTo>
                <a:cubicBezTo>
                  <a:pt x="3044" y="1143"/>
                  <a:pt x="3044" y="1143"/>
                  <a:pt x="3044" y="1143"/>
                </a:cubicBezTo>
                <a:cubicBezTo>
                  <a:pt x="3045" y="1142"/>
                  <a:pt x="3045" y="1142"/>
                  <a:pt x="3045" y="1142"/>
                </a:cubicBezTo>
                <a:cubicBezTo>
                  <a:pt x="3046" y="1141"/>
                  <a:pt x="3046" y="1141"/>
                  <a:pt x="3046" y="1141"/>
                </a:cubicBezTo>
                <a:cubicBezTo>
                  <a:pt x="3045" y="1140"/>
                  <a:pt x="3045" y="1140"/>
                  <a:pt x="3045" y="1140"/>
                </a:cubicBezTo>
                <a:cubicBezTo>
                  <a:pt x="3044" y="1140"/>
                  <a:pt x="3044" y="1140"/>
                  <a:pt x="3044" y="1140"/>
                </a:cubicBezTo>
                <a:cubicBezTo>
                  <a:pt x="3043" y="1141"/>
                  <a:pt x="3043" y="1141"/>
                  <a:pt x="3043" y="1141"/>
                </a:cubicBezTo>
                <a:lnTo>
                  <a:pt x="3043" y="1140"/>
                </a:lnTo>
                <a:close/>
                <a:moveTo>
                  <a:pt x="3004" y="1092"/>
                </a:moveTo>
                <a:cubicBezTo>
                  <a:pt x="3005" y="1093"/>
                  <a:pt x="3005" y="1093"/>
                  <a:pt x="3005" y="1093"/>
                </a:cubicBezTo>
                <a:cubicBezTo>
                  <a:pt x="3006" y="1093"/>
                  <a:pt x="3006" y="1093"/>
                  <a:pt x="3006" y="1093"/>
                </a:cubicBezTo>
                <a:cubicBezTo>
                  <a:pt x="3006" y="1091"/>
                  <a:pt x="3006" y="1091"/>
                  <a:pt x="3006" y="1091"/>
                </a:cubicBezTo>
                <a:cubicBezTo>
                  <a:pt x="3005" y="1090"/>
                  <a:pt x="3005" y="1090"/>
                  <a:pt x="3005" y="1090"/>
                </a:cubicBezTo>
                <a:lnTo>
                  <a:pt x="3004" y="1092"/>
                </a:lnTo>
                <a:close/>
                <a:moveTo>
                  <a:pt x="3036" y="1136"/>
                </a:moveTo>
                <a:cubicBezTo>
                  <a:pt x="3037" y="1137"/>
                  <a:pt x="3037" y="1137"/>
                  <a:pt x="3037" y="1137"/>
                </a:cubicBezTo>
                <a:cubicBezTo>
                  <a:pt x="3037" y="1135"/>
                  <a:pt x="3037" y="1135"/>
                  <a:pt x="3037" y="1135"/>
                </a:cubicBezTo>
                <a:cubicBezTo>
                  <a:pt x="3036" y="1134"/>
                  <a:pt x="3036" y="1134"/>
                  <a:pt x="3036" y="1134"/>
                </a:cubicBezTo>
                <a:cubicBezTo>
                  <a:pt x="3035" y="1133"/>
                  <a:pt x="3035" y="1133"/>
                  <a:pt x="3035" y="1133"/>
                </a:cubicBezTo>
                <a:cubicBezTo>
                  <a:pt x="3034" y="1134"/>
                  <a:pt x="3034" y="1134"/>
                  <a:pt x="3034" y="1134"/>
                </a:cubicBezTo>
                <a:cubicBezTo>
                  <a:pt x="3034" y="1135"/>
                  <a:pt x="3034" y="1135"/>
                  <a:pt x="3034" y="1135"/>
                </a:cubicBezTo>
                <a:cubicBezTo>
                  <a:pt x="3035" y="1135"/>
                  <a:pt x="3035" y="1135"/>
                  <a:pt x="3035" y="1135"/>
                </a:cubicBezTo>
                <a:lnTo>
                  <a:pt x="3036" y="1136"/>
                </a:lnTo>
                <a:close/>
                <a:moveTo>
                  <a:pt x="3013" y="1097"/>
                </a:moveTo>
                <a:cubicBezTo>
                  <a:pt x="3014" y="1096"/>
                  <a:pt x="3014" y="1096"/>
                  <a:pt x="3014" y="1096"/>
                </a:cubicBezTo>
                <a:cubicBezTo>
                  <a:pt x="3013" y="1094"/>
                  <a:pt x="3013" y="1094"/>
                  <a:pt x="3013" y="1094"/>
                </a:cubicBezTo>
                <a:cubicBezTo>
                  <a:pt x="3012" y="1093"/>
                  <a:pt x="3012" y="1093"/>
                  <a:pt x="3012" y="1093"/>
                </a:cubicBezTo>
                <a:cubicBezTo>
                  <a:pt x="3011" y="1094"/>
                  <a:pt x="3011" y="1094"/>
                  <a:pt x="3011" y="1094"/>
                </a:cubicBezTo>
                <a:cubicBezTo>
                  <a:pt x="3012" y="1096"/>
                  <a:pt x="3012" y="1096"/>
                  <a:pt x="3012" y="1096"/>
                </a:cubicBezTo>
                <a:lnTo>
                  <a:pt x="3013" y="1097"/>
                </a:lnTo>
                <a:close/>
                <a:moveTo>
                  <a:pt x="2986" y="1240"/>
                </a:moveTo>
                <a:cubicBezTo>
                  <a:pt x="2987" y="1238"/>
                  <a:pt x="2987" y="1238"/>
                  <a:pt x="2987" y="1238"/>
                </a:cubicBezTo>
                <a:cubicBezTo>
                  <a:pt x="2987" y="1235"/>
                  <a:pt x="2987" y="1235"/>
                  <a:pt x="2987" y="1235"/>
                </a:cubicBezTo>
                <a:cubicBezTo>
                  <a:pt x="2986" y="1235"/>
                  <a:pt x="2986" y="1235"/>
                  <a:pt x="2986" y="1235"/>
                </a:cubicBezTo>
                <a:cubicBezTo>
                  <a:pt x="2985" y="1236"/>
                  <a:pt x="2985" y="1236"/>
                  <a:pt x="2985" y="1236"/>
                </a:cubicBezTo>
                <a:cubicBezTo>
                  <a:pt x="2986" y="1237"/>
                  <a:pt x="2986" y="1237"/>
                  <a:pt x="2986" y="1237"/>
                </a:cubicBezTo>
                <a:cubicBezTo>
                  <a:pt x="2985" y="1239"/>
                  <a:pt x="2985" y="1239"/>
                  <a:pt x="2985" y="1239"/>
                </a:cubicBezTo>
                <a:lnTo>
                  <a:pt x="2986" y="1240"/>
                </a:lnTo>
                <a:close/>
                <a:moveTo>
                  <a:pt x="3024" y="1284"/>
                </a:moveTo>
                <a:cubicBezTo>
                  <a:pt x="3024" y="1283"/>
                  <a:pt x="3024" y="1283"/>
                  <a:pt x="3024" y="1283"/>
                </a:cubicBezTo>
                <a:cubicBezTo>
                  <a:pt x="3023" y="1283"/>
                  <a:pt x="3023" y="1283"/>
                  <a:pt x="3023" y="1283"/>
                </a:cubicBezTo>
                <a:lnTo>
                  <a:pt x="3024" y="1284"/>
                </a:lnTo>
                <a:close/>
                <a:moveTo>
                  <a:pt x="2977" y="1115"/>
                </a:moveTo>
                <a:cubicBezTo>
                  <a:pt x="2977" y="1116"/>
                  <a:pt x="2977" y="1116"/>
                  <a:pt x="2977" y="1116"/>
                </a:cubicBezTo>
                <a:cubicBezTo>
                  <a:pt x="2978" y="1117"/>
                  <a:pt x="2978" y="1117"/>
                  <a:pt x="2978" y="1117"/>
                </a:cubicBezTo>
                <a:cubicBezTo>
                  <a:pt x="2978" y="1116"/>
                  <a:pt x="2978" y="1116"/>
                  <a:pt x="2978" y="1116"/>
                </a:cubicBezTo>
                <a:cubicBezTo>
                  <a:pt x="2979" y="1115"/>
                  <a:pt x="2979" y="1115"/>
                  <a:pt x="2979" y="1115"/>
                </a:cubicBezTo>
                <a:lnTo>
                  <a:pt x="2977" y="1115"/>
                </a:lnTo>
                <a:close/>
                <a:moveTo>
                  <a:pt x="2971" y="1117"/>
                </a:moveTo>
                <a:cubicBezTo>
                  <a:pt x="2972" y="1119"/>
                  <a:pt x="2972" y="1119"/>
                  <a:pt x="2972" y="1119"/>
                </a:cubicBezTo>
                <a:cubicBezTo>
                  <a:pt x="2973" y="1119"/>
                  <a:pt x="2973" y="1119"/>
                  <a:pt x="2973" y="1119"/>
                </a:cubicBezTo>
                <a:cubicBezTo>
                  <a:pt x="2972" y="1118"/>
                  <a:pt x="2972" y="1118"/>
                  <a:pt x="2972" y="1118"/>
                </a:cubicBezTo>
                <a:lnTo>
                  <a:pt x="2971" y="1117"/>
                </a:lnTo>
                <a:close/>
                <a:moveTo>
                  <a:pt x="2976" y="1116"/>
                </a:moveTo>
                <a:cubicBezTo>
                  <a:pt x="2976" y="1118"/>
                  <a:pt x="2976" y="1118"/>
                  <a:pt x="2976" y="1118"/>
                </a:cubicBezTo>
                <a:cubicBezTo>
                  <a:pt x="2977" y="1118"/>
                  <a:pt x="2977" y="1118"/>
                  <a:pt x="2977" y="1118"/>
                </a:cubicBezTo>
                <a:cubicBezTo>
                  <a:pt x="2977" y="1117"/>
                  <a:pt x="2977" y="1117"/>
                  <a:pt x="2977" y="1117"/>
                </a:cubicBezTo>
                <a:lnTo>
                  <a:pt x="2976" y="1116"/>
                </a:lnTo>
                <a:close/>
                <a:moveTo>
                  <a:pt x="2736" y="838"/>
                </a:moveTo>
                <a:cubicBezTo>
                  <a:pt x="2734" y="838"/>
                  <a:pt x="2734" y="838"/>
                  <a:pt x="2734" y="838"/>
                </a:cubicBezTo>
                <a:cubicBezTo>
                  <a:pt x="2733" y="836"/>
                  <a:pt x="2733" y="836"/>
                  <a:pt x="2733" y="836"/>
                </a:cubicBezTo>
                <a:cubicBezTo>
                  <a:pt x="2729" y="835"/>
                  <a:pt x="2729" y="835"/>
                  <a:pt x="2729" y="835"/>
                </a:cubicBezTo>
                <a:cubicBezTo>
                  <a:pt x="2726" y="836"/>
                  <a:pt x="2726" y="836"/>
                  <a:pt x="2726" y="836"/>
                </a:cubicBezTo>
                <a:cubicBezTo>
                  <a:pt x="2726" y="838"/>
                  <a:pt x="2726" y="838"/>
                  <a:pt x="2726" y="838"/>
                </a:cubicBezTo>
                <a:cubicBezTo>
                  <a:pt x="2724" y="842"/>
                  <a:pt x="2724" y="842"/>
                  <a:pt x="2724" y="842"/>
                </a:cubicBezTo>
                <a:cubicBezTo>
                  <a:pt x="2724" y="845"/>
                  <a:pt x="2724" y="845"/>
                  <a:pt x="2724" y="845"/>
                </a:cubicBezTo>
                <a:cubicBezTo>
                  <a:pt x="2724" y="849"/>
                  <a:pt x="2724" y="849"/>
                  <a:pt x="2724" y="849"/>
                </a:cubicBezTo>
                <a:cubicBezTo>
                  <a:pt x="2723" y="854"/>
                  <a:pt x="2723" y="854"/>
                  <a:pt x="2723" y="854"/>
                </a:cubicBezTo>
                <a:cubicBezTo>
                  <a:pt x="2722" y="856"/>
                  <a:pt x="2722" y="856"/>
                  <a:pt x="2722" y="856"/>
                </a:cubicBezTo>
                <a:cubicBezTo>
                  <a:pt x="2724" y="860"/>
                  <a:pt x="2724" y="860"/>
                  <a:pt x="2724" y="860"/>
                </a:cubicBezTo>
                <a:cubicBezTo>
                  <a:pt x="2724" y="861"/>
                  <a:pt x="2724" y="861"/>
                  <a:pt x="2724" y="861"/>
                </a:cubicBezTo>
                <a:cubicBezTo>
                  <a:pt x="2722" y="862"/>
                  <a:pt x="2722" y="862"/>
                  <a:pt x="2722" y="862"/>
                </a:cubicBezTo>
                <a:cubicBezTo>
                  <a:pt x="2720" y="862"/>
                  <a:pt x="2720" y="862"/>
                  <a:pt x="2720" y="862"/>
                </a:cubicBezTo>
                <a:cubicBezTo>
                  <a:pt x="2719" y="860"/>
                  <a:pt x="2719" y="860"/>
                  <a:pt x="2719" y="860"/>
                </a:cubicBezTo>
                <a:cubicBezTo>
                  <a:pt x="2719" y="862"/>
                  <a:pt x="2719" y="862"/>
                  <a:pt x="2719" y="862"/>
                </a:cubicBezTo>
                <a:cubicBezTo>
                  <a:pt x="2719" y="864"/>
                  <a:pt x="2719" y="864"/>
                  <a:pt x="2719" y="864"/>
                </a:cubicBezTo>
                <a:cubicBezTo>
                  <a:pt x="2720" y="865"/>
                  <a:pt x="2720" y="865"/>
                  <a:pt x="2720" y="865"/>
                </a:cubicBezTo>
                <a:cubicBezTo>
                  <a:pt x="2721" y="865"/>
                  <a:pt x="2721" y="865"/>
                  <a:pt x="2721" y="865"/>
                </a:cubicBezTo>
                <a:cubicBezTo>
                  <a:pt x="2720" y="867"/>
                  <a:pt x="2720" y="867"/>
                  <a:pt x="2720" y="867"/>
                </a:cubicBezTo>
                <a:cubicBezTo>
                  <a:pt x="2721" y="870"/>
                  <a:pt x="2721" y="870"/>
                  <a:pt x="2721" y="870"/>
                </a:cubicBezTo>
                <a:cubicBezTo>
                  <a:pt x="2722" y="872"/>
                  <a:pt x="2722" y="872"/>
                  <a:pt x="2722" y="872"/>
                </a:cubicBezTo>
                <a:cubicBezTo>
                  <a:pt x="2722" y="876"/>
                  <a:pt x="2722" y="876"/>
                  <a:pt x="2722" y="876"/>
                </a:cubicBezTo>
                <a:cubicBezTo>
                  <a:pt x="2723" y="877"/>
                  <a:pt x="2723" y="877"/>
                  <a:pt x="2723" y="877"/>
                </a:cubicBezTo>
                <a:cubicBezTo>
                  <a:pt x="2724" y="876"/>
                  <a:pt x="2724" y="876"/>
                  <a:pt x="2724" y="876"/>
                </a:cubicBezTo>
                <a:cubicBezTo>
                  <a:pt x="2725" y="876"/>
                  <a:pt x="2725" y="876"/>
                  <a:pt x="2725" y="876"/>
                </a:cubicBezTo>
                <a:cubicBezTo>
                  <a:pt x="2725" y="878"/>
                  <a:pt x="2725" y="878"/>
                  <a:pt x="2725" y="878"/>
                </a:cubicBezTo>
                <a:cubicBezTo>
                  <a:pt x="2727" y="881"/>
                  <a:pt x="2727" y="881"/>
                  <a:pt x="2727" y="881"/>
                </a:cubicBezTo>
                <a:cubicBezTo>
                  <a:pt x="2728" y="881"/>
                  <a:pt x="2728" y="881"/>
                  <a:pt x="2728" y="881"/>
                </a:cubicBezTo>
                <a:cubicBezTo>
                  <a:pt x="2729" y="880"/>
                  <a:pt x="2729" y="880"/>
                  <a:pt x="2729" y="880"/>
                </a:cubicBezTo>
                <a:cubicBezTo>
                  <a:pt x="2728" y="878"/>
                  <a:pt x="2728" y="878"/>
                  <a:pt x="2728" y="878"/>
                </a:cubicBezTo>
                <a:cubicBezTo>
                  <a:pt x="2728" y="877"/>
                  <a:pt x="2728" y="877"/>
                  <a:pt x="2728" y="877"/>
                </a:cubicBezTo>
                <a:cubicBezTo>
                  <a:pt x="2731" y="877"/>
                  <a:pt x="2731" y="877"/>
                  <a:pt x="2731" y="877"/>
                </a:cubicBezTo>
                <a:cubicBezTo>
                  <a:pt x="2732" y="879"/>
                  <a:pt x="2732" y="879"/>
                  <a:pt x="2732" y="879"/>
                </a:cubicBezTo>
                <a:cubicBezTo>
                  <a:pt x="2730" y="881"/>
                  <a:pt x="2730" y="881"/>
                  <a:pt x="2730" y="881"/>
                </a:cubicBezTo>
                <a:cubicBezTo>
                  <a:pt x="2729" y="883"/>
                  <a:pt x="2729" y="883"/>
                  <a:pt x="2729" y="883"/>
                </a:cubicBezTo>
                <a:cubicBezTo>
                  <a:pt x="2729" y="884"/>
                  <a:pt x="2729" y="884"/>
                  <a:pt x="2729" y="884"/>
                </a:cubicBezTo>
                <a:cubicBezTo>
                  <a:pt x="2729" y="886"/>
                  <a:pt x="2729" y="886"/>
                  <a:pt x="2729" y="886"/>
                </a:cubicBezTo>
                <a:cubicBezTo>
                  <a:pt x="2730" y="889"/>
                  <a:pt x="2730" y="889"/>
                  <a:pt x="2730" y="889"/>
                </a:cubicBezTo>
                <a:cubicBezTo>
                  <a:pt x="2731" y="887"/>
                  <a:pt x="2731" y="887"/>
                  <a:pt x="2731" y="887"/>
                </a:cubicBezTo>
                <a:cubicBezTo>
                  <a:pt x="2732" y="886"/>
                  <a:pt x="2732" y="886"/>
                  <a:pt x="2732" y="886"/>
                </a:cubicBezTo>
                <a:cubicBezTo>
                  <a:pt x="2733" y="888"/>
                  <a:pt x="2733" y="888"/>
                  <a:pt x="2733" y="888"/>
                </a:cubicBezTo>
                <a:cubicBezTo>
                  <a:pt x="2732" y="890"/>
                  <a:pt x="2732" y="890"/>
                  <a:pt x="2732" y="890"/>
                </a:cubicBezTo>
                <a:cubicBezTo>
                  <a:pt x="2734" y="889"/>
                  <a:pt x="2734" y="889"/>
                  <a:pt x="2734" y="889"/>
                </a:cubicBezTo>
                <a:cubicBezTo>
                  <a:pt x="2735" y="888"/>
                  <a:pt x="2735" y="888"/>
                  <a:pt x="2735" y="888"/>
                </a:cubicBezTo>
                <a:cubicBezTo>
                  <a:pt x="2737" y="890"/>
                  <a:pt x="2737" y="890"/>
                  <a:pt x="2737" y="890"/>
                </a:cubicBezTo>
                <a:cubicBezTo>
                  <a:pt x="2739" y="889"/>
                  <a:pt x="2739" y="889"/>
                  <a:pt x="2739" y="889"/>
                </a:cubicBezTo>
                <a:cubicBezTo>
                  <a:pt x="2739" y="888"/>
                  <a:pt x="2739" y="888"/>
                  <a:pt x="2739" y="888"/>
                </a:cubicBezTo>
                <a:cubicBezTo>
                  <a:pt x="2740" y="886"/>
                  <a:pt x="2740" y="886"/>
                  <a:pt x="2740" y="886"/>
                </a:cubicBezTo>
                <a:cubicBezTo>
                  <a:pt x="2742" y="886"/>
                  <a:pt x="2742" y="886"/>
                  <a:pt x="2742" y="886"/>
                </a:cubicBezTo>
                <a:cubicBezTo>
                  <a:pt x="2746" y="888"/>
                  <a:pt x="2746" y="888"/>
                  <a:pt x="2746" y="888"/>
                </a:cubicBezTo>
                <a:cubicBezTo>
                  <a:pt x="2747" y="889"/>
                  <a:pt x="2747" y="889"/>
                  <a:pt x="2747" y="889"/>
                </a:cubicBezTo>
                <a:cubicBezTo>
                  <a:pt x="2749" y="891"/>
                  <a:pt x="2749" y="891"/>
                  <a:pt x="2749" y="891"/>
                </a:cubicBezTo>
                <a:cubicBezTo>
                  <a:pt x="2751" y="894"/>
                  <a:pt x="2751" y="894"/>
                  <a:pt x="2751" y="894"/>
                </a:cubicBezTo>
                <a:cubicBezTo>
                  <a:pt x="2752" y="894"/>
                  <a:pt x="2752" y="894"/>
                  <a:pt x="2752" y="894"/>
                </a:cubicBezTo>
                <a:cubicBezTo>
                  <a:pt x="2751" y="891"/>
                  <a:pt x="2751" y="891"/>
                  <a:pt x="2751" y="891"/>
                </a:cubicBezTo>
                <a:cubicBezTo>
                  <a:pt x="2749" y="887"/>
                  <a:pt x="2749" y="887"/>
                  <a:pt x="2749" y="887"/>
                </a:cubicBezTo>
                <a:cubicBezTo>
                  <a:pt x="2749" y="886"/>
                  <a:pt x="2749" y="886"/>
                  <a:pt x="2749" y="886"/>
                </a:cubicBezTo>
                <a:cubicBezTo>
                  <a:pt x="2750" y="886"/>
                  <a:pt x="2750" y="886"/>
                  <a:pt x="2750" y="886"/>
                </a:cubicBezTo>
                <a:cubicBezTo>
                  <a:pt x="2752" y="888"/>
                  <a:pt x="2752" y="888"/>
                  <a:pt x="2752" y="888"/>
                </a:cubicBezTo>
                <a:cubicBezTo>
                  <a:pt x="2753" y="888"/>
                  <a:pt x="2753" y="888"/>
                  <a:pt x="2753" y="888"/>
                </a:cubicBezTo>
                <a:cubicBezTo>
                  <a:pt x="2754" y="891"/>
                  <a:pt x="2754" y="891"/>
                  <a:pt x="2754" y="891"/>
                </a:cubicBezTo>
                <a:cubicBezTo>
                  <a:pt x="2757" y="892"/>
                  <a:pt x="2757" y="892"/>
                  <a:pt x="2757" y="892"/>
                </a:cubicBezTo>
                <a:cubicBezTo>
                  <a:pt x="2758" y="894"/>
                  <a:pt x="2758" y="894"/>
                  <a:pt x="2758" y="894"/>
                </a:cubicBezTo>
                <a:cubicBezTo>
                  <a:pt x="2758" y="896"/>
                  <a:pt x="2758" y="896"/>
                  <a:pt x="2758" y="896"/>
                </a:cubicBezTo>
                <a:cubicBezTo>
                  <a:pt x="2760" y="896"/>
                  <a:pt x="2760" y="896"/>
                  <a:pt x="2760" y="896"/>
                </a:cubicBezTo>
                <a:cubicBezTo>
                  <a:pt x="2762" y="899"/>
                  <a:pt x="2762" y="899"/>
                  <a:pt x="2762" y="899"/>
                </a:cubicBezTo>
                <a:cubicBezTo>
                  <a:pt x="2764" y="898"/>
                  <a:pt x="2764" y="898"/>
                  <a:pt x="2764" y="898"/>
                </a:cubicBezTo>
                <a:cubicBezTo>
                  <a:pt x="2763" y="898"/>
                  <a:pt x="2763" y="898"/>
                  <a:pt x="2763" y="898"/>
                </a:cubicBezTo>
                <a:cubicBezTo>
                  <a:pt x="2765" y="898"/>
                  <a:pt x="2765" y="898"/>
                  <a:pt x="2765" y="898"/>
                </a:cubicBezTo>
                <a:cubicBezTo>
                  <a:pt x="2765" y="899"/>
                  <a:pt x="2765" y="899"/>
                  <a:pt x="2765" y="899"/>
                </a:cubicBezTo>
                <a:cubicBezTo>
                  <a:pt x="2763" y="900"/>
                  <a:pt x="2763" y="900"/>
                  <a:pt x="2763" y="900"/>
                </a:cubicBezTo>
                <a:cubicBezTo>
                  <a:pt x="2765" y="902"/>
                  <a:pt x="2765" y="902"/>
                  <a:pt x="2765" y="902"/>
                </a:cubicBezTo>
                <a:cubicBezTo>
                  <a:pt x="2767" y="903"/>
                  <a:pt x="2767" y="903"/>
                  <a:pt x="2767" y="903"/>
                </a:cubicBezTo>
                <a:cubicBezTo>
                  <a:pt x="2768" y="900"/>
                  <a:pt x="2768" y="900"/>
                  <a:pt x="2768" y="900"/>
                </a:cubicBezTo>
                <a:cubicBezTo>
                  <a:pt x="2767" y="898"/>
                  <a:pt x="2767" y="898"/>
                  <a:pt x="2767" y="898"/>
                </a:cubicBezTo>
                <a:cubicBezTo>
                  <a:pt x="2768" y="898"/>
                  <a:pt x="2768" y="898"/>
                  <a:pt x="2768" y="898"/>
                </a:cubicBezTo>
                <a:cubicBezTo>
                  <a:pt x="2767" y="896"/>
                  <a:pt x="2767" y="896"/>
                  <a:pt x="2767" y="896"/>
                </a:cubicBezTo>
                <a:cubicBezTo>
                  <a:pt x="2766" y="897"/>
                  <a:pt x="2766" y="897"/>
                  <a:pt x="2766" y="897"/>
                </a:cubicBezTo>
                <a:cubicBezTo>
                  <a:pt x="2764" y="896"/>
                  <a:pt x="2764" y="896"/>
                  <a:pt x="2764" y="896"/>
                </a:cubicBezTo>
                <a:cubicBezTo>
                  <a:pt x="2762" y="896"/>
                  <a:pt x="2762" y="896"/>
                  <a:pt x="2762" y="896"/>
                </a:cubicBezTo>
                <a:cubicBezTo>
                  <a:pt x="2762" y="894"/>
                  <a:pt x="2762" y="894"/>
                  <a:pt x="2762" y="894"/>
                </a:cubicBezTo>
                <a:cubicBezTo>
                  <a:pt x="2761" y="891"/>
                  <a:pt x="2761" y="891"/>
                  <a:pt x="2761" y="891"/>
                </a:cubicBezTo>
                <a:cubicBezTo>
                  <a:pt x="2761" y="889"/>
                  <a:pt x="2761" y="889"/>
                  <a:pt x="2761" y="889"/>
                </a:cubicBezTo>
                <a:cubicBezTo>
                  <a:pt x="2762" y="888"/>
                  <a:pt x="2762" y="888"/>
                  <a:pt x="2762" y="888"/>
                </a:cubicBezTo>
                <a:cubicBezTo>
                  <a:pt x="2763" y="889"/>
                  <a:pt x="2763" y="889"/>
                  <a:pt x="2763" y="889"/>
                </a:cubicBezTo>
                <a:cubicBezTo>
                  <a:pt x="2764" y="889"/>
                  <a:pt x="2764" y="889"/>
                  <a:pt x="2764" y="889"/>
                </a:cubicBezTo>
                <a:cubicBezTo>
                  <a:pt x="2764" y="888"/>
                  <a:pt x="2764" y="888"/>
                  <a:pt x="2764" y="888"/>
                </a:cubicBezTo>
                <a:cubicBezTo>
                  <a:pt x="2762" y="887"/>
                  <a:pt x="2762" y="887"/>
                  <a:pt x="2762" y="887"/>
                </a:cubicBezTo>
                <a:cubicBezTo>
                  <a:pt x="2759" y="887"/>
                  <a:pt x="2759" y="887"/>
                  <a:pt x="2759" y="887"/>
                </a:cubicBezTo>
                <a:cubicBezTo>
                  <a:pt x="2758" y="885"/>
                  <a:pt x="2758" y="885"/>
                  <a:pt x="2758" y="885"/>
                </a:cubicBezTo>
                <a:cubicBezTo>
                  <a:pt x="2757" y="885"/>
                  <a:pt x="2757" y="885"/>
                  <a:pt x="2757" y="885"/>
                </a:cubicBezTo>
                <a:cubicBezTo>
                  <a:pt x="2757" y="887"/>
                  <a:pt x="2757" y="887"/>
                  <a:pt x="2757" y="887"/>
                </a:cubicBezTo>
                <a:cubicBezTo>
                  <a:pt x="2756" y="888"/>
                  <a:pt x="2756" y="888"/>
                  <a:pt x="2756" y="888"/>
                </a:cubicBezTo>
                <a:cubicBezTo>
                  <a:pt x="2755" y="887"/>
                  <a:pt x="2755" y="887"/>
                  <a:pt x="2755" y="887"/>
                </a:cubicBezTo>
                <a:cubicBezTo>
                  <a:pt x="2755" y="885"/>
                  <a:pt x="2755" y="885"/>
                  <a:pt x="2755" y="885"/>
                </a:cubicBezTo>
                <a:cubicBezTo>
                  <a:pt x="2754" y="883"/>
                  <a:pt x="2754" y="883"/>
                  <a:pt x="2754" y="883"/>
                </a:cubicBezTo>
                <a:cubicBezTo>
                  <a:pt x="2751" y="881"/>
                  <a:pt x="2751" y="881"/>
                  <a:pt x="2751" y="881"/>
                </a:cubicBezTo>
                <a:cubicBezTo>
                  <a:pt x="2749" y="881"/>
                  <a:pt x="2749" y="881"/>
                  <a:pt x="2749" y="881"/>
                </a:cubicBezTo>
                <a:cubicBezTo>
                  <a:pt x="2746" y="883"/>
                  <a:pt x="2746" y="883"/>
                  <a:pt x="2746" y="883"/>
                </a:cubicBezTo>
                <a:cubicBezTo>
                  <a:pt x="2746" y="885"/>
                  <a:pt x="2746" y="885"/>
                  <a:pt x="2746" y="885"/>
                </a:cubicBezTo>
                <a:cubicBezTo>
                  <a:pt x="2744" y="885"/>
                  <a:pt x="2744" y="885"/>
                  <a:pt x="2744" y="885"/>
                </a:cubicBezTo>
                <a:cubicBezTo>
                  <a:pt x="2742" y="884"/>
                  <a:pt x="2742" y="884"/>
                  <a:pt x="2742" y="884"/>
                </a:cubicBezTo>
                <a:cubicBezTo>
                  <a:pt x="2741" y="883"/>
                  <a:pt x="2741" y="883"/>
                  <a:pt x="2741" y="883"/>
                </a:cubicBezTo>
                <a:cubicBezTo>
                  <a:pt x="2739" y="881"/>
                  <a:pt x="2739" y="881"/>
                  <a:pt x="2739" y="881"/>
                </a:cubicBezTo>
                <a:cubicBezTo>
                  <a:pt x="2739" y="879"/>
                  <a:pt x="2739" y="879"/>
                  <a:pt x="2739" y="879"/>
                </a:cubicBezTo>
                <a:cubicBezTo>
                  <a:pt x="2740" y="878"/>
                  <a:pt x="2740" y="878"/>
                  <a:pt x="2740" y="878"/>
                </a:cubicBezTo>
                <a:cubicBezTo>
                  <a:pt x="2739" y="876"/>
                  <a:pt x="2739" y="876"/>
                  <a:pt x="2739" y="876"/>
                </a:cubicBezTo>
                <a:cubicBezTo>
                  <a:pt x="2738" y="874"/>
                  <a:pt x="2738" y="874"/>
                  <a:pt x="2738" y="874"/>
                </a:cubicBezTo>
                <a:cubicBezTo>
                  <a:pt x="2737" y="873"/>
                  <a:pt x="2737" y="873"/>
                  <a:pt x="2737" y="873"/>
                </a:cubicBezTo>
                <a:cubicBezTo>
                  <a:pt x="2737" y="870"/>
                  <a:pt x="2737" y="870"/>
                  <a:pt x="2737" y="870"/>
                </a:cubicBezTo>
                <a:cubicBezTo>
                  <a:pt x="2738" y="869"/>
                  <a:pt x="2738" y="869"/>
                  <a:pt x="2738" y="869"/>
                </a:cubicBezTo>
                <a:cubicBezTo>
                  <a:pt x="2738" y="867"/>
                  <a:pt x="2738" y="867"/>
                  <a:pt x="2738" y="867"/>
                </a:cubicBezTo>
                <a:cubicBezTo>
                  <a:pt x="2739" y="865"/>
                  <a:pt x="2739" y="865"/>
                  <a:pt x="2739" y="865"/>
                </a:cubicBezTo>
                <a:cubicBezTo>
                  <a:pt x="2742" y="862"/>
                  <a:pt x="2742" y="862"/>
                  <a:pt x="2742" y="862"/>
                </a:cubicBezTo>
                <a:cubicBezTo>
                  <a:pt x="2743" y="861"/>
                  <a:pt x="2743" y="861"/>
                  <a:pt x="2743" y="861"/>
                </a:cubicBezTo>
                <a:cubicBezTo>
                  <a:pt x="2742" y="863"/>
                  <a:pt x="2742" y="863"/>
                  <a:pt x="2742" y="863"/>
                </a:cubicBezTo>
                <a:cubicBezTo>
                  <a:pt x="2743" y="864"/>
                  <a:pt x="2743" y="864"/>
                  <a:pt x="2743" y="864"/>
                </a:cubicBezTo>
                <a:cubicBezTo>
                  <a:pt x="2744" y="861"/>
                  <a:pt x="2744" y="861"/>
                  <a:pt x="2744" y="861"/>
                </a:cubicBezTo>
                <a:cubicBezTo>
                  <a:pt x="2744" y="859"/>
                  <a:pt x="2744" y="859"/>
                  <a:pt x="2744" y="859"/>
                </a:cubicBezTo>
                <a:cubicBezTo>
                  <a:pt x="2745" y="856"/>
                  <a:pt x="2745" y="856"/>
                  <a:pt x="2745" y="856"/>
                </a:cubicBezTo>
                <a:cubicBezTo>
                  <a:pt x="2746" y="851"/>
                  <a:pt x="2746" y="851"/>
                  <a:pt x="2746" y="851"/>
                </a:cubicBezTo>
                <a:cubicBezTo>
                  <a:pt x="2745" y="850"/>
                  <a:pt x="2745" y="850"/>
                  <a:pt x="2745" y="850"/>
                </a:cubicBezTo>
                <a:cubicBezTo>
                  <a:pt x="2744" y="847"/>
                  <a:pt x="2744" y="847"/>
                  <a:pt x="2744" y="847"/>
                </a:cubicBezTo>
                <a:cubicBezTo>
                  <a:pt x="2743" y="847"/>
                  <a:pt x="2743" y="847"/>
                  <a:pt x="2743" y="847"/>
                </a:cubicBezTo>
                <a:cubicBezTo>
                  <a:pt x="2741" y="844"/>
                  <a:pt x="2741" y="844"/>
                  <a:pt x="2741" y="844"/>
                </a:cubicBezTo>
                <a:cubicBezTo>
                  <a:pt x="2742" y="840"/>
                  <a:pt x="2742" y="840"/>
                  <a:pt x="2742" y="840"/>
                </a:cubicBezTo>
                <a:cubicBezTo>
                  <a:pt x="2743" y="838"/>
                  <a:pt x="2743" y="838"/>
                  <a:pt x="2743" y="838"/>
                </a:cubicBezTo>
                <a:cubicBezTo>
                  <a:pt x="2743" y="837"/>
                  <a:pt x="2743" y="837"/>
                  <a:pt x="2743" y="837"/>
                </a:cubicBezTo>
                <a:cubicBezTo>
                  <a:pt x="2742" y="835"/>
                  <a:pt x="2742" y="835"/>
                  <a:pt x="2742" y="835"/>
                </a:cubicBezTo>
                <a:cubicBezTo>
                  <a:pt x="2741" y="835"/>
                  <a:pt x="2741" y="835"/>
                  <a:pt x="2741" y="835"/>
                </a:cubicBezTo>
                <a:cubicBezTo>
                  <a:pt x="2741" y="836"/>
                  <a:pt x="2741" y="836"/>
                  <a:pt x="2741" y="836"/>
                </a:cubicBezTo>
                <a:cubicBezTo>
                  <a:pt x="2739" y="837"/>
                  <a:pt x="2739" y="837"/>
                  <a:pt x="2739" y="837"/>
                </a:cubicBezTo>
                <a:cubicBezTo>
                  <a:pt x="2736" y="837"/>
                  <a:pt x="2736" y="837"/>
                  <a:pt x="2736" y="837"/>
                </a:cubicBezTo>
                <a:lnTo>
                  <a:pt x="2736" y="838"/>
                </a:lnTo>
                <a:close/>
                <a:moveTo>
                  <a:pt x="2969" y="1129"/>
                </a:moveTo>
                <a:cubicBezTo>
                  <a:pt x="2967" y="1127"/>
                  <a:pt x="2967" y="1127"/>
                  <a:pt x="2967" y="1127"/>
                </a:cubicBezTo>
                <a:cubicBezTo>
                  <a:pt x="2967" y="1127"/>
                  <a:pt x="2964" y="1126"/>
                  <a:pt x="2964" y="1126"/>
                </a:cubicBezTo>
                <a:lnTo>
                  <a:pt x="2969" y="1129"/>
                </a:lnTo>
                <a:close/>
                <a:moveTo>
                  <a:pt x="2982" y="1117"/>
                </a:moveTo>
                <a:cubicBezTo>
                  <a:pt x="2983" y="1118"/>
                  <a:pt x="2983" y="1118"/>
                  <a:pt x="2983" y="1118"/>
                </a:cubicBezTo>
                <a:cubicBezTo>
                  <a:pt x="2983" y="1118"/>
                  <a:pt x="2983" y="1117"/>
                  <a:pt x="2983" y="1117"/>
                </a:cubicBezTo>
                <a:lnTo>
                  <a:pt x="2982" y="1117"/>
                </a:lnTo>
                <a:close/>
                <a:moveTo>
                  <a:pt x="2744" y="884"/>
                </a:moveTo>
                <a:cubicBezTo>
                  <a:pt x="2745" y="885"/>
                  <a:pt x="2745" y="885"/>
                  <a:pt x="2745" y="885"/>
                </a:cubicBezTo>
                <a:cubicBezTo>
                  <a:pt x="2745" y="883"/>
                  <a:pt x="2745" y="883"/>
                  <a:pt x="2745" y="883"/>
                </a:cubicBezTo>
                <a:cubicBezTo>
                  <a:pt x="2743" y="882"/>
                  <a:pt x="2743" y="882"/>
                  <a:pt x="2743" y="882"/>
                </a:cubicBezTo>
                <a:lnTo>
                  <a:pt x="2744" y="884"/>
                </a:lnTo>
                <a:close/>
                <a:moveTo>
                  <a:pt x="2463" y="960"/>
                </a:moveTo>
                <a:cubicBezTo>
                  <a:pt x="2462" y="959"/>
                  <a:pt x="2462" y="959"/>
                  <a:pt x="2462" y="959"/>
                </a:cubicBezTo>
                <a:cubicBezTo>
                  <a:pt x="2461" y="960"/>
                  <a:pt x="2461" y="960"/>
                  <a:pt x="2461" y="960"/>
                </a:cubicBezTo>
                <a:cubicBezTo>
                  <a:pt x="2461" y="962"/>
                  <a:pt x="2461" y="962"/>
                  <a:pt x="2461" y="962"/>
                </a:cubicBezTo>
                <a:cubicBezTo>
                  <a:pt x="2461" y="962"/>
                  <a:pt x="2462" y="963"/>
                  <a:pt x="2462" y="963"/>
                </a:cubicBezTo>
                <a:cubicBezTo>
                  <a:pt x="2462" y="963"/>
                  <a:pt x="2462" y="965"/>
                  <a:pt x="2462" y="965"/>
                </a:cubicBezTo>
                <a:cubicBezTo>
                  <a:pt x="2464" y="964"/>
                  <a:pt x="2464" y="964"/>
                  <a:pt x="2464" y="964"/>
                </a:cubicBezTo>
                <a:cubicBezTo>
                  <a:pt x="2463" y="962"/>
                  <a:pt x="2463" y="962"/>
                  <a:pt x="2463" y="962"/>
                </a:cubicBezTo>
                <a:lnTo>
                  <a:pt x="2463" y="960"/>
                </a:lnTo>
                <a:close/>
                <a:moveTo>
                  <a:pt x="2501" y="1021"/>
                </a:moveTo>
                <a:cubicBezTo>
                  <a:pt x="2500" y="1021"/>
                  <a:pt x="2500" y="1021"/>
                  <a:pt x="2500" y="1021"/>
                </a:cubicBezTo>
                <a:cubicBezTo>
                  <a:pt x="2499" y="1022"/>
                  <a:pt x="2499" y="1022"/>
                  <a:pt x="2499" y="1022"/>
                </a:cubicBezTo>
                <a:cubicBezTo>
                  <a:pt x="2497" y="1022"/>
                  <a:pt x="2497" y="1022"/>
                  <a:pt x="2497" y="1022"/>
                </a:cubicBezTo>
                <a:cubicBezTo>
                  <a:pt x="2499" y="1024"/>
                  <a:pt x="2499" y="1024"/>
                  <a:pt x="2499" y="1024"/>
                </a:cubicBezTo>
                <a:cubicBezTo>
                  <a:pt x="2500" y="1027"/>
                  <a:pt x="2500" y="1027"/>
                  <a:pt x="2500" y="1027"/>
                </a:cubicBezTo>
                <a:cubicBezTo>
                  <a:pt x="2501" y="1027"/>
                  <a:pt x="2501" y="1027"/>
                  <a:pt x="2501" y="1027"/>
                </a:cubicBezTo>
                <a:cubicBezTo>
                  <a:pt x="2503" y="1031"/>
                  <a:pt x="2503" y="1031"/>
                  <a:pt x="2503" y="1031"/>
                </a:cubicBezTo>
                <a:cubicBezTo>
                  <a:pt x="2504" y="1030"/>
                  <a:pt x="2504" y="1030"/>
                  <a:pt x="2504" y="1030"/>
                </a:cubicBezTo>
                <a:cubicBezTo>
                  <a:pt x="2504" y="1028"/>
                  <a:pt x="2504" y="1028"/>
                  <a:pt x="2504" y="1028"/>
                </a:cubicBezTo>
                <a:cubicBezTo>
                  <a:pt x="2505" y="1026"/>
                  <a:pt x="2505" y="1026"/>
                  <a:pt x="2505" y="1026"/>
                </a:cubicBezTo>
                <a:cubicBezTo>
                  <a:pt x="2503" y="1024"/>
                  <a:pt x="2503" y="1024"/>
                  <a:pt x="2503" y="1024"/>
                </a:cubicBezTo>
                <a:lnTo>
                  <a:pt x="2501" y="1021"/>
                </a:lnTo>
                <a:close/>
                <a:moveTo>
                  <a:pt x="2512" y="1042"/>
                </a:moveTo>
                <a:cubicBezTo>
                  <a:pt x="2510" y="1041"/>
                  <a:pt x="2510" y="1041"/>
                  <a:pt x="2510" y="1041"/>
                </a:cubicBezTo>
                <a:cubicBezTo>
                  <a:pt x="2509" y="1043"/>
                  <a:pt x="2509" y="1043"/>
                  <a:pt x="2509" y="1043"/>
                </a:cubicBezTo>
                <a:cubicBezTo>
                  <a:pt x="2510" y="1045"/>
                  <a:pt x="2510" y="1045"/>
                  <a:pt x="2510" y="1045"/>
                </a:cubicBezTo>
                <a:cubicBezTo>
                  <a:pt x="2512" y="1043"/>
                  <a:pt x="2512" y="1043"/>
                  <a:pt x="2512" y="1043"/>
                </a:cubicBezTo>
                <a:lnTo>
                  <a:pt x="2512" y="1042"/>
                </a:lnTo>
                <a:close/>
                <a:moveTo>
                  <a:pt x="2498" y="1014"/>
                </a:moveTo>
                <a:cubicBezTo>
                  <a:pt x="2497" y="1014"/>
                  <a:pt x="2497" y="1014"/>
                  <a:pt x="2497" y="1014"/>
                </a:cubicBezTo>
                <a:cubicBezTo>
                  <a:pt x="2499" y="1015"/>
                  <a:pt x="2499" y="1015"/>
                  <a:pt x="2499" y="1015"/>
                </a:cubicBezTo>
                <a:lnTo>
                  <a:pt x="2498" y="1014"/>
                </a:lnTo>
                <a:close/>
                <a:moveTo>
                  <a:pt x="2483" y="1006"/>
                </a:moveTo>
                <a:cubicBezTo>
                  <a:pt x="2482" y="1006"/>
                  <a:pt x="2482" y="1006"/>
                  <a:pt x="2482" y="1006"/>
                </a:cubicBezTo>
                <a:cubicBezTo>
                  <a:pt x="2482" y="1008"/>
                  <a:pt x="2482" y="1008"/>
                  <a:pt x="2482" y="1008"/>
                </a:cubicBezTo>
                <a:cubicBezTo>
                  <a:pt x="2484" y="1009"/>
                  <a:pt x="2484" y="1009"/>
                  <a:pt x="2484" y="1009"/>
                </a:cubicBezTo>
                <a:cubicBezTo>
                  <a:pt x="2486" y="1009"/>
                  <a:pt x="2486" y="1009"/>
                  <a:pt x="2486" y="1009"/>
                </a:cubicBezTo>
                <a:cubicBezTo>
                  <a:pt x="2485" y="1007"/>
                  <a:pt x="2485" y="1007"/>
                  <a:pt x="2485" y="1007"/>
                </a:cubicBezTo>
                <a:lnTo>
                  <a:pt x="2483" y="1006"/>
                </a:lnTo>
                <a:close/>
                <a:moveTo>
                  <a:pt x="2456" y="952"/>
                </a:moveTo>
                <a:cubicBezTo>
                  <a:pt x="2457" y="953"/>
                  <a:pt x="2457" y="953"/>
                  <a:pt x="2457" y="953"/>
                </a:cubicBezTo>
                <a:cubicBezTo>
                  <a:pt x="2458" y="954"/>
                  <a:pt x="2458" y="954"/>
                  <a:pt x="2458" y="954"/>
                </a:cubicBezTo>
                <a:cubicBezTo>
                  <a:pt x="2459" y="953"/>
                  <a:pt x="2459" y="953"/>
                  <a:pt x="2459" y="953"/>
                </a:cubicBezTo>
                <a:cubicBezTo>
                  <a:pt x="2458" y="951"/>
                  <a:pt x="2458" y="951"/>
                  <a:pt x="2458" y="951"/>
                </a:cubicBezTo>
                <a:lnTo>
                  <a:pt x="2456" y="952"/>
                </a:lnTo>
                <a:close/>
                <a:moveTo>
                  <a:pt x="2454" y="947"/>
                </a:moveTo>
                <a:cubicBezTo>
                  <a:pt x="2454" y="947"/>
                  <a:pt x="2454" y="948"/>
                  <a:pt x="2454" y="948"/>
                </a:cubicBezTo>
                <a:cubicBezTo>
                  <a:pt x="2456" y="950"/>
                  <a:pt x="2456" y="950"/>
                  <a:pt x="2456" y="950"/>
                </a:cubicBezTo>
                <a:cubicBezTo>
                  <a:pt x="2455" y="947"/>
                  <a:pt x="2455" y="947"/>
                  <a:pt x="2455" y="947"/>
                </a:cubicBezTo>
                <a:lnTo>
                  <a:pt x="2454" y="947"/>
                </a:lnTo>
                <a:close/>
                <a:moveTo>
                  <a:pt x="2460" y="949"/>
                </a:moveTo>
                <a:cubicBezTo>
                  <a:pt x="2459" y="948"/>
                  <a:pt x="2459" y="948"/>
                  <a:pt x="2459" y="948"/>
                </a:cubicBezTo>
                <a:cubicBezTo>
                  <a:pt x="2458" y="950"/>
                  <a:pt x="2458" y="950"/>
                  <a:pt x="2458" y="950"/>
                </a:cubicBezTo>
                <a:cubicBezTo>
                  <a:pt x="2459" y="951"/>
                  <a:pt x="2459" y="951"/>
                  <a:pt x="2459" y="951"/>
                </a:cubicBezTo>
                <a:cubicBezTo>
                  <a:pt x="2460" y="950"/>
                  <a:pt x="2460" y="950"/>
                  <a:pt x="2460" y="950"/>
                </a:cubicBezTo>
                <a:lnTo>
                  <a:pt x="2460" y="949"/>
                </a:lnTo>
                <a:close/>
                <a:moveTo>
                  <a:pt x="2461" y="956"/>
                </a:moveTo>
                <a:cubicBezTo>
                  <a:pt x="2460" y="958"/>
                  <a:pt x="2460" y="958"/>
                  <a:pt x="2460" y="958"/>
                </a:cubicBezTo>
                <a:cubicBezTo>
                  <a:pt x="2460" y="958"/>
                  <a:pt x="2460" y="958"/>
                  <a:pt x="2460" y="958"/>
                </a:cubicBezTo>
                <a:cubicBezTo>
                  <a:pt x="2462" y="957"/>
                  <a:pt x="2462" y="957"/>
                  <a:pt x="2462" y="957"/>
                </a:cubicBezTo>
                <a:lnTo>
                  <a:pt x="2461" y="956"/>
                </a:lnTo>
                <a:close/>
                <a:moveTo>
                  <a:pt x="2549" y="1091"/>
                </a:moveTo>
                <a:cubicBezTo>
                  <a:pt x="2548" y="1092"/>
                  <a:pt x="2548" y="1092"/>
                  <a:pt x="2548" y="1092"/>
                </a:cubicBezTo>
                <a:cubicBezTo>
                  <a:pt x="2550" y="1094"/>
                  <a:pt x="2550" y="1094"/>
                  <a:pt x="2550" y="1094"/>
                </a:cubicBezTo>
                <a:cubicBezTo>
                  <a:pt x="2550" y="1092"/>
                  <a:pt x="2550" y="1092"/>
                  <a:pt x="2550" y="1092"/>
                </a:cubicBezTo>
                <a:lnTo>
                  <a:pt x="2549" y="1091"/>
                </a:lnTo>
                <a:close/>
                <a:moveTo>
                  <a:pt x="2531" y="1068"/>
                </a:moveTo>
                <a:cubicBezTo>
                  <a:pt x="2529" y="1066"/>
                  <a:pt x="2529" y="1066"/>
                  <a:pt x="2529" y="1066"/>
                </a:cubicBezTo>
                <a:cubicBezTo>
                  <a:pt x="2528" y="1068"/>
                  <a:pt x="2528" y="1068"/>
                  <a:pt x="2528" y="1068"/>
                </a:cubicBezTo>
                <a:cubicBezTo>
                  <a:pt x="2531" y="1072"/>
                  <a:pt x="2531" y="1072"/>
                  <a:pt x="2531" y="1072"/>
                </a:cubicBezTo>
                <a:cubicBezTo>
                  <a:pt x="2531" y="1070"/>
                  <a:pt x="2531" y="1070"/>
                  <a:pt x="2531" y="1070"/>
                </a:cubicBezTo>
                <a:lnTo>
                  <a:pt x="2531" y="1068"/>
                </a:lnTo>
                <a:close/>
                <a:moveTo>
                  <a:pt x="2515" y="1036"/>
                </a:moveTo>
                <a:cubicBezTo>
                  <a:pt x="2515" y="1035"/>
                  <a:pt x="2515" y="1035"/>
                  <a:pt x="2515" y="1035"/>
                </a:cubicBezTo>
                <a:cubicBezTo>
                  <a:pt x="2512" y="1034"/>
                  <a:pt x="2512" y="1034"/>
                  <a:pt x="2512" y="1034"/>
                </a:cubicBezTo>
                <a:cubicBezTo>
                  <a:pt x="2511" y="1036"/>
                  <a:pt x="2511" y="1036"/>
                  <a:pt x="2511" y="1036"/>
                </a:cubicBezTo>
                <a:cubicBezTo>
                  <a:pt x="2514" y="1036"/>
                  <a:pt x="2514" y="1036"/>
                  <a:pt x="2514" y="1036"/>
                </a:cubicBezTo>
                <a:lnTo>
                  <a:pt x="2515" y="1036"/>
                </a:lnTo>
                <a:close/>
                <a:moveTo>
                  <a:pt x="2581" y="1093"/>
                </a:moveTo>
                <a:cubicBezTo>
                  <a:pt x="2583" y="1096"/>
                  <a:pt x="2583" y="1096"/>
                  <a:pt x="2583" y="1096"/>
                </a:cubicBezTo>
                <a:cubicBezTo>
                  <a:pt x="2584" y="1097"/>
                  <a:pt x="2584" y="1097"/>
                  <a:pt x="2584" y="1097"/>
                </a:cubicBezTo>
                <a:cubicBezTo>
                  <a:pt x="2585" y="1095"/>
                  <a:pt x="2585" y="1095"/>
                  <a:pt x="2585" y="1095"/>
                </a:cubicBezTo>
                <a:cubicBezTo>
                  <a:pt x="2585" y="1091"/>
                  <a:pt x="2585" y="1091"/>
                  <a:pt x="2585" y="1091"/>
                </a:cubicBezTo>
                <a:cubicBezTo>
                  <a:pt x="2586" y="1085"/>
                  <a:pt x="2586" y="1085"/>
                  <a:pt x="2586" y="1085"/>
                </a:cubicBezTo>
                <a:cubicBezTo>
                  <a:pt x="2585" y="1082"/>
                  <a:pt x="2585" y="1082"/>
                  <a:pt x="2585" y="1082"/>
                </a:cubicBezTo>
                <a:cubicBezTo>
                  <a:pt x="2587" y="1078"/>
                  <a:pt x="2587" y="1078"/>
                  <a:pt x="2587" y="1078"/>
                </a:cubicBezTo>
                <a:cubicBezTo>
                  <a:pt x="2586" y="1076"/>
                  <a:pt x="2586" y="1076"/>
                  <a:pt x="2586" y="1076"/>
                </a:cubicBezTo>
                <a:cubicBezTo>
                  <a:pt x="2586" y="1073"/>
                  <a:pt x="2586" y="1073"/>
                  <a:pt x="2586" y="1073"/>
                </a:cubicBezTo>
                <a:cubicBezTo>
                  <a:pt x="2588" y="1072"/>
                  <a:pt x="2588" y="1072"/>
                  <a:pt x="2588" y="1072"/>
                </a:cubicBezTo>
                <a:cubicBezTo>
                  <a:pt x="2589" y="1071"/>
                  <a:pt x="2589" y="1071"/>
                  <a:pt x="2589" y="1071"/>
                </a:cubicBezTo>
                <a:cubicBezTo>
                  <a:pt x="2588" y="1069"/>
                  <a:pt x="2588" y="1069"/>
                  <a:pt x="2588" y="1069"/>
                </a:cubicBezTo>
                <a:cubicBezTo>
                  <a:pt x="2587" y="1068"/>
                  <a:pt x="2587" y="1068"/>
                  <a:pt x="2587" y="1068"/>
                </a:cubicBezTo>
                <a:cubicBezTo>
                  <a:pt x="2585" y="1067"/>
                  <a:pt x="2585" y="1067"/>
                  <a:pt x="2585" y="1067"/>
                </a:cubicBezTo>
                <a:cubicBezTo>
                  <a:pt x="2584" y="1064"/>
                  <a:pt x="2584" y="1064"/>
                  <a:pt x="2584" y="1064"/>
                </a:cubicBezTo>
                <a:cubicBezTo>
                  <a:pt x="2583" y="1064"/>
                  <a:pt x="2583" y="1064"/>
                  <a:pt x="2583" y="1064"/>
                </a:cubicBezTo>
                <a:cubicBezTo>
                  <a:pt x="2582" y="1062"/>
                  <a:pt x="2582" y="1062"/>
                  <a:pt x="2582" y="1062"/>
                </a:cubicBezTo>
                <a:cubicBezTo>
                  <a:pt x="2581" y="1061"/>
                  <a:pt x="2581" y="1061"/>
                  <a:pt x="2581" y="1061"/>
                </a:cubicBezTo>
                <a:cubicBezTo>
                  <a:pt x="2577" y="1062"/>
                  <a:pt x="2577" y="1062"/>
                  <a:pt x="2577" y="1062"/>
                </a:cubicBezTo>
                <a:cubicBezTo>
                  <a:pt x="2576" y="1061"/>
                  <a:pt x="2576" y="1061"/>
                  <a:pt x="2576" y="1061"/>
                </a:cubicBezTo>
                <a:cubicBezTo>
                  <a:pt x="2575" y="1058"/>
                  <a:pt x="2575" y="1058"/>
                  <a:pt x="2575" y="1058"/>
                </a:cubicBezTo>
                <a:cubicBezTo>
                  <a:pt x="2574" y="1056"/>
                  <a:pt x="2574" y="1056"/>
                  <a:pt x="2574" y="1056"/>
                </a:cubicBezTo>
                <a:cubicBezTo>
                  <a:pt x="2572" y="1057"/>
                  <a:pt x="2572" y="1057"/>
                  <a:pt x="2572" y="1057"/>
                </a:cubicBezTo>
                <a:cubicBezTo>
                  <a:pt x="2573" y="1055"/>
                  <a:pt x="2573" y="1055"/>
                  <a:pt x="2573" y="1055"/>
                </a:cubicBezTo>
                <a:cubicBezTo>
                  <a:pt x="2573" y="1053"/>
                  <a:pt x="2573" y="1053"/>
                  <a:pt x="2573" y="1053"/>
                </a:cubicBezTo>
                <a:cubicBezTo>
                  <a:pt x="2572" y="1048"/>
                  <a:pt x="2572" y="1048"/>
                  <a:pt x="2572" y="1048"/>
                </a:cubicBezTo>
                <a:cubicBezTo>
                  <a:pt x="2570" y="1049"/>
                  <a:pt x="2570" y="1049"/>
                  <a:pt x="2570" y="1049"/>
                </a:cubicBezTo>
                <a:cubicBezTo>
                  <a:pt x="2569" y="1048"/>
                  <a:pt x="2569" y="1048"/>
                  <a:pt x="2569" y="1048"/>
                </a:cubicBezTo>
                <a:cubicBezTo>
                  <a:pt x="2565" y="1048"/>
                  <a:pt x="2565" y="1048"/>
                  <a:pt x="2565" y="1048"/>
                </a:cubicBezTo>
                <a:cubicBezTo>
                  <a:pt x="2562" y="1046"/>
                  <a:pt x="2562" y="1046"/>
                  <a:pt x="2562" y="1046"/>
                </a:cubicBezTo>
                <a:cubicBezTo>
                  <a:pt x="2562" y="1044"/>
                  <a:pt x="2562" y="1044"/>
                  <a:pt x="2562" y="1044"/>
                </a:cubicBezTo>
                <a:cubicBezTo>
                  <a:pt x="2564" y="1043"/>
                  <a:pt x="2564" y="1043"/>
                  <a:pt x="2564" y="1043"/>
                </a:cubicBezTo>
                <a:cubicBezTo>
                  <a:pt x="2566" y="1042"/>
                  <a:pt x="2566" y="1042"/>
                  <a:pt x="2566" y="1042"/>
                </a:cubicBezTo>
                <a:cubicBezTo>
                  <a:pt x="2564" y="1041"/>
                  <a:pt x="2564" y="1041"/>
                  <a:pt x="2564" y="1041"/>
                </a:cubicBezTo>
                <a:cubicBezTo>
                  <a:pt x="2562" y="1041"/>
                  <a:pt x="2562" y="1041"/>
                  <a:pt x="2562" y="1041"/>
                </a:cubicBezTo>
                <a:cubicBezTo>
                  <a:pt x="2561" y="1041"/>
                  <a:pt x="2561" y="1041"/>
                  <a:pt x="2561" y="1041"/>
                </a:cubicBezTo>
                <a:cubicBezTo>
                  <a:pt x="2559" y="1041"/>
                  <a:pt x="2559" y="1041"/>
                  <a:pt x="2559" y="1041"/>
                </a:cubicBezTo>
                <a:cubicBezTo>
                  <a:pt x="2560" y="1040"/>
                  <a:pt x="2560" y="1040"/>
                  <a:pt x="2560" y="1040"/>
                </a:cubicBezTo>
                <a:cubicBezTo>
                  <a:pt x="2563" y="1038"/>
                  <a:pt x="2563" y="1038"/>
                  <a:pt x="2563" y="1038"/>
                </a:cubicBezTo>
                <a:cubicBezTo>
                  <a:pt x="2566" y="1038"/>
                  <a:pt x="2566" y="1038"/>
                  <a:pt x="2566" y="1038"/>
                </a:cubicBezTo>
                <a:cubicBezTo>
                  <a:pt x="2565" y="1036"/>
                  <a:pt x="2565" y="1036"/>
                  <a:pt x="2565" y="1036"/>
                </a:cubicBezTo>
                <a:cubicBezTo>
                  <a:pt x="2562" y="1032"/>
                  <a:pt x="2562" y="1032"/>
                  <a:pt x="2562" y="1032"/>
                </a:cubicBezTo>
                <a:cubicBezTo>
                  <a:pt x="2560" y="1032"/>
                  <a:pt x="2560" y="1032"/>
                  <a:pt x="2560" y="1032"/>
                </a:cubicBezTo>
                <a:cubicBezTo>
                  <a:pt x="2558" y="1034"/>
                  <a:pt x="2558" y="1034"/>
                  <a:pt x="2558" y="1034"/>
                </a:cubicBezTo>
                <a:cubicBezTo>
                  <a:pt x="2556" y="1035"/>
                  <a:pt x="2556" y="1035"/>
                  <a:pt x="2556" y="1035"/>
                </a:cubicBezTo>
                <a:cubicBezTo>
                  <a:pt x="2553" y="1035"/>
                  <a:pt x="2553" y="1035"/>
                  <a:pt x="2553" y="1035"/>
                </a:cubicBezTo>
                <a:cubicBezTo>
                  <a:pt x="2555" y="1035"/>
                  <a:pt x="2555" y="1035"/>
                  <a:pt x="2555" y="1035"/>
                </a:cubicBezTo>
                <a:cubicBezTo>
                  <a:pt x="2556" y="1034"/>
                  <a:pt x="2556" y="1034"/>
                  <a:pt x="2556" y="1034"/>
                </a:cubicBezTo>
                <a:cubicBezTo>
                  <a:pt x="2557" y="1034"/>
                  <a:pt x="2557" y="1034"/>
                  <a:pt x="2557" y="1034"/>
                </a:cubicBezTo>
                <a:cubicBezTo>
                  <a:pt x="2558" y="1032"/>
                  <a:pt x="2558" y="1032"/>
                  <a:pt x="2558" y="1032"/>
                </a:cubicBezTo>
                <a:cubicBezTo>
                  <a:pt x="2557" y="1031"/>
                  <a:pt x="2557" y="1031"/>
                  <a:pt x="2557" y="1031"/>
                </a:cubicBezTo>
                <a:cubicBezTo>
                  <a:pt x="2555" y="1030"/>
                  <a:pt x="2555" y="1030"/>
                  <a:pt x="2555" y="1030"/>
                </a:cubicBezTo>
                <a:cubicBezTo>
                  <a:pt x="2551" y="1030"/>
                  <a:pt x="2551" y="1030"/>
                  <a:pt x="2551" y="1030"/>
                </a:cubicBezTo>
                <a:cubicBezTo>
                  <a:pt x="2549" y="1028"/>
                  <a:pt x="2549" y="1028"/>
                  <a:pt x="2549" y="1028"/>
                </a:cubicBezTo>
                <a:cubicBezTo>
                  <a:pt x="2549" y="1027"/>
                  <a:pt x="2549" y="1027"/>
                  <a:pt x="2549" y="1027"/>
                </a:cubicBezTo>
                <a:cubicBezTo>
                  <a:pt x="2549" y="1024"/>
                  <a:pt x="2549" y="1024"/>
                  <a:pt x="2549" y="1024"/>
                </a:cubicBezTo>
                <a:cubicBezTo>
                  <a:pt x="2544" y="1020"/>
                  <a:pt x="2544" y="1020"/>
                  <a:pt x="2544" y="1020"/>
                </a:cubicBezTo>
                <a:cubicBezTo>
                  <a:pt x="2543" y="1019"/>
                  <a:pt x="2543" y="1019"/>
                  <a:pt x="2543" y="1019"/>
                </a:cubicBezTo>
                <a:cubicBezTo>
                  <a:pt x="2542" y="1020"/>
                  <a:pt x="2542" y="1020"/>
                  <a:pt x="2542" y="1020"/>
                </a:cubicBezTo>
                <a:cubicBezTo>
                  <a:pt x="2540" y="1019"/>
                  <a:pt x="2540" y="1019"/>
                  <a:pt x="2540" y="1019"/>
                </a:cubicBezTo>
                <a:cubicBezTo>
                  <a:pt x="2540" y="1015"/>
                  <a:pt x="2540" y="1015"/>
                  <a:pt x="2540" y="1015"/>
                </a:cubicBezTo>
                <a:cubicBezTo>
                  <a:pt x="2537" y="1012"/>
                  <a:pt x="2537" y="1012"/>
                  <a:pt x="2537" y="1012"/>
                </a:cubicBezTo>
                <a:cubicBezTo>
                  <a:pt x="2533" y="1010"/>
                  <a:pt x="2533" y="1010"/>
                  <a:pt x="2533" y="1010"/>
                </a:cubicBezTo>
                <a:cubicBezTo>
                  <a:pt x="2530" y="1010"/>
                  <a:pt x="2530" y="1010"/>
                  <a:pt x="2530" y="1010"/>
                </a:cubicBezTo>
                <a:cubicBezTo>
                  <a:pt x="2530" y="1011"/>
                  <a:pt x="2530" y="1011"/>
                  <a:pt x="2530" y="1011"/>
                </a:cubicBezTo>
                <a:cubicBezTo>
                  <a:pt x="2529" y="1010"/>
                  <a:pt x="2529" y="1010"/>
                  <a:pt x="2529" y="1010"/>
                </a:cubicBezTo>
                <a:cubicBezTo>
                  <a:pt x="2528" y="1007"/>
                  <a:pt x="2528" y="1007"/>
                  <a:pt x="2528" y="1007"/>
                </a:cubicBezTo>
                <a:cubicBezTo>
                  <a:pt x="2527" y="1008"/>
                  <a:pt x="2527" y="1008"/>
                  <a:pt x="2527" y="1008"/>
                </a:cubicBezTo>
                <a:cubicBezTo>
                  <a:pt x="2526" y="1007"/>
                  <a:pt x="2526" y="1007"/>
                  <a:pt x="2526" y="1007"/>
                </a:cubicBezTo>
                <a:cubicBezTo>
                  <a:pt x="2526" y="1004"/>
                  <a:pt x="2526" y="1004"/>
                  <a:pt x="2526" y="1004"/>
                </a:cubicBezTo>
                <a:cubicBezTo>
                  <a:pt x="2524" y="1002"/>
                  <a:pt x="2524" y="1002"/>
                  <a:pt x="2524" y="1002"/>
                </a:cubicBezTo>
                <a:cubicBezTo>
                  <a:pt x="2522" y="1001"/>
                  <a:pt x="2522" y="1001"/>
                  <a:pt x="2522" y="1001"/>
                </a:cubicBezTo>
                <a:cubicBezTo>
                  <a:pt x="2521" y="1000"/>
                  <a:pt x="2521" y="1000"/>
                  <a:pt x="2521" y="1000"/>
                </a:cubicBezTo>
                <a:cubicBezTo>
                  <a:pt x="2515" y="996"/>
                  <a:pt x="2515" y="996"/>
                  <a:pt x="2515" y="996"/>
                </a:cubicBezTo>
                <a:cubicBezTo>
                  <a:pt x="2513" y="996"/>
                  <a:pt x="2513" y="996"/>
                  <a:pt x="2513" y="996"/>
                </a:cubicBezTo>
                <a:cubicBezTo>
                  <a:pt x="2511" y="993"/>
                  <a:pt x="2511" y="993"/>
                  <a:pt x="2511" y="993"/>
                </a:cubicBezTo>
                <a:cubicBezTo>
                  <a:pt x="2508" y="993"/>
                  <a:pt x="2508" y="993"/>
                  <a:pt x="2508" y="993"/>
                </a:cubicBezTo>
                <a:cubicBezTo>
                  <a:pt x="2508" y="991"/>
                  <a:pt x="2508" y="991"/>
                  <a:pt x="2508" y="991"/>
                </a:cubicBezTo>
                <a:cubicBezTo>
                  <a:pt x="2507" y="988"/>
                  <a:pt x="2507" y="988"/>
                  <a:pt x="2507" y="988"/>
                </a:cubicBezTo>
                <a:cubicBezTo>
                  <a:pt x="2505" y="987"/>
                  <a:pt x="2505" y="987"/>
                  <a:pt x="2505" y="987"/>
                </a:cubicBezTo>
                <a:cubicBezTo>
                  <a:pt x="2504" y="984"/>
                  <a:pt x="2504" y="984"/>
                  <a:pt x="2504" y="984"/>
                </a:cubicBezTo>
                <a:cubicBezTo>
                  <a:pt x="2503" y="984"/>
                  <a:pt x="2503" y="984"/>
                  <a:pt x="2503" y="984"/>
                </a:cubicBezTo>
                <a:cubicBezTo>
                  <a:pt x="2501" y="981"/>
                  <a:pt x="2501" y="981"/>
                  <a:pt x="2501" y="981"/>
                </a:cubicBezTo>
                <a:cubicBezTo>
                  <a:pt x="2499" y="981"/>
                  <a:pt x="2499" y="981"/>
                  <a:pt x="2499" y="981"/>
                </a:cubicBezTo>
                <a:cubicBezTo>
                  <a:pt x="2497" y="981"/>
                  <a:pt x="2497" y="981"/>
                  <a:pt x="2497" y="981"/>
                </a:cubicBezTo>
                <a:cubicBezTo>
                  <a:pt x="2496" y="981"/>
                  <a:pt x="2496" y="981"/>
                  <a:pt x="2496" y="981"/>
                </a:cubicBezTo>
                <a:cubicBezTo>
                  <a:pt x="2495" y="980"/>
                  <a:pt x="2495" y="980"/>
                  <a:pt x="2495" y="980"/>
                </a:cubicBezTo>
                <a:cubicBezTo>
                  <a:pt x="2492" y="980"/>
                  <a:pt x="2492" y="980"/>
                  <a:pt x="2492" y="980"/>
                </a:cubicBezTo>
                <a:cubicBezTo>
                  <a:pt x="2489" y="981"/>
                  <a:pt x="2489" y="981"/>
                  <a:pt x="2489" y="981"/>
                </a:cubicBezTo>
                <a:cubicBezTo>
                  <a:pt x="2488" y="980"/>
                  <a:pt x="2488" y="980"/>
                  <a:pt x="2488" y="980"/>
                </a:cubicBezTo>
                <a:cubicBezTo>
                  <a:pt x="2483" y="977"/>
                  <a:pt x="2483" y="977"/>
                  <a:pt x="2483" y="977"/>
                </a:cubicBezTo>
                <a:cubicBezTo>
                  <a:pt x="2479" y="976"/>
                  <a:pt x="2479" y="976"/>
                  <a:pt x="2479" y="976"/>
                </a:cubicBezTo>
                <a:cubicBezTo>
                  <a:pt x="2477" y="977"/>
                  <a:pt x="2477" y="977"/>
                  <a:pt x="2477" y="977"/>
                </a:cubicBezTo>
                <a:cubicBezTo>
                  <a:pt x="2477" y="978"/>
                  <a:pt x="2477" y="978"/>
                  <a:pt x="2477" y="978"/>
                </a:cubicBezTo>
                <a:cubicBezTo>
                  <a:pt x="2477" y="981"/>
                  <a:pt x="2477" y="981"/>
                  <a:pt x="2477" y="981"/>
                </a:cubicBezTo>
                <a:cubicBezTo>
                  <a:pt x="2480" y="987"/>
                  <a:pt x="2480" y="987"/>
                  <a:pt x="2480" y="987"/>
                </a:cubicBezTo>
                <a:cubicBezTo>
                  <a:pt x="2481" y="987"/>
                  <a:pt x="2481" y="987"/>
                  <a:pt x="2481" y="987"/>
                </a:cubicBezTo>
                <a:cubicBezTo>
                  <a:pt x="2486" y="992"/>
                  <a:pt x="2486" y="992"/>
                  <a:pt x="2486" y="992"/>
                </a:cubicBezTo>
                <a:cubicBezTo>
                  <a:pt x="2487" y="992"/>
                  <a:pt x="2487" y="992"/>
                  <a:pt x="2487" y="992"/>
                </a:cubicBezTo>
                <a:cubicBezTo>
                  <a:pt x="2490" y="996"/>
                  <a:pt x="2490" y="996"/>
                  <a:pt x="2490" y="996"/>
                </a:cubicBezTo>
                <a:cubicBezTo>
                  <a:pt x="2491" y="996"/>
                  <a:pt x="2491" y="996"/>
                  <a:pt x="2491" y="996"/>
                </a:cubicBezTo>
                <a:cubicBezTo>
                  <a:pt x="2493" y="996"/>
                  <a:pt x="2493" y="996"/>
                  <a:pt x="2493" y="996"/>
                </a:cubicBezTo>
                <a:cubicBezTo>
                  <a:pt x="2496" y="998"/>
                  <a:pt x="2496" y="998"/>
                  <a:pt x="2496" y="998"/>
                </a:cubicBezTo>
                <a:cubicBezTo>
                  <a:pt x="2500" y="1004"/>
                  <a:pt x="2500" y="1004"/>
                  <a:pt x="2500" y="1004"/>
                </a:cubicBezTo>
                <a:cubicBezTo>
                  <a:pt x="2503" y="1008"/>
                  <a:pt x="2503" y="1008"/>
                  <a:pt x="2503" y="1008"/>
                </a:cubicBezTo>
                <a:cubicBezTo>
                  <a:pt x="2504" y="1008"/>
                  <a:pt x="2504" y="1008"/>
                  <a:pt x="2504" y="1008"/>
                </a:cubicBezTo>
                <a:cubicBezTo>
                  <a:pt x="2504" y="1010"/>
                  <a:pt x="2504" y="1010"/>
                  <a:pt x="2504" y="1010"/>
                </a:cubicBezTo>
                <a:cubicBezTo>
                  <a:pt x="2505" y="1011"/>
                  <a:pt x="2505" y="1011"/>
                  <a:pt x="2505" y="1011"/>
                </a:cubicBezTo>
                <a:cubicBezTo>
                  <a:pt x="2505" y="1014"/>
                  <a:pt x="2505" y="1014"/>
                  <a:pt x="2505" y="1014"/>
                </a:cubicBezTo>
                <a:cubicBezTo>
                  <a:pt x="2507" y="1015"/>
                  <a:pt x="2507" y="1015"/>
                  <a:pt x="2507" y="1015"/>
                </a:cubicBezTo>
                <a:cubicBezTo>
                  <a:pt x="2509" y="1015"/>
                  <a:pt x="2509" y="1015"/>
                  <a:pt x="2509" y="1015"/>
                </a:cubicBezTo>
                <a:cubicBezTo>
                  <a:pt x="2512" y="1018"/>
                  <a:pt x="2512" y="1018"/>
                  <a:pt x="2512" y="1018"/>
                </a:cubicBezTo>
                <a:cubicBezTo>
                  <a:pt x="2513" y="1019"/>
                  <a:pt x="2513" y="1019"/>
                  <a:pt x="2513" y="1019"/>
                </a:cubicBezTo>
                <a:cubicBezTo>
                  <a:pt x="2514" y="1019"/>
                  <a:pt x="2514" y="1019"/>
                  <a:pt x="2514" y="1019"/>
                </a:cubicBezTo>
                <a:cubicBezTo>
                  <a:pt x="2515" y="1020"/>
                  <a:pt x="2515" y="1020"/>
                  <a:pt x="2515" y="1020"/>
                </a:cubicBezTo>
                <a:cubicBezTo>
                  <a:pt x="2514" y="1021"/>
                  <a:pt x="2514" y="1021"/>
                  <a:pt x="2514" y="1021"/>
                </a:cubicBezTo>
                <a:cubicBezTo>
                  <a:pt x="2515" y="1023"/>
                  <a:pt x="2515" y="1023"/>
                  <a:pt x="2515" y="1023"/>
                </a:cubicBezTo>
                <a:cubicBezTo>
                  <a:pt x="2516" y="1025"/>
                  <a:pt x="2516" y="1025"/>
                  <a:pt x="2516" y="1025"/>
                </a:cubicBezTo>
                <a:cubicBezTo>
                  <a:pt x="2516" y="1026"/>
                  <a:pt x="2516" y="1026"/>
                  <a:pt x="2516" y="1026"/>
                </a:cubicBezTo>
                <a:cubicBezTo>
                  <a:pt x="2518" y="1031"/>
                  <a:pt x="2518" y="1031"/>
                  <a:pt x="2518" y="1031"/>
                </a:cubicBezTo>
                <a:cubicBezTo>
                  <a:pt x="2519" y="1034"/>
                  <a:pt x="2519" y="1034"/>
                  <a:pt x="2519" y="1034"/>
                </a:cubicBezTo>
                <a:cubicBezTo>
                  <a:pt x="2521" y="1035"/>
                  <a:pt x="2521" y="1035"/>
                  <a:pt x="2521" y="1035"/>
                </a:cubicBezTo>
                <a:cubicBezTo>
                  <a:pt x="2524" y="1037"/>
                  <a:pt x="2524" y="1037"/>
                  <a:pt x="2524" y="1037"/>
                </a:cubicBezTo>
                <a:cubicBezTo>
                  <a:pt x="2524" y="1039"/>
                  <a:pt x="2524" y="1039"/>
                  <a:pt x="2524" y="1039"/>
                </a:cubicBezTo>
                <a:cubicBezTo>
                  <a:pt x="2527" y="1043"/>
                  <a:pt x="2527" y="1043"/>
                  <a:pt x="2527" y="1043"/>
                </a:cubicBezTo>
                <a:cubicBezTo>
                  <a:pt x="2529" y="1045"/>
                  <a:pt x="2529" y="1045"/>
                  <a:pt x="2529" y="1045"/>
                </a:cubicBezTo>
                <a:cubicBezTo>
                  <a:pt x="2530" y="1050"/>
                  <a:pt x="2530" y="1050"/>
                  <a:pt x="2530" y="1050"/>
                </a:cubicBezTo>
                <a:cubicBezTo>
                  <a:pt x="2534" y="1057"/>
                  <a:pt x="2534" y="1057"/>
                  <a:pt x="2534" y="1057"/>
                </a:cubicBezTo>
                <a:cubicBezTo>
                  <a:pt x="2533" y="1060"/>
                  <a:pt x="2533" y="1060"/>
                  <a:pt x="2533" y="1060"/>
                </a:cubicBezTo>
                <a:cubicBezTo>
                  <a:pt x="2534" y="1062"/>
                  <a:pt x="2534" y="1062"/>
                  <a:pt x="2534" y="1062"/>
                </a:cubicBezTo>
                <a:cubicBezTo>
                  <a:pt x="2538" y="1065"/>
                  <a:pt x="2538" y="1065"/>
                  <a:pt x="2538" y="1065"/>
                </a:cubicBezTo>
                <a:cubicBezTo>
                  <a:pt x="2542" y="1070"/>
                  <a:pt x="2542" y="1070"/>
                  <a:pt x="2542" y="1070"/>
                </a:cubicBezTo>
                <a:cubicBezTo>
                  <a:pt x="2543" y="1072"/>
                  <a:pt x="2543" y="1072"/>
                  <a:pt x="2543" y="1072"/>
                </a:cubicBezTo>
                <a:cubicBezTo>
                  <a:pt x="2545" y="1073"/>
                  <a:pt x="2545" y="1073"/>
                  <a:pt x="2545" y="1073"/>
                </a:cubicBezTo>
                <a:cubicBezTo>
                  <a:pt x="2547" y="1074"/>
                  <a:pt x="2547" y="1074"/>
                  <a:pt x="2547" y="1074"/>
                </a:cubicBezTo>
                <a:cubicBezTo>
                  <a:pt x="2549" y="1075"/>
                  <a:pt x="2549" y="1075"/>
                  <a:pt x="2549" y="1075"/>
                </a:cubicBezTo>
                <a:cubicBezTo>
                  <a:pt x="2549" y="1078"/>
                  <a:pt x="2549" y="1078"/>
                  <a:pt x="2549" y="1078"/>
                </a:cubicBezTo>
                <a:cubicBezTo>
                  <a:pt x="2552" y="1080"/>
                  <a:pt x="2552" y="1080"/>
                  <a:pt x="2552" y="1080"/>
                </a:cubicBezTo>
                <a:cubicBezTo>
                  <a:pt x="2554" y="1083"/>
                  <a:pt x="2554" y="1083"/>
                  <a:pt x="2554" y="1083"/>
                </a:cubicBezTo>
                <a:cubicBezTo>
                  <a:pt x="2559" y="1085"/>
                  <a:pt x="2559" y="1085"/>
                  <a:pt x="2559" y="1085"/>
                </a:cubicBezTo>
                <a:cubicBezTo>
                  <a:pt x="2560" y="1088"/>
                  <a:pt x="2560" y="1088"/>
                  <a:pt x="2560" y="1088"/>
                </a:cubicBezTo>
                <a:cubicBezTo>
                  <a:pt x="2563" y="1088"/>
                  <a:pt x="2563" y="1088"/>
                  <a:pt x="2563" y="1088"/>
                </a:cubicBezTo>
                <a:cubicBezTo>
                  <a:pt x="2569" y="1094"/>
                  <a:pt x="2569" y="1094"/>
                  <a:pt x="2569" y="1094"/>
                </a:cubicBezTo>
                <a:cubicBezTo>
                  <a:pt x="2569" y="1096"/>
                  <a:pt x="2569" y="1096"/>
                  <a:pt x="2569" y="1096"/>
                </a:cubicBezTo>
                <a:cubicBezTo>
                  <a:pt x="2570" y="1096"/>
                  <a:pt x="2570" y="1096"/>
                  <a:pt x="2570" y="1096"/>
                </a:cubicBezTo>
                <a:cubicBezTo>
                  <a:pt x="2572" y="1099"/>
                  <a:pt x="2572" y="1099"/>
                  <a:pt x="2572" y="1099"/>
                </a:cubicBezTo>
                <a:cubicBezTo>
                  <a:pt x="2573" y="1098"/>
                  <a:pt x="2573" y="1098"/>
                  <a:pt x="2573" y="1098"/>
                </a:cubicBezTo>
                <a:cubicBezTo>
                  <a:pt x="2573" y="1096"/>
                  <a:pt x="2573" y="1096"/>
                  <a:pt x="2573" y="1096"/>
                </a:cubicBezTo>
                <a:cubicBezTo>
                  <a:pt x="2572" y="1095"/>
                  <a:pt x="2572" y="1095"/>
                  <a:pt x="2572" y="1095"/>
                </a:cubicBezTo>
                <a:cubicBezTo>
                  <a:pt x="2572" y="1094"/>
                  <a:pt x="2572" y="1094"/>
                  <a:pt x="2572" y="1094"/>
                </a:cubicBezTo>
                <a:cubicBezTo>
                  <a:pt x="2574" y="1094"/>
                  <a:pt x="2574" y="1094"/>
                  <a:pt x="2574" y="1094"/>
                </a:cubicBezTo>
                <a:cubicBezTo>
                  <a:pt x="2578" y="1098"/>
                  <a:pt x="2578" y="1098"/>
                  <a:pt x="2578" y="1098"/>
                </a:cubicBezTo>
                <a:cubicBezTo>
                  <a:pt x="2579" y="1097"/>
                  <a:pt x="2579" y="1097"/>
                  <a:pt x="2579" y="1097"/>
                </a:cubicBezTo>
                <a:cubicBezTo>
                  <a:pt x="2579" y="1094"/>
                  <a:pt x="2579" y="1094"/>
                  <a:pt x="2579" y="1094"/>
                </a:cubicBezTo>
                <a:cubicBezTo>
                  <a:pt x="2579" y="1093"/>
                  <a:pt x="2579" y="1093"/>
                  <a:pt x="2579" y="1093"/>
                </a:cubicBezTo>
                <a:lnTo>
                  <a:pt x="2581" y="1093"/>
                </a:lnTo>
                <a:close/>
                <a:moveTo>
                  <a:pt x="2513" y="1047"/>
                </a:moveTo>
                <a:cubicBezTo>
                  <a:pt x="2511" y="1049"/>
                  <a:pt x="2511" y="1049"/>
                  <a:pt x="2511" y="1049"/>
                </a:cubicBezTo>
                <a:cubicBezTo>
                  <a:pt x="2511" y="1050"/>
                  <a:pt x="2511" y="1050"/>
                  <a:pt x="2511" y="1050"/>
                </a:cubicBezTo>
                <a:cubicBezTo>
                  <a:pt x="2514" y="1051"/>
                  <a:pt x="2514" y="1051"/>
                  <a:pt x="2514" y="1051"/>
                </a:cubicBezTo>
                <a:cubicBezTo>
                  <a:pt x="2516" y="1055"/>
                  <a:pt x="2516" y="1055"/>
                  <a:pt x="2516" y="1055"/>
                </a:cubicBezTo>
                <a:cubicBezTo>
                  <a:pt x="2519" y="1056"/>
                  <a:pt x="2519" y="1056"/>
                  <a:pt x="2519" y="1056"/>
                </a:cubicBezTo>
                <a:cubicBezTo>
                  <a:pt x="2519" y="1052"/>
                  <a:pt x="2519" y="1052"/>
                  <a:pt x="2519" y="1052"/>
                </a:cubicBezTo>
                <a:cubicBezTo>
                  <a:pt x="2516" y="1048"/>
                  <a:pt x="2516" y="1048"/>
                  <a:pt x="2516" y="1048"/>
                </a:cubicBezTo>
                <a:lnTo>
                  <a:pt x="2513" y="1047"/>
                </a:lnTo>
                <a:close/>
                <a:moveTo>
                  <a:pt x="2526" y="1064"/>
                </a:moveTo>
                <a:cubicBezTo>
                  <a:pt x="2526" y="1067"/>
                  <a:pt x="2526" y="1067"/>
                  <a:pt x="2526" y="1067"/>
                </a:cubicBezTo>
                <a:cubicBezTo>
                  <a:pt x="2528" y="1065"/>
                  <a:pt x="2528" y="1065"/>
                  <a:pt x="2528" y="1065"/>
                </a:cubicBezTo>
                <a:lnTo>
                  <a:pt x="2526" y="1064"/>
                </a:lnTo>
                <a:close/>
                <a:moveTo>
                  <a:pt x="2521" y="1059"/>
                </a:moveTo>
                <a:cubicBezTo>
                  <a:pt x="2523" y="1061"/>
                  <a:pt x="2523" y="1061"/>
                  <a:pt x="2523" y="1061"/>
                </a:cubicBezTo>
                <a:cubicBezTo>
                  <a:pt x="2525" y="1061"/>
                  <a:pt x="2525" y="1061"/>
                  <a:pt x="2525" y="1061"/>
                </a:cubicBezTo>
                <a:cubicBezTo>
                  <a:pt x="2522" y="1058"/>
                  <a:pt x="2522" y="1058"/>
                  <a:pt x="2522" y="1058"/>
                </a:cubicBezTo>
                <a:lnTo>
                  <a:pt x="2521" y="1059"/>
                </a:lnTo>
                <a:close/>
                <a:moveTo>
                  <a:pt x="2424" y="794"/>
                </a:moveTo>
                <a:cubicBezTo>
                  <a:pt x="2425" y="796"/>
                  <a:pt x="2425" y="796"/>
                  <a:pt x="2425" y="796"/>
                </a:cubicBezTo>
                <a:cubicBezTo>
                  <a:pt x="2426" y="796"/>
                  <a:pt x="2426" y="796"/>
                  <a:pt x="2426" y="796"/>
                </a:cubicBezTo>
                <a:cubicBezTo>
                  <a:pt x="2426" y="794"/>
                  <a:pt x="2426" y="794"/>
                  <a:pt x="2426" y="794"/>
                </a:cubicBezTo>
                <a:cubicBezTo>
                  <a:pt x="2425" y="794"/>
                  <a:pt x="2425" y="794"/>
                  <a:pt x="2425" y="794"/>
                </a:cubicBezTo>
                <a:lnTo>
                  <a:pt x="2424" y="794"/>
                </a:lnTo>
                <a:close/>
                <a:moveTo>
                  <a:pt x="2394" y="804"/>
                </a:moveTo>
                <a:cubicBezTo>
                  <a:pt x="2395" y="806"/>
                  <a:pt x="2395" y="806"/>
                  <a:pt x="2395" y="806"/>
                </a:cubicBezTo>
                <a:cubicBezTo>
                  <a:pt x="2396" y="807"/>
                  <a:pt x="2396" y="807"/>
                  <a:pt x="2396" y="807"/>
                </a:cubicBezTo>
                <a:cubicBezTo>
                  <a:pt x="2395" y="805"/>
                  <a:pt x="2395" y="805"/>
                  <a:pt x="2395" y="805"/>
                </a:cubicBezTo>
                <a:lnTo>
                  <a:pt x="2394" y="804"/>
                </a:lnTo>
                <a:close/>
                <a:moveTo>
                  <a:pt x="2396" y="804"/>
                </a:moveTo>
                <a:cubicBezTo>
                  <a:pt x="2396" y="806"/>
                  <a:pt x="2396" y="806"/>
                  <a:pt x="2396" y="806"/>
                </a:cubicBezTo>
                <a:cubicBezTo>
                  <a:pt x="2397" y="806"/>
                  <a:pt x="2397" y="806"/>
                  <a:pt x="2397" y="806"/>
                </a:cubicBezTo>
                <a:cubicBezTo>
                  <a:pt x="2397" y="805"/>
                  <a:pt x="2397" y="805"/>
                  <a:pt x="2397" y="805"/>
                </a:cubicBezTo>
                <a:cubicBezTo>
                  <a:pt x="2397" y="804"/>
                  <a:pt x="2397" y="804"/>
                  <a:pt x="2397" y="804"/>
                </a:cubicBezTo>
                <a:lnTo>
                  <a:pt x="2396" y="804"/>
                </a:lnTo>
                <a:close/>
                <a:moveTo>
                  <a:pt x="2398" y="806"/>
                </a:moveTo>
                <a:cubicBezTo>
                  <a:pt x="2399" y="806"/>
                  <a:pt x="2399" y="806"/>
                  <a:pt x="2399" y="806"/>
                </a:cubicBezTo>
                <a:cubicBezTo>
                  <a:pt x="2398" y="804"/>
                  <a:pt x="2398" y="804"/>
                  <a:pt x="2398" y="804"/>
                </a:cubicBezTo>
                <a:lnTo>
                  <a:pt x="2398" y="806"/>
                </a:lnTo>
                <a:close/>
                <a:moveTo>
                  <a:pt x="2449" y="836"/>
                </a:moveTo>
                <a:cubicBezTo>
                  <a:pt x="2449" y="838"/>
                  <a:pt x="2449" y="838"/>
                  <a:pt x="2449" y="838"/>
                </a:cubicBezTo>
                <a:cubicBezTo>
                  <a:pt x="2451" y="839"/>
                  <a:pt x="2451" y="839"/>
                  <a:pt x="2451" y="839"/>
                </a:cubicBezTo>
                <a:cubicBezTo>
                  <a:pt x="2452" y="837"/>
                  <a:pt x="2452" y="837"/>
                  <a:pt x="2452" y="837"/>
                </a:cubicBezTo>
                <a:cubicBezTo>
                  <a:pt x="2450" y="836"/>
                  <a:pt x="2450" y="836"/>
                  <a:pt x="2450" y="836"/>
                </a:cubicBezTo>
                <a:lnTo>
                  <a:pt x="2449" y="836"/>
                </a:lnTo>
                <a:close/>
                <a:moveTo>
                  <a:pt x="2419" y="792"/>
                </a:moveTo>
                <a:cubicBezTo>
                  <a:pt x="2417" y="793"/>
                  <a:pt x="2417" y="793"/>
                  <a:pt x="2417" y="793"/>
                </a:cubicBezTo>
                <a:cubicBezTo>
                  <a:pt x="2417" y="794"/>
                  <a:pt x="2417" y="794"/>
                  <a:pt x="2417" y="794"/>
                </a:cubicBezTo>
                <a:cubicBezTo>
                  <a:pt x="2418" y="797"/>
                  <a:pt x="2418" y="797"/>
                  <a:pt x="2418" y="797"/>
                </a:cubicBezTo>
                <a:cubicBezTo>
                  <a:pt x="2420" y="797"/>
                  <a:pt x="2420" y="797"/>
                  <a:pt x="2420" y="797"/>
                </a:cubicBezTo>
                <a:cubicBezTo>
                  <a:pt x="2420" y="794"/>
                  <a:pt x="2420" y="794"/>
                  <a:pt x="2420" y="794"/>
                </a:cubicBezTo>
                <a:lnTo>
                  <a:pt x="2419" y="792"/>
                </a:lnTo>
                <a:close/>
                <a:moveTo>
                  <a:pt x="2392" y="805"/>
                </a:moveTo>
                <a:cubicBezTo>
                  <a:pt x="2392" y="806"/>
                  <a:pt x="2392" y="806"/>
                  <a:pt x="2392" y="806"/>
                </a:cubicBezTo>
                <a:cubicBezTo>
                  <a:pt x="2392" y="805"/>
                  <a:pt x="2392" y="805"/>
                  <a:pt x="2392" y="805"/>
                </a:cubicBezTo>
                <a:cubicBezTo>
                  <a:pt x="2393" y="803"/>
                  <a:pt x="2393" y="803"/>
                  <a:pt x="2393" y="803"/>
                </a:cubicBezTo>
                <a:cubicBezTo>
                  <a:pt x="2393" y="802"/>
                  <a:pt x="2393" y="802"/>
                  <a:pt x="2393" y="802"/>
                </a:cubicBezTo>
                <a:lnTo>
                  <a:pt x="2392" y="805"/>
                </a:lnTo>
                <a:close/>
                <a:moveTo>
                  <a:pt x="2323" y="935"/>
                </a:moveTo>
                <a:cubicBezTo>
                  <a:pt x="2325" y="936"/>
                  <a:pt x="2325" y="936"/>
                  <a:pt x="2325" y="936"/>
                </a:cubicBezTo>
                <a:cubicBezTo>
                  <a:pt x="2326" y="937"/>
                  <a:pt x="2326" y="937"/>
                  <a:pt x="2326" y="937"/>
                </a:cubicBezTo>
                <a:cubicBezTo>
                  <a:pt x="2328" y="937"/>
                  <a:pt x="2328" y="937"/>
                  <a:pt x="2328" y="937"/>
                </a:cubicBezTo>
                <a:cubicBezTo>
                  <a:pt x="2329" y="938"/>
                  <a:pt x="2329" y="938"/>
                  <a:pt x="2329" y="938"/>
                </a:cubicBezTo>
                <a:cubicBezTo>
                  <a:pt x="2328" y="937"/>
                  <a:pt x="2328" y="937"/>
                  <a:pt x="2328" y="937"/>
                </a:cubicBezTo>
                <a:cubicBezTo>
                  <a:pt x="2326" y="935"/>
                  <a:pt x="2326" y="935"/>
                  <a:pt x="2326" y="935"/>
                </a:cubicBezTo>
                <a:cubicBezTo>
                  <a:pt x="2325" y="934"/>
                  <a:pt x="2325" y="934"/>
                  <a:pt x="2325" y="934"/>
                </a:cubicBezTo>
                <a:cubicBezTo>
                  <a:pt x="2324" y="933"/>
                  <a:pt x="2324" y="933"/>
                  <a:pt x="2324" y="933"/>
                </a:cubicBezTo>
                <a:cubicBezTo>
                  <a:pt x="2324" y="934"/>
                  <a:pt x="2324" y="934"/>
                  <a:pt x="2324" y="934"/>
                </a:cubicBezTo>
                <a:cubicBezTo>
                  <a:pt x="2324" y="934"/>
                  <a:pt x="2324" y="934"/>
                  <a:pt x="2324" y="934"/>
                </a:cubicBezTo>
                <a:cubicBezTo>
                  <a:pt x="2323" y="934"/>
                  <a:pt x="2323" y="934"/>
                  <a:pt x="2323" y="934"/>
                </a:cubicBezTo>
                <a:lnTo>
                  <a:pt x="2323" y="935"/>
                </a:lnTo>
                <a:close/>
                <a:moveTo>
                  <a:pt x="2323" y="933"/>
                </a:moveTo>
                <a:cubicBezTo>
                  <a:pt x="2322" y="932"/>
                  <a:pt x="2322" y="932"/>
                  <a:pt x="2322" y="932"/>
                </a:cubicBezTo>
                <a:cubicBezTo>
                  <a:pt x="2319" y="933"/>
                  <a:pt x="2319" y="933"/>
                  <a:pt x="2319" y="933"/>
                </a:cubicBezTo>
                <a:cubicBezTo>
                  <a:pt x="2319" y="934"/>
                  <a:pt x="2319" y="934"/>
                  <a:pt x="2319" y="934"/>
                </a:cubicBezTo>
                <a:cubicBezTo>
                  <a:pt x="2322" y="936"/>
                  <a:pt x="2322" y="936"/>
                  <a:pt x="2322" y="936"/>
                </a:cubicBezTo>
                <a:cubicBezTo>
                  <a:pt x="2321" y="935"/>
                  <a:pt x="2321" y="935"/>
                  <a:pt x="2321" y="935"/>
                </a:cubicBezTo>
                <a:cubicBezTo>
                  <a:pt x="2322" y="935"/>
                  <a:pt x="2322" y="935"/>
                  <a:pt x="2322" y="935"/>
                </a:cubicBezTo>
                <a:lnTo>
                  <a:pt x="2323" y="933"/>
                </a:lnTo>
                <a:close/>
                <a:moveTo>
                  <a:pt x="2448" y="910"/>
                </a:moveTo>
                <a:cubicBezTo>
                  <a:pt x="2449" y="908"/>
                  <a:pt x="2449" y="908"/>
                  <a:pt x="2449" y="908"/>
                </a:cubicBezTo>
                <a:cubicBezTo>
                  <a:pt x="2450" y="907"/>
                  <a:pt x="2450" y="907"/>
                  <a:pt x="2450" y="907"/>
                </a:cubicBezTo>
                <a:cubicBezTo>
                  <a:pt x="2450" y="906"/>
                  <a:pt x="2450" y="906"/>
                  <a:pt x="2450" y="906"/>
                </a:cubicBezTo>
                <a:cubicBezTo>
                  <a:pt x="2447" y="907"/>
                  <a:pt x="2447" y="907"/>
                  <a:pt x="2447" y="907"/>
                </a:cubicBezTo>
                <a:cubicBezTo>
                  <a:pt x="2447" y="910"/>
                  <a:pt x="2447" y="910"/>
                  <a:pt x="2447" y="910"/>
                </a:cubicBezTo>
                <a:cubicBezTo>
                  <a:pt x="2446" y="911"/>
                  <a:pt x="2446" y="911"/>
                  <a:pt x="2446" y="911"/>
                </a:cubicBezTo>
                <a:cubicBezTo>
                  <a:pt x="2447" y="914"/>
                  <a:pt x="2447" y="914"/>
                  <a:pt x="2447" y="914"/>
                </a:cubicBezTo>
                <a:cubicBezTo>
                  <a:pt x="2447" y="915"/>
                  <a:pt x="2447" y="915"/>
                  <a:pt x="2447" y="915"/>
                </a:cubicBezTo>
                <a:cubicBezTo>
                  <a:pt x="2447" y="917"/>
                  <a:pt x="2447" y="917"/>
                  <a:pt x="2447" y="917"/>
                </a:cubicBezTo>
                <a:cubicBezTo>
                  <a:pt x="2449" y="914"/>
                  <a:pt x="2449" y="914"/>
                  <a:pt x="2449" y="914"/>
                </a:cubicBezTo>
                <a:cubicBezTo>
                  <a:pt x="2449" y="912"/>
                  <a:pt x="2449" y="912"/>
                  <a:pt x="2449" y="912"/>
                </a:cubicBezTo>
                <a:lnTo>
                  <a:pt x="2448" y="910"/>
                </a:lnTo>
                <a:close/>
                <a:moveTo>
                  <a:pt x="2449" y="905"/>
                </a:moveTo>
                <a:cubicBezTo>
                  <a:pt x="2451" y="903"/>
                  <a:pt x="2451" y="903"/>
                  <a:pt x="2451" y="903"/>
                </a:cubicBezTo>
                <a:cubicBezTo>
                  <a:pt x="2451" y="900"/>
                  <a:pt x="2451" y="900"/>
                  <a:pt x="2451" y="900"/>
                </a:cubicBezTo>
                <a:cubicBezTo>
                  <a:pt x="2449" y="900"/>
                  <a:pt x="2449" y="900"/>
                  <a:pt x="2449" y="900"/>
                </a:cubicBezTo>
                <a:cubicBezTo>
                  <a:pt x="2451" y="897"/>
                  <a:pt x="2451" y="897"/>
                  <a:pt x="2451" y="897"/>
                </a:cubicBezTo>
                <a:cubicBezTo>
                  <a:pt x="2451" y="895"/>
                  <a:pt x="2451" y="895"/>
                  <a:pt x="2451" y="895"/>
                </a:cubicBezTo>
                <a:cubicBezTo>
                  <a:pt x="2450" y="894"/>
                  <a:pt x="2450" y="894"/>
                  <a:pt x="2450" y="894"/>
                </a:cubicBezTo>
                <a:cubicBezTo>
                  <a:pt x="2451" y="893"/>
                  <a:pt x="2451" y="893"/>
                  <a:pt x="2451" y="893"/>
                </a:cubicBezTo>
                <a:cubicBezTo>
                  <a:pt x="2451" y="892"/>
                  <a:pt x="2451" y="892"/>
                  <a:pt x="2451" y="892"/>
                </a:cubicBezTo>
                <a:cubicBezTo>
                  <a:pt x="2449" y="894"/>
                  <a:pt x="2449" y="894"/>
                  <a:pt x="2449" y="894"/>
                </a:cubicBezTo>
                <a:cubicBezTo>
                  <a:pt x="2449" y="897"/>
                  <a:pt x="2449" y="897"/>
                  <a:pt x="2449" y="897"/>
                </a:cubicBezTo>
                <a:cubicBezTo>
                  <a:pt x="2448" y="898"/>
                  <a:pt x="2448" y="898"/>
                  <a:pt x="2448" y="898"/>
                </a:cubicBezTo>
                <a:cubicBezTo>
                  <a:pt x="2449" y="900"/>
                  <a:pt x="2449" y="900"/>
                  <a:pt x="2449" y="900"/>
                </a:cubicBezTo>
                <a:cubicBezTo>
                  <a:pt x="2448" y="904"/>
                  <a:pt x="2448" y="904"/>
                  <a:pt x="2448" y="904"/>
                </a:cubicBezTo>
                <a:lnTo>
                  <a:pt x="2449" y="905"/>
                </a:lnTo>
                <a:close/>
                <a:moveTo>
                  <a:pt x="2451" y="940"/>
                </a:moveTo>
                <a:cubicBezTo>
                  <a:pt x="2452" y="938"/>
                  <a:pt x="2452" y="938"/>
                  <a:pt x="2452" y="938"/>
                </a:cubicBezTo>
                <a:cubicBezTo>
                  <a:pt x="2450" y="939"/>
                  <a:pt x="2450" y="939"/>
                  <a:pt x="2450" y="939"/>
                </a:cubicBezTo>
                <a:lnTo>
                  <a:pt x="2451" y="940"/>
                </a:lnTo>
                <a:close/>
                <a:moveTo>
                  <a:pt x="2421" y="793"/>
                </a:moveTo>
                <a:cubicBezTo>
                  <a:pt x="2421" y="793"/>
                  <a:pt x="2421" y="794"/>
                  <a:pt x="2421" y="794"/>
                </a:cubicBezTo>
                <a:cubicBezTo>
                  <a:pt x="2422" y="796"/>
                  <a:pt x="2422" y="796"/>
                  <a:pt x="2422" y="796"/>
                </a:cubicBezTo>
                <a:cubicBezTo>
                  <a:pt x="2421" y="798"/>
                  <a:pt x="2421" y="798"/>
                  <a:pt x="2421" y="798"/>
                </a:cubicBezTo>
                <a:cubicBezTo>
                  <a:pt x="2422" y="799"/>
                  <a:pt x="2422" y="799"/>
                  <a:pt x="2422" y="799"/>
                </a:cubicBezTo>
                <a:cubicBezTo>
                  <a:pt x="2424" y="796"/>
                  <a:pt x="2424" y="796"/>
                  <a:pt x="2424" y="796"/>
                </a:cubicBezTo>
                <a:cubicBezTo>
                  <a:pt x="2423" y="795"/>
                  <a:pt x="2423" y="795"/>
                  <a:pt x="2423" y="795"/>
                </a:cubicBezTo>
                <a:lnTo>
                  <a:pt x="2421" y="793"/>
                </a:lnTo>
                <a:close/>
                <a:moveTo>
                  <a:pt x="2446" y="922"/>
                </a:moveTo>
                <a:cubicBezTo>
                  <a:pt x="2446" y="924"/>
                  <a:pt x="2446" y="924"/>
                  <a:pt x="2446" y="924"/>
                </a:cubicBezTo>
                <a:cubicBezTo>
                  <a:pt x="2446" y="924"/>
                  <a:pt x="2446" y="926"/>
                  <a:pt x="2446" y="926"/>
                </a:cubicBezTo>
                <a:cubicBezTo>
                  <a:pt x="2448" y="926"/>
                  <a:pt x="2448" y="926"/>
                  <a:pt x="2448" y="926"/>
                </a:cubicBezTo>
                <a:cubicBezTo>
                  <a:pt x="2449" y="923"/>
                  <a:pt x="2449" y="923"/>
                  <a:pt x="2449" y="923"/>
                </a:cubicBezTo>
                <a:cubicBezTo>
                  <a:pt x="2448" y="921"/>
                  <a:pt x="2448" y="921"/>
                  <a:pt x="2448" y="921"/>
                </a:cubicBezTo>
                <a:lnTo>
                  <a:pt x="2446" y="922"/>
                </a:lnTo>
                <a:close/>
                <a:moveTo>
                  <a:pt x="2508" y="953"/>
                </a:moveTo>
                <a:cubicBezTo>
                  <a:pt x="2508" y="950"/>
                  <a:pt x="2508" y="950"/>
                  <a:pt x="2508" y="950"/>
                </a:cubicBezTo>
                <a:cubicBezTo>
                  <a:pt x="2508" y="950"/>
                  <a:pt x="2507" y="950"/>
                  <a:pt x="2507" y="950"/>
                </a:cubicBezTo>
                <a:cubicBezTo>
                  <a:pt x="2507" y="951"/>
                  <a:pt x="2507" y="951"/>
                  <a:pt x="2507" y="951"/>
                </a:cubicBezTo>
                <a:cubicBezTo>
                  <a:pt x="2507" y="952"/>
                  <a:pt x="2507" y="952"/>
                  <a:pt x="2507" y="952"/>
                </a:cubicBezTo>
                <a:cubicBezTo>
                  <a:pt x="2507" y="954"/>
                  <a:pt x="2507" y="954"/>
                  <a:pt x="2507" y="954"/>
                </a:cubicBezTo>
                <a:lnTo>
                  <a:pt x="2508" y="953"/>
                </a:lnTo>
                <a:close/>
                <a:moveTo>
                  <a:pt x="2442" y="915"/>
                </a:moveTo>
                <a:cubicBezTo>
                  <a:pt x="2444" y="915"/>
                  <a:pt x="2444" y="915"/>
                  <a:pt x="2444" y="915"/>
                </a:cubicBezTo>
                <a:cubicBezTo>
                  <a:pt x="2443" y="914"/>
                  <a:pt x="2443" y="914"/>
                  <a:pt x="2443" y="914"/>
                </a:cubicBezTo>
                <a:lnTo>
                  <a:pt x="2442" y="915"/>
                </a:lnTo>
                <a:close/>
                <a:moveTo>
                  <a:pt x="2724" y="696"/>
                </a:moveTo>
                <a:cubicBezTo>
                  <a:pt x="2722" y="695"/>
                  <a:pt x="2722" y="695"/>
                  <a:pt x="2722" y="695"/>
                </a:cubicBezTo>
                <a:cubicBezTo>
                  <a:pt x="2721" y="695"/>
                  <a:pt x="2721" y="695"/>
                  <a:pt x="2721" y="695"/>
                </a:cubicBezTo>
                <a:cubicBezTo>
                  <a:pt x="2720" y="695"/>
                  <a:pt x="2720" y="695"/>
                  <a:pt x="2720" y="695"/>
                </a:cubicBezTo>
                <a:cubicBezTo>
                  <a:pt x="2720" y="696"/>
                  <a:pt x="2720" y="696"/>
                  <a:pt x="2720" y="696"/>
                </a:cubicBezTo>
                <a:cubicBezTo>
                  <a:pt x="2722" y="697"/>
                  <a:pt x="2722" y="697"/>
                  <a:pt x="2722" y="697"/>
                </a:cubicBezTo>
                <a:cubicBezTo>
                  <a:pt x="2724" y="698"/>
                  <a:pt x="2724" y="698"/>
                  <a:pt x="2724" y="698"/>
                </a:cubicBezTo>
                <a:lnTo>
                  <a:pt x="2724" y="696"/>
                </a:lnTo>
                <a:close/>
                <a:moveTo>
                  <a:pt x="2607" y="838"/>
                </a:moveTo>
                <a:cubicBezTo>
                  <a:pt x="2609" y="838"/>
                  <a:pt x="2609" y="838"/>
                  <a:pt x="2609" y="838"/>
                </a:cubicBezTo>
                <a:cubicBezTo>
                  <a:pt x="2610" y="839"/>
                  <a:pt x="2610" y="839"/>
                  <a:pt x="2610" y="839"/>
                </a:cubicBezTo>
                <a:cubicBezTo>
                  <a:pt x="2612" y="839"/>
                  <a:pt x="2612" y="839"/>
                  <a:pt x="2612" y="839"/>
                </a:cubicBezTo>
                <a:cubicBezTo>
                  <a:pt x="2614" y="840"/>
                  <a:pt x="2614" y="840"/>
                  <a:pt x="2614" y="840"/>
                </a:cubicBezTo>
                <a:cubicBezTo>
                  <a:pt x="2615" y="839"/>
                  <a:pt x="2615" y="839"/>
                  <a:pt x="2615" y="839"/>
                </a:cubicBezTo>
                <a:cubicBezTo>
                  <a:pt x="2615" y="838"/>
                  <a:pt x="2615" y="838"/>
                  <a:pt x="2615" y="838"/>
                </a:cubicBezTo>
                <a:cubicBezTo>
                  <a:pt x="2617" y="837"/>
                  <a:pt x="2617" y="837"/>
                  <a:pt x="2617" y="837"/>
                </a:cubicBezTo>
                <a:cubicBezTo>
                  <a:pt x="2619" y="838"/>
                  <a:pt x="2619" y="838"/>
                  <a:pt x="2619" y="838"/>
                </a:cubicBezTo>
                <a:cubicBezTo>
                  <a:pt x="2620" y="836"/>
                  <a:pt x="2620" y="836"/>
                  <a:pt x="2620" y="836"/>
                </a:cubicBezTo>
                <a:cubicBezTo>
                  <a:pt x="2620" y="835"/>
                  <a:pt x="2620" y="835"/>
                  <a:pt x="2620" y="835"/>
                </a:cubicBezTo>
                <a:cubicBezTo>
                  <a:pt x="2622" y="835"/>
                  <a:pt x="2622" y="835"/>
                  <a:pt x="2622" y="835"/>
                </a:cubicBezTo>
                <a:cubicBezTo>
                  <a:pt x="2623" y="833"/>
                  <a:pt x="2623" y="833"/>
                  <a:pt x="2623" y="833"/>
                </a:cubicBezTo>
                <a:cubicBezTo>
                  <a:pt x="2623" y="831"/>
                  <a:pt x="2623" y="831"/>
                  <a:pt x="2623" y="831"/>
                </a:cubicBezTo>
                <a:cubicBezTo>
                  <a:pt x="2624" y="828"/>
                  <a:pt x="2624" y="828"/>
                  <a:pt x="2624" y="828"/>
                </a:cubicBezTo>
                <a:cubicBezTo>
                  <a:pt x="2625" y="827"/>
                  <a:pt x="2625" y="827"/>
                  <a:pt x="2625" y="827"/>
                </a:cubicBezTo>
                <a:cubicBezTo>
                  <a:pt x="2626" y="826"/>
                  <a:pt x="2626" y="826"/>
                  <a:pt x="2626" y="826"/>
                </a:cubicBezTo>
                <a:cubicBezTo>
                  <a:pt x="2627" y="823"/>
                  <a:pt x="2627" y="823"/>
                  <a:pt x="2627" y="823"/>
                </a:cubicBezTo>
                <a:cubicBezTo>
                  <a:pt x="2626" y="821"/>
                  <a:pt x="2626" y="821"/>
                  <a:pt x="2626" y="821"/>
                </a:cubicBezTo>
                <a:cubicBezTo>
                  <a:pt x="2624" y="819"/>
                  <a:pt x="2624" y="819"/>
                  <a:pt x="2624" y="819"/>
                </a:cubicBezTo>
                <a:cubicBezTo>
                  <a:pt x="2622" y="819"/>
                  <a:pt x="2622" y="819"/>
                  <a:pt x="2622" y="819"/>
                </a:cubicBezTo>
                <a:cubicBezTo>
                  <a:pt x="2620" y="820"/>
                  <a:pt x="2620" y="820"/>
                  <a:pt x="2620" y="820"/>
                </a:cubicBezTo>
                <a:cubicBezTo>
                  <a:pt x="2620" y="820"/>
                  <a:pt x="2619" y="819"/>
                  <a:pt x="2619" y="819"/>
                </a:cubicBezTo>
                <a:cubicBezTo>
                  <a:pt x="2617" y="819"/>
                  <a:pt x="2617" y="819"/>
                  <a:pt x="2617" y="819"/>
                </a:cubicBezTo>
                <a:cubicBezTo>
                  <a:pt x="2616" y="819"/>
                  <a:pt x="2616" y="819"/>
                  <a:pt x="2616" y="819"/>
                </a:cubicBezTo>
                <a:cubicBezTo>
                  <a:pt x="2615" y="820"/>
                  <a:pt x="2615" y="820"/>
                  <a:pt x="2615" y="820"/>
                </a:cubicBezTo>
                <a:cubicBezTo>
                  <a:pt x="2613" y="820"/>
                  <a:pt x="2613" y="820"/>
                  <a:pt x="2613" y="820"/>
                </a:cubicBezTo>
                <a:cubicBezTo>
                  <a:pt x="2611" y="821"/>
                  <a:pt x="2611" y="821"/>
                  <a:pt x="2611" y="821"/>
                </a:cubicBezTo>
                <a:cubicBezTo>
                  <a:pt x="2609" y="821"/>
                  <a:pt x="2609" y="821"/>
                  <a:pt x="2609" y="821"/>
                </a:cubicBezTo>
                <a:cubicBezTo>
                  <a:pt x="2609" y="823"/>
                  <a:pt x="2609" y="823"/>
                  <a:pt x="2609" y="823"/>
                </a:cubicBezTo>
                <a:cubicBezTo>
                  <a:pt x="2606" y="825"/>
                  <a:pt x="2606" y="825"/>
                  <a:pt x="2606" y="825"/>
                </a:cubicBezTo>
                <a:cubicBezTo>
                  <a:pt x="2603" y="828"/>
                  <a:pt x="2603" y="828"/>
                  <a:pt x="2603" y="828"/>
                </a:cubicBezTo>
                <a:cubicBezTo>
                  <a:pt x="2604" y="829"/>
                  <a:pt x="2604" y="829"/>
                  <a:pt x="2604" y="829"/>
                </a:cubicBezTo>
                <a:cubicBezTo>
                  <a:pt x="2604" y="833"/>
                  <a:pt x="2604" y="833"/>
                  <a:pt x="2604" y="833"/>
                </a:cubicBezTo>
                <a:cubicBezTo>
                  <a:pt x="2605" y="835"/>
                  <a:pt x="2605" y="835"/>
                  <a:pt x="2605" y="835"/>
                </a:cubicBezTo>
                <a:cubicBezTo>
                  <a:pt x="2605" y="836"/>
                  <a:pt x="2605" y="836"/>
                  <a:pt x="2605" y="836"/>
                </a:cubicBezTo>
                <a:lnTo>
                  <a:pt x="2607" y="838"/>
                </a:lnTo>
                <a:close/>
                <a:moveTo>
                  <a:pt x="2691" y="1063"/>
                </a:moveTo>
                <a:cubicBezTo>
                  <a:pt x="2692" y="1063"/>
                  <a:pt x="2692" y="1063"/>
                  <a:pt x="2692" y="1063"/>
                </a:cubicBezTo>
                <a:cubicBezTo>
                  <a:pt x="2693" y="1062"/>
                  <a:pt x="2693" y="1062"/>
                  <a:pt x="2693" y="1062"/>
                </a:cubicBezTo>
                <a:cubicBezTo>
                  <a:pt x="2693" y="1060"/>
                  <a:pt x="2693" y="1060"/>
                  <a:pt x="2693" y="1060"/>
                </a:cubicBezTo>
                <a:cubicBezTo>
                  <a:pt x="2691" y="1060"/>
                  <a:pt x="2691" y="1060"/>
                  <a:pt x="2691" y="1060"/>
                </a:cubicBezTo>
                <a:cubicBezTo>
                  <a:pt x="2691" y="1060"/>
                  <a:pt x="2691" y="1060"/>
                  <a:pt x="2691" y="1060"/>
                </a:cubicBezTo>
                <a:cubicBezTo>
                  <a:pt x="2692" y="1059"/>
                  <a:pt x="2692" y="1059"/>
                  <a:pt x="2692" y="1059"/>
                </a:cubicBezTo>
                <a:cubicBezTo>
                  <a:pt x="2692" y="1057"/>
                  <a:pt x="2692" y="1057"/>
                  <a:pt x="2692" y="1057"/>
                </a:cubicBezTo>
                <a:cubicBezTo>
                  <a:pt x="2692" y="1057"/>
                  <a:pt x="2692" y="1057"/>
                  <a:pt x="2692" y="1057"/>
                </a:cubicBezTo>
                <a:cubicBezTo>
                  <a:pt x="2689" y="1057"/>
                  <a:pt x="2689" y="1057"/>
                  <a:pt x="2689" y="1057"/>
                </a:cubicBezTo>
                <a:cubicBezTo>
                  <a:pt x="2690" y="1056"/>
                  <a:pt x="2690" y="1056"/>
                  <a:pt x="2690" y="1056"/>
                </a:cubicBezTo>
                <a:cubicBezTo>
                  <a:pt x="2690" y="1055"/>
                  <a:pt x="2690" y="1055"/>
                  <a:pt x="2690" y="1055"/>
                </a:cubicBezTo>
                <a:cubicBezTo>
                  <a:pt x="2691" y="1055"/>
                  <a:pt x="2691" y="1055"/>
                  <a:pt x="2691" y="1055"/>
                </a:cubicBezTo>
                <a:cubicBezTo>
                  <a:pt x="2693" y="1054"/>
                  <a:pt x="2693" y="1054"/>
                  <a:pt x="2693" y="1054"/>
                </a:cubicBezTo>
                <a:cubicBezTo>
                  <a:pt x="2693" y="1053"/>
                  <a:pt x="2693" y="1053"/>
                  <a:pt x="2693" y="1053"/>
                </a:cubicBezTo>
                <a:cubicBezTo>
                  <a:pt x="2695" y="1051"/>
                  <a:pt x="2695" y="1051"/>
                  <a:pt x="2695" y="1051"/>
                </a:cubicBezTo>
                <a:cubicBezTo>
                  <a:pt x="2695" y="1049"/>
                  <a:pt x="2695" y="1049"/>
                  <a:pt x="2695" y="1049"/>
                </a:cubicBezTo>
                <a:cubicBezTo>
                  <a:pt x="2695" y="1047"/>
                  <a:pt x="2695" y="1047"/>
                  <a:pt x="2695" y="1047"/>
                </a:cubicBezTo>
                <a:cubicBezTo>
                  <a:pt x="2696" y="1048"/>
                  <a:pt x="2696" y="1048"/>
                  <a:pt x="2696" y="1048"/>
                </a:cubicBezTo>
                <a:cubicBezTo>
                  <a:pt x="2696" y="1050"/>
                  <a:pt x="2696" y="1050"/>
                  <a:pt x="2696" y="1050"/>
                </a:cubicBezTo>
                <a:cubicBezTo>
                  <a:pt x="2698" y="1048"/>
                  <a:pt x="2698" y="1048"/>
                  <a:pt x="2698" y="1048"/>
                </a:cubicBezTo>
                <a:cubicBezTo>
                  <a:pt x="2699" y="1046"/>
                  <a:pt x="2699" y="1046"/>
                  <a:pt x="2699" y="1046"/>
                </a:cubicBezTo>
                <a:cubicBezTo>
                  <a:pt x="2698" y="1043"/>
                  <a:pt x="2698" y="1043"/>
                  <a:pt x="2698" y="1043"/>
                </a:cubicBezTo>
                <a:cubicBezTo>
                  <a:pt x="2701" y="1041"/>
                  <a:pt x="2701" y="1041"/>
                  <a:pt x="2701" y="1041"/>
                </a:cubicBezTo>
                <a:cubicBezTo>
                  <a:pt x="2702" y="1038"/>
                  <a:pt x="2702" y="1038"/>
                  <a:pt x="2702" y="1038"/>
                </a:cubicBezTo>
                <a:cubicBezTo>
                  <a:pt x="2703" y="1036"/>
                  <a:pt x="2703" y="1036"/>
                  <a:pt x="2703" y="1036"/>
                </a:cubicBezTo>
                <a:cubicBezTo>
                  <a:pt x="2703" y="1032"/>
                  <a:pt x="2703" y="1032"/>
                  <a:pt x="2703" y="1032"/>
                </a:cubicBezTo>
                <a:cubicBezTo>
                  <a:pt x="2704" y="1031"/>
                  <a:pt x="2704" y="1031"/>
                  <a:pt x="2704" y="1031"/>
                </a:cubicBezTo>
                <a:cubicBezTo>
                  <a:pt x="2704" y="1030"/>
                  <a:pt x="2704" y="1030"/>
                  <a:pt x="2704" y="1030"/>
                </a:cubicBezTo>
                <a:cubicBezTo>
                  <a:pt x="2706" y="1028"/>
                  <a:pt x="2706" y="1028"/>
                  <a:pt x="2706" y="1028"/>
                </a:cubicBezTo>
                <a:cubicBezTo>
                  <a:pt x="2707" y="1029"/>
                  <a:pt x="2707" y="1029"/>
                  <a:pt x="2707" y="1029"/>
                </a:cubicBezTo>
                <a:cubicBezTo>
                  <a:pt x="2708" y="1028"/>
                  <a:pt x="2708" y="1028"/>
                  <a:pt x="2708" y="1028"/>
                </a:cubicBezTo>
                <a:cubicBezTo>
                  <a:pt x="2707" y="1025"/>
                  <a:pt x="2707" y="1025"/>
                  <a:pt x="2707" y="1025"/>
                </a:cubicBezTo>
                <a:cubicBezTo>
                  <a:pt x="2710" y="1029"/>
                  <a:pt x="2710" y="1029"/>
                  <a:pt x="2710" y="1029"/>
                </a:cubicBezTo>
                <a:cubicBezTo>
                  <a:pt x="2713" y="1029"/>
                  <a:pt x="2713" y="1029"/>
                  <a:pt x="2713" y="1029"/>
                </a:cubicBezTo>
                <a:cubicBezTo>
                  <a:pt x="2714" y="1028"/>
                  <a:pt x="2714" y="1028"/>
                  <a:pt x="2714" y="1028"/>
                </a:cubicBezTo>
                <a:cubicBezTo>
                  <a:pt x="2715" y="1028"/>
                  <a:pt x="2715" y="1028"/>
                  <a:pt x="2715" y="1028"/>
                </a:cubicBezTo>
                <a:cubicBezTo>
                  <a:pt x="2717" y="1028"/>
                  <a:pt x="2717" y="1028"/>
                  <a:pt x="2717" y="1028"/>
                </a:cubicBezTo>
                <a:cubicBezTo>
                  <a:pt x="2717" y="1026"/>
                  <a:pt x="2717" y="1026"/>
                  <a:pt x="2717" y="1026"/>
                </a:cubicBezTo>
                <a:cubicBezTo>
                  <a:pt x="2716" y="1026"/>
                  <a:pt x="2716" y="1026"/>
                  <a:pt x="2716" y="1026"/>
                </a:cubicBezTo>
                <a:cubicBezTo>
                  <a:pt x="2715" y="1024"/>
                  <a:pt x="2715" y="1024"/>
                  <a:pt x="2715" y="1024"/>
                </a:cubicBezTo>
                <a:cubicBezTo>
                  <a:pt x="2713" y="1022"/>
                  <a:pt x="2713" y="1022"/>
                  <a:pt x="2713" y="1022"/>
                </a:cubicBezTo>
                <a:cubicBezTo>
                  <a:pt x="2712" y="1022"/>
                  <a:pt x="2712" y="1022"/>
                  <a:pt x="2712" y="1022"/>
                </a:cubicBezTo>
                <a:cubicBezTo>
                  <a:pt x="2708" y="1018"/>
                  <a:pt x="2708" y="1018"/>
                  <a:pt x="2708" y="1018"/>
                </a:cubicBezTo>
                <a:cubicBezTo>
                  <a:pt x="2706" y="1018"/>
                  <a:pt x="2706" y="1018"/>
                  <a:pt x="2706" y="1018"/>
                </a:cubicBezTo>
                <a:cubicBezTo>
                  <a:pt x="2706" y="1016"/>
                  <a:pt x="2706" y="1016"/>
                  <a:pt x="2706" y="1016"/>
                </a:cubicBezTo>
                <a:cubicBezTo>
                  <a:pt x="2705" y="1015"/>
                  <a:pt x="2705" y="1015"/>
                  <a:pt x="2705" y="1015"/>
                </a:cubicBezTo>
                <a:cubicBezTo>
                  <a:pt x="2705" y="1014"/>
                  <a:pt x="2705" y="1014"/>
                  <a:pt x="2705" y="1014"/>
                </a:cubicBezTo>
                <a:cubicBezTo>
                  <a:pt x="2708" y="1013"/>
                  <a:pt x="2708" y="1013"/>
                  <a:pt x="2708" y="1013"/>
                </a:cubicBezTo>
                <a:cubicBezTo>
                  <a:pt x="2709" y="1011"/>
                  <a:pt x="2709" y="1011"/>
                  <a:pt x="2709" y="1011"/>
                </a:cubicBezTo>
                <a:cubicBezTo>
                  <a:pt x="2707" y="1010"/>
                  <a:pt x="2707" y="1010"/>
                  <a:pt x="2707" y="1010"/>
                </a:cubicBezTo>
                <a:cubicBezTo>
                  <a:pt x="2704" y="1006"/>
                  <a:pt x="2704" y="1006"/>
                  <a:pt x="2704" y="1006"/>
                </a:cubicBezTo>
                <a:cubicBezTo>
                  <a:pt x="2703" y="1004"/>
                  <a:pt x="2703" y="1004"/>
                  <a:pt x="2703" y="1004"/>
                </a:cubicBezTo>
                <a:cubicBezTo>
                  <a:pt x="2702" y="1003"/>
                  <a:pt x="2702" y="1003"/>
                  <a:pt x="2702" y="1003"/>
                </a:cubicBezTo>
                <a:cubicBezTo>
                  <a:pt x="2702" y="1001"/>
                  <a:pt x="2702" y="1001"/>
                  <a:pt x="2702" y="1001"/>
                </a:cubicBezTo>
                <a:cubicBezTo>
                  <a:pt x="2703" y="1001"/>
                  <a:pt x="2703" y="1001"/>
                  <a:pt x="2703" y="1001"/>
                </a:cubicBezTo>
                <a:cubicBezTo>
                  <a:pt x="2703" y="1000"/>
                  <a:pt x="2703" y="1000"/>
                  <a:pt x="2703" y="1000"/>
                </a:cubicBezTo>
                <a:cubicBezTo>
                  <a:pt x="2702" y="1000"/>
                  <a:pt x="2702" y="1000"/>
                  <a:pt x="2702" y="1000"/>
                </a:cubicBezTo>
                <a:cubicBezTo>
                  <a:pt x="2700" y="998"/>
                  <a:pt x="2700" y="998"/>
                  <a:pt x="2700" y="998"/>
                </a:cubicBezTo>
                <a:cubicBezTo>
                  <a:pt x="2701" y="997"/>
                  <a:pt x="2701" y="997"/>
                  <a:pt x="2701" y="997"/>
                </a:cubicBezTo>
                <a:cubicBezTo>
                  <a:pt x="2704" y="997"/>
                  <a:pt x="2704" y="997"/>
                  <a:pt x="2704" y="997"/>
                </a:cubicBezTo>
                <a:cubicBezTo>
                  <a:pt x="2706" y="997"/>
                  <a:pt x="2706" y="997"/>
                  <a:pt x="2706" y="997"/>
                </a:cubicBezTo>
                <a:cubicBezTo>
                  <a:pt x="2704" y="995"/>
                  <a:pt x="2704" y="995"/>
                  <a:pt x="2704" y="995"/>
                </a:cubicBezTo>
                <a:cubicBezTo>
                  <a:pt x="2702" y="994"/>
                  <a:pt x="2702" y="994"/>
                  <a:pt x="2702" y="994"/>
                </a:cubicBezTo>
                <a:cubicBezTo>
                  <a:pt x="2703" y="993"/>
                  <a:pt x="2703" y="993"/>
                  <a:pt x="2703" y="993"/>
                </a:cubicBezTo>
                <a:cubicBezTo>
                  <a:pt x="2702" y="992"/>
                  <a:pt x="2702" y="992"/>
                  <a:pt x="2702" y="992"/>
                </a:cubicBezTo>
                <a:cubicBezTo>
                  <a:pt x="2703" y="992"/>
                  <a:pt x="2703" y="992"/>
                  <a:pt x="2703" y="992"/>
                </a:cubicBezTo>
                <a:cubicBezTo>
                  <a:pt x="2703" y="991"/>
                  <a:pt x="2703" y="991"/>
                  <a:pt x="2703" y="991"/>
                </a:cubicBezTo>
                <a:cubicBezTo>
                  <a:pt x="2704" y="990"/>
                  <a:pt x="2704" y="990"/>
                  <a:pt x="2704" y="990"/>
                </a:cubicBezTo>
                <a:cubicBezTo>
                  <a:pt x="2706" y="992"/>
                  <a:pt x="2706" y="992"/>
                  <a:pt x="2706" y="992"/>
                </a:cubicBezTo>
                <a:cubicBezTo>
                  <a:pt x="2708" y="992"/>
                  <a:pt x="2708" y="992"/>
                  <a:pt x="2708" y="992"/>
                </a:cubicBezTo>
                <a:cubicBezTo>
                  <a:pt x="2710" y="991"/>
                  <a:pt x="2710" y="991"/>
                  <a:pt x="2710" y="991"/>
                </a:cubicBezTo>
                <a:cubicBezTo>
                  <a:pt x="2713" y="990"/>
                  <a:pt x="2713" y="990"/>
                  <a:pt x="2713" y="990"/>
                </a:cubicBezTo>
                <a:cubicBezTo>
                  <a:pt x="2713" y="989"/>
                  <a:pt x="2713" y="989"/>
                  <a:pt x="2713" y="989"/>
                </a:cubicBezTo>
                <a:cubicBezTo>
                  <a:pt x="2710" y="987"/>
                  <a:pt x="2710" y="987"/>
                  <a:pt x="2710" y="987"/>
                </a:cubicBezTo>
                <a:cubicBezTo>
                  <a:pt x="2710" y="984"/>
                  <a:pt x="2710" y="984"/>
                  <a:pt x="2710" y="984"/>
                </a:cubicBezTo>
                <a:cubicBezTo>
                  <a:pt x="2711" y="984"/>
                  <a:pt x="2711" y="984"/>
                  <a:pt x="2711" y="984"/>
                </a:cubicBezTo>
                <a:cubicBezTo>
                  <a:pt x="2715" y="984"/>
                  <a:pt x="2715" y="984"/>
                  <a:pt x="2715" y="984"/>
                </a:cubicBezTo>
                <a:cubicBezTo>
                  <a:pt x="2718" y="983"/>
                  <a:pt x="2718" y="983"/>
                  <a:pt x="2718" y="983"/>
                </a:cubicBezTo>
                <a:cubicBezTo>
                  <a:pt x="2721" y="982"/>
                  <a:pt x="2721" y="982"/>
                  <a:pt x="2721" y="982"/>
                </a:cubicBezTo>
                <a:cubicBezTo>
                  <a:pt x="2720" y="980"/>
                  <a:pt x="2720" y="980"/>
                  <a:pt x="2720" y="980"/>
                </a:cubicBezTo>
                <a:cubicBezTo>
                  <a:pt x="2719" y="980"/>
                  <a:pt x="2719" y="980"/>
                  <a:pt x="2719" y="980"/>
                </a:cubicBezTo>
                <a:cubicBezTo>
                  <a:pt x="2716" y="979"/>
                  <a:pt x="2716" y="979"/>
                  <a:pt x="2716" y="979"/>
                </a:cubicBezTo>
                <a:cubicBezTo>
                  <a:pt x="2714" y="978"/>
                  <a:pt x="2714" y="978"/>
                  <a:pt x="2714" y="978"/>
                </a:cubicBezTo>
                <a:cubicBezTo>
                  <a:pt x="2713" y="978"/>
                  <a:pt x="2713" y="978"/>
                  <a:pt x="2713" y="978"/>
                </a:cubicBezTo>
                <a:cubicBezTo>
                  <a:pt x="2710" y="976"/>
                  <a:pt x="2710" y="976"/>
                  <a:pt x="2710" y="976"/>
                </a:cubicBezTo>
                <a:cubicBezTo>
                  <a:pt x="2709" y="976"/>
                  <a:pt x="2709" y="976"/>
                  <a:pt x="2709" y="976"/>
                </a:cubicBezTo>
                <a:cubicBezTo>
                  <a:pt x="2707" y="977"/>
                  <a:pt x="2707" y="977"/>
                  <a:pt x="2707" y="977"/>
                </a:cubicBezTo>
                <a:cubicBezTo>
                  <a:pt x="2706" y="976"/>
                  <a:pt x="2706" y="976"/>
                  <a:pt x="2706" y="976"/>
                </a:cubicBezTo>
                <a:cubicBezTo>
                  <a:pt x="2708" y="974"/>
                  <a:pt x="2708" y="974"/>
                  <a:pt x="2708" y="974"/>
                </a:cubicBezTo>
                <a:cubicBezTo>
                  <a:pt x="2707" y="973"/>
                  <a:pt x="2707" y="973"/>
                  <a:pt x="2707" y="973"/>
                </a:cubicBezTo>
                <a:cubicBezTo>
                  <a:pt x="2707" y="973"/>
                  <a:pt x="2707" y="973"/>
                  <a:pt x="2707" y="973"/>
                </a:cubicBezTo>
                <a:cubicBezTo>
                  <a:pt x="2705" y="975"/>
                  <a:pt x="2705" y="975"/>
                  <a:pt x="2705" y="975"/>
                </a:cubicBezTo>
                <a:cubicBezTo>
                  <a:pt x="2704" y="974"/>
                  <a:pt x="2704" y="974"/>
                  <a:pt x="2704" y="974"/>
                </a:cubicBezTo>
                <a:cubicBezTo>
                  <a:pt x="2703" y="974"/>
                  <a:pt x="2703" y="974"/>
                  <a:pt x="2703" y="974"/>
                </a:cubicBezTo>
                <a:cubicBezTo>
                  <a:pt x="2704" y="971"/>
                  <a:pt x="2704" y="971"/>
                  <a:pt x="2704" y="971"/>
                </a:cubicBezTo>
                <a:cubicBezTo>
                  <a:pt x="2705" y="970"/>
                  <a:pt x="2705" y="970"/>
                  <a:pt x="2705" y="970"/>
                </a:cubicBezTo>
                <a:cubicBezTo>
                  <a:pt x="2705" y="969"/>
                  <a:pt x="2705" y="969"/>
                  <a:pt x="2705" y="969"/>
                </a:cubicBezTo>
                <a:cubicBezTo>
                  <a:pt x="2703" y="967"/>
                  <a:pt x="2703" y="967"/>
                  <a:pt x="2703" y="967"/>
                </a:cubicBezTo>
                <a:cubicBezTo>
                  <a:pt x="2702" y="968"/>
                  <a:pt x="2702" y="968"/>
                  <a:pt x="2702" y="968"/>
                </a:cubicBezTo>
                <a:cubicBezTo>
                  <a:pt x="2700" y="966"/>
                  <a:pt x="2700" y="966"/>
                  <a:pt x="2700" y="966"/>
                </a:cubicBezTo>
                <a:cubicBezTo>
                  <a:pt x="2700" y="963"/>
                  <a:pt x="2700" y="963"/>
                  <a:pt x="2700" y="963"/>
                </a:cubicBezTo>
                <a:cubicBezTo>
                  <a:pt x="2698" y="962"/>
                  <a:pt x="2698" y="962"/>
                  <a:pt x="2698" y="962"/>
                </a:cubicBezTo>
                <a:cubicBezTo>
                  <a:pt x="2697" y="963"/>
                  <a:pt x="2697" y="963"/>
                  <a:pt x="2697" y="963"/>
                </a:cubicBezTo>
                <a:cubicBezTo>
                  <a:pt x="2698" y="964"/>
                  <a:pt x="2698" y="964"/>
                  <a:pt x="2698" y="964"/>
                </a:cubicBezTo>
                <a:cubicBezTo>
                  <a:pt x="2695" y="967"/>
                  <a:pt x="2695" y="967"/>
                  <a:pt x="2695" y="967"/>
                </a:cubicBezTo>
                <a:cubicBezTo>
                  <a:pt x="2694" y="966"/>
                  <a:pt x="2694" y="966"/>
                  <a:pt x="2694" y="966"/>
                </a:cubicBezTo>
                <a:cubicBezTo>
                  <a:pt x="2695" y="965"/>
                  <a:pt x="2695" y="965"/>
                  <a:pt x="2695" y="965"/>
                </a:cubicBezTo>
                <a:cubicBezTo>
                  <a:pt x="2695" y="963"/>
                  <a:pt x="2695" y="963"/>
                  <a:pt x="2695" y="963"/>
                </a:cubicBezTo>
                <a:cubicBezTo>
                  <a:pt x="2693" y="963"/>
                  <a:pt x="2693" y="963"/>
                  <a:pt x="2693" y="963"/>
                </a:cubicBezTo>
                <a:cubicBezTo>
                  <a:pt x="2692" y="967"/>
                  <a:pt x="2692" y="967"/>
                  <a:pt x="2692" y="967"/>
                </a:cubicBezTo>
                <a:cubicBezTo>
                  <a:pt x="2691" y="968"/>
                  <a:pt x="2691" y="968"/>
                  <a:pt x="2691" y="968"/>
                </a:cubicBezTo>
                <a:cubicBezTo>
                  <a:pt x="2689" y="973"/>
                  <a:pt x="2689" y="973"/>
                  <a:pt x="2689" y="973"/>
                </a:cubicBezTo>
                <a:cubicBezTo>
                  <a:pt x="2688" y="975"/>
                  <a:pt x="2688" y="975"/>
                  <a:pt x="2688" y="975"/>
                </a:cubicBezTo>
                <a:cubicBezTo>
                  <a:pt x="2685" y="979"/>
                  <a:pt x="2685" y="979"/>
                  <a:pt x="2685" y="979"/>
                </a:cubicBezTo>
                <a:cubicBezTo>
                  <a:pt x="2683" y="979"/>
                  <a:pt x="2683" y="979"/>
                  <a:pt x="2683" y="979"/>
                </a:cubicBezTo>
                <a:cubicBezTo>
                  <a:pt x="2680" y="980"/>
                  <a:pt x="2680" y="980"/>
                  <a:pt x="2680" y="980"/>
                </a:cubicBezTo>
                <a:cubicBezTo>
                  <a:pt x="2679" y="981"/>
                  <a:pt x="2679" y="981"/>
                  <a:pt x="2679" y="981"/>
                </a:cubicBezTo>
                <a:cubicBezTo>
                  <a:pt x="2680" y="981"/>
                  <a:pt x="2680" y="981"/>
                  <a:pt x="2680" y="981"/>
                </a:cubicBezTo>
                <a:cubicBezTo>
                  <a:pt x="2679" y="982"/>
                  <a:pt x="2679" y="982"/>
                  <a:pt x="2679" y="982"/>
                </a:cubicBezTo>
                <a:cubicBezTo>
                  <a:pt x="2680" y="983"/>
                  <a:pt x="2680" y="983"/>
                  <a:pt x="2680" y="983"/>
                </a:cubicBezTo>
                <a:cubicBezTo>
                  <a:pt x="2682" y="982"/>
                  <a:pt x="2682" y="982"/>
                  <a:pt x="2682" y="982"/>
                </a:cubicBezTo>
                <a:cubicBezTo>
                  <a:pt x="2682" y="984"/>
                  <a:pt x="2682" y="984"/>
                  <a:pt x="2682" y="984"/>
                </a:cubicBezTo>
                <a:cubicBezTo>
                  <a:pt x="2680" y="984"/>
                  <a:pt x="2680" y="984"/>
                  <a:pt x="2680" y="984"/>
                </a:cubicBezTo>
                <a:cubicBezTo>
                  <a:pt x="2680" y="985"/>
                  <a:pt x="2680" y="985"/>
                  <a:pt x="2680" y="985"/>
                </a:cubicBezTo>
                <a:cubicBezTo>
                  <a:pt x="2679" y="986"/>
                  <a:pt x="2679" y="986"/>
                  <a:pt x="2679" y="986"/>
                </a:cubicBezTo>
                <a:cubicBezTo>
                  <a:pt x="2678" y="986"/>
                  <a:pt x="2678" y="986"/>
                  <a:pt x="2678" y="986"/>
                </a:cubicBezTo>
                <a:cubicBezTo>
                  <a:pt x="2678" y="986"/>
                  <a:pt x="2678" y="986"/>
                  <a:pt x="2678" y="986"/>
                </a:cubicBezTo>
                <a:cubicBezTo>
                  <a:pt x="2678" y="985"/>
                  <a:pt x="2678" y="985"/>
                  <a:pt x="2678" y="985"/>
                </a:cubicBezTo>
                <a:cubicBezTo>
                  <a:pt x="2678" y="985"/>
                  <a:pt x="2678" y="985"/>
                  <a:pt x="2678" y="985"/>
                </a:cubicBezTo>
                <a:cubicBezTo>
                  <a:pt x="2678" y="983"/>
                  <a:pt x="2678" y="983"/>
                  <a:pt x="2678" y="983"/>
                </a:cubicBezTo>
                <a:cubicBezTo>
                  <a:pt x="2676" y="983"/>
                  <a:pt x="2676" y="983"/>
                  <a:pt x="2676" y="983"/>
                </a:cubicBezTo>
                <a:cubicBezTo>
                  <a:pt x="2673" y="985"/>
                  <a:pt x="2673" y="985"/>
                  <a:pt x="2673" y="985"/>
                </a:cubicBezTo>
                <a:cubicBezTo>
                  <a:pt x="2670" y="986"/>
                  <a:pt x="2670" y="986"/>
                  <a:pt x="2670" y="986"/>
                </a:cubicBezTo>
                <a:cubicBezTo>
                  <a:pt x="2669" y="987"/>
                  <a:pt x="2669" y="987"/>
                  <a:pt x="2669" y="987"/>
                </a:cubicBezTo>
                <a:cubicBezTo>
                  <a:pt x="2668" y="989"/>
                  <a:pt x="2668" y="989"/>
                  <a:pt x="2668" y="989"/>
                </a:cubicBezTo>
                <a:cubicBezTo>
                  <a:pt x="2668" y="991"/>
                  <a:pt x="2668" y="991"/>
                  <a:pt x="2668" y="991"/>
                </a:cubicBezTo>
                <a:cubicBezTo>
                  <a:pt x="2665" y="993"/>
                  <a:pt x="2665" y="993"/>
                  <a:pt x="2665" y="993"/>
                </a:cubicBezTo>
                <a:cubicBezTo>
                  <a:pt x="2664" y="995"/>
                  <a:pt x="2664" y="995"/>
                  <a:pt x="2664" y="995"/>
                </a:cubicBezTo>
                <a:cubicBezTo>
                  <a:pt x="2661" y="998"/>
                  <a:pt x="2661" y="998"/>
                  <a:pt x="2661" y="998"/>
                </a:cubicBezTo>
                <a:cubicBezTo>
                  <a:pt x="2661" y="1000"/>
                  <a:pt x="2661" y="1000"/>
                  <a:pt x="2661" y="1000"/>
                </a:cubicBezTo>
                <a:cubicBezTo>
                  <a:pt x="2658" y="1003"/>
                  <a:pt x="2658" y="1003"/>
                  <a:pt x="2658" y="1003"/>
                </a:cubicBezTo>
                <a:cubicBezTo>
                  <a:pt x="2656" y="1005"/>
                  <a:pt x="2656" y="1005"/>
                  <a:pt x="2656" y="1005"/>
                </a:cubicBezTo>
                <a:cubicBezTo>
                  <a:pt x="2647" y="1007"/>
                  <a:pt x="2647" y="1007"/>
                  <a:pt x="2647" y="1007"/>
                </a:cubicBezTo>
                <a:cubicBezTo>
                  <a:pt x="2646" y="1008"/>
                  <a:pt x="2646" y="1008"/>
                  <a:pt x="2646" y="1008"/>
                </a:cubicBezTo>
                <a:cubicBezTo>
                  <a:pt x="2647" y="1010"/>
                  <a:pt x="2647" y="1010"/>
                  <a:pt x="2647" y="1010"/>
                </a:cubicBezTo>
                <a:cubicBezTo>
                  <a:pt x="2648" y="1011"/>
                  <a:pt x="2648" y="1011"/>
                  <a:pt x="2648" y="1011"/>
                </a:cubicBezTo>
                <a:cubicBezTo>
                  <a:pt x="2647" y="1011"/>
                  <a:pt x="2647" y="1011"/>
                  <a:pt x="2647" y="1011"/>
                </a:cubicBezTo>
                <a:cubicBezTo>
                  <a:pt x="2645" y="1012"/>
                  <a:pt x="2645" y="1012"/>
                  <a:pt x="2645" y="1012"/>
                </a:cubicBezTo>
                <a:cubicBezTo>
                  <a:pt x="2643" y="1012"/>
                  <a:pt x="2643" y="1012"/>
                  <a:pt x="2643" y="1012"/>
                </a:cubicBezTo>
                <a:cubicBezTo>
                  <a:pt x="2642" y="1013"/>
                  <a:pt x="2642" y="1013"/>
                  <a:pt x="2642" y="1013"/>
                </a:cubicBezTo>
                <a:cubicBezTo>
                  <a:pt x="2641" y="1015"/>
                  <a:pt x="2641" y="1015"/>
                  <a:pt x="2641" y="1015"/>
                </a:cubicBezTo>
                <a:cubicBezTo>
                  <a:pt x="2641" y="1018"/>
                  <a:pt x="2641" y="1018"/>
                  <a:pt x="2641" y="1018"/>
                </a:cubicBezTo>
                <a:cubicBezTo>
                  <a:pt x="2639" y="1021"/>
                  <a:pt x="2639" y="1021"/>
                  <a:pt x="2639" y="1021"/>
                </a:cubicBezTo>
                <a:cubicBezTo>
                  <a:pt x="2639" y="1021"/>
                  <a:pt x="2639" y="1021"/>
                  <a:pt x="2639" y="1021"/>
                </a:cubicBezTo>
                <a:cubicBezTo>
                  <a:pt x="2635" y="1021"/>
                  <a:pt x="2635" y="1021"/>
                  <a:pt x="2635" y="1021"/>
                </a:cubicBezTo>
                <a:cubicBezTo>
                  <a:pt x="2631" y="1019"/>
                  <a:pt x="2631" y="1019"/>
                  <a:pt x="2631" y="1019"/>
                </a:cubicBezTo>
                <a:cubicBezTo>
                  <a:pt x="2628" y="1020"/>
                  <a:pt x="2628" y="1020"/>
                  <a:pt x="2628" y="1020"/>
                </a:cubicBezTo>
                <a:cubicBezTo>
                  <a:pt x="2627" y="1018"/>
                  <a:pt x="2627" y="1018"/>
                  <a:pt x="2627" y="1018"/>
                </a:cubicBezTo>
                <a:cubicBezTo>
                  <a:pt x="2625" y="1016"/>
                  <a:pt x="2625" y="1016"/>
                  <a:pt x="2625" y="1016"/>
                </a:cubicBezTo>
                <a:cubicBezTo>
                  <a:pt x="2625" y="1016"/>
                  <a:pt x="2625" y="1016"/>
                  <a:pt x="2625" y="1016"/>
                </a:cubicBezTo>
                <a:cubicBezTo>
                  <a:pt x="2623" y="1017"/>
                  <a:pt x="2623" y="1017"/>
                  <a:pt x="2623" y="1017"/>
                </a:cubicBezTo>
                <a:cubicBezTo>
                  <a:pt x="2622" y="1018"/>
                  <a:pt x="2622" y="1018"/>
                  <a:pt x="2622" y="1018"/>
                </a:cubicBezTo>
                <a:cubicBezTo>
                  <a:pt x="2620" y="1021"/>
                  <a:pt x="2620" y="1021"/>
                  <a:pt x="2620" y="1021"/>
                </a:cubicBezTo>
                <a:cubicBezTo>
                  <a:pt x="2618" y="1024"/>
                  <a:pt x="2618" y="1024"/>
                  <a:pt x="2618" y="1024"/>
                </a:cubicBezTo>
                <a:cubicBezTo>
                  <a:pt x="2618" y="1026"/>
                  <a:pt x="2618" y="1026"/>
                  <a:pt x="2618" y="1026"/>
                </a:cubicBezTo>
                <a:cubicBezTo>
                  <a:pt x="2618" y="1027"/>
                  <a:pt x="2618" y="1027"/>
                  <a:pt x="2618" y="1027"/>
                </a:cubicBezTo>
                <a:cubicBezTo>
                  <a:pt x="2618" y="1028"/>
                  <a:pt x="2618" y="1028"/>
                  <a:pt x="2618" y="1028"/>
                </a:cubicBezTo>
                <a:cubicBezTo>
                  <a:pt x="2617" y="1029"/>
                  <a:pt x="2617" y="1029"/>
                  <a:pt x="2617" y="1029"/>
                </a:cubicBezTo>
                <a:cubicBezTo>
                  <a:pt x="2617" y="1033"/>
                  <a:pt x="2617" y="1033"/>
                  <a:pt x="2617" y="1033"/>
                </a:cubicBezTo>
                <a:cubicBezTo>
                  <a:pt x="2620" y="1037"/>
                  <a:pt x="2620" y="1037"/>
                  <a:pt x="2620" y="1037"/>
                </a:cubicBezTo>
                <a:cubicBezTo>
                  <a:pt x="2621" y="1038"/>
                  <a:pt x="2621" y="1038"/>
                  <a:pt x="2621" y="1038"/>
                </a:cubicBezTo>
                <a:cubicBezTo>
                  <a:pt x="2620" y="1038"/>
                  <a:pt x="2620" y="1038"/>
                  <a:pt x="2620" y="1038"/>
                </a:cubicBezTo>
                <a:cubicBezTo>
                  <a:pt x="2619" y="1038"/>
                  <a:pt x="2619" y="1038"/>
                  <a:pt x="2619" y="1038"/>
                </a:cubicBezTo>
                <a:cubicBezTo>
                  <a:pt x="2621" y="1040"/>
                  <a:pt x="2621" y="1040"/>
                  <a:pt x="2621" y="1040"/>
                </a:cubicBezTo>
                <a:cubicBezTo>
                  <a:pt x="2623" y="1041"/>
                  <a:pt x="2623" y="1041"/>
                  <a:pt x="2623" y="1041"/>
                </a:cubicBezTo>
                <a:cubicBezTo>
                  <a:pt x="2624" y="1041"/>
                  <a:pt x="2624" y="1041"/>
                  <a:pt x="2624" y="1041"/>
                </a:cubicBezTo>
                <a:cubicBezTo>
                  <a:pt x="2627" y="1040"/>
                  <a:pt x="2627" y="1040"/>
                  <a:pt x="2627" y="1040"/>
                </a:cubicBezTo>
                <a:cubicBezTo>
                  <a:pt x="2630" y="1039"/>
                  <a:pt x="2630" y="1039"/>
                  <a:pt x="2630" y="1039"/>
                </a:cubicBezTo>
                <a:cubicBezTo>
                  <a:pt x="2632" y="1039"/>
                  <a:pt x="2632" y="1039"/>
                  <a:pt x="2632" y="1039"/>
                </a:cubicBezTo>
                <a:cubicBezTo>
                  <a:pt x="2630" y="1039"/>
                  <a:pt x="2630" y="1039"/>
                  <a:pt x="2630" y="1039"/>
                </a:cubicBezTo>
                <a:cubicBezTo>
                  <a:pt x="2627" y="1041"/>
                  <a:pt x="2627" y="1041"/>
                  <a:pt x="2627" y="1041"/>
                </a:cubicBezTo>
                <a:cubicBezTo>
                  <a:pt x="2624" y="1042"/>
                  <a:pt x="2624" y="1042"/>
                  <a:pt x="2624" y="1042"/>
                </a:cubicBezTo>
                <a:cubicBezTo>
                  <a:pt x="2622" y="1043"/>
                  <a:pt x="2622" y="1043"/>
                  <a:pt x="2622" y="1043"/>
                </a:cubicBezTo>
                <a:cubicBezTo>
                  <a:pt x="2620" y="1043"/>
                  <a:pt x="2620" y="1043"/>
                  <a:pt x="2620" y="1043"/>
                </a:cubicBezTo>
                <a:cubicBezTo>
                  <a:pt x="2620" y="1044"/>
                  <a:pt x="2620" y="1044"/>
                  <a:pt x="2620" y="1044"/>
                </a:cubicBezTo>
                <a:cubicBezTo>
                  <a:pt x="2623" y="1045"/>
                  <a:pt x="2623" y="1045"/>
                  <a:pt x="2623" y="1045"/>
                </a:cubicBezTo>
                <a:cubicBezTo>
                  <a:pt x="2625" y="1046"/>
                  <a:pt x="2625" y="1046"/>
                  <a:pt x="2625" y="1046"/>
                </a:cubicBezTo>
                <a:cubicBezTo>
                  <a:pt x="2628" y="1049"/>
                  <a:pt x="2628" y="1049"/>
                  <a:pt x="2628" y="1049"/>
                </a:cubicBezTo>
                <a:cubicBezTo>
                  <a:pt x="2629" y="1051"/>
                  <a:pt x="2629" y="1051"/>
                  <a:pt x="2629" y="1051"/>
                </a:cubicBezTo>
                <a:cubicBezTo>
                  <a:pt x="2629" y="1053"/>
                  <a:pt x="2629" y="1053"/>
                  <a:pt x="2629" y="1053"/>
                </a:cubicBezTo>
                <a:cubicBezTo>
                  <a:pt x="2628" y="1055"/>
                  <a:pt x="2628" y="1055"/>
                  <a:pt x="2628" y="1055"/>
                </a:cubicBezTo>
                <a:cubicBezTo>
                  <a:pt x="2627" y="1056"/>
                  <a:pt x="2627" y="1056"/>
                  <a:pt x="2627" y="1056"/>
                </a:cubicBezTo>
                <a:cubicBezTo>
                  <a:pt x="2627" y="1057"/>
                  <a:pt x="2627" y="1057"/>
                  <a:pt x="2627" y="1057"/>
                </a:cubicBezTo>
                <a:cubicBezTo>
                  <a:pt x="2629" y="1058"/>
                  <a:pt x="2629" y="1058"/>
                  <a:pt x="2629" y="1058"/>
                </a:cubicBezTo>
                <a:cubicBezTo>
                  <a:pt x="2630" y="1063"/>
                  <a:pt x="2630" y="1063"/>
                  <a:pt x="2630" y="1063"/>
                </a:cubicBezTo>
                <a:cubicBezTo>
                  <a:pt x="2630" y="1065"/>
                  <a:pt x="2630" y="1065"/>
                  <a:pt x="2630" y="1065"/>
                </a:cubicBezTo>
                <a:cubicBezTo>
                  <a:pt x="2631" y="1068"/>
                  <a:pt x="2631" y="1068"/>
                  <a:pt x="2631" y="1068"/>
                </a:cubicBezTo>
                <a:cubicBezTo>
                  <a:pt x="2632" y="1068"/>
                  <a:pt x="2632" y="1068"/>
                  <a:pt x="2632" y="1068"/>
                </a:cubicBezTo>
                <a:cubicBezTo>
                  <a:pt x="2634" y="1067"/>
                  <a:pt x="2634" y="1067"/>
                  <a:pt x="2634" y="1067"/>
                </a:cubicBezTo>
                <a:cubicBezTo>
                  <a:pt x="2634" y="1068"/>
                  <a:pt x="2634" y="1068"/>
                  <a:pt x="2634" y="1068"/>
                </a:cubicBezTo>
                <a:cubicBezTo>
                  <a:pt x="2636" y="1068"/>
                  <a:pt x="2636" y="1068"/>
                  <a:pt x="2636" y="1068"/>
                </a:cubicBezTo>
                <a:cubicBezTo>
                  <a:pt x="2638" y="1069"/>
                  <a:pt x="2638" y="1069"/>
                  <a:pt x="2638" y="1069"/>
                </a:cubicBezTo>
                <a:cubicBezTo>
                  <a:pt x="2640" y="1069"/>
                  <a:pt x="2640" y="1069"/>
                  <a:pt x="2640" y="1069"/>
                </a:cubicBezTo>
                <a:cubicBezTo>
                  <a:pt x="2642" y="1067"/>
                  <a:pt x="2642" y="1067"/>
                  <a:pt x="2642" y="1067"/>
                </a:cubicBezTo>
                <a:cubicBezTo>
                  <a:pt x="2643" y="1068"/>
                  <a:pt x="2643" y="1068"/>
                  <a:pt x="2643" y="1068"/>
                </a:cubicBezTo>
                <a:cubicBezTo>
                  <a:pt x="2645" y="1067"/>
                  <a:pt x="2645" y="1067"/>
                  <a:pt x="2645" y="1067"/>
                </a:cubicBezTo>
                <a:cubicBezTo>
                  <a:pt x="2646" y="1065"/>
                  <a:pt x="2646" y="1065"/>
                  <a:pt x="2646" y="1065"/>
                </a:cubicBezTo>
                <a:cubicBezTo>
                  <a:pt x="2645" y="1064"/>
                  <a:pt x="2645" y="1064"/>
                  <a:pt x="2645" y="1064"/>
                </a:cubicBezTo>
                <a:cubicBezTo>
                  <a:pt x="2646" y="1066"/>
                  <a:pt x="2646" y="1066"/>
                  <a:pt x="2646" y="1066"/>
                </a:cubicBezTo>
                <a:cubicBezTo>
                  <a:pt x="2646" y="1067"/>
                  <a:pt x="2646" y="1067"/>
                  <a:pt x="2646" y="1067"/>
                </a:cubicBezTo>
                <a:cubicBezTo>
                  <a:pt x="2647" y="1070"/>
                  <a:pt x="2647" y="1070"/>
                  <a:pt x="2647" y="1070"/>
                </a:cubicBezTo>
                <a:cubicBezTo>
                  <a:pt x="2647" y="1073"/>
                  <a:pt x="2647" y="1073"/>
                  <a:pt x="2647" y="1073"/>
                </a:cubicBezTo>
                <a:cubicBezTo>
                  <a:pt x="2647" y="1075"/>
                  <a:pt x="2647" y="1075"/>
                  <a:pt x="2647" y="1075"/>
                </a:cubicBezTo>
                <a:cubicBezTo>
                  <a:pt x="2648" y="1075"/>
                  <a:pt x="2648" y="1075"/>
                  <a:pt x="2648" y="1075"/>
                </a:cubicBezTo>
                <a:cubicBezTo>
                  <a:pt x="2650" y="1072"/>
                  <a:pt x="2650" y="1072"/>
                  <a:pt x="2650" y="1072"/>
                </a:cubicBezTo>
                <a:cubicBezTo>
                  <a:pt x="2652" y="1072"/>
                  <a:pt x="2652" y="1072"/>
                  <a:pt x="2652" y="1072"/>
                </a:cubicBezTo>
                <a:cubicBezTo>
                  <a:pt x="2653" y="1073"/>
                  <a:pt x="2653" y="1073"/>
                  <a:pt x="2653" y="1073"/>
                </a:cubicBezTo>
                <a:cubicBezTo>
                  <a:pt x="2654" y="1072"/>
                  <a:pt x="2654" y="1072"/>
                  <a:pt x="2654" y="1072"/>
                </a:cubicBezTo>
                <a:cubicBezTo>
                  <a:pt x="2655" y="1071"/>
                  <a:pt x="2655" y="1071"/>
                  <a:pt x="2655" y="1071"/>
                </a:cubicBezTo>
                <a:cubicBezTo>
                  <a:pt x="2657" y="1071"/>
                  <a:pt x="2657" y="1071"/>
                  <a:pt x="2657" y="1071"/>
                </a:cubicBezTo>
                <a:cubicBezTo>
                  <a:pt x="2659" y="1069"/>
                  <a:pt x="2659" y="1069"/>
                  <a:pt x="2659" y="1069"/>
                </a:cubicBezTo>
                <a:cubicBezTo>
                  <a:pt x="2660" y="1069"/>
                  <a:pt x="2660" y="1069"/>
                  <a:pt x="2660" y="1069"/>
                </a:cubicBezTo>
                <a:cubicBezTo>
                  <a:pt x="2661" y="1070"/>
                  <a:pt x="2661" y="1070"/>
                  <a:pt x="2661" y="1070"/>
                </a:cubicBezTo>
                <a:cubicBezTo>
                  <a:pt x="2663" y="1070"/>
                  <a:pt x="2663" y="1070"/>
                  <a:pt x="2663" y="1070"/>
                </a:cubicBezTo>
                <a:cubicBezTo>
                  <a:pt x="2664" y="1071"/>
                  <a:pt x="2664" y="1071"/>
                  <a:pt x="2664" y="1071"/>
                </a:cubicBezTo>
                <a:cubicBezTo>
                  <a:pt x="2664" y="1072"/>
                  <a:pt x="2664" y="1072"/>
                  <a:pt x="2664" y="1072"/>
                </a:cubicBezTo>
                <a:cubicBezTo>
                  <a:pt x="2665" y="1073"/>
                  <a:pt x="2665" y="1073"/>
                  <a:pt x="2665" y="1073"/>
                </a:cubicBezTo>
                <a:cubicBezTo>
                  <a:pt x="2666" y="1074"/>
                  <a:pt x="2666" y="1074"/>
                  <a:pt x="2666" y="1074"/>
                </a:cubicBezTo>
                <a:cubicBezTo>
                  <a:pt x="2666" y="1072"/>
                  <a:pt x="2666" y="1072"/>
                  <a:pt x="2666" y="1072"/>
                </a:cubicBezTo>
                <a:cubicBezTo>
                  <a:pt x="2666" y="1071"/>
                  <a:pt x="2666" y="1071"/>
                  <a:pt x="2666" y="1071"/>
                </a:cubicBezTo>
                <a:cubicBezTo>
                  <a:pt x="2667" y="1072"/>
                  <a:pt x="2667" y="1072"/>
                  <a:pt x="2667" y="1072"/>
                </a:cubicBezTo>
                <a:cubicBezTo>
                  <a:pt x="2669" y="1073"/>
                  <a:pt x="2669" y="1073"/>
                  <a:pt x="2669" y="1073"/>
                </a:cubicBezTo>
                <a:cubicBezTo>
                  <a:pt x="2670" y="1072"/>
                  <a:pt x="2670" y="1072"/>
                  <a:pt x="2670" y="1072"/>
                </a:cubicBezTo>
                <a:cubicBezTo>
                  <a:pt x="2671" y="1074"/>
                  <a:pt x="2671" y="1074"/>
                  <a:pt x="2671" y="1074"/>
                </a:cubicBezTo>
                <a:cubicBezTo>
                  <a:pt x="2672" y="1073"/>
                  <a:pt x="2672" y="1073"/>
                  <a:pt x="2672" y="1073"/>
                </a:cubicBezTo>
                <a:cubicBezTo>
                  <a:pt x="2672" y="1074"/>
                  <a:pt x="2672" y="1074"/>
                  <a:pt x="2672" y="1074"/>
                </a:cubicBezTo>
                <a:cubicBezTo>
                  <a:pt x="2673" y="1076"/>
                  <a:pt x="2673" y="1076"/>
                  <a:pt x="2673" y="1076"/>
                </a:cubicBezTo>
                <a:cubicBezTo>
                  <a:pt x="2673" y="1077"/>
                  <a:pt x="2673" y="1077"/>
                  <a:pt x="2673" y="1077"/>
                </a:cubicBezTo>
                <a:cubicBezTo>
                  <a:pt x="2674" y="1080"/>
                  <a:pt x="2674" y="1080"/>
                  <a:pt x="2674" y="1080"/>
                </a:cubicBezTo>
                <a:cubicBezTo>
                  <a:pt x="2675" y="1080"/>
                  <a:pt x="2675" y="1080"/>
                  <a:pt x="2675" y="1080"/>
                </a:cubicBezTo>
                <a:cubicBezTo>
                  <a:pt x="2680" y="1078"/>
                  <a:pt x="2680" y="1078"/>
                  <a:pt x="2680" y="1078"/>
                </a:cubicBezTo>
                <a:cubicBezTo>
                  <a:pt x="2683" y="1077"/>
                  <a:pt x="2683" y="1077"/>
                  <a:pt x="2683" y="1077"/>
                </a:cubicBezTo>
                <a:cubicBezTo>
                  <a:pt x="2686" y="1075"/>
                  <a:pt x="2686" y="1075"/>
                  <a:pt x="2686" y="1075"/>
                </a:cubicBezTo>
                <a:cubicBezTo>
                  <a:pt x="2688" y="1071"/>
                  <a:pt x="2688" y="1071"/>
                  <a:pt x="2688" y="1071"/>
                </a:cubicBezTo>
                <a:cubicBezTo>
                  <a:pt x="2688" y="1070"/>
                  <a:pt x="2688" y="1070"/>
                  <a:pt x="2688" y="1070"/>
                </a:cubicBezTo>
                <a:cubicBezTo>
                  <a:pt x="2689" y="1067"/>
                  <a:pt x="2689" y="1067"/>
                  <a:pt x="2689" y="1067"/>
                </a:cubicBezTo>
                <a:cubicBezTo>
                  <a:pt x="2689" y="1068"/>
                  <a:pt x="2689" y="1068"/>
                  <a:pt x="2689" y="1068"/>
                </a:cubicBezTo>
                <a:cubicBezTo>
                  <a:pt x="2690" y="1068"/>
                  <a:pt x="2690" y="1068"/>
                  <a:pt x="2690" y="1068"/>
                </a:cubicBezTo>
                <a:cubicBezTo>
                  <a:pt x="2692" y="1065"/>
                  <a:pt x="2692" y="1065"/>
                  <a:pt x="2692" y="1065"/>
                </a:cubicBezTo>
                <a:cubicBezTo>
                  <a:pt x="2691" y="1064"/>
                  <a:pt x="2691" y="1064"/>
                  <a:pt x="2691" y="1064"/>
                </a:cubicBezTo>
                <a:cubicBezTo>
                  <a:pt x="2690" y="1063"/>
                  <a:pt x="2690" y="1063"/>
                  <a:pt x="2690" y="1063"/>
                </a:cubicBezTo>
                <a:cubicBezTo>
                  <a:pt x="2690" y="1062"/>
                  <a:pt x="2690" y="1062"/>
                  <a:pt x="2690" y="1062"/>
                </a:cubicBezTo>
                <a:lnTo>
                  <a:pt x="2691" y="1063"/>
                </a:lnTo>
                <a:close/>
                <a:moveTo>
                  <a:pt x="2643" y="1011"/>
                </a:moveTo>
                <a:cubicBezTo>
                  <a:pt x="2644" y="1011"/>
                  <a:pt x="2644" y="1011"/>
                  <a:pt x="2644" y="1011"/>
                </a:cubicBezTo>
                <a:cubicBezTo>
                  <a:pt x="2645" y="1011"/>
                  <a:pt x="2645" y="1011"/>
                  <a:pt x="2645" y="1011"/>
                </a:cubicBezTo>
                <a:cubicBezTo>
                  <a:pt x="2644" y="1010"/>
                  <a:pt x="2644" y="1010"/>
                  <a:pt x="2644" y="1010"/>
                </a:cubicBezTo>
                <a:lnTo>
                  <a:pt x="2643" y="1011"/>
                </a:lnTo>
                <a:close/>
                <a:moveTo>
                  <a:pt x="2623" y="809"/>
                </a:moveTo>
                <a:cubicBezTo>
                  <a:pt x="2621" y="808"/>
                  <a:pt x="2621" y="808"/>
                  <a:pt x="2621" y="808"/>
                </a:cubicBezTo>
                <a:cubicBezTo>
                  <a:pt x="2619" y="809"/>
                  <a:pt x="2619" y="809"/>
                  <a:pt x="2619" y="809"/>
                </a:cubicBezTo>
                <a:cubicBezTo>
                  <a:pt x="2620" y="810"/>
                  <a:pt x="2620" y="810"/>
                  <a:pt x="2620" y="810"/>
                </a:cubicBezTo>
                <a:cubicBezTo>
                  <a:pt x="2621" y="809"/>
                  <a:pt x="2621" y="809"/>
                  <a:pt x="2621" y="809"/>
                </a:cubicBezTo>
                <a:cubicBezTo>
                  <a:pt x="2623" y="810"/>
                  <a:pt x="2623" y="810"/>
                  <a:pt x="2623" y="810"/>
                </a:cubicBezTo>
                <a:lnTo>
                  <a:pt x="2623" y="809"/>
                </a:lnTo>
                <a:close/>
                <a:moveTo>
                  <a:pt x="2609" y="990"/>
                </a:moveTo>
                <a:cubicBezTo>
                  <a:pt x="2608" y="991"/>
                  <a:pt x="2608" y="991"/>
                  <a:pt x="2608" y="991"/>
                </a:cubicBezTo>
                <a:cubicBezTo>
                  <a:pt x="2607" y="993"/>
                  <a:pt x="2607" y="993"/>
                  <a:pt x="2607" y="993"/>
                </a:cubicBezTo>
                <a:cubicBezTo>
                  <a:pt x="2609" y="994"/>
                  <a:pt x="2609" y="994"/>
                  <a:pt x="2609" y="994"/>
                </a:cubicBezTo>
                <a:cubicBezTo>
                  <a:pt x="2610" y="994"/>
                  <a:pt x="2610" y="994"/>
                  <a:pt x="2610" y="994"/>
                </a:cubicBezTo>
                <a:cubicBezTo>
                  <a:pt x="2609" y="996"/>
                  <a:pt x="2609" y="996"/>
                  <a:pt x="2609" y="996"/>
                </a:cubicBezTo>
                <a:cubicBezTo>
                  <a:pt x="2611" y="996"/>
                  <a:pt x="2611" y="996"/>
                  <a:pt x="2611" y="996"/>
                </a:cubicBezTo>
                <a:cubicBezTo>
                  <a:pt x="2612" y="993"/>
                  <a:pt x="2612" y="993"/>
                  <a:pt x="2612" y="993"/>
                </a:cubicBezTo>
                <a:lnTo>
                  <a:pt x="2609" y="990"/>
                </a:lnTo>
                <a:close/>
                <a:moveTo>
                  <a:pt x="2597" y="1068"/>
                </a:moveTo>
                <a:cubicBezTo>
                  <a:pt x="2596" y="1067"/>
                  <a:pt x="2596" y="1067"/>
                  <a:pt x="2596" y="1067"/>
                </a:cubicBezTo>
                <a:cubicBezTo>
                  <a:pt x="2596" y="1069"/>
                  <a:pt x="2596" y="1069"/>
                  <a:pt x="2596" y="1069"/>
                </a:cubicBezTo>
                <a:lnTo>
                  <a:pt x="2597" y="1068"/>
                </a:lnTo>
                <a:close/>
                <a:moveTo>
                  <a:pt x="2605" y="1071"/>
                </a:moveTo>
                <a:cubicBezTo>
                  <a:pt x="2607" y="1068"/>
                  <a:pt x="2607" y="1068"/>
                  <a:pt x="2607" y="1068"/>
                </a:cubicBezTo>
                <a:cubicBezTo>
                  <a:pt x="2608" y="1070"/>
                  <a:pt x="2608" y="1070"/>
                  <a:pt x="2608" y="1070"/>
                </a:cubicBezTo>
                <a:cubicBezTo>
                  <a:pt x="2609" y="1070"/>
                  <a:pt x="2609" y="1070"/>
                  <a:pt x="2609" y="1070"/>
                </a:cubicBezTo>
                <a:cubicBezTo>
                  <a:pt x="2610" y="1069"/>
                  <a:pt x="2610" y="1069"/>
                  <a:pt x="2610" y="1069"/>
                </a:cubicBezTo>
                <a:cubicBezTo>
                  <a:pt x="2612" y="1068"/>
                  <a:pt x="2612" y="1068"/>
                  <a:pt x="2612" y="1068"/>
                </a:cubicBezTo>
                <a:cubicBezTo>
                  <a:pt x="2611" y="1066"/>
                  <a:pt x="2611" y="1066"/>
                  <a:pt x="2611" y="1066"/>
                </a:cubicBezTo>
                <a:cubicBezTo>
                  <a:pt x="2607" y="1064"/>
                  <a:pt x="2607" y="1064"/>
                  <a:pt x="2607" y="1064"/>
                </a:cubicBezTo>
                <a:cubicBezTo>
                  <a:pt x="2604" y="1063"/>
                  <a:pt x="2604" y="1063"/>
                  <a:pt x="2604" y="1063"/>
                </a:cubicBezTo>
                <a:cubicBezTo>
                  <a:pt x="2603" y="1064"/>
                  <a:pt x="2603" y="1064"/>
                  <a:pt x="2603" y="1064"/>
                </a:cubicBezTo>
                <a:cubicBezTo>
                  <a:pt x="2604" y="1065"/>
                  <a:pt x="2604" y="1065"/>
                  <a:pt x="2604" y="1065"/>
                </a:cubicBezTo>
                <a:cubicBezTo>
                  <a:pt x="2604" y="1066"/>
                  <a:pt x="2604" y="1066"/>
                  <a:pt x="2604" y="1066"/>
                </a:cubicBezTo>
                <a:cubicBezTo>
                  <a:pt x="2601" y="1067"/>
                  <a:pt x="2601" y="1067"/>
                  <a:pt x="2601" y="1067"/>
                </a:cubicBezTo>
                <a:cubicBezTo>
                  <a:pt x="2601" y="1068"/>
                  <a:pt x="2601" y="1068"/>
                  <a:pt x="2601" y="1068"/>
                </a:cubicBezTo>
                <a:cubicBezTo>
                  <a:pt x="2602" y="1068"/>
                  <a:pt x="2602" y="1068"/>
                  <a:pt x="2602" y="1068"/>
                </a:cubicBezTo>
                <a:cubicBezTo>
                  <a:pt x="2602" y="1067"/>
                  <a:pt x="2602" y="1067"/>
                  <a:pt x="2602" y="1067"/>
                </a:cubicBezTo>
                <a:cubicBezTo>
                  <a:pt x="2604" y="1067"/>
                  <a:pt x="2604" y="1067"/>
                  <a:pt x="2604" y="1067"/>
                </a:cubicBezTo>
                <a:cubicBezTo>
                  <a:pt x="2604" y="1069"/>
                  <a:pt x="2604" y="1069"/>
                  <a:pt x="2604" y="1069"/>
                </a:cubicBezTo>
                <a:lnTo>
                  <a:pt x="2605" y="1071"/>
                </a:lnTo>
                <a:close/>
                <a:moveTo>
                  <a:pt x="2647" y="1010"/>
                </a:moveTo>
                <a:cubicBezTo>
                  <a:pt x="2646" y="1008"/>
                  <a:pt x="2646" y="1008"/>
                  <a:pt x="2646" y="1008"/>
                </a:cubicBezTo>
                <a:cubicBezTo>
                  <a:pt x="2645" y="1008"/>
                  <a:pt x="2645" y="1008"/>
                  <a:pt x="2645" y="1008"/>
                </a:cubicBezTo>
                <a:cubicBezTo>
                  <a:pt x="2644" y="1008"/>
                  <a:pt x="2644" y="1008"/>
                  <a:pt x="2644" y="1008"/>
                </a:cubicBezTo>
                <a:cubicBezTo>
                  <a:pt x="2644" y="1008"/>
                  <a:pt x="2644" y="1008"/>
                  <a:pt x="2644" y="1008"/>
                </a:cubicBezTo>
                <a:cubicBezTo>
                  <a:pt x="2644" y="1009"/>
                  <a:pt x="2644" y="1009"/>
                  <a:pt x="2644" y="1009"/>
                </a:cubicBezTo>
                <a:cubicBezTo>
                  <a:pt x="2645" y="1011"/>
                  <a:pt x="2645" y="1011"/>
                  <a:pt x="2645" y="1011"/>
                </a:cubicBezTo>
                <a:lnTo>
                  <a:pt x="2647" y="1010"/>
                </a:lnTo>
                <a:close/>
                <a:moveTo>
                  <a:pt x="2706" y="755"/>
                </a:moveTo>
                <a:cubicBezTo>
                  <a:pt x="2706" y="754"/>
                  <a:pt x="2706" y="754"/>
                  <a:pt x="2706" y="754"/>
                </a:cubicBezTo>
                <a:cubicBezTo>
                  <a:pt x="2705" y="753"/>
                  <a:pt x="2705" y="753"/>
                  <a:pt x="2705" y="753"/>
                </a:cubicBezTo>
                <a:cubicBezTo>
                  <a:pt x="2704" y="753"/>
                  <a:pt x="2704" y="753"/>
                  <a:pt x="2704" y="753"/>
                </a:cubicBezTo>
                <a:cubicBezTo>
                  <a:pt x="2705" y="756"/>
                  <a:pt x="2705" y="756"/>
                  <a:pt x="2705" y="756"/>
                </a:cubicBezTo>
                <a:lnTo>
                  <a:pt x="2706" y="755"/>
                </a:lnTo>
                <a:close/>
                <a:moveTo>
                  <a:pt x="2702" y="941"/>
                </a:moveTo>
                <a:cubicBezTo>
                  <a:pt x="2699" y="944"/>
                  <a:pt x="2699" y="944"/>
                  <a:pt x="2699" y="944"/>
                </a:cubicBezTo>
                <a:cubicBezTo>
                  <a:pt x="2698" y="945"/>
                  <a:pt x="2698" y="945"/>
                  <a:pt x="2698" y="945"/>
                </a:cubicBezTo>
                <a:cubicBezTo>
                  <a:pt x="2699" y="946"/>
                  <a:pt x="2699" y="946"/>
                  <a:pt x="2699" y="946"/>
                </a:cubicBezTo>
                <a:cubicBezTo>
                  <a:pt x="2701" y="945"/>
                  <a:pt x="2701" y="945"/>
                  <a:pt x="2701" y="945"/>
                </a:cubicBezTo>
                <a:cubicBezTo>
                  <a:pt x="2702" y="944"/>
                  <a:pt x="2702" y="944"/>
                  <a:pt x="2702" y="944"/>
                </a:cubicBezTo>
                <a:cubicBezTo>
                  <a:pt x="2703" y="943"/>
                  <a:pt x="2703" y="943"/>
                  <a:pt x="2703" y="943"/>
                </a:cubicBezTo>
                <a:cubicBezTo>
                  <a:pt x="2705" y="942"/>
                  <a:pt x="2705" y="942"/>
                  <a:pt x="2705" y="942"/>
                </a:cubicBezTo>
                <a:cubicBezTo>
                  <a:pt x="2708" y="939"/>
                  <a:pt x="2708" y="939"/>
                  <a:pt x="2708" y="939"/>
                </a:cubicBezTo>
                <a:cubicBezTo>
                  <a:pt x="2710" y="938"/>
                  <a:pt x="2710" y="938"/>
                  <a:pt x="2710" y="938"/>
                </a:cubicBezTo>
                <a:cubicBezTo>
                  <a:pt x="2712" y="936"/>
                  <a:pt x="2712" y="936"/>
                  <a:pt x="2712" y="936"/>
                </a:cubicBezTo>
                <a:cubicBezTo>
                  <a:pt x="2712" y="935"/>
                  <a:pt x="2712" y="935"/>
                  <a:pt x="2712" y="935"/>
                </a:cubicBezTo>
                <a:cubicBezTo>
                  <a:pt x="2713" y="934"/>
                  <a:pt x="2713" y="934"/>
                  <a:pt x="2713" y="934"/>
                </a:cubicBezTo>
                <a:cubicBezTo>
                  <a:pt x="2713" y="931"/>
                  <a:pt x="2713" y="931"/>
                  <a:pt x="2713" y="931"/>
                </a:cubicBezTo>
                <a:cubicBezTo>
                  <a:pt x="2714" y="929"/>
                  <a:pt x="2714" y="929"/>
                  <a:pt x="2714" y="929"/>
                </a:cubicBezTo>
                <a:cubicBezTo>
                  <a:pt x="2717" y="929"/>
                  <a:pt x="2717" y="929"/>
                  <a:pt x="2717" y="929"/>
                </a:cubicBezTo>
                <a:cubicBezTo>
                  <a:pt x="2718" y="927"/>
                  <a:pt x="2718" y="927"/>
                  <a:pt x="2718" y="927"/>
                </a:cubicBezTo>
                <a:cubicBezTo>
                  <a:pt x="2720" y="926"/>
                  <a:pt x="2720" y="926"/>
                  <a:pt x="2720" y="926"/>
                </a:cubicBezTo>
                <a:cubicBezTo>
                  <a:pt x="2721" y="925"/>
                  <a:pt x="2721" y="925"/>
                  <a:pt x="2721" y="925"/>
                </a:cubicBezTo>
                <a:cubicBezTo>
                  <a:pt x="2722" y="924"/>
                  <a:pt x="2722" y="924"/>
                  <a:pt x="2722" y="924"/>
                </a:cubicBezTo>
                <a:cubicBezTo>
                  <a:pt x="2721" y="921"/>
                  <a:pt x="2721" y="921"/>
                  <a:pt x="2721" y="921"/>
                </a:cubicBezTo>
                <a:cubicBezTo>
                  <a:pt x="2719" y="919"/>
                  <a:pt x="2719" y="919"/>
                  <a:pt x="2719" y="919"/>
                </a:cubicBezTo>
                <a:cubicBezTo>
                  <a:pt x="2720" y="917"/>
                  <a:pt x="2720" y="917"/>
                  <a:pt x="2720" y="917"/>
                </a:cubicBezTo>
                <a:cubicBezTo>
                  <a:pt x="2719" y="915"/>
                  <a:pt x="2719" y="915"/>
                  <a:pt x="2719" y="915"/>
                </a:cubicBezTo>
                <a:cubicBezTo>
                  <a:pt x="2718" y="915"/>
                  <a:pt x="2718" y="915"/>
                  <a:pt x="2718" y="915"/>
                </a:cubicBezTo>
                <a:cubicBezTo>
                  <a:pt x="2718" y="918"/>
                  <a:pt x="2718" y="918"/>
                  <a:pt x="2718" y="918"/>
                </a:cubicBezTo>
                <a:cubicBezTo>
                  <a:pt x="2718" y="921"/>
                  <a:pt x="2718" y="921"/>
                  <a:pt x="2718" y="921"/>
                </a:cubicBezTo>
                <a:cubicBezTo>
                  <a:pt x="2717" y="920"/>
                  <a:pt x="2717" y="920"/>
                  <a:pt x="2717" y="920"/>
                </a:cubicBezTo>
                <a:cubicBezTo>
                  <a:pt x="2718" y="922"/>
                  <a:pt x="2718" y="922"/>
                  <a:pt x="2718" y="922"/>
                </a:cubicBezTo>
                <a:cubicBezTo>
                  <a:pt x="2718" y="923"/>
                  <a:pt x="2718" y="923"/>
                  <a:pt x="2718" y="923"/>
                </a:cubicBezTo>
                <a:cubicBezTo>
                  <a:pt x="2716" y="925"/>
                  <a:pt x="2716" y="925"/>
                  <a:pt x="2716" y="925"/>
                </a:cubicBezTo>
                <a:cubicBezTo>
                  <a:pt x="2715" y="925"/>
                  <a:pt x="2715" y="925"/>
                  <a:pt x="2715" y="925"/>
                </a:cubicBezTo>
                <a:cubicBezTo>
                  <a:pt x="2713" y="927"/>
                  <a:pt x="2713" y="927"/>
                  <a:pt x="2713" y="927"/>
                </a:cubicBezTo>
                <a:cubicBezTo>
                  <a:pt x="2713" y="929"/>
                  <a:pt x="2713" y="929"/>
                  <a:pt x="2713" y="929"/>
                </a:cubicBezTo>
                <a:cubicBezTo>
                  <a:pt x="2711" y="930"/>
                  <a:pt x="2711" y="930"/>
                  <a:pt x="2711" y="930"/>
                </a:cubicBezTo>
                <a:cubicBezTo>
                  <a:pt x="2709" y="934"/>
                  <a:pt x="2709" y="934"/>
                  <a:pt x="2709" y="934"/>
                </a:cubicBezTo>
                <a:cubicBezTo>
                  <a:pt x="2706" y="937"/>
                  <a:pt x="2706" y="937"/>
                  <a:pt x="2706" y="937"/>
                </a:cubicBezTo>
                <a:cubicBezTo>
                  <a:pt x="2704" y="937"/>
                  <a:pt x="2704" y="937"/>
                  <a:pt x="2704" y="937"/>
                </a:cubicBezTo>
                <a:cubicBezTo>
                  <a:pt x="2703" y="940"/>
                  <a:pt x="2703" y="940"/>
                  <a:pt x="2703" y="940"/>
                </a:cubicBezTo>
                <a:lnTo>
                  <a:pt x="2702" y="941"/>
                </a:lnTo>
                <a:close/>
                <a:moveTo>
                  <a:pt x="2515" y="957"/>
                </a:moveTo>
                <a:cubicBezTo>
                  <a:pt x="2515" y="956"/>
                  <a:pt x="2515" y="956"/>
                  <a:pt x="2515" y="956"/>
                </a:cubicBezTo>
                <a:cubicBezTo>
                  <a:pt x="2515" y="955"/>
                  <a:pt x="2515" y="955"/>
                  <a:pt x="2515" y="955"/>
                </a:cubicBezTo>
                <a:cubicBezTo>
                  <a:pt x="2514" y="955"/>
                  <a:pt x="2514" y="955"/>
                  <a:pt x="2514" y="955"/>
                </a:cubicBezTo>
                <a:lnTo>
                  <a:pt x="2515" y="957"/>
                </a:lnTo>
                <a:close/>
                <a:moveTo>
                  <a:pt x="2643" y="1010"/>
                </a:moveTo>
                <a:cubicBezTo>
                  <a:pt x="2643" y="1010"/>
                  <a:pt x="2643" y="1010"/>
                  <a:pt x="2643" y="1010"/>
                </a:cubicBezTo>
                <a:cubicBezTo>
                  <a:pt x="2643" y="1008"/>
                  <a:pt x="2643" y="1008"/>
                  <a:pt x="2643" y="1008"/>
                </a:cubicBezTo>
                <a:cubicBezTo>
                  <a:pt x="2644" y="1008"/>
                  <a:pt x="2644" y="1008"/>
                  <a:pt x="2644" y="1008"/>
                </a:cubicBezTo>
                <a:cubicBezTo>
                  <a:pt x="2643" y="1009"/>
                  <a:pt x="2643" y="1009"/>
                  <a:pt x="2643" y="1009"/>
                </a:cubicBezTo>
                <a:lnTo>
                  <a:pt x="2643" y="1010"/>
                </a:lnTo>
                <a:close/>
                <a:moveTo>
                  <a:pt x="2685" y="781"/>
                </a:moveTo>
                <a:cubicBezTo>
                  <a:pt x="2685" y="780"/>
                  <a:pt x="2685" y="780"/>
                  <a:pt x="2685" y="780"/>
                </a:cubicBezTo>
                <a:cubicBezTo>
                  <a:pt x="2684" y="779"/>
                  <a:pt x="2684" y="779"/>
                  <a:pt x="2684" y="779"/>
                </a:cubicBezTo>
                <a:cubicBezTo>
                  <a:pt x="2682" y="779"/>
                  <a:pt x="2682" y="779"/>
                  <a:pt x="2682" y="779"/>
                </a:cubicBezTo>
                <a:cubicBezTo>
                  <a:pt x="2683" y="780"/>
                  <a:pt x="2683" y="780"/>
                  <a:pt x="2683" y="780"/>
                </a:cubicBezTo>
                <a:lnTo>
                  <a:pt x="2685" y="781"/>
                </a:lnTo>
                <a:close/>
                <a:moveTo>
                  <a:pt x="2641" y="1123"/>
                </a:moveTo>
                <a:cubicBezTo>
                  <a:pt x="2643" y="1124"/>
                  <a:pt x="2643" y="1124"/>
                  <a:pt x="2643" y="1124"/>
                </a:cubicBezTo>
                <a:cubicBezTo>
                  <a:pt x="2646" y="1122"/>
                  <a:pt x="2646" y="1122"/>
                  <a:pt x="2646" y="1122"/>
                </a:cubicBezTo>
                <a:cubicBezTo>
                  <a:pt x="2648" y="1123"/>
                  <a:pt x="2648" y="1123"/>
                  <a:pt x="2648" y="1123"/>
                </a:cubicBezTo>
                <a:cubicBezTo>
                  <a:pt x="2651" y="1124"/>
                  <a:pt x="2651" y="1124"/>
                  <a:pt x="2651" y="1124"/>
                </a:cubicBezTo>
                <a:cubicBezTo>
                  <a:pt x="2654" y="1124"/>
                  <a:pt x="2654" y="1124"/>
                  <a:pt x="2654" y="1124"/>
                </a:cubicBezTo>
                <a:cubicBezTo>
                  <a:pt x="2657" y="1123"/>
                  <a:pt x="2657" y="1123"/>
                  <a:pt x="2657" y="1123"/>
                </a:cubicBezTo>
                <a:cubicBezTo>
                  <a:pt x="2658" y="1123"/>
                  <a:pt x="2658" y="1123"/>
                  <a:pt x="2658" y="1123"/>
                </a:cubicBezTo>
                <a:cubicBezTo>
                  <a:pt x="2660" y="1125"/>
                  <a:pt x="2660" y="1125"/>
                  <a:pt x="2660" y="1125"/>
                </a:cubicBezTo>
                <a:cubicBezTo>
                  <a:pt x="2662" y="1125"/>
                  <a:pt x="2662" y="1125"/>
                  <a:pt x="2662" y="1125"/>
                </a:cubicBezTo>
                <a:cubicBezTo>
                  <a:pt x="2665" y="1128"/>
                  <a:pt x="2665" y="1128"/>
                  <a:pt x="2665" y="1128"/>
                </a:cubicBezTo>
                <a:cubicBezTo>
                  <a:pt x="2667" y="1127"/>
                  <a:pt x="2667" y="1127"/>
                  <a:pt x="2667" y="1127"/>
                </a:cubicBezTo>
                <a:cubicBezTo>
                  <a:pt x="2669" y="1129"/>
                  <a:pt x="2669" y="1129"/>
                  <a:pt x="2669" y="1129"/>
                </a:cubicBezTo>
                <a:cubicBezTo>
                  <a:pt x="2670" y="1129"/>
                  <a:pt x="2670" y="1129"/>
                  <a:pt x="2670" y="1129"/>
                </a:cubicBezTo>
                <a:cubicBezTo>
                  <a:pt x="2669" y="1126"/>
                  <a:pt x="2669" y="1126"/>
                  <a:pt x="2669" y="1126"/>
                </a:cubicBezTo>
                <a:cubicBezTo>
                  <a:pt x="2668" y="1125"/>
                  <a:pt x="2668" y="1125"/>
                  <a:pt x="2668" y="1125"/>
                </a:cubicBezTo>
                <a:cubicBezTo>
                  <a:pt x="2669" y="1123"/>
                  <a:pt x="2669" y="1123"/>
                  <a:pt x="2669" y="1123"/>
                </a:cubicBezTo>
                <a:cubicBezTo>
                  <a:pt x="2670" y="1119"/>
                  <a:pt x="2670" y="1119"/>
                  <a:pt x="2670" y="1119"/>
                </a:cubicBezTo>
                <a:cubicBezTo>
                  <a:pt x="2669" y="1118"/>
                  <a:pt x="2669" y="1118"/>
                  <a:pt x="2669" y="1118"/>
                </a:cubicBezTo>
                <a:cubicBezTo>
                  <a:pt x="2667" y="1118"/>
                  <a:pt x="2667" y="1118"/>
                  <a:pt x="2667" y="1118"/>
                </a:cubicBezTo>
                <a:cubicBezTo>
                  <a:pt x="2667" y="1117"/>
                  <a:pt x="2667" y="1117"/>
                  <a:pt x="2667" y="1117"/>
                </a:cubicBezTo>
                <a:cubicBezTo>
                  <a:pt x="2665" y="1117"/>
                  <a:pt x="2665" y="1117"/>
                  <a:pt x="2665" y="1117"/>
                </a:cubicBezTo>
                <a:cubicBezTo>
                  <a:pt x="2664" y="1118"/>
                  <a:pt x="2664" y="1118"/>
                  <a:pt x="2664" y="1118"/>
                </a:cubicBezTo>
                <a:cubicBezTo>
                  <a:pt x="2662" y="1118"/>
                  <a:pt x="2662" y="1118"/>
                  <a:pt x="2662" y="1118"/>
                </a:cubicBezTo>
                <a:cubicBezTo>
                  <a:pt x="2660" y="1117"/>
                  <a:pt x="2660" y="1117"/>
                  <a:pt x="2660" y="1117"/>
                </a:cubicBezTo>
                <a:cubicBezTo>
                  <a:pt x="2658" y="1118"/>
                  <a:pt x="2658" y="1118"/>
                  <a:pt x="2658" y="1118"/>
                </a:cubicBezTo>
                <a:cubicBezTo>
                  <a:pt x="2656" y="1117"/>
                  <a:pt x="2656" y="1117"/>
                  <a:pt x="2656" y="1117"/>
                </a:cubicBezTo>
                <a:cubicBezTo>
                  <a:pt x="2655" y="1115"/>
                  <a:pt x="2655" y="1115"/>
                  <a:pt x="2655" y="1115"/>
                </a:cubicBezTo>
                <a:cubicBezTo>
                  <a:pt x="2654" y="1114"/>
                  <a:pt x="2654" y="1114"/>
                  <a:pt x="2654" y="1114"/>
                </a:cubicBezTo>
                <a:cubicBezTo>
                  <a:pt x="2652" y="1111"/>
                  <a:pt x="2652" y="1111"/>
                  <a:pt x="2652" y="1111"/>
                </a:cubicBezTo>
                <a:cubicBezTo>
                  <a:pt x="2652" y="1108"/>
                  <a:pt x="2652" y="1108"/>
                  <a:pt x="2652" y="1108"/>
                </a:cubicBezTo>
                <a:cubicBezTo>
                  <a:pt x="2650" y="1108"/>
                  <a:pt x="2650" y="1108"/>
                  <a:pt x="2650" y="1108"/>
                </a:cubicBezTo>
                <a:cubicBezTo>
                  <a:pt x="2648" y="1109"/>
                  <a:pt x="2648" y="1109"/>
                  <a:pt x="2648" y="1109"/>
                </a:cubicBezTo>
                <a:cubicBezTo>
                  <a:pt x="2647" y="1107"/>
                  <a:pt x="2647" y="1107"/>
                  <a:pt x="2647" y="1107"/>
                </a:cubicBezTo>
                <a:cubicBezTo>
                  <a:pt x="2645" y="1107"/>
                  <a:pt x="2645" y="1107"/>
                  <a:pt x="2645" y="1107"/>
                </a:cubicBezTo>
                <a:cubicBezTo>
                  <a:pt x="2643" y="1106"/>
                  <a:pt x="2643" y="1106"/>
                  <a:pt x="2643" y="1106"/>
                </a:cubicBezTo>
                <a:cubicBezTo>
                  <a:pt x="2642" y="1105"/>
                  <a:pt x="2642" y="1105"/>
                  <a:pt x="2642" y="1105"/>
                </a:cubicBezTo>
                <a:cubicBezTo>
                  <a:pt x="2640" y="1105"/>
                  <a:pt x="2640" y="1105"/>
                  <a:pt x="2640" y="1105"/>
                </a:cubicBezTo>
                <a:cubicBezTo>
                  <a:pt x="2638" y="1105"/>
                  <a:pt x="2638" y="1105"/>
                  <a:pt x="2638" y="1105"/>
                </a:cubicBezTo>
                <a:cubicBezTo>
                  <a:pt x="2636" y="1102"/>
                  <a:pt x="2636" y="1102"/>
                  <a:pt x="2636" y="1102"/>
                </a:cubicBezTo>
                <a:cubicBezTo>
                  <a:pt x="2634" y="1103"/>
                  <a:pt x="2634" y="1103"/>
                  <a:pt x="2634" y="1103"/>
                </a:cubicBezTo>
                <a:cubicBezTo>
                  <a:pt x="2633" y="1107"/>
                  <a:pt x="2633" y="1107"/>
                  <a:pt x="2633" y="1107"/>
                </a:cubicBezTo>
                <a:cubicBezTo>
                  <a:pt x="2632" y="1108"/>
                  <a:pt x="2632" y="1108"/>
                  <a:pt x="2632" y="1108"/>
                </a:cubicBezTo>
                <a:cubicBezTo>
                  <a:pt x="2627" y="1109"/>
                  <a:pt x="2627" y="1109"/>
                  <a:pt x="2627" y="1109"/>
                </a:cubicBezTo>
                <a:cubicBezTo>
                  <a:pt x="2622" y="1108"/>
                  <a:pt x="2622" y="1108"/>
                  <a:pt x="2622" y="1108"/>
                </a:cubicBezTo>
                <a:cubicBezTo>
                  <a:pt x="2616" y="1108"/>
                  <a:pt x="2616" y="1108"/>
                  <a:pt x="2616" y="1108"/>
                </a:cubicBezTo>
                <a:cubicBezTo>
                  <a:pt x="2612" y="1107"/>
                  <a:pt x="2612" y="1107"/>
                  <a:pt x="2612" y="1107"/>
                </a:cubicBezTo>
                <a:cubicBezTo>
                  <a:pt x="2612" y="1106"/>
                  <a:pt x="2612" y="1106"/>
                  <a:pt x="2612" y="1106"/>
                </a:cubicBezTo>
                <a:cubicBezTo>
                  <a:pt x="2612" y="1104"/>
                  <a:pt x="2612" y="1104"/>
                  <a:pt x="2612" y="1104"/>
                </a:cubicBezTo>
                <a:cubicBezTo>
                  <a:pt x="2611" y="1102"/>
                  <a:pt x="2611" y="1102"/>
                  <a:pt x="2611" y="1102"/>
                </a:cubicBezTo>
                <a:cubicBezTo>
                  <a:pt x="2606" y="1101"/>
                  <a:pt x="2606" y="1101"/>
                  <a:pt x="2606" y="1101"/>
                </a:cubicBezTo>
                <a:cubicBezTo>
                  <a:pt x="2603" y="1100"/>
                  <a:pt x="2603" y="1100"/>
                  <a:pt x="2603" y="1100"/>
                </a:cubicBezTo>
                <a:cubicBezTo>
                  <a:pt x="2601" y="1099"/>
                  <a:pt x="2601" y="1099"/>
                  <a:pt x="2601" y="1099"/>
                </a:cubicBezTo>
                <a:cubicBezTo>
                  <a:pt x="2598" y="1099"/>
                  <a:pt x="2598" y="1099"/>
                  <a:pt x="2598" y="1099"/>
                </a:cubicBezTo>
                <a:cubicBezTo>
                  <a:pt x="2597" y="1100"/>
                  <a:pt x="2597" y="1100"/>
                  <a:pt x="2597" y="1100"/>
                </a:cubicBezTo>
                <a:cubicBezTo>
                  <a:pt x="2596" y="1100"/>
                  <a:pt x="2596" y="1100"/>
                  <a:pt x="2596" y="1100"/>
                </a:cubicBezTo>
                <a:cubicBezTo>
                  <a:pt x="2594" y="1099"/>
                  <a:pt x="2594" y="1099"/>
                  <a:pt x="2594" y="1099"/>
                </a:cubicBezTo>
                <a:cubicBezTo>
                  <a:pt x="2591" y="1099"/>
                  <a:pt x="2591" y="1099"/>
                  <a:pt x="2591" y="1099"/>
                </a:cubicBezTo>
                <a:cubicBezTo>
                  <a:pt x="2589" y="1099"/>
                  <a:pt x="2589" y="1099"/>
                  <a:pt x="2589" y="1099"/>
                </a:cubicBezTo>
                <a:cubicBezTo>
                  <a:pt x="2588" y="1098"/>
                  <a:pt x="2588" y="1098"/>
                  <a:pt x="2588" y="1098"/>
                </a:cubicBezTo>
                <a:cubicBezTo>
                  <a:pt x="2586" y="1100"/>
                  <a:pt x="2586" y="1100"/>
                  <a:pt x="2586" y="1100"/>
                </a:cubicBezTo>
                <a:cubicBezTo>
                  <a:pt x="2586" y="1102"/>
                  <a:pt x="2586" y="1102"/>
                  <a:pt x="2586" y="1102"/>
                </a:cubicBezTo>
                <a:cubicBezTo>
                  <a:pt x="2585" y="1104"/>
                  <a:pt x="2585" y="1104"/>
                  <a:pt x="2585" y="1104"/>
                </a:cubicBezTo>
                <a:cubicBezTo>
                  <a:pt x="2583" y="1105"/>
                  <a:pt x="2583" y="1105"/>
                  <a:pt x="2583" y="1105"/>
                </a:cubicBezTo>
                <a:cubicBezTo>
                  <a:pt x="2583" y="1107"/>
                  <a:pt x="2583" y="1107"/>
                  <a:pt x="2583" y="1107"/>
                </a:cubicBezTo>
                <a:cubicBezTo>
                  <a:pt x="2581" y="1107"/>
                  <a:pt x="2581" y="1107"/>
                  <a:pt x="2581" y="1107"/>
                </a:cubicBezTo>
                <a:cubicBezTo>
                  <a:pt x="2580" y="1106"/>
                  <a:pt x="2580" y="1106"/>
                  <a:pt x="2580" y="1106"/>
                </a:cubicBezTo>
                <a:cubicBezTo>
                  <a:pt x="2580" y="1106"/>
                  <a:pt x="2580" y="1106"/>
                  <a:pt x="2580" y="1106"/>
                </a:cubicBezTo>
                <a:cubicBezTo>
                  <a:pt x="2580" y="1108"/>
                  <a:pt x="2580" y="1108"/>
                  <a:pt x="2580" y="1108"/>
                </a:cubicBezTo>
                <a:cubicBezTo>
                  <a:pt x="2581" y="1108"/>
                  <a:pt x="2581" y="1108"/>
                  <a:pt x="2581" y="1108"/>
                </a:cubicBezTo>
                <a:cubicBezTo>
                  <a:pt x="2585" y="1108"/>
                  <a:pt x="2585" y="1108"/>
                  <a:pt x="2585" y="1108"/>
                </a:cubicBezTo>
                <a:cubicBezTo>
                  <a:pt x="2587" y="1108"/>
                  <a:pt x="2587" y="1108"/>
                  <a:pt x="2587" y="1108"/>
                </a:cubicBezTo>
                <a:cubicBezTo>
                  <a:pt x="2588" y="1109"/>
                  <a:pt x="2588" y="1109"/>
                  <a:pt x="2588" y="1109"/>
                </a:cubicBezTo>
                <a:cubicBezTo>
                  <a:pt x="2590" y="1110"/>
                  <a:pt x="2590" y="1110"/>
                  <a:pt x="2590" y="1110"/>
                </a:cubicBezTo>
                <a:cubicBezTo>
                  <a:pt x="2591" y="1109"/>
                  <a:pt x="2591" y="1109"/>
                  <a:pt x="2591" y="1109"/>
                </a:cubicBezTo>
                <a:cubicBezTo>
                  <a:pt x="2592" y="1110"/>
                  <a:pt x="2592" y="1110"/>
                  <a:pt x="2592" y="1110"/>
                </a:cubicBezTo>
                <a:cubicBezTo>
                  <a:pt x="2591" y="1110"/>
                  <a:pt x="2591" y="1110"/>
                  <a:pt x="2591" y="1110"/>
                </a:cubicBezTo>
                <a:cubicBezTo>
                  <a:pt x="2590" y="1113"/>
                  <a:pt x="2590" y="1113"/>
                  <a:pt x="2590" y="1113"/>
                </a:cubicBezTo>
                <a:cubicBezTo>
                  <a:pt x="2591" y="1114"/>
                  <a:pt x="2591" y="1114"/>
                  <a:pt x="2591" y="1114"/>
                </a:cubicBezTo>
                <a:cubicBezTo>
                  <a:pt x="2594" y="1114"/>
                  <a:pt x="2594" y="1114"/>
                  <a:pt x="2594" y="1114"/>
                </a:cubicBezTo>
                <a:cubicBezTo>
                  <a:pt x="2596" y="1115"/>
                  <a:pt x="2596" y="1115"/>
                  <a:pt x="2596" y="1115"/>
                </a:cubicBezTo>
                <a:cubicBezTo>
                  <a:pt x="2598" y="1114"/>
                  <a:pt x="2598" y="1114"/>
                  <a:pt x="2598" y="1114"/>
                </a:cubicBezTo>
                <a:cubicBezTo>
                  <a:pt x="2599" y="1115"/>
                  <a:pt x="2599" y="1115"/>
                  <a:pt x="2599" y="1115"/>
                </a:cubicBezTo>
                <a:cubicBezTo>
                  <a:pt x="2602" y="1115"/>
                  <a:pt x="2602" y="1115"/>
                  <a:pt x="2602" y="1115"/>
                </a:cubicBezTo>
                <a:cubicBezTo>
                  <a:pt x="2605" y="1117"/>
                  <a:pt x="2605" y="1117"/>
                  <a:pt x="2605" y="1117"/>
                </a:cubicBezTo>
                <a:cubicBezTo>
                  <a:pt x="2610" y="1119"/>
                  <a:pt x="2610" y="1119"/>
                  <a:pt x="2610" y="1119"/>
                </a:cubicBezTo>
                <a:cubicBezTo>
                  <a:pt x="2612" y="1116"/>
                  <a:pt x="2612" y="1116"/>
                  <a:pt x="2612" y="1116"/>
                </a:cubicBezTo>
                <a:cubicBezTo>
                  <a:pt x="2613" y="1116"/>
                  <a:pt x="2613" y="1116"/>
                  <a:pt x="2613" y="1116"/>
                </a:cubicBezTo>
                <a:cubicBezTo>
                  <a:pt x="2615" y="1118"/>
                  <a:pt x="2615" y="1118"/>
                  <a:pt x="2615" y="1118"/>
                </a:cubicBezTo>
                <a:cubicBezTo>
                  <a:pt x="2617" y="1118"/>
                  <a:pt x="2617" y="1118"/>
                  <a:pt x="2617" y="1118"/>
                </a:cubicBezTo>
                <a:cubicBezTo>
                  <a:pt x="2618" y="1117"/>
                  <a:pt x="2618" y="1117"/>
                  <a:pt x="2618" y="1117"/>
                </a:cubicBezTo>
                <a:cubicBezTo>
                  <a:pt x="2619" y="1117"/>
                  <a:pt x="2619" y="1117"/>
                  <a:pt x="2619" y="1117"/>
                </a:cubicBezTo>
                <a:cubicBezTo>
                  <a:pt x="2622" y="1118"/>
                  <a:pt x="2622" y="1118"/>
                  <a:pt x="2622" y="1118"/>
                </a:cubicBezTo>
                <a:cubicBezTo>
                  <a:pt x="2625" y="1118"/>
                  <a:pt x="2625" y="1118"/>
                  <a:pt x="2625" y="1118"/>
                </a:cubicBezTo>
                <a:cubicBezTo>
                  <a:pt x="2630" y="1121"/>
                  <a:pt x="2630" y="1121"/>
                  <a:pt x="2630" y="1121"/>
                </a:cubicBezTo>
                <a:cubicBezTo>
                  <a:pt x="2635" y="1124"/>
                  <a:pt x="2635" y="1124"/>
                  <a:pt x="2635" y="1124"/>
                </a:cubicBezTo>
                <a:cubicBezTo>
                  <a:pt x="2637" y="1122"/>
                  <a:pt x="2637" y="1122"/>
                  <a:pt x="2637" y="1122"/>
                </a:cubicBezTo>
                <a:lnTo>
                  <a:pt x="2641" y="1123"/>
                </a:lnTo>
                <a:close/>
                <a:moveTo>
                  <a:pt x="2642" y="1012"/>
                </a:moveTo>
                <a:cubicBezTo>
                  <a:pt x="2643" y="1011"/>
                  <a:pt x="2643" y="1011"/>
                  <a:pt x="2643" y="1011"/>
                </a:cubicBezTo>
                <a:cubicBezTo>
                  <a:pt x="2643" y="1010"/>
                  <a:pt x="2643" y="1010"/>
                  <a:pt x="2643" y="1010"/>
                </a:cubicBezTo>
                <a:lnTo>
                  <a:pt x="2642" y="1012"/>
                </a:lnTo>
                <a:close/>
                <a:moveTo>
                  <a:pt x="2716" y="766"/>
                </a:moveTo>
                <a:cubicBezTo>
                  <a:pt x="2714" y="770"/>
                  <a:pt x="2714" y="770"/>
                  <a:pt x="2714" y="770"/>
                </a:cubicBezTo>
                <a:cubicBezTo>
                  <a:pt x="2713" y="774"/>
                  <a:pt x="2713" y="774"/>
                  <a:pt x="2713" y="774"/>
                </a:cubicBezTo>
                <a:cubicBezTo>
                  <a:pt x="2712" y="775"/>
                  <a:pt x="2712" y="775"/>
                  <a:pt x="2712" y="775"/>
                </a:cubicBezTo>
                <a:cubicBezTo>
                  <a:pt x="2713" y="776"/>
                  <a:pt x="2713" y="776"/>
                  <a:pt x="2713" y="776"/>
                </a:cubicBezTo>
                <a:cubicBezTo>
                  <a:pt x="2713" y="780"/>
                  <a:pt x="2713" y="780"/>
                  <a:pt x="2713" y="780"/>
                </a:cubicBezTo>
                <a:cubicBezTo>
                  <a:pt x="2713" y="784"/>
                  <a:pt x="2713" y="784"/>
                  <a:pt x="2713" y="784"/>
                </a:cubicBezTo>
                <a:cubicBezTo>
                  <a:pt x="2715" y="784"/>
                  <a:pt x="2715" y="784"/>
                  <a:pt x="2715" y="784"/>
                </a:cubicBezTo>
                <a:cubicBezTo>
                  <a:pt x="2715" y="786"/>
                  <a:pt x="2715" y="786"/>
                  <a:pt x="2715" y="786"/>
                </a:cubicBezTo>
                <a:cubicBezTo>
                  <a:pt x="2714" y="786"/>
                  <a:pt x="2714" y="786"/>
                  <a:pt x="2714" y="786"/>
                </a:cubicBezTo>
                <a:cubicBezTo>
                  <a:pt x="2714" y="787"/>
                  <a:pt x="2714" y="787"/>
                  <a:pt x="2714" y="787"/>
                </a:cubicBezTo>
                <a:cubicBezTo>
                  <a:pt x="2715" y="789"/>
                  <a:pt x="2715" y="789"/>
                  <a:pt x="2715" y="789"/>
                </a:cubicBezTo>
                <a:cubicBezTo>
                  <a:pt x="2716" y="789"/>
                  <a:pt x="2716" y="789"/>
                  <a:pt x="2716" y="789"/>
                </a:cubicBezTo>
                <a:cubicBezTo>
                  <a:pt x="2717" y="790"/>
                  <a:pt x="2717" y="790"/>
                  <a:pt x="2717" y="790"/>
                </a:cubicBezTo>
                <a:cubicBezTo>
                  <a:pt x="2720" y="791"/>
                  <a:pt x="2720" y="791"/>
                  <a:pt x="2720" y="791"/>
                </a:cubicBezTo>
                <a:cubicBezTo>
                  <a:pt x="2721" y="793"/>
                  <a:pt x="2721" y="793"/>
                  <a:pt x="2721" y="793"/>
                </a:cubicBezTo>
                <a:cubicBezTo>
                  <a:pt x="2721" y="796"/>
                  <a:pt x="2721" y="796"/>
                  <a:pt x="2721" y="796"/>
                </a:cubicBezTo>
                <a:cubicBezTo>
                  <a:pt x="2721" y="797"/>
                  <a:pt x="2721" y="797"/>
                  <a:pt x="2721" y="797"/>
                </a:cubicBezTo>
                <a:cubicBezTo>
                  <a:pt x="2723" y="797"/>
                  <a:pt x="2723" y="797"/>
                  <a:pt x="2723" y="797"/>
                </a:cubicBezTo>
                <a:cubicBezTo>
                  <a:pt x="2724" y="797"/>
                  <a:pt x="2724" y="797"/>
                  <a:pt x="2724" y="797"/>
                </a:cubicBezTo>
                <a:cubicBezTo>
                  <a:pt x="2724" y="795"/>
                  <a:pt x="2724" y="795"/>
                  <a:pt x="2724" y="795"/>
                </a:cubicBezTo>
                <a:cubicBezTo>
                  <a:pt x="2724" y="793"/>
                  <a:pt x="2724" y="793"/>
                  <a:pt x="2724" y="793"/>
                </a:cubicBezTo>
                <a:cubicBezTo>
                  <a:pt x="2723" y="790"/>
                  <a:pt x="2723" y="790"/>
                  <a:pt x="2723" y="790"/>
                </a:cubicBezTo>
                <a:cubicBezTo>
                  <a:pt x="2725" y="788"/>
                  <a:pt x="2725" y="788"/>
                  <a:pt x="2725" y="788"/>
                </a:cubicBezTo>
                <a:cubicBezTo>
                  <a:pt x="2727" y="784"/>
                  <a:pt x="2727" y="784"/>
                  <a:pt x="2727" y="784"/>
                </a:cubicBezTo>
                <a:cubicBezTo>
                  <a:pt x="2727" y="781"/>
                  <a:pt x="2727" y="781"/>
                  <a:pt x="2727" y="781"/>
                </a:cubicBezTo>
                <a:cubicBezTo>
                  <a:pt x="2728" y="781"/>
                  <a:pt x="2728" y="781"/>
                  <a:pt x="2728" y="781"/>
                </a:cubicBezTo>
                <a:cubicBezTo>
                  <a:pt x="2727" y="780"/>
                  <a:pt x="2727" y="780"/>
                  <a:pt x="2727" y="780"/>
                </a:cubicBezTo>
                <a:cubicBezTo>
                  <a:pt x="2728" y="776"/>
                  <a:pt x="2728" y="776"/>
                  <a:pt x="2728" y="776"/>
                </a:cubicBezTo>
                <a:cubicBezTo>
                  <a:pt x="2728" y="774"/>
                  <a:pt x="2728" y="774"/>
                  <a:pt x="2728" y="774"/>
                </a:cubicBezTo>
                <a:cubicBezTo>
                  <a:pt x="2727" y="771"/>
                  <a:pt x="2727" y="771"/>
                  <a:pt x="2727" y="771"/>
                </a:cubicBezTo>
                <a:cubicBezTo>
                  <a:pt x="2729" y="769"/>
                  <a:pt x="2729" y="769"/>
                  <a:pt x="2729" y="769"/>
                </a:cubicBezTo>
                <a:cubicBezTo>
                  <a:pt x="2729" y="763"/>
                  <a:pt x="2729" y="763"/>
                  <a:pt x="2729" y="763"/>
                </a:cubicBezTo>
                <a:cubicBezTo>
                  <a:pt x="2730" y="761"/>
                  <a:pt x="2730" y="761"/>
                  <a:pt x="2730" y="761"/>
                </a:cubicBezTo>
                <a:cubicBezTo>
                  <a:pt x="2730" y="761"/>
                  <a:pt x="2730" y="761"/>
                  <a:pt x="2730" y="761"/>
                </a:cubicBezTo>
                <a:cubicBezTo>
                  <a:pt x="2730" y="759"/>
                  <a:pt x="2730" y="759"/>
                  <a:pt x="2730" y="759"/>
                </a:cubicBezTo>
                <a:cubicBezTo>
                  <a:pt x="2728" y="758"/>
                  <a:pt x="2728" y="758"/>
                  <a:pt x="2728" y="758"/>
                </a:cubicBezTo>
                <a:cubicBezTo>
                  <a:pt x="2728" y="758"/>
                  <a:pt x="2728" y="758"/>
                  <a:pt x="2728" y="758"/>
                </a:cubicBezTo>
                <a:cubicBezTo>
                  <a:pt x="2727" y="755"/>
                  <a:pt x="2727" y="755"/>
                  <a:pt x="2727" y="755"/>
                </a:cubicBezTo>
                <a:cubicBezTo>
                  <a:pt x="2724" y="755"/>
                  <a:pt x="2724" y="755"/>
                  <a:pt x="2724" y="755"/>
                </a:cubicBezTo>
                <a:cubicBezTo>
                  <a:pt x="2723" y="755"/>
                  <a:pt x="2723" y="755"/>
                  <a:pt x="2723" y="755"/>
                </a:cubicBezTo>
                <a:cubicBezTo>
                  <a:pt x="2723" y="757"/>
                  <a:pt x="2723" y="757"/>
                  <a:pt x="2723" y="757"/>
                </a:cubicBezTo>
                <a:cubicBezTo>
                  <a:pt x="2721" y="757"/>
                  <a:pt x="2721" y="757"/>
                  <a:pt x="2721" y="757"/>
                </a:cubicBezTo>
                <a:cubicBezTo>
                  <a:pt x="2719" y="760"/>
                  <a:pt x="2719" y="760"/>
                  <a:pt x="2719" y="760"/>
                </a:cubicBezTo>
                <a:cubicBezTo>
                  <a:pt x="2717" y="763"/>
                  <a:pt x="2717" y="763"/>
                  <a:pt x="2717" y="763"/>
                </a:cubicBezTo>
                <a:cubicBezTo>
                  <a:pt x="2718" y="764"/>
                  <a:pt x="2718" y="764"/>
                  <a:pt x="2718" y="764"/>
                </a:cubicBezTo>
                <a:cubicBezTo>
                  <a:pt x="2717" y="766"/>
                  <a:pt x="2717" y="766"/>
                  <a:pt x="2717" y="766"/>
                </a:cubicBezTo>
                <a:lnTo>
                  <a:pt x="2716" y="766"/>
                </a:lnTo>
                <a:close/>
                <a:moveTo>
                  <a:pt x="2556" y="1029"/>
                </a:moveTo>
                <a:cubicBezTo>
                  <a:pt x="2558" y="1030"/>
                  <a:pt x="2558" y="1030"/>
                  <a:pt x="2558" y="1030"/>
                </a:cubicBezTo>
                <a:cubicBezTo>
                  <a:pt x="2559" y="1029"/>
                  <a:pt x="2559" y="1029"/>
                  <a:pt x="2559" y="1029"/>
                </a:cubicBezTo>
                <a:cubicBezTo>
                  <a:pt x="2558" y="1026"/>
                  <a:pt x="2558" y="1026"/>
                  <a:pt x="2558" y="1026"/>
                </a:cubicBezTo>
                <a:cubicBezTo>
                  <a:pt x="2556" y="1025"/>
                  <a:pt x="2556" y="1025"/>
                  <a:pt x="2556" y="1025"/>
                </a:cubicBezTo>
                <a:cubicBezTo>
                  <a:pt x="2553" y="1024"/>
                  <a:pt x="2553" y="1024"/>
                  <a:pt x="2553" y="1024"/>
                </a:cubicBezTo>
                <a:cubicBezTo>
                  <a:pt x="2552" y="1027"/>
                  <a:pt x="2552" y="1027"/>
                  <a:pt x="2552" y="1027"/>
                </a:cubicBezTo>
                <a:cubicBezTo>
                  <a:pt x="2552" y="1029"/>
                  <a:pt x="2552" y="1029"/>
                  <a:pt x="2552" y="1029"/>
                </a:cubicBezTo>
                <a:lnTo>
                  <a:pt x="2556" y="1029"/>
                </a:lnTo>
                <a:close/>
                <a:moveTo>
                  <a:pt x="2569" y="1026"/>
                </a:moveTo>
                <a:cubicBezTo>
                  <a:pt x="2569" y="1024"/>
                  <a:pt x="2569" y="1024"/>
                  <a:pt x="2569" y="1024"/>
                </a:cubicBezTo>
                <a:cubicBezTo>
                  <a:pt x="2569" y="1023"/>
                  <a:pt x="2569" y="1023"/>
                  <a:pt x="2569" y="1023"/>
                </a:cubicBezTo>
                <a:cubicBezTo>
                  <a:pt x="2566" y="1026"/>
                  <a:pt x="2566" y="1026"/>
                  <a:pt x="2566" y="1026"/>
                </a:cubicBezTo>
                <a:lnTo>
                  <a:pt x="2569" y="1026"/>
                </a:lnTo>
                <a:close/>
                <a:moveTo>
                  <a:pt x="2549" y="1021"/>
                </a:moveTo>
                <a:cubicBezTo>
                  <a:pt x="2548" y="1021"/>
                  <a:pt x="2548" y="1021"/>
                  <a:pt x="2548" y="1021"/>
                </a:cubicBezTo>
                <a:cubicBezTo>
                  <a:pt x="2550" y="1025"/>
                  <a:pt x="2550" y="1025"/>
                  <a:pt x="2550" y="1025"/>
                </a:cubicBezTo>
                <a:cubicBezTo>
                  <a:pt x="2551" y="1026"/>
                  <a:pt x="2551" y="1026"/>
                  <a:pt x="2551" y="1026"/>
                </a:cubicBezTo>
                <a:cubicBezTo>
                  <a:pt x="2553" y="1023"/>
                  <a:pt x="2553" y="1023"/>
                  <a:pt x="2553" y="1023"/>
                </a:cubicBezTo>
                <a:cubicBezTo>
                  <a:pt x="2551" y="1022"/>
                  <a:pt x="2551" y="1022"/>
                  <a:pt x="2551" y="1022"/>
                </a:cubicBezTo>
                <a:lnTo>
                  <a:pt x="2549" y="1021"/>
                </a:lnTo>
                <a:close/>
                <a:moveTo>
                  <a:pt x="2542" y="1016"/>
                </a:moveTo>
                <a:cubicBezTo>
                  <a:pt x="2541" y="1016"/>
                  <a:pt x="2541" y="1016"/>
                  <a:pt x="2541" y="1016"/>
                </a:cubicBezTo>
                <a:cubicBezTo>
                  <a:pt x="2542" y="1019"/>
                  <a:pt x="2542" y="1019"/>
                  <a:pt x="2542" y="1019"/>
                </a:cubicBezTo>
                <a:cubicBezTo>
                  <a:pt x="2544" y="1019"/>
                  <a:pt x="2544" y="1019"/>
                  <a:pt x="2544" y="1019"/>
                </a:cubicBezTo>
                <a:cubicBezTo>
                  <a:pt x="2546" y="1017"/>
                  <a:pt x="2546" y="1017"/>
                  <a:pt x="2546" y="1017"/>
                </a:cubicBezTo>
                <a:cubicBezTo>
                  <a:pt x="2544" y="1015"/>
                  <a:pt x="2544" y="1015"/>
                  <a:pt x="2544" y="1015"/>
                </a:cubicBezTo>
                <a:lnTo>
                  <a:pt x="2542" y="1016"/>
                </a:lnTo>
                <a:close/>
                <a:moveTo>
                  <a:pt x="2574" y="1023"/>
                </a:moveTo>
                <a:cubicBezTo>
                  <a:pt x="2573" y="1024"/>
                  <a:pt x="2573" y="1024"/>
                  <a:pt x="2573" y="1024"/>
                </a:cubicBezTo>
                <a:cubicBezTo>
                  <a:pt x="2571" y="1024"/>
                  <a:pt x="2571" y="1024"/>
                  <a:pt x="2571" y="1024"/>
                </a:cubicBezTo>
                <a:cubicBezTo>
                  <a:pt x="2570" y="1026"/>
                  <a:pt x="2570" y="1026"/>
                  <a:pt x="2570" y="1026"/>
                </a:cubicBezTo>
                <a:cubicBezTo>
                  <a:pt x="2573" y="1026"/>
                  <a:pt x="2573" y="1026"/>
                  <a:pt x="2573" y="1026"/>
                </a:cubicBezTo>
                <a:cubicBezTo>
                  <a:pt x="2573" y="1029"/>
                  <a:pt x="2573" y="1029"/>
                  <a:pt x="2573" y="1029"/>
                </a:cubicBezTo>
                <a:cubicBezTo>
                  <a:pt x="2575" y="1029"/>
                  <a:pt x="2575" y="1029"/>
                  <a:pt x="2575" y="1029"/>
                </a:cubicBezTo>
                <a:cubicBezTo>
                  <a:pt x="2575" y="1025"/>
                  <a:pt x="2575" y="1025"/>
                  <a:pt x="2575" y="1025"/>
                </a:cubicBezTo>
                <a:cubicBezTo>
                  <a:pt x="2574" y="1024"/>
                  <a:pt x="2574" y="1024"/>
                  <a:pt x="2574" y="1024"/>
                </a:cubicBezTo>
                <a:cubicBezTo>
                  <a:pt x="2575" y="1023"/>
                  <a:pt x="2575" y="1023"/>
                  <a:pt x="2575" y="1023"/>
                </a:cubicBezTo>
                <a:lnTo>
                  <a:pt x="2574" y="1023"/>
                </a:lnTo>
                <a:close/>
                <a:moveTo>
                  <a:pt x="2521" y="965"/>
                </a:moveTo>
                <a:cubicBezTo>
                  <a:pt x="2521" y="967"/>
                  <a:pt x="2521" y="967"/>
                  <a:pt x="2521" y="967"/>
                </a:cubicBezTo>
                <a:cubicBezTo>
                  <a:pt x="2522" y="967"/>
                  <a:pt x="2522" y="967"/>
                  <a:pt x="2522" y="967"/>
                </a:cubicBezTo>
                <a:cubicBezTo>
                  <a:pt x="2522" y="965"/>
                  <a:pt x="2522" y="965"/>
                  <a:pt x="2522" y="965"/>
                </a:cubicBezTo>
                <a:cubicBezTo>
                  <a:pt x="2521" y="965"/>
                  <a:pt x="2521" y="965"/>
                  <a:pt x="2521" y="965"/>
                </a:cubicBezTo>
                <a:close/>
                <a:moveTo>
                  <a:pt x="2580" y="1105"/>
                </a:moveTo>
                <a:cubicBezTo>
                  <a:pt x="2579" y="1105"/>
                  <a:pt x="2579" y="1105"/>
                  <a:pt x="2579" y="1105"/>
                </a:cubicBezTo>
                <a:cubicBezTo>
                  <a:pt x="2579" y="1106"/>
                  <a:pt x="2579" y="1106"/>
                  <a:pt x="2579" y="1106"/>
                </a:cubicBezTo>
                <a:cubicBezTo>
                  <a:pt x="2580" y="1106"/>
                  <a:pt x="2580" y="1106"/>
                  <a:pt x="2580" y="1106"/>
                </a:cubicBezTo>
                <a:lnTo>
                  <a:pt x="2580" y="1105"/>
                </a:lnTo>
                <a:close/>
                <a:moveTo>
                  <a:pt x="2526" y="977"/>
                </a:moveTo>
                <a:cubicBezTo>
                  <a:pt x="2526" y="979"/>
                  <a:pt x="2526" y="979"/>
                  <a:pt x="2526" y="979"/>
                </a:cubicBezTo>
                <a:cubicBezTo>
                  <a:pt x="2528" y="980"/>
                  <a:pt x="2528" y="980"/>
                  <a:pt x="2528" y="980"/>
                </a:cubicBezTo>
                <a:cubicBezTo>
                  <a:pt x="2528" y="980"/>
                  <a:pt x="2528" y="980"/>
                  <a:pt x="2528" y="980"/>
                </a:cubicBezTo>
                <a:cubicBezTo>
                  <a:pt x="2528" y="978"/>
                  <a:pt x="2528" y="978"/>
                  <a:pt x="2528" y="978"/>
                </a:cubicBezTo>
                <a:cubicBezTo>
                  <a:pt x="2527" y="977"/>
                  <a:pt x="2527" y="977"/>
                  <a:pt x="2527" y="977"/>
                </a:cubicBezTo>
                <a:lnTo>
                  <a:pt x="2526" y="977"/>
                </a:lnTo>
                <a:close/>
                <a:moveTo>
                  <a:pt x="2591" y="1003"/>
                </a:moveTo>
                <a:cubicBezTo>
                  <a:pt x="2590" y="1002"/>
                  <a:pt x="2590" y="1002"/>
                  <a:pt x="2590" y="1002"/>
                </a:cubicBezTo>
                <a:cubicBezTo>
                  <a:pt x="2589" y="1003"/>
                  <a:pt x="2589" y="1003"/>
                  <a:pt x="2589" y="1003"/>
                </a:cubicBezTo>
                <a:lnTo>
                  <a:pt x="2591" y="1003"/>
                </a:lnTo>
                <a:close/>
                <a:moveTo>
                  <a:pt x="2590" y="999"/>
                </a:moveTo>
                <a:cubicBezTo>
                  <a:pt x="2590" y="1001"/>
                  <a:pt x="2590" y="1001"/>
                  <a:pt x="2590" y="1001"/>
                </a:cubicBezTo>
                <a:cubicBezTo>
                  <a:pt x="2591" y="999"/>
                  <a:pt x="2591" y="999"/>
                  <a:pt x="2591" y="999"/>
                </a:cubicBezTo>
                <a:lnTo>
                  <a:pt x="2590" y="999"/>
                </a:lnTo>
                <a:close/>
                <a:moveTo>
                  <a:pt x="2590" y="1007"/>
                </a:moveTo>
                <a:cubicBezTo>
                  <a:pt x="2591" y="1006"/>
                  <a:pt x="2591" y="1006"/>
                  <a:pt x="2591" y="1006"/>
                </a:cubicBezTo>
                <a:cubicBezTo>
                  <a:pt x="2590" y="1005"/>
                  <a:pt x="2590" y="1005"/>
                  <a:pt x="2590" y="1005"/>
                </a:cubicBezTo>
                <a:lnTo>
                  <a:pt x="2590" y="1007"/>
                </a:lnTo>
                <a:close/>
                <a:moveTo>
                  <a:pt x="2592" y="1063"/>
                </a:moveTo>
                <a:cubicBezTo>
                  <a:pt x="2589" y="1061"/>
                  <a:pt x="2589" y="1061"/>
                  <a:pt x="2589" y="1061"/>
                </a:cubicBezTo>
                <a:cubicBezTo>
                  <a:pt x="2589" y="1056"/>
                  <a:pt x="2589" y="1056"/>
                  <a:pt x="2589" y="1056"/>
                </a:cubicBezTo>
                <a:cubicBezTo>
                  <a:pt x="2588" y="1055"/>
                  <a:pt x="2588" y="1055"/>
                  <a:pt x="2588" y="1055"/>
                </a:cubicBezTo>
                <a:cubicBezTo>
                  <a:pt x="2588" y="1054"/>
                  <a:pt x="2588" y="1054"/>
                  <a:pt x="2588" y="1054"/>
                </a:cubicBezTo>
                <a:cubicBezTo>
                  <a:pt x="2586" y="1053"/>
                  <a:pt x="2586" y="1053"/>
                  <a:pt x="2586" y="1053"/>
                </a:cubicBezTo>
                <a:cubicBezTo>
                  <a:pt x="2585" y="1053"/>
                  <a:pt x="2585" y="1053"/>
                  <a:pt x="2585" y="1053"/>
                </a:cubicBezTo>
                <a:cubicBezTo>
                  <a:pt x="2585" y="1055"/>
                  <a:pt x="2585" y="1055"/>
                  <a:pt x="2585" y="1055"/>
                </a:cubicBezTo>
                <a:cubicBezTo>
                  <a:pt x="2586" y="1056"/>
                  <a:pt x="2586" y="1056"/>
                  <a:pt x="2586" y="1056"/>
                </a:cubicBezTo>
                <a:cubicBezTo>
                  <a:pt x="2584" y="1055"/>
                  <a:pt x="2584" y="1055"/>
                  <a:pt x="2584" y="1055"/>
                </a:cubicBezTo>
                <a:cubicBezTo>
                  <a:pt x="2582" y="1054"/>
                  <a:pt x="2582" y="1054"/>
                  <a:pt x="2582" y="1054"/>
                </a:cubicBezTo>
                <a:cubicBezTo>
                  <a:pt x="2582" y="1054"/>
                  <a:pt x="2582" y="1054"/>
                  <a:pt x="2582" y="1054"/>
                </a:cubicBezTo>
                <a:cubicBezTo>
                  <a:pt x="2582" y="1056"/>
                  <a:pt x="2582" y="1056"/>
                  <a:pt x="2582" y="1056"/>
                </a:cubicBezTo>
                <a:cubicBezTo>
                  <a:pt x="2580" y="1058"/>
                  <a:pt x="2580" y="1058"/>
                  <a:pt x="2580" y="1058"/>
                </a:cubicBezTo>
                <a:cubicBezTo>
                  <a:pt x="2581" y="1059"/>
                  <a:pt x="2581" y="1059"/>
                  <a:pt x="2581" y="1059"/>
                </a:cubicBezTo>
                <a:cubicBezTo>
                  <a:pt x="2585" y="1059"/>
                  <a:pt x="2585" y="1059"/>
                  <a:pt x="2585" y="1059"/>
                </a:cubicBezTo>
                <a:cubicBezTo>
                  <a:pt x="2586" y="1060"/>
                  <a:pt x="2586" y="1060"/>
                  <a:pt x="2586" y="1060"/>
                </a:cubicBezTo>
                <a:cubicBezTo>
                  <a:pt x="2586" y="1062"/>
                  <a:pt x="2586" y="1062"/>
                  <a:pt x="2586" y="1062"/>
                </a:cubicBezTo>
                <a:cubicBezTo>
                  <a:pt x="2587" y="1063"/>
                  <a:pt x="2587" y="1063"/>
                  <a:pt x="2587" y="1063"/>
                </a:cubicBezTo>
                <a:cubicBezTo>
                  <a:pt x="2588" y="1066"/>
                  <a:pt x="2588" y="1066"/>
                  <a:pt x="2588" y="1066"/>
                </a:cubicBezTo>
                <a:cubicBezTo>
                  <a:pt x="2590" y="1067"/>
                  <a:pt x="2590" y="1067"/>
                  <a:pt x="2590" y="1067"/>
                </a:cubicBezTo>
                <a:cubicBezTo>
                  <a:pt x="2592" y="1067"/>
                  <a:pt x="2592" y="1067"/>
                  <a:pt x="2592" y="1067"/>
                </a:cubicBezTo>
                <a:cubicBezTo>
                  <a:pt x="2593" y="1069"/>
                  <a:pt x="2593" y="1069"/>
                  <a:pt x="2593" y="1069"/>
                </a:cubicBezTo>
                <a:cubicBezTo>
                  <a:pt x="2594" y="1070"/>
                  <a:pt x="2594" y="1070"/>
                  <a:pt x="2594" y="1070"/>
                </a:cubicBezTo>
                <a:cubicBezTo>
                  <a:pt x="2595" y="1068"/>
                  <a:pt x="2595" y="1068"/>
                  <a:pt x="2595" y="1068"/>
                </a:cubicBezTo>
                <a:cubicBezTo>
                  <a:pt x="2594" y="1066"/>
                  <a:pt x="2594" y="1066"/>
                  <a:pt x="2594" y="1066"/>
                </a:cubicBezTo>
                <a:cubicBezTo>
                  <a:pt x="2595" y="1064"/>
                  <a:pt x="2595" y="1064"/>
                  <a:pt x="2595" y="1064"/>
                </a:cubicBezTo>
                <a:lnTo>
                  <a:pt x="2592" y="1063"/>
                </a:lnTo>
                <a:close/>
                <a:moveTo>
                  <a:pt x="2587" y="1004"/>
                </a:moveTo>
                <a:cubicBezTo>
                  <a:pt x="2585" y="1003"/>
                  <a:pt x="2585" y="1003"/>
                  <a:pt x="2585" y="1003"/>
                </a:cubicBezTo>
                <a:cubicBezTo>
                  <a:pt x="2584" y="1003"/>
                  <a:pt x="2584" y="1003"/>
                  <a:pt x="2584" y="1003"/>
                </a:cubicBezTo>
                <a:cubicBezTo>
                  <a:pt x="2584" y="1005"/>
                  <a:pt x="2584" y="1005"/>
                  <a:pt x="2584" y="1005"/>
                </a:cubicBezTo>
                <a:cubicBezTo>
                  <a:pt x="2585" y="1006"/>
                  <a:pt x="2585" y="1006"/>
                  <a:pt x="2585" y="1006"/>
                </a:cubicBezTo>
                <a:lnTo>
                  <a:pt x="2587" y="1004"/>
                </a:lnTo>
                <a:close/>
                <a:moveTo>
                  <a:pt x="2574" y="1044"/>
                </a:moveTo>
                <a:cubicBezTo>
                  <a:pt x="2574" y="1042"/>
                  <a:pt x="2574" y="1042"/>
                  <a:pt x="2574" y="1042"/>
                </a:cubicBezTo>
                <a:cubicBezTo>
                  <a:pt x="2572" y="1042"/>
                  <a:pt x="2572" y="1042"/>
                  <a:pt x="2572" y="1042"/>
                </a:cubicBezTo>
                <a:cubicBezTo>
                  <a:pt x="2571" y="1043"/>
                  <a:pt x="2571" y="1043"/>
                  <a:pt x="2571" y="1043"/>
                </a:cubicBezTo>
                <a:cubicBezTo>
                  <a:pt x="2573" y="1045"/>
                  <a:pt x="2573" y="1045"/>
                  <a:pt x="2573" y="1045"/>
                </a:cubicBezTo>
                <a:lnTo>
                  <a:pt x="2574" y="1044"/>
                </a:lnTo>
                <a:close/>
                <a:moveTo>
                  <a:pt x="2578" y="1042"/>
                </a:moveTo>
                <a:cubicBezTo>
                  <a:pt x="2578" y="1041"/>
                  <a:pt x="2578" y="1041"/>
                  <a:pt x="2578" y="1041"/>
                </a:cubicBezTo>
                <a:cubicBezTo>
                  <a:pt x="2575" y="1038"/>
                  <a:pt x="2575" y="1038"/>
                  <a:pt x="2575" y="1038"/>
                </a:cubicBezTo>
                <a:cubicBezTo>
                  <a:pt x="2574" y="1038"/>
                  <a:pt x="2574" y="1038"/>
                  <a:pt x="2574" y="1038"/>
                </a:cubicBezTo>
                <a:cubicBezTo>
                  <a:pt x="2573" y="1040"/>
                  <a:pt x="2573" y="1040"/>
                  <a:pt x="2573" y="1040"/>
                </a:cubicBezTo>
                <a:cubicBezTo>
                  <a:pt x="2574" y="1041"/>
                  <a:pt x="2574" y="1041"/>
                  <a:pt x="2574" y="1041"/>
                </a:cubicBezTo>
                <a:cubicBezTo>
                  <a:pt x="2575" y="1040"/>
                  <a:pt x="2575" y="1040"/>
                  <a:pt x="2575" y="1040"/>
                </a:cubicBezTo>
                <a:lnTo>
                  <a:pt x="2578" y="1042"/>
                </a:lnTo>
                <a:close/>
                <a:moveTo>
                  <a:pt x="2764" y="903"/>
                </a:moveTo>
                <a:cubicBezTo>
                  <a:pt x="2765" y="903"/>
                  <a:pt x="2765" y="903"/>
                  <a:pt x="2765" y="903"/>
                </a:cubicBezTo>
                <a:cubicBezTo>
                  <a:pt x="2763" y="901"/>
                  <a:pt x="2763" y="901"/>
                  <a:pt x="2763" y="901"/>
                </a:cubicBezTo>
                <a:cubicBezTo>
                  <a:pt x="2761" y="901"/>
                  <a:pt x="2761" y="901"/>
                  <a:pt x="2761" y="901"/>
                </a:cubicBezTo>
                <a:cubicBezTo>
                  <a:pt x="2762" y="902"/>
                  <a:pt x="2762" y="902"/>
                  <a:pt x="2762" y="902"/>
                </a:cubicBezTo>
                <a:lnTo>
                  <a:pt x="2764" y="903"/>
                </a:lnTo>
                <a:close/>
                <a:moveTo>
                  <a:pt x="1616" y="399"/>
                </a:moveTo>
                <a:cubicBezTo>
                  <a:pt x="1615" y="401"/>
                  <a:pt x="1615" y="401"/>
                  <a:pt x="1615" y="401"/>
                </a:cubicBezTo>
                <a:cubicBezTo>
                  <a:pt x="1617" y="402"/>
                  <a:pt x="1617" y="402"/>
                  <a:pt x="1617" y="402"/>
                </a:cubicBezTo>
                <a:lnTo>
                  <a:pt x="1616" y="399"/>
                </a:lnTo>
                <a:close/>
                <a:moveTo>
                  <a:pt x="1612" y="410"/>
                </a:moveTo>
                <a:cubicBezTo>
                  <a:pt x="1613" y="410"/>
                  <a:pt x="1613" y="410"/>
                  <a:pt x="1613" y="410"/>
                </a:cubicBezTo>
                <a:cubicBezTo>
                  <a:pt x="1614" y="409"/>
                  <a:pt x="1614" y="409"/>
                  <a:pt x="1614" y="409"/>
                </a:cubicBezTo>
                <a:cubicBezTo>
                  <a:pt x="1615" y="409"/>
                  <a:pt x="1615" y="409"/>
                  <a:pt x="1615" y="409"/>
                </a:cubicBezTo>
                <a:cubicBezTo>
                  <a:pt x="1615" y="408"/>
                  <a:pt x="1615" y="408"/>
                  <a:pt x="1615" y="408"/>
                </a:cubicBezTo>
                <a:cubicBezTo>
                  <a:pt x="1613" y="408"/>
                  <a:pt x="1613" y="408"/>
                  <a:pt x="1613" y="408"/>
                </a:cubicBezTo>
                <a:lnTo>
                  <a:pt x="1612" y="410"/>
                </a:lnTo>
                <a:close/>
                <a:moveTo>
                  <a:pt x="1600" y="376"/>
                </a:moveTo>
                <a:cubicBezTo>
                  <a:pt x="1601" y="376"/>
                  <a:pt x="1601" y="376"/>
                  <a:pt x="1601" y="376"/>
                </a:cubicBezTo>
                <a:cubicBezTo>
                  <a:pt x="1603" y="375"/>
                  <a:pt x="1603" y="375"/>
                  <a:pt x="1603" y="375"/>
                </a:cubicBezTo>
                <a:cubicBezTo>
                  <a:pt x="1601" y="375"/>
                  <a:pt x="1601" y="375"/>
                  <a:pt x="1601" y="375"/>
                </a:cubicBezTo>
                <a:lnTo>
                  <a:pt x="1600" y="376"/>
                </a:lnTo>
                <a:close/>
                <a:moveTo>
                  <a:pt x="1604" y="412"/>
                </a:moveTo>
                <a:cubicBezTo>
                  <a:pt x="1603" y="412"/>
                  <a:pt x="1603" y="412"/>
                  <a:pt x="1603" y="412"/>
                </a:cubicBezTo>
                <a:cubicBezTo>
                  <a:pt x="1603" y="413"/>
                  <a:pt x="1603" y="413"/>
                  <a:pt x="1603" y="413"/>
                </a:cubicBezTo>
                <a:cubicBezTo>
                  <a:pt x="1606" y="414"/>
                  <a:pt x="1606" y="414"/>
                  <a:pt x="1606" y="414"/>
                </a:cubicBezTo>
                <a:cubicBezTo>
                  <a:pt x="1609" y="414"/>
                  <a:pt x="1609" y="414"/>
                  <a:pt x="1609" y="414"/>
                </a:cubicBezTo>
                <a:cubicBezTo>
                  <a:pt x="1610" y="413"/>
                  <a:pt x="1610" y="413"/>
                  <a:pt x="1610" y="413"/>
                </a:cubicBezTo>
                <a:cubicBezTo>
                  <a:pt x="1611" y="414"/>
                  <a:pt x="1611" y="414"/>
                  <a:pt x="1611" y="414"/>
                </a:cubicBezTo>
                <a:cubicBezTo>
                  <a:pt x="1611" y="415"/>
                  <a:pt x="1611" y="415"/>
                  <a:pt x="1611" y="415"/>
                </a:cubicBezTo>
                <a:cubicBezTo>
                  <a:pt x="1611" y="413"/>
                  <a:pt x="1611" y="413"/>
                  <a:pt x="1611" y="413"/>
                </a:cubicBezTo>
                <a:cubicBezTo>
                  <a:pt x="1612" y="411"/>
                  <a:pt x="1612" y="411"/>
                  <a:pt x="1612" y="411"/>
                </a:cubicBezTo>
                <a:cubicBezTo>
                  <a:pt x="1612" y="410"/>
                  <a:pt x="1612" y="410"/>
                  <a:pt x="1612" y="410"/>
                </a:cubicBezTo>
                <a:cubicBezTo>
                  <a:pt x="1611" y="410"/>
                  <a:pt x="1611" y="410"/>
                  <a:pt x="1611" y="410"/>
                </a:cubicBezTo>
                <a:cubicBezTo>
                  <a:pt x="1610" y="410"/>
                  <a:pt x="1610" y="410"/>
                  <a:pt x="1610" y="410"/>
                </a:cubicBezTo>
                <a:cubicBezTo>
                  <a:pt x="1609" y="412"/>
                  <a:pt x="1609" y="412"/>
                  <a:pt x="1609" y="412"/>
                </a:cubicBezTo>
                <a:cubicBezTo>
                  <a:pt x="1608" y="412"/>
                  <a:pt x="1608" y="412"/>
                  <a:pt x="1608" y="412"/>
                </a:cubicBezTo>
                <a:cubicBezTo>
                  <a:pt x="1607" y="412"/>
                  <a:pt x="1607" y="412"/>
                  <a:pt x="1607" y="412"/>
                </a:cubicBezTo>
                <a:cubicBezTo>
                  <a:pt x="1605" y="409"/>
                  <a:pt x="1605" y="409"/>
                  <a:pt x="1605" y="409"/>
                </a:cubicBezTo>
                <a:cubicBezTo>
                  <a:pt x="1604" y="410"/>
                  <a:pt x="1604" y="410"/>
                  <a:pt x="1604" y="410"/>
                </a:cubicBezTo>
                <a:cubicBezTo>
                  <a:pt x="1603" y="411"/>
                  <a:pt x="1603" y="411"/>
                  <a:pt x="1603" y="411"/>
                </a:cubicBezTo>
                <a:lnTo>
                  <a:pt x="1604" y="412"/>
                </a:lnTo>
                <a:close/>
                <a:moveTo>
                  <a:pt x="1582" y="384"/>
                </a:moveTo>
                <a:cubicBezTo>
                  <a:pt x="1582" y="386"/>
                  <a:pt x="1582" y="386"/>
                  <a:pt x="1582" y="386"/>
                </a:cubicBezTo>
                <a:cubicBezTo>
                  <a:pt x="1583" y="385"/>
                  <a:pt x="1583" y="385"/>
                  <a:pt x="1583" y="385"/>
                </a:cubicBezTo>
                <a:cubicBezTo>
                  <a:pt x="1585" y="384"/>
                  <a:pt x="1585" y="384"/>
                  <a:pt x="1585" y="384"/>
                </a:cubicBezTo>
                <a:cubicBezTo>
                  <a:pt x="1585" y="382"/>
                  <a:pt x="1585" y="382"/>
                  <a:pt x="1585" y="382"/>
                </a:cubicBezTo>
                <a:cubicBezTo>
                  <a:pt x="1583" y="382"/>
                  <a:pt x="1583" y="382"/>
                  <a:pt x="1583" y="382"/>
                </a:cubicBezTo>
                <a:lnTo>
                  <a:pt x="1582" y="384"/>
                </a:lnTo>
                <a:close/>
                <a:moveTo>
                  <a:pt x="1604" y="401"/>
                </a:moveTo>
                <a:cubicBezTo>
                  <a:pt x="1605" y="402"/>
                  <a:pt x="1605" y="402"/>
                  <a:pt x="1605" y="402"/>
                </a:cubicBezTo>
                <a:cubicBezTo>
                  <a:pt x="1605" y="404"/>
                  <a:pt x="1605" y="404"/>
                  <a:pt x="1605" y="404"/>
                </a:cubicBezTo>
                <a:cubicBezTo>
                  <a:pt x="1606" y="406"/>
                  <a:pt x="1606" y="406"/>
                  <a:pt x="1606" y="406"/>
                </a:cubicBezTo>
                <a:cubicBezTo>
                  <a:pt x="1607" y="406"/>
                  <a:pt x="1607" y="406"/>
                  <a:pt x="1607" y="406"/>
                </a:cubicBezTo>
                <a:cubicBezTo>
                  <a:pt x="1609" y="406"/>
                  <a:pt x="1609" y="406"/>
                  <a:pt x="1609" y="406"/>
                </a:cubicBezTo>
                <a:cubicBezTo>
                  <a:pt x="1610" y="407"/>
                  <a:pt x="1610" y="407"/>
                  <a:pt x="1610" y="407"/>
                </a:cubicBezTo>
                <a:cubicBezTo>
                  <a:pt x="1609" y="408"/>
                  <a:pt x="1609" y="408"/>
                  <a:pt x="1609" y="408"/>
                </a:cubicBezTo>
                <a:cubicBezTo>
                  <a:pt x="1610" y="409"/>
                  <a:pt x="1610" y="409"/>
                  <a:pt x="1610" y="409"/>
                </a:cubicBezTo>
                <a:cubicBezTo>
                  <a:pt x="1611" y="409"/>
                  <a:pt x="1611" y="409"/>
                  <a:pt x="1611" y="409"/>
                </a:cubicBezTo>
                <a:cubicBezTo>
                  <a:pt x="1612" y="408"/>
                  <a:pt x="1612" y="408"/>
                  <a:pt x="1612" y="408"/>
                </a:cubicBezTo>
                <a:cubicBezTo>
                  <a:pt x="1612" y="407"/>
                  <a:pt x="1612" y="407"/>
                  <a:pt x="1612" y="407"/>
                </a:cubicBezTo>
                <a:cubicBezTo>
                  <a:pt x="1614" y="406"/>
                  <a:pt x="1614" y="406"/>
                  <a:pt x="1614" y="406"/>
                </a:cubicBezTo>
                <a:cubicBezTo>
                  <a:pt x="1615" y="405"/>
                  <a:pt x="1615" y="405"/>
                  <a:pt x="1615" y="405"/>
                </a:cubicBezTo>
                <a:cubicBezTo>
                  <a:pt x="1615" y="404"/>
                  <a:pt x="1615" y="404"/>
                  <a:pt x="1615" y="404"/>
                </a:cubicBezTo>
                <a:cubicBezTo>
                  <a:pt x="1613" y="402"/>
                  <a:pt x="1613" y="402"/>
                  <a:pt x="1613" y="402"/>
                </a:cubicBezTo>
                <a:cubicBezTo>
                  <a:pt x="1613" y="402"/>
                  <a:pt x="1613" y="402"/>
                  <a:pt x="1613" y="402"/>
                </a:cubicBezTo>
                <a:cubicBezTo>
                  <a:pt x="1615" y="401"/>
                  <a:pt x="1615" y="401"/>
                  <a:pt x="1615" y="401"/>
                </a:cubicBezTo>
                <a:cubicBezTo>
                  <a:pt x="1616" y="398"/>
                  <a:pt x="1616" y="398"/>
                  <a:pt x="1616" y="398"/>
                </a:cubicBezTo>
                <a:cubicBezTo>
                  <a:pt x="1615" y="396"/>
                  <a:pt x="1615" y="396"/>
                  <a:pt x="1615" y="396"/>
                </a:cubicBezTo>
                <a:cubicBezTo>
                  <a:pt x="1615" y="394"/>
                  <a:pt x="1615" y="394"/>
                  <a:pt x="1615" y="394"/>
                </a:cubicBezTo>
                <a:cubicBezTo>
                  <a:pt x="1612" y="394"/>
                  <a:pt x="1612" y="394"/>
                  <a:pt x="1612" y="394"/>
                </a:cubicBezTo>
                <a:cubicBezTo>
                  <a:pt x="1610" y="395"/>
                  <a:pt x="1610" y="395"/>
                  <a:pt x="1610" y="395"/>
                </a:cubicBezTo>
                <a:cubicBezTo>
                  <a:pt x="1609" y="397"/>
                  <a:pt x="1609" y="397"/>
                  <a:pt x="1609" y="397"/>
                </a:cubicBezTo>
                <a:cubicBezTo>
                  <a:pt x="1610" y="398"/>
                  <a:pt x="1610" y="398"/>
                  <a:pt x="1610" y="398"/>
                </a:cubicBezTo>
                <a:cubicBezTo>
                  <a:pt x="1611" y="399"/>
                  <a:pt x="1611" y="399"/>
                  <a:pt x="1611" y="399"/>
                </a:cubicBezTo>
                <a:cubicBezTo>
                  <a:pt x="1611" y="400"/>
                  <a:pt x="1611" y="400"/>
                  <a:pt x="1611" y="400"/>
                </a:cubicBezTo>
                <a:cubicBezTo>
                  <a:pt x="1610" y="400"/>
                  <a:pt x="1610" y="400"/>
                  <a:pt x="1610" y="400"/>
                </a:cubicBezTo>
                <a:cubicBezTo>
                  <a:pt x="1609" y="400"/>
                  <a:pt x="1609" y="400"/>
                  <a:pt x="1609" y="400"/>
                </a:cubicBezTo>
                <a:cubicBezTo>
                  <a:pt x="1608" y="399"/>
                  <a:pt x="1608" y="399"/>
                  <a:pt x="1608" y="399"/>
                </a:cubicBezTo>
                <a:cubicBezTo>
                  <a:pt x="1608" y="398"/>
                  <a:pt x="1608" y="398"/>
                  <a:pt x="1608" y="398"/>
                </a:cubicBezTo>
                <a:cubicBezTo>
                  <a:pt x="1607" y="397"/>
                  <a:pt x="1607" y="397"/>
                  <a:pt x="1607" y="397"/>
                </a:cubicBezTo>
                <a:cubicBezTo>
                  <a:pt x="1606" y="397"/>
                  <a:pt x="1606" y="397"/>
                  <a:pt x="1606" y="397"/>
                </a:cubicBezTo>
                <a:cubicBezTo>
                  <a:pt x="1605" y="399"/>
                  <a:pt x="1605" y="399"/>
                  <a:pt x="1605" y="399"/>
                </a:cubicBezTo>
                <a:cubicBezTo>
                  <a:pt x="1604" y="399"/>
                  <a:pt x="1604" y="399"/>
                  <a:pt x="1604" y="399"/>
                </a:cubicBezTo>
                <a:lnTo>
                  <a:pt x="1604" y="401"/>
                </a:lnTo>
                <a:close/>
                <a:moveTo>
                  <a:pt x="1606" y="363"/>
                </a:moveTo>
                <a:cubicBezTo>
                  <a:pt x="1604" y="364"/>
                  <a:pt x="1604" y="364"/>
                  <a:pt x="1604" y="364"/>
                </a:cubicBezTo>
                <a:cubicBezTo>
                  <a:pt x="1604" y="365"/>
                  <a:pt x="1604" y="365"/>
                  <a:pt x="1604" y="365"/>
                </a:cubicBezTo>
                <a:cubicBezTo>
                  <a:pt x="1605" y="365"/>
                  <a:pt x="1605" y="365"/>
                  <a:pt x="1605" y="365"/>
                </a:cubicBezTo>
                <a:lnTo>
                  <a:pt x="1606" y="363"/>
                </a:lnTo>
                <a:close/>
                <a:moveTo>
                  <a:pt x="1622" y="416"/>
                </a:moveTo>
                <a:cubicBezTo>
                  <a:pt x="1621" y="418"/>
                  <a:pt x="1621" y="418"/>
                  <a:pt x="1621" y="418"/>
                </a:cubicBezTo>
                <a:cubicBezTo>
                  <a:pt x="1622" y="418"/>
                  <a:pt x="1622" y="418"/>
                  <a:pt x="1622" y="418"/>
                </a:cubicBezTo>
                <a:cubicBezTo>
                  <a:pt x="1624" y="419"/>
                  <a:pt x="1624" y="419"/>
                  <a:pt x="1624" y="419"/>
                </a:cubicBezTo>
                <a:cubicBezTo>
                  <a:pt x="1625" y="417"/>
                  <a:pt x="1625" y="417"/>
                  <a:pt x="1625" y="417"/>
                </a:cubicBezTo>
                <a:cubicBezTo>
                  <a:pt x="1627" y="418"/>
                  <a:pt x="1627" y="418"/>
                  <a:pt x="1627" y="418"/>
                </a:cubicBezTo>
                <a:cubicBezTo>
                  <a:pt x="1627" y="417"/>
                  <a:pt x="1627" y="417"/>
                  <a:pt x="1627" y="417"/>
                </a:cubicBezTo>
                <a:cubicBezTo>
                  <a:pt x="1626" y="415"/>
                  <a:pt x="1626" y="415"/>
                  <a:pt x="1626" y="415"/>
                </a:cubicBezTo>
                <a:cubicBezTo>
                  <a:pt x="1626" y="414"/>
                  <a:pt x="1626" y="414"/>
                  <a:pt x="1626" y="414"/>
                </a:cubicBezTo>
                <a:cubicBezTo>
                  <a:pt x="1625" y="413"/>
                  <a:pt x="1625" y="413"/>
                  <a:pt x="1625" y="413"/>
                </a:cubicBezTo>
                <a:cubicBezTo>
                  <a:pt x="1624" y="414"/>
                  <a:pt x="1624" y="414"/>
                  <a:pt x="1624" y="414"/>
                </a:cubicBezTo>
                <a:cubicBezTo>
                  <a:pt x="1623" y="413"/>
                  <a:pt x="1623" y="413"/>
                  <a:pt x="1623" y="413"/>
                </a:cubicBezTo>
                <a:cubicBezTo>
                  <a:pt x="1622" y="414"/>
                  <a:pt x="1622" y="414"/>
                  <a:pt x="1622" y="414"/>
                </a:cubicBezTo>
                <a:cubicBezTo>
                  <a:pt x="1622" y="415"/>
                  <a:pt x="1622" y="415"/>
                  <a:pt x="1622" y="415"/>
                </a:cubicBezTo>
                <a:cubicBezTo>
                  <a:pt x="1624" y="415"/>
                  <a:pt x="1624" y="415"/>
                  <a:pt x="1624" y="415"/>
                </a:cubicBezTo>
                <a:cubicBezTo>
                  <a:pt x="1623" y="416"/>
                  <a:pt x="1623" y="416"/>
                  <a:pt x="1623" y="416"/>
                </a:cubicBezTo>
                <a:lnTo>
                  <a:pt x="1622" y="416"/>
                </a:lnTo>
                <a:close/>
                <a:moveTo>
                  <a:pt x="1600" y="407"/>
                </a:moveTo>
                <a:cubicBezTo>
                  <a:pt x="1600" y="405"/>
                  <a:pt x="1600" y="405"/>
                  <a:pt x="1600" y="405"/>
                </a:cubicBezTo>
                <a:cubicBezTo>
                  <a:pt x="1599" y="402"/>
                  <a:pt x="1599" y="402"/>
                  <a:pt x="1599" y="402"/>
                </a:cubicBezTo>
                <a:cubicBezTo>
                  <a:pt x="1597" y="402"/>
                  <a:pt x="1597" y="402"/>
                  <a:pt x="1597" y="402"/>
                </a:cubicBezTo>
                <a:cubicBezTo>
                  <a:pt x="1595" y="401"/>
                  <a:pt x="1595" y="401"/>
                  <a:pt x="1595" y="401"/>
                </a:cubicBezTo>
                <a:cubicBezTo>
                  <a:pt x="1592" y="402"/>
                  <a:pt x="1592" y="402"/>
                  <a:pt x="1592" y="402"/>
                </a:cubicBezTo>
                <a:cubicBezTo>
                  <a:pt x="1591" y="404"/>
                  <a:pt x="1591" y="404"/>
                  <a:pt x="1591" y="404"/>
                </a:cubicBezTo>
                <a:cubicBezTo>
                  <a:pt x="1592" y="406"/>
                  <a:pt x="1592" y="406"/>
                  <a:pt x="1592" y="406"/>
                </a:cubicBezTo>
                <a:cubicBezTo>
                  <a:pt x="1594" y="408"/>
                  <a:pt x="1594" y="408"/>
                  <a:pt x="1594" y="408"/>
                </a:cubicBezTo>
                <a:cubicBezTo>
                  <a:pt x="1596" y="409"/>
                  <a:pt x="1596" y="409"/>
                  <a:pt x="1596" y="409"/>
                </a:cubicBezTo>
                <a:cubicBezTo>
                  <a:pt x="1597" y="409"/>
                  <a:pt x="1597" y="409"/>
                  <a:pt x="1597" y="409"/>
                </a:cubicBezTo>
                <a:cubicBezTo>
                  <a:pt x="1599" y="409"/>
                  <a:pt x="1599" y="409"/>
                  <a:pt x="1599" y="409"/>
                </a:cubicBezTo>
                <a:lnTo>
                  <a:pt x="1600" y="407"/>
                </a:lnTo>
                <a:close/>
                <a:moveTo>
                  <a:pt x="1640" y="408"/>
                </a:moveTo>
                <a:cubicBezTo>
                  <a:pt x="1638" y="405"/>
                  <a:pt x="1638" y="405"/>
                  <a:pt x="1638" y="405"/>
                </a:cubicBezTo>
                <a:cubicBezTo>
                  <a:pt x="1636" y="404"/>
                  <a:pt x="1636" y="404"/>
                  <a:pt x="1636" y="404"/>
                </a:cubicBezTo>
                <a:cubicBezTo>
                  <a:pt x="1635" y="406"/>
                  <a:pt x="1635" y="406"/>
                  <a:pt x="1635" y="406"/>
                </a:cubicBezTo>
                <a:cubicBezTo>
                  <a:pt x="1636" y="408"/>
                  <a:pt x="1636" y="408"/>
                  <a:pt x="1636" y="408"/>
                </a:cubicBezTo>
                <a:cubicBezTo>
                  <a:pt x="1639" y="409"/>
                  <a:pt x="1639" y="409"/>
                  <a:pt x="1639" y="409"/>
                </a:cubicBezTo>
                <a:lnTo>
                  <a:pt x="1640" y="408"/>
                </a:lnTo>
                <a:close/>
                <a:moveTo>
                  <a:pt x="1601" y="411"/>
                </a:moveTo>
                <a:cubicBezTo>
                  <a:pt x="1602" y="408"/>
                  <a:pt x="1602" y="408"/>
                  <a:pt x="1602" y="408"/>
                </a:cubicBezTo>
                <a:cubicBezTo>
                  <a:pt x="1602" y="408"/>
                  <a:pt x="1601" y="407"/>
                  <a:pt x="1601" y="407"/>
                </a:cubicBezTo>
                <a:cubicBezTo>
                  <a:pt x="1601" y="410"/>
                  <a:pt x="1601" y="410"/>
                  <a:pt x="1601" y="410"/>
                </a:cubicBezTo>
                <a:cubicBezTo>
                  <a:pt x="1600" y="411"/>
                  <a:pt x="1600" y="411"/>
                  <a:pt x="1600" y="411"/>
                </a:cubicBezTo>
                <a:cubicBezTo>
                  <a:pt x="1600" y="412"/>
                  <a:pt x="1600" y="412"/>
                  <a:pt x="1600" y="412"/>
                </a:cubicBezTo>
                <a:lnTo>
                  <a:pt x="1601" y="411"/>
                </a:lnTo>
                <a:close/>
                <a:moveTo>
                  <a:pt x="1651" y="383"/>
                </a:moveTo>
                <a:cubicBezTo>
                  <a:pt x="1650" y="388"/>
                  <a:pt x="1650" y="388"/>
                  <a:pt x="1650" y="388"/>
                </a:cubicBezTo>
                <a:cubicBezTo>
                  <a:pt x="1651" y="390"/>
                  <a:pt x="1651" y="390"/>
                  <a:pt x="1651" y="390"/>
                </a:cubicBezTo>
                <a:cubicBezTo>
                  <a:pt x="1651" y="392"/>
                  <a:pt x="1651" y="392"/>
                  <a:pt x="1651" y="392"/>
                </a:cubicBezTo>
                <a:cubicBezTo>
                  <a:pt x="1651" y="392"/>
                  <a:pt x="1651" y="392"/>
                  <a:pt x="1651" y="392"/>
                </a:cubicBezTo>
                <a:cubicBezTo>
                  <a:pt x="1652" y="391"/>
                  <a:pt x="1652" y="391"/>
                  <a:pt x="1652" y="391"/>
                </a:cubicBezTo>
                <a:cubicBezTo>
                  <a:pt x="1653" y="387"/>
                  <a:pt x="1653" y="387"/>
                  <a:pt x="1653" y="387"/>
                </a:cubicBezTo>
                <a:cubicBezTo>
                  <a:pt x="1653" y="384"/>
                  <a:pt x="1653" y="384"/>
                  <a:pt x="1653" y="384"/>
                </a:cubicBezTo>
                <a:cubicBezTo>
                  <a:pt x="1655" y="381"/>
                  <a:pt x="1655" y="381"/>
                  <a:pt x="1655" y="381"/>
                </a:cubicBezTo>
                <a:cubicBezTo>
                  <a:pt x="1655" y="378"/>
                  <a:pt x="1655" y="378"/>
                  <a:pt x="1655" y="378"/>
                </a:cubicBezTo>
                <a:cubicBezTo>
                  <a:pt x="1654" y="377"/>
                  <a:pt x="1654" y="377"/>
                  <a:pt x="1654" y="377"/>
                </a:cubicBezTo>
                <a:cubicBezTo>
                  <a:pt x="1653" y="378"/>
                  <a:pt x="1653" y="378"/>
                  <a:pt x="1653" y="378"/>
                </a:cubicBezTo>
                <a:cubicBezTo>
                  <a:pt x="1653" y="379"/>
                  <a:pt x="1653" y="379"/>
                  <a:pt x="1653" y="379"/>
                </a:cubicBezTo>
                <a:cubicBezTo>
                  <a:pt x="1652" y="382"/>
                  <a:pt x="1652" y="382"/>
                  <a:pt x="1652" y="382"/>
                </a:cubicBezTo>
                <a:lnTo>
                  <a:pt x="1651" y="383"/>
                </a:lnTo>
                <a:close/>
                <a:moveTo>
                  <a:pt x="1598" y="412"/>
                </a:moveTo>
                <a:cubicBezTo>
                  <a:pt x="1599" y="411"/>
                  <a:pt x="1599" y="411"/>
                  <a:pt x="1599" y="411"/>
                </a:cubicBezTo>
                <a:cubicBezTo>
                  <a:pt x="1597" y="410"/>
                  <a:pt x="1597" y="410"/>
                  <a:pt x="1597" y="410"/>
                </a:cubicBezTo>
                <a:lnTo>
                  <a:pt x="1598" y="412"/>
                </a:lnTo>
                <a:close/>
                <a:moveTo>
                  <a:pt x="1599" y="398"/>
                </a:moveTo>
                <a:cubicBezTo>
                  <a:pt x="1599" y="395"/>
                  <a:pt x="1599" y="395"/>
                  <a:pt x="1599" y="395"/>
                </a:cubicBezTo>
                <a:cubicBezTo>
                  <a:pt x="1599" y="398"/>
                  <a:pt x="1599" y="398"/>
                  <a:pt x="1599" y="398"/>
                </a:cubicBezTo>
                <a:cubicBezTo>
                  <a:pt x="1598" y="399"/>
                  <a:pt x="1598" y="399"/>
                  <a:pt x="1598" y="399"/>
                </a:cubicBezTo>
                <a:cubicBezTo>
                  <a:pt x="1599" y="399"/>
                  <a:pt x="1599" y="399"/>
                  <a:pt x="1599" y="399"/>
                </a:cubicBezTo>
                <a:lnTo>
                  <a:pt x="1599" y="398"/>
                </a:lnTo>
                <a:close/>
                <a:moveTo>
                  <a:pt x="1545" y="301"/>
                </a:moveTo>
                <a:cubicBezTo>
                  <a:pt x="1546" y="303"/>
                  <a:pt x="1546" y="303"/>
                  <a:pt x="1546" y="303"/>
                </a:cubicBezTo>
                <a:cubicBezTo>
                  <a:pt x="1547" y="302"/>
                  <a:pt x="1547" y="302"/>
                  <a:pt x="1547" y="302"/>
                </a:cubicBezTo>
                <a:lnTo>
                  <a:pt x="1545" y="301"/>
                </a:lnTo>
                <a:close/>
                <a:moveTo>
                  <a:pt x="1546" y="320"/>
                </a:moveTo>
                <a:cubicBezTo>
                  <a:pt x="1545" y="319"/>
                  <a:pt x="1545" y="319"/>
                  <a:pt x="1545" y="319"/>
                </a:cubicBezTo>
                <a:cubicBezTo>
                  <a:pt x="1543" y="320"/>
                  <a:pt x="1543" y="320"/>
                  <a:pt x="1543" y="320"/>
                </a:cubicBezTo>
                <a:cubicBezTo>
                  <a:pt x="1544" y="321"/>
                  <a:pt x="1544" y="321"/>
                  <a:pt x="1544" y="321"/>
                </a:cubicBezTo>
                <a:lnTo>
                  <a:pt x="1546" y="320"/>
                </a:lnTo>
                <a:close/>
                <a:moveTo>
                  <a:pt x="1546" y="330"/>
                </a:moveTo>
                <a:cubicBezTo>
                  <a:pt x="1547" y="328"/>
                  <a:pt x="1547" y="328"/>
                  <a:pt x="1547" y="328"/>
                </a:cubicBezTo>
                <a:cubicBezTo>
                  <a:pt x="1545" y="329"/>
                  <a:pt x="1545" y="329"/>
                  <a:pt x="1545" y="329"/>
                </a:cubicBezTo>
                <a:lnTo>
                  <a:pt x="1546" y="330"/>
                </a:lnTo>
                <a:close/>
                <a:moveTo>
                  <a:pt x="1452" y="382"/>
                </a:moveTo>
                <a:cubicBezTo>
                  <a:pt x="1453" y="383"/>
                  <a:pt x="1453" y="383"/>
                  <a:pt x="1453" y="383"/>
                </a:cubicBezTo>
                <a:cubicBezTo>
                  <a:pt x="1453" y="382"/>
                  <a:pt x="1453" y="382"/>
                  <a:pt x="1453" y="382"/>
                </a:cubicBezTo>
                <a:lnTo>
                  <a:pt x="1452" y="382"/>
                </a:lnTo>
                <a:close/>
                <a:moveTo>
                  <a:pt x="1598" y="369"/>
                </a:moveTo>
                <a:cubicBezTo>
                  <a:pt x="1595" y="372"/>
                  <a:pt x="1595" y="372"/>
                  <a:pt x="1595" y="372"/>
                </a:cubicBezTo>
                <a:cubicBezTo>
                  <a:pt x="1593" y="373"/>
                  <a:pt x="1593" y="373"/>
                  <a:pt x="1593" y="373"/>
                </a:cubicBezTo>
                <a:cubicBezTo>
                  <a:pt x="1591" y="373"/>
                  <a:pt x="1591" y="373"/>
                  <a:pt x="1591" y="373"/>
                </a:cubicBezTo>
                <a:cubicBezTo>
                  <a:pt x="1589" y="375"/>
                  <a:pt x="1589" y="375"/>
                  <a:pt x="1589" y="375"/>
                </a:cubicBezTo>
                <a:cubicBezTo>
                  <a:pt x="1588" y="377"/>
                  <a:pt x="1588" y="377"/>
                  <a:pt x="1588" y="377"/>
                </a:cubicBezTo>
                <a:cubicBezTo>
                  <a:pt x="1586" y="379"/>
                  <a:pt x="1586" y="379"/>
                  <a:pt x="1586" y="379"/>
                </a:cubicBezTo>
                <a:cubicBezTo>
                  <a:pt x="1584" y="379"/>
                  <a:pt x="1584" y="379"/>
                  <a:pt x="1584" y="379"/>
                </a:cubicBezTo>
                <a:cubicBezTo>
                  <a:pt x="1582" y="381"/>
                  <a:pt x="1582" y="381"/>
                  <a:pt x="1582" y="381"/>
                </a:cubicBezTo>
                <a:cubicBezTo>
                  <a:pt x="1581" y="380"/>
                  <a:pt x="1581" y="380"/>
                  <a:pt x="1581" y="380"/>
                </a:cubicBezTo>
                <a:cubicBezTo>
                  <a:pt x="1580" y="380"/>
                  <a:pt x="1580" y="380"/>
                  <a:pt x="1580" y="380"/>
                </a:cubicBezTo>
                <a:cubicBezTo>
                  <a:pt x="1579" y="383"/>
                  <a:pt x="1579" y="383"/>
                  <a:pt x="1579" y="383"/>
                </a:cubicBezTo>
                <a:cubicBezTo>
                  <a:pt x="1577" y="384"/>
                  <a:pt x="1577" y="384"/>
                  <a:pt x="1577" y="384"/>
                </a:cubicBezTo>
                <a:cubicBezTo>
                  <a:pt x="1578" y="385"/>
                  <a:pt x="1578" y="385"/>
                  <a:pt x="1578" y="385"/>
                </a:cubicBezTo>
                <a:cubicBezTo>
                  <a:pt x="1579" y="384"/>
                  <a:pt x="1579" y="384"/>
                  <a:pt x="1579" y="384"/>
                </a:cubicBezTo>
                <a:cubicBezTo>
                  <a:pt x="1581" y="387"/>
                  <a:pt x="1581" y="387"/>
                  <a:pt x="1581" y="387"/>
                </a:cubicBezTo>
                <a:cubicBezTo>
                  <a:pt x="1581" y="384"/>
                  <a:pt x="1581" y="384"/>
                  <a:pt x="1581" y="384"/>
                </a:cubicBezTo>
                <a:cubicBezTo>
                  <a:pt x="1581" y="383"/>
                  <a:pt x="1581" y="383"/>
                  <a:pt x="1581" y="383"/>
                </a:cubicBezTo>
                <a:cubicBezTo>
                  <a:pt x="1585" y="381"/>
                  <a:pt x="1585" y="381"/>
                  <a:pt x="1585" y="381"/>
                </a:cubicBezTo>
                <a:cubicBezTo>
                  <a:pt x="1585" y="381"/>
                  <a:pt x="1585" y="381"/>
                  <a:pt x="1585" y="381"/>
                </a:cubicBezTo>
                <a:cubicBezTo>
                  <a:pt x="1587" y="381"/>
                  <a:pt x="1587" y="381"/>
                  <a:pt x="1587" y="381"/>
                </a:cubicBezTo>
                <a:cubicBezTo>
                  <a:pt x="1589" y="381"/>
                  <a:pt x="1589" y="381"/>
                  <a:pt x="1589" y="381"/>
                </a:cubicBezTo>
                <a:cubicBezTo>
                  <a:pt x="1590" y="381"/>
                  <a:pt x="1590" y="381"/>
                  <a:pt x="1590" y="381"/>
                </a:cubicBezTo>
                <a:cubicBezTo>
                  <a:pt x="1592" y="381"/>
                  <a:pt x="1592" y="381"/>
                  <a:pt x="1592" y="381"/>
                </a:cubicBezTo>
                <a:cubicBezTo>
                  <a:pt x="1594" y="381"/>
                  <a:pt x="1594" y="381"/>
                  <a:pt x="1594" y="381"/>
                </a:cubicBezTo>
                <a:cubicBezTo>
                  <a:pt x="1595" y="381"/>
                  <a:pt x="1595" y="381"/>
                  <a:pt x="1595" y="381"/>
                </a:cubicBezTo>
                <a:cubicBezTo>
                  <a:pt x="1597" y="378"/>
                  <a:pt x="1597" y="378"/>
                  <a:pt x="1597" y="378"/>
                </a:cubicBezTo>
                <a:cubicBezTo>
                  <a:pt x="1597" y="375"/>
                  <a:pt x="1597" y="375"/>
                  <a:pt x="1597" y="375"/>
                </a:cubicBezTo>
                <a:cubicBezTo>
                  <a:pt x="1597" y="375"/>
                  <a:pt x="1597" y="375"/>
                  <a:pt x="1597" y="375"/>
                </a:cubicBezTo>
                <a:cubicBezTo>
                  <a:pt x="1597" y="373"/>
                  <a:pt x="1597" y="373"/>
                  <a:pt x="1597" y="373"/>
                </a:cubicBezTo>
                <a:cubicBezTo>
                  <a:pt x="1598" y="370"/>
                  <a:pt x="1598" y="370"/>
                  <a:pt x="1598" y="370"/>
                </a:cubicBezTo>
                <a:lnTo>
                  <a:pt x="1598" y="369"/>
                </a:lnTo>
                <a:close/>
                <a:moveTo>
                  <a:pt x="1547" y="306"/>
                </a:moveTo>
                <a:cubicBezTo>
                  <a:pt x="1544" y="304"/>
                  <a:pt x="1544" y="304"/>
                  <a:pt x="1544" y="304"/>
                </a:cubicBezTo>
                <a:cubicBezTo>
                  <a:pt x="1545" y="306"/>
                  <a:pt x="1545" y="306"/>
                  <a:pt x="1545" y="306"/>
                </a:cubicBezTo>
                <a:lnTo>
                  <a:pt x="1547" y="306"/>
                </a:lnTo>
                <a:close/>
                <a:moveTo>
                  <a:pt x="1541" y="455"/>
                </a:moveTo>
                <a:cubicBezTo>
                  <a:pt x="1541" y="455"/>
                  <a:pt x="1541" y="455"/>
                  <a:pt x="1541" y="455"/>
                </a:cubicBezTo>
                <a:cubicBezTo>
                  <a:pt x="1542" y="455"/>
                  <a:pt x="1542" y="455"/>
                  <a:pt x="1542" y="455"/>
                </a:cubicBezTo>
                <a:cubicBezTo>
                  <a:pt x="1542" y="455"/>
                  <a:pt x="1542" y="455"/>
                  <a:pt x="1542" y="455"/>
                </a:cubicBezTo>
                <a:cubicBezTo>
                  <a:pt x="1541" y="454"/>
                  <a:pt x="1541" y="454"/>
                  <a:pt x="1541" y="454"/>
                </a:cubicBezTo>
                <a:cubicBezTo>
                  <a:pt x="1539" y="454"/>
                  <a:pt x="1539" y="454"/>
                  <a:pt x="1539" y="454"/>
                </a:cubicBezTo>
                <a:cubicBezTo>
                  <a:pt x="1539" y="455"/>
                  <a:pt x="1539" y="455"/>
                  <a:pt x="1539" y="455"/>
                </a:cubicBezTo>
                <a:lnTo>
                  <a:pt x="1541" y="455"/>
                </a:lnTo>
                <a:close/>
                <a:moveTo>
                  <a:pt x="1549" y="334"/>
                </a:moveTo>
                <a:cubicBezTo>
                  <a:pt x="1550" y="332"/>
                  <a:pt x="1550" y="332"/>
                  <a:pt x="1550" y="332"/>
                </a:cubicBezTo>
                <a:cubicBezTo>
                  <a:pt x="1548" y="333"/>
                  <a:pt x="1548" y="333"/>
                  <a:pt x="1548" y="333"/>
                </a:cubicBezTo>
                <a:lnTo>
                  <a:pt x="1549" y="334"/>
                </a:lnTo>
                <a:close/>
                <a:moveTo>
                  <a:pt x="1545" y="323"/>
                </a:moveTo>
                <a:cubicBezTo>
                  <a:pt x="1546" y="324"/>
                  <a:pt x="1546" y="324"/>
                  <a:pt x="1546" y="324"/>
                </a:cubicBezTo>
                <a:cubicBezTo>
                  <a:pt x="1546" y="324"/>
                  <a:pt x="1546" y="322"/>
                  <a:pt x="1546" y="322"/>
                </a:cubicBezTo>
                <a:lnTo>
                  <a:pt x="1545" y="323"/>
                </a:lnTo>
                <a:close/>
                <a:moveTo>
                  <a:pt x="1548" y="337"/>
                </a:moveTo>
                <a:cubicBezTo>
                  <a:pt x="1550" y="339"/>
                  <a:pt x="1550" y="339"/>
                  <a:pt x="1550" y="339"/>
                </a:cubicBezTo>
                <a:cubicBezTo>
                  <a:pt x="1550" y="338"/>
                  <a:pt x="1550" y="338"/>
                  <a:pt x="1550" y="338"/>
                </a:cubicBezTo>
                <a:cubicBezTo>
                  <a:pt x="1549" y="337"/>
                  <a:pt x="1549" y="337"/>
                  <a:pt x="1549" y="337"/>
                </a:cubicBezTo>
                <a:cubicBezTo>
                  <a:pt x="1549" y="337"/>
                  <a:pt x="1548" y="337"/>
                  <a:pt x="1548" y="337"/>
                </a:cubicBezTo>
                <a:close/>
                <a:moveTo>
                  <a:pt x="1551" y="333"/>
                </a:moveTo>
                <a:cubicBezTo>
                  <a:pt x="1551" y="335"/>
                  <a:pt x="1551" y="335"/>
                  <a:pt x="1551" y="335"/>
                </a:cubicBezTo>
                <a:cubicBezTo>
                  <a:pt x="1551" y="335"/>
                  <a:pt x="1551" y="335"/>
                  <a:pt x="1551" y="335"/>
                </a:cubicBezTo>
                <a:lnTo>
                  <a:pt x="1551" y="333"/>
                </a:lnTo>
                <a:close/>
                <a:moveTo>
                  <a:pt x="1550" y="332"/>
                </a:moveTo>
                <a:cubicBezTo>
                  <a:pt x="1551" y="330"/>
                  <a:pt x="1551" y="330"/>
                  <a:pt x="1551" y="330"/>
                </a:cubicBezTo>
                <a:cubicBezTo>
                  <a:pt x="1551" y="330"/>
                  <a:pt x="1549" y="328"/>
                  <a:pt x="1549" y="328"/>
                </a:cubicBezTo>
                <a:lnTo>
                  <a:pt x="1550" y="332"/>
                </a:lnTo>
                <a:close/>
                <a:moveTo>
                  <a:pt x="1540" y="457"/>
                </a:moveTo>
                <a:cubicBezTo>
                  <a:pt x="1541" y="456"/>
                  <a:pt x="1541" y="456"/>
                  <a:pt x="1541" y="456"/>
                </a:cubicBezTo>
                <a:cubicBezTo>
                  <a:pt x="1540" y="455"/>
                  <a:pt x="1540" y="455"/>
                  <a:pt x="1540" y="455"/>
                </a:cubicBezTo>
                <a:cubicBezTo>
                  <a:pt x="1538" y="456"/>
                  <a:pt x="1538" y="456"/>
                  <a:pt x="1538" y="456"/>
                </a:cubicBezTo>
                <a:cubicBezTo>
                  <a:pt x="1539" y="456"/>
                  <a:pt x="1539" y="456"/>
                  <a:pt x="1539" y="456"/>
                </a:cubicBezTo>
                <a:lnTo>
                  <a:pt x="1540" y="457"/>
                </a:lnTo>
                <a:close/>
                <a:moveTo>
                  <a:pt x="1753" y="326"/>
                </a:moveTo>
                <a:cubicBezTo>
                  <a:pt x="1751" y="325"/>
                  <a:pt x="1751" y="325"/>
                  <a:pt x="1751" y="325"/>
                </a:cubicBezTo>
                <a:cubicBezTo>
                  <a:pt x="1751" y="325"/>
                  <a:pt x="1750" y="326"/>
                  <a:pt x="1750" y="326"/>
                </a:cubicBezTo>
                <a:cubicBezTo>
                  <a:pt x="1752" y="327"/>
                  <a:pt x="1752" y="327"/>
                  <a:pt x="1752" y="327"/>
                </a:cubicBezTo>
                <a:lnTo>
                  <a:pt x="1753" y="326"/>
                </a:lnTo>
                <a:close/>
                <a:moveTo>
                  <a:pt x="1551" y="297"/>
                </a:moveTo>
                <a:cubicBezTo>
                  <a:pt x="1549" y="299"/>
                  <a:pt x="1549" y="299"/>
                  <a:pt x="1549" y="299"/>
                </a:cubicBezTo>
                <a:cubicBezTo>
                  <a:pt x="1551" y="298"/>
                  <a:pt x="1551" y="298"/>
                  <a:pt x="1551" y="298"/>
                </a:cubicBezTo>
                <a:lnTo>
                  <a:pt x="1551" y="297"/>
                </a:lnTo>
                <a:close/>
                <a:moveTo>
                  <a:pt x="1553" y="348"/>
                </a:moveTo>
                <a:cubicBezTo>
                  <a:pt x="1552" y="350"/>
                  <a:pt x="1552" y="350"/>
                  <a:pt x="1552" y="350"/>
                </a:cubicBezTo>
                <a:cubicBezTo>
                  <a:pt x="1554" y="349"/>
                  <a:pt x="1554" y="349"/>
                  <a:pt x="1554" y="349"/>
                </a:cubicBezTo>
                <a:lnTo>
                  <a:pt x="1553" y="348"/>
                </a:lnTo>
                <a:close/>
                <a:moveTo>
                  <a:pt x="1708" y="348"/>
                </a:moveTo>
                <a:cubicBezTo>
                  <a:pt x="1706" y="348"/>
                  <a:pt x="1706" y="348"/>
                  <a:pt x="1706" y="348"/>
                </a:cubicBezTo>
                <a:cubicBezTo>
                  <a:pt x="1706" y="349"/>
                  <a:pt x="1706" y="349"/>
                  <a:pt x="1706" y="349"/>
                </a:cubicBezTo>
                <a:cubicBezTo>
                  <a:pt x="1708" y="349"/>
                  <a:pt x="1708" y="349"/>
                  <a:pt x="1708" y="349"/>
                </a:cubicBezTo>
                <a:lnTo>
                  <a:pt x="1708" y="348"/>
                </a:lnTo>
                <a:close/>
                <a:moveTo>
                  <a:pt x="1702" y="354"/>
                </a:moveTo>
                <a:cubicBezTo>
                  <a:pt x="1701" y="354"/>
                  <a:pt x="1701" y="354"/>
                  <a:pt x="1701" y="354"/>
                </a:cubicBezTo>
                <a:cubicBezTo>
                  <a:pt x="1700" y="355"/>
                  <a:pt x="1700" y="355"/>
                  <a:pt x="1700" y="355"/>
                </a:cubicBezTo>
                <a:cubicBezTo>
                  <a:pt x="1699" y="355"/>
                  <a:pt x="1699" y="355"/>
                  <a:pt x="1699" y="355"/>
                </a:cubicBezTo>
                <a:cubicBezTo>
                  <a:pt x="1698" y="357"/>
                  <a:pt x="1698" y="357"/>
                  <a:pt x="1698" y="357"/>
                </a:cubicBezTo>
                <a:cubicBezTo>
                  <a:pt x="1698" y="356"/>
                  <a:pt x="1698" y="356"/>
                  <a:pt x="1698" y="356"/>
                </a:cubicBezTo>
                <a:cubicBezTo>
                  <a:pt x="1697" y="355"/>
                  <a:pt x="1697" y="355"/>
                  <a:pt x="1697" y="355"/>
                </a:cubicBezTo>
                <a:cubicBezTo>
                  <a:pt x="1697" y="356"/>
                  <a:pt x="1697" y="356"/>
                  <a:pt x="1697" y="356"/>
                </a:cubicBezTo>
                <a:cubicBezTo>
                  <a:pt x="1696" y="357"/>
                  <a:pt x="1696" y="357"/>
                  <a:pt x="1696" y="357"/>
                </a:cubicBezTo>
                <a:cubicBezTo>
                  <a:pt x="1697" y="357"/>
                  <a:pt x="1697" y="357"/>
                  <a:pt x="1697" y="357"/>
                </a:cubicBezTo>
                <a:cubicBezTo>
                  <a:pt x="1697" y="358"/>
                  <a:pt x="1697" y="358"/>
                  <a:pt x="1697" y="358"/>
                </a:cubicBezTo>
                <a:cubicBezTo>
                  <a:pt x="1696" y="359"/>
                  <a:pt x="1696" y="359"/>
                  <a:pt x="1696" y="359"/>
                </a:cubicBezTo>
                <a:cubicBezTo>
                  <a:pt x="1696" y="360"/>
                  <a:pt x="1696" y="360"/>
                  <a:pt x="1696" y="360"/>
                </a:cubicBezTo>
                <a:cubicBezTo>
                  <a:pt x="1698" y="360"/>
                  <a:pt x="1698" y="360"/>
                  <a:pt x="1698" y="360"/>
                </a:cubicBezTo>
                <a:cubicBezTo>
                  <a:pt x="1699" y="362"/>
                  <a:pt x="1699" y="362"/>
                  <a:pt x="1699" y="362"/>
                </a:cubicBezTo>
                <a:cubicBezTo>
                  <a:pt x="1699" y="363"/>
                  <a:pt x="1699" y="363"/>
                  <a:pt x="1699" y="363"/>
                </a:cubicBezTo>
                <a:cubicBezTo>
                  <a:pt x="1698" y="363"/>
                  <a:pt x="1698" y="363"/>
                  <a:pt x="1698" y="363"/>
                </a:cubicBezTo>
                <a:cubicBezTo>
                  <a:pt x="1697" y="366"/>
                  <a:pt x="1697" y="366"/>
                  <a:pt x="1697" y="366"/>
                </a:cubicBezTo>
                <a:cubicBezTo>
                  <a:pt x="1698" y="366"/>
                  <a:pt x="1698" y="366"/>
                  <a:pt x="1698" y="366"/>
                </a:cubicBezTo>
                <a:cubicBezTo>
                  <a:pt x="1700" y="365"/>
                  <a:pt x="1700" y="365"/>
                  <a:pt x="1700" y="365"/>
                </a:cubicBezTo>
                <a:cubicBezTo>
                  <a:pt x="1700" y="364"/>
                  <a:pt x="1700" y="364"/>
                  <a:pt x="1700" y="364"/>
                </a:cubicBezTo>
                <a:cubicBezTo>
                  <a:pt x="1701" y="361"/>
                  <a:pt x="1701" y="361"/>
                  <a:pt x="1701" y="361"/>
                </a:cubicBezTo>
                <a:cubicBezTo>
                  <a:pt x="1704" y="360"/>
                  <a:pt x="1704" y="360"/>
                  <a:pt x="1704" y="360"/>
                </a:cubicBezTo>
                <a:cubicBezTo>
                  <a:pt x="1705" y="359"/>
                  <a:pt x="1705" y="359"/>
                  <a:pt x="1705" y="359"/>
                </a:cubicBezTo>
                <a:cubicBezTo>
                  <a:pt x="1706" y="357"/>
                  <a:pt x="1706" y="357"/>
                  <a:pt x="1706" y="357"/>
                </a:cubicBezTo>
                <a:cubicBezTo>
                  <a:pt x="1708" y="357"/>
                  <a:pt x="1708" y="357"/>
                  <a:pt x="1708" y="357"/>
                </a:cubicBezTo>
                <a:cubicBezTo>
                  <a:pt x="1708" y="357"/>
                  <a:pt x="1708" y="357"/>
                  <a:pt x="1708" y="357"/>
                </a:cubicBezTo>
                <a:cubicBezTo>
                  <a:pt x="1708" y="356"/>
                  <a:pt x="1708" y="356"/>
                  <a:pt x="1708" y="356"/>
                </a:cubicBezTo>
                <a:cubicBezTo>
                  <a:pt x="1707" y="356"/>
                  <a:pt x="1707" y="356"/>
                  <a:pt x="1707" y="356"/>
                </a:cubicBezTo>
                <a:cubicBezTo>
                  <a:pt x="1705" y="355"/>
                  <a:pt x="1705" y="355"/>
                  <a:pt x="1705" y="355"/>
                </a:cubicBezTo>
                <a:lnTo>
                  <a:pt x="1702" y="354"/>
                </a:lnTo>
                <a:close/>
                <a:moveTo>
                  <a:pt x="1695" y="328"/>
                </a:moveTo>
                <a:cubicBezTo>
                  <a:pt x="1697" y="328"/>
                  <a:pt x="1697" y="328"/>
                  <a:pt x="1697" y="328"/>
                </a:cubicBezTo>
                <a:cubicBezTo>
                  <a:pt x="1698" y="327"/>
                  <a:pt x="1698" y="327"/>
                  <a:pt x="1698" y="327"/>
                </a:cubicBezTo>
                <a:cubicBezTo>
                  <a:pt x="1699" y="326"/>
                  <a:pt x="1699" y="326"/>
                  <a:pt x="1699" y="326"/>
                </a:cubicBezTo>
                <a:cubicBezTo>
                  <a:pt x="1696" y="326"/>
                  <a:pt x="1696" y="326"/>
                  <a:pt x="1696" y="326"/>
                </a:cubicBezTo>
                <a:lnTo>
                  <a:pt x="1695" y="328"/>
                </a:lnTo>
                <a:close/>
                <a:moveTo>
                  <a:pt x="1712" y="245"/>
                </a:moveTo>
                <a:cubicBezTo>
                  <a:pt x="1709" y="245"/>
                  <a:pt x="1709" y="245"/>
                  <a:pt x="1709" y="245"/>
                </a:cubicBezTo>
                <a:cubicBezTo>
                  <a:pt x="1707" y="246"/>
                  <a:pt x="1707" y="246"/>
                  <a:pt x="1707" y="246"/>
                </a:cubicBezTo>
                <a:cubicBezTo>
                  <a:pt x="1708" y="248"/>
                  <a:pt x="1708" y="248"/>
                  <a:pt x="1708" y="248"/>
                </a:cubicBezTo>
                <a:cubicBezTo>
                  <a:pt x="1710" y="248"/>
                  <a:pt x="1710" y="248"/>
                  <a:pt x="1710" y="248"/>
                </a:cubicBezTo>
                <a:cubicBezTo>
                  <a:pt x="1711" y="247"/>
                  <a:pt x="1711" y="247"/>
                  <a:pt x="1711" y="247"/>
                </a:cubicBezTo>
                <a:cubicBezTo>
                  <a:pt x="1710" y="246"/>
                  <a:pt x="1710" y="246"/>
                  <a:pt x="1710" y="246"/>
                </a:cubicBezTo>
                <a:cubicBezTo>
                  <a:pt x="1712" y="246"/>
                  <a:pt x="1712" y="246"/>
                  <a:pt x="1712" y="246"/>
                </a:cubicBezTo>
                <a:lnTo>
                  <a:pt x="1712" y="245"/>
                </a:lnTo>
                <a:close/>
                <a:moveTo>
                  <a:pt x="1578" y="274"/>
                </a:moveTo>
                <a:cubicBezTo>
                  <a:pt x="1576" y="273"/>
                  <a:pt x="1576" y="273"/>
                  <a:pt x="1576" y="273"/>
                </a:cubicBezTo>
                <a:cubicBezTo>
                  <a:pt x="1573" y="275"/>
                  <a:pt x="1573" y="275"/>
                  <a:pt x="1573" y="275"/>
                </a:cubicBezTo>
                <a:cubicBezTo>
                  <a:pt x="1576" y="275"/>
                  <a:pt x="1576" y="275"/>
                  <a:pt x="1576" y="275"/>
                </a:cubicBezTo>
                <a:lnTo>
                  <a:pt x="1578" y="274"/>
                </a:lnTo>
                <a:close/>
                <a:moveTo>
                  <a:pt x="1555" y="297"/>
                </a:moveTo>
                <a:cubicBezTo>
                  <a:pt x="1554" y="296"/>
                  <a:pt x="1554" y="296"/>
                  <a:pt x="1554" y="296"/>
                </a:cubicBezTo>
                <a:cubicBezTo>
                  <a:pt x="1553" y="296"/>
                  <a:pt x="1553" y="296"/>
                  <a:pt x="1553" y="296"/>
                </a:cubicBezTo>
                <a:cubicBezTo>
                  <a:pt x="1553" y="298"/>
                  <a:pt x="1553" y="298"/>
                  <a:pt x="1553" y="298"/>
                </a:cubicBezTo>
                <a:lnTo>
                  <a:pt x="1555" y="297"/>
                </a:lnTo>
                <a:close/>
                <a:moveTo>
                  <a:pt x="1577" y="277"/>
                </a:moveTo>
                <a:cubicBezTo>
                  <a:pt x="1575" y="277"/>
                  <a:pt x="1575" y="277"/>
                  <a:pt x="1575" y="277"/>
                </a:cubicBezTo>
                <a:cubicBezTo>
                  <a:pt x="1574" y="279"/>
                  <a:pt x="1574" y="279"/>
                  <a:pt x="1574" y="279"/>
                </a:cubicBezTo>
                <a:cubicBezTo>
                  <a:pt x="1575" y="279"/>
                  <a:pt x="1575" y="279"/>
                  <a:pt x="1575" y="279"/>
                </a:cubicBezTo>
                <a:cubicBezTo>
                  <a:pt x="1576" y="279"/>
                  <a:pt x="1576" y="279"/>
                  <a:pt x="1576" y="279"/>
                </a:cubicBezTo>
                <a:cubicBezTo>
                  <a:pt x="1579" y="279"/>
                  <a:pt x="1579" y="279"/>
                  <a:pt x="1579" y="279"/>
                </a:cubicBezTo>
                <a:cubicBezTo>
                  <a:pt x="1580" y="277"/>
                  <a:pt x="1580" y="277"/>
                  <a:pt x="1580" y="277"/>
                </a:cubicBezTo>
                <a:cubicBezTo>
                  <a:pt x="1579" y="276"/>
                  <a:pt x="1579" y="276"/>
                  <a:pt x="1579" y="276"/>
                </a:cubicBezTo>
                <a:cubicBezTo>
                  <a:pt x="1577" y="276"/>
                  <a:pt x="1577" y="276"/>
                  <a:pt x="1577" y="276"/>
                </a:cubicBezTo>
                <a:lnTo>
                  <a:pt x="1577" y="277"/>
                </a:lnTo>
                <a:close/>
                <a:moveTo>
                  <a:pt x="1571" y="280"/>
                </a:moveTo>
                <a:cubicBezTo>
                  <a:pt x="1571" y="278"/>
                  <a:pt x="1571" y="278"/>
                  <a:pt x="1571" y="278"/>
                </a:cubicBezTo>
                <a:cubicBezTo>
                  <a:pt x="1568" y="278"/>
                  <a:pt x="1568" y="278"/>
                  <a:pt x="1568" y="278"/>
                </a:cubicBezTo>
                <a:cubicBezTo>
                  <a:pt x="1570" y="281"/>
                  <a:pt x="1570" y="281"/>
                  <a:pt x="1570" y="281"/>
                </a:cubicBezTo>
                <a:cubicBezTo>
                  <a:pt x="1570" y="281"/>
                  <a:pt x="1571" y="280"/>
                  <a:pt x="1571" y="280"/>
                </a:cubicBezTo>
                <a:close/>
                <a:moveTo>
                  <a:pt x="1666" y="379"/>
                </a:moveTo>
                <a:cubicBezTo>
                  <a:pt x="1667" y="378"/>
                  <a:pt x="1667" y="378"/>
                  <a:pt x="1667" y="378"/>
                </a:cubicBezTo>
                <a:cubicBezTo>
                  <a:pt x="1666" y="380"/>
                  <a:pt x="1666" y="380"/>
                  <a:pt x="1666" y="380"/>
                </a:cubicBezTo>
                <a:cubicBezTo>
                  <a:pt x="1665" y="382"/>
                  <a:pt x="1665" y="382"/>
                  <a:pt x="1665" y="382"/>
                </a:cubicBezTo>
                <a:cubicBezTo>
                  <a:pt x="1665" y="382"/>
                  <a:pt x="1665" y="382"/>
                  <a:pt x="1665" y="382"/>
                </a:cubicBezTo>
                <a:cubicBezTo>
                  <a:pt x="1668" y="382"/>
                  <a:pt x="1668" y="382"/>
                  <a:pt x="1668" y="382"/>
                </a:cubicBezTo>
                <a:cubicBezTo>
                  <a:pt x="1668" y="381"/>
                  <a:pt x="1668" y="381"/>
                  <a:pt x="1668" y="381"/>
                </a:cubicBezTo>
                <a:cubicBezTo>
                  <a:pt x="1668" y="380"/>
                  <a:pt x="1668" y="380"/>
                  <a:pt x="1668" y="380"/>
                </a:cubicBezTo>
                <a:cubicBezTo>
                  <a:pt x="1668" y="379"/>
                  <a:pt x="1668" y="379"/>
                  <a:pt x="1668" y="379"/>
                </a:cubicBezTo>
                <a:cubicBezTo>
                  <a:pt x="1670" y="377"/>
                  <a:pt x="1670" y="377"/>
                  <a:pt x="1670" y="377"/>
                </a:cubicBezTo>
                <a:cubicBezTo>
                  <a:pt x="1671" y="376"/>
                  <a:pt x="1671" y="376"/>
                  <a:pt x="1671" y="376"/>
                </a:cubicBezTo>
                <a:cubicBezTo>
                  <a:pt x="1672" y="374"/>
                  <a:pt x="1672" y="374"/>
                  <a:pt x="1672" y="374"/>
                </a:cubicBezTo>
                <a:cubicBezTo>
                  <a:pt x="1672" y="373"/>
                  <a:pt x="1672" y="373"/>
                  <a:pt x="1672" y="373"/>
                </a:cubicBezTo>
                <a:cubicBezTo>
                  <a:pt x="1670" y="372"/>
                  <a:pt x="1670" y="372"/>
                  <a:pt x="1670" y="372"/>
                </a:cubicBezTo>
                <a:cubicBezTo>
                  <a:pt x="1671" y="370"/>
                  <a:pt x="1671" y="370"/>
                  <a:pt x="1671" y="370"/>
                </a:cubicBezTo>
                <a:cubicBezTo>
                  <a:pt x="1671" y="369"/>
                  <a:pt x="1671" y="369"/>
                  <a:pt x="1671" y="369"/>
                </a:cubicBezTo>
                <a:cubicBezTo>
                  <a:pt x="1672" y="368"/>
                  <a:pt x="1672" y="368"/>
                  <a:pt x="1672" y="368"/>
                </a:cubicBezTo>
                <a:cubicBezTo>
                  <a:pt x="1671" y="367"/>
                  <a:pt x="1671" y="367"/>
                  <a:pt x="1671" y="367"/>
                </a:cubicBezTo>
                <a:cubicBezTo>
                  <a:pt x="1670" y="368"/>
                  <a:pt x="1670" y="368"/>
                  <a:pt x="1670" y="368"/>
                </a:cubicBezTo>
                <a:cubicBezTo>
                  <a:pt x="1668" y="368"/>
                  <a:pt x="1668" y="368"/>
                  <a:pt x="1668" y="368"/>
                </a:cubicBezTo>
                <a:cubicBezTo>
                  <a:pt x="1666" y="370"/>
                  <a:pt x="1666" y="370"/>
                  <a:pt x="1666" y="370"/>
                </a:cubicBezTo>
                <a:cubicBezTo>
                  <a:pt x="1666" y="372"/>
                  <a:pt x="1666" y="372"/>
                  <a:pt x="1666" y="372"/>
                </a:cubicBezTo>
                <a:cubicBezTo>
                  <a:pt x="1664" y="373"/>
                  <a:pt x="1664" y="373"/>
                  <a:pt x="1664" y="373"/>
                </a:cubicBezTo>
                <a:cubicBezTo>
                  <a:pt x="1665" y="375"/>
                  <a:pt x="1665" y="375"/>
                  <a:pt x="1665" y="375"/>
                </a:cubicBezTo>
                <a:cubicBezTo>
                  <a:pt x="1664" y="376"/>
                  <a:pt x="1664" y="376"/>
                  <a:pt x="1664" y="376"/>
                </a:cubicBezTo>
                <a:lnTo>
                  <a:pt x="1666" y="379"/>
                </a:lnTo>
                <a:close/>
                <a:moveTo>
                  <a:pt x="1572" y="284"/>
                </a:moveTo>
                <a:cubicBezTo>
                  <a:pt x="1573" y="283"/>
                  <a:pt x="1573" y="283"/>
                  <a:pt x="1573" y="283"/>
                </a:cubicBezTo>
                <a:cubicBezTo>
                  <a:pt x="1572" y="281"/>
                  <a:pt x="1572" y="281"/>
                  <a:pt x="1572" y="281"/>
                </a:cubicBezTo>
                <a:cubicBezTo>
                  <a:pt x="1572" y="281"/>
                  <a:pt x="1571" y="283"/>
                  <a:pt x="1571" y="283"/>
                </a:cubicBezTo>
                <a:lnTo>
                  <a:pt x="1572" y="284"/>
                </a:lnTo>
                <a:close/>
                <a:moveTo>
                  <a:pt x="1706" y="354"/>
                </a:moveTo>
                <a:cubicBezTo>
                  <a:pt x="1709" y="356"/>
                  <a:pt x="1709" y="356"/>
                  <a:pt x="1709" y="356"/>
                </a:cubicBezTo>
                <a:cubicBezTo>
                  <a:pt x="1710" y="355"/>
                  <a:pt x="1710" y="355"/>
                  <a:pt x="1710" y="355"/>
                </a:cubicBezTo>
                <a:cubicBezTo>
                  <a:pt x="1709" y="353"/>
                  <a:pt x="1709" y="353"/>
                  <a:pt x="1709" y="353"/>
                </a:cubicBezTo>
                <a:cubicBezTo>
                  <a:pt x="1706" y="353"/>
                  <a:pt x="1706" y="353"/>
                  <a:pt x="1706" y="353"/>
                </a:cubicBezTo>
                <a:lnTo>
                  <a:pt x="1706" y="354"/>
                </a:lnTo>
                <a:close/>
                <a:moveTo>
                  <a:pt x="1672" y="357"/>
                </a:moveTo>
                <a:cubicBezTo>
                  <a:pt x="1672" y="359"/>
                  <a:pt x="1672" y="359"/>
                  <a:pt x="1672" y="359"/>
                </a:cubicBezTo>
                <a:cubicBezTo>
                  <a:pt x="1674" y="358"/>
                  <a:pt x="1674" y="358"/>
                  <a:pt x="1674" y="358"/>
                </a:cubicBezTo>
                <a:cubicBezTo>
                  <a:pt x="1672" y="357"/>
                  <a:pt x="1672" y="357"/>
                  <a:pt x="1672" y="357"/>
                </a:cubicBezTo>
                <a:close/>
                <a:moveTo>
                  <a:pt x="1681" y="279"/>
                </a:moveTo>
                <a:cubicBezTo>
                  <a:pt x="1682" y="280"/>
                  <a:pt x="1682" y="280"/>
                  <a:pt x="1682" y="280"/>
                </a:cubicBezTo>
                <a:cubicBezTo>
                  <a:pt x="1684" y="279"/>
                  <a:pt x="1684" y="279"/>
                  <a:pt x="1684" y="279"/>
                </a:cubicBezTo>
                <a:cubicBezTo>
                  <a:pt x="1684" y="278"/>
                  <a:pt x="1684" y="278"/>
                  <a:pt x="1684" y="278"/>
                </a:cubicBezTo>
                <a:cubicBezTo>
                  <a:pt x="1683" y="278"/>
                  <a:pt x="1683" y="278"/>
                  <a:pt x="1683" y="278"/>
                </a:cubicBezTo>
                <a:cubicBezTo>
                  <a:pt x="1681" y="277"/>
                  <a:pt x="1681" y="277"/>
                  <a:pt x="1681" y="277"/>
                </a:cubicBezTo>
                <a:lnTo>
                  <a:pt x="1681" y="279"/>
                </a:lnTo>
                <a:close/>
                <a:moveTo>
                  <a:pt x="1672" y="367"/>
                </a:moveTo>
                <a:cubicBezTo>
                  <a:pt x="1673" y="368"/>
                  <a:pt x="1673" y="368"/>
                  <a:pt x="1673" y="368"/>
                </a:cubicBezTo>
                <a:cubicBezTo>
                  <a:pt x="1674" y="367"/>
                  <a:pt x="1674" y="367"/>
                  <a:pt x="1674" y="367"/>
                </a:cubicBezTo>
                <a:cubicBezTo>
                  <a:pt x="1676" y="366"/>
                  <a:pt x="1676" y="366"/>
                  <a:pt x="1676" y="366"/>
                </a:cubicBezTo>
                <a:cubicBezTo>
                  <a:pt x="1676" y="366"/>
                  <a:pt x="1676" y="366"/>
                  <a:pt x="1676" y="366"/>
                </a:cubicBezTo>
                <a:cubicBezTo>
                  <a:pt x="1673" y="366"/>
                  <a:pt x="1673" y="366"/>
                  <a:pt x="1673" y="366"/>
                </a:cubicBezTo>
                <a:lnTo>
                  <a:pt x="1672" y="367"/>
                </a:lnTo>
                <a:close/>
                <a:moveTo>
                  <a:pt x="1665" y="347"/>
                </a:moveTo>
                <a:cubicBezTo>
                  <a:pt x="1665" y="344"/>
                  <a:pt x="1665" y="344"/>
                  <a:pt x="1665" y="344"/>
                </a:cubicBezTo>
                <a:cubicBezTo>
                  <a:pt x="1667" y="342"/>
                  <a:pt x="1667" y="342"/>
                  <a:pt x="1667" y="342"/>
                </a:cubicBezTo>
                <a:cubicBezTo>
                  <a:pt x="1667" y="341"/>
                  <a:pt x="1667" y="341"/>
                  <a:pt x="1667" y="341"/>
                </a:cubicBezTo>
                <a:cubicBezTo>
                  <a:pt x="1665" y="341"/>
                  <a:pt x="1665" y="341"/>
                  <a:pt x="1665" y="341"/>
                </a:cubicBezTo>
                <a:cubicBezTo>
                  <a:pt x="1663" y="343"/>
                  <a:pt x="1663" y="343"/>
                  <a:pt x="1663" y="343"/>
                </a:cubicBezTo>
                <a:cubicBezTo>
                  <a:pt x="1664" y="346"/>
                  <a:pt x="1664" y="346"/>
                  <a:pt x="1664" y="346"/>
                </a:cubicBezTo>
                <a:lnTo>
                  <a:pt x="1665" y="347"/>
                </a:lnTo>
                <a:close/>
                <a:moveTo>
                  <a:pt x="1673" y="327"/>
                </a:moveTo>
                <a:cubicBezTo>
                  <a:pt x="1673" y="328"/>
                  <a:pt x="1673" y="328"/>
                  <a:pt x="1673" y="328"/>
                </a:cubicBezTo>
                <a:cubicBezTo>
                  <a:pt x="1674" y="329"/>
                  <a:pt x="1674" y="329"/>
                  <a:pt x="1674" y="329"/>
                </a:cubicBezTo>
                <a:cubicBezTo>
                  <a:pt x="1675" y="330"/>
                  <a:pt x="1675" y="330"/>
                  <a:pt x="1675" y="330"/>
                </a:cubicBezTo>
                <a:cubicBezTo>
                  <a:pt x="1677" y="331"/>
                  <a:pt x="1677" y="331"/>
                  <a:pt x="1677" y="331"/>
                </a:cubicBezTo>
                <a:cubicBezTo>
                  <a:pt x="1679" y="332"/>
                  <a:pt x="1679" y="332"/>
                  <a:pt x="1679" y="332"/>
                </a:cubicBezTo>
                <a:cubicBezTo>
                  <a:pt x="1680" y="331"/>
                  <a:pt x="1680" y="331"/>
                  <a:pt x="1680" y="331"/>
                </a:cubicBezTo>
                <a:cubicBezTo>
                  <a:pt x="1680" y="330"/>
                  <a:pt x="1680" y="330"/>
                  <a:pt x="1680" y="330"/>
                </a:cubicBezTo>
                <a:cubicBezTo>
                  <a:pt x="1678" y="330"/>
                  <a:pt x="1678" y="330"/>
                  <a:pt x="1678" y="330"/>
                </a:cubicBezTo>
                <a:cubicBezTo>
                  <a:pt x="1677" y="328"/>
                  <a:pt x="1677" y="328"/>
                  <a:pt x="1677" y="328"/>
                </a:cubicBezTo>
                <a:cubicBezTo>
                  <a:pt x="1678" y="327"/>
                  <a:pt x="1678" y="327"/>
                  <a:pt x="1678" y="327"/>
                </a:cubicBezTo>
                <a:cubicBezTo>
                  <a:pt x="1679" y="328"/>
                  <a:pt x="1679" y="328"/>
                  <a:pt x="1679" y="328"/>
                </a:cubicBezTo>
                <a:cubicBezTo>
                  <a:pt x="1679" y="326"/>
                  <a:pt x="1679" y="326"/>
                  <a:pt x="1679" y="326"/>
                </a:cubicBezTo>
                <a:cubicBezTo>
                  <a:pt x="1676" y="324"/>
                  <a:pt x="1676" y="324"/>
                  <a:pt x="1676" y="324"/>
                </a:cubicBezTo>
                <a:cubicBezTo>
                  <a:pt x="1675" y="324"/>
                  <a:pt x="1675" y="324"/>
                  <a:pt x="1675" y="324"/>
                </a:cubicBezTo>
                <a:cubicBezTo>
                  <a:pt x="1675" y="326"/>
                  <a:pt x="1675" y="326"/>
                  <a:pt x="1675" y="326"/>
                </a:cubicBezTo>
                <a:cubicBezTo>
                  <a:pt x="1676" y="327"/>
                  <a:pt x="1676" y="327"/>
                  <a:pt x="1676" y="327"/>
                </a:cubicBezTo>
                <a:cubicBezTo>
                  <a:pt x="1676" y="328"/>
                  <a:pt x="1676" y="328"/>
                  <a:pt x="1676" y="328"/>
                </a:cubicBezTo>
                <a:lnTo>
                  <a:pt x="1673" y="327"/>
                </a:lnTo>
                <a:close/>
                <a:moveTo>
                  <a:pt x="1684" y="276"/>
                </a:moveTo>
                <a:cubicBezTo>
                  <a:pt x="1682" y="275"/>
                  <a:pt x="1682" y="275"/>
                  <a:pt x="1682" y="275"/>
                </a:cubicBezTo>
                <a:cubicBezTo>
                  <a:pt x="1682" y="276"/>
                  <a:pt x="1682" y="276"/>
                  <a:pt x="1682" y="276"/>
                </a:cubicBezTo>
                <a:cubicBezTo>
                  <a:pt x="1683" y="277"/>
                  <a:pt x="1683" y="277"/>
                  <a:pt x="1683" y="277"/>
                </a:cubicBezTo>
                <a:lnTo>
                  <a:pt x="1684" y="276"/>
                </a:lnTo>
                <a:close/>
                <a:moveTo>
                  <a:pt x="1687" y="324"/>
                </a:moveTo>
                <a:cubicBezTo>
                  <a:pt x="1687" y="324"/>
                  <a:pt x="1688" y="325"/>
                  <a:pt x="1688" y="325"/>
                </a:cubicBezTo>
                <a:cubicBezTo>
                  <a:pt x="1689" y="324"/>
                  <a:pt x="1689" y="324"/>
                  <a:pt x="1689" y="324"/>
                </a:cubicBezTo>
                <a:lnTo>
                  <a:pt x="1687" y="324"/>
                </a:lnTo>
                <a:close/>
                <a:moveTo>
                  <a:pt x="1703" y="332"/>
                </a:moveTo>
                <a:cubicBezTo>
                  <a:pt x="1702" y="331"/>
                  <a:pt x="1702" y="331"/>
                  <a:pt x="1702" y="331"/>
                </a:cubicBezTo>
                <a:cubicBezTo>
                  <a:pt x="1702" y="332"/>
                  <a:pt x="1702" y="332"/>
                  <a:pt x="1702" y="332"/>
                </a:cubicBezTo>
                <a:cubicBezTo>
                  <a:pt x="1701" y="332"/>
                  <a:pt x="1701" y="332"/>
                  <a:pt x="1701" y="332"/>
                </a:cubicBezTo>
                <a:cubicBezTo>
                  <a:pt x="1701" y="333"/>
                  <a:pt x="1701" y="333"/>
                  <a:pt x="1701" y="333"/>
                </a:cubicBezTo>
                <a:lnTo>
                  <a:pt x="1703" y="332"/>
                </a:lnTo>
                <a:close/>
                <a:moveTo>
                  <a:pt x="1699" y="330"/>
                </a:moveTo>
                <a:cubicBezTo>
                  <a:pt x="1700" y="330"/>
                  <a:pt x="1700" y="330"/>
                  <a:pt x="1700" y="330"/>
                </a:cubicBezTo>
                <a:cubicBezTo>
                  <a:pt x="1700" y="330"/>
                  <a:pt x="1700" y="328"/>
                  <a:pt x="1700" y="328"/>
                </a:cubicBezTo>
                <a:lnTo>
                  <a:pt x="1699" y="330"/>
                </a:lnTo>
                <a:close/>
                <a:moveTo>
                  <a:pt x="1693" y="325"/>
                </a:moveTo>
                <a:cubicBezTo>
                  <a:pt x="1691" y="323"/>
                  <a:pt x="1691" y="323"/>
                  <a:pt x="1691" y="323"/>
                </a:cubicBezTo>
                <a:cubicBezTo>
                  <a:pt x="1691" y="325"/>
                  <a:pt x="1691" y="325"/>
                  <a:pt x="1691" y="325"/>
                </a:cubicBezTo>
                <a:cubicBezTo>
                  <a:pt x="1692" y="326"/>
                  <a:pt x="1692" y="326"/>
                  <a:pt x="1692" y="326"/>
                </a:cubicBezTo>
                <a:lnTo>
                  <a:pt x="1693" y="325"/>
                </a:lnTo>
                <a:close/>
                <a:moveTo>
                  <a:pt x="1698" y="352"/>
                </a:moveTo>
                <a:cubicBezTo>
                  <a:pt x="1700" y="351"/>
                  <a:pt x="1700" y="351"/>
                  <a:pt x="1700" y="351"/>
                </a:cubicBezTo>
                <a:cubicBezTo>
                  <a:pt x="1701" y="351"/>
                  <a:pt x="1701" y="351"/>
                  <a:pt x="1701" y="351"/>
                </a:cubicBezTo>
                <a:cubicBezTo>
                  <a:pt x="1703" y="353"/>
                  <a:pt x="1703" y="353"/>
                  <a:pt x="1703" y="353"/>
                </a:cubicBezTo>
                <a:cubicBezTo>
                  <a:pt x="1703" y="351"/>
                  <a:pt x="1703" y="351"/>
                  <a:pt x="1703" y="351"/>
                </a:cubicBezTo>
                <a:cubicBezTo>
                  <a:pt x="1705" y="350"/>
                  <a:pt x="1705" y="350"/>
                  <a:pt x="1705" y="350"/>
                </a:cubicBezTo>
                <a:cubicBezTo>
                  <a:pt x="1706" y="351"/>
                  <a:pt x="1706" y="351"/>
                  <a:pt x="1706" y="351"/>
                </a:cubicBezTo>
                <a:cubicBezTo>
                  <a:pt x="1705" y="349"/>
                  <a:pt x="1705" y="349"/>
                  <a:pt x="1705" y="349"/>
                </a:cubicBezTo>
                <a:cubicBezTo>
                  <a:pt x="1703" y="349"/>
                  <a:pt x="1703" y="349"/>
                  <a:pt x="1703" y="349"/>
                </a:cubicBezTo>
                <a:cubicBezTo>
                  <a:pt x="1703" y="348"/>
                  <a:pt x="1703" y="348"/>
                  <a:pt x="1703" y="348"/>
                </a:cubicBezTo>
                <a:cubicBezTo>
                  <a:pt x="1701" y="347"/>
                  <a:pt x="1701" y="347"/>
                  <a:pt x="1701" y="347"/>
                </a:cubicBezTo>
                <a:cubicBezTo>
                  <a:pt x="1701" y="348"/>
                  <a:pt x="1701" y="348"/>
                  <a:pt x="1701" y="348"/>
                </a:cubicBezTo>
                <a:cubicBezTo>
                  <a:pt x="1700" y="349"/>
                  <a:pt x="1700" y="349"/>
                  <a:pt x="1700" y="349"/>
                </a:cubicBezTo>
                <a:cubicBezTo>
                  <a:pt x="1697" y="351"/>
                  <a:pt x="1697" y="351"/>
                  <a:pt x="1697" y="351"/>
                </a:cubicBezTo>
                <a:lnTo>
                  <a:pt x="1698" y="352"/>
                </a:lnTo>
                <a:close/>
                <a:moveTo>
                  <a:pt x="1655" y="629"/>
                </a:moveTo>
                <a:cubicBezTo>
                  <a:pt x="1656" y="627"/>
                  <a:pt x="1656" y="627"/>
                  <a:pt x="1656" y="627"/>
                </a:cubicBezTo>
                <a:cubicBezTo>
                  <a:pt x="1654" y="625"/>
                  <a:pt x="1654" y="625"/>
                  <a:pt x="1654" y="625"/>
                </a:cubicBezTo>
                <a:cubicBezTo>
                  <a:pt x="1652" y="627"/>
                  <a:pt x="1652" y="627"/>
                  <a:pt x="1652" y="627"/>
                </a:cubicBezTo>
                <a:cubicBezTo>
                  <a:pt x="1650" y="627"/>
                  <a:pt x="1650" y="627"/>
                  <a:pt x="1650" y="627"/>
                </a:cubicBezTo>
                <a:cubicBezTo>
                  <a:pt x="1648" y="626"/>
                  <a:pt x="1648" y="626"/>
                  <a:pt x="1648" y="626"/>
                </a:cubicBezTo>
                <a:cubicBezTo>
                  <a:pt x="1646" y="628"/>
                  <a:pt x="1646" y="628"/>
                  <a:pt x="1646" y="628"/>
                </a:cubicBezTo>
                <a:cubicBezTo>
                  <a:pt x="1642" y="628"/>
                  <a:pt x="1642" y="628"/>
                  <a:pt x="1642" y="628"/>
                </a:cubicBezTo>
                <a:cubicBezTo>
                  <a:pt x="1638" y="629"/>
                  <a:pt x="1638" y="629"/>
                  <a:pt x="1638" y="629"/>
                </a:cubicBezTo>
                <a:cubicBezTo>
                  <a:pt x="1635" y="628"/>
                  <a:pt x="1635" y="628"/>
                  <a:pt x="1635" y="628"/>
                </a:cubicBezTo>
                <a:cubicBezTo>
                  <a:pt x="1633" y="627"/>
                  <a:pt x="1633" y="627"/>
                  <a:pt x="1633" y="627"/>
                </a:cubicBezTo>
                <a:cubicBezTo>
                  <a:pt x="1631" y="627"/>
                  <a:pt x="1631" y="627"/>
                  <a:pt x="1631" y="627"/>
                </a:cubicBezTo>
                <a:cubicBezTo>
                  <a:pt x="1630" y="628"/>
                  <a:pt x="1630" y="628"/>
                  <a:pt x="1630" y="628"/>
                </a:cubicBezTo>
                <a:cubicBezTo>
                  <a:pt x="1629" y="627"/>
                  <a:pt x="1629" y="627"/>
                  <a:pt x="1629" y="627"/>
                </a:cubicBezTo>
                <a:cubicBezTo>
                  <a:pt x="1627" y="629"/>
                  <a:pt x="1627" y="629"/>
                  <a:pt x="1627" y="629"/>
                </a:cubicBezTo>
                <a:cubicBezTo>
                  <a:pt x="1626" y="632"/>
                  <a:pt x="1626" y="632"/>
                  <a:pt x="1626" y="632"/>
                </a:cubicBezTo>
                <a:cubicBezTo>
                  <a:pt x="1628" y="634"/>
                  <a:pt x="1628" y="634"/>
                  <a:pt x="1628" y="634"/>
                </a:cubicBezTo>
                <a:cubicBezTo>
                  <a:pt x="1631" y="633"/>
                  <a:pt x="1631" y="633"/>
                  <a:pt x="1631" y="633"/>
                </a:cubicBezTo>
                <a:cubicBezTo>
                  <a:pt x="1634" y="636"/>
                  <a:pt x="1634" y="636"/>
                  <a:pt x="1634" y="636"/>
                </a:cubicBezTo>
                <a:cubicBezTo>
                  <a:pt x="1636" y="637"/>
                  <a:pt x="1636" y="637"/>
                  <a:pt x="1636" y="637"/>
                </a:cubicBezTo>
                <a:cubicBezTo>
                  <a:pt x="1638" y="639"/>
                  <a:pt x="1638" y="639"/>
                  <a:pt x="1638" y="639"/>
                </a:cubicBezTo>
                <a:cubicBezTo>
                  <a:pt x="1643" y="640"/>
                  <a:pt x="1643" y="640"/>
                  <a:pt x="1643" y="640"/>
                </a:cubicBezTo>
                <a:cubicBezTo>
                  <a:pt x="1644" y="640"/>
                  <a:pt x="1644" y="640"/>
                  <a:pt x="1644" y="640"/>
                </a:cubicBezTo>
                <a:cubicBezTo>
                  <a:pt x="1646" y="641"/>
                  <a:pt x="1646" y="641"/>
                  <a:pt x="1646" y="641"/>
                </a:cubicBezTo>
                <a:cubicBezTo>
                  <a:pt x="1646" y="643"/>
                  <a:pt x="1646" y="643"/>
                  <a:pt x="1646" y="643"/>
                </a:cubicBezTo>
                <a:cubicBezTo>
                  <a:pt x="1651" y="645"/>
                  <a:pt x="1651" y="645"/>
                  <a:pt x="1651" y="645"/>
                </a:cubicBezTo>
                <a:cubicBezTo>
                  <a:pt x="1653" y="644"/>
                  <a:pt x="1653" y="644"/>
                  <a:pt x="1653" y="644"/>
                </a:cubicBezTo>
                <a:cubicBezTo>
                  <a:pt x="1653" y="642"/>
                  <a:pt x="1653" y="642"/>
                  <a:pt x="1653" y="642"/>
                </a:cubicBezTo>
                <a:cubicBezTo>
                  <a:pt x="1654" y="641"/>
                  <a:pt x="1654" y="641"/>
                  <a:pt x="1654" y="641"/>
                </a:cubicBezTo>
                <a:cubicBezTo>
                  <a:pt x="1653" y="638"/>
                  <a:pt x="1653" y="638"/>
                  <a:pt x="1653" y="638"/>
                </a:cubicBezTo>
                <a:cubicBezTo>
                  <a:pt x="1652" y="636"/>
                  <a:pt x="1652" y="636"/>
                  <a:pt x="1652" y="636"/>
                </a:cubicBezTo>
                <a:cubicBezTo>
                  <a:pt x="1653" y="631"/>
                  <a:pt x="1653" y="631"/>
                  <a:pt x="1653" y="631"/>
                </a:cubicBezTo>
                <a:lnTo>
                  <a:pt x="1655" y="629"/>
                </a:lnTo>
                <a:close/>
                <a:moveTo>
                  <a:pt x="1728" y="616"/>
                </a:moveTo>
                <a:cubicBezTo>
                  <a:pt x="1726" y="617"/>
                  <a:pt x="1726" y="617"/>
                  <a:pt x="1726" y="617"/>
                </a:cubicBezTo>
                <a:cubicBezTo>
                  <a:pt x="1727" y="617"/>
                  <a:pt x="1727" y="617"/>
                  <a:pt x="1727" y="617"/>
                </a:cubicBezTo>
                <a:cubicBezTo>
                  <a:pt x="1729" y="617"/>
                  <a:pt x="1729" y="617"/>
                  <a:pt x="1729" y="617"/>
                </a:cubicBezTo>
                <a:cubicBezTo>
                  <a:pt x="1730" y="618"/>
                  <a:pt x="1730" y="618"/>
                  <a:pt x="1730" y="618"/>
                </a:cubicBezTo>
                <a:cubicBezTo>
                  <a:pt x="1730" y="619"/>
                  <a:pt x="1730" y="619"/>
                  <a:pt x="1730" y="619"/>
                </a:cubicBezTo>
                <a:cubicBezTo>
                  <a:pt x="1731" y="619"/>
                  <a:pt x="1731" y="619"/>
                  <a:pt x="1731" y="619"/>
                </a:cubicBezTo>
                <a:cubicBezTo>
                  <a:pt x="1732" y="620"/>
                  <a:pt x="1732" y="620"/>
                  <a:pt x="1732" y="620"/>
                </a:cubicBezTo>
                <a:cubicBezTo>
                  <a:pt x="1733" y="621"/>
                  <a:pt x="1733" y="621"/>
                  <a:pt x="1733" y="621"/>
                </a:cubicBezTo>
                <a:cubicBezTo>
                  <a:pt x="1734" y="622"/>
                  <a:pt x="1734" y="622"/>
                  <a:pt x="1734" y="622"/>
                </a:cubicBezTo>
                <a:cubicBezTo>
                  <a:pt x="1736" y="623"/>
                  <a:pt x="1736" y="623"/>
                  <a:pt x="1736" y="623"/>
                </a:cubicBezTo>
                <a:cubicBezTo>
                  <a:pt x="1737" y="623"/>
                  <a:pt x="1737" y="623"/>
                  <a:pt x="1737" y="623"/>
                </a:cubicBezTo>
                <a:cubicBezTo>
                  <a:pt x="1738" y="624"/>
                  <a:pt x="1738" y="624"/>
                  <a:pt x="1738" y="624"/>
                </a:cubicBezTo>
                <a:cubicBezTo>
                  <a:pt x="1739" y="626"/>
                  <a:pt x="1739" y="626"/>
                  <a:pt x="1739" y="626"/>
                </a:cubicBezTo>
                <a:cubicBezTo>
                  <a:pt x="1740" y="626"/>
                  <a:pt x="1740" y="626"/>
                  <a:pt x="1740" y="626"/>
                </a:cubicBezTo>
                <a:cubicBezTo>
                  <a:pt x="1739" y="627"/>
                  <a:pt x="1739" y="627"/>
                  <a:pt x="1739" y="627"/>
                </a:cubicBezTo>
                <a:cubicBezTo>
                  <a:pt x="1740" y="628"/>
                  <a:pt x="1740" y="628"/>
                  <a:pt x="1740" y="628"/>
                </a:cubicBezTo>
                <a:cubicBezTo>
                  <a:pt x="1741" y="629"/>
                  <a:pt x="1741" y="629"/>
                  <a:pt x="1741" y="629"/>
                </a:cubicBezTo>
                <a:cubicBezTo>
                  <a:pt x="1742" y="629"/>
                  <a:pt x="1742" y="629"/>
                  <a:pt x="1742" y="629"/>
                </a:cubicBezTo>
                <a:cubicBezTo>
                  <a:pt x="1743" y="629"/>
                  <a:pt x="1743" y="629"/>
                  <a:pt x="1743" y="629"/>
                </a:cubicBezTo>
                <a:cubicBezTo>
                  <a:pt x="1744" y="627"/>
                  <a:pt x="1744" y="627"/>
                  <a:pt x="1744" y="627"/>
                </a:cubicBezTo>
                <a:cubicBezTo>
                  <a:pt x="1742" y="627"/>
                  <a:pt x="1742" y="627"/>
                  <a:pt x="1742" y="627"/>
                </a:cubicBezTo>
                <a:cubicBezTo>
                  <a:pt x="1742" y="628"/>
                  <a:pt x="1742" y="628"/>
                  <a:pt x="1742" y="628"/>
                </a:cubicBezTo>
                <a:cubicBezTo>
                  <a:pt x="1740" y="626"/>
                  <a:pt x="1740" y="626"/>
                  <a:pt x="1740" y="626"/>
                </a:cubicBezTo>
                <a:cubicBezTo>
                  <a:pt x="1740" y="625"/>
                  <a:pt x="1740" y="625"/>
                  <a:pt x="1740" y="625"/>
                </a:cubicBezTo>
                <a:cubicBezTo>
                  <a:pt x="1740" y="624"/>
                  <a:pt x="1740" y="624"/>
                  <a:pt x="1740" y="624"/>
                </a:cubicBezTo>
                <a:cubicBezTo>
                  <a:pt x="1740" y="623"/>
                  <a:pt x="1740" y="623"/>
                  <a:pt x="1740" y="623"/>
                </a:cubicBezTo>
                <a:cubicBezTo>
                  <a:pt x="1739" y="621"/>
                  <a:pt x="1739" y="621"/>
                  <a:pt x="1739" y="621"/>
                </a:cubicBezTo>
                <a:cubicBezTo>
                  <a:pt x="1737" y="619"/>
                  <a:pt x="1737" y="619"/>
                  <a:pt x="1737" y="619"/>
                </a:cubicBezTo>
                <a:cubicBezTo>
                  <a:pt x="1737" y="619"/>
                  <a:pt x="1737" y="619"/>
                  <a:pt x="1737" y="619"/>
                </a:cubicBezTo>
                <a:cubicBezTo>
                  <a:pt x="1735" y="619"/>
                  <a:pt x="1735" y="619"/>
                  <a:pt x="1735" y="619"/>
                </a:cubicBezTo>
                <a:cubicBezTo>
                  <a:pt x="1735" y="619"/>
                  <a:pt x="1735" y="619"/>
                  <a:pt x="1735" y="619"/>
                </a:cubicBezTo>
                <a:cubicBezTo>
                  <a:pt x="1733" y="618"/>
                  <a:pt x="1733" y="618"/>
                  <a:pt x="1733" y="618"/>
                </a:cubicBezTo>
                <a:cubicBezTo>
                  <a:pt x="1732" y="617"/>
                  <a:pt x="1732" y="617"/>
                  <a:pt x="1732" y="617"/>
                </a:cubicBezTo>
                <a:cubicBezTo>
                  <a:pt x="1730" y="616"/>
                  <a:pt x="1730" y="616"/>
                  <a:pt x="1730" y="616"/>
                </a:cubicBezTo>
                <a:lnTo>
                  <a:pt x="1728" y="616"/>
                </a:lnTo>
                <a:close/>
                <a:moveTo>
                  <a:pt x="1736" y="656"/>
                </a:moveTo>
                <a:cubicBezTo>
                  <a:pt x="1736" y="658"/>
                  <a:pt x="1736" y="658"/>
                  <a:pt x="1736" y="658"/>
                </a:cubicBezTo>
                <a:cubicBezTo>
                  <a:pt x="1736" y="659"/>
                  <a:pt x="1736" y="659"/>
                  <a:pt x="1736" y="659"/>
                </a:cubicBezTo>
                <a:cubicBezTo>
                  <a:pt x="1736" y="661"/>
                  <a:pt x="1736" y="661"/>
                  <a:pt x="1736" y="661"/>
                </a:cubicBezTo>
                <a:cubicBezTo>
                  <a:pt x="1737" y="661"/>
                  <a:pt x="1737" y="661"/>
                  <a:pt x="1737" y="661"/>
                </a:cubicBezTo>
                <a:cubicBezTo>
                  <a:pt x="1741" y="661"/>
                  <a:pt x="1741" y="661"/>
                  <a:pt x="1741" y="661"/>
                </a:cubicBezTo>
                <a:cubicBezTo>
                  <a:pt x="1742" y="661"/>
                  <a:pt x="1742" y="661"/>
                  <a:pt x="1742" y="661"/>
                </a:cubicBezTo>
                <a:cubicBezTo>
                  <a:pt x="1743" y="661"/>
                  <a:pt x="1743" y="661"/>
                  <a:pt x="1743" y="661"/>
                </a:cubicBezTo>
                <a:cubicBezTo>
                  <a:pt x="1745" y="661"/>
                  <a:pt x="1745" y="661"/>
                  <a:pt x="1745" y="661"/>
                </a:cubicBezTo>
                <a:cubicBezTo>
                  <a:pt x="1747" y="663"/>
                  <a:pt x="1747" y="663"/>
                  <a:pt x="1747" y="663"/>
                </a:cubicBezTo>
                <a:cubicBezTo>
                  <a:pt x="1748" y="664"/>
                  <a:pt x="1748" y="664"/>
                  <a:pt x="1748" y="664"/>
                </a:cubicBezTo>
                <a:cubicBezTo>
                  <a:pt x="1750" y="664"/>
                  <a:pt x="1750" y="664"/>
                  <a:pt x="1750" y="664"/>
                </a:cubicBezTo>
                <a:cubicBezTo>
                  <a:pt x="1752" y="662"/>
                  <a:pt x="1752" y="662"/>
                  <a:pt x="1752" y="662"/>
                </a:cubicBezTo>
                <a:cubicBezTo>
                  <a:pt x="1755" y="663"/>
                  <a:pt x="1755" y="663"/>
                  <a:pt x="1755" y="663"/>
                </a:cubicBezTo>
                <a:cubicBezTo>
                  <a:pt x="1758" y="663"/>
                  <a:pt x="1758" y="663"/>
                  <a:pt x="1758" y="663"/>
                </a:cubicBezTo>
                <a:cubicBezTo>
                  <a:pt x="1761" y="663"/>
                  <a:pt x="1761" y="663"/>
                  <a:pt x="1761" y="663"/>
                </a:cubicBezTo>
                <a:cubicBezTo>
                  <a:pt x="1762" y="662"/>
                  <a:pt x="1762" y="662"/>
                  <a:pt x="1762" y="662"/>
                </a:cubicBezTo>
                <a:cubicBezTo>
                  <a:pt x="1763" y="660"/>
                  <a:pt x="1763" y="660"/>
                  <a:pt x="1763" y="660"/>
                </a:cubicBezTo>
                <a:cubicBezTo>
                  <a:pt x="1763" y="659"/>
                  <a:pt x="1763" y="659"/>
                  <a:pt x="1763" y="659"/>
                </a:cubicBezTo>
                <a:cubicBezTo>
                  <a:pt x="1763" y="658"/>
                  <a:pt x="1763" y="658"/>
                  <a:pt x="1763" y="658"/>
                </a:cubicBezTo>
                <a:cubicBezTo>
                  <a:pt x="1762" y="659"/>
                  <a:pt x="1762" y="659"/>
                  <a:pt x="1762" y="659"/>
                </a:cubicBezTo>
                <a:cubicBezTo>
                  <a:pt x="1762" y="660"/>
                  <a:pt x="1762" y="660"/>
                  <a:pt x="1762" y="660"/>
                </a:cubicBezTo>
                <a:cubicBezTo>
                  <a:pt x="1761" y="661"/>
                  <a:pt x="1761" y="661"/>
                  <a:pt x="1761" y="661"/>
                </a:cubicBezTo>
                <a:cubicBezTo>
                  <a:pt x="1760" y="660"/>
                  <a:pt x="1760" y="660"/>
                  <a:pt x="1760" y="660"/>
                </a:cubicBezTo>
                <a:cubicBezTo>
                  <a:pt x="1759" y="660"/>
                  <a:pt x="1759" y="660"/>
                  <a:pt x="1759" y="660"/>
                </a:cubicBezTo>
                <a:cubicBezTo>
                  <a:pt x="1758" y="660"/>
                  <a:pt x="1758" y="660"/>
                  <a:pt x="1758" y="660"/>
                </a:cubicBezTo>
                <a:cubicBezTo>
                  <a:pt x="1758" y="659"/>
                  <a:pt x="1758" y="659"/>
                  <a:pt x="1758" y="659"/>
                </a:cubicBezTo>
                <a:cubicBezTo>
                  <a:pt x="1758" y="658"/>
                  <a:pt x="1758" y="658"/>
                  <a:pt x="1758" y="658"/>
                </a:cubicBezTo>
                <a:cubicBezTo>
                  <a:pt x="1757" y="658"/>
                  <a:pt x="1757" y="658"/>
                  <a:pt x="1757" y="658"/>
                </a:cubicBezTo>
                <a:cubicBezTo>
                  <a:pt x="1754" y="658"/>
                  <a:pt x="1754" y="658"/>
                  <a:pt x="1754" y="658"/>
                </a:cubicBezTo>
                <a:cubicBezTo>
                  <a:pt x="1752" y="657"/>
                  <a:pt x="1752" y="657"/>
                  <a:pt x="1752" y="657"/>
                </a:cubicBezTo>
                <a:cubicBezTo>
                  <a:pt x="1749" y="657"/>
                  <a:pt x="1749" y="657"/>
                  <a:pt x="1749" y="657"/>
                </a:cubicBezTo>
                <a:cubicBezTo>
                  <a:pt x="1746" y="658"/>
                  <a:pt x="1746" y="658"/>
                  <a:pt x="1746" y="658"/>
                </a:cubicBezTo>
                <a:cubicBezTo>
                  <a:pt x="1745" y="659"/>
                  <a:pt x="1745" y="659"/>
                  <a:pt x="1745" y="659"/>
                </a:cubicBezTo>
                <a:cubicBezTo>
                  <a:pt x="1743" y="658"/>
                  <a:pt x="1743" y="658"/>
                  <a:pt x="1743" y="658"/>
                </a:cubicBezTo>
                <a:cubicBezTo>
                  <a:pt x="1742" y="657"/>
                  <a:pt x="1742" y="657"/>
                  <a:pt x="1742" y="657"/>
                </a:cubicBezTo>
                <a:cubicBezTo>
                  <a:pt x="1741" y="657"/>
                  <a:pt x="1741" y="657"/>
                  <a:pt x="1741" y="657"/>
                </a:cubicBezTo>
                <a:cubicBezTo>
                  <a:pt x="1742" y="657"/>
                  <a:pt x="1742" y="657"/>
                  <a:pt x="1742" y="657"/>
                </a:cubicBezTo>
                <a:cubicBezTo>
                  <a:pt x="1741" y="655"/>
                  <a:pt x="1741" y="655"/>
                  <a:pt x="1741" y="655"/>
                </a:cubicBezTo>
                <a:cubicBezTo>
                  <a:pt x="1740" y="656"/>
                  <a:pt x="1740" y="656"/>
                  <a:pt x="1740" y="656"/>
                </a:cubicBezTo>
                <a:cubicBezTo>
                  <a:pt x="1740" y="656"/>
                  <a:pt x="1740" y="656"/>
                  <a:pt x="1740" y="656"/>
                </a:cubicBezTo>
                <a:cubicBezTo>
                  <a:pt x="1741" y="656"/>
                  <a:pt x="1741" y="656"/>
                  <a:pt x="1741" y="656"/>
                </a:cubicBezTo>
                <a:cubicBezTo>
                  <a:pt x="1740" y="657"/>
                  <a:pt x="1740" y="657"/>
                  <a:pt x="1740" y="657"/>
                </a:cubicBezTo>
                <a:cubicBezTo>
                  <a:pt x="1738" y="657"/>
                  <a:pt x="1738" y="657"/>
                  <a:pt x="1738" y="657"/>
                </a:cubicBezTo>
                <a:cubicBezTo>
                  <a:pt x="1738" y="656"/>
                  <a:pt x="1738" y="656"/>
                  <a:pt x="1738" y="656"/>
                </a:cubicBezTo>
                <a:cubicBezTo>
                  <a:pt x="1738" y="655"/>
                  <a:pt x="1738" y="655"/>
                  <a:pt x="1738" y="655"/>
                </a:cubicBezTo>
                <a:cubicBezTo>
                  <a:pt x="1737" y="656"/>
                  <a:pt x="1737" y="656"/>
                  <a:pt x="1737" y="656"/>
                </a:cubicBezTo>
                <a:cubicBezTo>
                  <a:pt x="1738" y="657"/>
                  <a:pt x="1738" y="657"/>
                  <a:pt x="1738" y="657"/>
                </a:cubicBezTo>
                <a:cubicBezTo>
                  <a:pt x="1737" y="658"/>
                  <a:pt x="1737" y="658"/>
                  <a:pt x="1737" y="658"/>
                </a:cubicBezTo>
                <a:lnTo>
                  <a:pt x="1736" y="656"/>
                </a:lnTo>
                <a:close/>
                <a:moveTo>
                  <a:pt x="1735" y="615"/>
                </a:moveTo>
                <a:cubicBezTo>
                  <a:pt x="1734" y="614"/>
                  <a:pt x="1734" y="614"/>
                  <a:pt x="1734" y="614"/>
                </a:cubicBezTo>
                <a:cubicBezTo>
                  <a:pt x="1733" y="613"/>
                  <a:pt x="1733" y="613"/>
                  <a:pt x="1733" y="613"/>
                </a:cubicBezTo>
                <a:cubicBezTo>
                  <a:pt x="1733" y="614"/>
                  <a:pt x="1733" y="614"/>
                  <a:pt x="1733" y="614"/>
                </a:cubicBezTo>
                <a:cubicBezTo>
                  <a:pt x="1734" y="616"/>
                  <a:pt x="1734" y="616"/>
                  <a:pt x="1734" y="616"/>
                </a:cubicBezTo>
                <a:lnTo>
                  <a:pt x="1735" y="615"/>
                </a:lnTo>
                <a:close/>
                <a:moveTo>
                  <a:pt x="1705" y="630"/>
                </a:moveTo>
                <a:cubicBezTo>
                  <a:pt x="1705" y="631"/>
                  <a:pt x="1705" y="631"/>
                  <a:pt x="1705" y="631"/>
                </a:cubicBezTo>
                <a:cubicBezTo>
                  <a:pt x="1706" y="632"/>
                  <a:pt x="1706" y="632"/>
                  <a:pt x="1706" y="632"/>
                </a:cubicBezTo>
                <a:cubicBezTo>
                  <a:pt x="1707" y="633"/>
                  <a:pt x="1707" y="633"/>
                  <a:pt x="1707" y="633"/>
                </a:cubicBezTo>
                <a:cubicBezTo>
                  <a:pt x="1708" y="632"/>
                  <a:pt x="1708" y="632"/>
                  <a:pt x="1708" y="632"/>
                </a:cubicBezTo>
                <a:cubicBezTo>
                  <a:pt x="1709" y="632"/>
                  <a:pt x="1709" y="632"/>
                  <a:pt x="1709" y="632"/>
                </a:cubicBezTo>
                <a:cubicBezTo>
                  <a:pt x="1708" y="631"/>
                  <a:pt x="1708" y="631"/>
                  <a:pt x="1708" y="631"/>
                </a:cubicBezTo>
                <a:cubicBezTo>
                  <a:pt x="1707" y="630"/>
                  <a:pt x="1707" y="630"/>
                  <a:pt x="1707" y="630"/>
                </a:cubicBezTo>
                <a:cubicBezTo>
                  <a:pt x="1706" y="630"/>
                  <a:pt x="1706" y="630"/>
                  <a:pt x="1706" y="630"/>
                </a:cubicBezTo>
                <a:lnTo>
                  <a:pt x="1705" y="630"/>
                </a:lnTo>
                <a:close/>
                <a:moveTo>
                  <a:pt x="1729" y="645"/>
                </a:moveTo>
                <a:cubicBezTo>
                  <a:pt x="1729" y="646"/>
                  <a:pt x="1729" y="646"/>
                  <a:pt x="1729" y="646"/>
                </a:cubicBezTo>
                <a:cubicBezTo>
                  <a:pt x="1729" y="646"/>
                  <a:pt x="1729" y="646"/>
                  <a:pt x="1729" y="646"/>
                </a:cubicBezTo>
                <a:lnTo>
                  <a:pt x="1729" y="645"/>
                </a:lnTo>
                <a:close/>
                <a:moveTo>
                  <a:pt x="1729" y="649"/>
                </a:moveTo>
                <a:cubicBezTo>
                  <a:pt x="1729" y="650"/>
                  <a:pt x="1729" y="650"/>
                  <a:pt x="1729" y="650"/>
                </a:cubicBezTo>
                <a:cubicBezTo>
                  <a:pt x="1730" y="651"/>
                  <a:pt x="1730" y="651"/>
                  <a:pt x="1730" y="651"/>
                </a:cubicBezTo>
                <a:cubicBezTo>
                  <a:pt x="1731" y="649"/>
                  <a:pt x="1731" y="649"/>
                  <a:pt x="1731" y="649"/>
                </a:cubicBezTo>
                <a:cubicBezTo>
                  <a:pt x="1730" y="648"/>
                  <a:pt x="1730" y="648"/>
                  <a:pt x="1730" y="648"/>
                </a:cubicBezTo>
                <a:cubicBezTo>
                  <a:pt x="1729" y="647"/>
                  <a:pt x="1729" y="647"/>
                  <a:pt x="1729" y="647"/>
                </a:cubicBezTo>
                <a:cubicBezTo>
                  <a:pt x="1729" y="647"/>
                  <a:pt x="1729" y="647"/>
                  <a:pt x="1729" y="647"/>
                </a:cubicBezTo>
                <a:cubicBezTo>
                  <a:pt x="1728" y="648"/>
                  <a:pt x="1728" y="648"/>
                  <a:pt x="1728" y="648"/>
                </a:cubicBezTo>
                <a:lnTo>
                  <a:pt x="1729" y="649"/>
                </a:lnTo>
                <a:close/>
                <a:moveTo>
                  <a:pt x="1731" y="613"/>
                </a:moveTo>
                <a:cubicBezTo>
                  <a:pt x="1731" y="614"/>
                  <a:pt x="1731" y="614"/>
                  <a:pt x="1731" y="614"/>
                </a:cubicBezTo>
                <a:cubicBezTo>
                  <a:pt x="1731" y="615"/>
                  <a:pt x="1731" y="615"/>
                  <a:pt x="1731" y="615"/>
                </a:cubicBezTo>
                <a:cubicBezTo>
                  <a:pt x="1732" y="614"/>
                  <a:pt x="1732" y="614"/>
                  <a:pt x="1732" y="614"/>
                </a:cubicBezTo>
                <a:lnTo>
                  <a:pt x="1731" y="613"/>
                </a:lnTo>
                <a:close/>
                <a:moveTo>
                  <a:pt x="1753" y="641"/>
                </a:moveTo>
                <a:cubicBezTo>
                  <a:pt x="1754" y="641"/>
                  <a:pt x="1754" y="641"/>
                  <a:pt x="1754" y="641"/>
                </a:cubicBezTo>
                <a:cubicBezTo>
                  <a:pt x="1755" y="639"/>
                  <a:pt x="1755" y="639"/>
                  <a:pt x="1755" y="639"/>
                </a:cubicBezTo>
                <a:cubicBezTo>
                  <a:pt x="1755" y="638"/>
                  <a:pt x="1755" y="638"/>
                  <a:pt x="1755" y="638"/>
                </a:cubicBezTo>
                <a:cubicBezTo>
                  <a:pt x="1754" y="638"/>
                  <a:pt x="1754" y="638"/>
                  <a:pt x="1754" y="638"/>
                </a:cubicBezTo>
                <a:cubicBezTo>
                  <a:pt x="1752" y="639"/>
                  <a:pt x="1752" y="639"/>
                  <a:pt x="1752" y="639"/>
                </a:cubicBezTo>
                <a:lnTo>
                  <a:pt x="1753" y="641"/>
                </a:lnTo>
                <a:close/>
                <a:moveTo>
                  <a:pt x="1752" y="636"/>
                </a:moveTo>
                <a:cubicBezTo>
                  <a:pt x="1753" y="636"/>
                  <a:pt x="1753" y="636"/>
                  <a:pt x="1753" y="636"/>
                </a:cubicBezTo>
                <a:cubicBezTo>
                  <a:pt x="1752" y="635"/>
                  <a:pt x="1752" y="635"/>
                  <a:pt x="1752" y="635"/>
                </a:cubicBezTo>
                <a:lnTo>
                  <a:pt x="1752" y="636"/>
                </a:lnTo>
                <a:close/>
                <a:moveTo>
                  <a:pt x="1761" y="611"/>
                </a:moveTo>
                <a:cubicBezTo>
                  <a:pt x="1759" y="611"/>
                  <a:pt x="1759" y="611"/>
                  <a:pt x="1759" y="611"/>
                </a:cubicBezTo>
                <a:cubicBezTo>
                  <a:pt x="1758" y="612"/>
                  <a:pt x="1758" y="612"/>
                  <a:pt x="1758" y="612"/>
                </a:cubicBezTo>
                <a:cubicBezTo>
                  <a:pt x="1755" y="612"/>
                  <a:pt x="1755" y="612"/>
                  <a:pt x="1755" y="612"/>
                </a:cubicBezTo>
                <a:cubicBezTo>
                  <a:pt x="1755" y="614"/>
                  <a:pt x="1755" y="614"/>
                  <a:pt x="1755" y="614"/>
                </a:cubicBezTo>
                <a:cubicBezTo>
                  <a:pt x="1756" y="615"/>
                  <a:pt x="1756" y="615"/>
                  <a:pt x="1756" y="615"/>
                </a:cubicBezTo>
                <a:cubicBezTo>
                  <a:pt x="1757" y="615"/>
                  <a:pt x="1757" y="615"/>
                  <a:pt x="1757" y="615"/>
                </a:cubicBezTo>
                <a:cubicBezTo>
                  <a:pt x="1758" y="615"/>
                  <a:pt x="1758" y="615"/>
                  <a:pt x="1758" y="615"/>
                </a:cubicBezTo>
                <a:cubicBezTo>
                  <a:pt x="1758" y="614"/>
                  <a:pt x="1758" y="614"/>
                  <a:pt x="1758" y="614"/>
                </a:cubicBezTo>
                <a:cubicBezTo>
                  <a:pt x="1758" y="613"/>
                  <a:pt x="1758" y="613"/>
                  <a:pt x="1758" y="613"/>
                </a:cubicBezTo>
                <a:cubicBezTo>
                  <a:pt x="1760" y="613"/>
                  <a:pt x="1760" y="613"/>
                  <a:pt x="1760" y="613"/>
                </a:cubicBezTo>
                <a:cubicBezTo>
                  <a:pt x="1760" y="614"/>
                  <a:pt x="1760" y="614"/>
                  <a:pt x="1760" y="614"/>
                </a:cubicBezTo>
                <a:cubicBezTo>
                  <a:pt x="1759" y="615"/>
                  <a:pt x="1759" y="615"/>
                  <a:pt x="1759" y="615"/>
                </a:cubicBezTo>
                <a:cubicBezTo>
                  <a:pt x="1758" y="615"/>
                  <a:pt x="1758" y="615"/>
                  <a:pt x="1758" y="615"/>
                </a:cubicBezTo>
                <a:cubicBezTo>
                  <a:pt x="1760" y="616"/>
                  <a:pt x="1760" y="616"/>
                  <a:pt x="1760" y="616"/>
                </a:cubicBezTo>
                <a:cubicBezTo>
                  <a:pt x="1762" y="616"/>
                  <a:pt x="1762" y="616"/>
                  <a:pt x="1762" y="616"/>
                </a:cubicBezTo>
                <a:cubicBezTo>
                  <a:pt x="1762" y="614"/>
                  <a:pt x="1762" y="614"/>
                  <a:pt x="1762" y="614"/>
                </a:cubicBezTo>
                <a:cubicBezTo>
                  <a:pt x="1761" y="612"/>
                  <a:pt x="1761" y="612"/>
                  <a:pt x="1761" y="612"/>
                </a:cubicBezTo>
                <a:cubicBezTo>
                  <a:pt x="1761" y="612"/>
                  <a:pt x="1761" y="612"/>
                  <a:pt x="1761" y="612"/>
                </a:cubicBezTo>
                <a:cubicBezTo>
                  <a:pt x="1761" y="611"/>
                  <a:pt x="1761" y="611"/>
                  <a:pt x="1761" y="611"/>
                </a:cubicBezTo>
                <a:close/>
                <a:moveTo>
                  <a:pt x="1754" y="599"/>
                </a:moveTo>
                <a:cubicBezTo>
                  <a:pt x="1753" y="599"/>
                  <a:pt x="1753" y="599"/>
                  <a:pt x="1753" y="599"/>
                </a:cubicBezTo>
                <a:cubicBezTo>
                  <a:pt x="1752" y="600"/>
                  <a:pt x="1752" y="600"/>
                  <a:pt x="1752" y="600"/>
                </a:cubicBezTo>
                <a:cubicBezTo>
                  <a:pt x="1754" y="600"/>
                  <a:pt x="1754" y="600"/>
                  <a:pt x="1754" y="600"/>
                </a:cubicBezTo>
                <a:cubicBezTo>
                  <a:pt x="1756" y="600"/>
                  <a:pt x="1756" y="600"/>
                  <a:pt x="1756" y="600"/>
                </a:cubicBezTo>
                <a:cubicBezTo>
                  <a:pt x="1756" y="599"/>
                  <a:pt x="1756" y="599"/>
                  <a:pt x="1756" y="599"/>
                </a:cubicBezTo>
                <a:cubicBezTo>
                  <a:pt x="1755" y="598"/>
                  <a:pt x="1755" y="598"/>
                  <a:pt x="1755" y="598"/>
                </a:cubicBezTo>
                <a:lnTo>
                  <a:pt x="1754" y="599"/>
                </a:lnTo>
                <a:close/>
                <a:moveTo>
                  <a:pt x="1760" y="634"/>
                </a:moveTo>
                <a:cubicBezTo>
                  <a:pt x="1760" y="633"/>
                  <a:pt x="1760" y="633"/>
                  <a:pt x="1760" y="633"/>
                </a:cubicBezTo>
                <a:cubicBezTo>
                  <a:pt x="1758" y="633"/>
                  <a:pt x="1758" y="633"/>
                  <a:pt x="1758" y="633"/>
                </a:cubicBezTo>
                <a:cubicBezTo>
                  <a:pt x="1758" y="634"/>
                  <a:pt x="1758" y="634"/>
                  <a:pt x="1758" y="634"/>
                </a:cubicBezTo>
                <a:cubicBezTo>
                  <a:pt x="1759" y="635"/>
                  <a:pt x="1759" y="635"/>
                  <a:pt x="1759" y="635"/>
                </a:cubicBezTo>
                <a:lnTo>
                  <a:pt x="1760" y="634"/>
                </a:lnTo>
                <a:close/>
                <a:moveTo>
                  <a:pt x="1753" y="596"/>
                </a:moveTo>
                <a:cubicBezTo>
                  <a:pt x="1751" y="596"/>
                  <a:pt x="1751" y="596"/>
                  <a:pt x="1751" y="596"/>
                </a:cubicBezTo>
                <a:cubicBezTo>
                  <a:pt x="1751" y="597"/>
                  <a:pt x="1751" y="597"/>
                  <a:pt x="1751" y="597"/>
                </a:cubicBezTo>
                <a:cubicBezTo>
                  <a:pt x="1753" y="597"/>
                  <a:pt x="1753" y="597"/>
                  <a:pt x="1753" y="597"/>
                </a:cubicBezTo>
                <a:cubicBezTo>
                  <a:pt x="1754" y="597"/>
                  <a:pt x="1754" y="597"/>
                  <a:pt x="1754" y="597"/>
                </a:cubicBezTo>
                <a:cubicBezTo>
                  <a:pt x="1754" y="596"/>
                  <a:pt x="1754" y="596"/>
                  <a:pt x="1754" y="596"/>
                </a:cubicBezTo>
                <a:lnTo>
                  <a:pt x="1753" y="596"/>
                </a:lnTo>
                <a:close/>
                <a:moveTo>
                  <a:pt x="1756" y="625"/>
                </a:moveTo>
                <a:cubicBezTo>
                  <a:pt x="1757" y="626"/>
                  <a:pt x="1757" y="626"/>
                  <a:pt x="1757" y="626"/>
                </a:cubicBezTo>
                <a:cubicBezTo>
                  <a:pt x="1759" y="625"/>
                  <a:pt x="1759" y="625"/>
                  <a:pt x="1759" y="625"/>
                </a:cubicBezTo>
                <a:cubicBezTo>
                  <a:pt x="1759" y="623"/>
                  <a:pt x="1759" y="623"/>
                  <a:pt x="1759" y="623"/>
                </a:cubicBezTo>
                <a:cubicBezTo>
                  <a:pt x="1759" y="621"/>
                  <a:pt x="1759" y="621"/>
                  <a:pt x="1759" y="621"/>
                </a:cubicBezTo>
                <a:cubicBezTo>
                  <a:pt x="1758" y="621"/>
                  <a:pt x="1758" y="621"/>
                  <a:pt x="1758" y="621"/>
                </a:cubicBezTo>
                <a:cubicBezTo>
                  <a:pt x="1757" y="620"/>
                  <a:pt x="1757" y="620"/>
                  <a:pt x="1757" y="620"/>
                </a:cubicBezTo>
                <a:cubicBezTo>
                  <a:pt x="1756" y="621"/>
                  <a:pt x="1756" y="621"/>
                  <a:pt x="1756" y="621"/>
                </a:cubicBezTo>
                <a:cubicBezTo>
                  <a:pt x="1756" y="621"/>
                  <a:pt x="1756" y="621"/>
                  <a:pt x="1756" y="621"/>
                </a:cubicBezTo>
                <a:cubicBezTo>
                  <a:pt x="1757" y="622"/>
                  <a:pt x="1757" y="622"/>
                  <a:pt x="1757" y="622"/>
                </a:cubicBezTo>
                <a:cubicBezTo>
                  <a:pt x="1757" y="624"/>
                  <a:pt x="1757" y="624"/>
                  <a:pt x="1757" y="624"/>
                </a:cubicBezTo>
                <a:cubicBezTo>
                  <a:pt x="1756" y="624"/>
                  <a:pt x="1756" y="624"/>
                  <a:pt x="1756" y="624"/>
                </a:cubicBezTo>
                <a:lnTo>
                  <a:pt x="1756" y="625"/>
                </a:lnTo>
                <a:close/>
                <a:moveTo>
                  <a:pt x="1584" y="590"/>
                </a:moveTo>
                <a:cubicBezTo>
                  <a:pt x="1584" y="589"/>
                  <a:pt x="1584" y="589"/>
                  <a:pt x="1584" y="589"/>
                </a:cubicBezTo>
                <a:cubicBezTo>
                  <a:pt x="1585" y="588"/>
                  <a:pt x="1585" y="588"/>
                  <a:pt x="1585" y="588"/>
                </a:cubicBezTo>
                <a:cubicBezTo>
                  <a:pt x="1584" y="588"/>
                  <a:pt x="1584" y="588"/>
                  <a:pt x="1584" y="588"/>
                </a:cubicBezTo>
                <a:cubicBezTo>
                  <a:pt x="1584" y="589"/>
                  <a:pt x="1584" y="589"/>
                  <a:pt x="1584" y="589"/>
                </a:cubicBezTo>
                <a:cubicBezTo>
                  <a:pt x="1583" y="589"/>
                  <a:pt x="1583" y="589"/>
                  <a:pt x="1583" y="589"/>
                </a:cubicBezTo>
                <a:cubicBezTo>
                  <a:pt x="1583" y="590"/>
                  <a:pt x="1583" y="590"/>
                  <a:pt x="1583" y="590"/>
                </a:cubicBezTo>
                <a:lnTo>
                  <a:pt x="1584" y="590"/>
                </a:lnTo>
                <a:close/>
                <a:moveTo>
                  <a:pt x="1585" y="575"/>
                </a:moveTo>
                <a:cubicBezTo>
                  <a:pt x="1586" y="577"/>
                  <a:pt x="1586" y="577"/>
                  <a:pt x="1586" y="577"/>
                </a:cubicBezTo>
                <a:cubicBezTo>
                  <a:pt x="1587" y="578"/>
                  <a:pt x="1587" y="578"/>
                  <a:pt x="1587" y="578"/>
                </a:cubicBezTo>
                <a:cubicBezTo>
                  <a:pt x="1587" y="578"/>
                  <a:pt x="1587" y="578"/>
                  <a:pt x="1587" y="578"/>
                </a:cubicBezTo>
                <a:cubicBezTo>
                  <a:pt x="1587" y="579"/>
                  <a:pt x="1587" y="579"/>
                  <a:pt x="1587" y="579"/>
                </a:cubicBezTo>
                <a:cubicBezTo>
                  <a:pt x="1587" y="580"/>
                  <a:pt x="1587" y="580"/>
                  <a:pt x="1587" y="580"/>
                </a:cubicBezTo>
                <a:cubicBezTo>
                  <a:pt x="1589" y="581"/>
                  <a:pt x="1589" y="581"/>
                  <a:pt x="1589" y="581"/>
                </a:cubicBezTo>
                <a:cubicBezTo>
                  <a:pt x="1588" y="582"/>
                  <a:pt x="1588" y="582"/>
                  <a:pt x="1588" y="582"/>
                </a:cubicBezTo>
                <a:cubicBezTo>
                  <a:pt x="1589" y="582"/>
                  <a:pt x="1589" y="582"/>
                  <a:pt x="1589" y="582"/>
                </a:cubicBezTo>
                <a:cubicBezTo>
                  <a:pt x="1590" y="583"/>
                  <a:pt x="1590" y="583"/>
                  <a:pt x="1590" y="583"/>
                </a:cubicBezTo>
                <a:cubicBezTo>
                  <a:pt x="1589" y="583"/>
                  <a:pt x="1589" y="583"/>
                  <a:pt x="1589" y="583"/>
                </a:cubicBezTo>
                <a:cubicBezTo>
                  <a:pt x="1588" y="584"/>
                  <a:pt x="1588" y="584"/>
                  <a:pt x="1588" y="584"/>
                </a:cubicBezTo>
                <a:cubicBezTo>
                  <a:pt x="1589" y="585"/>
                  <a:pt x="1589" y="585"/>
                  <a:pt x="1589" y="585"/>
                </a:cubicBezTo>
                <a:cubicBezTo>
                  <a:pt x="1592" y="586"/>
                  <a:pt x="1592" y="586"/>
                  <a:pt x="1592" y="586"/>
                </a:cubicBezTo>
                <a:cubicBezTo>
                  <a:pt x="1594" y="585"/>
                  <a:pt x="1594" y="585"/>
                  <a:pt x="1594" y="585"/>
                </a:cubicBezTo>
                <a:cubicBezTo>
                  <a:pt x="1595" y="582"/>
                  <a:pt x="1595" y="582"/>
                  <a:pt x="1595" y="582"/>
                </a:cubicBezTo>
                <a:cubicBezTo>
                  <a:pt x="1595" y="579"/>
                  <a:pt x="1595" y="579"/>
                  <a:pt x="1595" y="579"/>
                </a:cubicBezTo>
                <a:cubicBezTo>
                  <a:pt x="1596" y="575"/>
                  <a:pt x="1596" y="575"/>
                  <a:pt x="1596" y="575"/>
                </a:cubicBezTo>
                <a:cubicBezTo>
                  <a:pt x="1595" y="571"/>
                  <a:pt x="1595" y="571"/>
                  <a:pt x="1595" y="571"/>
                </a:cubicBezTo>
                <a:cubicBezTo>
                  <a:pt x="1595" y="568"/>
                  <a:pt x="1595" y="568"/>
                  <a:pt x="1595" y="568"/>
                </a:cubicBezTo>
                <a:cubicBezTo>
                  <a:pt x="1595" y="565"/>
                  <a:pt x="1595" y="565"/>
                  <a:pt x="1595" y="565"/>
                </a:cubicBezTo>
                <a:cubicBezTo>
                  <a:pt x="1594" y="565"/>
                  <a:pt x="1594" y="565"/>
                  <a:pt x="1594" y="565"/>
                </a:cubicBezTo>
                <a:cubicBezTo>
                  <a:pt x="1593" y="567"/>
                  <a:pt x="1593" y="567"/>
                  <a:pt x="1593" y="567"/>
                </a:cubicBezTo>
                <a:cubicBezTo>
                  <a:pt x="1594" y="568"/>
                  <a:pt x="1594" y="568"/>
                  <a:pt x="1594" y="568"/>
                </a:cubicBezTo>
                <a:cubicBezTo>
                  <a:pt x="1594" y="570"/>
                  <a:pt x="1594" y="570"/>
                  <a:pt x="1594" y="570"/>
                </a:cubicBezTo>
                <a:cubicBezTo>
                  <a:pt x="1593" y="570"/>
                  <a:pt x="1593" y="570"/>
                  <a:pt x="1593" y="570"/>
                </a:cubicBezTo>
                <a:cubicBezTo>
                  <a:pt x="1592" y="569"/>
                  <a:pt x="1592" y="569"/>
                  <a:pt x="1592" y="569"/>
                </a:cubicBezTo>
                <a:cubicBezTo>
                  <a:pt x="1590" y="570"/>
                  <a:pt x="1590" y="570"/>
                  <a:pt x="1590" y="570"/>
                </a:cubicBezTo>
                <a:cubicBezTo>
                  <a:pt x="1587" y="571"/>
                  <a:pt x="1587" y="571"/>
                  <a:pt x="1587" y="571"/>
                </a:cubicBezTo>
                <a:cubicBezTo>
                  <a:pt x="1586" y="573"/>
                  <a:pt x="1586" y="573"/>
                  <a:pt x="1586" y="573"/>
                </a:cubicBezTo>
                <a:cubicBezTo>
                  <a:pt x="1587" y="575"/>
                  <a:pt x="1587" y="575"/>
                  <a:pt x="1587" y="575"/>
                </a:cubicBezTo>
                <a:cubicBezTo>
                  <a:pt x="1587" y="575"/>
                  <a:pt x="1587" y="575"/>
                  <a:pt x="1587" y="575"/>
                </a:cubicBezTo>
                <a:lnTo>
                  <a:pt x="1585" y="575"/>
                </a:lnTo>
                <a:close/>
                <a:moveTo>
                  <a:pt x="1585" y="597"/>
                </a:moveTo>
                <a:cubicBezTo>
                  <a:pt x="1585" y="598"/>
                  <a:pt x="1585" y="598"/>
                  <a:pt x="1585" y="598"/>
                </a:cubicBezTo>
                <a:cubicBezTo>
                  <a:pt x="1586" y="600"/>
                  <a:pt x="1586" y="600"/>
                  <a:pt x="1586" y="600"/>
                </a:cubicBezTo>
                <a:cubicBezTo>
                  <a:pt x="1586" y="602"/>
                  <a:pt x="1586" y="602"/>
                  <a:pt x="1586" y="602"/>
                </a:cubicBezTo>
                <a:cubicBezTo>
                  <a:pt x="1585" y="603"/>
                  <a:pt x="1585" y="603"/>
                  <a:pt x="1585" y="603"/>
                </a:cubicBezTo>
                <a:cubicBezTo>
                  <a:pt x="1585" y="605"/>
                  <a:pt x="1585" y="605"/>
                  <a:pt x="1585" y="605"/>
                </a:cubicBezTo>
                <a:cubicBezTo>
                  <a:pt x="1587" y="605"/>
                  <a:pt x="1587" y="605"/>
                  <a:pt x="1587" y="605"/>
                </a:cubicBezTo>
                <a:cubicBezTo>
                  <a:pt x="1587" y="606"/>
                  <a:pt x="1587" y="606"/>
                  <a:pt x="1587" y="606"/>
                </a:cubicBezTo>
                <a:cubicBezTo>
                  <a:pt x="1586" y="607"/>
                  <a:pt x="1586" y="607"/>
                  <a:pt x="1586" y="607"/>
                </a:cubicBezTo>
                <a:cubicBezTo>
                  <a:pt x="1585" y="611"/>
                  <a:pt x="1585" y="611"/>
                  <a:pt x="1585" y="611"/>
                </a:cubicBezTo>
                <a:cubicBezTo>
                  <a:pt x="1586" y="612"/>
                  <a:pt x="1586" y="612"/>
                  <a:pt x="1586" y="612"/>
                </a:cubicBezTo>
                <a:cubicBezTo>
                  <a:pt x="1587" y="616"/>
                  <a:pt x="1587" y="616"/>
                  <a:pt x="1587" y="616"/>
                </a:cubicBezTo>
                <a:cubicBezTo>
                  <a:pt x="1589" y="618"/>
                  <a:pt x="1589" y="618"/>
                  <a:pt x="1589" y="618"/>
                </a:cubicBezTo>
                <a:cubicBezTo>
                  <a:pt x="1589" y="617"/>
                  <a:pt x="1589" y="617"/>
                  <a:pt x="1589" y="617"/>
                </a:cubicBezTo>
                <a:cubicBezTo>
                  <a:pt x="1590" y="618"/>
                  <a:pt x="1590" y="618"/>
                  <a:pt x="1590" y="618"/>
                </a:cubicBezTo>
                <a:cubicBezTo>
                  <a:pt x="1592" y="617"/>
                  <a:pt x="1592" y="617"/>
                  <a:pt x="1592" y="617"/>
                </a:cubicBezTo>
                <a:cubicBezTo>
                  <a:pt x="1592" y="615"/>
                  <a:pt x="1592" y="615"/>
                  <a:pt x="1592" y="615"/>
                </a:cubicBezTo>
                <a:cubicBezTo>
                  <a:pt x="1593" y="613"/>
                  <a:pt x="1593" y="613"/>
                  <a:pt x="1593" y="613"/>
                </a:cubicBezTo>
                <a:cubicBezTo>
                  <a:pt x="1595" y="614"/>
                  <a:pt x="1595" y="614"/>
                  <a:pt x="1595" y="614"/>
                </a:cubicBezTo>
                <a:cubicBezTo>
                  <a:pt x="1596" y="615"/>
                  <a:pt x="1596" y="615"/>
                  <a:pt x="1596" y="615"/>
                </a:cubicBezTo>
                <a:cubicBezTo>
                  <a:pt x="1597" y="615"/>
                  <a:pt x="1597" y="615"/>
                  <a:pt x="1597" y="615"/>
                </a:cubicBezTo>
                <a:cubicBezTo>
                  <a:pt x="1598" y="613"/>
                  <a:pt x="1598" y="613"/>
                  <a:pt x="1598" y="613"/>
                </a:cubicBezTo>
                <a:cubicBezTo>
                  <a:pt x="1598" y="610"/>
                  <a:pt x="1598" y="610"/>
                  <a:pt x="1598" y="610"/>
                </a:cubicBezTo>
                <a:cubicBezTo>
                  <a:pt x="1598" y="608"/>
                  <a:pt x="1598" y="608"/>
                  <a:pt x="1598" y="608"/>
                </a:cubicBezTo>
                <a:cubicBezTo>
                  <a:pt x="1598" y="604"/>
                  <a:pt x="1598" y="604"/>
                  <a:pt x="1598" y="604"/>
                </a:cubicBezTo>
                <a:cubicBezTo>
                  <a:pt x="1598" y="601"/>
                  <a:pt x="1598" y="601"/>
                  <a:pt x="1598" y="601"/>
                </a:cubicBezTo>
                <a:cubicBezTo>
                  <a:pt x="1596" y="598"/>
                  <a:pt x="1596" y="598"/>
                  <a:pt x="1596" y="598"/>
                </a:cubicBezTo>
                <a:cubicBezTo>
                  <a:pt x="1598" y="597"/>
                  <a:pt x="1598" y="597"/>
                  <a:pt x="1598" y="597"/>
                </a:cubicBezTo>
                <a:cubicBezTo>
                  <a:pt x="1598" y="595"/>
                  <a:pt x="1598" y="595"/>
                  <a:pt x="1598" y="595"/>
                </a:cubicBezTo>
                <a:cubicBezTo>
                  <a:pt x="1598" y="593"/>
                  <a:pt x="1598" y="593"/>
                  <a:pt x="1598" y="593"/>
                </a:cubicBezTo>
                <a:cubicBezTo>
                  <a:pt x="1597" y="592"/>
                  <a:pt x="1597" y="592"/>
                  <a:pt x="1597" y="592"/>
                </a:cubicBezTo>
                <a:cubicBezTo>
                  <a:pt x="1595" y="589"/>
                  <a:pt x="1595" y="589"/>
                  <a:pt x="1595" y="589"/>
                </a:cubicBezTo>
                <a:cubicBezTo>
                  <a:pt x="1594" y="590"/>
                  <a:pt x="1594" y="590"/>
                  <a:pt x="1594" y="590"/>
                </a:cubicBezTo>
                <a:cubicBezTo>
                  <a:pt x="1593" y="588"/>
                  <a:pt x="1593" y="588"/>
                  <a:pt x="1593" y="588"/>
                </a:cubicBezTo>
                <a:cubicBezTo>
                  <a:pt x="1591" y="588"/>
                  <a:pt x="1591" y="588"/>
                  <a:pt x="1591" y="588"/>
                </a:cubicBezTo>
                <a:cubicBezTo>
                  <a:pt x="1587" y="593"/>
                  <a:pt x="1587" y="593"/>
                  <a:pt x="1587" y="593"/>
                </a:cubicBezTo>
                <a:cubicBezTo>
                  <a:pt x="1586" y="593"/>
                  <a:pt x="1586" y="593"/>
                  <a:pt x="1586" y="593"/>
                </a:cubicBezTo>
                <a:cubicBezTo>
                  <a:pt x="1583" y="592"/>
                  <a:pt x="1583" y="592"/>
                  <a:pt x="1583" y="592"/>
                </a:cubicBezTo>
                <a:cubicBezTo>
                  <a:pt x="1583" y="594"/>
                  <a:pt x="1583" y="594"/>
                  <a:pt x="1583" y="594"/>
                </a:cubicBezTo>
                <a:cubicBezTo>
                  <a:pt x="1583" y="595"/>
                  <a:pt x="1583" y="595"/>
                  <a:pt x="1583" y="595"/>
                </a:cubicBezTo>
                <a:lnTo>
                  <a:pt x="1585" y="597"/>
                </a:lnTo>
                <a:close/>
                <a:moveTo>
                  <a:pt x="1448" y="367"/>
                </a:moveTo>
                <a:cubicBezTo>
                  <a:pt x="1447" y="368"/>
                  <a:pt x="1447" y="368"/>
                  <a:pt x="1447" y="368"/>
                </a:cubicBezTo>
                <a:cubicBezTo>
                  <a:pt x="1446" y="369"/>
                  <a:pt x="1446" y="369"/>
                  <a:pt x="1446" y="369"/>
                </a:cubicBezTo>
                <a:cubicBezTo>
                  <a:pt x="1446" y="369"/>
                  <a:pt x="1446" y="369"/>
                  <a:pt x="1446" y="369"/>
                </a:cubicBezTo>
                <a:cubicBezTo>
                  <a:pt x="1447" y="370"/>
                  <a:pt x="1447" y="370"/>
                  <a:pt x="1447" y="370"/>
                </a:cubicBezTo>
                <a:cubicBezTo>
                  <a:pt x="1449" y="368"/>
                  <a:pt x="1449" y="368"/>
                  <a:pt x="1449" y="368"/>
                </a:cubicBezTo>
                <a:lnTo>
                  <a:pt x="1448" y="367"/>
                </a:lnTo>
                <a:close/>
                <a:moveTo>
                  <a:pt x="1605" y="569"/>
                </a:moveTo>
                <a:cubicBezTo>
                  <a:pt x="1605" y="568"/>
                  <a:pt x="1605" y="568"/>
                  <a:pt x="1605" y="568"/>
                </a:cubicBezTo>
                <a:cubicBezTo>
                  <a:pt x="1604" y="567"/>
                  <a:pt x="1604" y="567"/>
                  <a:pt x="1604" y="567"/>
                </a:cubicBezTo>
                <a:cubicBezTo>
                  <a:pt x="1603" y="567"/>
                  <a:pt x="1603" y="567"/>
                  <a:pt x="1603" y="567"/>
                </a:cubicBezTo>
                <a:cubicBezTo>
                  <a:pt x="1601" y="568"/>
                  <a:pt x="1601" y="568"/>
                  <a:pt x="1601" y="568"/>
                </a:cubicBezTo>
                <a:cubicBezTo>
                  <a:pt x="1600" y="569"/>
                  <a:pt x="1600" y="569"/>
                  <a:pt x="1600" y="569"/>
                </a:cubicBezTo>
                <a:cubicBezTo>
                  <a:pt x="1601" y="569"/>
                  <a:pt x="1601" y="569"/>
                  <a:pt x="1601" y="569"/>
                </a:cubicBezTo>
                <a:cubicBezTo>
                  <a:pt x="1603" y="569"/>
                  <a:pt x="1603" y="569"/>
                  <a:pt x="1603" y="569"/>
                </a:cubicBezTo>
                <a:lnTo>
                  <a:pt x="1605" y="569"/>
                </a:lnTo>
                <a:close/>
                <a:moveTo>
                  <a:pt x="1446" y="389"/>
                </a:moveTo>
                <a:cubicBezTo>
                  <a:pt x="1448" y="387"/>
                  <a:pt x="1448" y="387"/>
                  <a:pt x="1448" y="387"/>
                </a:cubicBezTo>
                <a:cubicBezTo>
                  <a:pt x="1446" y="387"/>
                  <a:pt x="1446" y="387"/>
                  <a:pt x="1446" y="387"/>
                </a:cubicBezTo>
                <a:lnTo>
                  <a:pt x="1446" y="389"/>
                </a:lnTo>
                <a:close/>
                <a:moveTo>
                  <a:pt x="1705" y="621"/>
                </a:moveTo>
                <a:cubicBezTo>
                  <a:pt x="1706" y="620"/>
                  <a:pt x="1706" y="620"/>
                  <a:pt x="1706" y="620"/>
                </a:cubicBezTo>
                <a:cubicBezTo>
                  <a:pt x="1706" y="618"/>
                  <a:pt x="1706" y="618"/>
                  <a:pt x="1706" y="618"/>
                </a:cubicBezTo>
                <a:cubicBezTo>
                  <a:pt x="1705" y="619"/>
                  <a:pt x="1705" y="619"/>
                  <a:pt x="1705" y="619"/>
                </a:cubicBezTo>
                <a:cubicBezTo>
                  <a:pt x="1704" y="620"/>
                  <a:pt x="1704" y="620"/>
                  <a:pt x="1704" y="620"/>
                </a:cubicBezTo>
                <a:cubicBezTo>
                  <a:pt x="1704" y="621"/>
                  <a:pt x="1704" y="621"/>
                  <a:pt x="1704" y="621"/>
                </a:cubicBezTo>
                <a:cubicBezTo>
                  <a:pt x="1705" y="621"/>
                  <a:pt x="1705" y="621"/>
                  <a:pt x="1705" y="621"/>
                </a:cubicBezTo>
                <a:close/>
                <a:moveTo>
                  <a:pt x="1696" y="606"/>
                </a:moveTo>
                <a:cubicBezTo>
                  <a:pt x="1694" y="607"/>
                  <a:pt x="1694" y="607"/>
                  <a:pt x="1694" y="607"/>
                </a:cubicBezTo>
                <a:cubicBezTo>
                  <a:pt x="1694" y="608"/>
                  <a:pt x="1694" y="608"/>
                  <a:pt x="1694" y="608"/>
                </a:cubicBezTo>
                <a:cubicBezTo>
                  <a:pt x="1695" y="608"/>
                  <a:pt x="1695" y="608"/>
                  <a:pt x="1695" y="608"/>
                </a:cubicBezTo>
                <a:cubicBezTo>
                  <a:pt x="1695" y="609"/>
                  <a:pt x="1695" y="609"/>
                  <a:pt x="1695" y="609"/>
                </a:cubicBezTo>
                <a:cubicBezTo>
                  <a:pt x="1697" y="611"/>
                  <a:pt x="1697" y="611"/>
                  <a:pt x="1697" y="611"/>
                </a:cubicBezTo>
                <a:cubicBezTo>
                  <a:pt x="1699" y="611"/>
                  <a:pt x="1699" y="611"/>
                  <a:pt x="1699" y="611"/>
                </a:cubicBezTo>
                <a:cubicBezTo>
                  <a:pt x="1699" y="611"/>
                  <a:pt x="1699" y="611"/>
                  <a:pt x="1699" y="611"/>
                </a:cubicBezTo>
                <a:cubicBezTo>
                  <a:pt x="1699" y="610"/>
                  <a:pt x="1699" y="610"/>
                  <a:pt x="1699" y="610"/>
                </a:cubicBezTo>
                <a:cubicBezTo>
                  <a:pt x="1697" y="610"/>
                  <a:pt x="1697" y="610"/>
                  <a:pt x="1697" y="610"/>
                </a:cubicBezTo>
                <a:cubicBezTo>
                  <a:pt x="1696" y="608"/>
                  <a:pt x="1696" y="608"/>
                  <a:pt x="1696" y="608"/>
                </a:cubicBezTo>
                <a:cubicBezTo>
                  <a:pt x="1696" y="606"/>
                  <a:pt x="1696" y="606"/>
                  <a:pt x="1696" y="606"/>
                </a:cubicBezTo>
                <a:close/>
                <a:moveTo>
                  <a:pt x="1702" y="624"/>
                </a:moveTo>
                <a:cubicBezTo>
                  <a:pt x="1702" y="626"/>
                  <a:pt x="1702" y="626"/>
                  <a:pt x="1702" y="626"/>
                </a:cubicBezTo>
                <a:cubicBezTo>
                  <a:pt x="1703" y="627"/>
                  <a:pt x="1703" y="627"/>
                  <a:pt x="1703" y="627"/>
                </a:cubicBezTo>
                <a:cubicBezTo>
                  <a:pt x="1704" y="627"/>
                  <a:pt x="1704" y="627"/>
                  <a:pt x="1704" y="627"/>
                </a:cubicBezTo>
                <a:cubicBezTo>
                  <a:pt x="1704" y="626"/>
                  <a:pt x="1704" y="626"/>
                  <a:pt x="1704" y="626"/>
                </a:cubicBezTo>
                <a:cubicBezTo>
                  <a:pt x="1704" y="626"/>
                  <a:pt x="1704" y="626"/>
                  <a:pt x="1704" y="626"/>
                </a:cubicBezTo>
                <a:cubicBezTo>
                  <a:pt x="1704" y="627"/>
                  <a:pt x="1704" y="627"/>
                  <a:pt x="1704" y="627"/>
                </a:cubicBezTo>
                <a:cubicBezTo>
                  <a:pt x="1706" y="628"/>
                  <a:pt x="1706" y="628"/>
                  <a:pt x="1706" y="628"/>
                </a:cubicBezTo>
                <a:cubicBezTo>
                  <a:pt x="1707" y="628"/>
                  <a:pt x="1707" y="628"/>
                  <a:pt x="1707" y="628"/>
                </a:cubicBezTo>
                <a:cubicBezTo>
                  <a:pt x="1707" y="627"/>
                  <a:pt x="1707" y="627"/>
                  <a:pt x="1707" y="627"/>
                </a:cubicBezTo>
                <a:cubicBezTo>
                  <a:pt x="1707" y="627"/>
                  <a:pt x="1707" y="627"/>
                  <a:pt x="1707" y="627"/>
                </a:cubicBezTo>
                <a:cubicBezTo>
                  <a:pt x="1707" y="626"/>
                  <a:pt x="1707" y="626"/>
                  <a:pt x="1707" y="626"/>
                </a:cubicBezTo>
                <a:cubicBezTo>
                  <a:pt x="1706" y="625"/>
                  <a:pt x="1706" y="625"/>
                  <a:pt x="1706" y="625"/>
                </a:cubicBezTo>
                <a:cubicBezTo>
                  <a:pt x="1706" y="624"/>
                  <a:pt x="1706" y="624"/>
                  <a:pt x="1706" y="624"/>
                </a:cubicBezTo>
                <a:cubicBezTo>
                  <a:pt x="1706" y="623"/>
                  <a:pt x="1706" y="623"/>
                  <a:pt x="1706" y="623"/>
                </a:cubicBezTo>
                <a:cubicBezTo>
                  <a:pt x="1704" y="622"/>
                  <a:pt x="1704" y="622"/>
                  <a:pt x="1704" y="622"/>
                </a:cubicBezTo>
                <a:cubicBezTo>
                  <a:pt x="1704" y="624"/>
                  <a:pt x="1704" y="624"/>
                  <a:pt x="1704" y="624"/>
                </a:cubicBezTo>
                <a:cubicBezTo>
                  <a:pt x="1704" y="624"/>
                  <a:pt x="1704" y="624"/>
                  <a:pt x="1704" y="624"/>
                </a:cubicBezTo>
                <a:lnTo>
                  <a:pt x="1702" y="624"/>
                </a:lnTo>
                <a:close/>
                <a:moveTo>
                  <a:pt x="1609" y="574"/>
                </a:moveTo>
                <a:cubicBezTo>
                  <a:pt x="1610" y="574"/>
                  <a:pt x="1610" y="574"/>
                  <a:pt x="1610" y="574"/>
                </a:cubicBezTo>
                <a:cubicBezTo>
                  <a:pt x="1610" y="574"/>
                  <a:pt x="1610" y="574"/>
                  <a:pt x="1610" y="574"/>
                </a:cubicBezTo>
                <a:lnTo>
                  <a:pt x="1609" y="574"/>
                </a:lnTo>
                <a:close/>
                <a:moveTo>
                  <a:pt x="1645" y="549"/>
                </a:moveTo>
                <a:cubicBezTo>
                  <a:pt x="1643" y="549"/>
                  <a:pt x="1643" y="549"/>
                  <a:pt x="1643" y="549"/>
                </a:cubicBezTo>
                <a:cubicBezTo>
                  <a:pt x="1645" y="551"/>
                  <a:pt x="1645" y="551"/>
                  <a:pt x="1645" y="551"/>
                </a:cubicBezTo>
                <a:lnTo>
                  <a:pt x="1645" y="549"/>
                </a:lnTo>
                <a:close/>
                <a:moveTo>
                  <a:pt x="1603" y="249"/>
                </a:moveTo>
                <a:cubicBezTo>
                  <a:pt x="1601" y="249"/>
                  <a:pt x="1601" y="249"/>
                  <a:pt x="1601" y="249"/>
                </a:cubicBezTo>
                <a:cubicBezTo>
                  <a:pt x="1600" y="251"/>
                  <a:pt x="1600" y="251"/>
                  <a:pt x="1600" y="251"/>
                </a:cubicBezTo>
                <a:cubicBezTo>
                  <a:pt x="1601" y="251"/>
                  <a:pt x="1601" y="251"/>
                  <a:pt x="1601" y="251"/>
                </a:cubicBezTo>
                <a:lnTo>
                  <a:pt x="1603" y="249"/>
                </a:lnTo>
                <a:close/>
                <a:moveTo>
                  <a:pt x="1611" y="677"/>
                </a:moveTo>
                <a:cubicBezTo>
                  <a:pt x="1611" y="677"/>
                  <a:pt x="1611" y="677"/>
                  <a:pt x="1611" y="677"/>
                </a:cubicBezTo>
                <a:cubicBezTo>
                  <a:pt x="1612" y="679"/>
                  <a:pt x="1612" y="679"/>
                  <a:pt x="1612" y="679"/>
                </a:cubicBezTo>
                <a:cubicBezTo>
                  <a:pt x="1614" y="678"/>
                  <a:pt x="1614" y="678"/>
                  <a:pt x="1614" y="678"/>
                </a:cubicBezTo>
                <a:cubicBezTo>
                  <a:pt x="1613" y="677"/>
                  <a:pt x="1613" y="677"/>
                  <a:pt x="1613" y="677"/>
                </a:cubicBezTo>
                <a:lnTo>
                  <a:pt x="1611" y="677"/>
                </a:lnTo>
                <a:close/>
                <a:moveTo>
                  <a:pt x="1669" y="567"/>
                </a:moveTo>
                <a:cubicBezTo>
                  <a:pt x="1667" y="566"/>
                  <a:pt x="1667" y="566"/>
                  <a:pt x="1667" y="566"/>
                </a:cubicBezTo>
                <a:cubicBezTo>
                  <a:pt x="1667" y="566"/>
                  <a:pt x="1664" y="566"/>
                  <a:pt x="1664" y="566"/>
                </a:cubicBezTo>
                <a:cubicBezTo>
                  <a:pt x="1666" y="567"/>
                  <a:pt x="1666" y="567"/>
                  <a:pt x="1666" y="567"/>
                </a:cubicBezTo>
                <a:lnTo>
                  <a:pt x="1669" y="567"/>
                </a:lnTo>
                <a:close/>
                <a:moveTo>
                  <a:pt x="1665" y="565"/>
                </a:moveTo>
                <a:cubicBezTo>
                  <a:pt x="1667" y="564"/>
                  <a:pt x="1667" y="564"/>
                  <a:pt x="1667" y="564"/>
                </a:cubicBezTo>
                <a:cubicBezTo>
                  <a:pt x="1662" y="564"/>
                  <a:pt x="1662" y="564"/>
                  <a:pt x="1662" y="564"/>
                </a:cubicBezTo>
                <a:lnTo>
                  <a:pt x="1665" y="565"/>
                </a:lnTo>
                <a:close/>
                <a:moveTo>
                  <a:pt x="1667" y="562"/>
                </a:moveTo>
                <a:cubicBezTo>
                  <a:pt x="1666" y="562"/>
                  <a:pt x="1666" y="562"/>
                  <a:pt x="1666" y="562"/>
                </a:cubicBezTo>
                <a:cubicBezTo>
                  <a:pt x="1662" y="562"/>
                  <a:pt x="1662" y="562"/>
                  <a:pt x="1662" y="562"/>
                </a:cubicBezTo>
                <a:cubicBezTo>
                  <a:pt x="1663" y="563"/>
                  <a:pt x="1663" y="563"/>
                  <a:pt x="1663" y="563"/>
                </a:cubicBezTo>
                <a:cubicBezTo>
                  <a:pt x="1665" y="563"/>
                  <a:pt x="1665" y="563"/>
                  <a:pt x="1665" y="563"/>
                </a:cubicBezTo>
                <a:lnTo>
                  <a:pt x="1667" y="562"/>
                </a:lnTo>
                <a:close/>
                <a:moveTo>
                  <a:pt x="1843" y="656"/>
                </a:moveTo>
                <a:cubicBezTo>
                  <a:pt x="1844" y="655"/>
                  <a:pt x="1844" y="655"/>
                  <a:pt x="1844" y="655"/>
                </a:cubicBezTo>
                <a:cubicBezTo>
                  <a:pt x="1844" y="654"/>
                  <a:pt x="1844" y="654"/>
                  <a:pt x="1844" y="654"/>
                </a:cubicBezTo>
                <a:cubicBezTo>
                  <a:pt x="1843" y="654"/>
                  <a:pt x="1843" y="654"/>
                  <a:pt x="1843" y="654"/>
                </a:cubicBezTo>
                <a:cubicBezTo>
                  <a:pt x="1839" y="656"/>
                  <a:pt x="1839" y="656"/>
                  <a:pt x="1839" y="656"/>
                </a:cubicBezTo>
                <a:cubicBezTo>
                  <a:pt x="1835" y="658"/>
                  <a:pt x="1835" y="658"/>
                  <a:pt x="1835" y="658"/>
                </a:cubicBezTo>
                <a:cubicBezTo>
                  <a:pt x="1832" y="658"/>
                  <a:pt x="1832" y="658"/>
                  <a:pt x="1832" y="658"/>
                </a:cubicBezTo>
                <a:cubicBezTo>
                  <a:pt x="1830" y="657"/>
                  <a:pt x="1830" y="657"/>
                  <a:pt x="1830" y="657"/>
                </a:cubicBezTo>
                <a:cubicBezTo>
                  <a:pt x="1828" y="657"/>
                  <a:pt x="1828" y="657"/>
                  <a:pt x="1828" y="657"/>
                </a:cubicBezTo>
                <a:cubicBezTo>
                  <a:pt x="1828" y="658"/>
                  <a:pt x="1828" y="658"/>
                  <a:pt x="1828" y="658"/>
                </a:cubicBezTo>
                <a:cubicBezTo>
                  <a:pt x="1828" y="660"/>
                  <a:pt x="1828" y="660"/>
                  <a:pt x="1828" y="660"/>
                </a:cubicBezTo>
                <a:cubicBezTo>
                  <a:pt x="1826" y="660"/>
                  <a:pt x="1826" y="660"/>
                  <a:pt x="1826" y="660"/>
                </a:cubicBezTo>
                <a:cubicBezTo>
                  <a:pt x="1824" y="659"/>
                  <a:pt x="1824" y="659"/>
                  <a:pt x="1824" y="659"/>
                </a:cubicBezTo>
                <a:cubicBezTo>
                  <a:pt x="1823" y="661"/>
                  <a:pt x="1823" y="661"/>
                  <a:pt x="1823" y="661"/>
                </a:cubicBezTo>
                <a:cubicBezTo>
                  <a:pt x="1822" y="661"/>
                  <a:pt x="1822" y="661"/>
                  <a:pt x="1822" y="661"/>
                </a:cubicBezTo>
                <a:cubicBezTo>
                  <a:pt x="1822" y="663"/>
                  <a:pt x="1822" y="663"/>
                  <a:pt x="1822" y="663"/>
                </a:cubicBezTo>
                <a:cubicBezTo>
                  <a:pt x="1823" y="665"/>
                  <a:pt x="1823" y="665"/>
                  <a:pt x="1823" y="665"/>
                </a:cubicBezTo>
                <a:cubicBezTo>
                  <a:pt x="1826" y="667"/>
                  <a:pt x="1826" y="667"/>
                  <a:pt x="1826" y="667"/>
                </a:cubicBezTo>
                <a:cubicBezTo>
                  <a:pt x="1828" y="667"/>
                  <a:pt x="1828" y="667"/>
                  <a:pt x="1828" y="667"/>
                </a:cubicBezTo>
                <a:cubicBezTo>
                  <a:pt x="1829" y="667"/>
                  <a:pt x="1829" y="667"/>
                  <a:pt x="1829" y="667"/>
                </a:cubicBezTo>
                <a:cubicBezTo>
                  <a:pt x="1831" y="666"/>
                  <a:pt x="1831" y="666"/>
                  <a:pt x="1831" y="666"/>
                </a:cubicBezTo>
                <a:cubicBezTo>
                  <a:pt x="1833" y="666"/>
                  <a:pt x="1833" y="666"/>
                  <a:pt x="1833" y="666"/>
                </a:cubicBezTo>
                <a:cubicBezTo>
                  <a:pt x="1835" y="664"/>
                  <a:pt x="1835" y="664"/>
                  <a:pt x="1835" y="664"/>
                </a:cubicBezTo>
                <a:cubicBezTo>
                  <a:pt x="1837" y="663"/>
                  <a:pt x="1837" y="663"/>
                  <a:pt x="1837" y="663"/>
                </a:cubicBezTo>
                <a:cubicBezTo>
                  <a:pt x="1839" y="663"/>
                  <a:pt x="1839" y="663"/>
                  <a:pt x="1839" y="663"/>
                </a:cubicBezTo>
                <a:cubicBezTo>
                  <a:pt x="1839" y="661"/>
                  <a:pt x="1839" y="661"/>
                  <a:pt x="1839" y="661"/>
                </a:cubicBezTo>
                <a:cubicBezTo>
                  <a:pt x="1839" y="660"/>
                  <a:pt x="1839" y="660"/>
                  <a:pt x="1839" y="660"/>
                </a:cubicBezTo>
                <a:cubicBezTo>
                  <a:pt x="1841" y="657"/>
                  <a:pt x="1841" y="657"/>
                  <a:pt x="1841" y="657"/>
                </a:cubicBezTo>
                <a:lnTo>
                  <a:pt x="1843" y="656"/>
                </a:lnTo>
                <a:close/>
                <a:moveTo>
                  <a:pt x="1776" y="644"/>
                </a:moveTo>
                <a:cubicBezTo>
                  <a:pt x="1775" y="645"/>
                  <a:pt x="1775" y="645"/>
                  <a:pt x="1775" y="645"/>
                </a:cubicBezTo>
                <a:cubicBezTo>
                  <a:pt x="1776" y="645"/>
                  <a:pt x="1776" y="645"/>
                  <a:pt x="1776" y="645"/>
                </a:cubicBezTo>
                <a:cubicBezTo>
                  <a:pt x="1777" y="645"/>
                  <a:pt x="1777" y="645"/>
                  <a:pt x="1777" y="645"/>
                </a:cubicBezTo>
                <a:cubicBezTo>
                  <a:pt x="1776" y="644"/>
                  <a:pt x="1776" y="644"/>
                  <a:pt x="1776" y="644"/>
                </a:cubicBezTo>
                <a:close/>
                <a:moveTo>
                  <a:pt x="1749" y="634"/>
                </a:moveTo>
                <a:cubicBezTo>
                  <a:pt x="1750" y="634"/>
                  <a:pt x="1750" y="634"/>
                  <a:pt x="1750" y="634"/>
                </a:cubicBezTo>
                <a:cubicBezTo>
                  <a:pt x="1751" y="635"/>
                  <a:pt x="1751" y="635"/>
                  <a:pt x="1751" y="635"/>
                </a:cubicBezTo>
                <a:cubicBezTo>
                  <a:pt x="1751" y="634"/>
                  <a:pt x="1751" y="634"/>
                  <a:pt x="1751" y="634"/>
                </a:cubicBezTo>
                <a:cubicBezTo>
                  <a:pt x="1750" y="633"/>
                  <a:pt x="1750" y="633"/>
                  <a:pt x="1750" y="633"/>
                </a:cubicBezTo>
                <a:lnTo>
                  <a:pt x="1749" y="634"/>
                </a:lnTo>
                <a:close/>
                <a:moveTo>
                  <a:pt x="1649" y="556"/>
                </a:moveTo>
                <a:cubicBezTo>
                  <a:pt x="1648" y="554"/>
                  <a:pt x="1648" y="554"/>
                  <a:pt x="1648" y="554"/>
                </a:cubicBezTo>
                <a:cubicBezTo>
                  <a:pt x="1646" y="552"/>
                  <a:pt x="1646" y="552"/>
                  <a:pt x="1646" y="552"/>
                </a:cubicBezTo>
                <a:lnTo>
                  <a:pt x="1649" y="556"/>
                </a:lnTo>
                <a:close/>
                <a:moveTo>
                  <a:pt x="1642" y="539"/>
                </a:moveTo>
                <a:cubicBezTo>
                  <a:pt x="1641" y="539"/>
                  <a:pt x="1641" y="540"/>
                  <a:pt x="1641" y="540"/>
                </a:cubicBezTo>
                <a:cubicBezTo>
                  <a:pt x="1641" y="543"/>
                  <a:pt x="1641" y="543"/>
                  <a:pt x="1641" y="543"/>
                </a:cubicBezTo>
                <a:cubicBezTo>
                  <a:pt x="1642" y="543"/>
                  <a:pt x="1642" y="543"/>
                  <a:pt x="1642" y="543"/>
                </a:cubicBezTo>
                <a:cubicBezTo>
                  <a:pt x="1643" y="544"/>
                  <a:pt x="1643" y="544"/>
                  <a:pt x="1643" y="544"/>
                </a:cubicBezTo>
                <a:cubicBezTo>
                  <a:pt x="1645" y="544"/>
                  <a:pt x="1645" y="544"/>
                  <a:pt x="1645" y="544"/>
                </a:cubicBezTo>
                <a:lnTo>
                  <a:pt x="1642" y="539"/>
                </a:lnTo>
                <a:close/>
                <a:moveTo>
                  <a:pt x="1650" y="551"/>
                </a:moveTo>
                <a:cubicBezTo>
                  <a:pt x="1648" y="549"/>
                  <a:pt x="1648" y="549"/>
                  <a:pt x="1648" y="549"/>
                </a:cubicBezTo>
                <a:cubicBezTo>
                  <a:pt x="1647" y="549"/>
                  <a:pt x="1647" y="549"/>
                  <a:pt x="1647" y="549"/>
                </a:cubicBezTo>
                <a:cubicBezTo>
                  <a:pt x="1649" y="551"/>
                  <a:pt x="1649" y="551"/>
                  <a:pt x="1649" y="551"/>
                </a:cubicBezTo>
                <a:lnTo>
                  <a:pt x="1650" y="551"/>
                </a:lnTo>
                <a:close/>
                <a:moveTo>
                  <a:pt x="1643" y="548"/>
                </a:moveTo>
                <a:cubicBezTo>
                  <a:pt x="1643" y="548"/>
                  <a:pt x="1643" y="548"/>
                  <a:pt x="1643" y="548"/>
                </a:cubicBezTo>
                <a:cubicBezTo>
                  <a:pt x="1642" y="545"/>
                  <a:pt x="1642" y="545"/>
                  <a:pt x="1642" y="545"/>
                </a:cubicBezTo>
                <a:cubicBezTo>
                  <a:pt x="1640" y="543"/>
                  <a:pt x="1640" y="543"/>
                  <a:pt x="1640" y="543"/>
                </a:cubicBezTo>
                <a:cubicBezTo>
                  <a:pt x="1641" y="545"/>
                  <a:pt x="1641" y="545"/>
                  <a:pt x="1641" y="545"/>
                </a:cubicBezTo>
                <a:cubicBezTo>
                  <a:pt x="1641" y="546"/>
                  <a:pt x="1641" y="546"/>
                  <a:pt x="1641" y="546"/>
                </a:cubicBezTo>
                <a:lnTo>
                  <a:pt x="1643" y="548"/>
                </a:lnTo>
                <a:close/>
                <a:moveTo>
                  <a:pt x="1646" y="546"/>
                </a:moveTo>
                <a:cubicBezTo>
                  <a:pt x="1646" y="547"/>
                  <a:pt x="1646" y="547"/>
                  <a:pt x="1646" y="547"/>
                </a:cubicBezTo>
                <a:cubicBezTo>
                  <a:pt x="1647" y="548"/>
                  <a:pt x="1647" y="548"/>
                  <a:pt x="1647" y="548"/>
                </a:cubicBezTo>
                <a:lnTo>
                  <a:pt x="1646" y="546"/>
                </a:lnTo>
                <a:close/>
                <a:moveTo>
                  <a:pt x="1771" y="653"/>
                </a:moveTo>
                <a:cubicBezTo>
                  <a:pt x="1771" y="652"/>
                  <a:pt x="1771" y="652"/>
                  <a:pt x="1771" y="652"/>
                </a:cubicBezTo>
                <a:cubicBezTo>
                  <a:pt x="1771" y="653"/>
                  <a:pt x="1771" y="653"/>
                  <a:pt x="1771" y="653"/>
                </a:cubicBezTo>
                <a:cubicBezTo>
                  <a:pt x="1771" y="654"/>
                  <a:pt x="1771" y="654"/>
                  <a:pt x="1771" y="654"/>
                </a:cubicBezTo>
                <a:lnTo>
                  <a:pt x="1771" y="653"/>
                </a:lnTo>
                <a:close/>
                <a:moveTo>
                  <a:pt x="1781" y="648"/>
                </a:moveTo>
                <a:cubicBezTo>
                  <a:pt x="1781" y="647"/>
                  <a:pt x="1781" y="647"/>
                  <a:pt x="1781" y="647"/>
                </a:cubicBezTo>
                <a:cubicBezTo>
                  <a:pt x="1781" y="646"/>
                  <a:pt x="1781" y="646"/>
                  <a:pt x="1781" y="646"/>
                </a:cubicBezTo>
                <a:cubicBezTo>
                  <a:pt x="1780" y="647"/>
                  <a:pt x="1780" y="647"/>
                  <a:pt x="1780" y="647"/>
                </a:cubicBezTo>
                <a:cubicBezTo>
                  <a:pt x="1778" y="648"/>
                  <a:pt x="1778" y="648"/>
                  <a:pt x="1778" y="648"/>
                </a:cubicBezTo>
                <a:cubicBezTo>
                  <a:pt x="1776" y="649"/>
                  <a:pt x="1776" y="649"/>
                  <a:pt x="1776" y="649"/>
                </a:cubicBezTo>
                <a:cubicBezTo>
                  <a:pt x="1775" y="651"/>
                  <a:pt x="1775" y="651"/>
                  <a:pt x="1775" y="651"/>
                </a:cubicBezTo>
                <a:cubicBezTo>
                  <a:pt x="1776" y="651"/>
                  <a:pt x="1776" y="651"/>
                  <a:pt x="1776" y="651"/>
                </a:cubicBezTo>
                <a:cubicBezTo>
                  <a:pt x="1775" y="652"/>
                  <a:pt x="1775" y="652"/>
                  <a:pt x="1775" y="652"/>
                </a:cubicBezTo>
                <a:cubicBezTo>
                  <a:pt x="1776" y="653"/>
                  <a:pt x="1776" y="653"/>
                  <a:pt x="1776" y="653"/>
                </a:cubicBezTo>
                <a:cubicBezTo>
                  <a:pt x="1777" y="653"/>
                  <a:pt x="1777" y="653"/>
                  <a:pt x="1777" y="653"/>
                </a:cubicBezTo>
                <a:cubicBezTo>
                  <a:pt x="1778" y="651"/>
                  <a:pt x="1778" y="651"/>
                  <a:pt x="1778" y="651"/>
                </a:cubicBezTo>
                <a:cubicBezTo>
                  <a:pt x="1779" y="650"/>
                  <a:pt x="1779" y="650"/>
                  <a:pt x="1779" y="650"/>
                </a:cubicBezTo>
                <a:cubicBezTo>
                  <a:pt x="1780" y="650"/>
                  <a:pt x="1780" y="650"/>
                  <a:pt x="1780" y="650"/>
                </a:cubicBezTo>
                <a:cubicBezTo>
                  <a:pt x="1780" y="650"/>
                  <a:pt x="1780" y="650"/>
                  <a:pt x="1780" y="650"/>
                </a:cubicBezTo>
                <a:cubicBezTo>
                  <a:pt x="1780" y="649"/>
                  <a:pt x="1780" y="649"/>
                  <a:pt x="1780" y="649"/>
                </a:cubicBezTo>
                <a:lnTo>
                  <a:pt x="1781" y="648"/>
                </a:lnTo>
                <a:close/>
                <a:moveTo>
                  <a:pt x="1744" y="640"/>
                </a:moveTo>
                <a:cubicBezTo>
                  <a:pt x="1744" y="638"/>
                  <a:pt x="1744" y="638"/>
                  <a:pt x="1744" y="638"/>
                </a:cubicBezTo>
                <a:cubicBezTo>
                  <a:pt x="1743" y="639"/>
                  <a:pt x="1743" y="639"/>
                  <a:pt x="1743" y="639"/>
                </a:cubicBezTo>
                <a:lnTo>
                  <a:pt x="1744" y="640"/>
                </a:lnTo>
                <a:close/>
                <a:moveTo>
                  <a:pt x="1744" y="617"/>
                </a:moveTo>
                <a:cubicBezTo>
                  <a:pt x="1743" y="616"/>
                  <a:pt x="1743" y="616"/>
                  <a:pt x="1743" y="616"/>
                </a:cubicBezTo>
                <a:cubicBezTo>
                  <a:pt x="1742" y="616"/>
                  <a:pt x="1742" y="616"/>
                  <a:pt x="1742" y="616"/>
                </a:cubicBezTo>
                <a:cubicBezTo>
                  <a:pt x="1743" y="618"/>
                  <a:pt x="1743" y="618"/>
                  <a:pt x="1743" y="618"/>
                </a:cubicBezTo>
                <a:cubicBezTo>
                  <a:pt x="1744" y="618"/>
                  <a:pt x="1744" y="618"/>
                  <a:pt x="1744" y="618"/>
                </a:cubicBezTo>
                <a:cubicBezTo>
                  <a:pt x="1744" y="619"/>
                  <a:pt x="1744" y="619"/>
                  <a:pt x="1744" y="619"/>
                </a:cubicBezTo>
                <a:cubicBezTo>
                  <a:pt x="1745" y="619"/>
                  <a:pt x="1745" y="619"/>
                  <a:pt x="1745" y="619"/>
                </a:cubicBezTo>
                <a:cubicBezTo>
                  <a:pt x="1745" y="617"/>
                  <a:pt x="1745" y="617"/>
                  <a:pt x="1745" y="617"/>
                </a:cubicBezTo>
                <a:lnTo>
                  <a:pt x="1744" y="617"/>
                </a:lnTo>
                <a:close/>
                <a:moveTo>
                  <a:pt x="1742" y="637"/>
                </a:moveTo>
                <a:cubicBezTo>
                  <a:pt x="1742" y="637"/>
                  <a:pt x="1743" y="637"/>
                  <a:pt x="1743" y="637"/>
                </a:cubicBezTo>
                <a:cubicBezTo>
                  <a:pt x="1743" y="636"/>
                  <a:pt x="1743" y="636"/>
                  <a:pt x="1743" y="636"/>
                </a:cubicBezTo>
                <a:cubicBezTo>
                  <a:pt x="1742" y="636"/>
                  <a:pt x="1742" y="636"/>
                  <a:pt x="1742" y="636"/>
                </a:cubicBezTo>
                <a:lnTo>
                  <a:pt x="1742" y="637"/>
                </a:lnTo>
                <a:close/>
                <a:moveTo>
                  <a:pt x="1745" y="630"/>
                </a:moveTo>
                <a:cubicBezTo>
                  <a:pt x="1745" y="630"/>
                  <a:pt x="1745" y="630"/>
                  <a:pt x="1745" y="630"/>
                </a:cubicBezTo>
                <a:cubicBezTo>
                  <a:pt x="1745" y="631"/>
                  <a:pt x="1745" y="631"/>
                  <a:pt x="1745" y="631"/>
                </a:cubicBezTo>
                <a:cubicBezTo>
                  <a:pt x="1748" y="633"/>
                  <a:pt x="1748" y="633"/>
                  <a:pt x="1748" y="633"/>
                </a:cubicBezTo>
                <a:cubicBezTo>
                  <a:pt x="1748" y="633"/>
                  <a:pt x="1748" y="633"/>
                  <a:pt x="1748" y="633"/>
                </a:cubicBezTo>
                <a:cubicBezTo>
                  <a:pt x="1748" y="632"/>
                  <a:pt x="1748" y="632"/>
                  <a:pt x="1748" y="632"/>
                </a:cubicBezTo>
                <a:cubicBezTo>
                  <a:pt x="1747" y="631"/>
                  <a:pt x="1747" y="631"/>
                  <a:pt x="1747" y="631"/>
                </a:cubicBezTo>
                <a:cubicBezTo>
                  <a:pt x="1746" y="629"/>
                  <a:pt x="1746" y="629"/>
                  <a:pt x="1746" y="629"/>
                </a:cubicBezTo>
                <a:lnTo>
                  <a:pt x="1745" y="630"/>
                </a:lnTo>
                <a:close/>
                <a:moveTo>
                  <a:pt x="1749" y="602"/>
                </a:moveTo>
                <a:cubicBezTo>
                  <a:pt x="1748" y="602"/>
                  <a:pt x="1748" y="602"/>
                  <a:pt x="1748" y="602"/>
                </a:cubicBezTo>
                <a:cubicBezTo>
                  <a:pt x="1747" y="602"/>
                  <a:pt x="1747" y="602"/>
                  <a:pt x="1747" y="602"/>
                </a:cubicBezTo>
                <a:cubicBezTo>
                  <a:pt x="1746" y="603"/>
                  <a:pt x="1746" y="603"/>
                  <a:pt x="1746" y="603"/>
                </a:cubicBezTo>
                <a:cubicBezTo>
                  <a:pt x="1746" y="604"/>
                  <a:pt x="1746" y="604"/>
                  <a:pt x="1746" y="604"/>
                </a:cubicBezTo>
                <a:cubicBezTo>
                  <a:pt x="1747" y="605"/>
                  <a:pt x="1747" y="605"/>
                  <a:pt x="1747" y="605"/>
                </a:cubicBezTo>
                <a:cubicBezTo>
                  <a:pt x="1748" y="605"/>
                  <a:pt x="1748" y="605"/>
                  <a:pt x="1748" y="605"/>
                </a:cubicBezTo>
                <a:cubicBezTo>
                  <a:pt x="1749" y="605"/>
                  <a:pt x="1749" y="605"/>
                  <a:pt x="1749" y="605"/>
                </a:cubicBezTo>
                <a:cubicBezTo>
                  <a:pt x="1750" y="603"/>
                  <a:pt x="1750" y="603"/>
                  <a:pt x="1750" y="603"/>
                </a:cubicBezTo>
                <a:cubicBezTo>
                  <a:pt x="1751" y="602"/>
                  <a:pt x="1751" y="602"/>
                  <a:pt x="1751" y="602"/>
                </a:cubicBezTo>
                <a:cubicBezTo>
                  <a:pt x="1750" y="602"/>
                  <a:pt x="1750" y="602"/>
                  <a:pt x="1750" y="602"/>
                </a:cubicBezTo>
                <a:lnTo>
                  <a:pt x="1749" y="602"/>
                </a:lnTo>
                <a:close/>
                <a:moveTo>
                  <a:pt x="1750" y="640"/>
                </a:moveTo>
                <a:cubicBezTo>
                  <a:pt x="1751" y="641"/>
                  <a:pt x="1751" y="641"/>
                  <a:pt x="1751" y="641"/>
                </a:cubicBezTo>
                <a:cubicBezTo>
                  <a:pt x="1751" y="640"/>
                  <a:pt x="1751" y="640"/>
                  <a:pt x="1751" y="640"/>
                </a:cubicBezTo>
                <a:cubicBezTo>
                  <a:pt x="1751" y="639"/>
                  <a:pt x="1751" y="639"/>
                  <a:pt x="1751" y="639"/>
                </a:cubicBezTo>
                <a:cubicBezTo>
                  <a:pt x="1750" y="639"/>
                  <a:pt x="1750" y="639"/>
                  <a:pt x="1750" y="639"/>
                </a:cubicBezTo>
                <a:lnTo>
                  <a:pt x="1750" y="640"/>
                </a:lnTo>
                <a:close/>
                <a:moveTo>
                  <a:pt x="1744" y="645"/>
                </a:moveTo>
                <a:cubicBezTo>
                  <a:pt x="1744" y="644"/>
                  <a:pt x="1744" y="644"/>
                  <a:pt x="1744" y="644"/>
                </a:cubicBezTo>
                <a:cubicBezTo>
                  <a:pt x="1743" y="644"/>
                  <a:pt x="1743" y="644"/>
                  <a:pt x="1743" y="644"/>
                </a:cubicBezTo>
                <a:cubicBezTo>
                  <a:pt x="1742" y="645"/>
                  <a:pt x="1742" y="645"/>
                  <a:pt x="1742" y="645"/>
                </a:cubicBezTo>
                <a:cubicBezTo>
                  <a:pt x="1743" y="645"/>
                  <a:pt x="1743" y="645"/>
                  <a:pt x="1743" y="645"/>
                </a:cubicBezTo>
                <a:lnTo>
                  <a:pt x="1744" y="645"/>
                </a:lnTo>
                <a:close/>
                <a:moveTo>
                  <a:pt x="1741" y="634"/>
                </a:moveTo>
                <a:cubicBezTo>
                  <a:pt x="1741" y="635"/>
                  <a:pt x="1741" y="635"/>
                  <a:pt x="1741" y="635"/>
                </a:cubicBezTo>
                <a:cubicBezTo>
                  <a:pt x="1742" y="634"/>
                  <a:pt x="1742" y="634"/>
                  <a:pt x="1742" y="634"/>
                </a:cubicBezTo>
                <a:cubicBezTo>
                  <a:pt x="1742" y="633"/>
                  <a:pt x="1742" y="633"/>
                  <a:pt x="1742" y="633"/>
                </a:cubicBezTo>
                <a:lnTo>
                  <a:pt x="1741" y="634"/>
                </a:lnTo>
                <a:close/>
                <a:moveTo>
                  <a:pt x="1764" y="632"/>
                </a:moveTo>
                <a:cubicBezTo>
                  <a:pt x="1765" y="633"/>
                  <a:pt x="1765" y="633"/>
                  <a:pt x="1765" y="633"/>
                </a:cubicBezTo>
                <a:cubicBezTo>
                  <a:pt x="1766" y="633"/>
                  <a:pt x="1766" y="633"/>
                  <a:pt x="1766" y="633"/>
                </a:cubicBezTo>
                <a:cubicBezTo>
                  <a:pt x="1766" y="632"/>
                  <a:pt x="1766" y="632"/>
                  <a:pt x="1766" y="632"/>
                </a:cubicBezTo>
                <a:cubicBezTo>
                  <a:pt x="1767" y="632"/>
                  <a:pt x="1767" y="632"/>
                  <a:pt x="1767" y="632"/>
                </a:cubicBezTo>
                <a:cubicBezTo>
                  <a:pt x="1767" y="631"/>
                  <a:pt x="1767" y="631"/>
                  <a:pt x="1767" y="631"/>
                </a:cubicBezTo>
                <a:cubicBezTo>
                  <a:pt x="1767" y="631"/>
                  <a:pt x="1767" y="631"/>
                  <a:pt x="1767" y="631"/>
                </a:cubicBezTo>
                <a:cubicBezTo>
                  <a:pt x="1766" y="631"/>
                  <a:pt x="1766" y="631"/>
                  <a:pt x="1766" y="631"/>
                </a:cubicBezTo>
                <a:cubicBezTo>
                  <a:pt x="1765" y="630"/>
                  <a:pt x="1765" y="630"/>
                  <a:pt x="1765" y="630"/>
                </a:cubicBezTo>
                <a:cubicBezTo>
                  <a:pt x="1764" y="630"/>
                  <a:pt x="1764" y="630"/>
                  <a:pt x="1764" y="630"/>
                </a:cubicBezTo>
                <a:cubicBezTo>
                  <a:pt x="1762" y="632"/>
                  <a:pt x="1762" y="632"/>
                  <a:pt x="1762" y="632"/>
                </a:cubicBezTo>
                <a:cubicBezTo>
                  <a:pt x="1762" y="632"/>
                  <a:pt x="1762" y="632"/>
                  <a:pt x="1762" y="632"/>
                </a:cubicBezTo>
                <a:cubicBezTo>
                  <a:pt x="1763" y="632"/>
                  <a:pt x="1763" y="632"/>
                  <a:pt x="1763" y="632"/>
                </a:cubicBezTo>
                <a:lnTo>
                  <a:pt x="1764" y="632"/>
                </a:lnTo>
                <a:close/>
                <a:moveTo>
                  <a:pt x="1762" y="646"/>
                </a:moveTo>
                <a:cubicBezTo>
                  <a:pt x="1762" y="646"/>
                  <a:pt x="1764" y="645"/>
                  <a:pt x="1764" y="645"/>
                </a:cubicBezTo>
                <a:cubicBezTo>
                  <a:pt x="1764" y="644"/>
                  <a:pt x="1764" y="644"/>
                  <a:pt x="1764" y="644"/>
                </a:cubicBezTo>
                <a:cubicBezTo>
                  <a:pt x="1763" y="644"/>
                  <a:pt x="1763" y="644"/>
                  <a:pt x="1763" y="644"/>
                </a:cubicBezTo>
                <a:cubicBezTo>
                  <a:pt x="1762" y="645"/>
                  <a:pt x="1762" y="645"/>
                  <a:pt x="1762" y="645"/>
                </a:cubicBezTo>
                <a:cubicBezTo>
                  <a:pt x="1761" y="645"/>
                  <a:pt x="1761" y="645"/>
                  <a:pt x="1761" y="645"/>
                </a:cubicBezTo>
                <a:lnTo>
                  <a:pt x="1762" y="646"/>
                </a:lnTo>
                <a:close/>
                <a:moveTo>
                  <a:pt x="1770" y="655"/>
                </a:moveTo>
                <a:cubicBezTo>
                  <a:pt x="1770" y="657"/>
                  <a:pt x="1770" y="657"/>
                  <a:pt x="1770" y="657"/>
                </a:cubicBezTo>
                <a:cubicBezTo>
                  <a:pt x="1771" y="659"/>
                  <a:pt x="1771" y="659"/>
                  <a:pt x="1771" y="659"/>
                </a:cubicBezTo>
                <a:cubicBezTo>
                  <a:pt x="1771" y="658"/>
                  <a:pt x="1771" y="658"/>
                  <a:pt x="1771" y="658"/>
                </a:cubicBezTo>
                <a:cubicBezTo>
                  <a:pt x="1772" y="657"/>
                  <a:pt x="1772" y="657"/>
                  <a:pt x="1772" y="657"/>
                </a:cubicBezTo>
                <a:cubicBezTo>
                  <a:pt x="1771" y="655"/>
                  <a:pt x="1771" y="655"/>
                  <a:pt x="1771" y="655"/>
                </a:cubicBezTo>
                <a:cubicBezTo>
                  <a:pt x="1771" y="654"/>
                  <a:pt x="1771" y="654"/>
                  <a:pt x="1771" y="654"/>
                </a:cubicBezTo>
                <a:lnTo>
                  <a:pt x="1770" y="655"/>
                </a:lnTo>
                <a:close/>
                <a:moveTo>
                  <a:pt x="1742" y="593"/>
                </a:moveTo>
                <a:cubicBezTo>
                  <a:pt x="1742" y="593"/>
                  <a:pt x="1742" y="593"/>
                  <a:pt x="1742" y="593"/>
                </a:cubicBezTo>
                <a:cubicBezTo>
                  <a:pt x="1741" y="595"/>
                  <a:pt x="1741" y="595"/>
                  <a:pt x="1741" y="595"/>
                </a:cubicBezTo>
                <a:cubicBezTo>
                  <a:pt x="1742" y="595"/>
                  <a:pt x="1742" y="595"/>
                  <a:pt x="1742" y="595"/>
                </a:cubicBezTo>
                <a:cubicBezTo>
                  <a:pt x="1743" y="595"/>
                  <a:pt x="1743" y="595"/>
                  <a:pt x="1743" y="595"/>
                </a:cubicBezTo>
                <a:cubicBezTo>
                  <a:pt x="1744" y="595"/>
                  <a:pt x="1744" y="595"/>
                  <a:pt x="1744" y="595"/>
                </a:cubicBezTo>
                <a:cubicBezTo>
                  <a:pt x="1744" y="594"/>
                  <a:pt x="1744" y="594"/>
                  <a:pt x="1744" y="594"/>
                </a:cubicBezTo>
                <a:lnTo>
                  <a:pt x="1742" y="593"/>
                </a:lnTo>
                <a:close/>
                <a:moveTo>
                  <a:pt x="1546" y="327"/>
                </a:moveTo>
                <a:cubicBezTo>
                  <a:pt x="1547" y="326"/>
                  <a:pt x="1547" y="326"/>
                  <a:pt x="1547" y="326"/>
                </a:cubicBezTo>
                <a:cubicBezTo>
                  <a:pt x="1546" y="326"/>
                  <a:pt x="1546" y="326"/>
                  <a:pt x="1546" y="326"/>
                </a:cubicBezTo>
                <a:lnTo>
                  <a:pt x="1546" y="327"/>
                </a:lnTo>
                <a:close/>
                <a:moveTo>
                  <a:pt x="1114" y="318"/>
                </a:moveTo>
                <a:cubicBezTo>
                  <a:pt x="1115" y="317"/>
                  <a:pt x="1115" y="317"/>
                  <a:pt x="1115" y="317"/>
                </a:cubicBezTo>
                <a:cubicBezTo>
                  <a:pt x="1115" y="315"/>
                  <a:pt x="1115" y="315"/>
                  <a:pt x="1115" y="315"/>
                </a:cubicBezTo>
                <a:cubicBezTo>
                  <a:pt x="1114" y="315"/>
                  <a:pt x="1114" y="315"/>
                  <a:pt x="1114" y="315"/>
                </a:cubicBezTo>
                <a:cubicBezTo>
                  <a:pt x="1113" y="316"/>
                  <a:pt x="1113" y="316"/>
                  <a:pt x="1113" y="316"/>
                </a:cubicBezTo>
                <a:cubicBezTo>
                  <a:pt x="1112" y="317"/>
                  <a:pt x="1112" y="317"/>
                  <a:pt x="1112" y="317"/>
                </a:cubicBezTo>
                <a:cubicBezTo>
                  <a:pt x="1113" y="319"/>
                  <a:pt x="1113" y="319"/>
                  <a:pt x="1113" y="319"/>
                </a:cubicBezTo>
                <a:cubicBezTo>
                  <a:pt x="1113" y="319"/>
                  <a:pt x="1113" y="319"/>
                  <a:pt x="1113" y="319"/>
                </a:cubicBezTo>
                <a:lnTo>
                  <a:pt x="1114" y="318"/>
                </a:lnTo>
                <a:close/>
                <a:moveTo>
                  <a:pt x="1137" y="307"/>
                </a:moveTo>
                <a:cubicBezTo>
                  <a:pt x="1137" y="307"/>
                  <a:pt x="1137" y="307"/>
                  <a:pt x="1137" y="307"/>
                </a:cubicBezTo>
                <a:cubicBezTo>
                  <a:pt x="1138" y="308"/>
                  <a:pt x="1138" y="308"/>
                  <a:pt x="1138" y="308"/>
                </a:cubicBezTo>
                <a:cubicBezTo>
                  <a:pt x="1139" y="308"/>
                  <a:pt x="1139" y="308"/>
                  <a:pt x="1139" y="308"/>
                </a:cubicBezTo>
                <a:cubicBezTo>
                  <a:pt x="1138" y="307"/>
                  <a:pt x="1138" y="307"/>
                  <a:pt x="1138" y="307"/>
                </a:cubicBezTo>
                <a:lnTo>
                  <a:pt x="1137" y="307"/>
                </a:lnTo>
                <a:close/>
                <a:moveTo>
                  <a:pt x="1123" y="325"/>
                </a:moveTo>
                <a:cubicBezTo>
                  <a:pt x="1124" y="325"/>
                  <a:pt x="1124" y="325"/>
                  <a:pt x="1124" y="325"/>
                </a:cubicBezTo>
                <a:cubicBezTo>
                  <a:pt x="1125" y="325"/>
                  <a:pt x="1125" y="325"/>
                  <a:pt x="1125" y="325"/>
                </a:cubicBezTo>
                <a:cubicBezTo>
                  <a:pt x="1126" y="325"/>
                  <a:pt x="1126" y="325"/>
                  <a:pt x="1126" y="325"/>
                </a:cubicBezTo>
                <a:cubicBezTo>
                  <a:pt x="1127" y="324"/>
                  <a:pt x="1127" y="324"/>
                  <a:pt x="1127" y="324"/>
                </a:cubicBezTo>
                <a:cubicBezTo>
                  <a:pt x="1126" y="323"/>
                  <a:pt x="1126" y="323"/>
                  <a:pt x="1126" y="323"/>
                </a:cubicBezTo>
                <a:cubicBezTo>
                  <a:pt x="1125" y="323"/>
                  <a:pt x="1125" y="323"/>
                  <a:pt x="1125" y="323"/>
                </a:cubicBezTo>
                <a:lnTo>
                  <a:pt x="1123" y="325"/>
                </a:lnTo>
                <a:close/>
                <a:moveTo>
                  <a:pt x="1128" y="321"/>
                </a:moveTo>
                <a:cubicBezTo>
                  <a:pt x="1130" y="321"/>
                  <a:pt x="1130" y="321"/>
                  <a:pt x="1130" y="321"/>
                </a:cubicBezTo>
                <a:cubicBezTo>
                  <a:pt x="1126" y="319"/>
                  <a:pt x="1126" y="319"/>
                  <a:pt x="1126" y="319"/>
                </a:cubicBezTo>
                <a:cubicBezTo>
                  <a:pt x="1125" y="319"/>
                  <a:pt x="1125" y="319"/>
                  <a:pt x="1125" y="319"/>
                </a:cubicBezTo>
                <a:cubicBezTo>
                  <a:pt x="1125" y="319"/>
                  <a:pt x="1125" y="319"/>
                  <a:pt x="1125" y="319"/>
                </a:cubicBezTo>
                <a:cubicBezTo>
                  <a:pt x="1127" y="321"/>
                  <a:pt x="1127" y="321"/>
                  <a:pt x="1127" y="321"/>
                </a:cubicBezTo>
                <a:lnTo>
                  <a:pt x="1128" y="321"/>
                </a:lnTo>
                <a:close/>
                <a:moveTo>
                  <a:pt x="1147" y="287"/>
                </a:moveTo>
                <a:cubicBezTo>
                  <a:pt x="1147" y="288"/>
                  <a:pt x="1147" y="288"/>
                  <a:pt x="1147" y="288"/>
                </a:cubicBezTo>
                <a:cubicBezTo>
                  <a:pt x="1147" y="287"/>
                  <a:pt x="1147" y="287"/>
                  <a:pt x="1147" y="287"/>
                </a:cubicBezTo>
                <a:close/>
                <a:moveTo>
                  <a:pt x="1148" y="284"/>
                </a:moveTo>
                <a:cubicBezTo>
                  <a:pt x="1148" y="284"/>
                  <a:pt x="1148" y="284"/>
                  <a:pt x="1148" y="284"/>
                </a:cubicBezTo>
                <a:cubicBezTo>
                  <a:pt x="1148" y="285"/>
                  <a:pt x="1148" y="285"/>
                  <a:pt x="1148" y="285"/>
                </a:cubicBezTo>
                <a:cubicBezTo>
                  <a:pt x="1148" y="285"/>
                  <a:pt x="1148" y="285"/>
                  <a:pt x="1148" y="285"/>
                </a:cubicBezTo>
                <a:lnTo>
                  <a:pt x="1148" y="284"/>
                </a:lnTo>
                <a:close/>
                <a:moveTo>
                  <a:pt x="1077" y="244"/>
                </a:moveTo>
                <a:cubicBezTo>
                  <a:pt x="1079" y="243"/>
                  <a:pt x="1079" y="243"/>
                  <a:pt x="1079" y="243"/>
                </a:cubicBezTo>
                <a:cubicBezTo>
                  <a:pt x="1080" y="241"/>
                  <a:pt x="1080" y="241"/>
                  <a:pt x="1080" y="241"/>
                </a:cubicBezTo>
                <a:cubicBezTo>
                  <a:pt x="1079" y="241"/>
                  <a:pt x="1079" y="241"/>
                  <a:pt x="1079" y="241"/>
                </a:cubicBezTo>
                <a:cubicBezTo>
                  <a:pt x="1078" y="242"/>
                  <a:pt x="1078" y="242"/>
                  <a:pt x="1078" y="242"/>
                </a:cubicBezTo>
                <a:cubicBezTo>
                  <a:pt x="1076" y="244"/>
                  <a:pt x="1076" y="244"/>
                  <a:pt x="1076" y="244"/>
                </a:cubicBezTo>
                <a:lnTo>
                  <a:pt x="1077" y="244"/>
                </a:lnTo>
                <a:close/>
                <a:moveTo>
                  <a:pt x="1149" y="281"/>
                </a:moveTo>
                <a:cubicBezTo>
                  <a:pt x="1149" y="282"/>
                  <a:pt x="1149" y="282"/>
                  <a:pt x="1149" y="282"/>
                </a:cubicBezTo>
                <a:cubicBezTo>
                  <a:pt x="1149" y="281"/>
                  <a:pt x="1149" y="281"/>
                  <a:pt x="1149" y="281"/>
                </a:cubicBezTo>
                <a:cubicBezTo>
                  <a:pt x="1150" y="281"/>
                  <a:pt x="1150" y="281"/>
                  <a:pt x="1150" y="281"/>
                </a:cubicBezTo>
                <a:cubicBezTo>
                  <a:pt x="1149" y="281"/>
                  <a:pt x="1149" y="281"/>
                  <a:pt x="1149" y="281"/>
                </a:cubicBezTo>
                <a:close/>
                <a:moveTo>
                  <a:pt x="1077" y="242"/>
                </a:moveTo>
                <a:cubicBezTo>
                  <a:pt x="1078" y="241"/>
                  <a:pt x="1078" y="241"/>
                  <a:pt x="1078" y="241"/>
                </a:cubicBezTo>
                <a:cubicBezTo>
                  <a:pt x="1079" y="240"/>
                  <a:pt x="1079" y="240"/>
                  <a:pt x="1079" y="240"/>
                </a:cubicBezTo>
                <a:cubicBezTo>
                  <a:pt x="1078" y="240"/>
                  <a:pt x="1078" y="240"/>
                  <a:pt x="1078" y="240"/>
                </a:cubicBezTo>
                <a:cubicBezTo>
                  <a:pt x="1076" y="242"/>
                  <a:pt x="1076" y="242"/>
                  <a:pt x="1076" y="242"/>
                </a:cubicBezTo>
                <a:cubicBezTo>
                  <a:pt x="1076" y="242"/>
                  <a:pt x="1076" y="243"/>
                  <a:pt x="1076" y="243"/>
                </a:cubicBezTo>
                <a:lnTo>
                  <a:pt x="1077" y="242"/>
                </a:lnTo>
                <a:close/>
                <a:moveTo>
                  <a:pt x="1068" y="221"/>
                </a:moveTo>
                <a:cubicBezTo>
                  <a:pt x="1067" y="222"/>
                  <a:pt x="1067" y="222"/>
                  <a:pt x="1067" y="222"/>
                </a:cubicBezTo>
                <a:cubicBezTo>
                  <a:pt x="1068" y="223"/>
                  <a:pt x="1068" y="223"/>
                  <a:pt x="1068" y="223"/>
                </a:cubicBezTo>
                <a:cubicBezTo>
                  <a:pt x="1069" y="222"/>
                  <a:pt x="1069" y="222"/>
                  <a:pt x="1069" y="222"/>
                </a:cubicBezTo>
                <a:cubicBezTo>
                  <a:pt x="1069" y="221"/>
                  <a:pt x="1069" y="221"/>
                  <a:pt x="1069" y="221"/>
                </a:cubicBezTo>
                <a:cubicBezTo>
                  <a:pt x="1068" y="221"/>
                  <a:pt x="1068" y="221"/>
                  <a:pt x="1068" y="221"/>
                </a:cubicBezTo>
                <a:close/>
                <a:moveTo>
                  <a:pt x="1091" y="307"/>
                </a:moveTo>
                <a:cubicBezTo>
                  <a:pt x="1092" y="308"/>
                  <a:pt x="1092" y="308"/>
                  <a:pt x="1092" y="308"/>
                </a:cubicBezTo>
                <a:cubicBezTo>
                  <a:pt x="1093" y="307"/>
                  <a:pt x="1093" y="307"/>
                  <a:pt x="1093" y="307"/>
                </a:cubicBezTo>
                <a:cubicBezTo>
                  <a:pt x="1093" y="306"/>
                  <a:pt x="1093" y="306"/>
                  <a:pt x="1093" y="306"/>
                </a:cubicBezTo>
                <a:cubicBezTo>
                  <a:pt x="1091" y="306"/>
                  <a:pt x="1091" y="306"/>
                  <a:pt x="1091" y="306"/>
                </a:cubicBezTo>
                <a:cubicBezTo>
                  <a:pt x="1090" y="306"/>
                  <a:pt x="1090" y="306"/>
                  <a:pt x="1090" y="306"/>
                </a:cubicBezTo>
                <a:cubicBezTo>
                  <a:pt x="1091" y="307"/>
                  <a:pt x="1091" y="307"/>
                  <a:pt x="1091" y="307"/>
                </a:cubicBezTo>
                <a:close/>
                <a:moveTo>
                  <a:pt x="1107" y="306"/>
                </a:moveTo>
                <a:cubicBezTo>
                  <a:pt x="1108" y="305"/>
                  <a:pt x="1108" y="305"/>
                  <a:pt x="1108" y="305"/>
                </a:cubicBezTo>
                <a:cubicBezTo>
                  <a:pt x="1108" y="304"/>
                  <a:pt x="1108" y="304"/>
                  <a:pt x="1108" y="304"/>
                </a:cubicBezTo>
                <a:cubicBezTo>
                  <a:pt x="1106" y="304"/>
                  <a:pt x="1106" y="304"/>
                  <a:pt x="1106" y="304"/>
                </a:cubicBezTo>
                <a:cubicBezTo>
                  <a:pt x="1105" y="305"/>
                  <a:pt x="1105" y="305"/>
                  <a:pt x="1105" y="305"/>
                </a:cubicBezTo>
                <a:cubicBezTo>
                  <a:pt x="1106" y="306"/>
                  <a:pt x="1106" y="306"/>
                  <a:pt x="1106" y="306"/>
                </a:cubicBezTo>
                <a:lnTo>
                  <a:pt x="1107" y="306"/>
                </a:lnTo>
                <a:close/>
                <a:moveTo>
                  <a:pt x="1103" y="305"/>
                </a:moveTo>
                <a:cubicBezTo>
                  <a:pt x="1102" y="304"/>
                  <a:pt x="1102" y="304"/>
                  <a:pt x="1102" y="304"/>
                </a:cubicBezTo>
                <a:cubicBezTo>
                  <a:pt x="1101" y="305"/>
                  <a:pt x="1101" y="305"/>
                  <a:pt x="1101" y="305"/>
                </a:cubicBezTo>
                <a:cubicBezTo>
                  <a:pt x="1102" y="306"/>
                  <a:pt x="1102" y="306"/>
                  <a:pt x="1102" y="306"/>
                </a:cubicBezTo>
                <a:cubicBezTo>
                  <a:pt x="1103" y="306"/>
                  <a:pt x="1103" y="306"/>
                  <a:pt x="1103" y="306"/>
                </a:cubicBezTo>
                <a:lnTo>
                  <a:pt x="1103" y="305"/>
                </a:lnTo>
                <a:close/>
                <a:moveTo>
                  <a:pt x="2157" y="95"/>
                </a:moveTo>
                <a:cubicBezTo>
                  <a:pt x="2158" y="93"/>
                  <a:pt x="2158" y="93"/>
                  <a:pt x="2158" y="93"/>
                </a:cubicBezTo>
                <a:cubicBezTo>
                  <a:pt x="2157" y="88"/>
                  <a:pt x="2157" y="88"/>
                  <a:pt x="2157" y="88"/>
                </a:cubicBezTo>
                <a:cubicBezTo>
                  <a:pt x="2156" y="85"/>
                  <a:pt x="2156" y="85"/>
                  <a:pt x="2156" y="85"/>
                </a:cubicBezTo>
                <a:cubicBezTo>
                  <a:pt x="2155" y="85"/>
                  <a:pt x="2155" y="85"/>
                  <a:pt x="2155" y="85"/>
                </a:cubicBezTo>
                <a:cubicBezTo>
                  <a:pt x="2155" y="89"/>
                  <a:pt x="2155" y="89"/>
                  <a:pt x="2155" y="89"/>
                </a:cubicBezTo>
                <a:cubicBezTo>
                  <a:pt x="2156" y="91"/>
                  <a:pt x="2156" y="91"/>
                  <a:pt x="2156" y="91"/>
                </a:cubicBezTo>
                <a:cubicBezTo>
                  <a:pt x="2156" y="94"/>
                  <a:pt x="2156" y="94"/>
                  <a:pt x="2156" y="94"/>
                </a:cubicBezTo>
                <a:lnTo>
                  <a:pt x="2157" y="95"/>
                </a:lnTo>
                <a:close/>
                <a:moveTo>
                  <a:pt x="1355" y="6"/>
                </a:moveTo>
                <a:cubicBezTo>
                  <a:pt x="1355" y="7"/>
                  <a:pt x="1355" y="7"/>
                  <a:pt x="1355" y="7"/>
                </a:cubicBezTo>
                <a:cubicBezTo>
                  <a:pt x="1356" y="8"/>
                  <a:pt x="1356" y="8"/>
                  <a:pt x="1356" y="8"/>
                </a:cubicBezTo>
                <a:cubicBezTo>
                  <a:pt x="1357" y="8"/>
                  <a:pt x="1357" y="8"/>
                  <a:pt x="1357" y="8"/>
                </a:cubicBezTo>
                <a:cubicBezTo>
                  <a:pt x="1356" y="6"/>
                  <a:pt x="1356" y="6"/>
                  <a:pt x="1356" y="6"/>
                </a:cubicBezTo>
                <a:lnTo>
                  <a:pt x="1355" y="6"/>
                </a:lnTo>
                <a:close/>
                <a:moveTo>
                  <a:pt x="1307" y="143"/>
                </a:moveTo>
                <a:cubicBezTo>
                  <a:pt x="1308" y="143"/>
                  <a:pt x="1308" y="143"/>
                  <a:pt x="1308" y="143"/>
                </a:cubicBezTo>
                <a:cubicBezTo>
                  <a:pt x="1311" y="141"/>
                  <a:pt x="1311" y="141"/>
                  <a:pt x="1311" y="141"/>
                </a:cubicBezTo>
                <a:cubicBezTo>
                  <a:pt x="1311" y="136"/>
                  <a:pt x="1311" y="136"/>
                  <a:pt x="1311" y="136"/>
                </a:cubicBezTo>
                <a:cubicBezTo>
                  <a:pt x="1309" y="134"/>
                  <a:pt x="1309" y="134"/>
                  <a:pt x="1309" y="134"/>
                </a:cubicBezTo>
                <a:cubicBezTo>
                  <a:pt x="1309" y="132"/>
                  <a:pt x="1309" y="132"/>
                  <a:pt x="1309" y="132"/>
                </a:cubicBezTo>
                <a:cubicBezTo>
                  <a:pt x="1307" y="132"/>
                  <a:pt x="1307" y="132"/>
                  <a:pt x="1307" y="132"/>
                </a:cubicBezTo>
                <a:cubicBezTo>
                  <a:pt x="1301" y="135"/>
                  <a:pt x="1301" y="135"/>
                  <a:pt x="1301" y="135"/>
                </a:cubicBezTo>
                <a:cubicBezTo>
                  <a:pt x="1296" y="136"/>
                  <a:pt x="1296" y="136"/>
                  <a:pt x="1296" y="136"/>
                </a:cubicBezTo>
                <a:cubicBezTo>
                  <a:pt x="1294" y="137"/>
                  <a:pt x="1294" y="137"/>
                  <a:pt x="1294" y="137"/>
                </a:cubicBezTo>
                <a:cubicBezTo>
                  <a:pt x="1292" y="138"/>
                  <a:pt x="1292" y="138"/>
                  <a:pt x="1292" y="138"/>
                </a:cubicBezTo>
                <a:cubicBezTo>
                  <a:pt x="1291" y="140"/>
                  <a:pt x="1291" y="140"/>
                  <a:pt x="1291" y="140"/>
                </a:cubicBezTo>
                <a:cubicBezTo>
                  <a:pt x="1289" y="141"/>
                  <a:pt x="1289" y="141"/>
                  <a:pt x="1289" y="141"/>
                </a:cubicBezTo>
                <a:cubicBezTo>
                  <a:pt x="1289" y="142"/>
                  <a:pt x="1289" y="142"/>
                  <a:pt x="1289" y="142"/>
                </a:cubicBezTo>
                <a:cubicBezTo>
                  <a:pt x="1288" y="143"/>
                  <a:pt x="1288" y="143"/>
                  <a:pt x="1288" y="143"/>
                </a:cubicBezTo>
                <a:cubicBezTo>
                  <a:pt x="1288" y="144"/>
                  <a:pt x="1288" y="144"/>
                  <a:pt x="1288" y="144"/>
                </a:cubicBezTo>
                <a:cubicBezTo>
                  <a:pt x="1291" y="144"/>
                  <a:pt x="1291" y="144"/>
                  <a:pt x="1291" y="144"/>
                </a:cubicBezTo>
                <a:cubicBezTo>
                  <a:pt x="1295" y="143"/>
                  <a:pt x="1295" y="143"/>
                  <a:pt x="1295" y="143"/>
                </a:cubicBezTo>
                <a:cubicBezTo>
                  <a:pt x="1299" y="144"/>
                  <a:pt x="1299" y="144"/>
                  <a:pt x="1299" y="144"/>
                </a:cubicBezTo>
                <a:cubicBezTo>
                  <a:pt x="1301" y="143"/>
                  <a:pt x="1301" y="143"/>
                  <a:pt x="1301" y="143"/>
                </a:cubicBezTo>
                <a:cubicBezTo>
                  <a:pt x="1303" y="142"/>
                  <a:pt x="1303" y="142"/>
                  <a:pt x="1303" y="142"/>
                </a:cubicBezTo>
                <a:cubicBezTo>
                  <a:pt x="1305" y="144"/>
                  <a:pt x="1305" y="144"/>
                  <a:pt x="1305" y="144"/>
                </a:cubicBezTo>
                <a:lnTo>
                  <a:pt x="1307" y="143"/>
                </a:lnTo>
                <a:close/>
                <a:moveTo>
                  <a:pt x="1357" y="45"/>
                </a:moveTo>
                <a:cubicBezTo>
                  <a:pt x="1357" y="46"/>
                  <a:pt x="1357" y="46"/>
                  <a:pt x="1357" y="46"/>
                </a:cubicBezTo>
                <a:cubicBezTo>
                  <a:pt x="1357" y="49"/>
                  <a:pt x="1357" y="49"/>
                  <a:pt x="1357" y="49"/>
                </a:cubicBezTo>
                <a:cubicBezTo>
                  <a:pt x="1357" y="51"/>
                  <a:pt x="1357" y="51"/>
                  <a:pt x="1357" y="51"/>
                </a:cubicBezTo>
                <a:cubicBezTo>
                  <a:pt x="1359" y="52"/>
                  <a:pt x="1359" y="52"/>
                  <a:pt x="1359" y="52"/>
                </a:cubicBezTo>
                <a:cubicBezTo>
                  <a:pt x="1360" y="51"/>
                  <a:pt x="1360" y="51"/>
                  <a:pt x="1360" y="51"/>
                </a:cubicBezTo>
                <a:cubicBezTo>
                  <a:pt x="1360" y="50"/>
                  <a:pt x="1360" y="50"/>
                  <a:pt x="1360" y="50"/>
                </a:cubicBezTo>
                <a:cubicBezTo>
                  <a:pt x="1361" y="49"/>
                  <a:pt x="1361" y="49"/>
                  <a:pt x="1361" y="49"/>
                </a:cubicBezTo>
                <a:cubicBezTo>
                  <a:pt x="1361" y="47"/>
                  <a:pt x="1361" y="47"/>
                  <a:pt x="1361" y="47"/>
                </a:cubicBezTo>
                <a:cubicBezTo>
                  <a:pt x="1359" y="45"/>
                  <a:pt x="1359" y="45"/>
                  <a:pt x="1359" y="45"/>
                </a:cubicBezTo>
                <a:lnTo>
                  <a:pt x="1357" y="45"/>
                </a:lnTo>
                <a:close/>
                <a:moveTo>
                  <a:pt x="1359" y="12"/>
                </a:moveTo>
                <a:cubicBezTo>
                  <a:pt x="1360" y="11"/>
                  <a:pt x="1360" y="11"/>
                  <a:pt x="1360" y="11"/>
                </a:cubicBezTo>
                <a:cubicBezTo>
                  <a:pt x="1359" y="10"/>
                  <a:pt x="1359" y="10"/>
                  <a:pt x="1359" y="10"/>
                </a:cubicBezTo>
                <a:cubicBezTo>
                  <a:pt x="1358" y="10"/>
                  <a:pt x="1358" y="10"/>
                  <a:pt x="1358" y="10"/>
                </a:cubicBezTo>
                <a:cubicBezTo>
                  <a:pt x="1357" y="10"/>
                  <a:pt x="1357" y="10"/>
                  <a:pt x="1357" y="10"/>
                </a:cubicBezTo>
                <a:cubicBezTo>
                  <a:pt x="1357" y="12"/>
                  <a:pt x="1357" y="12"/>
                  <a:pt x="1357" y="12"/>
                </a:cubicBezTo>
                <a:cubicBezTo>
                  <a:pt x="1357" y="12"/>
                  <a:pt x="1357" y="12"/>
                  <a:pt x="1357" y="12"/>
                </a:cubicBezTo>
                <a:lnTo>
                  <a:pt x="1359" y="12"/>
                </a:lnTo>
                <a:close/>
                <a:moveTo>
                  <a:pt x="1067" y="219"/>
                </a:moveTo>
                <a:cubicBezTo>
                  <a:pt x="1067" y="220"/>
                  <a:pt x="1067" y="220"/>
                  <a:pt x="1067" y="220"/>
                </a:cubicBezTo>
                <a:cubicBezTo>
                  <a:pt x="1069" y="220"/>
                  <a:pt x="1069" y="220"/>
                  <a:pt x="1069" y="220"/>
                </a:cubicBezTo>
                <a:cubicBezTo>
                  <a:pt x="1069" y="219"/>
                  <a:pt x="1069" y="219"/>
                  <a:pt x="1069" y="219"/>
                </a:cubicBezTo>
                <a:cubicBezTo>
                  <a:pt x="1068" y="218"/>
                  <a:pt x="1068" y="218"/>
                  <a:pt x="1068" y="218"/>
                </a:cubicBezTo>
                <a:lnTo>
                  <a:pt x="1067" y="219"/>
                </a:lnTo>
                <a:close/>
                <a:moveTo>
                  <a:pt x="2161" y="93"/>
                </a:moveTo>
                <a:cubicBezTo>
                  <a:pt x="2160" y="91"/>
                  <a:pt x="2160" y="91"/>
                  <a:pt x="2160" y="91"/>
                </a:cubicBezTo>
                <a:cubicBezTo>
                  <a:pt x="2159" y="91"/>
                  <a:pt x="2159" y="91"/>
                  <a:pt x="2159" y="91"/>
                </a:cubicBezTo>
                <a:cubicBezTo>
                  <a:pt x="2159" y="93"/>
                  <a:pt x="2159" y="93"/>
                  <a:pt x="2159" y="93"/>
                </a:cubicBezTo>
                <a:cubicBezTo>
                  <a:pt x="2160" y="95"/>
                  <a:pt x="2160" y="95"/>
                  <a:pt x="2160" y="95"/>
                </a:cubicBezTo>
                <a:lnTo>
                  <a:pt x="2161" y="93"/>
                </a:lnTo>
                <a:close/>
                <a:moveTo>
                  <a:pt x="1151" y="278"/>
                </a:moveTo>
                <a:cubicBezTo>
                  <a:pt x="1151" y="277"/>
                  <a:pt x="1151" y="277"/>
                  <a:pt x="1151" y="277"/>
                </a:cubicBezTo>
                <a:cubicBezTo>
                  <a:pt x="1149" y="277"/>
                  <a:pt x="1149" y="277"/>
                  <a:pt x="1149" y="277"/>
                </a:cubicBezTo>
                <a:cubicBezTo>
                  <a:pt x="1148" y="276"/>
                  <a:pt x="1148" y="276"/>
                  <a:pt x="1148" y="276"/>
                </a:cubicBezTo>
                <a:cubicBezTo>
                  <a:pt x="1147" y="277"/>
                  <a:pt x="1147" y="277"/>
                  <a:pt x="1147" y="277"/>
                </a:cubicBezTo>
                <a:cubicBezTo>
                  <a:pt x="1147" y="278"/>
                  <a:pt x="1147" y="278"/>
                  <a:pt x="1147" y="278"/>
                </a:cubicBezTo>
                <a:cubicBezTo>
                  <a:pt x="1149" y="278"/>
                  <a:pt x="1149" y="278"/>
                  <a:pt x="1149" y="278"/>
                </a:cubicBezTo>
                <a:cubicBezTo>
                  <a:pt x="1149" y="279"/>
                  <a:pt x="1149" y="279"/>
                  <a:pt x="1149" y="279"/>
                </a:cubicBezTo>
                <a:cubicBezTo>
                  <a:pt x="1151" y="279"/>
                  <a:pt x="1151" y="279"/>
                  <a:pt x="1151" y="279"/>
                </a:cubicBezTo>
                <a:lnTo>
                  <a:pt x="1151" y="278"/>
                </a:lnTo>
                <a:close/>
                <a:moveTo>
                  <a:pt x="1155" y="274"/>
                </a:moveTo>
                <a:cubicBezTo>
                  <a:pt x="1155" y="275"/>
                  <a:pt x="1155" y="275"/>
                  <a:pt x="1155" y="275"/>
                </a:cubicBezTo>
                <a:cubicBezTo>
                  <a:pt x="1156" y="275"/>
                  <a:pt x="1156" y="275"/>
                  <a:pt x="1156" y="275"/>
                </a:cubicBezTo>
                <a:cubicBezTo>
                  <a:pt x="1156" y="273"/>
                  <a:pt x="1156" y="273"/>
                  <a:pt x="1156" y="273"/>
                </a:cubicBezTo>
                <a:lnTo>
                  <a:pt x="1155" y="274"/>
                </a:lnTo>
                <a:close/>
                <a:moveTo>
                  <a:pt x="1159" y="266"/>
                </a:moveTo>
                <a:cubicBezTo>
                  <a:pt x="1158" y="265"/>
                  <a:pt x="1158" y="265"/>
                  <a:pt x="1158" y="265"/>
                </a:cubicBezTo>
                <a:cubicBezTo>
                  <a:pt x="1156" y="264"/>
                  <a:pt x="1156" y="264"/>
                  <a:pt x="1156" y="264"/>
                </a:cubicBezTo>
                <a:cubicBezTo>
                  <a:pt x="1155" y="263"/>
                  <a:pt x="1155" y="263"/>
                  <a:pt x="1155" y="263"/>
                </a:cubicBezTo>
                <a:cubicBezTo>
                  <a:pt x="1155" y="263"/>
                  <a:pt x="1155" y="263"/>
                  <a:pt x="1155" y="263"/>
                </a:cubicBezTo>
                <a:cubicBezTo>
                  <a:pt x="1155" y="264"/>
                  <a:pt x="1155" y="264"/>
                  <a:pt x="1155" y="264"/>
                </a:cubicBezTo>
                <a:cubicBezTo>
                  <a:pt x="1156" y="265"/>
                  <a:pt x="1156" y="265"/>
                  <a:pt x="1156" y="265"/>
                </a:cubicBezTo>
                <a:cubicBezTo>
                  <a:pt x="1158" y="266"/>
                  <a:pt x="1158" y="266"/>
                  <a:pt x="1158" y="266"/>
                </a:cubicBezTo>
                <a:cubicBezTo>
                  <a:pt x="1158" y="267"/>
                  <a:pt x="1158" y="267"/>
                  <a:pt x="1158" y="267"/>
                </a:cubicBezTo>
                <a:lnTo>
                  <a:pt x="1159" y="266"/>
                </a:lnTo>
                <a:close/>
                <a:moveTo>
                  <a:pt x="1311" y="131"/>
                </a:moveTo>
                <a:cubicBezTo>
                  <a:pt x="1310" y="131"/>
                  <a:pt x="1310" y="131"/>
                  <a:pt x="1310" y="131"/>
                </a:cubicBezTo>
                <a:cubicBezTo>
                  <a:pt x="1310" y="131"/>
                  <a:pt x="1310" y="131"/>
                  <a:pt x="1310" y="131"/>
                </a:cubicBezTo>
                <a:cubicBezTo>
                  <a:pt x="1310" y="133"/>
                  <a:pt x="1310" y="133"/>
                  <a:pt x="1310" y="133"/>
                </a:cubicBezTo>
                <a:cubicBezTo>
                  <a:pt x="1311" y="133"/>
                  <a:pt x="1311" y="133"/>
                  <a:pt x="1311" y="133"/>
                </a:cubicBezTo>
                <a:cubicBezTo>
                  <a:pt x="1311" y="133"/>
                  <a:pt x="1311" y="133"/>
                  <a:pt x="1311" y="133"/>
                </a:cubicBezTo>
                <a:lnTo>
                  <a:pt x="1311" y="131"/>
                </a:lnTo>
                <a:close/>
                <a:moveTo>
                  <a:pt x="1293" y="136"/>
                </a:moveTo>
                <a:cubicBezTo>
                  <a:pt x="1294" y="135"/>
                  <a:pt x="1294" y="135"/>
                  <a:pt x="1294" y="135"/>
                </a:cubicBezTo>
                <a:cubicBezTo>
                  <a:pt x="1293" y="136"/>
                  <a:pt x="1293" y="136"/>
                  <a:pt x="1293" y="136"/>
                </a:cubicBezTo>
                <a:cubicBezTo>
                  <a:pt x="1292" y="137"/>
                  <a:pt x="1292" y="137"/>
                  <a:pt x="1292" y="137"/>
                </a:cubicBezTo>
                <a:cubicBezTo>
                  <a:pt x="1292" y="137"/>
                  <a:pt x="1292" y="137"/>
                  <a:pt x="1292" y="137"/>
                </a:cubicBezTo>
                <a:lnTo>
                  <a:pt x="1293" y="136"/>
                </a:lnTo>
                <a:close/>
                <a:moveTo>
                  <a:pt x="1301" y="145"/>
                </a:moveTo>
                <a:cubicBezTo>
                  <a:pt x="1302" y="145"/>
                  <a:pt x="1302" y="145"/>
                  <a:pt x="1302" y="145"/>
                </a:cubicBezTo>
                <a:cubicBezTo>
                  <a:pt x="1303" y="145"/>
                  <a:pt x="1303" y="145"/>
                  <a:pt x="1303" y="145"/>
                </a:cubicBezTo>
                <a:cubicBezTo>
                  <a:pt x="1303" y="144"/>
                  <a:pt x="1303" y="144"/>
                  <a:pt x="1303" y="144"/>
                </a:cubicBezTo>
                <a:cubicBezTo>
                  <a:pt x="1301" y="144"/>
                  <a:pt x="1301" y="144"/>
                  <a:pt x="1301" y="144"/>
                </a:cubicBezTo>
                <a:cubicBezTo>
                  <a:pt x="1301" y="144"/>
                  <a:pt x="1301" y="145"/>
                  <a:pt x="1301" y="145"/>
                </a:cubicBezTo>
                <a:close/>
                <a:moveTo>
                  <a:pt x="1078" y="124"/>
                </a:moveTo>
                <a:cubicBezTo>
                  <a:pt x="1079" y="123"/>
                  <a:pt x="1079" y="123"/>
                  <a:pt x="1079" y="123"/>
                </a:cubicBezTo>
                <a:cubicBezTo>
                  <a:pt x="1077" y="121"/>
                  <a:pt x="1077" y="121"/>
                  <a:pt x="1077" y="121"/>
                </a:cubicBezTo>
                <a:cubicBezTo>
                  <a:pt x="1076" y="121"/>
                  <a:pt x="1076" y="121"/>
                  <a:pt x="1076" y="121"/>
                </a:cubicBezTo>
                <a:cubicBezTo>
                  <a:pt x="1076" y="122"/>
                  <a:pt x="1076" y="122"/>
                  <a:pt x="1076" y="122"/>
                </a:cubicBezTo>
                <a:cubicBezTo>
                  <a:pt x="1077" y="123"/>
                  <a:pt x="1077" y="123"/>
                  <a:pt x="1077" y="123"/>
                </a:cubicBezTo>
                <a:lnTo>
                  <a:pt x="1078" y="124"/>
                </a:lnTo>
                <a:close/>
                <a:moveTo>
                  <a:pt x="1085" y="32"/>
                </a:moveTo>
                <a:cubicBezTo>
                  <a:pt x="1086" y="32"/>
                  <a:pt x="1086" y="32"/>
                  <a:pt x="1086" y="32"/>
                </a:cubicBezTo>
                <a:cubicBezTo>
                  <a:pt x="1086" y="31"/>
                  <a:pt x="1086" y="31"/>
                  <a:pt x="1086" y="31"/>
                </a:cubicBezTo>
                <a:cubicBezTo>
                  <a:pt x="1085" y="31"/>
                  <a:pt x="1085" y="31"/>
                  <a:pt x="1085" y="31"/>
                </a:cubicBezTo>
                <a:lnTo>
                  <a:pt x="1085" y="32"/>
                </a:lnTo>
                <a:close/>
                <a:moveTo>
                  <a:pt x="1089" y="66"/>
                </a:moveTo>
                <a:cubicBezTo>
                  <a:pt x="1088" y="66"/>
                  <a:pt x="1088" y="66"/>
                  <a:pt x="1088" y="66"/>
                </a:cubicBezTo>
                <a:cubicBezTo>
                  <a:pt x="1087" y="67"/>
                  <a:pt x="1087" y="67"/>
                  <a:pt x="1087" y="67"/>
                </a:cubicBezTo>
                <a:cubicBezTo>
                  <a:pt x="1087" y="67"/>
                  <a:pt x="1088" y="68"/>
                  <a:pt x="1088" y="67"/>
                </a:cubicBezTo>
                <a:cubicBezTo>
                  <a:pt x="1089" y="67"/>
                  <a:pt x="1089" y="67"/>
                  <a:pt x="1089" y="67"/>
                </a:cubicBezTo>
                <a:lnTo>
                  <a:pt x="1089" y="66"/>
                </a:lnTo>
                <a:close/>
                <a:moveTo>
                  <a:pt x="1090" y="30"/>
                </a:moveTo>
                <a:cubicBezTo>
                  <a:pt x="1090" y="30"/>
                  <a:pt x="1090" y="30"/>
                  <a:pt x="1090" y="30"/>
                </a:cubicBezTo>
                <a:cubicBezTo>
                  <a:pt x="1091" y="29"/>
                  <a:pt x="1091" y="29"/>
                  <a:pt x="1091" y="29"/>
                </a:cubicBezTo>
                <a:cubicBezTo>
                  <a:pt x="1089" y="27"/>
                  <a:pt x="1089" y="27"/>
                  <a:pt x="1089" y="27"/>
                </a:cubicBezTo>
                <a:cubicBezTo>
                  <a:pt x="1087" y="27"/>
                  <a:pt x="1087" y="27"/>
                  <a:pt x="1087" y="27"/>
                </a:cubicBezTo>
                <a:cubicBezTo>
                  <a:pt x="1086" y="28"/>
                  <a:pt x="1086" y="28"/>
                  <a:pt x="1086" y="28"/>
                </a:cubicBezTo>
                <a:cubicBezTo>
                  <a:pt x="1084" y="26"/>
                  <a:pt x="1084" y="26"/>
                  <a:pt x="1084" y="26"/>
                </a:cubicBezTo>
                <a:cubicBezTo>
                  <a:pt x="1083" y="26"/>
                  <a:pt x="1083" y="26"/>
                  <a:pt x="1083" y="26"/>
                </a:cubicBezTo>
                <a:cubicBezTo>
                  <a:pt x="1082" y="27"/>
                  <a:pt x="1082" y="27"/>
                  <a:pt x="1082" y="27"/>
                </a:cubicBezTo>
                <a:cubicBezTo>
                  <a:pt x="1082" y="28"/>
                  <a:pt x="1082" y="28"/>
                  <a:pt x="1082" y="28"/>
                </a:cubicBezTo>
                <a:cubicBezTo>
                  <a:pt x="1084" y="28"/>
                  <a:pt x="1084" y="28"/>
                  <a:pt x="1084" y="28"/>
                </a:cubicBezTo>
                <a:cubicBezTo>
                  <a:pt x="1085" y="29"/>
                  <a:pt x="1085" y="29"/>
                  <a:pt x="1085" y="29"/>
                </a:cubicBezTo>
                <a:cubicBezTo>
                  <a:pt x="1088" y="29"/>
                  <a:pt x="1088" y="29"/>
                  <a:pt x="1088" y="29"/>
                </a:cubicBezTo>
                <a:lnTo>
                  <a:pt x="1090" y="30"/>
                </a:lnTo>
                <a:close/>
                <a:moveTo>
                  <a:pt x="1085" y="72"/>
                </a:moveTo>
                <a:cubicBezTo>
                  <a:pt x="1084" y="74"/>
                  <a:pt x="1084" y="74"/>
                  <a:pt x="1084" y="74"/>
                </a:cubicBezTo>
                <a:cubicBezTo>
                  <a:pt x="1083" y="74"/>
                  <a:pt x="1083" y="74"/>
                  <a:pt x="1083" y="74"/>
                </a:cubicBezTo>
                <a:cubicBezTo>
                  <a:pt x="1084" y="75"/>
                  <a:pt x="1084" y="75"/>
                  <a:pt x="1084" y="75"/>
                </a:cubicBezTo>
                <a:cubicBezTo>
                  <a:pt x="1084" y="76"/>
                  <a:pt x="1084" y="76"/>
                  <a:pt x="1084" y="76"/>
                </a:cubicBezTo>
                <a:cubicBezTo>
                  <a:pt x="1084" y="76"/>
                  <a:pt x="1084" y="76"/>
                  <a:pt x="1084" y="76"/>
                </a:cubicBezTo>
                <a:cubicBezTo>
                  <a:pt x="1085" y="76"/>
                  <a:pt x="1085" y="76"/>
                  <a:pt x="1085" y="76"/>
                </a:cubicBezTo>
                <a:cubicBezTo>
                  <a:pt x="1088" y="73"/>
                  <a:pt x="1088" y="73"/>
                  <a:pt x="1088" y="73"/>
                </a:cubicBezTo>
                <a:cubicBezTo>
                  <a:pt x="1090" y="72"/>
                  <a:pt x="1090" y="72"/>
                  <a:pt x="1090" y="72"/>
                </a:cubicBezTo>
                <a:cubicBezTo>
                  <a:pt x="1090" y="71"/>
                  <a:pt x="1090" y="71"/>
                  <a:pt x="1090" y="71"/>
                </a:cubicBezTo>
                <a:cubicBezTo>
                  <a:pt x="1088" y="71"/>
                  <a:pt x="1088" y="71"/>
                  <a:pt x="1088" y="71"/>
                </a:cubicBezTo>
                <a:cubicBezTo>
                  <a:pt x="1086" y="72"/>
                  <a:pt x="1086" y="72"/>
                  <a:pt x="1086" y="72"/>
                </a:cubicBezTo>
                <a:lnTo>
                  <a:pt x="1085" y="72"/>
                </a:lnTo>
                <a:close/>
                <a:moveTo>
                  <a:pt x="1102" y="123"/>
                </a:moveTo>
                <a:cubicBezTo>
                  <a:pt x="1103" y="124"/>
                  <a:pt x="1103" y="124"/>
                  <a:pt x="1103" y="124"/>
                </a:cubicBezTo>
                <a:cubicBezTo>
                  <a:pt x="1103" y="123"/>
                  <a:pt x="1103" y="123"/>
                  <a:pt x="1103" y="123"/>
                </a:cubicBezTo>
                <a:cubicBezTo>
                  <a:pt x="1102" y="122"/>
                  <a:pt x="1102" y="122"/>
                  <a:pt x="1102" y="122"/>
                </a:cubicBezTo>
                <a:cubicBezTo>
                  <a:pt x="1102" y="121"/>
                  <a:pt x="1102" y="121"/>
                  <a:pt x="1102" y="121"/>
                </a:cubicBezTo>
                <a:lnTo>
                  <a:pt x="1102" y="123"/>
                </a:lnTo>
                <a:close/>
                <a:moveTo>
                  <a:pt x="1100" y="117"/>
                </a:moveTo>
                <a:cubicBezTo>
                  <a:pt x="1100" y="118"/>
                  <a:pt x="1100" y="118"/>
                  <a:pt x="1100" y="118"/>
                </a:cubicBezTo>
                <a:cubicBezTo>
                  <a:pt x="1102" y="119"/>
                  <a:pt x="1102" y="119"/>
                  <a:pt x="1102" y="119"/>
                </a:cubicBezTo>
                <a:cubicBezTo>
                  <a:pt x="1103" y="119"/>
                  <a:pt x="1103" y="119"/>
                  <a:pt x="1103" y="119"/>
                </a:cubicBezTo>
                <a:cubicBezTo>
                  <a:pt x="1102" y="117"/>
                  <a:pt x="1102" y="117"/>
                  <a:pt x="1102" y="117"/>
                </a:cubicBezTo>
                <a:cubicBezTo>
                  <a:pt x="1102" y="117"/>
                  <a:pt x="1100" y="117"/>
                  <a:pt x="1100" y="117"/>
                </a:cubicBezTo>
                <a:close/>
                <a:moveTo>
                  <a:pt x="1087" y="77"/>
                </a:moveTo>
                <a:cubicBezTo>
                  <a:pt x="1088" y="77"/>
                  <a:pt x="1088" y="77"/>
                  <a:pt x="1088" y="77"/>
                </a:cubicBezTo>
                <a:cubicBezTo>
                  <a:pt x="1087" y="76"/>
                  <a:pt x="1087" y="76"/>
                  <a:pt x="1087" y="76"/>
                </a:cubicBezTo>
                <a:cubicBezTo>
                  <a:pt x="1086" y="77"/>
                  <a:pt x="1086" y="77"/>
                  <a:pt x="1086" y="77"/>
                </a:cubicBezTo>
                <a:lnTo>
                  <a:pt x="1087" y="77"/>
                </a:lnTo>
                <a:close/>
                <a:moveTo>
                  <a:pt x="1084" y="65"/>
                </a:moveTo>
                <a:cubicBezTo>
                  <a:pt x="1085" y="66"/>
                  <a:pt x="1085" y="66"/>
                  <a:pt x="1085" y="66"/>
                </a:cubicBezTo>
                <a:cubicBezTo>
                  <a:pt x="1086" y="66"/>
                  <a:pt x="1086" y="66"/>
                  <a:pt x="1086" y="66"/>
                </a:cubicBezTo>
                <a:cubicBezTo>
                  <a:pt x="1087" y="65"/>
                  <a:pt x="1087" y="65"/>
                  <a:pt x="1087" y="65"/>
                </a:cubicBezTo>
                <a:cubicBezTo>
                  <a:pt x="1086" y="65"/>
                  <a:pt x="1086" y="65"/>
                  <a:pt x="1086" y="65"/>
                </a:cubicBezTo>
                <a:lnTo>
                  <a:pt x="1084" y="65"/>
                </a:lnTo>
                <a:close/>
                <a:moveTo>
                  <a:pt x="1089" y="75"/>
                </a:moveTo>
                <a:cubicBezTo>
                  <a:pt x="1089" y="74"/>
                  <a:pt x="1089" y="74"/>
                  <a:pt x="1089" y="74"/>
                </a:cubicBezTo>
                <a:cubicBezTo>
                  <a:pt x="1088" y="75"/>
                  <a:pt x="1088" y="75"/>
                  <a:pt x="1088" y="75"/>
                </a:cubicBezTo>
                <a:cubicBezTo>
                  <a:pt x="1088" y="75"/>
                  <a:pt x="1088" y="75"/>
                  <a:pt x="1088" y="75"/>
                </a:cubicBezTo>
                <a:lnTo>
                  <a:pt x="1089" y="75"/>
                </a:lnTo>
                <a:close/>
                <a:moveTo>
                  <a:pt x="1086" y="61"/>
                </a:moveTo>
                <a:cubicBezTo>
                  <a:pt x="1085" y="61"/>
                  <a:pt x="1085" y="61"/>
                  <a:pt x="1085" y="61"/>
                </a:cubicBezTo>
                <a:cubicBezTo>
                  <a:pt x="1085" y="62"/>
                  <a:pt x="1085" y="62"/>
                  <a:pt x="1085" y="62"/>
                </a:cubicBezTo>
                <a:cubicBezTo>
                  <a:pt x="1086" y="62"/>
                  <a:pt x="1086" y="62"/>
                  <a:pt x="1086" y="62"/>
                </a:cubicBezTo>
                <a:lnTo>
                  <a:pt x="1086" y="61"/>
                </a:lnTo>
                <a:close/>
                <a:moveTo>
                  <a:pt x="1083" y="77"/>
                </a:moveTo>
                <a:cubicBezTo>
                  <a:pt x="1083" y="78"/>
                  <a:pt x="1083" y="78"/>
                  <a:pt x="1083" y="78"/>
                </a:cubicBezTo>
                <a:cubicBezTo>
                  <a:pt x="1084" y="78"/>
                  <a:pt x="1084" y="78"/>
                  <a:pt x="1084" y="78"/>
                </a:cubicBezTo>
                <a:cubicBezTo>
                  <a:pt x="1085" y="77"/>
                  <a:pt x="1085" y="77"/>
                  <a:pt x="1085" y="77"/>
                </a:cubicBezTo>
                <a:cubicBezTo>
                  <a:pt x="1084" y="77"/>
                  <a:pt x="1084" y="77"/>
                  <a:pt x="1084" y="77"/>
                </a:cubicBezTo>
                <a:lnTo>
                  <a:pt x="1083" y="77"/>
                </a:lnTo>
                <a:close/>
                <a:moveTo>
                  <a:pt x="1095" y="111"/>
                </a:moveTo>
                <a:cubicBezTo>
                  <a:pt x="1096" y="111"/>
                  <a:pt x="1096" y="111"/>
                  <a:pt x="1096" y="111"/>
                </a:cubicBezTo>
                <a:cubicBezTo>
                  <a:pt x="1098" y="111"/>
                  <a:pt x="1098" y="111"/>
                  <a:pt x="1098" y="111"/>
                </a:cubicBezTo>
                <a:cubicBezTo>
                  <a:pt x="1099" y="109"/>
                  <a:pt x="1099" y="109"/>
                  <a:pt x="1099" y="109"/>
                </a:cubicBezTo>
                <a:cubicBezTo>
                  <a:pt x="1099" y="107"/>
                  <a:pt x="1099" y="107"/>
                  <a:pt x="1099" y="107"/>
                </a:cubicBezTo>
                <a:cubicBezTo>
                  <a:pt x="1097" y="107"/>
                  <a:pt x="1097" y="107"/>
                  <a:pt x="1097" y="107"/>
                </a:cubicBezTo>
                <a:cubicBezTo>
                  <a:pt x="1096" y="107"/>
                  <a:pt x="1096" y="107"/>
                  <a:pt x="1096" y="107"/>
                </a:cubicBezTo>
                <a:lnTo>
                  <a:pt x="1095" y="111"/>
                </a:lnTo>
                <a:close/>
                <a:moveTo>
                  <a:pt x="1091" y="171"/>
                </a:moveTo>
                <a:cubicBezTo>
                  <a:pt x="1088" y="171"/>
                  <a:pt x="1088" y="171"/>
                  <a:pt x="1088" y="171"/>
                </a:cubicBezTo>
                <a:cubicBezTo>
                  <a:pt x="1087" y="171"/>
                  <a:pt x="1087" y="171"/>
                  <a:pt x="1087" y="171"/>
                </a:cubicBezTo>
                <a:cubicBezTo>
                  <a:pt x="1087" y="172"/>
                  <a:pt x="1087" y="172"/>
                  <a:pt x="1087" y="172"/>
                </a:cubicBezTo>
                <a:cubicBezTo>
                  <a:pt x="1088" y="173"/>
                  <a:pt x="1088" y="173"/>
                  <a:pt x="1088" y="173"/>
                </a:cubicBezTo>
                <a:cubicBezTo>
                  <a:pt x="1091" y="172"/>
                  <a:pt x="1091" y="172"/>
                  <a:pt x="1091" y="172"/>
                </a:cubicBezTo>
                <a:lnTo>
                  <a:pt x="1091" y="171"/>
                </a:lnTo>
                <a:close/>
                <a:moveTo>
                  <a:pt x="1091" y="163"/>
                </a:moveTo>
                <a:cubicBezTo>
                  <a:pt x="1092" y="162"/>
                  <a:pt x="1092" y="162"/>
                  <a:pt x="1092" y="162"/>
                </a:cubicBezTo>
                <a:cubicBezTo>
                  <a:pt x="1090" y="162"/>
                  <a:pt x="1090" y="162"/>
                  <a:pt x="1090" y="162"/>
                </a:cubicBezTo>
                <a:cubicBezTo>
                  <a:pt x="1088" y="162"/>
                  <a:pt x="1088" y="162"/>
                  <a:pt x="1088" y="162"/>
                </a:cubicBezTo>
                <a:cubicBezTo>
                  <a:pt x="1089" y="163"/>
                  <a:pt x="1089" y="163"/>
                  <a:pt x="1089" y="163"/>
                </a:cubicBezTo>
                <a:lnTo>
                  <a:pt x="1091" y="163"/>
                </a:lnTo>
                <a:close/>
                <a:moveTo>
                  <a:pt x="1099" y="100"/>
                </a:moveTo>
                <a:cubicBezTo>
                  <a:pt x="1097" y="100"/>
                  <a:pt x="1097" y="100"/>
                  <a:pt x="1097" y="100"/>
                </a:cubicBezTo>
                <a:cubicBezTo>
                  <a:pt x="1096" y="99"/>
                  <a:pt x="1096" y="99"/>
                  <a:pt x="1096" y="99"/>
                </a:cubicBezTo>
                <a:cubicBezTo>
                  <a:pt x="1095" y="100"/>
                  <a:pt x="1095" y="100"/>
                  <a:pt x="1095" y="100"/>
                </a:cubicBezTo>
                <a:cubicBezTo>
                  <a:pt x="1094" y="102"/>
                  <a:pt x="1094" y="102"/>
                  <a:pt x="1094" y="102"/>
                </a:cubicBezTo>
                <a:cubicBezTo>
                  <a:pt x="1095" y="103"/>
                  <a:pt x="1095" y="103"/>
                  <a:pt x="1095" y="103"/>
                </a:cubicBezTo>
                <a:cubicBezTo>
                  <a:pt x="1096" y="103"/>
                  <a:pt x="1096" y="103"/>
                  <a:pt x="1096" y="103"/>
                </a:cubicBezTo>
                <a:cubicBezTo>
                  <a:pt x="1098" y="102"/>
                  <a:pt x="1098" y="102"/>
                  <a:pt x="1098" y="102"/>
                </a:cubicBezTo>
                <a:cubicBezTo>
                  <a:pt x="1099" y="101"/>
                  <a:pt x="1099" y="101"/>
                  <a:pt x="1099" y="101"/>
                </a:cubicBezTo>
                <a:lnTo>
                  <a:pt x="1099" y="100"/>
                </a:lnTo>
                <a:close/>
                <a:moveTo>
                  <a:pt x="2155" y="84"/>
                </a:moveTo>
                <a:cubicBezTo>
                  <a:pt x="2155" y="82"/>
                  <a:pt x="2155" y="82"/>
                  <a:pt x="2155" y="82"/>
                </a:cubicBezTo>
                <a:cubicBezTo>
                  <a:pt x="2153" y="81"/>
                  <a:pt x="2153" y="81"/>
                  <a:pt x="2153" y="81"/>
                </a:cubicBezTo>
                <a:cubicBezTo>
                  <a:pt x="2153" y="81"/>
                  <a:pt x="2153" y="81"/>
                  <a:pt x="2153" y="81"/>
                </a:cubicBezTo>
                <a:cubicBezTo>
                  <a:pt x="2154" y="83"/>
                  <a:pt x="2154" y="83"/>
                  <a:pt x="2154" y="83"/>
                </a:cubicBezTo>
                <a:lnTo>
                  <a:pt x="2155" y="84"/>
                </a:lnTo>
                <a:close/>
                <a:moveTo>
                  <a:pt x="1074" y="140"/>
                </a:moveTo>
                <a:cubicBezTo>
                  <a:pt x="1073" y="140"/>
                  <a:pt x="1073" y="140"/>
                  <a:pt x="1073" y="140"/>
                </a:cubicBezTo>
                <a:cubicBezTo>
                  <a:pt x="1074" y="142"/>
                  <a:pt x="1074" y="142"/>
                  <a:pt x="1074" y="142"/>
                </a:cubicBezTo>
                <a:cubicBezTo>
                  <a:pt x="1079" y="143"/>
                  <a:pt x="1079" y="143"/>
                  <a:pt x="1079" y="143"/>
                </a:cubicBezTo>
                <a:cubicBezTo>
                  <a:pt x="1080" y="144"/>
                  <a:pt x="1080" y="144"/>
                  <a:pt x="1080" y="144"/>
                </a:cubicBezTo>
                <a:cubicBezTo>
                  <a:pt x="1081" y="145"/>
                  <a:pt x="1081" y="145"/>
                  <a:pt x="1081" y="145"/>
                </a:cubicBezTo>
                <a:cubicBezTo>
                  <a:pt x="1084" y="143"/>
                  <a:pt x="1084" y="143"/>
                  <a:pt x="1084" y="143"/>
                </a:cubicBezTo>
                <a:cubicBezTo>
                  <a:pt x="1082" y="145"/>
                  <a:pt x="1082" y="145"/>
                  <a:pt x="1082" y="145"/>
                </a:cubicBezTo>
                <a:cubicBezTo>
                  <a:pt x="1080" y="146"/>
                  <a:pt x="1080" y="146"/>
                  <a:pt x="1080" y="146"/>
                </a:cubicBezTo>
                <a:cubicBezTo>
                  <a:pt x="1077" y="144"/>
                  <a:pt x="1077" y="144"/>
                  <a:pt x="1077" y="144"/>
                </a:cubicBezTo>
                <a:cubicBezTo>
                  <a:pt x="1076" y="145"/>
                  <a:pt x="1076" y="145"/>
                  <a:pt x="1076" y="145"/>
                </a:cubicBezTo>
                <a:cubicBezTo>
                  <a:pt x="1076" y="147"/>
                  <a:pt x="1076" y="147"/>
                  <a:pt x="1076" y="147"/>
                </a:cubicBezTo>
                <a:cubicBezTo>
                  <a:pt x="1077" y="147"/>
                  <a:pt x="1077" y="147"/>
                  <a:pt x="1077" y="147"/>
                </a:cubicBezTo>
                <a:cubicBezTo>
                  <a:pt x="1080" y="148"/>
                  <a:pt x="1080" y="148"/>
                  <a:pt x="1080" y="148"/>
                </a:cubicBezTo>
                <a:cubicBezTo>
                  <a:pt x="1081" y="149"/>
                  <a:pt x="1081" y="149"/>
                  <a:pt x="1081" y="149"/>
                </a:cubicBezTo>
                <a:cubicBezTo>
                  <a:pt x="1083" y="150"/>
                  <a:pt x="1083" y="150"/>
                  <a:pt x="1083" y="150"/>
                </a:cubicBezTo>
                <a:cubicBezTo>
                  <a:pt x="1084" y="149"/>
                  <a:pt x="1084" y="149"/>
                  <a:pt x="1084" y="149"/>
                </a:cubicBezTo>
                <a:cubicBezTo>
                  <a:pt x="1089" y="148"/>
                  <a:pt x="1089" y="148"/>
                  <a:pt x="1089" y="148"/>
                </a:cubicBezTo>
                <a:cubicBezTo>
                  <a:pt x="1092" y="148"/>
                  <a:pt x="1092" y="148"/>
                  <a:pt x="1092" y="148"/>
                </a:cubicBezTo>
                <a:cubicBezTo>
                  <a:pt x="1096" y="145"/>
                  <a:pt x="1096" y="145"/>
                  <a:pt x="1096" y="145"/>
                </a:cubicBezTo>
                <a:cubicBezTo>
                  <a:pt x="1095" y="142"/>
                  <a:pt x="1095" y="142"/>
                  <a:pt x="1095" y="142"/>
                </a:cubicBezTo>
                <a:cubicBezTo>
                  <a:pt x="1094" y="139"/>
                  <a:pt x="1094" y="139"/>
                  <a:pt x="1094" y="139"/>
                </a:cubicBezTo>
                <a:cubicBezTo>
                  <a:pt x="1092" y="139"/>
                  <a:pt x="1092" y="139"/>
                  <a:pt x="1092" y="139"/>
                </a:cubicBezTo>
                <a:cubicBezTo>
                  <a:pt x="1090" y="138"/>
                  <a:pt x="1090" y="138"/>
                  <a:pt x="1090" y="138"/>
                </a:cubicBezTo>
                <a:cubicBezTo>
                  <a:pt x="1089" y="133"/>
                  <a:pt x="1089" y="133"/>
                  <a:pt x="1089" y="133"/>
                </a:cubicBezTo>
                <a:cubicBezTo>
                  <a:pt x="1087" y="130"/>
                  <a:pt x="1087" y="130"/>
                  <a:pt x="1087" y="130"/>
                </a:cubicBezTo>
                <a:cubicBezTo>
                  <a:pt x="1084" y="129"/>
                  <a:pt x="1084" y="129"/>
                  <a:pt x="1084" y="129"/>
                </a:cubicBezTo>
                <a:cubicBezTo>
                  <a:pt x="1082" y="127"/>
                  <a:pt x="1082" y="127"/>
                  <a:pt x="1082" y="127"/>
                </a:cubicBezTo>
                <a:cubicBezTo>
                  <a:pt x="1079" y="127"/>
                  <a:pt x="1079" y="127"/>
                  <a:pt x="1079" y="127"/>
                </a:cubicBezTo>
                <a:cubicBezTo>
                  <a:pt x="1077" y="126"/>
                  <a:pt x="1077" y="126"/>
                  <a:pt x="1077" y="126"/>
                </a:cubicBezTo>
                <a:cubicBezTo>
                  <a:pt x="1077" y="127"/>
                  <a:pt x="1077" y="127"/>
                  <a:pt x="1077" y="127"/>
                </a:cubicBezTo>
                <a:cubicBezTo>
                  <a:pt x="1074" y="129"/>
                  <a:pt x="1074" y="129"/>
                  <a:pt x="1074" y="129"/>
                </a:cubicBezTo>
                <a:cubicBezTo>
                  <a:pt x="1074" y="132"/>
                  <a:pt x="1074" y="132"/>
                  <a:pt x="1074" y="132"/>
                </a:cubicBezTo>
                <a:cubicBezTo>
                  <a:pt x="1076" y="133"/>
                  <a:pt x="1076" y="133"/>
                  <a:pt x="1076" y="133"/>
                </a:cubicBezTo>
                <a:cubicBezTo>
                  <a:pt x="1077" y="135"/>
                  <a:pt x="1077" y="135"/>
                  <a:pt x="1077" y="135"/>
                </a:cubicBezTo>
                <a:cubicBezTo>
                  <a:pt x="1075" y="134"/>
                  <a:pt x="1075" y="134"/>
                  <a:pt x="1075" y="134"/>
                </a:cubicBezTo>
                <a:cubicBezTo>
                  <a:pt x="1074" y="134"/>
                  <a:pt x="1074" y="134"/>
                  <a:pt x="1074" y="134"/>
                </a:cubicBezTo>
                <a:cubicBezTo>
                  <a:pt x="1074" y="136"/>
                  <a:pt x="1074" y="136"/>
                  <a:pt x="1074" y="136"/>
                </a:cubicBezTo>
                <a:cubicBezTo>
                  <a:pt x="1073" y="138"/>
                  <a:pt x="1073" y="138"/>
                  <a:pt x="1073" y="138"/>
                </a:cubicBezTo>
                <a:cubicBezTo>
                  <a:pt x="1076" y="139"/>
                  <a:pt x="1076" y="139"/>
                  <a:pt x="1076" y="139"/>
                </a:cubicBezTo>
                <a:lnTo>
                  <a:pt x="1074" y="140"/>
                </a:lnTo>
                <a:close/>
                <a:moveTo>
                  <a:pt x="1071" y="198"/>
                </a:moveTo>
                <a:cubicBezTo>
                  <a:pt x="1072" y="197"/>
                  <a:pt x="1072" y="197"/>
                  <a:pt x="1072" y="197"/>
                </a:cubicBezTo>
                <a:cubicBezTo>
                  <a:pt x="1071" y="196"/>
                  <a:pt x="1071" y="196"/>
                  <a:pt x="1071" y="196"/>
                </a:cubicBezTo>
                <a:cubicBezTo>
                  <a:pt x="1069" y="197"/>
                  <a:pt x="1069" y="197"/>
                  <a:pt x="1069" y="197"/>
                </a:cubicBezTo>
                <a:cubicBezTo>
                  <a:pt x="1069" y="197"/>
                  <a:pt x="1069" y="197"/>
                  <a:pt x="1069" y="197"/>
                </a:cubicBezTo>
                <a:cubicBezTo>
                  <a:pt x="1070" y="198"/>
                  <a:pt x="1070" y="198"/>
                  <a:pt x="1070" y="198"/>
                </a:cubicBezTo>
                <a:lnTo>
                  <a:pt x="1071" y="198"/>
                </a:lnTo>
                <a:close/>
                <a:moveTo>
                  <a:pt x="1070" y="200"/>
                </a:moveTo>
                <a:cubicBezTo>
                  <a:pt x="1071" y="199"/>
                  <a:pt x="1071" y="199"/>
                  <a:pt x="1071" y="199"/>
                </a:cubicBezTo>
                <a:cubicBezTo>
                  <a:pt x="1070" y="198"/>
                  <a:pt x="1070" y="198"/>
                  <a:pt x="1070" y="198"/>
                </a:cubicBezTo>
                <a:cubicBezTo>
                  <a:pt x="1068" y="199"/>
                  <a:pt x="1068" y="199"/>
                  <a:pt x="1068" y="199"/>
                </a:cubicBezTo>
                <a:lnTo>
                  <a:pt x="1070" y="200"/>
                </a:lnTo>
                <a:close/>
                <a:moveTo>
                  <a:pt x="1071" y="180"/>
                </a:moveTo>
                <a:cubicBezTo>
                  <a:pt x="1073" y="179"/>
                  <a:pt x="1073" y="179"/>
                  <a:pt x="1073" y="179"/>
                </a:cubicBezTo>
                <a:cubicBezTo>
                  <a:pt x="1073" y="178"/>
                  <a:pt x="1073" y="178"/>
                  <a:pt x="1073" y="178"/>
                </a:cubicBezTo>
                <a:cubicBezTo>
                  <a:pt x="1072" y="178"/>
                  <a:pt x="1072" y="178"/>
                  <a:pt x="1072" y="178"/>
                </a:cubicBezTo>
                <a:cubicBezTo>
                  <a:pt x="1071" y="179"/>
                  <a:pt x="1071" y="179"/>
                  <a:pt x="1071" y="179"/>
                </a:cubicBezTo>
                <a:cubicBezTo>
                  <a:pt x="1070" y="179"/>
                  <a:pt x="1070" y="179"/>
                  <a:pt x="1070" y="179"/>
                </a:cubicBezTo>
                <a:cubicBezTo>
                  <a:pt x="1071" y="180"/>
                  <a:pt x="1071" y="180"/>
                  <a:pt x="1071" y="180"/>
                </a:cubicBezTo>
                <a:close/>
                <a:moveTo>
                  <a:pt x="1101" y="144"/>
                </a:moveTo>
                <a:cubicBezTo>
                  <a:pt x="1103" y="143"/>
                  <a:pt x="1103" y="143"/>
                  <a:pt x="1103" y="143"/>
                </a:cubicBezTo>
                <a:cubicBezTo>
                  <a:pt x="1103" y="141"/>
                  <a:pt x="1103" y="141"/>
                  <a:pt x="1103" y="141"/>
                </a:cubicBezTo>
                <a:cubicBezTo>
                  <a:pt x="1105" y="139"/>
                  <a:pt x="1105" y="139"/>
                  <a:pt x="1105" y="139"/>
                </a:cubicBezTo>
                <a:cubicBezTo>
                  <a:pt x="1104" y="138"/>
                  <a:pt x="1104" y="138"/>
                  <a:pt x="1104" y="138"/>
                </a:cubicBezTo>
                <a:cubicBezTo>
                  <a:pt x="1103" y="139"/>
                  <a:pt x="1103" y="139"/>
                  <a:pt x="1103" y="139"/>
                </a:cubicBezTo>
                <a:cubicBezTo>
                  <a:pt x="1102" y="139"/>
                  <a:pt x="1102" y="139"/>
                  <a:pt x="1102" y="139"/>
                </a:cubicBezTo>
                <a:cubicBezTo>
                  <a:pt x="1100" y="140"/>
                  <a:pt x="1100" y="140"/>
                  <a:pt x="1100" y="140"/>
                </a:cubicBezTo>
                <a:cubicBezTo>
                  <a:pt x="1100" y="141"/>
                  <a:pt x="1100" y="141"/>
                  <a:pt x="1100" y="141"/>
                </a:cubicBezTo>
                <a:cubicBezTo>
                  <a:pt x="1101" y="140"/>
                  <a:pt x="1101" y="140"/>
                  <a:pt x="1101" y="140"/>
                </a:cubicBezTo>
                <a:cubicBezTo>
                  <a:pt x="1101" y="142"/>
                  <a:pt x="1101" y="142"/>
                  <a:pt x="1101" y="142"/>
                </a:cubicBezTo>
                <a:cubicBezTo>
                  <a:pt x="1101" y="144"/>
                  <a:pt x="1101" y="144"/>
                  <a:pt x="1101" y="144"/>
                </a:cubicBezTo>
                <a:close/>
                <a:moveTo>
                  <a:pt x="1089" y="108"/>
                </a:moveTo>
                <a:cubicBezTo>
                  <a:pt x="1088" y="109"/>
                  <a:pt x="1088" y="109"/>
                  <a:pt x="1088" y="109"/>
                </a:cubicBezTo>
                <a:cubicBezTo>
                  <a:pt x="1089" y="111"/>
                  <a:pt x="1089" y="111"/>
                  <a:pt x="1089" y="111"/>
                </a:cubicBezTo>
                <a:cubicBezTo>
                  <a:pt x="1090" y="112"/>
                  <a:pt x="1090" y="112"/>
                  <a:pt x="1090" y="112"/>
                </a:cubicBezTo>
                <a:cubicBezTo>
                  <a:pt x="1092" y="110"/>
                  <a:pt x="1092" y="110"/>
                  <a:pt x="1092" y="110"/>
                </a:cubicBezTo>
                <a:cubicBezTo>
                  <a:pt x="1091" y="109"/>
                  <a:pt x="1091" y="109"/>
                  <a:pt x="1091" y="109"/>
                </a:cubicBezTo>
                <a:cubicBezTo>
                  <a:pt x="1092" y="106"/>
                  <a:pt x="1092" y="106"/>
                  <a:pt x="1092" y="106"/>
                </a:cubicBezTo>
                <a:lnTo>
                  <a:pt x="1089" y="108"/>
                </a:lnTo>
                <a:close/>
                <a:moveTo>
                  <a:pt x="1067" y="197"/>
                </a:moveTo>
                <a:cubicBezTo>
                  <a:pt x="1066" y="196"/>
                  <a:pt x="1066" y="196"/>
                  <a:pt x="1066" y="196"/>
                </a:cubicBezTo>
                <a:cubicBezTo>
                  <a:pt x="1066" y="196"/>
                  <a:pt x="1066" y="196"/>
                  <a:pt x="1066" y="196"/>
                </a:cubicBezTo>
                <a:cubicBezTo>
                  <a:pt x="1065" y="196"/>
                  <a:pt x="1065" y="196"/>
                  <a:pt x="1065" y="196"/>
                </a:cubicBezTo>
                <a:cubicBezTo>
                  <a:pt x="1066" y="197"/>
                  <a:pt x="1066" y="197"/>
                  <a:pt x="1066" y="197"/>
                </a:cubicBezTo>
                <a:lnTo>
                  <a:pt x="1067" y="197"/>
                </a:lnTo>
                <a:close/>
                <a:moveTo>
                  <a:pt x="1086" y="159"/>
                </a:moveTo>
                <a:cubicBezTo>
                  <a:pt x="1084" y="160"/>
                  <a:pt x="1084" y="160"/>
                  <a:pt x="1084" y="160"/>
                </a:cubicBezTo>
                <a:cubicBezTo>
                  <a:pt x="1084" y="161"/>
                  <a:pt x="1084" y="161"/>
                  <a:pt x="1084" y="161"/>
                </a:cubicBezTo>
                <a:cubicBezTo>
                  <a:pt x="1086" y="162"/>
                  <a:pt x="1086" y="162"/>
                  <a:pt x="1086" y="162"/>
                </a:cubicBezTo>
                <a:cubicBezTo>
                  <a:pt x="1087" y="162"/>
                  <a:pt x="1087" y="162"/>
                  <a:pt x="1087" y="162"/>
                </a:cubicBezTo>
                <a:cubicBezTo>
                  <a:pt x="1089" y="161"/>
                  <a:pt x="1089" y="161"/>
                  <a:pt x="1089" y="161"/>
                </a:cubicBezTo>
                <a:cubicBezTo>
                  <a:pt x="1088" y="160"/>
                  <a:pt x="1088" y="160"/>
                  <a:pt x="1088" y="160"/>
                </a:cubicBezTo>
                <a:lnTo>
                  <a:pt x="1086" y="159"/>
                </a:lnTo>
                <a:close/>
                <a:moveTo>
                  <a:pt x="1080" y="163"/>
                </a:moveTo>
                <a:cubicBezTo>
                  <a:pt x="1080" y="164"/>
                  <a:pt x="1080" y="164"/>
                  <a:pt x="1080" y="164"/>
                </a:cubicBezTo>
                <a:cubicBezTo>
                  <a:pt x="1081" y="164"/>
                  <a:pt x="1081" y="164"/>
                  <a:pt x="1081" y="164"/>
                </a:cubicBezTo>
                <a:cubicBezTo>
                  <a:pt x="1084" y="164"/>
                  <a:pt x="1084" y="164"/>
                  <a:pt x="1084" y="164"/>
                </a:cubicBezTo>
                <a:cubicBezTo>
                  <a:pt x="1083" y="163"/>
                  <a:pt x="1083" y="163"/>
                  <a:pt x="1083" y="163"/>
                </a:cubicBezTo>
                <a:cubicBezTo>
                  <a:pt x="1082" y="162"/>
                  <a:pt x="1082" y="162"/>
                  <a:pt x="1082" y="162"/>
                </a:cubicBezTo>
                <a:lnTo>
                  <a:pt x="1080" y="163"/>
                </a:lnTo>
                <a:close/>
                <a:moveTo>
                  <a:pt x="1638" y="181"/>
                </a:moveTo>
                <a:cubicBezTo>
                  <a:pt x="1639" y="180"/>
                  <a:pt x="1639" y="180"/>
                  <a:pt x="1639" y="180"/>
                </a:cubicBezTo>
                <a:cubicBezTo>
                  <a:pt x="1638" y="178"/>
                  <a:pt x="1638" y="178"/>
                  <a:pt x="1638" y="178"/>
                </a:cubicBezTo>
                <a:lnTo>
                  <a:pt x="1638" y="181"/>
                </a:lnTo>
                <a:close/>
                <a:moveTo>
                  <a:pt x="1654" y="151"/>
                </a:moveTo>
                <a:cubicBezTo>
                  <a:pt x="1652" y="151"/>
                  <a:pt x="1652" y="151"/>
                  <a:pt x="1652" y="151"/>
                </a:cubicBezTo>
                <a:cubicBezTo>
                  <a:pt x="1653" y="153"/>
                  <a:pt x="1653" y="153"/>
                  <a:pt x="1653" y="153"/>
                </a:cubicBezTo>
                <a:lnTo>
                  <a:pt x="1654" y="151"/>
                </a:lnTo>
                <a:close/>
                <a:moveTo>
                  <a:pt x="1657" y="155"/>
                </a:moveTo>
                <a:cubicBezTo>
                  <a:pt x="1659" y="156"/>
                  <a:pt x="1659" y="156"/>
                  <a:pt x="1659" y="156"/>
                </a:cubicBezTo>
                <a:cubicBezTo>
                  <a:pt x="1660" y="155"/>
                  <a:pt x="1660" y="155"/>
                  <a:pt x="1660" y="155"/>
                </a:cubicBezTo>
                <a:cubicBezTo>
                  <a:pt x="1659" y="154"/>
                  <a:pt x="1659" y="154"/>
                  <a:pt x="1659" y="154"/>
                </a:cubicBezTo>
                <a:cubicBezTo>
                  <a:pt x="1658" y="152"/>
                  <a:pt x="1658" y="152"/>
                  <a:pt x="1658" y="152"/>
                </a:cubicBezTo>
                <a:cubicBezTo>
                  <a:pt x="1657" y="149"/>
                  <a:pt x="1657" y="149"/>
                  <a:pt x="1657" y="149"/>
                </a:cubicBezTo>
                <a:cubicBezTo>
                  <a:pt x="1656" y="150"/>
                  <a:pt x="1656" y="150"/>
                  <a:pt x="1656" y="150"/>
                </a:cubicBezTo>
                <a:cubicBezTo>
                  <a:pt x="1657" y="153"/>
                  <a:pt x="1657" y="153"/>
                  <a:pt x="1657" y="153"/>
                </a:cubicBezTo>
                <a:lnTo>
                  <a:pt x="1657" y="155"/>
                </a:lnTo>
                <a:close/>
                <a:moveTo>
                  <a:pt x="1650" y="158"/>
                </a:moveTo>
                <a:cubicBezTo>
                  <a:pt x="1653" y="161"/>
                  <a:pt x="1653" y="161"/>
                  <a:pt x="1653" y="161"/>
                </a:cubicBezTo>
                <a:cubicBezTo>
                  <a:pt x="1654" y="161"/>
                  <a:pt x="1654" y="161"/>
                  <a:pt x="1654" y="161"/>
                </a:cubicBezTo>
                <a:cubicBezTo>
                  <a:pt x="1655" y="160"/>
                  <a:pt x="1655" y="160"/>
                  <a:pt x="1655" y="160"/>
                </a:cubicBezTo>
                <a:cubicBezTo>
                  <a:pt x="1654" y="158"/>
                  <a:pt x="1654" y="158"/>
                  <a:pt x="1654" y="158"/>
                </a:cubicBezTo>
                <a:cubicBezTo>
                  <a:pt x="1656" y="157"/>
                  <a:pt x="1656" y="157"/>
                  <a:pt x="1656" y="157"/>
                </a:cubicBezTo>
                <a:cubicBezTo>
                  <a:pt x="1656" y="156"/>
                  <a:pt x="1656" y="156"/>
                  <a:pt x="1656" y="156"/>
                </a:cubicBezTo>
                <a:cubicBezTo>
                  <a:pt x="1654" y="157"/>
                  <a:pt x="1654" y="157"/>
                  <a:pt x="1654" y="157"/>
                </a:cubicBezTo>
                <a:cubicBezTo>
                  <a:pt x="1653" y="155"/>
                  <a:pt x="1653" y="155"/>
                  <a:pt x="1653" y="155"/>
                </a:cubicBezTo>
                <a:lnTo>
                  <a:pt x="1650" y="158"/>
                </a:lnTo>
                <a:close/>
                <a:moveTo>
                  <a:pt x="1656" y="160"/>
                </a:moveTo>
                <a:cubicBezTo>
                  <a:pt x="1657" y="160"/>
                  <a:pt x="1657" y="160"/>
                  <a:pt x="1657" y="160"/>
                </a:cubicBezTo>
                <a:cubicBezTo>
                  <a:pt x="1656" y="158"/>
                  <a:pt x="1656" y="158"/>
                  <a:pt x="1656" y="158"/>
                </a:cubicBezTo>
                <a:lnTo>
                  <a:pt x="1656" y="160"/>
                </a:lnTo>
                <a:close/>
                <a:moveTo>
                  <a:pt x="1636" y="175"/>
                </a:moveTo>
                <a:cubicBezTo>
                  <a:pt x="1638" y="175"/>
                  <a:pt x="1638" y="175"/>
                  <a:pt x="1638" y="175"/>
                </a:cubicBezTo>
                <a:cubicBezTo>
                  <a:pt x="1638" y="177"/>
                  <a:pt x="1638" y="177"/>
                  <a:pt x="1638" y="177"/>
                </a:cubicBezTo>
                <a:cubicBezTo>
                  <a:pt x="1639" y="177"/>
                  <a:pt x="1639" y="177"/>
                  <a:pt x="1639" y="177"/>
                </a:cubicBezTo>
                <a:cubicBezTo>
                  <a:pt x="1639" y="174"/>
                  <a:pt x="1639" y="174"/>
                  <a:pt x="1639" y="174"/>
                </a:cubicBezTo>
                <a:cubicBezTo>
                  <a:pt x="1642" y="174"/>
                  <a:pt x="1642" y="174"/>
                  <a:pt x="1642" y="174"/>
                </a:cubicBezTo>
                <a:cubicBezTo>
                  <a:pt x="1642" y="173"/>
                  <a:pt x="1642" y="173"/>
                  <a:pt x="1642" y="173"/>
                </a:cubicBezTo>
                <a:cubicBezTo>
                  <a:pt x="1644" y="173"/>
                  <a:pt x="1644" y="173"/>
                  <a:pt x="1644" y="173"/>
                </a:cubicBezTo>
                <a:cubicBezTo>
                  <a:pt x="1644" y="171"/>
                  <a:pt x="1644" y="171"/>
                  <a:pt x="1644" y="171"/>
                </a:cubicBezTo>
                <a:cubicBezTo>
                  <a:pt x="1644" y="170"/>
                  <a:pt x="1644" y="170"/>
                  <a:pt x="1644" y="170"/>
                </a:cubicBezTo>
                <a:cubicBezTo>
                  <a:pt x="1644" y="168"/>
                  <a:pt x="1644" y="168"/>
                  <a:pt x="1644" y="168"/>
                </a:cubicBezTo>
                <a:cubicBezTo>
                  <a:pt x="1642" y="167"/>
                  <a:pt x="1642" y="167"/>
                  <a:pt x="1642" y="167"/>
                </a:cubicBezTo>
                <a:cubicBezTo>
                  <a:pt x="1642" y="166"/>
                  <a:pt x="1642" y="166"/>
                  <a:pt x="1642" y="166"/>
                </a:cubicBezTo>
                <a:cubicBezTo>
                  <a:pt x="1639" y="165"/>
                  <a:pt x="1639" y="165"/>
                  <a:pt x="1639" y="165"/>
                </a:cubicBezTo>
                <a:cubicBezTo>
                  <a:pt x="1640" y="167"/>
                  <a:pt x="1640" y="167"/>
                  <a:pt x="1640" y="167"/>
                </a:cubicBezTo>
                <a:cubicBezTo>
                  <a:pt x="1638" y="166"/>
                  <a:pt x="1638" y="166"/>
                  <a:pt x="1638" y="166"/>
                </a:cubicBezTo>
                <a:cubicBezTo>
                  <a:pt x="1637" y="168"/>
                  <a:pt x="1637" y="168"/>
                  <a:pt x="1637" y="168"/>
                </a:cubicBezTo>
                <a:cubicBezTo>
                  <a:pt x="1639" y="170"/>
                  <a:pt x="1639" y="170"/>
                  <a:pt x="1639" y="170"/>
                </a:cubicBezTo>
                <a:cubicBezTo>
                  <a:pt x="1637" y="170"/>
                  <a:pt x="1637" y="170"/>
                  <a:pt x="1637" y="170"/>
                </a:cubicBezTo>
                <a:cubicBezTo>
                  <a:pt x="1636" y="172"/>
                  <a:pt x="1636" y="172"/>
                  <a:pt x="1636" y="172"/>
                </a:cubicBezTo>
                <a:cubicBezTo>
                  <a:pt x="1638" y="172"/>
                  <a:pt x="1638" y="172"/>
                  <a:pt x="1638" y="172"/>
                </a:cubicBezTo>
                <a:lnTo>
                  <a:pt x="1636" y="175"/>
                </a:lnTo>
                <a:close/>
                <a:moveTo>
                  <a:pt x="1619" y="214"/>
                </a:moveTo>
                <a:cubicBezTo>
                  <a:pt x="1619" y="212"/>
                  <a:pt x="1619" y="212"/>
                  <a:pt x="1619" y="212"/>
                </a:cubicBezTo>
                <a:cubicBezTo>
                  <a:pt x="1618" y="212"/>
                  <a:pt x="1618" y="212"/>
                  <a:pt x="1618" y="212"/>
                </a:cubicBezTo>
                <a:cubicBezTo>
                  <a:pt x="1618" y="213"/>
                  <a:pt x="1618" y="213"/>
                  <a:pt x="1618" y="213"/>
                </a:cubicBezTo>
                <a:lnTo>
                  <a:pt x="1619" y="214"/>
                </a:lnTo>
                <a:close/>
                <a:moveTo>
                  <a:pt x="1622" y="192"/>
                </a:moveTo>
                <a:cubicBezTo>
                  <a:pt x="1622" y="188"/>
                  <a:pt x="1622" y="188"/>
                  <a:pt x="1622" y="188"/>
                </a:cubicBezTo>
                <a:cubicBezTo>
                  <a:pt x="1618" y="190"/>
                  <a:pt x="1618" y="190"/>
                  <a:pt x="1618" y="190"/>
                </a:cubicBezTo>
                <a:cubicBezTo>
                  <a:pt x="1617" y="192"/>
                  <a:pt x="1617" y="192"/>
                  <a:pt x="1617" y="192"/>
                </a:cubicBezTo>
                <a:cubicBezTo>
                  <a:pt x="1620" y="191"/>
                  <a:pt x="1620" y="191"/>
                  <a:pt x="1620" y="191"/>
                </a:cubicBezTo>
                <a:lnTo>
                  <a:pt x="1622" y="192"/>
                </a:lnTo>
                <a:close/>
                <a:moveTo>
                  <a:pt x="1683" y="149"/>
                </a:moveTo>
                <a:cubicBezTo>
                  <a:pt x="1684" y="147"/>
                  <a:pt x="1684" y="147"/>
                  <a:pt x="1684" y="147"/>
                </a:cubicBezTo>
                <a:cubicBezTo>
                  <a:pt x="1685" y="145"/>
                  <a:pt x="1685" y="145"/>
                  <a:pt x="1685" y="145"/>
                </a:cubicBezTo>
                <a:cubicBezTo>
                  <a:pt x="1685" y="143"/>
                  <a:pt x="1685" y="143"/>
                  <a:pt x="1685" y="143"/>
                </a:cubicBezTo>
                <a:cubicBezTo>
                  <a:pt x="1681" y="146"/>
                  <a:pt x="1681" y="146"/>
                  <a:pt x="1681" y="146"/>
                </a:cubicBezTo>
                <a:lnTo>
                  <a:pt x="1683" y="149"/>
                </a:lnTo>
                <a:close/>
                <a:moveTo>
                  <a:pt x="1664" y="156"/>
                </a:moveTo>
                <a:cubicBezTo>
                  <a:pt x="1666" y="158"/>
                  <a:pt x="1666" y="158"/>
                  <a:pt x="1666" y="158"/>
                </a:cubicBezTo>
                <a:cubicBezTo>
                  <a:pt x="1666" y="156"/>
                  <a:pt x="1666" y="156"/>
                  <a:pt x="1666" y="156"/>
                </a:cubicBezTo>
                <a:cubicBezTo>
                  <a:pt x="1665" y="155"/>
                  <a:pt x="1665" y="155"/>
                  <a:pt x="1665" y="155"/>
                </a:cubicBezTo>
                <a:cubicBezTo>
                  <a:pt x="1666" y="153"/>
                  <a:pt x="1666" y="153"/>
                  <a:pt x="1666" y="153"/>
                </a:cubicBezTo>
                <a:cubicBezTo>
                  <a:pt x="1664" y="151"/>
                  <a:pt x="1664" y="151"/>
                  <a:pt x="1664" y="151"/>
                </a:cubicBezTo>
                <a:cubicBezTo>
                  <a:pt x="1663" y="152"/>
                  <a:pt x="1663" y="152"/>
                  <a:pt x="1663" y="152"/>
                </a:cubicBezTo>
                <a:cubicBezTo>
                  <a:pt x="1663" y="156"/>
                  <a:pt x="1663" y="156"/>
                  <a:pt x="1663" y="156"/>
                </a:cubicBezTo>
                <a:lnTo>
                  <a:pt x="1664" y="156"/>
                </a:lnTo>
                <a:close/>
                <a:moveTo>
                  <a:pt x="1648" y="166"/>
                </a:moveTo>
                <a:cubicBezTo>
                  <a:pt x="1651" y="166"/>
                  <a:pt x="1651" y="166"/>
                  <a:pt x="1651" y="166"/>
                </a:cubicBezTo>
                <a:cubicBezTo>
                  <a:pt x="1651" y="164"/>
                  <a:pt x="1651" y="164"/>
                  <a:pt x="1651" y="164"/>
                </a:cubicBezTo>
                <a:cubicBezTo>
                  <a:pt x="1652" y="163"/>
                  <a:pt x="1652" y="163"/>
                  <a:pt x="1652" y="163"/>
                </a:cubicBezTo>
                <a:cubicBezTo>
                  <a:pt x="1651" y="161"/>
                  <a:pt x="1651" y="161"/>
                  <a:pt x="1651" y="161"/>
                </a:cubicBezTo>
                <a:cubicBezTo>
                  <a:pt x="1650" y="162"/>
                  <a:pt x="1650" y="162"/>
                  <a:pt x="1650" y="162"/>
                </a:cubicBezTo>
                <a:cubicBezTo>
                  <a:pt x="1647" y="162"/>
                  <a:pt x="1647" y="162"/>
                  <a:pt x="1647" y="162"/>
                </a:cubicBezTo>
                <a:cubicBezTo>
                  <a:pt x="1647" y="164"/>
                  <a:pt x="1647" y="164"/>
                  <a:pt x="1647" y="164"/>
                </a:cubicBezTo>
                <a:cubicBezTo>
                  <a:pt x="1644" y="164"/>
                  <a:pt x="1644" y="164"/>
                  <a:pt x="1644" y="164"/>
                </a:cubicBezTo>
                <a:cubicBezTo>
                  <a:pt x="1646" y="167"/>
                  <a:pt x="1646" y="167"/>
                  <a:pt x="1646" y="167"/>
                </a:cubicBezTo>
                <a:lnTo>
                  <a:pt x="1648" y="166"/>
                </a:lnTo>
                <a:close/>
                <a:moveTo>
                  <a:pt x="1652" y="154"/>
                </a:moveTo>
                <a:cubicBezTo>
                  <a:pt x="1649" y="154"/>
                  <a:pt x="1649" y="154"/>
                  <a:pt x="1649" y="154"/>
                </a:cubicBezTo>
                <a:cubicBezTo>
                  <a:pt x="1649" y="157"/>
                  <a:pt x="1649" y="157"/>
                  <a:pt x="1649" y="157"/>
                </a:cubicBezTo>
                <a:cubicBezTo>
                  <a:pt x="1649" y="157"/>
                  <a:pt x="1652" y="155"/>
                  <a:pt x="1652" y="155"/>
                </a:cubicBezTo>
                <a:lnTo>
                  <a:pt x="1652" y="154"/>
                </a:lnTo>
                <a:close/>
                <a:moveTo>
                  <a:pt x="1604" y="240"/>
                </a:moveTo>
                <a:cubicBezTo>
                  <a:pt x="1603" y="239"/>
                  <a:pt x="1603" y="239"/>
                  <a:pt x="1603" y="239"/>
                </a:cubicBezTo>
                <a:cubicBezTo>
                  <a:pt x="1603" y="238"/>
                  <a:pt x="1603" y="238"/>
                  <a:pt x="1603" y="238"/>
                </a:cubicBezTo>
                <a:cubicBezTo>
                  <a:pt x="1602" y="240"/>
                  <a:pt x="1602" y="240"/>
                  <a:pt x="1602" y="240"/>
                </a:cubicBezTo>
                <a:cubicBezTo>
                  <a:pt x="1603" y="241"/>
                  <a:pt x="1603" y="241"/>
                  <a:pt x="1603" y="241"/>
                </a:cubicBezTo>
                <a:lnTo>
                  <a:pt x="1604" y="240"/>
                </a:lnTo>
                <a:close/>
                <a:moveTo>
                  <a:pt x="1628" y="176"/>
                </a:moveTo>
                <a:cubicBezTo>
                  <a:pt x="1629" y="174"/>
                  <a:pt x="1629" y="174"/>
                  <a:pt x="1629" y="174"/>
                </a:cubicBezTo>
                <a:cubicBezTo>
                  <a:pt x="1631" y="172"/>
                  <a:pt x="1631" y="172"/>
                  <a:pt x="1631" y="172"/>
                </a:cubicBezTo>
                <a:cubicBezTo>
                  <a:pt x="1630" y="170"/>
                  <a:pt x="1630" y="170"/>
                  <a:pt x="1630" y="170"/>
                </a:cubicBezTo>
                <a:cubicBezTo>
                  <a:pt x="1628" y="171"/>
                  <a:pt x="1628" y="171"/>
                  <a:pt x="1628" y="171"/>
                </a:cubicBezTo>
                <a:cubicBezTo>
                  <a:pt x="1627" y="173"/>
                  <a:pt x="1627" y="173"/>
                  <a:pt x="1627" y="173"/>
                </a:cubicBezTo>
                <a:cubicBezTo>
                  <a:pt x="1625" y="175"/>
                  <a:pt x="1625" y="175"/>
                  <a:pt x="1625" y="175"/>
                </a:cubicBezTo>
                <a:cubicBezTo>
                  <a:pt x="1625" y="178"/>
                  <a:pt x="1625" y="178"/>
                  <a:pt x="1625" y="178"/>
                </a:cubicBezTo>
                <a:cubicBezTo>
                  <a:pt x="1626" y="179"/>
                  <a:pt x="1626" y="179"/>
                  <a:pt x="1626" y="179"/>
                </a:cubicBezTo>
                <a:lnTo>
                  <a:pt x="1628" y="176"/>
                </a:lnTo>
                <a:close/>
                <a:moveTo>
                  <a:pt x="1610" y="195"/>
                </a:moveTo>
                <a:cubicBezTo>
                  <a:pt x="1610" y="196"/>
                  <a:pt x="1610" y="196"/>
                  <a:pt x="1610" y="196"/>
                </a:cubicBezTo>
                <a:cubicBezTo>
                  <a:pt x="1611" y="194"/>
                  <a:pt x="1611" y="194"/>
                  <a:pt x="1611" y="194"/>
                </a:cubicBezTo>
                <a:cubicBezTo>
                  <a:pt x="1610" y="194"/>
                  <a:pt x="1610" y="194"/>
                  <a:pt x="1610" y="194"/>
                </a:cubicBezTo>
                <a:lnTo>
                  <a:pt x="1610" y="195"/>
                </a:lnTo>
                <a:close/>
                <a:moveTo>
                  <a:pt x="1621" y="185"/>
                </a:moveTo>
                <a:cubicBezTo>
                  <a:pt x="1620" y="187"/>
                  <a:pt x="1620" y="187"/>
                  <a:pt x="1620" y="187"/>
                </a:cubicBezTo>
                <a:cubicBezTo>
                  <a:pt x="1622" y="186"/>
                  <a:pt x="1622" y="186"/>
                  <a:pt x="1622" y="186"/>
                </a:cubicBezTo>
                <a:lnTo>
                  <a:pt x="1621" y="185"/>
                </a:lnTo>
                <a:close/>
                <a:moveTo>
                  <a:pt x="1608" y="194"/>
                </a:moveTo>
                <a:cubicBezTo>
                  <a:pt x="1607" y="198"/>
                  <a:pt x="1607" y="198"/>
                  <a:pt x="1607" y="198"/>
                </a:cubicBezTo>
                <a:cubicBezTo>
                  <a:pt x="1607" y="200"/>
                  <a:pt x="1607" y="200"/>
                  <a:pt x="1607" y="200"/>
                </a:cubicBezTo>
                <a:cubicBezTo>
                  <a:pt x="1609" y="197"/>
                  <a:pt x="1609" y="197"/>
                  <a:pt x="1609" y="197"/>
                </a:cubicBezTo>
                <a:lnTo>
                  <a:pt x="1608" y="194"/>
                </a:lnTo>
                <a:close/>
                <a:moveTo>
                  <a:pt x="1607" y="236"/>
                </a:moveTo>
                <a:cubicBezTo>
                  <a:pt x="1609" y="234"/>
                  <a:pt x="1609" y="234"/>
                  <a:pt x="1609" y="234"/>
                </a:cubicBezTo>
                <a:cubicBezTo>
                  <a:pt x="1607" y="234"/>
                  <a:pt x="1607" y="234"/>
                  <a:pt x="1607" y="234"/>
                </a:cubicBezTo>
                <a:cubicBezTo>
                  <a:pt x="1606" y="235"/>
                  <a:pt x="1606" y="235"/>
                  <a:pt x="1606" y="235"/>
                </a:cubicBezTo>
                <a:lnTo>
                  <a:pt x="1607" y="236"/>
                </a:lnTo>
                <a:close/>
                <a:moveTo>
                  <a:pt x="1598" y="255"/>
                </a:moveTo>
                <a:cubicBezTo>
                  <a:pt x="1599" y="255"/>
                  <a:pt x="1599" y="255"/>
                  <a:pt x="1599" y="255"/>
                </a:cubicBezTo>
                <a:cubicBezTo>
                  <a:pt x="1601" y="252"/>
                  <a:pt x="1601" y="252"/>
                  <a:pt x="1601" y="252"/>
                </a:cubicBezTo>
                <a:cubicBezTo>
                  <a:pt x="1600" y="252"/>
                  <a:pt x="1600" y="252"/>
                  <a:pt x="1600" y="252"/>
                </a:cubicBezTo>
                <a:cubicBezTo>
                  <a:pt x="1597" y="253"/>
                  <a:pt x="1597" y="253"/>
                  <a:pt x="1597" y="253"/>
                </a:cubicBezTo>
                <a:cubicBezTo>
                  <a:pt x="1595" y="254"/>
                  <a:pt x="1595" y="254"/>
                  <a:pt x="1595" y="254"/>
                </a:cubicBezTo>
                <a:cubicBezTo>
                  <a:pt x="1597" y="254"/>
                  <a:pt x="1597" y="254"/>
                  <a:pt x="1597" y="254"/>
                </a:cubicBezTo>
                <a:lnTo>
                  <a:pt x="1598" y="255"/>
                </a:lnTo>
                <a:close/>
                <a:moveTo>
                  <a:pt x="1605" y="231"/>
                </a:moveTo>
                <a:cubicBezTo>
                  <a:pt x="1606" y="233"/>
                  <a:pt x="1606" y="233"/>
                  <a:pt x="1606" y="233"/>
                </a:cubicBezTo>
                <a:cubicBezTo>
                  <a:pt x="1607" y="231"/>
                  <a:pt x="1607" y="231"/>
                  <a:pt x="1607" y="231"/>
                </a:cubicBezTo>
                <a:cubicBezTo>
                  <a:pt x="1607" y="229"/>
                  <a:pt x="1607" y="229"/>
                  <a:pt x="1607" y="229"/>
                </a:cubicBezTo>
                <a:lnTo>
                  <a:pt x="1605" y="231"/>
                </a:lnTo>
                <a:close/>
                <a:moveTo>
                  <a:pt x="1606" y="203"/>
                </a:moveTo>
                <a:cubicBezTo>
                  <a:pt x="1606" y="202"/>
                  <a:pt x="1606" y="202"/>
                  <a:pt x="1606" y="202"/>
                </a:cubicBezTo>
                <a:cubicBezTo>
                  <a:pt x="1605" y="204"/>
                  <a:pt x="1605" y="204"/>
                  <a:pt x="1605" y="204"/>
                </a:cubicBezTo>
                <a:cubicBezTo>
                  <a:pt x="1606" y="204"/>
                  <a:pt x="1606" y="204"/>
                  <a:pt x="1606" y="204"/>
                </a:cubicBezTo>
                <a:lnTo>
                  <a:pt x="1606" y="203"/>
                </a:lnTo>
                <a:close/>
                <a:moveTo>
                  <a:pt x="1635" y="179"/>
                </a:moveTo>
                <a:cubicBezTo>
                  <a:pt x="1635" y="178"/>
                  <a:pt x="1635" y="178"/>
                  <a:pt x="1635" y="178"/>
                </a:cubicBezTo>
                <a:cubicBezTo>
                  <a:pt x="1633" y="177"/>
                  <a:pt x="1633" y="177"/>
                  <a:pt x="1633" y="177"/>
                </a:cubicBezTo>
                <a:cubicBezTo>
                  <a:pt x="1631" y="177"/>
                  <a:pt x="1631" y="177"/>
                  <a:pt x="1631" y="177"/>
                </a:cubicBezTo>
                <a:cubicBezTo>
                  <a:pt x="1632" y="178"/>
                  <a:pt x="1632" y="178"/>
                  <a:pt x="1632" y="178"/>
                </a:cubicBezTo>
                <a:lnTo>
                  <a:pt x="1635" y="179"/>
                </a:lnTo>
                <a:close/>
                <a:moveTo>
                  <a:pt x="1678" y="147"/>
                </a:moveTo>
                <a:cubicBezTo>
                  <a:pt x="1677" y="148"/>
                  <a:pt x="1677" y="148"/>
                  <a:pt x="1677" y="148"/>
                </a:cubicBezTo>
                <a:cubicBezTo>
                  <a:pt x="1679" y="149"/>
                  <a:pt x="1679" y="149"/>
                  <a:pt x="1679" y="149"/>
                </a:cubicBezTo>
                <a:cubicBezTo>
                  <a:pt x="1681" y="150"/>
                  <a:pt x="1681" y="150"/>
                  <a:pt x="1681" y="150"/>
                </a:cubicBezTo>
                <a:cubicBezTo>
                  <a:pt x="1681" y="148"/>
                  <a:pt x="1681" y="148"/>
                  <a:pt x="1681" y="148"/>
                </a:cubicBezTo>
                <a:cubicBezTo>
                  <a:pt x="1680" y="147"/>
                  <a:pt x="1680" y="147"/>
                  <a:pt x="1680" y="147"/>
                </a:cubicBezTo>
                <a:lnTo>
                  <a:pt x="1678" y="147"/>
                </a:lnTo>
                <a:close/>
                <a:moveTo>
                  <a:pt x="1624" y="187"/>
                </a:moveTo>
                <a:cubicBezTo>
                  <a:pt x="1624" y="190"/>
                  <a:pt x="1624" y="190"/>
                  <a:pt x="1624" y="190"/>
                </a:cubicBezTo>
                <a:cubicBezTo>
                  <a:pt x="1625" y="190"/>
                  <a:pt x="1625" y="190"/>
                  <a:pt x="1625" y="190"/>
                </a:cubicBezTo>
                <a:cubicBezTo>
                  <a:pt x="1627" y="187"/>
                  <a:pt x="1627" y="187"/>
                  <a:pt x="1627" y="187"/>
                </a:cubicBezTo>
                <a:cubicBezTo>
                  <a:pt x="1627" y="189"/>
                  <a:pt x="1627" y="189"/>
                  <a:pt x="1627" y="189"/>
                </a:cubicBezTo>
                <a:cubicBezTo>
                  <a:pt x="1628" y="189"/>
                  <a:pt x="1628" y="189"/>
                  <a:pt x="1628" y="189"/>
                </a:cubicBezTo>
                <a:cubicBezTo>
                  <a:pt x="1629" y="188"/>
                  <a:pt x="1629" y="188"/>
                  <a:pt x="1629" y="188"/>
                </a:cubicBezTo>
                <a:cubicBezTo>
                  <a:pt x="1631" y="186"/>
                  <a:pt x="1631" y="186"/>
                  <a:pt x="1631" y="186"/>
                </a:cubicBezTo>
                <a:cubicBezTo>
                  <a:pt x="1635" y="183"/>
                  <a:pt x="1635" y="183"/>
                  <a:pt x="1635" y="183"/>
                </a:cubicBezTo>
                <a:cubicBezTo>
                  <a:pt x="1632" y="180"/>
                  <a:pt x="1632" y="180"/>
                  <a:pt x="1632" y="180"/>
                </a:cubicBezTo>
                <a:cubicBezTo>
                  <a:pt x="1631" y="179"/>
                  <a:pt x="1631" y="179"/>
                  <a:pt x="1631" y="179"/>
                </a:cubicBezTo>
                <a:cubicBezTo>
                  <a:pt x="1631" y="180"/>
                  <a:pt x="1631" y="180"/>
                  <a:pt x="1631" y="180"/>
                </a:cubicBezTo>
                <a:cubicBezTo>
                  <a:pt x="1632" y="182"/>
                  <a:pt x="1632" y="182"/>
                  <a:pt x="1632" y="182"/>
                </a:cubicBezTo>
                <a:cubicBezTo>
                  <a:pt x="1629" y="182"/>
                  <a:pt x="1629" y="182"/>
                  <a:pt x="1629" y="182"/>
                </a:cubicBezTo>
                <a:cubicBezTo>
                  <a:pt x="1628" y="185"/>
                  <a:pt x="1628" y="185"/>
                  <a:pt x="1628" y="185"/>
                </a:cubicBezTo>
                <a:cubicBezTo>
                  <a:pt x="1627" y="183"/>
                  <a:pt x="1627" y="183"/>
                  <a:pt x="1627" y="183"/>
                </a:cubicBezTo>
                <a:cubicBezTo>
                  <a:pt x="1628" y="178"/>
                  <a:pt x="1628" y="178"/>
                  <a:pt x="1628" y="178"/>
                </a:cubicBezTo>
                <a:cubicBezTo>
                  <a:pt x="1626" y="181"/>
                  <a:pt x="1626" y="181"/>
                  <a:pt x="1626" y="181"/>
                </a:cubicBezTo>
                <a:cubicBezTo>
                  <a:pt x="1626" y="183"/>
                  <a:pt x="1626" y="183"/>
                  <a:pt x="1626" y="183"/>
                </a:cubicBezTo>
                <a:cubicBezTo>
                  <a:pt x="1625" y="185"/>
                  <a:pt x="1625" y="185"/>
                  <a:pt x="1625" y="185"/>
                </a:cubicBezTo>
                <a:cubicBezTo>
                  <a:pt x="1625" y="187"/>
                  <a:pt x="1625" y="187"/>
                  <a:pt x="1625" y="187"/>
                </a:cubicBezTo>
                <a:lnTo>
                  <a:pt x="1624" y="187"/>
                </a:lnTo>
                <a:close/>
                <a:moveTo>
                  <a:pt x="1622" y="178"/>
                </a:moveTo>
                <a:cubicBezTo>
                  <a:pt x="1622" y="179"/>
                  <a:pt x="1622" y="179"/>
                  <a:pt x="1622" y="179"/>
                </a:cubicBezTo>
                <a:cubicBezTo>
                  <a:pt x="1621" y="181"/>
                  <a:pt x="1621" y="181"/>
                  <a:pt x="1621" y="181"/>
                </a:cubicBezTo>
                <a:cubicBezTo>
                  <a:pt x="1619" y="180"/>
                  <a:pt x="1619" y="180"/>
                  <a:pt x="1619" y="180"/>
                </a:cubicBezTo>
                <a:cubicBezTo>
                  <a:pt x="1618" y="183"/>
                  <a:pt x="1618" y="183"/>
                  <a:pt x="1618" y="183"/>
                </a:cubicBezTo>
                <a:cubicBezTo>
                  <a:pt x="1619" y="184"/>
                  <a:pt x="1619" y="184"/>
                  <a:pt x="1619" y="184"/>
                </a:cubicBezTo>
                <a:cubicBezTo>
                  <a:pt x="1621" y="182"/>
                  <a:pt x="1621" y="182"/>
                  <a:pt x="1621" y="182"/>
                </a:cubicBezTo>
                <a:cubicBezTo>
                  <a:pt x="1623" y="182"/>
                  <a:pt x="1623" y="182"/>
                  <a:pt x="1623" y="182"/>
                </a:cubicBezTo>
                <a:cubicBezTo>
                  <a:pt x="1620" y="184"/>
                  <a:pt x="1620" y="184"/>
                  <a:pt x="1620" y="184"/>
                </a:cubicBezTo>
                <a:cubicBezTo>
                  <a:pt x="1621" y="185"/>
                  <a:pt x="1621" y="185"/>
                  <a:pt x="1621" y="185"/>
                </a:cubicBezTo>
                <a:cubicBezTo>
                  <a:pt x="1624" y="184"/>
                  <a:pt x="1624" y="184"/>
                  <a:pt x="1624" y="184"/>
                </a:cubicBezTo>
                <a:cubicBezTo>
                  <a:pt x="1624" y="180"/>
                  <a:pt x="1624" y="180"/>
                  <a:pt x="1624" y="180"/>
                </a:cubicBezTo>
                <a:cubicBezTo>
                  <a:pt x="1623" y="178"/>
                  <a:pt x="1623" y="178"/>
                  <a:pt x="1623" y="178"/>
                </a:cubicBezTo>
                <a:lnTo>
                  <a:pt x="1622" y="178"/>
                </a:lnTo>
                <a:close/>
                <a:moveTo>
                  <a:pt x="1612" y="196"/>
                </a:moveTo>
                <a:cubicBezTo>
                  <a:pt x="1616" y="193"/>
                  <a:pt x="1616" y="193"/>
                  <a:pt x="1616" y="193"/>
                </a:cubicBezTo>
                <a:cubicBezTo>
                  <a:pt x="1616" y="191"/>
                  <a:pt x="1616" y="191"/>
                  <a:pt x="1616" y="191"/>
                </a:cubicBezTo>
                <a:cubicBezTo>
                  <a:pt x="1613" y="192"/>
                  <a:pt x="1613" y="192"/>
                  <a:pt x="1613" y="192"/>
                </a:cubicBezTo>
                <a:lnTo>
                  <a:pt x="1612" y="196"/>
                </a:lnTo>
                <a:close/>
                <a:moveTo>
                  <a:pt x="2039" y="137"/>
                </a:moveTo>
                <a:cubicBezTo>
                  <a:pt x="2039" y="135"/>
                  <a:pt x="2039" y="135"/>
                  <a:pt x="2039" y="135"/>
                </a:cubicBezTo>
                <a:cubicBezTo>
                  <a:pt x="2038" y="134"/>
                  <a:pt x="2038" y="134"/>
                  <a:pt x="2038" y="134"/>
                </a:cubicBezTo>
                <a:cubicBezTo>
                  <a:pt x="2036" y="135"/>
                  <a:pt x="2036" y="135"/>
                  <a:pt x="2036" y="135"/>
                </a:cubicBezTo>
                <a:cubicBezTo>
                  <a:pt x="2036" y="136"/>
                  <a:pt x="2036" y="136"/>
                  <a:pt x="2036" y="136"/>
                </a:cubicBezTo>
                <a:cubicBezTo>
                  <a:pt x="2036" y="137"/>
                  <a:pt x="2036" y="137"/>
                  <a:pt x="2036" y="137"/>
                </a:cubicBezTo>
                <a:cubicBezTo>
                  <a:pt x="2036" y="137"/>
                  <a:pt x="2036" y="138"/>
                  <a:pt x="2036" y="138"/>
                </a:cubicBezTo>
                <a:cubicBezTo>
                  <a:pt x="2038" y="138"/>
                  <a:pt x="2038" y="138"/>
                  <a:pt x="2038" y="138"/>
                </a:cubicBezTo>
                <a:lnTo>
                  <a:pt x="2039" y="137"/>
                </a:lnTo>
                <a:close/>
                <a:moveTo>
                  <a:pt x="1978" y="150"/>
                </a:moveTo>
                <a:cubicBezTo>
                  <a:pt x="1978" y="150"/>
                  <a:pt x="1979" y="149"/>
                  <a:pt x="1979" y="149"/>
                </a:cubicBezTo>
                <a:cubicBezTo>
                  <a:pt x="1978" y="149"/>
                  <a:pt x="1978" y="149"/>
                  <a:pt x="1978" y="149"/>
                </a:cubicBezTo>
                <a:lnTo>
                  <a:pt x="1978" y="150"/>
                </a:lnTo>
                <a:close/>
                <a:moveTo>
                  <a:pt x="1966" y="131"/>
                </a:moveTo>
                <a:cubicBezTo>
                  <a:pt x="1968" y="133"/>
                  <a:pt x="1968" y="133"/>
                  <a:pt x="1968" y="133"/>
                </a:cubicBezTo>
                <a:cubicBezTo>
                  <a:pt x="1970" y="134"/>
                  <a:pt x="1970" y="134"/>
                  <a:pt x="1970" y="134"/>
                </a:cubicBezTo>
                <a:cubicBezTo>
                  <a:pt x="1970" y="135"/>
                  <a:pt x="1970" y="135"/>
                  <a:pt x="1970" y="135"/>
                </a:cubicBezTo>
                <a:cubicBezTo>
                  <a:pt x="1971" y="132"/>
                  <a:pt x="1971" y="132"/>
                  <a:pt x="1971" y="132"/>
                </a:cubicBezTo>
                <a:cubicBezTo>
                  <a:pt x="1972" y="133"/>
                  <a:pt x="1972" y="133"/>
                  <a:pt x="1972" y="133"/>
                </a:cubicBezTo>
                <a:cubicBezTo>
                  <a:pt x="1974" y="133"/>
                  <a:pt x="1974" y="133"/>
                  <a:pt x="1974" y="133"/>
                </a:cubicBezTo>
                <a:cubicBezTo>
                  <a:pt x="1974" y="133"/>
                  <a:pt x="1974" y="133"/>
                  <a:pt x="1974" y="133"/>
                </a:cubicBezTo>
                <a:cubicBezTo>
                  <a:pt x="1975" y="136"/>
                  <a:pt x="1975" y="136"/>
                  <a:pt x="1975" y="136"/>
                </a:cubicBezTo>
                <a:cubicBezTo>
                  <a:pt x="1975" y="137"/>
                  <a:pt x="1975" y="137"/>
                  <a:pt x="1975" y="137"/>
                </a:cubicBezTo>
                <a:cubicBezTo>
                  <a:pt x="1976" y="138"/>
                  <a:pt x="1976" y="138"/>
                  <a:pt x="1976" y="138"/>
                </a:cubicBezTo>
                <a:cubicBezTo>
                  <a:pt x="1978" y="138"/>
                  <a:pt x="1978" y="138"/>
                  <a:pt x="1978" y="138"/>
                </a:cubicBezTo>
                <a:cubicBezTo>
                  <a:pt x="1979" y="137"/>
                  <a:pt x="1979" y="137"/>
                  <a:pt x="1979" y="137"/>
                </a:cubicBezTo>
                <a:cubicBezTo>
                  <a:pt x="1982" y="138"/>
                  <a:pt x="1982" y="138"/>
                  <a:pt x="1982" y="138"/>
                </a:cubicBezTo>
                <a:cubicBezTo>
                  <a:pt x="1983" y="136"/>
                  <a:pt x="1983" y="136"/>
                  <a:pt x="1983" y="136"/>
                </a:cubicBezTo>
                <a:cubicBezTo>
                  <a:pt x="1982" y="132"/>
                  <a:pt x="1982" y="132"/>
                  <a:pt x="1982" y="132"/>
                </a:cubicBezTo>
                <a:cubicBezTo>
                  <a:pt x="1978" y="130"/>
                  <a:pt x="1978" y="130"/>
                  <a:pt x="1978" y="130"/>
                </a:cubicBezTo>
                <a:cubicBezTo>
                  <a:pt x="1976" y="128"/>
                  <a:pt x="1976" y="128"/>
                  <a:pt x="1976" y="128"/>
                </a:cubicBezTo>
                <a:cubicBezTo>
                  <a:pt x="1974" y="127"/>
                  <a:pt x="1974" y="127"/>
                  <a:pt x="1974" y="127"/>
                </a:cubicBezTo>
                <a:cubicBezTo>
                  <a:pt x="1972" y="125"/>
                  <a:pt x="1972" y="125"/>
                  <a:pt x="1972" y="125"/>
                </a:cubicBezTo>
                <a:cubicBezTo>
                  <a:pt x="1970" y="124"/>
                  <a:pt x="1970" y="124"/>
                  <a:pt x="1970" y="124"/>
                </a:cubicBezTo>
                <a:cubicBezTo>
                  <a:pt x="1969" y="122"/>
                  <a:pt x="1969" y="122"/>
                  <a:pt x="1969" y="122"/>
                </a:cubicBezTo>
                <a:cubicBezTo>
                  <a:pt x="1967" y="121"/>
                  <a:pt x="1967" y="121"/>
                  <a:pt x="1967" y="121"/>
                </a:cubicBezTo>
                <a:cubicBezTo>
                  <a:pt x="1965" y="120"/>
                  <a:pt x="1965" y="120"/>
                  <a:pt x="1965" y="120"/>
                </a:cubicBezTo>
                <a:cubicBezTo>
                  <a:pt x="1964" y="121"/>
                  <a:pt x="1964" y="121"/>
                  <a:pt x="1964" y="121"/>
                </a:cubicBezTo>
                <a:cubicBezTo>
                  <a:pt x="1964" y="122"/>
                  <a:pt x="1964" y="122"/>
                  <a:pt x="1964" y="122"/>
                </a:cubicBezTo>
                <a:cubicBezTo>
                  <a:pt x="1963" y="124"/>
                  <a:pt x="1963" y="124"/>
                  <a:pt x="1963" y="124"/>
                </a:cubicBezTo>
                <a:cubicBezTo>
                  <a:pt x="1964" y="125"/>
                  <a:pt x="1964" y="125"/>
                  <a:pt x="1964" y="125"/>
                </a:cubicBezTo>
                <a:cubicBezTo>
                  <a:pt x="1966" y="126"/>
                  <a:pt x="1966" y="126"/>
                  <a:pt x="1966" y="126"/>
                </a:cubicBezTo>
                <a:cubicBezTo>
                  <a:pt x="1965" y="127"/>
                  <a:pt x="1965" y="127"/>
                  <a:pt x="1965" y="127"/>
                </a:cubicBezTo>
                <a:cubicBezTo>
                  <a:pt x="1964" y="127"/>
                  <a:pt x="1964" y="127"/>
                  <a:pt x="1964" y="127"/>
                </a:cubicBezTo>
                <a:cubicBezTo>
                  <a:pt x="1963" y="126"/>
                  <a:pt x="1963" y="126"/>
                  <a:pt x="1963" y="126"/>
                </a:cubicBezTo>
                <a:cubicBezTo>
                  <a:pt x="1962" y="126"/>
                  <a:pt x="1962" y="126"/>
                  <a:pt x="1962" y="126"/>
                </a:cubicBezTo>
                <a:cubicBezTo>
                  <a:pt x="1963" y="128"/>
                  <a:pt x="1963" y="128"/>
                  <a:pt x="1963" y="128"/>
                </a:cubicBezTo>
                <a:lnTo>
                  <a:pt x="1966" y="131"/>
                </a:lnTo>
                <a:close/>
                <a:moveTo>
                  <a:pt x="1913" y="169"/>
                </a:moveTo>
                <a:cubicBezTo>
                  <a:pt x="1912" y="170"/>
                  <a:pt x="1912" y="170"/>
                  <a:pt x="1912" y="170"/>
                </a:cubicBezTo>
                <a:cubicBezTo>
                  <a:pt x="1913" y="170"/>
                  <a:pt x="1913" y="170"/>
                  <a:pt x="1913" y="170"/>
                </a:cubicBezTo>
                <a:cubicBezTo>
                  <a:pt x="1914" y="169"/>
                  <a:pt x="1914" y="169"/>
                  <a:pt x="1914" y="169"/>
                </a:cubicBezTo>
                <a:cubicBezTo>
                  <a:pt x="1916" y="169"/>
                  <a:pt x="1916" y="169"/>
                  <a:pt x="1916" y="169"/>
                </a:cubicBezTo>
                <a:cubicBezTo>
                  <a:pt x="1917" y="168"/>
                  <a:pt x="1917" y="168"/>
                  <a:pt x="1917" y="168"/>
                </a:cubicBezTo>
                <a:cubicBezTo>
                  <a:pt x="1914" y="168"/>
                  <a:pt x="1914" y="168"/>
                  <a:pt x="1914" y="168"/>
                </a:cubicBezTo>
                <a:lnTo>
                  <a:pt x="1913" y="169"/>
                </a:lnTo>
                <a:close/>
                <a:moveTo>
                  <a:pt x="1972" y="142"/>
                </a:moveTo>
                <a:cubicBezTo>
                  <a:pt x="1971" y="143"/>
                  <a:pt x="1971" y="143"/>
                  <a:pt x="1971" y="143"/>
                </a:cubicBezTo>
                <a:cubicBezTo>
                  <a:pt x="1973" y="145"/>
                  <a:pt x="1973" y="145"/>
                  <a:pt x="1973" y="145"/>
                </a:cubicBezTo>
                <a:cubicBezTo>
                  <a:pt x="1976" y="147"/>
                  <a:pt x="1976" y="147"/>
                  <a:pt x="1976" y="147"/>
                </a:cubicBezTo>
                <a:cubicBezTo>
                  <a:pt x="1976" y="145"/>
                  <a:pt x="1976" y="145"/>
                  <a:pt x="1976" y="145"/>
                </a:cubicBezTo>
                <a:cubicBezTo>
                  <a:pt x="1973" y="143"/>
                  <a:pt x="1973" y="143"/>
                  <a:pt x="1973" y="143"/>
                </a:cubicBezTo>
                <a:lnTo>
                  <a:pt x="1972" y="142"/>
                </a:lnTo>
                <a:close/>
                <a:moveTo>
                  <a:pt x="1890" y="166"/>
                </a:moveTo>
                <a:cubicBezTo>
                  <a:pt x="1890" y="165"/>
                  <a:pt x="1890" y="165"/>
                  <a:pt x="1890" y="165"/>
                </a:cubicBezTo>
                <a:cubicBezTo>
                  <a:pt x="1892" y="166"/>
                  <a:pt x="1892" y="166"/>
                  <a:pt x="1892" y="166"/>
                </a:cubicBezTo>
                <a:cubicBezTo>
                  <a:pt x="1891" y="167"/>
                  <a:pt x="1891" y="167"/>
                  <a:pt x="1891" y="167"/>
                </a:cubicBezTo>
                <a:cubicBezTo>
                  <a:pt x="1893" y="167"/>
                  <a:pt x="1893" y="167"/>
                  <a:pt x="1893" y="167"/>
                </a:cubicBezTo>
                <a:cubicBezTo>
                  <a:pt x="1894" y="166"/>
                  <a:pt x="1894" y="166"/>
                  <a:pt x="1894" y="166"/>
                </a:cubicBezTo>
                <a:cubicBezTo>
                  <a:pt x="1896" y="166"/>
                  <a:pt x="1896" y="166"/>
                  <a:pt x="1896" y="166"/>
                </a:cubicBezTo>
                <a:cubicBezTo>
                  <a:pt x="1899" y="164"/>
                  <a:pt x="1899" y="164"/>
                  <a:pt x="1899" y="164"/>
                </a:cubicBezTo>
                <a:cubicBezTo>
                  <a:pt x="1901" y="161"/>
                  <a:pt x="1901" y="161"/>
                  <a:pt x="1901" y="161"/>
                </a:cubicBezTo>
                <a:cubicBezTo>
                  <a:pt x="1901" y="158"/>
                  <a:pt x="1901" y="158"/>
                  <a:pt x="1901" y="158"/>
                </a:cubicBezTo>
                <a:cubicBezTo>
                  <a:pt x="1902" y="157"/>
                  <a:pt x="1902" y="157"/>
                  <a:pt x="1902" y="157"/>
                </a:cubicBezTo>
                <a:cubicBezTo>
                  <a:pt x="1903" y="158"/>
                  <a:pt x="1903" y="158"/>
                  <a:pt x="1903" y="158"/>
                </a:cubicBezTo>
                <a:cubicBezTo>
                  <a:pt x="1902" y="161"/>
                  <a:pt x="1902" y="161"/>
                  <a:pt x="1902" y="161"/>
                </a:cubicBezTo>
                <a:cubicBezTo>
                  <a:pt x="1904" y="158"/>
                  <a:pt x="1904" y="158"/>
                  <a:pt x="1904" y="158"/>
                </a:cubicBezTo>
                <a:cubicBezTo>
                  <a:pt x="1904" y="156"/>
                  <a:pt x="1904" y="156"/>
                  <a:pt x="1904" y="156"/>
                </a:cubicBezTo>
                <a:cubicBezTo>
                  <a:pt x="1902" y="154"/>
                  <a:pt x="1902" y="154"/>
                  <a:pt x="1902" y="154"/>
                </a:cubicBezTo>
                <a:cubicBezTo>
                  <a:pt x="1895" y="151"/>
                  <a:pt x="1895" y="151"/>
                  <a:pt x="1895" y="151"/>
                </a:cubicBezTo>
                <a:cubicBezTo>
                  <a:pt x="1891" y="150"/>
                  <a:pt x="1891" y="150"/>
                  <a:pt x="1891" y="150"/>
                </a:cubicBezTo>
                <a:cubicBezTo>
                  <a:pt x="1889" y="152"/>
                  <a:pt x="1889" y="152"/>
                  <a:pt x="1889" y="152"/>
                </a:cubicBezTo>
                <a:cubicBezTo>
                  <a:pt x="1888" y="156"/>
                  <a:pt x="1888" y="156"/>
                  <a:pt x="1888" y="156"/>
                </a:cubicBezTo>
                <a:cubicBezTo>
                  <a:pt x="1888" y="161"/>
                  <a:pt x="1888" y="161"/>
                  <a:pt x="1888" y="161"/>
                </a:cubicBezTo>
                <a:cubicBezTo>
                  <a:pt x="1889" y="163"/>
                  <a:pt x="1889" y="163"/>
                  <a:pt x="1889" y="163"/>
                </a:cubicBezTo>
                <a:lnTo>
                  <a:pt x="1890" y="166"/>
                </a:lnTo>
                <a:close/>
                <a:moveTo>
                  <a:pt x="1678" y="145"/>
                </a:moveTo>
                <a:cubicBezTo>
                  <a:pt x="1679" y="145"/>
                  <a:pt x="1679" y="145"/>
                  <a:pt x="1679" y="145"/>
                </a:cubicBezTo>
                <a:cubicBezTo>
                  <a:pt x="1684" y="140"/>
                  <a:pt x="1684" y="140"/>
                  <a:pt x="1684" y="140"/>
                </a:cubicBezTo>
                <a:cubicBezTo>
                  <a:pt x="1684" y="138"/>
                  <a:pt x="1684" y="138"/>
                  <a:pt x="1684" y="138"/>
                </a:cubicBezTo>
                <a:cubicBezTo>
                  <a:pt x="1681" y="141"/>
                  <a:pt x="1681" y="141"/>
                  <a:pt x="1681" y="141"/>
                </a:cubicBezTo>
                <a:cubicBezTo>
                  <a:pt x="1679" y="141"/>
                  <a:pt x="1679" y="141"/>
                  <a:pt x="1679" y="141"/>
                </a:cubicBezTo>
                <a:cubicBezTo>
                  <a:pt x="1678" y="143"/>
                  <a:pt x="1678" y="143"/>
                  <a:pt x="1678" y="143"/>
                </a:cubicBezTo>
                <a:cubicBezTo>
                  <a:pt x="1677" y="141"/>
                  <a:pt x="1677" y="141"/>
                  <a:pt x="1677" y="141"/>
                </a:cubicBezTo>
                <a:cubicBezTo>
                  <a:pt x="1675" y="143"/>
                  <a:pt x="1675" y="143"/>
                  <a:pt x="1675" y="143"/>
                </a:cubicBezTo>
                <a:cubicBezTo>
                  <a:pt x="1674" y="142"/>
                  <a:pt x="1674" y="142"/>
                  <a:pt x="1674" y="142"/>
                </a:cubicBezTo>
                <a:cubicBezTo>
                  <a:pt x="1674" y="144"/>
                  <a:pt x="1674" y="144"/>
                  <a:pt x="1674" y="144"/>
                </a:cubicBezTo>
                <a:lnTo>
                  <a:pt x="1678" y="145"/>
                </a:lnTo>
                <a:close/>
                <a:moveTo>
                  <a:pt x="1969" y="142"/>
                </a:moveTo>
                <a:cubicBezTo>
                  <a:pt x="1969" y="140"/>
                  <a:pt x="1969" y="140"/>
                  <a:pt x="1969" y="140"/>
                </a:cubicBezTo>
                <a:cubicBezTo>
                  <a:pt x="1968" y="140"/>
                  <a:pt x="1968" y="140"/>
                  <a:pt x="1968" y="140"/>
                </a:cubicBezTo>
                <a:cubicBezTo>
                  <a:pt x="1968" y="142"/>
                  <a:pt x="1968" y="142"/>
                  <a:pt x="1968" y="142"/>
                </a:cubicBezTo>
                <a:lnTo>
                  <a:pt x="1969" y="142"/>
                </a:lnTo>
                <a:close/>
                <a:moveTo>
                  <a:pt x="1964" y="159"/>
                </a:moveTo>
                <a:cubicBezTo>
                  <a:pt x="1967" y="158"/>
                  <a:pt x="1967" y="158"/>
                  <a:pt x="1967" y="158"/>
                </a:cubicBezTo>
                <a:cubicBezTo>
                  <a:pt x="1967" y="157"/>
                  <a:pt x="1967" y="157"/>
                  <a:pt x="1967" y="157"/>
                </a:cubicBezTo>
                <a:cubicBezTo>
                  <a:pt x="1966" y="156"/>
                  <a:pt x="1966" y="156"/>
                  <a:pt x="1966" y="156"/>
                </a:cubicBezTo>
                <a:cubicBezTo>
                  <a:pt x="1963" y="158"/>
                  <a:pt x="1963" y="158"/>
                  <a:pt x="1963" y="158"/>
                </a:cubicBezTo>
                <a:cubicBezTo>
                  <a:pt x="1962" y="159"/>
                  <a:pt x="1962" y="159"/>
                  <a:pt x="1962" y="159"/>
                </a:cubicBezTo>
                <a:cubicBezTo>
                  <a:pt x="1963" y="160"/>
                  <a:pt x="1963" y="160"/>
                  <a:pt x="1963" y="160"/>
                </a:cubicBezTo>
                <a:lnTo>
                  <a:pt x="1964" y="159"/>
                </a:lnTo>
                <a:close/>
                <a:moveTo>
                  <a:pt x="2091" y="60"/>
                </a:moveTo>
                <a:cubicBezTo>
                  <a:pt x="2093" y="58"/>
                  <a:pt x="2093" y="58"/>
                  <a:pt x="2093" y="58"/>
                </a:cubicBezTo>
                <a:cubicBezTo>
                  <a:pt x="2095" y="58"/>
                  <a:pt x="2095" y="58"/>
                  <a:pt x="2095" y="58"/>
                </a:cubicBezTo>
                <a:cubicBezTo>
                  <a:pt x="2096" y="56"/>
                  <a:pt x="2096" y="56"/>
                  <a:pt x="2096" y="56"/>
                </a:cubicBezTo>
                <a:cubicBezTo>
                  <a:pt x="2098" y="55"/>
                  <a:pt x="2098" y="55"/>
                  <a:pt x="2098" y="55"/>
                </a:cubicBezTo>
                <a:cubicBezTo>
                  <a:pt x="2099" y="53"/>
                  <a:pt x="2099" y="53"/>
                  <a:pt x="2099" y="53"/>
                </a:cubicBezTo>
                <a:cubicBezTo>
                  <a:pt x="2099" y="51"/>
                  <a:pt x="2099" y="51"/>
                  <a:pt x="2099" y="51"/>
                </a:cubicBezTo>
                <a:cubicBezTo>
                  <a:pt x="2098" y="50"/>
                  <a:pt x="2098" y="50"/>
                  <a:pt x="2098" y="50"/>
                </a:cubicBezTo>
                <a:cubicBezTo>
                  <a:pt x="2096" y="50"/>
                  <a:pt x="2096" y="50"/>
                  <a:pt x="2096" y="50"/>
                </a:cubicBezTo>
                <a:cubicBezTo>
                  <a:pt x="2093" y="51"/>
                  <a:pt x="2093" y="51"/>
                  <a:pt x="2093" y="51"/>
                </a:cubicBezTo>
                <a:cubicBezTo>
                  <a:pt x="2092" y="53"/>
                  <a:pt x="2092" y="53"/>
                  <a:pt x="2092" y="53"/>
                </a:cubicBezTo>
                <a:cubicBezTo>
                  <a:pt x="2092" y="55"/>
                  <a:pt x="2092" y="55"/>
                  <a:pt x="2092" y="55"/>
                </a:cubicBezTo>
                <a:cubicBezTo>
                  <a:pt x="2091" y="56"/>
                  <a:pt x="2091" y="56"/>
                  <a:pt x="2091" y="56"/>
                </a:cubicBezTo>
                <a:cubicBezTo>
                  <a:pt x="2090" y="57"/>
                  <a:pt x="2090" y="57"/>
                  <a:pt x="2090" y="57"/>
                </a:cubicBezTo>
                <a:cubicBezTo>
                  <a:pt x="2089" y="59"/>
                  <a:pt x="2089" y="59"/>
                  <a:pt x="2089" y="59"/>
                </a:cubicBezTo>
                <a:cubicBezTo>
                  <a:pt x="2090" y="60"/>
                  <a:pt x="2090" y="60"/>
                  <a:pt x="2090" y="60"/>
                </a:cubicBezTo>
                <a:lnTo>
                  <a:pt x="2091" y="60"/>
                </a:lnTo>
                <a:close/>
                <a:moveTo>
                  <a:pt x="2077" y="185"/>
                </a:moveTo>
                <a:cubicBezTo>
                  <a:pt x="2075" y="185"/>
                  <a:pt x="2075" y="185"/>
                  <a:pt x="2075" y="185"/>
                </a:cubicBezTo>
                <a:cubicBezTo>
                  <a:pt x="2074" y="185"/>
                  <a:pt x="2074" y="185"/>
                  <a:pt x="2074" y="185"/>
                </a:cubicBezTo>
                <a:cubicBezTo>
                  <a:pt x="2074" y="186"/>
                  <a:pt x="2074" y="186"/>
                  <a:pt x="2074" y="186"/>
                </a:cubicBezTo>
                <a:cubicBezTo>
                  <a:pt x="2075" y="186"/>
                  <a:pt x="2075" y="186"/>
                  <a:pt x="2075" y="186"/>
                </a:cubicBezTo>
                <a:cubicBezTo>
                  <a:pt x="2075" y="187"/>
                  <a:pt x="2075" y="187"/>
                  <a:pt x="2075" y="187"/>
                </a:cubicBezTo>
                <a:cubicBezTo>
                  <a:pt x="2078" y="189"/>
                  <a:pt x="2078" y="189"/>
                  <a:pt x="2078" y="189"/>
                </a:cubicBezTo>
                <a:cubicBezTo>
                  <a:pt x="2080" y="188"/>
                  <a:pt x="2080" y="188"/>
                  <a:pt x="2080" y="188"/>
                </a:cubicBezTo>
                <a:cubicBezTo>
                  <a:pt x="2080" y="187"/>
                  <a:pt x="2080" y="187"/>
                  <a:pt x="2080" y="187"/>
                </a:cubicBezTo>
                <a:cubicBezTo>
                  <a:pt x="2080" y="185"/>
                  <a:pt x="2080" y="185"/>
                  <a:pt x="2080" y="185"/>
                </a:cubicBezTo>
                <a:cubicBezTo>
                  <a:pt x="2078" y="185"/>
                  <a:pt x="2078" y="185"/>
                  <a:pt x="2078" y="185"/>
                </a:cubicBezTo>
                <a:lnTo>
                  <a:pt x="2077" y="185"/>
                </a:lnTo>
                <a:close/>
                <a:moveTo>
                  <a:pt x="2028" y="45"/>
                </a:moveTo>
                <a:cubicBezTo>
                  <a:pt x="2028" y="47"/>
                  <a:pt x="2028" y="47"/>
                  <a:pt x="2028" y="47"/>
                </a:cubicBezTo>
                <a:cubicBezTo>
                  <a:pt x="2028" y="50"/>
                  <a:pt x="2028" y="50"/>
                  <a:pt x="2028" y="50"/>
                </a:cubicBezTo>
                <a:cubicBezTo>
                  <a:pt x="2030" y="52"/>
                  <a:pt x="2030" y="52"/>
                  <a:pt x="2030" y="52"/>
                </a:cubicBezTo>
                <a:cubicBezTo>
                  <a:pt x="2030" y="52"/>
                  <a:pt x="2030" y="52"/>
                  <a:pt x="2030" y="52"/>
                </a:cubicBezTo>
                <a:cubicBezTo>
                  <a:pt x="2030" y="51"/>
                  <a:pt x="2030" y="51"/>
                  <a:pt x="2030" y="51"/>
                </a:cubicBezTo>
                <a:cubicBezTo>
                  <a:pt x="2030" y="49"/>
                  <a:pt x="2030" y="49"/>
                  <a:pt x="2030" y="49"/>
                </a:cubicBezTo>
                <a:cubicBezTo>
                  <a:pt x="2031" y="49"/>
                  <a:pt x="2031" y="49"/>
                  <a:pt x="2031" y="49"/>
                </a:cubicBezTo>
                <a:cubicBezTo>
                  <a:pt x="2032" y="51"/>
                  <a:pt x="2032" y="51"/>
                  <a:pt x="2032" y="51"/>
                </a:cubicBezTo>
                <a:cubicBezTo>
                  <a:pt x="2033" y="51"/>
                  <a:pt x="2033" y="51"/>
                  <a:pt x="2033" y="51"/>
                </a:cubicBezTo>
                <a:cubicBezTo>
                  <a:pt x="2034" y="51"/>
                  <a:pt x="2034" y="51"/>
                  <a:pt x="2034" y="51"/>
                </a:cubicBezTo>
                <a:cubicBezTo>
                  <a:pt x="2036" y="51"/>
                  <a:pt x="2036" y="51"/>
                  <a:pt x="2036" y="51"/>
                </a:cubicBezTo>
                <a:cubicBezTo>
                  <a:pt x="2036" y="49"/>
                  <a:pt x="2036" y="49"/>
                  <a:pt x="2036" y="49"/>
                </a:cubicBezTo>
                <a:cubicBezTo>
                  <a:pt x="2038" y="48"/>
                  <a:pt x="2038" y="48"/>
                  <a:pt x="2038" y="48"/>
                </a:cubicBezTo>
                <a:cubicBezTo>
                  <a:pt x="2040" y="47"/>
                  <a:pt x="2040" y="47"/>
                  <a:pt x="2040" y="47"/>
                </a:cubicBezTo>
                <a:cubicBezTo>
                  <a:pt x="2041" y="46"/>
                  <a:pt x="2041" y="46"/>
                  <a:pt x="2041" y="46"/>
                </a:cubicBezTo>
                <a:cubicBezTo>
                  <a:pt x="2039" y="44"/>
                  <a:pt x="2039" y="44"/>
                  <a:pt x="2039" y="44"/>
                </a:cubicBezTo>
                <a:cubicBezTo>
                  <a:pt x="2037" y="42"/>
                  <a:pt x="2037" y="42"/>
                  <a:pt x="2037" y="42"/>
                </a:cubicBezTo>
                <a:cubicBezTo>
                  <a:pt x="2036" y="41"/>
                  <a:pt x="2036" y="41"/>
                  <a:pt x="2036" y="41"/>
                </a:cubicBezTo>
                <a:cubicBezTo>
                  <a:pt x="2035" y="38"/>
                  <a:pt x="2035" y="38"/>
                  <a:pt x="2035" y="38"/>
                </a:cubicBezTo>
                <a:cubicBezTo>
                  <a:pt x="2033" y="38"/>
                  <a:pt x="2033" y="38"/>
                  <a:pt x="2033" y="38"/>
                </a:cubicBezTo>
                <a:cubicBezTo>
                  <a:pt x="2032" y="38"/>
                  <a:pt x="2032" y="38"/>
                  <a:pt x="2032" y="38"/>
                </a:cubicBezTo>
                <a:cubicBezTo>
                  <a:pt x="2030" y="40"/>
                  <a:pt x="2030" y="40"/>
                  <a:pt x="2030" y="40"/>
                </a:cubicBezTo>
                <a:cubicBezTo>
                  <a:pt x="2029" y="40"/>
                  <a:pt x="2029" y="40"/>
                  <a:pt x="2029" y="40"/>
                </a:cubicBezTo>
                <a:cubicBezTo>
                  <a:pt x="2027" y="42"/>
                  <a:pt x="2027" y="42"/>
                  <a:pt x="2027" y="42"/>
                </a:cubicBezTo>
                <a:cubicBezTo>
                  <a:pt x="2027" y="44"/>
                  <a:pt x="2027" y="44"/>
                  <a:pt x="2027" y="44"/>
                </a:cubicBezTo>
                <a:lnTo>
                  <a:pt x="2028" y="45"/>
                </a:lnTo>
                <a:close/>
                <a:moveTo>
                  <a:pt x="2098" y="44"/>
                </a:moveTo>
                <a:cubicBezTo>
                  <a:pt x="2099" y="45"/>
                  <a:pt x="2099" y="45"/>
                  <a:pt x="2099" y="45"/>
                </a:cubicBezTo>
                <a:cubicBezTo>
                  <a:pt x="2101" y="45"/>
                  <a:pt x="2101" y="45"/>
                  <a:pt x="2101" y="45"/>
                </a:cubicBezTo>
                <a:cubicBezTo>
                  <a:pt x="2103" y="46"/>
                  <a:pt x="2103" y="46"/>
                  <a:pt x="2103" y="46"/>
                </a:cubicBezTo>
                <a:cubicBezTo>
                  <a:pt x="2104" y="45"/>
                  <a:pt x="2104" y="45"/>
                  <a:pt x="2104" y="45"/>
                </a:cubicBezTo>
                <a:cubicBezTo>
                  <a:pt x="2104" y="44"/>
                  <a:pt x="2104" y="44"/>
                  <a:pt x="2104" y="44"/>
                </a:cubicBezTo>
                <a:cubicBezTo>
                  <a:pt x="2103" y="41"/>
                  <a:pt x="2103" y="41"/>
                  <a:pt x="2103" y="41"/>
                </a:cubicBezTo>
                <a:cubicBezTo>
                  <a:pt x="2102" y="38"/>
                  <a:pt x="2102" y="38"/>
                  <a:pt x="2102" y="38"/>
                </a:cubicBezTo>
                <a:cubicBezTo>
                  <a:pt x="2100" y="36"/>
                  <a:pt x="2100" y="36"/>
                  <a:pt x="2100" y="36"/>
                </a:cubicBezTo>
                <a:cubicBezTo>
                  <a:pt x="2099" y="34"/>
                  <a:pt x="2099" y="34"/>
                  <a:pt x="2099" y="34"/>
                </a:cubicBezTo>
                <a:cubicBezTo>
                  <a:pt x="2097" y="37"/>
                  <a:pt x="2097" y="37"/>
                  <a:pt x="2097" y="37"/>
                </a:cubicBezTo>
                <a:cubicBezTo>
                  <a:pt x="2097" y="40"/>
                  <a:pt x="2097" y="40"/>
                  <a:pt x="2097" y="40"/>
                </a:cubicBezTo>
                <a:cubicBezTo>
                  <a:pt x="2096" y="42"/>
                  <a:pt x="2096" y="42"/>
                  <a:pt x="2096" y="42"/>
                </a:cubicBezTo>
                <a:cubicBezTo>
                  <a:pt x="2096" y="44"/>
                  <a:pt x="2096" y="44"/>
                  <a:pt x="2096" y="44"/>
                </a:cubicBezTo>
                <a:lnTo>
                  <a:pt x="2098" y="44"/>
                </a:lnTo>
                <a:close/>
                <a:moveTo>
                  <a:pt x="1938" y="170"/>
                </a:moveTo>
                <a:cubicBezTo>
                  <a:pt x="1939" y="170"/>
                  <a:pt x="1939" y="170"/>
                  <a:pt x="1939" y="170"/>
                </a:cubicBezTo>
                <a:cubicBezTo>
                  <a:pt x="1940" y="169"/>
                  <a:pt x="1940" y="169"/>
                  <a:pt x="1940" y="169"/>
                </a:cubicBezTo>
                <a:cubicBezTo>
                  <a:pt x="1939" y="168"/>
                  <a:pt x="1939" y="168"/>
                  <a:pt x="1939" y="168"/>
                </a:cubicBezTo>
                <a:cubicBezTo>
                  <a:pt x="1938" y="168"/>
                  <a:pt x="1938" y="168"/>
                  <a:pt x="1938" y="168"/>
                </a:cubicBezTo>
                <a:lnTo>
                  <a:pt x="1938" y="170"/>
                </a:lnTo>
                <a:close/>
                <a:moveTo>
                  <a:pt x="1917" y="112"/>
                </a:moveTo>
                <a:cubicBezTo>
                  <a:pt x="1915" y="111"/>
                  <a:pt x="1915" y="111"/>
                  <a:pt x="1915" y="111"/>
                </a:cubicBezTo>
                <a:cubicBezTo>
                  <a:pt x="1915" y="110"/>
                  <a:pt x="1915" y="110"/>
                  <a:pt x="1915" y="110"/>
                </a:cubicBezTo>
                <a:cubicBezTo>
                  <a:pt x="1913" y="109"/>
                  <a:pt x="1913" y="109"/>
                  <a:pt x="1913" y="109"/>
                </a:cubicBezTo>
                <a:cubicBezTo>
                  <a:pt x="1911" y="109"/>
                  <a:pt x="1911" y="109"/>
                  <a:pt x="1911" y="109"/>
                </a:cubicBezTo>
                <a:cubicBezTo>
                  <a:pt x="1909" y="111"/>
                  <a:pt x="1909" y="111"/>
                  <a:pt x="1909" y="111"/>
                </a:cubicBezTo>
                <a:cubicBezTo>
                  <a:pt x="1910" y="112"/>
                  <a:pt x="1910" y="112"/>
                  <a:pt x="1910" y="112"/>
                </a:cubicBezTo>
                <a:cubicBezTo>
                  <a:pt x="1911" y="112"/>
                  <a:pt x="1911" y="112"/>
                  <a:pt x="1911" y="112"/>
                </a:cubicBezTo>
                <a:cubicBezTo>
                  <a:pt x="1912" y="112"/>
                  <a:pt x="1912" y="112"/>
                  <a:pt x="1912" y="112"/>
                </a:cubicBezTo>
                <a:cubicBezTo>
                  <a:pt x="1914" y="113"/>
                  <a:pt x="1914" y="113"/>
                  <a:pt x="1914" y="113"/>
                </a:cubicBezTo>
                <a:cubicBezTo>
                  <a:pt x="1914" y="114"/>
                  <a:pt x="1914" y="114"/>
                  <a:pt x="1914" y="114"/>
                </a:cubicBezTo>
                <a:cubicBezTo>
                  <a:pt x="1915" y="115"/>
                  <a:pt x="1915" y="115"/>
                  <a:pt x="1915" y="115"/>
                </a:cubicBezTo>
                <a:cubicBezTo>
                  <a:pt x="1917" y="117"/>
                  <a:pt x="1917" y="117"/>
                  <a:pt x="1917" y="117"/>
                </a:cubicBezTo>
                <a:cubicBezTo>
                  <a:pt x="1918" y="117"/>
                  <a:pt x="1918" y="117"/>
                  <a:pt x="1918" y="117"/>
                </a:cubicBezTo>
                <a:cubicBezTo>
                  <a:pt x="1918" y="116"/>
                  <a:pt x="1918" y="116"/>
                  <a:pt x="1918" y="116"/>
                </a:cubicBezTo>
                <a:cubicBezTo>
                  <a:pt x="1917" y="115"/>
                  <a:pt x="1917" y="115"/>
                  <a:pt x="1917" y="115"/>
                </a:cubicBezTo>
                <a:cubicBezTo>
                  <a:pt x="1918" y="113"/>
                  <a:pt x="1918" y="113"/>
                  <a:pt x="1918" y="113"/>
                </a:cubicBezTo>
                <a:lnTo>
                  <a:pt x="1917" y="112"/>
                </a:lnTo>
                <a:close/>
                <a:moveTo>
                  <a:pt x="1855" y="210"/>
                </a:moveTo>
                <a:cubicBezTo>
                  <a:pt x="1854" y="209"/>
                  <a:pt x="1854" y="209"/>
                  <a:pt x="1854" y="209"/>
                </a:cubicBezTo>
                <a:cubicBezTo>
                  <a:pt x="1853" y="207"/>
                  <a:pt x="1853" y="207"/>
                  <a:pt x="1853" y="207"/>
                </a:cubicBezTo>
                <a:cubicBezTo>
                  <a:pt x="1852" y="208"/>
                  <a:pt x="1852" y="208"/>
                  <a:pt x="1852" y="208"/>
                </a:cubicBezTo>
                <a:cubicBezTo>
                  <a:pt x="1852" y="209"/>
                  <a:pt x="1852" y="209"/>
                  <a:pt x="1852" y="209"/>
                </a:cubicBezTo>
                <a:cubicBezTo>
                  <a:pt x="1854" y="210"/>
                  <a:pt x="1854" y="210"/>
                  <a:pt x="1854" y="210"/>
                </a:cubicBezTo>
                <a:lnTo>
                  <a:pt x="1855" y="210"/>
                </a:lnTo>
                <a:close/>
                <a:moveTo>
                  <a:pt x="1696" y="131"/>
                </a:moveTo>
                <a:cubicBezTo>
                  <a:pt x="1694" y="131"/>
                  <a:pt x="1694" y="131"/>
                  <a:pt x="1694" y="131"/>
                </a:cubicBezTo>
                <a:cubicBezTo>
                  <a:pt x="1694" y="133"/>
                  <a:pt x="1694" y="133"/>
                  <a:pt x="1694" y="133"/>
                </a:cubicBezTo>
                <a:cubicBezTo>
                  <a:pt x="1695" y="133"/>
                  <a:pt x="1695" y="133"/>
                  <a:pt x="1695" y="133"/>
                </a:cubicBezTo>
                <a:lnTo>
                  <a:pt x="1696" y="131"/>
                </a:lnTo>
                <a:close/>
                <a:moveTo>
                  <a:pt x="1801" y="239"/>
                </a:moveTo>
                <a:cubicBezTo>
                  <a:pt x="1799" y="239"/>
                  <a:pt x="1799" y="239"/>
                  <a:pt x="1799" y="239"/>
                </a:cubicBezTo>
                <a:cubicBezTo>
                  <a:pt x="1798" y="241"/>
                  <a:pt x="1798" y="241"/>
                  <a:pt x="1798" y="241"/>
                </a:cubicBezTo>
                <a:cubicBezTo>
                  <a:pt x="1798" y="242"/>
                  <a:pt x="1798" y="242"/>
                  <a:pt x="1798" y="242"/>
                </a:cubicBezTo>
                <a:cubicBezTo>
                  <a:pt x="1800" y="243"/>
                  <a:pt x="1800" y="243"/>
                  <a:pt x="1800" y="243"/>
                </a:cubicBezTo>
                <a:cubicBezTo>
                  <a:pt x="1800" y="244"/>
                  <a:pt x="1800" y="244"/>
                  <a:pt x="1800" y="244"/>
                </a:cubicBezTo>
                <a:cubicBezTo>
                  <a:pt x="1801" y="244"/>
                  <a:pt x="1801" y="244"/>
                  <a:pt x="1801" y="244"/>
                </a:cubicBezTo>
                <a:cubicBezTo>
                  <a:pt x="1801" y="243"/>
                  <a:pt x="1801" y="243"/>
                  <a:pt x="1801" y="243"/>
                </a:cubicBezTo>
                <a:cubicBezTo>
                  <a:pt x="1800" y="242"/>
                  <a:pt x="1800" y="242"/>
                  <a:pt x="1800" y="242"/>
                </a:cubicBezTo>
                <a:cubicBezTo>
                  <a:pt x="1801" y="241"/>
                  <a:pt x="1801" y="241"/>
                  <a:pt x="1801" y="241"/>
                </a:cubicBezTo>
                <a:lnTo>
                  <a:pt x="1801" y="239"/>
                </a:lnTo>
                <a:close/>
                <a:moveTo>
                  <a:pt x="1690" y="137"/>
                </a:moveTo>
                <a:cubicBezTo>
                  <a:pt x="1691" y="136"/>
                  <a:pt x="1691" y="136"/>
                  <a:pt x="1691" y="136"/>
                </a:cubicBezTo>
                <a:cubicBezTo>
                  <a:pt x="1690" y="135"/>
                  <a:pt x="1690" y="135"/>
                  <a:pt x="1690" y="135"/>
                </a:cubicBezTo>
                <a:cubicBezTo>
                  <a:pt x="1688" y="135"/>
                  <a:pt x="1688" y="135"/>
                  <a:pt x="1688" y="135"/>
                </a:cubicBezTo>
                <a:cubicBezTo>
                  <a:pt x="1689" y="137"/>
                  <a:pt x="1689" y="137"/>
                  <a:pt x="1689" y="137"/>
                </a:cubicBezTo>
                <a:lnTo>
                  <a:pt x="1690" y="137"/>
                </a:lnTo>
                <a:close/>
                <a:moveTo>
                  <a:pt x="1687" y="144"/>
                </a:moveTo>
                <a:cubicBezTo>
                  <a:pt x="1690" y="143"/>
                  <a:pt x="1690" y="143"/>
                  <a:pt x="1690" y="143"/>
                </a:cubicBezTo>
                <a:cubicBezTo>
                  <a:pt x="1690" y="141"/>
                  <a:pt x="1690" y="141"/>
                  <a:pt x="1690" y="141"/>
                </a:cubicBezTo>
                <a:cubicBezTo>
                  <a:pt x="1688" y="140"/>
                  <a:pt x="1688" y="140"/>
                  <a:pt x="1688" y="140"/>
                </a:cubicBezTo>
                <a:cubicBezTo>
                  <a:pt x="1688" y="140"/>
                  <a:pt x="1685" y="141"/>
                  <a:pt x="1685" y="141"/>
                </a:cubicBezTo>
                <a:cubicBezTo>
                  <a:pt x="1687" y="142"/>
                  <a:pt x="1687" y="142"/>
                  <a:pt x="1687" y="142"/>
                </a:cubicBezTo>
                <a:lnTo>
                  <a:pt x="1687" y="144"/>
                </a:lnTo>
                <a:close/>
                <a:moveTo>
                  <a:pt x="1702" y="136"/>
                </a:moveTo>
                <a:cubicBezTo>
                  <a:pt x="1704" y="135"/>
                  <a:pt x="1704" y="135"/>
                  <a:pt x="1704" y="135"/>
                </a:cubicBezTo>
                <a:cubicBezTo>
                  <a:pt x="1705" y="133"/>
                  <a:pt x="1705" y="133"/>
                  <a:pt x="1705" y="133"/>
                </a:cubicBezTo>
                <a:cubicBezTo>
                  <a:pt x="1703" y="133"/>
                  <a:pt x="1703" y="133"/>
                  <a:pt x="1703" y="133"/>
                </a:cubicBezTo>
                <a:cubicBezTo>
                  <a:pt x="1704" y="131"/>
                  <a:pt x="1704" y="131"/>
                  <a:pt x="1704" y="131"/>
                </a:cubicBezTo>
                <a:cubicBezTo>
                  <a:pt x="1703" y="131"/>
                  <a:pt x="1703" y="131"/>
                  <a:pt x="1703" y="131"/>
                </a:cubicBezTo>
                <a:cubicBezTo>
                  <a:pt x="1701" y="130"/>
                  <a:pt x="1701" y="130"/>
                  <a:pt x="1701" y="130"/>
                </a:cubicBezTo>
                <a:cubicBezTo>
                  <a:pt x="1701" y="132"/>
                  <a:pt x="1701" y="132"/>
                  <a:pt x="1701" y="132"/>
                </a:cubicBezTo>
                <a:cubicBezTo>
                  <a:pt x="1700" y="133"/>
                  <a:pt x="1700" y="133"/>
                  <a:pt x="1700" y="133"/>
                </a:cubicBezTo>
                <a:cubicBezTo>
                  <a:pt x="1699" y="132"/>
                  <a:pt x="1699" y="132"/>
                  <a:pt x="1699" y="132"/>
                </a:cubicBezTo>
                <a:cubicBezTo>
                  <a:pt x="1698" y="133"/>
                  <a:pt x="1698" y="133"/>
                  <a:pt x="1698" y="133"/>
                </a:cubicBezTo>
                <a:cubicBezTo>
                  <a:pt x="1698" y="134"/>
                  <a:pt x="1698" y="134"/>
                  <a:pt x="1698" y="134"/>
                </a:cubicBezTo>
                <a:cubicBezTo>
                  <a:pt x="1700" y="134"/>
                  <a:pt x="1700" y="134"/>
                  <a:pt x="1700" y="134"/>
                </a:cubicBezTo>
                <a:lnTo>
                  <a:pt x="1702" y="136"/>
                </a:lnTo>
                <a:close/>
                <a:moveTo>
                  <a:pt x="1945" y="157"/>
                </a:moveTo>
                <a:cubicBezTo>
                  <a:pt x="1944" y="156"/>
                  <a:pt x="1944" y="156"/>
                  <a:pt x="1944" y="156"/>
                </a:cubicBezTo>
                <a:cubicBezTo>
                  <a:pt x="1943" y="157"/>
                  <a:pt x="1943" y="157"/>
                  <a:pt x="1943" y="157"/>
                </a:cubicBezTo>
                <a:cubicBezTo>
                  <a:pt x="1943" y="158"/>
                  <a:pt x="1943" y="158"/>
                  <a:pt x="1943" y="158"/>
                </a:cubicBezTo>
                <a:cubicBezTo>
                  <a:pt x="1944" y="158"/>
                  <a:pt x="1944" y="158"/>
                  <a:pt x="1944" y="158"/>
                </a:cubicBezTo>
                <a:lnTo>
                  <a:pt x="1945" y="157"/>
                </a:lnTo>
                <a:close/>
                <a:moveTo>
                  <a:pt x="1942" y="168"/>
                </a:moveTo>
                <a:cubicBezTo>
                  <a:pt x="1942" y="169"/>
                  <a:pt x="1942" y="169"/>
                  <a:pt x="1942" y="169"/>
                </a:cubicBezTo>
                <a:cubicBezTo>
                  <a:pt x="1942" y="170"/>
                  <a:pt x="1942" y="170"/>
                  <a:pt x="1942" y="170"/>
                </a:cubicBezTo>
                <a:cubicBezTo>
                  <a:pt x="1944" y="168"/>
                  <a:pt x="1944" y="168"/>
                  <a:pt x="1944" y="168"/>
                </a:cubicBezTo>
                <a:cubicBezTo>
                  <a:pt x="1944" y="167"/>
                  <a:pt x="1944" y="167"/>
                  <a:pt x="1944" y="167"/>
                </a:cubicBezTo>
                <a:cubicBezTo>
                  <a:pt x="1942" y="167"/>
                  <a:pt x="1942" y="167"/>
                  <a:pt x="1942" y="167"/>
                </a:cubicBezTo>
                <a:lnTo>
                  <a:pt x="1942" y="168"/>
                </a:lnTo>
                <a:close/>
                <a:moveTo>
                  <a:pt x="1947" y="156"/>
                </a:moveTo>
                <a:cubicBezTo>
                  <a:pt x="1946" y="157"/>
                  <a:pt x="1946" y="157"/>
                  <a:pt x="1946" y="157"/>
                </a:cubicBezTo>
                <a:cubicBezTo>
                  <a:pt x="1947" y="157"/>
                  <a:pt x="1947" y="157"/>
                  <a:pt x="1947" y="157"/>
                </a:cubicBezTo>
                <a:cubicBezTo>
                  <a:pt x="1948" y="158"/>
                  <a:pt x="1948" y="158"/>
                  <a:pt x="1948" y="158"/>
                </a:cubicBezTo>
                <a:cubicBezTo>
                  <a:pt x="1950" y="159"/>
                  <a:pt x="1950" y="159"/>
                  <a:pt x="1950" y="159"/>
                </a:cubicBezTo>
                <a:cubicBezTo>
                  <a:pt x="1949" y="157"/>
                  <a:pt x="1949" y="157"/>
                  <a:pt x="1949" y="157"/>
                </a:cubicBezTo>
                <a:lnTo>
                  <a:pt x="1947" y="156"/>
                </a:lnTo>
                <a:close/>
                <a:moveTo>
                  <a:pt x="1899" y="98"/>
                </a:moveTo>
                <a:cubicBezTo>
                  <a:pt x="1898" y="101"/>
                  <a:pt x="1898" y="101"/>
                  <a:pt x="1898" y="101"/>
                </a:cubicBezTo>
                <a:cubicBezTo>
                  <a:pt x="1899" y="103"/>
                  <a:pt x="1899" y="103"/>
                  <a:pt x="1899" y="103"/>
                </a:cubicBezTo>
                <a:cubicBezTo>
                  <a:pt x="1902" y="105"/>
                  <a:pt x="1902" y="105"/>
                  <a:pt x="1902" y="105"/>
                </a:cubicBezTo>
                <a:cubicBezTo>
                  <a:pt x="1902" y="106"/>
                  <a:pt x="1902" y="106"/>
                  <a:pt x="1902" y="106"/>
                </a:cubicBezTo>
                <a:cubicBezTo>
                  <a:pt x="1904" y="108"/>
                  <a:pt x="1904" y="108"/>
                  <a:pt x="1904" y="108"/>
                </a:cubicBezTo>
                <a:cubicBezTo>
                  <a:pt x="1906" y="109"/>
                  <a:pt x="1906" y="109"/>
                  <a:pt x="1906" y="109"/>
                </a:cubicBezTo>
                <a:cubicBezTo>
                  <a:pt x="1907" y="108"/>
                  <a:pt x="1907" y="108"/>
                  <a:pt x="1907" y="108"/>
                </a:cubicBezTo>
                <a:cubicBezTo>
                  <a:pt x="1909" y="108"/>
                  <a:pt x="1909" y="108"/>
                  <a:pt x="1909" y="108"/>
                </a:cubicBezTo>
                <a:cubicBezTo>
                  <a:pt x="1910" y="105"/>
                  <a:pt x="1910" y="105"/>
                  <a:pt x="1910" y="105"/>
                </a:cubicBezTo>
                <a:cubicBezTo>
                  <a:pt x="1910" y="103"/>
                  <a:pt x="1910" y="103"/>
                  <a:pt x="1910" y="103"/>
                </a:cubicBezTo>
                <a:cubicBezTo>
                  <a:pt x="1910" y="101"/>
                  <a:pt x="1910" y="101"/>
                  <a:pt x="1910" y="101"/>
                </a:cubicBezTo>
                <a:cubicBezTo>
                  <a:pt x="1911" y="99"/>
                  <a:pt x="1911" y="99"/>
                  <a:pt x="1911" y="99"/>
                </a:cubicBezTo>
                <a:cubicBezTo>
                  <a:pt x="1911" y="101"/>
                  <a:pt x="1911" y="101"/>
                  <a:pt x="1911" y="101"/>
                </a:cubicBezTo>
                <a:cubicBezTo>
                  <a:pt x="1910" y="103"/>
                  <a:pt x="1910" y="103"/>
                  <a:pt x="1910" y="103"/>
                </a:cubicBezTo>
                <a:cubicBezTo>
                  <a:pt x="1911" y="104"/>
                  <a:pt x="1911" y="104"/>
                  <a:pt x="1911" y="104"/>
                </a:cubicBezTo>
                <a:cubicBezTo>
                  <a:pt x="1912" y="107"/>
                  <a:pt x="1912" y="107"/>
                  <a:pt x="1912" y="107"/>
                </a:cubicBezTo>
                <a:cubicBezTo>
                  <a:pt x="1913" y="107"/>
                  <a:pt x="1913" y="107"/>
                  <a:pt x="1913" y="107"/>
                </a:cubicBezTo>
                <a:cubicBezTo>
                  <a:pt x="1915" y="106"/>
                  <a:pt x="1915" y="106"/>
                  <a:pt x="1915" y="106"/>
                </a:cubicBezTo>
                <a:cubicBezTo>
                  <a:pt x="1915" y="105"/>
                  <a:pt x="1915" y="105"/>
                  <a:pt x="1915" y="105"/>
                </a:cubicBezTo>
                <a:cubicBezTo>
                  <a:pt x="1916" y="103"/>
                  <a:pt x="1916" y="103"/>
                  <a:pt x="1916" y="103"/>
                </a:cubicBezTo>
                <a:cubicBezTo>
                  <a:pt x="1916" y="104"/>
                  <a:pt x="1916" y="104"/>
                  <a:pt x="1916" y="104"/>
                </a:cubicBezTo>
                <a:cubicBezTo>
                  <a:pt x="1916" y="105"/>
                  <a:pt x="1916" y="105"/>
                  <a:pt x="1916" y="105"/>
                </a:cubicBezTo>
                <a:cubicBezTo>
                  <a:pt x="1916" y="106"/>
                  <a:pt x="1916" y="106"/>
                  <a:pt x="1916" y="106"/>
                </a:cubicBezTo>
                <a:cubicBezTo>
                  <a:pt x="1918" y="109"/>
                  <a:pt x="1918" y="109"/>
                  <a:pt x="1918" y="109"/>
                </a:cubicBezTo>
                <a:cubicBezTo>
                  <a:pt x="1920" y="111"/>
                  <a:pt x="1920" y="111"/>
                  <a:pt x="1920" y="111"/>
                </a:cubicBezTo>
                <a:cubicBezTo>
                  <a:pt x="1922" y="111"/>
                  <a:pt x="1922" y="111"/>
                  <a:pt x="1922" y="111"/>
                </a:cubicBezTo>
                <a:cubicBezTo>
                  <a:pt x="1923" y="110"/>
                  <a:pt x="1923" y="110"/>
                  <a:pt x="1923" y="110"/>
                </a:cubicBezTo>
                <a:cubicBezTo>
                  <a:pt x="1924" y="110"/>
                  <a:pt x="1924" y="110"/>
                  <a:pt x="1924" y="110"/>
                </a:cubicBezTo>
                <a:cubicBezTo>
                  <a:pt x="1924" y="111"/>
                  <a:pt x="1924" y="111"/>
                  <a:pt x="1924" y="111"/>
                </a:cubicBezTo>
                <a:cubicBezTo>
                  <a:pt x="1923" y="111"/>
                  <a:pt x="1923" y="111"/>
                  <a:pt x="1923" y="111"/>
                </a:cubicBezTo>
                <a:cubicBezTo>
                  <a:pt x="1922" y="112"/>
                  <a:pt x="1922" y="112"/>
                  <a:pt x="1922" y="112"/>
                </a:cubicBezTo>
                <a:cubicBezTo>
                  <a:pt x="1921" y="113"/>
                  <a:pt x="1921" y="113"/>
                  <a:pt x="1921" y="113"/>
                </a:cubicBezTo>
                <a:cubicBezTo>
                  <a:pt x="1920" y="114"/>
                  <a:pt x="1920" y="114"/>
                  <a:pt x="1920" y="114"/>
                </a:cubicBezTo>
                <a:cubicBezTo>
                  <a:pt x="1922" y="116"/>
                  <a:pt x="1922" y="116"/>
                  <a:pt x="1922" y="116"/>
                </a:cubicBezTo>
                <a:cubicBezTo>
                  <a:pt x="1922" y="117"/>
                  <a:pt x="1922" y="117"/>
                  <a:pt x="1922" y="117"/>
                </a:cubicBezTo>
                <a:cubicBezTo>
                  <a:pt x="1921" y="118"/>
                  <a:pt x="1921" y="118"/>
                  <a:pt x="1921" y="118"/>
                </a:cubicBezTo>
                <a:cubicBezTo>
                  <a:pt x="1920" y="117"/>
                  <a:pt x="1920" y="117"/>
                  <a:pt x="1920" y="117"/>
                </a:cubicBezTo>
                <a:cubicBezTo>
                  <a:pt x="1920" y="118"/>
                  <a:pt x="1920" y="118"/>
                  <a:pt x="1920" y="118"/>
                </a:cubicBezTo>
                <a:cubicBezTo>
                  <a:pt x="1921" y="119"/>
                  <a:pt x="1921" y="119"/>
                  <a:pt x="1921" y="119"/>
                </a:cubicBezTo>
                <a:cubicBezTo>
                  <a:pt x="1924" y="120"/>
                  <a:pt x="1924" y="120"/>
                  <a:pt x="1924" y="120"/>
                </a:cubicBezTo>
                <a:cubicBezTo>
                  <a:pt x="1926" y="121"/>
                  <a:pt x="1926" y="121"/>
                  <a:pt x="1926" y="121"/>
                </a:cubicBezTo>
                <a:cubicBezTo>
                  <a:pt x="1928" y="120"/>
                  <a:pt x="1928" y="120"/>
                  <a:pt x="1928" y="120"/>
                </a:cubicBezTo>
                <a:cubicBezTo>
                  <a:pt x="1931" y="121"/>
                  <a:pt x="1931" y="121"/>
                  <a:pt x="1931" y="121"/>
                </a:cubicBezTo>
                <a:cubicBezTo>
                  <a:pt x="1930" y="119"/>
                  <a:pt x="1930" y="119"/>
                  <a:pt x="1930" y="119"/>
                </a:cubicBezTo>
                <a:cubicBezTo>
                  <a:pt x="1932" y="120"/>
                  <a:pt x="1932" y="120"/>
                  <a:pt x="1932" y="120"/>
                </a:cubicBezTo>
                <a:cubicBezTo>
                  <a:pt x="1932" y="121"/>
                  <a:pt x="1932" y="121"/>
                  <a:pt x="1932" y="121"/>
                </a:cubicBezTo>
                <a:cubicBezTo>
                  <a:pt x="1933" y="124"/>
                  <a:pt x="1933" y="124"/>
                  <a:pt x="1933" y="124"/>
                </a:cubicBezTo>
                <a:cubicBezTo>
                  <a:pt x="1935" y="125"/>
                  <a:pt x="1935" y="125"/>
                  <a:pt x="1935" y="125"/>
                </a:cubicBezTo>
                <a:cubicBezTo>
                  <a:pt x="1936" y="125"/>
                  <a:pt x="1936" y="125"/>
                  <a:pt x="1936" y="125"/>
                </a:cubicBezTo>
                <a:cubicBezTo>
                  <a:pt x="1937" y="123"/>
                  <a:pt x="1937" y="123"/>
                  <a:pt x="1937" y="123"/>
                </a:cubicBezTo>
                <a:cubicBezTo>
                  <a:pt x="1937" y="121"/>
                  <a:pt x="1937" y="121"/>
                  <a:pt x="1937" y="121"/>
                </a:cubicBezTo>
                <a:cubicBezTo>
                  <a:pt x="1934" y="120"/>
                  <a:pt x="1934" y="120"/>
                  <a:pt x="1934" y="120"/>
                </a:cubicBezTo>
                <a:cubicBezTo>
                  <a:pt x="1933" y="119"/>
                  <a:pt x="1933" y="119"/>
                  <a:pt x="1933" y="119"/>
                </a:cubicBezTo>
                <a:cubicBezTo>
                  <a:pt x="1934" y="119"/>
                  <a:pt x="1934" y="119"/>
                  <a:pt x="1934" y="119"/>
                </a:cubicBezTo>
                <a:cubicBezTo>
                  <a:pt x="1936" y="119"/>
                  <a:pt x="1936" y="119"/>
                  <a:pt x="1936" y="119"/>
                </a:cubicBezTo>
                <a:cubicBezTo>
                  <a:pt x="1938" y="120"/>
                  <a:pt x="1938" y="120"/>
                  <a:pt x="1938" y="120"/>
                </a:cubicBezTo>
                <a:cubicBezTo>
                  <a:pt x="1939" y="122"/>
                  <a:pt x="1939" y="122"/>
                  <a:pt x="1939" y="122"/>
                </a:cubicBezTo>
                <a:cubicBezTo>
                  <a:pt x="1940" y="124"/>
                  <a:pt x="1940" y="124"/>
                  <a:pt x="1940" y="124"/>
                </a:cubicBezTo>
                <a:cubicBezTo>
                  <a:pt x="1940" y="124"/>
                  <a:pt x="1940" y="124"/>
                  <a:pt x="1940" y="124"/>
                </a:cubicBezTo>
                <a:cubicBezTo>
                  <a:pt x="1941" y="122"/>
                  <a:pt x="1941" y="122"/>
                  <a:pt x="1941" y="122"/>
                </a:cubicBezTo>
                <a:cubicBezTo>
                  <a:pt x="1942" y="122"/>
                  <a:pt x="1942" y="122"/>
                  <a:pt x="1942" y="122"/>
                </a:cubicBezTo>
                <a:cubicBezTo>
                  <a:pt x="1943" y="123"/>
                  <a:pt x="1943" y="123"/>
                  <a:pt x="1943" y="123"/>
                </a:cubicBezTo>
                <a:cubicBezTo>
                  <a:pt x="1945" y="125"/>
                  <a:pt x="1945" y="125"/>
                  <a:pt x="1945" y="125"/>
                </a:cubicBezTo>
                <a:cubicBezTo>
                  <a:pt x="1946" y="124"/>
                  <a:pt x="1946" y="124"/>
                  <a:pt x="1946" y="124"/>
                </a:cubicBezTo>
                <a:cubicBezTo>
                  <a:pt x="1946" y="123"/>
                  <a:pt x="1946" y="123"/>
                  <a:pt x="1946" y="123"/>
                </a:cubicBezTo>
                <a:cubicBezTo>
                  <a:pt x="1945" y="122"/>
                  <a:pt x="1945" y="122"/>
                  <a:pt x="1945" y="122"/>
                </a:cubicBezTo>
                <a:cubicBezTo>
                  <a:pt x="1945" y="121"/>
                  <a:pt x="1945" y="121"/>
                  <a:pt x="1945" y="121"/>
                </a:cubicBezTo>
                <a:cubicBezTo>
                  <a:pt x="1946" y="121"/>
                  <a:pt x="1946" y="121"/>
                  <a:pt x="1946" y="121"/>
                </a:cubicBezTo>
                <a:cubicBezTo>
                  <a:pt x="1948" y="122"/>
                  <a:pt x="1948" y="122"/>
                  <a:pt x="1948" y="122"/>
                </a:cubicBezTo>
                <a:cubicBezTo>
                  <a:pt x="1948" y="123"/>
                  <a:pt x="1948" y="123"/>
                  <a:pt x="1948" y="123"/>
                </a:cubicBezTo>
                <a:cubicBezTo>
                  <a:pt x="1949" y="123"/>
                  <a:pt x="1949" y="123"/>
                  <a:pt x="1949" y="123"/>
                </a:cubicBezTo>
                <a:cubicBezTo>
                  <a:pt x="1950" y="125"/>
                  <a:pt x="1950" y="125"/>
                  <a:pt x="1950" y="125"/>
                </a:cubicBezTo>
                <a:cubicBezTo>
                  <a:pt x="1951" y="125"/>
                  <a:pt x="1951" y="125"/>
                  <a:pt x="1951" y="125"/>
                </a:cubicBezTo>
                <a:cubicBezTo>
                  <a:pt x="1952" y="125"/>
                  <a:pt x="1952" y="125"/>
                  <a:pt x="1952" y="125"/>
                </a:cubicBezTo>
                <a:cubicBezTo>
                  <a:pt x="1952" y="123"/>
                  <a:pt x="1952" y="123"/>
                  <a:pt x="1952" y="123"/>
                </a:cubicBezTo>
                <a:cubicBezTo>
                  <a:pt x="1951" y="122"/>
                  <a:pt x="1951" y="122"/>
                  <a:pt x="1951" y="122"/>
                </a:cubicBezTo>
                <a:cubicBezTo>
                  <a:pt x="1950" y="122"/>
                  <a:pt x="1950" y="122"/>
                  <a:pt x="1950" y="122"/>
                </a:cubicBezTo>
                <a:cubicBezTo>
                  <a:pt x="1949" y="121"/>
                  <a:pt x="1949" y="121"/>
                  <a:pt x="1949" y="121"/>
                </a:cubicBezTo>
                <a:cubicBezTo>
                  <a:pt x="1949" y="120"/>
                  <a:pt x="1949" y="120"/>
                  <a:pt x="1949" y="120"/>
                </a:cubicBezTo>
                <a:cubicBezTo>
                  <a:pt x="1950" y="121"/>
                  <a:pt x="1950" y="121"/>
                  <a:pt x="1950" y="121"/>
                </a:cubicBezTo>
                <a:cubicBezTo>
                  <a:pt x="1951" y="121"/>
                  <a:pt x="1951" y="121"/>
                  <a:pt x="1951" y="121"/>
                </a:cubicBezTo>
                <a:cubicBezTo>
                  <a:pt x="1953" y="119"/>
                  <a:pt x="1953" y="119"/>
                  <a:pt x="1953" y="119"/>
                </a:cubicBezTo>
                <a:cubicBezTo>
                  <a:pt x="1953" y="118"/>
                  <a:pt x="1953" y="118"/>
                  <a:pt x="1953" y="118"/>
                </a:cubicBezTo>
                <a:cubicBezTo>
                  <a:pt x="1953" y="117"/>
                  <a:pt x="1953" y="117"/>
                  <a:pt x="1953" y="117"/>
                </a:cubicBezTo>
                <a:cubicBezTo>
                  <a:pt x="1951" y="115"/>
                  <a:pt x="1951" y="115"/>
                  <a:pt x="1951" y="115"/>
                </a:cubicBezTo>
                <a:cubicBezTo>
                  <a:pt x="1950" y="116"/>
                  <a:pt x="1950" y="116"/>
                  <a:pt x="1950" y="116"/>
                </a:cubicBezTo>
                <a:cubicBezTo>
                  <a:pt x="1948" y="115"/>
                  <a:pt x="1948" y="115"/>
                  <a:pt x="1948" y="115"/>
                </a:cubicBezTo>
                <a:cubicBezTo>
                  <a:pt x="1947" y="113"/>
                  <a:pt x="1947" y="113"/>
                  <a:pt x="1947" y="113"/>
                </a:cubicBezTo>
                <a:cubicBezTo>
                  <a:pt x="1945" y="113"/>
                  <a:pt x="1945" y="113"/>
                  <a:pt x="1945" y="113"/>
                </a:cubicBezTo>
                <a:cubicBezTo>
                  <a:pt x="1941" y="110"/>
                  <a:pt x="1941" y="110"/>
                  <a:pt x="1941" y="110"/>
                </a:cubicBezTo>
                <a:cubicBezTo>
                  <a:pt x="1940" y="108"/>
                  <a:pt x="1940" y="108"/>
                  <a:pt x="1940" y="108"/>
                </a:cubicBezTo>
                <a:cubicBezTo>
                  <a:pt x="1938" y="108"/>
                  <a:pt x="1938" y="108"/>
                  <a:pt x="1938" y="108"/>
                </a:cubicBezTo>
                <a:cubicBezTo>
                  <a:pt x="1936" y="103"/>
                  <a:pt x="1936" y="103"/>
                  <a:pt x="1936" y="103"/>
                </a:cubicBezTo>
                <a:cubicBezTo>
                  <a:pt x="1932" y="99"/>
                  <a:pt x="1932" y="99"/>
                  <a:pt x="1932" y="99"/>
                </a:cubicBezTo>
                <a:cubicBezTo>
                  <a:pt x="1931" y="95"/>
                  <a:pt x="1931" y="95"/>
                  <a:pt x="1931" y="95"/>
                </a:cubicBezTo>
                <a:cubicBezTo>
                  <a:pt x="1929" y="92"/>
                  <a:pt x="1929" y="92"/>
                  <a:pt x="1929" y="92"/>
                </a:cubicBezTo>
                <a:cubicBezTo>
                  <a:pt x="1929" y="87"/>
                  <a:pt x="1929" y="87"/>
                  <a:pt x="1929" y="87"/>
                </a:cubicBezTo>
                <a:cubicBezTo>
                  <a:pt x="1927" y="84"/>
                  <a:pt x="1927" y="84"/>
                  <a:pt x="1927" y="84"/>
                </a:cubicBezTo>
                <a:cubicBezTo>
                  <a:pt x="1926" y="78"/>
                  <a:pt x="1926" y="78"/>
                  <a:pt x="1926" y="78"/>
                </a:cubicBezTo>
                <a:cubicBezTo>
                  <a:pt x="1926" y="77"/>
                  <a:pt x="1926" y="77"/>
                  <a:pt x="1926" y="77"/>
                </a:cubicBezTo>
                <a:cubicBezTo>
                  <a:pt x="1927" y="75"/>
                  <a:pt x="1927" y="75"/>
                  <a:pt x="1927" y="75"/>
                </a:cubicBezTo>
                <a:cubicBezTo>
                  <a:pt x="1927" y="74"/>
                  <a:pt x="1927" y="74"/>
                  <a:pt x="1927" y="74"/>
                </a:cubicBezTo>
                <a:cubicBezTo>
                  <a:pt x="1925" y="74"/>
                  <a:pt x="1925" y="74"/>
                  <a:pt x="1925" y="74"/>
                </a:cubicBezTo>
                <a:cubicBezTo>
                  <a:pt x="1923" y="74"/>
                  <a:pt x="1923" y="74"/>
                  <a:pt x="1923" y="74"/>
                </a:cubicBezTo>
                <a:cubicBezTo>
                  <a:pt x="1922" y="73"/>
                  <a:pt x="1922" y="73"/>
                  <a:pt x="1922" y="73"/>
                </a:cubicBezTo>
                <a:cubicBezTo>
                  <a:pt x="1923" y="73"/>
                  <a:pt x="1923" y="73"/>
                  <a:pt x="1923" y="73"/>
                </a:cubicBezTo>
                <a:cubicBezTo>
                  <a:pt x="1925" y="73"/>
                  <a:pt x="1925" y="73"/>
                  <a:pt x="1925" y="73"/>
                </a:cubicBezTo>
                <a:cubicBezTo>
                  <a:pt x="1928" y="72"/>
                  <a:pt x="1928" y="72"/>
                  <a:pt x="1928" y="72"/>
                </a:cubicBezTo>
                <a:cubicBezTo>
                  <a:pt x="1928" y="68"/>
                  <a:pt x="1928" y="68"/>
                  <a:pt x="1928" y="68"/>
                </a:cubicBezTo>
                <a:cubicBezTo>
                  <a:pt x="1928" y="66"/>
                  <a:pt x="1928" y="66"/>
                  <a:pt x="1928" y="66"/>
                </a:cubicBezTo>
                <a:cubicBezTo>
                  <a:pt x="1926" y="66"/>
                  <a:pt x="1926" y="66"/>
                  <a:pt x="1926" y="66"/>
                </a:cubicBezTo>
                <a:cubicBezTo>
                  <a:pt x="1924" y="67"/>
                  <a:pt x="1924" y="67"/>
                  <a:pt x="1924" y="67"/>
                </a:cubicBezTo>
                <a:cubicBezTo>
                  <a:pt x="1925" y="66"/>
                  <a:pt x="1925" y="66"/>
                  <a:pt x="1925" y="66"/>
                </a:cubicBezTo>
                <a:cubicBezTo>
                  <a:pt x="1927" y="65"/>
                  <a:pt x="1927" y="65"/>
                  <a:pt x="1927" y="65"/>
                </a:cubicBezTo>
                <a:cubicBezTo>
                  <a:pt x="1928" y="64"/>
                  <a:pt x="1928" y="64"/>
                  <a:pt x="1928" y="64"/>
                </a:cubicBezTo>
                <a:cubicBezTo>
                  <a:pt x="1927" y="63"/>
                  <a:pt x="1927" y="63"/>
                  <a:pt x="1927" y="63"/>
                </a:cubicBezTo>
                <a:cubicBezTo>
                  <a:pt x="1923" y="63"/>
                  <a:pt x="1923" y="63"/>
                  <a:pt x="1923" y="63"/>
                </a:cubicBezTo>
                <a:cubicBezTo>
                  <a:pt x="1918" y="62"/>
                  <a:pt x="1918" y="62"/>
                  <a:pt x="1918" y="62"/>
                </a:cubicBezTo>
                <a:cubicBezTo>
                  <a:pt x="1917" y="61"/>
                  <a:pt x="1917" y="61"/>
                  <a:pt x="1917" y="61"/>
                </a:cubicBezTo>
                <a:cubicBezTo>
                  <a:pt x="1915" y="61"/>
                  <a:pt x="1915" y="61"/>
                  <a:pt x="1915" y="61"/>
                </a:cubicBezTo>
                <a:cubicBezTo>
                  <a:pt x="1911" y="63"/>
                  <a:pt x="1911" y="63"/>
                  <a:pt x="1911" y="63"/>
                </a:cubicBezTo>
                <a:cubicBezTo>
                  <a:pt x="1908" y="63"/>
                  <a:pt x="1908" y="63"/>
                  <a:pt x="1908" y="63"/>
                </a:cubicBezTo>
                <a:cubicBezTo>
                  <a:pt x="1907" y="64"/>
                  <a:pt x="1907" y="64"/>
                  <a:pt x="1907" y="64"/>
                </a:cubicBezTo>
                <a:cubicBezTo>
                  <a:pt x="1904" y="66"/>
                  <a:pt x="1904" y="66"/>
                  <a:pt x="1904" y="66"/>
                </a:cubicBezTo>
                <a:cubicBezTo>
                  <a:pt x="1904" y="68"/>
                  <a:pt x="1904" y="68"/>
                  <a:pt x="1904" y="68"/>
                </a:cubicBezTo>
                <a:cubicBezTo>
                  <a:pt x="1903" y="70"/>
                  <a:pt x="1903" y="70"/>
                  <a:pt x="1903" y="70"/>
                </a:cubicBezTo>
                <a:cubicBezTo>
                  <a:pt x="1904" y="72"/>
                  <a:pt x="1904" y="72"/>
                  <a:pt x="1904" y="72"/>
                </a:cubicBezTo>
                <a:cubicBezTo>
                  <a:pt x="1905" y="72"/>
                  <a:pt x="1905" y="72"/>
                  <a:pt x="1905" y="72"/>
                </a:cubicBezTo>
                <a:cubicBezTo>
                  <a:pt x="1906" y="73"/>
                  <a:pt x="1906" y="73"/>
                  <a:pt x="1906" y="73"/>
                </a:cubicBezTo>
                <a:cubicBezTo>
                  <a:pt x="1906" y="74"/>
                  <a:pt x="1906" y="74"/>
                  <a:pt x="1906" y="74"/>
                </a:cubicBezTo>
                <a:cubicBezTo>
                  <a:pt x="1904" y="74"/>
                  <a:pt x="1904" y="74"/>
                  <a:pt x="1904" y="74"/>
                </a:cubicBezTo>
                <a:cubicBezTo>
                  <a:pt x="1902" y="74"/>
                  <a:pt x="1902" y="74"/>
                  <a:pt x="1902" y="74"/>
                </a:cubicBezTo>
                <a:cubicBezTo>
                  <a:pt x="1900" y="77"/>
                  <a:pt x="1900" y="77"/>
                  <a:pt x="1900" y="77"/>
                </a:cubicBezTo>
                <a:cubicBezTo>
                  <a:pt x="1900" y="79"/>
                  <a:pt x="1900" y="79"/>
                  <a:pt x="1900" y="79"/>
                </a:cubicBezTo>
                <a:cubicBezTo>
                  <a:pt x="1901" y="81"/>
                  <a:pt x="1901" y="81"/>
                  <a:pt x="1901" y="81"/>
                </a:cubicBezTo>
                <a:cubicBezTo>
                  <a:pt x="1903" y="80"/>
                  <a:pt x="1903" y="80"/>
                  <a:pt x="1903" y="80"/>
                </a:cubicBezTo>
                <a:cubicBezTo>
                  <a:pt x="1905" y="79"/>
                  <a:pt x="1905" y="79"/>
                  <a:pt x="1905" y="79"/>
                </a:cubicBezTo>
                <a:cubicBezTo>
                  <a:pt x="1906" y="80"/>
                  <a:pt x="1906" y="80"/>
                  <a:pt x="1906" y="80"/>
                </a:cubicBezTo>
                <a:cubicBezTo>
                  <a:pt x="1904" y="81"/>
                  <a:pt x="1904" y="81"/>
                  <a:pt x="1904" y="81"/>
                </a:cubicBezTo>
                <a:cubicBezTo>
                  <a:pt x="1903" y="83"/>
                  <a:pt x="1903" y="83"/>
                  <a:pt x="1903" y="83"/>
                </a:cubicBezTo>
                <a:cubicBezTo>
                  <a:pt x="1904" y="83"/>
                  <a:pt x="1904" y="83"/>
                  <a:pt x="1904" y="83"/>
                </a:cubicBezTo>
                <a:cubicBezTo>
                  <a:pt x="1906" y="81"/>
                  <a:pt x="1906" y="81"/>
                  <a:pt x="1906" y="81"/>
                </a:cubicBezTo>
                <a:cubicBezTo>
                  <a:pt x="1907" y="81"/>
                  <a:pt x="1907" y="81"/>
                  <a:pt x="1907" y="81"/>
                </a:cubicBezTo>
                <a:cubicBezTo>
                  <a:pt x="1908" y="82"/>
                  <a:pt x="1908" y="82"/>
                  <a:pt x="1908" y="82"/>
                </a:cubicBezTo>
                <a:cubicBezTo>
                  <a:pt x="1906" y="83"/>
                  <a:pt x="1906" y="83"/>
                  <a:pt x="1906" y="83"/>
                </a:cubicBezTo>
                <a:cubicBezTo>
                  <a:pt x="1906" y="85"/>
                  <a:pt x="1906" y="85"/>
                  <a:pt x="1906" y="85"/>
                </a:cubicBezTo>
                <a:cubicBezTo>
                  <a:pt x="1907" y="86"/>
                  <a:pt x="1907" y="86"/>
                  <a:pt x="1907" y="86"/>
                </a:cubicBezTo>
                <a:cubicBezTo>
                  <a:pt x="1909" y="86"/>
                  <a:pt x="1909" y="86"/>
                  <a:pt x="1909" y="86"/>
                </a:cubicBezTo>
                <a:cubicBezTo>
                  <a:pt x="1908" y="87"/>
                  <a:pt x="1908" y="87"/>
                  <a:pt x="1908" y="87"/>
                </a:cubicBezTo>
                <a:cubicBezTo>
                  <a:pt x="1907" y="87"/>
                  <a:pt x="1907" y="87"/>
                  <a:pt x="1907" y="87"/>
                </a:cubicBezTo>
                <a:cubicBezTo>
                  <a:pt x="1905" y="88"/>
                  <a:pt x="1905" y="88"/>
                  <a:pt x="1905" y="88"/>
                </a:cubicBezTo>
                <a:cubicBezTo>
                  <a:pt x="1905" y="90"/>
                  <a:pt x="1905" y="90"/>
                  <a:pt x="1905" y="90"/>
                </a:cubicBezTo>
                <a:cubicBezTo>
                  <a:pt x="1906" y="92"/>
                  <a:pt x="1906" y="92"/>
                  <a:pt x="1906" y="92"/>
                </a:cubicBezTo>
                <a:cubicBezTo>
                  <a:pt x="1905" y="92"/>
                  <a:pt x="1905" y="92"/>
                  <a:pt x="1905" y="92"/>
                </a:cubicBezTo>
                <a:cubicBezTo>
                  <a:pt x="1904" y="92"/>
                  <a:pt x="1904" y="92"/>
                  <a:pt x="1904" y="92"/>
                </a:cubicBezTo>
                <a:cubicBezTo>
                  <a:pt x="1903" y="92"/>
                  <a:pt x="1903" y="92"/>
                  <a:pt x="1903" y="92"/>
                </a:cubicBezTo>
                <a:cubicBezTo>
                  <a:pt x="1901" y="92"/>
                  <a:pt x="1901" y="92"/>
                  <a:pt x="1901" y="92"/>
                </a:cubicBezTo>
                <a:cubicBezTo>
                  <a:pt x="1900" y="92"/>
                  <a:pt x="1900" y="92"/>
                  <a:pt x="1900" y="92"/>
                </a:cubicBezTo>
                <a:cubicBezTo>
                  <a:pt x="1898" y="94"/>
                  <a:pt x="1898" y="94"/>
                  <a:pt x="1898" y="94"/>
                </a:cubicBezTo>
                <a:cubicBezTo>
                  <a:pt x="1898" y="96"/>
                  <a:pt x="1898" y="96"/>
                  <a:pt x="1898" y="96"/>
                </a:cubicBezTo>
                <a:lnTo>
                  <a:pt x="1899" y="98"/>
                </a:lnTo>
                <a:close/>
                <a:moveTo>
                  <a:pt x="1952" y="157"/>
                </a:moveTo>
                <a:cubicBezTo>
                  <a:pt x="1953" y="158"/>
                  <a:pt x="1953" y="158"/>
                  <a:pt x="1953" y="158"/>
                </a:cubicBezTo>
                <a:cubicBezTo>
                  <a:pt x="1954" y="158"/>
                  <a:pt x="1954" y="158"/>
                  <a:pt x="1954" y="158"/>
                </a:cubicBezTo>
                <a:cubicBezTo>
                  <a:pt x="1955" y="157"/>
                  <a:pt x="1955" y="157"/>
                  <a:pt x="1955" y="157"/>
                </a:cubicBezTo>
                <a:cubicBezTo>
                  <a:pt x="1953" y="157"/>
                  <a:pt x="1953" y="157"/>
                  <a:pt x="1953" y="157"/>
                </a:cubicBezTo>
                <a:lnTo>
                  <a:pt x="1952" y="157"/>
                </a:lnTo>
                <a:close/>
                <a:moveTo>
                  <a:pt x="968" y="126"/>
                </a:moveTo>
                <a:cubicBezTo>
                  <a:pt x="968" y="128"/>
                  <a:pt x="968" y="128"/>
                  <a:pt x="968" y="128"/>
                </a:cubicBezTo>
                <a:cubicBezTo>
                  <a:pt x="968" y="128"/>
                  <a:pt x="968" y="128"/>
                  <a:pt x="968" y="128"/>
                </a:cubicBezTo>
                <a:cubicBezTo>
                  <a:pt x="970" y="128"/>
                  <a:pt x="970" y="128"/>
                  <a:pt x="970" y="128"/>
                </a:cubicBezTo>
                <a:cubicBezTo>
                  <a:pt x="971" y="126"/>
                  <a:pt x="971" y="126"/>
                  <a:pt x="971" y="126"/>
                </a:cubicBezTo>
                <a:cubicBezTo>
                  <a:pt x="971" y="126"/>
                  <a:pt x="971" y="126"/>
                  <a:pt x="971" y="126"/>
                </a:cubicBezTo>
                <a:cubicBezTo>
                  <a:pt x="970" y="126"/>
                  <a:pt x="970" y="126"/>
                  <a:pt x="970" y="126"/>
                </a:cubicBezTo>
                <a:lnTo>
                  <a:pt x="968" y="126"/>
                </a:lnTo>
                <a:close/>
                <a:moveTo>
                  <a:pt x="827" y="254"/>
                </a:moveTo>
                <a:cubicBezTo>
                  <a:pt x="827" y="253"/>
                  <a:pt x="827" y="253"/>
                  <a:pt x="827" y="253"/>
                </a:cubicBezTo>
                <a:cubicBezTo>
                  <a:pt x="827" y="252"/>
                  <a:pt x="827" y="252"/>
                  <a:pt x="827" y="252"/>
                </a:cubicBezTo>
                <a:cubicBezTo>
                  <a:pt x="826" y="251"/>
                  <a:pt x="826" y="251"/>
                  <a:pt x="826" y="251"/>
                </a:cubicBezTo>
                <a:cubicBezTo>
                  <a:pt x="825" y="252"/>
                  <a:pt x="825" y="252"/>
                  <a:pt x="825" y="252"/>
                </a:cubicBezTo>
                <a:cubicBezTo>
                  <a:pt x="824" y="252"/>
                  <a:pt x="824" y="252"/>
                  <a:pt x="824" y="252"/>
                </a:cubicBezTo>
                <a:cubicBezTo>
                  <a:pt x="823" y="250"/>
                  <a:pt x="823" y="250"/>
                  <a:pt x="823" y="250"/>
                </a:cubicBezTo>
                <a:cubicBezTo>
                  <a:pt x="823" y="250"/>
                  <a:pt x="823" y="250"/>
                  <a:pt x="823" y="250"/>
                </a:cubicBezTo>
                <a:cubicBezTo>
                  <a:pt x="822" y="251"/>
                  <a:pt x="822" y="251"/>
                  <a:pt x="822" y="251"/>
                </a:cubicBezTo>
                <a:cubicBezTo>
                  <a:pt x="820" y="253"/>
                  <a:pt x="820" y="253"/>
                  <a:pt x="820" y="253"/>
                </a:cubicBezTo>
                <a:cubicBezTo>
                  <a:pt x="819" y="253"/>
                  <a:pt x="819" y="253"/>
                  <a:pt x="819" y="253"/>
                </a:cubicBezTo>
                <a:cubicBezTo>
                  <a:pt x="818" y="254"/>
                  <a:pt x="818" y="254"/>
                  <a:pt x="818" y="254"/>
                </a:cubicBezTo>
                <a:cubicBezTo>
                  <a:pt x="818" y="256"/>
                  <a:pt x="818" y="256"/>
                  <a:pt x="818" y="256"/>
                </a:cubicBezTo>
                <a:cubicBezTo>
                  <a:pt x="818" y="258"/>
                  <a:pt x="818" y="258"/>
                  <a:pt x="818" y="258"/>
                </a:cubicBezTo>
                <a:cubicBezTo>
                  <a:pt x="817" y="258"/>
                  <a:pt x="817" y="258"/>
                  <a:pt x="817" y="258"/>
                </a:cubicBezTo>
                <a:cubicBezTo>
                  <a:pt x="816" y="260"/>
                  <a:pt x="816" y="260"/>
                  <a:pt x="816" y="260"/>
                </a:cubicBezTo>
                <a:cubicBezTo>
                  <a:pt x="817" y="261"/>
                  <a:pt x="817" y="261"/>
                  <a:pt x="817" y="261"/>
                </a:cubicBezTo>
                <a:cubicBezTo>
                  <a:pt x="816" y="263"/>
                  <a:pt x="816" y="263"/>
                  <a:pt x="816" y="263"/>
                </a:cubicBezTo>
                <a:cubicBezTo>
                  <a:pt x="816" y="263"/>
                  <a:pt x="816" y="263"/>
                  <a:pt x="816" y="263"/>
                </a:cubicBezTo>
                <a:cubicBezTo>
                  <a:pt x="818" y="264"/>
                  <a:pt x="818" y="264"/>
                  <a:pt x="818" y="264"/>
                </a:cubicBezTo>
                <a:cubicBezTo>
                  <a:pt x="818" y="265"/>
                  <a:pt x="818" y="265"/>
                  <a:pt x="818" y="265"/>
                </a:cubicBezTo>
                <a:cubicBezTo>
                  <a:pt x="819" y="265"/>
                  <a:pt x="819" y="265"/>
                  <a:pt x="819" y="265"/>
                </a:cubicBezTo>
                <a:cubicBezTo>
                  <a:pt x="819" y="267"/>
                  <a:pt x="819" y="267"/>
                  <a:pt x="819" y="267"/>
                </a:cubicBezTo>
                <a:cubicBezTo>
                  <a:pt x="820" y="267"/>
                  <a:pt x="820" y="267"/>
                  <a:pt x="820" y="267"/>
                </a:cubicBezTo>
                <a:cubicBezTo>
                  <a:pt x="821" y="266"/>
                  <a:pt x="821" y="266"/>
                  <a:pt x="821" y="266"/>
                </a:cubicBezTo>
                <a:cubicBezTo>
                  <a:pt x="821" y="265"/>
                  <a:pt x="821" y="265"/>
                  <a:pt x="821" y="265"/>
                </a:cubicBezTo>
                <a:cubicBezTo>
                  <a:pt x="822" y="264"/>
                  <a:pt x="822" y="264"/>
                  <a:pt x="822" y="264"/>
                </a:cubicBezTo>
                <a:cubicBezTo>
                  <a:pt x="822" y="263"/>
                  <a:pt x="822" y="263"/>
                  <a:pt x="822" y="263"/>
                </a:cubicBezTo>
                <a:cubicBezTo>
                  <a:pt x="821" y="263"/>
                  <a:pt x="821" y="263"/>
                  <a:pt x="821" y="263"/>
                </a:cubicBezTo>
                <a:cubicBezTo>
                  <a:pt x="822" y="262"/>
                  <a:pt x="822" y="262"/>
                  <a:pt x="822" y="262"/>
                </a:cubicBezTo>
                <a:cubicBezTo>
                  <a:pt x="823" y="261"/>
                  <a:pt x="823" y="261"/>
                  <a:pt x="823" y="261"/>
                </a:cubicBezTo>
                <a:cubicBezTo>
                  <a:pt x="824" y="259"/>
                  <a:pt x="824" y="259"/>
                  <a:pt x="824" y="259"/>
                </a:cubicBezTo>
                <a:cubicBezTo>
                  <a:pt x="825" y="259"/>
                  <a:pt x="825" y="259"/>
                  <a:pt x="825" y="259"/>
                </a:cubicBezTo>
                <a:cubicBezTo>
                  <a:pt x="826" y="258"/>
                  <a:pt x="826" y="258"/>
                  <a:pt x="826" y="258"/>
                </a:cubicBezTo>
                <a:cubicBezTo>
                  <a:pt x="826" y="257"/>
                  <a:pt x="826" y="257"/>
                  <a:pt x="826" y="257"/>
                </a:cubicBezTo>
                <a:cubicBezTo>
                  <a:pt x="826" y="256"/>
                  <a:pt x="826" y="256"/>
                  <a:pt x="826" y="256"/>
                </a:cubicBezTo>
                <a:cubicBezTo>
                  <a:pt x="827" y="255"/>
                  <a:pt x="827" y="255"/>
                  <a:pt x="827" y="255"/>
                </a:cubicBezTo>
                <a:lnTo>
                  <a:pt x="827" y="254"/>
                </a:lnTo>
                <a:close/>
                <a:moveTo>
                  <a:pt x="840" y="250"/>
                </a:moveTo>
                <a:cubicBezTo>
                  <a:pt x="840" y="251"/>
                  <a:pt x="840" y="251"/>
                  <a:pt x="840" y="251"/>
                </a:cubicBezTo>
                <a:cubicBezTo>
                  <a:pt x="842" y="251"/>
                  <a:pt x="842" y="251"/>
                  <a:pt x="842" y="251"/>
                </a:cubicBezTo>
                <a:cubicBezTo>
                  <a:pt x="842" y="251"/>
                  <a:pt x="842" y="250"/>
                  <a:pt x="842" y="250"/>
                </a:cubicBezTo>
                <a:cubicBezTo>
                  <a:pt x="840" y="250"/>
                  <a:pt x="840" y="250"/>
                  <a:pt x="840" y="250"/>
                </a:cubicBezTo>
                <a:close/>
                <a:moveTo>
                  <a:pt x="826" y="225"/>
                </a:moveTo>
                <a:cubicBezTo>
                  <a:pt x="825" y="224"/>
                  <a:pt x="825" y="224"/>
                  <a:pt x="825" y="224"/>
                </a:cubicBezTo>
                <a:cubicBezTo>
                  <a:pt x="827" y="224"/>
                  <a:pt x="827" y="224"/>
                  <a:pt x="827" y="224"/>
                </a:cubicBezTo>
                <a:cubicBezTo>
                  <a:pt x="827" y="223"/>
                  <a:pt x="827" y="223"/>
                  <a:pt x="827" y="223"/>
                </a:cubicBezTo>
                <a:cubicBezTo>
                  <a:pt x="826" y="222"/>
                  <a:pt x="826" y="222"/>
                  <a:pt x="826" y="222"/>
                </a:cubicBezTo>
                <a:cubicBezTo>
                  <a:pt x="825" y="220"/>
                  <a:pt x="825" y="220"/>
                  <a:pt x="825" y="220"/>
                </a:cubicBezTo>
                <a:cubicBezTo>
                  <a:pt x="825" y="221"/>
                  <a:pt x="825" y="221"/>
                  <a:pt x="825" y="221"/>
                </a:cubicBezTo>
                <a:cubicBezTo>
                  <a:pt x="825" y="222"/>
                  <a:pt x="825" y="222"/>
                  <a:pt x="825" y="222"/>
                </a:cubicBezTo>
                <a:cubicBezTo>
                  <a:pt x="824" y="223"/>
                  <a:pt x="824" y="223"/>
                  <a:pt x="824" y="223"/>
                </a:cubicBezTo>
                <a:cubicBezTo>
                  <a:pt x="823" y="222"/>
                  <a:pt x="823" y="222"/>
                  <a:pt x="823" y="222"/>
                </a:cubicBezTo>
                <a:cubicBezTo>
                  <a:pt x="821" y="221"/>
                  <a:pt x="821" y="221"/>
                  <a:pt x="821" y="221"/>
                </a:cubicBezTo>
                <a:cubicBezTo>
                  <a:pt x="821" y="220"/>
                  <a:pt x="821" y="220"/>
                  <a:pt x="821" y="220"/>
                </a:cubicBezTo>
                <a:cubicBezTo>
                  <a:pt x="821" y="220"/>
                  <a:pt x="821" y="220"/>
                  <a:pt x="821" y="220"/>
                </a:cubicBezTo>
                <a:cubicBezTo>
                  <a:pt x="819" y="222"/>
                  <a:pt x="819" y="222"/>
                  <a:pt x="819" y="222"/>
                </a:cubicBezTo>
                <a:cubicBezTo>
                  <a:pt x="816" y="222"/>
                  <a:pt x="816" y="222"/>
                  <a:pt x="816" y="222"/>
                </a:cubicBezTo>
                <a:cubicBezTo>
                  <a:pt x="815" y="221"/>
                  <a:pt x="815" y="221"/>
                  <a:pt x="815" y="221"/>
                </a:cubicBezTo>
                <a:cubicBezTo>
                  <a:pt x="817" y="219"/>
                  <a:pt x="817" y="219"/>
                  <a:pt x="817" y="219"/>
                </a:cubicBezTo>
                <a:cubicBezTo>
                  <a:pt x="818" y="219"/>
                  <a:pt x="818" y="219"/>
                  <a:pt x="818" y="219"/>
                </a:cubicBezTo>
                <a:cubicBezTo>
                  <a:pt x="819" y="218"/>
                  <a:pt x="819" y="218"/>
                  <a:pt x="819" y="218"/>
                </a:cubicBezTo>
                <a:cubicBezTo>
                  <a:pt x="819" y="217"/>
                  <a:pt x="819" y="217"/>
                  <a:pt x="819" y="217"/>
                </a:cubicBezTo>
                <a:cubicBezTo>
                  <a:pt x="819" y="216"/>
                  <a:pt x="819" y="216"/>
                  <a:pt x="819" y="216"/>
                </a:cubicBezTo>
                <a:cubicBezTo>
                  <a:pt x="819" y="214"/>
                  <a:pt x="819" y="214"/>
                  <a:pt x="819" y="214"/>
                </a:cubicBezTo>
                <a:cubicBezTo>
                  <a:pt x="819" y="213"/>
                  <a:pt x="819" y="213"/>
                  <a:pt x="819" y="213"/>
                </a:cubicBezTo>
                <a:cubicBezTo>
                  <a:pt x="819" y="212"/>
                  <a:pt x="819" y="212"/>
                  <a:pt x="819" y="212"/>
                </a:cubicBezTo>
                <a:cubicBezTo>
                  <a:pt x="818" y="211"/>
                  <a:pt x="818" y="211"/>
                  <a:pt x="818" y="211"/>
                </a:cubicBezTo>
                <a:cubicBezTo>
                  <a:pt x="818" y="210"/>
                  <a:pt x="818" y="210"/>
                  <a:pt x="818" y="210"/>
                </a:cubicBezTo>
                <a:cubicBezTo>
                  <a:pt x="815" y="207"/>
                  <a:pt x="815" y="207"/>
                  <a:pt x="815" y="207"/>
                </a:cubicBezTo>
                <a:cubicBezTo>
                  <a:pt x="813" y="206"/>
                  <a:pt x="813" y="206"/>
                  <a:pt x="813" y="206"/>
                </a:cubicBezTo>
                <a:cubicBezTo>
                  <a:pt x="813" y="205"/>
                  <a:pt x="813" y="205"/>
                  <a:pt x="813" y="205"/>
                </a:cubicBezTo>
                <a:cubicBezTo>
                  <a:pt x="812" y="203"/>
                  <a:pt x="812" y="203"/>
                  <a:pt x="812" y="203"/>
                </a:cubicBezTo>
                <a:cubicBezTo>
                  <a:pt x="811" y="203"/>
                  <a:pt x="811" y="203"/>
                  <a:pt x="811" y="203"/>
                </a:cubicBezTo>
                <a:cubicBezTo>
                  <a:pt x="810" y="201"/>
                  <a:pt x="810" y="201"/>
                  <a:pt x="810" y="201"/>
                </a:cubicBezTo>
                <a:cubicBezTo>
                  <a:pt x="811" y="199"/>
                  <a:pt x="811" y="199"/>
                  <a:pt x="811" y="199"/>
                </a:cubicBezTo>
                <a:cubicBezTo>
                  <a:pt x="810" y="197"/>
                  <a:pt x="810" y="197"/>
                  <a:pt x="810" y="197"/>
                </a:cubicBezTo>
                <a:cubicBezTo>
                  <a:pt x="807" y="197"/>
                  <a:pt x="807" y="197"/>
                  <a:pt x="807" y="197"/>
                </a:cubicBezTo>
                <a:cubicBezTo>
                  <a:pt x="804" y="196"/>
                  <a:pt x="804" y="196"/>
                  <a:pt x="804" y="196"/>
                </a:cubicBezTo>
                <a:cubicBezTo>
                  <a:pt x="803" y="194"/>
                  <a:pt x="803" y="194"/>
                  <a:pt x="803" y="194"/>
                </a:cubicBezTo>
                <a:cubicBezTo>
                  <a:pt x="804" y="193"/>
                  <a:pt x="804" y="193"/>
                  <a:pt x="804" y="193"/>
                </a:cubicBezTo>
                <a:cubicBezTo>
                  <a:pt x="804" y="192"/>
                  <a:pt x="804" y="192"/>
                  <a:pt x="804" y="192"/>
                </a:cubicBezTo>
                <a:cubicBezTo>
                  <a:pt x="803" y="191"/>
                  <a:pt x="803" y="191"/>
                  <a:pt x="803" y="191"/>
                </a:cubicBezTo>
                <a:cubicBezTo>
                  <a:pt x="802" y="190"/>
                  <a:pt x="802" y="190"/>
                  <a:pt x="802" y="190"/>
                </a:cubicBezTo>
                <a:cubicBezTo>
                  <a:pt x="801" y="189"/>
                  <a:pt x="801" y="189"/>
                  <a:pt x="801" y="189"/>
                </a:cubicBezTo>
                <a:cubicBezTo>
                  <a:pt x="800" y="192"/>
                  <a:pt x="800" y="192"/>
                  <a:pt x="800" y="192"/>
                </a:cubicBezTo>
                <a:cubicBezTo>
                  <a:pt x="799" y="193"/>
                  <a:pt x="799" y="193"/>
                  <a:pt x="799" y="193"/>
                </a:cubicBezTo>
                <a:cubicBezTo>
                  <a:pt x="798" y="194"/>
                  <a:pt x="798" y="194"/>
                  <a:pt x="798" y="194"/>
                </a:cubicBezTo>
                <a:cubicBezTo>
                  <a:pt x="797" y="194"/>
                  <a:pt x="797" y="194"/>
                  <a:pt x="797" y="194"/>
                </a:cubicBezTo>
                <a:cubicBezTo>
                  <a:pt x="797" y="191"/>
                  <a:pt x="797" y="191"/>
                  <a:pt x="797" y="191"/>
                </a:cubicBezTo>
                <a:cubicBezTo>
                  <a:pt x="797" y="189"/>
                  <a:pt x="797" y="189"/>
                  <a:pt x="797" y="189"/>
                </a:cubicBezTo>
                <a:cubicBezTo>
                  <a:pt x="797" y="188"/>
                  <a:pt x="797" y="188"/>
                  <a:pt x="797" y="188"/>
                </a:cubicBezTo>
                <a:cubicBezTo>
                  <a:pt x="798" y="188"/>
                  <a:pt x="798" y="188"/>
                  <a:pt x="798" y="188"/>
                </a:cubicBezTo>
                <a:cubicBezTo>
                  <a:pt x="799" y="188"/>
                  <a:pt x="799" y="188"/>
                  <a:pt x="799" y="188"/>
                </a:cubicBezTo>
                <a:cubicBezTo>
                  <a:pt x="799" y="187"/>
                  <a:pt x="799" y="187"/>
                  <a:pt x="799" y="187"/>
                </a:cubicBezTo>
                <a:cubicBezTo>
                  <a:pt x="799" y="185"/>
                  <a:pt x="799" y="185"/>
                  <a:pt x="799" y="185"/>
                </a:cubicBezTo>
                <a:cubicBezTo>
                  <a:pt x="799" y="183"/>
                  <a:pt x="799" y="183"/>
                  <a:pt x="799" y="183"/>
                </a:cubicBezTo>
                <a:cubicBezTo>
                  <a:pt x="797" y="184"/>
                  <a:pt x="797" y="184"/>
                  <a:pt x="797" y="184"/>
                </a:cubicBezTo>
                <a:cubicBezTo>
                  <a:pt x="797" y="183"/>
                  <a:pt x="797" y="183"/>
                  <a:pt x="797" y="183"/>
                </a:cubicBezTo>
                <a:cubicBezTo>
                  <a:pt x="798" y="181"/>
                  <a:pt x="798" y="181"/>
                  <a:pt x="798" y="181"/>
                </a:cubicBezTo>
                <a:cubicBezTo>
                  <a:pt x="797" y="180"/>
                  <a:pt x="797" y="180"/>
                  <a:pt x="797" y="180"/>
                </a:cubicBezTo>
                <a:cubicBezTo>
                  <a:pt x="794" y="182"/>
                  <a:pt x="794" y="182"/>
                  <a:pt x="794" y="182"/>
                </a:cubicBezTo>
                <a:cubicBezTo>
                  <a:pt x="792" y="184"/>
                  <a:pt x="792" y="184"/>
                  <a:pt x="792" y="184"/>
                </a:cubicBezTo>
                <a:cubicBezTo>
                  <a:pt x="790" y="187"/>
                  <a:pt x="790" y="187"/>
                  <a:pt x="790" y="187"/>
                </a:cubicBezTo>
                <a:cubicBezTo>
                  <a:pt x="788" y="190"/>
                  <a:pt x="788" y="190"/>
                  <a:pt x="788" y="190"/>
                </a:cubicBezTo>
                <a:cubicBezTo>
                  <a:pt x="788" y="192"/>
                  <a:pt x="788" y="192"/>
                  <a:pt x="788" y="192"/>
                </a:cubicBezTo>
                <a:cubicBezTo>
                  <a:pt x="787" y="193"/>
                  <a:pt x="787" y="193"/>
                  <a:pt x="787" y="193"/>
                </a:cubicBezTo>
                <a:cubicBezTo>
                  <a:pt x="787" y="194"/>
                  <a:pt x="787" y="194"/>
                  <a:pt x="787" y="194"/>
                </a:cubicBezTo>
                <a:cubicBezTo>
                  <a:pt x="785" y="198"/>
                  <a:pt x="785" y="198"/>
                  <a:pt x="785" y="198"/>
                </a:cubicBezTo>
                <a:cubicBezTo>
                  <a:pt x="786" y="199"/>
                  <a:pt x="786" y="199"/>
                  <a:pt x="786" y="199"/>
                </a:cubicBezTo>
                <a:cubicBezTo>
                  <a:pt x="784" y="200"/>
                  <a:pt x="784" y="200"/>
                  <a:pt x="784" y="200"/>
                </a:cubicBezTo>
                <a:cubicBezTo>
                  <a:pt x="784" y="201"/>
                  <a:pt x="784" y="201"/>
                  <a:pt x="784" y="201"/>
                </a:cubicBezTo>
                <a:cubicBezTo>
                  <a:pt x="784" y="203"/>
                  <a:pt x="784" y="203"/>
                  <a:pt x="784" y="203"/>
                </a:cubicBezTo>
                <a:cubicBezTo>
                  <a:pt x="781" y="205"/>
                  <a:pt x="781" y="205"/>
                  <a:pt x="781" y="205"/>
                </a:cubicBezTo>
                <a:cubicBezTo>
                  <a:pt x="780" y="207"/>
                  <a:pt x="780" y="207"/>
                  <a:pt x="780" y="207"/>
                </a:cubicBezTo>
                <a:cubicBezTo>
                  <a:pt x="780" y="210"/>
                  <a:pt x="780" y="210"/>
                  <a:pt x="780" y="210"/>
                </a:cubicBezTo>
                <a:cubicBezTo>
                  <a:pt x="780" y="211"/>
                  <a:pt x="780" y="211"/>
                  <a:pt x="780" y="211"/>
                </a:cubicBezTo>
                <a:cubicBezTo>
                  <a:pt x="780" y="214"/>
                  <a:pt x="780" y="214"/>
                  <a:pt x="780" y="214"/>
                </a:cubicBezTo>
                <a:cubicBezTo>
                  <a:pt x="779" y="215"/>
                  <a:pt x="779" y="215"/>
                  <a:pt x="779" y="215"/>
                </a:cubicBezTo>
                <a:cubicBezTo>
                  <a:pt x="776" y="215"/>
                  <a:pt x="776" y="215"/>
                  <a:pt x="776" y="215"/>
                </a:cubicBezTo>
                <a:cubicBezTo>
                  <a:pt x="773" y="217"/>
                  <a:pt x="773" y="217"/>
                  <a:pt x="773" y="217"/>
                </a:cubicBezTo>
                <a:cubicBezTo>
                  <a:pt x="773" y="218"/>
                  <a:pt x="773" y="218"/>
                  <a:pt x="773" y="218"/>
                </a:cubicBezTo>
                <a:cubicBezTo>
                  <a:pt x="772" y="222"/>
                  <a:pt x="772" y="222"/>
                  <a:pt x="772" y="222"/>
                </a:cubicBezTo>
                <a:cubicBezTo>
                  <a:pt x="772" y="224"/>
                  <a:pt x="772" y="224"/>
                  <a:pt x="772" y="224"/>
                </a:cubicBezTo>
                <a:cubicBezTo>
                  <a:pt x="772" y="224"/>
                  <a:pt x="773" y="224"/>
                  <a:pt x="773" y="224"/>
                </a:cubicBezTo>
                <a:cubicBezTo>
                  <a:pt x="774" y="222"/>
                  <a:pt x="774" y="222"/>
                  <a:pt x="774" y="222"/>
                </a:cubicBezTo>
                <a:cubicBezTo>
                  <a:pt x="775" y="222"/>
                  <a:pt x="775" y="222"/>
                  <a:pt x="775" y="222"/>
                </a:cubicBezTo>
                <a:cubicBezTo>
                  <a:pt x="775" y="222"/>
                  <a:pt x="775" y="222"/>
                  <a:pt x="775" y="222"/>
                </a:cubicBezTo>
                <a:cubicBezTo>
                  <a:pt x="777" y="223"/>
                  <a:pt x="777" y="223"/>
                  <a:pt x="777" y="223"/>
                </a:cubicBezTo>
                <a:cubicBezTo>
                  <a:pt x="778" y="223"/>
                  <a:pt x="778" y="223"/>
                  <a:pt x="778" y="223"/>
                </a:cubicBezTo>
                <a:cubicBezTo>
                  <a:pt x="779" y="223"/>
                  <a:pt x="779" y="223"/>
                  <a:pt x="779" y="223"/>
                </a:cubicBezTo>
                <a:cubicBezTo>
                  <a:pt x="780" y="223"/>
                  <a:pt x="780" y="223"/>
                  <a:pt x="780" y="223"/>
                </a:cubicBezTo>
                <a:cubicBezTo>
                  <a:pt x="781" y="223"/>
                  <a:pt x="781" y="223"/>
                  <a:pt x="781" y="223"/>
                </a:cubicBezTo>
                <a:cubicBezTo>
                  <a:pt x="781" y="225"/>
                  <a:pt x="781" y="225"/>
                  <a:pt x="781" y="225"/>
                </a:cubicBezTo>
                <a:cubicBezTo>
                  <a:pt x="780" y="227"/>
                  <a:pt x="780" y="227"/>
                  <a:pt x="780" y="227"/>
                </a:cubicBezTo>
                <a:cubicBezTo>
                  <a:pt x="780" y="228"/>
                  <a:pt x="780" y="228"/>
                  <a:pt x="780" y="228"/>
                </a:cubicBezTo>
                <a:cubicBezTo>
                  <a:pt x="779" y="230"/>
                  <a:pt x="779" y="230"/>
                  <a:pt x="779" y="230"/>
                </a:cubicBezTo>
                <a:cubicBezTo>
                  <a:pt x="779" y="232"/>
                  <a:pt x="779" y="232"/>
                  <a:pt x="779" y="232"/>
                </a:cubicBezTo>
                <a:cubicBezTo>
                  <a:pt x="779" y="233"/>
                  <a:pt x="779" y="233"/>
                  <a:pt x="779" y="233"/>
                </a:cubicBezTo>
                <a:cubicBezTo>
                  <a:pt x="780" y="233"/>
                  <a:pt x="780" y="233"/>
                  <a:pt x="780" y="233"/>
                </a:cubicBezTo>
                <a:cubicBezTo>
                  <a:pt x="781" y="233"/>
                  <a:pt x="781" y="233"/>
                  <a:pt x="781" y="233"/>
                </a:cubicBezTo>
                <a:cubicBezTo>
                  <a:pt x="783" y="233"/>
                  <a:pt x="783" y="233"/>
                  <a:pt x="783" y="233"/>
                </a:cubicBezTo>
                <a:cubicBezTo>
                  <a:pt x="784" y="233"/>
                  <a:pt x="784" y="233"/>
                  <a:pt x="784" y="233"/>
                </a:cubicBezTo>
                <a:cubicBezTo>
                  <a:pt x="785" y="233"/>
                  <a:pt x="785" y="233"/>
                  <a:pt x="785" y="233"/>
                </a:cubicBezTo>
                <a:cubicBezTo>
                  <a:pt x="786" y="232"/>
                  <a:pt x="786" y="232"/>
                  <a:pt x="786" y="232"/>
                </a:cubicBezTo>
                <a:cubicBezTo>
                  <a:pt x="787" y="231"/>
                  <a:pt x="787" y="231"/>
                  <a:pt x="787" y="231"/>
                </a:cubicBezTo>
                <a:cubicBezTo>
                  <a:pt x="789" y="231"/>
                  <a:pt x="789" y="231"/>
                  <a:pt x="789" y="231"/>
                </a:cubicBezTo>
                <a:cubicBezTo>
                  <a:pt x="790" y="230"/>
                  <a:pt x="790" y="230"/>
                  <a:pt x="790" y="230"/>
                </a:cubicBezTo>
                <a:cubicBezTo>
                  <a:pt x="791" y="227"/>
                  <a:pt x="791" y="227"/>
                  <a:pt x="791" y="227"/>
                </a:cubicBezTo>
                <a:cubicBezTo>
                  <a:pt x="792" y="226"/>
                  <a:pt x="792" y="226"/>
                  <a:pt x="792" y="226"/>
                </a:cubicBezTo>
                <a:cubicBezTo>
                  <a:pt x="793" y="225"/>
                  <a:pt x="793" y="225"/>
                  <a:pt x="793" y="225"/>
                </a:cubicBezTo>
                <a:cubicBezTo>
                  <a:pt x="794" y="225"/>
                  <a:pt x="794" y="225"/>
                  <a:pt x="794" y="225"/>
                </a:cubicBezTo>
                <a:cubicBezTo>
                  <a:pt x="795" y="225"/>
                  <a:pt x="795" y="225"/>
                  <a:pt x="795" y="225"/>
                </a:cubicBezTo>
                <a:cubicBezTo>
                  <a:pt x="796" y="224"/>
                  <a:pt x="796" y="224"/>
                  <a:pt x="796" y="224"/>
                </a:cubicBezTo>
                <a:cubicBezTo>
                  <a:pt x="797" y="224"/>
                  <a:pt x="797" y="224"/>
                  <a:pt x="797" y="224"/>
                </a:cubicBezTo>
                <a:cubicBezTo>
                  <a:pt x="799" y="224"/>
                  <a:pt x="799" y="224"/>
                  <a:pt x="799" y="224"/>
                </a:cubicBezTo>
                <a:cubicBezTo>
                  <a:pt x="799" y="221"/>
                  <a:pt x="799" y="221"/>
                  <a:pt x="799" y="221"/>
                </a:cubicBezTo>
                <a:cubicBezTo>
                  <a:pt x="799" y="219"/>
                  <a:pt x="799" y="219"/>
                  <a:pt x="799" y="219"/>
                </a:cubicBezTo>
                <a:cubicBezTo>
                  <a:pt x="801" y="218"/>
                  <a:pt x="801" y="218"/>
                  <a:pt x="801" y="218"/>
                </a:cubicBezTo>
                <a:cubicBezTo>
                  <a:pt x="802" y="216"/>
                  <a:pt x="802" y="216"/>
                  <a:pt x="802" y="216"/>
                </a:cubicBezTo>
                <a:cubicBezTo>
                  <a:pt x="803" y="216"/>
                  <a:pt x="803" y="216"/>
                  <a:pt x="803" y="216"/>
                </a:cubicBezTo>
                <a:cubicBezTo>
                  <a:pt x="804" y="217"/>
                  <a:pt x="804" y="217"/>
                  <a:pt x="804" y="217"/>
                </a:cubicBezTo>
                <a:cubicBezTo>
                  <a:pt x="805" y="216"/>
                  <a:pt x="805" y="216"/>
                  <a:pt x="805" y="216"/>
                </a:cubicBezTo>
                <a:cubicBezTo>
                  <a:pt x="806" y="216"/>
                  <a:pt x="806" y="216"/>
                  <a:pt x="806" y="216"/>
                </a:cubicBezTo>
                <a:cubicBezTo>
                  <a:pt x="807" y="216"/>
                  <a:pt x="807" y="216"/>
                  <a:pt x="807" y="216"/>
                </a:cubicBezTo>
                <a:cubicBezTo>
                  <a:pt x="807" y="218"/>
                  <a:pt x="807" y="218"/>
                  <a:pt x="807" y="218"/>
                </a:cubicBezTo>
                <a:cubicBezTo>
                  <a:pt x="806" y="219"/>
                  <a:pt x="806" y="219"/>
                  <a:pt x="806" y="219"/>
                </a:cubicBezTo>
                <a:cubicBezTo>
                  <a:pt x="805" y="220"/>
                  <a:pt x="805" y="220"/>
                  <a:pt x="805" y="220"/>
                </a:cubicBezTo>
                <a:cubicBezTo>
                  <a:pt x="807" y="221"/>
                  <a:pt x="807" y="221"/>
                  <a:pt x="807" y="221"/>
                </a:cubicBezTo>
                <a:cubicBezTo>
                  <a:pt x="809" y="221"/>
                  <a:pt x="809" y="221"/>
                  <a:pt x="809" y="221"/>
                </a:cubicBezTo>
                <a:cubicBezTo>
                  <a:pt x="811" y="222"/>
                  <a:pt x="811" y="222"/>
                  <a:pt x="811" y="222"/>
                </a:cubicBezTo>
                <a:cubicBezTo>
                  <a:pt x="811" y="223"/>
                  <a:pt x="811" y="223"/>
                  <a:pt x="811" y="223"/>
                </a:cubicBezTo>
                <a:cubicBezTo>
                  <a:pt x="810" y="225"/>
                  <a:pt x="810" y="225"/>
                  <a:pt x="810" y="225"/>
                </a:cubicBezTo>
                <a:cubicBezTo>
                  <a:pt x="809" y="225"/>
                  <a:pt x="809" y="225"/>
                  <a:pt x="809" y="225"/>
                </a:cubicBezTo>
                <a:cubicBezTo>
                  <a:pt x="809" y="228"/>
                  <a:pt x="809" y="228"/>
                  <a:pt x="809" y="228"/>
                </a:cubicBezTo>
                <a:cubicBezTo>
                  <a:pt x="810" y="228"/>
                  <a:pt x="810" y="228"/>
                  <a:pt x="810" y="228"/>
                </a:cubicBezTo>
                <a:cubicBezTo>
                  <a:pt x="811" y="228"/>
                  <a:pt x="811" y="228"/>
                  <a:pt x="811" y="228"/>
                </a:cubicBezTo>
                <a:cubicBezTo>
                  <a:pt x="812" y="228"/>
                  <a:pt x="812" y="228"/>
                  <a:pt x="812" y="228"/>
                </a:cubicBezTo>
                <a:cubicBezTo>
                  <a:pt x="813" y="228"/>
                  <a:pt x="813" y="228"/>
                  <a:pt x="813" y="228"/>
                </a:cubicBezTo>
                <a:cubicBezTo>
                  <a:pt x="814" y="228"/>
                  <a:pt x="814" y="228"/>
                  <a:pt x="814" y="228"/>
                </a:cubicBezTo>
                <a:cubicBezTo>
                  <a:pt x="814" y="229"/>
                  <a:pt x="814" y="229"/>
                  <a:pt x="814" y="229"/>
                </a:cubicBezTo>
                <a:cubicBezTo>
                  <a:pt x="816" y="229"/>
                  <a:pt x="816" y="229"/>
                  <a:pt x="816" y="229"/>
                </a:cubicBezTo>
                <a:cubicBezTo>
                  <a:pt x="817" y="230"/>
                  <a:pt x="817" y="230"/>
                  <a:pt x="817" y="230"/>
                </a:cubicBezTo>
                <a:cubicBezTo>
                  <a:pt x="818" y="230"/>
                  <a:pt x="818" y="230"/>
                  <a:pt x="818" y="230"/>
                </a:cubicBezTo>
                <a:cubicBezTo>
                  <a:pt x="821" y="232"/>
                  <a:pt x="821" y="232"/>
                  <a:pt x="821" y="232"/>
                </a:cubicBezTo>
                <a:cubicBezTo>
                  <a:pt x="822" y="231"/>
                  <a:pt x="822" y="231"/>
                  <a:pt x="822" y="231"/>
                </a:cubicBezTo>
                <a:cubicBezTo>
                  <a:pt x="823" y="229"/>
                  <a:pt x="823" y="229"/>
                  <a:pt x="823" y="229"/>
                </a:cubicBezTo>
                <a:cubicBezTo>
                  <a:pt x="824" y="229"/>
                  <a:pt x="824" y="229"/>
                  <a:pt x="824" y="229"/>
                </a:cubicBezTo>
                <a:cubicBezTo>
                  <a:pt x="826" y="227"/>
                  <a:pt x="826" y="227"/>
                  <a:pt x="826" y="227"/>
                </a:cubicBezTo>
                <a:cubicBezTo>
                  <a:pt x="827" y="227"/>
                  <a:pt x="827" y="227"/>
                  <a:pt x="827" y="227"/>
                </a:cubicBezTo>
                <a:cubicBezTo>
                  <a:pt x="828" y="226"/>
                  <a:pt x="828" y="226"/>
                  <a:pt x="828" y="226"/>
                </a:cubicBezTo>
                <a:lnTo>
                  <a:pt x="826" y="225"/>
                </a:lnTo>
                <a:close/>
                <a:moveTo>
                  <a:pt x="848" y="236"/>
                </a:moveTo>
                <a:cubicBezTo>
                  <a:pt x="847" y="236"/>
                  <a:pt x="847" y="236"/>
                  <a:pt x="847" y="236"/>
                </a:cubicBezTo>
                <a:cubicBezTo>
                  <a:pt x="845" y="236"/>
                  <a:pt x="845" y="236"/>
                  <a:pt x="845" y="236"/>
                </a:cubicBezTo>
                <a:cubicBezTo>
                  <a:pt x="844" y="235"/>
                  <a:pt x="844" y="235"/>
                  <a:pt x="844" y="235"/>
                </a:cubicBezTo>
                <a:cubicBezTo>
                  <a:pt x="843" y="233"/>
                  <a:pt x="843" y="233"/>
                  <a:pt x="843" y="233"/>
                </a:cubicBezTo>
                <a:cubicBezTo>
                  <a:pt x="842" y="234"/>
                  <a:pt x="842" y="234"/>
                  <a:pt x="842" y="234"/>
                </a:cubicBezTo>
                <a:cubicBezTo>
                  <a:pt x="840" y="234"/>
                  <a:pt x="840" y="234"/>
                  <a:pt x="840" y="234"/>
                </a:cubicBezTo>
                <a:cubicBezTo>
                  <a:pt x="840" y="234"/>
                  <a:pt x="840" y="234"/>
                  <a:pt x="840" y="234"/>
                </a:cubicBezTo>
                <a:cubicBezTo>
                  <a:pt x="839" y="235"/>
                  <a:pt x="839" y="235"/>
                  <a:pt x="839" y="235"/>
                </a:cubicBezTo>
                <a:cubicBezTo>
                  <a:pt x="840" y="236"/>
                  <a:pt x="840" y="236"/>
                  <a:pt x="840" y="236"/>
                </a:cubicBezTo>
                <a:cubicBezTo>
                  <a:pt x="841" y="237"/>
                  <a:pt x="841" y="237"/>
                  <a:pt x="841" y="237"/>
                </a:cubicBezTo>
                <a:cubicBezTo>
                  <a:pt x="842" y="240"/>
                  <a:pt x="842" y="240"/>
                  <a:pt x="842" y="240"/>
                </a:cubicBezTo>
                <a:cubicBezTo>
                  <a:pt x="843" y="240"/>
                  <a:pt x="843" y="240"/>
                  <a:pt x="843" y="240"/>
                </a:cubicBezTo>
                <a:cubicBezTo>
                  <a:pt x="843" y="242"/>
                  <a:pt x="843" y="242"/>
                  <a:pt x="843" y="242"/>
                </a:cubicBezTo>
                <a:cubicBezTo>
                  <a:pt x="844" y="242"/>
                  <a:pt x="844" y="242"/>
                  <a:pt x="844" y="242"/>
                </a:cubicBezTo>
                <a:cubicBezTo>
                  <a:pt x="845" y="242"/>
                  <a:pt x="845" y="242"/>
                  <a:pt x="845" y="242"/>
                </a:cubicBezTo>
                <a:cubicBezTo>
                  <a:pt x="846" y="241"/>
                  <a:pt x="846" y="241"/>
                  <a:pt x="846" y="241"/>
                </a:cubicBezTo>
                <a:cubicBezTo>
                  <a:pt x="847" y="241"/>
                  <a:pt x="847" y="241"/>
                  <a:pt x="847" y="241"/>
                </a:cubicBezTo>
                <a:cubicBezTo>
                  <a:pt x="848" y="241"/>
                  <a:pt x="848" y="241"/>
                  <a:pt x="848" y="241"/>
                </a:cubicBezTo>
                <a:cubicBezTo>
                  <a:pt x="848" y="240"/>
                  <a:pt x="848" y="240"/>
                  <a:pt x="848" y="240"/>
                </a:cubicBezTo>
                <a:cubicBezTo>
                  <a:pt x="848" y="239"/>
                  <a:pt x="848" y="239"/>
                  <a:pt x="848" y="239"/>
                </a:cubicBezTo>
                <a:lnTo>
                  <a:pt x="848" y="236"/>
                </a:lnTo>
                <a:close/>
                <a:moveTo>
                  <a:pt x="789" y="253"/>
                </a:moveTo>
                <a:cubicBezTo>
                  <a:pt x="789" y="253"/>
                  <a:pt x="789" y="254"/>
                  <a:pt x="789" y="254"/>
                </a:cubicBezTo>
                <a:cubicBezTo>
                  <a:pt x="790" y="254"/>
                  <a:pt x="790" y="254"/>
                  <a:pt x="790" y="254"/>
                </a:cubicBezTo>
                <a:cubicBezTo>
                  <a:pt x="792" y="251"/>
                  <a:pt x="792" y="251"/>
                  <a:pt x="792" y="251"/>
                </a:cubicBezTo>
                <a:cubicBezTo>
                  <a:pt x="793" y="251"/>
                  <a:pt x="793" y="251"/>
                  <a:pt x="793" y="251"/>
                </a:cubicBezTo>
                <a:cubicBezTo>
                  <a:pt x="794" y="252"/>
                  <a:pt x="794" y="252"/>
                  <a:pt x="794" y="252"/>
                </a:cubicBezTo>
                <a:cubicBezTo>
                  <a:pt x="794" y="253"/>
                  <a:pt x="794" y="253"/>
                  <a:pt x="794" y="253"/>
                </a:cubicBezTo>
                <a:cubicBezTo>
                  <a:pt x="796" y="253"/>
                  <a:pt x="796" y="253"/>
                  <a:pt x="796" y="253"/>
                </a:cubicBezTo>
                <a:cubicBezTo>
                  <a:pt x="799" y="250"/>
                  <a:pt x="799" y="250"/>
                  <a:pt x="799" y="250"/>
                </a:cubicBezTo>
                <a:cubicBezTo>
                  <a:pt x="800" y="250"/>
                  <a:pt x="800" y="250"/>
                  <a:pt x="800" y="250"/>
                </a:cubicBezTo>
                <a:cubicBezTo>
                  <a:pt x="802" y="249"/>
                  <a:pt x="802" y="249"/>
                  <a:pt x="802" y="249"/>
                </a:cubicBezTo>
                <a:cubicBezTo>
                  <a:pt x="803" y="246"/>
                  <a:pt x="803" y="246"/>
                  <a:pt x="803" y="246"/>
                </a:cubicBezTo>
                <a:cubicBezTo>
                  <a:pt x="805" y="246"/>
                  <a:pt x="805" y="246"/>
                  <a:pt x="805" y="246"/>
                </a:cubicBezTo>
                <a:cubicBezTo>
                  <a:pt x="807" y="245"/>
                  <a:pt x="807" y="245"/>
                  <a:pt x="807" y="245"/>
                </a:cubicBezTo>
                <a:cubicBezTo>
                  <a:pt x="807" y="243"/>
                  <a:pt x="807" y="243"/>
                  <a:pt x="807" y="243"/>
                </a:cubicBezTo>
                <a:cubicBezTo>
                  <a:pt x="809" y="241"/>
                  <a:pt x="809" y="241"/>
                  <a:pt x="809" y="241"/>
                </a:cubicBezTo>
                <a:cubicBezTo>
                  <a:pt x="808" y="241"/>
                  <a:pt x="808" y="241"/>
                  <a:pt x="808" y="241"/>
                </a:cubicBezTo>
                <a:cubicBezTo>
                  <a:pt x="806" y="241"/>
                  <a:pt x="806" y="241"/>
                  <a:pt x="806" y="241"/>
                </a:cubicBezTo>
                <a:cubicBezTo>
                  <a:pt x="806" y="240"/>
                  <a:pt x="806" y="240"/>
                  <a:pt x="806" y="240"/>
                </a:cubicBezTo>
                <a:cubicBezTo>
                  <a:pt x="804" y="240"/>
                  <a:pt x="804" y="240"/>
                  <a:pt x="804" y="240"/>
                </a:cubicBezTo>
                <a:cubicBezTo>
                  <a:pt x="803" y="241"/>
                  <a:pt x="803" y="241"/>
                  <a:pt x="803" y="241"/>
                </a:cubicBezTo>
                <a:cubicBezTo>
                  <a:pt x="802" y="240"/>
                  <a:pt x="802" y="240"/>
                  <a:pt x="802" y="240"/>
                </a:cubicBezTo>
                <a:cubicBezTo>
                  <a:pt x="801" y="241"/>
                  <a:pt x="801" y="241"/>
                  <a:pt x="801" y="241"/>
                </a:cubicBezTo>
                <a:cubicBezTo>
                  <a:pt x="800" y="242"/>
                  <a:pt x="800" y="242"/>
                  <a:pt x="800" y="242"/>
                </a:cubicBezTo>
                <a:cubicBezTo>
                  <a:pt x="798" y="241"/>
                  <a:pt x="798" y="241"/>
                  <a:pt x="798" y="241"/>
                </a:cubicBezTo>
                <a:cubicBezTo>
                  <a:pt x="797" y="240"/>
                  <a:pt x="797" y="240"/>
                  <a:pt x="797" y="240"/>
                </a:cubicBezTo>
                <a:cubicBezTo>
                  <a:pt x="797" y="240"/>
                  <a:pt x="797" y="240"/>
                  <a:pt x="797" y="240"/>
                </a:cubicBezTo>
                <a:cubicBezTo>
                  <a:pt x="795" y="241"/>
                  <a:pt x="795" y="241"/>
                  <a:pt x="795" y="241"/>
                </a:cubicBezTo>
                <a:cubicBezTo>
                  <a:pt x="793" y="243"/>
                  <a:pt x="793" y="243"/>
                  <a:pt x="793" y="243"/>
                </a:cubicBezTo>
                <a:cubicBezTo>
                  <a:pt x="793" y="244"/>
                  <a:pt x="793" y="244"/>
                  <a:pt x="793" y="244"/>
                </a:cubicBezTo>
                <a:cubicBezTo>
                  <a:pt x="792" y="245"/>
                  <a:pt x="792" y="245"/>
                  <a:pt x="792" y="245"/>
                </a:cubicBezTo>
                <a:cubicBezTo>
                  <a:pt x="788" y="246"/>
                  <a:pt x="788" y="246"/>
                  <a:pt x="788" y="246"/>
                </a:cubicBezTo>
                <a:cubicBezTo>
                  <a:pt x="788" y="247"/>
                  <a:pt x="788" y="247"/>
                  <a:pt x="788" y="247"/>
                </a:cubicBezTo>
                <a:cubicBezTo>
                  <a:pt x="789" y="248"/>
                  <a:pt x="789" y="248"/>
                  <a:pt x="789" y="248"/>
                </a:cubicBezTo>
                <a:cubicBezTo>
                  <a:pt x="789" y="250"/>
                  <a:pt x="789" y="250"/>
                  <a:pt x="789" y="250"/>
                </a:cubicBezTo>
                <a:cubicBezTo>
                  <a:pt x="789" y="252"/>
                  <a:pt x="789" y="252"/>
                  <a:pt x="789" y="252"/>
                </a:cubicBezTo>
                <a:lnTo>
                  <a:pt x="789" y="253"/>
                </a:lnTo>
                <a:close/>
                <a:moveTo>
                  <a:pt x="803" y="178"/>
                </a:moveTo>
                <a:cubicBezTo>
                  <a:pt x="802" y="178"/>
                  <a:pt x="802" y="178"/>
                  <a:pt x="802" y="178"/>
                </a:cubicBezTo>
                <a:cubicBezTo>
                  <a:pt x="801" y="180"/>
                  <a:pt x="801" y="180"/>
                  <a:pt x="801" y="180"/>
                </a:cubicBezTo>
                <a:cubicBezTo>
                  <a:pt x="801" y="183"/>
                  <a:pt x="801" y="183"/>
                  <a:pt x="801" y="183"/>
                </a:cubicBezTo>
                <a:cubicBezTo>
                  <a:pt x="801" y="184"/>
                  <a:pt x="801" y="184"/>
                  <a:pt x="801" y="184"/>
                </a:cubicBezTo>
                <a:cubicBezTo>
                  <a:pt x="801" y="185"/>
                  <a:pt x="801" y="185"/>
                  <a:pt x="801" y="185"/>
                </a:cubicBezTo>
                <a:cubicBezTo>
                  <a:pt x="801" y="187"/>
                  <a:pt x="801" y="187"/>
                  <a:pt x="801" y="187"/>
                </a:cubicBezTo>
                <a:cubicBezTo>
                  <a:pt x="802" y="186"/>
                  <a:pt x="802" y="186"/>
                  <a:pt x="802" y="186"/>
                </a:cubicBezTo>
                <a:cubicBezTo>
                  <a:pt x="804" y="183"/>
                  <a:pt x="804" y="183"/>
                  <a:pt x="804" y="183"/>
                </a:cubicBezTo>
                <a:cubicBezTo>
                  <a:pt x="803" y="182"/>
                  <a:pt x="803" y="182"/>
                  <a:pt x="803" y="182"/>
                </a:cubicBezTo>
                <a:cubicBezTo>
                  <a:pt x="803" y="181"/>
                  <a:pt x="803" y="181"/>
                  <a:pt x="803" y="181"/>
                </a:cubicBezTo>
                <a:cubicBezTo>
                  <a:pt x="804" y="180"/>
                  <a:pt x="804" y="180"/>
                  <a:pt x="804" y="180"/>
                </a:cubicBezTo>
                <a:lnTo>
                  <a:pt x="803" y="178"/>
                </a:lnTo>
                <a:close/>
                <a:moveTo>
                  <a:pt x="785" y="103"/>
                </a:moveTo>
                <a:cubicBezTo>
                  <a:pt x="785" y="105"/>
                  <a:pt x="785" y="105"/>
                  <a:pt x="785" y="105"/>
                </a:cubicBezTo>
                <a:cubicBezTo>
                  <a:pt x="786" y="104"/>
                  <a:pt x="786" y="104"/>
                  <a:pt x="786" y="104"/>
                </a:cubicBezTo>
                <a:cubicBezTo>
                  <a:pt x="787" y="104"/>
                  <a:pt x="787" y="104"/>
                  <a:pt x="787" y="104"/>
                </a:cubicBezTo>
                <a:cubicBezTo>
                  <a:pt x="787" y="102"/>
                  <a:pt x="787" y="102"/>
                  <a:pt x="787" y="102"/>
                </a:cubicBezTo>
                <a:cubicBezTo>
                  <a:pt x="786" y="102"/>
                  <a:pt x="786" y="102"/>
                  <a:pt x="786" y="102"/>
                </a:cubicBezTo>
                <a:lnTo>
                  <a:pt x="785" y="103"/>
                </a:lnTo>
                <a:close/>
                <a:moveTo>
                  <a:pt x="419" y="22"/>
                </a:moveTo>
                <a:cubicBezTo>
                  <a:pt x="419" y="20"/>
                  <a:pt x="419" y="20"/>
                  <a:pt x="419" y="20"/>
                </a:cubicBezTo>
                <a:cubicBezTo>
                  <a:pt x="419" y="16"/>
                  <a:pt x="419" y="16"/>
                  <a:pt x="419" y="16"/>
                </a:cubicBezTo>
                <a:cubicBezTo>
                  <a:pt x="417" y="18"/>
                  <a:pt x="417" y="18"/>
                  <a:pt x="417" y="18"/>
                </a:cubicBezTo>
                <a:cubicBezTo>
                  <a:pt x="417" y="20"/>
                  <a:pt x="417" y="20"/>
                  <a:pt x="417" y="20"/>
                </a:cubicBezTo>
                <a:cubicBezTo>
                  <a:pt x="416" y="21"/>
                  <a:pt x="416" y="21"/>
                  <a:pt x="416" y="21"/>
                </a:cubicBezTo>
                <a:cubicBezTo>
                  <a:pt x="417" y="21"/>
                  <a:pt x="417" y="21"/>
                  <a:pt x="417" y="21"/>
                </a:cubicBezTo>
                <a:cubicBezTo>
                  <a:pt x="417" y="21"/>
                  <a:pt x="418" y="22"/>
                  <a:pt x="419" y="22"/>
                </a:cubicBezTo>
                <a:close/>
                <a:moveTo>
                  <a:pt x="784" y="107"/>
                </a:moveTo>
                <a:cubicBezTo>
                  <a:pt x="784" y="106"/>
                  <a:pt x="784" y="106"/>
                  <a:pt x="784" y="106"/>
                </a:cubicBezTo>
                <a:cubicBezTo>
                  <a:pt x="784" y="103"/>
                  <a:pt x="784" y="103"/>
                  <a:pt x="784" y="103"/>
                </a:cubicBezTo>
                <a:cubicBezTo>
                  <a:pt x="783" y="102"/>
                  <a:pt x="783" y="102"/>
                  <a:pt x="783" y="102"/>
                </a:cubicBezTo>
                <a:cubicBezTo>
                  <a:pt x="783" y="103"/>
                  <a:pt x="783" y="103"/>
                  <a:pt x="783" y="103"/>
                </a:cubicBezTo>
                <a:cubicBezTo>
                  <a:pt x="782" y="104"/>
                  <a:pt x="782" y="104"/>
                  <a:pt x="782" y="104"/>
                </a:cubicBezTo>
                <a:cubicBezTo>
                  <a:pt x="783" y="105"/>
                  <a:pt x="783" y="105"/>
                  <a:pt x="783" y="105"/>
                </a:cubicBezTo>
                <a:cubicBezTo>
                  <a:pt x="783" y="106"/>
                  <a:pt x="783" y="106"/>
                  <a:pt x="783" y="106"/>
                </a:cubicBezTo>
                <a:lnTo>
                  <a:pt x="784" y="107"/>
                </a:lnTo>
                <a:close/>
                <a:moveTo>
                  <a:pt x="417" y="29"/>
                </a:moveTo>
                <a:cubicBezTo>
                  <a:pt x="419" y="30"/>
                  <a:pt x="419" y="30"/>
                  <a:pt x="419" y="30"/>
                </a:cubicBezTo>
                <a:cubicBezTo>
                  <a:pt x="422" y="34"/>
                  <a:pt x="422" y="34"/>
                  <a:pt x="422" y="34"/>
                </a:cubicBezTo>
                <a:cubicBezTo>
                  <a:pt x="423" y="32"/>
                  <a:pt x="423" y="32"/>
                  <a:pt x="423" y="32"/>
                </a:cubicBezTo>
                <a:cubicBezTo>
                  <a:pt x="422" y="29"/>
                  <a:pt x="422" y="29"/>
                  <a:pt x="422" y="29"/>
                </a:cubicBezTo>
                <a:cubicBezTo>
                  <a:pt x="422" y="26"/>
                  <a:pt x="422" y="26"/>
                  <a:pt x="422" y="26"/>
                </a:cubicBezTo>
                <a:cubicBezTo>
                  <a:pt x="420" y="26"/>
                  <a:pt x="420" y="26"/>
                  <a:pt x="420" y="26"/>
                </a:cubicBezTo>
                <a:cubicBezTo>
                  <a:pt x="417" y="23"/>
                  <a:pt x="417" y="23"/>
                  <a:pt x="417" y="23"/>
                </a:cubicBezTo>
                <a:cubicBezTo>
                  <a:pt x="416" y="23"/>
                  <a:pt x="416" y="23"/>
                  <a:pt x="416" y="23"/>
                </a:cubicBezTo>
                <a:cubicBezTo>
                  <a:pt x="416" y="25"/>
                  <a:pt x="416" y="25"/>
                  <a:pt x="416" y="25"/>
                </a:cubicBezTo>
                <a:cubicBezTo>
                  <a:pt x="420" y="28"/>
                  <a:pt x="420" y="28"/>
                  <a:pt x="420" y="28"/>
                </a:cubicBezTo>
                <a:cubicBezTo>
                  <a:pt x="417" y="27"/>
                  <a:pt x="417" y="27"/>
                  <a:pt x="417" y="27"/>
                </a:cubicBezTo>
                <a:lnTo>
                  <a:pt x="417" y="29"/>
                </a:lnTo>
                <a:close/>
                <a:moveTo>
                  <a:pt x="812" y="181"/>
                </a:moveTo>
                <a:cubicBezTo>
                  <a:pt x="812" y="179"/>
                  <a:pt x="812" y="179"/>
                  <a:pt x="812" y="179"/>
                </a:cubicBezTo>
                <a:cubicBezTo>
                  <a:pt x="810" y="178"/>
                  <a:pt x="810" y="178"/>
                  <a:pt x="810" y="178"/>
                </a:cubicBezTo>
                <a:cubicBezTo>
                  <a:pt x="809" y="176"/>
                  <a:pt x="809" y="176"/>
                  <a:pt x="809" y="176"/>
                </a:cubicBezTo>
                <a:cubicBezTo>
                  <a:pt x="809" y="177"/>
                  <a:pt x="809" y="177"/>
                  <a:pt x="809" y="177"/>
                </a:cubicBezTo>
                <a:cubicBezTo>
                  <a:pt x="809" y="180"/>
                  <a:pt x="809" y="180"/>
                  <a:pt x="809" y="180"/>
                </a:cubicBezTo>
                <a:cubicBezTo>
                  <a:pt x="810" y="181"/>
                  <a:pt x="810" y="181"/>
                  <a:pt x="810" y="181"/>
                </a:cubicBezTo>
                <a:cubicBezTo>
                  <a:pt x="810" y="183"/>
                  <a:pt x="810" y="183"/>
                  <a:pt x="810" y="183"/>
                </a:cubicBezTo>
                <a:cubicBezTo>
                  <a:pt x="810" y="184"/>
                  <a:pt x="810" y="184"/>
                  <a:pt x="810" y="184"/>
                </a:cubicBezTo>
                <a:cubicBezTo>
                  <a:pt x="812" y="185"/>
                  <a:pt x="812" y="185"/>
                  <a:pt x="812" y="185"/>
                </a:cubicBezTo>
                <a:cubicBezTo>
                  <a:pt x="813" y="186"/>
                  <a:pt x="813" y="186"/>
                  <a:pt x="813" y="186"/>
                </a:cubicBezTo>
                <a:cubicBezTo>
                  <a:pt x="813" y="187"/>
                  <a:pt x="813" y="187"/>
                  <a:pt x="813" y="187"/>
                </a:cubicBezTo>
                <a:cubicBezTo>
                  <a:pt x="814" y="187"/>
                  <a:pt x="814" y="187"/>
                  <a:pt x="814" y="187"/>
                </a:cubicBezTo>
                <a:cubicBezTo>
                  <a:pt x="816" y="187"/>
                  <a:pt x="816" y="187"/>
                  <a:pt x="816" y="187"/>
                </a:cubicBezTo>
                <a:cubicBezTo>
                  <a:pt x="817" y="185"/>
                  <a:pt x="817" y="185"/>
                  <a:pt x="817" y="185"/>
                </a:cubicBezTo>
                <a:cubicBezTo>
                  <a:pt x="815" y="185"/>
                  <a:pt x="815" y="185"/>
                  <a:pt x="815" y="185"/>
                </a:cubicBezTo>
                <a:cubicBezTo>
                  <a:pt x="813" y="184"/>
                  <a:pt x="813" y="184"/>
                  <a:pt x="813" y="184"/>
                </a:cubicBezTo>
                <a:cubicBezTo>
                  <a:pt x="813" y="181"/>
                  <a:pt x="813" y="181"/>
                  <a:pt x="813" y="181"/>
                </a:cubicBezTo>
                <a:lnTo>
                  <a:pt x="812" y="181"/>
                </a:lnTo>
                <a:close/>
                <a:moveTo>
                  <a:pt x="778" y="92"/>
                </a:moveTo>
                <a:cubicBezTo>
                  <a:pt x="779" y="93"/>
                  <a:pt x="779" y="93"/>
                  <a:pt x="779" y="93"/>
                </a:cubicBezTo>
                <a:cubicBezTo>
                  <a:pt x="780" y="92"/>
                  <a:pt x="780" y="92"/>
                  <a:pt x="780" y="92"/>
                </a:cubicBezTo>
                <a:cubicBezTo>
                  <a:pt x="781" y="92"/>
                  <a:pt x="781" y="92"/>
                  <a:pt x="781" y="92"/>
                </a:cubicBezTo>
                <a:cubicBezTo>
                  <a:pt x="781" y="91"/>
                  <a:pt x="781" y="91"/>
                  <a:pt x="781" y="91"/>
                </a:cubicBezTo>
                <a:cubicBezTo>
                  <a:pt x="780" y="91"/>
                  <a:pt x="780" y="91"/>
                  <a:pt x="780" y="91"/>
                </a:cubicBezTo>
                <a:cubicBezTo>
                  <a:pt x="779" y="91"/>
                  <a:pt x="779" y="91"/>
                  <a:pt x="779" y="91"/>
                </a:cubicBezTo>
                <a:lnTo>
                  <a:pt x="778" y="92"/>
                </a:lnTo>
                <a:close/>
                <a:moveTo>
                  <a:pt x="899" y="317"/>
                </a:moveTo>
                <a:cubicBezTo>
                  <a:pt x="899" y="316"/>
                  <a:pt x="899" y="316"/>
                  <a:pt x="899" y="316"/>
                </a:cubicBezTo>
                <a:cubicBezTo>
                  <a:pt x="898" y="318"/>
                  <a:pt x="898" y="318"/>
                  <a:pt x="898" y="318"/>
                </a:cubicBezTo>
                <a:lnTo>
                  <a:pt x="899" y="317"/>
                </a:lnTo>
                <a:close/>
                <a:moveTo>
                  <a:pt x="903" y="920"/>
                </a:moveTo>
                <a:cubicBezTo>
                  <a:pt x="904" y="919"/>
                  <a:pt x="904" y="919"/>
                  <a:pt x="904" y="919"/>
                </a:cubicBezTo>
                <a:cubicBezTo>
                  <a:pt x="901" y="920"/>
                  <a:pt x="901" y="920"/>
                  <a:pt x="901" y="920"/>
                </a:cubicBezTo>
                <a:lnTo>
                  <a:pt x="903" y="920"/>
                </a:lnTo>
                <a:close/>
                <a:moveTo>
                  <a:pt x="900" y="921"/>
                </a:moveTo>
                <a:cubicBezTo>
                  <a:pt x="897" y="923"/>
                  <a:pt x="897" y="923"/>
                  <a:pt x="897" y="923"/>
                </a:cubicBezTo>
                <a:cubicBezTo>
                  <a:pt x="895" y="922"/>
                  <a:pt x="895" y="922"/>
                  <a:pt x="895" y="922"/>
                </a:cubicBezTo>
                <a:cubicBezTo>
                  <a:pt x="893" y="923"/>
                  <a:pt x="893" y="923"/>
                  <a:pt x="893" y="923"/>
                </a:cubicBezTo>
                <a:cubicBezTo>
                  <a:pt x="892" y="924"/>
                  <a:pt x="892" y="924"/>
                  <a:pt x="892" y="924"/>
                </a:cubicBezTo>
                <a:cubicBezTo>
                  <a:pt x="894" y="926"/>
                  <a:pt x="894" y="926"/>
                  <a:pt x="894" y="926"/>
                </a:cubicBezTo>
                <a:cubicBezTo>
                  <a:pt x="894" y="927"/>
                  <a:pt x="894" y="927"/>
                  <a:pt x="894" y="927"/>
                </a:cubicBezTo>
                <a:cubicBezTo>
                  <a:pt x="892" y="929"/>
                  <a:pt x="892" y="929"/>
                  <a:pt x="892" y="929"/>
                </a:cubicBezTo>
                <a:cubicBezTo>
                  <a:pt x="890" y="930"/>
                  <a:pt x="890" y="930"/>
                  <a:pt x="890" y="930"/>
                </a:cubicBezTo>
                <a:cubicBezTo>
                  <a:pt x="892" y="931"/>
                  <a:pt x="892" y="931"/>
                  <a:pt x="892" y="931"/>
                </a:cubicBezTo>
                <a:cubicBezTo>
                  <a:pt x="897" y="930"/>
                  <a:pt x="897" y="930"/>
                  <a:pt x="897" y="930"/>
                </a:cubicBezTo>
                <a:cubicBezTo>
                  <a:pt x="899" y="928"/>
                  <a:pt x="899" y="928"/>
                  <a:pt x="899" y="928"/>
                </a:cubicBezTo>
                <a:cubicBezTo>
                  <a:pt x="899" y="926"/>
                  <a:pt x="899" y="926"/>
                  <a:pt x="899" y="926"/>
                </a:cubicBezTo>
                <a:cubicBezTo>
                  <a:pt x="898" y="924"/>
                  <a:pt x="898" y="924"/>
                  <a:pt x="898" y="924"/>
                </a:cubicBezTo>
                <a:cubicBezTo>
                  <a:pt x="901" y="922"/>
                  <a:pt x="901" y="922"/>
                  <a:pt x="901" y="922"/>
                </a:cubicBezTo>
                <a:lnTo>
                  <a:pt x="900" y="921"/>
                </a:lnTo>
                <a:close/>
                <a:moveTo>
                  <a:pt x="931" y="500"/>
                </a:moveTo>
                <a:cubicBezTo>
                  <a:pt x="931" y="500"/>
                  <a:pt x="931" y="500"/>
                  <a:pt x="931" y="500"/>
                </a:cubicBezTo>
                <a:cubicBezTo>
                  <a:pt x="930" y="500"/>
                  <a:pt x="930" y="500"/>
                  <a:pt x="930" y="500"/>
                </a:cubicBezTo>
                <a:cubicBezTo>
                  <a:pt x="930" y="499"/>
                  <a:pt x="930" y="499"/>
                  <a:pt x="930" y="499"/>
                </a:cubicBezTo>
                <a:cubicBezTo>
                  <a:pt x="931" y="498"/>
                  <a:pt x="931" y="498"/>
                  <a:pt x="931" y="498"/>
                </a:cubicBezTo>
                <a:cubicBezTo>
                  <a:pt x="931" y="497"/>
                  <a:pt x="931" y="497"/>
                  <a:pt x="931" y="497"/>
                </a:cubicBezTo>
                <a:cubicBezTo>
                  <a:pt x="933" y="496"/>
                  <a:pt x="933" y="496"/>
                  <a:pt x="933" y="496"/>
                </a:cubicBezTo>
                <a:cubicBezTo>
                  <a:pt x="933" y="496"/>
                  <a:pt x="933" y="496"/>
                  <a:pt x="933" y="496"/>
                </a:cubicBezTo>
                <a:cubicBezTo>
                  <a:pt x="933" y="496"/>
                  <a:pt x="933" y="496"/>
                  <a:pt x="933" y="496"/>
                </a:cubicBezTo>
                <a:cubicBezTo>
                  <a:pt x="932" y="496"/>
                  <a:pt x="932" y="496"/>
                  <a:pt x="932" y="496"/>
                </a:cubicBezTo>
                <a:cubicBezTo>
                  <a:pt x="931" y="497"/>
                  <a:pt x="931" y="497"/>
                  <a:pt x="931" y="497"/>
                </a:cubicBezTo>
                <a:cubicBezTo>
                  <a:pt x="930" y="499"/>
                  <a:pt x="930" y="499"/>
                  <a:pt x="930" y="499"/>
                </a:cubicBezTo>
                <a:cubicBezTo>
                  <a:pt x="930" y="500"/>
                  <a:pt x="930" y="500"/>
                  <a:pt x="930" y="500"/>
                </a:cubicBezTo>
                <a:lnTo>
                  <a:pt x="931" y="500"/>
                </a:lnTo>
                <a:close/>
                <a:moveTo>
                  <a:pt x="931" y="520"/>
                </a:moveTo>
                <a:cubicBezTo>
                  <a:pt x="934" y="522"/>
                  <a:pt x="934" y="522"/>
                  <a:pt x="934" y="522"/>
                </a:cubicBezTo>
                <a:cubicBezTo>
                  <a:pt x="935" y="523"/>
                  <a:pt x="935" y="523"/>
                  <a:pt x="935" y="523"/>
                </a:cubicBezTo>
                <a:cubicBezTo>
                  <a:pt x="936" y="523"/>
                  <a:pt x="936" y="523"/>
                  <a:pt x="936" y="523"/>
                </a:cubicBezTo>
                <a:cubicBezTo>
                  <a:pt x="936" y="521"/>
                  <a:pt x="936" y="521"/>
                  <a:pt x="936" y="521"/>
                </a:cubicBezTo>
                <a:cubicBezTo>
                  <a:pt x="937" y="521"/>
                  <a:pt x="937" y="521"/>
                  <a:pt x="937" y="521"/>
                </a:cubicBezTo>
                <a:cubicBezTo>
                  <a:pt x="937" y="522"/>
                  <a:pt x="937" y="522"/>
                  <a:pt x="937" y="522"/>
                </a:cubicBezTo>
                <a:cubicBezTo>
                  <a:pt x="939" y="522"/>
                  <a:pt x="939" y="522"/>
                  <a:pt x="939" y="522"/>
                </a:cubicBezTo>
                <a:cubicBezTo>
                  <a:pt x="942" y="519"/>
                  <a:pt x="942" y="519"/>
                  <a:pt x="942" y="519"/>
                </a:cubicBezTo>
                <a:cubicBezTo>
                  <a:pt x="945" y="519"/>
                  <a:pt x="945" y="519"/>
                  <a:pt x="945" y="519"/>
                </a:cubicBezTo>
                <a:cubicBezTo>
                  <a:pt x="946" y="518"/>
                  <a:pt x="946" y="518"/>
                  <a:pt x="946" y="518"/>
                </a:cubicBezTo>
                <a:cubicBezTo>
                  <a:pt x="948" y="517"/>
                  <a:pt x="948" y="517"/>
                  <a:pt x="948" y="517"/>
                </a:cubicBezTo>
                <a:cubicBezTo>
                  <a:pt x="948" y="517"/>
                  <a:pt x="948" y="517"/>
                  <a:pt x="948" y="517"/>
                </a:cubicBezTo>
                <a:cubicBezTo>
                  <a:pt x="947" y="514"/>
                  <a:pt x="947" y="514"/>
                  <a:pt x="947" y="514"/>
                </a:cubicBezTo>
                <a:cubicBezTo>
                  <a:pt x="945" y="514"/>
                  <a:pt x="945" y="514"/>
                  <a:pt x="945" y="514"/>
                </a:cubicBezTo>
                <a:cubicBezTo>
                  <a:pt x="944" y="514"/>
                  <a:pt x="944" y="514"/>
                  <a:pt x="944" y="514"/>
                </a:cubicBezTo>
                <a:cubicBezTo>
                  <a:pt x="944" y="515"/>
                  <a:pt x="944" y="515"/>
                  <a:pt x="944" y="515"/>
                </a:cubicBezTo>
                <a:cubicBezTo>
                  <a:pt x="943" y="516"/>
                  <a:pt x="943" y="516"/>
                  <a:pt x="943" y="516"/>
                </a:cubicBezTo>
                <a:cubicBezTo>
                  <a:pt x="942" y="515"/>
                  <a:pt x="942" y="515"/>
                  <a:pt x="942" y="515"/>
                </a:cubicBezTo>
                <a:cubicBezTo>
                  <a:pt x="943" y="514"/>
                  <a:pt x="943" y="514"/>
                  <a:pt x="943" y="514"/>
                </a:cubicBezTo>
                <a:cubicBezTo>
                  <a:pt x="942" y="513"/>
                  <a:pt x="942" y="513"/>
                  <a:pt x="942" y="513"/>
                </a:cubicBezTo>
                <a:cubicBezTo>
                  <a:pt x="940" y="512"/>
                  <a:pt x="940" y="512"/>
                  <a:pt x="940" y="512"/>
                </a:cubicBezTo>
                <a:cubicBezTo>
                  <a:pt x="941" y="511"/>
                  <a:pt x="941" y="511"/>
                  <a:pt x="941" y="511"/>
                </a:cubicBezTo>
                <a:cubicBezTo>
                  <a:pt x="944" y="507"/>
                  <a:pt x="944" y="507"/>
                  <a:pt x="944" y="507"/>
                </a:cubicBezTo>
                <a:cubicBezTo>
                  <a:pt x="944" y="506"/>
                  <a:pt x="944" y="506"/>
                  <a:pt x="944" y="506"/>
                </a:cubicBezTo>
                <a:cubicBezTo>
                  <a:pt x="942" y="505"/>
                  <a:pt x="942" y="505"/>
                  <a:pt x="942" y="505"/>
                </a:cubicBezTo>
                <a:cubicBezTo>
                  <a:pt x="943" y="504"/>
                  <a:pt x="943" y="504"/>
                  <a:pt x="943" y="504"/>
                </a:cubicBezTo>
                <a:cubicBezTo>
                  <a:pt x="943" y="503"/>
                  <a:pt x="943" y="503"/>
                  <a:pt x="943" y="503"/>
                </a:cubicBezTo>
                <a:cubicBezTo>
                  <a:pt x="941" y="503"/>
                  <a:pt x="941" y="503"/>
                  <a:pt x="941" y="503"/>
                </a:cubicBezTo>
                <a:cubicBezTo>
                  <a:pt x="940" y="505"/>
                  <a:pt x="940" y="505"/>
                  <a:pt x="940" y="505"/>
                </a:cubicBezTo>
                <a:cubicBezTo>
                  <a:pt x="938" y="507"/>
                  <a:pt x="938" y="507"/>
                  <a:pt x="938" y="507"/>
                </a:cubicBezTo>
                <a:cubicBezTo>
                  <a:pt x="937" y="509"/>
                  <a:pt x="937" y="509"/>
                  <a:pt x="937" y="509"/>
                </a:cubicBezTo>
                <a:cubicBezTo>
                  <a:pt x="936" y="510"/>
                  <a:pt x="936" y="510"/>
                  <a:pt x="936" y="510"/>
                </a:cubicBezTo>
                <a:cubicBezTo>
                  <a:pt x="934" y="513"/>
                  <a:pt x="934" y="513"/>
                  <a:pt x="934" y="513"/>
                </a:cubicBezTo>
                <a:cubicBezTo>
                  <a:pt x="931" y="515"/>
                  <a:pt x="931" y="515"/>
                  <a:pt x="931" y="515"/>
                </a:cubicBezTo>
                <a:cubicBezTo>
                  <a:pt x="930" y="516"/>
                  <a:pt x="930" y="516"/>
                  <a:pt x="930" y="516"/>
                </a:cubicBezTo>
                <a:cubicBezTo>
                  <a:pt x="931" y="517"/>
                  <a:pt x="931" y="517"/>
                  <a:pt x="931" y="517"/>
                </a:cubicBezTo>
                <a:lnTo>
                  <a:pt x="931" y="520"/>
                </a:lnTo>
                <a:close/>
                <a:moveTo>
                  <a:pt x="840" y="847"/>
                </a:moveTo>
                <a:cubicBezTo>
                  <a:pt x="844" y="848"/>
                  <a:pt x="844" y="848"/>
                  <a:pt x="844" y="848"/>
                </a:cubicBezTo>
                <a:cubicBezTo>
                  <a:pt x="846" y="848"/>
                  <a:pt x="846" y="848"/>
                  <a:pt x="846" y="848"/>
                </a:cubicBezTo>
                <a:cubicBezTo>
                  <a:pt x="849" y="847"/>
                  <a:pt x="849" y="847"/>
                  <a:pt x="849" y="847"/>
                </a:cubicBezTo>
                <a:cubicBezTo>
                  <a:pt x="851" y="848"/>
                  <a:pt x="851" y="848"/>
                  <a:pt x="851" y="848"/>
                </a:cubicBezTo>
                <a:cubicBezTo>
                  <a:pt x="854" y="846"/>
                  <a:pt x="854" y="846"/>
                  <a:pt x="854" y="846"/>
                </a:cubicBezTo>
                <a:cubicBezTo>
                  <a:pt x="856" y="843"/>
                  <a:pt x="856" y="843"/>
                  <a:pt x="856" y="843"/>
                </a:cubicBezTo>
                <a:cubicBezTo>
                  <a:pt x="855" y="843"/>
                  <a:pt x="855" y="843"/>
                  <a:pt x="855" y="843"/>
                </a:cubicBezTo>
                <a:cubicBezTo>
                  <a:pt x="854" y="842"/>
                  <a:pt x="854" y="842"/>
                  <a:pt x="854" y="842"/>
                </a:cubicBezTo>
                <a:cubicBezTo>
                  <a:pt x="853" y="841"/>
                  <a:pt x="853" y="841"/>
                  <a:pt x="853" y="841"/>
                </a:cubicBezTo>
                <a:cubicBezTo>
                  <a:pt x="849" y="842"/>
                  <a:pt x="849" y="842"/>
                  <a:pt x="849" y="842"/>
                </a:cubicBezTo>
                <a:cubicBezTo>
                  <a:pt x="841" y="841"/>
                  <a:pt x="841" y="841"/>
                  <a:pt x="841" y="841"/>
                </a:cubicBezTo>
                <a:cubicBezTo>
                  <a:pt x="841" y="842"/>
                  <a:pt x="841" y="842"/>
                  <a:pt x="841" y="842"/>
                </a:cubicBezTo>
                <a:cubicBezTo>
                  <a:pt x="839" y="843"/>
                  <a:pt x="839" y="843"/>
                  <a:pt x="839" y="843"/>
                </a:cubicBezTo>
                <a:cubicBezTo>
                  <a:pt x="839" y="845"/>
                  <a:pt x="839" y="845"/>
                  <a:pt x="839" y="845"/>
                </a:cubicBezTo>
                <a:cubicBezTo>
                  <a:pt x="839" y="846"/>
                  <a:pt x="839" y="846"/>
                  <a:pt x="839" y="846"/>
                </a:cubicBezTo>
                <a:lnTo>
                  <a:pt x="840" y="847"/>
                </a:lnTo>
                <a:close/>
                <a:moveTo>
                  <a:pt x="868" y="920"/>
                </a:moveTo>
                <a:cubicBezTo>
                  <a:pt x="867" y="919"/>
                  <a:pt x="867" y="919"/>
                  <a:pt x="867" y="919"/>
                </a:cubicBezTo>
                <a:cubicBezTo>
                  <a:pt x="865" y="921"/>
                  <a:pt x="865" y="921"/>
                  <a:pt x="865" y="921"/>
                </a:cubicBezTo>
                <a:cubicBezTo>
                  <a:pt x="865" y="921"/>
                  <a:pt x="866" y="921"/>
                  <a:pt x="866" y="921"/>
                </a:cubicBezTo>
                <a:cubicBezTo>
                  <a:pt x="868" y="921"/>
                  <a:pt x="868" y="921"/>
                  <a:pt x="868" y="921"/>
                </a:cubicBezTo>
                <a:cubicBezTo>
                  <a:pt x="870" y="921"/>
                  <a:pt x="870" y="921"/>
                  <a:pt x="870" y="921"/>
                </a:cubicBezTo>
                <a:cubicBezTo>
                  <a:pt x="872" y="920"/>
                  <a:pt x="872" y="920"/>
                  <a:pt x="872" y="920"/>
                </a:cubicBezTo>
                <a:cubicBezTo>
                  <a:pt x="871" y="918"/>
                  <a:pt x="871" y="918"/>
                  <a:pt x="871" y="918"/>
                </a:cubicBezTo>
                <a:lnTo>
                  <a:pt x="868" y="920"/>
                </a:lnTo>
                <a:close/>
                <a:moveTo>
                  <a:pt x="420" y="23"/>
                </a:moveTo>
                <a:cubicBezTo>
                  <a:pt x="419" y="23"/>
                  <a:pt x="419" y="23"/>
                  <a:pt x="419" y="23"/>
                </a:cubicBezTo>
                <a:cubicBezTo>
                  <a:pt x="421" y="25"/>
                  <a:pt x="421" y="25"/>
                  <a:pt x="421" y="25"/>
                </a:cubicBezTo>
                <a:cubicBezTo>
                  <a:pt x="424" y="23"/>
                  <a:pt x="424" y="23"/>
                  <a:pt x="424" y="23"/>
                </a:cubicBezTo>
                <a:cubicBezTo>
                  <a:pt x="423" y="22"/>
                  <a:pt x="423" y="22"/>
                  <a:pt x="423" y="22"/>
                </a:cubicBezTo>
                <a:cubicBezTo>
                  <a:pt x="424" y="20"/>
                  <a:pt x="424" y="20"/>
                  <a:pt x="424" y="20"/>
                </a:cubicBezTo>
                <a:cubicBezTo>
                  <a:pt x="425" y="15"/>
                  <a:pt x="425" y="15"/>
                  <a:pt x="425" y="15"/>
                </a:cubicBezTo>
                <a:cubicBezTo>
                  <a:pt x="424" y="13"/>
                  <a:pt x="424" y="13"/>
                  <a:pt x="424" y="13"/>
                </a:cubicBezTo>
                <a:cubicBezTo>
                  <a:pt x="423" y="14"/>
                  <a:pt x="423" y="14"/>
                  <a:pt x="423" y="14"/>
                </a:cubicBezTo>
                <a:cubicBezTo>
                  <a:pt x="422" y="15"/>
                  <a:pt x="422" y="15"/>
                  <a:pt x="422" y="15"/>
                </a:cubicBezTo>
                <a:cubicBezTo>
                  <a:pt x="421" y="14"/>
                  <a:pt x="421" y="14"/>
                  <a:pt x="421" y="14"/>
                </a:cubicBezTo>
                <a:cubicBezTo>
                  <a:pt x="420" y="15"/>
                  <a:pt x="420" y="15"/>
                  <a:pt x="420" y="15"/>
                </a:cubicBezTo>
                <a:cubicBezTo>
                  <a:pt x="420" y="19"/>
                  <a:pt x="420" y="19"/>
                  <a:pt x="420" y="19"/>
                </a:cubicBezTo>
                <a:cubicBezTo>
                  <a:pt x="421" y="21"/>
                  <a:pt x="421" y="21"/>
                  <a:pt x="421" y="21"/>
                </a:cubicBezTo>
                <a:lnTo>
                  <a:pt x="420" y="23"/>
                </a:lnTo>
                <a:close/>
                <a:moveTo>
                  <a:pt x="822" y="178"/>
                </a:moveTo>
                <a:cubicBezTo>
                  <a:pt x="822" y="177"/>
                  <a:pt x="822" y="177"/>
                  <a:pt x="822" y="177"/>
                </a:cubicBezTo>
                <a:cubicBezTo>
                  <a:pt x="821" y="176"/>
                  <a:pt x="821" y="176"/>
                  <a:pt x="821" y="176"/>
                </a:cubicBezTo>
                <a:cubicBezTo>
                  <a:pt x="820" y="176"/>
                  <a:pt x="820" y="176"/>
                  <a:pt x="820" y="176"/>
                </a:cubicBezTo>
                <a:cubicBezTo>
                  <a:pt x="820" y="176"/>
                  <a:pt x="820" y="176"/>
                  <a:pt x="820" y="176"/>
                </a:cubicBezTo>
                <a:cubicBezTo>
                  <a:pt x="821" y="177"/>
                  <a:pt x="821" y="177"/>
                  <a:pt x="821" y="177"/>
                </a:cubicBezTo>
                <a:lnTo>
                  <a:pt x="822" y="178"/>
                </a:lnTo>
                <a:close/>
                <a:moveTo>
                  <a:pt x="900" y="320"/>
                </a:moveTo>
                <a:cubicBezTo>
                  <a:pt x="901" y="318"/>
                  <a:pt x="901" y="318"/>
                  <a:pt x="901" y="318"/>
                </a:cubicBezTo>
                <a:cubicBezTo>
                  <a:pt x="900" y="316"/>
                  <a:pt x="900" y="316"/>
                  <a:pt x="900" y="316"/>
                </a:cubicBezTo>
                <a:cubicBezTo>
                  <a:pt x="899" y="317"/>
                  <a:pt x="899" y="317"/>
                  <a:pt x="899" y="317"/>
                </a:cubicBezTo>
                <a:cubicBezTo>
                  <a:pt x="900" y="319"/>
                  <a:pt x="900" y="319"/>
                  <a:pt x="900" y="319"/>
                </a:cubicBezTo>
                <a:cubicBezTo>
                  <a:pt x="900" y="320"/>
                  <a:pt x="900" y="320"/>
                  <a:pt x="900" y="320"/>
                </a:cubicBezTo>
                <a:close/>
                <a:moveTo>
                  <a:pt x="897" y="317"/>
                </a:moveTo>
                <a:cubicBezTo>
                  <a:pt x="898" y="317"/>
                  <a:pt x="898" y="317"/>
                  <a:pt x="898" y="317"/>
                </a:cubicBezTo>
                <a:cubicBezTo>
                  <a:pt x="898" y="316"/>
                  <a:pt x="898" y="316"/>
                  <a:pt x="898" y="316"/>
                </a:cubicBezTo>
                <a:lnTo>
                  <a:pt x="897" y="317"/>
                </a:lnTo>
                <a:close/>
                <a:moveTo>
                  <a:pt x="929" y="474"/>
                </a:moveTo>
                <a:cubicBezTo>
                  <a:pt x="931" y="475"/>
                  <a:pt x="931" y="475"/>
                  <a:pt x="931" y="475"/>
                </a:cubicBezTo>
                <a:cubicBezTo>
                  <a:pt x="932" y="475"/>
                  <a:pt x="932" y="475"/>
                  <a:pt x="932" y="475"/>
                </a:cubicBezTo>
                <a:cubicBezTo>
                  <a:pt x="934" y="476"/>
                  <a:pt x="934" y="476"/>
                  <a:pt x="934" y="476"/>
                </a:cubicBezTo>
                <a:cubicBezTo>
                  <a:pt x="936" y="475"/>
                  <a:pt x="936" y="475"/>
                  <a:pt x="936" y="475"/>
                </a:cubicBezTo>
                <a:cubicBezTo>
                  <a:pt x="937" y="474"/>
                  <a:pt x="937" y="474"/>
                  <a:pt x="937" y="474"/>
                </a:cubicBezTo>
                <a:cubicBezTo>
                  <a:pt x="936" y="473"/>
                  <a:pt x="936" y="473"/>
                  <a:pt x="936" y="473"/>
                </a:cubicBezTo>
                <a:cubicBezTo>
                  <a:pt x="935" y="472"/>
                  <a:pt x="935" y="472"/>
                  <a:pt x="935" y="472"/>
                </a:cubicBezTo>
                <a:cubicBezTo>
                  <a:pt x="934" y="471"/>
                  <a:pt x="934" y="471"/>
                  <a:pt x="934" y="471"/>
                </a:cubicBezTo>
                <a:cubicBezTo>
                  <a:pt x="933" y="470"/>
                  <a:pt x="933" y="470"/>
                  <a:pt x="933" y="470"/>
                </a:cubicBezTo>
                <a:cubicBezTo>
                  <a:pt x="931" y="469"/>
                  <a:pt x="931" y="469"/>
                  <a:pt x="931" y="469"/>
                </a:cubicBezTo>
                <a:cubicBezTo>
                  <a:pt x="929" y="467"/>
                  <a:pt x="929" y="467"/>
                  <a:pt x="929" y="467"/>
                </a:cubicBezTo>
                <a:cubicBezTo>
                  <a:pt x="928" y="467"/>
                  <a:pt x="928" y="467"/>
                  <a:pt x="928" y="467"/>
                </a:cubicBezTo>
                <a:cubicBezTo>
                  <a:pt x="926" y="465"/>
                  <a:pt x="926" y="465"/>
                  <a:pt x="926" y="465"/>
                </a:cubicBezTo>
                <a:cubicBezTo>
                  <a:pt x="924" y="464"/>
                  <a:pt x="924" y="464"/>
                  <a:pt x="924" y="464"/>
                </a:cubicBezTo>
                <a:cubicBezTo>
                  <a:pt x="921" y="463"/>
                  <a:pt x="921" y="463"/>
                  <a:pt x="921" y="463"/>
                </a:cubicBezTo>
                <a:cubicBezTo>
                  <a:pt x="916" y="462"/>
                  <a:pt x="916" y="462"/>
                  <a:pt x="916" y="462"/>
                </a:cubicBezTo>
                <a:cubicBezTo>
                  <a:pt x="914" y="461"/>
                  <a:pt x="914" y="461"/>
                  <a:pt x="914" y="461"/>
                </a:cubicBezTo>
                <a:cubicBezTo>
                  <a:pt x="912" y="462"/>
                  <a:pt x="912" y="462"/>
                  <a:pt x="912" y="462"/>
                </a:cubicBezTo>
                <a:cubicBezTo>
                  <a:pt x="913" y="464"/>
                  <a:pt x="913" y="464"/>
                  <a:pt x="913" y="464"/>
                </a:cubicBezTo>
                <a:cubicBezTo>
                  <a:pt x="915" y="465"/>
                  <a:pt x="915" y="465"/>
                  <a:pt x="915" y="465"/>
                </a:cubicBezTo>
                <a:cubicBezTo>
                  <a:pt x="919" y="467"/>
                  <a:pt x="919" y="467"/>
                  <a:pt x="919" y="467"/>
                </a:cubicBezTo>
                <a:cubicBezTo>
                  <a:pt x="919" y="469"/>
                  <a:pt x="919" y="469"/>
                  <a:pt x="919" y="469"/>
                </a:cubicBezTo>
                <a:cubicBezTo>
                  <a:pt x="920" y="470"/>
                  <a:pt x="920" y="470"/>
                  <a:pt x="920" y="470"/>
                </a:cubicBezTo>
                <a:cubicBezTo>
                  <a:pt x="921" y="470"/>
                  <a:pt x="921" y="470"/>
                  <a:pt x="921" y="470"/>
                </a:cubicBezTo>
                <a:cubicBezTo>
                  <a:pt x="924" y="473"/>
                  <a:pt x="924" y="473"/>
                  <a:pt x="924" y="473"/>
                </a:cubicBezTo>
                <a:cubicBezTo>
                  <a:pt x="927" y="473"/>
                  <a:pt x="927" y="473"/>
                  <a:pt x="927" y="473"/>
                </a:cubicBezTo>
                <a:lnTo>
                  <a:pt x="929" y="474"/>
                </a:lnTo>
                <a:close/>
                <a:moveTo>
                  <a:pt x="925" y="510"/>
                </a:moveTo>
                <a:cubicBezTo>
                  <a:pt x="926" y="510"/>
                  <a:pt x="926" y="510"/>
                  <a:pt x="926" y="510"/>
                </a:cubicBezTo>
                <a:cubicBezTo>
                  <a:pt x="923" y="510"/>
                  <a:pt x="923" y="510"/>
                  <a:pt x="923" y="510"/>
                </a:cubicBezTo>
                <a:cubicBezTo>
                  <a:pt x="921" y="509"/>
                  <a:pt x="921" y="509"/>
                  <a:pt x="921" y="509"/>
                </a:cubicBezTo>
                <a:cubicBezTo>
                  <a:pt x="920" y="510"/>
                  <a:pt x="920" y="510"/>
                  <a:pt x="920" y="510"/>
                </a:cubicBezTo>
                <a:cubicBezTo>
                  <a:pt x="918" y="510"/>
                  <a:pt x="918" y="510"/>
                  <a:pt x="918" y="510"/>
                </a:cubicBezTo>
                <a:cubicBezTo>
                  <a:pt x="917" y="509"/>
                  <a:pt x="917" y="509"/>
                  <a:pt x="917" y="509"/>
                </a:cubicBezTo>
                <a:cubicBezTo>
                  <a:pt x="915" y="509"/>
                  <a:pt x="915" y="509"/>
                  <a:pt x="915" y="509"/>
                </a:cubicBezTo>
                <a:cubicBezTo>
                  <a:pt x="913" y="507"/>
                  <a:pt x="913" y="507"/>
                  <a:pt x="913" y="507"/>
                </a:cubicBezTo>
                <a:cubicBezTo>
                  <a:pt x="911" y="507"/>
                  <a:pt x="911" y="507"/>
                  <a:pt x="911" y="507"/>
                </a:cubicBezTo>
                <a:cubicBezTo>
                  <a:pt x="911" y="508"/>
                  <a:pt x="911" y="508"/>
                  <a:pt x="911" y="508"/>
                </a:cubicBezTo>
                <a:cubicBezTo>
                  <a:pt x="910" y="507"/>
                  <a:pt x="910" y="507"/>
                  <a:pt x="910" y="507"/>
                </a:cubicBezTo>
                <a:cubicBezTo>
                  <a:pt x="910" y="506"/>
                  <a:pt x="910" y="506"/>
                  <a:pt x="910" y="506"/>
                </a:cubicBezTo>
                <a:cubicBezTo>
                  <a:pt x="909" y="505"/>
                  <a:pt x="909" y="505"/>
                  <a:pt x="909" y="505"/>
                </a:cubicBezTo>
                <a:cubicBezTo>
                  <a:pt x="909" y="504"/>
                  <a:pt x="909" y="504"/>
                  <a:pt x="909" y="504"/>
                </a:cubicBezTo>
                <a:cubicBezTo>
                  <a:pt x="910" y="503"/>
                  <a:pt x="910" y="503"/>
                  <a:pt x="910" y="503"/>
                </a:cubicBezTo>
                <a:cubicBezTo>
                  <a:pt x="910" y="501"/>
                  <a:pt x="910" y="501"/>
                  <a:pt x="910" y="501"/>
                </a:cubicBezTo>
                <a:cubicBezTo>
                  <a:pt x="906" y="504"/>
                  <a:pt x="906" y="504"/>
                  <a:pt x="906" y="504"/>
                </a:cubicBezTo>
                <a:cubicBezTo>
                  <a:pt x="905" y="505"/>
                  <a:pt x="905" y="505"/>
                  <a:pt x="905" y="505"/>
                </a:cubicBezTo>
                <a:cubicBezTo>
                  <a:pt x="906" y="506"/>
                  <a:pt x="906" y="506"/>
                  <a:pt x="906" y="506"/>
                </a:cubicBezTo>
                <a:cubicBezTo>
                  <a:pt x="907" y="506"/>
                  <a:pt x="907" y="506"/>
                  <a:pt x="907" y="506"/>
                </a:cubicBezTo>
                <a:cubicBezTo>
                  <a:pt x="908" y="507"/>
                  <a:pt x="908" y="507"/>
                  <a:pt x="908" y="507"/>
                </a:cubicBezTo>
                <a:cubicBezTo>
                  <a:pt x="908" y="508"/>
                  <a:pt x="908" y="508"/>
                  <a:pt x="908" y="508"/>
                </a:cubicBezTo>
                <a:cubicBezTo>
                  <a:pt x="909" y="509"/>
                  <a:pt x="909" y="509"/>
                  <a:pt x="909" y="509"/>
                </a:cubicBezTo>
                <a:cubicBezTo>
                  <a:pt x="910" y="510"/>
                  <a:pt x="910" y="510"/>
                  <a:pt x="910" y="510"/>
                </a:cubicBezTo>
                <a:cubicBezTo>
                  <a:pt x="910" y="510"/>
                  <a:pt x="910" y="510"/>
                  <a:pt x="910" y="510"/>
                </a:cubicBezTo>
                <a:cubicBezTo>
                  <a:pt x="911" y="511"/>
                  <a:pt x="911" y="511"/>
                  <a:pt x="911" y="511"/>
                </a:cubicBezTo>
                <a:cubicBezTo>
                  <a:pt x="912" y="512"/>
                  <a:pt x="912" y="512"/>
                  <a:pt x="912" y="512"/>
                </a:cubicBezTo>
                <a:cubicBezTo>
                  <a:pt x="913" y="513"/>
                  <a:pt x="913" y="513"/>
                  <a:pt x="913" y="513"/>
                </a:cubicBezTo>
                <a:cubicBezTo>
                  <a:pt x="917" y="513"/>
                  <a:pt x="917" y="513"/>
                  <a:pt x="917" y="513"/>
                </a:cubicBezTo>
                <a:cubicBezTo>
                  <a:pt x="918" y="515"/>
                  <a:pt x="918" y="515"/>
                  <a:pt x="918" y="515"/>
                </a:cubicBezTo>
                <a:cubicBezTo>
                  <a:pt x="920" y="516"/>
                  <a:pt x="920" y="516"/>
                  <a:pt x="920" y="516"/>
                </a:cubicBezTo>
                <a:cubicBezTo>
                  <a:pt x="922" y="516"/>
                  <a:pt x="922" y="516"/>
                  <a:pt x="922" y="516"/>
                </a:cubicBezTo>
                <a:cubicBezTo>
                  <a:pt x="923" y="514"/>
                  <a:pt x="923" y="514"/>
                  <a:pt x="923" y="514"/>
                </a:cubicBezTo>
                <a:cubicBezTo>
                  <a:pt x="922" y="513"/>
                  <a:pt x="922" y="513"/>
                  <a:pt x="922" y="513"/>
                </a:cubicBezTo>
                <a:cubicBezTo>
                  <a:pt x="923" y="511"/>
                  <a:pt x="923" y="511"/>
                  <a:pt x="923" y="511"/>
                </a:cubicBezTo>
                <a:lnTo>
                  <a:pt x="925" y="510"/>
                </a:lnTo>
                <a:close/>
                <a:moveTo>
                  <a:pt x="746" y="96"/>
                </a:moveTo>
                <a:cubicBezTo>
                  <a:pt x="748" y="93"/>
                  <a:pt x="748" y="93"/>
                  <a:pt x="748" y="93"/>
                </a:cubicBezTo>
                <a:cubicBezTo>
                  <a:pt x="747" y="91"/>
                  <a:pt x="747" y="91"/>
                  <a:pt x="747" y="91"/>
                </a:cubicBezTo>
                <a:cubicBezTo>
                  <a:pt x="745" y="90"/>
                  <a:pt x="745" y="90"/>
                  <a:pt x="745" y="90"/>
                </a:cubicBezTo>
                <a:cubicBezTo>
                  <a:pt x="743" y="92"/>
                  <a:pt x="743" y="92"/>
                  <a:pt x="743" y="92"/>
                </a:cubicBezTo>
                <a:cubicBezTo>
                  <a:pt x="742" y="95"/>
                  <a:pt x="742" y="95"/>
                  <a:pt x="742" y="95"/>
                </a:cubicBezTo>
                <a:cubicBezTo>
                  <a:pt x="742" y="96"/>
                  <a:pt x="743" y="96"/>
                  <a:pt x="743" y="96"/>
                </a:cubicBezTo>
                <a:cubicBezTo>
                  <a:pt x="744" y="94"/>
                  <a:pt x="744" y="94"/>
                  <a:pt x="744" y="94"/>
                </a:cubicBezTo>
                <a:cubicBezTo>
                  <a:pt x="744" y="93"/>
                  <a:pt x="744" y="93"/>
                  <a:pt x="744" y="93"/>
                </a:cubicBezTo>
                <a:cubicBezTo>
                  <a:pt x="744" y="95"/>
                  <a:pt x="744" y="95"/>
                  <a:pt x="744" y="95"/>
                </a:cubicBezTo>
                <a:cubicBezTo>
                  <a:pt x="744" y="97"/>
                  <a:pt x="744" y="97"/>
                  <a:pt x="744" y="97"/>
                </a:cubicBezTo>
                <a:lnTo>
                  <a:pt x="746" y="96"/>
                </a:lnTo>
                <a:close/>
                <a:moveTo>
                  <a:pt x="740" y="90"/>
                </a:moveTo>
                <a:cubicBezTo>
                  <a:pt x="740" y="93"/>
                  <a:pt x="740" y="93"/>
                  <a:pt x="740" y="93"/>
                </a:cubicBezTo>
                <a:cubicBezTo>
                  <a:pt x="741" y="93"/>
                  <a:pt x="741" y="93"/>
                  <a:pt x="741" y="93"/>
                </a:cubicBezTo>
                <a:cubicBezTo>
                  <a:pt x="742" y="91"/>
                  <a:pt x="742" y="91"/>
                  <a:pt x="742" y="91"/>
                </a:cubicBezTo>
                <a:cubicBezTo>
                  <a:pt x="741" y="89"/>
                  <a:pt x="741" y="89"/>
                  <a:pt x="741" y="89"/>
                </a:cubicBezTo>
                <a:lnTo>
                  <a:pt x="740" y="90"/>
                </a:lnTo>
                <a:close/>
                <a:moveTo>
                  <a:pt x="718" y="61"/>
                </a:moveTo>
                <a:cubicBezTo>
                  <a:pt x="719" y="61"/>
                  <a:pt x="719" y="61"/>
                  <a:pt x="719" y="61"/>
                </a:cubicBezTo>
                <a:cubicBezTo>
                  <a:pt x="719" y="59"/>
                  <a:pt x="719" y="59"/>
                  <a:pt x="719" y="59"/>
                </a:cubicBezTo>
                <a:cubicBezTo>
                  <a:pt x="720" y="58"/>
                  <a:pt x="720" y="58"/>
                  <a:pt x="720" y="58"/>
                </a:cubicBezTo>
                <a:cubicBezTo>
                  <a:pt x="719" y="57"/>
                  <a:pt x="719" y="57"/>
                  <a:pt x="719" y="57"/>
                </a:cubicBezTo>
                <a:cubicBezTo>
                  <a:pt x="719" y="56"/>
                  <a:pt x="719" y="56"/>
                  <a:pt x="719" y="56"/>
                </a:cubicBezTo>
                <a:cubicBezTo>
                  <a:pt x="718" y="55"/>
                  <a:pt x="718" y="55"/>
                  <a:pt x="718" y="55"/>
                </a:cubicBezTo>
                <a:cubicBezTo>
                  <a:pt x="717" y="56"/>
                  <a:pt x="717" y="56"/>
                  <a:pt x="717" y="56"/>
                </a:cubicBezTo>
                <a:cubicBezTo>
                  <a:pt x="717" y="58"/>
                  <a:pt x="717" y="58"/>
                  <a:pt x="717" y="58"/>
                </a:cubicBezTo>
                <a:cubicBezTo>
                  <a:pt x="717" y="59"/>
                  <a:pt x="717" y="59"/>
                  <a:pt x="717" y="59"/>
                </a:cubicBezTo>
                <a:lnTo>
                  <a:pt x="718" y="61"/>
                </a:lnTo>
                <a:close/>
                <a:moveTo>
                  <a:pt x="712" y="101"/>
                </a:moveTo>
                <a:cubicBezTo>
                  <a:pt x="713" y="100"/>
                  <a:pt x="713" y="100"/>
                  <a:pt x="713" y="100"/>
                </a:cubicBezTo>
                <a:cubicBezTo>
                  <a:pt x="713" y="98"/>
                  <a:pt x="713" y="98"/>
                  <a:pt x="713" y="98"/>
                </a:cubicBezTo>
                <a:cubicBezTo>
                  <a:pt x="714" y="97"/>
                  <a:pt x="714" y="97"/>
                  <a:pt x="714" y="97"/>
                </a:cubicBezTo>
                <a:cubicBezTo>
                  <a:pt x="715" y="99"/>
                  <a:pt x="715" y="99"/>
                  <a:pt x="715" y="99"/>
                </a:cubicBezTo>
                <a:cubicBezTo>
                  <a:pt x="715" y="101"/>
                  <a:pt x="715" y="101"/>
                  <a:pt x="715" y="101"/>
                </a:cubicBezTo>
                <a:cubicBezTo>
                  <a:pt x="717" y="103"/>
                  <a:pt x="717" y="103"/>
                  <a:pt x="717" y="103"/>
                </a:cubicBezTo>
                <a:cubicBezTo>
                  <a:pt x="718" y="101"/>
                  <a:pt x="718" y="101"/>
                  <a:pt x="718" y="101"/>
                </a:cubicBezTo>
                <a:cubicBezTo>
                  <a:pt x="719" y="102"/>
                  <a:pt x="719" y="102"/>
                  <a:pt x="719" y="102"/>
                </a:cubicBezTo>
                <a:cubicBezTo>
                  <a:pt x="718" y="104"/>
                  <a:pt x="718" y="104"/>
                  <a:pt x="718" y="104"/>
                </a:cubicBezTo>
                <a:cubicBezTo>
                  <a:pt x="720" y="107"/>
                  <a:pt x="720" y="107"/>
                  <a:pt x="720" y="107"/>
                </a:cubicBezTo>
                <a:cubicBezTo>
                  <a:pt x="722" y="107"/>
                  <a:pt x="722" y="107"/>
                  <a:pt x="722" y="107"/>
                </a:cubicBezTo>
                <a:cubicBezTo>
                  <a:pt x="723" y="110"/>
                  <a:pt x="723" y="110"/>
                  <a:pt x="723" y="110"/>
                </a:cubicBezTo>
                <a:cubicBezTo>
                  <a:pt x="725" y="112"/>
                  <a:pt x="725" y="112"/>
                  <a:pt x="725" y="112"/>
                </a:cubicBezTo>
                <a:cubicBezTo>
                  <a:pt x="726" y="109"/>
                  <a:pt x="726" y="109"/>
                  <a:pt x="726" y="109"/>
                </a:cubicBezTo>
                <a:cubicBezTo>
                  <a:pt x="726" y="111"/>
                  <a:pt x="726" y="111"/>
                  <a:pt x="726" y="111"/>
                </a:cubicBezTo>
                <a:cubicBezTo>
                  <a:pt x="729" y="113"/>
                  <a:pt x="729" y="113"/>
                  <a:pt x="729" y="113"/>
                </a:cubicBezTo>
                <a:cubicBezTo>
                  <a:pt x="730" y="113"/>
                  <a:pt x="730" y="113"/>
                  <a:pt x="730" y="113"/>
                </a:cubicBezTo>
                <a:cubicBezTo>
                  <a:pt x="732" y="113"/>
                  <a:pt x="732" y="113"/>
                  <a:pt x="732" y="113"/>
                </a:cubicBezTo>
                <a:cubicBezTo>
                  <a:pt x="734" y="111"/>
                  <a:pt x="734" y="111"/>
                  <a:pt x="734" y="111"/>
                </a:cubicBezTo>
                <a:cubicBezTo>
                  <a:pt x="736" y="111"/>
                  <a:pt x="736" y="111"/>
                  <a:pt x="736" y="111"/>
                </a:cubicBezTo>
                <a:cubicBezTo>
                  <a:pt x="738" y="109"/>
                  <a:pt x="738" y="109"/>
                  <a:pt x="738" y="109"/>
                </a:cubicBezTo>
                <a:cubicBezTo>
                  <a:pt x="739" y="111"/>
                  <a:pt x="739" y="111"/>
                  <a:pt x="739" y="111"/>
                </a:cubicBezTo>
                <a:cubicBezTo>
                  <a:pt x="740" y="110"/>
                  <a:pt x="740" y="110"/>
                  <a:pt x="740" y="110"/>
                </a:cubicBezTo>
                <a:cubicBezTo>
                  <a:pt x="743" y="108"/>
                  <a:pt x="743" y="108"/>
                  <a:pt x="743" y="108"/>
                </a:cubicBezTo>
                <a:cubicBezTo>
                  <a:pt x="743" y="106"/>
                  <a:pt x="743" y="106"/>
                  <a:pt x="743" y="106"/>
                </a:cubicBezTo>
                <a:cubicBezTo>
                  <a:pt x="741" y="107"/>
                  <a:pt x="741" y="107"/>
                  <a:pt x="741" y="107"/>
                </a:cubicBezTo>
                <a:cubicBezTo>
                  <a:pt x="740" y="105"/>
                  <a:pt x="740" y="105"/>
                  <a:pt x="740" y="105"/>
                </a:cubicBezTo>
                <a:cubicBezTo>
                  <a:pt x="742" y="101"/>
                  <a:pt x="742" y="101"/>
                  <a:pt x="742" y="101"/>
                </a:cubicBezTo>
                <a:cubicBezTo>
                  <a:pt x="742" y="99"/>
                  <a:pt x="742" y="99"/>
                  <a:pt x="742" y="99"/>
                </a:cubicBezTo>
                <a:cubicBezTo>
                  <a:pt x="740" y="101"/>
                  <a:pt x="740" y="101"/>
                  <a:pt x="740" y="101"/>
                </a:cubicBezTo>
                <a:cubicBezTo>
                  <a:pt x="739" y="104"/>
                  <a:pt x="739" y="104"/>
                  <a:pt x="739" y="104"/>
                </a:cubicBezTo>
                <a:cubicBezTo>
                  <a:pt x="738" y="102"/>
                  <a:pt x="738" y="102"/>
                  <a:pt x="738" y="102"/>
                </a:cubicBezTo>
                <a:cubicBezTo>
                  <a:pt x="740" y="97"/>
                  <a:pt x="740" y="97"/>
                  <a:pt x="740" y="97"/>
                </a:cubicBezTo>
                <a:cubicBezTo>
                  <a:pt x="739" y="90"/>
                  <a:pt x="739" y="90"/>
                  <a:pt x="739" y="90"/>
                </a:cubicBezTo>
                <a:cubicBezTo>
                  <a:pt x="736" y="88"/>
                  <a:pt x="736" y="88"/>
                  <a:pt x="736" y="88"/>
                </a:cubicBezTo>
                <a:cubicBezTo>
                  <a:pt x="736" y="86"/>
                  <a:pt x="736" y="86"/>
                  <a:pt x="736" y="86"/>
                </a:cubicBezTo>
                <a:cubicBezTo>
                  <a:pt x="734" y="86"/>
                  <a:pt x="734" y="86"/>
                  <a:pt x="734" y="86"/>
                </a:cubicBezTo>
                <a:cubicBezTo>
                  <a:pt x="733" y="88"/>
                  <a:pt x="733" y="88"/>
                  <a:pt x="733" y="88"/>
                </a:cubicBezTo>
                <a:cubicBezTo>
                  <a:pt x="733" y="86"/>
                  <a:pt x="733" y="86"/>
                  <a:pt x="733" y="86"/>
                </a:cubicBezTo>
                <a:cubicBezTo>
                  <a:pt x="734" y="85"/>
                  <a:pt x="734" y="85"/>
                  <a:pt x="734" y="85"/>
                </a:cubicBezTo>
                <a:cubicBezTo>
                  <a:pt x="734" y="83"/>
                  <a:pt x="734" y="83"/>
                  <a:pt x="734" y="83"/>
                </a:cubicBezTo>
                <a:cubicBezTo>
                  <a:pt x="734" y="81"/>
                  <a:pt x="734" y="81"/>
                  <a:pt x="734" y="81"/>
                </a:cubicBezTo>
                <a:cubicBezTo>
                  <a:pt x="734" y="79"/>
                  <a:pt x="734" y="79"/>
                  <a:pt x="734" y="79"/>
                </a:cubicBezTo>
                <a:cubicBezTo>
                  <a:pt x="731" y="80"/>
                  <a:pt x="731" y="80"/>
                  <a:pt x="731" y="80"/>
                </a:cubicBezTo>
                <a:cubicBezTo>
                  <a:pt x="728" y="82"/>
                  <a:pt x="728" y="82"/>
                  <a:pt x="728" y="82"/>
                </a:cubicBezTo>
                <a:cubicBezTo>
                  <a:pt x="727" y="86"/>
                  <a:pt x="727" y="86"/>
                  <a:pt x="727" y="86"/>
                </a:cubicBezTo>
                <a:cubicBezTo>
                  <a:pt x="727" y="89"/>
                  <a:pt x="727" y="89"/>
                  <a:pt x="727" y="89"/>
                </a:cubicBezTo>
                <a:cubicBezTo>
                  <a:pt x="726" y="88"/>
                  <a:pt x="726" y="88"/>
                  <a:pt x="726" y="88"/>
                </a:cubicBezTo>
                <a:cubicBezTo>
                  <a:pt x="725" y="85"/>
                  <a:pt x="725" y="85"/>
                  <a:pt x="725" y="85"/>
                </a:cubicBezTo>
                <a:cubicBezTo>
                  <a:pt x="724" y="85"/>
                  <a:pt x="724" y="85"/>
                  <a:pt x="724" y="85"/>
                </a:cubicBezTo>
                <a:cubicBezTo>
                  <a:pt x="724" y="88"/>
                  <a:pt x="724" y="88"/>
                  <a:pt x="724" y="88"/>
                </a:cubicBezTo>
                <a:cubicBezTo>
                  <a:pt x="722" y="88"/>
                  <a:pt x="722" y="88"/>
                  <a:pt x="722" y="88"/>
                </a:cubicBezTo>
                <a:cubicBezTo>
                  <a:pt x="723" y="90"/>
                  <a:pt x="723" y="90"/>
                  <a:pt x="723" y="90"/>
                </a:cubicBezTo>
                <a:cubicBezTo>
                  <a:pt x="722" y="91"/>
                  <a:pt x="722" y="91"/>
                  <a:pt x="722" y="91"/>
                </a:cubicBezTo>
                <a:cubicBezTo>
                  <a:pt x="721" y="91"/>
                  <a:pt x="721" y="91"/>
                  <a:pt x="721" y="91"/>
                </a:cubicBezTo>
                <a:cubicBezTo>
                  <a:pt x="720" y="93"/>
                  <a:pt x="720" y="93"/>
                  <a:pt x="720" y="93"/>
                </a:cubicBezTo>
                <a:cubicBezTo>
                  <a:pt x="716" y="93"/>
                  <a:pt x="716" y="93"/>
                  <a:pt x="716" y="93"/>
                </a:cubicBezTo>
                <a:cubicBezTo>
                  <a:pt x="715" y="93"/>
                  <a:pt x="715" y="93"/>
                  <a:pt x="715" y="93"/>
                </a:cubicBezTo>
                <a:cubicBezTo>
                  <a:pt x="714" y="93"/>
                  <a:pt x="714" y="93"/>
                  <a:pt x="714" y="93"/>
                </a:cubicBezTo>
                <a:cubicBezTo>
                  <a:pt x="709" y="96"/>
                  <a:pt x="709" y="96"/>
                  <a:pt x="709" y="96"/>
                </a:cubicBezTo>
                <a:cubicBezTo>
                  <a:pt x="710" y="98"/>
                  <a:pt x="710" y="98"/>
                  <a:pt x="710" y="98"/>
                </a:cubicBezTo>
                <a:lnTo>
                  <a:pt x="712" y="101"/>
                </a:lnTo>
                <a:close/>
                <a:moveTo>
                  <a:pt x="704" y="118"/>
                </a:moveTo>
                <a:cubicBezTo>
                  <a:pt x="705" y="117"/>
                  <a:pt x="705" y="117"/>
                  <a:pt x="705" y="117"/>
                </a:cubicBezTo>
                <a:cubicBezTo>
                  <a:pt x="705" y="116"/>
                  <a:pt x="705" y="116"/>
                  <a:pt x="705" y="116"/>
                </a:cubicBezTo>
                <a:cubicBezTo>
                  <a:pt x="703" y="116"/>
                  <a:pt x="703" y="116"/>
                  <a:pt x="703" y="116"/>
                </a:cubicBezTo>
                <a:cubicBezTo>
                  <a:pt x="703" y="117"/>
                  <a:pt x="703" y="117"/>
                  <a:pt x="703" y="117"/>
                </a:cubicBezTo>
                <a:lnTo>
                  <a:pt x="704" y="118"/>
                </a:lnTo>
                <a:close/>
                <a:moveTo>
                  <a:pt x="699" y="84"/>
                </a:moveTo>
                <a:cubicBezTo>
                  <a:pt x="699" y="85"/>
                  <a:pt x="699" y="85"/>
                  <a:pt x="699" y="85"/>
                </a:cubicBezTo>
                <a:cubicBezTo>
                  <a:pt x="700" y="86"/>
                  <a:pt x="700" y="86"/>
                  <a:pt x="700" y="86"/>
                </a:cubicBezTo>
                <a:cubicBezTo>
                  <a:pt x="701" y="84"/>
                  <a:pt x="701" y="84"/>
                  <a:pt x="701" y="84"/>
                </a:cubicBezTo>
                <a:cubicBezTo>
                  <a:pt x="701" y="85"/>
                  <a:pt x="701" y="85"/>
                  <a:pt x="701" y="85"/>
                </a:cubicBezTo>
                <a:cubicBezTo>
                  <a:pt x="702" y="83"/>
                  <a:pt x="702" y="83"/>
                  <a:pt x="702" y="83"/>
                </a:cubicBezTo>
                <a:cubicBezTo>
                  <a:pt x="702" y="82"/>
                  <a:pt x="702" y="82"/>
                  <a:pt x="702" y="82"/>
                </a:cubicBezTo>
                <a:cubicBezTo>
                  <a:pt x="701" y="81"/>
                  <a:pt x="701" y="81"/>
                  <a:pt x="701" y="81"/>
                </a:cubicBezTo>
                <a:cubicBezTo>
                  <a:pt x="701" y="80"/>
                  <a:pt x="701" y="80"/>
                  <a:pt x="701" y="80"/>
                </a:cubicBezTo>
                <a:cubicBezTo>
                  <a:pt x="700" y="80"/>
                  <a:pt x="700" y="80"/>
                  <a:pt x="700" y="80"/>
                </a:cubicBezTo>
                <a:cubicBezTo>
                  <a:pt x="700" y="81"/>
                  <a:pt x="700" y="81"/>
                  <a:pt x="700" y="81"/>
                </a:cubicBezTo>
                <a:cubicBezTo>
                  <a:pt x="701" y="83"/>
                  <a:pt x="701" y="83"/>
                  <a:pt x="701" y="83"/>
                </a:cubicBezTo>
                <a:cubicBezTo>
                  <a:pt x="699" y="83"/>
                  <a:pt x="699" y="83"/>
                  <a:pt x="699" y="83"/>
                </a:cubicBezTo>
                <a:lnTo>
                  <a:pt x="699" y="84"/>
                </a:lnTo>
                <a:close/>
                <a:moveTo>
                  <a:pt x="698" y="99"/>
                </a:moveTo>
                <a:cubicBezTo>
                  <a:pt x="699" y="101"/>
                  <a:pt x="699" y="101"/>
                  <a:pt x="699" y="101"/>
                </a:cubicBezTo>
                <a:cubicBezTo>
                  <a:pt x="700" y="100"/>
                  <a:pt x="700" y="100"/>
                  <a:pt x="700" y="100"/>
                </a:cubicBezTo>
                <a:cubicBezTo>
                  <a:pt x="700" y="99"/>
                  <a:pt x="700" y="99"/>
                  <a:pt x="700" y="99"/>
                </a:cubicBezTo>
                <a:cubicBezTo>
                  <a:pt x="702" y="97"/>
                  <a:pt x="702" y="97"/>
                  <a:pt x="702" y="97"/>
                </a:cubicBezTo>
                <a:cubicBezTo>
                  <a:pt x="703" y="95"/>
                  <a:pt x="703" y="95"/>
                  <a:pt x="703" y="95"/>
                </a:cubicBezTo>
                <a:cubicBezTo>
                  <a:pt x="702" y="94"/>
                  <a:pt x="702" y="94"/>
                  <a:pt x="702" y="94"/>
                </a:cubicBezTo>
                <a:cubicBezTo>
                  <a:pt x="702" y="93"/>
                  <a:pt x="702" y="93"/>
                  <a:pt x="702" y="93"/>
                </a:cubicBezTo>
                <a:cubicBezTo>
                  <a:pt x="701" y="92"/>
                  <a:pt x="701" y="92"/>
                  <a:pt x="701" y="92"/>
                </a:cubicBezTo>
                <a:cubicBezTo>
                  <a:pt x="700" y="94"/>
                  <a:pt x="700" y="94"/>
                  <a:pt x="700" y="94"/>
                </a:cubicBezTo>
                <a:cubicBezTo>
                  <a:pt x="700" y="95"/>
                  <a:pt x="700" y="95"/>
                  <a:pt x="700" y="95"/>
                </a:cubicBezTo>
                <a:cubicBezTo>
                  <a:pt x="698" y="98"/>
                  <a:pt x="698" y="98"/>
                  <a:pt x="698" y="98"/>
                </a:cubicBezTo>
                <a:lnTo>
                  <a:pt x="698" y="99"/>
                </a:lnTo>
                <a:close/>
                <a:moveTo>
                  <a:pt x="834" y="572"/>
                </a:moveTo>
                <a:cubicBezTo>
                  <a:pt x="834" y="573"/>
                  <a:pt x="834" y="573"/>
                  <a:pt x="834" y="573"/>
                </a:cubicBezTo>
                <a:cubicBezTo>
                  <a:pt x="833" y="573"/>
                  <a:pt x="833" y="573"/>
                  <a:pt x="833" y="573"/>
                </a:cubicBezTo>
                <a:cubicBezTo>
                  <a:pt x="834" y="574"/>
                  <a:pt x="834" y="574"/>
                  <a:pt x="834" y="574"/>
                </a:cubicBezTo>
                <a:cubicBezTo>
                  <a:pt x="835" y="574"/>
                  <a:pt x="835" y="574"/>
                  <a:pt x="835" y="574"/>
                </a:cubicBezTo>
                <a:cubicBezTo>
                  <a:pt x="836" y="573"/>
                  <a:pt x="836" y="573"/>
                  <a:pt x="836" y="573"/>
                </a:cubicBezTo>
                <a:cubicBezTo>
                  <a:pt x="837" y="573"/>
                  <a:pt x="837" y="573"/>
                  <a:pt x="837" y="573"/>
                </a:cubicBezTo>
                <a:cubicBezTo>
                  <a:pt x="836" y="572"/>
                  <a:pt x="836" y="572"/>
                  <a:pt x="836" y="572"/>
                </a:cubicBezTo>
                <a:lnTo>
                  <a:pt x="834" y="572"/>
                </a:lnTo>
                <a:close/>
                <a:moveTo>
                  <a:pt x="805" y="136"/>
                </a:moveTo>
                <a:cubicBezTo>
                  <a:pt x="806" y="134"/>
                  <a:pt x="806" y="134"/>
                  <a:pt x="806" y="134"/>
                </a:cubicBezTo>
                <a:cubicBezTo>
                  <a:pt x="806" y="132"/>
                  <a:pt x="806" y="132"/>
                  <a:pt x="806" y="132"/>
                </a:cubicBezTo>
                <a:cubicBezTo>
                  <a:pt x="805" y="131"/>
                  <a:pt x="805" y="131"/>
                  <a:pt x="805" y="131"/>
                </a:cubicBezTo>
                <a:cubicBezTo>
                  <a:pt x="804" y="132"/>
                  <a:pt x="804" y="132"/>
                  <a:pt x="804" y="132"/>
                </a:cubicBezTo>
                <a:cubicBezTo>
                  <a:pt x="802" y="134"/>
                  <a:pt x="802" y="134"/>
                  <a:pt x="802" y="134"/>
                </a:cubicBezTo>
                <a:cubicBezTo>
                  <a:pt x="802" y="136"/>
                  <a:pt x="802" y="136"/>
                  <a:pt x="802" y="136"/>
                </a:cubicBezTo>
                <a:cubicBezTo>
                  <a:pt x="801" y="138"/>
                  <a:pt x="801" y="138"/>
                  <a:pt x="801" y="138"/>
                </a:cubicBezTo>
                <a:cubicBezTo>
                  <a:pt x="804" y="138"/>
                  <a:pt x="804" y="138"/>
                  <a:pt x="804" y="138"/>
                </a:cubicBezTo>
                <a:cubicBezTo>
                  <a:pt x="805" y="138"/>
                  <a:pt x="805" y="138"/>
                  <a:pt x="805" y="138"/>
                </a:cubicBezTo>
                <a:lnTo>
                  <a:pt x="805" y="136"/>
                </a:lnTo>
                <a:close/>
                <a:moveTo>
                  <a:pt x="800" y="139"/>
                </a:moveTo>
                <a:cubicBezTo>
                  <a:pt x="800" y="141"/>
                  <a:pt x="800" y="141"/>
                  <a:pt x="800" y="141"/>
                </a:cubicBezTo>
                <a:cubicBezTo>
                  <a:pt x="801" y="141"/>
                  <a:pt x="801" y="141"/>
                  <a:pt x="801" y="141"/>
                </a:cubicBezTo>
                <a:cubicBezTo>
                  <a:pt x="803" y="141"/>
                  <a:pt x="803" y="141"/>
                  <a:pt x="803" y="141"/>
                </a:cubicBezTo>
                <a:cubicBezTo>
                  <a:pt x="804" y="140"/>
                  <a:pt x="804" y="140"/>
                  <a:pt x="804" y="140"/>
                </a:cubicBezTo>
                <a:cubicBezTo>
                  <a:pt x="804" y="139"/>
                  <a:pt x="804" y="139"/>
                  <a:pt x="804" y="139"/>
                </a:cubicBezTo>
                <a:cubicBezTo>
                  <a:pt x="802" y="139"/>
                  <a:pt x="802" y="139"/>
                  <a:pt x="802" y="139"/>
                </a:cubicBezTo>
                <a:lnTo>
                  <a:pt x="800" y="139"/>
                </a:lnTo>
                <a:close/>
                <a:moveTo>
                  <a:pt x="776" y="8"/>
                </a:moveTo>
                <a:cubicBezTo>
                  <a:pt x="777" y="8"/>
                  <a:pt x="777" y="8"/>
                  <a:pt x="777" y="8"/>
                </a:cubicBezTo>
                <a:cubicBezTo>
                  <a:pt x="778" y="6"/>
                  <a:pt x="778" y="6"/>
                  <a:pt x="778" y="6"/>
                </a:cubicBezTo>
                <a:cubicBezTo>
                  <a:pt x="779" y="5"/>
                  <a:pt x="779" y="5"/>
                  <a:pt x="779" y="5"/>
                </a:cubicBezTo>
                <a:cubicBezTo>
                  <a:pt x="778" y="4"/>
                  <a:pt x="778" y="4"/>
                  <a:pt x="778" y="4"/>
                </a:cubicBezTo>
                <a:cubicBezTo>
                  <a:pt x="778" y="2"/>
                  <a:pt x="778" y="2"/>
                  <a:pt x="778" y="2"/>
                </a:cubicBezTo>
                <a:cubicBezTo>
                  <a:pt x="776" y="3"/>
                  <a:pt x="776" y="3"/>
                  <a:pt x="776" y="3"/>
                </a:cubicBezTo>
                <a:cubicBezTo>
                  <a:pt x="776" y="4"/>
                  <a:pt x="776" y="4"/>
                  <a:pt x="776" y="4"/>
                </a:cubicBezTo>
                <a:cubicBezTo>
                  <a:pt x="775" y="5"/>
                  <a:pt x="775" y="5"/>
                  <a:pt x="775" y="5"/>
                </a:cubicBezTo>
                <a:cubicBezTo>
                  <a:pt x="775" y="7"/>
                  <a:pt x="775" y="7"/>
                  <a:pt x="775" y="7"/>
                </a:cubicBezTo>
                <a:lnTo>
                  <a:pt x="776" y="8"/>
                </a:lnTo>
                <a:close/>
                <a:moveTo>
                  <a:pt x="776" y="12"/>
                </a:moveTo>
                <a:cubicBezTo>
                  <a:pt x="777" y="10"/>
                  <a:pt x="777" y="10"/>
                  <a:pt x="777" y="10"/>
                </a:cubicBezTo>
                <a:cubicBezTo>
                  <a:pt x="775" y="10"/>
                  <a:pt x="775" y="10"/>
                  <a:pt x="775" y="10"/>
                </a:cubicBezTo>
                <a:cubicBezTo>
                  <a:pt x="774" y="11"/>
                  <a:pt x="774" y="11"/>
                  <a:pt x="774" y="11"/>
                </a:cubicBezTo>
                <a:cubicBezTo>
                  <a:pt x="773" y="12"/>
                  <a:pt x="773" y="12"/>
                  <a:pt x="773" y="12"/>
                </a:cubicBezTo>
                <a:cubicBezTo>
                  <a:pt x="775" y="13"/>
                  <a:pt x="775" y="13"/>
                  <a:pt x="775" y="13"/>
                </a:cubicBezTo>
                <a:lnTo>
                  <a:pt x="776" y="12"/>
                </a:lnTo>
                <a:close/>
                <a:moveTo>
                  <a:pt x="755" y="49"/>
                </a:moveTo>
                <a:cubicBezTo>
                  <a:pt x="755" y="49"/>
                  <a:pt x="755" y="49"/>
                  <a:pt x="755" y="49"/>
                </a:cubicBezTo>
                <a:cubicBezTo>
                  <a:pt x="756" y="49"/>
                  <a:pt x="756" y="49"/>
                  <a:pt x="756" y="49"/>
                </a:cubicBezTo>
                <a:cubicBezTo>
                  <a:pt x="756" y="47"/>
                  <a:pt x="756" y="47"/>
                  <a:pt x="756" y="47"/>
                </a:cubicBezTo>
                <a:cubicBezTo>
                  <a:pt x="755" y="47"/>
                  <a:pt x="755" y="47"/>
                  <a:pt x="755" y="47"/>
                </a:cubicBezTo>
                <a:lnTo>
                  <a:pt x="755" y="49"/>
                </a:lnTo>
                <a:close/>
                <a:moveTo>
                  <a:pt x="523" y="20"/>
                </a:moveTo>
                <a:cubicBezTo>
                  <a:pt x="523" y="19"/>
                  <a:pt x="523" y="19"/>
                  <a:pt x="523" y="19"/>
                </a:cubicBezTo>
                <a:cubicBezTo>
                  <a:pt x="524" y="19"/>
                  <a:pt x="524" y="19"/>
                  <a:pt x="524" y="19"/>
                </a:cubicBezTo>
                <a:cubicBezTo>
                  <a:pt x="521" y="19"/>
                  <a:pt x="521" y="19"/>
                  <a:pt x="521" y="19"/>
                </a:cubicBezTo>
                <a:cubicBezTo>
                  <a:pt x="520" y="20"/>
                  <a:pt x="520" y="20"/>
                  <a:pt x="520" y="20"/>
                </a:cubicBezTo>
                <a:cubicBezTo>
                  <a:pt x="522" y="21"/>
                  <a:pt x="522" y="21"/>
                  <a:pt x="522" y="21"/>
                </a:cubicBezTo>
                <a:lnTo>
                  <a:pt x="523" y="20"/>
                </a:lnTo>
                <a:close/>
                <a:moveTo>
                  <a:pt x="617" y="103"/>
                </a:moveTo>
                <a:cubicBezTo>
                  <a:pt x="617" y="104"/>
                  <a:pt x="617" y="104"/>
                  <a:pt x="617" y="104"/>
                </a:cubicBezTo>
                <a:cubicBezTo>
                  <a:pt x="617" y="105"/>
                  <a:pt x="617" y="105"/>
                  <a:pt x="617" y="105"/>
                </a:cubicBezTo>
                <a:cubicBezTo>
                  <a:pt x="618" y="105"/>
                  <a:pt x="618" y="105"/>
                  <a:pt x="618" y="105"/>
                </a:cubicBezTo>
                <a:lnTo>
                  <a:pt x="617" y="103"/>
                </a:lnTo>
                <a:close/>
                <a:moveTo>
                  <a:pt x="617" y="106"/>
                </a:moveTo>
                <a:cubicBezTo>
                  <a:pt x="616" y="103"/>
                  <a:pt x="616" y="103"/>
                  <a:pt x="616" y="103"/>
                </a:cubicBezTo>
                <a:cubicBezTo>
                  <a:pt x="615" y="104"/>
                  <a:pt x="615" y="104"/>
                  <a:pt x="615" y="104"/>
                </a:cubicBezTo>
                <a:cubicBezTo>
                  <a:pt x="616" y="105"/>
                  <a:pt x="616" y="105"/>
                  <a:pt x="616" y="105"/>
                </a:cubicBezTo>
                <a:lnTo>
                  <a:pt x="617" y="106"/>
                </a:lnTo>
                <a:close/>
                <a:moveTo>
                  <a:pt x="432" y="5"/>
                </a:moveTo>
                <a:cubicBezTo>
                  <a:pt x="431" y="5"/>
                  <a:pt x="431" y="5"/>
                  <a:pt x="431" y="5"/>
                </a:cubicBezTo>
                <a:cubicBezTo>
                  <a:pt x="431" y="5"/>
                  <a:pt x="430" y="6"/>
                  <a:pt x="430" y="6"/>
                </a:cubicBezTo>
                <a:cubicBezTo>
                  <a:pt x="431" y="7"/>
                  <a:pt x="431" y="7"/>
                  <a:pt x="431" y="7"/>
                </a:cubicBezTo>
                <a:lnTo>
                  <a:pt x="432" y="5"/>
                </a:lnTo>
                <a:close/>
                <a:moveTo>
                  <a:pt x="616" y="97"/>
                </a:moveTo>
                <a:cubicBezTo>
                  <a:pt x="615" y="97"/>
                  <a:pt x="615" y="97"/>
                  <a:pt x="615" y="97"/>
                </a:cubicBezTo>
                <a:cubicBezTo>
                  <a:pt x="614" y="98"/>
                  <a:pt x="614" y="98"/>
                  <a:pt x="614" y="98"/>
                </a:cubicBezTo>
                <a:cubicBezTo>
                  <a:pt x="616" y="98"/>
                  <a:pt x="616" y="98"/>
                  <a:pt x="616" y="98"/>
                </a:cubicBezTo>
                <a:lnTo>
                  <a:pt x="616" y="97"/>
                </a:lnTo>
                <a:close/>
                <a:moveTo>
                  <a:pt x="431" y="9"/>
                </a:moveTo>
                <a:cubicBezTo>
                  <a:pt x="430" y="8"/>
                  <a:pt x="430" y="8"/>
                  <a:pt x="430" y="8"/>
                </a:cubicBezTo>
                <a:cubicBezTo>
                  <a:pt x="429" y="9"/>
                  <a:pt x="429" y="9"/>
                  <a:pt x="429" y="9"/>
                </a:cubicBezTo>
                <a:cubicBezTo>
                  <a:pt x="430" y="10"/>
                  <a:pt x="430" y="10"/>
                  <a:pt x="430" y="10"/>
                </a:cubicBezTo>
                <a:lnTo>
                  <a:pt x="431" y="9"/>
                </a:lnTo>
                <a:close/>
                <a:moveTo>
                  <a:pt x="425" y="23"/>
                </a:moveTo>
                <a:cubicBezTo>
                  <a:pt x="427" y="23"/>
                  <a:pt x="427" y="23"/>
                  <a:pt x="427" y="23"/>
                </a:cubicBezTo>
                <a:cubicBezTo>
                  <a:pt x="429" y="21"/>
                  <a:pt x="429" y="21"/>
                  <a:pt x="429" y="21"/>
                </a:cubicBezTo>
                <a:cubicBezTo>
                  <a:pt x="430" y="21"/>
                  <a:pt x="430" y="21"/>
                  <a:pt x="430" y="21"/>
                </a:cubicBezTo>
                <a:cubicBezTo>
                  <a:pt x="437" y="16"/>
                  <a:pt x="437" y="16"/>
                  <a:pt x="437" y="16"/>
                </a:cubicBezTo>
                <a:cubicBezTo>
                  <a:pt x="440" y="14"/>
                  <a:pt x="440" y="14"/>
                  <a:pt x="440" y="14"/>
                </a:cubicBezTo>
                <a:cubicBezTo>
                  <a:pt x="441" y="12"/>
                  <a:pt x="441" y="12"/>
                  <a:pt x="441" y="12"/>
                </a:cubicBezTo>
                <a:cubicBezTo>
                  <a:pt x="440" y="12"/>
                  <a:pt x="440" y="12"/>
                  <a:pt x="440" y="12"/>
                </a:cubicBezTo>
                <a:cubicBezTo>
                  <a:pt x="439" y="11"/>
                  <a:pt x="439" y="11"/>
                  <a:pt x="439" y="11"/>
                </a:cubicBezTo>
                <a:cubicBezTo>
                  <a:pt x="439" y="8"/>
                  <a:pt x="439" y="8"/>
                  <a:pt x="439" y="8"/>
                </a:cubicBezTo>
                <a:cubicBezTo>
                  <a:pt x="437" y="8"/>
                  <a:pt x="437" y="8"/>
                  <a:pt x="437" y="8"/>
                </a:cubicBezTo>
                <a:cubicBezTo>
                  <a:pt x="436" y="11"/>
                  <a:pt x="436" y="11"/>
                  <a:pt x="436" y="11"/>
                </a:cubicBezTo>
                <a:cubicBezTo>
                  <a:pt x="434" y="11"/>
                  <a:pt x="434" y="11"/>
                  <a:pt x="434" y="11"/>
                </a:cubicBezTo>
                <a:cubicBezTo>
                  <a:pt x="434" y="13"/>
                  <a:pt x="434" y="13"/>
                  <a:pt x="434" y="13"/>
                </a:cubicBezTo>
                <a:cubicBezTo>
                  <a:pt x="433" y="13"/>
                  <a:pt x="433" y="13"/>
                  <a:pt x="433" y="13"/>
                </a:cubicBezTo>
                <a:cubicBezTo>
                  <a:pt x="432" y="14"/>
                  <a:pt x="432" y="14"/>
                  <a:pt x="432" y="14"/>
                </a:cubicBezTo>
                <a:cubicBezTo>
                  <a:pt x="431" y="15"/>
                  <a:pt x="431" y="15"/>
                  <a:pt x="431" y="15"/>
                </a:cubicBezTo>
                <a:cubicBezTo>
                  <a:pt x="430" y="14"/>
                  <a:pt x="430" y="14"/>
                  <a:pt x="430" y="14"/>
                </a:cubicBezTo>
                <a:cubicBezTo>
                  <a:pt x="431" y="12"/>
                  <a:pt x="431" y="12"/>
                  <a:pt x="431" y="12"/>
                </a:cubicBezTo>
                <a:cubicBezTo>
                  <a:pt x="430" y="11"/>
                  <a:pt x="430" y="11"/>
                  <a:pt x="430" y="11"/>
                </a:cubicBezTo>
                <a:cubicBezTo>
                  <a:pt x="429" y="13"/>
                  <a:pt x="429" y="13"/>
                  <a:pt x="429" y="13"/>
                </a:cubicBezTo>
                <a:cubicBezTo>
                  <a:pt x="428" y="12"/>
                  <a:pt x="428" y="12"/>
                  <a:pt x="428" y="12"/>
                </a:cubicBezTo>
                <a:cubicBezTo>
                  <a:pt x="427" y="15"/>
                  <a:pt x="427" y="15"/>
                  <a:pt x="427" y="15"/>
                </a:cubicBezTo>
                <a:cubicBezTo>
                  <a:pt x="426" y="16"/>
                  <a:pt x="426" y="16"/>
                  <a:pt x="426" y="16"/>
                </a:cubicBezTo>
                <a:cubicBezTo>
                  <a:pt x="426" y="19"/>
                  <a:pt x="426" y="19"/>
                  <a:pt x="426" y="19"/>
                </a:cubicBezTo>
                <a:cubicBezTo>
                  <a:pt x="425" y="21"/>
                  <a:pt x="425" y="21"/>
                  <a:pt x="425" y="21"/>
                </a:cubicBezTo>
                <a:lnTo>
                  <a:pt x="425" y="23"/>
                </a:lnTo>
                <a:close/>
                <a:moveTo>
                  <a:pt x="693" y="77"/>
                </a:moveTo>
                <a:cubicBezTo>
                  <a:pt x="693" y="77"/>
                  <a:pt x="693" y="77"/>
                  <a:pt x="693" y="77"/>
                </a:cubicBezTo>
                <a:cubicBezTo>
                  <a:pt x="694" y="76"/>
                  <a:pt x="694" y="76"/>
                  <a:pt x="694" y="76"/>
                </a:cubicBezTo>
                <a:cubicBezTo>
                  <a:pt x="693" y="75"/>
                  <a:pt x="693" y="75"/>
                  <a:pt x="693" y="75"/>
                </a:cubicBezTo>
                <a:cubicBezTo>
                  <a:pt x="693" y="76"/>
                  <a:pt x="693" y="76"/>
                  <a:pt x="693" y="76"/>
                </a:cubicBezTo>
                <a:lnTo>
                  <a:pt x="693" y="77"/>
                </a:lnTo>
                <a:close/>
                <a:moveTo>
                  <a:pt x="684" y="96"/>
                </a:moveTo>
                <a:cubicBezTo>
                  <a:pt x="682" y="97"/>
                  <a:pt x="682" y="97"/>
                  <a:pt x="682" y="97"/>
                </a:cubicBezTo>
                <a:cubicBezTo>
                  <a:pt x="682" y="98"/>
                  <a:pt x="682" y="98"/>
                  <a:pt x="682" y="98"/>
                </a:cubicBezTo>
                <a:cubicBezTo>
                  <a:pt x="680" y="98"/>
                  <a:pt x="680" y="98"/>
                  <a:pt x="680" y="98"/>
                </a:cubicBezTo>
                <a:cubicBezTo>
                  <a:pt x="680" y="99"/>
                  <a:pt x="680" y="99"/>
                  <a:pt x="680" y="99"/>
                </a:cubicBezTo>
                <a:cubicBezTo>
                  <a:pt x="681" y="100"/>
                  <a:pt x="681" y="100"/>
                  <a:pt x="681" y="100"/>
                </a:cubicBezTo>
                <a:cubicBezTo>
                  <a:pt x="682" y="101"/>
                  <a:pt x="682" y="101"/>
                  <a:pt x="682" y="101"/>
                </a:cubicBezTo>
                <a:cubicBezTo>
                  <a:pt x="684" y="100"/>
                  <a:pt x="684" y="100"/>
                  <a:pt x="684" y="100"/>
                </a:cubicBezTo>
                <a:cubicBezTo>
                  <a:pt x="684" y="99"/>
                  <a:pt x="684" y="99"/>
                  <a:pt x="684" y="99"/>
                </a:cubicBezTo>
                <a:cubicBezTo>
                  <a:pt x="684" y="98"/>
                  <a:pt x="684" y="98"/>
                  <a:pt x="684" y="98"/>
                </a:cubicBezTo>
                <a:cubicBezTo>
                  <a:pt x="684" y="97"/>
                  <a:pt x="684" y="97"/>
                  <a:pt x="684" y="97"/>
                </a:cubicBezTo>
                <a:lnTo>
                  <a:pt x="684" y="96"/>
                </a:lnTo>
                <a:close/>
                <a:moveTo>
                  <a:pt x="706" y="93"/>
                </a:moveTo>
                <a:cubicBezTo>
                  <a:pt x="707" y="92"/>
                  <a:pt x="707" y="92"/>
                  <a:pt x="707" y="92"/>
                </a:cubicBezTo>
                <a:cubicBezTo>
                  <a:pt x="706" y="90"/>
                  <a:pt x="706" y="90"/>
                  <a:pt x="706" y="90"/>
                </a:cubicBezTo>
                <a:cubicBezTo>
                  <a:pt x="705" y="90"/>
                  <a:pt x="705" y="90"/>
                  <a:pt x="705" y="90"/>
                </a:cubicBezTo>
                <a:cubicBezTo>
                  <a:pt x="704" y="93"/>
                  <a:pt x="704" y="93"/>
                  <a:pt x="704" y="93"/>
                </a:cubicBezTo>
                <a:cubicBezTo>
                  <a:pt x="704" y="94"/>
                  <a:pt x="704" y="94"/>
                  <a:pt x="704" y="94"/>
                </a:cubicBezTo>
                <a:cubicBezTo>
                  <a:pt x="705" y="95"/>
                  <a:pt x="705" y="95"/>
                  <a:pt x="705" y="95"/>
                </a:cubicBezTo>
                <a:cubicBezTo>
                  <a:pt x="705" y="95"/>
                  <a:pt x="706" y="95"/>
                  <a:pt x="706" y="95"/>
                </a:cubicBezTo>
                <a:lnTo>
                  <a:pt x="706" y="93"/>
                </a:lnTo>
                <a:close/>
                <a:moveTo>
                  <a:pt x="620" y="117"/>
                </a:moveTo>
                <a:cubicBezTo>
                  <a:pt x="620" y="116"/>
                  <a:pt x="620" y="116"/>
                  <a:pt x="620" y="116"/>
                </a:cubicBezTo>
                <a:cubicBezTo>
                  <a:pt x="619" y="115"/>
                  <a:pt x="619" y="115"/>
                  <a:pt x="619" y="115"/>
                </a:cubicBezTo>
                <a:cubicBezTo>
                  <a:pt x="618" y="117"/>
                  <a:pt x="618" y="117"/>
                  <a:pt x="618" y="117"/>
                </a:cubicBezTo>
                <a:cubicBezTo>
                  <a:pt x="618" y="118"/>
                  <a:pt x="618" y="118"/>
                  <a:pt x="618" y="118"/>
                </a:cubicBezTo>
                <a:cubicBezTo>
                  <a:pt x="617" y="119"/>
                  <a:pt x="617" y="119"/>
                  <a:pt x="617" y="119"/>
                </a:cubicBezTo>
                <a:cubicBezTo>
                  <a:pt x="618" y="123"/>
                  <a:pt x="618" y="123"/>
                  <a:pt x="618" y="123"/>
                </a:cubicBezTo>
                <a:cubicBezTo>
                  <a:pt x="619" y="122"/>
                  <a:pt x="619" y="122"/>
                  <a:pt x="619" y="122"/>
                </a:cubicBezTo>
                <a:cubicBezTo>
                  <a:pt x="619" y="121"/>
                  <a:pt x="619" y="121"/>
                  <a:pt x="619" y="121"/>
                </a:cubicBezTo>
                <a:cubicBezTo>
                  <a:pt x="620" y="120"/>
                  <a:pt x="620" y="120"/>
                  <a:pt x="620" y="120"/>
                </a:cubicBezTo>
                <a:cubicBezTo>
                  <a:pt x="620" y="119"/>
                  <a:pt x="620" y="119"/>
                  <a:pt x="620" y="119"/>
                </a:cubicBezTo>
                <a:cubicBezTo>
                  <a:pt x="620" y="118"/>
                  <a:pt x="620" y="118"/>
                  <a:pt x="620" y="118"/>
                </a:cubicBezTo>
                <a:lnTo>
                  <a:pt x="620" y="117"/>
                </a:lnTo>
                <a:close/>
                <a:moveTo>
                  <a:pt x="623" y="94"/>
                </a:moveTo>
                <a:cubicBezTo>
                  <a:pt x="622" y="94"/>
                  <a:pt x="622" y="94"/>
                  <a:pt x="622" y="94"/>
                </a:cubicBezTo>
                <a:cubicBezTo>
                  <a:pt x="621" y="95"/>
                  <a:pt x="621" y="95"/>
                  <a:pt x="621" y="95"/>
                </a:cubicBezTo>
                <a:cubicBezTo>
                  <a:pt x="621" y="95"/>
                  <a:pt x="622" y="95"/>
                  <a:pt x="622" y="95"/>
                </a:cubicBezTo>
                <a:lnTo>
                  <a:pt x="623" y="94"/>
                </a:lnTo>
                <a:close/>
                <a:moveTo>
                  <a:pt x="623" y="110"/>
                </a:moveTo>
                <a:cubicBezTo>
                  <a:pt x="622" y="111"/>
                  <a:pt x="622" y="111"/>
                  <a:pt x="622" y="111"/>
                </a:cubicBezTo>
                <a:cubicBezTo>
                  <a:pt x="621" y="110"/>
                  <a:pt x="621" y="110"/>
                  <a:pt x="621" y="110"/>
                </a:cubicBezTo>
                <a:cubicBezTo>
                  <a:pt x="620" y="111"/>
                  <a:pt x="620" y="111"/>
                  <a:pt x="620" y="111"/>
                </a:cubicBezTo>
                <a:cubicBezTo>
                  <a:pt x="621" y="113"/>
                  <a:pt x="621" y="113"/>
                  <a:pt x="621" y="113"/>
                </a:cubicBezTo>
                <a:cubicBezTo>
                  <a:pt x="622" y="113"/>
                  <a:pt x="622" y="113"/>
                  <a:pt x="622" y="113"/>
                </a:cubicBezTo>
                <a:cubicBezTo>
                  <a:pt x="623" y="112"/>
                  <a:pt x="623" y="112"/>
                  <a:pt x="623" y="112"/>
                </a:cubicBezTo>
                <a:cubicBezTo>
                  <a:pt x="623" y="111"/>
                  <a:pt x="623" y="111"/>
                  <a:pt x="623" y="111"/>
                </a:cubicBezTo>
                <a:cubicBezTo>
                  <a:pt x="624" y="110"/>
                  <a:pt x="624" y="110"/>
                  <a:pt x="624" y="110"/>
                </a:cubicBezTo>
                <a:lnTo>
                  <a:pt x="623" y="110"/>
                </a:lnTo>
                <a:close/>
                <a:moveTo>
                  <a:pt x="98" y="89"/>
                </a:moveTo>
                <a:cubicBezTo>
                  <a:pt x="99" y="90"/>
                  <a:pt x="99" y="90"/>
                  <a:pt x="99" y="90"/>
                </a:cubicBezTo>
                <a:cubicBezTo>
                  <a:pt x="99" y="91"/>
                  <a:pt x="99" y="91"/>
                  <a:pt x="99" y="91"/>
                </a:cubicBezTo>
                <a:cubicBezTo>
                  <a:pt x="99" y="91"/>
                  <a:pt x="98" y="92"/>
                  <a:pt x="98" y="92"/>
                </a:cubicBezTo>
                <a:cubicBezTo>
                  <a:pt x="100" y="93"/>
                  <a:pt x="100" y="93"/>
                  <a:pt x="100" y="93"/>
                </a:cubicBezTo>
                <a:cubicBezTo>
                  <a:pt x="104" y="89"/>
                  <a:pt x="104" y="89"/>
                  <a:pt x="104" y="89"/>
                </a:cubicBezTo>
                <a:cubicBezTo>
                  <a:pt x="106" y="88"/>
                  <a:pt x="106" y="88"/>
                  <a:pt x="106" y="88"/>
                </a:cubicBezTo>
                <a:cubicBezTo>
                  <a:pt x="106" y="87"/>
                  <a:pt x="106" y="87"/>
                  <a:pt x="106" y="87"/>
                </a:cubicBezTo>
                <a:cubicBezTo>
                  <a:pt x="102" y="84"/>
                  <a:pt x="102" y="84"/>
                  <a:pt x="102" y="84"/>
                </a:cubicBezTo>
                <a:cubicBezTo>
                  <a:pt x="98" y="85"/>
                  <a:pt x="98" y="85"/>
                  <a:pt x="98" y="85"/>
                </a:cubicBezTo>
                <a:cubicBezTo>
                  <a:pt x="97" y="86"/>
                  <a:pt x="97" y="86"/>
                  <a:pt x="97" y="86"/>
                </a:cubicBezTo>
                <a:cubicBezTo>
                  <a:pt x="98" y="87"/>
                  <a:pt x="98" y="87"/>
                  <a:pt x="98" y="87"/>
                </a:cubicBezTo>
                <a:lnTo>
                  <a:pt x="98" y="89"/>
                </a:lnTo>
                <a:close/>
                <a:moveTo>
                  <a:pt x="806" y="1535"/>
                </a:moveTo>
                <a:cubicBezTo>
                  <a:pt x="806" y="1536"/>
                  <a:pt x="806" y="1536"/>
                  <a:pt x="806" y="1536"/>
                </a:cubicBezTo>
                <a:cubicBezTo>
                  <a:pt x="807" y="1536"/>
                  <a:pt x="807" y="1536"/>
                  <a:pt x="807" y="1536"/>
                </a:cubicBezTo>
                <a:cubicBezTo>
                  <a:pt x="809" y="1536"/>
                  <a:pt x="809" y="1536"/>
                  <a:pt x="809" y="1536"/>
                </a:cubicBezTo>
                <a:cubicBezTo>
                  <a:pt x="809" y="1535"/>
                  <a:pt x="809" y="1535"/>
                  <a:pt x="809" y="1535"/>
                </a:cubicBezTo>
                <a:cubicBezTo>
                  <a:pt x="808" y="1534"/>
                  <a:pt x="808" y="1534"/>
                  <a:pt x="808" y="1534"/>
                </a:cubicBezTo>
                <a:cubicBezTo>
                  <a:pt x="807" y="1534"/>
                  <a:pt x="807" y="1534"/>
                  <a:pt x="807" y="1534"/>
                </a:cubicBezTo>
                <a:lnTo>
                  <a:pt x="806" y="1535"/>
                </a:lnTo>
                <a:close/>
                <a:moveTo>
                  <a:pt x="812" y="1555"/>
                </a:moveTo>
                <a:cubicBezTo>
                  <a:pt x="811" y="1553"/>
                  <a:pt x="811" y="1553"/>
                  <a:pt x="811" y="1553"/>
                </a:cubicBezTo>
                <a:cubicBezTo>
                  <a:pt x="809" y="1553"/>
                  <a:pt x="809" y="1553"/>
                  <a:pt x="809" y="1553"/>
                </a:cubicBezTo>
                <a:cubicBezTo>
                  <a:pt x="809" y="1552"/>
                  <a:pt x="809" y="1552"/>
                  <a:pt x="809" y="1552"/>
                </a:cubicBezTo>
                <a:cubicBezTo>
                  <a:pt x="808" y="1553"/>
                  <a:pt x="808" y="1553"/>
                  <a:pt x="808" y="1553"/>
                </a:cubicBezTo>
                <a:cubicBezTo>
                  <a:pt x="810" y="1555"/>
                  <a:pt x="810" y="1555"/>
                  <a:pt x="810" y="1555"/>
                </a:cubicBezTo>
                <a:lnTo>
                  <a:pt x="812" y="1555"/>
                </a:lnTo>
                <a:close/>
                <a:moveTo>
                  <a:pt x="809" y="1543"/>
                </a:moveTo>
                <a:cubicBezTo>
                  <a:pt x="809" y="1542"/>
                  <a:pt x="809" y="1542"/>
                  <a:pt x="809" y="1542"/>
                </a:cubicBezTo>
                <a:cubicBezTo>
                  <a:pt x="812" y="1542"/>
                  <a:pt x="812" y="1542"/>
                  <a:pt x="812" y="1542"/>
                </a:cubicBezTo>
                <a:cubicBezTo>
                  <a:pt x="813" y="1541"/>
                  <a:pt x="813" y="1541"/>
                  <a:pt x="813" y="1541"/>
                </a:cubicBezTo>
                <a:cubicBezTo>
                  <a:pt x="808" y="1541"/>
                  <a:pt x="808" y="1541"/>
                  <a:pt x="808" y="1541"/>
                </a:cubicBezTo>
                <a:cubicBezTo>
                  <a:pt x="808" y="1542"/>
                  <a:pt x="808" y="1542"/>
                  <a:pt x="808" y="1542"/>
                </a:cubicBezTo>
                <a:cubicBezTo>
                  <a:pt x="808" y="1542"/>
                  <a:pt x="809" y="1543"/>
                  <a:pt x="809" y="1543"/>
                </a:cubicBezTo>
                <a:close/>
                <a:moveTo>
                  <a:pt x="813" y="1540"/>
                </a:moveTo>
                <a:cubicBezTo>
                  <a:pt x="815" y="1540"/>
                  <a:pt x="815" y="1540"/>
                  <a:pt x="815" y="1540"/>
                </a:cubicBezTo>
                <a:cubicBezTo>
                  <a:pt x="814" y="1538"/>
                  <a:pt x="814" y="1538"/>
                  <a:pt x="814" y="1538"/>
                </a:cubicBezTo>
                <a:lnTo>
                  <a:pt x="813" y="1540"/>
                </a:lnTo>
                <a:close/>
                <a:moveTo>
                  <a:pt x="802" y="1528"/>
                </a:moveTo>
                <a:cubicBezTo>
                  <a:pt x="803" y="1529"/>
                  <a:pt x="803" y="1529"/>
                  <a:pt x="803" y="1529"/>
                </a:cubicBezTo>
                <a:cubicBezTo>
                  <a:pt x="805" y="1528"/>
                  <a:pt x="805" y="1528"/>
                  <a:pt x="805" y="1528"/>
                </a:cubicBezTo>
                <a:cubicBezTo>
                  <a:pt x="804" y="1527"/>
                  <a:pt x="804" y="1527"/>
                  <a:pt x="804" y="1527"/>
                </a:cubicBezTo>
                <a:cubicBezTo>
                  <a:pt x="802" y="1527"/>
                  <a:pt x="802" y="1527"/>
                  <a:pt x="802" y="1527"/>
                </a:cubicBezTo>
                <a:lnTo>
                  <a:pt x="802" y="1528"/>
                </a:lnTo>
                <a:close/>
                <a:moveTo>
                  <a:pt x="811" y="1530"/>
                </a:moveTo>
                <a:cubicBezTo>
                  <a:pt x="813" y="1531"/>
                  <a:pt x="813" y="1531"/>
                  <a:pt x="813" y="1531"/>
                </a:cubicBezTo>
                <a:cubicBezTo>
                  <a:pt x="813" y="1533"/>
                  <a:pt x="813" y="1533"/>
                  <a:pt x="813" y="1533"/>
                </a:cubicBezTo>
                <a:cubicBezTo>
                  <a:pt x="814" y="1532"/>
                  <a:pt x="814" y="1532"/>
                  <a:pt x="814" y="1532"/>
                </a:cubicBezTo>
                <a:cubicBezTo>
                  <a:pt x="814" y="1530"/>
                  <a:pt x="814" y="1530"/>
                  <a:pt x="814" y="1530"/>
                </a:cubicBezTo>
                <a:cubicBezTo>
                  <a:pt x="813" y="1529"/>
                  <a:pt x="813" y="1529"/>
                  <a:pt x="813" y="1529"/>
                </a:cubicBezTo>
                <a:lnTo>
                  <a:pt x="811" y="1530"/>
                </a:lnTo>
                <a:close/>
                <a:moveTo>
                  <a:pt x="808" y="1529"/>
                </a:moveTo>
                <a:cubicBezTo>
                  <a:pt x="809" y="1530"/>
                  <a:pt x="809" y="1530"/>
                  <a:pt x="809" y="1530"/>
                </a:cubicBezTo>
                <a:cubicBezTo>
                  <a:pt x="811" y="1529"/>
                  <a:pt x="811" y="1529"/>
                  <a:pt x="811" y="1529"/>
                </a:cubicBezTo>
                <a:cubicBezTo>
                  <a:pt x="808" y="1528"/>
                  <a:pt x="808" y="1528"/>
                  <a:pt x="808" y="1528"/>
                </a:cubicBezTo>
                <a:lnTo>
                  <a:pt x="808" y="1529"/>
                </a:lnTo>
                <a:close/>
                <a:moveTo>
                  <a:pt x="813" y="1544"/>
                </a:moveTo>
                <a:cubicBezTo>
                  <a:pt x="811" y="1545"/>
                  <a:pt x="811" y="1545"/>
                  <a:pt x="811" y="1545"/>
                </a:cubicBezTo>
                <a:cubicBezTo>
                  <a:pt x="809" y="1545"/>
                  <a:pt x="809" y="1545"/>
                  <a:pt x="809" y="1545"/>
                </a:cubicBezTo>
                <a:cubicBezTo>
                  <a:pt x="810" y="1546"/>
                  <a:pt x="810" y="1546"/>
                  <a:pt x="810" y="1546"/>
                </a:cubicBezTo>
                <a:cubicBezTo>
                  <a:pt x="813" y="1546"/>
                  <a:pt x="813" y="1546"/>
                  <a:pt x="813" y="1546"/>
                </a:cubicBezTo>
                <a:lnTo>
                  <a:pt x="813" y="1544"/>
                </a:lnTo>
                <a:close/>
                <a:moveTo>
                  <a:pt x="811" y="1550"/>
                </a:moveTo>
                <a:cubicBezTo>
                  <a:pt x="810" y="1550"/>
                  <a:pt x="810" y="1550"/>
                  <a:pt x="810" y="1550"/>
                </a:cubicBezTo>
                <a:cubicBezTo>
                  <a:pt x="811" y="1552"/>
                  <a:pt x="811" y="1552"/>
                  <a:pt x="811" y="1552"/>
                </a:cubicBezTo>
                <a:lnTo>
                  <a:pt x="811" y="1550"/>
                </a:lnTo>
                <a:close/>
                <a:moveTo>
                  <a:pt x="813" y="1539"/>
                </a:moveTo>
                <a:cubicBezTo>
                  <a:pt x="813" y="1536"/>
                  <a:pt x="813" y="1536"/>
                  <a:pt x="813" y="1536"/>
                </a:cubicBezTo>
                <a:cubicBezTo>
                  <a:pt x="811" y="1537"/>
                  <a:pt x="811" y="1537"/>
                  <a:pt x="811" y="1537"/>
                </a:cubicBezTo>
                <a:lnTo>
                  <a:pt x="813" y="1539"/>
                </a:lnTo>
                <a:close/>
                <a:moveTo>
                  <a:pt x="827" y="845"/>
                </a:moveTo>
                <a:cubicBezTo>
                  <a:pt x="826" y="844"/>
                  <a:pt x="826" y="844"/>
                  <a:pt x="826" y="844"/>
                </a:cubicBezTo>
                <a:cubicBezTo>
                  <a:pt x="825" y="844"/>
                  <a:pt x="825" y="844"/>
                  <a:pt x="825" y="844"/>
                </a:cubicBezTo>
                <a:cubicBezTo>
                  <a:pt x="826" y="846"/>
                  <a:pt x="826" y="846"/>
                  <a:pt x="826" y="846"/>
                </a:cubicBezTo>
                <a:cubicBezTo>
                  <a:pt x="827" y="846"/>
                  <a:pt x="827" y="846"/>
                  <a:pt x="827" y="846"/>
                </a:cubicBezTo>
                <a:cubicBezTo>
                  <a:pt x="828" y="845"/>
                  <a:pt x="828" y="845"/>
                  <a:pt x="828" y="845"/>
                </a:cubicBezTo>
                <a:lnTo>
                  <a:pt x="827" y="845"/>
                </a:lnTo>
                <a:close/>
                <a:moveTo>
                  <a:pt x="803" y="1540"/>
                </a:moveTo>
                <a:cubicBezTo>
                  <a:pt x="804" y="1541"/>
                  <a:pt x="804" y="1541"/>
                  <a:pt x="804" y="1541"/>
                </a:cubicBezTo>
                <a:cubicBezTo>
                  <a:pt x="805" y="1540"/>
                  <a:pt x="805" y="1540"/>
                  <a:pt x="805" y="1540"/>
                </a:cubicBezTo>
                <a:cubicBezTo>
                  <a:pt x="804" y="1539"/>
                  <a:pt x="804" y="1539"/>
                  <a:pt x="804" y="1539"/>
                </a:cubicBezTo>
                <a:lnTo>
                  <a:pt x="803" y="1540"/>
                </a:lnTo>
                <a:close/>
                <a:moveTo>
                  <a:pt x="705" y="1064"/>
                </a:moveTo>
                <a:cubicBezTo>
                  <a:pt x="703" y="1065"/>
                  <a:pt x="703" y="1065"/>
                  <a:pt x="703" y="1065"/>
                </a:cubicBezTo>
                <a:cubicBezTo>
                  <a:pt x="702" y="1067"/>
                  <a:pt x="702" y="1067"/>
                  <a:pt x="702" y="1067"/>
                </a:cubicBezTo>
                <a:cubicBezTo>
                  <a:pt x="702" y="1068"/>
                  <a:pt x="702" y="1068"/>
                  <a:pt x="702" y="1068"/>
                </a:cubicBezTo>
                <a:cubicBezTo>
                  <a:pt x="703" y="1069"/>
                  <a:pt x="703" y="1069"/>
                  <a:pt x="703" y="1069"/>
                </a:cubicBezTo>
                <a:cubicBezTo>
                  <a:pt x="704" y="1068"/>
                  <a:pt x="704" y="1068"/>
                  <a:pt x="704" y="1068"/>
                </a:cubicBezTo>
                <a:cubicBezTo>
                  <a:pt x="705" y="1067"/>
                  <a:pt x="705" y="1067"/>
                  <a:pt x="705" y="1067"/>
                </a:cubicBezTo>
                <a:cubicBezTo>
                  <a:pt x="705" y="1066"/>
                  <a:pt x="705" y="1066"/>
                  <a:pt x="705" y="1066"/>
                </a:cubicBezTo>
                <a:cubicBezTo>
                  <a:pt x="705" y="1064"/>
                  <a:pt x="705" y="1064"/>
                  <a:pt x="705" y="1064"/>
                </a:cubicBezTo>
                <a:close/>
                <a:moveTo>
                  <a:pt x="83" y="191"/>
                </a:moveTo>
                <a:cubicBezTo>
                  <a:pt x="81" y="191"/>
                  <a:pt x="81" y="191"/>
                  <a:pt x="81" y="191"/>
                </a:cubicBezTo>
                <a:cubicBezTo>
                  <a:pt x="82" y="192"/>
                  <a:pt x="82" y="192"/>
                  <a:pt x="82" y="192"/>
                </a:cubicBezTo>
                <a:cubicBezTo>
                  <a:pt x="83" y="192"/>
                  <a:pt x="83" y="192"/>
                  <a:pt x="83" y="192"/>
                </a:cubicBezTo>
                <a:lnTo>
                  <a:pt x="83" y="191"/>
                </a:lnTo>
                <a:close/>
                <a:moveTo>
                  <a:pt x="175" y="174"/>
                </a:moveTo>
                <a:cubicBezTo>
                  <a:pt x="174" y="174"/>
                  <a:pt x="174" y="174"/>
                  <a:pt x="174" y="174"/>
                </a:cubicBezTo>
                <a:cubicBezTo>
                  <a:pt x="171" y="177"/>
                  <a:pt x="171" y="177"/>
                  <a:pt x="171" y="177"/>
                </a:cubicBezTo>
                <a:cubicBezTo>
                  <a:pt x="173" y="177"/>
                  <a:pt x="173" y="177"/>
                  <a:pt x="173" y="177"/>
                </a:cubicBezTo>
                <a:cubicBezTo>
                  <a:pt x="175" y="175"/>
                  <a:pt x="175" y="175"/>
                  <a:pt x="175" y="175"/>
                </a:cubicBezTo>
                <a:lnTo>
                  <a:pt x="175" y="174"/>
                </a:lnTo>
                <a:close/>
                <a:moveTo>
                  <a:pt x="79" y="192"/>
                </a:moveTo>
                <a:cubicBezTo>
                  <a:pt x="81" y="189"/>
                  <a:pt x="81" y="189"/>
                  <a:pt x="81" y="189"/>
                </a:cubicBezTo>
                <a:cubicBezTo>
                  <a:pt x="81" y="188"/>
                  <a:pt x="81" y="188"/>
                  <a:pt x="81" y="188"/>
                </a:cubicBezTo>
                <a:cubicBezTo>
                  <a:pt x="79" y="189"/>
                  <a:pt x="79" y="189"/>
                  <a:pt x="79" y="189"/>
                </a:cubicBezTo>
                <a:cubicBezTo>
                  <a:pt x="77" y="191"/>
                  <a:pt x="77" y="191"/>
                  <a:pt x="77" y="191"/>
                </a:cubicBezTo>
                <a:cubicBezTo>
                  <a:pt x="77" y="193"/>
                  <a:pt x="77" y="193"/>
                  <a:pt x="77" y="193"/>
                </a:cubicBezTo>
                <a:cubicBezTo>
                  <a:pt x="78" y="193"/>
                  <a:pt x="78" y="193"/>
                  <a:pt x="78" y="193"/>
                </a:cubicBezTo>
                <a:lnTo>
                  <a:pt x="79" y="192"/>
                </a:lnTo>
                <a:close/>
                <a:moveTo>
                  <a:pt x="800" y="1542"/>
                </a:moveTo>
                <a:cubicBezTo>
                  <a:pt x="802" y="1543"/>
                  <a:pt x="802" y="1543"/>
                  <a:pt x="802" y="1543"/>
                </a:cubicBezTo>
                <a:cubicBezTo>
                  <a:pt x="803" y="1542"/>
                  <a:pt x="803" y="1542"/>
                  <a:pt x="803" y="1542"/>
                </a:cubicBezTo>
                <a:cubicBezTo>
                  <a:pt x="802" y="1541"/>
                  <a:pt x="802" y="1541"/>
                  <a:pt x="802" y="1541"/>
                </a:cubicBezTo>
                <a:cubicBezTo>
                  <a:pt x="800" y="1541"/>
                  <a:pt x="800" y="1541"/>
                  <a:pt x="800" y="1541"/>
                </a:cubicBezTo>
                <a:lnTo>
                  <a:pt x="800" y="1542"/>
                </a:lnTo>
                <a:close/>
                <a:moveTo>
                  <a:pt x="1007" y="490"/>
                </a:moveTo>
                <a:cubicBezTo>
                  <a:pt x="1007" y="491"/>
                  <a:pt x="1007" y="491"/>
                  <a:pt x="1007" y="491"/>
                </a:cubicBezTo>
                <a:cubicBezTo>
                  <a:pt x="1008" y="491"/>
                  <a:pt x="1008" y="491"/>
                  <a:pt x="1008" y="491"/>
                </a:cubicBezTo>
                <a:cubicBezTo>
                  <a:pt x="1010" y="491"/>
                  <a:pt x="1010" y="491"/>
                  <a:pt x="1010" y="491"/>
                </a:cubicBezTo>
                <a:cubicBezTo>
                  <a:pt x="1010" y="491"/>
                  <a:pt x="1010" y="491"/>
                  <a:pt x="1010" y="491"/>
                </a:cubicBezTo>
                <a:cubicBezTo>
                  <a:pt x="1008" y="490"/>
                  <a:pt x="1008" y="490"/>
                  <a:pt x="1008" y="490"/>
                </a:cubicBezTo>
                <a:lnTo>
                  <a:pt x="1007" y="490"/>
                </a:lnTo>
                <a:close/>
                <a:moveTo>
                  <a:pt x="121" y="82"/>
                </a:moveTo>
                <a:cubicBezTo>
                  <a:pt x="122" y="80"/>
                  <a:pt x="122" y="80"/>
                  <a:pt x="122" y="80"/>
                </a:cubicBezTo>
                <a:cubicBezTo>
                  <a:pt x="121" y="79"/>
                  <a:pt x="121" y="79"/>
                  <a:pt x="121" y="79"/>
                </a:cubicBezTo>
                <a:cubicBezTo>
                  <a:pt x="119" y="79"/>
                  <a:pt x="119" y="79"/>
                  <a:pt x="119" y="79"/>
                </a:cubicBezTo>
                <a:cubicBezTo>
                  <a:pt x="118" y="79"/>
                  <a:pt x="118" y="79"/>
                  <a:pt x="118" y="79"/>
                </a:cubicBezTo>
                <a:cubicBezTo>
                  <a:pt x="120" y="82"/>
                  <a:pt x="120" y="82"/>
                  <a:pt x="120" y="82"/>
                </a:cubicBezTo>
                <a:lnTo>
                  <a:pt x="121" y="82"/>
                </a:lnTo>
                <a:close/>
                <a:moveTo>
                  <a:pt x="92" y="96"/>
                </a:moveTo>
                <a:cubicBezTo>
                  <a:pt x="94" y="97"/>
                  <a:pt x="94" y="97"/>
                  <a:pt x="94" y="97"/>
                </a:cubicBezTo>
                <a:cubicBezTo>
                  <a:pt x="94" y="98"/>
                  <a:pt x="94" y="98"/>
                  <a:pt x="94" y="98"/>
                </a:cubicBezTo>
                <a:cubicBezTo>
                  <a:pt x="95" y="99"/>
                  <a:pt x="95" y="99"/>
                  <a:pt x="95" y="99"/>
                </a:cubicBezTo>
                <a:cubicBezTo>
                  <a:pt x="96" y="95"/>
                  <a:pt x="96" y="95"/>
                  <a:pt x="96" y="95"/>
                </a:cubicBezTo>
                <a:cubicBezTo>
                  <a:pt x="97" y="92"/>
                  <a:pt x="97" y="92"/>
                  <a:pt x="97" y="92"/>
                </a:cubicBezTo>
                <a:cubicBezTo>
                  <a:pt x="97" y="88"/>
                  <a:pt x="97" y="88"/>
                  <a:pt x="97" y="88"/>
                </a:cubicBezTo>
                <a:cubicBezTo>
                  <a:pt x="96" y="87"/>
                  <a:pt x="96" y="87"/>
                  <a:pt x="96" y="87"/>
                </a:cubicBezTo>
                <a:cubicBezTo>
                  <a:pt x="93" y="89"/>
                  <a:pt x="93" y="89"/>
                  <a:pt x="93" y="89"/>
                </a:cubicBezTo>
                <a:cubicBezTo>
                  <a:pt x="88" y="94"/>
                  <a:pt x="88" y="94"/>
                  <a:pt x="88" y="94"/>
                </a:cubicBezTo>
                <a:cubicBezTo>
                  <a:pt x="88" y="95"/>
                  <a:pt x="88" y="95"/>
                  <a:pt x="88" y="95"/>
                </a:cubicBezTo>
                <a:cubicBezTo>
                  <a:pt x="90" y="97"/>
                  <a:pt x="90" y="97"/>
                  <a:pt x="90" y="97"/>
                </a:cubicBezTo>
                <a:lnTo>
                  <a:pt x="92" y="96"/>
                </a:lnTo>
                <a:close/>
                <a:moveTo>
                  <a:pt x="806" y="1555"/>
                </a:moveTo>
                <a:cubicBezTo>
                  <a:pt x="807" y="1555"/>
                  <a:pt x="807" y="1555"/>
                  <a:pt x="807" y="1555"/>
                </a:cubicBezTo>
                <a:cubicBezTo>
                  <a:pt x="807" y="1553"/>
                  <a:pt x="807" y="1553"/>
                  <a:pt x="807" y="1553"/>
                </a:cubicBezTo>
                <a:cubicBezTo>
                  <a:pt x="806" y="1553"/>
                  <a:pt x="806" y="1553"/>
                  <a:pt x="806" y="1553"/>
                </a:cubicBezTo>
                <a:lnTo>
                  <a:pt x="806" y="1555"/>
                </a:lnTo>
                <a:close/>
                <a:moveTo>
                  <a:pt x="411" y="772"/>
                </a:moveTo>
                <a:cubicBezTo>
                  <a:pt x="412" y="773"/>
                  <a:pt x="412" y="773"/>
                  <a:pt x="412" y="773"/>
                </a:cubicBezTo>
                <a:cubicBezTo>
                  <a:pt x="412" y="771"/>
                  <a:pt x="412" y="771"/>
                  <a:pt x="412" y="771"/>
                </a:cubicBezTo>
                <a:cubicBezTo>
                  <a:pt x="411" y="771"/>
                  <a:pt x="411" y="771"/>
                  <a:pt x="411" y="771"/>
                </a:cubicBezTo>
                <a:lnTo>
                  <a:pt x="411" y="772"/>
                </a:lnTo>
                <a:close/>
                <a:moveTo>
                  <a:pt x="331" y="373"/>
                </a:moveTo>
                <a:cubicBezTo>
                  <a:pt x="334" y="370"/>
                  <a:pt x="334" y="370"/>
                  <a:pt x="334" y="370"/>
                </a:cubicBezTo>
                <a:cubicBezTo>
                  <a:pt x="335" y="369"/>
                  <a:pt x="335" y="369"/>
                  <a:pt x="335" y="369"/>
                </a:cubicBezTo>
                <a:cubicBezTo>
                  <a:pt x="332" y="370"/>
                  <a:pt x="332" y="370"/>
                  <a:pt x="332" y="370"/>
                </a:cubicBezTo>
                <a:cubicBezTo>
                  <a:pt x="331" y="372"/>
                  <a:pt x="331" y="372"/>
                  <a:pt x="331" y="372"/>
                </a:cubicBezTo>
                <a:cubicBezTo>
                  <a:pt x="329" y="372"/>
                  <a:pt x="329" y="372"/>
                  <a:pt x="329" y="372"/>
                </a:cubicBezTo>
                <a:cubicBezTo>
                  <a:pt x="327" y="375"/>
                  <a:pt x="327" y="375"/>
                  <a:pt x="327" y="375"/>
                </a:cubicBezTo>
                <a:cubicBezTo>
                  <a:pt x="328" y="375"/>
                  <a:pt x="328" y="375"/>
                  <a:pt x="328" y="375"/>
                </a:cubicBezTo>
                <a:cubicBezTo>
                  <a:pt x="330" y="373"/>
                  <a:pt x="330" y="373"/>
                  <a:pt x="330" y="373"/>
                </a:cubicBezTo>
                <a:lnTo>
                  <a:pt x="331" y="373"/>
                </a:lnTo>
                <a:close/>
                <a:moveTo>
                  <a:pt x="358" y="440"/>
                </a:moveTo>
                <a:cubicBezTo>
                  <a:pt x="357" y="440"/>
                  <a:pt x="357" y="440"/>
                  <a:pt x="357" y="440"/>
                </a:cubicBezTo>
                <a:cubicBezTo>
                  <a:pt x="355" y="441"/>
                  <a:pt x="355" y="441"/>
                  <a:pt x="355" y="441"/>
                </a:cubicBezTo>
                <a:cubicBezTo>
                  <a:pt x="355" y="444"/>
                  <a:pt x="355" y="444"/>
                  <a:pt x="355" y="444"/>
                </a:cubicBezTo>
                <a:cubicBezTo>
                  <a:pt x="357" y="447"/>
                  <a:pt x="357" y="447"/>
                  <a:pt x="357" y="447"/>
                </a:cubicBezTo>
                <a:cubicBezTo>
                  <a:pt x="358" y="446"/>
                  <a:pt x="358" y="446"/>
                  <a:pt x="358" y="446"/>
                </a:cubicBezTo>
                <a:cubicBezTo>
                  <a:pt x="356" y="443"/>
                  <a:pt x="356" y="443"/>
                  <a:pt x="356" y="443"/>
                </a:cubicBezTo>
                <a:cubicBezTo>
                  <a:pt x="357" y="441"/>
                  <a:pt x="357" y="441"/>
                  <a:pt x="357" y="441"/>
                </a:cubicBezTo>
                <a:lnTo>
                  <a:pt x="358" y="440"/>
                </a:lnTo>
                <a:close/>
                <a:moveTo>
                  <a:pt x="408" y="764"/>
                </a:moveTo>
                <a:cubicBezTo>
                  <a:pt x="409" y="765"/>
                  <a:pt x="409" y="765"/>
                  <a:pt x="409" y="765"/>
                </a:cubicBezTo>
                <a:cubicBezTo>
                  <a:pt x="409" y="767"/>
                  <a:pt x="409" y="767"/>
                  <a:pt x="409" y="767"/>
                </a:cubicBezTo>
                <a:cubicBezTo>
                  <a:pt x="410" y="766"/>
                  <a:pt x="410" y="766"/>
                  <a:pt x="410" y="766"/>
                </a:cubicBezTo>
                <a:cubicBezTo>
                  <a:pt x="410" y="765"/>
                  <a:pt x="410" y="765"/>
                  <a:pt x="410" y="765"/>
                </a:cubicBezTo>
                <a:cubicBezTo>
                  <a:pt x="409" y="763"/>
                  <a:pt x="409" y="763"/>
                  <a:pt x="409" y="763"/>
                </a:cubicBezTo>
                <a:lnTo>
                  <a:pt x="408" y="764"/>
                </a:lnTo>
                <a:close/>
                <a:moveTo>
                  <a:pt x="810" y="1534"/>
                </a:moveTo>
                <a:cubicBezTo>
                  <a:pt x="810" y="1533"/>
                  <a:pt x="810" y="1533"/>
                  <a:pt x="810" y="1533"/>
                </a:cubicBezTo>
                <a:cubicBezTo>
                  <a:pt x="809" y="1532"/>
                  <a:pt x="809" y="1532"/>
                  <a:pt x="809" y="1532"/>
                </a:cubicBezTo>
                <a:cubicBezTo>
                  <a:pt x="809" y="1533"/>
                  <a:pt x="809" y="1533"/>
                  <a:pt x="809" y="1533"/>
                </a:cubicBezTo>
                <a:lnTo>
                  <a:pt x="810" y="1534"/>
                </a:lnTo>
                <a:close/>
                <a:moveTo>
                  <a:pt x="818" y="576"/>
                </a:moveTo>
                <a:cubicBezTo>
                  <a:pt x="818" y="576"/>
                  <a:pt x="818" y="576"/>
                  <a:pt x="818" y="576"/>
                </a:cubicBezTo>
                <a:cubicBezTo>
                  <a:pt x="815" y="577"/>
                  <a:pt x="815" y="577"/>
                  <a:pt x="815" y="577"/>
                </a:cubicBezTo>
                <a:cubicBezTo>
                  <a:pt x="812" y="577"/>
                  <a:pt x="812" y="577"/>
                  <a:pt x="812" y="577"/>
                </a:cubicBezTo>
                <a:cubicBezTo>
                  <a:pt x="809" y="578"/>
                  <a:pt x="809" y="578"/>
                  <a:pt x="809" y="578"/>
                </a:cubicBezTo>
                <a:cubicBezTo>
                  <a:pt x="807" y="578"/>
                  <a:pt x="807" y="578"/>
                  <a:pt x="807" y="578"/>
                </a:cubicBezTo>
                <a:cubicBezTo>
                  <a:pt x="804" y="579"/>
                  <a:pt x="804" y="579"/>
                  <a:pt x="804" y="579"/>
                </a:cubicBezTo>
                <a:cubicBezTo>
                  <a:pt x="802" y="579"/>
                  <a:pt x="802" y="579"/>
                  <a:pt x="802" y="579"/>
                </a:cubicBezTo>
                <a:cubicBezTo>
                  <a:pt x="801" y="581"/>
                  <a:pt x="801" y="581"/>
                  <a:pt x="801" y="581"/>
                </a:cubicBezTo>
                <a:cubicBezTo>
                  <a:pt x="801" y="581"/>
                  <a:pt x="801" y="581"/>
                  <a:pt x="801" y="581"/>
                </a:cubicBezTo>
                <a:cubicBezTo>
                  <a:pt x="802" y="582"/>
                  <a:pt x="802" y="582"/>
                  <a:pt x="802" y="582"/>
                </a:cubicBezTo>
                <a:cubicBezTo>
                  <a:pt x="802" y="582"/>
                  <a:pt x="802" y="582"/>
                  <a:pt x="802" y="582"/>
                </a:cubicBezTo>
                <a:cubicBezTo>
                  <a:pt x="803" y="582"/>
                  <a:pt x="803" y="582"/>
                  <a:pt x="803" y="582"/>
                </a:cubicBezTo>
                <a:cubicBezTo>
                  <a:pt x="804" y="581"/>
                  <a:pt x="804" y="581"/>
                  <a:pt x="804" y="581"/>
                </a:cubicBezTo>
                <a:cubicBezTo>
                  <a:pt x="806" y="581"/>
                  <a:pt x="806" y="581"/>
                  <a:pt x="806" y="581"/>
                </a:cubicBezTo>
                <a:cubicBezTo>
                  <a:pt x="808" y="580"/>
                  <a:pt x="808" y="580"/>
                  <a:pt x="808" y="580"/>
                </a:cubicBezTo>
                <a:cubicBezTo>
                  <a:pt x="811" y="580"/>
                  <a:pt x="811" y="580"/>
                  <a:pt x="811" y="580"/>
                </a:cubicBezTo>
                <a:cubicBezTo>
                  <a:pt x="813" y="580"/>
                  <a:pt x="813" y="580"/>
                  <a:pt x="813" y="580"/>
                </a:cubicBezTo>
                <a:cubicBezTo>
                  <a:pt x="816" y="580"/>
                  <a:pt x="816" y="580"/>
                  <a:pt x="816" y="580"/>
                </a:cubicBezTo>
                <a:cubicBezTo>
                  <a:pt x="816" y="579"/>
                  <a:pt x="816" y="579"/>
                  <a:pt x="816" y="579"/>
                </a:cubicBezTo>
                <a:cubicBezTo>
                  <a:pt x="817" y="579"/>
                  <a:pt x="817" y="579"/>
                  <a:pt x="817" y="579"/>
                </a:cubicBezTo>
                <a:cubicBezTo>
                  <a:pt x="820" y="578"/>
                  <a:pt x="820" y="578"/>
                  <a:pt x="820" y="578"/>
                </a:cubicBezTo>
                <a:cubicBezTo>
                  <a:pt x="821" y="577"/>
                  <a:pt x="821" y="577"/>
                  <a:pt x="821" y="577"/>
                </a:cubicBezTo>
                <a:cubicBezTo>
                  <a:pt x="819" y="578"/>
                  <a:pt x="819" y="578"/>
                  <a:pt x="819" y="578"/>
                </a:cubicBezTo>
                <a:cubicBezTo>
                  <a:pt x="818" y="577"/>
                  <a:pt x="818" y="577"/>
                  <a:pt x="818" y="577"/>
                </a:cubicBezTo>
                <a:cubicBezTo>
                  <a:pt x="816" y="578"/>
                  <a:pt x="816" y="578"/>
                  <a:pt x="816" y="578"/>
                </a:cubicBezTo>
                <a:cubicBezTo>
                  <a:pt x="817" y="577"/>
                  <a:pt x="817" y="577"/>
                  <a:pt x="817" y="577"/>
                </a:cubicBezTo>
                <a:lnTo>
                  <a:pt x="818" y="576"/>
                </a:lnTo>
                <a:close/>
                <a:moveTo>
                  <a:pt x="788" y="825"/>
                </a:moveTo>
                <a:cubicBezTo>
                  <a:pt x="785" y="823"/>
                  <a:pt x="785" y="823"/>
                  <a:pt x="785" y="823"/>
                </a:cubicBezTo>
                <a:cubicBezTo>
                  <a:pt x="783" y="824"/>
                  <a:pt x="783" y="824"/>
                  <a:pt x="783" y="824"/>
                </a:cubicBezTo>
                <a:cubicBezTo>
                  <a:pt x="785" y="825"/>
                  <a:pt x="785" y="825"/>
                  <a:pt x="785" y="825"/>
                </a:cubicBezTo>
                <a:lnTo>
                  <a:pt x="788" y="825"/>
                </a:lnTo>
                <a:close/>
                <a:moveTo>
                  <a:pt x="783" y="838"/>
                </a:moveTo>
                <a:cubicBezTo>
                  <a:pt x="783" y="837"/>
                  <a:pt x="783" y="837"/>
                  <a:pt x="783" y="837"/>
                </a:cubicBezTo>
                <a:cubicBezTo>
                  <a:pt x="781" y="835"/>
                  <a:pt x="781" y="835"/>
                  <a:pt x="781" y="835"/>
                </a:cubicBezTo>
                <a:cubicBezTo>
                  <a:pt x="779" y="836"/>
                  <a:pt x="779" y="836"/>
                  <a:pt x="779" y="836"/>
                </a:cubicBezTo>
                <a:cubicBezTo>
                  <a:pt x="781" y="837"/>
                  <a:pt x="781" y="837"/>
                  <a:pt x="781" y="837"/>
                </a:cubicBezTo>
                <a:lnTo>
                  <a:pt x="783" y="838"/>
                </a:lnTo>
                <a:close/>
                <a:moveTo>
                  <a:pt x="745" y="844"/>
                </a:moveTo>
                <a:cubicBezTo>
                  <a:pt x="743" y="841"/>
                  <a:pt x="743" y="841"/>
                  <a:pt x="743" y="841"/>
                </a:cubicBezTo>
                <a:cubicBezTo>
                  <a:pt x="736" y="841"/>
                  <a:pt x="736" y="841"/>
                  <a:pt x="736" y="841"/>
                </a:cubicBezTo>
                <a:cubicBezTo>
                  <a:pt x="732" y="842"/>
                  <a:pt x="732" y="842"/>
                  <a:pt x="732" y="842"/>
                </a:cubicBezTo>
                <a:cubicBezTo>
                  <a:pt x="730" y="841"/>
                  <a:pt x="730" y="841"/>
                  <a:pt x="730" y="841"/>
                </a:cubicBezTo>
                <a:cubicBezTo>
                  <a:pt x="728" y="842"/>
                  <a:pt x="728" y="842"/>
                  <a:pt x="728" y="842"/>
                </a:cubicBezTo>
                <a:cubicBezTo>
                  <a:pt x="727" y="843"/>
                  <a:pt x="727" y="843"/>
                  <a:pt x="727" y="843"/>
                </a:cubicBezTo>
                <a:cubicBezTo>
                  <a:pt x="729" y="845"/>
                  <a:pt x="729" y="845"/>
                  <a:pt x="729" y="845"/>
                </a:cubicBezTo>
                <a:cubicBezTo>
                  <a:pt x="730" y="844"/>
                  <a:pt x="730" y="844"/>
                  <a:pt x="730" y="844"/>
                </a:cubicBezTo>
                <a:cubicBezTo>
                  <a:pt x="731" y="845"/>
                  <a:pt x="731" y="845"/>
                  <a:pt x="731" y="845"/>
                </a:cubicBezTo>
                <a:cubicBezTo>
                  <a:pt x="732" y="848"/>
                  <a:pt x="732" y="848"/>
                  <a:pt x="732" y="848"/>
                </a:cubicBezTo>
                <a:cubicBezTo>
                  <a:pt x="734" y="849"/>
                  <a:pt x="734" y="849"/>
                  <a:pt x="734" y="849"/>
                </a:cubicBezTo>
                <a:cubicBezTo>
                  <a:pt x="736" y="849"/>
                  <a:pt x="736" y="849"/>
                  <a:pt x="736" y="849"/>
                </a:cubicBezTo>
                <a:cubicBezTo>
                  <a:pt x="738" y="850"/>
                  <a:pt x="738" y="850"/>
                  <a:pt x="738" y="850"/>
                </a:cubicBezTo>
                <a:cubicBezTo>
                  <a:pt x="740" y="850"/>
                  <a:pt x="740" y="850"/>
                  <a:pt x="740" y="850"/>
                </a:cubicBezTo>
                <a:cubicBezTo>
                  <a:pt x="740" y="848"/>
                  <a:pt x="740" y="848"/>
                  <a:pt x="740" y="848"/>
                </a:cubicBezTo>
                <a:cubicBezTo>
                  <a:pt x="742" y="848"/>
                  <a:pt x="742" y="848"/>
                  <a:pt x="742" y="848"/>
                </a:cubicBezTo>
                <a:cubicBezTo>
                  <a:pt x="743" y="849"/>
                  <a:pt x="743" y="849"/>
                  <a:pt x="743" y="849"/>
                </a:cubicBezTo>
                <a:cubicBezTo>
                  <a:pt x="744" y="849"/>
                  <a:pt x="744" y="849"/>
                  <a:pt x="744" y="849"/>
                </a:cubicBezTo>
                <a:cubicBezTo>
                  <a:pt x="745" y="847"/>
                  <a:pt x="745" y="847"/>
                  <a:pt x="745" y="847"/>
                </a:cubicBezTo>
                <a:cubicBezTo>
                  <a:pt x="746" y="848"/>
                  <a:pt x="746" y="848"/>
                  <a:pt x="746" y="848"/>
                </a:cubicBezTo>
                <a:cubicBezTo>
                  <a:pt x="749" y="848"/>
                  <a:pt x="749" y="848"/>
                  <a:pt x="749" y="848"/>
                </a:cubicBezTo>
                <a:cubicBezTo>
                  <a:pt x="750" y="847"/>
                  <a:pt x="750" y="847"/>
                  <a:pt x="750" y="847"/>
                </a:cubicBezTo>
                <a:cubicBezTo>
                  <a:pt x="748" y="845"/>
                  <a:pt x="748" y="845"/>
                  <a:pt x="748" y="845"/>
                </a:cubicBezTo>
                <a:lnTo>
                  <a:pt x="745" y="844"/>
                </a:lnTo>
                <a:close/>
                <a:moveTo>
                  <a:pt x="548" y="740"/>
                </a:moveTo>
                <a:cubicBezTo>
                  <a:pt x="549" y="737"/>
                  <a:pt x="549" y="737"/>
                  <a:pt x="549" y="737"/>
                </a:cubicBezTo>
                <a:cubicBezTo>
                  <a:pt x="549" y="736"/>
                  <a:pt x="549" y="736"/>
                  <a:pt x="549" y="736"/>
                </a:cubicBezTo>
                <a:cubicBezTo>
                  <a:pt x="547" y="740"/>
                  <a:pt x="547" y="740"/>
                  <a:pt x="547" y="740"/>
                </a:cubicBezTo>
                <a:lnTo>
                  <a:pt x="548" y="740"/>
                </a:lnTo>
                <a:close/>
                <a:moveTo>
                  <a:pt x="549" y="735"/>
                </a:moveTo>
                <a:cubicBezTo>
                  <a:pt x="550" y="734"/>
                  <a:pt x="550" y="734"/>
                  <a:pt x="550" y="734"/>
                </a:cubicBezTo>
                <a:cubicBezTo>
                  <a:pt x="552" y="732"/>
                  <a:pt x="552" y="732"/>
                  <a:pt x="552" y="732"/>
                </a:cubicBezTo>
                <a:cubicBezTo>
                  <a:pt x="554" y="730"/>
                  <a:pt x="554" y="730"/>
                  <a:pt x="554" y="730"/>
                </a:cubicBezTo>
                <a:cubicBezTo>
                  <a:pt x="552" y="731"/>
                  <a:pt x="552" y="731"/>
                  <a:pt x="552" y="731"/>
                </a:cubicBezTo>
                <a:lnTo>
                  <a:pt x="549" y="735"/>
                </a:lnTo>
                <a:close/>
                <a:moveTo>
                  <a:pt x="830" y="840"/>
                </a:moveTo>
                <a:cubicBezTo>
                  <a:pt x="829" y="839"/>
                  <a:pt x="829" y="839"/>
                  <a:pt x="829" y="839"/>
                </a:cubicBezTo>
                <a:cubicBezTo>
                  <a:pt x="825" y="836"/>
                  <a:pt x="825" y="836"/>
                  <a:pt x="825" y="836"/>
                </a:cubicBezTo>
                <a:cubicBezTo>
                  <a:pt x="823" y="836"/>
                  <a:pt x="823" y="836"/>
                  <a:pt x="823" y="836"/>
                </a:cubicBezTo>
                <a:cubicBezTo>
                  <a:pt x="821" y="835"/>
                  <a:pt x="821" y="835"/>
                  <a:pt x="821" y="835"/>
                </a:cubicBezTo>
                <a:cubicBezTo>
                  <a:pt x="819" y="835"/>
                  <a:pt x="819" y="835"/>
                  <a:pt x="819" y="835"/>
                </a:cubicBezTo>
                <a:cubicBezTo>
                  <a:pt x="816" y="834"/>
                  <a:pt x="816" y="834"/>
                  <a:pt x="816" y="834"/>
                </a:cubicBezTo>
                <a:cubicBezTo>
                  <a:pt x="814" y="832"/>
                  <a:pt x="814" y="832"/>
                  <a:pt x="814" y="832"/>
                </a:cubicBezTo>
                <a:cubicBezTo>
                  <a:pt x="812" y="832"/>
                  <a:pt x="812" y="832"/>
                  <a:pt x="812" y="832"/>
                </a:cubicBezTo>
                <a:cubicBezTo>
                  <a:pt x="813" y="832"/>
                  <a:pt x="813" y="832"/>
                  <a:pt x="813" y="832"/>
                </a:cubicBezTo>
                <a:cubicBezTo>
                  <a:pt x="816" y="833"/>
                  <a:pt x="816" y="833"/>
                  <a:pt x="816" y="833"/>
                </a:cubicBezTo>
                <a:cubicBezTo>
                  <a:pt x="820" y="833"/>
                  <a:pt x="820" y="833"/>
                  <a:pt x="820" y="833"/>
                </a:cubicBezTo>
                <a:cubicBezTo>
                  <a:pt x="822" y="833"/>
                  <a:pt x="822" y="833"/>
                  <a:pt x="822" y="833"/>
                </a:cubicBezTo>
                <a:cubicBezTo>
                  <a:pt x="821" y="832"/>
                  <a:pt x="821" y="832"/>
                  <a:pt x="821" y="832"/>
                </a:cubicBezTo>
                <a:cubicBezTo>
                  <a:pt x="819" y="832"/>
                  <a:pt x="819" y="832"/>
                  <a:pt x="819" y="832"/>
                </a:cubicBezTo>
                <a:cubicBezTo>
                  <a:pt x="816" y="831"/>
                  <a:pt x="816" y="831"/>
                  <a:pt x="816" y="831"/>
                </a:cubicBezTo>
                <a:cubicBezTo>
                  <a:pt x="815" y="828"/>
                  <a:pt x="815" y="828"/>
                  <a:pt x="815" y="828"/>
                </a:cubicBezTo>
                <a:cubicBezTo>
                  <a:pt x="813" y="828"/>
                  <a:pt x="813" y="828"/>
                  <a:pt x="813" y="828"/>
                </a:cubicBezTo>
                <a:cubicBezTo>
                  <a:pt x="812" y="828"/>
                  <a:pt x="812" y="828"/>
                  <a:pt x="812" y="828"/>
                </a:cubicBezTo>
                <a:cubicBezTo>
                  <a:pt x="811" y="827"/>
                  <a:pt x="811" y="827"/>
                  <a:pt x="811" y="827"/>
                </a:cubicBezTo>
                <a:cubicBezTo>
                  <a:pt x="802" y="826"/>
                  <a:pt x="802" y="826"/>
                  <a:pt x="802" y="826"/>
                </a:cubicBezTo>
                <a:cubicBezTo>
                  <a:pt x="801" y="826"/>
                  <a:pt x="801" y="826"/>
                  <a:pt x="801" y="826"/>
                </a:cubicBezTo>
                <a:cubicBezTo>
                  <a:pt x="799" y="826"/>
                  <a:pt x="799" y="826"/>
                  <a:pt x="799" y="826"/>
                </a:cubicBezTo>
                <a:cubicBezTo>
                  <a:pt x="796" y="826"/>
                  <a:pt x="796" y="826"/>
                  <a:pt x="796" y="826"/>
                </a:cubicBezTo>
                <a:cubicBezTo>
                  <a:pt x="795" y="828"/>
                  <a:pt x="795" y="828"/>
                  <a:pt x="795" y="828"/>
                </a:cubicBezTo>
                <a:cubicBezTo>
                  <a:pt x="795" y="828"/>
                  <a:pt x="795" y="828"/>
                  <a:pt x="795" y="828"/>
                </a:cubicBezTo>
                <a:cubicBezTo>
                  <a:pt x="793" y="828"/>
                  <a:pt x="793" y="828"/>
                  <a:pt x="793" y="828"/>
                </a:cubicBezTo>
                <a:cubicBezTo>
                  <a:pt x="791" y="828"/>
                  <a:pt x="791" y="828"/>
                  <a:pt x="791" y="828"/>
                </a:cubicBezTo>
                <a:cubicBezTo>
                  <a:pt x="789" y="826"/>
                  <a:pt x="789" y="826"/>
                  <a:pt x="789" y="826"/>
                </a:cubicBezTo>
                <a:cubicBezTo>
                  <a:pt x="785" y="826"/>
                  <a:pt x="785" y="826"/>
                  <a:pt x="785" y="826"/>
                </a:cubicBezTo>
                <a:cubicBezTo>
                  <a:pt x="784" y="827"/>
                  <a:pt x="784" y="827"/>
                  <a:pt x="784" y="827"/>
                </a:cubicBezTo>
                <a:cubicBezTo>
                  <a:pt x="782" y="826"/>
                  <a:pt x="782" y="826"/>
                  <a:pt x="782" y="826"/>
                </a:cubicBezTo>
                <a:cubicBezTo>
                  <a:pt x="778" y="826"/>
                  <a:pt x="778" y="826"/>
                  <a:pt x="778" y="826"/>
                </a:cubicBezTo>
                <a:cubicBezTo>
                  <a:pt x="778" y="827"/>
                  <a:pt x="778" y="827"/>
                  <a:pt x="778" y="827"/>
                </a:cubicBezTo>
                <a:cubicBezTo>
                  <a:pt x="778" y="827"/>
                  <a:pt x="780" y="828"/>
                  <a:pt x="780" y="828"/>
                </a:cubicBezTo>
                <a:cubicBezTo>
                  <a:pt x="785" y="830"/>
                  <a:pt x="785" y="830"/>
                  <a:pt x="785" y="830"/>
                </a:cubicBezTo>
                <a:cubicBezTo>
                  <a:pt x="785" y="831"/>
                  <a:pt x="785" y="831"/>
                  <a:pt x="785" y="831"/>
                </a:cubicBezTo>
                <a:cubicBezTo>
                  <a:pt x="785" y="833"/>
                  <a:pt x="785" y="833"/>
                  <a:pt x="785" y="833"/>
                </a:cubicBezTo>
                <a:cubicBezTo>
                  <a:pt x="785" y="835"/>
                  <a:pt x="785" y="835"/>
                  <a:pt x="785" y="835"/>
                </a:cubicBezTo>
                <a:cubicBezTo>
                  <a:pt x="786" y="837"/>
                  <a:pt x="786" y="837"/>
                  <a:pt x="786" y="837"/>
                </a:cubicBezTo>
                <a:cubicBezTo>
                  <a:pt x="788" y="838"/>
                  <a:pt x="788" y="838"/>
                  <a:pt x="788" y="838"/>
                </a:cubicBezTo>
                <a:cubicBezTo>
                  <a:pt x="790" y="839"/>
                  <a:pt x="790" y="839"/>
                  <a:pt x="790" y="839"/>
                </a:cubicBezTo>
                <a:cubicBezTo>
                  <a:pt x="789" y="841"/>
                  <a:pt x="789" y="841"/>
                  <a:pt x="789" y="841"/>
                </a:cubicBezTo>
                <a:cubicBezTo>
                  <a:pt x="785" y="841"/>
                  <a:pt x="785" y="841"/>
                  <a:pt x="785" y="841"/>
                </a:cubicBezTo>
                <a:cubicBezTo>
                  <a:pt x="784" y="841"/>
                  <a:pt x="784" y="841"/>
                  <a:pt x="784" y="841"/>
                </a:cubicBezTo>
                <a:cubicBezTo>
                  <a:pt x="782" y="841"/>
                  <a:pt x="782" y="841"/>
                  <a:pt x="782" y="841"/>
                </a:cubicBezTo>
                <a:cubicBezTo>
                  <a:pt x="780" y="841"/>
                  <a:pt x="780" y="841"/>
                  <a:pt x="780" y="841"/>
                </a:cubicBezTo>
                <a:cubicBezTo>
                  <a:pt x="778" y="840"/>
                  <a:pt x="778" y="840"/>
                  <a:pt x="778" y="840"/>
                </a:cubicBezTo>
                <a:cubicBezTo>
                  <a:pt x="775" y="841"/>
                  <a:pt x="775" y="841"/>
                  <a:pt x="775" y="841"/>
                </a:cubicBezTo>
                <a:cubicBezTo>
                  <a:pt x="775" y="840"/>
                  <a:pt x="775" y="840"/>
                  <a:pt x="775" y="840"/>
                </a:cubicBezTo>
                <a:cubicBezTo>
                  <a:pt x="774" y="840"/>
                  <a:pt x="774" y="840"/>
                  <a:pt x="774" y="840"/>
                </a:cubicBezTo>
                <a:cubicBezTo>
                  <a:pt x="771" y="840"/>
                  <a:pt x="771" y="840"/>
                  <a:pt x="771" y="840"/>
                </a:cubicBezTo>
                <a:cubicBezTo>
                  <a:pt x="770" y="839"/>
                  <a:pt x="770" y="839"/>
                  <a:pt x="770" y="839"/>
                </a:cubicBezTo>
                <a:cubicBezTo>
                  <a:pt x="768" y="840"/>
                  <a:pt x="768" y="840"/>
                  <a:pt x="768" y="840"/>
                </a:cubicBezTo>
                <a:cubicBezTo>
                  <a:pt x="767" y="841"/>
                  <a:pt x="767" y="841"/>
                  <a:pt x="767" y="841"/>
                </a:cubicBezTo>
                <a:cubicBezTo>
                  <a:pt x="767" y="843"/>
                  <a:pt x="767" y="843"/>
                  <a:pt x="767" y="843"/>
                </a:cubicBezTo>
                <a:cubicBezTo>
                  <a:pt x="770" y="843"/>
                  <a:pt x="770" y="843"/>
                  <a:pt x="770" y="843"/>
                </a:cubicBezTo>
                <a:cubicBezTo>
                  <a:pt x="772" y="846"/>
                  <a:pt x="772" y="846"/>
                  <a:pt x="772" y="846"/>
                </a:cubicBezTo>
                <a:cubicBezTo>
                  <a:pt x="773" y="846"/>
                  <a:pt x="773" y="846"/>
                  <a:pt x="773" y="846"/>
                </a:cubicBezTo>
                <a:cubicBezTo>
                  <a:pt x="774" y="845"/>
                  <a:pt x="774" y="845"/>
                  <a:pt x="774" y="845"/>
                </a:cubicBezTo>
                <a:cubicBezTo>
                  <a:pt x="775" y="844"/>
                  <a:pt x="775" y="844"/>
                  <a:pt x="775" y="844"/>
                </a:cubicBezTo>
                <a:cubicBezTo>
                  <a:pt x="779" y="844"/>
                  <a:pt x="779" y="844"/>
                  <a:pt x="779" y="844"/>
                </a:cubicBezTo>
                <a:cubicBezTo>
                  <a:pt x="781" y="845"/>
                  <a:pt x="781" y="845"/>
                  <a:pt x="781" y="845"/>
                </a:cubicBezTo>
                <a:cubicBezTo>
                  <a:pt x="787" y="845"/>
                  <a:pt x="787" y="845"/>
                  <a:pt x="787" y="845"/>
                </a:cubicBezTo>
                <a:cubicBezTo>
                  <a:pt x="788" y="844"/>
                  <a:pt x="788" y="844"/>
                  <a:pt x="788" y="844"/>
                </a:cubicBezTo>
                <a:cubicBezTo>
                  <a:pt x="789" y="845"/>
                  <a:pt x="789" y="845"/>
                  <a:pt x="789" y="845"/>
                </a:cubicBezTo>
                <a:cubicBezTo>
                  <a:pt x="791" y="845"/>
                  <a:pt x="791" y="845"/>
                  <a:pt x="791" y="845"/>
                </a:cubicBezTo>
                <a:cubicBezTo>
                  <a:pt x="792" y="845"/>
                  <a:pt x="792" y="845"/>
                  <a:pt x="792" y="845"/>
                </a:cubicBezTo>
                <a:cubicBezTo>
                  <a:pt x="793" y="848"/>
                  <a:pt x="793" y="848"/>
                  <a:pt x="793" y="848"/>
                </a:cubicBezTo>
                <a:cubicBezTo>
                  <a:pt x="792" y="849"/>
                  <a:pt x="792" y="849"/>
                  <a:pt x="792" y="849"/>
                </a:cubicBezTo>
                <a:cubicBezTo>
                  <a:pt x="794" y="850"/>
                  <a:pt x="794" y="850"/>
                  <a:pt x="794" y="850"/>
                </a:cubicBezTo>
                <a:cubicBezTo>
                  <a:pt x="795" y="851"/>
                  <a:pt x="795" y="851"/>
                  <a:pt x="795" y="851"/>
                </a:cubicBezTo>
                <a:cubicBezTo>
                  <a:pt x="796" y="852"/>
                  <a:pt x="796" y="852"/>
                  <a:pt x="796" y="852"/>
                </a:cubicBezTo>
                <a:cubicBezTo>
                  <a:pt x="797" y="849"/>
                  <a:pt x="797" y="849"/>
                  <a:pt x="797" y="849"/>
                </a:cubicBezTo>
                <a:cubicBezTo>
                  <a:pt x="800" y="845"/>
                  <a:pt x="800" y="845"/>
                  <a:pt x="800" y="845"/>
                </a:cubicBezTo>
                <a:cubicBezTo>
                  <a:pt x="799" y="844"/>
                  <a:pt x="799" y="844"/>
                  <a:pt x="799" y="844"/>
                </a:cubicBezTo>
                <a:cubicBezTo>
                  <a:pt x="800" y="843"/>
                  <a:pt x="800" y="843"/>
                  <a:pt x="800" y="843"/>
                </a:cubicBezTo>
                <a:cubicBezTo>
                  <a:pt x="802" y="844"/>
                  <a:pt x="802" y="844"/>
                  <a:pt x="802" y="844"/>
                </a:cubicBezTo>
                <a:cubicBezTo>
                  <a:pt x="803" y="844"/>
                  <a:pt x="803" y="844"/>
                  <a:pt x="803" y="844"/>
                </a:cubicBezTo>
                <a:cubicBezTo>
                  <a:pt x="804" y="842"/>
                  <a:pt x="804" y="842"/>
                  <a:pt x="804" y="842"/>
                </a:cubicBezTo>
                <a:cubicBezTo>
                  <a:pt x="806" y="842"/>
                  <a:pt x="806" y="842"/>
                  <a:pt x="806" y="842"/>
                </a:cubicBezTo>
                <a:cubicBezTo>
                  <a:pt x="806" y="844"/>
                  <a:pt x="806" y="844"/>
                  <a:pt x="806" y="844"/>
                </a:cubicBezTo>
                <a:cubicBezTo>
                  <a:pt x="807" y="845"/>
                  <a:pt x="807" y="845"/>
                  <a:pt x="807" y="845"/>
                </a:cubicBezTo>
                <a:cubicBezTo>
                  <a:pt x="810" y="844"/>
                  <a:pt x="810" y="844"/>
                  <a:pt x="810" y="844"/>
                </a:cubicBezTo>
                <a:cubicBezTo>
                  <a:pt x="812" y="842"/>
                  <a:pt x="812" y="842"/>
                  <a:pt x="812" y="842"/>
                </a:cubicBezTo>
                <a:cubicBezTo>
                  <a:pt x="815" y="841"/>
                  <a:pt x="815" y="841"/>
                  <a:pt x="815" y="841"/>
                </a:cubicBezTo>
                <a:cubicBezTo>
                  <a:pt x="818" y="842"/>
                  <a:pt x="818" y="842"/>
                  <a:pt x="818" y="842"/>
                </a:cubicBezTo>
                <a:cubicBezTo>
                  <a:pt x="820" y="841"/>
                  <a:pt x="820" y="841"/>
                  <a:pt x="820" y="841"/>
                </a:cubicBezTo>
                <a:cubicBezTo>
                  <a:pt x="822" y="842"/>
                  <a:pt x="822" y="842"/>
                  <a:pt x="822" y="842"/>
                </a:cubicBezTo>
                <a:cubicBezTo>
                  <a:pt x="824" y="842"/>
                  <a:pt x="824" y="842"/>
                  <a:pt x="824" y="842"/>
                </a:cubicBezTo>
                <a:cubicBezTo>
                  <a:pt x="827" y="843"/>
                  <a:pt x="827" y="843"/>
                  <a:pt x="827" y="843"/>
                </a:cubicBezTo>
                <a:cubicBezTo>
                  <a:pt x="828" y="842"/>
                  <a:pt x="828" y="842"/>
                  <a:pt x="828" y="842"/>
                </a:cubicBezTo>
                <a:cubicBezTo>
                  <a:pt x="829" y="842"/>
                  <a:pt x="829" y="842"/>
                  <a:pt x="829" y="842"/>
                </a:cubicBezTo>
                <a:lnTo>
                  <a:pt x="830" y="840"/>
                </a:lnTo>
                <a:close/>
                <a:moveTo>
                  <a:pt x="824" y="906"/>
                </a:moveTo>
                <a:cubicBezTo>
                  <a:pt x="825" y="908"/>
                  <a:pt x="825" y="908"/>
                  <a:pt x="825" y="908"/>
                </a:cubicBezTo>
                <a:cubicBezTo>
                  <a:pt x="826" y="908"/>
                  <a:pt x="826" y="908"/>
                  <a:pt x="826" y="908"/>
                </a:cubicBezTo>
                <a:cubicBezTo>
                  <a:pt x="828" y="910"/>
                  <a:pt x="828" y="910"/>
                  <a:pt x="828" y="910"/>
                </a:cubicBezTo>
                <a:cubicBezTo>
                  <a:pt x="828" y="908"/>
                  <a:pt x="828" y="908"/>
                  <a:pt x="828" y="908"/>
                </a:cubicBezTo>
                <a:cubicBezTo>
                  <a:pt x="826" y="906"/>
                  <a:pt x="826" y="906"/>
                  <a:pt x="826" y="906"/>
                </a:cubicBezTo>
                <a:lnTo>
                  <a:pt x="824" y="906"/>
                </a:lnTo>
                <a:close/>
                <a:moveTo>
                  <a:pt x="547" y="741"/>
                </a:moveTo>
                <a:cubicBezTo>
                  <a:pt x="545" y="746"/>
                  <a:pt x="545" y="746"/>
                  <a:pt x="545" y="746"/>
                </a:cubicBezTo>
                <a:cubicBezTo>
                  <a:pt x="545" y="750"/>
                  <a:pt x="545" y="750"/>
                  <a:pt x="545" y="750"/>
                </a:cubicBezTo>
                <a:cubicBezTo>
                  <a:pt x="545" y="750"/>
                  <a:pt x="546" y="753"/>
                  <a:pt x="546" y="754"/>
                </a:cubicBezTo>
                <a:cubicBezTo>
                  <a:pt x="545" y="750"/>
                  <a:pt x="545" y="750"/>
                  <a:pt x="545" y="750"/>
                </a:cubicBezTo>
                <a:cubicBezTo>
                  <a:pt x="546" y="746"/>
                  <a:pt x="546" y="746"/>
                  <a:pt x="546" y="746"/>
                </a:cubicBezTo>
                <a:lnTo>
                  <a:pt x="547" y="741"/>
                </a:lnTo>
                <a:close/>
                <a:moveTo>
                  <a:pt x="808" y="903"/>
                </a:moveTo>
                <a:cubicBezTo>
                  <a:pt x="809" y="905"/>
                  <a:pt x="809" y="905"/>
                  <a:pt x="809" y="905"/>
                </a:cubicBezTo>
                <a:cubicBezTo>
                  <a:pt x="811" y="905"/>
                  <a:pt x="811" y="905"/>
                  <a:pt x="811" y="905"/>
                </a:cubicBezTo>
                <a:cubicBezTo>
                  <a:pt x="809" y="904"/>
                  <a:pt x="809" y="904"/>
                  <a:pt x="809" y="904"/>
                </a:cubicBezTo>
                <a:lnTo>
                  <a:pt x="808" y="903"/>
                </a:lnTo>
                <a:close/>
                <a:moveTo>
                  <a:pt x="817" y="906"/>
                </a:moveTo>
                <a:cubicBezTo>
                  <a:pt x="817" y="907"/>
                  <a:pt x="817" y="907"/>
                  <a:pt x="817" y="907"/>
                </a:cubicBezTo>
                <a:cubicBezTo>
                  <a:pt x="818" y="909"/>
                  <a:pt x="818" y="909"/>
                  <a:pt x="818" y="909"/>
                </a:cubicBezTo>
                <a:cubicBezTo>
                  <a:pt x="820" y="909"/>
                  <a:pt x="820" y="909"/>
                  <a:pt x="820" y="909"/>
                </a:cubicBezTo>
                <a:cubicBezTo>
                  <a:pt x="821" y="908"/>
                  <a:pt x="821" y="908"/>
                  <a:pt x="821" y="908"/>
                </a:cubicBezTo>
                <a:cubicBezTo>
                  <a:pt x="819" y="908"/>
                  <a:pt x="819" y="908"/>
                  <a:pt x="819" y="908"/>
                </a:cubicBezTo>
                <a:lnTo>
                  <a:pt x="817" y="906"/>
                </a:lnTo>
                <a:close/>
                <a:moveTo>
                  <a:pt x="809" y="1539"/>
                </a:moveTo>
                <a:cubicBezTo>
                  <a:pt x="808" y="1537"/>
                  <a:pt x="808" y="1537"/>
                  <a:pt x="808" y="1537"/>
                </a:cubicBezTo>
                <a:cubicBezTo>
                  <a:pt x="806" y="1537"/>
                  <a:pt x="806" y="1537"/>
                  <a:pt x="806" y="1537"/>
                </a:cubicBezTo>
                <a:cubicBezTo>
                  <a:pt x="807" y="1538"/>
                  <a:pt x="807" y="1538"/>
                  <a:pt x="807" y="1538"/>
                </a:cubicBezTo>
                <a:cubicBezTo>
                  <a:pt x="806" y="1540"/>
                  <a:pt x="806" y="1540"/>
                  <a:pt x="806" y="1540"/>
                </a:cubicBezTo>
                <a:cubicBezTo>
                  <a:pt x="808" y="1539"/>
                  <a:pt x="808" y="1539"/>
                  <a:pt x="808" y="1539"/>
                </a:cubicBezTo>
                <a:lnTo>
                  <a:pt x="809" y="1539"/>
                </a:lnTo>
                <a:close/>
                <a:moveTo>
                  <a:pt x="755" y="827"/>
                </a:moveTo>
                <a:cubicBezTo>
                  <a:pt x="760" y="826"/>
                  <a:pt x="760" y="826"/>
                  <a:pt x="760" y="826"/>
                </a:cubicBezTo>
                <a:cubicBezTo>
                  <a:pt x="761" y="825"/>
                  <a:pt x="761" y="825"/>
                  <a:pt x="761" y="825"/>
                </a:cubicBezTo>
                <a:cubicBezTo>
                  <a:pt x="762" y="825"/>
                  <a:pt x="762" y="825"/>
                  <a:pt x="762" y="825"/>
                </a:cubicBezTo>
                <a:cubicBezTo>
                  <a:pt x="763" y="824"/>
                  <a:pt x="763" y="824"/>
                  <a:pt x="763" y="824"/>
                </a:cubicBezTo>
                <a:cubicBezTo>
                  <a:pt x="767" y="825"/>
                  <a:pt x="767" y="825"/>
                  <a:pt x="767" y="825"/>
                </a:cubicBezTo>
                <a:cubicBezTo>
                  <a:pt x="769" y="824"/>
                  <a:pt x="769" y="824"/>
                  <a:pt x="769" y="824"/>
                </a:cubicBezTo>
                <a:cubicBezTo>
                  <a:pt x="771" y="822"/>
                  <a:pt x="771" y="822"/>
                  <a:pt x="771" y="822"/>
                </a:cubicBezTo>
                <a:cubicBezTo>
                  <a:pt x="770" y="821"/>
                  <a:pt x="770" y="821"/>
                  <a:pt x="770" y="821"/>
                </a:cubicBezTo>
                <a:cubicBezTo>
                  <a:pt x="768" y="821"/>
                  <a:pt x="768" y="821"/>
                  <a:pt x="768" y="821"/>
                </a:cubicBezTo>
                <a:cubicBezTo>
                  <a:pt x="767" y="818"/>
                  <a:pt x="767" y="818"/>
                  <a:pt x="767" y="818"/>
                </a:cubicBezTo>
                <a:cubicBezTo>
                  <a:pt x="762" y="816"/>
                  <a:pt x="762" y="816"/>
                  <a:pt x="762" y="816"/>
                </a:cubicBezTo>
                <a:cubicBezTo>
                  <a:pt x="757" y="816"/>
                  <a:pt x="757" y="816"/>
                  <a:pt x="757" y="816"/>
                </a:cubicBezTo>
                <a:cubicBezTo>
                  <a:pt x="756" y="816"/>
                  <a:pt x="756" y="816"/>
                  <a:pt x="756" y="816"/>
                </a:cubicBezTo>
                <a:cubicBezTo>
                  <a:pt x="757" y="815"/>
                  <a:pt x="757" y="815"/>
                  <a:pt x="757" y="815"/>
                </a:cubicBezTo>
                <a:cubicBezTo>
                  <a:pt x="757" y="812"/>
                  <a:pt x="757" y="812"/>
                  <a:pt x="757" y="812"/>
                </a:cubicBezTo>
                <a:cubicBezTo>
                  <a:pt x="756" y="812"/>
                  <a:pt x="756" y="812"/>
                  <a:pt x="756" y="812"/>
                </a:cubicBezTo>
                <a:cubicBezTo>
                  <a:pt x="754" y="812"/>
                  <a:pt x="754" y="812"/>
                  <a:pt x="754" y="812"/>
                </a:cubicBezTo>
                <a:cubicBezTo>
                  <a:pt x="753" y="812"/>
                  <a:pt x="753" y="812"/>
                  <a:pt x="753" y="812"/>
                </a:cubicBezTo>
                <a:cubicBezTo>
                  <a:pt x="749" y="809"/>
                  <a:pt x="749" y="809"/>
                  <a:pt x="749" y="809"/>
                </a:cubicBezTo>
                <a:cubicBezTo>
                  <a:pt x="748" y="810"/>
                  <a:pt x="748" y="810"/>
                  <a:pt x="748" y="810"/>
                </a:cubicBezTo>
                <a:cubicBezTo>
                  <a:pt x="746" y="809"/>
                  <a:pt x="746" y="809"/>
                  <a:pt x="746" y="809"/>
                </a:cubicBezTo>
                <a:cubicBezTo>
                  <a:pt x="744" y="807"/>
                  <a:pt x="744" y="807"/>
                  <a:pt x="744" y="807"/>
                </a:cubicBezTo>
                <a:cubicBezTo>
                  <a:pt x="742" y="809"/>
                  <a:pt x="742" y="809"/>
                  <a:pt x="742" y="809"/>
                </a:cubicBezTo>
                <a:cubicBezTo>
                  <a:pt x="741" y="808"/>
                  <a:pt x="741" y="808"/>
                  <a:pt x="741" y="808"/>
                </a:cubicBezTo>
                <a:cubicBezTo>
                  <a:pt x="742" y="806"/>
                  <a:pt x="742" y="806"/>
                  <a:pt x="742" y="806"/>
                </a:cubicBezTo>
                <a:cubicBezTo>
                  <a:pt x="740" y="806"/>
                  <a:pt x="740" y="806"/>
                  <a:pt x="740" y="806"/>
                </a:cubicBezTo>
                <a:cubicBezTo>
                  <a:pt x="740" y="807"/>
                  <a:pt x="740" y="807"/>
                  <a:pt x="740" y="807"/>
                </a:cubicBezTo>
                <a:cubicBezTo>
                  <a:pt x="739" y="806"/>
                  <a:pt x="739" y="806"/>
                  <a:pt x="739" y="806"/>
                </a:cubicBezTo>
                <a:cubicBezTo>
                  <a:pt x="735" y="805"/>
                  <a:pt x="735" y="805"/>
                  <a:pt x="735" y="805"/>
                </a:cubicBezTo>
                <a:cubicBezTo>
                  <a:pt x="732" y="803"/>
                  <a:pt x="732" y="803"/>
                  <a:pt x="732" y="803"/>
                </a:cubicBezTo>
                <a:cubicBezTo>
                  <a:pt x="730" y="801"/>
                  <a:pt x="730" y="801"/>
                  <a:pt x="730" y="801"/>
                </a:cubicBezTo>
                <a:cubicBezTo>
                  <a:pt x="727" y="799"/>
                  <a:pt x="727" y="799"/>
                  <a:pt x="727" y="799"/>
                </a:cubicBezTo>
                <a:cubicBezTo>
                  <a:pt x="722" y="799"/>
                  <a:pt x="722" y="799"/>
                  <a:pt x="722" y="799"/>
                </a:cubicBezTo>
                <a:cubicBezTo>
                  <a:pt x="720" y="798"/>
                  <a:pt x="720" y="798"/>
                  <a:pt x="720" y="798"/>
                </a:cubicBezTo>
                <a:cubicBezTo>
                  <a:pt x="719" y="796"/>
                  <a:pt x="719" y="796"/>
                  <a:pt x="719" y="796"/>
                </a:cubicBezTo>
                <a:cubicBezTo>
                  <a:pt x="717" y="793"/>
                  <a:pt x="717" y="793"/>
                  <a:pt x="717" y="793"/>
                </a:cubicBezTo>
                <a:cubicBezTo>
                  <a:pt x="715" y="794"/>
                  <a:pt x="715" y="794"/>
                  <a:pt x="715" y="794"/>
                </a:cubicBezTo>
                <a:cubicBezTo>
                  <a:pt x="714" y="793"/>
                  <a:pt x="714" y="793"/>
                  <a:pt x="714" y="793"/>
                </a:cubicBezTo>
                <a:cubicBezTo>
                  <a:pt x="706" y="791"/>
                  <a:pt x="706" y="791"/>
                  <a:pt x="706" y="791"/>
                </a:cubicBezTo>
                <a:cubicBezTo>
                  <a:pt x="704" y="792"/>
                  <a:pt x="704" y="792"/>
                  <a:pt x="704" y="792"/>
                </a:cubicBezTo>
                <a:cubicBezTo>
                  <a:pt x="701" y="792"/>
                  <a:pt x="701" y="792"/>
                  <a:pt x="701" y="792"/>
                </a:cubicBezTo>
                <a:cubicBezTo>
                  <a:pt x="699" y="790"/>
                  <a:pt x="699" y="790"/>
                  <a:pt x="699" y="790"/>
                </a:cubicBezTo>
                <a:cubicBezTo>
                  <a:pt x="694" y="789"/>
                  <a:pt x="694" y="789"/>
                  <a:pt x="694" y="789"/>
                </a:cubicBezTo>
                <a:cubicBezTo>
                  <a:pt x="690" y="789"/>
                  <a:pt x="690" y="789"/>
                  <a:pt x="690" y="789"/>
                </a:cubicBezTo>
                <a:cubicBezTo>
                  <a:pt x="688" y="791"/>
                  <a:pt x="688" y="791"/>
                  <a:pt x="688" y="791"/>
                </a:cubicBezTo>
                <a:cubicBezTo>
                  <a:pt x="683" y="791"/>
                  <a:pt x="683" y="791"/>
                  <a:pt x="683" y="791"/>
                </a:cubicBezTo>
                <a:cubicBezTo>
                  <a:pt x="678" y="792"/>
                  <a:pt x="678" y="792"/>
                  <a:pt x="678" y="792"/>
                </a:cubicBezTo>
                <a:cubicBezTo>
                  <a:pt x="677" y="793"/>
                  <a:pt x="677" y="793"/>
                  <a:pt x="677" y="793"/>
                </a:cubicBezTo>
                <a:cubicBezTo>
                  <a:pt x="672" y="795"/>
                  <a:pt x="672" y="795"/>
                  <a:pt x="672" y="795"/>
                </a:cubicBezTo>
                <a:cubicBezTo>
                  <a:pt x="671" y="796"/>
                  <a:pt x="671" y="796"/>
                  <a:pt x="671" y="796"/>
                </a:cubicBezTo>
                <a:cubicBezTo>
                  <a:pt x="669" y="797"/>
                  <a:pt x="669" y="797"/>
                  <a:pt x="669" y="797"/>
                </a:cubicBezTo>
                <a:cubicBezTo>
                  <a:pt x="669" y="800"/>
                  <a:pt x="669" y="800"/>
                  <a:pt x="669" y="800"/>
                </a:cubicBezTo>
                <a:cubicBezTo>
                  <a:pt x="670" y="801"/>
                  <a:pt x="670" y="801"/>
                  <a:pt x="670" y="801"/>
                </a:cubicBezTo>
                <a:cubicBezTo>
                  <a:pt x="670" y="802"/>
                  <a:pt x="670" y="802"/>
                  <a:pt x="670" y="802"/>
                </a:cubicBezTo>
                <a:cubicBezTo>
                  <a:pt x="668" y="801"/>
                  <a:pt x="668" y="801"/>
                  <a:pt x="668" y="801"/>
                </a:cubicBezTo>
                <a:cubicBezTo>
                  <a:pt x="664" y="803"/>
                  <a:pt x="664" y="803"/>
                  <a:pt x="664" y="803"/>
                </a:cubicBezTo>
                <a:cubicBezTo>
                  <a:pt x="663" y="803"/>
                  <a:pt x="663" y="803"/>
                  <a:pt x="663" y="803"/>
                </a:cubicBezTo>
                <a:cubicBezTo>
                  <a:pt x="663" y="804"/>
                  <a:pt x="663" y="804"/>
                  <a:pt x="663" y="804"/>
                </a:cubicBezTo>
                <a:cubicBezTo>
                  <a:pt x="665" y="805"/>
                  <a:pt x="665" y="805"/>
                  <a:pt x="665" y="805"/>
                </a:cubicBezTo>
                <a:cubicBezTo>
                  <a:pt x="667" y="803"/>
                  <a:pt x="667" y="803"/>
                  <a:pt x="667" y="803"/>
                </a:cubicBezTo>
                <a:cubicBezTo>
                  <a:pt x="667" y="803"/>
                  <a:pt x="667" y="803"/>
                  <a:pt x="667" y="803"/>
                </a:cubicBezTo>
                <a:cubicBezTo>
                  <a:pt x="668" y="805"/>
                  <a:pt x="668" y="805"/>
                  <a:pt x="668" y="805"/>
                </a:cubicBezTo>
                <a:cubicBezTo>
                  <a:pt x="670" y="803"/>
                  <a:pt x="670" y="803"/>
                  <a:pt x="670" y="803"/>
                </a:cubicBezTo>
                <a:cubicBezTo>
                  <a:pt x="672" y="803"/>
                  <a:pt x="672" y="803"/>
                  <a:pt x="672" y="803"/>
                </a:cubicBezTo>
                <a:cubicBezTo>
                  <a:pt x="674" y="800"/>
                  <a:pt x="674" y="800"/>
                  <a:pt x="674" y="800"/>
                </a:cubicBezTo>
                <a:cubicBezTo>
                  <a:pt x="676" y="801"/>
                  <a:pt x="676" y="801"/>
                  <a:pt x="676" y="801"/>
                </a:cubicBezTo>
                <a:cubicBezTo>
                  <a:pt x="677" y="800"/>
                  <a:pt x="677" y="800"/>
                  <a:pt x="677" y="800"/>
                </a:cubicBezTo>
                <a:cubicBezTo>
                  <a:pt x="679" y="801"/>
                  <a:pt x="679" y="801"/>
                  <a:pt x="679" y="801"/>
                </a:cubicBezTo>
                <a:cubicBezTo>
                  <a:pt x="681" y="800"/>
                  <a:pt x="681" y="800"/>
                  <a:pt x="681" y="800"/>
                </a:cubicBezTo>
                <a:cubicBezTo>
                  <a:pt x="684" y="797"/>
                  <a:pt x="684" y="797"/>
                  <a:pt x="684" y="797"/>
                </a:cubicBezTo>
                <a:cubicBezTo>
                  <a:pt x="686" y="796"/>
                  <a:pt x="686" y="796"/>
                  <a:pt x="686" y="796"/>
                </a:cubicBezTo>
                <a:cubicBezTo>
                  <a:pt x="687" y="795"/>
                  <a:pt x="687" y="795"/>
                  <a:pt x="687" y="795"/>
                </a:cubicBezTo>
                <a:cubicBezTo>
                  <a:pt x="690" y="795"/>
                  <a:pt x="690" y="795"/>
                  <a:pt x="690" y="795"/>
                </a:cubicBezTo>
                <a:cubicBezTo>
                  <a:pt x="691" y="795"/>
                  <a:pt x="691" y="795"/>
                  <a:pt x="691" y="795"/>
                </a:cubicBezTo>
                <a:cubicBezTo>
                  <a:pt x="696" y="796"/>
                  <a:pt x="696" y="796"/>
                  <a:pt x="696" y="796"/>
                </a:cubicBezTo>
                <a:cubicBezTo>
                  <a:pt x="697" y="797"/>
                  <a:pt x="697" y="797"/>
                  <a:pt x="697" y="797"/>
                </a:cubicBezTo>
                <a:cubicBezTo>
                  <a:pt x="696" y="798"/>
                  <a:pt x="696" y="798"/>
                  <a:pt x="696" y="798"/>
                </a:cubicBezTo>
                <a:cubicBezTo>
                  <a:pt x="694" y="798"/>
                  <a:pt x="694" y="798"/>
                  <a:pt x="694" y="798"/>
                </a:cubicBezTo>
                <a:cubicBezTo>
                  <a:pt x="692" y="799"/>
                  <a:pt x="692" y="799"/>
                  <a:pt x="692" y="799"/>
                </a:cubicBezTo>
                <a:cubicBezTo>
                  <a:pt x="694" y="800"/>
                  <a:pt x="694" y="800"/>
                  <a:pt x="694" y="800"/>
                </a:cubicBezTo>
                <a:cubicBezTo>
                  <a:pt x="700" y="801"/>
                  <a:pt x="700" y="801"/>
                  <a:pt x="700" y="801"/>
                </a:cubicBezTo>
                <a:cubicBezTo>
                  <a:pt x="701" y="800"/>
                  <a:pt x="701" y="800"/>
                  <a:pt x="701" y="800"/>
                </a:cubicBezTo>
                <a:cubicBezTo>
                  <a:pt x="703" y="800"/>
                  <a:pt x="703" y="800"/>
                  <a:pt x="703" y="800"/>
                </a:cubicBezTo>
                <a:cubicBezTo>
                  <a:pt x="704" y="802"/>
                  <a:pt x="704" y="802"/>
                  <a:pt x="704" y="802"/>
                </a:cubicBezTo>
                <a:cubicBezTo>
                  <a:pt x="707" y="802"/>
                  <a:pt x="707" y="802"/>
                  <a:pt x="707" y="802"/>
                </a:cubicBezTo>
                <a:cubicBezTo>
                  <a:pt x="709" y="802"/>
                  <a:pt x="709" y="802"/>
                  <a:pt x="709" y="802"/>
                </a:cubicBezTo>
                <a:cubicBezTo>
                  <a:pt x="709" y="801"/>
                  <a:pt x="709" y="801"/>
                  <a:pt x="709" y="801"/>
                </a:cubicBezTo>
                <a:cubicBezTo>
                  <a:pt x="711" y="802"/>
                  <a:pt x="711" y="802"/>
                  <a:pt x="711" y="802"/>
                </a:cubicBezTo>
                <a:cubicBezTo>
                  <a:pt x="711" y="803"/>
                  <a:pt x="711" y="803"/>
                  <a:pt x="711" y="803"/>
                </a:cubicBezTo>
                <a:cubicBezTo>
                  <a:pt x="714" y="806"/>
                  <a:pt x="714" y="806"/>
                  <a:pt x="714" y="806"/>
                </a:cubicBezTo>
                <a:cubicBezTo>
                  <a:pt x="717" y="806"/>
                  <a:pt x="717" y="806"/>
                  <a:pt x="717" y="806"/>
                </a:cubicBezTo>
                <a:cubicBezTo>
                  <a:pt x="718" y="805"/>
                  <a:pt x="718" y="805"/>
                  <a:pt x="718" y="805"/>
                </a:cubicBezTo>
                <a:cubicBezTo>
                  <a:pt x="719" y="807"/>
                  <a:pt x="719" y="807"/>
                  <a:pt x="719" y="807"/>
                </a:cubicBezTo>
                <a:cubicBezTo>
                  <a:pt x="721" y="807"/>
                  <a:pt x="721" y="807"/>
                  <a:pt x="721" y="807"/>
                </a:cubicBezTo>
                <a:cubicBezTo>
                  <a:pt x="723" y="807"/>
                  <a:pt x="723" y="807"/>
                  <a:pt x="723" y="807"/>
                </a:cubicBezTo>
                <a:cubicBezTo>
                  <a:pt x="726" y="806"/>
                  <a:pt x="726" y="806"/>
                  <a:pt x="726" y="806"/>
                </a:cubicBezTo>
                <a:cubicBezTo>
                  <a:pt x="727" y="807"/>
                  <a:pt x="727" y="807"/>
                  <a:pt x="727" y="807"/>
                </a:cubicBezTo>
                <a:cubicBezTo>
                  <a:pt x="729" y="813"/>
                  <a:pt x="729" y="813"/>
                  <a:pt x="729" y="813"/>
                </a:cubicBezTo>
                <a:cubicBezTo>
                  <a:pt x="732" y="817"/>
                  <a:pt x="732" y="817"/>
                  <a:pt x="732" y="817"/>
                </a:cubicBezTo>
                <a:cubicBezTo>
                  <a:pt x="734" y="817"/>
                  <a:pt x="734" y="817"/>
                  <a:pt x="734" y="817"/>
                </a:cubicBezTo>
                <a:cubicBezTo>
                  <a:pt x="734" y="816"/>
                  <a:pt x="734" y="816"/>
                  <a:pt x="734" y="816"/>
                </a:cubicBezTo>
                <a:cubicBezTo>
                  <a:pt x="737" y="817"/>
                  <a:pt x="737" y="817"/>
                  <a:pt x="737" y="817"/>
                </a:cubicBezTo>
                <a:cubicBezTo>
                  <a:pt x="740" y="817"/>
                  <a:pt x="740" y="817"/>
                  <a:pt x="740" y="817"/>
                </a:cubicBezTo>
                <a:cubicBezTo>
                  <a:pt x="741" y="818"/>
                  <a:pt x="741" y="818"/>
                  <a:pt x="741" y="818"/>
                </a:cubicBezTo>
                <a:cubicBezTo>
                  <a:pt x="742" y="819"/>
                  <a:pt x="742" y="819"/>
                  <a:pt x="742" y="819"/>
                </a:cubicBezTo>
                <a:cubicBezTo>
                  <a:pt x="742" y="821"/>
                  <a:pt x="742" y="821"/>
                  <a:pt x="742" y="821"/>
                </a:cubicBezTo>
                <a:cubicBezTo>
                  <a:pt x="739" y="822"/>
                  <a:pt x="739" y="822"/>
                  <a:pt x="739" y="822"/>
                </a:cubicBezTo>
                <a:cubicBezTo>
                  <a:pt x="736" y="825"/>
                  <a:pt x="736" y="825"/>
                  <a:pt x="736" y="825"/>
                </a:cubicBezTo>
                <a:cubicBezTo>
                  <a:pt x="736" y="827"/>
                  <a:pt x="736" y="827"/>
                  <a:pt x="736" y="827"/>
                </a:cubicBezTo>
                <a:cubicBezTo>
                  <a:pt x="740" y="827"/>
                  <a:pt x="740" y="827"/>
                  <a:pt x="740" y="827"/>
                </a:cubicBezTo>
                <a:cubicBezTo>
                  <a:pt x="742" y="826"/>
                  <a:pt x="742" y="826"/>
                  <a:pt x="742" y="826"/>
                </a:cubicBezTo>
                <a:cubicBezTo>
                  <a:pt x="744" y="827"/>
                  <a:pt x="744" y="827"/>
                  <a:pt x="744" y="827"/>
                </a:cubicBezTo>
                <a:cubicBezTo>
                  <a:pt x="749" y="825"/>
                  <a:pt x="749" y="825"/>
                  <a:pt x="749" y="825"/>
                </a:cubicBezTo>
                <a:cubicBezTo>
                  <a:pt x="751" y="826"/>
                  <a:pt x="751" y="826"/>
                  <a:pt x="751" y="826"/>
                </a:cubicBezTo>
                <a:lnTo>
                  <a:pt x="755" y="827"/>
                </a:lnTo>
                <a:close/>
                <a:moveTo>
                  <a:pt x="816" y="1535"/>
                </a:moveTo>
                <a:cubicBezTo>
                  <a:pt x="816" y="1536"/>
                  <a:pt x="816" y="1536"/>
                  <a:pt x="816" y="1536"/>
                </a:cubicBezTo>
                <a:cubicBezTo>
                  <a:pt x="818" y="1535"/>
                  <a:pt x="818" y="1535"/>
                  <a:pt x="818" y="1535"/>
                </a:cubicBezTo>
                <a:cubicBezTo>
                  <a:pt x="817" y="1534"/>
                  <a:pt x="817" y="1534"/>
                  <a:pt x="817" y="1534"/>
                </a:cubicBezTo>
                <a:lnTo>
                  <a:pt x="816" y="1535"/>
                </a:lnTo>
                <a:close/>
                <a:moveTo>
                  <a:pt x="816" y="1542"/>
                </a:moveTo>
                <a:cubicBezTo>
                  <a:pt x="817" y="1544"/>
                  <a:pt x="817" y="1544"/>
                  <a:pt x="817" y="1544"/>
                </a:cubicBezTo>
                <a:cubicBezTo>
                  <a:pt x="818" y="1542"/>
                  <a:pt x="818" y="1542"/>
                  <a:pt x="818" y="1542"/>
                </a:cubicBezTo>
                <a:cubicBezTo>
                  <a:pt x="819" y="1543"/>
                  <a:pt x="819" y="1543"/>
                  <a:pt x="819" y="1543"/>
                </a:cubicBezTo>
                <a:cubicBezTo>
                  <a:pt x="820" y="1543"/>
                  <a:pt x="820" y="1543"/>
                  <a:pt x="820" y="1543"/>
                </a:cubicBezTo>
                <a:cubicBezTo>
                  <a:pt x="821" y="1543"/>
                  <a:pt x="821" y="1543"/>
                  <a:pt x="821" y="1543"/>
                </a:cubicBezTo>
                <a:cubicBezTo>
                  <a:pt x="822" y="1541"/>
                  <a:pt x="822" y="1541"/>
                  <a:pt x="822" y="1541"/>
                </a:cubicBezTo>
                <a:cubicBezTo>
                  <a:pt x="823" y="1540"/>
                  <a:pt x="823" y="1540"/>
                  <a:pt x="823" y="1540"/>
                </a:cubicBezTo>
                <a:cubicBezTo>
                  <a:pt x="821" y="1538"/>
                  <a:pt x="821" y="1538"/>
                  <a:pt x="821" y="1538"/>
                </a:cubicBezTo>
                <a:cubicBezTo>
                  <a:pt x="821" y="1537"/>
                  <a:pt x="821" y="1537"/>
                  <a:pt x="821" y="1537"/>
                </a:cubicBezTo>
                <a:cubicBezTo>
                  <a:pt x="819" y="1536"/>
                  <a:pt x="819" y="1536"/>
                  <a:pt x="819" y="1536"/>
                </a:cubicBezTo>
                <a:cubicBezTo>
                  <a:pt x="817" y="1537"/>
                  <a:pt x="817" y="1537"/>
                  <a:pt x="817" y="1537"/>
                </a:cubicBezTo>
                <a:cubicBezTo>
                  <a:pt x="816" y="1540"/>
                  <a:pt x="816" y="1540"/>
                  <a:pt x="816" y="1540"/>
                </a:cubicBezTo>
                <a:lnTo>
                  <a:pt x="816" y="1542"/>
                </a:lnTo>
                <a:close/>
                <a:moveTo>
                  <a:pt x="813" y="1508"/>
                </a:moveTo>
                <a:cubicBezTo>
                  <a:pt x="815" y="1510"/>
                  <a:pt x="815" y="1510"/>
                  <a:pt x="815" y="1510"/>
                </a:cubicBezTo>
                <a:cubicBezTo>
                  <a:pt x="816" y="1509"/>
                  <a:pt x="816" y="1509"/>
                  <a:pt x="816" y="1509"/>
                </a:cubicBezTo>
                <a:cubicBezTo>
                  <a:pt x="815" y="1508"/>
                  <a:pt x="815" y="1508"/>
                  <a:pt x="815" y="1508"/>
                </a:cubicBezTo>
                <a:lnTo>
                  <a:pt x="813" y="1508"/>
                </a:lnTo>
                <a:close/>
                <a:moveTo>
                  <a:pt x="817" y="1528"/>
                </a:moveTo>
                <a:cubicBezTo>
                  <a:pt x="816" y="1530"/>
                  <a:pt x="816" y="1530"/>
                  <a:pt x="816" y="1530"/>
                </a:cubicBezTo>
                <a:cubicBezTo>
                  <a:pt x="816" y="1531"/>
                  <a:pt x="816" y="1531"/>
                  <a:pt x="816" y="1531"/>
                </a:cubicBezTo>
                <a:cubicBezTo>
                  <a:pt x="817" y="1530"/>
                  <a:pt x="817" y="1530"/>
                  <a:pt x="817" y="1530"/>
                </a:cubicBezTo>
                <a:lnTo>
                  <a:pt x="817" y="1528"/>
                </a:lnTo>
                <a:close/>
                <a:moveTo>
                  <a:pt x="815" y="1546"/>
                </a:moveTo>
                <a:cubicBezTo>
                  <a:pt x="813" y="1546"/>
                  <a:pt x="813" y="1546"/>
                  <a:pt x="813" y="1546"/>
                </a:cubicBezTo>
                <a:cubicBezTo>
                  <a:pt x="811" y="1547"/>
                  <a:pt x="811" y="1547"/>
                  <a:pt x="811" y="1547"/>
                </a:cubicBezTo>
                <a:cubicBezTo>
                  <a:pt x="812" y="1548"/>
                  <a:pt x="812" y="1548"/>
                  <a:pt x="812" y="1548"/>
                </a:cubicBezTo>
                <a:cubicBezTo>
                  <a:pt x="813" y="1551"/>
                  <a:pt x="813" y="1551"/>
                  <a:pt x="813" y="1551"/>
                </a:cubicBezTo>
                <a:cubicBezTo>
                  <a:pt x="814" y="1551"/>
                  <a:pt x="814" y="1551"/>
                  <a:pt x="814" y="1551"/>
                </a:cubicBezTo>
                <a:cubicBezTo>
                  <a:pt x="815" y="1550"/>
                  <a:pt x="815" y="1550"/>
                  <a:pt x="815" y="1550"/>
                </a:cubicBezTo>
                <a:lnTo>
                  <a:pt x="815" y="1546"/>
                </a:lnTo>
                <a:close/>
                <a:moveTo>
                  <a:pt x="813" y="1554"/>
                </a:moveTo>
                <a:cubicBezTo>
                  <a:pt x="814" y="1552"/>
                  <a:pt x="814" y="1552"/>
                  <a:pt x="814" y="1552"/>
                </a:cubicBezTo>
                <a:cubicBezTo>
                  <a:pt x="812" y="1552"/>
                  <a:pt x="812" y="1552"/>
                  <a:pt x="812" y="1552"/>
                </a:cubicBezTo>
                <a:lnTo>
                  <a:pt x="813" y="1554"/>
                </a:lnTo>
                <a:close/>
                <a:moveTo>
                  <a:pt x="803" y="1508"/>
                </a:moveTo>
                <a:cubicBezTo>
                  <a:pt x="803" y="1510"/>
                  <a:pt x="803" y="1510"/>
                  <a:pt x="803" y="1510"/>
                </a:cubicBezTo>
                <a:cubicBezTo>
                  <a:pt x="803" y="1511"/>
                  <a:pt x="803" y="1511"/>
                  <a:pt x="803" y="1511"/>
                </a:cubicBezTo>
                <a:cubicBezTo>
                  <a:pt x="804" y="1511"/>
                  <a:pt x="804" y="1511"/>
                  <a:pt x="804" y="1511"/>
                </a:cubicBezTo>
                <a:cubicBezTo>
                  <a:pt x="805" y="1514"/>
                  <a:pt x="805" y="1514"/>
                  <a:pt x="805" y="1514"/>
                </a:cubicBezTo>
                <a:cubicBezTo>
                  <a:pt x="805" y="1520"/>
                  <a:pt x="805" y="1520"/>
                  <a:pt x="805" y="1520"/>
                </a:cubicBezTo>
                <a:cubicBezTo>
                  <a:pt x="804" y="1522"/>
                  <a:pt x="804" y="1522"/>
                  <a:pt x="804" y="1522"/>
                </a:cubicBezTo>
                <a:cubicBezTo>
                  <a:pt x="806" y="1523"/>
                  <a:pt x="806" y="1523"/>
                  <a:pt x="806" y="1523"/>
                </a:cubicBezTo>
                <a:cubicBezTo>
                  <a:pt x="810" y="1523"/>
                  <a:pt x="810" y="1523"/>
                  <a:pt x="810" y="1523"/>
                </a:cubicBezTo>
                <a:cubicBezTo>
                  <a:pt x="810" y="1522"/>
                  <a:pt x="810" y="1522"/>
                  <a:pt x="810" y="1522"/>
                </a:cubicBezTo>
                <a:cubicBezTo>
                  <a:pt x="809" y="1520"/>
                  <a:pt x="809" y="1520"/>
                  <a:pt x="809" y="1520"/>
                </a:cubicBezTo>
                <a:cubicBezTo>
                  <a:pt x="810" y="1519"/>
                  <a:pt x="810" y="1519"/>
                  <a:pt x="810" y="1519"/>
                </a:cubicBezTo>
                <a:cubicBezTo>
                  <a:pt x="812" y="1519"/>
                  <a:pt x="812" y="1519"/>
                  <a:pt x="812" y="1519"/>
                </a:cubicBezTo>
                <a:cubicBezTo>
                  <a:pt x="813" y="1519"/>
                  <a:pt x="813" y="1519"/>
                  <a:pt x="813" y="1519"/>
                </a:cubicBezTo>
                <a:cubicBezTo>
                  <a:pt x="810" y="1517"/>
                  <a:pt x="810" y="1517"/>
                  <a:pt x="810" y="1517"/>
                </a:cubicBezTo>
                <a:cubicBezTo>
                  <a:pt x="811" y="1516"/>
                  <a:pt x="811" y="1516"/>
                  <a:pt x="811" y="1516"/>
                </a:cubicBezTo>
                <a:cubicBezTo>
                  <a:pt x="809" y="1514"/>
                  <a:pt x="809" y="1514"/>
                  <a:pt x="809" y="1514"/>
                </a:cubicBezTo>
                <a:cubicBezTo>
                  <a:pt x="809" y="1512"/>
                  <a:pt x="809" y="1512"/>
                  <a:pt x="809" y="1512"/>
                </a:cubicBezTo>
                <a:cubicBezTo>
                  <a:pt x="810" y="1512"/>
                  <a:pt x="810" y="1512"/>
                  <a:pt x="810" y="1512"/>
                </a:cubicBezTo>
                <a:cubicBezTo>
                  <a:pt x="812" y="1513"/>
                  <a:pt x="812" y="1513"/>
                  <a:pt x="812" y="1513"/>
                </a:cubicBezTo>
                <a:cubicBezTo>
                  <a:pt x="812" y="1513"/>
                  <a:pt x="812" y="1513"/>
                  <a:pt x="812" y="1513"/>
                </a:cubicBezTo>
                <a:cubicBezTo>
                  <a:pt x="811" y="1512"/>
                  <a:pt x="811" y="1512"/>
                  <a:pt x="811" y="1512"/>
                </a:cubicBezTo>
                <a:cubicBezTo>
                  <a:pt x="809" y="1510"/>
                  <a:pt x="809" y="1510"/>
                  <a:pt x="809" y="1510"/>
                </a:cubicBezTo>
                <a:cubicBezTo>
                  <a:pt x="811" y="1511"/>
                  <a:pt x="811" y="1511"/>
                  <a:pt x="811" y="1511"/>
                </a:cubicBezTo>
                <a:cubicBezTo>
                  <a:pt x="811" y="1509"/>
                  <a:pt x="811" y="1509"/>
                  <a:pt x="811" y="1509"/>
                </a:cubicBezTo>
                <a:cubicBezTo>
                  <a:pt x="811" y="1508"/>
                  <a:pt x="811" y="1508"/>
                  <a:pt x="811" y="1508"/>
                </a:cubicBezTo>
                <a:cubicBezTo>
                  <a:pt x="811" y="1506"/>
                  <a:pt x="811" y="1506"/>
                  <a:pt x="811" y="1506"/>
                </a:cubicBezTo>
                <a:cubicBezTo>
                  <a:pt x="809" y="1503"/>
                  <a:pt x="809" y="1503"/>
                  <a:pt x="809" y="1503"/>
                </a:cubicBezTo>
                <a:cubicBezTo>
                  <a:pt x="807" y="1502"/>
                  <a:pt x="807" y="1502"/>
                  <a:pt x="807" y="1502"/>
                </a:cubicBezTo>
                <a:cubicBezTo>
                  <a:pt x="805" y="1502"/>
                  <a:pt x="805" y="1502"/>
                  <a:pt x="805" y="1502"/>
                </a:cubicBezTo>
                <a:cubicBezTo>
                  <a:pt x="804" y="1503"/>
                  <a:pt x="804" y="1503"/>
                  <a:pt x="804" y="1503"/>
                </a:cubicBezTo>
                <a:cubicBezTo>
                  <a:pt x="804" y="1505"/>
                  <a:pt x="804" y="1505"/>
                  <a:pt x="804" y="1505"/>
                </a:cubicBezTo>
                <a:cubicBezTo>
                  <a:pt x="804" y="1506"/>
                  <a:pt x="804" y="1506"/>
                  <a:pt x="804" y="1506"/>
                </a:cubicBezTo>
                <a:cubicBezTo>
                  <a:pt x="804" y="1507"/>
                  <a:pt x="804" y="1507"/>
                  <a:pt x="804" y="1507"/>
                </a:cubicBezTo>
                <a:lnTo>
                  <a:pt x="803" y="1508"/>
                </a:lnTo>
                <a:close/>
                <a:moveTo>
                  <a:pt x="540" y="773"/>
                </a:moveTo>
                <a:cubicBezTo>
                  <a:pt x="540" y="772"/>
                  <a:pt x="540" y="772"/>
                  <a:pt x="540" y="772"/>
                </a:cubicBezTo>
                <a:cubicBezTo>
                  <a:pt x="539" y="775"/>
                  <a:pt x="539" y="775"/>
                  <a:pt x="539" y="775"/>
                </a:cubicBezTo>
                <a:lnTo>
                  <a:pt x="540" y="773"/>
                </a:lnTo>
                <a:close/>
                <a:moveTo>
                  <a:pt x="540" y="771"/>
                </a:moveTo>
                <a:cubicBezTo>
                  <a:pt x="540" y="771"/>
                  <a:pt x="540" y="771"/>
                  <a:pt x="540" y="771"/>
                </a:cubicBezTo>
                <a:cubicBezTo>
                  <a:pt x="541" y="769"/>
                  <a:pt x="541" y="769"/>
                  <a:pt x="541" y="769"/>
                </a:cubicBezTo>
                <a:cubicBezTo>
                  <a:pt x="540" y="769"/>
                  <a:pt x="540" y="769"/>
                  <a:pt x="540" y="769"/>
                </a:cubicBezTo>
                <a:lnTo>
                  <a:pt x="540" y="771"/>
                </a:lnTo>
                <a:close/>
                <a:moveTo>
                  <a:pt x="1001" y="1040"/>
                </a:moveTo>
                <a:cubicBezTo>
                  <a:pt x="1000" y="1041"/>
                  <a:pt x="1000" y="1041"/>
                  <a:pt x="1000" y="1041"/>
                </a:cubicBezTo>
                <a:cubicBezTo>
                  <a:pt x="1000" y="1041"/>
                  <a:pt x="1000" y="1041"/>
                  <a:pt x="1000" y="1041"/>
                </a:cubicBezTo>
                <a:cubicBezTo>
                  <a:pt x="1002" y="1041"/>
                  <a:pt x="1002" y="1041"/>
                  <a:pt x="1002" y="1041"/>
                </a:cubicBezTo>
                <a:cubicBezTo>
                  <a:pt x="1002" y="1040"/>
                  <a:pt x="1002" y="1040"/>
                  <a:pt x="1002" y="1040"/>
                </a:cubicBezTo>
                <a:cubicBezTo>
                  <a:pt x="1002" y="1039"/>
                  <a:pt x="1002" y="1039"/>
                  <a:pt x="1002" y="1039"/>
                </a:cubicBezTo>
                <a:lnTo>
                  <a:pt x="1001" y="1040"/>
                </a:lnTo>
                <a:close/>
                <a:moveTo>
                  <a:pt x="541" y="767"/>
                </a:moveTo>
                <a:cubicBezTo>
                  <a:pt x="541" y="767"/>
                  <a:pt x="541" y="767"/>
                  <a:pt x="541" y="767"/>
                </a:cubicBezTo>
                <a:cubicBezTo>
                  <a:pt x="540" y="768"/>
                  <a:pt x="540" y="768"/>
                  <a:pt x="540" y="768"/>
                </a:cubicBezTo>
                <a:cubicBezTo>
                  <a:pt x="541" y="768"/>
                  <a:pt x="541" y="768"/>
                  <a:pt x="541" y="768"/>
                </a:cubicBezTo>
                <a:lnTo>
                  <a:pt x="541" y="767"/>
                </a:lnTo>
                <a:close/>
                <a:moveTo>
                  <a:pt x="1004" y="1035"/>
                </a:moveTo>
                <a:cubicBezTo>
                  <a:pt x="1003" y="1035"/>
                  <a:pt x="1003" y="1035"/>
                  <a:pt x="1003" y="1035"/>
                </a:cubicBezTo>
                <a:cubicBezTo>
                  <a:pt x="1002" y="1035"/>
                  <a:pt x="1002" y="1035"/>
                  <a:pt x="1002" y="1035"/>
                </a:cubicBezTo>
                <a:cubicBezTo>
                  <a:pt x="1001" y="1036"/>
                  <a:pt x="1001" y="1036"/>
                  <a:pt x="1001" y="1036"/>
                </a:cubicBezTo>
                <a:cubicBezTo>
                  <a:pt x="999" y="1038"/>
                  <a:pt x="999" y="1038"/>
                  <a:pt x="999" y="1038"/>
                </a:cubicBezTo>
                <a:cubicBezTo>
                  <a:pt x="998" y="1041"/>
                  <a:pt x="998" y="1041"/>
                  <a:pt x="998" y="1041"/>
                </a:cubicBezTo>
                <a:cubicBezTo>
                  <a:pt x="999" y="1041"/>
                  <a:pt x="999" y="1041"/>
                  <a:pt x="999" y="1041"/>
                </a:cubicBezTo>
                <a:cubicBezTo>
                  <a:pt x="999" y="1040"/>
                  <a:pt x="999" y="1040"/>
                  <a:pt x="999" y="1040"/>
                </a:cubicBezTo>
                <a:cubicBezTo>
                  <a:pt x="1001" y="1038"/>
                  <a:pt x="1001" y="1038"/>
                  <a:pt x="1001" y="1038"/>
                </a:cubicBezTo>
                <a:cubicBezTo>
                  <a:pt x="1002" y="1038"/>
                  <a:pt x="1002" y="1038"/>
                  <a:pt x="1002" y="1038"/>
                </a:cubicBezTo>
                <a:cubicBezTo>
                  <a:pt x="1004" y="1036"/>
                  <a:pt x="1004" y="1036"/>
                  <a:pt x="1004" y="1036"/>
                </a:cubicBezTo>
                <a:lnTo>
                  <a:pt x="1004" y="1035"/>
                </a:lnTo>
                <a:close/>
                <a:moveTo>
                  <a:pt x="1008" y="1031"/>
                </a:moveTo>
                <a:cubicBezTo>
                  <a:pt x="1009" y="1029"/>
                  <a:pt x="1009" y="1029"/>
                  <a:pt x="1009" y="1029"/>
                </a:cubicBezTo>
                <a:cubicBezTo>
                  <a:pt x="1010" y="1029"/>
                  <a:pt x="1010" y="1029"/>
                  <a:pt x="1010" y="1029"/>
                </a:cubicBezTo>
                <a:cubicBezTo>
                  <a:pt x="1011" y="1027"/>
                  <a:pt x="1011" y="1027"/>
                  <a:pt x="1011" y="1027"/>
                </a:cubicBezTo>
                <a:cubicBezTo>
                  <a:pt x="1010" y="1027"/>
                  <a:pt x="1010" y="1027"/>
                  <a:pt x="1010" y="1027"/>
                </a:cubicBezTo>
                <a:cubicBezTo>
                  <a:pt x="1009" y="1028"/>
                  <a:pt x="1009" y="1028"/>
                  <a:pt x="1009" y="1028"/>
                </a:cubicBezTo>
                <a:cubicBezTo>
                  <a:pt x="1007" y="1029"/>
                  <a:pt x="1007" y="1029"/>
                  <a:pt x="1007" y="1029"/>
                </a:cubicBezTo>
                <a:cubicBezTo>
                  <a:pt x="1006" y="1030"/>
                  <a:pt x="1006" y="1030"/>
                  <a:pt x="1006" y="1030"/>
                </a:cubicBezTo>
                <a:cubicBezTo>
                  <a:pt x="1007" y="1032"/>
                  <a:pt x="1007" y="1032"/>
                  <a:pt x="1007" y="1032"/>
                </a:cubicBezTo>
                <a:lnTo>
                  <a:pt x="1008" y="1031"/>
                </a:lnTo>
                <a:close/>
                <a:moveTo>
                  <a:pt x="1087" y="56"/>
                </a:moveTo>
                <a:cubicBezTo>
                  <a:pt x="1087" y="55"/>
                  <a:pt x="1087" y="55"/>
                  <a:pt x="1087" y="55"/>
                </a:cubicBezTo>
                <a:cubicBezTo>
                  <a:pt x="1086" y="54"/>
                  <a:pt x="1086" y="54"/>
                  <a:pt x="1086" y="54"/>
                </a:cubicBezTo>
                <a:cubicBezTo>
                  <a:pt x="1086" y="55"/>
                  <a:pt x="1086" y="55"/>
                  <a:pt x="1086" y="55"/>
                </a:cubicBezTo>
                <a:cubicBezTo>
                  <a:pt x="1086" y="57"/>
                  <a:pt x="1086" y="57"/>
                  <a:pt x="1086" y="57"/>
                </a:cubicBezTo>
                <a:cubicBezTo>
                  <a:pt x="1087" y="57"/>
                  <a:pt x="1087" y="57"/>
                  <a:pt x="1087" y="57"/>
                </a:cubicBezTo>
                <a:lnTo>
                  <a:pt x="1087" y="56"/>
                </a:lnTo>
                <a:close/>
                <a:moveTo>
                  <a:pt x="2964" y="187"/>
                </a:moveTo>
                <a:cubicBezTo>
                  <a:pt x="2965" y="185"/>
                  <a:pt x="2965" y="185"/>
                  <a:pt x="2965" y="185"/>
                </a:cubicBezTo>
                <a:cubicBezTo>
                  <a:pt x="2967" y="183"/>
                  <a:pt x="2967" y="183"/>
                  <a:pt x="2967" y="183"/>
                </a:cubicBezTo>
                <a:cubicBezTo>
                  <a:pt x="2969" y="181"/>
                  <a:pt x="2969" y="181"/>
                  <a:pt x="2969" y="181"/>
                </a:cubicBezTo>
                <a:cubicBezTo>
                  <a:pt x="2970" y="181"/>
                  <a:pt x="2970" y="181"/>
                  <a:pt x="2970" y="181"/>
                </a:cubicBezTo>
                <a:cubicBezTo>
                  <a:pt x="2970" y="178"/>
                  <a:pt x="2970" y="178"/>
                  <a:pt x="2970" y="178"/>
                </a:cubicBezTo>
                <a:cubicBezTo>
                  <a:pt x="2969" y="176"/>
                  <a:pt x="2969" y="176"/>
                  <a:pt x="2969" y="176"/>
                </a:cubicBezTo>
                <a:cubicBezTo>
                  <a:pt x="2966" y="173"/>
                  <a:pt x="2966" y="173"/>
                  <a:pt x="2966" y="173"/>
                </a:cubicBezTo>
                <a:cubicBezTo>
                  <a:pt x="2965" y="173"/>
                  <a:pt x="2965" y="173"/>
                  <a:pt x="2965" y="173"/>
                </a:cubicBezTo>
                <a:cubicBezTo>
                  <a:pt x="2964" y="174"/>
                  <a:pt x="2964" y="174"/>
                  <a:pt x="2964" y="174"/>
                </a:cubicBezTo>
                <a:cubicBezTo>
                  <a:pt x="2964" y="175"/>
                  <a:pt x="2964" y="175"/>
                  <a:pt x="2964" y="175"/>
                </a:cubicBezTo>
                <a:cubicBezTo>
                  <a:pt x="2963" y="175"/>
                  <a:pt x="2963" y="175"/>
                  <a:pt x="2963" y="175"/>
                </a:cubicBezTo>
                <a:cubicBezTo>
                  <a:pt x="2961" y="178"/>
                  <a:pt x="2961" y="178"/>
                  <a:pt x="2961" y="178"/>
                </a:cubicBezTo>
                <a:cubicBezTo>
                  <a:pt x="2960" y="179"/>
                  <a:pt x="2960" y="179"/>
                  <a:pt x="2960" y="179"/>
                </a:cubicBezTo>
                <a:cubicBezTo>
                  <a:pt x="2958" y="181"/>
                  <a:pt x="2958" y="181"/>
                  <a:pt x="2958" y="181"/>
                </a:cubicBezTo>
                <a:cubicBezTo>
                  <a:pt x="2959" y="181"/>
                  <a:pt x="2959" y="181"/>
                  <a:pt x="2959" y="181"/>
                </a:cubicBezTo>
                <a:cubicBezTo>
                  <a:pt x="2961" y="180"/>
                  <a:pt x="2961" y="180"/>
                  <a:pt x="2961" y="180"/>
                </a:cubicBezTo>
                <a:cubicBezTo>
                  <a:pt x="2962" y="180"/>
                  <a:pt x="2962" y="180"/>
                  <a:pt x="2962" y="180"/>
                </a:cubicBezTo>
                <a:cubicBezTo>
                  <a:pt x="2961" y="182"/>
                  <a:pt x="2961" y="182"/>
                  <a:pt x="2961" y="182"/>
                </a:cubicBezTo>
                <a:cubicBezTo>
                  <a:pt x="2962" y="185"/>
                  <a:pt x="2962" y="185"/>
                  <a:pt x="2962" y="185"/>
                </a:cubicBezTo>
                <a:cubicBezTo>
                  <a:pt x="2963" y="187"/>
                  <a:pt x="2963" y="187"/>
                  <a:pt x="2963" y="187"/>
                </a:cubicBezTo>
                <a:cubicBezTo>
                  <a:pt x="2963" y="189"/>
                  <a:pt x="2963" y="189"/>
                  <a:pt x="2963" y="189"/>
                </a:cubicBezTo>
                <a:cubicBezTo>
                  <a:pt x="2962" y="190"/>
                  <a:pt x="2962" y="190"/>
                  <a:pt x="2962" y="190"/>
                </a:cubicBezTo>
                <a:cubicBezTo>
                  <a:pt x="2962" y="191"/>
                  <a:pt x="2962" y="191"/>
                  <a:pt x="2962" y="191"/>
                </a:cubicBezTo>
                <a:cubicBezTo>
                  <a:pt x="2964" y="193"/>
                  <a:pt x="2964" y="193"/>
                  <a:pt x="2964" y="193"/>
                </a:cubicBezTo>
                <a:cubicBezTo>
                  <a:pt x="2965" y="194"/>
                  <a:pt x="2965" y="194"/>
                  <a:pt x="2965" y="194"/>
                </a:cubicBezTo>
                <a:cubicBezTo>
                  <a:pt x="2965" y="191"/>
                  <a:pt x="2965" y="191"/>
                  <a:pt x="2965" y="191"/>
                </a:cubicBezTo>
                <a:cubicBezTo>
                  <a:pt x="2964" y="189"/>
                  <a:pt x="2964" y="189"/>
                  <a:pt x="2964" y="189"/>
                </a:cubicBezTo>
                <a:cubicBezTo>
                  <a:pt x="2964" y="189"/>
                  <a:pt x="2964" y="189"/>
                  <a:pt x="2964" y="189"/>
                </a:cubicBezTo>
                <a:lnTo>
                  <a:pt x="2964" y="187"/>
                </a:lnTo>
                <a:close/>
                <a:moveTo>
                  <a:pt x="2922" y="119"/>
                </a:moveTo>
                <a:cubicBezTo>
                  <a:pt x="2922" y="120"/>
                  <a:pt x="2922" y="120"/>
                  <a:pt x="2922" y="120"/>
                </a:cubicBezTo>
                <a:cubicBezTo>
                  <a:pt x="2924" y="122"/>
                  <a:pt x="2924" y="122"/>
                  <a:pt x="2924" y="122"/>
                </a:cubicBezTo>
                <a:cubicBezTo>
                  <a:pt x="2925" y="122"/>
                  <a:pt x="2925" y="122"/>
                  <a:pt x="2925" y="122"/>
                </a:cubicBezTo>
                <a:cubicBezTo>
                  <a:pt x="2925" y="121"/>
                  <a:pt x="2925" y="121"/>
                  <a:pt x="2925" y="121"/>
                </a:cubicBezTo>
                <a:cubicBezTo>
                  <a:pt x="2923" y="119"/>
                  <a:pt x="2923" y="119"/>
                  <a:pt x="2923" y="119"/>
                </a:cubicBezTo>
                <a:lnTo>
                  <a:pt x="2922" y="119"/>
                </a:lnTo>
                <a:close/>
                <a:moveTo>
                  <a:pt x="1084" y="48"/>
                </a:moveTo>
                <a:cubicBezTo>
                  <a:pt x="1083" y="49"/>
                  <a:pt x="1083" y="49"/>
                  <a:pt x="1083" y="49"/>
                </a:cubicBezTo>
                <a:cubicBezTo>
                  <a:pt x="1084" y="50"/>
                  <a:pt x="1084" y="50"/>
                  <a:pt x="1084" y="50"/>
                </a:cubicBezTo>
                <a:cubicBezTo>
                  <a:pt x="1085" y="50"/>
                  <a:pt x="1085" y="50"/>
                  <a:pt x="1085" y="50"/>
                </a:cubicBezTo>
                <a:cubicBezTo>
                  <a:pt x="1087" y="49"/>
                  <a:pt x="1087" y="49"/>
                  <a:pt x="1087" y="49"/>
                </a:cubicBezTo>
                <a:cubicBezTo>
                  <a:pt x="1085" y="49"/>
                  <a:pt x="1085" y="49"/>
                  <a:pt x="1085" y="49"/>
                </a:cubicBezTo>
                <a:lnTo>
                  <a:pt x="1084" y="48"/>
                </a:lnTo>
                <a:close/>
                <a:moveTo>
                  <a:pt x="2924" y="124"/>
                </a:moveTo>
                <a:cubicBezTo>
                  <a:pt x="2925" y="126"/>
                  <a:pt x="2925" y="126"/>
                  <a:pt x="2925" y="126"/>
                </a:cubicBezTo>
                <a:cubicBezTo>
                  <a:pt x="2925" y="125"/>
                  <a:pt x="2925" y="125"/>
                  <a:pt x="2925" y="125"/>
                </a:cubicBezTo>
                <a:cubicBezTo>
                  <a:pt x="2925" y="124"/>
                  <a:pt x="2925" y="124"/>
                  <a:pt x="2925" y="124"/>
                </a:cubicBezTo>
                <a:cubicBezTo>
                  <a:pt x="2925" y="123"/>
                  <a:pt x="2925" y="123"/>
                  <a:pt x="2925" y="123"/>
                </a:cubicBezTo>
                <a:cubicBezTo>
                  <a:pt x="2924" y="124"/>
                  <a:pt x="2924" y="124"/>
                  <a:pt x="2924" y="124"/>
                </a:cubicBezTo>
                <a:close/>
                <a:moveTo>
                  <a:pt x="1089" y="46"/>
                </a:moveTo>
                <a:cubicBezTo>
                  <a:pt x="1089" y="44"/>
                  <a:pt x="1089" y="44"/>
                  <a:pt x="1089" y="44"/>
                </a:cubicBezTo>
                <a:cubicBezTo>
                  <a:pt x="1087" y="43"/>
                  <a:pt x="1087" y="43"/>
                  <a:pt x="1087" y="43"/>
                </a:cubicBezTo>
                <a:cubicBezTo>
                  <a:pt x="1086" y="43"/>
                  <a:pt x="1086" y="43"/>
                  <a:pt x="1086" y="43"/>
                </a:cubicBezTo>
                <a:cubicBezTo>
                  <a:pt x="1085" y="44"/>
                  <a:pt x="1085" y="44"/>
                  <a:pt x="1085" y="44"/>
                </a:cubicBezTo>
                <a:cubicBezTo>
                  <a:pt x="1086" y="45"/>
                  <a:pt x="1086" y="45"/>
                  <a:pt x="1086" y="45"/>
                </a:cubicBezTo>
                <a:cubicBezTo>
                  <a:pt x="1087" y="45"/>
                  <a:pt x="1087" y="45"/>
                  <a:pt x="1087" y="45"/>
                </a:cubicBezTo>
                <a:cubicBezTo>
                  <a:pt x="1088" y="46"/>
                  <a:pt x="1088" y="46"/>
                  <a:pt x="1088" y="46"/>
                </a:cubicBezTo>
                <a:lnTo>
                  <a:pt x="1089" y="46"/>
                </a:lnTo>
                <a:close/>
                <a:moveTo>
                  <a:pt x="2763" y="305"/>
                </a:moveTo>
                <a:cubicBezTo>
                  <a:pt x="2762" y="305"/>
                  <a:pt x="2762" y="305"/>
                  <a:pt x="2762" y="305"/>
                </a:cubicBezTo>
                <a:cubicBezTo>
                  <a:pt x="2760" y="305"/>
                  <a:pt x="2760" y="305"/>
                  <a:pt x="2760" y="305"/>
                </a:cubicBezTo>
                <a:cubicBezTo>
                  <a:pt x="2759" y="304"/>
                  <a:pt x="2759" y="304"/>
                  <a:pt x="2759" y="304"/>
                </a:cubicBezTo>
                <a:cubicBezTo>
                  <a:pt x="2758" y="305"/>
                  <a:pt x="2758" y="305"/>
                  <a:pt x="2758" y="305"/>
                </a:cubicBezTo>
                <a:cubicBezTo>
                  <a:pt x="2757" y="307"/>
                  <a:pt x="2757" y="307"/>
                  <a:pt x="2757" y="307"/>
                </a:cubicBezTo>
                <a:cubicBezTo>
                  <a:pt x="2756" y="308"/>
                  <a:pt x="2756" y="308"/>
                  <a:pt x="2756" y="308"/>
                </a:cubicBezTo>
                <a:cubicBezTo>
                  <a:pt x="2756" y="310"/>
                  <a:pt x="2756" y="310"/>
                  <a:pt x="2756" y="310"/>
                </a:cubicBezTo>
                <a:cubicBezTo>
                  <a:pt x="2757" y="313"/>
                  <a:pt x="2757" y="313"/>
                  <a:pt x="2757" y="313"/>
                </a:cubicBezTo>
                <a:cubicBezTo>
                  <a:pt x="2758" y="312"/>
                  <a:pt x="2758" y="312"/>
                  <a:pt x="2758" y="312"/>
                </a:cubicBezTo>
                <a:cubicBezTo>
                  <a:pt x="2758" y="311"/>
                  <a:pt x="2758" y="311"/>
                  <a:pt x="2758" y="311"/>
                </a:cubicBezTo>
                <a:cubicBezTo>
                  <a:pt x="2759" y="311"/>
                  <a:pt x="2759" y="311"/>
                  <a:pt x="2759" y="311"/>
                </a:cubicBezTo>
                <a:cubicBezTo>
                  <a:pt x="2760" y="311"/>
                  <a:pt x="2760" y="311"/>
                  <a:pt x="2760" y="311"/>
                </a:cubicBezTo>
                <a:cubicBezTo>
                  <a:pt x="2761" y="312"/>
                  <a:pt x="2761" y="312"/>
                  <a:pt x="2761" y="312"/>
                </a:cubicBezTo>
                <a:cubicBezTo>
                  <a:pt x="2763" y="313"/>
                  <a:pt x="2763" y="313"/>
                  <a:pt x="2763" y="313"/>
                </a:cubicBezTo>
                <a:cubicBezTo>
                  <a:pt x="2764" y="312"/>
                  <a:pt x="2764" y="312"/>
                  <a:pt x="2764" y="312"/>
                </a:cubicBezTo>
                <a:cubicBezTo>
                  <a:pt x="2764" y="310"/>
                  <a:pt x="2764" y="310"/>
                  <a:pt x="2764" y="310"/>
                </a:cubicBezTo>
                <a:cubicBezTo>
                  <a:pt x="2764" y="309"/>
                  <a:pt x="2764" y="309"/>
                  <a:pt x="2764" y="309"/>
                </a:cubicBezTo>
                <a:cubicBezTo>
                  <a:pt x="2764" y="308"/>
                  <a:pt x="2764" y="308"/>
                  <a:pt x="2764" y="308"/>
                </a:cubicBezTo>
                <a:cubicBezTo>
                  <a:pt x="2765" y="307"/>
                  <a:pt x="2765" y="307"/>
                  <a:pt x="2765" y="307"/>
                </a:cubicBezTo>
                <a:cubicBezTo>
                  <a:pt x="2765" y="306"/>
                  <a:pt x="2765" y="306"/>
                  <a:pt x="2765" y="306"/>
                </a:cubicBezTo>
                <a:cubicBezTo>
                  <a:pt x="2764" y="306"/>
                  <a:pt x="2764" y="306"/>
                  <a:pt x="2764" y="306"/>
                </a:cubicBezTo>
                <a:cubicBezTo>
                  <a:pt x="2763" y="307"/>
                  <a:pt x="2763" y="307"/>
                  <a:pt x="2763" y="307"/>
                </a:cubicBezTo>
                <a:cubicBezTo>
                  <a:pt x="2762" y="308"/>
                  <a:pt x="2762" y="308"/>
                  <a:pt x="2762" y="308"/>
                </a:cubicBezTo>
                <a:cubicBezTo>
                  <a:pt x="2762" y="307"/>
                  <a:pt x="2762" y="307"/>
                  <a:pt x="2762" y="307"/>
                </a:cubicBezTo>
                <a:cubicBezTo>
                  <a:pt x="2763" y="306"/>
                  <a:pt x="2763" y="306"/>
                  <a:pt x="2763" y="306"/>
                </a:cubicBezTo>
                <a:lnTo>
                  <a:pt x="2763" y="305"/>
                </a:lnTo>
                <a:close/>
                <a:moveTo>
                  <a:pt x="2754" y="306"/>
                </a:moveTo>
                <a:cubicBezTo>
                  <a:pt x="2753" y="306"/>
                  <a:pt x="2753" y="306"/>
                  <a:pt x="2753" y="306"/>
                </a:cubicBezTo>
                <a:cubicBezTo>
                  <a:pt x="2752" y="307"/>
                  <a:pt x="2752" y="307"/>
                  <a:pt x="2752" y="307"/>
                </a:cubicBezTo>
                <a:cubicBezTo>
                  <a:pt x="2750" y="308"/>
                  <a:pt x="2750" y="308"/>
                  <a:pt x="2750" y="308"/>
                </a:cubicBezTo>
                <a:cubicBezTo>
                  <a:pt x="2750" y="310"/>
                  <a:pt x="2750" y="310"/>
                  <a:pt x="2750" y="310"/>
                </a:cubicBezTo>
                <a:cubicBezTo>
                  <a:pt x="2751" y="311"/>
                  <a:pt x="2751" y="311"/>
                  <a:pt x="2751" y="311"/>
                </a:cubicBezTo>
                <a:cubicBezTo>
                  <a:pt x="2751" y="311"/>
                  <a:pt x="2751" y="311"/>
                  <a:pt x="2751" y="311"/>
                </a:cubicBezTo>
                <a:cubicBezTo>
                  <a:pt x="2751" y="310"/>
                  <a:pt x="2751" y="310"/>
                  <a:pt x="2751" y="310"/>
                </a:cubicBezTo>
                <a:cubicBezTo>
                  <a:pt x="2752" y="309"/>
                  <a:pt x="2752" y="309"/>
                  <a:pt x="2752" y="309"/>
                </a:cubicBezTo>
                <a:cubicBezTo>
                  <a:pt x="2753" y="310"/>
                  <a:pt x="2753" y="310"/>
                  <a:pt x="2753" y="310"/>
                </a:cubicBezTo>
                <a:cubicBezTo>
                  <a:pt x="2754" y="310"/>
                  <a:pt x="2754" y="310"/>
                  <a:pt x="2754" y="310"/>
                </a:cubicBezTo>
                <a:cubicBezTo>
                  <a:pt x="2753" y="308"/>
                  <a:pt x="2753" y="308"/>
                  <a:pt x="2753" y="308"/>
                </a:cubicBezTo>
                <a:cubicBezTo>
                  <a:pt x="2754" y="307"/>
                  <a:pt x="2754" y="307"/>
                  <a:pt x="2754" y="307"/>
                </a:cubicBezTo>
                <a:lnTo>
                  <a:pt x="2754" y="306"/>
                </a:lnTo>
                <a:close/>
                <a:moveTo>
                  <a:pt x="2711" y="676"/>
                </a:moveTo>
                <a:cubicBezTo>
                  <a:pt x="2709" y="675"/>
                  <a:pt x="2709" y="675"/>
                  <a:pt x="2709" y="675"/>
                </a:cubicBezTo>
                <a:cubicBezTo>
                  <a:pt x="2708" y="676"/>
                  <a:pt x="2708" y="676"/>
                  <a:pt x="2708" y="676"/>
                </a:cubicBezTo>
                <a:cubicBezTo>
                  <a:pt x="2710" y="677"/>
                  <a:pt x="2710" y="677"/>
                  <a:pt x="2710" y="677"/>
                </a:cubicBezTo>
                <a:cubicBezTo>
                  <a:pt x="2712" y="677"/>
                  <a:pt x="2712" y="677"/>
                  <a:pt x="2712" y="677"/>
                </a:cubicBezTo>
                <a:cubicBezTo>
                  <a:pt x="2714" y="678"/>
                  <a:pt x="2714" y="678"/>
                  <a:pt x="2714" y="678"/>
                </a:cubicBezTo>
                <a:cubicBezTo>
                  <a:pt x="2714" y="676"/>
                  <a:pt x="2714" y="676"/>
                  <a:pt x="2714" y="676"/>
                </a:cubicBezTo>
                <a:cubicBezTo>
                  <a:pt x="2712" y="676"/>
                  <a:pt x="2712" y="676"/>
                  <a:pt x="2712" y="676"/>
                </a:cubicBezTo>
                <a:lnTo>
                  <a:pt x="2711" y="676"/>
                </a:lnTo>
                <a:close/>
                <a:moveTo>
                  <a:pt x="2564" y="930"/>
                </a:moveTo>
                <a:cubicBezTo>
                  <a:pt x="2565" y="930"/>
                  <a:pt x="2565" y="930"/>
                  <a:pt x="2565" y="930"/>
                </a:cubicBezTo>
                <a:cubicBezTo>
                  <a:pt x="2566" y="927"/>
                  <a:pt x="2566" y="927"/>
                  <a:pt x="2566" y="927"/>
                </a:cubicBezTo>
                <a:cubicBezTo>
                  <a:pt x="2565" y="926"/>
                  <a:pt x="2565" y="926"/>
                  <a:pt x="2565" y="926"/>
                </a:cubicBezTo>
                <a:cubicBezTo>
                  <a:pt x="2564" y="925"/>
                  <a:pt x="2564" y="925"/>
                  <a:pt x="2564" y="925"/>
                </a:cubicBezTo>
                <a:cubicBezTo>
                  <a:pt x="2563" y="926"/>
                  <a:pt x="2563" y="926"/>
                  <a:pt x="2563" y="926"/>
                </a:cubicBezTo>
                <a:cubicBezTo>
                  <a:pt x="2564" y="928"/>
                  <a:pt x="2564" y="928"/>
                  <a:pt x="2564" y="928"/>
                </a:cubicBezTo>
                <a:cubicBezTo>
                  <a:pt x="2563" y="929"/>
                  <a:pt x="2563" y="929"/>
                  <a:pt x="2563" y="929"/>
                </a:cubicBezTo>
                <a:lnTo>
                  <a:pt x="2564" y="930"/>
                </a:lnTo>
                <a:close/>
                <a:moveTo>
                  <a:pt x="2763" y="320"/>
                </a:moveTo>
                <a:cubicBezTo>
                  <a:pt x="2761" y="322"/>
                  <a:pt x="2761" y="322"/>
                  <a:pt x="2761" y="322"/>
                </a:cubicBezTo>
                <a:cubicBezTo>
                  <a:pt x="2761" y="323"/>
                  <a:pt x="2761" y="323"/>
                  <a:pt x="2761" y="323"/>
                </a:cubicBezTo>
                <a:cubicBezTo>
                  <a:pt x="2763" y="325"/>
                  <a:pt x="2763" y="325"/>
                  <a:pt x="2763" y="325"/>
                </a:cubicBezTo>
                <a:cubicBezTo>
                  <a:pt x="2764" y="323"/>
                  <a:pt x="2764" y="323"/>
                  <a:pt x="2764" y="323"/>
                </a:cubicBezTo>
                <a:cubicBezTo>
                  <a:pt x="2765" y="322"/>
                  <a:pt x="2765" y="322"/>
                  <a:pt x="2765" y="322"/>
                </a:cubicBezTo>
                <a:cubicBezTo>
                  <a:pt x="2766" y="321"/>
                  <a:pt x="2766" y="321"/>
                  <a:pt x="2766" y="321"/>
                </a:cubicBezTo>
                <a:cubicBezTo>
                  <a:pt x="2765" y="320"/>
                  <a:pt x="2765" y="320"/>
                  <a:pt x="2765" y="320"/>
                </a:cubicBezTo>
                <a:cubicBezTo>
                  <a:pt x="2766" y="319"/>
                  <a:pt x="2766" y="319"/>
                  <a:pt x="2766" y="319"/>
                </a:cubicBezTo>
                <a:lnTo>
                  <a:pt x="2763" y="320"/>
                </a:lnTo>
                <a:close/>
                <a:moveTo>
                  <a:pt x="1083" y="60"/>
                </a:moveTo>
                <a:cubicBezTo>
                  <a:pt x="1083" y="60"/>
                  <a:pt x="1083" y="60"/>
                  <a:pt x="1083" y="60"/>
                </a:cubicBezTo>
                <a:cubicBezTo>
                  <a:pt x="1084" y="60"/>
                  <a:pt x="1084" y="60"/>
                  <a:pt x="1084" y="60"/>
                </a:cubicBezTo>
                <a:cubicBezTo>
                  <a:pt x="1083" y="59"/>
                  <a:pt x="1083" y="59"/>
                  <a:pt x="1083" y="59"/>
                </a:cubicBezTo>
                <a:lnTo>
                  <a:pt x="1083" y="60"/>
                </a:lnTo>
                <a:close/>
                <a:moveTo>
                  <a:pt x="2762" y="315"/>
                </a:moveTo>
                <a:cubicBezTo>
                  <a:pt x="2762" y="316"/>
                  <a:pt x="2762" y="316"/>
                  <a:pt x="2762" y="316"/>
                </a:cubicBezTo>
                <a:cubicBezTo>
                  <a:pt x="2763" y="318"/>
                  <a:pt x="2763" y="318"/>
                  <a:pt x="2763" y="318"/>
                </a:cubicBezTo>
                <a:cubicBezTo>
                  <a:pt x="2764" y="317"/>
                  <a:pt x="2764" y="317"/>
                  <a:pt x="2764" y="317"/>
                </a:cubicBezTo>
                <a:cubicBezTo>
                  <a:pt x="2763" y="315"/>
                  <a:pt x="2763" y="315"/>
                  <a:pt x="2763" y="315"/>
                </a:cubicBezTo>
                <a:cubicBezTo>
                  <a:pt x="2763" y="315"/>
                  <a:pt x="2763" y="315"/>
                  <a:pt x="2763" y="315"/>
                </a:cubicBezTo>
                <a:lnTo>
                  <a:pt x="2762" y="315"/>
                </a:lnTo>
                <a:close/>
                <a:moveTo>
                  <a:pt x="2766" y="316"/>
                </a:moveTo>
                <a:cubicBezTo>
                  <a:pt x="2765" y="315"/>
                  <a:pt x="2765" y="315"/>
                  <a:pt x="2765" y="315"/>
                </a:cubicBezTo>
                <a:cubicBezTo>
                  <a:pt x="2765" y="316"/>
                  <a:pt x="2765" y="316"/>
                  <a:pt x="2765" y="316"/>
                </a:cubicBezTo>
                <a:cubicBezTo>
                  <a:pt x="2765" y="316"/>
                  <a:pt x="2765" y="316"/>
                  <a:pt x="2765" y="316"/>
                </a:cubicBezTo>
                <a:cubicBezTo>
                  <a:pt x="2764" y="318"/>
                  <a:pt x="2764" y="318"/>
                  <a:pt x="2764" y="318"/>
                </a:cubicBezTo>
                <a:cubicBezTo>
                  <a:pt x="2765" y="318"/>
                  <a:pt x="2765" y="318"/>
                  <a:pt x="2765" y="318"/>
                </a:cubicBezTo>
                <a:cubicBezTo>
                  <a:pt x="2766" y="317"/>
                  <a:pt x="2766" y="317"/>
                  <a:pt x="2766" y="317"/>
                </a:cubicBezTo>
                <a:lnTo>
                  <a:pt x="2766" y="316"/>
                </a:lnTo>
                <a:close/>
                <a:moveTo>
                  <a:pt x="1003" y="474"/>
                </a:moveTo>
                <a:cubicBezTo>
                  <a:pt x="1002" y="474"/>
                  <a:pt x="1002" y="474"/>
                  <a:pt x="1002" y="474"/>
                </a:cubicBezTo>
                <a:cubicBezTo>
                  <a:pt x="1001" y="474"/>
                  <a:pt x="1001" y="474"/>
                  <a:pt x="1001" y="474"/>
                </a:cubicBezTo>
                <a:cubicBezTo>
                  <a:pt x="1001" y="474"/>
                  <a:pt x="1001" y="474"/>
                  <a:pt x="1001" y="474"/>
                </a:cubicBezTo>
                <a:cubicBezTo>
                  <a:pt x="1000" y="475"/>
                  <a:pt x="1000" y="475"/>
                  <a:pt x="1000" y="475"/>
                </a:cubicBezTo>
                <a:cubicBezTo>
                  <a:pt x="999" y="474"/>
                  <a:pt x="999" y="474"/>
                  <a:pt x="999" y="474"/>
                </a:cubicBezTo>
                <a:cubicBezTo>
                  <a:pt x="998" y="475"/>
                  <a:pt x="998" y="475"/>
                  <a:pt x="998" y="475"/>
                </a:cubicBezTo>
                <a:cubicBezTo>
                  <a:pt x="997" y="477"/>
                  <a:pt x="997" y="477"/>
                  <a:pt x="997" y="477"/>
                </a:cubicBezTo>
                <a:cubicBezTo>
                  <a:pt x="996" y="478"/>
                  <a:pt x="996" y="478"/>
                  <a:pt x="996" y="478"/>
                </a:cubicBezTo>
                <a:cubicBezTo>
                  <a:pt x="997" y="477"/>
                  <a:pt x="997" y="477"/>
                  <a:pt x="997" y="477"/>
                </a:cubicBezTo>
                <a:cubicBezTo>
                  <a:pt x="997" y="474"/>
                  <a:pt x="997" y="474"/>
                  <a:pt x="997" y="474"/>
                </a:cubicBezTo>
                <a:cubicBezTo>
                  <a:pt x="999" y="472"/>
                  <a:pt x="999" y="472"/>
                  <a:pt x="999" y="472"/>
                </a:cubicBezTo>
                <a:cubicBezTo>
                  <a:pt x="998" y="472"/>
                  <a:pt x="998" y="472"/>
                  <a:pt x="998" y="472"/>
                </a:cubicBezTo>
                <a:cubicBezTo>
                  <a:pt x="997" y="473"/>
                  <a:pt x="997" y="473"/>
                  <a:pt x="997" y="473"/>
                </a:cubicBezTo>
                <a:cubicBezTo>
                  <a:pt x="997" y="474"/>
                  <a:pt x="997" y="474"/>
                  <a:pt x="997" y="474"/>
                </a:cubicBezTo>
                <a:cubicBezTo>
                  <a:pt x="995" y="475"/>
                  <a:pt x="995" y="475"/>
                  <a:pt x="995" y="475"/>
                </a:cubicBezTo>
                <a:cubicBezTo>
                  <a:pt x="995" y="474"/>
                  <a:pt x="995" y="474"/>
                  <a:pt x="995" y="474"/>
                </a:cubicBezTo>
                <a:cubicBezTo>
                  <a:pt x="996" y="473"/>
                  <a:pt x="996" y="473"/>
                  <a:pt x="996" y="473"/>
                </a:cubicBezTo>
                <a:cubicBezTo>
                  <a:pt x="996" y="472"/>
                  <a:pt x="996" y="472"/>
                  <a:pt x="996" y="472"/>
                </a:cubicBezTo>
                <a:cubicBezTo>
                  <a:pt x="996" y="472"/>
                  <a:pt x="996" y="472"/>
                  <a:pt x="996" y="472"/>
                </a:cubicBezTo>
                <a:cubicBezTo>
                  <a:pt x="995" y="472"/>
                  <a:pt x="995" y="472"/>
                  <a:pt x="995" y="472"/>
                </a:cubicBezTo>
                <a:cubicBezTo>
                  <a:pt x="993" y="474"/>
                  <a:pt x="993" y="474"/>
                  <a:pt x="993" y="474"/>
                </a:cubicBezTo>
                <a:cubicBezTo>
                  <a:pt x="992" y="474"/>
                  <a:pt x="992" y="474"/>
                  <a:pt x="992" y="474"/>
                </a:cubicBezTo>
                <a:cubicBezTo>
                  <a:pt x="992" y="472"/>
                  <a:pt x="992" y="472"/>
                  <a:pt x="992" y="472"/>
                </a:cubicBezTo>
                <a:cubicBezTo>
                  <a:pt x="991" y="472"/>
                  <a:pt x="991" y="472"/>
                  <a:pt x="991" y="472"/>
                </a:cubicBezTo>
                <a:cubicBezTo>
                  <a:pt x="990" y="473"/>
                  <a:pt x="990" y="473"/>
                  <a:pt x="990" y="473"/>
                </a:cubicBezTo>
                <a:cubicBezTo>
                  <a:pt x="989" y="473"/>
                  <a:pt x="989" y="473"/>
                  <a:pt x="989" y="473"/>
                </a:cubicBezTo>
                <a:cubicBezTo>
                  <a:pt x="989" y="472"/>
                  <a:pt x="989" y="472"/>
                  <a:pt x="989" y="472"/>
                </a:cubicBezTo>
                <a:cubicBezTo>
                  <a:pt x="990" y="471"/>
                  <a:pt x="990" y="471"/>
                  <a:pt x="990" y="471"/>
                </a:cubicBezTo>
                <a:cubicBezTo>
                  <a:pt x="992" y="470"/>
                  <a:pt x="992" y="470"/>
                  <a:pt x="992" y="470"/>
                </a:cubicBezTo>
                <a:cubicBezTo>
                  <a:pt x="992" y="468"/>
                  <a:pt x="992" y="468"/>
                  <a:pt x="992" y="468"/>
                </a:cubicBezTo>
                <a:cubicBezTo>
                  <a:pt x="991" y="468"/>
                  <a:pt x="991" y="468"/>
                  <a:pt x="991" y="468"/>
                </a:cubicBezTo>
                <a:cubicBezTo>
                  <a:pt x="991" y="469"/>
                  <a:pt x="991" y="469"/>
                  <a:pt x="991" y="469"/>
                </a:cubicBezTo>
                <a:cubicBezTo>
                  <a:pt x="989" y="470"/>
                  <a:pt x="989" y="470"/>
                  <a:pt x="989" y="470"/>
                </a:cubicBezTo>
                <a:cubicBezTo>
                  <a:pt x="990" y="468"/>
                  <a:pt x="990" y="468"/>
                  <a:pt x="990" y="468"/>
                </a:cubicBezTo>
                <a:cubicBezTo>
                  <a:pt x="991" y="467"/>
                  <a:pt x="991" y="467"/>
                  <a:pt x="991" y="467"/>
                </a:cubicBezTo>
                <a:cubicBezTo>
                  <a:pt x="993" y="467"/>
                  <a:pt x="993" y="467"/>
                  <a:pt x="993" y="467"/>
                </a:cubicBezTo>
                <a:cubicBezTo>
                  <a:pt x="994" y="467"/>
                  <a:pt x="994" y="467"/>
                  <a:pt x="994" y="467"/>
                </a:cubicBezTo>
                <a:cubicBezTo>
                  <a:pt x="995" y="466"/>
                  <a:pt x="995" y="466"/>
                  <a:pt x="995" y="466"/>
                </a:cubicBezTo>
                <a:cubicBezTo>
                  <a:pt x="996" y="465"/>
                  <a:pt x="996" y="465"/>
                  <a:pt x="996" y="465"/>
                </a:cubicBezTo>
                <a:cubicBezTo>
                  <a:pt x="996" y="464"/>
                  <a:pt x="996" y="464"/>
                  <a:pt x="996" y="464"/>
                </a:cubicBezTo>
                <a:cubicBezTo>
                  <a:pt x="996" y="465"/>
                  <a:pt x="996" y="465"/>
                  <a:pt x="996" y="465"/>
                </a:cubicBezTo>
                <a:cubicBezTo>
                  <a:pt x="994" y="465"/>
                  <a:pt x="994" y="465"/>
                  <a:pt x="994" y="465"/>
                </a:cubicBezTo>
                <a:cubicBezTo>
                  <a:pt x="993" y="465"/>
                  <a:pt x="993" y="465"/>
                  <a:pt x="993" y="465"/>
                </a:cubicBezTo>
                <a:cubicBezTo>
                  <a:pt x="991" y="464"/>
                  <a:pt x="991" y="464"/>
                  <a:pt x="991" y="464"/>
                </a:cubicBezTo>
                <a:cubicBezTo>
                  <a:pt x="991" y="464"/>
                  <a:pt x="991" y="464"/>
                  <a:pt x="991" y="464"/>
                </a:cubicBezTo>
                <a:cubicBezTo>
                  <a:pt x="990" y="464"/>
                  <a:pt x="990" y="464"/>
                  <a:pt x="990" y="464"/>
                </a:cubicBezTo>
                <a:cubicBezTo>
                  <a:pt x="991" y="463"/>
                  <a:pt x="991" y="463"/>
                  <a:pt x="991" y="463"/>
                </a:cubicBezTo>
                <a:cubicBezTo>
                  <a:pt x="991" y="462"/>
                  <a:pt x="991" y="462"/>
                  <a:pt x="991" y="462"/>
                </a:cubicBezTo>
                <a:cubicBezTo>
                  <a:pt x="991" y="462"/>
                  <a:pt x="991" y="462"/>
                  <a:pt x="991" y="462"/>
                </a:cubicBezTo>
                <a:cubicBezTo>
                  <a:pt x="990" y="462"/>
                  <a:pt x="990" y="462"/>
                  <a:pt x="990" y="462"/>
                </a:cubicBezTo>
                <a:cubicBezTo>
                  <a:pt x="989" y="463"/>
                  <a:pt x="989" y="463"/>
                  <a:pt x="989" y="463"/>
                </a:cubicBezTo>
                <a:cubicBezTo>
                  <a:pt x="988" y="464"/>
                  <a:pt x="988" y="464"/>
                  <a:pt x="988" y="464"/>
                </a:cubicBezTo>
                <a:cubicBezTo>
                  <a:pt x="987" y="466"/>
                  <a:pt x="987" y="466"/>
                  <a:pt x="987" y="466"/>
                </a:cubicBezTo>
                <a:cubicBezTo>
                  <a:pt x="986" y="466"/>
                  <a:pt x="986" y="466"/>
                  <a:pt x="986" y="466"/>
                </a:cubicBezTo>
                <a:cubicBezTo>
                  <a:pt x="985" y="467"/>
                  <a:pt x="985" y="467"/>
                  <a:pt x="985" y="467"/>
                </a:cubicBezTo>
                <a:cubicBezTo>
                  <a:pt x="984" y="468"/>
                  <a:pt x="984" y="468"/>
                  <a:pt x="984" y="468"/>
                </a:cubicBezTo>
                <a:cubicBezTo>
                  <a:pt x="983" y="469"/>
                  <a:pt x="983" y="469"/>
                  <a:pt x="983" y="469"/>
                </a:cubicBezTo>
                <a:cubicBezTo>
                  <a:pt x="983" y="468"/>
                  <a:pt x="983" y="468"/>
                  <a:pt x="983" y="468"/>
                </a:cubicBezTo>
                <a:cubicBezTo>
                  <a:pt x="983" y="467"/>
                  <a:pt x="983" y="467"/>
                  <a:pt x="983" y="467"/>
                </a:cubicBezTo>
                <a:cubicBezTo>
                  <a:pt x="984" y="465"/>
                  <a:pt x="984" y="465"/>
                  <a:pt x="984" y="465"/>
                </a:cubicBezTo>
                <a:cubicBezTo>
                  <a:pt x="984" y="464"/>
                  <a:pt x="984" y="464"/>
                  <a:pt x="984" y="464"/>
                </a:cubicBezTo>
                <a:cubicBezTo>
                  <a:pt x="985" y="462"/>
                  <a:pt x="985" y="462"/>
                  <a:pt x="985" y="462"/>
                </a:cubicBezTo>
                <a:cubicBezTo>
                  <a:pt x="986" y="461"/>
                  <a:pt x="986" y="461"/>
                  <a:pt x="986" y="461"/>
                </a:cubicBezTo>
                <a:cubicBezTo>
                  <a:pt x="986" y="460"/>
                  <a:pt x="986" y="460"/>
                  <a:pt x="986" y="460"/>
                </a:cubicBezTo>
                <a:cubicBezTo>
                  <a:pt x="987" y="459"/>
                  <a:pt x="987" y="459"/>
                  <a:pt x="987" y="459"/>
                </a:cubicBezTo>
                <a:cubicBezTo>
                  <a:pt x="988" y="459"/>
                  <a:pt x="988" y="459"/>
                  <a:pt x="988" y="459"/>
                </a:cubicBezTo>
                <a:cubicBezTo>
                  <a:pt x="989" y="457"/>
                  <a:pt x="989" y="457"/>
                  <a:pt x="989" y="457"/>
                </a:cubicBezTo>
                <a:cubicBezTo>
                  <a:pt x="990" y="456"/>
                  <a:pt x="990" y="456"/>
                  <a:pt x="990" y="456"/>
                </a:cubicBezTo>
                <a:cubicBezTo>
                  <a:pt x="991" y="455"/>
                  <a:pt x="991" y="455"/>
                  <a:pt x="991" y="455"/>
                </a:cubicBezTo>
                <a:cubicBezTo>
                  <a:pt x="992" y="455"/>
                  <a:pt x="992" y="455"/>
                  <a:pt x="992" y="455"/>
                </a:cubicBezTo>
                <a:cubicBezTo>
                  <a:pt x="992" y="454"/>
                  <a:pt x="992" y="454"/>
                  <a:pt x="992" y="454"/>
                </a:cubicBezTo>
                <a:cubicBezTo>
                  <a:pt x="992" y="453"/>
                  <a:pt x="992" y="453"/>
                  <a:pt x="992" y="453"/>
                </a:cubicBezTo>
                <a:cubicBezTo>
                  <a:pt x="992" y="452"/>
                  <a:pt x="992" y="452"/>
                  <a:pt x="992" y="452"/>
                </a:cubicBezTo>
                <a:cubicBezTo>
                  <a:pt x="993" y="451"/>
                  <a:pt x="993" y="451"/>
                  <a:pt x="993" y="451"/>
                </a:cubicBezTo>
                <a:cubicBezTo>
                  <a:pt x="993" y="452"/>
                  <a:pt x="993" y="452"/>
                  <a:pt x="993" y="452"/>
                </a:cubicBezTo>
                <a:cubicBezTo>
                  <a:pt x="993" y="453"/>
                  <a:pt x="993" y="453"/>
                  <a:pt x="993" y="453"/>
                </a:cubicBezTo>
                <a:cubicBezTo>
                  <a:pt x="993" y="454"/>
                  <a:pt x="993" y="454"/>
                  <a:pt x="993" y="454"/>
                </a:cubicBezTo>
                <a:cubicBezTo>
                  <a:pt x="994" y="452"/>
                  <a:pt x="994" y="452"/>
                  <a:pt x="994" y="452"/>
                </a:cubicBezTo>
                <a:cubicBezTo>
                  <a:pt x="996" y="450"/>
                  <a:pt x="996" y="450"/>
                  <a:pt x="996" y="450"/>
                </a:cubicBezTo>
                <a:cubicBezTo>
                  <a:pt x="997" y="449"/>
                  <a:pt x="997" y="449"/>
                  <a:pt x="997" y="449"/>
                </a:cubicBezTo>
                <a:cubicBezTo>
                  <a:pt x="996" y="448"/>
                  <a:pt x="996" y="448"/>
                  <a:pt x="996" y="448"/>
                </a:cubicBezTo>
                <a:cubicBezTo>
                  <a:pt x="995" y="448"/>
                  <a:pt x="995" y="448"/>
                  <a:pt x="995" y="448"/>
                </a:cubicBezTo>
                <a:cubicBezTo>
                  <a:pt x="995" y="449"/>
                  <a:pt x="995" y="449"/>
                  <a:pt x="995" y="449"/>
                </a:cubicBezTo>
                <a:cubicBezTo>
                  <a:pt x="994" y="447"/>
                  <a:pt x="994" y="447"/>
                  <a:pt x="994" y="447"/>
                </a:cubicBezTo>
                <a:cubicBezTo>
                  <a:pt x="994" y="447"/>
                  <a:pt x="994" y="447"/>
                  <a:pt x="994" y="447"/>
                </a:cubicBezTo>
                <a:cubicBezTo>
                  <a:pt x="994" y="446"/>
                  <a:pt x="994" y="446"/>
                  <a:pt x="994" y="446"/>
                </a:cubicBezTo>
                <a:cubicBezTo>
                  <a:pt x="995" y="446"/>
                  <a:pt x="995" y="446"/>
                  <a:pt x="995" y="446"/>
                </a:cubicBezTo>
                <a:cubicBezTo>
                  <a:pt x="997" y="446"/>
                  <a:pt x="997" y="446"/>
                  <a:pt x="997" y="446"/>
                </a:cubicBezTo>
                <a:cubicBezTo>
                  <a:pt x="998" y="447"/>
                  <a:pt x="998" y="447"/>
                  <a:pt x="998" y="447"/>
                </a:cubicBezTo>
                <a:cubicBezTo>
                  <a:pt x="999" y="446"/>
                  <a:pt x="999" y="446"/>
                  <a:pt x="999" y="446"/>
                </a:cubicBezTo>
                <a:cubicBezTo>
                  <a:pt x="1000" y="445"/>
                  <a:pt x="1000" y="445"/>
                  <a:pt x="1000" y="445"/>
                </a:cubicBezTo>
                <a:cubicBezTo>
                  <a:pt x="1000" y="443"/>
                  <a:pt x="1000" y="443"/>
                  <a:pt x="1000" y="443"/>
                </a:cubicBezTo>
                <a:cubicBezTo>
                  <a:pt x="998" y="443"/>
                  <a:pt x="998" y="443"/>
                  <a:pt x="998" y="443"/>
                </a:cubicBezTo>
                <a:cubicBezTo>
                  <a:pt x="997" y="443"/>
                  <a:pt x="997" y="443"/>
                  <a:pt x="997" y="443"/>
                </a:cubicBezTo>
                <a:cubicBezTo>
                  <a:pt x="997" y="444"/>
                  <a:pt x="997" y="444"/>
                  <a:pt x="997" y="444"/>
                </a:cubicBezTo>
                <a:cubicBezTo>
                  <a:pt x="996" y="444"/>
                  <a:pt x="996" y="444"/>
                  <a:pt x="996" y="444"/>
                </a:cubicBezTo>
                <a:cubicBezTo>
                  <a:pt x="996" y="443"/>
                  <a:pt x="996" y="443"/>
                  <a:pt x="996" y="443"/>
                </a:cubicBezTo>
                <a:cubicBezTo>
                  <a:pt x="996" y="442"/>
                  <a:pt x="996" y="442"/>
                  <a:pt x="996" y="442"/>
                </a:cubicBezTo>
                <a:cubicBezTo>
                  <a:pt x="995" y="443"/>
                  <a:pt x="995" y="443"/>
                  <a:pt x="995" y="443"/>
                </a:cubicBezTo>
                <a:cubicBezTo>
                  <a:pt x="994" y="444"/>
                  <a:pt x="994" y="444"/>
                  <a:pt x="994" y="444"/>
                </a:cubicBezTo>
                <a:cubicBezTo>
                  <a:pt x="993" y="444"/>
                  <a:pt x="993" y="444"/>
                  <a:pt x="993" y="444"/>
                </a:cubicBezTo>
                <a:cubicBezTo>
                  <a:pt x="992" y="445"/>
                  <a:pt x="992" y="445"/>
                  <a:pt x="992" y="445"/>
                </a:cubicBezTo>
                <a:cubicBezTo>
                  <a:pt x="991" y="446"/>
                  <a:pt x="991" y="446"/>
                  <a:pt x="991" y="446"/>
                </a:cubicBezTo>
                <a:cubicBezTo>
                  <a:pt x="990" y="446"/>
                  <a:pt x="990" y="446"/>
                  <a:pt x="990" y="446"/>
                </a:cubicBezTo>
                <a:cubicBezTo>
                  <a:pt x="988" y="447"/>
                  <a:pt x="988" y="447"/>
                  <a:pt x="988" y="447"/>
                </a:cubicBezTo>
                <a:cubicBezTo>
                  <a:pt x="986" y="448"/>
                  <a:pt x="986" y="448"/>
                  <a:pt x="986" y="448"/>
                </a:cubicBezTo>
                <a:cubicBezTo>
                  <a:pt x="986" y="450"/>
                  <a:pt x="986" y="450"/>
                  <a:pt x="986" y="450"/>
                </a:cubicBezTo>
                <a:cubicBezTo>
                  <a:pt x="985" y="450"/>
                  <a:pt x="985" y="450"/>
                  <a:pt x="985" y="450"/>
                </a:cubicBezTo>
                <a:cubicBezTo>
                  <a:pt x="984" y="450"/>
                  <a:pt x="984" y="450"/>
                  <a:pt x="984" y="450"/>
                </a:cubicBezTo>
                <a:cubicBezTo>
                  <a:pt x="984" y="450"/>
                  <a:pt x="984" y="450"/>
                  <a:pt x="984" y="450"/>
                </a:cubicBezTo>
                <a:cubicBezTo>
                  <a:pt x="985" y="451"/>
                  <a:pt x="985" y="451"/>
                  <a:pt x="985" y="451"/>
                </a:cubicBezTo>
                <a:cubicBezTo>
                  <a:pt x="985" y="452"/>
                  <a:pt x="985" y="452"/>
                  <a:pt x="985" y="452"/>
                </a:cubicBezTo>
                <a:cubicBezTo>
                  <a:pt x="984" y="453"/>
                  <a:pt x="984" y="453"/>
                  <a:pt x="984" y="453"/>
                </a:cubicBezTo>
                <a:cubicBezTo>
                  <a:pt x="982" y="454"/>
                  <a:pt x="982" y="454"/>
                  <a:pt x="982" y="454"/>
                </a:cubicBezTo>
                <a:cubicBezTo>
                  <a:pt x="981" y="455"/>
                  <a:pt x="981" y="455"/>
                  <a:pt x="981" y="455"/>
                </a:cubicBezTo>
                <a:cubicBezTo>
                  <a:pt x="981" y="455"/>
                  <a:pt x="981" y="455"/>
                  <a:pt x="981" y="455"/>
                </a:cubicBezTo>
                <a:cubicBezTo>
                  <a:pt x="981" y="456"/>
                  <a:pt x="981" y="456"/>
                  <a:pt x="981" y="456"/>
                </a:cubicBezTo>
                <a:cubicBezTo>
                  <a:pt x="980" y="456"/>
                  <a:pt x="980" y="456"/>
                  <a:pt x="980" y="456"/>
                </a:cubicBezTo>
                <a:cubicBezTo>
                  <a:pt x="980" y="457"/>
                  <a:pt x="980" y="457"/>
                  <a:pt x="980" y="457"/>
                </a:cubicBezTo>
                <a:cubicBezTo>
                  <a:pt x="981" y="457"/>
                  <a:pt x="981" y="457"/>
                  <a:pt x="981" y="457"/>
                </a:cubicBezTo>
                <a:cubicBezTo>
                  <a:pt x="980" y="458"/>
                  <a:pt x="980" y="458"/>
                  <a:pt x="980" y="458"/>
                </a:cubicBezTo>
                <a:cubicBezTo>
                  <a:pt x="979" y="458"/>
                  <a:pt x="979" y="458"/>
                  <a:pt x="979" y="458"/>
                </a:cubicBezTo>
                <a:cubicBezTo>
                  <a:pt x="978" y="460"/>
                  <a:pt x="978" y="460"/>
                  <a:pt x="978" y="460"/>
                </a:cubicBezTo>
                <a:cubicBezTo>
                  <a:pt x="977" y="460"/>
                  <a:pt x="977" y="460"/>
                  <a:pt x="977" y="460"/>
                </a:cubicBezTo>
                <a:cubicBezTo>
                  <a:pt x="978" y="460"/>
                  <a:pt x="978" y="460"/>
                  <a:pt x="978" y="460"/>
                </a:cubicBezTo>
                <a:cubicBezTo>
                  <a:pt x="979" y="461"/>
                  <a:pt x="979" y="461"/>
                  <a:pt x="979" y="461"/>
                </a:cubicBezTo>
                <a:cubicBezTo>
                  <a:pt x="978" y="461"/>
                  <a:pt x="978" y="461"/>
                  <a:pt x="978" y="461"/>
                </a:cubicBezTo>
                <a:cubicBezTo>
                  <a:pt x="976" y="461"/>
                  <a:pt x="976" y="461"/>
                  <a:pt x="976" y="461"/>
                </a:cubicBezTo>
                <a:cubicBezTo>
                  <a:pt x="975" y="463"/>
                  <a:pt x="975" y="463"/>
                  <a:pt x="975" y="463"/>
                </a:cubicBezTo>
                <a:cubicBezTo>
                  <a:pt x="975" y="464"/>
                  <a:pt x="975" y="464"/>
                  <a:pt x="975" y="464"/>
                </a:cubicBezTo>
                <a:cubicBezTo>
                  <a:pt x="973" y="467"/>
                  <a:pt x="973" y="467"/>
                  <a:pt x="973" y="467"/>
                </a:cubicBezTo>
                <a:cubicBezTo>
                  <a:pt x="973" y="468"/>
                  <a:pt x="973" y="468"/>
                  <a:pt x="973" y="468"/>
                </a:cubicBezTo>
                <a:cubicBezTo>
                  <a:pt x="974" y="469"/>
                  <a:pt x="974" y="469"/>
                  <a:pt x="974" y="469"/>
                </a:cubicBezTo>
                <a:cubicBezTo>
                  <a:pt x="974" y="470"/>
                  <a:pt x="974" y="470"/>
                  <a:pt x="974" y="470"/>
                </a:cubicBezTo>
                <a:cubicBezTo>
                  <a:pt x="973" y="470"/>
                  <a:pt x="973" y="470"/>
                  <a:pt x="973" y="470"/>
                </a:cubicBezTo>
                <a:cubicBezTo>
                  <a:pt x="973" y="470"/>
                  <a:pt x="973" y="470"/>
                  <a:pt x="973" y="470"/>
                </a:cubicBezTo>
                <a:cubicBezTo>
                  <a:pt x="972" y="470"/>
                  <a:pt x="972" y="470"/>
                  <a:pt x="972" y="470"/>
                </a:cubicBezTo>
                <a:cubicBezTo>
                  <a:pt x="970" y="471"/>
                  <a:pt x="970" y="471"/>
                  <a:pt x="970" y="471"/>
                </a:cubicBezTo>
                <a:cubicBezTo>
                  <a:pt x="969" y="472"/>
                  <a:pt x="969" y="472"/>
                  <a:pt x="969" y="472"/>
                </a:cubicBezTo>
                <a:cubicBezTo>
                  <a:pt x="970" y="473"/>
                  <a:pt x="970" y="473"/>
                  <a:pt x="970" y="473"/>
                </a:cubicBezTo>
                <a:cubicBezTo>
                  <a:pt x="971" y="473"/>
                  <a:pt x="971" y="473"/>
                  <a:pt x="971" y="473"/>
                </a:cubicBezTo>
                <a:cubicBezTo>
                  <a:pt x="971" y="474"/>
                  <a:pt x="971" y="474"/>
                  <a:pt x="971" y="474"/>
                </a:cubicBezTo>
                <a:cubicBezTo>
                  <a:pt x="971" y="474"/>
                  <a:pt x="971" y="474"/>
                  <a:pt x="971" y="474"/>
                </a:cubicBezTo>
                <a:cubicBezTo>
                  <a:pt x="970" y="475"/>
                  <a:pt x="970" y="475"/>
                  <a:pt x="970" y="475"/>
                </a:cubicBezTo>
                <a:cubicBezTo>
                  <a:pt x="969" y="476"/>
                  <a:pt x="969" y="476"/>
                  <a:pt x="969" y="476"/>
                </a:cubicBezTo>
                <a:cubicBezTo>
                  <a:pt x="967" y="476"/>
                  <a:pt x="967" y="476"/>
                  <a:pt x="967" y="476"/>
                </a:cubicBezTo>
                <a:cubicBezTo>
                  <a:pt x="967" y="476"/>
                  <a:pt x="967" y="476"/>
                  <a:pt x="967" y="476"/>
                </a:cubicBezTo>
                <a:cubicBezTo>
                  <a:pt x="967" y="477"/>
                  <a:pt x="967" y="477"/>
                  <a:pt x="967" y="477"/>
                </a:cubicBezTo>
                <a:cubicBezTo>
                  <a:pt x="965" y="478"/>
                  <a:pt x="965" y="478"/>
                  <a:pt x="965" y="478"/>
                </a:cubicBezTo>
                <a:cubicBezTo>
                  <a:pt x="964" y="480"/>
                  <a:pt x="964" y="480"/>
                  <a:pt x="964" y="480"/>
                </a:cubicBezTo>
                <a:cubicBezTo>
                  <a:pt x="963" y="482"/>
                  <a:pt x="963" y="482"/>
                  <a:pt x="963" y="482"/>
                </a:cubicBezTo>
                <a:cubicBezTo>
                  <a:pt x="963" y="482"/>
                  <a:pt x="963" y="482"/>
                  <a:pt x="963" y="482"/>
                </a:cubicBezTo>
                <a:cubicBezTo>
                  <a:pt x="963" y="480"/>
                  <a:pt x="963" y="480"/>
                  <a:pt x="963" y="480"/>
                </a:cubicBezTo>
                <a:cubicBezTo>
                  <a:pt x="962" y="482"/>
                  <a:pt x="962" y="482"/>
                  <a:pt x="962" y="482"/>
                </a:cubicBezTo>
                <a:cubicBezTo>
                  <a:pt x="961" y="480"/>
                  <a:pt x="961" y="480"/>
                  <a:pt x="961" y="480"/>
                </a:cubicBezTo>
                <a:cubicBezTo>
                  <a:pt x="962" y="480"/>
                  <a:pt x="962" y="480"/>
                  <a:pt x="962" y="480"/>
                </a:cubicBezTo>
                <a:cubicBezTo>
                  <a:pt x="963" y="479"/>
                  <a:pt x="963" y="479"/>
                  <a:pt x="963" y="479"/>
                </a:cubicBezTo>
                <a:cubicBezTo>
                  <a:pt x="963" y="478"/>
                  <a:pt x="963" y="478"/>
                  <a:pt x="963" y="478"/>
                </a:cubicBezTo>
                <a:cubicBezTo>
                  <a:pt x="963" y="478"/>
                  <a:pt x="963" y="478"/>
                  <a:pt x="963" y="478"/>
                </a:cubicBezTo>
                <a:cubicBezTo>
                  <a:pt x="961" y="479"/>
                  <a:pt x="961" y="479"/>
                  <a:pt x="961" y="479"/>
                </a:cubicBezTo>
                <a:cubicBezTo>
                  <a:pt x="959" y="481"/>
                  <a:pt x="959" y="481"/>
                  <a:pt x="959" y="481"/>
                </a:cubicBezTo>
                <a:cubicBezTo>
                  <a:pt x="958" y="483"/>
                  <a:pt x="958" y="483"/>
                  <a:pt x="958" y="483"/>
                </a:cubicBezTo>
                <a:cubicBezTo>
                  <a:pt x="959" y="483"/>
                  <a:pt x="959" y="483"/>
                  <a:pt x="959" y="483"/>
                </a:cubicBezTo>
                <a:cubicBezTo>
                  <a:pt x="960" y="483"/>
                  <a:pt x="960" y="483"/>
                  <a:pt x="960" y="483"/>
                </a:cubicBezTo>
                <a:cubicBezTo>
                  <a:pt x="963" y="482"/>
                  <a:pt x="963" y="482"/>
                  <a:pt x="963" y="482"/>
                </a:cubicBezTo>
                <a:cubicBezTo>
                  <a:pt x="965" y="482"/>
                  <a:pt x="965" y="482"/>
                  <a:pt x="965" y="482"/>
                </a:cubicBezTo>
                <a:cubicBezTo>
                  <a:pt x="964" y="484"/>
                  <a:pt x="964" y="484"/>
                  <a:pt x="964" y="484"/>
                </a:cubicBezTo>
                <a:cubicBezTo>
                  <a:pt x="962" y="486"/>
                  <a:pt x="962" y="486"/>
                  <a:pt x="962" y="486"/>
                </a:cubicBezTo>
                <a:cubicBezTo>
                  <a:pt x="961" y="488"/>
                  <a:pt x="961" y="488"/>
                  <a:pt x="961" y="488"/>
                </a:cubicBezTo>
                <a:cubicBezTo>
                  <a:pt x="958" y="489"/>
                  <a:pt x="958" y="489"/>
                  <a:pt x="958" y="489"/>
                </a:cubicBezTo>
                <a:cubicBezTo>
                  <a:pt x="957" y="491"/>
                  <a:pt x="957" y="491"/>
                  <a:pt x="957" y="491"/>
                </a:cubicBezTo>
                <a:cubicBezTo>
                  <a:pt x="955" y="491"/>
                  <a:pt x="955" y="491"/>
                  <a:pt x="955" y="491"/>
                </a:cubicBezTo>
                <a:cubicBezTo>
                  <a:pt x="955" y="492"/>
                  <a:pt x="955" y="492"/>
                  <a:pt x="955" y="492"/>
                </a:cubicBezTo>
                <a:cubicBezTo>
                  <a:pt x="955" y="493"/>
                  <a:pt x="955" y="493"/>
                  <a:pt x="955" y="493"/>
                </a:cubicBezTo>
                <a:cubicBezTo>
                  <a:pt x="955" y="494"/>
                  <a:pt x="955" y="494"/>
                  <a:pt x="955" y="494"/>
                </a:cubicBezTo>
                <a:cubicBezTo>
                  <a:pt x="955" y="495"/>
                  <a:pt x="955" y="495"/>
                  <a:pt x="955" y="495"/>
                </a:cubicBezTo>
                <a:cubicBezTo>
                  <a:pt x="956" y="495"/>
                  <a:pt x="956" y="495"/>
                  <a:pt x="956" y="495"/>
                </a:cubicBezTo>
                <a:cubicBezTo>
                  <a:pt x="958" y="496"/>
                  <a:pt x="958" y="496"/>
                  <a:pt x="958" y="496"/>
                </a:cubicBezTo>
                <a:cubicBezTo>
                  <a:pt x="961" y="496"/>
                  <a:pt x="961" y="496"/>
                  <a:pt x="961" y="496"/>
                </a:cubicBezTo>
                <a:cubicBezTo>
                  <a:pt x="962" y="495"/>
                  <a:pt x="962" y="495"/>
                  <a:pt x="962" y="495"/>
                </a:cubicBezTo>
                <a:cubicBezTo>
                  <a:pt x="964" y="494"/>
                  <a:pt x="964" y="494"/>
                  <a:pt x="964" y="494"/>
                </a:cubicBezTo>
                <a:cubicBezTo>
                  <a:pt x="965" y="493"/>
                  <a:pt x="965" y="493"/>
                  <a:pt x="965" y="493"/>
                </a:cubicBezTo>
                <a:cubicBezTo>
                  <a:pt x="965" y="492"/>
                  <a:pt x="965" y="492"/>
                  <a:pt x="965" y="492"/>
                </a:cubicBezTo>
                <a:cubicBezTo>
                  <a:pt x="966" y="493"/>
                  <a:pt x="966" y="493"/>
                  <a:pt x="966" y="493"/>
                </a:cubicBezTo>
                <a:cubicBezTo>
                  <a:pt x="965" y="494"/>
                  <a:pt x="965" y="494"/>
                  <a:pt x="965" y="494"/>
                </a:cubicBezTo>
                <a:cubicBezTo>
                  <a:pt x="967" y="495"/>
                  <a:pt x="967" y="495"/>
                  <a:pt x="967" y="495"/>
                </a:cubicBezTo>
                <a:cubicBezTo>
                  <a:pt x="968" y="494"/>
                  <a:pt x="968" y="494"/>
                  <a:pt x="968" y="494"/>
                </a:cubicBezTo>
                <a:cubicBezTo>
                  <a:pt x="969" y="495"/>
                  <a:pt x="969" y="495"/>
                  <a:pt x="969" y="495"/>
                </a:cubicBezTo>
                <a:cubicBezTo>
                  <a:pt x="972" y="495"/>
                  <a:pt x="972" y="495"/>
                  <a:pt x="972" y="495"/>
                </a:cubicBezTo>
                <a:cubicBezTo>
                  <a:pt x="973" y="495"/>
                  <a:pt x="973" y="495"/>
                  <a:pt x="973" y="495"/>
                </a:cubicBezTo>
                <a:cubicBezTo>
                  <a:pt x="973" y="496"/>
                  <a:pt x="973" y="496"/>
                  <a:pt x="973" y="496"/>
                </a:cubicBezTo>
                <a:cubicBezTo>
                  <a:pt x="974" y="496"/>
                  <a:pt x="974" y="496"/>
                  <a:pt x="974" y="496"/>
                </a:cubicBezTo>
                <a:cubicBezTo>
                  <a:pt x="976" y="496"/>
                  <a:pt x="976" y="496"/>
                  <a:pt x="976" y="496"/>
                </a:cubicBezTo>
                <a:cubicBezTo>
                  <a:pt x="977" y="496"/>
                  <a:pt x="977" y="496"/>
                  <a:pt x="977" y="496"/>
                </a:cubicBezTo>
                <a:cubicBezTo>
                  <a:pt x="977" y="497"/>
                  <a:pt x="977" y="497"/>
                  <a:pt x="977" y="497"/>
                </a:cubicBezTo>
                <a:cubicBezTo>
                  <a:pt x="978" y="497"/>
                  <a:pt x="978" y="497"/>
                  <a:pt x="978" y="497"/>
                </a:cubicBezTo>
                <a:cubicBezTo>
                  <a:pt x="979" y="496"/>
                  <a:pt x="979" y="496"/>
                  <a:pt x="979" y="496"/>
                </a:cubicBezTo>
                <a:cubicBezTo>
                  <a:pt x="979" y="496"/>
                  <a:pt x="979" y="496"/>
                  <a:pt x="979" y="496"/>
                </a:cubicBezTo>
                <a:cubicBezTo>
                  <a:pt x="981" y="496"/>
                  <a:pt x="981" y="496"/>
                  <a:pt x="981" y="496"/>
                </a:cubicBezTo>
                <a:cubicBezTo>
                  <a:pt x="981" y="496"/>
                  <a:pt x="981" y="496"/>
                  <a:pt x="981" y="496"/>
                </a:cubicBezTo>
                <a:cubicBezTo>
                  <a:pt x="982" y="496"/>
                  <a:pt x="982" y="496"/>
                  <a:pt x="982" y="496"/>
                </a:cubicBezTo>
                <a:cubicBezTo>
                  <a:pt x="983" y="495"/>
                  <a:pt x="983" y="495"/>
                  <a:pt x="983" y="495"/>
                </a:cubicBezTo>
                <a:cubicBezTo>
                  <a:pt x="983" y="495"/>
                  <a:pt x="983" y="495"/>
                  <a:pt x="983" y="495"/>
                </a:cubicBezTo>
                <a:cubicBezTo>
                  <a:pt x="984" y="496"/>
                  <a:pt x="984" y="496"/>
                  <a:pt x="984" y="496"/>
                </a:cubicBezTo>
                <a:cubicBezTo>
                  <a:pt x="985" y="495"/>
                  <a:pt x="985" y="495"/>
                  <a:pt x="985" y="495"/>
                </a:cubicBezTo>
                <a:cubicBezTo>
                  <a:pt x="985" y="494"/>
                  <a:pt x="985" y="494"/>
                  <a:pt x="985" y="494"/>
                </a:cubicBezTo>
                <a:cubicBezTo>
                  <a:pt x="985" y="493"/>
                  <a:pt x="985" y="493"/>
                  <a:pt x="985" y="493"/>
                </a:cubicBezTo>
                <a:cubicBezTo>
                  <a:pt x="985" y="493"/>
                  <a:pt x="985" y="493"/>
                  <a:pt x="985" y="493"/>
                </a:cubicBezTo>
                <a:cubicBezTo>
                  <a:pt x="986" y="492"/>
                  <a:pt x="986" y="492"/>
                  <a:pt x="986" y="492"/>
                </a:cubicBezTo>
                <a:cubicBezTo>
                  <a:pt x="987" y="492"/>
                  <a:pt x="987" y="492"/>
                  <a:pt x="987" y="492"/>
                </a:cubicBezTo>
                <a:cubicBezTo>
                  <a:pt x="986" y="492"/>
                  <a:pt x="986" y="492"/>
                  <a:pt x="986" y="492"/>
                </a:cubicBezTo>
                <a:cubicBezTo>
                  <a:pt x="986" y="494"/>
                  <a:pt x="986" y="494"/>
                  <a:pt x="986" y="494"/>
                </a:cubicBezTo>
                <a:cubicBezTo>
                  <a:pt x="986" y="495"/>
                  <a:pt x="986" y="495"/>
                  <a:pt x="986" y="495"/>
                </a:cubicBezTo>
                <a:cubicBezTo>
                  <a:pt x="986" y="494"/>
                  <a:pt x="986" y="494"/>
                  <a:pt x="986" y="494"/>
                </a:cubicBezTo>
                <a:cubicBezTo>
                  <a:pt x="988" y="493"/>
                  <a:pt x="988" y="493"/>
                  <a:pt x="988" y="493"/>
                </a:cubicBezTo>
                <a:cubicBezTo>
                  <a:pt x="988" y="492"/>
                  <a:pt x="988" y="492"/>
                  <a:pt x="988" y="492"/>
                </a:cubicBezTo>
                <a:cubicBezTo>
                  <a:pt x="988" y="494"/>
                  <a:pt x="988" y="494"/>
                  <a:pt x="988" y="494"/>
                </a:cubicBezTo>
                <a:cubicBezTo>
                  <a:pt x="987" y="495"/>
                  <a:pt x="987" y="495"/>
                  <a:pt x="987" y="495"/>
                </a:cubicBezTo>
                <a:cubicBezTo>
                  <a:pt x="987" y="495"/>
                  <a:pt x="987" y="495"/>
                  <a:pt x="987" y="495"/>
                </a:cubicBezTo>
                <a:cubicBezTo>
                  <a:pt x="989" y="495"/>
                  <a:pt x="989" y="495"/>
                  <a:pt x="989" y="495"/>
                </a:cubicBezTo>
                <a:cubicBezTo>
                  <a:pt x="989" y="495"/>
                  <a:pt x="989" y="495"/>
                  <a:pt x="989" y="495"/>
                </a:cubicBezTo>
                <a:cubicBezTo>
                  <a:pt x="989" y="495"/>
                  <a:pt x="989" y="495"/>
                  <a:pt x="989" y="495"/>
                </a:cubicBezTo>
                <a:cubicBezTo>
                  <a:pt x="987" y="497"/>
                  <a:pt x="987" y="497"/>
                  <a:pt x="987" y="497"/>
                </a:cubicBezTo>
                <a:cubicBezTo>
                  <a:pt x="985" y="497"/>
                  <a:pt x="985" y="497"/>
                  <a:pt x="985" y="497"/>
                </a:cubicBezTo>
                <a:cubicBezTo>
                  <a:pt x="986" y="498"/>
                  <a:pt x="986" y="498"/>
                  <a:pt x="986" y="498"/>
                </a:cubicBezTo>
                <a:cubicBezTo>
                  <a:pt x="986" y="498"/>
                  <a:pt x="986" y="498"/>
                  <a:pt x="986" y="498"/>
                </a:cubicBezTo>
                <a:cubicBezTo>
                  <a:pt x="987" y="497"/>
                  <a:pt x="987" y="497"/>
                  <a:pt x="987" y="497"/>
                </a:cubicBezTo>
                <a:cubicBezTo>
                  <a:pt x="988" y="498"/>
                  <a:pt x="988" y="498"/>
                  <a:pt x="988" y="498"/>
                </a:cubicBezTo>
                <a:cubicBezTo>
                  <a:pt x="989" y="498"/>
                  <a:pt x="989" y="498"/>
                  <a:pt x="989" y="498"/>
                </a:cubicBezTo>
                <a:cubicBezTo>
                  <a:pt x="989" y="499"/>
                  <a:pt x="989" y="499"/>
                  <a:pt x="989" y="499"/>
                </a:cubicBezTo>
                <a:cubicBezTo>
                  <a:pt x="990" y="498"/>
                  <a:pt x="990" y="498"/>
                  <a:pt x="990" y="498"/>
                </a:cubicBezTo>
                <a:cubicBezTo>
                  <a:pt x="991" y="498"/>
                  <a:pt x="991" y="498"/>
                  <a:pt x="991" y="498"/>
                </a:cubicBezTo>
                <a:cubicBezTo>
                  <a:pt x="992" y="496"/>
                  <a:pt x="992" y="496"/>
                  <a:pt x="992" y="496"/>
                </a:cubicBezTo>
                <a:cubicBezTo>
                  <a:pt x="992" y="495"/>
                  <a:pt x="992" y="495"/>
                  <a:pt x="992" y="495"/>
                </a:cubicBezTo>
                <a:cubicBezTo>
                  <a:pt x="993" y="496"/>
                  <a:pt x="993" y="496"/>
                  <a:pt x="993" y="496"/>
                </a:cubicBezTo>
                <a:cubicBezTo>
                  <a:pt x="994" y="496"/>
                  <a:pt x="994" y="496"/>
                  <a:pt x="994" y="496"/>
                </a:cubicBezTo>
                <a:cubicBezTo>
                  <a:pt x="995" y="497"/>
                  <a:pt x="995" y="497"/>
                  <a:pt x="995" y="497"/>
                </a:cubicBezTo>
                <a:cubicBezTo>
                  <a:pt x="996" y="497"/>
                  <a:pt x="996" y="497"/>
                  <a:pt x="996" y="497"/>
                </a:cubicBezTo>
                <a:cubicBezTo>
                  <a:pt x="997" y="496"/>
                  <a:pt x="997" y="496"/>
                  <a:pt x="997" y="496"/>
                </a:cubicBezTo>
                <a:cubicBezTo>
                  <a:pt x="998" y="496"/>
                  <a:pt x="998" y="496"/>
                  <a:pt x="998" y="496"/>
                </a:cubicBezTo>
                <a:cubicBezTo>
                  <a:pt x="997" y="497"/>
                  <a:pt x="997" y="497"/>
                  <a:pt x="997" y="497"/>
                </a:cubicBezTo>
                <a:cubicBezTo>
                  <a:pt x="997" y="498"/>
                  <a:pt x="997" y="498"/>
                  <a:pt x="997" y="498"/>
                </a:cubicBezTo>
                <a:cubicBezTo>
                  <a:pt x="995" y="498"/>
                  <a:pt x="995" y="498"/>
                  <a:pt x="995" y="498"/>
                </a:cubicBezTo>
                <a:cubicBezTo>
                  <a:pt x="994" y="499"/>
                  <a:pt x="994" y="499"/>
                  <a:pt x="994" y="499"/>
                </a:cubicBezTo>
                <a:cubicBezTo>
                  <a:pt x="993" y="500"/>
                  <a:pt x="993" y="500"/>
                  <a:pt x="993" y="500"/>
                </a:cubicBezTo>
                <a:cubicBezTo>
                  <a:pt x="993" y="500"/>
                  <a:pt x="993" y="500"/>
                  <a:pt x="993" y="500"/>
                </a:cubicBezTo>
                <a:cubicBezTo>
                  <a:pt x="992" y="501"/>
                  <a:pt x="992" y="501"/>
                  <a:pt x="992" y="501"/>
                </a:cubicBezTo>
                <a:cubicBezTo>
                  <a:pt x="992" y="502"/>
                  <a:pt x="992" y="502"/>
                  <a:pt x="992" y="502"/>
                </a:cubicBezTo>
                <a:cubicBezTo>
                  <a:pt x="991" y="502"/>
                  <a:pt x="991" y="502"/>
                  <a:pt x="991" y="502"/>
                </a:cubicBezTo>
                <a:cubicBezTo>
                  <a:pt x="990" y="502"/>
                  <a:pt x="990" y="502"/>
                  <a:pt x="990" y="502"/>
                </a:cubicBezTo>
                <a:cubicBezTo>
                  <a:pt x="989" y="503"/>
                  <a:pt x="989" y="503"/>
                  <a:pt x="989" y="503"/>
                </a:cubicBezTo>
                <a:cubicBezTo>
                  <a:pt x="989" y="503"/>
                  <a:pt x="989" y="503"/>
                  <a:pt x="989" y="503"/>
                </a:cubicBezTo>
                <a:cubicBezTo>
                  <a:pt x="987" y="504"/>
                  <a:pt x="987" y="504"/>
                  <a:pt x="987" y="504"/>
                </a:cubicBezTo>
                <a:cubicBezTo>
                  <a:pt x="985" y="505"/>
                  <a:pt x="985" y="505"/>
                  <a:pt x="985" y="505"/>
                </a:cubicBezTo>
                <a:cubicBezTo>
                  <a:pt x="985" y="505"/>
                  <a:pt x="985" y="505"/>
                  <a:pt x="985" y="505"/>
                </a:cubicBezTo>
                <a:cubicBezTo>
                  <a:pt x="986" y="506"/>
                  <a:pt x="986" y="506"/>
                  <a:pt x="986" y="506"/>
                </a:cubicBezTo>
                <a:cubicBezTo>
                  <a:pt x="986" y="507"/>
                  <a:pt x="986" y="507"/>
                  <a:pt x="986" y="507"/>
                </a:cubicBezTo>
                <a:cubicBezTo>
                  <a:pt x="987" y="507"/>
                  <a:pt x="987" y="507"/>
                  <a:pt x="987" y="507"/>
                </a:cubicBezTo>
                <a:cubicBezTo>
                  <a:pt x="988" y="506"/>
                  <a:pt x="988" y="506"/>
                  <a:pt x="988" y="506"/>
                </a:cubicBezTo>
                <a:cubicBezTo>
                  <a:pt x="989" y="505"/>
                  <a:pt x="989" y="505"/>
                  <a:pt x="989" y="505"/>
                </a:cubicBezTo>
                <a:cubicBezTo>
                  <a:pt x="989" y="506"/>
                  <a:pt x="989" y="506"/>
                  <a:pt x="989" y="506"/>
                </a:cubicBezTo>
                <a:cubicBezTo>
                  <a:pt x="989" y="506"/>
                  <a:pt x="989" y="506"/>
                  <a:pt x="989" y="506"/>
                </a:cubicBezTo>
                <a:cubicBezTo>
                  <a:pt x="990" y="507"/>
                  <a:pt x="990" y="507"/>
                  <a:pt x="990" y="507"/>
                </a:cubicBezTo>
                <a:cubicBezTo>
                  <a:pt x="991" y="506"/>
                  <a:pt x="991" y="506"/>
                  <a:pt x="991" y="506"/>
                </a:cubicBezTo>
                <a:cubicBezTo>
                  <a:pt x="992" y="505"/>
                  <a:pt x="992" y="505"/>
                  <a:pt x="992" y="505"/>
                </a:cubicBezTo>
                <a:cubicBezTo>
                  <a:pt x="993" y="504"/>
                  <a:pt x="993" y="504"/>
                  <a:pt x="993" y="504"/>
                </a:cubicBezTo>
                <a:cubicBezTo>
                  <a:pt x="993" y="504"/>
                  <a:pt x="993" y="504"/>
                  <a:pt x="993" y="504"/>
                </a:cubicBezTo>
                <a:cubicBezTo>
                  <a:pt x="994" y="503"/>
                  <a:pt x="994" y="503"/>
                  <a:pt x="994" y="503"/>
                </a:cubicBezTo>
                <a:cubicBezTo>
                  <a:pt x="994" y="502"/>
                  <a:pt x="994" y="502"/>
                  <a:pt x="994" y="502"/>
                </a:cubicBezTo>
                <a:cubicBezTo>
                  <a:pt x="995" y="502"/>
                  <a:pt x="995" y="502"/>
                  <a:pt x="995" y="502"/>
                </a:cubicBezTo>
                <a:cubicBezTo>
                  <a:pt x="996" y="500"/>
                  <a:pt x="996" y="500"/>
                  <a:pt x="996" y="500"/>
                </a:cubicBezTo>
                <a:cubicBezTo>
                  <a:pt x="997" y="499"/>
                  <a:pt x="997" y="499"/>
                  <a:pt x="997" y="499"/>
                </a:cubicBezTo>
                <a:cubicBezTo>
                  <a:pt x="998" y="500"/>
                  <a:pt x="998" y="500"/>
                  <a:pt x="998" y="500"/>
                </a:cubicBezTo>
                <a:cubicBezTo>
                  <a:pt x="999" y="500"/>
                  <a:pt x="999" y="500"/>
                  <a:pt x="999" y="500"/>
                </a:cubicBezTo>
                <a:cubicBezTo>
                  <a:pt x="998" y="500"/>
                  <a:pt x="998" y="500"/>
                  <a:pt x="998" y="500"/>
                </a:cubicBezTo>
                <a:cubicBezTo>
                  <a:pt x="999" y="500"/>
                  <a:pt x="999" y="500"/>
                  <a:pt x="999" y="500"/>
                </a:cubicBezTo>
                <a:cubicBezTo>
                  <a:pt x="1000" y="500"/>
                  <a:pt x="1000" y="500"/>
                  <a:pt x="1000" y="500"/>
                </a:cubicBezTo>
                <a:cubicBezTo>
                  <a:pt x="1001" y="497"/>
                  <a:pt x="1001" y="497"/>
                  <a:pt x="1001" y="497"/>
                </a:cubicBezTo>
                <a:cubicBezTo>
                  <a:pt x="1002" y="495"/>
                  <a:pt x="1002" y="495"/>
                  <a:pt x="1002" y="495"/>
                </a:cubicBezTo>
                <a:cubicBezTo>
                  <a:pt x="1002" y="494"/>
                  <a:pt x="1002" y="494"/>
                  <a:pt x="1002" y="494"/>
                </a:cubicBezTo>
                <a:cubicBezTo>
                  <a:pt x="1002" y="493"/>
                  <a:pt x="1002" y="493"/>
                  <a:pt x="1002" y="493"/>
                </a:cubicBezTo>
                <a:cubicBezTo>
                  <a:pt x="1003" y="493"/>
                  <a:pt x="1003" y="493"/>
                  <a:pt x="1003" y="493"/>
                </a:cubicBezTo>
                <a:cubicBezTo>
                  <a:pt x="1004" y="494"/>
                  <a:pt x="1004" y="494"/>
                  <a:pt x="1004" y="494"/>
                </a:cubicBezTo>
                <a:cubicBezTo>
                  <a:pt x="1004" y="494"/>
                  <a:pt x="1004" y="494"/>
                  <a:pt x="1004" y="494"/>
                </a:cubicBezTo>
                <a:cubicBezTo>
                  <a:pt x="1005" y="495"/>
                  <a:pt x="1005" y="495"/>
                  <a:pt x="1005" y="495"/>
                </a:cubicBezTo>
                <a:cubicBezTo>
                  <a:pt x="1005" y="496"/>
                  <a:pt x="1005" y="496"/>
                  <a:pt x="1005" y="496"/>
                </a:cubicBezTo>
                <a:cubicBezTo>
                  <a:pt x="1005" y="498"/>
                  <a:pt x="1005" y="498"/>
                  <a:pt x="1005" y="498"/>
                </a:cubicBezTo>
                <a:cubicBezTo>
                  <a:pt x="1005" y="499"/>
                  <a:pt x="1005" y="499"/>
                  <a:pt x="1005" y="499"/>
                </a:cubicBezTo>
                <a:cubicBezTo>
                  <a:pt x="1005" y="500"/>
                  <a:pt x="1005" y="500"/>
                  <a:pt x="1005" y="500"/>
                </a:cubicBezTo>
                <a:cubicBezTo>
                  <a:pt x="1005" y="501"/>
                  <a:pt x="1005" y="501"/>
                  <a:pt x="1005" y="501"/>
                </a:cubicBezTo>
                <a:cubicBezTo>
                  <a:pt x="1003" y="502"/>
                  <a:pt x="1003" y="502"/>
                  <a:pt x="1003" y="502"/>
                </a:cubicBezTo>
                <a:cubicBezTo>
                  <a:pt x="1002" y="505"/>
                  <a:pt x="1002" y="505"/>
                  <a:pt x="1002" y="505"/>
                </a:cubicBezTo>
                <a:cubicBezTo>
                  <a:pt x="1002" y="507"/>
                  <a:pt x="1002" y="507"/>
                  <a:pt x="1002" y="507"/>
                </a:cubicBezTo>
                <a:cubicBezTo>
                  <a:pt x="1002" y="507"/>
                  <a:pt x="1002" y="507"/>
                  <a:pt x="1002" y="507"/>
                </a:cubicBezTo>
                <a:cubicBezTo>
                  <a:pt x="1002" y="508"/>
                  <a:pt x="1002" y="508"/>
                  <a:pt x="1002" y="508"/>
                </a:cubicBezTo>
                <a:cubicBezTo>
                  <a:pt x="1003" y="509"/>
                  <a:pt x="1003" y="509"/>
                  <a:pt x="1003" y="509"/>
                </a:cubicBezTo>
                <a:cubicBezTo>
                  <a:pt x="1004" y="508"/>
                  <a:pt x="1004" y="508"/>
                  <a:pt x="1004" y="508"/>
                </a:cubicBezTo>
                <a:cubicBezTo>
                  <a:pt x="1005" y="505"/>
                  <a:pt x="1005" y="505"/>
                  <a:pt x="1005" y="505"/>
                </a:cubicBezTo>
                <a:cubicBezTo>
                  <a:pt x="1006" y="505"/>
                  <a:pt x="1006" y="505"/>
                  <a:pt x="1006" y="505"/>
                </a:cubicBezTo>
                <a:cubicBezTo>
                  <a:pt x="1007" y="503"/>
                  <a:pt x="1007" y="503"/>
                  <a:pt x="1007" y="503"/>
                </a:cubicBezTo>
                <a:cubicBezTo>
                  <a:pt x="1008" y="502"/>
                  <a:pt x="1008" y="502"/>
                  <a:pt x="1008" y="502"/>
                </a:cubicBezTo>
                <a:cubicBezTo>
                  <a:pt x="1008" y="503"/>
                  <a:pt x="1008" y="503"/>
                  <a:pt x="1008" y="503"/>
                </a:cubicBezTo>
                <a:cubicBezTo>
                  <a:pt x="1010" y="503"/>
                  <a:pt x="1010" y="503"/>
                  <a:pt x="1010" y="503"/>
                </a:cubicBezTo>
                <a:cubicBezTo>
                  <a:pt x="1010" y="504"/>
                  <a:pt x="1010" y="504"/>
                  <a:pt x="1010" y="504"/>
                </a:cubicBezTo>
                <a:cubicBezTo>
                  <a:pt x="1009" y="504"/>
                  <a:pt x="1009" y="504"/>
                  <a:pt x="1009" y="504"/>
                </a:cubicBezTo>
                <a:cubicBezTo>
                  <a:pt x="1007" y="506"/>
                  <a:pt x="1007" y="506"/>
                  <a:pt x="1007" y="506"/>
                </a:cubicBezTo>
                <a:cubicBezTo>
                  <a:pt x="1007" y="507"/>
                  <a:pt x="1007" y="507"/>
                  <a:pt x="1007" y="507"/>
                </a:cubicBezTo>
                <a:cubicBezTo>
                  <a:pt x="1007" y="508"/>
                  <a:pt x="1007" y="508"/>
                  <a:pt x="1007" y="508"/>
                </a:cubicBezTo>
                <a:cubicBezTo>
                  <a:pt x="1007" y="509"/>
                  <a:pt x="1007" y="509"/>
                  <a:pt x="1007" y="509"/>
                </a:cubicBezTo>
                <a:cubicBezTo>
                  <a:pt x="1007" y="511"/>
                  <a:pt x="1007" y="511"/>
                  <a:pt x="1007" y="511"/>
                </a:cubicBezTo>
                <a:cubicBezTo>
                  <a:pt x="1008" y="512"/>
                  <a:pt x="1008" y="512"/>
                  <a:pt x="1008" y="512"/>
                </a:cubicBezTo>
                <a:cubicBezTo>
                  <a:pt x="1009" y="510"/>
                  <a:pt x="1009" y="510"/>
                  <a:pt x="1009" y="510"/>
                </a:cubicBezTo>
                <a:cubicBezTo>
                  <a:pt x="1010" y="509"/>
                  <a:pt x="1010" y="509"/>
                  <a:pt x="1010" y="509"/>
                </a:cubicBezTo>
                <a:cubicBezTo>
                  <a:pt x="1010" y="509"/>
                  <a:pt x="1010" y="509"/>
                  <a:pt x="1011" y="509"/>
                </a:cubicBezTo>
                <a:cubicBezTo>
                  <a:pt x="1011" y="509"/>
                  <a:pt x="1011" y="511"/>
                  <a:pt x="1011" y="511"/>
                </a:cubicBezTo>
                <a:cubicBezTo>
                  <a:pt x="1012" y="511"/>
                  <a:pt x="1012" y="511"/>
                  <a:pt x="1012" y="511"/>
                </a:cubicBezTo>
                <a:cubicBezTo>
                  <a:pt x="1014" y="510"/>
                  <a:pt x="1014" y="510"/>
                  <a:pt x="1014" y="510"/>
                </a:cubicBezTo>
                <a:cubicBezTo>
                  <a:pt x="1014" y="509"/>
                  <a:pt x="1014" y="509"/>
                  <a:pt x="1014" y="509"/>
                </a:cubicBezTo>
                <a:cubicBezTo>
                  <a:pt x="1014" y="509"/>
                  <a:pt x="1014" y="509"/>
                  <a:pt x="1014" y="509"/>
                </a:cubicBezTo>
                <a:cubicBezTo>
                  <a:pt x="1015" y="508"/>
                  <a:pt x="1015" y="508"/>
                  <a:pt x="1015" y="508"/>
                </a:cubicBezTo>
                <a:cubicBezTo>
                  <a:pt x="1015" y="507"/>
                  <a:pt x="1015" y="507"/>
                  <a:pt x="1015" y="507"/>
                </a:cubicBezTo>
                <a:cubicBezTo>
                  <a:pt x="1015" y="506"/>
                  <a:pt x="1015" y="506"/>
                  <a:pt x="1015" y="506"/>
                </a:cubicBezTo>
                <a:cubicBezTo>
                  <a:pt x="1015" y="506"/>
                  <a:pt x="1015" y="506"/>
                  <a:pt x="1015" y="506"/>
                </a:cubicBezTo>
                <a:cubicBezTo>
                  <a:pt x="1015" y="505"/>
                  <a:pt x="1015" y="505"/>
                  <a:pt x="1015" y="505"/>
                </a:cubicBezTo>
                <a:cubicBezTo>
                  <a:pt x="1015" y="503"/>
                  <a:pt x="1015" y="503"/>
                  <a:pt x="1015" y="503"/>
                </a:cubicBezTo>
                <a:cubicBezTo>
                  <a:pt x="1017" y="501"/>
                  <a:pt x="1017" y="501"/>
                  <a:pt x="1017" y="501"/>
                </a:cubicBezTo>
                <a:cubicBezTo>
                  <a:pt x="1018" y="499"/>
                  <a:pt x="1018" y="499"/>
                  <a:pt x="1018" y="499"/>
                </a:cubicBezTo>
                <a:cubicBezTo>
                  <a:pt x="1018" y="496"/>
                  <a:pt x="1018" y="496"/>
                  <a:pt x="1018" y="496"/>
                </a:cubicBezTo>
                <a:cubicBezTo>
                  <a:pt x="1018" y="495"/>
                  <a:pt x="1018" y="495"/>
                  <a:pt x="1018" y="495"/>
                </a:cubicBezTo>
                <a:cubicBezTo>
                  <a:pt x="1017" y="495"/>
                  <a:pt x="1017" y="495"/>
                  <a:pt x="1017" y="495"/>
                </a:cubicBezTo>
                <a:cubicBezTo>
                  <a:pt x="1017" y="496"/>
                  <a:pt x="1017" y="496"/>
                  <a:pt x="1017" y="496"/>
                </a:cubicBezTo>
                <a:cubicBezTo>
                  <a:pt x="1016" y="497"/>
                  <a:pt x="1016" y="497"/>
                  <a:pt x="1016" y="497"/>
                </a:cubicBezTo>
                <a:cubicBezTo>
                  <a:pt x="1015" y="498"/>
                  <a:pt x="1015" y="498"/>
                  <a:pt x="1015" y="498"/>
                </a:cubicBezTo>
                <a:cubicBezTo>
                  <a:pt x="1014" y="500"/>
                  <a:pt x="1014" y="500"/>
                  <a:pt x="1014" y="500"/>
                </a:cubicBezTo>
                <a:cubicBezTo>
                  <a:pt x="1013" y="500"/>
                  <a:pt x="1013" y="500"/>
                  <a:pt x="1013" y="500"/>
                </a:cubicBezTo>
                <a:cubicBezTo>
                  <a:pt x="1012" y="499"/>
                  <a:pt x="1012" y="499"/>
                  <a:pt x="1012" y="499"/>
                </a:cubicBezTo>
                <a:cubicBezTo>
                  <a:pt x="1013" y="497"/>
                  <a:pt x="1013" y="497"/>
                  <a:pt x="1013" y="497"/>
                </a:cubicBezTo>
                <a:cubicBezTo>
                  <a:pt x="1013" y="496"/>
                  <a:pt x="1013" y="496"/>
                  <a:pt x="1013" y="496"/>
                </a:cubicBezTo>
                <a:cubicBezTo>
                  <a:pt x="1014" y="494"/>
                  <a:pt x="1014" y="494"/>
                  <a:pt x="1014" y="494"/>
                </a:cubicBezTo>
                <a:cubicBezTo>
                  <a:pt x="1015" y="494"/>
                  <a:pt x="1015" y="494"/>
                  <a:pt x="1015" y="494"/>
                </a:cubicBezTo>
                <a:cubicBezTo>
                  <a:pt x="1016" y="492"/>
                  <a:pt x="1016" y="492"/>
                  <a:pt x="1016" y="492"/>
                </a:cubicBezTo>
                <a:cubicBezTo>
                  <a:pt x="1017" y="492"/>
                  <a:pt x="1017" y="492"/>
                  <a:pt x="1017" y="492"/>
                </a:cubicBezTo>
                <a:cubicBezTo>
                  <a:pt x="1017" y="492"/>
                  <a:pt x="1017" y="492"/>
                  <a:pt x="1017" y="492"/>
                </a:cubicBezTo>
                <a:cubicBezTo>
                  <a:pt x="1017" y="491"/>
                  <a:pt x="1017" y="491"/>
                  <a:pt x="1017" y="491"/>
                </a:cubicBezTo>
                <a:cubicBezTo>
                  <a:pt x="1016" y="492"/>
                  <a:pt x="1016" y="492"/>
                  <a:pt x="1016" y="492"/>
                </a:cubicBezTo>
                <a:cubicBezTo>
                  <a:pt x="1015" y="492"/>
                  <a:pt x="1015" y="492"/>
                  <a:pt x="1015" y="492"/>
                </a:cubicBezTo>
                <a:cubicBezTo>
                  <a:pt x="1014" y="492"/>
                  <a:pt x="1014" y="492"/>
                  <a:pt x="1014" y="492"/>
                </a:cubicBezTo>
                <a:cubicBezTo>
                  <a:pt x="1013" y="493"/>
                  <a:pt x="1013" y="493"/>
                  <a:pt x="1013" y="493"/>
                </a:cubicBezTo>
                <a:cubicBezTo>
                  <a:pt x="1012" y="494"/>
                  <a:pt x="1012" y="494"/>
                  <a:pt x="1012" y="494"/>
                </a:cubicBezTo>
                <a:cubicBezTo>
                  <a:pt x="1011" y="495"/>
                  <a:pt x="1011" y="495"/>
                  <a:pt x="1011" y="495"/>
                </a:cubicBezTo>
                <a:cubicBezTo>
                  <a:pt x="1009" y="496"/>
                  <a:pt x="1009" y="496"/>
                  <a:pt x="1009" y="496"/>
                </a:cubicBezTo>
                <a:cubicBezTo>
                  <a:pt x="1009" y="497"/>
                  <a:pt x="1009" y="497"/>
                  <a:pt x="1009" y="497"/>
                </a:cubicBezTo>
                <a:cubicBezTo>
                  <a:pt x="1008" y="498"/>
                  <a:pt x="1008" y="498"/>
                  <a:pt x="1008" y="498"/>
                </a:cubicBezTo>
                <a:cubicBezTo>
                  <a:pt x="1007" y="497"/>
                  <a:pt x="1007" y="497"/>
                  <a:pt x="1007" y="497"/>
                </a:cubicBezTo>
                <a:cubicBezTo>
                  <a:pt x="1007" y="495"/>
                  <a:pt x="1007" y="495"/>
                  <a:pt x="1007" y="495"/>
                </a:cubicBezTo>
                <a:cubicBezTo>
                  <a:pt x="1006" y="494"/>
                  <a:pt x="1006" y="494"/>
                  <a:pt x="1006" y="494"/>
                </a:cubicBezTo>
                <a:cubicBezTo>
                  <a:pt x="1006" y="493"/>
                  <a:pt x="1006" y="493"/>
                  <a:pt x="1006" y="493"/>
                </a:cubicBezTo>
                <a:cubicBezTo>
                  <a:pt x="1007" y="494"/>
                  <a:pt x="1007" y="494"/>
                  <a:pt x="1007" y="494"/>
                </a:cubicBezTo>
                <a:cubicBezTo>
                  <a:pt x="1008" y="494"/>
                  <a:pt x="1008" y="494"/>
                  <a:pt x="1008" y="494"/>
                </a:cubicBezTo>
                <a:cubicBezTo>
                  <a:pt x="1009" y="492"/>
                  <a:pt x="1009" y="492"/>
                  <a:pt x="1009" y="492"/>
                </a:cubicBezTo>
                <a:cubicBezTo>
                  <a:pt x="1008" y="493"/>
                  <a:pt x="1008" y="493"/>
                  <a:pt x="1008" y="493"/>
                </a:cubicBezTo>
                <a:cubicBezTo>
                  <a:pt x="1006" y="492"/>
                  <a:pt x="1006" y="492"/>
                  <a:pt x="1006" y="492"/>
                </a:cubicBezTo>
                <a:cubicBezTo>
                  <a:pt x="1007" y="492"/>
                  <a:pt x="1007" y="492"/>
                  <a:pt x="1007" y="492"/>
                </a:cubicBezTo>
                <a:cubicBezTo>
                  <a:pt x="1009" y="492"/>
                  <a:pt x="1009" y="492"/>
                  <a:pt x="1009" y="492"/>
                </a:cubicBezTo>
                <a:cubicBezTo>
                  <a:pt x="1007" y="492"/>
                  <a:pt x="1007" y="492"/>
                  <a:pt x="1007" y="492"/>
                </a:cubicBezTo>
                <a:cubicBezTo>
                  <a:pt x="1007" y="491"/>
                  <a:pt x="1007" y="491"/>
                  <a:pt x="1007" y="491"/>
                </a:cubicBezTo>
                <a:cubicBezTo>
                  <a:pt x="1007" y="490"/>
                  <a:pt x="1007" y="490"/>
                  <a:pt x="1007" y="490"/>
                </a:cubicBezTo>
                <a:cubicBezTo>
                  <a:pt x="1007" y="489"/>
                  <a:pt x="1007" y="489"/>
                  <a:pt x="1007" y="489"/>
                </a:cubicBezTo>
                <a:cubicBezTo>
                  <a:pt x="1009" y="489"/>
                  <a:pt x="1009" y="489"/>
                  <a:pt x="1009" y="489"/>
                </a:cubicBezTo>
                <a:cubicBezTo>
                  <a:pt x="1009" y="489"/>
                  <a:pt x="1009" y="489"/>
                  <a:pt x="1009" y="489"/>
                </a:cubicBezTo>
                <a:cubicBezTo>
                  <a:pt x="1011" y="488"/>
                  <a:pt x="1011" y="488"/>
                  <a:pt x="1011" y="488"/>
                </a:cubicBezTo>
                <a:cubicBezTo>
                  <a:pt x="1012" y="486"/>
                  <a:pt x="1012" y="486"/>
                  <a:pt x="1012" y="486"/>
                </a:cubicBezTo>
                <a:cubicBezTo>
                  <a:pt x="1013" y="486"/>
                  <a:pt x="1013" y="486"/>
                  <a:pt x="1013" y="486"/>
                </a:cubicBezTo>
                <a:cubicBezTo>
                  <a:pt x="1014" y="487"/>
                  <a:pt x="1014" y="487"/>
                  <a:pt x="1014" y="487"/>
                </a:cubicBezTo>
                <a:cubicBezTo>
                  <a:pt x="1015" y="486"/>
                  <a:pt x="1015" y="486"/>
                  <a:pt x="1015" y="486"/>
                </a:cubicBezTo>
                <a:cubicBezTo>
                  <a:pt x="1016" y="484"/>
                  <a:pt x="1016" y="484"/>
                  <a:pt x="1016" y="484"/>
                </a:cubicBezTo>
                <a:cubicBezTo>
                  <a:pt x="1016" y="483"/>
                  <a:pt x="1016" y="483"/>
                  <a:pt x="1016" y="483"/>
                </a:cubicBezTo>
                <a:cubicBezTo>
                  <a:pt x="1016" y="482"/>
                  <a:pt x="1016" y="482"/>
                  <a:pt x="1016" y="482"/>
                </a:cubicBezTo>
                <a:cubicBezTo>
                  <a:pt x="1014" y="483"/>
                  <a:pt x="1014" y="483"/>
                  <a:pt x="1014" y="483"/>
                </a:cubicBezTo>
                <a:cubicBezTo>
                  <a:pt x="1013" y="484"/>
                  <a:pt x="1013" y="484"/>
                  <a:pt x="1013" y="484"/>
                </a:cubicBezTo>
                <a:cubicBezTo>
                  <a:pt x="1013" y="483"/>
                  <a:pt x="1013" y="483"/>
                  <a:pt x="1013" y="483"/>
                </a:cubicBezTo>
                <a:cubicBezTo>
                  <a:pt x="1012" y="483"/>
                  <a:pt x="1012" y="483"/>
                  <a:pt x="1012" y="483"/>
                </a:cubicBezTo>
                <a:cubicBezTo>
                  <a:pt x="1012" y="484"/>
                  <a:pt x="1012" y="484"/>
                  <a:pt x="1012" y="484"/>
                </a:cubicBezTo>
                <a:cubicBezTo>
                  <a:pt x="1012" y="485"/>
                  <a:pt x="1012" y="485"/>
                  <a:pt x="1012" y="485"/>
                </a:cubicBezTo>
                <a:cubicBezTo>
                  <a:pt x="1011" y="486"/>
                  <a:pt x="1011" y="486"/>
                  <a:pt x="1011" y="486"/>
                </a:cubicBezTo>
                <a:cubicBezTo>
                  <a:pt x="1010" y="486"/>
                  <a:pt x="1010" y="486"/>
                  <a:pt x="1010" y="486"/>
                </a:cubicBezTo>
                <a:cubicBezTo>
                  <a:pt x="1009" y="486"/>
                  <a:pt x="1009" y="486"/>
                  <a:pt x="1009" y="486"/>
                </a:cubicBezTo>
                <a:cubicBezTo>
                  <a:pt x="1008" y="487"/>
                  <a:pt x="1008" y="487"/>
                  <a:pt x="1008" y="487"/>
                </a:cubicBezTo>
                <a:cubicBezTo>
                  <a:pt x="1008" y="488"/>
                  <a:pt x="1008" y="488"/>
                  <a:pt x="1008" y="488"/>
                </a:cubicBezTo>
                <a:cubicBezTo>
                  <a:pt x="1007" y="488"/>
                  <a:pt x="1007" y="488"/>
                  <a:pt x="1007" y="488"/>
                </a:cubicBezTo>
                <a:cubicBezTo>
                  <a:pt x="1007" y="488"/>
                  <a:pt x="1007" y="488"/>
                  <a:pt x="1007" y="488"/>
                </a:cubicBezTo>
                <a:cubicBezTo>
                  <a:pt x="1007" y="486"/>
                  <a:pt x="1007" y="486"/>
                  <a:pt x="1007" y="486"/>
                </a:cubicBezTo>
                <a:cubicBezTo>
                  <a:pt x="1007" y="487"/>
                  <a:pt x="1007" y="487"/>
                  <a:pt x="1007" y="487"/>
                </a:cubicBezTo>
                <a:cubicBezTo>
                  <a:pt x="1006" y="487"/>
                  <a:pt x="1006" y="487"/>
                  <a:pt x="1006" y="487"/>
                </a:cubicBezTo>
                <a:cubicBezTo>
                  <a:pt x="1007" y="486"/>
                  <a:pt x="1007" y="486"/>
                  <a:pt x="1007" y="486"/>
                </a:cubicBezTo>
                <a:cubicBezTo>
                  <a:pt x="1008" y="485"/>
                  <a:pt x="1008" y="485"/>
                  <a:pt x="1008" y="485"/>
                </a:cubicBezTo>
                <a:cubicBezTo>
                  <a:pt x="1008" y="485"/>
                  <a:pt x="1008" y="485"/>
                  <a:pt x="1008" y="485"/>
                </a:cubicBezTo>
                <a:cubicBezTo>
                  <a:pt x="1007" y="484"/>
                  <a:pt x="1007" y="484"/>
                  <a:pt x="1007" y="484"/>
                </a:cubicBezTo>
                <a:cubicBezTo>
                  <a:pt x="1008" y="484"/>
                  <a:pt x="1008" y="484"/>
                  <a:pt x="1008" y="484"/>
                </a:cubicBezTo>
                <a:cubicBezTo>
                  <a:pt x="1009" y="482"/>
                  <a:pt x="1009" y="482"/>
                  <a:pt x="1009" y="482"/>
                </a:cubicBezTo>
                <a:cubicBezTo>
                  <a:pt x="1008" y="482"/>
                  <a:pt x="1008" y="482"/>
                  <a:pt x="1008" y="482"/>
                </a:cubicBezTo>
                <a:cubicBezTo>
                  <a:pt x="1007" y="483"/>
                  <a:pt x="1007" y="483"/>
                  <a:pt x="1007" y="483"/>
                </a:cubicBezTo>
                <a:cubicBezTo>
                  <a:pt x="1008" y="482"/>
                  <a:pt x="1008" y="482"/>
                  <a:pt x="1008" y="482"/>
                </a:cubicBezTo>
                <a:cubicBezTo>
                  <a:pt x="1008" y="481"/>
                  <a:pt x="1008" y="481"/>
                  <a:pt x="1008" y="481"/>
                </a:cubicBezTo>
                <a:cubicBezTo>
                  <a:pt x="1007" y="480"/>
                  <a:pt x="1007" y="480"/>
                  <a:pt x="1007" y="480"/>
                </a:cubicBezTo>
                <a:cubicBezTo>
                  <a:pt x="1006" y="481"/>
                  <a:pt x="1006" y="481"/>
                  <a:pt x="1006" y="481"/>
                </a:cubicBezTo>
                <a:cubicBezTo>
                  <a:pt x="1004" y="480"/>
                  <a:pt x="1004" y="480"/>
                  <a:pt x="1004" y="480"/>
                </a:cubicBezTo>
                <a:cubicBezTo>
                  <a:pt x="1006" y="480"/>
                  <a:pt x="1006" y="480"/>
                  <a:pt x="1006" y="480"/>
                </a:cubicBezTo>
                <a:cubicBezTo>
                  <a:pt x="1007" y="480"/>
                  <a:pt x="1007" y="480"/>
                  <a:pt x="1007" y="480"/>
                </a:cubicBezTo>
                <a:cubicBezTo>
                  <a:pt x="1008" y="480"/>
                  <a:pt x="1008" y="480"/>
                  <a:pt x="1008" y="480"/>
                </a:cubicBezTo>
                <a:cubicBezTo>
                  <a:pt x="1010" y="479"/>
                  <a:pt x="1010" y="479"/>
                  <a:pt x="1010" y="479"/>
                </a:cubicBezTo>
                <a:cubicBezTo>
                  <a:pt x="1010" y="478"/>
                  <a:pt x="1010" y="478"/>
                  <a:pt x="1010" y="478"/>
                </a:cubicBezTo>
                <a:cubicBezTo>
                  <a:pt x="1011" y="478"/>
                  <a:pt x="1011" y="478"/>
                  <a:pt x="1011" y="478"/>
                </a:cubicBezTo>
                <a:cubicBezTo>
                  <a:pt x="1012" y="477"/>
                  <a:pt x="1012" y="477"/>
                  <a:pt x="1012" y="477"/>
                </a:cubicBezTo>
                <a:cubicBezTo>
                  <a:pt x="1012" y="476"/>
                  <a:pt x="1012" y="476"/>
                  <a:pt x="1012" y="476"/>
                </a:cubicBezTo>
                <a:cubicBezTo>
                  <a:pt x="1013" y="475"/>
                  <a:pt x="1013" y="475"/>
                  <a:pt x="1013" y="475"/>
                </a:cubicBezTo>
                <a:cubicBezTo>
                  <a:pt x="1013" y="474"/>
                  <a:pt x="1013" y="474"/>
                  <a:pt x="1013" y="474"/>
                </a:cubicBezTo>
                <a:cubicBezTo>
                  <a:pt x="1012" y="474"/>
                  <a:pt x="1012" y="474"/>
                  <a:pt x="1012" y="474"/>
                </a:cubicBezTo>
                <a:cubicBezTo>
                  <a:pt x="1010" y="472"/>
                  <a:pt x="1010" y="472"/>
                  <a:pt x="1010" y="472"/>
                </a:cubicBezTo>
                <a:cubicBezTo>
                  <a:pt x="1009" y="472"/>
                  <a:pt x="1009" y="472"/>
                  <a:pt x="1009" y="472"/>
                </a:cubicBezTo>
                <a:cubicBezTo>
                  <a:pt x="1007" y="472"/>
                  <a:pt x="1007" y="472"/>
                  <a:pt x="1007" y="472"/>
                </a:cubicBezTo>
                <a:cubicBezTo>
                  <a:pt x="1006" y="472"/>
                  <a:pt x="1006" y="472"/>
                  <a:pt x="1006" y="472"/>
                </a:cubicBezTo>
                <a:cubicBezTo>
                  <a:pt x="1006" y="473"/>
                  <a:pt x="1006" y="473"/>
                  <a:pt x="1006" y="473"/>
                </a:cubicBezTo>
                <a:cubicBezTo>
                  <a:pt x="1005" y="475"/>
                  <a:pt x="1005" y="475"/>
                  <a:pt x="1005" y="475"/>
                </a:cubicBezTo>
                <a:cubicBezTo>
                  <a:pt x="1005" y="476"/>
                  <a:pt x="1005" y="476"/>
                  <a:pt x="1005" y="476"/>
                </a:cubicBezTo>
                <a:cubicBezTo>
                  <a:pt x="1004" y="477"/>
                  <a:pt x="1004" y="477"/>
                  <a:pt x="1004" y="477"/>
                </a:cubicBezTo>
                <a:cubicBezTo>
                  <a:pt x="1005" y="476"/>
                  <a:pt x="1005" y="476"/>
                  <a:pt x="1005" y="476"/>
                </a:cubicBezTo>
                <a:cubicBezTo>
                  <a:pt x="1005" y="475"/>
                  <a:pt x="1005" y="475"/>
                  <a:pt x="1005" y="475"/>
                </a:cubicBezTo>
                <a:cubicBezTo>
                  <a:pt x="1004" y="474"/>
                  <a:pt x="1004" y="474"/>
                  <a:pt x="1004" y="474"/>
                </a:cubicBezTo>
                <a:cubicBezTo>
                  <a:pt x="1005" y="473"/>
                  <a:pt x="1005" y="473"/>
                  <a:pt x="1005" y="473"/>
                </a:cubicBezTo>
                <a:cubicBezTo>
                  <a:pt x="1006" y="472"/>
                  <a:pt x="1006" y="472"/>
                  <a:pt x="1006" y="472"/>
                </a:cubicBezTo>
                <a:cubicBezTo>
                  <a:pt x="1005" y="471"/>
                  <a:pt x="1005" y="471"/>
                  <a:pt x="1005" y="471"/>
                </a:cubicBezTo>
                <a:cubicBezTo>
                  <a:pt x="1004" y="473"/>
                  <a:pt x="1004" y="473"/>
                  <a:pt x="1004" y="473"/>
                </a:cubicBezTo>
                <a:lnTo>
                  <a:pt x="1003" y="474"/>
                </a:lnTo>
                <a:close/>
                <a:moveTo>
                  <a:pt x="1017" y="1036"/>
                </a:moveTo>
                <a:cubicBezTo>
                  <a:pt x="1018" y="1035"/>
                  <a:pt x="1018" y="1035"/>
                  <a:pt x="1018" y="1035"/>
                </a:cubicBezTo>
                <a:cubicBezTo>
                  <a:pt x="1016" y="1034"/>
                  <a:pt x="1016" y="1034"/>
                  <a:pt x="1016" y="1034"/>
                </a:cubicBezTo>
                <a:cubicBezTo>
                  <a:pt x="1015" y="1034"/>
                  <a:pt x="1015" y="1034"/>
                  <a:pt x="1015" y="1034"/>
                </a:cubicBezTo>
                <a:cubicBezTo>
                  <a:pt x="1015" y="1035"/>
                  <a:pt x="1015" y="1035"/>
                  <a:pt x="1015" y="1035"/>
                </a:cubicBezTo>
                <a:cubicBezTo>
                  <a:pt x="1013" y="1035"/>
                  <a:pt x="1013" y="1035"/>
                  <a:pt x="1013" y="1035"/>
                </a:cubicBezTo>
                <a:cubicBezTo>
                  <a:pt x="1015" y="1036"/>
                  <a:pt x="1015" y="1036"/>
                  <a:pt x="1015" y="1036"/>
                </a:cubicBezTo>
                <a:lnTo>
                  <a:pt x="1017" y="1036"/>
                </a:lnTo>
                <a:close/>
                <a:moveTo>
                  <a:pt x="1011" y="1034"/>
                </a:moveTo>
                <a:cubicBezTo>
                  <a:pt x="1012" y="1034"/>
                  <a:pt x="1012" y="1034"/>
                  <a:pt x="1012" y="1034"/>
                </a:cubicBezTo>
                <a:cubicBezTo>
                  <a:pt x="1013" y="1034"/>
                  <a:pt x="1013" y="1034"/>
                  <a:pt x="1013" y="1034"/>
                </a:cubicBezTo>
                <a:cubicBezTo>
                  <a:pt x="1013" y="1032"/>
                  <a:pt x="1013" y="1032"/>
                  <a:pt x="1013" y="1032"/>
                </a:cubicBezTo>
                <a:cubicBezTo>
                  <a:pt x="1012" y="1031"/>
                  <a:pt x="1012" y="1031"/>
                  <a:pt x="1012" y="1031"/>
                </a:cubicBezTo>
                <a:cubicBezTo>
                  <a:pt x="1009" y="1032"/>
                  <a:pt x="1009" y="1032"/>
                  <a:pt x="1009" y="1032"/>
                </a:cubicBezTo>
                <a:cubicBezTo>
                  <a:pt x="1008" y="1032"/>
                  <a:pt x="1008" y="1032"/>
                  <a:pt x="1008" y="1032"/>
                </a:cubicBezTo>
                <a:cubicBezTo>
                  <a:pt x="1007" y="1033"/>
                  <a:pt x="1007" y="1033"/>
                  <a:pt x="1007" y="1033"/>
                </a:cubicBezTo>
                <a:cubicBezTo>
                  <a:pt x="1008" y="1034"/>
                  <a:pt x="1008" y="1034"/>
                  <a:pt x="1008" y="1034"/>
                </a:cubicBezTo>
                <a:lnTo>
                  <a:pt x="1011" y="1034"/>
                </a:lnTo>
                <a:close/>
                <a:moveTo>
                  <a:pt x="1005" y="1010"/>
                </a:moveTo>
                <a:cubicBezTo>
                  <a:pt x="1005" y="1010"/>
                  <a:pt x="1005" y="1010"/>
                  <a:pt x="1005" y="1010"/>
                </a:cubicBezTo>
                <a:cubicBezTo>
                  <a:pt x="1006" y="1013"/>
                  <a:pt x="1006" y="1013"/>
                  <a:pt x="1006" y="1013"/>
                </a:cubicBezTo>
                <a:cubicBezTo>
                  <a:pt x="1007" y="1014"/>
                  <a:pt x="1007" y="1014"/>
                  <a:pt x="1007" y="1014"/>
                </a:cubicBezTo>
                <a:cubicBezTo>
                  <a:pt x="1007" y="1014"/>
                  <a:pt x="1008" y="1015"/>
                  <a:pt x="1008" y="1015"/>
                </a:cubicBezTo>
                <a:cubicBezTo>
                  <a:pt x="1008" y="1013"/>
                  <a:pt x="1008" y="1013"/>
                  <a:pt x="1008" y="1013"/>
                </a:cubicBezTo>
                <a:cubicBezTo>
                  <a:pt x="1007" y="1011"/>
                  <a:pt x="1007" y="1011"/>
                  <a:pt x="1007" y="1011"/>
                </a:cubicBezTo>
                <a:lnTo>
                  <a:pt x="1005" y="1010"/>
                </a:lnTo>
                <a:close/>
                <a:moveTo>
                  <a:pt x="986" y="495"/>
                </a:moveTo>
                <a:cubicBezTo>
                  <a:pt x="986" y="496"/>
                  <a:pt x="986" y="496"/>
                  <a:pt x="986" y="496"/>
                </a:cubicBezTo>
                <a:cubicBezTo>
                  <a:pt x="987" y="496"/>
                  <a:pt x="987" y="496"/>
                  <a:pt x="987" y="496"/>
                </a:cubicBezTo>
                <a:cubicBezTo>
                  <a:pt x="987" y="496"/>
                  <a:pt x="987" y="496"/>
                  <a:pt x="987" y="496"/>
                </a:cubicBezTo>
                <a:lnTo>
                  <a:pt x="986" y="495"/>
                </a:lnTo>
                <a:close/>
                <a:moveTo>
                  <a:pt x="1005" y="1034"/>
                </a:moveTo>
                <a:cubicBezTo>
                  <a:pt x="1006" y="1034"/>
                  <a:pt x="1006" y="1034"/>
                  <a:pt x="1006" y="1034"/>
                </a:cubicBezTo>
                <a:cubicBezTo>
                  <a:pt x="1007" y="1035"/>
                  <a:pt x="1007" y="1035"/>
                  <a:pt x="1007" y="1035"/>
                </a:cubicBezTo>
                <a:cubicBezTo>
                  <a:pt x="1007" y="1034"/>
                  <a:pt x="1007" y="1034"/>
                  <a:pt x="1007" y="1034"/>
                </a:cubicBezTo>
                <a:cubicBezTo>
                  <a:pt x="1006" y="1033"/>
                  <a:pt x="1006" y="1033"/>
                  <a:pt x="1006" y="1033"/>
                </a:cubicBezTo>
                <a:cubicBezTo>
                  <a:pt x="1005" y="1032"/>
                  <a:pt x="1005" y="1032"/>
                  <a:pt x="1005" y="1032"/>
                </a:cubicBezTo>
                <a:lnTo>
                  <a:pt x="1005" y="1034"/>
                </a:lnTo>
                <a:close/>
                <a:moveTo>
                  <a:pt x="1455" y="396"/>
                </a:moveTo>
                <a:cubicBezTo>
                  <a:pt x="1457" y="393"/>
                  <a:pt x="1457" y="393"/>
                  <a:pt x="1457" y="393"/>
                </a:cubicBezTo>
                <a:cubicBezTo>
                  <a:pt x="1453" y="396"/>
                  <a:pt x="1453" y="396"/>
                  <a:pt x="1453" y="396"/>
                </a:cubicBezTo>
                <a:cubicBezTo>
                  <a:pt x="1454" y="398"/>
                  <a:pt x="1454" y="398"/>
                  <a:pt x="1454" y="398"/>
                </a:cubicBezTo>
                <a:lnTo>
                  <a:pt x="1455" y="396"/>
                </a:lnTo>
                <a:close/>
                <a:moveTo>
                  <a:pt x="1083" y="72"/>
                </a:moveTo>
                <a:cubicBezTo>
                  <a:pt x="1084" y="72"/>
                  <a:pt x="1084" y="72"/>
                  <a:pt x="1084" y="72"/>
                </a:cubicBezTo>
                <a:cubicBezTo>
                  <a:pt x="1084" y="71"/>
                  <a:pt x="1084" y="71"/>
                  <a:pt x="1084" y="71"/>
                </a:cubicBezTo>
                <a:cubicBezTo>
                  <a:pt x="1082" y="71"/>
                  <a:pt x="1082" y="71"/>
                  <a:pt x="1082" y="71"/>
                </a:cubicBezTo>
                <a:cubicBezTo>
                  <a:pt x="1081" y="72"/>
                  <a:pt x="1081" y="72"/>
                  <a:pt x="1081" y="72"/>
                </a:cubicBezTo>
                <a:cubicBezTo>
                  <a:pt x="1081" y="73"/>
                  <a:pt x="1081" y="73"/>
                  <a:pt x="1081" y="73"/>
                </a:cubicBezTo>
                <a:lnTo>
                  <a:pt x="1083" y="72"/>
                </a:lnTo>
                <a:close/>
                <a:moveTo>
                  <a:pt x="1083" y="85"/>
                </a:moveTo>
                <a:cubicBezTo>
                  <a:pt x="1085" y="84"/>
                  <a:pt x="1085" y="84"/>
                  <a:pt x="1085" y="84"/>
                </a:cubicBezTo>
                <a:cubicBezTo>
                  <a:pt x="1086" y="83"/>
                  <a:pt x="1086" y="83"/>
                  <a:pt x="1086" y="83"/>
                </a:cubicBezTo>
                <a:cubicBezTo>
                  <a:pt x="1085" y="83"/>
                  <a:pt x="1085" y="83"/>
                  <a:pt x="1085" y="83"/>
                </a:cubicBezTo>
                <a:cubicBezTo>
                  <a:pt x="1084" y="83"/>
                  <a:pt x="1084" y="83"/>
                  <a:pt x="1084" y="83"/>
                </a:cubicBezTo>
                <a:cubicBezTo>
                  <a:pt x="1082" y="83"/>
                  <a:pt x="1082" y="83"/>
                  <a:pt x="1082" y="83"/>
                </a:cubicBezTo>
                <a:cubicBezTo>
                  <a:pt x="1081" y="85"/>
                  <a:pt x="1081" y="85"/>
                  <a:pt x="1081" y="85"/>
                </a:cubicBezTo>
                <a:cubicBezTo>
                  <a:pt x="1081" y="85"/>
                  <a:pt x="1080" y="85"/>
                  <a:pt x="1080" y="85"/>
                </a:cubicBezTo>
                <a:cubicBezTo>
                  <a:pt x="1080" y="87"/>
                  <a:pt x="1080" y="87"/>
                  <a:pt x="1080" y="87"/>
                </a:cubicBezTo>
                <a:cubicBezTo>
                  <a:pt x="1082" y="87"/>
                  <a:pt x="1082" y="87"/>
                  <a:pt x="1082" y="87"/>
                </a:cubicBezTo>
                <a:lnTo>
                  <a:pt x="1083" y="85"/>
                </a:lnTo>
                <a:close/>
                <a:moveTo>
                  <a:pt x="1090" y="60"/>
                </a:moveTo>
                <a:cubicBezTo>
                  <a:pt x="1089" y="59"/>
                  <a:pt x="1089" y="59"/>
                  <a:pt x="1089" y="59"/>
                </a:cubicBezTo>
                <a:cubicBezTo>
                  <a:pt x="1089" y="59"/>
                  <a:pt x="1089" y="59"/>
                  <a:pt x="1089" y="59"/>
                </a:cubicBezTo>
                <a:cubicBezTo>
                  <a:pt x="1089" y="60"/>
                  <a:pt x="1089" y="60"/>
                  <a:pt x="1089" y="60"/>
                </a:cubicBezTo>
                <a:lnTo>
                  <a:pt x="1090" y="60"/>
                </a:lnTo>
                <a:close/>
                <a:moveTo>
                  <a:pt x="983" y="510"/>
                </a:moveTo>
                <a:cubicBezTo>
                  <a:pt x="983" y="510"/>
                  <a:pt x="983" y="510"/>
                  <a:pt x="983" y="510"/>
                </a:cubicBezTo>
                <a:cubicBezTo>
                  <a:pt x="984" y="509"/>
                  <a:pt x="984" y="509"/>
                  <a:pt x="984" y="509"/>
                </a:cubicBezTo>
                <a:cubicBezTo>
                  <a:pt x="984" y="508"/>
                  <a:pt x="984" y="508"/>
                  <a:pt x="984" y="508"/>
                </a:cubicBezTo>
                <a:cubicBezTo>
                  <a:pt x="983" y="509"/>
                  <a:pt x="983" y="509"/>
                  <a:pt x="983" y="509"/>
                </a:cubicBezTo>
                <a:lnTo>
                  <a:pt x="983" y="510"/>
                </a:lnTo>
                <a:close/>
                <a:moveTo>
                  <a:pt x="1080" y="93"/>
                </a:moveTo>
                <a:cubicBezTo>
                  <a:pt x="1081" y="92"/>
                  <a:pt x="1081" y="92"/>
                  <a:pt x="1081" y="92"/>
                </a:cubicBezTo>
                <a:cubicBezTo>
                  <a:pt x="1080" y="91"/>
                  <a:pt x="1080" y="91"/>
                  <a:pt x="1080" y="91"/>
                </a:cubicBezTo>
                <a:cubicBezTo>
                  <a:pt x="1079" y="91"/>
                  <a:pt x="1079" y="91"/>
                  <a:pt x="1079" y="91"/>
                </a:cubicBezTo>
                <a:cubicBezTo>
                  <a:pt x="1079" y="93"/>
                  <a:pt x="1079" y="93"/>
                  <a:pt x="1079" y="93"/>
                </a:cubicBezTo>
                <a:lnTo>
                  <a:pt x="1080" y="93"/>
                </a:lnTo>
                <a:close/>
                <a:moveTo>
                  <a:pt x="1082" y="19"/>
                </a:moveTo>
                <a:cubicBezTo>
                  <a:pt x="1082" y="21"/>
                  <a:pt x="1082" y="21"/>
                  <a:pt x="1082" y="21"/>
                </a:cubicBezTo>
                <a:cubicBezTo>
                  <a:pt x="1083" y="21"/>
                  <a:pt x="1083" y="21"/>
                  <a:pt x="1083" y="21"/>
                </a:cubicBezTo>
                <a:cubicBezTo>
                  <a:pt x="1083" y="20"/>
                  <a:pt x="1083" y="20"/>
                  <a:pt x="1083" y="20"/>
                </a:cubicBezTo>
                <a:cubicBezTo>
                  <a:pt x="1083" y="19"/>
                  <a:pt x="1083" y="19"/>
                  <a:pt x="1083" y="19"/>
                </a:cubicBezTo>
                <a:lnTo>
                  <a:pt x="1082" y="19"/>
                </a:lnTo>
                <a:close/>
                <a:moveTo>
                  <a:pt x="1462" y="397"/>
                </a:moveTo>
                <a:cubicBezTo>
                  <a:pt x="1461" y="397"/>
                  <a:pt x="1461" y="397"/>
                  <a:pt x="1461" y="397"/>
                </a:cubicBezTo>
                <a:cubicBezTo>
                  <a:pt x="1461" y="398"/>
                  <a:pt x="1461" y="398"/>
                  <a:pt x="1461" y="398"/>
                </a:cubicBezTo>
                <a:cubicBezTo>
                  <a:pt x="1462" y="399"/>
                  <a:pt x="1462" y="399"/>
                  <a:pt x="1462" y="399"/>
                </a:cubicBezTo>
                <a:lnTo>
                  <a:pt x="1462" y="397"/>
                </a:lnTo>
                <a:close/>
                <a:moveTo>
                  <a:pt x="1464" y="420"/>
                </a:moveTo>
                <a:cubicBezTo>
                  <a:pt x="1463" y="423"/>
                  <a:pt x="1463" y="423"/>
                  <a:pt x="1463" y="423"/>
                </a:cubicBezTo>
                <a:cubicBezTo>
                  <a:pt x="1465" y="422"/>
                  <a:pt x="1465" y="422"/>
                  <a:pt x="1465" y="422"/>
                </a:cubicBezTo>
                <a:cubicBezTo>
                  <a:pt x="1468" y="420"/>
                  <a:pt x="1468" y="420"/>
                  <a:pt x="1468" y="420"/>
                </a:cubicBezTo>
                <a:cubicBezTo>
                  <a:pt x="1467" y="419"/>
                  <a:pt x="1467" y="419"/>
                  <a:pt x="1467" y="419"/>
                </a:cubicBezTo>
                <a:cubicBezTo>
                  <a:pt x="1468" y="417"/>
                  <a:pt x="1468" y="417"/>
                  <a:pt x="1468" y="417"/>
                </a:cubicBezTo>
                <a:lnTo>
                  <a:pt x="1464" y="420"/>
                </a:lnTo>
                <a:close/>
                <a:moveTo>
                  <a:pt x="1459" y="400"/>
                </a:moveTo>
                <a:cubicBezTo>
                  <a:pt x="1459" y="403"/>
                  <a:pt x="1459" y="403"/>
                  <a:pt x="1459" y="403"/>
                </a:cubicBezTo>
                <a:cubicBezTo>
                  <a:pt x="1461" y="404"/>
                  <a:pt x="1461" y="404"/>
                  <a:pt x="1461" y="404"/>
                </a:cubicBezTo>
                <a:cubicBezTo>
                  <a:pt x="1462" y="402"/>
                  <a:pt x="1462" y="402"/>
                  <a:pt x="1462" y="402"/>
                </a:cubicBezTo>
                <a:cubicBezTo>
                  <a:pt x="1460" y="399"/>
                  <a:pt x="1460" y="399"/>
                  <a:pt x="1460" y="399"/>
                </a:cubicBezTo>
                <a:lnTo>
                  <a:pt x="1459" y="400"/>
                </a:lnTo>
                <a:close/>
                <a:moveTo>
                  <a:pt x="1468" y="435"/>
                </a:moveTo>
                <a:cubicBezTo>
                  <a:pt x="1471" y="433"/>
                  <a:pt x="1471" y="433"/>
                  <a:pt x="1471" y="433"/>
                </a:cubicBezTo>
                <a:cubicBezTo>
                  <a:pt x="1469" y="433"/>
                  <a:pt x="1469" y="433"/>
                  <a:pt x="1469" y="433"/>
                </a:cubicBezTo>
                <a:cubicBezTo>
                  <a:pt x="1468" y="431"/>
                  <a:pt x="1468" y="431"/>
                  <a:pt x="1468" y="431"/>
                </a:cubicBezTo>
                <a:cubicBezTo>
                  <a:pt x="1466" y="432"/>
                  <a:pt x="1466" y="432"/>
                  <a:pt x="1466" y="432"/>
                </a:cubicBezTo>
                <a:cubicBezTo>
                  <a:pt x="1466" y="432"/>
                  <a:pt x="1465" y="433"/>
                  <a:pt x="1465" y="433"/>
                </a:cubicBezTo>
                <a:lnTo>
                  <a:pt x="1468" y="435"/>
                </a:lnTo>
                <a:close/>
                <a:moveTo>
                  <a:pt x="1515" y="458"/>
                </a:moveTo>
                <a:cubicBezTo>
                  <a:pt x="1515" y="459"/>
                  <a:pt x="1515" y="459"/>
                  <a:pt x="1515" y="459"/>
                </a:cubicBezTo>
                <a:cubicBezTo>
                  <a:pt x="1516" y="459"/>
                  <a:pt x="1516" y="459"/>
                  <a:pt x="1516" y="459"/>
                </a:cubicBezTo>
                <a:cubicBezTo>
                  <a:pt x="1517" y="459"/>
                  <a:pt x="1517" y="459"/>
                  <a:pt x="1517" y="459"/>
                </a:cubicBezTo>
                <a:cubicBezTo>
                  <a:pt x="1516" y="458"/>
                  <a:pt x="1516" y="458"/>
                  <a:pt x="1516" y="458"/>
                </a:cubicBezTo>
                <a:lnTo>
                  <a:pt x="1515" y="458"/>
                </a:lnTo>
                <a:close/>
                <a:moveTo>
                  <a:pt x="1496" y="469"/>
                </a:moveTo>
                <a:cubicBezTo>
                  <a:pt x="1494" y="470"/>
                  <a:pt x="1494" y="470"/>
                  <a:pt x="1494" y="470"/>
                </a:cubicBezTo>
                <a:cubicBezTo>
                  <a:pt x="1495" y="470"/>
                  <a:pt x="1495" y="470"/>
                  <a:pt x="1495" y="470"/>
                </a:cubicBezTo>
                <a:cubicBezTo>
                  <a:pt x="1496" y="471"/>
                  <a:pt x="1496" y="471"/>
                  <a:pt x="1496" y="471"/>
                </a:cubicBezTo>
                <a:cubicBezTo>
                  <a:pt x="1498" y="471"/>
                  <a:pt x="1498" y="471"/>
                  <a:pt x="1498" y="471"/>
                </a:cubicBezTo>
                <a:cubicBezTo>
                  <a:pt x="1498" y="470"/>
                  <a:pt x="1498" y="470"/>
                  <a:pt x="1498" y="470"/>
                </a:cubicBezTo>
                <a:cubicBezTo>
                  <a:pt x="1498" y="469"/>
                  <a:pt x="1498" y="469"/>
                  <a:pt x="1498" y="469"/>
                </a:cubicBezTo>
                <a:cubicBezTo>
                  <a:pt x="1497" y="469"/>
                  <a:pt x="1497" y="469"/>
                  <a:pt x="1497" y="469"/>
                </a:cubicBezTo>
                <a:lnTo>
                  <a:pt x="1496" y="469"/>
                </a:lnTo>
                <a:close/>
                <a:moveTo>
                  <a:pt x="1453" y="399"/>
                </a:moveTo>
                <a:cubicBezTo>
                  <a:pt x="1452" y="396"/>
                  <a:pt x="1452" y="396"/>
                  <a:pt x="1452" y="396"/>
                </a:cubicBezTo>
                <a:cubicBezTo>
                  <a:pt x="1450" y="397"/>
                  <a:pt x="1450" y="397"/>
                  <a:pt x="1450" y="397"/>
                </a:cubicBezTo>
                <a:cubicBezTo>
                  <a:pt x="1450" y="400"/>
                  <a:pt x="1450" y="400"/>
                  <a:pt x="1450" y="400"/>
                </a:cubicBezTo>
                <a:cubicBezTo>
                  <a:pt x="1451" y="398"/>
                  <a:pt x="1451" y="398"/>
                  <a:pt x="1451" y="398"/>
                </a:cubicBezTo>
                <a:cubicBezTo>
                  <a:pt x="1451" y="400"/>
                  <a:pt x="1451" y="400"/>
                  <a:pt x="1451" y="400"/>
                </a:cubicBezTo>
                <a:lnTo>
                  <a:pt x="1453" y="399"/>
                </a:lnTo>
                <a:close/>
                <a:moveTo>
                  <a:pt x="1452" y="394"/>
                </a:moveTo>
                <a:cubicBezTo>
                  <a:pt x="1452" y="393"/>
                  <a:pt x="1452" y="393"/>
                  <a:pt x="1452" y="393"/>
                </a:cubicBezTo>
                <a:cubicBezTo>
                  <a:pt x="1452" y="395"/>
                  <a:pt x="1452" y="395"/>
                  <a:pt x="1452" y="395"/>
                </a:cubicBezTo>
                <a:lnTo>
                  <a:pt x="1452" y="394"/>
                </a:lnTo>
                <a:close/>
                <a:moveTo>
                  <a:pt x="1451" y="380"/>
                </a:moveTo>
                <a:cubicBezTo>
                  <a:pt x="1451" y="382"/>
                  <a:pt x="1451" y="382"/>
                  <a:pt x="1451" y="382"/>
                </a:cubicBezTo>
                <a:cubicBezTo>
                  <a:pt x="1452" y="381"/>
                  <a:pt x="1452" y="381"/>
                  <a:pt x="1452" y="381"/>
                </a:cubicBezTo>
                <a:cubicBezTo>
                  <a:pt x="1452" y="380"/>
                  <a:pt x="1452" y="380"/>
                  <a:pt x="1452" y="380"/>
                </a:cubicBezTo>
                <a:lnTo>
                  <a:pt x="1451" y="380"/>
                </a:lnTo>
                <a:close/>
                <a:moveTo>
                  <a:pt x="1448" y="387"/>
                </a:moveTo>
                <a:cubicBezTo>
                  <a:pt x="1450" y="386"/>
                  <a:pt x="1450" y="386"/>
                  <a:pt x="1450" y="386"/>
                </a:cubicBezTo>
                <a:cubicBezTo>
                  <a:pt x="1450" y="384"/>
                  <a:pt x="1450" y="384"/>
                  <a:pt x="1450" y="384"/>
                </a:cubicBezTo>
                <a:lnTo>
                  <a:pt x="1448" y="387"/>
                </a:lnTo>
                <a:close/>
                <a:moveTo>
                  <a:pt x="1476" y="355"/>
                </a:moveTo>
                <a:cubicBezTo>
                  <a:pt x="1476" y="354"/>
                  <a:pt x="1476" y="354"/>
                  <a:pt x="1476" y="354"/>
                </a:cubicBezTo>
                <a:cubicBezTo>
                  <a:pt x="1475" y="354"/>
                  <a:pt x="1475" y="354"/>
                  <a:pt x="1475" y="354"/>
                </a:cubicBezTo>
                <a:cubicBezTo>
                  <a:pt x="1476" y="356"/>
                  <a:pt x="1476" y="356"/>
                  <a:pt x="1476" y="356"/>
                </a:cubicBezTo>
                <a:lnTo>
                  <a:pt x="1476" y="355"/>
                </a:lnTo>
                <a:close/>
                <a:moveTo>
                  <a:pt x="1455" y="391"/>
                </a:moveTo>
                <a:cubicBezTo>
                  <a:pt x="1457" y="389"/>
                  <a:pt x="1457" y="389"/>
                  <a:pt x="1457" y="389"/>
                </a:cubicBezTo>
                <a:cubicBezTo>
                  <a:pt x="1456" y="388"/>
                  <a:pt x="1456" y="388"/>
                  <a:pt x="1456" y="388"/>
                </a:cubicBezTo>
                <a:cubicBezTo>
                  <a:pt x="1455" y="387"/>
                  <a:pt x="1455" y="387"/>
                  <a:pt x="1455" y="387"/>
                </a:cubicBezTo>
                <a:cubicBezTo>
                  <a:pt x="1453" y="386"/>
                  <a:pt x="1453" y="386"/>
                  <a:pt x="1453" y="386"/>
                </a:cubicBezTo>
                <a:cubicBezTo>
                  <a:pt x="1451" y="387"/>
                  <a:pt x="1451" y="387"/>
                  <a:pt x="1451" y="387"/>
                </a:cubicBezTo>
                <a:cubicBezTo>
                  <a:pt x="1454" y="388"/>
                  <a:pt x="1454" y="388"/>
                  <a:pt x="1454" y="388"/>
                </a:cubicBezTo>
                <a:cubicBezTo>
                  <a:pt x="1452" y="389"/>
                  <a:pt x="1452" y="389"/>
                  <a:pt x="1452" y="389"/>
                </a:cubicBezTo>
                <a:cubicBezTo>
                  <a:pt x="1453" y="390"/>
                  <a:pt x="1453" y="390"/>
                  <a:pt x="1453" y="390"/>
                </a:cubicBezTo>
                <a:cubicBezTo>
                  <a:pt x="1451" y="391"/>
                  <a:pt x="1451" y="391"/>
                  <a:pt x="1451" y="391"/>
                </a:cubicBezTo>
                <a:cubicBezTo>
                  <a:pt x="1455" y="390"/>
                  <a:pt x="1455" y="390"/>
                  <a:pt x="1455" y="390"/>
                </a:cubicBezTo>
                <a:lnTo>
                  <a:pt x="1455" y="391"/>
                </a:lnTo>
                <a:close/>
                <a:moveTo>
                  <a:pt x="1442" y="379"/>
                </a:moveTo>
                <a:cubicBezTo>
                  <a:pt x="1442" y="380"/>
                  <a:pt x="1442" y="380"/>
                  <a:pt x="1442" y="380"/>
                </a:cubicBezTo>
                <a:cubicBezTo>
                  <a:pt x="1442" y="382"/>
                  <a:pt x="1442" y="382"/>
                  <a:pt x="1442" y="382"/>
                </a:cubicBezTo>
                <a:cubicBezTo>
                  <a:pt x="1443" y="381"/>
                  <a:pt x="1443" y="381"/>
                  <a:pt x="1443" y="381"/>
                </a:cubicBezTo>
                <a:lnTo>
                  <a:pt x="1442" y="379"/>
                </a:lnTo>
                <a:close/>
                <a:moveTo>
                  <a:pt x="1478" y="350"/>
                </a:moveTo>
                <a:cubicBezTo>
                  <a:pt x="1477" y="350"/>
                  <a:pt x="1477" y="350"/>
                  <a:pt x="1477" y="350"/>
                </a:cubicBezTo>
                <a:cubicBezTo>
                  <a:pt x="1478" y="351"/>
                  <a:pt x="1478" y="351"/>
                  <a:pt x="1478" y="351"/>
                </a:cubicBezTo>
                <a:lnTo>
                  <a:pt x="1478" y="350"/>
                </a:lnTo>
                <a:close/>
                <a:moveTo>
                  <a:pt x="1443" y="373"/>
                </a:moveTo>
                <a:cubicBezTo>
                  <a:pt x="1443" y="374"/>
                  <a:pt x="1443" y="374"/>
                  <a:pt x="1443" y="374"/>
                </a:cubicBezTo>
                <a:cubicBezTo>
                  <a:pt x="1444" y="375"/>
                  <a:pt x="1444" y="375"/>
                  <a:pt x="1444" y="375"/>
                </a:cubicBezTo>
                <a:cubicBezTo>
                  <a:pt x="1445" y="373"/>
                  <a:pt x="1445" y="373"/>
                  <a:pt x="1445" y="373"/>
                </a:cubicBezTo>
                <a:lnTo>
                  <a:pt x="1443" y="373"/>
                </a:lnTo>
                <a:close/>
                <a:moveTo>
                  <a:pt x="1418" y="447"/>
                </a:moveTo>
                <a:cubicBezTo>
                  <a:pt x="1416" y="449"/>
                  <a:pt x="1416" y="449"/>
                  <a:pt x="1416" y="449"/>
                </a:cubicBezTo>
                <a:cubicBezTo>
                  <a:pt x="1414" y="449"/>
                  <a:pt x="1414" y="449"/>
                  <a:pt x="1414" y="449"/>
                </a:cubicBezTo>
                <a:cubicBezTo>
                  <a:pt x="1413" y="452"/>
                  <a:pt x="1413" y="452"/>
                  <a:pt x="1413" y="452"/>
                </a:cubicBezTo>
                <a:cubicBezTo>
                  <a:pt x="1414" y="452"/>
                  <a:pt x="1414" y="452"/>
                  <a:pt x="1414" y="452"/>
                </a:cubicBezTo>
                <a:cubicBezTo>
                  <a:pt x="1415" y="453"/>
                  <a:pt x="1415" y="453"/>
                  <a:pt x="1415" y="453"/>
                </a:cubicBezTo>
                <a:cubicBezTo>
                  <a:pt x="1420" y="451"/>
                  <a:pt x="1420" y="451"/>
                  <a:pt x="1420" y="451"/>
                </a:cubicBezTo>
                <a:cubicBezTo>
                  <a:pt x="1416" y="454"/>
                  <a:pt x="1416" y="454"/>
                  <a:pt x="1416" y="454"/>
                </a:cubicBezTo>
                <a:cubicBezTo>
                  <a:pt x="1415" y="455"/>
                  <a:pt x="1415" y="455"/>
                  <a:pt x="1415" y="455"/>
                </a:cubicBezTo>
                <a:cubicBezTo>
                  <a:pt x="1417" y="455"/>
                  <a:pt x="1417" y="455"/>
                  <a:pt x="1417" y="455"/>
                </a:cubicBezTo>
                <a:cubicBezTo>
                  <a:pt x="1420" y="453"/>
                  <a:pt x="1420" y="453"/>
                  <a:pt x="1420" y="453"/>
                </a:cubicBezTo>
                <a:cubicBezTo>
                  <a:pt x="1420" y="454"/>
                  <a:pt x="1420" y="454"/>
                  <a:pt x="1420" y="454"/>
                </a:cubicBezTo>
                <a:cubicBezTo>
                  <a:pt x="1417" y="456"/>
                  <a:pt x="1417" y="456"/>
                  <a:pt x="1417" y="456"/>
                </a:cubicBezTo>
                <a:cubicBezTo>
                  <a:pt x="1419" y="456"/>
                  <a:pt x="1419" y="456"/>
                  <a:pt x="1419" y="456"/>
                </a:cubicBezTo>
                <a:cubicBezTo>
                  <a:pt x="1418" y="457"/>
                  <a:pt x="1418" y="457"/>
                  <a:pt x="1418" y="457"/>
                </a:cubicBezTo>
                <a:cubicBezTo>
                  <a:pt x="1421" y="456"/>
                  <a:pt x="1421" y="456"/>
                  <a:pt x="1421" y="456"/>
                </a:cubicBezTo>
                <a:cubicBezTo>
                  <a:pt x="1422" y="457"/>
                  <a:pt x="1422" y="457"/>
                  <a:pt x="1422" y="457"/>
                </a:cubicBezTo>
                <a:cubicBezTo>
                  <a:pt x="1426" y="456"/>
                  <a:pt x="1426" y="456"/>
                  <a:pt x="1426" y="456"/>
                </a:cubicBezTo>
                <a:cubicBezTo>
                  <a:pt x="1429" y="455"/>
                  <a:pt x="1429" y="455"/>
                  <a:pt x="1429" y="455"/>
                </a:cubicBezTo>
                <a:cubicBezTo>
                  <a:pt x="1431" y="454"/>
                  <a:pt x="1431" y="454"/>
                  <a:pt x="1431" y="454"/>
                </a:cubicBezTo>
                <a:cubicBezTo>
                  <a:pt x="1430" y="452"/>
                  <a:pt x="1430" y="452"/>
                  <a:pt x="1430" y="452"/>
                </a:cubicBezTo>
                <a:cubicBezTo>
                  <a:pt x="1432" y="452"/>
                  <a:pt x="1432" y="452"/>
                  <a:pt x="1432" y="452"/>
                </a:cubicBezTo>
                <a:cubicBezTo>
                  <a:pt x="1432" y="453"/>
                  <a:pt x="1432" y="453"/>
                  <a:pt x="1432" y="453"/>
                </a:cubicBezTo>
                <a:cubicBezTo>
                  <a:pt x="1434" y="453"/>
                  <a:pt x="1434" y="453"/>
                  <a:pt x="1434" y="453"/>
                </a:cubicBezTo>
                <a:cubicBezTo>
                  <a:pt x="1436" y="451"/>
                  <a:pt x="1436" y="451"/>
                  <a:pt x="1436" y="451"/>
                </a:cubicBezTo>
                <a:cubicBezTo>
                  <a:pt x="1437" y="451"/>
                  <a:pt x="1437" y="451"/>
                  <a:pt x="1437" y="451"/>
                </a:cubicBezTo>
                <a:cubicBezTo>
                  <a:pt x="1438" y="449"/>
                  <a:pt x="1438" y="449"/>
                  <a:pt x="1438" y="449"/>
                </a:cubicBezTo>
                <a:cubicBezTo>
                  <a:pt x="1443" y="449"/>
                  <a:pt x="1443" y="449"/>
                  <a:pt x="1443" y="449"/>
                </a:cubicBezTo>
                <a:cubicBezTo>
                  <a:pt x="1444" y="447"/>
                  <a:pt x="1444" y="447"/>
                  <a:pt x="1444" y="447"/>
                </a:cubicBezTo>
                <a:cubicBezTo>
                  <a:pt x="1445" y="449"/>
                  <a:pt x="1445" y="449"/>
                  <a:pt x="1445" y="449"/>
                </a:cubicBezTo>
                <a:cubicBezTo>
                  <a:pt x="1446" y="448"/>
                  <a:pt x="1446" y="448"/>
                  <a:pt x="1446" y="448"/>
                </a:cubicBezTo>
                <a:cubicBezTo>
                  <a:pt x="1447" y="448"/>
                  <a:pt x="1447" y="448"/>
                  <a:pt x="1447" y="448"/>
                </a:cubicBezTo>
                <a:cubicBezTo>
                  <a:pt x="1450" y="448"/>
                  <a:pt x="1450" y="448"/>
                  <a:pt x="1450" y="448"/>
                </a:cubicBezTo>
                <a:cubicBezTo>
                  <a:pt x="1448" y="446"/>
                  <a:pt x="1448" y="446"/>
                  <a:pt x="1448" y="446"/>
                </a:cubicBezTo>
                <a:cubicBezTo>
                  <a:pt x="1449" y="445"/>
                  <a:pt x="1449" y="445"/>
                  <a:pt x="1449" y="445"/>
                </a:cubicBezTo>
                <a:cubicBezTo>
                  <a:pt x="1451" y="443"/>
                  <a:pt x="1451" y="443"/>
                  <a:pt x="1451" y="443"/>
                </a:cubicBezTo>
                <a:cubicBezTo>
                  <a:pt x="1451" y="441"/>
                  <a:pt x="1451" y="441"/>
                  <a:pt x="1451" y="441"/>
                </a:cubicBezTo>
                <a:cubicBezTo>
                  <a:pt x="1452" y="440"/>
                  <a:pt x="1452" y="440"/>
                  <a:pt x="1452" y="440"/>
                </a:cubicBezTo>
                <a:cubicBezTo>
                  <a:pt x="1453" y="438"/>
                  <a:pt x="1453" y="438"/>
                  <a:pt x="1453" y="438"/>
                </a:cubicBezTo>
                <a:cubicBezTo>
                  <a:pt x="1452" y="433"/>
                  <a:pt x="1452" y="433"/>
                  <a:pt x="1452" y="433"/>
                </a:cubicBezTo>
                <a:cubicBezTo>
                  <a:pt x="1451" y="432"/>
                  <a:pt x="1451" y="432"/>
                  <a:pt x="1451" y="432"/>
                </a:cubicBezTo>
                <a:cubicBezTo>
                  <a:pt x="1452" y="431"/>
                  <a:pt x="1452" y="431"/>
                  <a:pt x="1452" y="431"/>
                </a:cubicBezTo>
                <a:cubicBezTo>
                  <a:pt x="1452" y="429"/>
                  <a:pt x="1452" y="429"/>
                  <a:pt x="1452" y="429"/>
                </a:cubicBezTo>
                <a:cubicBezTo>
                  <a:pt x="1451" y="427"/>
                  <a:pt x="1451" y="427"/>
                  <a:pt x="1451" y="427"/>
                </a:cubicBezTo>
                <a:cubicBezTo>
                  <a:pt x="1451" y="425"/>
                  <a:pt x="1451" y="425"/>
                  <a:pt x="1451" y="425"/>
                </a:cubicBezTo>
                <a:cubicBezTo>
                  <a:pt x="1450" y="424"/>
                  <a:pt x="1450" y="424"/>
                  <a:pt x="1450" y="424"/>
                </a:cubicBezTo>
                <a:cubicBezTo>
                  <a:pt x="1450" y="423"/>
                  <a:pt x="1450" y="423"/>
                  <a:pt x="1450" y="423"/>
                </a:cubicBezTo>
                <a:cubicBezTo>
                  <a:pt x="1452" y="423"/>
                  <a:pt x="1452" y="423"/>
                  <a:pt x="1452" y="423"/>
                </a:cubicBezTo>
                <a:cubicBezTo>
                  <a:pt x="1452" y="423"/>
                  <a:pt x="1452" y="423"/>
                  <a:pt x="1452" y="423"/>
                </a:cubicBezTo>
                <a:cubicBezTo>
                  <a:pt x="1452" y="422"/>
                  <a:pt x="1452" y="422"/>
                  <a:pt x="1452" y="422"/>
                </a:cubicBezTo>
                <a:cubicBezTo>
                  <a:pt x="1453" y="422"/>
                  <a:pt x="1453" y="422"/>
                  <a:pt x="1453" y="422"/>
                </a:cubicBezTo>
                <a:cubicBezTo>
                  <a:pt x="1454" y="421"/>
                  <a:pt x="1454" y="421"/>
                  <a:pt x="1454" y="421"/>
                </a:cubicBezTo>
                <a:cubicBezTo>
                  <a:pt x="1455" y="419"/>
                  <a:pt x="1455" y="419"/>
                  <a:pt x="1455" y="419"/>
                </a:cubicBezTo>
                <a:cubicBezTo>
                  <a:pt x="1457" y="420"/>
                  <a:pt x="1457" y="420"/>
                  <a:pt x="1457" y="420"/>
                </a:cubicBezTo>
                <a:cubicBezTo>
                  <a:pt x="1457" y="418"/>
                  <a:pt x="1457" y="418"/>
                  <a:pt x="1457" y="418"/>
                </a:cubicBezTo>
                <a:cubicBezTo>
                  <a:pt x="1456" y="418"/>
                  <a:pt x="1456" y="418"/>
                  <a:pt x="1456" y="418"/>
                </a:cubicBezTo>
                <a:cubicBezTo>
                  <a:pt x="1456" y="416"/>
                  <a:pt x="1456" y="416"/>
                  <a:pt x="1456" y="416"/>
                </a:cubicBezTo>
                <a:cubicBezTo>
                  <a:pt x="1456" y="415"/>
                  <a:pt x="1456" y="415"/>
                  <a:pt x="1456" y="415"/>
                </a:cubicBezTo>
                <a:cubicBezTo>
                  <a:pt x="1457" y="415"/>
                  <a:pt x="1457" y="415"/>
                  <a:pt x="1457" y="415"/>
                </a:cubicBezTo>
                <a:cubicBezTo>
                  <a:pt x="1458" y="418"/>
                  <a:pt x="1458" y="418"/>
                  <a:pt x="1458" y="418"/>
                </a:cubicBezTo>
                <a:cubicBezTo>
                  <a:pt x="1457" y="414"/>
                  <a:pt x="1457" y="414"/>
                  <a:pt x="1457" y="414"/>
                </a:cubicBezTo>
                <a:cubicBezTo>
                  <a:pt x="1455" y="414"/>
                  <a:pt x="1455" y="414"/>
                  <a:pt x="1455" y="414"/>
                </a:cubicBezTo>
                <a:cubicBezTo>
                  <a:pt x="1456" y="413"/>
                  <a:pt x="1456" y="413"/>
                  <a:pt x="1456" y="413"/>
                </a:cubicBezTo>
                <a:cubicBezTo>
                  <a:pt x="1453" y="408"/>
                  <a:pt x="1453" y="408"/>
                  <a:pt x="1453" y="408"/>
                </a:cubicBezTo>
                <a:cubicBezTo>
                  <a:pt x="1453" y="407"/>
                  <a:pt x="1453" y="407"/>
                  <a:pt x="1453" y="407"/>
                </a:cubicBezTo>
                <a:cubicBezTo>
                  <a:pt x="1452" y="406"/>
                  <a:pt x="1452" y="406"/>
                  <a:pt x="1452" y="406"/>
                </a:cubicBezTo>
                <a:cubicBezTo>
                  <a:pt x="1448" y="405"/>
                  <a:pt x="1448" y="405"/>
                  <a:pt x="1448" y="405"/>
                </a:cubicBezTo>
                <a:cubicBezTo>
                  <a:pt x="1447" y="407"/>
                  <a:pt x="1447" y="407"/>
                  <a:pt x="1447" y="407"/>
                </a:cubicBezTo>
                <a:cubicBezTo>
                  <a:pt x="1445" y="407"/>
                  <a:pt x="1445" y="407"/>
                  <a:pt x="1445" y="407"/>
                </a:cubicBezTo>
                <a:cubicBezTo>
                  <a:pt x="1445" y="408"/>
                  <a:pt x="1445" y="408"/>
                  <a:pt x="1445" y="408"/>
                </a:cubicBezTo>
                <a:cubicBezTo>
                  <a:pt x="1443" y="408"/>
                  <a:pt x="1443" y="408"/>
                  <a:pt x="1443" y="408"/>
                </a:cubicBezTo>
                <a:cubicBezTo>
                  <a:pt x="1442" y="408"/>
                  <a:pt x="1442" y="408"/>
                  <a:pt x="1442" y="408"/>
                </a:cubicBezTo>
                <a:cubicBezTo>
                  <a:pt x="1444" y="406"/>
                  <a:pt x="1444" y="406"/>
                  <a:pt x="1444" y="406"/>
                </a:cubicBezTo>
                <a:cubicBezTo>
                  <a:pt x="1446" y="405"/>
                  <a:pt x="1446" y="405"/>
                  <a:pt x="1446" y="405"/>
                </a:cubicBezTo>
                <a:cubicBezTo>
                  <a:pt x="1444" y="404"/>
                  <a:pt x="1444" y="404"/>
                  <a:pt x="1444" y="404"/>
                </a:cubicBezTo>
                <a:cubicBezTo>
                  <a:pt x="1442" y="403"/>
                  <a:pt x="1442" y="403"/>
                  <a:pt x="1442" y="403"/>
                </a:cubicBezTo>
                <a:cubicBezTo>
                  <a:pt x="1443" y="404"/>
                  <a:pt x="1443" y="404"/>
                  <a:pt x="1443" y="404"/>
                </a:cubicBezTo>
                <a:cubicBezTo>
                  <a:pt x="1441" y="404"/>
                  <a:pt x="1441" y="404"/>
                  <a:pt x="1441" y="404"/>
                </a:cubicBezTo>
                <a:cubicBezTo>
                  <a:pt x="1441" y="407"/>
                  <a:pt x="1441" y="407"/>
                  <a:pt x="1441" y="407"/>
                </a:cubicBezTo>
                <a:cubicBezTo>
                  <a:pt x="1440" y="409"/>
                  <a:pt x="1440" y="409"/>
                  <a:pt x="1440" y="409"/>
                </a:cubicBezTo>
                <a:cubicBezTo>
                  <a:pt x="1440" y="407"/>
                  <a:pt x="1440" y="407"/>
                  <a:pt x="1440" y="407"/>
                </a:cubicBezTo>
                <a:cubicBezTo>
                  <a:pt x="1441" y="406"/>
                  <a:pt x="1441" y="406"/>
                  <a:pt x="1441" y="406"/>
                </a:cubicBezTo>
                <a:cubicBezTo>
                  <a:pt x="1440" y="405"/>
                  <a:pt x="1440" y="405"/>
                  <a:pt x="1440" y="405"/>
                </a:cubicBezTo>
                <a:cubicBezTo>
                  <a:pt x="1438" y="405"/>
                  <a:pt x="1438" y="405"/>
                  <a:pt x="1438" y="405"/>
                </a:cubicBezTo>
                <a:cubicBezTo>
                  <a:pt x="1439" y="406"/>
                  <a:pt x="1439" y="406"/>
                  <a:pt x="1439" y="406"/>
                </a:cubicBezTo>
                <a:cubicBezTo>
                  <a:pt x="1438" y="406"/>
                  <a:pt x="1438" y="406"/>
                  <a:pt x="1438" y="406"/>
                </a:cubicBezTo>
                <a:cubicBezTo>
                  <a:pt x="1437" y="405"/>
                  <a:pt x="1437" y="405"/>
                  <a:pt x="1437" y="405"/>
                </a:cubicBezTo>
                <a:cubicBezTo>
                  <a:pt x="1434" y="406"/>
                  <a:pt x="1434" y="406"/>
                  <a:pt x="1434" y="406"/>
                </a:cubicBezTo>
                <a:cubicBezTo>
                  <a:pt x="1434" y="407"/>
                  <a:pt x="1434" y="407"/>
                  <a:pt x="1434" y="407"/>
                </a:cubicBezTo>
                <a:cubicBezTo>
                  <a:pt x="1433" y="407"/>
                  <a:pt x="1433" y="407"/>
                  <a:pt x="1433" y="407"/>
                </a:cubicBezTo>
                <a:cubicBezTo>
                  <a:pt x="1432" y="409"/>
                  <a:pt x="1432" y="409"/>
                  <a:pt x="1432" y="409"/>
                </a:cubicBezTo>
                <a:cubicBezTo>
                  <a:pt x="1434" y="410"/>
                  <a:pt x="1434" y="410"/>
                  <a:pt x="1434" y="410"/>
                </a:cubicBezTo>
                <a:cubicBezTo>
                  <a:pt x="1433" y="410"/>
                  <a:pt x="1433" y="410"/>
                  <a:pt x="1433" y="410"/>
                </a:cubicBezTo>
                <a:cubicBezTo>
                  <a:pt x="1432" y="410"/>
                  <a:pt x="1432" y="410"/>
                  <a:pt x="1432" y="410"/>
                </a:cubicBezTo>
                <a:cubicBezTo>
                  <a:pt x="1432" y="411"/>
                  <a:pt x="1432" y="411"/>
                  <a:pt x="1432" y="411"/>
                </a:cubicBezTo>
                <a:cubicBezTo>
                  <a:pt x="1430" y="412"/>
                  <a:pt x="1430" y="412"/>
                  <a:pt x="1430" y="412"/>
                </a:cubicBezTo>
                <a:cubicBezTo>
                  <a:pt x="1431" y="413"/>
                  <a:pt x="1431" y="413"/>
                  <a:pt x="1431" y="413"/>
                </a:cubicBezTo>
                <a:cubicBezTo>
                  <a:pt x="1433" y="413"/>
                  <a:pt x="1433" y="413"/>
                  <a:pt x="1433" y="413"/>
                </a:cubicBezTo>
                <a:cubicBezTo>
                  <a:pt x="1432" y="414"/>
                  <a:pt x="1432" y="414"/>
                  <a:pt x="1432" y="414"/>
                </a:cubicBezTo>
                <a:cubicBezTo>
                  <a:pt x="1434" y="413"/>
                  <a:pt x="1434" y="413"/>
                  <a:pt x="1434" y="413"/>
                </a:cubicBezTo>
                <a:cubicBezTo>
                  <a:pt x="1435" y="413"/>
                  <a:pt x="1435" y="413"/>
                  <a:pt x="1435" y="413"/>
                </a:cubicBezTo>
                <a:cubicBezTo>
                  <a:pt x="1433" y="416"/>
                  <a:pt x="1433" y="416"/>
                  <a:pt x="1433" y="416"/>
                </a:cubicBezTo>
                <a:cubicBezTo>
                  <a:pt x="1430" y="417"/>
                  <a:pt x="1430" y="417"/>
                  <a:pt x="1430" y="417"/>
                </a:cubicBezTo>
                <a:cubicBezTo>
                  <a:pt x="1431" y="418"/>
                  <a:pt x="1431" y="418"/>
                  <a:pt x="1431" y="418"/>
                </a:cubicBezTo>
                <a:cubicBezTo>
                  <a:pt x="1428" y="418"/>
                  <a:pt x="1428" y="418"/>
                  <a:pt x="1428" y="418"/>
                </a:cubicBezTo>
                <a:cubicBezTo>
                  <a:pt x="1427" y="418"/>
                  <a:pt x="1427" y="418"/>
                  <a:pt x="1427" y="418"/>
                </a:cubicBezTo>
                <a:cubicBezTo>
                  <a:pt x="1426" y="419"/>
                  <a:pt x="1426" y="419"/>
                  <a:pt x="1426" y="419"/>
                </a:cubicBezTo>
                <a:cubicBezTo>
                  <a:pt x="1425" y="417"/>
                  <a:pt x="1425" y="417"/>
                  <a:pt x="1425" y="417"/>
                </a:cubicBezTo>
                <a:cubicBezTo>
                  <a:pt x="1420" y="417"/>
                  <a:pt x="1420" y="417"/>
                  <a:pt x="1420" y="417"/>
                </a:cubicBezTo>
                <a:cubicBezTo>
                  <a:pt x="1420" y="417"/>
                  <a:pt x="1420" y="417"/>
                  <a:pt x="1420" y="417"/>
                </a:cubicBezTo>
                <a:cubicBezTo>
                  <a:pt x="1418" y="417"/>
                  <a:pt x="1418" y="417"/>
                  <a:pt x="1418" y="417"/>
                </a:cubicBezTo>
                <a:cubicBezTo>
                  <a:pt x="1417" y="419"/>
                  <a:pt x="1417" y="419"/>
                  <a:pt x="1417" y="419"/>
                </a:cubicBezTo>
                <a:cubicBezTo>
                  <a:pt x="1419" y="418"/>
                  <a:pt x="1419" y="418"/>
                  <a:pt x="1419" y="418"/>
                </a:cubicBezTo>
                <a:cubicBezTo>
                  <a:pt x="1419" y="420"/>
                  <a:pt x="1419" y="420"/>
                  <a:pt x="1419" y="420"/>
                </a:cubicBezTo>
                <a:cubicBezTo>
                  <a:pt x="1420" y="420"/>
                  <a:pt x="1420" y="420"/>
                  <a:pt x="1420" y="420"/>
                </a:cubicBezTo>
                <a:cubicBezTo>
                  <a:pt x="1420" y="422"/>
                  <a:pt x="1420" y="422"/>
                  <a:pt x="1420" y="422"/>
                </a:cubicBezTo>
                <a:cubicBezTo>
                  <a:pt x="1419" y="422"/>
                  <a:pt x="1419" y="422"/>
                  <a:pt x="1419" y="422"/>
                </a:cubicBezTo>
                <a:cubicBezTo>
                  <a:pt x="1419" y="421"/>
                  <a:pt x="1419" y="421"/>
                  <a:pt x="1419" y="421"/>
                </a:cubicBezTo>
                <a:cubicBezTo>
                  <a:pt x="1416" y="421"/>
                  <a:pt x="1416" y="421"/>
                  <a:pt x="1416" y="421"/>
                </a:cubicBezTo>
                <a:cubicBezTo>
                  <a:pt x="1419" y="423"/>
                  <a:pt x="1419" y="423"/>
                  <a:pt x="1419" y="423"/>
                </a:cubicBezTo>
                <a:cubicBezTo>
                  <a:pt x="1421" y="423"/>
                  <a:pt x="1421" y="423"/>
                  <a:pt x="1421" y="423"/>
                </a:cubicBezTo>
                <a:cubicBezTo>
                  <a:pt x="1422" y="424"/>
                  <a:pt x="1422" y="424"/>
                  <a:pt x="1422" y="424"/>
                </a:cubicBezTo>
                <a:cubicBezTo>
                  <a:pt x="1419" y="425"/>
                  <a:pt x="1419" y="425"/>
                  <a:pt x="1419" y="425"/>
                </a:cubicBezTo>
                <a:cubicBezTo>
                  <a:pt x="1419" y="426"/>
                  <a:pt x="1419" y="426"/>
                  <a:pt x="1419" y="426"/>
                </a:cubicBezTo>
                <a:cubicBezTo>
                  <a:pt x="1420" y="427"/>
                  <a:pt x="1420" y="427"/>
                  <a:pt x="1420" y="427"/>
                </a:cubicBezTo>
                <a:cubicBezTo>
                  <a:pt x="1417" y="427"/>
                  <a:pt x="1417" y="427"/>
                  <a:pt x="1417" y="427"/>
                </a:cubicBezTo>
                <a:cubicBezTo>
                  <a:pt x="1417" y="429"/>
                  <a:pt x="1417" y="429"/>
                  <a:pt x="1417" y="429"/>
                </a:cubicBezTo>
                <a:cubicBezTo>
                  <a:pt x="1416" y="429"/>
                  <a:pt x="1416" y="429"/>
                  <a:pt x="1416" y="429"/>
                </a:cubicBezTo>
                <a:cubicBezTo>
                  <a:pt x="1418" y="430"/>
                  <a:pt x="1418" y="430"/>
                  <a:pt x="1418" y="430"/>
                </a:cubicBezTo>
                <a:cubicBezTo>
                  <a:pt x="1419" y="429"/>
                  <a:pt x="1419" y="429"/>
                  <a:pt x="1419" y="429"/>
                </a:cubicBezTo>
                <a:cubicBezTo>
                  <a:pt x="1418" y="430"/>
                  <a:pt x="1418" y="430"/>
                  <a:pt x="1418" y="430"/>
                </a:cubicBezTo>
                <a:cubicBezTo>
                  <a:pt x="1421" y="430"/>
                  <a:pt x="1421" y="430"/>
                  <a:pt x="1421" y="430"/>
                </a:cubicBezTo>
                <a:cubicBezTo>
                  <a:pt x="1421" y="432"/>
                  <a:pt x="1421" y="432"/>
                  <a:pt x="1421" y="432"/>
                </a:cubicBezTo>
                <a:cubicBezTo>
                  <a:pt x="1427" y="432"/>
                  <a:pt x="1427" y="432"/>
                  <a:pt x="1427" y="432"/>
                </a:cubicBezTo>
                <a:cubicBezTo>
                  <a:pt x="1425" y="434"/>
                  <a:pt x="1425" y="434"/>
                  <a:pt x="1425" y="434"/>
                </a:cubicBezTo>
                <a:cubicBezTo>
                  <a:pt x="1424" y="433"/>
                  <a:pt x="1424" y="433"/>
                  <a:pt x="1424" y="433"/>
                </a:cubicBezTo>
                <a:cubicBezTo>
                  <a:pt x="1422" y="437"/>
                  <a:pt x="1422" y="437"/>
                  <a:pt x="1422" y="437"/>
                </a:cubicBezTo>
                <a:cubicBezTo>
                  <a:pt x="1423" y="437"/>
                  <a:pt x="1423" y="437"/>
                  <a:pt x="1423" y="437"/>
                </a:cubicBezTo>
                <a:cubicBezTo>
                  <a:pt x="1421" y="439"/>
                  <a:pt x="1421" y="439"/>
                  <a:pt x="1421" y="439"/>
                </a:cubicBezTo>
                <a:cubicBezTo>
                  <a:pt x="1417" y="441"/>
                  <a:pt x="1417" y="441"/>
                  <a:pt x="1417" y="441"/>
                </a:cubicBezTo>
                <a:cubicBezTo>
                  <a:pt x="1419" y="441"/>
                  <a:pt x="1419" y="441"/>
                  <a:pt x="1419" y="441"/>
                </a:cubicBezTo>
                <a:cubicBezTo>
                  <a:pt x="1421" y="440"/>
                  <a:pt x="1421" y="440"/>
                  <a:pt x="1421" y="440"/>
                </a:cubicBezTo>
                <a:cubicBezTo>
                  <a:pt x="1422" y="441"/>
                  <a:pt x="1422" y="441"/>
                  <a:pt x="1422" y="441"/>
                </a:cubicBezTo>
                <a:cubicBezTo>
                  <a:pt x="1424" y="441"/>
                  <a:pt x="1424" y="441"/>
                  <a:pt x="1424" y="441"/>
                </a:cubicBezTo>
                <a:cubicBezTo>
                  <a:pt x="1426" y="439"/>
                  <a:pt x="1426" y="439"/>
                  <a:pt x="1426" y="439"/>
                </a:cubicBezTo>
                <a:cubicBezTo>
                  <a:pt x="1426" y="440"/>
                  <a:pt x="1426" y="440"/>
                  <a:pt x="1426" y="440"/>
                </a:cubicBezTo>
                <a:cubicBezTo>
                  <a:pt x="1428" y="440"/>
                  <a:pt x="1428" y="440"/>
                  <a:pt x="1428" y="440"/>
                </a:cubicBezTo>
                <a:cubicBezTo>
                  <a:pt x="1424" y="441"/>
                  <a:pt x="1424" y="441"/>
                  <a:pt x="1424" y="441"/>
                </a:cubicBezTo>
                <a:cubicBezTo>
                  <a:pt x="1420" y="442"/>
                  <a:pt x="1420" y="442"/>
                  <a:pt x="1420" y="442"/>
                </a:cubicBezTo>
                <a:cubicBezTo>
                  <a:pt x="1420" y="443"/>
                  <a:pt x="1420" y="443"/>
                  <a:pt x="1420" y="443"/>
                </a:cubicBezTo>
                <a:cubicBezTo>
                  <a:pt x="1417" y="444"/>
                  <a:pt x="1417" y="444"/>
                  <a:pt x="1417" y="444"/>
                </a:cubicBezTo>
                <a:cubicBezTo>
                  <a:pt x="1418" y="445"/>
                  <a:pt x="1418" y="445"/>
                  <a:pt x="1418" y="445"/>
                </a:cubicBezTo>
                <a:cubicBezTo>
                  <a:pt x="1418" y="446"/>
                  <a:pt x="1418" y="446"/>
                  <a:pt x="1418" y="446"/>
                </a:cubicBezTo>
                <a:cubicBezTo>
                  <a:pt x="1419" y="446"/>
                  <a:pt x="1419" y="446"/>
                  <a:pt x="1419" y="446"/>
                </a:cubicBezTo>
                <a:cubicBezTo>
                  <a:pt x="1417" y="446"/>
                  <a:pt x="1417" y="446"/>
                  <a:pt x="1417" y="446"/>
                </a:cubicBezTo>
                <a:cubicBezTo>
                  <a:pt x="1416" y="445"/>
                  <a:pt x="1416" y="445"/>
                  <a:pt x="1416" y="445"/>
                </a:cubicBezTo>
                <a:cubicBezTo>
                  <a:pt x="1415" y="446"/>
                  <a:pt x="1415" y="446"/>
                  <a:pt x="1415" y="446"/>
                </a:cubicBezTo>
                <a:cubicBezTo>
                  <a:pt x="1415" y="445"/>
                  <a:pt x="1415" y="445"/>
                  <a:pt x="1415" y="445"/>
                </a:cubicBezTo>
                <a:cubicBezTo>
                  <a:pt x="1412" y="447"/>
                  <a:pt x="1412" y="447"/>
                  <a:pt x="1412" y="447"/>
                </a:cubicBezTo>
                <a:cubicBezTo>
                  <a:pt x="1412" y="447"/>
                  <a:pt x="1412" y="447"/>
                  <a:pt x="1412" y="447"/>
                </a:cubicBezTo>
                <a:lnTo>
                  <a:pt x="1418" y="447"/>
                </a:lnTo>
                <a:close/>
                <a:moveTo>
                  <a:pt x="2522" y="932"/>
                </a:moveTo>
                <a:cubicBezTo>
                  <a:pt x="2523" y="933"/>
                  <a:pt x="2523" y="933"/>
                  <a:pt x="2523" y="933"/>
                </a:cubicBezTo>
                <a:cubicBezTo>
                  <a:pt x="2524" y="932"/>
                  <a:pt x="2524" y="932"/>
                  <a:pt x="2524" y="932"/>
                </a:cubicBezTo>
                <a:lnTo>
                  <a:pt x="2522" y="932"/>
                </a:lnTo>
                <a:close/>
                <a:moveTo>
                  <a:pt x="1445" y="372"/>
                </a:moveTo>
                <a:cubicBezTo>
                  <a:pt x="1445" y="371"/>
                  <a:pt x="1445" y="371"/>
                  <a:pt x="1445" y="371"/>
                </a:cubicBezTo>
                <a:cubicBezTo>
                  <a:pt x="1443" y="371"/>
                  <a:pt x="1443" y="371"/>
                  <a:pt x="1443" y="371"/>
                </a:cubicBezTo>
                <a:cubicBezTo>
                  <a:pt x="1442" y="371"/>
                  <a:pt x="1442" y="371"/>
                  <a:pt x="1442" y="371"/>
                </a:cubicBezTo>
                <a:cubicBezTo>
                  <a:pt x="1443" y="373"/>
                  <a:pt x="1443" y="373"/>
                  <a:pt x="1443" y="373"/>
                </a:cubicBezTo>
                <a:lnTo>
                  <a:pt x="1445" y="372"/>
                </a:lnTo>
                <a:close/>
                <a:moveTo>
                  <a:pt x="2525" y="937"/>
                </a:moveTo>
                <a:cubicBezTo>
                  <a:pt x="2525" y="935"/>
                  <a:pt x="2525" y="935"/>
                  <a:pt x="2525" y="935"/>
                </a:cubicBezTo>
                <a:cubicBezTo>
                  <a:pt x="2524" y="934"/>
                  <a:pt x="2524" y="934"/>
                  <a:pt x="2524" y="934"/>
                </a:cubicBezTo>
                <a:cubicBezTo>
                  <a:pt x="2523" y="935"/>
                  <a:pt x="2523" y="935"/>
                  <a:pt x="2523" y="935"/>
                </a:cubicBezTo>
                <a:cubicBezTo>
                  <a:pt x="2523" y="936"/>
                  <a:pt x="2523" y="936"/>
                  <a:pt x="2523" y="936"/>
                </a:cubicBezTo>
                <a:lnTo>
                  <a:pt x="2525" y="937"/>
                </a:lnTo>
                <a:close/>
                <a:moveTo>
                  <a:pt x="1444" y="375"/>
                </a:moveTo>
                <a:cubicBezTo>
                  <a:pt x="1443" y="375"/>
                  <a:pt x="1443" y="375"/>
                  <a:pt x="1443" y="375"/>
                </a:cubicBezTo>
                <a:cubicBezTo>
                  <a:pt x="1443" y="376"/>
                  <a:pt x="1443" y="376"/>
                  <a:pt x="1443" y="376"/>
                </a:cubicBezTo>
                <a:cubicBezTo>
                  <a:pt x="1443" y="377"/>
                  <a:pt x="1443" y="377"/>
                  <a:pt x="1443" y="377"/>
                </a:cubicBezTo>
                <a:cubicBezTo>
                  <a:pt x="1443" y="379"/>
                  <a:pt x="1443" y="379"/>
                  <a:pt x="1443" y="379"/>
                </a:cubicBezTo>
                <a:cubicBezTo>
                  <a:pt x="1444" y="379"/>
                  <a:pt x="1444" y="379"/>
                  <a:pt x="1444" y="379"/>
                </a:cubicBezTo>
                <a:cubicBezTo>
                  <a:pt x="1444" y="377"/>
                  <a:pt x="1444" y="377"/>
                  <a:pt x="1444" y="377"/>
                </a:cubicBezTo>
                <a:cubicBezTo>
                  <a:pt x="1444" y="376"/>
                  <a:pt x="1444" y="376"/>
                  <a:pt x="1444" y="376"/>
                </a:cubicBezTo>
                <a:lnTo>
                  <a:pt x="1444" y="375"/>
                </a:lnTo>
                <a:close/>
                <a:moveTo>
                  <a:pt x="2544" y="908"/>
                </a:moveTo>
                <a:cubicBezTo>
                  <a:pt x="2545" y="910"/>
                  <a:pt x="2545" y="910"/>
                  <a:pt x="2545" y="910"/>
                </a:cubicBezTo>
                <a:cubicBezTo>
                  <a:pt x="2546" y="909"/>
                  <a:pt x="2546" y="909"/>
                  <a:pt x="2546" y="909"/>
                </a:cubicBezTo>
                <a:cubicBezTo>
                  <a:pt x="2544" y="907"/>
                  <a:pt x="2544" y="907"/>
                  <a:pt x="2544" y="907"/>
                </a:cubicBezTo>
                <a:lnTo>
                  <a:pt x="2544" y="908"/>
                </a:lnTo>
                <a:close/>
                <a:moveTo>
                  <a:pt x="1476" y="352"/>
                </a:moveTo>
                <a:cubicBezTo>
                  <a:pt x="1476" y="353"/>
                  <a:pt x="1476" y="353"/>
                  <a:pt x="1476" y="353"/>
                </a:cubicBezTo>
                <a:cubicBezTo>
                  <a:pt x="1478" y="353"/>
                  <a:pt x="1478" y="353"/>
                  <a:pt x="1478" y="353"/>
                </a:cubicBezTo>
                <a:cubicBezTo>
                  <a:pt x="1479" y="354"/>
                  <a:pt x="1479" y="354"/>
                  <a:pt x="1479" y="354"/>
                </a:cubicBezTo>
                <a:cubicBezTo>
                  <a:pt x="1479" y="352"/>
                  <a:pt x="1479" y="352"/>
                  <a:pt x="1479" y="352"/>
                </a:cubicBezTo>
                <a:cubicBezTo>
                  <a:pt x="1477" y="353"/>
                  <a:pt x="1477" y="353"/>
                  <a:pt x="1477" y="353"/>
                </a:cubicBezTo>
                <a:cubicBezTo>
                  <a:pt x="1478" y="352"/>
                  <a:pt x="1478" y="352"/>
                  <a:pt x="1478" y="352"/>
                </a:cubicBezTo>
                <a:cubicBezTo>
                  <a:pt x="1476" y="351"/>
                  <a:pt x="1476" y="351"/>
                  <a:pt x="1476" y="351"/>
                </a:cubicBezTo>
                <a:cubicBezTo>
                  <a:pt x="1475" y="351"/>
                  <a:pt x="1475" y="351"/>
                  <a:pt x="1475" y="351"/>
                </a:cubicBezTo>
                <a:cubicBezTo>
                  <a:pt x="1475" y="353"/>
                  <a:pt x="1475" y="353"/>
                  <a:pt x="1475" y="353"/>
                </a:cubicBezTo>
                <a:cubicBezTo>
                  <a:pt x="1476" y="353"/>
                  <a:pt x="1476" y="353"/>
                  <a:pt x="1476" y="353"/>
                </a:cubicBezTo>
                <a:lnTo>
                  <a:pt x="1476" y="352"/>
                </a:lnTo>
                <a:close/>
                <a:moveTo>
                  <a:pt x="1456" y="373"/>
                </a:moveTo>
                <a:cubicBezTo>
                  <a:pt x="1456" y="375"/>
                  <a:pt x="1456" y="375"/>
                  <a:pt x="1456" y="375"/>
                </a:cubicBezTo>
                <a:cubicBezTo>
                  <a:pt x="1456" y="376"/>
                  <a:pt x="1456" y="376"/>
                  <a:pt x="1456" y="376"/>
                </a:cubicBezTo>
                <a:cubicBezTo>
                  <a:pt x="1458" y="375"/>
                  <a:pt x="1458" y="375"/>
                  <a:pt x="1458" y="375"/>
                </a:cubicBezTo>
                <a:cubicBezTo>
                  <a:pt x="1457" y="376"/>
                  <a:pt x="1457" y="376"/>
                  <a:pt x="1457" y="376"/>
                </a:cubicBezTo>
                <a:cubicBezTo>
                  <a:pt x="1457" y="377"/>
                  <a:pt x="1457" y="377"/>
                  <a:pt x="1457" y="377"/>
                </a:cubicBezTo>
                <a:cubicBezTo>
                  <a:pt x="1457" y="377"/>
                  <a:pt x="1457" y="377"/>
                  <a:pt x="1457" y="377"/>
                </a:cubicBezTo>
                <a:cubicBezTo>
                  <a:pt x="1459" y="376"/>
                  <a:pt x="1459" y="376"/>
                  <a:pt x="1459" y="376"/>
                </a:cubicBezTo>
                <a:cubicBezTo>
                  <a:pt x="1458" y="377"/>
                  <a:pt x="1458" y="377"/>
                  <a:pt x="1458" y="377"/>
                </a:cubicBezTo>
                <a:cubicBezTo>
                  <a:pt x="1459" y="378"/>
                  <a:pt x="1459" y="378"/>
                  <a:pt x="1459" y="378"/>
                </a:cubicBezTo>
                <a:cubicBezTo>
                  <a:pt x="1458" y="377"/>
                  <a:pt x="1458" y="377"/>
                  <a:pt x="1458" y="377"/>
                </a:cubicBezTo>
                <a:cubicBezTo>
                  <a:pt x="1457" y="377"/>
                  <a:pt x="1457" y="377"/>
                  <a:pt x="1457" y="377"/>
                </a:cubicBezTo>
                <a:cubicBezTo>
                  <a:pt x="1457" y="378"/>
                  <a:pt x="1457" y="378"/>
                  <a:pt x="1457" y="378"/>
                </a:cubicBezTo>
                <a:cubicBezTo>
                  <a:pt x="1458" y="379"/>
                  <a:pt x="1458" y="379"/>
                  <a:pt x="1458" y="379"/>
                </a:cubicBezTo>
                <a:cubicBezTo>
                  <a:pt x="1457" y="379"/>
                  <a:pt x="1457" y="379"/>
                  <a:pt x="1457" y="379"/>
                </a:cubicBezTo>
                <a:cubicBezTo>
                  <a:pt x="1456" y="380"/>
                  <a:pt x="1456" y="380"/>
                  <a:pt x="1456" y="380"/>
                </a:cubicBezTo>
                <a:cubicBezTo>
                  <a:pt x="1457" y="380"/>
                  <a:pt x="1457" y="380"/>
                  <a:pt x="1457" y="380"/>
                </a:cubicBezTo>
                <a:cubicBezTo>
                  <a:pt x="1457" y="381"/>
                  <a:pt x="1457" y="381"/>
                  <a:pt x="1457" y="381"/>
                </a:cubicBezTo>
                <a:cubicBezTo>
                  <a:pt x="1456" y="381"/>
                  <a:pt x="1456" y="381"/>
                  <a:pt x="1456" y="381"/>
                </a:cubicBezTo>
                <a:cubicBezTo>
                  <a:pt x="1455" y="382"/>
                  <a:pt x="1455" y="382"/>
                  <a:pt x="1455" y="382"/>
                </a:cubicBezTo>
                <a:cubicBezTo>
                  <a:pt x="1456" y="382"/>
                  <a:pt x="1456" y="382"/>
                  <a:pt x="1456" y="382"/>
                </a:cubicBezTo>
                <a:cubicBezTo>
                  <a:pt x="1456" y="383"/>
                  <a:pt x="1456" y="383"/>
                  <a:pt x="1456" y="383"/>
                </a:cubicBezTo>
                <a:cubicBezTo>
                  <a:pt x="1455" y="384"/>
                  <a:pt x="1455" y="384"/>
                  <a:pt x="1455" y="384"/>
                </a:cubicBezTo>
                <a:cubicBezTo>
                  <a:pt x="1453" y="384"/>
                  <a:pt x="1453" y="384"/>
                  <a:pt x="1453" y="384"/>
                </a:cubicBezTo>
                <a:cubicBezTo>
                  <a:pt x="1452" y="385"/>
                  <a:pt x="1452" y="385"/>
                  <a:pt x="1452" y="385"/>
                </a:cubicBezTo>
                <a:cubicBezTo>
                  <a:pt x="1453" y="385"/>
                  <a:pt x="1453" y="385"/>
                  <a:pt x="1453" y="385"/>
                </a:cubicBezTo>
                <a:cubicBezTo>
                  <a:pt x="1454" y="385"/>
                  <a:pt x="1454" y="385"/>
                  <a:pt x="1454" y="385"/>
                </a:cubicBezTo>
                <a:cubicBezTo>
                  <a:pt x="1455" y="385"/>
                  <a:pt x="1455" y="385"/>
                  <a:pt x="1455" y="385"/>
                </a:cubicBezTo>
                <a:cubicBezTo>
                  <a:pt x="1455" y="386"/>
                  <a:pt x="1455" y="386"/>
                  <a:pt x="1455" y="386"/>
                </a:cubicBezTo>
                <a:cubicBezTo>
                  <a:pt x="1454" y="386"/>
                  <a:pt x="1454" y="386"/>
                  <a:pt x="1454" y="386"/>
                </a:cubicBezTo>
                <a:cubicBezTo>
                  <a:pt x="1456" y="387"/>
                  <a:pt x="1456" y="387"/>
                  <a:pt x="1456" y="387"/>
                </a:cubicBezTo>
                <a:cubicBezTo>
                  <a:pt x="1456" y="387"/>
                  <a:pt x="1456" y="387"/>
                  <a:pt x="1456" y="387"/>
                </a:cubicBezTo>
                <a:cubicBezTo>
                  <a:pt x="1457" y="388"/>
                  <a:pt x="1457" y="388"/>
                  <a:pt x="1457" y="388"/>
                </a:cubicBezTo>
                <a:cubicBezTo>
                  <a:pt x="1461" y="384"/>
                  <a:pt x="1461" y="384"/>
                  <a:pt x="1461" y="384"/>
                </a:cubicBezTo>
                <a:cubicBezTo>
                  <a:pt x="1460" y="385"/>
                  <a:pt x="1460" y="385"/>
                  <a:pt x="1460" y="385"/>
                </a:cubicBezTo>
                <a:cubicBezTo>
                  <a:pt x="1461" y="385"/>
                  <a:pt x="1461" y="385"/>
                  <a:pt x="1461" y="385"/>
                </a:cubicBezTo>
                <a:cubicBezTo>
                  <a:pt x="1460" y="386"/>
                  <a:pt x="1460" y="386"/>
                  <a:pt x="1460" y="386"/>
                </a:cubicBezTo>
                <a:cubicBezTo>
                  <a:pt x="1459" y="388"/>
                  <a:pt x="1459" y="388"/>
                  <a:pt x="1459" y="388"/>
                </a:cubicBezTo>
                <a:cubicBezTo>
                  <a:pt x="1459" y="389"/>
                  <a:pt x="1459" y="389"/>
                  <a:pt x="1459" y="389"/>
                </a:cubicBezTo>
                <a:cubicBezTo>
                  <a:pt x="1457" y="391"/>
                  <a:pt x="1457" y="391"/>
                  <a:pt x="1457" y="391"/>
                </a:cubicBezTo>
                <a:cubicBezTo>
                  <a:pt x="1458" y="391"/>
                  <a:pt x="1458" y="391"/>
                  <a:pt x="1458" y="391"/>
                </a:cubicBezTo>
                <a:cubicBezTo>
                  <a:pt x="1457" y="394"/>
                  <a:pt x="1457" y="394"/>
                  <a:pt x="1457" y="394"/>
                </a:cubicBezTo>
                <a:cubicBezTo>
                  <a:pt x="1457" y="396"/>
                  <a:pt x="1457" y="396"/>
                  <a:pt x="1457" y="396"/>
                </a:cubicBezTo>
                <a:cubicBezTo>
                  <a:pt x="1456" y="397"/>
                  <a:pt x="1456" y="397"/>
                  <a:pt x="1456" y="397"/>
                </a:cubicBezTo>
                <a:cubicBezTo>
                  <a:pt x="1457" y="398"/>
                  <a:pt x="1457" y="398"/>
                  <a:pt x="1457" y="398"/>
                </a:cubicBezTo>
                <a:cubicBezTo>
                  <a:pt x="1458" y="398"/>
                  <a:pt x="1458" y="398"/>
                  <a:pt x="1458" y="398"/>
                </a:cubicBezTo>
                <a:cubicBezTo>
                  <a:pt x="1456" y="400"/>
                  <a:pt x="1456" y="400"/>
                  <a:pt x="1456" y="400"/>
                </a:cubicBezTo>
                <a:cubicBezTo>
                  <a:pt x="1456" y="403"/>
                  <a:pt x="1456" y="403"/>
                  <a:pt x="1456" y="403"/>
                </a:cubicBezTo>
                <a:cubicBezTo>
                  <a:pt x="1455" y="404"/>
                  <a:pt x="1455" y="404"/>
                  <a:pt x="1455" y="404"/>
                </a:cubicBezTo>
                <a:cubicBezTo>
                  <a:pt x="1455" y="404"/>
                  <a:pt x="1455" y="404"/>
                  <a:pt x="1455" y="404"/>
                </a:cubicBezTo>
                <a:cubicBezTo>
                  <a:pt x="1457" y="404"/>
                  <a:pt x="1457" y="404"/>
                  <a:pt x="1457" y="404"/>
                </a:cubicBezTo>
                <a:cubicBezTo>
                  <a:pt x="1457" y="403"/>
                  <a:pt x="1457" y="403"/>
                  <a:pt x="1457" y="403"/>
                </a:cubicBezTo>
                <a:cubicBezTo>
                  <a:pt x="1458" y="401"/>
                  <a:pt x="1458" y="401"/>
                  <a:pt x="1458" y="401"/>
                </a:cubicBezTo>
                <a:cubicBezTo>
                  <a:pt x="1458" y="399"/>
                  <a:pt x="1458" y="399"/>
                  <a:pt x="1458" y="399"/>
                </a:cubicBezTo>
                <a:cubicBezTo>
                  <a:pt x="1459" y="398"/>
                  <a:pt x="1459" y="398"/>
                  <a:pt x="1459" y="398"/>
                </a:cubicBezTo>
                <a:cubicBezTo>
                  <a:pt x="1458" y="394"/>
                  <a:pt x="1458" y="394"/>
                  <a:pt x="1458" y="394"/>
                </a:cubicBezTo>
                <a:cubicBezTo>
                  <a:pt x="1459" y="394"/>
                  <a:pt x="1459" y="394"/>
                  <a:pt x="1459" y="394"/>
                </a:cubicBezTo>
                <a:cubicBezTo>
                  <a:pt x="1462" y="391"/>
                  <a:pt x="1462" y="391"/>
                  <a:pt x="1462" y="391"/>
                </a:cubicBezTo>
                <a:cubicBezTo>
                  <a:pt x="1460" y="394"/>
                  <a:pt x="1460" y="394"/>
                  <a:pt x="1460" y="394"/>
                </a:cubicBezTo>
                <a:cubicBezTo>
                  <a:pt x="1459" y="396"/>
                  <a:pt x="1459" y="396"/>
                  <a:pt x="1459" y="396"/>
                </a:cubicBezTo>
                <a:cubicBezTo>
                  <a:pt x="1460" y="397"/>
                  <a:pt x="1460" y="397"/>
                  <a:pt x="1460" y="397"/>
                </a:cubicBezTo>
                <a:cubicBezTo>
                  <a:pt x="1460" y="396"/>
                  <a:pt x="1460" y="396"/>
                  <a:pt x="1460" y="396"/>
                </a:cubicBezTo>
                <a:cubicBezTo>
                  <a:pt x="1462" y="395"/>
                  <a:pt x="1462" y="395"/>
                  <a:pt x="1462" y="395"/>
                </a:cubicBezTo>
                <a:cubicBezTo>
                  <a:pt x="1462" y="397"/>
                  <a:pt x="1462" y="397"/>
                  <a:pt x="1462" y="397"/>
                </a:cubicBezTo>
                <a:cubicBezTo>
                  <a:pt x="1463" y="394"/>
                  <a:pt x="1463" y="394"/>
                  <a:pt x="1463" y="394"/>
                </a:cubicBezTo>
                <a:cubicBezTo>
                  <a:pt x="1463" y="393"/>
                  <a:pt x="1463" y="393"/>
                  <a:pt x="1463" y="393"/>
                </a:cubicBezTo>
                <a:cubicBezTo>
                  <a:pt x="1464" y="392"/>
                  <a:pt x="1464" y="392"/>
                  <a:pt x="1464" y="392"/>
                </a:cubicBezTo>
                <a:cubicBezTo>
                  <a:pt x="1464" y="394"/>
                  <a:pt x="1464" y="394"/>
                  <a:pt x="1464" y="394"/>
                </a:cubicBezTo>
                <a:cubicBezTo>
                  <a:pt x="1466" y="396"/>
                  <a:pt x="1466" y="396"/>
                  <a:pt x="1466" y="396"/>
                </a:cubicBezTo>
                <a:cubicBezTo>
                  <a:pt x="1464" y="395"/>
                  <a:pt x="1464" y="395"/>
                  <a:pt x="1464" y="395"/>
                </a:cubicBezTo>
                <a:cubicBezTo>
                  <a:pt x="1463" y="398"/>
                  <a:pt x="1463" y="398"/>
                  <a:pt x="1463" y="398"/>
                </a:cubicBezTo>
                <a:cubicBezTo>
                  <a:pt x="1464" y="400"/>
                  <a:pt x="1464" y="400"/>
                  <a:pt x="1464" y="400"/>
                </a:cubicBezTo>
                <a:cubicBezTo>
                  <a:pt x="1465" y="400"/>
                  <a:pt x="1465" y="400"/>
                  <a:pt x="1465" y="400"/>
                </a:cubicBezTo>
                <a:cubicBezTo>
                  <a:pt x="1465" y="402"/>
                  <a:pt x="1465" y="402"/>
                  <a:pt x="1465" y="402"/>
                </a:cubicBezTo>
                <a:cubicBezTo>
                  <a:pt x="1464" y="404"/>
                  <a:pt x="1464" y="404"/>
                  <a:pt x="1464" y="404"/>
                </a:cubicBezTo>
                <a:cubicBezTo>
                  <a:pt x="1462" y="408"/>
                  <a:pt x="1462" y="408"/>
                  <a:pt x="1462" y="408"/>
                </a:cubicBezTo>
                <a:cubicBezTo>
                  <a:pt x="1462" y="410"/>
                  <a:pt x="1462" y="410"/>
                  <a:pt x="1462" y="410"/>
                </a:cubicBezTo>
                <a:cubicBezTo>
                  <a:pt x="1461" y="409"/>
                  <a:pt x="1461" y="409"/>
                  <a:pt x="1461" y="409"/>
                </a:cubicBezTo>
                <a:cubicBezTo>
                  <a:pt x="1461" y="411"/>
                  <a:pt x="1461" y="411"/>
                  <a:pt x="1461" y="411"/>
                </a:cubicBezTo>
                <a:cubicBezTo>
                  <a:pt x="1463" y="414"/>
                  <a:pt x="1463" y="414"/>
                  <a:pt x="1463" y="414"/>
                </a:cubicBezTo>
                <a:cubicBezTo>
                  <a:pt x="1462" y="411"/>
                  <a:pt x="1462" y="411"/>
                  <a:pt x="1462" y="411"/>
                </a:cubicBezTo>
                <a:cubicBezTo>
                  <a:pt x="1464" y="411"/>
                  <a:pt x="1464" y="411"/>
                  <a:pt x="1464" y="411"/>
                </a:cubicBezTo>
                <a:cubicBezTo>
                  <a:pt x="1467" y="414"/>
                  <a:pt x="1467" y="414"/>
                  <a:pt x="1467" y="414"/>
                </a:cubicBezTo>
                <a:cubicBezTo>
                  <a:pt x="1467" y="412"/>
                  <a:pt x="1467" y="412"/>
                  <a:pt x="1467" y="412"/>
                </a:cubicBezTo>
                <a:cubicBezTo>
                  <a:pt x="1466" y="410"/>
                  <a:pt x="1466" y="410"/>
                  <a:pt x="1466" y="410"/>
                </a:cubicBezTo>
                <a:cubicBezTo>
                  <a:pt x="1467" y="410"/>
                  <a:pt x="1467" y="410"/>
                  <a:pt x="1467" y="410"/>
                </a:cubicBezTo>
                <a:cubicBezTo>
                  <a:pt x="1470" y="412"/>
                  <a:pt x="1470" y="412"/>
                  <a:pt x="1470" y="412"/>
                </a:cubicBezTo>
                <a:cubicBezTo>
                  <a:pt x="1472" y="412"/>
                  <a:pt x="1472" y="412"/>
                  <a:pt x="1472" y="412"/>
                </a:cubicBezTo>
                <a:cubicBezTo>
                  <a:pt x="1472" y="411"/>
                  <a:pt x="1472" y="411"/>
                  <a:pt x="1472" y="411"/>
                </a:cubicBezTo>
                <a:cubicBezTo>
                  <a:pt x="1474" y="411"/>
                  <a:pt x="1474" y="411"/>
                  <a:pt x="1474" y="411"/>
                </a:cubicBezTo>
                <a:cubicBezTo>
                  <a:pt x="1474" y="409"/>
                  <a:pt x="1474" y="409"/>
                  <a:pt x="1474" y="409"/>
                </a:cubicBezTo>
                <a:cubicBezTo>
                  <a:pt x="1479" y="409"/>
                  <a:pt x="1479" y="409"/>
                  <a:pt x="1479" y="409"/>
                </a:cubicBezTo>
                <a:cubicBezTo>
                  <a:pt x="1476" y="410"/>
                  <a:pt x="1476" y="410"/>
                  <a:pt x="1476" y="410"/>
                </a:cubicBezTo>
                <a:cubicBezTo>
                  <a:pt x="1474" y="416"/>
                  <a:pt x="1474" y="416"/>
                  <a:pt x="1474" y="416"/>
                </a:cubicBezTo>
                <a:cubicBezTo>
                  <a:pt x="1476" y="420"/>
                  <a:pt x="1476" y="420"/>
                  <a:pt x="1476" y="420"/>
                </a:cubicBezTo>
                <a:cubicBezTo>
                  <a:pt x="1477" y="420"/>
                  <a:pt x="1477" y="420"/>
                  <a:pt x="1477" y="420"/>
                </a:cubicBezTo>
                <a:cubicBezTo>
                  <a:pt x="1477" y="422"/>
                  <a:pt x="1477" y="422"/>
                  <a:pt x="1477" y="422"/>
                </a:cubicBezTo>
                <a:cubicBezTo>
                  <a:pt x="1479" y="420"/>
                  <a:pt x="1479" y="420"/>
                  <a:pt x="1479" y="420"/>
                </a:cubicBezTo>
                <a:cubicBezTo>
                  <a:pt x="1481" y="420"/>
                  <a:pt x="1481" y="420"/>
                  <a:pt x="1481" y="420"/>
                </a:cubicBezTo>
                <a:cubicBezTo>
                  <a:pt x="1480" y="423"/>
                  <a:pt x="1480" y="423"/>
                  <a:pt x="1480" y="423"/>
                </a:cubicBezTo>
                <a:cubicBezTo>
                  <a:pt x="1481" y="423"/>
                  <a:pt x="1481" y="423"/>
                  <a:pt x="1481" y="423"/>
                </a:cubicBezTo>
                <a:cubicBezTo>
                  <a:pt x="1479" y="425"/>
                  <a:pt x="1479" y="425"/>
                  <a:pt x="1479" y="425"/>
                </a:cubicBezTo>
                <a:cubicBezTo>
                  <a:pt x="1480" y="427"/>
                  <a:pt x="1480" y="427"/>
                  <a:pt x="1480" y="427"/>
                </a:cubicBezTo>
                <a:cubicBezTo>
                  <a:pt x="1479" y="430"/>
                  <a:pt x="1479" y="430"/>
                  <a:pt x="1479" y="430"/>
                </a:cubicBezTo>
                <a:cubicBezTo>
                  <a:pt x="1480" y="431"/>
                  <a:pt x="1480" y="431"/>
                  <a:pt x="1480" y="431"/>
                </a:cubicBezTo>
                <a:cubicBezTo>
                  <a:pt x="1481" y="432"/>
                  <a:pt x="1481" y="432"/>
                  <a:pt x="1481" y="432"/>
                </a:cubicBezTo>
                <a:cubicBezTo>
                  <a:pt x="1482" y="433"/>
                  <a:pt x="1482" y="433"/>
                  <a:pt x="1482" y="433"/>
                </a:cubicBezTo>
                <a:cubicBezTo>
                  <a:pt x="1482" y="433"/>
                  <a:pt x="1482" y="433"/>
                  <a:pt x="1482" y="433"/>
                </a:cubicBezTo>
                <a:cubicBezTo>
                  <a:pt x="1480" y="433"/>
                  <a:pt x="1480" y="433"/>
                  <a:pt x="1480" y="433"/>
                </a:cubicBezTo>
                <a:cubicBezTo>
                  <a:pt x="1479" y="432"/>
                  <a:pt x="1479" y="432"/>
                  <a:pt x="1479" y="432"/>
                </a:cubicBezTo>
                <a:cubicBezTo>
                  <a:pt x="1478" y="432"/>
                  <a:pt x="1478" y="432"/>
                  <a:pt x="1478" y="432"/>
                </a:cubicBezTo>
                <a:cubicBezTo>
                  <a:pt x="1479" y="434"/>
                  <a:pt x="1479" y="434"/>
                  <a:pt x="1479" y="434"/>
                </a:cubicBezTo>
                <a:cubicBezTo>
                  <a:pt x="1480" y="434"/>
                  <a:pt x="1480" y="434"/>
                  <a:pt x="1480" y="434"/>
                </a:cubicBezTo>
                <a:cubicBezTo>
                  <a:pt x="1478" y="434"/>
                  <a:pt x="1478" y="434"/>
                  <a:pt x="1478" y="434"/>
                </a:cubicBezTo>
                <a:cubicBezTo>
                  <a:pt x="1477" y="433"/>
                  <a:pt x="1477" y="433"/>
                  <a:pt x="1477" y="433"/>
                </a:cubicBezTo>
                <a:cubicBezTo>
                  <a:pt x="1474" y="434"/>
                  <a:pt x="1474" y="434"/>
                  <a:pt x="1474" y="434"/>
                </a:cubicBezTo>
                <a:cubicBezTo>
                  <a:pt x="1472" y="433"/>
                  <a:pt x="1472" y="433"/>
                  <a:pt x="1472" y="433"/>
                </a:cubicBezTo>
                <a:cubicBezTo>
                  <a:pt x="1469" y="435"/>
                  <a:pt x="1469" y="435"/>
                  <a:pt x="1469" y="435"/>
                </a:cubicBezTo>
                <a:cubicBezTo>
                  <a:pt x="1467" y="437"/>
                  <a:pt x="1467" y="437"/>
                  <a:pt x="1467" y="437"/>
                </a:cubicBezTo>
                <a:cubicBezTo>
                  <a:pt x="1465" y="439"/>
                  <a:pt x="1465" y="439"/>
                  <a:pt x="1465" y="439"/>
                </a:cubicBezTo>
                <a:cubicBezTo>
                  <a:pt x="1464" y="440"/>
                  <a:pt x="1464" y="440"/>
                  <a:pt x="1464" y="440"/>
                </a:cubicBezTo>
                <a:cubicBezTo>
                  <a:pt x="1465" y="440"/>
                  <a:pt x="1465" y="440"/>
                  <a:pt x="1465" y="440"/>
                </a:cubicBezTo>
                <a:cubicBezTo>
                  <a:pt x="1466" y="440"/>
                  <a:pt x="1466" y="440"/>
                  <a:pt x="1466" y="440"/>
                </a:cubicBezTo>
                <a:cubicBezTo>
                  <a:pt x="1466" y="440"/>
                  <a:pt x="1466" y="440"/>
                  <a:pt x="1466" y="440"/>
                </a:cubicBezTo>
                <a:cubicBezTo>
                  <a:pt x="1470" y="439"/>
                  <a:pt x="1470" y="439"/>
                  <a:pt x="1470" y="439"/>
                </a:cubicBezTo>
                <a:cubicBezTo>
                  <a:pt x="1470" y="440"/>
                  <a:pt x="1470" y="440"/>
                  <a:pt x="1470" y="440"/>
                </a:cubicBezTo>
                <a:cubicBezTo>
                  <a:pt x="1471" y="442"/>
                  <a:pt x="1471" y="442"/>
                  <a:pt x="1471" y="442"/>
                </a:cubicBezTo>
                <a:cubicBezTo>
                  <a:pt x="1469" y="443"/>
                  <a:pt x="1469" y="443"/>
                  <a:pt x="1469" y="443"/>
                </a:cubicBezTo>
                <a:cubicBezTo>
                  <a:pt x="1470" y="444"/>
                  <a:pt x="1470" y="444"/>
                  <a:pt x="1470" y="444"/>
                </a:cubicBezTo>
                <a:cubicBezTo>
                  <a:pt x="1471" y="444"/>
                  <a:pt x="1471" y="444"/>
                  <a:pt x="1471" y="444"/>
                </a:cubicBezTo>
                <a:cubicBezTo>
                  <a:pt x="1469" y="448"/>
                  <a:pt x="1469" y="448"/>
                  <a:pt x="1469" y="448"/>
                </a:cubicBezTo>
                <a:cubicBezTo>
                  <a:pt x="1467" y="449"/>
                  <a:pt x="1467" y="449"/>
                  <a:pt x="1467" y="449"/>
                </a:cubicBezTo>
                <a:cubicBezTo>
                  <a:pt x="1466" y="450"/>
                  <a:pt x="1466" y="450"/>
                  <a:pt x="1466" y="450"/>
                </a:cubicBezTo>
                <a:cubicBezTo>
                  <a:pt x="1465" y="450"/>
                  <a:pt x="1465" y="450"/>
                  <a:pt x="1465" y="450"/>
                </a:cubicBezTo>
                <a:cubicBezTo>
                  <a:pt x="1463" y="451"/>
                  <a:pt x="1463" y="451"/>
                  <a:pt x="1463" y="451"/>
                </a:cubicBezTo>
                <a:cubicBezTo>
                  <a:pt x="1461" y="451"/>
                  <a:pt x="1461" y="451"/>
                  <a:pt x="1461" y="451"/>
                </a:cubicBezTo>
                <a:cubicBezTo>
                  <a:pt x="1459" y="453"/>
                  <a:pt x="1459" y="453"/>
                  <a:pt x="1459" y="453"/>
                </a:cubicBezTo>
                <a:cubicBezTo>
                  <a:pt x="1461" y="453"/>
                  <a:pt x="1461" y="453"/>
                  <a:pt x="1461" y="453"/>
                </a:cubicBezTo>
                <a:cubicBezTo>
                  <a:pt x="1461" y="455"/>
                  <a:pt x="1461" y="455"/>
                  <a:pt x="1461" y="455"/>
                </a:cubicBezTo>
                <a:cubicBezTo>
                  <a:pt x="1459" y="455"/>
                  <a:pt x="1459" y="455"/>
                  <a:pt x="1459" y="455"/>
                </a:cubicBezTo>
                <a:cubicBezTo>
                  <a:pt x="1462" y="456"/>
                  <a:pt x="1462" y="456"/>
                  <a:pt x="1462" y="456"/>
                </a:cubicBezTo>
                <a:cubicBezTo>
                  <a:pt x="1461" y="456"/>
                  <a:pt x="1461" y="456"/>
                  <a:pt x="1461" y="456"/>
                </a:cubicBezTo>
                <a:cubicBezTo>
                  <a:pt x="1462" y="457"/>
                  <a:pt x="1462" y="457"/>
                  <a:pt x="1462" y="457"/>
                </a:cubicBezTo>
                <a:cubicBezTo>
                  <a:pt x="1464" y="457"/>
                  <a:pt x="1464" y="457"/>
                  <a:pt x="1464" y="457"/>
                </a:cubicBezTo>
                <a:cubicBezTo>
                  <a:pt x="1465" y="456"/>
                  <a:pt x="1465" y="456"/>
                  <a:pt x="1465" y="456"/>
                </a:cubicBezTo>
                <a:cubicBezTo>
                  <a:pt x="1468" y="455"/>
                  <a:pt x="1468" y="455"/>
                  <a:pt x="1468" y="455"/>
                </a:cubicBezTo>
                <a:cubicBezTo>
                  <a:pt x="1468" y="456"/>
                  <a:pt x="1468" y="456"/>
                  <a:pt x="1468" y="456"/>
                </a:cubicBezTo>
                <a:cubicBezTo>
                  <a:pt x="1470" y="456"/>
                  <a:pt x="1470" y="456"/>
                  <a:pt x="1470" y="456"/>
                </a:cubicBezTo>
                <a:cubicBezTo>
                  <a:pt x="1468" y="457"/>
                  <a:pt x="1468" y="457"/>
                  <a:pt x="1468" y="457"/>
                </a:cubicBezTo>
                <a:cubicBezTo>
                  <a:pt x="1468" y="458"/>
                  <a:pt x="1468" y="458"/>
                  <a:pt x="1468" y="458"/>
                </a:cubicBezTo>
                <a:cubicBezTo>
                  <a:pt x="1471" y="458"/>
                  <a:pt x="1471" y="458"/>
                  <a:pt x="1471" y="458"/>
                </a:cubicBezTo>
                <a:cubicBezTo>
                  <a:pt x="1471" y="457"/>
                  <a:pt x="1471" y="457"/>
                  <a:pt x="1471" y="457"/>
                </a:cubicBezTo>
                <a:cubicBezTo>
                  <a:pt x="1473" y="457"/>
                  <a:pt x="1473" y="457"/>
                  <a:pt x="1473" y="457"/>
                </a:cubicBezTo>
                <a:cubicBezTo>
                  <a:pt x="1474" y="459"/>
                  <a:pt x="1474" y="459"/>
                  <a:pt x="1474" y="459"/>
                </a:cubicBezTo>
                <a:cubicBezTo>
                  <a:pt x="1475" y="460"/>
                  <a:pt x="1475" y="460"/>
                  <a:pt x="1475" y="460"/>
                </a:cubicBezTo>
                <a:cubicBezTo>
                  <a:pt x="1479" y="460"/>
                  <a:pt x="1479" y="460"/>
                  <a:pt x="1479" y="460"/>
                </a:cubicBezTo>
                <a:cubicBezTo>
                  <a:pt x="1479" y="459"/>
                  <a:pt x="1479" y="459"/>
                  <a:pt x="1479" y="459"/>
                </a:cubicBezTo>
                <a:cubicBezTo>
                  <a:pt x="1481" y="458"/>
                  <a:pt x="1481" y="458"/>
                  <a:pt x="1481" y="458"/>
                </a:cubicBezTo>
                <a:cubicBezTo>
                  <a:pt x="1483" y="457"/>
                  <a:pt x="1483" y="457"/>
                  <a:pt x="1483" y="457"/>
                </a:cubicBezTo>
                <a:cubicBezTo>
                  <a:pt x="1484" y="456"/>
                  <a:pt x="1484" y="456"/>
                  <a:pt x="1484" y="456"/>
                </a:cubicBezTo>
                <a:cubicBezTo>
                  <a:pt x="1485" y="455"/>
                  <a:pt x="1485" y="455"/>
                  <a:pt x="1485" y="455"/>
                </a:cubicBezTo>
                <a:cubicBezTo>
                  <a:pt x="1483" y="458"/>
                  <a:pt x="1483" y="458"/>
                  <a:pt x="1483" y="458"/>
                </a:cubicBezTo>
                <a:cubicBezTo>
                  <a:pt x="1481" y="461"/>
                  <a:pt x="1481" y="461"/>
                  <a:pt x="1481" y="461"/>
                </a:cubicBezTo>
                <a:cubicBezTo>
                  <a:pt x="1481" y="463"/>
                  <a:pt x="1481" y="463"/>
                  <a:pt x="1481" y="463"/>
                </a:cubicBezTo>
                <a:cubicBezTo>
                  <a:pt x="1479" y="463"/>
                  <a:pt x="1479" y="463"/>
                  <a:pt x="1479" y="463"/>
                </a:cubicBezTo>
                <a:cubicBezTo>
                  <a:pt x="1478" y="464"/>
                  <a:pt x="1478" y="464"/>
                  <a:pt x="1478" y="464"/>
                </a:cubicBezTo>
                <a:cubicBezTo>
                  <a:pt x="1476" y="463"/>
                  <a:pt x="1476" y="463"/>
                  <a:pt x="1476" y="463"/>
                </a:cubicBezTo>
                <a:cubicBezTo>
                  <a:pt x="1472" y="462"/>
                  <a:pt x="1472" y="462"/>
                  <a:pt x="1472" y="462"/>
                </a:cubicBezTo>
                <a:cubicBezTo>
                  <a:pt x="1469" y="463"/>
                  <a:pt x="1469" y="463"/>
                  <a:pt x="1469" y="463"/>
                </a:cubicBezTo>
                <a:cubicBezTo>
                  <a:pt x="1469" y="465"/>
                  <a:pt x="1469" y="465"/>
                  <a:pt x="1469" y="465"/>
                </a:cubicBezTo>
                <a:cubicBezTo>
                  <a:pt x="1468" y="466"/>
                  <a:pt x="1468" y="466"/>
                  <a:pt x="1468" y="466"/>
                </a:cubicBezTo>
                <a:cubicBezTo>
                  <a:pt x="1466" y="466"/>
                  <a:pt x="1466" y="466"/>
                  <a:pt x="1466" y="466"/>
                </a:cubicBezTo>
                <a:cubicBezTo>
                  <a:pt x="1466" y="469"/>
                  <a:pt x="1466" y="469"/>
                  <a:pt x="1466" y="469"/>
                </a:cubicBezTo>
                <a:cubicBezTo>
                  <a:pt x="1464" y="471"/>
                  <a:pt x="1464" y="471"/>
                  <a:pt x="1464" y="471"/>
                </a:cubicBezTo>
                <a:cubicBezTo>
                  <a:pt x="1464" y="472"/>
                  <a:pt x="1464" y="472"/>
                  <a:pt x="1464" y="472"/>
                </a:cubicBezTo>
                <a:cubicBezTo>
                  <a:pt x="1462" y="472"/>
                  <a:pt x="1462" y="472"/>
                  <a:pt x="1462" y="472"/>
                </a:cubicBezTo>
                <a:cubicBezTo>
                  <a:pt x="1461" y="474"/>
                  <a:pt x="1461" y="474"/>
                  <a:pt x="1461" y="474"/>
                </a:cubicBezTo>
                <a:cubicBezTo>
                  <a:pt x="1460" y="474"/>
                  <a:pt x="1460" y="474"/>
                  <a:pt x="1460" y="474"/>
                </a:cubicBezTo>
                <a:cubicBezTo>
                  <a:pt x="1460" y="475"/>
                  <a:pt x="1460" y="475"/>
                  <a:pt x="1460" y="475"/>
                </a:cubicBezTo>
                <a:cubicBezTo>
                  <a:pt x="1457" y="477"/>
                  <a:pt x="1457" y="477"/>
                  <a:pt x="1457" y="477"/>
                </a:cubicBezTo>
                <a:cubicBezTo>
                  <a:pt x="1456" y="477"/>
                  <a:pt x="1456" y="477"/>
                  <a:pt x="1456" y="477"/>
                </a:cubicBezTo>
                <a:cubicBezTo>
                  <a:pt x="1455" y="478"/>
                  <a:pt x="1455" y="478"/>
                  <a:pt x="1455" y="478"/>
                </a:cubicBezTo>
                <a:cubicBezTo>
                  <a:pt x="1455" y="479"/>
                  <a:pt x="1455" y="479"/>
                  <a:pt x="1455" y="479"/>
                </a:cubicBezTo>
                <a:cubicBezTo>
                  <a:pt x="1457" y="479"/>
                  <a:pt x="1457" y="479"/>
                  <a:pt x="1457" y="479"/>
                </a:cubicBezTo>
                <a:cubicBezTo>
                  <a:pt x="1457" y="478"/>
                  <a:pt x="1457" y="478"/>
                  <a:pt x="1457" y="478"/>
                </a:cubicBezTo>
                <a:cubicBezTo>
                  <a:pt x="1459" y="479"/>
                  <a:pt x="1459" y="479"/>
                  <a:pt x="1459" y="479"/>
                </a:cubicBezTo>
                <a:cubicBezTo>
                  <a:pt x="1460" y="480"/>
                  <a:pt x="1460" y="480"/>
                  <a:pt x="1460" y="480"/>
                </a:cubicBezTo>
                <a:cubicBezTo>
                  <a:pt x="1461" y="479"/>
                  <a:pt x="1461" y="479"/>
                  <a:pt x="1461" y="479"/>
                </a:cubicBezTo>
                <a:cubicBezTo>
                  <a:pt x="1460" y="478"/>
                  <a:pt x="1460" y="478"/>
                  <a:pt x="1460" y="478"/>
                </a:cubicBezTo>
                <a:cubicBezTo>
                  <a:pt x="1461" y="477"/>
                  <a:pt x="1461" y="477"/>
                  <a:pt x="1461" y="477"/>
                </a:cubicBezTo>
                <a:cubicBezTo>
                  <a:pt x="1462" y="478"/>
                  <a:pt x="1462" y="478"/>
                  <a:pt x="1462" y="478"/>
                </a:cubicBezTo>
                <a:cubicBezTo>
                  <a:pt x="1463" y="477"/>
                  <a:pt x="1463" y="477"/>
                  <a:pt x="1463" y="477"/>
                </a:cubicBezTo>
                <a:cubicBezTo>
                  <a:pt x="1464" y="477"/>
                  <a:pt x="1464" y="477"/>
                  <a:pt x="1464" y="477"/>
                </a:cubicBezTo>
                <a:cubicBezTo>
                  <a:pt x="1464" y="475"/>
                  <a:pt x="1464" y="475"/>
                  <a:pt x="1464" y="475"/>
                </a:cubicBezTo>
                <a:cubicBezTo>
                  <a:pt x="1466" y="476"/>
                  <a:pt x="1466" y="476"/>
                  <a:pt x="1466" y="476"/>
                </a:cubicBezTo>
                <a:cubicBezTo>
                  <a:pt x="1468" y="475"/>
                  <a:pt x="1468" y="475"/>
                  <a:pt x="1468" y="475"/>
                </a:cubicBezTo>
                <a:cubicBezTo>
                  <a:pt x="1469" y="475"/>
                  <a:pt x="1469" y="475"/>
                  <a:pt x="1469" y="475"/>
                </a:cubicBezTo>
                <a:cubicBezTo>
                  <a:pt x="1470" y="475"/>
                  <a:pt x="1470" y="475"/>
                  <a:pt x="1470" y="475"/>
                </a:cubicBezTo>
                <a:cubicBezTo>
                  <a:pt x="1471" y="476"/>
                  <a:pt x="1471" y="476"/>
                  <a:pt x="1471" y="476"/>
                </a:cubicBezTo>
                <a:cubicBezTo>
                  <a:pt x="1472" y="476"/>
                  <a:pt x="1472" y="476"/>
                  <a:pt x="1472" y="476"/>
                </a:cubicBezTo>
                <a:cubicBezTo>
                  <a:pt x="1473" y="477"/>
                  <a:pt x="1473" y="477"/>
                  <a:pt x="1473" y="477"/>
                </a:cubicBezTo>
                <a:cubicBezTo>
                  <a:pt x="1475" y="477"/>
                  <a:pt x="1475" y="477"/>
                  <a:pt x="1475" y="477"/>
                </a:cubicBezTo>
                <a:cubicBezTo>
                  <a:pt x="1474" y="476"/>
                  <a:pt x="1474" y="476"/>
                  <a:pt x="1474" y="476"/>
                </a:cubicBezTo>
                <a:cubicBezTo>
                  <a:pt x="1476" y="475"/>
                  <a:pt x="1476" y="475"/>
                  <a:pt x="1476" y="475"/>
                </a:cubicBezTo>
                <a:cubicBezTo>
                  <a:pt x="1476" y="474"/>
                  <a:pt x="1476" y="474"/>
                  <a:pt x="1476" y="474"/>
                </a:cubicBezTo>
                <a:cubicBezTo>
                  <a:pt x="1476" y="472"/>
                  <a:pt x="1476" y="472"/>
                  <a:pt x="1476" y="472"/>
                </a:cubicBezTo>
                <a:cubicBezTo>
                  <a:pt x="1477" y="471"/>
                  <a:pt x="1477" y="471"/>
                  <a:pt x="1477" y="471"/>
                </a:cubicBezTo>
                <a:cubicBezTo>
                  <a:pt x="1478" y="471"/>
                  <a:pt x="1478" y="471"/>
                  <a:pt x="1478" y="471"/>
                </a:cubicBezTo>
                <a:cubicBezTo>
                  <a:pt x="1478" y="470"/>
                  <a:pt x="1478" y="470"/>
                  <a:pt x="1478" y="470"/>
                </a:cubicBezTo>
                <a:cubicBezTo>
                  <a:pt x="1482" y="470"/>
                  <a:pt x="1482" y="470"/>
                  <a:pt x="1482" y="470"/>
                </a:cubicBezTo>
                <a:cubicBezTo>
                  <a:pt x="1483" y="470"/>
                  <a:pt x="1483" y="470"/>
                  <a:pt x="1483" y="470"/>
                </a:cubicBezTo>
                <a:cubicBezTo>
                  <a:pt x="1486" y="471"/>
                  <a:pt x="1486" y="471"/>
                  <a:pt x="1486" y="471"/>
                </a:cubicBezTo>
                <a:cubicBezTo>
                  <a:pt x="1486" y="471"/>
                  <a:pt x="1486" y="471"/>
                  <a:pt x="1486" y="471"/>
                </a:cubicBezTo>
                <a:cubicBezTo>
                  <a:pt x="1489" y="471"/>
                  <a:pt x="1489" y="471"/>
                  <a:pt x="1489" y="471"/>
                </a:cubicBezTo>
                <a:cubicBezTo>
                  <a:pt x="1490" y="472"/>
                  <a:pt x="1490" y="472"/>
                  <a:pt x="1490" y="472"/>
                </a:cubicBezTo>
                <a:cubicBezTo>
                  <a:pt x="1491" y="470"/>
                  <a:pt x="1491" y="470"/>
                  <a:pt x="1491" y="470"/>
                </a:cubicBezTo>
                <a:cubicBezTo>
                  <a:pt x="1493" y="469"/>
                  <a:pt x="1493" y="469"/>
                  <a:pt x="1493" y="469"/>
                </a:cubicBezTo>
                <a:cubicBezTo>
                  <a:pt x="1494" y="469"/>
                  <a:pt x="1494" y="469"/>
                  <a:pt x="1494" y="469"/>
                </a:cubicBezTo>
                <a:cubicBezTo>
                  <a:pt x="1496" y="468"/>
                  <a:pt x="1496" y="468"/>
                  <a:pt x="1496" y="468"/>
                </a:cubicBezTo>
                <a:cubicBezTo>
                  <a:pt x="1498" y="468"/>
                  <a:pt x="1498" y="468"/>
                  <a:pt x="1498" y="468"/>
                </a:cubicBezTo>
                <a:cubicBezTo>
                  <a:pt x="1499" y="468"/>
                  <a:pt x="1499" y="468"/>
                  <a:pt x="1499" y="468"/>
                </a:cubicBezTo>
                <a:cubicBezTo>
                  <a:pt x="1500" y="467"/>
                  <a:pt x="1500" y="467"/>
                  <a:pt x="1500" y="467"/>
                </a:cubicBezTo>
                <a:cubicBezTo>
                  <a:pt x="1500" y="468"/>
                  <a:pt x="1500" y="468"/>
                  <a:pt x="1500" y="468"/>
                </a:cubicBezTo>
                <a:cubicBezTo>
                  <a:pt x="1501" y="469"/>
                  <a:pt x="1501" y="469"/>
                  <a:pt x="1501" y="469"/>
                </a:cubicBezTo>
                <a:cubicBezTo>
                  <a:pt x="1503" y="468"/>
                  <a:pt x="1503" y="468"/>
                  <a:pt x="1503" y="468"/>
                </a:cubicBezTo>
                <a:cubicBezTo>
                  <a:pt x="1506" y="468"/>
                  <a:pt x="1506" y="468"/>
                  <a:pt x="1506" y="468"/>
                </a:cubicBezTo>
                <a:cubicBezTo>
                  <a:pt x="1508" y="467"/>
                  <a:pt x="1508" y="467"/>
                  <a:pt x="1508" y="467"/>
                </a:cubicBezTo>
                <a:cubicBezTo>
                  <a:pt x="1510" y="468"/>
                  <a:pt x="1510" y="468"/>
                  <a:pt x="1510" y="468"/>
                </a:cubicBezTo>
                <a:cubicBezTo>
                  <a:pt x="1511" y="468"/>
                  <a:pt x="1511" y="468"/>
                  <a:pt x="1511" y="468"/>
                </a:cubicBezTo>
                <a:cubicBezTo>
                  <a:pt x="1513" y="467"/>
                  <a:pt x="1513" y="467"/>
                  <a:pt x="1513" y="467"/>
                </a:cubicBezTo>
                <a:cubicBezTo>
                  <a:pt x="1514" y="467"/>
                  <a:pt x="1514" y="467"/>
                  <a:pt x="1514" y="467"/>
                </a:cubicBezTo>
                <a:cubicBezTo>
                  <a:pt x="1516" y="465"/>
                  <a:pt x="1516" y="465"/>
                  <a:pt x="1516" y="465"/>
                </a:cubicBezTo>
                <a:cubicBezTo>
                  <a:pt x="1517" y="465"/>
                  <a:pt x="1517" y="465"/>
                  <a:pt x="1517" y="465"/>
                </a:cubicBezTo>
                <a:cubicBezTo>
                  <a:pt x="1518" y="465"/>
                  <a:pt x="1518" y="465"/>
                  <a:pt x="1518" y="465"/>
                </a:cubicBezTo>
                <a:cubicBezTo>
                  <a:pt x="1517" y="464"/>
                  <a:pt x="1517" y="464"/>
                  <a:pt x="1517" y="464"/>
                </a:cubicBezTo>
                <a:cubicBezTo>
                  <a:pt x="1520" y="463"/>
                  <a:pt x="1520" y="463"/>
                  <a:pt x="1520" y="463"/>
                </a:cubicBezTo>
                <a:cubicBezTo>
                  <a:pt x="1521" y="462"/>
                  <a:pt x="1521" y="462"/>
                  <a:pt x="1521" y="462"/>
                </a:cubicBezTo>
                <a:cubicBezTo>
                  <a:pt x="1521" y="461"/>
                  <a:pt x="1521" y="461"/>
                  <a:pt x="1521" y="461"/>
                </a:cubicBezTo>
                <a:cubicBezTo>
                  <a:pt x="1521" y="460"/>
                  <a:pt x="1521" y="460"/>
                  <a:pt x="1521" y="460"/>
                </a:cubicBezTo>
                <a:cubicBezTo>
                  <a:pt x="1521" y="459"/>
                  <a:pt x="1521" y="459"/>
                  <a:pt x="1521" y="459"/>
                </a:cubicBezTo>
                <a:cubicBezTo>
                  <a:pt x="1519" y="459"/>
                  <a:pt x="1519" y="459"/>
                  <a:pt x="1519" y="459"/>
                </a:cubicBezTo>
                <a:cubicBezTo>
                  <a:pt x="1517" y="459"/>
                  <a:pt x="1517" y="459"/>
                  <a:pt x="1517" y="459"/>
                </a:cubicBezTo>
                <a:cubicBezTo>
                  <a:pt x="1516" y="460"/>
                  <a:pt x="1516" y="460"/>
                  <a:pt x="1516" y="460"/>
                </a:cubicBezTo>
                <a:cubicBezTo>
                  <a:pt x="1514" y="459"/>
                  <a:pt x="1514" y="459"/>
                  <a:pt x="1514" y="459"/>
                </a:cubicBezTo>
                <a:cubicBezTo>
                  <a:pt x="1513" y="459"/>
                  <a:pt x="1513" y="459"/>
                  <a:pt x="1513" y="459"/>
                </a:cubicBezTo>
                <a:cubicBezTo>
                  <a:pt x="1514" y="458"/>
                  <a:pt x="1514" y="458"/>
                  <a:pt x="1514" y="458"/>
                </a:cubicBezTo>
                <a:cubicBezTo>
                  <a:pt x="1515" y="458"/>
                  <a:pt x="1515" y="458"/>
                  <a:pt x="1515" y="458"/>
                </a:cubicBezTo>
                <a:cubicBezTo>
                  <a:pt x="1515" y="458"/>
                  <a:pt x="1515" y="458"/>
                  <a:pt x="1515" y="458"/>
                </a:cubicBezTo>
                <a:cubicBezTo>
                  <a:pt x="1513" y="457"/>
                  <a:pt x="1513" y="457"/>
                  <a:pt x="1513" y="457"/>
                </a:cubicBezTo>
                <a:cubicBezTo>
                  <a:pt x="1512" y="458"/>
                  <a:pt x="1512" y="458"/>
                  <a:pt x="1512" y="458"/>
                </a:cubicBezTo>
                <a:cubicBezTo>
                  <a:pt x="1514" y="457"/>
                  <a:pt x="1514" y="457"/>
                  <a:pt x="1514" y="457"/>
                </a:cubicBezTo>
                <a:cubicBezTo>
                  <a:pt x="1515" y="457"/>
                  <a:pt x="1515" y="457"/>
                  <a:pt x="1515" y="457"/>
                </a:cubicBezTo>
                <a:cubicBezTo>
                  <a:pt x="1517" y="456"/>
                  <a:pt x="1517" y="456"/>
                  <a:pt x="1517" y="456"/>
                </a:cubicBezTo>
                <a:cubicBezTo>
                  <a:pt x="1516" y="455"/>
                  <a:pt x="1516" y="455"/>
                  <a:pt x="1516" y="455"/>
                </a:cubicBezTo>
                <a:cubicBezTo>
                  <a:pt x="1515" y="455"/>
                  <a:pt x="1515" y="455"/>
                  <a:pt x="1515" y="455"/>
                </a:cubicBezTo>
                <a:cubicBezTo>
                  <a:pt x="1516" y="454"/>
                  <a:pt x="1516" y="454"/>
                  <a:pt x="1516" y="454"/>
                </a:cubicBezTo>
                <a:cubicBezTo>
                  <a:pt x="1517" y="453"/>
                  <a:pt x="1517" y="453"/>
                  <a:pt x="1517" y="453"/>
                </a:cubicBezTo>
                <a:cubicBezTo>
                  <a:pt x="1517" y="454"/>
                  <a:pt x="1517" y="454"/>
                  <a:pt x="1517" y="454"/>
                </a:cubicBezTo>
                <a:cubicBezTo>
                  <a:pt x="1519" y="453"/>
                  <a:pt x="1519" y="453"/>
                  <a:pt x="1519" y="453"/>
                </a:cubicBezTo>
                <a:cubicBezTo>
                  <a:pt x="1519" y="452"/>
                  <a:pt x="1519" y="452"/>
                  <a:pt x="1519" y="452"/>
                </a:cubicBezTo>
                <a:cubicBezTo>
                  <a:pt x="1519" y="452"/>
                  <a:pt x="1519" y="452"/>
                  <a:pt x="1519" y="452"/>
                </a:cubicBezTo>
                <a:cubicBezTo>
                  <a:pt x="1519" y="451"/>
                  <a:pt x="1519" y="451"/>
                  <a:pt x="1519" y="451"/>
                </a:cubicBezTo>
                <a:cubicBezTo>
                  <a:pt x="1518" y="451"/>
                  <a:pt x="1518" y="451"/>
                  <a:pt x="1518" y="451"/>
                </a:cubicBezTo>
                <a:cubicBezTo>
                  <a:pt x="1518" y="450"/>
                  <a:pt x="1518" y="450"/>
                  <a:pt x="1518" y="450"/>
                </a:cubicBezTo>
                <a:cubicBezTo>
                  <a:pt x="1519" y="450"/>
                  <a:pt x="1519" y="450"/>
                  <a:pt x="1519" y="450"/>
                </a:cubicBezTo>
                <a:cubicBezTo>
                  <a:pt x="1520" y="451"/>
                  <a:pt x="1520" y="451"/>
                  <a:pt x="1520" y="451"/>
                </a:cubicBezTo>
                <a:cubicBezTo>
                  <a:pt x="1521" y="449"/>
                  <a:pt x="1521" y="449"/>
                  <a:pt x="1521" y="449"/>
                </a:cubicBezTo>
                <a:cubicBezTo>
                  <a:pt x="1522" y="449"/>
                  <a:pt x="1522" y="449"/>
                  <a:pt x="1522" y="449"/>
                </a:cubicBezTo>
                <a:cubicBezTo>
                  <a:pt x="1522" y="446"/>
                  <a:pt x="1522" y="446"/>
                  <a:pt x="1522" y="446"/>
                </a:cubicBezTo>
                <a:cubicBezTo>
                  <a:pt x="1523" y="443"/>
                  <a:pt x="1523" y="443"/>
                  <a:pt x="1523" y="443"/>
                </a:cubicBezTo>
                <a:cubicBezTo>
                  <a:pt x="1522" y="442"/>
                  <a:pt x="1522" y="442"/>
                  <a:pt x="1522" y="442"/>
                </a:cubicBezTo>
                <a:cubicBezTo>
                  <a:pt x="1522" y="439"/>
                  <a:pt x="1522" y="439"/>
                  <a:pt x="1522" y="439"/>
                </a:cubicBezTo>
                <a:cubicBezTo>
                  <a:pt x="1518" y="437"/>
                  <a:pt x="1518" y="437"/>
                  <a:pt x="1518" y="437"/>
                </a:cubicBezTo>
                <a:cubicBezTo>
                  <a:pt x="1514" y="437"/>
                  <a:pt x="1514" y="437"/>
                  <a:pt x="1514" y="437"/>
                </a:cubicBezTo>
                <a:cubicBezTo>
                  <a:pt x="1511" y="437"/>
                  <a:pt x="1511" y="437"/>
                  <a:pt x="1511" y="437"/>
                </a:cubicBezTo>
                <a:cubicBezTo>
                  <a:pt x="1511" y="439"/>
                  <a:pt x="1511" y="439"/>
                  <a:pt x="1511" y="439"/>
                </a:cubicBezTo>
                <a:cubicBezTo>
                  <a:pt x="1510" y="440"/>
                  <a:pt x="1510" y="440"/>
                  <a:pt x="1510" y="440"/>
                </a:cubicBezTo>
                <a:cubicBezTo>
                  <a:pt x="1508" y="438"/>
                  <a:pt x="1508" y="438"/>
                  <a:pt x="1508" y="438"/>
                </a:cubicBezTo>
                <a:cubicBezTo>
                  <a:pt x="1506" y="438"/>
                  <a:pt x="1506" y="438"/>
                  <a:pt x="1506" y="438"/>
                </a:cubicBezTo>
                <a:cubicBezTo>
                  <a:pt x="1509" y="435"/>
                  <a:pt x="1509" y="435"/>
                  <a:pt x="1509" y="435"/>
                </a:cubicBezTo>
                <a:cubicBezTo>
                  <a:pt x="1509" y="433"/>
                  <a:pt x="1509" y="433"/>
                  <a:pt x="1509" y="433"/>
                </a:cubicBezTo>
                <a:cubicBezTo>
                  <a:pt x="1507" y="429"/>
                  <a:pt x="1507" y="429"/>
                  <a:pt x="1507" y="429"/>
                </a:cubicBezTo>
                <a:cubicBezTo>
                  <a:pt x="1506" y="429"/>
                  <a:pt x="1506" y="429"/>
                  <a:pt x="1506" y="429"/>
                </a:cubicBezTo>
                <a:cubicBezTo>
                  <a:pt x="1504" y="428"/>
                  <a:pt x="1504" y="428"/>
                  <a:pt x="1504" y="428"/>
                </a:cubicBezTo>
                <a:cubicBezTo>
                  <a:pt x="1503" y="427"/>
                  <a:pt x="1503" y="427"/>
                  <a:pt x="1503" y="427"/>
                </a:cubicBezTo>
                <a:cubicBezTo>
                  <a:pt x="1502" y="427"/>
                  <a:pt x="1502" y="427"/>
                  <a:pt x="1502" y="427"/>
                </a:cubicBezTo>
                <a:cubicBezTo>
                  <a:pt x="1502" y="427"/>
                  <a:pt x="1502" y="427"/>
                  <a:pt x="1502" y="427"/>
                </a:cubicBezTo>
                <a:cubicBezTo>
                  <a:pt x="1500" y="427"/>
                  <a:pt x="1500" y="427"/>
                  <a:pt x="1500" y="427"/>
                </a:cubicBezTo>
                <a:cubicBezTo>
                  <a:pt x="1500" y="427"/>
                  <a:pt x="1500" y="427"/>
                  <a:pt x="1500" y="427"/>
                </a:cubicBezTo>
                <a:cubicBezTo>
                  <a:pt x="1501" y="426"/>
                  <a:pt x="1501" y="426"/>
                  <a:pt x="1501" y="426"/>
                </a:cubicBezTo>
                <a:cubicBezTo>
                  <a:pt x="1502" y="427"/>
                  <a:pt x="1502" y="427"/>
                  <a:pt x="1502" y="427"/>
                </a:cubicBezTo>
                <a:cubicBezTo>
                  <a:pt x="1503" y="426"/>
                  <a:pt x="1503" y="426"/>
                  <a:pt x="1503" y="426"/>
                </a:cubicBezTo>
                <a:cubicBezTo>
                  <a:pt x="1504" y="427"/>
                  <a:pt x="1504" y="427"/>
                  <a:pt x="1504" y="427"/>
                </a:cubicBezTo>
                <a:cubicBezTo>
                  <a:pt x="1505" y="428"/>
                  <a:pt x="1505" y="428"/>
                  <a:pt x="1505" y="428"/>
                </a:cubicBezTo>
                <a:cubicBezTo>
                  <a:pt x="1506" y="427"/>
                  <a:pt x="1506" y="427"/>
                  <a:pt x="1506" y="427"/>
                </a:cubicBezTo>
                <a:cubicBezTo>
                  <a:pt x="1507" y="428"/>
                  <a:pt x="1507" y="428"/>
                  <a:pt x="1507" y="428"/>
                </a:cubicBezTo>
                <a:cubicBezTo>
                  <a:pt x="1504" y="424"/>
                  <a:pt x="1504" y="424"/>
                  <a:pt x="1504" y="424"/>
                </a:cubicBezTo>
                <a:cubicBezTo>
                  <a:pt x="1503" y="423"/>
                  <a:pt x="1503" y="423"/>
                  <a:pt x="1503" y="423"/>
                </a:cubicBezTo>
                <a:cubicBezTo>
                  <a:pt x="1504" y="421"/>
                  <a:pt x="1504" y="421"/>
                  <a:pt x="1504" y="421"/>
                </a:cubicBezTo>
                <a:cubicBezTo>
                  <a:pt x="1505" y="421"/>
                  <a:pt x="1505" y="421"/>
                  <a:pt x="1505" y="421"/>
                </a:cubicBezTo>
                <a:cubicBezTo>
                  <a:pt x="1503" y="420"/>
                  <a:pt x="1503" y="420"/>
                  <a:pt x="1503" y="420"/>
                </a:cubicBezTo>
                <a:cubicBezTo>
                  <a:pt x="1503" y="419"/>
                  <a:pt x="1503" y="419"/>
                  <a:pt x="1503" y="419"/>
                </a:cubicBezTo>
                <a:cubicBezTo>
                  <a:pt x="1502" y="419"/>
                  <a:pt x="1502" y="419"/>
                  <a:pt x="1502" y="419"/>
                </a:cubicBezTo>
                <a:cubicBezTo>
                  <a:pt x="1501" y="416"/>
                  <a:pt x="1501" y="416"/>
                  <a:pt x="1501" y="416"/>
                </a:cubicBezTo>
                <a:cubicBezTo>
                  <a:pt x="1498" y="415"/>
                  <a:pt x="1498" y="415"/>
                  <a:pt x="1498" y="415"/>
                </a:cubicBezTo>
                <a:cubicBezTo>
                  <a:pt x="1495" y="414"/>
                  <a:pt x="1495" y="414"/>
                  <a:pt x="1495" y="414"/>
                </a:cubicBezTo>
                <a:cubicBezTo>
                  <a:pt x="1495" y="413"/>
                  <a:pt x="1495" y="413"/>
                  <a:pt x="1495" y="413"/>
                </a:cubicBezTo>
                <a:cubicBezTo>
                  <a:pt x="1494" y="412"/>
                  <a:pt x="1494" y="412"/>
                  <a:pt x="1494" y="412"/>
                </a:cubicBezTo>
                <a:cubicBezTo>
                  <a:pt x="1493" y="409"/>
                  <a:pt x="1493" y="409"/>
                  <a:pt x="1493" y="409"/>
                </a:cubicBezTo>
                <a:cubicBezTo>
                  <a:pt x="1492" y="407"/>
                  <a:pt x="1492" y="407"/>
                  <a:pt x="1492" y="407"/>
                </a:cubicBezTo>
                <a:cubicBezTo>
                  <a:pt x="1491" y="402"/>
                  <a:pt x="1491" y="402"/>
                  <a:pt x="1491" y="402"/>
                </a:cubicBezTo>
                <a:cubicBezTo>
                  <a:pt x="1490" y="401"/>
                  <a:pt x="1490" y="401"/>
                  <a:pt x="1490" y="401"/>
                </a:cubicBezTo>
                <a:cubicBezTo>
                  <a:pt x="1489" y="401"/>
                  <a:pt x="1489" y="401"/>
                  <a:pt x="1489" y="401"/>
                </a:cubicBezTo>
                <a:cubicBezTo>
                  <a:pt x="1486" y="396"/>
                  <a:pt x="1486" y="396"/>
                  <a:pt x="1486" y="396"/>
                </a:cubicBezTo>
                <a:cubicBezTo>
                  <a:pt x="1484" y="396"/>
                  <a:pt x="1484" y="396"/>
                  <a:pt x="1484" y="396"/>
                </a:cubicBezTo>
                <a:cubicBezTo>
                  <a:pt x="1483" y="395"/>
                  <a:pt x="1483" y="395"/>
                  <a:pt x="1483" y="395"/>
                </a:cubicBezTo>
                <a:cubicBezTo>
                  <a:pt x="1481" y="394"/>
                  <a:pt x="1481" y="394"/>
                  <a:pt x="1481" y="394"/>
                </a:cubicBezTo>
                <a:cubicBezTo>
                  <a:pt x="1480" y="395"/>
                  <a:pt x="1480" y="395"/>
                  <a:pt x="1480" y="395"/>
                </a:cubicBezTo>
                <a:cubicBezTo>
                  <a:pt x="1478" y="396"/>
                  <a:pt x="1478" y="396"/>
                  <a:pt x="1478" y="396"/>
                </a:cubicBezTo>
                <a:cubicBezTo>
                  <a:pt x="1476" y="395"/>
                  <a:pt x="1476" y="395"/>
                  <a:pt x="1476" y="395"/>
                </a:cubicBezTo>
                <a:cubicBezTo>
                  <a:pt x="1475" y="395"/>
                  <a:pt x="1475" y="395"/>
                  <a:pt x="1475" y="395"/>
                </a:cubicBezTo>
                <a:cubicBezTo>
                  <a:pt x="1473" y="395"/>
                  <a:pt x="1473" y="395"/>
                  <a:pt x="1473" y="395"/>
                </a:cubicBezTo>
                <a:cubicBezTo>
                  <a:pt x="1472" y="394"/>
                  <a:pt x="1472" y="394"/>
                  <a:pt x="1472" y="394"/>
                </a:cubicBezTo>
                <a:cubicBezTo>
                  <a:pt x="1473" y="394"/>
                  <a:pt x="1473" y="394"/>
                  <a:pt x="1473" y="394"/>
                </a:cubicBezTo>
                <a:cubicBezTo>
                  <a:pt x="1476" y="394"/>
                  <a:pt x="1476" y="394"/>
                  <a:pt x="1476" y="394"/>
                </a:cubicBezTo>
                <a:cubicBezTo>
                  <a:pt x="1478" y="394"/>
                  <a:pt x="1478" y="394"/>
                  <a:pt x="1478" y="394"/>
                </a:cubicBezTo>
                <a:cubicBezTo>
                  <a:pt x="1478" y="392"/>
                  <a:pt x="1478" y="392"/>
                  <a:pt x="1478" y="392"/>
                </a:cubicBezTo>
                <a:cubicBezTo>
                  <a:pt x="1480" y="392"/>
                  <a:pt x="1480" y="392"/>
                  <a:pt x="1480" y="392"/>
                </a:cubicBezTo>
                <a:cubicBezTo>
                  <a:pt x="1482" y="391"/>
                  <a:pt x="1482" y="391"/>
                  <a:pt x="1482" y="391"/>
                </a:cubicBezTo>
                <a:cubicBezTo>
                  <a:pt x="1480" y="390"/>
                  <a:pt x="1480" y="390"/>
                  <a:pt x="1480" y="390"/>
                </a:cubicBezTo>
                <a:cubicBezTo>
                  <a:pt x="1480" y="389"/>
                  <a:pt x="1480" y="389"/>
                  <a:pt x="1480" y="389"/>
                </a:cubicBezTo>
                <a:cubicBezTo>
                  <a:pt x="1479" y="389"/>
                  <a:pt x="1479" y="389"/>
                  <a:pt x="1479" y="389"/>
                </a:cubicBezTo>
                <a:cubicBezTo>
                  <a:pt x="1477" y="390"/>
                  <a:pt x="1477" y="390"/>
                  <a:pt x="1477" y="390"/>
                </a:cubicBezTo>
                <a:cubicBezTo>
                  <a:pt x="1476" y="389"/>
                  <a:pt x="1476" y="389"/>
                  <a:pt x="1476" y="389"/>
                </a:cubicBezTo>
                <a:cubicBezTo>
                  <a:pt x="1478" y="388"/>
                  <a:pt x="1478" y="388"/>
                  <a:pt x="1478" y="388"/>
                </a:cubicBezTo>
                <a:cubicBezTo>
                  <a:pt x="1481" y="388"/>
                  <a:pt x="1481" y="388"/>
                  <a:pt x="1481" y="388"/>
                </a:cubicBezTo>
                <a:cubicBezTo>
                  <a:pt x="1482" y="387"/>
                  <a:pt x="1482" y="387"/>
                  <a:pt x="1482" y="387"/>
                </a:cubicBezTo>
                <a:cubicBezTo>
                  <a:pt x="1482" y="386"/>
                  <a:pt x="1482" y="386"/>
                  <a:pt x="1482" y="386"/>
                </a:cubicBezTo>
                <a:cubicBezTo>
                  <a:pt x="1483" y="385"/>
                  <a:pt x="1483" y="385"/>
                  <a:pt x="1483" y="385"/>
                </a:cubicBezTo>
                <a:cubicBezTo>
                  <a:pt x="1484" y="383"/>
                  <a:pt x="1484" y="383"/>
                  <a:pt x="1484" y="383"/>
                </a:cubicBezTo>
                <a:cubicBezTo>
                  <a:pt x="1485" y="381"/>
                  <a:pt x="1485" y="381"/>
                  <a:pt x="1485" y="381"/>
                </a:cubicBezTo>
                <a:cubicBezTo>
                  <a:pt x="1485" y="381"/>
                  <a:pt x="1485" y="381"/>
                  <a:pt x="1485" y="381"/>
                </a:cubicBezTo>
                <a:cubicBezTo>
                  <a:pt x="1486" y="379"/>
                  <a:pt x="1486" y="379"/>
                  <a:pt x="1486" y="379"/>
                </a:cubicBezTo>
                <a:cubicBezTo>
                  <a:pt x="1486" y="378"/>
                  <a:pt x="1486" y="378"/>
                  <a:pt x="1486" y="378"/>
                </a:cubicBezTo>
                <a:cubicBezTo>
                  <a:pt x="1487" y="376"/>
                  <a:pt x="1487" y="376"/>
                  <a:pt x="1487" y="376"/>
                </a:cubicBezTo>
                <a:cubicBezTo>
                  <a:pt x="1488" y="374"/>
                  <a:pt x="1488" y="374"/>
                  <a:pt x="1488" y="374"/>
                </a:cubicBezTo>
                <a:cubicBezTo>
                  <a:pt x="1488" y="373"/>
                  <a:pt x="1488" y="373"/>
                  <a:pt x="1488" y="373"/>
                </a:cubicBezTo>
                <a:cubicBezTo>
                  <a:pt x="1486" y="371"/>
                  <a:pt x="1486" y="371"/>
                  <a:pt x="1486" y="371"/>
                </a:cubicBezTo>
                <a:cubicBezTo>
                  <a:pt x="1485" y="371"/>
                  <a:pt x="1485" y="371"/>
                  <a:pt x="1485" y="371"/>
                </a:cubicBezTo>
                <a:cubicBezTo>
                  <a:pt x="1481" y="371"/>
                  <a:pt x="1481" y="371"/>
                  <a:pt x="1481" y="371"/>
                </a:cubicBezTo>
                <a:cubicBezTo>
                  <a:pt x="1479" y="371"/>
                  <a:pt x="1479" y="371"/>
                  <a:pt x="1479" y="371"/>
                </a:cubicBezTo>
                <a:cubicBezTo>
                  <a:pt x="1478" y="371"/>
                  <a:pt x="1478" y="371"/>
                  <a:pt x="1478" y="371"/>
                </a:cubicBezTo>
                <a:cubicBezTo>
                  <a:pt x="1477" y="371"/>
                  <a:pt x="1477" y="371"/>
                  <a:pt x="1477" y="371"/>
                </a:cubicBezTo>
                <a:cubicBezTo>
                  <a:pt x="1475" y="371"/>
                  <a:pt x="1475" y="371"/>
                  <a:pt x="1475" y="371"/>
                </a:cubicBezTo>
                <a:cubicBezTo>
                  <a:pt x="1474" y="371"/>
                  <a:pt x="1474" y="371"/>
                  <a:pt x="1474" y="371"/>
                </a:cubicBezTo>
                <a:cubicBezTo>
                  <a:pt x="1474" y="371"/>
                  <a:pt x="1474" y="371"/>
                  <a:pt x="1474" y="371"/>
                </a:cubicBezTo>
                <a:cubicBezTo>
                  <a:pt x="1473" y="372"/>
                  <a:pt x="1473" y="372"/>
                  <a:pt x="1473" y="372"/>
                </a:cubicBezTo>
                <a:cubicBezTo>
                  <a:pt x="1471" y="373"/>
                  <a:pt x="1471" y="373"/>
                  <a:pt x="1471" y="373"/>
                </a:cubicBezTo>
                <a:cubicBezTo>
                  <a:pt x="1470" y="373"/>
                  <a:pt x="1470" y="373"/>
                  <a:pt x="1470" y="373"/>
                </a:cubicBezTo>
                <a:cubicBezTo>
                  <a:pt x="1469" y="374"/>
                  <a:pt x="1469" y="374"/>
                  <a:pt x="1469" y="374"/>
                </a:cubicBezTo>
                <a:cubicBezTo>
                  <a:pt x="1469" y="373"/>
                  <a:pt x="1469" y="373"/>
                  <a:pt x="1469" y="373"/>
                </a:cubicBezTo>
                <a:cubicBezTo>
                  <a:pt x="1470" y="372"/>
                  <a:pt x="1470" y="372"/>
                  <a:pt x="1470" y="372"/>
                </a:cubicBezTo>
                <a:cubicBezTo>
                  <a:pt x="1472" y="369"/>
                  <a:pt x="1472" y="369"/>
                  <a:pt x="1472" y="369"/>
                </a:cubicBezTo>
                <a:cubicBezTo>
                  <a:pt x="1471" y="370"/>
                  <a:pt x="1471" y="370"/>
                  <a:pt x="1471" y="370"/>
                </a:cubicBezTo>
                <a:cubicBezTo>
                  <a:pt x="1469" y="369"/>
                  <a:pt x="1469" y="369"/>
                  <a:pt x="1469" y="369"/>
                </a:cubicBezTo>
                <a:cubicBezTo>
                  <a:pt x="1470" y="369"/>
                  <a:pt x="1470" y="369"/>
                  <a:pt x="1470" y="369"/>
                </a:cubicBezTo>
                <a:cubicBezTo>
                  <a:pt x="1470" y="367"/>
                  <a:pt x="1470" y="367"/>
                  <a:pt x="1470" y="367"/>
                </a:cubicBezTo>
                <a:cubicBezTo>
                  <a:pt x="1474" y="364"/>
                  <a:pt x="1474" y="364"/>
                  <a:pt x="1474" y="364"/>
                </a:cubicBezTo>
                <a:cubicBezTo>
                  <a:pt x="1476" y="362"/>
                  <a:pt x="1476" y="362"/>
                  <a:pt x="1476" y="362"/>
                </a:cubicBezTo>
                <a:cubicBezTo>
                  <a:pt x="1477" y="362"/>
                  <a:pt x="1477" y="362"/>
                  <a:pt x="1477" y="362"/>
                </a:cubicBezTo>
                <a:cubicBezTo>
                  <a:pt x="1478" y="360"/>
                  <a:pt x="1478" y="360"/>
                  <a:pt x="1478" y="360"/>
                </a:cubicBezTo>
                <a:cubicBezTo>
                  <a:pt x="1477" y="359"/>
                  <a:pt x="1477" y="359"/>
                  <a:pt x="1477" y="359"/>
                </a:cubicBezTo>
                <a:cubicBezTo>
                  <a:pt x="1478" y="358"/>
                  <a:pt x="1478" y="358"/>
                  <a:pt x="1478" y="358"/>
                </a:cubicBezTo>
                <a:cubicBezTo>
                  <a:pt x="1478" y="357"/>
                  <a:pt x="1478" y="357"/>
                  <a:pt x="1478" y="357"/>
                </a:cubicBezTo>
                <a:cubicBezTo>
                  <a:pt x="1476" y="357"/>
                  <a:pt x="1476" y="357"/>
                  <a:pt x="1476" y="357"/>
                </a:cubicBezTo>
                <a:cubicBezTo>
                  <a:pt x="1475" y="358"/>
                  <a:pt x="1475" y="358"/>
                  <a:pt x="1475" y="358"/>
                </a:cubicBezTo>
                <a:cubicBezTo>
                  <a:pt x="1473" y="358"/>
                  <a:pt x="1473" y="358"/>
                  <a:pt x="1473" y="358"/>
                </a:cubicBezTo>
                <a:cubicBezTo>
                  <a:pt x="1472" y="359"/>
                  <a:pt x="1472" y="359"/>
                  <a:pt x="1472" y="359"/>
                </a:cubicBezTo>
                <a:cubicBezTo>
                  <a:pt x="1470" y="359"/>
                  <a:pt x="1470" y="359"/>
                  <a:pt x="1470" y="359"/>
                </a:cubicBezTo>
                <a:cubicBezTo>
                  <a:pt x="1468" y="359"/>
                  <a:pt x="1468" y="359"/>
                  <a:pt x="1468" y="359"/>
                </a:cubicBezTo>
                <a:cubicBezTo>
                  <a:pt x="1467" y="359"/>
                  <a:pt x="1467" y="359"/>
                  <a:pt x="1467" y="359"/>
                </a:cubicBezTo>
                <a:cubicBezTo>
                  <a:pt x="1467" y="360"/>
                  <a:pt x="1467" y="360"/>
                  <a:pt x="1467" y="360"/>
                </a:cubicBezTo>
                <a:cubicBezTo>
                  <a:pt x="1467" y="359"/>
                  <a:pt x="1467" y="359"/>
                  <a:pt x="1467" y="359"/>
                </a:cubicBezTo>
                <a:cubicBezTo>
                  <a:pt x="1466" y="359"/>
                  <a:pt x="1466" y="359"/>
                  <a:pt x="1466" y="359"/>
                </a:cubicBezTo>
                <a:cubicBezTo>
                  <a:pt x="1464" y="360"/>
                  <a:pt x="1464" y="360"/>
                  <a:pt x="1464" y="360"/>
                </a:cubicBezTo>
                <a:cubicBezTo>
                  <a:pt x="1465" y="359"/>
                  <a:pt x="1465" y="359"/>
                  <a:pt x="1465" y="359"/>
                </a:cubicBezTo>
                <a:cubicBezTo>
                  <a:pt x="1463" y="358"/>
                  <a:pt x="1463" y="358"/>
                  <a:pt x="1463" y="358"/>
                </a:cubicBezTo>
                <a:cubicBezTo>
                  <a:pt x="1462" y="359"/>
                  <a:pt x="1462" y="359"/>
                  <a:pt x="1462" y="359"/>
                </a:cubicBezTo>
                <a:cubicBezTo>
                  <a:pt x="1461" y="360"/>
                  <a:pt x="1461" y="360"/>
                  <a:pt x="1461" y="360"/>
                </a:cubicBezTo>
                <a:cubicBezTo>
                  <a:pt x="1462" y="361"/>
                  <a:pt x="1462" y="361"/>
                  <a:pt x="1462" y="361"/>
                </a:cubicBezTo>
                <a:cubicBezTo>
                  <a:pt x="1461" y="361"/>
                  <a:pt x="1461" y="361"/>
                  <a:pt x="1461" y="361"/>
                </a:cubicBezTo>
                <a:cubicBezTo>
                  <a:pt x="1461" y="363"/>
                  <a:pt x="1461" y="363"/>
                  <a:pt x="1461" y="363"/>
                </a:cubicBezTo>
                <a:cubicBezTo>
                  <a:pt x="1460" y="363"/>
                  <a:pt x="1460" y="363"/>
                  <a:pt x="1460" y="363"/>
                </a:cubicBezTo>
                <a:cubicBezTo>
                  <a:pt x="1460" y="365"/>
                  <a:pt x="1460" y="365"/>
                  <a:pt x="1460" y="365"/>
                </a:cubicBezTo>
                <a:cubicBezTo>
                  <a:pt x="1460" y="366"/>
                  <a:pt x="1460" y="366"/>
                  <a:pt x="1460" y="366"/>
                </a:cubicBezTo>
                <a:cubicBezTo>
                  <a:pt x="1459" y="366"/>
                  <a:pt x="1459" y="366"/>
                  <a:pt x="1459" y="366"/>
                </a:cubicBezTo>
                <a:cubicBezTo>
                  <a:pt x="1461" y="368"/>
                  <a:pt x="1461" y="368"/>
                  <a:pt x="1461" y="368"/>
                </a:cubicBezTo>
                <a:cubicBezTo>
                  <a:pt x="1462" y="369"/>
                  <a:pt x="1462" y="369"/>
                  <a:pt x="1462" y="369"/>
                </a:cubicBezTo>
                <a:cubicBezTo>
                  <a:pt x="1460" y="368"/>
                  <a:pt x="1460" y="368"/>
                  <a:pt x="1460" y="368"/>
                </a:cubicBezTo>
                <a:cubicBezTo>
                  <a:pt x="1459" y="369"/>
                  <a:pt x="1459" y="369"/>
                  <a:pt x="1459" y="369"/>
                </a:cubicBezTo>
                <a:cubicBezTo>
                  <a:pt x="1457" y="368"/>
                  <a:pt x="1457" y="368"/>
                  <a:pt x="1457" y="368"/>
                </a:cubicBezTo>
                <a:cubicBezTo>
                  <a:pt x="1457" y="368"/>
                  <a:pt x="1457" y="368"/>
                  <a:pt x="1457" y="368"/>
                </a:cubicBezTo>
                <a:cubicBezTo>
                  <a:pt x="1458" y="369"/>
                  <a:pt x="1458" y="369"/>
                  <a:pt x="1458" y="369"/>
                </a:cubicBezTo>
                <a:cubicBezTo>
                  <a:pt x="1457" y="370"/>
                  <a:pt x="1457" y="370"/>
                  <a:pt x="1457" y="370"/>
                </a:cubicBezTo>
                <a:cubicBezTo>
                  <a:pt x="1457" y="368"/>
                  <a:pt x="1457" y="368"/>
                  <a:pt x="1457" y="368"/>
                </a:cubicBezTo>
                <a:cubicBezTo>
                  <a:pt x="1456" y="370"/>
                  <a:pt x="1456" y="370"/>
                  <a:pt x="1456" y="370"/>
                </a:cubicBezTo>
                <a:cubicBezTo>
                  <a:pt x="1457" y="371"/>
                  <a:pt x="1457" y="371"/>
                  <a:pt x="1457" y="371"/>
                </a:cubicBezTo>
                <a:cubicBezTo>
                  <a:pt x="1456" y="372"/>
                  <a:pt x="1456" y="372"/>
                  <a:pt x="1456" y="372"/>
                </a:cubicBezTo>
                <a:cubicBezTo>
                  <a:pt x="1457" y="373"/>
                  <a:pt x="1457" y="373"/>
                  <a:pt x="1457" y="373"/>
                </a:cubicBezTo>
                <a:cubicBezTo>
                  <a:pt x="1458" y="373"/>
                  <a:pt x="1458" y="373"/>
                  <a:pt x="1458" y="373"/>
                </a:cubicBezTo>
                <a:cubicBezTo>
                  <a:pt x="1457" y="374"/>
                  <a:pt x="1457" y="374"/>
                  <a:pt x="1457" y="374"/>
                </a:cubicBezTo>
                <a:lnTo>
                  <a:pt x="1456" y="373"/>
                </a:lnTo>
                <a:close/>
                <a:moveTo>
                  <a:pt x="1452" y="371"/>
                </a:moveTo>
                <a:cubicBezTo>
                  <a:pt x="1451" y="371"/>
                  <a:pt x="1451" y="371"/>
                  <a:pt x="1451" y="371"/>
                </a:cubicBezTo>
                <a:cubicBezTo>
                  <a:pt x="1451" y="374"/>
                  <a:pt x="1451" y="374"/>
                  <a:pt x="1451" y="374"/>
                </a:cubicBezTo>
                <a:cubicBezTo>
                  <a:pt x="1449" y="372"/>
                  <a:pt x="1449" y="372"/>
                  <a:pt x="1449" y="372"/>
                </a:cubicBezTo>
                <a:cubicBezTo>
                  <a:pt x="1449" y="374"/>
                  <a:pt x="1449" y="374"/>
                  <a:pt x="1449" y="374"/>
                </a:cubicBezTo>
                <a:cubicBezTo>
                  <a:pt x="1449" y="373"/>
                  <a:pt x="1449" y="373"/>
                  <a:pt x="1449" y="373"/>
                </a:cubicBezTo>
                <a:cubicBezTo>
                  <a:pt x="1448" y="374"/>
                  <a:pt x="1448" y="374"/>
                  <a:pt x="1448" y="374"/>
                </a:cubicBezTo>
                <a:cubicBezTo>
                  <a:pt x="1450" y="375"/>
                  <a:pt x="1450" y="375"/>
                  <a:pt x="1450" y="375"/>
                </a:cubicBezTo>
                <a:cubicBezTo>
                  <a:pt x="1450" y="375"/>
                  <a:pt x="1450" y="375"/>
                  <a:pt x="1450" y="375"/>
                </a:cubicBezTo>
                <a:cubicBezTo>
                  <a:pt x="1451" y="375"/>
                  <a:pt x="1451" y="375"/>
                  <a:pt x="1451" y="375"/>
                </a:cubicBezTo>
                <a:cubicBezTo>
                  <a:pt x="1450" y="376"/>
                  <a:pt x="1450" y="376"/>
                  <a:pt x="1450" y="376"/>
                </a:cubicBezTo>
                <a:cubicBezTo>
                  <a:pt x="1452" y="378"/>
                  <a:pt x="1452" y="378"/>
                  <a:pt x="1452" y="378"/>
                </a:cubicBezTo>
                <a:cubicBezTo>
                  <a:pt x="1454" y="378"/>
                  <a:pt x="1454" y="378"/>
                  <a:pt x="1454" y="378"/>
                </a:cubicBezTo>
                <a:cubicBezTo>
                  <a:pt x="1454" y="380"/>
                  <a:pt x="1454" y="380"/>
                  <a:pt x="1454" y="380"/>
                </a:cubicBezTo>
                <a:cubicBezTo>
                  <a:pt x="1455" y="380"/>
                  <a:pt x="1455" y="380"/>
                  <a:pt x="1455" y="380"/>
                </a:cubicBezTo>
                <a:cubicBezTo>
                  <a:pt x="1456" y="378"/>
                  <a:pt x="1456" y="378"/>
                  <a:pt x="1456" y="378"/>
                </a:cubicBezTo>
                <a:cubicBezTo>
                  <a:pt x="1457" y="377"/>
                  <a:pt x="1457" y="377"/>
                  <a:pt x="1457" y="377"/>
                </a:cubicBezTo>
                <a:cubicBezTo>
                  <a:pt x="1456" y="377"/>
                  <a:pt x="1456" y="377"/>
                  <a:pt x="1456" y="377"/>
                </a:cubicBezTo>
                <a:cubicBezTo>
                  <a:pt x="1455" y="377"/>
                  <a:pt x="1455" y="377"/>
                  <a:pt x="1455" y="377"/>
                </a:cubicBezTo>
                <a:cubicBezTo>
                  <a:pt x="1453" y="376"/>
                  <a:pt x="1453" y="376"/>
                  <a:pt x="1453" y="376"/>
                </a:cubicBezTo>
                <a:cubicBezTo>
                  <a:pt x="1453" y="373"/>
                  <a:pt x="1453" y="373"/>
                  <a:pt x="1453" y="373"/>
                </a:cubicBezTo>
                <a:lnTo>
                  <a:pt x="1452" y="371"/>
                </a:lnTo>
                <a:close/>
                <a:moveTo>
                  <a:pt x="1446" y="366"/>
                </a:moveTo>
                <a:cubicBezTo>
                  <a:pt x="1447" y="367"/>
                  <a:pt x="1447" y="367"/>
                  <a:pt x="1447" y="367"/>
                </a:cubicBezTo>
                <a:cubicBezTo>
                  <a:pt x="1448" y="367"/>
                  <a:pt x="1448" y="367"/>
                  <a:pt x="1448" y="367"/>
                </a:cubicBezTo>
                <a:cubicBezTo>
                  <a:pt x="1450" y="367"/>
                  <a:pt x="1450" y="367"/>
                  <a:pt x="1450" y="367"/>
                </a:cubicBezTo>
                <a:cubicBezTo>
                  <a:pt x="1451" y="365"/>
                  <a:pt x="1451" y="365"/>
                  <a:pt x="1451" y="365"/>
                </a:cubicBezTo>
                <a:cubicBezTo>
                  <a:pt x="1451" y="365"/>
                  <a:pt x="1451" y="365"/>
                  <a:pt x="1451" y="365"/>
                </a:cubicBezTo>
                <a:cubicBezTo>
                  <a:pt x="1451" y="363"/>
                  <a:pt x="1451" y="363"/>
                  <a:pt x="1451" y="363"/>
                </a:cubicBezTo>
                <a:cubicBezTo>
                  <a:pt x="1453" y="362"/>
                  <a:pt x="1453" y="362"/>
                  <a:pt x="1453" y="362"/>
                </a:cubicBezTo>
                <a:cubicBezTo>
                  <a:pt x="1453" y="359"/>
                  <a:pt x="1453" y="359"/>
                  <a:pt x="1453" y="359"/>
                </a:cubicBezTo>
                <a:cubicBezTo>
                  <a:pt x="1448" y="362"/>
                  <a:pt x="1448" y="362"/>
                  <a:pt x="1448" y="362"/>
                </a:cubicBezTo>
                <a:cubicBezTo>
                  <a:pt x="1449" y="364"/>
                  <a:pt x="1449" y="364"/>
                  <a:pt x="1449" y="364"/>
                </a:cubicBezTo>
                <a:cubicBezTo>
                  <a:pt x="1447" y="363"/>
                  <a:pt x="1447" y="363"/>
                  <a:pt x="1447" y="363"/>
                </a:cubicBezTo>
                <a:cubicBezTo>
                  <a:pt x="1446" y="364"/>
                  <a:pt x="1446" y="364"/>
                  <a:pt x="1446" y="364"/>
                </a:cubicBezTo>
                <a:cubicBezTo>
                  <a:pt x="1447" y="366"/>
                  <a:pt x="1447" y="366"/>
                  <a:pt x="1447" y="366"/>
                </a:cubicBezTo>
                <a:lnTo>
                  <a:pt x="1446" y="366"/>
                </a:lnTo>
                <a:close/>
                <a:moveTo>
                  <a:pt x="903" y="48"/>
                </a:moveTo>
                <a:cubicBezTo>
                  <a:pt x="903" y="49"/>
                  <a:pt x="903" y="49"/>
                  <a:pt x="903" y="49"/>
                </a:cubicBezTo>
                <a:cubicBezTo>
                  <a:pt x="904" y="50"/>
                  <a:pt x="904" y="50"/>
                  <a:pt x="904" y="50"/>
                </a:cubicBezTo>
                <a:cubicBezTo>
                  <a:pt x="905" y="49"/>
                  <a:pt x="905" y="49"/>
                  <a:pt x="905" y="49"/>
                </a:cubicBezTo>
                <a:cubicBezTo>
                  <a:pt x="904" y="48"/>
                  <a:pt x="904" y="48"/>
                  <a:pt x="904" y="48"/>
                </a:cubicBezTo>
                <a:lnTo>
                  <a:pt x="903" y="48"/>
                </a:lnTo>
                <a:close/>
                <a:moveTo>
                  <a:pt x="848" y="105"/>
                </a:moveTo>
                <a:cubicBezTo>
                  <a:pt x="847" y="104"/>
                  <a:pt x="847" y="104"/>
                  <a:pt x="847" y="104"/>
                </a:cubicBezTo>
                <a:cubicBezTo>
                  <a:pt x="846" y="105"/>
                  <a:pt x="846" y="105"/>
                  <a:pt x="846" y="105"/>
                </a:cubicBezTo>
                <a:lnTo>
                  <a:pt x="848" y="105"/>
                </a:lnTo>
                <a:close/>
                <a:moveTo>
                  <a:pt x="842" y="103"/>
                </a:moveTo>
                <a:cubicBezTo>
                  <a:pt x="843" y="105"/>
                  <a:pt x="843" y="105"/>
                  <a:pt x="843" y="105"/>
                </a:cubicBezTo>
                <a:cubicBezTo>
                  <a:pt x="844" y="105"/>
                  <a:pt x="844" y="105"/>
                  <a:pt x="844" y="105"/>
                </a:cubicBezTo>
                <a:cubicBezTo>
                  <a:pt x="844" y="104"/>
                  <a:pt x="844" y="104"/>
                  <a:pt x="844" y="104"/>
                </a:cubicBezTo>
                <a:cubicBezTo>
                  <a:pt x="844" y="103"/>
                  <a:pt x="844" y="103"/>
                  <a:pt x="844" y="103"/>
                </a:cubicBezTo>
                <a:cubicBezTo>
                  <a:pt x="843" y="103"/>
                  <a:pt x="843" y="103"/>
                  <a:pt x="843" y="103"/>
                </a:cubicBezTo>
                <a:lnTo>
                  <a:pt x="842" y="103"/>
                </a:lnTo>
                <a:close/>
                <a:moveTo>
                  <a:pt x="907" y="143"/>
                </a:moveTo>
                <a:cubicBezTo>
                  <a:pt x="908" y="142"/>
                  <a:pt x="908" y="142"/>
                  <a:pt x="908" y="142"/>
                </a:cubicBezTo>
                <a:cubicBezTo>
                  <a:pt x="907" y="141"/>
                  <a:pt x="907" y="141"/>
                  <a:pt x="907" y="141"/>
                </a:cubicBezTo>
                <a:cubicBezTo>
                  <a:pt x="906" y="139"/>
                  <a:pt x="906" y="139"/>
                  <a:pt x="906" y="139"/>
                </a:cubicBezTo>
                <a:cubicBezTo>
                  <a:pt x="906" y="141"/>
                  <a:pt x="906" y="141"/>
                  <a:pt x="906" y="141"/>
                </a:cubicBezTo>
                <a:cubicBezTo>
                  <a:pt x="906" y="143"/>
                  <a:pt x="906" y="143"/>
                  <a:pt x="906" y="143"/>
                </a:cubicBezTo>
                <a:lnTo>
                  <a:pt x="907" y="143"/>
                </a:lnTo>
                <a:close/>
                <a:moveTo>
                  <a:pt x="820" y="91"/>
                </a:moveTo>
                <a:cubicBezTo>
                  <a:pt x="819" y="91"/>
                  <a:pt x="819" y="91"/>
                  <a:pt x="819" y="91"/>
                </a:cubicBezTo>
                <a:cubicBezTo>
                  <a:pt x="818" y="91"/>
                  <a:pt x="818" y="91"/>
                  <a:pt x="818" y="91"/>
                </a:cubicBezTo>
                <a:cubicBezTo>
                  <a:pt x="816" y="92"/>
                  <a:pt x="816" y="92"/>
                  <a:pt x="816" y="92"/>
                </a:cubicBezTo>
                <a:cubicBezTo>
                  <a:pt x="817" y="93"/>
                  <a:pt x="817" y="93"/>
                  <a:pt x="817" y="93"/>
                </a:cubicBezTo>
                <a:cubicBezTo>
                  <a:pt x="817" y="94"/>
                  <a:pt x="817" y="94"/>
                  <a:pt x="817" y="94"/>
                </a:cubicBezTo>
                <a:cubicBezTo>
                  <a:pt x="818" y="95"/>
                  <a:pt x="818" y="95"/>
                  <a:pt x="818" y="95"/>
                </a:cubicBezTo>
                <a:cubicBezTo>
                  <a:pt x="819" y="94"/>
                  <a:pt x="819" y="94"/>
                  <a:pt x="819" y="94"/>
                </a:cubicBezTo>
                <a:cubicBezTo>
                  <a:pt x="820" y="95"/>
                  <a:pt x="820" y="95"/>
                  <a:pt x="820" y="95"/>
                </a:cubicBezTo>
                <a:cubicBezTo>
                  <a:pt x="821" y="95"/>
                  <a:pt x="821" y="95"/>
                  <a:pt x="821" y="95"/>
                </a:cubicBezTo>
                <a:cubicBezTo>
                  <a:pt x="822" y="96"/>
                  <a:pt x="822" y="96"/>
                  <a:pt x="822" y="96"/>
                </a:cubicBezTo>
                <a:cubicBezTo>
                  <a:pt x="822" y="96"/>
                  <a:pt x="823" y="96"/>
                  <a:pt x="823" y="96"/>
                </a:cubicBezTo>
                <a:cubicBezTo>
                  <a:pt x="824" y="94"/>
                  <a:pt x="824" y="94"/>
                  <a:pt x="824" y="94"/>
                </a:cubicBezTo>
                <a:cubicBezTo>
                  <a:pt x="823" y="93"/>
                  <a:pt x="823" y="93"/>
                  <a:pt x="823" y="93"/>
                </a:cubicBezTo>
                <a:cubicBezTo>
                  <a:pt x="821" y="92"/>
                  <a:pt x="821" y="92"/>
                  <a:pt x="821" y="92"/>
                </a:cubicBezTo>
                <a:lnTo>
                  <a:pt x="820" y="91"/>
                </a:lnTo>
                <a:close/>
                <a:moveTo>
                  <a:pt x="1007" y="470"/>
                </a:moveTo>
                <a:cubicBezTo>
                  <a:pt x="1007" y="470"/>
                  <a:pt x="1008" y="470"/>
                  <a:pt x="1008" y="470"/>
                </a:cubicBezTo>
                <a:cubicBezTo>
                  <a:pt x="1009" y="470"/>
                  <a:pt x="1009" y="470"/>
                  <a:pt x="1009" y="470"/>
                </a:cubicBezTo>
                <a:cubicBezTo>
                  <a:pt x="1009" y="469"/>
                  <a:pt x="1009" y="469"/>
                  <a:pt x="1009" y="469"/>
                </a:cubicBezTo>
                <a:cubicBezTo>
                  <a:pt x="1008" y="468"/>
                  <a:pt x="1008" y="468"/>
                  <a:pt x="1008" y="468"/>
                </a:cubicBezTo>
                <a:cubicBezTo>
                  <a:pt x="1008" y="468"/>
                  <a:pt x="1008" y="468"/>
                  <a:pt x="1008" y="468"/>
                </a:cubicBezTo>
                <a:cubicBezTo>
                  <a:pt x="1007" y="468"/>
                  <a:pt x="1007" y="468"/>
                  <a:pt x="1007" y="468"/>
                </a:cubicBezTo>
                <a:cubicBezTo>
                  <a:pt x="1007" y="468"/>
                  <a:pt x="1007" y="468"/>
                  <a:pt x="1007" y="468"/>
                </a:cubicBezTo>
                <a:cubicBezTo>
                  <a:pt x="1007" y="468"/>
                  <a:pt x="1007" y="468"/>
                  <a:pt x="1007" y="468"/>
                </a:cubicBezTo>
                <a:lnTo>
                  <a:pt x="1007" y="470"/>
                </a:lnTo>
                <a:close/>
                <a:moveTo>
                  <a:pt x="898" y="48"/>
                </a:moveTo>
                <a:cubicBezTo>
                  <a:pt x="899" y="50"/>
                  <a:pt x="899" y="50"/>
                  <a:pt x="899" y="50"/>
                </a:cubicBezTo>
                <a:cubicBezTo>
                  <a:pt x="900" y="49"/>
                  <a:pt x="900" y="49"/>
                  <a:pt x="900" y="49"/>
                </a:cubicBezTo>
                <a:cubicBezTo>
                  <a:pt x="900" y="48"/>
                  <a:pt x="900" y="48"/>
                  <a:pt x="900" y="48"/>
                </a:cubicBezTo>
                <a:cubicBezTo>
                  <a:pt x="899" y="48"/>
                  <a:pt x="899" y="48"/>
                  <a:pt x="899" y="48"/>
                </a:cubicBezTo>
                <a:lnTo>
                  <a:pt x="898" y="48"/>
                </a:lnTo>
                <a:close/>
                <a:moveTo>
                  <a:pt x="896" y="46"/>
                </a:moveTo>
                <a:cubicBezTo>
                  <a:pt x="896" y="48"/>
                  <a:pt x="896" y="48"/>
                  <a:pt x="896" y="48"/>
                </a:cubicBezTo>
                <a:cubicBezTo>
                  <a:pt x="897" y="47"/>
                  <a:pt x="897" y="47"/>
                  <a:pt x="897" y="47"/>
                </a:cubicBezTo>
                <a:cubicBezTo>
                  <a:pt x="897" y="46"/>
                  <a:pt x="897" y="46"/>
                  <a:pt x="897" y="46"/>
                </a:cubicBezTo>
                <a:cubicBezTo>
                  <a:pt x="897" y="45"/>
                  <a:pt x="897" y="45"/>
                  <a:pt x="897" y="45"/>
                </a:cubicBezTo>
                <a:lnTo>
                  <a:pt x="896" y="46"/>
                </a:lnTo>
                <a:close/>
                <a:moveTo>
                  <a:pt x="904" y="137"/>
                </a:moveTo>
                <a:cubicBezTo>
                  <a:pt x="903" y="137"/>
                  <a:pt x="903" y="137"/>
                  <a:pt x="903" y="137"/>
                </a:cubicBezTo>
                <a:cubicBezTo>
                  <a:pt x="902" y="139"/>
                  <a:pt x="902" y="139"/>
                  <a:pt x="902" y="139"/>
                </a:cubicBezTo>
                <a:cubicBezTo>
                  <a:pt x="901" y="141"/>
                  <a:pt x="901" y="141"/>
                  <a:pt x="901" y="141"/>
                </a:cubicBezTo>
                <a:cubicBezTo>
                  <a:pt x="902" y="143"/>
                  <a:pt x="902" y="143"/>
                  <a:pt x="902" y="143"/>
                </a:cubicBezTo>
                <a:cubicBezTo>
                  <a:pt x="902" y="144"/>
                  <a:pt x="902" y="144"/>
                  <a:pt x="902" y="144"/>
                </a:cubicBezTo>
                <a:cubicBezTo>
                  <a:pt x="903" y="145"/>
                  <a:pt x="903" y="145"/>
                  <a:pt x="903" y="145"/>
                </a:cubicBezTo>
                <a:cubicBezTo>
                  <a:pt x="904" y="145"/>
                  <a:pt x="904" y="145"/>
                  <a:pt x="904" y="145"/>
                </a:cubicBezTo>
                <a:cubicBezTo>
                  <a:pt x="905" y="144"/>
                  <a:pt x="905" y="144"/>
                  <a:pt x="905" y="144"/>
                </a:cubicBezTo>
                <a:cubicBezTo>
                  <a:pt x="904" y="141"/>
                  <a:pt x="904" y="141"/>
                  <a:pt x="904" y="141"/>
                </a:cubicBezTo>
                <a:cubicBezTo>
                  <a:pt x="905" y="139"/>
                  <a:pt x="905" y="139"/>
                  <a:pt x="905" y="139"/>
                </a:cubicBezTo>
                <a:lnTo>
                  <a:pt x="904" y="137"/>
                </a:lnTo>
                <a:close/>
                <a:moveTo>
                  <a:pt x="851" y="105"/>
                </a:moveTo>
                <a:cubicBezTo>
                  <a:pt x="849" y="105"/>
                  <a:pt x="849" y="105"/>
                  <a:pt x="849" y="105"/>
                </a:cubicBezTo>
                <a:cubicBezTo>
                  <a:pt x="849" y="105"/>
                  <a:pt x="849" y="105"/>
                  <a:pt x="849" y="105"/>
                </a:cubicBezTo>
                <a:cubicBezTo>
                  <a:pt x="849" y="106"/>
                  <a:pt x="849" y="106"/>
                  <a:pt x="849" y="106"/>
                </a:cubicBezTo>
                <a:cubicBezTo>
                  <a:pt x="851" y="106"/>
                  <a:pt x="851" y="106"/>
                  <a:pt x="851" y="106"/>
                </a:cubicBezTo>
                <a:cubicBezTo>
                  <a:pt x="852" y="107"/>
                  <a:pt x="852" y="107"/>
                  <a:pt x="852" y="107"/>
                </a:cubicBezTo>
                <a:cubicBezTo>
                  <a:pt x="853" y="107"/>
                  <a:pt x="853" y="107"/>
                  <a:pt x="853" y="107"/>
                </a:cubicBezTo>
                <a:cubicBezTo>
                  <a:pt x="853" y="106"/>
                  <a:pt x="853" y="106"/>
                  <a:pt x="853" y="106"/>
                </a:cubicBezTo>
                <a:cubicBezTo>
                  <a:pt x="851" y="105"/>
                  <a:pt x="851" y="105"/>
                  <a:pt x="851" y="105"/>
                </a:cubicBezTo>
                <a:close/>
                <a:moveTo>
                  <a:pt x="855" y="115"/>
                </a:moveTo>
                <a:cubicBezTo>
                  <a:pt x="855" y="116"/>
                  <a:pt x="855" y="116"/>
                  <a:pt x="855" y="116"/>
                </a:cubicBezTo>
                <a:cubicBezTo>
                  <a:pt x="856" y="116"/>
                  <a:pt x="856" y="116"/>
                  <a:pt x="856" y="116"/>
                </a:cubicBezTo>
                <a:cubicBezTo>
                  <a:pt x="858" y="116"/>
                  <a:pt x="858" y="116"/>
                  <a:pt x="858" y="116"/>
                </a:cubicBezTo>
                <a:cubicBezTo>
                  <a:pt x="858" y="115"/>
                  <a:pt x="858" y="115"/>
                  <a:pt x="858" y="115"/>
                </a:cubicBezTo>
                <a:cubicBezTo>
                  <a:pt x="857" y="114"/>
                  <a:pt x="857" y="114"/>
                  <a:pt x="857" y="114"/>
                </a:cubicBezTo>
                <a:cubicBezTo>
                  <a:pt x="855" y="114"/>
                  <a:pt x="855" y="114"/>
                  <a:pt x="855" y="114"/>
                </a:cubicBezTo>
                <a:lnTo>
                  <a:pt x="855" y="115"/>
                </a:lnTo>
                <a:close/>
                <a:moveTo>
                  <a:pt x="910" y="146"/>
                </a:moveTo>
                <a:cubicBezTo>
                  <a:pt x="909" y="145"/>
                  <a:pt x="909" y="145"/>
                  <a:pt x="909" y="145"/>
                </a:cubicBezTo>
                <a:cubicBezTo>
                  <a:pt x="909" y="145"/>
                  <a:pt x="909" y="145"/>
                  <a:pt x="909" y="145"/>
                </a:cubicBezTo>
                <a:cubicBezTo>
                  <a:pt x="908" y="146"/>
                  <a:pt x="908" y="146"/>
                  <a:pt x="908" y="146"/>
                </a:cubicBezTo>
                <a:cubicBezTo>
                  <a:pt x="909" y="147"/>
                  <a:pt x="909" y="147"/>
                  <a:pt x="909" y="147"/>
                </a:cubicBezTo>
                <a:lnTo>
                  <a:pt x="910" y="146"/>
                </a:lnTo>
                <a:close/>
                <a:moveTo>
                  <a:pt x="857" y="112"/>
                </a:moveTo>
                <a:cubicBezTo>
                  <a:pt x="856" y="112"/>
                  <a:pt x="856" y="112"/>
                  <a:pt x="856" y="112"/>
                </a:cubicBezTo>
                <a:cubicBezTo>
                  <a:pt x="857" y="113"/>
                  <a:pt x="857" y="113"/>
                  <a:pt x="857" y="113"/>
                </a:cubicBezTo>
                <a:lnTo>
                  <a:pt x="857" y="112"/>
                </a:lnTo>
                <a:close/>
                <a:moveTo>
                  <a:pt x="854" y="113"/>
                </a:moveTo>
                <a:cubicBezTo>
                  <a:pt x="854" y="113"/>
                  <a:pt x="854" y="113"/>
                  <a:pt x="854" y="113"/>
                </a:cubicBezTo>
                <a:cubicBezTo>
                  <a:pt x="854" y="112"/>
                  <a:pt x="854" y="112"/>
                  <a:pt x="854" y="112"/>
                </a:cubicBezTo>
                <a:cubicBezTo>
                  <a:pt x="853" y="112"/>
                  <a:pt x="853" y="112"/>
                  <a:pt x="853" y="112"/>
                </a:cubicBezTo>
                <a:lnTo>
                  <a:pt x="854" y="113"/>
                </a:lnTo>
                <a:close/>
                <a:moveTo>
                  <a:pt x="901" y="29"/>
                </a:moveTo>
                <a:cubicBezTo>
                  <a:pt x="903" y="29"/>
                  <a:pt x="903" y="29"/>
                  <a:pt x="903" y="29"/>
                </a:cubicBezTo>
                <a:cubicBezTo>
                  <a:pt x="903" y="31"/>
                  <a:pt x="903" y="31"/>
                  <a:pt x="903" y="31"/>
                </a:cubicBezTo>
                <a:cubicBezTo>
                  <a:pt x="902" y="32"/>
                  <a:pt x="902" y="32"/>
                  <a:pt x="902" y="32"/>
                </a:cubicBezTo>
                <a:cubicBezTo>
                  <a:pt x="902" y="34"/>
                  <a:pt x="902" y="34"/>
                  <a:pt x="902" y="34"/>
                </a:cubicBezTo>
                <a:cubicBezTo>
                  <a:pt x="900" y="35"/>
                  <a:pt x="900" y="35"/>
                  <a:pt x="900" y="35"/>
                </a:cubicBezTo>
                <a:cubicBezTo>
                  <a:pt x="900" y="38"/>
                  <a:pt x="900" y="38"/>
                  <a:pt x="900" y="38"/>
                </a:cubicBezTo>
                <a:cubicBezTo>
                  <a:pt x="901" y="40"/>
                  <a:pt x="901" y="40"/>
                  <a:pt x="901" y="40"/>
                </a:cubicBezTo>
                <a:cubicBezTo>
                  <a:pt x="902" y="40"/>
                  <a:pt x="902" y="40"/>
                  <a:pt x="902" y="40"/>
                </a:cubicBezTo>
                <a:cubicBezTo>
                  <a:pt x="903" y="43"/>
                  <a:pt x="903" y="43"/>
                  <a:pt x="903" y="43"/>
                </a:cubicBezTo>
                <a:cubicBezTo>
                  <a:pt x="905" y="43"/>
                  <a:pt x="905" y="43"/>
                  <a:pt x="905" y="43"/>
                </a:cubicBezTo>
                <a:cubicBezTo>
                  <a:pt x="908" y="45"/>
                  <a:pt x="908" y="45"/>
                  <a:pt x="908" y="45"/>
                </a:cubicBezTo>
                <a:cubicBezTo>
                  <a:pt x="909" y="44"/>
                  <a:pt x="909" y="44"/>
                  <a:pt x="909" y="44"/>
                </a:cubicBezTo>
                <a:cubicBezTo>
                  <a:pt x="911" y="43"/>
                  <a:pt x="911" y="43"/>
                  <a:pt x="911" y="43"/>
                </a:cubicBezTo>
                <a:cubicBezTo>
                  <a:pt x="912" y="42"/>
                  <a:pt x="912" y="42"/>
                  <a:pt x="912" y="42"/>
                </a:cubicBezTo>
                <a:cubicBezTo>
                  <a:pt x="915" y="42"/>
                  <a:pt x="915" y="42"/>
                  <a:pt x="915" y="42"/>
                </a:cubicBezTo>
                <a:cubicBezTo>
                  <a:pt x="917" y="43"/>
                  <a:pt x="917" y="43"/>
                  <a:pt x="917" y="43"/>
                </a:cubicBezTo>
                <a:cubicBezTo>
                  <a:pt x="918" y="43"/>
                  <a:pt x="918" y="43"/>
                  <a:pt x="918" y="43"/>
                </a:cubicBezTo>
                <a:cubicBezTo>
                  <a:pt x="920" y="43"/>
                  <a:pt x="920" y="43"/>
                  <a:pt x="920" y="43"/>
                </a:cubicBezTo>
                <a:cubicBezTo>
                  <a:pt x="922" y="44"/>
                  <a:pt x="922" y="44"/>
                  <a:pt x="922" y="44"/>
                </a:cubicBezTo>
                <a:cubicBezTo>
                  <a:pt x="925" y="45"/>
                  <a:pt x="925" y="45"/>
                  <a:pt x="925" y="45"/>
                </a:cubicBezTo>
                <a:cubicBezTo>
                  <a:pt x="926" y="46"/>
                  <a:pt x="926" y="46"/>
                  <a:pt x="926" y="46"/>
                </a:cubicBezTo>
                <a:cubicBezTo>
                  <a:pt x="930" y="47"/>
                  <a:pt x="930" y="47"/>
                  <a:pt x="930" y="47"/>
                </a:cubicBezTo>
                <a:cubicBezTo>
                  <a:pt x="930" y="45"/>
                  <a:pt x="930" y="45"/>
                  <a:pt x="930" y="45"/>
                </a:cubicBezTo>
                <a:cubicBezTo>
                  <a:pt x="932" y="45"/>
                  <a:pt x="932" y="45"/>
                  <a:pt x="932" y="45"/>
                </a:cubicBezTo>
                <a:cubicBezTo>
                  <a:pt x="932" y="44"/>
                  <a:pt x="932" y="44"/>
                  <a:pt x="932" y="44"/>
                </a:cubicBezTo>
                <a:cubicBezTo>
                  <a:pt x="929" y="43"/>
                  <a:pt x="929" y="43"/>
                  <a:pt x="929" y="43"/>
                </a:cubicBezTo>
                <a:cubicBezTo>
                  <a:pt x="930" y="41"/>
                  <a:pt x="930" y="41"/>
                  <a:pt x="930" y="41"/>
                </a:cubicBezTo>
                <a:cubicBezTo>
                  <a:pt x="930" y="40"/>
                  <a:pt x="930" y="40"/>
                  <a:pt x="930" y="40"/>
                </a:cubicBezTo>
                <a:cubicBezTo>
                  <a:pt x="929" y="38"/>
                  <a:pt x="929" y="38"/>
                  <a:pt x="929" y="38"/>
                </a:cubicBezTo>
                <a:cubicBezTo>
                  <a:pt x="930" y="36"/>
                  <a:pt x="930" y="36"/>
                  <a:pt x="930" y="36"/>
                </a:cubicBezTo>
                <a:cubicBezTo>
                  <a:pt x="929" y="35"/>
                  <a:pt x="929" y="35"/>
                  <a:pt x="929" y="35"/>
                </a:cubicBezTo>
                <a:cubicBezTo>
                  <a:pt x="930" y="34"/>
                  <a:pt x="930" y="34"/>
                  <a:pt x="930" y="34"/>
                </a:cubicBezTo>
                <a:cubicBezTo>
                  <a:pt x="928" y="32"/>
                  <a:pt x="928" y="32"/>
                  <a:pt x="928" y="32"/>
                </a:cubicBezTo>
                <a:cubicBezTo>
                  <a:pt x="928" y="31"/>
                  <a:pt x="928" y="31"/>
                  <a:pt x="928" y="31"/>
                </a:cubicBezTo>
                <a:cubicBezTo>
                  <a:pt x="929" y="29"/>
                  <a:pt x="929" y="29"/>
                  <a:pt x="929" y="29"/>
                </a:cubicBezTo>
                <a:cubicBezTo>
                  <a:pt x="928" y="27"/>
                  <a:pt x="928" y="27"/>
                  <a:pt x="928" y="27"/>
                </a:cubicBezTo>
                <a:cubicBezTo>
                  <a:pt x="925" y="25"/>
                  <a:pt x="925" y="25"/>
                  <a:pt x="925" y="25"/>
                </a:cubicBezTo>
                <a:cubicBezTo>
                  <a:pt x="924" y="23"/>
                  <a:pt x="924" y="23"/>
                  <a:pt x="924" y="23"/>
                </a:cubicBezTo>
                <a:cubicBezTo>
                  <a:pt x="923" y="22"/>
                  <a:pt x="923" y="22"/>
                  <a:pt x="923" y="22"/>
                </a:cubicBezTo>
                <a:cubicBezTo>
                  <a:pt x="920" y="22"/>
                  <a:pt x="920" y="22"/>
                  <a:pt x="920" y="22"/>
                </a:cubicBezTo>
                <a:cubicBezTo>
                  <a:pt x="916" y="21"/>
                  <a:pt x="916" y="21"/>
                  <a:pt x="916" y="21"/>
                </a:cubicBezTo>
                <a:cubicBezTo>
                  <a:pt x="916" y="22"/>
                  <a:pt x="916" y="22"/>
                  <a:pt x="916" y="22"/>
                </a:cubicBezTo>
                <a:cubicBezTo>
                  <a:pt x="913" y="21"/>
                  <a:pt x="913" y="21"/>
                  <a:pt x="913" y="21"/>
                </a:cubicBezTo>
                <a:cubicBezTo>
                  <a:pt x="912" y="20"/>
                  <a:pt x="912" y="20"/>
                  <a:pt x="912" y="20"/>
                </a:cubicBezTo>
                <a:cubicBezTo>
                  <a:pt x="908" y="19"/>
                  <a:pt x="908" y="19"/>
                  <a:pt x="908" y="19"/>
                </a:cubicBezTo>
                <a:cubicBezTo>
                  <a:pt x="908" y="17"/>
                  <a:pt x="908" y="17"/>
                  <a:pt x="908" y="17"/>
                </a:cubicBezTo>
                <a:cubicBezTo>
                  <a:pt x="906" y="16"/>
                  <a:pt x="906" y="16"/>
                  <a:pt x="906" y="16"/>
                </a:cubicBezTo>
                <a:cubicBezTo>
                  <a:pt x="905" y="16"/>
                  <a:pt x="905" y="16"/>
                  <a:pt x="905" y="16"/>
                </a:cubicBezTo>
                <a:cubicBezTo>
                  <a:pt x="904" y="19"/>
                  <a:pt x="904" y="19"/>
                  <a:pt x="904" y="19"/>
                </a:cubicBezTo>
                <a:cubicBezTo>
                  <a:pt x="903" y="20"/>
                  <a:pt x="903" y="20"/>
                  <a:pt x="903" y="20"/>
                </a:cubicBezTo>
                <a:cubicBezTo>
                  <a:pt x="903" y="22"/>
                  <a:pt x="903" y="22"/>
                  <a:pt x="903" y="22"/>
                </a:cubicBezTo>
                <a:cubicBezTo>
                  <a:pt x="903" y="24"/>
                  <a:pt x="903" y="24"/>
                  <a:pt x="903" y="24"/>
                </a:cubicBezTo>
                <a:cubicBezTo>
                  <a:pt x="901" y="23"/>
                  <a:pt x="901" y="23"/>
                  <a:pt x="901" y="23"/>
                </a:cubicBezTo>
                <a:cubicBezTo>
                  <a:pt x="899" y="28"/>
                  <a:pt x="899" y="28"/>
                  <a:pt x="899" y="28"/>
                </a:cubicBezTo>
                <a:lnTo>
                  <a:pt x="901" y="29"/>
                </a:lnTo>
                <a:close/>
                <a:moveTo>
                  <a:pt x="996" y="182"/>
                </a:moveTo>
                <a:cubicBezTo>
                  <a:pt x="997" y="180"/>
                  <a:pt x="997" y="180"/>
                  <a:pt x="997" y="180"/>
                </a:cubicBezTo>
                <a:cubicBezTo>
                  <a:pt x="996" y="180"/>
                  <a:pt x="996" y="180"/>
                  <a:pt x="996" y="180"/>
                </a:cubicBezTo>
                <a:cubicBezTo>
                  <a:pt x="995" y="180"/>
                  <a:pt x="995" y="180"/>
                  <a:pt x="995" y="180"/>
                </a:cubicBezTo>
                <a:cubicBezTo>
                  <a:pt x="994" y="181"/>
                  <a:pt x="994" y="181"/>
                  <a:pt x="994" y="181"/>
                </a:cubicBezTo>
                <a:cubicBezTo>
                  <a:pt x="994" y="183"/>
                  <a:pt x="994" y="183"/>
                  <a:pt x="994" y="183"/>
                </a:cubicBezTo>
                <a:cubicBezTo>
                  <a:pt x="994" y="183"/>
                  <a:pt x="995" y="182"/>
                  <a:pt x="995" y="182"/>
                </a:cubicBezTo>
                <a:lnTo>
                  <a:pt x="996" y="182"/>
                </a:lnTo>
                <a:close/>
                <a:moveTo>
                  <a:pt x="987" y="173"/>
                </a:moveTo>
                <a:cubicBezTo>
                  <a:pt x="988" y="173"/>
                  <a:pt x="988" y="173"/>
                  <a:pt x="988" y="173"/>
                </a:cubicBezTo>
                <a:cubicBezTo>
                  <a:pt x="988" y="171"/>
                  <a:pt x="988" y="171"/>
                  <a:pt x="988" y="171"/>
                </a:cubicBezTo>
                <a:cubicBezTo>
                  <a:pt x="987" y="170"/>
                  <a:pt x="987" y="170"/>
                  <a:pt x="987" y="170"/>
                </a:cubicBezTo>
                <a:cubicBezTo>
                  <a:pt x="985" y="171"/>
                  <a:pt x="985" y="171"/>
                  <a:pt x="985" y="171"/>
                </a:cubicBezTo>
                <a:cubicBezTo>
                  <a:pt x="986" y="173"/>
                  <a:pt x="986" y="173"/>
                  <a:pt x="986" y="173"/>
                </a:cubicBezTo>
                <a:lnTo>
                  <a:pt x="987" y="173"/>
                </a:lnTo>
                <a:close/>
                <a:moveTo>
                  <a:pt x="940" y="82"/>
                </a:moveTo>
                <a:cubicBezTo>
                  <a:pt x="941" y="83"/>
                  <a:pt x="941" y="83"/>
                  <a:pt x="941" y="83"/>
                </a:cubicBezTo>
                <a:cubicBezTo>
                  <a:pt x="942" y="83"/>
                  <a:pt x="942" y="83"/>
                  <a:pt x="942" y="83"/>
                </a:cubicBezTo>
                <a:cubicBezTo>
                  <a:pt x="942" y="81"/>
                  <a:pt x="942" y="81"/>
                  <a:pt x="942" y="81"/>
                </a:cubicBezTo>
                <a:cubicBezTo>
                  <a:pt x="944" y="80"/>
                  <a:pt x="944" y="80"/>
                  <a:pt x="944" y="80"/>
                </a:cubicBezTo>
                <a:cubicBezTo>
                  <a:pt x="943" y="79"/>
                  <a:pt x="943" y="79"/>
                  <a:pt x="943" y="79"/>
                </a:cubicBezTo>
                <a:cubicBezTo>
                  <a:pt x="942" y="80"/>
                  <a:pt x="942" y="80"/>
                  <a:pt x="942" y="80"/>
                </a:cubicBezTo>
                <a:cubicBezTo>
                  <a:pt x="942" y="78"/>
                  <a:pt x="942" y="78"/>
                  <a:pt x="942" y="78"/>
                </a:cubicBezTo>
                <a:cubicBezTo>
                  <a:pt x="941" y="79"/>
                  <a:pt x="941" y="79"/>
                  <a:pt x="941" y="79"/>
                </a:cubicBezTo>
                <a:cubicBezTo>
                  <a:pt x="941" y="81"/>
                  <a:pt x="941" y="81"/>
                  <a:pt x="941" y="81"/>
                </a:cubicBezTo>
                <a:lnTo>
                  <a:pt x="940" y="82"/>
                </a:lnTo>
                <a:close/>
                <a:moveTo>
                  <a:pt x="1004" y="468"/>
                </a:moveTo>
                <a:cubicBezTo>
                  <a:pt x="1004" y="469"/>
                  <a:pt x="1004" y="469"/>
                  <a:pt x="1004" y="469"/>
                </a:cubicBezTo>
                <a:cubicBezTo>
                  <a:pt x="1004" y="470"/>
                  <a:pt x="1004" y="470"/>
                  <a:pt x="1004" y="470"/>
                </a:cubicBezTo>
                <a:cubicBezTo>
                  <a:pt x="1003" y="470"/>
                  <a:pt x="1003" y="470"/>
                  <a:pt x="1003" y="470"/>
                </a:cubicBezTo>
                <a:cubicBezTo>
                  <a:pt x="1002" y="470"/>
                  <a:pt x="1002" y="470"/>
                  <a:pt x="1002" y="470"/>
                </a:cubicBezTo>
                <a:cubicBezTo>
                  <a:pt x="1002" y="470"/>
                  <a:pt x="1002" y="470"/>
                  <a:pt x="1002" y="470"/>
                </a:cubicBezTo>
                <a:cubicBezTo>
                  <a:pt x="1002" y="471"/>
                  <a:pt x="1002" y="471"/>
                  <a:pt x="1002" y="471"/>
                </a:cubicBezTo>
                <a:cubicBezTo>
                  <a:pt x="1003" y="472"/>
                  <a:pt x="1003" y="472"/>
                  <a:pt x="1003" y="472"/>
                </a:cubicBezTo>
                <a:cubicBezTo>
                  <a:pt x="1004" y="471"/>
                  <a:pt x="1004" y="471"/>
                  <a:pt x="1004" y="471"/>
                </a:cubicBezTo>
                <a:cubicBezTo>
                  <a:pt x="1005" y="470"/>
                  <a:pt x="1005" y="470"/>
                  <a:pt x="1005" y="470"/>
                </a:cubicBezTo>
                <a:cubicBezTo>
                  <a:pt x="1005" y="469"/>
                  <a:pt x="1005" y="469"/>
                  <a:pt x="1005" y="469"/>
                </a:cubicBezTo>
                <a:lnTo>
                  <a:pt x="1004" y="468"/>
                </a:lnTo>
                <a:close/>
                <a:moveTo>
                  <a:pt x="1005" y="437"/>
                </a:moveTo>
                <a:cubicBezTo>
                  <a:pt x="1005" y="436"/>
                  <a:pt x="1005" y="436"/>
                  <a:pt x="1005" y="436"/>
                </a:cubicBezTo>
                <a:cubicBezTo>
                  <a:pt x="1003" y="437"/>
                  <a:pt x="1003" y="437"/>
                  <a:pt x="1003" y="437"/>
                </a:cubicBezTo>
                <a:cubicBezTo>
                  <a:pt x="1003" y="439"/>
                  <a:pt x="1003" y="439"/>
                  <a:pt x="1003" y="439"/>
                </a:cubicBezTo>
                <a:cubicBezTo>
                  <a:pt x="1003" y="439"/>
                  <a:pt x="1003" y="439"/>
                  <a:pt x="1003" y="439"/>
                </a:cubicBezTo>
                <a:cubicBezTo>
                  <a:pt x="1004" y="438"/>
                  <a:pt x="1004" y="438"/>
                  <a:pt x="1004" y="438"/>
                </a:cubicBezTo>
                <a:lnTo>
                  <a:pt x="1005" y="437"/>
                </a:lnTo>
                <a:close/>
                <a:moveTo>
                  <a:pt x="971" y="157"/>
                </a:moveTo>
                <a:cubicBezTo>
                  <a:pt x="971" y="157"/>
                  <a:pt x="970" y="158"/>
                  <a:pt x="970" y="158"/>
                </a:cubicBezTo>
                <a:cubicBezTo>
                  <a:pt x="972" y="159"/>
                  <a:pt x="972" y="159"/>
                  <a:pt x="972" y="159"/>
                </a:cubicBezTo>
                <a:cubicBezTo>
                  <a:pt x="973" y="158"/>
                  <a:pt x="973" y="158"/>
                  <a:pt x="973" y="158"/>
                </a:cubicBezTo>
                <a:cubicBezTo>
                  <a:pt x="973" y="157"/>
                  <a:pt x="973" y="157"/>
                  <a:pt x="973" y="157"/>
                </a:cubicBezTo>
                <a:lnTo>
                  <a:pt x="971" y="157"/>
                </a:lnTo>
                <a:close/>
                <a:moveTo>
                  <a:pt x="962" y="149"/>
                </a:moveTo>
                <a:cubicBezTo>
                  <a:pt x="963" y="150"/>
                  <a:pt x="963" y="150"/>
                  <a:pt x="963" y="150"/>
                </a:cubicBezTo>
                <a:cubicBezTo>
                  <a:pt x="964" y="149"/>
                  <a:pt x="964" y="149"/>
                  <a:pt x="964" y="149"/>
                </a:cubicBezTo>
                <a:cubicBezTo>
                  <a:pt x="963" y="149"/>
                  <a:pt x="963" y="149"/>
                  <a:pt x="963" y="149"/>
                </a:cubicBezTo>
                <a:lnTo>
                  <a:pt x="962" y="149"/>
                </a:lnTo>
                <a:close/>
                <a:moveTo>
                  <a:pt x="1086" y="59"/>
                </a:moveTo>
                <a:cubicBezTo>
                  <a:pt x="1086" y="60"/>
                  <a:pt x="1086" y="60"/>
                  <a:pt x="1086" y="60"/>
                </a:cubicBezTo>
                <a:cubicBezTo>
                  <a:pt x="1086" y="60"/>
                  <a:pt x="1086" y="60"/>
                  <a:pt x="1086" y="60"/>
                </a:cubicBezTo>
                <a:cubicBezTo>
                  <a:pt x="1087" y="60"/>
                  <a:pt x="1087" y="60"/>
                  <a:pt x="1087" y="60"/>
                </a:cubicBezTo>
                <a:lnTo>
                  <a:pt x="1086" y="59"/>
                </a:lnTo>
                <a:close/>
                <a:moveTo>
                  <a:pt x="945" y="78"/>
                </a:moveTo>
                <a:cubicBezTo>
                  <a:pt x="946" y="76"/>
                  <a:pt x="946" y="76"/>
                  <a:pt x="946" y="76"/>
                </a:cubicBezTo>
                <a:cubicBezTo>
                  <a:pt x="945" y="75"/>
                  <a:pt x="945" y="75"/>
                  <a:pt x="945" y="75"/>
                </a:cubicBezTo>
                <a:cubicBezTo>
                  <a:pt x="944" y="76"/>
                  <a:pt x="944" y="76"/>
                  <a:pt x="944" y="76"/>
                </a:cubicBezTo>
                <a:cubicBezTo>
                  <a:pt x="944" y="77"/>
                  <a:pt x="944" y="77"/>
                  <a:pt x="944" y="77"/>
                </a:cubicBezTo>
                <a:cubicBezTo>
                  <a:pt x="944" y="78"/>
                  <a:pt x="944" y="78"/>
                  <a:pt x="944" y="78"/>
                </a:cubicBezTo>
                <a:lnTo>
                  <a:pt x="945" y="78"/>
                </a:lnTo>
                <a:close/>
                <a:moveTo>
                  <a:pt x="942" y="76"/>
                </a:moveTo>
                <a:cubicBezTo>
                  <a:pt x="942" y="74"/>
                  <a:pt x="942" y="74"/>
                  <a:pt x="942" y="74"/>
                </a:cubicBezTo>
                <a:cubicBezTo>
                  <a:pt x="942" y="75"/>
                  <a:pt x="942" y="75"/>
                  <a:pt x="942" y="75"/>
                </a:cubicBezTo>
                <a:cubicBezTo>
                  <a:pt x="942" y="76"/>
                  <a:pt x="942" y="76"/>
                  <a:pt x="942" y="76"/>
                </a:cubicBezTo>
                <a:close/>
                <a:moveTo>
                  <a:pt x="950" y="93"/>
                </a:moveTo>
                <a:cubicBezTo>
                  <a:pt x="949" y="92"/>
                  <a:pt x="949" y="92"/>
                  <a:pt x="949" y="92"/>
                </a:cubicBezTo>
                <a:cubicBezTo>
                  <a:pt x="948" y="91"/>
                  <a:pt x="948" y="91"/>
                  <a:pt x="948" y="91"/>
                </a:cubicBezTo>
                <a:cubicBezTo>
                  <a:pt x="946" y="92"/>
                  <a:pt x="946" y="92"/>
                  <a:pt x="946" y="92"/>
                </a:cubicBezTo>
                <a:cubicBezTo>
                  <a:pt x="945" y="94"/>
                  <a:pt x="945" y="94"/>
                  <a:pt x="945" y="94"/>
                </a:cubicBezTo>
                <a:cubicBezTo>
                  <a:pt x="946" y="95"/>
                  <a:pt x="946" y="95"/>
                  <a:pt x="946" y="95"/>
                </a:cubicBezTo>
                <a:cubicBezTo>
                  <a:pt x="946" y="97"/>
                  <a:pt x="946" y="97"/>
                  <a:pt x="946" y="97"/>
                </a:cubicBezTo>
                <a:cubicBezTo>
                  <a:pt x="946" y="97"/>
                  <a:pt x="947" y="97"/>
                  <a:pt x="947" y="97"/>
                </a:cubicBezTo>
                <a:cubicBezTo>
                  <a:pt x="947" y="96"/>
                  <a:pt x="947" y="96"/>
                  <a:pt x="947" y="96"/>
                </a:cubicBezTo>
                <a:cubicBezTo>
                  <a:pt x="948" y="95"/>
                  <a:pt x="948" y="95"/>
                  <a:pt x="948" y="95"/>
                </a:cubicBezTo>
                <a:cubicBezTo>
                  <a:pt x="949" y="96"/>
                  <a:pt x="949" y="96"/>
                  <a:pt x="949" y="96"/>
                </a:cubicBezTo>
                <a:cubicBezTo>
                  <a:pt x="951" y="96"/>
                  <a:pt x="951" y="96"/>
                  <a:pt x="951" y="96"/>
                </a:cubicBezTo>
                <a:cubicBezTo>
                  <a:pt x="952" y="94"/>
                  <a:pt x="952" y="94"/>
                  <a:pt x="952" y="94"/>
                </a:cubicBezTo>
                <a:cubicBezTo>
                  <a:pt x="951" y="93"/>
                  <a:pt x="951" y="93"/>
                  <a:pt x="951" y="93"/>
                </a:cubicBezTo>
                <a:lnTo>
                  <a:pt x="950" y="93"/>
                </a:lnTo>
                <a:close/>
                <a:moveTo>
                  <a:pt x="972" y="128"/>
                </a:moveTo>
                <a:cubicBezTo>
                  <a:pt x="972" y="129"/>
                  <a:pt x="972" y="129"/>
                  <a:pt x="972" y="129"/>
                </a:cubicBezTo>
                <a:cubicBezTo>
                  <a:pt x="973" y="129"/>
                  <a:pt x="973" y="129"/>
                  <a:pt x="973" y="129"/>
                </a:cubicBezTo>
                <a:cubicBezTo>
                  <a:pt x="974" y="128"/>
                  <a:pt x="974" y="128"/>
                  <a:pt x="974" y="128"/>
                </a:cubicBezTo>
                <a:cubicBezTo>
                  <a:pt x="973" y="127"/>
                  <a:pt x="973" y="127"/>
                  <a:pt x="973" y="127"/>
                </a:cubicBezTo>
                <a:lnTo>
                  <a:pt x="972" y="128"/>
                </a:lnTo>
                <a:close/>
                <a:moveTo>
                  <a:pt x="887" y="113"/>
                </a:moveTo>
                <a:cubicBezTo>
                  <a:pt x="886" y="114"/>
                  <a:pt x="886" y="114"/>
                  <a:pt x="886" y="114"/>
                </a:cubicBezTo>
                <a:cubicBezTo>
                  <a:pt x="885" y="114"/>
                  <a:pt x="885" y="114"/>
                  <a:pt x="885" y="114"/>
                </a:cubicBezTo>
                <a:cubicBezTo>
                  <a:pt x="884" y="116"/>
                  <a:pt x="884" y="116"/>
                  <a:pt x="884" y="116"/>
                </a:cubicBezTo>
                <a:cubicBezTo>
                  <a:pt x="883" y="117"/>
                  <a:pt x="883" y="117"/>
                  <a:pt x="883" y="117"/>
                </a:cubicBezTo>
                <a:cubicBezTo>
                  <a:pt x="884" y="117"/>
                  <a:pt x="884" y="117"/>
                  <a:pt x="884" y="117"/>
                </a:cubicBezTo>
                <a:cubicBezTo>
                  <a:pt x="885" y="117"/>
                  <a:pt x="885" y="117"/>
                  <a:pt x="885" y="117"/>
                </a:cubicBezTo>
                <a:cubicBezTo>
                  <a:pt x="887" y="116"/>
                  <a:pt x="887" y="116"/>
                  <a:pt x="887" y="116"/>
                </a:cubicBezTo>
                <a:cubicBezTo>
                  <a:pt x="889" y="115"/>
                  <a:pt x="889" y="115"/>
                  <a:pt x="889" y="115"/>
                </a:cubicBezTo>
                <a:cubicBezTo>
                  <a:pt x="889" y="114"/>
                  <a:pt x="889" y="114"/>
                  <a:pt x="889" y="114"/>
                </a:cubicBezTo>
                <a:cubicBezTo>
                  <a:pt x="888" y="113"/>
                  <a:pt x="888" y="113"/>
                  <a:pt x="888" y="113"/>
                </a:cubicBezTo>
                <a:lnTo>
                  <a:pt x="887" y="113"/>
                </a:lnTo>
                <a:close/>
                <a:moveTo>
                  <a:pt x="873" y="253"/>
                </a:moveTo>
                <a:cubicBezTo>
                  <a:pt x="871" y="251"/>
                  <a:pt x="871" y="251"/>
                  <a:pt x="871" y="251"/>
                </a:cubicBezTo>
                <a:cubicBezTo>
                  <a:pt x="870" y="251"/>
                  <a:pt x="870" y="251"/>
                  <a:pt x="870" y="251"/>
                </a:cubicBezTo>
                <a:cubicBezTo>
                  <a:pt x="869" y="251"/>
                  <a:pt x="869" y="251"/>
                  <a:pt x="869" y="251"/>
                </a:cubicBezTo>
                <a:cubicBezTo>
                  <a:pt x="871" y="252"/>
                  <a:pt x="871" y="252"/>
                  <a:pt x="871" y="252"/>
                </a:cubicBezTo>
                <a:cubicBezTo>
                  <a:pt x="872" y="254"/>
                  <a:pt x="872" y="254"/>
                  <a:pt x="872" y="254"/>
                </a:cubicBezTo>
                <a:cubicBezTo>
                  <a:pt x="874" y="254"/>
                  <a:pt x="874" y="254"/>
                  <a:pt x="874" y="254"/>
                </a:cubicBezTo>
                <a:cubicBezTo>
                  <a:pt x="876" y="255"/>
                  <a:pt x="876" y="255"/>
                  <a:pt x="876" y="255"/>
                </a:cubicBezTo>
                <a:cubicBezTo>
                  <a:pt x="875" y="254"/>
                  <a:pt x="875" y="254"/>
                  <a:pt x="875" y="254"/>
                </a:cubicBezTo>
                <a:lnTo>
                  <a:pt x="873" y="253"/>
                </a:lnTo>
                <a:close/>
                <a:moveTo>
                  <a:pt x="905" y="151"/>
                </a:moveTo>
                <a:cubicBezTo>
                  <a:pt x="904" y="151"/>
                  <a:pt x="904" y="151"/>
                  <a:pt x="904" y="151"/>
                </a:cubicBezTo>
                <a:cubicBezTo>
                  <a:pt x="902" y="151"/>
                  <a:pt x="902" y="151"/>
                  <a:pt x="902" y="151"/>
                </a:cubicBezTo>
                <a:cubicBezTo>
                  <a:pt x="902" y="152"/>
                  <a:pt x="902" y="152"/>
                  <a:pt x="902" y="152"/>
                </a:cubicBezTo>
                <a:cubicBezTo>
                  <a:pt x="902" y="154"/>
                  <a:pt x="902" y="154"/>
                  <a:pt x="902" y="154"/>
                </a:cubicBezTo>
                <a:cubicBezTo>
                  <a:pt x="903" y="156"/>
                  <a:pt x="903" y="156"/>
                  <a:pt x="903" y="156"/>
                </a:cubicBezTo>
                <a:cubicBezTo>
                  <a:pt x="904" y="157"/>
                  <a:pt x="904" y="157"/>
                  <a:pt x="904" y="157"/>
                </a:cubicBezTo>
                <a:cubicBezTo>
                  <a:pt x="905" y="156"/>
                  <a:pt x="905" y="156"/>
                  <a:pt x="905" y="156"/>
                </a:cubicBezTo>
                <a:cubicBezTo>
                  <a:pt x="907" y="157"/>
                  <a:pt x="907" y="157"/>
                  <a:pt x="907" y="157"/>
                </a:cubicBezTo>
                <a:cubicBezTo>
                  <a:pt x="908" y="157"/>
                  <a:pt x="908" y="157"/>
                  <a:pt x="908" y="157"/>
                </a:cubicBezTo>
                <a:cubicBezTo>
                  <a:pt x="909" y="157"/>
                  <a:pt x="909" y="157"/>
                  <a:pt x="909" y="157"/>
                </a:cubicBezTo>
                <a:cubicBezTo>
                  <a:pt x="911" y="158"/>
                  <a:pt x="911" y="158"/>
                  <a:pt x="911" y="158"/>
                </a:cubicBezTo>
                <a:cubicBezTo>
                  <a:pt x="912" y="156"/>
                  <a:pt x="912" y="156"/>
                  <a:pt x="912" y="156"/>
                </a:cubicBezTo>
                <a:cubicBezTo>
                  <a:pt x="911" y="155"/>
                  <a:pt x="911" y="155"/>
                  <a:pt x="911" y="155"/>
                </a:cubicBezTo>
                <a:cubicBezTo>
                  <a:pt x="911" y="153"/>
                  <a:pt x="911" y="153"/>
                  <a:pt x="911" y="153"/>
                </a:cubicBezTo>
                <a:cubicBezTo>
                  <a:pt x="909" y="153"/>
                  <a:pt x="909" y="153"/>
                  <a:pt x="909" y="153"/>
                </a:cubicBezTo>
                <a:cubicBezTo>
                  <a:pt x="908" y="151"/>
                  <a:pt x="908" y="151"/>
                  <a:pt x="908" y="151"/>
                </a:cubicBezTo>
                <a:cubicBezTo>
                  <a:pt x="907" y="151"/>
                  <a:pt x="907" y="151"/>
                  <a:pt x="907" y="151"/>
                </a:cubicBezTo>
                <a:cubicBezTo>
                  <a:pt x="906" y="152"/>
                  <a:pt x="906" y="152"/>
                  <a:pt x="906" y="152"/>
                </a:cubicBezTo>
                <a:cubicBezTo>
                  <a:pt x="906" y="151"/>
                  <a:pt x="906" y="151"/>
                  <a:pt x="906" y="151"/>
                </a:cubicBezTo>
                <a:cubicBezTo>
                  <a:pt x="906" y="150"/>
                  <a:pt x="906" y="150"/>
                  <a:pt x="906" y="150"/>
                </a:cubicBezTo>
                <a:cubicBezTo>
                  <a:pt x="905" y="150"/>
                  <a:pt x="905" y="150"/>
                  <a:pt x="905" y="150"/>
                </a:cubicBezTo>
                <a:lnTo>
                  <a:pt x="905" y="151"/>
                </a:lnTo>
                <a:close/>
                <a:moveTo>
                  <a:pt x="852" y="233"/>
                </a:moveTo>
                <a:cubicBezTo>
                  <a:pt x="852" y="234"/>
                  <a:pt x="852" y="234"/>
                  <a:pt x="852" y="234"/>
                </a:cubicBezTo>
                <a:cubicBezTo>
                  <a:pt x="853" y="235"/>
                  <a:pt x="853" y="235"/>
                  <a:pt x="853" y="235"/>
                </a:cubicBezTo>
                <a:cubicBezTo>
                  <a:pt x="854" y="236"/>
                  <a:pt x="854" y="236"/>
                  <a:pt x="854" y="236"/>
                </a:cubicBezTo>
                <a:cubicBezTo>
                  <a:pt x="854" y="237"/>
                  <a:pt x="854" y="237"/>
                  <a:pt x="854" y="237"/>
                </a:cubicBezTo>
                <a:cubicBezTo>
                  <a:pt x="855" y="238"/>
                  <a:pt x="855" y="238"/>
                  <a:pt x="855" y="238"/>
                </a:cubicBezTo>
                <a:cubicBezTo>
                  <a:pt x="856" y="238"/>
                  <a:pt x="856" y="238"/>
                  <a:pt x="856" y="238"/>
                </a:cubicBezTo>
                <a:cubicBezTo>
                  <a:pt x="856" y="239"/>
                  <a:pt x="856" y="239"/>
                  <a:pt x="856" y="239"/>
                </a:cubicBezTo>
                <a:cubicBezTo>
                  <a:pt x="857" y="238"/>
                  <a:pt x="857" y="238"/>
                  <a:pt x="857" y="238"/>
                </a:cubicBezTo>
                <a:cubicBezTo>
                  <a:pt x="858" y="237"/>
                  <a:pt x="858" y="237"/>
                  <a:pt x="858" y="237"/>
                </a:cubicBezTo>
                <a:cubicBezTo>
                  <a:pt x="858" y="237"/>
                  <a:pt x="858" y="237"/>
                  <a:pt x="858" y="237"/>
                </a:cubicBezTo>
                <a:cubicBezTo>
                  <a:pt x="858" y="236"/>
                  <a:pt x="858" y="236"/>
                  <a:pt x="858" y="236"/>
                </a:cubicBezTo>
                <a:cubicBezTo>
                  <a:pt x="857" y="236"/>
                  <a:pt x="857" y="236"/>
                  <a:pt x="857" y="236"/>
                </a:cubicBezTo>
                <a:cubicBezTo>
                  <a:pt x="858" y="235"/>
                  <a:pt x="858" y="235"/>
                  <a:pt x="858" y="235"/>
                </a:cubicBezTo>
                <a:cubicBezTo>
                  <a:pt x="858" y="234"/>
                  <a:pt x="858" y="234"/>
                  <a:pt x="858" y="234"/>
                </a:cubicBezTo>
                <a:cubicBezTo>
                  <a:pt x="857" y="233"/>
                  <a:pt x="857" y="233"/>
                  <a:pt x="857" y="233"/>
                </a:cubicBezTo>
                <a:cubicBezTo>
                  <a:pt x="855" y="233"/>
                  <a:pt x="855" y="233"/>
                  <a:pt x="855" y="233"/>
                </a:cubicBezTo>
                <a:cubicBezTo>
                  <a:pt x="855" y="232"/>
                  <a:pt x="855" y="232"/>
                  <a:pt x="855" y="232"/>
                </a:cubicBezTo>
                <a:cubicBezTo>
                  <a:pt x="854" y="232"/>
                  <a:pt x="854" y="232"/>
                  <a:pt x="854" y="232"/>
                </a:cubicBezTo>
                <a:cubicBezTo>
                  <a:pt x="853" y="232"/>
                  <a:pt x="853" y="232"/>
                  <a:pt x="853" y="232"/>
                </a:cubicBezTo>
                <a:cubicBezTo>
                  <a:pt x="852" y="231"/>
                  <a:pt x="852" y="231"/>
                  <a:pt x="852" y="231"/>
                </a:cubicBezTo>
                <a:cubicBezTo>
                  <a:pt x="851" y="232"/>
                  <a:pt x="851" y="232"/>
                  <a:pt x="851" y="232"/>
                </a:cubicBezTo>
                <a:cubicBezTo>
                  <a:pt x="851" y="232"/>
                  <a:pt x="851" y="232"/>
                  <a:pt x="851" y="232"/>
                </a:cubicBezTo>
                <a:cubicBezTo>
                  <a:pt x="851" y="233"/>
                  <a:pt x="851" y="233"/>
                  <a:pt x="851" y="233"/>
                </a:cubicBezTo>
                <a:lnTo>
                  <a:pt x="852" y="233"/>
                </a:lnTo>
                <a:close/>
                <a:moveTo>
                  <a:pt x="963" y="245"/>
                </a:moveTo>
                <a:cubicBezTo>
                  <a:pt x="963" y="245"/>
                  <a:pt x="963" y="245"/>
                  <a:pt x="963" y="245"/>
                </a:cubicBezTo>
                <a:cubicBezTo>
                  <a:pt x="962" y="248"/>
                  <a:pt x="962" y="248"/>
                  <a:pt x="962" y="248"/>
                </a:cubicBezTo>
                <a:cubicBezTo>
                  <a:pt x="962" y="250"/>
                  <a:pt x="962" y="250"/>
                  <a:pt x="962" y="250"/>
                </a:cubicBezTo>
                <a:cubicBezTo>
                  <a:pt x="963" y="252"/>
                  <a:pt x="963" y="252"/>
                  <a:pt x="963" y="252"/>
                </a:cubicBezTo>
                <a:cubicBezTo>
                  <a:pt x="963" y="251"/>
                  <a:pt x="963" y="251"/>
                  <a:pt x="963" y="251"/>
                </a:cubicBezTo>
                <a:cubicBezTo>
                  <a:pt x="963" y="250"/>
                  <a:pt x="963" y="250"/>
                  <a:pt x="963" y="250"/>
                </a:cubicBezTo>
                <a:cubicBezTo>
                  <a:pt x="964" y="247"/>
                  <a:pt x="964" y="247"/>
                  <a:pt x="964" y="247"/>
                </a:cubicBezTo>
                <a:lnTo>
                  <a:pt x="963" y="245"/>
                </a:lnTo>
                <a:close/>
                <a:moveTo>
                  <a:pt x="852" y="225"/>
                </a:moveTo>
                <a:cubicBezTo>
                  <a:pt x="851" y="224"/>
                  <a:pt x="851" y="224"/>
                  <a:pt x="851" y="224"/>
                </a:cubicBezTo>
                <a:cubicBezTo>
                  <a:pt x="850" y="224"/>
                  <a:pt x="850" y="224"/>
                  <a:pt x="850" y="224"/>
                </a:cubicBezTo>
                <a:cubicBezTo>
                  <a:pt x="849" y="225"/>
                  <a:pt x="849" y="225"/>
                  <a:pt x="849" y="225"/>
                </a:cubicBezTo>
                <a:cubicBezTo>
                  <a:pt x="851" y="226"/>
                  <a:pt x="851" y="226"/>
                  <a:pt x="851" y="226"/>
                </a:cubicBezTo>
                <a:lnTo>
                  <a:pt x="852" y="225"/>
                </a:lnTo>
                <a:close/>
                <a:moveTo>
                  <a:pt x="904" y="257"/>
                </a:moveTo>
                <a:cubicBezTo>
                  <a:pt x="905" y="258"/>
                  <a:pt x="905" y="258"/>
                  <a:pt x="905" y="258"/>
                </a:cubicBezTo>
                <a:cubicBezTo>
                  <a:pt x="906" y="258"/>
                  <a:pt x="906" y="258"/>
                  <a:pt x="906" y="258"/>
                </a:cubicBezTo>
                <a:cubicBezTo>
                  <a:pt x="907" y="258"/>
                  <a:pt x="907" y="258"/>
                  <a:pt x="907" y="258"/>
                </a:cubicBezTo>
                <a:cubicBezTo>
                  <a:pt x="907" y="258"/>
                  <a:pt x="907" y="258"/>
                  <a:pt x="907" y="258"/>
                </a:cubicBezTo>
                <a:cubicBezTo>
                  <a:pt x="908" y="257"/>
                  <a:pt x="908" y="257"/>
                  <a:pt x="908" y="257"/>
                </a:cubicBezTo>
                <a:cubicBezTo>
                  <a:pt x="908" y="256"/>
                  <a:pt x="908" y="256"/>
                  <a:pt x="908" y="256"/>
                </a:cubicBezTo>
                <a:cubicBezTo>
                  <a:pt x="907" y="255"/>
                  <a:pt x="907" y="255"/>
                  <a:pt x="907" y="255"/>
                </a:cubicBezTo>
                <a:cubicBezTo>
                  <a:pt x="905" y="254"/>
                  <a:pt x="905" y="254"/>
                  <a:pt x="905" y="254"/>
                </a:cubicBezTo>
                <a:cubicBezTo>
                  <a:pt x="905" y="254"/>
                  <a:pt x="905" y="254"/>
                  <a:pt x="905" y="254"/>
                </a:cubicBezTo>
                <a:cubicBezTo>
                  <a:pt x="903" y="253"/>
                  <a:pt x="903" y="253"/>
                  <a:pt x="903" y="253"/>
                </a:cubicBezTo>
                <a:cubicBezTo>
                  <a:pt x="902" y="253"/>
                  <a:pt x="902" y="253"/>
                  <a:pt x="902" y="253"/>
                </a:cubicBezTo>
                <a:cubicBezTo>
                  <a:pt x="901" y="253"/>
                  <a:pt x="901" y="253"/>
                  <a:pt x="901" y="253"/>
                </a:cubicBezTo>
                <a:cubicBezTo>
                  <a:pt x="901" y="254"/>
                  <a:pt x="901" y="254"/>
                  <a:pt x="901" y="254"/>
                </a:cubicBezTo>
                <a:cubicBezTo>
                  <a:pt x="904" y="254"/>
                  <a:pt x="904" y="254"/>
                  <a:pt x="904" y="254"/>
                </a:cubicBezTo>
                <a:cubicBezTo>
                  <a:pt x="904" y="255"/>
                  <a:pt x="904" y="255"/>
                  <a:pt x="904" y="255"/>
                </a:cubicBezTo>
                <a:cubicBezTo>
                  <a:pt x="904" y="256"/>
                  <a:pt x="904" y="256"/>
                  <a:pt x="904" y="256"/>
                </a:cubicBezTo>
                <a:lnTo>
                  <a:pt x="904" y="257"/>
                </a:lnTo>
                <a:close/>
                <a:moveTo>
                  <a:pt x="959" y="225"/>
                </a:moveTo>
                <a:cubicBezTo>
                  <a:pt x="958" y="228"/>
                  <a:pt x="958" y="228"/>
                  <a:pt x="958" y="228"/>
                </a:cubicBezTo>
                <a:cubicBezTo>
                  <a:pt x="959" y="228"/>
                  <a:pt x="959" y="228"/>
                  <a:pt x="959" y="228"/>
                </a:cubicBezTo>
                <a:cubicBezTo>
                  <a:pt x="959" y="227"/>
                  <a:pt x="959" y="227"/>
                  <a:pt x="959" y="227"/>
                </a:cubicBezTo>
                <a:cubicBezTo>
                  <a:pt x="961" y="226"/>
                  <a:pt x="961" y="226"/>
                  <a:pt x="961" y="226"/>
                </a:cubicBezTo>
                <a:cubicBezTo>
                  <a:pt x="961" y="225"/>
                  <a:pt x="961" y="225"/>
                  <a:pt x="961" y="225"/>
                </a:cubicBezTo>
                <a:lnTo>
                  <a:pt x="959" y="225"/>
                </a:lnTo>
                <a:close/>
                <a:moveTo>
                  <a:pt x="955" y="265"/>
                </a:moveTo>
                <a:cubicBezTo>
                  <a:pt x="953" y="266"/>
                  <a:pt x="953" y="266"/>
                  <a:pt x="953" y="266"/>
                </a:cubicBezTo>
                <a:cubicBezTo>
                  <a:pt x="952" y="267"/>
                  <a:pt x="952" y="267"/>
                  <a:pt x="952" y="267"/>
                </a:cubicBezTo>
                <a:cubicBezTo>
                  <a:pt x="952" y="267"/>
                  <a:pt x="952" y="267"/>
                  <a:pt x="952" y="267"/>
                </a:cubicBezTo>
                <a:cubicBezTo>
                  <a:pt x="954" y="267"/>
                  <a:pt x="954" y="267"/>
                  <a:pt x="954" y="267"/>
                </a:cubicBezTo>
                <a:cubicBezTo>
                  <a:pt x="956" y="269"/>
                  <a:pt x="956" y="269"/>
                  <a:pt x="956" y="269"/>
                </a:cubicBezTo>
                <a:cubicBezTo>
                  <a:pt x="957" y="268"/>
                  <a:pt x="957" y="268"/>
                  <a:pt x="957" y="268"/>
                </a:cubicBezTo>
                <a:cubicBezTo>
                  <a:pt x="957" y="267"/>
                  <a:pt x="957" y="267"/>
                  <a:pt x="957" y="267"/>
                </a:cubicBezTo>
                <a:cubicBezTo>
                  <a:pt x="958" y="266"/>
                  <a:pt x="958" y="266"/>
                  <a:pt x="958" y="266"/>
                </a:cubicBezTo>
                <a:cubicBezTo>
                  <a:pt x="958" y="265"/>
                  <a:pt x="958" y="265"/>
                  <a:pt x="958" y="265"/>
                </a:cubicBezTo>
                <a:cubicBezTo>
                  <a:pt x="957" y="265"/>
                  <a:pt x="957" y="265"/>
                  <a:pt x="957" y="265"/>
                </a:cubicBezTo>
                <a:lnTo>
                  <a:pt x="955" y="265"/>
                </a:lnTo>
                <a:close/>
                <a:moveTo>
                  <a:pt x="950" y="280"/>
                </a:moveTo>
                <a:cubicBezTo>
                  <a:pt x="950" y="279"/>
                  <a:pt x="950" y="279"/>
                  <a:pt x="950" y="279"/>
                </a:cubicBezTo>
                <a:cubicBezTo>
                  <a:pt x="950" y="278"/>
                  <a:pt x="950" y="278"/>
                  <a:pt x="950" y="278"/>
                </a:cubicBezTo>
                <a:cubicBezTo>
                  <a:pt x="949" y="277"/>
                  <a:pt x="949" y="277"/>
                  <a:pt x="949" y="277"/>
                </a:cubicBezTo>
                <a:cubicBezTo>
                  <a:pt x="949" y="276"/>
                  <a:pt x="949" y="276"/>
                  <a:pt x="949" y="276"/>
                </a:cubicBezTo>
                <a:cubicBezTo>
                  <a:pt x="948" y="274"/>
                  <a:pt x="948" y="274"/>
                  <a:pt x="948" y="274"/>
                </a:cubicBezTo>
                <a:cubicBezTo>
                  <a:pt x="947" y="275"/>
                  <a:pt x="947" y="275"/>
                  <a:pt x="947" y="275"/>
                </a:cubicBezTo>
                <a:cubicBezTo>
                  <a:pt x="947" y="276"/>
                  <a:pt x="947" y="276"/>
                  <a:pt x="947" y="276"/>
                </a:cubicBezTo>
                <a:cubicBezTo>
                  <a:pt x="948" y="277"/>
                  <a:pt x="948" y="277"/>
                  <a:pt x="948" y="277"/>
                </a:cubicBezTo>
                <a:cubicBezTo>
                  <a:pt x="948" y="278"/>
                  <a:pt x="948" y="278"/>
                  <a:pt x="948" y="278"/>
                </a:cubicBezTo>
                <a:lnTo>
                  <a:pt x="950" y="280"/>
                </a:lnTo>
                <a:close/>
                <a:moveTo>
                  <a:pt x="919" y="294"/>
                </a:moveTo>
                <a:cubicBezTo>
                  <a:pt x="917" y="295"/>
                  <a:pt x="917" y="295"/>
                  <a:pt x="917" y="295"/>
                </a:cubicBezTo>
                <a:cubicBezTo>
                  <a:pt x="915" y="296"/>
                  <a:pt x="915" y="296"/>
                  <a:pt x="915" y="296"/>
                </a:cubicBezTo>
                <a:cubicBezTo>
                  <a:pt x="915" y="297"/>
                  <a:pt x="915" y="297"/>
                  <a:pt x="915" y="297"/>
                </a:cubicBezTo>
                <a:cubicBezTo>
                  <a:pt x="914" y="298"/>
                  <a:pt x="914" y="298"/>
                  <a:pt x="914" y="298"/>
                </a:cubicBezTo>
                <a:cubicBezTo>
                  <a:pt x="913" y="300"/>
                  <a:pt x="913" y="300"/>
                  <a:pt x="913" y="300"/>
                </a:cubicBezTo>
                <a:cubicBezTo>
                  <a:pt x="913" y="301"/>
                  <a:pt x="913" y="301"/>
                  <a:pt x="913" y="301"/>
                </a:cubicBezTo>
                <a:cubicBezTo>
                  <a:pt x="914" y="301"/>
                  <a:pt x="914" y="301"/>
                  <a:pt x="914" y="301"/>
                </a:cubicBezTo>
                <a:cubicBezTo>
                  <a:pt x="916" y="300"/>
                  <a:pt x="916" y="300"/>
                  <a:pt x="916" y="300"/>
                </a:cubicBezTo>
                <a:cubicBezTo>
                  <a:pt x="917" y="300"/>
                  <a:pt x="917" y="300"/>
                  <a:pt x="917" y="300"/>
                </a:cubicBezTo>
                <a:cubicBezTo>
                  <a:pt x="918" y="298"/>
                  <a:pt x="918" y="298"/>
                  <a:pt x="918" y="298"/>
                </a:cubicBezTo>
                <a:cubicBezTo>
                  <a:pt x="920" y="297"/>
                  <a:pt x="920" y="297"/>
                  <a:pt x="920" y="297"/>
                </a:cubicBezTo>
                <a:cubicBezTo>
                  <a:pt x="920" y="296"/>
                  <a:pt x="920" y="296"/>
                  <a:pt x="920" y="296"/>
                </a:cubicBezTo>
                <a:cubicBezTo>
                  <a:pt x="919" y="296"/>
                  <a:pt x="919" y="296"/>
                  <a:pt x="919" y="296"/>
                </a:cubicBezTo>
                <a:cubicBezTo>
                  <a:pt x="919" y="295"/>
                  <a:pt x="919" y="295"/>
                  <a:pt x="919" y="295"/>
                </a:cubicBezTo>
                <a:lnTo>
                  <a:pt x="919" y="294"/>
                </a:lnTo>
                <a:close/>
                <a:moveTo>
                  <a:pt x="945" y="280"/>
                </a:moveTo>
                <a:cubicBezTo>
                  <a:pt x="944" y="280"/>
                  <a:pt x="944" y="280"/>
                  <a:pt x="944" y="280"/>
                </a:cubicBezTo>
                <a:cubicBezTo>
                  <a:pt x="944" y="281"/>
                  <a:pt x="944" y="281"/>
                  <a:pt x="944" y="281"/>
                </a:cubicBezTo>
                <a:cubicBezTo>
                  <a:pt x="945" y="283"/>
                  <a:pt x="945" y="283"/>
                  <a:pt x="945" y="283"/>
                </a:cubicBezTo>
                <a:cubicBezTo>
                  <a:pt x="946" y="283"/>
                  <a:pt x="946" y="283"/>
                  <a:pt x="946" y="283"/>
                </a:cubicBezTo>
                <a:cubicBezTo>
                  <a:pt x="947" y="284"/>
                  <a:pt x="947" y="284"/>
                  <a:pt x="947" y="284"/>
                </a:cubicBezTo>
                <a:cubicBezTo>
                  <a:pt x="947" y="285"/>
                  <a:pt x="947" y="285"/>
                  <a:pt x="947" y="285"/>
                </a:cubicBezTo>
                <a:cubicBezTo>
                  <a:pt x="948" y="286"/>
                  <a:pt x="948" y="286"/>
                  <a:pt x="948" y="286"/>
                </a:cubicBezTo>
                <a:cubicBezTo>
                  <a:pt x="949" y="286"/>
                  <a:pt x="949" y="286"/>
                  <a:pt x="949" y="286"/>
                </a:cubicBezTo>
                <a:cubicBezTo>
                  <a:pt x="949" y="285"/>
                  <a:pt x="949" y="285"/>
                  <a:pt x="949" y="285"/>
                </a:cubicBezTo>
                <a:cubicBezTo>
                  <a:pt x="950" y="284"/>
                  <a:pt x="950" y="284"/>
                  <a:pt x="950" y="284"/>
                </a:cubicBezTo>
                <a:cubicBezTo>
                  <a:pt x="950" y="283"/>
                  <a:pt x="950" y="283"/>
                  <a:pt x="950" y="283"/>
                </a:cubicBezTo>
                <a:cubicBezTo>
                  <a:pt x="951" y="282"/>
                  <a:pt x="951" y="282"/>
                  <a:pt x="951" y="282"/>
                </a:cubicBezTo>
                <a:cubicBezTo>
                  <a:pt x="951" y="281"/>
                  <a:pt x="951" y="281"/>
                  <a:pt x="951" y="281"/>
                </a:cubicBezTo>
                <a:cubicBezTo>
                  <a:pt x="949" y="280"/>
                  <a:pt x="949" y="280"/>
                  <a:pt x="949" y="280"/>
                </a:cubicBezTo>
                <a:cubicBezTo>
                  <a:pt x="946" y="280"/>
                  <a:pt x="946" y="280"/>
                  <a:pt x="946" y="280"/>
                </a:cubicBezTo>
                <a:lnTo>
                  <a:pt x="945" y="280"/>
                </a:lnTo>
                <a:close/>
                <a:moveTo>
                  <a:pt x="892" y="106"/>
                </a:moveTo>
                <a:cubicBezTo>
                  <a:pt x="891" y="107"/>
                  <a:pt x="891" y="107"/>
                  <a:pt x="891" y="107"/>
                </a:cubicBezTo>
                <a:cubicBezTo>
                  <a:pt x="891" y="108"/>
                  <a:pt x="891" y="108"/>
                  <a:pt x="891" y="108"/>
                </a:cubicBezTo>
                <a:cubicBezTo>
                  <a:pt x="891" y="108"/>
                  <a:pt x="891" y="108"/>
                  <a:pt x="891" y="108"/>
                </a:cubicBezTo>
                <a:lnTo>
                  <a:pt x="892" y="106"/>
                </a:lnTo>
                <a:close/>
                <a:moveTo>
                  <a:pt x="997" y="453"/>
                </a:moveTo>
                <a:cubicBezTo>
                  <a:pt x="997" y="454"/>
                  <a:pt x="997" y="454"/>
                  <a:pt x="997" y="454"/>
                </a:cubicBezTo>
                <a:cubicBezTo>
                  <a:pt x="997" y="455"/>
                  <a:pt x="997" y="455"/>
                  <a:pt x="997" y="455"/>
                </a:cubicBezTo>
                <a:cubicBezTo>
                  <a:pt x="998" y="454"/>
                  <a:pt x="998" y="454"/>
                  <a:pt x="998" y="454"/>
                </a:cubicBezTo>
                <a:cubicBezTo>
                  <a:pt x="998" y="454"/>
                  <a:pt x="998" y="454"/>
                  <a:pt x="998" y="454"/>
                </a:cubicBezTo>
                <a:cubicBezTo>
                  <a:pt x="998" y="453"/>
                  <a:pt x="998" y="453"/>
                  <a:pt x="998" y="453"/>
                </a:cubicBezTo>
                <a:cubicBezTo>
                  <a:pt x="998" y="453"/>
                  <a:pt x="998" y="453"/>
                  <a:pt x="998" y="453"/>
                </a:cubicBezTo>
                <a:lnTo>
                  <a:pt x="997" y="453"/>
                </a:lnTo>
                <a:close/>
                <a:moveTo>
                  <a:pt x="875" y="136"/>
                </a:moveTo>
                <a:cubicBezTo>
                  <a:pt x="875" y="135"/>
                  <a:pt x="875" y="135"/>
                  <a:pt x="875" y="135"/>
                </a:cubicBezTo>
                <a:cubicBezTo>
                  <a:pt x="874" y="134"/>
                  <a:pt x="874" y="134"/>
                  <a:pt x="874" y="134"/>
                </a:cubicBezTo>
                <a:cubicBezTo>
                  <a:pt x="873" y="134"/>
                  <a:pt x="873" y="134"/>
                  <a:pt x="873" y="134"/>
                </a:cubicBezTo>
                <a:cubicBezTo>
                  <a:pt x="874" y="136"/>
                  <a:pt x="874" y="136"/>
                  <a:pt x="874" y="136"/>
                </a:cubicBezTo>
                <a:cubicBezTo>
                  <a:pt x="873" y="137"/>
                  <a:pt x="873" y="137"/>
                  <a:pt x="873" y="137"/>
                </a:cubicBezTo>
                <a:cubicBezTo>
                  <a:pt x="873" y="138"/>
                  <a:pt x="873" y="138"/>
                  <a:pt x="873" y="138"/>
                </a:cubicBezTo>
                <a:cubicBezTo>
                  <a:pt x="874" y="137"/>
                  <a:pt x="874" y="137"/>
                  <a:pt x="874" y="137"/>
                </a:cubicBezTo>
                <a:lnTo>
                  <a:pt x="875" y="136"/>
                </a:lnTo>
                <a:close/>
                <a:moveTo>
                  <a:pt x="873" y="109"/>
                </a:moveTo>
                <a:cubicBezTo>
                  <a:pt x="871" y="108"/>
                  <a:pt x="871" y="108"/>
                  <a:pt x="871" y="108"/>
                </a:cubicBezTo>
                <a:cubicBezTo>
                  <a:pt x="870" y="107"/>
                  <a:pt x="870" y="107"/>
                  <a:pt x="870" y="107"/>
                </a:cubicBezTo>
                <a:cubicBezTo>
                  <a:pt x="869" y="108"/>
                  <a:pt x="869" y="108"/>
                  <a:pt x="869" y="108"/>
                </a:cubicBezTo>
                <a:cubicBezTo>
                  <a:pt x="869" y="108"/>
                  <a:pt x="868" y="109"/>
                  <a:pt x="868" y="110"/>
                </a:cubicBezTo>
                <a:cubicBezTo>
                  <a:pt x="869" y="110"/>
                  <a:pt x="869" y="110"/>
                  <a:pt x="869" y="110"/>
                </a:cubicBezTo>
                <a:cubicBezTo>
                  <a:pt x="870" y="111"/>
                  <a:pt x="870" y="111"/>
                  <a:pt x="870" y="111"/>
                </a:cubicBezTo>
                <a:cubicBezTo>
                  <a:pt x="870" y="112"/>
                  <a:pt x="870" y="112"/>
                  <a:pt x="870" y="112"/>
                </a:cubicBezTo>
                <a:cubicBezTo>
                  <a:pt x="870" y="112"/>
                  <a:pt x="870" y="112"/>
                  <a:pt x="870" y="112"/>
                </a:cubicBezTo>
                <a:cubicBezTo>
                  <a:pt x="870" y="113"/>
                  <a:pt x="870" y="113"/>
                  <a:pt x="870" y="113"/>
                </a:cubicBezTo>
                <a:cubicBezTo>
                  <a:pt x="871" y="113"/>
                  <a:pt x="871" y="113"/>
                  <a:pt x="871" y="113"/>
                </a:cubicBezTo>
                <a:cubicBezTo>
                  <a:pt x="872" y="112"/>
                  <a:pt x="872" y="112"/>
                  <a:pt x="872" y="112"/>
                </a:cubicBezTo>
                <a:cubicBezTo>
                  <a:pt x="873" y="112"/>
                  <a:pt x="873" y="112"/>
                  <a:pt x="873" y="112"/>
                </a:cubicBezTo>
                <a:cubicBezTo>
                  <a:pt x="874" y="112"/>
                  <a:pt x="874" y="112"/>
                  <a:pt x="874" y="112"/>
                </a:cubicBezTo>
                <a:cubicBezTo>
                  <a:pt x="875" y="112"/>
                  <a:pt x="875" y="112"/>
                  <a:pt x="875" y="112"/>
                </a:cubicBezTo>
                <a:cubicBezTo>
                  <a:pt x="876" y="111"/>
                  <a:pt x="876" y="111"/>
                  <a:pt x="876" y="111"/>
                </a:cubicBezTo>
                <a:cubicBezTo>
                  <a:pt x="875" y="110"/>
                  <a:pt x="875" y="110"/>
                  <a:pt x="875" y="110"/>
                </a:cubicBezTo>
                <a:lnTo>
                  <a:pt x="873" y="109"/>
                </a:lnTo>
                <a:close/>
                <a:moveTo>
                  <a:pt x="881" y="122"/>
                </a:moveTo>
                <a:cubicBezTo>
                  <a:pt x="880" y="122"/>
                  <a:pt x="880" y="122"/>
                  <a:pt x="880" y="122"/>
                </a:cubicBezTo>
                <a:cubicBezTo>
                  <a:pt x="878" y="123"/>
                  <a:pt x="878" y="123"/>
                  <a:pt x="878" y="123"/>
                </a:cubicBezTo>
                <a:cubicBezTo>
                  <a:pt x="877" y="124"/>
                  <a:pt x="877" y="124"/>
                  <a:pt x="877" y="124"/>
                </a:cubicBezTo>
                <a:cubicBezTo>
                  <a:pt x="874" y="124"/>
                  <a:pt x="874" y="124"/>
                  <a:pt x="874" y="124"/>
                </a:cubicBezTo>
                <a:cubicBezTo>
                  <a:pt x="873" y="125"/>
                  <a:pt x="873" y="125"/>
                  <a:pt x="873" y="125"/>
                </a:cubicBezTo>
                <a:cubicBezTo>
                  <a:pt x="872" y="127"/>
                  <a:pt x="872" y="127"/>
                  <a:pt x="872" y="127"/>
                </a:cubicBezTo>
                <a:cubicBezTo>
                  <a:pt x="871" y="128"/>
                  <a:pt x="871" y="128"/>
                  <a:pt x="871" y="128"/>
                </a:cubicBezTo>
                <a:cubicBezTo>
                  <a:pt x="871" y="130"/>
                  <a:pt x="871" y="130"/>
                  <a:pt x="871" y="130"/>
                </a:cubicBezTo>
                <a:cubicBezTo>
                  <a:pt x="872" y="129"/>
                  <a:pt x="872" y="129"/>
                  <a:pt x="872" y="129"/>
                </a:cubicBezTo>
                <a:cubicBezTo>
                  <a:pt x="874" y="130"/>
                  <a:pt x="874" y="130"/>
                  <a:pt x="874" y="130"/>
                </a:cubicBezTo>
                <a:cubicBezTo>
                  <a:pt x="875" y="130"/>
                  <a:pt x="875" y="130"/>
                  <a:pt x="875" y="130"/>
                </a:cubicBezTo>
                <a:cubicBezTo>
                  <a:pt x="879" y="127"/>
                  <a:pt x="879" y="127"/>
                  <a:pt x="879" y="127"/>
                </a:cubicBezTo>
                <a:cubicBezTo>
                  <a:pt x="880" y="125"/>
                  <a:pt x="880" y="125"/>
                  <a:pt x="880" y="125"/>
                </a:cubicBezTo>
                <a:cubicBezTo>
                  <a:pt x="881" y="125"/>
                  <a:pt x="881" y="125"/>
                  <a:pt x="881" y="125"/>
                </a:cubicBezTo>
                <a:cubicBezTo>
                  <a:pt x="882" y="123"/>
                  <a:pt x="882" y="123"/>
                  <a:pt x="882" y="123"/>
                </a:cubicBezTo>
                <a:cubicBezTo>
                  <a:pt x="884" y="122"/>
                  <a:pt x="884" y="122"/>
                  <a:pt x="884" y="122"/>
                </a:cubicBezTo>
                <a:cubicBezTo>
                  <a:pt x="884" y="120"/>
                  <a:pt x="884" y="120"/>
                  <a:pt x="884" y="120"/>
                </a:cubicBezTo>
                <a:cubicBezTo>
                  <a:pt x="883" y="120"/>
                  <a:pt x="883" y="120"/>
                  <a:pt x="883" y="120"/>
                </a:cubicBezTo>
                <a:cubicBezTo>
                  <a:pt x="882" y="120"/>
                  <a:pt x="882" y="120"/>
                  <a:pt x="882" y="120"/>
                </a:cubicBezTo>
                <a:lnTo>
                  <a:pt x="881" y="122"/>
                </a:lnTo>
                <a:close/>
                <a:moveTo>
                  <a:pt x="871" y="140"/>
                </a:moveTo>
                <a:cubicBezTo>
                  <a:pt x="870" y="141"/>
                  <a:pt x="870" y="141"/>
                  <a:pt x="870" y="141"/>
                </a:cubicBezTo>
                <a:cubicBezTo>
                  <a:pt x="871" y="144"/>
                  <a:pt x="871" y="144"/>
                  <a:pt x="871" y="144"/>
                </a:cubicBezTo>
                <a:cubicBezTo>
                  <a:pt x="872" y="143"/>
                  <a:pt x="872" y="143"/>
                  <a:pt x="872" y="143"/>
                </a:cubicBezTo>
                <a:cubicBezTo>
                  <a:pt x="872" y="142"/>
                  <a:pt x="872" y="142"/>
                  <a:pt x="872" y="142"/>
                </a:cubicBezTo>
                <a:cubicBezTo>
                  <a:pt x="873" y="142"/>
                  <a:pt x="873" y="142"/>
                  <a:pt x="873" y="142"/>
                </a:cubicBezTo>
                <a:cubicBezTo>
                  <a:pt x="873" y="140"/>
                  <a:pt x="873" y="140"/>
                  <a:pt x="873" y="140"/>
                </a:cubicBezTo>
                <a:cubicBezTo>
                  <a:pt x="872" y="140"/>
                  <a:pt x="872" y="140"/>
                  <a:pt x="872" y="140"/>
                </a:cubicBezTo>
                <a:lnTo>
                  <a:pt x="871" y="140"/>
                </a:lnTo>
                <a:close/>
                <a:moveTo>
                  <a:pt x="960" y="233"/>
                </a:moveTo>
                <a:cubicBezTo>
                  <a:pt x="961" y="234"/>
                  <a:pt x="961" y="234"/>
                  <a:pt x="961" y="234"/>
                </a:cubicBezTo>
                <a:cubicBezTo>
                  <a:pt x="961" y="234"/>
                  <a:pt x="961" y="234"/>
                  <a:pt x="961" y="234"/>
                </a:cubicBezTo>
                <a:cubicBezTo>
                  <a:pt x="961" y="233"/>
                  <a:pt x="961" y="233"/>
                  <a:pt x="961" y="233"/>
                </a:cubicBezTo>
                <a:cubicBezTo>
                  <a:pt x="961" y="232"/>
                  <a:pt x="961" y="232"/>
                  <a:pt x="961" y="232"/>
                </a:cubicBezTo>
                <a:lnTo>
                  <a:pt x="960" y="233"/>
                </a:lnTo>
                <a:close/>
                <a:moveTo>
                  <a:pt x="832" y="21"/>
                </a:moveTo>
                <a:cubicBezTo>
                  <a:pt x="829" y="25"/>
                  <a:pt x="829" y="25"/>
                  <a:pt x="829" y="25"/>
                </a:cubicBezTo>
                <a:cubicBezTo>
                  <a:pt x="830" y="26"/>
                  <a:pt x="830" y="26"/>
                  <a:pt x="830" y="26"/>
                </a:cubicBezTo>
                <a:cubicBezTo>
                  <a:pt x="829" y="27"/>
                  <a:pt x="829" y="27"/>
                  <a:pt x="829" y="27"/>
                </a:cubicBezTo>
                <a:cubicBezTo>
                  <a:pt x="828" y="26"/>
                  <a:pt x="828" y="26"/>
                  <a:pt x="828" y="26"/>
                </a:cubicBezTo>
                <a:cubicBezTo>
                  <a:pt x="827" y="26"/>
                  <a:pt x="827" y="26"/>
                  <a:pt x="827" y="26"/>
                </a:cubicBezTo>
                <a:cubicBezTo>
                  <a:pt x="827" y="29"/>
                  <a:pt x="827" y="29"/>
                  <a:pt x="827" y="29"/>
                </a:cubicBezTo>
                <a:cubicBezTo>
                  <a:pt x="826" y="29"/>
                  <a:pt x="826" y="29"/>
                  <a:pt x="826" y="29"/>
                </a:cubicBezTo>
                <a:cubicBezTo>
                  <a:pt x="824" y="29"/>
                  <a:pt x="824" y="29"/>
                  <a:pt x="824" y="29"/>
                </a:cubicBezTo>
                <a:cubicBezTo>
                  <a:pt x="823" y="31"/>
                  <a:pt x="823" y="31"/>
                  <a:pt x="823" y="31"/>
                </a:cubicBezTo>
                <a:cubicBezTo>
                  <a:pt x="822" y="31"/>
                  <a:pt x="822" y="31"/>
                  <a:pt x="822" y="31"/>
                </a:cubicBezTo>
                <a:cubicBezTo>
                  <a:pt x="821" y="34"/>
                  <a:pt x="821" y="34"/>
                  <a:pt x="821" y="34"/>
                </a:cubicBezTo>
                <a:cubicBezTo>
                  <a:pt x="819" y="37"/>
                  <a:pt x="819" y="37"/>
                  <a:pt x="819" y="37"/>
                </a:cubicBezTo>
                <a:cubicBezTo>
                  <a:pt x="819" y="39"/>
                  <a:pt x="819" y="39"/>
                  <a:pt x="819" y="39"/>
                </a:cubicBezTo>
                <a:cubicBezTo>
                  <a:pt x="820" y="38"/>
                  <a:pt x="820" y="38"/>
                  <a:pt x="820" y="38"/>
                </a:cubicBezTo>
                <a:cubicBezTo>
                  <a:pt x="820" y="38"/>
                  <a:pt x="820" y="38"/>
                  <a:pt x="820" y="38"/>
                </a:cubicBezTo>
                <a:cubicBezTo>
                  <a:pt x="820" y="40"/>
                  <a:pt x="820" y="40"/>
                  <a:pt x="820" y="40"/>
                </a:cubicBezTo>
                <a:cubicBezTo>
                  <a:pt x="818" y="40"/>
                  <a:pt x="818" y="40"/>
                  <a:pt x="818" y="40"/>
                </a:cubicBezTo>
                <a:cubicBezTo>
                  <a:pt x="816" y="41"/>
                  <a:pt x="816" y="41"/>
                  <a:pt x="816" y="41"/>
                </a:cubicBezTo>
                <a:cubicBezTo>
                  <a:pt x="815" y="43"/>
                  <a:pt x="815" y="43"/>
                  <a:pt x="815" y="43"/>
                </a:cubicBezTo>
                <a:cubicBezTo>
                  <a:pt x="814" y="44"/>
                  <a:pt x="814" y="44"/>
                  <a:pt x="814" y="44"/>
                </a:cubicBezTo>
                <a:cubicBezTo>
                  <a:pt x="813" y="45"/>
                  <a:pt x="813" y="45"/>
                  <a:pt x="813" y="45"/>
                </a:cubicBezTo>
                <a:cubicBezTo>
                  <a:pt x="813" y="49"/>
                  <a:pt x="813" y="49"/>
                  <a:pt x="813" y="49"/>
                </a:cubicBezTo>
                <a:cubicBezTo>
                  <a:pt x="812" y="51"/>
                  <a:pt x="812" y="51"/>
                  <a:pt x="812" y="51"/>
                </a:cubicBezTo>
                <a:cubicBezTo>
                  <a:pt x="810" y="51"/>
                  <a:pt x="810" y="51"/>
                  <a:pt x="810" y="51"/>
                </a:cubicBezTo>
                <a:cubicBezTo>
                  <a:pt x="810" y="53"/>
                  <a:pt x="810" y="53"/>
                  <a:pt x="810" y="53"/>
                </a:cubicBezTo>
                <a:cubicBezTo>
                  <a:pt x="810" y="54"/>
                  <a:pt x="810" y="54"/>
                  <a:pt x="810" y="54"/>
                </a:cubicBezTo>
                <a:cubicBezTo>
                  <a:pt x="808" y="55"/>
                  <a:pt x="808" y="55"/>
                  <a:pt x="808" y="55"/>
                </a:cubicBezTo>
                <a:cubicBezTo>
                  <a:pt x="808" y="59"/>
                  <a:pt x="808" y="59"/>
                  <a:pt x="808" y="59"/>
                </a:cubicBezTo>
                <a:cubicBezTo>
                  <a:pt x="808" y="60"/>
                  <a:pt x="808" y="60"/>
                  <a:pt x="808" y="60"/>
                </a:cubicBezTo>
                <a:cubicBezTo>
                  <a:pt x="812" y="62"/>
                  <a:pt x="812" y="62"/>
                  <a:pt x="812" y="62"/>
                </a:cubicBezTo>
                <a:cubicBezTo>
                  <a:pt x="814" y="62"/>
                  <a:pt x="814" y="62"/>
                  <a:pt x="814" y="62"/>
                </a:cubicBezTo>
                <a:cubicBezTo>
                  <a:pt x="816" y="64"/>
                  <a:pt x="816" y="64"/>
                  <a:pt x="816" y="64"/>
                </a:cubicBezTo>
                <a:cubicBezTo>
                  <a:pt x="818" y="64"/>
                  <a:pt x="818" y="64"/>
                  <a:pt x="818" y="64"/>
                </a:cubicBezTo>
                <a:cubicBezTo>
                  <a:pt x="820" y="65"/>
                  <a:pt x="820" y="65"/>
                  <a:pt x="820" y="65"/>
                </a:cubicBezTo>
                <a:cubicBezTo>
                  <a:pt x="823" y="65"/>
                  <a:pt x="823" y="65"/>
                  <a:pt x="823" y="65"/>
                </a:cubicBezTo>
                <a:cubicBezTo>
                  <a:pt x="823" y="68"/>
                  <a:pt x="823" y="68"/>
                  <a:pt x="823" y="68"/>
                </a:cubicBezTo>
                <a:cubicBezTo>
                  <a:pt x="826" y="70"/>
                  <a:pt x="826" y="70"/>
                  <a:pt x="826" y="70"/>
                </a:cubicBezTo>
                <a:cubicBezTo>
                  <a:pt x="826" y="71"/>
                  <a:pt x="826" y="71"/>
                  <a:pt x="826" y="71"/>
                </a:cubicBezTo>
                <a:cubicBezTo>
                  <a:pt x="827" y="72"/>
                  <a:pt x="827" y="72"/>
                  <a:pt x="827" y="72"/>
                </a:cubicBezTo>
                <a:cubicBezTo>
                  <a:pt x="824" y="72"/>
                  <a:pt x="824" y="72"/>
                  <a:pt x="824" y="72"/>
                </a:cubicBezTo>
                <a:cubicBezTo>
                  <a:pt x="823" y="73"/>
                  <a:pt x="823" y="73"/>
                  <a:pt x="823" y="73"/>
                </a:cubicBezTo>
                <a:cubicBezTo>
                  <a:pt x="820" y="73"/>
                  <a:pt x="820" y="73"/>
                  <a:pt x="820" y="73"/>
                </a:cubicBezTo>
                <a:cubicBezTo>
                  <a:pt x="817" y="71"/>
                  <a:pt x="817" y="71"/>
                  <a:pt x="817" y="71"/>
                </a:cubicBezTo>
                <a:cubicBezTo>
                  <a:pt x="816" y="69"/>
                  <a:pt x="816" y="69"/>
                  <a:pt x="816" y="69"/>
                </a:cubicBezTo>
                <a:cubicBezTo>
                  <a:pt x="814" y="68"/>
                  <a:pt x="814" y="68"/>
                  <a:pt x="814" y="68"/>
                </a:cubicBezTo>
                <a:cubicBezTo>
                  <a:pt x="811" y="68"/>
                  <a:pt x="811" y="68"/>
                  <a:pt x="811" y="68"/>
                </a:cubicBezTo>
                <a:cubicBezTo>
                  <a:pt x="810" y="67"/>
                  <a:pt x="810" y="67"/>
                  <a:pt x="810" y="67"/>
                </a:cubicBezTo>
                <a:cubicBezTo>
                  <a:pt x="808" y="66"/>
                  <a:pt x="808" y="66"/>
                  <a:pt x="808" y="66"/>
                </a:cubicBezTo>
                <a:cubicBezTo>
                  <a:pt x="808" y="67"/>
                  <a:pt x="808" y="67"/>
                  <a:pt x="808" y="67"/>
                </a:cubicBezTo>
                <a:cubicBezTo>
                  <a:pt x="809" y="69"/>
                  <a:pt x="809" y="69"/>
                  <a:pt x="809" y="69"/>
                </a:cubicBezTo>
                <a:cubicBezTo>
                  <a:pt x="809" y="71"/>
                  <a:pt x="809" y="71"/>
                  <a:pt x="809" y="71"/>
                </a:cubicBezTo>
                <a:cubicBezTo>
                  <a:pt x="808" y="71"/>
                  <a:pt x="808" y="71"/>
                  <a:pt x="808" y="71"/>
                </a:cubicBezTo>
                <a:cubicBezTo>
                  <a:pt x="807" y="72"/>
                  <a:pt x="807" y="72"/>
                  <a:pt x="807" y="72"/>
                </a:cubicBezTo>
                <a:cubicBezTo>
                  <a:pt x="808" y="75"/>
                  <a:pt x="808" y="75"/>
                  <a:pt x="808" y="75"/>
                </a:cubicBezTo>
                <a:cubicBezTo>
                  <a:pt x="808" y="78"/>
                  <a:pt x="808" y="78"/>
                  <a:pt x="808" y="78"/>
                </a:cubicBezTo>
                <a:cubicBezTo>
                  <a:pt x="808" y="80"/>
                  <a:pt x="808" y="80"/>
                  <a:pt x="808" y="80"/>
                </a:cubicBezTo>
                <a:cubicBezTo>
                  <a:pt x="808" y="81"/>
                  <a:pt x="808" y="81"/>
                  <a:pt x="808" y="81"/>
                </a:cubicBezTo>
                <a:cubicBezTo>
                  <a:pt x="811" y="83"/>
                  <a:pt x="811" y="83"/>
                  <a:pt x="811" y="83"/>
                </a:cubicBezTo>
                <a:cubicBezTo>
                  <a:pt x="812" y="85"/>
                  <a:pt x="812" y="85"/>
                  <a:pt x="812" y="85"/>
                </a:cubicBezTo>
                <a:cubicBezTo>
                  <a:pt x="812" y="85"/>
                  <a:pt x="812" y="85"/>
                  <a:pt x="812" y="85"/>
                </a:cubicBezTo>
                <a:cubicBezTo>
                  <a:pt x="811" y="85"/>
                  <a:pt x="811" y="85"/>
                  <a:pt x="811" y="85"/>
                </a:cubicBezTo>
                <a:cubicBezTo>
                  <a:pt x="811" y="84"/>
                  <a:pt x="811" y="84"/>
                  <a:pt x="811" y="84"/>
                </a:cubicBezTo>
                <a:cubicBezTo>
                  <a:pt x="811" y="86"/>
                  <a:pt x="811" y="86"/>
                  <a:pt x="811" y="86"/>
                </a:cubicBezTo>
                <a:cubicBezTo>
                  <a:pt x="813" y="88"/>
                  <a:pt x="813" y="88"/>
                  <a:pt x="813" y="88"/>
                </a:cubicBezTo>
                <a:cubicBezTo>
                  <a:pt x="814" y="88"/>
                  <a:pt x="814" y="88"/>
                  <a:pt x="814" y="88"/>
                </a:cubicBezTo>
                <a:cubicBezTo>
                  <a:pt x="814" y="86"/>
                  <a:pt x="814" y="86"/>
                  <a:pt x="814" y="86"/>
                </a:cubicBezTo>
                <a:cubicBezTo>
                  <a:pt x="815" y="86"/>
                  <a:pt x="815" y="86"/>
                  <a:pt x="815" y="86"/>
                </a:cubicBezTo>
                <a:cubicBezTo>
                  <a:pt x="817" y="86"/>
                  <a:pt x="817" y="86"/>
                  <a:pt x="817" y="86"/>
                </a:cubicBezTo>
                <a:cubicBezTo>
                  <a:pt x="818" y="88"/>
                  <a:pt x="818" y="88"/>
                  <a:pt x="818" y="88"/>
                </a:cubicBezTo>
                <a:cubicBezTo>
                  <a:pt x="820" y="88"/>
                  <a:pt x="820" y="88"/>
                  <a:pt x="820" y="88"/>
                </a:cubicBezTo>
                <a:cubicBezTo>
                  <a:pt x="820" y="87"/>
                  <a:pt x="820" y="87"/>
                  <a:pt x="820" y="87"/>
                </a:cubicBezTo>
                <a:cubicBezTo>
                  <a:pt x="820" y="86"/>
                  <a:pt x="820" y="86"/>
                  <a:pt x="820" y="86"/>
                </a:cubicBezTo>
                <a:cubicBezTo>
                  <a:pt x="820" y="85"/>
                  <a:pt x="820" y="85"/>
                  <a:pt x="820" y="85"/>
                </a:cubicBezTo>
                <a:cubicBezTo>
                  <a:pt x="821" y="85"/>
                  <a:pt x="821" y="85"/>
                  <a:pt x="821" y="85"/>
                </a:cubicBezTo>
                <a:cubicBezTo>
                  <a:pt x="822" y="85"/>
                  <a:pt x="822" y="85"/>
                  <a:pt x="822" y="85"/>
                </a:cubicBezTo>
                <a:cubicBezTo>
                  <a:pt x="822" y="87"/>
                  <a:pt x="822" y="87"/>
                  <a:pt x="822" y="87"/>
                </a:cubicBezTo>
                <a:cubicBezTo>
                  <a:pt x="822" y="88"/>
                  <a:pt x="822" y="88"/>
                  <a:pt x="822" y="88"/>
                </a:cubicBezTo>
                <a:cubicBezTo>
                  <a:pt x="823" y="88"/>
                  <a:pt x="823" y="88"/>
                  <a:pt x="823" y="88"/>
                </a:cubicBezTo>
                <a:cubicBezTo>
                  <a:pt x="824" y="86"/>
                  <a:pt x="824" y="86"/>
                  <a:pt x="824" y="86"/>
                </a:cubicBezTo>
                <a:cubicBezTo>
                  <a:pt x="826" y="86"/>
                  <a:pt x="826" y="86"/>
                  <a:pt x="826" y="86"/>
                </a:cubicBezTo>
                <a:cubicBezTo>
                  <a:pt x="828" y="85"/>
                  <a:pt x="828" y="85"/>
                  <a:pt x="828" y="85"/>
                </a:cubicBezTo>
                <a:cubicBezTo>
                  <a:pt x="828" y="85"/>
                  <a:pt x="828" y="85"/>
                  <a:pt x="828" y="85"/>
                </a:cubicBezTo>
                <a:cubicBezTo>
                  <a:pt x="828" y="86"/>
                  <a:pt x="828" y="86"/>
                  <a:pt x="828" y="86"/>
                </a:cubicBezTo>
                <a:cubicBezTo>
                  <a:pt x="824" y="88"/>
                  <a:pt x="824" y="88"/>
                  <a:pt x="824" y="88"/>
                </a:cubicBezTo>
                <a:cubicBezTo>
                  <a:pt x="824" y="90"/>
                  <a:pt x="824" y="90"/>
                  <a:pt x="824" y="90"/>
                </a:cubicBezTo>
                <a:cubicBezTo>
                  <a:pt x="826" y="91"/>
                  <a:pt x="826" y="91"/>
                  <a:pt x="826" y="91"/>
                </a:cubicBezTo>
                <a:cubicBezTo>
                  <a:pt x="826" y="94"/>
                  <a:pt x="826" y="94"/>
                  <a:pt x="826" y="94"/>
                </a:cubicBezTo>
                <a:cubicBezTo>
                  <a:pt x="828" y="96"/>
                  <a:pt x="828" y="96"/>
                  <a:pt x="828" y="96"/>
                </a:cubicBezTo>
                <a:cubicBezTo>
                  <a:pt x="831" y="96"/>
                  <a:pt x="831" y="96"/>
                  <a:pt x="831" y="96"/>
                </a:cubicBezTo>
                <a:cubicBezTo>
                  <a:pt x="832" y="95"/>
                  <a:pt x="832" y="95"/>
                  <a:pt x="832" y="95"/>
                </a:cubicBezTo>
                <a:cubicBezTo>
                  <a:pt x="830" y="94"/>
                  <a:pt x="830" y="94"/>
                  <a:pt x="830" y="94"/>
                </a:cubicBezTo>
                <a:cubicBezTo>
                  <a:pt x="831" y="94"/>
                  <a:pt x="831" y="94"/>
                  <a:pt x="831" y="94"/>
                </a:cubicBezTo>
                <a:cubicBezTo>
                  <a:pt x="833" y="94"/>
                  <a:pt x="833" y="94"/>
                  <a:pt x="833" y="94"/>
                </a:cubicBezTo>
                <a:cubicBezTo>
                  <a:pt x="835" y="95"/>
                  <a:pt x="835" y="95"/>
                  <a:pt x="835" y="95"/>
                </a:cubicBezTo>
                <a:cubicBezTo>
                  <a:pt x="836" y="95"/>
                  <a:pt x="836" y="95"/>
                  <a:pt x="836" y="95"/>
                </a:cubicBezTo>
                <a:cubicBezTo>
                  <a:pt x="837" y="93"/>
                  <a:pt x="837" y="93"/>
                  <a:pt x="837" y="93"/>
                </a:cubicBezTo>
                <a:cubicBezTo>
                  <a:pt x="839" y="92"/>
                  <a:pt x="839" y="92"/>
                  <a:pt x="839" y="92"/>
                </a:cubicBezTo>
                <a:cubicBezTo>
                  <a:pt x="840" y="92"/>
                  <a:pt x="840" y="92"/>
                  <a:pt x="840" y="92"/>
                </a:cubicBezTo>
                <a:cubicBezTo>
                  <a:pt x="840" y="92"/>
                  <a:pt x="840" y="92"/>
                  <a:pt x="840" y="92"/>
                </a:cubicBezTo>
                <a:cubicBezTo>
                  <a:pt x="839" y="93"/>
                  <a:pt x="839" y="93"/>
                  <a:pt x="839" y="93"/>
                </a:cubicBezTo>
                <a:cubicBezTo>
                  <a:pt x="836" y="96"/>
                  <a:pt x="836" y="96"/>
                  <a:pt x="836" y="96"/>
                </a:cubicBezTo>
                <a:cubicBezTo>
                  <a:pt x="836" y="97"/>
                  <a:pt x="836" y="97"/>
                  <a:pt x="836" y="97"/>
                </a:cubicBezTo>
                <a:cubicBezTo>
                  <a:pt x="839" y="98"/>
                  <a:pt x="839" y="98"/>
                  <a:pt x="839" y="98"/>
                </a:cubicBezTo>
                <a:cubicBezTo>
                  <a:pt x="840" y="100"/>
                  <a:pt x="840" y="100"/>
                  <a:pt x="840" y="100"/>
                </a:cubicBezTo>
                <a:cubicBezTo>
                  <a:pt x="841" y="100"/>
                  <a:pt x="841" y="100"/>
                  <a:pt x="841" y="100"/>
                </a:cubicBezTo>
                <a:cubicBezTo>
                  <a:pt x="844" y="100"/>
                  <a:pt x="844" y="100"/>
                  <a:pt x="844" y="100"/>
                </a:cubicBezTo>
                <a:cubicBezTo>
                  <a:pt x="845" y="101"/>
                  <a:pt x="845" y="101"/>
                  <a:pt x="845" y="101"/>
                </a:cubicBezTo>
                <a:cubicBezTo>
                  <a:pt x="847" y="100"/>
                  <a:pt x="847" y="100"/>
                  <a:pt x="847" y="100"/>
                </a:cubicBezTo>
                <a:cubicBezTo>
                  <a:pt x="850" y="100"/>
                  <a:pt x="850" y="100"/>
                  <a:pt x="850" y="100"/>
                </a:cubicBezTo>
                <a:cubicBezTo>
                  <a:pt x="851" y="102"/>
                  <a:pt x="851" y="102"/>
                  <a:pt x="851" y="102"/>
                </a:cubicBezTo>
                <a:cubicBezTo>
                  <a:pt x="853" y="102"/>
                  <a:pt x="853" y="102"/>
                  <a:pt x="853" y="102"/>
                </a:cubicBezTo>
                <a:cubicBezTo>
                  <a:pt x="854" y="104"/>
                  <a:pt x="854" y="104"/>
                  <a:pt x="854" y="104"/>
                </a:cubicBezTo>
                <a:cubicBezTo>
                  <a:pt x="855" y="103"/>
                  <a:pt x="855" y="103"/>
                  <a:pt x="855" y="103"/>
                </a:cubicBezTo>
                <a:cubicBezTo>
                  <a:pt x="857" y="105"/>
                  <a:pt x="857" y="105"/>
                  <a:pt x="857" y="105"/>
                </a:cubicBezTo>
                <a:cubicBezTo>
                  <a:pt x="858" y="104"/>
                  <a:pt x="858" y="104"/>
                  <a:pt x="858" y="104"/>
                </a:cubicBezTo>
                <a:cubicBezTo>
                  <a:pt x="859" y="105"/>
                  <a:pt x="859" y="105"/>
                  <a:pt x="859" y="105"/>
                </a:cubicBezTo>
                <a:cubicBezTo>
                  <a:pt x="860" y="104"/>
                  <a:pt x="860" y="104"/>
                  <a:pt x="860" y="104"/>
                </a:cubicBezTo>
                <a:cubicBezTo>
                  <a:pt x="860" y="102"/>
                  <a:pt x="860" y="102"/>
                  <a:pt x="860" y="102"/>
                </a:cubicBezTo>
                <a:cubicBezTo>
                  <a:pt x="858" y="101"/>
                  <a:pt x="858" y="101"/>
                  <a:pt x="858" y="101"/>
                </a:cubicBezTo>
                <a:cubicBezTo>
                  <a:pt x="857" y="99"/>
                  <a:pt x="857" y="99"/>
                  <a:pt x="857" y="99"/>
                </a:cubicBezTo>
                <a:cubicBezTo>
                  <a:pt x="856" y="98"/>
                  <a:pt x="856" y="98"/>
                  <a:pt x="856" y="98"/>
                </a:cubicBezTo>
                <a:cubicBezTo>
                  <a:pt x="852" y="95"/>
                  <a:pt x="852" y="95"/>
                  <a:pt x="852" y="95"/>
                </a:cubicBezTo>
                <a:cubicBezTo>
                  <a:pt x="852" y="93"/>
                  <a:pt x="852" y="93"/>
                  <a:pt x="852" y="93"/>
                </a:cubicBezTo>
                <a:cubicBezTo>
                  <a:pt x="853" y="94"/>
                  <a:pt x="853" y="94"/>
                  <a:pt x="853" y="94"/>
                </a:cubicBezTo>
                <a:cubicBezTo>
                  <a:pt x="854" y="95"/>
                  <a:pt x="854" y="95"/>
                  <a:pt x="854" y="95"/>
                </a:cubicBezTo>
                <a:cubicBezTo>
                  <a:pt x="855" y="95"/>
                  <a:pt x="855" y="95"/>
                  <a:pt x="855" y="95"/>
                </a:cubicBezTo>
                <a:cubicBezTo>
                  <a:pt x="857" y="98"/>
                  <a:pt x="857" y="98"/>
                  <a:pt x="857" y="98"/>
                </a:cubicBezTo>
                <a:cubicBezTo>
                  <a:pt x="858" y="98"/>
                  <a:pt x="858" y="98"/>
                  <a:pt x="858" y="98"/>
                </a:cubicBezTo>
                <a:cubicBezTo>
                  <a:pt x="858" y="99"/>
                  <a:pt x="858" y="99"/>
                  <a:pt x="858" y="99"/>
                </a:cubicBezTo>
                <a:cubicBezTo>
                  <a:pt x="860" y="101"/>
                  <a:pt x="860" y="101"/>
                  <a:pt x="860" y="101"/>
                </a:cubicBezTo>
                <a:cubicBezTo>
                  <a:pt x="862" y="103"/>
                  <a:pt x="862" y="103"/>
                  <a:pt x="862" y="103"/>
                </a:cubicBezTo>
                <a:cubicBezTo>
                  <a:pt x="862" y="104"/>
                  <a:pt x="862" y="104"/>
                  <a:pt x="862" y="104"/>
                </a:cubicBezTo>
                <a:cubicBezTo>
                  <a:pt x="863" y="104"/>
                  <a:pt x="863" y="104"/>
                  <a:pt x="863" y="104"/>
                </a:cubicBezTo>
                <a:cubicBezTo>
                  <a:pt x="865" y="106"/>
                  <a:pt x="865" y="106"/>
                  <a:pt x="865" y="106"/>
                </a:cubicBezTo>
                <a:cubicBezTo>
                  <a:pt x="866" y="108"/>
                  <a:pt x="866" y="108"/>
                  <a:pt x="866" y="108"/>
                </a:cubicBezTo>
                <a:cubicBezTo>
                  <a:pt x="867" y="108"/>
                  <a:pt x="867" y="108"/>
                  <a:pt x="867" y="108"/>
                </a:cubicBezTo>
                <a:cubicBezTo>
                  <a:pt x="868" y="108"/>
                  <a:pt x="868" y="108"/>
                  <a:pt x="868" y="108"/>
                </a:cubicBezTo>
                <a:cubicBezTo>
                  <a:pt x="867" y="106"/>
                  <a:pt x="867" y="106"/>
                  <a:pt x="867" y="106"/>
                </a:cubicBezTo>
                <a:cubicBezTo>
                  <a:pt x="865" y="102"/>
                  <a:pt x="865" y="102"/>
                  <a:pt x="865" y="102"/>
                </a:cubicBezTo>
                <a:cubicBezTo>
                  <a:pt x="868" y="102"/>
                  <a:pt x="868" y="102"/>
                  <a:pt x="868" y="102"/>
                </a:cubicBezTo>
                <a:cubicBezTo>
                  <a:pt x="871" y="104"/>
                  <a:pt x="871" y="104"/>
                  <a:pt x="871" y="104"/>
                </a:cubicBezTo>
                <a:cubicBezTo>
                  <a:pt x="875" y="104"/>
                  <a:pt x="875" y="104"/>
                  <a:pt x="875" y="104"/>
                </a:cubicBezTo>
                <a:cubicBezTo>
                  <a:pt x="875" y="106"/>
                  <a:pt x="875" y="106"/>
                  <a:pt x="875" y="106"/>
                </a:cubicBezTo>
                <a:cubicBezTo>
                  <a:pt x="874" y="107"/>
                  <a:pt x="874" y="107"/>
                  <a:pt x="874" y="107"/>
                </a:cubicBezTo>
                <a:cubicBezTo>
                  <a:pt x="876" y="108"/>
                  <a:pt x="876" y="108"/>
                  <a:pt x="876" y="108"/>
                </a:cubicBezTo>
                <a:cubicBezTo>
                  <a:pt x="878" y="108"/>
                  <a:pt x="878" y="108"/>
                  <a:pt x="878" y="108"/>
                </a:cubicBezTo>
                <a:cubicBezTo>
                  <a:pt x="878" y="108"/>
                  <a:pt x="878" y="108"/>
                  <a:pt x="878" y="108"/>
                </a:cubicBezTo>
                <a:cubicBezTo>
                  <a:pt x="883" y="108"/>
                  <a:pt x="883" y="108"/>
                  <a:pt x="883" y="108"/>
                </a:cubicBezTo>
                <a:cubicBezTo>
                  <a:pt x="884" y="107"/>
                  <a:pt x="884" y="107"/>
                  <a:pt x="884" y="107"/>
                </a:cubicBezTo>
                <a:cubicBezTo>
                  <a:pt x="886" y="105"/>
                  <a:pt x="886" y="105"/>
                  <a:pt x="886" y="105"/>
                </a:cubicBezTo>
                <a:cubicBezTo>
                  <a:pt x="886" y="104"/>
                  <a:pt x="886" y="104"/>
                  <a:pt x="886" y="104"/>
                </a:cubicBezTo>
                <a:cubicBezTo>
                  <a:pt x="886" y="102"/>
                  <a:pt x="886" y="102"/>
                  <a:pt x="886" y="102"/>
                </a:cubicBezTo>
                <a:cubicBezTo>
                  <a:pt x="885" y="101"/>
                  <a:pt x="885" y="101"/>
                  <a:pt x="885" y="101"/>
                </a:cubicBezTo>
                <a:cubicBezTo>
                  <a:pt x="884" y="97"/>
                  <a:pt x="884" y="97"/>
                  <a:pt x="884" y="97"/>
                </a:cubicBezTo>
                <a:cubicBezTo>
                  <a:pt x="883" y="97"/>
                  <a:pt x="883" y="97"/>
                  <a:pt x="883" y="97"/>
                </a:cubicBezTo>
                <a:cubicBezTo>
                  <a:pt x="881" y="95"/>
                  <a:pt x="881" y="95"/>
                  <a:pt x="881" y="95"/>
                </a:cubicBezTo>
                <a:cubicBezTo>
                  <a:pt x="881" y="93"/>
                  <a:pt x="881" y="93"/>
                  <a:pt x="881" y="93"/>
                </a:cubicBezTo>
                <a:cubicBezTo>
                  <a:pt x="882" y="93"/>
                  <a:pt x="882" y="93"/>
                  <a:pt x="882" y="93"/>
                </a:cubicBezTo>
                <a:cubicBezTo>
                  <a:pt x="883" y="91"/>
                  <a:pt x="883" y="91"/>
                  <a:pt x="883" y="91"/>
                </a:cubicBezTo>
                <a:cubicBezTo>
                  <a:pt x="883" y="91"/>
                  <a:pt x="883" y="91"/>
                  <a:pt x="883" y="91"/>
                </a:cubicBezTo>
                <a:cubicBezTo>
                  <a:pt x="884" y="92"/>
                  <a:pt x="884" y="92"/>
                  <a:pt x="884" y="92"/>
                </a:cubicBezTo>
                <a:cubicBezTo>
                  <a:pt x="884" y="93"/>
                  <a:pt x="884" y="93"/>
                  <a:pt x="884" y="93"/>
                </a:cubicBezTo>
                <a:cubicBezTo>
                  <a:pt x="886" y="92"/>
                  <a:pt x="886" y="92"/>
                  <a:pt x="886" y="92"/>
                </a:cubicBezTo>
                <a:cubicBezTo>
                  <a:pt x="886" y="89"/>
                  <a:pt x="886" y="89"/>
                  <a:pt x="886" y="89"/>
                </a:cubicBezTo>
                <a:cubicBezTo>
                  <a:pt x="887" y="88"/>
                  <a:pt x="887" y="88"/>
                  <a:pt x="887" y="88"/>
                </a:cubicBezTo>
                <a:cubicBezTo>
                  <a:pt x="888" y="87"/>
                  <a:pt x="888" y="87"/>
                  <a:pt x="888" y="87"/>
                </a:cubicBezTo>
                <a:cubicBezTo>
                  <a:pt x="888" y="90"/>
                  <a:pt x="888" y="90"/>
                  <a:pt x="888" y="90"/>
                </a:cubicBezTo>
                <a:cubicBezTo>
                  <a:pt x="889" y="91"/>
                  <a:pt x="889" y="91"/>
                  <a:pt x="889" y="91"/>
                </a:cubicBezTo>
                <a:cubicBezTo>
                  <a:pt x="888" y="92"/>
                  <a:pt x="888" y="92"/>
                  <a:pt x="888" y="92"/>
                </a:cubicBezTo>
                <a:cubicBezTo>
                  <a:pt x="886" y="92"/>
                  <a:pt x="886" y="92"/>
                  <a:pt x="886" y="92"/>
                </a:cubicBezTo>
                <a:cubicBezTo>
                  <a:pt x="886" y="95"/>
                  <a:pt x="886" y="95"/>
                  <a:pt x="886" y="95"/>
                </a:cubicBezTo>
                <a:cubicBezTo>
                  <a:pt x="887" y="95"/>
                  <a:pt x="887" y="95"/>
                  <a:pt x="887" y="95"/>
                </a:cubicBezTo>
                <a:cubicBezTo>
                  <a:pt x="888" y="96"/>
                  <a:pt x="888" y="96"/>
                  <a:pt x="888" y="96"/>
                </a:cubicBezTo>
                <a:cubicBezTo>
                  <a:pt x="888" y="98"/>
                  <a:pt x="888" y="98"/>
                  <a:pt x="888" y="98"/>
                </a:cubicBezTo>
                <a:cubicBezTo>
                  <a:pt x="890" y="100"/>
                  <a:pt x="890" y="100"/>
                  <a:pt x="890" y="100"/>
                </a:cubicBezTo>
                <a:cubicBezTo>
                  <a:pt x="892" y="101"/>
                  <a:pt x="892" y="101"/>
                  <a:pt x="892" y="101"/>
                </a:cubicBezTo>
                <a:cubicBezTo>
                  <a:pt x="892" y="99"/>
                  <a:pt x="892" y="99"/>
                  <a:pt x="892" y="99"/>
                </a:cubicBezTo>
                <a:cubicBezTo>
                  <a:pt x="892" y="99"/>
                  <a:pt x="892" y="99"/>
                  <a:pt x="892" y="99"/>
                </a:cubicBezTo>
                <a:cubicBezTo>
                  <a:pt x="893" y="100"/>
                  <a:pt x="893" y="100"/>
                  <a:pt x="893" y="100"/>
                </a:cubicBezTo>
                <a:cubicBezTo>
                  <a:pt x="895" y="99"/>
                  <a:pt x="895" y="99"/>
                  <a:pt x="895" y="99"/>
                </a:cubicBezTo>
                <a:cubicBezTo>
                  <a:pt x="896" y="100"/>
                  <a:pt x="896" y="100"/>
                  <a:pt x="896" y="100"/>
                </a:cubicBezTo>
                <a:cubicBezTo>
                  <a:pt x="895" y="101"/>
                  <a:pt x="895" y="101"/>
                  <a:pt x="895" y="101"/>
                </a:cubicBezTo>
                <a:cubicBezTo>
                  <a:pt x="895" y="103"/>
                  <a:pt x="895" y="103"/>
                  <a:pt x="895" y="103"/>
                </a:cubicBezTo>
                <a:cubicBezTo>
                  <a:pt x="894" y="106"/>
                  <a:pt x="894" y="106"/>
                  <a:pt x="894" y="106"/>
                </a:cubicBezTo>
                <a:cubicBezTo>
                  <a:pt x="894" y="106"/>
                  <a:pt x="894" y="106"/>
                  <a:pt x="894" y="106"/>
                </a:cubicBezTo>
                <a:cubicBezTo>
                  <a:pt x="892" y="109"/>
                  <a:pt x="892" y="109"/>
                  <a:pt x="892" y="109"/>
                </a:cubicBezTo>
                <a:cubicBezTo>
                  <a:pt x="891" y="112"/>
                  <a:pt x="891" y="112"/>
                  <a:pt x="891" y="112"/>
                </a:cubicBezTo>
                <a:cubicBezTo>
                  <a:pt x="891" y="113"/>
                  <a:pt x="891" y="113"/>
                  <a:pt x="891" y="113"/>
                </a:cubicBezTo>
                <a:cubicBezTo>
                  <a:pt x="892" y="113"/>
                  <a:pt x="892" y="113"/>
                  <a:pt x="892" y="113"/>
                </a:cubicBezTo>
                <a:cubicBezTo>
                  <a:pt x="892" y="111"/>
                  <a:pt x="892" y="111"/>
                  <a:pt x="892" y="111"/>
                </a:cubicBezTo>
                <a:cubicBezTo>
                  <a:pt x="894" y="112"/>
                  <a:pt x="894" y="112"/>
                  <a:pt x="894" y="112"/>
                </a:cubicBezTo>
                <a:cubicBezTo>
                  <a:pt x="894" y="112"/>
                  <a:pt x="894" y="112"/>
                  <a:pt x="894" y="112"/>
                </a:cubicBezTo>
                <a:cubicBezTo>
                  <a:pt x="895" y="112"/>
                  <a:pt x="895" y="112"/>
                  <a:pt x="895" y="112"/>
                </a:cubicBezTo>
                <a:cubicBezTo>
                  <a:pt x="896" y="114"/>
                  <a:pt x="896" y="114"/>
                  <a:pt x="896" y="114"/>
                </a:cubicBezTo>
                <a:cubicBezTo>
                  <a:pt x="899" y="114"/>
                  <a:pt x="899" y="114"/>
                  <a:pt x="899" y="114"/>
                </a:cubicBezTo>
                <a:cubicBezTo>
                  <a:pt x="897" y="115"/>
                  <a:pt x="897" y="115"/>
                  <a:pt x="897" y="115"/>
                </a:cubicBezTo>
                <a:cubicBezTo>
                  <a:pt x="897" y="116"/>
                  <a:pt x="897" y="116"/>
                  <a:pt x="897" y="116"/>
                </a:cubicBezTo>
                <a:cubicBezTo>
                  <a:pt x="896" y="117"/>
                  <a:pt x="896" y="117"/>
                  <a:pt x="896" y="117"/>
                </a:cubicBezTo>
                <a:cubicBezTo>
                  <a:pt x="896" y="116"/>
                  <a:pt x="896" y="116"/>
                  <a:pt x="896" y="116"/>
                </a:cubicBezTo>
                <a:cubicBezTo>
                  <a:pt x="894" y="116"/>
                  <a:pt x="894" y="116"/>
                  <a:pt x="894" y="116"/>
                </a:cubicBezTo>
                <a:cubicBezTo>
                  <a:pt x="894" y="118"/>
                  <a:pt x="894" y="118"/>
                  <a:pt x="894" y="118"/>
                </a:cubicBezTo>
                <a:cubicBezTo>
                  <a:pt x="896" y="118"/>
                  <a:pt x="896" y="118"/>
                  <a:pt x="896" y="118"/>
                </a:cubicBezTo>
                <a:cubicBezTo>
                  <a:pt x="896" y="119"/>
                  <a:pt x="896" y="119"/>
                  <a:pt x="896" y="119"/>
                </a:cubicBezTo>
                <a:cubicBezTo>
                  <a:pt x="898" y="119"/>
                  <a:pt x="898" y="119"/>
                  <a:pt x="898" y="119"/>
                </a:cubicBezTo>
                <a:cubicBezTo>
                  <a:pt x="898" y="120"/>
                  <a:pt x="898" y="120"/>
                  <a:pt x="898" y="120"/>
                </a:cubicBezTo>
                <a:cubicBezTo>
                  <a:pt x="898" y="121"/>
                  <a:pt x="898" y="121"/>
                  <a:pt x="898" y="121"/>
                </a:cubicBezTo>
                <a:cubicBezTo>
                  <a:pt x="898" y="123"/>
                  <a:pt x="898" y="123"/>
                  <a:pt x="898" y="123"/>
                </a:cubicBezTo>
                <a:cubicBezTo>
                  <a:pt x="899" y="124"/>
                  <a:pt x="899" y="124"/>
                  <a:pt x="899" y="124"/>
                </a:cubicBezTo>
                <a:cubicBezTo>
                  <a:pt x="901" y="125"/>
                  <a:pt x="901" y="125"/>
                  <a:pt x="901" y="125"/>
                </a:cubicBezTo>
                <a:cubicBezTo>
                  <a:pt x="902" y="126"/>
                  <a:pt x="902" y="126"/>
                  <a:pt x="902" y="126"/>
                </a:cubicBezTo>
                <a:cubicBezTo>
                  <a:pt x="903" y="127"/>
                  <a:pt x="903" y="127"/>
                  <a:pt x="903" y="127"/>
                </a:cubicBezTo>
                <a:cubicBezTo>
                  <a:pt x="902" y="129"/>
                  <a:pt x="902" y="129"/>
                  <a:pt x="902" y="129"/>
                </a:cubicBezTo>
                <a:cubicBezTo>
                  <a:pt x="901" y="130"/>
                  <a:pt x="901" y="130"/>
                  <a:pt x="901" y="130"/>
                </a:cubicBezTo>
                <a:cubicBezTo>
                  <a:pt x="900" y="130"/>
                  <a:pt x="900" y="130"/>
                  <a:pt x="900" y="130"/>
                </a:cubicBezTo>
                <a:cubicBezTo>
                  <a:pt x="899" y="131"/>
                  <a:pt x="899" y="131"/>
                  <a:pt x="899" y="131"/>
                </a:cubicBezTo>
                <a:cubicBezTo>
                  <a:pt x="897" y="130"/>
                  <a:pt x="897" y="130"/>
                  <a:pt x="897" y="130"/>
                </a:cubicBezTo>
                <a:cubicBezTo>
                  <a:pt x="896" y="130"/>
                  <a:pt x="896" y="130"/>
                  <a:pt x="896" y="130"/>
                </a:cubicBezTo>
                <a:cubicBezTo>
                  <a:pt x="895" y="130"/>
                  <a:pt x="895" y="130"/>
                  <a:pt x="895" y="130"/>
                </a:cubicBezTo>
                <a:cubicBezTo>
                  <a:pt x="894" y="132"/>
                  <a:pt x="894" y="132"/>
                  <a:pt x="894" y="132"/>
                </a:cubicBezTo>
                <a:cubicBezTo>
                  <a:pt x="895" y="132"/>
                  <a:pt x="895" y="132"/>
                  <a:pt x="895" y="132"/>
                </a:cubicBezTo>
                <a:cubicBezTo>
                  <a:pt x="895" y="133"/>
                  <a:pt x="895" y="133"/>
                  <a:pt x="895" y="133"/>
                </a:cubicBezTo>
                <a:cubicBezTo>
                  <a:pt x="894" y="135"/>
                  <a:pt x="894" y="135"/>
                  <a:pt x="894" y="135"/>
                </a:cubicBezTo>
                <a:cubicBezTo>
                  <a:pt x="894" y="136"/>
                  <a:pt x="894" y="136"/>
                  <a:pt x="894" y="136"/>
                </a:cubicBezTo>
                <a:cubicBezTo>
                  <a:pt x="895" y="136"/>
                  <a:pt x="895" y="136"/>
                  <a:pt x="895" y="136"/>
                </a:cubicBezTo>
                <a:cubicBezTo>
                  <a:pt x="895" y="135"/>
                  <a:pt x="895" y="135"/>
                  <a:pt x="895" y="135"/>
                </a:cubicBezTo>
                <a:cubicBezTo>
                  <a:pt x="897" y="135"/>
                  <a:pt x="897" y="135"/>
                  <a:pt x="897" y="135"/>
                </a:cubicBezTo>
                <a:cubicBezTo>
                  <a:pt x="899" y="135"/>
                  <a:pt x="899" y="135"/>
                  <a:pt x="899" y="135"/>
                </a:cubicBezTo>
                <a:cubicBezTo>
                  <a:pt x="900" y="134"/>
                  <a:pt x="900" y="134"/>
                  <a:pt x="900" y="134"/>
                </a:cubicBezTo>
                <a:cubicBezTo>
                  <a:pt x="901" y="134"/>
                  <a:pt x="901" y="134"/>
                  <a:pt x="901" y="134"/>
                </a:cubicBezTo>
                <a:cubicBezTo>
                  <a:pt x="902" y="132"/>
                  <a:pt x="902" y="132"/>
                  <a:pt x="902" y="132"/>
                </a:cubicBezTo>
                <a:cubicBezTo>
                  <a:pt x="903" y="131"/>
                  <a:pt x="903" y="131"/>
                  <a:pt x="903" y="131"/>
                </a:cubicBezTo>
                <a:cubicBezTo>
                  <a:pt x="903" y="134"/>
                  <a:pt x="903" y="134"/>
                  <a:pt x="903" y="134"/>
                </a:cubicBezTo>
                <a:cubicBezTo>
                  <a:pt x="904" y="134"/>
                  <a:pt x="904" y="134"/>
                  <a:pt x="904" y="134"/>
                </a:cubicBezTo>
                <a:cubicBezTo>
                  <a:pt x="905" y="133"/>
                  <a:pt x="905" y="133"/>
                  <a:pt x="905" y="133"/>
                </a:cubicBezTo>
                <a:cubicBezTo>
                  <a:pt x="907" y="131"/>
                  <a:pt x="907" y="131"/>
                  <a:pt x="907" y="131"/>
                </a:cubicBezTo>
                <a:cubicBezTo>
                  <a:pt x="909" y="130"/>
                  <a:pt x="909" y="130"/>
                  <a:pt x="909" y="130"/>
                </a:cubicBezTo>
                <a:cubicBezTo>
                  <a:pt x="910" y="131"/>
                  <a:pt x="910" y="131"/>
                  <a:pt x="910" y="131"/>
                </a:cubicBezTo>
                <a:cubicBezTo>
                  <a:pt x="909" y="132"/>
                  <a:pt x="909" y="132"/>
                  <a:pt x="909" y="132"/>
                </a:cubicBezTo>
                <a:cubicBezTo>
                  <a:pt x="908" y="132"/>
                  <a:pt x="908" y="132"/>
                  <a:pt x="908" y="132"/>
                </a:cubicBezTo>
                <a:cubicBezTo>
                  <a:pt x="907" y="133"/>
                  <a:pt x="907" y="133"/>
                  <a:pt x="907" y="133"/>
                </a:cubicBezTo>
                <a:cubicBezTo>
                  <a:pt x="908" y="134"/>
                  <a:pt x="908" y="134"/>
                  <a:pt x="908" y="134"/>
                </a:cubicBezTo>
                <a:cubicBezTo>
                  <a:pt x="908" y="134"/>
                  <a:pt x="908" y="134"/>
                  <a:pt x="908" y="134"/>
                </a:cubicBezTo>
                <a:cubicBezTo>
                  <a:pt x="906" y="135"/>
                  <a:pt x="906" y="135"/>
                  <a:pt x="906" y="135"/>
                </a:cubicBezTo>
                <a:cubicBezTo>
                  <a:pt x="906" y="136"/>
                  <a:pt x="906" y="136"/>
                  <a:pt x="906" y="136"/>
                </a:cubicBezTo>
                <a:cubicBezTo>
                  <a:pt x="908" y="135"/>
                  <a:pt x="908" y="135"/>
                  <a:pt x="908" y="135"/>
                </a:cubicBezTo>
                <a:cubicBezTo>
                  <a:pt x="909" y="137"/>
                  <a:pt x="909" y="137"/>
                  <a:pt x="909" y="137"/>
                </a:cubicBezTo>
                <a:cubicBezTo>
                  <a:pt x="907" y="138"/>
                  <a:pt x="907" y="138"/>
                  <a:pt x="907" y="138"/>
                </a:cubicBezTo>
                <a:cubicBezTo>
                  <a:pt x="908" y="141"/>
                  <a:pt x="908" y="141"/>
                  <a:pt x="908" y="141"/>
                </a:cubicBezTo>
                <a:cubicBezTo>
                  <a:pt x="908" y="141"/>
                  <a:pt x="908" y="141"/>
                  <a:pt x="908" y="141"/>
                </a:cubicBezTo>
                <a:cubicBezTo>
                  <a:pt x="909" y="143"/>
                  <a:pt x="909" y="143"/>
                  <a:pt x="909" y="143"/>
                </a:cubicBezTo>
                <a:cubicBezTo>
                  <a:pt x="912" y="142"/>
                  <a:pt x="912" y="142"/>
                  <a:pt x="912" y="142"/>
                </a:cubicBezTo>
                <a:cubicBezTo>
                  <a:pt x="912" y="141"/>
                  <a:pt x="912" y="141"/>
                  <a:pt x="912" y="141"/>
                </a:cubicBezTo>
                <a:cubicBezTo>
                  <a:pt x="911" y="140"/>
                  <a:pt x="911" y="140"/>
                  <a:pt x="911" y="140"/>
                </a:cubicBezTo>
                <a:cubicBezTo>
                  <a:pt x="912" y="139"/>
                  <a:pt x="912" y="139"/>
                  <a:pt x="912" y="139"/>
                </a:cubicBezTo>
                <a:cubicBezTo>
                  <a:pt x="912" y="138"/>
                  <a:pt x="912" y="138"/>
                  <a:pt x="912" y="138"/>
                </a:cubicBezTo>
                <a:cubicBezTo>
                  <a:pt x="915" y="140"/>
                  <a:pt x="915" y="140"/>
                  <a:pt x="915" y="140"/>
                </a:cubicBezTo>
                <a:cubicBezTo>
                  <a:pt x="915" y="141"/>
                  <a:pt x="915" y="141"/>
                  <a:pt x="915" y="141"/>
                </a:cubicBezTo>
                <a:cubicBezTo>
                  <a:pt x="914" y="143"/>
                  <a:pt x="914" y="143"/>
                  <a:pt x="914" y="143"/>
                </a:cubicBezTo>
                <a:cubicBezTo>
                  <a:pt x="915" y="144"/>
                  <a:pt x="915" y="144"/>
                  <a:pt x="915" y="144"/>
                </a:cubicBezTo>
                <a:cubicBezTo>
                  <a:pt x="915" y="145"/>
                  <a:pt x="915" y="145"/>
                  <a:pt x="915" y="145"/>
                </a:cubicBezTo>
                <a:cubicBezTo>
                  <a:pt x="913" y="146"/>
                  <a:pt x="913" y="146"/>
                  <a:pt x="913" y="146"/>
                </a:cubicBezTo>
                <a:cubicBezTo>
                  <a:pt x="912" y="147"/>
                  <a:pt x="912" y="147"/>
                  <a:pt x="912" y="147"/>
                </a:cubicBezTo>
                <a:cubicBezTo>
                  <a:pt x="913" y="148"/>
                  <a:pt x="913" y="148"/>
                  <a:pt x="913" y="148"/>
                </a:cubicBezTo>
                <a:cubicBezTo>
                  <a:pt x="917" y="148"/>
                  <a:pt x="917" y="148"/>
                  <a:pt x="917" y="148"/>
                </a:cubicBezTo>
                <a:cubicBezTo>
                  <a:pt x="918" y="149"/>
                  <a:pt x="918" y="149"/>
                  <a:pt x="918" y="149"/>
                </a:cubicBezTo>
                <a:cubicBezTo>
                  <a:pt x="918" y="150"/>
                  <a:pt x="918" y="150"/>
                  <a:pt x="918" y="150"/>
                </a:cubicBezTo>
                <a:cubicBezTo>
                  <a:pt x="918" y="152"/>
                  <a:pt x="918" y="152"/>
                  <a:pt x="918" y="152"/>
                </a:cubicBezTo>
                <a:cubicBezTo>
                  <a:pt x="919" y="151"/>
                  <a:pt x="919" y="151"/>
                  <a:pt x="919" y="151"/>
                </a:cubicBezTo>
                <a:cubicBezTo>
                  <a:pt x="919" y="150"/>
                  <a:pt x="919" y="150"/>
                  <a:pt x="919" y="150"/>
                </a:cubicBezTo>
                <a:cubicBezTo>
                  <a:pt x="920" y="149"/>
                  <a:pt x="920" y="149"/>
                  <a:pt x="920" y="149"/>
                </a:cubicBezTo>
                <a:cubicBezTo>
                  <a:pt x="921" y="149"/>
                  <a:pt x="921" y="149"/>
                  <a:pt x="921" y="149"/>
                </a:cubicBezTo>
                <a:cubicBezTo>
                  <a:pt x="921" y="150"/>
                  <a:pt x="921" y="150"/>
                  <a:pt x="921" y="150"/>
                </a:cubicBezTo>
                <a:cubicBezTo>
                  <a:pt x="920" y="152"/>
                  <a:pt x="920" y="152"/>
                  <a:pt x="920" y="152"/>
                </a:cubicBezTo>
                <a:cubicBezTo>
                  <a:pt x="920" y="153"/>
                  <a:pt x="920" y="153"/>
                  <a:pt x="920" y="153"/>
                </a:cubicBezTo>
                <a:cubicBezTo>
                  <a:pt x="919" y="153"/>
                  <a:pt x="919" y="153"/>
                  <a:pt x="919" y="153"/>
                </a:cubicBezTo>
                <a:cubicBezTo>
                  <a:pt x="918" y="156"/>
                  <a:pt x="918" y="156"/>
                  <a:pt x="918" y="156"/>
                </a:cubicBezTo>
                <a:cubicBezTo>
                  <a:pt x="918" y="157"/>
                  <a:pt x="918" y="157"/>
                  <a:pt x="918" y="157"/>
                </a:cubicBezTo>
                <a:cubicBezTo>
                  <a:pt x="919" y="158"/>
                  <a:pt x="919" y="158"/>
                  <a:pt x="919" y="158"/>
                </a:cubicBezTo>
                <a:cubicBezTo>
                  <a:pt x="919" y="159"/>
                  <a:pt x="919" y="159"/>
                  <a:pt x="919" y="159"/>
                </a:cubicBezTo>
                <a:cubicBezTo>
                  <a:pt x="918" y="161"/>
                  <a:pt x="918" y="161"/>
                  <a:pt x="918" y="161"/>
                </a:cubicBezTo>
                <a:cubicBezTo>
                  <a:pt x="918" y="163"/>
                  <a:pt x="918" y="163"/>
                  <a:pt x="918" y="163"/>
                </a:cubicBezTo>
                <a:cubicBezTo>
                  <a:pt x="919" y="163"/>
                  <a:pt x="919" y="163"/>
                  <a:pt x="919" y="163"/>
                </a:cubicBezTo>
                <a:cubicBezTo>
                  <a:pt x="918" y="164"/>
                  <a:pt x="918" y="164"/>
                  <a:pt x="918" y="164"/>
                </a:cubicBezTo>
                <a:cubicBezTo>
                  <a:pt x="918" y="168"/>
                  <a:pt x="918" y="168"/>
                  <a:pt x="918" y="168"/>
                </a:cubicBezTo>
                <a:cubicBezTo>
                  <a:pt x="917" y="169"/>
                  <a:pt x="917" y="169"/>
                  <a:pt x="917" y="169"/>
                </a:cubicBezTo>
                <a:cubicBezTo>
                  <a:pt x="918" y="171"/>
                  <a:pt x="918" y="171"/>
                  <a:pt x="918" y="171"/>
                </a:cubicBezTo>
                <a:cubicBezTo>
                  <a:pt x="918" y="172"/>
                  <a:pt x="918" y="172"/>
                  <a:pt x="918" y="172"/>
                </a:cubicBezTo>
                <a:cubicBezTo>
                  <a:pt x="915" y="173"/>
                  <a:pt x="915" y="173"/>
                  <a:pt x="915" y="173"/>
                </a:cubicBezTo>
                <a:cubicBezTo>
                  <a:pt x="912" y="173"/>
                  <a:pt x="912" y="173"/>
                  <a:pt x="912" y="173"/>
                </a:cubicBezTo>
                <a:cubicBezTo>
                  <a:pt x="911" y="173"/>
                  <a:pt x="911" y="173"/>
                  <a:pt x="911" y="173"/>
                </a:cubicBezTo>
                <a:cubicBezTo>
                  <a:pt x="910" y="175"/>
                  <a:pt x="910" y="175"/>
                  <a:pt x="910" y="175"/>
                </a:cubicBezTo>
                <a:cubicBezTo>
                  <a:pt x="907" y="178"/>
                  <a:pt x="907" y="178"/>
                  <a:pt x="907" y="178"/>
                </a:cubicBezTo>
                <a:cubicBezTo>
                  <a:pt x="907" y="179"/>
                  <a:pt x="907" y="179"/>
                  <a:pt x="907" y="179"/>
                </a:cubicBezTo>
                <a:cubicBezTo>
                  <a:pt x="909" y="181"/>
                  <a:pt x="909" y="181"/>
                  <a:pt x="909" y="181"/>
                </a:cubicBezTo>
                <a:cubicBezTo>
                  <a:pt x="908" y="181"/>
                  <a:pt x="908" y="181"/>
                  <a:pt x="908" y="181"/>
                </a:cubicBezTo>
                <a:cubicBezTo>
                  <a:pt x="907" y="181"/>
                  <a:pt x="907" y="181"/>
                  <a:pt x="907" y="181"/>
                </a:cubicBezTo>
                <a:cubicBezTo>
                  <a:pt x="906" y="180"/>
                  <a:pt x="906" y="180"/>
                  <a:pt x="906" y="180"/>
                </a:cubicBezTo>
                <a:cubicBezTo>
                  <a:pt x="905" y="180"/>
                  <a:pt x="905" y="180"/>
                  <a:pt x="905" y="180"/>
                </a:cubicBezTo>
                <a:cubicBezTo>
                  <a:pt x="902" y="183"/>
                  <a:pt x="902" y="183"/>
                  <a:pt x="902" y="183"/>
                </a:cubicBezTo>
                <a:cubicBezTo>
                  <a:pt x="901" y="184"/>
                  <a:pt x="901" y="184"/>
                  <a:pt x="901" y="184"/>
                </a:cubicBezTo>
                <a:cubicBezTo>
                  <a:pt x="897" y="186"/>
                  <a:pt x="897" y="186"/>
                  <a:pt x="897" y="186"/>
                </a:cubicBezTo>
                <a:cubicBezTo>
                  <a:pt x="894" y="188"/>
                  <a:pt x="894" y="188"/>
                  <a:pt x="894" y="188"/>
                </a:cubicBezTo>
                <a:cubicBezTo>
                  <a:pt x="893" y="188"/>
                  <a:pt x="893" y="188"/>
                  <a:pt x="893" y="188"/>
                </a:cubicBezTo>
                <a:cubicBezTo>
                  <a:pt x="892" y="189"/>
                  <a:pt x="892" y="189"/>
                  <a:pt x="892" y="189"/>
                </a:cubicBezTo>
                <a:cubicBezTo>
                  <a:pt x="892" y="192"/>
                  <a:pt x="892" y="192"/>
                  <a:pt x="892" y="192"/>
                </a:cubicBezTo>
                <a:cubicBezTo>
                  <a:pt x="893" y="193"/>
                  <a:pt x="893" y="193"/>
                  <a:pt x="893" y="193"/>
                </a:cubicBezTo>
                <a:cubicBezTo>
                  <a:pt x="893" y="195"/>
                  <a:pt x="893" y="195"/>
                  <a:pt x="893" y="195"/>
                </a:cubicBezTo>
                <a:cubicBezTo>
                  <a:pt x="895" y="198"/>
                  <a:pt x="895" y="198"/>
                  <a:pt x="895" y="198"/>
                </a:cubicBezTo>
                <a:cubicBezTo>
                  <a:pt x="896" y="203"/>
                  <a:pt x="896" y="203"/>
                  <a:pt x="896" y="203"/>
                </a:cubicBezTo>
                <a:cubicBezTo>
                  <a:pt x="895" y="204"/>
                  <a:pt x="895" y="204"/>
                  <a:pt x="895" y="204"/>
                </a:cubicBezTo>
                <a:cubicBezTo>
                  <a:pt x="894" y="203"/>
                  <a:pt x="894" y="203"/>
                  <a:pt x="894" y="203"/>
                </a:cubicBezTo>
                <a:cubicBezTo>
                  <a:pt x="893" y="204"/>
                  <a:pt x="893" y="204"/>
                  <a:pt x="893" y="204"/>
                </a:cubicBezTo>
                <a:cubicBezTo>
                  <a:pt x="892" y="206"/>
                  <a:pt x="892" y="206"/>
                  <a:pt x="892" y="206"/>
                </a:cubicBezTo>
                <a:cubicBezTo>
                  <a:pt x="892" y="204"/>
                  <a:pt x="892" y="204"/>
                  <a:pt x="892" y="204"/>
                </a:cubicBezTo>
                <a:cubicBezTo>
                  <a:pt x="892" y="201"/>
                  <a:pt x="892" y="201"/>
                  <a:pt x="892" y="201"/>
                </a:cubicBezTo>
                <a:cubicBezTo>
                  <a:pt x="891" y="200"/>
                  <a:pt x="891" y="200"/>
                  <a:pt x="891" y="200"/>
                </a:cubicBezTo>
                <a:cubicBezTo>
                  <a:pt x="889" y="201"/>
                  <a:pt x="889" y="201"/>
                  <a:pt x="889" y="201"/>
                </a:cubicBezTo>
                <a:cubicBezTo>
                  <a:pt x="888" y="203"/>
                  <a:pt x="888" y="203"/>
                  <a:pt x="888" y="203"/>
                </a:cubicBezTo>
                <a:cubicBezTo>
                  <a:pt x="886" y="205"/>
                  <a:pt x="886" y="205"/>
                  <a:pt x="886" y="205"/>
                </a:cubicBezTo>
                <a:cubicBezTo>
                  <a:pt x="885" y="204"/>
                  <a:pt x="885" y="204"/>
                  <a:pt x="885" y="204"/>
                </a:cubicBezTo>
                <a:cubicBezTo>
                  <a:pt x="885" y="203"/>
                  <a:pt x="885" y="203"/>
                  <a:pt x="885" y="203"/>
                </a:cubicBezTo>
                <a:cubicBezTo>
                  <a:pt x="885" y="203"/>
                  <a:pt x="885" y="203"/>
                  <a:pt x="885" y="203"/>
                </a:cubicBezTo>
                <a:cubicBezTo>
                  <a:pt x="883" y="203"/>
                  <a:pt x="883" y="203"/>
                  <a:pt x="883" y="203"/>
                </a:cubicBezTo>
                <a:cubicBezTo>
                  <a:pt x="882" y="204"/>
                  <a:pt x="882" y="204"/>
                  <a:pt x="882" y="204"/>
                </a:cubicBezTo>
                <a:cubicBezTo>
                  <a:pt x="881" y="206"/>
                  <a:pt x="881" y="206"/>
                  <a:pt x="881" y="206"/>
                </a:cubicBezTo>
                <a:cubicBezTo>
                  <a:pt x="878" y="205"/>
                  <a:pt x="878" y="205"/>
                  <a:pt x="878" y="205"/>
                </a:cubicBezTo>
                <a:cubicBezTo>
                  <a:pt x="877" y="205"/>
                  <a:pt x="877" y="205"/>
                  <a:pt x="877" y="205"/>
                </a:cubicBezTo>
                <a:cubicBezTo>
                  <a:pt x="876" y="204"/>
                  <a:pt x="876" y="204"/>
                  <a:pt x="876" y="204"/>
                </a:cubicBezTo>
                <a:cubicBezTo>
                  <a:pt x="875" y="204"/>
                  <a:pt x="875" y="204"/>
                  <a:pt x="875" y="204"/>
                </a:cubicBezTo>
                <a:cubicBezTo>
                  <a:pt x="873" y="205"/>
                  <a:pt x="873" y="205"/>
                  <a:pt x="873" y="205"/>
                </a:cubicBezTo>
                <a:cubicBezTo>
                  <a:pt x="871" y="204"/>
                  <a:pt x="871" y="204"/>
                  <a:pt x="871" y="204"/>
                </a:cubicBezTo>
                <a:cubicBezTo>
                  <a:pt x="870" y="204"/>
                  <a:pt x="870" y="204"/>
                  <a:pt x="870" y="204"/>
                </a:cubicBezTo>
                <a:cubicBezTo>
                  <a:pt x="869" y="202"/>
                  <a:pt x="869" y="202"/>
                  <a:pt x="869" y="202"/>
                </a:cubicBezTo>
                <a:cubicBezTo>
                  <a:pt x="867" y="201"/>
                  <a:pt x="867" y="201"/>
                  <a:pt x="867" y="201"/>
                </a:cubicBezTo>
                <a:cubicBezTo>
                  <a:pt x="864" y="201"/>
                  <a:pt x="864" y="201"/>
                  <a:pt x="864" y="201"/>
                </a:cubicBezTo>
                <a:cubicBezTo>
                  <a:pt x="862" y="197"/>
                  <a:pt x="862" y="197"/>
                  <a:pt x="862" y="197"/>
                </a:cubicBezTo>
                <a:cubicBezTo>
                  <a:pt x="862" y="198"/>
                  <a:pt x="862" y="198"/>
                  <a:pt x="862" y="198"/>
                </a:cubicBezTo>
                <a:cubicBezTo>
                  <a:pt x="862" y="199"/>
                  <a:pt x="862" y="199"/>
                  <a:pt x="862" y="199"/>
                </a:cubicBezTo>
                <a:cubicBezTo>
                  <a:pt x="862" y="200"/>
                  <a:pt x="862" y="200"/>
                  <a:pt x="862" y="200"/>
                </a:cubicBezTo>
                <a:cubicBezTo>
                  <a:pt x="860" y="200"/>
                  <a:pt x="860" y="200"/>
                  <a:pt x="860" y="200"/>
                </a:cubicBezTo>
                <a:cubicBezTo>
                  <a:pt x="860" y="200"/>
                  <a:pt x="860" y="200"/>
                  <a:pt x="860" y="200"/>
                </a:cubicBezTo>
                <a:cubicBezTo>
                  <a:pt x="860" y="202"/>
                  <a:pt x="860" y="202"/>
                  <a:pt x="860" y="202"/>
                </a:cubicBezTo>
                <a:cubicBezTo>
                  <a:pt x="861" y="203"/>
                  <a:pt x="861" y="203"/>
                  <a:pt x="861" y="203"/>
                </a:cubicBezTo>
                <a:cubicBezTo>
                  <a:pt x="861" y="204"/>
                  <a:pt x="861" y="204"/>
                  <a:pt x="861" y="204"/>
                </a:cubicBezTo>
                <a:cubicBezTo>
                  <a:pt x="860" y="204"/>
                  <a:pt x="860" y="204"/>
                  <a:pt x="860" y="204"/>
                </a:cubicBezTo>
                <a:cubicBezTo>
                  <a:pt x="858" y="205"/>
                  <a:pt x="858" y="205"/>
                  <a:pt x="858" y="205"/>
                </a:cubicBezTo>
                <a:cubicBezTo>
                  <a:pt x="857" y="206"/>
                  <a:pt x="857" y="206"/>
                  <a:pt x="857" y="206"/>
                </a:cubicBezTo>
                <a:cubicBezTo>
                  <a:pt x="855" y="206"/>
                  <a:pt x="855" y="206"/>
                  <a:pt x="855" y="206"/>
                </a:cubicBezTo>
                <a:cubicBezTo>
                  <a:pt x="853" y="208"/>
                  <a:pt x="853" y="208"/>
                  <a:pt x="853" y="208"/>
                </a:cubicBezTo>
                <a:cubicBezTo>
                  <a:pt x="853" y="210"/>
                  <a:pt x="853" y="210"/>
                  <a:pt x="853" y="210"/>
                </a:cubicBezTo>
                <a:cubicBezTo>
                  <a:pt x="852" y="211"/>
                  <a:pt x="852" y="211"/>
                  <a:pt x="852" y="211"/>
                </a:cubicBezTo>
                <a:cubicBezTo>
                  <a:pt x="851" y="213"/>
                  <a:pt x="851" y="213"/>
                  <a:pt x="851" y="213"/>
                </a:cubicBezTo>
                <a:cubicBezTo>
                  <a:pt x="852" y="217"/>
                  <a:pt x="852" y="217"/>
                  <a:pt x="852" y="217"/>
                </a:cubicBezTo>
                <a:cubicBezTo>
                  <a:pt x="854" y="218"/>
                  <a:pt x="854" y="218"/>
                  <a:pt x="854" y="218"/>
                </a:cubicBezTo>
                <a:cubicBezTo>
                  <a:pt x="855" y="218"/>
                  <a:pt x="855" y="218"/>
                  <a:pt x="855" y="218"/>
                </a:cubicBezTo>
                <a:cubicBezTo>
                  <a:pt x="857" y="220"/>
                  <a:pt x="857" y="220"/>
                  <a:pt x="857" y="220"/>
                </a:cubicBezTo>
                <a:cubicBezTo>
                  <a:pt x="857" y="221"/>
                  <a:pt x="857" y="221"/>
                  <a:pt x="857" y="221"/>
                </a:cubicBezTo>
                <a:cubicBezTo>
                  <a:pt x="860" y="222"/>
                  <a:pt x="860" y="222"/>
                  <a:pt x="860" y="222"/>
                </a:cubicBezTo>
                <a:cubicBezTo>
                  <a:pt x="861" y="222"/>
                  <a:pt x="861" y="222"/>
                  <a:pt x="861" y="222"/>
                </a:cubicBezTo>
                <a:cubicBezTo>
                  <a:pt x="862" y="221"/>
                  <a:pt x="862" y="221"/>
                  <a:pt x="862" y="221"/>
                </a:cubicBezTo>
                <a:cubicBezTo>
                  <a:pt x="864" y="221"/>
                  <a:pt x="864" y="221"/>
                  <a:pt x="864" y="221"/>
                </a:cubicBezTo>
                <a:cubicBezTo>
                  <a:pt x="865" y="220"/>
                  <a:pt x="865" y="220"/>
                  <a:pt x="865" y="220"/>
                </a:cubicBezTo>
                <a:cubicBezTo>
                  <a:pt x="867" y="220"/>
                  <a:pt x="867" y="220"/>
                  <a:pt x="867" y="220"/>
                </a:cubicBezTo>
                <a:cubicBezTo>
                  <a:pt x="868" y="220"/>
                  <a:pt x="868" y="220"/>
                  <a:pt x="868" y="220"/>
                </a:cubicBezTo>
                <a:cubicBezTo>
                  <a:pt x="870" y="220"/>
                  <a:pt x="870" y="220"/>
                  <a:pt x="870" y="220"/>
                </a:cubicBezTo>
                <a:cubicBezTo>
                  <a:pt x="871" y="220"/>
                  <a:pt x="871" y="220"/>
                  <a:pt x="871" y="220"/>
                </a:cubicBezTo>
                <a:cubicBezTo>
                  <a:pt x="871" y="218"/>
                  <a:pt x="871" y="218"/>
                  <a:pt x="871" y="218"/>
                </a:cubicBezTo>
                <a:cubicBezTo>
                  <a:pt x="871" y="216"/>
                  <a:pt x="871" y="216"/>
                  <a:pt x="871" y="216"/>
                </a:cubicBezTo>
                <a:cubicBezTo>
                  <a:pt x="872" y="216"/>
                  <a:pt x="872" y="216"/>
                  <a:pt x="872" y="216"/>
                </a:cubicBezTo>
                <a:cubicBezTo>
                  <a:pt x="874" y="219"/>
                  <a:pt x="874" y="219"/>
                  <a:pt x="874" y="219"/>
                </a:cubicBezTo>
                <a:cubicBezTo>
                  <a:pt x="876" y="219"/>
                  <a:pt x="876" y="219"/>
                  <a:pt x="876" y="219"/>
                </a:cubicBezTo>
                <a:cubicBezTo>
                  <a:pt x="877" y="221"/>
                  <a:pt x="877" y="221"/>
                  <a:pt x="877" y="221"/>
                </a:cubicBezTo>
                <a:cubicBezTo>
                  <a:pt x="879" y="221"/>
                  <a:pt x="879" y="221"/>
                  <a:pt x="879" y="221"/>
                </a:cubicBezTo>
                <a:cubicBezTo>
                  <a:pt x="880" y="220"/>
                  <a:pt x="880" y="220"/>
                  <a:pt x="880" y="220"/>
                </a:cubicBezTo>
                <a:cubicBezTo>
                  <a:pt x="881" y="219"/>
                  <a:pt x="881" y="219"/>
                  <a:pt x="881" y="219"/>
                </a:cubicBezTo>
                <a:cubicBezTo>
                  <a:pt x="882" y="219"/>
                  <a:pt x="882" y="219"/>
                  <a:pt x="882" y="219"/>
                </a:cubicBezTo>
                <a:cubicBezTo>
                  <a:pt x="884" y="217"/>
                  <a:pt x="884" y="217"/>
                  <a:pt x="884" y="217"/>
                </a:cubicBezTo>
                <a:cubicBezTo>
                  <a:pt x="885" y="216"/>
                  <a:pt x="885" y="216"/>
                  <a:pt x="885" y="216"/>
                </a:cubicBezTo>
                <a:cubicBezTo>
                  <a:pt x="885" y="218"/>
                  <a:pt x="885" y="218"/>
                  <a:pt x="885" y="218"/>
                </a:cubicBezTo>
                <a:cubicBezTo>
                  <a:pt x="885" y="220"/>
                  <a:pt x="885" y="220"/>
                  <a:pt x="885" y="220"/>
                </a:cubicBezTo>
                <a:cubicBezTo>
                  <a:pt x="884" y="221"/>
                  <a:pt x="884" y="221"/>
                  <a:pt x="884" y="221"/>
                </a:cubicBezTo>
                <a:cubicBezTo>
                  <a:pt x="884" y="223"/>
                  <a:pt x="884" y="223"/>
                  <a:pt x="884" y="223"/>
                </a:cubicBezTo>
                <a:cubicBezTo>
                  <a:pt x="885" y="222"/>
                  <a:pt x="885" y="222"/>
                  <a:pt x="885" y="222"/>
                </a:cubicBezTo>
                <a:cubicBezTo>
                  <a:pt x="887" y="219"/>
                  <a:pt x="887" y="219"/>
                  <a:pt x="887" y="219"/>
                </a:cubicBezTo>
                <a:cubicBezTo>
                  <a:pt x="887" y="220"/>
                  <a:pt x="887" y="220"/>
                  <a:pt x="887" y="220"/>
                </a:cubicBezTo>
                <a:cubicBezTo>
                  <a:pt x="888" y="219"/>
                  <a:pt x="888" y="219"/>
                  <a:pt x="888" y="219"/>
                </a:cubicBezTo>
                <a:cubicBezTo>
                  <a:pt x="890" y="220"/>
                  <a:pt x="890" y="220"/>
                  <a:pt x="890" y="220"/>
                </a:cubicBezTo>
                <a:cubicBezTo>
                  <a:pt x="888" y="222"/>
                  <a:pt x="888" y="222"/>
                  <a:pt x="888" y="222"/>
                </a:cubicBezTo>
                <a:cubicBezTo>
                  <a:pt x="889" y="223"/>
                  <a:pt x="889" y="223"/>
                  <a:pt x="889" y="223"/>
                </a:cubicBezTo>
                <a:cubicBezTo>
                  <a:pt x="889" y="221"/>
                  <a:pt x="889" y="221"/>
                  <a:pt x="889" y="221"/>
                </a:cubicBezTo>
                <a:cubicBezTo>
                  <a:pt x="893" y="219"/>
                  <a:pt x="893" y="219"/>
                  <a:pt x="893" y="219"/>
                </a:cubicBezTo>
                <a:cubicBezTo>
                  <a:pt x="893" y="220"/>
                  <a:pt x="893" y="220"/>
                  <a:pt x="893" y="220"/>
                </a:cubicBezTo>
                <a:cubicBezTo>
                  <a:pt x="891" y="222"/>
                  <a:pt x="891" y="222"/>
                  <a:pt x="891" y="222"/>
                </a:cubicBezTo>
                <a:cubicBezTo>
                  <a:pt x="891" y="223"/>
                  <a:pt x="891" y="223"/>
                  <a:pt x="891" y="223"/>
                </a:cubicBezTo>
                <a:cubicBezTo>
                  <a:pt x="892" y="224"/>
                  <a:pt x="892" y="224"/>
                  <a:pt x="892" y="224"/>
                </a:cubicBezTo>
                <a:cubicBezTo>
                  <a:pt x="893" y="227"/>
                  <a:pt x="893" y="227"/>
                  <a:pt x="893" y="227"/>
                </a:cubicBezTo>
                <a:cubicBezTo>
                  <a:pt x="893" y="228"/>
                  <a:pt x="893" y="228"/>
                  <a:pt x="893" y="228"/>
                </a:cubicBezTo>
                <a:cubicBezTo>
                  <a:pt x="894" y="230"/>
                  <a:pt x="894" y="230"/>
                  <a:pt x="894" y="230"/>
                </a:cubicBezTo>
                <a:cubicBezTo>
                  <a:pt x="895" y="230"/>
                  <a:pt x="895" y="230"/>
                  <a:pt x="895" y="230"/>
                </a:cubicBezTo>
                <a:cubicBezTo>
                  <a:pt x="895" y="232"/>
                  <a:pt x="895" y="232"/>
                  <a:pt x="895" y="232"/>
                </a:cubicBezTo>
                <a:cubicBezTo>
                  <a:pt x="896" y="233"/>
                  <a:pt x="896" y="233"/>
                  <a:pt x="896" y="233"/>
                </a:cubicBezTo>
                <a:cubicBezTo>
                  <a:pt x="897" y="231"/>
                  <a:pt x="897" y="231"/>
                  <a:pt x="897" y="231"/>
                </a:cubicBezTo>
                <a:cubicBezTo>
                  <a:pt x="897" y="234"/>
                  <a:pt x="897" y="234"/>
                  <a:pt x="897" y="234"/>
                </a:cubicBezTo>
                <a:cubicBezTo>
                  <a:pt x="896" y="235"/>
                  <a:pt x="896" y="235"/>
                  <a:pt x="896" y="235"/>
                </a:cubicBezTo>
                <a:cubicBezTo>
                  <a:pt x="897" y="237"/>
                  <a:pt x="897" y="237"/>
                  <a:pt x="897" y="237"/>
                </a:cubicBezTo>
                <a:cubicBezTo>
                  <a:pt x="898" y="235"/>
                  <a:pt x="898" y="235"/>
                  <a:pt x="898" y="235"/>
                </a:cubicBezTo>
                <a:cubicBezTo>
                  <a:pt x="899" y="234"/>
                  <a:pt x="899" y="234"/>
                  <a:pt x="899" y="234"/>
                </a:cubicBezTo>
                <a:cubicBezTo>
                  <a:pt x="900" y="233"/>
                  <a:pt x="900" y="233"/>
                  <a:pt x="900" y="233"/>
                </a:cubicBezTo>
                <a:cubicBezTo>
                  <a:pt x="899" y="234"/>
                  <a:pt x="899" y="234"/>
                  <a:pt x="899" y="234"/>
                </a:cubicBezTo>
                <a:cubicBezTo>
                  <a:pt x="900" y="236"/>
                  <a:pt x="900" y="236"/>
                  <a:pt x="900" y="236"/>
                </a:cubicBezTo>
                <a:cubicBezTo>
                  <a:pt x="901" y="238"/>
                  <a:pt x="901" y="238"/>
                  <a:pt x="901" y="238"/>
                </a:cubicBezTo>
                <a:cubicBezTo>
                  <a:pt x="904" y="238"/>
                  <a:pt x="904" y="238"/>
                  <a:pt x="904" y="238"/>
                </a:cubicBezTo>
                <a:cubicBezTo>
                  <a:pt x="904" y="239"/>
                  <a:pt x="904" y="239"/>
                  <a:pt x="904" y="239"/>
                </a:cubicBezTo>
                <a:cubicBezTo>
                  <a:pt x="900" y="241"/>
                  <a:pt x="900" y="241"/>
                  <a:pt x="900" y="241"/>
                </a:cubicBezTo>
                <a:cubicBezTo>
                  <a:pt x="897" y="241"/>
                  <a:pt x="897" y="241"/>
                  <a:pt x="897" y="241"/>
                </a:cubicBezTo>
                <a:cubicBezTo>
                  <a:pt x="897" y="242"/>
                  <a:pt x="897" y="242"/>
                  <a:pt x="897" y="242"/>
                </a:cubicBezTo>
                <a:cubicBezTo>
                  <a:pt x="898" y="243"/>
                  <a:pt x="898" y="243"/>
                  <a:pt x="898" y="243"/>
                </a:cubicBezTo>
                <a:cubicBezTo>
                  <a:pt x="899" y="245"/>
                  <a:pt x="899" y="245"/>
                  <a:pt x="899" y="245"/>
                </a:cubicBezTo>
                <a:cubicBezTo>
                  <a:pt x="900" y="247"/>
                  <a:pt x="900" y="247"/>
                  <a:pt x="900" y="247"/>
                </a:cubicBezTo>
                <a:cubicBezTo>
                  <a:pt x="901" y="248"/>
                  <a:pt x="901" y="248"/>
                  <a:pt x="901" y="248"/>
                </a:cubicBezTo>
                <a:cubicBezTo>
                  <a:pt x="902" y="249"/>
                  <a:pt x="902" y="249"/>
                  <a:pt x="902" y="249"/>
                </a:cubicBezTo>
                <a:cubicBezTo>
                  <a:pt x="902" y="250"/>
                  <a:pt x="902" y="250"/>
                  <a:pt x="902" y="250"/>
                </a:cubicBezTo>
                <a:cubicBezTo>
                  <a:pt x="904" y="251"/>
                  <a:pt x="904" y="251"/>
                  <a:pt x="904" y="251"/>
                </a:cubicBezTo>
                <a:cubicBezTo>
                  <a:pt x="905" y="252"/>
                  <a:pt x="905" y="252"/>
                  <a:pt x="905" y="252"/>
                </a:cubicBezTo>
                <a:cubicBezTo>
                  <a:pt x="906" y="252"/>
                  <a:pt x="906" y="252"/>
                  <a:pt x="906" y="252"/>
                </a:cubicBezTo>
                <a:cubicBezTo>
                  <a:pt x="909" y="254"/>
                  <a:pt x="909" y="254"/>
                  <a:pt x="909" y="254"/>
                </a:cubicBezTo>
                <a:cubicBezTo>
                  <a:pt x="911" y="254"/>
                  <a:pt x="911" y="254"/>
                  <a:pt x="911" y="254"/>
                </a:cubicBezTo>
                <a:cubicBezTo>
                  <a:pt x="911" y="255"/>
                  <a:pt x="911" y="255"/>
                  <a:pt x="911" y="255"/>
                </a:cubicBezTo>
                <a:cubicBezTo>
                  <a:pt x="912" y="256"/>
                  <a:pt x="912" y="256"/>
                  <a:pt x="912" y="256"/>
                </a:cubicBezTo>
                <a:cubicBezTo>
                  <a:pt x="913" y="255"/>
                  <a:pt x="913" y="255"/>
                  <a:pt x="913" y="255"/>
                </a:cubicBezTo>
                <a:cubicBezTo>
                  <a:pt x="913" y="255"/>
                  <a:pt x="913" y="255"/>
                  <a:pt x="913" y="255"/>
                </a:cubicBezTo>
                <a:cubicBezTo>
                  <a:pt x="915" y="255"/>
                  <a:pt x="915" y="255"/>
                  <a:pt x="915" y="255"/>
                </a:cubicBezTo>
                <a:cubicBezTo>
                  <a:pt x="914" y="256"/>
                  <a:pt x="914" y="256"/>
                  <a:pt x="914" y="256"/>
                </a:cubicBezTo>
                <a:cubicBezTo>
                  <a:pt x="913" y="257"/>
                  <a:pt x="913" y="257"/>
                  <a:pt x="913" y="257"/>
                </a:cubicBezTo>
                <a:cubicBezTo>
                  <a:pt x="914" y="259"/>
                  <a:pt x="914" y="259"/>
                  <a:pt x="914" y="259"/>
                </a:cubicBezTo>
                <a:cubicBezTo>
                  <a:pt x="915" y="259"/>
                  <a:pt x="915" y="259"/>
                  <a:pt x="915" y="259"/>
                </a:cubicBezTo>
                <a:cubicBezTo>
                  <a:pt x="916" y="259"/>
                  <a:pt x="916" y="259"/>
                  <a:pt x="916" y="259"/>
                </a:cubicBezTo>
                <a:cubicBezTo>
                  <a:pt x="916" y="261"/>
                  <a:pt x="916" y="261"/>
                  <a:pt x="916" y="261"/>
                </a:cubicBezTo>
                <a:cubicBezTo>
                  <a:pt x="918" y="263"/>
                  <a:pt x="918" y="263"/>
                  <a:pt x="918" y="263"/>
                </a:cubicBezTo>
                <a:cubicBezTo>
                  <a:pt x="920" y="263"/>
                  <a:pt x="920" y="263"/>
                  <a:pt x="920" y="263"/>
                </a:cubicBezTo>
                <a:cubicBezTo>
                  <a:pt x="921" y="264"/>
                  <a:pt x="921" y="264"/>
                  <a:pt x="921" y="264"/>
                </a:cubicBezTo>
                <a:cubicBezTo>
                  <a:pt x="921" y="265"/>
                  <a:pt x="921" y="265"/>
                  <a:pt x="921" y="265"/>
                </a:cubicBezTo>
                <a:cubicBezTo>
                  <a:pt x="924" y="266"/>
                  <a:pt x="924" y="266"/>
                  <a:pt x="924" y="266"/>
                </a:cubicBezTo>
                <a:cubicBezTo>
                  <a:pt x="925" y="266"/>
                  <a:pt x="925" y="266"/>
                  <a:pt x="925" y="266"/>
                </a:cubicBezTo>
                <a:cubicBezTo>
                  <a:pt x="926" y="266"/>
                  <a:pt x="926" y="266"/>
                  <a:pt x="926" y="266"/>
                </a:cubicBezTo>
                <a:cubicBezTo>
                  <a:pt x="927" y="266"/>
                  <a:pt x="927" y="266"/>
                  <a:pt x="927" y="266"/>
                </a:cubicBezTo>
                <a:cubicBezTo>
                  <a:pt x="929" y="267"/>
                  <a:pt x="929" y="267"/>
                  <a:pt x="929" y="267"/>
                </a:cubicBezTo>
                <a:cubicBezTo>
                  <a:pt x="929" y="268"/>
                  <a:pt x="929" y="268"/>
                  <a:pt x="929" y="268"/>
                </a:cubicBezTo>
                <a:cubicBezTo>
                  <a:pt x="932" y="270"/>
                  <a:pt x="932" y="270"/>
                  <a:pt x="932" y="270"/>
                </a:cubicBezTo>
                <a:cubicBezTo>
                  <a:pt x="933" y="271"/>
                  <a:pt x="933" y="271"/>
                  <a:pt x="933" y="271"/>
                </a:cubicBezTo>
                <a:cubicBezTo>
                  <a:pt x="935" y="272"/>
                  <a:pt x="935" y="272"/>
                  <a:pt x="935" y="272"/>
                </a:cubicBezTo>
                <a:cubicBezTo>
                  <a:pt x="938" y="273"/>
                  <a:pt x="938" y="273"/>
                  <a:pt x="938" y="273"/>
                </a:cubicBezTo>
                <a:cubicBezTo>
                  <a:pt x="940" y="274"/>
                  <a:pt x="940" y="274"/>
                  <a:pt x="940" y="274"/>
                </a:cubicBezTo>
                <a:cubicBezTo>
                  <a:pt x="941" y="274"/>
                  <a:pt x="941" y="274"/>
                  <a:pt x="941" y="274"/>
                </a:cubicBezTo>
                <a:cubicBezTo>
                  <a:pt x="942" y="273"/>
                  <a:pt x="942" y="273"/>
                  <a:pt x="942" y="273"/>
                </a:cubicBezTo>
                <a:cubicBezTo>
                  <a:pt x="942" y="272"/>
                  <a:pt x="942" y="272"/>
                  <a:pt x="942" y="272"/>
                </a:cubicBezTo>
                <a:cubicBezTo>
                  <a:pt x="941" y="271"/>
                  <a:pt x="941" y="271"/>
                  <a:pt x="941" y="271"/>
                </a:cubicBezTo>
                <a:cubicBezTo>
                  <a:pt x="940" y="270"/>
                  <a:pt x="940" y="270"/>
                  <a:pt x="940" y="270"/>
                </a:cubicBezTo>
                <a:cubicBezTo>
                  <a:pt x="941" y="269"/>
                  <a:pt x="941" y="269"/>
                  <a:pt x="941" y="269"/>
                </a:cubicBezTo>
                <a:cubicBezTo>
                  <a:pt x="942" y="269"/>
                  <a:pt x="942" y="269"/>
                  <a:pt x="942" y="269"/>
                </a:cubicBezTo>
                <a:cubicBezTo>
                  <a:pt x="943" y="268"/>
                  <a:pt x="943" y="268"/>
                  <a:pt x="943" y="268"/>
                </a:cubicBezTo>
                <a:cubicBezTo>
                  <a:pt x="942" y="267"/>
                  <a:pt x="942" y="267"/>
                  <a:pt x="942" y="267"/>
                </a:cubicBezTo>
                <a:cubicBezTo>
                  <a:pt x="941" y="267"/>
                  <a:pt x="941" y="267"/>
                  <a:pt x="941" y="267"/>
                </a:cubicBezTo>
                <a:cubicBezTo>
                  <a:pt x="941" y="267"/>
                  <a:pt x="941" y="267"/>
                  <a:pt x="941" y="267"/>
                </a:cubicBezTo>
                <a:cubicBezTo>
                  <a:pt x="941" y="264"/>
                  <a:pt x="941" y="264"/>
                  <a:pt x="941" y="264"/>
                </a:cubicBezTo>
                <a:cubicBezTo>
                  <a:pt x="941" y="264"/>
                  <a:pt x="941" y="264"/>
                  <a:pt x="941" y="264"/>
                </a:cubicBezTo>
                <a:cubicBezTo>
                  <a:pt x="939" y="266"/>
                  <a:pt x="939" y="266"/>
                  <a:pt x="939" y="266"/>
                </a:cubicBezTo>
                <a:cubicBezTo>
                  <a:pt x="939" y="265"/>
                  <a:pt x="939" y="265"/>
                  <a:pt x="939" y="265"/>
                </a:cubicBezTo>
                <a:cubicBezTo>
                  <a:pt x="938" y="263"/>
                  <a:pt x="938" y="263"/>
                  <a:pt x="938" y="263"/>
                </a:cubicBezTo>
                <a:cubicBezTo>
                  <a:pt x="937" y="263"/>
                  <a:pt x="937" y="263"/>
                  <a:pt x="937" y="263"/>
                </a:cubicBezTo>
                <a:cubicBezTo>
                  <a:pt x="939" y="262"/>
                  <a:pt x="939" y="262"/>
                  <a:pt x="939" y="262"/>
                </a:cubicBezTo>
                <a:cubicBezTo>
                  <a:pt x="938" y="259"/>
                  <a:pt x="938" y="259"/>
                  <a:pt x="938" y="259"/>
                </a:cubicBezTo>
                <a:cubicBezTo>
                  <a:pt x="937" y="259"/>
                  <a:pt x="937" y="259"/>
                  <a:pt x="937" y="259"/>
                </a:cubicBezTo>
                <a:cubicBezTo>
                  <a:pt x="936" y="259"/>
                  <a:pt x="936" y="259"/>
                  <a:pt x="936" y="259"/>
                </a:cubicBezTo>
                <a:cubicBezTo>
                  <a:pt x="936" y="257"/>
                  <a:pt x="936" y="257"/>
                  <a:pt x="936" y="257"/>
                </a:cubicBezTo>
                <a:cubicBezTo>
                  <a:pt x="935" y="255"/>
                  <a:pt x="935" y="255"/>
                  <a:pt x="935" y="255"/>
                </a:cubicBezTo>
                <a:cubicBezTo>
                  <a:pt x="934" y="254"/>
                  <a:pt x="934" y="254"/>
                  <a:pt x="934" y="254"/>
                </a:cubicBezTo>
                <a:cubicBezTo>
                  <a:pt x="933" y="254"/>
                  <a:pt x="933" y="254"/>
                  <a:pt x="933" y="254"/>
                </a:cubicBezTo>
                <a:cubicBezTo>
                  <a:pt x="934" y="253"/>
                  <a:pt x="934" y="253"/>
                  <a:pt x="934" y="253"/>
                </a:cubicBezTo>
                <a:cubicBezTo>
                  <a:pt x="932" y="252"/>
                  <a:pt x="932" y="252"/>
                  <a:pt x="932" y="252"/>
                </a:cubicBezTo>
                <a:cubicBezTo>
                  <a:pt x="932" y="252"/>
                  <a:pt x="932" y="252"/>
                  <a:pt x="932" y="252"/>
                </a:cubicBezTo>
                <a:cubicBezTo>
                  <a:pt x="932" y="251"/>
                  <a:pt x="932" y="251"/>
                  <a:pt x="932" y="251"/>
                </a:cubicBezTo>
                <a:cubicBezTo>
                  <a:pt x="931" y="250"/>
                  <a:pt x="931" y="250"/>
                  <a:pt x="931" y="250"/>
                </a:cubicBezTo>
                <a:cubicBezTo>
                  <a:pt x="928" y="249"/>
                  <a:pt x="928" y="249"/>
                  <a:pt x="928" y="249"/>
                </a:cubicBezTo>
                <a:cubicBezTo>
                  <a:pt x="928" y="249"/>
                  <a:pt x="928" y="249"/>
                  <a:pt x="928" y="249"/>
                </a:cubicBezTo>
                <a:cubicBezTo>
                  <a:pt x="927" y="247"/>
                  <a:pt x="927" y="247"/>
                  <a:pt x="927" y="247"/>
                </a:cubicBezTo>
                <a:cubicBezTo>
                  <a:pt x="927" y="246"/>
                  <a:pt x="927" y="246"/>
                  <a:pt x="927" y="246"/>
                </a:cubicBezTo>
                <a:cubicBezTo>
                  <a:pt x="927" y="245"/>
                  <a:pt x="927" y="245"/>
                  <a:pt x="927" y="245"/>
                </a:cubicBezTo>
                <a:cubicBezTo>
                  <a:pt x="924" y="242"/>
                  <a:pt x="924" y="242"/>
                  <a:pt x="924" y="242"/>
                </a:cubicBezTo>
                <a:cubicBezTo>
                  <a:pt x="924" y="240"/>
                  <a:pt x="924" y="240"/>
                  <a:pt x="924" y="240"/>
                </a:cubicBezTo>
                <a:cubicBezTo>
                  <a:pt x="924" y="238"/>
                  <a:pt x="924" y="238"/>
                  <a:pt x="924" y="238"/>
                </a:cubicBezTo>
                <a:cubicBezTo>
                  <a:pt x="925" y="239"/>
                  <a:pt x="925" y="239"/>
                  <a:pt x="925" y="239"/>
                </a:cubicBezTo>
                <a:cubicBezTo>
                  <a:pt x="926" y="238"/>
                  <a:pt x="926" y="238"/>
                  <a:pt x="926" y="238"/>
                </a:cubicBezTo>
                <a:cubicBezTo>
                  <a:pt x="928" y="238"/>
                  <a:pt x="928" y="238"/>
                  <a:pt x="928" y="238"/>
                </a:cubicBezTo>
                <a:cubicBezTo>
                  <a:pt x="928" y="240"/>
                  <a:pt x="928" y="240"/>
                  <a:pt x="928" y="240"/>
                </a:cubicBezTo>
                <a:cubicBezTo>
                  <a:pt x="930" y="242"/>
                  <a:pt x="930" y="242"/>
                  <a:pt x="930" y="242"/>
                </a:cubicBezTo>
                <a:cubicBezTo>
                  <a:pt x="932" y="244"/>
                  <a:pt x="932" y="244"/>
                  <a:pt x="932" y="244"/>
                </a:cubicBezTo>
                <a:cubicBezTo>
                  <a:pt x="933" y="244"/>
                  <a:pt x="933" y="244"/>
                  <a:pt x="933" y="244"/>
                </a:cubicBezTo>
                <a:cubicBezTo>
                  <a:pt x="933" y="246"/>
                  <a:pt x="933" y="246"/>
                  <a:pt x="933" y="246"/>
                </a:cubicBezTo>
                <a:cubicBezTo>
                  <a:pt x="934" y="247"/>
                  <a:pt x="934" y="247"/>
                  <a:pt x="934" y="247"/>
                </a:cubicBezTo>
                <a:cubicBezTo>
                  <a:pt x="934" y="245"/>
                  <a:pt x="934" y="245"/>
                  <a:pt x="934" y="245"/>
                </a:cubicBezTo>
                <a:cubicBezTo>
                  <a:pt x="933" y="243"/>
                  <a:pt x="933" y="243"/>
                  <a:pt x="933" y="243"/>
                </a:cubicBezTo>
                <a:cubicBezTo>
                  <a:pt x="933" y="242"/>
                  <a:pt x="933" y="242"/>
                  <a:pt x="933" y="242"/>
                </a:cubicBezTo>
                <a:cubicBezTo>
                  <a:pt x="934" y="241"/>
                  <a:pt x="934" y="241"/>
                  <a:pt x="934" y="241"/>
                </a:cubicBezTo>
                <a:cubicBezTo>
                  <a:pt x="935" y="243"/>
                  <a:pt x="935" y="243"/>
                  <a:pt x="935" y="243"/>
                </a:cubicBezTo>
                <a:cubicBezTo>
                  <a:pt x="935" y="244"/>
                  <a:pt x="935" y="244"/>
                  <a:pt x="935" y="244"/>
                </a:cubicBezTo>
                <a:cubicBezTo>
                  <a:pt x="936" y="245"/>
                  <a:pt x="936" y="245"/>
                  <a:pt x="936" y="245"/>
                </a:cubicBezTo>
                <a:cubicBezTo>
                  <a:pt x="937" y="248"/>
                  <a:pt x="937" y="248"/>
                  <a:pt x="937" y="248"/>
                </a:cubicBezTo>
                <a:cubicBezTo>
                  <a:pt x="938" y="248"/>
                  <a:pt x="938" y="248"/>
                  <a:pt x="938" y="248"/>
                </a:cubicBezTo>
                <a:cubicBezTo>
                  <a:pt x="938" y="249"/>
                  <a:pt x="938" y="249"/>
                  <a:pt x="938" y="249"/>
                </a:cubicBezTo>
                <a:cubicBezTo>
                  <a:pt x="939" y="250"/>
                  <a:pt x="939" y="250"/>
                  <a:pt x="939" y="250"/>
                </a:cubicBezTo>
                <a:cubicBezTo>
                  <a:pt x="941" y="254"/>
                  <a:pt x="941" y="254"/>
                  <a:pt x="941" y="254"/>
                </a:cubicBezTo>
                <a:cubicBezTo>
                  <a:pt x="942" y="252"/>
                  <a:pt x="942" y="252"/>
                  <a:pt x="942" y="252"/>
                </a:cubicBezTo>
                <a:cubicBezTo>
                  <a:pt x="941" y="251"/>
                  <a:pt x="941" y="251"/>
                  <a:pt x="941" y="251"/>
                </a:cubicBezTo>
                <a:cubicBezTo>
                  <a:pt x="941" y="248"/>
                  <a:pt x="941" y="248"/>
                  <a:pt x="941" y="248"/>
                </a:cubicBezTo>
                <a:cubicBezTo>
                  <a:pt x="942" y="246"/>
                  <a:pt x="942" y="246"/>
                  <a:pt x="942" y="246"/>
                </a:cubicBezTo>
                <a:cubicBezTo>
                  <a:pt x="942" y="247"/>
                  <a:pt x="942" y="247"/>
                  <a:pt x="942" y="247"/>
                </a:cubicBezTo>
                <a:cubicBezTo>
                  <a:pt x="943" y="250"/>
                  <a:pt x="943" y="250"/>
                  <a:pt x="943" y="250"/>
                </a:cubicBezTo>
                <a:cubicBezTo>
                  <a:pt x="943" y="252"/>
                  <a:pt x="943" y="252"/>
                  <a:pt x="943" y="252"/>
                </a:cubicBezTo>
                <a:cubicBezTo>
                  <a:pt x="943" y="253"/>
                  <a:pt x="943" y="253"/>
                  <a:pt x="943" y="253"/>
                </a:cubicBezTo>
                <a:cubicBezTo>
                  <a:pt x="944" y="254"/>
                  <a:pt x="944" y="254"/>
                  <a:pt x="944" y="254"/>
                </a:cubicBezTo>
                <a:cubicBezTo>
                  <a:pt x="945" y="255"/>
                  <a:pt x="945" y="255"/>
                  <a:pt x="945" y="255"/>
                </a:cubicBezTo>
                <a:cubicBezTo>
                  <a:pt x="946" y="253"/>
                  <a:pt x="946" y="253"/>
                  <a:pt x="946" y="253"/>
                </a:cubicBezTo>
                <a:cubicBezTo>
                  <a:pt x="945" y="252"/>
                  <a:pt x="945" y="252"/>
                  <a:pt x="945" y="252"/>
                </a:cubicBezTo>
                <a:cubicBezTo>
                  <a:pt x="945" y="252"/>
                  <a:pt x="945" y="252"/>
                  <a:pt x="945" y="252"/>
                </a:cubicBezTo>
                <a:cubicBezTo>
                  <a:pt x="946" y="252"/>
                  <a:pt x="946" y="252"/>
                  <a:pt x="946" y="252"/>
                </a:cubicBezTo>
                <a:cubicBezTo>
                  <a:pt x="947" y="254"/>
                  <a:pt x="947" y="254"/>
                  <a:pt x="947" y="254"/>
                </a:cubicBezTo>
                <a:cubicBezTo>
                  <a:pt x="947" y="255"/>
                  <a:pt x="947" y="255"/>
                  <a:pt x="947" y="255"/>
                </a:cubicBezTo>
                <a:cubicBezTo>
                  <a:pt x="947" y="256"/>
                  <a:pt x="947" y="256"/>
                  <a:pt x="947" y="256"/>
                </a:cubicBezTo>
                <a:cubicBezTo>
                  <a:pt x="947" y="254"/>
                  <a:pt x="947" y="254"/>
                  <a:pt x="947" y="254"/>
                </a:cubicBezTo>
                <a:cubicBezTo>
                  <a:pt x="948" y="254"/>
                  <a:pt x="948" y="254"/>
                  <a:pt x="948" y="254"/>
                </a:cubicBezTo>
                <a:cubicBezTo>
                  <a:pt x="948" y="256"/>
                  <a:pt x="948" y="256"/>
                  <a:pt x="948" y="256"/>
                </a:cubicBezTo>
                <a:cubicBezTo>
                  <a:pt x="949" y="258"/>
                  <a:pt x="949" y="258"/>
                  <a:pt x="949" y="258"/>
                </a:cubicBezTo>
                <a:cubicBezTo>
                  <a:pt x="951" y="257"/>
                  <a:pt x="951" y="257"/>
                  <a:pt x="951" y="257"/>
                </a:cubicBezTo>
                <a:cubicBezTo>
                  <a:pt x="952" y="256"/>
                  <a:pt x="952" y="256"/>
                  <a:pt x="952" y="256"/>
                </a:cubicBezTo>
                <a:cubicBezTo>
                  <a:pt x="952" y="258"/>
                  <a:pt x="952" y="258"/>
                  <a:pt x="952" y="258"/>
                </a:cubicBezTo>
                <a:cubicBezTo>
                  <a:pt x="951" y="259"/>
                  <a:pt x="951" y="259"/>
                  <a:pt x="951" y="259"/>
                </a:cubicBezTo>
                <a:cubicBezTo>
                  <a:pt x="952" y="262"/>
                  <a:pt x="952" y="262"/>
                  <a:pt x="952" y="262"/>
                </a:cubicBezTo>
                <a:cubicBezTo>
                  <a:pt x="953" y="264"/>
                  <a:pt x="953" y="264"/>
                  <a:pt x="953" y="264"/>
                </a:cubicBezTo>
                <a:cubicBezTo>
                  <a:pt x="955" y="264"/>
                  <a:pt x="955" y="264"/>
                  <a:pt x="955" y="264"/>
                </a:cubicBezTo>
                <a:cubicBezTo>
                  <a:pt x="955" y="263"/>
                  <a:pt x="955" y="263"/>
                  <a:pt x="955" y="263"/>
                </a:cubicBezTo>
                <a:cubicBezTo>
                  <a:pt x="954" y="262"/>
                  <a:pt x="954" y="262"/>
                  <a:pt x="954" y="262"/>
                </a:cubicBezTo>
                <a:cubicBezTo>
                  <a:pt x="954" y="260"/>
                  <a:pt x="954" y="260"/>
                  <a:pt x="954" y="260"/>
                </a:cubicBezTo>
                <a:cubicBezTo>
                  <a:pt x="953" y="256"/>
                  <a:pt x="953" y="256"/>
                  <a:pt x="953" y="256"/>
                </a:cubicBezTo>
                <a:cubicBezTo>
                  <a:pt x="955" y="256"/>
                  <a:pt x="955" y="256"/>
                  <a:pt x="955" y="256"/>
                </a:cubicBezTo>
                <a:cubicBezTo>
                  <a:pt x="955" y="257"/>
                  <a:pt x="955" y="257"/>
                  <a:pt x="955" y="257"/>
                </a:cubicBezTo>
                <a:cubicBezTo>
                  <a:pt x="957" y="258"/>
                  <a:pt x="957" y="258"/>
                  <a:pt x="957" y="258"/>
                </a:cubicBezTo>
                <a:cubicBezTo>
                  <a:pt x="958" y="257"/>
                  <a:pt x="958" y="257"/>
                  <a:pt x="958" y="257"/>
                </a:cubicBezTo>
                <a:cubicBezTo>
                  <a:pt x="957" y="255"/>
                  <a:pt x="957" y="255"/>
                  <a:pt x="957" y="255"/>
                </a:cubicBezTo>
                <a:cubicBezTo>
                  <a:pt x="957" y="253"/>
                  <a:pt x="957" y="253"/>
                  <a:pt x="957" y="253"/>
                </a:cubicBezTo>
                <a:cubicBezTo>
                  <a:pt x="958" y="250"/>
                  <a:pt x="958" y="250"/>
                  <a:pt x="958" y="250"/>
                </a:cubicBezTo>
                <a:cubicBezTo>
                  <a:pt x="956" y="247"/>
                  <a:pt x="956" y="247"/>
                  <a:pt x="956" y="247"/>
                </a:cubicBezTo>
                <a:cubicBezTo>
                  <a:pt x="957" y="244"/>
                  <a:pt x="957" y="244"/>
                  <a:pt x="957" y="244"/>
                </a:cubicBezTo>
                <a:cubicBezTo>
                  <a:pt x="957" y="242"/>
                  <a:pt x="957" y="242"/>
                  <a:pt x="957" y="242"/>
                </a:cubicBezTo>
                <a:cubicBezTo>
                  <a:pt x="958" y="244"/>
                  <a:pt x="958" y="244"/>
                  <a:pt x="958" y="244"/>
                </a:cubicBezTo>
                <a:cubicBezTo>
                  <a:pt x="957" y="246"/>
                  <a:pt x="957" y="246"/>
                  <a:pt x="957" y="246"/>
                </a:cubicBezTo>
                <a:cubicBezTo>
                  <a:pt x="958" y="249"/>
                  <a:pt x="958" y="249"/>
                  <a:pt x="958" y="249"/>
                </a:cubicBezTo>
                <a:cubicBezTo>
                  <a:pt x="960" y="252"/>
                  <a:pt x="960" y="252"/>
                  <a:pt x="960" y="252"/>
                </a:cubicBezTo>
                <a:cubicBezTo>
                  <a:pt x="961" y="251"/>
                  <a:pt x="961" y="251"/>
                  <a:pt x="961" y="251"/>
                </a:cubicBezTo>
                <a:cubicBezTo>
                  <a:pt x="961" y="249"/>
                  <a:pt x="961" y="249"/>
                  <a:pt x="961" y="249"/>
                </a:cubicBezTo>
                <a:cubicBezTo>
                  <a:pt x="962" y="247"/>
                  <a:pt x="962" y="247"/>
                  <a:pt x="962" y="247"/>
                </a:cubicBezTo>
                <a:cubicBezTo>
                  <a:pt x="962" y="244"/>
                  <a:pt x="962" y="244"/>
                  <a:pt x="962" y="244"/>
                </a:cubicBezTo>
                <a:cubicBezTo>
                  <a:pt x="963" y="243"/>
                  <a:pt x="963" y="243"/>
                  <a:pt x="963" y="243"/>
                </a:cubicBezTo>
                <a:cubicBezTo>
                  <a:pt x="962" y="243"/>
                  <a:pt x="962" y="243"/>
                  <a:pt x="962" y="243"/>
                </a:cubicBezTo>
                <a:cubicBezTo>
                  <a:pt x="960" y="239"/>
                  <a:pt x="960" y="239"/>
                  <a:pt x="960" y="239"/>
                </a:cubicBezTo>
                <a:cubicBezTo>
                  <a:pt x="960" y="237"/>
                  <a:pt x="960" y="237"/>
                  <a:pt x="960" y="237"/>
                </a:cubicBezTo>
                <a:cubicBezTo>
                  <a:pt x="959" y="237"/>
                  <a:pt x="959" y="237"/>
                  <a:pt x="959" y="237"/>
                </a:cubicBezTo>
                <a:cubicBezTo>
                  <a:pt x="959" y="235"/>
                  <a:pt x="959" y="235"/>
                  <a:pt x="959" y="235"/>
                </a:cubicBezTo>
                <a:cubicBezTo>
                  <a:pt x="958" y="233"/>
                  <a:pt x="958" y="233"/>
                  <a:pt x="958" y="233"/>
                </a:cubicBezTo>
                <a:cubicBezTo>
                  <a:pt x="957" y="232"/>
                  <a:pt x="957" y="232"/>
                  <a:pt x="957" y="232"/>
                </a:cubicBezTo>
                <a:cubicBezTo>
                  <a:pt x="959" y="231"/>
                  <a:pt x="959" y="231"/>
                  <a:pt x="959" y="231"/>
                </a:cubicBezTo>
                <a:cubicBezTo>
                  <a:pt x="960" y="231"/>
                  <a:pt x="960" y="231"/>
                  <a:pt x="960" y="231"/>
                </a:cubicBezTo>
                <a:cubicBezTo>
                  <a:pt x="961" y="229"/>
                  <a:pt x="961" y="229"/>
                  <a:pt x="961" y="229"/>
                </a:cubicBezTo>
                <a:cubicBezTo>
                  <a:pt x="960" y="229"/>
                  <a:pt x="960" y="229"/>
                  <a:pt x="960" y="229"/>
                </a:cubicBezTo>
                <a:cubicBezTo>
                  <a:pt x="959" y="229"/>
                  <a:pt x="959" y="229"/>
                  <a:pt x="959" y="229"/>
                </a:cubicBezTo>
                <a:cubicBezTo>
                  <a:pt x="957" y="229"/>
                  <a:pt x="957" y="229"/>
                  <a:pt x="957" y="229"/>
                </a:cubicBezTo>
                <a:cubicBezTo>
                  <a:pt x="956" y="229"/>
                  <a:pt x="956" y="229"/>
                  <a:pt x="956" y="229"/>
                </a:cubicBezTo>
                <a:cubicBezTo>
                  <a:pt x="956" y="228"/>
                  <a:pt x="956" y="228"/>
                  <a:pt x="956" y="228"/>
                </a:cubicBezTo>
                <a:cubicBezTo>
                  <a:pt x="956" y="227"/>
                  <a:pt x="956" y="227"/>
                  <a:pt x="956" y="227"/>
                </a:cubicBezTo>
                <a:cubicBezTo>
                  <a:pt x="958" y="226"/>
                  <a:pt x="958" y="226"/>
                  <a:pt x="958" y="226"/>
                </a:cubicBezTo>
                <a:cubicBezTo>
                  <a:pt x="958" y="224"/>
                  <a:pt x="958" y="224"/>
                  <a:pt x="958" y="224"/>
                </a:cubicBezTo>
                <a:cubicBezTo>
                  <a:pt x="957" y="222"/>
                  <a:pt x="957" y="222"/>
                  <a:pt x="957" y="222"/>
                </a:cubicBezTo>
                <a:cubicBezTo>
                  <a:pt x="956" y="222"/>
                  <a:pt x="956" y="222"/>
                  <a:pt x="956" y="222"/>
                </a:cubicBezTo>
                <a:cubicBezTo>
                  <a:pt x="956" y="223"/>
                  <a:pt x="956" y="223"/>
                  <a:pt x="956" y="223"/>
                </a:cubicBezTo>
                <a:cubicBezTo>
                  <a:pt x="955" y="225"/>
                  <a:pt x="955" y="225"/>
                  <a:pt x="955" y="225"/>
                </a:cubicBezTo>
                <a:cubicBezTo>
                  <a:pt x="955" y="223"/>
                  <a:pt x="955" y="223"/>
                  <a:pt x="955" y="223"/>
                </a:cubicBezTo>
                <a:cubicBezTo>
                  <a:pt x="955" y="224"/>
                  <a:pt x="955" y="224"/>
                  <a:pt x="955" y="224"/>
                </a:cubicBezTo>
                <a:cubicBezTo>
                  <a:pt x="952" y="224"/>
                  <a:pt x="952" y="224"/>
                  <a:pt x="952" y="224"/>
                </a:cubicBezTo>
                <a:cubicBezTo>
                  <a:pt x="952" y="223"/>
                  <a:pt x="952" y="223"/>
                  <a:pt x="952" y="223"/>
                </a:cubicBezTo>
                <a:cubicBezTo>
                  <a:pt x="953" y="222"/>
                  <a:pt x="953" y="222"/>
                  <a:pt x="953" y="222"/>
                </a:cubicBezTo>
                <a:cubicBezTo>
                  <a:pt x="954" y="222"/>
                  <a:pt x="954" y="222"/>
                  <a:pt x="954" y="222"/>
                </a:cubicBezTo>
                <a:cubicBezTo>
                  <a:pt x="953" y="221"/>
                  <a:pt x="953" y="221"/>
                  <a:pt x="953" y="221"/>
                </a:cubicBezTo>
                <a:cubicBezTo>
                  <a:pt x="953" y="219"/>
                  <a:pt x="953" y="219"/>
                  <a:pt x="953" y="219"/>
                </a:cubicBezTo>
                <a:cubicBezTo>
                  <a:pt x="951" y="218"/>
                  <a:pt x="951" y="218"/>
                  <a:pt x="951" y="218"/>
                </a:cubicBezTo>
                <a:cubicBezTo>
                  <a:pt x="951" y="218"/>
                  <a:pt x="951" y="218"/>
                  <a:pt x="951" y="218"/>
                </a:cubicBezTo>
                <a:cubicBezTo>
                  <a:pt x="950" y="220"/>
                  <a:pt x="950" y="220"/>
                  <a:pt x="950" y="220"/>
                </a:cubicBezTo>
                <a:cubicBezTo>
                  <a:pt x="950" y="221"/>
                  <a:pt x="950" y="221"/>
                  <a:pt x="950" y="221"/>
                </a:cubicBezTo>
                <a:cubicBezTo>
                  <a:pt x="949" y="221"/>
                  <a:pt x="949" y="221"/>
                  <a:pt x="949" y="221"/>
                </a:cubicBezTo>
                <a:cubicBezTo>
                  <a:pt x="949" y="219"/>
                  <a:pt x="949" y="219"/>
                  <a:pt x="949" y="219"/>
                </a:cubicBezTo>
                <a:cubicBezTo>
                  <a:pt x="949" y="217"/>
                  <a:pt x="949" y="217"/>
                  <a:pt x="949" y="217"/>
                </a:cubicBezTo>
                <a:cubicBezTo>
                  <a:pt x="948" y="217"/>
                  <a:pt x="948" y="217"/>
                  <a:pt x="948" y="217"/>
                </a:cubicBezTo>
                <a:cubicBezTo>
                  <a:pt x="948" y="215"/>
                  <a:pt x="948" y="215"/>
                  <a:pt x="948" y="215"/>
                </a:cubicBezTo>
                <a:cubicBezTo>
                  <a:pt x="948" y="215"/>
                  <a:pt x="948" y="215"/>
                  <a:pt x="948" y="215"/>
                </a:cubicBezTo>
                <a:cubicBezTo>
                  <a:pt x="947" y="215"/>
                  <a:pt x="947" y="215"/>
                  <a:pt x="947" y="215"/>
                </a:cubicBezTo>
                <a:cubicBezTo>
                  <a:pt x="948" y="215"/>
                  <a:pt x="948" y="215"/>
                  <a:pt x="948" y="215"/>
                </a:cubicBezTo>
                <a:cubicBezTo>
                  <a:pt x="947" y="213"/>
                  <a:pt x="947" y="213"/>
                  <a:pt x="947" y="213"/>
                </a:cubicBezTo>
                <a:cubicBezTo>
                  <a:pt x="946" y="213"/>
                  <a:pt x="946" y="213"/>
                  <a:pt x="946" y="213"/>
                </a:cubicBezTo>
                <a:cubicBezTo>
                  <a:pt x="947" y="212"/>
                  <a:pt x="947" y="212"/>
                  <a:pt x="947" y="212"/>
                </a:cubicBezTo>
                <a:cubicBezTo>
                  <a:pt x="949" y="212"/>
                  <a:pt x="949" y="212"/>
                  <a:pt x="949" y="212"/>
                </a:cubicBezTo>
                <a:cubicBezTo>
                  <a:pt x="950" y="211"/>
                  <a:pt x="950" y="211"/>
                  <a:pt x="950" y="211"/>
                </a:cubicBezTo>
                <a:cubicBezTo>
                  <a:pt x="948" y="210"/>
                  <a:pt x="948" y="210"/>
                  <a:pt x="948" y="210"/>
                </a:cubicBezTo>
                <a:cubicBezTo>
                  <a:pt x="947" y="210"/>
                  <a:pt x="947" y="210"/>
                  <a:pt x="947" y="210"/>
                </a:cubicBezTo>
                <a:cubicBezTo>
                  <a:pt x="946" y="209"/>
                  <a:pt x="946" y="209"/>
                  <a:pt x="946" y="209"/>
                </a:cubicBezTo>
                <a:cubicBezTo>
                  <a:pt x="947" y="208"/>
                  <a:pt x="947" y="208"/>
                  <a:pt x="947" y="208"/>
                </a:cubicBezTo>
                <a:cubicBezTo>
                  <a:pt x="949" y="207"/>
                  <a:pt x="949" y="207"/>
                  <a:pt x="949" y="207"/>
                </a:cubicBezTo>
                <a:cubicBezTo>
                  <a:pt x="949" y="207"/>
                  <a:pt x="949" y="207"/>
                  <a:pt x="949" y="207"/>
                </a:cubicBezTo>
                <a:cubicBezTo>
                  <a:pt x="948" y="206"/>
                  <a:pt x="948" y="206"/>
                  <a:pt x="948" y="206"/>
                </a:cubicBezTo>
                <a:cubicBezTo>
                  <a:pt x="945" y="206"/>
                  <a:pt x="945" y="206"/>
                  <a:pt x="945" y="206"/>
                </a:cubicBezTo>
                <a:cubicBezTo>
                  <a:pt x="945" y="207"/>
                  <a:pt x="945" y="207"/>
                  <a:pt x="945" y="207"/>
                </a:cubicBezTo>
                <a:cubicBezTo>
                  <a:pt x="944" y="208"/>
                  <a:pt x="944" y="208"/>
                  <a:pt x="944" y="208"/>
                </a:cubicBezTo>
                <a:cubicBezTo>
                  <a:pt x="940" y="209"/>
                  <a:pt x="940" y="209"/>
                  <a:pt x="940" y="209"/>
                </a:cubicBezTo>
                <a:cubicBezTo>
                  <a:pt x="942" y="207"/>
                  <a:pt x="942" y="207"/>
                  <a:pt x="942" y="207"/>
                </a:cubicBezTo>
                <a:cubicBezTo>
                  <a:pt x="944" y="205"/>
                  <a:pt x="944" y="205"/>
                  <a:pt x="944" y="205"/>
                </a:cubicBezTo>
                <a:cubicBezTo>
                  <a:pt x="945" y="203"/>
                  <a:pt x="945" y="203"/>
                  <a:pt x="945" y="203"/>
                </a:cubicBezTo>
                <a:cubicBezTo>
                  <a:pt x="945" y="202"/>
                  <a:pt x="945" y="202"/>
                  <a:pt x="945" y="202"/>
                </a:cubicBezTo>
                <a:cubicBezTo>
                  <a:pt x="944" y="202"/>
                  <a:pt x="944" y="202"/>
                  <a:pt x="944" y="202"/>
                </a:cubicBezTo>
                <a:cubicBezTo>
                  <a:pt x="943" y="202"/>
                  <a:pt x="943" y="202"/>
                  <a:pt x="943" y="202"/>
                </a:cubicBezTo>
                <a:cubicBezTo>
                  <a:pt x="944" y="201"/>
                  <a:pt x="944" y="201"/>
                  <a:pt x="944" y="201"/>
                </a:cubicBezTo>
                <a:cubicBezTo>
                  <a:pt x="943" y="200"/>
                  <a:pt x="943" y="200"/>
                  <a:pt x="943" y="200"/>
                </a:cubicBezTo>
                <a:cubicBezTo>
                  <a:pt x="942" y="200"/>
                  <a:pt x="942" y="200"/>
                  <a:pt x="942" y="200"/>
                </a:cubicBezTo>
                <a:cubicBezTo>
                  <a:pt x="942" y="199"/>
                  <a:pt x="942" y="199"/>
                  <a:pt x="942" y="199"/>
                </a:cubicBezTo>
                <a:cubicBezTo>
                  <a:pt x="943" y="198"/>
                  <a:pt x="943" y="198"/>
                  <a:pt x="943" y="198"/>
                </a:cubicBezTo>
                <a:cubicBezTo>
                  <a:pt x="943" y="196"/>
                  <a:pt x="943" y="196"/>
                  <a:pt x="943" y="196"/>
                </a:cubicBezTo>
                <a:cubicBezTo>
                  <a:pt x="941" y="195"/>
                  <a:pt x="941" y="195"/>
                  <a:pt x="941" y="195"/>
                </a:cubicBezTo>
                <a:cubicBezTo>
                  <a:pt x="939" y="194"/>
                  <a:pt x="939" y="194"/>
                  <a:pt x="939" y="194"/>
                </a:cubicBezTo>
                <a:cubicBezTo>
                  <a:pt x="937" y="194"/>
                  <a:pt x="937" y="194"/>
                  <a:pt x="937" y="194"/>
                </a:cubicBezTo>
                <a:cubicBezTo>
                  <a:pt x="936" y="193"/>
                  <a:pt x="936" y="193"/>
                  <a:pt x="936" y="193"/>
                </a:cubicBezTo>
                <a:cubicBezTo>
                  <a:pt x="938" y="193"/>
                  <a:pt x="938" y="193"/>
                  <a:pt x="938" y="193"/>
                </a:cubicBezTo>
                <a:cubicBezTo>
                  <a:pt x="940" y="193"/>
                  <a:pt x="940" y="193"/>
                  <a:pt x="940" y="193"/>
                </a:cubicBezTo>
                <a:cubicBezTo>
                  <a:pt x="941" y="192"/>
                  <a:pt x="941" y="192"/>
                  <a:pt x="941" y="192"/>
                </a:cubicBezTo>
                <a:cubicBezTo>
                  <a:pt x="942" y="194"/>
                  <a:pt x="942" y="194"/>
                  <a:pt x="942" y="194"/>
                </a:cubicBezTo>
                <a:cubicBezTo>
                  <a:pt x="942" y="195"/>
                  <a:pt x="942" y="195"/>
                  <a:pt x="942" y="195"/>
                </a:cubicBezTo>
                <a:cubicBezTo>
                  <a:pt x="944" y="195"/>
                  <a:pt x="944" y="195"/>
                  <a:pt x="944" y="195"/>
                </a:cubicBezTo>
                <a:cubicBezTo>
                  <a:pt x="945" y="196"/>
                  <a:pt x="945" y="196"/>
                  <a:pt x="945" y="196"/>
                </a:cubicBezTo>
                <a:cubicBezTo>
                  <a:pt x="946" y="197"/>
                  <a:pt x="946" y="197"/>
                  <a:pt x="946" y="197"/>
                </a:cubicBezTo>
                <a:cubicBezTo>
                  <a:pt x="945" y="198"/>
                  <a:pt x="945" y="198"/>
                  <a:pt x="945" y="198"/>
                </a:cubicBezTo>
                <a:cubicBezTo>
                  <a:pt x="945" y="199"/>
                  <a:pt x="945" y="199"/>
                  <a:pt x="945" y="199"/>
                </a:cubicBezTo>
                <a:cubicBezTo>
                  <a:pt x="947" y="201"/>
                  <a:pt x="947" y="201"/>
                  <a:pt x="947" y="201"/>
                </a:cubicBezTo>
                <a:cubicBezTo>
                  <a:pt x="948" y="201"/>
                  <a:pt x="948" y="201"/>
                  <a:pt x="948" y="201"/>
                </a:cubicBezTo>
                <a:cubicBezTo>
                  <a:pt x="948" y="200"/>
                  <a:pt x="948" y="200"/>
                  <a:pt x="948" y="200"/>
                </a:cubicBezTo>
                <a:cubicBezTo>
                  <a:pt x="949" y="201"/>
                  <a:pt x="949" y="201"/>
                  <a:pt x="949" y="201"/>
                </a:cubicBezTo>
                <a:cubicBezTo>
                  <a:pt x="951" y="201"/>
                  <a:pt x="951" y="201"/>
                  <a:pt x="951" y="201"/>
                </a:cubicBezTo>
                <a:cubicBezTo>
                  <a:pt x="952" y="201"/>
                  <a:pt x="952" y="201"/>
                  <a:pt x="952" y="201"/>
                </a:cubicBezTo>
                <a:cubicBezTo>
                  <a:pt x="952" y="200"/>
                  <a:pt x="952" y="200"/>
                  <a:pt x="952" y="200"/>
                </a:cubicBezTo>
                <a:cubicBezTo>
                  <a:pt x="952" y="199"/>
                  <a:pt x="952" y="199"/>
                  <a:pt x="952" y="199"/>
                </a:cubicBezTo>
                <a:cubicBezTo>
                  <a:pt x="952" y="198"/>
                  <a:pt x="952" y="198"/>
                  <a:pt x="952" y="198"/>
                </a:cubicBezTo>
                <a:cubicBezTo>
                  <a:pt x="951" y="197"/>
                  <a:pt x="951" y="197"/>
                  <a:pt x="951" y="197"/>
                </a:cubicBezTo>
                <a:cubicBezTo>
                  <a:pt x="950" y="195"/>
                  <a:pt x="950" y="195"/>
                  <a:pt x="950" y="195"/>
                </a:cubicBezTo>
                <a:cubicBezTo>
                  <a:pt x="949" y="195"/>
                  <a:pt x="949" y="195"/>
                  <a:pt x="949" y="195"/>
                </a:cubicBezTo>
                <a:cubicBezTo>
                  <a:pt x="949" y="193"/>
                  <a:pt x="949" y="193"/>
                  <a:pt x="949" y="193"/>
                </a:cubicBezTo>
                <a:cubicBezTo>
                  <a:pt x="949" y="192"/>
                  <a:pt x="949" y="192"/>
                  <a:pt x="949" y="192"/>
                </a:cubicBezTo>
                <a:cubicBezTo>
                  <a:pt x="948" y="191"/>
                  <a:pt x="948" y="191"/>
                  <a:pt x="948" y="191"/>
                </a:cubicBezTo>
                <a:cubicBezTo>
                  <a:pt x="949" y="190"/>
                  <a:pt x="949" y="190"/>
                  <a:pt x="949" y="190"/>
                </a:cubicBezTo>
                <a:cubicBezTo>
                  <a:pt x="949" y="191"/>
                  <a:pt x="949" y="191"/>
                  <a:pt x="949" y="191"/>
                </a:cubicBezTo>
                <a:cubicBezTo>
                  <a:pt x="950" y="193"/>
                  <a:pt x="950" y="193"/>
                  <a:pt x="950" y="193"/>
                </a:cubicBezTo>
                <a:cubicBezTo>
                  <a:pt x="951" y="194"/>
                  <a:pt x="951" y="194"/>
                  <a:pt x="951" y="194"/>
                </a:cubicBezTo>
                <a:cubicBezTo>
                  <a:pt x="952" y="194"/>
                  <a:pt x="952" y="194"/>
                  <a:pt x="952" y="194"/>
                </a:cubicBezTo>
                <a:cubicBezTo>
                  <a:pt x="952" y="193"/>
                  <a:pt x="952" y="193"/>
                  <a:pt x="952" y="193"/>
                </a:cubicBezTo>
                <a:cubicBezTo>
                  <a:pt x="952" y="193"/>
                  <a:pt x="952" y="193"/>
                  <a:pt x="952" y="193"/>
                </a:cubicBezTo>
                <a:cubicBezTo>
                  <a:pt x="954" y="193"/>
                  <a:pt x="954" y="193"/>
                  <a:pt x="954" y="193"/>
                </a:cubicBezTo>
                <a:cubicBezTo>
                  <a:pt x="953" y="191"/>
                  <a:pt x="953" y="191"/>
                  <a:pt x="953" y="191"/>
                </a:cubicBezTo>
                <a:cubicBezTo>
                  <a:pt x="952" y="189"/>
                  <a:pt x="952" y="189"/>
                  <a:pt x="952" y="189"/>
                </a:cubicBezTo>
                <a:cubicBezTo>
                  <a:pt x="950" y="188"/>
                  <a:pt x="950" y="188"/>
                  <a:pt x="950" y="188"/>
                </a:cubicBezTo>
                <a:cubicBezTo>
                  <a:pt x="952" y="188"/>
                  <a:pt x="952" y="188"/>
                  <a:pt x="952" y="188"/>
                </a:cubicBezTo>
                <a:cubicBezTo>
                  <a:pt x="953" y="189"/>
                  <a:pt x="953" y="189"/>
                  <a:pt x="953" y="189"/>
                </a:cubicBezTo>
                <a:cubicBezTo>
                  <a:pt x="954" y="190"/>
                  <a:pt x="954" y="190"/>
                  <a:pt x="954" y="190"/>
                </a:cubicBezTo>
                <a:cubicBezTo>
                  <a:pt x="956" y="189"/>
                  <a:pt x="956" y="189"/>
                  <a:pt x="956" y="189"/>
                </a:cubicBezTo>
                <a:cubicBezTo>
                  <a:pt x="955" y="188"/>
                  <a:pt x="955" y="188"/>
                  <a:pt x="955" y="188"/>
                </a:cubicBezTo>
                <a:cubicBezTo>
                  <a:pt x="955" y="187"/>
                  <a:pt x="955" y="187"/>
                  <a:pt x="955" y="187"/>
                </a:cubicBezTo>
                <a:cubicBezTo>
                  <a:pt x="956" y="187"/>
                  <a:pt x="956" y="187"/>
                  <a:pt x="956" y="187"/>
                </a:cubicBezTo>
                <a:cubicBezTo>
                  <a:pt x="956" y="188"/>
                  <a:pt x="956" y="188"/>
                  <a:pt x="956" y="188"/>
                </a:cubicBezTo>
                <a:cubicBezTo>
                  <a:pt x="958" y="189"/>
                  <a:pt x="958" y="189"/>
                  <a:pt x="958" y="189"/>
                </a:cubicBezTo>
                <a:cubicBezTo>
                  <a:pt x="957" y="190"/>
                  <a:pt x="957" y="190"/>
                  <a:pt x="957" y="190"/>
                </a:cubicBezTo>
                <a:cubicBezTo>
                  <a:pt x="957" y="190"/>
                  <a:pt x="957" y="190"/>
                  <a:pt x="957" y="190"/>
                </a:cubicBezTo>
                <a:cubicBezTo>
                  <a:pt x="957" y="192"/>
                  <a:pt x="957" y="192"/>
                  <a:pt x="957" y="192"/>
                </a:cubicBezTo>
                <a:cubicBezTo>
                  <a:pt x="957" y="193"/>
                  <a:pt x="957" y="193"/>
                  <a:pt x="957" y="193"/>
                </a:cubicBezTo>
                <a:cubicBezTo>
                  <a:pt x="958" y="193"/>
                  <a:pt x="958" y="193"/>
                  <a:pt x="958" y="193"/>
                </a:cubicBezTo>
                <a:cubicBezTo>
                  <a:pt x="958" y="193"/>
                  <a:pt x="958" y="193"/>
                  <a:pt x="958" y="193"/>
                </a:cubicBezTo>
                <a:cubicBezTo>
                  <a:pt x="958" y="194"/>
                  <a:pt x="958" y="194"/>
                  <a:pt x="958" y="194"/>
                </a:cubicBezTo>
                <a:cubicBezTo>
                  <a:pt x="957" y="194"/>
                  <a:pt x="957" y="194"/>
                  <a:pt x="957" y="194"/>
                </a:cubicBezTo>
                <a:cubicBezTo>
                  <a:pt x="957" y="195"/>
                  <a:pt x="957" y="195"/>
                  <a:pt x="957" y="195"/>
                </a:cubicBezTo>
                <a:cubicBezTo>
                  <a:pt x="958" y="196"/>
                  <a:pt x="958" y="196"/>
                  <a:pt x="958" y="196"/>
                </a:cubicBezTo>
                <a:cubicBezTo>
                  <a:pt x="959" y="195"/>
                  <a:pt x="959" y="195"/>
                  <a:pt x="959" y="195"/>
                </a:cubicBezTo>
                <a:cubicBezTo>
                  <a:pt x="960" y="196"/>
                  <a:pt x="960" y="196"/>
                  <a:pt x="960" y="196"/>
                </a:cubicBezTo>
                <a:cubicBezTo>
                  <a:pt x="959" y="197"/>
                  <a:pt x="959" y="197"/>
                  <a:pt x="959" y="197"/>
                </a:cubicBezTo>
                <a:cubicBezTo>
                  <a:pt x="960" y="198"/>
                  <a:pt x="960" y="198"/>
                  <a:pt x="960" y="198"/>
                </a:cubicBezTo>
                <a:cubicBezTo>
                  <a:pt x="961" y="198"/>
                  <a:pt x="961" y="198"/>
                  <a:pt x="961" y="198"/>
                </a:cubicBezTo>
                <a:cubicBezTo>
                  <a:pt x="962" y="198"/>
                  <a:pt x="962" y="198"/>
                  <a:pt x="962" y="198"/>
                </a:cubicBezTo>
                <a:cubicBezTo>
                  <a:pt x="966" y="196"/>
                  <a:pt x="966" y="196"/>
                  <a:pt x="966" y="196"/>
                </a:cubicBezTo>
                <a:cubicBezTo>
                  <a:pt x="967" y="193"/>
                  <a:pt x="967" y="193"/>
                  <a:pt x="967" y="193"/>
                </a:cubicBezTo>
                <a:cubicBezTo>
                  <a:pt x="967" y="195"/>
                  <a:pt x="967" y="195"/>
                  <a:pt x="967" y="195"/>
                </a:cubicBezTo>
                <a:cubicBezTo>
                  <a:pt x="967" y="196"/>
                  <a:pt x="967" y="196"/>
                  <a:pt x="967" y="196"/>
                </a:cubicBezTo>
                <a:cubicBezTo>
                  <a:pt x="966" y="197"/>
                  <a:pt x="966" y="197"/>
                  <a:pt x="966" y="197"/>
                </a:cubicBezTo>
                <a:cubicBezTo>
                  <a:pt x="964" y="198"/>
                  <a:pt x="964" y="198"/>
                  <a:pt x="964" y="198"/>
                </a:cubicBezTo>
                <a:cubicBezTo>
                  <a:pt x="961" y="201"/>
                  <a:pt x="961" y="201"/>
                  <a:pt x="961" y="201"/>
                </a:cubicBezTo>
                <a:cubicBezTo>
                  <a:pt x="961" y="201"/>
                  <a:pt x="961" y="201"/>
                  <a:pt x="961" y="201"/>
                </a:cubicBezTo>
                <a:cubicBezTo>
                  <a:pt x="962" y="202"/>
                  <a:pt x="962" y="202"/>
                  <a:pt x="962" y="202"/>
                </a:cubicBezTo>
                <a:cubicBezTo>
                  <a:pt x="964" y="202"/>
                  <a:pt x="964" y="202"/>
                  <a:pt x="964" y="202"/>
                </a:cubicBezTo>
                <a:cubicBezTo>
                  <a:pt x="967" y="200"/>
                  <a:pt x="967" y="200"/>
                  <a:pt x="967" y="200"/>
                </a:cubicBezTo>
                <a:cubicBezTo>
                  <a:pt x="968" y="200"/>
                  <a:pt x="968" y="200"/>
                  <a:pt x="968" y="200"/>
                </a:cubicBezTo>
                <a:cubicBezTo>
                  <a:pt x="971" y="199"/>
                  <a:pt x="971" y="199"/>
                  <a:pt x="971" y="199"/>
                </a:cubicBezTo>
                <a:cubicBezTo>
                  <a:pt x="971" y="197"/>
                  <a:pt x="971" y="197"/>
                  <a:pt x="971" y="197"/>
                </a:cubicBezTo>
                <a:cubicBezTo>
                  <a:pt x="972" y="197"/>
                  <a:pt x="972" y="197"/>
                  <a:pt x="972" y="197"/>
                </a:cubicBezTo>
                <a:cubicBezTo>
                  <a:pt x="974" y="195"/>
                  <a:pt x="974" y="195"/>
                  <a:pt x="974" y="195"/>
                </a:cubicBezTo>
                <a:cubicBezTo>
                  <a:pt x="975" y="195"/>
                  <a:pt x="975" y="195"/>
                  <a:pt x="975" y="195"/>
                </a:cubicBezTo>
                <a:cubicBezTo>
                  <a:pt x="975" y="196"/>
                  <a:pt x="975" y="196"/>
                  <a:pt x="975" y="196"/>
                </a:cubicBezTo>
                <a:cubicBezTo>
                  <a:pt x="974" y="196"/>
                  <a:pt x="974" y="196"/>
                  <a:pt x="974" y="196"/>
                </a:cubicBezTo>
                <a:cubicBezTo>
                  <a:pt x="973" y="198"/>
                  <a:pt x="973" y="198"/>
                  <a:pt x="973" y="198"/>
                </a:cubicBezTo>
                <a:cubicBezTo>
                  <a:pt x="972" y="199"/>
                  <a:pt x="972" y="199"/>
                  <a:pt x="972" y="199"/>
                </a:cubicBezTo>
                <a:cubicBezTo>
                  <a:pt x="971" y="200"/>
                  <a:pt x="971" y="200"/>
                  <a:pt x="971" y="200"/>
                </a:cubicBezTo>
                <a:cubicBezTo>
                  <a:pt x="969" y="202"/>
                  <a:pt x="969" y="202"/>
                  <a:pt x="969" y="202"/>
                </a:cubicBezTo>
                <a:cubicBezTo>
                  <a:pt x="967" y="202"/>
                  <a:pt x="967" y="202"/>
                  <a:pt x="967" y="202"/>
                </a:cubicBezTo>
                <a:cubicBezTo>
                  <a:pt x="966" y="202"/>
                  <a:pt x="966" y="202"/>
                  <a:pt x="966" y="202"/>
                </a:cubicBezTo>
                <a:cubicBezTo>
                  <a:pt x="965" y="204"/>
                  <a:pt x="965" y="204"/>
                  <a:pt x="965" y="204"/>
                </a:cubicBezTo>
                <a:cubicBezTo>
                  <a:pt x="965" y="205"/>
                  <a:pt x="965" y="205"/>
                  <a:pt x="965" y="205"/>
                </a:cubicBezTo>
                <a:cubicBezTo>
                  <a:pt x="965" y="206"/>
                  <a:pt x="965" y="206"/>
                  <a:pt x="965" y="206"/>
                </a:cubicBezTo>
                <a:cubicBezTo>
                  <a:pt x="966" y="205"/>
                  <a:pt x="966" y="205"/>
                  <a:pt x="966" y="205"/>
                </a:cubicBezTo>
                <a:cubicBezTo>
                  <a:pt x="968" y="205"/>
                  <a:pt x="968" y="205"/>
                  <a:pt x="968" y="205"/>
                </a:cubicBezTo>
                <a:cubicBezTo>
                  <a:pt x="969" y="206"/>
                  <a:pt x="969" y="206"/>
                  <a:pt x="969" y="206"/>
                </a:cubicBezTo>
                <a:cubicBezTo>
                  <a:pt x="968" y="206"/>
                  <a:pt x="968" y="206"/>
                  <a:pt x="968" y="206"/>
                </a:cubicBezTo>
                <a:cubicBezTo>
                  <a:pt x="966" y="207"/>
                  <a:pt x="966" y="207"/>
                  <a:pt x="966" y="207"/>
                </a:cubicBezTo>
                <a:cubicBezTo>
                  <a:pt x="965" y="207"/>
                  <a:pt x="965" y="207"/>
                  <a:pt x="965" y="207"/>
                </a:cubicBezTo>
                <a:cubicBezTo>
                  <a:pt x="965" y="208"/>
                  <a:pt x="965" y="208"/>
                  <a:pt x="965" y="208"/>
                </a:cubicBezTo>
                <a:cubicBezTo>
                  <a:pt x="966" y="208"/>
                  <a:pt x="966" y="208"/>
                  <a:pt x="966" y="208"/>
                </a:cubicBezTo>
                <a:cubicBezTo>
                  <a:pt x="967" y="208"/>
                  <a:pt x="967" y="208"/>
                  <a:pt x="967" y="208"/>
                </a:cubicBezTo>
                <a:cubicBezTo>
                  <a:pt x="968" y="208"/>
                  <a:pt x="968" y="208"/>
                  <a:pt x="968" y="208"/>
                </a:cubicBezTo>
                <a:cubicBezTo>
                  <a:pt x="967" y="209"/>
                  <a:pt x="967" y="209"/>
                  <a:pt x="967" y="209"/>
                </a:cubicBezTo>
                <a:cubicBezTo>
                  <a:pt x="965" y="210"/>
                  <a:pt x="965" y="210"/>
                  <a:pt x="965" y="210"/>
                </a:cubicBezTo>
                <a:cubicBezTo>
                  <a:pt x="965" y="210"/>
                  <a:pt x="965" y="210"/>
                  <a:pt x="965" y="210"/>
                </a:cubicBezTo>
                <a:cubicBezTo>
                  <a:pt x="965" y="211"/>
                  <a:pt x="965" y="211"/>
                  <a:pt x="965" y="211"/>
                </a:cubicBezTo>
                <a:cubicBezTo>
                  <a:pt x="967" y="211"/>
                  <a:pt x="967" y="211"/>
                  <a:pt x="967" y="211"/>
                </a:cubicBezTo>
                <a:cubicBezTo>
                  <a:pt x="968" y="211"/>
                  <a:pt x="968" y="211"/>
                  <a:pt x="968" y="211"/>
                </a:cubicBezTo>
                <a:cubicBezTo>
                  <a:pt x="969" y="211"/>
                  <a:pt x="969" y="211"/>
                  <a:pt x="969" y="211"/>
                </a:cubicBezTo>
                <a:cubicBezTo>
                  <a:pt x="970" y="212"/>
                  <a:pt x="970" y="212"/>
                  <a:pt x="970" y="212"/>
                </a:cubicBezTo>
                <a:cubicBezTo>
                  <a:pt x="969" y="212"/>
                  <a:pt x="969" y="212"/>
                  <a:pt x="969" y="212"/>
                </a:cubicBezTo>
                <a:cubicBezTo>
                  <a:pt x="969" y="213"/>
                  <a:pt x="969" y="213"/>
                  <a:pt x="969" y="213"/>
                </a:cubicBezTo>
                <a:cubicBezTo>
                  <a:pt x="967" y="213"/>
                  <a:pt x="967" y="213"/>
                  <a:pt x="967" y="213"/>
                </a:cubicBezTo>
                <a:cubicBezTo>
                  <a:pt x="966" y="214"/>
                  <a:pt x="966" y="214"/>
                  <a:pt x="966" y="214"/>
                </a:cubicBezTo>
                <a:cubicBezTo>
                  <a:pt x="967" y="215"/>
                  <a:pt x="967" y="215"/>
                  <a:pt x="967" y="215"/>
                </a:cubicBezTo>
                <a:cubicBezTo>
                  <a:pt x="967" y="217"/>
                  <a:pt x="967" y="217"/>
                  <a:pt x="967" y="217"/>
                </a:cubicBezTo>
                <a:cubicBezTo>
                  <a:pt x="967" y="218"/>
                  <a:pt x="967" y="218"/>
                  <a:pt x="967" y="218"/>
                </a:cubicBezTo>
                <a:cubicBezTo>
                  <a:pt x="968" y="218"/>
                  <a:pt x="968" y="218"/>
                  <a:pt x="968" y="218"/>
                </a:cubicBezTo>
                <a:cubicBezTo>
                  <a:pt x="969" y="217"/>
                  <a:pt x="969" y="217"/>
                  <a:pt x="969" y="217"/>
                </a:cubicBezTo>
                <a:cubicBezTo>
                  <a:pt x="970" y="215"/>
                  <a:pt x="970" y="215"/>
                  <a:pt x="970" y="215"/>
                </a:cubicBezTo>
                <a:cubicBezTo>
                  <a:pt x="971" y="214"/>
                  <a:pt x="971" y="214"/>
                  <a:pt x="971" y="214"/>
                </a:cubicBezTo>
                <a:cubicBezTo>
                  <a:pt x="971" y="214"/>
                  <a:pt x="971" y="214"/>
                  <a:pt x="971" y="214"/>
                </a:cubicBezTo>
                <a:cubicBezTo>
                  <a:pt x="971" y="215"/>
                  <a:pt x="971" y="215"/>
                  <a:pt x="971" y="215"/>
                </a:cubicBezTo>
                <a:cubicBezTo>
                  <a:pt x="971" y="216"/>
                  <a:pt x="971" y="216"/>
                  <a:pt x="971" y="216"/>
                </a:cubicBezTo>
                <a:cubicBezTo>
                  <a:pt x="970" y="216"/>
                  <a:pt x="970" y="216"/>
                  <a:pt x="970" y="216"/>
                </a:cubicBezTo>
                <a:cubicBezTo>
                  <a:pt x="970" y="217"/>
                  <a:pt x="970" y="217"/>
                  <a:pt x="970" y="217"/>
                </a:cubicBezTo>
                <a:cubicBezTo>
                  <a:pt x="971" y="218"/>
                  <a:pt x="971" y="218"/>
                  <a:pt x="971" y="218"/>
                </a:cubicBezTo>
                <a:cubicBezTo>
                  <a:pt x="970" y="219"/>
                  <a:pt x="970" y="219"/>
                  <a:pt x="970" y="219"/>
                </a:cubicBezTo>
                <a:cubicBezTo>
                  <a:pt x="971" y="220"/>
                  <a:pt x="971" y="220"/>
                  <a:pt x="971" y="220"/>
                </a:cubicBezTo>
                <a:cubicBezTo>
                  <a:pt x="972" y="220"/>
                  <a:pt x="972" y="220"/>
                  <a:pt x="972" y="220"/>
                </a:cubicBezTo>
                <a:cubicBezTo>
                  <a:pt x="972" y="219"/>
                  <a:pt x="972" y="219"/>
                  <a:pt x="972" y="219"/>
                </a:cubicBezTo>
                <a:cubicBezTo>
                  <a:pt x="973" y="218"/>
                  <a:pt x="973" y="218"/>
                  <a:pt x="973" y="218"/>
                </a:cubicBezTo>
                <a:cubicBezTo>
                  <a:pt x="974" y="218"/>
                  <a:pt x="974" y="218"/>
                  <a:pt x="974" y="218"/>
                </a:cubicBezTo>
                <a:cubicBezTo>
                  <a:pt x="974" y="219"/>
                  <a:pt x="974" y="219"/>
                  <a:pt x="974" y="219"/>
                </a:cubicBezTo>
                <a:cubicBezTo>
                  <a:pt x="973" y="220"/>
                  <a:pt x="973" y="220"/>
                  <a:pt x="973" y="220"/>
                </a:cubicBezTo>
                <a:cubicBezTo>
                  <a:pt x="974" y="221"/>
                  <a:pt x="974" y="221"/>
                  <a:pt x="974" y="221"/>
                </a:cubicBezTo>
                <a:cubicBezTo>
                  <a:pt x="975" y="221"/>
                  <a:pt x="975" y="221"/>
                  <a:pt x="975" y="221"/>
                </a:cubicBezTo>
                <a:cubicBezTo>
                  <a:pt x="975" y="222"/>
                  <a:pt x="975" y="222"/>
                  <a:pt x="975" y="222"/>
                </a:cubicBezTo>
                <a:cubicBezTo>
                  <a:pt x="975" y="222"/>
                  <a:pt x="975" y="222"/>
                  <a:pt x="975" y="222"/>
                </a:cubicBezTo>
                <a:cubicBezTo>
                  <a:pt x="975" y="223"/>
                  <a:pt x="975" y="223"/>
                  <a:pt x="975" y="223"/>
                </a:cubicBezTo>
                <a:cubicBezTo>
                  <a:pt x="976" y="224"/>
                  <a:pt x="976" y="224"/>
                  <a:pt x="976" y="224"/>
                </a:cubicBezTo>
                <a:cubicBezTo>
                  <a:pt x="976" y="223"/>
                  <a:pt x="976" y="223"/>
                  <a:pt x="976" y="223"/>
                </a:cubicBezTo>
                <a:cubicBezTo>
                  <a:pt x="978" y="222"/>
                  <a:pt x="978" y="222"/>
                  <a:pt x="978" y="222"/>
                </a:cubicBezTo>
                <a:cubicBezTo>
                  <a:pt x="979" y="221"/>
                  <a:pt x="979" y="221"/>
                  <a:pt x="979" y="221"/>
                </a:cubicBezTo>
                <a:cubicBezTo>
                  <a:pt x="978" y="220"/>
                  <a:pt x="978" y="220"/>
                  <a:pt x="978" y="220"/>
                </a:cubicBezTo>
                <a:cubicBezTo>
                  <a:pt x="977" y="218"/>
                  <a:pt x="977" y="218"/>
                  <a:pt x="977" y="218"/>
                </a:cubicBezTo>
                <a:cubicBezTo>
                  <a:pt x="978" y="218"/>
                  <a:pt x="978" y="218"/>
                  <a:pt x="978" y="218"/>
                </a:cubicBezTo>
                <a:cubicBezTo>
                  <a:pt x="978" y="219"/>
                  <a:pt x="978" y="219"/>
                  <a:pt x="978" y="219"/>
                </a:cubicBezTo>
                <a:cubicBezTo>
                  <a:pt x="979" y="219"/>
                  <a:pt x="979" y="219"/>
                  <a:pt x="979" y="219"/>
                </a:cubicBezTo>
                <a:cubicBezTo>
                  <a:pt x="979" y="218"/>
                  <a:pt x="979" y="218"/>
                  <a:pt x="979" y="218"/>
                </a:cubicBezTo>
                <a:cubicBezTo>
                  <a:pt x="978" y="216"/>
                  <a:pt x="978" y="216"/>
                  <a:pt x="978" y="216"/>
                </a:cubicBezTo>
                <a:cubicBezTo>
                  <a:pt x="979" y="215"/>
                  <a:pt x="979" y="215"/>
                  <a:pt x="979" y="215"/>
                </a:cubicBezTo>
                <a:cubicBezTo>
                  <a:pt x="979" y="215"/>
                  <a:pt x="979" y="215"/>
                  <a:pt x="979" y="215"/>
                </a:cubicBezTo>
                <a:cubicBezTo>
                  <a:pt x="980" y="214"/>
                  <a:pt x="980" y="214"/>
                  <a:pt x="980" y="214"/>
                </a:cubicBezTo>
                <a:cubicBezTo>
                  <a:pt x="979" y="213"/>
                  <a:pt x="979" y="213"/>
                  <a:pt x="979" y="213"/>
                </a:cubicBezTo>
                <a:cubicBezTo>
                  <a:pt x="979" y="213"/>
                  <a:pt x="979" y="213"/>
                  <a:pt x="979" y="213"/>
                </a:cubicBezTo>
                <a:cubicBezTo>
                  <a:pt x="977" y="212"/>
                  <a:pt x="977" y="212"/>
                  <a:pt x="977" y="212"/>
                </a:cubicBezTo>
                <a:cubicBezTo>
                  <a:pt x="978" y="211"/>
                  <a:pt x="978" y="211"/>
                  <a:pt x="978" y="211"/>
                </a:cubicBezTo>
                <a:cubicBezTo>
                  <a:pt x="978" y="212"/>
                  <a:pt x="978" y="212"/>
                  <a:pt x="978" y="212"/>
                </a:cubicBezTo>
                <a:cubicBezTo>
                  <a:pt x="979" y="212"/>
                  <a:pt x="979" y="212"/>
                  <a:pt x="979" y="212"/>
                </a:cubicBezTo>
                <a:cubicBezTo>
                  <a:pt x="980" y="211"/>
                  <a:pt x="980" y="211"/>
                  <a:pt x="980" y="211"/>
                </a:cubicBezTo>
                <a:cubicBezTo>
                  <a:pt x="980" y="210"/>
                  <a:pt x="980" y="210"/>
                  <a:pt x="980" y="210"/>
                </a:cubicBezTo>
                <a:cubicBezTo>
                  <a:pt x="979" y="210"/>
                  <a:pt x="979" y="210"/>
                  <a:pt x="979" y="210"/>
                </a:cubicBezTo>
                <a:cubicBezTo>
                  <a:pt x="978" y="209"/>
                  <a:pt x="978" y="209"/>
                  <a:pt x="978" y="209"/>
                </a:cubicBezTo>
                <a:cubicBezTo>
                  <a:pt x="980" y="209"/>
                  <a:pt x="980" y="209"/>
                  <a:pt x="980" y="209"/>
                </a:cubicBezTo>
                <a:cubicBezTo>
                  <a:pt x="980" y="209"/>
                  <a:pt x="980" y="209"/>
                  <a:pt x="980" y="209"/>
                </a:cubicBezTo>
                <a:cubicBezTo>
                  <a:pt x="980" y="206"/>
                  <a:pt x="980" y="206"/>
                  <a:pt x="980" y="206"/>
                </a:cubicBezTo>
                <a:cubicBezTo>
                  <a:pt x="981" y="205"/>
                  <a:pt x="981" y="205"/>
                  <a:pt x="981" y="205"/>
                </a:cubicBezTo>
                <a:cubicBezTo>
                  <a:pt x="981" y="206"/>
                  <a:pt x="981" y="206"/>
                  <a:pt x="981" y="206"/>
                </a:cubicBezTo>
                <a:cubicBezTo>
                  <a:pt x="981" y="207"/>
                  <a:pt x="981" y="207"/>
                  <a:pt x="981" y="207"/>
                </a:cubicBezTo>
                <a:cubicBezTo>
                  <a:pt x="982" y="209"/>
                  <a:pt x="982" y="209"/>
                  <a:pt x="982" y="209"/>
                </a:cubicBezTo>
                <a:cubicBezTo>
                  <a:pt x="982" y="210"/>
                  <a:pt x="982" y="210"/>
                  <a:pt x="982" y="210"/>
                </a:cubicBezTo>
                <a:cubicBezTo>
                  <a:pt x="983" y="210"/>
                  <a:pt x="983" y="210"/>
                  <a:pt x="983" y="210"/>
                </a:cubicBezTo>
                <a:cubicBezTo>
                  <a:pt x="984" y="210"/>
                  <a:pt x="984" y="210"/>
                  <a:pt x="984" y="210"/>
                </a:cubicBezTo>
                <a:cubicBezTo>
                  <a:pt x="984" y="209"/>
                  <a:pt x="984" y="209"/>
                  <a:pt x="984" y="209"/>
                </a:cubicBezTo>
                <a:cubicBezTo>
                  <a:pt x="985" y="209"/>
                  <a:pt x="985" y="209"/>
                  <a:pt x="985" y="209"/>
                </a:cubicBezTo>
                <a:cubicBezTo>
                  <a:pt x="985" y="210"/>
                  <a:pt x="985" y="210"/>
                  <a:pt x="985" y="210"/>
                </a:cubicBezTo>
                <a:cubicBezTo>
                  <a:pt x="985" y="211"/>
                  <a:pt x="985" y="211"/>
                  <a:pt x="985" y="211"/>
                </a:cubicBezTo>
                <a:cubicBezTo>
                  <a:pt x="986" y="211"/>
                  <a:pt x="986" y="211"/>
                  <a:pt x="986" y="211"/>
                </a:cubicBezTo>
                <a:cubicBezTo>
                  <a:pt x="987" y="211"/>
                  <a:pt x="987" y="211"/>
                  <a:pt x="987" y="211"/>
                </a:cubicBezTo>
                <a:cubicBezTo>
                  <a:pt x="987" y="208"/>
                  <a:pt x="987" y="208"/>
                  <a:pt x="987" y="208"/>
                </a:cubicBezTo>
                <a:cubicBezTo>
                  <a:pt x="987" y="206"/>
                  <a:pt x="987" y="206"/>
                  <a:pt x="987" y="206"/>
                </a:cubicBezTo>
                <a:cubicBezTo>
                  <a:pt x="986" y="206"/>
                  <a:pt x="986" y="206"/>
                  <a:pt x="986" y="206"/>
                </a:cubicBezTo>
                <a:cubicBezTo>
                  <a:pt x="986" y="205"/>
                  <a:pt x="986" y="205"/>
                  <a:pt x="986" y="205"/>
                </a:cubicBezTo>
                <a:cubicBezTo>
                  <a:pt x="987" y="206"/>
                  <a:pt x="987" y="206"/>
                  <a:pt x="987" y="206"/>
                </a:cubicBezTo>
                <a:cubicBezTo>
                  <a:pt x="989" y="207"/>
                  <a:pt x="989" y="207"/>
                  <a:pt x="989" y="207"/>
                </a:cubicBezTo>
                <a:cubicBezTo>
                  <a:pt x="989" y="208"/>
                  <a:pt x="989" y="208"/>
                  <a:pt x="989" y="208"/>
                </a:cubicBezTo>
                <a:cubicBezTo>
                  <a:pt x="990" y="208"/>
                  <a:pt x="990" y="208"/>
                  <a:pt x="990" y="208"/>
                </a:cubicBezTo>
                <a:cubicBezTo>
                  <a:pt x="991" y="207"/>
                  <a:pt x="991" y="207"/>
                  <a:pt x="991" y="207"/>
                </a:cubicBezTo>
                <a:cubicBezTo>
                  <a:pt x="991" y="205"/>
                  <a:pt x="991" y="205"/>
                  <a:pt x="991" y="205"/>
                </a:cubicBezTo>
                <a:cubicBezTo>
                  <a:pt x="990" y="203"/>
                  <a:pt x="990" y="203"/>
                  <a:pt x="990" y="203"/>
                </a:cubicBezTo>
                <a:cubicBezTo>
                  <a:pt x="988" y="202"/>
                  <a:pt x="988" y="202"/>
                  <a:pt x="988" y="202"/>
                </a:cubicBezTo>
                <a:cubicBezTo>
                  <a:pt x="988" y="201"/>
                  <a:pt x="988" y="201"/>
                  <a:pt x="988" y="201"/>
                </a:cubicBezTo>
                <a:cubicBezTo>
                  <a:pt x="988" y="201"/>
                  <a:pt x="988" y="201"/>
                  <a:pt x="988" y="201"/>
                </a:cubicBezTo>
                <a:cubicBezTo>
                  <a:pt x="989" y="202"/>
                  <a:pt x="989" y="202"/>
                  <a:pt x="989" y="202"/>
                </a:cubicBezTo>
                <a:cubicBezTo>
                  <a:pt x="991" y="203"/>
                  <a:pt x="991" y="203"/>
                  <a:pt x="991" y="203"/>
                </a:cubicBezTo>
                <a:cubicBezTo>
                  <a:pt x="991" y="204"/>
                  <a:pt x="991" y="204"/>
                  <a:pt x="991" y="204"/>
                </a:cubicBezTo>
                <a:cubicBezTo>
                  <a:pt x="994" y="204"/>
                  <a:pt x="994" y="204"/>
                  <a:pt x="994" y="204"/>
                </a:cubicBezTo>
                <a:cubicBezTo>
                  <a:pt x="995" y="203"/>
                  <a:pt x="995" y="203"/>
                  <a:pt x="995" y="203"/>
                </a:cubicBezTo>
                <a:cubicBezTo>
                  <a:pt x="995" y="202"/>
                  <a:pt x="995" y="202"/>
                  <a:pt x="995" y="202"/>
                </a:cubicBezTo>
                <a:cubicBezTo>
                  <a:pt x="993" y="202"/>
                  <a:pt x="993" y="202"/>
                  <a:pt x="993" y="202"/>
                </a:cubicBezTo>
                <a:cubicBezTo>
                  <a:pt x="992" y="201"/>
                  <a:pt x="992" y="201"/>
                  <a:pt x="992" y="201"/>
                </a:cubicBezTo>
                <a:cubicBezTo>
                  <a:pt x="990" y="201"/>
                  <a:pt x="990" y="201"/>
                  <a:pt x="990" y="201"/>
                </a:cubicBezTo>
                <a:cubicBezTo>
                  <a:pt x="989" y="200"/>
                  <a:pt x="989" y="200"/>
                  <a:pt x="989" y="200"/>
                </a:cubicBezTo>
                <a:cubicBezTo>
                  <a:pt x="990" y="198"/>
                  <a:pt x="990" y="198"/>
                  <a:pt x="990" y="198"/>
                </a:cubicBezTo>
                <a:cubicBezTo>
                  <a:pt x="990" y="199"/>
                  <a:pt x="990" y="199"/>
                  <a:pt x="990" y="199"/>
                </a:cubicBezTo>
                <a:cubicBezTo>
                  <a:pt x="991" y="200"/>
                  <a:pt x="991" y="200"/>
                  <a:pt x="991" y="200"/>
                </a:cubicBezTo>
                <a:cubicBezTo>
                  <a:pt x="993" y="200"/>
                  <a:pt x="993" y="200"/>
                  <a:pt x="993" y="200"/>
                </a:cubicBezTo>
                <a:cubicBezTo>
                  <a:pt x="993" y="199"/>
                  <a:pt x="993" y="199"/>
                  <a:pt x="993" y="199"/>
                </a:cubicBezTo>
                <a:cubicBezTo>
                  <a:pt x="993" y="197"/>
                  <a:pt x="993" y="197"/>
                  <a:pt x="993" y="197"/>
                </a:cubicBezTo>
                <a:cubicBezTo>
                  <a:pt x="992" y="197"/>
                  <a:pt x="992" y="197"/>
                  <a:pt x="992" y="197"/>
                </a:cubicBezTo>
                <a:cubicBezTo>
                  <a:pt x="992" y="195"/>
                  <a:pt x="992" y="195"/>
                  <a:pt x="992" y="195"/>
                </a:cubicBezTo>
                <a:cubicBezTo>
                  <a:pt x="992" y="195"/>
                  <a:pt x="992" y="195"/>
                  <a:pt x="992" y="195"/>
                </a:cubicBezTo>
                <a:cubicBezTo>
                  <a:pt x="993" y="196"/>
                  <a:pt x="993" y="196"/>
                  <a:pt x="993" y="196"/>
                </a:cubicBezTo>
                <a:cubicBezTo>
                  <a:pt x="994" y="197"/>
                  <a:pt x="994" y="197"/>
                  <a:pt x="994" y="197"/>
                </a:cubicBezTo>
                <a:cubicBezTo>
                  <a:pt x="994" y="198"/>
                  <a:pt x="994" y="198"/>
                  <a:pt x="994" y="198"/>
                </a:cubicBezTo>
                <a:cubicBezTo>
                  <a:pt x="994" y="199"/>
                  <a:pt x="994" y="199"/>
                  <a:pt x="994" y="199"/>
                </a:cubicBezTo>
                <a:cubicBezTo>
                  <a:pt x="996" y="199"/>
                  <a:pt x="996" y="199"/>
                  <a:pt x="996" y="199"/>
                </a:cubicBezTo>
                <a:cubicBezTo>
                  <a:pt x="998" y="200"/>
                  <a:pt x="998" y="200"/>
                  <a:pt x="998" y="200"/>
                </a:cubicBezTo>
                <a:cubicBezTo>
                  <a:pt x="999" y="199"/>
                  <a:pt x="999" y="199"/>
                  <a:pt x="999" y="199"/>
                </a:cubicBezTo>
                <a:cubicBezTo>
                  <a:pt x="1000" y="199"/>
                  <a:pt x="1000" y="199"/>
                  <a:pt x="1000" y="199"/>
                </a:cubicBezTo>
                <a:cubicBezTo>
                  <a:pt x="1001" y="198"/>
                  <a:pt x="1001" y="198"/>
                  <a:pt x="1001" y="198"/>
                </a:cubicBezTo>
                <a:cubicBezTo>
                  <a:pt x="1001" y="197"/>
                  <a:pt x="1001" y="197"/>
                  <a:pt x="1001" y="197"/>
                </a:cubicBezTo>
                <a:cubicBezTo>
                  <a:pt x="1000" y="197"/>
                  <a:pt x="1000" y="197"/>
                  <a:pt x="1000" y="197"/>
                </a:cubicBezTo>
                <a:cubicBezTo>
                  <a:pt x="998" y="197"/>
                  <a:pt x="998" y="197"/>
                  <a:pt x="998" y="197"/>
                </a:cubicBezTo>
                <a:cubicBezTo>
                  <a:pt x="997" y="197"/>
                  <a:pt x="997" y="197"/>
                  <a:pt x="997" y="197"/>
                </a:cubicBezTo>
                <a:cubicBezTo>
                  <a:pt x="998" y="196"/>
                  <a:pt x="998" y="196"/>
                  <a:pt x="998" y="196"/>
                </a:cubicBezTo>
                <a:cubicBezTo>
                  <a:pt x="1000" y="196"/>
                  <a:pt x="1000" y="196"/>
                  <a:pt x="1000" y="196"/>
                </a:cubicBezTo>
                <a:cubicBezTo>
                  <a:pt x="1001" y="196"/>
                  <a:pt x="1001" y="196"/>
                  <a:pt x="1001" y="196"/>
                </a:cubicBezTo>
                <a:cubicBezTo>
                  <a:pt x="1000" y="195"/>
                  <a:pt x="1000" y="195"/>
                  <a:pt x="1000" y="195"/>
                </a:cubicBezTo>
                <a:cubicBezTo>
                  <a:pt x="999" y="194"/>
                  <a:pt x="999" y="194"/>
                  <a:pt x="999" y="194"/>
                </a:cubicBezTo>
                <a:cubicBezTo>
                  <a:pt x="1000" y="194"/>
                  <a:pt x="1000" y="194"/>
                  <a:pt x="1000" y="194"/>
                </a:cubicBezTo>
                <a:cubicBezTo>
                  <a:pt x="999" y="193"/>
                  <a:pt x="999" y="193"/>
                  <a:pt x="999" y="193"/>
                </a:cubicBezTo>
                <a:cubicBezTo>
                  <a:pt x="998" y="193"/>
                  <a:pt x="998" y="193"/>
                  <a:pt x="998" y="193"/>
                </a:cubicBezTo>
                <a:cubicBezTo>
                  <a:pt x="997" y="194"/>
                  <a:pt x="997" y="194"/>
                  <a:pt x="997" y="194"/>
                </a:cubicBezTo>
                <a:cubicBezTo>
                  <a:pt x="998" y="192"/>
                  <a:pt x="998" y="192"/>
                  <a:pt x="998" y="192"/>
                </a:cubicBezTo>
                <a:cubicBezTo>
                  <a:pt x="999" y="191"/>
                  <a:pt x="999" y="191"/>
                  <a:pt x="999" y="191"/>
                </a:cubicBezTo>
                <a:cubicBezTo>
                  <a:pt x="1000" y="192"/>
                  <a:pt x="1000" y="192"/>
                  <a:pt x="1000" y="192"/>
                </a:cubicBezTo>
                <a:cubicBezTo>
                  <a:pt x="1001" y="192"/>
                  <a:pt x="1001" y="192"/>
                  <a:pt x="1001" y="192"/>
                </a:cubicBezTo>
                <a:cubicBezTo>
                  <a:pt x="1002" y="194"/>
                  <a:pt x="1002" y="194"/>
                  <a:pt x="1002" y="194"/>
                </a:cubicBezTo>
                <a:cubicBezTo>
                  <a:pt x="1001" y="195"/>
                  <a:pt x="1001" y="195"/>
                  <a:pt x="1001" y="195"/>
                </a:cubicBezTo>
                <a:cubicBezTo>
                  <a:pt x="1003" y="195"/>
                  <a:pt x="1003" y="195"/>
                  <a:pt x="1003" y="195"/>
                </a:cubicBezTo>
                <a:cubicBezTo>
                  <a:pt x="1004" y="194"/>
                  <a:pt x="1004" y="194"/>
                  <a:pt x="1004" y="194"/>
                </a:cubicBezTo>
                <a:cubicBezTo>
                  <a:pt x="1005" y="194"/>
                  <a:pt x="1005" y="194"/>
                  <a:pt x="1005" y="194"/>
                </a:cubicBezTo>
                <a:cubicBezTo>
                  <a:pt x="1005" y="193"/>
                  <a:pt x="1005" y="193"/>
                  <a:pt x="1005" y="193"/>
                </a:cubicBezTo>
                <a:cubicBezTo>
                  <a:pt x="1003" y="192"/>
                  <a:pt x="1003" y="192"/>
                  <a:pt x="1003" y="192"/>
                </a:cubicBezTo>
                <a:cubicBezTo>
                  <a:pt x="1003" y="190"/>
                  <a:pt x="1003" y="190"/>
                  <a:pt x="1003" y="190"/>
                </a:cubicBezTo>
                <a:cubicBezTo>
                  <a:pt x="1003" y="189"/>
                  <a:pt x="1003" y="189"/>
                  <a:pt x="1003" y="189"/>
                </a:cubicBezTo>
                <a:cubicBezTo>
                  <a:pt x="1001" y="190"/>
                  <a:pt x="1001" y="190"/>
                  <a:pt x="1001" y="190"/>
                </a:cubicBezTo>
                <a:cubicBezTo>
                  <a:pt x="1002" y="187"/>
                  <a:pt x="1002" y="187"/>
                  <a:pt x="1002" y="187"/>
                </a:cubicBezTo>
                <a:cubicBezTo>
                  <a:pt x="1001" y="186"/>
                  <a:pt x="1001" y="186"/>
                  <a:pt x="1001" y="186"/>
                </a:cubicBezTo>
                <a:cubicBezTo>
                  <a:pt x="999" y="186"/>
                  <a:pt x="999" y="186"/>
                  <a:pt x="999" y="186"/>
                </a:cubicBezTo>
                <a:cubicBezTo>
                  <a:pt x="998" y="186"/>
                  <a:pt x="998" y="186"/>
                  <a:pt x="998" y="186"/>
                </a:cubicBezTo>
                <a:cubicBezTo>
                  <a:pt x="999" y="185"/>
                  <a:pt x="999" y="185"/>
                  <a:pt x="999" y="185"/>
                </a:cubicBezTo>
                <a:cubicBezTo>
                  <a:pt x="999" y="184"/>
                  <a:pt x="999" y="184"/>
                  <a:pt x="999" y="184"/>
                </a:cubicBezTo>
                <a:cubicBezTo>
                  <a:pt x="996" y="186"/>
                  <a:pt x="996" y="186"/>
                  <a:pt x="996" y="186"/>
                </a:cubicBezTo>
                <a:cubicBezTo>
                  <a:pt x="996" y="187"/>
                  <a:pt x="996" y="187"/>
                  <a:pt x="996" y="187"/>
                </a:cubicBezTo>
                <a:cubicBezTo>
                  <a:pt x="996" y="189"/>
                  <a:pt x="996" y="189"/>
                  <a:pt x="996" y="189"/>
                </a:cubicBezTo>
                <a:cubicBezTo>
                  <a:pt x="995" y="189"/>
                  <a:pt x="995" y="189"/>
                  <a:pt x="995" y="189"/>
                </a:cubicBezTo>
                <a:cubicBezTo>
                  <a:pt x="994" y="188"/>
                  <a:pt x="994" y="188"/>
                  <a:pt x="994" y="188"/>
                </a:cubicBezTo>
                <a:cubicBezTo>
                  <a:pt x="994" y="185"/>
                  <a:pt x="994" y="185"/>
                  <a:pt x="994" y="185"/>
                </a:cubicBezTo>
                <a:cubicBezTo>
                  <a:pt x="993" y="185"/>
                  <a:pt x="993" y="185"/>
                  <a:pt x="993" y="185"/>
                </a:cubicBezTo>
                <a:cubicBezTo>
                  <a:pt x="993" y="185"/>
                  <a:pt x="993" y="185"/>
                  <a:pt x="993" y="185"/>
                </a:cubicBezTo>
                <a:cubicBezTo>
                  <a:pt x="993" y="187"/>
                  <a:pt x="993" y="187"/>
                  <a:pt x="993" y="187"/>
                </a:cubicBezTo>
                <a:cubicBezTo>
                  <a:pt x="991" y="189"/>
                  <a:pt x="991" y="189"/>
                  <a:pt x="991" y="189"/>
                </a:cubicBezTo>
                <a:cubicBezTo>
                  <a:pt x="990" y="190"/>
                  <a:pt x="990" y="190"/>
                  <a:pt x="990" y="190"/>
                </a:cubicBezTo>
                <a:cubicBezTo>
                  <a:pt x="991" y="189"/>
                  <a:pt x="991" y="189"/>
                  <a:pt x="991" y="189"/>
                </a:cubicBezTo>
                <a:cubicBezTo>
                  <a:pt x="991" y="186"/>
                  <a:pt x="991" y="186"/>
                  <a:pt x="991" y="186"/>
                </a:cubicBezTo>
                <a:cubicBezTo>
                  <a:pt x="992" y="184"/>
                  <a:pt x="992" y="184"/>
                  <a:pt x="992" y="184"/>
                </a:cubicBezTo>
                <a:cubicBezTo>
                  <a:pt x="992" y="183"/>
                  <a:pt x="992" y="183"/>
                  <a:pt x="992" y="183"/>
                </a:cubicBezTo>
                <a:cubicBezTo>
                  <a:pt x="991" y="183"/>
                  <a:pt x="991" y="183"/>
                  <a:pt x="991" y="183"/>
                </a:cubicBezTo>
                <a:cubicBezTo>
                  <a:pt x="989" y="186"/>
                  <a:pt x="989" y="186"/>
                  <a:pt x="989" y="186"/>
                </a:cubicBezTo>
                <a:cubicBezTo>
                  <a:pt x="989" y="187"/>
                  <a:pt x="989" y="187"/>
                  <a:pt x="989" y="187"/>
                </a:cubicBezTo>
                <a:cubicBezTo>
                  <a:pt x="987" y="188"/>
                  <a:pt x="987" y="188"/>
                  <a:pt x="987" y="188"/>
                </a:cubicBezTo>
                <a:cubicBezTo>
                  <a:pt x="986" y="188"/>
                  <a:pt x="986" y="188"/>
                  <a:pt x="986" y="188"/>
                </a:cubicBezTo>
                <a:cubicBezTo>
                  <a:pt x="986" y="187"/>
                  <a:pt x="986" y="187"/>
                  <a:pt x="986" y="187"/>
                </a:cubicBezTo>
                <a:cubicBezTo>
                  <a:pt x="987" y="185"/>
                  <a:pt x="987" y="185"/>
                  <a:pt x="987" y="185"/>
                </a:cubicBezTo>
                <a:cubicBezTo>
                  <a:pt x="989" y="184"/>
                  <a:pt x="989" y="184"/>
                  <a:pt x="989" y="184"/>
                </a:cubicBezTo>
                <a:cubicBezTo>
                  <a:pt x="990" y="182"/>
                  <a:pt x="990" y="182"/>
                  <a:pt x="990" y="182"/>
                </a:cubicBezTo>
                <a:cubicBezTo>
                  <a:pt x="991" y="181"/>
                  <a:pt x="991" y="181"/>
                  <a:pt x="991" y="181"/>
                </a:cubicBezTo>
                <a:cubicBezTo>
                  <a:pt x="992" y="181"/>
                  <a:pt x="992" y="181"/>
                  <a:pt x="992" y="181"/>
                </a:cubicBezTo>
                <a:cubicBezTo>
                  <a:pt x="993" y="179"/>
                  <a:pt x="993" y="179"/>
                  <a:pt x="993" y="179"/>
                </a:cubicBezTo>
                <a:cubicBezTo>
                  <a:pt x="993" y="178"/>
                  <a:pt x="993" y="178"/>
                  <a:pt x="993" y="178"/>
                </a:cubicBezTo>
                <a:cubicBezTo>
                  <a:pt x="992" y="178"/>
                  <a:pt x="992" y="178"/>
                  <a:pt x="992" y="178"/>
                </a:cubicBezTo>
                <a:cubicBezTo>
                  <a:pt x="990" y="179"/>
                  <a:pt x="990" y="179"/>
                  <a:pt x="990" y="179"/>
                </a:cubicBezTo>
                <a:cubicBezTo>
                  <a:pt x="989" y="181"/>
                  <a:pt x="989" y="181"/>
                  <a:pt x="989" y="181"/>
                </a:cubicBezTo>
                <a:cubicBezTo>
                  <a:pt x="987" y="181"/>
                  <a:pt x="987" y="181"/>
                  <a:pt x="987" y="181"/>
                </a:cubicBezTo>
                <a:cubicBezTo>
                  <a:pt x="985" y="183"/>
                  <a:pt x="985" y="183"/>
                  <a:pt x="985" y="183"/>
                </a:cubicBezTo>
                <a:cubicBezTo>
                  <a:pt x="986" y="181"/>
                  <a:pt x="986" y="181"/>
                  <a:pt x="986" y="181"/>
                </a:cubicBezTo>
                <a:cubicBezTo>
                  <a:pt x="988" y="179"/>
                  <a:pt x="988" y="179"/>
                  <a:pt x="988" y="179"/>
                </a:cubicBezTo>
                <a:cubicBezTo>
                  <a:pt x="987" y="179"/>
                  <a:pt x="987" y="179"/>
                  <a:pt x="987" y="179"/>
                </a:cubicBezTo>
                <a:cubicBezTo>
                  <a:pt x="985" y="179"/>
                  <a:pt x="985" y="179"/>
                  <a:pt x="985" y="179"/>
                </a:cubicBezTo>
                <a:cubicBezTo>
                  <a:pt x="985" y="180"/>
                  <a:pt x="985" y="180"/>
                  <a:pt x="985" y="180"/>
                </a:cubicBezTo>
                <a:cubicBezTo>
                  <a:pt x="982" y="179"/>
                  <a:pt x="982" y="179"/>
                  <a:pt x="982" y="179"/>
                </a:cubicBezTo>
                <a:cubicBezTo>
                  <a:pt x="980" y="180"/>
                  <a:pt x="980" y="180"/>
                  <a:pt x="980" y="180"/>
                </a:cubicBezTo>
                <a:cubicBezTo>
                  <a:pt x="979" y="179"/>
                  <a:pt x="979" y="179"/>
                  <a:pt x="979" y="179"/>
                </a:cubicBezTo>
                <a:cubicBezTo>
                  <a:pt x="981" y="179"/>
                  <a:pt x="981" y="179"/>
                  <a:pt x="981" y="179"/>
                </a:cubicBezTo>
                <a:cubicBezTo>
                  <a:pt x="985" y="178"/>
                  <a:pt x="985" y="178"/>
                  <a:pt x="985" y="178"/>
                </a:cubicBezTo>
                <a:cubicBezTo>
                  <a:pt x="983" y="177"/>
                  <a:pt x="983" y="177"/>
                  <a:pt x="983" y="177"/>
                </a:cubicBezTo>
                <a:cubicBezTo>
                  <a:pt x="982" y="176"/>
                  <a:pt x="982" y="176"/>
                  <a:pt x="982" y="176"/>
                </a:cubicBezTo>
                <a:cubicBezTo>
                  <a:pt x="983" y="177"/>
                  <a:pt x="983" y="177"/>
                  <a:pt x="983" y="177"/>
                </a:cubicBezTo>
                <a:cubicBezTo>
                  <a:pt x="985" y="176"/>
                  <a:pt x="985" y="176"/>
                  <a:pt x="985" y="176"/>
                </a:cubicBezTo>
                <a:cubicBezTo>
                  <a:pt x="984" y="174"/>
                  <a:pt x="984" y="174"/>
                  <a:pt x="984" y="174"/>
                </a:cubicBezTo>
                <a:cubicBezTo>
                  <a:pt x="983" y="174"/>
                  <a:pt x="983" y="174"/>
                  <a:pt x="983" y="174"/>
                </a:cubicBezTo>
                <a:cubicBezTo>
                  <a:pt x="983" y="174"/>
                  <a:pt x="983" y="174"/>
                  <a:pt x="983" y="174"/>
                </a:cubicBezTo>
                <a:cubicBezTo>
                  <a:pt x="984" y="173"/>
                  <a:pt x="984" y="173"/>
                  <a:pt x="984" y="173"/>
                </a:cubicBezTo>
                <a:cubicBezTo>
                  <a:pt x="984" y="172"/>
                  <a:pt x="984" y="172"/>
                  <a:pt x="984" y="172"/>
                </a:cubicBezTo>
                <a:cubicBezTo>
                  <a:pt x="984" y="169"/>
                  <a:pt x="984" y="169"/>
                  <a:pt x="984" y="169"/>
                </a:cubicBezTo>
                <a:cubicBezTo>
                  <a:pt x="983" y="168"/>
                  <a:pt x="983" y="168"/>
                  <a:pt x="983" y="168"/>
                </a:cubicBezTo>
                <a:cubicBezTo>
                  <a:pt x="981" y="169"/>
                  <a:pt x="981" y="169"/>
                  <a:pt x="981" y="169"/>
                </a:cubicBezTo>
                <a:cubicBezTo>
                  <a:pt x="980" y="170"/>
                  <a:pt x="980" y="170"/>
                  <a:pt x="980" y="170"/>
                </a:cubicBezTo>
                <a:cubicBezTo>
                  <a:pt x="979" y="169"/>
                  <a:pt x="979" y="169"/>
                  <a:pt x="979" y="169"/>
                </a:cubicBezTo>
                <a:cubicBezTo>
                  <a:pt x="978" y="170"/>
                  <a:pt x="978" y="170"/>
                  <a:pt x="978" y="170"/>
                </a:cubicBezTo>
                <a:cubicBezTo>
                  <a:pt x="978" y="169"/>
                  <a:pt x="978" y="169"/>
                  <a:pt x="978" y="169"/>
                </a:cubicBezTo>
                <a:cubicBezTo>
                  <a:pt x="978" y="168"/>
                  <a:pt x="978" y="168"/>
                  <a:pt x="978" y="168"/>
                </a:cubicBezTo>
                <a:cubicBezTo>
                  <a:pt x="979" y="166"/>
                  <a:pt x="979" y="166"/>
                  <a:pt x="979" y="166"/>
                </a:cubicBezTo>
                <a:cubicBezTo>
                  <a:pt x="981" y="166"/>
                  <a:pt x="981" y="166"/>
                  <a:pt x="981" y="166"/>
                </a:cubicBezTo>
                <a:cubicBezTo>
                  <a:pt x="982" y="165"/>
                  <a:pt x="982" y="165"/>
                  <a:pt x="982" y="165"/>
                </a:cubicBezTo>
                <a:cubicBezTo>
                  <a:pt x="982" y="163"/>
                  <a:pt x="982" y="163"/>
                  <a:pt x="982" y="163"/>
                </a:cubicBezTo>
                <a:cubicBezTo>
                  <a:pt x="981" y="162"/>
                  <a:pt x="981" y="162"/>
                  <a:pt x="981" y="162"/>
                </a:cubicBezTo>
                <a:cubicBezTo>
                  <a:pt x="980" y="163"/>
                  <a:pt x="980" y="163"/>
                  <a:pt x="980" y="163"/>
                </a:cubicBezTo>
                <a:cubicBezTo>
                  <a:pt x="978" y="165"/>
                  <a:pt x="978" y="165"/>
                  <a:pt x="978" y="165"/>
                </a:cubicBezTo>
                <a:cubicBezTo>
                  <a:pt x="976" y="166"/>
                  <a:pt x="976" y="166"/>
                  <a:pt x="976" y="166"/>
                </a:cubicBezTo>
                <a:cubicBezTo>
                  <a:pt x="975" y="168"/>
                  <a:pt x="975" y="168"/>
                  <a:pt x="975" y="168"/>
                </a:cubicBezTo>
                <a:cubicBezTo>
                  <a:pt x="975" y="169"/>
                  <a:pt x="975" y="169"/>
                  <a:pt x="975" y="169"/>
                </a:cubicBezTo>
                <a:cubicBezTo>
                  <a:pt x="975" y="171"/>
                  <a:pt x="975" y="171"/>
                  <a:pt x="975" y="171"/>
                </a:cubicBezTo>
                <a:cubicBezTo>
                  <a:pt x="974" y="171"/>
                  <a:pt x="974" y="171"/>
                  <a:pt x="974" y="171"/>
                </a:cubicBezTo>
                <a:cubicBezTo>
                  <a:pt x="974" y="169"/>
                  <a:pt x="974" y="169"/>
                  <a:pt x="974" y="169"/>
                </a:cubicBezTo>
                <a:cubicBezTo>
                  <a:pt x="974" y="168"/>
                  <a:pt x="974" y="168"/>
                  <a:pt x="974" y="168"/>
                </a:cubicBezTo>
                <a:cubicBezTo>
                  <a:pt x="975" y="166"/>
                  <a:pt x="975" y="166"/>
                  <a:pt x="975" y="166"/>
                </a:cubicBezTo>
                <a:cubicBezTo>
                  <a:pt x="977" y="164"/>
                  <a:pt x="977" y="164"/>
                  <a:pt x="977" y="164"/>
                </a:cubicBezTo>
                <a:cubicBezTo>
                  <a:pt x="977" y="162"/>
                  <a:pt x="977" y="162"/>
                  <a:pt x="977" y="162"/>
                </a:cubicBezTo>
                <a:cubicBezTo>
                  <a:pt x="977" y="162"/>
                  <a:pt x="977" y="162"/>
                  <a:pt x="977" y="162"/>
                </a:cubicBezTo>
                <a:cubicBezTo>
                  <a:pt x="975" y="163"/>
                  <a:pt x="975" y="163"/>
                  <a:pt x="975" y="163"/>
                </a:cubicBezTo>
                <a:cubicBezTo>
                  <a:pt x="975" y="164"/>
                  <a:pt x="975" y="164"/>
                  <a:pt x="975" y="164"/>
                </a:cubicBezTo>
                <a:cubicBezTo>
                  <a:pt x="975" y="165"/>
                  <a:pt x="975" y="165"/>
                  <a:pt x="975" y="165"/>
                </a:cubicBezTo>
                <a:cubicBezTo>
                  <a:pt x="973" y="166"/>
                  <a:pt x="973" y="166"/>
                  <a:pt x="973" y="166"/>
                </a:cubicBezTo>
                <a:cubicBezTo>
                  <a:pt x="972" y="167"/>
                  <a:pt x="972" y="167"/>
                  <a:pt x="972" y="167"/>
                </a:cubicBezTo>
                <a:cubicBezTo>
                  <a:pt x="972" y="168"/>
                  <a:pt x="972" y="168"/>
                  <a:pt x="972" y="168"/>
                </a:cubicBezTo>
                <a:cubicBezTo>
                  <a:pt x="971" y="170"/>
                  <a:pt x="971" y="170"/>
                  <a:pt x="971" y="170"/>
                </a:cubicBezTo>
                <a:cubicBezTo>
                  <a:pt x="970" y="171"/>
                  <a:pt x="970" y="171"/>
                  <a:pt x="970" y="171"/>
                </a:cubicBezTo>
                <a:cubicBezTo>
                  <a:pt x="970" y="170"/>
                  <a:pt x="970" y="170"/>
                  <a:pt x="970" y="170"/>
                </a:cubicBezTo>
                <a:cubicBezTo>
                  <a:pt x="971" y="168"/>
                  <a:pt x="971" y="168"/>
                  <a:pt x="971" y="168"/>
                </a:cubicBezTo>
                <a:cubicBezTo>
                  <a:pt x="972" y="165"/>
                  <a:pt x="972" y="165"/>
                  <a:pt x="972" y="165"/>
                </a:cubicBezTo>
                <a:cubicBezTo>
                  <a:pt x="973" y="163"/>
                  <a:pt x="973" y="163"/>
                  <a:pt x="973" y="163"/>
                </a:cubicBezTo>
                <a:cubicBezTo>
                  <a:pt x="973" y="162"/>
                  <a:pt x="973" y="162"/>
                  <a:pt x="973" y="162"/>
                </a:cubicBezTo>
                <a:cubicBezTo>
                  <a:pt x="971" y="162"/>
                  <a:pt x="971" y="162"/>
                  <a:pt x="971" y="162"/>
                </a:cubicBezTo>
                <a:cubicBezTo>
                  <a:pt x="970" y="163"/>
                  <a:pt x="970" y="163"/>
                  <a:pt x="970" y="163"/>
                </a:cubicBezTo>
                <a:cubicBezTo>
                  <a:pt x="970" y="165"/>
                  <a:pt x="970" y="165"/>
                  <a:pt x="970" y="165"/>
                </a:cubicBezTo>
                <a:cubicBezTo>
                  <a:pt x="969" y="165"/>
                  <a:pt x="969" y="165"/>
                  <a:pt x="969" y="165"/>
                </a:cubicBezTo>
                <a:cubicBezTo>
                  <a:pt x="969" y="164"/>
                  <a:pt x="969" y="164"/>
                  <a:pt x="969" y="164"/>
                </a:cubicBezTo>
                <a:cubicBezTo>
                  <a:pt x="970" y="162"/>
                  <a:pt x="970" y="162"/>
                  <a:pt x="970" y="162"/>
                </a:cubicBezTo>
                <a:cubicBezTo>
                  <a:pt x="971" y="161"/>
                  <a:pt x="971" y="161"/>
                  <a:pt x="971" y="161"/>
                </a:cubicBezTo>
                <a:cubicBezTo>
                  <a:pt x="970" y="160"/>
                  <a:pt x="970" y="160"/>
                  <a:pt x="970" y="160"/>
                </a:cubicBezTo>
                <a:cubicBezTo>
                  <a:pt x="968" y="159"/>
                  <a:pt x="968" y="159"/>
                  <a:pt x="968" y="159"/>
                </a:cubicBezTo>
                <a:cubicBezTo>
                  <a:pt x="969" y="158"/>
                  <a:pt x="969" y="158"/>
                  <a:pt x="969" y="158"/>
                </a:cubicBezTo>
                <a:cubicBezTo>
                  <a:pt x="968" y="157"/>
                  <a:pt x="968" y="157"/>
                  <a:pt x="968" y="157"/>
                </a:cubicBezTo>
                <a:cubicBezTo>
                  <a:pt x="965" y="157"/>
                  <a:pt x="965" y="157"/>
                  <a:pt x="965" y="157"/>
                </a:cubicBezTo>
                <a:cubicBezTo>
                  <a:pt x="964" y="158"/>
                  <a:pt x="964" y="158"/>
                  <a:pt x="964" y="158"/>
                </a:cubicBezTo>
                <a:cubicBezTo>
                  <a:pt x="965" y="157"/>
                  <a:pt x="965" y="157"/>
                  <a:pt x="965" y="157"/>
                </a:cubicBezTo>
                <a:cubicBezTo>
                  <a:pt x="966" y="156"/>
                  <a:pt x="966" y="156"/>
                  <a:pt x="966" y="156"/>
                </a:cubicBezTo>
                <a:cubicBezTo>
                  <a:pt x="965" y="156"/>
                  <a:pt x="965" y="156"/>
                  <a:pt x="965" y="156"/>
                </a:cubicBezTo>
                <a:cubicBezTo>
                  <a:pt x="962" y="156"/>
                  <a:pt x="962" y="156"/>
                  <a:pt x="962" y="156"/>
                </a:cubicBezTo>
                <a:cubicBezTo>
                  <a:pt x="961" y="157"/>
                  <a:pt x="961" y="157"/>
                  <a:pt x="961" y="157"/>
                </a:cubicBezTo>
                <a:cubicBezTo>
                  <a:pt x="961" y="156"/>
                  <a:pt x="961" y="156"/>
                  <a:pt x="961" y="156"/>
                </a:cubicBezTo>
                <a:cubicBezTo>
                  <a:pt x="964" y="154"/>
                  <a:pt x="964" y="154"/>
                  <a:pt x="964" y="154"/>
                </a:cubicBezTo>
                <a:cubicBezTo>
                  <a:pt x="966" y="154"/>
                  <a:pt x="966" y="154"/>
                  <a:pt x="966" y="154"/>
                </a:cubicBezTo>
                <a:cubicBezTo>
                  <a:pt x="967" y="155"/>
                  <a:pt x="967" y="155"/>
                  <a:pt x="967" y="155"/>
                </a:cubicBezTo>
                <a:cubicBezTo>
                  <a:pt x="969" y="155"/>
                  <a:pt x="969" y="155"/>
                  <a:pt x="969" y="155"/>
                </a:cubicBezTo>
                <a:cubicBezTo>
                  <a:pt x="969" y="154"/>
                  <a:pt x="969" y="154"/>
                  <a:pt x="969" y="154"/>
                </a:cubicBezTo>
                <a:cubicBezTo>
                  <a:pt x="970" y="153"/>
                  <a:pt x="970" y="153"/>
                  <a:pt x="970" y="153"/>
                </a:cubicBezTo>
                <a:cubicBezTo>
                  <a:pt x="969" y="153"/>
                  <a:pt x="969" y="153"/>
                  <a:pt x="969" y="153"/>
                </a:cubicBezTo>
                <a:cubicBezTo>
                  <a:pt x="967" y="152"/>
                  <a:pt x="967" y="152"/>
                  <a:pt x="967" y="152"/>
                </a:cubicBezTo>
                <a:cubicBezTo>
                  <a:pt x="965" y="151"/>
                  <a:pt x="965" y="151"/>
                  <a:pt x="965" y="151"/>
                </a:cubicBezTo>
                <a:cubicBezTo>
                  <a:pt x="963" y="151"/>
                  <a:pt x="963" y="151"/>
                  <a:pt x="963" y="151"/>
                </a:cubicBezTo>
                <a:cubicBezTo>
                  <a:pt x="963" y="153"/>
                  <a:pt x="963" y="153"/>
                  <a:pt x="963" y="153"/>
                </a:cubicBezTo>
                <a:cubicBezTo>
                  <a:pt x="962" y="153"/>
                  <a:pt x="962" y="153"/>
                  <a:pt x="962" y="153"/>
                </a:cubicBezTo>
                <a:cubicBezTo>
                  <a:pt x="962" y="152"/>
                  <a:pt x="962" y="152"/>
                  <a:pt x="962" y="152"/>
                </a:cubicBezTo>
                <a:cubicBezTo>
                  <a:pt x="963" y="152"/>
                  <a:pt x="963" y="152"/>
                  <a:pt x="963" y="152"/>
                </a:cubicBezTo>
                <a:cubicBezTo>
                  <a:pt x="963" y="151"/>
                  <a:pt x="963" y="151"/>
                  <a:pt x="963" y="151"/>
                </a:cubicBezTo>
                <a:cubicBezTo>
                  <a:pt x="961" y="151"/>
                  <a:pt x="961" y="151"/>
                  <a:pt x="961" y="151"/>
                </a:cubicBezTo>
                <a:cubicBezTo>
                  <a:pt x="961" y="152"/>
                  <a:pt x="961" y="152"/>
                  <a:pt x="961" y="152"/>
                </a:cubicBezTo>
                <a:cubicBezTo>
                  <a:pt x="960" y="152"/>
                  <a:pt x="960" y="152"/>
                  <a:pt x="960" y="152"/>
                </a:cubicBezTo>
                <a:cubicBezTo>
                  <a:pt x="960" y="151"/>
                  <a:pt x="960" y="151"/>
                  <a:pt x="960" y="151"/>
                </a:cubicBezTo>
                <a:cubicBezTo>
                  <a:pt x="960" y="150"/>
                  <a:pt x="960" y="150"/>
                  <a:pt x="960" y="150"/>
                </a:cubicBezTo>
                <a:cubicBezTo>
                  <a:pt x="959" y="149"/>
                  <a:pt x="959" y="149"/>
                  <a:pt x="959" y="149"/>
                </a:cubicBezTo>
                <a:cubicBezTo>
                  <a:pt x="958" y="150"/>
                  <a:pt x="958" y="150"/>
                  <a:pt x="958" y="150"/>
                </a:cubicBezTo>
                <a:cubicBezTo>
                  <a:pt x="957" y="149"/>
                  <a:pt x="957" y="149"/>
                  <a:pt x="957" y="149"/>
                </a:cubicBezTo>
                <a:cubicBezTo>
                  <a:pt x="956" y="148"/>
                  <a:pt x="956" y="148"/>
                  <a:pt x="956" y="148"/>
                </a:cubicBezTo>
                <a:cubicBezTo>
                  <a:pt x="955" y="148"/>
                  <a:pt x="955" y="148"/>
                  <a:pt x="955" y="148"/>
                </a:cubicBezTo>
                <a:cubicBezTo>
                  <a:pt x="956" y="147"/>
                  <a:pt x="956" y="147"/>
                  <a:pt x="956" y="147"/>
                </a:cubicBezTo>
                <a:cubicBezTo>
                  <a:pt x="957" y="147"/>
                  <a:pt x="957" y="147"/>
                  <a:pt x="957" y="147"/>
                </a:cubicBezTo>
                <a:cubicBezTo>
                  <a:pt x="960" y="148"/>
                  <a:pt x="960" y="148"/>
                  <a:pt x="960" y="148"/>
                </a:cubicBezTo>
                <a:cubicBezTo>
                  <a:pt x="961" y="148"/>
                  <a:pt x="961" y="148"/>
                  <a:pt x="961" y="148"/>
                </a:cubicBezTo>
                <a:cubicBezTo>
                  <a:pt x="960" y="147"/>
                  <a:pt x="960" y="147"/>
                  <a:pt x="960" y="147"/>
                </a:cubicBezTo>
                <a:cubicBezTo>
                  <a:pt x="955" y="145"/>
                  <a:pt x="955" y="145"/>
                  <a:pt x="955" y="145"/>
                </a:cubicBezTo>
                <a:cubicBezTo>
                  <a:pt x="953" y="144"/>
                  <a:pt x="953" y="144"/>
                  <a:pt x="953" y="144"/>
                </a:cubicBezTo>
                <a:cubicBezTo>
                  <a:pt x="953" y="143"/>
                  <a:pt x="953" y="143"/>
                  <a:pt x="953" y="143"/>
                </a:cubicBezTo>
                <a:cubicBezTo>
                  <a:pt x="954" y="143"/>
                  <a:pt x="954" y="143"/>
                  <a:pt x="954" y="143"/>
                </a:cubicBezTo>
                <a:cubicBezTo>
                  <a:pt x="958" y="144"/>
                  <a:pt x="958" y="144"/>
                  <a:pt x="958" y="144"/>
                </a:cubicBezTo>
                <a:cubicBezTo>
                  <a:pt x="960" y="145"/>
                  <a:pt x="960" y="145"/>
                  <a:pt x="960" y="145"/>
                </a:cubicBezTo>
                <a:cubicBezTo>
                  <a:pt x="964" y="146"/>
                  <a:pt x="964" y="146"/>
                  <a:pt x="964" y="146"/>
                </a:cubicBezTo>
                <a:cubicBezTo>
                  <a:pt x="965" y="145"/>
                  <a:pt x="965" y="145"/>
                  <a:pt x="965" y="145"/>
                </a:cubicBezTo>
                <a:cubicBezTo>
                  <a:pt x="964" y="145"/>
                  <a:pt x="964" y="145"/>
                  <a:pt x="964" y="145"/>
                </a:cubicBezTo>
                <a:cubicBezTo>
                  <a:pt x="964" y="143"/>
                  <a:pt x="964" y="143"/>
                  <a:pt x="964" y="143"/>
                </a:cubicBezTo>
                <a:cubicBezTo>
                  <a:pt x="964" y="142"/>
                  <a:pt x="964" y="142"/>
                  <a:pt x="964" y="142"/>
                </a:cubicBezTo>
                <a:cubicBezTo>
                  <a:pt x="962" y="142"/>
                  <a:pt x="962" y="142"/>
                  <a:pt x="962" y="142"/>
                </a:cubicBezTo>
                <a:cubicBezTo>
                  <a:pt x="961" y="141"/>
                  <a:pt x="961" y="141"/>
                  <a:pt x="961" y="141"/>
                </a:cubicBezTo>
                <a:cubicBezTo>
                  <a:pt x="961" y="140"/>
                  <a:pt x="961" y="140"/>
                  <a:pt x="961" y="140"/>
                </a:cubicBezTo>
                <a:cubicBezTo>
                  <a:pt x="962" y="140"/>
                  <a:pt x="962" y="140"/>
                  <a:pt x="962" y="140"/>
                </a:cubicBezTo>
                <a:cubicBezTo>
                  <a:pt x="963" y="141"/>
                  <a:pt x="963" y="141"/>
                  <a:pt x="963" y="141"/>
                </a:cubicBezTo>
                <a:cubicBezTo>
                  <a:pt x="964" y="142"/>
                  <a:pt x="964" y="142"/>
                  <a:pt x="964" y="142"/>
                </a:cubicBezTo>
                <a:cubicBezTo>
                  <a:pt x="965" y="141"/>
                  <a:pt x="965" y="141"/>
                  <a:pt x="965" y="141"/>
                </a:cubicBezTo>
                <a:cubicBezTo>
                  <a:pt x="967" y="141"/>
                  <a:pt x="967" y="141"/>
                  <a:pt x="967" y="141"/>
                </a:cubicBezTo>
                <a:cubicBezTo>
                  <a:pt x="967" y="141"/>
                  <a:pt x="967" y="141"/>
                  <a:pt x="967" y="141"/>
                </a:cubicBezTo>
                <a:cubicBezTo>
                  <a:pt x="967" y="140"/>
                  <a:pt x="967" y="140"/>
                  <a:pt x="967" y="140"/>
                </a:cubicBezTo>
                <a:cubicBezTo>
                  <a:pt x="966" y="139"/>
                  <a:pt x="966" y="139"/>
                  <a:pt x="966" y="139"/>
                </a:cubicBezTo>
                <a:cubicBezTo>
                  <a:pt x="966" y="139"/>
                  <a:pt x="966" y="139"/>
                  <a:pt x="966" y="139"/>
                </a:cubicBezTo>
                <a:cubicBezTo>
                  <a:pt x="965" y="137"/>
                  <a:pt x="965" y="137"/>
                  <a:pt x="965" y="137"/>
                </a:cubicBezTo>
                <a:cubicBezTo>
                  <a:pt x="963" y="138"/>
                  <a:pt x="963" y="138"/>
                  <a:pt x="963" y="138"/>
                </a:cubicBezTo>
                <a:cubicBezTo>
                  <a:pt x="962" y="138"/>
                  <a:pt x="962" y="138"/>
                  <a:pt x="962" y="138"/>
                </a:cubicBezTo>
                <a:cubicBezTo>
                  <a:pt x="959" y="138"/>
                  <a:pt x="959" y="138"/>
                  <a:pt x="959" y="138"/>
                </a:cubicBezTo>
                <a:cubicBezTo>
                  <a:pt x="959" y="139"/>
                  <a:pt x="959" y="139"/>
                  <a:pt x="959" y="139"/>
                </a:cubicBezTo>
                <a:cubicBezTo>
                  <a:pt x="958" y="139"/>
                  <a:pt x="958" y="139"/>
                  <a:pt x="958" y="139"/>
                </a:cubicBezTo>
                <a:cubicBezTo>
                  <a:pt x="957" y="138"/>
                  <a:pt x="957" y="138"/>
                  <a:pt x="957" y="138"/>
                </a:cubicBezTo>
                <a:cubicBezTo>
                  <a:pt x="959" y="137"/>
                  <a:pt x="959" y="137"/>
                  <a:pt x="959" y="137"/>
                </a:cubicBezTo>
                <a:cubicBezTo>
                  <a:pt x="961" y="137"/>
                  <a:pt x="961" y="137"/>
                  <a:pt x="961" y="137"/>
                </a:cubicBezTo>
                <a:cubicBezTo>
                  <a:pt x="962" y="137"/>
                  <a:pt x="962" y="137"/>
                  <a:pt x="962" y="137"/>
                </a:cubicBezTo>
                <a:cubicBezTo>
                  <a:pt x="965" y="136"/>
                  <a:pt x="965" y="136"/>
                  <a:pt x="965" y="136"/>
                </a:cubicBezTo>
                <a:cubicBezTo>
                  <a:pt x="965" y="136"/>
                  <a:pt x="965" y="136"/>
                  <a:pt x="965" y="136"/>
                </a:cubicBezTo>
                <a:cubicBezTo>
                  <a:pt x="963" y="135"/>
                  <a:pt x="963" y="135"/>
                  <a:pt x="963" y="135"/>
                </a:cubicBezTo>
                <a:cubicBezTo>
                  <a:pt x="962" y="135"/>
                  <a:pt x="962" y="135"/>
                  <a:pt x="962" y="135"/>
                </a:cubicBezTo>
                <a:cubicBezTo>
                  <a:pt x="961" y="134"/>
                  <a:pt x="961" y="134"/>
                  <a:pt x="961" y="134"/>
                </a:cubicBezTo>
                <a:cubicBezTo>
                  <a:pt x="962" y="134"/>
                  <a:pt x="962" y="134"/>
                  <a:pt x="962" y="134"/>
                </a:cubicBezTo>
                <a:cubicBezTo>
                  <a:pt x="964" y="134"/>
                  <a:pt x="964" y="134"/>
                  <a:pt x="964" y="134"/>
                </a:cubicBezTo>
                <a:cubicBezTo>
                  <a:pt x="965" y="134"/>
                  <a:pt x="965" y="134"/>
                  <a:pt x="965" y="134"/>
                </a:cubicBezTo>
                <a:cubicBezTo>
                  <a:pt x="966" y="134"/>
                  <a:pt x="966" y="134"/>
                  <a:pt x="966" y="134"/>
                </a:cubicBezTo>
                <a:cubicBezTo>
                  <a:pt x="969" y="137"/>
                  <a:pt x="969" y="137"/>
                  <a:pt x="969" y="137"/>
                </a:cubicBezTo>
                <a:cubicBezTo>
                  <a:pt x="970" y="137"/>
                  <a:pt x="970" y="137"/>
                  <a:pt x="970" y="137"/>
                </a:cubicBezTo>
                <a:cubicBezTo>
                  <a:pt x="971" y="137"/>
                  <a:pt x="971" y="137"/>
                  <a:pt x="971" y="137"/>
                </a:cubicBezTo>
                <a:cubicBezTo>
                  <a:pt x="972" y="138"/>
                  <a:pt x="972" y="138"/>
                  <a:pt x="972" y="138"/>
                </a:cubicBezTo>
                <a:cubicBezTo>
                  <a:pt x="973" y="138"/>
                  <a:pt x="973" y="138"/>
                  <a:pt x="973" y="138"/>
                </a:cubicBezTo>
                <a:cubicBezTo>
                  <a:pt x="974" y="137"/>
                  <a:pt x="974" y="137"/>
                  <a:pt x="974" y="137"/>
                </a:cubicBezTo>
                <a:cubicBezTo>
                  <a:pt x="974" y="137"/>
                  <a:pt x="974" y="137"/>
                  <a:pt x="974" y="137"/>
                </a:cubicBezTo>
                <a:cubicBezTo>
                  <a:pt x="975" y="139"/>
                  <a:pt x="975" y="139"/>
                  <a:pt x="975" y="139"/>
                </a:cubicBezTo>
                <a:cubicBezTo>
                  <a:pt x="977" y="139"/>
                  <a:pt x="977" y="139"/>
                  <a:pt x="977" y="139"/>
                </a:cubicBezTo>
                <a:cubicBezTo>
                  <a:pt x="977" y="138"/>
                  <a:pt x="977" y="138"/>
                  <a:pt x="977" y="138"/>
                </a:cubicBezTo>
                <a:cubicBezTo>
                  <a:pt x="977" y="136"/>
                  <a:pt x="977" y="136"/>
                  <a:pt x="977" y="136"/>
                </a:cubicBezTo>
                <a:cubicBezTo>
                  <a:pt x="976" y="134"/>
                  <a:pt x="976" y="134"/>
                  <a:pt x="976" y="134"/>
                </a:cubicBezTo>
                <a:cubicBezTo>
                  <a:pt x="976" y="133"/>
                  <a:pt x="976" y="133"/>
                  <a:pt x="976" y="133"/>
                </a:cubicBezTo>
                <a:cubicBezTo>
                  <a:pt x="974" y="132"/>
                  <a:pt x="974" y="132"/>
                  <a:pt x="974" y="132"/>
                </a:cubicBezTo>
                <a:cubicBezTo>
                  <a:pt x="972" y="131"/>
                  <a:pt x="972" y="131"/>
                  <a:pt x="972" y="131"/>
                </a:cubicBezTo>
                <a:cubicBezTo>
                  <a:pt x="971" y="130"/>
                  <a:pt x="971" y="130"/>
                  <a:pt x="971" y="130"/>
                </a:cubicBezTo>
                <a:cubicBezTo>
                  <a:pt x="970" y="131"/>
                  <a:pt x="970" y="131"/>
                  <a:pt x="970" y="131"/>
                </a:cubicBezTo>
                <a:cubicBezTo>
                  <a:pt x="969" y="131"/>
                  <a:pt x="969" y="131"/>
                  <a:pt x="969" y="131"/>
                </a:cubicBezTo>
                <a:cubicBezTo>
                  <a:pt x="968" y="131"/>
                  <a:pt x="968" y="131"/>
                  <a:pt x="968" y="131"/>
                </a:cubicBezTo>
                <a:cubicBezTo>
                  <a:pt x="965" y="128"/>
                  <a:pt x="965" y="128"/>
                  <a:pt x="965" y="128"/>
                </a:cubicBezTo>
                <a:cubicBezTo>
                  <a:pt x="963" y="127"/>
                  <a:pt x="963" y="127"/>
                  <a:pt x="963" y="127"/>
                </a:cubicBezTo>
                <a:cubicBezTo>
                  <a:pt x="960" y="128"/>
                  <a:pt x="960" y="128"/>
                  <a:pt x="960" y="128"/>
                </a:cubicBezTo>
                <a:cubicBezTo>
                  <a:pt x="959" y="127"/>
                  <a:pt x="959" y="127"/>
                  <a:pt x="959" y="127"/>
                </a:cubicBezTo>
                <a:cubicBezTo>
                  <a:pt x="962" y="127"/>
                  <a:pt x="962" y="127"/>
                  <a:pt x="962" y="127"/>
                </a:cubicBezTo>
                <a:cubicBezTo>
                  <a:pt x="963" y="126"/>
                  <a:pt x="963" y="126"/>
                  <a:pt x="963" y="126"/>
                </a:cubicBezTo>
                <a:cubicBezTo>
                  <a:pt x="964" y="126"/>
                  <a:pt x="964" y="126"/>
                  <a:pt x="964" y="126"/>
                </a:cubicBezTo>
                <a:cubicBezTo>
                  <a:pt x="965" y="126"/>
                  <a:pt x="965" y="126"/>
                  <a:pt x="965" y="126"/>
                </a:cubicBezTo>
                <a:cubicBezTo>
                  <a:pt x="966" y="126"/>
                  <a:pt x="966" y="126"/>
                  <a:pt x="966" y="126"/>
                </a:cubicBezTo>
                <a:cubicBezTo>
                  <a:pt x="968" y="125"/>
                  <a:pt x="968" y="125"/>
                  <a:pt x="968" y="125"/>
                </a:cubicBezTo>
                <a:cubicBezTo>
                  <a:pt x="969" y="124"/>
                  <a:pt x="969" y="124"/>
                  <a:pt x="969" y="124"/>
                </a:cubicBezTo>
                <a:cubicBezTo>
                  <a:pt x="972" y="125"/>
                  <a:pt x="972" y="125"/>
                  <a:pt x="972" y="125"/>
                </a:cubicBezTo>
                <a:cubicBezTo>
                  <a:pt x="973" y="126"/>
                  <a:pt x="973" y="126"/>
                  <a:pt x="973" y="126"/>
                </a:cubicBezTo>
                <a:cubicBezTo>
                  <a:pt x="976" y="126"/>
                  <a:pt x="976" y="126"/>
                  <a:pt x="976" y="126"/>
                </a:cubicBezTo>
                <a:cubicBezTo>
                  <a:pt x="976" y="124"/>
                  <a:pt x="976" y="124"/>
                  <a:pt x="976" y="124"/>
                </a:cubicBezTo>
                <a:cubicBezTo>
                  <a:pt x="977" y="123"/>
                  <a:pt x="977" y="123"/>
                  <a:pt x="977" y="123"/>
                </a:cubicBezTo>
                <a:cubicBezTo>
                  <a:pt x="976" y="121"/>
                  <a:pt x="976" y="121"/>
                  <a:pt x="976" y="121"/>
                </a:cubicBezTo>
                <a:cubicBezTo>
                  <a:pt x="975" y="119"/>
                  <a:pt x="975" y="119"/>
                  <a:pt x="975" y="119"/>
                </a:cubicBezTo>
                <a:cubicBezTo>
                  <a:pt x="973" y="115"/>
                  <a:pt x="973" y="115"/>
                  <a:pt x="973" y="115"/>
                </a:cubicBezTo>
                <a:cubicBezTo>
                  <a:pt x="973" y="113"/>
                  <a:pt x="973" y="113"/>
                  <a:pt x="973" y="113"/>
                </a:cubicBezTo>
                <a:cubicBezTo>
                  <a:pt x="972" y="113"/>
                  <a:pt x="972" y="113"/>
                  <a:pt x="972" y="113"/>
                </a:cubicBezTo>
                <a:cubicBezTo>
                  <a:pt x="972" y="113"/>
                  <a:pt x="972" y="113"/>
                  <a:pt x="972" y="113"/>
                </a:cubicBezTo>
                <a:cubicBezTo>
                  <a:pt x="970" y="113"/>
                  <a:pt x="970" y="113"/>
                  <a:pt x="970" y="113"/>
                </a:cubicBezTo>
                <a:cubicBezTo>
                  <a:pt x="970" y="114"/>
                  <a:pt x="970" y="114"/>
                  <a:pt x="970" y="114"/>
                </a:cubicBezTo>
                <a:cubicBezTo>
                  <a:pt x="969" y="116"/>
                  <a:pt x="969" y="116"/>
                  <a:pt x="969" y="116"/>
                </a:cubicBezTo>
                <a:cubicBezTo>
                  <a:pt x="970" y="116"/>
                  <a:pt x="970" y="116"/>
                  <a:pt x="970" y="116"/>
                </a:cubicBezTo>
                <a:cubicBezTo>
                  <a:pt x="970" y="117"/>
                  <a:pt x="970" y="117"/>
                  <a:pt x="970" y="117"/>
                </a:cubicBezTo>
                <a:cubicBezTo>
                  <a:pt x="969" y="118"/>
                  <a:pt x="969" y="118"/>
                  <a:pt x="969" y="118"/>
                </a:cubicBezTo>
                <a:cubicBezTo>
                  <a:pt x="967" y="119"/>
                  <a:pt x="967" y="119"/>
                  <a:pt x="967" y="119"/>
                </a:cubicBezTo>
                <a:cubicBezTo>
                  <a:pt x="966" y="120"/>
                  <a:pt x="966" y="120"/>
                  <a:pt x="966" y="120"/>
                </a:cubicBezTo>
                <a:cubicBezTo>
                  <a:pt x="964" y="120"/>
                  <a:pt x="964" y="120"/>
                  <a:pt x="964" y="120"/>
                </a:cubicBezTo>
                <a:cubicBezTo>
                  <a:pt x="963" y="120"/>
                  <a:pt x="963" y="120"/>
                  <a:pt x="963" y="120"/>
                </a:cubicBezTo>
                <a:cubicBezTo>
                  <a:pt x="961" y="120"/>
                  <a:pt x="961" y="120"/>
                  <a:pt x="961" y="120"/>
                </a:cubicBezTo>
                <a:cubicBezTo>
                  <a:pt x="960" y="122"/>
                  <a:pt x="960" y="122"/>
                  <a:pt x="960" y="122"/>
                </a:cubicBezTo>
                <a:cubicBezTo>
                  <a:pt x="958" y="124"/>
                  <a:pt x="958" y="124"/>
                  <a:pt x="958" y="124"/>
                </a:cubicBezTo>
                <a:cubicBezTo>
                  <a:pt x="957" y="123"/>
                  <a:pt x="957" y="123"/>
                  <a:pt x="957" y="123"/>
                </a:cubicBezTo>
                <a:cubicBezTo>
                  <a:pt x="955" y="123"/>
                  <a:pt x="955" y="123"/>
                  <a:pt x="955" y="123"/>
                </a:cubicBezTo>
                <a:cubicBezTo>
                  <a:pt x="954" y="123"/>
                  <a:pt x="954" y="123"/>
                  <a:pt x="954" y="123"/>
                </a:cubicBezTo>
                <a:cubicBezTo>
                  <a:pt x="953" y="124"/>
                  <a:pt x="953" y="124"/>
                  <a:pt x="953" y="124"/>
                </a:cubicBezTo>
                <a:cubicBezTo>
                  <a:pt x="954" y="122"/>
                  <a:pt x="954" y="122"/>
                  <a:pt x="954" y="122"/>
                </a:cubicBezTo>
                <a:cubicBezTo>
                  <a:pt x="955" y="121"/>
                  <a:pt x="955" y="121"/>
                  <a:pt x="955" y="121"/>
                </a:cubicBezTo>
                <a:cubicBezTo>
                  <a:pt x="957" y="122"/>
                  <a:pt x="957" y="122"/>
                  <a:pt x="957" y="122"/>
                </a:cubicBezTo>
                <a:cubicBezTo>
                  <a:pt x="958" y="122"/>
                  <a:pt x="958" y="122"/>
                  <a:pt x="958" y="122"/>
                </a:cubicBezTo>
                <a:cubicBezTo>
                  <a:pt x="960" y="120"/>
                  <a:pt x="960" y="120"/>
                  <a:pt x="960" y="120"/>
                </a:cubicBezTo>
                <a:cubicBezTo>
                  <a:pt x="961" y="119"/>
                  <a:pt x="961" y="119"/>
                  <a:pt x="961" y="119"/>
                </a:cubicBezTo>
                <a:cubicBezTo>
                  <a:pt x="962" y="119"/>
                  <a:pt x="962" y="119"/>
                  <a:pt x="962" y="119"/>
                </a:cubicBezTo>
                <a:cubicBezTo>
                  <a:pt x="964" y="118"/>
                  <a:pt x="964" y="118"/>
                  <a:pt x="964" y="118"/>
                </a:cubicBezTo>
                <a:cubicBezTo>
                  <a:pt x="965" y="117"/>
                  <a:pt x="965" y="117"/>
                  <a:pt x="965" y="117"/>
                </a:cubicBezTo>
                <a:cubicBezTo>
                  <a:pt x="966" y="115"/>
                  <a:pt x="966" y="115"/>
                  <a:pt x="966" y="115"/>
                </a:cubicBezTo>
                <a:cubicBezTo>
                  <a:pt x="965" y="114"/>
                  <a:pt x="965" y="114"/>
                  <a:pt x="965" y="114"/>
                </a:cubicBezTo>
                <a:cubicBezTo>
                  <a:pt x="964" y="114"/>
                  <a:pt x="964" y="114"/>
                  <a:pt x="964" y="114"/>
                </a:cubicBezTo>
                <a:cubicBezTo>
                  <a:pt x="963" y="115"/>
                  <a:pt x="963" y="115"/>
                  <a:pt x="963" y="115"/>
                </a:cubicBezTo>
                <a:cubicBezTo>
                  <a:pt x="961" y="114"/>
                  <a:pt x="961" y="114"/>
                  <a:pt x="961" y="114"/>
                </a:cubicBezTo>
                <a:cubicBezTo>
                  <a:pt x="959" y="115"/>
                  <a:pt x="959" y="115"/>
                  <a:pt x="959" y="115"/>
                </a:cubicBezTo>
                <a:cubicBezTo>
                  <a:pt x="956" y="117"/>
                  <a:pt x="956" y="117"/>
                  <a:pt x="956" y="117"/>
                </a:cubicBezTo>
                <a:cubicBezTo>
                  <a:pt x="954" y="119"/>
                  <a:pt x="954" y="119"/>
                  <a:pt x="954" y="119"/>
                </a:cubicBezTo>
                <a:cubicBezTo>
                  <a:pt x="951" y="120"/>
                  <a:pt x="951" y="120"/>
                  <a:pt x="951" y="120"/>
                </a:cubicBezTo>
                <a:cubicBezTo>
                  <a:pt x="952" y="119"/>
                  <a:pt x="952" y="119"/>
                  <a:pt x="952" y="119"/>
                </a:cubicBezTo>
                <a:cubicBezTo>
                  <a:pt x="954" y="118"/>
                  <a:pt x="954" y="118"/>
                  <a:pt x="954" y="118"/>
                </a:cubicBezTo>
                <a:cubicBezTo>
                  <a:pt x="955" y="117"/>
                  <a:pt x="955" y="117"/>
                  <a:pt x="955" y="117"/>
                </a:cubicBezTo>
                <a:cubicBezTo>
                  <a:pt x="954" y="116"/>
                  <a:pt x="954" y="116"/>
                  <a:pt x="954" y="116"/>
                </a:cubicBezTo>
                <a:cubicBezTo>
                  <a:pt x="952" y="117"/>
                  <a:pt x="952" y="117"/>
                  <a:pt x="952" y="117"/>
                </a:cubicBezTo>
                <a:cubicBezTo>
                  <a:pt x="955" y="115"/>
                  <a:pt x="955" y="115"/>
                  <a:pt x="955" y="115"/>
                </a:cubicBezTo>
                <a:cubicBezTo>
                  <a:pt x="956" y="115"/>
                  <a:pt x="956" y="115"/>
                  <a:pt x="956" y="115"/>
                </a:cubicBezTo>
                <a:cubicBezTo>
                  <a:pt x="959" y="113"/>
                  <a:pt x="959" y="113"/>
                  <a:pt x="959" y="113"/>
                </a:cubicBezTo>
                <a:cubicBezTo>
                  <a:pt x="961" y="113"/>
                  <a:pt x="961" y="113"/>
                  <a:pt x="961" y="113"/>
                </a:cubicBezTo>
                <a:cubicBezTo>
                  <a:pt x="963" y="113"/>
                  <a:pt x="963" y="113"/>
                  <a:pt x="963" y="113"/>
                </a:cubicBezTo>
                <a:cubicBezTo>
                  <a:pt x="966" y="112"/>
                  <a:pt x="966" y="112"/>
                  <a:pt x="966" y="112"/>
                </a:cubicBezTo>
                <a:cubicBezTo>
                  <a:pt x="967" y="111"/>
                  <a:pt x="967" y="111"/>
                  <a:pt x="967" y="111"/>
                </a:cubicBezTo>
                <a:cubicBezTo>
                  <a:pt x="968" y="110"/>
                  <a:pt x="968" y="110"/>
                  <a:pt x="968" y="110"/>
                </a:cubicBezTo>
                <a:cubicBezTo>
                  <a:pt x="968" y="109"/>
                  <a:pt x="968" y="109"/>
                  <a:pt x="968" y="109"/>
                </a:cubicBezTo>
                <a:cubicBezTo>
                  <a:pt x="969" y="109"/>
                  <a:pt x="969" y="109"/>
                  <a:pt x="969" y="109"/>
                </a:cubicBezTo>
                <a:cubicBezTo>
                  <a:pt x="969" y="111"/>
                  <a:pt x="969" y="111"/>
                  <a:pt x="969" y="111"/>
                </a:cubicBezTo>
                <a:cubicBezTo>
                  <a:pt x="970" y="111"/>
                  <a:pt x="970" y="111"/>
                  <a:pt x="970" y="111"/>
                </a:cubicBezTo>
                <a:cubicBezTo>
                  <a:pt x="972" y="109"/>
                  <a:pt x="972" y="109"/>
                  <a:pt x="972" y="109"/>
                </a:cubicBezTo>
                <a:cubicBezTo>
                  <a:pt x="972" y="108"/>
                  <a:pt x="972" y="108"/>
                  <a:pt x="972" y="108"/>
                </a:cubicBezTo>
                <a:cubicBezTo>
                  <a:pt x="972" y="106"/>
                  <a:pt x="972" y="106"/>
                  <a:pt x="972" y="106"/>
                </a:cubicBezTo>
                <a:cubicBezTo>
                  <a:pt x="970" y="106"/>
                  <a:pt x="970" y="106"/>
                  <a:pt x="970" y="106"/>
                </a:cubicBezTo>
                <a:cubicBezTo>
                  <a:pt x="969" y="104"/>
                  <a:pt x="969" y="104"/>
                  <a:pt x="969" y="104"/>
                </a:cubicBezTo>
                <a:cubicBezTo>
                  <a:pt x="967" y="102"/>
                  <a:pt x="967" y="102"/>
                  <a:pt x="967" y="102"/>
                </a:cubicBezTo>
                <a:cubicBezTo>
                  <a:pt x="966" y="100"/>
                  <a:pt x="966" y="100"/>
                  <a:pt x="966" y="100"/>
                </a:cubicBezTo>
                <a:cubicBezTo>
                  <a:pt x="965" y="100"/>
                  <a:pt x="965" y="100"/>
                  <a:pt x="965" y="100"/>
                </a:cubicBezTo>
                <a:cubicBezTo>
                  <a:pt x="963" y="100"/>
                  <a:pt x="963" y="100"/>
                  <a:pt x="963" y="100"/>
                </a:cubicBezTo>
                <a:cubicBezTo>
                  <a:pt x="963" y="101"/>
                  <a:pt x="963" y="101"/>
                  <a:pt x="963" y="101"/>
                </a:cubicBezTo>
                <a:cubicBezTo>
                  <a:pt x="961" y="102"/>
                  <a:pt x="961" y="102"/>
                  <a:pt x="961" y="102"/>
                </a:cubicBezTo>
                <a:cubicBezTo>
                  <a:pt x="959" y="103"/>
                  <a:pt x="959" y="103"/>
                  <a:pt x="959" y="103"/>
                </a:cubicBezTo>
                <a:cubicBezTo>
                  <a:pt x="957" y="104"/>
                  <a:pt x="957" y="104"/>
                  <a:pt x="957" y="104"/>
                </a:cubicBezTo>
                <a:cubicBezTo>
                  <a:pt x="956" y="105"/>
                  <a:pt x="956" y="105"/>
                  <a:pt x="956" y="105"/>
                </a:cubicBezTo>
                <a:cubicBezTo>
                  <a:pt x="955" y="105"/>
                  <a:pt x="955" y="105"/>
                  <a:pt x="955" y="105"/>
                </a:cubicBezTo>
                <a:cubicBezTo>
                  <a:pt x="956" y="103"/>
                  <a:pt x="956" y="103"/>
                  <a:pt x="956" y="103"/>
                </a:cubicBezTo>
                <a:cubicBezTo>
                  <a:pt x="957" y="102"/>
                  <a:pt x="957" y="102"/>
                  <a:pt x="957" y="102"/>
                </a:cubicBezTo>
                <a:cubicBezTo>
                  <a:pt x="959" y="102"/>
                  <a:pt x="959" y="102"/>
                  <a:pt x="959" y="102"/>
                </a:cubicBezTo>
                <a:cubicBezTo>
                  <a:pt x="961" y="100"/>
                  <a:pt x="961" y="100"/>
                  <a:pt x="961" y="100"/>
                </a:cubicBezTo>
                <a:cubicBezTo>
                  <a:pt x="962" y="99"/>
                  <a:pt x="962" y="99"/>
                  <a:pt x="962" y="99"/>
                </a:cubicBezTo>
                <a:cubicBezTo>
                  <a:pt x="961" y="98"/>
                  <a:pt x="961" y="98"/>
                  <a:pt x="961" y="98"/>
                </a:cubicBezTo>
                <a:cubicBezTo>
                  <a:pt x="960" y="98"/>
                  <a:pt x="960" y="98"/>
                  <a:pt x="960" y="98"/>
                </a:cubicBezTo>
                <a:cubicBezTo>
                  <a:pt x="958" y="99"/>
                  <a:pt x="958" y="99"/>
                  <a:pt x="958" y="99"/>
                </a:cubicBezTo>
                <a:cubicBezTo>
                  <a:pt x="955" y="101"/>
                  <a:pt x="955" y="101"/>
                  <a:pt x="955" y="101"/>
                </a:cubicBezTo>
                <a:cubicBezTo>
                  <a:pt x="954" y="101"/>
                  <a:pt x="954" y="101"/>
                  <a:pt x="954" y="101"/>
                </a:cubicBezTo>
                <a:cubicBezTo>
                  <a:pt x="953" y="102"/>
                  <a:pt x="953" y="102"/>
                  <a:pt x="953" y="102"/>
                </a:cubicBezTo>
                <a:cubicBezTo>
                  <a:pt x="952" y="104"/>
                  <a:pt x="952" y="104"/>
                  <a:pt x="952" y="104"/>
                </a:cubicBezTo>
                <a:cubicBezTo>
                  <a:pt x="951" y="107"/>
                  <a:pt x="951" y="107"/>
                  <a:pt x="951" y="107"/>
                </a:cubicBezTo>
                <a:cubicBezTo>
                  <a:pt x="948" y="111"/>
                  <a:pt x="948" y="111"/>
                  <a:pt x="948" y="111"/>
                </a:cubicBezTo>
                <a:cubicBezTo>
                  <a:pt x="945" y="112"/>
                  <a:pt x="945" y="112"/>
                  <a:pt x="945" y="112"/>
                </a:cubicBezTo>
                <a:cubicBezTo>
                  <a:pt x="944" y="112"/>
                  <a:pt x="944" y="112"/>
                  <a:pt x="944" y="112"/>
                </a:cubicBezTo>
                <a:cubicBezTo>
                  <a:pt x="946" y="110"/>
                  <a:pt x="946" y="110"/>
                  <a:pt x="946" y="110"/>
                </a:cubicBezTo>
                <a:cubicBezTo>
                  <a:pt x="949" y="108"/>
                  <a:pt x="949" y="108"/>
                  <a:pt x="949" y="108"/>
                </a:cubicBezTo>
                <a:cubicBezTo>
                  <a:pt x="950" y="106"/>
                  <a:pt x="950" y="106"/>
                  <a:pt x="950" y="106"/>
                </a:cubicBezTo>
                <a:cubicBezTo>
                  <a:pt x="951" y="105"/>
                  <a:pt x="951" y="105"/>
                  <a:pt x="951" y="105"/>
                </a:cubicBezTo>
                <a:cubicBezTo>
                  <a:pt x="950" y="104"/>
                  <a:pt x="950" y="104"/>
                  <a:pt x="950" y="104"/>
                </a:cubicBezTo>
                <a:cubicBezTo>
                  <a:pt x="950" y="104"/>
                  <a:pt x="950" y="104"/>
                  <a:pt x="950" y="104"/>
                </a:cubicBezTo>
                <a:cubicBezTo>
                  <a:pt x="949" y="103"/>
                  <a:pt x="949" y="103"/>
                  <a:pt x="949" y="103"/>
                </a:cubicBezTo>
                <a:cubicBezTo>
                  <a:pt x="948" y="104"/>
                  <a:pt x="948" y="104"/>
                  <a:pt x="948" y="104"/>
                </a:cubicBezTo>
                <a:cubicBezTo>
                  <a:pt x="947" y="106"/>
                  <a:pt x="947" y="106"/>
                  <a:pt x="947" y="106"/>
                </a:cubicBezTo>
                <a:cubicBezTo>
                  <a:pt x="944" y="109"/>
                  <a:pt x="944" y="109"/>
                  <a:pt x="944" y="109"/>
                </a:cubicBezTo>
                <a:cubicBezTo>
                  <a:pt x="943" y="109"/>
                  <a:pt x="943" y="109"/>
                  <a:pt x="943" y="109"/>
                </a:cubicBezTo>
                <a:cubicBezTo>
                  <a:pt x="944" y="108"/>
                  <a:pt x="944" y="108"/>
                  <a:pt x="944" y="108"/>
                </a:cubicBezTo>
                <a:cubicBezTo>
                  <a:pt x="944" y="106"/>
                  <a:pt x="944" y="106"/>
                  <a:pt x="944" y="106"/>
                </a:cubicBezTo>
                <a:cubicBezTo>
                  <a:pt x="946" y="105"/>
                  <a:pt x="946" y="105"/>
                  <a:pt x="946" y="105"/>
                </a:cubicBezTo>
                <a:cubicBezTo>
                  <a:pt x="946" y="103"/>
                  <a:pt x="946" y="103"/>
                  <a:pt x="946" y="103"/>
                </a:cubicBezTo>
                <a:cubicBezTo>
                  <a:pt x="947" y="102"/>
                  <a:pt x="947" y="102"/>
                  <a:pt x="947" y="102"/>
                </a:cubicBezTo>
                <a:cubicBezTo>
                  <a:pt x="948" y="102"/>
                  <a:pt x="948" y="102"/>
                  <a:pt x="948" y="102"/>
                </a:cubicBezTo>
                <a:cubicBezTo>
                  <a:pt x="950" y="102"/>
                  <a:pt x="950" y="102"/>
                  <a:pt x="950" y="102"/>
                </a:cubicBezTo>
                <a:cubicBezTo>
                  <a:pt x="951" y="102"/>
                  <a:pt x="951" y="102"/>
                  <a:pt x="951" y="102"/>
                </a:cubicBezTo>
                <a:cubicBezTo>
                  <a:pt x="952" y="102"/>
                  <a:pt x="952" y="102"/>
                  <a:pt x="952" y="102"/>
                </a:cubicBezTo>
                <a:cubicBezTo>
                  <a:pt x="953" y="100"/>
                  <a:pt x="953" y="100"/>
                  <a:pt x="953" y="100"/>
                </a:cubicBezTo>
                <a:cubicBezTo>
                  <a:pt x="955" y="100"/>
                  <a:pt x="955" y="100"/>
                  <a:pt x="955" y="100"/>
                </a:cubicBezTo>
                <a:cubicBezTo>
                  <a:pt x="957" y="97"/>
                  <a:pt x="957" y="97"/>
                  <a:pt x="957" y="97"/>
                </a:cubicBezTo>
                <a:cubicBezTo>
                  <a:pt x="958" y="95"/>
                  <a:pt x="958" y="95"/>
                  <a:pt x="958" y="95"/>
                </a:cubicBezTo>
                <a:cubicBezTo>
                  <a:pt x="957" y="94"/>
                  <a:pt x="957" y="94"/>
                  <a:pt x="957" y="94"/>
                </a:cubicBezTo>
                <a:cubicBezTo>
                  <a:pt x="958" y="93"/>
                  <a:pt x="958" y="93"/>
                  <a:pt x="958" y="93"/>
                </a:cubicBezTo>
                <a:cubicBezTo>
                  <a:pt x="957" y="92"/>
                  <a:pt x="957" y="92"/>
                  <a:pt x="957" y="92"/>
                </a:cubicBezTo>
                <a:cubicBezTo>
                  <a:pt x="954" y="93"/>
                  <a:pt x="954" y="93"/>
                  <a:pt x="954" y="93"/>
                </a:cubicBezTo>
                <a:cubicBezTo>
                  <a:pt x="953" y="95"/>
                  <a:pt x="953" y="95"/>
                  <a:pt x="953" y="95"/>
                </a:cubicBezTo>
                <a:cubicBezTo>
                  <a:pt x="953" y="97"/>
                  <a:pt x="953" y="97"/>
                  <a:pt x="953" y="97"/>
                </a:cubicBezTo>
                <a:cubicBezTo>
                  <a:pt x="953" y="99"/>
                  <a:pt x="953" y="99"/>
                  <a:pt x="953" y="99"/>
                </a:cubicBezTo>
                <a:cubicBezTo>
                  <a:pt x="952" y="99"/>
                  <a:pt x="952" y="99"/>
                  <a:pt x="952" y="99"/>
                </a:cubicBezTo>
                <a:cubicBezTo>
                  <a:pt x="952" y="99"/>
                  <a:pt x="952" y="99"/>
                  <a:pt x="952" y="99"/>
                </a:cubicBezTo>
                <a:cubicBezTo>
                  <a:pt x="952" y="98"/>
                  <a:pt x="952" y="98"/>
                  <a:pt x="952" y="98"/>
                </a:cubicBezTo>
                <a:cubicBezTo>
                  <a:pt x="951" y="97"/>
                  <a:pt x="951" y="97"/>
                  <a:pt x="951" y="97"/>
                </a:cubicBezTo>
                <a:cubicBezTo>
                  <a:pt x="949" y="97"/>
                  <a:pt x="949" y="97"/>
                  <a:pt x="949" y="97"/>
                </a:cubicBezTo>
                <a:cubicBezTo>
                  <a:pt x="947" y="98"/>
                  <a:pt x="947" y="98"/>
                  <a:pt x="947" y="98"/>
                </a:cubicBezTo>
                <a:cubicBezTo>
                  <a:pt x="946" y="98"/>
                  <a:pt x="946" y="98"/>
                  <a:pt x="946" y="98"/>
                </a:cubicBezTo>
                <a:cubicBezTo>
                  <a:pt x="944" y="98"/>
                  <a:pt x="944" y="98"/>
                  <a:pt x="944" y="98"/>
                </a:cubicBezTo>
                <a:cubicBezTo>
                  <a:pt x="942" y="99"/>
                  <a:pt x="942" y="99"/>
                  <a:pt x="942" y="99"/>
                </a:cubicBezTo>
                <a:cubicBezTo>
                  <a:pt x="940" y="99"/>
                  <a:pt x="940" y="99"/>
                  <a:pt x="940" y="99"/>
                </a:cubicBezTo>
                <a:cubicBezTo>
                  <a:pt x="941" y="98"/>
                  <a:pt x="941" y="98"/>
                  <a:pt x="941" y="98"/>
                </a:cubicBezTo>
                <a:cubicBezTo>
                  <a:pt x="943" y="97"/>
                  <a:pt x="943" y="97"/>
                  <a:pt x="943" y="97"/>
                </a:cubicBezTo>
                <a:cubicBezTo>
                  <a:pt x="944" y="96"/>
                  <a:pt x="944" y="96"/>
                  <a:pt x="944" y="96"/>
                </a:cubicBezTo>
                <a:cubicBezTo>
                  <a:pt x="944" y="95"/>
                  <a:pt x="944" y="95"/>
                  <a:pt x="944" y="95"/>
                </a:cubicBezTo>
                <a:cubicBezTo>
                  <a:pt x="943" y="95"/>
                  <a:pt x="943" y="95"/>
                  <a:pt x="943" y="95"/>
                </a:cubicBezTo>
                <a:cubicBezTo>
                  <a:pt x="941" y="95"/>
                  <a:pt x="941" y="95"/>
                  <a:pt x="941" y="95"/>
                </a:cubicBezTo>
                <a:cubicBezTo>
                  <a:pt x="942" y="94"/>
                  <a:pt x="942" y="94"/>
                  <a:pt x="942" y="94"/>
                </a:cubicBezTo>
                <a:cubicBezTo>
                  <a:pt x="943" y="94"/>
                  <a:pt x="943" y="94"/>
                  <a:pt x="943" y="94"/>
                </a:cubicBezTo>
                <a:cubicBezTo>
                  <a:pt x="944" y="93"/>
                  <a:pt x="944" y="93"/>
                  <a:pt x="944" y="93"/>
                </a:cubicBezTo>
                <a:cubicBezTo>
                  <a:pt x="945" y="91"/>
                  <a:pt x="945" y="91"/>
                  <a:pt x="945" y="91"/>
                </a:cubicBezTo>
                <a:cubicBezTo>
                  <a:pt x="947" y="90"/>
                  <a:pt x="947" y="90"/>
                  <a:pt x="947" y="90"/>
                </a:cubicBezTo>
                <a:cubicBezTo>
                  <a:pt x="947" y="90"/>
                  <a:pt x="947" y="90"/>
                  <a:pt x="947" y="90"/>
                </a:cubicBezTo>
                <a:cubicBezTo>
                  <a:pt x="948" y="90"/>
                  <a:pt x="948" y="90"/>
                  <a:pt x="948" y="90"/>
                </a:cubicBezTo>
                <a:cubicBezTo>
                  <a:pt x="950" y="91"/>
                  <a:pt x="950" y="91"/>
                  <a:pt x="950" y="91"/>
                </a:cubicBezTo>
                <a:cubicBezTo>
                  <a:pt x="951" y="92"/>
                  <a:pt x="951" y="92"/>
                  <a:pt x="951" y="92"/>
                </a:cubicBezTo>
                <a:cubicBezTo>
                  <a:pt x="953" y="92"/>
                  <a:pt x="953" y="92"/>
                  <a:pt x="953" y="92"/>
                </a:cubicBezTo>
                <a:cubicBezTo>
                  <a:pt x="955" y="90"/>
                  <a:pt x="955" y="90"/>
                  <a:pt x="955" y="90"/>
                </a:cubicBezTo>
                <a:cubicBezTo>
                  <a:pt x="956" y="88"/>
                  <a:pt x="956" y="88"/>
                  <a:pt x="956" y="88"/>
                </a:cubicBezTo>
                <a:cubicBezTo>
                  <a:pt x="956" y="87"/>
                  <a:pt x="956" y="87"/>
                  <a:pt x="956" y="87"/>
                </a:cubicBezTo>
                <a:cubicBezTo>
                  <a:pt x="954" y="85"/>
                  <a:pt x="954" y="85"/>
                  <a:pt x="954" y="85"/>
                </a:cubicBezTo>
                <a:cubicBezTo>
                  <a:pt x="953" y="83"/>
                  <a:pt x="953" y="83"/>
                  <a:pt x="953" y="83"/>
                </a:cubicBezTo>
                <a:cubicBezTo>
                  <a:pt x="953" y="82"/>
                  <a:pt x="953" y="82"/>
                  <a:pt x="953" y="82"/>
                </a:cubicBezTo>
                <a:cubicBezTo>
                  <a:pt x="951" y="80"/>
                  <a:pt x="951" y="80"/>
                  <a:pt x="951" y="80"/>
                </a:cubicBezTo>
                <a:cubicBezTo>
                  <a:pt x="950" y="79"/>
                  <a:pt x="950" y="79"/>
                  <a:pt x="950" y="79"/>
                </a:cubicBezTo>
                <a:cubicBezTo>
                  <a:pt x="948" y="76"/>
                  <a:pt x="948" y="76"/>
                  <a:pt x="948" y="76"/>
                </a:cubicBezTo>
                <a:cubicBezTo>
                  <a:pt x="948" y="76"/>
                  <a:pt x="948" y="76"/>
                  <a:pt x="948" y="76"/>
                </a:cubicBezTo>
                <a:cubicBezTo>
                  <a:pt x="947" y="78"/>
                  <a:pt x="947" y="78"/>
                  <a:pt x="947" y="78"/>
                </a:cubicBezTo>
                <a:cubicBezTo>
                  <a:pt x="946" y="79"/>
                  <a:pt x="946" y="79"/>
                  <a:pt x="946" y="79"/>
                </a:cubicBezTo>
                <a:cubicBezTo>
                  <a:pt x="946" y="79"/>
                  <a:pt x="946" y="79"/>
                  <a:pt x="946" y="79"/>
                </a:cubicBezTo>
                <a:cubicBezTo>
                  <a:pt x="945" y="81"/>
                  <a:pt x="945" y="81"/>
                  <a:pt x="945" y="81"/>
                </a:cubicBezTo>
                <a:cubicBezTo>
                  <a:pt x="945" y="82"/>
                  <a:pt x="945" y="82"/>
                  <a:pt x="945" y="82"/>
                </a:cubicBezTo>
                <a:cubicBezTo>
                  <a:pt x="943" y="83"/>
                  <a:pt x="943" y="83"/>
                  <a:pt x="943" y="83"/>
                </a:cubicBezTo>
                <a:cubicBezTo>
                  <a:pt x="942" y="84"/>
                  <a:pt x="942" y="84"/>
                  <a:pt x="942" y="84"/>
                </a:cubicBezTo>
                <a:cubicBezTo>
                  <a:pt x="942" y="86"/>
                  <a:pt x="942" y="86"/>
                  <a:pt x="942" y="86"/>
                </a:cubicBezTo>
                <a:cubicBezTo>
                  <a:pt x="940" y="87"/>
                  <a:pt x="940" y="87"/>
                  <a:pt x="940" y="87"/>
                </a:cubicBezTo>
                <a:cubicBezTo>
                  <a:pt x="939" y="89"/>
                  <a:pt x="939" y="89"/>
                  <a:pt x="939" y="89"/>
                </a:cubicBezTo>
                <a:cubicBezTo>
                  <a:pt x="939" y="91"/>
                  <a:pt x="939" y="91"/>
                  <a:pt x="939" y="91"/>
                </a:cubicBezTo>
                <a:cubicBezTo>
                  <a:pt x="938" y="92"/>
                  <a:pt x="938" y="92"/>
                  <a:pt x="938" y="92"/>
                </a:cubicBezTo>
                <a:cubicBezTo>
                  <a:pt x="937" y="92"/>
                  <a:pt x="937" y="92"/>
                  <a:pt x="937" y="92"/>
                </a:cubicBezTo>
                <a:cubicBezTo>
                  <a:pt x="938" y="89"/>
                  <a:pt x="938" y="89"/>
                  <a:pt x="938" y="89"/>
                </a:cubicBezTo>
                <a:cubicBezTo>
                  <a:pt x="939" y="87"/>
                  <a:pt x="939" y="87"/>
                  <a:pt x="939" y="87"/>
                </a:cubicBezTo>
                <a:cubicBezTo>
                  <a:pt x="941" y="86"/>
                  <a:pt x="941" y="86"/>
                  <a:pt x="941" y="86"/>
                </a:cubicBezTo>
                <a:cubicBezTo>
                  <a:pt x="941" y="85"/>
                  <a:pt x="941" y="85"/>
                  <a:pt x="941" y="85"/>
                </a:cubicBezTo>
                <a:cubicBezTo>
                  <a:pt x="940" y="85"/>
                  <a:pt x="940" y="85"/>
                  <a:pt x="940" y="85"/>
                </a:cubicBezTo>
                <a:cubicBezTo>
                  <a:pt x="940" y="83"/>
                  <a:pt x="940" y="83"/>
                  <a:pt x="940" y="83"/>
                </a:cubicBezTo>
                <a:cubicBezTo>
                  <a:pt x="938" y="84"/>
                  <a:pt x="938" y="84"/>
                  <a:pt x="938" y="84"/>
                </a:cubicBezTo>
                <a:cubicBezTo>
                  <a:pt x="935" y="87"/>
                  <a:pt x="935" y="87"/>
                  <a:pt x="935" y="87"/>
                </a:cubicBezTo>
                <a:cubicBezTo>
                  <a:pt x="935" y="89"/>
                  <a:pt x="935" y="89"/>
                  <a:pt x="935" y="89"/>
                </a:cubicBezTo>
                <a:cubicBezTo>
                  <a:pt x="933" y="90"/>
                  <a:pt x="933" y="90"/>
                  <a:pt x="933" y="90"/>
                </a:cubicBezTo>
                <a:cubicBezTo>
                  <a:pt x="933" y="89"/>
                  <a:pt x="933" y="89"/>
                  <a:pt x="933" y="89"/>
                </a:cubicBezTo>
                <a:cubicBezTo>
                  <a:pt x="934" y="88"/>
                  <a:pt x="934" y="88"/>
                  <a:pt x="934" y="88"/>
                </a:cubicBezTo>
                <a:cubicBezTo>
                  <a:pt x="935" y="85"/>
                  <a:pt x="935" y="85"/>
                  <a:pt x="935" y="85"/>
                </a:cubicBezTo>
                <a:cubicBezTo>
                  <a:pt x="936" y="84"/>
                  <a:pt x="936" y="84"/>
                  <a:pt x="936" y="84"/>
                </a:cubicBezTo>
                <a:cubicBezTo>
                  <a:pt x="938" y="82"/>
                  <a:pt x="938" y="82"/>
                  <a:pt x="938" y="82"/>
                </a:cubicBezTo>
                <a:cubicBezTo>
                  <a:pt x="939" y="81"/>
                  <a:pt x="939" y="81"/>
                  <a:pt x="939" y="81"/>
                </a:cubicBezTo>
                <a:cubicBezTo>
                  <a:pt x="939" y="79"/>
                  <a:pt x="939" y="79"/>
                  <a:pt x="939" y="79"/>
                </a:cubicBezTo>
                <a:cubicBezTo>
                  <a:pt x="939" y="78"/>
                  <a:pt x="939" y="78"/>
                  <a:pt x="939" y="78"/>
                </a:cubicBezTo>
                <a:cubicBezTo>
                  <a:pt x="937" y="79"/>
                  <a:pt x="937" y="79"/>
                  <a:pt x="937" y="79"/>
                </a:cubicBezTo>
                <a:cubicBezTo>
                  <a:pt x="934" y="82"/>
                  <a:pt x="934" y="82"/>
                  <a:pt x="934" y="82"/>
                </a:cubicBezTo>
                <a:cubicBezTo>
                  <a:pt x="934" y="83"/>
                  <a:pt x="934" y="83"/>
                  <a:pt x="934" y="83"/>
                </a:cubicBezTo>
                <a:cubicBezTo>
                  <a:pt x="932" y="85"/>
                  <a:pt x="932" y="85"/>
                  <a:pt x="932" y="85"/>
                </a:cubicBezTo>
                <a:cubicBezTo>
                  <a:pt x="932" y="85"/>
                  <a:pt x="932" y="85"/>
                  <a:pt x="932" y="85"/>
                </a:cubicBezTo>
                <a:cubicBezTo>
                  <a:pt x="932" y="83"/>
                  <a:pt x="932" y="83"/>
                  <a:pt x="932" y="83"/>
                </a:cubicBezTo>
                <a:cubicBezTo>
                  <a:pt x="933" y="81"/>
                  <a:pt x="933" y="81"/>
                  <a:pt x="933" y="81"/>
                </a:cubicBezTo>
                <a:cubicBezTo>
                  <a:pt x="932" y="81"/>
                  <a:pt x="932" y="81"/>
                  <a:pt x="932" y="81"/>
                </a:cubicBezTo>
                <a:cubicBezTo>
                  <a:pt x="932" y="80"/>
                  <a:pt x="932" y="80"/>
                  <a:pt x="932" y="80"/>
                </a:cubicBezTo>
                <a:cubicBezTo>
                  <a:pt x="934" y="80"/>
                  <a:pt x="934" y="80"/>
                  <a:pt x="934" y="80"/>
                </a:cubicBezTo>
                <a:cubicBezTo>
                  <a:pt x="937" y="77"/>
                  <a:pt x="937" y="77"/>
                  <a:pt x="937" y="77"/>
                </a:cubicBezTo>
                <a:cubicBezTo>
                  <a:pt x="940" y="75"/>
                  <a:pt x="940" y="75"/>
                  <a:pt x="940" y="75"/>
                </a:cubicBezTo>
                <a:cubicBezTo>
                  <a:pt x="940" y="73"/>
                  <a:pt x="940" y="73"/>
                  <a:pt x="940" y="73"/>
                </a:cubicBezTo>
                <a:cubicBezTo>
                  <a:pt x="939" y="73"/>
                  <a:pt x="939" y="73"/>
                  <a:pt x="939" y="73"/>
                </a:cubicBezTo>
                <a:cubicBezTo>
                  <a:pt x="937" y="75"/>
                  <a:pt x="937" y="75"/>
                  <a:pt x="937" y="75"/>
                </a:cubicBezTo>
                <a:cubicBezTo>
                  <a:pt x="936" y="76"/>
                  <a:pt x="936" y="76"/>
                  <a:pt x="936" y="76"/>
                </a:cubicBezTo>
                <a:cubicBezTo>
                  <a:pt x="935" y="77"/>
                  <a:pt x="935" y="77"/>
                  <a:pt x="935" y="77"/>
                </a:cubicBezTo>
                <a:cubicBezTo>
                  <a:pt x="935" y="76"/>
                  <a:pt x="935" y="76"/>
                  <a:pt x="935" y="76"/>
                </a:cubicBezTo>
                <a:cubicBezTo>
                  <a:pt x="934" y="75"/>
                  <a:pt x="934" y="75"/>
                  <a:pt x="934" y="75"/>
                </a:cubicBezTo>
                <a:cubicBezTo>
                  <a:pt x="931" y="78"/>
                  <a:pt x="931" y="78"/>
                  <a:pt x="931" y="78"/>
                </a:cubicBezTo>
                <a:cubicBezTo>
                  <a:pt x="930" y="79"/>
                  <a:pt x="930" y="79"/>
                  <a:pt x="930" y="79"/>
                </a:cubicBezTo>
                <a:cubicBezTo>
                  <a:pt x="928" y="82"/>
                  <a:pt x="928" y="82"/>
                  <a:pt x="928" y="82"/>
                </a:cubicBezTo>
                <a:cubicBezTo>
                  <a:pt x="926" y="84"/>
                  <a:pt x="926" y="84"/>
                  <a:pt x="926" y="84"/>
                </a:cubicBezTo>
                <a:cubicBezTo>
                  <a:pt x="925" y="84"/>
                  <a:pt x="925" y="84"/>
                  <a:pt x="925" y="84"/>
                </a:cubicBezTo>
                <a:cubicBezTo>
                  <a:pt x="926" y="82"/>
                  <a:pt x="926" y="82"/>
                  <a:pt x="926" y="82"/>
                </a:cubicBezTo>
                <a:cubicBezTo>
                  <a:pt x="928" y="81"/>
                  <a:pt x="928" y="81"/>
                  <a:pt x="928" y="81"/>
                </a:cubicBezTo>
                <a:cubicBezTo>
                  <a:pt x="929" y="79"/>
                  <a:pt x="929" y="79"/>
                  <a:pt x="929" y="79"/>
                </a:cubicBezTo>
                <a:cubicBezTo>
                  <a:pt x="929" y="78"/>
                  <a:pt x="929" y="78"/>
                  <a:pt x="929" y="78"/>
                </a:cubicBezTo>
                <a:cubicBezTo>
                  <a:pt x="927" y="79"/>
                  <a:pt x="927" y="79"/>
                  <a:pt x="927" y="79"/>
                </a:cubicBezTo>
                <a:cubicBezTo>
                  <a:pt x="929" y="77"/>
                  <a:pt x="929" y="77"/>
                  <a:pt x="929" y="77"/>
                </a:cubicBezTo>
                <a:cubicBezTo>
                  <a:pt x="931" y="77"/>
                  <a:pt x="931" y="77"/>
                  <a:pt x="931" y="77"/>
                </a:cubicBezTo>
                <a:cubicBezTo>
                  <a:pt x="932" y="76"/>
                  <a:pt x="932" y="76"/>
                  <a:pt x="932" y="76"/>
                </a:cubicBezTo>
                <a:cubicBezTo>
                  <a:pt x="932" y="75"/>
                  <a:pt x="932" y="75"/>
                  <a:pt x="932" y="75"/>
                </a:cubicBezTo>
                <a:cubicBezTo>
                  <a:pt x="931" y="75"/>
                  <a:pt x="931" y="75"/>
                  <a:pt x="931" y="75"/>
                </a:cubicBezTo>
                <a:cubicBezTo>
                  <a:pt x="928" y="76"/>
                  <a:pt x="928" y="76"/>
                  <a:pt x="928" y="76"/>
                </a:cubicBezTo>
                <a:cubicBezTo>
                  <a:pt x="927" y="77"/>
                  <a:pt x="927" y="77"/>
                  <a:pt x="927" y="77"/>
                </a:cubicBezTo>
                <a:cubicBezTo>
                  <a:pt x="926" y="77"/>
                  <a:pt x="926" y="77"/>
                  <a:pt x="926" y="77"/>
                </a:cubicBezTo>
                <a:cubicBezTo>
                  <a:pt x="929" y="75"/>
                  <a:pt x="929" y="75"/>
                  <a:pt x="929" y="75"/>
                </a:cubicBezTo>
                <a:cubicBezTo>
                  <a:pt x="929" y="74"/>
                  <a:pt x="929" y="74"/>
                  <a:pt x="929" y="74"/>
                </a:cubicBezTo>
                <a:cubicBezTo>
                  <a:pt x="927" y="74"/>
                  <a:pt x="927" y="74"/>
                  <a:pt x="927" y="74"/>
                </a:cubicBezTo>
                <a:cubicBezTo>
                  <a:pt x="928" y="72"/>
                  <a:pt x="928" y="72"/>
                  <a:pt x="928" y="72"/>
                </a:cubicBezTo>
                <a:cubicBezTo>
                  <a:pt x="930" y="72"/>
                  <a:pt x="930" y="72"/>
                  <a:pt x="930" y="72"/>
                </a:cubicBezTo>
                <a:cubicBezTo>
                  <a:pt x="931" y="73"/>
                  <a:pt x="931" y="73"/>
                  <a:pt x="931" y="73"/>
                </a:cubicBezTo>
                <a:cubicBezTo>
                  <a:pt x="933" y="73"/>
                  <a:pt x="933" y="73"/>
                  <a:pt x="933" y="73"/>
                </a:cubicBezTo>
                <a:cubicBezTo>
                  <a:pt x="934" y="71"/>
                  <a:pt x="934" y="71"/>
                  <a:pt x="934" y="71"/>
                </a:cubicBezTo>
                <a:cubicBezTo>
                  <a:pt x="936" y="70"/>
                  <a:pt x="936" y="70"/>
                  <a:pt x="936" y="70"/>
                </a:cubicBezTo>
                <a:cubicBezTo>
                  <a:pt x="936" y="69"/>
                  <a:pt x="936" y="69"/>
                  <a:pt x="936" y="69"/>
                </a:cubicBezTo>
                <a:cubicBezTo>
                  <a:pt x="937" y="67"/>
                  <a:pt x="937" y="67"/>
                  <a:pt x="937" y="67"/>
                </a:cubicBezTo>
                <a:cubicBezTo>
                  <a:pt x="937" y="66"/>
                  <a:pt x="937" y="66"/>
                  <a:pt x="937" y="66"/>
                </a:cubicBezTo>
                <a:cubicBezTo>
                  <a:pt x="935" y="66"/>
                  <a:pt x="935" y="66"/>
                  <a:pt x="935" y="66"/>
                </a:cubicBezTo>
                <a:cubicBezTo>
                  <a:pt x="934" y="65"/>
                  <a:pt x="934" y="65"/>
                  <a:pt x="934" y="65"/>
                </a:cubicBezTo>
                <a:cubicBezTo>
                  <a:pt x="932" y="64"/>
                  <a:pt x="932" y="64"/>
                  <a:pt x="932" y="64"/>
                </a:cubicBezTo>
                <a:cubicBezTo>
                  <a:pt x="930" y="66"/>
                  <a:pt x="930" y="66"/>
                  <a:pt x="930" y="66"/>
                </a:cubicBezTo>
                <a:cubicBezTo>
                  <a:pt x="928" y="67"/>
                  <a:pt x="928" y="67"/>
                  <a:pt x="928" y="67"/>
                </a:cubicBezTo>
                <a:cubicBezTo>
                  <a:pt x="926" y="69"/>
                  <a:pt x="926" y="69"/>
                  <a:pt x="926" y="69"/>
                </a:cubicBezTo>
                <a:cubicBezTo>
                  <a:pt x="922" y="73"/>
                  <a:pt x="922" y="73"/>
                  <a:pt x="922" y="73"/>
                </a:cubicBezTo>
                <a:cubicBezTo>
                  <a:pt x="921" y="73"/>
                  <a:pt x="921" y="73"/>
                  <a:pt x="921" y="73"/>
                </a:cubicBezTo>
                <a:cubicBezTo>
                  <a:pt x="922" y="72"/>
                  <a:pt x="922" y="72"/>
                  <a:pt x="922" y="72"/>
                </a:cubicBezTo>
                <a:cubicBezTo>
                  <a:pt x="923" y="71"/>
                  <a:pt x="923" y="71"/>
                  <a:pt x="923" y="71"/>
                </a:cubicBezTo>
                <a:cubicBezTo>
                  <a:pt x="924" y="70"/>
                  <a:pt x="924" y="70"/>
                  <a:pt x="924" y="70"/>
                </a:cubicBezTo>
                <a:cubicBezTo>
                  <a:pt x="927" y="67"/>
                  <a:pt x="927" y="67"/>
                  <a:pt x="927" y="67"/>
                </a:cubicBezTo>
                <a:cubicBezTo>
                  <a:pt x="929" y="65"/>
                  <a:pt x="929" y="65"/>
                  <a:pt x="929" y="65"/>
                </a:cubicBezTo>
                <a:cubicBezTo>
                  <a:pt x="930" y="64"/>
                  <a:pt x="930" y="64"/>
                  <a:pt x="930" y="64"/>
                </a:cubicBezTo>
                <a:cubicBezTo>
                  <a:pt x="930" y="63"/>
                  <a:pt x="930" y="63"/>
                  <a:pt x="930" y="63"/>
                </a:cubicBezTo>
                <a:cubicBezTo>
                  <a:pt x="926" y="63"/>
                  <a:pt x="926" y="63"/>
                  <a:pt x="926" y="63"/>
                </a:cubicBezTo>
                <a:cubicBezTo>
                  <a:pt x="923" y="65"/>
                  <a:pt x="923" y="65"/>
                  <a:pt x="923" y="65"/>
                </a:cubicBezTo>
                <a:cubicBezTo>
                  <a:pt x="926" y="63"/>
                  <a:pt x="926" y="63"/>
                  <a:pt x="926" y="63"/>
                </a:cubicBezTo>
                <a:cubicBezTo>
                  <a:pt x="929" y="62"/>
                  <a:pt x="929" y="62"/>
                  <a:pt x="929" y="62"/>
                </a:cubicBezTo>
                <a:cubicBezTo>
                  <a:pt x="931" y="62"/>
                  <a:pt x="931" y="62"/>
                  <a:pt x="931" y="62"/>
                </a:cubicBezTo>
                <a:cubicBezTo>
                  <a:pt x="932" y="63"/>
                  <a:pt x="932" y="63"/>
                  <a:pt x="932" y="63"/>
                </a:cubicBezTo>
                <a:cubicBezTo>
                  <a:pt x="934" y="61"/>
                  <a:pt x="934" y="61"/>
                  <a:pt x="934" y="61"/>
                </a:cubicBezTo>
                <a:cubicBezTo>
                  <a:pt x="934" y="59"/>
                  <a:pt x="934" y="59"/>
                  <a:pt x="934" y="59"/>
                </a:cubicBezTo>
                <a:cubicBezTo>
                  <a:pt x="933" y="58"/>
                  <a:pt x="933" y="58"/>
                  <a:pt x="933" y="58"/>
                </a:cubicBezTo>
                <a:cubicBezTo>
                  <a:pt x="933" y="57"/>
                  <a:pt x="933" y="57"/>
                  <a:pt x="933" y="57"/>
                </a:cubicBezTo>
                <a:cubicBezTo>
                  <a:pt x="933" y="56"/>
                  <a:pt x="933" y="56"/>
                  <a:pt x="933" y="56"/>
                </a:cubicBezTo>
                <a:cubicBezTo>
                  <a:pt x="931" y="55"/>
                  <a:pt x="931" y="55"/>
                  <a:pt x="931" y="55"/>
                </a:cubicBezTo>
                <a:cubicBezTo>
                  <a:pt x="930" y="53"/>
                  <a:pt x="930" y="53"/>
                  <a:pt x="930" y="53"/>
                </a:cubicBezTo>
                <a:cubicBezTo>
                  <a:pt x="929" y="53"/>
                  <a:pt x="929" y="53"/>
                  <a:pt x="929" y="53"/>
                </a:cubicBezTo>
                <a:cubicBezTo>
                  <a:pt x="928" y="53"/>
                  <a:pt x="928" y="53"/>
                  <a:pt x="928" y="53"/>
                </a:cubicBezTo>
                <a:cubicBezTo>
                  <a:pt x="927" y="53"/>
                  <a:pt x="927" y="53"/>
                  <a:pt x="927" y="53"/>
                </a:cubicBezTo>
                <a:cubicBezTo>
                  <a:pt x="927" y="52"/>
                  <a:pt x="927" y="52"/>
                  <a:pt x="927" y="52"/>
                </a:cubicBezTo>
                <a:cubicBezTo>
                  <a:pt x="926" y="51"/>
                  <a:pt x="926" y="51"/>
                  <a:pt x="926" y="51"/>
                </a:cubicBezTo>
                <a:cubicBezTo>
                  <a:pt x="924" y="50"/>
                  <a:pt x="924" y="50"/>
                  <a:pt x="924" y="50"/>
                </a:cubicBezTo>
                <a:cubicBezTo>
                  <a:pt x="924" y="49"/>
                  <a:pt x="924" y="49"/>
                  <a:pt x="924" y="49"/>
                </a:cubicBezTo>
                <a:cubicBezTo>
                  <a:pt x="921" y="47"/>
                  <a:pt x="921" y="47"/>
                  <a:pt x="921" y="47"/>
                </a:cubicBezTo>
                <a:cubicBezTo>
                  <a:pt x="920" y="48"/>
                  <a:pt x="920" y="48"/>
                  <a:pt x="920" y="48"/>
                </a:cubicBezTo>
                <a:cubicBezTo>
                  <a:pt x="920" y="47"/>
                  <a:pt x="920" y="47"/>
                  <a:pt x="920" y="47"/>
                </a:cubicBezTo>
                <a:cubicBezTo>
                  <a:pt x="917" y="46"/>
                  <a:pt x="917" y="46"/>
                  <a:pt x="917" y="46"/>
                </a:cubicBezTo>
                <a:cubicBezTo>
                  <a:pt x="914" y="47"/>
                  <a:pt x="914" y="47"/>
                  <a:pt x="914" y="47"/>
                </a:cubicBezTo>
                <a:cubicBezTo>
                  <a:pt x="912" y="49"/>
                  <a:pt x="912" y="49"/>
                  <a:pt x="912" y="49"/>
                </a:cubicBezTo>
                <a:cubicBezTo>
                  <a:pt x="910" y="49"/>
                  <a:pt x="910" y="49"/>
                  <a:pt x="910" y="49"/>
                </a:cubicBezTo>
                <a:cubicBezTo>
                  <a:pt x="908" y="52"/>
                  <a:pt x="908" y="52"/>
                  <a:pt x="908" y="52"/>
                </a:cubicBezTo>
                <a:cubicBezTo>
                  <a:pt x="909" y="53"/>
                  <a:pt x="909" y="53"/>
                  <a:pt x="909" y="53"/>
                </a:cubicBezTo>
                <a:cubicBezTo>
                  <a:pt x="910" y="53"/>
                  <a:pt x="910" y="53"/>
                  <a:pt x="910" y="53"/>
                </a:cubicBezTo>
                <a:cubicBezTo>
                  <a:pt x="914" y="56"/>
                  <a:pt x="914" y="56"/>
                  <a:pt x="914" y="56"/>
                </a:cubicBezTo>
                <a:cubicBezTo>
                  <a:pt x="914" y="57"/>
                  <a:pt x="914" y="57"/>
                  <a:pt x="914" y="57"/>
                </a:cubicBezTo>
                <a:cubicBezTo>
                  <a:pt x="916" y="58"/>
                  <a:pt x="916" y="58"/>
                  <a:pt x="916" y="58"/>
                </a:cubicBezTo>
                <a:cubicBezTo>
                  <a:pt x="916" y="60"/>
                  <a:pt x="916" y="60"/>
                  <a:pt x="916" y="60"/>
                </a:cubicBezTo>
                <a:cubicBezTo>
                  <a:pt x="916" y="60"/>
                  <a:pt x="916" y="60"/>
                  <a:pt x="916" y="60"/>
                </a:cubicBezTo>
                <a:cubicBezTo>
                  <a:pt x="914" y="59"/>
                  <a:pt x="914" y="59"/>
                  <a:pt x="914" y="59"/>
                </a:cubicBezTo>
                <a:cubicBezTo>
                  <a:pt x="912" y="59"/>
                  <a:pt x="912" y="59"/>
                  <a:pt x="912" y="59"/>
                </a:cubicBezTo>
                <a:cubicBezTo>
                  <a:pt x="912" y="58"/>
                  <a:pt x="912" y="58"/>
                  <a:pt x="912" y="58"/>
                </a:cubicBezTo>
                <a:cubicBezTo>
                  <a:pt x="909" y="54"/>
                  <a:pt x="909" y="54"/>
                  <a:pt x="909" y="54"/>
                </a:cubicBezTo>
                <a:cubicBezTo>
                  <a:pt x="907" y="55"/>
                  <a:pt x="907" y="55"/>
                  <a:pt x="907" y="55"/>
                </a:cubicBezTo>
                <a:cubicBezTo>
                  <a:pt x="906" y="55"/>
                  <a:pt x="906" y="55"/>
                  <a:pt x="906" y="55"/>
                </a:cubicBezTo>
                <a:cubicBezTo>
                  <a:pt x="906" y="54"/>
                  <a:pt x="906" y="54"/>
                  <a:pt x="906" y="54"/>
                </a:cubicBezTo>
                <a:cubicBezTo>
                  <a:pt x="907" y="52"/>
                  <a:pt x="907" y="52"/>
                  <a:pt x="907" y="52"/>
                </a:cubicBezTo>
                <a:cubicBezTo>
                  <a:pt x="905" y="51"/>
                  <a:pt x="905" y="51"/>
                  <a:pt x="905" y="51"/>
                </a:cubicBezTo>
                <a:cubicBezTo>
                  <a:pt x="904" y="51"/>
                  <a:pt x="904" y="51"/>
                  <a:pt x="904" y="51"/>
                </a:cubicBezTo>
                <a:cubicBezTo>
                  <a:pt x="904" y="55"/>
                  <a:pt x="904" y="55"/>
                  <a:pt x="904" y="55"/>
                </a:cubicBezTo>
                <a:cubicBezTo>
                  <a:pt x="905" y="57"/>
                  <a:pt x="905" y="57"/>
                  <a:pt x="905" y="57"/>
                </a:cubicBezTo>
                <a:cubicBezTo>
                  <a:pt x="905" y="59"/>
                  <a:pt x="905" y="59"/>
                  <a:pt x="905" y="59"/>
                </a:cubicBezTo>
                <a:cubicBezTo>
                  <a:pt x="905" y="61"/>
                  <a:pt x="905" y="61"/>
                  <a:pt x="905" y="61"/>
                </a:cubicBezTo>
                <a:cubicBezTo>
                  <a:pt x="905" y="59"/>
                  <a:pt x="905" y="59"/>
                  <a:pt x="905" y="59"/>
                </a:cubicBezTo>
                <a:cubicBezTo>
                  <a:pt x="903" y="56"/>
                  <a:pt x="903" y="56"/>
                  <a:pt x="903" y="56"/>
                </a:cubicBezTo>
                <a:cubicBezTo>
                  <a:pt x="902" y="58"/>
                  <a:pt x="902" y="58"/>
                  <a:pt x="902" y="58"/>
                </a:cubicBezTo>
                <a:cubicBezTo>
                  <a:pt x="901" y="60"/>
                  <a:pt x="901" y="60"/>
                  <a:pt x="901" y="60"/>
                </a:cubicBezTo>
                <a:cubicBezTo>
                  <a:pt x="902" y="61"/>
                  <a:pt x="902" y="61"/>
                  <a:pt x="902" y="61"/>
                </a:cubicBezTo>
                <a:cubicBezTo>
                  <a:pt x="901" y="62"/>
                  <a:pt x="901" y="62"/>
                  <a:pt x="901" y="62"/>
                </a:cubicBezTo>
                <a:cubicBezTo>
                  <a:pt x="899" y="61"/>
                  <a:pt x="899" y="61"/>
                  <a:pt x="899" y="61"/>
                </a:cubicBezTo>
                <a:cubicBezTo>
                  <a:pt x="897" y="61"/>
                  <a:pt x="897" y="61"/>
                  <a:pt x="897" y="61"/>
                </a:cubicBezTo>
                <a:cubicBezTo>
                  <a:pt x="898" y="60"/>
                  <a:pt x="898" y="60"/>
                  <a:pt x="898" y="60"/>
                </a:cubicBezTo>
                <a:cubicBezTo>
                  <a:pt x="900" y="58"/>
                  <a:pt x="900" y="58"/>
                  <a:pt x="900" y="58"/>
                </a:cubicBezTo>
                <a:cubicBezTo>
                  <a:pt x="902" y="55"/>
                  <a:pt x="902" y="55"/>
                  <a:pt x="902" y="55"/>
                </a:cubicBezTo>
                <a:cubicBezTo>
                  <a:pt x="903" y="53"/>
                  <a:pt x="903" y="53"/>
                  <a:pt x="903" y="53"/>
                </a:cubicBezTo>
                <a:cubicBezTo>
                  <a:pt x="902" y="52"/>
                  <a:pt x="902" y="52"/>
                  <a:pt x="902" y="52"/>
                </a:cubicBezTo>
                <a:cubicBezTo>
                  <a:pt x="901" y="50"/>
                  <a:pt x="901" y="50"/>
                  <a:pt x="901" y="50"/>
                </a:cubicBezTo>
                <a:cubicBezTo>
                  <a:pt x="899" y="52"/>
                  <a:pt x="899" y="52"/>
                  <a:pt x="899" y="52"/>
                </a:cubicBezTo>
                <a:cubicBezTo>
                  <a:pt x="898" y="53"/>
                  <a:pt x="898" y="53"/>
                  <a:pt x="898" y="53"/>
                </a:cubicBezTo>
                <a:cubicBezTo>
                  <a:pt x="897" y="52"/>
                  <a:pt x="897" y="52"/>
                  <a:pt x="897" y="52"/>
                </a:cubicBezTo>
                <a:cubicBezTo>
                  <a:pt x="898" y="50"/>
                  <a:pt x="898" y="50"/>
                  <a:pt x="898" y="50"/>
                </a:cubicBezTo>
                <a:cubicBezTo>
                  <a:pt x="896" y="49"/>
                  <a:pt x="896" y="49"/>
                  <a:pt x="896" y="49"/>
                </a:cubicBezTo>
                <a:cubicBezTo>
                  <a:pt x="895" y="50"/>
                  <a:pt x="895" y="50"/>
                  <a:pt x="895" y="50"/>
                </a:cubicBezTo>
                <a:cubicBezTo>
                  <a:pt x="894" y="51"/>
                  <a:pt x="894" y="51"/>
                  <a:pt x="894" y="51"/>
                </a:cubicBezTo>
                <a:cubicBezTo>
                  <a:pt x="895" y="53"/>
                  <a:pt x="895" y="53"/>
                  <a:pt x="895" y="53"/>
                </a:cubicBezTo>
                <a:cubicBezTo>
                  <a:pt x="895" y="56"/>
                  <a:pt x="895" y="56"/>
                  <a:pt x="895" y="56"/>
                </a:cubicBezTo>
                <a:cubicBezTo>
                  <a:pt x="894" y="55"/>
                  <a:pt x="894" y="55"/>
                  <a:pt x="894" y="55"/>
                </a:cubicBezTo>
                <a:cubicBezTo>
                  <a:pt x="894" y="52"/>
                  <a:pt x="894" y="52"/>
                  <a:pt x="894" y="52"/>
                </a:cubicBezTo>
                <a:cubicBezTo>
                  <a:pt x="893" y="52"/>
                  <a:pt x="893" y="52"/>
                  <a:pt x="893" y="52"/>
                </a:cubicBezTo>
                <a:cubicBezTo>
                  <a:pt x="893" y="53"/>
                  <a:pt x="893" y="53"/>
                  <a:pt x="893" y="53"/>
                </a:cubicBezTo>
                <a:cubicBezTo>
                  <a:pt x="891" y="54"/>
                  <a:pt x="891" y="54"/>
                  <a:pt x="891" y="54"/>
                </a:cubicBezTo>
                <a:cubicBezTo>
                  <a:pt x="891" y="56"/>
                  <a:pt x="891" y="56"/>
                  <a:pt x="891" y="56"/>
                </a:cubicBezTo>
                <a:cubicBezTo>
                  <a:pt x="889" y="57"/>
                  <a:pt x="889" y="57"/>
                  <a:pt x="889" y="57"/>
                </a:cubicBezTo>
                <a:cubicBezTo>
                  <a:pt x="888" y="58"/>
                  <a:pt x="888" y="58"/>
                  <a:pt x="888" y="58"/>
                </a:cubicBezTo>
                <a:cubicBezTo>
                  <a:pt x="887" y="59"/>
                  <a:pt x="887" y="59"/>
                  <a:pt x="887" y="59"/>
                </a:cubicBezTo>
                <a:cubicBezTo>
                  <a:pt x="885" y="59"/>
                  <a:pt x="885" y="59"/>
                  <a:pt x="885" y="59"/>
                </a:cubicBezTo>
                <a:cubicBezTo>
                  <a:pt x="887" y="58"/>
                  <a:pt x="887" y="58"/>
                  <a:pt x="887" y="58"/>
                </a:cubicBezTo>
                <a:cubicBezTo>
                  <a:pt x="887" y="56"/>
                  <a:pt x="887" y="56"/>
                  <a:pt x="887" y="56"/>
                </a:cubicBezTo>
                <a:cubicBezTo>
                  <a:pt x="886" y="56"/>
                  <a:pt x="886" y="56"/>
                  <a:pt x="886" y="56"/>
                </a:cubicBezTo>
                <a:cubicBezTo>
                  <a:pt x="885" y="55"/>
                  <a:pt x="885" y="55"/>
                  <a:pt x="885" y="55"/>
                </a:cubicBezTo>
                <a:cubicBezTo>
                  <a:pt x="885" y="54"/>
                  <a:pt x="885" y="54"/>
                  <a:pt x="885" y="54"/>
                </a:cubicBezTo>
                <a:cubicBezTo>
                  <a:pt x="887" y="54"/>
                  <a:pt x="887" y="54"/>
                  <a:pt x="887" y="54"/>
                </a:cubicBezTo>
                <a:cubicBezTo>
                  <a:pt x="888" y="55"/>
                  <a:pt x="888" y="55"/>
                  <a:pt x="888" y="55"/>
                </a:cubicBezTo>
                <a:cubicBezTo>
                  <a:pt x="888" y="54"/>
                  <a:pt x="888" y="54"/>
                  <a:pt x="888" y="54"/>
                </a:cubicBezTo>
                <a:cubicBezTo>
                  <a:pt x="888" y="53"/>
                  <a:pt x="888" y="53"/>
                  <a:pt x="888" y="53"/>
                </a:cubicBezTo>
                <a:cubicBezTo>
                  <a:pt x="888" y="52"/>
                  <a:pt x="888" y="52"/>
                  <a:pt x="888" y="52"/>
                </a:cubicBezTo>
                <a:cubicBezTo>
                  <a:pt x="890" y="51"/>
                  <a:pt x="890" y="51"/>
                  <a:pt x="890" y="51"/>
                </a:cubicBezTo>
                <a:cubicBezTo>
                  <a:pt x="893" y="49"/>
                  <a:pt x="893" y="49"/>
                  <a:pt x="893" y="49"/>
                </a:cubicBezTo>
                <a:cubicBezTo>
                  <a:pt x="893" y="47"/>
                  <a:pt x="893" y="47"/>
                  <a:pt x="893" y="47"/>
                </a:cubicBezTo>
                <a:cubicBezTo>
                  <a:pt x="895" y="46"/>
                  <a:pt x="895" y="46"/>
                  <a:pt x="895" y="46"/>
                </a:cubicBezTo>
                <a:cubicBezTo>
                  <a:pt x="894" y="46"/>
                  <a:pt x="894" y="46"/>
                  <a:pt x="894" y="46"/>
                </a:cubicBezTo>
                <a:cubicBezTo>
                  <a:pt x="893" y="46"/>
                  <a:pt x="893" y="46"/>
                  <a:pt x="893" y="46"/>
                </a:cubicBezTo>
                <a:cubicBezTo>
                  <a:pt x="890" y="48"/>
                  <a:pt x="890" y="48"/>
                  <a:pt x="890" y="48"/>
                </a:cubicBezTo>
                <a:cubicBezTo>
                  <a:pt x="888" y="50"/>
                  <a:pt x="888" y="50"/>
                  <a:pt x="888" y="50"/>
                </a:cubicBezTo>
                <a:cubicBezTo>
                  <a:pt x="887" y="50"/>
                  <a:pt x="887" y="50"/>
                  <a:pt x="887" y="50"/>
                </a:cubicBezTo>
                <a:cubicBezTo>
                  <a:pt x="888" y="48"/>
                  <a:pt x="888" y="48"/>
                  <a:pt x="888" y="48"/>
                </a:cubicBezTo>
                <a:cubicBezTo>
                  <a:pt x="889" y="47"/>
                  <a:pt x="889" y="47"/>
                  <a:pt x="889" y="47"/>
                </a:cubicBezTo>
                <a:cubicBezTo>
                  <a:pt x="890" y="45"/>
                  <a:pt x="890" y="45"/>
                  <a:pt x="890" y="45"/>
                </a:cubicBezTo>
                <a:cubicBezTo>
                  <a:pt x="892" y="45"/>
                  <a:pt x="892" y="45"/>
                  <a:pt x="892" y="45"/>
                </a:cubicBezTo>
                <a:cubicBezTo>
                  <a:pt x="894" y="43"/>
                  <a:pt x="894" y="43"/>
                  <a:pt x="894" y="43"/>
                </a:cubicBezTo>
                <a:cubicBezTo>
                  <a:pt x="895" y="43"/>
                  <a:pt x="895" y="43"/>
                  <a:pt x="895" y="43"/>
                </a:cubicBezTo>
                <a:cubicBezTo>
                  <a:pt x="896" y="41"/>
                  <a:pt x="896" y="41"/>
                  <a:pt x="896" y="41"/>
                </a:cubicBezTo>
                <a:cubicBezTo>
                  <a:pt x="897" y="40"/>
                  <a:pt x="897" y="40"/>
                  <a:pt x="897" y="40"/>
                </a:cubicBezTo>
                <a:cubicBezTo>
                  <a:pt x="895" y="39"/>
                  <a:pt x="895" y="39"/>
                  <a:pt x="895" y="39"/>
                </a:cubicBezTo>
                <a:cubicBezTo>
                  <a:pt x="895" y="37"/>
                  <a:pt x="895" y="37"/>
                  <a:pt x="895" y="37"/>
                </a:cubicBezTo>
                <a:cubicBezTo>
                  <a:pt x="896" y="35"/>
                  <a:pt x="896" y="35"/>
                  <a:pt x="896" y="35"/>
                </a:cubicBezTo>
                <a:cubicBezTo>
                  <a:pt x="898" y="32"/>
                  <a:pt x="898" y="32"/>
                  <a:pt x="898" y="32"/>
                </a:cubicBezTo>
                <a:cubicBezTo>
                  <a:pt x="899" y="31"/>
                  <a:pt x="899" y="31"/>
                  <a:pt x="899" y="31"/>
                </a:cubicBezTo>
                <a:cubicBezTo>
                  <a:pt x="898" y="30"/>
                  <a:pt x="898" y="30"/>
                  <a:pt x="898" y="30"/>
                </a:cubicBezTo>
                <a:cubicBezTo>
                  <a:pt x="896" y="29"/>
                  <a:pt x="896" y="29"/>
                  <a:pt x="896" y="29"/>
                </a:cubicBezTo>
                <a:cubicBezTo>
                  <a:pt x="896" y="28"/>
                  <a:pt x="896" y="28"/>
                  <a:pt x="896" y="28"/>
                </a:cubicBezTo>
                <a:cubicBezTo>
                  <a:pt x="897" y="25"/>
                  <a:pt x="897" y="25"/>
                  <a:pt x="897" y="25"/>
                </a:cubicBezTo>
                <a:cubicBezTo>
                  <a:pt x="898" y="24"/>
                  <a:pt x="898" y="24"/>
                  <a:pt x="898" y="24"/>
                </a:cubicBezTo>
                <a:cubicBezTo>
                  <a:pt x="899" y="22"/>
                  <a:pt x="899" y="22"/>
                  <a:pt x="899" y="22"/>
                </a:cubicBezTo>
                <a:cubicBezTo>
                  <a:pt x="899" y="18"/>
                  <a:pt x="899" y="18"/>
                  <a:pt x="899" y="18"/>
                </a:cubicBezTo>
                <a:cubicBezTo>
                  <a:pt x="900" y="17"/>
                  <a:pt x="900" y="17"/>
                  <a:pt x="900" y="17"/>
                </a:cubicBezTo>
                <a:cubicBezTo>
                  <a:pt x="900" y="16"/>
                  <a:pt x="900" y="16"/>
                  <a:pt x="900" y="16"/>
                </a:cubicBezTo>
                <a:cubicBezTo>
                  <a:pt x="897" y="15"/>
                  <a:pt x="897" y="15"/>
                  <a:pt x="897" y="15"/>
                </a:cubicBezTo>
                <a:cubicBezTo>
                  <a:pt x="893" y="15"/>
                  <a:pt x="893" y="15"/>
                  <a:pt x="893" y="15"/>
                </a:cubicBezTo>
                <a:cubicBezTo>
                  <a:pt x="890" y="14"/>
                  <a:pt x="890" y="14"/>
                  <a:pt x="890" y="14"/>
                </a:cubicBezTo>
                <a:cubicBezTo>
                  <a:pt x="888" y="16"/>
                  <a:pt x="888" y="16"/>
                  <a:pt x="888" y="16"/>
                </a:cubicBezTo>
                <a:cubicBezTo>
                  <a:pt x="886" y="16"/>
                  <a:pt x="886" y="16"/>
                  <a:pt x="886" y="16"/>
                </a:cubicBezTo>
                <a:cubicBezTo>
                  <a:pt x="883" y="17"/>
                  <a:pt x="883" y="17"/>
                  <a:pt x="883" y="17"/>
                </a:cubicBezTo>
                <a:cubicBezTo>
                  <a:pt x="878" y="18"/>
                  <a:pt x="878" y="18"/>
                  <a:pt x="878" y="18"/>
                </a:cubicBezTo>
                <a:cubicBezTo>
                  <a:pt x="877" y="20"/>
                  <a:pt x="877" y="20"/>
                  <a:pt x="877" y="20"/>
                </a:cubicBezTo>
                <a:cubicBezTo>
                  <a:pt x="879" y="22"/>
                  <a:pt x="879" y="22"/>
                  <a:pt x="879" y="22"/>
                </a:cubicBezTo>
                <a:cubicBezTo>
                  <a:pt x="879" y="23"/>
                  <a:pt x="879" y="23"/>
                  <a:pt x="879" y="23"/>
                </a:cubicBezTo>
                <a:cubicBezTo>
                  <a:pt x="878" y="25"/>
                  <a:pt x="878" y="25"/>
                  <a:pt x="878" y="25"/>
                </a:cubicBezTo>
                <a:cubicBezTo>
                  <a:pt x="877" y="22"/>
                  <a:pt x="877" y="22"/>
                  <a:pt x="877" y="22"/>
                </a:cubicBezTo>
                <a:cubicBezTo>
                  <a:pt x="876" y="21"/>
                  <a:pt x="876" y="21"/>
                  <a:pt x="876" y="21"/>
                </a:cubicBezTo>
                <a:cubicBezTo>
                  <a:pt x="875" y="19"/>
                  <a:pt x="875" y="19"/>
                  <a:pt x="875" y="19"/>
                </a:cubicBezTo>
                <a:cubicBezTo>
                  <a:pt x="873" y="19"/>
                  <a:pt x="873" y="19"/>
                  <a:pt x="873" y="19"/>
                </a:cubicBezTo>
                <a:cubicBezTo>
                  <a:pt x="872" y="21"/>
                  <a:pt x="872" y="21"/>
                  <a:pt x="872" y="21"/>
                </a:cubicBezTo>
                <a:cubicBezTo>
                  <a:pt x="872" y="22"/>
                  <a:pt x="872" y="22"/>
                  <a:pt x="872" y="22"/>
                </a:cubicBezTo>
                <a:cubicBezTo>
                  <a:pt x="871" y="23"/>
                  <a:pt x="871" y="23"/>
                  <a:pt x="871" y="23"/>
                </a:cubicBezTo>
                <a:cubicBezTo>
                  <a:pt x="871" y="21"/>
                  <a:pt x="871" y="21"/>
                  <a:pt x="871" y="21"/>
                </a:cubicBezTo>
                <a:cubicBezTo>
                  <a:pt x="871" y="20"/>
                  <a:pt x="871" y="20"/>
                  <a:pt x="871" y="20"/>
                </a:cubicBezTo>
                <a:cubicBezTo>
                  <a:pt x="870" y="19"/>
                  <a:pt x="870" y="19"/>
                  <a:pt x="870" y="19"/>
                </a:cubicBezTo>
                <a:cubicBezTo>
                  <a:pt x="867" y="20"/>
                  <a:pt x="867" y="20"/>
                  <a:pt x="867" y="20"/>
                </a:cubicBezTo>
                <a:cubicBezTo>
                  <a:pt x="866" y="22"/>
                  <a:pt x="866" y="22"/>
                  <a:pt x="866" y="22"/>
                </a:cubicBezTo>
                <a:cubicBezTo>
                  <a:pt x="867" y="23"/>
                  <a:pt x="867" y="23"/>
                  <a:pt x="867" y="23"/>
                </a:cubicBezTo>
                <a:cubicBezTo>
                  <a:pt x="869" y="25"/>
                  <a:pt x="869" y="25"/>
                  <a:pt x="869" y="25"/>
                </a:cubicBezTo>
                <a:cubicBezTo>
                  <a:pt x="871" y="27"/>
                  <a:pt x="871" y="27"/>
                  <a:pt x="871" y="27"/>
                </a:cubicBezTo>
                <a:cubicBezTo>
                  <a:pt x="873" y="29"/>
                  <a:pt x="873" y="29"/>
                  <a:pt x="873" y="29"/>
                </a:cubicBezTo>
                <a:cubicBezTo>
                  <a:pt x="872" y="29"/>
                  <a:pt x="872" y="29"/>
                  <a:pt x="872" y="29"/>
                </a:cubicBezTo>
                <a:cubicBezTo>
                  <a:pt x="869" y="27"/>
                  <a:pt x="869" y="27"/>
                  <a:pt x="869" y="27"/>
                </a:cubicBezTo>
                <a:cubicBezTo>
                  <a:pt x="866" y="24"/>
                  <a:pt x="866" y="24"/>
                  <a:pt x="866" y="24"/>
                </a:cubicBezTo>
                <a:cubicBezTo>
                  <a:pt x="865" y="24"/>
                  <a:pt x="865" y="24"/>
                  <a:pt x="865" y="24"/>
                </a:cubicBezTo>
                <a:cubicBezTo>
                  <a:pt x="865" y="25"/>
                  <a:pt x="865" y="25"/>
                  <a:pt x="865" y="25"/>
                </a:cubicBezTo>
                <a:cubicBezTo>
                  <a:pt x="861" y="25"/>
                  <a:pt x="861" y="25"/>
                  <a:pt x="861" y="25"/>
                </a:cubicBezTo>
                <a:cubicBezTo>
                  <a:pt x="861" y="25"/>
                  <a:pt x="861" y="25"/>
                  <a:pt x="861" y="25"/>
                </a:cubicBezTo>
                <a:cubicBezTo>
                  <a:pt x="862" y="26"/>
                  <a:pt x="862" y="26"/>
                  <a:pt x="862" y="26"/>
                </a:cubicBezTo>
                <a:cubicBezTo>
                  <a:pt x="864" y="26"/>
                  <a:pt x="864" y="26"/>
                  <a:pt x="864" y="26"/>
                </a:cubicBezTo>
                <a:cubicBezTo>
                  <a:pt x="864" y="28"/>
                  <a:pt x="864" y="28"/>
                  <a:pt x="864" y="28"/>
                </a:cubicBezTo>
                <a:cubicBezTo>
                  <a:pt x="865" y="30"/>
                  <a:pt x="865" y="30"/>
                  <a:pt x="865" y="30"/>
                </a:cubicBezTo>
                <a:cubicBezTo>
                  <a:pt x="868" y="31"/>
                  <a:pt x="868" y="31"/>
                  <a:pt x="868" y="31"/>
                </a:cubicBezTo>
                <a:cubicBezTo>
                  <a:pt x="868" y="33"/>
                  <a:pt x="868" y="33"/>
                  <a:pt x="868" y="33"/>
                </a:cubicBezTo>
                <a:cubicBezTo>
                  <a:pt x="869" y="34"/>
                  <a:pt x="869" y="34"/>
                  <a:pt x="869" y="34"/>
                </a:cubicBezTo>
                <a:cubicBezTo>
                  <a:pt x="868" y="34"/>
                  <a:pt x="868" y="34"/>
                  <a:pt x="868" y="34"/>
                </a:cubicBezTo>
                <a:cubicBezTo>
                  <a:pt x="866" y="32"/>
                  <a:pt x="866" y="32"/>
                  <a:pt x="866" y="32"/>
                </a:cubicBezTo>
                <a:cubicBezTo>
                  <a:pt x="864" y="31"/>
                  <a:pt x="864" y="31"/>
                  <a:pt x="864" y="31"/>
                </a:cubicBezTo>
                <a:cubicBezTo>
                  <a:pt x="863" y="29"/>
                  <a:pt x="863" y="29"/>
                  <a:pt x="863" y="29"/>
                </a:cubicBezTo>
                <a:cubicBezTo>
                  <a:pt x="862" y="28"/>
                  <a:pt x="862" y="28"/>
                  <a:pt x="862" y="28"/>
                </a:cubicBezTo>
                <a:cubicBezTo>
                  <a:pt x="859" y="27"/>
                  <a:pt x="859" y="27"/>
                  <a:pt x="859" y="27"/>
                </a:cubicBezTo>
                <a:cubicBezTo>
                  <a:pt x="858" y="29"/>
                  <a:pt x="858" y="29"/>
                  <a:pt x="858" y="29"/>
                </a:cubicBezTo>
                <a:cubicBezTo>
                  <a:pt x="858" y="30"/>
                  <a:pt x="858" y="30"/>
                  <a:pt x="858" y="30"/>
                </a:cubicBezTo>
                <a:cubicBezTo>
                  <a:pt x="856" y="33"/>
                  <a:pt x="856" y="33"/>
                  <a:pt x="856" y="33"/>
                </a:cubicBezTo>
                <a:cubicBezTo>
                  <a:pt x="855" y="36"/>
                  <a:pt x="855" y="36"/>
                  <a:pt x="855" y="36"/>
                </a:cubicBezTo>
                <a:cubicBezTo>
                  <a:pt x="857" y="38"/>
                  <a:pt x="857" y="38"/>
                  <a:pt x="857" y="38"/>
                </a:cubicBezTo>
                <a:cubicBezTo>
                  <a:pt x="855" y="38"/>
                  <a:pt x="855" y="38"/>
                  <a:pt x="855" y="38"/>
                </a:cubicBezTo>
                <a:cubicBezTo>
                  <a:pt x="854" y="39"/>
                  <a:pt x="854" y="39"/>
                  <a:pt x="854" y="39"/>
                </a:cubicBezTo>
                <a:cubicBezTo>
                  <a:pt x="855" y="41"/>
                  <a:pt x="855" y="41"/>
                  <a:pt x="855" y="41"/>
                </a:cubicBezTo>
                <a:cubicBezTo>
                  <a:pt x="856" y="43"/>
                  <a:pt x="856" y="43"/>
                  <a:pt x="856" y="43"/>
                </a:cubicBezTo>
                <a:cubicBezTo>
                  <a:pt x="857" y="43"/>
                  <a:pt x="857" y="43"/>
                  <a:pt x="857" y="43"/>
                </a:cubicBezTo>
                <a:cubicBezTo>
                  <a:pt x="861" y="40"/>
                  <a:pt x="861" y="40"/>
                  <a:pt x="861" y="40"/>
                </a:cubicBezTo>
                <a:cubicBezTo>
                  <a:pt x="862" y="41"/>
                  <a:pt x="862" y="41"/>
                  <a:pt x="862" y="41"/>
                </a:cubicBezTo>
                <a:cubicBezTo>
                  <a:pt x="863" y="42"/>
                  <a:pt x="863" y="42"/>
                  <a:pt x="863" y="42"/>
                </a:cubicBezTo>
                <a:cubicBezTo>
                  <a:pt x="861" y="42"/>
                  <a:pt x="861" y="42"/>
                  <a:pt x="861" y="42"/>
                </a:cubicBezTo>
                <a:cubicBezTo>
                  <a:pt x="860" y="43"/>
                  <a:pt x="860" y="43"/>
                  <a:pt x="860" y="43"/>
                </a:cubicBezTo>
                <a:cubicBezTo>
                  <a:pt x="860" y="44"/>
                  <a:pt x="860" y="44"/>
                  <a:pt x="860" y="44"/>
                </a:cubicBezTo>
                <a:cubicBezTo>
                  <a:pt x="859" y="44"/>
                  <a:pt x="859" y="44"/>
                  <a:pt x="859" y="44"/>
                </a:cubicBezTo>
                <a:cubicBezTo>
                  <a:pt x="858" y="46"/>
                  <a:pt x="858" y="46"/>
                  <a:pt x="858" y="46"/>
                </a:cubicBezTo>
                <a:cubicBezTo>
                  <a:pt x="858" y="47"/>
                  <a:pt x="858" y="47"/>
                  <a:pt x="858" y="47"/>
                </a:cubicBezTo>
                <a:cubicBezTo>
                  <a:pt x="856" y="49"/>
                  <a:pt x="856" y="49"/>
                  <a:pt x="856" y="49"/>
                </a:cubicBezTo>
                <a:cubicBezTo>
                  <a:pt x="855" y="48"/>
                  <a:pt x="855" y="48"/>
                  <a:pt x="855" y="48"/>
                </a:cubicBezTo>
                <a:cubicBezTo>
                  <a:pt x="856" y="47"/>
                  <a:pt x="856" y="47"/>
                  <a:pt x="856" y="47"/>
                </a:cubicBezTo>
                <a:cubicBezTo>
                  <a:pt x="855" y="44"/>
                  <a:pt x="855" y="44"/>
                  <a:pt x="855" y="44"/>
                </a:cubicBezTo>
                <a:cubicBezTo>
                  <a:pt x="853" y="44"/>
                  <a:pt x="853" y="44"/>
                  <a:pt x="853" y="44"/>
                </a:cubicBezTo>
                <a:cubicBezTo>
                  <a:pt x="852" y="46"/>
                  <a:pt x="852" y="46"/>
                  <a:pt x="852" y="46"/>
                </a:cubicBezTo>
                <a:cubicBezTo>
                  <a:pt x="853" y="47"/>
                  <a:pt x="853" y="47"/>
                  <a:pt x="853" y="47"/>
                </a:cubicBezTo>
                <a:cubicBezTo>
                  <a:pt x="851" y="48"/>
                  <a:pt x="851" y="48"/>
                  <a:pt x="851" y="48"/>
                </a:cubicBezTo>
                <a:cubicBezTo>
                  <a:pt x="849" y="49"/>
                  <a:pt x="849" y="49"/>
                  <a:pt x="849" y="49"/>
                </a:cubicBezTo>
                <a:cubicBezTo>
                  <a:pt x="848" y="50"/>
                  <a:pt x="848" y="50"/>
                  <a:pt x="848" y="50"/>
                </a:cubicBezTo>
                <a:cubicBezTo>
                  <a:pt x="848" y="48"/>
                  <a:pt x="848" y="48"/>
                  <a:pt x="848" y="48"/>
                </a:cubicBezTo>
                <a:cubicBezTo>
                  <a:pt x="847" y="49"/>
                  <a:pt x="847" y="49"/>
                  <a:pt x="847" y="49"/>
                </a:cubicBezTo>
                <a:cubicBezTo>
                  <a:pt x="847" y="51"/>
                  <a:pt x="847" y="51"/>
                  <a:pt x="847" y="51"/>
                </a:cubicBezTo>
                <a:cubicBezTo>
                  <a:pt x="848" y="53"/>
                  <a:pt x="848" y="53"/>
                  <a:pt x="848" y="53"/>
                </a:cubicBezTo>
                <a:cubicBezTo>
                  <a:pt x="848" y="55"/>
                  <a:pt x="848" y="55"/>
                  <a:pt x="848" y="55"/>
                </a:cubicBezTo>
                <a:cubicBezTo>
                  <a:pt x="849" y="56"/>
                  <a:pt x="849" y="56"/>
                  <a:pt x="849" y="56"/>
                </a:cubicBezTo>
                <a:cubicBezTo>
                  <a:pt x="849" y="59"/>
                  <a:pt x="849" y="59"/>
                  <a:pt x="849" y="59"/>
                </a:cubicBezTo>
                <a:cubicBezTo>
                  <a:pt x="850" y="59"/>
                  <a:pt x="850" y="59"/>
                  <a:pt x="850" y="59"/>
                </a:cubicBezTo>
                <a:cubicBezTo>
                  <a:pt x="851" y="60"/>
                  <a:pt x="851" y="60"/>
                  <a:pt x="851" y="60"/>
                </a:cubicBezTo>
                <a:cubicBezTo>
                  <a:pt x="851" y="61"/>
                  <a:pt x="851" y="61"/>
                  <a:pt x="851" y="61"/>
                </a:cubicBezTo>
                <a:cubicBezTo>
                  <a:pt x="852" y="62"/>
                  <a:pt x="852" y="62"/>
                  <a:pt x="852" y="62"/>
                </a:cubicBezTo>
                <a:cubicBezTo>
                  <a:pt x="852" y="64"/>
                  <a:pt x="852" y="64"/>
                  <a:pt x="852" y="64"/>
                </a:cubicBezTo>
                <a:cubicBezTo>
                  <a:pt x="850" y="65"/>
                  <a:pt x="850" y="65"/>
                  <a:pt x="850" y="65"/>
                </a:cubicBezTo>
                <a:cubicBezTo>
                  <a:pt x="849" y="67"/>
                  <a:pt x="849" y="67"/>
                  <a:pt x="849" y="67"/>
                </a:cubicBezTo>
                <a:cubicBezTo>
                  <a:pt x="848" y="70"/>
                  <a:pt x="848" y="70"/>
                  <a:pt x="848" y="70"/>
                </a:cubicBezTo>
                <a:cubicBezTo>
                  <a:pt x="847" y="71"/>
                  <a:pt x="847" y="71"/>
                  <a:pt x="847" y="71"/>
                </a:cubicBezTo>
                <a:cubicBezTo>
                  <a:pt x="845" y="75"/>
                  <a:pt x="845" y="75"/>
                  <a:pt x="845" y="75"/>
                </a:cubicBezTo>
                <a:cubicBezTo>
                  <a:pt x="845" y="76"/>
                  <a:pt x="845" y="76"/>
                  <a:pt x="845" y="76"/>
                </a:cubicBezTo>
                <a:cubicBezTo>
                  <a:pt x="843" y="79"/>
                  <a:pt x="843" y="79"/>
                  <a:pt x="843" y="79"/>
                </a:cubicBezTo>
                <a:cubicBezTo>
                  <a:pt x="843" y="78"/>
                  <a:pt x="843" y="78"/>
                  <a:pt x="843" y="78"/>
                </a:cubicBezTo>
                <a:cubicBezTo>
                  <a:pt x="843" y="76"/>
                  <a:pt x="843" y="76"/>
                  <a:pt x="843" y="76"/>
                </a:cubicBezTo>
                <a:cubicBezTo>
                  <a:pt x="844" y="73"/>
                  <a:pt x="844" y="73"/>
                  <a:pt x="844" y="73"/>
                </a:cubicBezTo>
                <a:cubicBezTo>
                  <a:pt x="846" y="71"/>
                  <a:pt x="846" y="71"/>
                  <a:pt x="846" y="71"/>
                </a:cubicBezTo>
                <a:cubicBezTo>
                  <a:pt x="845" y="71"/>
                  <a:pt x="845" y="71"/>
                  <a:pt x="845" y="71"/>
                </a:cubicBezTo>
                <a:cubicBezTo>
                  <a:pt x="845" y="71"/>
                  <a:pt x="845" y="71"/>
                  <a:pt x="845" y="71"/>
                </a:cubicBezTo>
                <a:cubicBezTo>
                  <a:pt x="843" y="71"/>
                  <a:pt x="843" y="71"/>
                  <a:pt x="843" y="71"/>
                </a:cubicBezTo>
                <a:cubicBezTo>
                  <a:pt x="842" y="70"/>
                  <a:pt x="842" y="70"/>
                  <a:pt x="842" y="70"/>
                </a:cubicBezTo>
                <a:cubicBezTo>
                  <a:pt x="841" y="69"/>
                  <a:pt x="841" y="69"/>
                  <a:pt x="841" y="69"/>
                </a:cubicBezTo>
                <a:cubicBezTo>
                  <a:pt x="842" y="69"/>
                  <a:pt x="842" y="69"/>
                  <a:pt x="842" y="69"/>
                </a:cubicBezTo>
                <a:cubicBezTo>
                  <a:pt x="844" y="68"/>
                  <a:pt x="844" y="68"/>
                  <a:pt x="844" y="68"/>
                </a:cubicBezTo>
                <a:cubicBezTo>
                  <a:pt x="845" y="68"/>
                  <a:pt x="845" y="68"/>
                  <a:pt x="845" y="68"/>
                </a:cubicBezTo>
                <a:cubicBezTo>
                  <a:pt x="845" y="67"/>
                  <a:pt x="845" y="67"/>
                  <a:pt x="845" y="67"/>
                </a:cubicBezTo>
                <a:cubicBezTo>
                  <a:pt x="846" y="67"/>
                  <a:pt x="846" y="67"/>
                  <a:pt x="846" y="67"/>
                </a:cubicBezTo>
                <a:cubicBezTo>
                  <a:pt x="847" y="69"/>
                  <a:pt x="847" y="69"/>
                  <a:pt x="847" y="69"/>
                </a:cubicBezTo>
                <a:cubicBezTo>
                  <a:pt x="847" y="67"/>
                  <a:pt x="847" y="67"/>
                  <a:pt x="847" y="67"/>
                </a:cubicBezTo>
                <a:cubicBezTo>
                  <a:pt x="847" y="65"/>
                  <a:pt x="847" y="65"/>
                  <a:pt x="847" y="65"/>
                </a:cubicBezTo>
                <a:cubicBezTo>
                  <a:pt x="846" y="64"/>
                  <a:pt x="846" y="64"/>
                  <a:pt x="846" y="64"/>
                </a:cubicBezTo>
                <a:cubicBezTo>
                  <a:pt x="845" y="63"/>
                  <a:pt x="845" y="63"/>
                  <a:pt x="845" y="63"/>
                </a:cubicBezTo>
                <a:cubicBezTo>
                  <a:pt x="843" y="60"/>
                  <a:pt x="843" y="60"/>
                  <a:pt x="843" y="60"/>
                </a:cubicBezTo>
                <a:cubicBezTo>
                  <a:pt x="843" y="58"/>
                  <a:pt x="843" y="58"/>
                  <a:pt x="843" y="58"/>
                </a:cubicBezTo>
                <a:cubicBezTo>
                  <a:pt x="843" y="57"/>
                  <a:pt x="843" y="57"/>
                  <a:pt x="843" y="57"/>
                </a:cubicBezTo>
                <a:cubicBezTo>
                  <a:pt x="842" y="54"/>
                  <a:pt x="842" y="54"/>
                  <a:pt x="842" y="54"/>
                </a:cubicBezTo>
                <a:cubicBezTo>
                  <a:pt x="841" y="52"/>
                  <a:pt x="841" y="52"/>
                  <a:pt x="841" y="52"/>
                </a:cubicBezTo>
                <a:cubicBezTo>
                  <a:pt x="841" y="50"/>
                  <a:pt x="841" y="50"/>
                  <a:pt x="841" y="50"/>
                </a:cubicBezTo>
                <a:cubicBezTo>
                  <a:pt x="842" y="50"/>
                  <a:pt x="842" y="50"/>
                  <a:pt x="842" y="50"/>
                </a:cubicBezTo>
                <a:cubicBezTo>
                  <a:pt x="844" y="47"/>
                  <a:pt x="844" y="47"/>
                  <a:pt x="844" y="47"/>
                </a:cubicBezTo>
                <a:cubicBezTo>
                  <a:pt x="844" y="45"/>
                  <a:pt x="844" y="45"/>
                  <a:pt x="844" y="45"/>
                </a:cubicBezTo>
                <a:cubicBezTo>
                  <a:pt x="846" y="43"/>
                  <a:pt x="846" y="43"/>
                  <a:pt x="846" y="43"/>
                </a:cubicBezTo>
                <a:cubicBezTo>
                  <a:pt x="847" y="41"/>
                  <a:pt x="847" y="41"/>
                  <a:pt x="847" y="41"/>
                </a:cubicBezTo>
                <a:cubicBezTo>
                  <a:pt x="849" y="40"/>
                  <a:pt x="849" y="40"/>
                  <a:pt x="849" y="40"/>
                </a:cubicBezTo>
                <a:cubicBezTo>
                  <a:pt x="849" y="38"/>
                  <a:pt x="849" y="38"/>
                  <a:pt x="849" y="38"/>
                </a:cubicBezTo>
                <a:cubicBezTo>
                  <a:pt x="848" y="37"/>
                  <a:pt x="848" y="37"/>
                  <a:pt x="848" y="37"/>
                </a:cubicBezTo>
                <a:cubicBezTo>
                  <a:pt x="847" y="35"/>
                  <a:pt x="847" y="35"/>
                  <a:pt x="847" y="35"/>
                </a:cubicBezTo>
                <a:cubicBezTo>
                  <a:pt x="847" y="33"/>
                  <a:pt x="847" y="33"/>
                  <a:pt x="847" y="33"/>
                </a:cubicBezTo>
                <a:cubicBezTo>
                  <a:pt x="849" y="29"/>
                  <a:pt x="849" y="29"/>
                  <a:pt x="849" y="29"/>
                </a:cubicBezTo>
                <a:cubicBezTo>
                  <a:pt x="850" y="28"/>
                  <a:pt x="850" y="28"/>
                  <a:pt x="850" y="28"/>
                </a:cubicBezTo>
                <a:cubicBezTo>
                  <a:pt x="853" y="26"/>
                  <a:pt x="853" y="26"/>
                  <a:pt x="853" y="26"/>
                </a:cubicBezTo>
                <a:cubicBezTo>
                  <a:pt x="857" y="22"/>
                  <a:pt x="857" y="22"/>
                  <a:pt x="857" y="22"/>
                </a:cubicBezTo>
                <a:cubicBezTo>
                  <a:pt x="861" y="18"/>
                  <a:pt x="861" y="18"/>
                  <a:pt x="861" y="18"/>
                </a:cubicBezTo>
                <a:cubicBezTo>
                  <a:pt x="863" y="18"/>
                  <a:pt x="863" y="18"/>
                  <a:pt x="863" y="18"/>
                </a:cubicBezTo>
                <a:cubicBezTo>
                  <a:pt x="864" y="16"/>
                  <a:pt x="864" y="16"/>
                  <a:pt x="864" y="16"/>
                </a:cubicBezTo>
                <a:cubicBezTo>
                  <a:pt x="865" y="14"/>
                  <a:pt x="865" y="14"/>
                  <a:pt x="865" y="14"/>
                </a:cubicBezTo>
                <a:cubicBezTo>
                  <a:pt x="867" y="14"/>
                  <a:pt x="867" y="14"/>
                  <a:pt x="867" y="14"/>
                </a:cubicBezTo>
                <a:cubicBezTo>
                  <a:pt x="871" y="13"/>
                  <a:pt x="871" y="13"/>
                  <a:pt x="871" y="13"/>
                </a:cubicBezTo>
                <a:cubicBezTo>
                  <a:pt x="873" y="12"/>
                  <a:pt x="873" y="12"/>
                  <a:pt x="873" y="12"/>
                </a:cubicBezTo>
                <a:cubicBezTo>
                  <a:pt x="874" y="10"/>
                  <a:pt x="874" y="10"/>
                  <a:pt x="874" y="10"/>
                </a:cubicBezTo>
                <a:cubicBezTo>
                  <a:pt x="873" y="9"/>
                  <a:pt x="873" y="9"/>
                  <a:pt x="873" y="9"/>
                </a:cubicBezTo>
                <a:cubicBezTo>
                  <a:pt x="869" y="7"/>
                  <a:pt x="869" y="7"/>
                  <a:pt x="869" y="7"/>
                </a:cubicBezTo>
                <a:cubicBezTo>
                  <a:pt x="867" y="5"/>
                  <a:pt x="867" y="5"/>
                  <a:pt x="867" y="5"/>
                </a:cubicBezTo>
                <a:cubicBezTo>
                  <a:pt x="864" y="5"/>
                  <a:pt x="864" y="5"/>
                  <a:pt x="864" y="5"/>
                </a:cubicBezTo>
                <a:cubicBezTo>
                  <a:pt x="863" y="5"/>
                  <a:pt x="863" y="5"/>
                  <a:pt x="863" y="5"/>
                </a:cubicBezTo>
                <a:cubicBezTo>
                  <a:pt x="861" y="5"/>
                  <a:pt x="861" y="5"/>
                  <a:pt x="861" y="5"/>
                </a:cubicBezTo>
                <a:cubicBezTo>
                  <a:pt x="859" y="5"/>
                  <a:pt x="859" y="5"/>
                  <a:pt x="859" y="5"/>
                </a:cubicBezTo>
                <a:cubicBezTo>
                  <a:pt x="857" y="5"/>
                  <a:pt x="857" y="5"/>
                  <a:pt x="857" y="5"/>
                </a:cubicBezTo>
                <a:cubicBezTo>
                  <a:pt x="853" y="6"/>
                  <a:pt x="853" y="6"/>
                  <a:pt x="853" y="6"/>
                </a:cubicBezTo>
                <a:cubicBezTo>
                  <a:pt x="848" y="7"/>
                  <a:pt x="848" y="7"/>
                  <a:pt x="848" y="7"/>
                </a:cubicBezTo>
                <a:cubicBezTo>
                  <a:pt x="844" y="10"/>
                  <a:pt x="844" y="10"/>
                  <a:pt x="844" y="10"/>
                </a:cubicBezTo>
                <a:cubicBezTo>
                  <a:pt x="841" y="12"/>
                  <a:pt x="841" y="12"/>
                  <a:pt x="841" y="12"/>
                </a:cubicBezTo>
                <a:cubicBezTo>
                  <a:pt x="840" y="14"/>
                  <a:pt x="840" y="14"/>
                  <a:pt x="840" y="14"/>
                </a:cubicBezTo>
                <a:cubicBezTo>
                  <a:pt x="841" y="16"/>
                  <a:pt x="841" y="16"/>
                  <a:pt x="841" y="16"/>
                </a:cubicBezTo>
                <a:cubicBezTo>
                  <a:pt x="840" y="15"/>
                  <a:pt x="840" y="15"/>
                  <a:pt x="840" y="15"/>
                </a:cubicBezTo>
                <a:cubicBezTo>
                  <a:pt x="838" y="15"/>
                  <a:pt x="838" y="15"/>
                  <a:pt x="838" y="15"/>
                </a:cubicBezTo>
                <a:cubicBezTo>
                  <a:pt x="837" y="17"/>
                  <a:pt x="837" y="17"/>
                  <a:pt x="837" y="17"/>
                </a:cubicBezTo>
                <a:cubicBezTo>
                  <a:pt x="835" y="17"/>
                  <a:pt x="835" y="17"/>
                  <a:pt x="835" y="17"/>
                </a:cubicBezTo>
                <a:cubicBezTo>
                  <a:pt x="833" y="19"/>
                  <a:pt x="833" y="19"/>
                  <a:pt x="833" y="19"/>
                </a:cubicBezTo>
                <a:cubicBezTo>
                  <a:pt x="833" y="21"/>
                  <a:pt x="833" y="21"/>
                  <a:pt x="833" y="21"/>
                </a:cubicBezTo>
                <a:lnTo>
                  <a:pt x="832" y="21"/>
                </a:lnTo>
                <a:close/>
                <a:moveTo>
                  <a:pt x="981" y="509"/>
                </a:moveTo>
                <a:cubicBezTo>
                  <a:pt x="982" y="509"/>
                  <a:pt x="982" y="509"/>
                  <a:pt x="982" y="509"/>
                </a:cubicBezTo>
                <a:cubicBezTo>
                  <a:pt x="982" y="507"/>
                  <a:pt x="982" y="507"/>
                  <a:pt x="982" y="507"/>
                </a:cubicBezTo>
                <a:cubicBezTo>
                  <a:pt x="982" y="507"/>
                  <a:pt x="982" y="507"/>
                  <a:pt x="982" y="507"/>
                </a:cubicBezTo>
                <a:cubicBezTo>
                  <a:pt x="981" y="506"/>
                  <a:pt x="981" y="506"/>
                  <a:pt x="981" y="506"/>
                </a:cubicBezTo>
                <a:cubicBezTo>
                  <a:pt x="981" y="505"/>
                  <a:pt x="981" y="505"/>
                  <a:pt x="981" y="505"/>
                </a:cubicBezTo>
                <a:cubicBezTo>
                  <a:pt x="982" y="504"/>
                  <a:pt x="982" y="504"/>
                  <a:pt x="982" y="504"/>
                </a:cubicBezTo>
                <a:cubicBezTo>
                  <a:pt x="982" y="503"/>
                  <a:pt x="982" y="503"/>
                  <a:pt x="982" y="503"/>
                </a:cubicBezTo>
                <a:cubicBezTo>
                  <a:pt x="981" y="502"/>
                  <a:pt x="981" y="502"/>
                  <a:pt x="981" y="502"/>
                </a:cubicBezTo>
                <a:cubicBezTo>
                  <a:pt x="981" y="502"/>
                  <a:pt x="981" y="502"/>
                  <a:pt x="981" y="502"/>
                </a:cubicBezTo>
                <a:cubicBezTo>
                  <a:pt x="981" y="502"/>
                  <a:pt x="981" y="502"/>
                  <a:pt x="981" y="502"/>
                </a:cubicBezTo>
                <a:cubicBezTo>
                  <a:pt x="980" y="503"/>
                  <a:pt x="980" y="503"/>
                  <a:pt x="980" y="503"/>
                </a:cubicBezTo>
                <a:cubicBezTo>
                  <a:pt x="981" y="505"/>
                  <a:pt x="981" y="505"/>
                  <a:pt x="981" y="505"/>
                </a:cubicBezTo>
                <a:cubicBezTo>
                  <a:pt x="981" y="506"/>
                  <a:pt x="981" y="506"/>
                  <a:pt x="981" y="506"/>
                </a:cubicBezTo>
                <a:cubicBezTo>
                  <a:pt x="981" y="508"/>
                  <a:pt x="981" y="508"/>
                  <a:pt x="981" y="508"/>
                </a:cubicBezTo>
                <a:lnTo>
                  <a:pt x="981" y="509"/>
                </a:lnTo>
                <a:close/>
                <a:moveTo>
                  <a:pt x="889" y="144"/>
                </a:moveTo>
                <a:cubicBezTo>
                  <a:pt x="887" y="145"/>
                  <a:pt x="887" y="145"/>
                  <a:pt x="887" y="145"/>
                </a:cubicBezTo>
                <a:cubicBezTo>
                  <a:pt x="884" y="150"/>
                  <a:pt x="884" y="150"/>
                  <a:pt x="884" y="150"/>
                </a:cubicBezTo>
                <a:cubicBezTo>
                  <a:pt x="883" y="151"/>
                  <a:pt x="883" y="151"/>
                  <a:pt x="883" y="151"/>
                </a:cubicBezTo>
                <a:cubicBezTo>
                  <a:pt x="882" y="153"/>
                  <a:pt x="882" y="153"/>
                  <a:pt x="882" y="153"/>
                </a:cubicBezTo>
                <a:cubicBezTo>
                  <a:pt x="879" y="155"/>
                  <a:pt x="879" y="155"/>
                  <a:pt x="879" y="155"/>
                </a:cubicBezTo>
                <a:cubicBezTo>
                  <a:pt x="879" y="158"/>
                  <a:pt x="879" y="158"/>
                  <a:pt x="879" y="158"/>
                </a:cubicBezTo>
                <a:cubicBezTo>
                  <a:pt x="879" y="160"/>
                  <a:pt x="879" y="160"/>
                  <a:pt x="879" y="160"/>
                </a:cubicBezTo>
                <a:cubicBezTo>
                  <a:pt x="879" y="161"/>
                  <a:pt x="879" y="161"/>
                  <a:pt x="879" y="161"/>
                </a:cubicBezTo>
                <a:cubicBezTo>
                  <a:pt x="879" y="163"/>
                  <a:pt x="879" y="163"/>
                  <a:pt x="879" y="163"/>
                </a:cubicBezTo>
                <a:cubicBezTo>
                  <a:pt x="879" y="164"/>
                  <a:pt x="879" y="164"/>
                  <a:pt x="879" y="164"/>
                </a:cubicBezTo>
                <a:cubicBezTo>
                  <a:pt x="880" y="164"/>
                  <a:pt x="880" y="164"/>
                  <a:pt x="880" y="164"/>
                </a:cubicBezTo>
                <a:cubicBezTo>
                  <a:pt x="882" y="164"/>
                  <a:pt x="882" y="164"/>
                  <a:pt x="882" y="164"/>
                </a:cubicBezTo>
                <a:cubicBezTo>
                  <a:pt x="885" y="164"/>
                  <a:pt x="885" y="164"/>
                  <a:pt x="885" y="164"/>
                </a:cubicBezTo>
                <a:cubicBezTo>
                  <a:pt x="886" y="164"/>
                  <a:pt x="886" y="164"/>
                  <a:pt x="886" y="164"/>
                </a:cubicBezTo>
                <a:cubicBezTo>
                  <a:pt x="888" y="164"/>
                  <a:pt x="888" y="164"/>
                  <a:pt x="888" y="164"/>
                </a:cubicBezTo>
                <a:cubicBezTo>
                  <a:pt x="889" y="163"/>
                  <a:pt x="889" y="163"/>
                  <a:pt x="889" y="163"/>
                </a:cubicBezTo>
                <a:cubicBezTo>
                  <a:pt x="890" y="163"/>
                  <a:pt x="890" y="163"/>
                  <a:pt x="890" y="163"/>
                </a:cubicBezTo>
                <a:cubicBezTo>
                  <a:pt x="892" y="161"/>
                  <a:pt x="892" y="161"/>
                  <a:pt x="892" y="161"/>
                </a:cubicBezTo>
                <a:cubicBezTo>
                  <a:pt x="894" y="161"/>
                  <a:pt x="894" y="161"/>
                  <a:pt x="894" y="161"/>
                </a:cubicBezTo>
                <a:cubicBezTo>
                  <a:pt x="895" y="159"/>
                  <a:pt x="895" y="159"/>
                  <a:pt x="895" y="159"/>
                </a:cubicBezTo>
                <a:cubicBezTo>
                  <a:pt x="898" y="155"/>
                  <a:pt x="898" y="155"/>
                  <a:pt x="898" y="155"/>
                </a:cubicBezTo>
                <a:cubicBezTo>
                  <a:pt x="898" y="153"/>
                  <a:pt x="898" y="153"/>
                  <a:pt x="898" y="153"/>
                </a:cubicBezTo>
                <a:cubicBezTo>
                  <a:pt x="899" y="151"/>
                  <a:pt x="899" y="151"/>
                  <a:pt x="899" y="151"/>
                </a:cubicBezTo>
                <a:cubicBezTo>
                  <a:pt x="900" y="150"/>
                  <a:pt x="900" y="150"/>
                  <a:pt x="900" y="150"/>
                </a:cubicBezTo>
                <a:cubicBezTo>
                  <a:pt x="900" y="148"/>
                  <a:pt x="900" y="148"/>
                  <a:pt x="900" y="148"/>
                </a:cubicBezTo>
                <a:cubicBezTo>
                  <a:pt x="900" y="146"/>
                  <a:pt x="900" y="146"/>
                  <a:pt x="900" y="146"/>
                </a:cubicBezTo>
                <a:cubicBezTo>
                  <a:pt x="898" y="145"/>
                  <a:pt x="898" y="145"/>
                  <a:pt x="898" y="145"/>
                </a:cubicBezTo>
                <a:cubicBezTo>
                  <a:pt x="897" y="145"/>
                  <a:pt x="897" y="145"/>
                  <a:pt x="897" y="145"/>
                </a:cubicBezTo>
                <a:cubicBezTo>
                  <a:pt x="896" y="143"/>
                  <a:pt x="896" y="143"/>
                  <a:pt x="896" y="143"/>
                </a:cubicBezTo>
                <a:cubicBezTo>
                  <a:pt x="894" y="143"/>
                  <a:pt x="894" y="143"/>
                  <a:pt x="894" y="143"/>
                </a:cubicBezTo>
                <a:cubicBezTo>
                  <a:pt x="892" y="144"/>
                  <a:pt x="892" y="144"/>
                  <a:pt x="892" y="144"/>
                </a:cubicBezTo>
                <a:cubicBezTo>
                  <a:pt x="891" y="143"/>
                  <a:pt x="891" y="143"/>
                  <a:pt x="891" y="143"/>
                </a:cubicBezTo>
                <a:cubicBezTo>
                  <a:pt x="890" y="144"/>
                  <a:pt x="890" y="144"/>
                  <a:pt x="890" y="144"/>
                </a:cubicBezTo>
                <a:lnTo>
                  <a:pt x="889" y="144"/>
                </a:lnTo>
                <a:close/>
                <a:moveTo>
                  <a:pt x="893" y="128"/>
                </a:moveTo>
                <a:cubicBezTo>
                  <a:pt x="894" y="126"/>
                  <a:pt x="894" y="126"/>
                  <a:pt x="894" y="126"/>
                </a:cubicBezTo>
                <a:cubicBezTo>
                  <a:pt x="896" y="126"/>
                  <a:pt x="896" y="126"/>
                  <a:pt x="896" y="126"/>
                </a:cubicBezTo>
                <a:cubicBezTo>
                  <a:pt x="896" y="125"/>
                  <a:pt x="896" y="125"/>
                  <a:pt x="896" y="125"/>
                </a:cubicBezTo>
                <a:cubicBezTo>
                  <a:pt x="896" y="122"/>
                  <a:pt x="896" y="122"/>
                  <a:pt x="896" y="122"/>
                </a:cubicBezTo>
                <a:cubicBezTo>
                  <a:pt x="894" y="122"/>
                  <a:pt x="894" y="122"/>
                  <a:pt x="894" y="122"/>
                </a:cubicBezTo>
                <a:cubicBezTo>
                  <a:pt x="893" y="122"/>
                  <a:pt x="893" y="122"/>
                  <a:pt x="893" y="122"/>
                </a:cubicBezTo>
                <a:cubicBezTo>
                  <a:pt x="892" y="124"/>
                  <a:pt x="892" y="124"/>
                  <a:pt x="892" y="124"/>
                </a:cubicBezTo>
                <a:cubicBezTo>
                  <a:pt x="891" y="125"/>
                  <a:pt x="891" y="125"/>
                  <a:pt x="891" y="125"/>
                </a:cubicBezTo>
                <a:cubicBezTo>
                  <a:pt x="891" y="128"/>
                  <a:pt x="891" y="128"/>
                  <a:pt x="891" y="128"/>
                </a:cubicBezTo>
                <a:lnTo>
                  <a:pt x="893" y="128"/>
                </a:lnTo>
                <a:close/>
              </a:path>
            </a:pathLst>
          </a:custGeom>
          <a:solidFill>
            <a:schemeClr val="tx2"/>
          </a:solidFill>
          <a:ln>
            <a:noFill/>
          </a:ln>
        </p:spPr>
        <p:txBody>
          <a:bodyPr vert="horz" wrap="square" lIns="114268" tIns="57134" rIns="114268" bIns="57134" numCol="1" anchor="t" anchorCtr="0" compatLnSpc="1">
            <a:prstTxWarp prst="textNoShape">
              <a:avLst/>
            </a:prstTxWarp>
          </a:bodyPr>
          <a:lstStyle/>
          <a:p>
            <a:pPr defTabSz="1142585">
              <a:defRPr/>
            </a:pPr>
            <a:endParaRPr lang="en-US" sz="2250" kern="0">
              <a:solidFill>
                <a:sysClr val="windowText" lastClr="000000"/>
              </a:solidFill>
              <a:latin typeface="Calibri"/>
            </a:endParaRPr>
          </a:p>
        </p:txBody>
      </p:sp>
      <p:grpSp>
        <p:nvGrpSpPr>
          <p:cNvPr id="2" name="Group 1">
            <a:extLst>
              <a:ext uri="{FF2B5EF4-FFF2-40B4-BE49-F238E27FC236}">
                <a16:creationId xmlns:a16="http://schemas.microsoft.com/office/drawing/2014/main" id="{03357E9E-837C-4214-8F34-3D46110D73B1}"/>
              </a:ext>
            </a:extLst>
          </p:cNvPr>
          <p:cNvGrpSpPr/>
          <p:nvPr/>
        </p:nvGrpSpPr>
        <p:grpSpPr>
          <a:xfrm>
            <a:off x="2910080" y="2791777"/>
            <a:ext cx="7161115" cy="2886860"/>
            <a:chOff x="1304713" y="2165175"/>
            <a:chExt cx="5711629" cy="2302529"/>
          </a:xfrm>
        </p:grpSpPr>
        <p:sp>
          <p:nvSpPr>
            <p:cNvPr id="26" name="Oval 25">
              <a:extLst>
                <a:ext uri="{FF2B5EF4-FFF2-40B4-BE49-F238E27FC236}">
                  <a16:creationId xmlns:a16="http://schemas.microsoft.com/office/drawing/2014/main" id="{C2B342A2-1384-4B84-9CAD-708E5435030D}"/>
                </a:ext>
              </a:extLst>
            </p:cNvPr>
            <p:cNvSpPr/>
            <p:nvPr/>
          </p:nvSpPr>
          <p:spPr>
            <a:xfrm>
              <a:off x="2574526" y="4062258"/>
              <a:ext cx="138788" cy="1387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42585">
                <a:defRPr/>
              </a:pPr>
              <a:endParaRPr lang="en-US" sz="2250" kern="0">
                <a:solidFill>
                  <a:sysClr val="windowText" lastClr="000000"/>
                </a:solidFill>
                <a:latin typeface="Calibri"/>
              </a:endParaRPr>
            </a:p>
          </p:txBody>
        </p:sp>
        <p:sp>
          <p:nvSpPr>
            <p:cNvPr id="27" name="Oval 26">
              <a:extLst>
                <a:ext uri="{FF2B5EF4-FFF2-40B4-BE49-F238E27FC236}">
                  <a16:creationId xmlns:a16="http://schemas.microsoft.com/office/drawing/2014/main" id="{AD63C41C-3962-4FB6-A003-6DB6BD2D3A2E}"/>
                </a:ext>
              </a:extLst>
            </p:cNvPr>
            <p:cNvSpPr/>
            <p:nvPr/>
          </p:nvSpPr>
          <p:spPr>
            <a:xfrm>
              <a:off x="4230013" y="2469511"/>
              <a:ext cx="138788" cy="1387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42585">
                <a:defRPr/>
              </a:pPr>
              <a:endParaRPr lang="en-US" sz="2250" kern="0">
                <a:solidFill>
                  <a:sysClr val="windowText" lastClr="000000"/>
                </a:solidFill>
                <a:latin typeface="Calibri"/>
              </a:endParaRPr>
            </a:p>
          </p:txBody>
        </p:sp>
        <p:sp>
          <p:nvSpPr>
            <p:cNvPr id="28" name="Oval 27">
              <a:extLst>
                <a:ext uri="{FF2B5EF4-FFF2-40B4-BE49-F238E27FC236}">
                  <a16:creationId xmlns:a16="http://schemas.microsoft.com/office/drawing/2014/main" id="{373E3CC2-287A-4F2B-89E0-172CAD6B01EE}"/>
                </a:ext>
              </a:extLst>
            </p:cNvPr>
            <p:cNvSpPr/>
            <p:nvPr/>
          </p:nvSpPr>
          <p:spPr>
            <a:xfrm>
              <a:off x="6834251" y="4328916"/>
              <a:ext cx="138788" cy="1387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42585">
                <a:defRPr/>
              </a:pPr>
              <a:endParaRPr lang="en-US" sz="2250" kern="0">
                <a:solidFill>
                  <a:sysClr val="windowText" lastClr="000000"/>
                </a:solidFill>
                <a:latin typeface="Calibri"/>
              </a:endParaRPr>
            </a:p>
          </p:txBody>
        </p:sp>
        <p:sp>
          <p:nvSpPr>
            <p:cNvPr id="29" name="Freeform 162">
              <a:extLst>
                <a:ext uri="{FF2B5EF4-FFF2-40B4-BE49-F238E27FC236}">
                  <a16:creationId xmlns:a16="http://schemas.microsoft.com/office/drawing/2014/main" id="{C3D4D1E9-51DA-4745-BEB9-5FDC578FE725}"/>
                </a:ext>
              </a:extLst>
            </p:cNvPr>
            <p:cNvSpPr>
              <a:spLocks noEditPoints="1"/>
            </p:cNvSpPr>
            <p:nvPr/>
          </p:nvSpPr>
          <p:spPr bwMode="auto">
            <a:xfrm>
              <a:off x="4187686" y="2165175"/>
              <a:ext cx="225396" cy="360252"/>
            </a:xfrm>
            <a:custGeom>
              <a:avLst/>
              <a:gdLst>
                <a:gd name="T0" fmla="*/ 100 w 200"/>
                <a:gd name="T1" fmla="*/ 158 h 320"/>
                <a:gd name="T2" fmla="*/ 43 w 200"/>
                <a:gd name="T3" fmla="*/ 101 h 320"/>
                <a:gd name="T4" fmla="*/ 100 w 200"/>
                <a:gd name="T5" fmla="*/ 44 h 320"/>
                <a:gd name="T6" fmla="*/ 158 w 200"/>
                <a:gd name="T7" fmla="*/ 101 h 320"/>
                <a:gd name="T8" fmla="*/ 100 w 200"/>
                <a:gd name="T9" fmla="*/ 158 h 320"/>
                <a:gd name="T10" fmla="*/ 100 w 200"/>
                <a:gd name="T11" fmla="*/ 0 h 320"/>
                <a:gd name="T12" fmla="*/ 0 w 200"/>
                <a:gd name="T13" fmla="*/ 100 h 320"/>
                <a:gd name="T14" fmla="*/ 100 w 200"/>
                <a:gd name="T15" fmla="*/ 320 h 320"/>
                <a:gd name="T16" fmla="*/ 200 w 200"/>
                <a:gd name="T17" fmla="*/ 100 h 320"/>
                <a:gd name="T18" fmla="*/ 100 w 200"/>
                <a:gd name="T19"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320">
                  <a:moveTo>
                    <a:pt x="100" y="158"/>
                  </a:moveTo>
                  <a:cubicBezTo>
                    <a:pt x="69" y="158"/>
                    <a:pt x="43" y="133"/>
                    <a:pt x="43" y="101"/>
                  </a:cubicBezTo>
                  <a:cubicBezTo>
                    <a:pt x="43" y="70"/>
                    <a:pt x="69" y="44"/>
                    <a:pt x="100" y="44"/>
                  </a:cubicBezTo>
                  <a:cubicBezTo>
                    <a:pt x="132" y="44"/>
                    <a:pt x="158" y="70"/>
                    <a:pt x="158" y="101"/>
                  </a:cubicBezTo>
                  <a:cubicBezTo>
                    <a:pt x="158" y="133"/>
                    <a:pt x="132" y="158"/>
                    <a:pt x="100" y="158"/>
                  </a:cubicBezTo>
                  <a:close/>
                  <a:moveTo>
                    <a:pt x="100" y="0"/>
                  </a:moveTo>
                  <a:cubicBezTo>
                    <a:pt x="45" y="0"/>
                    <a:pt x="0" y="45"/>
                    <a:pt x="0" y="100"/>
                  </a:cubicBezTo>
                  <a:cubicBezTo>
                    <a:pt x="0" y="195"/>
                    <a:pt x="100" y="320"/>
                    <a:pt x="100" y="320"/>
                  </a:cubicBezTo>
                  <a:cubicBezTo>
                    <a:pt x="100" y="320"/>
                    <a:pt x="200" y="195"/>
                    <a:pt x="200" y="100"/>
                  </a:cubicBezTo>
                  <a:cubicBezTo>
                    <a:pt x="200" y="45"/>
                    <a:pt x="156" y="0"/>
                    <a:pt x="100" y="0"/>
                  </a:cubicBezTo>
                  <a:close/>
                </a:path>
              </a:pathLst>
            </a:custGeom>
            <a:solidFill>
              <a:srgbClr val="AFDBFF"/>
            </a:solidFill>
            <a:ln>
              <a:noFill/>
            </a:ln>
          </p:spPr>
          <p:txBody>
            <a:bodyPr vert="horz" wrap="square" lIns="114268" tIns="57134" rIns="114268" bIns="57134" numCol="1" anchor="t" anchorCtr="0" compatLnSpc="1">
              <a:prstTxWarp prst="textNoShape">
                <a:avLst/>
              </a:prstTxWarp>
            </a:bodyPr>
            <a:lstStyle/>
            <a:p>
              <a:pPr defTabSz="1142585">
                <a:defRPr/>
              </a:pPr>
              <a:endParaRPr lang="en-US" sz="2250" kern="0">
                <a:solidFill>
                  <a:sysClr val="windowText" lastClr="000000"/>
                </a:solidFill>
                <a:latin typeface="Calibri"/>
              </a:endParaRPr>
            </a:p>
          </p:txBody>
        </p:sp>
        <p:sp>
          <p:nvSpPr>
            <p:cNvPr id="30" name="Freeform 163">
              <a:extLst>
                <a:ext uri="{FF2B5EF4-FFF2-40B4-BE49-F238E27FC236}">
                  <a16:creationId xmlns:a16="http://schemas.microsoft.com/office/drawing/2014/main" id="{361C4819-A58E-46A3-9CE0-DA37F563F6D9}"/>
                </a:ext>
              </a:extLst>
            </p:cNvPr>
            <p:cNvSpPr>
              <a:spLocks noEditPoints="1"/>
            </p:cNvSpPr>
            <p:nvPr/>
          </p:nvSpPr>
          <p:spPr bwMode="auto">
            <a:xfrm>
              <a:off x="6790946" y="4062258"/>
              <a:ext cx="225396" cy="360252"/>
            </a:xfrm>
            <a:custGeom>
              <a:avLst/>
              <a:gdLst>
                <a:gd name="T0" fmla="*/ 100 w 200"/>
                <a:gd name="T1" fmla="*/ 158 h 320"/>
                <a:gd name="T2" fmla="*/ 43 w 200"/>
                <a:gd name="T3" fmla="*/ 101 h 320"/>
                <a:gd name="T4" fmla="*/ 100 w 200"/>
                <a:gd name="T5" fmla="*/ 44 h 320"/>
                <a:gd name="T6" fmla="*/ 158 w 200"/>
                <a:gd name="T7" fmla="*/ 101 h 320"/>
                <a:gd name="T8" fmla="*/ 100 w 200"/>
                <a:gd name="T9" fmla="*/ 158 h 320"/>
                <a:gd name="T10" fmla="*/ 100 w 200"/>
                <a:gd name="T11" fmla="*/ 0 h 320"/>
                <a:gd name="T12" fmla="*/ 0 w 200"/>
                <a:gd name="T13" fmla="*/ 100 h 320"/>
                <a:gd name="T14" fmla="*/ 100 w 200"/>
                <a:gd name="T15" fmla="*/ 320 h 320"/>
                <a:gd name="T16" fmla="*/ 200 w 200"/>
                <a:gd name="T17" fmla="*/ 100 h 320"/>
                <a:gd name="T18" fmla="*/ 100 w 200"/>
                <a:gd name="T19"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320">
                  <a:moveTo>
                    <a:pt x="100" y="158"/>
                  </a:moveTo>
                  <a:cubicBezTo>
                    <a:pt x="69" y="158"/>
                    <a:pt x="43" y="133"/>
                    <a:pt x="43" y="101"/>
                  </a:cubicBezTo>
                  <a:cubicBezTo>
                    <a:pt x="43" y="70"/>
                    <a:pt x="69" y="44"/>
                    <a:pt x="100" y="44"/>
                  </a:cubicBezTo>
                  <a:cubicBezTo>
                    <a:pt x="132" y="44"/>
                    <a:pt x="158" y="70"/>
                    <a:pt x="158" y="101"/>
                  </a:cubicBezTo>
                  <a:cubicBezTo>
                    <a:pt x="158" y="133"/>
                    <a:pt x="132" y="158"/>
                    <a:pt x="100" y="158"/>
                  </a:cubicBezTo>
                  <a:close/>
                  <a:moveTo>
                    <a:pt x="100" y="0"/>
                  </a:moveTo>
                  <a:cubicBezTo>
                    <a:pt x="45" y="0"/>
                    <a:pt x="0" y="45"/>
                    <a:pt x="0" y="100"/>
                  </a:cubicBezTo>
                  <a:cubicBezTo>
                    <a:pt x="0" y="195"/>
                    <a:pt x="100" y="320"/>
                    <a:pt x="100" y="320"/>
                  </a:cubicBezTo>
                  <a:cubicBezTo>
                    <a:pt x="100" y="320"/>
                    <a:pt x="200" y="195"/>
                    <a:pt x="200" y="100"/>
                  </a:cubicBezTo>
                  <a:cubicBezTo>
                    <a:pt x="200" y="45"/>
                    <a:pt x="156" y="0"/>
                    <a:pt x="100" y="0"/>
                  </a:cubicBezTo>
                  <a:close/>
                </a:path>
              </a:pathLst>
            </a:custGeom>
            <a:solidFill>
              <a:srgbClr val="FFC000"/>
            </a:solidFill>
            <a:ln>
              <a:noFill/>
            </a:ln>
          </p:spPr>
          <p:txBody>
            <a:bodyPr vert="horz" wrap="square" lIns="114268" tIns="57134" rIns="114268" bIns="57134" numCol="1" anchor="t" anchorCtr="0" compatLnSpc="1">
              <a:prstTxWarp prst="textNoShape">
                <a:avLst/>
              </a:prstTxWarp>
            </a:bodyPr>
            <a:lstStyle/>
            <a:p>
              <a:pPr defTabSz="1142585">
                <a:defRPr/>
              </a:pPr>
              <a:endParaRPr lang="en-US" sz="2250" kern="0">
                <a:solidFill>
                  <a:sysClr val="windowText" lastClr="000000"/>
                </a:solidFill>
                <a:latin typeface="Calibri"/>
              </a:endParaRPr>
            </a:p>
          </p:txBody>
        </p:sp>
        <p:sp>
          <p:nvSpPr>
            <p:cNvPr id="32" name="Freeform 164">
              <a:extLst>
                <a:ext uri="{FF2B5EF4-FFF2-40B4-BE49-F238E27FC236}">
                  <a16:creationId xmlns:a16="http://schemas.microsoft.com/office/drawing/2014/main" id="{55DE0635-B457-4E99-A033-6FE819789CE2}"/>
                </a:ext>
              </a:extLst>
            </p:cNvPr>
            <p:cNvSpPr>
              <a:spLocks noEditPoints="1"/>
            </p:cNvSpPr>
            <p:nvPr/>
          </p:nvSpPr>
          <p:spPr bwMode="auto">
            <a:xfrm>
              <a:off x="2531223" y="3775754"/>
              <a:ext cx="225396" cy="360252"/>
            </a:xfrm>
            <a:custGeom>
              <a:avLst/>
              <a:gdLst>
                <a:gd name="T0" fmla="*/ 100 w 200"/>
                <a:gd name="T1" fmla="*/ 158 h 320"/>
                <a:gd name="T2" fmla="*/ 43 w 200"/>
                <a:gd name="T3" fmla="*/ 101 h 320"/>
                <a:gd name="T4" fmla="*/ 100 w 200"/>
                <a:gd name="T5" fmla="*/ 44 h 320"/>
                <a:gd name="T6" fmla="*/ 158 w 200"/>
                <a:gd name="T7" fmla="*/ 101 h 320"/>
                <a:gd name="T8" fmla="*/ 100 w 200"/>
                <a:gd name="T9" fmla="*/ 158 h 320"/>
                <a:gd name="T10" fmla="*/ 100 w 200"/>
                <a:gd name="T11" fmla="*/ 0 h 320"/>
                <a:gd name="T12" fmla="*/ 0 w 200"/>
                <a:gd name="T13" fmla="*/ 100 h 320"/>
                <a:gd name="T14" fmla="*/ 100 w 200"/>
                <a:gd name="T15" fmla="*/ 320 h 320"/>
                <a:gd name="T16" fmla="*/ 200 w 200"/>
                <a:gd name="T17" fmla="*/ 100 h 320"/>
                <a:gd name="T18" fmla="*/ 100 w 200"/>
                <a:gd name="T19"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320">
                  <a:moveTo>
                    <a:pt x="100" y="158"/>
                  </a:moveTo>
                  <a:cubicBezTo>
                    <a:pt x="69" y="158"/>
                    <a:pt x="43" y="133"/>
                    <a:pt x="43" y="101"/>
                  </a:cubicBezTo>
                  <a:cubicBezTo>
                    <a:pt x="43" y="70"/>
                    <a:pt x="69" y="44"/>
                    <a:pt x="100" y="44"/>
                  </a:cubicBezTo>
                  <a:cubicBezTo>
                    <a:pt x="132" y="44"/>
                    <a:pt x="158" y="70"/>
                    <a:pt x="158" y="101"/>
                  </a:cubicBezTo>
                  <a:cubicBezTo>
                    <a:pt x="158" y="133"/>
                    <a:pt x="132" y="158"/>
                    <a:pt x="100" y="158"/>
                  </a:cubicBezTo>
                  <a:close/>
                  <a:moveTo>
                    <a:pt x="100" y="0"/>
                  </a:moveTo>
                  <a:cubicBezTo>
                    <a:pt x="45" y="0"/>
                    <a:pt x="0" y="45"/>
                    <a:pt x="0" y="100"/>
                  </a:cubicBezTo>
                  <a:cubicBezTo>
                    <a:pt x="0" y="195"/>
                    <a:pt x="100" y="320"/>
                    <a:pt x="100" y="320"/>
                  </a:cubicBezTo>
                  <a:cubicBezTo>
                    <a:pt x="100" y="320"/>
                    <a:pt x="200" y="195"/>
                    <a:pt x="200" y="100"/>
                  </a:cubicBezTo>
                  <a:cubicBezTo>
                    <a:pt x="200" y="45"/>
                    <a:pt x="156" y="0"/>
                    <a:pt x="100" y="0"/>
                  </a:cubicBezTo>
                  <a:close/>
                </a:path>
              </a:pathLst>
            </a:custGeom>
            <a:solidFill>
              <a:srgbClr val="92D050"/>
            </a:solidFill>
            <a:ln>
              <a:noFill/>
            </a:ln>
          </p:spPr>
          <p:txBody>
            <a:bodyPr vert="horz" wrap="square" lIns="114268" tIns="57134" rIns="114268" bIns="57134" numCol="1" anchor="t" anchorCtr="0" compatLnSpc="1">
              <a:prstTxWarp prst="textNoShape">
                <a:avLst/>
              </a:prstTxWarp>
            </a:bodyPr>
            <a:lstStyle/>
            <a:p>
              <a:pPr defTabSz="1142585">
                <a:defRPr/>
              </a:pPr>
              <a:endParaRPr lang="en-US" sz="2250" kern="0">
                <a:solidFill>
                  <a:sysClr val="windowText" lastClr="000000"/>
                </a:solidFill>
                <a:latin typeface="Calibri"/>
              </a:endParaRPr>
            </a:p>
          </p:txBody>
        </p:sp>
        <p:cxnSp>
          <p:nvCxnSpPr>
            <p:cNvPr id="33" name="Straight Connector 32">
              <a:extLst>
                <a:ext uri="{FF2B5EF4-FFF2-40B4-BE49-F238E27FC236}">
                  <a16:creationId xmlns:a16="http://schemas.microsoft.com/office/drawing/2014/main" id="{2D191BED-AD2F-4450-8F65-D476BBA14195}"/>
                </a:ext>
              </a:extLst>
            </p:cNvPr>
            <p:cNvCxnSpPr>
              <a:stCxn id="39" idx="6"/>
              <a:endCxn id="27" idx="2"/>
            </p:cNvCxnSpPr>
            <p:nvPr/>
          </p:nvCxnSpPr>
          <p:spPr>
            <a:xfrm flipV="1">
              <a:off x="1509337" y="2538905"/>
              <a:ext cx="2720676" cy="14913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A632E8A-5EE6-4C54-B07A-E254FCC850C6}"/>
                </a:ext>
              </a:extLst>
            </p:cNvPr>
            <p:cNvCxnSpPr>
              <a:cxnSpLocks/>
              <a:stCxn id="30" idx="7"/>
              <a:endCxn id="26" idx="6"/>
            </p:cNvCxnSpPr>
            <p:nvPr/>
          </p:nvCxnSpPr>
          <p:spPr>
            <a:xfrm flipH="1" flipV="1">
              <a:off x="2713314" y="4131652"/>
              <a:ext cx="4190330" cy="29085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FC8A59C-E751-4F5E-9BDE-675586FF83A5}"/>
                </a:ext>
              </a:extLst>
            </p:cNvPr>
            <p:cNvCxnSpPr>
              <a:stCxn id="26" idx="2"/>
              <a:endCxn id="39" idx="6"/>
            </p:cNvCxnSpPr>
            <p:nvPr/>
          </p:nvCxnSpPr>
          <p:spPr>
            <a:xfrm flipH="1" flipV="1">
              <a:off x="1509338" y="2688041"/>
              <a:ext cx="1065188" cy="144361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C5D5AB58-AB57-4678-A67D-9BDECD65CACD}"/>
                </a:ext>
              </a:extLst>
            </p:cNvPr>
            <p:cNvCxnSpPr>
              <a:stCxn id="39" idx="6"/>
              <a:endCxn id="28" idx="2"/>
            </p:cNvCxnSpPr>
            <p:nvPr/>
          </p:nvCxnSpPr>
          <p:spPr>
            <a:xfrm>
              <a:off x="1509338" y="2688041"/>
              <a:ext cx="5324913" cy="171026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BA0487F2-518D-4932-9617-8C4EB3617F72}"/>
                </a:ext>
              </a:extLst>
            </p:cNvPr>
            <p:cNvGrpSpPr/>
            <p:nvPr/>
          </p:nvGrpSpPr>
          <p:grpSpPr>
            <a:xfrm>
              <a:off x="1304713" y="2552810"/>
              <a:ext cx="270459" cy="270459"/>
              <a:chOff x="981689" y="2177026"/>
              <a:chExt cx="202844" cy="202844"/>
            </a:xfrm>
          </p:grpSpPr>
          <p:sp>
            <p:nvSpPr>
              <p:cNvPr id="38" name="Oval 37">
                <a:extLst>
                  <a:ext uri="{FF2B5EF4-FFF2-40B4-BE49-F238E27FC236}">
                    <a16:creationId xmlns:a16="http://schemas.microsoft.com/office/drawing/2014/main" id="{EB1E7F12-4432-42DD-9D70-D6B877F68545}"/>
                  </a:ext>
                </a:extLst>
              </p:cNvPr>
              <p:cNvSpPr/>
              <p:nvPr/>
            </p:nvSpPr>
            <p:spPr>
              <a:xfrm>
                <a:off x="981689" y="2177026"/>
                <a:ext cx="202844" cy="202844"/>
              </a:xfrm>
              <a:prstGeom prst="ellipse">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42585">
                  <a:defRPr/>
                </a:pPr>
                <a:endParaRPr lang="en-US" sz="2250" kern="0">
                  <a:solidFill>
                    <a:sysClr val="windowText" lastClr="000000"/>
                  </a:solidFill>
                  <a:latin typeface="Calibri"/>
                </a:endParaRPr>
              </a:p>
            </p:txBody>
          </p:sp>
          <p:sp>
            <p:nvSpPr>
              <p:cNvPr id="39" name="Oval 38">
                <a:extLst>
                  <a:ext uri="{FF2B5EF4-FFF2-40B4-BE49-F238E27FC236}">
                    <a16:creationId xmlns:a16="http://schemas.microsoft.com/office/drawing/2014/main" id="{1362D8B8-8D85-4A37-A00B-9626BFDAE484}"/>
                  </a:ext>
                </a:extLst>
              </p:cNvPr>
              <p:cNvSpPr/>
              <p:nvPr/>
            </p:nvSpPr>
            <p:spPr>
              <a:xfrm>
                <a:off x="1031066" y="2226403"/>
                <a:ext cx="104091" cy="10409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42585">
                  <a:defRPr/>
                </a:pPr>
                <a:endParaRPr lang="en-US" sz="2250" kern="0">
                  <a:solidFill>
                    <a:sysClr val="windowText" lastClr="000000"/>
                  </a:solidFill>
                  <a:latin typeface="Calibri"/>
                </a:endParaRPr>
              </a:p>
            </p:txBody>
          </p:sp>
        </p:grpSp>
        <p:sp>
          <p:nvSpPr>
            <p:cNvPr id="40" name="Freeform 6">
              <a:extLst>
                <a:ext uri="{FF2B5EF4-FFF2-40B4-BE49-F238E27FC236}">
                  <a16:creationId xmlns:a16="http://schemas.microsoft.com/office/drawing/2014/main" id="{C39FF92F-2DEE-452B-9C4C-29F987DCBB2F}"/>
                </a:ext>
              </a:extLst>
            </p:cNvPr>
            <p:cNvSpPr>
              <a:spLocks noEditPoints="1"/>
            </p:cNvSpPr>
            <p:nvPr/>
          </p:nvSpPr>
          <p:spPr bwMode="auto">
            <a:xfrm>
              <a:off x="1334625" y="2327788"/>
              <a:ext cx="225396" cy="360252"/>
            </a:xfrm>
            <a:custGeom>
              <a:avLst/>
              <a:gdLst>
                <a:gd name="T0" fmla="*/ 100 w 200"/>
                <a:gd name="T1" fmla="*/ 158 h 320"/>
                <a:gd name="T2" fmla="*/ 43 w 200"/>
                <a:gd name="T3" fmla="*/ 101 h 320"/>
                <a:gd name="T4" fmla="*/ 100 w 200"/>
                <a:gd name="T5" fmla="*/ 44 h 320"/>
                <a:gd name="T6" fmla="*/ 158 w 200"/>
                <a:gd name="T7" fmla="*/ 101 h 320"/>
                <a:gd name="T8" fmla="*/ 100 w 200"/>
                <a:gd name="T9" fmla="*/ 158 h 320"/>
                <a:gd name="T10" fmla="*/ 100 w 200"/>
                <a:gd name="T11" fmla="*/ 0 h 320"/>
                <a:gd name="T12" fmla="*/ 0 w 200"/>
                <a:gd name="T13" fmla="*/ 100 h 320"/>
                <a:gd name="T14" fmla="*/ 100 w 200"/>
                <a:gd name="T15" fmla="*/ 320 h 320"/>
                <a:gd name="T16" fmla="*/ 200 w 200"/>
                <a:gd name="T17" fmla="*/ 100 h 320"/>
                <a:gd name="T18" fmla="*/ 100 w 200"/>
                <a:gd name="T19"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320">
                  <a:moveTo>
                    <a:pt x="100" y="158"/>
                  </a:moveTo>
                  <a:cubicBezTo>
                    <a:pt x="69" y="158"/>
                    <a:pt x="43" y="133"/>
                    <a:pt x="43" y="101"/>
                  </a:cubicBezTo>
                  <a:cubicBezTo>
                    <a:pt x="43" y="70"/>
                    <a:pt x="69" y="44"/>
                    <a:pt x="100" y="44"/>
                  </a:cubicBezTo>
                  <a:cubicBezTo>
                    <a:pt x="132" y="44"/>
                    <a:pt x="158" y="70"/>
                    <a:pt x="158" y="101"/>
                  </a:cubicBezTo>
                  <a:cubicBezTo>
                    <a:pt x="158" y="133"/>
                    <a:pt x="132" y="158"/>
                    <a:pt x="100" y="158"/>
                  </a:cubicBezTo>
                  <a:close/>
                  <a:moveTo>
                    <a:pt x="100" y="0"/>
                  </a:moveTo>
                  <a:cubicBezTo>
                    <a:pt x="45" y="0"/>
                    <a:pt x="0" y="45"/>
                    <a:pt x="0" y="100"/>
                  </a:cubicBezTo>
                  <a:cubicBezTo>
                    <a:pt x="0" y="195"/>
                    <a:pt x="100" y="320"/>
                    <a:pt x="100" y="320"/>
                  </a:cubicBezTo>
                  <a:cubicBezTo>
                    <a:pt x="100" y="320"/>
                    <a:pt x="200" y="195"/>
                    <a:pt x="200" y="100"/>
                  </a:cubicBezTo>
                  <a:cubicBezTo>
                    <a:pt x="200" y="45"/>
                    <a:pt x="156" y="0"/>
                    <a:pt x="100" y="0"/>
                  </a:cubicBezTo>
                  <a:close/>
                </a:path>
              </a:pathLst>
            </a:custGeom>
            <a:solidFill>
              <a:srgbClr val="00B0F0"/>
            </a:solidFill>
            <a:ln>
              <a:noFill/>
            </a:ln>
          </p:spPr>
          <p:txBody>
            <a:bodyPr vert="horz" wrap="square" lIns="114268" tIns="57134" rIns="114268" bIns="57134" numCol="1" anchor="t" anchorCtr="0" compatLnSpc="1">
              <a:prstTxWarp prst="textNoShape">
                <a:avLst/>
              </a:prstTxWarp>
            </a:bodyPr>
            <a:lstStyle/>
            <a:p>
              <a:pPr defTabSz="1142585">
                <a:defRPr/>
              </a:pPr>
              <a:endParaRPr lang="en-US" sz="2250" kern="0">
                <a:solidFill>
                  <a:sysClr val="windowText" lastClr="000000"/>
                </a:solidFill>
                <a:latin typeface="Calibri"/>
              </a:endParaRPr>
            </a:p>
          </p:txBody>
        </p:sp>
        <p:sp>
          <p:nvSpPr>
            <p:cNvPr id="52" name="Oval 51">
              <a:extLst>
                <a:ext uri="{FF2B5EF4-FFF2-40B4-BE49-F238E27FC236}">
                  <a16:creationId xmlns:a16="http://schemas.microsoft.com/office/drawing/2014/main" id="{28879B3F-85BB-4406-88E0-70DB2ED2E997}"/>
                </a:ext>
              </a:extLst>
            </p:cNvPr>
            <p:cNvSpPr/>
            <p:nvPr/>
          </p:nvSpPr>
          <p:spPr>
            <a:xfrm>
              <a:off x="6267394" y="2927185"/>
              <a:ext cx="138788" cy="1387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42585">
                <a:defRPr/>
              </a:pPr>
              <a:endParaRPr lang="en-US" sz="2250" kern="0">
                <a:solidFill>
                  <a:sysClr val="windowText" lastClr="000000"/>
                </a:solidFill>
                <a:latin typeface="Calibri"/>
              </a:endParaRPr>
            </a:p>
          </p:txBody>
        </p:sp>
        <p:cxnSp>
          <p:nvCxnSpPr>
            <p:cNvPr id="53" name="Straight Connector 52">
              <a:extLst>
                <a:ext uri="{FF2B5EF4-FFF2-40B4-BE49-F238E27FC236}">
                  <a16:creationId xmlns:a16="http://schemas.microsoft.com/office/drawing/2014/main" id="{E46B05A3-E78E-4622-B17A-AB8842930394}"/>
                </a:ext>
              </a:extLst>
            </p:cNvPr>
            <p:cNvCxnSpPr>
              <a:cxnSpLocks/>
              <a:stCxn id="30" idx="7"/>
              <a:endCxn id="51" idx="7"/>
            </p:cNvCxnSpPr>
            <p:nvPr/>
          </p:nvCxnSpPr>
          <p:spPr>
            <a:xfrm flipH="1" flipV="1">
              <a:off x="6336788" y="3014917"/>
              <a:ext cx="566856" cy="140759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1" name="Freeform 162">
              <a:extLst>
                <a:ext uri="{FF2B5EF4-FFF2-40B4-BE49-F238E27FC236}">
                  <a16:creationId xmlns:a16="http://schemas.microsoft.com/office/drawing/2014/main" id="{38BCCE14-E3FC-4EA8-99DD-D48EFFF8ED03}"/>
                </a:ext>
              </a:extLst>
            </p:cNvPr>
            <p:cNvSpPr>
              <a:spLocks noEditPoints="1"/>
            </p:cNvSpPr>
            <p:nvPr/>
          </p:nvSpPr>
          <p:spPr bwMode="auto">
            <a:xfrm>
              <a:off x="6224090" y="2654665"/>
              <a:ext cx="225396" cy="360252"/>
            </a:xfrm>
            <a:custGeom>
              <a:avLst/>
              <a:gdLst>
                <a:gd name="T0" fmla="*/ 100 w 200"/>
                <a:gd name="T1" fmla="*/ 158 h 320"/>
                <a:gd name="T2" fmla="*/ 43 w 200"/>
                <a:gd name="T3" fmla="*/ 101 h 320"/>
                <a:gd name="T4" fmla="*/ 100 w 200"/>
                <a:gd name="T5" fmla="*/ 44 h 320"/>
                <a:gd name="T6" fmla="*/ 158 w 200"/>
                <a:gd name="T7" fmla="*/ 101 h 320"/>
                <a:gd name="T8" fmla="*/ 100 w 200"/>
                <a:gd name="T9" fmla="*/ 158 h 320"/>
                <a:gd name="T10" fmla="*/ 100 w 200"/>
                <a:gd name="T11" fmla="*/ 0 h 320"/>
                <a:gd name="T12" fmla="*/ 0 w 200"/>
                <a:gd name="T13" fmla="*/ 100 h 320"/>
                <a:gd name="T14" fmla="*/ 100 w 200"/>
                <a:gd name="T15" fmla="*/ 320 h 320"/>
                <a:gd name="T16" fmla="*/ 200 w 200"/>
                <a:gd name="T17" fmla="*/ 100 h 320"/>
                <a:gd name="T18" fmla="*/ 100 w 200"/>
                <a:gd name="T19"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320">
                  <a:moveTo>
                    <a:pt x="100" y="158"/>
                  </a:moveTo>
                  <a:cubicBezTo>
                    <a:pt x="69" y="158"/>
                    <a:pt x="43" y="133"/>
                    <a:pt x="43" y="101"/>
                  </a:cubicBezTo>
                  <a:cubicBezTo>
                    <a:pt x="43" y="70"/>
                    <a:pt x="69" y="44"/>
                    <a:pt x="100" y="44"/>
                  </a:cubicBezTo>
                  <a:cubicBezTo>
                    <a:pt x="132" y="44"/>
                    <a:pt x="158" y="70"/>
                    <a:pt x="158" y="101"/>
                  </a:cubicBezTo>
                  <a:cubicBezTo>
                    <a:pt x="158" y="133"/>
                    <a:pt x="132" y="158"/>
                    <a:pt x="100" y="158"/>
                  </a:cubicBezTo>
                  <a:close/>
                  <a:moveTo>
                    <a:pt x="100" y="0"/>
                  </a:moveTo>
                  <a:cubicBezTo>
                    <a:pt x="45" y="0"/>
                    <a:pt x="0" y="45"/>
                    <a:pt x="0" y="100"/>
                  </a:cubicBezTo>
                  <a:cubicBezTo>
                    <a:pt x="0" y="195"/>
                    <a:pt x="100" y="320"/>
                    <a:pt x="100" y="320"/>
                  </a:cubicBezTo>
                  <a:cubicBezTo>
                    <a:pt x="100" y="320"/>
                    <a:pt x="200" y="195"/>
                    <a:pt x="200" y="100"/>
                  </a:cubicBezTo>
                  <a:cubicBezTo>
                    <a:pt x="200" y="45"/>
                    <a:pt x="156" y="0"/>
                    <a:pt x="100" y="0"/>
                  </a:cubicBezTo>
                  <a:close/>
                </a:path>
              </a:pathLst>
            </a:custGeom>
            <a:solidFill>
              <a:schemeClr val="accent4">
                <a:lumMod val="60000"/>
                <a:lumOff val="40000"/>
              </a:schemeClr>
            </a:solidFill>
            <a:ln>
              <a:noFill/>
            </a:ln>
          </p:spPr>
          <p:txBody>
            <a:bodyPr vert="horz" wrap="square" lIns="114268" tIns="57134" rIns="114268" bIns="57134" numCol="1" anchor="t" anchorCtr="0" compatLnSpc="1">
              <a:prstTxWarp prst="textNoShape">
                <a:avLst/>
              </a:prstTxWarp>
            </a:bodyPr>
            <a:lstStyle/>
            <a:p>
              <a:pPr defTabSz="1142585">
                <a:defRPr/>
              </a:pPr>
              <a:endParaRPr lang="en-US" sz="2250" kern="0">
                <a:solidFill>
                  <a:sysClr val="windowText" lastClr="000000"/>
                </a:solidFill>
                <a:latin typeface="Calibri"/>
              </a:endParaRPr>
            </a:p>
          </p:txBody>
        </p:sp>
        <p:cxnSp>
          <p:nvCxnSpPr>
            <p:cNvPr id="54" name="Straight Connector 53">
              <a:extLst>
                <a:ext uri="{FF2B5EF4-FFF2-40B4-BE49-F238E27FC236}">
                  <a16:creationId xmlns:a16="http://schemas.microsoft.com/office/drawing/2014/main" id="{B78B03B2-3152-46DD-AE96-495A981DE9F3}"/>
                </a:ext>
              </a:extLst>
            </p:cNvPr>
            <p:cNvCxnSpPr>
              <a:cxnSpLocks/>
              <a:stCxn id="52" idx="2"/>
              <a:endCxn id="27" idx="6"/>
            </p:cNvCxnSpPr>
            <p:nvPr/>
          </p:nvCxnSpPr>
          <p:spPr>
            <a:xfrm flipH="1" flipV="1">
              <a:off x="4368801" y="2538905"/>
              <a:ext cx="1898593" cy="45767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1" name="Rectangle 30">
            <a:extLst>
              <a:ext uri="{FF2B5EF4-FFF2-40B4-BE49-F238E27FC236}">
                <a16:creationId xmlns:a16="http://schemas.microsoft.com/office/drawing/2014/main" id="{39DF2E60-AA1E-4E1A-ACB4-18351A360702}"/>
              </a:ext>
            </a:extLst>
          </p:cNvPr>
          <p:cNvSpPr/>
          <p:nvPr/>
        </p:nvSpPr>
        <p:spPr bwMode="auto">
          <a:xfrm rot="16200000">
            <a:off x="5168366" y="-4359912"/>
            <a:ext cx="1855269" cy="1142837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68056" tIns="134445" rIns="168056" bIns="134445" numCol="1" spcCol="0" rtlCol="0" fromWordArt="0" anchor="t" anchorCtr="0" forceAA="0" compatLnSpc="1">
            <a:prstTxWarp prst="textNoShape">
              <a:avLst/>
            </a:prstTxWarp>
            <a:noAutofit/>
          </a:bodyPr>
          <a:lstStyle/>
          <a:p>
            <a:pPr algn="ctr" defTabSz="856845" fontAlgn="base">
              <a:lnSpc>
                <a:spcPct val="90000"/>
              </a:lnSpc>
              <a:spcBef>
                <a:spcPct val="0"/>
              </a:spcBef>
              <a:spcAft>
                <a:spcPct val="0"/>
              </a:spcAft>
              <a:defRPr/>
            </a:pPr>
            <a:endParaRPr lang="en-US" sz="2206"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Title 1">
            <a:extLst>
              <a:ext uri="{FF2B5EF4-FFF2-40B4-BE49-F238E27FC236}">
                <a16:creationId xmlns:a16="http://schemas.microsoft.com/office/drawing/2014/main" id="{435E45D8-DD41-4FEF-9443-94FFB8EF4451}"/>
              </a:ext>
            </a:extLst>
          </p:cNvPr>
          <p:cNvSpPr txBox="1">
            <a:spLocks/>
          </p:cNvSpPr>
          <p:nvPr/>
        </p:nvSpPr>
        <p:spPr>
          <a:xfrm>
            <a:off x="564164" y="584838"/>
            <a:ext cx="11078264" cy="856970"/>
          </a:xfrm>
          <a:prstGeom prst="rect">
            <a:avLst/>
          </a:prstGeom>
          <a:noFill/>
        </p:spPr>
        <p:txBody>
          <a:bodyPr wrap="square" tIns="84027" bIns="84027"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857094">
              <a:defRPr/>
            </a:pPr>
            <a:r>
              <a:rPr lang="en-US" sz="4962" spc="-92" dirty="0">
                <a:gradFill>
                  <a:gsLst>
                    <a:gs pos="0">
                      <a:srgbClr val="FFFFFF"/>
                    </a:gs>
                    <a:gs pos="100000">
                      <a:srgbClr val="FFFFFF"/>
                    </a:gs>
                  </a:gsLst>
                  <a:lin ang="5400000" scaled="0"/>
                </a:gradFill>
                <a:latin typeface="Segoe UI Light"/>
              </a:rPr>
              <a:t>Azure Cosmos DB</a:t>
            </a:r>
          </a:p>
        </p:txBody>
      </p:sp>
      <p:sp>
        <p:nvSpPr>
          <p:cNvPr id="50" name="Title 1">
            <a:extLst>
              <a:ext uri="{FF2B5EF4-FFF2-40B4-BE49-F238E27FC236}">
                <a16:creationId xmlns:a16="http://schemas.microsoft.com/office/drawing/2014/main" id="{9DA7411C-F06C-4E29-93AB-6F731F172E8D}"/>
              </a:ext>
            </a:extLst>
          </p:cNvPr>
          <p:cNvSpPr txBox="1">
            <a:spLocks/>
          </p:cNvSpPr>
          <p:nvPr/>
        </p:nvSpPr>
        <p:spPr>
          <a:xfrm>
            <a:off x="2992624" y="1325368"/>
            <a:ext cx="6313566" cy="526109"/>
          </a:xfrm>
          <a:prstGeom prst="rect">
            <a:avLst/>
          </a:prstGeom>
          <a:noFill/>
        </p:spPr>
        <p:txBody>
          <a:bodyPr wrap="square" tIns="84027" bIns="84027"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874318">
              <a:defRPr/>
            </a:pPr>
            <a:r>
              <a:rPr lang="en-US" sz="2573" spc="0" dirty="0">
                <a:solidFill>
                  <a:srgbClr val="0078D7">
                    <a:lumMod val="20000"/>
                    <a:lumOff val="80000"/>
                  </a:srgbClr>
                </a:solidFill>
                <a:latin typeface="Segoe UI" panose="020B0502040204020203" pitchFamily="34" charset="0"/>
              </a:rPr>
              <a:t>Globally-distribute data around the world</a:t>
            </a:r>
            <a:endParaRPr lang="en-US" sz="3675" spc="0" dirty="0">
              <a:solidFill>
                <a:srgbClr val="0078D7">
                  <a:lumMod val="20000"/>
                  <a:lumOff val="80000"/>
                </a:srgbClr>
              </a:solidFill>
              <a:latin typeface="Segoe UI" panose="020B0502040204020203" pitchFamily="34" charset="0"/>
            </a:endParaRPr>
          </a:p>
        </p:txBody>
      </p:sp>
      <p:sp>
        <p:nvSpPr>
          <p:cNvPr id="25" name="Rectangle 24">
            <a:extLst>
              <a:ext uri="{FF2B5EF4-FFF2-40B4-BE49-F238E27FC236}">
                <a16:creationId xmlns:a16="http://schemas.microsoft.com/office/drawing/2014/main" id="{4ABFAEA4-8AD6-4719-84B0-569801BEF51D}"/>
              </a:ext>
            </a:extLst>
          </p:cNvPr>
          <p:cNvSpPr/>
          <p:nvPr/>
        </p:nvSpPr>
        <p:spPr bwMode="auto">
          <a:xfrm rot="16200000">
            <a:off x="6014326" y="-3350601"/>
            <a:ext cx="163350" cy="11428379"/>
          </a:xfrm>
          <a:prstGeom prst="rect">
            <a:avLst/>
          </a:prstGeom>
          <a:gradFill flip="none" rotWithShape="1">
            <a:gsLst>
              <a:gs pos="0">
                <a:srgbClr val="002050">
                  <a:alpha val="47000"/>
                </a:srgbClr>
              </a:gs>
              <a:gs pos="100000">
                <a:srgbClr val="002050">
                  <a:alpha val="0"/>
                </a:srgbClr>
              </a:gs>
            </a:gsLst>
            <a:lin ang="108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68056" tIns="134445" rIns="168056" bIns="134445" numCol="1" spcCol="0" rtlCol="0" fromWordArt="0" anchor="t" anchorCtr="0" forceAA="0" compatLnSpc="1">
            <a:prstTxWarp prst="textNoShape">
              <a:avLst/>
            </a:prstTxWarp>
            <a:noAutofit/>
          </a:bodyPr>
          <a:lstStyle/>
          <a:p>
            <a:pPr algn="ctr" defTabSz="856845" fontAlgn="base">
              <a:lnSpc>
                <a:spcPct val="90000"/>
              </a:lnSpc>
              <a:spcBef>
                <a:spcPct val="0"/>
              </a:spcBef>
              <a:spcAft>
                <a:spcPct val="0"/>
              </a:spcAft>
              <a:defRPr/>
            </a:pPr>
            <a:endParaRPr lang="en-US" sz="2206"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1" name="Title 1">
            <a:extLst/>
          </p:cNvPr>
          <p:cNvSpPr txBox="1">
            <a:spLocks/>
          </p:cNvSpPr>
          <p:nvPr/>
        </p:nvSpPr>
        <p:spPr>
          <a:xfrm>
            <a:off x="611976" y="4796310"/>
            <a:ext cx="2691353" cy="882410"/>
          </a:xfrm>
          <a:prstGeom prst="rect">
            <a:avLst/>
          </a:prstGeom>
          <a:noFill/>
        </p:spPr>
        <p:txBody>
          <a:bodyPr wrap="square" tIns="84027" bIns="84027"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874318">
              <a:defRPr/>
            </a:pPr>
            <a:r>
              <a:rPr lang="en-US" sz="2573" spc="0" dirty="0">
                <a:solidFill>
                  <a:srgbClr val="0078D7">
                    <a:lumMod val="20000"/>
                    <a:lumOff val="80000"/>
                  </a:srgbClr>
                </a:solidFill>
                <a:latin typeface="Segoe UI" panose="020B0502040204020203" pitchFamily="34" charset="0"/>
              </a:rPr>
              <a:t>Turn-key global distribution</a:t>
            </a:r>
            <a:endParaRPr lang="en-US" sz="3675" spc="0" dirty="0">
              <a:solidFill>
                <a:srgbClr val="0078D7">
                  <a:lumMod val="20000"/>
                  <a:lumOff val="80000"/>
                </a:srgbClr>
              </a:solidFill>
              <a:latin typeface="Segoe UI" panose="020B0502040204020203" pitchFamily="34" charset="0"/>
            </a:endParaRPr>
          </a:p>
        </p:txBody>
      </p:sp>
      <p:cxnSp>
        <p:nvCxnSpPr>
          <p:cNvPr id="4" name="Straight Connector 3"/>
          <p:cNvCxnSpPr>
            <a:endCxn id="38" idx="2"/>
          </p:cNvCxnSpPr>
          <p:nvPr/>
        </p:nvCxnSpPr>
        <p:spPr>
          <a:xfrm flipV="1">
            <a:off x="951189" y="3447332"/>
            <a:ext cx="1958892" cy="144086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V="1">
            <a:off x="3025337" y="3590188"/>
            <a:ext cx="27598" cy="137566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866855" y="6493982"/>
            <a:ext cx="10130743" cy="305938"/>
          </a:xfrm>
          <a:prstGeom prst="rect">
            <a:avLst/>
          </a:prstGeom>
          <a:noFill/>
        </p:spPr>
        <p:txBody>
          <a:bodyPr wrap="square" rtlCol="0">
            <a:spAutoFit/>
          </a:bodyPr>
          <a:lstStyle/>
          <a:p>
            <a:pPr algn="ctr" defTabSz="914225"/>
            <a:r>
              <a:rPr lang="en-US" sz="1400" b="1" kern="0" dirty="0">
                <a:solidFill>
                  <a:prstClr val="white"/>
                </a:solidFill>
                <a:latin typeface="Segoe UI Semibold" charset="0"/>
                <a:ea typeface="Segoe UI Semibold" charset="0"/>
                <a:cs typeface="Segoe UI Semibold" charset="0"/>
              </a:rPr>
              <a:t>Automatically replicate all your data around the world – across more regions than Amazon and Google combined</a:t>
            </a:r>
          </a:p>
        </p:txBody>
      </p:sp>
    </p:spTree>
    <p:extLst>
      <p:ext uri="{BB962C8B-B14F-4D97-AF65-F5344CB8AC3E}">
        <p14:creationId xmlns:p14="http://schemas.microsoft.com/office/powerpoint/2010/main" val="38525914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7315200"/>
          </a:xfrm>
          <a:prstGeom prst="rect">
            <a:avLst/>
          </a:prstGeom>
        </p:spPr>
      </p:pic>
      <p:sp>
        <p:nvSpPr>
          <p:cNvPr id="5" name="Rectangle 22"/>
          <p:cNvSpPr>
            <a:spLocks noChangeArrowheads="1"/>
          </p:cNvSpPr>
          <p:nvPr/>
        </p:nvSpPr>
        <p:spPr bwMode="auto">
          <a:xfrm>
            <a:off x="4125499" y="575154"/>
            <a:ext cx="3425618"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defTabSz="1219170" fontAlgn="base">
              <a:spcBef>
                <a:spcPct val="0"/>
              </a:spcBef>
              <a:spcAft>
                <a:spcPct val="0"/>
              </a:spcAft>
            </a:pPr>
            <a:r>
              <a:rPr lang="en-US" sz="6600" kern="0" dirty="0">
                <a:solidFill>
                  <a:schemeClr val="bg1"/>
                </a:solidFill>
                <a:latin typeface="Segoe UI Light" panose="020B0502040204020203" pitchFamily="34" charset="0"/>
                <a:cs typeface="Segoe UI Light" panose="020B0502040204020203" pitchFamily="34" charset="0"/>
              </a:rPr>
              <a:t>Roadmap</a:t>
            </a:r>
          </a:p>
        </p:txBody>
      </p:sp>
      <p:sp>
        <p:nvSpPr>
          <p:cNvPr id="6" name="Rectangle 22"/>
          <p:cNvSpPr>
            <a:spLocks noChangeArrowheads="1"/>
          </p:cNvSpPr>
          <p:nvPr/>
        </p:nvSpPr>
        <p:spPr bwMode="auto">
          <a:xfrm>
            <a:off x="3323855" y="4527454"/>
            <a:ext cx="5017399"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defTabSz="1219170" fontAlgn="base">
              <a:spcBef>
                <a:spcPct val="0"/>
              </a:spcBef>
              <a:spcAft>
                <a:spcPct val="0"/>
              </a:spcAft>
            </a:pPr>
            <a:r>
              <a:rPr lang="en-US" sz="4400" kern="0" dirty="0">
                <a:solidFill>
                  <a:schemeClr val="bg1"/>
                </a:solidFill>
                <a:latin typeface="Segoe UI Light" panose="020B0502040204020203" pitchFamily="34" charset="0"/>
                <a:cs typeface="Segoe UI Light" panose="020B0502040204020203" pitchFamily="34" charset="0"/>
              </a:rPr>
              <a:t>What is Cosmos DB?</a:t>
            </a:r>
          </a:p>
        </p:txBody>
      </p:sp>
      <p:sp>
        <p:nvSpPr>
          <p:cNvPr id="7" name="Rectangle 22"/>
          <p:cNvSpPr>
            <a:spLocks noChangeArrowheads="1"/>
          </p:cNvSpPr>
          <p:nvPr/>
        </p:nvSpPr>
        <p:spPr bwMode="auto">
          <a:xfrm>
            <a:off x="3982175" y="5422948"/>
            <a:ext cx="4183838"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defTabSz="1219170" fontAlgn="base">
              <a:spcBef>
                <a:spcPct val="0"/>
              </a:spcBef>
              <a:spcAft>
                <a:spcPct val="0"/>
              </a:spcAft>
            </a:pPr>
            <a:r>
              <a:rPr lang="en-US" sz="4400" kern="0" dirty="0">
                <a:solidFill>
                  <a:schemeClr val="bg1"/>
                </a:solidFill>
                <a:latin typeface="Segoe UI Light" panose="020B0502040204020203" pitchFamily="34" charset="0"/>
                <a:cs typeface="Segoe UI Light" panose="020B0502040204020203" pitchFamily="34" charset="0"/>
              </a:rPr>
              <a:t>Why Cosmos DB?</a:t>
            </a:r>
          </a:p>
        </p:txBody>
      </p:sp>
      <p:sp>
        <p:nvSpPr>
          <p:cNvPr id="8" name="Rectangle 22"/>
          <p:cNvSpPr>
            <a:spLocks noChangeArrowheads="1"/>
          </p:cNvSpPr>
          <p:nvPr/>
        </p:nvSpPr>
        <p:spPr bwMode="auto">
          <a:xfrm>
            <a:off x="3957330" y="6318442"/>
            <a:ext cx="3866444"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defTabSz="1219170" fontAlgn="base">
              <a:spcBef>
                <a:spcPct val="0"/>
              </a:spcBef>
              <a:spcAft>
                <a:spcPct val="0"/>
              </a:spcAft>
            </a:pPr>
            <a:r>
              <a:rPr lang="en-US" sz="4400" kern="0" dirty="0">
                <a:solidFill>
                  <a:schemeClr val="bg1"/>
                </a:solidFill>
                <a:latin typeface="Segoe UI Light" panose="020B0502040204020203" pitchFamily="34" charset="0"/>
                <a:cs typeface="Segoe UI Light" panose="020B0502040204020203" pitchFamily="34" charset="0"/>
              </a:rPr>
              <a:t>Core capabilities</a:t>
            </a:r>
          </a:p>
        </p:txBody>
      </p:sp>
      <p:sp>
        <p:nvSpPr>
          <p:cNvPr id="9" name="Rectangle 22"/>
          <p:cNvSpPr>
            <a:spLocks noChangeArrowheads="1"/>
          </p:cNvSpPr>
          <p:nvPr/>
        </p:nvSpPr>
        <p:spPr bwMode="auto">
          <a:xfrm>
            <a:off x="3357522" y="3741153"/>
            <a:ext cx="4950073"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defTabSz="1219170" fontAlgn="base">
              <a:spcBef>
                <a:spcPct val="0"/>
              </a:spcBef>
              <a:spcAft>
                <a:spcPct val="0"/>
              </a:spcAft>
            </a:pPr>
            <a:r>
              <a:rPr lang="en-US" sz="4400" kern="0" dirty="0">
                <a:solidFill>
                  <a:schemeClr val="bg1"/>
                </a:solidFill>
                <a:latin typeface="Segoe UI Light" panose="020B0502040204020203" pitchFamily="34" charset="0"/>
                <a:cs typeface="Segoe UI Light" panose="020B0502040204020203" pitchFamily="34" charset="0"/>
              </a:rPr>
              <a:t>Customers/Scenarios</a:t>
            </a:r>
          </a:p>
        </p:txBody>
      </p:sp>
    </p:spTree>
    <p:extLst>
      <p:ext uri="{BB962C8B-B14F-4D97-AF65-F5344CB8AC3E}">
        <p14:creationId xmlns:p14="http://schemas.microsoft.com/office/powerpoint/2010/main" val="13624341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p>
            <a:r>
              <a:rPr lang="en-US" dirty="0"/>
              <a:t>Global distribution from the ground-up</a:t>
            </a:r>
          </a:p>
        </p:txBody>
      </p:sp>
      <p:pic>
        <p:nvPicPr>
          <p:cNvPr id="5" name="Screen Shot 2016-12-22 at 11.35.38.png" descr="Screen Shot 2016-12-22 at 11.35.38.png"/>
          <p:cNvPicPr>
            <a:picLocks noChangeAspect="1"/>
          </p:cNvPicPr>
          <p:nvPr/>
        </p:nvPicPr>
        <p:blipFill>
          <a:blip r:embed="rId3">
            <a:extLst/>
          </a:blip>
          <a:stretch>
            <a:fillRect/>
          </a:stretch>
        </p:blipFill>
        <p:spPr>
          <a:xfrm>
            <a:off x="526190" y="2342067"/>
            <a:ext cx="6098003" cy="3858565"/>
          </a:xfrm>
          <a:prstGeom prst="roundRect">
            <a:avLst>
              <a:gd name="adj" fmla="val 4181"/>
            </a:avLst>
          </a:prstGeom>
          <a:ln w="12700">
            <a:miter lim="400000"/>
          </a:ln>
        </p:spPr>
      </p:pic>
      <p:sp>
        <p:nvSpPr>
          <p:cNvPr id="7" name="Title 1">
            <a:extLst/>
          </p:cNvPr>
          <p:cNvSpPr txBox="1">
            <a:spLocks/>
          </p:cNvSpPr>
          <p:nvPr/>
        </p:nvSpPr>
        <p:spPr>
          <a:xfrm>
            <a:off x="2361930" y="5535424"/>
            <a:ext cx="2212307" cy="339181"/>
          </a:xfrm>
          <a:prstGeom prst="rect">
            <a:avLst/>
          </a:prstGeom>
          <a:noFill/>
        </p:spPr>
        <p:txBody>
          <a:bodyPr wrap="square" tIns="84015" bIns="84015" anchor="t"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874150">
              <a:defRPr/>
            </a:pPr>
            <a:r>
              <a:rPr lang="en-US" sz="1200" spc="0" dirty="0">
                <a:solidFill>
                  <a:srgbClr val="0078D7"/>
                </a:solidFill>
                <a:latin typeface="Segoe UI" panose="020B0502040204020203" pitchFamily="34" charset="0"/>
              </a:rPr>
              <a:t>Turnkey Global distribution </a:t>
            </a:r>
          </a:p>
        </p:txBody>
      </p:sp>
      <p:cxnSp>
        <p:nvCxnSpPr>
          <p:cNvPr id="9" name="Straight Connector 8"/>
          <p:cNvCxnSpPr>
            <a:cxnSpLocks/>
            <a:stCxn id="7" idx="0"/>
          </p:cNvCxnSpPr>
          <p:nvPr/>
        </p:nvCxnSpPr>
        <p:spPr>
          <a:xfrm flipH="1" flipV="1">
            <a:off x="2151870" y="3862211"/>
            <a:ext cx="1316213" cy="1673213"/>
          </a:xfrm>
          <a:prstGeom prst="line">
            <a:avLst/>
          </a:prstGeom>
          <a:ln w="15875">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8" name="Content Placeholder 1"/>
          <p:cNvSpPr>
            <a:spLocks noGrp="1"/>
          </p:cNvSpPr>
          <p:nvPr>
            <p:ph type="body" sz="quarter" idx="10"/>
          </p:nvPr>
        </p:nvSpPr>
        <p:spPr>
          <a:xfrm>
            <a:off x="7556294" y="1829059"/>
            <a:ext cx="4482464" cy="5053883"/>
          </a:xfrm>
        </p:spPr>
        <p:txBody>
          <a:bodyPr>
            <a:normAutofit/>
          </a:bodyPr>
          <a:lstStyle/>
          <a:p>
            <a:pPr marL="0" indent="0">
              <a:lnSpc>
                <a:spcPct val="120000"/>
              </a:lnSpc>
              <a:buNone/>
            </a:pPr>
            <a:r>
              <a:rPr lang="en-US" sz="1400" b="1" dirty="0">
                <a:latin typeface="+mn-lt"/>
              </a:rPr>
              <a:t>Transparent and automatic multi-region replication</a:t>
            </a:r>
          </a:p>
          <a:p>
            <a:pPr>
              <a:lnSpc>
                <a:spcPct val="120000"/>
              </a:lnSpc>
              <a:spcBef>
                <a:spcPts val="0"/>
              </a:spcBef>
            </a:pPr>
            <a:r>
              <a:rPr lang="en-US" sz="1300" dirty="0">
                <a:latin typeface="+mn-lt"/>
              </a:rPr>
              <a:t>Associate </a:t>
            </a:r>
            <a:r>
              <a:rPr lang="en-US" sz="1300" b="1" dirty="0">
                <a:latin typeface="+mn-lt"/>
              </a:rPr>
              <a:t>any</a:t>
            </a:r>
            <a:r>
              <a:rPr lang="en-US" sz="1300" dirty="0">
                <a:latin typeface="+mn-lt"/>
              </a:rPr>
              <a:t> number of geographical regions with your database account, </a:t>
            </a:r>
            <a:r>
              <a:rPr lang="en-US" sz="1300" b="1" dirty="0">
                <a:latin typeface="+mn-lt"/>
              </a:rPr>
              <a:t>at any time</a:t>
            </a:r>
          </a:p>
          <a:p>
            <a:pPr>
              <a:lnSpc>
                <a:spcPct val="120000"/>
              </a:lnSpc>
              <a:spcBef>
                <a:spcPts val="600"/>
              </a:spcBef>
            </a:pPr>
            <a:r>
              <a:rPr lang="en-US" sz="1300" dirty="0">
                <a:latin typeface="+mn-lt"/>
              </a:rPr>
              <a:t>Policy based geo-fencing</a:t>
            </a:r>
          </a:p>
          <a:p>
            <a:pPr marL="0" indent="0">
              <a:lnSpc>
                <a:spcPct val="120000"/>
              </a:lnSpc>
              <a:buNone/>
            </a:pPr>
            <a:r>
              <a:rPr lang="en-US" sz="1400" b="1" dirty="0">
                <a:latin typeface="+mn-lt"/>
              </a:rPr>
              <a:t>Multi-homing APIs</a:t>
            </a:r>
          </a:p>
          <a:p>
            <a:pPr>
              <a:lnSpc>
                <a:spcPct val="120000"/>
              </a:lnSpc>
              <a:spcBef>
                <a:spcPts val="0"/>
              </a:spcBef>
            </a:pPr>
            <a:r>
              <a:rPr lang="en-US" sz="1300" dirty="0">
                <a:latin typeface="+mn-lt"/>
              </a:rPr>
              <a:t>All endpoints are logical, by default</a:t>
            </a:r>
          </a:p>
          <a:p>
            <a:pPr>
              <a:lnSpc>
                <a:spcPct val="120000"/>
              </a:lnSpc>
              <a:spcBef>
                <a:spcPts val="600"/>
              </a:spcBef>
            </a:pPr>
            <a:r>
              <a:rPr lang="en-US" sz="1300" dirty="0">
                <a:latin typeface="+mn-lt"/>
              </a:rPr>
              <a:t>Apps don’t need to be redeployed during regional failover</a:t>
            </a:r>
          </a:p>
          <a:p>
            <a:pPr>
              <a:lnSpc>
                <a:spcPct val="120000"/>
              </a:lnSpc>
              <a:spcBef>
                <a:spcPts val="600"/>
              </a:spcBef>
            </a:pPr>
            <a:r>
              <a:rPr lang="en-US" sz="1300" dirty="0">
                <a:latin typeface="+mn-lt"/>
              </a:rPr>
              <a:t>Apps can also access physical endpoints if needed</a:t>
            </a:r>
          </a:p>
          <a:p>
            <a:pPr marL="0" indent="0">
              <a:lnSpc>
                <a:spcPct val="120000"/>
              </a:lnSpc>
              <a:buNone/>
            </a:pPr>
            <a:r>
              <a:rPr lang="en-US" sz="1400" b="1" dirty="0">
                <a:latin typeface="+mn-lt"/>
              </a:rPr>
              <a:t>Designed for high availability</a:t>
            </a:r>
          </a:p>
          <a:p>
            <a:pPr>
              <a:lnSpc>
                <a:spcPct val="120000"/>
              </a:lnSpc>
              <a:spcBef>
                <a:spcPts val="0"/>
              </a:spcBef>
            </a:pPr>
            <a:r>
              <a:rPr lang="en-US" sz="1300" dirty="0">
                <a:latin typeface="+mn-lt"/>
              </a:rPr>
              <a:t>Allows for dynamically setting </a:t>
            </a:r>
            <a:r>
              <a:rPr lang="en-US" sz="1300" b="1" dirty="0">
                <a:latin typeface="+mn-lt"/>
              </a:rPr>
              <a:t>priorities</a:t>
            </a:r>
            <a:r>
              <a:rPr lang="en-US" sz="1300" dirty="0">
                <a:latin typeface="+mn-lt"/>
              </a:rPr>
              <a:t> to regions</a:t>
            </a:r>
          </a:p>
          <a:p>
            <a:pPr>
              <a:lnSpc>
                <a:spcPct val="120000"/>
              </a:lnSpc>
              <a:spcBef>
                <a:spcPts val="600"/>
              </a:spcBef>
            </a:pPr>
            <a:r>
              <a:rPr lang="en-US" sz="1300" dirty="0">
                <a:latin typeface="+mn-lt"/>
              </a:rPr>
              <a:t>Test the </a:t>
            </a:r>
            <a:r>
              <a:rPr lang="en-US" sz="1300" b="1" dirty="0">
                <a:latin typeface="+mn-lt"/>
              </a:rPr>
              <a:t>end-to-end availability </a:t>
            </a:r>
            <a:r>
              <a:rPr lang="en-US" sz="1300" dirty="0">
                <a:latin typeface="+mn-lt"/>
              </a:rPr>
              <a:t>for the entire app (beyond just the database) by simulating regional disasters (via API)</a:t>
            </a:r>
          </a:p>
          <a:p>
            <a:pPr>
              <a:lnSpc>
                <a:spcPct val="120000"/>
              </a:lnSpc>
              <a:spcBef>
                <a:spcPts val="600"/>
              </a:spcBef>
            </a:pPr>
            <a:r>
              <a:rPr lang="en-US" sz="1200" dirty="0"/>
              <a:t>Support for both </a:t>
            </a:r>
            <a:r>
              <a:rPr lang="en-US" sz="1200" b="1" dirty="0"/>
              <a:t>policy based (manual and automatic) failover</a:t>
            </a:r>
          </a:p>
          <a:p>
            <a:pPr>
              <a:lnSpc>
                <a:spcPct val="120000"/>
              </a:lnSpc>
              <a:spcBef>
                <a:spcPts val="600"/>
              </a:spcBef>
            </a:pPr>
            <a:endParaRPr lang="en-US" sz="1300" dirty="0">
              <a:latin typeface="+mn-lt"/>
            </a:endParaRPr>
          </a:p>
        </p:txBody>
      </p:sp>
      <p:sp>
        <p:nvSpPr>
          <p:cNvPr id="10" name="TextBox 9">
            <a:extLst/>
          </p:cNvPr>
          <p:cNvSpPr txBox="1"/>
          <p:nvPr/>
        </p:nvSpPr>
        <p:spPr>
          <a:xfrm>
            <a:off x="397086" y="990296"/>
            <a:ext cx="6778022" cy="343443"/>
          </a:xfrm>
          <a:prstGeom prst="rect">
            <a:avLst/>
          </a:prstGeom>
          <a:noFill/>
        </p:spPr>
        <p:txBody>
          <a:bodyPr wrap="square" lIns="91427" tIns="91427" rIns="0" bIns="0" rtlCol="0">
            <a:spAutoFit/>
          </a:bodyPr>
          <a:lstStyle/>
          <a:p>
            <a:pPr defTabSz="914225">
              <a:defRPr/>
            </a:pPr>
            <a:r>
              <a:rPr lang="en-US" sz="1600" kern="0" dirty="0">
                <a:solidFill>
                  <a:srgbClr val="0078D7"/>
                </a:solidFill>
                <a:latin typeface="Segoe UI Semibold" panose="020B0702040204020203" pitchFamily="34" charset="0"/>
                <a:cs typeface="Segoe UI Semibold" panose="020B0702040204020203" pitchFamily="34" charset="0"/>
              </a:rPr>
              <a:t>Foundational Azure service – available in all Azure regions by default</a:t>
            </a:r>
          </a:p>
        </p:txBody>
      </p:sp>
    </p:spTree>
    <p:extLst>
      <p:ext uri="{BB962C8B-B14F-4D97-AF65-F5344CB8AC3E}">
        <p14:creationId xmlns:p14="http://schemas.microsoft.com/office/powerpoint/2010/main" val="35200396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4EBB03-040D-49FF-9B09-DFACC7B69FB1}"/>
              </a:ext>
            </a:extLst>
          </p:cNvPr>
          <p:cNvSpPr>
            <a:spLocks noGrp="1"/>
          </p:cNvSpPr>
          <p:nvPr>
            <p:ph type="title"/>
          </p:nvPr>
        </p:nvSpPr>
        <p:spPr>
          <a:xfrm>
            <a:off x="361603" y="421930"/>
            <a:ext cx="10515600" cy="1325563"/>
          </a:xfrm>
        </p:spPr>
        <p:txBody>
          <a:bodyPr>
            <a:normAutofit/>
          </a:bodyPr>
          <a:lstStyle/>
          <a:p>
            <a:r>
              <a:rPr lang="en-US" dirty="0">
                <a:latin typeface="Segoe UI Light" panose="020B0502040204020203" pitchFamily="34" charset="0"/>
                <a:cs typeface="Segoe UI Light" panose="020B0502040204020203" pitchFamily="34" charset="0"/>
              </a:rPr>
              <a:t>Azure Cosmos DB Multi-Master</a:t>
            </a:r>
          </a:p>
        </p:txBody>
      </p:sp>
      <p:pic>
        <p:nvPicPr>
          <p:cNvPr id="2054" name="Picture 6" descr="Inserting image...">
            <a:extLst>
              <a:ext uri="{FF2B5EF4-FFF2-40B4-BE49-F238E27FC236}">
                <a16:creationId xmlns:a16="http://schemas.microsoft.com/office/drawing/2014/main" id="{928B6C77-02B5-4744-B320-4F6972362DB0}"/>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0086" r="10773" b="1"/>
          <a:stretch/>
        </p:blipFill>
        <p:spPr bwMode="auto">
          <a:xfrm>
            <a:off x="5120640" y="1866875"/>
            <a:ext cx="6233160" cy="4272681"/>
          </a:xfrm>
          <a:prstGeom prst="rect">
            <a:avLst/>
          </a:prstGeom>
          <a:solidFill>
            <a:schemeClr val="bg1"/>
          </a:solidFill>
          <a:extLst/>
        </p:spPr>
      </p:pic>
      <p:sp>
        <p:nvSpPr>
          <p:cNvPr id="9" name="Rectangle 8">
            <a:extLst>
              <a:ext uri="{FF2B5EF4-FFF2-40B4-BE49-F238E27FC236}">
                <a16:creationId xmlns:a16="http://schemas.microsoft.com/office/drawing/2014/main" id="{8422B40C-26C6-42F7-BA34-E35F1DFFB544}"/>
              </a:ext>
            </a:extLst>
          </p:cNvPr>
          <p:cNvSpPr/>
          <p:nvPr/>
        </p:nvSpPr>
        <p:spPr>
          <a:xfrm>
            <a:off x="9359900" y="228600"/>
            <a:ext cx="2832100" cy="698500"/>
          </a:xfrm>
          <a:prstGeom prst="rect">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prstClr val="white"/>
                </a:solidFill>
                <a:latin typeface="Segoe UI Light" panose="020B0502040204020203" pitchFamily="34" charset="0"/>
                <a:cs typeface="Segoe UI Light" panose="020B0502040204020203" pitchFamily="34" charset="0"/>
              </a:rPr>
              <a:t>Generally Available</a:t>
            </a:r>
          </a:p>
        </p:txBody>
      </p:sp>
      <p:sp>
        <p:nvSpPr>
          <p:cNvPr id="4" name="Rectangle 3">
            <a:extLst>
              <a:ext uri="{FF2B5EF4-FFF2-40B4-BE49-F238E27FC236}">
                <a16:creationId xmlns:a16="http://schemas.microsoft.com/office/drawing/2014/main" id="{D4D23604-C7D8-4116-B900-2635391411A8}"/>
              </a:ext>
            </a:extLst>
          </p:cNvPr>
          <p:cNvSpPr/>
          <p:nvPr/>
        </p:nvSpPr>
        <p:spPr>
          <a:xfrm>
            <a:off x="487681" y="1695078"/>
            <a:ext cx="4350327" cy="5201424"/>
          </a:xfrm>
          <a:prstGeom prst="rect">
            <a:avLst/>
          </a:prstGeom>
        </p:spPr>
        <p:txBody>
          <a:bodyPr wrap="square">
            <a:spAutoFit/>
          </a:bodyPr>
          <a:lstStyle/>
          <a:p>
            <a:r>
              <a:rPr lang="en-US" b="1" dirty="0">
                <a:solidFill>
                  <a:srgbClr val="92D050"/>
                </a:solidFill>
                <a:latin typeface="Segoe UI Light" panose="020B0502040204020203" pitchFamily="34" charset="0"/>
                <a:cs typeface="Segoe UI Light" panose="020B0502040204020203" pitchFamily="34" charset="0"/>
              </a:rPr>
              <a:t>High Write Availability </a:t>
            </a:r>
          </a:p>
          <a:p>
            <a:pPr lvl="1"/>
            <a:r>
              <a:rPr lang="en-US" sz="1600" dirty="0">
                <a:solidFill>
                  <a:prstClr val="white"/>
                </a:solidFill>
                <a:latin typeface="Segoe UI Light" panose="020B0502040204020203" pitchFamily="34" charset="0"/>
                <a:cs typeface="Segoe UI Light" panose="020B0502040204020203" pitchFamily="34" charset="0"/>
              </a:rPr>
              <a:t>99.999 SLA worldwide</a:t>
            </a:r>
          </a:p>
          <a:p>
            <a:r>
              <a:rPr lang="en-US" b="1" dirty="0">
                <a:solidFill>
                  <a:srgbClr val="92D050"/>
                </a:solidFill>
                <a:latin typeface="Segoe UI Light" panose="020B0502040204020203" pitchFamily="34" charset="0"/>
                <a:cs typeface="Segoe UI Light" panose="020B0502040204020203" pitchFamily="34" charset="0"/>
              </a:rPr>
              <a:t>Low Write Latency</a:t>
            </a:r>
          </a:p>
          <a:p>
            <a:pPr lvl="1"/>
            <a:r>
              <a:rPr lang="en-US" sz="1600" dirty="0">
                <a:solidFill>
                  <a:prstClr val="white"/>
                </a:solidFill>
                <a:latin typeface="Segoe UI Light" panose="020B0502040204020203" pitchFamily="34" charset="0"/>
                <a:cs typeface="Segoe UI Light" panose="020B0502040204020203" pitchFamily="34" charset="0"/>
              </a:rPr>
              <a:t> &lt;10 </a:t>
            </a:r>
            <a:r>
              <a:rPr lang="en-US" sz="1600" dirty="0" err="1">
                <a:solidFill>
                  <a:prstClr val="white"/>
                </a:solidFill>
                <a:latin typeface="Segoe UI Light" panose="020B0502040204020203" pitchFamily="34" charset="0"/>
                <a:cs typeface="Segoe UI Light" panose="020B0502040204020203" pitchFamily="34" charset="0"/>
              </a:rPr>
              <a:t>ms</a:t>
            </a:r>
            <a:r>
              <a:rPr lang="en-US" sz="1600" dirty="0">
                <a:solidFill>
                  <a:prstClr val="white"/>
                </a:solidFill>
                <a:latin typeface="Segoe UI Light" panose="020B0502040204020203" pitchFamily="34" charset="0"/>
                <a:cs typeface="Segoe UI Light" panose="020B0502040204020203" pitchFamily="34" charset="0"/>
              </a:rPr>
              <a:t> P99 from any Azure regions</a:t>
            </a:r>
          </a:p>
          <a:p>
            <a:r>
              <a:rPr lang="en-US" b="1" dirty="0">
                <a:solidFill>
                  <a:srgbClr val="92D050"/>
                </a:solidFill>
                <a:latin typeface="Segoe UI Light" panose="020B0502040204020203" pitchFamily="34" charset="0"/>
                <a:cs typeface="Segoe UI Light" panose="020B0502040204020203" pitchFamily="34" charset="0"/>
              </a:rPr>
              <a:t>Write Scalability</a:t>
            </a:r>
          </a:p>
          <a:p>
            <a:pPr lvl="1"/>
            <a:r>
              <a:rPr lang="en-US" sz="1600" dirty="0">
                <a:solidFill>
                  <a:prstClr val="white"/>
                </a:solidFill>
                <a:latin typeface="Segoe UI Light" panose="020B0502040204020203" pitchFamily="34" charset="0"/>
                <a:cs typeface="Segoe UI Light" panose="020B0502040204020203" pitchFamily="34" charset="0"/>
              </a:rPr>
              <a:t>N Times write throughput; N = Number of regions</a:t>
            </a:r>
          </a:p>
          <a:p>
            <a:r>
              <a:rPr lang="en-US" b="1" dirty="0">
                <a:solidFill>
                  <a:srgbClr val="92D050"/>
                </a:solidFill>
                <a:latin typeface="Segoe UI Light" panose="020B0502040204020203" pitchFamily="34" charset="0"/>
                <a:cs typeface="Segoe UI Light" panose="020B0502040204020203" pitchFamily="34" charset="0"/>
              </a:rPr>
              <a:t>Tunable Consistency</a:t>
            </a:r>
          </a:p>
          <a:p>
            <a:pPr lvl="1"/>
            <a:r>
              <a:rPr lang="en-US" sz="1600" dirty="0">
                <a:solidFill>
                  <a:prstClr val="white"/>
                </a:solidFill>
                <a:latin typeface="Segoe UI Light" panose="020B0502040204020203" pitchFamily="34" charset="0"/>
                <a:cs typeface="Segoe UI Light" panose="020B0502040204020203" pitchFamily="34" charset="0"/>
              </a:rPr>
              <a:t>Composes well w/ consistency models</a:t>
            </a:r>
          </a:p>
          <a:p>
            <a:r>
              <a:rPr lang="en-US" b="1" dirty="0">
                <a:solidFill>
                  <a:srgbClr val="92D050"/>
                </a:solidFill>
                <a:latin typeface="Segoe UI Light" panose="020B0502040204020203" pitchFamily="34" charset="0"/>
                <a:cs typeface="Segoe UI Light" panose="020B0502040204020203" pitchFamily="34" charset="0"/>
              </a:rPr>
              <a:t>Flexible and Comprehensive Conflict Resolution</a:t>
            </a:r>
          </a:p>
          <a:p>
            <a:pPr lvl="2"/>
            <a:r>
              <a:rPr lang="en-US" sz="1200" dirty="0">
                <a:solidFill>
                  <a:prstClr val="white"/>
                </a:solidFill>
                <a:latin typeface="Segoe UI Light" panose="020B0502040204020203" pitchFamily="34" charset="0"/>
                <a:cs typeface="Segoe UI Light" panose="020B0502040204020203" pitchFamily="34" charset="0"/>
              </a:rPr>
              <a:t>Automatic (CRDTs)</a:t>
            </a:r>
          </a:p>
          <a:p>
            <a:pPr lvl="2"/>
            <a:r>
              <a:rPr lang="en-US" sz="1200" dirty="0">
                <a:solidFill>
                  <a:prstClr val="white"/>
                </a:solidFill>
                <a:latin typeface="Segoe UI Light" panose="020B0502040204020203" pitchFamily="34" charset="0"/>
                <a:cs typeface="Segoe UI Light" panose="020B0502040204020203" pitchFamily="34" charset="0"/>
              </a:rPr>
              <a:t>LWW</a:t>
            </a:r>
          </a:p>
          <a:p>
            <a:pPr lvl="2"/>
            <a:r>
              <a:rPr lang="en-US" sz="1200" dirty="0">
                <a:solidFill>
                  <a:prstClr val="white"/>
                </a:solidFill>
                <a:latin typeface="Segoe UI Light" panose="020B0502040204020203" pitchFamily="34" charset="0"/>
                <a:cs typeface="Segoe UI Light" panose="020B0502040204020203" pitchFamily="34" charset="0"/>
              </a:rPr>
              <a:t>Custom</a:t>
            </a:r>
          </a:p>
          <a:p>
            <a:pPr lvl="1"/>
            <a:r>
              <a:rPr lang="en-US" sz="1600" dirty="0">
                <a:solidFill>
                  <a:prstClr val="white"/>
                </a:solidFill>
                <a:latin typeface="Segoe UI Light" panose="020B0502040204020203" pitchFamily="34" charset="0"/>
                <a:cs typeface="Segoe UI Light" panose="020B0502040204020203" pitchFamily="34" charset="0"/>
              </a:rPr>
              <a:t>The support of multi-master applies to </a:t>
            </a:r>
            <a:r>
              <a:rPr lang="en-US" sz="1600" b="1" u="sng" dirty="0">
                <a:solidFill>
                  <a:prstClr val="white"/>
                </a:solidFill>
                <a:latin typeface="Segoe UI Light" panose="020B0502040204020203" pitchFamily="34" charset="0"/>
                <a:cs typeface="Segoe UI Light" panose="020B0502040204020203" pitchFamily="34" charset="0"/>
              </a:rPr>
              <a:t>all APIs</a:t>
            </a:r>
            <a:endParaRPr lang="en-US" sz="1600" dirty="0">
              <a:solidFill>
                <a:prstClr val="white"/>
              </a:solidFill>
              <a:latin typeface="Segoe UI Light" panose="020B0502040204020203" pitchFamily="34" charset="0"/>
              <a:cs typeface="Segoe UI Light" panose="020B0502040204020203" pitchFamily="34" charset="0"/>
            </a:endParaRPr>
          </a:p>
          <a:p>
            <a:pPr lvl="1"/>
            <a:r>
              <a:rPr lang="en-US" sz="1600" u="sng" dirty="0">
                <a:solidFill>
                  <a:srgbClr val="FFC000"/>
                </a:solidFill>
                <a:latin typeface="Segoe UI Light" panose="020B0502040204020203" pitchFamily="34" charset="0"/>
                <a:cs typeface="Segoe UI Light" panose="020B0502040204020203" pitchFamily="34" charset="0"/>
              </a:rPr>
              <a:t>First to offer capability for MongoDB, Graph and Table</a:t>
            </a:r>
          </a:p>
          <a:p>
            <a:pPr lvl="1"/>
            <a:endParaRPr lang="en-US" sz="1600" dirty="0">
              <a:solidFill>
                <a:prstClr val="white"/>
              </a:solidFill>
              <a:latin typeface="Segoe UI Light" panose="020B0502040204020203" pitchFamily="34" charset="0"/>
              <a:cs typeface="Segoe UI Light" panose="020B0502040204020203" pitchFamily="34" charset="0"/>
            </a:endParaRPr>
          </a:p>
          <a:p>
            <a:pPr lvl="1"/>
            <a:endParaRPr lang="en-US" sz="1600" dirty="0">
              <a:solidFill>
                <a:prstClr val="white"/>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768786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105B46A5-78AC-42B1-80DE-AE6E6552EE9E}"/>
              </a:ext>
            </a:extLst>
          </p:cNvPr>
          <p:cNvSpPr/>
          <p:nvPr/>
        </p:nvSpPr>
        <p:spPr>
          <a:xfrm>
            <a:off x="2730481" y="433873"/>
            <a:ext cx="6674498" cy="6518988"/>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611" name="Oval 610">
            <a:extLst>
              <a:ext uri="{FF2B5EF4-FFF2-40B4-BE49-F238E27FC236}">
                <a16:creationId xmlns:a16="http://schemas.microsoft.com/office/drawing/2014/main" id="{641132FC-A157-45F5-826D-1916C5D65944}"/>
              </a:ext>
            </a:extLst>
          </p:cNvPr>
          <p:cNvSpPr/>
          <p:nvPr/>
        </p:nvSpPr>
        <p:spPr bwMode="auto">
          <a:xfrm>
            <a:off x="3924300" y="1478280"/>
            <a:ext cx="4343400" cy="4343400"/>
          </a:xfrm>
          <a:prstGeom prst="ellipse">
            <a:avLst/>
          </a:prstGeom>
          <a:noFill/>
          <a:ln w="19050" cap="rnd">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2" name="Isosceles Triangle 611">
            <a:extLst>
              <a:ext uri="{FF2B5EF4-FFF2-40B4-BE49-F238E27FC236}">
                <a16:creationId xmlns:a16="http://schemas.microsoft.com/office/drawing/2014/main" id="{09D69C78-46EC-449D-8969-98B8556228E9}"/>
              </a:ext>
            </a:extLst>
          </p:cNvPr>
          <p:cNvSpPr/>
          <p:nvPr/>
        </p:nvSpPr>
        <p:spPr bwMode="auto">
          <a:xfrm>
            <a:off x="4016351" y="3061749"/>
            <a:ext cx="146374" cy="271840"/>
          </a:xfrm>
          <a:prstGeom prst="triangl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13" name="Arrow: Right 612">
            <a:extLst>
              <a:ext uri="{FF2B5EF4-FFF2-40B4-BE49-F238E27FC236}">
                <a16:creationId xmlns:a16="http://schemas.microsoft.com/office/drawing/2014/main" id="{8EB4C1CC-B4BA-41EE-811F-0A3F8C8D595B}"/>
              </a:ext>
            </a:extLst>
          </p:cNvPr>
          <p:cNvSpPr/>
          <p:nvPr/>
        </p:nvSpPr>
        <p:spPr bwMode="auto">
          <a:xfrm>
            <a:off x="4095527" y="4013189"/>
            <a:ext cx="94258" cy="280902"/>
          </a:xfrm>
          <a:prstGeom prst="rightArrow">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14" name="Freeform 5">
            <a:extLst>
              <a:ext uri="{FF2B5EF4-FFF2-40B4-BE49-F238E27FC236}">
                <a16:creationId xmlns:a16="http://schemas.microsoft.com/office/drawing/2014/main" id="{016E4DC7-679A-4C37-9AFE-523C0E732132}"/>
              </a:ext>
            </a:extLst>
          </p:cNvPr>
          <p:cNvSpPr>
            <a:spLocks/>
          </p:cNvSpPr>
          <p:nvPr/>
        </p:nvSpPr>
        <p:spPr bwMode="auto">
          <a:xfrm>
            <a:off x="3493777" y="1044214"/>
            <a:ext cx="5207000" cy="5207000"/>
          </a:xfrm>
          <a:custGeom>
            <a:avLst/>
            <a:gdLst>
              <a:gd name="T0" fmla="*/ 150 w 1259"/>
              <a:gd name="T1" fmla="*/ 428 h 1261"/>
              <a:gd name="T2" fmla="*/ 105 w 1259"/>
              <a:gd name="T3" fmla="*/ 262 h 1261"/>
              <a:gd name="T4" fmla="*/ 261 w 1259"/>
              <a:gd name="T5" fmla="*/ 263 h 1261"/>
              <a:gd name="T6" fmla="*/ 281 w 1259"/>
              <a:gd name="T7" fmla="*/ 94 h 1261"/>
              <a:gd name="T8" fmla="*/ 434 w 1259"/>
              <a:gd name="T9" fmla="*/ 148 h 1261"/>
              <a:gd name="T10" fmla="*/ 519 w 1259"/>
              <a:gd name="T11" fmla="*/ 0 h 1261"/>
              <a:gd name="T12" fmla="*/ 630 w 1259"/>
              <a:gd name="T13" fmla="*/ 111 h 1261"/>
              <a:gd name="T14" fmla="*/ 762 w 1259"/>
              <a:gd name="T15" fmla="*/ 2 h 1261"/>
              <a:gd name="T16" fmla="*/ 825 w 1259"/>
              <a:gd name="T17" fmla="*/ 149 h 1261"/>
              <a:gd name="T18" fmla="*/ 987 w 1259"/>
              <a:gd name="T19" fmla="*/ 99 h 1261"/>
              <a:gd name="T20" fmla="*/ 999 w 1259"/>
              <a:gd name="T21" fmla="*/ 262 h 1261"/>
              <a:gd name="T22" fmla="*/ 1167 w 1259"/>
              <a:gd name="T23" fmla="*/ 282 h 1261"/>
              <a:gd name="T24" fmla="*/ 1109 w 1259"/>
              <a:gd name="T25" fmla="*/ 428 h 1261"/>
              <a:gd name="T26" fmla="*/ 1259 w 1259"/>
              <a:gd name="T27" fmla="*/ 507 h 1261"/>
              <a:gd name="T28" fmla="*/ 1150 w 1259"/>
              <a:gd name="T29" fmla="*/ 630 h 1261"/>
              <a:gd name="T30" fmla="*/ 1256 w 1259"/>
              <a:gd name="T31" fmla="*/ 764 h 1261"/>
              <a:gd name="T32" fmla="*/ 1109 w 1259"/>
              <a:gd name="T33" fmla="*/ 834 h 1261"/>
              <a:gd name="T34" fmla="*/ 1155 w 1259"/>
              <a:gd name="T35" fmla="*/ 996 h 1261"/>
              <a:gd name="T36" fmla="*/ 997 w 1259"/>
              <a:gd name="T37" fmla="*/ 999 h 1261"/>
              <a:gd name="T38" fmla="*/ 979 w 1259"/>
              <a:gd name="T39" fmla="*/ 1168 h 1261"/>
              <a:gd name="T40" fmla="*/ 824 w 1259"/>
              <a:gd name="T41" fmla="*/ 1112 h 1261"/>
              <a:gd name="T42" fmla="*/ 742 w 1259"/>
              <a:gd name="T43" fmla="*/ 1261 h 1261"/>
              <a:gd name="T44" fmla="*/ 629 w 1259"/>
              <a:gd name="T45" fmla="*/ 1150 h 1261"/>
              <a:gd name="T46" fmla="*/ 495 w 1259"/>
              <a:gd name="T47" fmla="*/ 1257 h 1261"/>
              <a:gd name="T48" fmla="*/ 433 w 1259"/>
              <a:gd name="T49" fmla="*/ 1110 h 1261"/>
              <a:gd name="T50" fmla="*/ 272 w 1259"/>
              <a:gd name="T51" fmla="*/ 1162 h 1261"/>
              <a:gd name="T52" fmla="*/ 261 w 1259"/>
              <a:gd name="T53" fmla="*/ 996 h 1261"/>
              <a:gd name="T54" fmla="*/ 92 w 1259"/>
              <a:gd name="T55" fmla="*/ 978 h 1261"/>
              <a:gd name="T56" fmla="*/ 151 w 1259"/>
              <a:gd name="T57" fmla="*/ 833 h 1261"/>
              <a:gd name="T58" fmla="*/ 0 w 1259"/>
              <a:gd name="T59" fmla="*/ 753 h 1261"/>
              <a:gd name="T60" fmla="*/ 110 w 1259"/>
              <a:gd name="T61" fmla="*/ 629 h 1261"/>
              <a:gd name="T62" fmla="*/ 4 w 1259"/>
              <a:gd name="T63" fmla="*/ 497 h 1261"/>
              <a:gd name="T64" fmla="*/ 150 w 1259"/>
              <a:gd name="T65" fmla="*/ 428 h 1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59" h="1261">
                <a:moveTo>
                  <a:pt x="150" y="428"/>
                </a:moveTo>
                <a:lnTo>
                  <a:pt x="105" y="262"/>
                </a:lnTo>
                <a:lnTo>
                  <a:pt x="261" y="263"/>
                </a:lnTo>
                <a:lnTo>
                  <a:pt x="281" y="94"/>
                </a:lnTo>
                <a:lnTo>
                  <a:pt x="434" y="148"/>
                </a:lnTo>
                <a:lnTo>
                  <a:pt x="519" y="0"/>
                </a:lnTo>
                <a:lnTo>
                  <a:pt x="630" y="111"/>
                </a:lnTo>
                <a:lnTo>
                  <a:pt x="762" y="2"/>
                </a:lnTo>
                <a:lnTo>
                  <a:pt x="825" y="149"/>
                </a:lnTo>
                <a:lnTo>
                  <a:pt x="987" y="99"/>
                </a:lnTo>
                <a:lnTo>
                  <a:pt x="999" y="262"/>
                </a:lnTo>
                <a:lnTo>
                  <a:pt x="1167" y="282"/>
                </a:lnTo>
                <a:lnTo>
                  <a:pt x="1109" y="428"/>
                </a:lnTo>
                <a:lnTo>
                  <a:pt x="1259" y="507"/>
                </a:lnTo>
                <a:lnTo>
                  <a:pt x="1150" y="630"/>
                </a:lnTo>
                <a:lnTo>
                  <a:pt x="1256" y="764"/>
                </a:lnTo>
                <a:lnTo>
                  <a:pt x="1109" y="834"/>
                </a:lnTo>
                <a:lnTo>
                  <a:pt x="1155" y="996"/>
                </a:lnTo>
                <a:lnTo>
                  <a:pt x="997" y="999"/>
                </a:lnTo>
                <a:lnTo>
                  <a:pt x="979" y="1168"/>
                </a:lnTo>
                <a:lnTo>
                  <a:pt x="824" y="1112"/>
                </a:lnTo>
                <a:lnTo>
                  <a:pt x="742" y="1261"/>
                </a:lnTo>
                <a:lnTo>
                  <a:pt x="629" y="1150"/>
                </a:lnTo>
                <a:lnTo>
                  <a:pt x="495" y="1257"/>
                </a:lnTo>
                <a:lnTo>
                  <a:pt x="433" y="1110"/>
                </a:lnTo>
                <a:lnTo>
                  <a:pt x="272" y="1162"/>
                </a:lnTo>
                <a:lnTo>
                  <a:pt x="261" y="996"/>
                </a:lnTo>
                <a:lnTo>
                  <a:pt x="92" y="978"/>
                </a:lnTo>
                <a:lnTo>
                  <a:pt x="151" y="833"/>
                </a:lnTo>
                <a:lnTo>
                  <a:pt x="0" y="753"/>
                </a:lnTo>
                <a:lnTo>
                  <a:pt x="110" y="629"/>
                </a:lnTo>
                <a:lnTo>
                  <a:pt x="4" y="497"/>
                </a:lnTo>
                <a:lnTo>
                  <a:pt x="150" y="428"/>
                </a:lnTo>
                <a:close/>
              </a:path>
            </a:pathLst>
          </a:custGeom>
          <a:noFill/>
          <a:ln w="19050" cap="rnd">
            <a:solidFill>
              <a:srgbClr val="0078D4"/>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a:gradFill>
                <a:gsLst>
                  <a:gs pos="0">
                    <a:srgbClr val="FFFFFF"/>
                  </a:gs>
                  <a:gs pos="100000">
                    <a:srgbClr val="FFFFFF"/>
                  </a:gs>
                </a:gsLst>
                <a:lin ang="5400000" scaled="0"/>
              </a:gradFill>
              <a:latin typeface="Segoe UI Semilight"/>
              <a:cs typeface="Segoe UI" pitchFamily="34" charset="0"/>
            </a:endParaRPr>
          </a:p>
        </p:txBody>
      </p:sp>
      <p:sp>
        <p:nvSpPr>
          <p:cNvPr id="619" name="TextBox 618">
            <a:extLst>
              <a:ext uri="{FF2B5EF4-FFF2-40B4-BE49-F238E27FC236}">
                <a16:creationId xmlns:a16="http://schemas.microsoft.com/office/drawing/2014/main" id="{39D6F79B-78DB-47C2-A166-1D8A6F17EA79}"/>
              </a:ext>
            </a:extLst>
          </p:cNvPr>
          <p:cNvSpPr txBox="1"/>
          <p:nvPr/>
        </p:nvSpPr>
        <p:spPr>
          <a:xfrm>
            <a:off x="4989369" y="2025031"/>
            <a:ext cx="2222340" cy="369332"/>
          </a:xfrm>
          <a:prstGeom prst="rect">
            <a:avLst/>
          </a:prstGeom>
          <a:noFill/>
        </p:spPr>
        <p:txBody>
          <a:bodyPr wrap="none" lIns="0" tIns="0" rIns="0" bIns="0" rtlCol="0">
            <a:spAutoFit/>
          </a:bodyPr>
          <a:lstStyle/>
          <a:p>
            <a:pPr algn="ctr" defTabSz="896386">
              <a:defRPr/>
            </a:pPr>
            <a:r>
              <a:rPr lang="en-US" sz="2400" kern="0" spc="-49" dirty="0">
                <a:gradFill>
                  <a:gsLst>
                    <a:gs pos="0">
                      <a:srgbClr val="1A1A1A"/>
                    </a:gs>
                    <a:gs pos="100000">
                      <a:srgbClr val="1A1A1A"/>
                    </a:gs>
                  </a:gsLst>
                  <a:lin ang="5400000" scaled="1"/>
                </a:gradFill>
                <a:latin typeface="Segoe UI Semibold"/>
                <a:cs typeface="Segoe UI Semilight" panose="020B0402040204020203" pitchFamily="34" charset="0"/>
              </a:rPr>
              <a:t>Intelligent Cloud</a:t>
            </a:r>
          </a:p>
        </p:txBody>
      </p:sp>
      <p:sp>
        <p:nvSpPr>
          <p:cNvPr id="620" name="Oval 619">
            <a:extLst>
              <a:ext uri="{FF2B5EF4-FFF2-40B4-BE49-F238E27FC236}">
                <a16:creationId xmlns:a16="http://schemas.microsoft.com/office/drawing/2014/main" id="{D7CE6398-A219-402D-B057-E24FF10CFF56}"/>
              </a:ext>
            </a:extLst>
          </p:cNvPr>
          <p:cNvSpPr/>
          <p:nvPr/>
        </p:nvSpPr>
        <p:spPr bwMode="auto">
          <a:xfrm>
            <a:off x="3468377" y="1018814"/>
            <a:ext cx="5257800" cy="5257800"/>
          </a:xfrm>
          <a:prstGeom prst="ellipse">
            <a:avLst/>
          </a:prstGeom>
          <a:noFill/>
          <a:ln w="19050" cap="rnd">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21" name="Trapezoid 620">
            <a:extLst>
              <a:ext uri="{FF2B5EF4-FFF2-40B4-BE49-F238E27FC236}">
                <a16:creationId xmlns:a16="http://schemas.microsoft.com/office/drawing/2014/main" id="{7C857D47-6DCB-4577-B26A-4F97AE7C1F97}"/>
              </a:ext>
            </a:extLst>
          </p:cNvPr>
          <p:cNvSpPr/>
          <p:nvPr/>
        </p:nvSpPr>
        <p:spPr bwMode="auto">
          <a:xfrm>
            <a:off x="4298875" y="5926499"/>
            <a:ext cx="3472402" cy="499310"/>
          </a:xfrm>
          <a:prstGeom prst="trapezoid">
            <a:avLst>
              <a:gd name="adj" fmla="val 53856"/>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22" name="TextBox 621">
            <a:extLst>
              <a:ext uri="{FF2B5EF4-FFF2-40B4-BE49-F238E27FC236}">
                <a16:creationId xmlns:a16="http://schemas.microsoft.com/office/drawing/2014/main" id="{88A584CE-9FAC-4884-B98B-8958C1F1C582}"/>
              </a:ext>
            </a:extLst>
          </p:cNvPr>
          <p:cNvSpPr txBox="1"/>
          <p:nvPr/>
        </p:nvSpPr>
        <p:spPr>
          <a:xfrm>
            <a:off x="5046285" y="6063701"/>
            <a:ext cx="2101987" cy="369332"/>
          </a:xfrm>
          <a:prstGeom prst="rect">
            <a:avLst/>
          </a:prstGeom>
          <a:noFill/>
        </p:spPr>
        <p:txBody>
          <a:bodyPr wrap="none" lIns="0" tIns="0" rIns="0" bIns="0" rtlCol="0">
            <a:spAutoFit/>
          </a:bodyPr>
          <a:lstStyle/>
          <a:p>
            <a:pPr algn="ctr" defTabSz="896386">
              <a:defRPr/>
            </a:pPr>
            <a:r>
              <a:rPr lang="en-US" sz="2400" kern="0" spc="-49" dirty="0">
                <a:gradFill>
                  <a:gsLst>
                    <a:gs pos="0">
                      <a:srgbClr val="1A1A1A"/>
                    </a:gs>
                    <a:gs pos="100000">
                      <a:srgbClr val="1A1A1A"/>
                    </a:gs>
                  </a:gsLst>
                  <a:lin ang="5400000" scaled="1"/>
                </a:gradFill>
                <a:latin typeface="Segoe UI Semibold"/>
                <a:cs typeface="Segoe UI Semilight" panose="020B0402040204020203" pitchFamily="34" charset="0"/>
              </a:rPr>
              <a:t>Intelligent Edge</a:t>
            </a:r>
          </a:p>
        </p:txBody>
      </p:sp>
      <p:grpSp>
        <p:nvGrpSpPr>
          <p:cNvPr id="623" name="Group 622">
            <a:extLst>
              <a:ext uri="{FF2B5EF4-FFF2-40B4-BE49-F238E27FC236}">
                <a16:creationId xmlns:a16="http://schemas.microsoft.com/office/drawing/2014/main" id="{0E158842-AE0F-42C0-9203-64953E28314B}"/>
              </a:ext>
            </a:extLst>
          </p:cNvPr>
          <p:cNvGrpSpPr/>
          <p:nvPr/>
        </p:nvGrpSpPr>
        <p:grpSpPr>
          <a:xfrm>
            <a:off x="3657346" y="4856375"/>
            <a:ext cx="502920" cy="502920"/>
            <a:chOff x="3656069" y="4637661"/>
            <a:chExt cx="502920" cy="502920"/>
          </a:xfrm>
          <a:solidFill>
            <a:schemeClr val="bg1"/>
          </a:solidFill>
        </p:grpSpPr>
        <p:sp useBgFill="1">
          <p:nvSpPr>
            <p:cNvPr id="624" name="Oval 623">
              <a:extLst>
                <a:ext uri="{FF2B5EF4-FFF2-40B4-BE49-F238E27FC236}">
                  <a16:creationId xmlns:a16="http://schemas.microsoft.com/office/drawing/2014/main" id="{1A82A6B7-47FD-448C-8C49-4252498E8E38}"/>
                </a:ext>
              </a:extLst>
            </p:cNvPr>
            <p:cNvSpPr/>
            <p:nvPr/>
          </p:nvSpPr>
          <p:spPr bwMode="auto">
            <a:xfrm>
              <a:off x="3656069" y="4637661"/>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25" name="ShoppingCart_E7BF">
              <a:extLst>
                <a:ext uri="{FF2B5EF4-FFF2-40B4-BE49-F238E27FC236}">
                  <a16:creationId xmlns:a16="http://schemas.microsoft.com/office/drawing/2014/main" id="{6D53320A-BC29-40EB-8DA8-5F4A42D4C92A}"/>
                </a:ext>
              </a:extLst>
            </p:cNvPr>
            <p:cNvSpPr>
              <a:spLocks noChangeAspect="1" noEditPoints="1"/>
            </p:cNvSpPr>
            <p:nvPr/>
          </p:nvSpPr>
          <p:spPr bwMode="auto">
            <a:xfrm>
              <a:off x="3793229" y="4791926"/>
              <a:ext cx="228600" cy="194390"/>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lin ang="5400000" scaled="1"/>
                </a:gradFill>
                <a:latin typeface="Segoe UI Semilight"/>
              </a:endParaRPr>
            </a:p>
          </p:txBody>
        </p:sp>
      </p:grpSp>
      <p:grpSp>
        <p:nvGrpSpPr>
          <p:cNvPr id="626" name="Group 625">
            <a:extLst>
              <a:ext uri="{FF2B5EF4-FFF2-40B4-BE49-F238E27FC236}">
                <a16:creationId xmlns:a16="http://schemas.microsoft.com/office/drawing/2014/main" id="{F508302B-B0C0-4AAF-88C4-D2FB0B43D9B9}"/>
              </a:ext>
            </a:extLst>
          </p:cNvPr>
          <p:cNvGrpSpPr/>
          <p:nvPr/>
        </p:nvGrpSpPr>
        <p:grpSpPr>
          <a:xfrm>
            <a:off x="6357808" y="814748"/>
            <a:ext cx="502920" cy="502920"/>
            <a:chOff x="6356531" y="596034"/>
            <a:chExt cx="502920" cy="502920"/>
          </a:xfrm>
          <a:solidFill>
            <a:schemeClr val="bg1"/>
          </a:solidFill>
        </p:grpSpPr>
        <p:sp useBgFill="1">
          <p:nvSpPr>
            <p:cNvPr id="627" name="Oval 626">
              <a:extLst>
                <a:ext uri="{FF2B5EF4-FFF2-40B4-BE49-F238E27FC236}">
                  <a16:creationId xmlns:a16="http://schemas.microsoft.com/office/drawing/2014/main" id="{EFC978F2-7EA9-45D1-B889-6BD9788ED298}"/>
                </a:ext>
              </a:extLst>
            </p:cNvPr>
            <p:cNvSpPr/>
            <p:nvPr/>
          </p:nvSpPr>
          <p:spPr bwMode="auto">
            <a:xfrm>
              <a:off x="6356531" y="596034"/>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28" name="Freeform 33">
              <a:extLst>
                <a:ext uri="{FF2B5EF4-FFF2-40B4-BE49-F238E27FC236}">
                  <a16:creationId xmlns:a16="http://schemas.microsoft.com/office/drawing/2014/main" id="{18D6CE54-20C6-4034-B563-56F5B4C5761E}"/>
                </a:ext>
              </a:extLst>
            </p:cNvPr>
            <p:cNvSpPr>
              <a:spLocks noChangeAspect="1"/>
            </p:cNvSpPr>
            <p:nvPr/>
          </p:nvSpPr>
          <p:spPr bwMode="auto">
            <a:xfrm>
              <a:off x="6493691" y="750694"/>
              <a:ext cx="228600" cy="193600"/>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lin ang="5400000" scaled="1"/>
                </a:gradFill>
                <a:latin typeface="Segoe UI Semilight"/>
              </a:endParaRPr>
            </a:p>
          </p:txBody>
        </p:sp>
      </p:grpSp>
      <p:grpSp>
        <p:nvGrpSpPr>
          <p:cNvPr id="629" name="Group 628">
            <a:extLst>
              <a:ext uri="{FF2B5EF4-FFF2-40B4-BE49-F238E27FC236}">
                <a16:creationId xmlns:a16="http://schemas.microsoft.com/office/drawing/2014/main" id="{A2713648-F475-4182-A577-BA9155056BCE}"/>
              </a:ext>
            </a:extLst>
          </p:cNvPr>
          <p:cNvGrpSpPr/>
          <p:nvPr/>
        </p:nvGrpSpPr>
        <p:grpSpPr>
          <a:xfrm>
            <a:off x="7305935" y="5592413"/>
            <a:ext cx="502920" cy="502920"/>
            <a:chOff x="7304658" y="5373699"/>
            <a:chExt cx="502920" cy="502920"/>
          </a:xfrm>
          <a:solidFill>
            <a:schemeClr val="bg1"/>
          </a:solidFill>
        </p:grpSpPr>
        <p:sp useBgFill="1">
          <p:nvSpPr>
            <p:cNvPr id="630" name="Oval 629">
              <a:extLst>
                <a:ext uri="{FF2B5EF4-FFF2-40B4-BE49-F238E27FC236}">
                  <a16:creationId xmlns:a16="http://schemas.microsoft.com/office/drawing/2014/main" id="{596A7905-0E3F-4DD5-BFF5-9C95BFCEA4C2}"/>
                </a:ext>
              </a:extLst>
            </p:cNvPr>
            <p:cNvSpPr/>
            <p:nvPr/>
          </p:nvSpPr>
          <p:spPr bwMode="auto">
            <a:xfrm>
              <a:off x="7304658" y="5373699"/>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31" name="document_6">
              <a:extLst>
                <a:ext uri="{FF2B5EF4-FFF2-40B4-BE49-F238E27FC236}">
                  <a16:creationId xmlns:a16="http://schemas.microsoft.com/office/drawing/2014/main" id="{5865B6DC-343B-485D-8027-1D4814459B98}"/>
                </a:ext>
              </a:extLst>
            </p:cNvPr>
            <p:cNvSpPr>
              <a:spLocks noChangeAspect="1" noEditPoints="1"/>
            </p:cNvSpPr>
            <p:nvPr/>
          </p:nvSpPr>
          <p:spPr bwMode="auto">
            <a:xfrm>
              <a:off x="7469876" y="5517356"/>
              <a:ext cx="172484" cy="215606"/>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grpFill/>
            <a:ln w="12700" cap="rnd">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grpSp>
      <p:sp>
        <p:nvSpPr>
          <p:cNvPr id="632" name="Rectangle 631">
            <a:extLst>
              <a:ext uri="{FF2B5EF4-FFF2-40B4-BE49-F238E27FC236}">
                <a16:creationId xmlns:a16="http://schemas.microsoft.com/office/drawing/2014/main" id="{21CCF10B-E42E-4B3E-904C-50D9E513B120}"/>
              </a:ext>
            </a:extLst>
          </p:cNvPr>
          <p:cNvSpPr/>
          <p:nvPr/>
        </p:nvSpPr>
        <p:spPr bwMode="auto">
          <a:xfrm>
            <a:off x="5335001" y="1678104"/>
            <a:ext cx="253717" cy="10556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33" name="Oval 632">
            <a:extLst>
              <a:ext uri="{FF2B5EF4-FFF2-40B4-BE49-F238E27FC236}">
                <a16:creationId xmlns:a16="http://schemas.microsoft.com/office/drawing/2014/main" id="{E3F83266-B8F8-43FB-B1EF-2B4C375A1B6E}"/>
              </a:ext>
            </a:extLst>
          </p:cNvPr>
          <p:cNvSpPr/>
          <p:nvPr/>
        </p:nvSpPr>
        <p:spPr bwMode="auto">
          <a:xfrm>
            <a:off x="6668829" y="1660005"/>
            <a:ext cx="217472" cy="90488"/>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634" name="Group 633">
            <a:extLst>
              <a:ext uri="{FF2B5EF4-FFF2-40B4-BE49-F238E27FC236}">
                <a16:creationId xmlns:a16="http://schemas.microsoft.com/office/drawing/2014/main" id="{718287E4-7EB9-4FBF-8741-ABA91550D877}"/>
              </a:ext>
            </a:extLst>
          </p:cNvPr>
          <p:cNvGrpSpPr/>
          <p:nvPr/>
        </p:nvGrpSpPr>
        <p:grpSpPr>
          <a:xfrm>
            <a:off x="3847716" y="4228177"/>
            <a:ext cx="502920" cy="502920"/>
            <a:chOff x="3846439" y="4009463"/>
            <a:chExt cx="502920" cy="502920"/>
          </a:xfrm>
          <a:solidFill>
            <a:schemeClr val="bg1"/>
          </a:solidFill>
        </p:grpSpPr>
        <p:sp useBgFill="1">
          <p:nvSpPr>
            <p:cNvPr id="635" name="Oval 634">
              <a:extLst>
                <a:ext uri="{FF2B5EF4-FFF2-40B4-BE49-F238E27FC236}">
                  <a16:creationId xmlns:a16="http://schemas.microsoft.com/office/drawing/2014/main" id="{9F6C0419-1CF6-4973-A68F-AFBC4FC4E712}"/>
                </a:ext>
              </a:extLst>
            </p:cNvPr>
            <p:cNvSpPr/>
            <p:nvPr/>
          </p:nvSpPr>
          <p:spPr bwMode="auto">
            <a:xfrm>
              <a:off x="3846439" y="4009463"/>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36" name="Freeform 41">
              <a:extLst>
                <a:ext uri="{FF2B5EF4-FFF2-40B4-BE49-F238E27FC236}">
                  <a16:creationId xmlns:a16="http://schemas.microsoft.com/office/drawing/2014/main" id="{E38B244C-9BBE-4293-B797-FE56E69D51B0}"/>
                </a:ext>
              </a:extLst>
            </p:cNvPr>
            <p:cNvSpPr>
              <a:spLocks noChangeAspect="1" noEditPoints="1"/>
            </p:cNvSpPr>
            <p:nvPr/>
          </p:nvSpPr>
          <p:spPr bwMode="auto">
            <a:xfrm>
              <a:off x="3971460" y="4167612"/>
              <a:ext cx="252878" cy="158048"/>
            </a:xfrm>
            <a:custGeom>
              <a:avLst/>
              <a:gdLst>
                <a:gd name="T0" fmla="*/ 208 w 208"/>
                <a:gd name="T1" fmla="*/ 54 h 130"/>
                <a:gd name="T2" fmla="*/ 208 w 208"/>
                <a:gd name="T3" fmla="*/ 130 h 130"/>
                <a:gd name="T4" fmla="*/ 0 w 208"/>
                <a:gd name="T5" fmla="*/ 130 h 130"/>
                <a:gd name="T6" fmla="*/ 0 w 208"/>
                <a:gd name="T7" fmla="*/ 54 h 130"/>
                <a:gd name="T8" fmla="*/ 40 w 208"/>
                <a:gd name="T9" fmla="*/ 24 h 130"/>
                <a:gd name="T10" fmla="*/ 40 w 208"/>
                <a:gd name="T11" fmla="*/ 54 h 130"/>
                <a:gd name="T12" fmla="*/ 85 w 208"/>
                <a:gd name="T13" fmla="*/ 24 h 130"/>
                <a:gd name="T14" fmla="*/ 85 w 208"/>
                <a:gd name="T15" fmla="*/ 54 h 130"/>
                <a:gd name="T16" fmla="*/ 208 w 208"/>
                <a:gd name="T17" fmla="*/ 54 h 130"/>
                <a:gd name="T18" fmla="*/ 163 w 208"/>
                <a:gd name="T19" fmla="*/ 54 h 130"/>
                <a:gd name="T20" fmla="*/ 153 w 208"/>
                <a:gd name="T21" fmla="*/ 0 h 130"/>
                <a:gd name="T22" fmla="*/ 144 w 208"/>
                <a:gd name="T23" fmla="*/ 0 h 130"/>
                <a:gd name="T24" fmla="*/ 136 w 208"/>
                <a:gd name="T25" fmla="*/ 54 h 130"/>
                <a:gd name="T26" fmla="*/ 200 w 208"/>
                <a:gd name="T27" fmla="*/ 54 h 130"/>
                <a:gd name="T28" fmla="*/ 189 w 208"/>
                <a:gd name="T29" fmla="*/ 0 h 130"/>
                <a:gd name="T30" fmla="*/ 180 w 208"/>
                <a:gd name="T31" fmla="*/ 0 h 130"/>
                <a:gd name="T32" fmla="*/ 171 w 208"/>
                <a:gd name="T33" fmla="*/ 54 h 130"/>
                <a:gd name="T34" fmla="*/ 30 w 208"/>
                <a:gd name="T35" fmla="*/ 77 h 130"/>
                <a:gd name="T36" fmla="*/ 19 w 208"/>
                <a:gd name="T37" fmla="*/ 77 h 130"/>
                <a:gd name="T38" fmla="*/ 19 w 208"/>
                <a:gd name="T39" fmla="*/ 88 h 130"/>
                <a:gd name="T40" fmla="*/ 30 w 208"/>
                <a:gd name="T41" fmla="*/ 88 h 130"/>
                <a:gd name="T42" fmla="*/ 30 w 208"/>
                <a:gd name="T43" fmla="*/ 77 h 130"/>
                <a:gd name="T44" fmla="*/ 69 w 208"/>
                <a:gd name="T45" fmla="*/ 77 h 130"/>
                <a:gd name="T46" fmla="*/ 59 w 208"/>
                <a:gd name="T47" fmla="*/ 77 h 130"/>
                <a:gd name="T48" fmla="*/ 59 w 208"/>
                <a:gd name="T49" fmla="*/ 88 h 130"/>
                <a:gd name="T50" fmla="*/ 69 w 208"/>
                <a:gd name="T51" fmla="*/ 88 h 130"/>
                <a:gd name="T52" fmla="*/ 69 w 208"/>
                <a:gd name="T53" fmla="*/ 77 h 130"/>
                <a:gd name="T54" fmla="*/ 109 w 208"/>
                <a:gd name="T55" fmla="*/ 77 h 130"/>
                <a:gd name="T56" fmla="*/ 99 w 208"/>
                <a:gd name="T57" fmla="*/ 77 h 130"/>
                <a:gd name="T58" fmla="*/ 99 w 208"/>
                <a:gd name="T59" fmla="*/ 88 h 130"/>
                <a:gd name="T60" fmla="*/ 109 w 208"/>
                <a:gd name="T61" fmla="*/ 88 h 130"/>
                <a:gd name="T62" fmla="*/ 109 w 208"/>
                <a:gd name="T63" fmla="*/ 77 h 130"/>
                <a:gd name="T64" fmla="*/ 149 w 208"/>
                <a:gd name="T65" fmla="*/ 77 h 130"/>
                <a:gd name="T66" fmla="*/ 139 w 208"/>
                <a:gd name="T67" fmla="*/ 77 h 130"/>
                <a:gd name="T68" fmla="*/ 139 w 208"/>
                <a:gd name="T69" fmla="*/ 88 h 130"/>
                <a:gd name="T70" fmla="*/ 149 w 208"/>
                <a:gd name="T71" fmla="*/ 88 h 130"/>
                <a:gd name="T72" fmla="*/ 149 w 208"/>
                <a:gd name="T73" fmla="*/ 77 h 130"/>
                <a:gd name="T74" fmla="*/ 189 w 208"/>
                <a:gd name="T75" fmla="*/ 77 h 130"/>
                <a:gd name="T76" fmla="*/ 179 w 208"/>
                <a:gd name="T77" fmla="*/ 77 h 130"/>
                <a:gd name="T78" fmla="*/ 179 w 208"/>
                <a:gd name="T79" fmla="*/ 88 h 130"/>
                <a:gd name="T80" fmla="*/ 189 w 208"/>
                <a:gd name="T81" fmla="*/ 88 h 130"/>
                <a:gd name="T82" fmla="*/ 189 w 208"/>
                <a:gd name="T83" fmla="*/ 7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8" h="130">
                  <a:moveTo>
                    <a:pt x="208" y="54"/>
                  </a:moveTo>
                  <a:lnTo>
                    <a:pt x="208" y="130"/>
                  </a:lnTo>
                  <a:lnTo>
                    <a:pt x="0" y="130"/>
                  </a:lnTo>
                  <a:lnTo>
                    <a:pt x="0" y="54"/>
                  </a:lnTo>
                  <a:lnTo>
                    <a:pt x="40" y="24"/>
                  </a:lnTo>
                  <a:lnTo>
                    <a:pt x="40" y="54"/>
                  </a:lnTo>
                  <a:lnTo>
                    <a:pt x="85" y="24"/>
                  </a:lnTo>
                  <a:lnTo>
                    <a:pt x="85" y="54"/>
                  </a:lnTo>
                  <a:lnTo>
                    <a:pt x="208" y="54"/>
                  </a:lnTo>
                  <a:moveTo>
                    <a:pt x="163" y="54"/>
                  </a:moveTo>
                  <a:lnTo>
                    <a:pt x="153" y="0"/>
                  </a:lnTo>
                  <a:lnTo>
                    <a:pt x="144" y="0"/>
                  </a:lnTo>
                  <a:lnTo>
                    <a:pt x="136" y="54"/>
                  </a:lnTo>
                  <a:moveTo>
                    <a:pt x="200" y="54"/>
                  </a:moveTo>
                  <a:lnTo>
                    <a:pt x="189" y="0"/>
                  </a:lnTo>
                  <a:lnTo>
                    <a:pt x="180" y="0"/>
                  </a:lnTo>
                  <a:lnTo>
                    <a:pt x="171" y="54"/>
                  </a:lnTo>
                  <a:moveTo>
                    <a:pt x="30" y="77"/>
                  </a:moveTo>
                  <a:lnTo>
                    <a:pt x="19" y="77"/>
                  </a:lnTo>
                  <a:lnTo>
                    <a:pt x="19" y="88"/>
                  </a:lnTo>
                  <a:lnTo>
                    <a:pt x="30" y="88"/>
                  </a:lnTo>
                  <a:lnTo>
                    <a:pt x="30" y="77"/>
                  </a:lnTo>
                  <a:moveTo>
                    <a:pt x="69" y="77"/>
                  </a:moveTo>
                  <a:lnTo>
                    <a:pt x="59" y="77"/>
                  </a:lnTo>
                  <a:lnTo>
                    <a:pt x="59" y="88"/>
                  </a:lnTo>
                  <a:lnTo>
                    <a:pt x="69" y="88"/>
                  </a:lnTo>
                  <a:lnTo>
                    <a:pt x="69" y="77"/>
                  </a:lnTo>
                  <a:moveTo>
                    <a:pt x="109" y="77"/>
                  </a:moveTo>
                  <a:lnTo>
                    <a:pt x="99" y="77"/>
                  </a:lnTo>
                  <a:lnTo>
                    <a:pt x="99" y="88"/>
                  </a:lnTo>
                  <a:lnTo>
                    <a:pt x="109" y="88"/>
                  </a:lnTo>
                  <a:lnTo>
                    <a:pt x="109" y="77"/>
                  </a:lnTo>
                  <a:moveTo>
                    <a:pt x="149" y="77"/>
                  </a:moveTo>
                  <a:lnTo>
                    <a:pt x="139" y="77"/>
                  </a:lnTo>
                  <a:lnTo>
                    <a:pt x="139" y="88"/>
                  </a:lnTo>
                  <a:lnTo>
                    <a:pt x="149" y="88"/>
                  </a:lnTo>
                  <a:lnTo>
                    <a:pt x="149" y="77"/>
                  </a:lnTo>
                  <a:moveTo>
                    <a:pt x="189" y="77"/>
                  </a:moveTo>
                  <a:lnTo>
                    <a:pt x="179" y="77"/>
                  </a:lnTo>
                  <a:lnTo>
                    <a:pt x="179" y="88"/>
                  </a:lnTo>
                  <a:lnTo>
                    <a:pt x="189" y="88"/>
                  </a:lnTo>
                  <a:lnTo>
                    <a:pt x="189" y="77"/>
                  </a:lnTo>
                </a:path>
              </a:pathLst>
            </a:custGeom>
            <a:grpFill/>
            <a:ln w="12700" cap="sq">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lin ang="5400000" scaled="1"/>
                </a:gradFill>
                <a:latin typeface="Segoe UI Semilight"/>
              </a:endParaRPr>
            </a:p>
          </p:txBody>
        </p:sp>
      </p:grpSp>
      <p:grpSp>
        <p:nvGrpSpPr>
          <p:cNvPr id="637" name="Group 636">
            <a:extLst>
              <a:ext uri="{FF2B5EF4-FFF2-40B4-BE49-F238E27FC236}">
                <a16:creationId xmlns:a16="http://schemas.microsoft.com/office/drawing/2014/main" id="{DEBEC647-3D55-4462-8C73-CF0CD17CB983}"/>
              </a:ext>
            </a:extLst>
          </p:cNvPr>
          <p:cNvGrpSpPr/>
          <p:nvPr/>
        </p:nvGrpSpPr>
        <p:grpSpPr>
          <a:xfrm>
            <a:off x="8014660" y="3399111"/>
            <a:ext cx="502920" cy="502920"/>
            <a:chOff x="8013383" y="3180397"/>
            <a:chExt cx="502920" cy="502920"/>
          </a:xfrm>
          <a:solidFill>
            <a:schemeClr val="bg1"/>
          </a:solidFill>
        </p:grpSpPr>
        <p:sp useBgFill="1">
          <p:nvSpPr>
            <p:cNvPr id="638" name="Oval 637">
              <a:extLst>
                <a:ext uri="{FF2B5EF4-FFF2-40B4-BE49-F238E27FC236}">
                  <a16:creationId xmlns:a16="http://schemas.microsoft.com/office/drawing/2014/main" id="{72F406D8-ED1B-4F0A-BB21-7300426EEBD9}"/>
                </a:ext>
              </a:extLst>
            </p:cNvPr>
            <p:cNvSpPr/>
            <p:nvPr/>
          </p:nvSpPr>
          <p:spPr bwMode="auto">
            <a:xfrm>
              <a:off x="8013383" y="3180397"/>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39" name="Airplane_E709">
              <a:extLst>
                <a:ext uri="{FF2B5EF4-FFF2-40B4-BE49-F238E27FC236}">
                  <a16:creationId xmlns:a16="http://schemas.microsoft.com/office/drawing/2014/main" id="{9808606C-9145-4447-987B-0858B9872444}"/>
                </a:ext>
              </a:extLst>
            </p:cNvPr>
            <p:cNvSpPr>
              <a:spLocks noChangeAspect="1"/>
            </p:cNvSpPr>
            <p:nvPr/>
          </p:nvSpPr>
          <p:spPr bwMode="auto">
            <a:xfrm>
              <a:off x="8151627" y="3312320"/>
              <a:ext cx="235956" cy="239076"/>
            </a:xfrm>
            <a:custGeom>
              <a:avLst/>
              <a:gdLst>
                <a:gd name="T0" fmla="*/ 1002 w 3707"/>
                <a:gd name="T1" fmla="*/ 3755 h 3755"/>
                <a:gd name="T2" fmla="*/ 1502 w 3707"/>
                <a:gd name="T3" fmla="*/ 2253 h 3755"/>
                <a:gd name="T4" fmla="*/ 751 w 3707"/>
                <a:gd name="T5" fmla="*/ 2253 h 3755"/>
                <a:gd name="T6" fmla="*/ 625 w 3707"/>
                <a:gd name="T7" fmla="*/ 2503 h 3755"/>
                <a:gd name="T8" fmla="*/ 0 w 3707"/>
                <a:gd name="T9" fmla="*/ 2503 h 3755"/>
                <a:gd name="T10" fmla="*/ 209 w 3707"/>
                <a:gd name="T11" fmla="*/ 1877 h 3755"/>
                <a:gd name="T12" fmla="*/ 0 w 3707"/>
                <a:gd name="T13" fmla="*/ 1251 h 3755"/>
                <a:gd name="T14" fmla="*/ 625 w 3707"/>
                <a:gd name="T15" fmla="*/ 1251 h 3755"/>
                <a:gd name="T16" fmla="*/ 751 w 3707"/>
                <a:gd name="T17" fmla="*/ 1502 h 3755"/>
                <a:gd name="T18" fmla="*/ 1502 w 3707"/>
                <a:gd name="T19" fmla="*/ 1502 h 3755"/>
                <a:gd name="T20" fmla="*/ 1002 w 3707"/>
                <a:gd name="T21" fmla="*/ 0 h 3755"/>
                <a:gd name="T22" fmla="*/ 1627 w 3707"/>
                <a:gd name="T23" fmla="*/ 0 h 3755"/>
                <a:gd name="T24" fmla="*/ 2378 w 3707"/>
                <a:gd name="T25" fmla="*/ 1502 h 3755"/>
                <a:gd name="T26" fmla="*/ 3331 w 3707"/>
                <a:gd name="T27" fmla="*/ 1502 h 3755"/>
                <a:gd name="T28" fmla="*/ 3707 w 3707"/>
                <a:gd name="T29" fmla="*/ 1877 h 3755"/>
                <a:gd name="T30" fmla="*/ 3331 w 3707"/>
                <a:gd name="T31" fmla="*/ 2253 h 3755"/>
                <a:gd name="T32" fmla="*/ 2378 w 3707"/>
                <a:gd name="T33" fmla="*/ 2253 h 3755"/>
                <a:gd name="T34" fmla="*/ 1627 w 3707"/>
                <a:gd name="T35" fmla="*/ 3755 h 3755"/>
                <a:gd name="T36" fmla="*/ 1002 w 3707"/>
                <a:gd name="T37" fmla="*/ 3755 h 3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07" h="3755">
                  <a:moveTo>
                    <a:pt x="1002" y="3755"/>
                  </a:moveTo>
                  <a:cubicBezTo>
                    <a:pt x="1502" y="2253"/>
                    <a:pt x="1502" y="2253"/>
                    <a:pt x="1502" y="2253"/>
                  </a:cubicBezTo>
                  <a:cubicBezTo>
                    <a:pt x="751" y="2253"/>
                    <a:pt x="751" y="2253"/>
                    <a:pt x="751" y="2253"/>
                  </a:cubicBezTo>
                  <a:cubicBezTo>
                    <a:pt x="625" y="2503"/>
                    <a:pt x="625" y="2503"/>
                    <a:pt x="625" y="2503"/>
                  </a:cubicBezTo>
                  <a:cubicBezTo>
                    <a:pt x="0" y="2503"/>
                    <a:pt x="0" y="2503"/>
                    <a:pt x="0" y="2503"/>
                  </a:cubicBezTo>
                  <a:cubicBezTo>
                    <a:pt x="209" y="1877"/>
                    <a:pt x="209" y="1877"/>
                    <a:pt x="209" y="1877"/>
                  </a:cubicBezTo>
                  <a:cubicBezTo>
                    <a:pt x="0" y="1251"/>
                    <a:pt x="0" y="1251"/>
                    <a:pt x="0" y="1251"/>
                  </a:cubicBezTo>
                  <a:cubicBezTo>
                    <a:pt x="625" y="1251"/>
                    <a:pt x="625" y="1251"/>
                    <a:pt x="625" y="1251"/>
                  </a:cubicBezTo>
                  <a:cubicBezTo>
                    <a:pt x="751" y="1502"/>
                    <a:pt x="751" y="1502"/>
                    <a:pt x="751" y="1502"/>
                  </a:cubicBezTo>
                  <a:cubicBezTo>
                    <a:pt x="1502" y="1502"/>
                    <a:pt x="1502" y="1502"/>
                    <a:pt x="1502" y="1502"/>
                  </a:cubicBezTo>
                  <a:cubicBezTo>
                    <a:pt x="1002" y="0"/>
                    <a:pt x="1002" y="0"/>
                    <a:pt x="1002" y="0"/>
                  </a:cubicBezTo>
                  <a:cubicBezTo>
                    <a:pt x="1627" y="0"/>
                    <a:pt x="1627" y="0"/>
                    <a:pt x="1627" y="0"/>
                  </a:cubicBezTo>
                  <a:cubicBezTo>
                    <a:pt x="2378" y="1502"/>
                    <a:pt x="2378" y="1502"/>
                    <a:pt x="2378" y="1502"/>
                  </a:cubicBezTo>
                  <a:cubicBezTo>
                    <a:pt x="3331" y="1502"/>
                    <a:pt x="3331" y="1502"/>
                    <a:pt x="3331" y="1502"/>
                  </a:cubicBezTo>
                  <a:cubicBezTo>
                    <a:pt x="3538" y="1502"/>
                    <a:pt x="3707" y="1670"/>
                    <a:pt x="3707" y="1877"/>
                  </a:cubicBezTo>
                  <a:cubicBezTo>
                    <a:pt x="3707" y="2084"/>
                    <a:pt x="3538" y="2253"/>
                    <a:pt x="3331" y="2253"/>
                  </a:cubicBezTo>
                  <a:cubicBezTo>
                    <a:pt x="2378" y="2253"/>
                    <a:pt x="2378" y="2253"/>
                    <a:pt x="2378" y="2253"/>
                  </a:cubicBezTo>
                  <a:cubicBezTo>
                    <a:pt x="1627" y="3755"/>
                    <a:pt x="1627" y="3755"/>
                    <a:pt x="1627" y="3755"/>
                  </a:cubicBezTo>
                  <a:lnTo>
                    <a:pt x="1002" y="3755"/>
                  </a:lnTo>
                  <a:close/>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882">
                <a:gradFill>
                  <a:gsLst>
                    <a:gs pos="0">
                      <a:srgbClr val="505050"/>
                    </a:gs>
                    <a:gs pos="100000">
                      <a:srgbClr val="505050"/>
                    </a:gs>
                  </a:gsLst>
                  <a:lin ang="5400000" scaled="1"/>
                </a:gradFill>
                <a:latin typeface="Segoe UI Semilight"/>
              </a:endParaRPr>
            </a:p>
          </p:txBody>
        </p:sp>
      </p:grpSp>
      <p:grpSp>
        <p:nvGrpSpPr>
          <p:cNvPr id="640" name="Group 639">
            <a:extLst>
              <a:ext uri="{FF2B5EF4-FFF2-40B4-BE49-F238E27FC236}">
                <a16:creationId xmlns:a16="http://schemas.microsoft.com/office/drawing/2014/main" id="{2A94189A-AEFA-4FF4-AA50-5E7BAC2B38B8}"/>
              </a:ext>
            </a:extLst>
          </p:cNvPr>
          <p:cNvGrpSpPr/>
          <p:nvPr/>
        </p:nvGrpSpPr>
        <p:grpSpPr>
          <a:xfrm>
            <a:off x="6677741" y="5400068"/>
            <a:ext cx="502920" cy="502920"/>
            <a:chOff x="6676464" y="5181354"/>
            <a:chExt cx="502920" cy="502920"/>
          </a:xfrm>
          <a:solidFill>
            <a:schemeClr val="bg1"/>
          </a:solidFill>
        </p:grpSpPr>
        <p:sp useBgFill="1">
          <p:nvSpPr>
            <p:cNvPr id="641" name="Oval 640">
              <a:extLst>
                <a:ext uri="{FF2B5EF4-FFF2-40B4-BE49-F238E27FC236}">
                  <a16:creationId xmlns:a16="http://schemas.microsoft.com/office/drawing/2014/main" id="{3D18A970-057B-4F11-8BE1-6C90D35A1F32}"/>
                </a:ext>
              </a:extLst>
            </p:cNvPr>
            <p:cNvSpPr/>
            <p:nvPr/>
          </p:nvSpPr>
          <p:spPr bwMode="auto">
            <a:xfrm>
              <a:off x="6676464" y="5181354"/>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642" name="Group 8">
              <a:extLst>
                <a:ext uri="{FF2B5EF4-FFF2-40B4-BE49-F238E27FC236}">
                  <a16:creationId xmlns:a16="http://schemas.microsoft.com/office/drawing/2014/main" id="{789F408F-0E90-400E-AF7E-2AC9683C640B}"/>
                </a:ext>
              </a:extLst>
            </p:cNvPr>
            <p:cNvGrpSpPr>
              <a:grpSpLocks noChangeAspect="1"/>
            </p:cNvGrpSpPr>
            <p:nvPr/>
          </p:nvGrpSpPr>
          <p:grpSpPr bwMode="auto">
            <a:xfrm>
              <a:off x="6803377" y="5331619"/>
              <a:ext cx="249094" cy="202390"/>
              <a:chOff x="5458" y="3157"/>
              <a:chExt cx="304" cy="247"/>
            </a:xfrm>
            <a:grpFill/>
          </p:grpSpPr>
          <p:sp>
            <p:nvSpPr>
              <p:cNvPr id="643" name="Freeform 9">
                <a:extLst>
                  <a:ext uri="{FF2B5EF4-FFF2-40B4-BE49-F238E27FC236}">
                    <a16:creationId xmlns:a16="http://schemas.microsoft.com/office/drawing/2014/main" id="{C2F0E138-12AE-413E-B628-31678A91174C}"/>
                  </a:ext>
                </a:extLst>
              </p:cNvPr>
              <p:cNvSpPr>
                <a:spLocks noEditPoints="1"/>
              </p:cNvSpPr>
              <p:nvPr/>
            </p:nvSpPr>
            <p:spPr bwMode="auto">
              <a:xfrm>
                <a:off x="5521" y="3157"/>
                <a:ext cx="241" cy="247"/>
              </a:xfrm>
              <a:custGeom>
                <a:avLst/>
                <a:gdLst>
                  <a:gd name="T0" fmla="*/ 35 w 334"/>
                  <a:gd name="T1" fmla="*/ 160 h 341"/>
                  <a:gd name="T2" fmla="*/ 35 w 334"/>
                  <a:gd name="T3" fmla="*/ 61 h 341"/>
                  <a:gd name="T4" fmla="*/ 60 w 334"/>
                  <a:gd name="T5" fmla="*/ 36 h 341"/>
                  <a:gd name="T6" fmla="*/ 266 w 334"/>
                  <a:gd name="T7" fmla="*/ 36 h 341"/>
                  <a:gd name="T8" fmla="*/ 291 w 334"/>
                  <a:gd name="T9" fmla="*/ 61 h 341"/>
                  <a:gd name="T10" fmla="*/ 291 w 334"/>
                  <a:gd name="T11" fmla="*/ 273 h 341"/>
                  <a:gd name="T12" fmla="*/ 266 w 334"/>
                  <a:gd name="T13" fmla="*/ 298 h 341"/>
                  <a:gd name="T14" fmla="*/ 266 w 334"/>
                  <a:gd name="T15" fmla="*/ 298 h 341"/>
                  <a:gd name="T16" fmla="*/ 84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5 w 334"/>
                  <a:gd name="T35" fmla="*/ 0 h 341"/>
                  <a:gd name="T36" fmla="*/ 255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5 w 334"/>
                  <a:gd name="T59" fmla="*/ 78 h 341"/>
                  <a:gd name="T60" fmla="*/ 0 w 334"/>
                  <a:gd name="T61" fmla="*/ 78 h 341"/>
                  <a:gd name="T62" fmla="*/ 35 w 334"/>
                  <a:gd name="T63" fmla="*/ 121 h 341"/>
                  <a:gd name="T64" fmla="*/ 0 w 334"/>
                  <a:gd name="T65" fmla="*/ 121 h 341"/>
                  <a:gd name="T66" fmla="*/ 35 w 334"/>
                  <a:gd name="T67" fmla="*/ 163 h 341"/>
                  <a:gd name="T68" fmla="*/ 0 w 334"/>
                  <a:gd name="T69" fmla="*/ 163 h 341"/>
                  <a:gd name="T70" fmla="*/ 121 w 334"/>
                  <a:gd name="T71" fmla="*/ 298 h 341"/>
                  <a:gd name="T72" fmla="*/ 121 w 334"/>
                  <a:gd name="T73" fmla="*/ 341 h 341"/>
                  <a:gd name="T74" fmla="*/ 163 w 334"/>
                  <a:gd name="T75" fmla="*/ 341 h 341"/>
                  <a:gd name="T76" fmla="*/ 163 w 334"/>
                  <a:gd name="T77" fmla="*/ 298 h 341"/>
                  <a:gd name="T78" fmla="*/ 206 w 334"/>
                  <a:gd name="T79" fmla="*/ 298 h 341"/>
                  <a:gd name="T80" fmla="*/ 206 w 334"/>
                  <a:gd name="T81" fmla="*/ 341 h 341"/>
                  <a:gd name="T82" fmla="*/ 255 w 334"/>
                  <a:gd name="T83" fmla="*/ 298 h 341"/>
                  <a:gd name="T84" fmla="*/ 255 w 334"/>
                  <a:gd name="T85"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4" h="341">
                    <a:moveTo>
                      <a:pt x="35" y="160"/>
                    </a:moveTo>
                    <a:cubicBezTo>
                      <a:pt x="35" y="65"/>
                      <a:pt x="35" y="61"/>
                      <a:pt x="35" y="61"/>
                    </a:cubicBezTo>
                    <a:cubicBezTo>
                      <a:pt x="35" y="45"/>
                      <a:pt x="48" y="36"/>
                      <a:pt x="60" y="36"/>
                    </a:cubicBezTo>
                    <a:cubicBezTo>
                      <a:pt x="266" y="36"/>
                      <a:pt x="266" y="36"/>
                      <a:pt x="266" y="36"/>
                    </a:cubicBezTo>
                    <a:cubicBezTo>
                      <a:pt x="282" y="36"/>
                      <a:pt x="291" y="45"/>
                      <a:pt x="291" y="61"/>
                    </a:cubicBezTo>
                    <a:cubicBezTo>
                      <a:pt x="291" y="273"/>
                      <a:pt x="291" y="273"/>
                      <a:pt x="291" y="273"/>
                    </a:cubicBezTo>
                    <a:cubicBezTo>
                      <a:pt x="291" y="286"/>
                      <a:pt x="282" y="298"/>
                      <a:pt x="266" y="298"/>
                    </a:cubicBezTo>
                    <a:cubicBezTo>
                      <a:pt x="266" y="298"/>
                      <a:pt x="266" y="298"/>
                      <a:pt x="266" y="298"/>
                    </a:cubicBezTo>
                    <a:cubicBezTo>
                      <a:pt x="161" y="298"/>
                      <a:pt x="110" y="298"/>
                      <a:pt x="84" y="298"/>
                    </a:cubicBezTo>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5" y="0"/>
                    </a:moveTo>
                    <a:cubicBezTo>
                      <a:pt x="255" y="36"/>
                      <a:pt x="255" y="36"/>
                      <a:pt x="255"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5" y="78"/>
                    </a:moveTo>
                    <a:cubicBezTo>
                      <a:pt x="0" y="78"/>
                      <a:pt x="0" y="78"/>
                      <a:pt x="0" y="78"/>
                    </a:cubicBezTo>
                    <a:moveTo>
                      <a:pt x="35" y="121"/>
                    </a:moveTo>
                    <a:cubicBezTo>
                      <a:pt x="0" y="121"/>
                      <a:pt x="0" y="121"/>
                      <a:pt x="0" y="121"/>
                    </a:cubicBezTo>
                    <a:moveTo>
                      <a:pt x="35" y="163"/>
                    </a:moveTo>
                    <a:cubicBezTo>
                      <a:pt x="0" y="163"/>
                      <a:pt x="0" y="163"/>
                      <a:pt x="0" y="163"/>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5" y="298"/>
                    </a:moveTo>
                    <a:cubicBezTo>
                      <a:pt x="255" y="341"/>
                      <a:pt x="255" y="341"/>
                      <a:pt x="255" y="341"/>
                    </a:cubicBezTo>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sp>
            <p:nvSpPr>
              <p:cNvPr id="644" name="Freeform 10">
                <a:extLst>
                  <a:ext uri="{FF2B5EF4-FFF2-40B4-BE49-F238E27FC236}">
                    <a16:creationId xmlns:a16="http://schemas.microsoft.com/office/drawing/2014/main" id="{01568811-477D-45C7-B54F-1EB034731CCA}"/>
                  </a:ext>
                </a:extLst>
              </p:cNvPr>
              <p:cNvSpPr>
                <a:spLocks noEditPoints="1"/>
              </p:cNvSpPr>
              <p:nvPr/>
            </p:nvSpPr>
            <p:spPr bwMode="auto">
              <a:xfrm>
                <a:off x="5458" y="3262"/>
                <a:ext cx="138" cy="141"/>
              </a:xfrm>
              <a:custGeom>
                <a:avLst/>
                <a:gdLst>
                  <a:gd name="T0" fmla="*/ 153 w 191"/>
                  <a:gd name="T1" fmla="*/ 171 h 195"/>
                  <a:gd name="T2" fmla="*/ 35 w 191"/>
                  <a:gd name="T3" fmla="*/ 171 h 195"/>
                  <a:gd name="T4" fmla="*/ 21 w 191"/>
                  <a:gd name="T5" fmla="*/ 156 h 195"/>
                  <a:gd name="T6" fmla="*/ 21 w 191"/>
                  <a:gd name="T7" fmla="*/ 35 h 195"/>
                  <a:gd name="T8" fmla="*/ 35 w 191"/>
                  <a:gd name="T9" fmla="*/ 20 h 195"/>
                  <a:gd name="T10" fmla="*/ 153 w 191"/>
                  <a:gd name="T11" fmla="*/ 20 h 195"/>
                  <a:gd name="T12" fmla="*/ 167 w 191"/>
                  <a:gd name="T13" fmla="*/ 35 h 195"/>
                  <a:gd name="T14" fmla="*/ 167 w 191"/>
                  <a:gd name="T15" fmla="*/ 156 h 195"/>
                  <a:gd name="T16" fmla="*/ 153 w 191"/>
                  <a:gd name="T17" fmla="*/ 171 h 195"/>
                  <a:gd name="T18" fmla="*/ 45 w 191"/>
                  <a:gd name="T19" fmla="*/ 20 h 195"/>
                  <a:gd name="T20" fmla="*/ 45 w 191"/>
                  <a:gd name="T21" fmla="*/ 0 h 195"/>
                  <a:gd name="T22" fmla="*/ 69 w 191"/>
                  <a:gd name="T23" fmla="*/ 20 h 195"/>
                  <a:gd name="T24" fmla="*/ 69 w 191"/>
                  <a:gd name="T25" fmla="*/ 0 h 195"/>
                  <a:gd name="T26" fmla="*/ 94 w 191"/>
                  <a:gd name="T27" fmla="*/ 0 h 195"/>
                  <a:gd name="T28" fmla="*/ 94 w 191"/>
                  <a:gd name="T29" fmla="*/ 20 h 195"/>
                  <a:gd name="T30" fmla="*/ 118 w 191"/>
                  <a:gd name="T31" fmla="*/ 0 h 195"/>
                  <a:gd name="T32" fmla="*/ 118 w 191"/>
                  <a:gd name="T33" fmla="*/ 20 h 195"/>
                  <a:gd name="T34" fmla="*/ 146 w 191"/>
                  <a:gd name="T35" fmla="*/ 0 h 195"/>
                  <a:gd name="T36" fmla="*/ 146 w 191"/>
                  <a:gd name="T37" fmla="*/ 20 h 195"/>
                  <a:gd name="T38" fmla="*/ 191 w 191"/>
                  <a:gd name="T39" fmla="*/ 45 h 195"/>
                  <a:gd name="T40" fmla="*/ 167 w 191"/>
                  <a:gd name="T41" fmla="*/ 45 h 195"/>
                  <a:gd name="T42" fmla="*/ 191 w 191"/>
                  <a:gd name="T43" fmla="*/ 69 h 195"/>
                  <a:gd name="T44" fmla="*/ 167 w 191"/>
                  <a:gd name="T45" fmla="*/ 69 h 195"/>
                  <a:gd name="T46" fmla="*/ 191 w 191"/>
                  <a:gd name="T47" fmla="*/ 93 h 195"/>
                  <a:gd name="T48" fmla="*/ 167 w 191"/>
                  <a:gd name="T49" fmla="*/ 93 h 195"/>
                  <a:gd name="T50" fmla="*/ 191 w 191"/>
                  <a:gd name="T51" fmla="*/ 122 h 195"/>
                  <a:gd name="T52" fmla="*/ 167 w 191"/>
                  <a:gd name="T53" fmla="*/ 122 h 195"/>
                  <a:gd name="T54" fmla="*/ 191 w 191"/>
                  <a:gd name="T55" fmla="*/ 146 h 195"/>
                  <a:gd name="T56" fmla="*/ 167 w 191"/>
                  <a:gd name="T57" fmla="*/ 146 h 195"/>
                  <a:gd name="T58" fmla="*/ 21 w 191"/>
                  <a:gd name="T59" fmla="*/ 45 h 195"/>
                  <a:gd name="T60" fmla="*/ 0 w 191"/>
                  <a:gd name="T61" fmla="*/ 45 h 195"/>
                  <a:gd name="T62" fmla="*/ 21 w 191"/>
                  <a:gd name="T63" fmla="*/ 69 h 195"/>
                  <a:gd name="T64" fmla="*/ 0 w 191"/>
                  <a:gd name="T65" fmla="*/ 69 h 195"/>
                  <a:gd name="T66" fmla="*/ 21 w 191"/>
                  <a:gd name="T67" fmla="*/ 93 h 195"/>
                  <a:gd name="T68" fmla="*/ 0 w 191"/>
                  <a:gd name="T69" fmla="*/ 93 h 195"/>
                  <a:gd name="T70" fmla="*/ 21 w 191"/>
                  <a:gd name="T71" fmla="*/ 122 h 195"/>
                  <a:gd name="T72" fmla="*/ 0 w 191"/>
                  <a:gd name="T73" fmla="*/ 122 h 195"/>
                  <a:gd name="T74" fmla="*/ 21 w 191"/>
                  <a:gd name="T75" fmla="*/ 146 h 195"/>
                  <a:gd name="T76" fmla="*/ 0 w 191"/>
                  <a:gd name="T77" fmla="*/ 146 h 195"/>
                  <a:gd name="T78" fmla="*/ 45 w 191"/>
                  <a:gd name="T79" fmla="*/ 171 h 195"/>
                  <a:gd name="T80" fmla="*/ 45 w 191"/>
                  <a:gd name="T81" fmla="*/ 195 h 195"/>
                  <a:gd name="T82" fmla="*/ 69 w 191"/>
                  <a:gd name="T83" fmla="*/ 171 h 195"/>
                  <a:gd name="T84" fmla="*/ 69 w 191"/>
                  <a:gd name="T85" fmla="*/ 195 h 195"/>
                  <a:gd name="T86" fmla="*/ 94 w 191"/>
                  <a:gd name="T87" fmla="*/ 195 h 195"/>
                  <a:gd name="T88" fmla="*/ 94 w 191"/>
                  <a:gd name="T89" fmla="*/ 171 h 195"/>
                  <a:gd name="T90" fmla="*/ 118 w 191"/>
                  <a:gd name="T91" fmla="*/ 171 h 195"/>
                  <a:gd name="T92" fmla="*/ 118 w 191"/>
                  <a:gd name="T93" fmla="*/ 195 h 195"/>
                  <a:gd name="T94" fmla="*/ 146 w 191"/>
                  <a:gd name="T95" fmla="*/ 171 h 195"/>
                  <a:gd name="T96" fmla="*/ 146 w 191"/>
                  <a:gd name="T97" fmla="*/ 19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1" h="195">
                    <a:moveTo>
                      <a:pt x="153" y="171"/>
                    </a:moveTo>
                    <a:cubicBezTo>
                      <a:pt x="35" y="171"/>
                      <a:pt x="35" y="171"/>
                      <a:pt x="35" y="171"/>
                    </a:cubicBezTo>
                    <a:cubicBezTo>
                      <a:pt x="28" y="171"/>
                      <a:pt x="21" y="163"/>
                      <a:pt x="21" y="156"/>
                    </a:cubicBezTo>
                    <a:cubicBezTo>
                      <a:pt x="21" y="35"/>
                      <a:pt x="21" y="35"/>
                      <a:pt x="21" y="35"/>
                    </a:cubicBezTo>
                    <a:cubicBezTo>
                      <a:pt x="21" y="26"/>
                      <a:pt x="28" y="20"/>
                      <a:pt x="35" y="20"/>
                    </a:cubicBezTo>
                    <a:cubicBezTo>
                      <a:pt x="153" y="20"/>
                      <a:pt x="153" y="20"/>
                      <a:pt x="153" y="20"/>
                    </a:cubicBezTo>
                    <a:cubicBezTo>
                      <a:pt x="162" y="20"/>
                      <a:pt x="167" y="26"/>
                      <a:pt x="167" y="35"/>
                    </a:cubicBezTo>
                    <a:cubicBezTo>
                      <a:pt x="167" y="156"/>
                      <a:pt x="167" y="156"/>
                      <a:pt x="167" y="156"/>
                    </a:cubicBezTo>
                    <a:cubicBezTo>
                      <a:pt x="167" y="163"/>
                      <a:pt x="162" y="171"/>
                      <a:pt x="153" y="171"/>
                    </a:cubicBezTo>
                    <a:close/>
                    <a:moveTo>
                      <a:pt x="45" y="20"/>
                    </a:moveTo>
                    <a:cubicBezTo>
                      <a:pt x="45" y="0"/>
                      <a:pt x="45" y="0"/>
                      <a:pt x="45" y="0"/>
                    </a:cubicBezTo>
                    <a:moveTo>
                      <a:pt x="69" y="20"/>
                    </a:moveTo>
                    <a:cubicBezTo>
                      <a:pt x="69" y="0"/>
                      <a:pt x="69" y="0"/>
                      <a:pt x="69" y="0"/>
                    </a:cubicBezTo>
                    <a:moveTo>
                      <a:pt x="94" y="0"/>
                    </a:moveTo>
                    <a:cubicBezTo>
                      <a:pt x="94" y="20"/>
                      <a:pt x="94" y="20"/>
                      <a:pt x="94" y="20"/>
                    </a:cubicBezTo>
                    <a:moveTo>
                      <a:pt x="118" y="0"/>
                    </a:moveTo>
                    <a:cubicBezTo>
                      <a:pt x="118" y="20"/>
                      <a:pt x="118" y="20"/>
                      <a:pt x="118" y="20"/>
                    </a:cubicBezTo>
                    <a:moveTo>
                      <a:pt x="146" y="0"/>
                    </a:moveTo>
                    <a:cubicBezTo>
                      <a:pt x="146" y="20"/>
                      <a:pt x="146" y="20"/>
                      <a:pt x="146" y="20"/>
                    </a:cubicBezTo>
                    <a:moveTo>
                      <a:pt x="191" y="45"/>
                    </a:moveTo>
                    <a:cubicBezTo>
                      <a:pt x="167" y="45"/>
                      <a:pt x="167" y="45"/>
                      <a:pt x="167" y="45"/>
                    </a:cubicBezTo>
                    <a:moveTo>
                      <a:pt x="191" y="69"/>
                    </a:moveTo>
                    <a:cubicBezTo>
                      <a:pt x="167" y="69"/>
                      <a:pt x="167" y="69"/>
                      <a:pt x="167" y="69"/>
                    </a:cubicBezTo>
                    <a:moveTo>
                      <a:pt x="191" y="93"/>
                    </a:moveTo>
                    <a:cubicBezTo>
                      <a:pt x="167" y="93"/>
                      <a:pt x="167" y="93"/>
                      <a:pt x="167" y="93"/>
                    </a:cubicBezTo>
                    <a:moveTo>
                      <a:pt x="191" y="122"/>
                    </a:moveTo>
                    <a:cubicBezTo>
                      <a:pt x="167" y="122"/>
                      <a:pt x="167" y="122"/>
                      <a:pt x="167" y="122"/>
                    </a:cubicBezTo>
                    <a:moveTo>
                      <a:pt x="191" y="146"/>
                    </a:moveTo>
                    <a:cubicBezTo>
                      <a:pt x="167" y="146"/>
                      <a:pt x="167" y="146"/>
                      <a:pt x="167" y="146"/>
                    </a:cubicBezTo>
                    <a:moveTo>
                      <a:pt x="21" y="45"/>
                    </a:moveTo>
                    <a:cubicBezTo>
                      <a:pt x="0" y="45"/>
                      <a:pt x="0" y="45"/>
                      <a:pt x="0" y="45"/>
                    </a:cubicBezTo>
                    <a:moveTo>
                      <a:pt x="21" y="69"/>
                    </a:moveTo>
                    <a:cubicBezTo>
                      <a:pt x="0" y="69"/>
                      <a:pt x="0" y="69"/>
                      <a:pt x="0" y="69"/>
                    </a:cubicBezTo>
                    <a:moveTo>
                      <a:pt x="21" y="93"/>
                    </a:moveTo>
                    <a:cubicBezTo>
                      <a:pt x="0" y="93"/>
                      <a:pt x="0" y="93"/>
                      <a:pt x="0" y="93"/>
                    </a:cubicBezTo>
                    <a:moveTo>
                      <a:pt x="21" y="122"/>
                    </a:moveTo>
                    <a:cubicBezTo>
                      <a:pt x="0" y="122"/>
                      <a:pt x="0" y="122"/>
                      <a:pt x="0" y="122"/>
                    </a:cubicBezTo>
                    <a:moveTo>
                      <a:pt x="21" y="146"/>
                    </a:moveTo>
                    <a:cubicBezTo>
                      <a:pt x="0" y="146"/>
                      <a:pt x="0" y="146"/>
                      <a:pt x="0" y="146"/>
                    </a:cubicBezTo>
                    <a:moveTo>
                      <a:pt x="45" y="171"/>
                    </a:moveTo>
                    <a:cubicBezTo>
                      <a:pt x="45" y="195"/>
                      <a:pt x="45" y="195"/>
                      <a:pt x="45" y="195"/>
                    </a:cubicBezTo>
                    <a:moveTo>
                      <a:pt x="69" y="171"/>
                    </a:moveTo>
                    <a:cubicBezTo>
                      <a:pt x="69" y="195"/>
                      <a:pt x="69" y="195"/>
                      <a:pt x="69" y="195"/>
                    </a:cubicBezTo>
                    <a:moveTo>
                      <a:pt x="94" y="195"/>
                    </a:moveTo>
                    <a:cubicBezTo>
                      <a:pt x="94" y="171"/>
                      <a:pt x="94" y="171"/>
                      <a:pt x="94" y="171"/>
                    </a:cubicBezTo>
                    <a:moveTo>
                      <a:pt x="118" y="171"/>
                    </a:moveTo>
                    <a:cubicBezTo>
                      <a:pt x="118" y="195"/>
                      <a:pt x="118" y="195"/>
                      <a:pt x="118" y="195"/>
                    </a:cubicBezTo>
                    <a:moveTo>
                      <a:pt x="146" y="171"/>
                    </a:moveTo>
                    <a:cubicBezTo>
                      <a:pt x="146" y="195"/>
                      <a:pt x="146" y="195"/>
                      <a:pt x="146" y="195"/>
                    </a:cubicBezTo>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grpSp>
      </p:grpSp>
      <p:grpSp>
        <p:nvGrpSpPr>
          <p:cNvPr id="645" name="Group 644">
            <a:extLst>
              <a:ext uri="{FF2B5EF4-FFF2-40B4-BE49-F238E27FC236}">
                <a16:creationId xmlns:a16="http://schemas.microsoft.com/office/drawing/2014/main" id="{5D2EA874-73DB-4AA7-BDD8-DA4638DA5D40}"/>
              </a:ext>
            </a:extLst>
          </p:cNvPr>
          <p:cNvGrpSpPr/>
          <p:nvPr/>
        </p:nvGrpSpPr>
        <p:grpSpPr>
          <a:xfrm>
            <a:off x="7849632" y="4228177"/>
            <a:ext cx="502920" cy="502920"/>
            <a:chOff x="7848355" y="4009463"/>
            <a:chExt cx="502920" cy="502920"/>
          </a:xfrm>
          <a:solidFill>
            <a:schemeClr val="bg1"/>
          </a:solidFill>
        </p:grpSpPr>
        <p:sp useBgFill="1">
          <p:nvSpPr>
            <p:cNvPr id="646" name="Oval 645">
              <a:extLst>
                <a:ext uri="{FF2B5EF4-FFF2-40B4-BE49-F238E27FC236}">
                  <a16:creationId xmlns:a16="http://schemas.microsoft.com/office/drawing/2014/main" id="{AAF8441A-37AC-4DD6-AAE1-79B2FF2BCA43}"/>
                </a:ext>
              </a:extLst>
            </p:cNvPr>
            <p:cNvSpPr/>
            <p:nvPr/>
          </p:nvSpPr>
          <p:spPr bwMode="auto">
            <a:xfrm>
              <a:off x="7848355" y="4009463"/>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47" name="pen">
              <a:extLst>
                <a:ext uri="{FF2B5EF4-FFF2-40B4-BE49-F238E27FC236}">
                  <a16:creationId xmlns:a16="http://schemas.microsoft.com/office/drawing/2014/main" id="{D9DD4EC7-0F4F-43BB-ABCB-91AB7E5BE093}"/>
                </a:ext>
              </a:extLst>
            </p:cNvPr>
            <p:cNvSpPr>
              <a:spLocks noChangeAspect="1" noEditPoints="1"/>
            </p:cNvSpPr>
            <p:nvPr/>
          </p:nvSpPr>
          <p:spPr bwMode="auto">
            <a:xfrm>
              <a:off x="7986668" y="4147273"/>
              <a:ext cx="226294" cy="227301"/>
            </a:xfrm>
            <a:custGeom>
              <a:avLst/>
              <a:gdLst>
                <a:gd name="T0" fmla="*/ 222 w 326"/>
                <a:gd name="T1" fmla="*/ 329 h 329"/>
                <a:gd name="T2" fmla="*/ 211 w 326"/>
                <a:gd name="T3" fmla="*/ 308 h 329"/>
                <a:gd name="T4" fmla="*/ 187 w 326"/>
                <a:gd name="T5" fmla="*/ 128 h 329"/>
                <a:gd name="T6" fmla="*/ 149 w 326"/>
                <a:gd name="T7" fmla="*/ 49 h 329"/>
                <a:gd name="T8" fmla="*/ 144 w 326"/>
                <a:gd name="T9" fmla="*/ 44 h 329"/>
                <a:gd name="T10" fmla="*/ 138 w 326"/>
                <a:gd name="T11" fmla="*/ 45 h 329"/>
                <a:gd name="T12" fmla="*/ 114 w 326"/>
                <a:gd name="T13" fmla="*/ 57 h 329"/>
                <a:gd name="T14" fmla="*/ 87 w 326"/>
                <a:gd name="T15" fmla="*/ 26 h 329"/>
                <a:gd name="T16" fmla="*/ 78 w 326"/>
                <a:gd name="T17" fmla="*/ 7 h 329"/>
                <a:gd name="T18" fmla="*/ 64 w 326"/>
                <a:gd name="T19" fmla="*/ 3 h 329"/>
                <a:gd name="T20" fmla="*/ 50 w 326"/>
                <a:gd name="T21" fmla="*/ 10 h 329"/>
                <a:gd name="T22" fmla="*/ 44 w 326"/>
                <a:gd name="T23" fmla="*/ 24 h 329"/>
                <a:gd name="T24" fmla="*/ 53 w 326"/>
                <a:gd name="T25" fmla="*/ 42 h 329"/>
                <a:gd name="T26" fmla="*/ 215 w 326"/>
                <a:gd name="T27" fmla="*/ 265 h 329"/>
                <a:gd name="T28" fmla="*/ 212 w 326"/>
                <a:gd name="T29" fmla="*/ 256 h 329"/>
                <a:gd name="T30" fmla="*/ 100 w 326"/>
                <a:gd name="T31" fmla="*/ 28 h 329"/>
                <a:gd name="T32" fmla="*/ 90 w 326"/>
                <a:gd name="T33" fmla="*/ 24 h 329"/>
                <a:gd name="T34" fmla="*/ 52 w 326"/>
                <a:gd name="T35" fmla="*/ 43 h 329"/>
                <a:gd name="T36" fmla="*/ 49 w 326"/>
                <a:gd name="T37" fmla="*/ 53 h 329"/>
                <a:gd name="T38" fmla="*/ 163 w 326"/>
                <a:gd name="T39" fmla="*/ 285 h 329"/>
                <a:gd name="T40" fmla="*/ 167 w 326"/>
                <a:gd name="T41" fmla="*/ 290 h 329"/>
                <a:gd name="T42" fmla="*/ 171 w 326"/>
                <a:gd name="T43" fmla="*/ 293 h 329"/>
                <a:gd name="T44" fmla="*/ 210 w 326"/>
                <a:gd name="T45" fmla="*/ 308 h 329"/>
                <a:gd name="T46" fmla="*/ 212 w 326"/>
                <a:gd name="T47" fmla="*/ 308 h 329"/>
                <a:gd name="T48" fmla="*/ 216 w 326"/>
                <a:gd name="T49" fmla="*/ 273 h 329"/>
                <a:gd name="T50" fmla="*/ 215 w 326"/>
                <a:gd name="T51" fmla="*/ 265 h 329"/>
                <a:gd name="T52" fmla="*/ 215 w 326"/>
                <a:gd name="T53" fmla="*/ 265 h 329"/>
                <a:gd name="T54" fmla="*/ 39 w 326"/>
                <a:gd name="T55" fmla="*/ 133 h 329"/>
                <a:gd name="T56" fmla="*/ 32 w 326"/>
                <a:gd name="T57" fmla="*/ 133 h 329"/>
                <a:gd name="T58" fmla="*/ 0 w 326"/>
                <a:gd name="T59" fmla="*/ 166 h 329"/>
                <a:gd name="T60" fmla="*/ 0 w 326"/>
                <a:gd name="T61" fmla="*/ 166 h 329"/>
                <a:gd name="T62" fmla="*/ 33 w 326"/>
                <a:gd name="T63" fmla="*/ 197 h 329"/>
                <a:gd name="T64" fmla="*/ 74 w 326"/>
                <a:gd name="T65" fmla="*/ 196 h 329"/>
                <a:gd name="T66" fmla="*/ 253 w 326"/>
                <a:gd name="T67" fmla="*/ 327 h 329"/>
                <a:gd name="T68" fmla="*/ 261 w 326"/>
                <a:gd name="T69" fmla="*/ 327 h 329"/>
                <a:gd name="T70" fmla="*/ 325 w 326"/>
                <a:gd name="T71" fmla="*/ 261 h 329"/>
                <a:gd name="T72" fmla="*/ 325 w 326"/>
                <a:gd name="T73" fmla="*/ 261 h 329"/>
                <a:gd name="T74" fmla="*/ 259 w 326"/>
                <a:gd name="T75" fmla="*/ 198 h 329"/>
                <a:gd name="T76" fmla="*/ 227 w 326"/>
                <a:gd name="T77" fmla="*/ 198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6" h="329">
                  <a:moveTo>
                    <a:pt x="222" y="329"/>
                  </a:moveTo>
                  <a:cubicBezTo>
                    <a:pt x="211" y="308"/>
                    <a:pt x="211" y="308"/>
                    <a:pt x="211" y="308"/>
                  </a:cubicBezTo>
                  <a:moveTo>
                    <a:pt x="187" y="128"/>
                  </a:moveTo>
                  <a:cubicBezTo>
                    <a:pt x="149" y="49"/>
                    <a:pt x="149" y="49"/>
                    <a:pt x="149" y="49"/>
                  </a:cubicBezTo>
                  <a:cubicBezTo>
                    <a:pt x="149" y="49"/>
                    <a:pt x="147" y="45"/>
                    <a:pt x="144" y="44"/>
                  </a:cubicBezTo>
                  <a:cubicBezTo>
                    <a:pt x="141" y="43"/>
                    <a:pt x="138" y="45"/>
                    <a:pt x="138" y="45"/>
                  </a:cubicBezTo>
                  <a:cubicBezTo>
                    <a:pt x="114" y="57"/>
                    <a:pt x="114" y="57"/>
                    <a:pt x="114" y="57"/>
                  </a:cubicBezTo>
                  <a:moveTo>
                    <a:pt x="87" y="26"/>
                  </a:moveTo>
                  <a:cubicBezTo>
                    <a:pt x="78" y="7"/>
                    <a:pt x="78" y="7"/>
                    <a:pt x="78" y="7"/>
                  </a:cubicBezTo>
                  <a:cubicBezTo>
                    <a:pt x="76" y="2"/>
                    <a:pt x="69" y="0"/>
                    <a:pt x="64" y="3"/>
                  </a:cubicBezTo>
                  <a:cubicBezTo>
                    <a:pt x="50" y="10"/>
                    <a:pt x="50" y="10"/>
                    <a:pt x="50" y="10"/>
                  </a:cubicBezTo>
                  <a:cubicBezTo>
                    <a:pt x="44" y="13"/>
                    <a:pt x="42" y="19"/>
                    <a:pt x="44" y="24"/>
                  </a:cubicBezTo>
                  <a:cubicBezTo>
                    <a:pt x="53" y="42"/>
                    <a:pt x="53" y="42"/>
                    <a:pt x="53" y="42"/>
                  </a:cubicBezTo>
                  <a:moveTo>
                    <a:pt x="215" y="265"/>
                  </a:moveTo>
                  <a:cubicBezTo>
                    <a:pt x="215" y="262"/>
                    <a:pt x="212" y="256"/>
                    <a:pt x="212" y="256"/>
                  </a:cubicBezTo>
                  <a:cubicBezTo>
                    <a:pt x="100" y="28"/>
                    <a:pt x="100" y="28"/>
                    <a:pt x="100" y="28"/>
                  </a:cubicBezTo>
                  <a:cubicBezTo>
                    <a:pt x="98" y="24"/>
                    <a:pt x="93" y="23"/>
                    <a:pt x="90" y="24"/>
                  </a:cubicBezTo>
                  <a:cubicBezTo>
                    <a:pt x="52" y="43"/>
                    <a:pt x="52" y="43"/>
                    <a:pt x="52" y="43"/>
                  </a:cubicBezTo>
                  <a:cubicBezTo>
                    <a:pt x="49" y="45"/>
                    <a:pt x="47" y="49"/>
                    <a:pt x="49" y="53"/>
                  </a:cubicBezTo>
                  <a:cubicBezTo>
                    <a:pt x="163" y="285"/>
                    <a:pt x="163" y="285"/>
                    <a:pt x="163" y="285"/>
                  </a:cubicBezTo>
                  <a:cubicBezTo>
                    <a:pt x="163" y="285"/>
                    <a:pt x="165" y="288"/>
                    <a:pt x="167" y="290"/>
                  </a:cubicBezTo>
                  <a:cubicBezTo>
                    <a:pt x="168" y="291"/>
                    <a:pt x="171" y="293"/>
                    <a:pt x="171" y="293"/>
                  </a:cubicBezTo>
                  <a:cubicBezTo>
                    <a:pt x="181" y="298"/>
                    <a:pt x="207" y="309"/>
                    <a:pt x="210" y="308"/>
                  </a:cubicBezTo>
                  <a:cubicBezTo>
                    <a:pt x="210" y="308"/>
                    <a:pt x="211" y="308"/>
                    <a:pt x="212" y="308"/>
                  </a:cubicBezTo>
                  <a:cubicBezTo>
                    <a:pt x="214" y="306"/>
                    <a:pt x="215" y="285"/>
                    <a:pt x="216" y="273"/>
                  </a:cubicBezTo>
                  <a:cubicBezTo>
                    <a:pt x="216" y="268"/>
                    <a:pt x="215" y="265"/>
                    <a:pt x="215" y="265"/>
                  </a:cubicBezTo>
                  <a:cubicBezTo>
                    <a:pt x="215" y="265"/>
                    <a:pt x="215" y="267"/>
                    <a:pt x="215" y="265"/>
                  </a:cubicBezTo>
                  <a:close/>
                  <a:moveTo>
                    <a:pt x="39" y="133"/>
                  </a:moveTo>
                  <a:cubicBezTo>
                    <a:pt x="32" y="133"/>
                    <a:pt x="32" y="133"/>
                    <a:pt x="32" y="133"/>
                  </a:cubicBezTo>
                  <a:cubicBezTo>
                    <a:pt x="14" y="134"/>
                    <a:pt x="0" y="148"/>
                    <a:pt x="0" y="166"/>
                  </a:cubicBezTo>
                  <a:cubicBezTo>
                    <a:pt x="0" y="166"/>
                    <a:pt x="0" y="166"/>
                    <a:pt x="0" y="166"/>
                  </a:cubicBezTo>
                  <a:cubicBezTo>
                    <a:pt x="1" y="183"/>
                    <a:pt x="15" y="197"/>
                    <a:pt x="33" y="197"/>
                  </a:cubicBezTo>
                  <a:cubicBezTo>
                    <a:pt x="74" y="196"/>
                    <a:pt x="74" y="196"/>
                    <a:pt x="74" y="196"/>
                  </a:cubicBezTo>
                  <a:moveTo>
                    <a:pt x="253" y="327"/>
                  </a:moveTo>
                  <a:cubicBezTo>
                    <a:pt x="261" y="327"/>
                    <a:pt x="261" y="327"/>
                    <a:pt x="261" y="327"/>
                  </a:cubicBezTo>
                  <a:cubicBezTo>
                    <a:pt x="297" y="327"/>
                    <a:pt x="326" y="297"/>
                    <a:pt x="325" y="261"/>
                  </a:cubicBezTo>
                  <a:cubicBezTo>
                    <a:pt x="325" y="261"/>
                    <a:pt x="325" y="261"/>
                    <a:pt x="325" y="261"/>
                  </a:cubicBezTo>
                  <a:cubicBezTo>
                    <a:pt x="324" y="226"/>
                    <a:pt x="295" y="197"/>
                    <a:pt x="259" y="198"/>
                  </a:cubicBezTo>
                  <a:cubicBezTo>
                    <a:pt x="227" y="198"/>
                    <a:pt x="227" y="198"/>
                    <a:pt x="227" y="198"/>
                  </a:cubicBezTo>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grpSp>
      <p:grpSp>
        <p:nvGrpSpPr>
          <p:cNvPr id="648" name="Group 647">
            <a:extLst>
              <a:ext uri="{FF2B5EF4-FFF2-40B4-BE49-F238E27FC236}">
                <a16:creationId xmlns:a16="http://schemas.microsoft.com/office/drawing/2014/main" id="{D8BC4F32-C4C5-42C6-8404-992BA4F1F83B}"/>
              </a:ext>
            </a:extLst>
          </p:cNvPr>
          <p:cNvGrpSpPr/>
          <p:nvPr/>
        </p:nvGrpSpPr>
        <p:grpSpPr>
          <a:xfrm>
            <a:off x="3657362" y="1933186"/>
            <a:ext cx="502920" cy="502920"/>
            <a:chOff x="3656085" y="1714472"/>
            <a:chExt cx="502920" cy="502920"/>
          </a:xfrm>
          <a:solidFill>
            <a:schemeClr val="bg1"/>
          </a:solidFill>
        </p:grpSpPr>
        <p:sp useBgFill="1">
          <p:nvSpPr>
            <p:cNvPr id="649" name="Oval 648">
              <a:extLst>
                <a:ext uri="{FF2B5EF4-FFF2-40B4-BE49-F238E27FC236}">
                  <a16:creationId xmlns:a16="http://schemas.microsoft.com/office/drawing/2014/main" id="{C47D2910-7D6F-4AA0-84EB-92E319E07146}"/>
                </a:ext>
              </a:extLst>
            </p:cNvPr>
            <p:cNvSpPr/>
            <p:nvPr/>
          </p:nvSpPr>
          <p:spPr bwMode="auto">
            <a:xfrm>
              <a:off x="3656085" y="1714472"/>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650" name="Group 649">
              <a:extLst>
                <a:ext uri="{FF2B5EF4-FFF2-40B4-BE49-F238E27FC236}">
                  <a16:creationId xmlns:a16="http://schemas.microsoft.com/office/drawing/2014/main" id="{5B75A309-A0F3-45B1-9C76-68B9EA541201}"/>
                </a:ext>
              </a:extLst>
            </p:cNvPr>
            <p:cNvGrpSpPr/>
            <p:nvPr/>
          </p:nvGrpSpPr>
          <p:grpSpPr>
            <a:xfrm>
              <a:off x="3789165" y="1884600"/>
              <a:ext cx="236760" cy="162664"/>
              <a:chOff x="1083478" y="4352862"/>
              <a:chExt cx="545310" cy="374645"/>
            </a:xfrm>
            <a:grpFill/>
          </p:grpSpPr>
          <p:grpSp>
            <p:nvGrpSpPr>
              <p:cNvPr id="651" name="Group 650">
                <a:extLst>
                  <a:ext uri="{FF2B5EF4-FFF2-40B4-BE49-F238E27FC236}">
                    <a16:creationId xmlns:a16="http://schemas.microsoft.com/office/drawing/2014/main" id="{89BFE4E9-ED26-4435-9D45-70F680CF09FC}"/>
                  </a:ext>
                </a:extLst>
              </p:cNvPr>
              <p:cNvGrpSpPr/>
              <p:nvPr/>
            </p:nvGrpSpPr>
            <p:grpSpPr>
              <a:xfrm>
                <a:off x="1083478" y="4352862"/>
                <a:ext cx="545310" cy="374645"/>
                <a:chOff x="1691236" y="428625"/>
                <a:chExt cx="707044" cy="485770"/>
              </a:xfrm>
              <a:grpFill/>
            </p:grpSpPr>
            <p:sp>
              <p:nvSpPr>
                <p:cNvPr id="653" name="Rectangle 652">
                  <a:extLst>
                    <a:ext uri="{FF2B5EF4-FFF2-40B4-BE49-F238E27FC236}">
                      <a16:creationId xmlns:a16="http://schemas.microsoft.com/office/drawing/2014/main" id="{773547D0-8C1E-421B-8BDB-94B8C14B3B08}"/>
                    </a:ext>
                  </a:extLst>
                </p:cNvPr>
                <p:cNvSpPr/>
                <p:nvPr/>
              </p:nvSpPr>
              <p:spPr bwMode="auto">
                <a:xfrm>
                  <a:off x="1743075" y="428625"/>
                  <a:ext cx="614363" cy="409575"/>
                </a:xfrm>
                <a:prstGeom prst="rect">
                  <a:avLst/>
                </a:prstGeom>
                <a:grpFill/>
                <a:ln w="12700" cap="flat">
                  <a:solidFill>
                    <a:schemeClr val="tx1">
                      <a:lumMod val="90000"/>
                      <a:lumOff val="10000"/>
                    </a:schemeClr>
                  </a:solidFill>
                  <a:prstDash val="solid"/>
                  <a:miter lim="800000"/>
                  <a:headEnd/>
                  <a:tailEnd/>
                </a:ln>
                <a:extLst/>
              </p:spPr>
              <p:txBody>
                <a:bodyPr vert="horz" wrap="none" lIns="89642" tIns="44821" rIns="109728" bIns="44821" numCol="1" anchor="ctr" anchorCtr="0" compatLnSpc="1">
                  <a:prstTxWarp prst="textNoShape">
                    <a:avLst/>
                  </a:prstTxWarp>
                </a:bodyPr>
                <a:lstStyle/>
                <a:p>
                  <a:pPr algn="ctr" defTabSz="914367">
                    <a:defRPr/>
                  </a:pPr>
                  <a:r>
                    <a:rPr lang="en-US" sz="500">
                      <a:gradFill>
                        <a:gsLst>
                          <a:gs pos="0">
                            <a:srgbClr val="1A1A1A"/>
                          </a:gs>
                          <a:gs pos="100000">
                            <a:srgbClr val="1A1A1A"/>
                          </a:gs>
                        </a:gsLst>
                        <a:lin ang="5400000" scaled="0"/>
                      </a:gradFill>
                      <a:latin typeface="Segoe UI Semibold"/>
                    </a:rPr>
                    <a:t>68</a:t>
                  </a:r>
                </a:p>
              </p:txBody>
            </p:sp>
            <p:sp>
              <p:nvSpPr>
                <p:cNvPr id="654" name="Rectangle 7">
                  <a:extLst>
                    <a:ext uri="{FF2B5EF4-FFF2-40B4-BE49-F238E27FC236}">
                      <a16:creationId xmlns:a16="http://schemas.microsoft.com/office/drawing/2014/main" id="{C6C72A21-2D5C-435E-AD0C-2CE96D3E0C00}"/>
                    </a:ext>
                  </a:extLst>
                </p:cNvPr>
                <p:cNvSpPr/>
                <p:nvPr/>
              </p:nvSpPr>
              <p:spPr bwMode="auto">
                <a:xfrm>
                  <a:off x="1691236" y="839275"/>
                  <a:ext cx="707044" cy="75120"/>
                </a:xfrm>
                <a:custGeom>
                  <a:avLst/>
                  <a:gdLst>
                    <a:gd name="connsiteX0" fmla="*/ 0 w 800594"/>
                    <a:gd name="connsiteY0" fmla="*/ 0 h 148615"/>
                    <a:gd name="connsiteX1" fmla="*/ 800594 w 800594"/>
                    <a:gd name="connsiteY1" fmla="*/ 0 h 148615"/>
                    <a:gd name="connsiteX2" fmla="*/ 800594 w 800594"/>
                    <a:gd name="connsiteY2" fmla="*/ 148615 h 148615"/>
                    <a:gd name="connsiteX3" fmla="*/ 0 w 800594"/>
                    <a:gd name="connsiteY3" fmla="*/ 148615 h 148615"/>
                    <a:gd name="connsiteX4" fmla="*/ 0 w 800594"/>
                    <a:gd name="connsiteY4" fmla="*/ 0 h 148615"/>
                    <a:gd name="connsiteX0" fmla="*/ 0 w 800594"/>
                    <a:gd name="connsiteY0" fmla="*/ 0 h 154965"/>
                    <a:gd name="connsiteX1" fmla="*/ 800594 w 800594"/>
                    <a:gd name="connsiteY1" fmla="*/ 0 h 154965"/>
                    <a:gd name="connsiteX2" fmla="*/ 800594 w 800594"/>
                    <a:gd name="connsiteY2" fmla="*/ 148615 h 154965"/>
                    <a:gd name="connsiteX3" fmla="*/ 101600 w 800594"/>
                    <a:gd name="connsiteY3" fmla="*/ 154965 h 154965"/>
                    <a:gd name="connsiteX4" fmla="*/ 0 w 800594"/>
                    <a:gd name="connsiteY4" fmla="*/ 0 h 154965"/>
                    <a:gd name="connsiteX0" fmla="*/ 0 w 800594"/>
                    <a:gd name="connsiteY0" fmla="*/ 0 h 154965"/>
                    <a:gd name="connsiteX1" fmla="*/ 800594 w 800594"/>
                    <a:gd name="connsiteY1" fmla="*/ 0 h 154965"/>
                    <a:gd name="connsiteX2" fmla="*/ 679944 w 800594"/>
                    <a:gd name="connsiteY2" fmla="*/ 142265 h 154965"/>
                    <a:gd name="connsiteX3" fmla="*/ 101600 w 800594"/>
                    <a:gd name="connsiteY3" fmla="*/ 154965 h 154965"/>
                    <a:gd name="connsiteX4" fmla="*/ 0 w 800594"/>
                    <a:gd name="connsiteY4" fmla="*/ 0 h 154965"/>
                    <a:gd name="connsiteX0" fmla="*/ 0 w 800594"/>
                    <a:gd name="connsiteY0" fmla="*/ 0 h 161315"/>
                    <a:gd name="connsiteX1" fmla="*/ 800594 w 800594"/>
                    <a:gd name="connsiteY1" fmla="*/ 0 h 161315"/>
                    <a:gd name="connsiteX2" fmla="*/ 692644 w 800594"/>
                    <a:gd name="connsiteY2" fmla="*/ 161315 h 161315"/>
                    <a:gd name="connsiteX3" fmla="*/ 101600 w 800594"/>
                    <a:gd name="connsiteY3" fmla="*/ 154965 h 161315"/>
                    <a:gd name="connsiteX4" fmla="*/ 0 w 800594"/>
                    <a:gd name="connsiteY4" fmla="*/ 0 h 1613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0594" h="161315">
                      <a:moveTo>
                        <a:pt x="0" y="0"/>
                      </a:moveTo>
                      <a:lnTo>
                        <a:pt x="800594" y="0"/>
                      </a:lnTo>
                      <a:lnTo>
                        <a:pt x="692644" y="161315"/>
                      </a:lnTo>
                      <a:lnTo>
                        <a:pt x="101600" y="154965"/>
                      </a:lnTo>
                      <a:lnTo>
                        <a:pt x="0" y="0"/>
                      </a:lnTo>
                      <a:close/>
                    </a:path>
                  </a:pathLst>
                </a:custGeom>
                <a:grpFill/>
                <a:ln w="12700" cap="flat">
                  <a:solidFill>
                    <a:schemeClr val="tx1">
                      <a:lumMod val="90000"/>
                      <a:lumOff val="10000"/>
                    </a:schemeClr>
                  </a:solidFill>
                  <a:prstDash val="solid"/>
                  <a:miter lim="800000"/>
                  <a:headEnd/>
                  <a:tailEnd/>
                </a:ln>
                <a:extLst/>
              </p:spPr>
              <p:txBody>
                <a:bodyPr vert="horz" wrap="none" lIns="89642" tIns="44821" rIns="109728" bIns="44821" numCol="1" anchor="ctr" anchorCtr="0" compatLnSpc="1">
                  <a:prstTxWarp prst="textNoShape">
                    <a:avLst/>
                  </a:prstTxWarp>
                </a:bodyPr>
                <a:lstStyle/>
                <a:p>
                  <a:pPr algn="ctr" defTabSz="914367">
                    <a:defRPr/>
                  </a:pPr>
                  <a:endParaRPr lang="en-US" sz="500" err="1">
                    <a:gradFill>
                      <a:gsLst>
                        <a:gs pos="0">
                          <a:srgbClr val="1A1A1A"/>
                        </a:gs>
                        <a:gs pos="100000">
                          <a:srgbClr val="1A1A1A"/>
                        </a:gs>
                      </a:gsLst>
                      <a:lin ang="5400000" scaled="0"/>
                    </a:gradFill>
                    <a:latin typeface="Segoe UI Semibold"/>
                  </a:endParaRPr>
                </a:p>
              </p:txBody>
            </p:sp>
          </p:grpSp>
          <p:sp>
            <p:nvSpPr>
              <p:cNvPr id="652" name="Oval 651">
                <a:extLst>
                  <a:ext uri="{FF2B5EF4-FFF2-40B4-BE49-F238E27FC236}">
                    <a16:creationId xmlns:a16="http://schemas.microsoft.com/office/drawing/2014/main" id="{49330A4C-15D7-4B08-8E37-49C1E60A927A}"/>
                  </a:ext>
                </a:extLst>
              </p:cNvPr>
              <p:cNvSpPr/>
              <p:nvPr/>
            </p:nvSpPr>
            <p:spPr bwMode="auto">
              <a:xfrm>
                <a:off x="1458893" y="4457699"/>
                <a:ext cx="27433" cy="27431"/>
              </a:xfrm>
              <a:prstGeom prst="ellipse">
                <a:avLst/>
              </a:prstGeom>
              <a:grpFill/>
              <a:ln w="12700" cap="flat">
                <a:solidFill>
                  <a:schemeClr val="tx1">
                    <a:lumMod val="90000"/>
                    <a:lumOff val="10000"/>
                  </a:schemeClr>
                </a:solidFill>
                <a:prstDash val="solid"/>
                <a:miter lim="800000"/>
                <a:headEnd/>
                <a:tailEnd/>
              </a:ln>
              <a:extLst/>
            </p:spPr>
            <p:txBody>
              <a:bodyPr vert="horz" wrap="none" lIns="89642" tIns="44821" rIns="109728" bIns="44821" numCol="1" anchor="ctr" anchorCtr="0" compatLnSpc="1">
                <a:prstTxWarp prst="textNoShape">
                  <a:avLst/>
                </a:prstTxWarp>
              </a:bodyPr>
              <a:lstStyle/>
              <a:p>
                <a:pPr algn="ctr" defTabSz="914367">
                  <a:defRPr/>
                </a:pPr>
                <a:endParaRPr lang="en-US" sz="500" err="1">
                  <a:gradFill>
                    <a:gsLst>
                      <a:gs pos="0">
                        <a:srgbClr val="1A1A1A"/>
                      </a:gs>
                      <a:gs pos="100000">
                        <a:srgbClr val="1A1A1A"/>
                      </a:gs>
                    </a:gsLst>
                    <a:lin ang="5400000" scaled="0"/>
                  </a:gradFill>
                  <a:latin typeface="Segoe UI Semibold"/>
                </a:endParaRPr>
              </a:p>
            </p:txBody>
          </p:sp>
        </p:grpSp>
      </p:grpSp>
      <p:grpSp>
        <p:nvGrpSpPr>
          <p:cNvPr id="655" name="Group 654">
            <a:extLst>
              <a:ext uri="{FF2B5EF4-FFF2-40B4-BE49-F238E27FC236}">
                <a16:creationId xmlns:a16="http://schemas.microsoft.com/office/drawing/2014/main" id="{8694061D-A782-4181-B44C-D47B720BC643}"/>
              </a:ext>
            </a:extLst>
          </p:cNvPr>
          <p:cNvGrpSpPr/>
          <p:nvPr/>
        </p:nvGrpSpPr>
        <p:grpSpPr>
          <a:xfrm>
            <a:off x="6677746" y="1398155"/>
            <a:ext cx="502920" cy="502920"/>
            <a:chOff x="6676469" y="1179441"/>
            <a:chExt cx="502920" cy="502920"/>
          </a:xfrm>
          <a:solidFill>
            <a:schemeClr val="bg1"/>
          </a:solidFill>
        </p:grpSpPr>
        <p:sp useBgFill="1">
          <p:nvSpPr>
            <p:cNvPr id="656" name="Oval 655">
              <a:extLst>
                <a:ext uri="{FF2B5EF4-FFF2-40B4-BE49-F238E27FC236}">
                  <a16:creationId xmlns:a16="http://schemas.microsoft.com/office/drawing/2014/main" id="{F2FBD495-E283-4D8F-A4B1-C7EDD99CC029}"/>
                </a:ext>
              </a:extLst>
            </p:cNvPr>
            <p:cNvSpPr/>
            <p:nvPr/>
          </p:nvSpPr>
          <p:spPr bwMode="auto">
            <a:xfrm>
              <a:off x="6676469" y="1179441"/>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57" name="camera">
              <a:extLst>
                <a:ext uri="{FF2B5EF4-FFF2-40B4-BE49-F238E27FC236}">
                  <a16:creationId xmlns:a16="http://schemas.microsoft.com/office/drawing/2014/main" id="{C5AD6BDF-0CAB-4C9F-A078-38CA6F23DF98}"/>
                </a:ext>
              </a:extLst>
            </p:cNvPr>
            <p:cNvSpPr>
              <a:spLocks noChangeAspect="1" noEditPoints="1"/>
            </p:cNvSpPr>
            <p:nvPr/>
          </p:nvSpPr>
          <p:spPr bwMode="auto">
            <a:xfrm>
              <a:off x="6820746" y="1345244"/>
              <a:ext cx="214366" cy="171314"/>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grpSp>
      <p:grpSp>
        <p:nvGrpSpPr>
          <p:cNvPr id="658" name="Group 657">
            <a:extLst>
              <a:ext uri="{FF2B5EF4-FFF2-40B4-BE49-F238E27FC236}">
                <a16:creationId xmlns:a16="http://schemas.microsoft.com/office/drawing/2014/main" id="{80FBCF0D-08AE-4AF0-9653-E3ED855967EA}"/>
              </a:ext>
            </a:extLst>
          </p:cNvPr>
          <p:cNvGrpSpPr/>
          <p:nvPr/>
        </p:nvGrpSpPr>
        <p:grpSpPr>
          <a:xfrm>
            <a:off x="7380090" y="1867697"/>
            <a:ext cx="502920" cy="502920"/>
            <a:chOff x="7378813" y="1648983"/>
            <a:chExt cx="502920" cy="502920"/>
          </a:xfrm>
          <a:solidFill>
            <a:schemeClr val="bg1"/>
          </a:solidFill>
        </p:grpSpPr>
        <p:sp useBgFill="1">
          <p:nvSpPr>
            <p:cNvPr id="659" name="Oval 658">
              <a:extLst>
                <a:ext uri="{FF2B5EF4-FFF2-40B4-BE49-F238E27FC236}">
                  <a16:creationId xmlns:a16="http://schemas.microsoft.com/office/drawing/2014/main" id="{07F8F382-4321-49BF-90B5-B16B91B06807}"/>
                </a:ext>
              </a:extLst>
            </p:cNvPr>
            <p:cNvSpPr/>
            <p:nvPr/>
          </p:nvSpPr>
          <p:spPr bwMode="auto">
            <a:xfrm>
              <a:off x="7378813" y="1648983"/>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60" name="calendar_4">
              <a:extLst>
                <a:ext uri="{FF2B5EF4-FFF2-40B4-BE49-F238E27FC236}">
                  <a16:creationId xmlns:a16="http://schemas.microsoft.com/office/drawing/2014/main" id="{C7FAD1D6-D5D8-41DD-B3AE-3C7E7CA80363}"/>
                </a:ext>
              </a:extLst>
            </p:cNvPr>
            <p:cNvSpPr>
              <a:spLocks noChangeAspect="1" noEditPoints="1"/>
            </p:cNvSpPr>
            <p:nvPr/>
          </p:nvSpPr>
          <p:spPr bwMode="auto">
            <a:xfrm>
              <a:off x="7537092" y="1811082"/>
              <a:ext cx="186362" cy="178723"/>
            </a:xfrm>
            <a:custGeom>
              <a:avLst/>
              <a:gdLst>
                <a:gd name="T0" fmla="*/ 244 w 244"/>
                <a:gd name="T1" fmla="*/ 135 h 234"/>
                <a:gd name="T2" fmla="*/ 244 w 244"/>
                <a:gd name="T3" fmla="*/ 234 h 234"/>
                <a:gd name="T4" fmla="*/ 0 w 244"/>
                <a:gd name="T5" fmla="*/ 234 h 234"/>
                <a:gd name="T6" fmla="*/ 0 w 244"/>
                <a:gd name="T7" fmla="*/ 24 h 234"/>
                <a:gd name="T8" fmla="*/ 244 w 244"/>
                <a:gd name="T9" fmla="*/ 24 h 234"/>
                <a:gd name="T10" fmla="*/ 244 w 244"/>
                <a:gd name="T11" fmla="*/ 135 h 234"/>
                <a:gd name="T12" fmla="*/ 0 w 244"/>
                <a:gd name="T13" fmla="*/ 72 h 234"/>
                <a:gd name="T14" fmla="*/ 244 w 244"/>
                <a:gd name="T15" fmla="*/ 72 h 234"/>
                <a:gd name="T16" fmla="*/ 50 w 244"/>
                <a:gd name="T17" fmla="*/ 0 h 234"/>
                <a:gd name="T18" fmla="*/ 50 w 244"/>
                <a:gd name="T19" fmla="*/ 50 h 234"/>
                <a:gd name="T20" fmla="*/ 195 w 244"/>
                <a:gd name="T21" fmla="*/ 0 h 234"/>
                <a:gd name="T22" fmla="*/ 195 w 244"/>
                <a:gd name="T23" fmla="*/ 5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234">
                  <a:moveTo>
                    <a:pt x="244" y="135"/>
                  </a:moveTo>
                  <a:lnTo>
                    <a:pt x="244" y="234"/>
                  </a:lnTo>
                  <a:lnTo>
                    <a:pt x="0" y="234"/>
                  </a:lnTo>
                  <a:lnTo>
                    <a:pt x="0" y="24"/>
                  </a:lnTo>
                  <a:lnTo>
                    <a:pt x="244" y="24"/>
                  </a:lnTo>
                  <a:lnTo>
                    <a:pt x="244" y="135"/>
                  </a:lnTo>
                  <a:moveTo>
                    <a:pt x="0" y="72"/>
                  </a:moveTo>
                  <a:lnTo>
                    <a:pt x="244" y="72"/>
                  </a:lnTo>
                  <a:moveTo>
                    <a:pt x="50" y="0"/>
                  </a:moveTo>
                  <a:lnTo>
                    <a:pt x="50" y="50"/>
                  </a:lnTo>
                  <a:moveTo>
                    <a:pt x="195" y="0"/>
                  </a:moveTo>
                  <a:lnTo>
                    <a:pt x="195" y="50"/>
                  </a:lnTo>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grpSp>
      <p:grpSp>
        <p:nvGrpSpPr>
          <p:cNvPr id="661" name="Group 660">
            <a:extLst>
              <a:ext uri="{FF2B5EF4-FFF2-40B4-BE49-F238E27FC236}">
                <a16:creationId xmlns:a16="http://schemas.microsoft.com/office/drawing/2014/main" id="{F46A63CC-BB50-42B7-BCF9-24E97315F309}"/>
              </a:ext>
            </a:extLst>
          </p:cNvPr>
          <p:cNvGrpSpPr/>
          <p:nvPr/>
        </p:nvGrpSpPr>
        <p:grpSpPr>
          <a:xfrm>
            <a:off x="5331077" y="814873"/>
            <a:ext cx="502920" cy="502920"/>
            <a:chOff x="5329800" y="596159"/>
            <a:chExt cx="502920" cy="502920"/>
          </a:xfrm>
          <a:solidFill>
            <a:schemeClr val="bg1"/>
          </a:solidFill>
        </p:grpSpPr>
        <p:sp useBgFill="1">
          <p:nvSpPr>
            <p:cNvPr id="662" name="Oval 661">
              <a:extLst>
                <a:ext uri="{FF2B5EF4-FFF2-40B4-BE49-F238E27FC236}">
                  <a16:creationId xmlns:a16="http://schemas.microsoft.com/office/drawing/2014/main" id="{418CCC0C-E970-4B3F-8D73-367DC595567F}"/>
                </a:ext>
              </a:extLst>
            </p:cNvPr>
            <p:cNvSpPr/>
            <p:nvPr/>
          </p:nvSpPr>
          <p:spPr bwMode="auto">
            <a:xfrm>
              <a:off x="5329800" y="596159"/>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63" name="clipboard_3">
              <a:extLst>
                <a:ext uri="{FF2B5EF4-FFF2-40B4-BE49-F238E27FC236}">
                  <a16:creationId xmlns:a16="http://schemas.microsoft.com/office/drawing/2014/main" id="{BA06E4F3-4F3B-4918-99F2-A376CA952CA1}"/>
                </a:ext>
              </a:extLst>
            </p:cNvPr>
            <p:cNvSpPr>
              <a:spLocks noChangeAspect="1" noEditPoints="1"/>
            </p:cNvSpPr>
            <p:nvPr/>
          </p:nvSpPr>
          <p:spPr bwMode="auto">
            <a:xfrm>
              <a:off x="5490615" y="743904"/>
              <a:ext cx="181291" cy="207430"/>
            </a:xfrm>
            <a:custGeom>
              <a:avLst/>
              <a:gdLst>
                <a:gd name="T0" fmla="*/ 148 w 296"/>
                <a:gd name="T1" fmla="*/ 340 h 340"/>
                <a:gd name="T2" fmla="*/ 0 w 296"/>
                <a:gd name="T3" fmla="*/ 340 h 340"/>
                <a:gd name="T4" fmla="*/ 0 w 296"/>
                <a:gd name="T5" fmla="*/ 38 h 340"/>
                <a:gd name="T6" fmla="*/ 58 w 296"/>
                <a:gd name="T7" fmla="*/ 38 h 340"/>
                <a:gd name="T8" fmla="*/ 244 w 296"/>
                <a:gd name="T9" fmla="*/ 167 h 340"/>
                <a:gd name="T10" fmla="*/ 244 w 296"/>
                <a:gd name="T11" fmla="*/ 38 h 340"/>
                <a:gd name="T12" fmla="*/ 187 w 296"/>
                <a:gd name="T13" fmla="*/ 38 h 340"/>
                <a:gd name="T14" fmla="*/ 58 w 296"/>
                <a:gd name="T15" fmla="*/ 38 h 340"/>
                <a:gd name="T16" fmla="*/ 58 w 296"/>
                <a:gd name="T17" fmla="*/ 51 h 340"/>
                <a:gd name="T18" fmla="*/ 187 w 296"/>
                <a:gd name="T19" fmla="*/ 51 h 340"/>
                <a:gd name="T20" fmla="*/ 187 w 296"/>
                <a:gd name="T21" fmla="*/ 38 h 340"/>
                <a:gd name="T22" fmla="*/ 187 w 296"/>
                <a:gd name="T23" fmla="*/ 38 h 340"/>
                <a:gd name="T24" fmla="*/ 187 w 296"/>
                <a:gd name="T25" fmla="*/ 15 h 340"/>
                <a:gd name="T26" fmla="*/ 148 w 296"/>
                <a:gd name="T27" fmla="*/ 15 h 340"/>
                <a:gd name="T28" fmla="*/ 148 w 296"/>
                <a:gd name="T29" fmla="*/ 0 h 340"/>
                <a:gd name="T30" fmla="*/ 97 w 296"/>
                <a:gd name="T31" fmla="*/ 0 h 340"/>
                <a:gd name="T32" fmla="*/ 97 w 296"/>
                <a:gd name="T33" fmla="*/ 15 h 340"/>
                <a:gd name="T34" fmla="*/ 58 w 296"/>
                <a:gd name="T35" fmla="*/ 15 h 340"/>
                <a:gd name="T36" fmla="*/ 58 w 296"/>
                <a:gd name="T37" fmla="*/ 38 h 340"/>
                <a:gd name="T38" fmla="*/ 180 w 296"/>
                <a:gd name="T39" fmla="*/ 265 h 340"/>
                <a:gd name="T40" fmla="*/ 205 w 296"/>
                <a:gd name="T41" fmla="*/ 289 h 340"/>
                <a:gd name="T42" fmla="*/ 264 w 296"/>
                <a:gd name="T43" fmla="*/ 231 h 340"/>
                <a:gd name="T44" fmla="*/ 148 w 296"/>
                <a:gd name="T45" fmla="*/ 263 h 340"/>
                <a:gd name="T46" fmla="*/ 222 w 296"/>
                <a:gd name="T47" fmla="*/ 340 h 340"/>
                <a:gd name="T48" fmla="*/ 296 w 296"/>
                <a:gd name="T49" fmla="*/ 263 h 340"/>
                <a:gd name="T50" fmla="*/ 222 w 296"/>
                <a:gd name="T51" fmla="*/ 186 h 340"/>
                <a:gd name="T52" fmla="*/ 148 w 296"/>
                <a:gd name="T53" fmla="*/ 263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6" h="340">
                  <a:moveTo>
                    <a:pt x="148" y="340"/>
                  </a:moveTo>
                  <a:cubicBezTo>
                    <a:pt x="0" y="340"/>
                    <a:pt x="0" y="340"/>
                    <a:pt x="0" y="340"/>
                  </a:cubicBezTo>
                  <a:cubicBezTo>
                    <a:pt x="0" y="38"/>
                    <a:pt x="0" y="38"/>
                    <a:pt x="0" y="38"/>
                  </a:cubicBezTo>
                  <a:cubicBezTo>
                    <a:pt x="58" y="38"/>
                    <a:pt x="58" y="38"/>
                    <a:pt x="58" y="38"/>
                  </a:cubicBezTo>
                  <a:moveTo>
                    <a:pt x="244" y="167"/>
                  </a:moveTo>
                  <a:cubicBezTo>
                    <a:pt x="244" y="38"/>
                    <a:pt x="244" y="38"/>
                    <a:pt x="244" y="38"/>
                  </a:cubicBezTo>
                  <a:cubicBezTo>
                    <a:pt x="187" y="38"/>
                    <a:pt x="187" y="38"/>
                    <a:pt x="187" y="38"/>
                  </a:cubicBezTo>
                  <a:moveTo>
                    <a:pt x="58" y="38"/>
                  </a:moveTo>
                  <a:cubicBezTo>
                    <a:pt x="58" y="51"/>
                    <a:pt x="58" y="51"/>
                    <a:pt x="58" y="51"/>
                  </a:cubicBezTo>
                  <a:cubicBezTo>
                    <a:pt x="187" y="51"/>
                    <a:pt x="187" y="51"/>
                    <a:pt x="187" y="51"/>
                  </a:cubicBezTo>
                  <a:cubicBezTo>
                    <a:pt x="187" y="38"/>
                    <a:pt x="187" y="38"/>
                    <a:pt x="187" y="38"/>
                  </a:cubicBezTo>
                  <a:moveTo>
                    <a:pt x="187" y="38"/>
                  </a:moveTo>
                  <a:cubicBezTo>
                    <a:pt x="187" y="15"/>
                    <a:pt x="187" y="15"/>
                    <a:pt x="187" y="15"/>
                  </a:cubicBezTo>
                  <a:cubicBezTo>
                    <a:pt x="148" y="15"/>
                    <a:pt x="148" y="15"/>
                    <a:pt x="148" y="15"/>
                  </a:cubicBezTo>
                  <a:cubicBezTo>
                    <a:pt x="148" y="0"/>
                    <a:pt x="148" y="0"/>
                    <a:pt x="148" y="0"/>
                  </a:cubicBezTo>
                  <a:cubicBezTo>
                    <a:pt x="97" y="0"/>
                    <a:pt x="97" y="0"/>
                    <a:pt x="97" y="0"/>
                  </a:cubicBezTo>
                  <a:cubicBezTo>
                    <a:pt x="97" y="15"/>
                    <a:pt x="97" y="15"/>
                    <a:pt x="97" y="15"/>
                  </a:cubicBezTo>
                  <a:cubicBezTo>
                    <a:pt x="58" y="15"/>
                    <a:pt x="58" y="15"/>
                    <a:pt x="58" y="15"/>
                  </a:cubicBezTo>
                  <a:cubicBezTo>
                    <a:pt x="58" y="38"/>
                    <a:pt x="58" y="38"/>
                    <a:pt x="58" y="38"/>
                  </a:cubicBezTo>
                  <a:moveTo>
                    <a:pt x="180" y="265"/>
                  </a:moveTo>
                  <a:cubicBezTo>
                    <a:pt x="205" y="289"/>
                    <a:pt x="205" y="289"/>
                    <a:pt x="205" y="289"/>
                  </a:cubicBezTo>
                  <a:cubicBezTo>
                    <a:pt x="264" y="231"/>
                    <a:pt x="264" y="231"/>
                    <a:pt x="264" y="231"/>
                  </a:cubicBezTo>
                  <a:moveTo>
                    <a:pt x="148" y="263"/>
                  </a:moveTo>
                  <a:cubicBezTo>
                    <a:pt x="148" y="306"/>
                    <a:pt x="181" y="340"/>
                    <a:pt x="222" y="340"/>
                  </a:cubicBezTo>
                  <a:cubicBezTo>
                    <a:pt x="263" y="340"/>
                    <a:pt x="296" y="306"/>
                    <a:pt x="296" y="263"/>
                  </a:cubicBezTo>
                  <a:cubicBezTo>
                    <a:pt x="296" y="221"/>
                    <a:pt x="263" y="186"/>
                    <a:pt x="222" y="186"/>
                  </a:cubicBezTo>
                  <a:cubicBezTo>
                    <a:pt x="181" y="186"/>
                    <a:pt x="148" y="221"/>
                    <a:pt x="148" y="263"/>
                  </a:cubicBezTo>
                  <a:close/>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grpSp>
      <p:grpSp>
        <p:nvGrpSpPr>
          <p:cNvPr id="664" name="Group 663">
            <a:extLst>
              <a:ext uri="{FF2B5EF4-FFF2-40B4-BE49-F238E27FC236}">
                <a16:creationId xmlns:a16="http://schemas.microsoft.com/office/drawing/2014/main" id="{CB71417E-58A0-4F3A-AC05-7BDDDA0EAFC2}"/>
              </a:ext>
            </a:extLst>
          </p:cNvPr>
          <p:cNvGrpSpPr/>
          <p:nvPr/>
        </p:nvGrpSpPr>
        <p:grpSpPr>
          <a:xfrm>
            <a:off x="4317259" y="1867697"/>
            <a:ext cx="502920" cy="502920"/>
            <a:chOff x="4315982" y="1648983"/>
            <a:chExt cx="502920" cy="502920"/>
          </a:xfrm>
          <a:solidFill>
            <a:schemeClr val="bg1"/>
          </a:solidFill>
        </p:grpSpPr>
        <p:sp useBgFill="1">
          <p:nvSpPr>
            <p:cNvPr id="665" name="Oval 664">
              <a:extLst>
                <a:ext uri="{FF2B5EF4-FFF2-40B4-BE49-F238E27FC236}">
                  <a16:creationId xmlns:a16="http://schemas.microsoft.com/office/drawing/2014/main" id="{131FB6F5-8402-47DC-8417-781EEFB4E48A}"/>
                </a:ext>
              </a:extLst>
            </p:cNvPr>
            <p:cNvSpPr/>
            <p:nvPr/>
          </p:nvSpPr>
          <p:spPr bwMode="auto">
            <a:xfrm>
              <a:off x="4315982" y="1648983"/>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66" name="car">
              <a:extLst>
                <a:ext uri="{FF2B5EF4-FFF2-40B4-BE49-F238E27FC236}">
                  <a16:creationId xmlns:a16="http://schemas.microsoft.com/office/drawing/2014/main" id="{BC08A03F-AA79-4019-8AAA-15D207F3E5D4}"/>
                </a:ext>
              </a:extLst>
            </p:cNvPr>
            <p:cNvSpPr>
              <a:spLocks noChangeAspect="1" noEditPoints="1"/>
            </p:cNvSpPr>
            <p:nvPr/>
          </p:nvSpPr>
          <p:spPr bwMode="auto">
            <a:xfrm>
              <a:off x="4455303" y="1814513"/>
              <a:ext cx="224278" cy="171860"/>
            </a:xfrm>
            <a:custGeom>
              <a:avLst/>
              <a:gdLst>
                <a:gd name="T0" fmla="*/ 349 w 360"/>
                <a:gd name="T1" fmla="*/ 148 h 276"/>
                <a:gd name="T2" fmla="*/ 349 w 360"/>
                <a:gd name="T3" fmla="*/ 252 h 276"/>
                <a:gd name="T4" fmla="*/ 14 w 360"/>
                <a:gd name="T5" fmla="*/ 252 h 276"/>
                <a:gd name="T6" fmla="*/ 14 w 360"/>
                <a:gd name="T7" fmla="*/ 149 h 276"/>
                <a:gd name="T8" fmla="*/ 51 w 360"/>
                <a:gd name="T9" fmla="*/ 43 h 276"/>
                <a:gd name="T10" fmla="*/ 94 w 360"/>
                <a:gd name="T11" fmla="*/ 0 h 276"/>
                <a:gd name="T12" fmla="*/ 268 w 360"/>
                <a:gd name="T13" fmla="*/ 0 h 276"/>
                <a:gd name="T14" fmla="*/ 311 w 360"/>
                <a:gd name="T15" fmla="*/ 43 h 276"/>
                <a:gd name="T16" fmla="*/ 349 w 360"/>
                <a:gd name="T17" fmla="*/ 148 h 276"/>
                <a:gd name="T18" fmla="*/ 77 w 360"/>
                <a:gd name="T19" fmla="*/ 174 h 276"/>
                <a:gd name="T20" fmla="*/ 91 w 360"/>
                <a:gd name="T21" fmla="*/ 160 h 276"/>
                <a:gd name="T22" fmla="*/ 77 w 360"/>
                <a:gd name="T23" fmla="*/ 145 h 276"/>
                <a:gd name="T24" fmla="*/ 63 w 360"/>
                <a:gd name="T25" fmla="*/ 160 h 276"/>
                <a:gd name="T26" fmla="*/ 77 w 360"/>
                <a:gd name="T27" fmla="*/ 174 h 276"/>
                <a:gd name="T28" fmla="*/ 14 w 360"/>
                <a:gd name="T29" fmla="*/ 252 h 276"/>
                <a:gd name="T30" fmla="*/ 14 w 360"/>
                <a:gd name="T31" fmla="*/ 260 h 276"/>
                <a:gd name="T32" fmla="*/ 30 w 360"/>
                <a:gd name="T33" fmla="*/ 276 h 276"/>
                <a:gd name="T34" fmla="*/ 50 w 360"/>
                <a:gd name="T35" fmla="*/ 276 h 276"/>
                <a:gd name="T36" fmla="*/ 67 w 360"/>
                <a:gd name="T37" fmla="*/ 260 h 276"/>
                <a:gd name="T38" fmla="*/ 67 w 360"/>
                <a:gd name="T39" fmla="*/ 252 h 276"/>
                <a:gd name="T40" fmla="*/ 295 w 360"/>
                <a:gd name="T41" fmla="*/ 252 h 276"/>
                <a:gd name="T42" fmla="*/ 295 w 360"/>
                <a:gd name="T43" fmla="*/ 260 h 276"/>
                <a:gd name="T44" fmla="*/ 312 w 360"/>
                <a:gd name="T45" fmla="*/ 276 h 276"/>
                <a:gd name="T46" fmla="*/ 332 w 360"/>
                <a:gd name="T47" fmla="*/ 276 h 276"/>
                <a:gd name="T48" fmla="*/ 349 w 360"/>
                <a:gd name="T49" fmla="*/ 260 h 276"/>
                <a:gd name="T50" fmla="*/ 349 w 360"/>
                <a:gd name="T51" fmla="*/ 252 h 276"/>
                <a:gd name="T52" fmla="*/ 283 w 360"/>
                <a:gd name="T53" fmla="*/ 174 h 276"/>
                <a:gd name="T54" fmla="*/ 297 w 360"/>
                <a:gd name="T55" fmla="*/ 160 h 276"/>
                <a:gd name="T56" fmla="*/ 283 w 360"/>
                <a:gd name="T57" fmla="*/ 145 h 276"/>
                <a:gd name="T58" fmla="*/ 268 w 360"/>
                <a:gd name="T59" fmla="*/ 160 h 276"/>
                <a:gd name="T60" fmla="*/ 283 w 360"/>
                <a:gd name="T61" fmla="*/ 174 h 276"/>
                <a:gd name="T62" fmla="*/ 245 w 360"/>
                <a:gd name="T63" fmla="*/ 252 h 276"/>
                <a:gd name="T64" fmla="*/ 245 w 360"/>
                <a:gd name="T65" fmla="*/ 222 h 276"/>
                <a:gd name="T66" fmla="*/ 229 w 360"/>
                <a:gd name="T67" fmla="*/ 197 h 276"/>
                <a:gd name="T68" fmla="*/ 133 w 360"/>
                <a:gd name="T69" fmla="*/ 197 h 276"/>
                <a:gd name="T70" fmla="*/ 117 w 360"/>
                <a:gd name="T71" fmla="*/ 222 h 276"/>
                <a:gd name="T72" fmla="*/ 117 w 360"/>
                <a:gd name="T73" fmla="*/ 252 h 276"/>
                <a:gd name="T74" fmla="*/ 0 w 360"/>
                <a:gd name="T75" fmla="*/ 75 h 276"/>
                <a:gd name="T76" fmla="*/ 16 w 360"/>
                <a:gd name="T77" fmla="*/ 75 h 276"/>
                <a:gd name="T78" fmla="*/ 32 w 360"/>
                <a:gd name="T79" fmla="*/ 96 h 276"/>
                <a:gd name="T80" fmla="*/ 330 w 360"/>
                <a:gd name="T81" fmla="*/ 96 h 276"/>
                <a:gd name="T82" fmla="*/ 345 w 360"/>
                <a:gd name="T83" fmla="*/ 75 h 276"/>
                <a:gd name="T84" fmla="*/ 360 w 360"/>
                <a:gd name="T85" fmla="*/ 75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0" h="276">
                  <a:moveTo>
                    <a:pt x="349" y="148"/>
                  </a:moveTo>
                  <a:cubicBezTo>
                    <a:pt x="349" y="252"/>
                    <a:pt x="349" y="252"/>
                    <a:pt x="349" y="252"/>
                  </a:cubicBezTo>
                  <a:cubicBezTo>
                    <a:pt x="14" y="252"/>
                    <a:pt x="14" y="252"/>
                    <a:pt x="14" y="252"/>
                  </a:cubicBezTo>
                  <a:cubicBezTo>
                    <a:pt x="14" y="149"/>
                    <a:pt x="14" y="149"/>
                    <a:pt x="14" y="149"/>
                  </a:cubicBezTo>
                  <a:cubicBezTo>
                    <a:pt x="51" y="43"/>
                    <a:pt x="51" y="43"/>
                    <a:pt x="51" y="43"/>
                  </a:cubicBezTo>
                  <a:cubicBezTo>
                    <a:pt x="59" y="19"/>
                    <a:pt x="70" y="0"/>
                    <a:pt x="94" y="0"/>
                  </a:cubicBezTo>
                  <a:cubicBezTo>
                    <a:pt x="268" y="0"/>
                    <a:pt x="268" y="0"/>
                    <a:pt x="268" y="0"/>
                  </a:cubicBezTo>
                  <a:cubicBezTo>
                    <a:pt x="292" y="0"/>
                    <a:pt x="304" y="19"/>
                    <a:pt x="311" y="43"/>
                  </a:cubicBezTo>
                  <a:lnTo>
                    <a:pt x="349" y="148"/>
                  </a:lnTo>
                  <a:close/>
                  <a:moveTo>
                    <a:pt x="77" y="174"/>
                  </a:moveTo>
                  <a:cubicBezTo>
                    <a:pt x="85" y="174"/>
                    <a:pt x="91" y="167"/>
                    <a:pt x="91" y="160"/>
                  </a:cubicBezTo>
                  <a:cubicBezTo>
                    <a:pt x="91" y="152"/>
                    <a:pt x="85" y="145"/>
                    <a:pt x="77" y="145"/>
                  </a:cubicBezTo>
                  <a:cubicBezTo>
                    <a:pt x="69" y="145"/>
                    <a:pt x="63" y="152"/>
                    <a:pt x="63" y="160"/>
                  </a:cubicBezTo>
                  <a:cubicBezTo>
                    <a:pt x="63" y="167"/>
                    <a:pt x="69" y="174"/>
                    <a:pt x="77" y="174"/>
                  </a:cubicBezTo>
                  <a:close/>
                  <a:moveTo>
                    <a:pt x="14" y="252"/>
                  </a:moveTo>
                  <a:cubicBezTo>
                    <a:pt x="14" y="260"/>
                    <a:pt x="14" y="260"/>
                    <a:pt x="14" y="260"/>
                  </a:cubicBezTo>
                  <a:cubicBezTo>
                    <a:pt x="14" y="269"/>
                    <a:pt x="21" y="276"/>
                    <a:pt x="30" y="276"/>
                  </a:cubicBezTo>
                  <a:cubicBezTo>
                    <a:pt x="50" y="276"/>
                    <a:pt x="50" y="276"/>
                    <a:pt x="50" y="276"/>
                  </a:cubicBezTo>
                  <a:cubicBezTo>
                    <a:pt x="59" y="276"/>
                    <a:pt x="67" y="269"/>
                    <a:pt x="67" y="260"/>
                  </a:cubicBezTo>
                  <a:cubicBezTo>
                    <a:pt x="67" y="252"/>
                    <a:pt x="67" y="252"/>
                    <a:pt x="67" y="252"/>
                  </a:cubicBezTo>
                  <a:moveTo>
                    <a:pt x="295" y="252"/>
                  </a:moveTo>
                  <a:cubicBezTo>
                    <a:pt x="295" y="260"/>
                    <a:pt x="295" y="260"/>
                    <a:pt x="295" y="260"/>
                  </a:cubicBezTo>
                  <a:cubicBezTo>
                    <a:pt x="295" y="269"/>
                    <a:pt x="303" y="276"/>
                    <a:pt x="312" y="276"/>
                  </a:cubicBezTo>
                  <a:cubicBezTo>
                    <a:pt x="332" y="276"/>
                    <a:pt x="332" y="276"/>
                    <a:pt x="332" y="276"/>
                  </a:cubicBezTo>
                  <a:cubicBezTo>
                    <a:pt x="341" y="276"/>
                    <a:pt x="349" y="269"/>
                    <a:pt x="349" y="260"/>
                  </a:cubicBezTo>
                  <a:cubicBezTo>
                    <a:pt x="349" y="252"/>
                    <a:pt x="349" y="252"/>
                    <a:pt x="349" y="252"/>
                  </a:cubicBezTo>
                  <a:moveTo>
                    <a:pt x="283" y="174"/>
                  </a:moveTo>
                  <a:cubicBezTo>
                    <a:pt x="290" y="174"/>
                    <a:pt x="297" y="167"/>
                    <a:pt x="297" y="160"/>
                  </a:cubicBezTo>
                  <a:cubicBezTo>
                    <a:pt x="297" y="152"/>
                    <a:pt x="290" y="145"/>
                    <a:pt x="283" y="145"/>
                  </a:cubicBezTo>
                  <a:cubicBezTo>
                    <a:pt x="275" y="145"/>
                    <a:pt x="268" y="152"/>
                    <a:pt x="268" y="160"/>
                  </a:cubicBezTo>
                  <a:cubicBezTo>
                    <a:pt x="268" y="167"/>
                    <a:pt x="275" y="174"/>
                    <a:pt x="283" y="174"/>
                  </a:cubicBezTo>
                  <a:close/>
                  <a:moveTo>
                    <a:pt x="245" y="252"/>
                  </a:moveTo>
                  <a:cubicBezTo>
                    <a:pt x="245" y="222"/>
                    <a:pt x="245" y="222"/>
                    <a:pt x="245" y="222"/>
                  </a:cubicBezTo>
                  <a:cubicBezTo>
                    <a:pt x="229" y="197"/>
                    <a:pt x="229" y="197"/>
                    <a:pt x="229" y="197"/>
                  </a:cubicBezTo>
                  <a:cubicBezTo>
                    <a:pt x="133" y="197"/>
                    <a:pt x="133" y="197"/>
                    <a:pt x="133" y="197"/>
                  </a:cubicBezTo>
                  <a:cubicBezTo>
                    <a:pt x="117" y="222"/>
                    <a:pt x="117" y="222"/>
                    <a:pt x="117" y="222"/>
                  </a:cubicBezTo>
                  <a:cubicBezTo>
                    <a:pt x="117" y="252"/>
                    <a:pt x="117" y="252"/>
                    <a:pt x="117" y="252"/>
                  </a:cubicBezTo>
                  <a:moveTo>
                    <a:pt x="0" y="75"/>
                  </a:moveTo>
                  <a:cubicBezTo>
                    <a:pt x="16" y="75"/>
                    <a:pt x="16" y="75"/>
                    <a:pt x="16" y="75"/>
                  </a:cubicBezTo>
                  <a:cubicBezTo>
                    <a:pt x="32" y="96"/>
                    <a:pt x="32" y="96"/>
                    <a:pt x="32" y="96"/>
                  </a:cubicBezTo>
                  <a:cubicBezTo>
                    <a:pt x="330" y="96"/>
                    <a:pt x="330" y="96"/>
                    <a:pt x="330" y="96"/>
                  </a:cubicBezTo>
                  <a:cubicBezTo>
                    <a:pt x="345" y="75"/>
                    <a:pt x="345" y="75"/>
                    <a:pt x="345" y="75"/>
                  </a:cubicBezTo>
                  <a:cubicBezTo>
                    <a:pt x="360" y="75"/>
                    <a:pt x="360" y="75"/>
                    <a:pt x="360" y="75"/>
                  </a:cubicBezTo>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grpSp>
      <p:grpSp>
        <p:nvGrpSpPr>
          <p:cNvPr id="667" name="Group 666">
            <a:extLst>
              <a:ext uri="{FF2B5EF4-FFF2-40B4-BE49-F238E27FC236}">
                <a16:creationId xmlns:a16="http://schemas.microsoft.com/office/drawing/2014/main" id="{AD6D2C63-A628-48A2-A6A0-18551B0EFC45}"/>
              </a:ext>
            </a:extLst>
          </p:cNvPr>
          <p:cNvGrpSpPr/>
          <p:nvPr/>
        </p:nvGrpSpPr>
        <p:grpSpPr>
          <a:xfrm>
            <a:off x="7306329" y="1207799"/>
            <a:ext cx="502920" cy="502920"/>
            <a:chOff x="7305052" y="989085"/>
            <a:chExt cx="502920" cy="502920"/>
          </a:xfrm>
          <a:solidFill>
            <a:schemeClr val="bg1"/>
          </a:solidFill>
        </p:grpSpPr>
        <p:sp useBgFill="1">
          <p:nvSpPr>
            <p:cNvPr id="668" name="Oval 667">
              <a:extLst>
                <a:ext uri="{FF2B5EF4-FFF2-40B4-BE49-F238E27FC236}">
                  <a16:creationId xmlns:a16="http://schemas.microsoft.com/office/drawing/2014/main" id="{3E464773-3D50-4444-8B49-9DDFB6DEBACB}"/>
                </a:ext>
              </a:extLst>
            </p:cNvPr>
            <p:cNvSpPr/>
            <p:nvPr/>
          </p:nvSpPr>
          <p:spPr bwMode="auto">
            <a:xfrm>
              <a:off x="7305052" y="989085"/>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69" name="location_3">
              <a:extLst>
                <a:ext uri="{FF2B5EF4-FFF2-40B4-BE49-F238E27FC236}">
                  <a16:creationId xmlns:a16="http://schemas.microsoft.com/office/drawing/2014/main" id="{AE054DA8-DC3D-4892-9AE4-F7C88E8D70A9}"/>
                </a:ext>
              </a:extLst>
            </p:cNvPr>
            <p:cNvSpPr>
              <a:spLocks noChangeAspect="1" noEditPoints="1"/>
            </p:cNvSpPr>
            <p:nvPr/>
          </p:nvSpPr>
          <p:spPr bwMode="auto">
            <a:xfrm>
              <a:off x="7446335" y="1148520"/>
              <a:ext cx="220355" cy="184050"/>
            </a:xfrm>
            <a:custGeom>
              <a:avLst/>
              <a:gdLst>
                <a:gd name="T0" fmla="*/ 84 w 360"/>
                <a:gd name="T1" fmla="*/ 109 h 302"/>
                <a:gd name="T2" fmla="*/ 276 w 360"/>
                <a:gd name="T3" fmla="*/ 109 h 302"/>
                <a:gd name="T4" fmla="*/ 360 w 360"/>
                <a:gd name="T5" fmla="*/ 302 h 302"/>
                <a:gd name="T6" fmla="*/ 0 w 360"/>
                <a:gd name="T7" fmla="*/ 302 h 302"/>
                <a:gd name="T8" fmla="*/ 84 w 360"/>
                <a:gd name="T9" fmla="*/ 109 h 302"/>
                <a:gd name="T10" fmla="*/ 180 w 360"/>
                <a:gd name="T11" fmla="*/ 72 h 302"/>
                <a:gd name="T12" fmla="*/ 216 w 360"/>
                <a:gd name="T13" fmla="*/ 36 h 302"/>
                <a:gd name="T14" fmla="*/ 180 w 360"/>
                <a:gd name="T15" fmla="*/ 0 h 302"/>
                <a:gd name="T16" fmla="*/ 144 w 360"/>
                <a:gd name="T17" fmla="*/ 36 h 302"/>
                <a:gd name="T18" fmla="*/ 180 w 360"/>
                <a:gd name="T19" fmla="*/ 72 h 302"/>
                <a:gd name="T20" fmla="*/ 180 w 360"/>
                <a:gd name="T21" fmla="*/ 72 h 302"/>
                <a:gd name="T22" fmla="*/ 180 w 360"/>
                <a:gd name="T23" fmla="*/ 216 h 302"/>
                <a:gd name="T24" fmla="*/ 36 w 360"/>
                <a:gd name="T25" fmla="*/ 218 h 302"/>
                <a:gd name="T26" fmla="*/ 323 w 360"/>
                <a:gd name="T27" fmla="*/ 218 h 302"/>
                <a:gd name="T28" fmla="*/ 111 w 360"/>
                <a:gd name="T29" fmla="*/ 218 h 302"/>
                <a:gd name="T30" fmla="*/ 94 w 360"/>
                <a:gd name="T31" fmla="*/ 302 h 302"/>
                <a:gd name="T32" fmla="*/ 267 w 360"/>
                <a:gd name="T33" fmla="*/ 302 h 302"/>
                <a:gd name="T34" fmla="*/ 222 w 360"/>
                <a:gd name="T35" fmla="*/ 109 h 302"/>
                <a:gd name="T36" fmla="*/ 236 w 360"/>
                <a:gd name="T37" fmla="*/ 169 h 302"/>
                <a:gd name="T38" fmla="*/ 302 w 360"/>
                <a:gd name="T39" fmla="*/ 169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0" h="302">
                  <a:moveTo>
                    <a:pt x="84" y="109"/>
                  </a:moveTo>
                  <a:cubicBezTo>
                    <a:pt x="276" y="109"/>
                    <a:pt x="276" y="109"/>
                    <a:pt x="276" y="109"/>
                  </a:cubicBezTo>
                  <a:cubicBezTo>
                    <a:pt x="360" y="302"/>
                    <a:pt x="360" y="302"/>
                    <a:pt x="360" y="302"/>
                  </a:cubicBezTo>
                  <a:cubicBezTo>
                    <a:pt x="0" y="302"/>
                    <a:pt x="0" y="302"/>
                    <a:pt x="0" y="302"/>
                  </a:cubicBezTo>
                  <a:lnTo>
                    <a:pt x="84" y="109"/>
                  </a:lnTo>
                  <a:close/>
                  <a:moveTo>
                    <a:pt x="180" y="72"/>
                  </a:moveTo>
                  <a:cubicBezTo>
                    <a:pt x="200" y="72"/>
                    <a:pt x="216" y="56"/>
                    <a:pt x="216" y="36"/>
                  </a:cubicBezTo>
                  <a:cubicBezTo>
                    <a:pt x="216" y="16"/>
                    <a:pt x="200" y="0"/>
                    <a:pt x="180" y="0"/>
                  </a:cubicBezTo>
                  <a:cubicBezTo>
                    <a:pt x="160" y="0"/>
                    <a:pt x="144" y="16"/>
                    <a:pt x="144" y="36"/>
                  </a:cubicBezTo>
                  <a:cubicBezTo>
                    <a:pt x="144" y="56"/>
                    <a:pt x="160" y="72"/>
                    <a:pt x="180" y="72"/>
                  </a:cubicBezTo>
                  <a:close/>
                  <a:moveTo>
                    <a:pt x="180" y="72"/>
                  </a:moveTo>
                  <a:cubicBezTo>
                    <a:pt x="180" y="216"/>
                    <a:pt x="180" y="216"/>
                    <a:pt x="180" y="216"/>
                  </a:cubicBezTo>
                  <a:moveTo>
                    <a:pt x="36" y="218"/>
                  </a:moveTo>
                  <a:cubicBezTo>
                    <a:pt x="323" y="218"/>
                    <a:pt x="323" y="218"/>
                    <a:pt x="323" y="218"/>
                  </a:cubicBezTo>
                  <a:moveTo>
                    <a:pt x="111" y="218"/>
                  </a:moveTo>
                  <a:cubicBezTo>
                    <a:pt x="94" y="302"/>
                    <a:pt x="94" y="302"/>
                    <a:pt x="94" y="302"/>
                  </a:cubicBezTo>
                  <a:moveTo>
                    <a:pt x="267" y="302"/>
                  </a:moveTo>
                  <a:cubicBezTo>
                    <a:pt x="222" y="109"/>
                    <a:pt x="222" y="109"/>
                    <a:pt x="222" y="109"/>
                  </a:cubicBezTo>
                  <a:moveTo>
                    <a:pt x="236" y="169"/>
                  </a:moveTo>
                  <a:cubicBezTo>
                    <a:pt x="302" y="169"/>
                    <a:pt x="302" y="169"/>
                    <a:pt x="302" y="169"/>
                  </a:cubicBezTo>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grpSp>
      <p:grpSp>
        <p:nvGrpSpPr>
          <p:cNvPr id="670" name="Group 669">
            <a:extLst>
              <a:ext uri="{FF2B5EF4-FFF2-40B4-BE49-F238E27FC236}">
                <a16:creationId xmlns:a16="http://schemas.microsoft.com/office/drawing/2014/main" id="{DD4C8BFE-811F-47F6-93AF-5BE277C4B340}"/>
              </a:ext>
            </a:extLst>
          </p:cNvPr>
          <p:cNvGrpSpPr/>
          <p:nvPr/>
        </p:nvGrpSpPr>
        <p:grpSpPr>
          <a:xfrm>
            <a:off x="8031736" y="1933576"/>
            <a:ext cx="502920" cy="502920"/>
            <a:chOff x="8030459" y="1714862"/>
            <a:chExt cx="502920" cy="502920"/>
          </a:xfrm>
          <a:solidFill>
            <a:schemeClr val="bg1"/>
          </a:solidFill>
        </p:grpSpPr>
        <p:sp useBgFill="1">
          <p:nvSpPr>
            <p:cNvPr id="671" name="Oval 670">
              <a:extLst>
                <a:ext uri="{FF2B5EF4-FFF2-40B4-BE49-F238E27FC236}">
                  <a16:creationId xmlns:a16="http://schemas.microsoft.com/office/drawing/2014/main" id="{B205A07F-1197-4190-A0A5-CCD14C50F338}"/>
                </a:ext>
              </a:extLst>
            </p:cNvPr>
            <p:cNvSpPr/>
            <p:nvPr/>
          </p:nvSpPr>
          <p:spPr bwMode="auto">
            <a:xfrm>
              <a:off x="8030459" y="1714862"/>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72" name="people_12">
              <a:extLst>
                <a:ext uri="{FF2B5EF4-FFF2-40B4-BE49-F238E27FC236}">
                  <a16:creationId xmlns:a16="http://schemas.microsoft.com/office/drawing/2014/main" id="{7DD2296E-8888-4193-882D-780C5ECAA800}"/>
                </a:ext>
              </a:extLst>
            </p:cNvPr>
            <p:cNvSpPr>
              <a:spLocks noChangeAspect="1" noEditPoints="1"/>
            </p:cNvSpPr>
            <p:nvPr/>
          </p:nvSpPr>
          <p:spPr bwMode="auto">
            <a:xfrm>
              <a:off x="8173877" y="1874144"/>
              <a:ext cx="216084" cy="184357"/>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grpSp>
      <p:grpSp>
        <p:nvGrpSpPr>
          <p:cNvPr id="673" name="Group 672">
            <a:extLst>
              <a:ext uri="{FF2B5EF4-FFF2-40B4-BE49-F238E27FC236}">
                <a16:creationId xmlns:a16="http://schemas.microsoft.com/office/drawing/2014/main" id="{93498045-C49E-49A8-B5D8-30EFB0093F22}"/>
              </a:ext>
            </a:extLst>
          </p:cNvPr>
          <p:cNvGrpSpPr/>
          <p:nvPr/>
        </p:nvGrpSpPr>
        <p:grpSpPr>
          <a:xfrm>
            <a:off x="5848674" y="1233127"/>
            <a:ext cx="502920" cy="502920"/>
            <a:chOff x="5847397" y="1014413"/>
            <a:chExt cx="502920" cy="502920"/>
          </a:xfrm>
          <a:solidFill>
            <a:schemeClr val="bg1"/>
          </a:solidFill>
        </p:grpSpPr>
        <p:sp useBgFill="1">
          <p:nvSpPr>
            <p:cNvPr id="674" name="Oval 673">
              <a:extLst>
                <a:ext uri="{FF2B5EF4-FFF2-40B4-BE49-F238E27FC236}">
                  <a16:creationId xmlns:a16="http://schemas.microsoft.com/office/drawing/2014/main" id="{BA67A052-D7C9-43E5-ADA4-24D2705D8D12}"/>
                </a:ext>
              </a:extLst>
            </p:cNvPr>
            <p:cNvSpPr/>
            <p:nvPr/>
          </p:nvSpPr>
          <p:spPr bwMode="auto">
            <a:xfrm>
              <a:off x="5847397" y="1014413"/>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675" name="Group 674">
              <a:extLst>
                <a:ext uri="{FF2B5EF4-FFF2-40B4-BE49-F238E27FC236}">
                  <a16:creationId xmlns:a16="http://schemas.microsoft.com/office/drawing/2014/main" id="{56D409FC-1090-4575-9076-5C6193327303}"/>
                </a:ext>
              </a:extLst>
            </p:cNvPr>
            <p:cNvGrpSpPr/>
            <p:nvPr/>
          </p:nvGrpSpPr>
          <p:grpSpPr>
            <a:xfrm>
              <a:off x="5955969" y="1176009"/>
              <a:ext cx="285776" cy="179728"/>
              <a:chOff x="5955969" y="1176009"/>
              <a:chExt cx="285776" cy="179728"/>
            </a:xfrm>
            <a:grpFill/>
          </p:grpSpPr>
          <p:sp>
            <p:nvSpPr>
              <p:cNvPr id="676" name="mobility">
                <a:extLst>
                  <a:ext uri="{FF2B5EF4-FFF2-40B4-BE49-F238E27FC236}">
                    <a16:creationId xmlns:a16="http://schemas.microsoft.com/office/drawing/2014/main" id="{2E67C076-AE6D-40FF-9228-8A0B00A8848A}"/>
                  </a:ext>
                </a:extLst>
              </p:cNvPr>
              <p:cNvSpPr>
                <a:spLocks noChangeAspect="1" noEditPoints="1"/>
              </p:cNvSpPr>
              <p:nvPr/>
            </p:nvSpPr>
            <p:spPr bwMode="auto">
              <a:xfrm>
                <a:off x="6066453" y="1176009"/>
                <a:ext cx="175292" cy="179728"/>
              </a:xfrm>
              <a:custGeom>
                <a:avLst/>
                <a:gdLst>
                  <a:gd name="T0" fmla="*/ 152 w 237"/>
                  <a:gd name="T1" fmla="*/ 141 h 243"/>
                  <a:gd name="T2" fmla="*/ 0 w 237"/>
                  <a:gd name="T3" fmla="*/ 141 h 243"/>
                  <a:gd name="T4" fmla="*/ 0 w 237"/>
                  <a:gd name="T5" fmla="*/ 0 h 243"/>
                  <a:gd name="T6" fmla="*/ 188 w 237"/>
                  <a:gd name="T7" fmla="*/ 0 h 243"/>
                  <a:gd name="T8" fmla="*/ 188 w 237"/>
                  <a:gd name="T9" fmla="*/ 102 h 243"/>
                  <a:gd name="T10" fmla="*/ 90 w 237"/>
                  <a:gd name="T11" fmla="*/ 116 h 243"/>
                  <a:gd name="T12" fmla="*/ 102 w 237"/>
                  <a:gd name="T13" fmla="*/ 116 h 243"/>
                  <a:gd name="T14" fmla="*/ 152 w 237"/>
                  <a:gd name="T15" fmla="*/ 120 h 243"/>
                  <a:gd name="T16" fmla="*/ 237 w 237"/>
                  <a:gd name="T17" fmla="*/ 120 h 243"/>
                  <a:gd name="T18" fmla="*/ 152 w 237"/>
                  <a:gd name="T19" fmla="*/ 205 h 243"/>
                  <a:gd name="T20" fmla="*/ 237 w 237"/>
                  <a:gd name="T21" fmla="*/ 205 h 243"/>
                  <a:gd name="T22" fmla="*/ 189 w 237"/>
                  <a:gd name="T23" fmla="*/ 225 h 243"/>
                  <a:gd name="T24" fmla="*/ 200 w 237"/>
                  <a:gd name="T25" fmla="*/ 225 h 243"/>
                  <a:gd name="T26" fmla="*/ 237 w 237"/>
                  <a:gd name="T27" fmla="*/ 170 h 243"/>
                  <a:gd name="T28" fmla="*/ 237 w 237"/>
                  <a:gd name="T29" fmla="*/ 102 h 243"/>
                  <a:gd name="T30" fmla="*/ 152 w 237"/>
                  <a:gd name="T31" fmla="*/ 102 h 243"/>
                  <a:gd name="T32" fmla="*/ 152 w 237"/>
                  <a:gd name="T33" fmla="*/ 243 h 243"/>
                  <a:gd name="T34" fmla="*/ 237 w 237"/>
                  <a:gd name="T35" fmla="*/ 243 h 243"/>
                  <a:gd name="T36" fmla="*/ 237 w 237"/>
                  <a:gd name="T37" fmla="*/ 170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7" h="243">
                    <a:moveTo>
                      <a:pt x="152" y="141"/>
                    </a:moveTo>
                    <a:lnTo>
                      <a:pt x="0" y="141"/>
                    </a:lnTo>
                    <a:lnTo>
                      <a:pt x="0" y="0"/>
                    </a:lnTo>
                    <a:lnTo>
                      <a:pt x="188" y="0"/>
                    </a:lnTo>
                    <a:lnTo>
                      <a:pt x="188" y="102"/>
                    </a:lnTo>
                    <a:moveTo>
                      <a:pt x="90" y="116"/>
                    </a:moveTo>
                    <a:lnTo>
                      <a:pt x="102" y="116"/>
                    </a:lnTo>
                    <a:moveTo>
                      <a:pt x="152" y="120"/>
                    </a:moveTo>
                    <a:lnTo>
                      <a:pt x="237" y="120"/>
                    </a:lnTo>
                    <a:moveTo>
                      <a:pt x="152" y="205"/>
                    </a:moveTo>
                    <a:lnTo>
                      <a:pt x="237" y="205"/>
                    </a:lnTo>
                    <a:moveTo>
                      <a:pt x="189" y="225"/>
                    </a:moveTo>
                    <a:lnTo>
                      <a:pt x="200" y="225"/>
                    </a:lnTo>
                    <a:moveTo>
                      <a:pt x="237" y="170"/>
                    </a:moveTo>
                    <a:lnTo>
                      <a:pt x="237" y="102"/>
                    </a:lnTo>
                    <a:lnTo>
                      <a:pt x="152" y="102"/>
                    </a:lnTo>
                    <a:lnTo>
                      <a:pt x="152" y="243"/>
                    </a:lnTo>
                    <a:lnTo>
                      <a:pt x="237" y="243"/>
                    </a:lnTo>
                    <a:lnTo>
                      <a:pt x="237" y="170"/>
                    </a:lnTo>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sp>
            <p:nvSpPr>
              <p:cNvPr id="677" name="Rectangle 676">
                <a:extLst>
                  <a:ext uri="{FF2B5EF4-FFF2-40B4-BE49-F238E27FC236}">
                    <a16:creationId xmlns:a16="http://schemas.microsoft.com/office/drawing/2014/main" id="{9CC951A8-071D-43B7-ADBC-1DCE90FE70E7}"/>
                  </a:ext>
                </a:extLst>
              </p:cNvPr>
              <p:cNvSpPr/>
              <p:nvPr/>
            </p:nvSpPr>
            <p:spPr bwMode="auto">
              <a:xfrm>
                <a:off x="6039077" y="1238860"/>
                <a:ext cx="74330" cy="68334"/>
              </a:xfrm>
              <a:prstGeom prst="rect">
                <a:avLst/>
              </a:prstGeom>
              <a:grpFill/>
              <a:ln w="12700" cap="flat">
                <a:noFill/>
                <a:prstDash val="solid"/>
                <a:miter lim="800000"/>
                <a:headEnd/>
                <a:tailEnd/>
              </a:ln>
            </p:spPr>
            <p:txBody>
              <a:bodyPr vert="horz" wrap="square" lIns="89642" tIns="44821" rIns="89642" bIns="44821" numCol="1" anchor="t" anchorCtr="0" compatLnSpc="1">
                <a:prstTxWarp prst="textNoShape">
                  <a:avLst/>
                </a:prstTxWarp>
              </a:bodyPr>
              <a:lstStyle/>
              <a:p>
                <a:pPr defTabSz="914367">
                  <a:defRPr/>
                </a:pPr>
                <a:endParaRPr lang="en-US" sz="1765" err="1">
                  <a:solidFill>
                    <a:srgbClr val="505050"/>
                  </a:solidFill>
                  <a:latin typeface="Segoe UI Semilight"/>
                </a:endParaRPr>
              </a:p>
            </p:txBody>
          </p:sp>
          <p:sp>
            <p:nvSpPr>
              <p:cNvPr id="678" name="laptop">
                <a:extLst>
                  <a:ext uri="{FF2B5EF4-FFF2-40B4-BE49-F238E27FC236}">
                    <a16:creationId xmlns:a16="http://schemas.microsoft.com/office/drawing/2014/main" id="{D045C1D1-631F-4C54-BD32-06407F1E99C0}"/>
                  </a:ext>
                </a:extLst>
              </p:cNvPr>
              <p:cNvSpPr>
                <a:spLocks noChangeAspect="1" noEditPoints="1"/>
              </p:cNvSpPr>
              <p:nvPr/>
            </p:nvSpPr>
            <p:spPr bwMode="auto">
              <a:xfrm>
                <a:off x="5955969" y="1241246"/>
                <a:ext cx="190085" cy="113163"/>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grpSp>
      </p:grpSp>
      <p:grpSp>
        <p:nvGrpSpPr>
          <p:cNvPr id="679" name="Group 678">
            <a:extLst>
              <a:ext uri="{FF2B5EF4-FFF2-40B4-BE49-F238E27FC236}">
                <a16:creationId xmlns:a16="http://schemas.microsoft.com/office/drawing/2014/main" id="{8DB401CF-1901-4521-89BB-8E7F73D5E36D}"/>
              </a:ext>
            </a:extLst>
          </p:cNvPr>
          <p:cNvGrpSpPr/>
          <p:nvPr/>
        </p:nvGrpSpPr>
        <p:grpSpPr>
          <a:xfrm>
            <a:off x="7380089" y="4930525"/>
            <a:ext cx="502920" cy="502920"/>
            <a:chOff x="7378812" y="4711811"/>
            <a:chExt cx="502920" cy="502920"/>
          </a:xfrm>
          <a:solidFill>
            <a:schemeClr val="bg1"/>
          </a:solidFill>
        </p:grpSpPr>
        <p:sp useBgFill="1">
          <p:nvSpPr>
            <p:cNvPr id="680" name="Oval 679">
              <a:extLst>
                <a:ext uri="{FF2B5EF4-FFF2-40B4-BE49-F238E27FC236}">
                  <a16:creationId xmlns:a16="http://schemas.microsoft.com/office/drawing/2014/main" id="{3D9C2C97-52D8-4784-92ED-C6BA4C94D291}"/>
                </a:ext>
              </a:extLst>
            </p:cNvPr>
            <p:cNvSpPr/>
            <p:nvPr/>
          </p:nvSpPr>
          <p:spPr bwMode="auto">
            <a:xfrm>
              <a:off x="7378812" y="4711811"/>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81" name="language">
              <a:extLst>
                <a:ext uri="{FF2B5EF4-FFF2-40B4-BE49-F238E27FC236}">
                  <a16:creationId xmlns:a16="http://schemas.microsoft.com/office/drawing/2014/main" id="{8E04BD49-5F79-4009-8C02-EEC263E9D0E5}"/>
                </a:ext>
              </a:extLst>
            </p:cNvPr>
            <p:cNvSpPr>
              <a:spLocks noChangeAspect="1" noEditPoints="1"/>
            </p:cNvSpPr>
            <p:nvPr/>
          </p:nvSpPr>
          <p:spPr bwMode="auto">
            <a:xfrm>
              <a:off x="7513545" y="4860817"/>
              <a:ext cx="233456" cy="204908"/>
            </a:xfrm>
            <a:custGeom>
              <a:avLst/>
              <a:gdLst>
                <a:gd name="T0" fmla="*/ 0 w 315"/>
                <a:gd name="T1" fmla="*/ 176 h 276"/>
                <a:gd name="T2" fmla="*/ 68 w 315"/>
                <a:gd name="T3" fmla="*/ 0 h 276"/>
                <a:gd name="T4" fmla="*/ 130 w 315"/>
                <a:gd name="T5" fmla="*/ 176 h 276"/>
                <a:gd name="T6" fmla="*/ 22 w 315"/>
                <a:gd name="T7" fmla="*/ 118 h 276"/>
                <a:gd name="T8" fmla="*/ 110 w 315"/>
                <a:gd name="T9" fmla="*/ 118 h 276"/>
                <a:gd name="T10" fmla="*/ 246 w 315"/>
                <a:gd name="T11" fmla="*/ 276 h 276"/>
                <a:gd name="T12" fmla="*/ 311 w 315"/>
                <a:gd name="T13" fmla="*/ 217 h 276"/>
                <a:gd name="T14" fmla="*/ 194 w 315"/>
                <a:gd name="T15" fmla="*/ 194 h 276"/>
                <a:gd name="T16" fmla="*/ 204 w 315"/>
                <a:gd name="T17" fmla="*/ 258 h 276"/>
                <a:gd name="T18" fmla="*/ 272 w 315"/>
                <a:gd name="T19" fmla="*/ 162 h 276"/>
                <a:gd name="T20" fmla="*/ 218 w 315"/>
                <a:gd name="T21" fmla="*/ 89 h 276"/>
                <a:gd name="T22" fmla="*/ 227 w 315"/>
                <a:gd name="T23" fmla="*/ 249 h 276"/>
                <a:gd name="T24" fmla="*/ 161 w 315"/>
                <a:gd name="T25" fmla="*/ 129 h 276"/>
                <a:gd name="T26" fmla="*/ 301 w 315"/>
                <a:gd name="T27" fmla="*/ 122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5" h="276">
                  <a:moveTo>
                    <a:pt x="0" y="176"/>
                  </a:moveTo>
                  <a:cubicBezTo>
                    <a:pt x="68" y="0"/>
                    <a:pt x="68" y="0"/>
                    <a:pt x="68" y="0"/>
                  </a:cubicBezTo>
                  <a:cubicBezTo>
                    <a:pt x="130" y="176"/>
                    <a:pt x="130" y="176"/>
                    <a:pt x="130" y="176"/>
                  </a:cubicBezTo>
                  <a:moveTo>
                    <a:pt x="22" y="118"/>
                  </a:moveTo>
                  <a:cubicBezTo>
                    <a:pt x="110" y="118"/>
                    <a:pt x="110" y="118"/>
                    <a:pt x="110" y="118"/>
                  </a:cubicBezTo>
                  <a:moveTo>
                    <a:pt x="246" y="276"/>
                  </a:moveTo>
                  <a:cubicBezTo>
                    <a:pt x="275" y="275"/>
                    <a:pt x="315" y="258"/>
                    <a:pt x="311" y="217"/>
                  </a:cubicBezTo>
                  <a:cubicBezTo>
                    <a:pt x="308" y="183"/>
                    <a:pt x="237" y="174"/>
                    <a:pt x="194" y="194"/>
                  </a:cubicBezTo>
                  <a:cubicBezTo>
                    <a:pt x="153" y="213"/>
                    <a:pt x="150" y="270"/>
                    <a:pt x="204" y="258"/>
                  </a:cubicBezTo>
                  <a:cubicBezTo>
                    <a:pt x="271" y="244"/>
                    <a:pt x="272" y="162"/>
                    <a:pt x="272" y="162"/>
                  </a:cubicBezTo>
                  <a:moveTo>
                    <a:pt x="218" y="89"/>
                  </a:moveTo>
                  <a:cubicBezTo>
                    <a:pt x="218" y="89"/>
                    <a:pt x="206" y="215"/>
                    <a:pt x="227" y="249"/>
                  </a:cubicBezTo>
                  <a:moveTo>
                    <a:pt x="161" y="129"/>
                  </a:moveTo>
                  <a:cubicBezTo>
                    <a:pt x="161" y="129"/>
                    <a:pt x="236" y="138"/>
                    <a:pt x="301" y="122"/>
                  </a:cubicBezTo>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grpSp>
      <p:grpSp>
        <p:nvGrpSpPr>
          <p:cNvPr id="682" name="Group 681">
            <a:extLst>
              <a:ext uri="{FF2B5EF4-FFF2-40B4-BE49-F238E27FC236}">
                <a16:creationId xmlns:a16="http://schemas.microsoft.com/office/drawing/2014/main" id="{DD62F88F-0D86-49CD-BA11-419D22C48710}"/>
              </a:ext>
            </a:extLst>
          </p:cNvPr>
          <p:cNvGrpSpPr/>
          <p:nvPr/>
        </p:nvGrpSpPr>
        <p:grpSpPr>
          <a:xfrm>
            <a:off x="3264438" y="3908435"/>
            <a:ext cx="502920" cy="502920"/>
            <a:chOff x="3263161" y="3689721"/>
            <a:chExt cx="502920" cy="502920"/>
          </a:xfrm>
          <a:solidFill>
            <a:schemeClr val="bg1"/>
          </a:solidFill>
        </p:grpSpPr>
        <p:sp useBgFill="1">
          <p:nvSpPr>
            <p:cNvPr id="683" name="Oval 682">
              <a:extLst>
                <a:ext uri="{FF2B5EF4-FFF2-40B4-BE49-F238E27FC236}">
                  <a16:creationId xmlns:a16="http://schemas.microsoft.com/office/drawing/2014/main" id="{2AB31141-B299-46F0-AD02-B5607C16EA22}"/>
                </a:ext>
              </a:extLst>
            </p:cNvPr>
            <p:cNvSpPr/>
            <p:nvPr/>
          </p:nvSpPr>
          <p:spPr bwMode="auto">
            <a:xfrm>
              <a:off x="3263161" y="3689721"/>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684" name="Group 683">
              <a:extLst>
                <a:ext uri="{FF2B5EF4-FFF2-40B4-BE49-F238E27FC236}">
                  <a16:creationId xmlns:a16="http://schemas.microsoft.com/office/drawing/2014/main" id="{A3DD8372-8559-41D5-A4B0-960A4A0A881D}"/>
                </a:ext>
              </a:extLst>
            </p:cNvPr>
            <p:cNvGrpSpPr/>
            <p:nvPr/>
          </p:nvGrpSpPr>
          <p:grpSpPr>
            <a:xfrm>
              <a:off x="3447374" y="3795984"/>
              <a:ext cx="134494" cy="290395"/>
              <a:chOff x="8035563" y="4213789"/>
              <a:chExt cx="170731" cy="368633"/>
            </a:xfrm>
            <a:grpFill/>
          </p:grpSpPr>
          <p:sp>
            <p:nvSpPr>
              <p:cNvPr id="685" name="light">
                <a:extLst>
                  <a:ext uri="{FF2B5EF4-FFF2-40B4-BE49-F238E27FC236}">
                    <a16:creationId xmlns:a16="http://schemas.microsoft.com/office/drawing/2014/main" id="{9369FDF4-8880-4C1A-A7F8-E0A7FDECB102}"/>
                  </a:ext>
                </a:extLst>
              </p:cNvPr>
              <p:cNvSpPr>
                <a:spLocks noChangeAspect="1" noEditPoints="1"/>
              </p:cNvSpPr>
              <p:nvPr/>
            </p:nvSpPr>
            <p:spPr bwMode="auto">
              <a:xfrm>
                <a:off x="8035563" y="4328947"/>
                <a:ext cx="170731" cy="253475"/>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grpSp>
            <p:nvGrpSpPr>
              <p:cNvPr id="686" name="Group 685">
                <a:extLst>
                  <a:ext uri="{FF2B5EF4-FFF2-40B4-BE49-F238E27FC236}">
                    <a16:creationId xmlns:a16="http://schemas.microsoft.com/office/drawing/2014/main" id="{2A327F3D-0477-4DFC-A38D-64276F05F589}"/>
                  </a:ext>
                </a:extLst>
              </p:cNvPr>
              <p:cNvGrpSpPr/>
              <p:nvPr/>
            </p:nvGrpSpPr>
            <p:grpSpPr>
              <a:xfrm rot="16200000">
                <a:off x="8082549" y="4180047"/>
                <a:ext cx="76737" cy="144221"/>
                <a:chOff x="2866921" y="3947319"/>
                <a:chExt cx="103684" cy="194866"/>
              </a:xfrm>
              <a:grpFill/>
            </p:grpSpPr>
            <p:sp>
              <p:nvSpPr>
                <p:cNvPr id="687" name="Oval 5">
                  <a:extLst>
                    <a:ext uri="{FF2B5EF4-FFF2-40B4-BE49-F238E27FC236}">
                      <a16:creationId xmlns:a16="http://schemas.microsoft.com/office/drawing/2014/main" id="{301AFB59-A33B-463D-9EA3-9191CF9449ED}"/>
                    </a:ext>
                  </a:extLst>
                </p:cNvPr>
                <p:cNvSpPr/>
                <p:nvPr/>
              </p:nvSpPr>
              <p:spPr bwMode="auto">
                <a:xfrm>
                  <a:off x="2904207" y="3947319"/>
                  <a:ext cx="66398" cy="194866"/>
                </a:xfrm>
                <a:custGeom>
                  <a:avLst/>
                  <a:gdLst>
                    <a:gd name="connsiteX0" fmla="*/ 0 w 442913"/>
                    <a:gd name="connsiteY0" fmla="*/ 221457 h 442913"/>
                    <a:gd name="connsiteX1" fmla="*/ 221457 w 442913"/>
                    <a:gd name="connsiteY1" fmla="*/ 0 h 442913"/>
                    <a:gd name="connsiteX2" fmla="*/ 442914 w 442913"/>
                    <a:gd name="connsiteY2" fmla="*/ 221457 h 442913"/>
                    <a:gd name="connsiteX3" fmla="*/ 221457 w 442913"/>
                    <a:gd name="connsiteY3" fmla="*/ 442914 h 442913"/>
                    <a:gd name="connsiteX4" fmla="*/ 0 w 442913"/>
                    <a:gd name="connsiteY4" fmla="*/ 221457 h 442913"/>
                    <a:gd name="connsiteX0" fmla="*/ 0 w 442914"/>
                    <a:gd name="connsiteY0" fmla="*/ 221457 h 442914"/>
                    <a:gd name="connsiteX1" fmla="*/ 221457 w 442914"/>
                    <a:gd name="connsiteY1" fmla="*/ 0 h 442914"/>
                    <a:gd name="connsiteX2" fmla="*/ 442914 w 442914"/>
                    <a:gd name="connsiteY2" fmla="*/ 221457 h 442914"/>
                    <a:gd name="connsiteX3" fmla="*/ 221457 w 442914"/>
                    <a:gd name="connsiteY3" fmla="*/ 442914 h 442914"/>
                    <a:gd name="connsiteX4" fmla="*/ 91440 w 442914"/>
                    <a:gd name="connsiteY4" fmla="*/ 312897 h 442914"/>
                    <a:gd name="connsiteX0" fmla="*/ 165700 w 387157"/>
                    <a:gd name="connsiteY0" fmla="*/ 0 h 442914"/>
                    <a:gd name="connsiteX1" fmla="*/ 387157 w 387157"/>
                    <a:gd name="connsiteY1" fmla="*/ 221457 h 442914"/>
                    <a:gd name="connsiteX2" fmla="*/ 165700 w 387157"/>
                    <a:gd name="connsiteY2" fmla="*/ 442914 h 442914"/>
                    <a:gd name="connsiteX3" fmla="*/ 35683 w 387157"/>
                    <a:gd name="connsiteY3" fmla="*/ 312897 h 442914"/>
                    <a:gd name="connsiteX0" fmla="*/ 0 w 221457"/>
                    <a:gd name="connsiteY0" fmla="*/ 0 h 442914"/>
                    <a:gd name="connsiteX1" fmla="*/ 221457 w 221457"/>
                    <a:gd name="connsiteY1" fmla="*/ 221457 h 442914"/>
                    <a:gd name="connsiteX2" fmla="*/ 0 w 221457"/>
                    <a:gd name="connsiteY2" fmla="*/ 442914 h 442914"/>
                    <a:gd name="connsiteX0" fmla="*/ 0 w 221457"/>
                    <a:gd name="connsiteY0" fmla="*/ 0 h 221457"/>
                    <a:gd name="connsiteX1" fmla="*/ 221457 w 221457"/>
                    <a:gd name="connsiteY1" fmla="*/ 221457 h 221457"/>
                    <a:gd name="connsiteX0" fmla="*/ 0 w 73648"/>
                    <a:gd name="connsiteY0" fmla="*/ 0 h 482457"/>
                    <a:gd name="connsiteX1" fmla="*/ 55366 w 73648"/>
                    <a:gd name="connsiteY1" fmla="*/ 482457 h 482457"/>
                    <a:gd name="connsiteX0" fmla="*/ 0 w 122368"/>
                    <a:gd name="connsiteY0" fmla="*/ 0 h 482457"/>
                    <a:gd name="connsiteX1" fmla="*/ 55366 w 122368"/>
                    <a:gd name="connsiteY1" fmla="*/ 482457 h 482457"/>
                    <a:gd name="connsiteX0" fmla="*/ 0 w 102960"/>
                    <a:gd name="connsiteY0" fmla="*/ 0 h 482457"/>
                    <a:gd name="connsiteX1" fmla="*/ 23730 w 102960"/>
                    <a:gd name="connsiteY1" fmla="*/ 482457 h 482457"/>
                    <a:gd name="connsiteX0" fmla="*/ 0 w 133079"/>
                    <a:gd name="connsiteY0" fmla="*/ 0 h 500253"/>
                    <a:gd name="connsiteX1" fmla="*/ 71184 w 133079"/>
                    <a:gd name="connsiteY1" fmla="*/ 500253 h 500253"/>
                    <a:gd name="connsiteX0" fmla="*/ 0 w 162077"/>
                    <a:gd name="connsiteY0" fmla="*/ 0 h 500253"/>
                    <a:gd name="connsiteX1" fmla="*/ 71184 w 162077"/>
                    <a:gd name="connsiteY1" fmla="*/ 500253 h 500253"/>
                    <a:gd name="connsiteX0" fmla="*/ 0 w 141200"/>
                    <a:gd name="connsiteY0" fmla="*/ 0 h 485421"/>
                    <a:gd name="connsiteX1" fmla="*/ 29661 w 141200"/>
                    <a:gd name="connsiteY1" fmla="*/ 485421 h 485421"/>
                    <a:gd name="connsiteX0" fmla="*/ 0 w 165401"/>
                    <a:gd name="connsiteY0" fmla="*/ 0 h 485421"/>
                    <a:gd name="connsiteX1" fmla="*/ 29661 w 165401"/>
                    <a:gd name="connsiteY1" fmla="*/ 485421 h 485421"/>
                  </a:gdLst>
                  <a:ahLst/>
                  <a:cxnLst>
                    <a:cxn ang="0">
                      <a:pos x="connsiteX0" y="connsiteY0"/>
                    </a:cxn>
                    <a:cxn ang="0">
                      <a:pos x="connsiteX1" y="connsiteY1"/>
                    </a:cxn>
                  </a:cxnLst>
                  <a:rect l="l" t="t" r="r" b="b"/>
                  <a:pathLst>
                    <a:path w="165401" h="485421">
                      <a:moveTo>
                        <a:pt x="0" y="0"/>
                      </a:moveTo>
                      <a:cubicBezTo>
                        <a:pt x="217216" y="100840"/>
                        <a:pt x="213547" y="361138"/>
                        <a:pt x="29661" y="485421"/>
                      </a:cubicBezTo>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err="1">
                    <a:solidFill>
                      <a:srgbClr val="505050"/>
                    </a:solidFill>
                    <a:latin typeface="Segoe UI Semilight"/>
                  </a:endParaRPr>
                </a:p>
              </p:txBody>
            </p:sp>
            <p:sp>
              <p:nvSpPr>
                <p:cNvPr id="688" name="Oval 5">
                  <a:extLst>
                    <a:ext uri="{FF2B5EF4-FFF2-40B4-BE49-F238E27FC236}">
                      <a16:creationId xmlns:a16="http://schemas.microsoft.com/office/drawing/2014/main" id="{C73CECC1-0C8F-4D51-AAA0-CC27D82C6025}"/>
                    </a:ext>
                  </a:extLst>
                </p:cNvPr>
                <p:cNvSpPr/>
                <p:nvPr/>
              </p:nvSpPr>
              <p:spPr bwMode="auto">
                <a:xfrm>
                  <a:off x="2866921" y="3977662"/>
                  <a:ext cx="45720" cy="134180"/>
                </a:xfrm>
                <a:custGeom>
                  <a:avLst/>
                  <a:gdLst>
                    <a:gd name="connsiteX0" fmla="*/ 0 w 442913"/>
                    <a:gd name="connsiteY0" fmla="*/ 221457 h 442913"/>
                    <a:gd name="connsiteX1" fmla="*/ 221457 w 442913"/>
                    <a:gd name="connsiteY1" fmla="*/ 0 h 442913"/>
                    <a:gd name="connsiteX2" fmla="*/ 442914 w 442913"/>
                    <a:gd name="connsiteY2" fmla="*/ 221457 h 442913"/>
                    <a:gd name="connsiteX3" fmla="*/ 221457 w 442913"/>
                    <a:gd name="connsiteY3" fmla="*/ 442914 h 442913"/>
                    <a:gd name="connsiteX4" fmla="*/ 0 w 442913"/>
                    <a:gd name="connsiteY4" fmla="*/ 221457 h 442913"/>
                    <a:gd name="connsiteX0" fmla="*/ 0 w 442914"/>
                    <a:gd name="connsiteY0" fmla="*/ 221457 h 442914"/>
                    <a:gd name="connsiteX1" fmla="*/ 221457 w 442914"/>
                    <a:gd name="connsiteY1" fmla="*/ 0 h 442914"/>
                    <a:gd name="connsiteX2" fmla="*/ 442914 w 442914"/>
                    <a:gd name="connsiteY2" fmla="*/ 221457 h 442914"/>
                    <a:gd name="connsiteX3" fmla="*/ 221457 w 442914"/>
                    <a:gd name="connsiteY3" fmla="*/ 442914 h 442914"/>
                    <a:gd name="connsiteX4" fmla="*/ 91440 w 442914"/>
                    <a:gd name="connsiteY4" fmla="*/ 312897 h 442914"/>
                    <a:gd name="connsiteX0" fmla="*/ 165700 w 387157"/>
                    <a:gd name="connsiteY0" fmla="*/ 0 h 442914"/>
                    <a:gd name="connsiteX1" fmla="*/ 387157 w 387157"/>
                    <a:gd name="connsiteY1" fmla="*/ 221457 h 442914"/>
                    <a:gd name="connsiteX2" fmla="*/ 165700 w 387157"/>
                    <a:gd name="connsiteY2" fmla="*/ 442914 h 442914"/>
                    <a:gd name="connsiteX3" fmla="*/ 35683 w 387157"/>
                    <a:gd name="connsiteY3" fmla="*/ 312897 h 442914"/>
                    <a:gd name="connsiteX0" fmla="*/ 0 w 221457"/>
                    <a:gd name="connsiteY0" fmla="*/ 0 h 442914"/>
                    <a:gd name="connsiteX1" fmla="*/ 221457 w 221457"/>
                    <a:gd name="connsiteY1" fmla="*/ 221457 h 442914"/>
                    <a:gd name="connsiteX2" fmla="*/ 0 w 221457"/>
                    <a:gd name="connsiteY2" fmla="*/ 442914 h 442914"/>
                    <a:gd name="connsiteX0" fmla="*/ 0 w 221457"/>
                    <a:gd name="connsiteY0" fmla="*/ 0 h 221457"/>
                    <a:gd name="connsiteX1" fmla="*/ 221457 w 221457"/>
                    <a:gd name="connsiteY1" fmla="*/ 221457 h 221457"/>
                    <a:gd name="connsiteX0" fmla="*/ 0 w 73648"/>
                    <a:gd name="connsiteY0" fmla="*/ 0 h 482457"/>
                    <a:gd name="connsiteX1" fmla="*/ 55366 w 73648"/>
                    <a:gd name="connsiteY1" fmla="*/ 482457 h 482457"/>
                    <a:gd name="connsiteX0" fmla="*/ 0 w 122368"/>
                    <a:gd name="connsiteY0" fmla="*/ 0 h 482457"/>
                    <a:gd name="connsiteX1" fmla="*/ 55366 w 122368"/>
                    <a:gd name="connsiteY1" fmla="*/ 482457 h 482457"/>
                    <a:gd name="connsiteX0" fmla="*/ 0 w 102960"/>
                    <a:gd name="connsiteY0" fmla="*/ 0 h 482457"/>
                    <a:gd name="connsiteX1" fmla="*/ 23730 w 102960"/>
                    <a:gd name="connsiteY1" fmla="*/ 482457 h 482457"/>
                    <a:gd name="connsiteX0" fmla="*/ 0 w 133079"/>
                    <a:gd name="connsiteY0" fmla="*/ 0 h 500253"/>
                    <a:gd name="connsiteX1" fmla="*/ 71184 w 133079"/>
                    <a:gd name="connsiteY1" fmla="*/ 500253 h 500253"/>
                    <a:gd name="connsiteX0" fmla="*/ 0 w 162077"/>
                    <a:gd name="connsiteY0" fmla="*/ 0 h 500253"/>
                    <a:gd name="connsiteX1" fmla="*/ 71184 w 162077"/>
                    <a:gd name="connsiteY1" fmla="*/ 500253 h 500253"/>
                    <a:gd name="connsiteX0" fmla="*/ 0 w 141200"/>
                    <a:gd name="connsiteY0" fmla="*/ 0 h 485421"/>
                    <a:gd name="connsiteX1" fmla="*/ 29661 w 141200"/>
                    <a:gd name="connsiteY1" fmla="*/ 485421 h 485421"/>
                    <a:gd name="connsiteX0" fmla="*/ 0 w 165401"/>
                    <a:gd name="connsiteY0" fmla="*/ 0 h 485421"/>
                    <a:gd name="connsiteX1" fmla="*/ 29661 w 165401"/>
                    <a:gd name="connsiteY1" fmla="*/ 485421 h 485421"/>
                  </a:gdLst>
                  <a:ahLst/>
                  <a:cxnLst>
                    <a:cxn ang="0">
                      <a:pos x="connsiteX0" y="connsiteY0"/>
                    </a:cxn>
                    <a:cxn ang="0">
                      <a:pos x="connsiteX1" y="connsiteY1"/>
                    </a:cxn>
                  </a:cxnLst>
                  <a:rect l="l" t="t" r="r" b="b"/>
                  <a:pathLst>
                    <a:path w="165401" h="485421">
                      <a:moveTo>
                        <a:pt x="0" y="0"/>
                      </a:moveTo>
                      <a:cubicBezTo>
                        <a:pt x="217216" y="100840"/>
                        <a:pt x="213547" y="361138"/>
                        <a:pt x="29661" y="485421"/>
                      </a:cubicBezTo>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err="1">
                    <a:solidFill>
                      <a:srgbClr val="505050"/>
                    </a:solidFill>
                    <a:latin typeface="Segoe UI Semilight"/>
                  </a:endParaRPr>
                </a:p>
              </p:txBody>
            </p:sp>
          </p:grpSp>
        </p:grpSp>
      </p:grpSp>
      <p:grpSp>
        <p:nvGrpSpPr>
          <p:cNvPr id="689" name="Group 688">
            <a:extLst>
              <a:ext uri="{FF2B5EF4-FFF2-40B4-BE49-F238E27FC236}">
                <a16:creationId xmlns:a16="http://schemas.microsoft.com/office/drawing/2014/main" id="{FB58E2D1-8849-4F81-A957-40E48E05D2ED}"/>
              </a:ext>
            </a:extLst>
          </p:cNvPr>
          <p:cNvGrpSpPr/>
          <p:nvPr/>
        </p:nvGrpSpPr>
        <p:grpSpPr>
          <a:xfrm>
            <a:off x="5848674" y="5565095"/>
            <a:ext cx="502920" cy="502920"/>
            <a:chOff x="5847397" y="5346381"/>
            <a:chExt cx="502920" cy="502920"/>
          </a:xfrm>
          <a:solidFill>
            <a:schemeClr val="bg1"/>
          </a:solidFill>
        </p:grpSpPr>
        <p:sp useBgFill="1">
          <p:nvSpPr>
            <p:cNvPr id="690" name="Oval 689">
              <a:extLst>
                <a:ext uri="{FF2B5EF4-FFF2-40B4-BE49-F238E27FC236}">
                  <a16:creationId xmlns:a16="http://schemas.microsoft.com/office/drawing/2014/main" id="{0388D25A-BB2E-4AD9-A4B4-04603A49C710}"/>
                </a:ext>
              </a:extLst>
            </p:cNvPr>
            <p:cNvSpPr/>
            <p:nvPr/>
          </p:nvSpPr>
          <p:spPr bwMode="auto">
            <a:xfrm>
              <a:off x="5847397" y="5346381"/>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691" name="Group 196">
              <a:extLst>
                <a:ext uri="{FF2B5EF4-FFF2-40B4-BE49-F238E27FC236}">
                  <a16:creationId xmlns:a16="http://schemas.microsoft.com/office/drawing/2014/main" id="{2061C236-0765-4101-9343-BDA55B6E0D79}"/>
                </a:ext>
              </a:extLst>
            </p:cNvPr>
            <p:cNvGrpSpPr>
              <a:grpSpLocks noChangeAspect="1"/>
            </p:cNvGrpSpPr>
            <p:nvPr/>
          </p:nvGrpSpPr>
          <p:grpSpPr bwMode="auto">
            <a:xfrm>
              <a:off x="6030277" y="5467160"/>
              <a:ext cx="137162" cy="261362"/>
              <a:chOff x="7261" y="805"/>
              <a:chExt cx="127" cy="242"/>
            </a:xfrm>
            <a:grpFill/>
          </p:grpSpPr>
          <p:sp>
            <p:nvSpPr>
              <p:cNvPr id="692" name="Freeform 197">
                <a:extLst>
                  <a:ext uri="{FF2B5EF4-FFF2-40B4-BE49-F238E27FC236}">
                    <a16:creationId xmlns:a16="http://schemas.microsoft.com/office/drawing/2014/main" id="{C1E2399D-5E19-46D6-9ED7-6CB38D6C7A81}"/>
                  </a:ext>
                </a:extLst>
              </p:cNvPr>
              <p:cNvSpPr>
                <a:spLocks/>
              </p:cNvSpPr>
              <p:nvPr/>
            </p:nvSpPr>
            <p:spPr bwMode="auto">
              <a:xfrm>
                <a:off x="7323" y="805"/>
                <a:ext cx="65" cy="194"/>
              </a:xfrm>
              <a:custGeom>
                <a:avLst/>
                <a:gdLst>
                  <a:gd name="T0" fmla="*/ 90 w 90"/>
                  <a:gd name="T1" fmla="*/ 166 h 268"/>
                  <a:gd name="T2" fmla="*/ 90 w 90"/>
                  <a:gd name="T3" fmla="*/ 46 h 268"/>
                  <a:gd name="T4" fmla="*/ 45 w 90"/>
                  <a:gd name="T5" fmla="*/ 0 h 268"/>
                  <a:gd name="T6" fmla="*/ 0 w 90"/>
                  <a:gd name="T7" fmla="*/ 46 h 268"/>
                  <a:gd name="T8" fmla="*/ 0 w 90"/>
                  <a:gd name="T9" fmla="*/ 268 h 268"/>
                </a:gdLst>
                <a:ahLst/>
                <a:cxnLst>
                  <a:cxn ang="0">
                    <a:pos x="T0" y="T1"/>
                  </a:cxn>
                  <a:cxn ang="0">
                    <a:pos x="T2" y="T3"/>
                  </a:cxn>
                  <a:cxn ang="0">
                    <a:pos x="T4" y="T5"/>
                  </a:cxn>
                  <a:cxn ang="0">
                    <a:pos x="T6" y="T7"/>
                  </a:cxn>
                  <a:cxn ang="0">
                    <a:pos x="T8" y="T9"/>
                  </a:cxn>
                </a:cxnLst>
                <a:rect l="0" t="0" r="r" b="b"/>
                <a:pathLst>
                  <a:path w="90" h="268">
                    <a:moveTo>
                      <a:pt x="90" y="166"/>
                    </a:moveTo>
                    <a:cubicBezTo>
                      <a:pt x="90" y="46"/>
                      <a:pt x="90" y="46"/>
                      <a:pt x="90" y="46"/>
                    </a:cubicBezTo>
                    <a:cubicBezTo>
                      <a:pt x="90" y="20"/>
                      <a:pt x="70" y="0"/>
                      <a:pt x="45" y="0"/>
                    </a:cubicBezTo>
                    <a:cubicBezTo>
                      <a:pt x="20" y="0"/>
                      <a:pt x="0" y="20"/>
                      <a:pt x="0" y="46"/>
                    </a:cubicBezTo>
                    <a:cubicBezTo>
                      <a:pt x="0" y="268"/>
                      <a:pt x="0" y="268"/>
                      <a:pt x="0" y="268"/>
                    </a:cubicBezTo>
                  </a:path>
                </a:pathLst>
              </a:custGeom>
              <a:grpFill/>
              <a:ln w="12700" cap="rnd">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505050"/>
                      </a:gs>
                      <a:gs pos="100000">
                        <a:srgbClr val="505050"/>
                      </a:gs>
                    </a:gsLst>
                  </a:gradFill>
                  <a:latin typeface="Segoe UI Semilight"/>
                </a:endParaRPr>
              </a:p>
            </p:txBody>
          </p:sp>
          <p:sp>
            <p:nvSpPr>
              <p:cNvPr id="693" name="Freeform 198">
                <a:extLst>
                  <a:ext uri="{FF2B5EF4-FFF2-40B4-BE49-F238E27FC236}">
                    <a16:creationId xmlns:a16="http://schemas.microsoft.com/office/drawing/2014/main" id="{122F8FC9-1EB9-400A-BB28-A69C193201F1}"/>
                  </a:ext>
                </a:extLst>
              </p:cNvPr>
              <p:cNvSpPr>
                <a:spLocks/>
              </p:cNvSpPr>
              <p:nvPr/>
            </p:nvSpPr>
            <p:spPr bwMode="auto">
              <a:xfrm>
                <a:off x="7261" y="805"/>
                <a:ext cx="95" cy="194"/>
              </a:xfrm>
              <a:custGeom>
                <a:avLst/>
                <a:gdLst>
                  <a:gd name="T0" fmla="*/ 131 w 131"/>
                  <a:gd name="T1" fmla="*/ 0 h 268"/>
                  <a:gd name="T2" fmla="*/ 45 w 131"/>
                  <a:gd name="T3" fmla="*/ 0 h 268"/>
                  <a:gd name="T4" fmla="*/ 0 w 131"/>
                  <a:gd name="T5" fmla="*/ 46 h 268"/>
                  <a:gd name="T6" fmla="*/ 0 w 131"/>
                  <a:gd name="T7" fmla="*/ 268 h 268"/>
                </a:gdLst>
                <a:ahLst/>
                <a:cxnLst>
                  <a:cxn ang="0">
                    <a:pos x="T0" y="T1"/>
                  </a:cxn>
                  <a:cxn ang="0">
                    <a:pos x="T2" y="T3"/>
                  </a:cxn>
                  <a:cxn ang="0">
                    <a:pos x="T4" y="T5"/>
                  </a:cxn>
                  <a:cxn ang="0">
                    <a:pos x="T6" y="T7"/>
                  </a:cxn>
                </a:cxnLst>
                <a:rect l="0" t="0" r="r" b="b"/>
                <a:pathLst>
                  <a:path w="131" h="268">
                    <a:moveTo>
                      <a:pt x="131" y="0"/>
                    </a:moveTo>
                    <a:cubicBezTo>
                      <a:pt x="45" y="0"/>
                      <a:pt x="45" y="0"/>
                      <a:pt x="45" y="0"/>
                    </a:cubicBezTo>
                    <a:cubicBezTo>
                      <a:pt x="20" y="0"/>
                      <a:pt x="0" y="20"/>
                      <a:pt x="0" y="46"/>
                    </a:cubicBezTo>
                    <a:cubicBezTo>
                      <a:pt x="0" y="268"/>
                      <a:pt x="0" y="268"/>
                      <a:pt x="0" y="268"/>
                    </a:cubicBezTo>
                  </a:path>
                </a:pathLst>
              </a:custGeom>
              <a:grpFill/>
              <a:ln w="12700" cap="rnd">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505050"/>
                      </a:gs>
                      <a:gs pos="100000">
                        <a:srgbClr val="505050"/>
                      </a:gs>
                    </a:gsLst>
                  </a:gradFill>
                  <a:latin typeface="Segoe UI Semilight"/>
                </a:endParaRPr>
              </a:p>
            </p:txBody>
          </p:sp>
          <p:sp>
            <p:nvSpPr>
              <p:cNvPr id="694" name="Freeform 199">
                <a:extLst>
                  <a:ext uri="{FF2B5EF4-FFF2-40B4-BE49-F238E27FC236}">
                    <a16:creationId xmlns:a16="http://schemas.microsoft.com/office/drawing/2014/main" id="{2029157B-3238-41D4-92D1-F92A5A7087CD}"/>
                  </a:ext>
                </a:extLst>
              </p:cNvPr>
              <p:cNvSpPr>
                <a:spLocks/>
              </p:cNvSpPr>
              <p:nvPr/>
            </p:nvSpPr>
            <p:spPr bwMode="auto">
              <a:xfrm>
                <a:off x="7324" y="992"/>
                <a:ext cx="64" cy="55"/>
              </a:xfrm>
              <a:custGeom>
                <a:avLst/>
                <a:gdLst>
                  <a:gd name="T0" fmla="*/ 91 w 91"/>
                  <a:gd name="T1" fmla="*/ 0 h 77"/>
                  <a:gd name="T2" fmla="*/ 91 w 91"/>
                  <a:gd name="T3" fmla="*/ 32 h 77"/>
                  <a:gd name="T4" fmla="*/ 46 w 91"/>
                  <a:gd name="T5" fmla="*/ 77 h 77"/>
                  <a:gd name="T6" fmla="*/ 0 w 91"/>
                  <a:gd name="T7" fmla="*/ 32 h 77"/>
                  <a:gd name="T8" fmla="*/ 0 w 91"/>
                  <a:gd name="T9" fmla="*/ 6 h 77"/>
                </a:gdLst>
                <a:ahLst/>
                <a:cxnLst>
                  <a:cxn ang="0">
                    <a:pos x="T0" y="T1"/>
                  </a:cxn>
                  <a:cxn ang="0">
                    <a:pos x="T2" y="T3"/>
                  </a:cxn>
                  <a:cxn ang="0">
                    <a:pos x="T4" y="T5"/>
                  </a:cxn>
                  <a:cxn ang="0">
                    <a:pos x="T6" y="T7"/>
                  </a:cxn>
                  <a:cxn ang="0">
                    <a:pos x="T8" y="T9"/>
                  </a:cxn>
                </a:cxnLst>
                <a:rect l="0" t="0" r="r" b="b"/>
                <a:pathLst>
                  <a:path w="91" h="77">
                    <a:moveTo>
                      <a:pt x="91" y="0"/>
                    </a:moveTo>
                    <a:cubicBezTo>
                      <a:pt x="91" y="32"/>
                      <a:pt x="91" y="32"/>
                      <a:pt x="91" y="32"/>
                    </a:cubicBezTo>
                    <a:cubicBezTo>
                      <a:pt x="91" y="57"/>
                      <a:pt x="71" y="77"/>
                      <a:pt x="46" y="77"/>
                    </a:cubicBezTo>
                    <a:cubicBezTo>
                      <a:pt x="21" y="77"/>
                      <a:pt x="0" y="57"/>
                      <a:pt x="0" y="32"/>
                    </a:cubicBezTo>
                    <a:cubicBezTo>
                      <a:pt x="0" y="6"/>
                      <a:pt x="0" y="6"/>
                      <a:pt x="0" y="6"/>
                    </a:cubicBezTo>
                  </a:path>
                </a:pathLst>
              </a:custGeom>
              <a:grpFill/>
              <a:ln w="12700" cap="rnd">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505050"/>
                      </a:gs>
                      <a:gs pos="100000">
                        <a:srgbClr val="505050"/>
                      </a:gs>
                    </a:gsLst>
                  </a:gradFill>
                  <a:latin typeface="Segoe UI Semilight"/>
                </a:endParaRPr>
              </a:p>
            </p:txBody>
          </p:sp>
          <p:sp>
            <p:nvSpPr>
              <p:cNvPr id="695" name="Freeform 200">
                <a:extLst>
                  <a:ext uri="{FF2B5EF4-FFF2-40B4-BE49-F238E27FC236}">
                    <a16:creationId xmlns:a16="http://schemas.microsoft.com/office/drawing/2014/main" id="{E4F44C4B-069B-4B42-9C61-0F79279AE3E0}"/>
                  </a:ext>
                </a:extLst>
              </p:cNvPr>
              <p:cNvSpPr>
                <a:spLocks/>
              </p:cNvSpPr>
              <p:nvPr/>
            </p:nvSpPr>
            <p:spPr bwMode="auto">
              <a:xfrm>
                <a:off x="7261" y="996"/>
                <a:ext cx="95" cy="51"/>
              </a:xfrm>
              <a:custGeom>
                <a:avLst/>
                <a:gdLst>
                  <a:gd name="T0" fmla="*/ 131 w 131"/>
                  <a:gd name="T1" fmla="*/ 71 h 71"/>
                  <a:gd name="T2" fmla="*/ 45 w 131"/>
                  <a:gd name="T3" fmla="*/ 71 h 71"/>
                  <a:gd name="T4" fmla="*/ 0 w 131"/>
                  <a:gd name="T5" fmla="*/ 26 h 71"/>
                  <a:gd name="T6" fmla="*/ 0 w 131"/>
                  <a:gd name="T7" fmla="*/ 0 h 71"/>
                </a:gdLst>
                <a:ahLst/>
                <a:cxnLst>
                  <a:cxn ang="0">
                    <a:pos x="T0" y="T1"/>
                  </a:cxn>
                  <a:cxn ang="0">
                    <a:pos x="T2" y="T3"/>
                  </a:cxn>
                  <a:cxn ang="0">
                    <a:pos x="T4" y="T5"/>
                  </a:cxn>
                  <a:cxn ang="0">
                    <a:pos x="T6" y="T7"/>
                  </a:cxn>
                </a:cxnLst>
                <a:rect l="0" t="0" r="r" b="b"/>
                <a:pathLst>
                  <a:path w="131" h="71">
                    <a:moveTo>
                      <a:pt x="131" y="71"/>
                    </a:moveTo>
                    <a:cubicBezTo>
                      <a:pt x="45" y="71"/>
                      <a:pt x="45" y="71"/>
                      <a:pt x="45" y="71"/>
                    </a:cubicBezTo>
                    <a:cubicBezTo>
                      <a:pt x="20" y="71"/>
                      <a:pt x="0" y="51"/>
                      <a:pt x="0" y="26"/>
                    </a:cubicBezTo>
                    <a:cubicBezTo>
                      <a:pt x="0" y="0"/>
                      <a:pt x="0" y="0"/>
                      <a:pt x="0" y="0"/>
                    </a:cubicBezTo>
                  </a:path>
                </a:pathLst>
              </a:custGeom>
              <a:grpFill/>
              <a:ln w="12700" cap="rnd">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505050"/>
                      </a:gs>
                      <a:gs pos="100000">
                        <a:srgbClr val="505050"/>
                      </a:gs>
                    </a:gsLst>
                  </a:gradFill>
                  <a:latin typeface="Segoe UI Semilight"/>
                </a:endParaRPr>
              </a:p>
            </p:txBody>
          </p:sp>
          <p:sp>
            <p:nvSpPr>
              <p:cNvPr id="696" name="Oval 201">
                <a:extLst>
                  <a:ext uri="{FF2B5EF4-FFF2-40B4-BE49-F238E27FC236}">
                    <a16:creationId xmlns:a16="http://schemas.microsoft.com/office/drawing/2014/main" id="{DD91FE5D-86C3-4804-8CFB-32FF9ADD742E}"/>
                  </a:ext>
                </a:extLst>
              </p:cNvPr>
              <p:cNvSpPr>
                <a:spLocks noChangeArrowheads="1"/>
              </p:cNvSpPr>
              <p:nvPr/>
            </p:nvSpPr>
            <p:spPr bwMode="auto">
              <a:xfrm>
                <a:off x="7287" y="878"/>
                <a:ext cx="9" cy="8"/>
              </a:xfrm>
              <a:prstGeom prst="ellipse">
                <a:avLst/>
              </a:prstGeom>
              <a:grpFill/>
              <a:ln w="12700" cap="rnd">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505050"/>
                      </a:gs>
                      <a:gs pos="100000">
                        <a:srgbClr val="505050"/>
                      </a:gs>
                    </a:gsLst>
                  </a:gradFill>
                  <a:latin typeface="Segoe UI Semilight"/>
                </a:endParaRPr>
              </a:p>
            </p:txBody>
          </p:sp>
          <p:sp>
            <p:nvSpPr>
              <p:cNvPr id="697" name="Oval 202">
                <a:extLst>
                  <a:ext uri="{FF2B5EF4-FFF2-40B4-BE49-F238E27FC236}">
                    <a16:creationId xmlns:a16="http://schemas.microsoft.com/office/drawing/2014/main" id="{B67BCE3F-0D65-4ED1-A8E8-ABC1E691C6BA}"/>
                  </a:ext>
                </a:extLst>
              </p:cNvPr>
              <p:cNvSpPr>
                <a:spLocks noChangeArrowheads="1"/>
              </p:cNvSpPr>
              <p:nvPr/>
            </p:nvSpPr>
            <p:spPr bwMode="auto">
              <a:xfrm>
                <a:off x="7287" y="923"/>
                <a:ext cx="9" cy="8"/>
              </a:xfrm>
              <a:prstGeom prst="ellipse">
                <a:avLst/>
              </a:prstGeom>
              <a:grpFill/>
              <a:ln w="12700" cap="rnd">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505050"/>
                      </a:gs>
                      <a:gs pos="100000">
                        <a:srgbClr val="505050"/>
                      </a:gs>
                    </a:gsLst>
                  </a:gradFill>
                  <a:latin typeface="Segoe UI Semilight"/>
                </a:endParaRPr>
              </a:p>
            </p:txBody>
          </p:sp>
          <p:sp>
            <p:nvSpPr>
              <p:cNvPr id="698" name="Oval 203">
                <a:extLst>
                  <a:ext uri="{FF2B5EF4-FFF2-40B4-BE49-F238E27FC236}">
                    <a16:creationId xmlns:a16="http://schemas.microsoft.com/office/drawing/2014/main" id="{99401C8F-E98F-43AD-9F7E-75C93D71159A}"/>
                  </a:ext>
                </a:extLst>
              </p:cNvPr>
              <p:cNvSpPr>
                <a:spLocks noChangeArrowheads="1"/>
              </p:cNvSpPr>
              <p:nvPr/>
            </p:nvSpPr>
            <p:spPr bwMode="auto">
              <a:xfrm>
                <a:off x="7287" y="967"/>
                <a:ext cx="9" cy="8"/>
              </a:xfrm>
              <a:prstGeom prst="ellipse">
                <a:avLst/>
              </a:prstGeom>
              <a:grpFill/>
              <a:ln w="12700" cap="rnd">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gradFill>
                    <a:gsLst>
                      <a:gs pos="0">
                        <a:srgbClr val="505050"/>
                      </a:gs>
                      <a:gs pos="100000">
                        <a:srgbClr val="505050"/>
                      </a:gs>
                    </a:gsLst>
                  </a:gradFill>
                  <a:latin typeface="Segoe UI Semilight"/>
                </a:endParaRPr>
              </a:p>
            </p:txBody>
          </p:sp>
        </p:grpSp>
      </p:grpSp>
      <p:grpSp>
        <p:nvGrpSpPr>
          <p:cNvPr id="699" name="Group 698">
            <a:extLst>
              <a:ext uri="{FF2B5EF4-FFF2-40B4-BE49-F238E27FC236}">
                <a16:creationId xmlns:a16="http://schemas.microsoft.com/office/drawing/2014/main" id="{00D7EEAF-4DB3-44E0-91B8-12C5C09CBCAD}"/>
              </a:ext>
            </a:extLst>
          </p:cNvPr>
          <p:cNvGrpSpPr/>
          <p:nvPr/>
        </p:nvGrpSpPr>
        <p:grpSpPr>
          <a:xfrm>
            <a:off x="3682689" y="3399111"/>
            <a:ext cx="502920" cy="502920"/>
            <a:chOff x="-963895" y="2838084"/>
            <a:chExt cx="502920" cy="502920"/>
          </a:xfrm>
          <a:solidFill>
            <a:schemeClr val="bg1"/>
          </a:solidFill>
        </p:grpSpPr>
        <p:sp useBgFill="1">
          <p:nvSpPr>
            <p:cNvPr id="700" name="Oval 699">
              <a:extLst>
                <a:ext uri="{FF2B5EF4-FFF2-40B4-BE49-F238E27FC236}">
                  <a16:creationId xmlns:a16="http://schemas.microsoft.com/office/drawing/2014/main" id="{B7D6CF06-0BB3-4441-84F5-B65A3450DC3C}"/>
                </a:ext>
              </a:extLst>
            </p:cNvPr>
            <p:cNvSpPr/>
            <p:nvPr/>
          </p:nvSpPr>
          <p:spPr bwMode="auto">
            <a:xfrm>
              <a:off x="-963895" y="2838084"/>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1" name="hand_5">
              <a:extLst>
                <a:ext uri="{FF2B5EF4-FFF2-40B4-BE49-F238E27FC236}">
                  <a16:creationId xmlns:a16="http://schemas.microsoft.com/office/drawing/2014/main" id="{92AA09C1-28B6-4182-B7BA-B97438842BBA}"/>
                </a:ext>
              </a:extLst>
            </p:cNvPr>
            <p:cNvSpPr>
              <a:spLocks noChangeAspect="1" noEditPoints="1"/>
            </p:cNvSpPr>
            <p:nvPr/>
          </p:nvSpPr>
          <p:spPr bwMode="auto">
            <a:xfrm>
              <a:off x="-791727" y="2985079"/>
              <a:ext cx="158585" cy="208930"/>
            </a:xfrm>
            <a:custGeom>
              <a:avLst/>
              <a:gdLst>
                <a:gd name="T0" fmla="*/ 120 w 260"/>
                <a:gd name="T1" fmla="*/ 103 h 344"/>
                <a:gd name="T2" fmla="*/ 143 w 260"/>
                <a:gd name="T3" fmla="*/ 78 h 344"/>
                <a:gd name="T4" fmla="*/ 166 w 260"/>
                <a:gd name="T5" fmla="*/ 103 h 344"/>
                <a:gd name="T6" fmla="*/ 166 w 260"/>
                <a:gd name="T7" fmla="*/ 172 h 344"/>
                <a:gd name="T8" fmla="*/ 212 w 260"/>
                <a:gd name="T9" fmla="*/ 172 h 344"/>
                <a:gd name="T10" fmla="*/ 212 w 260"/>
                <a:gd name="T11" fmla="*/ 103 h 344"/>
                <a:gd name="T12" fmla="*/ 189 w 260"/>
                <a:gd name="T13" fmla="*/ 78 h 344"/>
                <a:gd name="T14" fmla="*/ 166 w 260"/>
                <a:gd name="T15" fmla="*/ 103 h 344"/>
                <a:gd name="T16" fmla="*/ 120 w 260"/>
                <a:gd name="T17" fmla="*/ 172 h 344"/>
                <a:gd name="T18" fmla="*/ 120 w 260"/>
                <a:gd name="T19" fmla="*/ 25 h 344"/>
                <a:gd name="T20" fmla="*/ 97 w 260"/>
                <a:gd name="T21" fmla="*/ 0 h 344"/>
                <a:gd name="T22" fmla="*/ 74 w 260"/>
                <a:gd name="T23" fmla="*/ 25 h 344"/>
                <a:gd name="T24" fmla="*/ 74 w 260"/>
                <a:gd name="T25" fmla="*/ 206 h 344"/>
                <a:gd name="T26" fmla="*/ 23 w 260"/>
                <a:gd name="T27" fmla="*/ 188 h 344"/>
                <a:gd name="T28" fmla="*/ 6 w 260"/>
                <a:gd name="T29" fmla="*/ 195 h 344"/>
                <a:gd name="T30" fmla="*/ 8 w 260"/>
                <a:gd name="T31" fmla="*/ 217 h 344"/>
                <a:gd name="T32" fmla="*/ 93 w 260"/>
                <a:gd name="T33" fmla="*/ 316 h 344"/>
                <a:gd name="T34" fmla="*/ 174 w 260"/>
                <a:gd name="T35" fmla="*/ 344 h 344"/>
                <a:gd name="T36" fmla="*/ 255 w 260"/>
                <a:gd name="T37" fmla="*/ 278 h 344"/>
                <a:gd name="T38" fmla="*/ 258 w 260"/>
                <a:gd name="T39" fmla="*/ 200 h 344"/>
                <a:gd name="T40" fmla="*/ 258 w 260"/>
                <a:gd name="T41" fmla="*/ 130 h 344"/>
                <a:gd name="T42" fmla="*/ 235 w 260"/>
                <a:gd name="T43" fmla="*/ 105 h 344"/>
                <a:gd name="T44" fmla="*/ 212 w 260"/>
                <a:gd name="T45" fmla="*/ 130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0" h="344">
                  <a:moveTo>
                    <a:pt x="120" y="103"/>
                  </a:moveTo>
                  <a:cubicBezTo>
                    <a:pt x="120" y="89"/>
                    <a:pt x="130" y="78"/>
                    <a:pt x="143" y="78"/>
                  </a:cubicBezTo>
                  <a:cubicBezTo>
                    <a:pt x="156" y="78"/>
                    <a:pt x="166" y="89"/>
                    <a:pt x="166" y="103"/>
                  </a:cubicBezTo>
                  <a:cubicBezTo>
                    <a:pt x="166" y="172"/>
                    <a:pt x="166" y="172"/>
                    <a:pt x="166" y="172"/>
                  </a:cubicBezTo>
                  <a:moveTo>
                    <a:pt x="212" y="172"/>
                  </a:moveTo>
                  <a:cubicBezTo>
                    <a:pt x="212" y="103"/>
                    <a:pt x="212" y="103"/>
                    <a:pt x="212" y="103"/>
                  </a:cubicBezTo>
                  <a:cubicBezTo>
                    <a:pt x="212" y="89"/>
                    <a:pt x="202" y="78"/>
                    <a:pt x="189" y="78"/>
                  </a:cubicBezTo>
                  <a:cubicBezTo>
                    <a:pt x="176" y="78"/>
                    <a:pt x="166" y="89"/>
                    <a:pt x="166" y="103"/>
                  </a:cubicBezTo>
                  <a:moveTo>
                    <a:pt x="120" y="172"/>
                  </a:moveTo>
                  <a:cubicBezTo>
                    <a:pt x="120" y="25"/>
                    <a:pt x="120" y="25"/>
                    <a:pt x="120" y="25"/>
                  </a:cubicBezTo>
                  <a:cubicBezTo>
                    <a:pt x="120" y="11"/>
                    <a:pt x="110" y="0"/>
                    <a:pt x="97" y="0"/>
                  </a:cubicBezTo>
                  <a:cubicBezTo>
                    <a:pt x="84" y="0"/>
                    <a:pt x="74" y="11"/>
                    <a:pt x="74" y="25"/>
                  </a:cubicBezTo>
                  <a:cubicBezTo>
                    <a:pt x="74" y="206"/>
                    <a:pt x="74" y="206"/>
                    <a:pt x="74" y="206"/>
                  </a:cubicBezTo>
                  <a:cubicBezTo>
                    <a:pt x="74" y="206"/>
                    <a:pt x="33" y="189"/>
                    <a:pt x="23" y="188"/>
                  </a:cubicBezTo>
                  <a:cubicBezTo>
                    <a:pt x="14" y="188"/>
                    <a:pt x="13" y="188"/>
                    <a:pt x="6" y="195"/>
                  </a:cubicBezTo>
                  <a:cubicBezTo>
                    <a:pt x="0" y="202"/>
                    <a:pt x="5" y="213"/>
                    <a:pt x="8" y="217"/>
                  </a:cubicBezTo>
                  <a:cubicBezTo>
                    <a:pt x="12" y="220"/>
                    <a:pt x="84" y="309"/>
                    <a:pt x="93" y="316"/>
                  </a:cubicBezTo>
                  <a:cubicBezTo>
                    <a:pt x="101" y="324"/>
                    <a:pt x="118" y="344"/>
                    <a:pt x="174" y="344"/>
                  </a:cubicBezTo>
                  <a:cubicBezTo>
                    <a:pt x="233" y="344"/>
                    <a:pt x="255" y="278"/>
                    <a:pt x="255" y="278"/>
                  </a:cubicBezTo>
                  <a:cubicBezTo>
                    <a:pt x="260" y="261"/>
                    <a:pt x="258" y="200"/>
                    <a:pt x="258" y="200"/>
                  </a:cubicBezTo>
                  <a:cubicBezTo>
                    <a:pt x="258" y="130"/>
                    <a:pt x="258" y="130"/>
                    <a:pt x="258" y="130"/>
                  </a:cubicBezTo>
                  <a:cubicBezTo>
                    <a:pt x="258" y="116"/>
                    <a:pt x="247" y="105"/>
                    <a:pt x="235" y="105"/>
                  </a:cubicBezTo>
                  <a:cubicBezTo>
                    <a:pt x="222" y="105"/>
                    <a:pt x="212" y="116"/>
                    <a:pt x="212" y="130"/>
                  </a:cubicBezTo>
                </a:path>
              </a:pathLst>
            </a:custGeom>
            <a:grpFill/>
            <a:ln w="1270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grpSp>
      <p:grpSp>
        <p:nvGrpSpPr>
          <p:cNvPr id="702" name="Group 701">
            <a:extLst>
              <a:ext uri="{FF2B5EF4-FFF2-40B4-BE49-F238E27FC236}">
                <a16:creationId xmlns:a16="http://schemas.microsoft.com/office/drawing/2014/main" id="{5B6FED5F-7E15-4F45-BC2F-BFFB6876155C}"/>
              </a:ext>
            </a:extLst>
          </p:cNvPr>
          <p:cNvGrpSpPr/>
          <p:nvPr/>
        </p:nvGrpSpPr>
        <p:grpSpPr>
          <a:xfrm>
            <a:off x="3847716" y="2570045"/>
            <a:ext cx="502920" cy="502920"/>
            <a:chOff x="3846439" y="2351331"/>
            <a:chExt cx="502920" cy="502920"/>
          </a:xfrm>
          <a:solidFill>
            <a:schemeClr val="bg1"/>
          </a:solidFill>
        </p:grpSpPr>
        <p:sp useBgFill="1">
          <p:nvSpPr>
            <p:cNvPr id="703" name="Oval 702">
              <a:extLst>
                <a:ext uri="{FF2B5EF4-FFF2-40B4-BE49-F238E27FC236}">
                  <a16:creationId xmlns:a16="http://schemas.microsoft.com/office/drawing/2014/main" id="{5A7CCBEE-A0F3-4C68-BFC0-BD5892928674}"/>
                </a:ext>
              </a:extLst>
            </p:cNvPr>
            <p:cNvSpPr/>
            <p:nvPr/>
          </p:nvSpPr>
          <p:spPr bwMode="auto">
            <a:xfrm>
              <a:off x="3846439" y="2351331"/>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4" name="Freeform 5">
              <a:extLst>
                <a:ext uri="{FF2B5EF4-FFF2-40B4-BE49-F238E27FC236}">
                  <a16:creationId xmlns:a16="http://schemas.microsoft.com/office/drawing/2014/main" id="{225E9780-FE28-4546-B2CF-A97669F543A7}"/>
                </a:ext>
              </a:extLst>
            </p:cNvPr>
            <p:cNvSpPr>
              <a:spLocks noChangeAspect="1" noEditPoints="1"/>
            </p:cNvSpPr>
            <p:nvPr/>
          </p:nvSpPr>
          <p:spPr bwMode="auto">
            <a:xfrm>
              <a:off x="3966698" y="2534413"/>
              <a:ext cx="262402" cy="136756"/>
            </a:xfrm>
            <a:custGeom>
              <a:avLst/>
              <a:gdLst>
                <a:gd name="T0" fmla="*/ 1751 w 3752"/>
                <a:gd name="T1" fmla="*/ 500 h 2002"/>
                <a:gd name="T2" fmla="*/ 2001 w 3752"/>
                <a:gd name="T3" fmla="*/ 500 h 2002"/>
                <a:gd name="T4" fmla="*/ 0 w 3752"/>
                <a:gd name="T5" fmla="*/ 885 h 2002"/>
                <a:gd name="T6" fmla="*/ 170 w 3752"/>
                <a:gd name="T7" fmla="*/ 940 h 2002"/>
                <a:gd name="T8" fmla="*/ 1336 w 3752"/>
                <a:gd name="T9" fmla="*/ 1124 h 2002"/>
                <a:gd name="T10" fmla="*/ 2493 w 3752"/>
                <a:gd name="T11" fmla="*/ 943 h 2002"/>
                <a:gd name="T12" fmla="*/ 3554 w 3752"/>
                <a:gd name="T13" fmla="*/ 409 h 2002"/>
                <a:gd name="T14" fmla="*/ 3699 w 3752"/>
                <a:gd name="T15" fmla="*/ 305 h 2002"/>
                <a:gd name="T16" fmla="*/ 1 w 3752"/>
                <a:gd name="T17" fmla="*/ 1003 h 2002"/>
                <a:gd name="T18" fmla="*/ 305 w 3752"/>
                <a:gd name="T19" fmla="*/ 1697 h 2002"/>
                <a:gd name="T20" fmla="*/ 1042 w 3752"/>
                <a:gd name="T21" fmla="*/ 2002 h 2002"/>
                <a:gd name="T22" fmla="*/ 1200 w 3752"/>
                <a:gd name="T23" fmla="*/ 2002 h 2002"/>
                <a:gd name="T24" fmla="*/ 1356 w 3752"/>
                <a:gd name="T25" fmla="*/ 1948 h 2002"/>
                <a:gd name="T26" fmla="*/ 1612 w 3752"/>
                <a:gd name="T27" fmla="*/ 1745 h 2002"/>
                <a:gd name="T28" fmla="*/ 1876 w 3752"/>
                <a:gd name="T29" fmla="*/ 1638 h 2002"/>
                <a:gd name="T30" fmla="*/ 2140 w 3752"/>
                <a:gd name="T31" fmla="*/ 1745 h 2002"/>
                <a:gd name="T32" fmla="*/ 2396 w 3752"/>
                <a:gd name="T33" fmla="*/ 1948 h 2002"/>
                <a:gd name="T34" fmla="*/ 2552 w 3752"/>
                <a:gd name="T35" fmla="*/ 2002 h 2002"/>
                <a:gd name="T36" fmla="*/ 2710 w 3752"/>
                <a:gd name="T37" fmla="*/ 2002 h 2002"/>
                <a:gd name="T38" fmla="*/ 3447 w 3752"/>
                <a:gd name="T39" fmla="*/ 1697 h 2002"/>
                <a:gd name="T40" fmla="*/ 3752 w 3752"/>
                <a:gd name="T41" fmla="*/ 960 h 2002"/>
                <a:gd name="T42" fmla="*/ 3752 w 3752"/>
                <a:gd name="T43" fmla="*/ 885 h 2002"/>
                <a:gd name="T44" fmla="*/ 3752 w 3752"/>
                <a:gd name="T45" fmla="*/ 459 h 2002"/>
                <a:gd name="T46" fmla="*/ 3682 w 3752"/>
                <a:gd name="T47" fmla="*/ 286 h 2002"/>
                <a:gd name="T48" fmla="*/ 3681 w 3752"/>
                <a:gd name="T49" fmla="*/ 285 h 2002"/>
                <a:gd name="T50" fmla="*/ 3564 w 3752"/>
                <a:gd name="T51" fmla="*/ 206 h 2002"/>
                <a:gd name="T52" fmla="*/ 3559 w 3752"/>
                <a:gd name="T53" fmla="*/ 204 h 2002"/>
                <a:gd name="T54" fmla="*/ 1876 w 3752"/>
                <a:gd name="T55" fmla="*/ 0 h 2002"/>
                <a:gd name="T56" fmla="*/ 188 w 3752"/>
                <a:gd name="T57" fmla="*/ 206 h 2002"/>
                <a:gd name="T58" fmla="*/ 71 w 3752"/>
                <a:gd name="T59" fmla="*/ 285 h 2002"/>
                <a:gd name="T60" fmla="*/ 70 w 3752"/>
                <a:gd name="T61" fmla="*/ 286 h 2002"/>
                <a:gd name="T62" fmla="*/ 0 w 3752"/>
                <a:gd name="T63" fmla="*/ 459 h 2002"/>
                <a:gd name="T64" fmla="*/ 0 w 3752"/>
                <a:gd name="T65" fmla="*/ 885 h 2002"/>
                <a:gd name="T66" fmla="*/ 1 w 3752"/>
                <a:gd name="T67" fmla="*/ 1003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52" h="2002">
                  <a:moveTo>
                    <a:pt x="1751" y="500"/>
                  </a:moveTo>
                  <a:cubicBezTo>
                    <a:pt x="2001" y="500"/>
                    <a:pt x="2001" y="500"/>
                    <a:pt x="2001" y="500"/>
                  </a:cubicBezTo>
                  <a:moveTo>
                    <a:pt x="0" y="885"/>
                  </a:moveTo>
                  <a:cubicBezTo>
                    <a:pt x="170" y="940"/>
                    <a:pt x="170" y="940"/>
                    <a:pt x="170" y="940"/>
                  </a:cubicBezTo>
                  <a:cubicBezTo>
                    <a:pt x="549" y="1062"/>
                    <a:pt x="942" y="1124"/>
                    <a:pt x="1336" y="1124"/>
                  </a:cubicBezTo>
                  <a:cubicBezTo>
                    <a:pt x="1729" y="1124"/>
                    <a:pt x="2118" y="1063"/>
                    <a:pt x="2493" y="943"/>
                  </a:cubicBezTo>
                  <a:cubicBezTo>
                    <a:pt x="2872" y="822"/>
                    <a:pt x="3229" y="642"/>
                    <a:pt x="3554" y="409"/>
                  </a:cubicBezTo>
                  <a:cubicBezTo>
                    <a:pt x="3699" y="305"/>
                    <a:pt x="3699" y="305"/>
                    <a:pt x="3699" y="305"/>
                  </a:cubicBezTo>
                  <a:moveTo>
                    <a:pt x="1" y="1003"/>
                  </a:moveTo>
                  <a:cubicBezTo>
                    <a:pt x="12" y="1265"/>
                    <a:pt x="119" y="1510"/>
                    <a:pt x="305" y="1697"/>
                  </a:cubicBezTo>
                  <a:cubicBezTo>
                    <a:pt x="502" y="1894"/>
                    <a:pt x="764" y="2002"/>
                    <a:pt x="1042" y="2002"/>
                  </a:cubicBezTo>
                  <a:cubicBezTo>
                    <a:pt x="1200" y="2002"/>
                    <a:pt x="1200" y="2002"/>
                    <a:pt x="1200" y="2002"/>
                  </a:cubicBezTo>
                  <a:cubicBezTo>
                    <a:pt x="1256" y="2002"/>
                    <a:pt x="1312" y="1983"/>
                    <a:pt x="1356" y="1948"/>
                  </a:cubicBezTo>
                  <a:cubicBezTo>
                    <a:pt x="1612" y="1745"/>
                    <a:pt x="1612" y="1745"/>
                    <a:pt x="1612" y="1745"/>
                  </a:cubicBezTo>
                  <a:cubicBezTo>
                    <a:pt x="1683" y="1676"/>
                    <a:pt x="1777" y="1638"/>
                    <a:pt x="1876" y="1638"/>
                  </a:cubicBezTo>
                  <a:cubicBezTo>
                    <a:pt x="1975" y="1638"/>
                    <a:pt x="2069" y="1676"/>
                    <a:pt x="2140" y="1745"/>
                  </a:cubicBezTo>
                  <a:cubicBezTo>
                    <a:pt x="2396" y="1948"/>
                    <a:pt x="2396" y="1948"/>
                    <a:pt x="2396" y="1948"/>
                  </a:cubicBezTo>
                  <a:cubicBezTo>
                    <a:pt x="2440" y="1983"/>
                    <a:pt x="2496" y="2002"/>
                    <a:pt x="2552" y="2002"/>
                  </a:cubicBezTo>
                  <a:cubicBezTo>
                    <a:pt x="2710" y="2002"/>
                    <a:pt x="2710" y="2002"/>
                    <a:pt x="2710" y="2002"/>
                  </a:cubicBezTo>
                  <a:cubicBezTo>
                    <a:pt x="2988" y="2002"/>
                    <a:pt x="3250" y="1894"/>
                    <a:pt x="3447" y="1697"/>
                  </a:cubicBezTo>
                  <a:cubicBezTo>
                    <a:pt x="3644" y="1500"/>
                    <a:pt x="3752" y="1238"/>
                    <a:pt x="3752" y="960"/>
                  </a:cubicBezTo>
                  <a:cubicBezTo>
                    <a:pt x="3752" y="885"/>
                    <a:pt x="3752" y="885"/>
                    <a:pt x="3752" y="885"/>
                  </a:cubicBezTo>
                  <a:cubicBezTo>
                    <a:pt x="3752" y="459"/>
                    <a:pt x="3752" y="459"/>
                    <a:pt x="3752" y="459"/>
                  </a:cubicBezTo>
                  <a:cubicBezTo>
                    <a:pt x="3752" y="394"/>
                    <a:pt x="3727" y="331"/>
                    <a:pt x="3682" y="286"/>
                  </a:cubicBezTo>
                  <a:cubicBezTo>
                    <a:pt x="3681" y="285"/>
                    <a:pt x="3681" y="285"/>
                    <a:pt x="3681" y="285"/>
                  </a:cubicBezTo>
                  <a:cubicBezTo>
                    <a:pt x="3647" y="251"/>
                    <a:pt x="3608" y="225"/>
                    <a:pt x="3564" y="206"/>
                  </a:cubicBezTo>
                  <a:cubicBezTo>
                    <a:pt x="3564" y="206"/>
                    <a:pt x="3560" y="204"/>
                    <a:pt x="3559" y="204"/>
                  </a:cubicBezTo>
                  <a:cubicBezTo>
                    <a:pt x="3224" y="70"/>
                    <a:pt x="2643" y="0"/>
                    <a:pt x="1876" y="0"/>
                  </a:cubicBezTo>
                  <a:cubicBezTo>
                    <a:pt x="1105" y="0"/>
                    <a:pt x="521" y="71"/>
                    <a:pt x="188" y="206"/>
                  </a:cubicBezTo>
                  <a:cubicBezTo>
                    <a:pt x="144" y="225"/>
                    <a:pt x="105" y="251"/>
                    <a:pt x="71" y="285"/>
                  </a:cubicBezTo>
                  <a:cubicBezTo>
                    <a:pt x="70" y="286"/>
                    <a:pt x="70" y="286"/>
                    <a:pt x="70" y="286"/>
                  </a:cubicBezTo>
                  <a:cubicBezTo>
                    <a:pt x="25" y="331"/>
                    <a:pt x="0" y="394"/>
                    <a:pt x="0" y="459"/>
                  </a:cubicBezTo>
                  <a:cubicBezTo>
                    <a:pt x="0" y="885"/>
                    <a:pt x="0" y="885"/>
                    <a:pt x="0" y="885"/>
                  </a:cubicBezTo>
                  <a:lnTo>
                    <a:pt x="1" y="1003"/>
                  </a:lnTo>
                  <a:close/>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grpSp>
      <p:grpSp>
        <p:nvGrpSpPr>
          <p:cNvPr id="705" name="Group 704">
            <a:extLst>
              <a:ext uri="{FF2B5EF4-FFF2-40B4-BE49-F238E27FC236}">
                <a16:creationId xmlns:a16="http://schemas.microsoft.com/office/drawing/2014/main" id="{2DA7EAC9-500A-49EE-ACCE-EB4F9D0E0A97}"/>
              </a:ext>
            </a:extLst>
          </p:cNvPr>
          <p:cNvGrpSpPr/>
          <p:nvPr/>
        </p:nvGrpSpPr>
        <p:grpSpPr>
          <a:xfrm>
            <a:off x="8424768" y="3908244"/>
            <a:ext cx="502920" cy="502920"/>
            <a:chOff x="7820929" y="5070185"/>
            <a:chExt cx="502920" cy="502920"/>
          </a:xfrm>
          <a:solidFill>
            <a:schemeClr val="bg1"/>
          </a:solidFill>
        </p:grpSpPr>
        <p:sp useBgFill="1">
          <p:nvSpPr>
            <p:cNvPr id="706" name="Oval 705">
              <a:extLst>
                <a:ext uri="{FF2B5EF4-FFF2-40B4-BE49-F238E27FC236}">
                  <a16:creationId xmlns:a16="http://schemas.microsoft.com/office/drawing/2014/main" id="{7ED5D5E5-3AE3-4ECF-BB93-4594CCE84E03}"/>
                </a:ext>
              </a:extLst>
            </p:cNvPr>
            <p:cNvSpPr/>
            <p:nvPr/>
          </p:nvSpPr>
          <p:spPr bwMode="auto">
            <a:xfrm>
              <a:off x="7820929" y="5070185"/>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07" name="Group 706">
              <a:extLst>
                <a:ext uri="{FF2B5EF4-FFF2-40B4-BE49-F238E27FC236}">
                  <a16:creationId xmlns:a16="http://schemas.microsoft.com/office/drawing/2014/main" id="{1A508F32-6809-45F4-9F1E-A595590A6004}"/>
                </a:ext>
              </a:extLst>
            </p:cNvPr>
            <p:cNvGrpSpPr>
              <a:grpSpLocks noChangeAspect="1"/>
            </p:cNvGrpSpPr>
            <p:nvPr/>
          </p:nvGrpSpPr>
          <p:grpSpPr>
            <a:xfrm>
              <a:off x="7913305" y="5228754"/>
              <a:ext cx="318168" cy="185782"/>
              <a:chOff x="11030366" y="2382953"/>
              <a:chExt cx="397040" cy="231838"/>
            </a:xfrm>
            <a:grpFill/>
          </p:grpSpPr>
          <p:sp>
            <p:nvSpPr>
              <p:cNvPr id="708" name="Freeform 77">
                <a:extLst>
                  <a:ext uri="{FF2B5EF4-FFF2-40B4-BE49-F238E27FC236}">
                    <a16:creationId xmlns:a16="http://schemas.microsoft.com/office/drawing/2014/main" id="{CC891131-96E4-406C-B1C9-339CCB30C356}"/>
                  </a:ext>
                </a:extLst>
              </p:cNvPr>
              <p:cNvSpPr>
                <a:spLocks/>
              </p:cNvSpPr>
              <p:nvPr/>
            </p:nvSpPr>
            <p:spPr bwMode="auto">
              <a:xfrm>
                <a:off x="11030366" y="2382953"/>
                <a:ext cx="397040" cy="231838"/>
              </a:xfrm>
              <a:custGeom>
                <a:avLst/>
                <a:gdLst>
                  <a:gd name="T0" fmla="*/ 308 w 395"/>
                  <a:gd name="T1" fmla="*/ 36 h 230"/>
                  <a:gd name="T2" fmla="*/ 270 w 395"/>
                  <a:gd name="T3" fmla="*/ 5 h 230"/>
                  <a:gd name="T4" fmla="*/ 234 w 395"/>
                  <a:gd name="T5" fmla="*/ 20 h 230"/>
                  <a:gd name="T6" fmla="*/ 200 w 395"/>
                  <a:gd name="T7" fmla="*/ 20 h 230"/>
                  <a:gd name="T8" fmla="*/ 196 w 395"/>
                  <a:gd name="T9" fmla="*/ 20 h 230"/>
                  <a:gd name="T10" fmla="*/ 161 w 395"/>
                  <a:gd name="T11" fmla="*/ 20 h 230"/>
                  <a:gd name="T12" fmla="*/ 126 w 395"/>
                  <a:gd name="T13" fmla="*/ 5 h 230"/>
                  <a:gd name="T14" fmla="*/ 87 w 395"/>
                  <a:gd name="T15" fmla="*/ 36 h 230"/>
                  <a:gd name="T16" fmla="*/ 48 w 395"/>
                  <a:gd name="T17" fmla="*/ 216 h 230"/>
                  <a:gd name="T18" fmla="*/ 75 w 395"/>
                  <a:gd name="T19" fmla="*/ 230 h 230"/>
                  <a:gd name="T20" fmla="*/ 113 w 395"/>
                  <a:gd name="T21" fmla="*/ 189 h 230"/>
                  <a:gd name="T22" fmla="*/ 162 w 395"/>
                  <a:gd name="T23" fmla="*/ 169 h 230"/>
                  <a:gd name="T24" fmla="*/ 233 w 395"/>
                  <a:gd name="T25" fmla="*/ 169 h 230"/>
                  <a:gd name="T26" fmla="*/ 283 w 395"/>
                  <a:gd name="T27" fmla="*/ 189 h 230"/>
                  <a:gd name="T28" fmla="*/ 320 w 395"/>
                  <a:gd name="T29" fmla="*/ 230 h 230"/>
                  <a:gd name="T30" fmla="*/ 347 w 395"/>
                  <a:gd name="T31" fmla="*/ 216 h 230"/>
                  <a:gd name="T32" fmla="*/ 308 w 395"/>
                  <a:gd name="T33" fmla="*/ 36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5" h="230">
                    <a:moveTo>
                      <a:pt x="308" y="36"/>
                    </a:moveTo>
                    <a:cubicBezTo>
                      <a:pt x="312" y="17"/>
                      <a:pt x="299" y="11"/>
                      <a:pt x="270" y="5"/>
                    </a:cubicBezTo>
                    <a:cubicBezTo>
                      <a:pt x="240" y="0"/>
                      <a:pt x="234" y="20"/>
                      <a:pt x="234" y="20"/>
                    </a:cubicBezTo>
                    <a:cubicBezTo>
                      <a:pt x="200" y="20"/>
                      <a:pt x="200" y="20"/>
                      <a:pt x="200" y="20"/>
                    </a:cubicBezTo>
                    <a:cubicBezTo>
                      <a:pt x="196" y="20"/>
                      <a:pt x="196" y="20"/>
                      <a:pt x="196" y="20"/>
                    </a:cubicBezTo>
                    <a:cubicBezTo>
                      <a:pt x="161" y="20"/>
                      <a:pt x="161" y="20"/>
                      <a:pt x="161" y="20"/>
                    </a:cubicBezTo>
                    <a:cubicBezTo>
                      <a:pt x="161" y="20"/>
                      <a:pt x="156" y="0"/>
                      <a:pt x="126" y="5"/>
                    </a:cubicBezTo>
                    <a:cubicBezTo>
                      <a:pt x="96" y="11"/>
                      <a:pt x="84" y="17"/>
                      <a:pt x="87" y="36"/>
                    </a:cubicBezTo>
                    <a:cubicBezTo>
                      <a:pt x="87" y="36"/>
                      <a:pt x="0" y="165"/>
                      <a:pt x="48" y="216"/>
                    </a:cubicBezTo>
                    <a:cubicBezTo>
                      <a:pt x="64" y="230"/>
                      <a:pt x="68" y="230"/>
                      <a:pt x="75" y="230"/>
                    </a:cubicBezTo>
                    <a:cubicBezTo>
                      <a:pt x="82" y="230"/>
                      <a:pt x="95" y="203"/>
                      <a:pt x="113" y="189"/>
                    </a:cubicBezTo>
                    <a:cubicBezTo>
                      <a:pt x="131" y="174"/>
                      <a:pt x="148" y="170"/>
                      <a:pt x="162" y="169"/>
                    </a:cubicBezTo>
                    <a:cubicBezTo>
                      <a:pt x="173" y="169"/>
                      <a:pt x="223" y="169"/>
                      <a:pt x="233" y="169"/>
                    </a:cubicBezTo>
                    <a:cubicBezTo>
                      <a:pt x="248" y="170"/>
                      <a:pt x="265" y="174"/>
                      <a:pt x="283" y="189"/>
                    </a:cubicBezTo>
                    <a:cubicBezTo>
                      <a:pt x="301" y="203"/>
                      <a:pt x="313" y="230"/>
                      <a:pt x="320" y="230"/>
                    </a:cubicBezTo>
                    <a:cubicBezTo>
                      <a:pt x="327" y="230"/>
                      <a:pt x="332" y="230"/>
                      <a:pt x="347" y="216"/>
                    </a:cubicBezTo>
                    <a:cubicBezTo>
                      <a:pt x="395" y="165"/>
                      <a:pt x="308" y="36"/>
                      <a:pt x="308" y="36"/>
                    </a:cubicBezTo>
                    <a:close/>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sp>
            <p:nvSpPr>
              <p:cNvPr id="709" name="Freeform 78">
                <a:extLst>
                  <a:ext uri="{FF2B5EF4-FFF2-40B4-BE49-F238E27FC236}">
                    <a16:creationId xmlns:a16="http://schemas.microsoft.com/office/drawing/2014/main" id="{9CA897D4-8CF2-4B81-B5E4-2AF498FBDCB7}"/>
                  </a:ext>
                </a:extLst>
              </p:cNvPr>
              <p:cNvSpPr>
                <a:spLocks/>
              </p:cNvSpPr>
              <p:nvPr/>
            </p:nvSpPr>
            <p:spPr bwMode="auto">
              <a:xfrm>
                <a:off x="11219168" y="2439871"/>
                <a:ext cx="19436" cy="20824"/>
              </a:xfrm>
              <a:custGeom>
                <a:avLst/>
                <a:gdLst>
                  <a:gd name="T0" fmla="*/ 9 w 20"/>
                  <a:gd name="T1" fmla="*/ 20 h 20"/>
                  <a:gd name="T2" fmla="*/ 0 w 20"/>
                  <a:gd name="T3" fmla="*/ 10 h 20"/>
                  <a:gd name="T4" fmla="*/ 10 w 20"/>
                  <a:gd name="T5" fmla="*/ 0 h 20"/>
                  <a:gd name="T6" fmla="*/ 20 w 20"/>
                  <a:gd name="T7" fmla="*/ 11 h 20"/>
                  <a:gd name="T8" fmla="*/ 9 w 20"/>
                  <a:gd name="T9" fmla="*/ 20 h 20"/>
                </a:gdLst>
                <a:ahLst/>
                <a:cxnLst>
                  <a:cxn ang="0">
                    <a:pos x="T0" y="T1"/>
                  </a:cxn>
                  <a:cxn ang="0">
                    <a:pos x="T2" y="T3"/>
                  </a:cxn>
                  <a:cxn ang="0">
                    <a:pos x="T4" y="T5"/>
                  </a:cxn>
                  <a:cxn ang="0">
                    <a:pos x="T6" y="T7"/>
                  </a:cxn>
                  <a:cxn ang="0">
                    <a:pos x="T8" y="T9"/>
                  </a:cxn>
                </a:cxnLst>
                <a:rect l="0" t="0" r="r" b="b"/>
                <a:pathLst>
                  <a:path w="20" h="20">
                    <a:moveTo>
                      <a:pt x="9" y="20"/>
                    </a:moveTo>
                    <a:cubicBezTo>
                      <a:pt x="4" y="20"/>
                      <a:pt x="0" y="15"/>
                      <a:pt x="0" y="10"/>
                    </a:cubicBezTo>
                    <a:cubicBezTo>
                      <a:pt x="0" y="4"/>
                      <a:pt x="5" y="0"/>
                      <a:pt x="10" y="0"/>
                    </a:cubicBezTo>
                    <a:cubicBezTo>
                      <a:pt x="16" y="0"/>
                      <a:pt x="20" y="5"/>
                      <a:pt x="20" y="11"/>
                    </a:cubicBezTo>
                    <a:cubicBezTo>
                      <a:pt x="19" y="16"/>
                      <a:pt x="15" y="20"/>
                      <a:pt x="9" y="20"/>
                    </a:cubicBezTo>
                    <a:close/>
                  </a:path>
                </a:pathLst>
              </a:custGeom>
              <a:grpFill/>
              <a:ln w="12700" cap="flat">
                <a:solidFill>
                  <a:schemeClr val="tx1">
                    <a:lumMod val="90000"/>
                    <a:lumOff val="1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grpSp>
      </p:grpSp>
      <p:grpSp>
        <p:nvGrpSpPr>
          <p:cNvPr id="710" name="Group 709">
            <a:extLst>
              <a:ext uri="{FF2B5EF4-FFF2-40B4-BE49-F238E27FC236}">
                <a16:creationId xmlns:a16="http://schemas.microsoft.com/office/drawing/2014/main" id="{55F92BB8-00B2-4F50-B4BA-17CC7DCB3685}"/>
              </a:ext>
            </a:extLst>
          </p:cNvPr>
          <p:cNvGrpSpPr/>
          <p:nvPr/>
        </p:nvGrpSpPr>
        <p:grpSpPr>
          <a:xfrm>
            <a:off x="7849633" y="2570045"/>
            <a:ext cx="502920" cy="502920"/>
            <a:chOff x="-963895" y="2293009"/>
            <a:chExt cx="502920" cy="502920"/>
          </a:xfrm>
          <a:solidFill>
            <a:schemeClr val="bg1"/>
          </a:solidFill>
        </p:grpSpPr>
        <p:sp useBgFill="1">
          <p:nvSpPr>
            <p:cNvPr id="711" name="Oval 710">
              <a:extLst>
                <a:ext uri="{FF2B5EF4-FFF2-40B4-BE49-F238E27FC236}">
                  <a16:creationId xmlns:a16="http://schemas.microsoft.com/office/drawing/2014/main" id="{2828C7AA-8788-49F3-B235-E1BDA8C1B58F}"/>
                </a:ext>
              </a:extLst>
            </p:cNvPr>
            <p:cNvSpPr/>
            <p:nvPr/>
          </p:nvSpPr>
          <p:spPr bwMode="auto">
            <a:xfrm>
              <a:off x="-963895" y="2293009"/>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2" name="eye_2">
              <a:extLst>
                <a:ext uri="{FF2B5EF4-FFF2-40B4-BE49-F238E27FC236}">
                  <a16:creationId xmlns:a16="http://schemas.microsoft.com/office/drawing/2014/main" id="{AFE46C9E-E082-4224-A20C-4F2F6B68AF17}"/>
                </a:ext>
              </a:extLst>
            </p:cNvPr>
            <p:cNvSpPr>
              <a:spLocks noChangeAspect="1" noEditPoints="1"/>
            </p:cNvSpPr>
            <p:nvPr/>
          </p:nvSpPr>
          <p:spPr bwMode="auto">
            <a:xfrm>
              <a:off x="-842316" y="2472405"/>
              <a:ext cx="259763" cy="144129"/>
            </a:xfrm>
            <a:custGeom>
              <a:avLst/>
              <a:gdLst>
                <a:gd name="T0" fmla="*/ 5 w 346"/>
                <a:gd name="T1" fmla="*/ 103 h 191"/>
                <a:gd name="T2" fmla="*/ 0 w 346"/>
                <a:gd name="T3" fmla="*/ 96 h 191"/>
                <a:gd name="T4" fmla="*/ 3 w 346"/>
                <a:gd name="T5" fmla="*/ 92 h 191"/>
                <a:gd name="T6" fmla="*/ 5 w 346"/>
                <a:gd name="T7" fmla="*/ 103 h 191"/>
                <a:gd name="T8" fmla="*/ 173 w 346"/>
                <a:gd name="T9" fmla="*/ 191 h 191"/>
                <a:gd name="T10" fmla="*/ 346 w 346"/>
                <a:gd name="T11" fmla="*/ 96 h 191"/>
                <a:gd name="T12" fmla="*/ 173 w 346"/>
                <a:gd name="T13" fmla="*/ 0 h 191"/>
                <a:gd name="T14" fmla="*/ 3 w 346"/>
                <a:gd name="T15" fmla="*/ 92 h 191"/>
                <a:gd name="T16" fmla="*/ 175 w 346"/>
                <a:gd name="T17" fmla="*/ 14 h 191"/>
                <a:gd name="T18" fmla="*/ 89 w 346"/>
                <a:gd name="T19" fmla="*/ 96 h 191"/>
                <a:gd name="T20" fmla="*/ 175 w 346"/>
                <a:gd name="T21" fmla="*/ 178 h 191"/>
                <a:gd name="T22" fmla="*/ 261 w 346"/>
                <a:gd name="T23" fmla="*/ 96 h 191"/>
                <a:gd name="T24" fmla="*/ 175 w 346"/>
                <a:gd name="T25" fmla="*/ 14 h 191"/>
                <a:gd name="T26" fmla="*/ 175 w 346"/>
                <a:gd name="T27" fmla="*/ 78 h 191"/>
                <a:gd name="T28" fmla="*/ 156 w 346"/>
                <a:gd name="T29" fmla="*/ 96 h 191"/>
                <a:gd name="T30" fmla="*/ 175 w 346"/>
                <a:gd name="T31" fmla="*/ 114 h 191"/>
                <a:gd name="T32" fmla="*/ 194 w 346"/>
                <a:gd name="T33" fmla="*/ 96 h 191"/>
                <a:gd name="T34" fmla="*/ 175 w 346"/>
                <a:gd name="T35" fmla="*/ 7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191">
                  <a:moveTo>
                    <a:pt x="5" y="103"/>
                  </a:moveTo>
                  <a:cubicBezTo>
                    <a:pt x="2" y="98"/>
                    <a:pt x="0" y="96"/>
                    <a:pt x="0" y="96"/>
                  </a:cubicBezTo>
                  <a:cubicBezTo>
                    <a:pt x="0" y="96"/>
                    <a:pt x="1" y="94"/>
                    <a:pt x="3" y="92"/>
                  </a:cubicBezTo>
                  <a:moveTo>
                    <a:pt x="5" y="103"/>
                  </a:moveTo>
                  <a:cubicBezTo>
                    <a:pt x="23" y="125"/>
                    <a:pt x="82" y="191"/>
                    <a:pt x="173" y="191"/>
                  </a:cubicBezTo>
                  <a:cubicBezTo>
                    <a:pt x="283" y="191"/>
                    <a:pt x="346" y="96"/>
                    <a:pt x="346" y="96"/>
                  </a:cubicBezTo>
                  <a:cubicBezTo>
                    <a:pt x="346" y="96"/>
                    <a:pt x="283" y="0"/>
                    <a:pt x="173" y="0"/>
                  </a:cubicBezTo>
                  <a:cubicBezTo>
                    <a:pt x="77" y="0"/>
                    <a:pt x="17" y="73"/>
                    <a:pt x="3" y="92"/>
                  </a:cubicBezTo>
                  <a:moveTo>
                    <a:pt x="175" y="14"/>
                  </a:moveTo>
                  <a:cubicBezTo>
                    <a:pt x="128" y="14"/>
                    <a:pt x="89" y="50"/>
                    <a:pt x="89" y="96"/>
                  </a:cubicBezTo>
                  <a:cubicBezTo>
                    <a:pt x="89" y="141"/>
                    <a:pt x="128" y="178"/>
                    <a:pt x="175" y="178"/>
                  </a:cubicBezTo>
                  <a:cubicBezTo>
                    <a:pt x="222" y="178"/>
                    <a:pt x="261" y="141"/>
                    <a:pt x="261" y="96"/>
                  </a:cubicBezTo>
                  <a:cubicBezTo>
                    <a:pt x="261" y="50"/>
                    <a:pt x="222" y="14"/>
                    <a:pt x="175" y="14"/>
                  </a:cubicBezTo>
                  <a:close/>
                  <a:moveTo>
                    <a:pt x="175" y="78"/>
                  </a:moveTo>
                  <a:cubicBezTo>
                    <a:pt x="165" y="78"/>
                    <a:pt x="156" y="86"/>
                    <a:pt x="156" y="96"/>
                  </a:cubicBezTo>
                  <a:cubicBezTo>
                    <a:pt x="156" y="106"/>
                    <a:pt x="165" y="114"/>
                    <a:pt x="175" y="114"/>
                  </a:cubicBezTo>
                  <a:cubicBezTo>
                    <a:pt x="185" y="114"/>
                    <a:pt x="194" y="106"/>
                    <a:pt x="194" y="96"/>
                  </a:cubicBezTo>
                  <a:cubicBezTo>
                    <a:pt x="194" y="86"/>
                    <a:pt x="185" y="78"/>
                    <a:pt x="175" y="78"/>
                  </a:cubicBezTo>
                  <a:close/>
                </a:path>
              </a:pathLst>
            </a:custGeom>
            <a:grpFill/>
            <a:ln w="1270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grpSp>
      <p:grpSp>
        <p:nvGrpSpPr>
          <p:cNvPr id="713" name="Group 712">
            <a:extLst>
              <a:ext uri="{FF2B5EF4-FFF2-40B4-BE49-F238E27FC236}">
                <a16:creationId xmlns:a16="http://schemas.microsoft.com/office/drawing/2014/main" id="{E26D142F-EFBE-4E26-AD80-60CB10DCDBCC}"/>
              </a:ext>
            </a:extLst>
          </p:cNvPr>
          <p:cNvGrpSpPr/>
          <p:nvPr/>
        </p:nvGrpSpPr>
        <p:grpSpPr>
          <a:xfrm>
            <a:off x="4383139" y="1207781"/>
            <a:ext cx="502920" cy="502920"/>
            <a:chOff x="-963895" y="1747934"/>
            <a:chExt cx="502920" cy="502920"/>
          </a:xfrm>
          <a:solidFill>
            <a:schemeClr val="bg1"/>
          </a:solidFill>
        </p:grpSpPr>
        <p:sp useBgFill="1">
          <p:nvSpPr>
            <p:cNvPr id="714" name="Oval 713">
              <a:extLst>
                <a:ext uri="{FF2B5EF4-FFF2-40B4-BE49-F238E27FC236}">
                  <a16:creationId xmlns:a16="http://schemas.microsoft.com/office/drawing/2014/main" id="{DEF8DADB-A682-4DD2-90B1-11122AD8CCC7}"/>
                </a:ext>
              </a:extLst>
            </p:cNvPr>
            <p:cNvSpPr/>
            <p:nvPr/>
          </p:nvSpPr>
          <p:spPr bwMode="auto">
            <a:xfrm>
              <a:off x="-963895" y="1747934"/>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5" name="mail">
              <a:extLst>
                <a:ext uri="{FF2B5EF4-FFF2-40B4-BE49-F238E27FC236}">
                  <a16:creationId xmlns:a16="http://schemas.microsoft.com/office/drawing/2014/main" id="{9730C479-7420-4428-9CEA-91C5E6CBBC11}"/>
                </a:ext>
              </a:extLst>
            </p:cNvPr>
            <p:cNvSpPr>
              <a:spLocks noChangeAspect="1" noEditPoints="1"/>
            </p:cNvSpPr>
            <p:nvPr/>
          </p:nvSpPr>
          <p:spPr bwMode="auto">
            <a:xfrm>
              <a:off x="-806420" y="1943003"/>
              <a:ext cx="187970" cy="112783"/>
            </a:xfrm>
            <a:custGeom>
              <a:avLst/>
              <a:gdLst>
                <a:gd name="T0" fmla="*/ 245 w 245"/>
                <a:gd name="T1" fmla="*/ 75 h 147"/>
                <a:gd name="T2" fmla="*/ 245 w 245"/>
                <a:gd name="T3" fmla="*/ 147 h 147"/>
                <a:gd name="T4" fmla="*/ 0 w 245"/>
                <a:gd name="T5" fmla="*/ 147 h 147"/>
                <a:gd name="T6" fmla="*/ 0 w 245"/>
                <a:gd name="T7" fmla="*/ 0 h 147"/>
                <a:gd name="T8" fmla="*/ 245 w 245"/>
                <a:gd name="T9" fmla="*/ 0 h 147"/>
                <a:gd name="T10" fmla="*/ 245 w 245"/>
                <a:gd name="T11" fmla="*/ 75 h 147"/>
                <a:gd name="T12" fmla="*/ 0 w 245"/>
                <a:gd name="T13" fmla="*/ 0 h 147"/>
                <a:gd name="T14" fmla="*/ 123 w 245"/>
                <a:gd name="T15" fmla="*/ 73 h 147"/>
                <a:gd name="T16" fmla="*/ 245 w 245"/>
                <a:gd name="T17"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5" h="147">
                  <a:moveTo>
                    <a:pt x="245" y="75"/>
                  </a:moveTo>
                  <a:lnTo>
                    <a:pt x="245" y="147"/>
                  </a:lnTo>
                  <a:lnTo>
                    <a:pt x="0" y="147"/>
                  </a:lnTo>
                  <a:lnTo>
                    <a:pt x="0" y="0"/>
                  </a:lnTo>
                  <a:lnTo>
                    <a:pt x="245" y="0"/>
                  </a:lnTo>
                  <a:lnTo>
                    <a:pt x="245" y="75"/>
                  </a:lnTo>
                  <a:moveTo>
                    <a:pt x="0" y="0"/>
                  </a:moveTo>
                  <a:lnTo>
                    <a:pt x="123" y="73"/>
                  </a:lnTo>
                  <a:lnTo>
                    <a:pt x="245" y="0"/>
                  </a:lnTo>
                </a:path>
              </a:pathLst>
            </a:custGeom>
            <a:grpFill/>
            <a:ln w="1270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grpSp>
      <p:grpSp>
        <p:nvGrpSpPr>
          <p:cNvPr id="716" name="Group 715">
            <a:extLst>
              <a:ext uri="{FF2B5EF4-FFF2-40B4-BE49-F238E27FC236}">
                <a16:creationId xmlns:a16="http://schemas.microsoft.com/office/drawing/2014/main" id="{2571EE13-D3BF-40F9-AF3F-1CB0AB96C5AB}"/>
              </a:ext>
            </a:extLst>
          </p:cNvPr>
          <p:cNvGrpSpPr/>
          <p:nvPr/>
        </p:nvGrpSpPr>
        <p:grpSpPr>
          <a:xfrm>
            <a:off x="4382750" y="5582151"/>
            <a:ext cx="502920" cy="502920"/>
            <a:chOff x="-963895" y="4473309"/>
            <a:chExt cx="502920" cy="502920"/>
          </a:xfrm>
          <a:solidFill>
            <a:schemeClr val="bg1"/>
          </a:solidFill>
        </p:grpSpPr>
        <p:sp useBgFill="1">
          <p:nvSpPr>
            <p:cNvPr id="717" name="Oval 716">
              <a:extLst>
                <a:ext uri="{FF2B5EF4-FFF2-40B4-BE49-F238E27FC236}">
                  <a16:creationId xmlns:a16="http://schemas.microsoft.com/office/drawing/2014/main" id="{853E712B-80C0-4B76-A626-705316E57EB7}"/>
                </a:ext>
              </a:extLst>
            </p:cNvPr>
            <p:cNvSpPr/>
            <p:nvPr/>
          </p:nvSpPr>
          <p:spPr bwMode="auto">
            <a:xfrm>
              <a:off x="-963895" y="4473309"/>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18" name="Group 717">
              <a:extLst>
                <a:ext uri="{FF2B5EF4-FFF2-40B4-BE49-F238E27FC236}">
                  <a16:creationId xmlns:a16="http://schemas.microsoft.com/office/drawing/2014/main" id="{08F9FCB5-BD4F-4FC3-82F7-D23D956E700E}"/>
                </a:ext>
              </a:extLst>
            </p:cNvPr>
            <p:cNvGrpSpPr/>
            <p:nvPr/>
          </p:nvGrpSpPr>
          <p:grpSpPr>
            <a:xfrm>
              <a:off x="-805076" y="4644436"/>
              <a:ext cx="185282" cy="160666"/>
              <a:chOff x="3000375" y="3415903"/>
              <a:chExt cx="205973" cy="178608"/>
            </a:xfrm>
            <a:grpFill/>
          </p:grpSpPr>
          <p:sp>
            <p:nvSpPr>
              <p:cNvPr id="719" name="people_4">
                <a:extLst>
                  <a:ext uri="{FF2B5EF4-FFF2-40B4-BE49-F238E27FC236}">
                    <a16:creationId xmlns:a16="http://schemas.microsoft.com/office/drawing/2014/main" id="{ED2500AE-D627-44DE-98E7-66F84182E831}"/>
                  </a:ext>
                </a:extLst>
              </p:cNvPr>
              <p:cNvSpPr>
                <a:spLocks noChangeAspect="1" noEditPoints="1"/>
              </p:cNvSpPr>
              <p:nvPr/>
            </p:nvSpPr>
            <p:spPr bwMode="auto">
              <a:xfrm flipH="1">
                <a:off x="3000375" y="3429290"/>
                <a:ext cx="147784" cy="16522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grpFill/>
              <a:ln w="1270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grpSp>
            <p:nvGrpSpPr>
              <p:cNvPr id="720" name="Group 719">
                <a:extLst>
                  <a:ext uri="{FF2B5EF4-FFF2-40B4-BE49-F238E27FC236}">
                    <a16:creationId xmlns:a16="http://schemas.microsoft.com/office/drawing/2014/main" id="{5EC9C6B3-6A0A-4369-B987-73E10973E8DF}"/>
                  </a:ext>
                </a:extLst>
              </p:cNvPr>
              <p:cNvGrpSpPr/>
              <p:nvPr/>
            </p:nvGrpSpPr>
            <p:grpSpPr>
              <a:xfrm>
                <a:off x="3140463" y="3415903"/>
                <a:ext cx="65885" cy="123826"/>
                <a:chOff x="2866921" y="3947319"/>
                <a:chExt cx="103684" cy="194866"/>
              </a:xfrm>
              <a:grpFill/>
            </p:grpSpPr>
            <p:sp>
              <p:nvSpPr>
                <p:cNvPr id="721" name="Oval 5">
                  <a:extLst>
                    <a:ext uri="{FF2B5EF4-FFF2-40B4-BE49-F238E27FC236}">
                      <a16:creationId xmlns:a16="http://schemas.microsoft.com/office/drawing/2014/main" id="{7CEBA219-389A-4ACE-A298-C6E709E04135}"/>
                    </a:ext>
                  </a:extLst>
                </p:cNvPr>
                <p:cNvSpPr/>
                <p:nvPr/>
              </p:nvSpPr>
              <p:spPr bwMode="auto">
                <a:xfrm>
                  <a:off x="2904207" y="3947319"/>
                  <a:ext cx="66398" cy="194866"/>
                </a:xfrm>
                <a:custGeom>
                  <a:avLst/>
                  <a:gdLst>
                    <a:gd name="connsiteX0" fmla="*/ 0 w 442913"/>
                    <a:gd name="connsiteY0" fmla="*/ 221457 h 442913"/>
                    <a:gd name="connsiteX1" fmla="*/ 221457 w 442913"/>
                    <a:gd name="connsiteY1" fmla="*/ 0 h 442913"/>
                    <a:gd name="connsiteX2" fmla="*/ 442914 w 442913"/>
                    <a:gd name="connsiteY2" fmla="*/ 221457 h 442913"/>
                    <a:gd name="connsiteX3" fmla="*/ 221457 w 442913"/>
                    <a:gd name="connsiteY3" fmla="*/ 442914 h 442913"/>
                    <a:gd name="connsiteX4" fmla="*/ 0 w 442913"/>
                    <a:gd name="connsiteY4" fmla="*/ 221457 h 442913"/>
                    <a:gd name="connsiteX0" fmla="*/ 0 w 442914"/>
                    <a:gd name="connsiteY0" fmla="*/ 221457 h 442914"/>
                    <a:gd name="connsiteX1" fmla="*/ 221457 w 442914"/>
                    <a:gd name="connsiteY1" fmla="*/ 0 h 442914"/>
                    <a:gd name="connsiteX2" fmla="*/ 442914 w 442914"/>
                    <a:gd name="connsiteY2" fmla="*/ 221457 h 442914"/>
                    <a:gd name="connsiteX3" fmla="*/ 221457 w 442914"/>
                    <a:gd name="connsiteY3" fmla="*/ 442914 h 442914"/>
                    <a:gd name="connsiteX4" fmla="*/ 91440 w 442914"/>
                    <a:gd name="connsiteY4" fmla="*/ 312897 h 442914"/>
                    <a:gd name="connsiteX0" fmla="*/ 165700 w 387157"/>
                    <a:gd name="connsiteY0" fmla="*/ 0 h 442914"/>
                    <a:gd name="connsiteX1" fmla="*/ 387157 w 387157"/>
                    <a:gd name="connsiteY1" fmla="*/ 221457 h 442914"/>
                    <a:gd name="connsiteX2" fmla="*/ 165700 w 387157"/>
                    <a:gd name="connsiteY2" fmla="*/ 442914 h 442914"/>
                    <a:gd name="connsiteX3" fmla="*/ 35683 w 387157"/>
                    <a:gd name="connsiteY3" fmla="*/ 312897 h 442914"/>
                    <a:gd name="connsiteX0" fmla="*/ 0 w 221457"/>
                    <a:gd name="connsiteY0" fmla="*/ 0 h 442914"/>
                    <a:gd name="connsiteX1" fmla="*/ 221457 w 221457"/>
                    <a:gd name="connsiteY1" fmla="*/ 221457 h 442914"/>
                    <a:gd name="connsiteX2" fmla="*/ 0 w 221457"/>
                    <a:gd name="connsiteY2" fmla="*/ 442914 h 442914"/>
                    <a:gd name="connsiteX0" fmla="*/ 0 w 221457"/>
                    <a:gd name="connsiteY0" fmla="*/ 0 h 221457"/>
                    <a:gd name="connsiteX1" fmla="*/ 221457 w 221457"/>
                    <a:gd name="connsiteY1" fmla="*/ 221457 h 221457"/>
                    <a:gd name="connsiteX0" fmla="*/ 0 w 73648"/>
                    <a:gd name="connsiteY0" fmla="*/ 0 h 482457"/>
                    <a:gd name="connsiteX1" fmla="*/ 55366 w 73648"/>
                    <a:gd name="connsiteY1" fmla="*/ 482457 h 482457"/>
                    <a:gd name="connsiteX0" fmla="*/ 0 w 122368"/>
                    <a:gd name="connsiteY0" fmla="*/ 0 h 482457"/>
                    <a:gd name="connsiteX1" fmla="*/ 55366 w 122368"/>
                    <a:gd name="connsiteY1" fmla="*/ 482457 h 482457"/>
                    <a:gd name="connsiteX0" fmla="*/ 0 w 102960"/>
                    <a:gd name="connsiteY0" fmla="*/ 0 h 482457"/>
                    <a:gd name="connsiteX1" fmla="*/ 23730 w 102960"/>
                    <a:gd name="connsiteY1" fmla="*/ 482457 h 482457"/>
                    <a:gd name="connsiteX0" fmla="*/ 0 w 133079"/>
                    <a:gd name="connsiteY0" fmla="*/ 0 h 500253"/>
                    <a:gd name="connsiteX1" fmla="*/ 71184 w 133079"/>
                    <a:gd name="connsiteY1" fmla="*/ 500253 h 500253"/>
                    <a:gd name="connsiteX0" fmla="*/ 0 w 162077"/>
                    <a:gd name="connsiteY0" fmla="*/ 0 h 500253"/>
                    <a:gd name="connsiteX1" fmla="*/ 71184 w 162077"/>
                    <a:gd name="connsiteY1" fmla="*/ 500253 h 500253"/>
                    <a:gd name="connsiteX0" fmla="*/ 0 w 141200"/>
                    <a:gd name="connsiteY0" fmla="*/ 0 h 485421"/>
                    <a:gd name="connsiteX1" fmla="*/ 29661 w 141200"/>
                    <a:gd name="connsiteY1" fmla="*/ 485421 h 485421"/>
                    <a:gd name="connsiteX0" fmla="*/ 0 w 165401"/>
                    <a:gd name="connsiteY0" fmla="*/ 0 h 485421"/>
                    <a:gd name="connsiteX1" fmla="*/ 29661 w 165401"/>
                    <a:gd name="connsiteY1" fmla="*/ 485421 h 485421"/>
                  </a:gdLst>
                  <a:ahLst/>
                  <a:cxnLst>
                    <a:cxn ang="0">
                      <a:pos x="connsiteX0" y="connsiteY0"/>
                    </a:cxn>
                    <a:cxn ang="0">
                      <a:pos x="connsiteX1" y="connsiteY1"/>
                    </a:cxn>
                  </a:cxnLst>
                  <a:rect l="l" t="t" r="r" b="b"/>
                  <a:pathLst>
                    <a:path w="165401" h="485421">
                      <a:moveTo>
                        <a:pt x="0" y="0"/>
                      </a:moveTo>
                      <a:cubicBezTo>
                        <a:pt x="217216" y="100840"/>
                        <a:pt x="213547" y="361138"/>
                        <a:pt x="29661" y="485421"/>
                      </a:cubicBezTo>
                    </a:path>
                  </a:pathLst>
                </a:custGeom>
                <a:grpFill/>
                <a:ln w="1270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err="1">
                    <a:solidFill>
                      <a:srgbClr val="505050"/>
                    </a:solidFill>
                    <a:latin typeface="Segoe UI Semilight"/>
                  </a:endParaRPr>
                </a:p>
              </p:txBody>
            </p:sp>
            <p:sp>
              <p:nvSpPr>
                <p:cNvPr id="722" name="Oval 5">
                  <a:extLst>
                    <a:ext uri="{FF2B5EF4-FFF2-40B4-BE49-F238E27FC236}">
                      <a16:creationId xmlns:a16="http://schemas.microsoft.com/office/drawing/2014/main" id="{97B6B590-D44F-4EA2-ACCF-AF9381787A8F}"/>
                    </a:ext>
                  </a:extLst>
                </p:cNvPr>
                <p:cNvSpPr/>
                <p:nvPr/>
              </p:nvSpPr>
              <p:spPr bwMode="auto">
                <a:xfrm>
                  <a:off x="2866921" y="3977662"/>
                  <a:ext cx="45720" cy="134180"/>
                </a:xfrm>
                <a:custGeom>
                  <a:avLst/>
                  <a:gdLst>
                    <a:gd name="connsiteX0" fmla="*/ 0 w 442913"/>
                    <a:gd name="connsiteY0" fmla="*/ 221457 h 442913"/>
                    <a:gd name="connsiteX1" fmla="*/ 221457 w 442913"/>
                    <a:gd name="connsiteY1" fmla="*/ 0 h 442913"/>
                    <a:gd name="connsiteX2" fmla="*/ 442914 w 442913"/>
                    <a:gd name="connsiteY2" fmla="*/ 221457 h 442913"/>
                    <a:gd name="connsiteX3" fmla="*/ 221457 w 442913"/>
                    <a:gd name="connsiteY3" fmla="*/ 442914 h 442913"/>
                    <a:gd name="connsiteX4" fmla="*/ 0 w 442913"/>
                    <a:gd name="connsiteY4" fmla="*/ 221457 h 442913"/>
                    <a:gd name="connsiteX0" fmla="*/ 0 w 442914"/>
                    <a:gd name="connsiteY0" fmla="*/ 221457 h 442914"/>
                    <a:gd name="connsiteX1" fmla="*/ 221457 w 442914"/>
                    <a:gd name="connsiteY1" fmla="*/ 0 h 442914"/>
                    <a:gd name="connsiteX2" fmla="*/ 442914 w 442914"/>
                    <a:gd name="connsiteY2" fmla="*/ 221457 h 442914"/>
                    <a:gd name="connsiteX3" fmla="*/ 221457 w 442914"/>
                    <a:gd name="connsiteY3" fmla="*/ 442914 h 442914"/>
                    <a:gd name="connsiteX4" fmla="*/ 91440 w 442914"/>
                    <a:gd name="connsiteY4" fmla="*/ 312897 h 442914"/>
                    <a:gd name="connsiteX0" fmla="*/ 165700 w 387157"/>
                    <a:gd name="connsiteY0" fmla="*/ 0 h 442914"/>
                    <a:gd name="connsiteX1" fmla="*/ 387157 w 387157"/>
                    <a:gd name="connsiteY1" fmla="*/ 221457 h 442914"/>
                    <a:gd name="connsiteX2" fmla="*/ 165700 w 387157"/>
                    <a:gd name="connsiteY2" fmla="*/ 442914 h 442914"/>
                    <a:gd name="connsiteX3" fmla="*/ 35683 w 387157"/>
                    <a:gd name="connsiteY3" fmla="*/ 312897 h 442914"/>
                    <a:gd name="connsiteX0" fmla="*/ 0 w 221457"/>
                    <a:gd name="connsiteY0" fmla="*/ 0 h 442914"/>
                    <a:gd name="connsiteX1" fmla="*/ 221457 w 221457"/>
                    <a:gd name="connsiteY1" fmla="*/ 221457 h 442914"/>
                    <a:gd name="connsiteX2" fmla="*/ 0 w 221457"/>
                    <a:gd name="connsiteY2" fmla="*/ 442914 h 442914"/>
                    <a:gd name="connsiteX0" fmla="*/ 0 w 221457"/>
                    <a:gd name="connsiteY0" fmla="*/ 0 h 221457"/>
                    <a:gd name="connsiteX1" fmla="*/ 221457 w 221457"/>
                    <a:gd name="connsiteY1" fmla="*/ 221457 h 221457"/>
                    <a:gd name="connsiteX0" fmla="*/ 0 w 73648"/>
                    <a:gd name="connsiteY0" fmla="*/ 0 h 482457"/>
                    <a:gd name="connsiteX1" fmla="*/ 55366 w 73648"/>
                    <a:gd name="connsiteY1" fmla="*/ 482457 h 482457"/>
                    <a:gd name="connsiteX0" fmla="*/ 0 w 122368"/>
                    <a:gd name="connsiteY0" fmla="*/ 0 h 482457"/>
                    <a:gd name="connsiteX1" fmla="*/ 55366 w 122368"/>
                    <a:gd name="connsiteY1" fmla="*/ 482457 h 482457"/>
                    <a:gd name="connsiteX0" fmla="*/ 0 w 102960"/>
                    <a:gd name="connsiteY0" fmla="*/ 0 h 482457"/>
                    <a:gd name="connsiteX1" fmla="*/ 23730 w 102960"/>
                    <a:gd name="connsiteY1" fmla="*/ 482457 h 482457"/>
                    <a:gd name="connsiteX0" fmla="*/ 0 w 133079"/>
                    <a:gd name="connsiteY0" fmla="*/ 0 h 500253"/>
                    <a:gd name="connsiteX1" fmla="*/ 71184 w 133079"/>
                    <a:gd name="connsiteY1" fmla="*/ 500253 h 500253"/>
                    <a:gd name="connsiteX0" fmla="*/ 0 w 162077"/>
                    <a:gd name="connsiteY0" fmla="*/ 0 h 500253"/>
                    <a:gd name="connsiteX1" fmla="*/ 71184 w 162077"/>
                    <a:gd name="connsiteY1" fmla="*/ 500253 h 500253"/>
                    <a:gd name="connsiteX0" fmla="*/ 0 w 141200"/>
                    <a:gd name="connsiteY0" fmla="*/ 0 h 485421"/>
                    <a:gd name="connsiteX1" fmla="*/ 29661 w 141200"/>
                    <a:gd name="connsiteY1" fmla="*/ 485421 h 485421"/>
                    <a:gd name="connsiteX0" fmla="*/ 0 w 165401"/>
                    <a:gd name="connsiteY0" fmla="*/ 0 h 485421"/>
                    <a:gd name="connsiteX1" fmla="*/ 29661 w 165401"/>
                    <a:gd name="connsiteY1" fmla="*/ 485421 h 485421"/>
                  </a:gdLst>
                  <a:ahLst/>
                  <a:cxnLst>
                    <a:cxn ang="0">
                      <a:pos x="connsiteX0" y="connsiteY0"/>
                    </a:cxn>
                    <a:cxn ang="0">
                      <a:pos x="connsiteX1" y="connsiteY1"/>
                    </a:cxn>
                  </a:cxnLst>
                  <a:rect l="l" t="t" r="r" b="b"/>
                  <a:pathLst>
                    <a:path w="165401" h="485421">
                      <a:moveTo>
                        <a:pt x="0" y="0"/>
                      </a:moveTo>
                      <a:cubicBezTo>
                        <a:pt x="217216" y="100840"/>
                        <a:pt x="213547" y="361138"/>
                        <a:pt x="29661" y="485421"/>
                      </a:cubicBezTo>
                    </a:path>
                  </a:pathLst>
                </a:custGeom>
                <a:grpFill/>
                <a:ln w="1270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err="1">
                    <a:solidFill>
                      <a:srgbClr val="505050"/>
                    </a:solidFill>
                    <a:latin typeface="Segoe UI Semilight"/>
                  </a:endParaRPr>
                </a:p>
              </p:txBody>
            </p:sp>
          </p:grpSp>
        </p:grpSp>
      </p:grpSp>
      <p:grpSp>
        <p:nvGrpSpPr>
          <p:cNvPr id="723" name="Group 722">
            <a:extLst>
              <a:ext uri="{FF2B5EF4-FFF2-40B4-BE49-F238E27FC236}">
                <a16:creationId xmlns:a16="http://schemas.microsoft.com/office/drawing/2014/main" id="{8FA87A99-CEB1-4AFC-AC95-98A467CE8547}"/>
              </a:ext>
            </a:extLst>
          </p:cNvPr>
          <p:cNvGrpSpPr/>
          <p:nvPr/>
        </p:nvGrpSpPr>
        <p:grpSpPr>
          <a:xfrm>
            <a:off x="4317259" y="4930525"/>
            <a:ext cx="502920" cy="502920"/>
            <a:chOff x="-963895" y="657784"/>
            <a:chExt cx="502920" cy="502920"/>
          </a:xfrm>
          <a:solidFill>
            <a:schemeClr val="bg1"/>
          </a:solidFill>
        </p:grpSpPr>
        <p:sp useBgFill="1">
          <p:nvSpPr>
            <p:cNvPr id="724" name="Oval 723">
              <a:extLst>
                <a:ext uri="{FF2B5EF4-FFF2-40B4-BE49-F238E27FC236}">
                  <a16:creationId xmlns:a16="http://schemas.microsoft.com/office/drawing/2014/main" id="{367F8DCB-5C7D-436A-8789-4E9316012311}"/>
                </a:ext>
              </a:extLst>
            </p:cNvPr>
            <p:cNvSpPr/>
            <p:nvPr/>
          </p:nvSpPr>
          <p:spPr bwMode="auto">
            <a:xfrm>
              <a:off x="-963895" y="657784"/>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25" name="directory_2">
              <a:extLst>
                <a:ext uri="{FF2B5EF4-FFF2-40B4-BE49-F238E27FC236}">
                  <a16:creationId xmlns:a16="http://schemas.microsoft.com/office/drawing/2014/main" id="{9421DA15-783D-41B8-92A3-2B743A8D57F3}"/>
                </a:ext>
              </a:extLst>
            </p:cNvPr>
            <p:cNvSpPr>
              <a:spLocks noChangeAspect="1" noEditPoints="1"/>
            </p:cNvSpPr>
            <p:nvPr/>
          </p:nvSpPr>
          <p:spPr bwMode="auto">
            <a:xfrm>
              <a:off x="-820034" y="801178"/>
              <a:ext cx="215198" cy="216133"/>
            </a:xfrm>
            <a:custGeom>
              <a:avLst/>
              <a:gdLst>
                <a:gd name="T0" fmla="*/ 91 w 317"/>
                <a:gd name="T1" fmla="*/ 135 h 318"/>
                <a:gd name="T2" fmla="*/ 126 w 317"/>
                <a:gd name="T3" fmla="*/ 100 h 318"/>
                <a:gd name="T4" fmla="*/ 162 w 317"/>
                <a:gd name="T5" fmla="*/ 135 h 318"/>
                <a:gd name="T6" fmla="*/ 126 w 317"/>
                <a:gd name="T7" fmla="*/ 170 h 318"/>
                <a:gd name="T8" fmla="*/ 91 w 317"/>
                <a:gd name="T9" fmla="*/ 135 h 318"/>
                <a:gd name="T10" fmla="*/ 190 w 317"/>
                <a:gd name="T11" fmla="*/ 234 h 318"/>
                <a:gd name="T12" fmla="*/ 126 w 317"/>
                <a:gd name="T13" fmla="*/ 170 h 318"/>
                <a:gd name="T14" fmla="*/ 63 w 317"/>
                <a:gd name="T15" fmla="*/ 234 h 318"/>
                <a:gd name="T16" fmla="*/ 0 w 317"/>
                <a:gd name="T17" fmla="*/ 284 h 318"/>
                <a:gd name="T18" fmla="*/ 34 w 317"/>
                <a:gd name="T19" fmla="*/ 318 h 318"/>
                <a:gd name="T20" fmla="*/ 283 w 317"/>
                <a:gd name="T21" fmla="*/ 318 h 318"/>
                <a:gd name="T22" fmla="*/ 317 w 317"/>
                <a:gd name="T23" fmla="*/ 284 h 318"/>
                <a:gd name="T24" fmla="*/ 317 w 317"/>
                <a:gd name="T25" fmla="*/ 35 h 318"/>
                <a:gd name="T26" fmla="*/ 283 w 317"/>
                <a:gd name="T27" fmla="*/ 1 h 318"/>
                <a:gd name="T28" fmla="*/ 34 w 317"/>
                <a:gd name="T29" fmla="*/ 1 h 318"/>
                <a:gd name="T30" fmla="*/ 0 w 317"/>
                <a:gd name="T31" fmla="*/ 35 h 318"/>
                <a:gd name="T32" fmla="*/ 0 w 317"/>
                <a:gd name="T33" fmla="*/ 284 h 318"/>
                <a:gd name="T34" fmla="*/ 239 w 317"/>
                <a:gd name="T35" fmla="*/ 318 h 318"/>
                <a:gd name="T36" fmla="*/ 239 w 317"/>
                <a:gd name="T37" fmla="*/ 0 h 318"/>
                <a:gd name="T38" fmla="*/ 239 w 317"/>
                <a:gd name="T39" fmla="*/ 107 h 318"/>
                <a:gd name="T40" fmla="*/ 317 w 317"/>
                <a:gd name="T41" fmla="*/ 107 h 318"/>
                <a:gd name="T42" fmla="*/ 239 w 317"/>
                <a:gd name="T43" fmla="*/ 212 h 318"/>
                <a:gd name="T44" fmla="*/ 317 w 317"/>
                <a:gd name="T45" fmla="*/ 212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7" h="318">
                  <a:moveTo>
                    <a:pt x="91" y="135"/>
                  </a:moveTo>
                  <a:cubicBezTo>
                    <a:pt x="91" y="115"/>
                    <a:pt x="107" y="100"/>
                    <a:pt x="126" y="100"/>
                  </a:cubicBezTo>
                  <a:cubicBezTo>
                    <a:pt x="146" y="100"/>
                    <a:pt x="162" y="115"/>
                    <a:pt x="162" y="135"/>
                  </a:cubicBezTo>
                  <a:cubicBezTo>
                    <a:pt x="162" y="154"/>
                    <a:pt x="146" y="170"/>
                    <a:pt x="126" y="170"/>
                  </a:cubicBezTo>
                  <a:cubicBezTo>
                    <a:pt x="107" y="170"/>
                    <a:pt x="91" y="154"/>
                    <a:pt x="91" y="135"/>
                  </a:cubicBezTo>
                  <a:close/>
                  <a:moveTo>
                    <a:pt x="190" y="234"/>
                  </a:moveTo>
                  <a:cubicBezTo>
                    <a:pt x="190" y="198"/>
                    <a:pt x="161" y="170"/>
                    <a:pt x="126" y="170"/>
                  </a:cubicBezTo>
                  <a:cubicBezTo>
                    <a:pt x="92" y="170"/>
                    <a:pt x="63" y="198"/>
                    <a:pt x="63" y="234"/>
                  </a:cubicBezTo>
                  <a:moveTo>
                    <a:pt x="0" y="284"/>
                  </a:moveTo>
                  <a:cubicBezTo>
                    <a:pt x="0" y="303"/>
                    <a:pt x="15" y="318"/>
                    <a:pt x="34" y="318"/>
                  </a:cubicBezTo>
                  <a:cubicBezTo>
                    <a:pt x="283" y="318"/>
                    <a:pt x="283" y="318"/>
                    <a:pt x="283" y="318"/>
                  </a:cubicBezTo>
                  <a:cubicBezTo>
                    <a:pt x="301" y="318"/>
                    <a:pt x="317" y="303"/>
                    <a:pt x="317" y="284"/>
                  </a:cubicBezTo>
                  <a:cubicBezTo>
                    <a:pt x="317" y="35"/>
                    <a:pt x="317" y="35"/>
                    <a:pt x="317" y="35"/>
                  </a:cubicBezTo>
                  <a:cubicBezTo>
                    <a:pt x="317" y="16"/>
                    <a:pt x="301" y="1"/>
                    <a:pt x="283" y="1"/>
                  </a:cubicBezTo>
                  <a:cubicBezTo>
                    <a:pt x="34" y="1"/>
                    <a:pt x="34" y="1"/>
                    <a:pt x="34" y="1"/>
                  </a:cubicBezTo>
                  <a:cubicBezTo>
                    <a:pt x="15" y="1"/>
                    <a:pt x="0" y="16"/>
                    <a:pt x="0" y="35"/>
                  </a:cubicBezTo>
                  <a:lnTo>
                    <a:pt x="0" y="284"/>
                  </a:lnTo>
                  <a:close/>
                  <a:moveTo>
                    <a:pt x="239" y="318"/>
                  </a:moveTo>
                  <a:cubicBezTo>
                    <a:pt x="239" y="0"/>
                    <a:pt x="239" y="0"/>
                    <a:pt x="239" y="0"/>
                  </a:cubicBezTo>
                  <a:moveTo>
                    <a:pt x="239" y="107"/>
                  </a:moveTo>
                  <a:cubicBezTo>
                    <a:pt x="317" y="107"/>
                    <a:pt x="317" y="107"/>
                    <a:pt x="317" y="107"/>
                  </a:cubicBezTo>
                  <a:moveTo>
                    <a:pt x="239" y="212"/>
                  </a:moveTo>
                  <a:cubicBezTo>
                    <a:pt x="317" y="212"/>
                    <a:pt x="317" y="212"/>
                    <a:pt x="317" y="212"/>
                  </a:cubicBezTo>
                </a:path>
              </a:pathLst>
            </a:custGeom>
            <a:grpFill/>
            <a:ln w="1270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grpSp>
      <p:grpSp>
        <p:nvGrpSpPr>
          <p:cNvPr id="726" name="Group 725">
            <a:extLst>
              <a:ext uri="{FF2B5EF4-FFF2-40B4-BE49-F238E27FC236}">
                <a16:creationId xmlns:a16="http://schemas.microsoft.com/office/drawing/2014/main" id="{5238AF35-7DBE-4AEA-AA1C-66C5808DB330}"/>
              </a:ext>
            </a:extLst>
          </p:cNvPr>
          <p:cNvGrpSpPr/>
          <p:nvPr/>
        </p:nvGrpSpPr>
        <p:grpSpPr>
          <a:xfrm>
            <a:off x="3264313" y="2881704"/>
            <a:ext cx="502920" cy="502920"/>
            <a:chOff x="-963895" y="3383159"/>
            <a:chExt cx="502920" cy="502920"/>
          </a:xfrm>
          <a:solidFill>
            <a:schemeClr val="bg1"/>
          </a:solidFill>
        </p:grpSpPr>
        <p:sp useBgFill="1">
          <p:nvSpPr>
            <p:cNvPr id="727" name="Oval 726">
              <a:extLst>
                <a:ext uri="{FF2B5EF4-FFF2-40B4-BE49-F238E27FC236}">
                  <a16:creationId xmlns:a16="http://schemas.microsoft.com/office/drawing/2014/main" id="{66CB5524-B4C3-446F-BA16-F3CC01FA1FDF}"/>
                </a:ext>
              </a:extLst>
            </p:cNvPr>
            <p:cNvSpPr/>
            <p:nvPr/>
          </p:nvSpPr>
          <p:spPr bwMode="auto">
            <a:xfrm>
              <a:off x="-963895" y="3383159"/>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28" name="Group 727">
              <a:extLst>
                <a:ext uri="{FF2B5EF4-FFF2-40B4-BE49-F238E27FC236}">
                  <a16:creationId xmlns:a16="http://schemas.microsoft.com/office/drawing/2014/main" id="{04EA745B-6D19-4E2D-B810-F1BE5D2295A5}"/>
                </a:ext>
              </a:extLst>
            </p:cNvPr>
            <p:cNvGrpSpPr/>
            <p:nvPr/>
          </p:nvGrpSpPr>
          <p:grpSpPr>
            <a:xfrm>
              <a:off x="-826557" y="3533862"/>
              <a:ext cx="228245" cy="201514"/>
              <a:chOff x="2145576" y="1852136"/>
              <a:chExt cx="291291" cy="257176"/>
            </a:xfrm>
            <a:grpFill/>
          </p:grpSpPr>
          <p:sp>
            <p:nvSpPr>
              <p:cNvPr id="729" name="people_17">
                <a:extLst>
                  <a:ext uri="{FF2B5EF4-FFF2-40B4-BE49-F238E27FC236}">
                    <a16:creationId xmlns:a16="http://schemas.microsoft.com/office/drawing/2014/main" id="{27ABEF68-DEE7-47CA-80E8-7B496A264AD1}"/>
                  </a:ext>
                </a:extLst>
              </p:cNvPr>
              <p:cNvSpPr>
                <a:spLocks noChangeAspect="1" noEditPoints="1"/>
              </p:cNvSpPr>
              <p:nvPr/>
            </p:nvSpPr>
            <p:spPr bwMode="auto">
              <a:xfrm>
                <a:off x="2215982" y="1871414"/>
                <a:ext cx="150479" cy="218620"/>
              </a:xfrm>
              <a:custGeom>
                <a:avLst/>
                <a:gdLst>
                  <a:gd name="T0" fmla="*/ 69 w 219"/>
                  <a:gd name="T1" fmla="*/ 33 h 318"/>
                  <a:gd name="T2" fmla="*/ 103 w 219"/>
                  <a:gd name="T3" fmla="*/ 0 h 318"/>
                  <a:gd name="T4" fmla="*/ 136 w 219"/>
                  <a:gd name="T5" fmla="*/ 33 h 318"/>
                  <a:gd name="T6" fmla="*/ 103 w 219"/>
                  <a:gd name="T7" fmla="*/ 67 h 318"/>
                  <a:gd name="T8" fmla="*/ 69 w 219"/>
                  <a:gd name="T9" fmla="*/ 33 h 318"/>
                  <a:gd name="T10" fmla="*/ 34 w 219"/>
                  <a:gd name="T11" fmla="*/ 192 h 318"/>
                  <a:gd name="T12" fmla="*/ 9 w 219"/>
                  <a:gd name="T13" fmla="*/ 295 h 318"/>
                  <a:gd name="T14" fmla="*/ 33 w 219"/>
                  <a:gd name="T15" fmla="*/ 318 h 318"/>
                  <a:gd name="T16" fmla="*/ 56 w 219"/>
                  <a:gd name="T17" fmla="*/ 295 h 318"/>
                  <a:gd name="T18" fmla="*/ 74 w 219"/>
                  <a:gd name="T19" fmla="*/ 206 h 318"/>
                  <a:gd name="T20" fmla="*/ 122 w 219"/>
                  <a:gd name="T21" fmla="*/ 255 h 318"/>
                  <a:gd name="T22" fmla="*/ 122 w 219"/>
                  <a:gd name="T23" fmla="*/ 295 h 318"/>
                  <a:gd name="T24" fmla="*/ 146 w 219"/>
                  <a:gd name="T25" fmla="*/ 318 h 318"/>
                  <a:gd name="T26" fmla="*/ 169 w 219"/>
                  <a:gd name="T27" fmla="*/ 295 h 318"/>
                  <a:gd name="T28" fmla="*/ 168 w 219"/>
                  <a:gd name="T29" fmla="*/ 235 h 318"/>
                  <a:gd name="T30" fmla="*/ 114 w 219"/>
                  <a:gd name="T31" fmla="*/ 180 h 318"/>
                  <a:gd name="T32" fmla="*/ 125 w 219"/>
                  <a:gd name="T33" fmla="*/ 130 h 318"/>
                  <a:gd name="T34" fmla="*/ 146 w 219"/>
                  <a:gd name="T35" fmla="*/ 153 h 318"/>
                  <a:gd name="T36" fmla="*/ 195 w 219"/>
                  <a:gd name="T37" fmla="*/ 153 h 318"/>
                  <a:gd name="T38" fmla="*/ 219 w 219"/>
                  <a:gd name="T39" fmla="*/ 129 h 318"/>
                  <a:gd name="T40" fmla="*/ 195 w 219"/>
                  <a:gd name="T41" fmla="*/ 106 h 318"/>
                  <a:gd name="T42" fmla="*/ 166 w 219"/>
                  <a:gd name="T43" fmla="*/ 106 h 318"/>
                  <a:gd name="T44" fmla="*/ 125 w 219"/>
                  <a:gd name="T45" fmla="*/ 67 h 318"/>
                  <a:gd name="T46" fmla="*/ 55 w 219"/>
                  <a:gd name="T47" fmla="*/ 67 h 318"/>
                  <a:gd name="T48" fmla="*/ 0 w 219"/>
                  <a:gd name="T49" fmla="*/ 95 h 318"/>
                  <a:gd name="T50" fmla="*/ 0 w 219"/>
                  <a:gd name="T51" fmla="*/ 168 h 318"/>
                  <a:gd name="T52" fmla="*/ 24 w 219"/>
                  <a:gd name="T53" fmla="*/ 192 h 318"/>
                  <a:gd name="T54" fmla="*/ 47 w 219"/>
                  <a:gd name="T55" fmla="*/ 168 h 318"/>
                  <a:gd name="T56" fmla="*/ 47 w 219"/>
                  <a:gd name="T57" fmla="*/ 123 h 318"/>
                  <a:gd name="T58" fmla="*/ 73 w 219"/>
                  <a:gd name="T59" fmla="*/ 11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318">
                    <a:moveTo>
                      <a:pt x="69" y="33"/>
                    </a:moveTo>
                    <a:cubicBezTo>
                      <a:pt x="69" y="15"/>
                      <a:pt x="84" y="0"/>
                      <a:pt x="103" y="0"/>
                    </a:cubicBezTo>
                    <a:cubicBezTo>
                      <a:pt x="121" y="0"/>
                      <a:pt x="136" y="15"/>
                      <a:pt x="136" y="33"/>
                    </a:cubicBezTo>
                    <a:cubicBezTo>
                      <a:pt x="136" y="52"/>
                      <a:pt x="121" y="67"/>
                      <a:pt x="103" y="67"/>
                    </a:cubicBezTo>
                    <a:cubicBezTo>
                      <a:pt x="84" y="67"/>
                      <a:pt x="69" y="52"/>
                      <a:pt x="69" y="33"/>
                    </a:cubicBezTo>
                    <a:close/>
                    <a:moveTo>
                      <a:pt x="34" y="192"/>
                    </a:moveTo>
                    <a:cubicBezTo>
                      <a:pt x="9" y="295"/>
                      <a:pt x="9" y="295"/>
                      <a:pt x="9" y="295"/>
                    </a:cubicBezTo>
                    <a:cubicBezTo>
                      <a:pt x="9" y="308"/>
                      <a:pt x="20" y="318"/>
                      <a:pt x="33" y="318"/>
                    </a:cubicBezTo>
                    <a:cubicBezTo>
                      <a:pt x="46" y="318"/>
                      <a:pt x="56" y="308"/>
                      <a:pt x="56" y="295"/>
                    </a:cubicBezTo>
                    <a:cubicBezTo>
                      <a:pt x="74" y="206"/>
                      <a:pt x="74" y="206"/>
                      <a:pt x="74" y="206"/>
                    </a:cubicBezTo>
                    <a:cubicBezTo>
                      <a:pt x="122" y="255"/>
                      <a:pt x="122" y="255"/>
                      <a:pt x="122" y="255"/>
                    </a:cubicBezTo>
                    <a:cubicBezTo>
                      <a:pt x="122" y="295"/>
                      <a:pt x="122" y="295"/>
                      <a:pt x="122" y="295"/>
                    </a:cubicBezTo>
                    <a:cubicBezTo>
                      <a:pt x="122" y="308"/>
                      <a:pt x="133" y="318"/>
                      <a:pt x="146" y="318"/>
                    </a:cubicBezTo>
                    <a:cubicBezTo>
                      <a:pt x="159" y="318"/>
                      <a:pt x="169" y="308"/>
                      <a:pt x="169" y="295"/>
                    </a:cubicBezTo>
                    <a:cubicBezTo>
                      <a:pt x="168" y="235"/>
                      <a:pt x="168" y="235"/>
                      <a:pt x="168" y="235"/>
                    </a:cubicBezTo>
                    <a:cubicBezTo>
                      <a:pt x="114" y="180"/>
                      <a:pt x="114" y="180"/>
                      <a:pt x="114" y="180"/>
                    </a:cubicBezTo>
                    <a:cubicBezTo>
                      <a:pt x="125" y="130"/>
                      <a:pt x="125" y="130"/>
                      <a:pt x="125" y="130"/>
                    </a:cubicBezTo>
                    <a:cubicBezTo>
                      <a:pt x="146" y="153"/>
                      <a:pt x="146" y="153"/>
                      <a:pt x="146" y="153"/>
                    </a:cubicBezTo>
                    <a:cubicBezTo>
                      <a:pt x="195" y="153"/>
                      <a:pt x="195" y="153"/>
                      <a:pt x="195" y="153"/>
                    </a:cubicBezTo>
                    <a:cubicBezTo>
                      <a:pt x="208" y="153"/>
                      <a:pt x="219" y="142"/>
                      <a:pt x="219" y="129"/>
                    </a:cubicBezTo>
                    <a:cubicBezTo>
                      <a:pt x="219" y="116"/>
                      <a:pt x="208" y="106"/>
                      <a:pt x="195" y="106"/>
                    </a:cubicBezTo>
                    <a:cubicBezTo>
                      <a:pt x="166" y="106"/>
                      <a:pt x="166" y="106"/>
                      <a:pt x="166" y="106"/>
                    </a:cubicBezTo>
                    <a:cubicBezTo>
                      <a:pt x="125" y="67"/>
                      <a:pt x="125" y="67"/>
                      <a:pt x="125" y="67"/>
                    </a:cubicBezTo>
                    <a:cubicBezTo>
                      <a:pt x="55" y="67"/>
                      <a:pt x="55" y="67"/>
                      <a:pt x="55" y="67"/>
                    </a:cubicBezTo>
                    <a:cubicBezTo>
                      <a:pt x="0" y="95"/>
                      <a:pt x="0" y="95"/>
                      <a:pt x="0" y="95"/>
                    </a:cubicBezTo>
                    <a:cubicBezTo>
                      <a:pt x="0" y="168"/>
                      <a:pt x="0" y="168"/>
                      <a:pt x="0" y="168"/>
                    </a:cubicBezTo>
                    <a:cubicBezTo>
                      <a:pt x="0" y="182"/>
                      <a:pt x="11" y="192"/>
                      <a:pt x="24" y="192"/>
                    </a:cubicBezTo>
                    <a:cubicBezTo>
                      <a:pt x="37" y="192"/>
                      <a:pt x="47" y="182"/>
                      <a:pt x="47" y="168"/>
                    </a:cubicBezTo>
                    <a:cubicBezTo>
                      <a:pt x="47" y="123"/>
                      <a:pt x="47" y="123"/>
                      <a:pt x="47" y="123"/>
                    </a:cubicBezTo>
                    <a:cubicBezTo>
                      <a:pt x="73" y="110"/>
                      <a:pt x="73" y="110"/>
                      <a:pt x="73" y="110"/>
                    </a:cubicBezTo>
                  </a:path>
                </a:pathLst>
              </a:custGeom>
              <a:grpFill/>
              <a:ln w="1270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grpSp>
            <p:nvGrpSpPr>
              <p:cNvPr id="730" name="Group 729">
                <a:extLst>
                  <a:ext uri="{FF2B5EF4-FFF2-40B4-BE49-F238E27FC236}">
                    <a16:creationId xmlns:a16="http://schemas.microsoft.com/office/drawing/2014/main" id="{E486193C-D3B5-4B35-9E42-CC9FA22CE17D}"/>
                  </a:ext>
                </a:extLst>
              </p:cNvPr>
              <p:cNvGrpSpPr/>
              <p:nvPr/>
            </p:nvGrpSpPr>
            <p:grpSpPr>
              <a:xfrm>
                <a:off x="2145576" y="1852136"/>
                <a:ext cx="291291" cy="257176"/>
                <a:chOff x="7206762" y="3013463"/>
                <a:chExt cx="291291" cy="257176"/>
              </a:xfrm>
              <a:grpFill/>
            </p:grpSpPr>
            <p:sp>
              <p:nvSpPr>
                <p:cNvPr id="731" name="Rectangle 12">
                  <a:extLst>
                    <a:ext uri="{FF2B5EF4-FFF2-40B4-BE49-F238E27FC236}">
                      <a16:creationId xmlns:a16="http://schemas.microsoft.com/office/drawing/2014/main" id="{B549455E-E671-4498-9735-F9D5240A461F}"/>
                    </a:ext>
                  </a:extLst>
                </p:cNvPr>
                <p:cNvSpPr/>
                <p:nvPr/>
              </p:nvSpPr>
              <p:spPr bwMode="auto">
                <a:xfrm>
                  <a:off x="7206762" y="3013463"/>
                  <a:ext cx="49861" cy="49861"/>
                </a:xfrm>
                <a:custGeom>
                  <a:avLst/>
                  <a:gdLst>
                    <a:gd name="connsiteX0" fmla="*/ 0 w 236220"/>
                    <a:gd name="connsiteY0" fmla="*/ 0 h 236220"/>
                    <a:gd name="connsiteX1" fmla="*/ 236220 w 236220"/>
                    <a:gd name="connsiteY1" fmla="*/ 0 h 236220"/>
                    <a:gd name="connsiteX2" fmla="*/ 236220 w 236220"/>
                    <a:gd name="connsiteY2" fmla="*/ 236220 h 236220"/>
                    <a:gd name="connsiteX3" fmla="*/ 0 w 236220"/>
                    <a:gd name="connsiteY3" fmla="*/ 236220 h 236220"/>
                    <a:gd name="connsiteX4" fmla="*/ 0 w 236220"/>
                    <a:gd name="connsiteY4" fmla="*/ 0 h 236220"/>
                    <a:gd name="connsiteX0" fmla="*/ 236220 w 327660"/>
                    <a:gd name="connsiteY0" fmla="*/ 236220 h 327660"/>
                    <a:gd name="connsiteX1" fmla="*/ 0 w 327660"/>
                    <a:gd name="connsiteY1" fmla="*/ 236220 h 327660"/>
                    <a:gd name="connsiteX2" fmla="*/ 0 w 327660"/>
                    <a:gd name="connsiteY2" fmla="*/ 0 h 327660"/>
                    <a:gd name="connsiteX3" fmla="*/ 236220 w 327660"/>
                    <a:gd name="connsiteY3" fmla="*/ 0 h 327660"/>
                    <a:gd name="connsiteX4" fmla="*/ 327660 w 327660"/>
                    <a:gd name="connsiteY4" fmla="*/ 327660 h 327660"/>
                    <a:gd name="connsiteX0" fmla="*/ 236220 w 236220"/>
                    <a:gd name="connsiteY0" fmla="*/ 236220 h 236220"/>
                    <a:gd name="connsiteX1" fmla="*/ 0 w 236220"/>
                    <a:gd name="connsiteY1" fmla="*/ 236220 h 236220"/>
                    <a:gd name="connsiteX2" fmla="*/ 0 w 236220"/>
                    <a:gd name="connsiteY2" fmla="*/ 0 h 236220"/>
                    <a:gd name="connsiteX3" fmla="*/ 236220 w 236220"/>
                    <a:gd name="connsiteY3" fmla="*/ 0 h 236220"/>
                    <a:gd name="connsiteX0" fmla="*/ 0 w 236220"/>
                    <a:gd name="connsiteY0" fmla="*/ 236220 h 236220"/>
                    <a:gd name="connsiteX1" fmla="*/ 0 w 236220"/>
                    <a:gd name="connsiteY1" fmla="*/ 0 h 236220"/>
                    <a:gd name="connsiteX2" fmla="*/ 236220 w 236220"/>
                    <a:gd name="connsiteY2" fmla="*/ 0 h 236220"/>
                  </a:gdLst>
                  <a:ahLst/>
                  <a:cxnLst>
                    <a:cxn ang="0">
                      <a:pos x="connsiteX0" y="connsiteY0"/>
                    </a:cxn>
                    <a:cxn ang="0">
                      <a:pos x="connsiteX1" y="connsiteY1"/>
                    </a:cxn>
                    <a:cxn ang="0">
                      <a:pos x="connsiteX2" y="connsiteY2"/>
                    </a:cxn>
                  </a:cxnLst>
                  <a:rect l="l" t="t" r="r" b="b"/>
                  <a:pathLst>
                    <a:path w="236220" h="236220">
                      <a:moveTo>
                        <a:pt x="0" y="236220"/>
                      </a:moveTo>
                      <a:lnTo>
                        <a:pt x="0" y="0"/>
                      </a:lnTo>
                      <a:lnTo>
                        <a:pt x="236220" y="0"/>
                      </a:lnTo>
                    </a:path>
                  </a:pathLst>
                </a:custGeom>
                <a:grpFill/>
                <a:ln w="1270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err="1">
                    <a:solidFill>
                      <a:srgbClr val="505050"/>
                    </a:solidFill>
                    <a:latin typeface="Segoe UI Semilight"/>
                  </a:endParaRPr>
                </a:p>
              </p:txBody>
            </p:sp>
            <p:sp>
              <p:nvSpPr>
                <p:cNvPr id="732" name="Rectangle 12">
                  <a:extLst>
                    <a:ext uri="{FF2B5EF4-FFF2-40B4-BE49-F238E27FC236}">
                      <a16:creationId xmlns:a16="http://schemas.microsoft.com/office/drawing/2014/main" id="{691585D1-73C1-403E-AE62-E02F1BFA195B}"/>
                    </a:ext>
                  </a:extLst>
                </p:cNvPr>
                <p:cNvSpPr/>
                <p:nvPr/>
              </p:nvSpPr>
              <p:spPr bwMode="auto">
                <a:xfrm flipH="1">
                  <a:off x="7448192" y="3013463"/>
                  <a:ext cx="49861" cy="49861"/>
                </a:xfrm>
                <a:custGeom>
                  <a:avLst/>
                  <a:gdLst>
                    <a:gd name="connsiteX0" fmla="*/ 0 w 236220"/>
                    <a:gd name="connsiteY0" fmla="*/ 0 h 236220"/>
                    <a:gd name="connsiteX1" fmla="*/ 236220 w 236220"/>
                    <a:gd name="connsiteY1" fmla="*/ 0 h 236220"/>
                    <a:gd name="connsiteX2" fmla="*/ 236220 w 236220"/>
                    <a:gd name="connsiteY2" fmla="*/ 236220 h 236220"/>
                    <a:gd name="connsiteX3" fmla="*/ 0 w 236220"/>
                    <a:gd name="connsiteY3" fmla="*/ 236220 h 236220"/>
                    <a:gd name="connsiteX4" fmla="*/ 0 w 236220"/>
                    <a:gd name="connsiteY4" fmla="*/ 0 h 236220"/>
                    <a:gd name="connsiteX0" fmla="*/ 236220 w 327660"/>
                    <a:gd name="connsiteY0" fmla="*/ 236220 h 327660"/>
                    <a:gd name="connsiteX1" fmla="*/ 0 w 327660"/>
                    <a:gd name="connsiteY1" fmla="*/ 236220 h 327660"/>
                    <a:gd name="connsiteX2" fmla="*/ 0 w 327660"/>
                    <a:gd name="connsiteY2" fmla="*/ 0 h 327660"/>
                    <a:gd name="connsiteX3" fmla="*/ 236220 w 327660"/>
                    <a:gd name="connsiteY3" fmla="*/ 0 h 327660"/>
                    <a:gd name="connsiteX4" fmla="*/ 327660 w 327660"/>
                    <a:gd name="connsiteY4" fmla="*/ 327660 h 327660"/>
                    <a:gd name="connsiteX0" fmla="*/ 236220 w 236220"/>
                    <a:gd name="connsiteY0" fmla="*/ 236220 h 236220"/>
                    <a:gd name="connsiteX1" fmla="*/ 0 w 236220"/>
                    <a:gd name="connsiteY1" fmla="*/ 236220 h 236220"/>
                    <a:gd name="connsiteX2" fmla="*/ 0 w 236220"/>
                    <a:gd name="connsiteY2" fmla="*/ 0 h 236220"/>
                    <a:gd name="connsiteX3" fmla="*/ 236220 w 236220"/>
                    <a:gd name="connsiteY3" fmla="*/ 0 h 236220"/>
                    <a:gd name="connsiteX0" fmla="*/ 0 w 236220"/>
                    <a:gd name="connsiteY0" fmla="*/ 236220 h 236220"/>
                    <a:gd name="connsiteX1" fmla="*/ 0 w 236220"/>
                    <a:gd name="connsiteY1" fmla="*/ 0 h 236220"/>
                    <a:gd name="connsiteX2" fmla="*/ 236220 w 236220"/>
                    <a:gd name="connsiteY2" fmla="*/ 0 h 236220"/>
                  </a:gdLst>
                  <a:ahLst/>
                  <a:cxnLst>
                    <a:cxn ang="0">
                      <a:pos x="connsiteX0" y="connsiteY0"/>
                    </a:cxn>
                    <a:cxn ang="0">
                      <a:pos x="connsiteX1" y="connsiteY1"/>
                    </a:cxn>
                    <a:cxn ang="0">
                      <a:pos x="connsiteX2" y="connsiteY2"/>
                    </a:cxn>
                  </a:cxnLst>
                  <a:rect l="l" t="t" r="r" b="b"/>
                  <a:pathLst>
                    <a:path w="236220" h="236220">
                      <a:moveTo>
                        <a:pt x="0" y="236220"/>
                      </a:moveTo>
                      <a:lnTo>
                        <a:pt x="0" y="0"/>
                      </a:lnTo>
                      <a:lnTo>
                        <a:pt x="236220" y="0"/>
                      </a:lnTo>
                    </a:path>
                  </a:pathLst>
                </a:custGeom>
                <a:grpFill/>
                <a:ln w="1270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err="1">
                    <a:solidFill>
                      <a:srgbClr val="505050"/>
                    </a:solidFill>
                    <a:latin typeface="Segoe UI Semilight"/>
                  </a:endParaRPr>
                </a:p>
              </p:txBody>
            </p:sp>
            <p:sp>
              <p:nvSpPr>
                <p:cNvPr id="733" name="Rectangle 12">
                  <a:extLst>
                    <a:ext uri="{FF2B5EF4-FFF2-40B4-BE49-F238E27FC236}">
                      <a16:creationId xmlns:a16="http://schemas.microsoft.com/office/drawing/2014/main" id="{0A112702-CD90-4F7B-B97E-821B4FFD0312}"/>
                    </a:ext>
                  </a:extLst>
                </p:cNvPr>
                <p:cNvSpPr/>
                <p:nvPr/>
              </p:nvSpPr>
              <p:spPr bwMode="auto">
                <a:xfrm flipV="1">
                  <a:off x="7206762" y="3220778"/>
                  <a:ext cx="49861" cy="49861"/>
                </a:xfrm>
                <a:custGeom>
                  <a:avLst/>
                  <a:gdLst>
                    <a:gd name="connsiteX0" fmla="*/ 0 w 236220"/>
                    <a:gd name="connsiteY0" fmla="*/ 0 h 236220"/>
                    <a:gd name="connsiteX1" fmla="*/ 236220 w 236220"/>
                    <a:gd name="connsiteY1" fmla="*/ 0 h 236220"/>
                    <a:gd name="connsiteX2" fmla="*/ 236220 w 236220"/>
                    <a:gd name="connsiteY2" fmla="*/ 236220 h 236220"/>
                    <a:gd name="connsiteX3" fmla="*/ 0 w 236220"/>
                    <a:gd name="connsiteY3" fmla="*/ 236220 h 236220"/>
                    <a:gd name="connsiteX4" fmla="*/ 0 w 236220"/>
                    <a:gd name="connsiteY4" fmla="*/ 0 h 236220"/>
                    <a:gd name="connsiteX0" fmla="*/ 236220 w 327660"/>
                    <a:gd name="connsiteY0" fmla="*/ 236220 h 327660"/>
                    <a:gd name="connsiteX1" fmla="*/ 0 w 327660"/>
                    <a:gd name="connsiteY1" fmla="*/ 236220 h 327660"/>
                    <a:gd name="connsiteX2" fmla="*/ 0 w 327660"/>
                    <a:gd name="connsiteY2" fmla="*/ 0 h 327660"/>
                    <a:gd name="connsiteX3" fmla="*/ 236220 w 327660"/>
                    <a:gd name="connsiteY3" fmla="*/ 0 h 327660"/>
                    <a:gd name="connsiteX4" fmla="*/ 327660 w 327660"/>
                    <a:gd name="connsiteY4" fmla="*/ 327660 h 327660"/>
                    <a:gd name="connsiteX0" fmla="*/ 236220 w 236220"/>
                    <a:gd name="connsiteY0" fmla="*/ 236220 h 236220"/>
                    <a:gd name="connsiteX1" fmla="*/ 0 w 236220"/>
                    <a:gd name="connsiteY1" fmla="*/ 236220 h 236220"/>
                    <a:gd name="connsiteX2" fmla="*/ 0 w 236220"/>
                    <a:gd name="connsiteY2" fmla="*/ 0 h 236220"/>
                    <a:gd name="connsiteX3" fmla="*/ 236220 w 236220"/>
                    <a:gd name="connsiteY3" fmla="*/ 0 h 236220"/>
                    <a:gd name="connsiteX0" fmla="*/ 0 w 236220"/>
                    <a:gd name="connsiteY0" fmla="*/ 236220 h 236220"/>
                    <a:gd name="connsiteX1" fmla="*/ 0 w 236220"/>
                    <a:gd name="connsiteY1" fmla="*/ 0 h 236220"/>
                    <a:gd name="connsiteX2" fmla="*/ 236220 w 236220"/>
                    <a:gd name="connsiteY2" fmla="*/ 0 h 236220"/>
                  </a:gdLst>
                  <a:ahLst/>
                  <a:cxnLst>
                    <a:cxn ang="0">
                      <a:pos x="connsiteX0" y="connsiteY0"/>
                    </a:cxn>
                    <a:cxn ang="0">
                      <a:pos x="connsiteX1" y="connsiteY1"/>
                    </a:cxn>
                    <a:cxn ang="0">
                      <a:pos x="connsiteX2" y="connsiteY2"/>
                    </a:cxn>
                  </a:cxnLst>
                  <a:rect l="l" t="t" r="r" b="b"/>
                  <a:pathLst>
                    <a:path w="236220" h="236220">
                      <a:moveTo>
                        <a:pt x="0" y="236220"/>
                      </a:moveTo>
                      <a:lnTo>
                        <a:pt x="0" y="0"/>
                      </a:lnTo>
                      <a:lnTo>
                        <a:pt x="236220" y="0"/>
                      </a:lnTo>
                    </a:path>
                  </a:pathLst>
                </a:custGeom>
                <a:grpFill/>
                <a:ln w="1270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err="1">
                    <a:solidFill>
                      <a:srgbClr val="505050"/>
                    </a:solidFill>
                    <a:latin typeface="Segoe UI Semilight"/>
                  </a:endParaRPr>
                </a:p>
              </p:txBody>
            </p:sp>
            <p:sp>
              <p:nvSpPr>
                <p:cNvPr id="734" name="Rectangle 12">
                  <a:extLst>
                    <a:ext uri="{FF2B5EF4-FFF2-40B4-BE49-F238E27FC236}">
                      <a16:creationId xmlns:a16="http://schemas.microsoft.com/office/drawing/2014/main" id="{9AF1F4FA-35D2-47AE-A634-9AD585A7B85F}"/>
                    </a:ext>
                  </a:extLst>
                </p:cNvPr>
                <p:cNvSpPr/>
                <p:nvPr/>
              </p:nvSpPr>
              <p:spPr bwMode="auto">
                <a:xfrm flipH="1" flipV="1">
                  <a:off x="7448192" y="3220778"/>
                  <a:ext cx="49861" cy="49861"/>
                </a:xfrm>
                <a:custGeom>
                  <a:avLst/>
                  <a:gdLst>
                    <a:gd name="connsiteX0" fmla="*/ 0 w 236220"/>
                    <a:gd name="connsiteY0" fmla="*/ 0 h 236220"/>
                    <a:gd name="connsiteX1" fmla="*/ 236220 w 236220"/>
                    <a:gd name="connsiteY1" fmla="*/ 0 h 236220"/>
                    <a:gd name="connsiteX2" fmla="*/ 236220 w 236220"/>
                    <a:gd name="connsiteY2" fmla="*/ 236220 h 236220"/>
                    <a:gd name="connsiteX3" fmla="*/ 0 w 236220"/>
                    <a:gd name="connsiteY3" fmla="*/ 236220 h 236220"/>
                    <a:gd name="connsiteX4" fmla="*/ 0 w 236220"/>
                    <a:gd name="connsiteY4" fmla="*/ 0 h 236220"/>
                    <a:gd name="connsiteX0" fmla="*/ 236220 w 327660"/>
                    <a:gd name="connsiteY0" fmla="*/ 236220 h 327660"/>
                    <a:gd name="connsiteX1" fmla="*/ 0 w 327660"/>
                    <a:gd name="connsiteY1" fmla="*/ 236220 h 327660"/>
                    <a:gd name="connsiteX2" fmla="*/ 0 w 327660"/>
                    <a:gd name="connsiteY2" fmla="*/ 0 h 327660"/>
                    <a:gd name="connsiteX3" fmla="*/ 236220 w 327660"/>
                    <a:gd name="connsiteY3" fmla="*/ 0 h 327660"/>
                    <a:gd name="connsiteX4" fmla="*/ 327660 w 327660"/>
                    <a:gd name="connsiteY4" fmla="*/ 327660 h 327660"/>
                    <a:gd name="connsiteX0" fmla="*/ 236220 w 236220"/>
                    <a:gd name="connsiteY0" fmla="*/ 236220 h 236220"/>
                    <a:gd name="connsiteX1" fmla="*/ 0 w 236220"/>
                    <a:gd name="connsiteY1" fmla="*/ 236220 h 236220"/>
                    <a:gd name="connsiteX2" fmla="*/ 0 w 236220"/>
                    <a:gd name="connsiteY2" fmla="*/ 0 h 236220"/>
                    <a:gd name="connsiteX3" fmla="*/ 236220 w 236220"/>
                    <a:gd name="connsiteY3" fmla="*/ 0 h 236220"/>
                    <a:gd name="connsiteX0" fmla="*/ 0 w 236220"/>
                    <a:gd name="connsiteY0" fmla="*/ 236220 h 236220"/>
                    <a:gd name="connsiteX1" fmla="*/ 0 w 236220"/>
                    <a:gd name="connsiteY1" fmla="*/ 0 h 236220"/>
                    <a:gd name="connsiteX2" fmla="*/ 236220 w 236220"/>
                    <a:gd name="connsiteY2" fmla="*/ 0 h 236220"/>
                  </a:gdLst>
                  <a:ahLst/>
                  <a:cxnLst>
                    <a:cxn ang="0">
                      <a:pos x="connsiteX0" y="connsiteY0"/>
                    </a:cxn>
                    <a:cxn ang="0">
                      <a:pos x="connsiteX1" y="connsiteY1"/>
                    </a:cxn>
                    <a:cxn ang="0">
                      <a:pos x="connsiteX2" y="connsiteY2"/>
                    </a:cxn>
                  </a:cxnLst>
                  <a:rect l="l" t="t" r="r" b="b"/>
                  <a:pathLst>
                    <a:path w="236220" h="236220">
                      <a:moveTo>
                        <a:pt x="0" y="236220"/>
                      </a:moveTo>
                      <a:lnTo>
                        <a:pt x="0" y="0"/>
                      </a:lnTo>
                      <a:lnTo>
                        <a:pt x="236220" y="0"/>
                      </a:lnTo>
                    </a:path>
                  </a:pathLst>
                </a:custGeom>
                <a:grpFill/>
                <a:ln w="1270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err="1">
                    <a:solidFill>
                      <a:srgbClr val="505050"/>
                    </a:solidFill>
                    <a:latin typeface="Segoe UI Semilight"/>
                  </a:endParaRPr>
                </a:p>
              </p:txBody>
            </p:sp>
          </p:grpSp>
        </p:grpSp>
      </p:grpSp>
      <p:grpSp>
        <p:nvGrpSpPr>
          <p:cNvPr id="735" name="Group 734">
            <a:extLst>
              <a:ext uri="{FF2B5EF4-FFF2-40B4-BE49-F238E27FC236}">
                <a16:creationId xmlns:a16="http://schemas.microsoft.com/office/drawing/2014/main" id="{19969015-F81E-4D24-9534-2C21BCF55D0E}"/>
              </a:ext>
            </a:extLst>
          </p:cNvPr>
          <p:cNvGrpSpPr/>
          <p:nvPr/>
        </p:nvGrpSpPr>
        <p:grpSpPr>
          <a:xfrm>
            <a:off x="5019608" y="1398154"/>
            <a:ext cx="502920" cy="502920"/>
            <a:chOff x="-963895" y="5018384"/>
            <a:chExt cx="502920" cy="502920"/>
          </a:xfrm>
          <a:solidFill>
            <a:schemeClr val="bg1"/>
          </a:solidFill>
        </p:grpSpPr>
        <p:sp useBgFill="1">
          <p:nvSpPr>
            <p:cNvPr id="736" name="Oval 735">
              <a:extLst>
                <a:ext uri="{FF2B5EF4-FFF2-40B4-BE49-F238E27FC236}">
                  <a16:creationId xmlns:a16="http://schemas.microsoft.com/office/drawing/2014/main" id="{405D443B-BE96-4757-AC9B-D9BBE27AEDA7}"/>
                </a:ext>
              </a:extLst>
            </p:cNvPr>
            <p:cNvSpPr/>
            <p:nvPr/>
          </p:nvSpPr>
          <p:spPr bwMode="auto">
            <a:xfrm>
              <a:off x="-963895" y="5018384"/>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37" name="people_3">
              <a:extLst>
                <a:ext uri="{FF2B5EF4-FFF2-40B4-BE49-F238E27FC236}">
                  <a16:creationId xmlns:a16="http://schemas.microsoft.com/office/drawing/2014/main" id="{B86B60DF-04F2-4F00-98D0-0689BD2FDB17}"/>
                </a:ext>
              </a:extLst>
            </p:cNvPr>
            <p:cNvSpPr>
              <a:spLocks noChangeAspect="1" noEditPoints="1"/>
            </p:cNvSpPr>
            <p:nvPr/>
          </p:nvSpPr>
          <p:spPr bwMode="auto">
            <a:xfrm>
              <a:off x="-819747" y="5161674"/>
              <a:ext cx="214624" cy="216341"/>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grpFill/>
            <a:ln w="1270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grpSp>
      <p:grpSp>
        <p:nvGrpSpPr>
          <p:cNvPr id="738" name="Group 737">
            <a:extLst>
              <a:ext uri="{FF2B5EF4-FFF2-40B4-BE49-F238E27FC236}">
                <a16:creationId xmlns:a16="http://schemas.microsoft.com/office/drawing/2014/main" id="{FCA43969-5EAD-48A9-9C54-3E4CF0BD4E51}"/>
              </a:ext>
            </a:extLst>
          </p:cNvPr>
          <p:cNvGrpSpPr/>
          <p:nvPr/>
        </p:nvGrpSpPr>
        <p:grpSpPr>
          <a:xfrm>
            <a:off x="5019608" y="5400068"/>
            <a:ext cx="502920" cy="502920"/>
            <a:chOff x="-963895" y="3928234"/>
            <a:chExt cx="502920" cy="502920"/>
          </a:xfrm>
          <a:solidFill>
            <a:schemeClr val="bg1"/>
          </a:solidFill>
        </p:grpSpPr>
        <p:sp useBgFill="1">
          <p:nvSpPr>
            <p:cNvPr id="739" name="Oval 738">
              <a:extLst>
                <a:ext uri="{FF2B5EF4-FFF2-40B4-BE49-F238E27FC236}">
                  <a16:creationId xmlns:a16="http://schemas.microsoft.com/office/drawing/2014/main" id="{49F54576-6EA7-4957-9CF5-96547BAECB9B}"/>
                </a:ext>
              </a:extLst>
            </p:cNvPr>
            <p:cNvSpPr/>
            <p:nvPr/>
          </p:nvSpPr>
          <p:spPr bwMode="auto">
            <a:xfrm>
              <a:off x="-963895" y="3928234"/>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40" name="graph_2">
              <a:extLst>
                <a:ext uri="{FF2B5EF4-FFF2-40B4-BE49-F238E27FC236}">
                  <a16:creationId xmlns:a16="http://schemas.microsoft.com/office/drawing/2014/main" id="{09B67448-7CB1-4C56-B757-0D9374CC6FFB}"/>
                </a:ext>
              </a:extLst>
            </p:cNvPr>
            <p:cNvSpPr>
              <a:spLocks noChangeAspect="1" noEditPoints="1"/>
            </p:cNvSpPr>
            <p:nvPr/>
          </p:nvSpPr>
          <p:spPr bwMode="auto">
            <a:xfrm>
              <a:off x="-813712" y="4120311"/>
              <a:ext cx="202554" cy="118766"/>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grpFill/>
            <a:ln w="1270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grpSp>
      <p:grpSp>
        <p:nvGrpSpPr>
          <p:cNvPr id="741" name="Group 740">
            <a:extLst>
              <a:ext uri="{FF2B5EF4-FFF2-40B4-BE49-F238E27FC236}">
                <a16:creationId xmlns:a16="http://schemas.microsoft.com/office/drawing/2014/main" id="{47FD2C44-0E44-4788-B677-14F897550B23}"/>
              </a:ext>
            </a:extLst>
          </p:cNvPr>
          <p:cNvGrpSpPr/>
          <p:nvPr/>
        </p:nvGrpSpPr>
        <p:grpSpPr>
          <a:xfrm>
            <a:off x="8424646" y="2881513"/>
            <a:ext cx="502920" cy="502920"/>
            <a:chOff x="7203912" y="783653"/>
            <a:chExt cx="502920" cy="502920"/>
          </a:xfrm>
          <a:solidFill>
            <a:schemeClr val="bg1"/>
          </a:solidFill>
        </p:grpSpPr>
        <p:sp useBgFill="1">
          <p:nvSpPr>
            <p:cNvPr id="742" name="Oval 741">
              <a:extLst>
                <a:ext uri="{FF2B5EF4-FFF2-40B4-BE49-F238E27FC236}">
                  <a16:creationId xmlns:a16="http://schemas.microsoft.com/office/drawing/2014/main" id="{052045E6-BB19-495F-AF8D-C6424C00243F}"/>
                </a:ext>
              </a:extLst>
            </p:cNvPr>
            <p:cNvSpPr/>
            <p:nvPr/>
          </p:nvSpPr>
          <p:spPr bwMode="auto">
            <a:xfrm>
              <a:off x="7203912" y="783653"/>
              <a:ext cx="502920" cy="5029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43" name="Group 742">
              <a:extLst>
                <a:ext uri="{FF2B5EF4-FFF2-40B4-BE49-F238E27FC236}">
                  <a16:creationId xmlns:a16="http://schemas.microsoft.com/office/drawing/2014/main" id="{B953BEE0-E3BA-4DCB-A09A-C66731E248EC}"/>
                </a:ext>
              </a:extLst>
            </p:cNvPr>
            <p:cNvGrpSpPr/>
            <p:nvPr/>
          </p:nvGrpSpPr>
          <p:grpSpPr>
            <a:xfrm>
              <a:off x="7333905" y="859323"/>
              <a:ext cx="242934" cy="351581"/>
              <a:chOff x="4151913" y="2842749"/>
              <a:chExt cx="242934" cy="351581"/>
            </a:xfrm>
            <a:grpFill/>
          </p:grpSpPr>
          <p:sp useBgFill="1">
            <p:nvSpPr>
              <p:cNvPr id="744" name="Oval 743">
                <a:extLst>
                  <a:ext uri="{FF2B5EF4-FFF2-40B4-BE49-F238E27FC236}">
                    <a16:creationId xmlns:a16="http://schemas.microsoft.com/office/drawing/2014/main" id="{042CBD73-6427-4CC2-AA5A-A019C7448C6D}"/>
                  </a:ext>
                </a:extLst>
              </p:cNvPr>
              <p:cNvSpPr/>
              <p:nvPr/>
            </p:nvSpPr>
            <p:spPr bwMode="auto">
              <a:xfrm>
                <a:off x="4151913" y="2897072"/>
                <a:ext cx="242934" cy="24293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45" name="Group 744">
                <a:extLst>
                  <a:ext uri="{FF2B5EF4-FFF2-40B4-BE49-F238E27FC236}">
                    <a16:creationId xmlns:a16="http://schemas.microsoft.com/office/drawing/2014/main" id="{5AC555C7-98FD-4F19-A9FF-08754C02865A}"/>
                  </a:ext>
                </a:extLst>
              </p:cNvPr>
              <p:cNvGrpSpPr/>
              <p:nvPr/>
            </p:nvGrpSpPr>
            <p:grpSpPr>
              <a:xfrm>
                <a:off x="4211610" y="2842749"/>
                <a:ext cx="123541" cy="351581"/>
                <a:chOff x="4990745" y="2685821"/>
                <a:chExt cx="144221" cy="410434"/>
              </a:xfrm>
              <a:grpFill/>
            </p:grpSpPr>
            <p:sp>
              <p:nvSpPr>
                <p:cNvPr id="746" name="Freeform 5">
                  <a:extLst>
                    <a:ext uri="{FF2B5EF4-FFF2-40B4-BE49-F238E27FC236}">
                      <a16:creationId xmlns:a16="http://schemas.microsoft.com/office/drawing/2014/main" id="{82F47D23-1216-4FC1-B77E-A569032A37D4}"/>
                    </a:ext>
                  </a:extLst>
                </p:cNvPr>
                <p:cNvSpPr>
                  <a:spLocks noEditPoints="1"/>
                </p:cNvSpPr>
                <p:nvPr/>
              </p:nvSpPr>
              <p:spPr bwMode="auto">
                <a:xfrm>
                  <a:off x="5001398" y="2802730"/>
                  <a:ext cx="122914" cy="293525"/>
                </a:xfrm>
                <a:custGeom>
                  <a:avLst/>
                  <a:gdLst>
                    <a:gd name="T0" fmla="*/ 470 w 540"/>
                    <a:gd name="T1" fmla="*/ 84 h 1296"/>
                    <a:gd name="T2" fmla="*/ 266 w 540"/>
                    <a:gd name="T3" fmla="*/ 154 h 1296"/>
                    <a:gd name="T4" fmla="*/ 62 w 540"/>
                    <a:gd name="T5" fmla="*/ 84 h 1296"/>
                    <a:gd name="T6" fmla="*/ 266 w 540"/>
                    <a:gd name="T7" fmla="*/ 14 h 1296"/>
                    <a:gd name="T8" fmla="*/ 470 w 540"/>
                    <a:gd name="T9" fmla="*/ 84 h 1296"/>
                    <a:gd name="T10" fmla="*/ 266 w 540"/>
                    <a:gd name="T11" fmla="*/ 0 h 1296"/>
                    <a:gd name="T12" fmla="*/ 36 w 540"/>
                    <a:gd name="T13" fmla="*/ 82 h 1296"/>
                    <a:gd name="T14" fmla="*/ 266 w 540"/>
                    <a:gd name="T15" fmla="*/ 164 h 1296"/>
                    <a:gd name="T16" fmla="*/ 496 w 540"/>
                    <a:gd name="T17" fmla="*/ 82 h 1296"/>
                    <a:gd name="T18" fmla="*/ 266 w 540"/>
                    <a:gd name="T19" fmla="*/ 0 h 1296"/>
                    <a:gd name="T20" fmla="*/ 36 w 540"/>
                    <a:gd name="T21" fmla="*/ 80 h 1296"/>
                    <a:gd name="T22" fmla="*/ 36 w 540"/>
                    <a:gd name="T23" fmla="*/ 708 h 1296"/>
                    <a:gd name="T24" fmla="*/ 0 w 540"/>
                    <a:gd name="T25" fmla="*/ 1170 h 1296"/>
                    <a:gd name="T26" fmla="*/ 270 w 540"/>
                    <a:gd name="T27" fmla="*/ 1296 h 1296"/>
                    <a:gd name="T28" fmla="*/ 540 w 540"/>
                    <a:gd name="T29" fmla="*/ 1170 h 1296"/>
                    <a:gd name="T30" fmla="*/ 504 w 540"/>
                    <a:gd name="T31" fmla="*/ 652 h 1296"/>
                    <a:gd name="T32" fmla="*/ 496 w 540"/>
                    <a:gd name="T33" fmla="*/ 80 h 1296"/>
                    <a:gd name="T34" fmla="*/ 10 w 540"/>
                    <a:gd name="T35" fmla="*/ 1040 h 1296"/>
                    <a:gd name="T36" fmla="*/ 267 w 540"/>
                    <a:gd name="T37" fmla="*/ 1164 h 1296"/>
                    <a:gd name="T38" fmla="*/ 524 w 540"/>
                    <a:gd name="T39" fmla="*/ 1040 h 1296"/>
                    <a:gd name="T40" fmla="*/ 38 w 540"/>
                    <a:gd name="T41" fmla="*/ 164 h 1296"/>
                    <a:gd name="T42" fmla="*/ 267 w 540"/>
                    <a:gd name="T43" fmla="*/ 250 h 1296"/>
                    <a:gd name="T44" fmla="*/ 496 w 540"/>
                    <a:gd name="T45" fmla="*/ 164 h 1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0" h="1296">
                      <a:moveTo>
                        <a:pt x="470" y="84"/>
                      </a:moveTo>
                      <a:cubicBezTo>
                        <a:pt x="470" y="123"/>
                        <a:pt x="379" y="154"/>
                        <a:pt x="266" y="154"/>
                      </a:cubicBezTo>
                      <a:cubicBezTo>
                        <a:pt x="153" y="154"/>
                        <a:pt x="62" y="123"/>
                        <a:pt x="62" y="84"/>
                      </a:cubicBezTo>
                      <a:cubicBezTo>
                        <a:pt x="62" y="45"/>
                        <a:pt x="153" y="14"/>
                        <a:pt x="266" y="14"/>
                      </a:cubicBezTo>
                      <a:cubicBezTo>
                        <a:pt x="379" y="14"/>
                        <a:pt x="470" y="45"/>
                        <a:pt x="470" y="84"/>
                      </a:cubicBezTo>
                      <a:close/>
                      <a:moveTo>
                        <a:pt x="266" y="0"/>
                      </a:moveTo>
                      <a:cubicBezTo>
                        <a:pt x="139" y="0"/>
                        <a:pt x="36" y="37"/>
                        <a:pt x="36" y="82"/>
                      </a:cubicBezTo>
                      <a:cubicBezTo>
                        <a:pt x="36" y="127"/>
                        <a:pt x="139" y="164"/>
                        <a:pt x="266" y="164"/>
                      </a:cubicBezTo>
                      <a:cubicBezTo>
                        <a:pt x="393" y="164"/>
                        <a:pt x="496" y="127"/>
                        <a:pt x="496" y="82"/>
                      </a:cubicBezTo>
                      <a:cubicBezTo>
                        <a:pt x="496" y="37"/>
                        <a:pt x="393" y="0"/>
                        <a:pt x="266" y="0"/>
                      </a:cubicBezTo>
                      <a:close/>
                      <a:moveTo>
                        <a:pt x="36" y="80"/>
                      </a:moveTo>
                      <a:cubicBezTo>
                        <a:pt x="36" y="80"/>
                        <a:pt x="40" y="640"/>
                        <a:pt x="36" y="708"/>
                      </a:cubicBezTo>
                      <a:cubicBezTo>
                        <a:pt x="32" y="776"/>
                        <a:pt x="0" y="1170"/>
                        <a:pt x="0" y="1170"/>
                      </a:cubicBezTo>
                      <a:cubicBezTo>
                        <a:pt x="0" y="1240"/>
                        <a:pt x="121" y="1296"/>
                        <a:pt x="270" y="1296"/>
                      </a:cubicBezTo>
                      <a:cubicBezTo>
                        <a:pt x="419" y="1296"/>
                        <a:pt x="540" y="1240"/>
                        <a:pt x="540" y="1170"/>
                      </a:cubicBezTo>
                      <a:cubicBezTo>
                        <a:pt x="540" y="1170"/>
                        <a:pt x="504" y="748"/>
                        <a:pt x="504" y="652"/>
                      </a:cubicBezTo>
                      <a:cubicBezTo>
                        <a:pt x="504" y="556"/>
                        <a:pt x="496" y="80"/>
                        <a:pt x="496" y="80"/>
                      </a:cubicBezTo>
                      <a:moveTo>
                        <a:pt x="10" y="1040"/>
                      </a:moveTo>
                      <a:cubicBezTo>
                        <a:pt x="10" y="1108"/>
                        <a:pt x="125" y="1164"/>
                        <a:pt x="267" y="1164"/>
                      </a:cubicBezTo>
                      <a:cubicBezTo>
                        <a:pt x="409" y="1164"/>
                        <a:pt x="524" y="1108"/>
                        <a:pt x="524" y="1040"/>
                      </a:cubicBezTo>
                      <a:moveTo>
                        <a:pt x="38" y="164"/>
                      </a:moveTo>
                      <a:cubicBezTo>
                        <a:pt x="38" y="211"/>
                        <a:pt x="141" y="250"/>
                        <a:pt x="267" y="250"/>
                      </a:cubicBezTo>
                      <a:cubicBezTo>
                        <a:pt x="393" y="250"/>
                        <a:pt x="496" y="211"/>
                        <a:pt x="496" y="164"/>
                      </a:cubicBezTo>
                    </a:path>
                  </a:pathLst>
                </a:custGeom>
                <a:grpFill/>
                <a:ln w="12700">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a:gradFill>
                      <a:gsLst>
                        <a:gs pos="0">
                          <a:srgbClr val="FFFFFF"/>
                        </a:gs>
                        <a:gs pos="100000">
                          <a:srgbClr val="FFFFFF"/>
                        </a:gs>
                      </a:gsLst>
                      <a:lin ang="5400000" scaled="0"/>
                    </a:gradFill>
                    <a:latin typeface="Segoe UI"/>
                    <a:cs typeface="Segoe UI" pitchFamily="34" charset="0"/>
                  </a:endParaRPr>
                </a:p>
              </p:txBody>
            </p:sp>
            <p:grpSp>
              <p:nvGrpSpPr>
                <p:cNvPr id="747" name="Group 746">
                  <a:extLst>
                    <a:ext uri="{FF2B5EF4-FFF2-40B4-BE49-F238E27FC236}">
                      <a16:creationId xmlns:a16="http://schemas.microsoft.com/office/drawing/2014/main" id="{3E1694D3-4B48-4F01-A139-8D0B4118493D}"/>
                    </a:ext>
                  </a:extLst>
                </p:cNvPr>
                <p:cNvGrpSpPr/>
                <p:nvPr/>
              </p:nvGrpSpPr>
              <p:grpSpPr>
                <a:xfrm rot="16200000">
                  <a:off x="5024487" y="2652079"/>
                  <a:ext cx="76737" cy="144221"/>
                  <a:chOff x="2866921" y="3947319"/>
                  <a:chExt cx="103684" cy="194866"/>
                </a:xfrm>
                <a:grpFill/>
              </p:grpSpPr>
              <p:sp>
                <p:nvSpPr>
                  <p:cNvPr id="748" name="Oval 5">
                    <a:extLst>
                      <a:ext uri="{FF2B5EF4-FFF2-40B4-BE49-F238E27FC236}">
                        <a16:creationId xmlns:a16="http://schemas.microsoft.com/office/drawing/2014/main" id="{B396FCBF-875C-466D-8E33-FBAA5E442151}"/>
                      </a:ext>
                    </a:extLst>
                  </p:cNvPr>
                  <p:cNvSpPr/>
                  <p:nvPr/>
                </p:nvSpPr>
                <p:spPr bwMode="auto">
                  <a:xfrm>
                    <a:off x="2904207" y="3947319"/>
                    <a:ext cx="66398" cy="194866"/>
                  </a:xfrm>
                  <a:custGeom>
                    <a:avLst/>
                    <a:gdLst>
                      <a:gd name="connsiteX0" fmla="*/ 0 w 442913"/>
                      <a:gd name="connsiteY0" fmla="*/ 221457 h 442913"/>
                      <a:gd name="connsiteX1" fmla="*/ 221457 w 442913"/>
                      <a:gd name="connsiteY1" fmla="*/ 0 h 442913"/>
                      <a:gd name="connsiteX2" fmla="*/ 442914 w 442913"/>
                      <a:gd name="connsiteY2" fmla="*/ 221457 h 442913"/>
                      <a:gd name="connsiteX3" fmla="*/ 221457 w 442913"/>
                      <a:gd name="connsiteY3" fmla="*/ 442914 h 442913"/>
                      <a:gd name="connsiteX4" fmla="*/ 0 w 442913"/>
                      <a:gd name="connsiteY4" fmla="*/ 221457 h 442913"/>
                      <a:gd name="connsiteX0" fmla="*/ 0 w 442914"/>
                      <a:gd name="connsiteY0" fmla="*/ 221457 h 442914"/>
                      <a:gd name="connsiteX1" fmla="*/ 221457 w 442914"/>
                      <a:gd name="connsiteY1" fmla="*/ 0 h 442914"/>
                      <a:gd name="connsiteX2" fmla="*/ 442914 w 442914"/>
                      <a:gd name="connsiteY2" fmla="*/ 221457 h 442914"/>
                      <a:gd name="connsiteX3" fmla="*/ 221457 w 442914"/>
                      <a:gd name="connsiteY3" fmla="*/ 442914 h 442914"/>
                      <a:gd name="connsiteX4" fmla="*/ 91440 w 442914"/>
                      <a:gd name="connsiteY4" fmla="*/ 312897 h 442914"/>
                      <a:gd name="connsiteX0" fmla="*/ 165700 w 387157"/>
                      <a:gd name="connsiteY0" fmla="*/ 0 h 442914"/>
                      <a:gd name="connsiteX1" fmla="*/ 387157 w 387157"/>
                      <a:gd name="connsiteY1" fmla="*/ 221457 h 442914"/>
                      <a:gd name="connsiteX2" fmla="*/ 165700 w 387157"/>
                      <a:gd name="connsiteY2" fmla="*/ 442914 h 442914"/>
                      <a:gd name="connsiteX3" fmla="*/ 35683 w 387157"/>
                      <a:gd name="connsiteY3" fmla="*/ 312897 h 442914"/>
                      <a:gd name="connsiteX0" fmla="*/ 0 w 221457"/>
                      <a:gd name="connsiteY0" fmla="*/ 0 h 442914"/>
                      <a:gd name="connsiteX1" fmla="*/ 221457 w 221457"/>
                      <a:gd name="connsiteY1" fmla="*/ 221457 h 442914"/>
                      <a:gd name="connsiteX2" fmla="*/ 0 w 221457"/>
                      <a:gd name="connsiteY2" fmla="*/ 442914 h 442914"/>
                      <a:gd name="connsiteX0" fmla="*/ 0 w 221457"/>
                      <a:gd name="connsiteY0" fmla="*/ 0 h 221457"/>
                      <a:gd name="connsiteX1" fmla="*/ 221457 w 221457"/>
                      <a:gd name="connsiteY1" fmla="*/ 221457 h 221457"/>
                      <a:gd name="connsiteX0" fmla="*/ 0 w 73648"/>
                      <a:gd name="connsiteY0" fmla="*/ 0 h 482457"/>
                      <a:gd name="connsiteX1" fmla="*/ 55366 w 73648"/>
                      <a:gd name="connsiteY1" fmla="*/ 482457 h 482457"/>
                      <a:gd name="connsiteX0" fmla="*/ 0 w 122368"/>
                      <a:gd name="connsiteY0" fmla="*/ 0 h 482457"/>
                      <a:gd name="connsiteX1" fmla="*/ 55366 w 122368"/>
                      <a:gd name="connsiteY1" fmla="*/ 482457 h 482457"/>
                      <a:gd name="connsiteX0" fmla="*/ 0 w 102960"/>
                      <a:gd name="connsiteY0" fmla="*/ 0 h 482457"/>
                      <a:gd name="connsiteX1" fmla="*/ 23730 w 102960"/>
                      <a:gd name="connsiteY1" fmla="*/ 482457 h 482457"/>
                      <a:gd name="connsiteX0" fmla="*/ 0 w 133079"/>
                      <a:gd name="connsiteY0" fmla="*/ 0 h 500253"/>
                      <a:gd name="connsiteX1" fmla="*/ 71184 w 133079"/>
                      <a:gd name="connsiteY1" fmla="*/ 500253 h 500253"/>
                      <a:gd name="connsiteX0" fmla="*/ 0 w 162077"/>
                      <a:gd name="connsiteY0" fmla="*/ 0 h 500253"/>
                      <a:gd name="connsiteX1" fmla="*/ 71184 w 162077"/>
                      <a:gd name="connsiteY1" fmla="*/ 500253 h 500253"/>
                      <a:gd name="connsiteX0" fmla="*/ 0 w 141200"/>
                      <a:gd name="connsiteY0" fmla="*/ 0 h 485421"/>
                      <a:gd name="connsiteX1" fmla="*/ 29661 w 141200"/>
                      <a:gd name="connsiteY1" fmla="*/ 485421 h 485421"/>
                      <a:gd name="connsiteX0" fmla="*/ 0 w 165401"/>
                      <a:gd name="connsiteY0" fmla="*/ 0 h 485421"/>
                      <a:gd name="connsiteX1" fmla="*/ 29661 w 165401"/>
                      <a:gd name="connsiteY1" fmla="*/ 485421 h 485421"/>
                    </a:gdLst>
                    <a:ahLst/>
                    <a:cxnLst>
                      <a:cxn ang="0">
                        <a:pos x="connsiteX0" y="connsiteY0"/>
                      </a:cxn>
                      <a:cxn ang="0">
                        <a:pos x="connsiteX1" y="connsiteY1"/>
                      </a:cxn>
                    </a:cxnLst>
                    <a:rect l="l" t="t" r="r" b="b"/>
                    <a:pathLst>
                      <a:path w="165401" h="485421">
                        <a:moveTo>
                          <a:pt x="0" y="0"/>
                        </a:moveTo>
                        <a:cubicBezTo>
                          <a:pt x="217216" y="100840"/>
                          <a:pt x="213547" y="361138"/>
                          <a:pt x="29661" y="485421"/>
                        </a:cubicBezTo>
                      </a:path>
                    </a:pathLst>
                  </a:custGeom>
                  <a:grpFill/>
                  <a:ln w="1270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err="1">
                      <a:solidFill>
                        <a:srgbClr val="505050"/>
                      </a:solidFill>
                      <a:latin typeface="Segoe UI Semilight"/>
                    </a:endParaRPr>
                  </a:p>
                </p:txBody>
              </p:sp>
              <p:sp>
                <p:nvSpPr>
                  <p:cNvPr id="749" name="Oval 5">
                    <a:extLst>
                      <a:ext uri="{FF2B5EF4-FFF2-40B4-BE49-F238E27FC236}">
                        <a16:creationId xmlns:a16="http://schemas.microsoft.com/office/drawing/2014/main" id="{08BBF258-70B8-4F8D-A74F-03F4F413D352}"/>
                      </a:ext>
                    </a:extLst>
                  </p:cNvPr>
                  <p:cNvSpPr/>
                  <p:nvPr/>
                </p:nvSpPr>
                <p:spPr bwMode="auto">
                  <a:xfrm>
                    <a:off x="2866921" y="3977662"/>
                    <a:ext cx="45720" cy="134180"/>
                  </a:xfrm>
                  <a:custGeom>
                    <a:avLst/>
                    <a:gdLst>
                      <a:gd name="connsiteX0" fmla="*/ 0 w 442913"/>
                      <a:gd name="connsiteY0" fmla="*/ 221457 h 442913"/>
                      <a:gd name="connsiteX1" fmla="*/ 221457 w 442913"/>
                      <a:gd name="connsiteY1" fmla="*/ 0 h 442913"/>
                      <a:gd name="connsiteX2" fmla="*/ 442914 w 442913"/>
                      <a:gd name="connsiteY2" fmla="*/ 221457 h 442913"/>
                      <a:gd name="connsiteX3" fmla="*/ 221457 w 442913"/>
                      <a:gd name="connsiteY3" fmla="*/ 442914 h 442913"/>
                      <a:gd name="connsiteX4" fmla="*/ 0 w 442913"/>
                      <a:gd name="connsiteY4" fmla="*/ 221457 h 442913"/>
                      <a:gd name="connsiteX0" fmla="*/ 0 w 442914"/>
                      <a:gd name="connsiteY0" fmla="*/ 221457 h 442914"/>
                      <a:gd name="connsiteX1" fmla="*/ 221457 w 442914"/>
                      <a:gd name="connsiteY1" fmla="*/ 0 h 442914"/>
                      <a:gd name="connsiteX2" fmla="*/ 442914 w 442914"/>
                      <a:gd name="connsiteY2" fmla="*/ 221457 h 442914"/>
                      <a:gd name="connsiteX3" fmla="*/ 221457 w 442914"/>
                      <a:gd name="connsiteY3" fmla="*/ 442914 h 442914"/>
                      <a:gd name="connsiteX4" fmla="*/ 91440 w 442914"/>
                      <a:gd name="connsiteY4" fmla="*/ 312897 h 442914"/>
                      <a:gd name="connsiteX0" fmla="*/ 165700 w 387157"/>
                      <a:gd name="connsiteY0" fmla="*/ 0 h 442914"/>
                      <a:gd name="connsiteX1" fmla="*/ 387157 w 387157"/>
                      <a:gd name="connsiteY1" fmla="*/ 221457 h 442914"/>
                      <a:gd name="connsiteX2" fmla="*/ 165700 w 387157"/>
                      <a:gd name="connsiteY2" fmla="*/ 442914 h 442914"/>
                      <a:gd name="connsiteX3" fmla="*/ 35683 w 387157"/>
                      <a:gd name="connsiteY3" fmla="*/ 312897 h 442914"/>
                      <a:gd name="connsiteX0" fmla="*/ 0 w 221457"/>
                      <a:gd name="connsiteY0" fmla="*/ 0 h 442914"/>
                      <a:gd name="connsiteX1" fmla="*/ 221457 w 221457"/>
                      <a:gd name="connsiteY1" fmla="*/ 221457 h 442914"/>
                      <a:gd name="connsiteX2" fmla="*/ 0 w 221457"/>
                      <a:gd name="connsiteY2" fmla="*/ 442914 h 442914"/>
                      <a:gd name="connsiteX0" fmla="*/ 0 w 221457"/>
                      <a:gd name="connsiteY0" fmla="*/ 0 h 221457"/>
                      <a:gd name="connsiteX1" fmla="*/ 221457 w 221457"/>
                      <a:gd name="connsiteY1" fmla="*/ 221457 h 221457"/>
                      <a:gd name="connsiteX0" fmla="*/ 0 w 73648"/>
                      <a:gd name="connsiteY0" fmla="*/ 0 h 482457"/>
                      <a:gd name="connsiteX1" fmla="*/ 55366 w 73648"/>
                      <a:gd name="connsiteY1" fmla="*/ 482457 h 482457"/>
                      <a:gd name="connsiteX0" fmla="*/ 0 w 122368"/>
                      <a:gd name="connsiteY0" fmla="*/ 0 h 482457"/>
                      <a:gd name="connsiteX1" fmla="*/ 55366 w 122368"/>
                      <a:gd name="connsiteY1" fmla="*/ 482457 h 482457"/>
                      <a:gd name="connsiteX0" fmla="*/ 0 w 102960"/>
                      <a:gd name="connsiteY0" fmla="*/ 0 h 482457"/>
                      <a:gd name="connsiteX1" fmla="*/ 23730 w 102960"/>
                      <a:gd name="connsiteY1" fmla="*/ 482457 h 482457"/>
                      <a:gd name="connsiteX0" fmla="*/ 0 w 133079"/>
                      <a:gd name="connsiteY0" fmla="*/ 0 h 500253"/>
                      <a:gd name="connsiteX1" fmla="*/ 71184 w 133079"/>
                      <a:gd name="connsiteY1" fmla="*/ 500253 h 500253"/>
                      <a:gd name="connsiteX0" fmla="*/ 0 w 162077"/>
                      <a:gd name="connsiteY0" fmla="*/ 0 h 500253"/>
                      <a:gd name="connsiteX1" fmla="*/ 71184 w 162077"/>
                      <a:gd name="connsiteY1" fmla="*/ 500253 h 500253"/>
                      <a:gd name="connsiteX0" fmla="*/ 0 w 141200"/>
                      <a:gd name="connsiteY0" fmla="*/ 0 h 485421"/>
                      <a:gd name="connsiteX1" fmla="*/ 29661 w 141200"/>
                      <a:gd name="connsiteY1" fmla="*/ 485421 h 485421"/>
                      <a:gd name="connsiteX0" fmla="*/ 0 w 165401"/>
                      <a:gd name="connsiteY0" fmla="*/ 0 h 485421"/>
                      <a:gd name="connsiteX1" fmla="*/ 29661 w 165401"/>
                      <a:gd name="connsiteY1" fmla="*/ 485421 h 485421"/>
                    </a:gdLst>
                    <a:ahLst/>
                    <a:cxnLst>
                      <a:cxn ang="0">
                        <a:pos x="connsiteX0" y="connsiteY0"/>
                      </a:cxn>
                      <a:cxn ang="0">
                        <a:pos x="connsiteX1" y="connsiteY1"/>
                      </a:cxn>
                    </a:cxnLst>
                    <a:rect l="l" t="t" r="r" b="b"/>
                    <a:pathLst>
                      <a:path w="165401" h="485421">
                        <a:moveTo>
                          <a:pt x="0" y="0"/>
                        </a:moveTo>
                        <a:cubicBezTo>
                          <a:pt x="217216" y="100840"/>
                          <a:pt x="213547" y="361138"/>
                          <a:pt x="29661" y="485421"/>
                        </a:cubicBezTo>
                      </a:path>
                    </a:pathLst>
                  </a:custGeom>
                  <a:grpFill/>
                  <a:ln w="1270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defRPr/>
                    </a:pPr>
                    <a:endParaRPr lang="en-US" sz="1765" err="1">
                      <a:solidFill>
                        <a:srgbClr val="505050"/>
                      </a:solidFill>
                      <a:latin typeface="Segoe UI Semilight"/>
                    </a:endParaRPr>
                  </a:p>
                </p:txBody>
              </p:sp>
            </p:grpSp>
          </p:grpSp>
        </p:grpSp>
      </p:grpSp>
      <p:grpSp>
        <p:nvGrpSpPr>
          <p:cNvPr id="750" name="Group 749">
            <a:extLst>
              <a:ext uri="{FF2B5EF4-FFF2-40B4-BE49-F238E27FC236}">
                <a16:creationId xmlns:a16="http://schemas.microsoft.com/office/drawing/2014/main" id="{DF6791AC-73EB-4A51-BF83-06482428AE56}"/>
              </a:ext>
            </a:extLst>
          </p:cNvPr>
          <p:cNvGrpSpPr/>
          <p:nvPr/>
        </p:nvGrpSpPr>
        <p:grpSpPr>
          <a:xfrm>
            <a:off x="8031714" y="4856763"/>
            <a:ext cx="502920" cy="502920"/>
            <a:chOff x="8030437" y="4638049"/>
            <a:chExt cx="502920" cy="502920"/>
          </a:xfrm>
        </p:grpSpPr>
        <p:sp>
          <p:nvSpPr>
            <p:cNvPr id="751" name="Oval 750">
              <a:extLst>
                <a:ext uri="{FF2B5EF4-FFF2-40B4-BE49-F238E27FC236}">
                  <a16:creationId xmlns:a16="http://schemas.microsoft.com/office/drawing/2014/main" id="{F5C99976-A772-45A1-9A30-2E965020F435}"/>
                </a:ext>
              </a:extLst>
            </p:cNvPr>
            <p:cNvSpPr/>
            <p:nvPr/>
          </p:nvSpPr>
          <p:spPr bwMode="auto">
            <a:xfrm>
              <a:off x="8030437" y="4638049"/>
              <a:ext cx="502920" cy="50292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52" name="Group 4">
              <a:extLst>
                <a:ext uri="{FF2B5EF4-FFF2-40B4-BE49-F238E27FC236}">
                  <a16:creationId xmlns:a16="http://schemas.microsoft.com/office/drawing/2014/main" id="{A128DD40-C69A-488F-9FB9-C96D4A2DFCC8}"/>
                </a:ext>
              </a:extLst>
            </p:cNvPr>
            <p:cNvGrpSpPr>
              <a:grpSpLocks noChangeAspect="1"/>
            </p:cNvGrpSpPr>
            <p:nvPr/>
          </p:nvGrpSpPr>
          <p:grpSpPr bwMode="auto">
            <a:xfrm>
              <a:off x="8129498" y="4795725"/>
              <a:ext cx="304799" cy="187569"/>
              <a:chOff x="5597" y="3096"/>
              <a:chExt cx="546" cy="336"/>
            </a:xfrm>
          </p:grpSpPr>
          <p:sp>
            <p:nvSpPr>
              <p:cNvPr id="753" name="Rectangle 5">
                <a:extLst>
                  <a:ext uri="{FF2B5EF4-FFF2-40B4-BE49-F238E27FC236}">
                    <a16:creationId xmlns:a16="http://schemas.microsoft.com/office/drawing/2014/main" id="{EFB804F7-3F2F-4650-B164-2097AEF2DCA6}"/>
                  </a:ext>
                </a:extLst>
              </p:cNvPr>
              <p:cNvSpPr>
                <a:spLocks noChangeArrowheads="1"/>
              </p:cNvSpPr>
              <p:nvPr/>
            </p:nvSpPr>
            <p:spPr bwMode="auto">
              <a:xfrm>
                <a:off x="5597" y="3096"/>
                <a:ext cx="169" cy="336"/>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sp>
            <p:nvSpPr>
              <p:cNvPr id="754" name="Freeform 6">
                <a:extLst>
                  <a:ext uri="{FF2B5EF4-FFF2-40B4-BE49-F238E27FC236}">
                    <a16:creationId xmlns:a16="http://schemas.microsoft.com/office/drawing/2014/main" id="{D41C782C-8DAE-454A-904D-B71D96813402}"/>
                  </a:ext>
                </a:extLst>
              </p:cNvPr>
              <p:cNvSpPr>
                <a:spLocks/>
              </p:cNvSpPr>
              <p:nvPr/>
            </p:nvSpPr>
            <p:spPr bwMode="auto">
              <a:xfrm>
                <a:off x="5766" y="3337"/>
                <a:ext cx="80" cy="95"/>
              </a:xfrm>
              <a:custGeom>
                <a:avLst/>
                <a:gdLst>
                  <a:gd name="T0" fmla="*/ 80 w 80"/>
                  <a:gd name="T1" fmla="*/ 0 h 95"/>
                  <a:gd name="T2" fmla="*/ 80 w 80"/>
                  <a:gd name="T3" fmla="*/ 26 h 95"/>
                  <a:gd name="T4" fmla="*/ 0 w 80"/>
                  <a:gd name="T5" fmla="*/ 95 h 95"/>
                </a:gdLst>
                <a:ahLst/>
                <a:cxnLst>
                  <a:cxn ang="0">
                    <a:pos x="T0" y="T1"/>
                  </a:cxn>
                  <a:cxn ang="0">
                    <a:pos x="T2" y="T3"/>
                  </a:cxn>
                  <a:cxn ang="0">
                    <a:pos x="T4" y="T5"/>
                  </a:cxn>
                </a:cxnLst>
                <a:rect l="0" t="0" r="r" b="b"/>
                <a:pathLst>
                  <a:path w="80" h="95">
                    <a:moveTo>
                      <a:pt x="80" y="0"/>
                    </a:moveTo>
                    <a:lnTo>
                      <a:pt x="80" y="26"/>
                    </a:lnTo>
                    <a:lnTo>
                      <a:pt x="0" y="95"/>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sp>
            <p:nvSpPr>
              <p:cNvPr id="755" name="Freeform 7">
                <a:extLst>
                  <a:ext uri="{FF2B5EF4-FFF2-40B4-BE49-F238E27FC236}">
                    <a16:creationId xmlns:a16="http://schemas.microsoft.com/office/drawing/2014/main" id="{E142864A-DE3D-49F4-BA85-FA7B13EA79AF}"/>
                  </a:ext>
                </a:extLst>
              </p:cNvPr>
              <p:cNvSpPr>
                <a:spLocks/>
              </p:cNvSpPr>
              <p:nvPr/>
            </p:nvSpPr>
            <p:spPr bwMode="auto">
              <a:xfrm>
                <a:off x="5766" y="3096"/>
                <a:ext cx="80" cy="96"/>
              </a:xfrm>
              <a:custGeom>
                <a:avLst/>
                <a:gdLst>
                  <a:gd name="T0" fmla="*/ 0 w 80"/>
                  <a:gd name="T1" fmla="*/ 0 h 96"/>
                  <a:gd name="T2" fmla="*/ 80 w 80"/>
                  <a:gd name="T3" fmla="*/ 74 h 96"/>
                  <a:gd name="T4" fmla="*/ 80 w 80"/>
                  <a:gd name="T5" fmla="*/ 96 h 96"/>
                </a:gdLst>
                <a:ahLst/>
                <a:cxnLst>
                  <a:cxn ang="0">
                    <a:pos x="T0" y="T1"/>
                  </a:cxn>
                  <a:cxn ang="0">
                    <a:pos x="T2" y="T3"/>
                  </a:cxn>
                  <a:cxn ang="0">
                    <a:pos x="T4" y="T5"/>
                  </a:cxn>
                </a:cxnLst>
                <a:rect l="0" t="0" r="r" b="b"/>
                <a:pathLst>
                  <a:path w="80" h="96">
                    <a:moveTo>
                      <a:pt x="0" y="0"/>
                    </a:moveTo>
                    <a:lnTo>
                      <a:pt x="80" y="74"/>
                    </a:lnTo>
                    <a:lnTo>
                      <a:pt x="80" y="96"/>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sp>
            <p:nvSpPr>
              <p:cNvPr id="756" name="Line 8">
                <a:extLst>
                  <a:ext uri="{FF2B5EF4-FFF2-40B4-BE49-F238E27FC236}">
                    <a16:creationId xmlns:a16="http://schemas.microsoft.com/office/drawing/2014/main" id="{1AA8517F-1082-4ED7-9C5D-EADBD8A4B08B}"/>
                  </a:ext>
                </a:extLst>
              </p:cNvPr>
              <p:cNvSpPr>
                <a:spLocks noChangeShapeType="1"/>
              </p:cNvSpPr>
              <p:nvPr/>
            </p:nvSpPr>
            <p:spPr bwMode="auto">
              <a:xfrm>
                <a:off x="5597" y="3205"/>
                <a:ext cx="169"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sp>
            <p:nvSpPr>
              <p:cNvPr id="757" name="Line 9">
                <a:extLst>
                  <a:ext uri="{FF2B5EF4-FFF2-40B4-BE49-F238E27FC236}">
                    <a16:creationId xmlns:a16="http://schemas.microsoft.com/office/drawing/2014/main" id="{71E52844-37F6-41D8-8471-A32204957E23}"/>
                  </a:ext>
                </a:extLst>
              </p:cNvPr>
              <p:cNvSpPr>
                <a:spLocks noChangeShapeType="1"/>
              </p:cNvSpPr>
              <p:nvPr/>
            </p:nvSpPr>
            <p:spPr bwMode="auto">
              <a:xfrm>
                <a:off x="5597" y="3325"/>
                <a:ext cx="169"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sp>
            <p:nvSpPr>
              <p:cNvPr id="758" name="Rectangle 10">
                <a:extLst>
                  <a:ext uri="{FF2B5EF4-FFF2-40B4-BE49-F238E27FC236}">
                    <a16:creationId xmlns:a16="http://schemas.microsoft.com/office/drawing/2014/main" id="{954E232C-B06E-41B3-A329-B3221D164098}"/>
                  </a:ext>
                </a:extLst>
              </p:cNvPr>
              <p:cNvSpPr>
                <a:spLocks noChangeArrowheads="1"/>
              </p:cNvSpPr>
              <p:nvPr/>
            </p:nvSpPr>
            <p:spPr bwMode="auto">
              <a:xfrm>
                <a:off x="5974" y="3096"/>
                <a:ext cx="169" cy="336"/>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sp>
            <p:nvSpPr>
              <p:cNvPr id="759" name="Freeform 11">
                <a:extLst>
                  <a:ext uri="{FF2B5EF4-FFF2-40B4-BE49-F238E27FC236}">
                    <a16:creationId xmlns:a16="http://schemas.microsoft.com/office/drawing/2014/main" id="{5005AE34-C9A6-4FBD-BD9A-6989F6551BF4}"/>
                  </a:ext>
                </a:extLst>
              </p:cNvPr>
              <p:cNvSpPr>
                <a:spLocks/>
              </p:cNvSpPr>
              <p:nvPr/>
            </p:nvSpPr>
            <p:spPr bwMode="auto">
              <a:xfrm>
                <a:off x="5894" y="3336"/>
                <a:ext cx="80" cy="96"/>
              </a:xfrm>
              <a:custGeom>
                <a:avLst/>
                <a:gdLst>
                  <a:gd name="T0" fmla="*/ 0 w 80"/>
                  <a:gd name="T1" fmla="*/ 0 h 96"/>
                  <a:gd name="T2" fmla="*/ 0 w 80"/>
                  <a:gd name="T3" fmla="*/ 27 h 96"/>
                  <a:gd name="T4" fmla="*/ 80 w 80"/>
                  <a:gd name="T5" fmla="*/ 96 h 96"/>
                </a:gdLst>
                <a:ahLst/>
                <a:cxnLst>
                  <a:cxn ang="0">
                    <a:pos x="T0" y="T1"/>
                  </a:cxn>
                  <a:cxn ang="0">
                    <a:pos x="T2" y="T3"/>
                  </a:cxn>
                  <a:cxn ang="0">
                    <a:pos x="T4" y="T5"/>
                  </a:cxn>
                </a:cxnLst>
                <a:rect l="0" t="0" r="r" b="b"/>
                <a:pathLst>
                  <a:path w="80" h="96">
                    <a:moveTo>
                      <a:pt x="0" y="0"/>
                    </a:moveTo>
                    <a:lnTo>
                      <a:pt x="0" y="27"/>
                    </a:lnTo>
                    <a:lnTo>
                      <a:pt x="80" y="96"/>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sp>
            <p:nvSpPr>
              <p:cNvPr id="760" name="Freeform 12">
                <a:extLst>
                  <a:ext uri="{FF2B5EF4-FFF2-40B4-BE49-F238E27FC236}">
                    <a16:creationId xmlns:a16="http://schemas.microsoft.com/office/drawing/2014/main" id="{4E91FC67-C9F1-4F0E-9D60-BD9A0930831E}"/>
                  </a:ext>
                </a:extLst>
              </p:cNvPr>
              <p:cNvSpPr>
                <a:spLocks/>
              </p:cNvSpPr>
              <p:nvPr/>
            </p:nvSpPr>
            <p:spPr bwMode="auto">
              <a:xfrm>
                <a:off x="5894" y="3096"/>
                <a:ext cx="80" cy="94"/>
              </a:xfrm>
              <a:custGeom>
                <a:avLst/>
                <a:gdLst>
                  <a:gd name="T0" fmla="*/ 80 w 80"/>
                  <a:gd name="T1" fmla="*/ 0 h 94"/>
                  <a:gd name="T2" fmla="*/ 0 w 80"/>
                  <a:gd name="T3" fmla="*/ 74 h 94"/>
                  <a:gd name="T4" fmla="*/ 0 w 80"/>
                  <a:gd name="T5" fmla="*/ 94 h 94"/>
                </a:gdLst>
                <a:ahLst/>
                <a:cxnLst>
                  <a:cxn ang="0">
                    <a:pos x="T0" y="T1"/>
                  </a:cxn>
                  <a:cxn ang="0">
                    <a:pos x="T2" y="T3"/>
                  </a:cxn>
                  <a:cxn ang="0">
                    <a:pos x="T4" y="T5"/>
                  </a:cxn>
                </a:cxnLst>
                <a:rect l="0" t="0" r="r" b="b"/>
                <a:pathLst>
                  <a:path w="80" h="94">
                    <a:moveTo>
                      <a:pt x="80" y="0"/>
                    </a:moveTo>
                    <a:lnTo>
                      <a:pt x="0" y="74"/>
                    </a:lnTo>
                    <a:lnTo>
                      <a:pt x="0" y="9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sp>
            <p:nvSpPr>
              <p:cNvPr id="761" name="Line 13">
                <a:extLst>
                  <a:ext uri="{FF2B5EF4-FFF2-40B4-BE49-F238E27FC236}">
                    <a16:creationId xmlns:a16="http://schemas.microsoft.com/office/drawing/2014/main" id="{C1D55758-A83F-4890-85D1-01B7A37632FB}"/>
                  </a:ext>
                </a:extLst>
              </p:cNvPr>
              <p:cNvSpPr>
                <a:spLocks noChangeShapeType="1"/>
              </p:cNvSpPr>
              <p:nvPr/>
            </p:nvSpPr>
            <p:spPr bwMode="auto">
              <a:xfrm flipH="1">
                <a:off x="5974" y="3205"/>
                <a:ext cx="169"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sp>
            <p:nvSpPr>
              <p:cNvPr id="762" name="Line 14">
                <a:extLst>
                  <a:ext uri="{FF2B5EF4-FFF2-40B4-BE49-F238E27FC236}">
                    <a16:creationId xmlns:a16="http://schemas.microsoft.com/office/drawing/2014/main" id="{301F82BC-2858-40B6-A1C7-6FAD01239869}"/>
                  </a:ext>
                </a:extLst>
              </p:cNvPr>
              <p:cNvSpPr>
                <a:spLocks noChangeShapeType="1"/>
              </p:cNvSpPr>
              <p:nvPr/>
            </p:nvSpPr>
            <p:spPr bwMode="auto">
              <a:xfrm flipH="1">
                <a:off x="5974" y="3325"/>
                <a:ext cx="169"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sp>
            <p:nvSpPr>
              <p:cNvPr id="763" name="Freeform 15">
                <a:extLst>
                  <a:ext uri="{FF2B5EF4-FFF2-40B4-BE49-F238E27FC236}">
                    <a16:creationId xmlns:a16="http://schemas.microsoft.com/office/drawing/2014/main" id="{838ABCBF-7B49-4269-B8D0-8A8C620A8346}"/>
                  </a:ext>
                </a:extLst>
              </p:cNvPr>
              <p:cNvSpPr>
                <a:spLocks noEditPoints="1"/>
              </p:cNvSpPr>
              <p:nvPr/>
            </p:nvSpPr>
            <p:spPr bwMode="auto">
              <a:xfrm>
                <a:off x="5797" y="3207"/>
                <a:ext cx="146" cy="47"/>
              </a:xfrm>
              <a:custGeom>
                <a:avLst/>
                <a:gdLst>
                  <a:gd name="T0" fmla="*/ 0 w 196"/>
                  <a:gd name="T1" fmla="*/ 0 h 63"/>
                  <a:gd name="T2" fmla="*/ 0 w 196"/>
                  <a:gd name="T3" fmla="*/ 63 h 63"/>
                  <a:gd name="T4" fmla="*/ 118 w 196"/>
                  <a:gd name="T5" fmla="*/ 0 h 63"/>
                  <a:gd name="T6" fmla="*/ 118 w 196"/>
                  <a:gd name="T7" fmla="*/ 63 h 63"/>
                  <a:gd name="T8" fmla="*/ 79 w 196"/>
                  <a:gd name="T9" fmla="*/ 42 h 63"/>
                  <a:gd name="T10" fmla="*/ 79 w 196"/>
                  <a:gd name="T11" fmla="*/ 20 h 63"/>
                  <a:gd name="T12" fmla="*/ 59 w 196"/>
                  <a:gd name="T13" fmla="*/ 0 h 63"/>
                  <a:gd name="T14" fmla="*/ 59 w 196"/>
                  <a:gd name="T15" fmla="*/ 0 h 63"/>
                  <a:gd name="T16" fmla="*/ 38 w 196"/>
                  <a:gd name="T17" fmla="*/ 20 h 63"/>
                  <a:gd name="T18" fmla="*/ 38 w 196"/>
                  <a:gd name="T19" fmla="*/ 42 h 63"/>
                  <a:gd name="T20" fmla="*/ 59 w 196"/>
                  <a:gd name="T21" fmla="*/ 63 h 63"/>
                  <a:gd name="T22" fmla="*/ 59 w 196"/>
                  <a:gd name="T23" fmla="*/ 63 h 63"/>
                  <a:gd name="T24" fmla="*/ 79 w 196"/>
                  <a:gd name="T25" fmla="*/ 42 h 63"/>
                  <a:gd name="T26" fmla="*/ 196 w 196"/>
                  <a:gd name="T27" fmla="*/ 42 h 63"/>
                  <a:gd name="T28" fmla="*/ 196 w 196"/>
                  <a:gd name="T29" fmla="*/ 20 h 63"/>
                  <a:gd name="T30" fmla="*/ 175 w 196"/>
                  <a:gd name="T31" fmla="*/ 0 h 63"/>
                  <a:gd name="T32" fmla="*/ 175 w 196"/>
                  <a:gd name="T33" fmla="*/ 0 h 63"/>
                  <a:gd name="T34" fmla="*/ 156 w 196"/>
                  <a:gd name="T35" fmla="*/ 20 h 63"/>
                  <a:gd name="T36" fmla="*/ 156 w 196"/>
                  <a:gd name="T37" fmla="*/ 42 h 63"/>
                  <a:gd name="T38" fmla="*/ 175 w 196"/>
                  <a:gd name="T39" fmla="*/ 63 h 63"/>
                  <a:gd name="T40" fmla="*/ 175 w 196"/>
                  <a:gd name="T41" fmla="*/ 63 h 63"/>
                  <a:gd name="T42" fmla="*/ 196 w 196"/>
                  <a:gd name="T43" fmla="*/ 4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6" h="63">
                    <a:moveTo>
                      <a:pt x="0" y="0"/>
                    </a:moveTo>
                    <a:cubicBezTo>
                      <a:pt x="0" y="63"/>
                      <a:pt x="0" y="63"/>
                      <a:pt x="0" y="63"/>
                    </a:cubicBezTo>
                    <a:moveTo>
                      <a:pt x="118" y="0"/>
                    </a:moveTo>
                    <a:cubicBezTo>
                      <a:pt x="118" y="63"/>
                      <a:pt x="118" y="63"/>
                      <a:pt x="118" y="63"/>
                    </a:cubicBezTo>
                    <a:moveTo>
                      <a:pt x="79" y="42"/>
                    </a:moveTo>
                    <a:cubicBezTo>
                      <a:pt x="79" y="20"/>
                      <a:pt x="79" y="20"/>
                      <a:pt x="79" y="20"/>
                    </a:cubicBezTo>
                    <a:cubicBezTo>
                      <a:pt x="79" y="9"/>
                      <a:pt x="70" y="0"/>
                      <a:pt x="59" y="0"/>
                    </a:cubicBezTo>
                    <a:cubicBezTo>
                      <a:pt x="59" y="0"/>
                      <a:pt x="59" y="0"/>
                      <a:pt x="59" y="0"/>
                    </a:cubicBezTo>
                    <a:cubicBezTo>
                      <a:pt x="47" y="0"/>
                      <a:pt x="38" y="9"/>
                      <a:pt x="38" y="20"/>
                    </a:cubicBezTo>
                    <a:cubicBezTo>
                      <a:pt x="38" y="42"/>
                      <a:pt x="38" y="42"/>
                      <a:pt x="38" y="42"/>
                    </a:cubicBezTo>
                    <a:cubicBezTo>
                      <a:pt x="38" y="54"/>
                      <a:pt x="47" y="63"/>
                      <a:pt x="59" y="63"/>
                    </a:cubicBezTo>
                    <a:cubicBezTo>
                      <a:pt x="59" y="63"/>
                      <a:pt x="59" y="63"/>
                      <a:pt x="59" y="63"/>
                    </a:cubicBezTo>
                    <a:cubicBezTo>
                      <a:pt x="70" y="63"/>
                      <a:pt x="79" y="54"/>
                      <a:pt x="79" y="42"/>
                    </a:cubicBezTo>
                    <a:close/>
                    <a:moveTo>
                      <a:pt x="196" y="42"/>
                    </a:moveTo>
                    <a:cubicBezTo>
                      <a:pt x="196" y="20"/>
                      <a:pt x="196" y="20"/>
                      <a:pt x="196" y="20"/>
                    </a:cubicBezTo>
                    <a:cubicBezTo>
                      <a:pt x="196" y="9"/>
                      <a:pt x="187" y="0"/>
                      <a:pt x="175" y="0"/>
                    </a:cubicBezTo>
                    <a:cubicBezTo>
                      <a:pt x="175" y="0"/>
                      <a:pt x="175" y="0"/>
                      <a:pt x="175" y="0"/>
                    </a:cubicBezTo>
                    <a:cubicBezTo>
                      <a:pt x="165" y="0"/>
                      <a:pt x="156" y="9"/>
                      <a:pt x="156" y="20"/>
                    </a:cubicBezTo>
                    <a:cubicBezTo>
                      <a:pt x="156" y="42"/>
                      <a:pt x="156" y="42"/>
                      <a:pt x="156" y="42"/>
                    </a:cubicBezTo>
                    <a:cubicBezTo>
                      <a:pt x="156" y="54"/>
                      <a:pt x="165" y="63"/>
                      <a:pt x="175" y="63"/>
                    </a:cubicBezTo>
                    <a:cubicBezTo>
                      <a:pt x="175" y="63"/>
                      <a:pt x="175" y="63"/>
                      <a:pt x="175" y="63"/>
                    </a:cubicBezTo>
                    <a:cubicBezTo>
                      <a:pt x="187" y="63"/>
                      <a:pt x="196" y="54"/>
                      <a:pt x="196" y="42"/>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sp>
            <p:nvSpPr>
              <p:cNvPr id="764" name="Freeform 16">
                <a:extLst>
                  <a:ext uri="{FF2B5EF4-FFF2-40B4-BE49-F238E27FC236}">
                    <a16:creationId xmlns:a16="http://schemas.microsoft.com/office/drawing/2014/main" id="{E08A0AC3-6004-4F4E-882D-98441D856FA2}"/>
                  </a:ext>
                </a:extLst>
              </p:cNvPr>
              <p:cNvSpPr>
                <a:spLocks noEditPoints="1"/>
              </p:cNvSpPr>
              <p:nvPr/>
            </p:nvSpPr>
            <p:spPr bwMode="auto">
              <a:xfrm>
                <a:off x="5797" y="3278"/>
                <a:ext cx="146" cy="48"/>
              </a:xfrm>
              <a:custGeom>
                <a:avLst/>
                <a:gdLst>
                  <a:gd name="T0" fmla="*/ 196 w 196"/>
                  <a:gd name="T1" fmla="*/ 64 h 64"/>
                  <a:gd name="T2" fmla="*/ 196 w 196"/>
                  <a:gd name="T3" fmla="*/ 0 h 64"/>
                  <a:gd name="T4" fmla="*/ 79 w 196"/>
                  <a:gd name="T5" fmla="*/ 64 h 64"/>
                  <a:gd name="T6" fmla="*/ 79 w 196"/>
                  <a:gd name="T7" fmla="*/ 0 h 64"/>
                  <a:gd name="T8" fmla="*/ 118 w 196"/>
                  <a:gd name="T9" fmla="*/ 43 h 64"/>
                  <a:gd name="T10" fmla="*/ 138 w 196"/>
                  <a:gd name="T11" fmla="*/ 64 h 64"/>
                  <a:gd name="T12" fmla="*/ 138 w 196"/>
                  <a:gd name="T13" fmla="*/ 64 h 64"/>
                  <a:gd name="T14" fmla="*/ 158 w 196"/>
                  <a:gd name="T15" fmla="*/ 43 h 64"/>
                  <a:gd name="T16" fmla="*/ 158 w 196"/>
                  <a:gd name="T17" fmla="*/ 21 h 64"/>
                  <a:gd name="T18" fmla="*/ 138 w 196"/>
                  <a:gd name="T19" fmla="*/ 0 h 64"/>
                  <a:gd name="T20" fmla="*/ 138 w 196"/>
                  <a:gd name="T21" fmla="*/ 0 h 64"/>
                  <a:gd name="T22" fmla="*/ 118 w 196"/>
                  <a:gd name="T23" fmla="*/ 21 h 64"/>
                  <a:gd name="T24" fmla="*/ 118 w 196"/>
                  <a:gd name="T25" fmla="*/ 43 h 64"/>
                  <a:gd name="T26" fmla="*/ 0 w 196"/>
                  <a:gd name="T27" fmla="*/ 43 h 64"/>
                  <a:gd name="T28" fmla="*/ 20 w 196"/>
                  <a:gd name="T29" fmla="*/ 64 h 64"/>
                  <a:gd name="T30" fmla="*/ 20 w 196"/>
                  <a:gd name="T31" fmla="*/ 64 h 64"/>
                  <a:gd name="T32" fmla="*/ 41 w 196"/>
                  <a:gd name="T33" fmla="*/ 43 h 64"/>
                  <a:gd name="T34" fmla="*/ 41 w 196"/>
                  <a:gd name="T35" fmla="*/ 21 h 64"/>
                  <a:gd name="T36" fmla="*/ 20 w 196"/>
                  <a:gd name="T37" fmla="*/ 0 h 64"/>
                  <a:gd name="T38" fmla="*/ 20 w 196"/>
                  <a:gd name="T39" fmla="*/ 0 h 64"/>
                  <a:gd name="T40" fmla="*/ 0 w 196"/>
                  <a:gd name="T41" fmla="*/ 21 h 64"/>
                  <a:gd name="T42" fmla="*/ 0 w 196"/>
                  <a:gd name="T43"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6" h="64">
                    <a:moveTo>
                      <a:pt x="196" y="64"/>
                    </a:moveTo>
                    <a:cubicBezTo>
                      <a:pt x="196" y="64"/>
                      <a:pt x="196" y="64"/>
                      <a:pt x="196" y="0"/>
                    </a:cubicBezTo>
                    <a:moveTo>
                      <a:pt x="79" y="64"/>
                    </a:moveTo>
                    <a:cubicBezTo>
                      <a:pt x="79" y="64"/>
                      <a:pt x="79" y="64"/>
                      <a:pt x="79" y="0"/>
                    </a:cubicBezTo>
                    <a:moveTo>
                      <a:pt x="118" y="43"/>
                    </a:moveTo>
                    <a:cubicBezTo>
                      <a:pt x="118" y="54"/>
                      <a:pt x="127" y="64"/>
                      <a:pt x="138" y="64"/>
                    </a:cubicBezTo>
                    <a:cubicBezTo>
                      <a:pt x="138" y="64"/>
                      <a:pt x="138" y="64"/>
                      <a:pt x="138" y="64"/>
                    </a:cubicBezTo>
                    <a:cubicBezTo>
                      <a:pt x="149" y="64"/>
                      <a:pt x="158" y="54"/>
                      <a:pt x="158" y="43"/>
                    </a:cubicBezTo>
                    <a:cubicBezTo>
                      <a:pt x="158" y="43"/>
                      <a:pt x="158" y="43"/>
                      <a:pt x="158" y="21"/>
                    </a:cubicBezTo>
                    <a:cubicBezTo>
                      <a:pt x="158" y="9"/>
                      <a:pt x="149" y="0"/>
                      <a:pt x="138" y="0"/>
                    </a:cubicBezTo>
                    <a:cubicBezTo>
                      <a:pt x="138" y="0"/>
                      <a:pt x="138" y="0"/>
                      <a:pt x="138" y="0"/>
                    </a:cubicBezTo>
                    <a:cubicBezTo>
                      <a:pt x="127" y="0"/>
                      <a:pt x="118" y="9"/>
                      <a:pt x="118" y="21"/>
                    </a:cubicBezTo>
                    <a:cubicBezTo>
                      <a:pt x="118" y="21"/>
                      <a:pt x="118" y="21"/>
                      <a:pt x="118" y="43"/>
                    </a:cubicBezTo>
                    <a:close/>
                    <a:moveTo>
                      <a:pt x="0" y="43"/>
                    </a:moveTo>
                    <a:cubicBezTo>
                      <a:pt x="0" y="54"/>
                      <a:pt x="10" y="64"/>
                      <a:pt x="20" y="64"/>
                    </a:cubicBezTo>
                    <a:cubicBezTo>
                      <a:pt x="20" y="64"/>
                      <a:pt x="20" y="64"/>
                      <a:pt x="20" y="64"/>
                    </a:cubicBezTo>
                    <a:cubicBezTo>
                      <a:pt x="32" y="64"/>
                      <a:pt x="41" y="54"/>
                      <a:pt x="41" y="43"/>
                    </a:cubicBezTo>
                    <a:cubicBezTo>
                      <a:pt x="41" y="43"/>
                      <a:pt x="41" y="43"/>
                      <a:pt x="41" y="21"/>
                    </a:cubicBezTo>
                    <a:cubicBezTo>
                      <a:pt x="41" y="9"/>
                      <a:pt x="32" y="0"/>
                      <a:pt x="20" y="0"/>
                    </a:cubicBezTo>
                    <a:cubicBezTo>
                      <a:pt x="20" y="0"/>
                      <a:pt x="20" y="0"/>
                      <a:pt x="20" y="0"/>
                    </a:cubicBezTo>
                    <a:cubicBezTo>
                      <a:pt x="10" y="0"/>
                      <a:pt x="0" y="9"/>
                      <a:pt x="0" y="21"/>
                    </a:cubicBezTo>
                    <a:cubicBezTo>
                      <a:pt x="0" y="21"/>
                      <a:pt x="0" y="21"/>
                      <a:pt x="0" y="43"/>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Semilight"/>
                </a:endParaRPr>
              </a:p>
            </p:txBody>
          </p:sp>
        </p:grpSp>
      </p:grpSp>
      <p:grpSp>
        <p:nvGrpSpPr>
          <p:cNvPr id="328" name="Group 327">
            <a:extLst>
              <a:ext uri="{FF2B5EF4-FFF2-40B4-BE49-F238E27FC236}">
                <a16:creationId xmlns:a16="http://schemas.microsoft.com/office/drawing/2014/main" id="{1094CF59-C396-4A06-BFA8-76C0F779AC50}"/>
              </a:ext>
            </a:extLst>
          </p:cNvPr>
          <p:cNvGrpSpPr/>
          <p:nvPr/>
        </p:nvGrpSpPr>
        <p:grpSpPr>
          <a:xfrm>
            <a:off x="4769509" y="2531830"/>
            <a:ext cx="2695168" cy="2578724"/>
            <a:chOff x="6423231" y="2630244"/>
            <a:chExt cx="3987098" cy="3987098"/>
          </a:xfrm>
          <a:solidFill>
            <a:srgbClr val="0078D7"/>
          </a:solidFill>
        </p:grpSpPr>
        <p:sp>
          <p:nvSpPr>
            <p:cNvPr id="329" name="Freeform: Shape 962">
              <a:extLst>
                <a:ext uri="{FF2B5EF4-FFF2-40B4-BE49-F238E27FC236}">
                  <a16:creationId xmlns:a16="http://schemas.microsoft.com/office/drawing/2014/main" id="{DF067548-576F-49F2-BF44-072EA986572A}"/>
                </a:ext>
              </a:extLst>
            </p:cNvPr>
            <p:cNvSpPr/>
            <p:nvPr/>
          </p:nvSpPr>
          <p:spPr>
            <a:xfrm>
              <a:off x="6423231" y="2630244"/>
              <a:ext cx="3987098" cy="3987098"/>
            </a:xfrm>
            <a:prstGeom prst="ellipse">
              <a:avLst/>
            </a:prstGeom>
            <a:solidFill>
              <a:srgbClr val="F3F3F3"/>
            </a:solidFill>
            <a:ln w="12700" cap="flat" cmpd="sng" algn="ctr">
              <a:solidFill>
                <a:srgbClr val="FFFFFF">
                  <a:lumMod val="50000"/>
                </a:srgbClr>
              </a:solid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330" name="Freeform: Shape 260">
              <a:extLst>
                <a:ext uri="{FF2B5EF4-FFF2-40B4-BE49-F238E27FC236}">
                  <a16:creationId xmlns:a16="http://schemas.microsoft.com/office/drawing/2014/main" id="{7F91B63F-79DA-4D39-9436-F09444F67EEA}"/>
                </a:ext>
              </a:extLst>
            </p:cNvPr>
            <p:cNvSpPr>
              <a:spLocks/>
            </p:cNvSpPr>
            <p:nvPr/>
          </p:nvSpPr>
          <p:spPr bwMode="auto">
            <a:xfrm>
              <a:off x="6545835" y="2829815"/>
              <a:ext cx="3862373" cy="3682908"/>
            </a:xfrm>
            <a:custGeom>
              <a:avLst/>
              <a:gdLst>
                <a:gd name="connsiteX0" fmla="*/ 1142662 w 3862373"/>
                <a:gd name="connsiteY0" fmla="*/ 3605757 h 3682908"/>
                <a:gd name="connsiteX1" fmla="*/ 1181749 w 3862373"/>
                <a:gd name="connsiteY1" fmla="*/ 3644844 h 3682908"/>
                <a:gd name="connsiteX2" fmla="*/ 1175073 w 3862373"/>
                <a:gd name="connsiteY2" fmla="*/ 3660960 h 3682908"/>
                <a:gd name="connsiteX3" fmla="*/ 1107191 w 3862373"/>
                <a:gd name="connsiteY3" fmla="*/ 3636115 h 3682908"/>
                <a:gd name="connsiteX4" fmla="*/ 1115023 w 3862373"/>
                <a:gd name="connsiteY4" fmla="*/ 3617205 h 3682908"/>
                <a:gd name="connsiteX5" fmla="*/ 1142662 w 3862373"/>
                <a:gd name="connsiteY5" fmla="*/ 3605757 h 3682908"/>
                <a:gd name="connsiteX6" fmla="*/ 1232571 w 3862373"/>
                <a:gd name="connsiteY6" fmla="*/ 3605756 h 3682908"/>
                <a:gd name="connsiteX7" fmla="*/ 1271658 w 3862373"/>
                <a:gd name="connsiteY7" fmla="*/ 3644843 h 3682908"/>
                <a:gd name="connsiteX8" fmla="*/ 1260210 w 3862373"/>
                <a:gd name="connsiteY8" fmla="*/ 3672482 h 3682908"/>
                <a:gd name="connsiteX9" fmla="*/ 1235039 w 3862373"/>
                <a:gd name="connsiteY9" fmla="*/ 3682908 h 3682908"/>
                <a:gd name="connsiteX10" fmla="*/ 1204643 w 3862373"/>
                <a:gd name="connsiteY10" fmla="*/ 3671783 h 3682908"/>
                <a:gd name="connsiteX11" fmla="*/ 1193484 w 3862373"/>
                <a:gd name="connsiteY11" fmla="*/ 3644843 h 3682908"/>
                <a:gd name="connsiteX12" fmla="*/ 1232571 w 3862373"/>
                <a:gd name="connsiteY12" fmla="*/ 3605756 h 3682908"/>
                <a:gd name="connsiteX13" fmla="*/ 1232571 w 3862373"/>
                <a:gd name="connsiteY13" fmla="*/ 3520580 h 3682908"/>
                <a:gd name="connsiteX14" fmla="*/ 1271658 w 3862373"/>
                <a:gd name="connsiteY14" fmla="*/ 3559667 h 3682908"/>
                <a:gd name="connsiteX15" fmla="*/ 1232571 w 3862373"/>
                <a:gd name="connsiteY15" fmla="*/ 3598754 h 3682908"/>
                <a:gd name="connsiteX16" fmla="*/ 1193484 w 3862373"/>
                <a:gd name="connsiteY16" fmla="*/ 3559667 h 3682908"/>
                <a:gd name="connsiteX17" fmla="*/ 1232571 w 3862373"/>
                <a:gd name="connsiteY17" fmla="*/ 3520580 h 3682908"/>
                <a:gd name="connsiteX18" fmla="*/ 1142662 w 3862373"/>
                <a:gd name="connsiteY18" fmla="*/ 3520580 h 3682908"/>
                <a:gd name="connsiteX19" fmla="*/ 1181749 w 3862373"/>
                <a:gd name="connsiteY19" fmla="*/ 3559667 h 3682908"/>
                <a:gd name="connsiteX20" fmla="*/ 1142662 w 3862373"/>
                <a:gd name="connsiteY20" fmla="*/ 3598754 h 3682908"/>
                <a:gd name="connsiteX21" fmla="*/ 1103575 w 3862373"/>
                <a:gd name="connsiteY21" fmla="*/ 3559667 h 3682908"/>
                <a:gd name="connsiteX22" fmla="*/ 1142662 w 3862373"/>
                <a:gd name="connsiteY22" fmla="*/ 3520580 h 3682908"/>
                <a:gd name="connsiteX23" fmla="*/ 1232572 w 3862373"/>
                <a:gd name="connsiteY23" fmla="*/ 3435404 h 3682908"/>
                <a:gd name="connsiteX24" fmla="*/ 1271659 w 3862373"/>
                <a:gd name="connsiteY24" fmla="*/ 3474491 h 3682908"/>
                <a:gd name="connsiteX25" fmla="*/ 1232572 w 3862373"/>
                <a:gd name="connsiteY25" fmla="*/ 3513578 h 3682908"/>
                <a:gd name="connsiteX26" fmla="*/ 1193485 w 3862373"/>
                <a:gd name="connsiteY26" fmla="*/ 3474491 h 3682908"/>
                <a:gd name="connsiteX27" fmla="*/ 1232572 w 3862373"/>
                <a:gd name="connsiteY27" fmla="*/ 3435404 h 3682908"/>
                <a:gd name="connsiteX28" fmla="*/ 1142662 w 3862373"/>
                <a:gd name="connsiteY28" fmla="*/ 3435404 h 3682908"/>
                <a:gd name="connsiteX29" fmla="*/ 1181749 w 3862373"/>
                <a:gd name="connsiteY29" fmla="*/ 3474491 h 3682908"/>
                <a:gd name="connsiteX30" fmla="*/ 1142662 w 3862373"/>
                <a:gd name="connsiteY30" fmla="*/ 3513578 h 3682908"/>
                <a:gd name="connsiteX31" fmla="*/ 1103575 w 3862373"/>
                <a:gd name="connsiteY31" fmla="*/ 3474491 h 3682908"/>
                <a:gd name="connsiteX32" fmla="*/ 1142662 w 3862373"/>
                <a:gd name="connsiteY32" fmla="*/ 3435404 h 3682908"/>
                <a:gd name="connsiteX33" fmla="*/ 1329578 w 3862373"/>
                <a:gd name="connsiteY33" fmla="*/ 3347862 h 3682908"/>
                <a:gd name="connsiteX34" fmla="*/ 1368665 w 3862373"/>
                <a:gd name="connsiteY34" fmla="*/ 3386950 h 3682908"/>
                <a:gd name="connsiteX35" fmla="*/ 1329578 w 3862373"/>
                <a:gd name="connsiteY35" fmla="*/ 3426037 h 3682908"/>
                <a:gd name="connsiteX36" fmla="*/ 1290490 w 3862373"/>
                <a:gd name="connsiteY36" fmla="*/ 3386950 h 3682908"/>
                <a:gd name="connsiteX37" fmla="*/ 1329578 w 3862373"/>
                <a:gd name="connsiteY37" fmla="*/ 3347862 h 3682908"/>
                <a:gd name="connsiteX38" fmla="*/ 1142664 w 3862373"/>
                <a:gd name="connsiteY38" fmla="*/ 3347862 h 3682908"/>
                <a:gd name="connsiteX39" fmla="*/ 1181751 w 3862373"/>
                <a:gd name="connsiteY39" fmla="*/ 3386950 h 3682908"/>
                <a:gd name="connsiteX40" fmla="*/ 1142664 w 3862373"/>
                <a:gd name="connsiteY40" fmla="*/ 3426037 h 3682908"/>
                <a:gd name="connsiteX41" fmla="*/ 1103576 w 3862373"/>
                <a:gd name="connsiteY41" fmla="*/ 3386950 h 3682908"/>
                <a:gd name="connsiteX42" fmla="*/ 1142664 w 3862373"/>
                <a:gd name="connsiteY42" fmla="*/ 3347862 h 3682908"/>
                <a:gd name="connsiteX43" fmla="*/ 1232572 w 3862373"/>
                <a:gd name="connsiteY43" fmla="*/ 3347861 h 3682908"/>
                <a:gd name="connsiteX44" fmla="*/ 1271660 w 3862373"/>
                <a:gd name="connsiteY44" fmla="*/ 3386948 h 3682908"/>
                <a:gd name="connsiteX45" fmla="*/ 1232572 w 3862373"/>
                <a:gd name="connsiteY45" fmla="*/ 3426035 h 3682908"/>
                <a:gd name="connsiteX46" fmla="*/ 1193485 w 3862373"/>
                <a:gd name="connsiteY46" fmla="*/ 3386948 h 3682908"/>
                <a:gd name="connsiteX47" fmla="*/ 1232572 w 3862373"/>
                <a:gd name="connsiteY47" fmla="*/ 3347861 h 3682908"/>
                <a:gd name="connsiteX48" fmla="*/ 2924263 w 3862373"/>
                <a:gd name="connsiteY48" fmla="*/ 3265052 h 3682908"/>
                <a:gd name="connsiteX49" fmla="*/ 2963349 w 3862373"/>
                <a:gd name="connsiteY49" fmla="*/ 3304139 h 3682908"/>
                <a:gd name="connsiteX50" fmla="*/ 2924263 w 3862373"/>
                <a:gd name="connsiteY50" fmla="*/ 3343226 h 3682908"/>
                <a:gd name="connsiteX51" fmla="*/ 2885175 w 3862373"/>
                <a:gd name="connsiteY51" fmla="*/ 3304139 h 3682908"/>
                <a:gd name="connsiteX52" fmla="*/ 2924263 w 3862373"/>
                <a:gd name="connsiteY52" fmla="*/ 3265052 h 3682908"/>
                <a:gd name="connsiteX53" fmla="*/ 1419487 w 3862373"/>
                <a:gd name="connsiteY53" fmla="*/ 3265052 h 3682908"/>
                <a:gd name="connsiteX54" fmla="*/ 1458574 w 3862373"/>
                <a:gd name="connsiteY54" fmla="*/ 3304139 h 3682908"/>
                <a:gd name="connsiteX55" fmla="*/ 1419487 w 3862373"/>
                <a:gd name="connsiteY55" fmla="*/ 3343226 h 3682908"/>
                <a:gd name="connsiteX56" fmla="*/ 1380399 w 3862373"/>
                <a:gd name="connsiteY56" fmla="*/ 3304139 h 3682908"/>
                <a:gd name="connsiteX57" fmla="*/ 1419487 w 3862373"/>
                <a:gd name="connsiteY57" fmla="*/ 3265052 h 3682908"/>
                <a:gd name="connsiteX58" fmla="*/ 1329578 w 3862373"/>
                <a:gd name="connsiteY58" fmla="*/ 3265052 h 3682908"/>
                <a:gd name="connsiteX59" fmla="*/ 1368666 w 3862373"/>
                <a:gd name="connsiteY59" fmla="*/ 3304139 h 3682908"/>
                <a:gd name="connsiteX60" fmla="*/ 1329578 w 3862373"/>
                <a:gd name="connsiteY60" fmla="*/ 3343226 h 3682908"/>
                <a:gd name="connsiteX61" fmla="*/ 1290491 w 3862373"/>
                <a:gd name="connsiteY61" fmla="*/ 3304139 h 3682908"/>
                <a:gd name="connsiteX62" fmla="*/ 1329578 w 3862373"/>
                <a:gd name="connsiteY62" fmla="*/ 3265052 h 3682908"/>
                <a:gd name="connsiteX63" fmla="*/ 1232574 w 3862373"/>
                <a:gd name="connsiteY63" fmla="*/ 3265052 h 3682908"/>
                <a:gd name="connsiteX64" fmla="*/ 1271661 w 3862373"/>
                <a:gd name="connsiteY64" fmla="*/ 3304139 h 3682908"/>
                <a:gd name="connsiteX65" fmla="*/ 1232574 w 3862373"/>
                <a:gd name="connsiteY65" fmla="*/ 3343226 h 3682908"/>
                <a:gd name="connsiteX66" fmla="*/ 1193487 w 3862373"/>
                <a:gd name="connsiteY66" fmla="*/ 3304139 h 3682908"/>
                <a:gd name="connsiteX67" fmla="*/ 1232574 w 3862373"/>
                <a:gd name="connsiteY67" fmla="*/ 3265052 h 3682908"/>
                <a:gd name="connsiteX68" fmla="*/ 1142665 w 3862373"/>
                <a:gd name="connsiteY68" fmla="*/ 3265052 h 3682908"/>
                <a:gd name="connsiteX69" fmla="*/ 1181752 w 3862373"/>
                <a:gd name="connsiteY69" fmla="*/ 3304139 h 3682908"/>
                <a:gd name="connsiteX70" fmla="*/ 1142665 w 3862373"/>
                <a:gd name="connsiteY70" fmla="*/ 3343226 h 3682908"/>
                <a:gd name="connsiteX71" fmla="*/ 1103578 w 3862373"/>
                <a:gd name="connsiteY71" fmla="*/ 3304139 h 3682908"/>
                <a:gd name="connsiteX72" fmla="*/ 1142665 w 3862373"/>
                <a:gd name="connsiteY72" fmla="*/ 3265052 h 3682908"/>
                <a:gd name="connsiteX73" fmla="*/ 3111177 w 3862373"/>
                <a:gd name="connsiteY73" fmla="*/ 3177510 h 3682908"/>
                <a:gd name="connsiteX74" fmla="*/ 3150264 w 3862373"/>
                <a:gd name="connsiteY74" fmla="*/ 3216597 h 3682908"/>
                <a:gd name="connsiteX75" fmla="*/ 3111177 w 3862373"/>
                <a:gd name="connsiteY75" fmla="*/ 3255684 h 3682908"/>
                <a:gd name="connsiteX76" fmla="*/ 3072089 w 3862373"/>
                <a:gd name="connsiteY76" fmla="*/ 3216597 h 3682908"/>
                <a:gd name="connsiteX77" fmla="*/ 3111177 w 3862373"/>
                <a:gd name="connsiteY77" fmla="*/ 3177510 h 3682908"/>
                <a:gd name="connsiteX78" fmla="*/ 3018903 w 3862373"/>
                <a:gd name="connsiteY78" fmla="*/ 3177510 h 3682908"/>
                <a:gd name="connsiteX79" fmla="*/ 3057989 w 3862373"/>
                <a:gd name="connsiteY79" fmla="*/ 3216597 h 3682908"/>
                <a:gd name="connsiteX80" fmla="*/ 3018903 w 3862373"/>
                <a:gd name="connsiteY80" fmla="*/ 3255684 h 3682908"/>
                <a:gd name="connsiteX81" fmla="*/ 2979815 w 3862373"/>
                <a:gd name="connsiteY81" fmla="*/ 3216597 h 3682908"/>
                <a:gd name="connsiteX82" fmla="*/ 3018903 w 3862373"/>
                <a:gd name="connsiteY82" fmla="*/ 3177510 h 3682908"/>
                <a:gd name="connsiteX83" fmla="*/ 1516493 w 3862373"/>
                <a:gd name="connsiteY83" fmla="*/ 3177510 h 3682908"/>
                <a:gd name="connsiteX84" fmla="*/ 1555581 w 3862373"/>
                <a:gd name="connsiteY84" fmla="*/ 3216597 h 3682908"/>
                <a:gd name="connsiteX85" fmla="*/ 1516493 w 3862373"/>
                <a:gd name="connsiteY85" fmla="*/ 3255684 h 3682908"/>
                <a:gd name="connsiteX86" fmla="*/ 1477406 w 3862373"/>
                <a:gd name="connsiteY86" fmla="*/ 3216597 h 3682908"/>
                <a:gd name="connsiteX87" fmla="*/ 1516493 w 3862373"/>
                <a:gd name="connsiteY87" fmla="*/ 3177510 h 3682908"/>
                <a:gd name="connsiteX88" fmla="*/ 1329579 w 3862373"/>
                <a:gd name="connsiteY88" fmla="*/ 3177510 h 3682908"/>
                <a:gd name="connsiteX89" fmla="*/ 1368667 w 3862373"/>
                <a:gd name="connsiteY89" fmla="*/ 3216597 h 3682908"/>
                <a:gd name="connsiteX90" fmla="*/ 1329579 w 3862373"/>
                <a:gd name="connsiteY90" fmla="*/ 3255684 h 3682908"/>
                <a:gd name="connsiteX91" fmla="*/ 1290493 w 3862373"/>
                <a:gd name="connsiteY91" fmla="*/ 3216597 h 3682908"/>
                <a:gd name="connsiteX92" fmla="*/ 1329579 w 3862373"/>
                <a:gd name="connsiteY92" fmla="*/ 3177510 h 3682908"/>
                <a:gd name="connsiteX93" fmla="*/ 1142666 w 3862373"/>
                <a:gd name="connsiteY93" fmla="*/ 3177510 h 3682908"/>
                <a:gd name="connsiteX94" fmla="*/ 1181753 w 3862373"/>
                <a:gd name="connsiteY94" fmla="*/ 3216597 h 3682908"/>
                <a:gd name="connsiteX95" fmla="*/ 1142666 w 3862373"/>
                <a:gd name="connsiteY95" fmla="*/ 3255684 h 3682908"/>
                <a:gd name="connsiteX96" fmla="*/ 1103578 w 3862373"/>
                <a:gd name="connsiteY96" fmla="*/ 3216597 h 3682908"/>
                <a:gd name="connsiteX97" fmla="*/ 1142666 w 3862373"/>
                <a:gd name="connsiteY97" fmla="*/ 3177510 h 3682908"/>
                <a:gd name="connsiteX98" fmla="*/ 2924263 w 3862373"/>
                <a:gd name="connsiteY98" fmla="*/ 3177510 h 3682908"/>
                <a:gd name="connsiteX99" fmla="*/ 2963349 w 3862373"/>
                <a:gd name="connsiteY99" fmla="*/ 3216597 h 3682908"/>
                <a:gd name="connsiteX100" fmla="*/ 2924263 w 3862373"/>
                <a:gd name="connsiteY100" fmla="*/ 3255684 h 3682908"/>
                <a:gd name="connsiteX101" fmla="*/ 2885175 w 3862373"/>
                <a:gd name="connsiteY101" fmla="*/ 3216597 h 3682908"/>
                <a:gd name="connsiteX102" fmla="*/ 2924263 w 3862373"/>
                <a:gd name="connsiteY102" fmla="*/ 3177510 h 3682908"/>
                <a:gd name="connsiteX103" fmla="*/ 1419488 w 3862373"/>
                <a:gd name="connsiteY103" fmla="*/ 3177510 h 3682908"/>
                <a:gd name="connsiteX104" fmla="*/ 1458575 w 3862373"/>
                <a:gd name="connsiteY104" fmla="*/ 3216597 h 3682908"/>
                <a:gd name="connsiteX105" fmla="*/ 1419488 w 3862373"/>
                <a:gd name="connsiteY105" fmla="*/ 3255684 h 3682908"/>
                <a:gd name="connsiteX106" fmla="*/ 1380401 w 3862373"/>
                <a:gd name="connsiteY106" fmla="*/ 3216597 h 3682908"/>
                <a:gd name="connsiteX107" fmla="*/ 1419488 w 3862373"/>
                <a:gd name="connsiteY107" fmla="*/ 3177510 h 3682908"/>
                <a:gd name="connsiteX108" fmla="*/ 1232575 w 3862373"/>
                <a:gd name="connsiteY108" fmla="*/ 3177510 h 3682908"/>
                <a:gd name="connsiteX109" fmla="*/ 1271661 w 3862373"/>
                <a:gd name="connsiteY109" fmla="*/ 3216597 h 3682908"/>
                <a:gd name="connsiteX110" fmla="*/ 1232575 w 3862373"/>
                <a:gd name="connsiteY110" fmla="*/ 3255684 h 3682908"/>
                <a:gd name="connsiteX111" fmla="*/ 1193488 w 3862373"/>
                <a:gd name="connsiteY111" fmla="*/ 3216597 h 3682908"/>
                <a:gd name="connsiteX112" fmla="*/ 1232575 w 3862373"/>
                <a:gd name="connsiteY112" fmla="*/ 3177510 h 3682908"/>
                <a:gd name="connsiteX113" fmla="*/ 3111177 w 3862373"/>
                <a:gd name="connsiteY113" fmla="*/ 3092334 h 3682908"/>
                <a:gd name="connsiteX114" fmla="*/ 3150264 w 3862373"/>
                <a:gd name="connsiteY114" fmla="*/ 3131421 h 3682908"/>
                <a:gd name="connsiteX115" fmla="*/ 3111177 w 3862373"/>
                <a:gd name="connsiteY115" fmla="*/ 3170508 h 3682908"/>
                <a:gd name="connsiteX116" fmla="*/ 3072089 w 3862373"/>
                <a:gd name="connsiteY116" fmla="*/ 3131421 h 3682908"/>
                <a:gd name="connsiteX117" fmla="*/ 3111177 w 3862373"/>
                <a:gd name="connsiteY117" fmla="*/ 3092334 h 3682908"/>
                <a:gd name="connsiteX118" fmla="*/ 3018903 w 3862373"/>
                <a:gd name="connsiteY118" fmla="*/ 3092334 h 3682908"/>
                <a:gd name="connsiteX119" fmla="*/ 3057989 w 3862373"/>
                <a:gd name="connsiteY119" fmla="*/ 3131421 h 3682908"/>
                <a:gd name="connsiteX120" fmla="*/ 3018903 w 3862373"/>
                <a:gd name="connsiteY120" fmla="*/ 3170508 h 3682908"/>
                <a:gd name="connsiteX121" fmla="*/ 2979815 w 3862373"/>
                <a:gd name="connsiteY121" fmla="*/ 3131421 h 3682908"/>
                <a:gd name="connsiteX122" fmla="*/ 3018903 w 3862373"/>
                <a:gd name="connsiteY122" fmla="*/ 3092334 h 3682908"/>
                <a:gd name="connsiteX123" fmla="*/ 2831988 w 3862373"/>
                <a:gd name="connsiteY123" fmla="*/ 3092334 h 3682908"/>
                <a:gd name="connsiteX124" fmla="*/ 2871075 w 3862373"/>
                <a:gd name="connsiteY124" fmla="*/ 3131421 h 3682908"/>
                <a:gd name="connsiteX125" fmla="*/ 2831988 w 3862373"/>
                <a:gd name="connsiteY125" fmla="*/ 3170508 h 3682908"/>
                <a:gd name="connsiteX126" fmla="*/ 2792901 w 3862373"/>
                <a:gd name="connsiteY126" fmla="*/ 3131421 h 3682908"/>
                <a:gd name="connsiteX127" fmla="*/ 2831988 w 3862373"/>
                <a:gd name="connsiteY127" fmla="*/ 3092334 h 3682908"/>
                <a:gd name="connsiteX128" fmla="*/ 1516495 w 3862373"/>
                <a:gd name="connsiteY128" fmla="*/ 3092334 h 3682908"/>
                <a:gd name="connsiteX129" fmla="*/ 1555583 w 3862373"/>
                <a:gd name="connsiteY129" fmla="*/ 3131421 h 3682908"/>
                <a:gd name="connsiteX130" fmla="*/ 1516495 w 3862373"/>
                <a:gd name="connsiteY130" fmla="*/ 3170508 h 3682908"/>
                <a:gd name="connsiteX131" fmla="*/ 1477407 w 3862373"/>
                <a:gd name="connsiteY131" fmla="*/ 3131421 h 3682908"/>
                <a:gd name="connsiteX132" fmla="*/ 1516495 w 3862373"/>
                <a:gd name="connsiteY132" fmla="*/ 3092334 h 3682908"/>
                <a:gd name="connsiteX133" fmla="*/ 1329581 w 3862373"/>
                <a:gd name="connsiteY133" fmla="*/ 3092334 h 3682908"/>
                <a:gd name="connsiteX134" fmla="*/ 1368669 w 3862373"/>
                <a:gd name="connsiteY134" fmla="*/ 3131421 h 3682908"/>
                <a:gd name="connsiteX135" fmla="*/ 1329581 w 3862373"/>
                <a:gd name="connsiteY135" fmla="*/ 3170508 h 3682908"/>
                <a:gd name="connsiteX136" fmla="*/ 1290494 w 3862373"/>
                <a:gd name="connsiteY136" fmla="*/ 3131421 h 3682908"/>
                <a:gd name="connsiteX137" fmla="*/ 1329581 w 3862373"/>
                <a:gd name="connsiteY137" fmla="*/ 3092334 h 3682908"/>
                <a:gd name="connsiteX138" fmla="*/ 1142668 w 3862373"/>
                <a:gd name="connsiteY138" fmla="*/ 3092334 h 3682908"/>
                <a:gd name="connsiteX139" fmla="*/ 1181756 w 3862373"/>
                <a:gd name="connsiteY139" fmla="*/ 3131421 h 3682908"/>
                <a:gd name="connsiteX140" fmla="*/ 1142668 w 3862373"/>
                <a:gd name="connsiteY140" fmla="*/ 3170508 h 3682908"/>
                <a:gd name="connsiteX141" fmla="*/ 1103581 w 3862373"/>
                <a:gd name="connsiteY141" fmla="*/ 3131421 h 3682908"/>
                <a:gd name="connsiteX142" fmla="*/ 1142668 w 3862373"/>
                <a:gd name="connsiteY142" fmla="*/ 3092334 h 3682908"/>
                <a:gd name="connsiteX143" fmla="*/ 2924263 w 3862373"/>
                <a:gd name="connsiteY143" fmla="*/ 3092334 h 3682908"/>
                <a:gd name="connsiteX144" fmla="*/ 2963349 w 3862373"/>
                <a:gd name="connsiteY144" fmla="*/ 3131421 h 3682908"/>
                <a:gd name="connsiteX145" fmla="*/ 2924263 w 3862373"/>
                <a:gd name="connsiteY145" fmla="*/ 3170508 h 3682908"/>
                <a:gd name="connsiteX146" fmla="*/ 2885175 w 3862373"/>
                <a:gd name="connsiteY146" fmla="*/ 3131421 h 3682908"/>
                <a:gd name="connsiteX147" fmla="*/ 2924263 w 3862373"/>
                <a:gd name="connsiteY147" fmla="*/ 3092334 h 3682908"/>
                <a:gd name="connsiteX148" fmla="*/ 1419490 w 3862373"/>
                <a:gd name="connsiteY148" fmla="*/ 3092334 h 3682908"/>
                <a:gd name="connsiteX149" fmla="*/ 1458576 w 3862373"/>
                <a:gd name="connsiteY149" fmla="*/ 3131421 h 3682908"/>
                <a:gd name="connsiteX150" fmla="*/ 1419490 w 3862373"/>
                <a:gd name="connsiteY150" fmla="*/ 3170508 h 3682908"/>
                <a:gd name="connsiteX151" fmla="*/ 1380402 w 3862373"/>
                <a:gd name="connsiteY151" fmla="*/ 3131421 h 3682908"/>
                <a:gd name="connsiteX152" fmla="*/ 1419490 w 3862373"/>
                <a:gd name="connsiteY152" fmla="*/ 3092334 h 3682908"/>
                <a:gd name="connsiteX153" fmla="*/ 1232576 w 3862373"/>
                <a:gd name="connsiteY153" fmla="*/ 3092334 h 3682908"/>
                <a:gd name="connsiteX154" fmla="*/ 1271664 w 3862373"/>
                <a:gd name="connsiteY154" fmla="*/ 3131421 h 3682908"/>
                <a:gd name="connsiteX155" fmla="*/ 1232576 w 3862373"/>
                <a:gd name="connsiteY155" fmla="*/ 3170508 h 3682908"/>
                <a:gd name="connsiteX156" fmla="*/ 1193489 w 3862373"/>
                <a:gd name="connsiteY156" fmla="*/ 3131421 h 3682908"/>
                <a:gd name="connsiteX157" fmla="*/ 1232576 w 3862373"/>
                <a:gd name="connsiteY157" fmla="*/ 3092334 h 3682908"/>
                <a:gd name="connsiteX158" fmla="*/ 3205817 w 3862373"/>
                <a:gd name="connsiteY158" fmla="*/ 3007157 h 3682908"/>
                <a:gd name="connsiteX159" fmla="*/ 3244904 w 3862373"/>
                <a:gd name="connsiteY159" fmla="*/ 3046245 h 3682908"/>
                <a:gd name="connsiteX160" fmla="*/ 3205817 w 3862373"/>
                <a:gd name="connsiteY160" fmla="*/ 3085332 h 3682908"/>
                <a:gd name="connsiteX161" fmla="*/ 3166729 w 3862373"/>
                <a:gd name="connsiteY161" fmla="*/ 3046245 h 3682908"/>
                <a:gd name="connsiteX162" fmla="*/ 3205817 w 3862373"/>
                <a:gd name="connsiteY162" fmla="*/ 3007157 h 3682908"/>
                <a:gd name="connsiteX163" fmla="*/ 3111177 w 3862373"/>
                <a:gd name="connsiteY163" fmla="*/ 3007157 h 3682908"/>
                <a:gd name="connsiteX164" fmla="*/ 3150264 w 3862373"/>
                <a:gd name="connsiteY164" fmla="*/ 3046245 h 3682908"/>
                <a:gd name="connsiteX165" fmla="*/ 3111177 w 3862373"/>
                <a:gd name="connsiteY165" fmla="*/ 3085332 h 3682908"/>
                <a:gd name="connsiteX166" fmla="*/ 3072089 w 3862373"/>
                <a:gd name="connsiteY166" fmla="*/ 3046245 h 3682908"/>
                <a:gd name="connsiteX167" fmla="*/ 3111177 w 3862373"/>
                <a:gd name="connsiteY167" fmla="*/ 3007157 h 3682908"/>
                <a:gd name="connsiteX168" fmla="*/ 3018903 w 3862373"/>
                <a:gd name="connsiteY168" fmla="*/ 3007157 h 3682908"/>
                <a:gd name="connsiteX169" fmla="*/ 3057989 w 3862373"/>
                <a:gd name="connsiteY169" fmla="*/ 3046245 h 3682908"/>
                <a:gd name="connsiteX170" fmla="*/ 3018903 w 3862373"/>
                <a:gd name="connsiteY170" fmla="*/ 3085332 h 3682908"/>
                <a:gd name="connsiteX171" fmla="*/ 2979815 w 3862373"/>
                <a:gd name="connsiteY171" fmla="*/ 3046245 h 3682908"/>
                <a:gd name="connsiteX172" fmla="*/ 3018903 w 3862373"/>
                <a:gd name="connsiteY172" fmla="*/ 3007157 h 3682908"/>
                <a:gd name="connsiteX173" fmla="*/ 2924263 w 3862373"/>
                <a:gd name="connsiteY173" fmla="*/ 3007157 h 3682908"/>
                <a:gd name="connsiteX174" fmla="*/ 2963349 w 3862373"/>
                <a:gd name="connsiteY174" fmla="*/ 3046245 h 3682908"/>
                <a:gd name="connsiteX175" fmla="*/ 2924263 w 3862373"/>
                <a:gd name="connsiteY175" fmla="*/ 3085332 h 3682908"/>
                <a:gd name="connsiteX176" fmla="*/ 2885175 w 3862373"/>
                <a:gd name="connsiteY176" fmla="*/ 3046245 h 3682908"/>
                <a:gd name="connsiteX177" fmla="*/ 2924263 w 3862373"/>
                <a:gd name="connsiteY177" fmla="*/ 3007157 h 3682908"/>
                <a:gd name="connsiteX178" fmla="*/ 2831988 w 3862373"/>
                <a:gd name="connsiteY178" fmla="*/ 3007157 h 3682908"/>
                <a:gd name="connsiteX179" fmla="*/ 2871075 w 3862373"/>
                <a:gd name="connsiteY179" fmla="*/ 3046245 h 3682908"/>
                <a:gd name="connsiteX180" fmla="*/ 2831988 w 3862373"/>
                <a:gd name="connsiteY180" fmla="*/ 3085332 h 3682908"/>
                <a:gd name="connsiteX181" fmla="*/ 2792901 w 3862373"/>
                <a:gd name="connsiteY181" fmla="*/ 3046245 h 3682908"/>
                <a:gd name="connsiteX182" fmla="*/ 2831988 w 3862373"/>
                <a:gd name="connsiteY182" fmla="*/ 3007157 h 3682908"/>
                <a:gd name="connsiteX183" fmla="*/ 1611133 w 3862373"/>
                <a:gd name="connsiteY183" fmla="*/ 3007157 h 3682908"/>
                <a:gd name="connsiteX184" fmla="*/ 1650221 w 3862373"/>
                <a:gd name="connsiteY184" fmla="*/ 3046245 h 3682908"/>
                <a:gd name="connsiteX185" fmla="*/ 1611133 w 3862373"/>
                <a:gd name="connsiteY185" fmla="*/ 3085332 h 3682908"/>
                <a:gd name="connsiteX186" fmla="*/ 1572051 w 3862373"/>
                <a:gd name="connsiteY186" fmla="*/ 3046245 h 3682908"/>
                <a:gd name="connsiteX187" fmla="*/ 1611133 w 3862373"/>
                <a:gd name="connsiteY187" fmla="*/ 3007157 h 3682908"/>
                <a:gd name="connsiteX188" fmla="*/ 1516497 w 3862373"/>
                <a:gd name="connsiteY188" fmla="*/ 3007157 h 3682908"/>
                <a:gd name="connsiteX189" fmla="*/ 1555584 w 3862373"/>
                <a:gd name="connsiteY189" fmla="*/ 3046245 h 3682908"/>
                <a:gd name="connsiteX190" fmla="*/ 1516497 w 3862373"/>
                <a:gd name="connsiteY190" fmla="*/ 3085332 h 3682908"/>
                <a:gd name="connsiteX191" fmla="*/ 1477409 w 3862373"/>
                <a:gd name="connsiteY191" fmla="*/ 3046245 h 3682908"/>
                <a:gd name="connsiteX192" fmla="*/ 1516497 w 3862373"/>
                <a:gd name="connsiteY192" fmla="*/ 3007157 h 3682908"/>
                <a:gd name="connsiteX193" fmla="*/ 1419492 w 3862373"/>
                <a:gd name="connsiteY193" fmla="*/ 3007157 h 3682908"/>
                <a:gd name="connsiteX194" fmla="*/ 1458579 w 3862373"/>
                <a:gd name="connsiteY194" fmla="*/ 3046245 h 3682908"/>
                <a:gd name="connsiteX195" fmla="*/ 1419492 w 3862373"/>
                <a:gd name="connsiteY195" fmla="*/ 3085332 h 3682908"/>
                <a:gd name="connsiteX196" fmla="*/ 1380404 w 3862373"/>
                <a:gd name="connsiteY196" fmla="*/ 3046245 h 3682908"/>
                <a:gd name="connsiteX197" fmla="*/ 1419492 w 3862373"/>
                <a:gd name="connsiteY197" fmla="*/ 3007157 h 3682908"/>
                <a:gd name="connsiteX198" fmla="*/ 1329583 w 3862373"/>
                <a:gd name="connsiteY198" fmla="*/ 3007157 h 3682908"/>
                <a:gd name="connsiteX199" fmla="*/ 1368670 w 3862373"/>
                <a:gd name="connsiteY199" fmla="*/ 3046245 h 3682908"/>
                <a:gd name="connsiteX200" fmla="*/ 1329583 w 3862373"/>
                <a:gd name="connsiteY200" fmla="*/ 3085332 h 3682908"/>
                <a:gd name="connsiteX201" fmla="*/ 1290496 w 3862373"/>
                <a:gd name="connsiteY201" fmla="*/ 3046245 h 3682908"/>
                <a:gd name="connsiteX202" fmla="*/ 1329583 w 3862373"/>
                <a:gd name="connsiteY202" fmla="*/ 3007157 h 3682908"/>
                <a:gd name="connsiteX203" fmla="*/ 1232579 w 3862373"/>
                <a:gd name="connsiteY203" fmla="*/ 3007157 h 3682908"/>
                <a:gd name="connsiteX204" fmla="*/ 1271666 w 3862373"/>
                <a:gd name="connsiteY204" fmla="*/ 3046245 h 3682908"/>
                <a:gd name="connsiteX205" fmla="*/ 1232579 w 3862373"/>
                <a:gd name="connsiteY205" fmla="*/ 3085332 h 3682908"/>
                <a:gd name="connsiteX206" fmla="*/ 1193493 w 3862373"/>
                <a:gd name="connsiteY206" fmla="*/ 3046245 h 3682908"/>
                <a:gd name="connsiteX207" fmla="*/ 1232579 w 3862373"/>
                <a:gd name="connsiteY207" fmla="*/ 3007157 h 3682908"/>
                <a:gd name="connsiteX208" fmla="*/ 1142670 w 3862373"/>
                <a:gd name="connsiteY208" fmla="*/ 3007157 h 3682908"/>
                <a:gd name="connsiteX209" fmla="*/ 1181758 w 3862373"/>
                <a:gd name="connsiteY209" fmla="*/ 3046245 h 3682908"/>
                <a:gd name="connsiteX210" fmla="*/ 1142670 w 3862373"/>
                <a:gd name="connsiteY210" fmla="*/ 3085332 h 3682908"/>
                <a:gd name="connsiteX211" fmla="*/ 1103582 w 3862373"/>
                <a:gd name="connsiteY211" fmla="*/ 3046245 h 3682908"/>
                <a:gd name="connsiteX212" fmla="*/ 1142670 w 3862373"/>
                <a:gd name="connsiteY212" fmla="*/ 3007157 h 3682908"/>
                <a:gd name="connsiteX213" fmla="*/ 3111177 w 3862373"/>
                <a:gd name="connsiteY213" fmla="*/ 2919617 h 3682908"/>
                <a:gd name="connsiteX214" fmla="*/ 3150264 w 3862373"/>
                <a:gd name="connsiteY214" fmla="*/ 2958704 h 3682908"/>
                <a:gd name="connsiteX215" fmla="*/ 3111177 w 3862373"/>
                <a:gd name="connsiteY215" fmla="*/ 2997791 h 3682908"/>
                <a:gd name="connsiteX216" fmla="*/ 3072089 w 3862373"/>
                <a:gd name="connsiteY216" fmla="*/ 2958704 h 3682908"/>
                <a:gd name="connsiteX217" fmla="*/ 3111177 w 3862373"/>
                <a:gd name="connsiteY217" fmla="*/ 2919617 h 3682908"/>
                <a:gd name="connsiteX218" fmla="*/ 3018902 w 3862373"/>
                <a:gd name="connsiteY218" fmla="*/ 2919617 h 3682908"/>
                <a:gd name="connsiteX219" fmla="*/ 3057989 w 3862373"/>
                <a:gd name="connsiteY219" fmla="*/ 2958704 h 3682908"/>
                <a:gd name="connsiteX220" fmla="*/ 3018902 w 3862373"/>
                <a:gd name="connsiteY220" fmla="*/ 2997791 h 3682908"/>
                <a:gd name="connsiteX221" fmla="*/ 2979815 w 3862373"/>
                <a:gd name="connsiteY221" fmla="*/ 2958704 h 3682908"/>
                <a:gd name="connsiteX222" fmla="*/ 3018902 w 3862373"/>
                <a:gd name="connsiteY222" fmla="*/ 2919617 h 3682908"/>
                <a:gd name="connsiteX223" fmla="*/ 2831988 w 3862373"/>
                <a:gd name="connsiteY223" fmla="*/ 2919617 h 3682908"/>
                <a:gd name="connsiteX224" fmla="*/ 2871075 w 3862373"/>
                <a:gd name="connsiteY224" fmla="*/ 2958704 h 3682908"/>
                <a:gd name="connsiteX225" fmla="*/ 2831988 w 3862373"/>
                <a:gd name="connsiteY225" fmla="*/ 2997791 h 3682908"/>
                <a:gd name="connsiteX226" fmla="*/ 2792901 w 3862373"/>
                <a:gd name="connsiteY226" fmla="*/ 2958704 h 3682908"/>
                <a:gd name="connsiteX227" fmla="*/ 2831988 w 3862373"/>
                <a:gd name="connsiteY227" fmla="*/ 2919617 h 3682908"/>
                <a:gd name="connsiteX228" fmla="*/ 1611133 w 3862373"/>
                <a:gd name="connsiteY228" fmla="*/ 2919617 h 3682908"/>
                <a:gd name="connsiteX229" fmla="*/ 1650221 w 3862373"/>
                <a:gd name="connsiteY229" fmla="*/ 2958704 h 3682908"/>
                <a:gd name="connsiteX230" fmla="*/ 1611133 w 3862373"/>
                <a:gd name="connsiteY230" fmla="*/ 2997791 h 3682908"/>
                <a:gd name="connsiteX231" fmla="*/ 1572053 w 3862373"/>
                <a:gd name="connsiteY231" fmla="*/ 2958704 h 3682908"/>
                <a:gd name="connsiteX232" fmla="*/ 1611133 w 3862373"/>
                <a:gd name="connsiteY232" fmla="*/ 2919617 h 3682908"/>
                <a:gd name="connsiteX233" fmla="*/ 1516498 w 3862373"/>
                <a:gd name="connsiteY233" fmla="*/ 2919617 h 3682908"/>
                <a:gd name="connsiteX234" fmla="*/ 1555586 w 3862373"/>
                <a:gd name="connsiteY234" fmla="*/ 2958704 h 3682908"/>
                <a:gd name="connsiteX235" fmla="*/ 1516498 w 3862373"/>
                <a:gd name="connsiteY235" fmla="*/ 2997791 h 3682908"/>
                <a:gd name="connsiteX236" fmla="*/ 1477411 w 3862373"/>
                <a:gd name="connsiteY236" fmla="*/ 2958704 h 3682908"/>
                <a:gd name="connsiteX237" fmla="*/ 1516498 w 3862373"/>
                <a:gd name="connsiteY237" fmla="*/ 2919617 h 3682908"/>
                <a:gd name="connsiteX238" fmla="*/ 1329585 w 3862373"/>
                <a:gd name="connsiteY238" fmla="*/ 2919617 h 3682908"/>
                <a:gd name="connsiteX239" fmla="*/ 1368672 w 3862373"/>
                <a:gd name="connsiteY239" fmla="*/ 2958704 h 3682908"/>
                <a:gd name="connsiteX240" fmla="*/ 1329585 w 3862373"/>
                <a:gd name="connsiteY240" fmla="*/ 2997791 h 3682908"/>
                <a:gd name="connsiteX241" fmla="*/ 1290499 w 3862373"/>
                <a:gd name="connsiteY241" fmla="*/ 2958704 h 3682908"/>
                <a:gd name="connsiteX242" fmla="*/ 1329585 w 3862373"/>
                <a:gd name="connsiteY242" fmla="*/ 2919617 h 3682908"/>
                <a:gd name="connsiteX243" fmla="*/ 3489737 w 3862373"/>
                <a:gd name="connsiteY243" fmla="*/ 2919616 h 3682908"/>
                <a:gd name="connsiteX244" fmla="*/ 3508003 w 3862373"/>
                <a:gd name="connsiteY244" fmla="*/ 2927183 h 3682908"/>
                <a:gd name="connsiteX245" fmla="*/ 3463371 w 3862373"/>
                <a:gd name="connsiteY245" fmla="*/ 2986869 h 3682908"/>
                <a:gd name="connsiteX246" fmla="*/ 3462097 w 3862373"/>
                <a:gd name="connsiteY246" fmla="*/ 2986342 h 3682908"/>
                <a:gd name="connsiteX247" fmla="*/ 3450649 w 3862373"/>
                <a:gd name="connsiteY247" fmla="*/ 2958703 h 3682908"/>
                <a:gd name="connsiteX248" fmla="*/ 3489737 w 3862373"/>
                <a:gd name="connsiteY248" fmla="*/ 2919616 h 3682908"/>
                <a:gd name="connsiteX249" fmla="*/ 3205817 w 3862373"/>
                <a:gd name="connsiteY249" fmla="*/ 2919616 h 3682908"/>
                <a:gd name="connsiteX250" fmla="*/ 3244904 w 3862373"/>
                <a:gd name="connsiteY250" fmla="*/ 2958703 h 3682908"/>
                <a:gd name="connsiteX251" fmla="*/ 3205817 w 3862373"/>
                <a:gd name="connsiteY251" fmla="*/ 2997790 h 3682908"/>
                <a:gd name="connsiteX252" fmla="*/ 3166729 w 3862373"/>
                <a:gd name="connsiteY252" fmla="*/ 2958703 h 3682908"/>
                <a:gd name="connsiteX253" fmla="*/ 3205817 w 3862373"/>
                <a:gd name="connsiteY253" fmla="*/ 2919616 h 3682908"/>
                <a:gd name="connsiteX254" fmla="*/ 2924263 w 3862373"/>
                <a:gd name="connsiteY254" fmla="*/ 2919616 h 3682908"/>
                <a:gd name="connsiteX255" fmla="*/ 2963349 w 3862373"/>
                <a:gd name="connsiteY255" fmla="*/ 2958703 h 3682908"/>
                <a:gd name="connsiteX256" fmla="*/ 2924263 w 3862373"/>
                <a:gd name="connsiteY256" fmla="*/ 2997790 h 3682908"/>
                <a:gd name="connsiteX257" fmla="*/ 2885175 w 3862373"/>
                <a:gd name="connsiteY257" fmla="*/ 2958703 h 3682908"/>
                <a:gd name="connsiteX258" fmla="*/ 2924263 w 3862373"/>
                <a:gd name="connsiteY258" fmla="*/ 2919616 h 3682908"/>
                <a:gd name="connsiteX259" fmla="*/ 1703408 w 3862373"/>
                <a:gd name="connsiteY259" fmla="*/ 2919616 h 3682908"/>
                <a:gd name="connsiteX260" fmla="*/ 1742495 w 3862373"/>
                <a:gd name="connsiteY260" fmla="*/ 2958703 h 3682908"/>
                <a:gd name="connsiteX261" fmla="*/ 1703408 w 3862373"/>
                <a:gd name="connsiteY261" fmla="*/ 2997790 h 3682908"/>
                <a:gd name="connsiteX262" fmla="*/ 1664321 w 3862373"/>
                <a:gd name="connsiteY262" fmla="*/ 2958703 h 3682908"/>
                <a:gd name="connsiteX263" fmla="*/ 1703408 w 3862373"/>
                <a:gd name="connsiteY263" fmla="*/ 2919616 h 3682908"/>
                <a:gd name="connsiteX264" fmla="*/ 1419494 w 3862373"/>
                <a:gd name="connsiteY264" fmla="*/ 2919616 h 3682908"/>
                <a:gd name="connsiteX265" fmla="*/ 1458581 w 3862373"/>
                <a:gd name="connsiteY265" fmla="*/ 2958703 h 3682908"/>
                <a:gd name="connsiteX266" fmla="*/ 1419494 w 3862373"/>
                <a:gd name="connsiteY266" fmla="*/ 2997790 h 3682908"/>
                <a:gd name="connsiteX267" fmla="*/ 1380407 w 3862373"/>
                <a:gd name="connsiteY267" fmla="*/ 2958703 h 3682908"/>
                <a:gd name="connsiteX268" fmla="*/ 1419494 w 3862373"/>
                <a:gd name="connsiteY268" fmla="*/ 2919616 h 3682908"/>
                <a:gd name="connsiteX269" fmla="*/ 1232582 w 3862373"/>
                <a:gd name="connsiteY269" fmla="*/ 2919616 h 3682908"/>
                <a:gd name="connsiteX270" fmla="*/ 1271667 w 3862373"/>
                <a:gd name="connsiteY270" fmla="*/ 2958703 h 3682908"/>
                <a:gd name="connsiteX271" fmla="*/ 1232582 w 3862373"/>
                <a:gd name="connsiteY271" fmla="*/ 2997790 h 3682908"/>
                <a:gd name="connsiteX272" fmla="*/ 1193494 w 3862373"/>
                <a:gd name="connsiteY272" fmla="*/ 2958703 h 3682908"/>
                <a:gd name="connsiteX273" fmla="*/ 1232582 w 3862373"/>
                <a:gd name="connsiteY273" fmla="*/ 2919616 h 3682908"/>
                <a:gd name="connsiteX274" fmla="*/ 3489737 w 3862373"/>
                <a:gd name="connsiteY274" fmla="*/ 2832075 h 3682908"/>
                <a:gd name="connsiteX275" fmla="*/ 3528823 w 3862373"/>
                <a:gd name="connsiteY275" fmla="*/ 2871162 h 3682908"/>
                <a:gd name="connsiteX276" fmla="*/ 3489737 w 3862373"/>
                <a:gd name="connsiteY276" fmla="*/ 2910249 h 3682908"/>
                <a:gd name="connsiteX277" fmla="*/ 3450649 w 3862373"/>
                <a:gd name="connsiteY277" fmla="*/ 2871162 h 3682908"/>
                <a:gd name="connsiteX278" fmla="*/ 3489737 w 3862373"/>
                <a:gd name="connsiteY278" fmla="*/ 2832075 h 3682908"/>
                <a:gd name="connsiteX279" fmla="*/ 3300457 w 3862373"/>
                <a:gd name="connsiteY279" fmla="*/ 2832075 h 3682908"/>
                <a:gd name="connsiteX280" fmla="*/ 3339544 w 3862373"/>
                <a:gd name="connsiteY280" fmla="*/ 2871162 h 3682908"/>
                <a:gd name="connsiteX281" fmla="*/ 3300457 w 3862373"/>
                <a:gd name="connsiteY281" fmla="*/ 2910249 h 3682908"/>
                <a:gd name="connsiteX282" fmla="*/ 3261369 w 3862373"/>
                <a:gd name="connsiteY282" fmla="*/ 2871162 h 3682908"/>
                <a:gd name="connsiteX283" fmla="*/ 3300457 w 3862373"/>
                <a:gd name="connsiteY283" fmla="*/ 2832075 h 3682908"/>
                <a:gd name="connsiteX284" fmla="*/ 3205817 w 3862373"/>
                <a:gd name="connsiteY284" fmla="*/ 2832075 h 3682908"/>
                <a:gd name="connsiteX285" fmla="*/ 3244904 w 3862373"/>
                <a:gd name="connsiteY285" fmla="*/ 2871162 h 3682908"/>
                <a:gd name="connsiteX286" fmla="*/ 3205817 w 3862373"/>
                <a:gd name="connsiteY286" fmla="*/ 2910249 h 3682908"/>
                <a:gd name="connsiteX287" fmla="*/ 3166729 w 3862373"/>
                <a:gd name="connsiteY287" fmla="*/ 2871162 h 3682908"/>
                <a:gd name="connsiteX288" fmla="*/ 3205817 w 3862373"/>
                <a:gd name="connsiteY288" fmla="*/ 2832075 h 3682908"/>
                <a:gd name="connsiteX289" fmla="*/ 3111177 w 3862373"/>
                <a:gd name="connsiteY289" fmla="*/ 2832075 h 3682908"/>
                <a:gd name="connsiteX290" fmla="*/ 3150264 w 3862373"/>
                <a:gd name="connsiteY290" fmla="*/ 2871162 h 3682908"/>
                <a:gd name="connsiteX291" fmla="*/ 3111177 w 3862373"/>
                <a:gd name="connsiteY291" fmla="*/ 2910249 h 3682908"/>
                <a:gd name="connsiteX292" fmla="*/ 3072089 w 3862373"/>
                <a:gd name="connsiteY292" fmla="*/ 2871162 h 3682908"/>
                <a:gd name="connsiteX293" fmla="*/ 3111177 w 3862373"/>
                <a:gd name="connsiteY293" fmla="*/ 2832075 h 3682908"/>
                <a:gd name="connsiteX294" fmla="*/ 3018902 w 3862373"/>
                <a:gd name="connsiteY294" fmla="*/ 2832075 h 3682908"/>
                <a:gd name="connsiteX295" fmla="*/ 3057989 w 3862373"/>
                <a:gd name="connsiteY295" fmla="*/ 2871162 h 3682908"/>
                <a:gd name="connsiteX296" fmla="*/ 3018902 w 3862373"/>
                <a:gd name="connsiteY296" fmla="*/ 2910249 h 3682908"/>
                <a:gd name="connsiteX297" fmla="*/ 2979815 w 3862373"/>
                <a:gd name="connsiteY297" fmla="*/ 2871162 h 3682908"/>
                <a:gd name="connsiteX298" fmla="*/ 3018902 w 3862373"/>
                <a:gd name="connsiteY298" fmla="*/ 2832075 h 3682908"/>
                <a:gd name="connsiteX299" fmla="*/ 2924263 w 3862373"/>
                <a:gd name="connsiteY299" fmla="*/ 2832075 h 3682908"/>
                <a:gd name="connsiteX300" fmla="*/ 2963349 w 3862373"/>
                <a:gd name="connsiteY300" fmla="*/ 2871162 h 3682908"/>
                <a:gd name="connsiteX301" fmla="*/ 2924263 w 3862373"/>
                <a:gd name="connsiteY301" fmla="*/ 2910249 h 3682908"/>
                <a:gd name="connsiteX302" fmla="*/ 2885175 w 3862373"/>
                <a:gd name="connsiteY302" fmla="*/ 2871162 h 3682908"/>
                <a:gd name="connsiteX303" fmla="*/ 2924263 w 3862373"/>
                <a:gd name="connsiteY303" fmla="*/ 2832075 h 3682908"/>
                <a:gd name="connsiteX304" fmla="*/ 2831988 w 3862373"/>
                <a:gd name="connsiteY304" fmla="*/ 2832075 h 3682908"/>
                <a:gd name="connsiteX305" fmla="*/ 2871075 w 3862373"/>
                <a:gd name="connsiteY305" fmla="*/ 2871162 h 3682908"/>
                <a:gd name="connsiteX306" fmla="*/ 2831988 w 3862373"/>
                <a:gd name="connsiteY306" fmla="*/ 2910249 h 3682908"/>
                <a:gd name="connsiteX307" fmla="*/ 2792901 w 3862373"/>
                <a:gd name="connsiteY307" fmla="*/ 2871162 h 3682908"/>
                <a:gd name="connsiteX308" fmla="*/ 2831988 w 3862373"/>
                <a:gd name="connsiteY308" fmla="*/ 2832075 h 3682908"/>
                <a:gd name="connsiteX309" fmla="*/ 1703409 w 3862373"/>
                <a:gd name="connsiteY309" fmla="*/ 2832075 h 3682908"/>
                <a:gd name="connsiteX310" fmla="*/ 1742495 w 3862373"/>
                <a:gd name="connsiteY310" fmla="*/ 2871162 h 3682908"/>
                <a:gd name="connsiteX311" fmla="*/ 1703409 w 3862373"/>
                <a:gd name="connsiteY311" fmla="*/ 2910249 h 3682908"/>
                <a:gd name="connsiteX312" fmla="*/ 1664321 w 3862373"/>
                <a:gd name="connsiteY312" fmla="*/ 2871162 h 3682908"/>
                <a:gd name="connsiteX313" fmla="*/ 1703409 w 3862373"/>
                <a:gd name="connsiteY313" fmla="*/ 2832075 h 3682908"/>
                <a:gd name="connsiteX314" fmla="*/ 1611133 w 3862373"/>
                <a:gd name="connsiteY314" fmla="*/ 2832075 h 3682908"/>
                <a:gd name="connsiteX315" fmla="*/ 1650221 w 3862373"/>
                <a:gd name="connsiteY315" fmla="*/ 2871162 h 3682908"/>
                <a:gd name="connsiteX316" fmla="*/ 1611133 w 3862373"/>
                <a:gd name="connsiteY316" fmla="*/ 2910249 h 3682908"/>
                <a:gd name="connsiteX317" fmla="*/ 1572054 w 3862373"/>
                <a:gd name="connsiteY317" fmla="*/ 2871162 h 3682908"/>
                <a:gd name="connsiteX318" fmla="*/ 1611133 w 3862373"/>
                <a:gd name="connsiteY318" fmla="*/ 2832075 h 3682908"/>
                <a:gd name="connsiteX319" fmla="*/ 1516501 w 3862373"/>
                <a:gd name="connsiteY319" fmla="*/ 2832075 h 3682908"/>
                <a:gd name="connsiteX320" fmla="*/ 1555588 w 3862373"/>
                <a:gd name="connsiteY320" fmla="*/ 2871162 h 3682908"/>
                <a:gd name="connsiteX321" fmla="*/ 1516501 w 3862373"/>
                <a:gd name="connsiteY321" fmla="*/ 2910249 h 3682908"/>
                <a:gd name="connsiteX322" fmla="*/ 1477413 w 3862373"/>
                <a:gd name="connsiteY322" fmla="*/ 2871162 h 3682908"/>
                <a:gd name="connsiteX323" fmla="*/ 1516501 w 3862373"/>
                <a:gd name="connsiteY323" fmla="*/ 2832075 h 3682908"/>
                <a:gd name="connsiteX324" fmla="*/ 1419496 w 3862373"/>
                <a:gd name="connsiteY324" fmla="*/ 2832075 h 3682908"/>
                <a:gd name="connsiteX325" fmla="*/ 1458583 w 3862373"/>
                <a:gd name="connsiteY325" fmla="*/ 2871162 h 3682908"/>
                <a:gd name="connsiteX326" fmla="*/ 1419496 w 3862373"/>
                <a:gd name="connsiteY326" fmla="*/ 2910249 h 3682908"/>
                <a:gd name="connsiteX327" fmla="*/ 1380408 w 3862373"/>
                <a:gd name="connsiteY327" fmla="*/ 2871162 h 3682908"/>
                <a:gd name="connsiteX328" fmla="*/ 1419496 w 3862373"/>
                <a:gd name="connsiteY328" fmla="*/ 2832075 h 3682908"/>
                <a:gd name="connsiteX329" fmla="*/ 1329587 w 3862373"/>
                <a:gd name="connsiteY329" fmla="*/ 2832075 h 3682908"/>
                <a:gd name="connsiteX330" fmla="*/ 1368674 w 3862373"/>
                <a:gd name="connsiteY330" fmla="*/ 2871162 h 3682908"/>
                <a:gd name="connsiteX331" fmla="*/ 1329587 w 3862373"/>
                <a:gd name="connsiteY331" fmla="*/ 2910249 h 3682908"/>
                <a:gd name="connsiteX332" fmla="*/ 1290500 w 3862373"/>
                <a:gd name="connsiteY332" fmla="*/ 2871162 h 3682908"/>
                <a:gd name="connsiteX333" fmla="*/ 1329587 w 3862373"/>
                <a:gd name="connsiteY333" fmla="*/ 2832075 h 3682908"/>
                <a:gd name="connsiteX334" fmla="*/ 1232583 w 3862373"/>
                <a:gd name="connsiteY334" fmla="*/ 2832075 h 3682908"/>
                <a:gd name="connsiteX335" fmla="*/ 1271669 w 3862373"/>
                <a:gd name="connsiteY335" fmla="*/ 2871162 h 3682908"/>
                <a:gd name="connsiteX336" fmla="*/ 1232583 w 3862373"/>
                <a:gd name="connsiteY336" fmla="*/ 2910249 h 3682908"/>
                <a:gd name="connsiteX337" fmla="*/ 1193496 w 3862373"/>
                <a:gd name="connsiteY337" fmla="*/ 2871162 h 3682908"/>
                <a:gd name="connsiteX338" fmla="*/ 1232583 w 3862373"/>
                <a:gd name="connsiteY338" fmla="*/ 2832075 h 3682908"/>
                <a:gd name="connsiteX339" fmla="*/ 3489737 w 3862373"/>
                <a:gd name="connsiteY339" fmla="*/ 2742165 h 3682908"/>
                <a:gd name="connsiteX340" fmla="*/ 3528823 w 3862373"/>
                <a:gd name="connsiteY340" fmla="*/ 2781252 h 3682908"/>
                <a:gd name="connsiteX341" fmla="*/ 3489737 w 3862373"/>
                <a:gd name="connsiteY341" fmla="*/ 2820339 h 3682908"/>
                <a:gd name="connsiteX342" fmla="*/ 3450649 w 3862373"/>
                <a:gd name="connsiteY342" fmla="*/ 2781252 h 3682908"/>
                <a:gd name="connsiteX343" fmla="*/ 3489737 w 3862373"/>
                <a:gd name="connsiteY343" fmla="*/ 2742165 h 3682908"/>
                <a:gd name="connsiteX344" fmla="*/ 3300457 w 3862373"/>
                <a:gd name="connsiteY344" fmla="*/ 2664088 h 3682908"/>
                <a:gd name="connsiteX345" fmla="*/ 3339544 w 3862373"/>
                <a:gd name="connsiteY345" fmla="*/ 2703175 h 3682908"/>
                <a:gd name="connsiteX346" fmla="*/ 3315671 w 3862373"/>
                <a:gd name="connsiteY346" fmla="*/ 2739190 h 3682908"/>
                <a:gd name="connsiteX347" fmla="*/ 3300696 w 3862373"/>
                <a:gd name="connsiteY347" fmla="*/ 2742214 h 3682908"/>
                <a:gd name="connsiteX348" fmla="*/ 3315671 w 3862373"/>
                <a:gd name="connsiteY348" fmla="*/ 2745237 h 3682908"/>
                <a:gd name="connsiteX349" fmla="*/ 3339544 w 3862373"/>
                <a:gd name="connsiteY349" fmla="*/ 2781252 h 3682908"/>
                <a:gd name="connsiteX350" fmla="*/ 3300457 w 3862373"/>
                <a:gd name="connsiteY350" fmla="*/ 2820339 h 3682908"/>
                <a:gd name="connsiteX351" fmla="*/ 3261369 w 3862373"/>
                <a:gd name="connsiteY351" fmla="*/ 2781252 h 3682908"/>
                <a:gd name="connsiteX352" fmla="*/ 3285242 w 3862373"/>
                <a:gd name="connsiteY352" fmla="*/ 2745237 h 3682908"/>
                <a:gd name="connsiteX353" fmla="*/ 3300217 w 3862373"/>
                <a:gd name="connsiteY353" fmla="*/ 2742214 h 3682908"/>
                <a:gd name="connsiteX354" fmla="*/ 3285242 w 3862373"/>
                <a:gd name="connsiteY354" fmla="*/ 2739190 h 3682908"/>
                <a:gd name="connsiteX355" fmla="*/ 3261369 w 3862373"/>
                <a:gd name="connsiteY355" fmla="*/ 2703175 h 3682908"/>
                <a:gd name="connsiteX356" fmla="*/ 3300457 w 3862373"/>
                <a:gd name="connsiteY356" fmla="*/ 2664088 h 3682908"/>
                <a:gd name="connsiteX357" fmla="*/ 3111177 w 3862373"/>
                <a:gd name="connsiteY357" fmla="*/ 2664088 h 3682908"/>
                <a:gd name="connsiteX358" fmla="*/ 3150264 w 3862373"/>
                <a:gd name="connsiteY358" fmla="*/ 2703175 h 3682908"/>
                <a:gd name="connsiteX359" fmla="*/ 3126391 w 3862373"/>
                <a:gd name="connsiteY359" fmla="*/ 2739190 h 3682908"/>
                <a:gd name="connsiteX360" fmla="*/ 3111417 w 3862373"/>
                <a:gd name="connsiteY360" fmla="*/ 2742214 h 3682908"/>
                <a:gd name="connsiteX361" fmla="*/ 3126391 w 3862373"/>
                <a:gd name="connsiteY361" fmla="*/ 2745237 h 3682908"/>
                <a:gd name="connsiteX362" fmla="*/ 3150264 w 3862373"/>
                <a:gd name="connsiteY362" fmla="*/ 2781252 h 3682908"/>
                <a:gd name="connsiteX363" fmla="*/ 3111177 w 3862373"/>
                <a:gd name="connsiteY363" fmla="*/ 2820339 h 3682908"/>
                <a:gd name="connsiteX364" fmla="*/ 3072089 w 3862373"/>
                <a:gd name="connsiteY364" fmla="*/ 2781252 h 3682908"/>
                <a:gd name="connsiteX365" fmla="*/ 3095962 w 3862373"/>
                <a:gd name="connsiteY365" fmla="*/ 2745237 h 3682908"/>
                <a:gd name="connsiteX366" fmla="*/ 3110937 w 3862373"/>
                <a:gd name="connsiteY366" fmla="*/ 2742214 h 3682908"/>
                <a:gd name="connsiteX367" fmla="*/ 3095962 w 3862373"/>
                <a:gd name="connsiteY367" fmla="*/ 2739190 h 3682908"/>
                <a:gd name="connsiteX368" fmla="*/ 3072089 w 3862373"/>
                <a:gd name="connsiteY368" fmla="*/ 2703175 h 3682908"/>
                <a:gd name="connsiteX369" fmla="*/ 3111177 w 3862373"/>
                <a:gd name="connsiteY369" fmla="*/ 2664088 h 3682908"/>
                <a:gd name="connsiteX370" fmla="*/ 3018902 w 3862373"/>
                <a:gd name="connsiteY370" fmla="*/ 2664088 h 3682908"/>
                <a:gd name="connsiteX371" fmla="*/ 3057989 w 3862373"/>
                <a:gd name="connsiteY371" fmla="*/ 2703175 h 3682908"/>
                <a:gd name="connsiteX372" fmla="*/ 3034117 w 3862373"/>
                <a:gd name="connsiteY372" fmla="*/ 2739190 h 3682908"/>
                <a:gd name="connsiteX373" fmla="*/ 3019142 w 3862373"/>
                <a:gd name="connsiteY373" fmla="*/ 2742214 h 3682908"/>
                <a:gd name="connsiteX374" fmla="*/ 3034117 w 3862373"/>
                <a:gd name="connsiteY374" fmla="*/ 2745237 h 3682908"/>
                <a:gd name="connsiteX375" fmla="*/ 3057989 w 3862373"/>
                <a:gd name="connsiteY375" fmla="*/ 2781252 h 3682908"/>
                <a:gd name="connsiteX376" fmla="*/ 3018902 w 3862373"/>
                <a:gd name="connsiteY376" fmla="*/ 2820339 h 3682908"/>
                <a:gd name="connsiteX377" fmla="*/ 2979815 w 3862373"/>
                <a:gd name="connsiteY377" fmla="*/ 2781252 h 3682908"/>
                <a:gd name="connsiteX378" fmla="*/ 3003687 w 3862373"/>
                <a:gd name="connsiteY378" fmla="*/ 2745237 h 3682908"/>
                <a:gd name="connsiteX379" fmla="*/ 3018663 w 3862373"/>
                <a:gd name="connsiteY379" fmla="*/ 2742214 h 3682908"/>
                <a:gd name="connsiteX380" fmla="*/ 3003687 w 3862373"/>
                <a:gd name="connsiteY380" fmla="*/ 2739190 h 3682908"/>
                <a:gd name="connsiteX381" fmla="*/ 2979815 w 3862373"/>
                <a:gd name="connsiteY381" fmla="*/ 2703175 h 3682908"/>
                <a:gd name="connsiteX382" fmla="*/ 3018902 w 3862373"/>
                <a:gd name="connsiteY382" fmla="*/ 2664088 h 3682908"/>
                <a:gd name="connsiteX383" fmla="*/ 2831988 w 3862373"/>
                <a:gd name="connsiteY383" fmla="*/ 2664088 h 3682908"/>
                <a:gd name="connsiteX384" fmla="*/ 2871075 w 3862373"/>
                <a:gd name="connsiteY384" fmla="*/ 2703175 h 3682908"/>
                <a:gd name="connsiteX385" fmla="*/ 2847202 w 3862373"/>
                <a:gd name="connsiteY385" fmla="*/ 2739190 h 3682908"/>
                <a:gd name="connsiteX386" fmla="*/ 2832228 w 3862373"/>
                <a:gd name="connsiteY386" fmla="*/ 2742214 h 3682908"/>
                <a:gd name="connsiteX387" fmla="*/ 2847202 w 3862373"/>
                <a:gd name="connsiteY387" fmla="*/ 2745237 h 3682908"/>
                <a:gd name="connsiteX388" fmla="*/ 2871075 w 3862373"/>
                <a:gd name="connsiteY388" fmla="*/ 2781252 h 3682908"/>
                <a:gd name="connsiteX389" fmla="*/ 2831988 w 3862373"/>
                <a:gd name="connsiteY389" fmla="*/ 2820339 h 3682908"/>
                <a:gd name="connsiteX390" fmla="*/ 2792901 w 3862373"/>
                <a:gd name="connsiteY390" fmla="*/ 2781252 h 3682908"/>
                <a:gd name="connsiteX391" fmla="*/ 2816773 w 3862373"/>
                <a:gd name="connsiteY391" fmla="*/ 2745237 h 3682908"/>
                <a:gd name="connsiteX392" fmla="*/ 2831748 w 3862373"/>
                <a:gd name="connsiteY392" fmla="*/ 2742214 h 3682908"/>
                <a:gd name="connsiteX393" fmla="*/ 2816773 w 3862373"/>
                <a:gd name="connsiteY393" fmla="*/ 2739190 h 3682908"/>
                <a:gd name="connsiteX394" fmla="*/ 2792901 w 3862373"/>
                <a:gd name="connsiteY394" fmla="*/ 2703175 h 3682908"/>
                <a:gd name="connsiteX395" fmla="*/ 2831988 w 3862373"/>
                <a:gd name="connsiteY395" fmla="*/ 2664088 h 3682908"/>
                <a:gd name="connsiteX396" fmla="*/ 1798047 w 3862373"/>
                <a:gd name="connsiteY396" fmla="*/ 2664088 h 3682908"/>
                <a:gd name="connsiteX397" fmla="*/ 1837135 w 3862373"/>
                <a:gd name="connsiteY397" fmla="*/ 2703175 h 3682908"/>
                <a:gd name="connsiteX398" fmla="*/ 1798047 w 3862373"/>
                <a:gd name="connsiteY398" fmla="*/ 2742262 h 3682908"/>
                <a:gd name="connsiteX399" fmla="*/ 1758959 w 3862373"/>
                <a:gd name="connsiteY399" fmla="*/ 2703175 h 3682908"/>
                <a:gd name="connsiteX400" fmla="*/ 1798047 w 3862373"/>
                <a:gd name="connsiteY400" fmla="*/ 2664088 h 3682908"/>
                <a:gd name="connsiteX401" fmla="*/ 1611133 w 3862373"/>
                <a:gd name="connsiteY401" fmla="*/ 2664088 h 3682908"/>
                <a:gd name="connsiteX402" fmla="*/ 1650221 w 3862373"/>
                <a:gd name="connsiteY402" fmla="*/ 2703175 h 3682908"/>
                <a:gd name="connsiteX403" fmla="*/ 1626349 w 3862373"/>
                <a:gd name="connsiteY403" fmla="*/ 2739190 h 3682908"/>
                <a:gd name="connsiteX404" fmla="*/ 1611371 w 3862373"/>
                <a:gd name="connsiteY404" fmla="*/ 2742214 h 3682908"/>
                <a:gd name="connsiteX405" fmla="*/ 1626347 w 3862373"/>
                <a:gd name="connsiteY405" fmla="*/ 2745237 h 3682908"/>
                <a:gd name="connsiteX406" fmla="*/ 1650221 w 3862373"/>
                <a:gd name="connsiteY406" fmla="*/ 2781252 h 3682908"/>
                <a:gd name="connsiteX407" fmla="*/ 1611133 w 3862373"/>
                <a:gd name="connsiteY407" fmla="*/ 2820339 h 3682908"/>
                <a:gd name="connsiteX408" fmla="*/ 1572057 w 3862373"/>
                <a:gd name="connsiteY408" fmla="*/ 2781252 h 3682908"/>
                <a:gd name="connsiteX409" fmla="*/ 1595929 w 3862373"/>
                <a:gd name="connsiteY409" fmla="*/ 2745237 h 3682908"/>
                <a:gd name="connsiteX410" fmla="*/ 1610892 w 3862373"/>
                <a:gd name="connsiteY410" fmla="*/ 2742214 h 3682908"/>
                <a:gd name="connsiteX411" fmla="*/ 1595930 w 3862373"/>
                <a:gd name="connsiteY411" fmla="*/ 2739190 h 3682908"/>
                <a:gd name="connsiteX412" fmla="*/ 1572058 w 3862373"/>
                <a:gd name="connsiteY412" fmla="*/ 2703175 h 3682908"/>
                <a:gd name="connsiteX413" fmla="*/ 1611133 w 3862373"/>
                <a:gd name="connsiteY413" fmla="*/ 2664088 h 3682908"/>
                <a:gd name="connsiteX414" fmla="*/ 1516504 w 3862373"/>
                <a:gd name="connsiteY414" fmla="*/ 2664088 h 3682908"/>
                <a:gd name="connsiteX415" fmla="*/ 1555592 w 3862373"/>
                <a:gd name="connsiteY415" fmla="*/ 2703175 h 3682908"/>
                <a:gd name="connsiteX416" fmla="*/ 1531719 w 3862373"/>
                <a:gd name="connsiteY416" fmla="*/ 2739190 h 3682908"/>
                <a:gd name="connsiteX417" fmla="*/ 1516743 w 3862373"/>
                <a:gd name="connsiteY417" fmla="*/ 2742214 h 3682908"/>
                <a:gd name="connsiteX418" fmla="*/ 1531717 w 3862373"/>
                <a:gd name="connsiteY418" fmla="*/ 2745237 h 3682908"/>
                <a:gd name="connsiteX419" fmla="*/ 1555589 w 3862373"/>
                <a:gd name="connsiteY419" fmla="*/ 2781252 h 3682908"/>
                <a:gd name="connsiteX420" fmla="*/ 1516503 w 3862373"/>
                <a:gd name="connsiteY420" fmla="*/ 2820339 h 3682908"/>
                <a:gd name="connsiteX421" fmla="*/ 1477414 w 3862373"/>
                <a:gd name="connsiteY421" fmla="*/ 2781252 h 3682908"/>
                <a:gd name="connsiteX422" fmla="*/ 1501288 w 3862373"/>
                <a:gd name="connsiteY422" fmla="*/ 2745237 h 3682908"/>
                <a:gd name="connsiteX423" fmla="*/ 1516264 w 3862373"/>
                <a:gd name="connsiteY423" fmla="*/ 2742214 h 3682908"/>
                <a:gd name="connsiteX424" fmla="*/ 1501289 w 3862373"/>
                <a:gd name="connsiteY424" fmla="*/ 2739190 h 3682908"/>
                <a:gd name="connsiteX425" fmla="*/ 1477416 w 3862373"/>
                <a:gd name="connsiteY425" fmla="*/ 2703175 h 3682908"/>
                <a:gd name="connsiteX426" fmla="*/ 1516504 w 3862373"/>
                <a:gd name="connsiteY426" fmla="*/ 2664088 h 3682908"/>
                <a:gd name="connsiteX427" fmla="*/ 1329588 w 3862373"/>
                <a:gd name="connsiteY427" fmla="*/ 2664088 h 3682908"/>
                <a:gd name="connsiteX428" fmla="*/ 1368676 w 3862373"/>
                <a:gd name="connsiteY428" fmla="*/ 2703175 h 3682908"/>
                <a:gd name="connsiteX429" fmla="*/ 1344802 w 3862373"/>
                <a:gd name="connsiteY429" fmla="*/ 2739190 h 3682908"/>
                <a:gd name="connsiteX430" fmla="*/ 1329828 w 3862373"/>
                <a:gd name="connsiteY430" fmla="*/ 2742214 h 3682908"/>
                <a:gd name="connsiteX431" fmla="*/ 1344802 w 3862373"/>
                <a:gd name="connsiteY431" fmla="*/ 2745237 h 3682908"/>
                <a:gd name="connsiteX432" fmla="*/ 1368676 w 3862373"/>
                <a:gd name="connsiteY432" fmla="*/ 2781252 h 3682908"/>
                <a:gd name="connsiteX433" fmla="*/ 1329588 w 3862373"/>
                <a:gd name="connsiteY433" fmla="*/ 2820339 h 3682908"/>
                <a:gd name="connsiteX434" fmla="*/ 1290502 w 3862373"/>
                <a:gd name="connsiteY434" fmla="*/ 2781252 h 3682908"/>
                <a:gd name="connsiteX435" fmla="*/ 1314375 w 3862373"/>
                <a:gd name="connsiteY435" fmla="*/ 2745237 h 3682908"/>
                <a:gd name="connsiteX436" fmla="*/ 1329349 w 3862373"/>
                <a:gd name="connsiteY436" fmla="*/ 2742214 h 3682908"/>
                <a:gd name="connsiteX437" fmla="*/ 1314375 w 3862373"/>
                <a:gd name="connsiteY437" fmla="*/ 2739190 h 3682908"/>
                <a:gd name="connsiteX438" fmla="*/ 1290503 w 3862373"/>
                <a:gd name="connsiteY438" fmla="*/ 2703175 h 3682908"/>
                <a:gd name="connsiteX439" fmla="*/ 1329588 w 3862373"/>
                <a:gd name="connsiteY439" fmla="*/ 2664088 h 3682908"/>
                <a:gd name="connsiteX440" fmla="*/ 1142676 w 3862373"/>
                <a:gd name="connsiteY440" fmla="*/ 2664088 h 3682908"/>
                <a:gd name="connsiteX441" fmla="*/ 1181763 w 3862373"/>
                <a:gd name="connsiteY441" fmla="*/ 2703175 h 3682908"/>
                <a:gd name="connsiteX442" fmla="*/ 1157890 w 3862373"/>
                <a:gd name="connsiteY442" fmla="*/ 2739190 h 3682908"/>
                <a:gd name="connsiteX443" fmla="*/ 1142916 w 3862373"/>
                <a:gd name="connsiteY443" fmla="*/ 2742214 h 3682908"/>
                <a:gd name="connsiteX444" fmla="*/ 1157891 w 3862373"/>
                <a:gd name="connsiteY444" fmla="*/ 2745237 h 3682908"/>
                <a:gd name="connsiteX445" fmla="*/ 1181764 w 3862373"/>
                <a:gd name="connsiteY445" fmla="*/ 2781252 h 3682908"/>
                <a:gd name="connsiteX446" fmla="*/ 1142676 w 3862373"/>
                <a:gd name="connsiteY446" fmla="*/ 2820339 h 3682908"/>
                <a:gd name="connsiteX447" fmla="*/ 1103587 w 3862373"/>
                <a:gd name="connsiteY447" fmla="*/ 2781252 h 3682908"/>
                <a:gd name="connsiteX448" fmla="*/ 1127461 w 3862373"/>
                <a:gd name="connsiteY448" fmla="*/ 2745237 h 3682908"/>
                <a:gd name="connsiteX449" fmla="*/ 1142436 w 3862373"/>
                <a:gd name="connsiteY449" fmla="*/ 2742214 h 3682908"/>
                <a:gd name="connsiteX450" fmla="*/ 1127460 w 3862373"/>
                <a:gd name="connsiteY450" fmla="*/ 2739190 h 3682908"/>
                <a:gd name="connsiteX451" fmla="*/ 1103585 w 3862373"/>
                <a:gd name="connsiteY451" fmla="*/ 2703175 h 3682908"/>
                <a:gd name="connsiteX452" fmla="*/ 1142676 w 3862373"/>
                <a:gd name="connsiteY452" fmla="*/ 2664088 h 3682908"/>
                <a:gd name="connsiteX453" fmla="*/ 3205817 w 3862373"/>
                <a:gd name="connsiteY453" fmla="*/ 2664086 h 3682908"/>
                <a:gd name="connsiteX454" fmla="*/ 3244904 w 3862373"/>
                <a:gd name="connsiteY454" fmla="*/ 2703174 h 3682908"/>
                <a:gd name="connsiteX455" fmla="*/ 3221031 w 3862373"/>
                <a:gd name="connsiteY455" fmla="*/ 2739189 h 3682908"/>
                <a:gd name="connsiteX456" fmla="*/ 3206053 w 3862373"/>
                <a:gd name="connsiteY456" fmla="*/ 2742213 h 3682908"/>
                <a:gd name="connsiteX457" fmla="*/ 3221031 w 3862373"/>
                <a:gd name="connsiteY457" fmla="*/ 2745237 h 3682908"/>
                <a:gd name="connsiteX458" fmla="*/ 3244904 w 3862373"/>
                <a:gd name="connsiteY458" fmla="*/ 2781252 h 3682908"/>
                <a:gd name="connsiteX459" fmla="*/ 3205817 w 3862373"/>
                <a:gd name="connsiteY459" fmla="*/ 2820339 h 3682908"/>
                <a:gd name="connsiteX460" fmla="*/ 3166729 w 3862373"/>
                <a:gd name="connsiteY460" fmla="*/ 2781252 h 3682908"/>
                <a:gd name="connsiteX461" fmla="*/ 3190602 w 3862373"/>
                <a:gd name="connsiteY461" fmla="*/ 2745237 h 3682908"/>
                <a:gd name="connsiteX462" fmla="*/ 3205580 w 3862373"/>
                <a:gd name="connsiteY462" fmla="*/ 2742213 h 3682908"/>
                <a:gd name="connsiteX463" fmla="*/ 3190602 w 3862373"/>
                <a:gd name="connsiteY463" fmla="*/ 2739189 h 3682908"/>
                <a:gd name="connsiteX464" fmla="*/ 3166729 w 3862373"/>
                <a:gd name="connsiteY464" fmla="*/ 2703174 h 3682908"/>
                <a:gd name="connsiteX465" fmla="*/ 3205817 w 3862373"/>
                <a:gd name="connsiteY465" fmla="*/ 2664086 h 3682908"/>
                <a:gd name="connsiteX466" fmla="*/ 2924263 w 3862373"/>
                <a:gd name="connsiteY466" fmla="*/ 2664086 h 3682908"/>
                <a:gd name="connsiteX467" fmla="*/ 2963349 w 3862373"/>
                <a:gd name="connsiteY467" fmla="*/ 2703174 h 3682908"/>
                <a:gd name="connsiteX468" fmla="*/ 2939477 w 3862373"/>
                <a:gd name="connsiteY468" fmla="*/ 2739189 h 3682908"/>
                <a:gd name="connsiteX469" fmla="*/ 2924499 w 3862373"/>
                <a:gd name="connsiteY469" fmla="*/ 2742213 h 3682908"/>
                <a:gd name="connsiteX470" fmla="*/ 2939477 w 3862373"/>
                <a:gd name="connsiteY470" fmla="*/ 2745237 h 3682908"/>
                <a:gd name="connsiteX471" fmla="*/ 2963349 w 3862373"/>
                <a:gd name="connsiteY471" fmla="*/ 2781252 h 3682908"/>
                <a:gd name="connsiteX472" fmla="*/ 2924263 w 3862373"/>
                <a:gd name="connsiteY472" fmla="*/ 2820339 h 3682908"/>
                <a:gd name="connsiteX473" fmla="*/ 2885175 w 3862373"/>
                <a:gd name="connsiteY473" fmla="*/ 2781252 h 3682908"/>
                <a:gd name="connsiteX474" fmla="*/ 2909048 w 3862373"/>
                <a:gd name="connsiteY474" fmla="*/ 2745237 h 3682908"/>
                <a:gd name="connsiteX475" fmla="*/ 2924026 w 3862373"/>
                <a:gd name="connsiteY475" fmla="*/ 2742213 h 3682908"/>
                <a:gd name="connsiteX476" fmla="*/ 2909048 w 3862373"/>
                <a:gd name="connsiteY476" fmla="*/ 2739189 h 3682908"/>
                <a:gd name="connsiteX477" fmla="*/ 2885175 w 3862373"/>
                <a:gd name="connsiteY477" fmla="*/ 2703174 h 3682908"/>
                <a:gd name="connsiteX478" fmla="*/ 2924263 w 3862373"/>
                <a:gd name="connsiteY478" fmla="*/ 2664086 h 3682908"/>
                <a:gd name="connsiteX479" fmla="*/ 1703410 w 3862373"/>
                <a:gd name="connsiteY479" fmla="*/ 2664086 h 3682908"/>
                <a:gd name="connsiteX480" fmla="*/ 1742497 w 3862373"/>
                <a:gd name="connsiteY480" fmla="*/ 2703174 h 3682908"/>
                <a:gd name="connsiteX481" fmla="*/ 1718624 w 3862373"/>
                <a:gd name="connsiteY481" fmla="*/ 2739189 h 3682908"/>
                <a:gd name="connsiteX482" fmla="*/ 1703646 w 3862373"/>
                <a:gd name="connsiteY482" fmla="*/ 2742213 h 3682908"/>
                <a:gd name="connsiteX483" fmla="*/ 1718624 w 3862373"/>
                <a:gd name="connsiteY483" fmla="*/ 2745237 h 3682908"/>
                <a:gd name="connsiteX484" fmla="*/ 1742495 w 3862373"/>
                <a:gd name="connsiteY484" fmla="*/ 2781252 h 3682908"/>
                <a:gd name="connsiteX485" fmla="*/ 1703409 w 3862373"/>
                <a:gd name="connsiteY485" fmla="*/ 2820339 h 3682908"/>
                <a:gd name="connsiteX486" fmla="*/ 1664323 w 3862373"/>
                <a:gd name="connsiteY486" fmla="*/ 2781252 h 3682908"/>
                <a:gd name="connsiteX487" fmla="*/ 1688193 w 3862373"/>
                <a:gd name="connsiteY487" fmla="*/ 2745237 h 3682908"/>
                <a:gd name="connsiteX488" fmla="*/ 1703173 w 3862373"/>
                <a:gd name="connsiteY488" fmla="*/ 2742213 h 3682908"/>
                <a:gd name="connsiteX489" fmla="*/ 1688194 w 3862373"/>
                <a:gd name="connsiteY489" fmla="*/ 2739189 h 3682908"/>
                <a:gd name="connsiteX490" fmla="*/ 1664323 w 3862373"/>
                <a:gd name="connsiteY490" fmla="*/ 2703174 h 3682908"/>
                <a:gd name="connsiteX491" fmla="*/ 1703410 w 3862373"/>
                <a:gd name="connsiteY491" fmla="*/ 2664086 h 3682908"/>
                <a:gd name="connsiteX492" fmla="*/ 1419499 w 3862373"/>
                <a:gd name="connsiteY492" fmla="*/ 2664086 h 3682908"/>
                <a:gd name="connsiteX493" fmla="*/ 1458586 w 3862373"/>
                <a:gd name="connsiteY493" fmla="*/ 2703174 h 3682908"/>
                <a:gd name="connsiteX494" fmla="*/ 1434713 w 3862373"/>
                <a:gd name="connsiteY494" fmla="*/ 2739189 h 3682908"/>
                <a:gd name="connsiteX495" fmla="*/ 1419735 w 3862373"/>
                <a:gd name="connsiteY495" fmla="*/ 2742214 h 3682908"/>
                <a:gd name="connsiteX496" fmla="*/ 1434712 w 3862373"/>
                <a:gd name="connsiteY496" fmla="*/ 2745237 h 3682908"/>
                <a:gd name="connsiteX497" fmla="*/ 1458584 w 3862373"/>
                <a:gd name="connsiteY497" fmla="*/ 2781252 h 3682908"/>
                <a:gd name="connsiteX498" fmla="*/ 1419497 w 3862373"/>
                <a:gd name="connsiteY498" fmla="*/ 2820339 h 3682908"/>
                <a:gd name="connsiteX499" fmla="*/ 1380409 w 3862373"/>
                <a:gd name="connsiteY499" fmla="*/ 2781252 h 3682908"/>
                <a:gd name="connsiteX500" fmla="*/ 1404282 w 3862373"/>
                <a:gd name="connsiteY500" fmla="*/ 2745237 h 3682908"/>
                <a:gd name="connsiteX501" fmla="*/ 1419262 w 3862373"/>
                <a:gd name="connsiteY501" fmla="*/ 2742213 h 3682908"/>
                <a:gd name="connsiteX502" fmla="*/ 1404283 w 3862373"/>
                <a:gd name="connsiteY502" fmla="*/ 2739189 h 3682908"/>
                <a:gd name="connsiteX503" fmla="*/ 1380411 w 3862373"/>
                <a:gd name="connsiteY503" fmla="*/ 2703174 h 3682908"/>
                <a:gd name="connsiteX504" fmla="*/ 1419499 w 3862373"/>
                <a:gd name="connsiteY504" fmla="*/ 2664086 h 3682908"/>
                <a:gd name="connsiteX505" fmla="*/ 1232585 w 3862373"/>
                <a:gd name="connsiteY505" fmla="*/ 2664086 h 3682908"/>
                <a:gd name="connsiteX506" fmla="*/ 1271670 w 3862373"/>
                <a:gd name="connsiteY506" fmla="*/ 2703174 h 3682908"/>
                <a:gd name="connsiteX507" fmla="*/ 1247799 w 3862373"/>
                <a:gd name="connsiteY507" fmla="*/ 2739189 h 3682908"/>
                <a:gd name="connsiteX508" fmla="*/ 1232822 w 3862373"/>
                <a:gd name="connsiteY508" fmla="*/ 2742213 h 3682908"/>
                <a:gd name="connsiteX509" fmla="*/ 1247798 w 3862373"/>
                <a:gd name="connsiteY509" fmla="*/ 2745237 h 3682908"/>
                <a:gd name="connsiteX510" fmla="*/ 1271670 w 3862373"/>
                <a:gd name="connsiteY510" fmla="*/ 2781252 h 3682908"/>
                <a:gd name="connsiteX511" fmla="*/ 1232585 w 3862373"/>
                <a:gd name="connsiteY511" fmla="*/ 2820339 h 3682908"/>
                <a:gd name="connsiteX512" fmla="*/ 1193499 w 3862373"/>
                <a:gd name="connsiteY512" fmla="*/ 2781252 h 3682908"/>
                <a:gd name="connsiteX513" fmla="*/ 1217369 w 3862373"/>
                <a:gd name="connsiteY513" fmla="*/ 2745237 h 3682908"/>
                <a:gd name="connsiteX514" fmla="*/ 1232349 w 3862373"/>
                <a:gd name="connsiteY514" fmla="*/ 2742213 h 3682908"/>
                <a:gd name="connsiteX515" fmla="*/ 1217369 w 3862373"/>
                <a:gd name="connsiteY515" fmla="*/ 2739189 h 3682908"/>
                <a:gd name="connsiteX516" fmla="*/ 1193499 w 3862373"/>
                <a:gd name="connsiteY516" fmla="*/ 2703174 h 3682908"/>
                <a:gd name="connsiteX517" fmla="*/ 1232585 w 3862373"/>
                <a:gd name="connsiteY517" fmla="*/ 2664086 h 3682908"/>
                <a:gd name="connsiteX518" fmla="*/ 1045666 w 3862373"/>
                <a:gd name="connsiteY518" fmla="*/ 2664086 h 3682908"/>
                <a:gd name="connsiteX519" fmla="*/ 1084754 w 3862373"/>
                <a:gd name="connsiteY519" fmla="*/ 2703174 h 3682908"/>
                <a:gd name="connsiteX520" fmla="*/ 1045666 w 3862373"/>
                <a:gd name="connsiteY520" fmla="*/ 2742261 h 3682908"/>
                <a:gd name="connsiteX521" fmla="*/ 1006580 w 3862373"/>
                <a:gd name="connsiteY521" fmla="*/ 2703174 h 3682908"/>
                <a:gd name="connsiteX522" fmla="*/ 1045666 w 3862373"/>
                <a:gd name="connsiteY522" fmla="*/ 2664086 h 3682908"/>
                <a:gd name="connsiteX523" fmla="*/ 3300455 w 3862373"/>
                <a:gd name="connsiteY523" fmla="*/ 2578910 h 3682908"/>
                <a:gd name="connsiteX524" fmla="*/ 3339543 w 3862373"/>
                <a:gd name="connsiteY524" fmla="*/ 2617997 h 3682908"/>
                <a:gd name="connsiteX525" fmla="*/ 3300455 w 3862373"/>
                <a:gd name="connsiteY525" fmla="*/ 2657085 h 3682908"/>
                <a:gd name="connsiteX526" fmla="*/ 3261368 w 3862373"/>
                <a:gd name="connsiteY526" fmla="*/ 2617997 h 3682908"/>
                <a:gd name="connsiteX527" fmla="*/ 3300455 w 3862373"/>
                <a:gd name="connsiteY527" fmla="*/ 2578910 h 3682908"/>
                <a:gd name="connsiteX528" fmla="*/ 3205815 w 3862373"/>
                <a:gd name="connsiteY528" fmla="*/ 2578910 h 3682908"/>
                <a:gd name="connsiteX529" fmla="*/ 3244903 w 3862373"/>
                <a:gd name="connsiteY529" fmla="*/ 2617997 h 3682908"/>
                <a:gd name="connsiteX530" fmla="*/ 3205815 w 3862373"/>
                <a:gd name="connsiteY530" fmla="*/ 2657085 h 3682908"/>
                <a:gd name="connsiteX531" fmla="*/ 3166728 w 3862373"/>
                <a:gd name="connsiteY531" fmla="*/ 2617997 h 3682908"/>
                <a:gd name="connsiteX532" fmla="*/ 3205815 w 3862373"/>
                <a:gd name="connsiteY532" fmla="*/ 2578910 h 3682908"/>
                <a:gd name="connsiteX533" fmla="*/ 3111175 w 3862373"/>
                <a:gd name="connsiteY533" fmla="*/ 2578910 h 3682908"/>
                <a:gd name="connsiteX534" fmla="*/ 3150262 w 3862373"/>
                <a:gd name="connsiteY534" fmla="*/ 2617997 h 3682908"/>
                <a:gd name="connsiteX535" fmla="*/ 3111175 w 3862373"/>
                <a:gd name="connsiteY535" fmla="*/ 2657085 h 3682908"/>
                <a:gd name="connsiteX536" fmla="*/ 3072088 w 3862373"/>
                <a:gd name="connsiteY536" fmla="*/ 2617997 h 3682908"/>
                <a:gd name="connsiteX537" fmla="*/ 3111175 w 3862373"/>
                <a:gd name="connsiteY537" fmla="*/ 2578910 h 3682908"/>
                <a:gd name="connsiteX538" fmla="*/ 3018901 w 3862373"/>
                <a:gd name="connsiteY538" fmla="*/ 2578910 h 3682908"/>
                <a:gd name="connsiteX539" fmla="*/ 3057988 w 3862373"/>
                <a:gd name="connsiteY539" fmla="*/ 2617997 h 3682908"/>
                <a:gd name="connsiteX540" fmla="*/ 3018901 w 3862373"/>
                <a:gd name="connsiteY540" fmla="*/ 2657085 h 3682908"/>
                <a:gd name="connsiteX541" fmla="*/ 2979813 w 3862373"/>
                <a:gd name="connsiteY541" fmla="*/ 2617997 h 3682908"/>
                <a:gd name="connsiteX542" fmla="*/ 3018901 w 3862373"/>
                <a:gd name="connsiteY542" fmla="*/ 2578910 h 3682908"/>
                <a:gd name="connsiteX543" fmla="*/ 2924262 w 3862373"/>
                <a:gd name="connsiteY543" fmla="*/ 2578910 h 3682908"/>
                <a:gd name="connsiteX544" fmla="*/ 2963349 w 3862373"/>
                <a:gd name="connsiteY544" fmla="*/ 2617997 h 3682908"/>
                <a:gd name="connsiteX545" fmla="*/ 2924262 w 3862373"/>
                <a:gd name="connsiteY545" fmla="*/ 2657085 h 3682908"/>
                <a:gd name="connsiteX546" fmla="*/ 2885175 w 3862373"/>
                <a:gd name="connsiteY546" fmla="*/ 2617997 h 3682908"/>
                <a:gd name="connsiteX547" fmla="*/ 2924262 w 3862373"/>
                <a:gd name="connsiteY547" fmla="*/ 2578910 h 3682908"/>
                <a:gd name="connsiteX548" fmla="*/ 2831987 w 3862373"/>
                <a:gd name="connsiteY548" fmla="*/ 2578910 h 3682908"/>
                <a:gd name="connsiteX549" fmla="*/ 2871074 w 3862373"/>
                <a:gd name="connsiteY549" fmla="*/ 2617997 h 3682908"/>
                <a:gd name="connsiteX550" fmla="*/ 2831987 w 3862373"/>
                <a:gd name="connsiteY550" fmla="*/ 2657085 h 3682908"/>
                <a:gd name="connsiteX551" fmla="*/ 2792900 w 3862373"/>
                <a:gd name="connsiteY551" fmla="*/ 2617997 h 3682908"/>
                <a:gd name="connsiteX552" fmla="*/ 2831987 w 3862373"/>
                <a:gd name="connsiteY552" fmla="*/ 2578910 h 3682908"/>
                <a:gd name="connsiteX553" fmla="*/ 1798047 w 3862373"/>
                <a:gd name="connsiteY553" fmla="*/ 2578910 h 3682908"/>
                <a:gd name="connsiteX554" fmla="*/ 1837133 w 3862373"/>
                <a:gd name="connsiteY554" fmla="*/ 2617997 h 3682908"/>
                <a:gd name="connsiteX555" fmla="*/ 1798047 w 3862373"/>
                <a:gd name="connsiteY555" fmla="*/ 2657085 h 3682908"/>
                <a:gd name="connsiteX556" fmla="*/ 1758959 w 3862373"/>
                <a:gd name="connsiteY556" fmla="*/ 2617997 h 3682908"/>
                <a:gd name="connsiteX557" fmla="*/ 1798047 w 3862373"/>
                <a:gd name="connsiteY557" fmla="*/ 2578910 h 3682908"/>
                <a:gd name="connsiteX558" fmla="*/ 1703409 w 3862373"/>
                <a:gd name="connsiteY558" fmla="*/ 2578910 h 3682908"/>
                <a:gd name="connsiteX559" fmla="*/ 1742497 w 3862373"/>
                <a:gd name="connsiteY559" fmla="*/ 2617997 h 3682908"/>
                <a:gd name="connsiteX560" fmla="*/ 1703409 w 3862373"/>
                <a:gd name="connsiteY560" fmla="*/ 2657085 h 3682908"/>
                <a:gd name="connsiteX561" fmla="*/ 1664323 w 3862373"/>
                <a:gd name="connsiteY561" fmla="*/ 2617997 h 3682908"/>
                <a:gd name="connsiteX562" fmla="*/ 1703409 w 3862373"/>
                <a:gd name="connsiteY562" fmla="*/ 2578910 h 3682908"/>
                <a:gd name="connsiteX563" fmla="*/ 1611131 w 3862373"/>
                <a:gd name="connsiteY563" fmla="*/ 2578910 h 3682908"/>
                <a:gd name="connsiteX564" fmla="*/ 1650221 w 3862373"/>
                <a:gd name="connsiteY564" fmla="*/ 2617997 h 3682908"/>
                <a:gd name="connsiteX565" fmla="*/ 1611131 w 3862373"/>
                <a:gd name="connsiteY565" fmla="*/ 2657085 h 3682908"/>
                <a:gd name="connsiteX566" fmla="*/ 1572058 w 3862373"/>
                <a:gd name="connsiteY566" fmla="*/ 2617997 h 3682908"/>
                <a:gd name="connsiteX567" fmla="*/ 1611131 w 3862373"/>
                <a:gd name="connsiteY567" fmla="*/ 2578910 h 3682908"/>
                <a:gd name="connsiteX568" fmla="*/ 1516504 w 3862373"/>
                <a:gd name="connsiteY568" fmla="*/ 2578910 h 3682908"/>
                <a:gd name="connsiteX569" fmla="*/ 1555592 w 3862373"/>
                <a:gd name="connsiteY569" fmla="*/ 2617997 h 3682908"/>
                <a:gd name="connsiteX570" fmla="*/ 1516504 w 3862373"/>
                <a:gd name="connsiteY570" fmla="*/ 2657085 h 3682908"/>
                <a:gd name="connsiteX571" fmla="*/ 1477417 w 3862373"/>
                <a:gd name="connsiteY571" fmla="*/ 2617997 h 3682908"/>
                <a:gd name="connsiteX572" fmla="*/ 1516504 w 3862373"/>
                <a:gd name="connsiteY572" fmla="*/ 2578910 h 3682908"/>
                <a:gd name="connsiteX573" fmla="*/ 1419499 w 3862373"/>
                <a:gd name="connsiteY573" fmla="*/ 2578910 h 3682908"/>
                <a:gd name="connsiteX574" fmla="*/ 1458586 w 3862373"/>
                <a:gd name="connsiteY574" fmla="*/ 2617997 h 3682908"/>
                <a:gd name="connsiteX575" fmla="*/ 1419499 w 3862373"/>
                <a:gd name="connsiteY575" fmla="*/ 2657085 h 3682908"/>
                <a:gd name="connsiteX576" fmla="*/ 1380410 w 3862373"/>
                <a:gd name="connsiteY576" fmla="*/ 2617997 h 3682908"/>
                <a:gd name="connsiteX577" fmla="*/ 1419499 w 3862373"/>
                <a:gd name="connsiteY577" fmla="*/ 2578910 h 3682908"/>
                <a:gd name="connsiteX578" fmla="*/ 1329590 w 3862373"/>
                <a:gd name="connsiteY578" fmla="*/ 2578910 h 3682908"/>
                <a:gd name="connsiteX579" fmla="*/ 1368677 w 3862373"/>
                <a:gd name="connsiteY579" fmla="*/ 2617997 h 3682908"/>
                <a:gd name="connsiteX580" fmla="*/ 1329590 w 3862373"/>
                <a:gd name="connsiteY580" fmla="*/ 2657085 h 3682908"/>
                <a:gd name="connsiteX581" fmla="*/ 1290504 w 3862373"/>
                <a:gd name="connsiteY581" fmla="*/ 2617997 h 3682908"/>
                <a:gd name="connsiteX582" fmla="*/ 1329590 w 3862373"/>
                <a:gd name="connsiteY582" fmla="*/ 2578910 h 3682908"/>
                <a:gd name="connsiteX583" fmla="*/ 1232588 w 3862373"/>
                <a:gd name="connsiteY583" fmla="*/ 2578910 h 3682908"/>
                <a:gd name="connsiteX584" fmla="*/ 1271672 w 3862373"/>
                <a:gd name="connsiteY584" fmla="*/ 2617997 h 3682908"/>
                <a:gd name="connsiteX585" fmla="*/ 1232588 w 3862373"/>
                <a:gd name="connsiteY585" fmla="*/ 2657085 h 3682908"/>
                <a:gd name="connsiteX586" fmla="*/ 1193502 w 3862373"/>
                <a:gd name="connsiteY586" fmla="*/ 2617997 h 3682908"/>
                <a:gd name="connsiteX587" fmla="*/ 1232588 w 3862373"/>
                <a:gd name="connsiteY587" fmla="*/ 2578910 h 3682908"/>
                <a:gd name="connsiteX588" fmla="*/ 1142677 w 3862373"/>
                <a:gd name="connsiteY588" fmla="*/ 2578910 h 3682908"/>
                <a:gd name="connsiteX589" fmla="*/ 1181764 w 3862373"/>
                <a:gd name="connsiteY589" fmla="*/ 2617997 h 3682908"/>
                <a:gd name="connsiteX590" fmla="*/ 1142677 w 3862373"/>
                <a:gd name="connsiteY590" fmla="*/ 2657085 h 3682908"/>
                <a:gd name="connsiteX591" fmla="*/ 1103588 w 3862373"/>
                <a:gd name="connsiteY591" fmla="*/ 2617997 h 3682908"/>
                <a:gd name="connsiteX592" fmla="*/ 1142677 w 3862373"/>
                <a:gd name="connsiteY592" fmla="*/ 2578910 h 3682908"/>
                <a:gd name="connsiteX593" fmla="*/ 1045667 w 3862373"/>
                <a:gd name="connsiteY593" fmla="*/ 2578910 h 3682908"/>
                <a:gd name="connsiteX594" fmla="*/ 1084755 w 3862373"/>
                <a:gd name="connsiteY594" fmla="*/ 2617997 h 3682908"/>
                <a:gd name="connsiteX595" fmla="*/ 1045667 w 3862373"/>
                <a:gd name="connsiteY595" fmla="*/ 2657085 h 3682908"/>
                <a:gd name="connsiteX596" fmla="*/ 1006581 w 3862373"/>
                <a:gd name="connsiteY596" fmla="*/ 2617997 h 3682908"/>
                <a:gd name="connsiteX597" fmla="*/ 1045667 w 3862373"/>
                <a:gd name="connsiteY597" fmla="*/ 2578910 h 3682908"/>
                <a:gd name="connsiteX598" fmla="*/ 3300455 w 3862373"/>
                <a:gd name="connsiteY598" fmla="*/ 2486637 h 3682908"/>
                <a:gd name="connsiteX599" fmla="*/ 3339543 w 3862373"/>
                <a:gd name="connsiteY599" fmla="*/ 2525724 h 3682908"/>
                <a:gd name="connsiteX600" fmla="*/ 3300455 w 3862373"/>
                <a:gd name="connsiteY600" fmla="*/ 2564811 h 3682908"/>
                <a:gd name="connsiteX601" fmla="*/ 3261368 w 3862373"/>
                <a:gd name="connsiteY601" fmla="*/ 2525724 h 3682908"/>
                <a:gd name="connsiteX602" fmla="*/ 3300455 w 3862373"/>
                <a:gd name="connsiteY602" fmla="*/ 2486637 h 3682908"/>
                <a:gd name="connsiteX603" fmla="*/ 3205815 w 3862373"/>
                <a:gd name="connsiteY603" fmla="*/ 2486637 h 3682908"/>
                <a:gd name="connsiteX604" fmla="*/ 3244903 w 3862373"/>
                <a:gd name="connsiteY604" fmla="*/ 2525724 h 3682908"/>
                <a:gd name="connsiteX605" fmla="*/ 3205815 w 3862373"/>
                <a:gd name="connsiteY605" fmla="*/ 2564811 h 3682908"/>
                <a:gd name="connsiteX606" fmla="*/ 3166728 w 3862373"/>
                <a:gd name="connsiteY606" fmla="*/ 2525724 h 3682908"/>
                <a:gd name="connsiteX607" fmla="*/ 3205815 w 3862373"/>
                <a:gd name="connsiteY607" fmla="*/ 2486637 h 3682908"/>
                <a:gd name="connsiteX608" fmla="*/ 3111175 w 3862373"/>
                <a:gd name="connsiteY608" fmla="*/ 2486637 h 3682908"/>
                <a:gd name="connsiteX609" fmla="*/ 3150262 w 3862373"/>
                <a:gd name="connsiteY609" fmla="*/ 2525724 h 3682908"/>
                <a:gd name="connsiteX610" fmla="*/ 3111175 w 3862373"/>
                <a:gd name="connsiteY610" fmla="*/ 2564811 h 3682908"/>
                <a:gd name="connsiteX611" fmla="*/ 3072088 w 3862373"/>
                <a:gd name="connsiteY611" fmla="*/ 2525724 h 3682908"/>
                <a:gd name="connsiteX612" fmla="*/ 3111175 w 3862373"/>
                <a:gd name="connsiteY612" fmla="*/ 2486637 h 3682908"/>
                <a:gd name="connsiteX613" fmla="*/ 3018901 w 3862373"/>
                <a:gd name="connsiteY613" fmla="*/ 2486637 h 3682908"/>
                <a:gd name="connsiteX614" fmla="*/ 3057988 w 3862373"/>
                <a:gd name="connsiteY614" fmla="*/ 2525724 h 3682908"/>
                <a:gd name="connsiteX615" fmla="*/ 3018901 w 3862373"/>
                <a:gd name="connsiteY615" fmla="*/ 2564811 h 3682908"/>
                <a:gd name="connsiteX616" fmla="*/ 2979813 w 3862373"/>
                <a:gd name="connsiteY616" fmla="*/ 2525724 h 3682908"/>
                <a:gd name="connsiteX617" fmla="*/ 3018901 w 3862373"/>
                <a:gd name="connsiteY617" fmla="*/ 2486637 h 3682908"/>
                <a:gd name="connsiteX618" fmla="*/ 2924262 w 3862373"/>
                <a:gd name="connsiteY618" fmla="*/ 2486637 h 3682908"/>
                <a:gd name="connsiteX619" fmla="*/ 2963349 w 3862373"/>
                <a:gd name="connsiteY619" fmla="*/ 2525724 h 3682908"/>
                <a:gd name="connsiteX620" fmla="*/ 2924262 w 3862373"/>
                <a:gd name="connsiteY620" fmla="*/ 2564811 h 3682908"/>
                <a:gd name="connsiteX621" fmla="*/ 2885175 w 3862373"/>
                <a:gd name="connsiteY621" fmla="*/ 2525724 h 3682908"/>
                <a:gd name="connsiteX622" fmla="*/ 2924262 w 3862373"/>
                <a:gd name="connsiteY622" fmla="*/ 2486637 h 3682908"/>
                <a:gd name="connsiteX623" fmla="*/ 2831987 w 3862373"/>
                <a:gd name="connsiteY623" fmla="*/ 2486637 h 3682908"/>
                <a:gd name="connsiteX624" fmla="*/ 2871074 w 3862373"/>
                <a:gd name="connsiteY624" fmla="*/ 2525724 h 3682908"/>
                <a:gd name="connsiteX625" fmla="*/ 2831987 w 3862373"/>
                <a:gd name="connsiteY625" fmla="*/ 2564811 h 3682908"/>
                <a:gd name="connsiteX626" fmla="*/ 2792900 w 3862373"/>
                <a:gd name="connsiteY626" fmla="*/ 2525724 h 3682908"/>
                <a:gd name="connsiteX627" fmla="*/ 2831987 w 3862373"/>
                <a:gd name="connsiteY627" fmla="*/ 2486637 h 3682908"/>
                <a:gd name="connsiteX628" fmla="*/ 1798047 w 3862373"/>
                <a:gd name="connsiteY628" fmla="*/ 2486637 h 3682908"/>
                <a:gd name="connsiteX629" fmla="*/ 1837133 w 3862373"/>
                <a:gd name="connsiteY629" fmla="*/ 2525724 h 3682908"/>
                <a:gd name="connsiteX630" fmla="*/ 1798047 w 3862373"/>
                <a:gd name="connsiteY630" fmla="*/ 2564811 h 3682908"/>
                <a:gd name="connsiteX631" fmla="*/ 1758962 w 3862373"/>
                <a:gd name="connsiteY631" fmla="*/ 2525724 h 3682908"/>
                <a:gd name="connsiteX632" fmla="*/ 1798047 w 3862373"/>
                <a:gd name="connsiteY632" fmla="*/ 2486637 h 3682908"/>
                <a:gd name="connsiteX633" fmla="*/ 1703410 w 3862373"/>
                <a:gd name="connsiteY633" fmla="*/ 2486637 h 3682908"/>
                <a:gd name="connsiteX634" fmla="*/ 1742497 w 3862373"/>
                <a:gd name="connsiteY634" fmla="*/ 2525724 h 3682908"/>
                <a:gd name="connsiteX635" fmla="*/ 1703410 w 3862373"/>
                <a:gd name="connsiteY635" fmla="*/ 2564811 h 3682908"/>
                <a:gd name="connsiteX636" fmla="*/ 1664323 w 3862373"/>
                <a:gd name="connsiteY636" fmla="*/ 2525724 h 3682908"/>
                <a:gd name="connsiteX637" fmla="*/ 1703410 w 3862373"/>
                <a:gd name="connsiteY637" fmla="*/ 2486637 h 3682908"/>
                <a:gd name="connsiteX638" fmla="*/ 1611133 w 3862373"/>
                <a:gd name="connsiteY638" fmla="*/ 2486637 h 3682908"/>
                <a:gd name="connsiteX639" fmla="*/ 1650221 w 3862373"/>
                <a:gd name="connsiteY639" fmla="*/ 2525724 h 3682908"/>
                <a:gd name="connsiteX640" fmla="*/ 1611133 w 3862373"/>
                <a:gd name="connsiteY640" fmla="*/ 2564811 h 3682908"/>
                <a:gd name="connsiteX641" fmla="*/ 1572059 w 3862373"/>
                <a:gd name="connsiteY641" fmla="*/ 2525724 h 3682908"/>
                <a:gd name="connsiteX642" fmla="*/ 1611133 w 3862373"/>
                <a:gd name="connsiteY642" fmla="*/ 2486637 h 3682908"/>
                <a:gd name="connsiteX643" fmla="*/ 1516507 w 3862373"/>
                <a:gd name="connsiteY643" fmla="*/ 2486637 h 3682908"/>
                <a:gd name="connsiteX644" fmla="*/ 1555594 w 3862373"/>
                <a:gd name="connsiteY644" fmla="*/ 2525724 h 3682908"/>
                <a:gd name="connsiteX645" fmla="*/ 1516507 w 3862373"/>
                <a:gd name="connsiteY645" fmla="*/ 2564811 h 3682908"/>
                <a:gd name="connsiteX646" fmla="*/ 1477419 w 3862373"/>
                <a:gd name="connsiteY646" fmla="*/ 2525724 h 3682908"/>
                <a:gd name="connsiteX647" fmla="*/ 1516507 w 3862373"/>
                <a:gd name="connsiteY647" fmla="*/ 2486637 h 3682908"/>
                <a:gd name="connsiteX648" fmla="*/ 1419502 w 3862373"/>
                <a:gd name="connsiteY648" fmla="*/ 2486637 h 3682908"/>
                <a:gd name="connsiteX649" fmla="*/ 1458588 w 3862373"/>
                <a:gd name="connsiteY649" fmla="*/ 2525724 h 3682908"/>
                <a:gd name="connsiteX650" fmla="*/ 1419502 w 3862373"/>
                <a:gd name="connsiteY650" fmla="*/ 2564811 h 3682908"/>
                <a:gd name="connsiteX651" fmla="*/ 1380412 w 3862373"/>
                <a:gd name="connsiteY651" fmla="*/ 2525724 h 3682908"/>
                <a:gd name="connsiteX652" fmla="*/ 1419502 w 3862373"/>
                <a:gd name="connsiteY652" fmla="*/ 2486637 h 3682908"/>
                <a:gd name="connsiteX653" fmla="*/ 1329592 w 3862373"/>
                <a:gd name="connsiteY653" fmla="*/ 2486637 h 3682908"/>
                <a:gd name="connsiteX654" fmla="*/ 1368679 w 3862373"/>
                <a:gd name="connsiteY654" fmla="*/ 2525724 h 3682908"/>
                <a:gd name="connsiteX655" fmla="*/ 1329592 w 3862373"/>
                <a:gd name="connsiteY655" fmla="*/ 2564811 h 3682908"/>
                <a:gd name="connsiteX656" fmla="*/ 1290506 w 3862373"/>
                <a:gd name="connsiteY656" fmla="*/ 2525724 h 3682908"/>
                <a:gd name="connsiteX657" fmla="*/ 1329592 w 3862373"/>
                <a:gd name="connsiteY657" fmla="*/ 2486637 h 3682908"/>
                <a:gd name="connsiteX658" fmla="*/ 1232589 w 3862373"/>
                <a:gd name="connsiteY658" fmla="*/ 2486637 h 3682908"/>
                <a:gd name="connsiteX659" fmla="*/ 1271673 w 3862373"/>
                <a:gd name="connsiteY659" fmla="*/ 2525724 h 3682908"/>
                <a:gd name="connsiteX660" fmla="*/ 1232589 w 3862373"/>
                <a:gd name="connsiteY660" fmla="*/ 2564811 h 3682908"/>
                <a:gd name="connsiteX661" fmla="*/ 1193504 w 3862373"/>
                <a:gd name="connsiteY661" fmla="*/ 2525724 h 3682908"/>
                <a:gd name="connsiteX662" fmla="*/ 1232589 w 3862373"/>
                <a:gd name="connsiteY662" fmla="*/ 2486637 h 3682908"/>
                <a:gd name="connsiteX663" fmla="*/ 1142679 w 3862373"/>
                <a:gd name="connsiteY663" fmla="*/ 2486637 h 3682908"/>
                <a:gd name="connsiteX664" fmla="*/ 1181766 w 3862373"/>
                <a:gd name="connsiteY664" fmla="*/ 2525724 h 3682908"/>
                <a:gd name="connsiteX665" fmla="*/ 1142679 w 3862373"/>
                <a:gd name="connsiteY665" fmla="*/ 2564811 h 3682908"/>
                <a:gd name="connsiteX666" fmla="*/ 1103589 w 3862373"/>
                <a:gd name="connsiteY666" fmla="*/ 2525724 h 3682908"/>
                <a:gd name="connsiteX667" fmla="*/ 1142679 w 3862373"/>
                <a:gd name="connsiteY667" fmla="*/ 2486637 h 3682908"/>
                <a:gd name="connsiteX668" fmla="*/ 1045669 w 3862373"/>
                <a:gd name="connsiteY668" fmla="*/ 2486637 h 3682908"/>
                <a:gd name="connsiteX669" fmla="*/ 1084757 w 3862373"/>
                <a:gd name="connsiteY669" fmla="*/ 2525724 h 3682908"/>
                <a:gd name="connsiteX670" fmla="*/ 1045669 w 3862373"/>
                <a:gd name="connsiteY670" fmla="*/ 2564811 h 3682908"/>
                <a:gd name="connsiteX671" fmla="*/ 1006583 w 3862373"/>
                <a:gd name="connsiteY671" fmla="*/ 2525724 h 3682908"/>
                <a:gd name="connsiteX672" fmla="*/ 1045669 w 3862373"/>
                <a:gd name="connsiteY672" fmla="*/ 2486637 h 3682908"/>
                <a:gd name="connsiteX673" fmla="*/ 951032 w 3862373"/>
                <a:gd name="connsiteY673" fmla="*/ 2486637 h 3682908"/>
                <a:gd name="connsiteX674" fmla="*/ 990118 w 3862373"/>
                <a:gd name="connsiteY674" fmla="*/ 2525724 h 3682908"/>
                <a:gd name="connsiteX675" fmla="*/ 951032 w 3862373"/>
                <a:gd name="connsiteY675" fmla="*/ 2564811 h 3682908"/>
                <a:gd name="connsiteX676" fmla="*/ 911947 w 3862373"/>
                <a:gd name="connsiteY676" fmla="*/ 2525724 h 3682908"/>
                <a:gd name="connsiteX677" fmla="*/ 951032 w 3862373"/>
                <a:gd name="connsiteY677" fmla="*/ 2486637 h 3682908"/>
                <a:gd name="connsiteX678" fmla="*/ 3392730 w 3862373"/>
                <a:gd name="connsiteY678" fmla="*/ 2401461 h 3682908"/>
                <a:gd name="connsiteX679" fmla="*/ 3431817 w 3862373"/>
                <a:gd name="connsiteY679" fmla="*/ 2440548 h 3682908"/>
                <a:gd name="connsiteX680" fmla="*/ 3392730 w 3862373"/>
                <a:gd name="connsiteY680" fmla="*/ 2479635 h 3682908"/>
                <a:gd name="connsiteX681" fmla="*/ 3353643 w 3862373"/>
                <a:gd name="connsiteY681" fmla="*/ 2440548 h 3682908"/>
                <a:gd name="connsiteX682" fmla="*/ 3392730 w 3862373"/>
                <a:gd name="connsiteY682" fmla="*/ 2401461 h 3682908"/>
                <a:gd name="connsiteX683" fmla="*/ 3300455 w 3862373"/>
                <a:gd name="connsiteY683" fmla="*/ 2401461 h 3682908"/>
                <a:gd name="connsiteX684" fmla="*/ 3339543 w 3862373"/>
                <a:gd name="connsiteY684" fmla="*/ 2440548 h 3682908"/>
                <a:gd name="connsiteX685" fmla="*/ 3300455 w 3862373"/>
                <a:gd name="connsiteY685" fmla="*/ 2479635 h 3682908"/>
                <a:gd name="connsiteX686" fmla="*/ 3261368 w 3862373"/>
                <a:gd name="connsiteY686" fmla="*/ 2440548 h 3682908"/>
                <a:gd name="connsiteX687" fmla="*/ 3300455 w 3862373"/>
                <a:gd name="connsiteY687" fmla="*/ 2401461 h 3682908"/>
                <a:gd name="connsiteX688" fmla="*/ 3205815 w 3862373"/>
                <a:gd name="connsiteY688" fmla="*/ 2401461 h 3682908"/>
                <a:gd name="connsiteX689" fmla="*/ 3244903 w 3862373"/>
                <a:gd name="connsiteY689" fmla="*/ 2440548 h 3682908"/>
                <a:gd name="connsiteX690" fmla="*/ 3205815 w 3862373"/>
                <a:gd name="connsiteY690" fmla="*/ 2479635 h 3682908"/>
                <a:gd name="connsiteX691" fmla="*/ 3166728 w 3862373"/>
                <a:gd name="connsiteY691" fmla="*/ 2440548 h 3682908"/>
                <a:gd name="connsiteX692" fmla="*/ 3205815 w 3862373"/>
                <a:gd name="connsiteY692" fmla="*/ 2401461 h 3682908"/>
                <a:gd name="connsiteX693" fmla="*/ 3111175 w 3862373"/>
                <a:gd name="connsiteY693" fmla="*/ 2401461 h 3682908"/>
                <a:gd name="connsiteX694" fmla="*/ 3150262 w 3862373"/>
                <a:gd name="connsiteY694" fmla="*/ 2440548 h 3682908"/>
                <a:gd name="connsiteX695" fmla="*/ 3111175 w 3862373"/>
                <a:gd name="connsiteY695" fmla="*/ 2479635 h 3682908"/>
                <a:gd name="connsiteX696" fmla="*/ 3072088 w 3862373"/>
                <a:gd name="connsiteY696" fmla="*/ 2440548 h 3682908"/>
                <a:gd name="connsiteX697" fmla="*/ 3111175 w 3862373"/>
                <a:gd name="connsiteY697" fmla="*/ 2401461 h 3682908"/>
                <a:gd name="connsiteX698" fmla="*/ 3018901 w 3862373"/>
                <a:gd name="connsiteY698" fmla="*/ 2401461 h 3682908"/>
                <a:gd name="connsiteX699" fmla="*/ 3057988 w 3862373"/>
                <a:gd name="connsiteY699" fmla="*/ 2440548 h 3682908"/>
                <a:gd name="connsiteX700" fmla="*/ 3018901 w 3862373"/>
                <a:gd name="connsiteY700" fmla="*/ 2479635 h 3682908"/>
                <a:gd name="connsiteX701" fmla="*/ 2979813 w 3862373"/>
                <a:gd name="connsiteY701" fmla="*/ 2440548 h 3682908"/>
                <a:gd name="connsiteX702" fmla="*/ 3018901 w 3862373"/>
                <a:gd name="connsiteY702" fmla="*/ 2401461 h 3682908"/>
                <a:gd name="connsiteX703" fmla="*/ 2924262 w 3862373"/>
                <a:gd name="connsiteY703" fmla="*/ 2401461 h 3682908"/>
                <a:gd name="connsiteX704" fmla="*/ 2963349 w 3862373"/>
                <a:gd name="connsiteY704" fmla="*/ 2440548 h 3682908"/>
                <a:gd name="connsiteX705" fmla="*/ 2924262 w 3862373"/>
                <a:gd name="connsiteY705" fmla="*/ 2479635 h 3682908"/>
                <a:gd name="connsiteX706" fmla="*/ 2885175 w 3862373"/>
                <a:gd name="connsiteY706" fmla="*/ 2440548 h 3682908"/>
                <a:gd name="connsiteX707" fmla="*/ 2924262 w 3862373"/>
                <a:gd name="connsiteY707" fmla="*/ 2401461 h 3682908"/>
                <a:gd name="connsiteX708" fmla="*/ 2831987 w 3862373"/>
                <a:gd name="connsiteY708" fmla="*/ 2401461 h 3682908"/>
                <a:gd name="connsiteX709" fmla="*/ 2871074 w 3862373"/>
                <a:gd name="connsiteY709" fmla="*/ 2440548 h 3682908"/>
                <a:gd name="connsiteX710" fmla="*/ 2831987 w 3862373"/>
                <a:gd name="connsiteY710" fmla="*/ 2479635 h 3682908"/>
                <a:gd name="connsiteX711" fmla="*/ 2792900 w 3862373"/>
                <a:gd name="connsiteY711" fmla="*/ 2440548 h 3682908"/>
                <a:gd name="connsiteX712" fmla="*/ 2831987 w 3862373"/>
                <a:gd name="connsiteY712" fmla="*/ 2401461 h 3682908"/>
                <a:gd name="connsiteX713" fmla="*/ 2737353 w 3862373"/>
                <a:gd name="connsiteY713" fmla="*/ 2401461 h 3682908"/>
                <a:gd name="connsiteX714" fmla="*/ 2776434 w 3862373"/>
                <a:gd name="connsiteY714" fmla="*/ 2440548 h 3682908"/>
                <a:gd name="connsiteX715" fmla="*/ 2737353 w 3862373"/>
                <a:gd name="connsiteY715" fmla="*/ 2479635 h 3682908"/>
                <a:gd name="connsiteX716" fmla="*/ 2698263 w 3862373"/>
                <a:gd name="connsiteY716" fmla="*/ 2440548 h 3682908"/>
                <a:gd name="connsiteX717" fmla="*/ 2737353 w 3862373"/>
                <a:gd name="connsiteY717" fmla="*/ 2401461 h 3682908"/>
                <a:gd name="connsiteX718" fmla="*/ 1611133 w 3862373"/>
                <a:gd name="connsiteY718" fmla="*/ 2401461 h 3682908"/>
                <a:gd name="connsiteX719" fmla="*/ 1650223 w 3862373"/>
                <a:gd name="connsiteY719" fmla="*/ 2440548 h 3682908"/>
                <a:gd name="connsiteX720" fmla="*/ 1611133 w 3862373"/>
                <a:gd name="connsiteY720" fmla="*/ 2479635 h 3682908"/>
                <a:gd name="connsiteX721" fmla="*/ 1572061 w 3862373"/>
                <a:gd name="connsiteY721" fmla="*/ 2440548 h 3682908"/>
                <a:gd name="connsiteX722" fmla="*/ 1611133 w 3862373"/>
                <a:gd name="connsiteY722" fmla="*/ 2401461 h 3682908"/>
                <a:gd name="connsiteX723" fmla="*/ 1516509 w 3862373"/>
                <a:gd name="connsiteY723" fmla="*/ 2401461 h 3682908"/>
                <a:gd name="connsiteX724" fmla="*/ 1555596 w 3862373"/>
                <a:gd name="connsiteY724" fmla="*/ 2440548 h 3682908"/>
                <a:gd name="connsiteX725" fmla="*/ 1516509 w 3862373"/>
                <a:gd name="connsiteY725" fmla="*/ 2479635 h 3682908"/>
                <a:gd name="connsiteX726" fmla="*/ 1477421 w 3862373"/>
                <a:gd name="connsiteY726" fmla="*/ 2440548 h 3682908"/>
                <a:gd name="connsiteX727" fmla="*/ 1516509 w 3862373"/>
                <a:gd name="connsiteY727" fmla="*/ 2401461 h 3682908"/>
                <a:gd name="connsiteX728" fmla="*/ 1419503 w 3862373"/>
                <a:gd name="connsiteY728" fmla="*/ 2401461 h 3682908"/>
                <a:gd name="connsiteX729" fmla="*/ 1458589 w 3862373"/>
                <a:gd name="connsiteY729" fmla="*/ 2440548 h 3682908"/>
                <a:gd name="connsiteX730" fmla="*/ 1419503 w 3862373"/>
                <a:gd name="connsiteY730" fmla="*/ 2479635 h 3682908"/>
                <a:gd name="connsiteX731" fmla="*/ 1380413 w 3862373"/>
                <a:gd name="connsiteY731" fmla="*/ 2440548 h 3682908"/>
                <a:gd name="connsiteX732" fmla="*/ 1419503 w 3862373"/>
                <a:gd name="connsiteY732" fmla="*/ 2401461 h 3682908"/>
                <a:gd name="connsiteX733" fmla="*/ 1329593 w 3862373"/>
                <a:gd name="connsiteY733" fmla="*/ 2401461 h 3682908"/>
                <a:gd name="connsiteX734" fmla="*/ 1368682 w 3862373"/>
                <a:gd name="connsiteY734" fmla="*/ 2440548 h 3682908"/>
                <a:gd name="connsiteX735" fmla="*/ 1329593 w 3862373"/>
                <a:gd name="connsiteY735" fmla="*/ 2479635 h 3682908"/>
                <a:gd name="connsiteX736" fmla="*/ 1290509 w 3862373"/>
                <a:gd name="connsiteY736" fmla="*/ 2440548 h 3682908"/>
                <a:gd name="connsiteX737" fmla="*/ 1329593 w 3862373"/>
                <a:gd name="connsiteY737" fmla="*/ 2401461 h 3682908"/>
                <a:gd name="connsiteX738" fmla="*/ 1232592 w 3862373"/>
                <a:gd name="connsiteY738" fmla="*/ 2401461 h 3682908"/>
                <a:gd name="connsiteX739" fmla="*/ 1271676 w 3862373"/>
                <a:gd name="connsiteY739" fmla="*/ 2440548 h 3682908"/>
                <a:gd name="connsiteX740" fmla="*/ 1232592 w 3862373"/>
                <a:gd name="connsiteY740" fmla="*/ 2479635 h 3682908"/>
                <a:gd name="connsiteX741" fmla="*/ 1193507 w 3862373"/>
                <a:gd name="connsiteY741" fmla="*/ 2440548 h 3682908"/>
                <a:gd name="connsiteX742" fmla="*/ 1232592 w 3862373"/>
                <a:gd name="connsiteY742" fmla="*/ 2401461 h 3682908"/>
                <a:gd name="connsiteX743" fmla="*/ 1142682 w 3862373"/>
                <a:gd name="connsiteY743" fmla="*/ 2401461 h 3682908"/>
                <a:gd name="connsiteX744" fmla="*/ 1181770 w 3862373"/>
                <a:gd name="connsiteY744" fmla="*/ 2440548 h 3682908"/>
                <a:gd name="connsiteX745" fmla="*/ 1142682 w 3862373"/>
                <a:gd name="connsiteY745" fmla="*/ 2479635 h 3682908"/>
                <a:gd name="connsiteX746" fmla="*/ 1103591 w 3862373"/>
                <a:gd name="connsiteY746" fmla="*/ 2440548 h 3682908"/>
                <a:gd name="connsiteX747" fmla="*/ 1142682 w 3862373"/>
                <a:gd name="connsiteY747" fmla="*/ 2401461 h 3682908"/>
                <a:gd name="connsiteX748" fmla="*/ 1045671 w 3862373"/>
                <a:gd name="connsiteY748" fmla="*/ 2401461 h 3682908"/>
                <a:gd name="connsiteX749" fmla="*/ 1084758 w 3862373"/>
                <a:gd name="connsiteY749" fmla="*/ 2440548 h 3682908"/>
                <a:gd name="connsiteX750" fmla="*/ 1045671 w 3862373"/>
                <a:gd name="connsiteY750" fmla="*/ 2479635 h 3682908"/>
                <a:gd name="connsiteX751" fmla="*/ 1006585 w 3862373"/>
                <a:gd name="connsiteY751" fmla="*/ 2440548 h 3682908"/>
                <a:gd name="connsiteX752" fmla="*/ 1045671 w 3862373"/>
                <a:gd name="connsiteY752" fmla="*/ 2401461 h 3682908"/>
                <a:gd name="connsiteX753" fmla="*/ 951035 w 3862373"/>
                <a:gd name="connsiteY753" fmla="*/ 2401461 h 3682908"/>
                <a:gd name="connsiteX754" fmla="*/ 990120 w 3862373"/>
                <a:gd name="connsiteY754" fmla="*/ 2440548 h 3682908"/>
                <a:gd name="connsiteX755" fmla="*/ 951035 w 3862373"/>
                <a:gd name="connsiteY755" fmla="*/ 2479635 h 3682908"/>
                <a:gd name="connsiteX756" fmla="*/ 911949 w 3862373"/>
                <a:gd name="connsiteY756" fmla="*/ 2440548 h 3682908"/>
                <a:gd name="connsiteX757" fmla="*/ 951035 w 3862373"/>
                <a:gd name="connsiteY757" fmla="*/ 2401461 h 3682908"/>
                <a:gd name="connsiteX758" fmla="*/ 3300457 w 3862373"/>
                <a:gd name="connsiteY758" fmla="*/ 2318653 h 3682908"/>
                <a:gd name="connsiteX759" fmla="*/ 3339544 w 3862373"/>
                <a:gd name="connsiteY759" fmla="*/ 2357740 h 3682908"/>
                <a:gd name="connsiteX760" fmla="*/ 3300457 w 3862373"/>
                <a:gd name="connsiteY760" fmla="*/ 2396827 h 3682908"/>
                <a:gd name="connsiteX761" fmla="*/ 3261369 w 3862373"/>
                <a:gd name="connsiteY761" fmla="*/ 2357740 h 3682908"/>
                <a:gd name="connsiteX762" fmla="*/ 3300457 w 3862373"/>
                <a:gd name="connsiteY762" fmla="*/ 2318653 h 3682908"/>
                <a:gd name="connsiteX763" fmla="*/ 3205817 w 3862373"/>
                <a:gd name="connsiteY763" fmla="*/ 2318653 h 3682908"/>
                <a:gd name="connsiteX764" fmla="*/ 3244904 w 3862373"/>
                <a:gd name="connsiteY764" fmla="*/ 2357740 h 3682908"/>
                <a:gd name="connsiteX765" fmla="*/ 3205817 w 3862373"/>
                <a:gd name="connsiteY765" fmla="*/ 2396827 h 3682908"/>
                <a:gd name="connsiteX766" fmla="*/ 3166729 w 3862373"/>
                <a:gd name="connsiteY766" fmla="*/ 2357740 h 3682908"/>
                <a:gd name="connsiteX767" fmla="*/ 3205817 w 3862373"/>
                <a:gd name="connsiteY767" fmla="*/ 2318653 h 3682908"/>
                <a:gd name="connsiteX768" fmla="*/ 3111177 w 3862373"/>
                <a:gd name="connsiteY768" fmla="*/ 2318653 h 3682908"/>
                <a:gd name="connsiteX769" fmla="*/ 3150264 w 3862373"/>
                <a:gd name="connsiteY769" fmla="*/ 2357740 h 3682908"/>
                <a:gd name="connsiteX770" fmla="*/ 3111177 w 3862373"/>
                <a:gd name="connsiteY770" fmla="*/ 2396827 h 3682908"/>
                <a:gd name="connsiteX771" fmla="*/ 3072089 w 3862373"/>
                <a:gd name="connsiteY771" fmla="*/ 2357740 h 3682908"/>
                <a:gd name="connsiteX772" fmla="*/ 3111177 w 3862373"/>
                <a:gd name="connsiteY772" fmla="*/ 2318653 h 3682908"/>
                <a:gd name="connsiteX773" fmla="*/ 3018902 w 3862373"/>
                <a:gd name="connsiteY773" fmla="*/ 2318653 h 3682908"/>
                <a:gd name="connsiteX774" fmla="*/ 3057989 w 3862373"/>
                <a:gd name="connsiteY774" fmla="*/ 2357740 h 3682908"/>
                <a:gd name="connsiteX775" fmla="*/ 3018902 w 3862373"/>
                <a:gd name="connsiteY775" fmla="*/ 2396827 h 3682908"/>
                <a:gd name="connsiteX776" fmla="*/ 2979815 w 3862373"/>
                <a:gd name="connsiteY776" fmla="*/ 2357740 h 3682908"/>
                <a:gd name="connsiteX777" fmla="*/ 3018902 w 3862373"/>
                <a:gd name="connsiteY777" fmla="*/ 2318653 h 3682908"/>
                <a:gd name="connsiteX778" fmla="*/ 2924263 w 3862373"/>
                <a:gd name="connsiteY778" fmla="*/ 2318653 h 3682908"/>
                <a:gd name="connsiteX779" fmla="*/ 2963349 w 3862373"/>
                <a:gd name="connsiteY779" fmla="*/ 2357740 h 3682908"/>
                <a:gd name="connsiteX780" fmla="*/ 2924263 w 3862373"/>
                <a:gd name="connsiteY780" fmla="*/ 2396827 h 3682908"/>
                <a:gd name="connsiteX781" fmla="*/ 2885175 w 3862373"/>
                <a:gd name="connsiteY781" fmla="*/ 2357740 h 3682908"/>
                <a:gd name="connsiteX782" fmla="*/ 2924263 w 3862373"/>
                <a:gd name="connsiteY782" fmla="*/ 2318653 h 3682908"/>
                <a:gd name="connsiteX783" fmla="*/ 2831988 w 3862373"/>
                <a:gd name="connsiteY783" fmla="*/ 2318653 h 3682908"/>
                <a:gd name="connsiteX784" fmla="*/ 2871075 w 3862373"/>
                <a:gd name="connsiteY784" fmla="*/ 2357740 h 3682908"/>
                <a:gd name="connsiteX785" fmla="*/ 2831988 w 3862373"/>
                <a:gd name="connsiteY785" fmla="*/ 2396827 h 3682908"/>
                <a:gd name="connsiteX786" fmla="*/ 2792901 w 3862373"/>
                <a:gd name="connsiteY786" fmla="*/ 2357740 h 3682908"/>
                <a:gd name="connsiteX787" fmla="*/ 2831988 w 3862373"/>
                <a:gd name="connsiteY787" fmla="*/ 2318653 h 3682908"/>
                <a:gd name="connsiteX788" fmla="*/ 2737354 w 3862373"/>
                <a:gd name="connsiteY788" fmla="*/ 2318653 h 3682908"/>
                <a:gd name="connsiteX789" fmla="*/ 2776435 w 3862373"/>
                <a:gd name="connsiteY789" fmla="*/ 2357740 h 3682908"/>
                <a:gd name="connsiteX790" fmla="*/ 2737354 w 3862373"/>
                <a:gd name="connsiteY790" fmla="*/ 2396827 h 3682908"/>
                <a:gd name="connsiteX791" fmla="*/ 2698264 w 3862373"/>
                <a:gd name="connsiteY791" fmla="*/ 2357740 h 3682908"/>
                <a:gd name="connsiteX792" fmla="*/ 2737354 w 3862373"/>
                <a:gd name="connsiteY792" fmla="*/ 2318653 h 3682908"/>
                <a:gd name="connsiteX793" fmla="*/ 1516512 w 3862373"/>
                <a:gd name="connsiteY793" fmla="*/ 2318653 h 3682908"/>
                <a:gd name="connsiteX794" fmla="*/ 1555598 w 3862373"/>
                <a:gd name="connsiteY794" fmla="*/ 2357740 h 3682908"/>
                <a:gd name="connsiteX795" fmla="*/ 1516512 w 3862373"/>
                <a:gd name="connsiteY795" fmla="*/ 2396827 h 3682908"/>
                <a:gd name="connsiteX796" fmla="*/ 1477423 w 3862373"/>
                <a:gd name="connsiteY796" fmla="*/ 2357740 h 3682908"/>
                <a:gd name="connsiteX797" fmla="*/ 1516512 w 3862373"/>
                <a:gd name="connsiteY797" fmla="*/ 2318653 h 3682908"/>
                <a:gd name="connsiteX798" fmla="*/ 1419506 w 3862373"/>
                <a:gd name="connsiteY798" fmla="*/ 2318653 h 3682908"/>
                <a:gd name="connsiteX799" fmla="*/ 1458594 w 3862373"/>
                <a:gd name="connsiteY799" fmla="*/ 2357740 h 3682908"/>
                <a:gd name="connsiteX800" fmla="*/ 1419506 w 3862373"/>
                <a:gd name="connsiteY800" fmla="*/ 2396827 h 3682908"/>
                <a:gd name="connsiteX801" fmla="*/ 1380417 w 3862373"/>
                <a:gd name="connsiteY801" fmla="*/ 2357740 h 3682908"/>
                <a:gd name="connsiteX802" fmla="*/ 1419506 w 3862373"/>
                <a:gd name="connsiteY802" fmla="*/ 2318653 h 3682908"/>
                <a:gd name="connsiteX803" fmla="*/ 1329595 w 3862373"/>
                <a:gd name="connsiteY803" fmla="*/ 2318653 h 3682908"/>
                <a:gd name="connsiteX804" fmla="*/ 1368683 w 3862373"/>
                <a:gd name="connsiteY804" fmla="*/ 2357740 h 3682908"/>
                <a:gd name="connsiteX805" fmla="*/ 1329595 w 3862373"/>
                <a:gd name="connsiteY805" fmla="*/ 2396827 h 3682908"/>
                <a:gd name="connsiteX806" fmla="*/ 1290510 w 3862373"/>
                <a:gd name="connsiteY806" fmla="*/ 2357740 h 3682908"/>
                <a:gd name="connsiteX807" fmla="*/ 1329595 w 3862373"/>
                <a:gd name="connsiteY807" fmla="*/ 2318653 h 3682908"/>
                <a:gd name="connsiteX808" fmla="*/ 1232594 w 3862373"/>
                <a:gd name="connsiteY808" fmla="*/ 2318653 h 3682908"/>
                <a:gd name="connsiteX809" fmla="*/ 1271677 w 3862373"/>
                <a:gd name="connsiteY809" fmla="*/ 2357740 h 3682908"/>
                <a:gd name="connsiteX810" fmla="*/ 1232594 w 3862373"/>
                <a:gd name="connsiteY810" fmla="*/ 2396827 h 3682908"/>
                <a:gd name="connsiteX811" fmla="*/ 1193507 w 3862373"/>
                <a:gd name="connsiteY811" fmla="*/ 2357740 h 3682908"/>
                <a:gd name="connsiteX812" fmla="*/ 1232594 w 3862373"/>
                <a:gd name="connsiteY812" fmla="*/ 2318653 h 3682908"/>
                <a:gd name="connsiteX813" fmla="*/ 1142684 w 3862373"/>
                <a:gd name="connsiteY813" fmla="*/ 2318653 h 3682908"/>
                <a:gd name="connsiteX814" fmla="*/ 1181772 w 3862373"/>
                <a:gd name="connsiteY814" fmla="*/ 2357740 h 3682908"/>
                <a:gd name="connsiteX815" fmla="*/ 1142684 w 3862373"/>
                <a:gd name="connsiteY815" fmla="*/ 2396827 h 3682908"/>
                <a:gd name="connsiteX816" fmla="*/ 1103594 w 3862373"/>
                <a:gd name="connsiteY816" fmla="*/ 2357740 h 3682908"/>
                <a:gd name="connsiteX817" fmla="*/ 1142684 w 3862373"/>
                <a:gd name="connsiteY817" fmla="*/ 2318653 h 3682908"/>
                <a:gd name="connsiteX818" fmla="*/ 1045673 w 3862373"/>
                <a:gd name="connsiteY818" fmla="*/ 2318653 h 3682908"/>
                <a:gd name="connsiteX819" fmla="*/ 1084760 w 3862373"/>
                <a:gd name="connsiteY819" fmla="*/ 2357740 h 3682908"/>
                <a:gd name="connsiteX820" fmla="*/ 1045673 w 3862373"/>
                <a:gd name="connsiteY820" fmla="*/ 2396827 h 3682908"/>
                <a:gd name="connsiteX821" fmla="*/ 1006587 w 3862373"/>
                <a:gd name="connsiteY821" fmla="*/ 2357740 h 3682908"/>
                <a:gd name="connsiteX822" fmla="*/ 1045673 w 3862373"/>
                <a:gd name="connsiteY822" fmla="*/ 2318653 h 3682908"/>
                <a:gd name="connsiteX823" fmla="*/ 3489735 w 3862373"/>
                <a:gd name="connsiteY823" fmla="*/ 2318651 h 3682908"/>
                <a:gd name="connsiteX824" fmla="*/ 3528823 w 3862373"/>
                <a:gd name="connsiteY824" fmla="*/ 2357738 h 3682908"/>
                <a:gd name="connsiteX825" fmla="*/ 3489735 w 3862373"/>
                <a:gd name="connsiteY825" fmla="*/ 2396825 h 3682908"/>
                <a:gd name="connsiteX826" fmla="*/ 3450649 w 3862373"/>
                <a:gd name="connsiteY826" fmla="*/ 2357738 h 3682908"/>
                <a:gd name="connsiteX827" fmla="*/ 3489735 w 3862373"/>
                <a:gd name="connsiteY827" fmla="*/ 2318651 h 3682908"/>
                <a:gd name="connsiteX828" fmla="*/ 3392730 w 3862373"/>
                <a:gd name="connsiteY828" fmla="*/ 2318651 h 3682908"/>
                <a:gd name="connsiteX829" fmla="*/ 3431817 w 3862373"/>
                <a:gd name="connsiteY829" fmla="*/ 2357738 h 3682908"/>
                <a:gd name="connsiteX830" fmla="*/ 3392730 w 3862373"/>
                <a:gd name="connsiteY830" fmla="*/ 2396825 h 3682908"/>
                <a:gd name="connsiteX831" fmla="*/ 3353643 w 3862373"/>
                <a:gd name="connsiteY831" fmla="*/ 2357738 h 3682908"/>
                <a:gd name="connsiteX832" fmla="*/ 3392730 w 3862373"/>
                <a:gd name="connsiteY832" fmla="*/ 2318651 h 3682908"/>
                <a:gd name="connsiteX833" fmla="*/ 3489737 w 3862373"/>
                <a:gd name="connsiteY833" fmla="*/ 2233477 h 3682908"/>
                <a:gd name="connsiteX834" fmla="*/ 3528823 w 3862373"/>
                <a:gd name="connsiteY834" fmla="*/ 2272564 h 3682908"/>
                <a:gd name="connsiteX835" fmla="*/ 3489737 w 3862373"/>
                <a:gd name="connsiteY835" fmla="*/ 2311651 h 3682908"/>
                <a:gd name="connsiteX836" fmla="*/ 3450649 w 3862373"/>
                <a:gd name="connsiteY836" fmla="*/ 2272564 h 3682908"/>
                <a:gd name="connsiteX837" fmla="*/ 3489737 w 3862373"/>
                <a:gd name="connsiteY837" fmla="*/ 2233477 h 3682908"/>
                <a:gd name="connsiteX838" fmla="*/ 3392731 w 3862373"/>
                <a:gd name="connsiteY838" fmla="*/ 2233477 h 3682908"/>
                <a:gd name="connsiteX839" fmla="*/ 3431819 w 3862373"/>
                <a:gd name="connsiteY839" fmla="*/ 2272564 h 3682908"/>
                <a:gd name="connsiteX840" fmla="*/ 3392731 w 3862373"/>
                <a:gd name="connsiteY840" fmla="*/ 2311651 h 3682908"/>
                <a:gd name="connsiteX841" fmla="*/ 3353644 w 3862373"/>
                <a:gd name="connsiteY841" fmla="*/ 2272564 h 3682908"/>
                <a:gd name="connsiteX842" fmla="*/ 3392731 w 3862373"/>
                <a:gd name="connsiteY842" fmla="*/ 2233477 h 3682908"/>
                <a:gd name="connsiteX843" fmla="*/ 3300457 w 3862373"/>
                <a:gd name="connsiteY843" fmla="*/ 2233477 h 3682908"/>
                <a:gd name="connsiteX844" fmla="*/ 3339544 w 3862373"/>
                <a:gd name="connsiteY844" fmla="*/ 2272564 h 3682908"/>
                <a:gd name="connsiteX845" fmla="*/ 3300457 w 3862373"/>
                <a:gd name="connsiteY845" fmla="*/ 2311651 h 3682908"/>
                <a:gd name="connsiteX846" fmla="*/ 3261369 w 3862373"/>
                <a:gd name="connsiteY846" fmla="*/ 2272564 h 3682908"/>
                <a:gd name="connsiteX847" fmla="*/ 3300457 w 3862373"/>
                <a:gd name="connsiteY847" fmla="*/ 2233477 h 3682908"/>
                <a:gd name="connsiteX848" fmla="*/ 3205817 w 3862373"/>
                <a:gd name="connsiteY848" fmla="*/ 2233477 h 3682908"/>
                <a:gd name="connsiteX849" fmla="*/ 3244904 w 3862373"/>
                <a:gd name="connsiteY849" fmla="*/ 2272564 h 3682908"/>
                <a:gd name="connsiteX850" fmla="*/ 3205817 w 3862373"/>
                <a:gd name="connsiteY850" fmla="*/ 2311651 h 3682908"/>
                <a:gd name="connsiteX851" fmla="*/ 3166729 w 3862373"/>
                <a:gd name="connsiteY851" fmla="*/ 2272564 h 3682908"/>
                <a:gd name="connsiteX852" fmla="*/ 3205817 w 3862373"/>
                <a:gd name="connsiteY852" fmla="*/ 2233477 h 3682908"/>
                <a:gd name="connsiteX853" fmla="*/ 3111177 w 3862373"/>
                <a:gd name="connsiteY853" fmla="*/ 2233477 h 3682908"/>
                <a:gd name="connsiteX854" fmla="*/ 3150264 w 3862373"/>
                <a:gd name="connsiteY854" fmla="*/ 2272564 h 3682908"/>
                <a:gd name="connsiteX855" fmla="*/ 3111177 w 3862373"/>
                <a:gd name="connsiteY855" fmla="*/ 2311651 h 3682908"/>
                <a:gd name="connsiteX856" fmla="*/ 3072089 w 3862373"/>
                <a:gd name="connsiteY856" fmla="*/ 2272564 h 3682908"/>
                <a:gd name="connsiteX857" fmla="*/ 3111177 w 3862373"/>
                <a:gd name="connsiteY857" fmla="*/ 2233477 h 3682908"/>
                <a:gd name="connsiteX858" fmla="*/ 3018902 w 3862373"/>
                <a:gd name="connsiteY858" fmla="*/ 2233477 h 3682908"/>
                <a:gd name="connsiteX859" fmla="*/ 3057989 w 3862373"/>
                <a:gd name="connsiteY859" fmla="*/ 2272564 h 3682908"/>
                <a:gd name="connsiteX860" fmla="*/ 3018902 w 3862373"/>
                <a:gd name="connsiteY860" fmla="*/ 2311651 h 3682908"/>
                <a:gd name="connsiteX861" fmla="*/ 2979815 w 3862373"/>
                <a:gd name="connsiteY861" fmla="*/ 2272564 h 3682908"/>
                <a:gd name="connsiteX862" fmla="*/ 3018902 w 3862373"/>
                <a:gd name="connsiteY862" fmla="*/ 2233477 h 3682908"/>
                <a:gd name="connsiteX863" fmla="*/ 2924263 w 3862373"/>
                <a:gd name="connsiteY863" fmla="*/ 2233477 h 3682908"/>
                <a:gd name="connsiteX864" fmla="*/ 2963349 w 3862373"/>
                <a:gd name="connsiteY864" fmla="*/ 2272564 h 3682908"/>
                <a:gd name="connsiteX865" fmla="*/ 2924263 w 3862373"/>
                <a:gd name="connsiteY865" fmla="*/ 2311651 h 3682908"/>
                <a:gd name="connsiteX866" fmla="*/ 2885175 w 3862373"/>
                <a:gd name="connsiteY866" fmla="*/ 2272564 h 3682908"/>
                <a:gd name="connsiteX867" fmla="*/ 2924263 w 3862373"/>
                <a:gd name="connsiteY867" fmla="*/ 2233477 h 3682908"/>
                <a:gd name="connsiteX868" fmla="*/ 2831988 w 3862373"/>
                <a:gd name="connsiteY868" fmla="*/ 2233477 h 3682908"/>
                <a:gd name="connsiteX869" fmla="*/ 2871075 w 3862373"/>
                <a:gd name="connsiteY869" fmla="*/ 2272564 h 3682908"/>
                <a:gd name="connsiteX870" fmla="*/ 2831988 w 3862373"/>
                <a:gd name="connsiteY870" fmla="*/ 2311651 h 3682908"/>
                <a:gd name="connsiteX871" fmla="*/ 2792901 w 3862373"/>
                <a:gd name="connsiteY871" fmla="*/ 2272564 h 3682908"/>
                <a:gd name="connsiteX872" fmla="*/ 2831988 w 3862373"/>
                <a:gd name="connsiteY872" fmla="*/ 2233477 h 3682908"/>
                <a:gd name="connsiteX873" fmla="*/ 2737354 w 3862373"/>
                <a:gd name="connsiteY873" fmla="*/ 2233477 h 3682908"/>
                <a:gd name="connsiteX874" fmla="*/ 2776435 w 3862373"/>
                <a:gd name="connsiteY874" fmla="*/ 2272564 h 3682908"/>
                <a:gd name="connsiteX875" fmla="*/ 2737354 w 3862373"/>
                <a:gd name="connsiteY875" fmla="*/ 2311651 h 3682908"/>
                <a:gd name="connsiteX876" fmla="*/ 2698264 w 3862373"/>
                <a:gd name="connsiteY876" fmla="*/ 2272564 h 3682908"/>
                <a:gd name="connsiteX877" fmla="*/ 2737354 w 3862373"/>
                <a:gd name="connsiteY877" fmla="*/ 2233477 h 3682908"/>
                <a:gd name="connsiteX878" fmla="*/ 2645073 w 3862373"/>
                <a:gd name="connsiteY878" fmla="*/ 2233477 h 3682908"/>
                <a:gd name="connsiteX879" fmla="*/ 2684163 w 3862373"/>
                <a:gd name="connsiteY879" fmla="*/ 2272564 h 3682908"/>
                <a:gd name="connsiteX880" fmla="*/ 2645073 w 3862373"/>
                <a:gd name="connsiteY880" fmla="*/ 2311651 h 3682908"/>
                <a:gd name="connsiteX881" fmla="*/ 2605987 w 3862373"/>
                <a:gd name="connsiteY881" fmla="*/ 2272564 h 3682908"/>
                <a:gd name="connsiteX882" fmla="*/ 2645073 w 3862373"/>
                <a:gd name="connsiteY882" fmla="*/ 2233477 h 3682908"/>
                <a:gd name="connsiteX883" fmla="*/ 2550435 w 3862373"/>
                <a:gd name="connsiteY883" fmla="*/ 2233477 h 3682908"/>
                <a:gd name="connsiteX884" fmla="*/ 2589521 w 3862373"/>
                <a:gd name="connsiteY884" fmla="*/ 2272564 h 3682908"/>
                <a:gd name="connsiteX885" fmla="*/ 2550435 w 3862373"/>
                <a:gd name="connsiteY885" fmla="*/ 2311651 h 3682908"/>
                <a:gd name="connsiteX886" fmla="*/ 2511349 w 3862373"/>
                <a:gd name="connsiteY886" fmla="*/ 2272564 h 3682908"/>
                <a:gd name="connsiteX887" fmla="*/ 2550435 w 3862373"/>
                <a:gd name="connsiteY887" fmla="*/ 2233477 h 3682908"/>
                <a:gd name="connsiteX888" fmla="*/ 2458164 w 3862373"/>
                <a:gd name="connsiteY888" fmla="*/ 2233477 h 3682908"/>
                <a:gd name="connsiteX889" fmla="*/ 2497250 w 3862373"/>
                <a:gd name="connsiteY889" fmla="*/ 2272564 h 3682908"/>
                <a:gd name="connsiteX890" fmla="*/ 2458164 w 3862373"/>
                <a:gd name="connsiteY890" fmla="*/ 2311651 h 3682908"/>
                <a:gd name="connsiteX891" fmla="*/ 2419078 w 3862373"/>
                <a:gd name="connsiteY891" fmla="*/ 2272564 h 3682908"/>
                <a:gd name="connsiteX892" fmla="*/ 2458164 w 3862373"/>
                <a:gd name="connsiteY892" fmla="*/ 2233477 h 3682908"/>
                <a:gd name="connsiteX893" fmla="*/ 2363524 w 3862373"/>
                <a:gd name="connsiteY893" fmla="*/ 2233477 h 3682908"/>
                <a:gd name="connsiteX894" fmla="*/ 2402611 w 3862373"/>
                <a:gd name="connsiteY894" fmla="*/ 2272564 h 3682908"/>
                <a:gd name="connsiteX895" fmla="*/ 2363524 w 3862373"/>
                <a:gd name="connsiteY895" fmla="*/ 2311651 h 3682908"/>
                <a:gd name="connsiteX896" fmla="*/ 2324437 w 3862373"/>
                <a:gd name="connsiteY896" fmla="*/ 2272564 h 3682908"/>
                <a:gd name="connsiteX897" fmla="*/ 2363524 w 3862373"/>
                <a:gd name="connsiteY897" fmla="*/ 2233477 h 3682908"/>
                <a:gd name="connsiteX898" fmla="*/ 1329597 w 3862373"/>
                <a:gd name="connsiteY898" fmla="*/ 2233477 h 3682908"/>
                <a:gd name="connsiteX899" fmla="*/ 1368685 w 3862373"/>
                <a:gd name="connsiteY899" fmla="*/ 2272564 h 3682908"/>
                <a:gd name="connsiteX900" fmla="*/ 1329597 w 3862373"/>
                <a:gd name="connsiteY900" fmla="*/ 2311651 h 3682908"/>
                <a:gd name="connsiteX901" fmla="*/ 1290512 w 3862373"/>
                <a:gd name="connsiteY901" fmla="*/ 2272564 h 3682908"/>
                <a:gd name="connsiteX902" fmla="*/ 1329597 w 3862373"/>
                <a:gd name="connsiteY902" fmla="*/ 2233477 h 3682908"/>
                <a:gd name="connsiteX903" fmla="*/ 1232596 w 3862373"/>
                <a:gd name="connsiteY903" fmla="*/ 2233477 h 3682908"/>
                <a:gd name="connsiteX904" fmla="*/ 1271678 w 3862373"/>
                <a:gd name="connsiteY904" fmla="*/ 2272564 h 3682908"/>
                <a:gd name="connsiteX905" fmla="*/ 1232596 w 3862373"/>
                <a:gd name="connsiteY905" fmla="*/ 2311651 h 3682908"/>
                <a:gd name="connsiteX906" fmla="*/ 1193508 w 3862373"/>
                <a:gd name="connsiteY906" fmla="*/ 2272564 h 3682908"/>
                <a:gd name="connsiteX907" fmla="*/ 1232596 w 3862373"/>
                <a:gd name="connsiteY907" fmla="*/ 2233477 h 3682908"/>
                <a:gd name="connsiteX908" fmla="*/ 1142686 w 3862373"/>
                <a:gd name="connsiteY908" fmla="*/ 2233477 h 3682908"/>
                <a:gd name="connsiteX909" fmla="*/ 1181776 w 3862373"/>
                <a:gd name="connsiteY909" fmla="*/ 2272564 h 3682908"/>
                <a:gd name="connsiteX910" fmla="*/ 1142686 w 3862373"/>
                <a:gd name="connsiteY910" fmla="*/ 2311651 h 3682908"/>
                <a:gd name="connsiteX911" fmla="*/ 1103596 w 3862373"/>
                <a:gd name="connsiteY911" fmla="*/ 2272564 h 3682908"/>
                <a:gd name="connsiteX912" fmla="*/ 1142686 w 3862373"/>
                <a:gd name="connsiteY912" fmla="*/ 2233477 h 3682908"/>
                <a:gd name="connsiteX913" fmla="*/ 1045675 w 3862373"/>
                <a:gd name="connsiteY913" fmla="*/ 2233477 h 3682908"/>
                <a:gd name="connsiteX914" fmla="*/ 1084762 w 3862373"/>
                <a:gd name="connsiteY914" fmla="*/ 2272564 h 3682908"/>
                <a:gd name="connsiteX915" fmla="*/ 1045675 w 3862373"/>
                <a:gd name="connsiteY915" fmla="*/ 2311651 h 3682908"/>
                <a:gd name="connsiteX916" fmla="*/ 1006589 w 3862373"/>
                <a:gd name="connsiteY916" fmla="*/ 2272564 h 3682908"/>
                <a:gd name="connsiteX917" fmla="*/ 1045675 w 3862373"/>
                <a:gd name="connsiteY917" fmla="*/ 2233477 h 3682908"/>
                <a:gd name="connsiteX918" fmla="*/ 3584377 w 3862373"/>
                <a:gd name="connsiteY918" fmla="*/ 2145935 h 3682908"/>
                <a:gd name="connsiteX919" fmla="*/ 3623463 w 3862373"/>
                <a:gd name="connsiteY919" fmla="*/ 2185022 h 3682908"/>
                <a:gd name="connsiteX920" fmla="*/ 3584377 w 3862373"/>
                <a:gd name="connsiteY920" fmla="*/ 2224109 h 3682908"/>
                <a:gd name="connsiteX921" fmla="*/ 3545289 w 3862373"/>
                <a:gd name="connsiteY921" fmla="*/ 2185022 h 3682908"/>
                <a:gd name="connsiteX922" fmla="*/ 3584377 w 3862373"/>
                <a:gd name="connsiteY922" fmla="*/ 2145935 h 3682908"/>
                <a:gd name="connsiteX923" fmla="*/ 3489737 w 3862373"/>
                <a:gd name="connsiteY923" fmla="*/ 2145935 h 3682908"/>
                <a:gd name="connsiteX924" fmla="*/ 3528823 w 3862373"/>
                <a:gd name="connsiteY924" fmla="*/ 2185022 h 3682908"/>
                <a:gd name="connsiteX925" fmla="*/ 3489737 w 3862373"/>
                <a:gd name="connsiteY925" fmla="*/ 2224109 h 3682908"/>
                <a:gd name="connsiteX926" fmla="*/ 3450649 w 3862373"/>
                <a:gd name="connsiteY926" fmla="*/ 2185022 h 3682908"/>
                <a:gd name="connsiteX927" fmla="*/ 3489737 w 3862373"/>
                <a:gd name="connsiteY927" fmla="*/ 2145935 h 3682908"/>
                <a:gd name="connsiteX928" fmla="*/ 3392731 w 3862373"/>
                <a:gd name="connsiteY928" fmla="*/ 2145935 h 3682908"/>
                <a:gd name="connsiteX929" fmla="*/ 3431819 w 3862373"/>
                <a:gd name="connsiteY929" fmla="*/ 2185022 h 3682908"/>
                <a:gd name="connsiteX930" fmla="*/ 3392731 w 3862373"/>
                <a:gd name="connsiteY930" fmla="*/ 2224109 h 3682908"/>
                <a:gd name="connsiteX931" fmla="*/ 3353644 w 3862373"/>
                <a:gd name="connsiteY931" fmla="*/ 2185022 h 3682908"/>
                <a:gd name="connsiteX932" fmla="*/ 3392731 w 3862373"/>
                <a:gd name="connsiteY932" fmla="*/ 2145935 h 3682908"/>
                <a:gd name="connsiteX933" fmla="*/ 3300457 w 3862373"/>
                <a:gd name="connsiteY933" fmla="*/ 2145935 h 3682908"/>
                <a:gd name="connsiteX934" fmla="*/ 3339544 w 3862373"/>
                <a:gd name="connsiteY934" fmla="*/ 2185022 h 3682908"/>
                <a:gd name="connsiteX935" fmla="*/ 3300457 w 3862373"/>
                <a:gd name="connsiteY935" fmla="*/ 2224109 h 3682908"/>
                <a:gd name="connsiteX936" fmla="*/ 3261369 w 3862373"/>
                <a:gd name="connsiteY936" fmla="*/ 2185022 h 3682908"/>
                <a:gd name="connsiteX937" fmla="*/ 3300457 w 3862373"/>
                <a:gd name="connsiteY937" fmla="*/ 2145935 h 3682908"/>
                <a:gd name="connsiteX938" fmla="*/ 3205817 w 3862373"/>
                <a:gd name="connsiteY938" fmla="*/ 2145935 h 3682908"/>
                <a:gd name="connsiteX939" fmla="*/ 3244904 w 3862373"/>
                <a:gd name="connsiteY939" fmla="*/ 2185022 h 3682908"/>
                <a:gd name="connsiteX940" fmla="*/ 3205817 w 3862373"/>
                <a:gd name="connsiteY940" fmla="*/ 2224109 h 3682908"/>
                <a:gd name="connsiteX941" fmla="*/ 3166729 w 3862373"/>
                <a:gd name="connsiteY941" fmla="*/ 2185022 h 3682908"/>
                <a:gd name="connsiteX942" fmla="*/ 3205817 w 3862373"/>
                <a:gd name="connsiteY942" fmla="*/ 2145935 h 3682908"/>
                <a:gd name="connsiteX943" fmla="*/ 3111177 w 3862373"/>
                <a:gd name="connsiteY943" fmla="*/ 2145935 h 3682908"/>
                <a:gd name="connsiteX944" fmla="*/ 3150264 w 3862373"/>
                <a:gd name="connsiteY944" fmla="*/ 2185022 h 3682908"/>
                <a:gd name="connsiteX945" fmla="*/ 3111177 w 3862373"/>
                <a:gd name="connsiteY945" fmla="*/ 2224109 h 3682908"/>
                <a:gd name="connsiteX946" fmla="*/ 3072089 w 3862373"/>
                <a:gd name="connsiteY946" fmla="*/ 2185022 h 3682908"/>
                <a:gd name="connsiteX947" fmla="*/ 3111177 w 3862373"/>
                <a:gd name="connsiteY947" fmla="*/ 2145935 h 3682908"/>
                <a:gd name="connsiteX948" fmla="*/ 3018902 w 3862373"/>
                <a:gd name="connsiteY948" fmla="*/ 2145935 h 3682908"/>
                <a:gd name="connsiteX949" fmla="*/ 3057989 w 3862373"/>
                <a:gd name="connsiteY949" fmla="*/ 2185022 h 3682908"/>
                <a:gd name="connsiteX950" fmla="*/ 3018902 w 3862373"/>
                <a:gd name="connsiteY950" fmla="*/ 2224109 h 3682908"/>
                <a:gd name="connsiteX951" fmla="*/ 2979815 w 3862373"/>
                <a:gd name="connsiteY951" fmla="*/ 2185022 h 3682908"/>
                <a:gd name="connsiteX952" fmla="*/ 3018902 w 3862373"/>
                <a:gd name="connsiteY952" fmla="*/ 2145935 h 3682908"/>
                <a:gd name="connsiteX953" fmla="*/ 2924263 w 3862373"/>
                <a:gd name="connsiteY953" fmla="*/ 2145935 h 3682908"/>
                <a:gd name="connsiteX954" fmla="*/ 2963349 w 3862373"/>
                <a:gd name="connsiteY954" fmla="*/ 2185022 h 3682908"/>
                <a:gd name="connsiteX955" fmla="*/ 2924263 w 3862373"/>
                <a:gd name="connsiteY955" fmla="*/ 2224109 h 3682908"/>
                <a:gd name="connsiteX956" fmla="*/ 2885175 w 3862373"/>
                <a:gd name="connsiteY956" fmla="*/ 2185022 h 3682908"/>
                <a:gd name="connsiteX957" fmla="*/ 2924263 w 3862373"/>
                <a:gd name="connsiteY957" fmla="*/ 2145935 h 3682908"/>
                <a:gd name="connsiteX958" fmla="*/ 2831988 w 3862373"/>
                <a:gd name="connsiteY958" fmla="*/ 2145935 h 3682908"/>
                <a:gd name="connsiteX959" fmla="*/ 2871075 w 3862373"/>
                <a:gd name="connsiteY959" fmla="*/ 2185022 h 3682908"/>
                <a:gd name="connsiteX960" fmla="*/ 2831988 w 3862373"/>
                <a:gd name="connsiteY960" fmla="*/ 2224109 h 3682908"/>
                <a:gd name="connsiteX961" fmla="*/ 2792901 w 3862373"/>
                <a:gd name="connsiteY961" fmla="*/ 2185022 h 3682908"/>
                <a:gd name="connsiteX962" fmla="*/ 2831988 w 3862373"/>
                <a:gd name="connsiteY962" fmla="*/ 2145935 h 3682908"/>
                <a:gd name="connsiteX963" fmla="*/ 2737355 w 3862373"/>
                <a:gd name="connsiteY963" fmla="*/ 2145935 h 3682908"/>
                <a:gd name="connsiteX964" fmla="*/ 2776435 w 3862373"/>
                <a:gd name="connsiteY964" fmla="*/ 2185022 h 3682908"/>
                <a:gd name="connsiteX965" fmla="*/ 2737355 w 3862373"/>
                <a:gd name="connsiteY965" fmla="*/ 2224109 h 3682908"/>
                <a:gd name="connsiteX966" fmla="*/ 2698264 w 3862373"/>
                <a:gd name="connsiteY966" fmla="*/ 2185022 h 3682908"/>
                <a:gd name="connsiteX967" fmla="*/ 2737355 w 3862373"/>
                <a:gd name="connsiteY967" fmla="*/ 2145935 h 3682908"/>
                <a:gd name="connsiteX968" fmla="*/ 2645073 w 3862373"/>
                <a:gd name="connsiteY968" fmla="*/ 2145935 h 3682908"/>
                <a:gd name="connsiteX969" fmla="*/ 2684163 w 3862373"/>
                <a:gd name="connsiteY969" fmla="*/ 2185022 h 3682908"/>
                <a:gd name="connsiteX970" fmla="*/ 2645073 w 3862373"/>
                <a:gd name="connsiteY970" fmla="*/ 2224109 h 3682908"/>
                <a:gd name="connsiteX971" fmla="*/ 2605987 w 3862373"/>
                <a:gd name="connsiteY971" fmla="*/ 2185022 h 3682908"/>
                <a:gd name="connsiteX972" fmla="*/ 2645073 w 3862373"/>
                <a:gd name="connsiteY972" fmla="*/ 2145935 h 3682908"/>
                <a:gd name="connsiteX973" fmla="*/ 2550435 w 3862373"/>
                <a:gd name="connsiteY973" fmla="*/ 2145935 h 3682908"/>
                <a:gd name="connsiteX974" fmla="*/ 2589521 w 3862373"/>
                <a:gd name="connsiteY974" fmla="*/ 2185022 h 3682908"/>
                <a:gd name="connsiteX975" fmla="*/ 2550435 w 3862373"/>
                <a:gd name="connsiteY975" fmla="*/ 2224109 h 3682908"/>
                <a:gd name="connsiteX976" fmla="*/ 2511350 w 3862373"/>
                <a:gd name="connsiteY976" fmla="*/ 2185022 h 3682908"/>
                <a:gd name="connsiteX977" fmla="*/ 2550435 w 3862373"/>
                <a:gd name="connsiteY977" fmla="*/ 2145935 h 3682908"/>
                <a:gd name="connsiteX978" fmla="*/ 2458164 w 3862373"/>
                <a:gd name="connsiteY978" fmla="*/ 2145935 h 3682908"/>
                <a:gd name="connsiteX979" fmla="*/ 2497250 w 3862373"/>
                <a:gd name="connsiteY979" fmla="*/ 2185022 h 3682908"/>
                <a:gd name="connsiteX980" fmla="*/ 2458164 w 3862373"/>
                <a:gd name="connsiteY980" fmla="*/ 2224109 h 3682908"/>
                <a:gd name="connsiteX981" fmla="*/ 2419078 w 3862373"/>
                <a:gd name="connsiteY981" fmla="*/ 2185022 h 3682908"/>
                <a:gd name="connsiteX982" fmla="*/ 2458164 w 3862373"/>
                <a:gd name="connsiteY982" fmla="*/ 2145935 h 3682908"/>
                <a:gd name="connsiteX983" fmla="*/ 2363524 w 3862373"/>
                <a:gd name="connsiteY983" fmla="*/ 2145935 h 3682908"/>
                <a:gd name="connsiteX984" fmla="*/ 2402611 w 3862373"/>
                <a:gd name="connsiteY984" fmla="*/ 2185022 h 3682908"/>
                <a:gd name="connsiteX985" fmla="*/ 2363524 w 3862373"/>
                <a:gd name="connsiteY985" fmla="*/ 2224109 h 3682908"/>
                <a:gd name="connsiteX986" fmla="*/ 2324437 w 3862373"/>
                <a:gd name="connsiteY986" fmla="*/ 2185022 h 3682908"/>
                <a:gd name="connsiteX987" fmla="*/ 2363524 w 3862373"/>
                <a:gd name="connsiteY987" fmla="*/ 2145935 h 3682908"/>
                <a:gd name="connsiteX988" fmla="*/ 2266521 w 3862373"/>
                <a:gd name="connsiteY988" fmla="*/ 2145935 h 3682908"/>
                <a:gd name="connsiteX989" fmla="*/ 2305606 w 3862373"/>
                <a:gd name="connsiteY989" fmla="*/ 2185022 h 3682908"/>
                <a:gd name="connsiteX990" fmla="*/ 2266521 w 3862373"/>
                <a:gd name="connsiteY990" fmla="*/ 2224109 h 3682908"/>
                <a:gd name="connsiteX991" fmla="*/ 2227432 w 3862373"/>
                <a:gd name="connsiteY991" fmla="*/ 2185022 h 3682908"/>
                <a:gd name="connsiteX992" fmla="*/ 2266521 w 3862373"/>
                <a:gd name="connsiteY992" fmla="*/ 2145935 h 3682908"/>
                <a:gd name="connsiteX993" fmla="*/ 1232598 w 3862373"/>
                <a:gd name="connsiteY993" fmla="*/ 2145935 h 3682908"/>
                <a:gd name="connsiteX994" fmla="*/ 1271681 w 3862373"/>
                <a:gd name="connsiteY994" fmla="*/ 2185022 h 3682908"/>
                <a:gd name="connsiteX995" fmla="*/ 1232598 w 3862373"/>
                <a:gd name="connsiteY995" fmla="*/ 2224109 h 3682908"/>
                <a:gd name="connsiteX996" fmla="*/ 1193510 w 3862373"/>
                <a:gd name="connsiteY996" fmla="*/ 2185022 h 3682908"/>
                <a:gd name="connsiteX997" fmla="*/ 1232598 w 3862373"/>
                <a:gd name="connsiteY997" fmla="*/ 2145935 h 3682908"/>
                <a:gd name="connsiteX998" fmla="*/ 1142689 w 3862373"/>
                <a:gd name="connsiteY998" fmla="*/ 2145935 h 3682908"/>
                <a:gd name="connsiteX999" fmla="*/ 1181778 w 3862373"/>
                <a:gd name="connsiteY999" fmla="*/ 2185022 h 3682908"/>
                <a:gd name="connsiteX1000" fmla="*/ 1142689 w 3862373"/>
                <a:gd name="connsiteY1000" fmla="*/ 2224109 h 3682908"/>
                <a:gd name="connsiteX1001" fmla="*/ 1103598 w 3862373"/>
                <a:gd name="connsiteY1001" fmla="*/ 2185022 h 3682908"/>
                <a:gd name="connsiteX1002" fmla="*/ 1142689 w 3862373"/>
                <a:gd name="connsiteY1002" fmla="*/ 2145935 h 3682908"/>
                <a:gd name="connsiteX1003" fmla="*/ 1045676 w 3862373"/>
                <a:gd name="connsiteY1003" fmla="*/ 2145935 h 3682908"/>
                <a:gd name="connsiteX1004" fmla="*/ 1084764 w 3862373"/>
                <a:gd name="connsiteY1004" fmla="*/ 2185022 h 3682908"/>
                <a:gd name="connsiteX1005" fmla="*/ 1045676 w 3862373"/>
                <a:gd name="connsiteY1005" fmla="*/ 2224109 h 3682908"/>
                <a:gd name="connsiteX1006" fmla="*/ 1006591 w 3862373"/>
                <a:gd name="connsiteY1006" fmla="*/ 2185022 h 3682908"/>
                <a:gd name="connsiteX1007" fmla="*/ 1045676 w 3862373"/>
                <a:gd name="connsiteY1007" fmla="*/ 2145935 h 3682908"/>
                <a:gd name="connsiteX1008" fmla="*/ 951041 w 3862373"/>
                <a:gd name="connsiteY1008" fmla="*/ 2145935 h 3682908"/>
                <a:gd name="connsiteX1009" fmla="*/ 990126 w 3862373"/>
                <a:gd name="connsiteY1009" fmla="*/ 2185022 h 3682908"/>
                <a:gd name="connsiteX1010" fmla="*/ 951041 w 3862373"/>
                <a:gd name="connsiteY1010" fmla="*/ 2224109 h 3682908"/>
                <a:gd name="connsiteX1011" fmla="*/ 911956 w 3862373"/>
                <a:gd name="connsiteY1011" fmla="*/ 2185022 h 3682908"/>
                <a:gd name="connsiteX1012" fmla="*/ 951041 w 3862373"/>
                <a:gd name="connsiteY1012" fmla="*/ 2145935 h 3682908"/>
                <a:gd name="connsiteX1013" fmla="*/ 856406 w 3862373"/>
                <a:gd name="connsiteY1013" fmla="*/ 2145935 h 3682908"/>
                <a:gd name="connsiteX1014" fmla="*/ 895491 w 3862373"/>
                <a:gd name="connsiteY1014" fmla="*/ 2185022 h 3682908"/>
                <a:gd name="connsiteX1015" fmla="*/ 856406 w 3862373"/>
                <a:gd name="connsiteY1015" fmla="*/ 2224109 h 3682908"/>
                <a:gd name="connsiteX1016" fmla="*/ 817321 w 3862373"/>
                <a:gd name="connsiteY1016" fmla="*/ 2185022 h 3682908"/>
                <a:gd name="connsiteX1017" fmla="*/ 856406 w 3862373"/>
                <a:gd name="connsiteY1017" fmla="*/ 2145935 h 3682908"/>
                <a:gd name="connsiteX1018" fmla="*/ 3300457 w 3862373"/>
                <a:gd name="connsiteY1018" fmla="*/ 2056027 h 3682908"/>
                <a:gd name="connsiteX1019" fmla="*/ 3339544 w 3862373"/>
                <a:gd name="connsiteY1019" fmla="*/ 2095114 h 3682908"/>
                <a:gd name="connsiteX1020" fmla="*/ 3300457 w 3862373"/>
                <a:gd name="connsiteY1020" fmla="*/ 2134201 h 3682908"/>
                <a:gd name="connsiteX1021" fmla="*/ 3261369 w 3862373"/>
                <a:gd name="connsiteY1021" fmla="*/ 2095114 h 3682908"/>
                <a:gd name="connsiteX1022" fmla="*/ 3300457 w 3862373"/>
                <a:gd name="connsiteY1022" fmla="*/ 2056027 h 3682908"/>
                <a:gd name="connsiteX1023" fmla="*/ 3205817 w 3862373"/>
                <a:gd name="connsiteY1023" fmla="*/ 2056027 h 3682908"/>
                <a:gd name="connsiteX1024" fmla="*/ 3244904 w 3862373"/>
                <a:gd name="connsiteY1024" fmla="*/ 2095114 h 3682908"/>
                <a:gd name="connsiteX1025" fmla="*/ 3205817 w 3862373"/>
                <a:gd name="connsiteY1025" fmla="*/ 2134201 h 3682908"/>
                <a:gd name="connsiteX1026" fmla="*/ 3166729 w 3862373"/>
                <a:gd name="connsiteY1026" fmla="*/ 2095114 h 3682908"/>
                <a:gd name="connsiteX1027" fmla="*/ 3205817 w 3862373"/>
                <a:gd name="connsiteY1027" fmla="*/ 2056027 h 3682908"/>
                <a:gd name="connsiteX1028" fmla="*/ 3111177 w 3862373"/>
                <a:gd name="connsiteY1028" fmla="*/ 2056027 h 3682908"/>
                <a:gd name="connsiteX1029" fmla="*/ 3150264 w 3862373"/>
                <a:gd name="connsiteY1029" fmla="*/ 2095114 h 3682908"/>
                <a:gd name="connsiteX1030" fmla="*/ 3111177 w 3862373"/>
                <a:gd name="connsiteY1030" fmla="*/ 2134201 h 3682908"/>
                <a:gd name="connsiteX1031" fmla="*/ 3072089 w 3862373"/>
                <a:gd name="connsiteY1031" fmla="*/ 2095114 h 3682908"/>
                <a:gd name="connsiteX1032" fmla="*/ 3111177 w 3862373"/>
                <a:gd name="connsiteY1032" fmla="*/ 2056027 h 3682908"/>
                <a:gd name="connsiteX1033" fmla="*/ 3018902 w 3862373"/>
                <a:gd name="connsiteY1033" fmla="*/ 2056027 h 3682908"/>
                <a:gd name="connsiteX1034" fmla="*/ 3057989 w 3862373"/>
                <a:gd name="connsiteY1034" fmla="*/ 2095114 h 3682908"/>
                <a:gd name="connsiteX1035" fmla="*/ 3018902 w 3862373"/>
                <a:gd name="connsiteY1035" fmla="*/ 2134201 h 3682908"/>
                <a:gd name="connsiteX1036" fmla="*/ 2979815 w 3862373"/>
                <a:gd name="connsiteY1036" fmla="*/ 2095114 h 3682908"/>
                <a:gd name="connsiteX1037" fmla="*/ 3018902 w 3862373"/>
                <a:gd name="connsiteY1037" fmla="*/ 2056027 h 3682908"/>
                <a:gd name="connsiteX1038" fmla="*/ 2924263 w 3862373"/>
                <a:gd name="connsiteY1038" fmla="*/ 2056027 h 3682908"/>
                <a:gd name="connsiteX1039" fmla="*/ 2963349 w 3862373"/>
                <a:gd name="connsiteY1039" fmla="*/ 2095114 h 3682908"/>
                <a:gd name="connsiteX1040" fmla="*/ 2924263 w 3862373"/>
                <a:gd name="connsiteY1040" fmla="*/ 2134201 h 3682908"/>
                <a:gd name="connsiteX1041" fmla="*/ 2885175 w 3862373"/>
                <a:gd name="connsiteY1041" fmla="*/ 2095114 h 3682908"/>
                <a:gd name="connsiteX1042" fmla="*/ 2924263 w 3862373"/>
                <a:gd name="connsiteY1042" fmla="*/ 2056027 h 3682908"/>
                <a:gd name="connsiteX1043" fmla="*/ 2831987 w 3862373"/>
                <a:gd name="connsiteY1043" fmla="*/ 2056026 h 3682908"/>
                <a:gd name="connsiteX1044" fmla="*/ 2871074 w 3862373"/>
                <a:gd name="connsiteY1044" fmla="*/ 2095113 h 3682908"/>
                <a:gd name="connsiteX1045" fmla="*/ 2831987 w 3862373"/>
                <a:gd name="connsiteY1045" fmla="*/ 2134200 h 3682908"/>
                <a:gd name="connsiteX1046" fmla="*/ 2792900 w 3862373"/>
                <a:gd name="connsiteY1046" fmla="*/ 2095113 h 3682908"/>
                <a:gd name="connsiteX1047" fmla="*/ 2831987 w 3862373"/>
                <a:gd name="connsiteY1047" fmla="*/ 2056026 h 3682908"/>
                <a:gd name="connsiteX1048" fmla="*/ 2737355 w 3862373"/>
                <a:gd name="connsiteY1048" fmla="*/ 2056026 h 3682908"/>
                <a:gd name="connsiteX1049" fmla="*/ 2776434 w 3862373"/>
                <a:gd name="connsiteY1049" fmla="*/ 2095113 h 3682908"/>
                <a:gd name="connsiteX1050" fmla="*/ 2737355 w 3862373"/>
                <a:gd name="connsiteY1050" fmla="*/ 2134200 h 3682908"/>
                <a:gd name="connsiteX1051" fmla="*/ 2698264 w 3862373"/>
                <a:gd name="connsiteY1051" fmla="*/ 2095113 h 3682908"/>
                <a:gd name="connsiteX1052" fmla="*/ 2737355 w 3862373"/>
                <a:gd name="connsiteY1052" fmla="*/ 2056026 h 3682908"/>
                <a:gd name="connsiteX1053" fmla="*/ 2645073 w 3862373"/>
                <a:gd name="connsiteY1053" fmla="*/ 2056026 h 3682908"/>
                <a:gd name="connsiteX1054" fmla="*/ 2684163 w 3862373"/>
                <a:gd name="connsiteY1054" fmla="*/ 2095113 h 3682908"/>
                <a:gd name="connsiteX1055" fmla="*/ 2645073 w 3862373"/>
                <a:gd name="connsiteY1055" fmla="*/ 2134200 h 3682908"/>
                <a:gd name="connsiteX1056" fmla="*/ 2605987 w 3862373"/>
                <a:gd name="connsiteY1056" fmla="*/ 2095113 h 3682908"/>
                <a:gd name="connsiteX1057" fmla="*/ 2645073 w 3862373"/>
                <a:gd name="connsiteY1057" fmla="*/ 2056026 h 3682908"/>
                <a:gd name="connsiteX1058" fmla="*/ 2550435 w 3862373"/>
                <a:gd name="connsiteY1058" fmla="*/ 2056026 h 3682908"/>
                <a:gd name="connsiteX1059" fmla="*/ 2589522 w 3862373"/>
                <a:gd name="connsiteY1059" fmla="*/ 2095113 h 3682908"/>
                <a:gd name="connsiteX1060" fmla="*/ 2550435 w 3862373"/>
                <a:gd name="connsiteY1060" fmla="*/ 2134200 h 3682908"/>
                <a:gd name="connsiteX1061" fmla="*/ 2511350 w 3862373"/>
                <a:gd name="connsiteY1061" fmla="*/ 2095113 h 3682908"/>
                <a:gd name="connsiteX1062" fmla="*/ 2550435 w 3862373"/>
                <a:gd name="connsiteY1062" fmla="*/ 2056026 h 3682908"/>
                <a:gd name="connsiteX1063" fmla="*/ 2458164 w 3862373"/>
                <a:gd name="connsiteY1063" fmla="*/ 2056026 h 3682908"/>
                <a:gd name="connsiteX1064" fmla="*/ 2497250 w 3862373"/>
                <a:gd name="connsiteY1064" fmla="*/ 2095113 h 3682908"/>
                <a:gd name="connsiteX1065" fmla="*/ 2458164 w 3862373"/>
                <a:gd name="connsiteY1065" fmla="*/ 2134200 h 3682908"/>
                <a:gd name="connsiteX1066" fmla="*/ 2419078 w 3862373"/>
                <a:gd name="connsiteY1066" fmla="*/ 2095113 h 3682908"/>
                <a:gd name="connsiteX1067" fmla="*/ 2458164 w 3862373"/>
                <a:gd name="connsiteY1067" fmla="*/ 2056026 h 3682908"/>
                <a:gd name="connsiteX1068" fmla="*/ 2363524 w 3862373"/>
                <a:gd name="connsiteY1068" fmla="*/ 2056026 h 3682908"/>
                <a:gd name="connsiteX1069" fmla="*/ 2402609 w 3862373"/>
                <a:gd name="connsiteY1069" fmla="*/ 2095113 h 3682908"/>
                <a:gd name="connsiteX1070" fmla="*/ 2363524 w 3862373"/>
                <a:gd name="connsiteY1070" fmla="*/ 2134200 h 3682908"/>
                <a:gd name="connsiteX1071" fmla="*/ 2324437 w 3862373"/>
                <a:gd name="connsiteY1071" fmla="*/ 2095113 h 3682908"/>
                <a:gd name="connsiteX1072" fmla="*/ 2363524 w 3862373"/>
                <a:gd name="connsiteY1072" fmla="*/ 2056026 h 3682908"/>
                <a:gd name="connsiteX1073" fmla="*/ 2266520 w 3862373"/>
                <a:gd name="connsiteY1073" fmla="*/ 2056026 h 3682908"/>
                <a:gd name="connsiteX1074" fmla="*/ 2305606 w 3862373"/>
                <a:gd name="connsiteY1074" fmla="*/ 2095113 h 3682908"/>
                <a:gd name="connsiteX1075" fmla="*/ 2266520 w 3862373"/>
                <a:gd name="connsiteY1075" fmla="*/ 2134200 h 3682908"/>
                <a:gd name="connsiteX1076" fmla="*/ 2227431 w 3862373"/>
                <a:gd name="connsiteY1076" fmla="*/ 2095113 h 3682908"/>
                <a:gd name="connsiteX1077" fmla="*/ 2266520 w 3862373"/>
                <a:gd name="connsiteY1077" fmla="*/ 2056026 h 3682908"/>
                <a:gd name="connsiteX1078" fmla="*/ 856407 w 3862373"/>
                <a:gd name="connsiteY1078" fmla="*/ 2056026 h 3682908"/>
                <a:gd name="connsiteX1079" fmla="*/ 895492 w 3862373"/>
                <a:gd name="connsiteY1079" fmla="*/ 2095113 h 3682908"/>
                <a:gd name="connsiteX1080" fmla="*/ 856407 w 3862373"/>
                <a:gd name="connsiteY1080" fmla="*/ 2134200 h 3682908"/>
                <a:gd name="connsiteX1081" fmla="*/ 817323 w 3862373"/>
                <a:gd name="connsiteY1081" fmla="*/ 2095113 h 3682908"/>
                <a:gd name="connsiteX1082" fmla="*/ 856407 w 3862373"/>
                <a:gd name="connsiteY1082" fmla="*/ 2056026 h 3682908"/>
                <a:gd name="connsiteX1083" fmla="*/ 764138 w 3862373"/>
                <a:gd name="connsiteY1083" fmla="*/ 2056026 h 3682908"/>
                <a:gd name="connsiteX1084" fmla="*/ 803223 w 3862373"/>
                <a:gd name="connsiteY1084" fmla="*/ 2095113 h 3682908"/>
                <a:gd name="connsiteX1085" fmla="*/ 764138 w 3862373"/>
                <a:gd name="connsiteY1085" fmla="*/ 2134200 h 3682908"/>
                <a:gd name="connsiteX1086" fmla="*/ 725053 w 3862373"/>
                <a:gd name="connsiteY1086" fmla="*/ 2095113 h 3682908"/>
                <a:gd name="connsiteX1087" fmla="*/ 764138 w 3862373"/>
                <a:gd name="connsiteY1087" fmla="*/ 2056026 h 3682908"/>
                <a:gd name="connsiteX1088" fmla="*/ 3584377 w 3862373"/>
                <a:gd name="connsiteY1088" fmla="*/ 1973215 h 3682908"/>
                <a:gd name="connsiteX1089" fmla="*/ 3623463 w 3862373"/>
                <a:gd name="connsiteY1089" fmla="*/ 2012302 h 3682908"/>
                <a:gd name="connsiteX1090" fmla="*/ 3584377 w 3862373"/>
                <a:gd name="connsiteY1090" fmla="*/ 2051389 h 3682908"/>
                <a:gd name="connsiteX1091" fmla="*/ 3545289 w 3862373"/>
                <a:gd name="connsiteY1091" fmla="*/ 2012302 h 3682908"/>
                <a:gd name="connsiteX1092" fmla="*/ 3584377 w 3862373"/>
                <a:gd name="connsiteY1092" fmla="*/ 1973215 h 3682908"/>
                <a:gd name="connsiteX1093" fmla="*/ 3489737 w 3862373"/>
                <a:gd name="connsiteY1093" fmla="*/ 1973215 h 3682908"/>
                <a:gd name="connsiteX1094" fmla="*/ 3528823 w 3862373"/>
                <a:gd name="connsiteY1094" fmla="*/ 2012302 h 3682908"/>
                <a:gd name="connsiteX1095" fmla="*/ 3489737 w 3862373"/>
                <a:gd name="connsiteY1095" fmla="*/ 2051389 h 3682908"/>
                <a:gd name="connsiteX1096" fmla="*/ 3450649 w 3862373"/>
                <a:gd name="connsiteY1096" fmla="*/ 2012302 h 3682908"/>
                <a:gd name="connsiteX1097" fmla="*/ 3489737 w 3862373"/>
                <a:gd name="connsiteY1097" fmla="*/ 1973215 h 3682908"/>
                <a:gd name="connsiteX1098" fmla="*/ 3392731 w 3862373"/>
                <a:gd name="connsiteY1098" fmla="*/ 1973215 h 3682908"/>
                <a:gd name="connsiteX1099" fmla="*/ 3431819 w 3862373"/>
                <a:gd name="connsiteY1099" fmla="*/ 2012302 h 3682908"/>
                <a:gd name="connsiteX1100" fmla="*/ 3392731 w 3862373"/>
                <a:gd name="connsiteY1100" fmla="*/ 2051389 h 3682908"/>
                <a:gd name="connsiteX1101" fmla="*/ 3353644 w 3862373"/>
                <a:gd name="connsiteY1101" fmla="*/ 2012302 h 3682908"/>
                <a:gd name="connsiteX1102" fmla="*/ 3392731 w 3862373"/>
                <a:gd name="connsiteY1102" fmla="*/ 1973215 h 3682908"/>
                <a:gd name="connsiteX1103" fmla="*/ 3205815 w 3862373"/>
                <a:gd name="connsiteY1103" fmla="*/ 1973215 h 3682908"/>
                <a:gd name="connsiteX1104" fmla="*/ 3244903 w 3862373"/>
                <a:gd name="connsiteY1104" fmla="*/ 2012302 h 3682908"/>
                <a:gd name="connsiteX1105" fmla="*/ 3205815 w 3862373"/>
                <a:gd name="connsiteY1105" fmla="*/ 2051389 h 3682908"/>
                <a:gd name="connsiteX1106" fmla="*/ 3166728 w 3862373"/>
                <a:gd name="connsiteY1106" fmla="*/ 2012302 h 3682908"/>
                <a:gd name="connsiteX1107" fmla="*/ 3205815 w 3862373"/>
                <a:gd name="connsiteY1107" fmla="*/ 1973215 h 3682908"/>
                <a:gd name="connsiteX1108" fmla="*/ 3111175 w 3862373"/>
                <a:gd name="connsiteY1108" fmla="*/ 1973215 h 3682908"/>
                <a:gd name="connsiteX1109" fmla="*/ 3150263 w 3862373"/>
                <a:gd name="connsiteY1109" fmla="*/ 2012302 h 3682908"/>
                <a:gd name="connsiteX1110" fmla="*/ 3111175 w 3862373"/>
                <a:gd name="connsiteY1110" fmla="*/ 2051389 h 3682908"/>
                <a:gd name="connsiteX1111" fmla="*/ 3072088 w 3862373"/>
                <a:gd name="connsiteY1111" fmla="*/ 2012302 h 3682908"/>
                <a:gd name="connsiteX1112" fmla="*/ 3111175 w 3862373"/>
                <a:gd name="connsiteY1112" fmla="*/ 1973215 h 3682908"/>
                <a:gd name="connsiteX1113" fmla="*/ 3018902 w 3862373"/>
                <a:gd name="connsiteY1113" fmla="*/ 1973215 h 3682908"/>
                <a:gd name="connsiteX1114" fmla="*/ 3057989 w 3862373"/>
                <a:gd name="connsiteY1114" fmla="*/ 2012302 h 3682908"/>
                <a:gd name="connsiteX1115" fmla="*/ 3018902 w 3862373"/>
                <a:gd name="connsiteY1115" fmla="*/ 2051389 h 3682908"/>
                <a:gd name="connsiteX1116" fmla="*/ 2979815 w 3862373"/>
                <a:gd name="connsiteY1116" fmla="*/ 2012302 h 3682908"/>
                <a:gd name="connsiteX1117" fmla="*/ 3018902 w 3862373"/>
                <a:gd name="connsiteY1117" fmla="*/ 1973215 h 3682908"/>
                <a:gd name="connsiteX1118" fmla="*/ 2924263 w 3862373"/>
                <a:gd name="connsiteY1118" fmla="*/ 1973215 h 3682908"/>
                <a:gd name="connsiteX1119" fmla="*/ 2963349 w 3862373"/>
                <a:gd name="connsiteY1119" fmla="*/ 2012302 h 3682908"/>
                <a:gd name="connsiteX1120" fmla="*/ 2924263 w 3862373"/>
                <a:gd name="connsiteY1120" fmla="*/ 2051389 h 3682908"/>
                <a:gd name="connsiteX1121" fmla="*/ 2885175 w 3862373"/>
                <a:gd name="connsiteY1121" fmla="*/ 2012302 h 3682908"/>
                <a:gd name="connsiteX1122" fmla="*/ 2924263 w 3862373"/>
                <a:gd name="connsiteY1122" fmla="*/ 1973215 h 3682908"/>
                <a:gd name="connsiteX1123" fmla="*/ 2831987 w 3862373"/>
                <a:gd name="connsiteY1123" fmla="*/ 1973215 h 3682908"/>
                <a:gd name="connsiteX1124" fmla="*/ 2871074 w 3862373"/>
                <a:gd name="connsiteY1124" fmla="*/ 2012302 h 3682908"/>
                <a:gd name="connsiteX1125" fmla="*/ 2831987 w 3862373"/>
                <a:gd name="connsiteY1125" fmla="*/ 2051389 h 3682908"/>
                <a:gd name="connsiteX1126" fmla="*/ 2792900 w 3862373"/>
                <a:gd name="connsiteY1126" fmla="*/ 2012302 h 3682908"/>
                <a:gd name="connsiteX1127" fmla="*/ 2831987 w 3862373"/>
                <a:gd name="connsiteY1127" fmla="*/ 1973215 h 3682908"/>
                <a:gd name="connsiteX1128" fmla="*/ 2737356 w 3862373"/>
                <a:gd name="connsiteY1128" fmla="*/ 1973215 h 3682908"/>
                <a:gd name="connsiteX1129" fmla="*/ 2776434 w 3862373"/>
                <a:gd name="connsiteY1129" fmla="*/ 2012302 h 3682908"/>
                <a:gd name="connsiteX1130" fmla="*/ 2737356 w 3862373"/>
                <a:gd name="connsiteY1130" fmla="*/ 2051389 h 3682908"/>
                <a:gd name="connsiteX1131" fmla="*/ 2698264 w 3862373"/>
                <a:gd name="connsiteY1131" fmla="*/ 2012302 h 3682908"/>
                <a:gd name="connsiteX1132" fmla="*/ 2737356 w 3862373"/>
                <a:gd name="connsiteY1132" fmla="*/ 1973215 h 3682908"/>
                <a:gd name="connsiteX1133" fmla="*/ 2645073 w 3862373"/>
                <a:gd name="connsiteY1133" fmla="*/ 1973215 h 3682908"/>
                <a:gd name="connsiteX1134" fmla="*/ 2684163 w 3862373"/>
                <a:gd name="connsiteY1134" fmla="*/ 2012302 h 3682908"/>
                <a:gd name="connsiteX1135" fmla="*/ 2645073 w 3862373"/>
                <a:gd name="connsiteY1135" fmla="*/ 2051389 h 3682908"/>
                <a:gd name="connsiteX1136" fmla="*/ 2605987 w 3862373"/>
                <a:gd name="connsiteY1136" fmla="*/ 2012302 h 3682908"/>
                <a:gd name="connsiteX1137" fmla="*/ 2645073 w 3862373"/>
                <a:gd name="connsiteY1137" fmla="*/ 1973215 h 3682908"/>
                <a:gd name="connsiteX1138" fmla="*/ 2550435 w 3862373"/>
                <a:gd name="connsiteY1138" fmla="*/ 1973215 h 3682908"/>
                <a:gd name="connsiteX1139" fmla="*/ 2589522 w 3862373"/>
                <a:gd name="connsiteY1139" fmla="*/ 2012302 h 3682908"/>
                <a:gd name="connsiteX1140" fmla="*/ 2550435 w 3862373"/>
                <a:gd name="connsiteY1140" fmla="*/ 2051389 h 3682908"/>
                <a:gd name="connsiteX1141" fmla="*/ 2511351 w 3862373"/>
                <a:gd name="connsiteY1141" fmla="*/ 2012302 h 3682908"/>
                <a:gd name="connsiteX1142" fmla="*/ 2550435 w 3862373"/>
                <a:gd name="connsiteY1142" fmla="*/ 1973215 h 3682908"/>
                <a:gd name="connsiteX1143" fmla="*/ 2458164 w 3862373"/>
                <a:gd name="connsiteY1143" fmla="*/ 1973215 h 3682908"/>
                <a:gd name="connsiteX1144" fmla="*/ 2497250 w 3862373"/>
                <a:gd name="connsiteY1144" fmla="*/ 2012302 h 3682908"/>
                <a:gd name="connsiteX1145" fmla="*/ 2458164 w 3862373"/>
                <a:gd name="connsiteY1145" fmla="*/ 2051389 h 3682908"/>
                <a:gd name="connsiteX1146" fmla="*/ 2419078 w 3862373"/>
                <a:gd name="connsiteY1146" fmla="*/ 2012302 h 3682908"/>
                <a:gd name="connsiteX1147" fmla="*/ 2458164 w 3862373"/>
                <a:gd name="connsiteY1147" fmla="*/ 1973215 h 3682908"/>
                <a:gd name="connsiteX1148" fmla="*/ 2363524 w 3862373"/>
                <a:gd name="connsiteY1148" fmla="*/ 1973215 h 3682908"/>
                <a:gd name="connsiteX1149" fmla="*/ 2402609 w 3862373"/>
                <a:gd name="connsiteY1149" fmla="*/ 2012302 h 3682908"/>
                <a:gd name="connsiteX1150" fmla="*/ 2363524 w 3862373"/>
                <a:gd name="connsiteY1150" fmla="*/ 2051389 h 3682908"/>
                <a:gd name="connsiteX1151" fmla="*/ 2324437 w 3862373"/>
                <a:gd name="connsiteY1151" fmla="*/ 2012302 h 3682908"/>
                <a:gd name="connsiteX1152" fmla="*/ 2363524 w 3862373"/>
                <a:gd name="connsiteY1152" fmla="*/ 1973215 h 3682908"/>
                <a:gd name="connsiteX1153" fmla="*/ 2266521 w 3862373"/>
                <a:gd name="connsiteY1153" fmla="*/ 1973215 h 3682908"/>
                <a:gd name="connsiteX1154" fmla="*/ 2305606 w 3862373"/>
                <a:gd name="connsiteY1154" fmla="*/ 2012302 h 3682908"/>
                <a:gd name="connsiteX1155" fmla="*/ 2266521 w 3862373"/>
                <a:gd name="connsiteY1155" fmla="*/ 2051389 h 3682908"/>
                <a:gd name="connsiteX1156" fmla="*/ 2227431 w 3862373"/>
                <a:gd name="connsiteY1156" fmla="*/ 2012302 h 3682908"/>
                <a:gd name="connsiteX1157" fmla="*/ 2266521 w 3862373"/>
                <a:gd name="connsiteY1157" fmla="*/ 1973215 h 3682908"/>
                <a:gd name="connsiteX1158" fmla="*/ 1142694 w 3862373"/>
                <a:gd name="connsiteY1158" fmla="*/ 1973215 h 3682908"/>
                <a:gd name="connsiteX1159" fmla="*/ 1181781 w 3862373"/>
                <a:gd name="connsiteY1159" fmla="*/ 2012302 h 3682908"/>
                <a:gd name="connsiteX1160" fmla="*/ 1142694 w 3862373"/>
                <a:gd name="connsiteY1160" fmla="*/ 2051389 h 3682908"/>
                <a:gd name="connsiteX1161" fmla="*/ 1103602 w 3862373"/>
                <a:gd name="connsiteY1161" fmla="*/ 2012302 h 3682908"/>
                <a:gd name="connsiteX1162" fmla="*/ 1142694 w 3862373"/>
                <a:gd name="connsiteY1162" fmla="*/ 1973215 h 3682908"/>
                <a:gd name="connsiteX1163" fmla="*/ 764140 w 3862373"/>
                <a:gd name="connsiteY1163" fmla="*/ 1973215 h 3682908"/>
                <a:gd name="connsiteX1164" fmla="*/ 803226 w 3862373"/>
                <a:gd name="connsiteY1164" fmla="*/ 2012302 h 3682908"/>
                <a:gd name="connsiteX1165" fmla="*/ 764140 w 3862373"/>
                <a:gd name="connsiteY1165" fmla="*/ 2051389 h 3682908"/>
                <a:gd name="connsiteX1166" fmla="*/ 725056 w 3862373"/>
                <a:gd name="connsiteY1166" fmla="*/ 2012302 h 3682908"/>
                <a:gd name="connsiteX1167" fmla="*/ 764140 w 3862373"/>
                <a:gd name="connsiteY1167" fmla="*/ 1973215 h 3682908"/>
                <a:gd name="connsiteX1168" fmla="*/ 669495 w 3862373"/>
                <a:gd name="connsiteY1168" fmla="*/ 1973215 h 3682908"/>
                <a:gd name="connsiteX1169" fmla="*/ 708592 w 3862373"/>
                <a:gd name="connsiteY1169" fmla="*/ 2012302 h 3682908"/>
                <a:gd name="connsiteX1170" fmla="*/ 669495 w 3862373"/>
                <a:gd name="connsiteY1170" fmla="*/ 2051389 h 3682908"/>
                <a:gd name="connsiteX1171" fmla="*/ 630416 w 3862373"/>
                <a:gd name="connsiteY1171" fmla="*/ 2012302 h 3682908"/>
                <a:gd name="connsiteX1172" fmla="*/ 669495 w 3862373"/>
                <a:gd name="connsiteY1172" fmla="*/ 1973215 h 3682908"/>
                <a:gd name="connsiteX1173" fmla="*/ 577223 w 3862373"/>
                <a:gd name="connsiteY1173" fmla="*/ 1973215 h 3682908"/>
                <a:gd name="connsiteX1174" fmla="*/ 616315 w 3862373"/>
                <a:gd name="connsiteY1174" fmla="*/ 2012302 h 3682908"/>
                <a:gd name="connsiteX1175" fmla="*/ 577223 w 3862373"/>
                <a:gd name="connsiteY1175" fmla="*/ 2051389 h 3682908"/>
                <a:gd name="connsiteX1176" fmla="*/ 538132 w 3862373"/>
                <a:gd name="connsiteY1176" fmla="*/ 2012302 h 3682908"/>
                <a:gd name="connsiteX1177" fmla="*/ 577223 w 3862373"/>
                <a:gd name="connsiteY1177" fmla="*/ 1973215 h 3682908"/>
                <a:gd name="connsiteX1178" fmla="*/ 484944 w 3862373"/>
                <a:gd name="connsiteY1178" fmla="*/ 1973215 h 3682908"/>
                <a:gd name="connsiteX1179" fmla="*/ 524029 w 3862373"/>
                <a:gd name="connsiteY1179" fmla="*/ 2012302 h 3682908"/>
                <a:gd name="connsiteX1180" fmla="*/ 484944 w 3862373"/>
                <a:gd name="connsiteY1180" fmla="*/ 2051389 h 3682908"/>
                <a:gd name="connsiteX1181" fmla="*/ 445862 w 3862373"/>
                <a:gd name="connsiteY1181" fmla="*/ 2012302 h 3682908"/>
                <a:gd name="connsiteX1182" fmla="*/ 484944 w 3862373"/>
                <a:gd name="connsiteY1182" fmla="*/ 1973215 h 3682908"/>
                <a:gd name="connsiteX1183" fmla="*/ 3679017 w 3862373"/>
                <a:gd name="connsiteY1183" fmla="*/ 1892773 h 3682908"/>
                <a:gd name="connsiteX1184" fmla="*/ 3718103 w 3862373"/>
                <a:gd name="connsiteY1184" fmla="*/ 1931860 h 3682908"/>
                <a:gd name="connsiteX1185" fmla="*/ 3679017 w 3862373"/>
                <a:gd name="connsiteY1185" fmla="*/ 1970947 h 3682908"/>
                <a:gd name="connsiteX1186" fmla="*/ 3639929 w 3862373"/>
                <a:gd name="connsiteY1186" fmla="*/ 1931860 h 3682908"/>
                <a:gd name="connsiteX1187" fmla="*/ 3679017 w 3862373"/>
                <a:gd name="connsiteY1187" fmla="*/ 1892773 h 3682908"/>
                <a:gd name="connsiteX1188" fmla="*/ 3584377 w 3862373"/>
                <a:gd name="connsiteY1188" fmla="*/ 1892773 h 3682908"/>
                <a:gd name="connsiteX1189" fmla="*/ 3623463 w 3862373"/>
                <a:gd name="connsiteY1189" fmla="*/ 1931860 h 3682908"/>
                <a:gd name="connsiteX1190" fmla="*/ 3584377 w 3862373"/>
                <a:gd name="connsiteY1190" fmla="*/ 1970947 h 3682908"/>
                <a:gd name="connsiteX1191" fmla="*/ 3545289 w 3862373"/>
                <a:gd name="connsiteY1191" fmla="*/ 1931860 h 3682908"/>
                <a:gd name="connsiteX1192" fmla="*/ 3584377 w 3862373"/>
                <a:gd name="connsiteY1192" fmla="*/ 1892773 h 3682908"/>
                <a:gd name="connsiteX1193" fmla="*/ 3489737 w 3862373"/>
                <a:gd name="connsiteY1193" fmla="*/ 1892773 h 3682908"/>
                <a:gd name="connsiteX1194" fmla="*/ 3528823 w 3862373"/>
                <a:gd name="connsiteY1194" fmla="*/ 1931860 h 3682908"/>
                <a:gd name="connsiteX1195" fmla="*/ 3489737 w 3862373"/>
                <a:gd name="connsiteY1195" fmla="*/ 1970947 h 3682908"/>
                <a:gd name="connsiteX1196" fmla="*/ 3450649 w 3862373"/>
                <a:gd name="connsiteY1196" fmla="*/ 1931860 h 3682908"/>
                <a:gd name="connsiteX1197" fmla="*/ 3489737 w 3862373"/>
                <a:gd name="connsiteY1197" fmla="*/ 1892773 h 3682908"/>
                <a:gd name="connsiteX1198" fmla="*/ 3392731 w 3862373"/>
                <a:gd name="connsiteY1198" fmla="*/ 1892773 h 3682908"/>
                <a:gd name="connsiteX1199" fmla="*/ 3431819 w 3862373"/>
                <a:gd name="connsiteY1199" fmla="*/ 1931860 h 3682908"/>
                <a:gd name="connsiteX1200" fmla="*/ 3392731 w 3862373"/>
                <a:gd name="connsiteY1200" fmla="*/ 1970947 h 3682908"/>
                <a:gd name="connsiteX1201" fmla="*/ 3353644 w 3862373"/>
                <a:gd name="connsiteY1201" fmla="*/ 1931860 h 3682908"/>
                <a:gd name="connsiteX1202" fmla="*/ 3392731 w 3862373"/>
                <a:gd name="connsiteY1202" fmla="*/ 1892773 h 3682908"/>
                <a:gd name="connsiteX1203" fmla="*/ 3205815 w 3862373"/>
                <a:gd name="connsiteY1203" fmla="*/ 1892773 h 3682908"/>
                <a:gd name="connsiteX1204" fmla="*/ 3244903 w 3862373"/>
                <a:gd name="connsiteY1204" fmla="*/ 1931860 h 3682908"/>
                <a:gd name="connsiteX1205" fmla="*/ 3205815 w 3862373"/>
                <a:gd name="connsiteY1205" fmla="*/ 1970947 h 3682908"/>
                <a:gd name="connsiteX1206" fmla="*/ 3166728 w 3862373"/>
                <a:gd name="connsiteY1206" fmla="*/ 1931860 h 3682908"/>
                <a:gd name="connsiteX1207" fmla="*/ 3205815 w 3862373"/>
                <a:gd name="connsiteY1207" fmla="*/ 1892773 h 3682908"/>
                <a:gd name="connsiteX1208" fmla="*/ 3111175 w 3862373"/>
                <a:gd name="connsiteY1208" fmla="*/ 1892773 h 3682908"/>
                <a:gd name="connsiteX1209" fmla="*/ 3150263 w 3862373"/>
                <a:gd name="connsiteY1209" fmla="*/ 1931860 h 3682908"/>
                <a:gd name="connsiteX1210" fmla="*/ 3111175 w 3862373"/>
                <a:gd name="connsiteY1210" fmla="*/ 1970947 h 3682908"/>
                <a:gd name="connsiteX1211" fmla="*/ 3072088 w 3862373"/>
                <a:gd name="connsiteY1211" fmla="*/ 1931860 h 3682908"/>
                <a:gd name="connsiteX1212" fmla="*/ 3111175 w 3862373"/>
                <a:gd name="connsiteY1212" fmla="*/ 1892773 h 3682908"/>
                <a:gd name="connsiteX1213" fmla="*/ 3018902 w 3862373"/>
                <a:gd name="connsiteY1213" fmla="*/ 1892773 h 3682908"/>
                <a:gd name="connsiteX1214" fmla="*/ 3057989 w 3862373"/>
                <a:gd name="connsiteY1214" fmla="*/ 1931860 h 3682908"/>
                <a:gd name="connsiteX1215" fmla="*/ 3018902 w 3862373"/>
                <a:gd name="connsiteY1215" fmla="*/ 1970947 h 3682908"/>
                <a:gd name="connsiteX1216" fmla="*/ 2979815 w 3862373"/>
                <a:gd name="connsiteY1216" fmla="*/ 1931860 h 3682908"/>
                <a:gd name="connsiteX1217" fmla="*/ 3018902 w 3862373"/>
                <a:gd name="connsiteY1217" fmla="*/ 1892773 h 3682908"/>
                <a:gd name="connsiteX1218" fmla="*/ 2924263 w 3862373"/>
                <a:gd name="connsiteY1218" fmla="*/ 1892773 h 3682908"/>
                <a:gd name="connsiteX1219" fmla="*/ 2963349 w 3862373"/>
                <a:gd name="connsiteY1219" fmla="*/ 1931860 h 3682908"/>
                <a:gd name="connsiteX1220" fmla="*/ 2924263 w 3862373"/>
                <a:gd name="connsiteY1220" fmla="*/ 1970947 h 3682908"/>
                <a:gd name="connsiteX1221" fmla="*/ 2885175 w 3862373"/>
                <a:gd name="connsiteY1221" fmla="*/ 1931860 h 3682908"/>
                <a:gd name="connsiteX1222" fmla="*/ 2924263 w 3862373"/>
                <a:gd name="connsiteY1222" fmla="*/ 1892773 h 3682908"/>
                <a:gd name="connsiteX1223" fmla="*/ 2831987 w 3862373"/>
                <a:gd name="connsiteY1223" fmla="*/ 1892773 h 3682908"/>
                <a:gd name="connsiteX1224" fmla="*/ 2871074 w 3862373"/>
                <a:gd name="connsiteY1224" fmla="*/ 1931860 h 3682908"/>
                <a:gd name="connsiteX1225" fmla="*/ 2831987 w 3862373"/>
                <a:gd name="connsiteY1225" fmla="*/ 1970947 h 3682908"/>
                <a:gd name="connsiteX1226" fmla="*/ 2792900 w 3862373"/>
                <a:gd name="connsiteY1226" fmla="*/ 1931860 h 3682908"/>
                <a:gd name="connsiteX1227" fmla="*/ 2831987 w 3862373"/>
                <a:gd name="connsiteY1227" fmla="*/ 1892773 h 3682908"/>
                <a:gd name="connsiteX1228" fmla="*/ 2737356 w 3862373"/>
                <a:gd name="connsiteY1228" fmla="*/ 1892773 h 3682908"/>
                <a:gd name="connsiteX1229" fmla="*/ 2776434 w 3862373"/>
                <a:gd name="connsiteY1229" fmla="*/ 1931860 h 3682908"/>
                <a:gd name="connsiteX1230" fmla="*/ 2737356 w 3862373"/>
                <a:gd name="connsiteY1230" fmla="*/ 1970947 h 3682908"/>
                <a:gd name="connsiteX1231" fmla="*/ 2698265 w 3862373"/>
                <a:gd name="connsiteY1231" fmla="*/ 1931860 h 3682908"/>
                <a:gd name="connsiteX1232" fmla="*/ 2737356 w 3862373"/>
                <a:gd name="connsiteY1232" fmla="*/ 1892773 h 3682908"/>
                <a:gd name="connsiteX1233" fmla="*/ 2645073 w 3862373"/>
                <a:gd name="connsiteY1233" fmla="*/ 1892773 h 3682908"/>
                <a:gd name="connsiteX1234" fmla="*/ 2684163 w 3862373"/>
                <a:gd name="connsiteY1234" fmla="*/ 1931860 h 3682908"/>
                <a:gd name="connsiteX1235" fmla="*/ 2645073 w 3862373"/>
                <a:gd name="connsiteY1235" fmla="*/ 1970947 h 3682908"/>
                <a:gd name="connsiteX1236" fmla="*/ 2605987 w 3862373"/>
                <a:gd name="connsiteY1236" fmla="*/ 1931860 h 3682908"/>
                <a:gd name="connsiteX1237" fmla="*/ 2645073 w 3862373"/>
                <a:gd name="connsiteY1237" fmla="*/ 1892773 h 3682908"/>
                <a:gd name="connsiteX1238" fmla="*/ 2550436 w 3862373"/>
                <a:gd name="connsiteY1238" fmla="*/ 1892773 h 3682908"/>
                <a:gd name="connsiteX1239" fmla="*/ 2589522 w 3862373"/>
                <a:gd name="connsiteY1239" fmla="*/ 1931860 h 3682908"/>
                <a:gd name="connsiteX1240" fmla="*/ 2550436 w 3862373"/>
                <a:gd name="connsiteY1240" fmla="*/ 1970947 h 3682908"/>
                <a:gd name="connsiteX1241" fmla="*/ 2511351 w 3862373"/>
                <a:gd name="connsiteY1241" fmla="*/ 1931860 h 3682908"/>
                <a:gd name="connsiteX1242" fmla="*/ 2550436 w 3862373"/>
                <a:gd name="connsiteY1242" fmla="*/ 1892773 h 3682908"/>
                <a:gd name="connsiteX1243" fmla="*/ 2458164 w 3862373"/>
                <a:gd name="connsiteY1243" fmla="*/ 1892773 h 3682908"/>
                <a:gd name="connsiteX1244" fmla="*/ 2497251 w 3862373"/>
                <a:gd name="connsiteY1244" fmla="*/ 1931860 h 3682908"/>
                <a:gd name="connsiteX1245" fmla="*/ 2458164 w 3862373"/>
                <a:gd name="connsiteY1245" fmla="*/ 1970947 h 3682908"/>
                <a:gd name="connsiteX1246" fmla="*/ 2419078 w 3862373"/>
                <a:gd name="connsiteY1246" fmla="*/ 1931860 h 3682908"/>
                <a:gd name="connsiteX1247" fmla="*/ 2458164 w 3862373"/>
                <a:gd name="connsiteY1247" fmla="*/ 1892773 h 3682908"/>
                <a:gd name="connsiteX1248" fmla="*/ 2363524 w 3862373"/>
                <a:gd name="connsiteY1248" fmla="*/ 1892773 h 3682908"/>
                <a:gd name="connsiteX1249" fmla="*/ 2402611 w 3862373"/>
                <a:gd name="connsiteY1249" fmla="*/ 1931860 h 3682908"/>
                <a:gd name="connsiteX1250" fmla="*/ 2363524 w 3862373"/>
                <a:gd name="connsiteY1250" fmla="*/ 1970947 h 3682908"/>
                <a:gd name="connsiteX1251" fmla="*/ 2324437 w 3862373"/>
                <a:gd name="connsiteY1251" fmla="*/ 1931860 h 3682908"/>
                <a:gd name="connsiteX1252" fmla="*/ 2363524 w 3862373"/>
                <a:gd name="connsiteY1252" fmla="*/ 1892773 h 3682908"/>
                <a:gd name="connsiteX1253" fmla="*/ 2266521 w 3862373"/>
                <a:gd name="connsiteY1253" fmla="*/ 1892773 h 3682908"/>
                <a:gd name="connsiteX1254" fmla="*/ 2305606 w 3862373"/>
                <a:gd name="connsiteY1254" fmla="*/ 1931860 h 3682908"/>
                <a:gd name="connsiteX1255" fmla="*/ 2266521 w 3862373"/>
                <a:gd name="connsiteY1255" fmla="*/ 1970947 h 3682908"/>
                <a:gd name="connsiteX1256" fmla="*/ 2227432 w 3862373"/>
                <a:gd name="connsiteY1256" fmla="*/ 1931860 h 3682908"/>
                <a:gd name="connsiteX1257" fmla="*/ 2266521 w 3862373"/>
                <a:gd name="connsiteY1257" fmla="*/ 1892773 h 3682908"/>
                <a:gd name="connsiteX1258" fmla="*/ 951048 w 3862373"/>
                <a:gd name="connsiteY1258" fmla="*/ 1892773 h 3682908"/>
                <a:gd name="connsiteX1259" fmla="*/ 990133 w 3862373"/>
                <a:gd name="connsiteY1259" fmla="*/ 1931860 h 3682908"/>
                <a:gd name="connsiteX1260" fmla="*/ 951048 w 3862373"/>
                <a:gd name="connsiteY1260" fmla="*/ 1970947 h 3682908"/>
                <a:gd name="connsiteX1261" fmla="*/ 911963 w 3862373"/>
                <a:gd name="connsiteY1261" fmla="*/ 1931860 h 3682908"/>
                <a:gd name="connsiteX1262" fmla="*/ 951048 w 3862373"/>
                <a:gd name="connsiteY1262" fmla="*/ 1892773 h 3682908"/>
                <a:gd name="connsiteX1263" fmla="*/ 764144 w 3862373"/>
                <a:gd name="connsiteY1263" fmla="*/ 1892773 h 3682908"/>
                <a:gd name="connsiteX1264" fmla="*/ 803230 w 3862373"/>
                <a:gd name="connsiteY1264" fmla="*/ 1931860 h 3682908"/>
                <a:gd name="connsiteX1265" fmla="*/ 764144 w 3862373"/>
                <a:gd name="connsiteY1265" fmla="*/ 1970947 h 3682908"/>
                <a:gd name="connsiteX1266" fmla="*/ 725059 w 3862373"/>
                <a:gd name="connsiteY1266" fmla="*/ 1931860 h 3682908"/>
                <a:gd name="connsiteX1267" fmla="*/ 764144 w 3862373"/>
                <a:gd name="connsiteY1267" fmla="*/ 1892773 h 3682908"/>
                <a:gd name="connsiteX1268" fmla="*/ 577226 w 3862373"/>
                <a:gd name="connsiteY1268" fmla="*/ 1892773 h 3682908"/>
                <a:gd name="connsiteX1269" fmla="*/ 616318 w 3862373"/>
                <a:gd name="connsiteY1269" fmla="*/ 1931860 h 3682908"/>
                <a:gd name="connsiteX1270" fmla="*/ 577226 w 3862373"/>
                <a:gd name="connsiteY1270" fmla="*/ 1970947 h 3682908"/>
                <a:gd name="connsiteX1271" fmla="*/ 538134 w 3862373"/>
                <a:gd name="connsiteY1271" fmla="*/ 1931860 h 3682908"/>
                <a:gd name="connsiteX1272" fmla="*/ 577226 w 3862373"/>
                <a:gd name="connsiteY1272" fmla="*/ 1892773 h 3682908"/>
                <a:gd name="connsiteX1273" fmla="*/ 484945 w 3862373"/>
                <a:gd name="connsiteY1273" fmla="*/ 1892773 h 3682908"/>
                <a:gd name="connsiteX1274" fmla="*/ 524032 w 3862373"/>
                <a:gd name="connsiteY1274" fmla="*/ 1931860 h 3682908"/>
                <a:gd name="connsiteX1275" fmla="*/ 484945 w 3862373"/>
                <a:gd name="connsiteY1275" fmla="*/ 1970947 h 3682908"/>
                <a:gd name="connsiteX1276" fmla="*/ 445867 w 3862373"/>
                <a:gd name="connsiteY1276" fmla="*/ 1931860 h 3682908"/>
                <a:gd name="connsiteX1277" fmla="*/ 484945 w 3862373"/>
                <a:gd name="connsiteY1277" fmla="*/ 1892773 h 3682908"/>
                <a:gd name="connsiteX1278" fmla="*/ 3861717 w 3862373"/>
                <a:gd name="connsiteY1278" fmla="*/ 1806975 h 3682908"/>
                <a:gd name="connsiteX1279" fmla="*/ 3858023 w 3862373"/>
                <a:gd name="connsiteY1279" fmla="*/ 1880127 h 3682908"/>
                <a:gd name="connsiteX1280" fmla="*/ 3838294 w 3862373"/>
                <a:gd name="connsiteY1280" fmla="*/ 1871955 h 3682908"/>
                <a:gd name="connsiteX1281" fmla="*/ 3826845 w 3862373"/>
                <a:gd name="connsiteY1281" fmla="*/ 1844316 h 3682908"/>
                <a:gd name="connsiteX1282" fmla="*/ 3838294 w 3862373"/>
                <a:gd name="connsiteY1282" fmla="*/ 1816677 h 3682908"/>
                <a:gd name="connsiteX1283" fmla="*/ 3679017 w 3862373"/>
                <a:gd name="connsiteY1283" fmla="*/ 1805229 h 3682908"/>
                <a:gd name="connsiteX1284" fmla="*/ 3718103 w 3862373"/>
                <a:gd name="connsiteY1284" fmla="*/ 1844316 h 3682908"/>
                <a:gd name="connsiteX1285" fmla="*/ 3679017 w 3862373"/>
                <a:gd name="connsiteY1285" fmla="*/ 1883404 h 3682908"/>
                <a:gd name="connsiteX1286" fmla="*/ 3639929 w 3862373"/>
                <a:gd name="connsiteY1286" fmla="*/ 1844316 h 3682908"/>
                <a:gd name="connsiteX1287" fmla="*/ 3679017 w 3862373"/>
                <a:gd name="connsiteY1287" fmla="*/ 1805229 h 3682908"/>
                <a:gd name="connsiteX1288" fmla="*/ 3300457 w 3862373"/>
                <a:gd name="connsiteY1288" fmla="*/ 1805229 h 3682908"/>
                <a:gd name="connsiteX1289" fmla="*/ 3339544 w 3862373"/>
                <a:gd name="connsiteY1289" fmla="*/ 1844316 h 3682908"/>
                <a:gd name="connsiteX1290" fmla="*/ 3300457 w 3862373"/>
                <a:gd name="connsiteY1290" fmla="*/ 1883404 h 3682908"/>
                <a:gd name="connsiteX1291" fmla="*/ 3261369 w 3862373"/>
                <a:gd name="connsiteY1291" fmla="*/ 1844316 h 3682908"/>
                <a:gd name="connsiteX1292" fmla="*/ 3300457 w 3862373"/>
                <a:gd name="connsiteY1292" fmla="*/ 1805229 h 3682908"/>
                <a:gd name="connsiteX1293" fmla="*/ 3111175 w 3862373"/>
                <a:gd name="connsiteY1293" fmla="*/ 1805229 h 3682908"/>
                <a:gd name="connsiteX1294" fmla="*/ 3150263 w 3862373"/>
                <a:gd name="connsiteY1294" fmla="*/ 1844316 h 3682908"/>
                <a:gd name="connsiteX1295" fmla="*/ 3111175 w 3862373"/>
                <a:gd name="connsiteY1295" fmla="*/ 1883404 h 3682908"/>
                <a:gd name="connsiteX1296" fmla="*/ 3072088 w 3862373"/>
                <a:gd name="connsiteY1296" fmla="*/ 1844316 h 3682908"/>
                <a:gd name="connsiteX1297" fmla="*/ 3111175 w 3862373"/>
                <a:gd name="connsiteY1297" fmla="*/ 1805229 h 3682908"/>
                <a:gd name="connsiteX1298" fmla="*/ 3018902 w 3862373"/>
                <a:gd name="connsiteY1298" fmla="*/ 1805229 h 3682908"/>
                <a:gd name="connsiteX1299" fmla="*/ 3057989 w 3862373"/>
                <a:gd name="connsiteY1299" fmla="*/ 1844316 h 3682908"/>
                <a:gd name="connsiteX1300" fmla="*/ 3018902 w 3862373"/>
                <a:gd name="connsiteY1300" fmla="*/ 1883404 h 3682908"/>
                <a:gd name="connsiteX1301" fmla="*/ 2979815 w 3862373"/>
                <a:gd name="connsiteY1301" fmla="*/ 1844316 h 3682908"/>
                <a:gd name="connsiteX1302" fmla="*/ 3018902 w 3862373"/>
                <a:gd name="connsiteY1302" fmla="*/ 1805229 h 3682908"/>
                <a:gd name="connsiteX1303" fmla="*/ 2831988 w 3862373"/>
                <a:gd name="connsiteY1303" fmla="*/ 1805229 h 3682908"/>
                <a:gd name="connsiteX1304" fmla="*/ 2871075 w 3862373"/>
                <a:gd name="connsiteY1304" fmla="*/ 1844316 h 3682908"/>
                <a:gd name="connsiteX1305" fmla="*/ 2831988 w 3862373"/>
                <a:gd name="connsiteY1305" fmla="*/ 1883404 h 3682908"/>
                <a:gd name="connsiteX1306" fmla="*/ 2792901 w 3862373"/>
                <a:gd name="connsiteY1306" fmla="*/ 1844316 h 3682908"/>
                <a:gd name="connsiteX1307" fmla="*/ 2831988 w 3862373"/>
                <a:gd name="connsiteY1307" fmla="*/ 1805229 h 3682908"/>
                <a:gd name="connsiteX1308" fmla="*/ 2737358 w 3862373"/>
                <a:gd name="connsiteY1308" fmla="*/ 1805229 h 3682908"/>
                <a:gd name="connsiteX1309" fmla="*/ 2776434 w 3862373"/>
                <a:gd name="connsiteY1309" fmla="*/ 1844316 h 3682908"/>
                <a:gd name="connsiteX1310" fmla="*/ 2737358 w 3862373"/>
                <a:gd name="connsiteY1310" fmla="*/ 1883404 h 3682908"/>
                <a:gd name="connsiteX1311" fmla="*/ 2698265 w 3862373"/>
                <a:gd name="connsiteY1311" fmla="*/ 1844316 h 3682908"/>
                <a:gd name="connsiteX1312" fmla="*/ 2737358 w 3862373"/>
                <a:gd name="connsiteY1312" fmla="*/ 1805229 h 3682908"/>
                <a:gd name="connsiteX1313" fmla="*/ 2645073 w 3862373"/>
                <a:gd name="connsiteY1313" fmla="*/ 1805229 h 3682908"/>
                <a:gd name="connsiteX1314" fmla="*/ 2684163 w 3862373"/>
                <a:gd name="connsiteY1314" fmla="*/ 1844316 h 3682908"/>
                <a:gd name="connsiteX1315" fmla="*/ 2645073 w 3862373"/>
                <a:gd name="connsiteY1315" fmla="*/ 1883404 h 3682908"/>
                <a:gd name="connsiteX1316" fmla="*/ 2605987 w 3862373"/>
                <a:gd name="connsiteY1316" fmla="*/ 1844316 h 3682908"/>
                <a:gd name="connsiteX1317" fmla="*/ 2645073 w 3862373"/>
                <a:gd name="connsiteY1317" fmla="*/ 1805229 h 3682908"/>
                <a:gd name="connsiteX1318" fmla="*/ 2550436 w 3862373"/>
                <a:gd name="connsiteY1318" fmla="*/ 1805229 h 3682908"/>
                <a:gd name="connsiteX1319" fmla="*/ 2589522 w 3862373"/>
                <a:gd name="connsiteY1319" fmla="*/ 1844316 h 3682908"/>
                <a:gd name="connsiteX1320" fmla="*/ 2550436 w 3862373"/>
                <a:gd name="connsiteY1320" fmla="*/ 1883404 h 3682908"/>
                <a:gd name="connsiteX1321" fmla="*/ 2511352 w 3862373"/>
                <a:gd name="connsiteY1321" fmla="*/ 1844316 h 3682908"/>
                <a:gd name="connsiteX1322" fmla="*/ 2550436 w 3862373"/>
                <a:gd name="connsiteY1322" fmla="*/ 1805229 h 3682908"/>
                <a:gd name="connsiteX1323" fmla="*/ 2363525 w 3862373"/>
                <a:gd name="connsiteY1323" fmla="*/ 1805229 h 3682908"/>
                <a:gd name="connsiteX1324" fmla="*/ 2402611 w 3862373"/>
                <a:gd name="connsiteY1324" fmla="*/ 1844316 h 3682908"/>
                <a:gd name="connsiteX1325" fmla="*/ 2363525 w 3862373"/>
                <a:gd name="connsiteY1325" fmla="*/ 1883404 h 3682908"/>
                <a:gd name="connsiteX1326" fmla="*/ 2324438 w 3862373"/>
                <a:gd name="connsiteY1326" fmla="*/ 1844316 h 3682908"/>
                <a:gd name="connsiteX1327" fmla="*/ 2363525 w 3862373"/>
                <a:gd name="connsiteY1327" fmla="*/ 1805229 h 3682908"/>
                <a:gd name="connsiteX1328" fmla="*/ 3771293 w 3862373"/>
                <a:gd name="connsiteY1328" fmla="*/ 1805229 h 3682908"/>
                <a:gd name="connsiteX1329" fmla="*/ 3810379 w 3862373"/>
                <a:gd name="connsiteY1329" fmla="*/ 1844316 h 3682908"/>
                <a:gd name="connsiteX1330" fmla="*/ 3771293 w 3862373"/>
                <a:gd name="connsiteY1330" fmla="*/ 1883403 h 3682908"/>
                <a:gd name="connsiteX1331" fmla="*/ 3732205 w 3862373"/>
                <a:gd name="connsiteY1331" fmla="*/ 1844316 h 3682908"/>
                <a:gd name="connsiteX1332" fmla="*/ 3771293 w 3862373"/>
                <a:gd name="connsiteY1332" fmla="*/ 1805229 h 3682908"/>
                <a:gd name="connsiteX1333" fmla="*/ 3584377 w 3862373"/>
                <a:gd name="connsiteY1333" fmla="*/ 1805229 h 3682908"/>
                <a:gd name="connsiteX1334" fmla="*/ 3623463 w 3862373"/>
                <a:gd name="connsiteY1334" fmla="*/ 1844316 h 3682908"/>
                <a:gd name="connsiteX1335" fmla="*/ 3584377 w 3862373"/>
                <a:gd name="connsiteY1335" fmla="*/ 1883403 h 3682908"/>
                <a:gd name="connsiteX1336" fmla="*/ 3545289 w 3862373"/>
                <a:gd name="connsiteY1336" fmla="*/ 1844316 h 3682908"/>
                <a:gd name="connsiteX1337" fmla="*/ 3584377 w 3862373"/>
                <a:gd name="connsiteY1337" fmla="*/ 1805229 h 3682908"/>
                <a:gd name="connsiteX1338" fmla="*/ 3489737 w 3862373"/>
                <a:gd name="connsiteY1338" fmla="*/ 1805229 h 3682908"/>
                <a:gd name="connsiteX1339" fmla="*/ 3528823 w 3862373"/>
                <a:gd name="connsiteY1339" fmla="*/ 1844316 h 3682908"/>
                <a:gd name="connsiteX1340" fmla="*/ 3489737 w 3862373"/>
                <a:gd name="connsiteY1340" fmla="*/ 1883403 h 3682908"/>
                <a:gd name="connsiteX1341" fmla="*/ 3450649 w 3862373"/>
                <a:gd name="connsiteY1341" fmla="*/ 1844316 h 3682908"/>
                <a:gd name="connsiteX1342" fmla="*/ 3489737 w 3862373"/>
                <a:gd name="connsiteY1342" fmla="*/ 1805229 h 3682908"/>
                <a:gd name="connsiteX1343" fmla="*/ 3392731 w 3862373"/>
                <a:gd name="connsiteY1343" fmla="*/ 1805229 h 3682908"/>
                <a:gd name="connsiteX1344" fmla="*/ 3431819 w 3862373"/>
                <a:gd name="connsiteY1344" fmla="*/ 1844316 h 3682908"/>
                <a:gd name="connsiteX1345" fmla="*/ 3392731 w 3862373"/>
                <a:gd name="connsiteY1345" fmla="*/ 1883403 h 3682908"/>
                <a:gd name="connsiteX1346" fmla="*/ 3353644 w 3862373"/>
                <a:gd name="connsiteY1346" fmla="*/ 1844316 h 3682908"/>
                <a:gd name="connsiteX1347" fmla="*/ 3392731 w 3862373"/>
                <a:gd name="connsiteY1347" fmla="*/ 1805229 h 3682908"/>
                <a:gd name="connsiteX1348" fmla="*/ 3205817 w 3862373"/>
                <a:gd name="connsiteY1348" fmla="*/ 1805229 h 3682908"/>
                <a:gd name="connsiteX1349" fmla="*/ 3244904 w 3862373"/>
                <a:gd name="connsiteY1349" fmla="*/ 1844316 h 3682908"/>
                <a:gd name="connsiteX1350" fmla="*/ 3205817 w 3862373"/>
                <a:gd name="connsiteY1350" fmla="*/ 1883403 h 3682908"/>
                <a:gd name="connsiteX1351" fmla="*/ 3166729 w 3862373"/>
                <a:gd name="connsiteY1351" fmla="*/ 1844316 h 3682908"/>
                <a:gd name="connsiteX1352" fmla="*/ 3205817 w 3862373"/>
                <a:gd name="connsiteY1352" fmla="*/ 1805229 h 3682908"/>
                <a:gd name="connsiteX1353" fmla="*/ 2924263 w 3862373"/>
                <a:gd name="connsiteY1353" fmla="*/ 1805229 h 3682908"/>
                <a:gd name="connsiteX1354" fmla="*/ 2963349 w 3862373"/>
                <a:gd name="connsiteY1354" fmla="*/ 1844316 h 3682908"/>
                <a:gd name="connsiteX1355" fmla="*/ 2924263 w 3862373"/>
                <a:gd name="connsiteY1355" fmla="*/ 1883403 h 3682908"/>
                <a:gd name="connsiteX1356" fmla="*/ 2885175 w 3862373"/>
                <a:gd name="connsiteY1356" fmla="*/ 1844316 h 3682908"/>
                <a:gd name="connsiteX1357" fmla="*/ 2924263 w 3862373"/>
                <a:gd name="connsiteY1357" fmla="*/ 1805229 h 3682908"/>
                <a:gd name="connsiteX1358" fmla="*/ 2458164 w 3862373"/>
                <a:gd name="connsiteY1358" fmla="*/ 1805229 h 3682908"/>
                <a:gd name="connsiteX1359" fmla="*/ 2497252 w 3862373"/>
                <a:gd name="connsiteY1359" fmla="*/ 1844316 h 3682908"/>
                <a:gd name="connsiteX1360" fmla="*/ 2458164 w 3862373"/>
                <a:gd name="connsiteY1360" fmla="*/ 1883403 h 3682908"/>
                <a:gd name="connsiteX1361" fmla="*/ 2419079 w 3862373"/>
                <a:gd name="connsiteY1361" fmla="*/ 1844316 h 3682908"/>
                <a:gd name="connsiteX1362" fmla="*/ 2458164 w 3862373"/>
                <a:gd name="connsiteY1362" fmla="*/ 1805229 h 3682908"/>
                <a:gd name="connsiteX1363" fmla="*/ 2266523 w 3862373"/>
                <a:gd name="connsiteY1363" fmla="*/ 1805229 h 3682908"/>
                <a:gd name="connsiteX1364" fmla="*/ 2305609 w 3862373"/>
                <a:gd name="connsiteY1364" fmla="*/ 1844316 h 3682908"/>
                <a:gd name="connsiteX1365" fmla="*/ 2266523 w 3862373"/>
                <a:gd name="connsiteY1365" fmla="*/ 1883403 h 3682908"/>
                <a:gd name="connsiteX1366" fmla="*/ 2227433 w 3862373"/>
                <a:gd name="connsiteY1366" fmla="*/ 1844316 h 3682908"/>
                <a:gd name="connsiteX1367" fmla="*/ 2266523 w 3862373"/>
                <a:gd name="connsiteY1367" fmla="*/ 1805229 h 3682908"/>
                <a:gd name="connsiteX1368" fmla="*/ 577230 w 3862373"/>
                <a:gd name="connsiteY1368" fmla="*/ 1805229 h 3682908"/>
                <a:gd name="connsiteX1369" fmla="*/ 616322 w 3862373"/>
                <a:gd name="connsiteY1369" fmla="*/ 1844316 h 3682908"/>
                <a:gd name="connsiteX1370" fmla="*/ 577230 w 3862373"/>
                <a:gd name="connsiteY1370" fmla="*/ 1883403 h 3682908"/>
                <a:gd name="connsiteX1371" fmla="*/ 538137 w 3862373"/>
                <a:gd name="connsiteY1371" fmla="*/ 1844316 h 3682908"/>
                <a:gd name="connsiteX1372" fmla="*/ 577230 w 3862373"/>
                <a:gd name="connsiteY1372" fmla="*/ 1805229 h 3682908"/>
                <a:gd name="connsiteX1373" fmla="*/ 484947 w 3862373"/>
                <a:gd name="connsiteY1373" fmla="*/ 1805229 h 3682908"/>
                <a:gd name="connsiteX1374" fmla="*/ 524035 w 3862373"/>
                <a:gd name="connsiteY1374" fmla="*/ 1844316 h 3682908"/>
                <a:gd name="connsiteX1375" fmla="*/ 484947 w 3862373"/>
                <a:gd name="connsiteY1375" fmla="*/ 1883403 h 3682908"/>
                <a:gd name="connsiteX1376" fmla="*/ 445867 w 3862373"/>
                <a:gd name="connsiteY1376" fmla="*/ 1844316 h 3682908"/>
                <a:gd name="connsiteX1377" fmla="*/ 484947 w 3862373"/>
                <a:gd name="connsiteY1377" fmla="*/ 1805229 h 3682908"/>
                <a:gd name="connsiteX1378" fmla="*/ 390307 w 3862373"/>
                <a:gd name="connsiteY1378" fmla="*/ 1805229 h 3682908"/>
                <a:gd name="connsiteX1379" fmla="*/ 429399 w 3862373"/>
                <a:gd name="connsiteY1379" fmla="*/ 1844316 h 3682908"/>
                <a:gd name="connsiteX1380" fmla="*/ 390307 w 3862373"/>
                <a:gd name="connsiteY1380" fmla="*/ 1883403 h 3682908"/>
                <a:gd name="connsiteX1381" fmla="*/ 351227 w 3862373"/>
                <a:gd name="connsiteY1381" fmla="*/ 1844316 h 3682908"/>
                <a:gd name="connsiteX1382" fmla="*/ 390307 w 3862373"/>
                <a:gd name="connsiteY1382" fmla="*/ 1805229 h 3682908"/>
                <a:gd name="connsiteX1383" fmla="*/ 3858672 w 3862373"/>
                <a:gd name="connsiteY1383" fmla="*/ 1720694 h 3682908"/>
                <a:gd name="connsiteX1384" fmla="*/ 3862373 w 3862373"/>
                <a:gd name="connsiteY1384" fmla="*/ 1793978 h 3682908"/>
                <a:gd name="connsiteX1385" fmla="*/ 3862353 w 3862373"/>
                <a:gd name="connsiteY1385" fmla="*/ 1794377 h 3682908"/>
                <a:gd name="connsiteX1386" fmla="*/ 3838294 w 3862373"/>
                <a:gd name="connsiteY1386" fmla="*/ 1784412 h 3682908"/>
                <a:gd name="connsiteX1387" fmla="*/ 3826845 w 3862373"/>
                <a:gd name="connsiteY1387" fmla="*/ 1756774 h 3682908"/>
                <a:gd name="connsiteX1388" fmla="*/ 3838294 w 3862373"/>
                <a:gd name="connsiteY1388" fmla="*/ 1729135 h 3682908"/>
                <a:gd name="connsiteX1389" fmla="*/ 3771293 w 3862373"/>
                <a:gd name="connsiteY1389" fmla="*/ 1717686 h 3682908"/>
                <a:gd name="connsiteX1390" fmla="*/ 3810379 w 3862373"/>
                <a:gd name="connsiteY1390" fmla="*/ 1756774 h 3682908"/>
                <a:gd name="connsiteX1391" fmla="*/ 3771293 w 3862373"/>
                <a:gd name="connsiteY1391" fmla="*/ 1795860 h 3682908"/>
                <a:gd name="connsiteX1392" fmla="*/ 3732205 w 3862373"/>
                <a:gd name="connsiteY1392" fmla="*/ 1756774 h 3682908"/>
                <a:gd name="connsiteX1393" fmla="*/ 3771293 w 3862373"/>
                <a:gd name="connsiteY1393" fmla="*/ 1717686 h 3682908"/>
                <a:gd name="connsiteX1394" fmla="*/ 3679017 w 3862373"/>
                <a:gd name="connsiteY1394" fmla="*/ 1717686 h 3682908"/>
                <a:gd name="connsiteX1395" fmla="*/ 3718103 w 3862373"/>
                <a:gd name="connsiteY1395" fmla="*/ 1756774 h 3682908"/>
                <a:gd name="connsiteX1396" fmla="*/ 3679017 w 3862373"/>
                <a:gd name="connsiteY1396" fmla="*/ 1795860 h 3682908"/>
                <a:gd name="connsiteX1397" fmla="*/ 3639929 w 3862373"/>
                <a:gd name="connsiteY1397" fmla="*/ 1756774 h 3682908"/>
                <a:gd name="connsiteX1398" fmla="*/ 3679017 w 3862373"/>
                <a:gd name="connsiteY1398" fmla="*/ 1717686 h 3682908"/>
                <a:gd name="connsiteX1399" fmla="*/ 3584377 w 3862373"/>
                <a:gd name="connsiteY1399" fmla="*/ 1717686 h 3682908"/>
                <a:gd name="connsiteX1400" fmla="*/ 3623463 w 3862373"/>
                <a:gd name="connsiteY1400" fmla="*/ 1756774 h 3682908"/>
                <a:gd name="connsiteX1401" fmla="*/ 3584377 w 3862373"/>
                <a:gd name="connsiteY1401" fmla="*/ 1795860 h 3682908"/>
                <a:gd name="connsiteX1402" fmla="*/ 3545289 w 3862373"/>
                <a:gd name="connsiteY1402" fmla="*/ 1756774 h 3682908"/>
                <a:gd name="connsiteX1403" fmla="*/ 3584377 w 3862373"/>
                <a:gd name="connsiteY1403" fmla="*/ 1717686 h 3682908"/>
                <a:gd name="connsiteX1404" fmla="*/ 3489737 w 3862373"/>
                <a:gd name="connsiteY1404" fmla="*/ 1717686 h 3682908"/>
                <a:gd name="connsiteX1405" fmla="*/ 3528823 w 3862373"/>
                <a:gd name="connsiteY1405" fmla="*/ 1756774 h 3682908"/>
                <a:gd name="connsiteX1406" fmla="*/ 3489737 w 3862373"/>
                <a:gd name="connsiteY1406" fmla="*/ 1795860 h 3682908"/>
                <a:gd name="connsiteX1407" fmla="*/ 3450649 w 3862373"/>
                <a:gd name="connsiteY1407" fmla="*/ 1756774 h 3682908"/>
                <a:gd name="connsiteX1408" fmla="*/ 3489737 w 3862373"/>
                <a:gd name="connsiteY1408" fmla="*/ 1717686 h 3682908"/>
                <a:gd name="connsiteX1409" fmla="*/ 3392731 w 3862373"/>
                <a:gd name="connsiteY1409" fmla="*/ 1717686 h 3682908"/>
                <a:gd name="connsiteX1410" fmla="*/ 3431819 w 3862373"/>
                <a:gd name="connsiteY1410" fmla="*/ 1756774 h 3682908"/>
                <a:gd name="connsiteX1411" fmla="*/ 3392731 w 3862373"/>
                <a:gd name="connsiteY1411" fmla="*/ 1795860 h 3682908"/>
                <a:gd name="connsiteX1412" fmla="*/ 3353644 w 3862373"/>
                <a:gd name="connsiteY1412" fmla="*/ 1756774 h 3682908"/>
                <a:gd name="connsiteX1413" fmla="*/ 3392731 w 3862373"/>
                <a:gd name="connsiteY1413" fmla="*/ 1717686 h 3682908"/>
                <a:gd name="connsiteX1414" fmla="*/ 3300457 w 3862373"/>
                <a:gd name="connsiteY1414" fmla="*/ 1717686 h 3682908"/>
                <a:gd name="connsiteX1415" fmla="*/ 3339544 w 3862373"/>
                <a:gd name="connsiteY1415" fmla="*/ 1756774 h 3682908"/>
                <a:gd name="connsiteX1416" fmla="*/ 3300457 w 3862373"/>
                <a:gd name="connsiteY1416" fmla="*/ 1795860 h 3682908"/>
                <a:gd name="connsiteX1417" fmla="*/ 3261369 w 3862373"/>
                <a:gd name="connsiteY1417" fmla="*/ 1756774 h 3682908"/>
                <a:gd name="connsiteX1418" fmla="*/ 3300457 w 3862373"/>
                <a:gd name="connsiteY1418" fmla="*/ 1717686 h 3682908"/>
                <a:gd name="connsiteX1419" fmla="*/ 3205817 w 3862373"/>
                <a:gd name="connsiteY1419" fmla="*/ 1717686 h 3682908"/>
                <a:gd name="connsiteX1420" fmla="*/ 3244904 w 3862373"/>
                <a:gd name="connsiteY1420" fmla="*/ 1756774 h 3682908"/>
                <a:gd name="connsiteX1421" fmla="*/ 3205817 w 3862373"/>
                <a:gd name="connsiteY1421" fmla="*/ 1795860 h 3682908"/>
                <a:gd name="connsiteX1422" fmla="*/ 3166729 w 3862373"/>
                <a:gd name="connsiteY1422" fmla="*/ 1756774 h 3682908"/>
                <a:gd name="connsiteX1423" fmla="*/ 3205817 w 3862373"/>
                <a:gd name="connsiteY1423" fmla="*/ 1717686 h 3682908"/>
                <a:gd name="connsiteX1424" fmla="*/ 3111175 w 3862373"/>
                <a:gd name="connsiteY1424" fmla="*/ 1717686 h 3682908"/>
                <a:gd name="connsiteX1425" fmla="*/ 3150263 w 3862373"/>
                <a:gd name="connsiteY1425" fmla="*/ 1756774 h 3682908"/>
                <a:gd name="connsiteX1426" fmla="*/ 3111175 w 3862373"/>
                <a:gd name="connsiteY1426" fmla="*/ 1795860 h 3682908"/>
                <a:gd name="connsiteX1427" fmla="*/ 3072088 w 3862373"/>
                <a:gd name="connsiteY1427" fmla="*/ 1756774 h 3682908"/>
                <a:gd name="connsiteX1428" fmla="*/ 3111175 w 3862373"/>
                <a:gd name="connsiteY1428" fmla="*/ 1717686 h 3682908"/>
                <a:gd name="connsiteX1429" fmla="*/ 3018902 w 3862373"/>
                <a:gd name="connsiteY1429" fmla="*/ 1717686 h 3682908"/>
                <a:gd name="connsiteX1430" fmla="*/ 3057989 w 3862373"/>
                <a:gd name="connsiteY1430" fmla="*/ 1756774 h 3682908"/>
                <a:gd name="connsiteX1431" fmla="*/ 3018902 w 3862373"/>
                <a:gd name="connsiteY1431" fmla="*/ 1795860 h 3682908"/>
                <a:gd name="connsiteX1432" fmla="*/ 2979815 w 3862373"/>
                <a:gd name="connsiteY1432" fmla="*/ 1756774 h 3682908"/>
                <a:gd name="connsiteX1433" fmla="*/ 3018902 w 3862373"/>
                <a:gd name="connsiteY1433" fmla="*/ 1717686 h 3682908"/>
                <a:gd name="connsiteX1434" fmla="*/ 2924263 w 3862373"/>
                <a:gd name="connsiteY1434" fmla="*/ 1717686 h 3682908"/>
                <a:gd name="connsiteX1435" fmla="*/ 2963349 w 3862373"/>
                <a:gd name="connsiteY1435" fmla="*/ 1756774 h 3682908"/>
                <a:gd name="connsiteX1436" fmla="*/ 2924263 w 3862373"/>
                <a:gd name="connsiteY1436" fmla="*/ 1795860 h 3682908"/>
                <a:gd name="connsiteX1437" fmla="*/ 2885175 w 3862373"/>
                <a:gd name="connsiteY1437" fmla="*/ 1756774 h 3682908"/>
                <a:gd name="connsiteX1438" fmla="*/ 2924263 w 3862373"/>
                <a:gd name="connsiteY1438" fmla="*/ 1717686 h 3682908"/>
                <a:gd name="connsiteX1439" fmla="*/ 2831988 w 3862373"/>
                <a:gd name="connsiteY1439" fmla="*/ 1717686 h 3682908"/>
                <a:gd name="connsiteX1440" fmla="*/ 2871075 w 3862373"/>
                <a:gd name="connsiteY1440" fmla="*/ 1756774 h 3682908"/>
                <a:gd name="connsiteX1441" fmla="*/ 2831988 w 3862373"/>
                <a:gd name="connsiteY1441" fmla="*/ 1795860 h 3682908"/>
                <a:gd name="connsiteX1442" fmla="*/ 2792901 w 3862373"/>
                <a:gd name="connsiteY1442" fmla="*/ 1756774 h 3682908"/>
                <a:gd name="connsiteX1443" fmla="*/ 2831988 w 3862373"/>
                <a:gd name="connsiteY1443" fmla="*/ 1717686 h 3682908"/>
                <a:gd name="connsiteX1444" fmla="*/ 2737359 w 3862373"/>
                <a:gd name="connsiteY1444" fmla="*/ 1717686 h 3682908"/>
                <a:gd name="connsiteX1445" fmla="*/ 2776434 w 3862373"/>
                <a:gd name="connsiteY1445" fmla="*/ 1756774 h 3682908"/>
                <a:gd name="connsiteX1446" fmla="*/ 2737359 w 3862373"/>
                <a:gd name="connsiteY1446" fmla="*/ 1795860 h 3682908"/>
                <a:gd name="connsiteX1447" fmla="*/ 2698265 w 3862373"/>
                <a:gd name="connsiteY1447" fmla="*/ 1756774 h 3682908"/>
                <a:gd name="connsiteX1448" fmla="*/ 2737359 w 3862373"/>
                <a:gd name="connsiteY1448" fmla="*/ 1717686 h 3682908"/>
                <a:gd name="connsiteX1449" fmla="*/ 2645073 w 3862373"/>
                <a:gd name="connsiteY1449" fmla="*/ 1717686 h 3682908"/>
                <a:gd name="connsiteX1450" fmla="*/ 2684164 w 3862373"/>
                <a:gd name="connsiteY1450" fmla="*/ 1756774 h 3682908"/>
                <a:gd name="connsiteX1451" fmla="*/ 2645073 w 3862373"/>
                <a:gd name="connsiteY1451" fmla="*/ 1795860 h 3682908"/>
                <a:gd name="connsiteX1452" fmla="*/ 2605987 w 3862373"/>
                <a:gd name="connsiteY1452" fmla="*/ 1756774 h 3682908"/>
                <a:gd name="connsiteX1453" fmla="*/ 2645073 w 3862373"/>
                <a:gd name="connsiteY1453" fmla="*/ 1717686 h 3682908"/>
                <a:gd name="connsiteX1454" fmla="*/ 2550436 w 3862373"/>
                <a:gd name="connsiteY1454" fmla="*/ 1717686 h 3682908"/>
                <a:gd name="connsiteX1455" fmla="*/ 2589522 w 3862373"/>
                <a:gd name="connsiteY1455" fmla="*/ 1756774 h 3682908"/>
                <a:gd name="connsiteX1456" fmla="*/ 2550436 w 3862373"/>
                <a:gd name="connsiteY1456" fmla="*/ 1795860 h 3682908"/>
                <a:gd name="connsiteX1457" fmla="*/ 2511353 w 3862373"/>
                <a:gd name="connsiteY1457" fmla="*/ 1756774 h 3682908"/>
                <a:gd name="connsiteX1458" fmla="*/ 2550436 w 3862373"/>
                <a:gd name="connsiteY1458" fmla="*/ 1717686 h 3682908"/>
                <a:gd name="connsiteX1459" fmla="*/ 2458164 w 3862373"/>
                <a:gd name="connsiteY1459" fmla="*/ 1717686 h 3682908"/>
                <a:gd name="connsiteX1460" fmla="*/ 2497252 w 3862373"/>
                <a:gd name="connsiteY1460" fmla="*/ 1756774 h 3682908"/>
                <a:gd name="connsiteX1461" fmla="*/ 2458164 w 3862373"/>
                <a:gd name="connsiteY1461" fmla="*/ 1795860 h 3682908"/>
                <a:gd name="connsiteX1462" fmla="*/ 2419080 w 3862373"/>
                <a:gd name="connsiteY1462" fmla="*/ 1756774 h 3682908"/>
                <a:gd name="connsiteX1463" fmla="*/ 2458164 w 3862373"/>
                <a:gd name="connsiteY1463" fmla="*/ 1717686 h 3682908"/>
                <a:gd name="connsiteX1464" fmla="*/ 2363525 w 3862373"/>
                <a:gd name="connsiteY1464" fmla="*/ 1717686 h 3682908"/>
                <a:gd name="connsiteX1465" fmla="*/ 2402611 w 3862373"/>
                <a:gd name="connsiteY1465" fmla="*/ 1756774 h 3682908"/>
                <a:gd name="connsiteX1466" fmla="*/ 2363525 w 3862373"/>
                <a:gd name="connsiteY1466" fmla="*/ 1795860 h 3682908"/>
                <a:gd name="connsiteX1467" fmla="*/ 2324438 w 3862373"/>
                <a:gd name="connsiteY1467" fmla="*/ 1756774 h 3682908"/>
                <a:gd name="connsiteX1468" fmla="*/ 2363525 w 3862373"/>
                <a:gd name="connsiteY1468" fmla="*/ 1717686 h 3682908"/>
                <a:gd name="connsiteX1469" fmla="*/ 951054 w 3862373"/>
                <a:gd name="connsiteY1469" fmla="*/ 1717686 h 3682908"/>
                <a:gd name="connsiteX1470" fmla="*/ 990138 w 3862373"/>
                <a:gd name="connsiteY1470" fmla="*/ 1756774 h 3682908"/>
                <a:gd name="connsiteX1471" fmla="*/ 951054 w 3862373"/>
                <a:gd name="connsiteY1471" fmla="*/ 1795860 h 3682908"/>
                <a:gd name="connsiteX1472" fmla="*/ 911970 w 3862373"/>
                <a:gd name="connsiteY1472" fmla="*/ 1756774 h 3682908"/>
                <a:gd name="connsiteX1473" fmla="*/ 951054 w 3862373"/>
                <a:gd name="connsiteY1473" fmla="*/ 1717686 h 3682908"/>
                <a:gd name="connsiteX1474" fmla="*/ 577233 w 3862373"/>
                <a:gd name="connsiteY1474" fmla="*/ 1717686 h 3682908"/>
                <a:gd name="connsiteX1475" fmla="*/ 616327 w 3862373"/>
                <a:gd name="connsiteY1475" fmla="*/ 1756774 h 3682908"/>
                <a:gd name="connsiteX1476" fmla="*/ 577233 w 3862373"/>
                <a:gd name="connsiteY1476" fmla="*/ 1795860 h 3682908"/>
                <a:gd name="connsiteX1477" fmla="*/ 538140 w 3862373"/>
                <a:gd name="connsiteY1477" fmla="*/ 1756774 h 3682908"/>
                <a:gd name="connsiteX1478" fmla="*/ 577233 w 3862373"/>
                <a:gd name="connsiteY1478" fmla="*/ 1717686 h 3682908"/>
                <a:gd name="connsiteX1479" fmla="*/ 484950 w 3862373"/>
                <a:gd name="connsiteY1479" fmla="*/ 1717686 h 3682908"/>
                <a:gd name="connsiteX1480" fmla="*/ 524038 w 3862373"/>
                <a:gd name="connsiteY1480" fmla="*/ 1756774 h 3682908"/>
                <a:gd name="connsiteX1481" fmla="*/ 484950 w 3862373"/>
                <a:gd name="connsiteY1481" fmla="*/ 1795860 h 3682908"/>
                <a:gd name="connsiteX1482" fmla="*/ 445871 w 3862373"/>
                <a:gd name="connsiteY1482" fmla="*/ 1756774 h 3682908"/>
                <a:gd name="connsiteX1483" fmla="*/ 484950 w 3862373"/>
                <a:gd name="connsiteY1483" fmla="*/ 1717686 h 3682908"/>
                <a:gd name="connsiteX1484" fmla="*/ 390308 w 3862373"/>
                <a:gd name="connsiteY1484" fmla="*/ 1717686 h 3682908"/>
                <a:gd name="connsiteX1485" fmla="*/ 429402 w 3862373"/>
                <a:gd name="connsiteY1485" fmla="*/ 1756774 h 3682908"/>
                <a:gd name="connsiteX1486" fmla="*/ 390308 w 3862373"/>
                <a:gd name="connsiteY1486" fmla="*/ 1795860 h 3682908"/>
                <a:gd name="connsiteX1487" fmla="*/ 351231 w 3862373"/>
                <a:gd name="connsiteY1487" fmla="*/ 1756774 h 3682908"/>
                <a:gd name="connsiteX1488" fmla="*/ 390308 w 3862373"/>
                <a:gd name="connsiteY1488" fmla="*/ 1717686 h 3682908"/>
                <a:gd name="connsiteX1489" fmla="*/ 298037 w 3862373"/>
                <a:gd name="connsiteY1489" fmla="*/ 1717686 h 3682908"/>
                <a:gd name="connsiteX1490" fmla="*/ 337130 w 3862373"/>
                <a:gd name="connsiteY1490" fmla="*/ 1756774 h 3682908"/>
                <a:gd name="connsiteX1491" fmla="*/ 298037 w 3862373"/>
                <a:gd name="connsiteY1491" fmla="*/ 1795860 h 3682908"/>
                <a:gd name="connsiteX1492" fmla="*/ 258948 w 3862373"/>
                <a:gd name="connsiteY1492" fmla="*/ 1756774 h 3682908"/>
                <a:gd name="connsiteX1493" fmla="*/ 298037 w 3862373"/>
                <a:gd name="connsiteY1493" fmla="*/ 1717686 h 3682908"/>
                <a:gd name="connsiteX1494" fmla="*/ 3854460 w 3862373"/>
                <a:gd name="connsiteY1494" fmla="*/ 1637264 h 3682908"/>
                <a:gd name="connsiteX1495" fmla="*/ 3858001 w 3862373"/>
                <a:gd name="connsiteY1495" fmla="*/ 1707402 h 3682908"/>
                <a:gd name="connsiteX1496" fmla="*/ 3838292 w 3862373"/>
                <a:gd name="connsiteY1496" fmla="*/ 1699238 h 3682908"/>
                <a:gd name="connsiteX1497" fmla="*/ 3826844 w 3862373"/>
                <a:gd name="connsiteY1497" fmla="*/ 1671599 h 3682908"/>
                <a:gd name="connsiteX1498" fmla="*/ 3838292 w 3862373"/>
                <a:gd name="connsiteY1498" fmla="*/ 1643961 h 3682908"/>
                <a:gd name="connsiteX1499" fmla="*/ 3771291 w 3862373"/>
                <a:gd name="connsiteY1499" fmla="*/ 1632512 h 3682908"/>
                <a:gd name="connsiteX1500" fmla="*/ 3810379 w 3862373"/>
                <a:gd name="connsiteY1500" fmla="*/ 1671599 h 3682908"/>
                <a:gd name="connsiteX1501" fmla="*/ 3771291 w 3862373"/>
                <a:gd name="connsiteY1501" fmla="*/ 1710687 h 3682908"/>
                <a:gd name="connsiteX1502" fmla="*/ 3732204 w 3862373"/>
                <a:gd name="connsiteY1502" fmla="*/ 1671599 h 3682908"/>
                <a:gd name="connsiteX1503" fmla="*/ 3771291 w 3862373"/>
                <a:gd name="connsiteY1503" fmla="*/ 1632512 h 3682908"/>
                <a:gd name="connsiteX1504" fmla="*/ 3584377 w 3862373"/>
                <a:gd name="connsiteY1504" fmla="*/ 1632512 h 3682908"/>
                <a:gd name="connsiteX1505" fmla="*/ 3623463 w 3862373"/>
                <a:gd name="connsiteY1505" fmla="*/ 1671599 h 3682908"/>
                <a:gd name="connsiteX1506" fmla="*/ 3584377 w 3862373"/>
                <a:gd name="connsiteY1506" fmla="*/ 1710687 h 3682908"/>
                <a:gd name="connsiteX1507" fmla="*/ 3545289 w 3862373"/>
                <a:gd name="connsiteY1507" fmla="*/ 1671599 h 3682908"/>
                <a:gd name="connsiteX1508" fmla="*/ 3584377 w 3862373"/>
                <a:gd name="connsiteY1508" fmla="*/ 1632512 h 3682908"/>
                <a:gd name="connsiteX1509" fmla="*/ 3489737 w 3862373"/>
                <a:gd name="connsiteY1509" fmla="*/ 1632512 h 3682908"/>
                <a:gd name="connsiteX1510" fmla="*/ 3528823 w 3862373"/>
                <a:gd name="connsiteY1510" fmla="*/ 1671599 h 3682908"/>
                <a:gd name="connsiteX1511" fmla="*/ 3489737 w 3862373"/>
                <a:gd name="connsiteY1511" fmla="*/ 1710687 h 3682908"/>
                <a:gd name="connsiteX1512" fmla="*/ 3450649 w 3862373"/>
                <a:gd name="connsiteY1512" fmla="*/ 1671599 h 3682908"/>
                <a:gd name="connsiteX1513" fmla="*/ 3489737 w 3862373"/>
                <a:gd name="connsiteY1513" fmla="*/ 1632512 h 3682908"/>
                <a:gd name="connsiteX1514" fmla="*/ 3392731 w 3862373"/>
                <a:gd name="connsiteY1514" fmla="*/ 1632512 h 3682908"/>
                <a:gd name="connsiteX1515" fmla="*/ 3431819 w 3862373"/>
                <a:gd name="connsiteY1515" fmla="*/ 1671599 h 3682908"/>
                <a:gd name="connsiteX1516" fmla="*/ 3392731 w 3862373"/>
                <a:gd name="connsiteY1516" fmla="*/ 1710687 h 3682908"/>
                <a:gd name="connsiteX1517" fmla="*/ 3353644 w 3862373"/>
                <a:gd name="connsiteY1517" fmla="*/ 1671599 h 3682908"/>
                <a:gd name="connsiteX1518" fmla="*/ 3392731 w 3862373"/>
                <a:gd name="connsiteY1518" fmla="*/ 1632512 h 3682908"/>
                <a:gd name="connsiteX1519" fmla="*/ 2924263 w 3862373"/>
                <a:gd name="connsiteY1519" fmla="*/ 1632512 h 3682908"/>
                <a:gd name="connsiteX1520" fmla="*/ 2963349 w 3862373"/>
                <a:gd name="connsiteY1520" fmla="*/ 1671599 h 3682908"/>
                <a:gd name="connsiteX1521" fmla="*/ 2924263 w 3862373"/>
                <a:gd name="connsiteY1521" fmla="*/ 1710687 h 3682908"/>
                <a:gd name="connsiteX1522" fmla="*/ 2885175 w 3862373"/>
                <a:gd name="connsiteY1522" fmla="*/ 1671599 h 3682908"/>
                <a:gd name="connsiteX1523" fmla="*/ 2924263 w 3862373"/>
                <a:gd name="connsiteY1523" fmla="*/ 1632512 h 3682908"/>
                <a:gd name="connsiteX1524" fmla="*/ 2458164 w 3862373"/>
                <a:gd name="connsiteY1524" fmla="*/ 1632512 h 3682908"/>
                <a:gd name="connsiteX1525" fmla="*/ 2497252 w 3862373"/>
                <a:gd name="connsiteY1525" fmla="*/ 1671599 h 3682908"/>
                <a:gd name="connsiteX1526" fmla="*/ 2458164 w 3862373"/>
                <a:gd name="connsiteY1526" fmla="*/ 1710687 h 3682908"/>
                <a:gd name="connsiteX1527" fmla="*/ 2419080 w 3862373"/>
                <a:gd name="connsiteY1527" fmla="*/ 1671599 h 3682908"/>
                <a:gd name="connsiteX1528" fmla="*/ 2458164 w 3862373"/>
                <a:gd name="connsiteY1528" fmla="*/ 1632512 h 3682908"/>
                <a:gd name="connsiteX1529" fmla="*/ 951057 w 3862373"/>
                <a:gd name="connsiteY1529" fmla="*/ 1632512 h 3682908"/>
                <a:gd name="connsiteX1530" fmla="*/ 990141 w 3862373"/>
                <a:gd name="connsiteY1530" fmla="*/ 1671599 h 3682908"/>
                <a:gd name="connsiteX1531" fmla="*/ 951057 w 3862373"/>
                <a:gd name="connsiteY1531" fmla="*/ 1710687 h 3682908"/>
                <a:gd name="connsiteX1532" fmla="*/ 911973 w 3862373"/>
                <a:gd name="connsiteY1532" fmla="*/ 1671599 h 3682908"/>
                <a:gd name="connsiteX1533" fmla="*/ 951057 w 3862373"/>
                <a:gd name="connsiteY1533" fmla="*/ 1632512 h 3682908"/>
                <a:gd name="connsiteX1534" fmla="*/ 856425 w 3862373"/>
                <a:gd name="connsiteY1534" fmla="*/ 1632512 h 3682908"/>
                <a:gd name="connsiteX1535" fmla="*/ 895509 w 3862373"/>
                <a:gd name="connsiteY1535" fmla="*/ 1671599 h 3682908"/>
                <a:gd name="connsiteX1536" fmla="*/ 856425 w 3862373"/>
                <a:gd name="connsiteY1536" fmla="*/ 1710687 h 3682908"/>
                <a:gd name="connsiteX1537" fmla="*/ 817341 w 3862373"/>
                <a:gd name="connsiteY1537" fmla="*/ 1671599 h 3682908"/>
                <a:gd name="connsiteX1538" fmla="*/ 856425 w 3862373"/>
                <a:gd name="connsiteY1538" fmla="*/ 1632512 h 3682908"/>
                <a:gd name="connsiteX1539" fmla="*/ 669521 w 3862373"/>
                <a:gd name="connsiteY1539" fmla="*/ 1632512 h 3682908"/>
                <a:gd name="connsiteX1540" fmla="*/ 708609 w 3862373"/>
                <a:gd name="connsiteY1540" fmla="*/ 1671599 h 3682908"/>
                <a:gd name="connsiteX1541" fmla="*/ 669521 w 3862373"/>
                <a:gd name="connsiteY1541" fmla="*/ 1710687 h 3682908"/>
                <a:gd name="connsiteX1542" fmla="*/ 630433 w 3862373"/>
                <a:gd name="connsiteY1542" fmla="*/ 1671599 h 3682908"/>
                <a:gd name="connsiteX1543" fmla="*/ 669521 w 3862373"/>
                <a:gd name="connsiteY1543" fmla="*/ 1632512 h 3682908"/>
                <a:gd name="connsiteX1544" fmla="*/ 577237 w 3862373"/>
                <a:gd name="connsiteY1544" fmla="*/ 1632512 h 3682908"/>
                <a:gd name="connsiteX1545" fmla="*/ 616330 w 3862373"/>
                <a:gd name="connsiteY1545" fmla="*/ 1671599 h 3682908"/>
                <a:gd name="connsiteX1546" fmla="*/ 577237 w 3862373"/>
                <a:gd name="connsiteY1546" fmla="*/ 1710687 h 3682908"/>
                <a:gd name="connsiteX1547" fmla="*/ 538144 w 3862373"/>
                <a:gd name="connsiteY1547" fmla="*/ 1671599 h 3682908"/>
                <a:gd name="connsiteX1548" fmla="*/ 577237 w 3862373"/>
                <a:gd name="connsiteY1548" fmla="*/ 1632512 h 3682908"/>
                <a:gd name="connsiteX1549" fmla="*/ 484957 w 3862373"/>
                <a:gd name="connsiteY1549" fmla="*/ 1632512 h 3682908"/>
                <a:gd name="connsiteX1550" fmla="*/ 524042 w 3862373"/>
                <a:gd name="connsiteY1550" fmla="*/ 1671599 h 3682908"/>
                <a:gd name="connsiteX1551" fmla="*/ 484957 w 3862373"/>
                <a:gd name="connsiteY1551" fmla="*/ 1710687 h 3682908"/>
                <a:gd name="connsiteX1552" fmla="*/ 445875 w 3862373"/>
                <a:gd name="connsiteY1552" fmla="*/ 1671599 h 3682908"/>
                <a:gd name="connsiteX1553" fmla="*/ 484957 w 3862373"/>
                <a:gd name="connsiteY1553" fmla="*/ 1632512 h 3682908"/>
                <a:gd name="connsiteX1554" fmla="*/ 390314 w 3862373"/>
                <a:gd name="connsiteY1554" fmla="*/ 1632512 h 3682908"/>
                <a:gd name="connsiteX1555" fmla="*/ 429406 w 3862373"/>
                <a:gd name="connsiteY1555" fmla="*/ 1671599 h 3682908"/>
                <a:gd name="connsiteX1556" fmla="*/ 390314 w 3862373"/>
                <a:gd name="connsiteY1556" fmla="*/ 1710687 h 3682908"/>
                <a:gd name="connsiteX1557" fmla="*/ 351235 w 3862373"/>
                <a:gd name="connsiteY1557" fmla="*/ 1671599 h 3682908"/>
                <a:gd name="connsiteX1558" fmla="*/ 390314 w 3862373"/>
                <a:gd name="connsiteY1558" fmla="*/ 1632512 h 3682908"/>
                <a:gd name="connsiteX1559" fmla="*/ 298040 w 3862373"/>
                <a:gd name="connsiteY1559" fmla="*/ 1632512 h 3682908"/>
                <a:gd name="connsiteX1560" fmla="*/ 337133 w 3862373"/>
                <a:gd name="connsiteY1560" fmla="*/ 1671599 h 3682908"/>
                <a:gd name="connsiteX1561" fmla="*/ 298040 w 3862373"/>
                <a:gd name="connsiteY1561" fmla="*/ 1710687 h 3682908"/>
                <a:gd name="connsiteX1562" fmla="*/ 258951 w 3862373"/>
                <a:gd name="connsiteY1562" fmla="*/ 1671599 h 3682908"/>
                <a:gd name="connsiteX1563" fmla="*/ 298040 w 3862373"/>
                <a:gd name="connsiteY1563" fmla="*/ 1632512 h 3682908"/>
                <a:gd name="connsiteX1564" fmla="*/ 3679017 w 3862373"/>
                <a:gd name="connsiteY1564" fmla="*/ 1632512 h 3682908"/>
                <a:gd name="connsiteX1565" fmla="*/ 3718103 w 3862373"/>
                <a:gd name="connsiteY1565" fmla="*/ 1671598 h 3682908"/>
                <a:gd name="connsiteX1566" fmla="*/ 3679017 w 3862373"/>
                <a:gd name="connsiteY1566" fmla="*/ 1710685 h 3682908"/>
                <a:gd name="connsiteX1567" fmla="*/ 3639929 w 3862373"/>
                <a:gd name="connsiteY1567" fmla="*/ 1671598 h 3682908"/>
                <a:gd name="connsiteX1568" fmla="*/ 3679017 w 3862373"/>
                <a:gd name="connsiteY1568" fmla="*/ 1632512 h 3682908"/>
                <a:gd name="connsiteX1569" fmla="*/ 3300455 w 3862373"/>
                <a:gd name="connsiteY1569" fmla="*/ 1632512 h 3682908"/>
                <a:gd name="connsiteX1570" fmla="*/ 3339543 w 3862373"/>
                <a:gd name="connsiteY1570" fmla="*/ 1671598 h 3682908"/>
                <a:gd name="connsiteX1571" fmla="*/ 3300455 w 3862373"/>
                <a:gd name="connsiteY1571" fmla="*/ 1710685 h 3682908"/>
                <a:gd name="connsiteX1572" fmla="*/ 3261368 w 3862373"/>
                <a:gd name="connsiteY1572" fmla="*/ 1671598 h 3682908"/>
                <a:gd name="connsiteX1573" fmla="*/ 3300455 w 3862373"/>
                <a:gd name="connsiteY1573" fmla="*/ 1632512 h 3682908"/>
                <a:gd name="connsiteX1574" fmla="*/ 3111175 w 3862373"/>
                <a:gd name="connsiteY1574" fmla="*/ 1632512 h 3682908"/>
                <a:gd name="connsiteX1575" fmla="*/ 3150263 w 3862373"/>
                <a:gd name="connsiteY1575" fmla="*/ 1671598 h 3682908"/>
                <a:gd name="connsiteX1576" fmla="*/ 3111175 w 3862373"/>
                <a:gd name="connsiteY1576" fmla="*/ 1710685 h 3682908"/>
                <a:gd name="connsiteX1577" fmla="*/ 3072088 w 3862373"/>
                <a:gd name="connsiteY1577" fmla="*/ 1671598 h 3682908"/>
                <a:gd name="connsiteX1578" fmla="*/ 3111175 w 3862373"/>
                <a:gd name="connsiteY1578" fmla="*/ 1632512 h 3682908"/>
                <a:gd name="connsiteX1579" fmla="*/ 3018902 w 3862373"/>
                <a:gd name="connsiteY1579" fmla="*/ 1632512 h 3682908"/>
                <a:gd name="connsiteX1580" fmla="*/ 3057989 w 3862373"/>
                <a:gd name="connsiteY1580" fmla="*/ 1671598 h 3682908"/>
                <a:gd name="connsiteX1581" fmla="*/ 3018902 w 3862373"/>
                <a:gd name="connsiteY1581" fmla="*/ 1710685 h 3682908"/>
                <a:gd name="connsiteX1582" fmla="*/ 2979815 w 3862373"/>
                <a:gd name="connsiteY1582" fmla="*/ 1671598 h 3682908"/>
                <a:gd name="connsiteX1583" fmla="*/ 3018902 w 3862373"/>
                <a:gd name="connsiteY1583" fmla="*/ 1632512 h 3682908"/>
                <a:gd name="connsiteX1584" fmla="*/ 2831987 w 3862373"/>
                <a:gd name="connsiteY1584" fmla="*/ 1632512 h 3682908"/>
                <a:gd name="connsiteX1585" fmla="*/ 2871074 w 3862373"/>
                <a:gd name="connsiteY1585" fmla="*/ 1671598 h 3682908"/>
                <a:gd name="connsiteX1586" fmla="*/ 2831987 w 3862373"/>
                <a:gd name="connsiteY1586" fmla="*/ 1710685 h 3682908"/>
                <a:gd name="connsiteX1587" fmla="*/ 2792900 w 3862373"/>
                <a:gd name="connsiteY1587" fmla="*/ 1671598 h 3682908"/>
                <a:gd name="connsiteX1588" fmla="*/ 2831987 w 3862373"/>
                <a:gd name="connsiteY1588" fmla="*/ 1632512 h 3682908"/>
                <a:gd name="connsiteX1589" fmla="*/ 2737359 w 3862373"/>
                <a:gd name="connsiteY1589" fmla="*/ 1632512 h 3682908"/>
                <a:gd name="connsiteX1590" fmla="*/ 2776434 w 3862373"/>
                <a:gd name="connsiteY1590" fmla="*/ 1671598 h 3682908"/>
                <a:gd name="connsiteX1591" fmla="*/ 2737359 w 3862373"/>
                <a:gd name="connsiteY1591" fmla="*/ 1710685 h 3682908"/>
                <a:gd name="connsiteX1592" fmla="*/ 2698267 w 3862373"/>
                <a:gd name="connsiteY1592" fmla="*/ 1671598 h 3682908"/>
                <a:gd name="connsiteX1593" fmla="*/ 2737359 w 3862373"/>
                <a:gd name="connsiteY1593" fmla="*/ 1632512 h 3682908"/>
                <a:gd name="connsiteX1594" fmla="*/ 2645073 w 3862373"/>
                <a:gd name="connsiteY1594" fmla="*/ 1632512 h 3682908"/>
                <a:gd name="connsiteX1595" fmla="*/ 2684164 w 3862373"/>
                <a:gd name="connsiteY1595" fmla="*/ 1671598 h 3682908"/>
                <a:gd name="connsiteX1596" fmla="*/ 2645073 w 3862373"/>
                <a:gd name="connsiteY1596" fmla="*/ 1710685 h 3682908"/>
                <a:gd name="connsiteX1597" fmla="*/ 2605987 w 3862373"/>
                <a:gd name="connsiteY1597" fmla="*/ 1671598 h 3682908"/>
                <a:gd name="connsiteX1598" fmla="*/ 2645073 w 3862373"/>
                <a:gd name="connsiteY1598" fmla="*/ 1632512 h 3682908"/>
                <a:gd name="connsiteX1599" fmla="*/ 2550437 w 3862373"/>
                <a:gd name="connsiteY1599" fmla="*/ 1632512 h 3682908"/>
                <a:gd name="connsiteX1600" fmla="*/ 2589522 w 3862373"/>
                <a:gd name="connsiteY1600" fmla="*/ 1671598 h 3682908"/>
                <a:gd name="connsiteX1601" fmla="*/ 2550437 w 3862373"/>
                <a:gd name="connsiteY1601" fmla="*/ 1710685 h 3682908"/>
                <a:gd name="connsiteX1602" fmla="*/ 2511353 w 3862373"/>
                <a:gd name="connsiteY1602" fmla="*/ 1671598 h 3682908"/>
                <a:gd name="connsiteX1603" fmla="*/ 2550437 w 3862373"/>
                <a:gd name="connsiteY1603" fmla="*/ 1632512 h 3682908"/>
                <a:gd name="connsiteX1604" fmla="*/ 2363525 w 3862373"/>
                <a:gd name="connsiteY1604" fmla="*/ 1632512 h 3682908"/>
                <a:gd name="connsiteX1605" fmla="*/ 2402612 w 3862373"/>
                <a:gd name="connsiteY1605" fmla="*/ 1671598 h 3682908"/>
                <a:gd name="connsiteX1606" fmla="*/ 2363525 w 3862373"/>
                <a:gd name="connsiteY1606" fmla="*/ 1710685 h 3682908"/>
                <a:gd name="connsiteX1607" fmla="*/ 2324438 w 3862373"/>
                <a:gd name="connsiteY1607" fmla="*/ 1671598 h 3682908"/>
                <a:gd name="connsiteX1608" fmla="*/ 2363525 w 3862373"/>
                <a:gd name="connsiteY1608" fmla="*/ 1632512 h 3682908"/>
                <a:gd name="connsiteX1609" fmla="*/ 764159 w 3862373"/>
                <a:gd name="connsiteY1609" fmla="*/ 1632512 h 3682908"/>
                <a:gd name="connsiteX1610" fmla="*/ 803243 w 3862373"/>
                <a:gd name="connsiteY1610" fmla="*/ 1671598 h 3682908"/>
                <a:gd name="connsiteX1611" fmla="*/ 764159 w 3862373"/>
                <a:gd name="connsiteY1611" fmla="*/ 1710685 h 3682908"/>
                <a:gd name="connsiteX1612" fmla="*/ 725074 w 3862373"/>
                <a:gd name="connsiteY1612" fmla="*/ 1671598 h 3682908"/>
                <a:gd name="connsiteX1613" fmla="*/ 764159 w 3862373"/>
                <a:gd name="connsiteY1613" fmla="*/ 1632512 h 3682908"/>
                <a:gd name="connsiteX1614" fmla="*/ 3846758 w 3862373"/>
                <a:gd name="connsiteY1614" fmla="*/ 1555277 h 3682908"/>
                <a:gd name="connsiteX1615" fmla="*/ 3852080 w 3862373"/>
                <a:gd name="connsiteY1615" fmla="*/ 1590149 h 3682908"/>
                <a:gd name="connsiteX1616" fmla="*/ 3853608 w 3862373"/>
                <a:gd name="connsiteY1616" fmla="*/ 1620406 h 3682908"/>
                <a:gd name="connsiteX1617" fmla="*/ 3838292 w 3862373"/>
                <a:gd name="connsiteY1617" fmla="*/ 1614061 h 3682908"/>
                <a:gd name="connsiteX1618" fmla="*/ 3826844 w 3862373"/>
                <a:gd name="connsiteY1618" fmla="*/ 1586423 h 3682908"/>
                <a:gd name="connsiteX1619" fmla="*/ 3838292 w 3862373"/>
                <a:gd name="connsiteY1619" fmla="*/ 1558784 h 3682908"/>
                <a:gd name="connsiteX1620" fmla="*/ 3771291 w 3862373"/>
                <a:gd name="connsiteY1620" fmla="*/ 1547335 h 3682908"/>
                <a:gd name="connsiteX1621" fmla="*/ 3810379 w 3862373"/>
                <a:gd name="connsiteY1621" fmla="*/ 1586423 h 3682908"/>
                <a:gd name="connsiteX1622" fmla="*/ 3771291 w 3862373"/>
                <a:gd name="connsiteY1622" fmla="*/ 1625510 h 3682908"/>
                <a:gd name="connsiteX1623" fmla="*/ 3732204 w 3862373"/>
                <a:gd name="connsiteY1623" fmla="*/ 1586423 h 3682908"/>
                <a:gd name="connsiteX1624" fmla="*/ 3771291 w 3862373"/>
                <a:gd name="connsiteY1624" fmla="*/ 1547335 h 3682908"/>
                <a:gd name="connsiteX1625" fmla="*/ 3679017 w 3862373"/>
                <a:gd name="connsiteY1625" fmla="*/ 1547335 h 3682908"/>
                <a:gd name="connsiteX1626" fmla="*/ 3718103 w 3862373"/>
                <a:gd name="connsiteY1626" fmla="*/ 1586423 h 3682908"/>
                <a:gd name="connsiteX1627" fmla="*/ 3679017 w 3862373"/>
                <a:gd name="connsiteY1627" fmla="*/ 1625510 h 3682908"/>
                <a:gd name="connsiteX1628" fmla="*/ 3639929 w 3862373"/>
                <a:gd name="connsiteY1628" fmla="*/ 1586423 h 3682908"/>
                <a:gd name="connsiteX1629" fmla="*/ 3679017 w 3862373"/>
                <a:gd name="connsiteY1629" fmla="*/ 1547335 h 3682908"/>
                <a:gd name="connsiteX1630" fmla="*/ 3584377 w 3862373"/>
                <a:gd name="connsiteY1630" fmla="*/ 1547335 h 3682908"/>
                <a:gd name="connsiteX1631" fmla="*/ 3623463 w 3862373"/>
                <a:gd name="connsiteY1631" fmla="*/ 1586423 h 3682908"/>
                <a:gd name="connsiteX1632" fmla="*/ 3584377 w 3862373"/>
                <a:gd name="connsiteY1632" fmla="*/ 1625510 h 3682908"/>
                <a:gd name="connsiteX1633" fmla="*/ 3545289 w 3862373"/>
                <a:gd name="connsiteY1633" fmla="*/ 1586423 h 3682908"/>
                <a:gd name="connsiteX1634" fmla="*/ 3584377 w 3862373"/>
                <a:gd name="connsiteY1634" fmla="*/ 1547335 h 3682908"/>
                <a:gd name="connsiteX1635" fmla="*/ 3489737 w 3862373"/>
                <a:gd name="connsiteY1635" fmla="*/ 1547335 h 3682908"/>
                <a:gd name="connsiteX1636" fmla="*/ 3528823 w 3862373"/>
                <a:gd name="connsiteY1636" fmla="*/ 1586423 h 3682908"/>
                <a:gd name="connsiteX1637" fmla="*/ 3489737 w 3862373"/>
                <a:gd name="connsiteY1637" fmla="*/ 1625510 h 3682908"/>
                <a:gd name="connsiteX1638" fmla="*/ 3450649 w 3862373"/>
                <a:gd name="connsiteY1638" fmla="*/ 1586423 h 3682908"/>
                <a:gd name="connsiteX1639" fmla="*/ 3489737 w 3862373"/>
                <a:gd name="connsiteY1639" fmla="*/ 1547335 h 3682908"/>
                <a:gd name="connsiteX1640" fmla="*/ 3392731 w 3862373"/>
                <a:gd name="connsiteY1640" fmla="*/ 1547335 h 3682908"/>
                <a:gd name="connsiteX1641" fmla="*/ 3431819 w 3862373"/>
                <a:gd name="connsiteY1641" fmla="*/ 1586423 h 3682908"/>
                <a:gd name="connsiteX1642" fmla="*/ 3392731 w 3862373"/>
                <a:gd name="connsiteY1642" fmla="*/ 1625510 h 3682908"/>
                <a:gd name="connsiteX1643" fmla="*/ 3353644 w 3862373"/>
                <a:gd name="connsiteY1643" fmla="*/ 1586423 h 3682908"/>
                <a:gd name="connsiteX1644" fmla="*/ 3392731 w 3862373"/>
                <a:gd name="connsiteY1644" fmla="*/ 1547335 h 3682908"/>
                <a:gd name="connsiteX1645" fmla="*/ 3300455 w 3862373"/>
                <a:gd name="connsiteY1645" fmla="*/ 1547335 h 3682908"/>
                <a:gd name="connsiteX1646" fmla="*/ 3339543 w 3862373"/>
                <a:gd name="connsiteY1646" fmla="*/ 1586423 h 3682908"/>
                <a:gd name="connsiteX1647" fmla="*/ 3300455 w 3862373"/>
                <a:gd name="connsiteY1647" fmla="*/ 1625510 h 3682908"/>
                <a:gd name="connsiteX1648" fmla="*/ 3261368 w 3862373"/>
                <a:gd name="connsiteY1648" fmla="*/ 1586423 h 3682908"/>
                <a:gd name="connsiteX1649" fmla="*/ 3300455 w 3862373"/>
                <a:gd name="connsiteY1649" fmla="*/ 1547335 h 3682908"/>
                <a:gd name="connsiteX1650" fmla="*/ 2737361 w 3862373"/>
                <a:gd name="connsiteY1650" fmla="*/ 1547335 h 3682908"/>
                <a:gd name="connsiteX1651" fmla="*/ 2776434 w 3862373"/>
                <a:gd name="connsiteY1651" fmla="*/ 1586423 h 3682908"/>
                <a:gd name="connsiteX1652" fmla="*/ 2737361 w 3862373"/>
                <a:gd name="connsiteY1652" fmla="*/ 1625510 h 3682908"/>
                <a:gd name="connsiteX1653" fmla="*/ 2698267 w 3862373"/>
                <a:gd name="connsiteY1653" fmla="*/ 1586423 h 3682908"/>
                <a:gd name="connsiteX1654" fmla="*/ 2737361 w 3862373"/>
                <a:gd name="connsiteY1654" fmla="*/ 1547335 h 3682908"/>
                <a:gd name="connsiteX1655" fmla="*/ 2645073 w 3862373"/>
                <a:gd name="connsiteY1655" fmla="*/ 1547335 h 3682908"/>
                <a:gd name="connsiteX1656" fmla="*/ 2684164 w 3862373"/>
                <a:gd name="connsiteY1656" fmla="*/ 1586423 h 3682908"/>
                <a:gd name="connsiteX1657" fmla="*/ 2645073 w 3862373"/>
                <a:gd name="connsiteY1657" fmla="*/ 1625510 h 3682908"/>
                <a:gd name="connsiteX1658" fmla="*/ 2605987 w 3862373"/>
                <a:gd name="connsiteY1658" fmla="*/ 1586423 h 3682908"/>
                <a:gd name="connsiteX1659" fmla="*/ 2645073 w 3862373"/>
                <a:gd name="connsiteY1659" fmla="*/ 1547335 h 3682908"/>
                <a:gd name="connsiteX1660" fmla="*/ 2550437 w 3862373"/>
                <a:gd name="connsiteY1660" fmla="*/ 1547335 h 3682908"/>
                <a:gd name="connsiteX1661" fmla="*/ 2589523 w 3862373"/>
                <a:gd name="connsiteY1661" fmla="*/ 1586423 h 3682908"/>
                <a:gd name="connsiteX1662" fmla="*/ 2550437 w 3862373"/>
                <a:gd name="connsiteY1662" fmla="*/ 1625510 h 3682908"/>
                <a:gd name="connsiteX1663" fmla="*/ 2511353 w 3862373"/>
                <a:gd name="connsiteY1663" fmla="*/ 1586423 h 3682908"/>
                <a:gd name="connsiteX1664" fmla="*/ 2550437 w 3862373"/>
                <a:gd name="connsiteY1664" fmla="*/ 1547335 h 3682908"/>
                <a:gd name="connsiteX1665" fmla="*/ 2458164 w 3862373"/>
                <a:gd name="connsiteY1665" fmla="*/ 1547335 h 3682908"/>
                <a:gd name="connsiteX1666" fmla="*/ 2497252 w 3862373"/>
                <a:gd name="connsiteY1666" fmla="*/ 1586423 h 3682908"/>
                <a:gd name="connsiteX1667" fmla="*/ 2458164 w 3862373"/>
                <a:gd name="connsiteY1667" fmla="*/ 1625510 h 3682908"/>
                <a:gd name="connsiteX1668" fmla="*/ 2419081 w 3862373"/>
                <a:gd name="connsiteY1668" fmla="*/ 1586423 h 3682908"/>
                <a:gd name="connsiteX1669" fmla="*/ 2458164 w 3862373"/>
                <a:gd name="connsiteY1669" fmla="*/ 1547335 h 3682908"/>
                <a:gd name="connsiteX1670" fmla="*/ 951061 w 3862373"/>
                <a:gd name="connsiteY1670" fmla="*/ 1547335 h 3682908"/>
                <a:gd name="connsiteX1671" fmla="*/ 990144 w 3862373"/>
                <a:gd name="connsiteY1671" fmla="*/ 1586423 h 3682908"/>
                <a:gd name="connsiteX1672" fmla="*/ 951061 w 3862373"/>
                <a:gd name="connsiteY1672" fmla="*/ 1625510 h 3682908"/>
                <a:gd name="connsiteX1673" fmla="*/ 911977 w 3862373"/>
                <a:gd name="connsiteY1673" fmla="*/ 1586423 h 3682908"/>
                <a:gd name="connsiteX1674" fmla="*/ 951061 w 3862373"/>
                <a:gd name="connsiteY1674" fmla="*/ 1547335 h 3682908"/>
                <a:gd name="connsiteX1675" fmla="*/ 856428 w 3862373"/>
                <a:gd name="connsiteY1675" fmla="*/ 1547335 h 3682908"/>
                <a:gd name="connsiteX1676" fmla="*/ 895513 w 3862373"/>
                <a:gd name="connsiteY1676" fmla="*/ 1586423 h 3682908"/>
                <a:gd name="connsiteX1677" fmla="*/ 856428 w 3862373"/>
                <a:gd name="connsiteY1677" fmla="*/ 1625510 h 3682908"/>
                <a:gd name="connsiteX1678" fmla="*/ 817346 w 3862373"/>
                <a:gd name="connsiteY1678" fmla="*/ 1586423 h 3682908"/>
                <a:gd name="connsiteX1679" fmla="*/ 856428 w 3862373"/>
                <a:gd name="connsiteY1679" fmla="*/ 1547335 h 3682908"/>
                <a:gd name="connsiteX1680" fmla="*/ 764163 w 3862373"/>
                <a:gd name="connsiteY1680" fmla="*/ 1547335 h 3682908"/>
                <a:gd name="connsiteX1681" fmla="*/ 803247 w 3862373"/>
                <a:gd name="connsiteY1681" fmla="*/ 1586423 h 3682908"/>
                <a:gd name="connsiteX1682" fmla="*/ 764163 w 3862373"/>
                <a:gd name="connsiteY1682" fmla="*/ 1625510 h 3682908"/>
                <a:gd name="connsiteX1683" fmla="*/ 725079 w 3862373"/>
                <a:gd name="connsiteY1683" fmla="*/ 1586423 h 3682908"/>
                <a:gd name="connsiteX1684" fmla="*/ 764163 w 3862373"/>
                <a:gd name="connsiteY1684" fmla="*/ 1547335 h 3682908"/>
                <a:gd name="connsiteX1685" fmla="*/ 669521 w 3862373"/>
                <a:gd name="connsiteY1685" fmla="*/ 1547335 h 3682908"/>
                <a:gd name="connsiteX1686" fmla="*/ 708613 w 3862373"/>
                <a:gd name="connsiteY1686" fmla="*/ 1586423 h 3682908"/>
                <a:gd name="connsiteX1687" fmla="*/ 669521 w 3862373"/>
                <a:gd name="connsiteY1687" fmla="*/ 1625510 h 3682908"/>
                <a:gd name="connsiteX1688" fmla="*/ 630438 w 3862373"/>
                <a:gd name="connsiteY1688" fmla="*/ 1586423 h 3682908"/>
                <a:gd name="connsiteX1689" fmla="*/ 669521 w 3862373"/>
                <a:gd name="connsiteY1689" fmla="*/ 1547335 h 3682908"/>
                <a:gd name="connsiteX1690" fmla="*/ 577241 w 3862373"/>
                <a:gd name="connsiteY1690" fmla="*/ 1547335 h 3682908"/>
                <a:gd name="connsiteX1691" fmla="*/ 616335 w 3862373"/>
                <a:gd name="connsiteY1691" fmla="*/ 1586423 h 3682908"/>
                <a:gd name="connsiteX1692" fmla="*/ 577241 w 3862373"/>
                <a:gd name="connsiteY1692" fmla="*/ 1625510 h 3682908"/>
                <a:gd name="connsiteX1693" fmla="*/ 538147 w 3862373"/>
                <a:gd name="connsiteY1693" fmla="*/ 1586423 h 3682908"/>
                <a:gd name="connsiteX1694" fmla="*/ 577241 w 3862373"/>
                <a:gd name="connsiteY1694" fmla="*/ 1547335 h 3682908"/>
                <a:gd name="connsiteX1695" fmla="*/ 484957 w 3862373"/>
                <a:gd name="connsiteY1695" fmla="*/ 1547335 h 3682908"/>
                <a:gd name="connsiteX1696" fmla="*/ 524045 w 3862373"/>
                <a:gd name="connsiteY1696" fmla="*/ 1586423 h 3682908"/>
                <a:gd name="connsiteX1697" fmla="*/ 484957 w 3862373"/>
                <a:gd name="connsiteY1697" fmla="*/ 1625510 h 3682908"/>
                <a:gd name="connsiteX1698" fmla="*/ 445879 w 3862373"/>
                <a:gd name="connsiteY1698" fmla="*/ 1586423 h 3682908"/>
                <a:gd name="connsiteX1699" fmla="*/ 484957 w 3862373"/>
                <a:gd name="connsiteY1699" fmla="*/ 1547335 h 3682908"/>
                <a:gd name="connsiteX1700" fmla="*/ 390314 w 3862373"/>
                <a:gd name="connsiteY1700" fmla="*/ 1547335 h 3682908"/>
                <a:gd name="connsiteX1701" fmla="*/ 429410 w 3862373"/>
                <a:gd name="connsiteY1701" fmla="*/ 1586423 h 3682908"/>
                <a:gd name="connsiteX1702" fmla="*/ 390314 w 3862373"/>
                <a:gd name="connsiteY1702" fmla="*/ 1625510 h 3682908"/>
                <a:gd name="connsiteX1703" fmla="*/ 351238 w 3862373"/>
                <a:gd name="connsiteY1703" fmla="*/ 1586423 h 3682908"/>
                <a:gd name="connsiteX1704" fmla="*/ 390314 w 3862373"/>
                <a:gd name="connsiteY1704" fmla="*/ 1547335 h 3682908"/>
                <a:gd name="connsiteX1705" fmla="*/ 298043 w 3862373"/>
                <a:gd name="connsiteY1705" fmla="*/ 1547335 h 3682908"/>
                <a:gd name="connsiteX1706" fmla="*/ 337137 w 3862373"/>
                <a:gd name="connsiteY1706" fmla="*/ 1586423 h 3682908"/>
                <a:gd name="connsiteX1707" fmla="*/ 298043 w 3862373"/>
                <a:gd name="connsiteY1707" fmla="*/ 1625510 h 3682908"/>
                <a:gd name="connsiteX1708" fmla="*/ 258954 w 3862373"/>
                <a:gd name="connsiteY1708" fmla="*/ 1586423 h 3682908"/>
                <a:gd name="connsiteX1709" fmla="*/ 298043 w 3862373"/>
                <a:gd name="connsiteY1709" fmla="*/ 1547335 h 3682908"/>
                <a:gd name="connsiteX1710" fmla="*/ 203400 w 3862373"/>
                <a:gd name="connsiteY1710" fmla="*/ 1547335 h 3682908"/>
                <a:gd name="connsiteX1711" fmla="*/ 242489 w 3862373"/>
                <a:gd name="connsiteY1711" fmla="*/ 1586423 h 3682908"/>
                <a:gd name="connsiteX1712" fmla="*/ 203400 w 3862373"/>
                <a:gd name="connsiteY1712" fmla="*/ 1625510 h 3682908"/>
                <a:gd name="connsiteX1713" fmla="*/ 164314 w 3862373"/>
                <a:gd name="connsiteY1713" fmla="*/ 1586423 h 3682908"/>
                <a:gd name="connsiteX1714" fmla="*/ 203400 w 3862373"/>
                <a:gd name="connsiteY1714" fmla="*/ 1547335 h 3682908"/>
                <a:gd name="connsiteX1715" fmla="*/ 3835635 w 3862373"/>
                <a:gd name="connsiteY1715" fmla="*/ 1482393 h 3682908"/>
                <a:gd name="connsiteX1716" fmla="*/ 3843416 w 3862373"/>
                <a:gd name="connsiteY1716" fmla="*/ 1533374 h 3682908"/>
                <a:gd name="connsiteX1717" fmla="*/ 3838294 w 3862373"/>
                <a:gd name="connsiteY1717" fmla="*/ 1531252 h 3682908"/>
                <a:gd name="connsiteX1718" fmla="*/ 3826845 w 3862373"/>
                <a:gd name="connsiteY1718" fmla="*/ 1503614 h 3682908"/>
                <a:gd name="connsiteX1719" fmla="*/ 3771293 w 3862373"/>
                <a:gd name="connsiteY1719" fmla="*/ 1464526 h 3682908"/>
                <a:gd name="connsiteX1720" fmla="*/ 3810379 w 3862373"/>
                <a:gd name="connsiteY1720" fmla="*/ 1503614 h 3682908"/>
                <a:gd name="connsiteX1721" fmla="*/ 3771293 w 3862373"/>
                <a:gd name="connsiteY1721" fmla="*/ 1542701 h 3682908"/>
                <a:gd name="connsiteX1722" fmla="*/ 3732205 w 3862373"/>
                <a:gd name="connsiteY1722" fmla="*/ 1503614 h 3682908"/>
                <a:gd name="connsiteX1723" fmla="*/ 3771293 w 3862373"/>
                <a:gd name="connsiteY1723" fmla="*/ 1464526 h 3682908"/>
                <a:gd name="connsiteX1724" fmla="*/ 3679018 w 3862373"/>
                <a:gd name="connsiteY1724" fmla="*/ 1464526 h 3682908"/>
                <a:gd name="connsiteX1725" fmla="*/ 3718105 w 3862373"/>
                <a:gd name="connsiteY1725" fmla="*/ 1503614 h 3682908"/>
                <a:gd name="connsiteX1726" fmla="*/ 3679018 w 3862373"/>
                <a:gd name="connsiteY1726" fmla="*/ 1542701 h 3682908"/>
                <a:gd name="connsiteX1727" fmla="*/ 3639931 w 3862373"/>
                <a:gd name="connsiteY1727" fmla="*/ 1503614 h 3682908"/>
                <a:gd name="connsiteX1728" fmla="*/ 3679018 w 3862373"/>
                <a:gd name="connsiteY1728" fmla="*/ 1464526 h 3682908"/>
                <a:gd name="connsiteX1729" fmla="*/ 3489737 w 3862373"/>
                <a:gd name="connsiteY1729" fmla="*/ 1464526 h 3682908"/>
                <a:gd name="connsiteX1730" fmla="*/ 3528823 w 3862373"/>
                <a:gd name="connsiteY1730" fmla="*/ 1503614 h 3682908"/>
                <a:gd name="connsiteX1731" fmla="*/ 3489737 w 3862373"/>
                <a:gd name="connsiteY1731" fmla="*/ 1542701 h 3682908"/>
                <a:gd name="connsiteX1732" fmla="*/ 3450649 w 3862373"/>
                <a:gd name="connsiteY1732" fmla="*/ 1503614 h 3682908"/>
                <a:gd name="connsiteX1733" fmla="*/ 3489737 w 3862373"/>
                <a:gd name="connsiteY1733" fmla="*/ 1464526 h 3682908"/>
                <a:gd name="connsiteX1734" fmla="*/ 3392731 w 3862373"/>
                <a:gd name="connsiteY1734" fmla="*/ 1464526 h 3682908"/>
                <a:gd name="connsiteX1735" fmla="*/ 3431819 w 3862373"/>
                <a:gd name="connsiteY1735" fmla="*/ 1503614 h 3682908"/>
                <a:gd name="connsiteX1736" fmla="*/ 3392731 w 3862373"/>
                <a:gd name="connsiteY1736" fmla="*/ 1542701 h 3682908"/>
                <a:gd name="connsiteX1737" fmla="*/ 3353644 w 3862373"/>
                <a:gd name="connsiteY1737" fmla="*/ 1503614 h 3682908"/>
                <a:gd name="connsiteX1738" fmla="*/ 3392731 w 3862373"/>
                <a:gd name="connsiteY1738" fmla="*/ 1464526 h 3682908"/>
                <a:gd name="connsiteX1739" fmla="*/ 3300457 w 3862373"/>
                <a:gd name="connsiteY1739" fmla="*/ 1464526 h 3682908"/>
                <a:gd name="connsiteX1740" fmla="*/ 3339544 w 3862373"/>
                <a:gd name="connsiteY1740" fmla="*/ 1503614 h 3682908"/>
                <a:gd name="connsiteX1741" fmla="*/ 3300457 w 3862373"/>
                <a:gd name="connsiteY1741" fmla="*/ 1542701 h 3682908"/>
                <a:gd name="connsiteX1742" fmla="*/ 3261369 w 3862373"/>
                <a:gd name="connsiteY1742" fmla="*/ 1503614 h 3682908"/>
                <a:gd name="connsiteX1743" fmla="*/ 3300457 w 3862373"/>
                <a:gd name="connsiteY1743" fmla="*/ 1464526 h 3682908"/>
                <a:gd name="connsiteX1744" fmla="*/ 3205817 w 3862373"/>
                <a:gd name="connsiteY1744" fmla="*/ 1464526 h 3682908"/>
                <a:gd name="connsiteX1745" fmla="*/ 3244904 w 3862373"/>
                <a:gd name="connsiteY1745" fmla="*/ 1503614 h 3682908"/>
                <a:gd name="connsiteX1746" fmla="*/ 3205817 w 3862373"/>
                <a:gd name="connsiteY1746" fmla="*/ 1542701 h 3682908"/>
                <a:gd name="connsiteX1747" fmla="*/ 3166729 w 3862373"/>
                <a:gd name="connsiteY1747" fmla="*/ 1503614 h 3682908"/>
                <a:gd name="connsiteX1748" fmla="*/ 3205817 w 3862373"/>
                <a:gd name="connsiteY1748" fmla="*/ 1464526 h 3682908"/>
                <a:gd name="connsiteX1749" fmla="*/ 3111177 w 3862373"/>
                <a:gd name="connsiteY1749" fmla="*/ 1464526 h 3682908"/>
                <a:gd name="connsiteX1750" fmla="*/ 3150264 w 3862373"/>
                <a:gd name="connsiteY1750" fmla="*/ 1503614 h 3682908"/>
                <a:gd name="connsiteX1751" fmla="*/ 3111177 w 3862373"/>
                <a:gd name="connsiteY1751" fmla="*/ 1542701 h 3682908"/>
                <a:gd name="connsiteX1752" fmla="*/ 3072089 w 3862373"/>
                <a:gd name="connsiteY1752" fmla="*/ 1503614 h 3682908"/>
                <a:gd name="connsiteX1753" fmla="*/ 3111177 w 3862373"/>
                <a:gd name="connsiteY1753" fmla="*/ 1464526 h 3682908"/>
                <a:gd name="connsiteX1754" fmla="*/ 3018902 w 3862373"/>
                <a:gd name="connsiteY1754" fmla="*/ 1464526 h 3682908"/>
                <a:gd name="connsiteX1755" fmla="*/ 3057989 w 3862373"/>
                <a:gd name="connsiteY1755" fmla="*/ 1503614 h 3682908"/>
                <a:gd name="connsiteX1756" fmla="*/ 3018902 w 3862373"/>
                <a:gd name="connsiteY1756" fmla="*/ 1542701 h 3682908"/>
                <a:gd name="connsiteX1757" fmla="*/ 2979815 w 3862373"/>
                <a:gd name="connsiteY1757" fmla="*/ 1503614 h 3682908"/>
                <a:gd name="connsiteX1758" fmla="*/ 3018902 w 3862373"/>
                <a:gd name="connsiteY1758" fmla="*/ 1464526 h 3682908"/>
                <a:gd name="connsiteX1759" fmla="*/ 2831988 w 3862373"/>
                <a:gd name="connsiteY1759" fmla="*/ 1464526 h 3682908"/>
                <a:gd name="connsiteX1760" fmla="*/ 2871075 w 3862373"/>
                <a:gd name="connsiteY1760" fmla="*/ 1503614 h 3682908"/>
                <a:gd name="connsiteX1761" fmla="*/ 2831988 w 3862373"/>
                <a:gd name="connsiteY1761" fmla="*/ 1542701 h 3682908"/>
                <a:gd name="connsiteX1762" fmla="*/ 2792901 w 3862373"/>
                <a:gd name="connsiteY1762" fmla="*/ 1503614 h 3682908"/>
                <a:gd name="connsiteX1763" fmla="*/ 2831988 w 3862373"/>
                <a:gd name="connsiteY1763" fmla="*/ 1464526 h 3682908"/>
                <a:gd name="connsiteX1764" fmla="*/ 2458167 w 3862373"/>
                <a:gd name="connsiteY1764" fmla="*/ 1464526 h 3682908"/>
                <a:gd name="connsiteX1765" fmla="*/ 2497253 w 3862373"/>
                <a:gd name="connsiteY1765" fmla="*/ 1503614 h 3682908"/>
                <a:gd name="connsiteX1766" fmla="*/ 2458167 w 3862373"/>
                <a:gd name="connsiteY1766" fmla="*/ 1542701 h 3682908"/>
                <a:gd name="connsiteX1767" fmla="*/ 2419081 w 3862373"/>
                <a:gd name="connsiteY1767" fmla="*/ 1503614 h 3682908"/>
                <a:gd name="connsiteX1768" fmla="*/ 2458167 w 3862373"/>
                <a:gd name="connsiteY1768" fmla="*/ 1464526 h 3682908"/>
                <a:gd name="connsiteX1769" fmla="*/ 2363529 w 3862373"/>
                <a:gd name="connsiteY1769" fmla="*/ 1464526 h 3682908"/>
                <a:gd name="connsiteX1770" fmla="*/ 2402614 w 3862373"/>
                <a:gd name="connsiteY1770" fmla="*/ 1503614 h 3682908"/>
                <a:gd name="connsiteX1771" fmla="*/ 2363529 w 3862373"/>
                <a:gd name="connsiteY1771" fmla="*/ 1542701 h 3682908"/>
                <a:gd name="connsiteX1772" fmla="*/ 2324441 w 3862373"/>
                <a:gd name="connsiteY1772" fmla="*/ 1503614 h 3682908"/>
                <a:gd name="connsiteX1773" fmla="*/ 2363529 w 3862373"/>
                <a:gd name="connsiteY1773" fmla="*/ 1464526 h 3682908"/>
                <a:gd name="connsiteX1774" fmla="*/ 1045696 w 3862373"/>
                <a:gd name="connsiteY1774" fmla="*/ 1464526 h 3682908"/>
                <a:gd name="connsiteX1775" fmla="*/ 1084784 w 3862373"/>
                <a:gd name="connsiteY1775" fmla="*/ 1503614 h 3682908"/>
                <a:gd name="connsiteX1776" fmla="*/ 1045696 w 3862373"/>
                <a:gd name="connsiteY1776" fmla="*/ 1542701 h 3682908"/>
                <a:gd name="connsiteX1777" fmla="*/ 1006612 w 3862373"/>
                <a:gd name="connsiteY1777" fmla="*/ 1503614 h 3682908"/>
                <a:gd name="connsiteX1778" fmla="*/ 1045696 w 3862373"/>
                <a:gd name="connsiteY1778" fmla="*/ 1464526 h 3682908"/>
                <a:gd name="connsiteX1779" fmla="*/ 951064 w 3862373"/>
                <a:gd name="connsiteY1779" fmla="*/ 1464526 h 3682908"/>
                <a:gd name="connsiteX1780" fmla="*/ 990147 w 3862373"/>
                <a:gd name="connsiteY1780" fmla="*/ 1503614 h 3682908"/>
                <a:gd name="connsiteX1781" fmla="*/ 951064 w 3862373"/>
                <a:gd name="connsiteY1781" fmla="*/ 1542701 h 3682908"/>
                <a:gd name="connsiteX1782" fmla="*/ 911980 w 3862373"/>
                <a:gd name="connsiteY1782" fmla="*/ 1503614 h 3682908"/>
                <a:gd name="connsiteX1783" fmla="*/ 951064 w 3862373"/>
                <a:gd name="connsiteY1783" fmla="*/ 1464526 h 3682908"/>
                <a:gd name="connsiteX1784" fmla="*/ 856433 w 3862373"/>
                <a:gd name="connsiteY1784" fmla="*/ 1464526 h 3682908"/>
                <a:gd name="connsiteX1785" fmla="*/ 895517 w 3862373"/>
                <a:gd name="connsiteY1785" fmla="*/ 1503614 h 3682908"/>
                <a:gd name="connsiteX1786" fmla="*/ 856433 w 3862373"/>
                <a:gd name="connsiteY1786" fmla="*/ 1542701 h 3682908"/>
                <a:gd name="connsiteX1787" fmla="*/ 817350 w 3862373"/>
                <a:gd name="connsiteY1787" fmla="*/ 1503614 h 3682908"/>
                <a:gd name="connsiteX1788" fmla="*/ 856433 w 3862373"/>
                <a:gd name="connsiteY1788" fmla="*/ 1464526 h 3682908"/>
                <a:gd name="connsiteX1789" fmla="*/ 764168 w 3862373"/>
                <a:gd name="connsiteY1789" fmla="*/ 1464526 h 3682908"/>
                <a:gd name="connsiteX1790" fmla="*/ 803252 w 3862373"/>
                <a:gd name="connsiteY1790" fmla="*/ 1503614 h 3682908"/>
                <a:gd name="connsiteX1791" fmla="*/ 764168 w 3862373"/>
                <a:gd name="connsiteY1791" fmla="*/ 1542701 h 3682908"/>
                <a:gd name="connsiteX1792" fmla="*/ 725083 w 3862373"/>
                <a:gd name="connsiteY1792" fmla="*/ 1503614 h 3682908"/>
                <a:gd name="connsiteX1793" fmla="*/ 764168 w 3862373"/>
                <a:gd name="connsiteY1793" fmla="*/ 1464526 h 3682908"/>
                <a:gd name="connsiteX1794" fmla="*/ 669521 w 3862373"/>
                <a:gd name="connsiteY1794" fmla="*/ 1464526 h 3682908"/>
                <a:gd name="connsiteX1795" fmla="*/ 708620 w 3862373"/>
                <a:gd name="connsiteY1795" fmla="*/ 1503614 h 3682908"/>
                <a:gd name="connsiteX1796" fmla="*/ 669521 w 3862373"/>
                <a:gd name="connsiteY1796" fmla="*/ 1542701 h 3682908"/>
                <a:gd name="connsiteX1797" fmla="*/ 630443 w 3862373"/>
                <a:gd name="connsiteY1797" fmla="*/ 1503614 h 3682908"/>
                <a:gd name="connsiteX1798" fmla="*/ 669521 w 3862373"/>
                <a:gd name="connsiteY1798" fmla="*/ 1464526 h 3682908"/>
                <a:gd name="connsiteX1799" fmla="*/ 577246 w 3862373"/>
                <a:gd name="connsiteY1799" fmla="*/ 1464526 h 3682908"/>
                <a:gd name="connsiteX1800" fmla="*/ 616341 w 3862373"/>
                <a:gd name="connsiteY1800" fmla="*/ 1503614 h 3682908"/>
                <a:gd name="connsiteX1801" fmla="*/ 577246 w 3862373"/>
                <a:gd name="connsiteY1801" fmla="*/ 1542701 h 3682908"/>
                <a:gd name="connsiteX1802" fmla="*/ 538151 w 3862373"/>
                <a:gd name="connsiteY1802" fmla="*/ 1503614 h 3682908"/>
                <a:gd name="connsiteX1803" fmla="*/ 577246 w 3862373"/>
                <a:gd name="connsiteY1803" fmla="*/ 1464526 h 3682908"/>
                <a:gd name="connsiteX1804" fmla="*/ 484961 w 3862373"/>
                <a:gd name="connsiteY1804" fmla="*/ 1464526 h 3682908"/>
                <a:gd name="connsiteX1805" fmla="*/ 524048 w 3862373"/>
                <a:gd name="connsiteY1805" fmla="*/ 1503614 h 3682908"/>
                <a:gd name="connsiteX1806" fmla="*/ 484961 w 3862373"/>
                <a:gd name="connsiteY1806" fmla="*/ 1542701 h 3682908"/>
                <a:gd name="connsiteX1807" fmla="*/ 445884 w 3862373"/>
                <a:gd name="connsiteY1807" fmla="*/ 1503614 h 3682908"/>
                <a:gd name="connsiteX1808" fmla="*/ 484961 w 3862373"/>
                <a:gd name="connsiteY1808" fmla="*/ 1464526 h 3682908"/>
                <a:gd name="connsiteX1809" fmla="*/ 390321 w 3862373"/>
                <a:gd name="connsiteY1809" fmla="*/ 1464526 h 3682908"/>
                <a:gd name="connsiteX1810" fmla="*/ 429414 w 3862373"/>
                <a:gd name="connsiteY1810" fmla="*/ 1503614 h 3682908"/>
                <a:gd name="connsiteX1811" fmla="*/ 390321 w 3862373"/>
                <a:gd name="connsiteY1811" fmla="*/ 1542701 h 3682908"/>
                <a:gd name="connsiteX1812" fmla="*/ 351243 w 3862373"/>
                <a:gd name="connsiteY1812" fmla="*/ 1503614 h 3682908"/>
                <a:gd name="connsiteX1813" fmla="*/ 390321 w 3862373"/>
                <a:gd name="connsiteY1813" fmla="*/ 1464526 h 3682908"/>
                <a:gd name="connsiteX1814" fmla="*/ 298048 w 3862373"/>
                <a:gd name="connsiteY1814" fmla="*/ 1464526 h 3682908"/>
                <a:gd name="connsiteX1815" fmla="*/ 337143 w 3862373"/>
                <a:gd name="connsiteY1815" fmla="*/ 1503614 h 3682908"/>
                <a:gd name="connsiteX1816" fmla="*/ 298048 w 3862373"/>
                <a:gd name="connsiteY1816" fmla="*/ 1542701 h 3682908"/>
                <a:gd name="connsiteX1817" fmla="*/ 258959 w 3862373"/>
                <a:gd name="connsiteY1817" fmla="*/ 1503614 h 3682908"/>
                <a:gd name="connsiteX1818" fmla="*/ 298048 w 3862373"/>
                <a:gd name="connsiteY1818" fmla="*/ 1464526 h 3682908"/>
                <a:gd name="connsiteX1819" fmla="*/ 203404 w 3862373"/>
                <a:gd name="connsiteY1819" fmla="*/ 1464526 h 3682908"/>
                <a:gd name="connsiteX1820" fmla="*/ 242493 w 3862373"/>
                <a:gd name="connsiteY1820" fmla="*/ 1503614 h 3682908"/>
                <a:gd name="connsiteX1821" fmla="*/ 203404 w 3862373"/>
                <a:gd name="connsiteY1821" fmla="*/ 1542701 h 3682908"/>
                <a:gd name="connsiteX1822" fmla="*/ 164318 w 3862373"/>
                <a:gd name="connsiteY1822" fmla="*/ 1503614 h 3682908"/>
                <a:gd name="connsiteX1823" fmla="*/ 203404 w 3862373"/>
                <a:gd name="connsiteY1823" fmla="*/ 1464526 h 3682908"/>
                <a:gd name="connsiteX1824" fmla="*/ 111130 w 3862373"/>
                <a:gd name="connsiteY1824" fmla="*/ 1464526 h 3682908"/>
                <a:gd name="connsiteX1825" fmla="*/ 150218 w 3862373"/>
                <a:gd name="connsiteY1825" fmla="*/ 1503614 h 3682908"/>
                <a:gd name="connsiteX1826" fmla="*/ 111130 w 3862373"/>
                <a:gd name="connsiteY1826" fmla="*/ 1542701 h 3682908"/>
                <a:gd name="connsiteX1827" fmla="*/ 72044 w 3862373"/>
                <a:gd name="connsiteY1827" fmla="*/ 1503614 h 3682908"/>
                <a:gd name="connsiteX1828" fmla="*/ 111130 w 3862373"/>
                <a:gd name="connsiteY1828" fmla="*/ 1464526 h 3682908"/>
                <a:gd name="connsiteX1829" fmla="*/ 111134 w 3862373"/>
                <a:gd name="connsiteY1829" fmla="*/ 1376985 h 3682908"/>
                <a:gd name="connsiteX1830" fmla="*/ 150221 w 3862373"/>
                <a:gd name="connsiteY1830" fmla="*/ 1416072 h 3682908"/>
                <a:gd name="connsiteX1831" fmla="*/ 111134 w 3862373"/>
                <a:gd name="connsiteY1831" fmla="*/ 1455159 h 3682908"/>
                <a:gd name="connsiteX1832" fmla="*/ 72048 w 3862373"/>
                <a:gd name="connsiteY1832" fmla="*/ 1416072 h 3682908"/>
                <a:gd name="connsiteX1833" fmla="*/ 111134 w 3862373"/>
                <a:gd name="connsiteY1833" fmla="*/ 1376985 h 3682908"/>
                <a:gd name="connsiteX1834" fmla="*/ 484966 w 3862373"/>
                <a:gd name="connsiteY1834" fmla="*/ 1376984 h 3682908"/>
                <a:gd name="connsiteX1835" fmla="*/ 524052 w 3862373"/>
                <a:gd name="connsiteY1835" fmla="*/ 1416071 h 3682908"/>
                <a:gd name="connsiteX1836" fmla="*/ 484966 w 3862373"/>
                <a:gd name="connsiteY1836" fmla="*/ 1455159 h 3682908"/>
                <a:gd name="connsiteX1837" fmla="*/ 445888 w 3862373"/>
                <a:gd name="connsiteY1837" fmla="*/ 1416071 h 3682908"/>
                <a:gd name="connsiteX1838" fmla="*/ 484966 w 3862373"/>
                <a:gd name="connsiteY1838" fmla="*/ 1376984 h 3682908"/>
                <a:gd name="connsiteX1839" fmla="*/ 390321 w 3862373"/>
                <a:gd name="connsiteY1839" fmla="*/ 1376984 h 3682908"/>
                <a:gd name="connsiteX1840" fmla="*/ 429417 w 3862373"/>
                <a:gd name="connsiteY1840" fmla="*/ 1416071 h 3682908"/>
                <a:gd name="connsiteX1841" fmla="*/ 390321 w 3862373"/>
                <a:gd name="connsiteY1841" fmla="*/ 1455159 h 3682908"/>
                <a:gd name="connsiteX1842" fmla="*/ 351248 w 3862373"/>
                <a:gd name="connsiteY1842" fmla="*/ 1416071 h 3682908"/>
                <a:gd name="connsiteX1843" fmla="*/ 390321 w 3862373"/>
                <a:gd name="connsiteY1843" fmla="*/ 1376984 h 3682908"/>
                <a:gd name="connsiteX1844" fmla="*/ 298052 w 3862373"/>
                <a:gd name="connsiteY1844" fmla="*/ 1376984 h 3682908"/>
                <a:gd name="connsiteX1845" fmla="*/ 337147 w 3862373"/>
                <a:gd name="connsiteY1845" fmla="*/ 1416071 h 3682908"/>
                <a:gd name="connsiteX1846" fmla="*/ 298052 w 3862373"/>
                <a:gd name="connsiteY1846" fmla="*/ 1455159 h 3682908"/>
                <a:gd name="connsiteX1847" fmla="*/ 258963 w 3862373"/>
                <a:gd name="connsiteY1847" fmla="*/ 1416071 h 3682908"/>
                <a:gd name="connsiteX1848" fmla="*/ 298052 w 3862373"/>
                <a:gd name="connsiteY1848" fmla="*/ 1376984 h 3682908"/>
                <a:gd name="connsiteX1849" fmla="*/ 203408 w 3862373"/>
                <a:gd name="connsiteY1849" fmla="*/ 1376984 h 3682908"/>
                <a:gd name="connsiteX1850" fmla="*/ 242497 w 3862373"/>
                <a:gd name="connsiteY1850" fmla="*/ 1416071 h 3682908"/>
                <a:gd name="connsiteX1851" fmla="*/ 203408 w 3862373"/>
                <a:gd name="connsiteY1851" fmla="*/ 1455159 h 3682908"/>
                <a:gd name="connsiteX1852" fmla="*/ 164322 w 3862373"/>
                <a:gd name="connsiteY1852" fmla="*/ 1416071 h 3682908"/>
                <a:gd name="connsiteX1853" fmla="*/ 203408 w 3862373"/>
                <a:gd name="connsiteY1853" fmla="*/ 1376984 h 3682908"/>
                <a:gd name="connsiteX1854" fmla="*/ 3771293 w 3862373"/>
                <a:gd name="connsiteY1854" fmla="*/ 1376983 h 3682908"/>
                <a:gd name="connsiteX1855" fmla="*/ 3810379 w 3862373"/>
                <a:gd name="connsiteY1855" fmla="*/ 1416070 h 3682908"/>
                <a:gd name="connsiteX1856" fmla="*/ 3771293 w 3862373"/>
                <a:gd name="connsiteY1856" fmla="*/ 1455158 h 3682908"/>
                <a:gd name="connsiteX1857" fmla="*/ 3732205 w 3862373"/>
                <a:gd name="connsiteY1857" fmla="*/ 1416070 h 3682908"/>
                <a:gd name="connsiteX1858" fmla="*/ 3771293 w 3862373"/>
                <a:gd name="connsiteY1858" fmla="*/ 1376983 h 3682908"/>
                <a:gd name="connsiteX1859" fmla="*/ 3679018 w 3862373"/>
                <a:gd name="connsiteY1859" fmla="*/ 1376983 h 3682908"/>
                <a:gd name="connsiteX1860" fmla="*/ 3718105 w 3862373"/>
                <a:gd name="connsiteY1860" fmla="*/ 1416070 h 3682908"/>
                <a:gd name="connsiteX1861" fmla="*/ 3679018 w 3862373"/>
                <a:gd name="connsiteY1861" fmla="*/ 1455158 h 3682908"/>
                <a:gd name="connsiteX1862" fmla="*/ 3639931 w 3862373"/>
                <a:gd name="connsiteY1862" fmla="*/ 1416070 h 3682908"/>
                <a:gd name="connsiteX1863" fmla="*/ 3679018 w 3862373"/>
                <a:gd name="connsiteY1863" fmla="*/ 1376983 h 3682908"/>
                <a:gd name="connsiteX1864" fmla="*/ 3489737 w 3862373"/>
                <a:gd name="connsiteY1864" fmla="*/ 1376983 h 3682908"/>
                <a:gd name="connsiteX1865" fmla="*/ 3528823 w 3862373"/>
                <a:gd name="connsiteY1865" fmla="*/ 1416070 h 3682908"/>
                <a:gd name="connsiteX1866" fmla="*/ 3489737 w 3862373"/>
                <a:gd name="connsiteY1866" fmla="*/ 1455158 h 3682908"/>
                <a:gd name="connsiteX1867" fmla="*/ 3450649 w 3862373"/>
                <a:gd name="connsiteY1867" fmla="*/ 1416070 h 3682908"/>
                <a:gd name="connsiteX1868" fmla="*/ 3489737 w 3862373"/>
                <a:gd name="connsiteY1868" fmla="*/ 1376983 h 3682908"/>
                <a:gd name="connsiteX1869" fmla="*/ 3392731 w 3862373"/>
                <a:gd name="connsiteY1869" fmla="*/ 1376983 h 3682908"/>
                <a:gd name="connsiteX1870" fmla="*/ 3431819 w 3862373"/>
                <a:gd name="connsiteY1870" fmla="*/ 1416070 h 3682908"/>
                <a:gd name="connsiteX1871" fmla="*/ 3392731 w 3862373"/>
                <a:gd name="connsiteY1871" fmla="*/ 1455158 h 3682908"/>
                <a:gd name="connsiteX1872" fmla="*/ 3353644 w 3862373"/>
                <a:gd name="connsiteY1872" fmla="*/ 1416070 h 3682908"/>
                <a:gd name="connsiteX1873" fmla="*/ 3392731 w 3862373"/>
                <a:gd name="connsiteY1873" fmla="*/ 1376983 h 3682908"/>
                <a:gd name="connsiteX1874" fmla="*/ 3300457 w 3862373"/>
                <a:gd name="connsiteY1874" fmla="*/ 1376983 h 3682908"/>
                <a:gd name="connsiteX1875" fmla="*/ 3339544 w 3862373"/>
                <a:gd name="connsiteY1875" fmla="*/ 1416070 h 3682908"/>
                <a:gd name="connsiteX1876" fmla="*/ 3300457 w 3862373"/>
                <a:gd name="connsiteY1876" fmla="*/ 1455158 h 3682908"/>
                <a:gd name="connsiteX1877" fmla="*/ 3261369 w 3862373"/>
                <a:gd name="connsiteY1877" fmla="*/ 1416070 h 3682908"/>
                <a:gd name="connsiteX1878" fmla="*/ 3300457 w 3862373"/>
                <a:gd name="connsiteY1878" fmla="*/ 1376983 h 3682908"/>
                <a:gd name="connsiteX1879" fmla="*/ 3205817 w 3862373"/>
                <a:gd name="connsiteY1879" fmla="*/ 1376983 h 3682908"/>
                <a:gd name="connsiteX1880" fmla="*/ 3244904 w 3862373"/>
                <a:gd name="connsiteY1880" fmla="*/ 1416070 h 3682908"/>
                <a:gd name="connsiteX1881" fmla="*/ 3205817 w 3862373"/>
                <a:gd name="connsiteY1881" fmla="*/ 1455158 h 3682908"/>
                <a:gd name="connsiteX1882" fmla="*/ 3166729 w 3862373"/>
                <a:gd name="connsiteY1882" fmla="*/ 1416070 h 3682908"/>
                <a:gd name="connsiteX1883" fmla="*/ 3205817 w 3862373"/>
                <a:gd name="connsiteY1883" fmla="*/ 1376983 h 3682908"/>
                <a:gd name="connsiteX1884" fmla="*/ 3111177 w 3862373"/>
                <a:gd name="connsiteY1884" fmla="*/ 1376983 h 3682908"/>
                <a:gd name="connsiteX1885" fmla="*/ 3150264 w 3862373"/>
                <a:gd name="connsiteY1885" fmla="*/ 1416070 h 3682908"/>
                <a:gd name="connsiteX1886" fmla="*/ 3111177 w 3862373"/>
                <a:gd name="connsiteY1886" fmla="*/ 1455158 h 3682908"/>
                <a:gd name="connsiteX1887" fmla="*/ 3072089 w 3862373"/>
                <a:gd name="connsiteY1887" fmla="*/ 1416070 h 3682908"/>
                <a:gd name="connsiteX1888" fmla="*/ 3111177 w 3862373"/>
                <a:gd name="connsiteY1888" fmla="*/ 1376983 h 3682908"/>
                <a:gd name="connsiteX1889" fmla="*/ 3018902 w 3862373"/>
                <a:gd name="connsiteY1889" fmla="*/ 1376983 h 3682908"/>
                <a:gd name="connsiteX1890" fmla="*/ 3057989 w 3862373"/>
                <a:gd name="connsiteY1890" fmla="*/ 1416070 h 3682908"/>
                <a:gd name="connsiteX1891" fmla="*/ 3018902 w 3862373"/>
                <a:gd name="connsiteY1891" fmla="*/ 1455158 h 3682908"/>
                <a:gd name="connsiteX1892" fmla="*/ 2979815 w 3862373"/>
                <a:gd name="connsiteY1892" fmla="*/ 1416070 h 3682908"/>
                <a:gd name="connsiteX1893" fmla="*/ 3018902 w 3862373"/>
                <a:gd name="connsiteY1893" fmla="*/ 1376983 h 3682908"/>
                <a:gd name="connsiteX1894" fmla="*/ 2924263 w 3862373"/>
                <a:gd name="connsiteY1894" fmla="*/ 1376983 h 3682908"/>
                <a:gd name="connsiteX1895" fmla="*/ 2963349 w 3862373"/>
                <a:gd name="connsiteY1895" fmla="*/ 1416070 h 3682908"/>
                <a:gd name="connsiteX1896" fmla="*/ 2924263 w 3862373"/>
                <a:gd name="connsiteY1896" fmla="*/ 1455158 h 3682908"/>
                <a:gd name="connsiteX1897" fmla="*/ 2885175 w 3862373"/>
                <a:gd name="connsiteY1897" fmla="*/ 1416070 h 3682908"/>
                <a:gd name="connsiteX1898" fmla="*/ 2924263 w 3862373"/>
                <a:gd name="connsiteY1898" fmla="*/ 1376983 h 3682908"/>
                <a:gd name="connsiteX1899" fmla="*/ 2831988 w 3862373"/>
                <a:gd name="connsiteY1899" fmla="*/ 1376983 h 3682908"/>
                <a:gd name="connsiteX1900" fmla="*/ 2871075 w 3862373"/>
                <a:gd name="connsiteY1900" fmla="*/ 1416070 h 3682908"/>
                <a:gd name="connsiteX1901" fmla="*/ 2831988 w 3862373"/>
                <a:gd name="connsiteY1901" fmla="*/ 1455158 h 3682908"/>
                <a:gd name="connsiteX1902" fmla="*/ 2792901 w 3862373"/>
                <a:gd name="connsiteY1902" fmla="*/ 1416070 h 3682908"/>
                <a:gd name="connsiteX1903" fmla="*/ 2831988 w 3862373"/>
                <a:gd name="connsiteY1903" fmla="*/ 1376983 h 3682908"/>
                <a:gd name="connsiteX1904" fmla="*/ 2550437 w 3862373"/>
                <a:gd name="connsiteY1904" fmla="*/ 1376983 h 3682908"/>
                <a:gd name="connsiteX1905" fmla="*/ 2589523 w 3862373"/>
                <a:gd name="connsiteY1905" fmla="*/ 1416070 h 3682908"/>
                <a:gd name="connsiteX1906" fmla="*/ 2550437 w 3862373"/>
                <a:gd name="connsiteY1906" fmla="*/ 1455158 h 3682908"/>
                <a:gd name="connsiteX1907" fmla="*/ 2511354 w 3862373"/>
                <a:gd name="connsiteY1907" fmla="*/ 1416070 h 3682908"/>
                <a:gd name="connsiteX1908" fmla="*/ 2550437 w 3862373"/>
                <a:gd name="connsiteY1908" fmla="*/ 1376983 h 3682908"/>
                <a:gd name="connsiteX1909" fmla="*/ 2458167 w 3862373"/>
                <a:gd name="connsiteY1909" fmla="*/ 1376983 h 3682908"/>
                <a:gd name="connsiteX1910" fmla="*/ 2497254 w 3862373"/>
                <a:gd name="connsiteY1910" fmla="*/ 1416070 h 3682908"/>
                <a:gd name="connsiteX1911" fmla="*/ 2458167 w 3862373"/>
                <a:gd name="connsiteY1911" fmla="*/ 1455158 h 3682908"/>
                <a:gd name="connsiteX1912" fmla="*/ 2419083 w 3862373"/>
                <a:gd name="connsiteY1912" fmla="*/ 1416070 h 3682908"/>
                <a:gd name="connsiteX1913" fmla="*/ 2458167 w 3862373"/>
                <a:gd name="connsiteY1913" fmla="*/ 1376983 h 3682908"/>
                <a:gd name="connsiteX1914" fmla="*/ 2363529 w 3862373"/>
                <a:gd name="connsiteY1914" fmla="*/ 1376983 h 3682908"/>
                <a:gd name="connsiteX1915" fmla="*/ 2402614 w 3862373"/>
                <a:gd name="connsiteY1915" fmla="*/ 1416070 h 3682908"/>
                <a:gd name="connsiteX1916" fmla="*/ 2363529 w 3862373"/>
                <a:gd name="connsiteY1916" fmla="*/ 1455158 h 3682908"/>
                <a:gd name="connsiteX1917" fmla="*/ 2324442 w 3862373"/>
                <a:gd name="connsiteY1917" fmla="*/ 1416070 h 3682908"/>
                <a:gd name="connsiteX1918" fmla="*/ 2363529 w 3862373"/>
                <a:gd name="connsiteY1918" fmla="*/ 1376983 h 3682908"/>
                <a:gd name="connsiteX1919" fmla="*/ 1142717 w 3862373"/>
                <a:gd name="connsiteY1919" fmla="*/ 1376983 h 3682908"/>
                <a:gd name="connsiteX1920" fmla="*/ 1181806 w 3862373"/>
                <a:gd name="connsiteY1920" fmla="*/ 1416070 h 3682908"/>
                <a:gd name="connsiteX1921" fmla="*/ 1142717 w 3862373"/>
                <a:gd name="connsiteY1921" fmla="*/ 1455158 h 3682908"/>
                <a:gd name="connsiteX1922" fmla="*/ 1103622 w 3862373"/>
                <a:gd name="connsiteY1922" fmla="*/ 1416070 h 3682908"/>
                <a:gd name="connsiteX1923" fmla="*/ 1142717 w 3862373"/>
                <a:gd name="connsiteY1923" fmla="*/ 1376983 h 3682908"/>
                <a:gd name="connsiteX1924" fmla="*/ 1045699 w 3862373"/>
                <a:gd name="connsiteY1924" fmla="*/ 1376983 h 3682908"/>
                <a:gd name="connsiteX1925" fmla="*/ 1084788 w 3862373"/>
                <a:gd name="connsiteY1925" fmla="*/ 1416070 h 3682908"/>
                <a:gd name="connsiteX1926" fmla="*/ 1045699 w 3862373"/>
                <a:gd name="connsiteY1926" fmla="*/ 1455158 h 3682908"/>
                <a:gd name="connsiteX1927" fmla="*/ 1006615 w 3862373"/>
                <a:gd name="connsiteY1927" fmla="*/ 1416070 h 3682908"/>
                <a:gd name="connsiteX1928" fmla="*/ 1045699 w 3862373"/>
                <a:gd name="connsiteY1928" fmla="*/ 1376983 h 3682908"/>
                <a:gd name="connsiteX1929" fmla="*/ 951068 w 3862373"/>
                <a:gd name="connsiteY1929" fmla="*/ 1376983 h 3682908"/>
                <a:gd name="connsiteX1930" fmla="*/ 990151 w 3862373"/>
                <a:gd name="connsiteY1930" fmla="*/ 1416070 h 3682908"/>
                <a:gd name="connsiteX1931" fmla="*/ 951068 w 3862373"/>
                <a:gd name="connsiteY1931" fmla="*/ 1455158 h 3682908"/>
                <a:gd name="connsiteX1932" fmla="*/ 911984 w 3862373"/>
                <a:gd name="connsiteY1932" fmla="*/ 1416070 h 3682908"/>
                <a:gd name="connsiteX1933" fmla="*/ 951068 w 3862373"/>
                <a:gd name="connsiteY1933" fmla="*/ 1376983 h 3682908"/>
                <a:gd name="connsiteX1934" fmla="*/ 856438 w 3862373"/>
                <a:gd name="connsiteY1934" fmla="*/ 1376983 h 3682908"/>
                <a:gd name="connsiteX1935" fmla="*/ 895520 w 3862373"/>
                <a:gd name="connsiteY1935" fmla="*/ 1416070 h 3682908"/>
                <a:gd name="connsiteX1936" fmla="*/ 856438 w 3862373"/>
                <a:gd name="connsiteY1936" fmla="*/ 1455158 h 3682908"/>
                <a:gd name="connsiteX1937" fmla="*/ 817355 w 3862373"/>
                <a:gd name="connsiteY1937" fmla="*/ 1416070 h 3682908"/>
                <a:gd name="connsiteX1938" fmla="*/ 856438 w 3862373"/>
                <a:gd name="connsiteY1938" fmla="*/ 1376983 h 3682908"/>
                <a:gd name="connsiteX1939" fmla="*/ 764173 w 3862373"/>
                <a:gd name="connsiteY1939" fmla="*/ 1376983 h 3682908"/>
                <a:gd name="connsiteX1940" fmla="*/ 803257 w 3862373"/>
                <a:gd name="connsiteY1940" fmla="*/ 1416070 h 3682908"/>
                <a:gd name="connsiteX1941" fmla="*/ 764173 w 3862373"/>
                <a:gd name="connsiteY1941" fmla="*/ 1455158 h 3682908"/>
                <a:gd name="connsiteX1942" fmla="*/ 725090 w 3862373"/>
                <a:gd name="connsiteY1942" fmla="*/ 1416070 h 3682908"/>
                <a:gd name="connsiteX1943" fmla="*/ 764173 w 3862373"/>
                <a:gd name="connsiteY1943" fmla="*/ 1376983 h 3682908"/>
                <a:gd name="connsiteX1944" fmla="*/ 669534 w 3862373"/>
                <a:gd name="connsiteY1944" fmla="*/ 1376983 h 3682908"/>
                <a:gd name="connsiteX1945" fmla="*/ 708624 w 3862373"/>
                <a:gd name="connsiteY1945" fmla="*/ 1416070 h 3682908"/>
                <a:gd name="connsiteX1946" fmla="*/ 669534 w 3862373"/>
                <a:gd name="connsiteY1946" fmla="*/ 1455158 h 3682908"/>
                <a:gd name="connsiteX1947" fmla="*/ 630448 w 3862373"/>
                <a:gd name="connsiteY1947" fmla="*/ 1416070 h 3682908"/>
                <a:gd name="connsiteX1948" fmla="*/ 669534 w 3862373"/>
                <a:gd name="connsiteY1948" fmla="*/ 1376983 h 3682908"/>
                <a:gd name="connsiteX1949" fmla="*/ 577250 w 3862373"/>
                <a:gd name="connsiteY1949" fmla="*/ 1376983 h 3682908"/>
                <a:gd name="connsiteX1950" fmla="*/ 616345 w 3862373"/>
                <a:gd name="connsiteY1950" fmla="*/ 1416070 h 3682908"/>
                <a:gd name="connsiteX1951" fmla="*/ 577250 w 3862373"/>
                <a:gd name="connsiteY1951" fmla="*/ 1455158 h 3682908"/>
                <a:gd name="connsiteX1952" fmla="*/ 538155 w 3862373"/>
                <a:gd name="connsiteY1952" fmla="*/ 1416070 h 3682908"/>
                <a:gd name="connsiteX1953" fmla="*/ 577250 w 3862373"/>
                <a:gd name="connsiteY1953" fmla="*/ 1376983 h 3682908"/>
                <a:gd name="connsiteX1954" fmla="*/ 3679017 w 3862373"/>
                <a:gd name="connsiteY1954" fmla="*/ 1291809 h 3682908"/>
                <a:gd name="connsiteX1955" fmla="*/ 3718103 w 3862373"/>
                <a:gd name="connsiteY1955" fmla="*/ 1330896 h 3682908"/>
                <a:gd name="connsiteX1956" fmla="*/ 3679017 w 3862373"/>
                <a:gd name="connsiteY1956" fmla="*/ 1369983 h 3682908"/>
                <a:gd name="connsiteX1957" fmla="*/ 3639929 w 3862373"/>
                <a:gd name="connsiteY1957" fmla="*/ 1330896 h 3682908"/>
                <a:gd name="connsiteX1958" fmla="*/ 3679017 w 3862373"/>
                <a:gd name="connsiteY1958" fmla="*/ 1291809 h 3682908"/>
                <a:gd name="connsiteX1959" fmla="*/ 3584377 w 3862373"/>
                <a:gd name="connsiteY1959" fmla="*/ 1291809 h 3682908"/>
                <a:gd name="connsiteX1960" fmla="*/ 3623463 w 3862373"/>
                <a:gd name="connsiteY1960" fmla="*/ 1330896 h 3682908"/>
                <a:gd name="connsiteX1961" fmla="*/ 3584377 w 3862373"/>
                <a:gd name="connsiteY1961" fmla="*/ 1369983 h 3682908"/>
                <a:gd name="connsiteX1962" fmla="*/ 3545289 w 3862373"/>
                <a:gd name="connsiteY1962" fmla="*/ 1330896 h 3682908"/>
                <a:gd name="connsiteX1963" fmla="*/ 3584377 w 3862373"/>
                <a:gd name="connsiteY1963" fmla="*/ 1291809 h 3682908"/>
                <a:gd name="connsiteX1964" fmla="*/ 3489737 w 3862373"/>
                <a:gd name="connsiteY1964" fmla="*/ 1291809 h 3682908"/>
                <a:gd name="connsiteX1965" fmla="*/ 3528823 w 3862373"/>
                <a:gd name="connsiteY1965" fmla="*/ 1330896 h 3682908"/>
                <a:gd name="connsiteX1966" fmla="*/ 3489737 w 3862373"/>
                <a:gd name="connsiteY1966" fmla="*/ 1369983 h 3682908"/>
                <a:gd name="connsiteX1967" fmla="*/ 3450649 w 3862373"/>
                <a:gd name="connsiteY1967" fmla="*/ 1330896 h 3682908"/>
                <a:gd name="connsiteX1968" fmla="*/ 3489737 w 3862373"/>
                <a:gd name="connsiteY1968" fmla="*/ 1291809 h 3682908"/>
                <a:gd name="connsiteX1969" fmla="*/ 3392731 w 3862373"/>
                <a:gd name="connsiteY1969" fmla="*/ 1291809 h 3682908"/>
                <a:gd name="connsiteX1970" fmla="*/ 3431819 w 3862373"/>
                <a:gd name="connsiteY1970" fmla="*/ 1330896 h 3682908"/>
                <a:gd name="connsiteX1971" fmla="*/ 3392731 w 3862373"/>
                <a:gd name="connsiteY1971" fmla="*/ 1369983 h 3682908"/>
                <a:gd name="connsiteX1972" fmla="*/ 3353644 w 3862373"/>
                <a:gd name="connsiteY1972" fmla="*/ 1330896 h 3682908"/>
                <a:gd name="connsiteX1973" fmla="*/ 3392731 w 3862373"/>
                <a:gd name="connsiteY1973" fmla="*/ 1291809 h 3682908"/>
                <a:gd name="connsiteX1974" fmla="*/ 3300457 w 3862373"/>
                <a:gd name="connsiteY1974" fmla="*/ 1291809 h 3682908"/>
                <a:gd name="connsiteX1975" fmla="*/ 3339544 w 3862373"/>
                <a:gd name="connsiteY1975" fmla="*/ 1330896 h 3682908"/>
                <a:gd name="connsiteX1976" fmla="*/ 3300457 w 3862373"/>
                <a:gd name="connsiteY1976" fmla="*/ 1369983 h 3682908"/>
                <a:gd name="connsiteX1977" fmla="*/ 3261369 w 3862373"/>
                <a:gd name="connsiteY1977" fmla="*/ 1330896 h 3682908"/>
                <a:gd name="connsiteX1978" fmla="*/ 3300457 w 3862373"/>
                <a:gd name="connsiteY1978" fmla="*/ 1291809 h 3682908"/>
                <a:gd name="connsiteX1979" fmla="*/ 3111177 w 3862373"/>
                <a:gd name="connsiteY1979" fmla="*/ 1291809 h 3682908"/>
                <a:gd name="connsiteX1980" fmla="*/ 3150264 w 3862373"/>
                <a:gd name="connsiteY1980" fmla="*/ 1330896 h 3682908"/>
                <a:gd name="connsiteX1981" fmla="*/ 3111177 w 3862373"/>
                <a:gd name="connsiteY1981" fmla="*/ 1369983 h 3682908"/>
                <a:gd name="connsiteX1982" fmla="*/ 3072089 w 3862373"/>
                <a:gd name="connsiteY1982" fmla="*/ 1330896 h 3682908"/>
                <a:gd name="connsiteX1983" fmla="*/ 3111177 w 3862373"/>
                <a:gd name="connsiteY1983" fmla="*/ 1291809 h 3682908"/>
                <a:gd name="connsiteX1984" fmla="*/ 3018902 w 3862373"/>
                <a:gd name="connsiteY1984" fmla="*/ 1291809 h 3682908"/>
                <a:gd name="connsiteX1985" fmla="*/ 3057989 w 3862373"/>
                <a:gd name="connsiteY1985" fmla="*/ 1330896 h 3682908"/>
                <a:gd name="connsiteX1986" fmla="*/ 3018902 w 3862373"/>
                <a:gd name="connsiteY1986" fmla="*/ 1369983 h 3682908"/>
                <a:gd name="connsiteX1987" fmla="*/ 2979815 w 3862373"/>
                <a:gd name="connsiteY1987" fmla="*/ 1330896 h 3682908"/>
                <a:gd name="connsiteX1988" fmla="*/ 3018902 w 3862373"/>
                <a:gd name="connsiteY1988" fmla="*/ 1291809 h 3682908"/>
                <a:gd name="connsiteX1989" fmla="*/ 2924263 w 3862373"/>
                <a:gd name="connsiteY1989" fmla="*/ 1291809 h 3682908"/>
                <a:gd name="connsiteX1990" fmla="*/ 2963349 w 3862373"/>
                <a:gd name="connsiteY1990" fmla="*/ 1330896 h 3682908"/>
                <a:gd name="connsiteX1991" fmla="*/ 2924263 w 3862373"/>
                <a:gd name="connsiteY1991" fmla="*/ 1369983 h 3682908"/>
                <a:gd name="connsiteX1992" fmla="*/ 2885175 w 3862373"/>
                <a:gd name="connsiteY1992" fmla="*/ 1330896 h 3682908"/>
                <a:gd name="connsiteX1993" fmla="*/ 2924263 w 3862373"/>
                <a:gd name="connsiteY1993" fmla="*/ 1291809 h 3682908"/>
                <a:gd name="connsiteX1994" fmla="*/ 2831988 w 3862373"/>
                <a:gd name="connsiteY1994" fmla="*/ 1291809 h 3682908"/>
                <a:gd name="connsiteX1995" fmla="*/ 2871075 w 3862373"/>
                <a:gd name="connsiteY1995" fmla="*/ 1330896 h 3682908"/>
                <a:gd name="connsiteX1996" fmla="*/ 2831988 w 3862373"/>
                <a:gd name="connsiteY1996" fmla="*/ 1369983 h 3682908"/>
                <a:gd name="connsiteX1997" fmla="*/ 2792901 w 3862373"/>
                <a:gd name="connsiteY1997" fmla="*/ 1330896 h 3682908"/>
                <a:gd name="connsiteX1998" fmla="*/ 2831988 w 3862373"/>
                <a:gd name="connsiteY1998" fmla="*/ 1291809 h 3682908"/>
                <a:gd name="connsiteX1999" fmla="*/ 2737365 w 3862373"/>
                <a:gd name="connsiteY1999" fmla="*/ 1291809 h 3682908"/>
                <a:gd name="connsiteX2000" fmla="*/ 2776435 w 3862373"/>
                <a:gd name="connsiteY2000" fmla="*/ 1330896 h 3682908"/>
                <a:gd name="connsiteX2001" fmla="*/ 2737365 w 3862373"/>
                <a:gd name="connsiteY2001" fmla="*/ 1369983 h 3682908"/>
                <a:gd name="connsiteX2002" fmla="*/ 2698269 w 3862373"/>
                <a:gd name="connsiteY2002" fmla="*/ 1330896 h 3682908"/>
                <a:gd name="connsiteX2003" fmla="*/ 2737365 w 3862373"/>
                <a:gd name="connsiteY2003" fmla="*/ 1291809 h 3682908"/>
                <a:gd name="connsiteX2004" fmla="*/ 2645074 w 3862373"/>
                <a:gd name="connsiteY2004" fmla="*/ 1291809 h 3682908"/>
                <a:gd name="connsiteX2005" fmla="*/ 2684165 w 3862373"/>
                <a:gd name="connsiteY2005" fmla="*/ 1330896 h 3682908"/>
                <a:gd name="connsiteX2006" fmla="*/ 2645074 w 3862373"/>
                <a:gd name="connsiteY2006" fmla="*/ 1369983 h 3682908"/>
                <a:gd name="connsiteX2007" fmla="*/ 2605987 w 3862373"/>
                <a:gd name="connsiteY2007" fmla="*/ 1330896 h 3682908"/>
                <a:gd name="connsiteX2008" fmla="*/ 2645074 w 3862373"/>
                <a:gd name="connsiteY2008" fmla="*/ 1291809 h 3682908"/>
                <a:gd name="connsiteX2009" fmla="*/ 2550437 w 3862373"/>
                <a:gd name="connsiteY2009" fmla="*/ 1291809 h 3682908"/>
                <a:gd name="connsiteX2010" fmla="*/ 2589523 w 3862373"/>
                <a:gd name="connsiteY2010" fmla="*/ 1330896 h 3682908"/>
                <a:gd name="connsiteX2011" fmla="*/ 2550437 w 3862373"/>
                <a:gd name="connsiteY2011" fmla="*/ 1369983 h 3682908"/>
                <a:gd name="connsiteX2012" fmla="*/ 2511355 w 3862373"/>
                <a:gd name="connsiteY2012" fmla="*/ 1330896 h 3682908"/>
                <a:gd name="connsiteX2013" fmla="*/ 2550437 w 3862373"/>
                <a:gd name="connsiteY2013" fmla="*/ 1291809 h 3682908"/>
                <a:gd name="connsiteX2014" fmla="*/ 1232635 w 3862373"/>
                <a:gd name="connsiteY2014" fmla="*/ 1291809 h 3682908"/>
                <a:gd name="connsiteX2015" fmla="*/ 1271713 w 3862373"/>
                <a:gd name="connsiteY2015" fmla="*/ 1330896 h 3682908"/>
                <a:gd name="connsiteX2016" fmla="*/ 1232635 w 3862373"/>
                <a:gd name="connsiteY2016" fmla="*/ 1369983 h 3682908"/>
                <a:gd name="connsiteX2017" fmla="*/ 1193549 w 3862373"/>
                <a:gd name="connsiteY2017" fmla="*/ 1330896 h 3682908"/>
                <a:gd name="connsiteX2018" fmla="*/ 1232635 w 3862373"/>
                <a:gd name="connsiteY2018" fmla="*/ 1291809 h 3682908"/>
                <a:gd name="connsiteX2019" fmla="*/ 1142722 w 3862373"/>
                <a:gd name="connsiteY2019" fmla="*/ 1291809 h 3682908"/>
                <a:gd name="connsiteX2020" fmla="*/ 1181812 w 3862373"/>
                <a:gd name="connsiteY2020" fmla="*/ 1330896 h 3682908"/>
                <a:gd name="connsiteX2021" fmla="*/ 1142722 w 3862373"/>
                <a:gd name="connsiteY2021" fmla="*/ 1369983 h 3682908"/>
                <a:gd name="connsiteX2022" fmla="*/ 1103625 w 3862373"/>
                <a:gd name="connsiteY2022" fmla="*/ 1330896 h 3682908"/>
                <a:gd name="connsiteX2023" fmla="*/ 1142722 w 3862373"/>
                <a:gd name="connsiteY2023" fmla="*/ 1291809 h 3682908"/>
                <a:gd name="connsiteX2024" fmla="*/ 1045702 w 3862373"/>
                <a:gd name="connsiteY2024" fmla="*/ 1291809 h 3682908"/>
                <a:gd name="connsiteX2025" fmla="*/ 1084791 w 3862373"/>
                <a:gd name="connsiteY2025" fmla="*/ 1330896 h 3682908"/>
                <a:gd name="connsiteX2026" fmla="*/ 1045702 w 3862373"/>
                <a:gd name="connsiteY2026" fmla="*/ 1369983 h 3682908"/>
                <a:gd name="connsiteX2027" fmla="*/ 1006620 w 3862373"/>
                <a:gd name="connsiteY2027" fmla="*/ 1330896 h 3682908"/>
                <a:gd name="connsiteX2028" fmla="*/ 1045702 w 3862373"/>
                <a:gd name="connsiteY2028" fmla="*/ 1291809 h 3682908"/>
                <a:gd name="connsiteX2029" fmla="*/ 951072 w 3862373"/>
                <a:gd name="connsiteY2029" fmla="*/ 1291809 h 3682908"/>
                <a:gd name="connsiteX2030" fmla="*/ 990154 w 3862373"/>
                <a:gd name="connsiteY2030" fmla="*/ 1330896 h 3682908"/>
                <a:gd name="connsiteX2031" fmla="*/ 951072 w 3862373"/>
                <a:gd name="connsiteY2031" fmla="*/ 1369983 h 3682908"/>
                <a:gd name="connsiteX2032" fmla="*/ 911989 w 3862373"/>
                <a:gd name="connsiteY2032" fmla="*/ 1330896 h 3682908"/>
                <a:gd name="connsiteX2033" fmla="*/ 951072 w 3862373"/>
                <a:gd name="connsiteY2033" fmla="*/ 1291809 h 3682908"/>
                <a:gd name="connsiteX2034" fmla="*/ 856442 w 3862373"/>
                <a:gd name="connsiteY2034" fmla="*/ 1291809 h 3682908"/>
                <a:gd name="connsiteX2035" fmla="*/ 895525 w 3862373"/>
                <a:gd name="connsiteY2035" fmla="*/ 1330896 h 3682908"/>
                <a:gd name="connsiteX2036" fmla="*/ 856442 w 3862373"/>
                <a:gd name="connsiteY2036" fmla="*/ 1369983 h 3682908"/>
                <a:gd name="connsiteX2037" fmla="*/ 817359 w 3862373"/>
                <a:gd name="connsiteY2037" fmla="*/ 1330896 h 3682908"/>
                <a:gd name="connsiteX2038" fmla="*/ 856442 w 3862373"/>
                <a:gd name="connsiteY2038" fmla="*/ 1291809 h 3682908"/>
                <a:gd name="connsiteX2039" fmla="*/ 764178 w 3862373"/>
                <a:gd name="connsiteY2039" fmla="*/ 1291809 h 3682908"/>
                <a:gd name="connsiteX2040" fmla="*/ 803262 w 3862373"/>
                <a:gd name="connsiteY2040" fmla="*/ 1330896 h 3682908"/>
                <a:gd name="connsiteX2041" fmla="*/ 764178 w 3862373"/>
                <a:gd name="connsiteY2041" fmla="*/ 1369983 h 3682908"/>
                <a:gd name="connsiteX2042" fmla="*/ 725094 w 3862373"/>
                <a:gd name="connsiteY2042" fmla="*/ 1330896 h 3682908"/>
                <a:gd name="connsiteX2043" fmla="*/ 764178 w 3862373"/>
                <a:gd name="connsiteY2043" fmla="*/ 1291809 h 3682908"/>
                <a:gd name="connsiteX2044" fmla="*/ 669534 w 3862373"/>
                <a:gd name="connsiteY2044" fmla="*/ 1291809 h 3682908"/>
                <a:gd name="connsiteX2045" fmla="*/ 708631 w 3862373"/>
                <a:gd name="connsiteY2045" fmla="*/ 1330896 h 3682908"/>
                <a:gd name="connsiteX2046" fmla="*/ 669534 w 3862373"/>
                <a:gd name="connsiteY2046" fmla="*/ 1369983 h 3682908"/>
                <a:gd name="connsiteX2047" fmla="*/ 630454 w 3862373"/>
                <a:gd name="connsiteY2047" fmla="*/ 1330896 h 3682908"/>
                <a:gd name="connsiteX2048" fmla="*/ 669534 w 3862373"/>
                <a:gd name="connsiteY2048" fmla="*/ 1291809 h 3682908"/>
                <a:gd name="connsiteX2049" fmla="*/ 577255 w 3862373"/>
                <a:gd name="connsiteY2049" fmla="*/ 1291809 h 3682908"/>
                <a:gd name="connsiteX2050" fmla="*/ 616350 w 3862373"/>
                <a:gd name="connsiteY2050" fmla="*/ 1330896 h 3682908"/>
                <a:gd name="connsiteX2051" fmla="*/ 577255 w 3862373"/>
                <a:gd name="connsiteY2051" fmla="*/ 1369983 h 3682908"/>
                <a:gd name="connsiteX2052" fmla="*/ 538159 w 3862373"/>
                <a:gd name="connsiteY2052" fmla="*/ 1330896 h 3682908"/>
                <a:gd name="connsiteX2053" fmla="*/ 577255 w 3862373"/>
                <a:gd name="connsiteY2053" fmla="*/ 1291809 h 3682908"/>
                <a:gd name="connsiteX2054" fmla="*/ 484969 w 3862373"/>
                <a:gd name="connsiteY2054" fmla="*/ 1291809 h 3682908"/>
                <a:gd name="connsiteX2055" fmla="*/ 524056 w 3862373"/>
                <a:gd name="connsiteY2055" fmla="*/ 1330896 h 3682908"/>
                <a:gd name="connsiteX2056" fmla="*/ 484969 w 3862373"/>
                <a:gd name="connsiteY2056" fmla="*/ 1369983 h 3682908"/>
                <a:gd name="connsiteX2057" fmla="*/ 445892 w 3862373"/>
                <a:gd name="connsiteY2057" fmla="*/ 1330896 h 3682908"/>
                <a:gd name="connsiteX2058" fmla="*/ 484969 w 3862373"/>
                <a:gd name="connsiteY2058" fmla="*/ 1291809 h 3682908"/>
                <a:gd name="connsiteX2059" fmla="*/ 390321 w 3862373"/>
                <a:gd name="connsiteY2059" fmla="*/ 1291809 h 3682908"/>
                <a:gd name="connsiteX2060" fmla="*/ 429422 w 3862373"/>
                <a:gd name="connsiteY2060" fmla="*/ 1330896 h 3682908"/>
                <a:gd name="connsiteX2061" fmla="*/ 390321 w 3862373"/>
                <a:gd name="connsiteY2061" fmla="*/ 1369983 h 3682908"/>
                <a:gd name="connsiteX2062" fmla="*/ 351252 w 3862373"/>
                <a:gd name="connsiteY2062" fmla="*/ 1330896 h 3682908"/>
                <a:gd name="connsiteX2063" fmla="*/ 390321 w 3862373"/>
                <a:gd name="connsiteY2063" fmla="*/ 1291809 h 3682908"/>
                <a:gd name="connsiteX2064" fmla="*/ 298056 w 3862373"/>
                <a:gd name="connsiteY2064" fmla="*/ 1291809 h 3682908"/>
                <a:gd name="connsiteX2065" fmla="*/ 337151 w 3862373"/>
                <a:gd name="connsiteY2065" fmla="*/ 1330896 h 3682908"/>
                <a:gd name="connsiteX2066" fmla="*/ 298056 w 3862373"/>
                <a:gd name="connsiteY2066" fmla="*/ 1369983 h 3682908"/>
                <a:gd name="connsiteX2067" fmla="*/ 258966 w 3862373"/>
                <a:gd name="connsiteY2067" fmla="*/ 1330896 h 3682908"/>
                <a:gd name="connsiteX2068" fmla="*/ 298056 w 3862373"/>
                <a:gd name="connsiteY2068" fmla="*/ 1291809 h 3682908"/>
                <a:gd name="connsiteX2069" fmla="*/ 203411 w 3862373"/>
                <a:gd name="connsiteY2069" fmla="*/ 1291809 h 3682908"/>
                <a:gd name="connsiteX2070" fmla="*/ 242500 w 3862373"/>
                <a:gd name="connsiteY2070" fmla="*/ 1330896 h 3682908"/>
                <a:gd name="connsiteX2071" fmla="*/ 203411 w 3862373"/>
                <a:gd name="connsiteY2071" fmla="*/ 1369983 h 3682908"/>
                <a:gd name="connsiteX2072" fmla="*/ 164325 w 3862373"/>
                <a:gd name="connsiteY2072" fmla="*/ 1330896 h 3682908"/>
                <a:gd name="connsiteX2073" fmla="*/ 203411 w 3862373"/>
                <a:gd name="connsiteY2073" fmla="*/ 1291809 h 3682908"/>
                <a:gd name="connsiteX2074" fmla="*/ 111138 w 3862373"/>
                <a:gd name="connsiteY2074" fmla="*/ 1291809 h 3682908"/>
                <a:gd name="connsiteX2075" fmla="*/ 150225 w 3862373"/>
                <a:gd name="connsiteY2075" fmla="*/ 1330896 h 3682908"/>
                <a:gd name="connsiteX2076" fmla="*/ 111138 w 3862373"/>
                <a:gd name="connsiteY2076" fmla="*/ 1369983 h 3682908"/>
                <a:gd name="connsiteX2077" fmla="*/ 72052 w 3862373"/>
                <a:gd name="connsiteY2077" fmla="*/ 1330896 h 3682908"/>
                <a:gd name="connsiteX2078" fmla="*/ 111138 w 3862373"/>
                <a:gd name="connsiteY2078" fmla="*/ 1291809 h 3682908"/>
                <a:gd name="connsiteX2079" fmla="*/ 2458171 w 3862373"/>
                <a:gd name="connsiteY2079" fmla="*/ 1291807 h 3682908"/>
                <a:gd name="connsiteX2080" fmla="*/ 2497259 w 3862373"/>
                <a:gd name="connsiteY2080" fmla="*/ 1330894 h 3682908"/>
                <a:gd name="connsiteX2081" fmla="*/ 2458171 w 3862373"/>
                <a:gd name="connsiteY2081" fmla="*/ 1369981 h 3682908"/>
                <a:gd name="connsiteX2082" fmla="*/ 2419089 w 3862373"/>
                <a:gd name="connsiteY2082" fmla="*/ 1330894 h 3682908"/>
                <a:gd name="connsiteX2083" fmla="*/ 2458171 w 3862373"/>
                <a:gd name="connsiteY2083" fmla="*/ 1291807 h 3682908"/>
                <a:gd name="connsiteX2084" fmla="*/ 2363519 w 3862373"/>
                <a:gd name="connsiteY2084" fmla="*/ 1291807 h 3682908"/>
                <a:gd name="connsiteX2085" fmla="*/ 2402607 w 3862373"/>
                <a:gd name="connsiteY2085" fmla="*/ 1330894 h 3682908"/>
                <a:gd name="connsiteX2086" fmla="*/ 2363519 w 3862373"/>
                <a:gd name="connsiteY2086" fmla="*/ 1369981 h 3682908"/>
                <a:gd name="connsiteX2087" fmla="*/ 2324432 w 3862373"/>
                <a:gd name="connsiteY2087" fmla="*/ 1330894 h 3682908"/>
                <a:gd name="connsiteX2088" fmla="*/ 2363519 w 3862373"/>
                <a:gd name="connsiteY2088" fmla="*/ 1291807 h 3682908"/>
                <a:gd name="connsiteX2089" fmla="*/ 3771293 w 3862373"/>
                <a:gd name="connsiteY2089" fmla="*/ 1208998 h 3682908"/>
                <a:gd name="connsiteX2090" fmla="*/ 3775177 w 3862373"/>
                <a:gd name="connsiteY2090" fmla="*/ 1210607 h 3682908"/>
                <a:gd name="connsiteX2091" fmla="*/ 3792595 w 3862373"/>
                <a:gd name="connsiteY2091" fmla="*/ 1278349 h 3682908"/>
                <a:gd name="connsiteX2092" fmla="*/ 3771293 w 3862373"/>
                <a:gd name="connsiteY2092" fmla="*/ 1287173 h 3682908"/>
                <a:gd name="connsiteX2093" fmla="*/ 3732205 w 3862373"/>
                <a:gd name="connsiteY2093" fmla="*/ 1248085 h 3682908"/>
                <a:gd name="connsiteX2094" fmla="*/ 3771293 w 3862373"/>
                <a:gd name="connsiteY2094" fmla="*/ 1208998 h 3682908"/>
                <a:gd name="connsiteX2095" fmla="*/ 3679017 w 3862373"/>
                <a:gd name="connsiteY2095" fmla="*/ 1208998 h 3682908"/>
                <a:gd name="connsiteX2096" fmla="*/ 3718103 w 3862373"/>
                <a:gd name="connsiteY2096" fmla="*/ 1248085 h 3682908"/>
                <a:gd name="connsiteX2097" fmla="*/ 3679017 w 3862373"/>
                <a:gd name="connsiteY2097" fmla="*/ 1287173 h 3682908"/>
                <a:gd name="connsiteX2098" fmla="*/ 3639929 w 3862373"/>
                <a:gd name="connsiteY2098" fmla="*/ 1248085 h 3682908"/>
                <a:gd name="connsiteX2099" fmla="*/ 3679017 w 3862373"/>
                <a:gd name="connsiteY2099" fmla="*/ 1208998 h 3682908"/>
                <a:gd name="connsiteX2100" fmla="*/ 3584377 w 3862373"/>
                <a:gd name="connsiteY2100" fmla="*/ 1208998 h 3682908"/>
                <a:gd name="connsiteX2101" fmla="*/ 3623463 w 3862373"/>
                <a:gd name="connsiteY2101" fmla="*/ 1248085 h 3682908"/>
                <a:gd name="connsiteX2102" fmla="*/ 3584377 w 3862373"/>
                <a:gd name="connsiteY2102" fmla="*/ 1287173 h 3682908"/>
                <a:gd name="connsiteX2103" fmla="*/ 3545289 w 3862373"/>
                <a:gd name="connsiteY2103" fmla="*/ 1248085 h 3682908"/>
                <a:gd name="connsiteX2104" fmla="*/ 3584377 w 3862373"/>
                <a:gd name="connsiteY2104" fmla="*/ 1208998 h 3682908"/>
                <a:gd name="connsiteX2105" fmla="*/ 3489737 w 3862373"/>
                <a:gd name="connsiteY2105" fmla="*/ 1208998 h 3682908"/>
                <a:gd name="connsiteX2106" fmla="*/ 3528823 w 3862373"/>
                <a:gd name="connsiteY2106" fmla="*/ 1248085 h 3682908"/>
                <a:gd name="connsiteX2107" fmla="*/ 3489737 w 3862373"/>
                <a:gd name="connsiteY2107" fmla="*/ 1287173 h 3682908"/>
                <a:gd name="connsiteX2108" fmla="*/ 3450649 w 3862373"/>
                <a:gd name="connsiteY2108" fmla="*/ 1248085 h 3682908"/>
                <a:gd name="connsiteX2109" fmla="*/ 3489737 w 3862373"/>
                <a:gd name="connsiteY2109" fmla="*/ 1208998 h 3682908"/>
                <a:gd name="connsiteX2110" fmla="*/ 3392731 w 3862373"/>
                <a:gd name="connsiteY2110" fmla="*/ 1208998 h 3682908"/>
                <a:gd name="connsiteX2111" fmla="*/ 3431819 w 3862373"/>
                <a:gd name="connsiteY2111" fmla="*/ 1248085 h 3682908"/>
                <a:gd name="connsiteX2112" fmla="*/ 3392731 w 3862373"/>
                <a:gd name="connsiteY2112" fmla="*/ 1287173 h 3682908"/>
                <a:gd name="connsiteX2113" fmla="*/ 3353644 w 3862373"/>
                <a:gd name="connsiteY2113" fmla="*/ 1248085 h 3682908"/>
                <a:gd name="connsiteX2114" fmla="*/ 3392731 w 3862373"/>
                <a:gd name="connsiteY2114" fmla="*/ 1208998 h 3682908"/>
                <a:gd name="connsiteX2115" fmla="*/ 3300457 w 3862373"/>
                <a:gd name="connsiteY2115" fmla="*/ 1208998 h 3682908"/>
                <a:gd name="connsiteX2116" fmla="*/ 3339544 w 3862373"/>
                <a:gd name="connsiteY2116" fmla="*/ 1248085 h 3682908"/>
                <a:gd name="connsiteX2117" fmla="*/ 3300457 w 3862373"/>
                <a:gd name="connsiteY2117" fmla="*/ 1287173 h 3682908"/>
                <a:gd name="connsiteX2118" fmla="*/ 3261369 w 3862373"/>
                <a:gd name="connsiteY2118" fmla="*/ 1248085 h 3682908"/>
                <a:gd name="connsiteX2119" fmla="*/ 3300457 w 3862373"/>
                <a:gd name="connsiteY2119" fmla="*/ 1208998 h 3682908"/>
                <a:gd name="connsiteX2120" fmla="*/ 3205817 w 3862373"/>
                <a:gd name="connsiteY2120" fmla="*/ 1208998 h 3682908"/>
                <a:gd name="connsiteX2121" fmla="*/ 3244904 w 3862373"/>
                <a:gd name="connsiteY2121" fmla="*/ 1248085 h 3682908"/>
                <a:gd name="connsiteX2122" fmla="*/ 3205817 w 3862373"/>
                <a:gd name="connsiteY2122" fmla="*/ 1287173 h 3682908"/>
                <a:gd name="connsiteX2123" fmla="*/ 3166729 w 3862373"/>
                <a:gd name="connsiteY2123" fmla="*/ 1248085 h 3682908"/>
                <a:gd name="connsiteX2124" fmla="*/ 3205817 w 3862373"/>
                <a:gd name="connsiteY2124" fmla="*/ 1208998 h 3682908"/>
                <a:gd name="connsiteX2125" fmla="*/ 3111177 w 3862373"/>
                <a:gd name="connsiteY2125" fmla="*/ 1208998 h 3682908"/>
                <a:gd name="connsiteX2126" fmla="*/ 3150264 w 3862373"/>
                <a:gd name="connsiteY2126" fmla="*/ 1248085 h 3682908"/>
                <a:gd name="connsiteX2127" fmla="*/ 3111177 w 3862373"/>
                <a:gd name="connsiteY2127" fmla="*/ 1287173 h 3682908"/>
                <a:gd name="connsiteX2128" fmla="*/ 3072089 w 3862373"/>
                <a:gd name="connsiteY2128" fmla="*/ 1248085 h 3682908"/>
                <a:gd name="connsiteX2129" fmla="*/ 3111177 w 3862373"/>
                <a:gd name="connsiteY2129" fmla="*/ 1208998 h 3682908"/>
                <a:gd name="connsiteX2130" fmla="*/ 3018902 w 3862373"/>
                <a:gd name="connsiteY2130" fmla="*/ 1208998 h 3682908"/>
                <a:gd name="connsiteX2131" fmla="*/ 3057989 w 3862373"/>
                <a:gd name="connsiteY2131" fmla="*/ 1248085 h 3682908"/>
                <a:gd name="connsiteX2132" fmla="*/ 3018902 w 3862373"/>
                <a:gd name="connsiteY2132" fmla="*/ 1287173 h 3682908"/>
                <a:gd name="connsiteX2133" fmla="*/ 2979815 w 3862373"/>
                <a:gd name="connsiteY2133" fmla="*/ 1248085 h 3682908"/>
                <a:gd name="connsiteX2134" fmla="*/ 3018902 w 3862373"/>
                <a:gd name="connsiteY2134" fmla="*/ 1208998 h 3682908"/>
                <a:gd name="connsiteX2135" fmla="*/ 2924263 w 3862373"/>
                <a:gd name="connsiteY2135" fmla="*/ 1208998 h 3682908"/>
                <a:gd name="connsiteX2136" fmla="*/ 2963349 w 3862373"/>
                <a:gd name="connsiteY2136" fmla="*/ 1248085 h 3682908"/>
                <a:gd name="connsiteX2137" fmla="*/ 2924263 w 3862373"/>
                <a:gd name="connsiteY2137" fmla="*/ 1287173 h 3682908"/>
                <a:gd name="connsiteX2138" fmla="*/ 2885175 w 3862373"/>
                <a:gd name="connsiteY2138" fmla="*/ 1248085 h 3682908"/>
                <a:gd name="connsiteX2139" fmla="*/ 2924263 w 3862373"/>
                <a:gd name="connsiteY2139" fmla="*/ 1208998 h 3682908"/>
                <a:gd name="connsiteX2140" fmla="*/ 2831988 w 3862373"/>
                <a:gd name="connsiteY2140" fmla="*/ 1208998 h 3682908"/>
                <a:gd name="connsiteX2141" fmla="*/ 2871075 w 3862373"/>
                <a:gd name="connsiteY2141" fmla="*/ 1248085 h 3682908"/>
                <a:gd name="connsiteX2142" fmla="*/ 2831988 w 3862373"/>
                <a:gd name="connsiteY2142" fmla="*/ 1287173 h 3682908"/>
                <a:gd name="connsiteX2143" fmla="*/ 2792901 w 3862373"/>
                <a:gd name="connsiteY2143" fmla="*/ 1248085 h 3682908"/>
                <a:gd name="connsiteX2144" fmla="*/ 2831988 w 3862373"/>
                <a:gd name="connsiteY2144" fmla="*/ 1208998 h 3682908"/>
                <a:gd name="connsiteX2145" fmla="*/ 2737366 w 3862373"/>
                <a:gd name="connsiteY2145" fmla="*/ 1208998 h 3682908"/>
                <a:gd name="connsiteX2146" fmla="*/ 2776435 w 3862373"/>
                <a:gd name="connsiteY2146" fmla="*/ 1248085 h 3682908"/>
                <a:gd name="connsiteX2147" fmla="*/ 2737366 w 3862373"/>
                <a:gd name="connsiteY2147" fmla="*/ 1287173 h 3682908"/>
                <a:gd name="connsiteX2148" fmla="*/ 2698269 w 3862373"/>
                <a:gd name="connsiteY2148" fmla="*/ 1248085 h 3682908"/>
                <a:gd name="connsiteX2149" fmla="*/ 2737366 w 3862373"/>
                <a:gd name="connsiteY2149" fmla="*/ 1208998 h 3682908"/>
                <a:gd name="connsiteX2150" fmla="*/ 2645076 w 3862373"/>
                <a:gd name="connsiteY2150" fmla="*/ 1208998 h 3682908"/>
                <a:gd name="connsiteX2151" fmla="*/ 2684167 w 3862373"/>
                <a:gd name="connsiteY2151" fmla="*/ 1248085 h 3682908"/>
                <a:gd name="connsiteX2152" fmla="*/ 2645076 w 3862373"/>
                <a:gd name="connsiteY2152" fmla="*/ 1287173 h 3682908"/>
                <a:gd name="connsiteX2153" fmla="*/ 2605987 w 3862373"/>
                <a:gd name="connsiteY2153" fmla="*/ 1248085 h 3682908"/>
                <a:gd name="connsiteX2154" fmla="*/ 2645076 w 3862373"/>
                <a:gd name="connsiteY2154" fmla="*/ 1208998 h 3682908"/>
                <a:gd name="connsiteX2155" fmla="*/ 2550439 w 3862373"/>
                <a:gd name="connsiteY2155" fmla="*/ 1208998 h 3682908"/>
                <a:gd name="connsiteX2156" fmla="*/ 2589523 w 3862373"/>
                <a:gd name="connsiteY2156" fmla="*/ 1248085 h 3682908"/>
                <a:gd name="connsiteX2157" fmla="*/ 2550439 w 3862373"/>
                <a:gd name="connsiteY2157" fmla="*/ 1287173 h 3682908"/>
                <a:gd name="connsiteX2158" fmla="*/ 2511356 w 3862373"/>
                <a:gd name="connsiteY2158" fmla="*/ 1248085 h 3682908"/>
                <a:gd name="connsiteX2159" fmla="*/ 2550439 w 3862373"/>
                <a:gd name="connsiteY2159" fmla="*/ 1208998 h 3682908"/>
                <a:gd name="connsiteX2160" fmla="*/ 1419546 w 3862373"/>
                <a:gd name="connsiteY2160" fmla="*/ 1208998 h 3682908"/>
                <a:gd name="connsiteX2161" fmla="*/ 1458634 w 3862373"/>
                <a:gd name="connsiteY2161" fmla="*/ 1248085 h 3682908"/>
                <a:gd name="connsiteX2162" fmla="*/ 1419546 w 3862373"/>
                <a:gd name="connsiteY2162" fmla="*/ 1287173 h 3682908"/>
                <a:gd name="connsiteX2163" fmla="*/ 1380453 w 3862373"/>
                <a:gd name="connsiteY2163" fmla="*/ 1248085 h 3682908"/>
                <a:gd name="connsiteX2164" fmla="*/ 1419546 w 3862373"/>
                <a:gd name="connsiteY2164" fmla="*/ 1208998 h 3682908"/>
                <a:gd name="connsiteX2165" fmla="*/ 1329634 w 3862373"/>
                <a:gd name="connsiteY2165" fmla="*/ 1208998 h 3682908"/>
                <a:gd name="connsiteX2166" fmla="*/ 1368722 w 3862373"/>
                <a:gd name="connsiteY2166" fmla="*/ 1248085 h 3682908"/>
                <a:gd name="connsiteX2167" fmla="*/ 1329634 w 3862373"/>
                <a:gd name="connsiteY2167" fmla="*/ 1287173 h 3682908"/>
                <a:gd name="connsiteX2168" fmla="*/ 1290553 w 3862373"/>
                <a:gd name="connsiteY2168" fmla="*/ 1248085 h 3682908"/>
                <a:gd name="connsiteX2169" fmla="*/ 1329634 w 3862373"/>
                <a:gd name="connsiteY2169" fmla="*/ 1208998 h 3682908"/>
                <a:gd name="connsiteX2170" fmla="*/ 1232640 w 3862373"/>
                <a:gd name="connsiteY2170" fmla="*/ 1208998 h 3682908"/>
                <a:gd name="connsiteX2171" fmla="*/ 1271716 w 3862373"/>
                <a:gd name="connsiteY2171" fmla="*/ 1248085 h 3682908"/>
                <a:gd name="connsiteX2172" fmla="*/ 1232640 w 3862373"/>
                <a:gd name="connsiteY2172" fmla="*/ 1287173 h 3682908"/>
                <a:gd name="connsiteX2173" fmla="*/ 1193553 w 3862373"/>
                <a:gd name="connsiteY2173" fmla="*/ 1248085 h 3682908"/>
                <a:gd name="connsiteX2174" fmla="*/ 1232640 w 3862373"/>
                <a:gd name="connsiteY2174" fmla="*/ 1208998 h 3682908"/>
                <a:gd name="connsiteX2175" fmla="*/ 1142726 w 3862373"/>
                <a:gd name="connsiteY2175" fmla="*/ 1208998 h 3682908"/>
                <a:gd name="connsiteX2176" fmla="*/ 1181817 w 3862373"/>
                <a:gd name="connsiteY2176" fmla="*/ 1248085 h 3682908"/>
                <a:gd name="connsiteX2177" fmla="*/ 1142726 w 3862373"/>
                <a:gd name="connsiteY2177" fmla="*/ 1287173 h 3682908"/>
                <a:gd name="connsiteX2178" fmla="*/ 1103630 w 3862373"/>
                <a:gd name="connsiteY2178" fmla="*/ 1248085 h 3682908"/>
                <a:gd name="connsiteX2179" fmla="*/ 1142726 w 3862373"/>
                <a:gd name="connsiteY2179" fmla="*/ 1208998 h 3682908"/>
                <a:gd name="connsiteX2180" fmla="*/ 1045706 w 3862373"/>
                <a:gd name="connsiteY2180" fmla="*/ 1208998 h 3682908"/>
                <a:gd name="connsiteX2181" fmla="*/ 1084795 w 3862373"/>
                <a:gd name="connsiteY2181" fmla="*/ 1248085 h 3682908"/>
                <a:gd name="connsiteX2182" fmla="*/ 1045706 w 3862373"/>
                <a:gd name="connsiteY2182" fmla="*/ 1287173 h 3682908"/>
                <a:gd name="connsiteX2183" fmla="*/ 1006623 w 3862373"/>
                <a:gd name="connsiteY2183" fmla="*/ 1248085 h 3682908"/>
                <a:gd name="connsiteX2184" fmla="*/ 1045706 w 3862373"/>
                <a:gd name="connsiteY2184" fmla="*/ 1208998 h 3682908"/>
                <a:gd name="connsiteX2185" fmla="*/ 951076 w 3862373"/>
                <a:gd name="connsiteY2185" fmla="*/ 1208998 h 3682908"/>
                <a:gd name="connsiteX2186" fmla="*/ 990159 w 3862373"/>
                <a:gd name="connsiteY2186" fmla="*/ 1248085 h 3682908"/>
                <a:gd name="connsiteX2187" fmla="*/ 951076 w 3862373"/>
                <a:gd name="connsiteY2187" fmla="*/ 1287173 h 3682908"/>
                <a:gd name="connsiteX2188" fmla="*/ 911993 w 3862373"/>
                <a:gd name="connsiteY2188" fmla="*/ 1248085 h 3682908"/>
                <a:gd name="connsiteX2189" fmla="*/ 951076 w 3862373"/>
                <a:gd name="connsiteY2189" fmla="*/ 1208998 h 3682908"/>
                <a:gd name="connsiteX2190" fmla="*/ 856447 w 3862373"/>
                <a:gd name="connsiteY2190" fmla="*/ 1208998 h 3682908"/>
                <a:gd name="connsiteX2191" fmla="*/ 895530 w 3862373"/>
                <a:gd name="connsiteY2191" fmla="*/ 1248085 h 3682908"/>
                <a:gd name="connsiteX2192" fmla="*/ 856447 w 3862373"/>
                <a:gd name="connsiteY2192" fmla="*/ 1287173 h 3682908"/>
                <a:gd name="connsiteX2193" fmla="*/ 817365 w 3862373"/>
                <a:gd name="connsiteY2193" fmla="*/ 1248085 h 3682908"/>
                <a:gd name="connsiteX2194" fmla="*/ 856447 w 3862373"/>
                <a:gd name="connsiteY2194" fmla="*/ 1208998 h 3682908"/>
                <a:gd name="connsiteX2195" fmla="*/ 764185 w 3862373"/>
                <a:gd name="connsiteY2195" fmla="*/ 1208998 h 3682908"/>
                <a:gd name="connsiteX2196" fmla="*/ 803268 w 3862373"/>
                <a:gd name="connsiteY2196" fmla="*/ 1248085 h 3682908"/>
                <a:gd name="connsiteX2197" fmla="*/ 764185 w 3862373"/>
                <a:gd name="connsiteY2197" fmla="*/ 1287173 h 3682908"/>
                <a:gd name="connsiteX2198" fmla="*/ 725101 w 3862373"/>
                <a:gd name="connsiteY2198" fmla="*/ 1248085 h 3682908"/>
                <a:gd name="connsiteX2199" fmla="*/ 764185 w 3862373"/>
                <a:gd name="connsiteY2199" fmla="*/ 1208998 h 3682908"/>
                <a:gd name="connsiteX2200" fmla="*/ 669534 w 3862373"/>
                <a:gd name="connsiteY2200" fmla="*/ 1208998 h 3682908"/>
                <a:gd name="connsiteX2201" fmla="*/ 708638 w 3862373"/>
                <a:gd name="connsiteY2201" fmla="*/ 1248085 h 3682908"/>
                <a:gd name="connsiteX2202" fmla="*/ 669534 w 3862373"/>
                <a:gd name="connsiteY2202" fmla="*/ 1287173 h 3682908"/>
                <a:gd name="connsiteX2203" fmla="*/ 630460 w 3862373"/>
                <a:gd name="connsiteY2203" fmla="*/ 1248085 h 3682908"/>
                <a:gd name="connsiteX2204" fmla="*/ 669534 w 3862373"/>
                <a:gd name="connsiteY2204" fmla="*/ 1208998 h 3682908"/>
                <a:gd name="connsiteX2205" fmla="*/ 577261 w 3862373"/>
                <a:gd name="connsiteY2205" fmla="*/ 1208998 h 3682908"/>
                <a:gd name="connsiteX2206" fmla="*/ 616357 w 3862373"/>
                <a:gd name="connsiteY2206" fmla="*/ 1248085 h 3682908"/>
                <a:gd name="connsiteX2207" fmla="*/ 577261 w 3862373"/>
                <a:gd name="connsiteY2207" fmla="*/ 1287173 h 3682908"/>
                <a:gd name="connsiteX2208" fmla="*/ 538164 w 3862373"/>
                <a:gd name="connsiteY2208" fmla="*/ 1248085 h 3682908"/>
                <a:gd name="connsiteX2209" fmla="*/ 577261 w 3862373"/>
                <a:gd name="connsiteY2209" fmla="*/ 1208998 h 3682908"/>
                <a:gd name="connsiteX2210" fmla="*/ 484976 w 3862373"/>
                <a:gd name="connsiteY2210" fmla="*/ 1208998 h 3682908"/>
                <a:gd name="connsiteX2211" fmla="*/ 524060 w 3862373"/>
                <a:gd name="connsiteY2211" fmla="*/ 1248085 h 3682908"/>
                <a:gd name="connsiteX2212" fmla="*/ 484976 w 3862373"/>
                <a:gd name="connsiteY2212" fmla="*/ 1287173 h 3682908"/>
                <a:gd name="connsiteX2213" fmla="*/ 445900 w 3862373"/>
                <a:gd name="connsiteY2213" fmla="*/ 1248085 h 3682908"/>
                <a:gd name="connsiteX2214" fmla="*/ 484976 w 3862373"/>
                <a:gd name="connsiteY2214" fmla="*/ 1208998 h 3682908"/>
                <a:gd name="connsiteX2215" fmla="*/ 390329 w 3862373"/>
                <a:gd name="connsiteY2215" fmla="*/ 1208998 h 3682908"/>
                <a:gd name="connsiteX2216" fmla="*/ 429427 w 3862373"/>
                <a:gd name="connsiteY2216" fmla="*/ 1248085 h 3682908"/>
                <a:gd name="connsiteX2217" fmla="*/ 390329 w 3862373"/>
                <a:gd name="connsiteY2217" fmla="*/ 1287173 h 3682908"/>
                <a:gd name="connsiteX2218" fmla="*/ 351257 w 3862373"/>
                <a:gd name="connsiteY2218" fmla="*/ 1248085 h 3682908"/>
                <a:gd name="connsiteX2219" fmla="*/ 390329 w 3862373"/>
                <a:gd name="connsiteY2219" fmla="*/ 1208998 h 3682908"/>
                <a:gd name="connsiteX2220" fmla="*/ 298060 w 3862373"/>
                <a:gd name="connsiteY2220" fmla="*/ 1208998 h 3682908"/>
                <a:gd name="connsiteX2221" fmla="*/ 337156 w 3862373"/>
                <a:gd name="connsiteY2221" fmla="*/ 1248085 h 3682908"/>
                <a:gd name="connsiteX2222" fmla="*/ 298060 w 3862373"/>
                <a:gd name="connsiteY2222" fmla="*/ 1287173 h 3682908"/>
                <a:gd name="connsiteX2223" fmla="*/ 258971 w 3862373"/>
                <a:gd name="connsiteY2223" fmla="*/ 1248085 h 3682908"/>
                <a:gd name="connsiteX2224" fmla="*/ 298060 w 3862373"/>
                <a:gd name="connsiteY2224" fmla="*/ 1208998 h 3682908"/>
                <a:gd name="connsiteX2225" fmla="*/ 203415 w 3862373"/>
                <a:gd name="connsiteY2225" fmla="*/ 1208998 h 3682908"/>
                <a:gd name="connsiteX2226" fmla="*/ 242504 w 3862373"/>
                <a:gd name="connsiteY2226" fmla="*/ 1248085 h 3682908"/>
                <a:gd name="connsiteX2227" fmla="*/ 203415 w 3862373"/>
                <a:gd name="connsiteY2227" fmla="*/ 1287173 h 3682908"/>
                <a:gd name="connsiteX2228" fmla="*/ 164330 w 3862373"/>
                <a:gd name="connsiteY2228" fmla="*/ 1248085 h 3682908"/>
                <a:gd name="connsiteX2229" fmla="*/ 203415 w 3862373"/>
                <a:gd name="connsiteY2229" fmla="*/ 1208998 h 3682908"/>
                <a:gd name="connsiteX2230" fmla="*/ 111142 w 3862373"/>
                <a:gd name="connsiteY2230" fmla="*/ 1208998 h 3682908"/>
                <a:gd name="connsiteX2231" fmla="*/ 150229 w 3862373"/>
                <a:gd name="connsiteY2231" fmla="*/ 1248085 h 3682908"/>
                <a:gd name="connsiteX2232" fmla="*/ 111142 w 3862373"/>
                <a:gd name="connsiteY2232" fmla="*/ 1287173 h 3682908"/>
                <a:gd name="connsiteX2233" fmla="*/ 72056 w 3862373"/>
                <a:gd name="connsiteY2233" fmla="*/ 1248085 h 3682908"/>
                <a:gd name="connsiteX2234" fmla="*/ 111142 w 3862373"/>
                <a:gd name="connsiteY2234" fmla="*/ 1208998 h 3682908"/>
                <a:gd name="connsiteX2235" fmla="*/ 3746476 w 3862373"/>
                <a:gd name="connsiteY2235" fmla="*/ 1129380 h 3682908"/>
                <a:gd name="connsiteX2236" fmla="*/ 3771318 w 3862373"/>
                <a:gd name="connsiteY2236" fmla="*/ 1197252 h 3682908"/>
                <a:gd name="connsiteX2237" fmla="*/ 3771293 w 3862373"/>
                <a:gd name="connsiteY2237" fmla="*/ 1197263 h 3682908"/>
                <a:gd name="connsiteX2238" fmla="*/ 3732205 w 3862373"/>
                <a:gd name="connsiteY2238" fmla="*/ 1158188 h 3682908"/>
                <a:gd name="connsiteX2239" fmla="*/ 3743654 w 3862373"/>
                <a:gd name="connsiteY2239" fmla="*/ 1130550 h 3682908"/>
                <a:gd name="connsiteX2240" fmla="*/ 577266 w 3862373"/>
                <a:gd name="connsiteY2240" fmla="*/ 1119103 h 3682908"/>
                <a:gd name="connsiteX2241" fmla="*/ 616362 w 3862373"/>
                <a:gd name="connsiteY2241" fmla="*/ 1158190 h 3682908"/>
                <a:gd name="connsiteX2242" fmla="*/ 577266 w 3862373"/>
                <a:gd name="connsiteY2242" fmla="*/ 1197265 h 3682908"/>
                <a:gd name="connsiteX2243" fmla="*/ 538168 w 3862373"/>
                <a:gd name="connsiteY2243" fmla="*/ 1158190 h 3682908"/>
                <a:gd name="connsiteX2244" fmla="*/ 577266 w 3862373"/>
                <a:gd name="connsiteY2244" fmla="*/ 1119103 h 3682908"/>
                <a:gd name="connsiteX2245" fmla="*/ 484978 w 3862373"/>
                <a:gd name="connsiteY2245" fmla="*/ 1119103 h 3682908"/>
                <a:gd name="connsiteX2246" fmla="*/ 524065 w 3862373"/>
                <a:gd name="connsiteY2246" fmla="*/ 1158190 h 3682908"/>
                <a:gd name="connsiteX2247" fmla="*/ 484978 w 3862373"/>
                <a:gd name="connsiteY2247" fmla="*/ 1197265 h 3682908"/>
                <a:gd name="connsiteX2248" fmla="*/ 445905 w 3862373"/>
                <a:gd name="connsiteY2248" fmla="*/ 1158190 h 3682908"/>
                <a:gd name="connsiteX2249" fmla="*/ 484978 w 3862373"/>
                <a:gd name="connsiteY2249" fmla="*/ 1119103 h 3682908"/>
                <a:gd name="connsiteX2250" fmla="*/ 390329 w 3862373"/>
                <a:gd name="connsiteY2250" fmla="*/ 1119103 h 3682908"/>
                <a:gd name="connsiteX2251" fmla="*/ 429432 w 3862373"/>
                <a:gd name="connsiteY2251" fmla="*/ 1158190 h 3682908"/>
                <a:gd name="connsiteX2252" fmla="*/ 390329 w 3862373"/>
                <a:gd name="connsiteY2252" fmla="*/ 1197265 h 3682908"/>
                <a:gd name="connsiteX2253" fmla="*/ 351262 w 3862373"/>
                <a:gd name="connsiteY2253" fmla="*/ 1158190 h 3682908"/>
                <a:gd name="connsiteX2254" fmla="*/ 390329 w 3862373"/>
                <a:gd name="connsiteY2254" fmla="*/ 1119103 h 3682908"/>
                <a:gd name="connsiteX2255" fmla="*/ 298063 w 3862373"/>
                <a:gd name="connsiteY2255" fmla="*/ 1119103 h 3682908"/>
                <a:gd name="connsiteX2256" fmla="*/ 337159 w 3862373"/>
                <a:gd name="connsiteY2256" fmla="*/ 1158190 h 3682908"/>
                <a:gd name="connsiteX2257" fmla="*/ 298063 w 3862373"/>
                <a:gd name="connsiteY2257" fmla="*/ 1197265 h 3682908"/>
                <a:gd name="connsiteX2258" fmla="*/ 258974 w 3862373"/>
                <a:gd name="connsiteY2258" fmla="*/ 1158190 h 3682908"/>
                <a:gd name="connsiteX2259" fmla="*/ 298063 w 3862373"/>
                <a:gd name="connsiteY2259" fmla="*/ 1119103 h 3682908"/>
                <a:gd name="connsiteX2260" fmla="*/ 203418 w 3862373"/>
                <a:gd name="connsiteY2260" fmla="*/ 1119103 h 3682908"/>
                <a:gd name="connsiteX2261" fmla="*/ 242508 w 3862373"/>
                <a:gd name="connsiteY2261" fmla="*/ 1158190 h 3682908"/>
                <a:gd name="connsiteX2262" fmla="*/ 203418 w 3862373"/>
                <a:gd name="connsiteY2262" fmla="*/ 1197265 h 3682908"/>
                <a:gd name="connsiteX2263" fmla="*/ 164333 w 3862373"/>
                <a:gd name="connsiteY2263" fmla="*/ 1158190 h 3682908"/>
                <a:gd name="connsiteX2264" fmla="*/ 203418 w 3862373"/>
                <a:gd name="connsiteY2264" fmla="*/ 1119103 h 3682908"/>
                <a:gd name="connsiteX2265" fmla="*/ 3679018 w 3862373"/>
                <a:gd name="connsiteY2265" fmla="*/ 1119102 h 3682908"/>
                <a:gd name="connsiteX2266" fmla="*/ 3718105 w 3862373"/>
                <a:gd name="connsiteY2266" fmla="*/ 1158188 h 3682908"/>
                <a:gd name="connsiteX2267" fmla="*/ 3679018 w 3862373"/>
                <a:gd name="connsiteY2267" fmla="*/ 1197263 h 3682908"/>
                <a:gd name="connsiteX2268" fmla="*/ 3639931 w 3862373"/>
                <a:gd name="connsiteY2268" fmla="*/ 1158188 h 3682908"/>
                <a:gd name="connsiteX2269" fmla="*/ 3679018 w 3862373"/>
                <a:gd name="connsiteY2269" fmla="*/ 1119102 h 3682908"/>
                <a:gd name="connsiteX2270" fmla="*/ 3584377 w 3862373"/>
                <a:gd name="connsiteY2270" fmla="*/ 1119102 h 3682908"/>
                <a:gd name="connsiteX2271" fmla="*/ 3623463 w 3862373"/>
                <a:gd name="connsiteY2271" fmla="*/ 1158188 h 3682908"/>
                <a:gd name="connsiteX2272" fmla="*/ 3584377 w 3862373"/>
                <a:gd name="connsiteY2272" fmla="*/ 1197263 h 3682908"/>
                <a:gd name="connsiteX2273" fmla="*/ 3545289 w 3862373"/>
                <a:gd name="connsiteY2273" fmla="*/ 1158188 h 3682908"/>
                <a:gd name="connsiteX2274" fmla="*/ 3584377 w 3862373"/>
                <a:gd name="connsiteY2274" fmla="*/ 1119102 h 3682908"/>
                <a:gd name="connsiteX2275" fmla="*/ 3489737 w 3862373"/>
                <a:gd name="connsiteY2275" fmla="*/ 1119102 h 3682908"/>
                <a:gd name="connsiteX2276" fmla="*/ 3528823 w 3862373"/>
                <a:gd name="connsiteY2276" fmla="*/ 1158188 h 3682908"/>
                <a:gd name="connsiteX2277" fmla="*/ 3489737 w 3862373"/>
                <a:gd name="connsiteY2277" fmla="*/ 1197263 h 3682908"/>
                <a:gd name="connsiteX2278" fmla="*/ 3450649 w 3862373"/>
                <a:gd name="connsiteY2278" fmla="*/ 1158188 h 3682908"/>
                <a:gd name="connsiteX2279" fmla="*/ 3489737 w 3862373"/>
                <a:gd name="connsiteY2279" fmla="*/ 1119102 h 3682908"/>
                <a:gd name="connsiteX2280" fmla="*/ 3392731 w 3862373"/>
                <a:gd name="connsiteY2280" fmla="*/ 1119102 h 3682908"/>
                <a:gd name="connsiteX2281" fmla="*/ 3431819 w 3862373"/>
                <a:gd name="connsiteY2281" fmla="*/ 1158188 h 3682908"/>
                <a:gd name="connsiteX2282" fmla="*/ 3392731 w 3862373"/>
                <a:gd name="connsiteY2282" fmla="*/ 1197263 h 3682908"/>
                <a:gd name="connsiteX2283" fmla="*/ 3353644 w 3862373"/>
                <a:gd name="connsiteY2283" fmla="*/ 1158188 h 3682908"/>
                <a:gd name="connsiteX2284" fmla="*/ 3392731 w 3862373"/>
                <a:gd name="connsiteY2284" fmla="*/ 1119102 h 3682908"/>
                <a:gd name="connsiteX2285" fmla="*/ 3300457 w 3862373"/>
                <a:gd name="connsiteY2285" fmla="*/ 1119102 h 3682908"/>
                <a:gd name="connsiteX2286" fmla="*/ 3339544 w 3862373"/>
                <a:gd name="connsiteY2286" fmla="*/ 1158188 h 3682908"/>
                <a:gd name="connsiteX2287" fmla="*/ 3300457 w 3862373"/>
                <a:gd name="connsiteY2287" fmla="*/ 1197263 h 3682908"/>
                <a:gd name="connsiteX2288" fmla="*/ 3261369 w 3862373"/>
                <a:gd name="connsiteY2288" fmla="*/ 1158188 h 3682908"/>
                <a:gd name="connsiteX2289" fmla="*/ 3300457 w 3862373"/>
                <a:gd name="connsiteY2289" fmla="*/ 1119102 h 3682908"/>
                <a:gd name="connsiteX2290" fmla="*/ 3205817 w 3862373"/>
                <a:gd name="connsiteY2290" fmla="*/ 1119102 h 3682908"/>
                <a:gd name="connsiteX2291" fmla="*/ 3244904 w 3862373"/>
                <a:gd name="connsiteY2291" fmla="*/ 1158188 h 3682908"/>
                <a:gd name="connsiteX2292" fmla="*/ 3205817 w 3862373"/>
                <a:gd name="connsiteY2292" fmla="*/ 1197263 h 3682908"/>
                <a:gd name="connsiteX2293" fmla="*/ 3166729 w 3862373"/>
                <a:gd name="connsiteY2293" fmla="*/ 1158188 h 3682908"/>
                <a:gd name="connsiteX2294" fmla="*/ 3205817 w 3862373"/>
                <a:gd name="connsiteY2294" fmla="*/ 1119102 h 3682908"/>
                <a:gd name="connsiteX2295" fmla="*/ 3018902 w 3862373"/>
                <a:gd name="connsiteY2295" fmla="*/ 1119102 h 3682908"/>
                <a:gd name="connsiteX2296" fmla="*/ 3057989 w 3862373"/>
                <a:gd name="connsiteY2296" fmla="*/ 1158188 h 3682908"/>
                <a:gd name="connsiteX2297" fmla="*/ 3018902 w 3862373"/>
                <a:gd name="connsiteY2297" fmla="*/ 1197263 h 3682908"/>
                <a:gd name="connsiteX2298" fmla="*/ 2979815 w 3862373"/>
                <a:gd name="connsiteY2298" fmla="*/ 1158188 h 3682908"/>
                <a:gd name="connsiteX2299" fmla="*/ 3018902 w 3862373"/>
                <a:gd name="connsiteY2299" fmla="*/ 1119102 h 3682908"/>
                <a:gd name="connsiteX2300" fmla="*/ 2924263 w 3862373"/>
                <a:gd name="connsiteY2300" fmla="*/ 1119102 h 3682908"/>
                <a:gd name="connsiteX2301" fmla="*/ 2963349 w 3862373"/>
                <a:gd name="connsiteY2301" fmla="*/ 1158188 h 3682908"/>
                <a:gd name="connsiteX2302" fmla="*/ 2924263 w 3862373"/>
                <a:gd name="connsiteY2302" fmla="*/ 1197263 h 3682908"/>
                <a:gd name="connsiteX2303" fmla="*/ 2885175 w 3862373"/>
                <a:gd name="connsiteY2303" fmla="*/ 1158188 h 3682908"/>
                <a:gd name="connsiteX2304" fmla="*/ 2924263 w 3862373"/>
                <a:gd name="connsiteY2304" fmla="*/ 1119102 h 3682908"/>
                <a:gd name="connsiteX2305" fmla="*/ 2831988 w 3862373"/>
                <a:gd name="connsiteY2305" fmla="*/ 1119102 h 3682908"/>
                <a:gd name="connsiteX2306" fmla="*/ 2871075 w 3862373"/>
                <a:gd name="connsiteY2306" fmla="*/ 1158188 h 3682908"/>
                <a:gd name="connsiteX2307" fmla="*/ 2831988 w 3862373"/>
                <a:gd name="connsiteY2307" fmla="*/ 1197263 h 3682908"/>
                <a:gd name="connsiteX2308" fmla="*/ 2792901 w 3862373"/>
                <a:gd name="connsiteY2308" fmla="*/ 1158188 h 3682908"/>
                <a:gd name="connsiteX2309" fmla="*/ 2831988 w 3862373"/>
                <a:gd name="connsiteY2309" fmla="*/ 1119102 h 3682908"/>
                <a:gd name="connsiteX2310" fmla="*/ 2737367 w 3862373"/>
                <a:gd name="connsiteY2310" fmla="*/ 1119102 h 3682908"/>
                <a:gd name="connsiteX2311" fmla="*/ 2776435 w 3862373"/>
                <a:gd name="connsiteY2311" fmla="*/ 1158188 h 3682908"/>
                <a:gd name="connsiteX2312" fmla="*/ 2737367 w 3862373"/>
                <a:gd name="connsiteY2312" fmla="*/ 1197263 h 3682908"/>
                <a:gd name="connsiteX2313" fmla="*/ 2698271 w 3862373"/>
                <a:gd name="connsiteY2313" fmla="*/ 1158188 h 3682908"/>
                <a:gd name="connsiteX2314" fmla="*/ 2737367 w 3862373"/>
                <a:gd name="connsiteY2314" fmla="*/ 1119102 h 3682908"/>
                <a:gd name="connsiteX2315" fmla="*/ 2645076 w 3862373"/>
                <a:gd name="connsiteY2315" fmla="*/ 1119102 h 3682908"/>
                <a:gd name="connsiteX2316" fmla="*/ 2684167 w 3862373"/>
                <a:gd name="connsiteY2316" fmla="*/ 1158188 h 3682908"/>
                <a:gd name="connsiteX2317" fmla="*/ 2645076 w 3862373"/>
                <a:gd name="connsiteY2317" fmla="*/ 1197263 h 3682908"/>
                <a:gd name="connsiteX2318" fmla="*/ 2605987 w 3862373"/>
                <a:gd name="connsiteY2318" fmla="*/ 1158188 h 3682908"/>
                <a:gd name="connsiteX2319" fmla="*/ 2645076 w 3862373"/>
                <a:gd name="connsiteY2319" fmla="*/ 1119102 h 3682908"/>
                <a:gd name="connsiteX2320" fmla="*/ 2550439 w 3862373"/>
                <a:gd name="connsiteY2320" fmla="*/ 1119102 h 3682908"/>
                <a:gd name="connsiteX2321" fmla="*/ 2589523 w 3862373"/>
                <a:gd name="connsiteY2321" fmla="*/ 1158188 h 3682908"/>
                <a:gd name="connsiteX2322" fmla="*/ 2550439 w 3862373"/>
                <a:gd name="connsiteY2322" fmla="*/ 1197263 h 3682908"/>
                <a:gd name="connsiteX2323" fmla="*/ 2511357 w 3862373"/>
                <a:gd name="connsiteY2323" fmla="*/ 1158188 h 3682908"/>
                <a:gd name="connsiteX2324" fmla="*/ 2550439 w 3862373"/>
                <a:gd name="connsiteY2324" fmla="*/ 1119102 h 3682908"/>
                <a:gd name="connsiteX2325" fmla="*/ 2458167 w 3862373"/>
                <a:gd name="connsiteY2325" fmla="*/ 1119102 h 3682908"/>
                <a:gd name="connsiteX2326" fmla="*/ 2497254 w 3862373"/>
                <a:gd name="connsiteY2326" fmla="*/ 1158188 h 3682908"/>
                <a:gd name="connsiteX2327" fmla="*/ 2458167 w 3862373"/>
                <a:gd name="connsiteY2327" fmla="*/ 1197263 h 3682908"/>
                <a:gd name="connsiteX2328" fmla="*/ 2419085 w 3862373"/>
                <a:gd name="connsiteY2328" fmla="*/ 1158188 h 3682908"/>
                <a:gd name="connsiteX2329" fmla="*/ 2458167 w 3862373"/>
                <a:gd name="connsiteY2329" fmla="*/ 1119102 h 3682908"/>
                <a:gd name="connsiteX2330" fmla="*/ 1419551 w 3862373"/>
                <a:gd name="connsiteY2330" fmla="*/ 1119102 h 3682908"/>
                <a:gd name="connsiteX2331" fmla="*/ 1458638 w 3862373"/>
                <a:gd name="connsiteY2331" fmla="*/ 1158188 h 3682908"/>
                <a:gd name="connsiteX2332" fmla="*/ 1419551 w 3862373"/>
                <a:gd name="connsiteY2332" fmla="*/ 1197263 h 3682908"/>
                <a:gd name="connsiteX2333" fmla="*/ 1380457 w 3862373"/>
                <a:gd name="connsiteY2333" fmla="*/ 1158188 h 3682908"/>
                <a:gd name="connsiteX2334" fmla="*/ 1419551 w 3862373"/>
                <a:gd name="connsiteY2334" fmla="*/ 1119102 h 3682908"/>
                <a:gd name="connsiteX2335" fmla="*/ 1329639 w 3862373"/>
                <a:gd name="connsiteY2335" fmla="*/ 1119102 h 3682908"/>
                <a:gd name="connsiteX2336" fmla="*/ 1368728 w 3862373"/>
                <a:gd name="connsiteY2336" fmla="*/ 1158188 h 3682908"/>
                <a:gd name="connsiteX2337" fmla="*/ 1329639 w 3862373"/>
                <a:gd name="connsiteY2337" fmla="*/ 1197263 h 3682908"/>
                <a:gd name="connsiteX2338" fmla="*/ 1290557 w 3862373"/>
                <a:gd name="connsiteY2338" fmla="*/ 1158188 h 3682908"/>
                <a:gd name="connsiteX2339" fmla="*/ 1329639 w 3862373"/>
                <a:gd name="connsiteY2339" fmla="*/ 1119102 h 3682908"/>
                <a:gd name="connsiteX2340" fmla="*/ 1232644 w 3862373"/>
                <a:gd name="connsiteY2340" fmla="*/ 1119102 h 3682908"/>
                <a:gd name="connsiteX2341" fmla="*/ 1271718 w 3862373"/>
                <a:gd name="connsiteY2341" fmla="*/ 1158188 h 3682908"/>
                <a:gd name="connsiteX2342" fmla="*/ 1232644 w 3862373"/>
                <a:gd name="connsiteY2342" fmla="*/ 1197263 h 3682908"/>
                <a:gd name="connsiteX2343" fmla="*/ 1193557 w 3862373"/>
                <a:gd name="connsiteY2343" fmla="*/ 1158188 h 3682908"/>
                <a:gd name="connsiteX2344" fmla="*/ 1232644 w 3862373"/>
                <a:gd name="connsiteY2344" fmla="*/ 1119102 h 3682908"/>
                <a:gd name="connsiteX2345" fmla="*/ 1142731 w 3862373"/>
                <a:gd name="connsiteY2345" fmla="*/ 1119102 h 3682908"/>
                <a:gd name="connsiteX2346" fmla="*/ 1181822 w 3862373"/>
                <a:gd name="connsiteY2346" fmla="*/ 1158188 h 3682908"/>
                <a:gd name="connsiteX2347" fmla="*/ 1142731 w 3862373"/>
                <a:gd name="connsiteY2347" fmla="*/ 1197263 h 3682908"/>
                <a:gd name="connsiteX2348" fmla="*/ 1103634 w 3862373"/>
                <a:gd name="connsiteY2348" fmla="*/ 1158188 h 3682908"/>
                <a:gd name="connsiteX2349" fmla="*/ 1142731 w 3862373"/>
                <a:gd name="connsiteY2349" fmla="*/ 1119102 h 3682908"/>
                <a:gd name="connsiteX2350" fmla="*/ 1045709 w 3862373"/>
                <a:gd name="connsiteY2350" fmla="*/ 1119102 h 3682908"/>
                <a:gd name="connsiteX2351" fmla="*/ 1084799 w 3862373"/>
                <a:gd name="connsiteY2351" fmla="*/ 1158188 h 3682908"/>
                <a:gd name="connsiteX2352" fmla="*/ 1045709 w 3862373"/>
                <a:gd name="connsiteY2352" fmla="*/ 1197263 h 3682908"/>
                <a:gd name="connsiteX2353" fmla="*/ 1006627 w 3862373"/>
                <a:gd name="connsiteY2353" fmla="*/ 1158188 h 3682908"/>
                <a:gd name="connsiteX2354" fmla="*/ 1045709 w 3862373"/>
                <a:gd name="connsiteY2354" fmla="*/ 1119102 h 3682908"/>
                <a:gd name="connsiteX2355" fmla="*/ 951081 w 3862373"/>
                <a:gd name="connsiteY2355" fmla="*/ 1119102 h 3682908"/>
                <a:gd name="connsiteX2356" fmla="*/ 990163 w 3862373"/>
                <a:gd name="connsiteY2356" fmla="*/ 1158188 h 3682908"/>
                <a:gd name="connsiteX2357" fmla="*/ 951081 w 3862373"/>
                <a:gd name="connsiteY2357" fmla="*/ 1197263 h 3682908"/>
                <a:gd name="connsiteX2358" fmla="*/ 911999 w 3862373"/>
                <a:gd name="connsiteY2358" fmla="*/ 1158188 h 3682908"/>
                <a:gd name="connsiteX2359" fmla="*/ 951081 w 3862373"/>
                <a:gd name="connsiteY2359" fmla="*/ 1119102 h 3682908"/>
                <a:gd name="connsiteX2360" fmla="*/ 856453 w 3862373"/>
                <a:gd name="connsiteY2360" fmla="*/ 1119102 h 3682908"/>
                <a:gd name="connsiteX2361" fmla="*/ 895535 w 3862373"/>
                <a:gd name="connsiteY2361" fmla="*/ 1158188 h 3682908"/>
                <a:gd name="connsiteX2362" fmla="*/ 856453 w 3862373"/>
                <a:gd name="connsiteY2362" fmla="*/ 1197263 h 3682908"/>
                <a:gd name="connsiteX2363" fmla="*/ 817371 w 3862373"/>
                <a:gd name="connsiteY2363" fmla="*/ 1158188 h 3682908"/>
                <a:gd name="connsiteX2364" fmla="*/ 856453 w 3862373"/>
                <a:gd name="connsiteY2364" fmla="*/ 1119102 h 3682908"/>
                <a:gd name="connsiteX2365" fmla="*/ 764190 w 3862373"/>
                <a:gd name="connsiteY2365" fmla="*/ 1119102 h 3682908"/>
                <a:gd name="connsiteX2366" fmla="*/ 803273 w 3862373"/>
                <a:gd name="connsiteY2366" fmla="*/ 1158188 h 3682908"/>
                <a:gd name="connsiteX2367" fmla="*/ 764190 w 3862373"/>
                <a:gd name="connsiteY2367" fmla="*/ 1197263 h 3682908"/>
                <a:gd name="connsiteX2368" fmla="*/ 725108 w 3862373"/>
                <a:gd name="connsiteY2368" fmla="*/ 1158188 h 3682908"/>
                <a:gd name="connsiteX2369" fmla="*/ 764190 w 3862373"/>
                <a:gd name="connsiteY2369" fmla="*/ 1119102 h 3682908"/>
                <a:gd name="connsiteX2370" fmla="*/ 669546 w 3862373"/>
                <a:gd name="connsiteY2370" fmla="*/ 1119102 h 3682908"/>
                <a:gd name="connsiteX2371" fmla="*/ 708645 w 3862373"/>
                <a:gd name="connsiteY2371" fmla="*/ 1158188 h 3682908"/>
                <a:gd name="connsiteX2372" fmla="*/ 669546 w 3862373"/>
                <a:gd name="connsiteY2372" fmla="*/ 1197263 h 3682908"/>
                <a:gd name="connsiteX2373" fmla="*/ 630466 w 3862373"/>
                <a:gd name="connsiteY2373" fmla="*/ 1158188 h 3682908"/>
                <a:gd name="connsiteX2374" fmla="*/ 669546 w 3862373"/>
                <a:gd name="connsiteY2374" fmla="*/ 1119102 h 3682908"/>
                <a:gd name="connsiteX2375" fmla="*/ 111145 w 3862373"/>
                <a:gd name="connsiteY2375" fmla="*/ 1119102 h 3682908"/>
                <a:gd name="connsiteX2376" fmla="*/ 150233 w 3862373"/>
                <a:gd name="connsiteY2376" fmla="*/ 1158188 h 3682908"/>
                <a:gd name="connsiteX2377" fmla="*/ 111145 w 3862373"/>
                <a:gd name="connsiteY2377" fmla="*/ 1197263 h 3682908"/>
                <a:gd name="connsiteX2378" fmla="*/ 72060 w 3862373"/>
                <a:gd name="connsiteY2378" fmla="*/ 1158188 h 3682908"/>
                <a:gd name="connsiteX2379" fmla="*/ 111145 w 3862373"/>
                <a:gd name="connsiteY2379" fmla="*/ 1119102 h 3682908"/>
                <a:gd name="connsiteX2380" fmla="*/ 24845 w 3862373"/>
                <a:gd name="connsiteY2380" fmla="*/ 1037379 h 3682908"/>
                <a:gd name="connsiteX2381" fmla="*/ 44149 w 3862373"/>
                <a:gd name="connsiteY2381" fmla="*/ 1045374 h 3682908"/>
                <a:gd name="connsiteX2382" fmla="*/ 55597 w 3862373"/>
                <a:gd name="connsiteY2382" fmla="*/ 1073013 h 3682908"/>
                <a:gd name="connsiteX2383" fmla="*/ 16510 w 3862373"/>
                <a:gd name="connsiteY2383" fmla="*/ 1112099 h 3682908"/>
                <a:gd name="connsiteX2384" fmla="*/ 0 w 3862373"/>
                <a:gd name="connsiteY2384" fmla="*/ 1105261 h 3682908"/>
                <a:gd name="connsiteX2385" fmla="*/ 3679017 w 3862373"/>
                <a:gd name="connsiteY2385" fmla="*/ 1033926 h 3682908"/>
                <a:gd name="connsiteX2386" fmla="*/ 3718103 w 3862373"/>
                <a:gd name="connsiteY2386" fmla="*/ 1073013 h 3682908"/>
                <a:gd name="connsiteX2387" fmla="*/ 3679017 w 3862373"/>
                <a:gd name="connsiteY2387" fmla="*/ 1112099 h 3682908"/>
                <a:gd name="connsiteX2388" fmla="*/ 3639929 w 3862373"/>
                <a:gd name="connsiteY2388" fmla="*/ 1073013 h 3682908"/>
                <a:gd name="connsiteX2389" fmla="*/ 3679017 w 3862373"/>
                <a:gd name="connsiteY2389" fmla="*/ 1033926 h 3682908"/>
                <a:gd name="connsiteX2390" fmla="*/ 3584377 w 3862373"/>
                <a:gd name="connsiteY2390" fmla="*/ 1033926 h 3682908"/>
                <a:gd name="connsiteX2391" fmla="*/ 3623463 w 3862373"/>
                <a:gd name="connsiteY2391" fmla="*/ 1073013 h 3682908"/>
                <a:gd name="connsiteX2392" fmla="*/ 3584377 w 3862373"/>
                <a:gd name="connsiteY2392" fmla="*/ 1112099 h 3682908"/>
                <a:gd name="connsiteX2393" fmla="*/ 3545289 w 3862373"/>
                <a:gd name="connsiteY2393" fmla="*/ 1073013 h 3682908"/>
                <a:gd name="connsiteX2394" fmla="*/ 3584377 w 3862373"/>
                <a:gd name="connsiteY2394" fmla="*/ 1033926 h 3682908"/>
                <a:gd name="connsiteX2395" fmla="*/ 3489737 w 3862373"/>
                <a:gd name="connsiteY2395" fmla="*/ 1033926 h 3682908"/>
                <a:gd name="connsiteX2396" fmla="*/ 3528823 w 3862373"/>
                <a:gd name="connsiteY2396" fmla="*/ 1073013 h 3682908"/>
                <a:gd name="connsiteX2397" fmla="*/ 3489737 w 3862373"/>
                <a:gd name="connsiteY2397" fmla="*/ 1112099 h 3682908"/>
                <a:gd name="connsiteX2398" fmla="*/ 3450649 w 3862373"/>
                <a:gd name="connsiteY2398" fmla="*/ 1073013 h 3682908"/>
                <a:gd name="connsiteX2399" fmla="*/ 3489737 w 3862373"/>
                <a:gd name="connsiteY2399" fmla="*/ 1033926 h 3682908"/>
                <a:gd name="connsiteX2400" fmla="*/ 3392731 w 3862373"/>
                <a:gd name="connsiteY2400" fmla="*/ 1033926 h 3682908"/>
                <a:gd name="connsiteX2401" fmla="*/ 3431819 w 3862373"/>
                <a:gd name="connsiteY2401" fmla="*/ 1073013 h 3682908"/>
                <a:gd name="connsiteX2402" fmla="*/ 3392731 w 3862373"/>
                <a:gd name="connsiteY2402" fmla="*/ 1112099 h 3682908"/>
                <a:gd name="connsiteX2403" fmla="*/ 3353644 w 3862373"/>
                <a:gd name="connsiteY2403" fmla="*/ 1073013 h 3682908"/>
                <a:gd name="connsiteX2404" fmla="*/ 3392731 w 3862373"/>
                <a:gd name="connsiteY2404" fmla="*/ 1033926 h 3682908"/>
                <a:gd name="connsiteX2405" fmla="*/ 3300455 w 3862373"/>
                <a:gd name="connsiteY2405" fmla="*/ 1033926 h 3682908"/>
                <a:gd name="connsiteX2406" fmla="*/ 3339543 w 3862373"/>
                <a:gd name="connsiteY2406" fmla="*/ 1073013 h 3682908"/>
                <a:gd name="connsiteX2407" fmla="*/ 3300455 w 3862373"/>
                <a:gd name="connsiteY2407" fmla="*/ 1112099 h 3682908"/>
                <a:gd name="connsiteX2408" fmla="*/ 3261368 w 3862373"/>
                <a:gd name="connsiteY2408" fmla="*/ 1073013 h 3682908"/>
                <a:gd name="connsiteX2409" fmla="*/ 3300455 w 3862373"/>
                <a:gd name="connsiteY2409" fmla="*/ 1033926 h 3682908"/>
                <a:gd name="connsiteX2410" fmla="*/ 3205815 w 3862373"/>
                <a:gd name="connsiteY2410" fmla="*/ 1033926 h 3682908"/>
                <a:gd name="connsiteX2411" fmla="*/ 3244903 w 3862373"/>
                <a:gd name="connsiteY2411" fmla="*/ 1073013 h 3682908"/>
                <a:gd name="connsiteX2412" fmla="*/ 3205815 w 3862373"/>
                <a:gd name="connsiteY2412" fmla="*/ 1112099 h 3682908"/>
                <a:gd name="connsiteX2413" fmla="*/ 3166728 w 3862373"/>
                <a:gd name="connsiteY2413" fmla="*/ 1073013 h 3682908"/>
                <a:gd name="connsiteX2414" fmla="*/ 3205815 w 3862373"/>
                <a:gd name="connsiteY2414" fmla="*/ 1033926 h 3682908"/>
                <a:gd name="connsiteX2415" fmla="*/ 3111175 w 3862373"/>
                <a:gd name="connsiteY2415" fmla="*/ 1033926 h 3682908"/>
                <a:gd name="connsiteX2416" fmla="*/ 3150263 w 3862373"/>
                <a:gd name="connsiteY2416" fmla="*/ 1073013 h 3682908"/>
                <a:gd name="connsiteX2417" fmla="*/ 3111175 w 3862373"/>
                <a:gd name="connsiteY2417" fmla="*/ 1112099 h 3682908"/>
                <a:gd name="connsiteX2418" fmla="*/ 3072088 w 3862373"/>
                <a:gd name="connsiteY2418" fmla="*/ 1073013 h 3682908"/>
                <a:gd name="connsiteX2419" fmla="*/ 3111175 w 3862373"/>
                <a:gd name="connsiteY2419" fmla="*/ 1033926 h 3682908"/>
                <a:gd name="connsiteX2420" fmla="*/ 3018902 w 3862373"/>
                <a:gd name="connsiteY2420" fmla="*/ 1033926 h 3682908"/>
                <a:gd name="connsiteX2421" fmla="*/ 3057989 w 3862373"/>
                <a:gd name="connsiteY2421" fmla="*/ 1073013 h 3682908"/>
                <a:gd name="connsiteX2422" fmla="*/ 3018902 w 3862373"/>
                <a:gd name="connsiteY2422" fmla="*/ 1112099 h 3682908"/>
                <a:gd name="connsiteX2423" fmla="*/ 2979815 w 3862373"/>
                <a:gd name="connsiteY2423" fmla="*/ 1073013 h 3682908"/>
                <a:gd name="connsiteX2424" fmla="*/ 3018902 w 3862373"/>
                <a:gd name="connsiteY2424" fmla="*/ 1033926 h 3682908"/>
                <a:gd name="connsiteX2425" fmla="*/ 2924263 w 3862373"/>
                <a:gd name="connsiteY2425" fmla="*/ 1033926 h 3682908"/>
                <a:gd name="connsiteX2426" fmla="*/ 2963349 w 3862373"/>
                <a:gd name="connsiteY2426" fmla="*/ 1073013 h 3682908"/>
                <a:gd name="connsiteX2427" fmla="*/ 2924263 w 3862373"/>
                <a:gd name="connsiteY2427" fmla="*/ 1112099 h 3682908"/>
                <a:gd name="connsiteX2428" fmla="*/ 2885175 w 3862373"/>
                <a:gd name="connsiteY2428" fmla="*/ 1073013 h 3682908"/>
                <a:gd name="connsiteX2429" fmla="*/ 2924263 w 3862373"/>
                <a:gd name="connsiteY2429" fmla="*/ 1033926 h 3682908"/>
                <a:gd name="connsiteX2430" fmla="*/ 2831987 w 3862373"/>
                <a:gd name="connsiteY2430" fmla="*/ 1033926 h 3682908"/>
                <a:gd name="connsiteX2431" fmla="*/ 2871074 w 3862373"/>
                <a:gd name="connsiteY2431" fmla="*/ 1073013 h 3682908"/>
                <a:gd name="connsiteX2432" fmla="*/ 2831987 w 3862373"/>
                <a:gd name="connsiteY2432" fmla="*/ 1112099 h 3682908"/>
                <a:gd name="connsiteX2433" fmla="*/ 2792900 w 3862373"/>
                <a:gd name="connsiteY2433" fmla="*/ 1073013 h 3682908"/>
                <a:gd name="connsiteX2434" fmla="*/ 2831987 w 3862373"/>
                <a:gd name="connsiteY2434" fmla="*/ 1033926 h 3682908"/>
                <a:gd name="connsiteX2435" fmla="*/ 2737368 w 3862373"/>
                <a:gd name="connsiteY2435" fmla="*/ 1033926 h 3682908"/>
                <a:gd name="connsiteX2436" fmla="*/ 2776434 w 3862373"/>
                <a:gd name="connsiteY2436" fmla="*/ 1073013 h 3682908"/>
                <a:gd name="connsiteX2437" fmla="*/ 2737368 w 3862373"/>
                <a:gd name="connsiteY2437" fmla="*/ 1112099 h 3682908"/>
                <a:gd name="connsiteX2438" fmla="*/ 2698271 w 3862373"/>
                <a:gd name="connsiteY2438" fmla="*/ 1073013 h 3682908"/>
                <a:gd name="connsiteX2439" fmla="*/ 2737368 w 3862373"/>
                <a:gd name="connsiteY2439" fmla="*/ 1033926 h 3682908"/>
                <a:gd name="connsiteX2440" fmla="*/ 2645074 w 3862373"/>
                <a:gd name="connsiteY2440" fmla="*/ 1033926 h 3682908"/>
                <a:gd name="connsiteX2441" fmla="*/ 2684167 w 3862373"/>
                <a:gd name="connsiteY2441" fmla="*/ 1073013 h 3682908"/>
                <a:gd name="connsiteX2442" fmla="*/ 2645074 w 3862373"/>
                <a:gd name="connsiteY2442" fmla="*/ 1112099 h 3682908"/>
                <a:gd name="connsiteX2443" fmla="*/ 2605987 w 3862373"/>
                <a:gd name="connsiteY2443" fmla="*/ 1073013 h 3682908"/>
                <a:gd name="connsiteX2444" fmla="*/ 2645074 w 3862373"/>
                <a:gd name="connsiteY2444" fmla="*/ 1033926 h 3682908"/>
                <a:gd name="connsiteX2445" fmla="*/ 2550439 w 3862373"/>
                <a:gd name="connsiteY2445" fmla="*/ 1033926 h 3682908"/>
                <a:gd name="connsiteX2446" fmla="*/ 2589524 w 3862373"/>
                <a:gd name="connsiteY2446" fmla="*/ 1073013 h 3682908"/>
                <a:gd name="connsiteX2447" fmla="*/ 2550439 w 3862373"/>
                <a:gd name="connsiteY2447" fmla="*/ 1112099 h 3682908"/>
                <a:gd name="connsiteX2448" fmla="*/ 2511357 w 3862373"/>
                <a:gd name="connsiteY2448" fmla="*/ 1073013 h 3682908"/>
                <a:gd name="connsiteX2449" fmla="*/ 2550439 w 3862373"/>
                <a:gd name="connsiteY2449" fmla="*/ 1033926 h 3682908"/>
                <a:gd name="connsiteX2450" fmla="*/ 2458167 w 3862373"/>
                <a:gd name="connsiteY2450" fmla="*/ 1033926 h 3682908"/>
                <a:gd name="connsiteX2451" fmla="*/ 2497254 w 3862373"/>
                <a:gd name="connsiteY2451" fmla="*/ 1073013 h 3682908"/>
                <a:gd name="connsiteX2452" fmla="*/ 2458167 w 3862373"/>
                <a:gd name="connsiteY2452" fmla="*/ 1112099 h 3682908"/>
                <a:gd name="connsiteX2453" fmla="*/ 2419085 w 3862373"/>
                <a:gd name="connsiteY2453" fmla="*/ 1073013 h 3682908"/>
                <a:gd name="connsiteX2454" fmla="*/ 2458167 w 3862373"/>
                <a:gd name="connsiteY2454" fmla="*/ 1033926 h 3682908"/>
                <a:gd name="connsiteX2455" fmla="*/ 2363531 w 3862373"/>
                <a:gd name="connsiteY2455" fmla="*/ 1033926 h 3682908"/>
                <a:gd name="connsiteX2456" fmla="*/ 2402615 w 3862373"/>
                <a:gd name="connsiteY2456" fmla="*/ 1073013 h 3682908"/>
                <a:gd name="connsiteX2457" fmla="*/ 2363531 w 3862373"/>
                <a:gd name="connsiteY2457" fmla="*/ 1112099 h 3682908"/>
                <a:gd name="connsiteX2458" fmla="*/ 2324444 w 3862373"/>
                <a:gd name="connsiteY2458" fmla="*/ 1073013 h 3682908"/>
                <a:gd name="connsiteX2459" fmla="*/ 2363531 w 3862373"/>
                <a:gd name="connsiteY2459" fmla="*/ 1033926 h 3682908"/>
                <a:gd name="connsiteX2460" fmla="*/ 1419556 w 3862373"/>
                <a:gd name="connsiteY2460" fmla="*/ 1033926 h 3682908"/>
                <a:gd name="connsiteX2461" fmla="*/ 1458643 w 3862373"/>
                <a:gd name="connsiteY2461" fmla="*/ 1073013 h 3682908"/>
                <a:gd name="connsiteX2462" fmla="*/ 1419556 w 3862373"/>
                <a:gd name="connsiteY2462" fmla="*/ 1112099 h 3682908"/>
                <a:gd name="connsiteX2463" fmla="*/ 1380461 w 3862373"/>
                <a:gd name="connsiteY2463" fmla="*/ 1073013 h 3682908"/>
                <a:gd name="connsiteX2464" fmla="*/ 1419556 w 3862373"/>
                <a:gd name="connsiteY2464" fmla="*/ 1033926 h 3682908"/>
                <a:gd name="connsiteX2465" fmla="*/ 1329642 w 3862373"/>
                <a:gd name="connsiteY2465" fmla="*/ 1033926 h 3682908"/>
                <a:gd name="connsiteX2466" fmla="*/ 1368731 w 3862373"/>
                <a:gd name="connsiteY2466" fmla="*/ 1073013 h 3682908"/>
                <a:gd name="connsiteX2467" fmla="*/ 1329642 w 3862373"/>
                <a:gd name="connsiteY2467" fmla="*/ 1112099 h 3682908"/>
                <a:gd name="connsiteX2468" fmla="*/ 1290561 w 3862373"/>
                <a:gd name="connsiteY2468" fmla="*/ 1073013 h 3682908"/>
                <a:gd name="connsiteX2469" fmla="*/ 1329642 w 3862373"/>
                <a:gd name="connsiteY2469" fmla="*/ 1033926 h 3682908"/>
                <a:gd name="connsiteX2470" fmla="*/ 1232649 w 3862373"/>
                <a:gd name="connsiteY2470" fmla="*/ 1033926 h 3682908"/>
                <a:gd name="connsiteX2471" fmla="*/ 1271722 w 3862373"/>
                <a:gd name="connsiteY2471" fmla="*/ 1073013 h 3682908"/>
                <a:gd name="connsiteX2472" fmla="*/ 1232649 w 3862373"/>
                <a:gd name="connsiteY2472" fmla="*/ 1112099 h 3682908"/>
                <a:gd name="connsiteX2473" fmla="*/ 1193565 w 3862373"/>
                <a:gd name="connsiteY2473" fmla="*/ 1073013 h 3682908"/>
                <a:gd name="connsiteX2474" fmla="*/ 1232649 w 3862373"/>
                <a:gd name="connsiteY2474" fmla="*/ 1033926 h 3682908"/>
                <a:gd name="connsiteX2475" fmla="*/ 1142736 w 3862373"/>
                <a:gd name="connsiteY2475" fmla="*/ 1033926 h 3682908"/>
                <a:gd name="connsiteX2476" fmla="*/ 1181828 w 3862373"/>
                <a:gd name="connsiteY2476" fmla="*/ 1073013 h 3682908"/>
                <a:gd name="connsiteX2477" fmla="*/ 1142736 w 3862373"/>
                <a:gd name="connsiteY2477" fmla="*/ 1112099 h 3682908"/>
                <a:gd name="connsiteX2478" fmla="*/ 1103639 w 3862373"/>
                <a:gd name="connsiteY2478" fmla="*/ 1073013 h 3682908"/>
                <a:gd name="connsiteX2479" fmla="*/ 1142736 w 3862373"/>
                <a:gd name="connsiteY2479" fmla="*/ 1033926 h 3682908"/>
                <a:gd name="connsiteX2480" fmla="*/ 1045712 w 3862373"/>
                <a:gd name="connsiteY2480" fmla="*/ 1033926 h 3682908"/>
                <a:gd name="connsiteX2481" fmla="*/ 1084802 w 3862373"/>
                <a:gd name="connsiteY2481" fmla="*/ 1073013 h 3682908"/>
                <a:gd name="connsiteX2482" fmla="*/ 1045712 w 3862373"/>
                <a:gd name="connsiteY2482" fmla="*/ 1112099 h 3682908"/>
                <a:gd name="connsiteX2483" fmla="*/ 1006631 w 3862373"/>
                <a:gd name="connsiteY2483" fmla="*/ 1073013 h 3682908"/>
                <a:gd name="connsiteX2484" fmla="*/ 1045712 w 3862373"/>
                <a:gd name="connsiteY2484" fmla="*/ 1033926 h 3682908"/>
                <a:gd name="connsiteX2485" fmla="*/ 951085 w 3862373"/>
                <a:gd name="connsiteY2485" fmla="*/ 1033926 h 3682908"/>
                <a:gd name="connsiteX2486" fmla="*/ 990166 w 3862373"/>
                <a:gd name="connsiteY2486" fmla="*/ 1073013 h 3682908"/>
                <a:gd name="connsiteX2487" fmla="*/ 951085 w 3862373"/>
                <a:gd name="connsiteY2487" fmla="*/ 1112099 h 3682908"/>
                <a:gd name="connsiteX2488" fmla="*/ 912003 w 3862373"/>
                <a:gd name="connsiteY2488" fmla="*/ 1073013 h 3682908"/>
                <a:gd name="connsiteX2489" fmla="*/ 951085 w 3862373"/>
                <a:gd name="connsiteY2489" fmla="*/ 1033926 h 3682908"/>
                <a:gd name="connsiteX2490" fmla="*/ 856458 w 3862373"/>
                <a:gd name="connsiteY2490" fmla="*/ 1033926 h 3682908"/>
                <a:gd name="connsiteX2491" fmla="*/ 895540 w 3862373"/>
                <a:gd name="connsiteY2491" fmla="*/ 1073013 h 3682908"/>
                <a:gd name="connsiteX2492" fmla="*/ 856458 w 3862373"/>
                <a:gd name="connsiteY2492" fmla="*/ 1112099 h 3682908"/>
                <a:gd name="connsiteX2493" fmla="*/ 817376 w 3862373"/>
                <a:gd name="connsiteY2493" fmla="*/ 1073013 h 3682908"/>
                <a:gd name="connsiteX2494" fmla="*/ 856458 w 3862373"/>
                <a:gd name="connsiteY2494" fmla="*/ 1033926 h 3682908"/>
                <a:gd name="connsiteX2495" fmla="*/ 764197 w 3862373"/>
                <a:gd name="connsiteY2495" fmla="*/ 1033926 h 3682908"/>
                <a:gd name="connsiteX2496" fmla="*/ 803279 w 3862373"/>
                <a:gd name="connsiteY2496" fmla="*/ 1073013 h 3682908"/>
                <a:gd name="connsiteX2497" fmla="*/ 764197 w 3862373"/>
                <a:gd name="connsiteY2497" fmla="*/ 1112099 h 3682908"/>
                <a:gd name="connsiteX2498" fmla="*/ 725113 w 3862373"/>
                <a:gd name="connsiteY2498" fmla="*/ 1073013 h 3682908"/>
                <a:gd name="connsiteX2499" fmla="*/ 764197 w 3862373"/>
                <a:gd name="connsiteY2499" fmla="*/ 1033926 h 3682908"/>
                <a:gd name="connsiteX2500" fmla="*/ 669546 w 3862373"/>
                <a:gd name="connsiteY2500" fmla="*/ 1033926 h 3682908"/>
                <a:gd name="connsiteX2501" fmla="*/ 708650 w 3862373"/>
                <a:gd name="connsiteY2501" fmla="*/ 1073013 h 3682908"/>
                <a:gd name="connsiteX2502" fmla="*/ 669546 w 3862373"/>
                <a:gd name="connsiteY2502" fmla="*/ 1112099 h 3682908"/>
                <a:gd name="connsiteX2503" fmla="*/ 630473 w 3862373"/>
                <a:gd name="connsiteY2503" fmla="*/ 1073013 h 3682908"/>
                <a:gd name="connsiteX2504" fmla="*/ 669546 w 3862373"/>
                <a:gd name="connsiteY2504" fmla="*/ 1033926 h 3682908"/>
                <a:gd name="connsiteX2505" fmla="*/ 577271 w 3862373"/>
                <a:gd name="connsiteY2505" fmla="*/ 1033926 h 3682908"/>
                <a:gd name="connsiteX2506" fmla="*/ 616368 w 3862373"/>
                <a:gd name="connsiteY2506" fmla="*/ 1073013 h 3682908"/>
                <a:gd name="connsiteX2507" fmla="*/ 577271 w 3862373"/>
                <a:gd name="connsiteY2507" fmla="*/ 1112099 h 3682908"/>
                <a:gd name="connsiteX2508" fmla="*/ 538174 w 3862373"/>
                <a:gd name="connsiteY2508" fmla="*/ 1073013 h 3682908"/>
                <a:gd name="connsiteX2509" fmla="*/ 577271 w 3862373"/>
                <a:gd name="connsiteY2509" fmla="*/ 1033926 h 3682908"/>
                <a:gd name="connsiteX2510" fmla="*/ 484984 w 3862373"/>
                <a:gd name="connsiteY2510" fmla="*/ 1033926 h 3682908"/>
                <a:gd name="connsiteX2511" fmla="*/ 524069 w 3862373"/>
                <a:gd name="connsiteY2511" fmla="*/ 1073013 h 3682908"/>
                <a:gd name="connsiteX2512" fmla="*/ 484984 w 3862373"/>
                <a:gd name="connsiteY2512" fmla="*/ 1112099 h 3682908"/>
                <a:gd name="connsiteX2513" fmla="*/ 445908 w 3862373"/>
                <a:gd name="connsiteY2513" fmla="*/ 1073013 h 3682908"/>
                <a:gd name="connsiteX2514" fmla="*/ 484984 w 3862373"/>
                <a:gd name="connsiteY2514" fmla="*/ 1033926 h 3682908"/>
                <a:gd name="connsiteX2515" fmla="*/ 390337 w 3862373"/>
                <a:gd name="connsiteY2515" fmla="*/ 1033926 h 3682908"/>
                <a:gd name="connsiteX2516" fmla="*/ 429437 w 3862373"/>
                <a:gd name="connsiteY2516" fmla="*/ 1073013 h 3682908"/>
                <a:gd name="connsiteX2517" fmla="*/ 390337 w 3862373"/>
                <a:gd name="connsiteY2517" fmla="*/ 1112099 h 3682908"/>
                <a:gd name="connsiteX2518" fmla="*/ 351267 w 3862373"/>
                <a:gd name="connsiteY2518" fmla="*/ 1073013 h 3682908"/>
                <a:gd name="connsiteX2519" fmla="*/ 390337 w 3862373"/>
                <a:gd name="connsiteY2519" fmla="*/ 1033926 h 3682908"/>
                <a:gd name="connsiteX2520" fmla="*/ 298068 w 3862373"/>
                <a:gd name="connsiteY2520" fmla="*/ 1033926 h 3682908"/>
                <a:gd name="connsiteX2521" fmla="*/ 337166 w 3862373"/>
                <a:gd name="connsiteY2521" fmla="*/ 1073013 h 3682908"/>
                <a:gd name="connsiteX2522" fmla="*/ 298068 w 3862373"/>
                <a:gd name="connsiteY2522" fmla="*/ 1112099 h 3682908"/>
                <a:gd name="connsiteX2523" fmla="*/ 258978 w 3862373"/>
                <a:gd name="connsiteY2523" fmla="*/ 1073013 h 3682908"/>
                <a:gd name="connsiteX2524" fmla="*/ 298068 w 3862373"/>
                <a:gd name="connsiteY2524" fmla="*/ 1033926 h 3682908"/>
                <a:gd name="connsiteX2525" fmla="*/ 203423 w 3862373"/>
                <a:gd name="connsiteY2525" fmla="*/ 1033926 h 3682908"/>
                <a:gd name="connsiteX2526" fmla="*/ 242512 w 3862373"/>
                <a:gd name="connsiteY2526" fmla="*/ 1073013 h 3682908"/>
                <a:gd name="connsiteX2527" fmla="*/ 203423 w 3862373"/>
                <a:gd name="connsiteY2527" fmla="*/ 1112099 h 3682908"/>
                <a:gd name="connsiteX2528" fmla="*/ 164337 w 3862373"/>
                <a:gd name="connsiteY2528" fmla="*/ 1073013 h 3682908"/>
                <a:gd name="connsiteX2529" fmla="*/ 203423 w 3862373"/>
                <a:gd name="connsiteY2529" fmla="*/ 1033926 h 3682908"/>
                <a:gd name="connsiteX2530" fmla="*/ 111150 w 3862373"/>
                <a:gd name="connsiteY2530" fmla="*/ 1033926 h 3682908"/>
                <a:gd name="connsiteX2531" fmla="*/ 150237 w 3862373"/>
                <a:gd name="connsiteY2531" fmla="*/ 1073013 h 3682908"/>
                <a:gd name="connsiteX2532" fmla="*/ 111150 w 3862373"/>
                <a:gd name="connsiteY2532" fmla="*/ 1112099 h 3682908"/>
                <a:gd name="connsiteX2533" fmla="*/ 72064 w 3862373"/>
                <a:gd name="connsiteY2533" fmla="*/ 1073013 h 3682908"/>
                <a:gd name="connsiteX2534" fmla="*/ 111150 w 3862373"/>
                <a:gd name="connsiteY2534" fmla="*/ 1033926 h 3682908"/>
                <a:gd name="connsiteX2535" fmla="*/ 51905 w 3862373"/>
                <a:gd name="connsiteY2535" fmla="*/ 976551 h 3682908"/>
                <a:gd name="connsiteX2536" fmla="*/ 55600 w 3862373"/>
                <a:gd name="connsiteY2536" fmla="*/ 985473 h 3682908"/>
                <a:gd name="connsiteX2537" fmla="*/ 44152 w 3862373"/>
                <a:gd name="connsiteY2537" fmla="*/ 1013112 h 3682908"/>
                <a:gd name="connsiteX2538" fmla="*/ 31864 w 3862373"/>
                <a:gd name="connsiteY2538" fmla="*/ 1018202 h 3682908"/>
                <a:gd name="connsiteX2539" fmla="*/ 31938 w 3862373"/>
                <a:gd name="connsiteY2539" fmla="*/ 1017999 h 3682908"/>
                <a:gd name="connsiteX2540" fmla="*/ 3672511 w 3862373"/>
                <a:gd name="connsiteY2540" fmla="*/ 949081 h 3682908"/>
                <a:gd name="connsiteX2541" fmla="*/ 3703905 w 3862373"/>
                <a:gd name="connsiteY2541" fmla="*/ 1014251 h 3682908"/>
                <a:gd name="connsiteX2542" fmla="*/ 3679017 w 3862373"/>
                <a:gd name="connsiteY2542" fmla="*/ 1024560 h 3682908"/>
                <a:gd name="connsiteX2543" fmla="*/ 3639929 w 3862373"/>
                <a:gd name="connsiteY2543" fmla="*/ 985473 h 3682908"/>
                <a:gd name="connsiteX2544" fmla="*/ 3651378 w 3862373"/>
                <a:gd name="connsiteY2544" fmla="*/ 957835 h 3682908"/>
                <a:gd name="connsiteX2545" fmla="*/ 3584377 w 3862373"/>
                <a:gd name="connsiteY2545" fmla="*/ 946387 h 3682908"/>
                <a:gd name="connsiteX2546" fmla="*/ 3623463 w 3862373"/>
                <a:gd name="connsiteY2546" fmla="*/ 985473 h 3682908"/>
                <a:gd name="connsiteX2547" fmla="*/ 3584377 w 3862373"/>
                <a:gd name="connsiteY2547" fmla="*/ 1024560 h 3682908"/>
                <a:gd name="connsiteX2548" fmla="*/ 3545289 w 3862373"/>
                <a:gd name="connsiteY2548" fmla="*/ 985473 h 3682908"/>
                <a:gd name="connsiteX2549" fmla="*/ 3584377 w 3862373"/>
                <a:gd name="connsiteY2549" fmla="*/ 946387 h 3682908"/>
                <a:gd name="connsiteX2550" fmla="*/ 3489737 w 3862373"/>
                <a:gd name="connsiteY2550" fmla="*/ 946387 h 3682908"/>
                <a:gd name="connsiteX2551" fmla="*/ 3528823 w 3862373"/>
                <a:gd name="connsiteY2551" fmla="*/ 985473 h 3682908"/>
                <a:gd name="connsiteX2552" fmla="*/ 3489737 w 3862373"/>
                <a:gd name="connsiteY2552" fmla="*/ 1024560 h 3682908"/>
                <a:gd name="connsiteX2553" fmla="*/ 3450649 w 3862373"/>
                <a:gd name="connsiteY2553" fmla="*/ 985473 h 3682908"/>
                <a:gd name="connsiteX2554" fmla="*/ 3489737 w 3862373"/>
                <a:gd name="connsiteY2554" fmla="*/ 946387 h 3682908"/>
                <a:gd name="connsiteX2555" fmla="*/ 3392731 w 3862373"/>
                <a:gd name="connsiteY2555" fmla="*/ 946387 h 3682908"/>
                <a:gd name="connsiteX2556" fmla="*/ 3431819 w 3862373"/>
                <a:gd name="connsiteY2556" fmla="*/ 985473 h 3682908"/>
                <a:gd name="connsiteX2557" fmla="*/ 3392731 w 3862373"/>
                <a:gd name="connsiteY2557" fmla="*/ 1024560 h 3682908"/>
                <a:gd name="connsiteX2558" fmla="*/ 3353644 w 3862373"/>
                <a:gd name="connsiteY2558" fmla="*/ 985473 h 3682908"/>
                <a:gd name="connsiteX2559" fmla="*/ 3392731 w 3862373"/>
                <a:gd name="connsiteY2559" fmla="*/ 946387 h 3682908"/>
                <a:gd name="connsiteX2560" fmla="*/ 3300455 w 3862373"/>
                <a:gd name="connsiteY2560" fmla="*/ 946387 h 3682908"/>
                <a:gd name="connsiteX2561" fmla="*/ 3339543 w 3862373"/>
                <a:gd name="connsiteY2561" fmla="*/ 985473 h 3682908"/>
                <a:gd name="connsiteX2562" fmla="*/ 3300455 w 3862373"/>
                <a:gd name="connsiteY2562" fmla="*/ 1024560 h 3682908"/>
                <a:gd name="connsiteX2563" fmla="*/ 3261368 w 3862373"/>
                <a:gd name="connsiteY2563" fmla="*/ 985473 h 3682908"/>
                <a:gd name="connsiteX2564" fmla="*/ 3300455 w 3862373"/>
                <a:gd name="connsiteY2564" fmla="*/ 946387 h 3682908"/>
                <a:gd name="connsiteX2565" fmla="*/ 3205815 w 3862373"/>
                <a:gd name="connsiteY2565" fmla="*/ 946387 h 3682908"/>
                <a:gd name="connsiteX2566" fmla="*/ 3244903 w 3862373"/>
                <a:gd name="connsiteY2566" fmla="*/ 985473 h 3682908"/>
                <a:gd name="connsiteX2567" fmla="*/ 3205815 w 3862373"/>
                <a:gd name="connsiteY2567" fmla="*/ 1024560 h 3682908"/>
                <a:gd name="connsiteX2568" fmla="*/ 3166728 w 3862373"/>
                <a:gd name="connsiteY2568" fmla="*/ 985473 h 3682908"/>
                <a:gd name="connsiteX2569" fmla="*/ 3205815 w 3862373"/>
                <a:gd name="connsiteY2569" fmla="*/ 946387 h 3682908"/>
                <a:gd name="connsiteX2570" fmla="*/ 3111175 w 3862373"/>
                <a:gd name="connsiteY2570" fmla="*/ 946387 h 3682908"/>
                <a:gd name="connsiteX2571" fmla="*/ 3150263 w 3862373"/>
                <a:gd name="connsiteY2571" fmla="*/ 985473 h 3682908"/>
                <a:gd name="connsiteX2572" fmla="*/ 3111175 w 3862373"/>
                <a:gd name="connsiteY2572" fmla="*/ 1024560 h 3682908"/>
                <a:gd name="connsiteX2573" fmla="*/ 3072088 w 3862373"/>
                <a:gd name="connsiteY2573" fmla="*/ 985473 h 3682908"/>
                <a:gd name="connsiteX2574" fmla="*/ 3111175 w 3862373"/>
                <a:gd name="connsiteY2574" fmla="*/ 946387 h 3682908"/>
                <a:gd name="connsiteX2575" fmla="*/ 3018902 w 3862373"/>
                <a:gd name="connsiteY2575" fmla="*/ 946387 h 3682908"/>
                <a:gd name="connsiteX2576" fmla="*/ 3057989 w 3862373"/>
                <a:gd name="connsiteY2576" fmla="*/ 985473 h 3682908"/>
                <a:gd name="connsiteX2577" fmla="*/ 3018902 w 3862373"/>
                <a:gd name="connsiteY2577" fmla="*/ 1024560 h 3682908"/>
                <a:gd name="connsiteX2578" fmla="*/ 2979815 w 3862373"/>
                <a:gd name="connsiteY2578" fmla="*/ 985473 h 3682908"/>
                <a:gd name="connsiteX2579" fmla="*/ 3018902 w 3862373"/>
                <a:gd name="connsiteY2579" fmla="*/ 946387 h 3682908"/>
                <a:gd name="connsiteX2580" fmla="*/ 2737369 w 3862373"/>
                <a:gd name="connsiteY2580" fmla="*/ 946387 h 3682908"/>
                <a:gd name="connsiteX2581" fmla="*/ 2776434 w 3862373"/>
                <a:gd name="connsiteY2581" fmla="*/ 985473 h 3682908"/>
                <a:gd name="connsiteX2582" fmla="*/ 2737369 w 3862373"/>
                <a:gd name="connsiteY2582" fmla="*/ 1024560 h 3682908"/>
                <a:gd name="connsiteX2583" fmla="*/ 2698271 w 3862373"/>
                <a:gd name="connsiteY2583" fmla="*/ 985473 h 3682908"/>
                <a:gd name="connsiteX2584" fmla="*/ 2737369 w 3862373"/>
                <a:gd name="connsiteY2584" fmla="*/ 946387 h 3682908"/>
                <a:gd name="connsiteX2585" fmla="*/ 2458167 w 3862373"/>
                <a:gd name="connsiteY2585" fmla="*/ 946387 h 3682908"/>
                <a:gd name="connsiteX2586" fmla="*/ 2497255 w 3862373"/>
                <a:gd name="connsiteY2586" fmla="*/ 985473 h 3682908"/>
                <a:gd name="connsiteX2587" fmla="*/ 2458167 w 3862373"/>
                <a:gd name="connsiteY2587" fmla="*/ 1024560 h 3682908"/>
                <a:gd name="connsiteX2588" fmla="*/ 2419086 w 3862373"/>
                <a:gd name="connsiteY2588" fmla="*/ 985473 h 3682908"/>
                <a:gd name="connsiteX2589" fmla="*/ 2458167 w 3862373"/>
                <a:gd name="connsiteY2589" fmla="*/ 946387 h 3682908"/>
                <a:gd name="connsiteX2590" fmla="*/ 1329646 w 3862373"/>
                <a:gd name="connsiteY2590" fmla="*/ 946387 h 3682908"/>
                <a:gd name="connsiteX2591" fmla="*/ 1368735 w 3862373"/>
                <a:gd name="connsiteY2591" fmla="*/ 985473 h 3682908"/>
                <a:gd name="connsiteX2592" fmla="*/ 1329646 w 3862373"/>
                <a:gd name="connsiteY2592" fmla="*/ 1024560 h 3682908"/>
                <a:gd name="connsiteX2593" fmla="*/ 1290566 w 3862373"/>
                <a:gd name="connsiteY2593" fmla="*/ 985473 h 3682908"/>
                <a:gd name="connsiteX2594" fmla="*/ 1329646 w 3862373"/>
                <a:gd name="connsiteY2594" fmla="*/ 946387 h 3682908"/>
                <a:gd name="connsiteX2595" fmla="*/ 1232653 w 3862373"/>
                <a:gd name="connsiteY2595" fmla="*/ 946387 h 3682908"/>
                <a:gd name="connsiteX2596" fmla="*/ 1271726 w 3862373"/>
                <a:gd name="connsiteY2596" fmla="*/ 985473 h 3682908"/>
                <a:gd name="connsiteX2597" fmla="*/ 1232653 w 3862373"/>
                <a:gd name="connsiteY2597" fmla="*/ 1024560 h 3682908"/>
                <a:gd name="connsiteX2598" fmla="*/ 1193568 w 3862373"/>
                <a:gd name="connsiteY2598" fmla="*/ 985473 h 3682908"/>
                <a:gd name="connsiteX2599" fmla="*/ 1232653 w 3862373"/>
                <a:gd name="connsiteY2599" fmla="*/ 946387 h 3682908"/>
                <a:gd name="connsiteX2600" fmla="*/ 1142740 w 3862373"/>
                <a:gd name="connsiteY2600" fmla="*/ 946387 h 3682908"/>
                <a:gd name="connsiteX2601" fmla="*/ 1181832 w 3862373"/>
                <a:gd name="connsiteY2601" fmla="*/ 985473 h 3682908"/>
                <a:gd name="connsiteX2602" fmla="*/ 1142740 w 3862373"/>
                <a:gd name="connsiteY2602" fmla="*/ 1024560 h 3682908"/>
                <a:gd name="connsiteX2603" fmla="*/ 1103643 w 3862373"/>
                <a:gd name="connsiteY2603" fmla="*/ 985473 h 3682908"/>
                <a:gd name="connsiteX2604" fmla="*/ 1142740 w 3862373"/>
                <a:gd name="connsiteY2604" fmla="*/ 946387 h 3682908"/>
                <a:gd name="connsiteX2605" fmla="*/ 1045716 w 3862373"/>
                <a:gd name="connsiteY2605" fmla="*/ 946387 h 3682908"/>
                <a:gd name="connsiteX2606" fmla="*/ 1084805 w 3862373"/>
                <a:gd name="connsiteY2606" fmla="*/ 985473 h 3682908"/>
                <a:gd name="connsiteX2607" fmla="*/ 1045716 w 3862373"/>
                <a:gd name="connsiteY2607" fmla="*/ 1024560 h 3682908"/>
                <a:gd name="connsiteX2608" fmla="*/ 1006635 w 3862373"/>
                <a:gd name="connsiteY2608" fmla="*/ 985473 h 3682908"/>
                <a:gd name="connsiteX2609" fmla="*/ 1045716 w 3862373"/>
                <a:gd name="connsiteY2609" fmla="*/ 946387 h 3682908"/>
                <a:gd name="connsiteX2610" fmla="*/ 764201 w 3862373"/>
                <a:gd name="connsiteY2610" fmla="*/ 946387 h 3682908"/>
                <a:gd name="connsiteX2611" fmla="*/ 803284 w 3862373"/>
                <a:gd name="connsiteY2611" fmla="*/ 985473 h 3682908"/>
                <a:gd name="connsiteX2612" fmla="*/ 764201 w 3862373"/>
                <a:gd name="connsiteY2612" fmla="*/ 1024560 h 3682908"/>
                <a:gd name="connsiteX2613" fmla="*/ 725120 w 3862373"/>
                <a:gd name="connsiteY2613" fmla="*/ 985473 h 3682908"/>
                <a:gd name="connsiteX2614" fmla="*/ 764201 w 3862373"/>
                <a:gd name="connsiteY2614" fmla="*/ 946387 h 3682908"/>
                <a:gd name="connsiteX2615" fmla="*/ 669559 w 3862373"/>
                <a:gd name="connsiteY2615" fmla="*/ 946387 h 3682908"/>
                <a:gd name="connsiteX2616" fmla="*/ 708656 w 3862373"/>
                <a:gd name="connsiteY2616" fmla="*/ 985473 h 3682908"/>
                <a:gd name="connsiteX2617" fmla="*/ 669559 w 3862373"/>
                <a:gd name="connsiteY2617" fmla="*/ 1024560 h 3682908"/>
                <a:gd name="connsiteX2618" fmla="*/ 630479 w 3862373"/>
                <a:gd name="connsiteY2618" fmla="*/ 985473 h 3682908"/>
                <a:gd name="connsiteX2619" fmla="*/ 669559 w 3862373"/>
                <a:gd name="connsiteY2619" fmla="*/ 946387 h 3682908"/>
                <a:gd name="connsiteX2620" fmla="*/ 577276 w 3862373"/>
                <a:gd name="connsiteY2620" fmla="*/ 946387 h 3682908"/>
                <a:gd name="connsiteX2621" fmla="*/ 616374 w 3862373"/>
                <a:gd name="connsiteY2621" fmla="*/ 985473 h 3682908"/>
                <a:gd name="connsiteX2622" fmla="*/ 577276 w 3862373"/>
                <a:gd name="connsiteY2622" fmla="*/ 1024560 h 3682908"/>
                <a:gd name="connsiteX2623" fmla="*/ 538178 w 3862373"/>
                <a:gd name="connsiteY2623" fmla="*/ 985473 h 3682908"/>
                <a:gd name="connsiteX2624" fmla="*/ 577276 w 3862373"/>
                <a:gd name="connsiteY2624" fmla="*/ 946387 h 3682908"/>
                <a:gd name="connsiteX2625" fmla="*/ 484989 w 3862373"/>
                <a:gd name="connsiteY2625" fmla="*/ 946387 h 3682908"/>
                <a:gd name="connsiteX2626" fmla="*/ 524074 w 3862373"/>
                <a:gd name="connsiteY2626" fmla="*/ 985473 h 3682908"/>
                <a:gd name="connsiteX2627" fmla="*/ 484989 w 3862373"/>
                <a:gd name="connsiteY2627" fmla="*/ 1024560 h 3682908"/>
                <a:gd name="connsiteX2628" fmla="*/ 445913 w 3862373"/>
                <a:gd name="connsiteY2628" fmla="*/ 985473 h 3682908"/>
                <a:gd name="connsiteX2629" fmla="*/ 484989 w 3862373"/>
                <a:gd name="connsiteY2629" fmla="*/ 946387 h 3682908"/>
                <a:gd name="connsiteX2630" fmla="*/ 390337 w 3862373"/>
                <a:gd name="connsiteY2630" fmla="*/ 946387 h 3682908"/>
                <a:gd name="connsiteX2631" fmla="*/ 429441 w 3862373"/>
                <a:gd name="connsiteY2631" fmla="*/ 985473 h 3682908"/>
                <a:gd name="connsiteX2632" fmla="*/ 390337 w 3862373"/>
                <a:gd name="connsiteY2632" fmla="*/ 1024560 h 3682908"/>
                <a:gd name="connsiteX2633" fmla="*/ 351272 w 3862373"/>
                <a:gd name="connsiteY2633" fmla="*/ 985473 h 3682908"/>
                <a:gd name="connsiteX2634" fmla="*/ 390337 w 3862373"/>
                <a:gd name="connsiteY2634" fmla="*/ 946387 h 3682908"/>
                <a:gd name="connsiteX2635" fmla="*/ 298073 w 3862373"/>
                <a:gd name="connsiteY2635" fmla="*/ 946387 h 3682908"/>
                <a:gd name="connsiteX2636" fmla="*/ 337170 w 3862373"/>
                <a:gd name="connsiteY2636" fmla="*/ 985473 h 3682908"/>
                <a:gd name="connsiteX2637" fmla="*/ 298073 w 3862373"/>
                <a:gd name="connsiteY2637" fmla="*/ 1024560 h 3682908"/>
                <a:gd name="connsiteX2638" fmla="*/ 258982 w 3862373"/>
                <a:gd name="connsiteY2638" fmla="*/ 985473 h 3682908"/>
                <a:gd name="connsiteX2639" fmla="*/ 298073 w 3862373"/>
                <a:gd name="connsiteY2639" fmla="*/ 946387 h 3682908"/>
                <a:gd name="connsiteX2640" fmla="*/ 203426 w 3862373"/>
                <a:gd name="connsiteY2640" fmla="*/ 946387 h 3682908"/>
                <a:gd name="connsiteX2641" fmla="*/ 242516 w 3862373"/>
                <a:gd name="connsiteY2641" fmla="*/ 985473 h 3682908"/>
                <a:gd name="connsiteX2642" fmla="*/ 203426 w 3862373"/>
                <a:gd name="connsiteY2642" fmla="*/ 1024560 h 3682908"/>
                <a:gd name="connsiteX2643" fmla="*/ 164342 w 3862373"/>
                <a:gd name="connsiteY2643" fmla="*/ 985473 h 3682908"/>
                <a:gd name="connsiteX2644" fmla="*/ 203426 w 3862373"/>
                <a:gd name="connsiteY2644" fmla="*/ 946387 h 3682908"/>
                <a:gd name="connsiteX2645" fmla="*/ 111154 w 3862373"/>
                <a:gd name="connsiteY2645" fmla="*/ 946387 h 3682908"/>
                <a:gd name="connsiteX2646" fmla="*/ 150240 w 3862373"/>
                <a:gd name="connsiteY2646" fmla="*/ 985473 h 3682908"/>
                <a:gd name="connsiteX2647" fmla="*/ 111154 w 3862373"/>
                <a:gd name="connsiteY2647" fmla="*/ 1024560 h 3682908"/>
                <a:gd name="connsiteX2648" fmla="*/ 72068 w 3862373"/>
                <a:gd name="connsiteY2648" fmla="*/ 985473 h 3682908"/>
                <a:gd name="connsiteX2649" fmla="*/ 111154 w 3862373"/>
                <a:gd name="connsiteY2649" fmla="*/ 946387 h 3682908"/>
                <a:gd name="connsiteX2650" fmla="*/ 3644655 w 3862373"/>
                <a:gd name="connsiteY2650" fmla="*/ 891256 h 3682908"/>
                <a:gd name="connsiteX2651" fmla="*/ 3666478 w 3862373"/>
                <a:gd name="connsiteY2651" fmla="*/ 936557 h 3682908"/>
                <a:gd name="connsiteX2652" fmla="*/ 3651378 w 3862373"/>
                <a:gd name="connsiteY2652" fmla="*/ 930303 h 3682908"/>
                <a:gd name="connsiteX2653" fmla="*/ 3639929 w 3862373"/>
                <a:gd name="connsiteY2653" fmla="*/ 902664 h 3682908"/>
                <a:gd name="connsiteX2654" fmla="*/ 3584377 w 3862373"/>
                <a:gd name="connsiteY2654" fmla="*/ 863578 h 3682908"/>
                <a:gd name="connsiteX2655" fmla="*/ 3623463 w 3862373"/>
                <a:gd name="connsiteY2655" fmla="*/ 902664 h 3682908"/>
                <a:gd name="connsiteX2656" fmla="*/ 3584377 w 3862373"/>
                <a:gd name="connsiteY2656" fmla="*/ 941751 h 3682908"/>
                <a:gd name="connsiteX2657" fmla="*/ 3545289 w 3862373"/>
                <a:gd name="connsiteY2657" fmla="*/ 902664 h 3682908"/>
                <a:gd name="connsiteX2658" fmla="*/ 3584377 w 3862373"/>
                <a:gd name="connsiteY2658" fmla="*/ 863578 h 3682908"/>
                <a:gd name="connsiteX2659" fmla="*/ 3489737 w 3862373"/>
                <a:gd name="connsiteY2659" fmla="*/ 863578 h 3682908"/>
                <a:gd name="connsiteX2660" fmla="*/ 3528823 w 3862373"/>
                <a:gd name="connsiteY2660" fmla="*/ 902664 h 3682908"/>
                <a:gd name="connsiteX2661" fmla="*/ 3489737 w 3862373"/>
                <a:gd name="connsiteY2661" fmla="*/ 941751 h 3682908"/>
                <a:gd name="connsiteX2662" fmla="*/ 3450649 w 3862373"/>
                <a:gd name="connsiteY2662" fmla="*/ 902664 h 3682908"/>
                <a:gd name="connsiteX2663" fmla="*/ 3489737 w 3862373"/>
                <a:gd name="connsiteY2663" fmla="*/ 863578 h 3682908"/>
                <a:gd name="connsiteX2664" fmla="*/ 3392731 w 3862373"/>
                <a:gd name="connsiteY2664" fmla="*/ 863578 h 3682908"/>
                <a:gd name="connsiteX2665" fmla="*/ 3431819 w 3862373"/>
                <a:gd name="connsiteY2665" fmla="*/ 902664 h 3682908"/>
                <a:gd name="connsiteX2666" fmla="*/ 3392731 w 3862373"/>
                <a:gd name="connsiteY2666" fmla="*/ 941751 h 3682908"/>
                <a:gd name="connsiteX2667" fmla="*/ 3353644 w 3862373"/>
                <a:gd name="connsiteY2667" fmla="*/ 902664 h 3682908"/>
                <a:gd name="connsiteX2668" fmla="*/ 3392731 w 3862373"/>
                <a:gd name="connsiteY2668" fmla="*/ 863578 h 3682908"/>
                <a:gd name="connsiteX2669" fmla="*/ 3300455 w 3862373"/>
                <a:gd name="connsiteY2669" fmla="*/ 863578 h 3682908"/>
                <a:gd name="connsiteX2670" fmla="*/ 3339543 w 3862373"/>
                <a:gd name="connsiteY2670" fmla="*/ 902664 h 3682908"/>
                <a:gd name="connsiteX2671" fmla="*/ 3300455 w 3862373"/>
                <a:gd name="connsiteY2671" fmla="*/ 941751 h 3682908"/>
                <a:gd name="connsiteX2672" fmla="*/ 3261368 w 3862373"/>
                <a:gd name="connsiteY2672" fmla="*/ 902664 h 3682908"/>
                <a:gd name="connsiteX2673" fmla="*/ 3300455 w 3862373"/>
                <a:gd name="connsiteY2673" fmla="*/ 863578 h 3682908"/>
                <a:gd name="connsiteX2674" fmla="*/ 3205815 w 3862373"/>
                <a:gd name="connsiteY2674" fmla="*/ 863578 h 3682908"/>
                <a:gd name="connsiteX2675" fmla="*/ 3244903 w 3862373"/>
                <a:gd name="connsiteY2675" fmla="*/ 902664 h 3682908"/>
                <a:gd name="connsiteX2676" fmla="*/ 3205815 w 3862373"/>
                <a:gd name="connsiteY2676" fmla="*/ 941751 h 3682908"/>
                <a:gd name="connsiteX2677" fmla="*/ 3166728 w 3862373"/>
                <a:gd name="connsiteY2677" fmla="*/ 902664 h 3682908"/>
                <a:gd name="connsiteX2678" fmla="*/ 3205815 w 3862373"/>
                <a:gd name="connsiteY2678" fmla="*/ 863578 h 3682908"/>
                <a:gd name="connsiteX2679" fmla="*/ 3111175 w 3862373"/>
                <a:gd name="connsiteY2679" fmla="*/ 863578 h 3682908"/>
                <a:gd name="connsiteX2680" fmla="*/ 3150263 w 3862373"/>
                <a:gd name="connsiteY2680" fmla="*/ 902664 h 3682908"/>
                <a:gd name="connsiteX2681" fmla="*/ 3111175 w 3862373"/>
                <a:gd name="connsiteY2681" fmla="*/ 941751 h 3682908"/>
                <a:gd name="connsiteX2682" fmla="*/ 3072088 w 3862373"/>
                <a:gd name="connsiteY2682" fmla="*/ 902664 h 3682908"/>
                <a:gd name="connsiteX2683" fmla="*/ 3111175 w 3862373"/>
                <a:gd name="connsiteY2683" fmla="*/ 863578 h 3682908"/>
                <a:gd name="connsiteX2684" fmla="*/ 3018902 w 3862373"/>
                <a:gd name="connsiteY2684" fmla="*/ 863578 h 3682908"/>
                <a:gd name="connsiteX2685" fmla="*/ 3057989 w 3862373"/>
                <a:gd name="connsiteY2685" fmla="*/ 902664 h 3682908"/>
                <a:gd name="connsiteX2686" fmla="*/ 3018902 w 3862373"/>
                <a:gd name="connsiteY2686" fmla="*/ 941751 h 3682908"/>
                <a:gd name="connsiteX2687" fmla="*/ 2979815 w 3862373"/>
                <a:gd name="connsiteY2687" fmla="*/ 902664 h 3682908"/>
                <a:gd name="connsiteX2688" fmla="*/ 3018902 w 3862373"/>
                <a:gd name="connsiteY2688" fmla="*/ 863578 h 3682908"/>
                <a:gd name="connsiteX2689" fmla="*/ 2831987 w 3862373"/>
                <a:gd name="connsiteY2689" fmla="*/ 863578 h 3682908"/>
                <a:gd name="connsiteX2690" fmla="*/ 2871074 w 3862373"/>
                <a:gd name="connsiteY2690" fmla="*/ 902664 h 3682908"/>
                <a:gd name="connsiteX2691" fmla="*/ 2831987 w 3862373"/>
                <a:gd name="connsiteY2691" fmla="*/ 941751 h 3682908"/>
                <a:gd name="connsiteX2692" fmla="*/ 2792900 w 3862373"/>
                <a:gd name="connsiteY2692" fmla="*/ 902664 h 3682908"/>
                <a:gd name="connsiteX2693" fmla="*/ 2831987 w 3862373"/>
                <a:gd name="connsiteY2693" fmla="*/ 863578 h 3682908"/>
                <a:gd name="connsiteX2694" fmla="*/ 2737371 w 3862373"/>
                <a:gd name="connsiteY2694" fmla="*/ 863578 h 3682908"/>
                <a:gd name="connsiteX2695" fmla="*/ 2776434 w 3862373"/>
                <a:gd name="connsiteY2695" fmla="*/ 902664 h 3682908"/>
                <a:gd name="connsiteX2696" fmla="*/ 2737371 w 3862373"/>
                <a:gd name="connsiteY2696" fmla="*/ 941751 h 3682908"/>
                <a:gd name="connsiteX2697" fmla="*/ 2698272 w 3862373"/>
                <a:gd name="connsiteY2697" fmla="*/ 902664 h 3682908"/>
                <a:gd name="connsiteX2698" fmla="*/ 2737371 w 3862373"/>
                <a:gd name="connsiteY2698" fmla="*/ 863578 h 3682908"/>
                <a:gd name="connsiteX2699" fmla="*/ 2645074 w 3862373"/>
                <a:gd name="connsiteY2699" fmla="*/ 863578 h 3682908"/>
                <a:gd name="connsiteX2700" fmla="*/ 2684168 w 3862373"/>
                <a:gd name="connsiteY2700" fmla="*/ 902664 h 3682908"/>
                <a:gd name="connsiteX2701" fmla="*/ 2645074 w 3862373"/>
                <a:gd name="connsiteY2701" fmla="*/ 941751 h 3682908"/>
                <a:gd name="connsiteX2702" fmla="*/ 2605987 w 3862373"/>
                <a:gd name="connsiteY2702" fmla="*/ 902664 h 3682908"/>
                <a:gd name="connsiteX2703" fmla="*/ 2645074 w 3862373"/>
                <a:gd name="connsiteY2703" fmla="*/ 863578 h 3682908"/>
                <a:gd name="connsiteX2704" fmla="*/ 2458167 w 3862373"/>
                <a:gd name="connsiteY2704" fmla="*/ 863577 h 3682908"/>
                <a:gd name="connsiteX2705" fmla="*/ 2497256 w 3862373"/>
                <a:gd name="connsiteY2705" fmla="*/ 902664 h 3682908"/>
                <a:gd name="connsiteX2706" fmla="*/ 2458167 w 3862373"/>
                <a:gd name="connsiteY2706" fmla="*/ 941750 h 3682908"/>
                <a:gd name="connsiteX2707" fmla="*/ 2419089 w 3862373"/>
                <a:gd name="connsiteY2707" fmla="*/ 902664 h 3682908"/>
                <a:gd name="connsiteX2708" fmla="*/ 2458167 w 3862373"/>
                <a:gd name="connsiteY2708" fmla="*/ 863577 h 3682908"/>
                <a:gd name="connsiteX2709" fmla="*/ 1232658 w 3862373"/>
                <a:gd name="connsiteY2709" fmla="*/ 863577 h 3682908"/>
                <a:gd name="connsiteX2710" fmla="*/ 1271731 w 3862373"/>
                <a:gd name="connsiteY2710" fmla="*/ 902664 h 3682908"/>
                <a:gd name="connsiteX2711" fmla="*/ 1232658 w 3862373"/>
                <a:gd name="connsiteY2711" fmla="*/ 941750 h 3682908"/>
                <a:gd name="connsiteX2712" fmla="*/ 1193572 w 3862373"/>
                <a:gd name="connsiteY2712" fmla="*/ 902664 h 3682908"/>
                <a:gd name="connsiteX2713" fmla="*/ 1232658 w 3862373"/>
                <a:gd name="connsiteY2713" fmla="*/ 863577 h 3682908"/>
                <a:gd name="connsiteX2714" fmla="*/ 1142744 w 3862373"/>
                <a:gd name="connsiteY2714" fmla="*/ 863577 h 3682908"/>
                <a:gd name="connsiteX2715" fmla="*/ 1181836 w 3862373"/>
                <a:gd name="connsiteY2715" fmla="*/ 902664 h 3682908"/>
                <a:gd name="connsiteX2716" fmla="*/ 1142744 w 3862373"/>
                <a:gd name="connsiteY2716" fmla="*/ 941750 h 3682908"/>
                <a:gd name="connsiteX2717" fmla="*/ 1103646 w 3862373"/>
                <a:gd name="connsiteY2717" fmla="*/ 902664 h 3682908"/>
                <a:gd name="connsiteX2718" fmla="*/ 1142744 w 3862373"/>
                <a:gd name="connsiteY2718" fmla="*/ 863577 h 3682908"/>
                <a:gd name="connsiteX2719" fmla="*/ 1045719 w 3862373"/>
                <a:gd name="connsiteY2719" fmla="*/ 863577 h 3682908"/>
                <a:gd name="connsiteX2720" fmla="*/ 1084808 w 3862373"/>
                <a:gd name="connsiteY2720" fmla="*/ 902664 h 3682908"/>
                <a:gd name="connsiteX2721" fmla="*/ 1045719 w 3862373"/>
                <a:gd name="connsiteY2721" fmla="*/ 941750 h 3682908"/>
                <a:gd name="connsiteX2722" fmla="*/ 1006638 w 3862373"/>
                <a:gd name="connsiteY2722" fmla="*/ 902664 h 3682908"/>
                <a:gd name="connsiteX2723" fmla="*/ 1045719 w 3862373"/>
                <a:gd name="connsiteY2723" fmla="*/ 863577 h 3682908"/>
                <a:gd name="connsiteX2724" fmla="*/ 669559 w 3862373"/>
                <a:gd name="connsiteY2724" fmla="*/ 863577 h 3682908"/>
                <a:gd name="connsiteX2725" fmla="*/ 708661 w 3862373"/>
                <a:gd name="connsiteY2725" fmla="*/ 902664 h 3682908"/>
                <a:gd name="connsiteX2726" fmla="*/ 669559 w 3862373"/>
                <a:gd name="connsiteY2726" fmla="*/ 941750 h 3682908"/>
                <a:gd name="connsiteX2727" fmla="*/ 630484 w 3862373"/>
                <a:gd name="connsiteY2727" fmla="*/ 902664 h 3682908"/>
                <a:gd name="connsiteX2728" fmla="*/ 669559 w 3862373"/>
                <a:gd name="connsiteY2728" fmla="*/ 863577 h 3682908"/>
                <a:gd name="connsiteX2729" fmla="*/ 577280 w 3862373"/>
                <a:gd name="connsiteY2729" fmla="*/ 863577 h 3682908"/>
                <a:gd name="connsiteX2730" fmla="*/ 616379 w 3862373"/>
                <a:gd name="connsiteY2730" fmla="*/ 902664 h 3682908"/>
                <a:gd name="connsiteX2731" fmla="*/ 577280 w 3862373"/>
                <a:gd name="connsiteY2731" fmla="*/ 941750 h 3682908"/>
                <a:gd name="connsiteX2732" fmla="*/ 538181 w 3862373"/>
                <a:gd name="connsiteY2732" fmla="*/ 902664 h 3682908"/>
                <a:gd name="connsiteX2733" fmla="*/ 577280 w 3862373"/>
                <a:gd name="connsiteY2733" fmla="*/ 863577 h 3682908"/>
                <a:gd name="connsiteX2734" fmla="*/ 484994 w 3862373"/>
                <a:gd name="connsiteY2734" fmla="*/ 863577 h 3682908"/>
                <a:gd name="connsiteX2735" fmla="*/ 524078 w 3862373"/>
                <a:gd name="connsiteY2735" fmla="*/ 902664 h 3682908"/>
                <a:gd name="connsiteX2736" fmla="*/ 484994 w 3862373"/>
                <a:gd name="connsiteY2736" fmla="*/ 941750 h 3682908"/>
                <a:gd name="connsiteX2737" fmla="*/ 445922 w 3862373"/>
                <a:gd name="connsiteY2737" fmla="*/ 902664 h 3682908"/>
                <a:gd name="connsiteX2738" fmla="*/ 484994 w 3862373"/>
                <a:gd name="connsiteY2738" fmla="*/ 863577 h 3682908"/>
                <a:gd name="connsiteX2739" fmla="*/ 390347 w 3862373"/>
                <a:gd name="connsiteY2739" fmla="*/ 863577 h 3682908"/>
                <a:gd name="connsiteX2740" fmla="*/ 429445 w 3862373"/>
                <a:gd name="connsiteY2740" fmla="*/ 902664 h 3682908"/>
                <a:gd name="connsiteX2741" fmla="*/ 390347 w 3862373"/>
                <a:gd name="connsiteY2741" fmla="*/ 941750 h 3682908"/>
                <a:gd name="connsiteX2742" fmla="*/ 351276 w 3862373"/>
                <a:gd name="connsiteY2742" fmla="*/ 902664 h 3682908"/>
                <a:gd name="connsiteX2743" fmla="*/ 390347 w 3862373"/>
                <a:gd name="connsiteY2743" fmla="*/ 863577 h 3682908"/>
                <a:gd name="connsiteX2744" fmla="*/ 298076 w 3862373"/>
                <a:gd name="connsiteY2744" fmla="*/ 863577 h 3682908"/>
                <a:gd name="connsiteX2745" fmla="*/ 337175 w 3862373"/>
                <a:gd name="connsiteY2745" fmla="*/ 902664 h 3682908"/>
                <a:gd name="connsiteX2746" fmla="*/ 298076 w 3862373"/>
                <a:gd name="connsiteY2746" fmla="*/ 941750 h 3682908"/>
                <a:gd name="connsiteX2747" fmla="*/ 258986 w 3862373"/>
                <a:gd name="connsiteY2747" fmla="*/ 902664 h 3682908"/>
                <a:gd name="connsiteX2748" fmla="*/ 298076 w 3862373"/>
                <a:gd name="connsiteY2748" fmla="*/ 863577 h 3682908"/>
                <a:gd name="connsiteX2749" fmla="*/ 203430 w 3862373"/>
                <a:gd name="connsiteY2749" fmla="*/ 863577 h 3682908"/>
                <a:gd name="connsiteX2750" fmla="*/ 242520 w 3862373"/>
                <a:gd name="connsiteY2750" fmla="*/ 902664 h 3682908"/>
                <a:gd name="connsiteX2751" fmla="*/ 203430 w 3862373"/>
                <a:gd name="connsiteY2751" fmla="*/ 941750 h 3682908"/>
                <a:gd name="connsiteX2752" fmla="*/ 164345 w 3862373"/>
                <a:gd name="connsiteY2752" fmla="*/ 902664 h 3682908"/>
                <a:gd name="connsiteX2753" fmla="*/ 203430 w 3862373"/>
                <a:gd name="connsiteY2753" fmla="*/ 863577 h 3682908"/>
                <a:gd name="connsiteX2754" fmla="*/ 111158 w 3862373"/>
                <a:gd name="connsiteY2754" fmla="*/ 863577 h 3682908"/>
                <a:gd name="connsiteX2755" fmla="*/ 150245 w 3862373"/>
                <a:gd name="connsiteY2755" fmla="*/ 902664 h 3682908"/>
                <a:gd name="connsiteX2756" fmla="*/ 111158 w 3862373"/>
                <a:gd name="connsiteY2756" fmla="*/ 941750 h 3682908"/>
                <a:gd name="connsiteX2757" fmla="*/ 83520 w 3862373"/>
                <a:gd name="connsiteY2757" fmla="*/ 930302 h 3682908"/>
                <a:gd name="connsiteX2758" fmla="*/ 79204 w 3862373"/>
                <a:gd name="connsiteY2758" fmla="*/ 919881 h 3682908"/>
                <a:gd name="connsiteX2759" fmla="*/ 105123 w 3862373"/>
                <a:gd name="connsiteY2759" fmla="*/ 866077 h 3682908"/>
                <a:gd name="connsiteX2760" fmla="*/ 142783 w 3862373"/>
                <a:gd name="connsiteY2760" fmla="*/ 799461 h 3682908"/>
                <a:gd name="connsiteX2761" fmla="*/ 150250 w 3862373"/>
                <a:gd name="connsiteY2761" fmla="*/ 817487 h 3682908"/>
                <a:gd name="connsiteX2762" fmla="*/ 111162 w 3862373"/>
                <a:gd name="connsiteY2762" fmla="*/ 856575 h 3682908"/>
                <a:gd name="connsiteX2763" fmla="*/ 109944 w 3862373"/>
                <a:gd name="connsiteY2763" fmla="*/ 856070 h 3682908"/>
                <a:gd name="connsiteX2764" fmla="*/ 115886 w 3862373"/>
                <a:gd name="connsiteY2764" fmla="*/ 843734 h 3682908"/>
                <a:gd name="connsiteX2765" fmla="*/ 3582534 w 3862373"/>
                <a:gd name="connsiteY2765" fmla="*/ 779163 h 3682908"/>
                <a:gd name="connsiteX2766" fmla="*/ 3616309 w 3862373"/>
                <a:gd name="connsiteY2766" fmla="*/ 834758 h 3682908"/>
                <a:gd name="connsiteX2767" fmla="*/ 3612015 w 3862373"/>
                <a:gd name="connsiteY2767" fmla="*/ 845126 h 3682908"/>
                <a:gd name="connsiteX2768" fmla="*/ 3584375 w 3862373"/>
                <a:gd name="connsiteY2768" fmla="*/ 856575 h 3682908"/>
                <a:gd name="connsiteX2769" fmla="*/ 3545289 w 3862373"/>
                <a:gd name="connsiteY2769" fmla="*/ 817487 h 3682908"/>
                <a:gd name="connsiteX2770" fmla="*/ 3556737 w 3862373"/>
                <a:gd name="connsiteY2770" fmla="*/ 789849 h 3682908"/>
                <a:gd name="connsiteX2771" fmla="*/ 3489735 w 3862373"/>
                <a:gd name="connsiteY2771" fmla="*/ 778400 h 3682908"/>
                <a:gd name="connsiteX2772" fmla="*/ 3528823 w 3862373"/>
                <a:gd name="connsiteY2772" fmla="*/ 817487 h 3682908"/>
                <a:gd name="connsiteX2773" fmla="*/ 3489735 w 3862373"/>
                <a:gd name="connsiteY2773" fmla="*/ 856575 h 3682908"/>
                <a:gd name="connsiteX2774" fmla="*/ 3450649 w 3862373"/>
                <a:gd name="connsiteY2774" fmla="*/ 817487 h 3682908"/>
                <a:gd name="connsiteX2775" fmla="*/ 3489735 w 3862373"/>
                <a:gd name="connsiteY2775" fmla="*/ 778400 h 3682908"/>
                <a:gd name="connsiteX2776" fmla="*/ 3392730 w 3862373"/>
                <a:gd name="connsiteY2776" fmla="*/ 778400 h 3682908"/>
                <a:gd name="connsiteX2777" fmla="*/ 3431817 w 3862373"/>
                <a:gd name="connsiteY2777" fmla="*/ 817487 h 3682908"/>
                <a:gd name="connsiteX2778" fmla="*/ 3392730 w 3862373"/>
                <a:gd name="connsiteY2778" fmla="*/ 856575 h 3682908"/>
                <a:gd name="connsiteX2779" fmla="*/ 3353643 w 3862373"/>
                <a:gd name="connsiteY2779" fmla="*/ 817487 h 3682908"/>
                <a:gd name="connsiteX2780" fmla="*/ 3392730 w 3862373"/>
                <a:gd name="connsiteY2780" fmla="*/ 778400 h 3682908"/>
                <a:gd name="connsiteX2781" fmla="*/ 3300455 w 3862373"/>
                <a:gd name="connsiteY2781" fmla="*/ 778400 h 3682908"/>
                <a:gd name="connsiteX2782" fmla="*/ 3339543 w 3862373"/>
                <a:gd name="connsiteY2782" fmla="*/ 817487 h 3682908"/>
                <a:gd name="connsiteX2783" fmla="*/ 3300455 w 3862373"/>
                <a:gd name="connsiteY2783" fmla="*/ 856575 h 3682908"/>
                <a:gd name="connsiteX2784" fmla="*/ 3261368 w 3862373"/>
                <a:gd name="connsiteY2784" fmla="*/ 817487 h 3682908"/>
                <a:gd name="connsiteX2785" fmla="*/ 3300455 w 3862373"/>
                <a:gd name="connsiteY2785" fmla="*/ 778400 h 3682908"/>
                <a:gd name="connsiteX2786" fmla="*/ 3205815 w 3862373"/>
                <a:gd name="connsiteY2786" fmla="*/ 778400 h 3682908"/>
                <a:gd name="connsiteX2787" fmla="*/ 3244902 w 3862373"/>
                <a:gd name="connsiteY2787" fmla="*/ 817487 h 3682908"/>
                <a:gd name="connsiteX2788" fmla="*/ 3205815 w 3862373"/>
                <a:gd name="connsiteY2788" fmla="*/ 856575 h 3682908"/>
                <a:gd name="connsiteX2789" fmla="*/ 3166728 w 3862373"/>
                <a:gd name="connsiteY2789" fmla="*/ 817487 h 3682908"/>
                <a:gd name="connsiteX2790" fmla="*/ 3205815 w 3862373"/>
                <a:gd name="connsiteY2790" fmla="*/ 778400 h 3682908"/>
                <a:gd name="connsiteX2791" fmla="*/ 3111175 w 3862373"/>
                <a:gd name="connsiteY2791" fmla="*/ 778400 h 3682908"/>
                <a:gd name="connsiteX2792" fmla="*/ 3150262 w 3862373"/>
                <a:gd name="connsiteY2792" fmla="*/ 817487 h 3682908"/>
                <a:gd name="connsiteX2793" fmla="*/ 3111175 w 3862373"/>
                <a:gd name="connsiteY2793" fmla="*/ 856575 h 3682908"/>
                <a:gd name="connsiteX2794" fmla="*/ 3072088 w 3862373"/>
                <a:gd name="connsiteY2794" fmla="*/ 817487 h 3682908"/>
                <a:gd name="connsiteX2795" fmla="*/ 3111175 w 3862373"/>
                <a:gd name="connsiteY2795" fmla="*/ 778400 h 3682908"/>
                <a:gd name="connsiteX2796" fmla="*/ 3018901 w 3862373"/>
                <a:gd name="connsiteY2796" fmla="*/ 778400 h 3682908"/>
                <a:gd name="connsiteX2797" fmla="*/ 3057988 w 3862373"/>
                <a:gd name="connsiteY2797" fmla="*/ 817487 h 3682908"/>
                <a:gd name="connsiteX2798" fmla="*/ 3018901 w 3862373"/>
                <a:gd name="connsiteY2798" fmla="*/ 856575 h 3682908"/>
                <a:gd name="connsiteX2799" fmla="*/ 2979813 w 3862373"/>
                <a:gd name="connsiteY2799" fmla="*/ 817487 h 3682908"/>
                <a:gd name="connsiteX2800" fmla="*/ 3018901 w 3862373"/>
                <a:gd name="connsiteY2800" fmla="*/ 778400 h 3682908"/>
                <a:gd name="connsiteX2801" fmla="*/ 2831986 w 3862373"/>
                <a:gd name="connsiteY2801" fmla="*/ 778400 h 3682908"/>
                <a:gd name="connsiteX2802" fmla="*/ 2871073 w 3862373"/>
                <a:gd name="connsiteY2802" fmla="*/ 817487 h 3682908"/>
                <a:gd name="connsiteX2803" fmla="*/ 2831986 w 3862373"/>
                <a:gd name="connsiteY2803" fmla="*/ 856575 h 3682908"/>
                <a:gd name="connsiteX2804" fmla="*/ 2792899 w 3862373"/>
                <a:gd name="connsiteY2804" fmla="*/ 817487 h 3682908"/>
                <a:gd name="connsiteX2805" fmla="*/ 2831986 w 3862373"/>
                <a:gd name="connsiteY2805" fmla="*/ 778400 h 3682908"/>
                <a:gd name="connsiteX2806" fmla="*/ 2737371 w 3862373"/>
                <a:gd name="connsiteY2806" fmla="*/ 778400 h 3682908"/>
                <a:gd name="connsiteX2807" fmla="*/ 2776433 w 3862373"/>
                <a:gd name="connsiteY2807" fmla="*/ 817487 h 3682908"/>
                <a:gd name="connsiteX2808" fmla="*/ 2737371 w 3862373"/>
                <a:gd name="connsiteY2808" fmla="*/ 856575 h 3682908"/>
                <a:gd name="connsiteX2809" fmla="*/ 2698271 w 3862373"/>
                <a:gd name="connsiteY2809" fmla="*/ 817487 h 3682908"/>
                <a:gd name="connsiteX2810" fmla="*/ 2737371 w 3862373"/>
                <a:gd name="connsiteY2810" fmla="*/ 778400 h 3682908"/>
                <a:gd name="connsiteX2811" fmla="*/ 2645073 w 3862373"/>
                <a:gd name="connsiteY2811" fmla="*/ 778400 h 3682908"/>
                <a:gd name="connsiteX2812" fmla="*/ 2684167 w 3862373"/>
                <a:gd name="connsiteY2812" fmla="*/ 817487 h 3682908"/>
                <a:gd name="connsiteX2813" fmla="*/ 2645073 w 3862373"/>
                <a:gd name="connsiteY2813" fmla="*/ 856575 h 3682908"/>
                <a:gd name="connsiteX2814" fmla="*/ 2605987 w 3862373"/>
                <a:gd name="connsiteY2814" fmla="*/ 817487 h 3682908"/>
                <a:gd name="connsiteX2815" fmla="*/ 2645073 w 3862373"/>
                <a:gd name="connsiteY2815" fmla="*/ 778400 h 3682908"/>
                <a:gd name="connsiteX2816" fmla="*/ 1703431 w 3862373"/>
                <a:gd name="connsiteY2816" fmla="*/ 778400 h 3682908"/>
                <a:gd name="connsiteX2817" fmla="*/ 1742522 w 3862373"/>
                <a:gd name="connsiteY2817" fmla="*/ 817487 h 3682908"/>
                <a:gd name="connsiteX2818" fmla="*/ 1703431 w 3862373"/>
                <a:gd name="connsiteY2818" fmla="*/ 856575 h 3682908"/>
                <a:gd name="connsiteX2819" fmla="*/ 1664349 w 3862373"/>
                <a:gd name="connsiteY2819" fmla="*/ 817487 h 3682908"/>
                <a:gd name="connsiteX2820" fmla="*/ 1703431 w 3862373"/>
                <a:gd name="connsiteY2820" fmla="*/ 778400 h 3682908"/>
                <a:gd name="connsiteX2821" fmla="*/ 1045724 w 3862373"/>
                <a:gd name="connsiteY2821" fmla="*/ 778400 h 3682908"/>
                <a:gd name="connsiteX2822" fmla="*/ 1084813 w 3862373"/>
                <a:gd name="connsiteY2822" fmla="*/ 817487 h 3682908"/>
                <a:gd name="connsiteX2823" fmla="*/ 1045724 w 3862373"/>
                <a:gd name="connsiteY2823" fmla="*/ 856575 h 3682908"/>
                <a:gd name="connsiteX2824" fmla="*/ 1006642 w 3862373"/>
                <a:gd name="connsiteY2824" fmla="*/ 817487 h 3682908"/>
                <a:gd name="connsiteX2825" fmla="*/ 1045724 w 3862373"/>
                <a:gd name="connsiteY2825" fmla="*/ 778400 h 3682908"/>
                <a:gd name="connsiteX2826" fmla="*/ 669571 w 3862373"/>
                <a:gd name="connsiteY2826" fmla="*/ 778400 h 3682908"/>
                <a:gd name="connsiteX2827" fmla="*/ 708668 w 3862373"/>
                <a:gd name="connsiteY2827" fmla="*/ 817487 h 3682908"/>
                <a:gd name="connsiteX2828" fmla="*/ 669571 w 3862373"/>
                <a:gd name="connsiteY2828" fmla="*/ 856575 h 3682908"/>
                <a:gd name="connsiteX2829" fmla="*/ 630491 w 3862373"/>
                <a:gd name="connsiteY2829" fmla="*/ 817487 h 3682908"/>
                <a:gd name="connsiteX2830" fmla="*/ 669571 w 3862373"/>
                <a:gd name="connsiteY2830" fmla="*/ 778400 h 3682908"/>
                <a:gd name="connsiteX2831" fmla="*/ 577286 w 3862373"/>
                <a:gd name="connsiteY2831" fmla="*/ 778400 h 3682908"/>
                <a:gd name="connsiteX2832" fmla="*/ 616386 w 3862373"/>
                <a:gd name="connsiteY2832" fmla="*/ 817487 h 3682908"/>
                <a:gd name="connsiteX2833" fmla="*/ 577286 w 3862373"/>
                <a:gd name="connsiteY2833" fmla="*/ 856575 h 3682908"/>
                <a:gd name="connsiteX2834" fmla="*/ 538187 w 3862373"/>
                <a:gd name="connsiteY2834" fmla="*/ 817487 h 3682908"/>
                <a:gd name="connsiteX2835" fmla="*/ 577286 w 3862373"/>
                <a:gd name="connsiteY2835" fmla="*/ 778400 h 3682908"/>
                <a:gd name="connsiteX2836" fmla="*/ 484999 w 3862373"/>
                <a:gd name="connsiteY2836" fmla="*/ 778400 h 3682908"/>
                <a:gd name="connsiteX2837" fmla="*/ 524083 w 3862373"/>
                <a:gd name="connsiteY2837" fmla="*/ 817487 h 3682908"/>
                <a:gd name="connsiteX2838" fmla="*/ 484999 w 3862373"/>
                <a:gd name="connsiteY2838" fmla="*/ 856575 h 3682908"/>
                <a:gd name="connsiteX2839" fmla="*/ 445926 w 3862373"/>
                <a:gd name="connsiteY2839" fmla="*/ 817487 h 3682908"/>
                <a:gd name="connsiteX2840" fmla="*/ 484999 w 3862373"/>
                <a:gd name="connsiteY2840" fmla="*/ 778400 h 3682908"/>
                <a:gd name="connsiteX2841" fmla="*/ 390347 w 3862373"/>
                <a:gd name="connsiteY2841" fmla="*/ 778400 h 3682908"/>
                <a:gd name="connsiteX2842" fmla="*/ 429451 w 3862373"/>
                <a:gd name="connsiteY2842" fmla="*/ 817487 h 3682908"/>
                <a:gd name="connsiteX2843" fmla="*/ 390347 w 3862373"/>
                <a:gd name="connsiteY2843" fmla="*/ 856575 h 3682908"/>
                <a:gd name="connsiteX2844" fmla="*/ 351281 w 3862373"/>
                <a:gd name="connsiteY2844" fmla="*/ 817487 h 3682908"/>
                <a:gd name="connsiteX2845" fmla="*/ 390347 w 3862373"/>
                <a:gd name="connsiteY2845" fmla="*/ 778400 h 3682908"/>
                <a:gd name="connsiteX2846" fmla="*/ 298081 w 3862373"/>
                <a:gd name="connsiteY2846" fmla="*/ 778400 h 3682908"/>
                <a:gd name="connsiteX2847" fmla="*/ 337179 w 3862373"/>
                <a:gd name="connsiteY2847" fmla="*/ 817487 h 3682908"/>
                <a:gd name="connsiteX2848" fmla="*/ 298081 w 3862373"/>
                <a:gd name="connsiteY2848" fmla="*/ 856575 h 3682908"/>
                <a:gd name="connsiteX2849" fmla="*/ 258991 w 3862373"/>
                <a:gd name="connsiteY2849" fmla="*/ 817487 h 3682908"/>
                <a:gd name="connsiteX2850" fmla="*/ 298081 w 3862373"/>
                <a:gd name="connsiteY2850" fmla="*/ 778400 h 3682908"/>
                <a:gd name="connsiteX2851" fmla="*/ 203435 w 3862373"/>
                <a:gd name="connsiteY2851" fmla="*/ 778400 h 3682908"/>
                <a:gd name="connsiteX2852" fmla="*/ 242524 w 3862373"/>
                <a:gd name="connsiteY2852" fmla="*/ 817487 h 3682908"/>
                <a:gd name="connsiteX2853" fmla="*/ 203435 w 3862373"/>
                <a:gd name="connsiteY2853" fmla="*/ 856575 h 3682908"/>
                <a:gd name="connsiteX2854" fmla="*/ 164349 w 3862373"/>
                <a:gd name="connsiteY2854" fmla="*/ 817487 h 3682908"/>
                <a:gd name="connsiteX2855" fmla="*/ 203435 w 3862373"/>
                <a:gd name="connsiteY2855" fmla="*/ 778400 h 3682908"/>
                <a:gd name="connsiteX2856" fmla="*/ 3548266 w 3862373"/>
                <a:gd name="connsiteY2856" fmla="*/ 722756 h 3682908"/>
                <a:gd name="connsiteX2857" fmla="*/ 3573690 w 3862373"/>
                <a:gd name="connsiteY2857" fmla="*/ 764605 h 3682908"/>
                <a:gd name="connsiteX2858" fmla="*/ 3556737 w 3862373"/>
                <a:gd name="connsiteY2858" fmla="*/ 757582 h 3682908"/>
                <a:gd name="connsiteX2859" fmla="*/ 3545289 w 3862373"/>
                <a:gd name="connsiteY2859" fmla="*/ 729943 h 3682908"/>
                <a:gd name="connsiteX2860" fmla="*/ 207691 w 3862373"/>
                <a:gd name="connsiteY2860" fmla="*/ 692618 h 3682908"/>
                <a:gd name="connsiteX2861" fmla="*/ 231082 w 3862373"/>
                <a:gd name="connsiteY2861" fmla="*/ 702305 h 3682908"/>
                <a:gd name="connsiteX2862" fmla="*/ 242530 w 3862373"/>
                <a:gd name="connsiteY2862" fmla="*/ 729943 h 3682908"/>
                <a:gd name="connsiteX2863" fmla="*/ 203440 w 3862373"/>
                <a:gd name="connsiteY2863" fmla="*/ 769031 h 3682908"/>
                <a:gd name="connsiteX2864" fmla="*/ 175804 w 3862373"/>
                <a:gd name="connsiteY2864" fmla="*/ 757582 h 3682908"/>
                <a:gd name="connsiteX2865" fmla="*/ 172731 w 3862373"/>
                <a:gd name="connsiteY2865" fmla="*/ 750164 h 3682908"/>
                <a:gd name="connsiteX2866" fmla="*/ 3489735 w 3862373"/>
                <a:gd name="connsiteY2866" fmla="*/ 690857 h 3682908"/>
                <a:gd name="connsiteX2867" fmla="*/ 3528822 w 3862373"/>
                <a:gd name="connsiteY2867" fmla="*/ 729943 h 3682908"/>
                <a:gd name="connsiteX2868" fmla="*/ 3489735 w 3862373"/>
                <a:gd name="connsiteY2868" fmla="*/ 769031 h 3682908"/>
                <a:gd name="connsiteX2869" fmla="*/ 3450647 w 3862373"/>
                <a:gd name="connsiteY2869" fmla="*/ 729943 h 3682908"/>
                <a:gd name="connsiteX2870" fmla="*/ 3489735 w 3862373"/>
                <a:gd name="connsiteY2870" fmla="*/ 690857 h 3682908"/>
                <a:gd name="connsiteX2871" fmla="*/ 3392730 w 3862373"/>
                <a:gd name="connsiteY2871" fmla="*/ 690857 h 3682908"/>
                <a:gd name="connsiteX2872" fmla="*/ 3431817 w 3862373"/>
                <a:gd name="connsiteY2872" fmla="*/ 729943 h 3682908"/>
                <a:gd name="connsiteX2873" fmla="*/ 3392730 w 3862373"/>
                <a:gd name="connsiteY2873" fmla="*/ 769031 h 3682908"/>
                <a:gd name="connsiteX2874" fmla="*/ 3353643 w 3862373"/>
                <a:gd name="connsiteY2874" fmla="*/ 729943 h 3682908"/>
                <a:gd name="connsiteX2875" fmla="*/ 3392730 w 3862373"/>
                <a:gd name="connsiteY2875" fmla="*/ 690857 h 3682908"/>
                <a:gd name="connsiteX2876" fmla="*/ 3300455 w 3862373"/>
                <a:gd name="connsiteY2876" fmla="*/ 690857 h 3682908"/>
                <a:gd name="connsiteX2877" fmla="*/ 3339542 w 3862373"/>
                <a:gd name="connsiteY2877" fmla="*/ 729944 h 3682908"/>
                <a:gd name="connsiteX2878" fmla="*/ 3300455 w 3862373"/>
                <a:gd name="connsiteY2878" fmla="*/ 769031 h 3682908"/>
                <a:gd name="connsiteX2879" fmla="*/ 3261368 w 3862373"/>
                <a:gd name="connsiteY2879" fmla="*/ 729944 h 3682908"/>
                <a:gd name="connsiteX2880" fmla="*/ 3300455 w 3862373"/>
                <a:gd name="connsiteY2880" fmla="*/ 690857 h 3682908"/>
                <a:gd name="connsiteX2881" fmla="*/ 3205815 w 3862373"/>
                <a:gd name="connsiteY2881" fmla="*/ 690857 h 3682908"/>
                <a:gd name="connsiteX2882" fmla="*/ 3244902 w 3862373"/>
                <a:gd name="connsiteY2882" fmla="*/ 729943 h 3682908"/>
                <a:gd name="connsiteX2883" fmla="*/ 3205815 w 3862373"/>
                <a:gd name="connsiteY2883" fmla="*/ 769031 h 3682908"/>
                <a:gd name="connsiteX2884" fmla="*/ 3166728 w 3862373"/>
                <a:gd name="connsiteY2884" fmla="*/ 729943 h 3682908"/>
                <a:gd name="connsiteX2885" fmla="*/ 3205815 w 3862373"/>
                <a:gd name="connsiteY2885" fmla="*/ 690857 h 3682908"/>
                <a:gd name="connsiteX2886" fmla="*/ 3111175 w 3862373"/>
                <a:gd name="connsiteY2886" fmla="*/ 690857 h 3682908"/>
                <a:gd name="connsiteX2887" fmla="*/ 3150262 w 3862373"/>
                <a:gd name="connsiteY2887" fmla="*/ 729944 h 3682908"/>
                <a:gd name="connsiteX2888" fmla="*/ 3111175 w 3862373"/>
                <a:gd name="connsiteY2888" fmla="*/ 769031 h 3682908"/>
                <a:gd name="connsiteX2889" fmla="*/ 3072088 w 3862373"/>
                <a:gd name="connsiteY2889" fmla="*/ 729944 h 3682908"/>
                <a:gd name="connsiteX2890" fmla="*/ 3111175 w 3862373"/>
                <a:gd name="connsiteY2890" fmla="*/ 690857 h 3682908"/>
                <a:gd name="connsiteX2891" fmla="*/ 3018901 w 3862373"/>
                <a:gd name="connsiteY2891" fmla="*/ 690857 h 3682908"/>
                <a:gd name="connsiteX2892" fmla="*/ 3057988 w 3862373"/>
                <a:gd name="connsiteY2892" fmla="*/ 729944 h 3682908"/>
                <a:gd name="connsiteX2893" fmla="*/ 3018901 w 3862373"/>
                <a:gd name="connsiteY2893" fmla="*/ 769031 h 3682908"/>
                <a:gd name="connsiteX2894" fmla="*/ 2979813 w 3862373"/>
                <a:gd name="connsiteY2894" fmla="*/ 729944 h 3682908"/>
                <a:gd name="connsiteX2895" fmla="*/ 3018901 w 3862373"/>
                <a:gd name="connsiteY2895" fmla="*/ 690857 h 3682908"/>
                <a:gd name="connsiteX2896" fmla="*/ 2924262 w 3862373"/>
                <a:gd name="connsiteY2896" fmla="*/ 690857 h 3682908"/>
                <a:gd name="connsiteX2897" fmla="*/ 2963349 w 3862373"/>
                <a:gd name="connsiteY2897" fmla="*/ 729943 h 3682908"/>
                <a:gd name="connsiteX2898" fmla="*/ 2924262 w 3862373"/>
                <a:gd name="connsiteY2898" fmla="*/ 769031 h 3682908"/>
                <a:gd name="connsiteX2899" fmla="*/ 2885175 w 3862373"/>
                <a:gd name="connsiteY2899" fmla="*/ 729943 h 3682908"/>
                <a:gd name="connsiteX2900" fmla="*/ 2924262 w 3862373"/>
                <a:gd name="connsiteY2900" fmla="*/ 690857 h 3682908"/>
                <a:gd name="connsiteX2901" fmla="*/ 2831986 w 3862373"/>
                <a:gd name="connsiteY2901" fmla="*/ 690857 h 3682908"/>
                <a:gd name="connsiteX2902" fmla="*/ 2871073 w 3862373"/>
                <a:gd name="connsiteY2902" fmla="*/ 729944 h 3682908"/>
                <a:gd name="connsiteX2903" fmla="*/ 2831986 w 3862373"/>
                <a:gd name="connsiteY2903" fmla="*/ 769031 h 3682908"/>
                <a:gd name="connsiteX2904" fmla="*/ 2792899 w 3862373"/>
                <a:gd name="connsiteY2904" fmla="*/ 729944 h 3682908"/>
                <a:gd name="connsiteX2905" fmla="*/ 2831986 w 3862373"/>
                <a:gd name="connsiteY2905" fmla="*/ 690857 h 3682908"/>
                <a:gd name="connsiteX2906" fmla="*/ 2737373 w 3862373"/>
                <a:gd name="connsiteY2906" fmla="*/ 690857 h 3682908"/>
                <a:gd name="connsiteX2907" fmla="*/ 2776434 w 3862373"/>
                <a:gd name="connsiteY2907" fmla="*/ 729944 h 3682908"/>
                <a:gd name="connsiteX2908" fmla="*/ 2737373 w 3862373"/>
                <a:gd name="connsiteY2908" fmla="*/ 769031 h 3682908"/>
                <a:gd name="connsiteX2909" fmla="*/ 2698271 w 3862373"/>
                <a:gd name="connsiteY2909" fmla="*/ 729944 h 3682908"/>
                <a:gd name="connsiteX2910" fmla="*/ 2737373 w 3862373"/>
                <a:gd name="connsiteY2910" fmla="*/ 690857 h 3682908"/>
                <a:gd name="connsiteX2911" fmla="*/ 2266534 w 3862373"/>
                <a:gd name="connsiteY2911" fmla="*/ 690857 h 3682908"/>
                <a:gd name="connsiteX2912" fmla="*/ 2305617 w 3862373"/>
                <a:gd name="connsiteY2912" fmla="*/ 729943 h 3682908"/>
                <a:gd name="connsiteX2913" fmla="*/ 2266534 w 3862373"/>
                <a:gd name="connsiteY2913" fmla="*/ 769031 h 3682908"/>
                <a:gd name="connsiteX2914" fmla="*/ 2227440 w 3862373"/>
                <a:gd name="connsiteY2914" fmla="*/ 729943 h 3682908"/>
                <a:gd name="connsiteX2915" fmla="*/ 2266534 w 3862373"/>
                <a:gd name="connsiteY2915" fmla="*/ 690857 h 3682908"/>
                <a:gd name="connsiteX2916" fmla="*/ 2171886 w 3862373"/>
                <a:gd name="connsiteY2916" fmla="*/ 690857 h 3682908"/>
                <a:gd name="connsiteX2917" fmla="*/ 2210979 w 3862373"/>
                <a:gd name="connsiteY2917" fmla="*/ 729944 h 3682908"/>
                <a:gd name="connsiteX2918" fmla="*/ 2171886 w 3862373"/>
                <a:gd name="connsiteY2918" fmla="*/ 769031 h 3682908"/>
                <a:gd name="connsiteX2919" fmla="*/ 2132800 w 3862373"/>
                <a:gd name="connsiteY2919" fmla="*/ 729944 h 3682908"/>
                <a:gd name="connsiteX2920" fmla="*/ 2171886 w 3862373"/>
                <a:gd name="connsiteY2920" fmla="*/ 690857 h 3682908"/>
                <a:gd name="connsiteX2921" fmla="*/ 2079612 w 3862373"/>
                <a:gd name="connsiteY2921" fmla="*/ 690857 h 3682908"/>
                <a:gd name="connsiteX2922" fmla="*/ 2118698 w 3862373"/>
                <a:gd name="connsiteY2922" fmla="*/ 729944 h 3682908"/>
                <a:gd name="connsiteX2923" fmla="*/ 2079612 w 3862373"/>
                <a:gd name="connsiteY2923" fmla="*/ 769031 h 3682908"/>
                <a:gd name="connsiteX2924" fmla="*/ 2040529 w 3862373"/>
                <a:gd name="connsiteY2924" fmla="*/ 729944 h 3682908"/>
                <a:gd name="connsiteX2925" fmla="*/ 2079612 w 3862373"/>
                <a:gd name="connsiteY2925" fmla="*/ 690857 h 3682908"/>
                <a:gd name="connsiteX2926" fmla="*/ 1703432 w 3862373"/>
                <a:gd name="connsiteY2926" fmla="*/ 690857 h 3682908"/>
                <a:gd name="connsiteX2927" fmla="*/ 1742522 w 3862373"/>
                <a:gd name="connsiteY2927" fmla="*/ 729943 h 3682908"/>
                <a:gd name="connsiteX2928" fmla="*/ 1703432 w 3862373"/>
                <a:gd name="connsiteY2928" fmla="*/ 769031 h 3682908"/>
                <a:gd name="connsiteX2929" fmla="*/ 1664351 w 3862373"/>
                <a:gd name="connsiteY2929" fmla="*/ 729943 h 3682908"/>
                <a:gd name="connsiteX2930" fmla="*/ 1703432 w 3862373"/>
                <a:gd name="connsiteY2930" fmla="*/ 690857 h 3682908"/>
                <a:gd name="connsiteX2931" fmla="*/ 1611147 w 3862373"/>
                <a:gd name="connsiteY2931" fmla="*/ 690857 h 3682908"/>
                <a:gd name="connsiteX2932" fmla="*/ 1650245 w 3862373"/>
                <a:gd name="connsiteY2932" fmla="*/ 729944 h 3682908"/>
                <a:gd name="connsiteX2933" fmla="*/ 1611147 w 3862373"/>
                <a:gd name="connsiteY2933" fmla="*/ 769031 h 3682908"/>
                <a:gd name="connsiteX2934" fmla="*/ 1572133 w 3862373"/>
                <a:gd name="connsiteY2934" fmla="*/ 729944 h 3682908"/>
                <a:gd name="connsiteX2935" fmla="*/ 1611147 w 3862373"/>
                <a:gd name="connsiteY2935" fmla="*/ 690857 h 3682908"/>
                <a:gd name="connsiteX2936" fmla="*/ 1232669 w 3862373"/>
                <a:gd name="connsiteY2936" fmla="*/ 690857 h 3682908"/>
                <a:gd name="connsiteX2937" fmla="*/ 1271741 w 3862373"/>
                <a:gd name="connsiteY2937" fmla="*/ 729943 h 3682908"/>
                <a:gd name="connsiteX2938" fmla="*/ 1232669 w 3862373"/>
                <a:gd name="connsiteY2938" fmla="*/ 769031 h 3682908"/>
                <a:gd name="connsiteX2939" fmla="*/ 1193583 w 3862373"/>
                <a:gd name="connsiteY2939" fmla="*/ 729943 h 3682908"/>
                <a:gd name="connsiteX2940" fmla="*/ 1232669 w 3862373"/>
                <a:gd name="connsiteY2940" fmla="*/ 690857 h 3682908"/>
                <a:gd name="connsiteX2941" fmla="*/ 1142756 w 3862373"/>
                <a:gd name="connsiteY2941" fmla="*/ 690857 h 3682908"/>
                <a:gd name="connsiteX2942" fmla="*/ 1181847 w 3862373"/>
                <a:gd name="connsiteY2942" fmla="*/ 729944 h 3682908"/>
                <a:gd name="connsiteX2943" fmla="*/ 1142756 w 3862373"/>
                <a:gd name="connsiteY2943" fmla="*/ 769031 h 3682908"/>
                <a:gd name="connsiteX2944" fmla="*/ 1103656 w 3862373"/>
                <a:gd name="connsiteY2944" fmla="*/ 729944 h 3682908"/>
                <a:gd name="connsiteX2945" fmla="*/ 1142756 w 3862373"/>
                <a:gd name="connsiteY2945" fmla="*/ 690857 h 3682908"/>
                <a:gd name="connsiteX2946" fmla="*/ 856480 w 3862373"/>
                <a:gd name="connsiteY2946" fmla="*/ 690857 h 3682908"/>
                <a:gd name="connsiteX2947" fmla="*/ 895560 w 3862373"/>
                <a:gd name="connsiteY2947" fmla="*/ 729943 h 3682908"/>
                <a:gd name="connsiteX2948" fmla="*/ 856480 w 3862373"/>
                <a:gd name="connsiteY2948" fmla="*/ 769031 h 3682908"/>
                <a:gd name="connsiteX2949" fmla="*/ 817401 w 3862373"/>
                <a:gd name="connsiteY2949" fmla="*/ 729943 h 3682908"/>
                <a:gd name="connsiteX2950" fmla="*/ 856480 w 3862373"/>
                <a:gd name="connsiteY2950" fmla="*/ 690857 h 3682908"/>
                <a:gd name="connsiteX2951" fmla="*/ 764220 w 3862373"/>
                <a:gd name="connsiteY2951" fmla="*/ 690857 h 3682908"/>
                <a:gd name="connsiteX2952" fmla="*/ 803302 w 3862373"/>
                <a:gd name="connsiteY2952" fmla="*/ 729944 h 3682908"/>
                <a:gd name="connsiteX2953" fmla="*/ 764220 w 3862373"/>
                <a:gd name="connsiteY2953" fmla="*/ 769031 h 3682908"/>
                <a:gd name="connsiteX2954" fmla="*/ 725137 w 3862373"/>
                <a:gd name="connsiteY2954" fmla="*/ 729944 h 3682908"/>
                <a:gd name="connsiteX2955" fmla="*/ 764220 w 3862373"/>
                <a:gd name="connsiteY2955" fmla="*/ 690857 h 3682908"/>
                <a:gd name="connsiteX2956" fmla="*/ 669571 w 3862373"/>
                <a:gd name="connsiteY2956" fmla="*/ 690857 h 3682908"/>
                <a:gd name="connsiteX2957" fmla="*/ 708675 w 3862373"/>
                <a:gd name="connsiteY2957" fmla="*/ 729943 h 3682908"/>
                <a:gd name="connsiteX2958" fmla="*/ 669571 w 3862373"/>
                <a:gd name="connsiteY2958" fmla="*/ 769031 h 3682908"/>
                <a:gd name="connsiteX2959" fmla="*/ 630497 w 3862373"/>
                <a:gd name="connsiteY2959" fmla="*/ 729943 h 3682908"/>
                <a:gd name="connsiteX2960" fmla="*/ 669571 w 3862373"/>
                <a:gd name="connsiteY2960" fmla="*/ 690857 h 3682908"/>
                <a:gd name="connsiteX2961" fmla="*/ 577293 w 3862373"/>
                <a:gd name="connsiteY2961" fmla="*/ 690857 h 3682908"/>
                <a:gd name="connsiteX2962" fmla="*/ 616393 w 3862373"/>
                <a:gd name="connsiteY2962" fmla="*/ 729943 h 3682908"/>
                <a:gd name="connsiteX2963" fmla="*/ 577293 w 3862373"/>
                <a:gd name="connsiteY2963" fmla="*/ 769031 h 3682908"/>
                <a:gd name="connsiteX2964" fmla="*/ 538195 w 3862373"/>
                <a:gd name="connsiteY2964" fmla="*/ 729943 h 3682908"/>
                <a:gd name="connsiteX2965" fmla="*/ 577293 w 3862373"/>
                <a:gd name="connsiteY2965" fmla="*/ 690857 h 3682908"/>
                <a:gd name="connsiteX2966" fmla="*/ 485003 w 3862373"/>
                <a:gd name="connsiteY2966" fmla="*/ 690857 h 3682908"/>
                <a:gd name="connsiteX2967" fmla="*/ 524091 w 3862373"/>
                <a:gd name="connsiteY2967" fmla="*/ 729943 h 3682908"/>
                <a:gd name="connsiteX2968" fmla="*/ 485003 w 3862373"/>
                <a:gd name="connsiteY2968" fmla="*/ 769031 h 3682908"/>
                <a:gd name="connsiteX2969" fmla="*/ 445934 w 3862373"/>
                <a:gd name="connsiteY2969" fmla="*/ 729943 h 3682908"/>
                <a:gd name="connsiteX2970" fmla="*/ 485003 w 3862373"/>
                <a:gd name="connsiteY2970" fmla="*/ 690857 h 3682908"/>
                <a:gd name="connsiteX2971" fmla="*/ 390354 w 3862373"/>
                <a:gd name="connsiteY2971" fmla="*/ 690857 h 3682908"/>
                <a:gd name="connsiteX2972" fmla="*/ 429457 w 3862373"/>
                <a:gd name="connsiteY2972" fmla="*/ 729943 h 3682908"/>
                <a:gd name="connsiteX2973" fmla="*/ 390354 w 3862373"/>
                <a:gd name="connsiteY2973" fmla="*/ 769031 h 3682908"/>
                <a:gd name="connsiteX2974" fmla="*/ 351287 w 3862373"/>
                <a:gd name="connsiteY2974" fmla="*/ 729943 h 3682908"/>
                <a:gd name="connsiteX2975" fmla="*/ 390354 w 3862373"/>
                <a:gd name="connsiteY2975" fmla="*/ 690857 h 3682908"/>
                <a:gd name="connsiteX2976" fmla="*/ 298087 w 3862373"/>
                <a:gd name="connsiteY2976" fmla="*/ 690857 h 3682908"/>
                <a:gd name="connsiteX2977" fmla="*/ 337188 w 3862373"/>
                <a:gd name="connsiteY2977" fmla="*/ 729943 h 3682908"/>
                <a:gd name="connsiteX2978" fmla="*/ 298087 w 3862373"/>
                <a:gd name="connsiteY2978" fmla="*/ 769031 h 3682908"/>
                <a:gd name="connsiteX2979" fmla="*/ 258997 w 3862373"/>
                <a:gd name="connsiteY2979" fmla="*/ 729943 h 3682908"/>
                <a:gd name="connsiteX2980" fmla="*/ 298087 w 3862373"/>
                <a:gd name="connsiteY2980" fmla="*/ 690857 h 3682908"/>
                <a:gd name="connsiteX2981" fmla="*/ 242207 w 3862373"/>
                <a:gd name="connsiteY2981" fmla="*/ 643975 h 3682908"/>
                <a:gd name="connsiteX2982" fmla="*/ 242535 w 3862373"/>
                <a:gd name="connsiteY2982" fmla="*/ 644768 h 3682908"/>
                <a:gd name="connsiteX2983" fmla="*/ 231087 w 3862373"/>
                <a:gd name="connsiteY2983" fmla="*/ 672407 h 3682908"/>
                <a:gd name="connsiteX2984" fmla="*/ 216396 w 3862373"/>
                <a:gd name="connsiteY2984" fmla="*/ 678492 h 3682908"/>
                <a:gd name="connsiteX2985" fmla="*/ 3472229 w 3862373"/>
                <a:gd name="connsiteY2985" fmla="*/ 612933 h 3682908"/>
                <a:gd name="connsiteX2986" fmla="*/ 3516862 w 3862373"/>
                <a:gd name="connsiteY2986" fmla="*/ 672620 h 3682908"/>
                <a:gd name="connsiteX2987" fmla="*/ 3489735 w 3862373"/>
                <a:gd name="connsiteY2987" fmla="*/ 683855 h 3682908"/>
                <a:gd name="connsiteX2988" fmla="*/ 3450649 w 3862373"/>
                <a:gd name="connsiteY2988" fmla="*/ 644768 h 3682908"/>
                <a:gd name="connsiteX2989" fmla="*/ 3462097 w 3862373"/>
                <a:gd name="connsiteY2989" fmla="*/ 617130 h 3682908"/>
                <a:gd name="connsiteX2990" fmla="*/ 3392730 w 3862373"/>
                <a:gd name="connsiteY2990" fmla="*/ 605682 h 3682908"/>
                <a:gd name="connsiteX2991" fmla="*/ 3431817 w 3862373"/>
                <a:gd name="connsiteY2991" fmla="*/ 644768 h 3682908"/>
                <a:gd name="connsiteX2992" fmla="*/ 3392730 w 3862373"/>
                <a:gd name="connsiteY2992" fmla="*/ 683855 h 3682908"/>
                <a:gd name="connsiteX2993" fmla="*/ 3353643 w 3862373"/>
                <a:gd name="connsiteY2993" fmla="*/ 644768 h 3682908"/>
                <a:gd name="connsiteX2994" fmla="*/ 3392730 w 3862373"/>
                <a:gd name="connsiteY2994" fmla="*/ 605682 h 3682908"/>
                <a:gd name="connsiteX2995" fmla="*/ 3300455 w 3862373"/>
                <a:gd name="connsiteY2995" fmla="*/ 605682 h 3682908"/>
                <a:gd name="connsiteX2996" fmla="*/ 3339543 w 3862373"/>
                <a:gd name="connsiteY2996" fmla="*/ 644768 h 3682908"/>
                <a:gd name="connsiteX2997" fmla="*/ 3300455 w 3862373"/>
                <a:gd name="connsiteY2997" fmla="*/ 683855 h 3682908"/>
                <a:gd name="connsiteX2998" fmla="*/ 3261368 w 3862373"/>
                <a:gd name="connsiteY2998" fmla="*/ 644768 h 3682908"/>
                <a:gd name="connsiteX2999" fmla="*/ 3300455 w 3862373"/>
                <a:gd name="connsiteY2999" fmla="*/ 605682 h 3682908"/>
                <a:gd name="connsiteX3000" fmla="*/ 3205815 w 3862373"/>
                <a:gd name="connsiteY3000" fmla="*/ 605682 h 3682908"/>
                <a:gd name="connsiteX3001" fmla="*/ 3244903 w 3862373"/>
                <a:gd name="connsiteY3001" fmla="*/ 644768 h 3682908"/>
                <a:gd name="connsiteX3002" fmla="*/ 3205815 w 3862373"/>
                <a:gd name="connsiteY3002" fmla="*/ 683855 h 3682908"/>
                <a:gd name="connsiteX3003" fmla="*/ 3166728 w 3862373"/>
                <a:gd name="connsiteY3003" fmla="*/ 644768 h 3682908"/>
                <a:gd name="connsiteX3004" fmla="*/ 3205815 w 3862373"/>
                <a:gd name="connsiteY3004" fmla="*/ 605682 h 3682908"/>
                <a:gd name="connsiteX3005" fmla="*/ 3111175 w 3862373"/>
                <a:gd name="connsiteY3005" fmla="*/ 605682 h 3682908"/>
                <a:gd name="connsiteX3006" fmla="*/ 3150263 w 3862373"/>
                <a:gd name="connsiteY3006" fmla="*/ 644768 h 3682908"/>
                <a:gd name="connsiteX3007" fmla="*/ 3111175 w 3862373"/>
                <a:gd name="connsiteY3007" fmla="*/ 683855 h 3682908"/>
                <a:gd name="connsiteX3008" fmla="*/ 3072088 w 3862373"/>
                <a:gd name="connsiteY3008" fmla="*/ 644768 h 3682908"/>
                <a:gd name="connsiteX3009" fmla="*/ 3111175 w 3862373"/>
                <a:gd name="connsiteY3009" fmla="*/ 605682 h 3682908"/>
                <a:gd name="connsiteX3010" fmla="*/ 3018901 w 3862373"/>
                <a:gd name="connsiteY3010" fmla="*/ 605682 h 3682908"/>
                <a:gd name="connsiteX3011" fmla="*/ 3057988 w 3862373"/>
                <a:gd name="connsiteY3011" fmla="*/ 644768 h 3682908"/>
                <a:gd name="connsiteX3012" fmla="*/ 3018901 w 3862373"/>
                <a:gd name="connsiteY3012" fmla="*/ 683855 h 3682908"/>
                <a:gd name="connsiteX3013" fmla="*/ 2979813 w 3862373"/>
                <a:gd name="connsiteY3013" fmla="*/ 644768 h 3682908"/>
                <a:gd name="connsiteX3014" fmla="*/ 3018901 w 3862373"/>
                <a:gd name="connsiteY3014" fmla="*/ 605682 h 3682908"/>
                <a:gd name="connsiteX3015" fmla="*/ 2924262 w 3862373"/>
                <a:gd name="connsiteY3015" fmla="*/ 605682 h 3682908"/>
                <a:gd name="connsiteX3016" fmla="*/ 2963349 w 3862373"/>
                <a:gd name="connsiteY3016" fmla="*/ 644768 h 3682908"/>
                <a:gd name="connsiteX3017" fmla="*/ 2924262 w 3862373"/>
                <a:gd name="connsiteY3017" fmla="*/ 683855 h 3682908"/>
                <a:gd name="connsiteX3018" fmla="*/ 2885175 w 3862373"/>
                <a:gd name="connsiteY3018" fmla="*/ 644768 h 3682908"/>
                <a:gd name="connsiteX3019" fmla="*/ 2924262 w 3862373"/>
                <a:gd name="connsiteY3019" fmla="*/ 605682 h 3682908"/>
                <a:gd name="connsiteX3020" fmla="*/ 2831987 w 3862373"/>
                <a:gd name="connsiteY3020" fmla="*/ 605682 h 3682908"/>
                <a:gd name="connsiteX3021" fmla="*/ 2871074 w 3862373"/>
                <a:gd name="connsiteY3021" fmla="*/ 644768 h 3682908"/>
                <a:gd name="connsiteX3022" fmla="*/ 2831987 w 3862373"/>
                <a:gd name="connsiteY3022" fmla="*/ 683855 h 3682908"/>
                <a:gd name="connsiteX3023" fmla="*/ 2792900 w 3862373"/>
                <a:gd name="connsiteY3023" fmla="*/ 644768 h 3682908"/>
                <a:gd name="connsiteX3024" fmla="*/ 2831987 w 3862373"/>
                <a:gd name="connsiteY3024" fmla="*/ 605682 h 3682908"/>
                <a:gd name="connsiteX3025" fmla="*/ 2171887 w 3862373"/>
                <a:gd name="connsiteY3025" fmla="*/ 605682 h 3682908"/>
                <a:gd name="connsiteX3026" fmla="*/ 2210979 w 3862373"/>
                <a:gd name="connsiteY3026" fmla="*/ 644768 h 3682908"/>
                <a:gd name="connsiteX3027" fmla="*/ 2171887 w 3862373"/>
                <a:gd name="connsiteY3027" fmla="*/ 683855 h 3682908"/>
                <a:gd name="connsiteX3028" fmla="*/ 2132800 w 3862373"/>
                <a:gd name="connsiteY3028" fmla="*/ 644768 h 3682908"/>
                <a:gd name="connsiteX3029" fmla="*/ 2171887 w 3862373"/>
                <a:gd name="connsiteY3029" fmla="*/ 605682 h 3682908"/>
                <a:gd name="connsiteX3030" fmla="*/ 1798073 w 3862373"/>
                <a:gd name="connsiteY3030" fmla="*/ 605682 h 3682908"/>
                <a:gd name="connsiteX3031" fmla="*/ 1837146 w 3862373"/>
                <a:gd name="connsiteY3031" fmla="*/ 644768 h 3682908"/>
                <a:gd name="connsiteX3032" fmla="*/ 1798073 w 3862373"/>
                <a:gd name="connsiteY3032" fmla="*/ 683855 h 3682908"/>
                <a:gd name="connsiteX3033" fmla="*/ 1758966 w 3862373"/>
                <a:gd name="connsiteY3033" fmla="*/ 644768 h 3682908"/>
                <a:gd name="connsiteX3034" fmla="*/ 1798073 w 3862373"/>
                <a:gd name="connsiteY3034" fmla="*/ 605682 h 3682908"/>
                <a:gd name="connsiteX3035" fmla="*/ 1703432 w 3862373"/>
                <a:gd name="connsiteY3035" fmla="*/ 605682 h 3682908"/>
                <a:gd name="connsiteX3036" fmla="*/ 1742522 w 3862373"/>
                <a:gd name="connsiteY3036" fmla="*/ 644768 h 3682908"/>
                <a:gd name="connsiteX3037" fmla="*/ 1703432 w 3862373"/>
                <a:gd name="connsiteY3037" fmla="*/ 683855 h 3682908"/>
                <a:gd name="connsiteX3038" fmla="*/ 1664351 w 3862373"/>
                <a:gd name="connsiteY3038" fmla="*/ 644768 h 3682908"/>
                <a:gd name="connsiteX3039" fmla="*/ 1703432 w 3862373"/>
                <a:gd name="connsiteY3039" fmla="*/ 605682 h 3682908"/>
                <a:gd name="connsiteX3040" fmla="*/ 1611147 w 3862373"/>
                <a:gd name="connsiteY3040" fmla="*/ 605682 h 3682908"/>
                <a:gd name="connsiteX3041" fmla="*/ 1650245 w 3862373"/>
                <a:gd name="connsiteY3041" fmla="*/ 644768 h 3682908"/>
                <a:gd name="connsiteX3042" fmla="*/ 1611147 w 3862373"/>
                <a:gd name="connsiteY3042" fmla="*/ 683855 h 3682908"/>
                <a:gd name="connsiteX3043" fmla="*/ 1572140 w 3862373"/>
                <a:gd name="connsiteY3043" fmla="*/ 644768 h 3682908"/>
                <a:gd name="connsiteX3044" fmla="*/ 1611147 w 3862373"/>
                <a:gd name="connsiteY3044" fmla="*/ 605682 h 3682908"/>
                <a:gd name="connsiteX3045" fmla="*/ 1232676 w 3862373"/>
                <a:gd name="connsiteY3045" fmla="*/ 605682 h 3682908"/>
                <a:gd name="connsiteX3046" fmla="*/ 1271747 w 3862373"/>
                <a:gd name="connsiteY3046" fmla="*/ 644768 h 3682908"/>
                <a:gd name="connsiteX3047" fmla="*/ 1232676 w 3862373"/>
                <a:gd name="connsiteY3047" fmla="*/ 683855 h 3682908"/>
                <a:gd name="connsiteX3048" fmla="*/ 1193590 w 3862373"/>
                <a:gd name="connsiteY3048" fmla="*/ 644768 h 3682908"/>
                <a:gd name="connsiteX3049" fmla="*/ 1232676 w 3862373"/>
                <a:gd name="connsiteY3049" fmla="*/ 605682 h 3682908"/>
                <a:gd name="connsiteX3050" fmla="*/ 1142761 w 3862373"/>
                <a:gd name="connsiteY3050" fmla="*/ 605682 h 3682908"/>
                <a:gd name="connsiteX3051" fmla="*/ 1181853 w 3862373"/>
                <a:gd name="connsiteY3051" fmla="*/ 644768 h 3682908"/>
                <a:gd name="connsiteX3052" fmla="*/ 1142761 w 3862373"/>
                <a:gd name="connsiteY3052" fmla="*/ 683855 h 3682908"/>
                <a:gd name="connsiteX3053" fmla="*/ 1103661 w 3862373"/>
                <a:gd name="connsiteY3053" fmla="*/ 644768 h 3682908"/>
                <a:gd name="connsiteX3054" fmla="*/ 1142761 w 3862373"/>
                <a:gd name="connsiteY3054" fmla="*/ 605682 h 3682908"/>
                <a:gd name="connsiteX3055" fmla="*/ 1045734 w 3862373"/>
                <a:gd name="connsiteY3055" fmla="*/ 605682 h 3682908"/>
                <a:gd name="connsiteX3056" fmla="*/ 1084825 w 3862373"/>
                <a:gd name="connsiteY3056" fmla="*/ 644768 h 3682908"/>
                <a:gd name="connsiteX3057" fmla="*/ 1045734 w 3862373"/>
                <a:gd name="connsiteY3057" fmla="*/ 683855 h 3682908"/>
                <a:gd name="connsiteX3058" fmla="*/ 1006653 w 3862373"/>
                <a:gd name="connsiteY3058" fmla="*/ 644768 h 3682908"/>
                <a:gd name="connsiteX3059" fmla="*/ 1045734 w 3862373"/>
                <a:gd name="connsiteY3059" fmla="*/ 605682 h 3682908"/>
                <a:gd name="connsiteX3060" fmla="*/ 856487 w 3862373"/>
                <a:gd name="connsiteY3060" fmla="*/ 605682 h 3682908"/>
                <a:gd name="connsiteX3061" fmla="*/ 895566 w 3862373"/>
                <a:gd name="connsiteY3061" fmla="*/ 644768 h 3682908"/>
                <a:gd name="connsiteX3062" fmla="*/ 856487 w 3862373"/>
                <a:gd name="connsiteY3062" fmla="*/ 683855 h 3682908"/>
                <a:gd name="connsiteX3063" fmla="*/ 817405 w 3862373"/>
                <a:gd name="connsiteY3063" fmla="*/ 644768 h 3682908"/>
                <a:gd name="connsiteX3064" fmla="*/ 856487 w 3862373"/>
                <a:gd name="connsiteY3064" fmla="*/ 605682 h 3682908"/>
                <a:gd name="connsiteX3065" fmla="*/ 764226 w 3862373"/>
                <a:gd name="connsiteY3065" fmla="*/ 605682 h 3682908"/>
                <a:gd name="connsiteX3066" fmla="*/ 803309 w 3862373"/>
                <a:gd name="connsiteY3066" fmla="*/ 644768 h 3682908"/>
                <a:gd name="connsiteX3067" fmla="*/ 764226 w 3862373"/>
                <a:gd name="connsiteY3067" fmla="*/ 683855 h 3682908"/>
                <a:gd name="connsiteX3068" fmla="*/ 725145 w 3862373"/>
                <a:gd name="connsiteY3068" fmla="*/ 644768 h 3682908"/>
                <a:gd name="connsiteX3069" fmla="*/ 764226 w 3862373"/>
                <a:gd name="connsiteY3069" fmla="*/ 605682 h 3682908"/>
                <a:gd name="connsiteX3070" fmla="*/ 669584 w 3862373"/>
                <a:gd name="connsiteY3070" fmla="*/ 605682 h 3682908"/>
                <a:gd name="connsiteX3071" fmla="*/ 708684 w 3862373"/>
                <a:gd name="connsiteY3071" fmla="*/ 644768 h 3682908"/>
                <a:gd name="connsiteX3072" fmla="*/ 669584 w 3862373"/>
                <a:gd name="connsiteY3072" fmla="*/ 683855 h 3682908"/>
                <a:gd name="connsiteX3073" fmla="*/ 630505 w 3862373"/>
                <a:gd name="connsiteY3073" fmla="*/ 644768 h 3682908"/>
                <a:gd name="connsiteX3074" fmla="*/ 669584 w 3862373"/>
                <a:gd name="connsiteY3074" fmla="*/ 605682 h 3682908"/>
                <a:gd name="connsiteX3075" fmla="*/ 577298 w 3862373"/>
                <a:gd name="connsiteY3075" fmla="*/ 605682 h 3682908"/>
                <a:gd name="connsiteX3076" fmla="*/ 616400 w 3862373"/>
                <a:gd name="connsiteY3076" fmla="*/ 644768 h 3682908"/>
                <a:gd name="connsiteX3077" fmla="*/ 577298 w 3862373"/>
                <a:gd name="connsiteY3077" fmla="*/ 683855 h 3682908"/>
                <a:gd name="connsiteX3078" fmla="*/ 538200 w 3862373"/>
                <a:gd name="connsiteY3078" fmla="*/ 644768 h 3682908"/>
                <a:gd name="connsiteX3079" fmla="*/ 577298 w 3862373"/>
                <a:gd name="connsiteY3079" fmla="*/ 605682 h 3682908"/>
                <a:gd name="connsiteX3080" fmla="*/ 485012 w 3862373"/>
                <a:gd name="connsiteY3080" fmla="*/ 605682 h 3682908"/>
                <a:gd name="connsiteX3081" fmla="*/ 524097 w 3862373"/>
                <a:gd name="connsiteY3081" fmla="*/ 644768 h 3682908"/>
                <a:gd name="connsiteX3082" fmla="*/ 485012 w 3862373"/>
                <a:gd name="connsiteY3082" fmla="*/ 683855 h 3682908"/>
                <a:gd name="connsiteX3083" fmla="*/ 445938 w 3862373"/>
                <a:gd name="connsiteY3083" fmla="*/ 644768 h 3682908"/>
                <a:gd name="connsiteX3084" fmla="*/ 485012 w 3862373"/>
                <a:gd name="connsiteY3084" fmla="*/ 605682 h 3682908"/>
                <a:gd name="connsiteX3085" fmla="*/ 390363 w 3862373"/>
                <a:gd name="connsiteY3085" fmla="*/ 605682 h 3682908"/>
                <a:gd name="connsiteX3086" fmla="*/ 429464 w 3862373"/>
                <a:gd name="connsiteY3086" fmla="*/ 644768 h 3682908"/>
                <a:gd name="connsiteX3087" fmla="*/ 390363 w 3862373"/>
                <a:gd name="connsiteY3087" fmla="*/ 683855 h 3682908"/>
                <a:gd name="connsiteX3088" fmla="*/ 351296 w 3862373"/>
                <a:gd name="connsiteY3088" fmla="*/ 644768 h 3682908"/>
                <a:gd name="connsiteX3089" fmla="*/ 390363 w 3862373"/>
                <a:gd name="connsiteY3089" fmla="*/ 605682 h 3682908"/>
                <a:gd name="connsiteX3090" fmla="*/ 298093 w 3862373"/>
                <a:gd name="connsiteY3090" fmla="*/ 605682 h 3682908"/>
                <a:gd name="connsiteX3091" fmla="*/ 337193 w 3862373"/>
                <a:gd name="connsiteY3091" fmla="*/ 644768 h 3682908"/>
                <a:gd name="connsiteX3092" fmla="*/ 298093 w 3862373"/>
                <a:gd name="connsiteY3092" fmla="*/ 683855 h 3682908"/>
                <a:gd name="connsiteX3093" fmla="*/ 259002 w 3862373"/>
                <a:gd name="connsiteY3093" fmla="*/ 644768 h 3682908"/>
                <a:gd name="connsiteX3094" fmla="*/ 298093 w 3862373"/>
                <a:gd name="connsiteY3094" fmla="*/ 605682 h 3682908"/>
                <a:gd name="connsiteX3095" fmla="*/ 327714 w 3862373"/>
                <a:gd name="connsiteY3095" fmla="*/ 529629 h 3682908"/>
                <a:gd name="connsiteX3096" fmla="*/ 337200 w 3862373"/>
                <a:gd name="connsiteY3096" fmla="*/ 552513 h 3682908"/>
                <a:gd name="connsiteX3097" fmla="*/ 298099 w 3862373"/>
                <a:gd name="connsiteY3097" fmla="*/ 591582 h 3682908"/>
                <a:gd name="connsiteX3098" fmla="*/ 285337 w 3862373"/>
                <a:gd name="connsiteY3098" fmla="*/ 586297 h 3682908"/>
                <a:gd name="connsiteX3099" fmla="*/ 3205817 w 3862373"/>
                <a:gd name="connsiteY3099" fmla="*/ 513426 h 3682908"/>
                <a:gd name="connsiteX3100" fmla="*/ 3244904 w 3862373"/>
                <a:gd name="connsiteY3100" fmla="*/ 552512 h 3682908"/>
                <a:gd name="connsiteX3101" fmla="*/ 3205817 w 3862373"/>
                <a:gd name="connsiteY3101" fmla="*/ 591582 h 3682908"/>
                <a:gd name="connsiteX3102" fmla="*/ 3166729 w 3862373"/>
                <a:gd name="connsiteY3102" fmla="*/ 552512 h 3682908"/>
                <a:gd name="connsiteX3103" fmla="*/ 3205817 w 3862373"/>
                <a:gd name="connsiteY3103" fmla="*/ 513426 h 3682908"/>
                <a:gd name="connsiteX3104" fmla="*/ 3111175 w 3862373"/>
                <a:gd name="connsiteY3104" fmla="*/ 513426 h 3682908"/>
                <a:gd name="connsiteX3105" fmla="*/ 3150263 w 3862373"/>
                <a:gd name="connsiteY3105" fmla="*/ 552512 h 3682908"/>
                <a:gd name="connsiteX3106" fmla="*/ 3111175 w 3862373"/>
                <a:gd name="connsiteY3106" fmla="*/ 591582 h 3682908"/>
                <a:gd name="connsiteX3107" fmla="*/ 3072088 w 3862373"/>
                <a:gd name="connsiteY3107" fmla="*/ 552512 h 3682908"/>
                <a:gd name="connsiteX3108" fmla="*/ 3111175 w 3862373"/>
                <a:gd name="connsiteY3108" fmla="*/ 513426 h 3682908"/>
                <a:gd name="connsiteX3109" fmla="*/ 3018902 w 3862373"/>
                <a:gd name="connsiteY3109" fmla="*/ 513426 h 3682908"/>
                <a:gd name="connsiteX3110" fmla="*/ 3057989 w 3862373"/>
                <a:gd name="connsiteY3110" fmla="*/ 552512 h 3682908"/>
                <a:gd name="connsiteX3111" fmla="*/ 3018902 w 3862373"/>
                <a:gd name="connsiteY3111" fmla="*/ 591582 h 3682908"/>
                <a:gd name="connsiteX3112" fmla="*/ 2979815 w 3862373"/>
                <a:gd name="connsiteY3112" fmla="*/ 552512 h 3682908"/>
                <a:gd name="connsiteX3113" fmla="*/ 3018902 w 3862373"/>
                <a:gd name="connsiteY3113" fmla="*/ 513426 h 3682908"/>
                <a:gd name="connsiteX3114" fmla="*/ 2924263 w 3862373"/>
                <a:gd name="connsiteY3114" fmla="*/ 513426 h 3682908"/>
                <a:gd name="connsiteX3115" fmla="*/ 2963349 w 3862373"/>
                <a:gd name="connsiteY3115" fmla="*/ 552512 h 3682908"/>
                <a:gd name="connsiteX3116" fmla="*/ 2924263 w 3862373"/>
                <a:gd name="connsiteY3116" fmla="*/ 591582 h 3682908"/>
                <a:gd name="connsiteX3117" fmla="*/ 2885175 w 3862373"/>
                <a:gd name="connsiteY3117" fmla="*/ 552512 h 3682908"/>
                <a:gd name="connsiteX3118" fmla="*/ 2924263 w 3862373"/>
                <a:gd name="connsiteY3118" fmla="*/ 513426 h 3682908"/>
                <a:gd name="connsiteX3119" fmla="*/ 2831988 w 3862373"/>
                <a:gd name="connsiteY3119" fmla="*/ 513426 h 3682908"/>
                <a:gd name="connsiteX3120" fmla="*/ 2871075 w 3862373"/>
                <a:gd name="connsiteY3120" fmla="*/ 552512 h 3682908"/>
                <a:gd name="connsiteX3121" fmla="*/ 2831988 w 3862373"/>
                <a:gd name="connsiteY3121" fmla="*/ 591582 h 3682908"/>
                <a:gd name="connsiteX3122" fmla="*/ 2792901 w 3862373"/>
                <a:gd name="connsiteY3122" fmla="*/ 552512 h 3682908"/>
                <a:gd name="connsiteX3123" fmla="*/ 2831988 w 3862373"/>
                <a:gd name="connsiteY3123" fmla="*/ 513426 h 3682908"/>
                <a:gd name="connsiteX3124" fmla="*/ 1984971 w 3862373"/>
                <a:gd name="connsiteY3124" fmla="*/ 513426 h 3682908"/>
                <a:gd name="connsiteX3125" fmla="*/ 2024068 w 3862373"/>
                <a:gd name="connsiteY3125" fmla="*/ 552513 h 3682908"/>
                <a:gd name="connsiteX3126" fmla="*/ 1984971 w 3862373"/>
                <a:gd name="connsiteY3126" fmla="*/ 591582 h 3682908"/>
                <a:gd name="connsiteX3127" fmla="*/ 1945873 w 3862373"/>
                <a:gd name="connsiteY3127" fmla="*/ 552513 h 3682908"/>
                <a:gd name="connsiteX3128" fmla="*/ 1984971 w 3862373"/>
                <a:gd name="connsiteY3128" fmla="*/ 513426 h 3682908"/>
                <a:gd name="connsiteX3129" fmla="*/ 1890340 w 3862373"/>
                <a:gd name="connsiteY3129" fmla="*/ 513426 h 3682908"/>
                <a:gd name="connsiteX3130" fmla="*/ 1929413 w 3862373"/>
                <a:gd name="connsiteY3130" fmla="*/ 552513 h 3682908"/>
                <a:gd name="connsiteX3131" fmla="*/ 1890340 w 3862373"/>
                <a:gd name="connsiteY3131" fmla="*/ 591582 h 3682908"/>
                <a:gd name="connsiteX3132" fmla="*/ 1851255 w 3862373"/>
                <a:gd name="connsiteY3132" fmla="*/ 552513 h 3682908"/>
                <a:gd name="connsiteX3133" fmla="*/ 1890340 w 3862373"/>
                <a:gd name="connsiteY3133" fmla="*/ 513426 h 3682908"/>
                <a:gd name="connsiteX3134" fmla="*/ 1798073 w 3862373"/>
                <a:gd name="connsiteY3134" fmla="*/ 513426 h 3682908"/>
                <a:gd name="connsiteX3135" fmla="*/ 1837149 w 3862373"/>
                <a:gd name="connsiteY3135" fmla="*/ 552513 h 3682908"/>
                <a:gd name="connsiteX3136" fmla="*/ 1798073 w 3862373"/>
                <a:gd name="connsiteY3136" fmla="*/ 591582 h 3682908"/>
                <a:gd name="connsiteX3137" fmla="*/ 1758966 w 3862373"/>
                <a:gd name="connsiteY3137" fmla="*/ 552513 h 3682908"/>
                <a:gd name="connsiteX3138" fmla="*/ 1798073 w 3862373"/>
                <a:gd name="connsiteY3138" fmla="*/ 513426 h 3682908"/>
                <a:gd name="connsiteX3139" fmla="*/ 1703432 w 3862373"/>
                <a:gd name="connsiteY3139" fmla="*/ 513426 h 3682908"/>
                <a:gd name="connsiteX3140" fmla="*/ 1742522 w 3862373"/>
                <a:gd name="connsiteY3140" fmla="*/ 552513 h 3682908"/>
                <a:gd name="connsiteX3141" fmla="*/ 1703432 w 3862373"/>
                <a:gd name="connsiteY3141" fmla="*/ 591582 h 3682908"/>
                <a:gd name="connsiteX3142" fmla="*/ 1664351 w 3862373"/>
                <a:gd name="connsiteY3142" fmla="*/ 552513 h 3682908"/>
                <a:gd name="connsiteX3143" fmla="*/ 1703432 w 3862373"/>
                <a:gd name="connsiteY3143" fmla="*/ 513426 h 3682908"/>
                <a:gd name="connsiteX3144" fmla="*/ 1611151 w 3862373"/>
                <a:gd name="connsiteY3144" fmla="*/ 513426 h 3682908"/>
                <a:gd name="connsiteX3145" fmla="*/ 1650245 w 3862373"/>
                <a:gd name="connsiteY3145" fmla="*/ 552513 h 3682908"/>
                <a:gd name="connsiteX3146" fmla="*/ 1611151 w 3862373"/>
                <a:gd name="connsiteY3146" fmla="*/ 591582 h 3682908"/>
                <a:gd name="connsiteX3147" fmla="*/ 1572147 w 3862373"/>
                <a:gd name="connsiteY3147" fmla="*/ 552513 h 3682908"/>
                <a:gd name="connsiteX3148" fmla="*/ 1611151 w 3862373"/>
                <a:gd name="connsiteY3148" fmla="*/ 513426 h 3682908"/>
                <a:gd name="connsiteX3149" fmla="*/ 1232682 w 3862373"/>
                <a:gd name="connsiteY3149" fmla="*/ 513426 h 3682908"/>
                <a:gd name="connsiteX3150" fmla="*/ 1271755 w 3862373"/>
                <a:gd name="connsiteY3150" fmla="*/ 552513 h 3682908"/>
                <a:gd name="connsiteX3151" fmla="*/ 1232682 w 3862373"/>
                <a:gd name="connsiteY3151" fmla="*/ 591582 h 3682908"/>
                <a:gd name="connsiteX3152" fmla="*/ 1193598 w 3862373"/>
                <a:gd name="connsiteY3152" fmla="*/ 552513 h 3682908"/>
                <a:gd name="connsiteX3153" fmla="*/ 1232682 w 3862373"/>
                <a:gd name="connsiteY3153" fmla="*/ 513426 h 3682908"/>
                <a:gd name="connsiteX3154" fmla="*/ 1142769 w 3862373"/>
                <a:gd name="connsiteY3154" fmla="*/ 513426 h 3682908"/>
                <a:gd name="connsiteX3155" fmla="*/ 1181859 w 3862373"/>
                <a:gd name="connsiteY3155" fmla="*/ 552513 h 3682908"/>
                <a:gd name="connsiteX3156" fmla="*/ 1142769 w 3862373"/>
                <a:gd name="connsiteY3156" fmla="*/ 591582 h 3682908"/>
                <a:gd name="connsiteX3157" fmla="*/ 1103669 w 3862373"/>
                <a:gd name="connsiteY3157" fmla="*/ 552513 h 3682908"/>
                <a:gd name="connsiteX3158" fmla="*/ 1142769 w 3862373"/>
                <a:gd name="connsiteY3158" fmla="*/ 513426 h 3682908"/>
                <a:gd name="connsiteX3159" fmla="*/ 1045741 w 3862373"/>
                <a:gd name="connsiteY3159" fmla="*/ 513426 h 3682908"/>
                <a:gd name="connsiteX3160" fmla="*/ 1084832 w 3862373"/>
                <a:gd name="connsiteY3160" fmla="*/ 552513 h 3682908"/>
                <a:gd name="connsiteX3161" fmla="*/ 1045741 w 3862373"/>
                <a:gd name="connsiteY3161" fmla="*/ 591582 h 3682908"/>
                <a:gd name="connsiteX3162" fmla="*/ 1006661 w 3862373"/>
                <a:gd name="connsiteY3162" fmla="*/ 552513 h 3682908"/>
                <a:gd name="connsiteX3163" fmla="*/ 1045741 w 3862373"/>
                <a:gd name="connsiteY3163" fmla="*/ 513426 h 3682908"/>
                <a:gd name="connsiteX3164" fmla="*/ 951119 w 3862373"/>
                <a:gd name="connsiteY3164" fmla="*/ 513426 h 3682908"/>
                <a:gd name="connsiteX3165" fmla="*/ 990197 w 3862373"/>
                <a:gd name="connsiteY3165" fmla="*/ 552513 h 3682908"/>
                <a:gd name="connsiteX3166" fmla="*/ 951119 w 3862373"/>
                <a:gd name="connsiteY3166" fmla="*/ 591582 h 3682908"/>
                <a:gd name="connsiteX3167" fmla="*/ 912036 w 3862373"/>
                <a:gd name="connsiteY3167" fmla="*/ 552513 h 3682908"/>
                <a:gd name="connsiteX3168" fmla="*/ 951119 w 3862373"/>
                <a:gd name="connsiteY3168" fmla="*/ 513426 h 3682908"/>
                <a:gd name="connsiteX3169" fmla="*/ 856494 w 3862373"/>
                <a:gd name="connsiteY3169" fmla="*/ 513426 h 3682908"/>
                <a:gd name="connsiteX3170" fmla="*/ 895574 w 3862373"/>
                <a:gd name="connsiteY3170" fmla="*/ 552513 h 3682908"/>
                <a:gd name="connsiteX3171" fmla="*/ 856494 w 3862373"/>
                <a:gd name="connsiteY3171" fmla="*/ 591582 h 3682908"/>
                <a:gd name="connsiteX3172" fmla="*/ 817413 w 3862373"/>
                <a:gd name="connsiteY3172" fmla="*/ 552513 h 3682908"/>
                <a:gd name="connsiteX3173" fmla="*/ 856494 w 3862373"/>
                <a:gd name="connsiteY3173" fmla="*/ 513426 h 3682908"/>
                <a:gd name="connsiteX3174" fmla="*/ 764235 w 3862373"/>
                <a:gd name="connsiteY3174" fmla="*/ 513426 h 3682908"/>
                <a:gd name="connsiteX3175" fmla="*/ 803316 w 3862373"/>
                <a:gd name="connsiteY3175" fmla="*/ 552513 h 3682908"/>
                <a:gd name="connsiteX3176" fmla="*/ 764235 w 3862373"/>
                <a:gd name="connsiteY3176" fmla="*/ 591582 h 3682908"/>
                <a:gd name="connsiteX3177" fmla="*/ 725152 w 3862373"/>
                <a:gd name="connsiteY3177" fmla="*/ 552513 h 3682908"/>
                <a:gd name="connsiteX3178" fmla="*/ 764235 w 3862373"/>
                <a:gd name="connsiteY3178" fmla="*/ 513426 h 3682908"/>
                <a:gd name="connsiteX3179" fmla="*/ 669584 w 3862373"/>
                <a:gd name="connsiteY3179" fmla="*/ 513426 h 3682908"/>
                <a:gd name="connsiteX3180" fmla="*/ 708691 w 3862373"/>
                <a:gd name="connsiteY3180" fmla="*/ 552513 h 3682908"/>
                <a:gd name="connsiteX3181" fmla="*/ 669584 w 3862373"/>
                <a:gd name="connsiteY3181" fmla="*/ 591582 h 3682908"/>
                <a:gd name="connsiteX3182" fmla="*/ 630513 w 3862373"/>
                <a:gd name="connsiteY3182" fmla="*/ 552513 h 3682908"/>
                <a:gd name="connsiteX3183" fmla="*/ 669584 w 3862373"/>
                <a:gd name="connsiteY3183" fmla="*/ 513426 h 3682908"/>
                <a:gd name="connsiteX3184" fmla="*/ 577307 w 3862373"/>
                <a:gd name="connsiteY3184" fmla="*/ 513426 h 3682908"/>
                <a:gd name="connsiteX3185" fmla="*/ 616408 w 3862373"/>
                <a:gd name="connsiteY3185" fmla="*/ 552513 h 3682908"/>
                <a:gd name="connsiteX3186" fmla="*/ 577307 w 3862373"/>
                <a:gd name="connsiteY3186" fmla="*/ 591582 h 3682908"/>
                <a:gd name="connsiteX3187" fmla="*/ 538207 w 3862373"/>
                <a:gd name="connsiteY3187" fmla="*/ 552513 h 3682908"/>
                <a:gd name="connsiteX3188" fmla="*/ 577307 w 3862373"/>
                <a:gd name="connsiteY3188" fmla="*/ 513426 h 3682908"/>
                <a:gd name="connsiteX3189" fmla="*/ 485015 w 3862373"/>
                <a:gd name="connsiteY3189" fmla="*/ 513426 h 3682908"/>
                <a:gd name="connsiteX3190" fmla="*/ 524104 w 3862373"/>
                <a:gd name="connsiteY3190" fmla="*/ 552513 h 3682908"/>
                <a:gd name="connsiteX3191" fmla="*/ 485015 w 3862373"/>
                <a:gd name="connsiteY3191" fmla="*/ 591582 h 3682908"/>
                <a:gd name="connsiteX3192" fmla="*/ 445948 w 3862373"/>
                <a:gd name="connsiteY3192" fmla="*/ 552513 h 3682908"/>
                <a:gd name="connsiteX3193" fmla="*/ 485015 w 3862373"/>
                <a:gd name="connsiteY3193" fmla="*/ 513426 h 3682908"/>
                <a:gd name="connsiteX3194" fmla="*/ 390371 w 3862373"/>
                <a:gd name="connsiteY3194" fmla="*/ 513426 h 3682908"/>
                <a:gd name="connsiteX3195" fmla="*/ 429471 w 3862373"/>
                <a:gd name="connsiteY3195" fmla="*/ 552513 h 3682908"/>
                <a:gd name="connsiteX3196" fmla="*/ 390371 w 3862373"/>
                <a:gd name="connsiteY3196" fmla="*/ 591582 h 3682908"/>
                <a:gd name="connsiteX3197" fmla="*/ 351303 w 3862373"/>
                <a:gd name="connsiteY3197" fmla="*/ 552513 h 3682908"/>
                <a:gd name="connsiteX3198" fmla="*/ 390371 w 3862373"/>
                <a:gd name="connsiteY3198" fmla="*/ 513426 h 3682908"/>
                <a:gd name="connsiteX3199" fmla="*/ 409794 w 3862373"/>
                <a:gd name="connsiteY3199" fmla="*/ 438656 h 3682908"/>
                <a:gd name="connsiteX3200" fmla="*/ 418018 w 3862373"/>
                <a:gd name="connsiteY3200" fmla="*/ 442062 h 3682908"/>
                <a:gd name="connsiteX3201" fmla="*/ 429475 w 3862373"/>
                <a:gd name="connsiteY3201" fmla="*/ 469700 h 3682908"/>
                <a:gd name="connsiteX3202" fmla="*/ 390371 w 3862373"/>
                <a:gd name="connsiteY3202" fmla="*/ 508788 h 3682908"/>
                <a:gd name="connsiteX3203" fmla="*/ 362754 w 3862373"/>
                <a:gd name="connsiteY3203" fmla="*/ 497339 h 3682908"/>
                <a:gd name="connsiteX3204" fmla="*/ 360783 w 3862373"/>
                <a:gd name="connsiteY3204" fmla="*/ 492581 h 3682908"/>
                <a:gd name="connsiteX3205" fmla="*/ 3111175 w 3862373"/>
                <a:gd name="connsiteY3205" fmla="*/ 430614 h 3682908"/>
                <a:gd name="connsiteX3206" fmla="*/ 3150263 w 3862373"/>
                <a:gd name="connsiteY3206" fmla="*/ 469701 h 3682908"/>
                <a:gd name="connsiteX3207" fmla="*/ 3111175 w 3862373"/>
                <a:gd name="connsiteY3207" fmla="*/ 508790 h 3682908"/>
                <a:gd name="connsiteX3208" fmla="*/ 3072088 w 3862373"/>
                <a:gd name="connsiteY3208" fmla="*/ 469701 h 3682908"/>
                <a:gd name="connsiteX3209" fmla="*/ 3111175 w 3862373"/>
                <a:gd name="connsiteY3209" fmla="*/ 430614 h 3682908"/>
                <a:gd name="connsiteX3210" fmla="*/ 3018902 w 3862373"/>
                <a:gd name="connsiteY3210" fmla="*/ 430614 h 3682908"/>
                <a:gd name="connsiteX3211" fmla="*/ 3057989 w 3862373"/>
                <a:gd name="connsiteY3211" fmla="*/ 469701 h 3682908"/>
                <a:gd name="connsiteX3212" fmla="*/ 3018902 w 3862373"/>
                <a:gd name="connsiteY3212" fmla="*/ 508790 h 3682908"/>
                <a:gd name="connsiteX3213" fmla="*/ 2979815 w 3862373"/>
                <a:gd name="connsiteY3213" fmla="*/ 469701 h 3682908"/>
                <a:gd name="connsiteX3214" fmla="*/ 3018902 w 3862373"/>
                <a:gd name="connsiteY3214" fmla="*/ 430614 h 3682908"/>
                <a:gd name="connsiteX3215" fmla="*/ 2924263 w 3862373"/>
                <a:gd name="connsiteY3215" fmla="*/ 430613 h 3682908"/>
                <a:gd name="connsiteX3216" fmla="*/ 2963349 w 3862373"/>
                <a:gd name="connsiteY3216" fmla="*/ 469699 h 3682908"/>
                <a:gd name="connsiteX3217" fmla="*/ 2924263 w 3862373"/>
                <a:gd name="connsiteY3217" fmla="*/ 508788 h 3682908"/>
                <a:gd name="connsiteX3218" fmla="*/ 2885175 w 3862373"/>
                <a:gd name="connsiteY3218" fmla="*/ 469699 h 3682908"/>
                <a:gd name="connsiteX3219" fmla="*/ 2924263 w 3862373"/>
                <a:gd name="connsiteY3219" fmla="*/ 430613 h 3682908"/>
                <a:gd name="connsiteX3220" fmla="*/ 2079618 w 3862373"/>
                <a:gd name="connsiteY3220" fmla="*/ 430613 h 3682908"/>
                <a:gd name="connsiteX3221" fmla="*/ 2118703 w 3862373"/>
                <a:gd name="connsiteY3221" fmla="*/ 469699 h 3682908"/>
                <a:gd name="connsiteX3222" fmla="*/ 2079618 w 3862373"/>
                <a:gd name="connsiteY3222" fmla="*/ 508788 h 3682908"/>
                <a:gd name="connsiteX3223" fmla="*/ 2040537 w 3862373"/>
                <a:gd name="connsiteY3223" fmla="*/ 469699 h 3682908"/>
                <a:gd name="connsiteX3224" fmla="*/ 2079618 w 3862373"/>
                <a:gd name="connsiteY3224" fmla="*/ 430613 h 3682908"/>
                <a:gd name="connsiteX3225" fmla="*/ 1984971 w 3862373"/>
                <a:gd name="connsiteY3225" fmla="*/ 430613 h 3682908"/>
                <a:gd name="connsiteX3226" fmla="*/ 2024068 w 3862373"/>
                <a:gd name="connsiteY3226" fmla="*/ 469699 h 3682908"/>
                <a:gd name="connsiteX3227" fmla="*/ 1984971 w 3862373"/>
                <a:gd name="connsiteY3227" fmla="*/ 508788 h 3682908"/>
                <a:gd name="connsiteX3228" fmla="*/ 1945873 w 3862373"/>
                <a:gd name="connsiteY3228" fmla="*/ 469699 h 3682908"/>
                <a:gd name="connsiteX3229" fmla="*/ 1984971 w 3862373"/>
                <a:gd name="connsiteY3229" fmla="*/ 430613 h 3682908"/>
                <a:gd name="connsiteX3230" fmla="*/ 1890340 w 3862373"/>
                <a:gd name="connsiteY3230" fmla="*/ 430613 h 3682908"/>
                <a:gd name="connsiteX3231" fmla="*/ 1929413 w 3862373"/>
                <a:gd name="connsiteY3231" fmla="*/ 469699 h 3682908"/>
                <a:gd name="connsiteX3232" fmla="*/ 1890340 w 3862373"/>
                <a:gd name="connsiteY3232" fmla="*/ 508788 h 3682908"/>
                <a:gd name="connsiteX3233" fmla="*/ 1851255 w 3862373"/>
                <a:gd name="connsiteY3233" fmla="*/ 469699 h 3682908"/>
                <a:gd name="connsiteX3234" fmla="*/ 1890340 w 3862373"/>
                <a:gd name="connsiteY3234" fmla="*/ 430613 h 3682908"/>
                <a:gd name="connsiteX3235" fmla="*/ 1798073 w 3862373"/>
                <a:gd name="connsiteY3235" fmla="*/ 430613 h 3682908"/>
                <a:gd name="connsiteX3236" fmla="*/ 1837149 w 3862373"/>
                <a:gd name="connsiteY3236" fmla="*/ 469699 h 3682908"/>
                <a:gd name="connsiteX3237" fmla="*/ 1798073 w 3862373"/>
                <a:gd name="connsiteY3237" fmla="*/ 508788 h 3682908"/>
                <a:gd name="connsiteX3238" fmla="*/ 1758966 w 3862373"/>
                <a:gd name="connsiteY3238" fmla="*/ 469699 h 3682908"/>
                <a:gd name="connsiteX3239" fmla="*/ 1798073 w 3862373"/>
                <a:gd name="connsiteY3239" fmla="*/ 430613 h 3682908"/>
                <a:gd name="connsiteX3240" fmla="*/ 1703435 w 3862373"/>
                <a:gd name="connsiteY3240" fmla="*/ 430613 h 3682908"/>
                <a:gd name="connsiteX3241" fmla="*/ 1742524 w 3862373"/>
                <a:gd name="connsiteY3241" fmla="*/ 469699 h 3682908"/>
                <a:gd name="connsiteX3242" fmla="*/ 1703435 w 3862373"/>
                <a:gd name="connsiteY3242" fmla="*/ 508788 h 3682908"/>
                <a:gd name="connsiteX3243" fmla="*/ 1664351 w 3862373"/>
                <a:gd name="connsiteY3243" fmla="*/ 469699 h 3682908"/>
                <a:gd name="connsiteX3244" fmla="*/ 1703435 w 3862373"/>
                <a:gd name="connsiteY3244" fmla="*/ 430613 h 3682908"/>
                <a:gd name="connsiteX3245" fmla="*/ 1611151 w 3862373"/>
                <a:gd name="connsiteY3245" fmla="*/ 430613 h 3682908"/>
                <a:gd name="connsiteX3246" fmla="*/ 1650245 w 3862373"/>
                <a:gd name="connsiteY3246" fmla="*/ 469699 h 3682908"/>
                <a:gd name="connsiteX3247" fmla="*/ 1611151 w 3862373"/>
                <a:gd name="connsiteY3247" fmla="*/ 508788 h 3682908"/>
                <a:gd name="connsiteX3248" fmla="*/ 1572151 w 3862373"/>
                <a:gd name="connsiteY3248" fmla="*/ 469699 h 3682908"/>
                <a:gd name="connsiteX3249" fmla="*/ 1611151 w 3862373"/>
                <a:gd name="connsiteY3249" fmla="*/ 430613 h 3682908"/>
                <a:gd name="connsiteX3250" fmla="*/ 1516598 w 3862373"/>
                <a:gd name="connsiteY3250" fmla="*/ 430613 h 3682908"/>
                <a:gd name="connsiteX3251" fmla="*/ 1555687 w 3862373"/>
                <a:gd name="connsiteY3251" fmla="*/ 469699 h 3682908"/>
                <a:gd name="connsiteX3252" fmla="*/ 1516598 w 3862373"/>
                <a:gd name="connsiteY3252" fmla="*/ 508788 h 3682908"/>
                <a:gd name="connsiteX3253" fmla="*/ 1477507 w 3862373"/>
                <a:gd name="connsiteY3253" fmla="*/ 469699 h 3682908"/>
                <a:gd name="connsiteX3254" fmla="*/ 1516598 w 3862373"/>
                <a:gd name="connsiteY3254" fmla="*/ 430613 h 3682908"/>
                <a:gd name="connsiteX3255" fmla="*/ 1045749 w 3862373"/>
                <a:gd name="connsiteY3255" fmla="*/ 430613 h 3682908"/>
                <a:gd name="connsiteX3256" fmla="*/ 1084837 w 3862373"/>
                <a:gd name="connsiteY3256" fmla="*/ 469699 h 3682908"/>
                <a:gd name="connsiteX3257" fmla="*/ 1045749 w 3862373"/>
                <a:gd name="connsiteY3257" fmla="*/ 508788 h 3682908"/>
                <a:gd name="connsiteX3258" fmla="*/ 1006666 w 3862373"/>
                <a:gd name="connsiteY3258" fmla="*/ 469699 h 3682908"/>
                <a:gd name="connsiteX3259" fmla="*/ 1045749 w 3862373"/>
                <a:gd name="connsiteY3259" fmla="*/ 430613 h 3682908"/>
                <a:gd name="connsiteX3260" fmla="*/ 951124 w 3862373"/>
                <a:gd name="connsiteY3260" fmla="*/ 430613 h 3682908"/>
                <a:gd name="connsiteX3261" fmla="*/ 990202 w 3862373"/>
                <a:gd name="connsiteY3261" fmla="*/ 469699 h 3682908"/>
                <a:gd name="connsiteX3262" fmla="*/ 951124 w 3862373"/>
                <a:gd name="connsiteY3262" fmla="*/ 508788 h 3682908"/>
                <a:gd name="connsiteX3263" fmla="*/ 912041 w 3862373"/>
                <a:gd name="connsiteY3263" fmla="*/ 469699 h 3682908"/>
                <a:gd name="connsiteX3264" fmla="*/ 951124 w 3862373"/>
                <a:gd name="connsiteY3264" fmla="*/ 430613 h 3682908"/>
                <a:gd name="connsiteX3265" fmla="*/ 856499 w 3862373"/>
                <a:gd name="connsiteY3265" fmla="*/ 430613 h 3682908"/>
                <a:gd name="connsiteX3266" fmla="*/ 895578 w 3862373"/>
                <a:gd name="connsiteY3266" fmla="*/ 469699 h 3682908"/>
                <a:gd name="connsiteX3267" fmla="*/ 856499 w 3862373"/>
                <a:gd name="connsiteY3267" fmla="*/ 508788 h 3682908"/>
                <a:gd name="connsiteX3268" fmla="*/ 817418 w 3862373"/>
                <a:gd name="connsiteY3268" fmla="*/ 469699 h 3682908"/>
                <a:gd name="connsiteX3269" fmla="*/ 856499 w 3862373"/>
                <a:gd name="connsiteY3269" fmla="*/ 430613 h 3682908"/>
                <a:gd name="connsiteX3270" fmla="*/ 764240 w 3862373"/>
                <a:gd name="connsiteY3270" fmla="*/ 430613 h 3682908"/>
                <a:gd name="connsiteX3271" fmla="*/ 803321 w 3862373"/>
                <a:gd name="connsiteY3271" fmla="*/ 469699 h 3682908"/>
                <a:gd name="connsiteX3272" fmla="*/ 764240 w 3862373"/>
                <a:gd name="connsiteY3272" fmla="*/ 508788 h 3682908"/>
                <a:gd name="connsiteX3273" fmla="*/ 725157 w 3862373"/>
                <a:gd name="connsiteY3273" fmla="*/ 469699 h 3682908"/>
                <a:gd name="connsiteX3274" fmla="*/ 764240 w 3862373"/>
                <a:gd name="connsiteY3274" fmla="*/ 430613 h 3682908"/>
                <a:gd name="connsiteX3275" fmla="*/ 669597 w 3862373"/>
                <a:gd name="connsiteY3275" fmla="*/ 430613 h 3682908"/>
                <a:gd name="connsiteX3276" fmla="*/ 708695 w 3862373"/>
                <a:gd name="connsiteY3276" fmla="*/ 469699 h 3682908"/>
                <a:gd name="connsiteX3277" fmla="*/ 669597 w 3862373"/>
                <a:gd name="connsiteY3277" fmla="*/ 508788 h 3682908"/>
                <a:gd name="connsiteX3278" fmla="*/ 630517 w 3862373"/>
                <a:gd name="connsiteY3278" fmla="*/ 469699 h 3682908"/>
                <a:gd name="connsiteX3279" fmla="*/ 669597 w 3862373"/>
                <a:gd name="connsiteY3279" fmla="*/ 430613 h 3682908"/>
                <a:gd name="connsiteX3280" fmla="*/ 577311 w 3862373"/>
                <a:gd name="connsiteY3280" fmla="*/ 430613 h 3682908"/>
                <a:gd name="connsiteX3281" fmla="*/ 616412 w 3862373"/>
                <a:gd name="connsiteY3281" fmla="*/ 469700 h 3682908"/>
                <a:gd name="connsiteX3282" fmla="*/ 577311 w 3862373"/>
                <a:gd name="connsiteY3282" fmla="*/ 508788 h 3682908"/>
                <a:gd name="connsiteX3283" fmla="*/ 538213 w 3862373"/>
                <a:gd name="connsiteY3283" fmla="*/ 469700 h 3682908"/>
                <a:gd name="connsiteX3284" fmla="*/ 577311 w 3862373"/>
                <a:gd name="connsiteY3284" fmla="*/ 430613 h 3682908"/>
                <a:gd name="connsiteX3285" fmla="*/ 485025 w 3862373"/>
                <a:gd name="connsiteY3285" fmla="*/ 430613 h 3682908"/>
                <a:gd name="connsiteX3286" fmla="*/ 524109 w 3862373"/>
                <a:gd name="connsiteY3286" fmla="*/ 469700 h 3682908"/>
                <a:gd name="connsiteX3287" fmla="*/ 485025 w 3862373"/>
                <a:gd name="connsiteY3287" fmla="*/ 508788 h 3682908"/>
                <a:gd name="connsiteX3288" fmla="*/ 445951 w 3862373"/>
                <a:gd name="connsiteY3288" fmla="*/ 469700 h 3682908"/>
                <a:gd name="connsiteX3289" fmla="*/ 485025 w 3862373"/>
                <a:gd name="connsiteY3289" fmla="*/ 430613 h 3682908"/>
                <a:gd name="connsiteX3290" fmla="*/ 493081 w 3862373"/>
                <a:gd name="connsiteY3290" fmla="*/ 353508 h 3682908"/>
                <a:gd name="connsiteX3291" fmla="*/ 512664 w 3862373"/>
                <a:gd name="connsiteY3291" fmla="*/ 361620 h 3682908"/>
                <a:gd name="connsiteX3292" fmla="*/ 524111 w 3862373"/>
                <a:gd name="connsiteY3292" fmla="*/ 389259 h 3682908"/>
                <a:gd name="connsiteX3293" fmla="*/ 485026 w 3862373"/>
                <a:gd name="connsiteY3293" fmla="*/ 428346 h 3682908"/>
                <a:gd name="connsiteX3294" fmla="*/ 457392 w 3862373"/>
                <a:gd name="connsiteY3294" fmla="*/ 416897 h 3682908"/>
                <a:gd name="connsiteX3295" fmla="*/ 448688 w 3862373"/>
                <a:gd name="connsiteY3295" fmla="*/ 395861 h 3682908"/>
                <a:gd name="connsiteX3296" fmla="*/ 459172 w 3862373"/>
                <a:gd name="connsiteY3296" fmla="*/ 384326 h 3682908"/>
                <a:gd name="connsiteX3297" fmla="*/ 2079618 w 3862373"/>
                <a:gd name="connsiteY3297" fmla="*/ 350171 h 3682908"/>
                <a:gd name="connsiteX3298" fmla="*/ 2118703 w 3862373"/>
                <a:gd name="connsiteY3298" fmla="*/ 389259 h 3682908"/>
                <a:gd name="connsiteX3299" fmla="*/ 2079618 w 3862373"/>
                <a:gd name="connsiteY3299" fmla="*/ 428346 h 3682908"/>
                <a:gd name="connsiteX3300" fmla="*/ 2040537 w 3862373"/>
                <a:gd name="connsiteY3300" fmla="*/ 389259 h 3682908"/>
                <a:gd name="connsiteX3301" fmla="*/ 2079618 w 3862373"/>
                <a:gd name="connsiteY3301" fmla="*/ 350171 h 3682908"/>
                <a:gd name="connsiteX3302" fmla="*/ 1984971 w 3862373"/>
                <a:gd name="connsiteY3302" fmla="*/ 350171 h 3682908"/>
                <a:gd name="connsiteX3303" fmla="*/ 2024068 w 3862373"/>
                <a:gd name="connsiteY3303" fmla="*/ 389259 h 3682908"/>
                <a:gd name="connsiteX3304" fmla="*/ 1984971 w 3862373"/>
                <a:gd name="connsiteY3304" fmla="*/ 428346 h 3682908"/>
                <a:gd name="connsiteX3305" fmla="*/ 1945873 w 3862373"/>
                <a:gd name="connsiteY3305" fmla="*/ 389259 h 3682908"/>
                <a:gd name="connsiteX3306" fmla="*/ 1984971 w 3862373"/>
                <a:gd name="connsiteY3306" fmla="*/ 350171 h 3682908"/>
                <a:gd name="connsiteX3307" fmla="*/ 1890340 w 3862373"/>
                <a:gd name="connsiteY3307" fmla="*/ 350171 h 3682908"/>
                <a:gd name="connsiteX3308" fmla="*/ 1929413 w 3862373"/>
                <a:gd name="connsiteY3308" fmla="*/ 389259 h 3682908"/>
                <a:gd name="connsiteX3309" fmla="*/ 1890340 w 3862373"/>
                <a:gd name="connsiteY3309" fmla="*/ 428346 h 3682908"/>
                <a:gd name="connsiteX3310" fmla="*/ 1851255 w 3862373"/>
                <a:gd name="connsiteY3310" fmla="*/ 389259 h 3682908"/>
                <a:gd name="connsiteX3311" fmla="*/ 1890340 w 3862373"/>
                <a:gd name="connsiteY3311" fmla="*/ 350171 h 3682908"/>
                <a:gd name="connsiteX3312" fmla="*/ 1798073 w 3862373"/>
                <a:gd name="connsiteY3312" fmla="*/ 350171 h 3682908"/>
                <a:gd name="connsiteX3313" fmla="*/ 1837149 w 3862373"/>
                <a:gd name="connsiteY3313" fmla="*/ 389259 h 3682908"/>
                <a:gd name="connsiteX3314" fmla="*/ 1798073 w 3862373"/>
                <a:gd name="connsiteY3314" fmla="*/ 428346 h 3682908"/>
                <a:gd name="connsiteX3315" fmla="*/ 1758966 w 3862373"/>
                <a:gd name="connsiteY3315" fmla="*/ 389259 h 3682908"/>
                <a:gd name="connsiteX3316" fmla="*/ 1798073 w 3862373"/>
                <a:gd name="connsiteY3316" fmla="*/ 350171 h 3682908"/>
                <a:gd name="connsiteX3317" fmla="*/ 1703435 w 3862373"/>
                <a:gd name="connsiteY3317" fmla="*/ 350171 h 3682908"/>
                <a:gd name="connsiteX3318" fmla="*/ 1742524 w 3862373"/>
                <a:gd name="connsiteY3318" fmla="*/ 389259 h 3682908"/>
                <a:gd name="connsiteX3319" fmla="*/ 1703435 w 3862373"/>
                <a:gd name="connsiteY3319" fmla="*/ 428346 h 3682908"/>
                <a:gd name="connsiteX3320" fmla="*/ 1664351 w 3862373"/>
                <a:gd name="connsiteY3320" fmla="*/ 389259 h 3682908"/>
                <a:gd name="connsiteX3321" fmla="*/ 1703435 w 3862373"/>
                <a:gd name="connsiteY3321" fmla="*/ 350171 h 3682908"/>
                <a:gd name="connsiteX3322" fmla="*/ 1611151 w 3862373"/>
                <a:gd name="connsiteY3322" fmla="*/ 350171 h 3682908"/>
                <a:gd name="connsiteX3323" fmla="*/ 1650245 w 3862373"/>
                <a:gd name="connsiteY3323" fmla="*/ 389259 h 3682908"/>
                <a:gd name="connsiteX3324" fmla="*/ 1611151 w 3862373"/>
                <a:gd name="connsiteY3324" fmla="*/ 428346 h 3682908"/>
                <a:gd name="connsiteX3325" fmla="*/ 1572155 w 3862373"/>
                <a:gd name="connsiteY3325" fmla="*/ 389259 h 3682908"/>
                <a:gd name="connsiteX3326" fmla="*/ 1611151 w 3862373"/>
                <a:gd name="connsiteY3326" fmla="*/ 350171 h 3682908"/>
                <a:gd name="connsiteX3327" fmla="*/ 1516602 w 3862373"/>
                <a:gd name="connsiteY3327" fmla="*/ 350171 h 3682908"/>
                <a:gd name="connsiteX3328" fmla="*/ 1555690 w 3862373"/>
                <a:gd name="connsiteY3328" fmla="*/ 389259 h 3682908"/>
                <a:gd name="connsiteX3329" fmla="*/ 1516602 w 3862373"/>
                <a:gd name="connsiteY3329" fmla="*/ 428346 h 3682908"/>
                <a:gd name="connsiteX3330" fmla="*/ 1477510 w 3862373"/>
                <a:gd name="connsiteY3330" fmla="*/ 389259 h 3682908"/>
                <a:gd name="connsiteX3331" fmla="*/ 1516602 w 3862373"/>
                <a:gd name="connsiteY3331" fmla="*/ 350171 h 3682908"/>
                <a:gd name="connsiteX3332" fmla="*/ 951124 w 3862373"/>
                <a:gd name="connsiteY3332" fmla="*/ 350171 h 3682908"/>
                <a:gd name="connsiteX3333" fmla="*/ 990204 w 3862373"/>
                <a:gd name="connsiteY3333" fmla="*/ 389259 h 3682908"/>
                <a:gd name="connsiteX3334" fmla="*/ 951124 w 3862373"/>
                <a:gd name="connsiteY3334" fmla="*/ 428346 h 3682908"/>
                <a:gd name="connsiteX3335" fmla="*/ 912042 w 3862373"/>
                <a:gd name="connsiteY3335" fmla="*/ 389259 h 3682908"/>
                <a:gd name="connsiteX3336" fmla="*/ 951124 w 3862373"/>
                <a:gd name="connsiteY3336" fmla="*/ 350171 h 3682908"/>
                <a:gd name="connsiteX3337" fmla="*/ 856501 w 3862373"/>
                <a:gd name="connsiteY3337" fmla="*/ 350171 h 3682908"/>
                <a:gd name="connsiteX3338" fmla="*/ 895581 w 3862373"/>
                <a:gd name="connsiteY3338" fmla="*/ 389259 h 3682908"/>
                <a:gd name="connsiteX3339" fmla="*/ 856501 w 3862373"/>
                <a:gd name="connsiteY3339" fmla="*/ 428346 h 3682908"/>
                <a:gd name="connsiteX3340" fmla="*/ 817421 w 3862373"/>
                <a:gd name="connsiteY3340" fmla="*/ 389259 h 3682908"/>
                <a:gd name="connsiteX3341" fmla="*/ 856501 w 3862373"/>
                <a:gd name="connsiteY3341" fmla="*/ 350171 h 3682908"/>
                <a:gd name="connsiteX3342" fmla="*/ 764243 w 3862373"/>
                <a:gd name="connsiteY3342" fmla="*/ 350171 h 3682908"/>
                <a:gd name="connsiteX3343" fmla="*/ 803324 w 3862373"/>
                <a:gd name="connsiteY3343" fmla="*/ 389259 h 3682908"/>
                <a:gd name="connsiteX3344" fmla="*/ 764243 w 3862373"/>
                <a:gd name="connsiteY3344" fmla="*/ 428346 h 3682908"/>
                <a:gd name="connsiteX3345" fmla="*/ 725160 w 3862373"/>
                <a:gd name="connsiteY3345" fmla="*/ 389259 h 3682908"/>
                <a:gd name="connsiteX3346" fmla="*/ 764243 w 3862373"/>
                <a:gd name="connsiteY3346" fmla="*/ 350171 h 3682908"/>
                <a:gd name="connsiteX3347" fmla="*/ 669597 w 3862373"/>
                <a:gd name="connsiteY3347" fmla="*/ 350171 h 3682908"/>
                <a:gd name="connsiteX3348" fmla="*/ 708698 w 3862373"/>
                <a:gd name="connsiteY3348" fmla="*/ 389259 h 3682908"/>
                <a:gd name="connsiteX3349" fmla="*/ 669597 w 3862373"/>
                <a:gd name="connsiteY3349" fmla="*/ 428346 h 3682908"/>
                <a:gd name="connsiteX3350" fmla="*/ 630519 w 3862373"/>
                <a:gd name="connsiteY3350" fmla="*/ 389259 h 3682908"/>
                <a:gd name="connsiteX3351" fmla="*/ 669597 w 3862373"/>
                <a:gd name="connsiteY3351" fmla="*/ 350171 h 3682908"/>
                <a:gd name="connsiteX3352" fmla="*/ 577316 w 3862373"/>
                <a:gd name="connsiteY3352" fmla="*/ 350171 h 3682908"/>
                <a:gd name="connsiteX3353" fmla="*/ 616414 w 3862373"/>
                <a:gd name="connsiteY3353" fmla="*/ 389259 h 3682908"/>
                <a:gd name="connsiteX3354" fmla="*/ 577316 w 3862373"/>
                <a:gd name="connsiteY3354" fmla="*/ 428346 h 3682908"/>
                <a:gd name="connsiteX3355" fmla="*/ 538216 w 3862373"/>
                <a:gd name="connsiteY3355" fmla="*/ 389259 h 3682908"/>
                <a:gd name="connsiteX3356" fmla="*/ 577316 w 3862373"/>
                <a:gd name="connsiteY3356" fmla="*/ 350171 h 3682908"/>
                <a:gd name="connsiteX3357" fmla="*/ 591716 w 3862373"/>
                <a:gd name="connsiteY3357" fmla="*/ 263862 h 3682908"/>
                <a:gd name="connsiteX3358" fmla="*/ 604964 w 3862373"/>
                <a:gd name="connsiteY3358" fmla="*/ 269347 h 3682908"/>
                <a:gd name="connsiteX3359" fmla="*/ 616416 w 3862373"/>
                <a:gd name="connsiteY3359" fmla="*/ 296985 h 3682908"/>
                <a:gd name="connsiteX3360" fmla="*/ 577316 w 3862373"/>
                <a:gd name="connsiteY3360" fmla="*/ 336071 h 3682908"/>
                <a:gd name="connsiteX3361" fmla="*/ 549670 w 3862373"/>
                <a:gd name="connsiteY3361" fmla="*/ 324623 h 3682908"/>
                <a:gd name="connsiteX3362" fmla="*/ 542883 w 3862373"/>
                <a:gd name="connsiteY3362" fmla="*/ 308244 h 3682908"/>
                <a:gd name="connsiteX3363" fmla="*/ 951129 w 3862373"/>
                <a:gd name="connsiteY3363" fmla="*/ 257899 h 3682908"/>
                <a:gd name="connsiteX3364" fmla="*/ 990205 w 3862373"/>
                <a:gd name="connsiteY3364" fmla="*/ 296985 h 3682908"/>
                <a:gd name="connsiteX3365" fmla="*/ 951129 w 3862373"/>
                <a:gd name="connsiteY3365" fmla="*/ 336070 h 3682908"/>
                <a:gd name="connsiteX3366" fmla="*/ 912045 w 3862373"/>
                <a:gd name="connsiteY3366" fmla="*/ 296985 h 3682908"/>
                <a:gd name="connsiteX3367" fmla="*/ 951129 w 3862373"/>
                <a:gd name="connsiteY3367" fmla="*/ 257899 h 3682908"/>
                <a:gd name="connsiteX3368" fmla="*/ 856503 w 3862373"/>
                <a:gd name="connsiteY3368" fmla="*/ 257899 h 3682908"/>
                <a:gd name="connsiteX3369" fmla="*/ 895582 w 3862373"/>
                <a:gd name="connsiteY3369" fmla="*/ 296985 h 3682908"/>
                <a:gd name="connsiteX3370" fmla="*/ 856503 w 3862373"/>
                <a:gd name="connsiteY3370" fmla="*/ 336070 h 3682908"/>
                <a:gd name="connsiteX3371" fmla="*/ 817422 w 3862373"/>
                <a:gd name="connsiteY3371" fmla="*/ 296985 h 3682908"/>
                <a:gd name="connsiteX3372" fmla="*/ 856503 w 3862373"/>
                <a:gd name="connsiteY3372" fmla="*/ 257899 h 3682908"/>
                <a:gd name="connsiteX3373" fmla="*/ 764243 w 3862373"/>
                <a:gd name="connsiteY3373" fmla="*/ 257899 h 3682908"/>
                <a:gd name="connsiteX3374" fmla="*/ 803326 w 3862373"/>
                <a:gd name="connsiteY3374" fmla="*/ 296985 h 3682908"/>
                <a:gd name="connsiteX3375" fmla="*/ 764243 w 3862373"/>
                <a:gd name="connsiteY3375" fmla="*/ 336070 h 3682908"/>
                <a:gd name="connsiteX3376" fmla="*/ 725161 w 3862373"/>
                <a:gd name="connsiteY3376" fmla="*/ 296985 h 3682908"/>
                <a:gd name="connsiteX3377" fmla="*/ 764243 w 3862373"/>
                <a:gd name="connsiteY3377" fmla="*/ 257899 h 3682908"/>
                <a:gd name="connsiteX3378" fmla="*/ 669597 w 3862373"/>
                <a:gd name="connsiteY3378" fmla="*/ 257899 h 3682908"/>
                <a:gd name="connsiteX3379" fmla="*/ 708698 w 3862373"/>
                <a:gd name="connsiteY3379" fmla="*/ 296985 h 3682908"/>
                <a:gd name="connsiteX3380" fmla="*/ 669597 w 3862373"/>
                <a:gd name="connsiteY3380" fmla="*/ 336070 h 3682908"/>
                <a:gd name="connsiteX3381" fmla="*/ 630520 w 3862373"/>
                <a:gd name="connsiteY3381" fmla="*/ 296985 h 3682908"/>
                <a:gd name="connsiteX3382" fmla="*/ 669597 w 3862373"/>
                <a:gd name="connsiteY3382" fmla="*/ 257899 h 3682908"/>
                <a:gd name="connsiteX3383" fmla="*/ 2079618 w 3862373"/>
                <a:gd name="connsiteY3383" fmla="*/ 257899 h 3682908"/>
                <a:gd name="connsiteX3384" fmla="*/ 2118703 w 3862373"/>
                <a:gd name="connsiteY3384" fmla="*/ 296984 h 3682908"/>
                <a:gd name="connsiteX3385" fmla="*/ 2079618 w 3862373"/>
                <a:gd name="connsiteY3385" fmla="*/ 336070 h 3682908"/>
                <a:gd name="connsiteX3386" fmla="*/ 2040537 w 3862373"/>
                <a:gd name="connsiteY3386" fmla="*/ 296984 h 3682908"/>
                <a:gd name="connsiteX3387" fmla="*/ 2079618 w 3862373"/>
                <a:gd name="connsiteY3387" fmla="*/ 257899 h 3682908"/>
                <a:gd name="connsiteX3388" fmla="*/ 1984971 w 3862373"/>
                <a:gd name="connsiteY3388" fmla="*/ 257899 h 3682908"/>
                <a:gd name="connsiteX3389" fmla="*/ 2024068 w 3862373"/>
                <a:gd name="connsiteY3389" fmla="*/ 296984 h 3682908"/>
                <a:gd name="connsiteX3390" fmla="*/ 1984971 w 3862373"/>
                <a:gd name="connsiteY3390" fmla="*/ 336070 h 3682908"/>
                <a:gd name="connsiteX3391" fmla="*/ 1945873 w 3862373"/>
                <a:gd name="connsiteY3391" fmla="*/ 296984 h 3682908"/>
                <a:gd name="connsiteX3392" fmla="*/ 1984971 w 3862373"/>
                <a:gd name="connsiteY3392" fmla="*/ 257899 h 3682908"/>
                <a:gd name="connsiteX3393" fmla="*/ 1890340 w 3862373"/>
                <a:gd name="connsiteY3393" fmla="*/ 257899 h 3682908"/>
                <a:gd name="connsiteX3394" fmla="*/ 1929413 w 3862373"/>
                <a:gd name="connsiteY3394" fmla="*/ 296984 h 3682908"/>
                <a:gd name="connsiteX3395" fmla="*/ 1890340 w 3862373"/>
                <a:gd name="connsiteY3395" fmla="*/ 336070 h 3682908"/>
                <a:gd name="connsiteX3396" fmla="*/ 1851255 w 3862373"/>
                <a:gd name="connsiteY3396" fmla="*/ 296984 h 3682908"/>
                <a:gd name="connsiteX3397" fmla="*/ 1890340 w 3862373"/>
                <a:gd name="connsiteY3397" fmla="*/ 257899 h 3682908"/>
                <a:gd name="connsiteX3398" fmla="*/ 1798073 w 3862373"/>
                <a:gd name="connsiteY3398" fmla="*/ 257899 h 3682908"/>
                <a:gd name="connsiteX3399" fmla="*/ 1837149 w 3862373"/>
                <a:gd name="connsiteY3399" fmla="*/ 296984 h 3682908"/>
                <a:gd name="connsiteX3400" fmla="*/ 1798073 w 3862373"/>
                <a:gd name="connsiteY3400" fmla="*/ 336070 h 3682908"/>
                <a:gd name="connsiteX3401" fmla="*/ 1758966 w 3862373"/>
                <a:gd name="connsiteY3401" fmla="*/ 296984 h 3682908"/>
                <a:gd name="connsiteX3402" fmla="*/ 1798073 w 3862373"/>
                <a:gd name="connsiteY3402" fmla="*/ 257899 h 3682908"/>
                <a:gd name="connsiteX3403" fmla="*/ 1703435 w 3862373"/>
                <a:gd name="connsiteY3403" fmla="*/ 257899 h 3682908"/>
                <a:gd name="connsiteX3404" fmla="*/ 1742524 w 3862373"/>
                <a:gd name="connsiteY3404" fmla="*/ 296984 h 3682908"/>
                <a:gd name="connsiteX3405" fmla="*/ 1703435 w 3862373"/>
                <a:gd name="connsiteY3405" fmla="*/ 336070 h 3682908"/>
                <a:gd name="connsiteX3406" fmla="*/ 1664351 w 3862373"/>
                <a:gd name="connsiteY3406" fmla="*/ 296984 h 3682908"/>
                <a:gd name="connsiteX3407" fmla="*/ 1703435 w 3862373"/>
                <a:gd name="connsiteY3407" fmla="*/ 257899 h 3682908"/>
                <a:gd name="connsiteX3408" fmla="*/ 1611151 w 3862373"/>
                <a:gd name="connsiteY3408" fmla="*/ 257899 h 3682908"/>
                <a:gd name="connsiteX3409" fmla="*/ 1650245 w 3862373"/>
                <a:gd name="connsiteY3409" fmla="*/ 296984 h 3682908"/>
                <a:gd name="connsiteX3410" fmla="*/ 1611151 w 3862373"/>
                <a:gd name="connsiteY3410" fmla="*/ 336070 h 3682908"/>
                <a:gd name="connsiteX3411" fmla="*/ 1572155 w 3862373"/>
                <a:gd name="connsiteY3411" fmla="*/ 296984 h 3682908"/>
                <a:gd name="connsiteX3412" fmla="*/ 1611151 w 3862373"/>
                <a:gd name="connsiteY3412" fmla="*/ 257899 h 3682908"/>
                <a:gd name="connsiteX3413" fmla="*/ 1516605 w 3862373"/>
                <a:gd name="connsiteY3413" fmla="*/ 257899 h 3682908"/>
                <a:gd name="connsiteX3414" fmla="*/ 1555690 w 3862373"/>
                <a:gd name="connsiteY3414" fmla="*/ 296984 h 3682908"/>
                <a:gd name="connsiteX3415" fmla="*/ 1516605 w 3862373"/>
                <a:gd name="connsiteY3415" fmla="*/ 336070 h 3682908"/>
                <a:gd name="connsiteX3416" fmla="*/ 1477512 w 3862373"/>
                <a:gd name="connsiteY3416" fmla="*/ 296984 h 3682908"/>
                <a:gd name="connsiteX3417" fmla="*/ 1516605 w 3862373"/>
                <a:gd name="connsiteY3417" fmla="*/ 257899 h 3682908"/>
                <a:gd name="connsiteX3418" fmla="*/ 1419597 w 3862373"/>
                <a:gd name="connsiteY3418" fmla="*/ 257899 h 3682908"/>
                <a:gd name="connsiteX3419" fmla="*/ 1458689 w 3862373"/>
                <a:gd name="connsiteY3419" fmla="*/ 296984 h 3682908"/>
                <a:gd name="connsiteX3420" fmla="*/ 1419597 w 3862373"/>
                <a:gd name="connsiteY3420" fmla="*/ 336070 h 3682908"/>
                <a:gd name="connsiteX3421" fmla="*/ 1380501 w 3862373"/>
                <a:gd name="connsiteY3421" fmla="*/ 296984 h 3682908"/>
                <a:gd name="connsiteX3422" fmla="*/ 1419597 w 3862373"/>
                <a:gd name="connsiteY3422" fmla="*/ 257899 h 3682908"/>
                <a:gd name="connsiteX3423" fmla="*/ 1329683 w 3862373"/>
                <a:gd name="connsiteY3423" fmla="*/ 257899 h 3682908"/>
                <a:gd name="connsiteX3424" fmla="*/ 1368775 w 3862373"/>
                <a:gd name="connsiteY3424" fmla="*/ 296984 h 3682908"/>
                <a:gd name="connsiteX3425" fmla="*/ 1329683 w 3862373"/>
                <a:gd name="connsiteY3425" fmla="*/ 336070 h 3682908"/>
                <a:gd name="connsiteX3426" fmla="*/ 1290601 w 3862373"/>
                <a:gd name="connsiteY3426" fmla="*/ 296984 h 3682908"/>
                <a:gd name="connsiteX3427" fmla="*/ 1329683 w 3862373"/>
                <a:gd name="connsiteY3427" fmla="*/ 257899 h 3682908"/>
                <a:gd name="connsiteX3428" fmla="*/ 1232690 w 3862373"/>
                <a:gd name="connsiteY3428" fmla="*/ 257899 h 3682908"/>
                <a:gd name="connsiteX3429" fmla="*/ 1271764 w 3862373"/>
                <a:gd name="connsiteY3429" fmla="*/ 296985 h 3682908"/>
                <a:gd name="connsiteX3430" fmla="*/ 1232690 w 3862373"/>
                <a:gd name="connsiteY3430" fmla="*/ 336070 h 3682908"/>
                <a:gd name="connsiteX3431" fmla="*/ 1193607 w 3862373"/>
                <a:gd name="connsiteY3431" fmla="*/ 296985 h 3682908"/>
                <a:gd name="connsiteX3432" fmla="*/ 1232690 w 3862373"/>
                <a:gd name="connsiteY3432" fmla="*/ 257899 h 3682908"/>
                <a:gd name="connsiteX3433" fmla="*/ 1516605 w 3862373"/>
                <a:gd name="connsiteY3433" fmla="*/ 175085 h 3682908"/>
                <a:gd name="connsiteX3434" fmla="*/ 1555690 w 3862373"/>
                <a:gd name="connsiteY3434" fmla="*/ 214170 h 3682908"/>
                <a:gd name="connsiteX3435" fmla="*/ 1516605 w 3862373"/>
                <a:gd name="connsiteY3435" fmla="*/ 253265 h 3682908"/>
                <a:gd name="connsiteX3436" fmla="*/ 1477512 w 3862373"/>
                <a:gd name="connsiteY3436" fmla="*/ 214170 h 3682908"/>
                <a:gd name="connsiteX3437" fmla="*/ 1516605 w 3862373"/>
                <a:gd name="connsiteY3437" fmla="*/ 175085 h 3682908"/>
                <a:gd name="connsiteX3438" fmla="*/ 1419600 w 3862373"/>
                <a:gd name="connsiteY3438" fmla="*/ 175085 h 3682908"/>
                <a:gd name="connsiteX3439" fmla="*/ 1458689 w 3862373"/>
                <a:gd name="connsiteY3439" fmla="*/ 214170 h 3682908"/>
                <a:gd name="connsiteX3440" fmla="*/ 1419600 w 3862373"/>
                <a:gd name="connsiteY3440" fmla="*/ 253265 h 3682908"/>
                <a:gd name="connsiteX3441" fmla="*/ 1380502 w 3862373"/>
                <a:gd name="connsiteY3441" fmla="*/ 214170 h 3682908"/>
                <a:gd name="connsiteX3442" fmla="*/ 1419600 w 3862373"/>
                <a:gd name="connsiteY3442" fmla="*/ 175085 h 3682908"/>
                <a:gd name="connsiteX3443" fmla="*/ 1329683 w 3862373"/>
                <a:gd name="connsiteY3443" fmla="*/ 175085 h 3682908"/>
                <a:gd name="connsiteX3444" fmla="*/ 1368775 w 3862373"/>
                <a:gd name="connsiteY3444" fmla="*/ 214170 h 3682908"/>
                <a:gd name="connsiteX3445" fmla="*/ 1329683 w 3862373"/>
                <a:gd name="connsiteY3445" fmla="*/ 253265 h 3682908"/>
                <a:gd name="connsiteX3446" fmla="*/ 1290601 w 3862373"/>
                <a:gd name="connsiteY3446" fmla="*/ 214170 h 3682908"/>
                <a:gd name="connsiteX3447" fmla="*/ 1329683 w 3862373"/>
                <a:gd name="connsiteY3447" fmla="*/ 175085 h 3682908"/>
                <a:gd name="connsiteX3448" fmla="*/ 1232690 w 3862373"/>
                <a:gd name="connsiteY3448" fmla="*/ 175085 h 3682908"/>
                <a:gd name="connsiteX3449" fmla="*/ 1271764 w 3862373"/>
                <a:gd name="connsiteY3449" fmla="*/ 214170 h 3682908"/>
                <a:gd name="connsiteX3450" fmla="*/ 1232690 w 3862373"/>
                <a:gd name="connsiteY3450" fmla="*/ 253265 h 3682908"/>
                <a:gd name="connsiteX3451" fmla="*/ 1193607 w 3862373"/>
                <a:gd name="connsiteY3451" fmla="*/ 214170 h 3682908"/>
                <a:gd name="connsiteX3452" fmla="*/ 1232690 w 3862373"/>
                <a:gd name="connsiteY3452" fmla="*/ 175085 h 3682908"/>
                <a:gd name="connsiteX3453" fmla="*/ 1045751 w 3862373"/>
                <a:gd name="connsiteY3453" fmla="*/ 175085 h 3682908"/>
                <a:gd name="connsiteX3454" fmla="*/ 1084842 w 3862373"/>
                <a:gd name="connsiteY3454" fmla="*/ 214172 h 3682908"/>
                <a:gd name="connsiteX3455" fmla="*/ 1045751 w 3862373"/>
                <a:gd name="connsiteY3455" fmla="*/ 253265 h 3682908"/>
                <a:gd name="connsiteX3456" fmla="*/ 1006670 w 3862373"/>
                <a:gd name="connsiteY3456" fmla="*/ 214172 h 3682908"/>
                <a:gd name="connsiteX3457" fmla="*/ 1045751 w 3862373"/>
                <a:gd name="connsiteY3457" fmla="*/ 175085 h 3682908"/>
                <a:gd name="connsiteX3458" fmla="*/ 951129 w 3862373"/>
                <a:gd name="connsiteY3458" fmla="*/ 175085 h 3682908"/>
                <a:gd name="connsiteX3459" fmla="*/ 990205 w 3862373"/>
                <a:gd name="connsiteY3459" fmla="*/ 214172 h 3682908"/>
                <a:gd name="connsiteX3460" fmla="*/ 951129 w 3862373"/>
                <a:gd name="connsiteY3460" fmla="*/ 253265 h 3682908"/>
                <a:gd name="connsiteX3461" fmla="*/ 912045 w 3862373"/>
                <a:gd name="connsiteY3461" fmla="*/ 214172 h 3682908"/>
                <a:gd name="connsiteX3462" fmla="*/ 951129 w 3862373"/>
                <a:gd name="connsiteY3462" fmla="*/ 175085 h 3682908"/>
                <a:gd name="connsiteX3463" fmla="*/ 856503 w 3862373"/>
                <a:gd name="connsiteY3463" fmla="*/ 175085 h 3682908"/>
                <a:gd name="connsiteX3464" fmla="*/ 895582 w 3862373"/>
                <a:gd name="connsiteY3464" fmla="*/ 214172 h 3682908"/>
                <a:gd name="connsiteX3465" fmla="*/ 856503 w 3862373"/>
                <a:gd name="connsiteY3465" fmla="*/ 253265 h 3682908"/>
                <a:gd name="connsiteX3466" fmla="*/ 817422 w 3862373"/>
                <a:gd name="connsiteY3466" fmla="*/ 214172 h 3682908"/>
                <a:gd name="connsiteX3467" fmla="*/ 856503 w 3862373"/>
                <a:gd name="connsiteY3467" fmla="*/ 175085 h 3682908"/>
                <a:gd name="connsiteX3468" fmla="*/ 764243 w 3862373"/>
                <a:gd name="connsiteY3468" fmla="*/ 175085 h 3682908"/>
                <a:gd name="connsiteX3469" fmla="*/ 803326 w 3862373"/>
                <a:gd name="connsiteY3469" fmla="*/ 214172 h 3682908"/>
                <a:gd name="connsiteX3470" fmla="*/ 764243 w 3862373"/>
                <a:gd name="connsiteY3470" fmla="*/ 253265 h 3682908"/>
                <a:gd name="connsiteX3471" fmla="*/ 725161 w 3862373"/>
                <a:gd name="connsiteY3471" fmla="*/ 214172 h 3682908"/>
                <a:gd name="connsiteX3472" fmla="*/ 764243 w 3862373"/>
                <a:gd name="connsiteY3472" fmla="*/ 175085 h 3682908"/>
                <a:gd name="connsiteX3473" fmla="*/ 2831988 w 3862373"/>
                <a:gd name="connsiteY3473" fmla="*/ 175085 h 3682908"/>
                <a:gd name="connsiteX3474" fmla="*/ 2871075 w 3862373"/>
                <a:gd name="connsiteY3474" fmla="*/ 214170 h 3682908"/>
                <a:gd name="connsiteX3475" fmla="*/ 2831988 w 3862373"/>
                <a:gd name="connsiteY3475" fmla="*/ 253265 h 3682908"/>
                <a:gd name="connsiteX3476" fmla="*/ 2792901 w 3862373"/>
                <a:gd name="connsiteY3476" fmla="*/ 214170 h 3682908"/>
                <a:gd name="connsiteX3477" fmla="*/ 2831988 w 3862373"/>
                <a:gd name="connsiteY3477" fmla="*/ 175085 h 3682908"/>
                <a:gd name="connsiteX3478" fmla="*/ 2079618 w 3862373"/>
                <a:gd name="connsiteY3478" fmla="*/ 175085 h 3682908"/>
                <a:gd name="connsiteX3479" fmla="*/ 2118703 w 3862373"/>
                <a:gd name="connsiteY3479" fmla="*/ 214170 h 3682908"/>
                <a:gd name="connsiteX3480" fmla="*/ 2079618 w 3862373"/>
                <a:gd name="connsiteY3480" fmla="*/ 253265 h 3682908"/>
                <a:gd name="connsiteX3481" fmla="*/ 2040537 w 3862373"/>
                <a:gd name="connsiteY3481" fmla="*/ 214170 h 3682908"/>
                <a:gd name="connsiteX3482" fmla="*/ 2079618 w 3862373"/>
                <a:gd name="connsiteY3482" fmla="*/ 175085 h 3682908"/>
                <a:gd name="connsiteX3483" fmla="*/ 1984973 w 3862373"/>
                <a:gd name="connsiteY3483" fmla="*/ 175085 h 3682908"/>
                <a:gd name="connsiteX3484" fmla="*/ 2024073 w 3862373"/>
                <a:gd name="connsiteY3484" fmla="*/ 214170 h 3682908"/>
                <a:gd name="connsiteX3485" fmla="*/ 1984973 w 3862373"/>
                <a:gd name="connsiteY3485" fmla="*/ 253265 h 3682908"/>
                <a:gd name="connsiteX3486" fmla="*/ 1945875 w 3862373"/>
                <a:gd name="connsiteY3486" fmla="*/ 214170 h 3682908"/>
                <a:gd name="connsiteX3487" fmla="*/ 1984973 w 3862373"/>
                <a:gd name="connsiteY3487" fmla="*/ 175085 h 3682908"/>
                <a:gd name="connsiteX3488" fmla="*/ 1890340 w 3862373"/>
                <a:gd name="connsiteY3488" fmla="*/ 175085 h 3682908"/>
                <a:gd name="connsiteX3489" fmla="*/ 1929413 w 3862373"/>
                <a:gd name="connsiteY3489" fmla="*/ 214170 h 3682908"/>
                <a:gd name="connsiteX3490" fmla="*/ 1890340 w 3862373"/>
                <a:gd name="connsiteY3490" fmla="*/ 253265 h 3682908"/>
                <a:gd name="connsiteX3491" fmla="*/ 1851255 w 3862373"/>
                <a:gd name="connsiteY3491" fmla="*/ 214170 h 3682908"/>
                <a:gd name="connsiteX3492" fmla="*/ 1890340 w 3862373"/>
                <a:gd name="connsiteY3492" fmla="*/ 175085 h 3682908"/>
                <a:gd name="connsiteX3493" fmla="*/ 1798073 w 3862373"/>
                <a:gd name="connsiteY3493" fmla="*/ 175085 h 3682908"/>
                <a:gd name="connsiteX3494" fmla="*/ 1837149 w 3862373"/>
                <a:gd name="connsiteY3494" fmla="*/ 214170 h 3682908"/>
                <a:gd name="connsiteX3495" fmla="*/ 1798073 w 3862373"/>
                <a:gd name="connsiteY3495" fmla="*/ 253265 h 3682908"/>
                <a:gd name="connsiteX3496" fmla="*/ 1758966 w 3862373"/>
                <a:gd name="connsiteY3496" fmla="*/ 214170 h 3682908"/>
                <a:gd name="connsiteX3497" fmla="*/ 1798073 w 3862373"/>
                <a:gd name="connsiteY3497" fmla="*/ 175085 h 3682908"/>
                <a:gd name="connsiteX3498" fmla="*/ 1703435 w 3862373"/>
                <a:gd name="connsiteY3498" fmla="*/ 175085 h 3682908"/>
                <a:gd name="connsiteX3499" fmla="*/ 1742524 w 3862373"/>
                <a:gd name="connsiteY3499" fmla="*/ 214170 h 3682908"/>
                <a:gd name="connsiteX3500" fmla="*/ 1703435 w 3862373"/>
                <a:gd name="connsiteY3500" fmla="*/ 253265 h 3682908"/>
                <a:gd name="connsiteX3501" fmla="*/ 1664351 w 3862373"/>
                <a:gd name="connsiteY3501" fmla="*/ 214170 h 3682908"/>
                <a:gd name="connsiteX3502" fmla="*/ 1703435 w 3862373"/>
                <a:gd name="connsiteY3502" fmla="*/ 175085 h 3682908"/>
                <a:gd name="connsiteX3503" fmla="*/ 1611151 w 3862373"/>
                <a:gd name="connsiteY3503" fmla="*/ 175085 h 3682908"/>
                <a:gd name="connsiteX3504" fmla="*/ 1650245 w 3862373"/>
                <a:gd name="connsiteY3504" fmla="*/ 214170 h 3682908"/>
                <a:gd name="connsiteX3505" fmla="*/ 1611151 w 3862373"/>
                <a:gd name="connsiteY3505" fmla="*/ 253265 h 3682908"/>
                <a:gd name="connsiteX3506" fmla="*/ 1572158 w 3862373"/>
                <a:gd name="connsiteY3506" fmla="*/ 214170 h 3682908"/>
                <a:gd name="connsiteX3507" fmla="*/ 1611151 w 3862373"/>
                <a:gd name="connsiteY3507" fmla="*/ 175085 h 3682908"/>
                <a:gd name="connsiteX3508" fmla="*/ 798955 w 3862373"/>
                <a:gd name="connsiteY3508" fmla="*/ 113714 h 3682908"/>
                <a:gd name="connsiteX3509" fmla="*/ 803326 w 3862373"/>
                <a:gd name="connsiteY3509" fmla="*/ 124268 h 3682908"/>
                <a:gd name="connsiteX3510" fmla="*/ 764243 w 3862373"/>
                <a:gd name="connsiteY3510" fmla="*/ 163353 h 3682908"/>
                <a:gd name="connsiteX3511" fmla="*/ 738461 w 3862373"/>
                <a:gd name="connsiteY3511" fmla="*/ 152674 h 3682908"/>
                <a:gd name="connsiteX3512" fmla="*/ 754212 w 3862373"/>
                <a:gd name="connsiteY3512" fmla="*/ 140896 h 3682908"/>
                <a:gd name="connsiteX3513" fmla="*/ 2904918 w 3862373"/>
                <a:gd name="connsiteY3513" fmla="*/ 93195 h 3682908"/>
                <a:gd name="connsiteX3514" fmla="*/ 2961886 w 3862373"/>
                <a:gd name="connsiteY3514" fmla="*/ 127804 h 3682908"/>
                <a:gd name="connsiteX3515" fmla="*/ 2951903 w 3862373"/>
                <a:gd name="connsiteY3515" fmla="*/ 151905 h 3682908"/>
                <a:gd name="connsiteX3516" fmla="*/ 2924264 w 3862373"/>
                <a:gd name="connsiteY3516" fmla="*/ 163353 h 3682908"/>
                <a:gd name="connsiteX3517" fmla="*/ 2885177 w 3862373"/>
                <a:gd name="connsiteY3517" fmla="*/ 124267 h 3682908"/>
                <a:gd name="connsiteX3518" fmla="*/ 2896625 w 3862373"/>
                <a:gd name="connsiteY3518" fmla="*/ 96630 h 3682908"/>
                <a:gd name="connsiteX3519" fmla="*/ 2831988 w 3862373"/>
                <a:gd name="connsiteY3519" fmla="*/ 85181 h 3682908"/>
                <a:gd name="connsiteX3520" fmla="*/ 2871075 w 3862373"/>
                <a:gd name="connsiteY3520" fmla="*/ 124267 h 3682908"/>
                <a:gd name="connsiteX3521" fmla="*/ 2831988 w 3862373"/>
                <a:gd name="connsiteY3521" fmla="*/ 163353 h 3682908"/>
                <a:gd name="connsiteX3522" fmla="*/ 2792901 w 3862373"/>
                <a:gd name="connsiteY3522" fmla="*/ 124267 h 3682908"/>
                <a:gd name="connsiteX3523" fmla="*/ 2831988 w 3862373"/>
                <a:gd name="connsiteY3523" fmla="*/ 85181 h 3682908"/>
                <a:gd name="connsiteX3524" fmla="*/ 2171887 w 3862373"/>
                <a:gd name="connsiteY3524" fmla="*/ 85181 h 3682908"/>
                <a:gd name="connsiteX3525" fmla="*/ 2210981 w 3862373"/>
                <a:gd name="connsiteY3525" fmla="*/ 124267 h 3682908"/>
                <a:gd name="connsiteX3526" fmla="*/ 2171887 w 3862373"/>
                <a:gd name="connsiteY3526" fmla="*/ 163353 h 3682908"/>
                <a:gd name="connsiteX3527" fmla="*/ 2132800 w 3862373"/>
                <a:gd name="connsiteY3527" fmla="*/ 124267 h 3682908"/>
                <a:gd name="connsiteX3528" fmla="*/ 2171887 w 3862373"/>
                <a:gd name="connsiteY3528" fmla="*/ 85181 h 3682908"/>
                <a:gd name="connsiteX3529" fmla="*/ 2079618 w 3862373"/>
                <a:gd name="connsiteY3529" fmla="*/ 85181 h 3682908"/>
                <a:gd name="connsiteX3530" fmla="*/ 2118703 w 3862373"/>
                <a:gd name="connsiteY3530" fmla="*/ 124267 h 3682908"/>
                <a:gd name="connsiteX3531" fmla="*/ 2079618 w 3862373"/>
                <a:gd name="connsiteY3531" fmla="*/ 163353 h 3682908"/>
                <a:gd name="connsiteX3532" fmla="*/ 2040537 w 3862373"/>
                <a:gd name="connsiteY3532" fmla="*/ 124267 h 3682908"/>
                <a:gd name="connsiteX3533" fmla="*/ 2079618 w 3862373"/>
                <a:gd name="connsiteY3533" fmla="*/ 85181 h 3682908"/>
                <a:gd name="connsiteX3534" fmla="*/ 1984973 w 3862373"/>
                <a:gd name="connsiteY3534" fmla="*/ 85181 h 3682908"/>
                <a:gd name="connsiteX3535" fmla="*/ 2024073 w 3862373"/>
                <a:gd name="connsiteY3535" fmla="*/ 124268 h 3682908"/>
                <a:gd name="connsiteX3536" fmla="*/ 1984973 w 3862373"/>
                <a:gd name="connsiteY3536" fmla="*/ 163353 h 3682908"/>
                <a:gd name="connsiteX3537" fmla="*/ 1945875 w 3862373"/>
                <a:gd name="connsiteY3537" fmla="*/ 124268 h 3682908"/>
                <a:gd name="connsiteX3538" fmla="*/ 1984973 w 3862373"/>
                <a:gd name="connsiteY3538" fmla="*/ 85181 h 3682908"/>
                <a:gd name="connsiteX3539" fmla="*/ 1890340 w 3862373"/>
                <a:gd name="connsiteY3539" fmla="*/ 85181 h 3682908"/>
                <a:gd name="connsiteX3540" fmla="*/ 1929413 w 3862373"/>
                <a:gd name="connsiteY3540" fmla="*/ 124268 h 3682908"/>
                <a:gd name="connsiteX3541" fmla="*/ 1890340 w 3862373"/>
                <a:gd name="connsiteY3541" fmla="*/ 163353 h 3682908"/>
                <a:gd name="connsiteX3542" fmla="*/ 1851255 w 3862373"/>
                <a:gd name="connsiteY3542" fmla="*/ 124268 h 3682908"/>
                <a:gd name="connsiteX3543" fmla="*/ 1890340 w 3862373"/>
                <a:gd name="connsiteY3543" fmla="*/ 85181 h 3682908"/>
                <a:gd name="connsiteX3544" fmla="*/ 1798073 w 3862373"/>
                <a:gd name="connsiteY3544" fmla="*/ 85181 h 3682908"/>
                <a:gd name="connsiteX3545" fmla="*/ 1837149 w 3862373"/>
                <a:gd name="connsiteY3545" fmla="*/ 124268 h 3682908"/>
                <a:gd name="connsiteX3546" fmla="*/ 1798073 w 3862373"/>
                <a:gd name="connsiteY3546" fmla="*/ 163353 h 3682908"/>
                <a:gd name="connsiteX3547" fmla="*/ 1758966 w 3862373"/>
                <a:gd name="connsiteY3547" fmla="*/ 124268 h 3682908"/>
                <a:gd name="connsiteX3548" fmla="*/ 1798073 w 3862373"/>
                <a:gd name="connsiteY3548" fmla="*/ 85181 h 3682908"/>
                <a:gd name="connsiteX3549" fmla="*/ 1703435 w 3862373"/>
                <a:gd name="connsiteY3549" fmla="*/ 85181 h 3682908"/>
                <a:gd name="connsiteX3550" fmla="*/ 1742524 w 3862373"/>
                <a:gd name="connsiteY3550" fmla="*/ 124268 h 3682908"/>
                <a:gd name="connsiteX3551" fmla="*/ 1703435 w 3862373"/>
                <a:gd name="connsiteY3551" fmla="*/ 163353 h 3682908"/>
                <a:gd name="connsiteX3552" fmla="*/ 1664351 w 3862373"/>
                <a:gd name="connsiteY3552" fmla="*/ 124268 h 3682908"/>
                <a:gd name="connsiteX3553" fmla="*/ 1703435 w 3862373"/>
                <a:gd name="connsiteY3553" fmla="*/ 85181 h 3682908"/>
                <a:gd name="connsiteX3554" fmla="*/ 1611151 w 3862373"/>
                <a:gd name="connsiteY3554" fmla="*/ 85181 h 3682908"/>
                <a:gd name="connsiteX3555" fmla="*/ 1650245 w 3862373"/>
                <a:gd name="connsiteY3555" fmla="*/ 124268 h 3682908"/>
                <a:gd name="connsiteX3556" fmla="*/ 1611151 w 3862373"/>
                <a:gd name="connsiteY3556" fmla="*/ 163353 h 3682908"/>
                <a:gd name="connsiteX3557" fmla="*/ 1572160 w 3862373"/>
                <a:gd name="connsiteY3557" fmla="*/ 124268 h 3682908"/>
                <a:gd name="connsiteX3558" fmla="*/ 1611151 w 3862373"/>
                <a:gd name="connsiteY3558" fmla="*/ 85181 h 3682908"/>
                <a:gd name="connsiteX3559" fmla="*/ 1516607 w 3862373"/>
                <a:gd name="connsiteY3559" fmla="*/ 85181 h 3682908"/>
                <a:gd name="connsiteX3560" fmla="*/ 1555693 w 3862373"/>
                <a:gd name="connsiteY3560" fmla="*/ 124268 h 3682908"/>
                <a:gd name="connsiteX3561" fmla="*/ 1516607 w 3862373"/>
                <a:gd name="connsiteY3561" fmla="*/ 163353 h 3682908"/>
                <a:gd name="connsiteX3562" fmla="*/ 1477512 w 3862373"/>
                <a:gd name="connsiteY3562" fmla="*/ 124268 h 3682908"/>
                <a:gd name="connsiteX3563" fmla="*/ 1516607 w 3862373"/>
                <a:gd name="connsiteY3563" fmla="*/ 85181 h 3682908"/>
                <a:gd name="connsiteX3564" fmla="*/ 1419600 w 3862373"/>
                <a:gd name="connsiteY3564" fmla="*/ 85181 h 3682908"/>
                <a:gd name="connsiteX3565" fmla="*/ 1458689 w 3862373"/>
                <a:gd name="connsiteY3565" fmla="*/ 124268 h 3682908"/>
                <a:gd name="connsiteX3566" fmla="*/ 1419600 w 3862373"/>
                <a:gd name="connsiteY3566" fmla="*/ 163353 h 3682908"/>
                <a:gd name="connsiteX3567" fmla="*/ 1380504 w 3862373"/>
                <a:gd name="connsiteY3567" fmla="*/ 124268 h 3682908"/>
                <a:gd name="connsiteX3568" fmla="*/ 1419600 w 3862373"/>
                <a:gd name="connsiteY3568" fmla="*/ 85181 h 3682908"/>
                <a:gd name="connsiteX3569" fmla="*/ 1329684 w 3862373"/>
                <a:gd name="connsiteY3569" fmla="*/ 85181 h 3682908"/>
                <a:gd name="connsiteX3570" fmla="*/ 1368775 w 3862373"/>
                <a:gd name="connsiteY3570" fmla="*/ 124268 h 3682908"/>
                <a:gd name="connsiteX3571" fmla="*/ 1329684 w 3862373"/>
                <a:gd name="connsiteY3571" fmla="*/ 163353 h 3682908"/>
                <a:gd name="connsiteX3572" fmla="*/ 1290604 w 3862373"/>
                <a:gd name="connsiteY3572" fmla="*/ 124268 h 3682908"/>
                <a:gd name="connsiteX3573" fmla="*/ 1329684 w 3862373"/>
                <a:gd name="connsiteY3573" fmla="*/ 85181 h 3682908"/>
                <a:gd name="connsiteX3574" fmla="*/ 1142780 w 3862373"/>
                <a:gd name="connsiteY3574" fmla="*/ 85181 h 3682908"/>
                <a:gd name="connsiteX3575" fmla="*/ 1181872 w 3862373"/>
                <a:gd name="connsiteY3575" fmla="*/ 124268 h 3682908"/>
                <a:gd name="connsiteX3576" fmla="*/ 1142780 w 3862373"/>
                <a:gd name="connsiteY3576" fmla="*/ 163353 h 3682908"/>
                <a:gd name="connsiteX3577" fmla="*/ 1103680 w 3862373"/>
                <a:gd name="connsiteY3577" fmla="*/ 124268 h 3682908"/>
                <a:gd name="connsiteX3578" fmla="*/ 1142780 w 3862373"/>
                <a:gd name="connsiteY3578" fmla="*/ 85181 h 3682908"/>
                <a:gd name="connsiteX3579" fmla="*/ 1045753 w 3862373"/>
                <a:gd name="connsiteY3579" fmla="*/ 85181 h 3682908"/>
                <a:gd name="connsiteX3580" fmla="*/ 1084842 w 3862373"/>
                <a:gd name="connsiteY3580" fmla="*/ 124268 h 3682908"/>
                <a:gd name="connsiteX3581" fmla="*/ 1045753 w 3862373"/>
                <a:gd name="connsiteY3581" fmla="*/ 163353 h 3682908"/>
                <a:gd name="connsiteX3582" fmla="*/ 1006670 w 3862373"/>
                <a:gd name="connsiteY3582" fmla="*/ 124268 h 3682908"/>
                <a:gd name="connsiteX3583" fmla="*/ 1045753 w 3862373"/>
                <a:gd name="connsiteY3583" fmla="*/ 85181 h 3682908"/>
                <a:gd name="connsiteX3584" fmla="*/ 951129 w 3862373"/>
                <a:gd name="connsiteY3584" fmla="*/ 85181 h 3682908"/>
                <a:gd name="connsiteX3585" fmla="*/ 990205 w 3862373"/>
                <a:gd name="connsiteY3585" fmla="*/ 124268 h 3682908"/>
                <a:gd name="connsiteX3586" fmla="*/ 951129 w 3862373"/>
                <a:gd name="connsiteY3586" fmla="*/ 163353 h 3682908"/>
                <a:gd name="connsiteX3587" fmla="*/ 912045 w 3862373"/>
                <a:gd name="connsiteY3587" fmla="*/ 124268 h 3682908"/>
                <a:gd name="connsiteX3588" fmla="*/ 951129 w 3862373"/>
                <a:gd name="connsiteY3588" fmla="*/ 85181 h 3682908"/>
                <a:gd name="connsiteX3589" fmla="*/ 856503 w 3862373"/>
                <a:gd name="connsiteY3589" fmla="*/ 85181 h 3682908"/>
                <a:gd name="connsiteX3590" fmla="*/ 895582 w 3862373"/>
                <a:gd name="connsiteY3590" fmla="*/ 124268 h 3682908"/>
                <a:gd name="connsiteX3591" fmla="*/ 856503 w 3862373"/>
                <a:gd name="connsiteY3591" fmla="*/ 163353 h 3682908"/>
                <a:gd name="connsiteX3592" fmla="*/ 817424 w 3862373"/>
                <a:gd name="connsiteY3592" fmla="*/ 124268 h 3682908"/>
                <a:gd name="connsiteX3593" fmla="*/ 856503 w 3862373"/>
                <a:gd name="connsiteY3593" fmla="*/ 85181 h 3682908"/>
                <a:gd name="connsiteX3594" fmla="*/ 978967 w 3862373"/>
                <a:gd name="connsiteY3594" fmla="*/ 11950 h 3682908"/>
                <a:gd name="connsiteX3595" fmla="*/ 990205 w 3862373"/>
                <a:gd name="connsiteY3595" fmla="*/ 39087 h 3682908"/>
                <a:gd name="connsiteX3596" fmla="*/ 951129 w 3862373"/>
                <a:gd name="connsiteY3596" fmla="*/ 78173 h 3682908"/>
                <a:gd name="connsiteX3597" fmla="*/ 923492 w 3862373"/>
                <a:gd name="connsiteY3597" fmla="*/ 66725 h 3682908"/>
                <a:gd name="connsiteX3598" fmla="*/ 914005 w 3862373"/>
                <a:gd name="connsiteY3598" fmla="*/ 43819 h 3682908"/>
                <a:gd name="connsiteX3599" fmla="*/ 918580 w 3862373"/>
                <a:gd name="connsiteY3599" fmla="*/ 41040 h 3682908"/>
                <a:gd name="connsiteX3600" fmla="*/ 2266537 w 3862373"/>
                <a:gd name="connsiteY3600" fmla="*/ 0 h 3682908"/>
                <a:gd name="connsiteX3601" fmla="*/ 2305619 w 3862373"/>
                <a:gd name="connsiteY3601" fmla="*/ 39087 h 3682908"/>
                <a:gd name="connsiteX3602" fmla="*/ 2266537 w 3862373"/>
                <a:gd name="connsiteY3602" fmla="*/ 78173 h 3682908"/>
                <a:gd name="connsiteX3603" fmla="*/ 2227443 w 3862373"/>
                <a:gd name="connsiteY3603" fmla="*/ 39087 h 3682908"/>
                <a:gd name="connsiteX3604" fmla="*/ 2266537 w 3862373"/>
                <a:gd name="connsiteY3604" fmla="*/ 0 h 3682908"/>
                <a:gd name="connsiteX3605" fmla="*/ 2171887 w 3862373"/>
                <a:gd name="connsiteY3605" fmla="*/ 0 h 3682908"/>
                <a:gd name="connsiteX3606" fmla="*/ 2210981 w 3862373"/>
                <a:gd name="connsiteY3606" fmla="*/ 39087 h 3682908"/>
                <a:gd name="connsiteX3607" fmla="*/ 2171887 w 3862373"/>
                <a:gd name="connsiteY3607" fmla="*/ 78173 h 3682908"/>
                <a:gd name="connsiteX3608" fmla="*/ 2132800 w 3862373"/>
                <a:gd name="connsiteY3608" fmla="*/ 39087 h 3682908"/>
                <a:gd name="connsiteX3609" fmla="*/ 2171887 w 3862373"/>
                <a:gd name="connsiteY3609" fmla="*/ 0 h 3682908"/>
                <a:gd name="connsiteX3610" fmla="*/ 2079618 w 3862373"/>
                <a:gd name="connsiteY3610" fmla="*/ 0 h 3682908"/>
                <a:gd name="connsiteX3611" fmla="*/ 2118703 w 3862373"/>
                <a:gd name="connsiteY3611" fmla="*/ 39087 h 3682908"/>
                <a:gd name="connsiteX3612" fmla="*/ 2079618 w 3862373"/>
                <a:gd name="connsiteY3612" fmla="*/ 78173 h 3682908"/>
                <a:gd name="connsiteX3613" fmla="*/ 2040537 w 3862373"/>
                <a:gd name="connsiteY3613" fmla="*/ 39087 h 3682908"/>
                <a:gd name="connsiteX3614" fmla="*/ 2079618 w 3862373"/>
                <a:gd name="connsiteY3614" fmla="*/ 0 h 3682908"/>
                <a:gd name="connsiteX3615" fmla="*/ 1984973 w 3862373"/>
                <a:gd name="connsiteY3615" fmla="*/ 0 h 3682908"/>
                <a:gd name="connsiteX3616" fmla="*/ 2024073 w 3862373"/>
                <a:gd name="connsiteY3616" fmla="*/ 39087 h 3682908"/>
                <a:gd name="connsiteX3617" fmla="*/ 1984973 w 3862373"/>
                <a:gd name="connsiteY3617" fmla="*/ 78173 h 3682908"/>
                <a:gd name="connsiteX3618" fmla="*/ 1945875 w 3862373"/>
                <a:gd name="connsiteY3618" fmla="*/ 39087 h 3682908"/>
                <a:gd name="connsiteX3619" fmla="*/ 1984973 w 3862373"/>
                <a:gd name="connsiteY3619" fmla="*/ 0 h 3682908"/>
                <a:gd name="connsiteX3620" fmla="*/ 1890340 w 3862373"/>
                <a:gd name="connsiteY3620" fmla="*/ 0 h 3682908"/>
                <a:gd name="connsiteX3621" fmla="*/ 1929413 w 3862373"/>
                <a:gd name="connsiteY3621" fmla="*/ 39087 h 3682908"/>
                <a:gd name="connsiteX3622" fmla="*/ 1890340 w 3862373"/>
                <a:gd name="connsiteY3622" fmla="*/ 78173 h 3682908"/>
                <a:gd name="connsiteX3623" fmla="*/ 1851255 w 3862373"/>
                <a:gd name="connsiteY3623" fmla="*/ 39087 h 3682908"/>
                <a:gd name="connsiteX3624" fmla="*/ 1890340 w 3862373"/>
                <a:gd name="connsiteY3624" fmla="*/ 0 h 3682908"/>
                <a:gd name="connsiteX3625" fmla="*/ 1798073 w 3862373"/>
                <a:gd name="connsiteY3625" fmla="*/ 0 h 3682908"/>
                <a:gd name="connsiteX3626" fmla="*/ 1837149 w 3862373"/>
                <a:gd name="connsiteY3626" fmla="*/ 39087 h 3682908"/>
                <a:gd name="connsiteX3627" fmla="*/ 1798073 w 3862373"/>
                <a:gd name="connsiteY3627" fmla="*/ 78173 h 3682908"/>
                <a:gd name="connsiteX3628" fmla="*/ 1758966 w 3862373"/>
                <a:gd name="connsiteY3628" fmla="*/ 39087 h 3682908"/>
                <a:gd name="connsiteX3629" fmla="*/ 1798073 w 3862373"/>
                <a:gd name="connsiteY3629" fmla="*/ 0 h 3682908"/>
                <a:gd name="connsiteX3630" fmla="*/ 1703435 w 3862373"/>
                <a:gd name="connsiteY3630" fmla="*/ 0 h 3682908"/>
                <a:gd name="connsiteX3631" fmla="*/ 1742524 w 3862373"/>
                <a:gd name="connsiteY3631" fmla="*/ 39087 h 3682908"/>
                <a:gd name="connsiteX3632" fmla="*/ 1703435 w 3862373"/>
                <a:gd name="connsiteY3632" fmla="*/ 78173 h 3682908"/>
                <a:gd name="connsiteX3633" fmla="*/ 1664351 w 3862373"/>
                <a:gd name="connsiteY3633" fmla="*/ 39087 h 3682908"/>
                <a:gd name="connsiteX3634" fmla="*/ 1703435 w 3862373"/>
                <a:gd name="connsiteY3634" fmla="*/ 0 h 3682908"/>
                <a:gd name="connsiteX3635" fmla="*/ 1611151 w 3862373"/>
                <a:gd name="connsiteY3635" fmla="*/ 0 h 3682908"/>
                <a:gd name="connsiteX3636" fmla="*/ 1650245 w 3862373"/>
                <a:gd name="connsiteY3636" fmla="*/ 39087 h 3682908"/>
                <a:gd name="connsiteX3637" fmla="*/ 1611151 w 3862373"/>
                <a:gd name="connsiteY3637" fmla="*/ 78173 h 3682908"/>
                <a:gd name="connsiteX3638" fmla="*/ 1572160 w 3862373"/>
                <a:gd name="connsiteY3638" fmla="*/ 39087 h 3682908"/>
                <a:gd name="connsiteX3639" fmla="*/ 1611151 w 3862373"/>
                <a:gd name="connsiteY3639" fmla="*/ 0 h 3682908"/>
                <a:gd name="connsiteX3640" fmla="*/ 1516607 w 3862373"/>
                <a:gd name="connsiteY3640" fmla="*/ 0 h 3682908"/>
                <a:gd name="connsiteX3641" fmla="*/ 1555693 w 3862373"/>
                <a:gd name="connsiteY3641" fmla="*/ 39087 h 3682908"/>
                <a:gd name="connsiteX3642" fmla="*/ 1516607 w 3862373"/>
                <a:gd name="connsiteY3642" fmla="*/ 78173 h 3682908"/>
                <a:gd name="connsiteX3643" fmla="*/ 1477512 w 3862373"/>
                <a:gd name="connsiteY3643" fmla="*/ 39087 h 3682908"/>
                <a:gd name="connsiteX3644" fmla="*/ 1516607 w 3862373"/>
                <a:gd name="connsiteY3644" fmla="*/ 0 h 3682908"/>
                <a:gd name="connsiteX3645" fmla="*/ 1232692 w 3862373"/>
                <a:gd name="connsiteY3645" fmla="*/ 0 h 3682908"/>
                <a:gd name="connsiteX3646" fmla="*/ 1271765 w 3862373"/>
                <a:gd name="connsiteY3646" fmla="*/ 39087 h 3682908"/>
                <a:gd name="connsiteX3647" fmla="*/ 1232692 w 3862373"/>
                <a:gd name="connsiteY3647" fmla="*/ 78173 h 3682908"/>
                <a:gd name="connsiteX3648" fmla="*/ 1193607 w 3862373"/>
                <a:gd name="connsiteY3648" fmla="*/ 39087 h 3682908"/>
                <a:gd name="connsiteX3649" fmla="*/ 1232692 w 3862373"/>
                <a:gd name="connsiteY3649" fmla="*/ 0 h 3682908"/>
                <a:gd name="connsiteX3650" fmla="*/ 1142780 w 3862373"/>
                <a:gd name="connsiteY3650" fmla="*/ 0 h 3682908"/>
                <a:gd name="connsiteX3651" fmla="*/ 1181872 w 3862373"/>
                <a:gd name="connsiteY3651" fmla="*/ 39087 h 3682908"/>
                <a:gd name="connsiteX3652" fmla="*/ 1142780 w 3862373"/>
                <a:gd name="connsiteY3652" fmla="*/ 78173 h 3682908"/>
                <a:gd name="connsiteX3653" fmla="*/ 1103680 w 3862373"/>
                <a:gd name="connsiteY3653" fmla="*/ 39087 h 3682908"/>
                <a:gd name="connsiteX3654" fmla="*/ 1142780 w 3862373"/>
                <a:gd name="connsiteY3654" fmla="*/ 0 h 3682908"/>
                <a:gd name="connsiteX3655" fmla="*/ 1045753 w 3862373"/>
                <a:gd name="connsiteY3655" fmla="*/ 0 h 3682908"/>
                <a:gd name="connsiteX3656" fmla="*/ 1084842 w 3862373"/>
                <a:gd name="connsiteY3656" fmla="*/ 39087 h 3682908"/>
                <a:gd name="connsiteX3657" fmla="*/ 1045753 w 3862373"/>
                <a:gd name="connsiteY3657" fmla="*/ 78173 h 3682908"/>
                <a:gd name="connsiteX3658" fmla="*/ 1006670 w 3862373"/>
                <a:gd name="connsiteY3658" fmla="*/ 39087 h 3682908"/>
                <a:gd name="connsiteX3659" fmla="*/ 1045753 w 3862373"/>
                <a:gd name="connsiteY3659" fmla="*/ 0 h 368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Lst>
              <a:rect l="l" t="t" r="r" b="b"/>
              <a:pathLst>
                <a:path w="3862373" h="3682908">
                  <a:moveTo>
                    <a:pt x="1142662" y="3605757"/>
                  </a:moveTo>
                  <a:cubicBezTo>
                    <a:pt x="1164249" y="3605757"/>
                    <a:pt x="1181749" y="3623257"/>
                    <a:pt x="1181749" y="3644844"/>
                  </a:cubicBezTo>
                  <a:lnTo>
                    <a:pt x="1175073" y="3660960"/>
                  </a:lnTo>
                  <a:lnTo>
                    <a:pt x="1107191" y="3636115"/>
                  </a:lnTo>
                  <a:lnTo>
                    <a:pt x="1115023" y="3617205"/>
                  </a:lnTo>
                  <a:cubicBezTo>
                    <a:pt x="1122096" y="3610132"/>
                    <a:pt x="1131868" y="3605757"/>
                    <a:pt x="1142662" y="3605757"/>
                  </a:cubicBezTo>
                  <a:close/>
                  <a:moveTo>
                    <a:pt x="1232571" y="3605756"/>
                  </a:moveTo>
                  <a:cubicBezTo>
                    <a:pt x="1254158" y="3605756"/>
                    <a:pt x="1271658" y="3623256"/>
                    <a:pt x="1271658" y="3644843"/>
                  </a:cubicBezTo>
                  <a:cubicBezTo>
                    <a:pt x="1271658" y="3655637"/>
                    <a:pt x="1267283" y="3665408"/>
                    <a:pt x="1260210" y="3672482"/>
                  </a:cubicBezTo>
                  <a:lnTo>
                    <a:pt x="1235039" y="3682908"/>
                  </a:lnTo>
                  <a:lnTo>
                    <a:pt x="1204643" y="3671783"/>
                  </a:lnTo>
                  <a:lnTo>
                    <a:pt x="1193484" y="3644843"/>
                  </a:lnTo>
                  <a:cubicBezTo>
                    <a:pt x="1193484" y="3623256"/>
                    <a:pt x="1210984" y="3605756"/>
                    <a:pt x="1232571" y="3605756"/>
                  </a:cubicBezTo>
                  <a:close/>
                  <a:moveTo>
                    <a:pt x="1232571" y="3520580"/>
                  </a:moveTo>
                  <a:cubicBezTo>
                    <a:pt x="1254158" y="3520580"/>
                    <a:pt x="1271658" y="3538080"/>
                    <a:pt x="1271658" y="3559667"/>
                  </a:cubicBezTo>
                  <a:cubicBezTo>
                    <a:pt x="1271658" y="3581254"/>
                    <a:pt x="1254158" y="3598754"/>
                    <a:pt x="1232571" y="3598754"/>
                  </a:cubicBezTo>
                  <a:cubicBezTo>
                    <a:pt x="1210984" y="3598754"/>
                    <a:pt x="1193484" y="3581254"/>
                    <a:pt x="1193484" y="3559667"/>
                  </a:cubicBezTo>
                  <a:cubicBezTo>
                    <a:pt x="1193484" y="3538080"/>
                    <a:pt x="1210984" y="3520580"/>
                    <a:pt x="1232571" y="3520580"/>
                  </a:cubicBezTo>
                  <a:close/>
                  <a:moveTo>
                    <a:pt x="1142662" y="3520580"/>
                  </a:moveTo>
                  <a:cubicBezTo>
                    <a:pt x="1164249" y="3520580"/>
                    <a:pt x="1181749" y="3538080"/>
                    <a:pt x="1181749" y="3559667"/>
                  </a:cubicBezTo>
                  <a:cubicBezTo>
                    <a:pt x="1181749" y="3581254"/>
                    <a:pt x="1164249" y="3598754"/>
                    <a:pt x="1142662" y="3598754"/>
                  </a:cubicBezTo>
                  <a:cubicBezTo>
                    <a:pt x="1121074" y="3598754"/>
                    <a:pt x="1103575" y="3581254"/>
                    <a:pt x="1103575" y="3559667"/>
                  </a:cubicBezTo>
                  <a:cubicBezTo>
                    <a:pt x="1103575" y="3538080"/>
                    <a:pt x="1121074" y="3520580"/>
                    <a:pt x="1142662" y="3520580"/>
                  </a:cubicBezTo>
                  <a:close/>
                  <a:moveTo>
                    <a:pt x="1232572" y="3435404"/>
                  </a:moveTo>
                  <a:cubicBezTo>
                    <a:pt x="1254159" y="3435404"/>
                    <a:pt x="1271659" y="3452904"/>
                    <a:pt x="1271659" y="3474491"/>
                  </a:cubicBezTo>
                  <a:cubicBezTo>
                    <a:pt x="1271659" y="3496078"/>
                    <a:pt x="1254159" y="3513578"/>
                    <a:pt x="1232572" y="3513578"/>
                  </a:cubicBezTo>
                  <a:cubicBezTo>
                    <a:pt x="1210985" y="3513578"/>
                    <a:pt x="1193485" y="3496078"/>
                    <a:pt x="1193485" y="3474491"/>
                  </a:cubicBezTo>
                  <a:cubicBezTo>
                    <a:pt x="1193485" y="3452904"/>
                    <a:pt x="1210985" y="3435404"/>
                    <a:pt x="1232572" y="3435404"/>
                  </a:cubicBezTo>
                  <a:close/>
                  <a:moveTo>
                    <a:pt x="1142662" y="3435404"/>
                  </a:moveTo>
                  <a:cubicBezTo>
                    <a:pt x="1164249" y="3435404"/>
                    <a:pt x="1181749" y="3452904"/>
                    <a:pt x="1181749" y="3474491"/>
                  </a:cubicBezTo>
                  <a:cubicBezTo>
                    <a:pt x="1181749" y="3496078"/>
                    <a:pt x="1164249" y="3513578"/>
                    <a:pt x="1142662" y="3513578"/>
                  </a:cubicBezTo>
                  <a:cubicBezTo>
                    <a:pt x="1121074" y="3513578"/>
                    <a:pt x="1103575" y="3496078"/>
                    <a:pt x="1103575" y="3474491"/>
                  </a:cubicBezTo>
                  <a:cubicBezTo>
                    <a:pt x="1103575" y="3452904"/>
                    <a:pt x="1121074" y="3435404"/>
                    <a:pt x="1142662" y="3435404"/>
                  </a:cubicBezTo>
                  <a:close/>
                  <a:moveTo>
                    <a:pt x="1329578" y="3347862"/>
                  </a:moveTo>
                  <a:cubicBezTo>
                    <a:pt x="1351165" y="3347862"/>
                    <a:pt x="1368665" y="3365362"/>
                    <a:pt x="1368665" y="3386950"/>
                  </a:cubicBezTo>
                  <a:cubicBezTo>
                    <a:pt x="1368665" y="3408537"/>
                    <a:pt x="1351165" y="3426037"/>
                    <a:pt x="1329578" y="3426037"/>
                  </a:cubicBezTo>
                  <a:cubicBezTo>
                    <a:pt x="1307990" y="3426037"/>
                    <a:pt x="1290490" y="3408537"/>
                    <a:pt x="1290490" y="3386950"/>
                  </a:cubicBezTo>
                  <a:cubicBezTo>
                    <a:pt x="1290490" y="3365362"/>
                    <a:pt x="1307990" y="3347862"/>
                    <a:pt x="1329578" y="3347862"/>
                  </a:cubicBezTo>
                  <a:close/>
                  <a:moveTo>
                    <a:pt x="1142664" y="3347862"/>
                  </a:moveTo>
                  <a:cubicBezTo>
                    <a:pt x="1164251" y="3347862"/>
                    <a:pt x="1181751" y="3365362"/>
                    <a:pt x="1181751" y="3386950"/>
                  </a:cubicBezTo>
                  <a:cubicBezTo>
                    <a:pt x="1181751" y="3408537"/>
                    <a:pt x="1164251" y="3426037"/>
                    <a:pt x="1142664" y="3426037"/>
                  </a:cubicBezTo>
                  <a:cubicBezTo>
                    <a:pt x="1121077" y="3426037"/>
                    <a:pt x="1103576" y="3408537"/>
                    <a:pt x="1103576" y="3386950"/>
                  </a:cubicBezTo>
                  <a:cubicBezTo>
                    <a:pt x="1103576" y="3365362"/>
                    <a:pt x="1121077" y="3347862"/>
                    <a:pt x="1142664" y="3347862"/>
                  </a:cubicBezTo>
                  <a:close/>
                  <a:moveTo>
                    <a:pt x="1232572" y="3347861"/>
                  </a:moveTo>
                  <a:cubicBezTo>
                    <a:pt x="1254160" y="3347861"/>
                    <a:pt x="1271660" y="3365361"/>
                    <a:pt x="1271660" y="3386948"/>
                  </a:cubicBezTo>
                  <a:cubicBezTo>
                    <a:pt x="1271660" y="3408536"/>
                    <a:pt x="1254160" y="3426035"/>
                    <a:pt x="1232572" y="3426035"/>
                  </a:cubicBezTo>
                  <a:cubicBezTo>
                    <a:pt x="1210985" y="3426035"/>
                    <a:pt x="1193485" y="3408536"/>
                    <a:pt x="1193485" y="3386948"/>
                  </a:cubicBezTo>
                  <a:cubicBezTo>
                    <a:pt x="1193485" y="3365361"/>
                    <a:pt x="1210985" y="3347861"/>
                    <a:pt x="1232572" y="3347861"/>
                  </a:cubicBezTo>
                  <a:close/>
                  <a:moveTo>
                    <a:pt x="2924263" y="3265052"/>
                  </a:moveTo>
                  <a:cubicBezTo>
                    <a:pt x="2945850" y="3265052"/>
                    <a:pt x="2963349" y="3282551"/>
                    <a:pt x="2963349" y="3304139"/>
                  </a:cubicBezTo>
                  <a:cubicBezTo>
                    <a:pt x="2963349" y="3325726"/>
                    <a:pt x="2945850" y="3343226"/>
                    <a:pt x="2924263" y="3343226"/>
                  </a:cubicBezTo>
                  <a:cubicBezTo>
                    <a:pt x="2902675" y="3343226"/>
                    <a:pt x="2885175" y="3325726"/>
                    <a:pt x="2885175" y="3304139"/>
                  </a:cubicBezTo>
                  <a:cubicBezTo>
                    <a:pt x="2885175" y="3282551"/>
                    <a:pt x="2902675" y="3265052"/>
                    <a:pt x="2924263" y="3265052"/>
                  </a:cubicBezTo>
                  <a:close/>
                  <a:moveTo>
                    <a:pt x="1419487" y="3265052"/>
                  </a:moveTo>
                  <a:cubicBezTo>
                    <a:pt x="1441074" y="3265052"/>
                    <a:pt x="1458574" y="3282551"/>
                    <a:pt x="1458574" y="3304139"/>
                  </a:cubicBezTo>
                  <a:cubicBezTo>
                    <a:pt x="1458574" y="3325726"/>
                    <a:pt x="1441074" y="3343226"/>
                    <a:pt x="1419487" y="3343226"/>
                  </a:cubicBezTo>
                  <a:cubicBezTo>
                    <a:pt x="1397899" y="3343226"/>
                    <a:pt x="1380399" y="3325726"/>
                    <a:pt x="1380399" y="3304139"/>
                  </a:cubicBezTo>
                  <a:cubicBezTo>
                    <a:pt x="1380399" y="3282551"/>
                    <a:pt x="1397899" y="3265052"/>
                    <a:pt x="1419487" y="3265052"/>
                  </a:cubicBezTo>
                  <a:close/>
                  <a:moveTo>
                    <a:pt x="1329578" y="3265052"/>
                  </a:moveTo>
                  <a:cubicBezTo>
                    <a:pt x="1351165" y="3265052"/>
                    <a:pt x="1368666" y="3282551"/>
                    <a:pt x="1368666" y="3304139"/>
                  </a:cubicBezTo>
                  <a:cubicBezTo>
                    <a:pt x="1368666" y="3325726"/>
                    <a:pt x="1351165" y="3343226"/>
                    <a:pt x="1329578" y="3343226"/>
                  </a:cubicBezTo>
                  <a:cubicBezTo>
                    <a:pt x="1307991" y="3343226"/>
                    <a:pt x="1290491" y="3325726"/>
                    <a:pt x="1290491" y="3304139"/>
                  </a:cubicBezTo>
                  <a:cubicBezTo>
                    <a:pt x="1290491" y="3282551"/>
                    <a:pt x="1307991" y="3265052"/>
                    <a:pt x="1329578" y="3265052"/>
                  </a:cubicBezTo>
                  <a:close/>
                  <a:moveTo>
                    <a:pt x="1232574" y="3265052"/>
                  </a:moveTo>
                  <a:cubicBezTo>
                    <a:pt x="1254160" y="3265052"/>
                    <a:pt x="1271661" y="3282551"/>
                    <a:pt x="1271661" y="3304139"/>
                  </a:cubicBezTo>
                  <a:cubicBezTo>
                    <a:pt x="1271661" y="3325726"/>
                    <a:pt x="1254160" y="3343226"/>
                    <a:pt x="1232574" y="3343226"/>
                  </a:cubicBezTo>
                  <a:cubicBezTo>
                    <a:pt x="1210986" y="3343226"/>
                    <a:pt x="1193487" y="3325726"/>
                    <a:pt x="1193487" y="3304139"/>
                  </a:cubicBezTo>
                  <a:cubicBezTo>
                    <a:pt x="1193487" y="3282551"/>
                    <a:pt x="1210986" y="3265052"/>
                    <a:pt x="1232574" y="3265052"/>
                  </a:cubicBezTo>
                  <a:close/>
                  <a:moveTo>
                    <a:pt x="1142665" y="3265052"/>
                  </a:moveTo>
                  <a:cubicBezTo>
                    <a:pt x="1164252" y="3265052"/>
                    <a:pt x="1181752" y="3282551"/>
                    <a:pt x="1181752" y="3304139"/>
                  </a:cubicBezTo>
                  <a:cubicBezTo>
                    <a:pt x="1181752" y="3325726"/>
                    <a:pt x="1164252" y="3343226"/>
                    <a:pt x="1142665" y="3343226"/>
                  </a:cubicBezTo>
                  <a:cubicBezTo>
                    <a:pt x="1121078" y="3343226"/>
                    <a:pt x="1103578" y="3325726"/>
                    <a:pt x="1103578" y="3304139"/>
                  </a:cubicBezTo>
                  <a:cubicBezTo>
                    <a:pt x="1103578" y="3282551"/>
                    <a:pt x="1121078" y="3265052"/>
                    <a:pt x="1142665" y="3265052"/>
                  </a:cubicBezTo>
                  <a:close/>
                  <a:moveTo>
                    <a:pt x="3111177" y="3177510"/>
                  </a:moveTo>
                  <a:cubicBezTo>
                    <a:pt x="3132764" y="3177510"/>
                    <a:pt x="3150264" y="3195010"/>
                    <a:pt x="3150264" y="3216597"/>
                  </a:cubicBezTo>
                  <a:cubicBezTo>
                    <a:pt x="3150264" y="3238185"/>
                    <a:pt x="3132764" y="3255684"/>
                    <a:pt x="3111177" y="3255684"/>
                  </a:cubicBezTo>
                  <a:cubicBezTo>
                    <a:pt x="3089589" y="3255684"/>
                    <a:pt x="3072089" y="3238185"/>
                    <a:pt x="3072089" y="3216597"/>
                  </a:cubicBezTo>
                  <a:cubicBezTo>
                    <a:pt x="3072089" y="3195010"/>
                    <a:pt x="3089589" y="3177510"/>
                    <a:pt x="3111177" y="3177510"/>
                  </a:cubicBezTo>
                  <a:close/>
                  <a:moveTo>
                    <a:pt x="3018903" y="3177510"/>
                  </a:moveTo>
                  <a:cubicBezTo>
                    <a:pt x="3040490" y="3177510"/>
                    <a:pt x="3057989" y="3195010"/>
                    <a:pt x="3057989" y="3216597"/>
                  </a:cubicBezTo>
                  <a:cubicBezTo>
                    <a:pt x="3057989" y="3238185"/>
                    <a:pt x="3040490" y="3255684"/>
                    <a:pt x="3018903" y="3255684"/>
                  </a:cubicBezTo>
                  <a:cubicBezTo>
                    <a:pt x="2997315" y="3255684"/>
                    <a:pt x="2979815" y="3238185"/>
                    <a:pt x="2979815" y="3216597"/>
                  </a:cubicBezTo>
                  <a:cubicBezTo>
                    <a:pt x="2979815" y="3195010"/>
                    <a:pt x="2997315" y="3177510"/>
                    <a:pt x="3018903" y="3177510"/>
                  </a:cubicBezTo>
                  <a:close/>
                  <a:moveTo>
                    <a:pt x="1516493" y="3177510"/>
                  </a:moveTo>
                  <a:cubicBezTo>
                    <a:pt x="1538080" y="3177510"/>
                    <a:pt x="1555581" y="3195010"/>
                    <a:pt x="1555581" y="3216597"/>
                  </a:cubicBezTo>
                  <a:cubicBezTo>
                    <a:pt x="1555581" y="3238185"/>
                    <a:pt x="1538080" y="3255684"/>
                    <a:pt x="1516493" y="3255684"/>
                  </a:cubicBezTo>
                  <a:cubicBezTo>
                    <a:pt x="1494906" y="3255684"/>
                    <a:pt x="1477406" y="3238185"/>
                    <a:pt x="1477406" y="3216597"/>
                  </a:cubicBezTo>
                  <a:cubicBezTo>
                    <a:pt x="1477406" y="3195010"/>
                    <a:pt x="1494906" y="3177510"/>
                    <a:pt x="1516493" y="3177510"/>
                  </a:cubicBezTo>
                  <a:close/>
                  <a:moveTo>
                    <a:pt x="1329579" y="3177510"/>
                  </a:moveTo>
                  <a:cubicBezTo>
                    <a:pt x="1351167" y="3177510"/>
                    <a:pt x="1368667" y="3195010"/>
                    <a:pt x="1368667" y="3216597"/>
                  </a:cubicBezTo>
                  <a:cubicBezTo>
                    <a:pt x="1368667" y="3238185"/>
                    <a:pt x="1351167" y="3255684"/>
                    <a:pt x="1329579" y="3255684"/>
                  </a:cubicBezTo>
                  <a:cubicBezTo>
                    <a:pt x="1307993" y="3255684"/>
                    <a:pt x="1290493" y="3238185"/>
                    <a:pt x="1290493" y="3216597"/>
                  </a:cubicBezTo>
                  <a:cubicBezTo>
                    <a:pt x="1290493" y="3195010"/>
                    <a:pt x="1307993" y="3177510"/>
                    <a:pt x="1329579" y="3177510"/>
                  </a:cubicBezTo>
                  <a:close/>
                  <a:moveTo>
                    <a:pt x="1142666" y="3177510"/>
                  </a:moveTo>
                  <a:cubicBezTo>
                    <a:pt x="1164254" y="3177510"/>
                    <a:pt x="1181753" y="3195010"/>
                    <a:pt x="1181753" y="3216597"/>
                  </a:cubicBezTo>
                  <a:cubicBezTo>
                    <a:pt x="1181753" y="3238185"/>
                    <a:pt x="1164254" y="3255684"/>
                    <a:pt x="1142666" y="3255684"/>
                  </a:cubicBezTo>
                  <a:cubicBezTo>
                    <a:pt x="1121079" y="3255684"/>
                    <a:pt x="1103578" y="3238185"/>
                    <a:pt x="1103578" y="3216597"/>
                  </a:cubicBezTo>
                  <a:cubicBezTo>
                    <a:pt x="1103578" y="3195010"/>
                    <a:pt x="1121079" y="3177510"/>
                    <a:pt x="1142666" y="3177510"/>
                  </a:cubicBezTo>
                  <a:close/>
                  <a:moveTo>
                    <a:pt x="2924263" y="3177510"/>
                  </a:moveTo>
                  <a:cubicBezTo>
                    <a:pt x="2945850" y="3177510"/>
                    <a:pt x="2963349" y="3195010"/>
                    <a:pt x="2963349" y="3216597"/>
                  </a:cubicBezTo>
                  <a:cubicBezTo>
                    <a:pt x="2963349" y="3238184"/>
                    <a:pt x="2945850" y="3255684"/>
                    <a:pt x="2924263" y="3255684"/>
                  </a:cubicBezTo>
                  <a:cubicBezTo>
                    <a:pt x="2902675" y="3255684"/>
                    <a:pt x="2885175" y="3238184"/>
                    <a:pt x="2885175" y="3216597"/>
                  </a:cubicBezTo>
                  <a:cubicBezTo>
                    <a:pt x="2885175" y="3195010"/>
                    <a:pt x="2902675" y="3177510"/>
                    <a:pt x="2924263" y="3177510"/>
                  </a:cubicBezTo>
                  <a:close/>
                  <a:moveTo>
                    <a:pt x="1419488" y="3177510"/>
                  </a:moveTo>
                  <a:cubicBezTo>
                    <a:pt x="1441076" y="3177510"/>
                    <a:pt x="1458575" y="3195010"/>
                    <a:pt x="1458575" y="3216597"/>
                  </a:cubicBezTo>
                  <a:cubicBezTo>
                    <a:pt x="1458575" y="3238184"/>
                    <a:pt x="1441076" y="3255684"/>
                    <a:pt x="1419488" y="3255684"/>
                  </a:cubicBezTo>
                  <a:cubicBezTo>
                    <a:pt x="1397901" y="3255684"/>
                    <a:pt x="1380401" y="3238184"/>
                    <a:pt x="1380401" y="3216597"/>
                  </a:cubicBezTo>
                  <a:cubicBezTo>
                    <a:pt x="1380401" y="3195010"/>
                    <a:pt x="1397901" y="3177510"/>
                    <a:pt x="1419488" y="3177510"/>
                  </a:cubicBezTo>
                  <a:close/>
                  <a:moveTo>
                    <a:pt x="1232575" y="3177510"/>
                  </a:moveTo>
                  <a:cubicBezTo>
                    <a:pt x="1254162" y="3177510"/>
                    <a:pt x="1271661" y="3195010"/>
                    <a:pt x="1271661" y="3216597"/>
                  </a:cubicBezTo>
                  <a:cubicBezTo>
                    <a:pt x="1271661" y="3238184"/>
                    <a:pt x="1254162" y="3255684"/>
                    <a:pt x="1232575" y="3255684"/>
                  </a:cubicBezTo>
                  <a:cubicBezTo>
                    <a:pt x="1210988" y="3255684"/>
                    <a:pt x="1193488" y="3238184"/>
                    <a:pt x="1193488" y="3216597"/>
                  </a:cubicBezTo>
                  <a:cubicBezTo>
                    <a:pt x="1193488" y="3195010"/>
                    <a:pt x="1210988" y="3177510"/>
                    <a:pt x="1232575" y="3177510"/>
                  </a:cubicBezTo>
                  <a:close/>
                  <a:moveTo>
                    <a:pt x="3111177" y="3092334"/>
                  </a:moveTo>
                  <a:cubicBezTo>
                    <a:pt x="3132764" y="3092334"/>
                    <a:pt x="3150264" y="3109834"/>
                    <a:pt x="3150264" y="3131421"/>
                  </a:cubicBezTo>
                  <a:cubicBezTo>
                    <a:pt x="3150264" y="3153008"/>
                    <a:pt x="3132764" y="3170508"/>
                    <a:pt x="3111177" y="3170508"/>
                  </a:cubicBezTo>
                  <a:cubicBezTo>
                    <a:pt x="3089589" y="3170508"/>
                    <a:pt x="3072089" y="3153008"/>
                    <a:pt x="3072089" y="3131421"/>
                  </a:cubicBezTo>
                  <a:cubicBezTo>
                    <a:pt x="3072089" y="3109834"/>
                    <a:pt x="3089589" y="3092334"/>
                    <a:pt x="3111177" y="3092334"/>
                  </a:cubicBezTo>
                  <a:close/>
                  <a:moveTo>
                    <a:pt x="3018903" y="3092334"/>
                  </a:moveTo>
                  <a:cubicBezTo>
                    <a:pt x="3040490" y="3092334"/>
                    <a:pt x="3057989" y="3109834"/>
                    <a:pt x="3057989" y="3131421"/>
                  </a:cubicBezTo>
                  <a:cubicBezTo>
                    <a:pt x="3057989" y="3153008"/>
                    <a:pt x="3040490" y="3170508"/>
                    <a:pt x="3018903" y="3170508"/>
                  </a:cubicBezTo>
                  <a:cubicBezTo>
                    <a:pt x="2997315" y="3170508"/>
                    <a:pt x="2979815" y="3153008"/>
                    <a:pt x="2979815" y="3131421"/>
                  </a:cubicBezTo>
                  <a:cubicBezTo>
                    <a:pt x="2979815" y="3109834"/>
                    <a:pt x="2997315" y="3092334"/>
                    <a:pt x="3018903" y="3092334"/>
                  </a:cubicBezTo>
                  <a:close/>
                  <a:moveTo>
                    <a:pt x="2831988" y="3092334"/>
                  </a:moveTo>
                  <a:cubicBezTo>
                    <a:pt x="2853575" y="3092334"/>
                    <a:pt x="2871075" y="3109834"/>
                    <a:pt x="2871075" y="3131421"/>
                  </a:cubicBezTo>
                  <a:cubicBezTo>
                    <a:pt x="2871075" y="3153008"/>
                    <a:pt x="2853575" y="3170508"/>
                    <a:pt x="2831988" y="3170508"/>
                  </a:cubicBezTo>
                  <a:cubicBezTo>
                    <a:pt x="2810401" y="3170508"/>
                    <a:pt x="2792901" y="3153008"/>
                    <a:pt x="2792901" y="3131421"/>
                  </a:cubicBezTo>
                  <a:cubicBezTo>
                    <a:pt x="2792901" y="3109834"/>
                    <a:pt x="2810401" y="3092334"/>
                    <a:pt x="2831988" y="3092334"/>
                  </a:cubicBezTo>
                  <a:close/>
                  <a:moveTo>
                    <a:pt x="1516495" y="3092334"/>
                  </a:moveTo>
                  <a:cubicBezTo>
                    <a:pt x="1538082" y="3092334"/>
                    <a:pt x="1555583" y="3109834"/>
                    <a:pt x="1555583" y="3131421"/>
                  </a:cubicBezTo>
                  <a:cubicBezTo>
                    <a:pt x="1555583" y="3153008"/>
                    <a:pt x="1538082" y="3170508"/>
                    <a:pt x="1516495" y="3170508"/>
                  </a:cubicBezTo>
                  <a:cubicBezTo>
                    <a:pt x="1494907" y="3170508"/>
                    <a:pt x="1477407" y="3153008"/>
                    <a:pt x="1477407" y="3131421"/>
                  </a:cubicBezTo>
                  <a:cubicBezTo>
                    <a:pt x="1477407" y="3109834"/>
                    <a:pt x="1494907" y="3092334"/>
                    <a:pt x="1516495" y="3092334"/>
                  </a:cubicBezTo>
                  <a:close/>
                  <a:moveTo>
                    <a:pt x="1329581" y="3092334"/>
                  </a:moveTo>
                  <a:cubicBezTo>
                    <a:pt x="1351168" y="3092334"/>
                    <a:pt x="1368669" y="3109834"/>
                    <a:pt x="1368669" y="3131421"/>
                  </a:cubicBezTo>
                  <a:cubicBezTo>
                    <a:pt x="1368669" y="3153008"/>
                    <a:pt x="1351168" y="3170508"/>
                    <a:pt x="1329581" y="3170508"/>
                  </a:cubicBezTo>
                  <a:cubicBezTo>
                    <a:pt x="1307994" y="3170508"/>
                    <a:pt x="1290494" y="3153008"/>
                    <a:pt x="1290494" y="3131421"/>
                  </a:cubicBezTo>
                  <a:cubicBezTo>
                    <a:pt x="1290494" y="3109834"/>
                    <a:pt x="1307994" y="3092334"/>
                    <a:pt x="1329581" y="3092334"/>
                  </a:cubicBezTo>
                  <a:close/>
                  <a:moveTo>
                    <a:pt x="1142668" y="3092334"/>
                  </a:moveTo>
                  <a:cubicBezTo>
                    <a:pt x="1164256" y="3092334"/>
                    <a:pt x="1181756" y="3109834"/>
                    <a:pt x="1181756" y="3131421"/>
                  </a:cubicBezTo>
                  <a:cubicBezTo>
                    <a:pt x="1181756" y="3153008"/>
                    <a:pt x="1164256" y="3170508"/>
                    <a:pt x="1142668" y="3170508"/>
                  </a:cubicBezTo>
                  <a:cubicBezTo>
                    <a:pt x="1121081" y="3170508"/>
                    <a:pt x="1103581" y="3153008"/>
                    <a:pt x="1103581" y="3131421"/>
                  </a:cubicBezTo>
                  <a:cubicBezTo>
                    <a:pt x="1103581" y="3109834"/>
                    <a:pt x="1121081" y="3092334"/>
                    <a:pt x="1142668" y="3092334"/>
                  </a:cubicBezTo>
                  <a:close/>
                  <a:moveTo>
                    <a:pt x="2924263" y="3092334"/>
                  </a:moveTo>
                  <a:cubicBezTo>
                    <a:pt x="2945850" y="3092334"/>
                    <a:pt x="2963349" y="3109833"/>
                    <a:pt x="2963349" y="3131421"/>
                  </a:cubicBezTo>
                  <a:cubicBezTo>
                    <a:pt x="2963349" y="3153008"/>
                    <a:pt x="2945850" y="3170508"/>
                    <a:pt x="2924263" y="3170508"/>
                  </a:cubicBezTo>
                  <a:cubicBezTo>
                    <a:pt x="2902675" y="3170508"/>
                    <a:pt x="2885175" y="3153008"/>
                    <a:pt x="2885175" y="3131421"/>
                  </a:cubicBezTo>
                  <a:cubicBezTo>
                    <a:pt x="2885175" y="3109833"/>
                    <a:pt x="2902675" y="3092334"/>
                    <a:pt x="2924263" y="3092334"/>
                  </a:cubicBezTo>
                  <a:close/>
                  <a:moveTo>
                    <a:pt x="1419490" y="3092334"/>
                  </a:moveTo>
                  <a:cubicBezTo>
                    <a:pt x="1441077" y="3092334"/>
                    <a:pt x="1458576" y="3109833"/>
                    <a:pt x="1458576" y="3131421"/>
                  </a:cubicBezTo>
                  <a:cubicBezTo>
                    <a:pt x="1458576" y="3153008"/>
                    <a:pt x="1441077" y="3170508"/>
                    <a:pt x="1419490" y="3170508"/>
                  </a:cubicBezTo>
                  <a:cubicBezTo>
                    <a:pt x="1397902" y="3170508"/>
                    <a:pt x="1380402" y="3153008"/>
                    <a:pt x="1380402" y="3131421"/>
                  </a:cubicBezTo>
                  <a:cubicBezTo>
                    <a:pt x="1380402" y="3109833"/>
                    <a:pt x="1397902" y="3092334"/>
                    <a:pt x="1419490" y="3092334"/>
                  </a:cubicBezTo>
                  <a:close/>
                  <a:moveTo>
                    <a:pt x="1232576" y="3092334"/>
                  </a:moveTo>
                  <a:cubicBezTo>
                    <a:pt x="1254165" y="3092334"/>
                    <a:pt x="1271664" y="3109833"/>
                    <a:pt x="1271664" y="3131421"/>
                  </a:cubicBezTo>
                  <a:cubicBezTo>
                    <a:pt x="1271664" y="3153008"/>
                    <a:pt x="1254165" y="3170508"/>
                    <a:pt x="1232576" y="3170508"/>
                  </a:cubicBezTo>
                  <a:cubicBezTo>
                    <a:pt x="1210990" y="3170508"/>
                    <a:pt x="1193489" y="3153008"/>
                    <a:pt x="1193489" y="3131421"/>
                  </a:cubicBezTo>
                  <a:cubicBezTo>
                    <a:pt x="1193489" y="3109833"/>
                    <a:pt x="1210990" y="3092334"/>
                    <a:pt x="1232576" y="3092334"/>
                  </a:cubicBezTo>
                  <a:close/>
                  <a:moveTo>
                    <a:pt x="3205817" y="3007157"/>
                  </a:moveTo>
                  <a:cubicBezTo>
                    <a:pt x="3227404" y="3007157"/>
                    <a:pt x="3244904" y="3024657"/>
                    <a:pt x="3244904" y="3046245"/>
                  </a:cubicBezTo>
                  <a:cubicBezTo>
                    <a:pt x="3244904" y="3067832"/>
                    <a:pt x="3227404" y="3085332"/>
                    <a:pt x="3205817" y="3085332"/>
                  </a:cubicBezTo>
                  <a:cubicBezTo>
                    <a:pt x="3184229" y="3085332"/>
                    <a:pt x="3166729" y="3067832"/>
                    <a:pt x="3166729" y="3046245"/>
                  </a:cubicBezTo>
                  <a:cubicBezTo>
                    <a:pt x="3166729" y="3024657"/>
                    <a:pt x="3184229" y="3007157"/>
                    <a:pt x="3205817" y="3007157"/>
                  </a:cubicBezTo>
                  <a:close/>
                  <a:moveTo>
                    <a:pt x="3111177" y="3007157"/>
                  </a:moveTo>
                  <a:cubicBezTo>
                    <a:pt x="3132764" y="3007157"/>
                    <a:pt x="3150264" y="3024657"/>
                    <a:pt x="3150264" y="3046245"/>
                  </a:cubicBezTo>
                  <a:cubicBezTo>
                    <a:pt x="3150264" y="3067832"/>
                    <a:pt x="3132764" y="3085332"/>
                    <a:pt x="3111177" y="3085332"/>
                  </a:cubicBezTo>
                  <a:cubicBezTo>
                    <a:pt x="3089589" y="3085332"/>
                    <a:pt x="3072089" y="3067832"/>
                    <a:pt x="3072089" y="3046245"/>
                  </a:cubicBezTo>
                  <a:cubicBezTo>
                    <a:pt x="3072089" y="3024657"/>
                    <a:pt x="3089589" y="3007157"/>
                    <a:pt x="3111177" y="3007157"/>
                  </a:cubicBezTo>
                  <a:close/>
                  <a:moveTo>
                    <a:pt x="3018903" y="3007157"/>
                  </a:moveTo>
                  <a:cubicBezTo>
                    <a:pt x="3040490" y="3007157"/>
                    <a:pt x="3057989" y="3024657"/>
                    <a:pt x="3057989" y="3046245"/>
                  </a:cubicBezTo>
                  <a:cubicBezTo>
                    <a:pt x="3057989" y="3067832"/>
                    <a:pt x="3040490" y="3085332"/>
                    <a:pt x="3018903" y="3085332"/>
                  </a:cubicBezTo>
                  <a:cubicBezTo>
                    <a:pt x="2997315" y="3085332"/>
                    <a:pt x="2979815" y="3067832"/>
                    <a:pt x="2979815" y="3046245"/>
                  </a:cubicBezTo>
                  <a:cubicBezTo>
                    <a:pt x="2979815" y="3024657"/>
                    <a:pt x="2997315" y="3007157"/>
                    <a:pt x="3018903" y="3007157"/>
                  </a:cubicBezTo>
                  <a:close/>
                  <a:moveTo>
                    <a:pt x="2924263" y="3007157"/>
                  </a:moveTo>
                  <a:cubicBezTo>
                    <a:pt x="2945850" y="3007157"/>
                    <a:pt x="2963349" y="3024657"/>
                    <a:pt x="2963349" y="3046245"/>
                  </a:cubicBezTo>
                  <a:cubicBezTo>
                    <a:pt x="2963349" y="3067832"/>
                    <a:pt x="2945850" y="3085332"/>
                    <a:pt x="2924263" y="3085332"/>
                  </a:cubicBezTo>
                  <a:cubicBezTo>
                    <a:pt x="2902675" y="3085332"/>
                    <a:pt x="2885175" y="3067832"/>
                    <a:pt x="2885175" y="3046245"/>
                  </a:cubicBezTo>
                  <a:cubicBezTo>
                    <a:pt x="2885175" y="3024657"/>
                    <a:pt x="2902675" y="3007157"/>
                    <a:pt x="2924263" y="3007157"/>
                  </a:cubicBezTo>
                  <a:close/>
                  <a:moveTo>
                    <a:pt x="2831988" y="3007157"/>
                  </a:moveTo>
                  <a:cubicBezTo>
                    <a:pt x="2853575" y="3007157"/>
                    <a:pt x="2871075" y="3024657"/>
                    <a:pt x="2871075" y="3046245"/>
                  </a:cubicBezTo>
                  <a:cubicBezTo>
                    <a:pt x="2871075" y="3067832"/>
                    <a:pt x="2853575" y="3085332"/>
                    <a:pt x="2831988" y="3085332"/>
                  </a:cubicBezTo>
                  <a:cubicBezTo>
                    <a:pt x="2810401" y="3085332"/>
                    <a:pt x="2792901" y="3067832"/>
                    <a:pt x="2792901" y="3046245"/>
                  </a:cubicBezTo>
                  <a:cubicBezTo>
                    <a:pt x="2792901" y="3024657"/>
                    <a:pt x="2810401" y="3007157"/>
                    <a:pt x="2831988" y="3007157"/>
                  </a:cubicBezTo>
                  <a:close/>
                  <a:moveTo>
                    <a:pt x="1611133" y="3007157"/>
                  </a:moveTo>
                  <a:cubicBezTo>
                    <a:pt x="1632719" y="3007157"/>
                    <a:pt x="1650221" y="3024657"/>
                    <a:pt x="1650221" y="3046245"/>
                  </a:cubicBezTo>
                  <a:cubicBezTo>
                    <a:pt x="1650221" y="3067832"/>
                    <a:pt x="1632719" y="3085332"/>
                    <a:pt x="1611133" y="3085332"/>
                  </a:cubicBezTo>
                  <a:cubicBezTo>
                    <a:pt x="1589551" y="3085332"/>
                    <a:pt x="1572051" y="3067832"/>
                    <a:pt x="1572051" y="3046245"/>
                  </a:cubicBezTo>
                  <a:cubicBezTo>
                    <a:pt x="1572051" y="3024657"/>
                    <a:pt x="1589551" y="3007157"/>
                    <a:pt x="1611133" y="3007157"/>
                  </a:cubicBezTo>
                  <a:close/>
                  <a:moveTo>
                    <a:pt x="1516497" y="3007157"/>
                  </a:moveTo>
                  <a:cubicBezTo>
                    <a:pt x="1538084" y="3007157"/>
                    <a:pt x="1555584" y="3024657"/>
                    <a:pt x="1555584" y="3046245"/>
                  </a:cubicBezTo>
                  <a:cubicBezTo>
                    <a:pt x="1555584" y="3067832"/>
                    <a:pt x="1538084" y="3085332"/>
                    <a:pt x="1516497" y="3085332"/>
                  </a:cubicBezTo>
                  <a:cubicBezTo>
                    <a:pt x="1494909" y="3085332"/>
                    <a:pt x="1477409" y="3067832"/>
                    <a:pt x="1477409" y="3046245"/>
                  </a:cubicBezTo>
                  <a:cubicBezTo>
                    <a:pt x="1477409" y="3024657"/>
                    <a:pt x="1494909" y="3007157"/>
                    <a:pt x="1516497" y="3007157"/>
                  </a:cubicBezTo>
                  <a:close/>
                  <a:moveTo>
                    <a:pt x="1419492" y="3007157"/>
                  </a:moveTo>
                  <a:cubicBezTo>
                    <a:pt x="1441079" y="3007157"/>
                    <a:pt x="1458579" y="3024657"/>
                    <a:pt x="1458579" y="3046245"/>
                  </a:cubicBezTo>
                  <a:cubicBezTo>
                    <a:pt x="1458579" y="3067832"/>
                    <a:pt x="1441079" y="3085332"/>
                    <a:pt x="1419492" y="3085332"/>
                  </a:cubicBezTo>
                  <a:cubicBezTo>
                    <a:pt x="1397905" y="3085332"/>
                    <a:pt x="1380404" y="3067832"/>
                    <a:pt x="1380404" y="3046245"/>
                  </a:cubicBezTo>
                  <a:cubicBezTo>
                    <a:pt x="1380404" y="3024657"/>
                    <a:pt x="1397905" y="3007157"/>
                    <a:pt x="1419492" y="3007157"/>
                  </a:cubicBezTo>
                  <a:close/>
                  <a:moveTo>
                    <a:pt x="1329583" y="3007157"/>
                  </a:moveTo>
                  <a:cubicBezTo>
                    <a:pt x="1351171" y="3007157"/>
                    <a:pt x="1368670" y="3024657"/>
                    <a:pt x="1368670" y="3046245"/>
                  </a:cubicBezTo>
                  <a:cubicBezTo>
                    <a:pt x="1368670" y="3067832"/>
                    <a:pt x="1351171" y="3085332"/>
                    <a:pt x="1329583" y="3085332"/>
                  </a:cubicBezTo>
                  <a:cubicBezTo>
                    <a:pt x="1307997" y="3085332"/>
                    <a:pt x="1290496" y="3067832"/>
                    <a:pt x="1290496" y="3046245"/>
                  </a:cubicBezTo>
                  <a:cubicBezTo>
                    <a:pt x="1290496" y="3024657"/>
                    <a:pt x="1307997" y="3007157"/>
                    <a:pt x="1329583" y="3007157"/>
                  </a:cubicBezTo>
                  <a:close/>
                  <a:moveTo>
                    <a:pt x="1232579" y="3007157"/>
                  </a:moveTo>
                  <a:cubicBezTo>
                    <a:pt x="1254166" y="3007157"/>
                    <a:pt x="1271666" y="3024657"/>
                    <a:pt x="1271666" y="3046245"/>
                  </a:cubicBezTo>
                  <a:cubicBezTo>
                    <a:pt x="1271666" y="3067832"/>
                    <a:pt x="1254166" y="3085332"/>
                    <a:pt x="1232579" y="3085332"/>
                  </a:cubicBezTo>
                  <a:cubicBezTo>
                    <a:pt x="1210991" y="3085332"/>
                    <a:pt x="1193493" y="3067832"/>
                    <a:pt x="1193493" y="3046245"/>
                  </a:cubicBezTo>
                  <a:cubicBezTo>
                    <a:pt x="1193493" y="3024657"/>
                    <a:pt x="1210991" y="3007157"/>
                    <a:pt x="1232579" y="3007157"/>
                  </a:cubicBezTo>
                  <a:close/>
                  <a:moveTo>
                    <a:pt x="1142670" y="3007157"/>
                  </a:moveTo>
                  <a:cubicBezTo>
                    <a:pt x="1164257" y="3007157"/>
                    <a:pt x="1181758" y="3024657"/>
                    <a:pt x="1181758" y="3046245"/>
                  </a:cubicBezTo>
                  <a:cubicBezTo>
                    <a:pt x="1181758" y="3067832"/>
                    <a:pt x="1164257" y="3085332"/>
                    <a:pt x="1142670" y="3085332"/>
                  </a:cubicBezTo>
                  <a:cubicBezTo>
                    <a:pt x="1121082" y="3085332"/>
                    <a:pt x="1103582" y="3067832"/>
                    <a:pt x="1103582" y="3046245"/>
                  </a:cubicBezTo>
                  <a:cubicBezTo>
                    <a:pt x="1103582" y="3024657"/>
                    <a:pt x="1121082" y="3007157"/>
                    <a:pt x="1142670" y="3007157"/>
                  </a:cubicBezTo>
                  <a:close/>
                  <a:moveTo>
                    <a:pt x="3111177" y="2919617"/>
                  </a:moveTo>
                  <a:cubicBezTo>
                    <a:pt x="3132764" y="2919617"/>
                    <a:pt x="3150264" y="2937117"/>
                    <a:pt x="3150264" y="2958704"/>
                  </a:cubicBezTo>
                  <a:cubicBezTo>
                    <a:pt x="3150264" y="2980291"/>
                    <a:pt x="3132764" y="2997791"/>
                    <a:pt x="3111177" y="2997791"/>
                  </a:cubicBezTo>
                  <a:cubicBezTo>
                    <a:pt x="3089589" y="2997791"/>
                    <a:pt x="3072089" y="2980291"/>
                    <a:pt x="3072089" y="2958704"/>
                  </a:cubicBezTo>
                  <a:cubicBezTo>
                    <a:pt x="3072089" y="2937117"/>
                    <a:pt x="3089589" y="2919617"/>
                    <a:pt x="3111177" y="2919617"/>
                  </a:cubicBezTo>
                  <a:close/>
                  <a:moveTo>
                    <a:pt x="3018902" y="2919617"/>
                  </a:moveTo>
                  <a:cubicBezTo>
                    <a:pt x="3040489" y="2919617"/>
                    <a:pt x="3057989" y="2937117"/>
                    <a:pt x="3057989" y="2958704"/>
                  </a:cubicBezTo>
                  <a:cubicBezTo>
                    <a:pt x="3057989" y="2980291"/>
                    <a:pt x="3040489" y="2997791"/>
                    <a:pt x="3018902" y="2997791"/>
                  </a:cubicBezTo>
                  <a:cubicBezTo>
                    <a:pt x="2997315" y="2997791"/>
                    <a:pt x="2979815" y="2980291"/>
                    <a:pt x="2979815" y="2958704"/>
                  </a:cubicBezTo>
                  <a:cubicBezTo>
                    <a:pt x="2979815" y="2937117"/>
                    <a:pt x="2997315" y="2919617"/>
                    <a:pt x="3018902" y="2919617"/>
                  </a:cubicBezTo>
                  <a:close/>
                  <a:moveTo>
                    <a:pt x="2831988" y="2919617"/>
                  </a:moveTo>
                  <a:cubicBezTo>
                    <a:pt x="2853575" y="2919617"/>
                    <a:pt x="2871075" y="2937117"/>
                    <a:pt x="2871075" y="2958704"/>
                  </a:cubicBezTo>
                  <a:cubicBezTo>
                    <a:pt x="2871075" y="2980291"/>
                    <a:pt x="2853575" y="2997791"/>
                    <a:pt x="2831988" y="2997791"/>
                  </a:cubicBezTo>
                  <a:cubicBezTo>
                    <a:pt x="2810401" y="2997791"/>
                    <a:pt x="2792901" y="2980291"/>
                    <a:pt x="2792901" y="2958704"/>
                  </a:cubicBezTo>
                  <a:cubicBezTo>
                    <a:pt x="2792901" y="2937117"/>
                    <a:pt x="2810401" y="2919617"/>
                    <a:pt x="2831988" y="2919617"/>
                  </a:cubicBezTo>
                  <a:close/>
                  <a:moveTo>
                    <a:pt x="1611133" y="2919617"/>
                  </a:moveTo>
                  <a:cubicBezTo>
                    <a:pt x="1632719" y="2919617"/>
                    <a:pt x="1650221" y="2937117"/>
                    <a:pt x="1650221" y="2958704"/>
                  </a:cubicBezTo>
                  <a:cubicBezTo>
                    <a:pt x="1650221" y="2980291"/>
                    <a:pt x="1632719" y="2997791"/>
                    <a:pt x="1611133" y="2997791"/>
                  </a:cubicBezTo>
                  <a:cubicBezTo>
                    <a:pt x="1589553" y="2997791"/>
                    <a:pt x="1572053" y="2980291"/>
                    <a:pt x="1572053" y="2958704"/>
                  </a:cubicBezTo>
                  <a:cubicBezTo>
                    <a:pt x="1572053" y="2937117"/>
                    <a:pt x="1589553" y="2919617"/>
                    <a:pt x="1611133" y="2919617"/>
                  </a:cubicBezTo>
                  <a:close/>
                  <a:moveTo>
                    <a:pt x="1516498" y="2919617"/>
                  </a:moveTo>
                  <a:cubicBezTo>
                    <a:pt x="1538086" y="2919617"/>
                    <a:pt x="1555586" y="2937117"/>
                    <a:pt x="1555586" y="2958704"/>
                  </a:cubicBezTo>
                  <a:cubicBezTo>
                    <a:pt x="1555586" y="2980291"/>
                    <a:pt x="1538086" y="2997791"/>
                    <a:pt x="1516498" y="2997791"/>
                  </a:cubicBezTo>
                  <a:cubicBezTo>
                    <a:pt x="1494911" y="2997791"/>
                    <a:pt x="1477411" y="2980291"/>
                    <a:pt x="1477411" y="2958704"/>
                  </a:cubicBezTo>
                  <a:cubicBezTo>
                    <a:pt x="1477411" y="2937117"/>
                    <a:pt x="1494911" y="2919617"/>
                    <a:pt x="1516498" y="2919617"/>
                  </a:cubicBezTo>
                  <a:close/>
                  <a:moveTo>
                    <a:pt x="1329585" y="2919617"/>
                  </a:moveTo>
                  <a:cubicBezTo>
                    <a:pt x="1351172" y="2919617"/>
                    <a:pt x="1368672" y="2937117"/>
                    <a:pt x="1368672" y="2958704"/>
                  </a:cubicBezTo>
                  <a:cubicBezTo>
                    <a:pt x="1368672" y="2980291"/>
                    <a:pt x="1351172" y="2997791"/>
                    <a:pt x="1329585" y="2997791"/>
                  </a:cubicBezTo>
                  <a:cubicBezTo>
                    <a:pt x="1307998" y="2997791"/>
                    <a:pt x="1290499" y="2980291"/>
                    <a:pt x="1290499" y="2958704"/>
                  </a:cubicBezTo>
                  <a:cubicBezTo>
                    <a:pt x="1290499" y="2937117"/>
                    <a:pt x="1307998" y="2919617"/>
                    <a:pt x="1329585" y="2919617"/>
                  </a:cubicBezTo>
                  <a:close/>
                  <a:moveTo>
                    <a:pt x="3489737" y="2919616"/>
                  </a:moveTo>
                  <a:lnTo>
                    <a:pt x="3508003" y="2927183"/>
                  </a:lnTo>
                  <a:lnTo>
                    <a:pt x="3463371" y="2986869"/>
                  </a:lnTo>
                  <a:lnTo>
                    <a:pt x="3462097" y="2986342"/>
                  </a:lnTo>
                  <a:cubicBezTo>
                    <a:pt x="3455024" y="2979269"/>
                    <a:pt x="3450649" y="2969497"/>
                    <a:pt x="3450649" y="2958703"/>
                  </a:cubicBezTo>
                  <a:cubicBezTo>
                    <a:pt x="3450649" y="2937116"/>
                    <a:pt x="3468149" y="2919616"/>
                    <a:pt x="3489737" y="2919616"/>
                  </a:cubicBezTo>
                  <a:close/>
                  <a:moveTo>
                    <a:pt x="3205817" y="2919616"/>
                  </a:moveTo>
                  <a:cubicBezTo>
                    <a:pt x="3227404" y="2919616"/>
                    <a:pt x="3244904" y="2937116"/>
                    <a:pt x="3244904" y="2958703"/>
                  </a:cubicBezTo>
                  <a:cubicBezTo>
                    <a:pt x="3244904" y="2980290"/>
                    <a:pt x="3227404" y="2997790"/>
                    <a:pt x="3205817" y="2997790"/>
                  </a:cubicBezTo>
                  <a:cubicBezTo>
                    <a:pt x="3184229" y="2997790"/>
                    <a:pt x="3166729" y="2980290"/>
                    <a:pt x="3166729" y="2958703"/>
                  </a:cubicBezTo>
                  <a:cubicBezTo>
                    <a:pt x="3166729" y="2937116"/>
                    <a:pt x="3184229" y="2919616"/>
                    <a:pt x="3205817" y="2919616"/>
                  </a:cubicBezTo>
                  <a:close/>
                  <a:moveTo>
                    <a:pt x="2924263" y="2919616"/>
                  </a:moveTo>
                  <a:cubicBezTo>
                    <a:pt x="2945850" y="2919616"/>
                    <a:pt x="2963349" y="2937116"/>
                    <a:pt x="2963349" y="2958703"/>
                  </a:cubicBezTo>
                  <a:cubicBezTo>
                    <a:pt x="2963349" y="2980290"/>
                    <a:pt x="2945850" y="2997790"/>
                    <a:pt x="2924263" y="2997790"/>
                  </a:cubicBezTo>
                  <a:cubicBezTo>
                    <a:pt x="2902675" y="2997790"/>
                    <a:pt x="2885175" y="2980290"/>
                    <a:pt x="2885175" y="2958703"/>
                  </a:cubicBezTo>
                  <a:cubicBezTo>
                    <a:pt x="2885175" y="2937116"/>
                    <a:pt x="2902675" y="2919616"/>
                    <a:pt x="2924263" y="2919616"/>
                  </a:cubicBezTo>
                  <a:close/>
                  <a:moveTo>
                    <a:pt x="1703408" y="2919616"/>
                  </a:moveTo>
                  <a:cubicBezTo>
                    <a:pt x="1724994" y="2919616"/>
                    <a:pt x="1742495" y="2937116"/>
                    <a:pt x="1742495" y="2958703"/>
                  </a:cubicBezTo>
                  <a:cubicBezTo>
                    <a:pt x="1742495" y="2980290"/>
                    <a:pt x="1724994" y="2997790"/>
                    <a:pt x="1703408" y="2997790"/>
                  </a:cubicBezTo>
                  <a:cubicBezTo>
                    <a:pt x="1681820" y="2997790"/>
                    <a:pt x="1664321" y="2980290"/>
                    <a:pt x="1664321" y="2958703"/>
                  </a:cubicBezTo>
                  <a:cubicBezTo>
                    <a:pt x="1664321" y="2937116"/>
                    <a:pt x="1681820" y="2919616"/>
                    <a:pt x="1703408" y="2919616"/>
                  </a:cubicBezTo>
                  <a:close/>
                  <a:moveTo>
                    <a:pt x="1419494" y="2919616"/>
                  </a:moveTo>
                  <a:cubicBezTo>
                    <a:pt x="1441081" y="2919616"/>
                    <a:pt x="1458581" y="2937116"/>
                    <a:pt x="1458581" y="2958703"/>
                  </a:cubicBezTo>
                  <a:cubicBezTo>
                    <a:pt x="1458581" y="2980290"/>
                    <a:pt x="1441081" y="2997790"/>
                    <a:pt x="1419494" y="2997790"/>
                  </a:cubicBezTo>
                  <a:cubicBezTo>
                    <a:pt x="1397906" y="2997790"/>
                    <a:pt x="1380407" y="2980290"/>
                    <a:pt x="1380407" y="2958703"/>
                  </a:cubicBezTo>
                  <a:cubicBezTo>
                    <a:pt x="1380407" y="2937116"/>
                    <a:pt x="1397906" y="2919616"/>
                    <a:pt x="1419494" y="2919616"/>
                  </a:cubicBezTo>
                  <a:close/>
                  <a:moveTo>
                    <a:pt x="1232582" y="2919616"/>
                  </a:moveTo>
                  <a:cubicBezTo>
                    <a:pt x="1254169" y="2919616"/>
                    <a:pt x="1271667" y="2937116"/>
                    <a:pt x="1271667" y="2958703"/>
                  </a:cubicBezTo>
                  <a:cubicBezTo>
                    <a:pt x="1271667" y="2980290"/>
                    <a:pt x="1254169" y="2997790"/>
                    <a:pt x="1232582" y="2997790"/>
                  </a:cubicBezTo>
                  <a:cubicBezTo>
                    <a:pt x="1210994" y="2997790"/>
                    <a:pt x="1193494" y="2980290"/>
                    <a:pt x="1193494" y="2958703"/>
                  </a:cubicBezTo>
                  <a:cubicBezTo>
                    <a:pt x="1193494" y="2937116"/>
                    <a:pt x="1210994" y="2919616"/>
                    <a:pt x="1232582" y="2919616"/>
                  </a:cubicBezTo>
                  <a:close/>
                  <a:moveTo>
                    <a:pt x="3489737" y="2832075"/>
                  </a:moveTo>
                  <a:cubicBezTo>
                    <a:pt x="3511324" y="2832075"/>
                    <a:pt x="3528823" y="2849575"/>
                    <a:pt x="3528823" y="2871162"/>
                  </a:cubicBezTo>
                  <a:cubicBezTo>
                    <a:pt x="3528823" y="2892749"/>
                    <a:pt x="3511324" y="2910249"/>
                    <a:pt x="3489737" y="2910249"/>
                  </a:cubicBezTo>
                  <a:cubicBezTo>
                    <a:pt x="3468149" y="2910249"/>
                    <a:pt x="3450649" y="2892749"/>
                    <a:pt x="3450649" y="2871162"/>
                  </a:cubicBezTo>
                  <a:cubicBezTo>
                    <a:pt x="3450649" y="2849575"/>
                    <a:pt x="3468149" y="2832075"/>
                    <a:pt x="3489737" y="2832075"/>
                  </a:cubicBezTo>
                  <a:close/>
                  <a:moveTo>
                    <a:pt x="3300457" y="2832075"/>
                  </a:moveTo>
                  <a:cubicBezTo>
                    <a:pt x="3322044" y="2832075"/>
                    <a:pt x="3339544" y="2849575"/>
                    <a:pt x="3339544" y="2871162"/>
                  </a:cubicBezTo>
                  <a:cubicBezTo>
                    <a:pt x="3339544" y="2892749"/>
                    <a:pt x="3322044" y="2910249"/>
                    <a:pt x="3300457" y="2910249"/>
                  </a:cubicBezTo>
                  <a:cubicBezTo>
                    <a:pt x="3278869" y="2910249"/>
                    <a:pt x="3261369" y="2892749"/>
                    <a:pt x="3261369" y="2871162"/>
                  </a:cubicBezTo>
                  <a:cubicBezTo>
                    <a:pt x="3261369" y="2849575"/>
                    <a:pt x="3278869" y="2832075"/>
                    <a:pt x="3300457" y="2832075"/>
                  </a:cubicBezTo>
                  <a:close/>
                  <a:moveTo>
                    <a:pt x="3205817" y="2832075"/>
                  </a:moveTo>
                  <a:cubicBezTo>
                    <a:pt x="3227404" y="2832075"/>
                    <a:pt x="3244904" y="2849575"/>
                    <a:pt x="3244904" y="2871162"/>
                  </a:cubicBezTo>
                  <a:cubicBezTo>
                    <a:pt x="3244904" y="2892749"/>
                    <a:pt x="3227404" y="2910249"/>
                    <a:pt x="3205817" y="2910249"/>
                  </a:cubicBezTo>
                  <a:cubicBezTo>
                    <a:pt x="3184229" y="2910249"/>
                    <a:pt x="3166729" y="2892749"/>
                    <a:pt x="3166729" y="2871162"/>
                  </a:cubicBezTo>
                  <a:cubicBezTo>
                    <a:pt x="3166729" y="2849575"/>
                    <a:pt x="3184229" y="2832075"/>
                    <a:pt x="3205817" y="2832075"/>
                  </a:cubicBezTo>
                  <a:close/>
                  <a:moveTo>
                    <a:pt x="3111177" y="2832075"/>
                  </a:moveTo>
                  <a:cubicBezTo>
                    <a:pt x="3132764" y="2832075"/>
                    <a:pt x="3150264" y="2849575"/>
                    <a:pt x="3150264" y="2871162"/>
                  </a:cubicBezTo>
                  <a:cubicBezTo>
                    <a:pt x="3150264" y="2892749"/>
                    <a:pt x="3132764" y="2910249"/>
                    <a:pt x="3111177" y="2910249"/>
                  </a:cubicBezTo>
                  <a:cubicBezTo>
                    <a:pt x="3089589" y="2910249"/>
                    <a:pt x="3072089" y="2892749"/>
                    <a:pt x="3072089" y="2871162"/>
                  </a:cubicBezTo>
                  <a:cubicBezTo>
                    <a:pt x="3072089" y="2849575"/>
                    <a:pt x="3089589" y="2832075"/>
                    <a:pt x="3111177" y="2832075"/>
                  </a:cubicBezTo>
                  <a:close/>
                  <a:moveTo>
                    <a:pt x="3018902" y="2832075"/>
                  </a:moveTo>
                  <a:cubicBezTo>
                    <a:pt x="3040489" y="2832075"/>
                    <a:pt x="3057989" y="2849575"/>
                    <a:pt x="3057989" y="2871162"/>
                  </a:cubicBezTo>
                  <a:cubicBezTo>
                    <a:pt x="3057989" y="2892749"/>
                    <a:pt x="3040489" y="2910249"/>
                    <a:pt x="3018902" y="2910249"/>
                  </a:cubicBezTo>
                  <a:cubicBezTo>
                    <a:pt x="2997315" y="2910249"/>
                    <a:pt x="2979815" y="2892749"/>
                    <a:pt x="2979815" y="2871162"/>
                  </a:cubicBezTo>
                  <a:cubicBezTo>
                    <a:pt x="2979815" y="2849575"/>
                    <a:pt x="2997315" y="2832075"/>
                    <a:pt x="3018902" y="2832075"/>
                  </a:cubicBezTo>
                  <a:close/>
                  <a:moveTo>
                    <a:pt x="2924263" y="2832075"/>
                  </a:moveTo>
                  <a:cubicBezTo>
                    <a:pt x="2945850" y="2832075"/>
                    <a:pt x="2963349" y="2849575"/>
                    <a:pt x="2963349" y="2871162"/>
                  </a:cubicBezTo>
                  <a:cubicBezTo>
                    <a:pt x="2963349" y="2892749"/>
                    <a:pt x="2945850" y="2910249"/>
                    <a:pt x="2924263" y="2910249"/>
                  </a:cubicBezTo>
                  <a:cubicBezTo>
                    <a:pt x="2902675" y="2910249"/>
                    <a:pt x="2885175" y="2892749"/>
                    <a:pt x="2885175" y="2871162"/>
                  </a:cubicBezTo>
                  <a:cubicBezTo>
                    <a:pt x="2885175" y="2849575"/>
                    <a:pt x="2902675" y="2832075"/>
                    <a:pt x="2924263" y="2832075"/>
                  </a:cubicBezTo>
                  <a:close/>
                  <a:moveTo>
                    <a:pt x="2831988" y="2832075"/>
                  </a:moveTo>
                  <a:cubicBezTo>
                    <a:pt x="2853575" y="2832075"/>
                    <a:pt x="2871075" y="2849575"/>
                    <a:pt x="2871075" y="2871162"/>
                  </a:cubicBezTo>
                  <a:cubicBezTo>
                    <a:pt x="2871075" y="2892749"/>
                    <a:pt x="2853575" y="2910249"/>
                    <a:pt x="2831988" y="2910249"/>
                  </a:cubicBezTo>
                  <a:cubicBezTo>
                    <a:pt x="2810401" y="2910249"/>
                    <a:pt x="2792901" y="2892749"/>
                    <a:pt x="2792901" y="2871162"/>
                  </a:cubicBezTo>
                  <a:cubicBezTo>
                    <a:pt x="2792901" y="2849575"/>
                    <a:pt x="2810401" y="2832075"/>
                    <a:pt x="2831988" y="2832075"/>
                  </a:cubicBezTo>
                  <a:close/>
                  <a:moveTo>
                    <a:pt x="1703409" y="2832075"/>
                  </a:moveTo>
                  <a:cubicBezTo>
                    <a:pt x="1724996" y="2832075"/>
                    <a:pt x="1742495" y="2849575"/>
                    <a:pt x="1742495" y="2871162"/>
                  </a:cubicBezTo>
                  <a:cubicBezTo>
                    <a:pt x="1742495" y="2892749"/>
                    <a:pt x="1724996" y="2910249"/>
                    <a:pt x="1703409" y="2910249"/>
                  </a:cubicBezTo>
                  <a:cubicBezTo>
                    <a:pt x="1681822" y="2910249"/>
                    <a:pt x="1664321" y="2892749"/>
                    <a:pt x="1664321" y="2871162"/>
                  </a:cubicBezTo>
                  <a:cubicBezTo>
                    <a:pt x="1664321" y="2849575"/>
                    <a:pt x="1681822" y="2832075"/>
                    <a:pt x="1703409" y="2832075"/>
                  </a:cubicBezTo>
                  <a:close/>
                  <a:moveTo>
                    <a:pt x="1611133" y="2832075"/>
                  </a:moveTo>
                  <a:cubicBezTo>
                    <a:pt x="1632721" y="2832075"/>
                    <a:pt x="1650221" y="2849575"/>
                    <a:pt x="1650221" y="2871162"/>
                  </a:cubicBezTo>
                  <a:cubicBezTo>
                    <a:pt x="1650221" y="2892749"/>
                    <a:pt x="1632721" y="2910249"/>
                    <a:pt x="1611133" y="2910249"/>
                  </a:cubicBezTo>
                  <a:cubicBezTo>
                    <a:pt x="1589554" y="2910249"/>
                    <a:pt x="1572054" y="2892749"/>
                    <a:pt x="1572054" y="2871162"/>
                  </a:cubicBezTo>
                  <a:cubicBezTo>
                    <a:pt x="1572054" y="2849575"/>
                    <a:pt x="1589554" y="2832075"/>
                    <a:pt x="1611133" y="2832075"/>
                  </a:cubicBezTo>
                  <a:close/>
                  <a:moveTo>
                    <a:pt x="1516501" y="2832075"/>
                  </a:moveTo>
                  <a:cubicBezTo>
                    <a:pt x="1538087" y="2832075"/>
                    <a:pt x="1555588" y="2849575"/>
                    <a:pt x="1555588" y="2871162"/>
                  </a:cubicBezTo>
                  <a:cubicBezTo>
                    <a:pt x="1555588" y="2892749"/>
                    <a:pt x="1538087" y="2910249"/>
                    <a:pt x="1516501" y="2910249"/>
                  </a:cubicBezTo>
                  <a:cubicBezTo>
                    <a:pt x="1494913" y="2910249"/>
                    <a:pt x="1477413" y="2892749"/>
                    <a:pt x="1477413" y="2871162"/>
                  </a:cubicBezTo>
                  <a:cubicBezTo>
                    <a:pt x="1477413" y="2849575"/>
                    <a:pt x="1494913" y="2832075"/>
                    <a:pt x="1516501" y="2832075"/>
                  </a:cubicBezTo>
                  <a:close/>
                  <a:moveTo>
                    <a:pt x="1419496" y="2832075"/>
                  </a:moveTo>
                  <a:cubicBezTo>
                    <a:pt x="1441083" y="2832075"/>
                    <a:pt x="1458583" y="2849575"/>
                    <a:pt x="1458583" y="2871162"/>
                  </a:cubicBezTo>
                  <a:cubicBezTo>
                    <a:pt x="1458583" y="2892749"/>
                    <a:pt x="1441083" y="2910249"/>
                    <a:pt x="1419496" y="2910249"/>
                  </a:cubicBezTo>
                  <a:cubicBezTo>
                    <a:pt x="1397907" y="2910249"/>
                    <a:pt x="1380408" y="2892749"/>
                    <a:pt x="1380408" y="2871162"/>
                  </a:cubicBezTo>
                  <a:cubicBezTo>
                    <a:pt x="1380408" y="2849575"/>
                    <a:pt x="1397907" y="2832075"/>
                    <a:pt x="1419496" y="2832075"/>
                  </a:cubicBezTo>
                  <a:close/>
                  <a:moveTo>
                    <a:pt x="1329587" y="2832075"/>
                  </a:moveTo>
                  <a:cubicBezTo>
                    <a:pt x="1351174" y="2832075"/>
                    <a:pt x="1368674" y="2849575"/>
                    <a:pt x="1368674" y="2871162"/>
                  </a:cubicBezTo>
                  <a:cubicBezTo>
                    <a:pt x="1368674" y="2892749"/>
                    <a:pt x="1351174" y="2910249"/>
                    <a:pt x="1329587" y="2910249"/>
                  </a:cubicBezTo>
                  <a:cubicBezTo>
                    <a:pt x="1308000" y="2910249"/>
                    <a:pt x="1290500" y="2892749"/>
                    <a:pt x="1290500" y="2871162"/>
                  </a:cubicBezTo>
                  <a:cubicBezTo>
                    <a:pt x="1290500" y="2849575"/>
                    <a:pt x="1308000" y="2832075"/>
                    <a:pt x="1329587" y="2832075"/>
                  </a:cubicBezTo>
                  <a:close/>
                  <a:moveTo>
                    <a:pt x="1232583" y="2832075"/>
                  </a:moveTo>
                  <a:cubicBezTo>
                    <a:pt x="1254171" y="2832075"/>
                    <a:pt x="1271669" y="2849575"/>
                    <a:pt x="1271669" y="2871162"/>
                  </a:cubicBezTo>
                  <a:cubicBezTo>
                    <a:pt x="1271669" y="2892749"/>
                    <a:pt x="1254171" y="2910249"/>
                    <a:pt x="1232583" y="2910249"/>
                  </a:cubicBezTo>
                  <a:cubicBezTo>
                    <a:pt x="1210996" y="2910249"/>
                    <a:pt x="1193496" y="2892749"/>
                    <a:pt x="1193496" y="2871162"/>
                  </a:cubicBezTo>
                  <a:cubicBezTo>
                    <a:pt x="1193496" y="2849575"/>
                    <a:pt x="1210996" y="2832075"/>
                    <a:pt x="1232583" y="2832075"/>
                  </a:cubicBezTo>
                  <a:close/>
                  <a:moveTo>
                    <a:pt x="3489737" y="2742165"/>
                  </a:moveTo>
                  <a:cubicBezTo>
                    <a:pt x="3511324" y="2742165"/>
                    <a:pt x="3528823" y="2759665"/>
                    <a:pt x="3528823" y="2781252"/>
                  </a:cubicBezTo>
                  <a:cubicBezTo>
                    <a:pt x="3528823" y="2802840"/>
                    <a:pt x="3511324" y="2820339"/>
                    <a:pt x="3489737" y="2820339"/>
                  </a:cubicBezTo>
                  <a:cubicBezTo>
                    <a:pt x="3468149" y="2820339"/>
                    <a:pt x="3450649" y="2802840"/>
                    <a:pt x="3450649" y="2781252"/>
                  </a:cubicBezTo>
                  <a:cubicBezTo>
                    <a:pt x="3450649" y="2759665"/>
                    <a:pt x="3468149" y="2742165"/>
                    <a:pt x="3489737" y="2742165"/>
                  </a:cubicBezTo>
                  <a:close/>
                  <a:moveTo>
                    <a:pt x="3300457" y="2664088"/>
                  </a:moveTo>
                  <a:cubicBezTo>
                    <a:pt x="3322044" y="2664088"/>
                    <a:pt x="3339544" y="2681588"/>
                    <a:pt x="3339544" y="2703175"/>
                  </a:cubicBezTo>
                  <a:cubicBezTo>
                    <a:pt x="3339544" y="2719366"/>
                    <a:pt x="3329700" y="2733257"/>
                    <a:pt x="3315671" y="2739190"/>
                  </a:cubicBezTo>
                  <a:lnTo>
                    <a:pt x="3300696" y="2742214"/>
                  </a:lnTo>
                  <a:lnTo>
                    <a:pt x="3315671" y="2745237"/>
                  </a:lnTo>
                  <a:cubicBezTo>
                    <a:pt x="3329700" y="2751171"/>
                    <a:pt x="3339544" y="2765062"/>
                    <a:pt x="3339544" y="2781252"/>
                  </a:cubicBezTo>
                  <a:cubicBezTo>
                    <a:pt x="3339544" y="2802840"/>
                    <a:pt x="3322044" y="2820339"/>
                    <a:pt x="3300457" y="2820339"/>
                  </a:cubicBezTo>
                  <a:cubicBezTo>
                    <a:pt x="3278869" y="2820339"/>
                    <a:pt x="3261369" y="2802840"/>
                    <a:pt x="3261369" y="2781252"/>
                  </a:cubicBezTo>
                  <a:cubicBezTo>
                    <a:pt x="3261369" y="2765062"/>
                    <a:pt x="3271213" y="2751171"/>
                    <a:pt x="3285242" y="2745237"/>
                  </a:cubicBezTo>
                  <a:lnTo>
                    <a:pt x="3300217" y="2742214"/>
                  </a:lnTo>
                  <a:lnTo>
                    <a:pt x="3285242" y="2739190"/>
                  </a:lnTo>
                  <a:cubicBezTo>
                    <a:pt x="3271213" y="2733257"/>
                    <a:pt x="3261369" y="2719366"/>
                    <a:pt x="3261369" y="2703175"/>
                  </a:cubicBezTo>
                  <a:cubicBezTo>
                    <a:pt x="3261369" y="2681588"/>
                    <a:pt x="3278869" y="2664088"/>
                    <a:pt x="3300457" y="2664088"/>
                  </a:cubicBezTo>
                  <a:close/>
                  <a:moveTo>
                    <a:pt x="3111177" y="2664088"/>
                  </a:moveTo>
                  <a:cubicBezTo>
                    <a:pt x="3132764" y="2664088"/>
                    <a:pt x="3150264" y="2681588"/>
                    <a:pt x="3150264" y="2703175"/>
                  </a:cubicBezTo>
                  <a:cubicBezTo>
                    <a:pt x="3150264" y="2719366"/>
                    <a:pt x="3140420" y="2733257"/>
                    <a:pt x="3126391" y="2739190"/>
                  </a:cubicBezTo>
                  <a:lnTo>
                    <a:pt x="3111417" y="2742214"/>
                  </a:lnTo>
                  <a:lnTo>
                    <a:pt x="3126391" y="2745237"/>
                  </a:lnTo>
                  <a:cubicBezTo>
                    <a:pt x="3140420" y="2751171"/>
                    <a:pt x="3150264" y="2765062"/>
                    <a:pt x="3150264" y="2781252"/>
                  </a:cubicBezTo>
                  <a:cubicBezTo>
                    <a:pt x="3150264" y="2802840"/>
                    <a:pt x="3132764" y="2820339"/>
                    <a:pt x="3111177" y="2820339"/>
                  </a:cubicBezTo>
                  <a:cubicBezTo>
                    <a:pt x="3089589" y="2820339"/>
                    <a:pt x="3072089" y="2802840"/>
                    <a:pt x="3072089" y="2781252"/>
                  </a:cubicBezTo>
                  <a:cubicBezTo>
                    <a:pt x="3072089" y="2765062"/>
                    <a:pt x="3081933" y="2751171"/>
                    <a:pt x="3095962" y="2745237"/>
                  </a:cubicBezTo>
                  <a:lnTo>
                    <a:pt x="3110937" y="2742214"/>
                  </a:lnTo>
                  <a:lnTo>
                    <a:pt x="3095962" y="2739190"/>
                  </a:lnTo>
                  <a:cubicBezTo>
                    <a:pt x="3081933" y="2733257"/>
                    <a:pt x="3072089" y="2719366"/>
                    <a:pt x="3072089" y="2703175"/>
                  </a:cubicBezTo>
                  <a:cubicBezTo>
                    <a:pt x="3072089" y="2681588"/>
                    <a:pt x="3089589" y="2664088"/>
                    <a:pt x="3111177" y="2664088"/>
                  </a:cubicBezTo>
                  <a:close/>
                  <a:moveTo>
                    <a:pt x="3018902" y="2664088"/>
                  </a:moveTo>
                  <a:cubicBezTo>
                    <a:pt x="3040489" y="2664088"/>
                    <a:pt x="3057989" y="2681588"/>
                    <a:pt x="3057989" y="2703175"/>
                  </a:cubicBezTo>
                  <a:cubicBezTo>
                    <a:pt x="3057989" y="2719366"/>
                    <a:pt x="3048145" y="2733257"/>
                    <a:pt x="3034117" y="2739190"/>
                  </a:cubicBezTo>
                  <a:lnTo>
                    <a:pt x="3019142" y="2742214"/>
                  </a:lnTo>
                  <a:lnTo>
                    <a:pt x="3034117" y="2745237"/>
                  </a:lnTo>
                  <a:cubicBezTo>
                    <a:pt x="3048145" y="2751171"/>
                    <a:pt x="3057989" y="2765062"/>
                    <a:pt x="3057989" y="2781252"/>
                  </a:cubicBezTo>
                  <a:cubicBezTo>
                    <a:pt x="3057989" y="2802840"/>
                    <a:pt x="3040489" y="2820339"/>
                    <a:pt x="3018902" y="2820339"/>
                  </a:cubicBezTo>
                  <a:cubicBezTo>
                    <a:pt x="2997315" y="2820339"/>
                    <a:pt x="2979815" y="2802840"/>
                    <a:pt x="2979815" y="2781252"/>
                  </a:cubicBezTo>
                  <a:cubicBezTo>
                    <a:pt x="2979815" y="2765062"/>
                    <a:pt x="2989659" y="2751171"/>
                    <a:pt x="3003687" y="2745237"/>
                  </a:cubicBezTo>
                  <a:lnTo>
                    <a:pt x="3018663" y="2742214"/>
                  </a:lnTo>
                  <a:lnTo>
                    <a:pt x="3003687" y="2739190"/>
                  </a:lnTo>
                  <a:cubicBezTo>
                    <a:pt x="2989659" y="2733257"/>
                    <a:pt x="2979815" y="2719366"/>
                    <a:pt x="2979815" y="2703175"/>
                  </a:cubicBezTo>
                  <a:cubicBezTo>
                    <a:pt x="2979815" y="2681588"/>
                    <a:pt x="2997315" y="2664088"/>
                    <a:pt x="3018902" y="2664088"/>
                  </a:cubicBezTo>
                  <a:close/>
                  <a:moveTo>
                    <a:pt x="2831988" y="2664088"/>
                  </a:moveTo>
                  <a:cubicBezTo>
                    <a:pt x="2853575" y="2664088"/>
                    <a:pt x="2871075" y="2681588"/>
                    <a:pt x="2871075" y="2703175"/>
                  </a:cubicBezTo>
                  <a:cubicBezTo>
                    <a:pt x="2871075" y="2719366"/>
                    <a:pt x="2861231" y="2733257"/>
                    <a:pt x="2847202" y="2739190"/>
                  </a:cubicBezTo>
                  <a:lnTo>
                    <a:pt x="2832228" y="2742214"/>
                  </a:lnTo>
                  <a:lnTo>
                    <a:pt x="2847202" y="2745237"/>
                  </a:lnTo>
                  <a:cubicBezTo>
                    <a:pt x="2861231" y="2751171"/>
                    <a:pt x="2871075" y="2765062"/>
                    <a:pt x="2871075" y="2781252"/>
                  </a:cubicBezTo>
                  <a:cubicBezTo>
                    <a:pt x="2871075" y="2802840"/>
                    <a:pt x="2853575" y="2820339"/>
                    <a:pt x="2831988" y="2820339"/>
                  </a:cubicBezTo>
                  <a:cubicBezTo>
                    <a:pt x="2810401" y="2820339"/>
                    <a:pt x="2792901" y="2802840"/>
                    <a:pt x="2792901" y="2781252"/>
                  </a:cubicBezTo>
                  <a:cubicBezTo>
                    <a:pt x="2792901" y="2765062"/>
                    <a:pt x="2802745" y="2751171"/>
                    <a:pt x="2816773" y="2745237"/>
                  </a:cubicBezTo>
                  <a:lnTo>
                    <a:pt x="2831748" y="2742214"/>
                  </a:lnTo>
                  <a:lnTo>
                    <a:pt x="2816773" y="2739190"/>
                  </a:lnTo>
                  <a:cubicBezTo>
                    <a:pt x="2802745" y="2733257"/>
                    <a:pt x="2792901" y="2719366"/>
                    <a:pt x="2792901" y="2703175"/>
                  </a:cubicBezTo>
                  <a:cubicBezTo>
                    <a:pt x="2792901" y="2681588"/>
                    <a:pt x="2810401" y="2664088"/>
                    <a:pt x="2831988" y="2664088"/>
                  </a:cubicBezTo>
                  <a:close/>
                  <a:moveTo>
                    <a:pt x="1798047" y="2664088"/>
                  </a:moveTo>
                  <a:cubicBezTo>
                    <a:pt x="1819637" y="2664088"/>
                    <a:pt x="1837135" y="2681588"/>
                    <a:pt x="1837135" y="2703175"/>
                  </a:cubicBezTo>
                  <a:cubicBezTo>
                    <a:pt x="1837135" y="2724762"/>
                    <a:pt x="1819637" y="2742262"/>
                    <a:pt x="1798047" y="2742262"/>
                  </a:cubicBezTo>
                  <a:cubicBezTo>
                    <a:pt x="1776460" y="2742262"/>
                    <a:pt x="1758959" y="2724762"/>
                    <a:pt x="1758959" y="2703175"/>
                  </a:cubicBezTo>
                  <a:cubicBezTo>
                    <a:pt x="1758959" y="2681588"/>
                    <a:pt x="1776460" y="2664088"/>
                    <a:pt x="1798047" y="2664088"/>
                  </a:cubicBezTo>
                  <a:close/>
                  <a:moveTo>
                    <a:pt x="1611133" y="2664088"/>
                  </a:moveTo>
                  <a:cubicBezTo>
                    <a:pt x="1632721" y="2664088"/>
                    <a:pt x="1650221" y="2681588"/>
                    <a:pt x="1650221" y="2703175"/>
                  </a:cubicBezTo>
                  <a:cubicBezTo>
                    <a:pt x="1650221" y="2719366"/>
                    <a:pt x="1640376" y="2733257"/>
                    <a:pt x="1626349" y="2739190"/>
                  </a:cubicBezTo>
                  <a:lnTo>
                    <a:pt x="1611371" y="2742214"/>
                  </a:lnTo>
                  <a:lnTo>
                    <a:pt x="1626347" y="2745237"/>
                  </a:lnTo>
                  <a:cubicBezTo>
                    <a:pt x="1640376" y="2751171"/>
                    <a:pt x="1650221" y="2765062"/>
                    <a:pt x="1650221" y="2781252"/>
                  </a:cubicBezTo>
                  <a:cubicBezTo>
                    <a:pt x="1650221" y="2802840"/>
                    <a:pt x="1632721" y="2820339"/>
                    <a:pt x="1611133" y="2820339"/>
                  </a:cubicBezTo>
                  <a:cubicBezTo>
                    <a:pt x="1589556" y="2820339"/>
                    <a:pt x="1572057" y="2802840"/>
                    <a:pt x="1572057" y="2781252"/>
                  </a:cubicBezTo>
                  <a:cubicBezTo>
                    <a:pt x="1572057" y="2765062"/>
                    <a:pt x="1581899" y="2751171"/>
                    <a:pt x="1595929" y="2745237"/>
                  </a:cubicBezTo>
                  <a:lnTo>
                    <a:pt x="1610892" y="2742214"/>
                  </a:lnTo>
                  <a:lnTo>
                    <a:pt x="1595930" y="2739190"/>
                  </a:lnTo>
                  <a:cubicBezTo>
                    <a:pt x="1581901" y="2733257"/>
                    <a:pt x="1572058" y="2719366"/>
                    <a:pt x="1572058" y="2703175"/>
                  </a:cubicBezTo>
                  <a:cubicBezTo>
                    <a:pt x="1572058" y="2681588"/>
                    <a:pt x="1589557" y="2664088"/>
                    <a:pt x="1611133" y="2664088"/>
                  </a:cubicBezTo>
                  <a:close/>
                  <a:moveTo>
                    <a:pt x="1516504" y="2664088"/>
                  </a:moveTo>
                  <a:cubicBezTo>
                    <a:pt x="1538090" y="2664088"/>
                    <a:pt x="1555592" y="2681588"/>
                    <a:pt x="1555592" y="2703175"/>
                  </a:cubicBezTo>
                  <a:cubicBezTo>
                    <a:pt x="1555592" y="2719366"/>
                    <a:pt x="1545748" y="2733257"/>
                    <a:pt x="1531719" y="2739190"/>
                  </a:cubicBezTo>
                  <a:lnTo>
                    <a:pt x="1516743" y="2742214"/>
                  </a:lnTo>
                  <a:lnTo>
                    <a:pt x="1531717" y="2745237"/>
                  </a:lnTo>
                  <a:cubicBezTo>
                    <a:pt x="1545746" y="2751171"/>
                    <a:pt x="1555589" y="2765062"/>
                    <a:pt x="1555589" y="2781252"/>
                  </a:cubicBezTo>
                  <a:cubicBezTo>
                    <a:pt x="1555589" y="2802840"/>
                    <a:pt x="1538089" y="2820339"/>
                    <a:pt x="1516503" y="2820339"/>
                  </a:cubicBezTo>
                  <a:cubicBezTo>
                    <a:pt x="1494914" y="2820339"/>
                    <a:pt x="1477414" y="2802840"/>
                    <a:pt x="1477414" y="2781252"/>
                  </a:cubicBezTo>
                  <a:cubicBezTo>
                    <a:pt x="1477414" y="2765062"/>
                    <a:pt x="1487258" y="2751171"/>
                    <a:pt x="1501288" y="2745237"/>
                  </a:cubicBezTo>
                  <a:lnTo>
                    <a:pt x="1516264" y="2742214"/>
                  </a:lnTo>
                  <a:lnTo>
                    <a:pt x="1501289" y="2739190"/>
                  </a:lnTo>
                  <a:cubicBezTo>
                    <a:pt x="1487259" y="2733257"/>
                    <a:pt x="1477416" y="2719366"/>
                    <a:pt x="1477416" y="2703175"/>
                  </a:cubicBezTo>
                  <a:cubicBezTo>
                    <a:pt x="1477416" y="2681588"/>
                    <a:pt x="1494916" y="2664088"/>
                    <a:pt x="1516504" y="2664088"/>
                  </a:cubicBezTo>
                  <a:close/>
                  <a:moveTo>
                    <a:pt x="1329588" y="2664088"/>
                  </a:moveTo>
                  <a:cubicBezTo>
                    <a:pt x="1351176" y="2664088"/>
                    <a:pt x="1368676" y="2681588"/>
                    <a:pt x="1368676" y="2703175"/>
                  </a:cubicBezTo>
                  <a:cubicBezTo>
                    <a:pt x="1368676" y="2719366"/>
                    <a:pt x="1358832" y="2733257"/>
                    <a:pt x="1344802" y="2739190"/>
                  </a:cubicBezTo>
                  <a:lnTo>
                    <a:pt x="1329828" y="2742214"/>
                  </a:lnTo>
                  <a:lnTo>
                    <a:pt x="1344802" y="2745237"/>
                  </a:lnTo>
                  <a:cubicBezTo>
                    <a:pt x="1358831" y="2751171"/>
                    <a:pt x="1368676" y="2765062"/>
                    <a:pt x="1368676" y="2781252"/>
                  </a:cubicBezTo>
                  <a:cubicBezTo>
                    <a:pt x="1368676" y="2802840"/>
                    <a:pt x="1351176" y="2820339"/>
                    <a:pt x="1329588" y="2820339"/>
                  </a:cubicBezTo>
                  <a:cubicBezTo>
                    <a:pt x="1308003" y="2820339"/>
                    <a:pt x="1290502" y="2802840"/>
                    <a:pt x="1290502" y="2781252"/>
                  </a:cubicBezTo>
                  <a:cubicBezTo>
                    <a:pt x="1290502" y="2765062"/>
                    <a:pt x="1300346" y="2751171"/>
                    <a:pt x="1314375" y="2745237"/>
                  </a:cubicBezTo>
                  <a:lnTo>
                    <a:pt x="1329349" y="2742214"/>
                  </a:lnTo>
                  <a:lnTo>
                    <a:pt x="1314375" y="2739190"/>
                  </a:lnTo>
                  <a:cubicBezTo>
                    <a:pt x="1300346" y="2733257"/>
                    <a:pt x="1290503" y="2719366"/>
                    <a:pt x="1290503" y="2703175"/>
                  </a:cubicBezTo>
                  <a:cubicBezTo>
                    <a:pt x="1290503" y="2681588"/>
                    <a:pt x="1308003" y="2664088"/>
                    <a:pt x="1329588" y="2664088"/>
                  </a:cubicBezTo>
                  <a:close/>
                  <a:moveTo>
                    <a:pt x="1142676" y="2664088"/>
                  </a:moveTo>
                  <a:cubicBezTo>
                    <a:pt x="1164264" y="2664088"/>
                    <a:pt x="1181763" y="2681588"/>
                    <a:pt x="1181763" y="2703175"/>
                  </a:cubicBezTo>
                  <a:cubicBezTo>
                    <a:pt x="1181763" y="2719366"/>
                    <a:pt x="1171919" y="2733257"/>
                    <a:pt x="1157890" y="2739190"/>
                  </a:cubicBezTo>
                  <a:lnTo>
                    <a:pt x="1142916" y="2742214"/>
                  </a:lnTo>
                  <a:lnTo>
                    <a:pt x="1157891" y="2745237"/>
                  </a:lnTo>
                  <a:cubicBezTo>
                    <a:pt x="1171919" y="2751171"/>
                    <a:pt x="1181764" y="2765062"/>
                    <a:pt x="1181764" y="2781252"/>
                  </a:cubicBezTo>
                  <a:cubicBezTo>
                    <a:pt x="1181764" y="2802840"/>
                    <a:pt x="1164265" y="2820339"/>
                    <a:pt x="1142676" y="2820339"/>
                  </a:cubicBezTo>
                  <a:cubicBezTo>
                    <a:pt x="1121088" y="2820339"/>
                    <a:pt x="1103587" y="2802840"/>
                    <a:pt x="1103587" y="2781252"/>
                  </a:cubicBezTo>
                  <a:cubicBezTo>
                    <a:pt x="1103587" y="2765062"/>
                    <a:pt x="1113432" y="2751171"/>
                    <a:pt x="1127461" y="2745237"/>
                  </a:cubicBezTo>
                  <a:lnTo>
                    <a:pt x="1142436" y="2742214"/>
                  </a:lnTo>
                  <a:lnTo>
                    <a:pt x="1127460" y="2739190"/>
                  </a:lnTo>
                  <a:cubicBezTo>
                    <a:pt x="1113430" y="2733257"/>
                    <a:pt x="1103585" y="2719366"/>
                    <a:pt x="1103585" y="2703175"/>
                  </a:cubicBezTo>
                  <a:cubicBezTo>
                    <a:pt x="1103585" y="2681588"/>
                    <a:pt x="1121087" y="2664088"/>
                    <a:pt x="1142676" y="2664088"/>
                  </a:cubicBezTo>
                  <a:close/>
                  <a:moveTo>
                    <a:pt x="3205817" y="2664086"/>
                  </a:moveTo>
                  <a:cubicBezTo>
                    <a:pt x="3227404" y="2664086"/>
                    <a:pt x="3244904" y="2681586"/>
                    <a:pt x="3244904" y="2703174"/>
                  </a:cubicBezTo>
                  <a:cubicBezTo>
                    <a:pt x="3244904" y="2719364"/>
                    <a:pt x="3235060" y="2733256"/>
                    <a:pt x="3221031" y="2739189"/>
                  </a:cubicBezTo>
                  <a:lnTo>
                    <a:pt x="3206053" y="2742213"/>
                  </a:lnTo>
                  <a:lnTo>
                    <a:pt x="3221031" y="2745237"/>
                  </a:lnTo>
                  <a:cubicBezTo>
                    <a:pt x="3235060" y="2751171"/>
                    <a:pt x="3244904" y="2765062"/>
                    <a:pt x="3244904" y="2781252"/>
                  </a:cubicBezTo>
                  <a:cubicBezTo>
                    <a:pt x="3244904" y="2802840"/>
                    <a:pt x="3227404" y="2820339"/>
                    <a:pt x="3205817" y="2820339"/>
                  </a:cubicBezTo>
                  <a:cubicBezTo>
                    <a:pt x="3184229" y="2820339"/>
                    <a:pt x="3166729" y="2802840"/>
                    <a:pt x="3166729" y="2781252"/>
                  </a:cubicBezTo>
                  <a:cubicBezTo>
                    <a:pt x="3166729" y="2765062"/>
                    <a:pt x="3176573" y="2751171"/>
                    <a:pt x="3190602" y="2745237"/>
                  </a:cubicBezTo>
                  <a:lnTo>
                    <a:pt x="3205580" y="2742213"/>
                  </a:lnTo>
                  <a:lnTo>
                    <a:pt x="3190602" y="2739189"/>
                  </a:lnTo>
                  <a:cubicBezTo>
                    <a:pt x="3176573" y="2733256"/>
                    <a:pt x="3166729" y="2719364"/>
                    <a:pt x="3166729" y="2703174"/>
                  </a:cubicBezTo>
                  <a:cubicBezTo>
                    <a:pt x="3166729" y="2681586"/>
                    <a:pt x="3184229" y="2664086"/>
                    <a:pt x="3205817" y="2664086"/>
                  </a:cubicBezTo>
                  <a:close/>
                  <a:moveTo>
                    <a:pt x="2924263" y="2664086"/>
                  </a:moveTo>
                  <a:cubicBezTo>
                    <a:pt x="2945850" y="2664086"/>
                    <a:pt x="2963349" y="2681586"/>
                    <a:pt x="2963349" y="2703174"/>
                  </a:cubicBezTo>
                  <a:cubicBezTo>
                    <a:pt x="2963349" y="2719364"/>
                    <a:pt x="2953506" y="2733256"/>
                    <a:pt x="2939477" y="2739189"/>
                  </a:cubicBezTo>
                  <a:lnTo>
                    <a:pt x="2924499" y="2742213"/>
                  </a:lnTo>
                  <a:lnTo>
                    <a:pt x="2939477" y="2745237"/>
                  </a:lnTo>
                  <a:cubicBezTo>
                    <a:pt x="2953506" y="2751171"/>
                    <a:pt x="2963349" y="2765062"/>
                    <a:pt x="2963349" y="2781252"/>
                  </a:cubicBezTo>
                  <a:cubicBezTo>
                    <a:pt x="2963349" y="2802840"/>
                    <a:pt x="2945850" y="2820339"/>
                    <a:pt x="2924263" y="2820339"/>
                  </a:cubicBezTo>
                  <a:cubicBezTo>
                    <a:pt x="2902675" y="2820339"/>
                    <a:pt x="2885175" y="2802840"/>
                    <a:pt x="2885175" y="2781252"/>
                  </a:cubicBezTo>
                  <a:cubicBezTo>
                    <a:pt x="2885175" y="2765062"/>
                    <a:pt x="2895019" y="2751171"/>
                    <a:pt x="2909048" y="2745237"/>
                  </a:cubicBezTo>
                  <a:lnTo>
                    <a:pt x="2924026" y="2742213"/>
                  </a:lnTo>
                  <a:lnTo>
                    <a:pt x="2909048" y="2739189"/>
                  </a:lnTo>
                  <a:cubicBezTo>
                    <a:pt x="2895019" y="2733256"/>
                    <a:pt x="2885175" y="2719364"/>
                    <a:pt x="2885175" y="2703174"/>
                  </a:cubicBezTo>
                  <a:cubicBezTo>
                    <a:pt x="2885175" y="2681586"/>
                    <a:pt x="2902675" y="2664086"/>
                    <a:pt x="2924263" y="2664086"/>
                  </a:cubicBezTo>
                  <a:close/>
                  <a:moveTo>
                    <a:pt x="1703410" y="2664086"/>
                  </a:moveTo>
                  <a:cubicBezTo>
                    <a:pt x="1724996" y="2664086"/>
                    <a:pt x="1742497" y="2681586"/>
                    <a:pt x="1742497" y="2703174"/>
                  </a:cubicBezTo>
                  <a:cubicBezTo>
                    <a:pt x="1742497" y="2719364"/>
                    <a:pt x="1732653" y="2733256"/>
                    <a:pt x="1718624" y="2739189"/>
                  </a:cubicBezTo>
                  <a:lnTo>
                    <a:pt x="1703646" y="2742213"/>
                  </a:lnTo>
                  <a:lnTo>
                    <a:pt x="1718624" y="2745237"/>
                  </a:lnTo>
                  <a:cubicBezTo>
                    <a:pt x="1732653" y="2751171"/>
                    <a:pt x="1742495" y="2765062"/>
                    <a:pt x="1742495" y="2781252"/>
                  </a:cubicBezTo>
                  <a:cubicBezTo>
                    <a:pt x="1742495" y="2802840"/>
                    <a:pt x="1724996" y="2820339"/>
                    <a:pt x="1703409" y="2820339"/>
                  </a:cubicBezTo>
                  <a:cubicBezTo>
                    <a:pt x="1681822" y="2820339"/>
                    <a:pt x="1664323" y="2802840"/>
                    <a:pt x="1664323" y="2781252"/>
                  </a:cubicBezTo>
                  <a:cubicBezTo>
                    <a:pt x="1664323" y="2765062"/>
                    <a:pt x="1674166" y="2751171"/>
                    <a:pt x="1688193" y="2745237"/>
                  </a:cubicBezTo>
                  <a:lnTo>
                    <a:pt x="1703173" y="2742213"/>
                  </a:lnTo>
                  <a:lnTo>
                    <a:pt x="1688194" y="2739189"/>
                  </a:lnTo>
                  <a:cubicBezTo>
                    <a:pt x="1674166" y="2733256"/>
                    <a:pt x="1664323" y="2719364"/>
                    <a:pt x="1664323" y="2703174"/>
                  </a:cubicBezTo>
                  <a:cubicBezTo>
                    <a:pt x="1664323" y="2681586"/>
                    <a:pt x="1681822" y="2664086"/>
                    <a:pt x="1703410" y="2664086"/>
                  </a:cubicBezTo>
                  <a:close/>
                  <a:moveTo>
                    <a:pt x="1419499" y="2664086"/>
                  </a:moveTo>
                  <a:cubicBezTo>
                    <a:pt x="1441086" y="2664086"/>
                    <a:pt x="1458586" y="2681586"/>
                    <a:pt x="1458586" y="2703174"/>
                  </a:cubicBezTo>
                  <a:cubicBezTo>
                    <a:pt x="1458586" y="2719364"/>
                    <a:pt x="1448742" y="2733256"/>
                    <a:pt x="1434713" y="2739189"/>
                  </a:cubicBezTo>
                  <a:lnTo>
                    <a:pt x="1419735" y="2742214"/>
                  </a:lnTo>
                  <a:lnTo>
                    <a:pt x="1434712" y="2745237"/>
                  </a:lnTo>
                  <a:cubicBezTo>
                    <a:pt x="1448741" y="2751171"/>
                    <a:pt x="1458584" y="2765062"/>
                    <a:pt x="1458584" y="2781252"/>
                  </a:cubicBezTo>
                  <a:cubicBezTo>
                    <a:pt x="1458584" y="2802840"/>
                    <a:pt x="1441084" y="2820339"/>
                    <a:pt x="1419497" y="2820339"/>
                  </a:cubicBezTo>
                  <a:cubicBezTo>
                    <a:pt x="1397909" y="2820339"/>
                    <a:pt x="1380409" y="2802840"/>
                    <a:pt x="1380409" y="2781252"/>
                  </a:cubicBezTo>
                  <a:cubicBezTo>
                    <a:pt x="1380409" y="2765062"/>
                    <a:pt x="1390253" y="2751171"/>
                    <a:pt x="1404282" y="2745237"/>
                  </a:cubicBezTo>
                  <a:lnTo>
                    <a:pt x="1419262" y="2742213"/>
                  </a:lnTo>
                  <a:lnTo>
                    <a:pt x="1404283" y="2739189"/>
                  </a:lnTo>
                  <a:cubicBezTo>
                    <a:pt x="1390254" y="2733256"/>
                    <a:pt x="1380411" y="2719364"/>
                    <a:pt x="1380411" y="2703174"/>
                  </a:cubicBezTo>
                  <a:cubicBezTo>
                    <a:pt x="1380411" y="2681586"/>
                    <a:pt x="1397910" y="2664086"/>
                    <a:pt x="1419499" y="2664086"/>
                  </a:cubicBezTo>
                  <a:close/>
                  <a:moveTo>
                    <a:pt x="1232585" y="2664086"/>
                  </a:moveTo>
                  <a:cubicBezTo>
                    <a:pt x="1254172" y="2664086"/>
                    <a:pt x="1271670" y="2681586"/>
                    <a:pt x="1271670" y="2703174"/>
                  </a:cubicBezTo>
                  <a:cubicBezTo>
                    <a:pt x="1271670" y="2719364"/>
                    <a:pt x="1261828" y="2733256"/>
                    <a:pt x="1247799" y="2739189"/>
                  </a:cubicBezTo>
                  <a:lnTo>
                    <a:pt x="1232822" y="2742213"/>
                  </a:lnTo>
                  <a:lnTo>
                    <a:pt x="1247798" y="2745237"/>
                  </a:lnTo>
                  <a:cubicBezTo>
                    <a:pt x="1261828" y="2751171"/>
                    <a:pt x="1271670" y="2765062"/>
                    <a:pt x="1271670" y="2781252"/>
                  </a:cubicBezTo>
                  <a:cubicBezTo>
                    <a:pt x="1271670" y="2802840"/>
                    <a:pt x="1254172" y="2820339"/>
                    <a:pt x="1232585" y="2820339"/>
                  </a:cubicBezTo>
                  <a:cubicBezTo>
                    <a:pt x="1210997" y="2820339"/>
                    <a:pt x="1193499" y="2802840"/>
                    <a:pt x="1193499" y="2781252"/>
                  </a:cubicBezTo>
                  <a:cubicBezTo>
                    <a:pt x="1193499" y="2765062"/>
                    <a:pt x="1203342" y="2751171"/>
                    <a:pt x="1217369" y="2745237"/>
                  </a:cubicBezTo>
                  <a:lnTo>
                    <a:pt x="1232349" y="2742213"/>
                  </a:lnTo>
                  <a:lnTo>
                    <a:pt x="1217369" y="2739189"/>
                  </a:lnTo>
                  <a:cubicBezTo>
                    <a:pt x="1203342" y="2733256"/>
                    <a:pt x="1193499" y="2719364"/>
                    <a:pt x="1193499" y="2703174"/>
                  </a:cubicBezTo>
                  <a:cubicBezTo>
                    <a:pt x="1193499" y="2681586"/>
                    <a:pt x="1210997" y="2664086"/>
                    <a:pt x="1232585" y="2664086"/>
                  </a:cubicBezTo>
                  <a:close/>
                  <a:moveTo>
                    <a:pt x="1045666" y="2664086"/>
                  </a:moveTo>
                  <a:cubicBezTo>
                    <a:pt x="1067253" y="2664086"/>
                    <a:pt x="1084754" y="2681586"/>
                    <a:pt x="1084754" y="2703174"/>
                  </a:cubicBezTo>
                  <a:cubicBezTo>
                    <a:pt x="1084754" y="2724761"/>
                    <a:pt x="1067253" y="2742261"/>
                    <a:pt x="1045666" y="2742261"/>
                  </a:cubicBezTo>
                  <a:cubicBezTo>
                    <a:pt x="1024080" y="2742261"/>
                    <a:pt x="1006580" y="2724761"/>
                    <a:pt x="1006580" y="2703174"/>
                  </a:cubicBezTo>
                  <a:cubicBezTo>
                    <a:pt x="1006580" y="2681586"/>
                    <a:pt x="1024080" y="2664086"/>
                    <a:pt x="1045666" y="2664086"/>
                  </a:cubicBezTo>
                  <a:close/>
                  <a:moveTo>
                    <a:pt x="3300455" y="2578910"/>
                  </a:moveTo>
                  <a:cubicBezTo>
                    <a:pt x="3322043" y="2578910"/>
                    <a:pt x="3339543" y="2596410"/>
                    <a:pt x="3339543" y="2617997"/>
                  </a:cubicBezTo>
                  <a:cubicBezTo>
                    <a:pt x="3339543" y="2639585"/>
                    <a:pt x="3322043" y="2657085"/>
                    <a:pt x="3300455" y="2657085"/>
                  </a:cubicBezTo>
                  <a:cubicBezTo>
                    <a:pt x="3278868" y="2657085"/>
                    <a:pt x="3261368" y="2639585"/>
                    <a:pt x="3261368" y="2617997"/>
                  </a:cubicBezTo>
                  <a:cubicBezTo>
                    <a:pt x="3261368" y="2596410"/>
                    <a:pt x="3278868" y="2578910"/>
                    <a:pt x="3300455" y="2578910"/>
                  </a:cubicBezTo>
                  <a:close/>
                  <a:moveTo>
                    <a:pt x="3205815" y="2578910"/>
                  </a:moveTo>
                  <a:cubicBezTo>
                    <a:pt x="3227403" y="2578910"/>
                    <a:pt x="3244903" y="2596410"/>
                    <a:pt x="3244903" y="2617997"/>
                  </a:cubicBezTo>
                  <a:cubicBezTo>
                    <a:pt x="3244903" y="2639585"/>
                    <a:pt x="3227403" y="2657085"/>
                    <a:pt x="3205815" y="2657085"/>
                  </a:cubicBezTo>
                  <a:cubicBezTo>
                    <a:pt x="3184228" y="2657085"/>
                    <a:pt x="3166728" y="2639585"/>
                    <a:pt x="3166728" y="2617997"/>
                  </a:cubicBezTo>
                  <a:cubicBezTo>
                    <a:pt x="3166728" y="2596410"/>
                    <a:pt x="3184228" y="2578910"/>
                    <a:pt x="3205815" y="2578910"/>
                  </a:cubicBezTo>
                  <a:close/>
                  <a:moveTo>
                    <a:pt x="3111175" y="2578910"/>
                  </a:moveTo>
                  <a:cubicBezTo>
                    <a:pt x="3132762" y="2578910"/>
                    <a:pt x="3150262" y="2596410"/>
                    <a:pt x="3150262" y="2617997"/>
                  </a:cubicBezTo>
                  <a:cubicBezTo>
                    <a:pt x="3150262" y="2639585"/>
                    <a:pt x="3132762" y="2657085"/>
                    <a:pt x="3111175" y="2657085"/>
                  </a:cubicBezTo>
                  <a:cubicBezTo>
                    <a:pt x="3089588" y="2657085"/>
                    <a:pt x="3072088" y="2639585"/>
                    <a:pt x="3072088" y="2617997"/>
                  </a:cubicBezTo>
                  <a:cubicBezTo>
                    <a:pt x="3072088" y="2596410"/>
                    <a:pt x="3089588" y="2578910"/>
                    <a:pt x="3111175" y="2578910"/>
                  </a:cubicBezTo>
                  <a:close/>
                  <a:moveTo>
                    <a:pt x="3018901" y="2578910"/>
                  </a:moveTo>
                  <a:cubicBezTo>
                    <a:pt x="3040488" y="2578910"/>
                    <a:pt x="3057988" y="2596410"/>
                    <a:pt x="3057988" y="2617997"/>
                  </a:cubicBezTo>
                  <a:cubicBezTo>
                    <a:pt x="3057988" y="2639585"/>
                    <a:pt x="3040488" y="2657085"/>
                    <a:pt x="3018901" y="2657085"/>
                  </a:cubicBezTo>
                  <a:cubicBezTo>
                    <a:pt x="2997313" y="2657085"/>
                    <a:pt x="2979813" y="2639585"/>
                    <a:pt x="2979813" y="2617997"/>
                  </a:cubicBezTo>
                  <a:cubicBezTo>
                    <a:pt x="2979813" y="2596410"/>
                    <a:pt x="2997313" y="2578910"/>
                    <a:pt x="3018901" y="2578910"/>
                  </a:cubicBezTo>
                  <a:close/>
                  <a:moveTo>
                    <a:pt x="2924262" y="2578910"/>
                  </a:moveTo>
                  <a:cubicBezTo>
                    <a:pt x="2945849" y="2578910"/>
                    <a:pt x="2963349" y="2596410"/>
                    <a:pt x="2963349" y="2617997"/>
                  </a:cubicBezTo>
                  <a:cubicBezTo>
                    <a:pt x="2963349" y="2639585"/>
                    <a:pt x="2945849" y="2657085"/>
                    <a:pt x="2924262" y="2657085"/>
                  </a:cubicBezTo>
                  <a:cubicBezTo>
                    <a:pt x="2902675" y="2657085"/>
                    <a:pt x="2885175" y="2639585"/>
                    <a:pt x="2885175" y="2617997"/>
                  </a:cubicBezTo>
                  <a:cubicBezTo>
                    <a:pt x="2885175" y="2596410"/>
                    <a:pt x="2902675" y="2578910"/>
                    <a:pt x="2924262" y="2578910"/>
                  </a:cubicBezTo>
                  <a:close/>
                  <a:moveTo>
                    <a:pt x="2831987" y="2578910"/>
                  </a:moveTo>
                  <a:cubicBezTo>
                    <a:pt x="2853574" y="2578910"/>
                    <a:pt x="2871074" y="2596410"/>
                    <a:pt x="2871074" y="2617997"/>
                  </a:cubicBezTo>
                  <a:cubicBezTo>
                    <a:pt x="2871074" y="2639585"/>
                    <a:pt x="2853574" y="2657085"/>
                    <a:pt x="2831987" y="2657085"/>
                  </a:cubicBezTo>
                  <a:cubicBezTo>
                    <a:pt x="2810400" y="2657085"/>
                    <a:pt x="2792900" y="2639585"/>
                    <a:pt x="2792900" y="2617997"/>
                  </a:cubicBezTo>
                  <a:cubicBezTo>
                    <a:pt x="2792900" y="2596410"/>
                    <a:pt x="2810400" y="2578910"/>
                    <a:pt x="2831987" y="2578910"/>
                  </a:cubicBezTo>
                  <a:close/>
                  <a:moveTo>
                    <a:pt x="1798047" y="2578910"/>
                  </a:moveTo>
                  <a:cubicBezTo>
                    <a:pt x="1819637" y="2578910"/>
                    <a:pt x="1837133" y="2596410"/>
                    <a:pt x="1837133" y="2617997"/>
                  </a:cubicBezTo>
                  <a:cubicBezTo>
                    <a:pt x="1837133" y="2639585"/>
                    <a:pt x="1819637" y="2657085"/>
                    <a:pt x="1798047" y="2657085"/>
                  </a:cubicBezTo>
                  <a:cubicBezTo>
                    <a:pt x="1776460" y="2657085"/>
                    <a:pt x="1758959" y="2639585"/>
                    <a:pt x="1758959" y="2617997"/>
                  </a:cubicBezTo>
                  <a:cubicBezTo>
                    <a:pt x="1758959" y="2596410"/>
                    <a:pt x="1776460" y="2578910"/>
                    <a:pt x="1798047" y="2578910"/>
                  </a:cubicBezTo>
                  <a:close/>
                  <a:moveTo>
                    <a:pt x="1703409" y="2578910"/>
                  </a:moveTo>
                  <a:cubicBezTo>
                    <a:pt x="1724994" y="2578910"/>
                    <a:pt x="1742497" y="2596410"/>
                    <a:pt x="1742497" y="2617997"/>
                  </a:cubicBezTo>
                  <a:cubicBezTo>
                    <a:pt x="1742497" y="2639585"/>
                    <a:pt x="1724994" y="2657085"/>
                    <a:pt x="1703409" y="2657085"/>
                  </a:cubicBezTo>
                  <a:cubicBezTo>
                    <a:pt x="1681822" y="2657085"/>
                    <a:pt x="1664323" y="2639585"/>
                    <a:pt x="1664323" y="2617997"/>
                  </a:cubicBezTo>
                  <a:cubicBezTo>
                    <a:pt x="1664323" y="2596410"/>
                    <a:pt x="1681822" y="2578910"/>
                    <a:pt x="1703409" y="2578910"/>
                  </a:cubicBezTo>
                  <a:close/>
                  <a:moveTo>
                    <a:pt x="1611131" y="2578910"/>
                  </a:moveTo>
                  <a:cubicBezTo>
                    <a:pt x="1632719" y="2578910"/>
                    <a:pt x="1650221" y="2596410"/>
                    <a:pt x="1650221" y="2617997"/>
                  </a:cubicBezTo>
                  <a:cubicBezTo>
                    <a:pt x="1650221" y="2639585"/>
                    <a:pt x="1632719" y="2657085"/>
                    <a:pt x="1611131" y="2657085"/>
                  </a:cubicBezTo>
                  <a:cubicBezTo>
                    <a:pt x="1589557" y="2657085"/>
                    <a:pt x="1572058" y="2639585"/>
                    <a:pt x="1572058" y="2617997"/>
                  </a:cubicBezTo>
                  <a:cubicBezTo>
                    <a:pt x="1572058" y="2596410"/>
                    <a:pt x="1589557" y="2578910"/>
                    <a:pt x="1611131" y="2578910"/>
                  </a:cubicBezTo>
                  <a:close/>
                  <a:moveTo>
                    <a:pt x="1516504" y="2578910"/>
                  </a:moveTo>
                  <a:cubicBezTo>
                    <a:pt x="1538092" y="2578910"/>
                    <a:pt x="1555592" y="2596410"/>
                    <a:pt x="1555592" y="2617997"/>
                  </a:cubicBezTo>
                  <a:cubicBezTo>
                    <a:pt x="1555592" y="2639585"/>
                    <a:pt x="1538092" y="2657085"/>
                    <a:pt x="1516504" y="2657085"/>
                  </a:cubicBezTo>
                  <a:cubicBezTo>
                    <a:pt x="1494917" y="2657085"/>
                    <a:pt x="1477417" y="2639585"/>
                    <a:pt x="1477417" y="2617997"/>
                  </a:cubicBezTo>
                  <a:cubicBezTo>
                    <a:pt x="1477417" y="2596410"/>
                    <a:pt x="1494917" y="2578910"/>
                    <a:pt x="1516504" y="2578910"/>
                  </a:cubicBezTo>
                  <a:close/>
                  <a:moveTo>
                    <a:pt x="1419499" y="2578910"/>
                  </a:moveTo>
                  <a:cubicBezTo>
                    <a:pt x="1441086" y="2578910"/>
                    <a:pt x="1458586" y="2596410"/>
                    <a:pt x="1458586" y="2617997"/>
                  </a:cubicBezTo>
                  <a:cubicBezTo>
                    <a:pt x="1458586" y="2639585"/>
                    <a:pt x="1441086" y="2657085"/>
                    <a:pt x="1419499" y="2657085"/>
                  </a:cubicBezTo>
                  <a:cubicBezTo>
                    <a:pt x="1397910" y="2657085"/>
                    <a:pt x="1380410" y="2639585"/>
                    <a:pt x="1380410" y="2617997"/>
                  </a:cubicBezTo>
                  <a:cubicBezTo>
                    <a:pt x="1380410" y="2596410"/>
                    <a:pt x="1397910" y="2578910"/>
                    <a:pt x="1419499" y="2578910"/>
                  </a:cubicBezTo>
                  <a:close/>
                  <a:moveTo>
                    <a:pt x="1329590" y="2578910"/>
                  </a:moveTo>
                  <a:cubicBezTo>
                    <a:pt x="1351176" y="2578910"/>
                    <a:pt x="1368677" y="2596410"/>
                    <a:pt x="1368677" y="2617997"/>
                  </a:cubicBezTo>
                  <a:cubicBezTo>
                    <a:pt x="1368677" y="2639585"/>
                    <a:pt x="1351176" y="2657085"/>
                    <a:pt x="1329590" y="2657085"/>
                  </a:cubicBezTo>
                  <a:cubicBezTo>
                    <a:pt x="1308004" y="2657085"/>
                    <a:pt x="1290504" y="2639585"/>
                    <a:pt x="1290504" y="2617997"/>
                  </a:cubicBezTo>
                  <a:cubicBezTo>
                    <a:pt x="1290504" y="2596410"/>
                    <a:pt x="1308004" y="2578910"/>
                    <a:pt x="1329590" y="2578910"/>
                  </a:cubicBezTo>
                  <a:close/>
                  <a:moveTo>
                    <a:pt x="1232588" y="2578910"/>
                  </a:moveTo>
                  <a:cubicBezTo>
                    <a:pt x="1254175" y="2578910"/>
                    <a:pt x="1271672" y="2596410"/>
                    <a:pt x="1271672" y="2617997"/>
                  </a:cubicBezTo>
                  <a:cubicBezTo>
                    <a:pt x="1271672" y="2639585"/>
                    <a:pt x="1254175" y="2657085"/>
                    <a:pt x="1232588" y="2657085"/>
                  </a:cubicBezTo>
                  <a:cubicBezTo>
                    <a:pt x="1211000" y="2657085"/>
                    <a:pt x="1193502" y="2639585"/>
                    <a:pt x="1193502" y="2617997"/>
                  </a:cubicBezTo>
                  <a:cubicBezTo>
                    <a:pt x="1193502" y="2596410"/>
                    <a:pt x="1211000" y="2578910"/>
                    <a:pt x="1232588" y="2578910"/>
                  </a:cubicBezTo>
                  <a:close/>
                  <a:moveTo>
                    <a:pt x="1142677" y="2578910"/>
                  </a:moveTo>
                  <a:cubicBezTo>
                    <a:pt x="1164265" y="2578910"/>
                    <a:pt x="1181764" y="2596410"/>
                    <a:pt x="1181764" y="2617997"/>
                  </a:cubicBezTo>
                  <a:cubicBezTo>
                    <a:pt x="1181764" y="2639585"/>
                    <a:pt x="1164265" y="2657085"/>
                    <a:pt x="1142677" y="2657085"/>
                  </a:cubicBezTo>
                  <a:cubicBezTo>
                    <a:pt x="1121088" y="2657085"/>
                    <a:pt x="1103588" y="2639585"/>
                    <a:pt x="1103588" y="2617997"/>
                  </a:cubicBezTo>
                  <a:cubicBezTo>
                    <a:pt x="1103588" y="2596410"/>
                    <a:pt x="1121088" y="2578910"/>
                    <a:pt x="1142677" y="2578910"/>
                  </a:cubicBezTo>
                  <a:close/>
                  <a:moveTo>
                    <a:pt x="1045667" y="2578910"/>
                  </a:moveTo>
                  <a:cubicBezTo>
                    <a:pt x="1067254" y="2578910"/>
                    <a:pt x="1084755" y="2596410"/>
                    <a:pt x="1084755" y="2617997"/>
                  </a:cubicBezTo>
                  <a:cubicBezTo>
                    <a:pt x="1084755" y="2639585"/>
                    <a:pt x="1067254" y="2657085"/>
                    <a:pt x="1045667" y="2657085"/>
                  </a:cubicBezTo>
                  <a:cubicBezTo>
                    <a:pt x="1024081" y="2657085"/>
                    <a:pt x="1006581" y="2639585"/>
                    <a:pt x="1006581" y="2617997"/>
                  </a:cubicBezTo>
                  <a:cubicBezTo>
                    <a:pt x="1006581" y="2596410"/>
                    <a:pt x="1024081" y="2578910"/>
                    <a:pt x="1045667" y="2578910"/>
                  </a:cubicBezTo>
                  <a:close/>
                  <a:moveTo>
                    <a:pt x="3300455" y="2486637"/>
                  </a:moveTo>
                  <a:cubicBezTo>
                    <a:pt x="3322043" y="2486637"/>
                    <a:pt x="3339543" y="2504137"/>
                    <a:pt x="3339543" y="2525724"/>
                  </a:cubicBezTo>
                  <a:cubicBezTo>
                    <a:pt x="3339543" y="2547311"/>
                    <a:pt x="3322043" y="2564811"/>
                    <a:pt x="3300455" y="2564811"/>
                  </a:cubicBezTo>
                  <a:cubicBezTo>
                    <a:pt x="3278868" y="2564811"/>
                    <a:pt x="3261368" y="2547311"/>
                    <a:pt x="3261368" y="2525724"/>
                  </a:cubicBezTo>
                  <a:cubicBezTo>
                    <a:pt x="3261368" y="2504137"/>
                    <a:pt x="3278868" y="2486637"/>
                    <a:pt x="3300455" y="2486637"/>
                  </a:cubicBezTo>
                  <a:close/>
                  <a:moveTo>
                    <a:pt x="3205815" y="2486637"/>
                  </a:moveTo>
                  <a:cubicBezTo>
                    <a:pt x="3227403" y="2486637"/>
                    <a:pt x="3244903" y="2504137"/>
                    <a:pt x="3244903" y="2525724"/>
                  </a:cubicBezTo>
                  <a:cubicBezTo>
                    <a:pt x="3244903" y="2547311"/>
                    <a:pt x="3227403" y="2564811"/>
                    <a:pt x="3205815" y="2564811"/>
                  </a:cubicBezTo>
                  <a:cubicBezTo>
                    <a:pt x="3184228" y="2564811"/>
                    <a:pt x="3166728" y="2547311"/>
                    <a:pt x="3166728" y="2525724"/>
                  </a:cubicBezTo>
                  <a:cubicBezTo>
                    <a:pt x="3166728" y="2504137"/>
                    <a:pt x="3184228" y="2486637"/>
                    <a:pt x="3205815" y="2486637"/>
                  </a:cubicBezTo>
                  <a:close/>
                  <a:moveTo>
                    <a:pt x="3111175" y="2486637"/>
                  </a:moveTo>
                  <a:cubicBezTo>
                    <a:pt x="3132762" y="2486637"/>
                    <a:pt x="3150262" y="2504137"/>
                    <a:pt x="3150262" y="2525724"/>
                  </a:cubicBezTo>
                  <a:cubicBezTo>
                    <a:pt x="3150262" y="2547311"/>
                    <a:pt x="3132762" y="2564811"/>
                    <a:pt x="3111175" y="2564811"/>
                  </a:cubicBezTo>
                  <a:cubicBezTo>
                    <a:pt x="3089588" y="2564811"/>
                    <a:pt x="3072088" y="2547311"/>
                    <a:pt x="3072088" y="2525724"/>
                  </a:cubicBezTo>
                  <a:cubicBezTo>
                    <a:pt x="3072088" y="2504137"/>
                    <a:pt x="3089588" y="2486637"/>
                    <a:pt x="3111175" y="2486637"/>
                  </a:cubicBezTo>
                  <a:close/>
                  <a:moveTo>
                    <a:pt x="3018901" y="2486637"/>
                  </a:moveTo>
                  <a:cubicBezTo>
                    <a:pt x="3040488" y="2486637"/>
                    <a:pt x="3057988" y="2504137"/>
                    <a:pt x="3057988" y="2525724"/>
                  </a:cubicBezTo>
                  <a:cubicBezTo>
                    <a:pt x="3057988" y="2547311"/>
                    <a:pt x="3040488" y="2564811"/>
                    <a:pt x="3018901" y="2564811"/>
                  </a:cubicBezTo>
                  <a:cubicBezTo>
                    <a:pt x="2997313" y="2564811"/>
                    <a:pt x="2979813" y="2547311"/>
                    <a:pt x="2979813" y="2525724"/>
                  </a:cubicBezTo>
                  <a:cubicBezTo>
                    <a:pt x="2979813" y="2504137"/>
                    <a:pt x="2997313" y="2486637"/>
                    <a:pt x="3018901" y="2486637"/>
                  </a:cubicBezTo>
                  <a:close/>
                  <a:moveTo>
                    <a:pt x="2924262" y="2486637"/>
                  </a:moveTo>
                  <a:cubicBezTo>
                    <a:pt x="2945849" y="2486637"/>
                    <a:pt x="2963349" y="2504137"/>
                    <a:pt x="2963349" y="2525724"/>
                  </a:cubicBezTo>
                  <a:cubicBezTo>
                    <a:pt x="2963349" y="2547311"/>
                    <a:pt x="2945849" y="2564811"/>
                    <a:pt x="2924262" y="2564811"/>
                  </a:cubicBezTo>
                  <a:cubicBezTo>
                    <a:pt x="2902675" y="2564811"/>
                    <a:pt x="2885175" y="2547311"/>
                    <a:pt x="2885175" y="2525724"/>
                  </a:cubicBezTo>
                  <a:cubicBezTo>
                    <a:pt x="2885175" y="2504137"/>
                    <a:pt x="2902675" y="2486637"/>
                    <a:pt x="2924262" y="2486637"/>
                  </a:cubicBezTo>
                  <a:close/>
                  <a:moveTo>
                    <a:pt x="2831987" y="2486637"/>
                  </a:moveTo>
                  <a:cubicBezTo>
                    <a:pt x="2853574" y="2486637"/>
                    <a:pt x="2871074" y="2504137"/>
                    <a:pt x="2871074" y="2525724"/>
                  </a:cubicBezTo>
                  <a:cubicBezTo>
                    <a:pt x="2871074" y="2547311"/>
                    <a:pt x="2853574" y="2564811"/>
                    <a:pt x="2831987" y="2564811"/>
                  </a:cubicBezTo>
                  <a:cubicBezTo>
                    <a:pt x="2810400" y="2564811"/>
                    <a:pt x="2792900" y="2547311"/>
                    <a:pt x="2792900" y="2525724"/>
                  </a:cubicBezTo>
                  <a:cubicBezTo>
                    <a:pt x="2792900" y="2504137"/>
                    <a:pt x="2810400" y="2486637"/>
                    <a:pt x="2831987" y="2486637"/>
                  </a:cubicBezTo>
                  <a:close/>
                  <a:moveTo>
                    <a:pt x="1798047" y="2486637"/>
                  </a:moveTo>
                  <a:cubicBezTo>
                    <a:pt x="1819637" y="2486637"/>
                    <a:pt x="1837133" y="2504137"/>
                    <a:pt x="1837133" y="2525724"/>
                  </a:cubicBezTo>
                  <a:cubicBezTo>
                    <a:pt x="1837133" y="2547311"/>
                    <a:pt x="1819637" y="2564811"/>
                    <a:pt x="1798047" y="2564811"/>
                  </a:cubicBezTo>
                  <a:cubicBezTo>
                    <a:pt x="1776460" y="2564811"/>
                    <a:pt x="1758962" y="2547311"/>
                    <a:pt x="1758962" y="2525724"/>
                  </a:cubicBezTo>
                  <a:cubicBezTo>
                    <a:pt x="1758962" y="2504137"/>
                    <a:pt x="1776460" y="2486637"/>
                    <a:pt x="1798047" y="2486637"/>
                  </a:cubicBezTo>
                  <a:close/>
                  <a:moveTo>
                    <a:pt x="1703410" y="2486637"/>
                  </a:moveTo>
                  <a:cubicBezTo>
                    <a:pt x="1724996" y="2486637"/>
                    <a:pt x="1742497" y="2504137"/>
                    <a:pt x="1742497" y="2525724"/>
                  </a:cubicBezTo>
                  <a:cubicBezTo>
                    <a:pt x="1742497" y="2547311"/>
                    <a:pt x="1724996" y="2564811"/>
                    <a:pt x="1703410" y="2564811"/>
                  </a:cubicBezTo>
                  <a:cubicBezTo>
                    <a:pt x="1681822" y="2564811"/>
                    <a:pt x="1664323" y="2547311"/>
                    <a:pt x="1664323" y="2525724"/>
                  </a:cubicBezTo>
                  <a:cubicBezTo>
                    <a:pt x="1664323" y="2504137"/>
                    <a:pt x="1681822" y="2486637"/>
                    <a:pt x="1703410" y="2486637"/>
                  </a:cubicBezTo>
                  <a:close/>
                  <a:moveTo>
                    <a:pt x="1611133" y="2486637"/>
                  </a:moveTo>
                  <a:cubicBezTo>
                    <a:pt x="1632721" y="2486637"/>
                    <a:pt x="1650221" y="2504137"/>
                    <a:pt x="1650221" y="2525724"/>
                  </a:cubicBezTo>
                  <a:cubicBezTo>
                    <a:pt x="1650221" y="2547311"/>
                    <a:pt x="1632721" y="2564811"/>
                    <a:pt x="1611133" y="2564811"/>
                  </a:cubicBezTo>
                  <a:cubicBezTo>
                    <a:pt x="1589559" y="2564811"/>
                    <a:pt x="1572059" y="2547311"/>
                    <a:pt x="1572059" y="2525724"/>
                  </a:cubicBezTo>
                  <a:cubicBezTo>
                    <a:pt x="1572059" y="2504137"/>
                    <a:pt x="1589559" y="2486637"/>
                    <a:pt x="1611133" y="2486637"/>
                  </a:cubicBezTo>
                  <a:close/>
                  <a:moveTo>
                    <a:pt x="1516507" y="2486637"/>
                  </a:moveTo>
                  <a:cubicBezTo>
                    <a:pt x="1538093" y="2486637"/>
                    <a:pt x="1555594" y="2504137"/>
                    <a:pt x="1555594" y="2525724"/>
                  </a:cubicBezTo>
                  <a:cubicBezTo>
                    <a:pt x="1555594" y="2547311"/>
                    <a:pt x="1538093" y="2564811"/>
                    <a:pt x="1516507" y="2564811"/>
                  </a:cubicBezTo>
                  <a:cubicBezTo>
                    <a:pt x="1494919" y="2564811"/>
                    <a:pt x="1477419" y="2547311"/>
                    <a:pt x="1477419" y="2525724"/>
                  </a:cubicBezTo>
                  <a:cubicBezTo>
                    <a:pt x="1477419" y="2504137"/>
                    <a:pt x="1494919" y="2486637"/>
                    <a:pt x="1516507" y="2486637"/>
                  </a:cubicBezTo>
                  <a:close/>
                  <a:moveTo>
                    <a:pt x="1419502" y="2486637"/>
                  </a:moveTo>
                  <a:cubicBezTo>
                    <a:pt x="1441088" y="2486637"/>
                    <a:pt x="1458588" y="2504137"/>
                    <a:pt x="1458588" y="2525724"/>
                  </a:cubicBezTo>
                  <a:cubicBezTo>
                    <a:pt x="1458588" y="2547311"/>
                    <a:pt x="1441088" y="2564811"/>
                    <a:pt x="1419502" y="2564811"/>
                  </a:cubicBezTo>
                  <a:cubicBezTo>
                    <a:pt x="1397913" y="2564811"/>
                    <a:pt x="1380412" y="2547311"/>
                    <a:pt x="1380412" y="2525724"/>
                  </a:cubicBezTo>
                  <a:cubicBezTo>
                    <a:pt x="1380412" y="2504137"/>
                    <a:pt x="1397913" y="2486637"/>
                    <a:pt x="1419502" y="2486637"/>
                  </a:cubicBezTo>
                  <a:close/>
                  <a:moveTo>
                    <a:pt x="1329592" y="2486637"/>
                  </a:moveTo>
                  <a:cubicBezTo>
                    <a:pt x="1351178" y="2486637"/>
                    <a:pt x="1368679" y="2504137"/>
                    <a:pt x="1368679" y="2525724"/>
                  </a:cubicBezTo>
                  <a:cubicBezTo>
                    <a:pt x="1368679" y="2547311"/>
                    <a:pt x="1351178" y="2564811"/>
                    <a:pt x="1329592" y="2564811"/>
                  </a:cubicBezTo>
                  <a:cubicBezTo>
                    <a:pt x="1308006" y="2564811"/>
                    <a:pt x="1290506" y="2547311"/>
                    <a:pt x="1290506" y="2525724"/>
                  </a:cubicBezTo>
                  <a:cubicBezTo>
                    <a:pt x="1290506" y="2504137"/>
                    <a:pt x="1308006" y="2486637"/>
                    <a:pt x="1329592" y="2486637"/>
                  </a:cubicBezTo>
                  <a:close/>
                  <a:moveTo>
                    <a:pt x="1232589" y="2486637"/>
                  </a:moveTo>
                  <a:cubicBezTo>
                    <a:pt x="1254178" y="2486637"/>
                    <a:pt x="1271673" y="2504137"/>
                    <a:pt x="1271673" y="2525724"/>
                  </a:cubicBezTo>
                  <a:cubicBezTo>
                    <a:pt x="1271673" y="2547311"/>
                    <a:pt x="1254178" y="2564811"/>
                    <a:pt x="1232589" y="2564811"/>
                  </a:cubicBezTo>
                  <a:cubicBezTo>
                    <a:pt x="1211001" y="2564811"/>
                    <a:pt x="1193504" y="2547311"/>
                    <a:pt x="1193504" y="2525724"/>
                  </a:cubicBezTo>
                  <a:cubicBezTo>
                    <a:pt x="1193504" y="2504137"/>
                    <a:pt x="1211001" y="2486637"/>
                    <a:pt x="1232589" y="2486637"/>
                  </a:cubicBezTo>
                  <a:close/>
                  <a:moveTo>
                    <a:pt x="1142679" y="2486637"/>
                  </a:moveTo>
                  <a:cubicBezTo>
                    <a:pt x="1164267" y="2486637"/>
                    <a:pt x="1181766" y="2504137"/>
                    <a:pt x="1181766" y="2525724"/>
                  </a:cubicBezTo>
                  <a:cubicBezTo>
                    <a:pt x="1181766" y="2547311"/>
                    <a:pt x="1164267" y="2564811"/>
                    <a:pt x="1142679" y="2564811"/>
                  </a:cubicBezTo>
                  <a:cubicBezTo>
                    <a:pt x="1121091" y="2564811"/>
                    <a:pt x="1103589" y="2547311"/>
                    <a:pt x="1103589" y="2525724"/>
                  </a:cubicBezTo>
                  <a:cubicBezTo>
                    <a:pt x="1103589" y="2504137"/>
                    <a:pt x="1121091" y="2486637"/>
                    <a:pt x="1142679" y="2486637"/>
                  </a:cubicBezTo>
                  <a:close/>
                  <a:moveTo>
                    <a:pt x="1045669" y="2486637"/>
                  </a:moveTo>
                  <a:cubicBezTo>
                    <a:pt x="1067255" y="2486637"/>
                    <a:pt x="1084757" y="2504137"/>
                    <a:pt x="1084757" y="2525724"/>
                  </a:cubicBezTo>
                  <a:cubicBezTo>
                    <a:pt x="1084757" y="2547311"/>
                    <a:pt x="1067255" y="2564811"/>
                    <a:pt x="1045669" y="2564811"/>
                  </a:cubicBezTo>
                  <a:cubicBezTo>
                    <a:pt x="1024083" y="2564811"/>
                    <a:pt x="1006583" y="2547311"/>
                    <a:pt x="1006583" y="2525724"/>
                  </a:cubicBezTo>
                  <a:cubicBezTo>
                    <a:pt x="1006583" y="2504137"/>
                    <a:pt x="1024083" y="2486637"/>
                    <a:pt x="1045669" y="2486637"/>
                  </a:cubicBezTo>
                  <a:close/>
                  <a:moveTo>
                    <a:pt x="951032" y="2486637"/>
                  </a:moveTo>
                  <a:cubicBezTo>
                    <a:pt x="972619" y="2486637"/>
                    <a:pt x="990118" y="2504137"/>
                    <a:pt x="990118" y="2525724"/>
                  </a:cubicBezTo>
                  <a:cubicBezTo>
                    <a:pt x="990118" y="2547311"/>
                    <a:pt x="972619" y="2564811"/>
                    <a:pt x="951032" y="2564811"/>
                  </a:cubicBezTo>
                  <a:cubicBezTo>
                    <a:pt x="929446" y="2564811"/>
                    <a:pt x="911947" y="2547311"/>
                    <a:pt x="911947" y="2525724"/>
                  </a:cubicBezTo>
                  <a:cubicBezTo>
                    <a:pt x="911947" y="2504137"/>
                    <a:pt x="929446" y="2486637"/>
                    <a:pt x="951032" y="2486637"/>
                  </a:cubicBezTo>
                  <a:close/>
                  <a:moveTo>
                    <a:pt x="3392730" y="2401461"/>
                  </a:moveTo>
                  <a:cubicBezTo>
                    <a:pt x="3414317" y="2401461"/>
                    <a:pt x="3431817" y="2418961"/>
                    <a:pt x="3431817" y="2440548"/>
                  </a:cubicBezTo>
                  <a:cubicBezTo>
                    <a:pt x="3431817" y="2462135"/>
                    <a:pt x="3414317" y="2479635"/>
                    <a:pt x="3392730" y="2479635"/>
                  </a:cubicBezTo>
                  <a:cubicBezTo>
                    <a:pt x="3371143" y="2479635"/>
                    <a:pt x="3353643" y="2462135"/>
                    <a:pt x="3353643" y="2440548"/>
                  </a:cubicBezTo>
                  <a:cubicBezTo>
                    <a:pt x="3353643" y="2418961"/>
                    <a:pt x="3371143" y="2401461"/>
                    <a:pt x="3392730" y="2401461"/>
                  </a:cubicBezTo>
                  <a:close/>
                  <a:moveTo>
                    <a:pt x="3300455" y="2401461"/>
                  </a:moveTo>
                  <a:cubicBezTo>
                    <a:pt x="3322043" y="2401461"/>
                    <a:pt x="3339543" y="2418961"/>
                    <a:pt x="3339543" y="2440548"/>
                  </a:cubicBezTo>
                  <a:cubicBezTo>
                    <a:pt x="3339543" y="2462135"/>
                    <a:pt x="3322043" y="2479635"/>
                    <a:pt x="3300455" y="2479635"/>
                  </a:cubicBezTo>
                  <a:cubicBezTo>
                    <a:pt x="3278868" y="2479635"/>
                    <a:pt x="3261368" y="2462135"/>
                    <a:pt x="3261368" y="2440548"/>
                  </a:cubicBezTo>
                  <a:cubicBezTo>
                    <a:pt x="3261368" y="2418961"/>
                    <a:pt x="3278868" y="2401461"/>
                    <a:pt x="3300455" y="2401461"/>
                  </a:cubicBezTo>
                  <a:close/>
                  <a:moveTo>
                    <a:pt x="3205815" y="2401461"/>
                  </a:moveTo>
                  <a:cubicBezTo>
                    <a:pt x="3227403" y="2401461"/>
                    <a:pt x="3244903" y="2418961"/>
                    <a:pt x="3244903" y="2440548"/>
                  </a:cubicBezTo>
                  <a:cubicBezTo>
                    <a:pt x="3244903" y="2462135"/>
                    <a:pt x="3227403" y="2479635"/>
                    <a:pt x="3205815" y="2479635"/>
                  </a:cubicBezTo>
                  <a:cubicBezTo>
                    <a:pt x="3184228" y="2479635"/>
                    <a:pt x="3166728" y="2462135"/>
                    <a:pt x="3166728" y="2440548"/>
                  </a:cubicBezTo>
                  <a:cubicBezTo>
                    <a:pt x="3166728" y="2418961"/>
                    <a:pt x="3184228" y="2401461"/>
                    <a:pt x="3205815" y="2401461"/>
                  </a:cubicBezTo>
                  <a:close/>
                  <a:moveTo>
                    <a:pt x="3111175" y="2401461"/>
                  </a:moveTo>
                  <a:cubicBezTo>
                    <a:pt x="3132762" y="2401461"/>
                    <a:pt x="3150262" y="2418961"/>
                    <a:pt x="3150262" y="2440548"/>
                  </a:cubicBezTo>
                  <a:cubicBezTo>
                    <a:pt x="3150262" y="2462135"/>
                    <a:pt x="3132762" y="2479635"/>
                    <a:pt x="3111175" y="2479635"/>
                  </a:cubicBezTo>
                  <a:cubicBezTo>
                    <a:pt x="3089588" y="2479635"/>
                    <a:pt x="3072088" y="2462135"/>
                    <a:pt x="3072088" y="2440548"/>
                  </a:cubicBezTo>
                  <a:cubicBezTo>
                    <a:pt x="3072088" y="2418961"/>
                    <a:pt x="3089588" y="2401461"/>
                    <a:pt x="3111175" y="2401461"/>
                  </a:cubicBezTo>
                  <a:close/>
                  <a:moveTo>
                    <a:pt x="3018901" y="2401461"/>
                  </a:moveTo>
                  <a:cubicBezTo>
                    <a:pt x="3040488" y="2401461"/>
                    <a:pt x="3057988" y="2418961"/>
                    <a:pt x="3057988" y="2440548"/>
                  </a:cubicBezTo>
                  <a:cubicBezTo>
                    <a:pt x="3057988" y="2462135"/>
                    <a:pt x="3040488" y="2479635"/>
                    <a:pt x="3018901" y="2479635"/>
                  </a:cubicBezTo>
                  <a:cubicBezTo>
                    <a:pt x="2997313" y="2479635"/>
                    <a:pt x="2979813" y="2462135"/>
                    <a:pt x="2979813" y="2440548"/>
                  </a:cubicBezTo>
                  <a:cubicBezTo>
                    <a:pt x="2979813" y="2418961"/>
                    <a:pt x="2997313" y="2401461"/>
                    <a:pt x="3018901" y="2401461"/>
                  </a:cubicBezTo>
                  <a:close/>
                  <a:moveTo>
                    <a:pt x="2924262" y="2401461"/>
                  </a:moveTo>
                  <a:cubicBezTo>
                    <a:pt x="2945849" y="2401461"/>
                    <a:pt x="2963349" y="2418961"/>
                    <a:pt x="2963349" y="2440548"/>
                  </a:cubicBezTo>
                  <a:cubicBezTo>
                    <a:pt x="2963349" y="2462135"/>
                    <a:pt x="2945849" y="2479635"/>
                    <a:pt x="2924262" y="2479635"/>
                  </a:cubicBezTo>
                  <a:cubicBezTo>
                    <a:pt x="2902675" y="2479635"/>
                    <a:pt x="2885175" y="2462135"/>
                    <a:pt x="2885175" y="2440548"/>
                  </a:cubicBezTo>
                  <a:cubicBezTo>
                    <a:pt x="2885175" y="2418961"/>
                    <a:pt x="2902675" y="2401461"/>
                    <a:pt x="2924262" y="2401461"/>
                  </a:cubicBezTo>
                  <a:close/>
                  <a:moveTo>
                    <a:pt x="2831987" y="2401461"/>
                  </a:moveTo>
                  <a:cubicBezTo>
                    <a:pt x="2853574" y="2401461"/>
                    <a:pt x="2871074" y="2418961"/>
                    <a:pt x="2871074" y="2440548"/>
                  </a:cubicBezTo>
                  <a:cubicBezTo>
                    <a:pt x="2871074" y="2462135"/>
                    <a:pt x="2853574" y="2479635"/>
                    <a:pt x="2831987" y="2479635"/>
                  </a:cubicBezTo>
                  <a:cubicBezTo>
                    <a:pt x="2810400" y="2479635"/>
                    <a:pt x="2792900" y="2462135"/>
                    <a:pt x="2792900" y="2440548"/>
                  </a:cubicBezTo>
                  <a:cubicBezTo>
                    <a:pt x="2792900" y="2418961"/>
                    <a:pt x="2810400" y="2401461"/>
                    <a:pt x="2831987" y="2401461"/>
                  </a:cubicBezTo>
                  <a:close/>
                  <a:moveTo>
                    <a:pt x="2737353" y="2401461"/>
                  </a:moveTo>
                  <a:cubicBezTo>
                    <a:pt x="2758934" y="2401461"/>
                    <a:pt x="2776434" y="2418961"/>
                    <a:pt x="2776434" y="2440548"/>
                  </a:cubicBezTo>
                  <a:cubicBezTo>
                    <a:pt x="2776434" y="2462135"/>
                    <a:pt x="2758934" y="2479635"/>
                    <a:pt x="2737353" y="2479635"/>
                  </a:cubicBezTo>
                  <a:cubicBezTo>
                    <a:pt x="2715763" y="2479635"/>
                    <a:pt x="2698263" y="2462135"/>
                    <a:pt x="2698263" y="2440548"/>
                  </a:cubicBezTo>
                  <a:cubicBezTo>
                    <a:pt x="2698263" y="2418961"/>
                    <a:pt x="2715763" y="2401461"/>
                    <a:pt x="2737353" y="2401461"/>
                  </a:cubicBezTo>
                  <a:close/>
                  <a:moveTo>
                    <a:pt x="1611133" y="2401461"/>
                  </a:moveTo>
                  <a:cubicBezTo>
                    <a:pt x="1632721" y="2401461"/>
                    <a:pt x="1650223" y="2418961"/>
                    <a:pt x="1650223" y="2440548"/>
                  </a:cubicBezTo>
                  <a:cubicBezTo>
                    <a:pt x="1650223" y="2462135"/>
                    <a:pt x="1632721" y="2479635"/>
                    <a:pt x="1611133" y="2479635"/>
                  </a:cubicBezTo>
                  <a:cubicBezTo>
                    <a:pt x="1589561" y="2479635"/>
                    <a:pt x="1572061" y="2462135"/>
                    <a:pt x="1572061" y="2440548"/>
                  </a:cubicBezTo>
                  <a:cubicBezTo>
                    <a:pt x="1572061" y="2418961"/>
                    <a:pt x="1589561" y="2401461"/>
                    <a:pt x="1611133" y="2401461"/>
                  </a:cubicBezTo>
                  <a:close/>
                  <a:moveTo>
                    <a:pt x="1516509" y="2401461"/>
                  </a:moveTo>
                  <a:cubicBezTo>
                    <a:pt x="1538095" y="2401461"/>
                    <a:pt x="1555596" y="2418961"/>
                    <a:pt x="1555596" y="2440548"/>
                  </a:cubicBezTo>
                  <a:cubicBezTo>
                    <a:pt x="1555596" y="2462135"/>
                    <a:pt x="1538095" y="2479635"/>
                    <a:pt x="1516509" y="2479635"/>
                  </a:cubicBezTo>
                  <a:cubicBezTo>
                    <a:pt x="1494921" y="2479635"/>
                    <a:pt x="1477421" y="2462135"/>
                    <a:pt x="1477421" y="2440548"/>
                  </a:cubicBezTo>
                  <a:cubicBezTo>
                    <a:pt x="1477421" y="2418961"/>
                    <a:pt x="1494921" y="2401461"/>
                    <a:pt x="1516509" y="2401461"/>
                  </a:cubicBezTo>
                  <a:close/>
                  <a:moveTo>
                    <a:pt x="1419503" y="2401461"/>
                  </a:moveTo>
                  <a:cubicBezTo>
                    <a:pt x="1441089" y="2401461"/>
                    <a:pt x="1458589" y="2418961"/>
                    <a:pt x="1458589" y="2440548"/>
                  </a:cubicBezTo>
                  <a:cubicBezTo>
                    <a:pt x="1458589" y="2462135"/>
                    <a:pt x="1441089" y="2479635"/>
                    <a:pt x="1419503" y="2479635"/>
                  </a:cubicBezTo>
                  <a:cubicBezTo>
                    <a:pt x="1397914" y="2479635"/>
                    <a:pt x="1380413" y="2462135"/>
                    <a:pt x="1380413" y="2440548"/>
                  </a:cubicBezTo>
                  <a:cubicBezTo>
                    <a:pt x="1380413" y="2418961"/>
                    <a:pt x="1397914" y="2401461"/>
                    <a:pt x="1419503" y="2401461"/>
                  </a:cubicBezTo>
                  <a:close/>
                  <a:moveTo>
                    <a:pt x="1329593" y="2401461"/>
                  </a:moveTo>
                  <a:cubicBezTo>
                    <a:pt x="1351180" y="2401461"/>
                    <a:pt x="1368682" y="2418961"/>
                    <a:pt x="1368682" y="2440548"/>
                  </a:cubicBezTo>
                  <a:cubicBezTo>
                    <a:pt x="1368682" y="2462135"/>
                    <a:pt x="1351180" y="2479635"/>
                    <a:pt x="1329593" y="2479635"/>
                  </a:cubicBezTo>
                  <a:cubicBezTo>
                    <a:pt x="1308007" y="2479635"/>
                    <a:pt x="1290509" y="2462135"/>
                    <a:pt x="1290509" y="2440548"/>
                  </a:cubicBezTo>
                  <a:cubicBezTo>
                    <a:pt x="1290509" y="2418961"/>
                    <a:pt x="1308007" y="2401461"/>
                    <a:pt x="1329593" y="2401461"/>
                  </a:cubicBezTo>
                  <a:close/>
                  <a:moveTo>
                    <a:pt x="1232592" y="2401461"/>
                  </a:moveTo>
                  <a:cubicBezTo>
                    <a:pt x="1254179" y="2401461"/>
                    <a:pt x="1271676" y="2418961"/>
                    <a:pt x="1271676" y="2440548"/>
                  </a:cubicBezTo>
                  <a:cubicBezTo>
                    <a:pt x="1271676" y="2462135"/>
                    <a:pt x="1254179" y="2479635"/>
                    <a:pt x="1232592" y="2479635"/>
                  </a:cubicBezTo>
                  <a:cubicBezTo>
                    <a:pt x="1211003" y="2479635"/>
                    <a:pt x="1193507" y="2462135"/>
                    <a:pt x="1193507" y="2440548"/>
                  </a:cubicBezTo>
                  <a:cubicBezTo>
                    <a:pt x="1193507" y="2418961"/>
                    <a:pt x="1211003" y="2401461"/>
                    <a:pt x="1232592" y="2401461"/>
                  </a:cubicBezTo>
                  <a:close/>
                  <a:moveTo>
                    <a:pt x="1142682" y="2401461"/>
                  </a:moveTo>
                  <a:cubicBezTo>
                    <a:pt x="1164271" y="2401461"/>
                    <a:pt x="1181770" y="2418961"/>
                    <a:pt x="1181770" y="2440548"/>
                  </a:cubicBezTo>
                  <a:cubicBezTo>
                    <a:pt x="1181770" y="2462135"/>
                    <a:pt x="1164271" y="2479635"/>
                    <a:pt x="1142682" y="2479635"/>
                  </a:cubicBezTo>
                  <a:cubicBezTo>
                    <a:pt x="1121093" y="2479635"/>
                    <a:pt x="1103591" y="2462135"/>
                    <a:pt x="1103591" y="2440548"/>
                  </a:cubicBezTo>
                  <a:cubicBezTo>
                    <a:pt x="1103591" y="2418961"/>
                    <a:pt x="1121093" y="2401461"/>
                    <a:pt x="1142682" y="2401461"/>
                  </a:cubicBezTo>
                  <a:close/>
                  <a:moveTo>
                    <a:pt x="1045671" y="2401461"/>
                  </a:moveTo>
                  <a:cubicBezTo>
                    <a:pt x="1067258" y="2401461"/>
                    <a:pt x="1084758" y="2418961"/>
                    <a:pt x="1084758" y="2440548"/>
                  </a:cubicBezTo>
                  <a:cubicBezTo>
                    <a:pt x="1084758" y="2462135"/>
                    <a:pt x="1067258" y="2479635"/>
                    <a:pt x="1045671" y="2479635"/>
                  </a:cubicBezTo>
                  <a:cubicBezTo>
                    <a:pt x="1024084" y="2479635"/>
                    <a:pt x="1006585" y="2462135"/>
                    <a:pt x="1006585" y="2440548"/>
                  </a:cubicBezTo>
                  <a:cubicBezTo>
                    <a:pt x="1006585" y="2418961"/>
                    <a:pt x="1024084" y="2401461"/>
                    <a:pt x="1045671" y="2401461"/>
                  </a:cubicBezTo>
                  <a:close/>
                  <a:moveTo>
                    <a:pt x="951035" y="2401461"/>
                  </a:moveTo>
                  <a:cubicBezTo>
                    <a:pt x="972621" y="2401461"/>
                    <a:pt x="990120" y="2418961"/>
                    <a:pt x="990120" y="2440548"/>
                  </a:cubicBezTo>
                  <a:cubicBezTo>
                    <a:pt x="990120" y="2462135"/>
                    <a:pt x="972621" y="2479635"/>
                    <a:pt x="951035" y="2479635"/>
                  </a:cubicBezTo>
                  <a:cubicBezTo>
                    <a:pt x="929448" y="2479635"/>
                    <a:pt x="911949" y="2462135"/>
                    <a:pt x="911949" y="2440548"/>
                  </a:cubicBezTo>
                  <a:cubicBezTo>
                    <a:pt x="911949" y="2418961"/>
                    <a:pt x="929448" y="2401461"/>
                    <a:pt x="951035" y="2401461"/>
                  </a:cubicBezTo>
                  <a:close/>
                  <a:moveTo>
                    <a:pt x="3300457" y="2318653"/>
                  </a:moveTo>
                  <a:cubicBezTo>
                    <a:pt x="3322044" y="2318653"/>
                    <a:pt x="3339544" y="2336153"/>
                    <a:pt x="3339544" y="2357740"/>
                  </a:cubicBezTo>
                  <a:cubicBezTo>
                    <a:pt x="3339544" y="2379327"/>
                    <a:pt x="3322044" y="2396827"/>
                    <a:pt x="3300457" y="2396827"/>
                  </a:cubicBezTo>
                  <a:cubicBezTo>
                    <a:pt x="3278869" y="2396827"/>
                    <a:pt x="3261369" y="2379327"/>
                    <a:pt x="3261369" y="2357740"/>
                  </a:cubicBezTo>
                  <a:cubicBezTo>
                    <a:pt x="3261369" y="2336153"/>
                    <a:pt x="3278869" y="2318653"/>
                    <a:pt x="3300457" y="2318653"/>
                  </a:cubicBezTo>
                  <a:close/>
                  <a:moveTo>
                    <a:pt x="3205817" y="2318653"/>
                  </a:moveTo>
                  <a:cubicBezTo>
                    <a:pt x="3227404" y="2318653"/>
                    <a:pt x="3244904" y="2336153"/>
                    <a:pt x="3244904" y="2357740"/>
                  </a:cubicBezTo>
                  <a:cubicBezTo>
                    <a:pt x="3244904" y="2379327"/>
                    <a:pt x="3227404" y="2396827"/>
                    <a:pt x="3205817" y="2396827"/>
                  </a:cubicBezTo>
                  <a:cubicBezTo>
                    <a:pt x="3184229" y="2396827"/>
                    <a:pt x="3166729" y="2379327"/>
                    <a:pt x="3166729" y="2357740"/>
                  </a:cubicBezTo>
                  <a:cubicBezTo>
                    <a:pt x="3166729" y="2336153"/>
                    <a:pt x="3184229" y="2318653"/>
                    <a:pt x="3205817" y="2318653"/>
                  </a:cubicBezTo>
                  <a:close/>
                  <a:moveTo>
                    <a:pt x="3111177" y="2318653"/>
                  </a:moveTo>
                  <a:cubicBezTo>
                    <a:pt x="3132764" y="2318653"/>
                    <a:pt x="3150264" y="2336153"/>
                    <a:pt x="3150264" y="2357740"/>
                  </a:cubicBezTo>
                  <a:cubicBezTo>
                    <a:pt x="3150264" y="2379327"/>
                    <a:pt x="3132764" y="2396827"/>
                    <a:pt x="3111177" y="2396827"/>
                  </a:cubicBezTo>
                  <a:cubicBezTo>
                    <a:pt x="3089589" y="2396827"/>
                    <a:pt x="3072089" y="2379327"/>
                    <a:pt x="3072089" y="2357740"/>
                  </a:cubicBezTo>
                  <a:cubicBezTo>
                    <a:pt x="3072089" y="2336153"/>
                    <a:pt x="3089589" y="2318653"/>
                    <a:pt x="3111177" y="2318653"/>
                  </a:cubicBezTo>
                  <a:close/>
                  <a:moveTo>
                    <a:pt x="3018902" y="2318653"/>
                  </a:moveTo>
                  <a:cubicBezTo>
                    <a:pt x="3040489" y="2318653"/>
                    <a:pt x="3057989" y="2336153"/>
                    <a:pt x="3057989" y="2357740"/>
                  </a:cubicBezTo>
                  <a:cubicBezTo>
                    <a:pt x="3057989" y="2379327"/>
                    <a:pt x="3040489" y="2396827"/>
                    <a:pt x="3018902" y="2396827"/>
                  </a:cubicBezTo>
                  <a:cubicBezTo>
                    <a:pt x="2997315" y="2396827"/>
                    <a:pt x="2979815" y="2379327"/>
                    <a:pt x="2979815" y="2357740"/>
                  </a:cubicBezTo>
                  <a:cubicBezTo>
                    <a:pt x="2979815" y="2336153"/>
                    <a:pt x="2997315" y="2318653"/>
                    <a:pt x="3018902" y="2318653"/>
                  </a:cubicBezTo>
                  <a:close/>
                  <a:moveTo>
                    <a:pt x="2924263" y="2318653"/>
                  </a:moveTo>
                  <a:cubicBezTo>
                    <a:pt x="2945850" y="2318653"/>
                    <a:pt x="2963349" y="2336153"/>
                    <a:pt x="2963349" y="2357740"/>
                  </a:cubicBezTo>
                  <a:cubicBezTo>
                    <a:pt x="2963349" y="2379327"/>
                    <a:pt x="2945850" y="2396827"/>
                    <a:pt x="2924263" y="2396827"/>
                  </a:cubicBezTo>
                  <a:cubicBezTo>
                    <a:pt x="2902675" y="2396827"/>
                    <a:pt x="2885175" y="2379327"/>
                    <a:pt x="2885175" y="2357740"/>
                  </a:cubicBezTo>
                  <a:cubicBezTo>
                    <a:pt x="2885175" y="2336153"/>
                    <a:pt x="2902675" y="2318653"/>
                    <a:pt x="2924263" y="2318653"/>
                  </a:cubicBezTo>
                  <a:close/>
                  <a:moveTo>
                    <a:pt x="2831988" y="2318653"/>
                  </a:moveTo>
                  <a:cubicBezTo>
                    <a:pt x="2853575" y="2318653"/>
                    <a:pt x="2871075" y="2336153"/>
                    <a:pt x="2871075" y="2357740"/>
                  </a:cubicBezTo>
                  <a:cubicBezTo>
                    <a:pt x="2871075" y="2379327"/>
                    <a:pt x="2853575" y="2396827"/>
                    <a:pt x="2831988" y="2396827"/>
                  </a:cubicBezTo>
                  <a:cubicBezTo>
                    <a:pt x="2810401" y="2396827"/>
                    <a:pt x="2792901" y="2379327"/>
                    <a:pt x="2792901" y="2357740"/>
                  </a:cubicBezTo>
                  <a:cubicBezTo>
                    <a:pt x="2792901" y="2336153"/>
                    <a:pt x="2810401" y="2318653"/>
                    <a:pt x="2831988" y="2318653"/>
                  </a:cubicBezTo>
                  <a:close/>
                  <a:moveTo>
                    <a:pt x="2737354" y="2318653"/>
                  </a:moveTo>
                  <a:cubicBezTo>
                    <a:pt x="2758935" y="2318653"/>
                    <a:pt x="2776435" y="2336153"/>
                    <a:pt x="2776435" y="2357740"/>
                  </a:cubicBezTo>
                  <a:cubicBezTo>
                    <a:pt x="2776435" y="2379327"/>
                    <a:pt x="2758935" y="2396827"/>
                    <a:pt x="2737354" y="2396827"/>
                  </a:cubicBezTo>
                  <a:cubicBezTo>
                    <a:pt x="2715765" y="2396827"/>
                    <a:pt x="2698264" y="2379327"/>
                    <a:pt x="2698264" y="2357740"/>
                  </a:cubicBezTo>
                  <a:cubicBezTo>
                    <a:pt x="2698264" y="2336153"/>
                    <a:pt x="2715765" y="2318653"/>
                    <a:pt x="2737354" y="2318653"/>
                  </a:cubicBezTo>
                  <a:close/>
                  <a:moveTo>
                    <a:pt x="1516512" y="2318653"/>
                  </a:moveTo>
                  <a:cubicBezTo>
                    <a:pt x="1538098" y="2318653"/>
                    <a:pt x="1555598" y="2336153"/>
                    <a:pt x="1555598" y="2357740"/>
                  </a:cubicBezTo>
                  <a:cubicBezTo>
                    <a:pt x="1555598" y="2379327"/>
                    <a:pt x="1538098" y="2396827"/>
                    <a:pt x="1516512" y="2396827"/>
                  </a:cubicBezTo>
                  <a:cubicBezTo>
                    <a:pt x="1494923" y="2396827"/>
                    <a:pt x="1477423" y="2379327"/>
                    <a:pt x="1477423" y="2357740"/>
                  </a:cubicBezTo>
                  <a:cubicBezTo>
                    <a:pt x="1477423" y="2336153"/>
                    <a:pt x="1494923" y="2318653"/>
                    <a:pt x="1516512" y="2318653"/>
                  </a:cubicBezTo>
                  <a:close/>
                  <a:moveTo>
                    <a:pt x="1419506" y="2318653"/>
                  </a:moveTo>
                  <a:cubicBezTo>
                    <a:pt x="1441093" y="2318653"/>
                    <a:pt x="1458594" y="2336153"/>
                    <a:pt x="1458594" y="2357740"/>
                  </a:cubicBezTo>
                  <a:cubicBezTo>
                    <a:pt x="1458594" y="2379327"/>
                    <a:pt x="1441093" y="2396827"/>
                    <a:pt x="1419506" y="2396827"/>
                  </a:cubicBezTo>
                  <a:cubicBezTo>
                    <a:pt x="1397917" y="2396827"/>
                    <a:pt x="1380417" y="2379327"/>
                    <a:pt x="1380417" y="2357740"/>
                  </a:cubicBezTo>
                  <a:cubicBezTo>
                    <a:pt x="1380417" y="2336153"/>
                    <a:pt x="1397917" y="2318653"/>
                    <a:pt x="1419506" y="2318653"/>
                  </a:cubicBezTo>
                  <a:close/>
                  <a:moveTo>
                    <a:pt x="1329595" y="2318653"/>
                  </a:moveTo>
                  <a:cubicBezTo>
                    <a:pt x="1351182" y="2318653"/>
                    <a:pt x="1368683" y="2336153"/>
                    <a:pt x="1368683" y="2357740"/>
                  </a:cubicBezTo>
                  <a:cubicBezTo>
                    <a:pt x="1368683" y="2379327"/>
                    <a:pt x="1351182" y="2396827"/>
                    <a:pt x="1329595" y="2396827"/>
                  </a:cubicBezTo>
                  <a:cubicBezTo>
                    <a:pt x="1308010" y="2396827"/>
                    <a:pt x="1290510" y="2379327"/>
                    <a:pt x="1290510" y="2357740"/>
                  </a:cubicBezTo>
                  <a:cubicBezTo>
                    <a:pt x="1290510" y="2336153"/>
                    <a:pt x="1308010" y="2318653"/>
                    <a:pt x="1329595" y="2318653"/>
                  </a:cubicBezTo>
                  <a:close/>
                  <a:moveTo>
                    <a:pt x="1232594" y="2318653"/>
                  </a:moveTo>
                  <a:cubicBezTo>
                    <a:pt x="1254180" y="2318653"/>
                    <a:pt x="1271677" y="2336153"/>
                    <a:pt x="1271677" y="2357740"/>
                  </a:cubicBezTo>
                  <a:cubicBezTo>
                    <a:pt x="1271677" y="2379327"/>
                    <a:pt x="1254180" y="2396827"/>
                    <a:pt x="1232594" y="2396827"/>
                  </a:cubicBezTo>
                  <a:cubicBezTo>
                    <a:pt x="1211006" y="2396827"/>
                    <a:pt x="1193507" y="2379327"/>
                    <a:pt x="1193507" y="2357740"/>
                  </a:cubicBezTo>
                  <a:cubicBezTo>
                    <a:pt x="1193507" y="2336153"/>
                    <a:pt x="1211006" y="2318653"/>
                    <a:pt x="1232594" y="2318653"/>
                  </a:cubicBezTo>
                  <a:close/>
                  <a:moveTo>
                    <a:pt x="1142684" y="2318653"/>
                  </a:moveTo>
                  <a:cubicBezTo>
                    <a:pt x="1164272" y="2318653"/>
                    <a:pt x="1181772" y="2336153"/>
                    <a:pt x="1181772" y="2357740"/>
                  </a:cubicBezTo>
                  <a:cubicBezTo>
                    <a:pt x="1181772" y="2379327"/>
                    <a:pt x="1164272" y="2396827"/>
                    <a:pt x="1142684" y="2396827"/>
                  </a:cubicBezTo>
                  <a:cubicBezTo>
                    <a:pt x="1121096" y="2396827"/>
                    <a:pt x="1103594" y="2379327"/>
                    <a:pt x="1103594" y="2357740"/>
                  </a:cubicBezTo>
                  <a:cubicBezTo>
                    <a:pt x="1103594" y="2336153"/>
                    <a:pt x="1121096" y="2318653"/>
                    <a:pt x="1142684" y="2318653"/>
                  </a:cubicBezTo>
                  <a:close/>
                  <a:moveTo>
                    <a:pt x="1045673" y="2318653"/>
                  </a:moveTo>
                  <a:cubicBezTo>
                    <a:pt x="1067259" y="2318653"/>
                    <a:pt x="1084760" y="2336153"/>
                    <a:pt x="1084760" y="2357740"/>
                  </a:cubicBezTo>
                  <a:cubicBezTo>
                    <a:pt x="1084760" y="2379327"/>
                    <a:pt x="1067259" y="2396827"/>
                    <a:pt x="1045673" y="2396827"/>
                  </a:cubicBezTo>
                  <a:cubicBezTo>
                    <a:pt x="1024086" y="2396827"/>
                    <a:pt x="1006587" y="2379327"/>
                    <a:pt x="1006587" y="2357740"/>
                  </a:cubicBezTo>
                  <a:cubicBezTo>
                    <a:pt x="1006587" y="2336153"/>
                    <a:pt x="1024086" y="2318653"/>
                    <a:pt x="1045673" y="2318653"/>
                  </a:cubicBezTo>
                  <a:close/>
                  <a:moveTo>
                    <a:pt x="3489735" y="2318651"/>
                  </a:moveTo>
                  <a:cubicBezTo>
                    <a:pt x="3511323" y="2318651"/>
                    <a:pt x="3528823" y="2336151"/>
                    <a:pt x="3528823" y="2357738"/>
                  </a:cubicBezTo>
                  <a:cubicBezTo>
                    <a:pt x="3528823" y="2379325"/>
                    <a:pt x="3511323" y="2396825"/>
                    <a:pt x="3489735" y="2396825"/>
                  </a:cubicBezTo>
                  <a:cubicBezTo>
                    <a:pt x="3468148" y="2396825"/>
                    <a:pt x="3450649" y="2379325"/>
                    <a:pt x="3450649" y="2357738"/>
                  </a:cubicBezTo>
                  <a:cubicBezTo>
                    <a:pt x="3450649" y="2336151"/>
                    <a:pt x="3468148" y="2318651"/>
                    <a:pt x="3489735" y="2318651"/>
                  </a:cubicBezTo>
                  <a:close/>
                  <a:moveTo>
                    <a:pt x="3392730" y="2318651"/>
                  </a:moveTo>
                  <a:cubicBezTo>
                    <a:pt x="3414317" y="2318651"/>
                    <a:pt x="3431817" y="2336151"/>
                    <a:pt x="3431817" y="2357738"/>
                  </a:cubicBezTo>
                  <a:cubicBezTo>
                    <a:pt x="3431817" y="2379325"/>
                    <a:pt x="3414317" y="2396825"/>
                    <a:pt x="3392730" y="2396825"/>
                  </a:cubicBezTo>
                  <a:cubicBezTo>
                    <a:pt x="3371143" y="2396825"/>
                    <a:pt x="3353643" y="2379325"/>
                    <a:pt x="3353643" y="2357738"/>
                  </a:cubicBezTo>
                  <a:cubicBezTo>
                    <a:pt x="3353643" y="2336151"/>
                    <a:pt x="3371143" y="2318651"/>
                    <a:pt x="3392730" y="2318651"/>
                  </a:cubicBezTo>
                  <a:close/>
                  <a:moveTo>
                    <a:pt x="3489737" y="2233477"/>
                  </a:moveTo>
                  <a:cubicBezTo>
                    <a:pt x="3511324" y="2233477"/>
                    <a:pt x="3528823" y="2250977"/>
                    <a:pt x="3528823" y="2272564"/>
                  </a:cubicBezTo>
                  <a:cubicBezTo>
                    <a:pt x="3528823" y="2294151"/>
                    <a:pt x="3511324" y="2311651"/>
                    <a:pt x="3489737" y="2311651"/>
                  </a:cubicBezTo>
                  <a:cubicBezTo>
                    <a:pt x="3468149" y="2311651"/>
                    <a:pt x="3450649" y="2294151"/>
                    <a:pt x="3450649" y="2272564"/>
                  </a:cubicBezTo>
                  <a:cubicBezTo>
                    <a:pt x="3450649" y="2250977"/>
                    <a:pt x="3468149" y="2233477"/>
                    <a:pt x="3489737" y="2233477"/>
                  </a:cubicBezTo>
                  <a:close/>
                  <a:moveTo>
                    <a:pt x="3392731" y="2233477"/>
                  </a:moveTo>
                  <a:cubicBezTo>
                    <a:pt x="3414319" y="2233477"/>
                    <a:pt x="3431819" y="2250977"/>
                    <a:pt x="3431819" y="2272564"/>
                  </a:cubicBezTo>
                  <a:cubicBezTo>
                    <a:pt x="3431819" y="2294151"/>
                    <a:pt x="3414319" y="2311651"/>
                    <a:pt x="3392731" y="2311651"/>
                  </a:cubicBezTo>
                  <a:cubicBezTo>
                    <a:pt x="3371144" y="2311651"/>
                    <a:pt x="3353644" y="2294151"/>
                    <a:pt x="3353644" y="2272564"/>
                  </a:cubicBezTo>
                  <a:cubicBezTo>
                    <a:pt x="3353644" y="2250977"/>
                    <a:pt x="3371144" y="2233477"/>
                    <a:pt x="3392731" y="2233477"/>
                  </a:cubicBezTo>
                  <a:close/>
                  <a:moveTo>
                    <a:pt x="3300457" y="2233477"/>
                  </a:moveTo>
                  <a:cubicBezTo>
                    <a:pt x="3322044" y="2233477"/>
                    <a:pt x="3339544" y="2250977"/>
                    <a:pt x="3339544" y="2272564"/>
                  </a:cubicBezTo>
                  <a:cubicBezTo>
                    <a:pt x="3339544" y="2294151"/>
                    <a:pt x="3322044" y="2311651"/>
                    <a:pt x="3300457" y="2311651"/>
                  </a:cubicBezTo>
                  <a:cubicBezTo>
                    <a:pt x="3278869" y="2311651"/>
                    <a:pt x="3261369" y="2294151"/>
                    <a:pt x="3261369" y="2272564"/>
                  </a:cubicBezTo>
                  <a:cubicBezTo>
                    <a:pt x="3261369" y="2250977"/>
                    <a:pt x="3278869" y="2233477"/>
                    <a:pt x="3300457" y="2233477"/>
                  </a:cubicBezTo>
                  <a:close/>
                  <a:moveTo>
                    <a:pt x="3205817" y="2233477"/>
                  </a:moveTo>
                  <a:cubicBezTo>
                    <a:pt x="3227404" y="2233477"/>
                    <a:pt x="3244904" y="2250977"/>
                    <a:pt x="3244904" y="2272564"/>
                  </a:cubicBezTo>
                  <a:cubicBezTo>
                    <a:pt x="3244904" y="2294151"/>
                    <a:pt x="3227404" y="2311651"/>
                    <a:pt x="3205817" y="2311651"/>
                  </a:cubicBezTo>
                  <a:cubicBezTo>
                    <a:pt x="3184229" y="2311651"/>
                    <a:pt x="3166729" y="2294151"/>
                    <a:pt x="3166729" y="2272564"/>
                  </a:cubicBezTo>
                  <a:cubicBezTo>
                    <a:pt x="3166729" y="2250977"/>
                    <a:pt x="3184229" y="2233477"/>
                    <a:pt x="3205817" y="2233477"/>
                  </a:cubicBezTo>
                  <a:close/>
                  <a:moveTo>
                    <a:pt x="3111177" y="2233477"/>
                  </a:moveTo>
                  <a:cubicBezTo>
                    <a:pt x="3132764" y="2233477"/>
                    <a:pt x="3150264" y="2250977"/>
                    <a:pt x="3150264" y="2272564"/>
                  </a:cubicBezTo>
                  <a:cubicBezTo>
                    <a:pt x="3150264" y="2294151"/>
                    <a:pt x="3132764" y="2311651"/>
                    <a:pt x="3111177" y="2311651"/>
                  </a:cubicBezTo>
                  <a:cubicBezTo>
                    <a:pt x="3089589" y="2311651"/>
                    <a:pt x="3072089" y="2294151"/>
                    <a:pt x="3072089" y="2272564"/>
                  </a:cubicBezTo>
                  <a:cubicBezTo>
                    <a:pt x="3072089" y="2250977"/>
                    <a:pt x="3089589" y="2233477"/>
                    <a:pt x="3111177" y="2233477"/>
                  </a:cubicBezTo>
                  <a:close/>
                  <a:moveTo>
                    <a:pt x="3018902" y="2233477"/>
                  </a:moveTo>
                  <a:cubicBezTo>
                    <a:pt x="3040489" y="2233477"/>
                    <a:pt x="3057989" y="2250977"/>
                    <a:pt x="3057989" y="2272564"/>
                  </a:cubicBezTo>
                  <a:cubicBezTo>
                    <a:pt x="3057989" y="2294151"/>
                    <a:pt x="3040489" y="2311651"/>
                    <a:pt x="3018902" y="2311651"/>
                  </a:cubicBezTo>
                  <a:cubicBezTo>
                    <a:pt x="2997315" y="2311651"/>
                    <a:pt x="2979815" y="2294151"/>
                    <a:pt x="2979815" y="2272564"/>
                  </a:cubicBezTo>
                  <a:cubicBezTo>
                    <a:pt x="2979815" y="2250977"/>
                    <a:pt x="2997315" y="2233477"/>
                    <a:pt x="3018902" y="2233477"/>
                  </a:cubicBezTo>
                  <a:close/>
                  <a:moveTo>
                    <a:pt x="2924263" y="2233477"/>
                  </a:moveTo>
                  <a:cubicBezTo>
                    <a:pt x="2945850" y="2233477"/>
                    <a:pt x="2963349" y="2250977"/>
                    <a:pt x="2963349" y="2272564"/>
                  </a:cubicBezTo>
                  <a:cubicBezTo>
                    <a:pt x="2963349" y="2294151"/>
                    <a:pt x="2945850" y="2311651"/>
                    <a:pt x="2924263" y="2311651"/>
                  </a:cubicBezTo>
                  <a:cubicBezTo>
                    <a:pt x="2902675" y="2311651"/>
                    <a:pt x="2885175" y="2294151"/>
                    <a:pt x="2885175" y="2272564"/>
                  </a:cubicBezTo>
                  <a:cubicBezTo>
                    <a:pt x="2885175" y="2250977"/>
                    <a:pt x="2902675" y="2233477"/>
                    <a:pt x="2924263" y="2233477"/>
                  </a:cubicBezTo>
                  <a:close/>
                  <a:moveTo>
                    <a:pt x="2831988" y="2233477"/>
                  </a:moveTo>
                  <a:cubicBezTo>
                    <a:pt x="2853575" y="2233477"/>
                    <a:pt x="2871075" y="2250977"/>
                    <a:pt x="2871075" y="2272564"/>
                  </a:cubicBezTo>
                  <a:cubicBezTo>
                    <a:pt x="2871075" y="2294151"/>
                    <a:pt x="2853575" y="2311651"/>
                    <a:pt x="2831988" y="2311651"/>
                  </a:cubicBezTo>
                  <a:cubicBezTo>
                    <a:pt x="2810401" y="2311651"/>
                    <a:pt x="2792901" y="2294151"/>
                    <a:pt x="2792901" y="2272564"/>
                  </a:cubicBezTo>
                  <a:cubicBezTo>
                    <a:pt x="2792901" y="2250977"/>
                    <a:pt x="2810401" y="2233477"/>
                    <a:pt x="2831988" y="2233477"/>
                  </a:cubicBezTo>
                  <a:close/>
                  <a:moveTo>
                    <a:pt x="2737354" y="2233477"/>
                  </a:moveTo>
                  <a:cubicBezTo>
                    <a:pt x="2758935" y="2233477"/>
                    <a:pt x="2776435" y="2250977"/>
                    <a:pt x="2776435" y="2272564"/>
                  </a:cubicBezTo>
                  <a:cubicBezTo>
                    <a:pt x="2776435" y="2294151"/>
                    <a:pt x="2758935" y="2311651"/>
                    <a:pt x="2737354" y="2311651"/>
                  </a:cubicBezTo>
                  <a:cubicBezTo>
                    <a:pt x="2715765" y="2311651"/>
                    <a:pt x="2698264" y="2294151"/>
                    <a:pt x="2698264" y="2272564"/>
                  </a:cubicBezTo>
                  <a:cubicBezTo>
                    <a:pt x="2698264" y="2250977"/>
                    <a:pt x="2715765" y="2233477"/>
                    <a:pt x="2737354" y="2233477"/>
                  </a:cubicBezTo>
                  <a:close/>
                  <a:moveTo>
                    <a:pt x="2645073" y="2233477"/>
                  </a:moveTo>
                  <a:cubicBezTo>
                    <a:pt x="2666661" y="2233477"/>
                    <a:pt x="2684163" y="2250977"/>
                    <a:pt x="2684163" y="2272564"/>
                  </a:cubicBezTo>
                  <a:cubicBezTo>
                    <a:pt x="2684163" y="2294151"/>
                    <a:pt x="2666661" y="2311651"/>
                    <a:pt x="2645073" y="2311651"/>
                  </a:cubicBezTo>
                  <a:cubicBezTo>
                    <a:pt x="2623487" y="2311651"/>
                    <a:pt x="2605987" y="2294151"/>
                    <a:pt x="2605987" y="2272564"/>
                  </a:cubicBezTo>
                  <a:cubicBezTo>
                    <a:pt x="2605987" y="2250977"/>
                    <a:pt x="2623487" y="2233477"/>
                    <a:pt x="2645073" y="2233477"/>
                  </a:cubicBezTo>
                  <a:close/>
                  <a:moveTo>
                    <a:pt x="2550435" y="2233477"/>
                  </a:moveTo>
                  <a:cubicBezTo>
                    <a:pt x="2572021" y="2233477"/>
                    <a:pt x="2589521" y="2250977"/>
                    <a:pt x="2589521" y="2272564"/>
                  </a:cubicBezTo>
                  <a:cubicBezTo>
                    <a:pt x="2589521" y="2294151"/>
                    <a:pt x="2572021" y="2311651"/>
                    <a:pt x="2550435" y="2311651"/>
                  </a:cubicBezTo>
                  <a:cubicBezTo>
                    <a:pt x="2528848" y="2311651"/>
                    <a:pt x="2511349" y="2294151"/>
                    <a:pt x="2511349" y="2272564"/>
                  </a:cubicBezTo>
                  <a:cubicBezTo>
                    <a:pt x="2511349" y="2250977"/>
                    <a:pt x="2528848" y="2233477"/>
                    <a:pt x="2550435" y="2233477"/>
                  </a:cubicBezTo>
                  <a:close/>
                  <a:moveTo>
                    <a:pt x="2458164" y="2233477"/>
                  </a:moveTo>
                  <a:cubicBezTo>
                    <a:pt x="2479749" y="2233477"/>
                    <a:pt x="2497250" y="2250977"/>
                    <a:pt x="2497250" y="2272564"/>
                  </a:cubicBezTo>
                  <a:cubicBezTo>
                    <a:pt x="2497250" y="2294151"/>
                    <a:pt x="2479749" y="2311651"/>
                    <a:pt x="2458164" y="2311651"/>
                  </a:cubicBezTo>
                  <a:cubicBezTo>
                    <a:pt x="2436578" y="2311651"/>
                    <a:pt x="2419078" y="2294151"/>
                    <a:pt x="2419078" y="2272564"/>
                  </a:cubicBezTo>
                  <a:cubicBezTo>
                    <a:pt x="2419078" y="2250977"/>
                    <a:pt x="2436578" y="2233477"/>
                    <a:pt x="2458164" y="2233477"/>
                  </a:cubicBezTo>
                  <a:close/>
                  <a:moveTo>
                    <a:pt x="2363524" y="2233477"/>
                  </a:moveTo>
                  <a:cubicBezTo>
                    <a:pt x="2385111" y="2233477"/>
                    <a:pt x="2402611" y="2250977"/>
                    <a:pt x="2402611" y="2272564"/>
                  </a:cubicBezTo>
                  <a:cubicBezTo>
                    <a:pt x="2402611" y="2294151"/>
                    <a:pt x="2385111" y="2311651"/>
                    <a:pt x="2363524" y="2311651"/>
                  </a:cubicBezTo>
                  <a:cubicBezTo>
                    <a:pt x="2341937" y="2311651"/>
                    <a:pt x="2324437" y="2294151"/>
                    <a:pt x="2324437" y="2272564"/>
                  </a:cubicBezTo>
                  <a:cubicBezTo>
                    <a:pt x="2324437" y="2250977"/>
                    <a:pt x="2341937" y="2233477"/>
                    <a:pt x="2363524" y="2233477"/>
                  </a:cubicBezTo>
                  <a:close/>
                  <a:moveTo>
                    <a:pt x="1329597" y="2233477"/>
                  </a:moveTo>
                  <a:cubicBezTo>
                    <a:pt x="1351184" y="2233477"/>
                    <a:pt x="1368685" y="2250977"/>
                    <a:pt x="1368685" y="2272564"/>
                  </a:cubicBezTo>
                  <a:cubicBezTo>
                    <a:pt x="1368685" y="2294151"/>
                    <a:pt x="1351184" y="2311651"/>
                    <a:pt x="1329597" y="2311651"/>
                  </a:cubicBezTo>
                  <a:cubicBezTo>
                    <a:pt x="1308012" y="2311651"/>
                    <a:pt x="1290512" y="2294151"/>
                    <a:pt x="1290512" y="2272564"/>
                  </a:cubicBezTo>
                  <a:cubicBezTo>
                    <a:pt x="1290512" y="2250977"/>
                    <a:pt x="1308012" y="2233477"/>
                    <a:pt x="1329597" y="2233477"/>
                  </a:cubicBezTo>
                  <a:close/>
                  <a:moveTo>
                    <a:pt x="1232596" y="2233477"/>
                  </a:moveTo>
                  <a:cubicBezTo>
                    <a:pt x="1254184" y="2233477"/>
                    <a:pt x="1271678" y="2250977"/>
                    <a:pt x="1271678" y="2272564"/>
                  </a:cubicBezTo>
                  <a:cubicBezTo>
                    <a:pt x="1271678" y="2294151"/>
                    <a:pt x="1254184" y="2311651"/>
                    <a:pt x="1232596" y="2311651"/>
                  </a:cubicBezTo>
                  <a:cubicBezTo>
                    <a:pt x="1211007" y="2311651"/>
                    <a:pt x="1193508" y="2294151"/>
                    <a:pt x="1193508" y="2272564"/>
                  </a:cubicBezTo>
                  <a:cubicBezTo>
                    <a:pt x="1193508" y="2250977"/>
                    <a:pt x="1211007" y="2233477"/>
                    <a:pt x="1232596" y="2233477"/>
                  </a:cubicBezTo>
                  <a:close/>
                  <a:moveTo>
                    <a:pt x="1142686" y="2233477"/>
                  </a:moveTo>
                  <a:cubicBezTo>
                    <a:pt x="1164275" y="2233477"/>
                    <a:pt x="1181776" y="2250977"/>
                    <a:pt x="1181776" y="2272564"/>
                  </a:cubicBezTo>
                  <a:cubicBezTo>
                    <a:pt x="1181776" y="2294151"/>
                    <a:pt x="1164275" y="2311651"/>
                    <a:pt x="1142686" y="2311651"/>
                  </a:cubicBezTo>
                  <a:cubicBezTo>
                    <a:pt x="1121097" y="2311651"/>
                    <a:pt x="1103596" y="2294151"/>
                    <a:pt x="1103596" y="2272564"/>
                  </a:cubicBezTo>
                  <a:cubicBezTo>
                    <a:pt x="1103596" y="2250977"/>
                    <a:pt x="1121097" y="2233477"/>
                    <a:pt x="1142686" y="2233477"/>
                  </a:cubicBezTo>
                  <a:close/>
                  <a:moveTo>
                    <a:pt x="1045675" y="2233477"/>
                  </a:moveTo>
                  <a:cubicBezTo>
                    <a:pt x="1067261" y="2233477"/>
                    <a:pt x="1084762" y="2250977"/>
                    <a:pt x="1084762" y="2272564"/>
                  </a:cubicBezTo>
                  <a:cubicBezTo>
                    <a:pt x="1084762" y="2294151"/>
                    <a:pt x="1067261" y="2311651"/>
                    <a:pt x="1045675" y="2311651"/>
                  </a:cubicBezTo>
                  <a:cubicBezTo>
                    <a:pt x="1024088" y="2311651"/>
                    <a:pt x="1006589" y="2294151"/>
                    <a:pt x="1006589" y="2272564"/>
                  </a:cubicBezTo>
                  <a:cubicBezTo>
                    <a:pt x="1006589" y="2250977"/>
                    <a:pt x="1024088" y="2233477"/>
                    <a:pt x="1045675" y="2233477"/>
                  </a:cubicBezTo>
                  <a:close/>
                  <a:moveTo>
                    <a:pt x="3584377" y="2145935"/>
                  </a:moveTo>
                  <a:cubicBezTo>
                    <a:pt x="3605964" y="2145935"/>
                    <a:pt x="3623463" y="2163435"/>
                    <a:pt x="3623463" y="2185022"/>
                  </a:cubicBezTo>
                  <a:cubicBezTo>
                    <a:pt x="3623463" y="2206609"/>
                    <a:pt x="3605964" y="2224109"/>
                    <a:pt x="3584377" y="2224109"/>
                  </a:cubicBezTo>
                  <a:cubicBezTo>
                    <a:pt x="3562789" y="2224109"/>
                    <a:pt x="3545289" y="2206609"/>
                    <a:pt x="3545289" y="2185022"/>
                  </a:cubicBezTo>
                  <a:cubicBezTo>
                    <a:pt x="3545289" y="2163435"/>
                    <a:pt x="3562789" y="2145935"/>
                    <a:pt x="3584377" y="2145935"/>
                  </a:cubicBezTo>
                  <a:close/>
                  <a:moveTo>
                    <a:pt x="3489737" y="2145935"/>
                  </a:moveTo>
                  <a:cubicBezTo>
                    <a:pt x="3511324" y="2145935"/>
                    <a:pt x="3528823" y="2163435"/>
                    <a:pt x="3528823" y="2185022"/>
                  </a:cubicBezTo>
                  <a:cubicBezTo>
                    <a:pt x="3528823" y="2206609"/>
                    <a:pt x="3511324" y="2224109"/>
                    <a:pt x="3489737" y="2224109"/>
                  </a:cubicBezTo>
                  <a:cubicBezTo>
                    <a:pt x="3468149" y="2224109"/>
                    <a:pt x="3450649" y="2206609"/>
                    <a:pt x="3450649" y="2185022"/>
                  </a:cubicBezTo>
                  <a:cubicBezTo>
                    <a:pt x="3450649" y="2163435"/>
                    <a:pt x="3468149" y="2145935"/>
                    <a:pt x="3489737" y="2145935"/>
                  </a:cubicBezTo>
                  <a:close/>
                  <a:moveTo>
                    <a:pt x="3392731" y="2145935"/>
                  </a:moveTo>
                  <a:cubicBezTo>
                    <a:pt x="3414319" y="2145935"/>
                    <a:pt x="3431819" y="2163435"/>
                    <a:pt x="3431819" y="2185022"/>
                  </a:cubicBezTo>
                  <a:cubicBezTo>
                    <a:pt x="3431819" y="2206609"/>
                    <a:pt x="3414319" y="2224109"/>
                    <a:pt x="3392731" y="2224109"/>
                  </a:cubicBezTo>
                  <a:cubicBezTo>
                    <a:pt x="3371144" y="2224109"/>
                    <a:pt x="3353644" y="2206609"/>
                    <a:pt x="3353644" y="2185022"/>
                  </a:cubicBezTo>
                  <a:cubicBezTo>
                    <a:pt x="3353644" y="2163435"/>
                    <a:pt x="3371144" y="2145935"/>
                    <a:pt x="3392731" y="2145935"/>
                  </a:cubicBezTo>
                  <a:close/>
                  <a:moveTo>
                    <a:pt x="3300457" y="2145935"/>
                  </a:moveTo>
                  <a:cubicBezTo>
                    <a:pt x="3322044" y="2145935"/>
                    <a:pt x="3339544" y="2163435"/>
                    <a:pt x="3339544" y="2185022"/>
                  </a:cubicBezTo>
                  <a:cubicBezTo>
                    <a:pt x="3339544" y="2206609"/>
                    <a:pt x="3322044" y="2224109"/>
                    <a:pt x="3300457" y="2224109"/>
                  </a:cubicBezTo>
                  <a:cubicBezTo>
                    <a:pt x="3278869" y="2224109"/>
                    <a:pt x="3261369" y="2206609"/>
                    <a:pt x="3261369" y="2185022"/>
                  </a:cubicBezTo>
                  <a:cubicBezTo>
                    <a:pt x="3261369" y="2163435"/>
                    <a:pt x="3278869" y="2145935"/>
                    <a:pt x="3300457" y="2145935"/>
                  </a:cubicBezTo>
                  <a:close/>
                  <a:moveTo>
                    <a:pt x="3205817" y="2145935"/>
                  </a:moveTo>
                  <a:cubicBezTo>
                    <a:pt x="3227404" y="2145935"/>
                    <a:pt x="3244904" y="2163435"/>
                    <a:pt x="3244904" y="2185022"/>
                  </a:cubicBezTo>
                  <a:cubicBezTo>
                    <a:pt x="3244904" y="2206609"/>
                    <a:pt x="3227404" y="2224109"/>
                    <a:pt x="3205817" y="2224109"/>
                  </a:cubicBezTo>
                  <a:cubicBezTo>
                    <a:pt x="3184229" y="2224109"/>
                    <a:pt x="3166729" y="2206609"/>
                    <a:pt x="3166729" y="2185022"/>
                  </a:cubicBezTo>
                  <a:cubicBezTo>
                    <a:pt x="3166729" y="2163435"/>
                    <a:pt x="3184229" y="2145935"/>
                    <a:pt x="3205817" y="2145935"/>
                  </a:cubicBezTo>
                  <a:close/>
                  <a:moveTo>
                    <a:pt x="3111177" y="2145935"/>
                  </a:moveTo>
                  <a:cubicBezTo>
                    <a:pt x="3132764" y="2145935"/>
                    <a:pt x="3150264" y="2163435"/>
                    <a:pt x="3150264" y="2185022"/>
                  </a:cubicBezTo>
                  <a:cubicBezTo>
                    <a:pt x="3150264" y="2206609"/>
                    <a:pt x="3132764" y="2224109"/>
                    <a:pt x="3111177" y="2224109"/>
                  </a:cubicBezTo>
                  <a:cubicBezTo>
                    <a:pt x="3089589" y="2224109"/>
                    <a:pt x="3072089" y="2206609"/>
                    <a:pt x="3072089" y="2185022"/>
                  </a:cubicBezTo>
                  <a:cubicBezTo>
                    <a:pt x="3072089" y="2163435"/>
                    <a:pt x="3089589" y="2145935"/>
                    <a:pt x="3111177" y="2145935"/>
                  </a:cubicBezTo>
                  <a:close/>
                  <a:moveTo>
                    <a:pt x="3018902" y="2145935"/>
                  </a:moveTo>
                  <a:cubicBezTo>
                    <a:pt x="3040489" y="2145935"/>
                    <a:pt x="3057989" y="2163435"/>
                    <a:pt x="3057989" y="2185022"/>
                  </a:cubicBezTo>
                  <a:cubicBezTo>
                    <a:pt x="3057989" y="2206609"/>
                    <a:pt x="3040489" y="2224109"/>
                    <a:pt x="3018902" y="2224109"/>
                  </a:cubicBezTo>
                  <a:cubicBezTo>
                    <a:pt x="2997315" y="2224109"/>
                    <a:pt x="2979815" y="2206609"/>
                    <a:pt x="2979815" y="2185022"/>
                  </a:cubicBezTo>
                  <a:cubicBezTo>
                    <a:pt x="2979815" y="2163435"/>
                    <a:pt x="2997315" y="2145935"/>
                    <a:pt x="3018902" y="2145935"/>
                  </a:cubicBezTo>
                  <a:close/>
                  <a:moveTo>
                    <a:pt x="2924263" y="2145935"/>
                  </a:moveTo>
                  <a:cubicBezTo>
                    <a:pt x="2945850" y="2145935"/>
                    <a:pt x="2963349" y="2163435"/>
                    <a:pt x="2963349" y="2185022"/>
                  </a:cubicBezTo>
                  <a:cubicBezTo>
                    <a:pt x="2963349" y="2206609"/>
                    <a:pt x="2945850" y="2224109"/>
                    <a:pt x="2924263" y="2224109"/>
                  </a:cubicBezTo>
                  <a:cubicBezTo>
                    <a:pt x="2902675" y="2224109"/>
                    <a:pt x="2885175" y="2206609"/>
                    <a:pt x="2885175" y="2185022"/>
                  </a:cubicBezTo>
                  <a:cubicBezTo>
                    <a:pt x="2885175" y="2163435"/>
                    <a:pt x="2902675" y="2145935"/>
                    <a:pt x="2924263" y="2145935"/>
                  </a:cubicBezTo>
                  <a:close/>
                  <a:moveTo>
                    <a:pt x="2831988" y="2145935"/>
                  </a:moveTo>
                  <a:cubicBezTo>
                    <a:pt x="2853575" y="2145935"/>
                    <a:pt x="2871075" y="2163435"/>
                    <a:pt x="2871075" y="2185022"/>
                  </a:cubicBezTo>
                  <a:cubicBezTo>
                    <a:pt x="2871075" y="2206609"/>
                    <a:pt x="2853575" y="2224109"/>
                    <a:pt x="2831988" y="2224109"/>
                  </a:cubicBezTo>
                  <a:cubicBezTo>
                    <a:pt x="2810401" y="2224109"/>
                    <a:pt x="2792901" y="2206609"/>
                    <a:pt x="2792901" y="2185022"/>
                  </a:cubicBezTo>
                  <a:cubicBezTo>
                    <a:pt x="2792901" y="2163435"/>
                    <a:pt x="2810401" y="2145935"/>
                    <a:pt x="2831988" y="2145935"/>
                  </a:cubicBezTo>
                  <a:close/>
                  <a:moveTo>
                    <a:pt x="2737355" y="2145935"/>
                  </a:moveTo>
                  <a:cubicBezTo>
                    <a:pt x="2758935" y="2145935"/>
                    <a:pt x="2776435" y="2163435"/>
                    <a:pt x="2776435" y="2185022"/>
                  </a:cubicBezTo>
                  <a:cubicBezTo>
                    <a:pt x="2776435" y="2206609"/>
                    <a:pt x="2758935" y="2224109"/>
                    <a:pt x="2737355" y="2224109"/>
                  </a:cubicBezTo>
                  <a:cubicBezTo>
                    <a:pt x="2715766" y="2224109"/>
                    <a:pt x="2698264" y="2206609"/>
                    <a:pt x="2698264" y="2185022"/>
                  </a:cubicBezTo>
                  <a:cubicBezTo>
                    <a:pt x="2698264" y="2163435"/>
                    <a:pt x="2715766" y="2145935"/>
                    <a:pt x="2737355" y="2145935"/>
                  </a:cubicBezTo>
                  <a:close/>
                  <a:moveTo>
                    <a:pt x="2645073" y="2145935"/>
                  </a:moveTo>
                  <a:cubicBezTo>
                    <a:pt x="2666661" y="2145935"/>
                    <a:pt x="2684163" y="2163435"/>
                    <a:pt x="2684163" y="2185022"/>
                  </a:cubicBezTo>
                  <a:cubicBezTo>
                    <a:pt x="2684163" y="2206609"/>
                    <a:pt x="2666661" y="2224109"/>
                    <a:pt x="2645073" y="2224109"/>
                  </a:cubicBezTo>
                  <a:cubicBezTo>
                    <a:pt x="2623487" y="2224109"/>
                    <a:pt x="2605987" y="2206609"/>
                    <a:pt x="2605987" y="2185022"/>
                  </a:cubicBezTo>
                  <a:cubicBezTo>
                    <a:pt x="2605987" y="2163435"/>
                    <a:pt x="2623487" y="2145935"/>
                    <a:pt x="2645073" y="2145935"/>
                  </a:cubicBezTo>
                  <a:close/>
                  <a:moveTo>
                    <a:pt x="2550435" y="2145935"/>
                  </a:moveTo>
                  <a:cubicBezTo>
                    <a:pt x="2572023" y="2145935"/>
                    <a:pt x="2589521" y="2163435"/>
                    <a:pt x="2589521" y="2185022"/>
                  </a:cubicBezTo>
                  <a:cubicBezTo>
                    <a:pt x="2589521" y="2206609"/>
                    <a:pt x="2572023" y="2224109"/>
                    <a:pt x="2550435" y="2224109"/>
                  </a:cubicBezTo>
                  <a:cubicBezTo>
                    <a:pt x="2528848" y="2224109"/>
                    <a:pt x="2511350" y="2206609"/>
                    <a:pt x="2511350" y="2185022"/>
                  </a:cubicBezTo>
                  <a:cubicBezTo>
                    <a:pt x="2511350" y="2163435"/>
                    <a:pt x="2528848" y="2145935"/>
                    <a:pt x="2550435" y="2145935"/>
                  </a:cubicBezTo>
                  <a:close/>
                  <a:moveTo>
                    <a:pt x="2458164" y="2145935"/>
                  </a:moveTo>
                  <a:cubicBezTo>
                    <a:pt x="2479749" y="2145935"/>
                    <a:pt x="2497250" y="2163435"/>
                    <a:pt x="2497250" y="2185022"/>
                  </a:cubicBezTo>
                  <a:cubicBezTo>
                    <a:pt x="2497250" y="2206609"/>
                    <a:pt x="2479749" y="2224109"/>
                    <a:pt x="2458164" y="2224109"/>
                  </a:cubicBezTo>
                  <a:cubicBezTo>
                    <a:pt x="2436578" y="2224109"/>
                    <a:pt x="2419078" y="2206609"/>
                    <a:pt x="2419078" y="2185022"/>
                  </a:cubicBezTo>
                  <a:cubicBezTo>
                    <a:pt x="2419078" y="2163435"/>
                    <a:pt x="2436578" y="2145935"/>
                    <a:pt x="2458164" y="2145935"/>
                  </a:cubicBezTo>
                  <a:close/>
                  <a:moveTo>
                    <a:pt x="2363524" y="2145935"/>
                  </a:moveTo>
                  <a:cubicBezTo>
                    <a:pt x="2385113" y="2145935"/>
                    <a:pt x="2402611" y="2163435"/>
                    <a:pt x="2402611" y="2185022"/>
                  </a:cubicBezTo>
                  <a:cubicBezTo>
                    <a:pt x="2402611" y="2206609"/>
                    <a:pt x="2385113" y="2224109"/>
                    <a:pt x="2363524" y="2224109"/>
                  </a:cubicBezTo>
                  <a:cubicBezTo>
                    <a:pt x="2341939" y="2224109"/>
                    <a:pt x="2324437" y="2206609"/>
                    <a:pt x="2324437" y="2185022"/>
                  </a:cubicBezTo>
                  <a:cubicBezTo>
                    <a:pt x="2324437" y="2163435"/>
                    <a:pt x="2341939" y="2145935"/>
                    <a:pt x="2363524" y="2145935"/>
                  </a:cubicBezTo>
                  <a:close/>
                  <a:moveTo>
                    <a:pt x="2266521" y="2145935"/>
                  </a:moveTo>
                  <a:cubicBezTo>
                    <a:pt x="2288105" y="2145935"/>
                    <a:pt x="2305606" y="2163435"/>
                    <a:pt x="2305606" y="2185022"/>
                  </a:cubicBezTo>
                  <a:cubicBezTo>
                    <a:pt x="2305606" y="2206609"/>
                    <a:pt x="2288105" y="2224109"/>
                    <a:pt x="2266521" y="2224109"/>
                  </a:cubicBezTo>
                  <a:cubicBezTo>
                    <a:pt x="2244929" y="2224109"/>
                    <a:pt x="2227432" y="2206609"/>
                    <a:pt x="2227432" y="2185022"/>
                  </a:cubicBezTo>
                  <a:cubicBezTo>
                    <a:pt x="2227432" y="2163435"/>
                    <a:pt x="2244929" y="2145935"/>
                    <a:pt x="2266521" y="2145935"/>
                  </a:cubicBezTo>
                  <a:close/>
                  <a:moveTo>
                    <a:pt x="1232598" y="2145935"/>
                  </a:moveTo>
                  <a:cubicBezTo>
                    <a:pt x="1254184" y="2145935"/>
                    <a:pt x="1271681" y="2163435"/>
                    <a:pt x="1271681" y="2185022"/>
                  </a:cubicBezTo>
                  <a:cubicBezTo>
                    <a:pt x="1271681" y="2206609"/>
                    <a:pt x="1254184" y="2224109"/>
                    <a:pt x="1232598" y="2224109"/>
                  </a:cubicBezTo>
                  <a:cubicBezTo>
                    <a:pt x="1211010" y="2224109"/>
                    <a:pt x="1193510" y="2206609"/>
                    <a:pt x="1193510" y="2185022"/>
                  </a:cubicBezTo>
                  <a:cubicBezTo>
                    <a:pt x="1193510" y="2163435"/>
                    <a:pt x="1211010" y="2145935"/>
                    <a:pt x="1232598" y="2145935"/>
                  </a:cubicBezTo>
                  <a:close/>
                  <a:moveTo>
                    <a:pt x="1142689" y="2145935"/>
                  </a:moveTo>
                  <a:cubicBezTo>
                    <a:pt x="1164277" y="2145935"/>
                    <a:pt x="1181778" y="2163435"/>
                    <a:pt x="1181778" y="2185022"/>
                  </a:cubicBezTo>
                  <a:cubicBezTo>
                    <a:pt x="1181778" y="2206609"/>
                    <a:pt x="1164277" y="2224109"/>
                    <a:pt x="1142689" y="2224109"/>
                  </a:cubicBezTo>
                  <a:cubicBezTo>
                    <a:pt x="1121099" y="2224109"/>
                    <a:pt x="1103598" y="2206609"/>
                    <a:pt x="1103598" y="2185022"/>
                  </a:cubicBezTo>
                  <a:cubicBezTo>
                    <a:pt x="1103598" y="2163435"/>
                    <a:pt x="1121099" y="2145935"/>
                    <a:pt x="1142689" y="2145935"/>
                  </a:cubicBezTo>
                  <a:close/>
                  <a:moveTo>
                    <a:pt x="1045676" y="2145935"/>
                  </a:moveTo>
                  <a:cubicBezTo>
                    <a:pt x="1067262" y="2145935"/>
                    <a:pt x="1084764" y="2163435"/>
                    <a:pt x="1084764" y="2185022"/>
                  </a:cubicBezTo>
                  <a:cubicBezTo>
                    <a:pt x="1084764" y="2206609"/>
                    <a:pt x="1067262" y="2224109"/>
                    <a:pt x="1045676" y="2224109"/>
                  </a:cubicBezTo>
                  <a:cubicBezTo>
                    <a:pt x="1024090" y="2224109"/>
                    <a:pt x="1006591" y="2206609"/>
                    <a:pt x="1006591" y="2185022"/>
                  </a:cubicBezTo>
                  <a:cubicBezTo>
                    <a:pt x="1006591" y="2163435"/>
                    <a:pt x="1024090" y="2145935"/>
                    <a:pt x="1045676" y="2145935"/>
                  </a:cubicBezTo>
                  <a:close/>
                  <a:moveTo>
                    <a:pt x="951041" y="2145935"/>
                  </a:moveTo>
                  <a:cubicBezTo>
                    <a:pt x="972627" y="2145935"/>
                    <a:pt x="990126" y="2163435"/>
                    <a:pt x="990126" y="2185022"/>
                  </a:cubicBezTo>
                  <a:cubicBezTo>
                    <a:pt x="990126" y="2206609"/>
                    <a:pt x="972627" y="2224109"/>
                    <a:pt x="951041" y="2224109"/>
                  </a:cubicBezTo>
                  <a:cubicBezTo>
                    <a:pt x="929455" y="2224109"/>
                    <a:pt x="911956" y="2206609"/>
                    <a:pt x="911956" y="2185022"/>
                  </a:cubicBezTo>
                  <a:cubicBezTo>
                    <a:pt x="911956" y="2163435"/>
                    <a:pt x="929455" y="2145935"/>
                    <a:pt x="951041" y="2145935"/>
                  </a:cubicBezTo>
                  <a:close/>
                  <a:moveTo>
                    <a:pt x="856406" y="2145935"/>
                  </a:moveTo>
                  <a:cubicBezTo>
                    <a:pt x="877992" y="2145935"/>
                    <a:pt x="895491" y="2163435"/>
                    <a:pt x="895491" y="2185022"/>
                  </a:cubicBezTo>
                  <a:cubicBezTo>
                    <a:pt x="895491" y="2206609"/>
                    <a:pt x="877992" y="2224109"/>
                    <a:pt x="856406" y="2224109"/>
                  </a:cubicBezTo>
                  <a:cubicBezTo>
                    <a:pt x="834820" y="2224109"/>
                    <a:pt x="817321" y="2206609"/>
                    <a:pt x="817321" y="2185022"/>
                  </a:cubicBezTo>
                  <a:cubicBezTo>
                    <a:pt x="817321" y="2163435"/>
                    <a:pt x="834820" y="2145935"/>
                    <a:pt x="856406" y="2145935"/>
                  </a:cubicBezTo>
                  <a:close/>
                  <a:moveTo>
                    <a:pt x="3300457" y="2056027"/>
                  </a:moveTo>
                  <a:cubicBezTo>
                    <a:pt x="3322044" y="2056027"/>
                    <a:pt x="3339544" y="2073527"/>
                    <a:pt x="3339544" y="2095114"/>
                  </a:cubicBezTo>
                  <a:cubicBezTo>
                    <a:pt x="3339544" y="2116701"/>
                    <a:pt x="3322044" y="2134201"/>
                    <a:pt x="3300457" y="2134201"/>
                  </a:cubicBezTo>
                  <a:cubicBezTo>
                    <a:pt x="3278869" y="2134201"/>
                    <a:pt x="3261369" y="2116701"/>
                    <a:pt x="3261369" y="2095114"/>
                  </a:cubicBezTo>
                  <a:cubicBezTo>
                    <a:pt x="3261369" y="2073527"/>
                    <a:pt x="3278869" y="2056027"/>
                    <a:pt x="3300457" y="2056027"/>
                  </a:cubicBezTo>
                  <a:close/>
                  <a:moveTo>
                    <a:pt x="3205817" y="2056027"/>
                  </a:moveTo>
                  <a:cubicBezTo>
                    <a:pt x="3227404" y="2056027"/>
                    <a:pt x="3244904" y="2073527"/>
                    <a:pt x="3244904" y="2095114"/>
                  </a:cubicBezTo>
                  <a:cubicBezTo>
                    <a:pt x="3244904" y="2116701"/>
                    <a:pt x="3227404" y="2134201"/>
                    <a:pt x="3205817" y="2134201"/>
                  </a:cubicBezTo>
                  <a:cubicBezTo>
                    <a:pt x="3184229" y="2134201"/>
                    <a:pt x="3166729" y="2116701"/>
                    <a:pt x="3166729" y="2095114"/>
                  </a:cubicBezTo>
                  <a:cubicBezTo>
                    <a:pt x="3166729" y="2073527"/>
                    <a:pt x="3184229" y="2056027"/>
                    <a:pt x="3205817" y="2056027"/>
                  </a:cubicBezTo>
                  <a:close/>
                  <a:moveTo>
                    <a:pt x="3111177" y="2056027"/>
                  </a:moveTo>
                  <a:cubicBezTo>
                    <a:pt x="3132764" y="2056027"/>
                    <a:pt x="3150264" y="2073527"/>
                    <a:pt x="3150264" y="2095114"/>
                  </a:cubicBezTo>
                  <a:cubicBezTo>
                    <a:pt x="3150264" y="2116701"/>
                    <a:pt x="3132764" y="2134201"/>
                    <a:pt x="3111177" y="2134201"/>
                  </a:cubicBezTo>
                  <a:cubicBezTo>
                    <a:pt x="3089589" y="2134201"/>
                    <a:pt x="3072089" y="2116701"/>
                    <a:pt x="3072089" y="2095114"/>
                  </a:cubicBezTo>
                  <a:cubicBezTo>
                    <a:pt x="3072089" y="2073527"/>
                    <a:pt x="3089589" y="2056027"/>
                    <a:pt x="3111177" y="2056027"/>
                  </a:cubicBezTo>
                  <a:close/>
                  <a:moveTo>
                    <a:pt x="3018902" y="2056027"/>
                  </a:moveTo>
                  <a:cubicBezTo>
                    <a:pt x="3040489" y="2056027"/>
                    <a:pt x="3057989" y="2073527"/>
                    <a:pt x="3057989" y="2095114"/>
                  </a:cubicBezTo>
                  <a:cubicBezTo>
                    <a:pt x="3057989" y="2116701"/>
                    <a:pt x="3040489" y="2134201"/>
                    <a:pt x="3018902" y="2134201"/>
                  </a:cubicBezTo>
                  <a:cubicBezTo>
                    <a:pt x="2997315" y="2134201"/>
                    <a:pt x="2979815" y="2116701"/>
                    <a:pt x="2979815" y="2095114"/>
                  </a:cubicBezTo>
                  <a:cubicBezTo>
                    <a:pt x="2979815" y="2073527"/>
                    <a:pt x="2997315" y="2056027"/>
                    <a:pt x="3018902" y="2056027"/>
                  </a:cubicBezTo>
                  <a:close/>
                  <a:moveTo>
                    <a:pt x="2924263" y="2056027"/>
                  </a:moveTo>
                  <a:cubicBezTo>
                    <a:pt x="2945850" y="2056027"/>
                    <a:pt x="2963349" y="2073527"/>
                    <a:pt x="2963349" y="2095114"/>
                  </a:cubicBezTo>
                  <a:cubicBezTo>
                    <a:pt x="2963349" y="2116701"/>
                    <a:pt x="2945850" y="2134201"/>
                    <a:pt x="2924263" y="2134201"/>
                  </a:cubicBezTo>
                  <a:cubicBezTo>
                    <a:pt x="2902675" y="2134201"/>
                    <a:pt x="2885175" y="2116701"/>
                    <a:pt x="2885175" y="2095114"/>
                  </a:cubicBezTo>
                  <a:cubicBezTo>
                    <a:pt x="2885175" y="2073527"/>
                    <a:pt x="2902675" y="2056027"/>
                    <a:pt x="2924263" y="2056027"/>
                  </a:cubicBezTo>
                  <a:close/>
                  <a:moveTo>
                    <a:pt x="2831987" y="2056026"/>
                  </a:moveTo>
                  <a:cubicBezTo>
                    <a:pt x="2853574" y="2056026"/>
                    <a:pt x="2871074" y="2073526"/>
                    <a:pt x="2871074" y="2095113"/>
                  </a:cubicBezTo>
                  <a:cubicBezTo>
                    <a:pt x="2871074" y="2116700"/>
                    <a:pt x="2853574" y="2134200"/>
                    <a:pt x="2831987" y="2134200"/>
                  </a:cubicBezTo>
                  <a:cubicBezTo>
                    <a:pt x="2810400" y="2134200"/>
                    <a:pt x="2792900" y="2116700"/>
                    <a:pt x="2792900" y="2095113"/>
                  </a:cubicBezTo>
                  <a:cubicBezTo>
                    <a:pt x="2792900" y="2073526"/>
                    <a:pt x="2810400" y="2056026"/>
                    <a:pt x="2831987" y="2056026"/>
                  </a:cubicBezTo>
                  <a:close/>
                  <a:moveTo>
                    <a:pt x="2737355" y="2056026"/>
                  </a:moveTo>
                  <a:cubicBezTo>
                    <a:pt x="2758934" y="2056026"/>
                    <a:pt x="2776434" y="2073526"/>
                    <a:pt x="2776434" y="2095113"/>
                  </a:cubicBezTo>
                  <a:cubicBezTo>
                    <a:pt x="2776434" y="2116700"/>
                    <a:pt x="2758934" y="2134200"/>
                    <a:pt x="2737355" y="2134200"/>
                  </a:cubicBezTo>
                  <a:cubicBezTo>
                    <a:pt x="2715766" y="2134200"/>
                    <a:pt x="2698264" y="2116700"/>
                    <a:pt x="2698264" y="2095113"/>
                  </a:cubicBezTo>
                  <a:cubicBezTo>
                    <a:pt x="2698264" y="2073526"/>
                    <a:pt x="2715766" y="2056026"/>
                    <a:pt x="2737355" y="2056026"/>
                  </a:cubicBezTo>
                  <a:close/>
                  <a:moveTo>
                    <a:pt x="2645073" y="2056026"/>
                  </a:moveTo>
                  <a:cubicBezTo>
                    <a:pt x="2666661" y="2056026"/>
                    <a:pt x="2684163" y="2073526"/>
                    <a:pt x="2684163" y="2095113"/>
                  </a:cubicBezTo>
                  <a:cubicBezTo>
                    <a:pt x="2684163" y="2116700"/>
                    <a:pt x="2666661" y="2134200"/>
                    <a:pt x="2645073" y="2134200"/>
                  </a:cubicBezTo>
                  <a:cubicBezTo>
                    <a:pt x="2623487" y="2134200"/>
                    <a:pt x="2605987" y="2116700"/>
                    <a:pt x="2605987" y="2095113"/>
                  </a:cubicBezTo>
                  <a:cubicBezTo>
                    <a:pt x="2605987" y="2073526"/>
                    <a:pt x="2623487" y="2056026"/>
                    <a:pt x="2645073" y="2056026"/>
                  </a:cubicBezTo>
                  <a:close/>
                  <a:moveTo>
                    <a:pt x="2550435" y="2056026"/>
                  </a:moveTo>
                  <a:cubicBezTo>
                    <a:pt x="2572023" y="2056026"/>
                    <a:pt x="2589522" y="2073526"/>
                    <a:pt x="2589522" y="2095113"/>
                  </a:cubicBezTo>
                  <a:cubicBezTo>
                    <a:pt x="2589522" y="2116700"/>
                    <a:pt x="2572023" y="2134200"/>
                    <a:pt x="2550435" y="2134200"/>
                  </a:cubicBezTo>
                  <a:cubicBezTo>
                    <a:pt x="2528848" y="2134200"/>
                    <a:pt x="2511350" y="2116700"/>
                    <a:pt x="2511350" y="2095113"/>
                  </a:cubicBezTo>
                  <a:cubicBezTo>
                    <a:pt x="2511350" y="2073526"/>
                    <a:pt x="2528848" y="2056026"/>
                    <a:pt x="2550435" y="2056026"/>
                  </a:cubicBezTo>
                  <a:close/>
                  <a:moveTo>
                    <a:pt x="2458164" y="2056026"/>
                  </a:moveTo>
                  <a:cubicBezTo>
                    <a:pt x="2479749" y="2056026"/>
                    <a:pt x="2497250" y="2073526"/>
                    <a:pt x="2497250" y="2095113"/>
                  </a:cubicBezTo>
                  <a:cubicBezTo>
                    <a:pt x="2497250" y="2116700"/>
                    <a:pt x="2479749" y="2134200"/>
                    <a:pt x="2458164" y="2134200"/>
                  </a:cubicBezTo>
                  <a:cubicBezTo>
                    <a:pt x="2436578" y="2134200"/>
                    <a:pt x="2419078" y="2116700"/>
                    <a:pt x="2419078" y="2095113"/>
                  </a:cubicBezTo>
                  <a:cubicBezTo>
                    <a:pt x="2419078" y="2073526"/>
                    <a:pt x="2436578" y="2056026"/>
                    <a:pt x="2458164" y="2056026"/>
                  </a:cubicBezTo>
                  <a:close/>
                  <a:moveTo>
                    <a:pt x="2363524" y="2056026"/>
                  </a:moveTo>
                  <a:cubicBezTo>
                    <a:pt x="2385111" y="2056026"/>
                    <a:pt x="2402609" y="2073526"/>
                    <a:pt x="2402609" y="2095113"/>
                  </a:cubicBezTo>
                  <a:cubicBezTo>
                    <a:pt x="2402609" y="2116700"/>
                    <a:pt x="2385111" y="2134200"/>
                    <a:pt x="2363524" y="2134200"/>
                  </a:cubicBezTo>
                  <a:cubicBezTo>
                    <a:pt x="2341937" y="2134200"/>
                    <a:pt x="2324437" y="2116700"/>
                    <a:pt x="2324437" y="2095113"/>
                  </a:cubicBezTo>
                  <a:cubicBezTo>
                    <a:pt x="2324437" y="2073526"/>
                    <a:pt x="2341937" y="2056026"/>
                    <a:pt x="2363524" y="2056026"/>
                  </a:cubicBezTo>
                  <a:close/>
                  <a:moveTo>
                    <a:pt x="2266520" y="2056026"/>
                  </a:moveTo>
                  <a:cubicBezTo>
                    <a:pt x="2288105" y="2056026"/>
                    <a:pt x="2305606" y="2073526"/>
                    <a:pt x="2305606" y="2095113"/>
                  </a:cubicBezTo>
                  <a:cubicBezTo>
                    <a:pt x="2305606" y="2116700"/>
                    <a:pt x="2288105" y="2134200"/>
                    <a:pt x="2266520" y="2134200"/>
                  </a:cubicBezTo>
                  <a:cubicBezTo>
                    <a:pt x="2244929" y="2134200"/>
                    <a:pt x="2227431" y="2116700"/>
                    <a:pt x="2227431" y="2095113"/>
                  </a:cubicBezTo>
                  <a:cubicBezTo>
                    <a:pt x="2227431" y="2073526"/>
                    <a:pt x="2244929" y="2056026"/>
                    <a:pt x="2266520" y="2056026"/>
                  </a:cubicBezTo>
                  <a:close/>
                  <a:moveTo>
                    <a:pt x="856407" y="2056026"/>
                  </a:moveTo>
                  <a:cubicBezTo>
                    <a:pt x="877993" y="2056026"/>
                    <a:pt x="895492" y="2073526"/>
                    <a:pt x="895492" y="2095113"/>
                  </a:cubicBezTo>
                  <a:cubicBezTo>
                    <a:pt x="895492" y="2116700"/>
                    <a:pt x="877993" y="2134200"/>
                    <a:pt x="856407" y="2134200"/>
                  </a:cubicBezTo>
                  <a:cubicBezTo>
                    <a:pt x="834821" y="2134200"/>
                    <a:pt x="817323" y="2116700"/>
                    <a:pt x="817323" y="2095113"/>
                  </a:cubicBezTo>
                  <a:cubicBezTo>
                    <a:pt x="817323" y="2073526"/>
                    <a:pt x="834821" y="2056026"/>
                    <a:pt x="856407" y="2056026"/>
                  </a:cubicBezTo>
                  <a:close/>
                  <a:moveTo>
                    <a:pt x="764138" y="2056026"/>
                  </a:moveTo>
                  <a:cubicBezTo>
                    <a:pt x="785725" y="2056026"/>
                    <a:pt x="803223" y="2073526"/>
                    <a:pt x="803223" y="2095113"/>
                  </a:cubicBezTo>
                  <a:cubicBezTo>
                    <a:pt x="803223" y="2116700"/>
                    <a:pt x="785725" y="2134200"/>
                    <a:pt x="764138" y="2134200"/>
                  </a:cubicBezTo>
                  <a:cubicBezTo>
                    <a:pt x="742548" y="2134200"/>
                    <a:pt x="725053" y="2116700"/>
                    <a:pt x="725053" y="2095113"/>
                  </a:cubicBezTo>
                  <a:cubicBezTo>
                    <a:pt x="725053" y="2073526"/>
                    <a:pt x="742548" y="2056026"/>
                    <a:pt x="764138" y="2056026"/>
                  </a:cubicBezTo>
                  <a:close/>
                  <a:moveTo>
                    <a:pt x="3584377" y="1973215"/>
                  </a:moveTo>
                  <a:cubicBezTo>
                    <a:pt x="3605964" y="1973215"/>
                    <a:pt x="3623463" y="1990715"/>
                    <a:pt x="3623463" y="2012302"/>
                  </a:cubicBezTo>
                  <a:cubicBezTo>
                    <a:pt x="3623463" y="2033889"/>
                    <a:pt x="3605964" y="2051389"/>
                    <a:pt x="3584377" y="2051389"/>
                  </a:cubicBezTo>
                  <a:cubicBezTo>
                    <a:pt x="3562789" y="2051389"/>
                    <a:pt x="3545289" y="2033889"/>
                    <a:pt x="3545289" y="2012302"/>
                  </a:cubicBezTo>
                  <a:cubicBezTo>
                    <a:pt x="3545289" y="1990715"/>
                    <a:pt x="3562789" y="1973215"/>
                    <a:pt x="3584377" y="1973215"/>
                  </a:cubicBezTo>
                  <a:close/>
                  <a:moveTo>
                    <a:pt x="3489737" y="1973215"/>
                  </a:moveTo>
                  <a:cubicBezTo>
                    <a:pt x="3511324" y="1973215"/>
                    <a:pt x="3528823" y="1990715"/>
                    <a:pt x="3528823" y="2012302"/>
                  </a:cubicBezTo>
                  <a:cubicBezTo>
                    <a:pt x="3528823" y="2033889"/>
                    <a:pt x="3511324" y="2051389"/>
                    <a:pt x="3489737" y="2051389"/>
                  </a:cubicBezTo>
                  <a:cubicBezTo>
                    <a:pt x="3468149" y="2051389"/>
                    <a:pt x="3450649" y="2033889"/>
                    <a:pt x="3450649" y="2012302"/>
                  </a:cubicBezTo>
                  <a:cubicBezTo>
                    <a:pt x="3450649" y="1990715"/>
                    <a:pt x="3468149" y="1973215"/>
                    <a:pt x="3489737" y="1973215"/>
                  </a:cubicBezTo>
                  <a:close/>
                  <a:moveTo>
                    <a:pt x="3392731" y="1973215"/>
                  </a:moveTo>
                  <a:cubicBezTo>
                    <a:pt x="3414319" y="1973215"/>
                    <a:pt x="3431819" y="1990715"/>
                    <a:pt x="3431819" y="2012302"/>
                  </a:cubicBezTo>
                  <a:cubicBezTo>
                    <a:pt x="3431819" y="2033889"/>
                    <a:pt x="3414319" y="2051389"/>
                    <a:pt x="3392731" y="2051389"/>
                  </a:cubicBezTo>
                  <a:cubicBezTo>
                    <a:pt x="3371144" y="2051389"/>
                    <a:pt x="3353644" y="2033889"/>
                    <a:pt x="3353644" y="2012302"/>
                  </a:cubicBezTo>
                  <a:cubicBezTo>
                    <a:pt x="3353644" y="1990715"/>
                    <a:pt x="3371144" y="1973215"/>
                    <a:pt x="3392731" y="1973215"/>
                  </a:cubicBezTo>
                  <a:close/>
                  <a:moveTo>
                    <a:pt x="3205815" y="1973215"/>
                  </a:moveTo>
                  <a:cubicBezTo>
                    <a:pt x="3227403" y="1973215"/>
                    <a:pt x="3244903" y="1990715"/>
                    <a:pt x="3244903" y="2012302"/>
                  </a:cubicBezTo>
                  <a:cubicBezTo>
                    <a:pt x="3244903" y="2033889"/>
                    <a:pt x="3227403" y="2051389"/>
                    <a:pt x="3205815" y="2051389"/>
                  </a:cubicBezTo>
                  <a:cubicBezTo>
                    <a:pt x="3184228" y="2051389"/>
                    <a:pt x="3166728" y="2033889"/>
                    <a:pt x="3166728" y="2012302"/>
                  </a:cubicBezTo>
                  <a:cubicBezTo>
                    <a:pt x="3166728" y="1990715"/>
                    <a:pt x="3184228" y="1973215"/>
                    <a:pt x="3205815" y="1973215"/>
                  </a:cubicBezTo>
                  <a:close/>
                  <a:moveTo>
                    <a:pt x="3111175" y="1973215"/>
                  </a:moveTo>
                  <a:cubicBezTo>
                    <a:pt x="3132763" y="1973215"/>
                    <a:pt x="3150263" y="1990715"/>
                    <a:pt x="3150263" y="2012302"/>
                  </a:cubicBezTo>
                  <a:cubicBezTo>
                    <a:pt x="3150263" y="2033889"/>
                    <a:pt x="3132763" y="2051389"/>
                    <a:pt x="3111175" y="2051389"/>
                  </a:cubicBezTo>
                  <a:cubicBezTo>
                    <a:pt x="3089588" y="2051389"/>
                    <a:pt x="3072088" y="2033889"/>
                    <a:pt x="3072088" y="2012302"/>
                  </a:cubicBezTo>
                  <a:cubicBezTo>
                    <a:pt x="3072088" y="1990715"/>
                    <a:pt x="3089588" y="1973215"/>
                    <a:pt x="3111175" y="1973215"/>
                  </a:cubicBezTo>
                  <a:close/>
                  <a:moveTo>
                    <a:pt x="3018902" y="1973215"/>
                  </a:moveTo>
                  <a:cubicBezTo>
                    <a:pt x="3040489" y="1973215"/>
                    <a:pt x="3057989" y="1990715"/>
                    <a:pt x="3057989" y="2012302"/>
                  </a:cubicBezTo>
                  <a:cubicBezTo>
                    <a:pt x="3057989" y="2033889"/>
                    <a:pt x="3040489" y="2051389"/>
                    <a:pt x="3018902" y="2051389"/>
                  </a:cubicBezTo>
                  <a:cubicBezTo>
                    <a:pt x="2997315" y="2051389"/>
                    <a:pt x="2979815" y="2033889"/>
                    <a:pt x="2979815" y="2012302"/>
                  </a:cubicBezTo>
                  <a:cubicBezTo>
                    <a:pt x="2979815" y="1990715"/>
                    <a:pt x="2997315" y="1973215"/>
                    <a:pt x="3018902" y="1973215"/>
                  </a:cubicBezTo>
                  <a:close/>
                  <a:moveTo>
                    <a:pt x="2924263" y="1973215"/>
                  </a:moveTo>
                  <a:cubicBezTo>
                    <a:pt x="2945850" y="1973215"/>
                    <a:pt x="2963349" y="1990715"/>
                    <a:pt x="2963349" y="2012302"/>
                  </a:cubicBezTo>
                  <a:cubicBezTo>
                    <a:pt x="2963349" y="2033889"/>
                    <a:pt x="2945850" y="2051389"/>
                    <a:pt x="2924263" y="2051389"/>
                  </a:cubicBezTo>
                  <a:cubicBezTo>
                    <a:pt x="2902675" y="2051389"/>
                    <a:pt x="2885175" y="2033889"/>
                    <a:pt x="2885175" y="2012302"/>
                  </a:cubicBezTo>
                  <a:cubicBezTo>
                    <a:pt x="2885175" y="1990715"/>
                    <a:pt x="2902675" y="1973215"/>
                    <a:pt x="2924263" y="1973215"/>
                  </a:cubicBezTo>
                  <a:close/>
                  <a:moveTo>
                    <a:pt x="2831987" y="1973215"/>
                  </a:moveTo>
                  <a:cubicBezTo>
                    <a:pt x="2853574" y="1973215"/>
                    <a:pt x="2871074" y="1990715"/>
                    <a:pt x="2871074" y="2012302"/>
                  </a:cubicBezTo>
                  <a:cubicBezTo>
                    <a:pt x="2871074" y="2033889"/>
                    <a:pt x="2853574" y="2051389"/>
                    <a:pt x="2831987" y="2051389"/>
                  </a:cubicBezTo>
                  <a:cubicBezTo>
                    <a:pt x="2810400" y="2051389"/>
                    <a:pt x="2792900" y="2033889"/>
                    <a:pt x="2792900" y="2012302"/>
                  </a:cubicBezTo>
                  <a:cubicBezTo>
                    <a:pt x="2792900" y="1990715"/>
                    <a:pt x="2810400" y="1973215"/>
                    <a:pt x="2831987" y="1973215"/>
                  </a:cubicBezTo>
                  <a:close/>
                  <a:moveTo>
                    <a:pt x="2737356" y="1973215"/>
                  </a:moveTo>
                  <a:cubicBezTo>
                    <a:pt x="2758934" y="1973215"/>
                    <a:pt x="2776434" y="1990715"/>
                    <a:pt x="2776434" y="2012302"/>
                  </a:cubicBezTo>
                  <a:cubicBezTo>
                    <a:pt x="2776434" y="2033889"/>
                    <a:pt x="2758934" y="2051389"/>
                    <a:pt x="2737356" y="2051389"/>
                  </a:cubicBezTo>
                  <a:cubicBezTo>
                    <a:pt x="2715766" y="2051389"/>
                    <a:pt x="2698264" y="2033889"/>
                    <a:pt x="2698264" y="2012302"/>
                  </a:cubicBezTo>
                  <a:cubicBezTo>
                    <a:pt x="2698264" y="1990715"/>
                    <a:pt x="2715766" y="1973215"/>
                    <a:pt x="2737356" y="1973215"/>
                  </a:cubicBezTo>
                  <a:close/>
                  <a:moveTo>
                    <a:pt x="2645073" y="1973215"/>
                  </a:moveTo>
                  <a:cubicBezTo>
                    <a:pt x="2666661" y="1973215"/>
                    <a:pt x="2684163" y="1990715"/>
                    <a:pt x="2684163" y="2012302"/>
                  </a:cubicBezTo>
                  <a:cubicBezTo>
                    <a:pt x="2684163" y="2033889"/>
                    <a:pt x="2666661" y="2051389"/>
                    <a:pt x="2645073" y="2051389"/>
                  </a:cubicBezTo>
                  <a:cubicBezTo>
                    <a:pt x="2623487" y="2051389"/>
                    <a:pt x="2605987" y="2033889"/>
                    <a:pt x="2605987" y="2012302"/>
                  </a:cubicBezTo>
                  <a:cubicBezTo>
                    <a:pt x="2605987" y="1990715"/>
                    <a:pt x="2623487" y="1973215"/>
                    <a:pt x="2645073" y="1973215"/>
                  </a:cubicBezTo>
                  <a:close/>
                  <a:moveTo>
                    <a:pt x="2550435" y="1973215"/>
                  </a:moveTo>
                  <a:cubicBezTo>
                    <a:pt x="2572023" y="1973215"/>
                    <a:pt x="2589522" y="1990715"/>
                    <a:pt x="2589522" y="2012302"/>
                  </a:cubicBezTo>
                  <a:cubicBezTo>
                    <a:pt x="2589522" y="2033889"/>
                    <a:pt x="2572023" y="2051389"/>
                    <a:pt x="2550435" y="2051389"/>
                  </a:cubicBezTo>
                  <a:cubicBezTo>
                    <a:pt x="2528848" y="2051389"/>
                    <a:pt x="2511351" y="2033889"/>
                    <a:pt x="2511351" y="2012302"/>
                  </a:cubicBezTo>
                  <a:cubicBezTo>
                    <a:pt x="2511351" y="1990715"/>
                    <a:pt x="2528848" y="1973215"/>
                    <a:pt x="2550435" y="1973215"/>
                  </a:cubicBezTo>
                  <a:close/>
                  <a:moveTo>
                    <a:pt x="2458164" y="1973215"/>
                  </a:moveTo>
                  <a:cubicBezTo>
                    <a:pt x="2479749" y="1973215"/>
                    <a:pt x="2497250" y="1990715"/>
                    <a:pt x="2497250" y="2012302"/>
                  </a:cubicBezTo>
                  <a:cubicBezTo>
                    <a:pt x="2497250" y="2033889"/>
                    <a:pt x="2479749" y="2051389"/>
                    <a:pt x="2458164" y="2051389"/>
                  </a:cubicBezTo>
                  <a:cubicBezTo>
                    <a:pt x="2436579" y="2051389"/>
                    <a:pt x="2419078" y="2033889"/>
                    <a:pt x="2419078" y="2012302"/>
                  </a:cubicBezTo>
                  <a:cubicBezTo>
                    <a:pt x="2419078" y="1990715"/>
                    <a:pt x="2436579" y="1973215"/>
                    <a:pt x="2458164" y="1973215"/>
                  </a:cubicBezTo>
                  <a:close/>
                  <a:moveTo>
                    <a:pt x="2363524" y="1973215"/>
                  </a:moveTo>
                  <a:cubicBezTo>
                    <a:pt x="2385111" y="1973215"/>
                    <a:pt x="2402609" y="1990715"/>
                    <a:pt x="2402609" y="2012302"/>
                  </a:cubicBezTo>
                  <a:cubicBezTo>
                    <a:pt x="2402609" y="2033889"/>
                    <a:pt x="2385111" y="2051389"/>
                    <a:pt x="2363524" y="2051389"/>
                  </a:cubicBezTo>
                  <a:cubicBezTo>
                    <a:pt x="2341939" y="2051389"/>
                    <a:pt x="2324437" y="2033889"/>
                    <a:pt x="2324437" y="2012302"/>
                  </a:cubicBezTo>
                  <a:cubicBezTo>
                    <a:pt x="2324437" y="1990715"/>
                    <a:pt x="2341939" y="1973215"/>
                    <a:pt x="2363524" y="1973215"/>
                  </a:cubicBezTo>
                  <a:close/>
                  <a:moveTo>
                    <a:pt x="2266521" y="1973215"/>
                  </a:moveTo>
                  <a:cubicBezTo>
                    <a:pt x="2288105" y="1973215"/>
                    <a:pt x="2305606" y="1990715"/>
                    <a:pt x="2305606" y="2012302"/>
                  </a:cubicBezTo>
                  <a:cubicBezTo>
                    <a:pt x="2305606" y="2033889"/>
                    <a:pt x="2288105" y="2051389"/>
                    <a:pt x="2266521" y="2051389"/>
                  </a:cubicBezTo>
                  <a:cubicBezTo>
                    <a:pt x="2244929" y="2051389"/>
                    <a:pt x="2227431" y="2033889"/>
                    <a:pt x="2227431" y="2012302"/>
                  </a:cubicBezTo>
                  <a:cubicBezTo>
                    <a:pt x="2227431" y="1990715"/>
                    <a:pt x="2244929" y="1973215"/>
                    <a:pt x="2266521" y="1973215"/>
                  </a:cubicBezTo>
                  <a:close/>
                  <a:moveTo>
                    <a:pt x="1142694" y="1973215"/>
                  </a:moveTo>
                  <a:cubicBezTo>
                    <a:pt x="1164282" y="1973215"/>
                    <a:pt x="1181781" y="1990715"/>
                    <a:pt x="1181781" y="2012302"/>
                  </a:cubicBezTo>
                  <a:cubicBezTo>
                    <a:pt x="1181781" y="2033889"/>
                    <a:pt x="1164282" y="2051389"/>
                    <a:pt x="1142694" y="2051389"/>
                  </a:cubicBezTo>
                  <a:cubicBezTo>
                    <a:pt x="1121104" y="2051389"/>
                    <a:pt x="1103602" y="2033889"/>
                    <a:pt x="1103602" y="2012302"/>
                  </a:cubicBezTo>
                  <a:cubicBezTo>
                    <a:pt x="1103602" y="1990715"/>
                    <a:pt x="1121104" y="1973215"/>
                    <a:pt x="1142694" y="1973215"/>
                  </a:cubicBezTo>
                  <a:close/>
                  <a:moveTo>
                    <a:pt x="764140" y="1973215"/>
                  </a:moveTo>
                  <a:cubicBezTo>
                    <a:pt x="785728" y="1973215"/>
                    <a:pt x="803226" y="1990715"/>
                    <a:pt x="803226" y="2012302"/>
                  </a:cubicBezTo>
                  <a:cubicBezTo>
                    <a:pt x="803226" y="2033889"/>
                    <a:pt x="785728" y="2051389"/>
                    <a:pt x="764140" y="2051389"/>
                  </a:cubicBezTo>
                  <a:cubicBezTo>
                    <a:pt x="742552" y="2051389"/>
                    <a:pt x="725056" y="2033889"/>
                    <a:pt x="725056" y="2012302"/>
                  </a:cubicBezTo>
                  <a:cubicBezTo>
                    <a:pt x="725056" y="1990715"/>
                    <a:pt x="742552" y="1973215"/>
                    <a:pt x="764140" y="1973215"/>
                  </a:cubicBezTo>
                  <a:close/>
                  <a:moveTo>
                    <a:pt x="669495" y="1973215"/>
                  </a:moveTo>
                  <a:cubicBezTo>
                    <a:pt x="691093" y="1973215"/>
                    <a:pt x="708592" y="1990715"/>
                    <a:pt x="708592" y="2012302"/>
                  </a:cubicBezTo>
                  <a:cubicBezTo>
                    <a:pt x="708592" y="2033889"/>
                    <a:pt x="691093" y="2051389"/>
                    <a:pt x="669495" y="2051389"/>
                  </a:cubicBezTo>
                  <a:cubicBezTo>
                    <a:pt x="647918" y="2051389"/>
                    <a:pt x="630416" y="2033889"/>
                    <a:pt x="630416" y="2012302"/>
                  </a:cubicBezTo>
                  <a:cubicBezTo>
                    <a:pt x="630416" y="1990715"/>
                    <a:pt x="647918" y="1973215"/>
                    <a:pt x="669495" y="1973215"/>
                  </a:cubicBezTo>
                  <a:close/>
                  <a:moveTo>
                    <a:pt x="577223" y="1973215"/>
                  </a:moveTo>
                  <a:cubicBezTo>
                    <a:pt x="598813" y="1973215"/>
                    <a:pt x="616315" y="1990715"/>
                    <a:pt x="616315" y="2012302"/>
                  </a:cubicBezTo>
                  <a:cubicBezTo>
                    <a:pt x="616315" y="2033889"/>
                    <a:pt x="598813" y="2051389"/>
                    <a:pt x="577223" y="2051389"/>
                  </a:cubicBezTo>
                  <a:cubicBezTo>
                    <a:pt x="555634" y="2051389"/>
                    <a:pt x="538132" y="2033889"/>
                    <a:pt x="538132" y="2012302"/>
                  </a:cubicBezTo>
                  <a:cubicBezTo>
                    <a:pt x="538132" y="1990715"/>
                    <a:pt x="555634" y="1973215"/>
                    <a:pt x="577223" y="1973215"/>
                  </a:cubicBezTo>
                  <a:close/>
                  <a:moveTo>
                    <a:pt x="484944" y="1973215"/>
                  </a:moveTo>
                  <a:cubicBezTo>
                    <a:pt x="506530" y="1973215"/>
                    <a:pt x="524029" y="1990715"/>
                    <a:pt x="524029" y="2012302"/>
                  </a:cubicBezTo>
                  <a:cubicBezTo>
                    <a:pt x="524029" y="2033889"/>
                    <a:pt x="506530" y="2051389"/>
                    <a:pt x="484944" y="2051389"/>
                  </a:cubicBezTo>
                  <a:cubicBezTo>
                    <a:pt x="463352" y="2051389"/>
                    <a:pt x="445862" y="2033889"/>
                    <a:pt x="445862" y="2012302"/>
                  </a:cubicBezTo>
                  <a:cubicBezTo>
                    <a:pt x="445862" y="1990715"/>
                    <a:pt x="463352" y="1973215"/>
                    <a:pt x="484944" y="1973215"/>
                  </a:cubicBezTo>
                  <a:close/>
                  <a:moveTo>
                    <a:pt x="3679017" y="1892773"/>
                  </a:moveTo>
                  <a:cubicBezTo>
                    <a:pt x="3700604" y="1892773"/>
                    <a:pt x="3718103" y="1910273"/>
                    <a:pt x="3718103" y="1931860"/>
                  </a:cubicBezTo>
                  <a:cubicBezTo>
                    <a:pt x="3718103" y="1953447"/>
                    <a:pt x="3700604" y="1970947"/>
                    <a:pt x="3679017" y="1970947"/>
                  </a:cubicBezTo>
                  <a:cubicBezTo>
                    <a:pt x="3657429" y="1970947"/>
                    <a:pt x="3639929" y="1953447"/>
                    <a:pt x="3639929" y="1931860"/>
                  </a:cubicBezTo>
                  <a:cubicBezTo>
                    <a:pt x="3639929" y="1910273"/>
                    <a:pt x="3657429" y="1892773"/>
                    <a:pt x="3679017" y="1892773"/>
                  </a:cubicBezTo>
                  <a:close/>
                  <a:moveTo>
                    <a:pt x="3584377" y="1892773"/>
                  </a:moveTo>
                  <a:cubicBezTo>
                    <a:pt x="3605964" y="1892773"/>
                    <a:pt x="3623463" y="1910273"/>
                    <a:pt x="3623463" y="1931860"/>
                  </a:cubicBezTo>
                  <a:cubicBezTo>
                    <a:pt x="3623463" y="1953447"/>
                    <a:pt x="3605964" y="1970947"/>
                    <a:pt x="3584377" y="1970947"/>
                  </a:cubicBezTo>
                  <a:cubicBezTo>
                    <a:pt x="3562789" y="1970947"/>
                    <a:pt x="3545289" y="1953447"/>
                    <a:pt x="3545289" y="1931860"/>
                  </a:cubicBezTo>
                  <a:cubicBezTo>
                    <a:pt x="3545289" y="1910273"/>
                    <a:pt x="3562789" y="1892773"/>
                    <a:pt x="3584377" y="1892773"/>
                  </a:cubicBezTo>
                  <a:close/>
                  <a:moveTo>
                    <a:pt x="3489737" y="1892773"/>
                  </a:moveTo>
                  <a:cubicBezTo>
                    <a:pt x="3511324" y="1892773"/>
                    <a:pt x="3528823" y="1910273"/>
                    <a:pt x="3528823" y="1931860"/>
                  </a:cubicBezTo>
                  <a:cubicBezTo>
                    <a:pt x="3528823" y="1953447"/>
                    <a:pt x="3511324" y="1970947"/>
                    <a:pt x="3489737" y="1970947"/>
                  </a:cubicBezTo>
                  <a:cubicBezTo>
                    <a:pt x="3468149" y="1970947"/>
                    <a:pt x="3450649" y="1953447"/>
                    <a:pt x="3450649" y="1931860"/>
                  </a:cubicBezTo>
                  <a:cubicBezTo>
                    <a:pt x="3450649" y="1910273"/>
                    <a:pt x="3468149" y="1892773"/>
                    <a:pt x="3489737" y="1892773"/>
                  </a:cubicBezTo>
                  <a:close/>
                  <a:moveTo>
                    <a:pt x="3392731" y="1892773"/>
                  </a:moveTo>
                  <a:cubicBezTo>
                    <a:pt x="3414319" y="1892773"/>
                    <a:pt x="3431819" y="1910273"/>
                    <a:pt x="3431819" y="1931860"/>
                  </a:cubicBezTo>
                  <a:cubicBezTo>
                    <a:pt x="3431819" y="1953447"/>
                    <a:pt x="3414319" y="1970947"/>
                    <a:pt x="3392731" y="1970947"/>
                  </a:cubicBezTo>
                  <a:cubicBezTo>
                    <a:pt x="3371144" y="1970947"/>
                    <a:pt x="3353644" y="1953447"/>
                    <a:pt x="3353644" y="1931860"/>
                  </a:cubicBezTo>
                  <a:cubicBezTo>
                    <a:pt x="3353644" y="1910273"/>
                    <a:pt x="3371144" y="1892773"/>
                    <a:pt x="3392731" y="1892773"/>
                  </a:cubicBezTo>
                  <a:close/>
                  <a:moveTo>
                    <a:pt x="3205815" y="1892773"/>
                  </a:moveTo>
                  <a:cubicBezTo>
                    <a:pt x="3227403" y="1892773"/>
                    <a:pt x="3244903" y="1910273"/>
                    <a:pt x="3244903" y="1931860"/>
                  </a:cubicBezTo>
                  <a:cubicBezTo>
                    <a:pt x="3244903" y="1953447"/>
                    <a:pt x="3227403" y="1970947"/>
                    <a:pt x="3205815" y="1970947"/>
                  </a:cubicBezTo>
                  <a:cubicBezTo>
                    <a:pt x="3184228" y="1970947"/>
                    <a:pt x="3166728" y="1953447"/>
                    <a:pt x="3166728" y="1931860"/>
                  </a:cubicBezTo>
                  <a:cubicBezTo>
                    <a:pt x="3166728" y="1910273"/>
                    <a:pt x="3184228" y="1892773"/>
                    <a:pt x="3205815" y="1892773"/>
                  </a:cubicBezTo>
                  <a:close/>
                  <a:moveTo>
                    <a:pt x="3111175" y="1892773"/>
                  </a:moveTo>
                  <a:cubicBezTo>
                    <a:pt x="3132763" y="1892773"/>
                    <a:pt x="3150263" y="1910273"/>
                    <a:pt x="3150263" y="1931860"/>
                  </a:cubicBezTo>
                  <a:cubicBezTo>
                    <a:pt x="3150263" y="1953447"/>
                    <a:pt x="3132763" y="1970947"/>
                    <a:pt x="3111175" y="1970947"/>
                  </a:cubicBezTo>
                  <a:cubicBezTo>
                    <a:pt x="3089588" y="1970947"/>
                    <a:pt x="3072088" y="1953447"/>
                    <a:pt x="3072088" y="1931860"/>
                  </a:cubicBezTo>
                  <a:cubicBezTo>
                    <a:pt x="3072088" y="1910273"/>
                    <a:pt x="3089588" y="1892773"/>
                    <a:pt x="3111175" y="1892773"/>
                  </a:cubicBezTo>
                  <a:close/>
                  <a:moveTo>
                    <a:pt x="3018902" y="1892773"/>
                  </a:moveTo>
                  <a:cubicBezTo>
                    <a:pt x="3040489" y="1892773"/>
                    <a:pt x="3057989" y="1910273"/>
                    <a:pt x="3057989" y="1931860"/>
                  </a:cubicBezTo>
                  <a:cubicBezTo>
                    <a:pt x="3057989" y="1953447"/>
                    <a:pt x="3040489" y="1970947"/>
                    <a:pt x="3018902" y="1970947"/>
                  </a:cubicBezTo>
                  <a:cubicBezTo>
                    <a:pt x="2997315" y="1970947"/>
                    <a:pt x="2979815" y="1953447"/>
                    <a:pt x="2979815" y="1931860"/>
                  </a:cubicBezTo>
                  <a:cubicBezTo>
                    <a:pt x="2979815" y="1910273"/>
                    <a:pt x="2997315" y="1892773"/>
                    <a:pt x="3018902" y="1892773"/>
                  </a:cubicBezTo>
                  <a:close/>
                  <a:moveTo>
                    <a:pt x="2924263" y="1892773"/>
                  </a:moveTo>
                  <a:cubicBezTo>
                    <a:pt x="2945850" y="1892773"/>
                    <a:pt x="2963349" y="1910273"/>
                    <a:pt x="2963349" y="1931860"/>
                  </a:cubicBezTo>
                  <a:cubicBezTo>
                    <a:pt x="2963349" y="1953447"/>
                    <a:pt x="2945850" y="1970947"/>
                    <a:pt x="2924263" y="1970947"/>
                  </a:cubicBezTo>
                  <a:cubicBezTo>
                    <a:pt x="2902675" y="1970947"/>
                    <a:pt x="2885175" y="1953447"/>
                    <a:pt x="2885175" y="1931860"/>
                  </a:cubicBezTo>
                  <a:cubicBezTo>
                    <a:pt x="2885175" y="1910273"/>
                    <a:pt x="2902675" y="1892773"/>
                    <a:pt x="2924263" y="1892773"/>
                  </a:cubicBezTo>
                  <a:close/>
                  <a:moveTo>
                    <a:pt x="2831987" y="1892773"/>
                  </a:moveTo>
                  <a:cubicBezTo>
                    <a:pt x="2853574" y="1892773"/>
                    <a:pt x="2871074" y="1910273"/>
                    <a:pt x="2871074" y="1931860"/>
                  </a:cubicBezTo>
                  <a:cubicBezTo>
                    <a:pt x="2871074" y="1953447"/>
                    <a:pt x="2853574" y="1970947"/>
                    <a:pt x="2831987" y="1970947"/>
                  </a:cubicBezTo>
                  <a:cubicBezTo>
                    <a:pt x="2810400" y="1970947"/>
                    <a:pt x="2792900" y="1953447"/>
                    <a:pt x="2792900" y="1931860"/>
                  </a:cubicBezTo>
                  <a:cubicBezTo>
                    <a:pt x="2792900" y="1910273"/>
                    <a:pt x="2810400" y="1892773"/>
                    <a:pt x="2831987" y="1892773"/>
                  </a:cubicBezTo>
                  <a:close/>
                  <a:moveTo>
                    <a:pt x="2737356" y="1892773"/>
                  </a:moveTo>
                  <a:cubicBezTo>
                    <a:pt x="2758934" y="1892773"/>
                    <a:pt x="2776434" y="1910273"/>
                    <a:pt x="2776434" y="1931860"/>
                  </a:cubicBezTo>
                  <a:cubicBezTo>
                    <a:pt x="2776434" y="1953447"/>
                    <a:pt x="2758934" y="1970947"/>
                    <a:pt x="2737356" y="1970947"/>
                  </a:cubicBezTo>
                  <a:cubicBezTo>
                    <a:pt x="2715766" y="1970947"/>
                    <a:pt x="2698265" y="1953447"/>
                    <a:pt x="2698265" y="1931860"/>
                  </a:cubicBezTo>
                  <a:cubicBezTo>
                    <a:pt x="2698265" y="1910273"/>
                    <a:pt x="2715766" y="1892773"/>
                    <a:pt x="2737356" y="1892773"/>
                  </a:cubicBezTo>
                  <a:close/>
                  <a:moveTo>
                    <a:pt x="2645073" y="1892773"/>
                  </a:moveTo>
                  <a:cubicBezTo>
                    <a:pt x="2666661" y="1892773"/>
                    <a:pt x="2684163" y="1910273"/>
                    <a:pt x="2684163" y="1931860"/>
                  </a:cubicBezTo>
                  <a:cubicBezTo>
                    <a:pt x="2684163" y="1953447"/>
                    <a:pt x="2666661" y="1970947"/>
                    <a:pt x="2645073" y="1970947"/>
                  </a:cubicBezTo>
                  <a:cubicBezTo>
                    <a:pt x="2623487" y="1970947"/>
                    <a:pt x="2605987" y="1953447"/>
                    <a:pt x="2605987" y="1931860"/>
                  </a:cubicBezTo>
                  <a:cubicBezTo>
                    <a:pt x="2605987" y="1910273"/>
                    <a:pt x="2623487" y="1892773"/>
                    <a:pt x="2645073" y="1892773"/>
                  </a:cubicBezTo>
                  <a:close/>
                  <a:moveTo>
                    <a:pt x="2550436" y="1892773"/>
                  </a:moveTo>
                  <a:cubicBezTo>
                    <a:pt x="2572023" y="1892773"/>
                    <a:pt x="2589522" y="1910273"/>
                    <a:pt x="2589522" y="1931860"/>
                  </a:cubicBezTo>
                  <a:cubicBezTo>
                    <a:pt x="2589522" y="1953447"/>
                    <a:pt x="2572023" y="1970947"/>
                    <a:pt x="2550436" y="1970947"/>
                  </a:cubicBezTo>
                  <a:cubicBezTo>
                    <a:pt x="2528849" y="1970947"/>
                    <a:pt x="2511351" y="1953447"/>
                    <a:pt x="2511351" y="1931860"/>
                  </a:cubicBezTo>
                  <a:cubicBezTo>
                    <a:pt x="2511351" y="1910273"/>
                    <a:pt x="2528849" y="1892773"/>
                    <a:pt x="2550436" y="1892773"/>
                  </a:cubicBezTo>
                  <a:close/>
                  <a:moveTo>
                    <a:pt x="2458164" y="1892773"/>
                  </a:moveTo>
                  <a:cubicBezTo>
                    <a:pt x="2479752" y="1892773"/>
                    <a:pt x="2497251" y="1910273"/>
                    <a:pt x="2497251" y="1931860"/>
                  </a:cubicBezTo>
                  <a:cubicBezTo>
                    <a:pt x="2497251" y="1953447"/>
                    <a:pt x="2479752" y="1970947"/>
                    <a:pt x="2458164" y="1970947"/>
                  </a:cubicBezTo>
                  <a:cubicBezTo>
                    <a:pt x="2436580" y="1970947"/>
                    <a:pt x="2419078" y="1953447"/>
                    <a:pt x="2419078" y="1931860"/>
                  </a:cubicBezTo>
                  <a:cubicBezTo>
                    <a:pt x="2419078" y="1910273"/>
                    <a:pt x="2436580" y="1892773"/>
                    <a:pt x="2458164" y="1892773"/>
                  </a:cubicBezTo>
                  <a:close/>
                  <a:moveTo>
                    <a:pt x="2363524" y="1892773"/>
                  </a:moveTo>
                  <a:cubicBezTo>
                    <a:pt x="2385113" y="1892773"/>
                    <a:pt x="2402611" y="1910273"/>
                    <a:pt x="2402611" y="1931860"/>
                  </a:cubicBezTo>
                  <a:cubicBezTo>
                    <a:pt x="2402611" y="1953447"/>
                    <a:pt x="2385113" y="1970947"/>
                    <a:pt x="2363524" y="1970947"/>
                  </a:cubicBezTo>
                  <a:cubicBezTo>
                    <a:pt x="2341940" y="1970947"/>
                    <a:pt x="2324437" y="1953447"/>
                    <a:pt x="2324437" y="1931860"/>
                  </a:cubicBezTo>
                  <a:cubicBezTo>
                    <a:pt x="2324437" y="1910273"/>
                    <a:pt x="2341940" y="1892773"/>
                    <a:pt x="2363524" y="1892773"/>
                  </a:cubicBezTo>
                  <a:close/>
                  <a:moveTo>
                    <a:pt x="2266521" y="1892773"/>
                  </a:moveTo>
                  <a:cubicBezTo>
                    <a:pt x="2288107" y="1892773"/>
                    <a:pt x="2305606" y="1910273"/>
                    <a:pt x="2305606" y="1931860"/>
                  </a:cubicBezTo>
                  <a:cubicBezTo>
                    <a:pt x="2305606" y="1953447"/>
                    <a:pt x="2288107" y="1970947"/>
                    <a:pt x="2266521" y="1970947"/>
                  </a:cubicBezTo>
                  <a:cubicBezTo>
                    <a:pt x="2244929" y="1970947"/>
                    <a:pt x="2227432" y="1953447"/>
                    <a:pt x="2227432" y="1931860"/>
                  </a:cubicBezTo>
                  <a:cubicBezTo>
                    <a:pt x="2227432" y="1910273"/>
                    <a:pt x="2244929" y="1892773"/>
                    <a:pt x="2266521" y="1892773"/>
                  </a:cubicBezTo>
                  <a:close/>
                  <a:moveTo>
                    <a:pt x="951048" y="1892773"/>
                  </a:moveTo>
                  <a:cubicBezTo>
                    <a:pt x="972633" y="1892773"/>
                    <a:pt x="990133" y="1910273"/>
                    <a:pt x="990133" y="1931860"/>
                  </a:cubicBezTo>
                  <a:cubicBezTo>
                    <a:pt x="990133" y="1953447"/>
                    <a:pt x="972633" y="1970947"/>
                    <a:pt x="951048" y="1970947"/>
                  </a:cubicBezTo>
                  <a:cubicBezTo>
                    <a:pt x="929462" y="1970947"/>
                    <a:pt x="911963" y="1953447"/>
                    <a:pt x="911963" y="1931860"/>
                  </a:cubicBezTo>
                  <a:cubicBezTo>
                    <a:pt x="911963" y="1910273"/>
                    <a:pt x="929462" y="1892773"/>
                    <a:pt x="951048" y="1892773"/>
                  </a:cubicBezTo>
                  <a:close/>
                  <a:moveTo>
                    <a:pt x="764144" y="1892773"/>
                  </a:moveTo>
                  <a:cubicBezTo>
                    <a:pt x="785731" y="1892773"/>
                    <a:pt x="803230" y="1910273"/>
                    <a:pt x="803230" y="1931860"/>
                  </a:cubicBezTo>
                  <a:cubicBezTo>
                    <a:pt x="803230" y="1953447"/>
                    <a:pt x="785731" y="1970947"/>
                    <a:pt x="764144" y="1970947"/>
                  </a:cubicBezTo>
                  <a:cubicBezTo>
                    <a:pt x="742556" y="1970947"/>
                    <a:pt x="725059" y="1953447"/>
                    <a:pt x="725059" y="1931860"/>
                  </a:cubicBezTo>
                  <a:cubicBezTo>
                    <a:pt x="725059" y="1910273"/>
                    <a:pt x="742556" y="1892773"/>
                    <a:pt x="764144" y="1892773"/>
                  </a:cubicBezTo>
                  <a:close/>
                  <a:moveTo>
                    <a:pt x="577226" y="1892773"/>
                  </a:moveTo>
                  <a:cubicBezTo>
                    <a:pt x="598816" y="1892773"/>
                    <a:pt x="616318" y="1910273"/>
                    <a:pt x="616318" y="1931860"/>
                  </a:cubicBezTo>
                  <a:cubicBezTo>
                    <a:pt x="616318" y="1953447"/>
                    <a:pt x="598816" y="1970947"/>
                    <a:pt x="577226" y="1970947"/>
                  </a:cubicBezTo>
                  <a:cubicBezTo>
                    <a:pt x="555636" y="1970947"/>
                    <a:pt x="538134" y="1953447"/>
                    <a:pt x="538134" y="1931860"/>
                  </a:cubicBezTo>
                  <a:cubicBezTo>
                    <a:pt x="538134" y="1910273"/>
                    <a:pt x="555636" y="1892773"/>
                    <a:pt x="577226" y="1892773"/>
                  </a:cubicBezTo>
                  <a:close/>
                  <a:moveTo>
                    <a:pt x="484945" y="1892773"/>
                  </a:moveTo>
                  <a:cubicBezTo>
                    <a:pt x="506533" y="1892773"/>
                    <a:pt x="524032" y="1910273"/>
                    <a:pt x="524032" y="1931860"/>
                  </a:cubicBezTo>
                  <a:cubicBezTo>
                    <a:pt x="524032" y="1953447"/>
                    <a:pt x="506533" y="1970947"/>
                    <a:pt x="484945" y="1970947"/>
                  </a:cubicBezTo>
                  <a:cubicBezTo>
                    <a:pt x="463353" y="1970947"/>
                    <a:pt x="445867" y="1953447"/>
                    <a:pt x="445867" y="1931860"/>
                  </a:cubicBezTo>
                  <a:cubicBezTo>
                    <a:pt x="445867" y="1910273"/>
                    <a:pt x="463353" y="1892773"/>
                    <a:pt x="484945" y="1892773"/>
                  </a:cubicBezTo>
                  <a:close/>
                  <a:moveTo>
                    <a:pt x="3861717" y="1806975"/>
                  </a:moveTo>
                  <a:lnTo>
                    <a:pt x="3858023" y="1880127"/>
                  </a:lnTo>
                  <a:lnTo>
                    <a:pt x="3838294" y="1871955"/>
                  </a:lnTo>
                  <a:cubicBezTo>
                    <a:pt x="3831220" y="1864881"/>
                    <a:pt x="3826845" y="1855109"/>
                    <a:pt x="3826845" y="1844316"/>
                  </a:cubicBezTo>
                  <a:cubicBezTo>
                    <a:pt x="3826845" y="1833522"/>
                    <a:pt x="3831220" y="1823750"/>
                    <a:pt x="3838294" y="1816677"/>
                  </a:cubicBezTo>
                  <a:close/>
                  <a:moveTo>
                    <a:pt x="3679017" y="1805229"/>
                  </a:moveTo>
                  <a:cubicBezTo>
                    <a:pt x="3700604" y="1805229"/>
                    <a:pt x="3718103" y="1822729"/>
                    <a:pt x="3718103" y="1844316"/>
                  </a:cubicBezTo>
                  <a:cubicBezTo>
                    <a:pt x="3718103" y="1865903"/>
                    <a:pt x="3700604" y="1883404"/>
                    <a:pt x="3679017" y="1883404"/>
                  </a:cubicBezTo>
                  <a:cubicBezTo>
                    <a:pt x="3657429" y="1883404"/>
                    <a:pt x="3639929" y="1865903"/>
                    <a:pt x="3639929" y="1844316"/>
                  </a:cubicBezTo>
                  <a:cubicBezTo>
                    <a:pt x="3639929" y="1822729"/>
                    <a:pt x="3657429" y="1805229"/>
                    <a:pt x="3679017" y="1805229"/>
                  </a:cubicBezTo>
                  <a:close/>
                  <a:moveTo>
                    <a:pt x="3300457" y="1805229"/>
                  </a:moveTo>
                  <a:cubicBezTo>
                    <a:pt x="3322044" y="1805229"/>
                    <a:pt x="3339544" y="1822729"/>
                    <a:pt x="3339544" y="1844316"/>
                  </a:cubicBezTo>
                  <a:cubicBezTo>
                    <a:pt x="3339544" y="1865903"/>
                    <a:pt x="3322044" y="1883404"/>
                    <a:pt x="3300457" y="1883404"/>
                  </a:cubicBezTo>
                  <a:cubicBezTo>
                    <a:pt x="3278869" y="1883404"/>
                    <a:pt x="3261369" y="1865903"/>
                    <a:pt x="3261369" y="1844316"/>
                  </a:cubicBezTo>
                  <a:cubicBezTo>
                    <a:pt x="3261369" y="1822729"/>
                    <a:pt x="3278869" y="1805229"/>
                    <a:pt x="3300457" y="1805229"/>
                  </a:cubicBezTo>
                  <a:close/>
                  <a:moveTo>
                    <a:pt x="3111175" y="1805229"/>
                  </a:moveTo>
                  <a:cubicBezTo>
                    <a:pt x="3132763" y="1805229"/>
                    <a:pt x="3150263" y="1822729"/>
                    <a:pt x="3150263" y="1844316"/>
                  </a:cubicBezTo>
                  <a:cubicBezTo>
                    <a:pt x="3150263" y="1865903"/>
                    <a:pt x="3132763" y="1883404"/>
                    <a:pt x="3111175" y="1883404"/>
                  </a:cubicBezTo>
                  <a:cubicBezTo>
                    <a:pt x="3089588" y="1883404"/>
                    <a:pt x="3072088" y="1865903"/>
                    <a:pt x="3072088" y="1844316"/>
                  </a:cubicBezTo>
                  <a:cubicBezTo>
                    <a:pt x="3072088" y="1822729"/>
                    <a:pt x="3089588" y="1805229"/>
                    <a:pt x="3111175" y="1805229"/>
                  </a:cubicBezTo>
                  <a:close/>
                  <a:moveTo>
                    <a:pt x="3018902" y="1805229"/>
                  </a:moveTo>
                  <a:cubicBezTo>
                    <a:pt x="3040489" y="1805229"/>
                    <a:pt x="3057989" y="1822729"/>
                    <a:pt x="3057989" y="1844316"/>
                  </a:cubicBezTo>
                  <a:cubicBezTo>
                    <a:pt x="3057989" y="1865903"/>
                    <a:pt x="3040489" y="1883404"/>
                    <a:pt x="3018902" y="1883404"/>
                  </a:cubicBezTo>
                  <a:cubicBezTo>
                    <a:pt x="2997315" y="1883404"/>
                    <a:pt x="2979815" y="1865903"/>
                    <a:pt x="2979815" y="1844316"/>
                  </a:cubicBezTo>
                  <a:cubicBezTo>
                    <a:pt x="2979815" y="1822729"/>
                    <a:pt x="2997315" y="1805229"/>
                    <a:pt x="3018902" y="1805229"/>
                  </a:cubicBezTo>
                  <a:close/>
                  <a:moveTo>
                    <a:pt x="2831988" y="1805229"/>
                  </a:moveTo>
                  <a:cubicBezTo>
                    <a:pt x="2853575" y="1805229"/>
                    <a:pt x="2871075" y="1822729"/>
                    <a:pt x="2871075" y="1844316"/>
                  </a:cubicBezTo>
                  <a:cubicBezTo>
                    <a:pt x="2871075" y="1865903"/>
                    <a:pt x="2853575" y="1883404"/>
                    <a:pt x="2831988" y="1883404"/>
                  </a:cubicBezTo>
                  <a:cubicBezTo>
                    <a:pt x="2810401" y="1883404"/>
                    <a:pt x="2792901" y="1865903"/>
                    <a:pt x="2792901" y="1844316"/>
                  </a:cubicBezTo>
                  <a:cubicBezTo>
                    <a:pt x="2792901" y="1822729"/>
                    <a:pt x="2810401" y="1805229"/>
                    <a:pt x="2831988" y="1805229"/>
                  </a:cubicBezTo>
                  <a:close/>
                  <a:moveTo>
                    <a:pt x="2737358" y="1805229"/>
                  </a:moveTo>
                  <a:cubicBezTo>
                    <a:pt x="2758934" y="1805229"/>
                    <a:pt x="2776434" y="1822729"/>
                    <a:pt x="2776434" y="1844316"/>
                  </a:cubicBezTo>
                  <a:cubicBezTo>
                    <a:pt x="2776434" y="1865903"/>
                    <a:pt x="2758934" y="1883404"/>
                    <a:pt x="2737358" y="1883404"/>
                  </a:cubicBezTo>
                  <a:cubicBezTo>
                    <a:pt x="2715768" y="1883404"/>
                    <a:pt x="2698265" y="1865903"/>
                    <a:pt x="2698265" y="1844316"/>
                  </a:cubicBezTo>
                  <a:cubicBezTo>
                    <a:pt x="2698265" y="1822729"/>
                    <a:pt x="2715768" y="1805229"/>
                    <a:pt x="2737358" y="1805229"/>
                  </a:cubicBezTo>
                  <a:close/>
                  <a:moveTo>
                    <a:pt x="2645073" y="1805229"/>
                  </a:moveTo>
                  <a:cubicBezTo>
                    <a:pt x="2666661" y="1805229"/>
                    <a:pt x="2684163" y="1822729"/>
                    <a:pt x="2684163" y="1844316"/>
                  </a:cubicBezTo>
                  <a:cubicBezTo>
                    <a:pt x="2684163" y="1865903"/>
                    <a:pt x="2666661" y="1883404"/>
                    <a:pt x="2645073" y="1883404"/>
                  </a:cubicBezTo>
                  <a:cubicBezTo>
                    <a:pt x="2623487" y="1883404"/>
                    <a:pt x="2605987" y="1865903"/>
                    <a:pt x="2605987" y="1844316"/>
                  </a:cubicBezTo>
                  <a:cubicBezTo>
                    <a:pt x="2605987" y="1822729"/>
                    <a:pt x="2623487" y="1805229"/>
                    <a:pt x="2645073" y="1805229"/>
                  </a:cubicBezTo>
                  <a:close/>
                  <a:moveTo>
                    <a:pt x="2550436" y="1805229"/>
                  </a:moveTo>
                  <a:cubicBezTo>
                    <a:pt x="2572023" y="1805229"/>
                    <a:pt x="2589522" y="1822729"/>
                    <a:pt x="2589522" y="1844316"/>
                  </a:cubicBezTo>
                  <a:cubicBezTo>
                    <a:pt x="2589522" y="1865903"/>
                    <a:pt x="2572023" y="1883404"/>
                    <a:pt x="2550436" y="1883404"/>
                  </a:cubicBezTo>
                  <a:cubicBezTo>
                    <a:pt x="2528849" y="1883404"/>
                    <a:pt x="2511352" y="1865903"/>
                    <a:pt x="2511352" y="1844316"/>
                  </a:cubicBezTo>
                  <a:cubicBezTo>
                    <a:pt x="2511352" y="1822729"/>
                    <a:pt x="2528849" y="1805229"/>
                    <a:pt x="2550436" y="1805229"/>
                  </a:cubicBezTo>
                  <a:close/>
                  <a:moveTo>
                    <a:pt x="2363525" y="1805229"/>
                  </a:moveTo>
                  <a:cubicBezTo>
                    <a:pt x="2385114" y="1805229"/>
                    <a:pt x="2402611" y="1822729"/>
                    <a:pt x="2402611" y="1844316"/>
                  </a:cubicBezTo>
                  <a:cubicBezTo>
                    <a:pt x="2402611" y="1865903"/>
                    <a:pt x="2385114" y="1883404"/>
                    <a:pt x="2363525" y="1883404"/>
                  </a:cubicBezTo>
                  <a:cubicBezTo>
                    <a:pt x="2341941" y="1883404"/>
                    <a:pt x="2324438" y="1865903"/>
                    <a:pt x="2324438" y="1844316"/>
                  </a:cubicBezTo>
                  <a:cubicBezTo>
                    <a:pt x="2324438" y="1822729"/>
                    <a:pt x="2341941" y="1805229"/>
                    <a:pt x="2363525" y="1805229"/>
                  </a:cubicBezTo>
                  <a:close/>
                  <a:moveTo>
                    <a:pt x="3771293" y="1805229"/>
                  </a:moveTo>
                  <a:cubicBezTo>
                    <a:pt x="3792880" y="1805229"/>
                    <a:pt x="3810379" y="1822728"/>
                    <a:pt x="3810379" y="1844316"/>
                  </a:cubicBezTo>
                  <a:cubicBezTo>
                    <a:pt x="3810379" y="1865903"/>
                    <a:pt x="3792880" y="1883403"/>
                    <a:pt x="3771293" y="1883403"/>
                  </a:cubicBezTo>
                  <a:cubicBezTo>
                    <a:pt x="3749705" y="1883403"/>
                    <a:pt x="3732205" y="1865903"/>
                    <a:pt x="3732205" y="1844316"/>
                  </a:cubicBezTo>
                  <a:cubicBezTo>
                    <a:pt x="3732205" y="1822728"/>
                    <a:pt x="3749705" y="1805229"/>
                    <a:pt x="3771293" y="1805229"/>
                  </a:cubicBezTo>
                  <a:close/>
                  <a:moveTo>
                    <a:pt x="3584377" y="1805229"/>
                  </a:moveTo>
                  <a:cubicBezTo>
                    <a:pt x="3605964" y="1805229"/>
                    <a:pt x="3623463" y="1822728"/>
                    <a:pt x="3623463" y="1844316"/>
                  </a:cubicBezTo>
                  <a:cubicBezTo>
                    <a:pt x="3623463" y="1865903"/>
                    <a:pt x="3605964" y="1883403"/>
                    <a:pt x="3584377" y="1883403"/>
                  </a:cubicBezTo>
                  <a:cubicBezTo>
                    <a:pt x="3562789" y="1883403"/>
                    <a:pt x="3545289" y="1865903"/>
                    <a:pt x="3545289" y="1844316"/>
                  </a:cubicBezTo>
                  <a:cubicBezTo>
                    <a:pt x="3545289" y="1822728"/>
                    <a:pt x="3562789" y="1805229"/>
                    <a:pt x="3584377" y="1805229"/>
                  </a:cubicBezTo>
                  <a:close/>
                  <a:moveTo>
                    <a:pt x="3489737" y="1805229"/>
                  </a:moveTo>
                  <a:cubicBezTo>
                    <a:pt x="3511324" y="1805229"/>
                    <a:pt x="3528823" y="1822728"/>
                    <a:pt x="3528823" y="1844316"/>
                  </a:cubicBezTo>
                  <a:cubicBezTo>
                    <a:pt x="3528823" y="1865903"/>
                    <a:pt x="3511324" y="1883403"/>
                    <a:pt x="3489737" y="1883403"/>
                  </a:cubicBezTo>
                  <a:cubicBezTo>
                    <a:pt x="3468149" y="1883403"/>
                    <a:pt x="3450649" y="1865903"/>
                    <a:pt x="3450649" y="1844316"/>
                  </a:cubicBezTo>
                  <a:cubicBezTo>
                    <a:pt x="3450649" y="1822728"/>
                    <a:pt x="3468149" y="1805229"/>
                    <a:pt x="3489737" y="1805229"/>
                  </a:cubicBezTo>
                  <a:close/>
                  <a:moveTo>
                    <a:pt x="3392731" y="1805229"/>
                  </a:moveTo>
                  <a:cubicBezTo>
                    <a:pt x="3414319" y="1805229"/>
                    <a:pt x="3431819" y="1822728"/>
                    <a:pt x="3431819" y="1844316"/>
                  </a:cubicBezTo>
                  <a:cubicBezTo>
                    <a:pt x="3431819" y="1865903"/>
                    <a:pt x="3414319" y="1883403"/>
                    <a:pt x="3392731" y="1883403"/>
                  </a:cubicBezTo>
                  <a:cubicBezTo>
                    <a:pt x="3371144" y="1883403"/>
                    <a:pt x="3353644" y="1865903"/>
                    <a:pt x="3353644" y="1844316"/>
                  </a:cubicBezTo>
                  <a:cubicBezTo>
                    <a:pt x="3353644" y="1822728"/>
                    <a:pt x="3371144" y="1805229"/>
                    <a:pt x="3392731" y="1805229"/>
                  </a:cubicBezTo>
                  <a:close/>
                  <a:moveTo>
                    <a:pt x="3205817" y="1805229"/>
                  </a:moveTo>
                  <a:cubicBezTo>
                    <a:pt x="3227404" y="1805229"/>
                    <a:pt x="3244904" y="1822728"/>
                    <a:pt x="3244904" y="1844316"/>
                  </a:cubicBezTo>
                  <a:cubicBezTo>
                    <a:pt x="3244904" y="1865903"/>
                    <a:pt x="3227404" y="1883403"/>
                    <a:pt x="3205817" y="1883403"/>
                  </a:cubicBezTo>
                  <a:cubicBezTo>
                    <a:pt x="3184229" y="1883403"/>
                    <a:pt x="3166729" y="1865903"/>
                    <a:pt x="3166729" y="1844316"/>
                  </a:cubicBezTo>
                  <a:cubicBezTo>
                    <a:pt x="3166729" y="1822728"/>
                    <a:pt x="3184229" y="1805229"/>
                    <a:pt x="3205817" y="1805229"/>
                  </a:cubicBezTo>
                  <a:close/>
                  <a:moveTo>
                    <a:pt x="2924263" y="1805229"/>
                  </a:moveTo>
                  <a:cubicBezTo>
                    <a:pt x="2945850" y="1805229"/>
                    <a:pt x="2963349" y="1822728"/>
                    <a:pt x="2963349" y="1844316"/>
                  </a:cubicBezTo>
                  <a:cubicBezTo>
                    <a:pt x="2963349" y="1865903"/>
                    <a:pt x="2945850" y="1883403"/>
                    <a:pt x="2924263" y="1883403"/>
                  </a:cubicBezTo>
                  <a:cubicBezTo>
                    <a:pt x="2902675" y="1883403"/>
                    <a:pt x="2885175" y="1865903"/>
                    <a:pt x="2885175" y="1844316"/>
                  </a:cubicBezTo>
                  <a:cubicBezTo>
                    <a:pt x="2885175" y="1822728"/>
                    <a:pt x="2902675" y="1805229"/>
                    <a:pt x="2924263" y="1805229"/>
                  </a:cubicBezTo>
                  <a:close/>
                  <a:moveTo>
                    <a:pt x="2458164" y="1805229"/>
                  </a:moveTo>
                  <a:cubicBezTo>
                    <a:pt x="2479753" y="1805229"/>
                    <a:pt x="2497252" y="1822728"/>
                    <a:pt x="2497252" y="1844316"/>
                  </a:cubicBezTo>
                  <a:cubicBezTo>
                    <a:pt x="2497252" y="1865903"/>
                    <a:pt x="2479753" y="1883403"/>
                    <a:pt x="2458164" y="1883403"/>
                  </a:cubicBezTo>
                  <a:cubicBezTo>
                    <a:pt x="2436582" y="1883403"/>
                    <a:pt x="2419079" y="1865903"/>
                    <a:pt x="2419079" y="1844316"/>
                  </a:cubicBezTo>
                  <a:cubicBezTo>
                    <a:pt x="2419079" y="1822728"/>
                    <a:pt x="2436582" y="1805229"/>
                    <a:pt x="2458164" y="1805229"/>
                  </a:cubicBezTo>
                  <a:close/>
                  <a:moveTo>
                    <a:pt x="2266523" y="1805229"/>
                  </a:moveTo>
                  <a:cubicBezTo>
                    <a:pt x="2288108" y="1805229"/>
                    <a:pt x="2305609" y="1822728"/>
                    <a:pt x="2305609" y="1844316"/>
                  </a:cubicBezTo>
                  <a:cubicBezTo>
                    <a:pt x="2305609" y="1865903"/>
                    <a:pt x="2288108" y="1883403"/>
                    <a:pt x="2266523" y="1883403"/>
                  </a:cubicBezTo>
                  <a:cubicBezTo>
                    <a:pt x="2244931" y="1883403"/>
                    <a:pt x="2227433" y="1865903"/>
                    <a:pt x="2227433" y="1844316"/>
                  </a:cubicBezTo>
                  <a:cubicBezTo>
                    <a:pt x="2227433" y="1822728"/>
                    <a:pt x="2244931" y="1805229"/>
                    <a:pt x="2266523" y="1805229"/>
                  </a:cubicBezTo>
                  <a:close/>
                  <a:moveTo>
                    <a:pt x="577230" y="1805229"/>
                  </a:moveTo>
                  <a:cubicBezTo>
                    <a:pt x="598820" y="1805229"/>
                    <a:pt x="616322" y="1822728"/>
                    <a:pt x="616322" y="1844316"/>
                  </a:cubicBezTo>
                  <a:cubicBezTo>
                    <a:pt x="616322" y="1865903"/>
                    <a:pt x="598820" y="1883403"/>
                    <a:pt x="577230" y="1883403"/>
                  </a:cubicBezTo>
                  <a:cubicBezTo>
                    <a:pt x="555640" y="1883403"/>
                    <a:pt x="538137" y="1865903"/>
                    <a:pt x="538137" y="1844316"/>
                  </a:cubicBezTo>
                  <a:cubicBezTo>
                    <a:pt x="538137" y="1822728"/>
                    <a:pt x="555640" y="1805229"/>
                    <a:pt x="577230" y="1805229"/>
                  </a:cubicBezTo>
                  <a:close/>
                  <a:moveTo>
                    <a:pt x="484947" y="1805229"/>
                  </a:moveTo>
                  <a:cubicBezTo>
                    <a:pt x="506537" y="1805229"/>
                    <a:pt x="524035" y="1822728"/>
                    <a:pt x="524035" y="1844316"/>
                  </a:cubicBezTo>
                  <a:cubicBezTo>
                    <a:pt x="524035" y="1865903"/>
                    <a:pt x="506537" y="1883403"/>
                    <a:pt x="484947" y="1883403"/>
                  </a:cubicBezTo>
                  <a:cubicBezTo>
                    <a:pt x="463357" y="1883403"/>
                    <a:pt x="445867" y="1865903"/>
                    <a:pt x="445867" y="1844316"/>
                  </a:cubicBezTo>
                  <a:cubicBezTo>
                    <a:pt x="445867" y="1822728"/>
                    <a:pt x="463357" y="1805229"/>
                    <a:pt x="484947" y="1805229"/>
                  </a:cubicBezTo>
                  <a:close/>
                  <a:moveTo>
                    <a:pt x="390307" y="1805229"/>
                  </a:moveTo>
                  <a:cubicBezTo>
                    <a:pt x="411895" y="1805229"/>
                    <a:pt x="429399" y="1822728"/>
                    <a:pt x="429399" y="1844316"/>
                  </a:cubicBezTo>
                  <a:cubicBezTo>
                    <a:pt x="429399" y="1865903"/>
                    <a:pt x="411895" y="1883403"/>
                    <a:pt x="390307" y="1883403"/>
                  </a:cubicBezTo>
                  <a:cubicBezTo>
                    <a:pt x="368727" y="1883403"/>
                    <a:pt x="351227" y="1865903"/>
                    <a:pt x="351227" y="1844316"/>
                  </a:cubicBezTo>
                  <a:cubicBezTo>
                    <a:pt x="351227" y="1822728"/>
                    <a:pt x="368727" y="1805229"/>
                    <a:pt x="390307" y="1805229"/>
                  </a:cubicBezTo>
                  <a:close/>
                  <a:moveTo>
                    <a:pt x="3858672" y="1720694"/>
                  </a:moveTo>
                  <a:lnTo>
                    <a:pt x="3862373" y="1793978"/>
                  </a:lnTo>
                  <a:lnTo>
                    <a:pt x="3862353" y="1794377"/>
                  </a:lnTo>
                  <a:lnTo>
                    <a:pt x="3838294" y="1784412"/>
                  </a:lnTo>
                  <a:cubicBezTo>
                    <a:pt x="3831220" y="1777339"/>
                    <a:pt x="3826845" y="1767568"/>
                    <a:pt x="3826845" y="1756774"/>
                  </a:cubicBezTo>
                  <a:cubicBezTo>
                    <a:pt x="3826845" y="1745980"/>
                    <a:pt x="3831220" y="1736208"/>
                    <a:pt x="3838294" y="1729135"/>
                  </a:cubicBezTo>
                  <a:close/>
                  <a:moveTo>
                    <a:pt x="3771293" y="1717686"/>
                  </a:moveTo>
                  <a:cubicBezTo>
                    <a:pt x="3792880" y="1717686"/>
                    <a:pt x="3810379" y="1735186"/>
                    <a:pt x="3810379" y="1756774"/>
                  </a:cubicBezTo>
                  <a:cubicBezTo>
                    <a:pt x="3810379" y="1778361"/>
                    <a:pt x="3792880" y="1795860"/>
                    <a:pt x="3771293" y="1795860"/>
                  </a:cubicBezTo>
                  <a:cubicBezTo>
                    <a:pt x="3749705" y="1795860"/>
                    <a:pt x="3732205" y="1778361"/>
                    <a:pt x="3732205" y="1756774"/>
                  </a:cubicBezTo>
                  <a:cubicBezTo>
                    <a:pt x="3732205" y="1735186"/>
                    <a:pt x="3749705" y="1717686"/>
                    <a:pt x="3771293" y="1717686"/>
                  </a:cubicBezTo>
                  <a:close/>
                  <a:moveTo>
                    <a:pt x="3679017" y="1717686"/>
                  </a:moveTo>
                  <a:cubicBezTo>
                    <a:pt x="3700604" y="1717686"/>
                    <a:pt x="3718103" y="1735186"/>
                    <a:pt x="3718103" y="1756774"/>
                  </a:cubicBezTo>
                  <a:cubicBezTo>
                    <a:pt x="3718103" y="1778361"/>
                    <a:pt x="3700604" y="1795860"/>
                    <a:pt x="3679017" y="1795860"/>
                  </a:cubicBezTo>
                  <a:cubicBezTo>
                    <a:pt x="3657429" y="1795860"/>
                    <a:pt x="3639929" y="1778361"/>
                    <a:pt x="3639929" y="1756774"/>
                  </a:cubicBezTo>
                  <a:cubicBezTo>
                    <a:pt x="3639929" y="1735186"/>
                    <a:pt x="3657429" y="1717686"/>
                    <a:pt x="3679017" y="1717686"/>
                  </a:cubicBezTo>
                  <a:close/>
                  <a:moveTo>
                    <a:pt x="3584377" y="1717686"/>
                  </a:moveTo>
                  <a:cubicBezTo>
                    <a:pt x="3605964" y="1717686"/>
                    <a:pt x="3623463" y="1735186"/>
                    <a:pt x="3623463" y="1756774"/>
                  </a:cubicBezTo>
                  <a:cubicBezTo>
                    <a:pt x="3623463" y="1778361"/>
                    <a:pt x="3605964" y="1795860"/>
                    <a:pt x="3584377" y="1795860"/>
                  </a:cubicBezTo>
                  <a:cubicBezTo>
                    <a:pt x="3562789" y="1795860"/>
                    <a:pt x="3545289" y="1778361"/>
                    <a:pt x="3545289" y="1756774"/>
                  </a:cubicBezTo>
                  <a:cubicBezTo>
                    <a:pt x="3545289" y="1735186"/>
                    <a:pt x="3562789" y="1717686"/>
                    <a:pt x="3584377" y="1717686"/>
                  </a:cubicBezTo>
                  <a:close/>
                  <a:moveTo>
                    <a:pt x="3489737" y="1717686"/>
                  </a:moveTo>
                  <a:cubicBezTo>
                    <a:pt x="3511324" y="1717686"/>
                    <a:pt x="3528823" y="1735186"/>
                    <a:pt x="3528823" y="1756774"/>
                  </a:cubicBezTo>
                  <a:cubicBezTo>
                    <a:pt x="3528823" y="1778361"/>
                    <a:pt x="3511324" y="1795860"/>
                    <a:pt x="3489737" y="1795860"/>
                  </a:cubicBezTo>
                  <a:cubicBezTo>
                    <a:pt x="3468149" y="1795860"/>
                    <a:pt x="3450649" y="1778361"/>
                    <a:pt x="3450649" y="1756774"/>
                  </a:cubicBezTo>
                  <a:cubicBezTo>
                    <a:pt x="3450649" y="1735186"/>
                    <a:pt x="3468149" y="1717686"/>
                    <a:pt x="3489737" y="1717686"/>
                  </a:cubicBezTo>
                  <a:close/>
                  <a:moveTo>
                    <a:pt x="3392731" y="1717686"/>
                  </a:moveTo>
                  <a:cubicBezTo>
                    <a:pt x="3414319" y="1717686"/>
                    <a:pt x="3431819" y="1735186"/>
                    <a:pt x="3431819" y="1756774"/>
                  </a:cubicBezTo>
                  <a:cubicBezTo>
                    <a:pt x="3431819" y="1778361"/>
                    <a:pt x="3414319" y="1795860"/>
                    <a:pt x="3392731" y="1795860"/>
                  </a:cubicBezTo>
                  <a:cubicBezTo>
                    <a:pt x="3371144" y="1795860"/>
                    <a:pt x="3353644" y="1778361"/>
                    <a:pt x="3353644" y="1756774"/>
                  </a:cubicBezTo>
                  <a:cubicBezTo>
                    <a:pt x="3353644" y="1735186"/>
                    <a:pt x="3371144" y="1717686"/>
                    <a:pt x="3392731" y="1717686"/>
                  </a:cubicBezTo>
                  <a:close/>
                  <a:moveTo>
                    <a:pt x="3300457" y="1717686"/>
                  </a:moveTo>
                  <a:cubicBezTo>
                    <a:pt x="3322044" y="1717686"/>
                    <a:pt x="3339544" y="1735186"/>
                    <a:pt x="3339544" y="1756774"/>
                  </a:cubicBezTo>
                  <a:cubicBezTo>
                    <a:pt x="3339544" y="1778361"/>
                    <a:pt x="3322044" y="1795860"/>
                    <a:pt x="3300457" y="1795860"/>
                  </a:cubicBezTo>
                  <a:cubicBezTo>
                    <a:pt x="3278869" y="1795860"/>
                    <a:pt x="3261369" y="1778361"/>
                    <a:pt x="3261369" y="1756774"/>
                  </a:cubicBezTo>
                  <a:cubicBezTo>
                    <a:pt x="3261369" y="1735186"/>
                    <a:pt x="3278869" y="1717686"/>
                    <a:pt x="3300457" y="1717686"/>
                  </a:cubicBezTo>
                  <a:close/>
                  <a:moveTo>
                    <a:pt x="3205817" y="1717686"/>
                  </a:moveTo>
                  <a:cubicBezTo>
                    <a:pt x="3227404" y="1717686"/>
                    <a:pt x="3244904" y="1735186"/>
                    <a:pt x="3244904" y="1756774"/>
                  </a:cubicBezTo>
                  <a:cubicBezTo>
                    <a:pt x="3244904" y="1778361"/>
                    <a:pt x="3227404" y="1795860"/>
                    <a:pt x="3205817" y="1795860"/>
                  </a:cubicBezTo>
                  <a:cubicBezTo>
                    <a:pt x="3184229" y="1795860"/>
                    <a:pt x="3166729" y="1778361"/>
                    <a:pt x="3166729" y="1756774"/>
                  </a:cubicBezTo>
                  <a:cubicBezTo>
                    <a:pt x="3166729" y="1735186"/>
                    <a:pt x="3184229" y="1717686"/>
                    <a:pt x="3205817" y="1717686"/>
                  </a:cubicBezTo>
                  <a:close/>
                  <a:moveTo>
                    <a:pt x="3111175" y="1717686"/>
                  </a:moveTo>
                  <a:cubicBezTo>
                    <a:pt x="3132763" y="1717686"/>
                    <a:pt x="3150263" y="1735186"/>
                    <a:pt x="3150263" y="1756774"/>
                  </a:cubicBezTo>
                  <a:cubicBezTo>
                    <a:pt x="3150263" y="1778361"/>
                    <a:pt x="3132763" y="1795860"/>
                    <a:pt x="3111175" y="1795860"/>
                  </a:cubicBezTo>
                  <a:cubicBezTo>
                    <a:pt x="3089588" y="1795860"/>
                    <a:pt x="3072088" y="1778361"/>
                    <a:pt x="3072088" y="1756774"/>
                  </a:cubicBezTo>
                  <a:cubicBezTo>
                    <a:pt x="3072088" y="1735186"/>
                    <a:pt x="3089588" y="1717686"/>
                    <a:pt x="3111175" y="1717686"/>
                  </a:cubicBezTo>
                  <a:close/>
                  <a:moveTo>
                    <a:pt x="3018902" y="1717686"/>
                  </a:moveTo>
                  <a:cubicBezTo>
                    <a:pt x="3040489" y="1717686"/>
                    <a:pt x="3057989" y="1735186"/>
                    <a:pt x="3057989" y="1756774"/>
                  </a:cubicBezTo>
                  <a:cubicBezTo>
                    <a:pt x="3057989" y="1778361"/>
                    <a:pt x="3040489" y="1795860"/>
                    <a:pt x="3018902" y="1795860"/>
                  </a:cubicBezTo>
                  <a:cubicBezTo>
                    <a:pt x="2997315" y="1795860"/>
                    <a:pt x="2979815" y="1778361"/>
                    <a:pt x="2979815" y="1756774"/>
                  </a:cubicBezTo>
                  <a:cubicBezTo>
                    <a:pt x="2979815" y="1735186"/>
                    <a:pt x="2997315" y="1717686"/>
                    <a:pt x="3018902" y="1717686"/>
                  </a:cubicBezTo>
                  <a:close/>
                  <a:moveTo>
                    <a:pt x="2924263" y="1717686"/>
                  </a:moveTo>
                  <a:cubicBezTo>
                    <a:pt x="2945850" y="1717686"/>
                    <a:pt x="2963349" y="1735186"/>
                    <a:pt x="2963349" y="1756774"/>
                  </a:cubicBezTo>
                  <a:cubicBezTo>
                    <a:pt x="2963349" y="1778361"/>
                    <a:pt x="2945850" y="1795860"/>
                    <a:pt x="2924263" y="1795860"/>
                  </a:cubicBezTo>
                  <a:cubicBezTo>
                    <a:pt x="2902675" y="1795860"/>
                    <a:pt x="2885175" y="1778361"/>
                    <a:pt x="2885175" y="1756774"/>
                  </a:cubicBezTo>
                  <a:cubicBezTo>
                    <a:pt x="2885175" y="1735186"/>
                    <a:pt x="2902675" y="1717686"/>
                    <a:pt x="2924263" y="1717686"/>
                  </a:cubicBezTo>
                  <a:close/>
                  <a:moveTo>
                    <a:pt x="2831988" y="1717686"/>
                  </a:moveTo>
                  <a:cubicBezTo>
                    <a:pt x="2853575" y="1717686"/>
                    <a:pt x="2871075" y="1735186"/>
                    <a:pt x="2871075" y="1756774"/>
                  </a:cubicBezTo>
                  <a:cubicBezTo>
                    <a:pt x="2871075" y="1778361"/>
                    <a:pt x="2853575" y="1795860"/>
                    <a:pt x="2831988" y="1795860"/>
                  </a:cubicBezTo>
                  <a:cubicBezTo>
                    <a:pt x="2810401" y="1795860"/>
                    <a:pt x="2792901" y="1778361"/>
                    <a:pt x="2792901" y="1756774"/>
                  </a:cubicBezTo>
                  <a:cubicBezTo>
                    <a:pt x="2792901" y="1735186"/>
                    <a:pt x="2810401" y="1717686"/>
                    <a:pt x="2831988" y="1717686"/>
                  </a:cubicBezTo>
                  <a:close/>
                  <a:moveTo>
                    <a:pt x="2737359" y="1717686"/>
                  </a:moveTo>
                  <a:cubicBezTo>
                    <a:pt x="2758934" y="1717686"/>
                    <a:pt x="2776434" y="1735186"/>
                    <a:pt x="2776434" y="1756774"/>
                  </a:cubicBezTo>
                  <a:cubicBezTo>
                    <a:pt x="2776434" y="1778361"/>
                    <a:pt x="2758934" y="1795860"/>
                    <a:pt x="2737359" y="1795860"/>
                  </a:cubicBezTo>
                  <a:cubicBezTo>
                    <a:pt x="2715768" y="1795860"/>
                    <a:pt x="2698265" y="1778361"/>
                    <a:pt x="2698265" y="1756774"/>
                  </a:cubicBezTo>
                  <a:cubicBezTo>
                    <a:pt x="2698265" y="1735186"/>
                    <a:pt x="2715768" y="1717686"/>
                    <a:pt x="2737359" y="1717686"/>
                  </a:cubicBezTo>
                  <a:close/>
                  <a:moveTo>
                    <a:pt x="2645073" y="1717686"/>
                  </a:moveTo>
                  <a:cubicBezTo>
                    <a:pt x="2666662" y="1717686"/>
                    <a:pt x="2684164" y="1735186"/>
                    <a:pt x="2684164" y="1756774"/>
                  </a:cubicBezTo>
                  <a:cubicBezTo>
                    <a:pt x="2684164" y="1778361"/>
                    <a:pt x="2666662" y="1795860"/>
                    <a:pt x="2645073" y="1795860"/>
                  </a:cubicBezTo>
                  <a:cubicBezTo>
                    <a:pt x="2623487" y="1795860"/>
                    <a:pt x="2605987" y="1778361"/>
                    <a:pt x="2605987" y="1756774"/>
                  </a:cubicBezTo>
                  <a:cubicBezTo>
                    <a:pt x="2605987" y="1735186"/>
                    <a:pt x="2623487" y="1717686"/>
                    <a:pt x="2645073" y="1717686"/>
                  </a:cubicBezTo>
                  <a:close/>
                  <a:moveTo>
                    <a:pt x="2550436" y="1717686"/>
                  </a:moveTo>
                  <a:cubicBezTo>
                    <a:pt x="2572023" y="1717686"/>
                    <a:pt x="2589522" y="1735186"/>
                    <a:pt x="2589522" y="1756774"/>
                  </a:cubicBezTo>
                  <a:cubicBezTo>
                    <a:pt x="2589522" y="1778361"/>
                    <a:pt x="2572023" y="1795860"/>
                    <a:pt x="2550436" y="1795860"/>
                  </a:cubicBezTo>
                  <a:cubicBezTo>
                    <a:pt x="2528849" y="1795860"/>
                    <a:pt x="2511353" y="1778361"/>
                    <a:pt x="2511353" y="1756774"/>
                  </a:cubicBezTo>
                  <a:cubicBezTo>
                    <a:pt x="2511353" y="1735186"/>
                    <a:pt x="2528849" y="1717686"/>
                    <a:pt x="2550436" y="1717686"/>
                  </a:cubicBezTo>
                  <a:close/>
                  <a:moveTo>
                    <a:pt x="2458164" y="1717686"/>
                  </a:moveTo>
                  <a:cubicBezTo>
                    <a:pt x="2479753" y="1717686"/>
                    <a:pt x="2497252" y="1735186"/>
                    <a:pt x="2497252" y="1756774"/>
                  </a:cubicBezTo>
                  <a:cubicBezTo>
                    <a:pt x="2497252" y="1778361"/>
                    <a:pt x="2479753" y="1795860"/>
                    <a:pt x="2458164" y="1795860"/>
                  </a:cubicBezTo>
                  <a:cubicBezTo>
                    <a:pt x="2436583" y="1795860"/>
                    <a:pt x="2419080" y="1778361"/>
                    <a:pt x="2419080" y="1756774"/>
                  </a:cubicBezTo>
                  <a:cubicBezTo>
                    <a:pt x="2419080" y="1735186"/>
                    <a:pt x="2436583" y="1717686"/>
                    <a:pt x="2458164" y="1717686"/>
                  </a:cubicBezTo>
                  <a:close/>
                  <a:moveTo>
                    <a:pt x="2363525" y="1717686"/>
                  </a:moveTo>
                  <a:cubicBezTo>
                    <a:pt x="2385114" y="1717686"/>
                    <a:pt x="2402611" y="1735186"/>
                    <a:pt x="2402611" y="1756774"/>
                  </a:cubicBezTo>
                  <a:cubicBezTo>
                    <a:pt x="2402611" y="1778361"/>
                    <a:pt x="2385114" y="1795860"/>
                    <a:pt x="2363525" y="1795860"/>
                  </a:cubicBezTo>
                  <a:cubicBezTo>
                    <a:pt x="2341941" y="1795860"/>
                    <a:pt x="2324438" y="1778361"/>
                    <a:pt x="2324438" y="1756774"/>
                  </a:cubicBezTo>
                  <a:cubicBezTo>
                    <a:pt x="2324438" y="1735186"/>
                    <a:pt x="2341941" y="1717686"/>
                    <a:pt x="2363525" y="1717686"/>
                  </a:cubicBezTo>
                  <a:close/>
                  <a:moveTo>
                    <a:pt x="951054" y="1717686"/>
                  </a:moveTo>
                  <a:cubicBezTo>
                    <a:pt x="972639" y="1717686"/>
                    <a:pt x="990138" y="1735186"/>
                    <a:pt x="990138" y="1756774"/>
                  </a:cubicBezTo>
                  <a:cubicBezTo>
                    <a:pt x="990138" y="1778361"/>
                    <a:pt x="972639" y="1795860"/>
                    <a:pt x="951054" y="1795860"/>
                  </a:cubicBezTo>
                  <a:cubicBezTo>
                    <a:pt x="929469" y="1795860"/>
                    <a:pt x="911970" y="1778361"/>
                    <a:pt x="911970" y="1756774"/>
                  </a:cubicBezTo>
                  <a:cubicBezTo>
                    <a:pt x="911970" y="1735186"/>
                    <a:pt x="929469" y="1717686"/>
                    <a:pt x="951054" y="1717686"/>
                  </a:cubicBezTo>
                  <a:close/>
                  <a:moveTo>
                    <a:pt x="577233" y="1717686"/>
                  </a:moveTo>
                  <a:cubicBezTo>
                    <a:pt x="598824" y="1717686"/>
                    <a:pt x="616327" y="1735186"/>
                    <a:pt x="616327" y="1756774"/>
                  </a:cubicBezTo>
                  <a:cubicBezTo>
                    <a:pt x="616327" y="1778361"/>
                    <a:pt x="598824" y="1795860"/>
                    <a:pt x="577233" y="1795860"/>
                  </a:cubicBezTo>
                  <a:cubicBezTo>
                    <a:pt x="555643" y="1795860"/>
                    <a:pt x="538140" y="1778361"/>
                    <a:pt x="538140" y="1756774"/>
                  </a:cubicBezTo>
                  <a:cubicBezTo>
                    <a:pt x="538140" y="1735186"/>
                    <a:pt x="555643" y="1717686"/>
                    <a:pt x="577233" y="1717686"/>
                  </a:cubicBezTo>
                  <a:close/>
                  <a:moveTo>
                    <a:pt x="484950" y="1717686"/>
                  </a:moveTo>
                  <a:cubicBezTo>
                    <a:pt x="506539" y="1717686"/>
                    <a:pt x="524038" y="1735186"/>
                    <a:pt x="524038" y="1756774"/>
                  </a:cubicBezTo>
                  <a:cubicBezTo>
                    <a:pt x="524038" y="1778361"/>
                    <a:pt x="506539" y="1795860"/>
                    <a:pt x="484950" y="1795860"/>
                  </a:cubicBezTo>
                  <a:cubicBezTo>
                    <a:pt x="463359" y="1795860"/>
                    <a:pt x="445871" y="1778361"/>
                    <a:pt x="445871" y="1756774"/>
                  </a:cubicBezTo>
                  <a:cubicBezTo>
                    <a:pt x="445871" y="1735186"/>
                    <a:pt x="463359" y="1717686"/>
                    <a:pt x="484950" y="1717686"/>
                  </a:cubicBezTo>
                  <a:close/>
                  <a:moveTo>
                    <a:pt x="390308" y="1717686"/>
                  </a:moveTo>
                  <a:cubicBezTo>
                    <a:pt x="411895" y="1717686"/>
                    <a:pt x="429402" y="1735186"/>
                    <a:pt x="429402" y="1756774"/>
                  </a:cubicBezTo>
                  <a:cubicBezTo>
                    <a:pt x="429402" y="1778361"/>
                    <a:pt x="411895" y="1795860"/>
                    <a:pt x="390308" y="1795860"/>
                  </a:cubicBezTo>
                  <a:cubicBezTo>
                    <a:pt x="368730" y="1795860"/>
                    <a:pt x="351231" y="1778361"/>
                    <a:pt x="351231" y="1756774"/>
                  </a:cubicBezTo>
                  <a:cubicBezTo>
                    <a:pt x="351231" y="1735186"/>
                    <a:pt x="368730" y="1717686"/>
                    <a:pt x="390308" y="1717686"/>
                  </a:cubicBezTo>
                  <a:close/>
                  <a:moveTo>
                    <a:pt x="298037" y="1717686"/>
                  </a:moveTo>
                  <a:cubicBezTo>
                    <a:pt x="319621" y="1717686"/>
                    <a:pt x="337130" y="1735186"/>
                    <a:pt x="337130" y="1756774"/>
                  </a:cubicBezTo>
                  <a:cubicBezTo>
                    <a:pt x="337130" y="1778361"/>
                    <a:pt x="319621" y="1795860"/>
                    <a:pt x="298037" y="1795860"/>
                  </a:cubicBezTo>
                  <a:cubicBezTo>
                    <a:pt x="276449" y="1795860"/>
                    <a:pt x="258948" y="1778361"/>
                    <a:pt x="258948" y="1756774"/>
                  </a:cubicBezTo>
                  <a:cubicBezTo>
                    <a:pt x="258948" y="1735186"/>
                    <a:pt x="276449" y="1717686"/>
                    <a:pt x="298037" y="1717686"/>
                  </a:cubicBezTo>
                  <a:close/>
                  <a:moveTo>
                    <a:pt x="3854460" y="1637264"/>
                  </a:moveTo>
                  <a:lnTo>
                    <a:pt x="3858001" y="1707402"/>
                  </a:lnTo>
                  <a:lnTo>
                    <a:pt x="3838292" y="1699238"/>
                  </a:lnTo>
                  <a:cubicBezTo>
                    <a:pt x="3831219" y="1692165"/>
                    <a:pt x="3826844" y="1682393"/>
                    <a:pt x="3826844" y="1671599"/>
                  </a:cubicBezTo>
                  <a:cubicBezTo>
                    <a:pt x="3826844" y="1660806"/>
                    <a:pt x="3831219" y="1651034"/>
                    <a:pt x="3838292" y="1643961"/>
                  </a:cubicBezTo>
                  <a:close/>
                  <a:moveTo>
                    <a:pt x="3771291" y="1632512"/>
                  </a:moveTo>
                  <a:cubicBezTo>
                    <a:pt x="3792879" y="1632512"/>
                    <a:pt x="3810379" y="1650012"/>
                    <a:pt x="3810379" y="1671599"/>
                  </a:cubicBezTo>
                  <a:cubicBezTo>
                    <a:pt x="3810379" y="1693187"/>
                    <a:pt x="3792879" y="1710687"/>
                    <a:pt x="3771291" y="1710687"/>
                  </a:cubicBezTo>
                  <a:cubicBezTo>
                    <a:pt x="3749704" y="1710687"/>
                    <a:pt x="3732204" y="1693187"/>
                    <a:pt x="3732204" y="1671599"/>
                  </a:cubicBezTo>
                  <a:cubicBezTo>
                    <a:pt x="3732204" y="1650012"/>
                    <a:pt x="3749704" y="1632512"/>
                    <a:pt x="3771291" y="1632512"/>
                  </a:cubicBezTo>
                  <a:close/>
                  <a:moveTo>
                    <a:pt x="3584377" y="1632512"/>
                  </a:moveTo>
                  <a:cubicBezTo>
                    <a:pt x="3605964" y="1632512"/>
                    <a:pt x="3623463" y="1650012"/>
                    <a:pt x="3623463" y="1671599"/>
                  </a:cubicBezTo>
                  <a:cubicBezTo>
                    <a:pt x="3623463" y="1693187"/>
                    <a:pt x="3605964" y="1710687"/>
                    <a:pt x="3584377" y="1710687"/>
                  </a:cubicBezTo>
                  <a:cubicBezTo>
                    <a:pt x="3562789" y="1710687"/>
                    <a:pt x="3545289" y="1693187"/>
                    <a:pt x="3545289" y="1671599"/>
                  </a:cubicBezTo>
                  <a:cubicBezTo>
                    <a:pt x="3545289" y="1650012"/>
                    <a:pt x="3562789" y="1632512"/>
                    <a:pt x="3584377" y="1632512"/>
                  </a:cubicBezTo>
                  <a:close/>
                  <a:moveTo>
                    <a:pt x="3489737" y="1632512"/>
                  </a:moveTo>
                  <a:cubicBezTo>
                    <a:pt x="3511324" y="1632512"/>
                    <a:pt x="3528823" y="1650012"/>
                    <a:pt x="3528823" y="1671599"/>
                  </a:cubicBezTo>
                  <a:cubicBezTo>
                    <a:pt x="3528823" y="1693187"/>
                    <a:pt x="3511324" y="1710687"/>
                    <a:pt x="3489737" y="1710687"/>
                  </a:cubicBezTo>
                  <a:cubicBezTo>
                    <a:pt x="3468149" y="1710687"/>
                    <a:pt x="3450649" y="1693187"/>
                    <a:pt x="3450649" y="1671599"/>
                  </a:cubicBezTo>
                  <a:cubicBezTo>
                    <a:pt x="3450649" y="1650012"/>
                    <a:pt x="3468149" y="1632512"/>
                    <a:pt x="3489737" y="1632512"/>
                  </a:cubicBezTo>
                  <a:close/>
                  <a:moveTo>
                    <a:pt x="3392731" y="1632512"/>
                  </a:moveTo>
                  <a:cubicBezTo>
                    <a:pt x="3414319" y="1632512"/>
                    <a:pt x="3431819" y="1650012"/>
                    <a:pt x="3431819" y="1671599"/>
                  </a:cubicBezTo>
                  <a:cubicBezTo>
                    <a:pt x="3431819" y="1693187"/>
                    <a:pt x="3414319" y="1710687"/>
                    <a:pt x="3392731" y="1710687"/>
                  </a:cubicBezTo>
                  <a:cubicBezTo>
                    <a:pt x="3371144" y="1710687"/>
                    <a:pt x="3353644" y="1693187"/>
                    <a:pt x="3353644" y="1671599"/>
                  </a:cubicBezTo>
                  <a:cubicBezTo>
                    <a:pt x="3353644" y="1650012"/>
                    <a:pt x="3371144" y="1632512"/>
                    <a:pt x="3392731" y="1632512"/>
                  </a:cubicBezTo>
                  <a:close/>
                  <a:moveTo>
                    <a:pt x="2924263" y="1632512"/>
                  </a:moveTo>
                  <a:cubicBezTo>
                    <a:pt x="2945850" y="1632512"/>
                    <a:pt x="2963349" y="1650012"/>
                    <a:pt x="2963349" y="1671599"/>
                  </a:cubicBezTo>
                  <a:cubicBezTo>
                    <a:pt x="2963349" y="1693187"/>
                    <a:pt x="2945850" y="1710687"/>
                    <a:pt x="2924263" y="1710687"/>
                  </a:cubicBezTo>
                  <a:cubicBezTo>
                    <a:pt x="2902675" y="1710687"/>
                    <a:pt x="2885175" y="1693187"/>
                    <a:pt x="2885175" y="1671599"/>
                  </a:cubicBezTo>
                  <a:cubicBezTo>
                    <a:pt x="2885175" y="1650012"/>
                    <a:pt x="2902675" y="1632512"/>
                    <a:pt x="2924263" y="1632512"/>
                  </a:cubicBezTo>
                  <a:close/>
                  <a:moveTo>
                    <a:pt x="2458164" y="1632512"/>
                  </a:moveTo>
                  <a:cubicBezTo>
                    <a:pt x="2479753" y="1632512"/>
                    <a:pt x="2497252" y="1650012"/>
                    <a:pt x="2497252" y="1671599"/>
                  </a:cubicBezTo>
                  <a:cubicBezTo>
                    <a:pt x="2497252" y="1693187"/>
                    <a:pt x="2479753" y="1710687"/>
                    <a:pt x="2458164" y="1710687"/>
                  </a:cubicBezTo>
                  <a:cubicBezTo>
                    <a:pt x="2436583" y="1710687"/>
                    <a:pt x="2419080" y="1693187"/>
                    <a:pt x="2419080" y="1671599"/>
                  </a:cubicBezTo>
                  <a:cubicBezTo>
                    <a:pt x="2419080" y="1650012"/>
                    <a:pt x="2436583" y="1632512"/>
                    <a:pt x="2458164" y="1632512"/>
                  </a:cubicBezTo>
                  <a:close/>
                  <a:moveTo>
                    <a:pt x="951057" y="1632512"/>
                  </a:moveTo>
                  <a:cubicBezTo>
                    <a:pt x="972642" y="1632512"/>
                    <a:pt x="990141" y="1650012"/>
                    <a:pt x="990141" y="1671599"/>
                  </a:cubicBezTo>
                  <a:cubicBezTo>
                    <a:pt x="990141" y="1693187"/>
                    <a:pt x="972642" y="1710687"/>
                    <a:pt x="951057" y="1710687"/>
                  </a:cubicBezTo>
                  <a:cubicBezTo>
                    <a:pt x="929472" y="1710687"/>
                    <a:pt x="911973" y="1693187"/>
                    <a:pt x="911973" y="1671599"/>
                  </a:cubicBezTo>
                  <a:cubicBezTo>
                    <a:pt x="911973" y="1650012"/>
                    <a:pt x="929472" y="1632512"/>
                    <a:pt x="951057" y="1632512"/>
                  </a:cubicBezTo>
                  <a:close/>
                  <a:moveTo>
                    <a:pt x="856425" y="1632512"/>
                  </a:moveTo>
                  <a:cubicBezTo>
                    <a:pt x="878010" y="1632512"/>
                    <a:pt x="895509" y="1650012"/>
                    <a:pt x="895509" y="1671599"/>
                  </a:cubicBezTo>
                  <a:cubicBezTo>
                    <a:pt x="895509" y="1693187"/>
                    <a:pt x="878010" y="1710687"/>
                    <a:pt x="856425" y="1710687"/>
                  </a:cubicBezTo>
                  <a:cubicBezTo>
                    <a:pt x="834839" y="1710687"/>
                    <a:pt x="817341" y="1693187"/>
                    <a:pt x="817341" y="1671599"/>
                  </a:cubicBezTo>
                  <a:cubicBezTo>
                    <a:pt x="817341" y="1650012"/>
                    <a:pt x="834839" y="1632512"/>
                    <a:pt x="856425" y="1632512"/>
                  </a:cubicBezTo>
                  <a:close/>
                  <a:moveTo>
                    <a:pt x="669521" y="1632512"/>
                  </a:moveTo>
                  <a:cubicBezTo>
                    <a:pt x="691111" y="1632512"/>
                    <a:pt x="708609" y="1650012"/>
                    <a:pt x="708609" y="1671599"/>
                  </a:cubicBezTo>
                  <a:cubicBezTo>
                    <a:pt x="708609" y="1693187"/>
                    <a:pt x="691111" y="1710687"/>
                    <a:pt x="669521" y="1710687"/>
                  </a:cubicBezTo>
                  <a:cubicBezTo>
                    <a:pt x="647936" y="1710687"/>
                    <a:pt x="630433" y="1693187"/>
                    <a:pt x="630433" y="1671599"/>
                  </a:cubicBezTo>
                  <a:cubicBezTo>
                    <a:pt x="630433" y="1650012"/>
                    <a:pt x="647936" y="1632512"/>
                    <a:pt x="669521" y="1632512"/>
                  </a:cubicBezTo>
                  <a:close/>
                  <a:moveTo>
                    <a:pt x="577237" y="1632512"/>
                  </a:moveTo>
                  <a:cubicBezTo>
                    <a:pt x="598829" y="1632512"/>
                    <a:pt x="616330" y="1650012"/>
                    <a:pt x="616330" y="1671599"/>
                  </a:cubicBezTo>
                  <a:cubicBezTo>
                    <a:pt x="616330" y="1693187"/>
                    <a:pt x="598829" y="1710687"/>
                    <a:pt x="577237" y="1710687"/>
                  </a:cubicBezTo>
                  <a:cubicBezTo>
                    <a:pt x="555647" y="1710687"/>
                    <a:pt x="538144" y="1693187"/>
                    <a:pt x="538144" y="1671599"/>
                  </a:cubicBezTo>
                  <a:cubicBezTo>
                    <a:pt x="538144" y="1650012"/>
                    <a:pt x="555647" y="1632512"/>
                    <a:pt x="577237" y="1632512"/>
                  </a:cubicBezTo>
                  <a:close/>
                  <a:moveTo>
                    <a:pt x="484957" y="1632512"/>
                  </a:moveTo>
                  <a:cubicBezTo>
                    <a:pt x="506543" y="1632512"/>
                    <a:pt x="524042" y="1650012"/>
                    <a:pt x="524042" y="1671599"/>
                  </a:cubicBezTo>
                  <a:cubicBezTo>
                    <a:pt x="524042" y="1693187"/>
                    <a:pt x="506543" y="1710687"/>
                    <a:pt x="484957" y="1710687"/>
                  </a:cubicBezTo>
                  <a:cubicBezTo>
                    <a:pt x="463364" y="1710687"/>
                    <a:pt x="445875" y="1693187"/>
                    <a:pt x="445875" y="1671599"/>
                  </a:cubicBezTo>
                  <a:cubicBezTo>
                    <a:pt x="445875" y="1650012"/>
                    <a:pt x="463364" y="1632512"/>
                    <a:pt x="484957" y="1632512"/>
                  </a:cubicBezTo>
                  <a:close/>
                  <a:moveTo>
                    <a:pt x="390314" y="1632512"/>
                  </a:moveTo>
                  <a:cubicBezTo>
                    <a:pt x="411907" y="1632512"/>
                    <a:pt x="429406" y="1650012"/>
                    <a:pt x="429406" y="1671599"/>
                  </a:cubicBezTo>
                  <a:cubicBezTo>
                    <a:pt x="429406" y="1693187"/>
                    <a:pt x="411907" y="1710687"/>
                    <a:pt x="390314" y="1710687"/>
                  </a:cubicBezTo>
                  <a:cubicBezTo>
                    <a:pt x="368735" y="1710687"/>
                    <a:pt x="351235" y="1693187"/>
                    <a:pt x="351235" y="1671599"/>
                  </a:cubicBezTo>
                  <a:cubicBezTo>
                    <a:pt x="351235" y="1650012"/>
                    <a:pt x="368735" y="1632512"/>
                    <a:pt x="390314" y="1632512"/>
                  </a:cubicBezTo>
                  <a:close/>
                  <a:moveTo>
                    <a:pt x="298040" y="1632512"/>
                  </a:moveTo>
                  <a:cubicBezTo>
                    <a:pt x="319624" y="1632512"/>
                    <a:pt x="337133" y="1650012"/>
                    <a:pt x="337133" y="1671599"/>
                  </a:cubicBezTo>
                  <a:cubicBezTo>
                    <a:pt x="337133" y="1693187"/>
                    <a:pt x="319624" y="1710687"/>
                    <a:pt x="298040" y="1710687"/>
                  </a:cubicBezTo>
                  <a:cubicBezTo>
                    <a:pt x="276452" y="1710687"/>
                    <a:pt x="258951" y="1693187"/>
                    <a:pt x="258951" y="1671599"/>
                  </a:cubicBezTo>
                  <a:cubicBezTo>
                    <a:pt x="258951" y="1650012"/>
                    <a:pt x="276452" y="1632512"/>
                    <a:pt x="298040" y="1632512"/>
                  </a:cubicBezTo>
                  <a:close/>
                  <a:moveTo>
                    <a:pt x="3679017" y="1632512"/>
                  </a:moveTo>
                  <a:cubicBezTo>
                    <a:pt x="3700604" y="1632512"/>
                    <a:pt x="3718103" y="1650011"/>
                    <a:pt x="3718103" y="1671598"/>
                  </a:cubicBezTo>
                  <a:cubicBezTo>
                    <a:pt x="3718103" y="1693186"/>
                    <a:pt x="3700604" y="1710685"/>
                    <a:pt x="3679017" y="1710685"/>
                  </a:cubicBezTo>
                  <a:cubicBezTo>
                    <a:pt x="3657429" y="1710685"/>
                    <a:pt x="3639929" y="1693186"/>
                    <a:pt x="3639929" y="1671598"/>
                  </a:cubicBezTo>
                  <a:cubicBezTo>
                    <a:pt x="3639929" y="1650011"/>
                    <a:pt x="3657429" y="1632512"/>
                    <a:pt x="3679017" y="1632512"/>
                  </a:cubicBezTo>
                  <a:close/>
                  <a:moveTo>
                    <a:pt x="3300455" y="1632512"/>
                  </a:moveTo>
                  <a:cubicBezTo>
                    <a:pt x="3322043" y="1632512"/>
                    <a:pt x="3339543" y="1650011"/>
                    <a:pt x="3339543" y="1671598"/>
                  </a:cubicBezTo>
                  <a:cubicBezTo>
                    <a:pt x="3339543" y="1693186"/>
                    <a:pt x="3322043" y="1710685"/>
                    <a:pt x="3300455" y="1710685"/>
                  </a:cubicBezTo>
                  <a:cubicBezTo>
                    <a:pt x="3278868" y="1710685"/>
                    <a:pt x="3261368" y="1693186"/>
                    <a:pt x="3261368" y="1671598"/>
                  </a:cubicBezTo>
                  <a:cubicBezTo>
                    <a:pt x="3261368" y="1650011"/>
                    <a:pt x="3278868" y="1632512"/>
                    <a:pt x="3300455" y="1632512"/>
                  </a:cubicBezTo>
                  <a:close/>
                  <a:moveTo>
                    <a:pt x="3111175" y="1632512"/>
                  </a:moveTo>
                  <a:cubicBezTo>
                    <a:pt x="3132763" y="1632512"/>
                    <a:pt x="3150263" y="1650011"/>
                    <a:pt x="3150263" y="1671598"/>
                  </a:cubicBezTo>
                  <a:cubicBezTo>
                    <a:pt x="3150263" y="1693186"/>
                    <a:pt x="3132763" y="1710685"/>
                    <a:pt x="3111175" y="1710685"/>
                  </a:cubicBezTo>
                  <a:cubicBezTo>
                    <a:pt x="3089588" y="1710685"/>
                    <a:pt x="3072088" y="1693186"/>
                    <a:pt x="3072088" y="1671598"/>
                  </a:cubicBezTo>
                  <a:cubicBezTo>
                    <a:pt x="3072088" y="1650011"/>
                    <a:pt x="3089588" y="1632512"/>
                    <a:pt x="3111175" y="1632512"/>
                  </a:cubicBezTo>
                  <a:close/>
                  <a:moveTo>
                    <a:pt x="3018902" y="1632512"/>
                  </a:moveTo>
                  <a:cubicBezTo>
                    <a:pt x="3040489" y="1632512"/>
                    <a:pt x="3057989" y="1650011"/>
                    <a:pt x="3057989" y="1671598"/>
                  </a:cubicBezTo>
                  <a:cubicBezTo>
                    <a:pt x="3057989" y="1693186"/>
                    <a:pt x="3040489" y="1710685"/>
                    <a:pt x="3018902" y="1710685"/>
                  </a:cubicBezTo>
                  <a:cubicBezTo>
                    <a:pt x="2997315" y="1710685"/>
                    <a:pt x="2979815" y="1693186"/>
                    <a:pt x="2979815" y="1671598"/>
                  </a:cubicBezTo>
                  <a:cubicBezTo>
                    <a:pt x="2979815" y="1650011"/>
                    <a:pt x="2997315" y="1632512"/>
                    <a:pt x="3018902" y="1632512"/>
                  </a:cubicBezTo>
                  <a:close/>
                  <a:moveTo>
                    <a:pt x="2831987" y="1632512"/>
                  </a:moveTo>
                  <a:cubicBezTo>
                    <a:pt x="2853574" y="1632512"/>
                    <a:pt x="2871074" y="1650011"/>
                    <a:pt x="2871074" y="1671598"/>
                  </a:cubicBezTo>
                  <a:cubicBezTo>
                    <a:pt x="2871074" y="1693186"/>
                    <a:pt x="2853574" y="1710685"/>
                    <a:pt x="2831987" y="1710685"/>
                  </a:cubicBezTo>
                  <a:cubicBezTo>
                    <a:pt x="2810400" y="1710685"/>
                    <a:pt x="2792900" y="1693186"/>
                    <a:pt x="2792900" y="1671598"/>
                  </a:cubicBezTo>
                  <a:cubicBezTo>
                    <a:pt x="2792900" y="1650011"/>
                    <a:pt x="2810400" y="1632512"/>
                    <a:pt x="2831987" y="1632512"/>
                  </a:cubicBezTo>
                  <a:close/>
                  <a:moveTo>
                    <a:pt x="2737359" y="1632512"/>
                  </a:moveTo>
                  <a:cubicBezTo>
                    <a:pt x="2758934" y="1632512"/>
                    <a:pt x="2776434" y="1650011"/>
                    <a:pt x="2776434" y="1671598"/>
                  </a:cubicBezTo>
                  <a:cubicBezTo>
                    <a:pt x="2776434" y="1693186"/>
                    <a:pt x="2758934" y="1710685"/>
                    <a:pt x="2737359" y="1710685"/>
                  </a:cubicBezTo>
                  <a:cubicBezTo>
                    <a:pt x="2715769" y="1710685"/>
                    <a:pt x="2698267" y="1693186"/>
                    <a:pt x="2698267" y="1671598"/>
                  </a:cubicBezTo>
                  <a:cubicBezTo>
                    <a:pt x="2698267" y="1650011"/>
                    <a:pt x="2715769" y="1632512"/>
                    <a:pt x="2737359" y="1632512"/>
                  </a:cubicBezTo>
                  <a:close/>
                  <a:moveTo>
                    <a:pt x="2645073" y="1632512"/>
                  </a:moveTo>
                  <a:cubicBezTo>
                    <a:pt x="2666662" y="1632512"/>
                    <a:pt x="2684164" y="1650011"/>
                    <a:pt x="2684164" y="1671598"/>
                  </a:cubicBezTo>
                  <a:cubicBezTo>
                    <a:pt x="2684164" y="1693186"/>
                    <a:pt x="2666662" y="1710685"/>
                    <a:pt x="2645073" y="1710685"/>
                  </a:cubicBezTo>
                  <a:cubicBezTo>
                    <a:pt x="2623487" y="1710685"/>
                    <a:pt x="2605987" y="1693186"/>
                    <a:pt x="2605987" y="1671598"/>
                  </a:cubicBezTo>
                  <a:cubicBezTo>
                    <a:pt x="2605987" y="1650011"/>
                    <a:pt x="2623487" y="1632512"/>
                    <a:pt x="2645073" y="1632512"/>
                  </a:cubicBezTo>
                  <a:close/>
                  <a:moveTo>
                    <a:pt x="2550437" y="1632512"/>
                  </a:moveTo>
                  <a:cubicBezTo>
                    <a:pt x="2572023" y="1632512"/>
                    <a:pt x="2589522" y="1650011"/>
                    <a:pt x="2589522" y="1671598"/>
                  </a:cubicBezTo>
                  <a:cubicBezTo>
                    <a:pt x="2589522" y="1693186"/>
                    <a:pt x="2572023" y="1710685"/>
                    <a:pt x="2550437" y="1710685"/>
                  </a:cubicBezTo>
                  <a:cubicBezTo>
                    <a:pt x="2528849" y="1710685"/>
                    <a:pt x="2511353" y="1693186"/>
                    <a:pt x="2511353" y="1671598"/>
                  </a:cubicBezTo>
                  <a:cubicBezTo>
                    <a:pt x="2511353" y="1650011"/>
                    <a:pt x="2528849" y="1632512"/>
                    <a:pt x="2550437" y="1632512"/>
                  </a:cubicBezTo>
                  <a:close/>
                  <a:moveTo>
                    <a:pt x="2363525" y="1632512"/>
                  </a:moveTo>
                  <a:cubicBezTo>
                    <a:pt x="2385115" y="1632512"/>
                    <a:pt x="2402612" y="1650011"/>
                    <a:pt x="2402612" y="1671598"/>
                  </a:cubicBezTo>
                  <a:cubicBezTo>
                    <a:pt x="2402612" y="1693186"/>
                    <a:pt x="2385115" y="1710685"/>
                    <a:pt x="2363525" y="1710685"/>
                  </a:cubicBezTo>
                  <a:cubicBezTo>
                    <a:pt x="2341941" y="1710685"/>
                    <a:pt x="2324438" y="1693186"/>
                    <a:pt x="2324438" y="1671598"/>
                  </a:cubicBezTo>
                  <a:cubicBezTo>
                    <a:pt x="2324438" y="1650011"/>
                    <a:pt x="2341941" y="1632512"/>
                    <a:pt x="2363525" y="1632512"/>
                  </a:cubicBezTo>
                  <a:close/>
                  <a:moveTo>
                    <a:pt x="764159" y="1632512"/>
                  </a:moveTo>
                  <a:cubicBezTo>
                    <a:pt x="785745" y="1632512"/>
                    <a:pt x="803243" y="1650011"/>
                    <a:pt x="803243" y="1671598"/>
                  </a:cubicBezTo>
                  <a:cubicBezTo>
                    <a:pt x="803243" y="1693186"/>
                    <a:pt x="785745" y="1710685"/>
                    <a:pt x="764159" y="1710685"/>
                  </a:cubicBezTo>
                  <a:cubicBezTo>
                    <a:pt x="742570" y="1710685"/>
                    <a:pt x="725074" y="1693186"/>
                    <a:pt x="725074" y="1671598"/>
                  </a:cubicBezTo>
                  <a:cubicBezTo>
                    <a:pt x="725074" y="1650011"/>
                    <a:pt x="742570" y="1632512"/>
                    <a:pt x="764159" y="1632512"/>
                  </a:cubicBezTo>
                  <a:close/>
                  <a:moveTo>
                    <a:pt x="3846758" y="1555277"/>
                  </a:moveTo>
                  <a:lnTo>
                    <a:pt x="3852080" y="1590149"/>
                  </a:lnTo>
                  <a:lnTo>
                    <a:pt x="3853608" y="1620406"/>
                  </a:lnTo>
                  <a:lnTo>
                    <a:pt x="3838292" y="1614061"/>
                  </a:lnTo>
                  <a:cubicBezTo>
                    <a:pt x="3831219" y="1606988"/>
                    <a:pt x="3826844" y="1597216"/>
                    <a:pt x="3826844" y="1586423"/>
                  </a:cubicBezTo>
                  <a:cubicBezTo>
                    <a:pt x="3826844" y="1575629"/>
                    <a:pt x="3831219" y="1565857"/>
                    <a:pt x="3838292" y="1558784"/>
                  </a:cubicBezTo>
                  <a:close/>
                  <a:moveTo>
                    <a:pt x="3771291" y="1547335"/>
                  </a:moveTo>
                  <a:cubicBezTo>
                    <a:pt x="3792879" y="1547335"/>
                    <a:pt x="3810379" y="1564835"/>
                    <a:pt x="3810379" y="1586423"/>
                  </a:cubicBezTo>
                  <a:cubicBezTo>
                    <a:pt x="3810379" y="1608009"/>
                    <a:pt x="3792879" y="1625510"/>
                    <a:pt x="3771291" y="1625510"/>
                  </a:cubicBezTo>
                  <a:cubicBezTo>
                    <a:pt x="3749704" y="1625510"/>
                    <a:pt x="3732204" y="1608009"/>
                    <a:pt x="3732204" y="1586423"/>
                  </a:cubicBezTo>
                  <a:cubicBezTo>
                    <a:pt x="3732204" y="1564835"/>
                    <a:pt x="3749704" y="1547335"/>
                    <a:pt x="3771291" y="1547335"/>
                  </a:cubicBezTo>
                  <a:close/>
                  <a:moveTo>
                    <a:pt x="3679017" y="1547335"/>
                  </a:moveTo>
                  <a:cubicBezTo>
                    <a:pt x="3700604" y="1547335"/>
                    <a:pt x="3718103" y="1564835"/>
                    <a:pt x="3718103" y="1586423"/>
                  </a:cubicBezTo>
                  <a:cubicBezTo>
                    <a:pt x="3718103" y="1608009"/>
                    <a:pt x="3700604" y="1625510"/>
                    <a:pt x="3679017" y="1625510"/>
                  </a:cubicBezTo>
                  <a:cubicBezTo>
                    <a:pt x="3657429" y="1625510"/>
                    <a:pt x="3639929" y="1608009"/>
                    <a:pt x="3639929" y="1586423"/>
                  </a:cubicBezTo>
                  <a:cubicBezTo>
                    <a:pt x="3639929" y="1564835"/>
                    <a:pt x="3657429" y="1547335"/>
                    <a:pt x="3679017" y="1547335"/>
                  </a:cubicBezTo>
                  <a:close/>
                  <a:moveTo>
                    <a:pt x="3584377" y="1547335"/>
                  </a:moveTo>
                  <a:cubicBezTo>
                    <a:pt x="3605964" y="1547335"/>
                    <a:pt x="3623463" y="1564835"/>
                    <a:pt x="3623463" y="1586423"/>
                  </a:cubicBezTo>
                  <a:cubicBezTo>
                    <a:pt x="3623463" y="1608009"/>
                    <a:pt x="3605964" y="1625510"/>
                    <a:pt x="3584377" y="1625510"/>
                  </a:cubicBezTo>
                  <a:cubicBezTo>
                    <a:pt x="3562789" y="1625510"/>
                    <a:pt x="3545289" y="1608009"/>
                    <a:pt x="3545289" y="1586423"/>
                  </a:cubicBezTo>
                  <a:cubicBezTo>
                    <a:pt x="3545289" y="1564835"/>
                    <a:pt x="3562789" y="1547335"/>
                    <a:pt x="3584377" y="1547335"/>
                  </a:cubicBezTo>
                  <a:close/>
                  <a:moveTo>
                    <a:pt x="3489737" y="1547335"/>
                  </a:moveTo>
                  <a:cubicBezTo>
                    <a:pt x="3511324" y="1547335"/>
                    <a:pt x="3528823" y="1564835"/>
                    <a:pt x="3528823" y="1586423"/>
                  </a:cubicBezTo>
                  <a:cubicBezTo>
                    <a:pt x="3528823" y="1608009"/>
                    <a:pt x="3511324" y="1625510"/>
                    <a:pt x="3489737" y="1625510"/>
                  </a:cubicBezTo>
                  <a:cubicBezTo>
                    <a:pt x="3468149" y="1625510"/>
                    <a:pt x="3450649" y="1608009"/>
                    <a:pt x="3450649" y="1586423"/>
                  </a:cubicBezTo>
                  <a:cubicBezTo>
                    <a:pt x="3450649" y="1564835"/>
                    <a:pt x="3468149" y="1547335"/>
                    <a:pt x="3489737" y="1547335"/>
                  </a:cubicBezTo>
                  <a:close/>
                  <a:moveTo>
                    <a:pt x="3392731" y="1547335"/>
                  </a:moveTo>
                  <a:cubicBezTo>
                    <a:pt x="3414319" y="1547335"/>
                    <a:pt x="3431819" y="1564835"/>
                    <a:pt x="3431819" y="1586423"/>
                  </a:cubicBezTo>
                  <a:cubicBezTo>
                    <a:pt x="3431819" y="1608009"/>
                    <a:pt x="3414319" y="1625510"/>
                    <a:pt x="3392731" y="1625510"/>
                  </a:cubicBezTo>
                  <a:cubicBezTo>
                    <a:pt x="3371144" y="1625510"/>
                    <a:pt x="3353644" y="1608009"/>
                    <a:pt x="3353644" y="1586423"/>
                  </a:cubicBezTo>
                  <a:cubicBezTo>
                    <a:pt x="3353644" y="1564835"/>
                    <a:pt x="3371144" y="1547335"/>
                    <a:pt x="3392731" y="1547335"/>
                  </a:cubicBezTo>
                  <a:close/>
                  <a:moveTo>
                    <a:pt x="3300455" y="1547335"/>
                  </a:moveTo>
                  <a:cubicBezTo>
                    <a:pt x="3322043" y="1547335"/>
                    <a:pt x="3339543" y="1564835"/>
                    <a:pt x="3339543" y="1586423"/>
                  </a:cubicBezTo>
                  <a:cubicBezTo>
                    <a:pt x="3339543" y="1608009"/>
                    <a:pt x="3322043" y="1625510"/>
                    <a:pt x="3300455" y="1625510"/>
                  </a:cubicBezTo>
                  <a:cubicBezTo>
                    <a:pt x="3278868" y="1625510"/>
                    <a:pt x="3261368" y="1608009"/>
                    <a:pt x="3261368" y="1586423"/>
                  </a:cubicBezTo>
                  <a:cubicBezTo>
                    <a:pt x="3261368" y="1564835"/>
                    <a:pt x="3278868" y="1547335"/>
                    <a:pt x="3300455" y="1547335"/>
                  </a:cubicBezTo>
                  <a:close/>
                  <a:moveTo>
                    <a:pt x="2737361" y="1547335"/>
                  </a:moveTo>
                  <a:cubicBezTo>
                    <a:pt x="2758934" y="1547335"/>
                    <a:pt x="2776434" y="1564835"/>
                    <a:pt x="2776434" y="1586423"/>
                  </a:cubicBezTo>
                  <a:cubicBezTo>
                    <a:pt x="2776434" y="1608009"/>
                    <a:pt x="2758934" y="1625510"/>
                    <a:pt x="2737361" y="1625510"/>
                  </a:cubicBezTo>
                  <a:cubicBezTo>
                    <a:pt x="2715769" y="1625510"/>
                    <a:pt x="2698267" y="1608009"/>
                    <a:pt x="2698267" y="1586423"/>
                  </a:cubicBezTo>
                  <a:cubicBezTo>
                    <a:pt x="2698267" y="1564835"/>
                    <a:pt x="2715769" y="1547335"/>
                    <a:pt x="2737361" y="1547335"/>
                  </a:cubicBezTo>
                  <a:close/>
                  <a:moveTo>
                    <a:pt x="2645073" y="1547335"/>
                  </a:moveTo>
                  <a:cubicBezTo>
                    <a:pt x="2666662" y="1547335"/>
                    <a:pt x="2684164" y="1564835"/>
                    <a:pt x="2684164" y="1586423"/>
                  </a:cubicBezTo>
                  <a:cubicBezTo>
                    <a:pt x="2684164" y="1608009"/>
                    <a:pt x="2666662" y="1625510"/>
                    <a:pt x="2645073" y="1625510"/>
                  </a:cubicBezTo>
                  <a:cubicBezTo>
                    <a:pt x="2623487" y="1625510"/>
                    <a:pt x="2605987" y="1608009"/>
                    <a:pt x="2605987" y="1586423"/>
                  </a:cubicBezTo>
                  <a:cubicBezTo>
                    <a:pt x="2605987" y="1564835"/>
                    <a:pt x="2623487" y="1547335"/>
                    <a:pt x="2645073" y="1547335"/>
                  </a:cubicBezTo>
                  <a:close/>
                  <a:moveTo>
                    <a:pt x="2550437" y="1547335"/>
                  </a:moveTo>
                  <a:cubicBezTo>
                    <a:pt x="2572023" y="1547335"/>
                    <a:pt x="2589523" y="1564835"/>
                    <a:pt x="2589523" y="1586423"/>
                  </a:cubicBezTo>
                  <a:cubicBezTo>
                    <a:pt x="2589523" y="1608009"/>
                    <a:pt x="2572023" y="1625510"/>
                    <a:pt x="2550437" y="1625510"/>
                  </a:cubicBezTo>
                  <a:cubicBezTo>
                    <a:pt x="2528849" y="1625510"/>
                    <a:pt x="2511353" y="1608009"/>
                    <a:pt x="2511353" y="1586423"/>
                  </a:cubicBezTo>
                  <a:cubicBezTo>
                    <a:pt x="2511353" y="1564835"/>
                    <a:pt x="2528849" y="1547335"/>
                    <a:pt x="2550437" y="1547335"/>
                  </a:cubicBezTo>
                  <a:close/>
                  <a:moveTo>
                    <a:pt x="2458164" y="1547335"/>
                  </a:moveTo>
                  <a:cubicBezTo>
                    <a:pt x="2479753" y="1547335"/>
                    <a:pt x="2497252" y="1564835"/>
                    <a:pt x="2497252" y="1586423"/>
                  </a:cubicBezTo>
                  <a:cubicBezTo>
                    <a:pt x="2497252" y="1608009"/>
                    <a:pt x="2479753" y="1625510"/>
                    <a:pt x="2458164" y="1625510"/>
                  </a:cubicBezTo>
                  <a:cubicBezTo>
                    <a:pt x="2436583" y="1625510"/>
                    <a:pt x="2419081" y="1608009"/>
                    <a:pt x="2419081" y="1586423"/>
                  </a:cubicBezTo>
                  <a:cubicBezTo>
                    <a:pt x="2419081" y="1564835"/>
                    <a:pt x="2436583" y="1547335"/>
                    <a:pt x="2458164" y="1547335"/>
                  </a:cubicBezTo>
                  <a:close/>
                  <a:moveTo>
                    <a:pt x="951061" y="1547335"/>
                  </a:moveTo>
                  <a:cubicBezTo>
                    <a:pt x="972645" y="1547335"/>
                    <a:pt x="990144" y="1564835"/>
                    <a:pt x="990144" y="1586423"/>
                  </a:cubicBezTo>
                  <a:cubicBezTo>
                    <a:pt x="990144" y="1608009"/>
                    <a:pt x="972645" y="1625510"/>
                    <a:pt x="951061" y="1625510"/>
                  </a:cubicBezTo>
                  <a:cubicBezTo>
                    <a:pt x="929475" y="1625510"/>
                    <a:pt x="911977" y="1608009"/>
                    <a:pt x="911977" y="1586423"/>
                  </a:cubicBezTo>
                  <a:cubicBezTo>
                    <a:pt x="911977" y="1564835"/>
                    <a:pt x="929475" y="1547335"/>
                    <a:pt x="951061" y="1547335"/>
                  </a:cubicBezTo>
                  <a:close/>
                  <a:moveTo>
                    <a:pt x="856428" y="1547335"/>
                  </a:moveTo>
                  <a:cubicBezTo>
                    <a:pt x="878014" y="1547335"/>
                    <a:pt x="895513" y="1564835"/>
                    <a:pt x="895513" y="1586423"/>
                  </a:cubicBezTo>
                  <a:cubicBezTo>
                    <a:pt x="895513" y="1608009"/>
                    <a:pt x="878014" y="1625510"/>
                    <a:pt x="856428" y="1625510"/>
                  </a:cubicBezTo>
                  <a:cubicBezTo>
                    <a:pt x="834844" y="1625510"/>
                    <a:pt x="817346" y="1608009"/>
                    <a:pt x="817346" y="1586423"/>
                  </a:cubicBezTo>
                  <a:cubicBezTo>
                    <a:pt x="817346" y="1564835"/>
                    <a:pt x="834844" y="1547335"/>
                    <a:pt x="856428" y="1547335"/>
                  </a:cubicBezTo>
                  <a:close/>
                  <a:moveTo>
                    <a:pt x="764163" y="1547335"/>
                  </a:moveTo>
                  <a:cubicBezTo>
                    <a:pt x="785749" y="1547335"/>
                    <a:pt x="803247" y="1564835"/>
                    <a:pt x="803247" y="1586423"/>
                  </a:cubicBezTo>
                  <a:cubicBezTo>
                    <a:pt x="803247" y="1608009"/>
                    <a:pt x="785749" y="1625510"/>
                    <a:pt x="764163" y="1625510"/>
                  </a:cubicBezTo>
                  <a:cubicBezTo>
                    <a:pt x="742573" y="1625510"/>
                    <a:pt x="725079" y="1608009"/>
                    <a:pt x="725079" y="1586423"/>
                  </a:cubicBezTo>
                  <a:cubicBezTo>
                    <a:pt x="725079" y="1564835"/>
                    <a:pt x="742573" y="1547335"/>
                    <a:pt x="764163" y="1547335"/>
                  </a:cubicBezTo>
                  <a:close/>
                  <a:moveTo>
                    <a:pt x="669521" y="1547335"/>
                  </a:moveTo>
                  <a:cubicBezTo>
                    <a:pt x="691116" y="1547335"/>
                    <a:pt x="708613" y="1564835"/>
                    <a:pt x="708613" y="1586423"/>
                  </a:cubicBezTo>
                  <a:cubicBezTo>
                    <a:pt x="708613" y="1608009"/>
                    <a:pt x="691116" y="1625510"/>
                    <a:pt x="669521" y="1625510"/>
                  </a:cubicBezTo>
                  <a:cubicBezTo>
                    <a:pt x="647940" y="1625510"/>
                    <a:pt x="630438" y="1608009"/>
                    <a:pt x="630438" y="1586423"/>
                  </a:cubicBezTo>
                  <a:cubicBezTo>
                    <a:pt x="630438" y="1564835"/>
                    <a:pt x="647940" y="1547335"/>
                    <a:pt x="669521" y="1547335"/>
                  </a:cubicBezTo>
                  <a:close/>
                  <a:moveTo>
                    <a:pt x="577241" y="1547335"/>
                  </a:moveTo>
                  <a:cubicBezTo>
                    <a:pt x="598832" y="1547335"/>
                    <a:pt x="616335" y="1564835"/>
                    <a:pt x="616335" y="1586423"/>
                  </a:cubicBezTo>
                  <a:cubicBezTo>
                    <a:pt x="616335" y="1608009"/>
                    <a:pt x="598832" y="1625510"/>
                    <a:pt x="577241" y="1625510"/>
                  </a:cubicBezTo>
                  <a:cubicBezTo>
                    <a:pt x="555651" y="1625510"/>
                    <a:pt x="538147" y="1608009"/>
                    <a:pt x="538147" y="1586423"/>
                  </a:cubicBezTo>
                  <a:cubicBezTo>
                    <a:pt x="538147" y="1564835"/>
                    <a:pt x="555651" y="1547335"/>
                    <a:pt x="577241" y="1547335"/>
                  </a:cubicBezTo>
                  <a:close/>
                  <a:moveTo>
                    <a:pt x="484957" y="1547335"/>
                  </a:moveTo>
                  <a:cubicBezTo>
                    <a:pt x="506545" y="1547335"/>
                    <a:pt x="524045" y="1564835"/>
                    <a:pt x="524045" y="1586423"/>
                  </a:cubicBezTo>
                  <a:cubicBezTo>
                    <a:pt x="524045" y="1608009"/>
                    <a:pt x="506545" y="1625510"/>
                    <a:pt x="484957" y="1625510"/>
                  </a:cubicBezTo>
                  <a:cubicBezTo>
                    <a:pt x="463365" y="1625510"/>
                    <a:pt x="445879" y="1608009"/>
                    <a:pt x="445879" y="1586423"/>
                  </a:cubicBezTo>
                  <a:cubicBezTo>
                    <a:pt x="445879" y="1564835"/>
                    <a:pt x="463365" y="1547335"/>
                    <a:pt x="484957" y="1547335"/>
                  </a:cubicBezTo>
                  <a:close/>
                  <a:moveTo>
                    <a:pt x="390314" y="1547335"/>
                  </a:moveTo>
                  <a:cubicBezTo>
                    <a:pt x="411908" y="1547335"/>
                    <a:pt x="429410" y="1564835"/>
                    <a:pt x="429410" y="1586423"/>
                  </a:cubicBezTo>
                  <a:cubicBezTo>
                    <a:pt x="429410" y="1608009"/>
                    <a:pt x="411908" y="1625510"/>
                    <a:pt x="390314" y="1625510"/>
                  </a:cubicBezTo>
                  <a:cubicBezTo>
                    <a:pt x="368739" y="1625510"/>
                    <a:pt x="351238" y="1608009"/>
                    <a:pt x="351238" y="1586423"/>
                  </a:cubicBezTo>
                  <a:cubicBezTo>
                    <a:pt x="351238" y="1564835"/>
                    <a:pt x="368739" y="1547335"/>
                    <a:pt x="390314" y="1547335"/>
                  </a:cubicBezTo>
                  <a:close/>
                  <a:moveTo>
                    <a:pt x="298043" y="1547335"/>
                  </a:moveTo>
                  <a:cubicBezTo>
                    <a:pt x="319627" y="1547335"/>
                    <a:pt x="337137" y="1564835"/>
                    <a:pt x="337137" y="1586423"/>
                  </a:cubicBezTo>
                  <a:cubicBezTo>
                    <a:pt x="337137" y="1608009"/>
                    <a:pt x="319627" y="1625510"/>
                    <a:pt x="298043" y="1625510"/>
                  </a:cubicBezTo>
                  <a:cubicBezTo>
                    <a:pt x="276456" y="1625510"/>
                    <a:pt x="258954" y="1608009"/>
                    <a:pt x="258954" y="1586423"/>
                  </a:cubicBezTo>
                  <a:cubicBezTo>
                    <a:pt x="258954" y="1564835"/>
                    <a:pt x="276456" y="1547335"/>
                    <a:pt x="298043" y="1547335"/>
                  </a:cubicBezTo>
                  <a:close/>
                  <a:moveTo>
                    <a:pt x="203400" y="1547335"/>
                  </a:moveTo>
                  <a:cubicBezTo>
                    <a:pt x="224988" y="1547335"/>
                    <a:pt x="242489" y="1564835"/>
                    <a:pt x="242489" y="1586423"/>
                  </a:cubicBezTo>
                  <a:cubicBezTo>
                    <a:pt x="242489" y="1608009"/>
                    <a:pt x="224988" y="1625510"/>
                    <a:pt x="203400" y="1625510"/>
                  </a:cubicBezTo>
                  <a:cubicBezTo>
                    <a:pt x="181814" y="1625510"/>
                    <a:pt x="164314" y="1608009"/>
                    <a:pt x="164314" y="1586423"/>
                  </a:cubicBezTo>
                  <a:cubicBezTo>
                    <a:pt x="164314" y="1564835"/>
                    <a:pt x="181814" y="1547335"/>
                    <a:pt x="203400" y="1547335"/>
                  </a:cubicBezTo>
                  <a:close/>
                  <a:moveTo>
                    <a:pt x="3835635" y="1482393"/>
                  </a:moveTo>
                  <a:lnTo>
                    <a:pt x="3843416" y="1533374"/>
                  </a:lnTo>
                  <a:lnTo>
                    <a:pt x="3838294" y="1531252"/>
                  </a:lnTo>
                  <a:cubicBezTo>
                    <a:pt x="3831220" y="1524179"/>
                    <a:pt x="3826845" y="1514407"/>
                    <a:pt x="3826845" y="1503614"/>
                  </a:cubicBezTo>
                  <a:close/>
                  <a:moveTo>
                    <a:pt x="3771293" y="1464526"/>
                  </a:moveTo>
                  <a:cubicBezTo>
                    <a:pt x="3792880" y="1464526"/>
                    <a:pt x="3810379" y="1482026"/>
                    <a:pt x="3810379" y="1503614"/>
                  </a:cubicBezTo>
                  <a:cubicBezTo>
                    <a:pt x="3810379" y="1525201"/>
                    <a:pt x="3792880" y="1542701"/>
                    <a:pt x="3771293" y="1542701"/>
                  </a:cubicBezTo>
                  <a:cubicBezTo>
                    <a:pt x="3749705" y="1542701"/>
                    <a:pt x="3732205" y="1525201"/>
                    <a:pt x="3732205" y="1503614"/>
                  </a:cubicBezTo>
                  <a:cubicBezTo>
                    <a:pt x="3732205" y="1482026"/>
                    <a:pt x="3749705" y="1464526"/>
                    <a:pt x="3771293" y="1464526"/>
                  </a:cubicBezTo>
                  <a:close/>
                  <a:moveTo>
                    <a:pt x="3679018" y="1464526"/>
                  </a:moveTo>
                  <a:cubicBezTo>
                    <a:pt x="3700605" y="1464526"/>
                    <a:pt x="3718105" y="1482026"/>
                    <a:pt x="3718105" y="1503614"/>
                  </a:cubicBezTo>
                  <a:cubicBezTo>
                    <a:pt x="3718105" y="1525201"/>
                    <a:pt x="3700605" y="1542701"/>
                    <a:pt x="3679018" y="1542701"/>
                  </a:cubicBezTo>
                  <a:cubicBezTo>
                    <a:pt x="3657431" y="1542701"/>
                    <a:pt x="3639931" y="1525201"/>
                    <a:pt x="3639931" y="1503614"/>
                  </a:cubicBezTo>
                  <a:cubicBezTo>
                    <a:pt x="3639931" y="1482026"/>
                    <a:pt x="3657431" y="1464526"/>
                    <a:pt x="3679018" y="1464526"/>
                  </a:cubicBezTo>
                  <a:close/>
                  <a:moveTo>
                    <a:pt x="3489737" y="1464526"/>
                  </a:moveTo>
                  <a:cubicBezTo>
                    <a:pt x="3511324" y="1464526"/>
                    <a:pt x="3528823" y="1482026"/>
                    <a:pt x="3528823" y="1503614"/>
                  </a:cubicBezTo>
                  <a:cubicBezTo>
                    <a:pt x="3528823" y="1525201"/>
                    <a:pt x="3511324" y="1542701"/>
                    <a:pt x="3489737" y="1542701"/>
                  </a:cubicBezTo>
                  <a:cubicBezTo>
                    <a:pt x="3468149" y="1542701"/>
                    <a:pt x="3450649" y="1525201"/>
                    <a:pt x="3450649" y="1503614"/>
                  </a:cubicBezTo>
                  <a:cubicBezTo>
                    <a:pt x="3450649" y="1482026"/>
                    <a:pt x="3468149" y="1464526"/>
                    <a:pt x="3489737" y="1464526"/>
                  </a:cubicBezTo>
                  <a:close/>
                  <a:moveTo>
                    <a:pt x="3392731" y="1464526"/>
                  </a:moveTo>
                  <a:cubicBezTo>
                    <a:pt x="3414319" y="1464526"/>
                    <a:pt x="3431819" y="1482026"/>
                    <a:pt x="3431819" y="1503614"/>
                  </a:cubicBezTo>
                  <a:cubicBezTo>
                    <a:pt x="3431819" y="1525201"/>
                    <a:pt x="3414319" y="1542701"/>
                    <a:pt x="3392731" y="1542701"/>
                  </a:cubicBezTo>
                  <a:cubicBezTo>
                    <a:pt x="3371144" y="1542701"/>
                    <a:pt x="3353644" y="1525201"/>
                    <a:pt x="3353644" y="1503614"/>
                  </a:cubicBezTo>
                  <a:cubicBezTo>
                    <a:pt x="3353644" y="1482026"/>
                    <a:pt x="3371144" y="1464526"/>
                    <a:pt x="3392731" y="1464526"/>
                  </a:cubicBezTo>
                  <a:close/>
                  <a:moveTo>
                    <a:pt x="3300457" y="1464526"/>
                  </a:moveTo>
                  <a:cubicBezTo>
                    <a:pt x="3322044" y="1464526"/>
                    <a:pt x="3339544" y="1482026"/>
                    <a:pt x="3339544" y="1503614"/>
                  </a:cubicBezTo>
                  <a:cubicBezTo>
                    <a:pt x="3339544" y="1525201"/>
                    <a:pt x="3322044" y="1542701"/>
                    <a:pt x="3300457" y="1542701"/>
                  </a:cubicBezTo>
                  <a:cubicBezTo>
                    <a:pt x="3278869" y="1542701"/>
                    <a:pt x="3261369" y="1525201"/>
                    <a:pt x="3261369" y="1503614"/>
                  </a:cubicBezTo>
                  <a:cubicBezTo>
                    <a:pt x="3261369" y="1482026"/>
                    <a:pt x="3278869" y="1464526"/>
                    <a:pt x="3300457" y="1464526"/>
                  </a:cubicBezTo>
                  <a:close/>
                  <a:moveTo>
                    <a:pt x="3205817" y="1464526"/>
                  </a:moveTo>
                  <a:cubicBezTo>
                    <a:pt x="3227404" y="1464526"/>
                    <a:pt x="3244904" y="1482026"/>
                    <a:pt x="3244904" y="1503614"/>
                  </a:cubicBezTo>
                  <a:cubicBezTo>
                    <a:pt x="3244904" y="1525201"/>
                    <a:pt x="3227404" y="1542701"/>
                    <a:pt x="3205817" y="1542701"/>
                  </a:cubicBezTo>
                  <a:cubicBezTo>
                    <a:pt x="3184229" y="1542701"/>
                    <a:pt x="3166729" y="1525201"/>
                    <a:pt x="3166729" y="1503614"/>
                  </a:cubicBezTo>
                  <a:cubicBezTo>
                    <a:pt x="3166729" y="1482026"/>
                    <a:pt x="3184229" y="1464526"/>
                    <a:pt x="3205817" y="1464526"/>
                  </a:cubicBezTo>
                  <a:close/>
                  <a:moveTo>
                    <a:pt x="3111177" y="1464526"/>
                  </a:moveTo>
                  <a:cubicBezTo>
                    <a:pt x="3132764" y="1464526"/>
                    <a:pt x="3150264" y="1482026"/>
                    <a:pt x="3150264" y="1503614"/>
                  </a:cubicBezTo>
                  <a:cubicBezTo>
                    <a:pt x="3150264" y="1525201"/>
                    <a:pt x="3132764" y="1542701"/>
                    <a:pt x="3111177" y="1542701"/>
                  </a:cubicBezTo>
                  <a:cubicBezTo>
                    <a:pt x="3089589" y="1542701"/>
                    <a:pt x="3072089" y="1525201"/>
                    <a:pt x="3072089" y="1503614"/>
                  </a:cubicBezTo>
                  <a:cubicBezTo>
                    <a:pt x="3072089" y="1482026"/>
                    <a:pt x="3089589" y="1464526"/>
                    <a:pt x="3111177" y="1464526"/>
                  </a:cubicBezTo>
                  <a:close/>
                  <a:moveTo>
                    <a:pt x="3018902" y="1464526"/>
                  </a:moveTo>
                  <a:cubicBezTo>
                    <a:pt x="3040489" y="1464526"/>
                    <a:pt x="3057989" y="1482026"/>
                    <a:pt x="3057989" y="1503614"/>
                  </a:cubicBezTo>
                  <a:cubicBezTo>
                    <a:pt x="3057989" y="1525201"/>
                    <a:pt x="3040489" y="1542701"/>
                    <a:pt x="3018902" y="1542701"/>
                  </a:cubicBezTo>
                  <a:cubicBezTo>
                    <a:pt x="2997315" y="1542701"/>
                    <a:pt x="2979815" y="1525201"/>
                    <a:pt x="2979815" y="1503614"/>
                  </a:cubicBezTo>
                  <a:cubicBezTo>
                    <a:pt x="2979815" y="1482026"/>
                    <a:pt x="2997315" y="1464526"/>
                    <a:pt x="3018902" y="1464526"/>
                  </a:cubicBezTo>
                  <a:close/>
                  <a:moveTo>
                    <a:pt x="2831988" y="1464526"/>
                  </a:moveTo>
                  <a:cubicBezTo>
                    <a:pt x="2853575" y="1464526"/>
                    <a:pt x="2871075" y="1482026"/>
                    <a:pt x="2871075" y="1503614"/>
                  </a:cubicBezTo>
                  <a:cubicBezTo>
                    <a:pt x="2871075" y="1525201"/>
                    <a:pt x="2853575" y="1542701"/>
                    <a:pt x="2831988" y="1542701"/>
                  </a:cubicBezTo>
                  <a:cubicBezTo>
                    <a:pt x="2810401" y="1542701"/>
                    <a:pt x="2792901" y="1525201"/>
                    <a:pt x="2792901" y="1503614"/>
                  </a:cubicBezTo>
                  <a:cubicBezTo>
                    <a:pt x="2792901" y="1482026"/>
                    <a:pt x="2810401" y="1464526"/>
                    <a:pt x="2831988" y="1464526"/>
                  </a:cubicBezTo>
                  <a:close/>
                  <a:moveTo>
                    <a:pt x="2458167" y="1464526"/>
                  </a:moveTo>
                  <a:cubicBezTo>
                    <a:pt x="2479755" y="1464526"/>
                    <a:pt x="2497253" y="1482026"/>
                    <a:pt x="2497253" y="1503614"/>
                  </a:cubicBezTo>
                  <a:cubicBezTo>
                    <a:pt x="2497253" y="1525201"/>
                    <a:pt x="2479755" y="1542701"/>
                    <a:pt x="2458167" y="1542701"/>
                  </a:cubicBezTo>
                  <a:cubicBezTo>
                    <a:pt x="2436585" y="1542701"/>
                    <a:pt x="2419081" y="1525201"/>
                    <a:pt x="2419081" y="1503614"/>
                  </a:cubicBezTo>
                  <a:cubicBezTo>
                    <a:pt x="2419081" y="1482026"/>
                    <a:pt x="2436585" y="1464526"/>
                    <a:pt x="2458167" y="1464526"/>
                  </a:cubicBezTo>
                  <a:close/>
                  <a:moveTo>
                    <a:pt x="2363529" y="1464526"/>
                  </a:moveTo>
                  <a:cubicBezTo>
                    <a:pt x="2385118" y="1464526"/>
                    <a:pt x="2402614" y="1482026"/>
                    <a:pt x="2402614" y="1503614"/>
                  </a:cubicBezTo>
                  <a:cubicBezTo>
                    <a:pt x="2402614" y="1525201"/>
                    <a:pt x="2385118" y="1542701"/>
                    <a:pt x="2363529" y="1542701"/>
                  </a:cubicBezTo>
                  <a:cubicBezTo>
                    <a:pt x="2341943" y="1542701"/>
                    <a:pt x="2324441" y="1525201"/>
                    <a:pt x="2324441" y="1503614"/>
                  </a:cubicBezTo>
                  <a:cubicBezTo>
                    <a:pt x="2324441" y="1482026"/>
                    <a:pt x="2341943" y="1464526"/>
                    <a:pt x="2363529" y="1464526"/>
                  </a:cubicBezTo>
                  <a:close/>
                  <a:moveTo>
                    <a:pt x="1045696" y="1464526"/>
                  </a:moveTo>
                  <a:cubicBezTo>
                    <a:pt x="1067282" y="1464526"/>
                    <a:pt x="1084784" y="1482026"/>
                    <a:pt x="1084784" y="1503614"/>
                  </a:cubicBezTo>
                  <a:cubicBezTo>
                    <a:pt x="1084784" y="1525201"/>
                    <a:pt x="1067282" y="1542701"/>
                    <a:pt x="1045696" y="1542701"/>
                  </a:cubicBezTo>
                  <a:cubicBezTo>
                    <a:pt x="1024110" y="1542701"/>
                    <a:pt x="1006612" y="1525201"/>
                    <a:pt x="1006612" y="1503614"/>
                  </a:cubicBezTo>
                  <a:cubicBezTo>
                    <a:pt x="1006612" y="1482026"/>
                    <a:pt x="1024110" y="1464526"/>
                    <a:pt x="1045696" y="1464526"/>
                  </a:cubicBezTo>
                  <a:close/>
                  <a:moveTo>
                    <a:pt x="951064" y="1464526"/>
                  </a:moveTo>
                  <a:cubicBezTo>
                    <a:pt x="972649" y="1464526"/>
                    <a:pt x="990147" y="1482026"/>
                    <a:pt x="990147" y="1503614"/>
                  </a:cubicBezTo>
                  <a:cubicBezTo>
                    <a:pt x="990147" y="1525201"/>
                    <a:pt x="972649" y="1542701"/>
                    <a:pt x="951064" y="1542701"/>
                  </a:cubicBezTo>
                  <a:cubicBezTo>
                    <a:pt x="929479" y="1542701"/>
                    <a:pt x="911980" y="1525201"/>
                    <a:pt x="911980" y="1503614"/>
                  </a:cubicBezTo>
                  <a:cubicBezTo>
                    <a:pt x="911980" y="1482026"/>
                    <a:pt x="929479" y="1464526"/>
                    <a:pt x="951064" y="1464526"/>
                  </a:cubicBezTo>
                  <a:close/>
                  <a:moveTo>
                    <a:pt x="856433" y="1464526"/>
                  </a:moveTo>
                  <a:cubicBezTo>
                    <a:pt x="878018" y="1464526"/>
                    <a:pt x="895517" y="1482026"/>
                    <a:pt x="895517" y="1503614"/>
                  </a:cubicBezTo>
                  <a:cubicBezTo>
                    <a:pt x="895517" y="1525201"/>
                    <a:pt x="878018" y="1542701"/>
                    <a:pt x="856433" y="1542701"/>
                  </a:cubicBezTo>
                  <a:cubicBezTo>
                    <a:pt x="834848" y="1542701"/>
                    <a:pt x="817350" y="1525201"/>
                    <a:pt x="817350" y="1503614"/>
                  </a:cubicBezTo>
                  <a:cubicBezTo>
                    <a:pt x="817350" y="1482026"/>
                    <a:pt x="834848" y="1464526"/>
                    <a:pt x="856433" y="1464526"/>
                  </a:cubicBezTo>
                  <a:close/>
                  <a:moveTo>
                    <a:pt x="764168" y="1464526"/>
                  </a:moveTo>
                  <a:cubicBezTo>
                    <a:pt x="785753" y="1464526"/>
                    <a:pt x="803252" y="1482026"/>
                    <a:pt x="803252" y="1503614"/>
                  </a:cubicBezTo>
                  <a:cubicBezTo>
                    <a:pt x="803252" y="1525201"/>
                    <a:pt x="785753" y="1542701"/>
                    <a:pt x="764168" y="1542701"/>
                  </a:cubicBezTo>
                  <a:cubicBezTo>
                    <a:pt x="742576" y="1542701"/>
                    <a:pt x="725083" y="1525201"/>
                    <a:pt x="725083" y="1503614"/>
                  </a:cubicBezTo>
                  <a:cubicBezTo>
                    <a:pt x="725083" y="1482026"/>
                    <a:pt x="742576" y="1464526"/>
                    <a:pt x="764168" y="1464526"/>
                  </a:cubicBezTo>
                  <a:close/>
                  <a:moveTo>
                    <a:pt x="669521" y="1464526"/>
                  </a:moveTo>
                  <a:cubicBezTo>
                    <a:pt x="691121" y="1464526"/>
                    <a:pt x="708620" y="1482026"/>
                    <a:pt x="708620" y="1503614"/>
                  </a:cubicBezTo>
                  <a:cubicBezTo>
                    <a:pt x="708620" y="1525201"/>
                    <a:pt x="691121" y="1542701"/>
                    <a:pt x="669521" y="1542701"/>
                  </a:cubicBezTo>
                  <a:cubicBezTo>
                    <a:pt x="647946" y="1542701"/>
                    <a:pt x="630443" y="1525201"/>
                    <a:pt x="630443" y="1503614"/>
                  </a:cubicBezTo>
                  <a:cubicBezTo>
                    <a:pt x="630443" y="1482026"/>
                    <a:pt x="647946" y="1464526"/>
                    <a:pt x="669521" y="1464526"/>
                  </a:cubicBezTo>
                  <a:close/>
                  <a:moveTo>
                    <a:pt x="577246" y="1464526"/>
                  </a:moveTo>
                  <a:cubicBezTo>
                    <a:pt x="598837" y="1464526"/>
                    <a:pt x="616341" y="1482026"/>
                    <a:pt x="616341" y="1503614"/>
                  </a:cubicBezTo>
                  <a:cubicBezTo>
                    <a:pt x="616341" y="1525201"/>
                    <a:pt x="598837" y="1542701"/>
                    <a:pt x="577246" y="1542701"/>
                  </a:cubicBezTo>
                  <a:cubicBezTo>
                    <a:pt x="555655" y="1542701"/>
                    <a:pt x="538151" y="1525201"/>
                    <a:pt x="538151" y="1503614"/>
                  </a:cubicBezTo>
                  <a:cubicBezTo>
                    <a:pt x="538151" y="1482026"/>
                    <a:pt x="555655" y="1464526"/>
                    <a:pt x="577246" y="1464526"/>
                  </a:cubicBezTo>
                  <a:close/>
                  <a:moveTo>
                    <a:pt x="484961" y="1464526"/>
                  </a:moveTo>
                  <a:cubicBezTo>
                    <a:pt x="506550" y="1464526"/>
                    <a:pt x="524048" y="1482026"/>
                    <a:pt x="524048" y="1503614"/>
                  </a:cubicBezTo>
                  <a:cubicBezTo>
                    <a:pt x="524048" y="1525201"/>
                    <a:pt x="506550" y="1542701"/>
                    <a:pt x="484961" y="1542701"/>
                  </a:cubicBezTo>
                  <a:cubicBezTo>
                    <a:pt x="463368" y="1542701"/>
                    <a:pt x="445884" y="1525201"/>
                    <a:pt x="445884" y="1503614"/>
                  </a:cubicBezTo>
                  <a:cubicBezTo>
                    <a:pt x="445884" y="1482026"/>
                    <a:pt x="463368" y="1464526"/>
                    <a:pt x="484961" y="1464526"/>
                  </a:cubicBezTo>
                  <a:close/>
                  <a:moveTo>
                    <a:pt x="390321" y="1464526"/>
                  </a:moveTo>
                  <a:cubicBezTo>
                    <a:pt x="411908" y="1464526"/>
                    <a:pt x="429414" y="1482026"/>
                    <a:pt x="429414" y="1503614"/>
                  </a:cubicBezTo>
                  <a:cubicBezTo>
                    <a:pt x="429414" y="1525201"/>
                    <a:pt x="411908" y="1542701"/>
                    <a:pt x="390321" y="1542701"/>
                  </a:cubicBezTo>
                  <a:cubicBezTo>
                    <a:pt x="368742" y="1542701"/>
                    <a:pt x="351243" y="1525201"/>
                    <a:pt x="351243" y="1503614"/>
                  </a:cubicBezTo>
                  <a:cubicBezTo>
                    <a:pt x="351243" y="1482026"/>
                    <a:pt x="368742" y="1464526"/>
                    <a:pt x="390321" y="1464526"/>
                  </a:cubicBezTo>
                  <a:close/>
                  <a:moveTo>
                    <a:pt x="298048" y="1464526"/>
                  </a:moveTo>
                  <a:cubicBezTo>
                    <a:pt x="319631" y="1464526"/>
                    <a:pt x="337143" y="1482026"/>
                    <a:pt x="337143" y="1503614"/>
                  </a:cubicBezTo>
                  <a:cubicBezTo>
                    <a:pt x="337143" y="1525201"/>
                    <a:pt x="319631" y="1542701"/>
                    <a:pt x="298048" y="1542701"/>
                  </a:cubicBezTo>
                  <a:cubicBezTo>
                    <a:pt x="276459" y="1542701"/>
                    <a:pt x="258959" y="1525201"/>
                    <a:pt x="258959" y="1503614"/>
                  </a:cubicBezTo>
                  <a:cubicBezTo>
                    <a:pt x="258959" y="1482026"/>
                    <a:pt x="276459" y="1464526"/>
                    <a:pt x="298048" y="1464526"/>
                  </a:cubicBezTo>
                  <a:close/>
                  <a:moveTo>
                    <a:pt x="203404" y="1464526"/>
                  </a:moveTo>
                  <a:cubicBezTo>
                    <a:pt x="224994" y="1464526"/>
                    <a:pt x="242493" y="1482026"/>
                    <a:pt x="242493" y="1503614"/>
                  </a:cubicBezTo>
                  <a:cubicBezTo>
                    <a:pt x="242493" y="1525201"/>
                    <a:pt x="224994" y="1542701"/>
                    <a:pt x="203404" y="1542701"/>
                  </a:cubicBezTo>
                  <a:cubicBezTo>
                    <a:pt x="181818" y="1542701"/>
                    <a:pt x="164318" y="1525201"/>
                    <a:pt x="164318" y="1503614"/>
                  </a:cubicBezTo>
                  <a:cubicBezTo>
                    <a:pt x="164318" y="1482026"/>
                    <a:pt x="181818" y="1464526"/>
                    <a:pt x="203404" y="1464526"/>
                  </a:cubicBezTo>
                  <a:close/>
                  <a:moveTo>
                    <a:pt x="111130" y="1464526"/>
                  </a:moveTo>
                  <a:cubicBezTo>
                    <a:pt x="132718" y="1464526"/>
                    <a:pt x="150218" y="1482026"/>
                    <a:pt x="150218" y="1503614"/>
                  </a:cubicBezTo>
                  <a:cubicBezTo>
                    <a:pt x="150218" y="1525201"/>
                    <a:pt x="132718" y="1542701"/>
                    <a:pt x="111130" y="1542701"/>
                  </a:cubicBezTo>
                  <a:cubicBezTo>
                    <a:pt x="89543" y="1542701"/>
                    <a:pt x="72044" y="1525201"/>
                    <a:pt x="72044" y="1503614"/>
                  </a:cubicBezTo>
                  <a:cubicBezTo>
                    <a:pt x="72044" y="1482026"/>
                    <a:pt x="89543" y="1464526"/>
                    <a:pt x="111130" y="1464526"/>
                  </a:cubicBezTo>
                  <a:close/>
                  <a:moveTo>
                    <a:pt x="111134" y="1376985"/>
                  </a:moveTo>
                  <a:cubicBezTo>
                    <a:pt x="132721" y="1376985"/>
                    <a:pt x="150221" y="1394485"/>
                    <a:pt x="150221" y="1416072"/>
                  </a:cubicBezTo>
                  <a:cubicBezTo>
                    <a:pt x="150221" y="1437659"/>
                    <a:pt x="132721" y="1455159"/>
                    <a:pt x="111134" y="1455159"/>
                  </a:cubicBezTo>
                  <a:cubicBezTo>
                    <a:pt x="89547" y="1455159"/>
                    <a:pt x="72048" y="1437659"/>
                    <a:pt x="72048" y="1416072"/>
                  </a:cubicBezTo>
                  <a:cubicBezTo>
                    <a:pt x="72048" y="1394485"/>
                    <a:pt x="89547" y="1376985"/>
                    <a:pt x="111134" y="1376985"/>
                  </a:cubicBezTo>
                  <a:close/>
                  <a:moveTo>
                    <a:pt x="484966" y="1376984"/>
                  </a:moveTo>
                  <a:cubicBezTo>
                    <a:pt x="506553" y="1376984"/>
                    <a:pt x="524052" y="1394484"/>
                    <a:pt x="524052" y="1416071"/>
                  </a:cubicBezTo>
                  <a:cubicBezTo>
                    <a:pt x="524052" y="1437658"/>
                    <a:pt x="506553" y="1455159"/>
                    <a:pt x="484966" y="1455159"/>
                  </a:cubicBezTo>
                  <a:cubicBezTo>
                    <a:pt x="463373" y="1455159"/>
                    <a:pt x="445888" y="1437658"/>
                    <a:pt x="445888" y="1416071"/>
                  </a:cubicBezTo>
                  <a:cubicBezTo>
                    <a:pt x="445888" y="1394484"/>
                    <a:pt x="463373" y="1376984"/>
                    <a:pt x="484966" y="1376984"/>
                  </a:cubicBezTo>
                  <a:close/>
                  <a:moveTo>
                    <a:pt x="390321" y="1376984"/>
                  </a:moveTo>
                  <a:cubicBezTo>
                    <a:pt x="411908" y="1376984"/>
                    <a:pt x="429417" y="1394484"/>
                    <a:pt x="429417" y="1416071"/>
                  </a:cubicBezTo>
                  <a:cubicBezTo>
                    <a:pt x="429417" y="1437658"/>
                    <a:pt x="411908" y="1455159"/>
                    <a:pt x="390321" y="1455159"/>
                  </a:cubicBezTo>
                  <a:cubicBezTo>
                    <a:pt x="368747" y="1455159"/>
                    <a:pt x="351248" y="1437658"/>
                    <a:pt x="351248" y="1416071"/>
                  </a:cubicBezTo>
                  <a:cubicBezTo>
                    <a:pt x="351248" y="1394484"/>
                    <a:pt x="368747" y="1376984"/>
                    <a:pt x="390321" y="1376984"/>
                  </a:cubicBezTo>
                  <a:close/>
                  <a:moveTo>
                    <a:pt x="298052" y="1376984"/>
                  </a:moveTo>
                  <a:cubicBezTo>
                    <a:pt x="319635" y="1376984"/>
                    <a:pt x="337147" y="1394484"/>
                    <a:pt x="337147" y="1416071"/>
                  </a:cubicBezTo>
                  <a:cubicBezTo>
                    <a:pt x="337147" y="1437658"/>
                    <a:pt x="319635" y="1455159"/>
                    <a:pt x="298052" y="1455159"/>
                  </a:cubicBezTo>
                  <a:cubicBezTo>
                    <a:pt x="276463" y="1455159"/>
                    <a:pt x="258963" y="1437658"/>
                    <a:pt x="258963" y="1416071"/>
                  </a:cubicBezTo>
                  <a:cubicBezTo>
                    <a:pt x="258963" y="1394484"/>
                    <a:pt x="276463" y="1376984"/>
                    <a:pt x="298052" y="1376984"/>
                  </a:cubicBezTo>
                  <a:close/>
                  <a:moveTo>
                    <a:pt x="203408" y="1376984"/>
                  </a:moveTo>
                  <a:cubicBezTo>
                    <a:pt x="224998" y="1376984"/>
                    <a:pt x="242497" y="1394484"/>
                    <a:pt x="242497" y="1416071"/>
                  </a:cubicBezTo>
                  <a:cubicBezTo>
                    <a:pt x="242497" y="1437658"/>
                    <a:pt x="224998" y="1455159"/>
                    <a:pt x="203408" y="1455159"/>
                  </a:cubicBezTo>
                  <a:cubicBezTo>
                    <a:pt x="181822" y="1455159"/>
                    <a:pt x="164322" y="1437658"/>
                    <a:pt x="164322" y="1416071"/>
                  </a:cubicBezTo>
                  <a:cubicBezTo>
                    <a:pt x="164322" y="1394484"/>
                    <a:pt x="181822" y="1376984"/>
                    <a:pt x="203408" y="1376984"/>
                  </a:cubicBezTo>
                  <a:close/>
                  <a:moveTo>
                    <a:pt x="3771293" y="1376983"/>
                  </a:moveTo>
                  <a:cubicBezTo>
                    <a:pt x="3792880" y="1376983"/>
                    <a:pt x="3810379" y="1394483"/>
                    <a:pt x="3810379" y="1416070"/>
                  </a:cubicBezTo>
                  <a:cubicBezTo>
                    <a:pt x="3810379" y="1437657"/>
                    <a:pt x="3792880" y="1455158"/>
                    <a:pt x="3771293" y="1455158"/>
                  </a:cubicBezTo>
                  <a:cubicBezTo>
                    <a:pt x="3749705" y="1455158"/>
                    <a:pt x="3732205" y="1437657"/>
                    <a:pt x="3732205" y="1416070"/>
                  </a:cubicBezTo>
                  <a:cubicBezTo>
                    <a:pt x="3732205" y="1394483"/>
                    <a:pt x="3749705" y="1376983"/>
                    <a:pt x="3771293" y="1376983"/>
                  </a:cubicBezTo>
                  <a:close/>
                  <a:moveTo>
                    <a:pt x="3679018" y="1376983"/>
                  </a:moveTo>
                  <a:cubicBezTo>
                    <a:pt x="3700605" y="1376983"/>
                    <a:pt x="3718105" y="1394483"/>
                    <a:pt x="3718105" y="1416070"/>
                  </a:cubicBezTo>
                  <a:cubicBezTo>
                    <a:pt x="3718105" y="1437657"/>
                    <a:pt x="3700605" y="1455158"/>
                    <a:pt x="3679018" y="1455158"/>
                  </a:cubicBezTo>
                  <a:cubicBezTo>
                    <a:pt x="3657431" y="1455158"/>
                    <a:pt x="3639931" y="1437657"/>
                    <a:pt x="3639931" y="1416070"/>
                  </a:cubicBezTo>
                  <a:cubicBezTo>
                    <a:pt x="3639931" y="1394483"/>
                    <a:pt x="3657431" y="1376983"/>
                    <a:pt x="3679018" y="1376983"/>
                  </a:cubicBezTo>
                  <a:close/>
                  <a:moveTo>
                    <a:pt x="3489737" y="1376983"/>
                  </a:moveTo>
                  <a:cubicBezTo>
                    <a:pt x="3511324" y="1376983"/>
                    <a:pt x="3528823" y="1394483"/>
                    <a:pt x="3528823" y="1416070"/>
                  </a:cubicBezTo>
                  <a:cubicBezTo>
                    <a:pt x="3528823" y="1437657"/>
                    <a:pt x="3511324" y="1455158"/>
                    <a:pt x="3489737" y="1455158"/>
                  </a:cubicBezTo>
                  <a:cubicBezTo>
                    <a:pt x="3468149" y="1455158"/>
                    <a:pt x="3450649" y="1437657"/>
                    <a:pt x="3450649" y="1416070"/>
                  </a:cubicBezTo>
                  <a:cubicBezTo>
                    <a:pt x="3450649" y="1394483"/>
                    <a:pt x="3468149" y="1376983"/>
                    <a:pt x="3489737" y="1376983"/>
                  </a:cubicBezTo>
                  <a:close/>
                  <a:moveTo>
                    <a:pt x="3392731" y="1376983"/>
                  </a:moveTo>
                  <a:cubicBezTo>
                    <a:pt x="3414319" y="1376983"/>
                    <a:pt x="3431819" y="1394483"/>
                    <a:pt x="3431819" y="1416070"/>
                  </a:cubicBezTo>
                  <a:cubicBezTo>
                    <a:pt x="3431819" y="1437657"/>
                    <a:pt x="3414319" y="1455158"/>
                    <a:pt x="3392731" y="1455158"/>
                  </a:cubicBezTo>
                  <a:cubicBezTo>
                    <a:pt x="3371144" y="1455158"/>
                    <a:pt x="3353644" y="1437657"/>
                    <a:pt x="3353644" y="1416070"/>
                  </a:cubicBezTo>
                  <a:cubicBezTo>
                    <a:pt x="3353644" y="1394483"/>
                    <a:pt x="3371144" y="1376983"/>
                    <a:pt x="3392731" y="1376983"/>
                  </a:cubicBezTo>
                  <a:close/>
                  <a:moveTo>
                    <a:pt x="3300457" y="1376983"/>
                  </a:moveTo>
                  <a:cubicBezTo>
                    <a:pt x="3322044" y="1376983"/>
                    <a:pt x="3339544" y="1394483"/>
                    <a:pt x="3339544" y="1416070"/>
                  </a:cubicBezTo>
                  <a:cubicBezTo>
                    <a:pt x="3339544" y="1437657"/>
                    <a:pt x="3322044" y="1455158"/>
                    <a:pt x="3300457" y="1455158"/>
                  </a:cubicBezTo>
                  <a:cubicBezTo>
                    <a:pt x="3278869" y="1455158"/>
                    <a:pt x="3261369" y="1437657"/>
                    <a:pt x="3261369" y="1416070"/>
                  </a:cubicBezTo>
                  <a:cubicBezTo>
                    <a:pt x="3261369" y="1394483"/>
                    <a:pt x="3278869" y="1376983"/>
                    <a:pt x="3300457" y="1376983"/>
                  </a:cubicBezTo>
                  <a:close/>
                  <a:moveTo>
                    <a:pt x="3205817" y="1376983"/>
                  </a:moveTo>
                  <a:cubicBezTo>
                    <a:pt x="3227404" y="1376983"/>
                    <a:pt x="3244904" y="1394483"/>
                    <a:pt x="3244904" y="1416070"/>
                  </a:cubicBezTo>
                  <a:cubicBezTo>
                    <a:pt x="3244904" y="1437657"/>
                    <a:pt x="3227404" y="1455158"/>
                    <a:pt x="3205817" y="1455158"/>
                  </a:cubicBezTo>
                  <a:cubicBezTo>
                    <a:pt x="3184229" y="1455158"/>
                    <a:pt x="3166729" y="1437657"/>
                    <a:pt x="3166729" y="1416070"/>
                  </a:cubicBezTo>
                  <a:cubicBezTo>
                    <a:pt x="3166729" y="1394483"/>
                    <a:pt x="3184229" y="1376983"/>
                    <a:pt x="3205817" y="1376983"/>
                  </a:cubicBezTo>
                  <a:close/>
                  <a:moveTo>
                    <a:pt x="3111177" y="1376983"/>
                  </a:moveTo>
                  <a:cubicBezTo>
                    <a:pt x="3132764" y="1376983"/>
                    <a:pt x="3150264" y="1394483"/>
                    <a:pt x="3150264" y="1416070"/>
                  </a:cubicBezTo>
                  <a:cubicBezTo>
                    <a:pt x="3150264" y="1437657"/>
                    <a:pt x="3132764" y="1455158"/>
                    <a:pt x="3111177" y="1455158"/>
                  </a:cubicBezTo>
                  <a:cubicBezTo>
                    <a:pt x="3089589" y="1455158"/>
                    <a:pt x="3072089" y="1437657"/>
                    <a:pt x="3072089" y="1416070"/>
                  </a:cubicBezTo>
                  <a:cubicBezTo>
                    <a:pt x="3072089" y="1394483"/>
                    <a:pt x="3089589" y="1376983"/>
                    <a:pt x="3111177" y="1376983"/>
                  </a:cubicBezTo>
                  <a:close/>
                  <a:moveTo>
                    <a:pt x="3018902" y="1376983"/>
                  </a:moveTo>
                  <a:cubicBezTo>
                    <a:pt x="3040489" y="1376983"/>
                    <a:pt x="3057989" y="1394483"/>
                    <a:pt x="3057989" y="1416070"/>
                  </a:cubicBezTo>
                  <a:cubicBezTo>
                    <a:pt x="3057989" y="1437657"/>
                    <a:pt x="3040489" y="1455158"/>
                    <a:pt x="3018902" y="1455158"/>
                  </a:cubicBezTo>
                  <a:cubicBezTo>
                    <a:pt x="2997315" y="1455158"/>
                    <a:pt x="2979815" y="1437657"/>
                    <a:pt x="2979815" y="1416070"/>
                  </a:cubicBezTo>
                  <a:cubicBezTo>
                    <a:pt x="2979815" y="1394483"/>
                    <a:pt x="2997315" y="1376983"/>
                    <a:pt x="3018902" y="1376983"/>
                  </a:cubicBezTo>
                  <a:close/>
                  <a:moveTo>
                    <a:pt x="2924263" y="1376983"/>
                  </a:moveTo>
                  <a:cubicBezTo>
                    <a:pt x="2945850" y="1376983"/>
                    <a:pt x="2963349" y="1394483"/>
                    <a:pt x="2963349" y="1416070"/>
                  </a:cubicBezTo>
                  <a:cubicBezTo>
                    <a:pt x="2963349" y="1437657"/>
                    <a:pt x="2945850" y="1455158"/>
                    <a:pt x="2924263" y="1455158"/>
                  </a:cubicBezTo>
                  <a:cubicBezTo>
                    <a:pt x="2902675" y="1455158"/>
                    <a:pt x="2885175" y="1437657"/>
                    <a:pt x="2885175" y="1416070"/>
                  </a:cubicBezTo>
                  <a:cubicBezTo>
                    <a:pt x="2885175" y="1394483"/>
                    <a:pt x="2902675" y="1376983"/>
                    <a:pt x="2924263" y="1376983"/>
                  </a:cubicBezTo>
                  <a:close/>
                  <a:moveTo>
                    <a:pt x="2831988" y="1376983"/>
                  </a:moveTo>
                  <a:cubicBezTo>
                    <a:pt x="2853575" y="1376983"/>
                    <a:pt x="2871075" y="1394483"/>
                    <a:pt x="2871075" y="1416070"/>
                  </a:cubicBezTo>
                  <a:cubicBezTo>
                    <a:pt x="2871075" y="1437657"/>
                    <a:pt x="2853575" y="1455158"/>
                    <a:pt x="2831988" y="1455158"/>
                  </a:cubicBezTo>
                  <a:cubicBezTo>
                    <a:pt x="2810401" y="1455158"/>
                    <a:pt x="2792901" y="1437657"/>
                    <a:pt x="2792901" y="1416070"/>
                  </a:cubicBezTo>
                  <a:cubicBezTo>
                    <a:pt x="2792901" y="1394483"/>
                    <a:pt x="2810401" y="1376983"/>
                    <a:pt x="2831988" y="1376983"/>
                  </a:cubicBezTo>
                  <a:close/>
                  <a:moveTo>
                    <a:pt x="2550437" y="1376983"/>
                  </a:moveTo>
                  <a:cubicBezTo>
                    <a:pt x="2572024" y="1376983"/>
                    <a:pt x="2589523" y="1394483"/>
                    <a:pt x="2589523" y="1416070"/>
                  </a:cubicBezTo>
                  <a:cubicBezTo>
                    <a:pt x="2589523" y="1437657"/>
                    <a:pt x="2572024" y="1455158"/>
                    <a:pt x="2550437" y="1455158"/>
                  </a:cubicBezTo>
                  <a:cubicBezTo>
                    <a:pt x="2528850" y="1455158"/>
                    <a:pt x="2511354" y="1437657"/>
                    <a:pt x="2511354" y="1416070"/>
                  </a:cubicBezTo>
                  <a:cubicBezTo>
                    <a:pt x="2511354" y="1394483"/>
                    <a:pt x="2528850" y="1376983"/>
                    <a:pt x="2550437" y="1376983"/>
                  </a:cubicBezTo>
                  <a:close/>
                  <a:moveTo>
                    <a:pt x="2458167" y="1376983"/>
                  </a:moveTo>
                  <a:cubicBezTo>
                    <a:pt x="2479755" y="1376983"/>
                    <a:pt x="2497254" y="1394483"/>
                    <a:pt x="2497254" y="1416070"/>
                  </a:cubicBezTo>
                  <a:cubicBezTo>
                    <a:pt x="2497254" y="1437657"/>
                    <a:pt x="2479755" y="1455158"/>
                    <a:pt x="2458167" y="1455158"/>
                  </a:cubicBezTo>
                  <a:cubicBezTo>
                    <a:pt x="2436585" y="1455158"/>
                    <a:pt x="2419083" y="1437657"/>
                    <a:pt x="2419083" y="1416070"/>
                  </a:cubicBezTo>
                  <a:cubicBezTo>
                    <a:pt x="2419083" y="1394483"/>
                    <a:pt x="2436585" y="1376983"/>
                    <a:pt x="2458167" y="1376983"/>
                  </a:cubicBezTo>
                  <a:close/>
                  <a:moveTo>
                    <a:pt x="2363529" y="1376983"/>
                  </a:moveTo>
                  <a:cubicBezTo>
                    <a:pt x="2385119" y="1376983"/>
                    <a:pt x="2402614" y="1394483"/>
                    <a:pt x="2402614" y="1416070"/>
                  </a:cubicBezTo>
                  <a:cubicBezTo>
                    <a:pt x="2402614" y="1437657"/>
                    <a:pt x="2385119" y="1455158"/>
                    <a:pt x="2363529" y="1455158"/>
                  </a:cubicBezTo>
                  <a:cubicBezTo>
                    <a:pt x="2341945" y="1455158"/>
                    <a:pt x="2324442" y="1437657"/>
                    <a:pt x="2324442" y="1416070"/>
                  </a:cubicBezTo>
                  <a:cubicBezTo>
                    <a:pt x="2324442" y="1394483"/>
                    <a:pt x="2341945" y="1376983"/>
                    <a:pt x="2363529" y="1376983"/>
                  </a:cubicBezTo>
                  <a:close/>
                  <a:moveTo>
                    <a:pt x="1142717" y="1376983"/>
                  </a:moveTo>
                  <a:cubicBezTo>
                    <a:pt x="1164308" y="1376983"/>
                    <a:pt x="1181806" y="1394483"/>
                    <a:pt x="1181806" y="1416070"/>
                  </a:cubicBezTo>
                  <a:cubicBezTo>
                    <a:pt x="1181806" y="1437657"/>
                    <a:pt x="1164308" y="1455158"/>
                    <a:pt x="1142717" y="1455158"/>
                  </a:cubicBezTo>
                  <a:cubicBezTo>
                    <a:pt x="1121126" y="1455158"/>
                    <a:pt x="1103622" y="1437657"/>
                    <a:pt x="1103622" y="1416070"/>
                  </a:cubicBezTo>
                  <a:cubicBezTo>
                    <a:pt x="1103622" y="1394483"/>
                    <a:pt x="1121126" y="1376983"/>
                    <a:pt x="1142717" y="1376983"/>
                  </a:cubicBezTo>
                  <a:close/>
                  <a:moveTo>
                    <a:pt x="1045699" y="1376983"/>
                  </a:moveTo>
                  <a:cubicBezTo>
                    <a:pt x="1067284" y="1376983"/>
                    <a:pt x="1084788" y="1394483"/>
                    <a:pt x="1084788" y="1416070"/>
                  </a:cubicBezTo>
                  <a:cubicBezTo>
                    <a:pt x="1084788" y="1437657"/>
                    <a:pt x="1067284" y="1455158"/>
                    <a:pt x="1045699" y="1455158"/>
                  </a:cubicBezTo>
                  <a:cubicBezTo>
                    <a:pt x="1024114" y="1455158"/>
                    <a:pt x="1006615" y="1437657"/>
                    <a:pt x="1006615" y="1416070"/>
                  </a:cubicBezTo>
                  <a:cubicBezTo>
                    <a:pt x="1006615" y="1394483"/>
                    <a:pt x="1024114" y="1376983"/>
                    <a:pt x="1045699" y="1376983"/>
                  </a:cubicBezTo>
                  <a:close/>
                  <a:moveTo>
                    <a:pt x="951068" y="1376983"/>
                  </a:moveTo>
                  <a:cubicBezTo>
                    <a:pt x="972653" y="1376983"/>
                    <a:pt x="990151" y="1394483"/>
                    <a:pt x="990151" y="1416070"/>
                  </a:cubicBezTo>
                  <a:cubicBezTo>
                    <a:pt x="990151" y="1437657"/>
                    <a:pt x="972653" y="1455158"/>
                    <a:pt x="951068" y="1455158"/>
                  </a:cubicBezTo>
                  <a:cubicBezTo>
                    <a:pt x="929482" y="1455158"/>
                    <a:pt x="911984" y="1437657"/>
                    <a:pt x="911984" y="1416070"/>
                  </a:cubicBezTo>
                  <a:cubicBezTo>
                    <a:pt x="911984" y="1394483"/>
                    <a:pt x="929482" y="1376983"/>
                    <a:pt x="951068" y="1376983"/>
                  </a:cubicBezTo>
                  <a:close/>
                  <a:moveTo>
                    <a:pt x="856438" y="1376983"/>
                  </a:moveTo>
                  <a:cubicBezTo>
                    <a:pt x="878022" y="1376983"/>
                    <a:pt x="895520" y="1394483"/>
                    <a:pt x="895520" y="1416070"/>
                  </a:cubicBezTo>
                  <a:cubicBezTo>
                    <a:pt x="895520" y="1437657"/>
                    <a:pt x="878022" y="1455158"/>
                    <a:pt x="856438" y="1455158"/>
                  </a:cubicBezTo>
                  <a:cubicBezTo>
                    <a:pt x="834853" y="1455158"/>
                    <a:pt x="817355" y="1437657"/>
                    <a:pt x="817355" y="1416070"/>
                  </a:cubicBezTo>
                  <a:cubicBezTo>
                    <a:pt x="817355" y="1394483"/>
                    <a:pt x="834853" y="1376983"/>
                    <a:pt x="856438" y="1376983"/>
                  </a:cubicBezTo>
                  <a:close/>
                  <a:moveTo>
                    <a:pt x="764173" y="1376983"/>
                  </a:moveTo>
                  <a:cubicBezTo>
                    <a:pt x="785757" y="1376983"/>
                    <a:pt x="803257" y="1394483"/>
                    <a:pt x="803257" y="1416070"/>
                  </a:cubicBezTo>
                  <a:cubicBezTo>
                    <a:pt x="803257" y="1437657"/>
                    <a:pt x="785757" y="1455158"/>
                    <a:pt x="764173" y="1455158"/>
                  </a:cubicBezTo>
                  <a:cubicBezTo>
                    <a:pt x="742582" y="1455158"/>
                    <a:pt x="725090" y="1437657"/>
                    <a:pt x="725090" y="1416070"/>
                  </a:cubicBezTo>
                  <a:cubicBezTo>
                    <a:pt x="725090" y="1394483"/>
                    <a:pt x="742582" y="1376983"/>
                    <a:pt x="764173" y="1376983"/>
                  </a:cubicBezTo>
                  <a:close/>
                  <a:moveTo>
                    <a:pt x="669534" y="1376983"/>
                  </a:moveTo>
                  <a:cubicBezTo>
                    <a:pt x="691128" y="1376983"/>
                    <a:pt x="708624" y="1394483"/>
                    <a:pt x="708624" y="1416070"/>
                  </a:cubicBezTo>
                  <a:cubicBezTo>
                    <a:pt x="708624" y="1437657"/>
                    <a:pt x="691128" y="1455158"/>
                    <a:pt x="669534" y="1455158"/>
                  </a:cubicBezTo>
                  <a:cubicBezTo>
                    <a:pt x="647952" y="1455158"/>
                    <a:pt x="630448" y="1437657"/>
                    <a:pt x="630448" y="1416070"/>
                  </a:cubicBezTo>
                  <a:cubicBezTo>
                    <a:pt x="630448" y="1394483"/>
                    <a:pt x="647952" y="1376983"/>
                    <a:pt x="669534" y="1376983"/>
                  </a:cubicBezTo>
                  <a:close/>
                  <a:moveTo>
                    <a:pt x="577250" y="1376983"/>
                  </a:moveTo>
                  <a:cubicBezTo>
                    <a:pt x="598842" y="1376983"/>
                    <a:pt x="616345" y="1394483"/>
                    <a:pt x="616345" y="1416070"/>
                  </a:cubicBezTo>
                  <a:cubicBezTo>
                    <a:pt x="616345" y="1437657"/>
                    <a:pt x="598842" y="1455158"/>
                    <a:pt x="577250" y="1455158"/>
                  </a:cubicBezTo>
                  <a:cubicBezTo>
                    <a:pt x="555659" y="1455158"/>
                    <a:pt x="538155" y="1437657"/>
                    <a:pt x="538155" y="1416070"/>
                  </a:cubicBezTo>
                  <a:cubicBezTo>
                    <a:pt x="538155" y="1394483"/>
                    <a:pt x="555659" y="1376983"/>
                    <a:pt x="577250" y="1376983"/>
                  </a:cubicBezTo>
                  <a:close/>
                  <a:moveTo>
                    <a:pt x="3679017" y="1291809"/>
                  </a:moveTo>
                  <a:cubicBezTo>
                    <a:pt x="3700604" y="1291809"/>
                    <a:pt x="3718103" y="1309309"/>
                    <a:pt x="3718103" y="1330896"/>
                  </a:cubicBezTo>
                  <a:cubicBezTo>
                    <a:pt x="3718103" y="1352483"/>
                    <a:pt x="3700604" y="1369983"/>
                    <a:pt x="3679017" y="1369983"/>
                  </a:cubicBezTo>
                  <a:cubicBezTo>
                    <a:pt x="3657429" y="1369983"/>
                    <a:pt x="3639929" y="1352483"/>
                    <a:pt x="3639929" y="1330896"/>
                  </a:cubicBezTo>
                  <a:cubicBezTo>
                    <a:pt x="3639929" y="1309309"/>
                    <a:pt x="3657429" y="1291809"/>
                    <a:pt x="3679017" y="1291809"/>
                  </a:cubicBezTo>
                  <a:close/>
                  <a:moveTo>
                    <a:pt x="3584377" y="1291809"/>
                  </a:moveTo>
                  <a:cubicBezTo>
                    <a:pt x="3605964" y="1291809"/>
                    <a:pt x="3623463" y="1309309"/>
                    <a:pt x="3623463" y="1330896"/>
                  </a:cubicBezTo>
                  <a:cubicBezTo>
                    <a:pt x="3623463" y="1352483"/>
                    <a:pt x="3605964" y="1369983"/>
                    <a:pt x="3584377" y="1369983"/>
                  </a:cubicBezTo>
                  <a:cubicBezTo>
                    <a:pt x="3562789" y="1369983"/>
                    <a:pt x="3545289" y="1352483"/>
                    <a:pt x="3545289" y="1330896"/>
                  </a:cubicBezTo>
                  <a:cubicBezTo>
                    <a:pt x="3545289" y="1309309"/>
                    <a:pt x="3562789" y="1291809"/>
                    <a:pt x="3584377" y="1291809"/>
                  </a:cubicBezTo>
                  <a:close/>
                  <a:moveTo>
                    <a:pt x="3489737" y="1291809"/>
                  </a:moveTo>
                  <a:cubicBezTo>
                    <a:pt x="3511324" y="1291809"/>
                    <a:pt x="3528823" y="1309309"/>
                    <a:pt x="3528823" y="1330896"/>
                  </a:cubicBezTo>
                  <a:cubicBezTo>
                    <a:pt x="3528823" y="1352483"/>
                    <a:pt x="3511324" y="1369983"/>
                    <a:pt x="3489737" y="1369983"/>
                  </a:cubicBezTo>
                  <a:cubicBezTo>
                    <a:pt x="3468149" y="1369983"/>
                    <a:pt x="3450649" y="1352483"/>
                    <a:pt x="3450649" y="1330896"/>
                  </a:cubicBezTo>
                  <a:cubicBezTo>
                    <a:pt x="3450649" y="1309309"/>
                    <a:pt x="3468149" y="1291809"/>
                    <a:pt x="3489737" y="1291809"/>
                  </a:cubicBezTo>
                  <a:close/>
                  <a:moveTo>
                    <a:pt x="3392731" y="1291809"/>
                  </a:moveTo>
                  <a:cubicBezTo>
                    <a:pt x="3414319" y="1291809"/>
                    <a:pt x="3431819" y="1309309"/>
                    <a:pt x="3431819" y="1330896"/>
                  </a:cubicBezTo>
                  <a:cubicBezTo>
                    <a:pt x="3431819" y="1352483"/>
                    <a:pt x="3414319" y="1369983"/>
                    <a:pt x="3392731" y="1369983"/>
                  </a:cubicBezTo>
                  <a:cubicBezTo>
                    <a:pt x="3371144" y="1369983"/>
                    <a:pt x="3353644" y="1352483"/>
                    <a:pt x="3353644" y="1330896"/>
                  </a:cubicBezTo>
                  <a:cubicBezTo>
                    <a:pt x="3353644" y="1309309"/>
                    <a:pt x="3371144" y="1291809"/>
                    <a:pt x="3392731" y="1291809"/>
                  </a:cubicBezTo>
                  <a:close/>
                  <a:moveTo>
                    <a:pt x="3300457" y="1291809"/>
                  </a:moveTo>
                  <a:cubicBezTo>
                    <a:pt x="3322044" y="1291809"/>
                    <a:pt x="3339544" y="1309309"/>
                    <a:pt x="3339544" y="1330896"/>
                  </a:cubicBezTo>
                  <a:cubicBezTo>
                    <a:pt x="3339544" y="1352483"/>
                    <a:pt x="3322044" y="1369983"/>
                    <a:pt x="3300457" y="1369983"/>
                  </a:cubicBezTo>
                  <a:cubicBezTo>
                    <a:pt x="3278869" y="1369983"/>
                    <a:pt x="3261369" y="1352483"/>
                    <a:pt x="3261369" y="1330896"/>
                  </a:cubicBezTo>
                  <a:cubicBezTo>
                    <a:pt x="3261369" y="1309309"/>
                    <a:pt x="3278869" y="1291809"/>
                    <a:pt x="3300457" y="1291809"/>
                  </a:cubicBezTo>
                  <a:close/>
                  <a:moveTo>
                    <a:pt x="3111177" y="1291809"/>
                  </a:moveTo>
                  <a:cubicBezTo>
                    <a:pt x="3132764" y="1291809"/>
                    <a:pt x="3150264" y="1309309"/>
                    <a:pt x="3150264" y="1330896"/>
                  </a:cubicBezTo>
                  <a:cubicBezTo>
                    <a:pt x="3150264" y="1352483"/>
                    <a:pt x="3132764" y="1369983"/>
                    <a:pt x="3111177" y="1369983"/>
                  </a:cubicBezTo>
                  <a:cubicBezTo>
                    <a:pt x="3089589" y="1369983"/>
                    <a:pt x="3072089" y="1352483"/>
                    <a:pt x="3072089" y="1330896"/>
                  </a:cubicBezTo>
                  <a:cubicBezTo>
                    <a:pt x="3072089" y="1309309"/>
                    <a:pt x="3089589" y="1291809"/>
                    <a:pt x="3111177" y="1291809"/>
                  </a:cubicBezTo>
                  <a:close/>
                  <a:moveTo>
                    <a:pt x="3018902" y="1291809"/>
                  </a:moveTo>
                  <a:cubicBezTo>
                    <a:pt x="3040489" y="1291809"/>
                    <a:pt x="3057989" y="1309309"/>
                    <a:pt x="3057989" y="1330896"/>
                  </a:cubicBezTo>
                  <a:cubicBezTo>
                    <a:pt x="3057989" y="1352483"/>
                    <a:pt x="3040489" y="1369983"/>
                    <a:pt x="3018902" y="1369983"/>
                  </a:cubicBezTo>
                  <a:cubicBezTo>
                    <a:pt x="2997315" y="1369983"/>
                    <a:pt x="2979815" y="1352483"/>
                    <a:pt x="2979815" y="1330896"/>
                  </a:cubicBezTo>
                  <a:cubicBezTo>
                    <a:pt x="2979815" y="1309309"/>
                    <a:pt x="2997315" y="1291809"/>
                    <a:pt x="3018902" y="1291809"/>
                  </a:cubicBezTo>
                  <a:close/>
                  <a:moveTo>
                    <a:pt x="2924263" y="1291809"/>
                  </a:moveTo>
                  <a:cubicBezTo>
                    <a:pt x="2945850" y="1291809"/>
                    <a:pt x="2963349" y="1309309"/>
                    <a:pt x="2963349" y="1330896"/>
                  </a:cubicBezTo>
                  <a:cubicBezTo>
                    <a:pt x="2963349" y="1352483"/>
                    <a:pt x="2945850" y="1369983"/>
                    <a:pt x="2924263" y="1369983"/>
                  </a:cubicBezTo>
                  <a:cubicBezTo>
                    <a:pt x="2902675" y="1369983"/>
                    <a:pt x="2885175" y="1352483"/>
                    <a:pt x="2885175" y="1330896"/>
                  </a:cubicBezTo>
                  <a:cubicBezTo>
                    <a:pt x="2885175" y="1309309"/>
                    <a:pt x="2902675" y="1291809"/>
                    <a:pt x="2924263" y="1291809"/>
                  </a:cubicBezTo>
                  <a:close/>
                  <a:moveTo>
                    <a:pt x="2831988" y="1291809"/>
                  </a:moveTo>
                  <a:cubicBezTo>
                    <a:pt x="2853575" y="1291809"/>
                    <a:pt x="2871075" y="1309309"/>
                    <a:pt x="2871075" y="1330896"/>
                  </a:cubicBezTo>
                  <a:cubicBezTo>
                    <a:pt x="2871075" y="1352483"/>
                    <a:pt x="2853575" y="1369983"/>
                    <a:pt x="2831988" y="1369983"/>
                  </a:cubicBezTo>
                  <a:cubicBezTo>
                    <a:pt x="2810401" y="1369983"/>
                    <a:pt x="2792901" y="1352483"/>
                    <a:pt x="2792901" y="1330896"/>
                  </a:cubicBezTo>
                  <a:cubicBezTo>
                    <a:pt x="2792901" y="1309309"/>
                    <a:pt x="2810401" y="1291809"/>
                    <a:pt x="2831988" y="1291809"/>
                  </a:cubicBezTo>
                  <a:close/>
                  <a:moveTo>
                    <a:pt x="2737365" y="1291809"/>
                  </a:moveTo>
                  <a:cubicBezTo>
                    <a:pt x="2758935" y="1291809"/>
                    <a:pt x="2776435" y="1309309"/>
                    <a:pt x="2776435" y="1330896"/>
                  </a:cubicBezTo>
                  <a:cubicBezTo>
                    <a:pt x="2776435" y="1352483"/>
                    <a:pt x="2758935" y="1369983"/>
                    <a:pt x="2737365" y="1369983"/>
                  </a:cubicBezTo>
                  <a:cubicBezTo>
                    <a:pt x="2715773" y="1369983"/>
                    <a:pt x="2698269" y="1352483"/>
                    <a:pt x="2698269" y="1330896"/>
                  </a:cubicBezTo>
                  <a:cubicBezTo>
                    <a:pt x="2698269" y="1309309"/>
                    <a:pt x="2715773" y="1291809"/>
                    <a:pt x="2737365" y="1291809"/>
                  </a:cubicBezTo>
                  <a:close/>
                  <a:moveTo>
                    <a:pt x="2645074" y="1291809"/>
                  </a:moveTo>
                  <a:cubicBezTo>
                    <a:pt x="2666662" y="1291809"/>
                    <a:pt x="2684165" y="1309309"/>
                    <a:pt x="2684165" y="1330896"/>
                  </a:cubicBezTo>
                  <a:cubicBezTo>
                    <a:pt x="2684165" y="1352483"/>
                    <a:pt x="2666662" y="1369983"/>
                    <a:pt x="2645074" y="1369983"/>
                  </a:cubicBezTo>
                  <a:cubicBezTo>
                    <a:pt x="2623488" y="1369983"/>
                    <a:pt x="2605987" y="1352483"/>
                    <a:pt x="2605987" y="1330896"/>
                  </a:cubicBezTo>
                  <a:cubicBezTo>
                    <a:pt x="2605987" y="1309309"/>
                    <a:pt x="2623488" y="1291809"/>
                    <a:pt x="2645074" y="1291809"/>
                  </a:cubicBezTo>
                  <a:close/>
                  <a:moveTo>
                    <a:pt x="2550437" y="1291809"/>
                  </a:moveTo>
                  <a:cubicBezTo>
                    <a:pt x="2572024" y="1291809"/>
                    <a:pt x="2589523" y="1309309"/>
                    <a:pt x="2589523" y="1330896"/>
                  </a:cubicBezTo>
                  <a:cubicBezTo>
                    <a:pt x="2589523" y="1352483"/>
                    <a:pt x="2572024" y="1369983"/>
                    <a:pt x="2550437" y="1369983"/>
                  </a:cubicBezTo>
                  <a:cubicBezTo>
                    <a:pt x="2528850" y="1369983"/>
                    <a:pt x="2511355" y="1352483"/>
                    <a:pt x="2511355" y="1330896"/>
                  </a:cubicBezTo>
                  <a:cubicBezTo>
                    <a:pt x="2511355" y="1309309"/>
                    <a:pt x="2528850" y="1291809"/>
                    <a:pt x="2550437" y="1291809"/>
                  </a:cubicBezTo>
                  <a:close/>
                  <a:moveTo>
                    <a:pt x="1232635" y="1291809"/>
                  </a:moveTo>
                  <a:cubicBezTo>
                    <a:pt x="1254221" y="1291809"/>
                    <a:pt x="1271713" y="1309309"/>
                    <a:pt x="1271713" y="1330896"/>
                  </a:cubicBezTo>
                  <a:cubicBezTo>
                    <a:pt x="1271713" y="1352483"/>
                    <a:pt x="1254221" y="1369983"/>
                    <a:pt x="1232635" y="1369983"/>
                  </a:cubicBezTo>
                  <a:cubicBezTo>
                    <a:pt x="1211043" y="1369983"/>
                    <a:pt x="1193549" y="1352483"/>
                    <a:pt x="1193549" y="1330896"/>
                  </a:cubicBezTo>
                  <a:cubicBezTo>
                    <a:pt x="1193549" y="1309309"/>
                    <a:pt x="1211043" y="1291809"/>
                    <a:pt x="1232635" y="1291809"/>
                  </a:cubicBezTo>
                  <a:close/>
                  <a:moveTo>
                    <a:pt x="1142722" y="1291809"/>
                  </a:moveTo>
                  <a:cubicBezTo>
                    <a:pt x="1164313" y="1291809"/>
                    <a:pt x="1181812" y="1309309"/>
                    <a:pt x="1181812" y="1330896"/>
                  </a:cubicBezTo>
                  <a:cubicBezTo>
                    <a:pt x="1181812" y="1352483"/>
                    <a:pt x="1164313" y="1369983"/>
                    <a:pt x="1142722" y="1369983"/>
                  </a:cubicBezTo>
                  <a:cubicBezTo>
                    <a:pt x="1121129" y="1369983"/>
                    <a:pt x="1103625" y="1352483"/>
                    <a:pt x="1103625" y="1330896"/>
                  </a:cubicBezTo>
                  <a:cubicBezTo>
                    <a:pt x="1103625" y="1309309"/>
                    <a:pt x="1121129" y="1291809"/>
                    <a:pt x="1142722" y="1291809"/>
                  </a:cubicBezTo>
                  <a:close/>
                  <a:moveTo>
                    <a:pt x="1045702" y="1291809"/>
                  </a:moveTo>
                  <a:cubicBezTo>
                    <a:pt x="1067287" y="1291809"/>
                    <a:pt x="1084791" y="1309309"/>
                    <a:pt x="1084791" y="1330896"/>
                  </a:cubicBezTo>
                  <a:cubicBezTo>
                    <a:pt x="1084791" y="1352483"/>
                    <a:pt x="1067287" y="1369983"/>
                    <a:pt x="1045702" y="1369983"/>
                  </a:cubicBezTo>
                  <a:cubicBezTo>
                    <a:pt x="1024117" y="1369983"/>
                    <a:pt x="1006620" y="1352483"/>
                    <a:pt x="1006620" y="1330896"/>
                  </a:cubicBezTo>
                  <a:cubicBezTo>
                    <a:pt x="1006620" y="1309309"/>
                    <a:pt x="1024117" y="1291809"/>
                    <a:pt x="1045702" y="1291809"/>
                  </a:cubicBezTo>
                  <a:close/>
                  <a:moveTo>
                    <a:pt x="951072" y="1291809"/>
                  </a:moveTo>
                  <a:cubicBezTo>
                    <a:pt x="972656" y="1291809"/>
                    <a:pt x="990154" y="1309309"/>
                    <a:pt x="990154" y="1330896"/>
                  </a:cubicBezTo>
                  <a:cubicBezTo>
                    <a:pt x="990154" y="1352483"/>
                    <a:pt x="972656" y="1369983"/>
                    <a:pt x="951072" y="1369983"/>
                  </a:cubicBezTo>
                  <a:cubicBezTo>
                    <a:pt x="929487" y="1369983"/>
                    <a:pt x="911989" y="1352483"/>
                    <a:pt x="911989" y="1330896"/>
                  </a:cubicBezTo>
                  <a:cubicBezTo>
                    <a:pt x="911989" y="1309309"/>
                    <a:pt x="929487" y="1291809"/>
                    <a:pt x="951072" y="1291809"/>
                  </a:cubicBezTo>
                  <a:close/>
                  <a:moveTo>
                    <a:pt x="856442" y="1291809"/>
                  </a:moveTo>
                  <a:cubicBezTo>
                    <a:pt x="878027" y="1291809"/>
                    <a:pt x="895525" y="1309309"/>
                    <a:pt x="895525" y="1330896"/>
                  </a:cubicBezTo>
                  <a:cubicBezTo>
                    <a:pt x="895525" y="1352483"/>
                    <a:pt x="878027" y="1369983"/>
                    <a:pt x="856442" y="1369983"/>
                  </a:cubicBezTo>
                  <a:cubicBezTo>
                    <a:pt x="834858" y="1369983"/>
                    <a:pt x="817359" y="1352483"/>
                    <a:pt x="817359" y="1330896"/>
                  </a:cubicBezTo>
                  <a:cubicBezTo>
                    <a:pt x="817359" y="1309309"/>
                    <a:pt x="834858" y="1291809"/>
                    <a:pt x="856442" y="1291809"/>
                  </a:cubicBezTo>
                  <a:close/>
                  <a:moveTo>
                    <a:pt x="764178" y="1291809"/>
                  </a:moveTo>
                  <a:cubicBezTo>
                    <a:pt x="785763" y="1291809"/>
                    <a:pt x="803262" y="1309309"/>
                    <a:pt x="803262" y="1330896"/>
                  </a:cubicBezTo>
                  <a:cubicBezTo>
                    <a:pt x="803262" y="1352483"/>
                    <a:pt x="785763" y="1369983"/>
                    <a:pt x="764178" y="1369983"/>
                  </a:cubicBezTo>
                  <a:cubicBezTo>
                    <a:pt x="742587" y="1369983"/>
                    <a:pt x="725094" y="1352483"/>
                    <a:pt x="725094" y="1330896"/>
                  </a:cubicBezTo>
                  <a:cubicBezTo>
                    <a:pt x="725094" y="1309309"/>
                    <a:pt x="742587" y="1291809"/>
                    <a:pt x="764178" y="1291809"/>
                  </a:cubicBezTo>
                  <a:close/>
                  <a:moveTo>
                    <a:pt x="669534" y="1291809"/>
                  </a:moveTo>
                  <a:cubicBezTo>
                    <a:pt x="691132" y="1291809"/>
                    <a:pt x="708631" y="1309309"/>
                    <a:pt x="708631" y="1330896"/>
                  </a:cubicBezTo>
                  <a:cubicBezTo>
                    <a:pt x="708631" y="1352483"/>
                    <a:pt x="691132" y="1369983"/>
                    <a:pt x="669534" y="1369983"/>
                  </a:cubicBezTo>
                  <a:cubicBezTo>
                    <a:pt x="647957" y="1369983"/>
                    <a:pt x="630454" y="1352483"/>
                    <a:pt x="630454" y="1330896"/>
                  </a:cubicBezTo>
                  <a:cubicBezTo>
                    <a:pt x="630454" y="1309309"/>
                    <a:pt x="647957" y="1291809"/>
                    <a:pt x="669534" y="1291809"/>
                  </a:cubicBezTo>
                  <a:close/>
                  <a:moveTo>
                    <a:pt x="577255" y="1291809"/>
                  </a:moveTo>
                  <a:cubicBezTo>
                    <a:pt x="598847" y="1291809"/>
                    <a:pt x="616350" y="1309309"/>
                    <a:pt x="616350" y="1330896"/>
                  </a:cubicBezTo>
                  <a:cubicBezTo>
                    <a:pt x="616350" y="1352483"/>
                    <a:pt x="598847" y="1369983"/>
                    <a:pt x="577255" y="1369983"/>
                  </a:cubicBezTo>
                  <a:cubicBezTo>
                    <a:pt x="555663" y="1369983"/>
                    <a:pt x="538159" y="1352483"/>
                    <a:pt x="538159" y="1330896"/>
                  </a:cubicBezTo>
                  <a:cubicBezTo>
                    <a:pt x="538159" y="1309309"/>
                    <a:pt x="555663" y="1291809"/>
                    <a:pt x="577255" y="1291809"/>
                  </a:cubicBezTo>
                  <a:close/>
                  <a:moveTo>
                    <a:pt x="484969" y="1291809"/>
                  </a:moveTo>
                  <a:cubicBezTo>
                    <a:pt x="506557" y="1291809"/>
                    <a:pt x="524056" y="1309309"/>
                    <a:pt x="524056" y="1330896"/>
                  </a:cubicBezTo>
                  <a:cubicBezTo>
                    <a:pt x="524056" y="1352483"/>
                    <a:pt x="506557" y="1369983"/>
                    <a:pt x="484969" y="1369983"/>
                  </a:cubicBezTo>
                  <a:cubicBezTo>
                    <a:pt x="463376" y="1369983"/>
                    <a:pt x="445892" y="1352483"/>
                    <a:pt x="445892" y="1330896"/>
                  </a:cubicBezTo>
                  <a:cubicBezTo>
                    <a:pt x="445892" y="1309309"/>
                    <a:pt x="463376" y="1291809"/>
                    <a:pt x="484969" y="1291809"/>
                  </a:cubicBezTo>
                  <a:close/>
                  <a:moveTo>
                    <a:pt x="390321" y="1291809"/>
                  </a:moveTo>
                  <a:cubicBezTo>
                    <a:pt x="411908" y="1291809"/>
                    <a:pt x="429422" y="1309309"/>
                    <a:pt x="429422" y="1330896"/>
                  </a:cubicBezTo>
                  <a:cubicBezTo>
                    <a:pt x="429422" y="1352483"/>
                    <a:pt x="411908" y="1369983"/>
                    <a:pt x="390321" y="1369983"/>
                  </a:cubicBezTo>
                  <a:cubicBezTo>
                    <a:pt x="368752" y="1369983"/>
                    <a:pt x="351252" y="1352483"/>
                    <a:pt x="351252" y="1330896"/>
                  </a:cubicBezTo>
                  <a:cubicBezTo>
                    <a:pt x="351252" y="1309309"/>
                    <a:pt x="368752" y="1291809"/>
                    <a:pt x="390321" y="1291809"/>
                  </a:cubicBezTo>
                  <a:close/>
                  <a:moveTo>
                    <a:pt x="298056" y="1291809"/>
                  </a:moveTo>
                  <a:cubicBezTo>
                    <a:pt x="319638" y="1291809"/>
                    <a:pt x="337151" y="1309309"/>
                    <a:pt x="337151" y="1330896"/>
                  </a:cubicBezTo>
                  <a:cubicBezTo>
                    <a:pt x="337151" y="1352483"/>
                    <a:pt x="319638" y="1369983"/>
                    <a:pt x="298056" y="1369983"/>
                  </a:cubicBezTo>
                  <a:cubicBezTo>
                    <a:pt x="276465" y="1369983"/>
                    <a:pt x="258966" y="1352483"/>
                    <a:pt x="258966" y="1330896"/>
                  </a:cubicBezTo>
                  <a:cubicBezTo>
                    <a:pt x="258966" y="1309309"/>
                    <a:pt x="276465" y="1291809"/>
                    <a:pt x="298056" y="1291809"/>
                  </a:cubicBezTo>
                  <a:close/>
                  <a:moveTo>
                    <a:pt x="203411" y="1291809"/>
                  </a:moveTo>
                  <a:cubicBezTo>
                    <a:pt x="225000" y="1291809"/>
                    <a:pt x="242500" y="1309309"/>
                    <a:pt x="242500" y="1330896"/>
                  </a:cubicBezTo>
                  <a:cubicBezTo>
                    <a:pt x="242500" y="1352483"/>
                    <a:pt x="225000" y="1369983"/>
                    <a:pt x="203411" y="1369983"/>
                  </a:cubicBezTo>
                  <a:cubicBezTo>
                    <a:pt x="181825" y="1369983"/>
                    <a:pt x="164325" y="1352483"/>
                    <a:pt x="164325" y="1330896"/>
                  </a:cubicBezTo>
                  <a:cubicBezTo>
                    <a:pt x="164325" y="1309309"/>
                    <a:pt x="181825" y="1291809"/>
                    <a:pt x="203411" y="1291809"/>
                  </a:cubicBezTo>
                  <a:close/>
                  <a:moveTo>
                    <a:pt x="111138" y="1291809"/>
                  </a:moveTo>
                  <a:cubicBezTo>
                    <a:pt x="132725" y="1291809"/>
                    <a:pt x="150225" y="1309309"/>
                    <a:pt x="150225" y="1330896"/>
                  </a:cubicBezTo>
                  <a:cubicBezTo>
                    <a:pt x="150225" y="1352483"/>
                    <a:pt x="132725" y="1369983"/>
                    <a:pt x="111138" y="1369983"/>
                  </a:cubicBezTo>
                  <a:cubicBezTo>
                    <a:pt x="89550" y="1369983"/>
                    <a:pt x="72052" y="1352483"/>
                    <a:pt x="72052" y="1330896"/>
                  </a:cubicBezTo>
                  <a:cubicBezTo>
                    <a:pt x="72052" y="1309309"/>
                    <a:pt x="89550" y="1291809"/>
                    <a:pt x="111138" y="1291809"/>
                  </a:cubicBezTo>
                  <a:close/>
                  <a:moveTo>
                    <a:pt x="2458171" y="1291807"/>
                  </a:moveTo>
                  <a:cubicBezTo>
                    <a:pt x="2479759" y="1291807"/>
                    <a:pt x="2497259" y="1309307"/>
                    <a:pt x="2497259" y="1330894"/>
                  </a:cubicBezTo>
                  <a:cubicBezTo>
                    <a:pt x="2497259" y="1352482"/>
                    <a:pt x="2479759" y="1369981"/>
                    <a:pt x="2458171" y="1369981"/>
                  </a:cubicBezTo>
                  <a:cubicBezTo>
                    <a:pt x="2436595" y="1369981"/>
                    <a:pt x="2419089" y="1352482"/>
                    <a:pt x="2419089" y="1330894"/>
                  </a:cubicBezTo>
                  <a:cubicBezTo>
                    <a:pt x="2419089" y="1309307"/>
                    <a:pt x="2436595" y="1291807"/>
                    <a:pt x="2458171" y="1291807"/>
                  </a:cubicBezTo>
                  <a:close/>
                  <a:moveTo>
                    <a:pt x="2363519" y="1291807"/>
                  </a:moveTo>
                  <a:cubicBezTo>
                    <a:pt x="2385107" y="1291807"/>
                    <a:pt x="2402607" y="1309307"/>
                    <a:pt x="2402607" y="1330894"/>
                  </a:cubicBezTo>
                  <a:cubicBezTo>
                    <a:pt x="2402607" y="1352481"/>
                    <a:pt x="2385107" y="1369981"/>
                    <a:pt x="2363519" y="1369981"/>
                  </a:cubicBezTo>
                  <a:cubicBezTo>
                    <a:pt x="2341932" y="1369981"/>
                    <a:pt x="2324432" y="1352481"/>
                    <a:pt x="2324432" y="1330894"/>
                  </a:cubicBezTo>
                  <a:cubicBezTo>
                    <a:pt x="2324432" y="1309307"/>
                    <a:pt x="2341932" y="1291807"/>
                    <a:pt x="2363519" y="1291807"/>
                  </a:cubicBezTo>
                  <a:close/>
                  <a:moveTo>
                    <a:pt x="3771293" y="1208998"/>
                  </a:moveTo>
                  <a:lnTo>
                    <a:pt x="3775177" y="1210607"/>
                  </a:lnTo>
                  <a:lnTo>
                    <a:pt x="3792595" y="1278349"/>
                  </a:lnTo>
                  <a:lnTo>
                    <a:pt x="3771293" y="1287173"/>
                  </a:lnTo>
                  <a:cubicBezTo>
                    <a:pt x="3749705" y="1287173"/>
                    <a:pt x="3732205" y="1269672"/>
                    <a:pt x="3732205" y="1248085"/>
                  </a:cubicBezTo>
                  <a:cubicBezTo>
                    <a:pt x="3732205" y="1226498"/>
                    <a:pt x="3749705" y="1208998"/>
                    <a:pt x="3771293" y="1208998"/>
                  </a:cubicBezTo>
                  <a:close/>
                  <a:moveTo>
                    <a:pt x="3679017" y="1208998"/>
                  </a:moveTo>
                  <a:cubicBezTo>
                    <a:pt x="3700604" y="1208998"/>
                    <a:pt x="3718103" y="1226498"/>
                    <a:pt x="3718103" y="1248085"/>
                  </a:cubicBezTo>
                  <a:cubicBezTo>
                    <a:pt x="3718103" y="1269672"/>
                    <a:pt x="3700604" y="1287173"/>
                    <a:pt x="3679017" y="1287173"/>
                  </a:cubicBezTo>
                  <a:cubicBezTo>
                    <a:pt x="3657429" y="1287173"/>
                    <a:pt x="3639929" y="1269672"/>
                    <a:pt x="3639929" y="1248085"/>
                  </a:cubicBezTo>
                  <a:cubicBezTo>
                    <a:pt x="3639929" y="1226498"/>
                    <a:pt x="3657429" y="1208998"/>
                    <a:pt x="3679017" y="1208998"/>
                  </a:cubicBezTo>
                  <a:close/>
                  <a:moveTo>
                    <a:pt x="3584377" y="1208998"/>
                  </a:moveTo>
                  <a:cubicBezTo>
                    <a:pt x="3605964" y="1208998"/>
                    <a:pt x="3623463" y="1226498"/>
                    <a:pt x="3623463" y="1248085"/>
                  </a:cubicBezTo>
                  <a:cubicBezTo>
                    <a:pt x="3623463" y="1269672"/>
                    <a:pt x="3605964" y="1287173"/>
                    <a:pt x="3584377" y="1287173"/>
                  </a:cubicBezTo>
                  <a:cubicBezTo>
                    <a:pt x="3562789" y="1287173"/>
                    <a:pt x="3545289" y="1269672"/>
                    <a:pt x="3545289" y="1248085"/>
                  </a:cubicBezTo>
                  <a:cubicBezTo>
                    <a:pt x="3545289" y="1226498"/>
                    <a:pt x="3562789" y="1208998"/>
                    <a:pt x="3584377" y="1208998"/>
                  </a:cubicBezTo>
                  <a:close/>
                  <a:moveTo>
                    <a:pt x="3489737" y="1208998"/>
                  </a:moveTo>
                  <a:cubicBezTo>
                    <a:pt x="3511324" y="1208998"/>
                    <a:pt x="3528823" y="1226498"/>
                    <a:pt x="3528823" y="1248085"/>
                  </a:cubicBezTo>
                  <a:cubicBezTo>
                    <a:pt x="3528823" y="1269672"/>
                    <a:pt x="3511324" y="1287173"/>
                    <a:pt x="3489737" y="1287173"/>
                  </a:cubicBezTo>
                  <a:cubicBezTo>
                    <a:pt x="3468149" y="1287173"/>
                    <a:pt x="3450649" y="1269672"/>
                    <a:pt x="3450649" y="1248085"/>
                  </a:cubicBezTo>
                  <a:cubicBezTo>
                    <a:pt x="3450649" y="1226498"/>
                    <a:pt x="3468149" y="1208998"/>
                    <a:pt x="3489737" y="1208998"/>
                  </a:cubicBezTo>
                  <a:close/>
                  <a:moveTo>
                    <a:pt x="3392731" y="1208998"/>
                  </a:moveTo>
                  <a:cubicBezTo>
                    <a:pt x="3414319" y="1208998"/>
                    <a:pt x="3431819" y="1226498"/>
                    <a:pt x="3431819" y="1248085"/>
                  </a:cubicBezTo>
                  <a:cubicBezTo>
                    <a:pt x="3431819" y="1269672"/>
                    <a:pt x="3414319" y="1287173"/>
                    <a:pt x="3392731" y="1287173"/>
                  </a:cubicBezTo>
                  <a:cubicBezTo>
                    <a:pt x="3371144" y="1287173"/>
                    <a:pt x="3353644" y="1269672"/>
                    <a:pt x="3353644" y="1248085"/>
                  </a:cubicBezTo>
                  <a:cubicBezTo>
                    <a:pt x="3353644" y="1226498"/>
                    <a:pt x="3371144" y="1208998"/>
                    <a:pt x="3392731" y="1208998"/>
                  </a:cubicBezTo>
                  <a:close/>
                  <a:moveTo>
                    <a:pt x="3300457" y="1208998"/>
                  </a:moveTo>
                  <a:cubicBezTo>
                    <a:pt x="3322044" y="1208998"/>
                    <a:pt x="3339544" y="1226498"/>
                    <a:pt x="3339544" y="1248085"/>
                  </a:cubicBezTo>
                  <a:cubicBezTo>
                    <a:pt x="3339544" y="1269672"/>
                    <a:pt x="3322044" y="1287173"/>
                    <a:pt x="3300457" y="1287173"/>
                  </a:cubicBezTo>
                  <a:cubicBezTo>
                    <a:pt x="3278869" y="1287173"/>
                    <a:pt x="3261369" y="1269672"/>
                    <a:pt x="3261369" y="1248085"/>
                  </a:cubicBezTo>
                  <a:cubicBezTo>
                    <a:pt x="3261369" y="1226498"/>
                    <a:pt x="3278869" y="1208998"/>
                    <a:pt x="3300457" y="1208998"/>
                  </a:cubicBezTo>
                  <a:close/>
                  <a:moveTo>
                    <a:pt x="3205817" y="1208998"/>
                  </a:moveTo>
                  <a:cubicBezTo>
                    <a:pt x="3227404" y="1208998"/>
                    <a:pt x="3244904" y="1226498"/>
                    <a:pt x="3244904" y="1248085"/>
                  </a:cubicBezTo>
                  <a:cubicBezTo>
                    <a:pt x="3244904" y="1269672"/>
                    <a:pt x="3227404" y="1287173"/>
                    <a:pt x="3205817" y="1287173"/>
                  </a:cubicBezTo>
                  <a:cubicBezTo>
                    <a:pt x="3184229" y="1287173"/>
                    <a:pt x="3166729" y="1269672"/>
                    <a:pt x="3166729" y="1248085"/>
                  </a:cubicBezTo>
                  <a:cubicBezTo>
                    <a:pt x="3166729" y="1226498"/>
                    <a:pt x="3184229" y="1208998"/>
                    <a:pt x="3205817" y="1208998"/>
                  </a:cubicBezTo>
                  <a:close/>
                  <a:moveTo>
                    <a:pt x="3111177" y="1208998"/>
                  </a:moveTo>
                  <a:cubicBezTo>
                    <a:pt x="3132764" y="1208998"/>
                    <a:pt x="3150264" y="1226498"/>
                    <a:pt x="3150264" y="1248085"/>
                  </a:cubicBezTo>
                  <a:cubicBezTo>
                    <a:pt x="3150264" y="1269672"/>
                    <a:pt x="3132764" y="1287173"/>
                    <a:pt x="3111177" y="1287173"/>
                  </a:cubicBezTo>
                  <a:cubicBezTo>
                    <a:pt x="3089589" y="1287173"/>
                    <a:pt x="3072089" y="1269672"/>
                    <a:pt x="3072089" y="1248085"/>
                  </a:cubicBezTo>
                  <a:cubicBezTo>
                    <a:pt x="3072089" y="1226498"/>
                    <a:pt x="3089589" y="1208998"/>
                    <a:pt x="3111177" y="1208998"/>
                  </a:cubicBezTo>
                  <a:close/>
                  <a:moveTo>
                    <a:pt x="3018902" y="1208998"/>
                  </a:moveTo>
                  <a:cubicBezTo>
                    <a:pt x="3040489" y="1208998"/>
                    <a:pt x="3057989" y="1226498"/>
                    <a:pt x="3057989" y="1248085"/>
                  </a:cubicBezTo>
                  <a:cubicBezTo>
                    <a:pt x="3057989" y="1269672"/>
                    <a:pt x="3040489" y="1287173"/>
                    <a:pt x="3018902" y="1287173"/>
                  </a:cubicBezTo>
                  <a:cubicBezTo>
                    <a:pt x="2997315" y="1287173"/>
                    <a:pt x="2979815" y="1269672"/>
                    <a:pt x="2979815" y="1248085"/>
                  </a:cubicBezTo>
                  <a:cubicBezTo>
                    <a:pt x="2979815" y="1226498"/>
                    <a:pt x="2997315" y="1208998"/>
                    <a:pt x="3018902" y="1208998"/>
                  </a:cubicBezTo>
                  <a:close/>
                  <a:moveTo>
                    <a:pt x="2924263" y="1208998"/>
                  </a:moveTo>
                  <a:cubicBezTo>
                    <a:pt x="2945850" y="1208998"/>
                    <a:pt x="2963349" y="1226498"/>
                    <a:pt x="2963349" y="1248085"/>
                  </a:cubicBezTo>
                  <a:cubicBezTo>
                    <a:pt x="2963349" y="1269672"/>
                    <a:pt x="2945850" y="1287173"/>
                    <a:pt x="2924263" y="1287173"/>
                  </a:cubicBezTo>
                  <a:cubicBezTo>
                    <a:pt x="2902675" y="1287173"/>
                    <a:pt x="2885175" y="1269672"/>
                    <a:pt x="2885175" y="1248085"/>
                  </a:cubicBezTo>
                  <a:cubicBezTo>
                    <a:pt x="2885175" y="1226498"/>
                    <a:pt x="2902675" y="1208998"/>
                    <a:pt x="2924263" y="1208998"/>
                  </a:cubicBezTo>
                  <a:close/>
                  <a:moveTo>
                    <a:pt x="2831988" y="1208998"/>
                  </a:moveTo>
                  <a:cubicBezTo>
                    <a:pt x="2853575" y="1208998"/>
                    <a:pt x="2871075" y="1226498"/>
                    <a:pt x="2871075" y="1248085"/>
                  </a:cubicBezTo>
                  <a:cubicBezTo>
                    <a:pt x="2871075" y="1269672"/>
                    <a:pt x="2853575" y="1287173"/>
                    <a:pt x="2831988" y="1287173"/>
                  </a:cubicBezTo>
                  <a:cubicBezTo>
                    <a:pt x="2810401" y="1287173"/>
                    <a:pt x="2792901" y="1269672"/>
                    <a:pt x="2792901" y="1248085"/>
                  </a:cubicBezTo>
                  <a:cubicBezTo>
                    <a:pt x="2792901" y="1226498"/>
                    <a:pt x="2810401" y="1208998"/>
                    <a:pt x="2831988" y="1208998"/>
                  </a:cubicBezTo>
                  <a:close/>
                  <a:moveTo>
                    <a:pt x="2737366" y="1208998"/>
                  </a:moveTo>
                  <a:cubicBezTo>
                    <a:pt x="2758935" y="1208998"/>
                    <a:pt x="2776435" y="1226498"/>
                    <a:pt x="2776435" y="1248085"/>
                  </a:cubicBezTo>
                  <a:cubicBezTo>
                    <a:pt x="2776435" y="1269672"/>
                    <a:pt x="2758935" y="1287173"/>
                    <a:pt x="2737366" y="1287173"/>
                  </a:cubicBezTo>
                  <a:cubicBezTo>
                    <a:pt x="2715775" y="1287173"/>
                    <a:pt x="2698269" y="1269672"/>
                    <a:pt x="2698269" y="1248085"/>
                  </a:cubicBezTo>
                  <a:cubicBezTo>
                    <a:pt x="2698269" y="1226498"/>
                    <a:pt x="2715775" y="1208998"/>
                    <a:pt x="2737366" y="1208998"/>
                  </a:cubicBezTo>
                  <a:close/>
                  <a:moveTo>
                    <a:pt x="2645076" y="1208998"/>
                  </a:moveTo>
                  <a:cubicBezTo>
                    <a:pt x="2666663" y="1208998"/>
                    <a:pt x="2684167" y="1226498"/>
                    <a:pt x="2684167" y="1248085"/>
                  </a:cubicBezTo>
                  <a:cubicBezTo>
                    <a:pt x="2684167" y="1269672"/>
                    <a:pt x="2666663" y="1287173"/>
                    <a:pt x="2645076" y="1287173"/>
                  </a:cubicBezTo>
                  <a:cubicBezTo>
                    <a:pt x="2623489" y="1287173"/>
                    <a:pt x="2605987" y="1269672"/>
                    <a:pt x="2605987" y="1248085"/>
                  </a:cubicBezTo>
                  <a:cubicBezTo>
                    <a:pt x="2605987" y="1226498"/>
                    <a:pt x="2623489" y="1208998"/>
                    <a:pt x="2645076" y="1208998"/>
                  </a:cubicBezTo>
                  <a:close/>
                  <a:moveTo>
                    <a:pt x="2550439" y="1208998"/>
                  </a:moveTo>
                  <a:cubicBezTo>
                    <a:pt x="2572024" y="1208998"/>
                    <a:pt x="2589523" y="1226498"/>
                    <a:pt x="2589523" y="1248085"/>
                  </a:cubicBezTo>
                  <a:cubicBezTo>
                    <a:pt x="2589523" y="1269672"/>
                    <a:pt x="2572024" y="1287173"/>
                    <a:pt x="2550439" y="1287173"/>
                  </a:cubicBezTo>
                  <a:cubicBezTo>
                    <a:pt x="2528851" y="1287173"/>
                    <a:pt x="2511356" y="1269672"/>
                    <a:pt x="2511356" y="1248085"/>
                  </a:cubicBezTo>
                  <a:cubicBezTo>
                    <a:pt x="2511356" y="1226498"/>
                    <a:pt x="2528851" y="1208998"/>
                    <a:pt x="2550439" y="1208998"/>
                  </a:cubicBezTo>
                  <a:close/>
                  <a:moveTo>
                    <a:pt x="1419546" y="1208998"/>
                  </a:moveTo>
                  <a:cubicBezTo>
                    <a:pt x="1441132" y="1208998"/>
                    <a:pt x="1458634" y="1226498"/>
                    <a:pt x="1458634" y="1248085"/>
                  </a:cubicBezTo>
                  <a:cubicBezTo>
                    <a:pt x="1458634" y="1269672"/>
                    <a:pt x="1441132" y="1287173"/>
                    <a:pt x="1419546" y="1287173"/>
                  </a:cubicBezTo>
                  <a:cubicBezTo>
                    <a:pt x="1397954" y="1287173"/>
                    <a:pt x="1380453" y="1269672"/>
                    <a:pt x="1380453" y="1248085"/>
                  </a:cubicBezTo>
                  <a:cubicBezTo>
                    <a:pt x="1380453" y="1226498"/>
                    <a:pt x="1397954" y="1208998"/>
                    <a:pt x="1419546" y="1208998"/>
                  </a:cubicBezTo>
                  <a:close/>
                  <a:moveTo>
                    <a:pt x="1329634" y="1208998"/>
                  </a:moveTo>
                  <a:cubicBezTo>
                    <a:pt x="1351222" y="1208998"/>
                    <a:pt x="1368722" y="1226498"/>
                    <a:pt x="1368722" y="1248085"/>
                  </a:cubicBezTo>
                  <a:cubicBezTo>
                    <a:pt x="1368722" y="1269672"/>
                    <a:pt x="1351222" y="1287173"/>
                    <a:pt x="1329634" y="1287173"/>
                  </a:cubicBezTo>
                  <a:cubicBezTo>
                    <a:pt x="1308050" y="1287173"/>
                    <a:pt x="1290553" y="1269672"/>
                    <a:pt x="1290553" y="1248085"/>
                  </a:cubicBezTo>
                  <a:cubicBezTo>
                    <a:pt x="1290553" y="1226498"/>
                    <a:pt x="1308050" y="1208998"/>
                    <a:pt x="1329634" y="1208998"/>
                  </a:cubicBezTo>
                  <a:close/>
                  <a:moveTo>
                    <a:pt x="1232640" y="1208998"/>
                  </a:moveTo>
                  <a:cubicBezTo>
                    <a:pt x="1254222" y="1208998"/>
                    <a:pt x="1271716" y="1226498"/>
                    <a:pt x="1271716" y="1248085"/>
                  </a:cubicBezTo>
                  <a:cubicBezTo>
                    <a:pt x="1271716" y="1269672"/>
                    <a:pt x="1254222" y="1287173"/>
                    <a:pt x="1232640" y="1287173"/>
                  </a:cubicBezTo>
                  <a:cubicBezTo>
                    <a:pt x="1211049" y="1287173"/>
                    <a:pt x="1193553" y="1269672"/>
                    <a:pt x="1193553" y="1248085"/>
                  </a:cubicBezTo>
                  <a:cubicBezTo>
                    <a:pt x="1193553" y="1226498"/>
                    <a:pt x="1211049" y="1208998"/>
                    <a:pt x="1232640" y="1208998"/>
                  </a:cubicBezTo>
                  <a:close/>
                  <a:moveTo>
                    <a:pt x="1142726" y="1208998"/>
                  </a:moveTo>
                  <a:cubicBezTo>
                    <a:pt x="1164318" y="1208998"/>
                    <a:pt x="1181817" y="1226498"/>
                    <a:pt x="1181817" y="1248085"/>
                  </a:cubicBezTo>
                  <a:cubicBezTo>
                    <a:pt x="1181817" y="1269672"/>
                    <a:pt x="1164318" y="1287173"/>
                    <a:pt x="1142726" y="1287173"/>
                  </a:cubicBezTo>
                  <a:cubicBezTo>
                    <a:pt x="1121134" y="1287173"/>
                    <a:pt x="1103630" y="1269672"/>
                    <a:pt x="1103630" y="1248085"/>
                  </a:cubicBezTo>
                  <a:cubicBezTo>
                    <a:pt x="1103630" y="1226498"/>
                    <a:pt x="1121134" y="1208998"/>
                    <a:pt x="1142726" y="1208998"/>
                  </a:cubicBezTo>
                  <a:close/>
                  <a:moveTo>
                    <a:pt x="1045706" y="1208998"/>
                  </a:moveTo>
                  <a:cubicBezTo>
                    <a:pt x="1067291" y="1208998"/>
                    <a:pt x="1084795" y="1226498"/>
                    <a:pt x="1084795" y="1248085"/>
                  </a:cubicBezTo>
                  <a:cubicBezTo>
                    <a:pt x="1084795" y="1269672"/>
                    <a:pt x="1067291" y="1287173"/>
                    <a:pt x="1045706" y="1287173"/>
                  </a:cubicBezTo>
                  <a:cubicBezTo>
                    <a:pt x="1024121" y="1287173"/>
                    <a:pt x="1006623" y="1269672"/>
                    <a:pt x="1006623" y="1248085"/>
                  </a:cubicBezTo>
                  <a:cubicBezTo>
                    <a:pt x="1006623" y="1226498"/>
                    <a:pt x="1024121" y="1208998"/>
                    <a:pt x="1045706" y="1208998"/>
                  </a:cubicBezTo>
                  <a:close/>
                  <a:moveTo>
                    <a:pt x="951076" y="1208998"/>
                  </a:moveTo>
                  <a:cubicBezTo>
                    <a:pt x="972661" y="1208998"/>
                    <a:pt x="990159" y="1226498"/>
                    <a:pt x="990159" y="1248085"/>
                  </a:cubicBezTo>
                  <a:cubicBezTo>
                    <a:pt x="990159" y="1269672"/>
                    <a:pt x="972661" y="1287173"/>
                    <a:pt x="951076" y="1287173"/>
                  </a:cubicBezTo>
                  <a:cubicBezTo>
                    <a:pt x="929492" y="1287173"/>
                    <a:pt x="911993" y="1269672"/>
                    <a:pt x="911993" y="1248085"/>
                  </a:cubicBezTo>
                  <a:cubicBezTo>
                    <a:pt x="911993" y="1226498"/>
                    <a:pt x="929492" y="1208998"/>
                    <a:pt x="951076" y="1208998"/>
                  </a:cubicBezTo>
                  <a:close/>
                  <a:moveTo>
                    <a:pt x="856447" y="1208998"/>
                  </a:moveTo>
                  <a:cubicBezTo>
                    <a:pt x="878032" y="1208998"/>
                    <a:pt x="895530" y="1226498"/>
                    <a:pt x="895530" y="1248085"/>
                  </a:cubicBezTo>
                  <a:cubicBezTo>
                    <a:pt x="895530" y="1269672"/>
                    <a:pt x="878032" y="1287173"/>
                    <a:pt x="856447" y="1287173"/>
                  </a:cubicBezTo>
                  <a:cubicBezTo>
                    <a:pt x="834863" y="1287173"/>
                    <a:pt x="817365" y="1269672"/>
                    <a:pt x="817365" y="1248085"/>
                  </a:cubicBezTo>
                  <a:cubicBezTo>
                    <a:pt x="817365" y="1226498"/>
                    <a:pt x="834863" y="1208998"/>
                    <a:pt x="856447" y="1208998"/>
                  </a:cubicBezTo>
                  <a:close/>
                  <a:moveTo>
                    <a:pt x="764185" y="1208998"/>
                  </a:moveTo>
                  <a:cubicBezTo>
                    <a:pt x="785769" y="1208998"/>
                    <a:pt x="803268" y="1226498"/>
                    <a:pt x="803268" y="1248085"/>
                  </a:cubicBezTo>
                  <a:cubicBezTo>
                    <a:pt x="803268" y="1269672"/>
                    <a:pt x="785769" y="1287173"/>
                    <a:pt x="764185" y="1287173"/>
                  </a:cubicBezTo>
                  <a:cubicBezTo>
                    <a:pt x="742593" y="1287173"/>
                    <a:pt x="725101" y="1269672"/>
                    <a:pt x="725101" y="1248085"/>
                  </a:cubicBezTo>
                  <a:cubicBezTo>
                    <a:pt x="725101" y="1226498"/>
                    <a:pt x="742593" y="1208998"/>
                    <a:pt x="764185" y="1208998"/>
                  </a:cubicBezTo>
                  <a:close/>
                  <a:moveTo>
                    <a:pt x="669534" y="1208998"/>
                  </a:moveTo>
                  <a:cubicBezTo>
                    <a:pt x="691139" y="1208998"/>
                    <a:pt x="708638" y="1226498"/>
                    <a:pt x="708638" y="1248085"/>
                  </a:cubicBezTo>
                  <a:cubicBezTo>
                    <a:pt x="708638" y="1269672"/>
                    <a:pt x="691139" y="1287173"/>
                    <a:pt x="669534" y="1287173"/>
                  </a:cubicBezTo>
                  <a:cubicBezTo>
                    <a:pt x="647964" y="1287173"/>
                    <a:pt x="630460" y="1269672"/>
                    <a:pt x="630460" y="1248085"/>
                  </a:cubicBezTo>
                  <a:cubicBezTo>
                    <a:pt x="630460" y="1226498"/>
                    <a:pt x="647964" y="1208998"/>
                    <a:pt x="669534" y="1208998"/>
                  </a:cubicBezTo>
                  <a:close/>
                  <a:moveTo>
                    <a:pt x="577261" y="1208998"/>
                  </a:moveTo>
                  <a:cubicBezTo>
                    <a:pt x="598853" y="1208998"/>
                    <a:pt x="616357" y="1226498"/>
                    <a:pt x="616357" y="1248085"/>
                  </a:cubicBezTo>
                  <a:cubicBezTo>
                    <a:pt x="616357" y="1269672"/>
                    <a:pt x="598853" y="1287173"/>
                    <a:pt x="577261" y="1287173"/>
                  </a:cubicBezTo>
                  <a:cubicBezTo>
                    <a:pt x="555668" y="1287173"/>
                    <a:pt x="538164" y="1269672"/>
                    <a:pt x="538164" y="1248085"/>
                  </a:cubicBezTo>
                  <a:cubicBezTo>
                    <a:pt x="538164" y="1226498"/>
                    <a:pt x="555668" y="1208998"/>
                    <a:pt x="577261" y="1208998"/>
                  </a:cubicBezTo>
                  <a:close/>
                  <a:moveTo>
                    <a:pt x="484976" y="1208998"/>
                  </a:moveTo>
                  <a:cubicBezTo>
                    <a:pt x="506562" y="1208998"/>
                    <a:pt x="524060" y="1226498"/>
                    <a:pt x="524060" y="1248085"/>
                  </a:cubicBezTo>
                  <a:cubicBezTo>
                    <a:pt x="524060" y="1269672"/>
                    <a:pt x="506562" y="1287173"/>
                    <a:pt x="484976" y="1287173"/>
                  </a:cubicBezTo>
                  <a:cubicBezTo>
                    <a:pt x="463381" y="1287173"/>
                    <a:pt x="445900" y="1269672"/>
                    <a:pt x="445900" y="1248085"/>
                  </a:cubicBezTo>
                  <a:cubicBezTo>
                    <a:pt x="445900" y="1226498"/>
                    <a:pt x="463381" y="1208998"/>
                    <a:pt x="484976" y="1208998"/>
                  </a:cubicBezTo>
                  <a:close/>
                  <a:moveTo>
                    <a:pt x="390329" y="1208998"/>
                  </a:moveTo>
                  <a:cubicBezTo>
                    <a:pt x="411922" y="1208998"/>
                    <a:pt x="429427" y="1226498"/>
                    <a:pt x="429427" y="1248085"/>
                  </a:cubicBezTo>
                  <a:cubicBezTo>
                    <a:pt x="429427" y="1269672"/>
                    <a:pt x="411922" y="1287173"/>
                    <a:pt x="390329" y="1287173"/>
                  </a:cubicBezTo>
                  <a:cubicBezTo>
                    <a:pt x="368757" y="1287173"/>
                    <a:pt x="351257" y="1269672"/>
                    <a:pt x="351257" y="1248085"/>
                  </a:cubicBezTo>
                  <a:cubicBezTo>
                    <a:pt x="351257" y="1226498"/>
                    <a:pt x="368757" y="1208998"/>
                    <a:pt x="390329" y="1208998"/>
                  </a:cubicBezTo>
                  <a:close/>
                  <a:moveTo>
                    <a:pt x="298060" y="1208998"/>
                  </a:moveTo>
                  <a:cubicBezTo>
                    <a:pt x="319643" y="1208998"/>
                    <a:pt x="337156" y="1226498"/>
                    <a:pt x="337156" y="1248085"/>
                  </a:cubicBezTo>
                  <a:cubicBezTo>
                    <a:pt x="337156" y="1269672"/>
                    <a:pt x="319643" y="1287173"/>
                    <a:pt x="298060" y="1287173"/>
                  </a:cubicBezTo>
                  <a:cubicBezTo>
                    <a:pt x="276469" y="1287173"/>
                    <a:pt x="258971" y="1269672"/>
                    <a:pt x="258971" y="1248085"/>
                  </a:cubicBezTo>
                  <a:cubicBezTo>
                    <a:pt x="258971" y="1226498"/>
                    <a:pt x="276469" y="1208998"/>
                    <a:pt x="298060" y="1208998"/>
                  </a:cubicBezTo>
                  <a:close/>
                  <a:moveTo>
                    <a:pt x="203415" y="1208998"/>
                  </a:moveTo>
                  <a:cubicBezTo>
                    <a:pt x="225006" y="1208998"/>
                    <a:pt x="242504" y="1226498"/>
                    <a:pt x="242504" y="1248085"/>
                  </a:cubicBezTo>
                  <a:cubicBezTo>
                    <a:pt x="242504" y="1269672"/>
                    <a:pt x="225006" y="1287173"/>
                    <a:pt x="203415" y="1287173"/>
                  </a:cubicBezTo>
                  <a:cubicBezTo>
                    <a:pt x="181830" y="1287173"/>
                    <a:pt x="164330" y="1269672"/>
                    <a:pt x="164330" y="1248085"/>
                  </a:cubicBezTo>
                  <a:cubicBezTo>
                    <a:pt x="164330" y="1226498"/>
                    <a:pt x="181830" y="1208998"/>
                    <a:pt x="203415" y="1208998"/>
                  </a:cubicBezTo>
                  <a:close/>
                  <a:moveTo>
                    <a:pt x="111142" y="1208998"/>
                  </a:moveTo>
                  <a:cubicBezTo>
                    <a:pt x="132728" y="1208998"/>
                    <a:pt x="150229" y="1226498"/>
                    <a:pt x="150229" y="1248085"/>
                  </a:cubicBezTo>
                  <a:cubicBezTo>
                    <a:pt x="150229" y="1269672"/>
                    <a:pt x="132728" y="1287173"/>
                    <a:pt x="111142" y="1287173"/>
                  </a:cubicBezTo>
                  <a:cubicBezTo>
                    <a:pt x="89555" y="1287173"/>
                    <a:pt x="72056" y="1269672"/>
                    <a:pt x="72056" y="1248085"/>
                  </a:cubicBezTo>
                  <a:cubicBezTo>
                    <a:pt x="72056" y="1226498"/>
                    <a:pt x="89555" y="1208998"/>
                    <a:pt x="111142" y="1208998"/>
                  </a:cubicBezTo>
                  <a:close/>
                  <a:moveTo>
                    <a:pt x="3746476" y="1129380"/>
                  </a:moveTo>
                  <a:lnTo>
                    <a:pt x="3771318" y="1197252"/>
                  </a:lnTo>
                  <a:lnTo>
                    <a:pt x="3771293" y="1197263"/>
                  </a:lnTo>
                  <a:cubicBezTo>
                    <a:pt x="3749705" y="1197263"/>
                    <a:pt x="3732205" y="1179775"/>
                    <a:pt x="3732205" y="1158188"/>
                  </a:cubicBezTo>
                  <a:cubicBezTo>
                    <a:pt x="3732205" y="1147394"/>
                    <a:pt x="3736580" y="1137623"/>
                    <a:pt x="3743654" y="1130550"/>
                  </a:cubicBezTo>
                  <a:close/>
                  <a:moveTo>
                    <a:pt x="577266" y="1119103"/>
                  </a:moveTo>
                  <a:cubicBezTo>
                    <a:pt x="598858" y="1119103"/>
                    <a:pt x="616362" y="1136603"/>
                    <a:pt x="616362" y="1158190"/>
                  </a:cubicBezTo>
                  <a:cubicBezTo>
                    <a:pt x="616362" y="1179777"/>
                    <a:pt x="598858" y="1197265"/>
                    <a:pt x="577266" y="1197265"/>
                  </a:cubicBezTo>
                  <a:cubicBezTo>
                    <a:pt x="555673" y="1197265"/>
                    <a:pt x="538168" y="1179777"/>
                    <a:pt x="538168" y="1158190"/>
                  </a:cubicBezTo>
                  <a:cubicBezTo>
                    <a:pt x="538168" y="1136603"/>
                    <a:pt x="555673" y="1119103"/>
                    <a:pt x="577266" y="1119103"/>
                  </a:cubicBezTo>
                  <a:close/>
                  <a:moveTo>
                    <a:pt x="484978" y="1119103"/>
                  </a:moveTo>
                  <a:cubicBezTo>
                    <a:pt x="506566" y="1119103"/>
                    <a:pt x="524065" y="1136603"/>
                    <a:pt x="524065" y="1158190"/>
                  </a:cubicBezTo>
                  <a:cubicBezTo>
                    <a:pt x="524065" y="1179777"/>
                    <a:pt x="506566" y="1197265"/>
                    <a:pt x="484978" y="1197265"/>
                  </a:cubicBezTo>
                  <a:cubicBezTo>
                    <a:pt x="463384" y="1197265"/>
                    <a:pt x="445905" y="1179777"/>
                    <a:pt x="445905" y="1158190"/>
                  </a:cubicBezTo>
                  <a:cubicBezTo>
                    <a:pt x="445905" y="1136603"/>
                    <a:pt x="463384" y="1119103"/>
                    <a:pt x="484978" y="1119103"/>
                  </a:cubicBezTo>
                  <a:close/>
                  <a:moveTo>
                    <a:pt x="390329" y="1119103"/>
                  </a:moveTo>
                  <a:cubicBezTo>
                    <a:pt x="411922" y="1119103"/>
                    <a:pt x="429432" y="1136603"/>
                    <a:pt x="429432" y="1158190"/>
                  </a:cubicBezTo>
                  <a:cubicBezTo>
                    <a:pt x="429432" y="1179777"/>
                    <a:pt x="411922" y="1197265"/>
                    <a:pt x="390329" y="1197265"/>
                  </a:cubicBezTo>
                  <a:cubicBezTo>
                    <a:pt x="368763" y="1197265"/>
                    <a:pt x="351262" y="1179777"/>
                    <a:pt x="351262" y="1158190"/>
                  </a:cubicBezTo>
                  <a:cubicBezTo>
                    <a:pt x="351262" y="1136603"/>
                    <a:pt x="368763" y="1119103"/>
                    <a:pt x="390329" y="1119103"/>
                  </a:cubicBezTo>
                  <a:close/>
                  <a:moveTo>
                    <a:pt x="298063" y="1119103"/>
                  </a:moveTo>
                  <a:cubicBezTo>
                    <a:pt x="319646" y="1119103"/>
                    <a:pt x="337159" y="1136603"/>
                    <a:pt x="337159" y="1158190"/>
                  </a:cubicBezTo>
                  <a:cubicBezTo>
                    <a:pt x="337159" y="1179777"/>
                    <a:pt x="319646" y="1197265"/>
                    <a:pt x="298063" y="1197265"/>
                  </a:cubicBezTo>
                  <a:cubicBezTo>
                    <a:pt x="276475" y="1197265"/>
                    <a:pt x="258974" y="1179777"/>
                    <a:pt x="258974" y="1158190"/>
                  </a:cubicBezTo>
                  <a:cubicBezTo>
                    <a:pt x="258974" y="1136603"/>
                    <a:pt x="276475" y="1119103"/>
                    <a:pt x="298063" y="1119103"/>
                  </a:cubicBezTo>
                  <a:close/>
                  <a:moveTo>
                    <a:pt x="203418" y="1119103"/>
                  </a:moveTo>
                  <a:cubicBezTo>
                    <a:pt x="225008" y="1119103"/>
                    <a:pt x="242508" y="1136603"/>
                    <a:pt x="242508" y="1158190"/>
                  </a:cubicBezTo>
                  <a:cubicBezTo>
                    <a:pt x="242508" y="1179777"/>
                    <a:pt x="225008" y="1197265"/>
                    <a:pt x="203418" y="1197265"/>
                  </a:cubicBezTo>
                  <a:cubicBezTo>
                    <a:pt x="181832" y="1197265"/>
                    <a:pt x="164333" y="1179777"/>
                    <a:pt x="164333" y="1158190"/>
                  </a:cubicBezTo>
                  <a:cubicBezTo>
                    <a:pt x="164333" y="1136603"/>
                    <a:pt x="181832" y="1119103"/>
                    <a:pt x="203418" y="1119103"/>
                  </a:cubicBezTo>
                  <a:close/>
                  <a:moveTo>
                    <a:pt x="3679018" y="1119102"/>
                  </a:moveTo>
                  <a:cubicBezTo>
                    <a:pt x="3700605" y="1119102"/>
                    <a:pt x="3718105" y="1136601"/>
                    <a:pt x="3718105" y="1158188"/>
                  </a:cubicBezTo>
                  <a:cubicBezTo>
                    <a:pt x="3718105" y="1179775"/>
                    <a:pt x="3700605" y="1197263"/>
                    <a:pt x="3679018" y="1197263"/>
                  </a:cubicBezTo>
                  <a:cubicBezTo>
                    <a:pt x="3657431" y="1197263"/>
                    <a:pt x="3639931" y="1179775"/>
                    <a:pt x="3639931" y="1158188"/>
                  </a:cubicBezTo>
                  <a:cubicBezTo>
                    <a:pt x="3639931" y="1136601"/>
                    <a:pt x="3657431" y="1119102"/>
                    <a:pt x="3679018" y="1119102"/>
                  </a:cubicBezTo>
                  <a:close/>
                  <a:moveTo>
                    <a:pt x="3584377" y="1119102"/>
                  </a:moveTo>
                  <a:cubicBezTo>
                    <a:pt x="3605964" y="1119102"/>
                    <a:pt x="3623463" y="1136601"/>
                    <a:pt x="3623463" y="1158188"/>
                  </a:cubicBezTo>
                  <a:cubicBezTo>
                    <a:pt x="3623463" y="1179775"/>
                    <a:pt x="3605964" y="1197263"/>
                    <a:pt x="3584377" y="1197263"/>
                  </a:cubicBezTo>
                  <a:cubicBezTo>
                    <a:pt x="3562789" y="1197263"/>
                    <a:pt x="3545289" y="1179775"/>
                    <a:pt x="3545289" y="1158188"/>
                  </a:cubicBezTo>
                  <a:cubicBezTo>
                    <a:pt x="3545289" y="1136601"/>
                    <a:pt x="3562789" y="1119102"/>
                    <a:pt x="3584377" y="1119102"/>
                  </a:cubicBezTo>
                  <a:close/>
                  <a:moveTo>
                    <a:pt x="3489737" y="1119102"/>
                  </a:moveTo>
                  <a:cubicBezTo>
                    <a:pt x="3511324" y="1119102"/>
                    <a:pt x="3528823" y="1136601"/>
                    <a:pt x="3528823" y="1158188"/>
                  </a:cubicBezTo>
                  <a:cubicBezTo>
                    <a:pt x="3528823" y="1179775"/>
                    <a:pt x="3511324" y="1197263"/>
                    <a:pt x="3489737" y="1197263"/>
                  </a:cubicBezTo>
                  <a:cubicBezTo>
                    <a:pt x="3468149" y="1197263"/>
                    <a:pt x="3450649" y="1179775"/>
                    <a:pt x="3450649" y="1158188"/>
                  </a:cubicBezTo>
                  <a:cubicBezTo>
                    <a:pt x="3450649" y="1136601"/>
                    <a:pt x="3468149" y="1119102"/>
                    <a:pt x="3489737" y="1119102"/>
                  </a:cubicBezTo>
                  <a:close/>
                  <a:moveTo>
                    <a:pt x="3392731" y="1119102"/>
                  </a:moveTo>
                  <a:cubicBezTo>
                    <a:pt x="3414319" y="1119102"/>
                    <a:pt x="3431819" y="1136601"/>
                    <a:pt x="3431819" y="1158188"/>
                  </a:cubicBezTo>
                  <a:cubicBezTo>
                    <a:pt x="3431819" y="1179775"/>
                    <a:pt x="3414319" y="1197263"/>
                    <a:pt x="3392731" y="1197263"/>
                  </a:cubicBezTo>
                  <a:cubicBezTo>
                    <a:pt x="3371144" y="1197263"/>
                    <a:pt x="3353644" y="1179775"/>
                    <a:pt x="3353644" y="1158188"/>
                  </a:cubicBezTo>
                  <a:cubicBezTo>
                    <a:pt x="3353644" y="1136601"/>
                    <a:pt x="3371144" y="1119102"/>
                    <a:pt x="3392731" y="1119102"/>
                  </a:cubicBezTo>
                  <a:close/>
                  <a:moveTo>
                    <a:pt x="3300457" y="1119102"/>
                  </a:moveTo>
                  <a:cubicBezTo>
                    <a:pt x="3322044" y="1119102"/>
                    <a:pt x="3339544" y="1136601"/>
                    <a:pt x="3339544" y="1158188"/>
                  </a:cubicBezTo>
                  <a:cubicBezTo>
                    <a:pt x="3339544" y="1179775"/>
                    <a:pt x="3322044" y="1197263"/>
                    <a:pt x="3300457" y="1197263"/>
                  </a:cubicBezTo>
                  <a:cubicBezTo>
                    <a:pt x="3278869" y="1197263"/>
                    <a:pt x="3261369" y="1179775"/>
                    <a:pt x="3261369" y="1158188"/>
                  </a:cubicBezTo>
                  <a:cubicBezTo>
                    <a:pt x="3261369" y="1136601"/>
                    <a:pt x="3278869" y="1119102"/>
                    <a:pt x="3300457" y="1119102"/>
                  </a:cubicBezTo>
                  <a:close/>
                  <a:moveTo>
                    <a:pt x="3205817" y="1119102"/>
                  </a:moveTo>
                  <a:cubicBezTo>
                    <a:pt x="3227404" y="1119102"/>
                    <a:pt x="3244904" y="1136601"/>
                    <a:pt x="3244904" y="1158188"/>
                  </a:cubicBezTo>
                  <a:cubicBezTo>
                    <a:pt x="3244904" y="1179775"/>
                    <a:pt x="3227404" y="1197263"/>
                    <a:pt x="3205817" y="1197263"/>
                  </a:cubicBezTo>
                  <a:cubicBezTo>
                    <a:pt x="3184229" y="1197263"/>
                    <a:pt x="3166729" y="1179775"/>
                    <a:pt x="3166729" y="1158188"/>
                  </a:cubicBezTo>
                  <a:cubicBezTo>
                    <a:pt x="3166729" y="1136601"/>
                    <a:pt x="3184229" y="1119102"/>
                    <a:pt x="3205817" y="1119102"/>
                  </a:cubicBezTo>
                  <a:close/>
                  <a:moveTo>
                    <a:pt x="3018902" y="1119102"/>
                  </a:moveTo>
                  <a:cubicBezTo>
                    <a:pt x="3040489" y="1119102"/>
                    <a:pt x="3057989" y="1136601"/>
                    <a:pt x="3057989" y="1158188"/>
                  </a:cubicBezTo>
                  <a:cubicBezTo>
                    <a:pt x="3057989" y="1179775"/>
                    <a:pt x="3040489" y="1197263"/>
                    <a:pt x="3018902" y="1197263"/>
                  </a:cubicBezTo>
                  <a:cubicBezTo>
                    <a:pt x="2997315" y="1197263"/>
                    <a:pt x="2979815" y="1179775"/>
                    <a:pt x="2979815" y="1158188"/>
                  </a:cubicBezTo>
                  <a:cubicBezTo>
                    <a:pt x="2979815" y="1136601"/>
                    <a:pt x="2997315" y="1119102"/>
                    <a:pt x="3018902" y="1119102"/>
                  </a:cubicBezTo>
                  <a:close/>
                  <a:moveTo>
                    <a:pt x="2924263" y="1119102"/>
                  </a:moveTo>
                  <a:cubicBezTo>
                    <a:pt x="2945850" y="1119102"/>
                    <a:pt x="2963349" y="1136601"/>
                    <a:pt x="2963349" y="1158188"/>
                  </a:cubicBezTo>
                  <a:cubicBezTo>
                    <a:pt x="2963349" y="1179775"/>
                    <a:pt x="2945850" y="1197263"/>
                    <a:pt x="2924263" y="1197263"/>
                  </a:cubicBezTo>
                  <a:cubicBezTo>
                    <a:pt x="2902675" y="1197263"/>
                    <a:pt x="2885175" y="1179775"/>
                    <a:pt x="2885175" y="1158188"/>
                  </a:cubicBezTo>
                  <a:cubicBezTo>
                    <a:pt x="2885175" y="1136601"/>
                    <a:pt x="2902675" y="1119102"/>
                    <a:pt x="2924263" y="1119102"/>
                  </a:cubicBezTo>
                  <a:close/>
                  <a:moveTo>
                    <a:pt x="2831988" y="1119102"/>
                  </a:moveTo>
                  <a:cubicBezTo>
                    <a:pt x="2853575" y="1119102"/>
                    <a:pt x="2871075" y="1136601"/>
                    <a:pt x="2871075" y="1158188"/>
                  </a:cubicBezTo>
                  <a:cubicBezTo>
                    <a:pt x="2871075" y="1179775"/>
                    <a:pt x="2853575" y="1197263"/>
                    <a:pt x="2831988" y="1197263"/>
                  </a:cubicBezTo>
                  <a:cubicBezTo>
                    <a:pt x="2810401" y="1197263"/>
                    <a:pt x="2792901" y="1179775"/>
                    <a:pt x="2792901" y="1158188"/>
                  </a:cubicBezTo>
                  <a:cubicBezTo>
                    <a:pt x="2792901" y="1136601"/>
                    <a:pt x="2810401" y="1119102"/>
                    <a:pt x="2831988" y="1119102"/>
                  </a:cubicBezTo>
                  <a:close/>
                  <a:moveTo>
                    <a:pt x="2737367" y="1119102"/>
                  </a:moveTo>
                  <a:cubicBezTo>
                    <a:pt x="2758935" y="1119102"/>
                    <a:pt x="2776435" y="1136601"/>
                    <a:pt x="2776435" y="1158188"/>
                  </a:cubicBezTo>
                  <a:cubicBezTo>
                    <a:pt x="2776435" y="1179775"/>
                    <a:pt x="2758935" y="1197263"/>
                    <a:pt x="2737367" y="1197263"/>
                  </a:cubicBezTo>
                  <a:cubicBezTo>
                    <a:pt x="2715775" y="1197263"/>
                    <a:pt x="2698271" y="1179775"/>
                    <a:pt x="2698271" y="1158188"/>
                  </a:cubicBezTo>
                  <a:cubicBezTo>
                    <a:pt x="2698271" y="1136601"/>
                    <a:pt x="2715775" y="1119102"/>
                    <a:pt x="2737367" y="1119102"/>
                  </a:cubicBezTo>
                  <a:close/>
                  <a:moveTo>
                    <a:pt x="2645076" y="1119102"/>
                  </a:moveTo>
                  <a:cubicBezTo>
                    <a:pt x="2666663" y="1119102"/>
                    <a:pt x="2684167" y="1136601"/>
                    <a:pt x="2684167" y="1158188"/>
                  </a:cubicBezTo>
                  <a:cubicBezTo>
                    <a:pt x="2684167" y="1179775"/>
                    <a:pt x="2666663" y="1197263"/>
                    <a:pt x="2645076" y="1197263"/>
                  </a:cubicBezTo>
                  <a:cubicBezTo>
                    <a:pt x="2623490" y="1197263"/>
                    <a:pt x="2605987" y="1179775"/>
                    <a:pt x="2605987" y="1158188"/>
                  </a:cubicBezTo>
                  <a:cubicBezTo>
                    <a:pt x="2605987" y="1136601"/>
                    <a:pt x="2623490" y="1119102"/>
                    <a:pt x="2645076" y="1119102"/>
                  </a:cubicBezTo>
                  <a:close/>
                  <a:moveTo>
                    <a:pt x="2550439" y="1119102"/>
                  </a:moveTo>
                  <a:cubicBezTo>
                    <a:pt x="2572024" y="1119102"/>
                    <a:pt x="2589523" y="1136601"/>
                    <a:pt x="2589523" y="1158188"/>
                  </a:cubicBezTo>
                  <a:cubicBezTo>
                    <a:pt x="2589523" y="1179775"/>
                    <a:pt x="2572024" y="1197263"/>
                    <a:pt x="2550439" y="1197263"/>
                  </a:cubicBezTo>
                  <a:cubicBezTo>
                    <a:pt x="2528851" y="1197263"/>
                    <a:pt x="2511357" y="1179775"/>
                    <a:pt x="2511357" y="1158188"/>
                  </a:cubicBezTo>
                  <a:cubicBezTo>
                    <a:pt x="2511357" y="1136601"/>
                    <a:pt x="2528851" y="1119102"/>
                    <a:pt x="2550439" y="1119102"/>
                  </a:cubicBezTo>
                  <a:close/>
                  <a:moveTo>
                    <a:pt x="2458167" y="1119102"/>
                  </a:moveTo>
                  <a:cubicBezTo>
                    <a:pt x="2479755" y="1119102"/>
                    <a:pt x="2497254" y="1136601"/>
                    <a:pt x="2497254" y="1158188"/>
                  </a:cubicBezTo>
                  <a:cubicBezTo>
                    <a:pt x="2497254" y="1179775"/>
                    <a:pt x="2479755" y="1197263"/>
                    <a:pt x="2458167" y="1197263"/>
                  </a:cubicBezTo>
                  <a:cubicBezTo>
                    <a:pt x="2436589" y="1197263"/>
                    <a:pt x="2419085" y="1179775"/>
                    <a:pt x="2419085" y="1158188"/>
                  </a:cubicBezTo>
                  <a:cubicBezTo>
                    <a:pt x="2419085" y="1136601"/>
                    <a:pt x="2436589" y="1119102"/>
                    <a:pt x="2458167" y="1119102"/>
                  </a:cubicBezTo>
                  <a:close/>
                  <a:moveTo>
                    <a:pt x="1419551" y="1119102"/>
                  </a:moveTo>
                  <a:cubicBezTo>
                    <a:pt x="1441137" y="1119102"/>
                    <a:pt x="1458638" y="1136601"/>
                    <a:pt x="1458638" y="1158188"/>
                  </a:cubicBezTo>
                  <a:cubicBezTo>
                    <a:pt x="1458638" y="1179775"/>
                    <a:pt x="1441137" y="1197263"/>
                    <a:pt x="1419551" y="1197263"/>
                  </a:cubicBezTo>
                  <a:cubicBezTo>
                    <a:pt x="1397958" y="1197263"/>
                    <a:pt x="1380457" y="1179775"/>
                    <a:pt x="1380457" y="1158188"/>
                  </a:cubicBezTo>
                  <a:cubicBezTo>
                    <a:pt x="1380457" y="1136601"/>
                    <a:pt x="1397958" y="1119102"/>
                    <a:pt x="1419551" y="1119102"/>
                  </a:cubicBezTo>
                  <a:close/>
                  <a:moveTo>
                    <a:pt x="1329639" y="1119102"/>
                  </a:moveTo>
                  <a:cubicBezTo>
                    <a:pt x="1351226" y="1119102"/>
                    <a:pt x="1368728" y="1136601"/>
                    <a:pt x="1368728" y="1158188"/>
                  </a:cubicBezTo>
                  <a:cubicBezTo>
                    <a:pt x="1368728" y="1179775"/>
                    <a:pt x="1351226" y="1197263"/>
                    <a:pt x="1329639" y="1197263"/>
                  </a:cubicBezTo>
                  <a:cubicBezTo>
                    <a:pt x="1308055" y="1197263"/>
                    <a:pt x="1290557" y="1179775"/>
                    <a:pt x="1290557" y="1158188"/>
                  </a:cubicBezTo>
                  <a:cubicBezTo>
                    <a:pt x="1290557" y="1136601"/>
                    <a:pt x="1308055" y="1119102"/>
                    <a:pt x="1329639" y="1119102"/>
                  </a:cubicBezTo>
                  <a:close/>
                  <a:moveTo>
                    <a:pt x="1232644" y="1119102"/>
                  </a:moveTo>
                  <a:cubicBezTo>
                    <a:pt x="1254227" y="1119102"/>
                    <a:pt x="1271718" y="1136601"/>
                    <a:pt x="1271718" y="1158188"/>
                  </a:cubicBezTo>
                  <a:cubicBezTo>
                    <a:pt x="1271718" y="1179775"/>
                    <a:pt x="1254227" y="1197263"/>
                    <a:pt x="1232644" y="1197263"/>
                  </a:cubicBezTo>
                  <a:cubicBezTo>
                    <a:pt x="1211054" y="1197263"/>
                    <a:pt x="1193557" y="1179775"/>
                    <a:pt x="1193557" y="1158188"/>
                  </a:cubicBezTo>
                  <a:cubicBezTo>
                    <a:pt x="1193557" y="1136601"/>
                    <a:pt x="1211054" y="1119102"/>
                    <a:pt x="1232644" y="1119102"/>
                  </a:cubicBezTo>
                  <a:close/>
                  <a:moveTo>
                    <a:pt x="1142731" y="1119102"/>
                  </a:moveTo>
                  <a:cubicBezTo>
                    <a:pt x="1164323" y="1119102"/>
                    <a:pt x="1181822" y="1136601"/>
                    <a:pt x="1181822" y="1158188"/>
                  </a:cubicBezTo>
                  <a:cubicBezTo>
                    <a:pt x="1181822" y="1179775"/>
                    <a:pt x="1164323" y="1197263"/>
                    <a:pt x="1142731" y="1197263"/>
                  </a:cubicBezTo>
                  <a:cubicBezTo>
                    <a:pt x="1121139" y="1197263"/>
                    <a:pt x="1103634" y="1179775"/>
                    <a:pt x="1103634" y="1158188"/>
                  </a:cubicBezTo>
                  <a:cubicBezTo>
                    <a:pt x="1103634" y="1136601"/>
                    <a:pt x="1121139" y="1119102"/>
                    <a:pt x="1142731" y="1119102"/>
                  </a:cubicBezTo>
                  <a:close/>
                  <a:moveTo>
                    <a:pt x="1045709" y="1119102"/>
                  </a:moveTo>
                  <a:cubicBezTo>
                    <a:pt x="1067294" y="1119102"/>
                    <a:pt x="1084799" y="1136601"/>
                    <a:pt x="1084799" y="1158188"/>
                  </a:cubicBezTo>
                  <a:cubicBezTo>
                    <a:pt x="1084799" y="1179775"/>
                    <a:pt x="1067294" y="1197263"/>
                    <a:pt x="1045709" y="1197263"/>
                  </a:cubicBezTo>
                  <a:cubicBezTo>
                    <a:pt x="1024126" y="1197263"/>
                    <a:pt x="1006627" y="1179775"/>
                    <a:pt x="1006627" y="1158188"/>
                  </a:cubicBezTo>
                  <a:cubicBezTo>
                    <a:pt x="1006627" y="1136601"/>
                    <a:pt x="1024126" y="1119102"/>
                    <a:pt x="1045709" y="1119102"/>
                  </a:cubicBezTo>
                  <a:close/>
                  <a:moveTo>
                    <a:pt x="951081" y="1119102"/>
                  </a:moveTo>
                  <a:cubicBezTo>
                    <a:pt x="972665" y="1119102"/>
                    <a:pt x="990163" y="1136601"/>
                    <a:pt x="990163" y="1158188"/>
                  </a:cubicBezTo>
                  <a:cubicBezTo>
                    <a:pt x="990163" y="1179775"/>
                    <a:pt x="972665" y="1197263"/>
                    <a:pt x="951081" y="1197263"/>
                  </a:cubicBezTo>
                  <a:cubicBezTo>
                    <a:pt x="929496" y="1197263"/>
                    <a:pt x="911999" y="1179775"/>
                    <a:pt x="911999" y="1158188"/>
                  </a:cubicBezTo>
                  <a:cubicBezTo>
                    <a:pt x="911999" y="1136601"/>
                    <a:pt x="929496" y="1119102"/>
                    <a:pt x="951081" y="1119102"/>
                  </a:cubicBezTo>
                  <a:close/>
                  <a:moveTo>
                    <a:pt x="856453" y="1119102"/>
                  </a:moveTo>
                  <a:cubicBezTo>
                    <a:pt x="878037" y="1119102"/>
                    <a:pt x="895535" y="1136601"/>
                    <a:pt x="895535" y="1158188"/>
                  </a:cubicBezTo>
                  <a:cubicBezTo>
                    <a:pt x="895535" y="1179775"/>
                    <a:pt x="878037" y="1197263"/>
                    <a:pt x="856453" y="1197263"/>
                  </a:cubicBezTo>
                  <a:cubicBezTo>
                    <a:pt x="834868" y="1197263"/>
                    <a:pt x="817371" y="1179775"/>
                    <a:pt x="817371" y="1158188"/>
                  </a:cubicBezTo>
                  <a:cubicBezTo>
                    <a:pt x="817371" y="1136601"/>
                    <a:pt x="834868" y="1119102"/>
                    <a:pt x="856453" y="1119102"/>
                  </a:cubicBezTo>
                  <a:close/>
                  <a:moveTo>
                    <a:pt x="764190" y="1119102"/>
                  </a:moveTo>
                  <a:cubicBezTo>
                    <a:pt x="785775" y="1119102"/>
                    <a:pt x="803273" y="1136601"/>
                    <a:pt x="803273" y="1158188"/>
                  </a:cubicBezTo>
                  <a:cubicBezTo>
                    <a:pt x="803273" y="1179775"/>
                    <a:pt x="785775" y="1197263"/>
                    <a:pt x="764190" y="1197263"/>
                  </a:cubicBezTo>
                  <a:cubicBezTo>
                    <a:pt x="742599" y="1197263"/>
                    <a:pt x="725108" y="1179775"/>
                    <a:pt x="725108" y="1158188"/>
                  </a:cubicBezTo>
                  <a:cubicBezTo>
                    <a:pt x="725108" y="1136601"/>
                    <a:pt x="742599" y="1119102"/>
                    <a:pt x="764190" y="1119102"/>
                  </a:cubicBezTo>
                  <a:close/>
                  <a:moveTo>
                    <a:pt x="669546" y="1119102"/>
                  </a:moveTo>
                  <a:cubicBezTo>
                    <a:pt x="691146" y="1119102"/>
                    <a:pt x="708645" y="1136601"/>
                    <a:pt x="708645" y="1158188"/>
                  </a:cubicBezTo>
                  <a:cubicBezTo>
                    <a:pt x="708645" y="1179775"/>
                    <a:pt x="691146" y="1197263"/>
                    <a:pt x="669546" y="1197263"/>
                  </a:cubicBezTo>
                  <a:cubicBezTo>
                    <a:pt x="647970" y="1197263"/>
                    <a:pt x="630466" y="1179775"/>
                    <a:pt x="630466" y="1158188"/>
                  </a:cubicBezTo>
                  <a:cubicBezTo>
                    <a:pt x="630466" y="1136601"/>
                    <a:pt x="647970" y="1119102"/>
                    <a:pt x="669546" y="1119102"/>
                  </a:cubicBezTo>
                  <a:close/>
                  <a:moveTo>
                    <a:pt x="111145" y="1119102"/>
                  </a:moveTo>
                  <a:cubicBezTo>
                    <a:pt x="132732" y="1119102"/>
                    <a:pt x="150233" y="1136602"/>
                    <a:pt x="150233" y="1158188"/>
                  </a:cubicBezTo>
                  <a:cubicBezTo>
                    <a:pt x="150233" y="1179776"/>
                    <a:pt x="132732" y="1197263"/>
                    <a:pt x="111145" y="1197263"/>
                  </a:cubicBezTo>
                  <a:cubicBezTo>
                    <a:pt x="89558" y="1197263"/>
                    <a:pt x="72060" y="1179776"/>
                    <a:pt x="72060" y="1158188"/>
                  </a:cubicBezTo>
                  <a:cubicBezTo>
                    <a:pt x="72060" y="1136602"/>
                    <a:pt x="89558" y="1119102"/>
                    <a:pt x="111145" y="1119102"/>
                  </a:cubicBezTo>
                  <a:close/>
                  <a:moveTo>
                    <a:pt x="24845" y="1037379"/>
                  </a:moveTo>
                  <a:lnTo>
                    <a:pt x="44149" y="1045374"/>
                  </a:lnTo>
                  <a:cubicBezTo>
                    <a:pt x="51222" y="1052447"/>
                    <a:pt x="55597" y="1062219"/>
                    <a:pt x="55597" y="1073013"/>
                  </a:cubicBezTo>
                  <a:cubicBezTo>
                    <a:pt x="55597" y="1094599"/>
                    <a:pt x="38097" y="1112099"/>
                    <a:pt x="16510" y="1112099"/>
                  </a:cubicBezTo>
                  <a:lnTo>
                    <a:pt x="0" y="1105261"/>
                  </a:lnTo>
                  <a:close/>
                  <a:moveTo>
                    <a:pt x="3679017" y="1033926"/>
                  </a:moveTo>
                  <a:cubicBezTo>
                    <a:pt x="3700604" y="1033926"/>
                    <a:pt x="3718103" y="1051425"/>
                    <a:pt x="3718103" y="1073013"/>
                  </a:cubicBezTo>
                  <a:cubicBezTo>
                    <a:pt x="3718103" y="1094599"/>
                    <a:pt x="3700604" y="1112099"/>
                    <a:pt x="3679017" y="1112099"/>
                  </a:cubicBezTo>
                  <a:cubicBezTo>
                    <a:pt x="3657429" y="1112099"/>
                    <a:pt x="3639929" y="1094599"/>
                    <a:pt x="3639929" y="1073013"/>
                  </a:cubicBezTo>
                  <a:cubicBezTo>
                    <a:pt x="3639929" y="1051425"/>
                    <a:pt x="3657429" y="1033926"/>
                    <a:pt x="3679017" y="1033926"/>
                  </a:cubicBezTo>
                  <a:close/>
                  <a:moveTo>
                    <a:pt x="3584377" y="1033926"/>
                  </a:moveTo>
                  <a:cubicBezTo>
                    <a:pt x="3605964" y="1033926"/>
                    <a:pt x="3623463" y="1051425"/>
                    <a:pt x="3623463" y="1073013"/>
                  </a:cubicBezTo>
                  <a:cubicBezTo>
                    <a:pt x="3623463" y="1094599"/>
                    <a:pt x="3605964" y="1112099"/>
                    <a:pt x="3584377" y="1112099"/>
                  </a:cubicBezTo>
                  <a:cubicBezTo>
                    <a:pt x="3562789" y="1112099"/>
                    <a:pt x="3545289" y="1094599"/>
                    <a:pt x="3545289" y="1073013"/>
                  </a:cubicBezTo>
                  <a:cubicBezTo>
                    <a:pt x="3545289" y="1051425"/>
                    <a:pt x="3562789" y="1033926"/>
                    <a:pt x="3584377" y="1033926"/>
                  </a:cubicBezTo>
                  <a:close/>
                  <a:moveTo>
                    <a:pt x="3489737" y="1033926"/>
                  </a:moveTo>
                  <a:cubicBezTo>
                    <a:pt x="3511324" y="1033926"/>
                    <a:pt x="3528823" y="1051425"/>
                    <a:pt x="3528823" y="1073013"/>
                  </a:cubicBezTo>
                  <a:cubicBezTo>
                    <a:pt x="3528823" y="1094599"/>
                    <a:pt x="3511324" y="1112099"/>
                    <a:pt x="3489737" y="1112099"/>
                  </a:cubicBezTo>
                  <a:cubicBezTo>
                    <a:pt x="3468149" y="1112099"/>
                    <a:pt x="3450649" y="1094599"/>
                    <a:pt x="3450649" y="1073013"/>
                  </a:cubicBezTo>
                  <a:cubicBezTo>
                    <a:pt x="3450649" y="1051425"/>
                    <a:pt x="3468149" y="1033926"/>
                    <a:pt x="3489737" y="1033926"/>
                  </a:cubicBezTo>
                  <a:close/>
                  <a:moveTo>
                    <a:pt x="3392731" y="1033926"/>
                  </a:moveTo>
                  <a:cubicBezTo>
                    <a:pt x="3414319" y="1033926"/>
                    <a:pt x="3431819" y="1051425"/>
                    <a:pt x="3431819" y="1073013"/>
                  </a:cubicBezTo>
                  <a:cubicBezTo>
                    <a:pt x="3431819" y="1094599"/>
                    <a:pt x="3414319" y="1112099"/>
                    <a:pt x="3392731" y="1112099"/>
                  </a:cubicBezTo>
                  <a:cubicBezTo>
                    <a:pt x="3371144" y="1112099"/>
                    <a:pt x="3353644" y="1094599"/>
                    <a:pt x="3353644" y="1073013"/>
                  </a:cubicBezTo>
                  <a:cubicBezTo>
                    <a:pt x="3353644" y="1051425"/>
                    <a:pt x="3371144" y="1033926"/>
                    <a:pt x="3392731" y="1033926"/>
                  </a:cubicBezTo>
                  <a:close/>
                  <a:moveTo>
                    <a:pt x="3300455" y="1033926"/>
                  </a:moveTo>
                  <a:cubicBezTo>
                    <a:pt x="3322043" y="1033926"/>
                    <a:pt x="3339543" y="1051425"/>
                    <a:pt x="3339543" y="1073013"/>
                  </a:cubicBezTo>
                  <a:cubicBezTo>
                    <a:pt x="3339543" y="1094599"/>
                    <a:pt x="3322043" y="1112099"/>
                    <a:pt x="3300455" y="1112099"/>
                  </a:cubicBezTo>
                  <a:cubicBezTo>
                    <a:pt x="3278868" y="1112099"/>
                    <a:pt x="3261368" y="1094599"/>
                    <a:pt x="3261368" y="1073013"/>
                  </a:cubicBezTo>
                  <a:cubicBezTo>
                    <a:pt x="3261368" y="1051425"/>
                    <a:pt x="3278868" y="1033926"/>
                    <a:pt x="3300455" y="1033926"/>
                  </a:cubicBezTo>
                  <a:close/>
                  <a:moveTo>
                    <a:pt x="3205815" y="1033926"/>
                  </a:moveTo>
                  <a:cubicBezTo>
                    <a:pt x="3227403" y="1033926"/>
                    <a:pt x="3244903" y="1051425"/>
                    <a:pt x="3244903" y="1073013"/>
                  </a:cubicBezTo>
                  <a:cubicBezTo>
                    <a:pt x="3244903" y="1094599"/>
                    <a:pt x="3227403" y="1112099"/>
                    <a:pt x="3205815" y="1112099"/>
                  </a:cubicBezTo>
                  <a:cubicBezTo>
                    <a:pt x="3184228" y="1112099"/>
                    <a:pt x="3166728" y="1094599"/>
                    <a:pt x="3166728" y="1073013"/>
                  </a:cubicBezTo>
                  <a:cubicBezTo>
                    <a:pt x="3166728" y="1051425"/>
                    <a:pt x="3184228" y="1033926"/>
                    <a:pt x="3205815" y="1033926"/>
                  </a:cubicBezTo>
                  <a:close/>
                  <a:moveTo>
                    <a:pt x="3111175" y="1033926"/>
                  </a:moveTo>
                  <a:cubicBezTo>
                    <a:pt x="3132763" y="1033926"/>
                    <a:pt x="3150263" y="1051425"/>
                    <a:pt x="3150263" y="1073013"/>
                  </a:cubicBezTo>
                  <a:cubicBezTo>
                    <a:pt x="3150263" y="1094599"/>
                    <a:pt x="3132763" y="1112099"/>
                    <a:pt x="3111175" y="1112099"/>
                  </a:cubicBezTo>
                  <a:cubicBezTo>
                    <a:pt x="3089588" y="1112099"/>
                    <a:pt x="3072088" y="1094599"/>
                    <a:pt x="3072088" y="1073013"/>
                  </a:cubicBezTo>
                  <a:cubicBezTo>
                    <a:pt x="3072088" y="1051425"/>
                    <a:pt x="3089588" y="1033926"/>
                    <a:pt x="3111175" y="1033926"/>
                  </a:cubicBezTo>
                  <a:close/>
                  <a:moveTo>
                    <a:pt x="3018902" y="1033926"/>
                  </a:moveTo>
                  <a:cubicBezTo>
                    <a:pt x="3040489" y="1033926"/>
                    <a:pt x="3057989" y="1051425"/>
                    <a:pt x="3057989" y="1073013"/>
                  </a:cubicBezTo>
                  <a:cubicBezTo>
                    <a:pt x="3057989" y="1094599"/>
                    <a:pt x="3040489" y="1112099"/>
                    <a:pt x="3018902" y="1112099"/>
                  </a:cubicBezTo>
                  <a:cubicBezTo>
                    <a:pt x="2997315" y="1112099"/>
                    <a:pt x="2979815" y="1094599"/>
                    <a:pt x="2979815" y="1073013"/>
                  </a:cubicBezTo>
                  <a:cubicBezTo>
                    <a:pt x="2979815" y="1051425"/>
                    <a:pt x="2997315" y="1033926"/>
                    <a:pt x="3018902" y="1033926"/>
                  </a:cubicBezTo>
                  <a:close/>
                  <a:moveTo>
                    <a:pt x="2924263" y="1033926"/>
                  </a:moveTo>
                  <a:cubicBezTo>
                    <a:pt x="2945850" y="1033926"/>
                    <a:pt x="2963349" y="1051425"/>
                    <a:pt x="2963349" y="1073013"/>
                  </a:cubicBezTo>
                  <a:cubicBezTo>
                    <a:pt x="2963349" y="1094599"/>
                    <a:pt x="2945850" y="1112099"/>
                    <a:pt x="2924263" y="1112099"/>
                  </a:cubicBezTo>
                  <a:cubicBezTo>
                    <a:pt x="2902675" y="1112099"/>
                    <a:pt x="2885175" y="1094599"/>
                    <a:pt x="2885175" y="1073013"/>
                  </a:cubicBezTo>
                  <a:cubicBezTo>
                    <a:pt x="2885175" y="1051425"/>
                    <a:pt x="2902675" y="1033926"/>
                    <a:pt x="2924263" y="1033926"/>
                  </a:cubicBezTo>
                  <a:close/>
                  <a:moveTo>
                    <a:pt x="2831987" y="1033926"/>
                  </a:moveTo>
                  <a:cubicBezTo>
                    <a:pt x="2853574" y="1033926"/>
                    <a:pt x="2871074" y="1051425"/>
                    <a:pt x="2871074" y="1073013"/>
                  </a:cubicBezTo>
                  <a:cubicBezTo>
                    <a:pt x="2871074" y="1094599"/>
                    <a:pt x="2853574" y="1112099"/>
                    <a:pt x="2831987" y="1112099"/>
                  </a:cubicBezTo>
                  <a:cubicBezTo>
                    <a:pt x="2810400" y="1112099"/>
                    <a:pt x="2792900" y="1094599"/>
                    <a:pt x="2792900" y="1073013"/>
                  </a:cubicBezTo>
                  <a:cubicBezTo>
                    <a:pt x="2792900" y="1051425"/>
                    <a:pt x="2810400" y="1033926"/>
                    <a:pt x="2831987" y="1033926"/>
                  </a:cubicBezTo>
                  <a:close/>
                  <a:moveTo>
                    <a:pt x="2737368" y="1033926"/>
                  </a:moveTo>
                  <a:cubicBezTo>
                    <a:pt x="2758934" y="1033926"/>
                    <a:pt x="2776434" y="1051425"/>
                    <a:pt x="2776434" y="1073013"/>
                  </a:cubicBezTo>
                  <a:cubicBezTo>
                    <a:pt x="2776434" y="1094599"/>
                    <a:pt x="2758934" y="1112099"/>
                    <a:pt x="2737368" y="1112099"/>
                  </a:cubicBezTo>
                  <a:cubicBezTo>
                    <a:pt x="2715775" y="1112099"/>
                    <a:pt x="2698271" y="1094599"/>
                    <a:pt x="2698271" y="1073013"/>
                  </a:cubicBezTo>
                  <a:cubicBezTo>
                    <a:pt x="2698271" y="1051425"/>
                    <a:pt x="2715775" y="1033926"/>
                    <a:pt x="2737368" y="1033926"/>
                  </a:cubicBezTo>
                  <a:close/>
                  <a:moveTo>
                    <a:pt x="2645074" y="1033926"/>
                  </a:moveTo>
                  <a:cubicBezTo>
                    <a:pt x="2666662" y="1033926"/>
                    <a:pt x="2684167" y="1051425"/>
                    <a:pt x="2684167" y="1073013"/>
                  </a:cubicBezTo>
                  <a:cubicBezTo>
                    <a:pt x="2684167" y="1094599"/>
                    <a:pt x="2666662" y="1112099"/>
                    <a:pt x="2645074" y="1112099"/>
                  </a:cubicBezTo>
                  <a:cubicBezTo>
                    <a:pt x="2623489" y="1112099"/>
                    <a:pt x="2605987" y="1094599"/>
                    <a:pt x="2605987" y="1073013"/>
                  </a:cubicBezTo>
                  <a:cubicBezTo>
                    <a:pt x="2605987" y="1051425"/>
                    <a:pt x="2623489" y="1033926"/>
                    <a:pt x="2645074" y="1033926"/>
                  </a:cubicBezTo>
                  <a:close/>
                  <a:moveTo>
                    <a:pt x="2550439" y="1033926"/>
                  </a:moveTo>
                  <a:cubicBezTo>
                    <a:pt x="2572024" y="1033926"/>
                    <a:pt x="2589524" y="1051425"/>
                    <a:pt x="2589524" y="1073013"/>
                  </a:cubicBezTo>
                  <a:cubicBezTo>
                    <a:pt x="2589524" y="1094599"/>
                    <a:pt x="2572024" y="1112099"/>
                    <a:pt x="2550439" y="1112099"/>
                  </a:cubicBezTo>
                  <a:cubicBezTo>
                    <a:pt x="2528852" y="1112099"/>
                    <a:pt x="2511357" y="1094599"/>
                    <a:pt x="2511357" y="1073013"/>
                  </a:cubicBezTo>
                  <a:cubicBezTo>
                    <a:pt x="2511357" y="1051425"/>
                    <a:pt x="2528852" y="1033926"/>
                    <a:pt x="2550439" y="1033926"/>
                  </a:cubicBezTo>
                  <a:close/>
                  <a:moveTo>
                    <a:pt x="2458167" y="1033926"/>
                  </a:moveTo>
                  <a:cubicBezTo>
                    <a:pt x="2479755" y="1033926"/>
                    <a:pt x="2497254" y="1051425"/>
                    <a:pt x="2497254" y="1073013"/>
                  </a:cubicBezTo>
                  <a:cubicBezTo>
                    <a:pt x="2497254" y="1094599"/>
                    <a:pt x="2479755" y="1112099"/>
                    <a:pt x="2458167" y="1112099"/>
                  </a:cubicBezTo>
                  <a:cubicBezTo>
                    <a:pt x="2436589" y="1112099"/>
                    <a:pt x="2419085" y="1094599"/>
                    <a:pt x="2419085" y="1073013"/>
                  </a:cubicBezTo>
                  <a:cubicBezTo>
                    <a:pt x="2419085" y="1051425"/>
                    <a:pt x="2436589" y="1033926"/>
                    <a:pt x="2458167" y="1033926"/>
                  </a:cubicBezTo>
                  <a:close/>
                  <a:moveTo>
                    <a:pt x="2363531" y="1033926"/>
                  </a:moveTo>
                  <a:cubicBezTo>
                    <a:pt x="2385121" y="1033926"/>
                    <a:pt x="2402615" y="1051425"/>
                    <a:pt x="2402615" y="1073013"/>
                  </a:cubicBezTo>
                  <a:cubicBezTo>
                    <a:pt x="2402615" y="1094599"/>
                    <a:pt x="2385121" y="1112099"/>
                    <a:pt x="2363531" y="1112099"/>
                  </a:cubicBezTo>
                  <a:cubicBezTo>
                    <a:pt x="2341947" y="1112099"/>
                    <a:pt x="2324444" y="1094599"/>
                    <a:pt x="2324444" y="1073013"/>
                  </a:cubicBezTo>
                  <a:cubicBezTo>
                    <a:pt x="2324444" y="1051425"/>
                    <a:pt x="2341947" y="1033926"/>
                    <a:pt x="2363531" y="1033926"/>
                  </a:cubicBezTo>
                  <a:close/>
                  <a:moveTo>
                    <a:pt x="1419556" y="1033926"/>
                  </a:moveTo>
                  <a:cubicBezTo>
                    <a:pt x="1441140" y="1033926"/>
                    <a:pt x="1458643" y="1051425"/>
                    <a:pt x="1458643" y="1073013"/>
                  </a:cubicBezTo>
                  <a:cubicBezTo>
                    <a:pt x="1458643" y="1094599"/>
                    <a:pt x="1441140" y="1112099"/>
                    <a:pt x="1419556" y="1112099"/>
                  </a:cubicBezTo>
                  <a:cubicBezTo>
                    <a:pt x="1397963" y="1112099"/>
                    <a:pt x="1380461" y="1094599"/>
                    <a:pt x="1380461" y="1073013"/>
                  </a:cubicBezTo>
                  <a:cubicBezTo>
                    <a:pt x="1380461" y="1051425"/>
                    <a:pt x="1397963" y="1033926"/>
                    <a:pt x="1419556" y="1033926"/>
                  </a:cubicBezTo>
                  <a:close/>
                  <a:moveTo>
                    <a:pt x="1329642" y="1033926"/>
                  </a:moveTo>
                  <a:cubicBezTo>
                    <a:pt x="1351228" y="1033926"/>
                    <a:pt x="1368731" y="1051425"/>
                    <a:pt x="1368731" y="1073013"/>
                  </a:cubicBezTo>
                  <a:cubicBezTo>
                    <a:pt x="1368731" y="1094599"/>
                    <a:pt x="1351228" y="1112099"/>
                    <a:pt x="1329642" y="1112099"/>
                  </a:cubicBezTo>
                  <a:cubicBezTo>
                    <a:pt x="1308059" y="1112099"/>
                    <a:pt x="1290561" y="1094599"/>
                    <a:pt x="1290561" y="1073013"/>
                  </a:cubicBezTo>
                  <a:cubicBezTo>
                    <a:pt x="1290561" y="1051425"/>
                    <a:pt x="1308059" y="1033926"/>
                    <a:pt x="1329642" y="1033926"/>
                  </a:cubicBezTo>
                  <a:close/>
                  <a:moveTo>
                    <a:pt x="1232649" y="1033926"/>
                  </a:moveTo>
                  <a:cubicBezTo>
                    <a:pt x="1254235" y="1033926"/>
                    <a:pt x="1271722" y="1051425"/>
                    <a:pt x="1271722" y="1073013"/>
                  </a:cubicBezTo>
                  <a:cubicBezTo>
                    <a:pt x="1271722" y="1094599"/>
                    <a:pt x="1254235" y="1112099"/>
                    <a:pt x="1232649" y="1112099"/>
                  </a:cubicBezTo>
                  <a:cubicBezTo>
                    <a:pt x="1211058" y="1112099"/>
                    <a:pt x="1193565" y="1094599"/>
                    <a:pt x="1193565" y="1073013"/>
                  </a:cubicBezTo>
                  <a:cubicBezTo>
                    <a:pt x="1193565" y="1051425"/>
                    <a:pt x="1211058" y="1033926"/>
                    <a:pt x="1232649" y="1033926"/>
                  </a:cubicBezTo>
                  <a:close/>
                  <a:moveTo>
                    <a:pt x="1142736" y="1033926"/>
                  </a:moveTo>
                  <a:cubicBezTo>
                    <a:pt x="1164329" y="1033926"/>
                    <a:pt x="1181828" y="1051425"/>
                    <a:pt x="1181828" y="1073013"/>
                  </a:cubicBezTo>
                  <a:cubicBezTo>
                    <a:pt x="1181828" y="1094599"/>
                    <a:pt x="1164329" y="1112099"/>
                    <a:pt x="1142736" y="1112099"/>
                  </a:cubicBezTo>
                  <a:cubicBezTo>
                    <a:pt x="1121143" y="1112099"/>
                    <a:pt x="1103639" y="1094599"/>
                    <a:pt x="1103639" y="1073013"/>
                  </a:cubicBezTo>
                  <a:cubicBezTo>
                    <a:pt x="1103639" y="1051425"/>
                    <a:pt x="1121143" y="1033926"/>
                    <a:pt x="1142736" y="1033926"/>
                  </a:cubicBezTo>
                  <a:close/>
                  <a:moveTo>
                    <a:pt x="1045712" y="1033926"/>
                  </a:moveTo>
                  <a:cubicBezTo>
                    <a:pt x="1067297" y="1033926"/>
                    <a:pt x="1084802" y="1051425"/>
                    <a:pt x="1084802" y="1073013"/>
                  </a:cubicBezTo>
                  <a:cubicBezTo>
                    <a:pt x="1084802" y="1094599"/>
                    <a:pt x="1067297" y="1112099"/>
                    <a:pt x="1045712" y="1112099"/>
                  </a:cubicBezTo>
                  <a:cubicBezTo>
                    <a:pt x="1024128" y="1112099"/>
                    <a:pt x="1006631" y="1094599"/>
                    <a:pt x="1006631" y="1073013"/>
                  </a:cubicBezTo>
                  <a:cubicBezTo>
                    <a:pt x="1006631" y="1051425"/>
                    <a:pt x="1024128" y="1033926"/>
                    <a:pt x="1045712" y="1033926"/>
                  </a:cubicBezTo>
                  <a:close/>
                  <a:moveTo>
                    <a:pt x="951085" y="1033926"/>
                  </a:moveTo>
                  <a:cubicBezTo>
                    <a:pt x="972669" y="1033926"/>
                    <a:pt x="990166" y="1051425"/>
                    <a:pt x="990166" y="1073013"/>
                  </a:cubicBezTo>
                  <a:cubicBezTo>
                    <a:pt x="990166" y="1094599"/>
                    <a:pt x="972669" y="1112099"/>
                    <a:pt x="951085" y="1112099"/>
                  </a:cubicBezTo>
                  <a:cubicBezTo>
                    <a:pt x="929501" y="1112099"/>
                    <a:pt x="912003" y="1094599"/>
                    <a:pt x="912003" y="1073013"/>
                  </a:cubicBezTo>
                  <a:cubicBezTo>
                    <a:pt x="912003" y="1051425"/>
                    <a:pt x="929501" y="1033926"/>
                    <a:pt x="951085" y="1033926"/>
                  </a:cubicBezTo>
                  <a:close/>
                  <a:moveTo>
                    <a:pt x="856458" y="1033926"/>
                  </a:moveTo>
                  <a:cubicBezTo>
                    <a:pt x="878042" y="1033926"/>
                    <a:pt x="895540" y="1051425"/>
                    <a:pt x="895540" y="1073013"/>
                  </a:cubicBezTo>
                  <a:cubicBezTo>
                    <a:pt x="895540" y="1094599"/>
                    <a:pt x="878042" y="1112099"/>
                    <a:pt x="856458" y="1112099"/>
                  </a:cubicBezTo>
                  <a:cubicBezTo>
                    <a:pt x="834874" y="1112099"/>
                    <a:pt x="817376" y="1094599"/>
                    <a:pt x="817376" y="1073013"/>
                  </a:cubicBezTo>
                  <a:cubicBezTo>
                    <a:pt x="817376" y="1051425"/>
                    <a:pt x="834874" y="1033926"/>
                    <a:pt x="856458" y="1033926"/>
                  </a:cubicBezTo>
                  <a:close/>
                  <a:moveTo>
                    <a:pt x="764197" y="1033926"/>
                  </a:moveTo>
                  <a:cubicBezTo>
                    <a:pt x="785781" y="1033926"/>
                    <a:pt x="803279" y="1051425"/>
                    <a:pt x="803279" y="1073013"/>
                  </a:cubicBezTo>
                  <a:cubicBezTo>
                    <a:pt x="803279" y="1094599"/>
                    <a:pt x="785781" y="1112099"/>
                    <a:pt x="764197" y="1112099"/>
                  </a:cubicBezTo>
                  <a:cubicBezTo>
                    <a:pt x="742604" y="1112099"/>
                    <a:pt x="725113" y="1094599"/>
                    <a:pt x="725113" y="1073013"/>
                  </a:cubicBezTo>
                  <a:cubicBezTo>
                    <a:pt x="725113" y="1051425"/>
                    <a:pt x="742604" y="1033926"/>
                    <a:pt x="764197" y="1033926"/>
                  </a:cubicBezTo>
                  <a:close/>
                  <a:moveTo>
                    <a:pt x="669546" y="1033926"/>
                  </a:moveTo>
                  <a:cubicBezTo>
                    <a:pt x="691152" y="1033926"/>
                    <a:pt x="708650" y="1051425"/>
                    <a:pt x="708650" y="1073013"/>
                  </a:cubicBezTo>
                  <a:cubicBezTo>
                    <a:pt x="708650" y="1094599"/>
                    <a:pt x="691152" y="1112099"/>
                    <a:pt x="669546" y="1112099"/>
                  </a:cubicBezTo>
                  <a:cubicBezTo>
                    <a:pt x="647977" y="1112099"/>
                    <a:pt x="630473" y="1094599"/>
                    <a:pt x="630473" y="1073013"/>
                  </a:cubicBezTo>
                  <a:cubicBezTo>
                    <a:pt x="630473" y="1051425"/>
                    <a:pt x="647977" y="1033926"/>
                    <a:pt x="669546" y="1033926"/>
                  </a:cubicBezTo>
                  <a:close/>
                  <a:moveTo>
                    <a:pt x="577271" y="1033926"/>
                  </a:moveTo>
                  <a:cubicBezTo>
                    <a:pt x="598864" y="1033926"/>
                    <a:pt x="616368" y="1051425"/>
                    <a:pt x="616368" y="1073013"/>
                  </a:cubicBezTo>
                  <a:cubicBezTo>
                    <a:pt x="616368" y="1094599"/>
                    <a:pt x="598864" y="1112099"/>
                    <a:pt x="577271" y="1112099"/>
                  </a:cubicBezTo>
                  <a:cubicBezTo>
                    <a:pt x="555678" y="1112099"/>
                    <a:pt x="538174" y="1094599"/>
                    <a:pt x="538174" y="1073013"/>
                  </a:cubicBezTo>
                  <a:cubicBezTo>
                    <a:pt x="538174" y="1051425"/>
                    <a:pt x="555678" y="1033926"/>
                    <a:pt x="577271" y="1033926"/>
                  </a:cubicBezTo>
                  <a:close/>
                  <a:moveTo>
                    <a:pt x="484984" y="1033926"/>
                  </a:moveTo>
                  <a:cubicBezTo>
                    <a:pt x="506570" y="1033926"/>
                    <a:pt x="524069" y="1051425"/>
                    <a:pt x="524069" y="1073013"/>
                  </a:cubicBezTo>
                  <a:cubicBezTo>
                    <a:pt x="524069" y="1094599"/>
                    <a:pt x="506570" y="1112099"/>
                    <a:pt x="484984" y="1112099"/>
                  </a:cubicBezTo>
                  <a:cubicBezTo>
                    <a:pt x="463388" y="1112099"/>
                    <a:pt x="445908" y="1094599"/>
                    <a:pt x="445908" y="1073013"/>
                  </a:cubicBezTo>
                  <a:cubicBezTo>
                    <a:pt x="445908" y="1051425"/>
                    <a:pt x="463388" y="1033926"/>
                    <a:pt x="484984" y="1033926"/>
                  </a:cubicBezTo>
                  <a:close/>
                  <a:moveTo>
                    <a:pt x="390337" y="1033926"/>
                  </a:moveTo>
                  <a:cubicBezTo>
                    <a:pt x="411922" y="1033926"/>
                    <a:pt x="429437" y="1051425"/>
                    <a:pt x="429437" y="1073013"/>
                  </a:cubicBezTo>
                  <a:cubicBezTo>
                    <a:pt x="429437" y="1094599"/>
                    <a:pt x="411922" y="1112099"/>
                    <a:pt x="390337" y="1112099"/>
                  </a:cubicBezTo>
                  <a:cubicBezTo>
                    <a:pt x="368768" y="1112099"/>
                    <a:pt x="351267" y="1094599"/>
                    <a:pt x="351267" y="1073013"/>
                  </a:cubicBezTo>
                  <a:cubicBezTo>
                    <a:pt x="351267" y="1051425"/>
                    <a:pt x="368768" y="1033926"/>
                    <a:pt x="390337" y="1033926"/>
                  </a:cubicBezTo>
                  <a:close/>
                  <a:moveTo>
                    <a:pt x="298068" y="1033926"/>
                  </a:moveTo>
                  <a:cubicBezTo>
                    <a:pt x="319650" y="1033926"/>
                    <a:pt x="337166" y="1051425"/>
                    <a:pt x="337166" y="1073013"/>
                  </a:cubicBezTo>
                  <a:cubicBezTo>
                    <a:pt x="337166" y="1094599"/>
                    <a:pt x="319650" y="1112099"/>
                    <a:pt x="298068" y="1112099"/>
                  </a:cubicBezTo>
                  <a:cubicBezTo>
                    <a:pt x="276478" y="1112099"/>
                    <a:pt x="258978" y="1094599"/>
                    <a:pt x="258978" y="1073013"/>
                  </a:cubicBezTo>
                  <a:cubicBezTo>
                    <a:pt x="258978" y="1051425"/>
                    <a:pt x="276478" y="1033926"/>
                    <a:pt x="298068" y="1033926"/>
                  </a:cubicBezTo>
                  <a:close/>
                  <a:moveTo>
                    <a:pt x="203423" y="1033926"/>
                  </a:moveTo>
                  <a:cubicBezTo>
                    <a:pt x="225013" y="1033926"/>
                    <a:pt x="242512" y="1051425"/>
                    <a:pt x="242512" y="1073013"/>
                  </a:cubicBezTo>
                  <a:cubicBezTo>
                    <a:pt x="242512" y="1094599"/>
                    <a:pt x="225013" y="1112099"/>
                    <a:pt x="203423" y="1112099"/>
                  </a:cubicBezTo>
                  <a:cubicBezTo>
                    <a:pt x="181837" y="1112099"/>
                    <a:pt x="164337" y="1094599"/>
                    <a:pt x="164337" y="1073013"/>
                  </a:cubicBezTo>
                  <a:cubicBezTo>
                    <a:pt x="164337" y="1051425"/>
                    <a:pt x="181837" y="1033926"/>
                    <a:pt x="203423" y="1033926"/>
                  </a:cubicBezTo>
                  <a:close/>
                  <a:moveTo>
                    <a:pt x="111150" y="1033926"/>
                  </a:moveTo>
                  <a:cubicBezTo>
                    <a:pt x="132737" y="1033926"/>
                    <a:pt x="150237" y="1051425"/>
                    <a:pt x="150237" y="1073013"/>
                  </a:cubicBezTo>
                  <a:cubicBezTo>
                    <a:pt x="150237" y="1094599"/>
                    <a:pt x="132737" y="1112099"/>
                    <a:pt x="111150" y="1112099"/>
                  </a:cubicBezTo>
                  <a:cubicBezTo>
                    <a:pt x="89563" y="1112099"/>
                    <a:pt x="72064" y="1094599"/>
                    <a:pt x="72064" y="1073013"/>
                  </a:cubicBezTo>
                  <a:cubicBezTo>
                    <a:pt x="72064" y="1051425"/>
                    <a:pt x="89563" y="1033926"/>
                    <a:pt x="111150" y="1033926"/>
                  </a:cubicBezTo>
                  <a:close/>
                  <a:moveTo>
                    <a:pt x="51905" y="976551"/>
                  </a:moveTo>
                  <a:lnTo>
                    <a:pt x="55600" y="985473"/>
                  </a:lnTo>
                  <a:cubicBezTo>
                    <a:pt x="55600" y="996267"/>
                    <a:pt x="51225" y="1006038"/>
                    <a:pt x="44152" y="1013112"/>
                  </a:cubicBezTo>
                  <a:lnTo>
                    <a:pt x="31864" y="1018202"/>
                  </a:lnTo>
                  <a:lnTo>
                    <a:pt x="31938" y="1017999"/>
                  </a:lnTo>
                  <a:close/>
                  <a:moveTo>
                    <a:pt x="3672511" y="949081"/>
                  </a:moveTo>
                  <a:lnTo>
                    <a:pt x="3703905" y="1014251"/>
                  </a:lnTo>
                  <a:lnTo>
                    <a:pt x="3679017" y="1024560"/>
                  </a:lnTo>
                  <a:cubicBezTo>
                    <a:pt x="3657429" y="1024560"/>
                    <a:pt x="3639929" y="1007060"/>
                    <a:pt x="3639929" y="985473"/>
                  </a:cubicBezTo>
                  <a:cubicBezTo>
                    <a:pt x="3639929" y="974679"/>
                    <a:pt x="3644304" y="964908"/>
                    <a:pt x="3651378" y="957835"/>
                  </a:cubicBezTo>
                  <a:close/>
                  <a:moveTo>
                    <a:pt x="3584377" y="946387"/>
                  </a:moveTo>
                  <a:cubicBezTo>
                    <a:pt x="3605964" y="946387"/>
                    <a:pt x="3623463" y="963886"/>
                    <a:pt x="3623463" y="985473"/>
                  </a:cubicBezTo>
                  <a:cubicBezTo>
                    <a:pt x="3623463" y="1007060"/>
                    <a:pt x="3605964" y="1024560"/>
                    <a:pt x="3584377" y="1024560"/>
                  </a:cubicBezTo>
                  <a:cubicBezTo>
                    <a:pt x="3562789" y="1024560"/>
                    <a:pt x="3545289" y="1007060"/>
                    <a:pt x="3545289" y="985473"/>
                  </a:cubicBezTo>
                  <a:cubicBezTo>
                    <a:pt x="3545289" y="963886"/>
                    <a:pt x="3562789" y="946387"/>
                    <a:pt x="3584377" y="946387"/>
                  </a:cubicBezTo>
                  <a:close/>
                  <a:moveTo>
                    <a:pt x="3489737" y="946387"/>
                  </a:moveTo>
                  <a:cubicBezTo>
                    <a:pt x="3511324" y="946387"/>
                    <a:pt x="3528823" y="963886"/>
                    <a:pt x="3528823" y="985473"/>
                  </a:cubicBezTo>
                  <a:cubicBezTo>
                    <a:pt x="3528823" y="1007060"/>
                    <a:pt x="3511324" y="1024560"/>
                    <a:pt x="3489737" y="1024560"/>
                  </a:cubicBezTo>
                  <a:cubicBezTo>
                    <a:pt x="3468149" y="1024560"/>
                    <a:pt x="3450649" y="1007060"/>
                    <a:pt x="3450649" y="985473"/>
                  </a:cubicBezTo>
                  <a:cubicBezTo>
                    <a:pt x="3450649" y="963886"/>
                    <a:pt x="3468149" y="946387"/>
                    <a:pt x="3489737" y="946387"/>
                  </a:cubicBezTo>
                  <a:close/>
                  <a:moveTo>
                    <a:pt x="3392731" y="946387"/>
                  </a:moveTo>
                  <a:cubicBezTo>
                    <a:pt x="3414319" y="946387"/>
                    <a:pt x="3431819" y="963886"/>
                    <a:pt x="3431819" y="985473"/>
                  </a:cubicBezTo>
                  <a:cubicBezTo>
                    <a:pt x="3431819" y="1007060"/>
                    <a:pt x="3414319" y="1024560"/>
                    <a:pt x="3392731" y="1024560"/>
                  </a:cubicBezTo>
                  <a:cubicBezTo>
                    <a:pt x="3371144" y="1024560"/>
                    <a:pt x="3353644" y="1007060"/>
                    <a:pt x="3353644" y="985473"/>
                  </a:cubicBezTo>
                  <a:cubicBezTo>
                    <a:pt x="3353644" y="963886"/>
                    <a:pt x="3371144" y="946387"/>
                    <a:pt x="3392731" y="946387"/>
                  </a:cubicBezTo>
                  <a:close/>
                  <a:moveTo>
                    <a:pt x="3300455" y="946387"/>
                  </a:moveTo>
                  <a:cubicBezTo>
                    <a:pt x="3322043" y="946387"/>
                    <a:pt x="3339543" y="963886"/>
                    <a:pt x="3339543" y="985473"/>
                  </a:cubicBezTo>
                  <a:cubicBezTo>
                    <a:pt x="3339543" y="1007060"/>
                    <a:pt x="3322043" y="1024560"/>
                    <a:pt x="3300455" y="1024560"/>
                  </a:cubicBezTo>
                  <a:cubicBezTo>
                    <a:pt x="3278868" y="1024560"/>
                    <a:pt x="3261368" y="1007060"/>
                    <a:pt x="3261368" y="985473"/>
                  </a:cubicBezTo>
                  <a:cubicBezTo>
                    <a:pt x="3261368" y="963886"/>
                    <a:pt x="3278868" y="946387"/>
                    <a:pt x="3300455" y="946387"/>
                  </a:cubicBezTo>
                  <a:close/>
                  <a:moveTo>
                    <a:pt x="3205815" y="946387"/>
                  </a:moveTo>
                  <a:cubicBezTo>
                    <a:pt x="3227403" y="946387"/>
                    <a:pt x="3244903" y="963886"/>
                    <a:pt x="3244903" y="985473"/>
                  </a:cubicBezTo>
                  <a:cubicBezTo>
                    <a:pt x="3244903" y="1007060"/>
                    <a:pt x="3227403" y="1024560"/>
                    <a:pt x="3205815" y="1024560"/>
                  </a:cubicBezTo>
                  <a:cubicBezTo>
                    <a:pt x="3184228" y="1024560"/>
                    <a:pt x="3166728" y="1007060"/>
                    <a:pt x="3166728" y="985473"/>
                  </a:cubicBezTo>
                  <a:cubicBezTo>
                    <a:pt x="3166728" y="963886"/>
                    <a:pt x="3184228" y="946387"/>
                    <a:pt x="3205815" y="946387"/>
                  </a:cubicBezTo>
                  <a:close/>
                  <a:moveTo>
                    <a:pt x="3111175" y="946387"/>
                  </a:moveTo>
                  <a:cubicBezTo>
                    <a:pt x="3132763" y="946387"/>
                    <a:pt x="3150263" y="963886"/>
                    <a:pt x="3150263" y="985473"/>
                  </a:cubicBezTo>
                  <a:cubicBezTo>
                    <a:pt x="3150263" y="1007060"/>
                    <a:pt x="3132763" y="1024560"/>
                    <a:pt x="3111175" y="1024560"/>
                  </a:cubicBezTo>
                  <a:cubicBezTo>
                    <a:pt x="3089588" y="1024560"/>
                    <a:pt x="3072088" y="1007060"/>
                    <a:pt x="3072088" y="985473"/>
                  </a:cubicBezTo>
                  <a:cubicBezTo>
                    <a:pt x="3072088" y="963886"/>
                    <a:pt x="3089588" y="946387"/>
                    <a:pt x="3111175" y="946387"/>
                  </a:cubicBezTo>
                  <a:close/>
                  <a:moveTo>
                    <a:pt x="3018902" y="946387"/>
                  </a:moveTo>
                  <a:cubicBezTo>
                    <a:pt x="3040489" y="946387"/>
                    <a:pt x="3057989" y="963886"/>
                    <a:pt x="3057989" y="985473"/>
                  </a:cubicBezTo>
                  <a:cubicBezTo>
                    <a:pt x="3057989" y="1007060"/>
                    <a:pt x="3040489" y="1024560"/>
                    <a:pt x="3018902" y="1024560"/>
                  </a:cubicBezTo>
                  <a:cubicBezTo>
                    <a:pt x="2997315" y="1024560"/>
                    <a:pt x="2979815" y="1007060"/>
                    <a:pt x="2979815" y="985473"/>
                  </a:cubicBezTo>
                  <a:cubicBezTo>
                    <a:pt x="2979815" y="963886"/>
                    <a:pt x="2997315" y="946387"/>
                    <a:pt x="3018902" y="946387"/>
                  </a:cubicBezTo>
                  <a:close/>
                  <a:moveTo>
                    <a:pt x="2737369" y="946387"/>
                  </a:moveTo>
                  <a:cubicBezTo>
                    <a:pt x="2758934" y="946387"/>
                    <a:pt x="2776434" y="963886"/>
                    <a:pt x="2776434" y="985473"/>
                  </a:cubicBezTo>
                  <a:cubicBezTo>
                    <a:pt x="2776434" y="1007060"/>
                    <a:pt x="2758934" y="1024560"/>
                    <a:pt x="2737369" y="1024560"/>
                  </a:cubicBezTo>
                  <a:cubicBezTo>
                    <a:pt x="2715775" y="1024560"/>
                    <a:pt x="2698271" y="1007060"/>
                    <a:pt x="2698271" y="985473"/>
                  </a:cubicBezTo>
                  <a:cubicBezTo>
                    <a:pt x="2698271" y="963886"/>
                    <a:pt x="2715775" y="946387"/>
                    <a:pt x="2737369" y="946387"/>
                  </a:cubicBezTo>
                  <a:close/>
                  <a:moveTo>
                    <a:pt x="2458167" y="946387"/>
                  </a:moveTo>
                  <a:cubicBezTo>
                    <a:pt x="2479755" y="946387"/>
                    <a:pt x="2497255" y="963886"/>
                    <a:pt x="2497255" y="985473"/>
                  </a:cubicBezTo>
                  <a:cubicBezTo>
                    <a:pt x="2497255" y="1007060"/>
                    <a:pt x="2479755" y="1024560"/>
                    <a:pt x="2458167" y="1024560"/>
                  </a:cubicBezTo>
                  <a:cubicBezTo>
                    <a:pt x="2436591" y="1024560"/>
                    <a:pt x="2419086" y="1007060"/>
                    <a:pt x="2419086" y="985473"/>
                  </a:cubicBezTo>
                  <a:cubicBezTo>
                    <a:pt x="2419086" y="963886"/>
                    <a:pt x="2436591" y="946387"/>
                    <a:pt x="2458167" y="946387"/>
                  </a:cubicBezTo>
                  <a:close/>
                  <a:moveTo>
                    <a:pt x="1329646" y="946387"/>
                  </a:moveTo>
                  <a:cubicBezTo>
                    <a:pt x="1351233" y="946387"/>
                    <a:pt x="1368735" y="963886"/>
                    <a:pt x="1368735" y="985473"/>
                  </a:cubicBezTo>
                  <a:cubicBezTo>
                    <a:pt x="1368735" y="1007060"/>
                    <a:pt x="1351233" y="1024560"/>
                    <a:pt x="1329646" y="1024560"/>
                  </a:cubicBezTo>
                  <a:cubicBezTo>
                    <a:pt x="1308064" y="1024560"/>
                    <a:pt x="1290566" y="1007060"/>
                    <a:pt x="1290566" y="985473"/>
                  </a:cubicBezTo>
                  <a:cubicBezTo>
                    <a:pt x="1290566" y="963886"/>
                    <a:pt x="1308064" y="946387"/>
                    <a:pt x="1329646" y="946387"/>
                  </a:cubicBezTo>
                  <a:close/>
                  <a:moveTo>
                    <a:pt x="1232653" y="946387"/>
                  </a:moveTo>
                  <a:cubicBezTo>
                    <a:pt x="1254239" y="946387"/>
                    <a:pt x="1271726" y="963886"/>
                    <a:pt x="1271726" y="985473"/>
                  </a:cubicBezTo>
                  <a:cubicBezTo>
                    <a:pt x="1271726" y="1007060"/>
                    <a:pt x="1254239" y="1024560"/>
                    <a:pt x="1232653" y="1024560"/>
                  </a:cubicBezTo>
                  <a:cubicBezTo>
                    <a:pt x="1211062" y="1024560"/>
                    <a:pt x="1193568" y="1007060"/>
                    <a:pt x="1193568" y="985473"/>
                  </a:cubicBezTo>
                  <a:cubicBezTo>
                    <a:pt x="1193568" y="963886"/>
                    <a:pt x="1211062" y="946387"/>
                    <a:pt x="1232653" y="946387"/>
                  </a:cubicBezTo>
                  <a:close/>
                  <a:moveTo>
                    <a:pt x="1142740" y="946387"/>
                  </a:moveTo>
                  <a:cubicBezTo>
                    <a:pt x="1164334" y="946387"/>
                    <a:pt x="1181832" y="963886"/>
                    <a:pt x="1181832" y="985473"/>
                  </a:cubicBezTo>
                  <a:cubicBezTo>
                    <a:pt x="1181832" y="1007060"/>
                    <a:pt x="1164334" y="1024560"/>
                    <a:pt x="1142740" y="1024560"/>
                  </a:cubicBezTo>
                  <a:cubicBezTo>
                    <a:pt x="1121148" y="1024560"/>
                    <a:pt x="1103643" y="1007060"/>
                    <a:pt x="1103643" y="985473"/>
                  </a:cubicBezTo>
                  <a:cubicBezTo>
                    <a:pt x="1103643" y="963886"/>
                    <a:pt x="1121148" y="946387"/>
                    <a:pt x="1142740" y="946387"/>
                  </a:cubicBezTo>
                  <a:close/>
                  <a:moveTo>
                    <a:pt x="1045716" y="946387"/>
                  </a:moveTo>
                  <a:cubicBezTo>
                    <a:pt x="1067301" y="946387"/>
                    <a:pt x="1084805" y="963886"/>
                    <a:pt x="1084805" y="985473"/>
                  </a:cubicBezTo>
                  <a:cubicBezTo>
                    <a:pt x="1084805" y="1007060"/>
                    <a:pt x="1067301" y="1024560"/>
                    <a:pt x="1045716" y="1024560"/>
                  </a:cubicBezTo>
                  <a:cubicBezTo>
                    <a:pt x="1024132" y="1024560"/>
                    <a:pt x="1006635" y="1007060"/>
                    <a:pt x="1006635" y="985473"/>
                  </a:cubicBezTo>
                  <a:cubicBezTo>
                    <a:pt x="1006635" y="963886"/>
                    <a:pt x="1024132" y="946387"/>
                    <a:pt x="1045716" y="946387"/>
                  </a:cubicBezTo>
                  <a:close/>
                  <a:moveTo>
                    <a:pt x="764201" y="946387"/>
                  </a:moveTo>
                  <a:cubicBezTo>
                    <a:pt x="785785" y="946387"/>
                    <a:pt x="803284" y="963886"/>
                    <a:pt x="803284" y="985473"/>
                  </a:cubicBezTo>
                  <a:cubicBezTo>
                    <a:pt x="803284" y="1007060"/>
                    <a:pt x="785785" y="1024560"/>
                    <a:pt x="764201" y="1024560"/>
                  </a:cubicBezTo>
                  <a:cubicBezTo>
                    <a:pt x="742608" y="1024560"/>
                    <a:pt x="725120" y="1007060"/>
                    <a:pt x="725120" y="985473"/>
                  </a:cubicBezTo>
                  <a:cubicBezTo>
                    <a:pt x="725120" y="963886"/>
                    <a:pt x="742608" y="946387"/>
                    <a:pt x="764201" y="946387"/>
                  </a:cubicBezTo>
                  <a:close/>
                  <a:moveTo>
                    <a:pt x="669559" y="946387"/>
                  </a:moveTo>
                  <a:cubicBezTo>
                    <a:pt x="691158" y="946387"/>
                    <a:pt x="708656" y="963886"/>
                    <a:pt x="708656" y="985473"/>
                  </a:cubicBezTo>
                  <a:cubicBezTo>
                    <a:pt x="708656" y="1007060"/>
                    <a:pt x="691158" y="1024560"/>
                    <a:pt x="669559" y="1024560"/>
                  </a:cubicBezTo>
                  <a:cubicBezTo>
                    <a:pt x="647983" y="1024560"/>
                    <a:pt x="630479" y="1007060"/>
                    <a:pt x="630479" y="985473"/>
                  </a:cubicBezTo>
                  <a:cubicBezTo>
                    <a:pt x="630479" y="963886"/>
                    <a:pt x="647983" y="946387"/>
                    <a:pt x="669559" y="946387"/>
                  </a:cubicBezTo>
                  <a:close/>
                  <a:moveTo>
                    <a:pt x="577276" y="946387"/>
                  </a:moveTo>
                  <a:cubicBezTo>
                    <a:pt x="598870" y="946387"/>
                    <a:pt x="616374" y="963886"/>
                    <a:pt x="616374" y="985473"/>
                  </a:cubicBezTo>
                  <a:cubicBezTo>
                    <a:pt x="616374" y="1007060"/>
                    <a:pt x="598870" y="1024560"/>
                    <a:pt x="577276" y="1024560"/>
                  </a:cubicBezTo>
                  <a:cubicBezTo>
                    <a:pt x="555683" y="1024560"/>
                    <a:pt x="538178" y="1007060"/>
                    <a:pt x="538178" y="985473"/>
                  </a:cubicBezTo>
                  <a:cubicBezTo>
                    <a:pt x="538178" y="963886"/>
                    <a:pt x="555683" y="946387"/>
                    <a:pt x="577276" y="946387"/>
                  </a:cubicBezTo>
                  <a:close/>
                  <a:moveTo>
                    <a:pt x="484989" y="946387"/>
                  </a:moveTo>
                  <a:cubicBezTo>
                    <a:pt x="506576" y="946387"/>
                    <a:pt x="524074" y="963886"/>
                    <a:pt x="524074" y="985473"/>
                  </a:cubicBezTo>
                  <a:cubicBezTo>
                    <a:pt x="524074" y="1007060"/>
                    <a:pt x="506576" y="1024560"/>
                    <a:pt x="484989" y="1024560"/>
                  </a:cubicBezTo>
                  <a:cubicBezTo>
                    <a:pt x="463391" y="1024560"/>
                    <a:pt x="445913" y="1007060"/>
                    <a:pt x="445913" y="985473"/>
                  </a:cubicBezTo>
                  <a:cubicBezTo>
                    <a:pt x="445913" y="963886"/>
                    <a:pt x="463391" y="946387"/>
                    <a:pt x="484989" y="946387"/>
                  </a:cubicBezTo>
                  <a:close/>
                  <a:moveTo>
                    <a:pt x="390337" y="946387"/>
                  </a:moveTo>
                  <a:cubicBezTo>
                    <a:pt x="411934" y="946387"/>
                    <a:pt x="429441" y="963886"/>
                    <a:pt x="429441" y="985473"/>
                  </a:cubicBezTo>
                  <a:cubicBezTo>
                    <a:pt x="429441" y="1007060"/>
                    <a:pt x="411934" y="1024560"/>
                    <a:pt x="390337" y="1024560"/>
                  </a:cubicBezTo>
                  <a:cubicBezTo>
                    <a:pt x="368774" y="1024560"/>
                    <a:pt x="351272" y="1007060"/>
                    <a:pt x="351272" y="985473"/>
                  </a:cubicBezTo>
                  <a:cubicBezTo>
                    <a:pt x="351272" y="963886"/>
                    <a:pt x="368774" y="946387"/>
                    <a:pt x="390337" y="946387"/>
                  </a:cubicBezTo>
                  <a:close/>
                  <a:moveTo>
                    <a:pt x="298073" y="946387"/>
                  </a:moveTo>
                  <a:cubicBezTo>
                    <a:pt x="319653" y="946387"/>
                    <a:pt x="337170" y="963886"/>
                    <a:pt x="337170" y="985473"/>
                  </a:cubicBezTo>
                  <a:cubicBezTo>
                    <a:pt x="337170" y="1007060"/>
                    <a:pt x="319653" y="1024560"/>
                    <a:pt x="298073" y="1024560"/>
                  </a:cubicBezTo>
                  <a:cubicBezTo>
                    <a:pt x="276482" y="1024560"/>
                    <a:pt x="258982" y="1007060"/>
                    <a:pt x="258982" y="985473"/>
                  </a:cubicBezTo>
                  <a:cubicBezTo>
                    <a:pt x="258982" y="963886"/>
                    <a:pt x="276482" y="946387"/>
                    <a:pt x="298073" y="946387"/>
                  </a:cubicBezTo>
                  <a:close/>
                  <a:moveTo>
                    <a:pt x="203426" y="946387"/>
                  </a:moveTo>
                  <a:cubicBezTo>
                    <a:pt x="225017" y="946387"/>
                    <a:pt x="242516" y="963886"/>
                    <a:pt x="242516" y="985473"/>
                  </a:cubicBezTo>
                  <a:cubicBezTo>
                    <a:pt x="242516" y="1007060"/>
                    <a:pt x="225017" y="1024560"/>
                    <a:pt x="203426" y="1024560"/>
                  </a:cubicBezTo>
                  <a:cubicBezTo>
                    <a:pt x="181841" y="1024560"/>
                    <a:pt x="164342" y="1007060"/>
                    <a:pt x="164342" y="985473"/>
                  </a:cubicBezTo>
                  <a:cubicBezTo>
                    <a:pt x="164342" y="963886"/>
                    <a:pt x="181841" y="946387"/>
                    <a:pt x="203426" y="946387"/>
                  </a:cubicBezTo>
                  <a:close/>
                  <a:moveTo>
                    <a:pt x="111154" y="946387"/>
                  </a:moveTo>
                  <a:cubicBezTo>
                    <a:pt x="132741" y="946387"/>
                    <a:pt x="150240" y="963886"/>
                    <a:pt x="150240" y="985473"/>
                  </a:cubicBezTo>
                  <a:cubicBezTo>
                    <a:pt x="150240" y="1007060"/>
                    <a:pt x="132741" y="1024560"/>
                    <a:pt x="111154" y="1024560"/>
                  </a:cubicBezTo>
                  <a:cubicBezTo>
                    <a:pt x="89567" y="1024560"/>
                    <a:pt x="72068" y="1007060"/>
                    <a:pt x="72068" y="985473"/>
                  </a:cubicBezTo>
                  <a:cubicBezTo>
                    <a:pt x="72068" y="963886"/>
                    <a:pt x="89567" y="946387"/>
                    <a:pt x="111154" y="946387"/>
                  </a:cubicBezTo>
                  <a:close/>
                  <a:moveTo>
                    <a:pt x="3644655" y="891256"/>
                  </a:moveTo>
                  <a:lnTo>
                    <a:pt x="3666478" y="936557"/>
                  </a:lnTo>
                  <a:lnTo>
                    <a:pt x="3651378" y="930303"/>
                  </a:lnTo>
                  <a:cubicBezTo>
                    <a:pt x="3644304" y="923230"/>
                    <a:pt x="3639929" y="913458"/>
                    <a:pt x="3639929" y="902664"/>
                  </a:cubicBezTo>
                  <a:close/>
                  <a:moveTo>
                    <a:pt x="3584377" y="863578"/>
                  </a:moveTo>
                  <a:cubicBezTo>
                    <a:pt x="3605964" y="863578"/>
                    <a:pt x="3623463" y="881078"/>
                    <a:pt x="3623463" y="902664"/>
                  </a:cubicBezTo>
                  <a:cubicBezTo>
                    <a:pt x="3623463" y="924251"/>
                    <a:pt x="3605964" y="941751"/>
                    <a:pt x="3584377" y="941751"/>
                  </a:cubicBezTo>
                  <a:cubicBezTo>
                    <a:pt x="3562789" y="941751"/>
                    <a:pt x="3545289" y="924251"/>
                    <a:pt x="3545289" y="902664"/>
                  </a:cubicBezTo>
                  <a:cubicBezTo>
                    <a:pt x="3545289" y="881078"/>
                    <a:pt x="3562789" y="863578"/>
                    <a:pt x="3584377" y="863578"/>
                  </a:cubicBezTo>
                  <a:close/>
                  <a:moveTo>
                    <a:pt x="3489737" y="863578"/>
                  </a:moveTo>
                  <a:cubicBezTo>
                    <a:pt x="3511324" y="863578"/>
                    <a:pt x="3528823" y="881078"/>
                    <a:pt x="3528823" y="902664"/>
                  </a:cubicBezTo>
                  <a:cubicBezTo>
                    <a:pt x="3528823" y="924251"/>
                    <a:pt x="3511324" y="941751"/>
                    <a:pt x="3489737" y="941751"/>
                  </a:cubicBezTo>
                  <a:cubicBezTo>
                    <a:pt x="3468149" y="941751"/>
                    <a:pt x="3450649" y="924251"/>
                    <a:pt x="3450649" y="902664"/>
                  </a:cubicBezTo>
                  <a:cubicBezTo>
                    <a:pt x="3450649" y="881078"/>
                    <a:pt x="3468149" y="863578"/>
                    <a:pt x="3489737" y="863578"/>
                  </a:cubicBezTo>
                  <a:close/>
                  <a:moveTo>
                    <a:pt x="3392731" y="863578"/>
                  </a:moveTo>
                  <a:cubicBezTo>
                    <a:pt x="3414319" y="863578"/>
                    <a:pt x="3431819" y="881078"/>
                    <a:pt x="3431819" y="902664"/>
                  </a:cubicBezTo>
                  <a:cubicBezTo>
                    <a:pt x="3431819" y="924251"/>
                    <a:pt x="3414319" y="941751"/>
                    <a:pt x="3392731" y="941751"/>
                  </a:cubicBezTo>
                  <a:cubicBezTo>
                    <a:pt x="3371144" y="941751"/>
                    <a:pt x="3353644" y="924251"/>
                    <a:pt x="3353644" y="902664"/>
                  </a:cubicBezTo>
                  <a:cubicBezTo>
                    <a:pt x="3353644" y="881078"/>
                    <a:pt x="3371144" y="863578"/>
                    <a:pt x="3392731" y="863578"/>
                  </a:cubicBezTo>
                  <a:close/>
                  <a:moveTo>
                    <a:pt x="3300455" y="863578"/>
                  </a:moveTo>
                  <a:cubicBezTo>
                    <a:pt x="3322043" y="863578"/>
                    <a:pt x="3339543" y="881078"/>
                    <a:pt x="3339543" y="902664"/>
                  </a:cubicBezTo>
                  <a:cubicBezTo>
                    <a:pt x="3339543" y="924251"/>
                    <a:pt x="3322043" y="941751"/>
                    <a:pt x="3300455" y="941751"/>
                  </a:cubicBezTo>
                  <a:cubicBezTo>
                    <a:pt x="3278868" y="941751"/>
                    <a:pt x="3261368" y="924251"/>
                    <a:pt x="3261368" y="902664"/>
                  </a:cubicBezTo>
                  <a:cubicBezTo>
                    <a:pt x="3261368" y="881078"/>
                    <a:pt x="3278868" y="863578"/>
                    <a:pt x="3300455" y="863578"/>
                  </a:cubicBezTo>
                  <a:close/>
                  <a:moveTo>
                    <a:pt x="3205815" y="863578"/>
                  </a:moveTo>
                  <a:cubicBezTo>
                    <a:pt x="3227403" y="863578"/>
                    <a:pt x="3244903" y="881078"/>
                    <a:pt x="3244903" y="902664"/>
                  </a:cubicBezTo>
                  <a:cubicBezTo>
                    <a:pt x="3244903" y="924251"/>
                    <a:pt x="3227403" y="941751"/>
                    <a:pt x="3205815" y="941751"/>
                  </a:cubicBezTo>
                  <a:cubicBezTo>
                    <a:pt x="3184228" y="941751"/>
                    <a:pt x="3166728" y="924251"/>
                    <a:pt x="3166728" y="902664"/>
                  </a:cubicBezTo>
                  <a:cubicBezTo>
                    <a:pt x="3166728" y="881078"/>
                    <a:pt x="3184228" y="863578"/>
                    <a:pt x="3205815" y="863578"/>
                  </a:cubicBezTo>
                  <a:close/>
                  <a:moveTo>
                    <a:pt x="3111175" y="863578"/>
                  </a:moveTo>
                  <a:cubicBezTo>
                    <a:pt x="3132763" y="863578"/>
                    <a:pt x="3150263" y="881078"/>
                    <a:pt x="3150263" y="902664"/>
                  </a:cubicBezTo>
                  <a:cubicBezTo>
                    <a:pt x="3150263" y="924251"/>
                    <a:pt x="3132763" y="941751"/>
                    <a:pt x="3111175" y="941751"/>
                  </a:cubicBezTo>
                  <a:cubicBezTo>
                    <a:pt x="3089588" y="941751"/>
                    <a:pt x="3072088" y="924251"/>
                    <a:pt x="3072088" y="902664"/>
                  </a:cubicBezTo>
                  <a:cubicBezTo>
                    <a:pt x="3072088" y="881078"/>
                    <a:pt x="3089588" y="863578"/>
                    <a:pt x="3111175" y="863578"/>
                  </a:cubicBezTo>
                  <a:close/>
                  <a:moveTo>
                    <a:pt x="3018902" y="863578"/>
                  </a:moveTo>
                  <a:cubicBezTo>
                    <a:pt x="3040489" y="863578"/>
                    <a:pt x="3057989" y="881078"/>
                    <a:pt x="3057989" y="902664"/>
                  </a:cubicBezTo>
                  <a:cubicBezTo>
                    <a:pt x="3057989" y="924251"/>
                    <a:pt x="3040489" y="941751"/>
                    <a:pt x="3018902" y="941751"/>
                  </a:cubicBezTo>
                  <a:cubicBezTo>
                    <a:pt x="2997315" y="941751"/>
                    <a:pt x="2979815" y="924251"/>
                    <a:pt x="2979815" y="902664"/>
                  </a:cubicBezTo>
                  <a:cubicBezTo>
                    <a:pt x="2979815" y="881078"/>
                    <a:pt x="2997315" y="863578"/>
                    <a:pt x="3018902" y="863578"/>
                  </a:cubicBezTo>
                  <a:close/>
                  <a:moveTo>
                    <a:pt x="2831987" y="863578"/>
                  </a:moveTo>
                  <a:cubicBezTo>
                    <a:pt x="2853574" y="863578"/>
                    <a:pt x="2871074" y="881078"/>
                    <a:pt x="2871074" y="902664"/>
                  </a:cubicBezTo>
                  <a:cubicBezTo>
                    <a:pt x="2871074" y="924251"/>
                    <a:pt x="2853574" y="941751"/>
                    <a:pt x="2831987" y="941751"/>
                  </a:cubicBezTo>
                  <a:cubicBezTo>
                    <a:pt x="2810400" y="941751"/>
                    <a:pt x="2792900" y="924251"/>
                    <a:pt x="2792900" y="902664"/>
                  </a:cubicBezTo>
                  <a:cubicBezTo>
                    <a:pt x="2792900" y="881078"/>
                    <a:pt x="2810400" y="863578"/>
                    <a:pt x="2831987" y="863578"/>
                  </a:cubicBezTo>
                  <a:close/>
                  <a:moveTo>
                    <a:pt x="2737371" y="863578"/>
                  </a:moveTo>
                  <a:cubicBezTo>
                    <a:pt x="2758934" y="863578"/>
                    <a:pt x="2776434" y="881078"/>
                    <a:pt x="2776434" y="902664"/>
                  </a:cubicBezTo>
                  <a:cubicBezTo>
                    <a:pt x="2776434" y="924251"/>
                    <a:pt x="2758934" y="941751"/>
                    <a:pt x="2737371" y="941751"/>
                  </a:cubicBezTo>
                  <a:cubicBezTo>
                    <a:pt x="2715777" y="941751"/>
                    <a:pt x="2698272" y="924251"/>
                    <a:pt x="2698272" y="902664"/>
                  </a:cubicBezTo>
                  <a:cubicBezTo>
                    <a:pt x="2698272" y="881078"/>
                    <a:pt x="2715777" y="863578"/>
                    <a:pt x="2737371" y="863578"/>
                  </a:cubicBezTo>
                  <a:close/>
                  <a:moveTo>
                    <a:pt x="2645074" y="863578"/>
                  </a:moveTo>
                  <a:cubicBezTo>
                    <a:pt x="2666662" y="863578"/>
                    <a:pt x="2684168" y="881078"/>
                    <a:pt x="2684168" y="902664"/>
                  </a:cubicBezTo>
                  <a:cubicBezTo>
                    <a:pt x="2684168" y="924251"/>
                    <a:pt x="2666662" y="941751"/>
                    <a:pt x="2645074" y="941751"/>
                  </a:cubicBezTo>
                  <a:cubicBezTo>
                    <a:pt x="2623489" y="941751"/>
                    <a:pt x="2605987" y="924251"/>
                    <a:pt x="2605987" y="902664"/>
                  </a:cubicBezTo>
                  <a:cubicBezTo>
                    <a:pt x="2605987" y="881078"/>
                    <a:pt x="2623489" y="863578"/>
                    <a:pt x="2645074" y="863578"/>
                  </a:cubicBezTo>
                  <a:close/>
                  <a:moveTo>
                    <a:pt x="2458167" y="863577"/>
                  </a:moveTo>
                  <a:cubicBezTo>
                    <a:pt x="2479755" y="863577"/>
                    <a:pt x="2497256" y="881077"/>
                    <a:pt x="2497256" y="902664"/>
                  </a:cubicBezTo>
                  <a:cubicBezTo>
                    <a:pt x="2497256" y="924250"/>
                    <a:pt x="2479755" y="941750"/>
                    <a:pt x="2458167" y="941750"/>
                  </a:cubicBezTo>
                  <a:cubicBezTo>
                    <a:pt x="2436591" y="941750"/>
                    <a:pt x="2419089" y="924250"/>
                    <a:pt x="2419089" y="902664"/>
                  </a:cubicBezTo>
                  <a:cubicBezTo>
                    <a:pt x="2419089" y="881077"/>
                    <a:pt x="2436591" y="863577"/>
                    <a:pt x="2458167" y="863577"/>
                  </a:cubicBezTo>
                  <a:close/>
                  <a:moveTo>
                    <a:pt x="1232658" y="863577"/>
                  </a:moveTo>
                  <a:cubicBezTo>
                    <a:pt x="1254244" y="863577"/>
                    <a:pt x="1271731" y="881077"/>
                    <a:pt x="1271731" y="902664"/>
                  </a:cubicBezTo>
                  <a:cubicBezTo>
                    <a:pt x="1271731" y="924250"/>
                    <a:pt x="1254244" y="941750"/>
                    <a:pt x="1232658" y="941750"/>
                  </a:cubicBezTo>
                  <a:cubicBezTo>
                    <a:pt x="1211065" y="941750"/>
                    <a:pt x="1193572" y="924250"/>
                    <a:pt x="1193572" y="902664"/>
                  </a:cubicBezTo>
                  <a:cubicBezTo>
                    <a:pt x="1193572" y="881077"/>
                    <a:pt x="1211065" y="863577"/>
                    <a:pt x="1232658" y="863577"/>
                  </a:cubicBezTo>
                  <a:close/>
                  <a:moveTo>
                    <a:pt x="1142744" y="863577"/>
                  </a:moveTo>
                  <a:cubicBezTo>
                    <a:pt x="1164338" y="863577"/>
                    <a:pt x="1181836" y="881077"/>
                    <a:pt x="1181836" y="902664"/>
                  </a:cubicBezTo>
                  <a:cubicBezTo>
                    <a:pt x="1181836" y="924250"/>
                    <a:pt x="1164338" y="941750"/>
                    <a:pt x="1142744" y="941750"/>
                  </a:cubicBezTo>
                  <a:cubicBezTo>
                    <a:pt x="1121151" y="941750"/>
                    <a:pt x="1103646" y="924250"/>
                    <a:pt x="1103646" y="902664"/>
                  </a:cubicBezTo>
                  <a:cubicBezTo>
                    <a:pt x="1103646" y="881077"/>
                    <a:pt x="1121151" y="863577"/>
                    <a:pt x="1142744" y="863577"/>
                  </a:cubicBezTo>
                  <a:close/>
                  <a:moveTo>
                    <a:pt x="1045719" y="863577"/>
                  </a:moveTo>
                  <a:cubicBezTo>
                    <a:pt x="1067303" y="863577"/>
                    <a:pt x="1084808" y="881077"/>
                    <a:pt x="1084808" y="902664"/>
                  </a:cubicBezTo>
                  <a:cubicBezTo>
                    <a:pt x="1084808" y="924250"/>
                    <a:pt x="1067303" y="941750"/>
                    <a:pt x="1045719" y="941750"/>
                  </a:cubicBezTo>
                  <a:cubicBezTo>
                    <a:pt x="1024135" y="941750"/>
                    <a:pt x="1006638" y="924250"/>
                    <a:pt x="1006638" y="902664"/>
                  </a:cubicBezTo>
                  <a:cubicBezTo>
                    <a:pt x="1006638" y="881077"/>
                    <a:pt x="1024135" y="863577"/>
                    <a:pt x="1045719" y="863577"/>
                  </a:cubicBezTo>
                  <a:close/>
                  <a:moveTo>
                    <a:pt x="669559" y="863577"/>
                  </a:moveTo>
                  <a:cubicBezTo>
                    <a:pt x="691164" y="863577"/>
                    <a:pt x="708661" y="881077"/>
                    <a:pt x="708661" y="902664"/>
                  </a:cubicBezTo>
                  <a:cubicBezTo>
                    <a:pt x="708661" y="924250"/>
                    <a:pt x="691164" y="941750"/>
                    <a:pt x="669559" y="941750"/>
                  </a:cubicBezTo>
                  <a:cubicBezTo>
                    <a:pt x="647989" y="941750"/>
                    <a:pt x="630484" y="924250"/>
                    <a:pt x="630484" y="902664"/>
                  </a:cubicBezTo>
                  <a:cubicBezTo>
                    <a:pt x="630484" y="881077"/>
                    <a:pt x="647989" y="863577"/>
                    <a:pt x="669559" y="863577"/>
                  </a:cubicBezTo>
                  <a:close/>
                  <a:moveTo>
                    <a:pt x="577280" y="863577"/>
                  </a:moveTo>
                  <a:cubicBezTo>
                    <a:pt x="598874" y="863577"/>
                    <a:pt x="616379" y="881077"/>
                    <a:pt x="616379" y="902664"/>
                  </a:cubicBezTo>
                  <a:cubicBezTo>
                    <a:pt x="616379" y="924250"/>
                    <a:pt x="598874" y="941750"/>
                    <a:pt x="577280" y="941750"/>
                  </a:cubicBezTo>
                  <a:cubicBezTo>
                    <a:pt x="555687" y="941750"/>
                    <a:pt x="538181" y="924250"/>
                    <a:pt x="538181" y="902664"/>
                  </a:cubicBezTo>
                  <a:cubicBezTo>
                    <a:pt x="538181" y="881077"/>
                    <a:pt x="555687" y="863577"/>
                    <a:pt x="577280" y="863577"/>
                  </a:cubicBezTo>
                  <a:close/>
                  <a:moveTo>
                    <a:pt x="484994" y="863577"/>
                  </a:moveTo>
                  <a:cubicBezTo>
                    <a:pt x="506580" y="863577"/>
                    <a:pt x="524078" y="881077"/>
                    <a:pt x="524078" y="902664"/>
                  </a:cubicBezTo>
                  <a:cubicBezTo>
                    <a:pt x="524078" y="924250"/>
                    <a:pt x="506580" y="941750"/>
                    <a:pt x="484994" y="941750"/>
                  </a:cubicBezTo>
                  <a:cubicBezTo>
                    <a:pt x="463395" y="941750"/>
                    <a:pt x="445922" y="924250"/>
                    <a:pt x="445922" y="902664"/>
                  </a:cubicBezTo>
                  <a:cubicBezTo>
                    <a:pt x="445922" y="881077"/>
                    <a:pt x="463395" y="863577"/>
                    <a:pt x="484994" y="863577"/>
                  </a:cubicBezTo>
                  <a:close/>
                  <a:moveTo>
                    <a:pt x="390347" y="863577"/>
                  </a:moveTo>
                  <a:cubicBezTo>
                    <a:pt x="411934" y="863577"/>
                    <a:pt x="429445" y="881077"/>
                    <a:pt x="429445" y="902664"/>
                  </a:cubicBezTo>
                  <a:cubicBezTo>
                    <a:pt x="429445" y="924250"/>
                    <a:pt x="411934" y="941750"/>
                    <a:pt x="390347" y="941750"/>
                  </a:cubicBezTo>
                  <a:cubicBezTo>
                    <a:pt x="368777" y="941750"/>
                    <a:pt x="351276" y="924250"/>
                    <a:pt x="351276" y="902664"/>
                  </a:cubicBezTo>
                  <a:cubicBezTo>
                    <a:pt x="351276" y="881077"/>
                    <a:pt x="368777" y="863577"/>
                    <a:pt x="390347" y="863577"/>
                  </a:cubicBezTo>
                  <a:close/>
                  <a:moveTo>
                    <a:pt x="298076" y="863577"/>
                  </a:moveTo>
                  <a:cubicBezTo>
                    <a:pt x="319657" y="863577"/>
                    <a:pt x="337175" y="881077"/>
                    <a:pt x="337175" y="902664"/>
                  </a:cubicBezTo>
                  <a:cubicBezTo>
                    <a:pt x="337175" y="924250"/>
                    <a:pt x="319657" y="941750"/>
                    <a:pt x="298076" y="941750"/>
                  </a:cubicBezTo>
                  <a:cubicBezTo>
                    <a:pt x="276485" y="941750"/>
                    <a:pt x="258986" y="924250"/>
                    <a:pt x="258986" y="902664"/>
                  </a:cubicBezTo>
                  <a:cubicBezTo>
                    <a:pt x="258986" y="881077"/>
                    <a:pt x="276485" y="863577"/>
                    <a:pt x="298076" y="863577"/>
                  </a:cubicBezTo>
                  <a:close/>
                  <a:moveTo>
                    <a:pt x="203430" y="863577"/>
                  </a:moveTo>
                  <a:cubicBezTo>
                    <a:pt x="225020" y="863577"/>
                    <a:pt x="242520" y="881077"/>
                    <a:pt x="242520" y="902664"/>
                  </a:cubicBezTo>
                  <a:cubicBezTo>
                    <a:pt x="242520" y="924250"/>
                    <a:pt x="225020" y="941750"/>
                    <a:pt x="203430" y="941750"/>
                  </a:cubicBezTo>
                  <a:cubicBezTo>
                    <a:pt x="181845" y="941750"/>
                    <a:pt x="164345" y="924250"/>
                    <a:pt x="164345" y="902664"/>
                  </a:cubicBezTo>
                  <a:cubicBezTo>
                    <a:pt x="164345" y="881077"/>
                    <a:pt x="181845" y="863577"/>
                    <a:pt x="203430" y="863577"/>
                  </a:cubicBezTo>
                  <a:close/>
                  <a:moveTo>
                    <a:pt x="111158" y="863577"/>
                  </a:moveTo>
                  <a:cubicBezTo>
                    <a:pt x="132745" y="863577"/>
                    <a:pt x="150245" y="881077"/>
                    <a:pt x="150245" y="902664"/>
                  </a:cubicBezTo>
                  <a:cubicBezTo>
                    <a:pt x="150245" y="924250"/>
                    <a:pt x="132745" y="941750"/>
                    <a:pt x="111158" y="941750"/>
                  </a:cubicBezTo>
                  <a:cubicBezTo>
                    <a:pt x="100365" y="941750"/>
                    <a:pt x="90593" y="937375"/>
                    <a:pt x="83520" y="930302"/>
                  </a:cubicBezTo>
                  <a:lnTo>
                    <a:pt x="79204" y="919881"/>
                  </a:lnTo>
                  <a:lnTo>
                    <a:pt x="105123" y="866077"/>
                  </a:lnTo>
                  <a:close/>
                  <a:moveTo>
                    <a:pt x="142783" y="799461"/>
                  </a:moveTo>
                  <a:lnTo>
                    <a:pt x="150250" y="817487"/>
                  </a:lnTo>
                  <a:cubicBezTo>
                    <a:pt x="150250" y="839075"/>
                    <a:pt x="132750" y="856575"/>
                    <a:pt x="111162" y="856575"/>
                  </a:cubicBezTo>
                  <a:lnTo>
                    <a:pt x="109944" y="856070"/>
                  </a:lnTo>
                  <a:lnTo>
                    <a:pt x="115886" y="843734"/>
                  </a:lnTo>
                  <a:close/>
                  <a:moveTo>
                    <a:pt x="3582534" y="779163"/>
                  </a:moveTo>
                  <a:lnTo>
                    <a:pt x="3616309" y="834758"/>
                  </a:lnTo>
                  <a:lnTo>
                    <a:pt x="3612015" y="845126"/>
                  </a:lnTo>
                  <a:cubicBezTo>
                    <a:pt x="3604941" y="852200"/>
                    <a:pt x="3595169" y="856575"/>
                    <a:pt x="3584375" y="856575"/>
                  </a:cubicBezTo>
                  <a:cubicBezTo>
                    <a:pt x="3562788" y="856575"/>
                    <a:pt x="3545289" y="839075"/>
                    <a:pt x="3545289" y="817487"/>
                  </a:cubicBezTo>
                  <a:cubicBezTo>
                    <a:pt x="3545289" y="806694"/>
                    <a:pt x="3549664" y="796922"/>
                    <a:pt x="3556737" y="789849"/>
                  </a:cubicBezTo>
                  <a:close/>
                  <a:moveTo>
                    <a:pt x="3489735" y="778400"/>
                  </a:moveTo>
                  <a:cubicBezTo>
                    <a:pt x="3511323" y="778400"/>
                    <a:pt x="3528823" y="795900"/>
                    <a:pt x="3528823" y="817487"/>
                  </a:cubicBezTo>
                  <a:cubicBezTo>
                    <a:pt x="3528823" y="839075"/>
                    <a:pt x="3511323" y="856575"/>
                    <a:pt x="3489735" y="856575"/>
                  </a:cubicBezTo>
                  <a:cubicBezTo>
                    <a:pt x="3468148" y="856575"/>
                    <a:pt x="3450649" y="839075"/>
                    <a:pt x="3450649" y="817487"/>
                  </a:cubicBezTo>
                  <a:cubicBezTo>
                    <a:pt x="3450649" y="795900"/>
                    <a:pt x="3468148" y="778400"/>
                    <a:pt x="3489735" y="778400"/>
                  </a:cubicBezTo>
                  <a:close/>
                  <a:moveTo>
                    <a:pt x="3392730" y="778400"/>
                  </a:moveTo>
                  <a:cubicBezTo>
                    <a:pt x="3414317" y="778400"/>
                    <a:pt x="3431817" y="795900"/>
                    <a:pt x="3431817" y="817487"/>
                  </a:cubicBezTo>
                  <a:cubicBezTo>
                    <a:pt x="3431817" y="839075"/>
                    <a:pt x="3414317" y="856575"/>
                    <a:pt x="3392730" y="856575"/>
                  </a:cubicBezTo>
                  <a:cubicBezTo>
                    <a:pt x="3371143" y="856575"/>
                    <a:pt x="3353643" y="839075"/>
                    <a:pt x="3353643" y="817487"/>
                  </a:cubicBezTo>
                  <a:cubicBezTo>
                    <a:pt x="3353643" y="795900"/>
                    <a:pt x="3371143" y="778400"/>
                    <a:pt x="3392730" y="778400"/>
                  </a:cubicBezTo>
                  <a:close/>
                  <a:moveTo>
                    <a:pt x="3300455" y="778400"/>
                  </a:moveTo>
                  <a:cubicBezTo>
                    <a:pt x="3322043" y="778400"/>
                    <a:pt x="3339543" y="795900"/>
                    <a:pt x="3339543" y="817487"/>
                  </a:cubicBezTo>
                  <a:cubicBezTo>
                    <a:pt x="3339543" y="839075"/>
                    <a:pt x="3322043" y="856575"/>
                    <a:pt x="3300455" y="856575"/>
                  </a:cubicBezTo>
                  <a:cubicBezTo>
                    <a:pt x="3278868" y="856575"/>
                    <a:pt x="3261368" y="839075"/>
                    <a:pt x="3261368" y="817487"/>
                  </a:cubicBezTo>
                  <a:cubicBezTo>
                    <a:pt x="3261368" y="795900"/>
                    <a:pt x="3278868" y="778400"/>
                    <a:pt x="3300455" y="778400"/>
                  </a:cubicBezTo>
                  <a:close/>
                  <a:moveTo>
                    <a:pt x="3205815" y="778400"/>
                  </a:moveTo>
                  <a:cubicBezTo>
                    <a:pt x="3227402" y="778400"/>
                    <a:pt x="3244902" y="795900"/>
                    <a:pt x="3244902" y="817487"/>
                  </a:cubicBezTo>
                  <a:cubicBezTo>
                    <a:pt x="3244902" y="839075"/>
                    <a:pt x="3227402" y="856575"/>
                    <a:pt x="3205815" y="856575"/>
                  </a:cubicBezTo>
                  <a:cubicBezTo>
                    <a:pt x="3184227" y="856575"/>
                    <a:pt x="3166728" y="839075"/>
                    <a:pt x="3166728" y="817487"/>
                  </a:cubicBezTo>
                  <a:cubicBezTo>
                    <a:pt x="3166728" y="795900"/>
                    <a:pt x="3184227" y="778400"/>
                    <a:pt x="3205815" y="778400"/>
                  </a:cubicBezTo>
                  <a:close/>
                  <a:moveTo>
                    <a:pt x="3111175" y="778400"/>
                  </a:moveTo>
                  <a:cubicBezTo>
                    <a:pt x="3132762" y="778400"/>
                    <a:pt x="3150262" y="795900"/>
                    <a:pt x="3150262" y="817487"/>
                  </a:cubicBezTo>
                  <a:cubicBezTo>
                    <a:pt x="3150262" y="839075"/>
                    <a:pt x="3132762" y="856575"/>
                    <a:pt x="3111175" y="856575"/>
                  </a:cubicBezTo>
                  <a:cubicBezTo>
                    <a:pt x="3089588" y="856575"/>
                    <a:pt x="3072088" y="839075"/>
                    <a:pt x="3072088" y="817487"/>
                  </a:cubicBezTo>
                  <a:cubicBezTo>
                    <a:pt x="3072088" y="795900"/>
                    <a:pt x="3089588" y="778400"/>
                    <a:pt x="3111175" y="778400"/>
                  </a:cubicBezTo>
                  <a:close/>
                  <a:moveTo>
                    <a:pt x="3018901" y="778400"/>
                  </a:moveTo>
                  <a:cubicBezTo>
                    <a:pt x="3040488" y="778400"/>
                    <a:pt x="3057988" y="795900"/>
                    <a:pt x="3057988" y="817487"/>
                  </a:cubicBezTo>
                  <a:cubicBezTo>
                    <a:pt x="3057988" y="839075"/>
                    <a:pt x="3040488" y="856575"/>
                    <a:pt x="3018901" y="856575"/>
                  </a:cubicBezTo>
                  <a:cubicBezTo>
                    <a:pt x="2997313" y="856575"/>
                    <a:pt x="2979813" y="839075"/>
                    <a:pt x="2979813" y="817487"/>
                  </a:cubicBezTo>
                  <a:cubicBezTo>
                    <a:pt x="2979813" y="795900"/>
                    <a:pt x="2997313" y="778400"/>
                    <a:pt x="3018901" y="778400"/>
                  </a:cubicBezTo>
                  <a:close/>
                  <a:moveTo>
                    <a:pt x="2831986" y="778400"/>
                  </a:moveTo>
                  <a:cubicBezTo>
                    <a:pt x="2853573" y="778400"/>
                    <a:pt x="2871073" y="795900"/>
                    <a:pt x="2871073" y="817487"/>
                  </a:cubicBezTo>
                  <a:cubicBezTo>
                    <a:pt x="2871073" y="839075"/>
                    <a:pt x="2853573" y="856575"/>
                    <a:pt x="2831986" y="856575"/>
                  </a:cubicBezTo>
                  <a:cubicBezTo>
                    <a:pt x="2810399" y="856575"/>
                    <a:pt x="2792899" y="839075"/>
                    <a:pt x="2792899" y="817487"/>
                  </a:cubicBezTo>
                  <a:cubicBezTo>
                    <a:pt x="2792899" y="795900"/>
                    <a:pt x="2810399" y="778400"/>
                    <a:pt x="2831986" y="778400"/>
                  </a:cubicBezTo>
                  <a:close/>
                  <a:moveTo>
                    <a:pt x="2737371" y="778400"/>
                  </a:moveTo>
                  <a:cubicBezTo>
                    <a:pt x="2758933" y="778400"/>
                    <a:pt x="2776433" y="795900"/>
                    <a:pt x="2776433" y="817487"/>
                  </a:cubicBezTo>
                  <a:cubicBezTo>
                    <a:pt x="2776433" y="839075"/>
                    <a:pt x="2758933" y="856575"/>
                    <a:pt x="2737371" y="856575"/>
                  </a:cubicBezTo>
                  <a:cubicBezTo>
                    <a:pt x="2715777" y="856575"/>
                    <a:pt x="2698271" y="839075"/>
                    <a:pt x="2698271" y="817487"/>
                  </a:cubicBezTo>
                  <a:cubicBezTo>
                    <a:pt x="2698271" y="795900"/>
                    <a:pt x="2715777" y="778400"/>
                    <a:pt x="2737371" y="778400"/>
                  </a:cubicBezTo>
                  <a:close/>
                  <a:moveTo>
                    <a:pt x="2645073" y="778400"/>
                  </a:moveTo>
                  <a:cubicBezTo>
                    <a:pt x="2666662" y="778400"/>
                    <a:pt x="2684167" y="795900"/>
                    <a:pt x="2684167" y="817487"/>
                  </a:cubicBezTo>
                  <a:cubicBezTo>
                    <a:pt x="2684167" y="839075"/>
                    <a:pt x="2666662" y="856575"/>
                    <a:pt x="2645073" y="856575"/>
                  </a:cubicBezTo>
                  <a:cubicBezTo>
                    <a:pt x="2623489" y="856575"/>
                    <a:pt x="2605987" y="839075"/>
                    <a:pt x="2605987" y="817487"/>
                  </a:cubicBezTo>
                  <a:cubicBezTo>
                    <a:pt x="2605987" y="795900"/>
                    <a:pt x="2623489" y="778400"/>
                    <a:pt x="2645073" y="778400"/>
                  </a:cubicBezTo>
                  <a:close/>
                  <a:moveTo>
                    <a:pt x="1703431" y="778400"/>
                  </a:moveTo>
                  <a:cubicBezTo>
                    <a:pt x="1725009" y="778400"/>
                    <a:pt x="1742522" y="795900"/>
                    <a:pt x="1742522" y="817487"/>
                  </a:cubicBezTo>
                  <a:cubicBezTo>
                    <a:pt x="1742522" y="839075"/>
                    <a:pt x="1725009" y="856575"/>
                    <a:pt x="1703431" y="856575"/>
                  </a:cubicBezTo>
                  <a:cubicBezTo>
                    <a:pt x="1681836" y="856575"/>
                    <a:pt x="1664349" y="839075"/>
                    <a:pt x="1664349" y="817487"/>
                  </a:cubicBezTo>
                  <a:cubicBezTo>
                    <a:pt x="1664349" y="795900"/>
                    <a:pt x="1681836" y="778400"/>
                    <a:pt x="1703431" y="778400"/>
                  </a:cubicBezTo>
                  <a:close/>
                  <a:moveTo>
                    <a:pt x="1045724" y="778400"/>
                  </a:moveTo>
                  <a:cubicBezTo>
                    <a:pt x="1067307" y="778400"/>
                    <a:pt x="1084813" y="795900"/>
                    <a:pt x="1084813" y="817487"/>
                  </a:cubicBezTo>
                  <a:cubicBezTo>
                    <a:pt x="1084813" y="839075"/>
                    <a:pt x="1067307" y="856575"/>
                    <a:pt x="1045724" y="856575"/>
                  </a:cubicBezTo>
                  <a:cubicBezTo>
                    <a:pt x="1024139" y="856575"/>
                    <a:pt x="1006642" y="839075"/>
                    <a:pt x="1006642" y="817487"/>
                  </a:cubicBezTo>
                  <a:cubicBezTo>
                    <a:pt x="1006642" y="795900"/>
                    <a:pt x="1024139" y="778400"/>
                    <a:pt x="1045724" y="778400"/>
                  </a:cubicBezTo>
                  <a:close/>
                  <a:moveTo>
                    <a:pt x="669571" y="778400"/>
                  </a:moveTo>
                  <a:cubicBezTo>
                    <a:pt x="691172" y="778400"/>
                    <a:pt x="708668" y="795900"/>
                    <a:pt x="708668" y="817487"/>
                  </a:cubicBezTo>
                  <a:cubicBezTo>
                    <a:pt x="708668" y="839075"/>
                    <a:pt x="691172" y="856575"/>
                    <a:pt x="669571" y="856575"/>
                  </a:cubicBezTo>
                  <a:cubicBezTo>
                    <a:pt x="647995" y="856575"/>
                    <a:pt x="630491" y="839075"/>
                    <a:pt x="630491" y="817487"/>
                  </a:cubicBezTo>
                  <a:cubicBezTo>
                    <a:pt x="630491" y="795900"/>
                    <a:pt x="647995" y="778400"/>
                    <a:pt x="669571" y="778400"/>
                  </a:cubicBezTo>
                  <a:close/>
                  <a:moveTo>
                    <a:pt x="577286" y="778400"/>
                  </a:moveTo>
                  <a:cubicBezTo>
                    <a:pt x="598880" y="778400"/>
                    <a:pt x="616386" y="795900"/>
                    <a:pt x="616386" y="817487"/>
                  </a:cubicBezTo>
                  <a:cubicBezTo>
                    <a:pt x="616386" y="839075"/>
                    <a:pt x="598880" y="856575"/>
                    <a:pt x="577286" y="856575"/>
                  </a:cubicBezTo>
                  <a:cubicBezTo>
                    <a:pt x="555692" y="856575"/>
                    <a:pt x="538187" y="839075"/>
                    <a:pt x="538187" y="817487"/>
                  </a:cubicBezTo>
                  <a:cubicBezTo>
                    <a:pt x="538187" y="795900"/>
                    <a:pt x="555692" y="778400"/>
                    <a:pt x="577286" y="778400"/>
                  </a:cubicBezTo>
                  <a:close/>
                  <a:moveTo>
                    <a:pt x="484999" y="778400"/>
                  </a:moveTo>
                  <a:cubicBezTo>
                    <a:pt x="506585" y="778400"/>
                    <a:pt x="524083" y="795900"/>
                    <a:pt x="524083" y="817487"/>
                  </a:cubicBezTo>
                  <a:cubicBezTo>
                    <a:pt x="524083" y="839075"/>
                    <a:pt x="506585" y="856575"/>
                    <a:pt x="484999" y="856575"/>
                  </a:cubicBezTo>
                  <a:cubicBezTo>
                    <a:pt x="463402" y="856575"/>
                    <a:pt x="445926" y="839075"/>
                    <a:pt x="445926" y="817487"/>
                  </a:cubicBezTo>
                  <a:cubicBezTo>
                    <a:pt x="445926" y="795900"/>
                    <a:pt x="463402" y="778400"/>
                    <a:pt x="484999" y="778400"/>
                  </a:cubicBezTo>
                  <a:close/>
                  <a:moveTo>
                    <a:pt x="390347" y="778400"/>
                  </a:moveTo>
                  <a:cubicBezTo>
                    <a:pt x="411934" y="778400"/>
                    <a:pt x="429451" y="795900"/>
                    <a:pt x="429451" y="817487"/>
                  </a:cubicBezTo>
                  <a:cubicBezTo>
                    <a:pt x="429451" y="839075"/>
                    <a:pt x="411934" y="856575"/>
                    <a:pt x="390347" y="856575"/>
                  </a:cubicBezTo>
                  <a:cubicBezTo>
                    <a:pt x="368783" y="856575"/>
                    <a:pt x="351281" y="839075"/>
                    <a:pt x="351281" y="817487"/>
                  </a:cubicBezTo>
                  <a:cubicBezTo>
                    <a:pt x="351281" y="795900"/>
                    <a:pt x="368783" y="778400"/>
                    <a:pt x="390347" y="778400"/>
                  </a:cubicBezTo>
                  <a:close/>
                  <a:moveTo>
                    <a:pt x="298081" y="778400"/>
                  </a:moveTo>
                  <a:cubicBezTo>
                    <a:pt x="319662" y="778400"/>
                    <a:pt x="337179" y="795900"/>
                    <a:pt x="337179" y="817487"/>
                  </a:cubicBezTo>
                  <a:cubicBezTo>
                    <a:pt x="337179" y="839075"/>
                    <a:pt x="319662" y="856575"/>
                    <a:pt x="298081" y="856575"/>
                  </a:cubicBezTo>
                  <a:cubicBezTo>
                    <a:pt x="276488" y="856575"/>
                    <a:pt x="258991" y="839075"/>
                    <a:pt x="258991" y="817487"/>
                  </a:cubicBezTo>
                  <a:cubicBezTo>
                    <a:pt x="258991" y="795900"/>
                    <a:pt x="276488" y="778400"/>
                    <a:pt x="298081" y="778400"/>
                  </a:cubicBezTo>
                  <a:close/>
                  <a:moveTo>
                    <a:pt x="203435" y="778400"/>
                  </a:moveTo>
                  <a:cubicBezTo>
                    <a:pt x="225025" y="778400"/>
                    <a:pt x="242524" y="795900"/>
                    <a:pt x="242524" y="817487"/>
                  </a:cubicBezTo>
                  <a:cubicBezTo>
                    <a:pt x="242524" y="839075"/>
                    <a:pt x="225025" y="856575"/>
                    <a:pt x="203435" y="856575"/>
                  </a:cubicBezTo>
                  <a:cubicBezTo>
                    <a:pt x="181849" y="856575"/>
                    <a:pt x="164349" y="839075"/>
                    <a:pt x="164349" y="817487"/>
                  </a:cubicBezTo>
                  <a:cubicBezTo>
                    <a:pt x="164349" y="795900"/>
                    <a:pt x="181849" y="778400"/>
                    <a:pt x="203435" y="778400"/>
                  </a:cubicBezTo>
                  <a:close/>
                  <a:moveTo>
                    <a:pt x="3548266" y="722756"/>
                  </a:moveTo>
                  <a:lnTo>
                    <a:pt x="3573690" y="764605"/>
                  </a:lnTo>
                  <a:lnTo>
                    <a:pt x="3556737" y="757582"/>
                  </a:lnTo>
                  <a:cubicBezTo>
                    <a:pt x="3549664" y="750509"/>
                    <a:pt x="3545289" y="740737"/>
                    <a:pt x="3545289" y="729943"/>
                  </a:cubicBezTo>
                  <a:close/>
                  <a:moveTo>
                    <a:pt x="207691" y="692618"/>
                  </a:moveTo>
                  <a:lnTo>
                    <a:pt x="231082" y="702305"/>
                  </a:lnTo>
                  <a:cubicBezTo>
                    <a:pt x="238155" y="709378"/>
                    <a:pt x="242530" y="719150"/>
                    <a:pt x="242530" y="729943"/>
                  </a:cubicBezTo>
                  <a:cubicBezTo>
                    <a:pt x="242530" y="751531"/>
                    <a:pt x="225032" y="769031"/>
                    <a:pt x="203440" y="769031"/>
                  </a:cubicBezTo>
                  <a:cubicBezTo>
                    <a:pt x="192648" y="769031"/>
                    <a:pt x="182877" y="764656"/>
                    <a:pt x="175804" y="757582"/>
                  </a:cubicBezTo>
                  <a:lnTo>
                    <a:pt x="172731" y="750164"/>
                  </a:lnTo>
                  <a:close/>
                  <a:moveTo>
                    <a:pt x="3489735" y="690857"/>
                  </a:moveTo>
                  <a:cubicBezTo>
                    <a:pt x="3511322" y="690857"/>
                    <a:pt x="3528822" y="708357"/>
                    <a:pt x="3528822" y="729943"/>
                  </a:cubicBezTo>
                  <a:cubicBezTo>
                    <a:pt x="3528822" y="751531"/>
                    <a:pt x="3511322" y="769031"/>
                    <a:pt x="3489735" y="769031"/>
                  </a:cubicBezTo>
                  <a:cubicBezTo>
                    <a:pt x="3468147" y="769031"/>
                    <a:pt x="3450647" y="751531"/>
                    <a:pt x="3450647" y="729943"/>
                  </a:cubicBezTo>
                  <a:cubicBezTo>
                    <a:pt x="3450647" y="708357"/>
                    <a:pt x="3468147" y="690857"/>
                    <a:pt x="3489735" y="690857"/>
                  </a:cubicBezTo>
                  <a:close/>
                  <a:moveTo>
                    <a:pt x="3392730" y="690857"/>
                  </a:moveTo>
                  <a:cubicBezTo>
                    <a:pt x="3414317" y="690857"/>
                    <a:pt x="3431817" y="708357"/>
                    <a:pt x="3431817" y="729943"/>
                  </a:cubicBezTo>
                  <a:cubicBezTo>
                    <a:pt x="3431817" y="751531"/>
                    <a:pt x="3414317" y="769031"/>
                    <a:pt x="3392730" y="769031"/>
                  </a:cubicBezTo>
                  <a:cubicBezTo>
                    <a:pt x="3371143" y="769031"/>
                    <a:pt x="3353643" y="751531"/>
                    <a:pt x="3353643" y="729943"/>
                  </a:cubicBezTo>
                  <a:cubicBezTo>
                    <a:pt x="3353643" y="708357"/>
                    <a:pt x="3371143" y="690857"/>
                    <a:pt x="3392730" y="690857"/>
                  </a:cubicBezTo>
                  <a:close/>
                  <a:moveTo>
                    <a:pt x="3300455" y="690857"/>
                  </a:moveTo>
                  <a:cubicBezTo>
                    <a:pt x="3322042" y="690857"/>
                    <a:pt x="3339542" y="708357"/>
                    <a:pt x="3339542" y="729944"/>
                  </a:cubicBezTo>
                  <a:cubicBezTo>
                    <a:pt x="3339542" y="751532"/>
                    <a:pt x="3322042" y="769031"/>
                    <a:pt x="3300455" y="769031"/>
                  </a:cubicBezTo>
                  <a:cubicBezTo>
                    <a:pt x="3278867" y="769031"/>
                    <a:pt x="3261368" y="751532"/>
                    <a:pt x="3261368" y="729944"/>
                  </a:cubicBezTo>
                  <a:cubicBezTo>
                    <a:pt x="3261368" y="708357"/>
                    <a:pt x="3278867" y="690857"/>
                    <a:pt x="3300455" y="690857"/>
                  </a:cubicBezTo>
                  <a:close/>
                  <a:moveTo>
                    <a:pt x="3205815" y="690857"/>
                  </a:moveTo>
                  <a:cubicBezTo>
                    <a:pt x="3227402" y="690857"/>
                    <a:pt x="3244902" y="708357"/>
                    <a:pt x="3244902" y="729943"/>
                  </a:cubicBezTo>
                  <a:cubicBezTo>
                    <a:pt x="3244902" y="751531"/>
                    <a:pt x="3227402" y="769031"/>
                    <a:pt x="3205815" y="769031"/>
                  </a:cubicBezTo>
                  <a:cubicBezTo>
                    <a:pt x="3184227" y="769031"/>
                    <a:pt x="3166728" y="751531"/>
                    <a:pt x="3166728" y="729943"/>
                  </a:cubicBezTo>
                  <a:cubicBezTo>
                    <a:pt x="3166728" y="708357"/>
                    <a:pt x="3184227" y="690857"/>
                    <a:pt x="3205815" y="690857"/>
                  </a:cubicBezTo>
                  <a:close/>
                  <a:moveTo>
                    <a:pt x="3111175" y="690857"/>
                  </a:moveTo>
                  <a:cubicBezTo>
                    <a:pt x="3132762" y="690857"/>
                    <a:pt x="3150262" y="708357"/>
                    <a:pt x="3150262" y="729944"/>
                  </a:cubicBezTo>
                  <a:cubicBezTo>
                    <a:pt x="3150262" y="751532"/>
                    <a:pt x="3132762" y="769031"/>
                    <a:pt x="3111175" y="769031"/>
                  </a:cubicBezTo>
                  <a:cubicBezTo>
                    <a:pt x="3089588" y="769031"/>
                    <a:pt x="3072088" y="751532"/>
                    <a:pt x="3072088" y="729944"/>
                  </a:cubicBezTo>
                  <a:cubicBezTo>
                    <a:pt x="3072088" y="708357"/>
                    <a:pt x="3089588" y="690857"/>
                    <a:pt x="3111175" y="690857"/>
                  </a:cubicBezTo>
                  <a:close/>
                  <a:moveTo>
                    <a:pt x="3018901" y="690857"/>
                  </a:moveTo>
                  <a:cubicBezTo>
                    <a:pt x="3040488" y="690857"/>
                    <a:pt x="3057988" y="708357"/>
                    <a:pt x="3057988" y="729944"/>
                  </a:cubicBezTo>
                  <a:cubicBezTo>
                    <a:pt x="3057988" y="751532"/>
                    <a:pt x="3040488" y="769031"/>
                    <a:pt x="3018901" y="769031"/>
                  </a:cubicBezTo>
                  <a:cubicBezTo>
                    <a:pt x="2997313" y="769031"/>
                    <a:pt x="2979813" y="751532"/>
                    <a:pt x="2979813" y="729944"/>
                  </a:cubicBezTo>
                  <a:cubicBezTo>
                    <a:pt x="2979813" y="708357"/>
                    <a:pt x="2997313" y="690857"/>
                    <a:pt x="3018901" y="690857"/>
                  </a:cubicBezTo>
                  <a:close/>
                  <a:moveTo>
                    <a:pt x="2924262" y="690857"/>
                  </a:moveTo>
                  <a:cubicBezTo>
                    <a:pt x="2945849" y="690857"/>
                    <a:pt x="2963349" y="708357"/>
                    <a:pt x="2963349" y="729943"/>
                  </a:cubicBezTo>
                  <a:cubicBezTo>
                    <a:pt x="2963349" y="751531"/>
                    <a:pt x="2945849" y="769031"/>
                    <a:pt x="2924262" y="769031"/>
                  </a:cubicBezTo>
                  <a:cubicBezTo>
                    <a:pt x="2902675" y="769031"/>
                    <a:pt x="2885175" y="751531"/>
                    <a:pt x="2885175" y="729943"/>
                  </a:cubicBezTo>
                  <a:cubicBezTo>
                    <a:pt x="2885175" y="708357"/>
                    <a:pt x="2902675" y="690857"/>
                    <a:pt x="2924262" y="690857"/>
                  </a:cubicBezTo>
                  <a:close/>
                  <a:moveTo>
                    <a:pt x="2831986" y="690857"/>
                  </a:moveTo>
                  <a:cubicBezTo>
                    <a:pt x="2853573" y="690857"/>
                    <a:pt x="2871073" y="708357"/>
                    <a:pt x="2871073" y="729944"/>
                  </a:cubicBezTo>
                  <a:cubicBezTo>
                    <a:pt x="2871073" y="751532"/>
                    <a:pt x="2853573" y="769031"/>
                    <a:pt x="2831986" y="769031"/>
                  </a:cubicBezTo>
                  <a:cubicBezTo>
                    <a:pt x="2810399" y="769031"/>
                    <a:pt x="2792899" y="751532"/>
                    <a:pt x="2792899" y="729944"/>
                  </a:cubicBezTo>
                  <a:cubicBezTo>
                    <a:pt x="2792899" y="708357"/>
                    <a:pt x="2810399" y="690857"/>
                    <a:pt x="2831986" y="690857"/>
                  </a:cubicBezTo>
                  <a:close/>
                  <a:moveTo>
                    <a:pt x="2737373" y="690857"/>
                  </a:moveTo>
                  <a:cubicBezTo>
                    <a:pt x="2758934" y="690857"/>
                    <a:pt x="2776434" y="708357"/>
                    <a:pt x="2776434" y="729944"/>
                  </a:cubicBezTo>
                  <a:cubicBezTo>
                    <a:pt x="2776434" y="751532"/>
                    <a:pt x="2758934" y="769031"/>
                    <a:pt x="2737373" y="769031"/>
                  </a:cubicBezTo>
                  <a:cubicBezTo>
                    <a:pt x="2715778" y="769031"/>
                    <a:pt x="2698271" y="751532"/>
                    <a:pt x="2698271" y="729944"/>
                  </a:cubicBezTo>
                  <a:cubicBezTo>
                    <a:pt x="2698271" y="708357"/>
                    <a:pt x="2715778" y="690857"/>
                    <a:pt x="2737373" y="690857"/>
                  </a:cubicBezTo>
                  <a:close/>
                  <a:moveTo>
                    <a:pt x="2266534" y="690857"/>
                  </a:moveTo>
                  <a:cubicBezTo>
                    <a:pt x="2288114" y="690857"/>
                    <a:pt x="2305617" y="708357"/>
                    <a:pt x="2305617" y="729943"/>
                  </a:cubicBezTo>
                  <a:cubicBezTo>
                    <a:pt x="2305617" y="751531"/>
                    <a:pt x="2288114" y="769031"/>
                    <a:pt x="2266534" y="769031"/>
                  </a:cubicBezTo>
                  <a:cubicBezTo>
                    <a:pt x="2244933" y="769031"/>
                    <a:pt x="2227440" y="751531"/>
                    <a:pt x="2227440" y="729943"/>
                  </a:cubicBezTo>
                  <a:cubicBezTo>
                    <a:pt x="2227440" y="708357"/>
                    <a:pt x="2244933" y="690857"/>
                    <a:pt x="2266534" y="690857"/>
                  </a:cubicBezTo>
                  <a:close/>
                  <a:moveTo>
                    <a:pt x="2171886" y="690857"/>
                  </a:moveTo>
                  <a:cubicBezTo>
                    <a:pt x="2193476" y="690857"/>
                    <a:pt x="2210979" y="708357"/>
                    <a:pt x="2210979" y="729944"/>
                  </a:cubicBezTo>
                  <a:cubicBezTo>
                    <a:pt x="2210979" y="751532"/>
                    <a:pt x="2193476" y="769031"/>
                    <a:pt x="2171886" y="769031"/>
                  </a:cubicBezTo>
                  <a:cubicBezTo>
                    <a:pt x="2150294" y="769031"/>
                    <a:pt x="2132800" y="751532"/>
                    <a:pt x="2132800" y="729944"/>
                  </a:cubicBezTo>
                  <a:cubicBezTo>
                    <a:pt x="2132800" y="708357"/>
                    <a:pt x="2150294" y="690857"/>
                    <a:pt x="2171886" y="690857"/>
                  </a:cubicBezTo>
                  <a:close/>
                  <a:moveTo>
                    <a:pt x="2079612" y="690857"/>
                  </a:moveTo>
                  <a:cubicBezTo>
                    <a:pt x="2101211" y="690857"/>
                    <a:pt x="2118698" y="708357"/>
                    <a:pt x="2118698" y="729944"/>
                  </a:cubicBezTo>
                  <a:cubicBezTo>
                    <a:pt x="2118698" y="751532"/>
                    <a:pt x="2101211" y="769031"/>
                    <a:pt x="2079612" y="769031"/>
                  </a:cubicBezTo>
                  <a:cubicBezTo>
                    <a:pt x="2058029" y="769031"/>
                    <a:pt x="2040529" y="751532"/>
                    <a:pt x="2040529" y="729944"/>
                  </a:cubicBezTo>
                  <a:cubicBezTo>
                    <a:pt x="2040529" y="708357"/>
                    <a:pt x="2058029" y="690857"/>
                    <a:pt x="2079612" y="690857"/>
                  </a:cubicBezTo>
                  <a:close/>
                  <a:moveTo>
                    <a:pt x="1703432" y="690857"/>
                  </a:moveTo>
                  <a:cubicBezTo>
                    <a:pt x="1725009" y="690857"/>
                    <a:pt x="1742522" y="708357"/>
                    <a:pt x="1742522" y="729943"/>
                  </a:cubicBezTo>
                  <a:cubicBezTo>
                    <a:pt x="1742522" y="751531"/>
                    <a:pt x="1725009" y="769031"/>
                    <a:pt x="1703432" y="769031"/>
                  </a:cubicBezTo>
                  <a:cubicBezTo>
                    <a:pt x="1681839" y="769031"/>
                    <a:pt x="1664351" y="751531"/>
                    <a:pt x="1664351" y="729943"/>
                  </a:cubicBezTo>
                  <a:cubicBezTo>
                    <a:pt x="1664351" y="708357"/>
                    <a:pt x="1681839" y="690857"/>
                    <a:pt x="1703432" y="690857"/>
                  </a:cubicBezTo>
                  <a:close/>
                  <a:moveTo>
                    <a:pt x="1611147" y="690857"/>
                  </a:moveTo>
                  <a:cubicBezTo>
                    <a:pt x="1632741" y="690857"/>
                    <a:pt x="1650245" y="708357"/>
                    <a:pt x="1650245" y="729944"/>
                  </a:cubicBezTo>
                  <a:cubicBezTo>
                    <a:pt x="1650245" y="751532"/>
                    <a:pt x="1632741" y="769031"/>
                    <a:pt x="1611147" y="769031"/>
                  </a:cubicBezTo>
                  <a:cubicBezTo>
                    <a:pt x="1589631" y="769031"/>
                    <a:pt x="1572133" y="751532"/>
                    <a:pt x="1572133" y="729944"/>
                  </a:cubicBezTo>
                  <a:cubicBezTo>
                    <a:pt x="1572133" y="708357"/>
                    <a:pt x="1589631" y="690857"/>
                    <a:pt x="1611147" y="690857"/>
                  </a:cubicBezTo>
                  <a:close/>
                  <a:moveTo>
                    <a:pt x="1232669" y="690857"/>
                  </a:moveTo>
                  <a:cubicBezTo>
                    <a:pt x="1254252" y="690857"/>
                    <a:pt x="1271741" y="708357"/>
                    <a:pt x="1271741" y="729943"/>
                  </a:cubicBezTo>
                  <a:cubicBezTo>
                    <a:pt x="1271741" y="751531"/>
                    <a:pt x="1254252" y="769031"/>
                    <a:pt x="1232669" y="769031"/>
                  </a:cubicBezTo>
                  <a:cubicBezTo>
                    <a:pt x="1211075" y="769031"/>
                    <a:pt x="1193583" y="751531"/>
                    <a:pt x="1193583" y="729943"/>
                  </a:cubicBezTo>
                  <a:cubicBezTo>
                    <a:pt x="1193583" y="708357"/>
                    <a:pt x="1211075" y="690857"/>
                    <a:pt x="1232669" y="690857"/>
                  </a:cubicBezTo>
                  <a:close/>
                  <a:moveTo>
                    <a:pt x="1142756" y="690857"/>
                  </a:moveTo>
                  <a:cubicBezTo>
                    <a:pt x="1164349" y="690857"/>
                    <a:pt x="1181847" y="708357"/>
                    <a:pt x="1181847" y="729944"/>
                  </a:cubicBezTo>
                  <a:cubicBezTo>
                    <a:pt x="1181847" y="751532"/>
                    <a:pt x="1164349" y="769031"/>
                    <a:pt x="1142756" y="769031"/>
                  </a:cubicBezTo>
                  <a:cubicBezTo>
                    <a:pt x="1121161" y="769031"/>
                    <a:pt x="1103656" y="751532"/>
                    <a:pt x="1103656" y="729944"/>
                  </a:cubicBezTo>
                  <a:cubicBezTo>
                    <a:pt x="1103656" y="708357"/>
                    <a:pt x="1121161" y="690857"/>
                    <a:pt x="1142756" y="690857"/>
                  </a:cubicBezTo>
                  <a:close/>
                  <a:moveTo>
                    <a:pt x="856480" y="690857"/>
                  </a:moveTo>
                  <a:cubicBezTo>
                    <a:pt x="878063" y="690857"/>
                    <a:pt x="895560" y="708357"/>
                    <a:pt x="895560" y="729943"/>
                  </a:cubicBezTo>
                  <a:cubicBezTo>
                    <a:pt x="895560" y="751531"/>
                    <a:pt x="878063" y="769031"/>
                    <a:pt x="856480" y="769031"/>
                  </a:cubicBezTo>
                  <a:cubicBezTo>
                    <a:pt x="834897" y="769031"/>
                    <a:pt x="817401" y="751531"/>
                    <a:pt x="817401" y="729943"/>
                  </a:cubicBezTo>
                  <a:cubicBezTo>
                    <a:pt x="817401" y="708357"/>
                    <a:pt x="834897" y="690857"/>
                    <a:pt x="856480" y="690857"/>
                  </a:cubicBezTo>
                  <a:close/>
                  <a:moveTo>
                    <a:pt x="764220" y="690857"/>
                  </a:moveTo>
                  <a:cubicBezTo>
                    <a:pt x="785806" y="690857"/>
                    <a:pt x="803302" y="708357"/>
                    <a:pt x="803302" y="729944"/>
                  </a:cubicBezTo>
                  <a:cubicBezTo>
                    <a:pt x="803302" y="751532"/>
                    <a:pt x="785806" y="769031"/>
                    <a:pt x="764220" y="769031"/>
                  </a:cubicBezTo>
                  <a:cubicBezTo>
                    <a:pt x="742627" y="769031"/>
                    <a:pt x="725137" y="751532"/>
                    <a:pt x="725137" y="729944"/>
                  </a:cubicBezTo>
                  <a:cubicBezTo>
                    <a:pt x="725137" y="708357"/>
                    <a:pt x="742627" y="690857"/>
                    <a:pt x="764220" y="690857"/>
                  </a:cubicBezTo>
                  <a:close/>
                  <a:moveTo>
                    <a:pt x="669571" y="690857"/>
                  </a:moveTo>
                  <a:cubicBezTo>
                    <a:pt x="691179" y="690857"/>
                    <a:pt x="708675" y="708357"/>
                    <a:pt x="708675" y="729943"/>
                  </a:cubicBezTo>
                  <a:cubicBezTo>
                    <a:pt x="708675" y="751531"/>
                    <a:pt x="691179" y="769031"/>
                    <a:pt x="669571" y="769031"/>
                  </a:cubicBezTo>
                  <a:cubicBezTo>
                    <a:pt x="648002" y="769031"/>
                    <a:pt x="630497" y="751531"/>
                    <a:pt x="630497" y="729943"/>
                  </a:cubicBezTo>
                  <a:cubicBezTo>
                    <a:pt x="630497" y="708357"/>
                    <a:pt x="648002" y="690857"/>
                    <a:pt x="669571" y="690857"/>
                  </a:cubicBezTo>
                  <a:close/>
                  <a:moveTo>
                    <a:pt x="577293" y="690857"/>
                  </a:moveTo>
                  <a:cubicBezTo>
                    <a:pt x="598887" y="690857"/>
                    <a:pt x="616393" y="708357"/>
                    <a:pt x="616393" y="729943"/>
                  </a:cubicBezTo>
                  <a:cubicBezTo>
                    <a:pt x="616393" y="751531"/>
                    <a:pt x="598887" y="769031"/>
                    <a:pt x="577293" y="769031"/>
                  </a:cubicBezTo>
                  <a:cubicBezTo>
                    <a:pt x="555699" y="769031"/>
                    <a:pt x="538195" y="751531"/>
                    <a:pt x="538195" y="729943"/>
                  </a:cubicBezTo>
                  <a:cubicBezTo>
                    <a:pt x="538195" y="708357"/>
                    <a:pt x="555699" y="690857"/>
                    <a:pt x="577293" y="690857"/>
                  </a:cubicBezTo>
                  <a:close/>
                  <a:moveTo>
                    <a:pt x="485003" y="690857"/>
                  </a:moveTo>
                  <a:cubicBezTo>
                    <a:pt x="506592" y="690857"/>
                    <a:pt x="524091" y="708357"/>
                    <a:pt x="524091" y="729943"/>
                  </a:cubicBezTo>
                  <a:cubicBezTo>
                    <a:pt x="524091" y="751531"/>
                    <a:pt x="506592" y="769031"/>
                    <a:pt x="485003" y="769031"/>
                  </a:cubicBezTo>
                  <a:cubicBezTo>
                    <a:pt x="463406" y="769031"/>
                    <a:pt x="445934" y="751531"/>
                    <a:pt x="445934" y="729943"/>
                  </a:cubicBezTo>
                  <a:cubicBezTo>
                    <a:pt x="445934" y="708357"/>
                    <a:pt x="463406" y="690857"/>
                    <a:pt x="485003" y="690857"/>
                  </a:cubicBezTo>
                  <a:close/>
                  <a:moveTo>
                    <a:pt x="390354" y="690857"/>
                  </a:moveTo>
                  <a:cubicBezTo>
                    <a:pt x="411947" y="690857"/>
                    <a:pt x="429457" y="708357"/>
                    <a:pt x="429457" y="729943"/>
                  </a:cubicBezTo>
                  <a:cubicBezTo>
                    <a:pt x="429457" y="751531"/>
                    <a:pt x="411947" y="769031"/>
                    <a:pt x="390354" y="769031"/>
                  </a:cubicBezTo>
                  <a:cubicBezTo>
                    <a:pt x="368790" y="769031"/>
                    <a:pt x="351287" y="751531"/>
                    <a:pt x="351287" y="729943"/>
                  </a:cubicBezTo>
                  <a:cubicBezTo>
                    <a:pt x="351287" y="708357"/>
                    <a:pt x="368790" y="690857"/>
                    <a:pt x="390354" y="690857"/>
                  </a:cubicBezTo>
                  <a:close/>
                  <a:moveTo>
                    <a:pt x="298087" y="690857"/>
                  </a:moveTo>
                  <a:cubicBezTo>
                    <a:pt x="319667" y="690857"/>
                    <a:pt x="337188" y="708357"/>
                    <a:pt x="337188" y="729943"/>
                  </a:cubicBezTo>
                  <a:cubicBezTo>
                    <a:pt x="337188" y="751531"/>
                    <a:pt x="319667" y="769031"/>
                    <a:pt x="298087" y="769031"/>
                  </a:cubicBezTo>
                  <a:cubicBezTo>
                    <a:pt x="276494" y="769031"/>
                    <a:pt x="258997" y="751531"/>
                    <a:pt x="258997" y="729943"/>
                  </a:cubicBezTo>
                  <a:cubicBezTo>
                    <a:pt x="258997" y="708357"/>
                    <a:pt x="276494" y="690857"/>
                    <a:pt x="298087" y="690857"/>
                  </a:cubicBezTo>
                  <a:close/>
                  <a:moveTo>
                    <a:pt x="242207" y="643975"/>
                  </a:moveTo>
                  <a:lnTo>
                    <a:pt x="242535" y="644768"/>
                  </a:lnTo>
                  <a:cubicBezTo>
                    <a:pt x="242535" y="655562"/>
                    <a:pt x="238161" y="665334"/>
                    <a:pt x="231087" y="672407"/>
                  </a:cubicBezTo>
                  <a:lnTo>
                    <a:pt x="216396" y="678492"/>
                  </a:lnTo>
                  <a:close/>
                  <a:moveTo>
                    <a:pt x="3472229" y="612933"/>
                  </a:moveTo>
                  <a:lnTo>
                    <a:pt x="3516862" y="672620"/>
                  </a:lnTo>
                  <a:lnTo>
                    <a:pt x="3489735" y="683855"/>
                  </a:lnTo>
                  <a:cubicBezTo>
                    <a:pt x="3468148" y="683855"/>
                    <a:pt x="3450649" y="666356"/>
                    <a:pt x="3450649" y="644768"/>
                  </a:cubicBezTo>
                  <a:cubicBezTo>
                    <a:pt x="3450649" y="633975"/>
                    <a:pt x="3455024" y="624203"/>
                    <a:pt x="3462097" y="617130"/>
                  </a:cubicBezTo>
                  <a:close/>
                  <a:moveTo>
                    <a:pt x="3392730" y="605682"/>
                  </a:moveTo>
                  <a:cubicBezTo>
                    <a:pt x="3414317" y="605682"/>
                    <a:pt x="3431817" y="623181"/>
                    <a:pt x="3431817" y="644768"/>
                  </a:cubicBezTo>
                  <a:cubicBezTo>
                    <a:pt x="3431817" y="666356"/>
                    <a:pt x="3414317" y="683855"/>
                    <a:pt x="3392730" y="683855"/>
                  </a:cubicBezTo>
                  <a:cubicBezTo>
                    <a:pt x="3371143" y="683855"/>
                    <a:pt x="3353643" y="666356"/>
                    <a:pt x="3353643" y="644768"/>
                  </a:cubicBezTo>
                  <a:cubicBezTo>
                    <a:pt x="3353643" y="623181"/>
                    <a:pt x="3371143" y="605682"/>
                    <a:pt x="3392730" y="605682"/>
                  </a:cubicBezTo>
                  <a:close/>
                  <a:moveTo>
                    <a:pt x="3300455" y="605682"/>
                  </a:moveTo>
                  <a:cubicBezTo>
                    <a:pt x="3322043" y="605682"/>
                    <a:pt x="3339543" y="623181"/>
                    <a:pt x="3339543" y="644768"/>
                  </a:cubicBezTo>
                  <a:cubicBezTo>
                    <a:pt x="3339543" y="666356"/>
                    <a:pt x="3322043" y="683855"/>
                    <a:pt x="3300455" y="683855"/>
                  </a:cubicBezTo>
                  <a:cubicBezTo>
                    <a:pt x="3278868" y="683855"/>
                    <a:pt x="3261368" y="666356"/>
                    <a:pt x="3261368" y="644768"/>
                  </a:cubicBezTo>
                  <a:cubicBezTo>
                    <a:pt x="3261368" y="623181"/>
                    <a:pt x="3278868" y="605682"/>
                    <a:pt x="3300455" y="605682"/>
                  </a:cubicBezTo>
                  <a:close/>
                  <a:moveTo>
                    <a:pt x="3205815" y="605682"/>
                  </a:moveTo>
                  <a:cubicBezTo>
                    <a:pt x="3227403" y="605682"/>
                    <a:pt x="3244903" y="623181"/>
                    <a:pt x="3244903" y="644768"/>
                  </a:cubicBezTo>
                  <a:cubicBezTo>
                    <a:pt x="3244903" y="666356"/>
                    <a:pt x="3227403" y="683855"/>
                    <a:pt x="3205815" y="683855"/>
                  </a:cubicBezTo>
                  <a:cubicBezTo>
                    <a:pt x="3184228" y="683855"/>
                    <a:pt x="3166728" y="666356"/>
                    <a:pt x="3166728" y="644768"/>
                  </a:cubicBezTo>
                  <a:cubicBezTo>
                    <a:pt x="3166728" y="623181"/>
                    <a:pt x="3184228" y="605682"/>
                    <a:pt x="3205815" y="605682"/>
                  </a:cubicBezTo>
                  <a:close/>
                  <a:moveTo>
                    <a:pt x="3111175" y="605682"/>
                  </a:moveTo>
                  <a:cubicBezTo>
                    <a:pt x="3132763" y="605682"/>
                    <a:pt x="3150263" y="623181"/>
                    <a:pt x="3150263" y="644768"/>
                  </a:cubicBezTo>
                  <a:cubicBezTo>
                    <a:pt x="3150263" y="666356"/>
                    <a:pt x="3132763" y="683855"/>
                    <a:pt x="3111175" y="683855"/>
                  </a:cubicBezTo>
                  <a:cubicBezTo>
                    <a:pt x="3089588" y="683855"/>
                    <a:pt x="3072088" y="666356"/>
                    <a:pt x="3072088" y="644768"/>
                  </a:cubicBezTo>
                  <a:cubicBezTo>
                    <a:pt x="3072088" y="623181"/>
                    <a:pt x="3089588" y="605682"/>
                    <a:pt x="3111175" y="605682"/>
                  </a:cubicBezTo>
                  <a:close/>
                  <a:moveTo>
                    <a:pt x="3018901" y="605682"/>
                  </a:moveTo>
                  <a:cubicBezTo>
                    <a:pt x="3040488" y="605682"/>
                    <a:pt x="3057988" y="623181"/>
                    <a:pt x="3057988" y="644768"/>
                  </a:cubicBezTo>
                  <a:cubicBezTo>
                    <a:pt x="3057988" y="666356"/>
                    <a:pt x="3040488" y="683855"/>
                    <a:pt x="3018901" y="683855"/>
                  </a:cubicBezTo>
                  <a:cubicBezTo>
                    <a:pt x="2997313" y="683855"/>
                    <a:pt x="2979813" y="666356"/>
                    <a:pt x="2979813" y="644768"/>
                  </a:cubicBezTo>
                  <a:cubicBezTo>
                    <a:pt x="2979813" y="623181"/>
                    <a:pt x="2997313" y="605682"/>
                    <a:pt x="3018901" y="605682"/>
                  </a:cubicBezTo>
                  <a:close/>
                  <a:moveTo>
                    <a:pt x="2924262" y="605682"/>
                  </a:moveTo>
                  <a:cubicBezTo>
                    <a:pt x="2945849" y="605682"/>
                    <a:pt x="2963349" y="623181"/>
                    <a:pt x="2963349" y="644768"/>
                  </a:cubicBezTo>
                  <a:cubicBezTo>
                    <a:pt x="2963349" y="666356"/>
                    <a:pt x="2945849" y="683855"/>
                    <a:pt x="2924262" y="683855"/>
                  </a:cubicBezTo>
                  <a:cubicBezTo>
                    <a:pt x="2902675" y="683855"/>
                    <a:pt x="2885175" y="666356"/>
                    <a:pt x="2885175" y="644768"/>
                  </a:cubicBezTo>
                  <a:cubicBezTo>
                    <a:pt x="2885175" y="623181"/>
                    <a:pt x="2902675" y="605682"/>
                    <a:pt x="2924262" y="605682"/>
                  </a:cubicBezTo>
                  <a:close/>
                  <a:moveTo>
                    <a:pt x="2831987" y="605682"/>
                  </a:moveTo>
                  <a:cubicBezTo>
                    <a:pt x="2853574" y="605682"/>
                    <a:pt x="2871074" y="623181"/>
                    <a:pt x="2871074" y="644768"/>
                  </a:cubicBezTo>
                  <a:cubicBezTo>
                    <a:pt x="2871074" y="666356"/>
                    <a:pt x="2853574" y="683855"/>
                    <a:pt x="2831987" y="683855"/>
                  </a:cubicBezTo>
                  <a:cubicBezTo>
                    <a:pt x="2810400" y="683855"/>
                    <a:pt x="2792900" y="666356"/>
                    <a:pt x="2792900" y="644768"/>
                  </a:cubicBezTo>
                  <a:cubicBezTo>
                    <a:pt x="2792900" y="623181"/>
                    <a:pt x="2810400" y="605682"/>
                    <a:pt x="2831987" y="605682"/>
                  </a:cubicBezTo>
                  <a:close/>
                  <a:moveTo>
                    <a:pt x="2171887" y="605682"/>
                  </a:moveTo>
                  <a:cubicBezTo>
                    <a:pt x="2193477" y="605682"/>
                    <a:pt x="2210979" y="623181"/>
                    <a:pt x="2210979" y="644768"/>
                  </a:cubicBezTo>
                  <a:cubicBezTo>
                    <a:pt x="2210979" y="666356"/>
                    <a:pt x="2193477" y="683855"/>
                    <a:pt x="2171887" y="683855"/>
                  </a:cubicBezTo>
                  <a:cubicBezTo>
                    <a:pt x="2150295" y="683855"/>
                    <a:pt x="2132800" y="666356"/>
                    <a:pt x="2132800" y="644768"/>
                  </a:cubicBezTo>
                  <a:cubicBezTo>
                    <a:pt x="2132800" y="623181"/>
                    <a:pt x="2150295" y="605682"/>
                    <a:pt x="2171887" y="605682"/>
                  </a:cubicBezTo>
                  <a:close/>
                  <a:moveTo>
                    <a:pt x="1798073" y="605682"/>
                  </a:moveTo>
                  <a:cubicBezTo>
                    <a:pt x="1819661" y="605682"/>
                    <a:pt x="1837146" y="623181"/>
                    <a:pt x="1837146" y="644768"/>
                  </a:cubicBezTo>
                  <a:cubicBezTo>
                    <a:pt x="1837146" y="666356"/>
                    <a:pt x="1819661" y="683855"/>
                    <a:pt x="1798073" y="683855"/>
                  </a:cubicBezTo>
                  <a:cubicBezTo>
                    <a:pt x="1776481" y="683855"/>
                    <a:pt x="1758966" y="666356"/>
                    <a:pt x="1758966" y="644768"/>
                  </a:cubicBezTo>
                  <a:cubicBezTo>
                    <a:pt x="1758966" y="623181"/>
                    <a:pt x="1776481" y="605682"/>
                    <a:pt x="1798073" y="605682"/>
                  </a:cubicBezTo>
                  <a:close/>
                  <a:moveTo>
                    <a:pt x="1703432" y="605682"/>
                  </a:moveTo>
                  <a:cubicBezTo>
                    <a:pt x="1725011" y="605682"/>
                    <a:pt x="1742522" y="623181"/>
                    <a:pt x="1742522" y="644768"/>
                  </a:cubicBezTo>
                  <a:cubicBezTo>
                    <a:pt x="1742522" y="666356"/>
                    <a:pt x="1725011" y="683855"/>
                    <a:pt x="1703432" y="683855"/>
                  </a:cubicBezTo>
                  <a:cubicBezTo>
                    <a:pt x="1681839" y="683855"/>
                    <a:pt x="1664351" y="666356"/>
                    <a:pt x="1664351" y="644768"/>
                  </a:cubicBezTo>
                  <a:cubicBezTo>
                    <a:pt x="1664351" y="623181"/>
                    <a:pt x="1681839" y="605682"/>
                    <a:pt x="1703432" y="605682"/>
                  </a:cubicBezTo>
                  <a:close/>
                  <a:moveTo>
                    <a:pt x="1611147" y="605682"/>
                  </a:moveTo>
                  <a:cubicBezTo>
                    <a:pt x="1632741" y="605682"/>
                    <a:pt x="1650245" y="623181"/>
                    <a:pt x="1650245" y="644768"/>
                  </a:cubicBezTo>
                  <a:cubicBezTo>
                    <a:pt x="1650245" y="666356"/>
                    <a:pt x="1632741" y="683855"/>
                    <a:pt x="1611147" y="683855"/>
                  </a:cubicBezTo>
                  <a:cubicBezTo>
                    <a:pt x="1589637" y="683855"/>
                    <a:pt x="1572140" y="666356"/>
                    <a:pt x="1572140" y="644768"/>
                  </a:cubicBezTo>
                  <a:cubicBezTo>
                    <a:pt x="1572140" y="623181"/>
                    <a:pt x="1589637" y="605682"/>
                    <a:pt x="1611147" y="605682"/>
                  </a:cubicBezTo>
                  <a:close/>
                  <a:moveTo>
                    <a:pt x="1232676" y="605682"/>
                  </a:moveTo>
                  <a:cubicBezTo>
                    <a:pt x="1254261" y="605682"/>
                    <a:pt x="1271747" y="623181"/>
                    <a:pt x="1271747" y="644768"/>
                  </a:cubicBezTo>
                  <a:cubicBezTo>
                    <a:pt x="1271747" y="666356"/>
                    <a:pt x="1254261" y="683855"/>
                    <a:pt x="1232676" y="683855"/>
                  </a:cubicBezTo>
                  <a:cubicBezTo>
                    <a:pt x="1211083" y="683855"/>
                    <a:pt x="1193590" y="666356"/>
                    <a:pt x="1193590" y="644768"/>
                  </a:cubicBezTo>
                  <a:cubicBezTo>
                    <a:pt x="1193590" y="623181"/>
                    <a:pt x="1211083" y="605682"/>
                    <a:pt x="1232676" y="605682"/>
                  </a:cubicBezTo>
                  <a:close/>
                  <a:moveTo>
                    <a:pt x="1142761" y="605682"/>
                  </a:moveTo>
                  <a:cubicBezTo>
                    <a:pt x="1164354" y="605682"/>
                    <a:pt x="1181853" y="623181"/>
                    <a:pt x="1181853" y="644768"/>
                  </a:cubicBezTo>
                  <a:cubicBezTo>
                    <a:pt x="1181853" y="666356"/>
                    <a:pt x="1164354" y="683855"/>
                    <a:pt x="1142761" y="683855"/>
                  </a:cubicBezTo>
                  <a:cubicBezTo>
                    <a:pt x="1121167" y="683855"/>
                    <a:pt x="1103661" y="666356"/>
                    <a:pt x="1103661" y="644768"/>
                  </a:cubicBezTo>
                  <a:cubicBezTo>
                    <a:pt x="1103661" y="623181"/>
                    <a:pt x="1121167" y="605682"/>
                    <a:pt x="1142761" y="605682"/>
                  </a:cubicBezTo>
                  <a:close/>
                  <a:moveTo>
                    <a:pt x="1045734" y="605682"/>
                  </a:moveTo>
                  <a:cubicBezTo>
                    <a:pt x="1067319" y="605682"/>
                    <a:pt x="1084825" y="623181"/>
                    <a:pt x="1084825" y="644768"/>
                  </a:cubicBezTo>
                  <a:cubicBezTo>
                    <a:pt x="1084825" y="666356"/>
                    <a:pt x="1067319" y="683855"/>
                    <a:pt x="1045734" y="683855"/>
                  </a:cubicBezTo>
                  <a:cubicBezTo>
                    <a:pt x="1024149" y="683855"/>
                    <a:pt x="1006653" y="666356"/>
                    <a:pt x="1006653" y="644768"/>
                  </a:cubicBezTo>
                  <a:cubicBezTo>
                    <a:pt x="1006653" y="623181"/>
                    <a:pt x="1024149" y="605682"/>
                    <a:pt x="1045734" y="605682"/>
                  </a:cubicBezTo>
                  <a:close/>
                  <a:moveTo>
                    <a:pt x="856487" y="605682"/>
                  </a:moveTo>
                  <a:cubicBezTo>
                    <a:pt x="878069" y="605682"/>
                    <a:pt x="895566" y="623181"/>
                    <a:pt x="895566" y="644768"/>
                  </a:cubicBezTo>
                  <a:cubicBezTo>
                    <a:pt x="895566" y="666356"/>
                    <a:pt x="878069" y="683855"/>
                    <a:pt x="856487" y="683855"/>
                  </a:cubicBezTo>
                  <a:cubicBezTo>
                    <a:pt x="834903" y="683855"/>
                    <a:pt x="817405" y="666356"/>
                    <a:pt x="817405" y="644768"/>
                  </a:cubicBezTo>
                  <a:cubicBezTo>
                    <a:pt x="817405" y="623181"/>
                    <a:pt x="834903" y="605682"/>
                    <a:pt x="856487" y="605682"/>
                  </a:cubicBezTo>
                  <a:close/>
                  <a:moveTo>
                    <a:pt x="764226" y="605682"/>
                  </a:moveTo>
                  <a:cubicBezTo>
                    <a:pt x="785811" y="605682"/>
                    <a:pt x="803309" y="623181"/>
                    <a:pt x="803309" y="644768"/>
                  </a:cubicBezTo>
                  <a:cubicBezTo>
                    <a:pt x="803309" y="666356"/>
                    <a:pt x="785811" y="683855"/>
                    <a:pt x="764226" y="683855"/>
                  </a:cubicBezTo>
                  <a:cubicBezTo>
                    <a:pt x="742635" y="683855"/>
                    <a:pt x="725145" y="666356"/>
                    <a:pt x="725145" y="644768"/>
                  </a:cubicBezTo>
                  <a:cubicBezTo>
                    <a:pt x="725145" y="623181"/>
                    <a:pt x="742635" y="605682"/>
                    <a:pt x="764226" y="605682"/>
                  </a:cubicBezTo>
                  <a:close/>
                  <a:moveTo>
                    <a:pt x="669584" y="605682"/>
                  </a:moveTo>
                  <a:cubicBezTo>
                    <a:pt x="691185" y="605682"/>
                    <a:pt x="708684" y="623181"/>
                    <a:pt x="708684" y="644768"/>
                  </a:cubicBezTo>
                  <a:cubicBezTo>
                    <a:pt x="708684" y="666356"/>
                    <a:pt x="691185" y="683855"/>
                    <a:pt x="669584" y="683855"/>
                  </a:cubicBezTo>
                  <a:cubicBezTo>
                    <a:pt x="648010" y="683855"/>
                    <a:pt x="630505" y="666356"/>
                    <a:pt x="630505" y="644768"/>
                  </a:cubicBezTo>
                  <a:cubicBezTo>
                    <a:pt x="630505" y="623181"/>
                    <a:pt x="648010" y="605682"/>
                    <a:pt x="669584" y="605682"/>
                  </a:cubicBezTo>
                  <a:close/>
                  <a:moveTo>
                    <a:pt x="577298" y="605682"/>
                  </a:moveTo>
                  <a:cubicBezTo>
                    <a:pt x="598894" y="605682"/>
                    <a:pt x="616400" y="623181"/>
                    <a:pt x="616400" y="644768"/>
                  </a:cubicBezTo>
                  <a:cubicBezTo>
                    <a:pt x="616400" y="666356"/>
                    <a:pt x="598894" y="683855"/>
                    <a:pt x="577298" y="683855"/>
                  </a:cubicBezTo>
                  <a:cubicBezTo>
                    <a:pt x="555705" y="683855"/>
                    <a:pt x="538200" y="666356"/>
                    <a:pt x="538200" y="644768"/>
                  </a:cubicBezTo>
                  <a:cubicBezTo>
                    <a:pt x="538200" y="623181"/>
                    <a:pt x="555705" y="605682"/>
                    <a:pt x="577298" y="605682"/>
                  </a:cubicBezTo>
                  <a:close/>
                  <a:moveTo>
                    <a:pt x="485012" y="605682"/>
                  </a:moveTo>
                  <a:cubicBezTo>
                    <a:pt x="506598" y="605682"/>
                    <a:pt x="524097" y="623181"/>
                    <a:pt x="524097" y="644768"/>
                  </a:cubicBezTo>
                  <a:cubicBezTo>
                    <a:pt x="524097" y="666356"/>
                    <a:pt x="506598" y="683855"/>
                    <a:pt x="485012" y="683855"/>
                  </a:cubicBezTo>
                  <a:cubicBezTo>
                    <a:pt x="463415" y="683855"/>
                    <a:pt x="445938" y="666356"/>
                    <a:pt x="445938" y="644768"/>
                  </a:cubicBezTo>
                  <a:cubicBezTo>
                    <a:pt x="445938" y="623181"/>
                    <a:pt x="463415" y="605682"/>
                    <a:pt x="485012" y="605682"/>
                  </a:cubicBezTo>
                  <a:close/>
                  <a:moveTo>
                    <a:pt x="390363" y="605682"/>
                  </a:moveTo>
                  <a:cubicBezTo>
                    <a:pt x="411947" y="605682"/>
                    <a:pt x="429464" y="623181"/>
                    <a:pt x="429464" y="644768"/>
                  </a:cubicBezTo>
                  <a:cubicBezTo>
                    <a:pt x="429464" y="666356"/>
                    <a:pt x="411947" y="683855"/>
                    <a:pt x="390363" y="683855"/>
                  </a:cubicBezTo>
                  <a:cubicBezTo>
                    <a:pt x="368797" y="683855"/>
                    <a:pt x="351296" y="666356"/>
                    <a:pt x="351296" y="644768"/>
                  </a:cubicBezTo>
                  <a:cubicBezTo>
                    <a:pt x="351296" y="623181"/>
                    <a:pt x="368797" y="605682"/>
                    <a:pt x="390363" y="605682"/>
                  </a:cubicBezTo>
                  <a:close/>
                  <a:moveTo>
                    <a:pt x="298093" y="605682"/>
                  </a:moveTo>
                  <a:cubicBezTo>
                    <a:pt x="319673" y="605682"/>
                    <a:pt x="337193" y="623181"/>
                    <a:pt x="337193" y="644768"/>
                  </a:cubicBezTo>
                  <a:cubicBezTo>
                    <a:pt x="337193" y="666356"/>
                    <a:pt x="319673" y="683855"/>
                    <a:pt x="298093" y="683855"/>
                  </a:cubicBezTo>
                  <a:cubicBezTo>
                    <a:pt x="276501" y="683855"/>
                    <a:pt x="259002" y="666356"/>
                    <a:pt x="259002" y="644768"/>
                  </a:cubicBezTo>
                  <a:cubicBezTo>
                    <a:pt x="259002" y="623181"/>
                    <a:pt x="276501" y="605682"/>
                    <a:pt x="298093" y="605682"/>
                  </a:cubicBezTo>
                  <a:close/>
                  <a:moveTo>
                    <a:pt x="327714" y="529629"/>
                  </a:moveTo>
                  <a:lnTo>
                    <a:pt x="337200" y="552513"/>
                  </a:lnTo>
                  <a:cubicBezTo>
                    <a:pt x="337200" y="574082"/>
                    <a:pt x="319679" y="591582"/>
                    <a:pt x="298099" y="591582"/>
                  </a:cubicBezTo>
                  <a:lnTo>
                    <a:pt x="285337" y="586297"/>
                  </a:lnTo>
                  <a:close/>
                  <a:moveTo>
                    <a:pt x="3205817" y="513426"/>
                  </a:moveTo>
                  <a:cubicBezTo>
                    <a:pt x="3227404" y="513426"/>
                    <a:pt x="3244904" y="530925"/>
                    <a:pt x="3244904" y="552512"/>
                  </a:cubicBezTo>
                  <a:cubicBezTo>
                    <a:pt x="3244904" y="574082"/>
                    <a:pt x="3227404" y="591582"/>
                    <a:pt x="3205817" y="591582"/>
                  </a:cubicBezTo>
                  <a:cubicBezTo>
                    <a:pt x="3184229" y="591582"/>
                    <a:pt x="3166729" y="574082"/>
                    <a:pt x="3166729" y="552512"/>
                  </a:cubicBezTo>
                  <a:cubicBezTo>
                    <a:pt x="3166729" y="530925"/>
                    <a:pt x="3184229" y="513426"/>
                    <a:pt x="3205817" y="513426"/>
                  </a:cubicBezTo>
                  <a:close/>
                  <a:moveTo>
                    <a:pt x="3111175" y="513426"/>
                  </a:moveTo>
                  <a:cubicBezTo>
                    <a:pt x="3132763" y="513426"/>
                    <a:pt x="3150263" y="530925"/>
                    <a:pt x="3150263" y="552512"/>
                  </a:cubicBezTo>
                  <a:cubicBezTo>
                    <a:pt x="3150263" y="574082"/>
                    <a:pt x="3132763" y="591582"/>
                    <a:pt x="3111175" y="591582"/>
                  </a:cubicBezTo>
                  <a:cubicBezTo>
                    <a:pt x="3089588" y="591582"/>
                    <a:pt x="3072088" y="574082"/>
                    <a:pt x="3072088" y="552512"/>
                  </a:cubicBezTo>
                  <a:cubicBezTo>
                    <a:pt x="3072088" y="530925"/>
                    <a:pt x="3089588" y="513426"/>
                    <a:pt x="3111175" y="513426"/>
                  </a:cubicBezTo>
                  <a:close/>
                  <a:moveTo>
                    <a:pt x="3018902" y="513426"/>
                  </a:moveTo>
                  <a:cubicBezTo>
                    <a:pt x="3040489" y="513426"/>
                    <a:pt x="3057989" y="530925"/>
                    <a:pt x="3057989" y="552512"/>
                  </a:cubicBezTo>
                  <a:cubicBezTo>
                    <a:pt x="3057989" y="574082"/>
                    <a:pt x="3040489" y="591582"/>
                    <a:pt x="3018902" y="591582"/>
                  </a:cubicBezTo>
                  <a:cubicBezTo>
                    <a:pt x="2997315" y="591582"/>
                    <a:pt x="2979815" y="574082"/>
                    <a:pt x="2979815" y="552512"/>
                  </a:cubicBezTo>
                  <a:cubicBezTo>
                    <a:pt x="2979815" y="530925"/>
                    <a:pt x="2997315" y="513426"/>
                    <a:pt x="3018902" y="513426"/>
                  </a:cubicBezTo>
                  <a:close/>
                  <a:moveTo>
                    <a:pt x="2924263" y="513426"/>
                  </a:moveTo>
                  <a:cubicBezTo>
                    <a:pt x="2945850" y="513426"/>
                    <a:pt x="2963349" y="530925"/>
                    <a:pt x="2963349" y="552512"/>
                  </a:cubicBezTo>
                  <a:cubicBezTo>
                    <a:pt x="2963349" y="574082"/>
                    <a:pt x="2945850" y="591582"/>
                    <a:pt x="2924263" y="591582"/>
                  </a:cubicBezTo>
                  <a:cubicBezTo>
                    <a:pt x="2902675" y="591582"/>
                    <a:pt x="2885175" y="574082"/>
                    <a:pt x="2885175" y="552512"/>
                  </a:cubicBezTo>
                  <a:cubicBezTo>
                    <a:pt x="2885175" y="530925"/>
                    <a:pt x="2902675" y="513426"/>
                    <a:pt x="2924263" y="513426"/>
                  </a:cubicBezTo>
                  <a:close/>
                  <a:moveTo>
                    <a:pt x="2831988" y="513426"/>
                  </a:moveTo>
                  <a:cubicBezTo>
                    <a:pt x="2853575" y="513426"/>
                    <a:pt x="2871075" y="530925"/>
                    <a:pt x="2871075" y="552512"/>
                  </a:cubicBezTo>
                  <a:cubicBezTo>
                    <a:pt x="2871075" y="574082"/>
                    <a:pt x="2853575" y="591582"/>
                    <a:pt x="2831988" y="591582"/>
                  </a:cubicBezTo>
                  <a:cubicBezTo>
                    <a:pt x="2810401" y="591582"/>
                    <a:pt x="2792901" y="574082"/>
                    <a:pt x="2792901" y="552512"/>
                  </a:cubicBezTo>
                  <a:cubicBezTo>
                    <a:pt x="2792901" y="530925"/>
                    <a:pt x="2810401" y="513426"/>
                    <a:pt x="2831988" y="513426"/>
                  </a:cubicBezTo>
                  <a:close/>
                  <a:moveTo>
                    <a:pt x="1984971" y="513426"/>
                  </a:moveTo>
                  <a:cubicBezTo>
                    <a:pt x="2006563" y="513426"/>
                    <a:pt x="2024068" y="530925"/>
                    <a:pt x="2024068" y="552513"/>
                  </a:cubicBezTo>
                  <a:cubicBezTo>
                    <a:pt x="2024068" y="574082"/>
                    <a:pt x="2006563" y="591582"/>
                    <a:pt x="1984971" y="591582"/>
                  </a:cubicBezTo>
                  <a:cubicBezTo>
                    <a:pt x="1963377" y="591582"/>
                    <a:pt x="1945873" y="574082"/>
                    <a:pt x="1945873" y="552513"/>
                  </a:cubicBezTo>
                  <a:cubicBezTo>
                    <a:pt x="1945873" y="530925"/>
                    <a:pt x="1963377" y="513426"/>
                    <a:pt x="1984971" y="513426"/>
                  </a:cubicBezTo>
                  <a:close/>
                  <a:moveTo>
                    <a:pt x="1890340" y="513426"/>
                  </a:moveTo>
                  <a:cubicBezTo>
                    <a:pt x="1911917" y="513426"/>
                    <a:pt x="1929413" y="530925"/>
                    <a:pt x="1929413" y="552513"/>
                  </a:cubicBezTo>
                  <a:cubicBezTo>
                    <a:pt x="1929413" y="574082"/>
                    <a:pt x="1911917" y="591582"/>
                    <a:pt x="1890340" y="591582"/>
                  </a:cubicBezTo>
                  <a:cubicBezTo>
                    <a:pt x="1868762" y="591582"/>
                    <a:pt x="1851255" y="574082"/>
                    <a:pt x="1851255" y="552513"/>
                  </a:cubicBezTo>
                  <a:cubicBezTo>
                    <a:pt x="1851255" y="530925"/>
                    <a:pt x="1868762" y="513426"/>
                    <a:pt x="1890340" y="513426"/>
                  </a:cubicBezTo>
                  <a:close/>
                  <a:moveTo>
                    <a:pt x="1798073" y="513426"/>
                  </a:moveTo>
                  <a:cubicBezTo>
                    <a:pt x="1819663" y="513426"/>
                    <a:pt x="1837149" y="530925"/>
                    <a:pt x="1837149" y="552513"/>
                  </a:cubicBezTo>
                  <a:cubicBezTo>
                    <a:pt x="1837149" y="574082"/>
                    <a:pt x="1819663" y="591582"/>
                    <a:pt x="1798073" y="591582"/>
                  </a:cubicBezTo>
                  <a:cubicBezTo>
                    <a:pt x="1776483" y="591582"/>
                    <a:pt x="1758966" y="574082"/>
                    <a:pt x="1758966" y="552513"/>
                  </a:cubicBezTo>
                  <a:cubicBezTo>
                    <a:pt x="1758966" y="530925"/>
                    <a:pt x="1776483" y="513426"/>
                    <a:pt x="1798073" y="513426"/>
                  </a:cubicBezTo>
                  <a:close/>
                  <a:moveTo>
                    <a:pt x="1703432" y="513426"/>
                  </a:moveTo>
                  <a:cubicBezTo>
                    <a:pt x="1725011" y="513426"/>
                    <a:pt x="1742522" y="530925"/>
                    <a:pt x="1742522" y="552513"/>
                  </a:cubicBezTo>
                  <a:cubicBezTo>
                    <a:pt x="1742522" y="574082"/>
                    <a:pt x="1725011" y="591582"/>
                    <a:pt x="1703432" y="591582"/>
                  </a:cubicBezTo>
                  <a:cubicBezTo>
                    <a:pt x="1681839" y="591582"/>
                    <a:pt x="1664351" y="574082"/>
                    <a:pt x="1664351" y="552513"/>
                  </a:cubicBezTo>
                  <a:cubicBezTo>
                    <a:pt x="1664351" y="530925"/>
                    <a:pt x="1681839" y="513426"/>
                    <a:pt x="1703432" y="513426"/>
                  </a:cubicBezTo>
                  <a:close/>
                  <a:moveTo>
                    <a:pt x="1611151" y="513426"/>
                  </a:moveTo>
                  <a:cubicBezTo>
                    <a:pt x="1632741" y="513426"/>
                    <a:pt x="1650245" y="530925"/>
                    <a:pt x="1650245" y="552513"/>
                  </a:cubicBezTo>
                  <a:cubicBezTo>
                    <a:pt x="1650245" y="574082"/>
                    <a:pt x="1632741" y="591582"/>
                    <a:pt x="1611151" y="591582"/>
                  </a:cubicBezTo>
                  <a:cubicBezTo>
                    <a:pt x="1589645" y="591582"/>
                    <a:pt x="1572147" y="574082"/>
                    <a:pt x="1572147" y="552513"/>
                  </a:cubicBezTo>
                  <a:cubicBezTo>
                    <a:pt x="1572147" y="530925"/>
                    <a:pt x="1589645" y="513426"/>
                    <a:pt x="1611151" y="513426"/>
                  </a:cubicBezTo>
                  <a:close/>
                  <a:moveTo>
                    <a:pt x="1232682" y="513426"/>
                  </a:moveTo>
                  <a:cubicBezTo>
                    <a:pt x="1254268" y="513426"/>
                    <a:pt x="1271755" y="530925"/>
                    <a:pt x="1271755" y="552513"/>
                  </a:cubicBezTo>
                  <a:cubicBezTo>
                    <a:pt x="1271755" y="574082"/>
                    <a:pt x="1254268" y="591582"/>
                    <a:pt x="1232682" y="591582"/>
                  </a:cubicBezTo>
                  <a:cubicBezTo>
                    <a:pt x="1211090" y="591582"/>
                    <a:pt x="1193598" y="574082"/>
                    <a:pt x="1193598" y="552513"/>
                  </a:cubicBezTo>
                  <a:cubicBezTo>
                    <a:pt x="1193598" y="530925"/>
                    <a:pt x="1211090" y="513426"/>
                    <a:pt x="1232682" y="513426"/>
                  </a:cubicBezTo>
                  <a:close/>
                  <a:moveTo>
                    <a:pt x="1142769" y="513426"/>
                  </a:moveTo>
                  <a:cubicBezTo>
                    <a:pt x="1164361" y="513426"/>
                    <a:pt x="1181859" y="530925"/>
                    <a:pt x="1181859" y="552513"/>
                  </a:cubicBezTo>
                  <a:cubicBezTo>
                    <a:pt x="1181859" y="574082"/>
                    <a:pt x="1164361" y="591582"/>
                    <a:pt x="1142769" y="591582"/>
                  </a:cubicBezTo>
                  <a:cubicBezTo>
                    <a:pt x="1121175" y="591582"/>
                    <a:pt x="1103669" y="574082"/>
                    <a:pt x="1103669" y="552513"/>
                  </a:cubicBezTo>
                  <a:cubicBezTo>
                    <a:pt x="1103669" y="530925"/>
                    <a:pt x="1121175" y="513426"/>
                    <a:pt x="1142769" y="513426"/>
                  </a:cubicBezTo>
                  <a:close/>
                  <a:moveTo>
                    <a:pt x="1045741" y="513426"/>
                  </a:moveTo>
                  <a:cubicBezTo>
                    <a:pt x="1067327" y="513426"/>
                    <a:pt x="1084832" y="530925"/>
                    <a:pt x="1084832" y="552513"/>
                  </a:cubicBezTo>
                  <a:cubicBezTo>
                    <a:pt x="1084832" y="574082"/>
                    <a:pt x="1067327" y="591582"/>
                    <a:pt x="1045741" y="591582"/>
                  </a:cubicBezTo>
                  <a:cubicBezTo>
                    <a:pt x="1024158" y="591582"/>
                    <a:pt x="1006661" y="574082"/>
                    <a:pt x="1006661" y="552513"/>
                  </a:cubicBezTo>
                  <a:cubicBezTo>
                    <a:pt x="1006661" y="530925"/>
                    <a:pt x="1024158" y="513426"/>
                    <a:pt x="1045741" y="513426"/>
                  </a:cubicBezTo>
                  <a:close/>
                  <a:moveTo>
                    <a:pt x="951119" y="513426"/>
                  </a:moveTo>
                  <a:cubicBezTo>
                    <a:pt x="972700" y="513426"/>
                    <a:pt x="990197" y="530925"/>
                    <a:pt x="990197" y="552513"/>
                  </a:cubicBezTo>
                  <a:cubicBezTo>
                    <a:pt x="990197" y="574082"/>
                    <a:pt x="972700" y="591582"/>
                    <a:pt x="951119" y="591582"/>
                  </a:cubicBezTo>
                  <a:cubicBezTo>
                    <a:pt x="929534" y="591582"/>
                    <a:pt x="912036" y="574082"/>
                    <a:pt x="912036" y="552513"/>
                  </a:cubicBezTo>
                  <a:cubicBezTo>
                    <a:pt x="912036" y="530925"/>
                    <a:pt x="929534" y="513426"/>
                    <a:pt x="951119" y="513426"/>
                  </a:cubicBezTo>
                  <a:close/>
                  <a:moveTo>
                    <a:pt x="856494" y="513426"/>
                  </a:moveTo>
                  <a:cubicBezTo>
                    <a:pt x="878077" y="513426"/>
                    <a:pt x="895574" y="530925"/>
                    <a:pt x="895574" y="552513"/>
                  </a:cubicBezTo>
                  <a:cubicBezTo>
                    <a:pt x="895574" y="574082"/>
                    <a:pt x="878077" y="591582"/>
                    <a:pt x="856494" y="591582"/>
                  </a:cubicBezTo>
                  <a:cubicBezTo>
                    <a:pt x="834910" y="591582"/>
                    <a:pt x="817413" y="574082"/>
                    <a:pt x="817413" y="552513"/>
                  </a:cubicBezTo>
                  <a:cubicBezTo>
                    <a:pt x="817413" y="530925"/>
                    <a:pt x="834910" y="513426"/>
                    <a:pt x="856494" y="513426"/>
                  </a:cubicBezTo>
                  <a:close/>
                  <a:moveTo>
                    <a:pt x="764235" y="513426"/>
                  </a:moveTo>
                  <a:cubicBezTo>
                    <a:pt x="785818" y="513426"/>
                    <a:pt x="803316" y="530925"/>
                    <a:pt x="803316" y="552513"/>
                  </a:cubicBezTo>
                  <a:cubicBezTo>
                    <a:pt x="803316" y="574082"/>
                    <a:pt x="785818" y="591582"/>
                    <a:pt x="764235" y="591582"/>
                  </a:cubicBezTo>
                  <a:cubicBezTo>
                    <a:pt x="742642" y="591582"/>
                    <a:pt x="725152" y="574082"/>
                    <a:pt x="725152" y="552513"/>
                  </a:cubicBezTo>
                  <a:cubicBezTo>
                    <a:pt x="725152" y="530925"/>
                    <a:pt x="742642" y="513426"/>
                    <a:pt x="764235" y="513426"/>
                  </a:cubicBezTo>
                  <a:close/>
                  <a:moveTo>
                    <a:pt x="669584" y="513426"/>
                  </a:moveTo>
                  <a:cubicBezTo>
                    <a:pt x="691193" y="513426"/>
                    <a:pt x="708691" y="530925"/>
                    <a:pt x="708691" y="552513"/>
                  </a:cubicBezTo>
                  <a:cubicBezTo>
                    <a:pt x="708691" y="574082"/>
                    <a:pt x="691193" y="591582"/>
                    <a:pt x="669584" y="591582"/>
                  </a:cubicBezTo>
                  <a:cubicBezTo>
                    <a:pt x="648018" y="591582"/>
                    <a:pt x="630513" y="574082"/>
                    <a:pt x="630513" y="552513"/>
                  </a:cubicBezTo>
                  <a:cubicBezTo>
                    <a:pt x="630513" y="530925"/>
                    <a:pt x="648018" y="513426"/>
                    <a:pt x="669584" y="513426"/>
                  </a:cubicBezTo>
                  <a:close/>
                  <a:moveTo>
                    <a:pt x="577307" y="513426"/>
                  </a:moveTo>
                  <a:cubicBezTo>
                    <a:pt x="598901" y="513426"/>
                    <a:pt x="616408" y="530925"/>
                    <a:pt x="616408" y="552513"/>
                  </a:cubicBezTo>
                  <a:cubicBezTo>
                    <a:pt x="616408" y="574082"/>
                    <a:pt x="598901" y="591582"/>
                    <a:pt x="577307" y="591582"/>
                  </a:cubicBezTo>
                  <a:cubicBezTo>
                    <a:pt x="555715" y="591582"/>
                    <a:pt x="538207" y="574082"/>
                    <a:pt x="538207" y="552513"/>
                  </a:cubicBezTo>
                  <a:cubicBezTo>
                    <a:pt x="538207" y="530925"/>
                    <a:pt x="555715" y="513426"/>
                    <a:pt x="577307" y="513426"/>
                  </a:cubicBezTo>
                  <a:close/>
                  <a:moveTo>
                    <a:pt x="485015" y="513426"/>
                  </a:moveTo>
                  <a:cubicBezTo>
                    <a:pt x="506608" y="513426"/>
                    <a:pt x="524104" y="530925"/>
                    <a:pt x="524104" y="552513"/>
                  </a:cubicBezTo>
                  <a:cubicBezTo>
                    <a:pt x="524104" y="574082"/>
                    <a:pt x="506608" y="591582"/>
                    <a:pt x="485015" y="591582"/>
                  </a:cubicBezTo>
                  <a:cubicBezTo>
                    <a:pt x="463419" y="591582"/>
                    <a:pt x="445948" y="574082"/>
                    <a:pt x="445948" y="552513"/>
                  </a:cubicBezTo>
                  <a:cubicBezTo>
                    <a:pt x="445948" y="530925"/>
                    <a:pt x="463419" y="513426"/>
                    <a:pt x="485015" y="513426"/>
                  </a:cubicBezTo>
                  <a:close/>
                  <a:moveTo>
                    <a:pt x="390371" y="513426"/>
                  </a:moveTo>
                  <a:cubicBezTo>
                    <a:pt x="411958" y="513426"/>
                    <a:pt x="429471" y="530925"/>
                    <a:pt x="429471" y="552513"/>
                  </a:cubicBezTo>
                  <a:cubicBezTo>
                    <a:pt x="429471" y="574082"/>
                    <a:pt x="411958" y="591582"/>
                    <a:pt x="390371" y="591582"/>
                  </a:cubicBezTo>
                  <a:cubicBezTo>
                    <a:pt x="368803" y="591582"/>
                    <a:pt x="351303" y="574082"/>
                    <a:pt x="351303" y="552513"/>
                  </a:cubicBezTo>
                  <a:cubicBezTo>
                    <a:pt x="351303" y="530925"/>
                    <a:pt x="368803" y="513426"/>
                    <a:pt x="390371" y="513426"/>
                  </a:cubicBezTo>
                  <a:close/>
                  <a:moveTo>
                    <a:pt x="409794" y="438656"/>
                  </a:moveTo>
                  <a:lnTo>
                    <a:pt x="418018" y="442062"/>
                  </a:lnTo>
                  <a:cubicBezTo>
                    <a:pt x="425096" y="449136"/>
                    <a:pt x="429475" y="458908"/>
                    <a:pt x="429475" y="469700"/>
                  </a:cubicBezTo>
                  <a:cubicBezTo>
                    <a:pt x="429475" y="491287"/>
                    <a:pt x="411958" y="508788"/>
                    <a:pt x="390371" y="508788"/>
                  </a:cubicBezTo>
                  <a:cubicBezTo>
                    <a:pt x="379591" y="508788"/>
                    <a:pt x="369825" y="504413"/>
                    <a:pt x="362754" y="497339"/>
                  </a:cubicBezTo>
                  <a:lnTo>
                    <a:pt x="360783" y="492581"/>
                  </a:lnTo>
                  <a:close/>
                  <a:moveTo>
                    <a:pt x="3111175" y="430614"/>
                  </a:moveTo>
                  <a:cubicBezTo>
                    <a:pt x="3132763" y="430614"/>
                    <a:pt x="3150263" y="448115"/>
                    <a:pt x="3150263" y="469701"/>
                  </a:cubicBezTo>
                  <a:cubicBezTo>
                    <a:pt x="3150263" y="491287"/>
                    <a:pt x="3132763" y="508790"/>
                    <a:pt x="3111175" y="508790"/>
                  </a:cubicBezTo>
                  <a:cubicBezTo>
                    <a:pt x="3089588" y="508790"/>
                    <a:pt x="3072088" y="491287"/>
                    <a:pt x="3072088" y="469701"/>
                  </a:cubicBezTo>
                  <a:cubicBezTo>
                    <a:pt x="3072088" y="448115"/>
                    <a:pt x="3089588" y="430614"/>
                    <a:pt x="3111175" y="430614"/>
                  </a:cubicBezTo>
                  <a:close/>
                  <a:moveTo>
                    <a:pt x="3018902" y="430614"/>
                  </a:moveTo>
                  <a:cubicBezTo>
                    <a:pt x="3040489" y="430614"/>
                    <a:pt x="3057989" y="448115"/>
                    <a:pt x="3057989" y="469701"/>
                  </a:cubicBezTo>
                  <a:cubicBezTo>
                    <a:pt x="3057989" y="491287"/>
                    <a:pt x="3040489" y="508790"/>
                    <a:pt x="3018902" y="508790"/>
                  </a:cubicBezTo>
                  <a:cubicBezTo>
                    <a:pt x="2997315" y="508790"/>
                    <a:pt x="2979815" y="491287"/>
                    <a:pt x="2979815" y="469701"/>
                  </a:cubicBezTo>
                  <a:cubicBezTo>
                    <a:pt x="2979815" y="448115"/>
                    <a:pt x="2997315" y="430614"/>
                    <a:pt x="3018902" y="430614"/>
                  </a:cubicBezTo>
                  <a:close/>
                  <a:moveTo>
                    <a:pt x="2924263" y="430613"/>
                  </a:moveTo>
                  <a:cubicBezTo>
                    <a:pt x="2945850" y="430613"/>
                    <a:pt x="2963349" y="448114"/>
                    <a:pt x="2963349" y="469699"/>
                  </a:cubicBezTo>
                  <a:cubicBezTo>
                    <a:pt x="2963349" y="491287"/>
                    <a:pt x="2945850" y="508788"/>
                    <a:pt x="2924263" y="508788"/>
                  </a:cubicBezTo>
                  <a:cubicBezTo>
                    <a:pt x="2902675" y="508788"/>
                    <a:pt x="2885175" y="491287"/>
                    <a:pt x="2885175" y="469699"/>
                  </a:cubicBezTo>
                  <a:cubicBezTo>
                    <a:pt x="2885175" y="448114"/>
                    <a:pt x="2902675" y="430613"/>
                    <a:pt x="2924263" y="430613"/>
                  </a:cubicBezTo>
                  <a:close/>
                  <a:moveTo>
                    <a:pt x="2079618" y="430613"/>
                  </a:moveTo>
                  <a:cubicBezTo>
                    <a:pt x="2101211" y="430613"/>
                    <a:pt x="2118703" y="448114"/>
                    <a:pt x="2118703" y="469699"/>
                  </a:cubicBezTo>
                  <a:cubicBezTo>
                    <a:pt x="2118703" y="491287"/>
                    <a:pt x="2101211" y="508788"/>
                    <a:pt x="2079618" y="508788"/>
                  </a:cubicBezTo>
                  <a:cubicBezTo>
                    <a:pt x="2058036" y="508788"/>
                    <a:pt x="2040537" y="491287"/>
                    <a:pt x="2040537" y="469699"/>
                  </a:cubicBezTo>
                  <a:cubicBezTo>
                    <a:pt x="2040537" y="448114"/>
                    <a:pt x="2058036" y="430613"/>
                    <a:pt x="2079618" y="430613"/>
                  </a:cubicBezTo>
                  <a:close/>
                  <a:moveTo>
                    <a:pt x="1984971" y="430613"/>
                  </a:moveTo>
                  <a:cubicBezTo>
                    <a:pt x="2006563" y="430613"/>
                    <a:pt x="2024068" y="448114"/>
                    <a:pt x="2024068" y="469699"/>
                  </a:cubicBezTo>
                  <a:cubicBezTo>
                    <a:pt x="2024068" y="491287"/>
                    <a:pt x="2006563" y="508788"/>
                    <a:pt x="1984971" y="508788"/>
                  </a:cubicBezTo>
                  <a:cubicBezTo>
                    <a:pt x="1963377" y="508788"/>
                    <a:pt x="1945873" y="491287"/>
                    <a:pt x="1945873" y="469699"/>
                  </a:cubicBezTo>
                  <a:cubicBezTo>
                    <a:pt x="1945873" y="448114"/>
                    <a:pt x="1963377" y="430613"/>
                    <a:pt x="1984971" y="430613"/>
                  </a:cubicBezTo>
                  <a:close/>
                  <a:moveTo>
                    <a:pt x="1890340" y="430613"/>
                  </a:moveTo>
                  <a:cubicBezTo>
                    <a:pt x="1911917" y="430613"/>
                    <a:pt x="1929413" y="448114"/>
                    <a:pt x="1929413" y="469699"/>
                  </a:cubicBezTo>
                  <a:cubicBezTo>
                    <a:pt x="1929413" y="491287"/>
                    <a:pt x="1911917" y="508788"/>
                    <a:pt x="1890340" y="508788"/>
                  </a:cubicBezTo>
                  <a:cubicBezTo>
                    <a:pt x="1868762" y="508788"/>
                    <a:pt x="1851255" y="491287"/>
                    <a:pt x="1851255" y="469699"/>
                  </a:cubicBezTo>
                  <a:cubicBezTo>
                    <a:pt x="1851255" y="448114"/>
                    <a:pt x="1868762" y="430613"/>
                    <a:pt x="1890340" y="430613"/>
                  </a:cubicBezTo>
                  <a:close/>
                  <a:moveTo>
                    <a:pt x="1798073" y="430613"/>
                  </a:moveTo>
                  <a:cubicBezTo>
                    <a:pt x="1819663" y="430613"/>
                    <a:pt x="1837149" y="448114"/>
                    <a:pt x="1837149" y="469699"/>
                  </a:cubicBezTo>
                  <a:cubicBezTo>
                    <a:pt x="1837149" y="491287"/>
                    <a:pt x="1819663" y="508788"/>
                    <a:pt x="1798073" y="508788"/>
                  </a:cubicBezTo>
                  <a:cubicBezTo>
                    <a:pt x="1776483" y="508788"/>
                    <a:pt x="1758966" y="491287"/>
                    <a:pt x="1758966" y="469699"/>
                  </a:cubicBezTo>
                  <a:cubicBezTo>
                    <a:pt x="1758966" y="448114"/>
                    <a:pt x="1776483" y="430613"/>
                    <a:pt x="1798073" y="430613"/>
                  </a:cubicBezTo>
                  <a:close/>
                  <a:moveTo>
                    <a:pt x="1703435" y="430613"/>
                  </a:moveTo>
                  <a:cubicBezTo>
                    <a:pt x="1725015" y="430613"/>
                    <a:pt x="1742524" y="448114"/>
                    <a:pt x="1742524" y="469699"/>
                  </a:cubicBezTo>
                  <a:cubicBezTo>
                    <a:pt x="1742524" y="491287"/>
                    <a:pt x="1725015" y="508788"/>
                    <a:pt x="1703435" y="508788"/>
                  </a:cubicBezTo>
                  <a:cubicBezTo>
                    <a:pt x="1681841" y="508788"/>
                    <a:pt x="1664351" y="491287"/>
                    <a:pt x="1664351" y="469699"/>
                  </a:cubicBezTo>
                  <a:cubicBezTo>
                    <a:pt x="1664351" y="448114"/>
                    <a:pt x="1681841" y="430613"/>
                    <a:pt x="1703435" y="430613"/>
                  </a:cubicBezTo>
                  <a:close/>
                  <a:moveTo>
                    <a:pt x="1611151" y="430613"/>
                  </a:moveTo>
                  <a:cubicBezTo>
                    <a:pt x="1632741" y="430613"/>
                    <a:pt x="1650245" y="448114"/>
                    <a:pt x="1650245" y="469699"/>
                  </a:cubicBezTo>
                  <a:cubicBezTo>
                    <a:pt x="1650245" y="491287"/>
                    <a:pt x="1632741" y="508788"/>
                    <a:pt x="1611151" y="508788"/>
                  </a:cubicBezTo>
                  <a:cubicBezTo>
                    <a:pt x="1589649" y="508788"/>
                    <a:pt x="1572151" y="491287"/>
                    <a:pt x="1572151" y="469699"/>
                  </a:cubicBezTo>
                  <a:cubicBezTo>
                    <a:pt x="1572151" y="448114"/>
                    <a:pt x="1589649" y="430613"/>
                    <a:pt x="1611151" y="430613"/>
                  </a:cubicBezTo>
                  <a:close/>
                  <a:moveTo>
                    <a:pt x="1516598" y="430613"/>
                  </a:moveTo>
                  <a:cubicBezTo>
                    <a:pt x="1538184" y="430613"/>
                    <a:pt x="1555687" y="448114"/>
                    <a:pt x="1555687" y="469699"/>
                  </a:cubicBezTo>
                  <a:cubicBezTo>
                    <a:pt x="1555687" y="491287"/>
                    <a:pt x="1538184" y="508788"/>
                    <a:pt x="1516598" y="508788"/>
                  </a:cubicBezTo>
                  <a:cubicBezTo>
                    <a:pt x="1495008" y="508788"/>
                    <a:pt x="1477507" y="491287"/>
                    <a:pt x="1477507" y="469699"/>
                  </a:cubicBezTo>
                  <a:cubicBezTo>
                    <a:pt x="1477507" y="448114"/>
                    <a:pt x="1495008" y="430613"/>
                    <a:pt x="1516598" y="430613"/>
                  </a:cubicBezTo>
                  <a:close/>
                  <a:moveTo>
                    <a:pt x="1045749" y="430613"/>
                  </a:moveTo>
                  <a:cubicBezTo>
                    <a:pt x="1067333" y="430613"/>
                    <a:pt x="1084837" y="448114"/>
                    <a:pt x="1084837" y="469699"/>
                  </a:cubicBezTo>
                  <a:cubicBezTo>
                    <a:pt x="1084837" y="491287"/>
                    <a:pt x="1067333" y="508788"/>
                    <a:pt x="1045749" y="508788"/>
                  </a:cubicBezTo>
                  <a:cubicBezTo>
                    <a:pt x="1024164" y="508788"/>
                    <a:pt x="1006666" y="491287"/>
                    <a:pt x="1006666" y="469699"/>
                  </a:cubicBezTo>
                  <a:cubicBezTo>
                    <a:pt x="1006666" y="448114"/>
                    <a:pt x="1024164" y="430613"/>
                    <a:pt x="1045749" y="430613"/>
                  </a:cubicBezTo>
                  <a:close/>
                  <a:moveTo>
                    <a:pt x="951124" y="430613"/>
                  </a:moveTo>
                  <a:cubicBezTo>
                    <a:pt x="972705" y="430613"/>
                    <a:pt x="990202" y="448114"/>
                    <a:pt x="990202" y="469699"/>
                  </a:cubicBezTo>
                  <a:cubicBezTo>
                    <a:pt x="990202" y="491287"/>
                    <a:pt x="972705" y="508788"/>
                    <a:pt x="951124" y="508788"/>
                  </a:cubicBezTo>
                  <a:cubicBezTo>
                    <a:pt x="929541" y="508788"/>
                    <a:pt x="912041" y="491287"/>
                    <a:pt x="912041" y="469699"/>
                  </a:cubicBezTo>
                  <a:cubicBezTo>
                    <a:pt x="912041" y="448114"/>
                    <a:pt x="929541" y="430613"/>
                    <a:pt x="951124" y="430613"/>
                  </a:cubicBezTo>
                  <a:close/>
                  <a:moveTo>
                    <a:pt x="856499" y="430613"/>
                  </a:moveTo>
                  <a:cubicBezTo>
                    <a:pt x="878082" y="430613"/>
                    <a:pt x="895578" y="448115"/>
                    <a:pt x="895578" y="469699"/>
                  </a:cubicBezTo>
                  <a:cubicBezTo>
                    <a:pt x="895578" y="491287"/>
                    <a:pt x="878082" y="508788"/>
                    <a:pt x="856499" y="508788"/>
                  </a:cubicBezTo>
                  <a:cubicBezTo>
                    <a:pt x="834915" y="508788"/>
                    <a:pt x="817418" y="491287"/>
                    <a:pt x="817418" y="469699"/>
                  </a:cubicBezTo>
                  <a:cubicBezTo>
                    <a:pt x="817418" y="448115"/>
                    <a:pt x="834915" y="430613"/>
                    <a:pt x="856499" y="430613"/>
                  </a:cubicBezTo>
                  <a:close/>
                  <a:moveTo>
                    <a:pt x="764240" y="430613"/>
                  </a:moveTo>
                  <a:cubicBezTo>
                    <a:pt x="785824" y="430613"/>
                    <a:pt x="803321" y="448115"/>
                    <a:pt x="803321" y="469699"/>
                  </a:cubicBezTo>
                  <a:cubicBezTo>
                    <a:pt x="803321" y="491287"/>
                    <a:pt x="785824" y="508788"/>
                    <a:pt x="764240" y="508788"/>
                  </a:cubicBezTo>
                  <a:cubicBezTo>
                    <a:pt x="742646" y="508788"/>
                    <a:pt x="725157" y="491287"/>
                    <a:pt x="725157" y="469699"/>
                  </a:cubicBezTo>
                  <a:cubicBezTo>
                    <a:pt x="725157" y="448115"/>
                    <a:pt x="742646" y="430613"/>
                    <a:pt x="764240" y="430613"/>
                  </a:cubicBezTo>
                  <a:close/>
                  <a:moveTo>
                    <a:pt x="669597" y="430613"/>
                  </a:moveTo>
                  <a:cubicBezTo>
                    <a:pt x="691199" y="430613"/>
                    <a:pt x="708695" y="448115"/>
                    <a:pt x="708695" y="469699"/>
                  </a:cubicBezTo>
                  <a:cubicBezTo>
                    <a:pt x="708695" y="491287"/>
                    <a:pt x="691199" y="508788"/>
                    <a:pt x="669597" y="508788"/>
                  </a:cubicBezTo>
                  <a:cubicBezTo>
                    <a:pt x="648023" y="508788"/>
                    <a:pt x="630517" y="491287"/>
                    <a:pt x="630517" y="469699"/>
                  </a:cubicBezTo>
                  <a:cubicBezTo>
                    <a:pt x="630517" y="448115"/>
                    <a:pt x="648023" y="430613"/>
                    <a:pt x="669597" y="430613"/>
                  </a:cubicBezTo>
                  <a:close/>
                  <a:moveTo>
                    <a:pt x="577311" y="430613"/>
                  </a:moveTo>
                  <a:cubicBezTo>
                    <a:pt x="598906" y="430613"/>
                    <a:pt x="616412" y="448115"/>
                    <a:pt x="616412" y="469700"/>
                  </a:cubicBezTo>
                  <a:cubicBezTo>
                    <a:pt x="616412" y="491287"/>
                    <a:pt x="598906" y="508788"/>
                    <a:pt x="577311" y="508788"/>
                  </a:cubicBezTo>
                  <a:cubicBezTo>
                    <a:pt x="555718" y="508788"/>
                    <a:pt x="538213" y="491287"/>
                    <a:pt x="538213" y="469700"/>
                  </a:cubicBezTo>
                  <a:cubicBezTo>
                    <a:pt x="538213" y="448115"/>
                    <a:pt x="555718" y="430613"/>
                    <a:pt x="577311" y="430613"/>
                  </a:cubicBezTo>
                  <a:close/>
                  <a:moveTo>
                    <a:pt x="485025" y="430613"/>
                  </a:moveTo>
                  <a:cubicBezTo>
                    <a:pt x="506612" y="430613"/>
                    <a:pt x="524109" y="448115"/>
                    <a:pt x="524109" y="469700"/>
                  </a:cubicBezTo>
                  <a:cubicBezTo>
                    <a:pt x="524109" y="491287"/>
                    <a:pt x="506612" y="508788"/>
                    <a:pt x="485025" y="508788"/>
                  </a:cubicBezTo>
                  <a:cubicBezTo>
                    <a:pt x="463427" y="508788"/>
                    <a:pt x="445951" y="491287"/>
                    <a:pt x="445951" y="469700"/>
                  </a:cubicBezTo>
                  <a:cubicBezTo>
                    <a:pt x="445951" y="448115"/>
                    <a:pt x="463427" y="430613"/>
                    <a:pt x="485025" y="430613"/>
                  </a:cubicBezTo>
                  <a:close/>
                  <a:moveTo>
                    <a:pt x="493081" y="353508"/>
                  </a:moveTo>
                  <a:lnTo>
                    <a:pt x="512664" y="361620"/>
                  </a:lnTo>
                  <a:cubicBezTo>
                    <a:pt x="519737" y="368693"/>
                    <a:pt x="524111" y="378465"/>
                    <a:pt x="524111" y="389259"/>
                  </a:cubicBezTo>
                  <a:cubicBezTo>
                    <a:pt x="524111" y="410845"/>
                    <a:pt x="506614" y="428346"/>
                    <a:pt x="485026" y="428346"/>
                  </a:cubicBezTo>
                  <a:cubicBezTo>
                    <a:pt x="474228" y="428346"/>
                    <a:pt x="464460" y="423970"/>
                    <a:pt x="457392" y="416897"/>
                  </a:cubicBezTo>
                  <a:lnTo>
                    <a:pt x="448688" y="395861"/>
                  </a:lnTo>
                  <a:lnTo>
                    <a:pt x="459172" y="384326"/>
                  </a:lnTo>
                  <a:close/>
                  <a:moveTo>
                    <a:pt x="2079618" y="350171"/>
                  </a:moveTo>
                  <a:cubicBezTo>
                    <a:pt x="2101211" y="350171"/>
                    <a:pt x="2118703" y="367670"/>
                    <a:pt x="2118703" y="389259"/>
                  </a:cubicBezTo>
                  <a:cubicBezTo>
                    <a:pt x="2118703" y="410845"/>
                    <a:pt x="2101211" y="428346"/>
                    <a:pt x="2079618" y="428346"/>
                  </a:cubicBezTo>
                  <a:cubicBezTo>
                    <a:pt x="2058036" y="428346"/>
                    <a:pt x="2040537" y="410845"/>
                    <a:pt x="2040537" y="389259"/>
                  </a:cubicBezTo>
                  <a:cubicBezTo>
                    <a:pt x="2040537" y="367670"/>
                    <a:pt x="2058036" y="350171"/>
                    <a:pt x="2079618" y="350171"/>
                  </a:cubicBezTo>
                  <a:close/>
                  <a:moveTo>
                    <a:pt x="1984971" y="350171"/>
                  </a:moveTo>
                  <a:cubicBezTo>
                    <a:pt x="2006563" y="350171"/>
                    <a:pt x="2024068" y="367670"/>
                    <a:pt x="2024068" y="389259"/>
                  </a:cubicBezTo>
                  <a:cubicBezTo>
                    <a:pt x="2024068" y="410845"/>
                    <a:pt x="2006563" y="428346"/>
                    <a:pt x="1984971" y="428346"/>
                  </a:cubicBezTo>
                  <a:cubicBezTo>
                    <a:pt x="1963377" y="428346"/>
                    <a:pt x="1945873" y="410845"/>
                    <a:pt x="1945873" y="389259"/>
                  </a:cubicBezTo>
                  <a:cubicBezTo>
                    <a:pt x="1945873" y="367670"/>
                    <a:pt x="1963377" y="350171"/>
                    <a:pt x="1984971" y="350171"/>
                  </a:cubicBezTo>
                  <a:close/>
                  <a:moveTo>
                    <a:pt x="1890340" y="350171"/>
                  </a:moveTo>
                  <a:cubicBezTo>
                    <a:pt x="1911917" y="350171"/>
                    <a:pt x="1929413" y="367670"/>
                    <a:pt x="1929413" y="389259"/>
                  </a:cubicBezTo>
                  <a:cubicBezTo>
                    <a:pt x="1929413" y="410845"/>
                    <a:pt x="1911917" y="428346"/>
                    <a:pt x="1890340" y="428346"/>
                  </a:cubicBezTo>
                  <a:cubicBezTo>
                    <a:pt x="1868762" y="428346"/>
                    <a:pt x="1851255" y="410845"/>
                    <a:pt x="1851255" y="389259"/>
                  </a:cubicBezTo>
                  <a:cubicBezTo>
                    <a:pt x="1851255" y="367670"/>
                    <a:pt x="1868762" y="350171"/>
                    <a:pt x="1890340" y="350171"/>
                  </a:cubicBezTo>
                  <a:close/>
                  <a:moveTo>
                    <a:pt x="1798073" y="350171"/>
                  </a:moveTo>
                  <a:cubicBezTo>
                    <a:pt x="1819663" y="350171"/>
                    <a:pt x="1837149" y="367670"/>
                    <a:pt x="1837149" y="389259"/>
                  </a:cubicBezTo>
                  <a:cubicBezTo>
                    <a:pt x="1837149" y="410845"/>
                    <a:pt x="1819663" y="428346"/>
                    <a:pt x="1798073" y="428346"/>
                  </a:cubicBezTo>
                  <a:cubicBezTo>
                    <a:pt x="1776483" y="428346"/>
                    <a:pt x="1758966" y="410845"/>
                    <a:pt x="1758966" y="389259"/>
                  </a:cubicBezTo>
                  <a:cubicBezTo>
                    <a:pt x="1758966" y="367670"/>
                    <a:pt x="1776483" y="350171"/>
                    <a:pt x="1798073" y="350171"/>
                  </a:cubicBezTo>
                  <a:close/>
                  <a:moveTo>
                    <a:pt x="1703435" y="350171"/>
                  </a:moveTo>
                  <a:cubicBezTo>
                    <a:pt x="1725015" y="350171"/>
                    <a:pt x="1742524" y="367670"/>
                    <a:pt x="1742524" y="389259"/>
                  </a:cubicBezTo>
                  <a:cubicBezTo>
                    <a:pt x="1742524" y="410845"/>
                    <a:pt x="1725015" y="428346"/>
                    <a:pt x="1703435" y="428346"/>
                  </a:cubicBezTo>
                  <a:cubicBezTo>
                    <a:pt x="1681841" y="428346"/>
                    <a:pt x="1664351" y="410845"/>
                    <a:pt x="1664351" y="389259"/>
                  </a:cubicBezTo>
                  <a:cubicBezTo>
                    <a:pt x="1664351" y="367670"/>
                    <a:pt x="1681841" y="350171"/>
                    <a:pt x="1703435" y="350171"/>
                  </a:cubicBezTo>
                  <a:close/>
                  <a:moveTo>
                    <a:pt x="1611151" y="350171"/>
                  </a:moveTo>
                  <a:cubicBezTo>
                    <a:pt x="1632741" y="350171"/>
                    <a:pt x="1650245" y="367670"/>
                    <a:pt x="1650245" y="389259"/>
                  </a:cubicBezTo>
                  <a:cubicBezTo>
                    <a:pt x="1650245" y="410845"/>
                    <a:pt x="1632741" y="428346"/>
                    <a:pt x="1611151" y="428346"/>
                  </a:cubicBezTo>
                  <a:cubicBezTo>
                    <a:pt x="1589652" y="428346"/>
                    <a:pt x="1572155" y="410845"/>
                    <a:pt x="1572155" y="389259"/>
                  </a:cubicBezTo>
                  <a:cubicBezTo>
                    <a:pt x="1572155" y="367670"/>
                    <a:pt x="1589652" y="350171"/>
                    <a:pt x="1611151" y="350171"/>
                  </a:cubicBezTo>
                  <a:close/>
                  <a:moveTo>
                    <a:pt x="1516602" y="350171"/>
                  </a:moveTo>
                  <a:cubicBezTo>
                    <a:pt x="1538185" y="350171"/>
                    <a:pt x="1555690" y="367670"/>
                    <a:pt x="1555690" y="389259"/>
                  </a:cubicBezTo>
                  <a:cubicBezTo>
                    <a:pt x="1555690" y="410845"/>
                    <a:pt x="1538185" y="428346"/>
                    <a:pt x="1516602" y="428346"/>
                  </a:cubicBezTo>
                  <a:cubicBezTo>
                    <a:pt x="1495010" y="428346"/>
                    <a:pt x="1477510" y="410845"/>
                    <a:pt x="1477510" y="389259"/>
                  </a:cubicBezTo>
                  <a:cubicBezTo>
                    <a:pt x="1477510" y="367670"/>
                    <a:pt x="1495010" y="350171"/>
                    <a:pt x="1516602" y="350171"/>
                  </a:cubicBezTo>
                  <a:close/>
                  <a:moveTo>
                    <a:pt x="951124" y="350171"/>
                  </a:moveTo>
                  <a:cubicBezTo>
                    <a:pt x="972708" y="350171"/>
                    <a:pt x="990204" y="367670"/>
                    <a:pt x="990204" y="389259"/>
                  </a:cubicBezTo>
                  <a:cubicBezTo>
                    <a:pt x="990204" y="410845"/>
                    <a:pt x="972708" y="428346"/>
                    <a:pt x="951124" y="428346"/>
                  </a:cubicBezTo>
                  <a:cubicBezTo>
                    <a:pt x="929543" y="428346"/>
                    <a:pt x="912042" y="410845"/>
                    <a:pt x="912042" y="389259"/>
                  </a:cubicBezTo>
                  <a:cubicBezTo>
                    <a:pt x="912042" y="367670"/>
                    <a:pt x="929543" y="350171"/>
                    <a:pt x="951124" y="350171"/>
                  </a:cubicBezTo>
                  <a:close/>
                  <a:moveTo>
                    <a:pt x="856501" y="350171"/>
                  </a:moveTo>
                  <a:cubicBezTo>
                    <a:pt x="878085" y="350171"/>
                    <a:pt x="895581" y="367670"/>
                    <a:pt x="895581" y="389259"/>
                  </a:cubicBezTo>
                  <a:cubicBezTo>
                    <a:pt x="895581" y="410845"/>
                    <a:pt x="878085" y="428346"/>
                    <a:pt x="856501" y="428346"/>
                  </a:cubicBezTo>
                  <a:cubicBezTo>
                    <a:pt x="834918" y="428346"/>
                    <a:pt x="817421" y="410845"/>
                    <a:pt x="817421" y="389259"/>
                  </a:cubicBezTo>
                  <a:cubicBezTo>
                    <a:pt x="817421" y="367670"/>
                    <a:pt x="834918" y="350171"/>
                    <a:pt x="856501" y="350171"/>
                  </a:cubicBezTo>
                  <a:close/>
                  <a:moveTo>
                    <a:pt x="764243" y="350171"/>
                  </a:moveTo>
                  <a:cubicBezTo>
                    <a:pt x="785826" y="350171"/>
                    <a:pt x="803324" y="367671"/>
                    <a:pt x="803324" y="389259"/>
                  </a:cubicBezTo>
                  <a:cubicBezTo>
                    <a:pt x="803324" y="410845"/>
                    <a:pt x="785826" y="428346"/>
                    <a:pt x="764243" y="428346"/>
                  </a:cubicBezTo>
                  <a:cubicBezTo>
                    <a:pt x="742651" y="428346"/>
                    <a:pt x="725160" y="410845"/>
                    <a:pt x="725160" y="389259"/>
                  </a:cubicBezTo>
                  <a:cubicBezTo>
                    <a:pt x="725160" y="367671"/>
                    <a:pt x="742651" y="350171"/>
                    <a:pt x="764243" y="350171"/>
                  </a:cubicBezTo>
                  <a:close/>
                  <a:moveTo>
                    <a:pt x="669597" y="350171"/>
                  </a:moveTo>
                  <a:cubicBezTo>
                    <a:pt x="691200" y="350171"/>
                    <a:pt x="708698" y="367671"/>
                    <a:pt x="708698" y="389259"/>
                  </a:cubicBezTo>
                  <a:cubicBezTo>
                    <a:pt x="708698" y="410845"/>
                    <a:pt x="691200" y="428346"/>
                    <a:pt x="669597" y="428346"/>
                  </a:cubicBezTo>
                  <a:cubicBezTo>
                    <a:pt x="648024" y="428346"/>
                    <a:pt x="630519" y="410845"/>
                    <a:pt x="630519" y="389259"/>
                  </a:cubicBezTo>
                  <a:cubicBezTo>
                    <a:pt x="630519" y="367671"/>
                    <a:pt x="648024" y="350171"/>
                    <a:pt x="669597" y="350171"/>
                  </a:cubicBezTo>
                  <a:close/>
                  <a:moveTo>
                    <a:pt x="577316" y="350171"/>
                  </a:moveTo>
                  <a:cubicBezTo>
                    <a:pt x="598910" y="350171"/>
                    <a:pt x="616414" y="367671"/>
                    <a:pt x="616414" y="389259"/>
                  </a:cubicBezTo>
                  <a:cubicBezTo>
                    <a:pt x="616414" y="410845"/>
                    <a:pt x="598910" y="428346"/>
                    <a:pt x="577316" y="428346"/>
                  </a:cubicBezTo>
                  <a:cubicBezTo>
                    <a:pt x="555721" y="428346"/>
                    <a:pt x="538216" y="410845"/>
                    <a:pt x="538216" y="389259"/>
                  </a:cubicBezTo>
                  <a:cubicBezTo>
                    <a:pt x="538216" y="367671"/>
                    <a:pt x="555721" y="350171"/>
                    <a:pt x="577316" y="350171"/>
                  </a:cubicBezTo>
                  <a:close/>
                  <a:moveTo>
                    <a:pt x="591716" y="263862"/>
                  </a:moveTo>
                  <a:lnTo>
                    <a:pt x="604964" y="269347"/>
                  </a:lnTo>
                  <a:cubicBezTo>
                    <a:pt x="612039" y="276420"/>
                    <a:pt x="616416" y="286192"/>
                    <a:pt x="616416" y="296985"/>
                  </a:cubicBezTo>
                  <a:cubicBezTo>
                    <a:pt x="616416" y="318571"/>
                    <a:pt x="598910" y="336071"/>
                    <a:pt x="577316" y="336071"/>
                  </a:cubicBezTo>
                  <a:cubicBezTo>
                    <a:pt x="566520" y="336071"/>
                    <a:pt x="556745" y="331696"/>
                    <a:pt x="549670" y="324623"/>
                  </a:cubicBezTo>
                  <a:lnTo>
                    <a:pt x="542883" y="308244"/>
                  </a:lnTo>
                  <a:close/>
                  <a:moveTo>
                    <a:pt x="951129" y="257899"/>
                  </a:moveTo>
                  <a:cubicBezTo>
                    <a:pt x="972708" y="257899"/>
                    <a:pt x="990205" y="275398"/>
                    <a:pt x="990205" y="296985"/>
                  </a:cubicBezTo>
                  <a:cubicBezTo>
                    <a:pt x="990205" y="318571"/>
                    <a:pt x="972708" y="336070"/>
                    <a:pt x="951129" y="336070"/>
                  </a:cubicBezTo>
                  <a:cubicBezTo>
                    <a:pt x="929543" y="336070"/>
                    <a:pt x="912045" y="318571"/>
                    <a:pt x="912045" y="296985"/>
                  </a:cubicBezTo>
                  <a:cubicBezTo>
                    <a:pt x="912045" y="275398"/>
                    <a:pt x="929543" y="257899"/>
                    <a:pt x="951129" y="257899"/>
                  </a:cubicBezTo>
                  <a:close/>
                  <a:moveTo>
                    <a:pt x="856503" y="257899"/>
                  </a:moveTo>
                  <a:cubicBezTo>
                    <a:pt x="878086" y="257899"/>
                    <a:pt x="895582" y="275398"/>
                    <a:pt x="895582" y="296985"/>
                  </a:cubicBezTo>
                  <a:cubicBezTo>
                    <a:pt x="895582" y="318571"/>
                    <a:pt x="878086" y="336070"/>
                    <a:pt x="856503" y="336070"/>
                  </a:cubicBezTo>
                  <a:cubicBezTo>
                    <a:pt x="834919" y="336070"/>
                    <a:pt x="817422" y="318571"/>
                    <a:pt x="817422" y="296985"/>
                  </a:cubicBezTo>
                  <a:cubicBezTo>
                    <a:pt x="817422" y="275398"/>
                    <a:pt x="834919" y="257899"/>
                    <a:pt x="856503" y="257899"/>
                  </a:cubicBezTo>
                  <a:close/>
                  <a:moveTo>
                    <a:pt x="764243" y="257899"/>
                  </a:moveTo>
                  <a:cubicBezTo>
                    <a:pt x="785826" y="257899"/>
                    <a:pt x="803326" y="275398"/>
                    <a:pt x="803326" y="296985"/>
                  </a:cubicBezTo>
                  <a:cubicBezTo>
                    <a:pt x="803326" y="318571"/>
                    <a:pt x="785826" y="336070"/>
                    <a:pt x="764243" y="336070"/>
                  </a:cubicBezTo>
                  <a:cubicBezTo>
                    <a:pt x="742651" y="336070"/>
                    <a:pt x="725161" y="318571"/>
                    <a:pt x="725161" y="296985"/>
                  </a:cubicBezTo>
                  <a:cubicBezTo>
                    <a:pt x="725161" y="275398"/>
                    <a:pt x="742651" y="257899"/>
                    <a:pt x="764243" y="257899"/>
                  </a:cubicBezTo>
                  <a:close/>
                  <a:moveTo>
                    <a:pt x="669597" y="257899"/>
                  </a:moveTo>
                  <a:cubicBezTo>
                    <a:pt x="691200" y="257899"/>
                    <a:pt x="708698" y="275398"/>
                    <a:pt x="708698" y="296985"/>
                  </a:cubicBezTo>
                  <a:cubicBezTo>
                    <a:pt x="708698" y="318571"/>
                    <a:pt x="691200" y="336070"/>
                    <a:pt x="669597" y="336070"/>
                  </a:cubicBezTo>
                  <a:cubicBezTo>
                    <a:pt x="648024" y="336070"/>
                    <a:pt x="630520" y="318571"/>
                    <a:pt x="630520" y="296985"/>
                  </a:cubicBezTo>
                  <a:cubicBezTo>
                    <a:pt x="630520" y="275398"/>
                    <a:pt x="648024" y="257899"/>
                    <a:pt x="669597" y="257899"/>
                  </a:cubicBezTo>
                  <a:close/>
                  <a:moveTo>
                    <a:pt x="2079618" y="257899"/>
                  </a:moveTo>
                  <a:cubicBezTo>
                    <a:pt x="2101211" y="257899"/>
                    <a:pt x="2118703" y="275398"/>
                    <a:pt x="2118703" y="296984"/>
                  </a:cubicBezTo>
                  <a:cubicBezTo>
                    <a:pt x="2118703" y="318571"/>
                    <a:pt x="2101211" y="336070"/>
                    <a:pt x="2079618" y="336070"/>
                  </a:cubicBezTo>
                  <a:cubicBezTo>
                    <a:pt x="2058036" y="336070"/>
                    <a:pt x="2040537" y="318571"/>
                    <a:pt x="2040537" y="296984"/>
                  </a:cubicBezTo>
                  <a:cubicBezTo>
                    <a:pt x="2040537" y="275398"/>
                    <a:pt x="2058036" y="257899"/>
                    <a:pt x="2079618" y="257899"/>
                  </a:cubicBezTo>
                  <a:close/>
                  <a:moveTo>
                    <a:pt x="1984971" y="257899"/>
                  </a:moveTo>
                  <a:cubicBezTo>
                    <a:pt x="2006563" y="257899"/>
                    <a:pt x="2024068" y="275398"/>
                    <a:pt x="2024068" y="296984"/>
                  </a:cubicBezTo>
                  <a:cubicBezTo>
                    <a:pt x="2024068" y="318571"/>
                    <a:pt x="2006563" y="336070"/>
                    <a:pt x="1984971" y="336070"/>
                  </a:cubicBezTo>
                  <a:cubicBezTo>
                    <a:pt x="1963377" y="336070"/>
                    <a:pt x="1945873" y="318571"/>
                    <a:pt x="1945873" y="296984"/>
                  </a:cubicBezTo>
                  <a:cubicBezTo>
                    <a:pt x="1945873" y="275398"/>
                    <a:pt x="1963377" y="257899"/>
                    <a:pt x="1984971" y="257899"/>
                  </a:cubicBezTo>
                  <a:close/>
                  <a:moveTo>
                    <a:pt x="1890340" y="257899"/>
                  </a:moveTo>
                  <a:cubicBezTo>
                    <a:pt x="1911917" y="257899"/>
                    <a:pt x="1929413" y="275398"/>
                    <a:pt x="1929413" y="296984"/>
                  </a:cubicBezTo>
                  <a:cubicBezTo>
                    <a:pt x="1929413" y="318571"/>
                    <a:pt x="1911917" y="336070"/>
                    <a:pt x="1890340" y="336070"/>
                  </a:cubicBezTo>
                  <a:cubicBezTo>
                    <a:pt x="1868762" y="336070"/>
                    <a:pt x="1851255" y="318571"/>
                    <a:pt x="1851255" y="296984"/>
                  </a:cubicBezTo>
                  <a:cubicBezTo>
                    <a:pt x="1851255" y="275398"/>
                    <a:pt x="1868762" y="257899"/>
                    <a:pt x="1890340" y="257899"/>
                  </a:cubicBezTo>
                  <a:close/>
                  <a:moveTo>
                    <a:pt x="1798073" y="257899"/>
                  </a:moveTo>
                  <a:cubicBezTo>
                    <a:pt x="1819663" y="257899"/>
                    <a:pt x="1837149" y="275398"/>
                    <a:pt x="1837149" y="296984"/>
                  </a:cubicBezTo>
                  <a:cubicBezTo>
                    <a:pt x="1837149" y="318571"/>
                    <a:pt x="1819663" y="336070"/>
                    <a:pt x="1798073" y="336070"/>
                  </a:cubicBezTo>
                  <a:cubicBezTo>
                    <a:pt x="1776483" y="336070"/>
                    <a:pt x="1758966" y="318571"/>
                    <a:pt x="1758966" y="296984"/>
                  </a:cubicBezTo>
                  <a:cubicBezTo>
                    <a:pt x="1758966" y="275398"/>
                    <a:pt x="1776483" y="257899"/>
                    <a:pt x="1798073" y="257899"/>
                  </a:cubicBezTo>
                  <a:close/>
                  <a:moveTo>
                    <a:pt x="1703435" y="257899"/>
                  </a:moveTo>
                  <a:cubicBezTo>
                    <a:pt x="1725015" y="257899"/>
                    <a:pt x="1742524" y="275398"/>
                    <a:pt x="1742524" y="296984"/>
                  </a:cubicBezTo>
                  <a:cubicBezTo>
                    <a:pt x="1742524" y="318571"/>
                    <a:pt x="1725015" y="336070"/>
                    <a:pt x="1703435" y="336070"/>
                  </a:cubicBezTo>
                  <a:cubicBezTo>
                    <a:pt x="1681841" y="336070"/>
                    <a:pt x="1664351" y="318571"/>
                    <a:pt x="1664351" y="296984"/>
                  </a:cubicBezTo>
                  <a:cubicBezTo>
                    <a:pt x="1664351" y="275398"/>
                    <a:pt x="1681841" y="257899"/>
                    <a:pt x="1703435" y="257899"/>
                  </a:cubicBezTo>
                  <a:close/>
                  <a:moveTo>
                    <a:pt x="1611151" y="257899"/>
                  </a:moveTo>
                  <a:cubicBezTo>
                    <a:pt x="1632741" y="257899"/>
                    <a:pt x="1650245" y="275398"/>
                    <a:pt x="1650245" y="296984"/>
                  </a:cubicBezTo>
                  <a:cubicBezTo>
                    <a:pt x="1650245" y="318571"/>
                    <a:pt x="1632741" y="336070"/>
                    <a:pt x="1611151" y="336070"/>
                  </a:cubicBezTo>
                  <a:cubicBezTo>
                    <a:pt x="1589655" y="336070"/>
                    <a:pt x="1572155" y="318571"/>
                    <a:pt x="1572155" y="296984"/>
                  </a:cubicBezTo>
                  <a:cubicBezTo>
                    <a:pt x="1572155" y="275398"/>
                    <a:pt x="1589655" y="257899"/>
                    <a:pt x="1611151" y="257899"/>
                  </a:cubicBezTo>
                  <a:close/>
                  <a:moveTo>
                    <a:pt x="1516605" y="257899"/>
                  </a:moveTo>
                  <a:cubicBezTo>
                    <a:pt x="1538188" y="257899"/>
                    <a:pt x="1555690" y="275398"/>
                    <a:pt x="1555690" y="296984"/>
                  </a:cubicBezTo>
                  <a:cubicBezTo>
                    <a:pt x="1555690" y="318571"/>
                    <a:pt x="1538188" y="336070"/>
                    <a:pt x="1516605" y="336070"/>
                  </a:cubicBezTo>
                  <a:cubicBezTo>
                    <a:pt x="1495013" y="336070"/>
                    <a:pt x="1477512" y="318571"/>
                    <a:pt x="1477512" y="296984"/>
                  </a:cubicBezTo>
                  <a:cubicBezTo>
                    <a:pt x="1477512" y="275398"/>
                    <a:pt x="1495013" y="257899"/>
                    <a:pt x="1516605" y="257899"/>
                  </a:cubicBezTo>
                  <a:close/>
                  <a:moveTo>
                    <a:pt x="1419597" y="257899"/>
                  </a:moveTo>
                  <a:cubicBezTo>
                    <a:pt x="1441183" y="257899"/>
                    <a:pt x="1458689" y="275398"/>
                    <a:pt x="1458689" y="296984"/>
                  </a:cubicBezTo>
                  <a:cubicBezTo>
                    <a:pt x="1458689" y="318571"/>
                    <a:pt x="1441183" y="336070"/>
                    <a:pt x="1419597" y="336070"/>
                  </a:cubicBezTo>
                  <a:cubicBezTo>
                    <a:pt x="1398003" y="336070"/>
                    <a:pt x="1380501" y="318571"/>
                    <a:pt x="1380501" y="296984"/>
                  </a:cubicBezTo>
                  <a:cubicBezTo>
                    <a:pt x="1380501" y="275398"/>
                    <a:pt x="1398003" y="257899"/>
                    <a:pt x="1419597" y="257899"/>
                  </a:cubicBezTo>
                  <a:close/>
                  <a:moveTo>
                    <a:pt x="1329683" y="257899"/>
                  </a:moveTo>
                  <a:cubicBezTo>
                    <a:pt x="1351272" y="257899"/>
                    <a:pt x="1368775" y="275398"/>
                    <a:pt x="1368775" y="296984"/>
                  </a:cubicBezTo>
                  <a:cubicBezTo>
                    <a:pt x="1368775" y="318571"/>
                    <a:pt x="1351272" y="336070"/>
                    <a:pt x="1329683" y="336070"/>
                  </a:cubicBezTo>
                  <a:cubicBezTo>
                    <a:pt x="1308100" y="336070"/>
                    <a:pt x="1290601" y="318571"/>
                    <a:pt x="1290601" y="296984"/>
                  </a:cubicBezTo>
                  <a:cubicBezTo>
                    <a:pt x="1290601" y="275398"/>
                    <a:pt x="1308100" y="257899"/>
                    <a:pt x="1329683" y="257899"/>
                  </a:cubicBezTo>
                  <a:close/>
                  <a:moveTo>
                    <a:pt x="1232690" y="257899"/>
                  </a:moveTo>
                  <a:cubicBezTo>
                    <a:pt x="1254278" y="257899"/>
                    <a:pt x="1271764" y="275398"/>
                    <a:pt x="1271764" y="296985"/>
                  </a:cubicBezTo>
                  <a:cubicBezTo>
                    <a:pt x="1271764" y="318571"/>
                    <a:pt x="1254278" y="336070"/>
                    <a:pt x="1232690" y="336070"/>
                  </a:cubicBezTo>
                  <a:cubicBezTo>
                    <a:pt x="1211099" y="336070"/>
                    <a:pt x="1193607" y="318571"/>
                    <a:pt x="1193607" y="296985"/>
                  </a:cubicBezTo>
                  <a:cubicBezTo>
                    <a:pt x="1193607" y="275398"/>
                    <a:pt x="1211099" y="257899"/>
                    <a:pt x="1232690" y="257899"/>
                  </a:cubicBezTo>
                  <a:close/>
                  <a:moveTo>
                    <a:pt x="1516605" y="175085"/>
                  </a:moveTo>
                  <a:cubicBezTo>
                    <a:pt x="1538188" y="175085"/>
                    <a:pt x="1555690" y="192585"/>
                    <a:pt x="1555690" y="214170"/>
                  </a:cubicBezTo>
                  <a:cubicBezTo>
                    <a:pt x="1555690" y="235758"/>
                    <a:pt x="1538188" y="253265"/>
                    <a:pt x="1516605" y="253265"/>
                  </a:cubicBezTo>
                  <a:cubicBezTo>
                    <a:pt x="1495013" y="253265"/>
                    <a:pt x="1477512" y="235758"/>
                    <a:pt x="1477512" y="214170"/>
                  </a:cubicBezTo>
                  <a:cubicBezTo>
                    <a:pt x="1477512" y="192585"/>
                    <a:pt x="1495013" y="175085"/>
                    <a:pt x="1516605" y="175085"/>
                  </a:cubicBezTo>
                  <a:close/>
                  <a:moveTo>
                    <a:pt x="1419600" y="175085"/>
                  </a:moveTo>
                  <a:cubicBezTo>
                    <a:pt x="1441183" y="175085"/>
                    <a:pt x="1458689" y="192585"/>
                    <a:pt x="1458689" y="214170"/>
                  </a:cubicBezTo>
                  <a:cubicBezTo>
                    <a:pt x="1458689" y="235758"/>
                    <a:pt x="1441183" y="253265"/>
                    <a:pt x="1419600" y="253265"/>
                  </a:cubicBezTo>
                  <a:cubicBezTo>
                    <a:pt x="1398003" y="253265"/>
                    <a:pt x="1380502" y="235758"/>
                    <a:pt x="1380502" y="214170"/>
                  </a:cubicBezTo>
                  <a:cubicBezTo>
                    <a:pt x="1380502" y="192585"/>
                    <a:pt x="1398003" y="175085"/>
                    <a:pt x="1419600" y="175085"/>
                  </a:cubicBezTo>
                  <a:close/>
                  <a:moveTo>
                    <a:pt x="1329683" y="175085"/>
                  </a:moveTo>
                  <a:cubicBezTo>
                    <a:pt x="1351272" y="175085"/>
                    <a:pt x="1368775" y="192585"/>
                    <a:pt x="1368775" y="214170"/>
                  </a:cubicBezTo>
                  <a:cubicBezTo>
                    <a:pt x="1368775" y="235758"/>
                    <a:pt x="1351272" y="253265"/>
                    <a:pt x="1329683" y="253265"/>
                  </a:cubicBezTo>
                  <a:cubicBezTo>
                    <a:pt x="1308100" y="253265"/>
                    <a:pt x="1290601" y="235758"/>
                    <a:pt x="1290601" y="214170"/>
                  </a:cubicBezTo>
                  <a:cubicBezTo>
                    <a:pt x="1290601" y="192585"/>
                    <a:pt x="1308100" y="175085"/>
                    <a:pt x="1329683" y="175085"/>
                  </a:cubicBezTo>
                  <a:close/>
                  <a:moveTo>
                    <a:pt x="1232690" y="175085"/>
                  </a:moveTo>
                  <a:cubicBezTo>
                    <a:pt x="1254278" y="175085"/>
                    <a:pt x="1271764" y="192585"/>
                    <a:pt x="1271764" y="214170"/>
                  </a:cubicBezTo>
                  <a:cubicBezTo>
                    <a:pt x="1271764" y="235758"/>
                    <a:pt x="1254278" y="253265"/>
                    <a:pt x="1232690" y="253265"/>
                  </a:cubicBezTo>
                  <a:cubicBezTo>
                    <a:pt x="1211099" y="253265"/>
                    <a:pt x="1193607" y="235758"/>
                    <a:pt x="1193607" y="214170"/>
                  </a:cubicBezTo>
                  <a:cubicBezTo>
                    <a:pt x="1193607" y="192585"/>
                    <a:pt x="1211099" y="175085"/>
                    <a:pt x="1232690" y="175085"/>
                  </a:cubicBezTo>
                  <a:close/>
                  <a:moveTo>
                    <a:pt x="1045751" y="175085"/>
                  </a:moveTo>
                  <a:cubicBezTo>
                    <a:pt x="1067337" y="175085"/>
                    <a:pt x="1084842" y="192585"/>
                    <a:pt x="1084842" y="214172"/>
                  </a:cubicBezTo>
                  <a:cubicBezTo>
                    <a:pt x="1084842" y="235758"/>
                    <a:pt x="1067337" y="253265"/>
                    <a:pt x="1045751" y="253265"/>
                  </a:cubicBezTo>
                  <a:cubicBezTo>
                    <a:pt x="1024168" y="253265"/>
                    <a:pt x="1006670" y="235758"/>
                    <a:pt x="1006670" y="214172"/>
                  </a:cubicBezTo>
                  <a:cubicBezTo>
                    <a:pt x="1006670" y="192585"/>
                    <a:pt x="1024168" y="175085"/>
                    <a:pt x="1045751" y="175085"/>
                  </a:cubicBezTo>
                  <a:close/>
                  <a:moveTo>
                    <a:pt x="951129" y="175085"/>
                  </a:moveTo>
                  <a:cubicBezTo>
                    <a:pt x="972708" y="175085"/>
                    <a:pt x="990205" y="192585"/>
                    <a:pt x="990205" y="214172"/>
                  </a:cubicBezTo>
                  <a:cubicBezTo>
                    <a:pt x="990205" y="235758"/>
                    <a:pt x="972708" y="253265"/>
                    <a:pt x="951129" y="253265"/>
                  </a:cubicBezTo>
                  <a:cubicBezTo>
                    <a:pt x="929543" y="253265"/>
                    <a:pt x="912045" y="235758"/>
                    <a:pt x="912045" y="214172"/>
                  </a:cubicBezTo>
                  <a:cubicBezTo>
                    <a:pt x="912045" y="192585"/>
                    <a:pt x="929543" y="175085"/>
                    <a:pt x="951129" y="175085"/>
                  </a:cubicBezTo>
                  <a:close/>
                  <a:moveTo>
                    <a:pt x="856503" y="175085"/>
                  </a:moveTo>
                  <a:cubicBezTo>
                    <a:pt x="878086" y="175085"/>
                    <a:pt x="895582" y="192585"/>
                    <a:pt x="895582" y="214172"/>
                  </a:cubicBezTo>
                  <a:cubicBezTo>
                    <a:pt x="895582" y="235758"/>
                    <a:pt x="878086" y="253265"/>
                    <a:pt x="856503" y="253265"/>
                  </a:cubicBezTo>
                  <a:cubicBezTo>
                    <a:pt x="834919" y="253265"/>
                    <a:pt x="817422" y="235758"/>
                    <a:pt x="817422" y="214172"/>
                  </a:cubicBezTo>
                  <a:cubicBezTo>
                    <a:pt x="817422" y="192585"/>
                    <a:pt x="834919" y="175085"/>
                    <a:pt x="856503" y="175085"/>
                  </a:cubicBezTo>
                  <a:close/>
                  <a:moveTo>
                    <a:pt x="764243" y="175085"/>
                  </a:moveTo>
                  <a:cubicBezTo>
                    <a:pt x="785830" y="175085"/>
                    <a:pt x="803326" y="192585"/>
                    <a:pt x="803326" y="214172"/>
                  </a:cubicBezTo>
                  <a:cubicBezTo>
                    <a:pt x="803326" y="235758"/>
                    <a:pt x="785830" y="253265"/>
                    <a:pt x="764243" y="253265"/>
                  </a:cubicBezTo>
                  <a:cubicBezTo>
                    <a:pt x="742651" y="253265"/>
                    <a:pt x="725161" y="235758"/>
                    <a:pt x="725161" y="214172"/>
                  </a:cubicBezTo>
                  <a:cubicBezTo>
                    <a:pt x="725161" y="192585"/>
                    <a:pt x="742651" y="175085"/>
                    <a:pt x="764243" y="175085"/>
                  </a:cubicBezTo>
                  <a:close/>
                  <a:moveTo>
                    <a:pt x="2831988" y="175085"/>
                  </a:moveTo>
                  <a:cubicBezTo>
                    <a:pt x="2853575" y="175085"/>
                    <a:pt x="2871075" y="192585"/>
                    <a:pt x="2871075" y="214170"/>
                  </a:cubicBezTo>
                  <a:cubicBezTo>
                    <a:pt x="2871075" y="235758"/>
                    <a:pt x="2853575" y="253265"/>
                    <a:pt x="2831988" y="253265"/>
                  </a:cubicBezTo>
                  <a:cubicBezTo>
                    <a:pt x="2810401" y="253265"/>
                    <a:pt x="2792901" y="235758"/>
                    <a:pt x="2792901" y="214170"/>
                  </a:cubicBezTo>
                  <a:cubicBezTo>
                    <a:pt x="2792901" y="192585"/>
                    <a:pt x="2810401" y="175085"/>
                    <a:pt x="2831988" y="175085"/>
                  </a:cubicBezTo>
                  <a:close/>
                  <a:moveTo>
                    <a:pt x="2079618" y="175085"/>
                  </a:moveTo>
                  <a:cubicBezTo>
                    <a:pt x="2101211" y="175085"/>
                    <a:pt x="2118703" y="192585"/>
                    <a:pt x="2118703" y="214170"/>
                  </a:cubicBezTo>
                  <a:cubicBezTo>
                    <a:pt x="2118703" y="235758"/>
                    <a:pt x="2101211" y="253265"/>
                    <a:pt x="2079618" y="253265"/>
                  </a:cubicBezTo>
                  <a:cubicBezTo>
                    <a:pt x="2058036" y="253265"/>
                    <a:pt x="2040537" y="235758"/>
                    <a:pt x="2040537" y="214170"/>
                  </a:cubicBezTo>
                  <a:cubicBezTo>
                    <a:pt x="2040537" y="192585"/>
                    <a:pt x="2058036" y="175085"/>
                    <a:pt x="2079618" y="175085"/>
                  </a:cubicBezTo>
                  <a:close/>
                  <a:moveTo>
                    <a:pt x="1984973" y="175085"/>
                  </a:moveTo>
                  <a:cubicBezTo>
                    <a:pt x="2006565" y="175085"/>
                    <a:pt x="2024073" y="192585"/>
                    <a:pt x="2024073" y="214170"/>
                  </a:cubicBezTo>
                  <a:cubicBezTo>
                    <a:pt x="2024073" y="235758"/>
                    <a:pt x="2006565" y="253265"/>
                    <a:pt x="1984973" y="253265"/>
                  </a:cubicBezTo>
                  <a:cubicBezTo>
                    <a:pt x="1963378" y="253265"/>
                    <a:pt x="1945875" y="235758"/>
                    <a:pt x="1945875" y="214170"/>
                  </a:cubicBezTo>
                  <a:cubicBezTo>
                    <a:pt x="1945875" y="192585"/>
                    <a:pt x="1963378" y="175085"/>
                    <a:pt x="1984973" y="175085"/>
                  </a:cubicBezTo>
                  <a:close/>
                  <a:moveTo>
                    <a:pt x="1890340" y="175085"/>
                  </a:moveTo>
                  <a:cubicBezTo>
                    <a:pt x="1911917" y="175085"/>
                    <a:pt x="1929413" y="192585"/>
                    <a:pt x="1929413" y="214170"/>
                  </a:cubicBezTo>
                  <a:cubicBezTo>
                    <a:pt x="1929413" y="235758"/>
                    <a:pt x="1911917" y="253265"/>
                    <a:pt x="1890340" y="253265"/>
                  </a:cubicBezTo>
                  <a:cubicBezTo>
                    <a:pt x="1868762" y="253265"/>
                    <a:pt x="1851255" y="235758"/>
                    <a:pt x="1851255" y="214170"/>
                  </a:cubicBezTo>
                  <a:cubicBezTo>
                    <a:pt x="1851255" y="192585"/>
                    <a:pt x="1868762" y="175085"/>
                    <a:pt x="1890340" y="175085"/>
                  </a:cubicBezTo>
                  <a:close/>
                  <a:moveTo>
                    <a:pt x="1798073" y="175085"/>
                  </a:moveTo>
                  <a:cubicBezTo>
                    <a:pt x="1819663" y="175085"/>
                    <a:pt x="1837149" y="192585"/>
                    <a:pt x="1837149" y="214170"/>
                  </a:cubicBezTo>
                  <a:cubicBezTo>
                    <a:pt x="1837149" y="235758"/>
                    <a:pt x="1819663" y="253265"/>
                    <a:pt x="1798073" y="253265"/>
                  </a:cubicBezTo>
                  <a:cubicBezTo>
                    <a:pt x="1776483" y="253265"/>
                    <a:pt x="1758966" y="235758"/>
                    <a:pt x="1758966" y="214170"/>
                  </a:cubicBezTo>
                  <a:cubicBezTo>
                    <a:pt x="1758966" y="192585"/>
                    <a:pt x="1776483" y="175085"/>
                    <a:pt x="1798073" y="175085"/>
                  </a:cubicBezTo>
                  <a:close/>
                  <a:moveTo>
                    <a:pt x="1703435" y="175085"/>
                  </a:moveTo>
                  <a:cubicBezTo>
                    <a:pt x="1725015" y="175085"/>
                    <a:pt x="1742524" y="192585"/>
                    <a:pt x="1742524" y="214170"/>
                  </a:cubicBezTo>
                  <a:cubicBezTo>
                    <a:pt x="1742524" y="235758"/>
                    <a:pt x="1725015" y="253265"/>
                    <a:pt x="1703435" y="253265"/>
                  </a:cubicBezTo>
                  <a:cubicBezTo>
                    <a:pt x="1681841" y="253265"/>
                    <a:pt x="1664351" y="235758"/>
                    <a:pt x="1664351" y="214170"/>
                  </a:cubicBezTo>
                  <a:cubicBezTo>
                    <a:pt x="1664351" y="192585"/>
                    <a:pt x="1681841" y="175085"/>
                    <a:pt x="1703435" y="175085"/>
                  </a:cubicBezTo>
                  <a:close/>
                  <a:moveTo>
                    <a:pt x="1611151" y="175085"/>
                  </a:moveTo>
                  <a:cubicBezTo>
                    <a:pt x="1632741" y="175085"/>
                    <a:pt x="1650245" y="192585"/>
                    <a:pt x="1650245" y="214170"/>
                  </a:cubicBezTo>
                  <a:cubicBezTo>
                    <a:pt x="1650245" y="235758"/>
                    <a:pt x="1632741" y="253265"/>
                    <a:pt x="1611151" y="253265"/>
                  </a:cubicBezTo>
                  <a:cubicBezTo>
                    <a:pt x="1589656" y="253265"/>
                    <a:pt x="1572158" y="235758"/>
                    <a:pt x="1572158" y="214170"/>
                  </a:cubicBezTo>
                  <a:cubicBezTo>
                    <a:pt x="1572158" y="192585"/>
                    <a:pt x="1589656" y="175085"/>
                    <a:pt x="1611151" y="175085"/>
                  </a:cubicBezTo>
                  <a:close/>
                  <a:moveTo>
                    <a:pt x="798955" y="113714"/>
                  </a:moveTo>
                  <a:lnTo>
                    <a:pt x="803326" y="124268"/>
                  </a:lnTo>
                  <a:cubicBezTo>
                    <a:pt x="803326" y="145855"/>
                    <a:pt x="785830" y="163353"/>
                    <a:pt x="764243" y="163353"/>
                  </a:cubicBezTo>
                  <a:lnTo>
                    <a:pt x="738461" y="152674"/>
                  </a:lnTo>
                  <a:lnTo>
                    <a:pt x="754212" y="140896"/>
                  </a:lnTo>
                  <a:close/>
                  <a:moveTo>
                    <a:pt x="2904918" y="93195"/>
                  </a:moveTo>
                  <a:lnTo>
                    <a:pt x="2961886" y="127804"/>
                  </a:lnTo>
                  <a:lnTo>
                    <a:pt x="2951903" y="151905"/>
                  </a:lnTo>
                  <a:cubicBezTo>
                    <a:pt x="2944829" y="158978"/>
                    <a:pt x="2935058" y="163353"/>
                    <a:pt x="2924264" y="163353"/>
                  </a:cubicBezTo>
                  <a:cubicBezTo>
                    <a:pt x="2902677" y="163353"/>
                    <a:pt x="2885177" y="145855"/>
                    <a:pt x="2885177" y="124267"/>
                  </a:cubicBezTo>
                  <a:cubicBezTo>
                    <a:pt x="2885177" y="113475"/>
                    <a:pt x="2889552" y="103703"/>
                    <a:pt x="2896625" y="96630"/>
                  </a:cubicBezTo>
                  <a:close/>
                  <a:moveTo>
                    <a:pt x="2831988" y="85181"/>
                  </a:moveTo>
                  <a:cubicBezTo>
                    <a:pt x="2853575" y="85181"/>
                    <a:pt x="2871075" y="102682"/>
                    <a:pt x="2871075" y="124267"/>
                  </a:cubicBezTo>
                  <a:cubicBezTo>
                    <a:pt x="2871075" y="145855"/>
                    <a:pt x="2853575" y="163353"/>
                    <a:pt x="2831988" y="163353"/>
                  </a:cubicBezTo>
                  <a:cubicBezTo>
                    <a:pt x="2810401" y="163353"/>
                    <a:pt x="2792901" y="145855"/>
                    <a:pt x="2792901" y="124267"/>
                  </a:cubicBezTo>
                  <a:cubicBezTo>
                    <a:pt x="2792901" y="102682"/>
                    <a:pt x="2810401" y="85181"/>
                    <a:pt x="2831988" y="85181"/>
                  </a:cubicBezTo>
                  <a:close/>
                  <a:moveTo>
                    <a:pt x="2171887" y="85181"/>
                  </a:moveTo>
                  <a:cubicBezTo>
                    <a:pt x="2193477" y="85181"/>
                    <a:pt x="2210981" y="102682"/>
                    <a:pt x="2210981" y="124267"/>
                  </a:cubicBezTo>
                  <a:cubicBezTo>
                    <a:pt x="2210981" y="145855"/>
                    <a:pt x="2193477" y="163353"/>
                    <a:pt x="2171887" y="163353"/>
                  </a:cubicBezTo>
                  <a:cubicBezTo>
                    <a:pt x="2150295" y="163353"/>
                    <a:pt x="2132800" y="145855"/>
                    <a:pt x="2132800" y="124267"/>
                  </a:cubicBezTo>
                  <a:cubicBezTo>
                    <a:pt x="2132800" y="102682"/>
                    <a:pt x="2150295" y="85181"/>
                    <a:pt x="2171887" y="85181"/>
                  </a:cubicBezTo>
                  <a:close/>
                  <a:moveTo>
                    <a:pt x="2079618" y="85181"/>
                  </a:moveTo>
                  <a:cubicBezTo>
                    <a:pt x="2101211" y="85181"/>
                    <a:pt x="2118703" y="102682"/>
                    <a:pt x="2118703" y="124267"/>
                  </a:cubicBezTo>
                  <a:cubicBezTo>
                    <a:pt x="2118703" y="145855"/>
                    <a:pt x="2101211" y="163353"/>
                    <a:pt x="2079618" y="163353"/>
                  </a:cubicBezTo>
                  <a:cubicBezTo>
                    <a:pt x="2058036" y="163353"/>
                    <a:pt x="2040537" y="145855"/>
                    <a:pt x="2040537" y="124267"/>
                  </a:cubicBezTo>
                  <a:cubicBezTo>
                    <a:pt x="2040537" y="102682"/>
                    <a:pt x="2058036" y="85181"/>
                    <a:pt x="2079618" y="85181"/>
                  </a:cubicBezTo>
                  <a:close/>
                  <a:moveTo>
                    <a:pt x="1984973" y="85181"/>
                  </a:moveTo>
                  <a:cubicBezTo>
                    <a:pt x="2006565" y="85181"/>
                    <a:pt x="2024073" y="102682"/>
                    <a:pt x="2024073" y="124268"/>
                  </a:cubicBezTo>
                  <a:cubicBezTo>
                    <a:pt x="2024073" y="145855"/>
                    <a:pt x="2006565" y="163353"/>
                    <a:pt x="1984973" y="163353"/>
                  </a:cubicBezTo>
                  <a:cubicBezTo>
                    <a:pt x="1963378" y="163353"/>
                    <a:pt x="1945875" y="145855"/>
                    <a:pt x="1945875" y="124268"/>
                  </a:cubicBezTo>
                  <a:cubicBezTo>
                    <a:pt x="1945875" y="102682"/>
                    <a:pt x="1963378" y="85181"/>
                    <a:pt x="1984973" y="85181"/>
                  </a:cubicBezTo>
                  <a:close/>
                  <a:moveTo>
                    <a:pt x="1890340" y="85181"/>
                  </a:moveTo>
                  <a:cubicBezTo>
                    <a:pt x="1911917" y="85181"/>
                    <a:pt x="1929413" y="102682"/>
                    <a:pt x="1929413" y="124268"/>
                  </a:cubicBezTo>
                  <a:cubicBezTo>
                    <a:pt x="1929413" y="145855"/>
                    <a:pt x="1911917" y="163353"/>
                    <a:pt x="1890340" y="163353"/>
                  </a:cubicBezTo>
                  <a:cubicBezTo>
                    <a:pt x="1868762" y="163353"/>
                    <a:pt x="1851255" y="145855"/>
                    <a:pt x="1851255" y="124268"/>
                  </a:cubicBezTo>
                  <a:cubicBezTo>
                    <a:pt x="1851255" y="102682"/>
                    <a:pt x="1868762" y="85181"/>
                    <a:pt x="1890340" y="85181"/>
                  </a:cubicBezTo>
                  <a:close/>
                  <a:moveTo>
                    <a:pt x="1798073" y="85181"/>
                  </a:moveTo>
                  <a:cubicBezTo>
                    <a:pt x="1819663" y="85181"/>
                    <a:pt x="1837149" y="102682"/>
                    <a:pt x="1837149" y="124268"/>
                  </a:cubicBezTo>
                  <a:cubicBezTo>
                    <a:pt x="1837149" y="145855"/>
                    <a:pt x="1819663" y="163353"/>
                    <a:pt x="1798073" y="163353"/>
                  </a:cubicBezTo>
                  <a:cubicBezTo>
                    <a:pt x="1776483" y="163353"/>
                    <a:pt x="1758966" y="145855"/>
                    <a:pt x="1758966" y="124268"/>
                  </a:cubicBezTo>
                  <a:cubicBezTo>
                    <a:pt x="1758966" y="102682"/>
                    <a:pt x="1776483" y="85181"/>
                    <a:pt x="1798073" y="85181"/>
                  </a:cubicBezTo>
                  <a:close/>
                  <a:moveTo>
                    <a:pt x="1703435" y="85181"/>
                  </a:moveTo>
                  <a:cubicBezTo>
                    <a:pt x="1725015" y="85181"/>
                    <a:pt x="1742524" y="102682"/>
                    <a:pt x="1742524" y="124268"/>
                  </a:cubicBezTo>
                  <a:cubicBezTo>
                    <a:pt x="1742524" y="145855"/>
                    <a:pt x="1725015" y="163353"/>
                    <a:pt x="1703435" y="163353"/>
                  </a:cubicBezTo>
                  <a:cubicBezTo>
                    <a:pt x="1681841" y="163353"/>
                    <a:pt x="1664351" y="145855"/>
                    <a:pt x="1664351" y="124268"/>
                  </a:cubicBezTo>
                  <a:cubicBezTo>
                    <a:pt x="1664351" y="102682"/>
                    <a:pt x="1681841" y="85181"/>
                    <a:pt x="1703435" y="85181"/>
                  </a:cubicBezTo>
                  <a:close/>
                  <a:moveTo>
                    <a:pt x="1611151" y="85181"/>
                  </a:moveTo>
                  <a:cubicBezTo>
                    <a:pt x="1632741" y="85181"/>
                    <a:pt x="1650245" y="102683"/>
                    <a:pt x="1650245" y="124268"/>
                  </a:cubicBezTo>
                  <a:cubicBezTo>
                    <a:pt x="1650245" y="145855"/>
                    <a:pt x="1632741" y="163353"/>
                    <a:pt x="1611151" y="163353"/>
                  </a:cubicBezTo>
                  <a:cubicBezTo>
                    <a:pt x="1589656" y="163353"/>
                    <a:pt x="1572160" y="145855"/>
                    <a:pt x="1572160" y="124268"/>
                  </a:cubicBezTo>
                  <a:cubicBezTo>
                    <a:pt x="1572160" y="102683"/>
                    <a:pt x="1589656" y="85181"/>
                    <a:pt x="1611151" y="85181"/>
                  </a:cubicBezTo>
                  <a:close/>
                  <a:moveTo>
                    <a:pt x="1516607" y="85181"/>
                  </a:moveTo>
                  <a:cubicBezTo>
                    <a:pt x="1538188" y="85181"/>
                    <a:pt x="1555693" y="102683"/>
                    <a:pt x="1555693" y="124268"/>
                  </a:cubicBezTo>
                  <a:cubicBezTo>
                    <a:pt x="1555693" y="145855"/>
                    <a:pt x="1538188" y="163353"/>
                    <a:pt x="1516607" y="163353"/>
                  </a:cubicBezTo>
                  <a:cubicBezTo>
                    <a:pt x="1495014" y="163353"/>
                    <a:pt x="1477512" y="145855"/>
                    <a:pt x="1477512" y="124268"/>
                  </a:cubicBezTo>
                  <a:cubicBezTo>
                    <a:pt x="1477512" y="102683"/>
                    <a:pt x="1495014" y="85181"/>
                    <a:pt x="1516607" y="85181"/>
                  </a:cubicBezTo>
                  <a:close/>
                  <a:moveTo>
                    <a:pt x="1419600" y="85181"/>
                  </a:moveTo>
                  <a:cubicBezTo>
                    <a:pt x="1441183" y="85181"/>
                    <a:pt x="1458689" y="102683"/>
                    <a:pt x="1458689" y="124268"/>
                  </a:cubicBezTo>
                  <a:cubicBezTo>
                    <a:pt x="1458689" y="145855"/>
                    <a:pt x="1441183" y="163353"/>
                    <a:pt x="1419600" y="163353"/>
                  </a:cubicBezTo>
                  <a:cubicBezTo>
                    <a:pt x="1398003" y="163353"/>
                    <a:pt x="1380504" y="145855"/>
                    <a:pt x="1380504" y="124268"/>
                  </a:cubicBezTo>
                  <a:cubicBezTo>
                    <a:pt x="1380504" y="102683"/>
                    <a:pt x="1398003" y="85181"/>
                    <a:pt x="1419600" y="85181"/>
                  </a:cubicBezTo>
                  <a:close/>
                  <a:moveTo>
                    <a:pt x="1329684" y="85181"/>
                  </a:moveTo>
                  <a:cubicBezTo>
                    <a:pt x="1351272" y="85181"/>
                    <a:pt x="1368775" y="102683"/>
                    <a:pt x="1368775" y="124268"/>
                  </a:cubicBezTo>
                  <a:cubicBezTo>
                    <a:pt x="1368775" y="145855"/>
                    <a:pt x="1351272" y="163353"/>
                    <a:pt x="1329684" y="163353"/>
                  </a:cubicBezTo>
                  <a:cubicBezTo>
                    <a:pt x="1308100" y="163353"/>
                    <a:pt x="1290604" y="145855"/>
                    <a:pt x="1290604" y="124268"/>
                  </a:cubicBezTo>
                  <a:cubicBezTo>
                    <a:pt x="1290604" y="102683"/>
                    <a:pt x="1308100" y="85181"/>
                    <a:pt x="1329684" y="85181"/>
                  </a:cubicBezTo>
                  <a:close/>
                  <a:moveTo>
                    <a:pt x="1142780" y="85181"/>
                  </a:moveTo>
                  <a:cubicBezTo>
                    <a:pt x="1164374" y="85181"/>
                    <a:pt x="1181872" y="102683"/>
                    <a:pt x="1181872" y="124268"/>
                  </a:cubicBezTo>
                  <a:cubicBezTo>
                    <a:pt x="1181872" y="145855"/>
                    <a:pt x="1164374" y="163353"/>
                    <a:pt x="1142780" y="163353"/>
                  </a:cubicBezTo>
                  <a:cubicBezTo>
                    <a:pt x="1121186" y="163353"/>
                    <a:pt x="1103680" y="145855"/>
                    <a:pt x="1103680" y="124268"/>
                  </a:cubicBezTo>
                  <a:cubicBezTo>
                    <a:pt x="1103680" y="102683"/>
                    <a:pt x="1121186" y="85181"/>
                    <a:pt x="1142780" y="85181"/>
                  </a:cubicBezTo>
                  <a:close/>
                  <a:moveTo>
                    <a:pt x="1045753" y="85181"/>
                  </a:moveTo>
                  <a:cubicBezTo>
                    <a:pt x="1067337" y="85181"/>
                    <a:pt x="1084842" y="102683"/>
                    <a:pt x="1084842" y="124268"/>
                  </a:cubicBezTo>
                  <a:cubicBezTo>
                    <a:pt x="1084842" y="145855"/>
                    <a:pt x="1067337" y="163353"/>
                    <a:pt x="1045753" y="163353"/>
                  </a:cubicBezTo>
                  <a:cubicBezTo>
                    <a:pt x="1024168" y="163353"/>
                    <a:pt x="1006670" y="145855"/>
                    <a:pt x="1006670" y="124268"/>
                  </a:cubicBezTo>
                  <a:cubicBezTo>
                    <a:pt x="1006670" y="102683"/>
                    <a:pt x="1024168" y="85181"/>
                    <a:pt x="1045753" y="85181"/>
                  </a:cubicBezTo>
                  <a:close/>
                  <a:moveTo>
                    <a:pt x="951129" y="85181"/>
                  </a:moveTo>
                  <a:cubicBezTo>
                    <a:pt x="972708" y="85181"/>
                    <a:pt x="990205" y="102683"/>
                    <a:pt x="990205" y="124268"/>
                  </a:cubicBezTo>
                  <a:cubicBezTo>
                    <a:pt x="990205" y="145855"/>
                    <a:pt x="972708" y="163353"/>
                    <a:pt x="951129" y="163353"/>
                  </a:cubicBezTo>
                  <a:cubicBezTo>
                    <a:pt x="929543" y="163353"/>
                    <a:pt x="912045" y="145855"/>
                    <a:pt x="912045" y="124268"/>
                  </a:cubicBezTo>
                  <a:cubicBezTo>
                    <a:pt x="912045" y="102683"/>
                    <a:pt x="929543" y="85181"/>
                    <a:pt x="951129" y="85181"/>
                  </a:cubicBezTo>
                  <a:close/>
                  <a:moveTo>
                    <a:pt x="856503" y="85181"/>
                  </a:moveTo>
                  <a:cubicBezTo>
                    <a:pt x="878086" y="85181"/>
                    <a:pt x="895582" y="102683"/>
                    <a:pt x="895582" y="124268"/>
                  </a:cubicBezTo>
                  <a:cubicBezTo>
                    <a:pt x="895582" y="145855"/>
                    <a:pt x="878086" y="163353"/>
                    <a:pt x="856503" y="163353"/>
                  </a:cubicBezTo>
                  <a:cubicBezTo>
                    <a:pt x="834921" y="163353"/>
                    <a:pt x="817424" y="145855"/>
                    <a:pt x="817424" y="124268"/>
                  </a:cubicBezTo>
                  <a:cubicBezTo>
                    <a:pt x="817424" y="102683"/>
                    <a:pt x="834921" y="85181"/>
                    <a:pt x="856503" y="85181"/>
                  </a:cubicBezTo>
                  <a:close/>
                  <a:moveTo>
                    <a:pt x="978967" y="11950"/>
                  </a:moveTo>
                  <a:lnTo>
                    <a:pt x="990205" y="39087"/>
                  </a:lnTo>
                  <a:cubicBezTo>
                    <a:pt x="990205" y="60674"/>
                    <a:pt x="972708" y="78173"/>
                    <a:pt x="951129" y="78173"/>
                  </a:cubicBezTo>
                  <a:cubicBezTo>
                    <a:pt x="940336" y="78173"/>
                    <a:pt x="930565" y="73798"/>
                    <a:pt x="923492" y="66725"/>
                  </a:cubicBezTo>
                  <a:lnTo>
                    <a:pt x="914005" y="43819"/>
                  </a:lnTo>
                  <a:lnTo>
                    <a:pt x="918580" y="41040"/>
                  </a:lnTo>
                  <a:close/>
                  <a:moveTo>
                    <a:pt x="2266537" y="0"/>
                  </a:moveTo>
                  <a:cubicBezTo>
                    <a:pt x="2288118" y="0"/>
                    <a:pt x="2305619" y="17499"/>
                    <a:pt x="2305619" y="39087"/>
                  </a:cubicBezTo>
                  <a:cubicBezTo>
                    <a:pt x="2305619" y="60673"/>
                    <a:pt x="2288118" y="78173"/>
                    <a:pt x="2266537" y="78173"/>
                  </a:cubicBezTo>
                  <a:cubicBezTo>
                    <a:pt x="2244936" y="78173"/>
                    <a:pt x="2227443" y="60673"/>
                    <a:pt x="2227443" y="39087"/>
                  </a:cubicBezTo>
                  <a:cubicBezTo>
                    <a:pt x="2227443" y="17499"/>
                    <a:pt x="2244936" y="0"/>
                    <a:pt x="2266537" y="0"/>
                  </a:cubicBezTo>
                  <a:close/>
                  <a:moveTo>
                    <a:pt x="2171887" y="0"/>
                  </a:moveTo>
                  <a:cubicBezTo>
                    <a:pt x="2193477" y="0"/>
                    <a:pt x="2210981" y="17499"/>
                    <a:pt x="2210981" y="39087"/>
                  </a:cubicBezTo>
                  <a:cubicBezTo>
                    <a:pt x="2210981" y="60673"/>
                    <a:pt x="2193477" y="78173"/>
                    <a:pt x="2171887" y="78173"/>
                  </a:cubicBezTo>
                  <a:cubicBezTo>
                    <a:pt x="2150295" y="78173"/>
                    <a:pt x="2132800" y="60673"/>
                    <a:pt x="2132800" y="39087"/>
                  </a:cubicBezTo>
                  <a:cubicBezTo>
                    <a:pt x="2132800" y="17499"/>
                    <a:pt x="2150295" y="0"/>
                    <a:pt x="2171887" y="0"/>
                  </a:cubicBezTo>
                  <a:close/>
                  <a:moveTo>
                    <a:pt x="2079618" y="0"/>
                  </a:moveTo>
                  <a:cubicBezTo>
                    <a:pt x="2101211" y="0"/>
                    <a:pt x="2118703" y="17499"/>
                    <a:pt x="2118703" y="39087"/>
                  </a:cubicBezTo>
                  <a:cubicBezTo>
                    <a:pt x="2118703" y="60673"/>
                    <a:pt x="2101211" y="78173"/>
                    <a:pt x="2079618" y="78173"/>
                  </a:cubicBezTo>
                  <a:cubicBezTo>
                    <a:pt x="2058036" y="78173"/>
                    <a:pt x="2040537" y="60673"/>
                    <a:pt x="2040537" y="39087"/>
                  </a:cubicBezTo>
                  <a:cubicBezTo>
                    <a:pt x="2040537" y="17499"/>
                    <a:pt x="2058036" y="0"/>
                    <a:pt x="2079618" y="0"/>
                  </a:cubicBezTo>
                  <a:close/>
                  <a:moveTo>
                    <a:pt x="1984973" y="0"/>
                  </a:moveTo>
                  <a:cubicBezTo>
                    <a:pt x="2006565" y="0"/>
                    <a:pt x="2024073" y="17499"/>
                    <a:pt x="2024073" y="39087"/>
                  </a:cubicBezTo>
                  <a:cubicBezTo>
                    <a:pt x="2024073" y="60673"/>
                    <a:pt x="2006565" y="78173"/>
                    <a:pt x="1984973" y="78173"/>
                  </a:cubicBezTo>
                  <a:cubicBezTo>
                    <a:pt x="1963378" y="78173"/>
                    <a:pt x="1945875" y="60673"/>
                    <a:pt x="1945875" y="39087"/>
                  </a:cubicBezTo>
                  <a:cubicBezTo>
                    <a:pt x="1945875" y="17499"/>
                    <a:pt x="1963378" y="0"/>
                    <a:pt x="1984973" y="0"/>
                  </a:cubicBezTo>
                  <a:close/>
                  <a:moveTo>
                    <a:pt x="1890340" y="0"/>
                  </a:moveTo>
                  <a:cubicBezTo>
                    <a:pt x="1911917" y="0"/>
                    <a:pt x="1929413" y="17499"/>
                    <a:pt x="1929413" y="39087"/>
                  </a:cubicBezTo>
                  <a:cubicBezTo>
                    <a:pt x="1929413" y="60673"/>
                    <a:pt x="1911917" y="78173"/>
                    <a:pt x="1890340" y="78173"/>
                  </a:cubicBezTo>
                  <a:cubicBezTo>
                    <a:pt x="1868762" y="78173"/>
                    <a:pt x="1851255" y="60673"/>
                    <a:pt x="1851255" y="39087"/>
                  </a:cubicBezTo>
                  <a:cubicBezTo>
                    <a:pt x="1851255" y="17499"/>
                    <a:pt x="1868762" y="0"/>
                    <a:pt x="1890340" y="0"/>
                  </a:cubicBezTo>
                  <a:close/>
                  <a:moveTo>
                    <a:pt x="1798073" y="0"/>
                  </a:moveTo>
                  <a:cubicBezTo>
                    <a:pt x="1819663" y="0"/>
                    <a:pt x="1837149" y="17499"/>
                    <a:pt x="1837149" y="39087"/>
                  </a:cubicBezTo>
                  <a:cubicBezTo>
                    <a:pt x="1837149" y="60673"/>
                    <a:pt x="1819663" y="78173"/>
                    <a:pt x="1798073" y="78173"/>
                  </a:cubicBezTo>
                  <a:cubicBezTo>
                    <a:pt x="1776483" y="78173"/>
                    <a:pt x="1758966" y="60673"/>
                    <a:pt x="1758966" y="39087"/>
                  </a:cubicBezTo>
                  <a:cubicBezTo>
                    <a:pt x="1758966" y="17499"/>
                    <a:pt x="1776483" y="0"/>
                    <a:pt x="1798073" y="0"/>
                  </a:cubicBezTo>
                  <a:close/>
                  <a:moveTo>
                    <a:pt x="1703435" y="0"/>
                  </a:moveTo>
                  <a:cubicBezTo>
                    <a:pt x="1725015" y="0"/>
                    <a:pt x="1742524" y="17499"/>
                    <a:pt x="1742524" y="39087"/>
                  </a:cubicBezTo>
                  <a:cubicBezTo>
                    <a:pt x="1742524" y="60673"/>
                    <a:pt x="1725015" y="78173"/>
                    <a:pt x="1703435" y="78173"/>
                  </a:cubicBezTo>
                  <a:cubicBezTo>
                    <a:pt x="1681841" y="78173"/>
                    <a:pt x="1664351" y="60673"/>
                    <a:pt x="1664351" y="39087"/>
                  </a:cubicBezTo>
                  <a:cubicBezTo>
                    <a:pt x="1664351" y="17499"/>
                    <a:pt x="1681841" y="0"/>
                    <a:pt x="1703435" y="0"/>
                  </a:cubicBezTo>
                  <a:close/>
                  <a:moveTo>
                    <a:pt x="1611151" y="0"/>
                  </a:moveTo>
                  <a:cubicBezTo>
                    <a:pt x="1632741" y="0"/>
                    <a:pt x="1650245" y="17499"/>
                    <a:pt x="1650245" y="39087"/>
                  </a:cubicBezTo>
                  <a:cubicBezTo>
                    <a:pt x="1650245" y="60673"/>
                    <a:pt x="1632741" y="78173"/>
                    <a:pt x="1611151" y="78173"/>
                  </a:cubicBezTo>
                  <a:cubicBezTo>
                    <a:pt x="1589656" y="78173"/>
                    <a:pt x="1572160" y="60673"/>
                    <a:pt x="1572160" y="39087"/>
                  </a:cubicBezTo>
                  <a:cubicBezTo>
                    <a:pt x="1572160" y="17499"/>
                    <a:pt x="1589656" y="0"/>
                    <a:pt x="1611151" y="0"/>
                  </a:cubicBezTo>
                  <a:close/>
                  <a:moveTo>
                    <a:pt x="1516607" y="0"/>
                  </a:moveTo>
                  <a:cubicBezTo>
                    <a:pt x="1538188" y="0"/>
                    <a:pt x="1555693" y="17499"/>
                    <a:pt x="1555693" y="39087"/>
                  </a:cubicBezTo>
                  <a:cubicBezTo>
                    <a:pt x="1555693" y="60673"/>
                    <a:pt x="1538188" y="78173"/>
                    <a:pt x="1516607" y="78173"/>
                  </a:cubicBezTo>
                  <a:cubicBezTo>
                    <a:pt x="1495014" y="78173"/>
                    <a:pt x="1477512" y="60673"/>
                    <a:pt x="1477512" y="39087"/>
                  </a:cubicBezTo>
                  <a:cubicBezTo>
                    <a:pt x="1477512" y="17499"/>
                    <a:pt x="1495014" y="0"/>
                    <a:pt x="1516607" y="0"/>
                  </a:cubicBezTo>
                  <a:close/>
                  <a:moveTo>
                    <a:pt x="1232692" y="0"/>
                  </a:moveTo>
                  <a:cubicBezTo>
                    <a:pt x="1254278" y="0"/>
                    <a:pt x="1271765" y="17499"/>
                    <a:pt x="1271765" y="39087"/>
                  </a:cubicBezTo>
                  <a:cubicBezTo>
                    <a:pt x="1271765" y="60673"/>
                    <a:pt x="1254278" y="78173"/>
                    <a:pt x="1232692" y="78173"/>
                  </a:cubicBezTo>
                  <a:cubicBezTo>
                    <a:pt x="1211099" y="78173"/>
                    <a:pt x="1193607" y="60673"/>
                    <a:pt x="1193607" y="39087"/>
                  </a:cubicBezTo>
                  <a:cubicBezTo>
                    <a:pt x="1193607" y="17499"/>
                    <a:pt x="1211099" y="0"/>
                    <a:pt x="1232692" y="0"/>
                  </a:cubicBezTo>
                  <a:close/>
                  <a:moveTo>
                    <a:pt x="1142780" y="0"/>
                  </a:moveTo>
                  <a:cubicBezTo>
                    <a:pt x="1164374" y="0"/>
                    <a:pt x="1181872" y="17499"/>
                    <a:pt x="1181872" y="39087"/>
                  </a:cubicBezTo>
                  <a:cubicBezTo>
                    <a:pt x="1181872" y="60674"/>
                    <a:pt x="1164374" y="78173"/>
                    <a:pt x="1142780" y="78173"/>
                  </a:cubicBezTo>
                  <a:cubicBezTo>
                    <a:pt x="1121186" y="78173"/>
                    <a:pt x="1103680" y="60674"/>
                    <a:pt x="1103680" y="39087"/>
                  </a:cubicBezTo>
                  <a:cubicBezTo>
                    <a:pt x="1103680" y="17499"/>
                    <a:pt x="1121186" y="0"/>
                    <a:pt x="1142780" y="0"/>
                  </a:cubicBezTo>
                  <a:close/>
                  <a:moveTo>
                    <a:pt x="1045753" y="0"/>
                  </a:moveTo>
                  <a:cubicBezTo>
                    <a:pt x="1067337" y="0"/>
                    <a:pt x="1084842" y="17500"/>
                    <a:pt x="1084842" y="39087"/>
                  </a:cubicBezTo>
                  <a:cubicBezTo>
                    <a:pt x="1084842" y="60674"/>
                    <a:pt x="1067337" y="78173"/>
                    <a:pt x="1045753" y="78173"/>
                  </a:cubicBezTo>
                  <a:cubicBezTo>
                    <a:pt x="1024168" y="78173"/>
                    <a:pt x="1006670" y="60674"/>
                    <a:pt x="1006670" y="39087"/>
                  </a:cubicBezTo>
                  <a:cubicBezTo>
                    <a:pt x="1006670" y="17500"/>
                    <a:pt x="1024168" y="0"/>
                    <a:pt x="1045753" y="0"/>
                  </a:cubicBezTo>
                  <a:close/>
                </a:path>
              </a:pathLst>
            </a:custGeom>
            <a:solidFill>
              <a:srgbClr val="505050">
                <a:lumMod val="60000"/>
                <a:lumOff val="40000"/>
                <a:alpha val="53000"/>
              </a:srgb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lumMod val="75000"/>
                  </a:srgbClr>
                </a:solidFill>
                <a:latin typeface="Segoe UI Semilight"/>
              </a:endParaRPr>
            </a:p>
          </p:txBody>
        </p:sp>
        <p:sp>
          <p:nvSpPr>
            <p:cNvPr id="331" name="Freeform: Shape 262">
              <a:extLst>
                <a:ext uri="{FF2B5EF4-FFF2-40B4-BE49-F238E27FC236}">
                  <a16:creationId xmlns:a16="http://schemas.microsoft.com/office/drawing/2014/main" id="{01734865-19F7-44F8-B65C-397182C04441}"/>
                </a:ext>
              </a:extLst>
            </p:cNvPr>
            <p:cNvSpPr>
              <a:spLocks/>
            </p:cNvSpPr>
            <p:nvPr/>
          </p:nvSpPr>
          <p:spPr bwMode="auto">
            <a:xfrm>
              <a:off x="7739441" y="2829816"/>
              <a:ext cx="78158" cy="78173"/>
            </a:xfrm>
            <a:custGeom>
              <a:avLst/>
              <a:gdLst>
                <a:gd name="connsiteX0" fmla="*/ 39085 w 78158"/>
                <a:gd name="connsiteY0" fmla="*/ 0 h 78173"/>
                <a:gd name="connsiteX1" fmla="*/ 78158 w 78158"/>
                <a:gd name="connsiteY1" fmla="*/ 39087 h 78173"/>
                <a:gd name="connsiteX2" fmla="*/ 39085 w 78158"/>
                <a:gd name="connsiteY2" fmla="*/ 78173 h 78173"/>
                <a:gd name="connsiteX3" fmla="*/ 0 w 78158"/>
                <a:gd name="connsiteY3" fmla="*/ 39087 h 78173"/>
                <a:gd name="connsiteX4" fmla="*/ 39085 w 78158"/>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73">
                  <a:moveTo>
                    <a:pt x="39085" y="0"/>
                  </a:moveTo>
                  <a:cubicBezTo>
                    <a:pt x="60671" y="0"/>
                    <a:pt x="78158" y="17499"/>
                    <a:pt x="78158" y="39087"/>
                  </a:cubicBezTo>
                  <a:cubicBezTo>
                    <a:pt x="78158" y="60673"/>
                    <a:pt x="60671" y="78173"/>
                    <a:pt x="39085" y="78173"/>
                  </a:cubicBezTo>
                  <a:cubicBezTo>
                    <a:pt x="17492" y="78173"/>
                    <a:pt x="0" y="60673"/>
                    <a:pt x="0" y="39087"/>
                  </a:cubicBezTo>
                  <a:cubicBezTo>
                    <a:pt x="0" y="17499"/>
                    <a:pt x="17492"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32" name="Freeform: Shape 263">
              <a:extLst>
                <a:ext uri="{FF2B5EF4-FFF2-40B4-BE49-F238E27FC236}">
                  <a16:creationId xmlns:a16="http://schemas.microsoft.com/office/drawing/2014/main" id="{F696F3E5-819C-479D-8D97-F0824C2768B1}"/>
                </a:ext>
              </a:extLst>
            </p:cNvPr>
            <p:cNvSpPr>
              <a:spLocks/>
            </p:cNvSpPr>
            <p:nvPr/>
          </p:nvSpPr>
          <p:spPr bwMode="auto">
            <a:xfrm>
              <a:off x="8397089" y="2829816"/>
              <a:ext cx="78158" cy="78173"/>
            </a:xfrm>
            <a:custGeom>
              <a:avLst/>
              <a:gdLst>
                <a:gd name="connsiteX0" fmla="*/ 39085 w 78158"/>
                <a:gd name="connsiteY0" fmla="*/ 0 h 78173"/>
                <a:gd name="connsiteX1" fmla="*/ 78158 w 78158"/>
                <a:gd name="connsiteY1" fmla="*/ 39087 h 78173"/>
                <a:gd name="connsiteX2" fmla="*/ 39085 w 78158"/>
                <a:gd name="connsiteY2" fmla="*/ 78173 h 78173"/>
                <a:gd name="connsiteX3" fmla="*/ 0 w 78158"/>
                <a:gd name="connsiteY3" fmla="*/ 39087 h 78173"/>
                <a:gd name="connsiteX4" fmla="*/ 39085 w 78158"/>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73">
                  <a:moveTo>
                    <a:pt x="39085" y="0"/>
                  </a:moveTo>
                  <a:cubicBezTo>
                    <a:pt x="60662" y="0"/>
                    <a:pt x="78158" y="17499"/>
                    <a:pt x="78158" y="39087"/>
                  </a:cubicBezTo>
                  <a:cubicBezTo>
                    <a:pt x="78158" y="60673"/>
                    <a:pt x="60662" y="78173"/>
                    <a:pt x="39085" y="78173"/>
                  </a:cubicBezTo>
                  <a:cubicBezTo>
                    <a:pt x="17507" y="78173"/>
                    <a:pt x="0" y="60673"/>
                    <a:pt x="0" y="39087"/>
                  </a:cubicBezTo>
                  <a:cubicBezTo>
                    <a:pt x="0" y="17499"/>
                    <a:pt x="17507"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33" name="Freeform: Shape 264">
              <a:extLst>
                <a:ext uri="{FF2B5EF4-FFF2-40B4-BE49-F238E27FC236}">
                  <a16:creationId xmlns:a16="http://schemas.microsoft.com/office/drawing/2014/main" id="{BB740B0F-087C-427D-94B1-75FDF40ACFD2}"/>
                </a:ext>
              </a:extLst>
            </p:cNvPr>
            <p:cNvSpPr>
              <a:spLocks/>
            </p:cNvSpPr>
            <p:nvPr/>
          </p:nvSpPr>
          <p:spPr bwMode="auto">
            <a:xfrm>
              <a:off x="7552504" y="2914996"/>
              <a:ext cx="78172" cy="78172"/>
            </a:xfrm>
            <a:custGeom>
              <a:avLst/>
              <a:gdLst>
                <a:gd name="connsiteX0" fmla="*/ 39083 w 78172"/>
                <a:gd name="connsiteY0" fmla="*/ 0 h 78172"/>
                <a:gd name="connsiteX1" fmla="*/ 78172 w 78172"/>
                <a:gd name="connsiteY1" fmla="*/ 39087 h 78172"/>
                <a:gd name="connsiteX2" fmla="*/ 39083 w 78172"/>
                <a:gd name="connsiteY2" fmla="*/ 78172 h 78172"/>
                <a:gd name="connsiteX3" fmla="*/ 0 w 78172"/>
                <a:gd name="connsiteY3" fmla="*/ 39087 h 78172"/>
                <a:gd name="connsiteX4" fmla="*/ 39083 w 78172"/>
                <a:gd name="connsiteY4" fmla="*/ 0 h 7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2" h="78172">
                  <a:moveTo>
                    <a:pt x="39083" y="0"/>
                  </a:moveTo>
                  <a:cubicBezTo>
                    <a:pt x="60667" y="0"/>
                    <a:pt x="78172" y="17502"/>
                    <a:pt x="78172" y="39087"/>
                  </a:cubicBezTo>
                  <a:cubicBezTo>
                    <a:pt x="78172" y="60674"/>
                    <a:pt x="60667" y="78172"/>
                    <a:pt x="39083" y="78172"/>
                  </a:cubicBezTo>
                  <a:cubicBezTo>
                    <a:pt x="17498" y="78172"/>
                    <a:pt x="0" y="60674"/>
                    <a:pt x="0" y="39087"/>
                  </a:cubicBezTo>
                  <a:cubicBezTo>
                    <a:pt x="0" y="17502"/>
                    <a:pt x="17498" y="0"/>
                    <a:pt x="3908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34" name="Freeform: Shape 265">
              <a:extLst>
                <a:ext uri="{FF2B5EF4-FFF2-40B4-BE49-F238E27FC236}">
                  <a16:creationId xmlns:a16="http://schemas.microsoft.com/office/drawing/2014/main" id="{E5879FF3-AB55-4952-9356-1B36A991BA05}"/>
                </a:ext>
              </a:extLst>
            </p:cNvPr>
            <p:cNvSpPr>
              <a:spLocks/>
            </p:cNvSpPr>
            <p:nvPr/>
          </p:nvSpPr>
          <p:spPr bwMode="auto">
            <a:xfrm>
              <a:off x="7836438" y="2914996"/>
              <a:ext cx="78171" cy="78172"/>
            </a:xfrm>
            <a:custGeom>
              <a:avLst/>
              <a:gdLst>
                <a:gd name="connsiteX0" fmla="*/ 39080 w 78171"/>
                <a:gd name="connsiteY0" fmla="*/ 0 h 78172"/>
                <a:gd name="connsiteX1" fmla="*/ 78171 w 78171"/>
                <a:gd name="connsiteY1" fmla="*/ 39087 h 78172"/>
                <a:gd name="connsiteX2" fmla="*/ 39080 w 78171"/>
                <a:gd name="connsiteY2" fmla="*/ 78172 h 78172"/>
                <a:gd name="connsiteX3" fmla="*/ 0 w 78171"/>
                <a:gd name="connsiteY3" fmla="*/ 39087 h 78172"/>
                <a:gd name="connsiteX4" fmla="*/ 39080 w 78171"/>
                <a:gd name="connsiteY4" fmla="*/ 0 h 7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2">
                  <a:moveTo>
                    <a:pt x="39080" y="0"/>
                  </a:moveTo>
                  <a:cubicBezTo>
                    <a:pt x="60668" y="0"/>
                    <a:pt x="78171" y="17502"/>
                    <a:pt x="78171" y="39087"/>
                  </a:cubicBezTo>
                  <a:cubicBezTo>
                    <a:pt x="78171" y="60674"/>
                    <a:pt x="60668" y="78172"/>
                    <a:pt x="39080" y="78172"/>
                  </a:cubicBezTo>
                  <a:cubicBezTo>
                    <a:pt x="17496" y="78172"/>
                    <a:pt x="0" y="60674"/>
                    <a:pt x="0" y="39087"/>
                  </a:cubicBezTo>
                  <a:cubicBezTo>
                    <a:pt x="0" y="17502"/>
                    <a:pt x="17496" y="0"/>
                    <a:pt x="3908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35" name="Freeform: Shape 266">
              <a:extLst>
                <a:ext uri="{FF2B5EF4-FFF2-40B4-BE49-F238E27FC236}">
                  <a16:creationId xmlns:a16="http://schemas.microsoft.com/office/drawing/2014/main" id="{5E3C3857-FFBA-4D17-8B1E-2C6BC1DDD811}"/>
                </a:ext>
              </a:extLst>
            </p:cNvPr>
            <p:cNvSpPr>
              <a:spLocks/>
            </p:cNvSpPr>
            <p:nvPr/>
          </p:nvSpPr>
          <p:spPr bwMode="auto">
            <a:xfrm>
              <a:off x="8491709" y="2914996"/>
              <a:ext cx="78198" cy="78172"/>
            </a:xfrm>
            <a:custGeom>
              <a:avLst/>
              <a:gdLst>
                <a:gd name="connsiteX0" fmla="*/ 39098 w 78198"/>
                <a:gd name="connsiteY0" fmla="*/ 0 h 78172"/>
                <a:gd name="connsiteX1" fmla="*/ 78198 w 78198"/>
                <a:gd name="connsiteY1" fmla="*/ 39087 h 78172"/>
                <a:gd name="connsiteX2" fmla="*/ 39098 w 78198"/>
                <a:gd name="connsiteY2" fmla="*/ 78172 h 78172"/>
                <a:gd name="connsiteX3" fmla="*/ 0 w 78198"/>
                <a:gd name="connsiteY3" fmla="*/ 39087 h 78172"/>
                <a:gd name="connsiteX4" fmla="*/ 39098 w 78198"/>
                <a:gd name="connsiteY4" fmla="*/ 0 h 7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8" h="78172">
                  <a:moveTo>
                    <a:pt x="39098" y="0"/>
                  </a:moveTo>
                  <a:cubicBezTo>
                    <a:pt x="60690" y="0"/>
                    <a:pt x="78198" y="17501"/>
                    <a:pt x="78198" y="39087"/>
                  </a:cubicBezTo>
                  <a:cubicBezTo>
                    <a:pt x="78198" y="60674"/>
                    <a:pt x="60690" y="78172"/>
                    <a:pt x="39098" y="78172"/>
                  </a:cubicBezTo>
                  <a:cubicBezTo>
                    <a:pt x="17503" y="78172"/>
                    <a:pt x="0" y="60674"/>
                    <a:pt x="0" y="39087"/>
                  </a:cubicBezTo>
                  <a:cubicBezTo>
                    <a:pt x="0" y="17501"/>
                    <a:pt x="17503" y="0"/>
                    <a:pt x="3909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36" name="Freeform: Shape 267">
              <a:extLst>
                <a:ext uri="{FF2B5EF4-FFF2-40B4-BE49-F238E27FC236}">
                  <a16:creationId xmlns:a16="http://schemas.microsoft.com/office/drawing/2014/main" id="{7663B47B-9284-4C6F-AB78-5E081930C4F3}"/>
                </a:ext>
              </a:extLst>
            </p:cNvPr>
            <p:cNvSpPr>
              <a:spLocks/>
            </p:cNvSpPr>
            <p:nvPr/>
          </p:nvSpPr>
          <p:spPr bwMode="auto">
            <a:xfrm>
              <a:off x="8678634" y="2914996"/>
              <a:ext cx="78181" cy="78172"/>
            </a:xfrm>
            <a:custGeom>
              <a:avLst/>
              <a:gdLst>
                <a:gd name="connsiteX0" fmla="*/ 39087 w 78181"/>
                <a:gd name="connsiteY0" fmla="*/ 0 h 78172"/>
                <a:gd name="connsiteX1" fmla="*/ 78181 w 78181"/>
                <a:gd name="connsiteY1" fmla="*/ 39086 h 78172"/>
                <a:gd name="connsiteX2" fmla="*/ 39087 w 78181"/>
                <a:gd name="connsiteY2" fmla="*/ 78172 h 78172"/>
                <a:gd name="connsiteX3" fmla="*/ 0 w 78181"/>
                <a:gd name="connsiteY3" fmla="*/ 39086 h 78172"/>
                <a:gd name="connsiteX4" fmla="*/ 39087 w 78181"/>
                <a:gd name="connsiteY4" fmla="*/ 0 h 7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1" h="78172">
                  <a:moveTo>
                    <a:pt x="39087" y="0"/>
                  </a:moveTo>
                  <a:cubicBezTo>
                    <a:pt x="60677" y="0"/>
                    <a:pt x="78181" y="17501"/>
                    <a:pt x="78181" y="39086"/>
                  </a:cubicBezTo>
                  <a:cubicBezTo>
                    <a:pt x="78181" y="60674"/>
                    <a:pt x="60677" y="78172"/>
                    <a:pt x="39087" y="78172"/>
                  </a:cubicBezTo>
                  <a:cubicBezTo>
                    <a:pt x="17495" y="78172"/>
                    <a:pt x="0" y="60674"/>
                    <a:pt x="0" y="39086"/>
                  </a:cubicBezTo>
                  <a:cubicBezTo>
                    <a:pt x="0" y="17501"/>
                    <a:pt x="17495"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37" name="Freeform: Shape 268">
              <a:extLst>
                <a:ext uri="{FF2B5EF4-FFF2-40B4-BE49-F238E27FC236}">
                  <a16:creationId xmlns:a16="http://schemas.microsoft.com/office/drawing/2014/main" id="{B5EA6D37-4A90-492D-8503-C0118617C72A}"/>
                </a:ext>
              </a:extLst>
            </p:cNvPr>
            <p:cNvSpPr>
              <a:spLocks/>
            </p:cNvSpPr>
            <p:nvPr/>
          </p:nvSpPr>
          <p:spPr bwMode="auto">
            <a:xfrm>
              <a:off x="7739441" y="3004900"/>
              <a:ext cx="78157" cy="78180"/>
            </a:xfrm>
            <a:custGeom>
              <a:avLst/>
              <a:gdLst>
                <a:gd name="connsiteX0" fmla="*/ 39083 w 78157"/>
                <a:gd name="connsiteY0" fmla="*/ 0 h 78180"/>
                <a:gd name="connsiteX1" fmla="*/ 78157 w 78157"/>
                <a:gd name="connsiteY1" fmla="*/ 39085 h 78180"/>
                <a:gd name="connsiteX2" fmla="*/ 39083 w 78157"/>
                <a:gd name="connsiteY2" fmla="*/ 78180 h 78180"/>
                <a:gd name="connsiteX3" fmla="*/ 0 w 78157"/>
                <a:gd name="connsiteY3" fmla="*/ 39085 h 78180"/>
                <a:gd name="connsiteX4" fmla="*/ 39083 w 78157"/>
                <a:gd name="connsiteY4" fmla="*/ 0 h 78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7" h="78180">
                  <a:moveTo>
                    <a:pt x="39083" y="0"/>
                  </a:moveTo>
                  <a:cubicBezTo>
                    <a:pt x="60671" y="0"/>
                    <a:pt x="78157" y="17500"/>
                    <a:pt x="78157" y="39085"/>
                  </a:cubicBezTo>
                  <a:cubicBezTo>
                    <a:pt x="78157" y="60673"/>
                    <a:pt x="60671" y="78180"/>
                    <a:pt x="39083" y="78180"/>
                  </a:cubicBezTo>
                  <a:cubicBezTo>
                    <a:pt x="17492" y="78180"/>
                    <a:pt x="0" y="60673"/>
                    <a:pt x="0" y="39085"/>
                  </a:cubicBezTo>
                  <a:cubicBezTo>
                    <a:pt x="0" y="17500"/>
                    <a:pt x="17492" y="0"/>
                    <a:pt x="3908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38" name="Freeform: Shape 269">
              <a:extLst>
                <a:ext uri="{FF2B5EF4-FFF2-40B4-BE49-F238E27FC236}">
                  <a16:creationId xmlns:a16="http://schemas.microsoft.com/office/drawing/2014/main" id="{2D55F43E-B8C0-40FF-A63F-F1464BAA7851}"/>
                </a:ext>
              </a:extLst>
            </p:cNvPr>
            <p:cNvSpPr>
              <a:spLocks/>
            </p:cNvSpPr>
            <p:nvPr/>
          </p:nvSpPr>
          <p:spPr bwMode="auto">
            <a:xfrm>
              <a:off x="8397089" y="3004900"/>
              <a:ext cx="78158" cy="78180"/>
            </a:xfrm>
            <a:custGeom>
              <a:avLst/>
              <a:gdLst>
                <a:gd name="connsiteX0" fmla="*/ 39085 w 78158"/>
                <a:gd name="connsiteY0" fmla="*/ 0 h 78180"/>
                <a:gd name="connsiteX1" fmla="*/ 78158 w 78158"/>
                <a:gd name="connsiteY1" fmla="*/ 39085 h 78180"/>
                <a:gd name="connsiteX2" fmla="*/ 39085 w 78158"/>
                <a:gd name="connsiteY2" fmla="*/ 78180 h 78180"/>
                <a:gd name="connsiteX3" fmla="*/ 0 w 78158"/>
                <a:gd name="connsiteY3" fmla="*/ 39085 h 78180"/>
                <a:gd name="connsiteX4" fmla="*/ 39085 w 78158"/>
                <a:gd name="connsiteY4" fmla="*/ 0 h 78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80">
                  <a:moveTo>
                    <a:pt x="39085" y="0"/>
                  </a:moveTo>
                  <a:cubicBezTo>
                    <a:pt x="60662" y="0"/>
                    <a:pt x="78158" y="17500"/>
                    <a:pt x="78158" y="39085"/>
                  </a:cubicBezTo>
                  <a:cubicBezTo>
                    <a:pt x="78158" y="60673"/>
                    <a:pt x="60662" y="78180"/>
                    <a:pt x="39085" y="78180"/>
                  </a:cubicBezTo>
                  <a:cubicBezTo>
                    <a:pt x="17507" y="78180"/>
                    <a:pt x="0" y="60673"/>
                    <a:pt x="0" y="39085"/>
                  </a:cubicBezTo>
                  <a:cubicBezTo>
                    <a:pt x="0" y="17500"/>
                    <a:pt x="17507"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39" name="Freeform: Shape 270">
              <a:extLst>
                <a:ext uri="{FF2B5EF4-FFF2-40B4-BE49-F238E27FC236}">
                  <a16:creationId xmlns:a16="http://schemas.microsoft.com/office/drawing/2014/main" id="{887B612C-91DC-4471-9794-CFEB94559D78}"/>
                </a:ext>
              </a:extLst>
            </p:cNvPr>
            <p:cNvSpPr>
              <a:spLocks/>
            </p:cNvSpPr>
            <p:nvPr/>
          </p:nvSpPr>
          <p:spPr bwMode="auto">
            <a:xfrm>
              <a:off x="8491709" y="3004900"/>
              <a:ext cx="78198" cy="78180"/>
            </a:xfrm>
            <a:custGeom>
              <a:avLst/>
              <a:gdLst>
                <a:gd name="connsiteX0" fmla="*/ 39098 w 78198"/>
                <a:gd name="connsiteY0" fmla="*/ 0 h 78180"/>
                <a:gd name="connsiteX1" fmla="*/ 78198 w 78198"/>
                <a:gd name="connsiteY1" fmla="*/ 39085 h 78180"/>
                <a:gd name="connsiteX2" fmla="*/ 39098 w 78198"/>
                <a:gd name="connsiteY2" fmla="*/ 78180 h 78180"/>
                <a:gd name="connsiteX3" fmla="*/ 0 w 78198"/>
                <a:gd name="connsiteY3" fmla="*/ 39085 h 78180"/>
                <a:gd name="connsiteX4" fmla="*/ 39098 w 78198"/>
                <a:gd name="connsiteY4" fmla="*/ 0 h 78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8" h="78180">
                  <a:moveTo>
                    <a:pt x="39098" y="0"/>
                  </a:moveTo>
                  <a:cubicBezTo>
                    <a:pt x="60690" y="0"/>
                    <a:pt x="78198" y="17500"/>
                    <a:pt x="78198" y="39085"/>
                  </a:cubicBezTo>
                  <a:cubicBezTo>
                    <a:pt x="78198" y="60673"/>
                    <a:pt x="60690" y="78180"/>
                    <a:pt x="39098" y="78180"/>
                  </a:cubicBezTo>
                  <a:cubicBezTo>
                    <a:pt x="17503" y="78180"/>
                    <a:pt x="0" y="60673"/>
                    <a:pt x="0" y="39085"/>
                  </a:cubicBezTo>
                  <a:cubicBezTo>
                    <a:pt x="0" y="17500"/>
                    <a:pt x="17503" y="0"/>
                    <a:pt x="3909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40" name="Freeform: Shape 271">
              <a:extLst>
                <a:ext uri="{FF2B5EF4-FFF2-40B4-BE49-F238E27FC236}">
                  <a16:creationId xmlns:a16="http://schemas.microsoft.com/office/drawing/2014/main" id="{94F39DCB-1C5B-4B37-98AD-875B6A8B7C77}"/>
                </a:ext>
              </a:extLst>
            </p:cNvPr>
            <p:cNvSpPr>
              <a:spLocks/>
            </p:cNvSpPr>
            <p:nvPr/>
          </p:nvSpPr>
          <p:spPr bwMode="auto">
            <a:xfrm>
              <a:off x="9338735" y="3004900"/>
              <a:ext cx="78174" cy="78180"/>
            </a:xfrm>
            <a:custGeom>
              <a:avLst/>
              <a:gdLst>
                <a:gd name="connsiteX0" fmla="*/ 39087 w 78174"/>
                <a:gd name="connsiteY0" fmla="*/ 0 h 78180"/>
                <a:gd name="connsiteX1" fmla="*/ 78174 w 78174"/>
                <a:gd name="connsiteY1" fmla="*/ 39085 h 78180"/>
                <a:gd name="connsiteX2" fmla="*/ 39087 w 78174"/>
                <a:gd name="connsiteY2" fmla="*/ 78180 h 78180"/>
                <a:gd name="connsiteX3" fmla="*/ 0 w 78174"/>
                <a:gd name="connsiteY3" fmla="*/ 39085 h 78180"/>
                <a:gd name="connsiteX4" fmla="*/ 39087 w 78174"/>
                <a:gd name="connsiteY4" fmla="*/ 0 h 78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80">
                  <a:moveTo>
                    <a:pt x="39087" y="0"/>
                  </a:moveTo>
                  <a:cubicBezTo>
                    <a:pt x="60674" y="0"/>
                    <a:pt x="78174" y="17500"/>
                    <a:pt x="78174" y="39085"/>
                  </a:cubicBezTo>
                  <a:cubicBezTo>
                    <a:pt x="78174" y="60673"/>
                    <a:pt x="60674" y="78180"/>
                    <a:pt x="39087" y="78180"/>
                  </a:cubicBezTo>
                  <a:cubicBezTo>
                    <a:pt x="17500" y="78180"/>
                    <a:pt x="0" y="60673"/>
                    <a:pt x="0" y="39085"/>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41" name="Freeform: Shape 272">
              <a:extLst>
                <a:ext uri="{FF2B5EF4-FFF2-40B4-BE49-F238E27FC236}">
                  <a16:creationId xmlns:a16="http://schemas.microsoft.com/office/drawing/2014/main" id="{277E4104-0DF7-4023-AC52-4E2B934028F4}"/>
                </a:ext>
              </a:extLst>
            </p:cNvPr>
            <p:cNvSpPr>
              <a:spLocks/>
            </p:cNvSpPr>
            <p:nvPr/>
          </p:nvSpPr>
          <p:spPr bwMode="auto">
            <a:xfrm>
              <a:off x="7176354" y="3087715"/>
              <a:ext cx="78178" cy="78171"/>
            </a:xfrm>
            <a:custGeom>
              <a:avLst/>
              <a:gdLst>
                <a:gd name="connsiteX0" fmla="*/ 39077 w 78178"/>
                <a:gd name="connsiteY0" fmla="*/ 0 h 78171"/>
                <a:gd name="connsiteX1" fmla="*/ 78178 w 78178"/>
                <a:gd name="connsiteY1" fmla="*/ 39086 h 78171"/>
                <a:gd name="connsiteX2" fmla="*/ 39077 w 78178"/>
                <a:gd name="connsiteY2" fmla="*/ 78171 h 78171"/>
                <a:gd name="connsiteX3" fmla="*/ 0 w 78178"/>
                <a:gd name="connsiteY3" fmla="*/ 39086 h 78171"/>
                <a:gd name="connsiteX4" fmla="*/ 39077 w 78178"/>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8" h="78171">
                  <a:moveTo>
                    <a:pt x="39077" y="0"/>
                  </a:moveTo>
                  <a:cubicBezTo>
                    <a:pt x="60680" y="0"/>
                    <a:pt x="78178" y="17499"/>
                    <a:pt x="78178" y="39086"/>
                  </a:cubicBezTo>
                  <a:cubicBezTo>
                    <a:pt x="78178" y="60672"/>
                    <a:pt x="60680" y="78171"/>
                    <a:pt x="39077" y="78171"/>
                  </a:cubicBezTo>
                  <a:cubicBezTo>
                    <a:pt x="17504" y="78171"/>
                    <a:pt x="0" y="60672"/>
                    <a:pt x="0" y="39086"/>
                  </a:cubicBezTo>
                  <a:cubicBezTo>
                    <a:pt x="0" y="17499"/>
                    <a:pt x="17504" y="0"/>
                    <a:pt x="3907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42" name="Freeform: Shape 273">
              <a:extLst>
                <a:ext uri="{FF2B5EF4-FFF2-40B4-BE49-F238E27FC236}">
                  <a16:creationId xmlns:a16="http://schemas.microsoft.com/office/drawing/2014/main" id="{1019BC1C-FF44-46A7-927C-A5E76A3BA5B3}"/>
                </a:ext>
              </a:extLst>
            </p:cNvPr>
            <p:cNvSpPr>
              <a:spLocks/>
            </p:cNvSpPr>
            <p:nvPr/>
          </p:nvSpPr>
          <p:spPr bwMode="auto">
            <a:xfrm>
              <a:off x="7270995" y="3087715"/>
              <a:ext cx="78165" cy="78171"/>
            </a:xfrm>
            <a:custGeom>
              <a:avLst/>
              <a:gdLst>
                <a:gd name="connsiteX0" fmla="*/ 39082 w 78165"/>
                <a:gd name="connsiteY0" fmla="*/ 0 h 78171"/>
                <a:gd name="connsiteX1" fmla="*/ 78165 w 78165"/>
                <a:gd name="connsiteY1" fmla="*/ 39086 h 78171"/>
                <a:gd name="connsiteX2" fmla="*/ 39082 w 78165"/>
                <a:gd name="connsiteY2" fmla="*/ 78171 h 78171"/>
                <a:gd name="connsiteX3" fmla="*/ 0 w 78165"/>
                <a:gd name="connsiteY3" fmla="*/ 39086 h 78171"/>
                <a:gd name="connsiteX4" fmla="*/ 39082 w 78165"/>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5" h="78171">
                  <a:moveTo>
                    <a:pt x="39082" y="0"/>
                  </a:moveTo>
                  <a:cubicBezTo>
                    <a:pt x="60665" y="0"/>
                    <a:pt x="78165" y="17499"/>
                    <a:pt x="78165" y="39086"/>
                  </a:cubicBezTo>
                  <a:cubicBezTo>
                    <a:pt x="78165" y="60672"/>
                    <a:pt x="60665" y="78171"/>
                    <a:pt x="39082" y="78171"/>
                  </a:cubicBezTo>
                  <a:cubicBezTo>
                    <a:pt x="17490" y="78171"/>
                    <a:pt x="0" y="60672"/>
                    <a:pt x="0" y="39086"/>
                  </a:cubicBezTo>
                  <a:cubicBezTo>
                    <a:pt x="0" y="17499"/>
                    <a:pt x="17490" y="0"/>
                    <a:pt x="3908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43" name="Freeform: Shape 274">
              <a:extLst>
                <a:ext uri="{FF2B5EF4-FFF2-40B4-BE49-F238E27FC236}">
                  <a16:creationId xmlns:a16="http://schemas.microsoft.com/office/drawing/2014/main" id="{621EE44B-2983-4383-BE90-41FE04ADD3D0}"/>
                </a:ext>
              </a:extLst>
            </p:cNvPr>
            <p:cNvSpPr>
              <a:spLocks/>
            </p:cNvSpPr>
            <p:nvPr/>
          </p:nvSpPr>
          <p:spPr bwMode="auto">
            <a:xfrm>
              <a:off x="7363256" y="3087715"/>
              <a:ext cx="78160" cy="78171"/>
            </a:xfrm>
            <a:custGeom>
              <a:avLst/>
              <a:gdLst>
                <a:gd name="connsiteX0" fmla="*/ 39081 w 78160"/>
                <a:gd name="connsiteY0" fmla="*/ 0 h 78171"/>
                <a:gd name="connsiteX1" fmla="*/ 78160 w 78160"/>
                <a:gd name="connsiteY1" fmla="*/ 39086 h 78171"/>
                <a:gd name="connsiteX2" fmla="*/ 39081 w 78160"/>
                <a:gd name="connsiteY2" fmla="*/ 78171 h 78171"/>
                <a:gd name="connsiteX3" fmla="*/ 0 w 78160"/>
                <a:gd name="connsiteY3" fmla="*/ 39086 h 78171"/>
                <a:gd name="connsiteX4" fmla="*/ 39081 w 78160"/>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0" h="78171">
                  <a:moveTo>
                    <a:pt x="39081" y="0"/>
                  </a:moveTo>
                  <a:cubicBezTo>
                    <a:pt x="60664" y="0"/>
                    <a:pt x="78160" y="17499"/>
                    <a:pt x="78160" y="39086"/>
                  </a:cubicBezTo>
                  <a:cubicBezTo>
                    <a:pt x="78160" y="60672"/>
                    <a:pt x="60664" y="78171"/>
                    <a:pt x="39081" y="78171"/>
                  </a:cubicBezTo>
                  <a:cubicBezTo>
                    <a:pt x="17497" y="78171"/>
                    <a:pt x="0" y="60672"/>
                    <a:pt x="0" y="39086"/>
                  </a:cubicBezTo>
                  <a:cubicBezTo>
                    <a:pt x="0" y="17499"/>
                    <a:pt x="17497" y="0"/>
                    <a:pt x="3908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44" name="Freeform: Shape 275">
              <a:extLst>
                <a:ext uri="{FF2B5EF4-FFF2-40B4-BE49-F238E27FC236}">
                  <a16:creationId xmlns:a16="http://schemas.microsoft.com/office/drawing/2014/main" id="{6333410B-2E7A-45F7-A53E-AB4A0E463A61}"/>
                </a:ext>
              </a:extLst>
            </p:cNvPr>
            <p:cNvSpPr>
              <a:spLocks/>
            </p:cNvSpPr>
            <p:nvPr/>
          </p:nvSpPr>
          <p:spPr bwMode="auto">
            <a:xfrm>
              <a:off x="7926335" y="3087715"/>
              <a:ext cx="78188" cy="78171"/>
            </a:xfrm>
            <a:custGeom>
              <a:avLst/>
              <a:gdLst>
                <a:gd name="connsiteX0" fmla="*/ 39096 w 78188"/>
                <a:gd name="connsiteY0" fmla="*/ 0 h 78171"/>
                <a:gd name="connsiteX1" fmla="*/ 78188 w 78188"/>
                <a:gd name="connsiteY1" fmla="*/ 39085 h 78171"/>
                <a:gd name="connsiteX2" fmla="*/ 39096 w 78188"/>
                <a:gd name="connsiteY2" fmla="*/ 78171 h 78171"/>
                <a:gd name="connsiteX3" fmla="*/ 0 w 78188"/>
                <a:gd name="connsiteY3" fmla="*/ 39085 h 78171"/>
                <a:gd name="connsiteX4" fmla="*/ 39096 w 78188"/>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8" h="78171">
                  <a:moveTo>
                    <a:pt x="39096" y="0"/>
                  </a:moveTo>
                  <a:cubicBezTo>
                    <a:pt x="60682" y="0"/>
                    <a:pt x="78188" y="17499"/>
                    <a:pt x="78188" y="39085"/>
                  </a:cubicBezTo>
                  <a:cubicBezTo>
                    <a:pt x="78188" y="60672"/>
                    <a:pt x="60682" y="78171"/>
                    <a:pt x="39096" y="78171"/>
                  </a:cubicBezTo>
                  <a:cubicBezTo>
                    <a:pt x="17502" y="78171"/>
                    <a:pt x="0" y="60672"/>
                    <a:pt x="0" y="39085"/>
                  </a:cubicBezTo>
                  <a:cubicBezTo>
                    <a:pt x="0" y="17499"/>
                    <a:pt x="17502" y="0"/>
                    <a:pt x="3909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45" name="Freeform: Shape 276">
              <a:extLst>
                <a:ext uri="{FF2B5EF4-FFF2-40B4-BE49-F238E27FC236}">
                  <a16:creationId xmlns:a16="http://schemas.microsoft.com/office/drawing/2014/main" id="{13598147-10F8-4ACF-9C90-CEA9F537D1EB}"/>
                </a:ext>
              </a:extLst>
            </p:cNvPr>
            <p:cNvSpPr>
              <a:spLocks/>
            </p:cNvSpPr>
            <p:nvPr/>
          </p:nvSpPr>
          <p:spPr bwMode="auto">
            <a:xfrm>
              <a:off x="8210185" y="3087715"/>
              <a:ext cx="78173" cy="78171"/>
            </a:xfrm>
            <a:custGeom>
              <a:avLst/>
              <a:gdLst>
                <a:gd name="connsiteX0" fmla="*/ 39084 w 78173"/>
                <a:gd name="connsiteY0" fmla="*/ 0 h 78171"/>
                <a:gd name="connsiteX1" fmla="*/ 78173 w 78173"/>
                <a:gd name="connsiteY1" fmla="*/ 39085 h 78171"/>
                <a:gd name="connsiteX2" fmla="*/ 39084 w 78173"/>
                <a:gd name="connsiteY2" fmla="*/ 78171 h 78171"/>
                <a:gd name="connsiteX3" fmla="*/ 0 w 78173"/>
                <a:gd name="connsiteY3" fmla="*/ 39085 h 78171"/>
                <a:gd name="connsiteX4" fmla="*/ 39084 w 78173"/>
                <a:gd name="connsiteY4" fmla="*/ 0 h 7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1">
                  <a:moveTo>
                    <a:pt x="39084" y="0"/>
                  </a:moveTo>
                  <a:cubicBezTo>
                    <a:pt x="60664" y="0"/>
                    <a:pt x="78173" y="17499"/>
                    <a:pt x="78173" y="39085"/>
                  </a:cubicBezTo>
                  <a:cubicBezTo>
                    <a:pt x="78173" y="60672"/>
                    <a:pt x="60664" y="78171"/>
                    <a:pt x="39084" y="78171"/>
                  </a:cubicBezTo>
                  <a:cubicBezTo>
                    <a:pt x="17490" y="78171"/>
                    <a:pt x="0" y="60672"/>
                    <a:pt x="0" y="39085"/>
                  </a:cubicBezTo>
                  <a:cubicBezTo>
                    <a:pt x="0" y="17499"/>
                    <a:pt x="17490" y="0"/>
                    <a:pt x="390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46" name="Freeform: Shape 277">
              <a:extLst>
                <a:ext uri="{FF2B5EF4-FFF2-40B4-BE49-F238E27FC236}">
                  <a16:creationId xmlns:a16="http://schemas.microsoft.com/office/drawing/2014/main" id="{05CC16B2-CCF5-4D70-B89D-68DB882A992C}"/>
                </a:ext>
              </a:extLst>
            </p:cNvPr>
            <p:cNvSpPr>
              <a:spLocks/>
            </p:cNvSpPr>
            <p:nvPr/>
          </p:nvSpPr>
          <p:spPr bwMode="auto">
            <a:xfrm>
              <a:off x="7457876" y="3179987"/>
              <a:ext cx="78162" cy="78175"/>
            </a:xfrm>
            <a:custGeom>
              <a:avLst/>
              <a:gdLst>
                <a:gd name="connsiteX0" fmla="*/ 39082 w 78162"/>
                <a:gd name="connsiteY0" fmla="*/ 0 h 78175"/>
                <a:gd name="connsiteX1" fmla="*/ 78162 w 78162"/>
                <a:gd name="connsiteY1" fmla="*/ 39088 h 78175"/>
                <a:gd name="connsiteX2" fmla="*/ 39082 w 78162"/>
                <a:gd name="connsiteY2" fmla="*/ 78175 h 78175"/>
                <a:gd name="connsiteX3" fmla="*/ 0 w 78162"/>
                <a:gd name="connsiteY3" fmla="*/ 39088 h 78175"/>
                <a:gd name="connsiteX4" fmla="*/ 39082 w 78162"/>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2" h="78175">
                  <a:moveTo>
                    <a:pt x="39082" y="0"/>
                  </a:moveTo>
                  <a:cubicBezTo>
                    <a:pt x="60666" y="0"/>
                    <a:pt x="78162" y="17499"/>
                    <a:pt x="78162" y="39088"/>
                  </a:cubicBezTo>
                  <a:cubicBezTo>
                    <a:pt x="78162" y="60674"/>
                    <a:pt x="60666" y="78175"/>
                    <a:pt x="39082" y="78175"/>
                  </a:cubicBezTo>
                  <a:cubicBezTo>
                    <a:pt x="17501" y="78175"/>
                    <a:pt x="0" y="60674"/>
                    <a:pt x="0" y="39088"/>
                  </a:cubicBezTo>
                  <a:cubicBezTo>
                    <a:pt x="0" y="17499"/>
                    <a:pt x="17501" y="0"/>
                    <a:pt x="3908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47" name="Freeform: Shape 278">
              <a:extLst>
                <a:ext uri="{FF2B5EF4-FFF2-40B4-BE49-F238E27FC236}">
                  <a16:creationId xmlns:a16="http://schemas.microsoft.com/office/drawing/2014/main" id="{FEEE6833-6F7C-4693-A3C6-2540B9604534}"/>
                </a:ext>
              </a:extLst>
            </p:cNvPr>
            <p:cNvSpPr>
              <a:spLocks/>
            </p:cNvSpPr>
            <p:nvPr/>
          </p:nvSpPr>
          <p:spPr bwMode="auto">
            <a:xfrm>
              <a:off x="8397089" y="3179987"/>
              <a:ext cx="78158" cy="78175"/>
            </a:xfrm>
            <a:custGeom>
              <a:avLst/>
              <a:gdLst>
                <a:gd name="connsiteX0" fmla="*/ 39085 w 78158"/>
                <a:gd name="connsiteY0" fmla="*/ 0 h 78175"/>
                <a:gd name="connsiteX1" fmla="*/ 78158 w 78158"/>
                <a:gd name="connsiteY1" fmla="*/ 39088 h 78175"/>
                <a:gd name="connsiteX2" fmla="*/ 39085 w 78158"/>
                <a:gd name="connsiteY2" fmla="*/ 78175 h 78175"/>
                <a:gd name="connsiteX3" fmla="*/ 0 w 78158"/>
                <a:gd name="connsiteY3" fmla="*/ 39088 h 78175"/>
                <a:gd name="connsiteX4" fmla="*/ 39085 w 78158"/>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75">
                  <a:moveTo>
                    <a:pt x="39085" y="0"/>
                  </a:moveTo>
                  <a:cubicBezTo>
                    <a:pt x="60662" y="0"/>
                    <a:pt x="78158" y="17499"/>
                    <a:pt x="78158" y="39088"/>
                  </a:cubicBezTo>
                  <a:cubicBezTo>
                    <a:pt x="78158" y="60674"/>
                    <a:pt x="60662" y="78175"/>
                    <a:pt x="39085" y="78175"/>
                  </a:cubicBezTo>
                  <a:cubicBezTo>
                    <a:pt x="17507" y="78175"/>
                    <a:pt x="0" y="60674"/>
                    <a:pt x="0" y="39088"/>
                  </a:cubicBezTo>
                  <a:cubicBezTo>
                    <a:pt x="0" y="17499"/>
                    <a:pt x="17507"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48" name="Freeform: Shape 279">
              <a:extLst>
                <a:ext uri="{FF2B5EF4-FFF2-40B4-BE49-F238E27FC236}">
                  <a16:creationId xmlns:a16="http://schemas.microsoft.com/office/drawing/2014/main" id="{70CBA71E-820B-4649-89BA-A7440F601E99}"/>
                </a:ext>
              </a:extLst>
            </p:cNvPr>
            <p:cNvSpPr>
              <a:spLocks/>
            </p:cNvSpPr>
            <p:nvPr/>
          </p:nvSpPr>
          <p:spPr bwMode="auto">
            <a:xfrm>
              <a:off x="7176351" y="3260429"/>
              <a:ext cx="78178" cy="78175"/>
            </a:xfrm>
            <a:custGeom>
              <a:avLst/>
              <a:gdLst>
                <a:gd name="connsiteX0" fmla="*/ 39080 w 78178"/>
                <a:gd name="connsiteY0" fmla="*/ 0 h 78175"/>
                <a:gd name="connsiteX1" fmla="*/ 78178 w 78178"/>
                <a:gd name="connsiteY1" fmla="*/ 39086 h 78175"/>
                <a:gd name="connsiteX2" fmla="*/ 39080 w 78178"/>
                <a:gd name="connsiteY2" fmla="*/ 78175 h 78175"/>
                <a:gd name="connsiteX3" fmla="*/ 0 w 78178"/>
                <a:gd name="connsiteY3" fmla="*/ 39086 h 78175"/>
                <a:gd name="connsiteX4" fmla="*/ 39080 w 78178"/>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8" h="78175">
                  <a:moveTo>
                    <a:pt x="39080" y="0"/>
                  </a:moveTo>
                  <a:cubicBezTo>
                    <a:pt x="60682" y="0"/>
                    <a:pt x="78178" y="17502"/>
                    <a:pt x="78178" y="39086"/>
                  </a:cubicBezTo>
                  <a:cubicBezTo>
                    <a:pt x="78178" y="60674"/>
                    <a:pt x="60682" y="78175"/>
                    <a:pt x="39080" y="78175"/>
                  </a:cubicBezTo>
                  <a:cubicBezTo>
                    <a:pt x="17506" y="78175"/>
                    <a:pt x="0" y="60674"/>
                    <a:pt x="0" y="39086"/>
                  </a:cubicBezTo>
                  <a:cubicBezTo>
                    <a:pt x="0" y="17502"/>
                    <a:pt x="17506" y="0"/>
                    <a:pt x="3908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49" name="Freeform: Shape 280">
              <a:extLst>
                <a:ext uri="{FF2B5EF4-FFF2-40B4-BE49-F238E27FC236}">
                  <a16:creationId xmlns:a16="http://schemas.microsoft.com/office/drawing/2014/main" id="{F96CD467-C014-4138-AD73-73BE8B9E8A98}"/>
                </a:ext>
              </a:extLst>
            </p:cNvPr>
            <p:cNvSpPr>
              <a:spLocks/>
            </p:cNvSpPr>
            <p:nvPr/>
          </p:nvSpPr>
          <p:spPr bwMode="auto">
            <a:xfrm>
              <a:off x="7552500" y="3260429"/>
              <a:ext cx="78171" cy="78175"/>
            </a:xfrm>
            <a:custGeom>
              <a:avLst/>
              <a:gdLst>
                <a:gd name="connsiteX0" fmla="*/ 39083 w 78171"/>
                <a:gd name="connsiteY0" fmla="*/ 0 h 78175"/>
                <a:gd name="connsiteX1" fmla="*/ 78171 w 78171"/>
                <a:gd name="connsiteY1" fmla="*/ 39086 h 78175"/>
                <a:gd name="connsiteX2" fmla="*/ 39083 w 78171"/>
                <a:gd name="connsiteY2" fmla="*/ 78175 h 78175"/>
                <a:gd name="connsiteX3" fmla="*/ 0 w 78171"/>
                <a:gd name="connsiteY3" fmla="*/ 39086 h 78175"/>
                <a:gd name="connsiteX4" fmla="*/ 39083 w 78171"/>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5">
                  <a:moveTo>
                    <a:pt x="39083" y="0"/>
                  </a:moveTo>
                  <a:cubicBezTo>
                    <a:pt x="60667" y="0"/>
                    <a:pt x="78171" y="17501"/>
                    <a:pt x="78171" y="39086"/>
                  </a:cubicBezTo>
                  <a:cubicBezTo>
                    <a:pt x="78171" y="60674"/>
                    <a:pt x="60667" y="78175"/>
                    <a:pt x="39083" y="78175"/>
                  </a:cubicBezTo>
                  <a:cubicBezTo>
                    <a:pt x="17498" y="78175"/>
                    <a:pt x="0" y="60674"/>
                    <a:pt x="0" y="39086"/>
                  </a:cubicBezTo>
                  <a:cubicBezTo>
                    <a:pt x="0" y="17501"/>
                    <a:pt x="17498" y="0"/>
                    <a:pt x="3908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50" name="Freeform: Shape 281">
              <a:extLst>
                <a:ext uri="{FF2B5EF4-FFF2-40B4-BE49-F238E27FC236}">
                  <a16:creationId xmlns:a16="http://schemas.microsoft.com/office/drawing/2014/main" id="{AB0AC010-C73A-4EA6-B4AB-8A7E83581358}"/>
                </a:ext>
              </a:extLst>
            </p:cNvPr>
            <p:cNvSpPr>
              <a:spLocks/>
            </p:cNvSpPr>
            <p:nvPr/>
          </p:nvSpPr>
          <p:spPr bwMode="auto">
            <a:xfrm>
              <a:off x="8210185" y="3260429"/>
              <a:ext cx="78173" cy="78175"/>
            </a:xfrm>
            <a:custGeom>
              <a:avLst/>
              <a:gdLst>
                <a:gd name="connsiteX0" fmla="*/ 39084 w 78173"/>
                <a:gd name="connsiteY0" fmla="*/ 0 h 78175"/>
                <a:gd name="connsiteX1" fmla="*/ 78173 w 78173"/>
                <a:gd name="connsiteY1" fmla="*/ 39086 h 78175"/>
                <a:gd name="connsiteX2" fmla="*/ 39084 w 78173"/>
                <a:gd name="connsiteY2" fmla="*/ 78175 h 78175"/>
                <a:gd name="connsiteX3" fmla="*/ 0 w 78173"/>
                <a:gd name="connsiteY3" fmla="*/ 39086 h 78175"/>
                <a:gd name="connsiteX4" fmla="*/ 39084 w 78173"/>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5">
                  <a:moveTo>
                    <a:pt x="39084" y="0"/>
                  </a:moveTo>
                  <a:cubicBezTo>
                    <a:pt x="60664" y="0"/>
                    <a:pt x="78173" y="17501"/>
                    <a:pt x="78173" y="39086"/>
                  </a:cubicBezTo>
                  <a:cubicBezTo>
                    <a:pt x="78173" y="60674"/>
                    <a:pt x="60664" y="78175"/>
                    <a:pt x="39084" y="78175"/>
                  </a:cubicBezTo>
                  <a:cubicBezTo>
                    <a:pt x="17490" y="78175"/>
                    <a:pt x="0" y="60674"/>
                    <a:pt x="0" y="39086"/>
                  </a:cubicBezTo>
                  <a:cubicBezTo>
                    <a:pt x="0" y="17501"/>
                    <a:pt x="17490" y="0"/>
                    <a:pt x="390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51" name="Freeform: Shape 282">
              <a:extLst>
                <a:ext uri="{FF2B5EF4-FFF2-40B4-BE49-F238E27FC236}">
                  <a16:creationId xmlns:a16="http://schemas.microsoft.com/office/drawing/2014/main" id="{33C897F7-C0C4-4A76-BF7B-87F665116E38}"/>
                </a:ext>
              </a:extLst>
            </p:cNvPr>
            <p:cNvSpPr>
              <a:spLocks/>
            </p:cNvSpPr>
            <p:nvPr/>
          </p:nvSpPr>
          <p:spPr bwMode="auto">
            <a:xfrm>
              <a:off x="8586371" y="3260429"/>
              <a:ext cx="78166" cy="78175"/>
            </a:xfrm>
            <a:custGeom>
              <a:avLst/>
              <a:gdLst>
                <a:gd name="connsiteX0" fmla="*/ 39081 w 78166"/>
                <a:gd name="connsiteY0" fmla="*/ 0 h 78175"/>
                <a:gd name="connsiteX1" fmla="*/ 78166 w 78166"/>
                <a:gd name="connsiteY1" fmla="*/ 39086 h 78175"/>
                <a:gd name="connsiteX2" fmla="*/ 39081 w 78166"/>
                <a:gd name="connsiteY2" fmla="*/ 78175 h 78175"/>
                <a:gd name="connsiteX3" fmla="*/ 0 w 78166"/>
                <a:gd name="connsiteY3" fmla="*/ 39086 h 78175"/>
                <a:gd name="connsiteX4" fmla="*/ 39081 w 7816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6" h="78175">
                  <a:moveTo>
                    <a:pt x="39081" y="0"/>
                  </a:moveTo>
                  <a:cubicBezTo>
                    <a:pt x="60674" y="0"/>
                    <a:pt x="78166" y="17501"/>
                    <a:pt x="78166" y="39086"/>
                  </a:cubicBezTo>
                  <a:cubicBezTo>
                    <a:pt x="78166" y="60674"/>
                    <a:pt x="60674" y="78175"/>
                    <a:pt x="39081" y="78175"/>
                  </a:cubicBezTo>
                  <a:cubicBezTo>
                    <a:pt x="17499" y="78175"/>
                    <a:pt x="0" y="60674"/>
                    <a:pt x="0" y="39086"/>
                  </a:cubicBezTo>
                  <a:cubicBezTo>
                    <a:pt x="0" y="17501"/>
                    <a:pt x="17499" y="0"/>
                    <a:pt x="3908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52" name="Freeform: Shape 283">
              <a:extLst>
                <a:ext uri="{FF2B5EF4-FFF2-40B4-BE49-F238E27FC236}">
                  <a16:creationId xmlns:a16="http://schemas.microsoft.com/office/drawing/2014/main" id="{D4FB2B66-62E8-4455-953A-E657FC691713}"/>
                </a:ext>
              </a:extLst>
            </p:cNvPr>
            <p:cNvSpPr>
              <a:spLocks/>
            </p:cNvSpPr>
            <p:nvPr/>
          </p:nvSpPr>
          <p:spPr bwMode="auto">
            <a:xfrm>
              <a:off x="9525649" y="3260429"/>
              <a:ext cx="78174" cy="78176"/>
            </a:xfrm>
            <a:custGeom>
              <a:avLst/>
              <a:gdLst>
                <a:gd name="connsiteX0" fmla="*/ 39087 w 78174"/>
                <a:gd name="connsiteY0" fmla="*/ 0 h 78176"/>
                <a:gd name="connsiteX1" fmla="*/ 78174 w 78174"/>
                <a:gd name="connsiteY1" fmla="*/ 39087 h 78176"/>
                <a:gd name="connsiteX2" fmla="*/ 39087 w 78174"/>
                <a:gd name="connsiteY2" fmla="*/ 78176 h 78176"/>
                <a:gd name="connsiteX3" fmla="*/ 0 w 78174"/>
                <a:gd name="connsiteY3" fmla="*/ 39087 h 78176"/>
                <a:gd name="connsiteX4" fmla="*/ 39087 w 78174"/>
                <a:gd name="connsiteY4" fmla="*/ 0 h 78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6">
                  <a:moveTo>
                    <a:pt x="39087" y="0"/>
                  </a:moveTo>
                  <a:cubicBezTo>
                    <a:pt x="60674" y="0"/>
                    <a:pt x="78174" y="17501"/>
                    <a:pt x="78174" y="39087"/>
                  </a:cubicBezTo>
                  <a:cubicBezTo>
                    <a:pt x="78174" y="60673"/>
                    <a:pt x="60674" y="78176"/>
                    <a:pt x="39087" y="78176"/>
                  </a:cubicBezTo>
                  <a:cubicBezTo>
                    <a:pt x="17500" y="78176"/>
                    <a:pt x="0" y="60673"/>
                    <a:pt x="0" y="39087"/>
                  </a:cubicBezTo>
                  <a:cubicBezTo>
                    <a:pt x="0" y="17501"/>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53" name="Freeform: Shape 284">
              <a:extLst>
                <a:ext uri="{FF2B5EF4-FFF2-40B4-BE49-F238E27FC236}">
                  <a16:creationId xmlns:a16="http://schemas.microsoft.com/office/drawing/2014/main" id="{C880766C-2BD0-4D0E-91E8-2AA0206C52C1}"/>
                </a:ext>
              </a:extLst>
            </p:cNvPr>
            <p:cNvSpPr>
              <a:spLocks/>
            </p:cNvSpPr>
            <p:nvPr/>
          </p:nvSpPr>
          <p:spPr bwMode="auto">
            <a:xfrm>
              <a:off x="7739432" y="3343241"/>
              <a:ext cx="78157" cy="78156"/>
            </a:xfrm>
            <a:custGeom>
              <a:avLst/>
              <a:gdLst>
                <a:gd name="connsiteX0" fmla="*/ 39084 w 78157"/>
                <a:gd name="connsiteY0" fmla="*/ 0 h 78156"/>
                <a:gd name="connsiteX1" fmla="*/ 78157 w 78157"/>
                <a:gd name="connsiteY1" fmla="*/ 39087 h 78156"/>
                <a:gd name="connsiteX2" fmla="*/ 39084 w 78157"/>
                <a:gd name="connsiteY2" fmla="*/ 78156 h 78156"/>
                <a:gd name="connsiteX3" fmla="*/ 0 w 78157"/>
                <a:gd name="connsiteY3" fmla="*/ 39087 h 78156"/>
                <a:gd name="connsiteX4" fmla="*/ 39084 w 78157"/>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7" h="78156">
                  <a:moveTo>
                    <a:pt x="39084" y="0"/>
                  </a:moveTo>
                  <a:cubicBezTo>
                    <a:pt x="60670" y="0"/>
                    <a:pt x="78157" y="17499"/>
                    <a:pt x="78157" y="39087"/>
                  </a:cubicBezTo>
                  <a:cubicBezTo>
                    <a:pt x="78157" y="60656"/>
                    <a:pt x="60670" y="78156"/>
                    <a:pt x="39084" y="78156"/>
                  </a:cubicBezTo>
                  <a:cubicBezTo>
                    <a:pt x="17492" y="78156"/>
                    <a:pt x="0" y="60656"/>
                    <a:pt x="0" y="39087"/>
                  </a:cubicBezTo>
                  <a:cubicBezTo>
                    <a:pt x="0" y="17499"/>
                    <a:pt x="17492" y="0"/>
                    <a:pt x="390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54" name="Freeform: Shape 285">
              <a:extLst>
                <a:ext uri="{FF2B5EF4-FFF2-40B4-BE49-F238E27FC236}">
                  <a16:creationId xmlns:a16="http://schemas.microsoft.com/office/drawing/2014/main" id="{E49569B0-53BC-4EC4-9D1F-B4188C131A93}"/>
                </a:ext>
              </a:extLst>
            </p:cNvPr>
            <p:cNvSpPr>
              <a:spLocks/>
            </p:cNvSpPr>
            <p:nvPr/>
          </p:nvSpPr>
          <p:spPr bwMode="auto">
            <a:xfrm>
              <a:off x="8210185" y="3343241"/>
              <a:ext cx="78171" cy="78156"/>
            </a:xfrm>
            <a:custGeom>
              <a:avLst/>
              <a:gdLst>
                <a:gd name="connsiteX0" fmla="*/ 39081 w 78171"/>
                <a:gd name="connsiteY0" fmla="*/ 0 h 78156"/>
                <a:gd name="connsiteX1" fmla="*/ 78171 w 78171"/>
                <a:gd name="connsiteY1" fmla="*/ 39087 h 78156"/>
                <a:gd name="connsiteX2" fmla="*/ 39081 w 78171"/>
                <a:gd name="connsiteY2" fmla="*/ 78156 h 78156"/>
                <a:gd name="connsiteX3" fmla="*/ 0 w 78171"/>
                <a:gd name="connsiteY3" fmla="*/ 39087 h 78156"/>
                <a:gd name="connsiteX4" fmla="*/ 39081 w 78171"/>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56">
                  <a:moveTo>
                    <a:pt x="39081" y="0"/>
                  </a:moveTo>
                  <a:cubicBezTo>
                    <a:pt x="60660" y="0"/>
                    <a:pt x="78171" y="17499"/>
                    <a:pt x="78171" y="39087"/>
                  </a:cubicBezTo>
                  <a:cubicBezTo>
                    <a:pt x="78171" y="60656"/>
                    <a:pt x="60660" y="78156"/>
                    <a:pt x="39081" y="78156"/>
                  </a:cubicBezTo>
                  <a:cubicBezTo>
                    <a:pt x="17488" y="78156"/>
                    <a:pt x="0" y="60656"/>
                    <a:pt x="0" y="39087"/>
                  </a:cubicBezTo>
                  <a:cubicBezTo>
                    <a:pt x="0" y="17499"/>
                    <a:pt x="17488" y="0"/>
                    <a:pt x="3908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55" name="Freeform: Shape 286">
              <a:extLst>
                <a:ext uri="{FF2B5EF4-FFF2-40B4-BE49-F238E27FC236}">
                  <a16:creationId xmlns:a16="http://schemas.microsoft.com/office/drawing/2014/main" id="{DD264112-AF1E-4B22-8D77-007ABD60031E}"/>
                </a:ext>
              </a:extLst>
            </p:cNvPr>
            <p:cNvSpPr>
              <a:spLocks/>
            </p:cNvSpPr>
            <p:nvPr/>
          </p:nvSpPr>
          <p:spPr bwMode="auto">
            <a:xfrm>
              <a:off x="8397089" y="3343241"/>
              <a:ext cx="78158" cy="78156"/>
            </a:xfrm>
            <a:custGeom>
              <a:avLst/>
              <a:gdLst>
                <a:gd name="connsiteX0" fmla="*/ 39085 w 78158"/>
                <a:gd name="connsiteY0" fmla="*/ 0 h 78156"/>
                <a:gd name="connsiteX1" fmla="*/ 78158 w 78158"/>
                <a:gd name="connsiteY1" fmla="*/ 39087 h 78156"/>
                <a:gd name="connsiteX2" fmla="*/ 39085 w 78158"/>
                <a:gd name="connsiteY2" fmla="*/ 78156 h 78156"/>
                <a:gd name="connsiteX3" fmla="*/ 0 w 78158"/>
                <a:gd name="connsiteY3" fmla="*/ 39087 h 78156"/>
                <a:gd name="connsiteX4" fmla="*/ 39085 w 78158"/>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58" h="78156">
                  <a:moveTo>
                    <a:pt x="39085" y="0"/>
                  </a:moveTo>
                  <a:cubicBezTo>
                    <a:pt x="60662" y="0"/>
                    <a:pt x="78158" y="17499"/>
                    <a:pt x="78158" y="39087"/>
                  </a:cubicBezTo>
                  <a:cubicBezTo>
                    <a:pt x="78158" y="60656"/>
                    <a:pt x="60662" y="78156"/>
                    <a:pt x="39085" y="78156"/>
                  </a:cubicBezTo>
                  <a:cubicBezTo>
                    <a:pt x="17507" y="78156"/>
                    <a:pt x="0" y="60656"/>
                    <a:pt x="0" y="39087"/>
                  </a:cubicBezTo>
                  <a:cubicBezTo>
                    <a:pt x="0" y="17499"/>
                    <a:pt x="17507"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56" name="Freeform: Shape 287">
              <a:extLst>
                <a:ext uri="{FF2B5EF4-FFF2-40B4-BE49-F238E27FC236}">
                  <a16:creationId xmlns:a16="http://schemas.microsoft.com/office/drawing/2014/main" id="{F65CE69E-BF96-4638-A8F3-533491AF3715}"/>
                </a:ext>
              </a:extLst>
            </p:cNvPr>
            <p:cNvSpPr>
              <a:spLocks/>
            </p:cNvSpPr>
            <p:nvPr/>
          </p:nvSpPr>
          <p:spPr bwMode="auto">
            <a:xfrm>
              <a:off x="8491707" y="3343241"/>
              <a:ext cx="78195" cy="78156"/>
            </a:xfrm>
            <a:custGeom>
              <a:avLst/>
              <a:gdLst>
                <a:gd name="connsiteX0" fmla="*/ 39098 w 78195"/>
                <a:gd name="connsiteY0" fmla="*/ 0 h 78156"/>
                <a:gd name="connsiteX1" fmla="*/ 78195 w 78195"/>
                <a:gd name="connsiteY1" fmla="*/ 39087 h 78156"/>
                <a:gd name="connsiteX2" fmla="*/ 39098 w 78195"/>
                <a:gd name="connsiteY2" fmla="*/ 78156 h 78156"/>
                <a:gd name="connsiteX3" fmla="*/ 0 w 78195"/>
                <a:gd name="connsiteY3" fmla="*/ 39087 h 78156"/>
                <a:gd name="connsiteX4" fmla="*/ 39098 w 78195"/>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5" h="78156">
                  <a:moveTo>
                    <a:pt x="39098" y="0"/>
                  </a:moveTo>
                  <a:cubicBezTo>
                    <a:pt x="60690" y="0"/>
                    <a:pt x="78195" y="17499"/>
                    <a:pt x="78195" y="39087"/>
                  </a:cubicBezTo>
                  <a:cubicBezTo>
                    <a:pt x="78195" y="60656"/>
                    <a:pt x="60690" y="78156"/>
                    <a:pt x="39098" y="78156"/>
                  </a:cubicBezTo>
                  <a:cubicBezTo>
                    <a:pt x="17504" y="78156"/>
                    <a:pt x="0" y="60656"/>
                    <a:pt x="0" y="39087"/>
                  </a:cubicBezTo>
                  <a:cubicBezTo>
                    <a:pt x="0" y="17499"/>
                    <a:pt x="17504" y="0"/>
                    <a:pt x="3909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57" name="Freeform: Shape 288">
              <a:extLst>
                <a:ext uri="{FF2B5EF4-FFF2-40B4-BE49-F238E27FC236}">
                  <a16:creationId xmlns:a16="http://schemas.microsoft.com/office/drawing/2014/main" id="{DE9CF25C-AA07-443A-BC98-3AA1DC2767B4}"/>
                </a:ext>
              </a:extLst>
            </p:cNvPr>
            <p:cNvSpPr>
              <a:spLocks/>
            </p:cNvSpPr>
            <p:nvPr/>
          </p:nvSpPr>
          <p:spPr bwMode="auto">
            <a:xfrm>
              <a:off x="9431009" y="3343241"/>
              <a:ext cx="78174" cy="78156"/>
            </a:xfrm>
            <a:custGeom>
              <a:avLst/>
              <a:gdLst>
                <a:gd name="connsiteX0" fmla="*/ 39088 w 78174"/>
                <a:gd name="connsiteY0" fmla="*/ 0 h 78156"/>
                <a:gd name="connsiteX1" fmla="*/ 78174 w 78174"/>
                <a:gd name="connsiteY1" fmla="*/ 39086 h 78156"/>
                <a:gd name="connsiteX2" fmla="*/ 39088 w 78174"/>
                <a:gd name="connsiteY2" fmla="*/ 78156 h 78156"/>
                <a:gd name="connsiteX3" fmla="*/ 0 w 78174"/>
                <a:gd name="connsiteY3" fmla="*/ 39086 h 78156"/>
                <a:gd name="connsiteX4" fmla="*/ 39088 w 78174"/>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56">
                  <a:moveTo>
                    <a:pt x="39088" y="0"/>
                  </a:moveTo>
                  <a:cubicBezTo>
                    <a:pt x="60675" y="0"/>
                    <a:pt x="78174" y="17499"/>
                    <a:pt x="78174" y="39086"/>
                  </a:cubicBezTo>
                  <a:cubicBezTo>
                    <a:pt x="78174" y="60656"/>
                    <a:pt x="60675" y="78156"/>
                    <a:pt x="39088" y="78156"/>
                  </a:cubicBezTo>
                  <a:cubicBezTo>
                    <a:pt x="17500" y="78156"/>
                    <a:pt x="0" y="60656"/>
                    <a:pt x="0" y="39086"/>
                  </a:cubicBezTo>
                  <a:cubicBezTo>
                    <a:pt x="0" y="17499"/>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58" name="Freeform: Shape 289">
              <a:extLst>
                <a:ext uri="{FF2B5EF4-FFF2-40B4-BE49-F238E27FC236}">
                  <a16:creationId xmlns:a16="http://schemas.microsoft.com/office/drawing/2014/main" id="{6796CEEF-5944-47EF-BEAF-0A1B1E54BA0D}"/>
                </a:ext>
              </a:extLst>
            </p:cNvPr>
            <p:cNvSpPr>
              <a:spLocks/>
            </p:cNvSpPr>
            <p:nvPr/>
          </p:nvSpPr>
          <p:spPr bwMode="auto">
            <a:xfrm>
              <a:off x="9617922" y="3343241"/>
              <a:ext cx="78175" cy="78156"/>
            </a:xfrm>
            <a:custGeom>
              <a:avLst/>
              <a:gdLst>
                <a:gd name="connsiteX0" fmla="*/ 39087 w 78175"/>
                <a:gd name="connsiteY0" fmla="*/ 0 h 78156"/>
                <a:gd name="connsiteX1" fmla="*/ 78175 w 78175"/>
                <a:gd name="connsiteY1" fmla="*/ 39086 h 78156"/>
                <a:gd name="connsiteX2" fmla="*/ 39087 w 78175"/>
                <a:gd name="connsiteY2" fmla="*/ 78156 h 78156"/>
                <a:gd name="connsiteX3" fmla="*/ 0 w 78175"/>
                <a:gd name="connsiteY3" fmla="*/ 39086 h 78156"/>
                <a:gd name="connsiteX4" fmla="*/ 39087 w 78175"/>
                <a:gd name="connsiteY4" fmla="*/ 0 h 78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56">
                  <a:moveTo>
                    <a:pt x="39087" y="0"/>
                  </a:moveTo>
                  <a:cubicBezTo>
                    <a:pt x="60675" y="0"/>
                    <a:pt x="78175" y="17499"/>
                    <a:pt x="78175" y="39086"/>
                  </a:cubicBezTo>
                  <a:cubicBezTo>
                    <a:pt x="78175" y="60656"/>
                    <a:pt x="60675" y="78156"/>
                    <a:pt x="39087" y="78156"/>
                  </a:cubicBezTo>
                  <a:cubicBezTo>
                    <a:pt x="17500" y="78156"/>
                    <a:pt x="0" y="60656"/>
                    <a:pt x="0" y="39086"/>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59" name="Freeform: Shape 290">
              <a:extLst>
                <a:ext uri="{FF2B5EF4-FFF2-40B4-BE49-F238E27FC236}">
                  <a16:creationId xmlns:a16="http://schemas.microsoft.com/office/drawing/2014/main" id="{70B71960-543E-4A06-8B9A-A3DA099B7816}"/>
                </a:ext>
              </a:extLst>
            </p:cNvPr>
            <p:cNvSpPr>
              <a:spLocks/>
            </p:cNvSpPr>
            <p:nvPr/>
          </p:nvSpPr>
          <p:spPr bwMode="auto">
            <a:xfrm>
              <a:off x="7176339" y="3435498"/>
              <a:ext cx="78179" cy="78173"/>
            </a:xfrm>
            <a:custGeom>
              <a:avLst/>
              <a:gdLst>
                <a:gd name="connsiteX0" fmla="*/ 39079 w 78179"/>
                <a:gd name="connsiteY0" fmla="*/ 0 h 78173"/>
                <a:gd name="connsiteX1" fmla="*/ 78179 w 78179"/>
                <a:gd name="connsiteY1" fmla="*/ 39086 h 78173"/>
                <a:gd name="connsiteX2" fmla="*/ 39079 w 78179"/>
                <a:gd name="connsiteY2" fmla="*/ 78173 h 78173"/>
                <a:gd name="connsiteX3" fmla="*/ 0 w 78179"/>
                <a:gd name="connsiteY3" fmla="*/ 39086 h 78173"/>
                <a:gd name="connsiteX4" fmla="*/ 39079 w 7817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9" h="78173">
                  <a:moveTo>
                    <a:pt x="39079" y="0"/>
                  </a:moveTo>
                  <a:cubicBezTo>
                    <a:pt x="60680" y="0"/>
                    <a:pt x="78179" y="17499"/>
                    <a:pt x="78179" y="39086"/>
                  </a:cubicBezTo>
                  <a:cubicBezTo>
                    <a:pt x="78179" y="60674"/>
                    <a:pt x="60680" y="78173"/>
                    <a:pt x="39079" y="78173"/>
                  </a:cubicBezTo>
                  <a:cubicBezTo>
                    <a:pt x="17505" y="78173"/>
                    <a:pt x="0" y="60674"/>
                    <a:pt x="0" y="39086"/>
                  </a:cubicBezTo>
                  <a:cubicBezTo>
                    <a:pt x="0" y="17499"/>
                    <a:pt x="17505" y="0"/>
                    <a:pt x="3907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60" name="Freeform: Shape 291">
              <a:extLst>
                <a:ext uri="{FF2B5EF4-FFF2-40B4-BE49-F238E27FC236}">
                  <a16:creationId xmlns:a16="http://schemas.microsoft.com/office/drawing/2014/main" id="{DAA165A8-B2AA-47CA-8F9B-2263EFF3E644}"/>
                </a:ext>
              </a:extLst>
            </p:cNvPr>
            <p:cNvSpPr>
              <a:spLocks/>
            </p:cNvSpPr>
            <p:nvPr/>
          </p:nvSpPr>
          <p:spPr bwMode="auto">
            <a:xfrm>
              <a:off x="8117974" y="3435498"/>
              <a:ext cx="78105" cy="78173"/>
            </a:xfrm>
            <a:custGeom>
              <a:avLst/>
              <a:gdLst>
                <a:gd name="connsiteX0" fmla="*/ 39007 w 78105"/>
                <a:gd name="connsiteY0" fmla="*/ 0 h 78173"/>
                <a:gd name="connsiteX1" fmla="*/ 78105 w 78105"/>
                <a:gd name="connsiteY1" fmla="*/ 39086 h 78173"/>
                <a:gd name="connsiteX2" fmla="*/ 39007 w 78105"/>
                <a:gd name="connsiteY2" fmla="*/ 78173 h 78173"/>
                <a:gd name="connsiteX3" fmla="*/ 0 w 78105"/>
                <a:gd name="connsiteY3" fmla="*/ 39086 h 78173"/>
                <a:gd name="connsiteX4" fmla="*/ 39007 w 7810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05" h="78173">
                  <a:moveTo>
                    <a:pt x="39007" y="0"/>
                  </a:moveTo>
                  <a:cubicBezTo>
                    <a:pt x="60601" y="0"/>
                    <a:pt x="78105" y="17499"/>
                    <a:pt x="78105" y="39086"/>
                  </a:cubicBezTo>
                  <a:cubicBezTo>
                    <a:pt x="78105" y="60674"/>
                    <a:pt x="60601" y="78173"/>
                    <a:pt x="39007" y="78173"/>
                  </a:cubicBezTo>
                  <a:cubicBezTo>
                    <a:pt x="17497" y="78173"/>
                    <a:pt x="0" y="60674"/>
                    <a:pt x="0" y="39086"/>
                  </a:cubicBezTo>
                  <a:cubicBezTo>
                    <a:pt x="0" y="17499"/>
                    <a:pt x="17497" y="0"/>
                    <a:pt x="3900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61" name="Freeform: Shape 292">
              <a:extLst>
                <a:ext uri="{FF2B5EF4-FFF2-40B4-BE49-F238E27FC236}">
                  <a16:creationId xmlns:a16="http://schemas.microsoft.com/office/drawing/2014/main" id="{1277974D-8C84-4130-9B6E-47DB11A61C33}"/>
                </a:ext>
              </a:extLst>
            </p:cNvPr>
            <p:cNvSpPr>
              <a:spLocks/>
            </p:cNvSpPr>
            <p:nvPr/>
          </p:nvSpPr>
          <p:spPr bwMode="auto">
            <a:xfrm>
              <a:off x="8304800" y="3435498"/>
              <a:ext cx="78180" cy="78173"/>
            </a:xfrm>
            <a:custGeom>
              <a:avLst/>
              <a:gdLst>
                <a:gd name="connsiteX0" fmla="*/ 39107 w 78180"/>
                <a:gd name="connsiteY0" fmla="*/ 0 h 78173"/>
                <a:gd name="connsiteX1" fmla="*/ 78180 w 78180"/>
                <a:gd name="connsiteY1" fmla="*/ 39086 h 78173"/>
                <a:gd name="connsiteX2" fmla="*/ 39107 w 78180"/>
                <a:gd name="connsiteY2" fmla="*/ 78173 h 78173"/>
                <a:gd name="connsiteX3" fmla="*/ 0 w 78180"/>
                <a:gd name="connsiteY3" fmla="*/ 39086 h 78173"/>
                <a:gd name="connsiteX4" fmla="*/ 39107 w 78180"/>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0" h="78173">
                  <a:moveTo>
                    <a:pt x="39107" y="0"/>
                  </a:moveTo>
                  <a:cubicBezTo>
                    <a:pt x="60695" y="0"/>
                    <a:pt x="78180" y="17499"/>
                    <a:pt x="78180" y="39086"/>
                  </a:cubicBezTo>
                  <a:cubicBezTo>
                    <a:pt x="78180" y="60674"/>
                    <a:pt x="60695" y="78173"/>
                    <a:pt x="39107" y="78173"/>
                  </a:cubicBezTo>
                  <a:cubicBezTo>
                    <a:pt x="17515" y="78173"/>
                    <a:pt x="0" y="60674"/>
                    <a:pt x="0" y="39086"/>
                  </a:cubicBezTo>
                  <a:cubicBezTo>
                    <a:pt x="0" y="17499"/>
                    <a:pt x="17515" y="0"/>
                    <a:pt x="3910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62" name="Freeform: Shape 293">
              <a:extLst>
                <a:ext uri="{FF2B5EF4-FFF2-40B4-BE49-F238E27FC236}">
                  <a16:creationId xmlns:a16="http://schemas.microsoft.com/office/drawing/2014/main" id="{7487D483-01D8-410B-85B0-25EECCC59647}"/>
                </a:ext>
              </a:extLst>
            </p:cNvPr>
            <p:cNvSpPr>
              <a:spLocks/>
            </p:cNvSpPr>
            <p:nvPr/>
          </p:nvSpPr>
          <p:spPr bwMode="auto">
            <a:xfrm>
              <a:off x="8678634" y="3435498"/>
              <a:ext cx="78179" cy="78173"/>
            </a:xfrm>
            <a:custGeom>
              <a:avLst/>
              <a:gdLst>
                <a:gd name="connsiteX0" fmla="*/ 39087 w 78179"/>
                <a:gd name="connsiteY0" fmla="*/ 0 h 78173"/>
                <a:gd name="connsiteX1" fmla="*/ 78179 w 78179"/>
                <a:gd name="connsiteY1" fmla="*/ 39086 h 78173"/>
                <a:gd name="connsiteX2" fmla="*/ 39087 w 78179"/>
                <a:gd name="connsiteY2" fmla="*/ 78173 h 78173"/>
                <a:gd name="connsiteX3" fmla="*/ 0 w 78179"/>
                <a:gd name="connsiteY3" fmla="*/ 39086 h 78173"/>
                <a:gd name="connsiteX4" fmla="*/ 39087 w 7817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9" h="78173">
                  <a:moveTo>
                    <a:pt x="39087" y="0"/>
                  </a:moveTo>
                  <a:cubicBezTo>
                    <a:pt x="60677" y="0"/>
                    <a:pt x="78179" y="17499"/>
                    <a:pt x="78179" y="39086"/>
                  </a:cubicBezTo>
                  <a:cubicBezTo>
                    <a:pt x="78179" y="60674"/>
                    <a:pt x="60677" y="78173"/>
                    <a:pt x="39087" y="78173"/>
                  </a:cubicBezTo>
                  <a:cubicBezTo>
                    <a:pt x="17495" y="78173"/>
                    <a:pt x="0" y="60674"/>
                    <a:pt x="0" y="39086"/>
                  </a:cubicBezTo>
                  <a:cubicBezTo>
                    <a:pt x="0" y="17499"/>
                    <a:pt x="17495"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63" name="Freeform: Shape 294">
              <a:extLst>
                <a:ext uri="{FF2B5EF4-FFF2-40B4-BE49-F238E27FC236}">
                  <a16:creationId xmlns:a16="http://schemas.microsoft.com/office/drawing/2014/main" id="{FFF9F7F2-1AA4-4827-BBB2-AD946B5ABD34}"/>
                </a:ext>
              </a:extLst>
            </p:cNvPr>
            <p:cNvSpPr>
              <a:spLocks/>
            </p:cNvSpPr>
            <p:nvPr/>
          </p:nvSpPr>
          <p:spPr bwMode="auto">
            <a:xfrm>
              <a:off x="9431009" y="3435498"/>
              <a:ext cx="78174" cy="78173"/>
            </a:xfrm>
            <a:custGeom>
              <a:avLst/>
              <a:gdLst>
                <a:gd name="connsiteX0" fmla="*/ 39087 w 78174"/>
                <a:gd name="connsiteY0" fmla="*/ 0 h 78173"/>
                <a:gd name="connsiteX1" fmla="*/ 78174 w 78174"/>
                <a:gd name="connsiteY1" fmla="*/ 39086 h 78173"/>
                <a:gd name="connsiteX2" fmla="*/ 39087 w 78174"/>
                <a:gd name="connsiteY2" fmla="*/ 78173 h 78173"/>
                <a:gd name="connsiteX3" fmla="*/ 0 w 78174"/>
                <a:gd name="connsiteY3" fmla="*/ 39086 h 78173"/>
                <a:gd name="connsiteX4" fmla="*/ 39087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7" y="0"/>
                  </a:moveTo>
                  <a:cubicBezTo>
                    <a:pt x="60674" y="0"/>
                    <a:pt x="78174" y="17499"/>
                    <a:pt x="78174" y="39086"/>
                  </a:cubicBezTo>
                  <a:cubicBezTo>
                    <a:pt x="78174" y="60674"/>
                    <a:pt x="60674" y="78173"/>
                    <a:pt x="39087" y="78173"/>
                  </a:cubicBezTo>
                  <a:cubicBezTo>
                    <a:pt x="17500" y="78173"/>
                    <a:pt x="0" y="60674"/>
                    <a:pt x="0" y="39086"/>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64" name="Freeform: Shape 295">
              <a:extLst>
                <a:ext uri="{FF2B5EF4-FFF2-40B4-BE49-F238E27FC236}">
                  <a16:creationId xmlns:a16="http://schemas.microsoft.com/office/drawing/2014/main" id="{0429DE0A-CC10-4B5E-A09A-870DC41A139C}"/>
                </a:ext>
              </a:extLst>
            </p:cNvPr>
            <p:cNvSpPr>
              <a:spLocks/>
            </p:cNvSpPr>
            <p:nvPr/>
          </p:nvSpPr>
          <p:spPr bwMode="auto">
            <a:xfrm>
              <a:off x="6762230" y="3473791"/>
              <a:ext cx="26139" cy="34517"/>
            </a:xfrm>
            <a:custGeom>
              <a:avLst/>
              <a:gdLst>
                <a:gd name="connsiteX0" fmla="*/ 25811 w 26139"/>
                <a:gd name="connsiteY0" fmla="*/ 0 h 34517"/>
                <a:gd name="connsiteX1" fmla="*/ 26139 w 26139"/>
                <a:gd name="connsiteY1" fmla="*/ 793 h 34517"/>
                <a:gd name="connsiteX2" fmla="*/ 14691 w 26139"/>
                <a:gd name="connsiteY2" fmla="*/ 28432 h 34517"/>
                <a:gd name="connsiteX3" fmla="*/ 0 w 26139"/>
                <a:gd name="connsiteY3" fmla="*/ 34517 h 34517"/>
                <a:gd name="connsiteX4" fmla="*/ 25811 w 26139"/>
                <a:gd name="connsiteY4" fmla="*/ 0 h 345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9" h="34517">
                  <a:moveTo>
                    <a:pt x="25811" y="0"/>
                  </a:moveTo>
                  <a:lnTo>
                    <a:pt x="26139" y="793"/>
                  </a:lnTo>
                  <a:cubicBezTo>
                    <a:pt x="26139" y="11587"/>
                    <a:pt x="21765" y="21359"/>
                    <a:pt x="14691" y="28432"/>
                  </a:cubicBezTo>
                  <a:lnTo>
                    <a:pt x="0" y="34517"/>
                  </a:lnTo>
                  <a:lnTo>
                    <a:pt x="2581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65" name="Freeform: Shape 296">
              <a:extLst>
                <a:ext uri="{FF2B5EF4-FFF2-40B4-BE49-F238E27FC236}">
                  <a16:creationId xmlns:a16="http://schemas.microsoft.com/office/drawing/2014/main" id="{CF8CDBE4-2BA5-450A-9ED3-034494D84A8B}"/>
                </a:ext>
              </a:extLst>
            </p:cNvPr>
            <p:cNvSpPr>
              <a:spLocks/>
            </p:cNvSpPr>
            <p:nvPr/>
          </p:nvSpPr>
          <p:spPr bwMode="auto">
            <a:xfrm>
              <a:off x="7270971" y="3520672"/>
              <a:ext cx="78165" cy="78174"/>
            </a:xfrm>
            <a:custGeom>
              <a:avLst/>
              <a:gdLst>
                <a:gd name="connsiteX0" fmla="*/ 39083 w 78165"/>
                <a:gd name="connsiteY0" fmla="*/ 0 h 78174"/>
                <a:gd name="connsiteX1" fmla="*/ 78165 w 78165"/>
                <a:gd name="connsiteY1" fmla="*/ 39087 h 78174"/>
                <a:gd name="connsiteX2" fmla="*/ 39083 w 78165"/>
                <a:gd name="connsiteY2" fmla="*/ 78174 h 78174"/>
                <a:gd name="connsiteX3" fmla="*/ 0 w 78165"/>
                <a:gd name="connsiteY3" fmla="*/ 39087 h 78174"/>
                <a:gd name="connsiteX4" fmla="*/ 39083 w 7816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5" h="78174">
                  <a:moveTo>
                    <a:pt x="39083" y="0"/>
                  </a:moveTo>
                  <a:cubicBezTo>
                    <a:pt x="60669" y="0"/>
                    <a:pt x="78165" y="17500"/>
                    <a:pt x="78165" y="39087"/>
                  </a:cubicBezTo>
                  <a:cubicBezTo>
                    <a:pt x="78165" y="60675"/>
                    <a:pt x="60669" y="78174"/>
                    <a:pt x="39083" y="78174"/>
                  </a:cubicBezTo>
                  <a:cubicBezTo>
                    <a:pt x="17490" y="78174"/>
                    <a:pt x="0" y="60675"/>
                    <a:pt x="0" y="39087"/>
                  </a:cubicBezTo>
                  <a:cubicBezTo>
                    <a:pt x="0" y="17500"/>
                    <a:pt x="17490" y="0"/>
                    <a:pt x="3908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66" name="Freeform: Shape 297">
              <a:extLst>
                <a:ext uri="{FF2B5EF4-FFF2-40B4-BE49-F238E27FC236}">
                  <a16:creationId xmlns:a16="http://schemas.microsoft.com/office/drawing/2014/main" id="{8D692F68-D286-4418-9494-EA1E509F990E}"/>
                </a:ext>
              </a:extLst>
            </p:cNvPr>
            <p:cNvSpPr>
              <a:spLocks/>
            </p:cNvSpPr>
            <p:nvPr/>
          </p:nvSpPr>
          <p:spPr bwMode="auto">
            <a:xfrm>
              <a:off x="7649490" y="3520672"/>
              <a:ext cx="78191" cy="78174"/>
            </a:xfrm>
            <a:custGeom>
              <a:avLst/>
              <a:gdLst>
                <a:gd name="connsiteX0" fmla="*/ 39100 w 78191"/>
                <a:gd name="connsiteY0" fmla="*/ 0 h 78174"/>
                <a:gd name="connsiteX1" fmla="*/ 78191 w 78191"/>
                <a:gd name="connsiteY1" fmla="*/ 39087 h 78174"/>
                <a:gd name="connsiteX2" fmla="*/ 39100 w 78191"/>
                <a:gd name="connsiteY2" fmla="*/ 78174 h 78174"/>
                <a:gd name="connsiteX3" fmla="*/ 0 w 78191"/>
                <a:gd name="connsiteY3" fmla="*/ 39087 h 78174"/>
                <a:gd name="connsiteX4" fmla="*/ 39100 w 78191"/>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1" h="78174">
                  <a:moveTo>
                    <a:pt x="39100" y="0"/>
                  </a:moveTo>
                  <a:cubicBezTo>
                    <a:pt x="60693" y="0"/>
                    <a:pt x="78191" y="17500"/>
                    <a:pt x="78191" y="39087"/>
                  </a:cubicBezTo>
                  <a:cubicBezTo>
                    <a:pt x="78191" y="60675"/>
                    <a:pt x="60693" y="78174"/>
                    <a:pt x="39100" y="78174"/>
                  </a:cubicBezTo>
                  <a:cubicBezTo>
                    <a:pt x="17505" y="78174"/>
                    <a:pt x="0" y="60675"/>
                    <a:pt x="0" y="39087"/>
                  </a:cubicBezTo>
                  <a:cubicBezTo>
                    <a:pt x="0" y="17500"/>
                    <a:pt x="17505" y="0"/>
                    <a:pt x="3910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67" name="Freeform: Shape 298">
              <a:extLst>
                <a:ext uri="{FF2B5EF4-FFF2-40B4-BE49-F238E27FC236}">
                  <a16:creationId xmlns:a16="http://schemas.microsoft.com/office/drawing/2014/main" id="{8443D9EE-BF4B-4036-A41F-5741DB68089A}"/>
                </a:ext>
              </a:extLst>
            </p:cNvPr>
            <p:cNvSpPr>
              <a:spLocks/>
            </p:cNvSpPr>
            <p:nvPr/>
          </p:nvSpPr>
          <p:spPr bwMode="auto">
            <a:xfrm>
              <a:off x="8117967" y="3520672"/>
              <a:ext cx="78112" cy="78174"/>
            </a:xfrm>
            <a:custGeom>
              <a:avLst/>
              <a:gdLst>
                <a:gd name="connsiteX0" fmla="*/ 39014 w 78112"/>
                <a:gd name="connsiteY0" fmla="*/ 0 h 78174"/>
                <a:gd name="connsiteX1" fmla="*/ 78112 w 78112"/>
                <a:gd name="connsiteY1" fmla="*/ 39087 h 78174"/>
                <a:gd name="connsiteX2" fmla="*/ 39014 w 78112"/>
                <a:gd name="connsiteY2" fmla="*/ 78174 h 78174"/>
                <a:gd name="connsiteX3" fmla="*/ 0 w 78112"/>
                <a:gd name="connsiteY3" fmla="*/ 39087 h 78174"/>
                <a:gd name="connsiteX4" fmla="*/ 39014 w 78112"/>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12" h="78174">
                  <a:moveTo>
                    <a:pt x="39014" y="0"/>
                  </a:moveTo>
                  <a:cubicBezTo>
                    <a:pt x="60608" y="0"/>
                    <a:pt x="78112" y="17500"/>
                    <a:pt x="78112" y="39087"/>
                  </a:cubicBezTo>
                  <a:cubicBezTo>
                    <a:pt x="78112" y="60675"/>
                    <a:pt x="60608" y="78174"/>
                    <a:pt x="39014" y="78174"/>
                  </a:cubicBezTo>
                  <a:cubicBezTo>
                    <a:pt x="17498" y="78174"/>
                    <a:pt x="0" y="60675"/>
                    <a:pt x="0" y="39087"/>
                  </a:cubicBezTo>
                  <a:cubicBezTo>
                    <a:pt x="0" y="17500"/>
                    <a:pt x="17498" y="0"/>
                    <a:pt x="3901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68" name="Freeform: Shape 299">
              <a:extLst>
                <a:ext uri="{FF2B5EF4-FFF2-40B4-BE49-F238E27FC236}">
                  <a16:creationId xmlns:a16="http://schemas.microsoft.com/office/drawing/2014/main" id="{2A19A168-5CBF-4C07-ABE3-8FC1AB1F9980}"/>
                </a:ext>
              </a:extLst>
            </p:cNvPr>
            <p:cNvSpPr>
              <a:spLocks/>
            </p:cNvSpPr>
            <p:nvPr/>
          </p:nvSpPr>
          <p:spPr bwMode="auto">
            <a:xfrm>
              <a:off x="9525647" y="352067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5"/>
                    <a:pt x="60675" y="78174"/>
                    <a:pt x="39088" y="78174"/>
                  </a:cubicBezTo>
                  <a:cubicBezTo>
                    <a:pt x="17500" y="78174"/>
                    <a:pt x="0" y="60675"/>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69" name="Freeform: Shape 300">
              <a:extLst>
                <a:ext uri="{FF2B5EF4-FFF2-40B4-BE49-F238E27FC236}">
                  <a16:creationId xmlns:a16="http://schemas.microsoft.com/office/drawing/2014/main" id="{059A6943-458A-4B4E-A409-7608E5C0CC65}"/>
                </a:ext>
              </a:extLst>
            </p:cNvPr>
            <p:cNvSpPr>
              <a:spLocks/>
            </p:cNvSpPr>
            <p:nvPr/>
          </p:nvSpPr>
          <p:spPr bwMode="auto">
            <a:xfrm>
              <a:off x="9807202" y="352067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5"/>
                    <a:pt x="60674" y="78174"/>
                    <a:pt x="39087" y="78174"/>
                  </a:cubicBezTo>
                  <a:cubicBezTo>
                    <a:pt x="17499" y="78174"/>
                    <a:pt x="0" y="60675"/>
                    <a:pt x="0" y="39087"/>
                  </a:cubicBezTo>
                  <a:cubicBezTo>
                    <a:pt x="0" y="17500"/>
                    <a:pt x="17499"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70" name="Freeform: Shape 301">
              <a:extLst>
                <a:ext uri="{FF2B5EF4-FFF2-40B4-BE49-F238E27FC236}">
                  <a16:creationId xmlns:a16="http://schemas.microsoft.com/office/drawing/2014/main" id="{BD2EF277-0D5A-4A30-8AF6-89C7F15FF06F}"/>
                </a:ext>
              </a:extLst>
            </p:cNvPr>
            <p:cNvSpPr>
              <a:spLocks/>
            </p:cNvSpPr>
            <p:nvPr/>
          </p:nvSpPr>
          <p:spPr bwMode="auto">
            <a:xfrm>
              <a:off x="6710183" y="3608216"/>
              <a:ext cx="78175" cy="78175"/>
            </a:xfrm>
            <a:custGeom>
              <a:avLst/>
              <a:gdLst>
                <a:gd name="connsiteX0" fmla="*/ 39086 w 78175"/>
                <a:gd name="connsiteY0" fmla="*/ 0 h 78175"/>
                <a:gd name="connsiteX1" fmla="*/ 78175 w 78175"/>
                <a:gd name="connsiteY1" fmla="*/ 39087 h 78175"/>
                <a:gd name="connsiteX2" fmla="*/ 39086 w 78175"/>
                <a:gd name="connsiteY2" fmla="*/ 78175 h 78175"/>
                <a:gd name="connsiteX3" fmla="*/ 0 w 78175"/>
                <a:gd name="connsiteY3" fmla="*/ 39087 h 78175"/>
                <a:gd name="connsiteX4" fmla="*/ 39086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6" y="0"/>
                  </a:moveTo>
                  <a:cubicBezTo>
                    <a:pt x="60676" y="0"/>
                    <a:pt x="78175" y="17500"/>
                    <a:pt x="78175" y="39087"/>
                  </a:cubicBezTo>
                  <a:cubicBezTo>
                    <a:pt x="78175" y="60675"/>
                    <a:pt x="60676" y="78175"/>
                    <a:pt x="39086" y="78175"/>
                  </a:cubicBezTo>
                  <a:cubicBezTo>
                    <a:pt x="17500" y="78175"/>
                    <a:pt x="0" y="60675"/>
                    <a:pt x="0" y="39087"/>
                  </a:cubicBezTo>
                  <a:cubicBezTo>
                    <a:pt x="0" y="17500"/>
                    <a:pt x="17500"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71" name="Freeform: Shape 302">
              <a:extLst>
                <a:ext uri="{FF2B5EF4-FFF2-40B4-BE49-F238E27FC236}">
                  <a16:creationId xmlns:a16="http://schemas.microsoft.com/office/drawing/2014/main" id="{9272E76E-815C-44BD-AECA-31A36BAD2ED2}"/>
                </a:ext>
              </a:extLst>
            </p:cNvPr>
            <p:cNvSpPr>
              <a:spLocks/>
            </p:cNvSpPr>
            <p:nvPr/>
          </p:nvSpPr>
          <p:spPr bwMode="auto">
            <a:xfrm>
              <a:off x="6897115" y="3608216"/>
              <a:ext cx="78170" cy="78175"/>
            </a:xfrm>
            <a:custGeom>
              <a:avLst/>
              <a:gdLst>
                <a:gd name="connsiteX0" fmla="*/ 39066 w 78170"/>
                <a:gd name="connsiteY0" fmla="*/ 0 h 78175"/>
                <a:gd name="connsiteX1" fmla="*/ 78170 w 78170"/>
                <a:gd name="connsiteY1" fmla="*/ 39087 h 78175"/>
                <a:gd name="connsiteX2" fmla="*/ 39066 w 78170"/>
                <a:gd name="connsiteY2" fmla="*/ 78175 h 78175"/>
                <a:gd name="connsiteX3" fmla="*/ 0 w 78170"/>
                <a:gd name="connsiteY3" fmla="*/ 39087 h 78175"/>
                <a:gd name="connsiteX4" fmla="*/ 39066 w 78170"/>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0" h="78175">
                  <a:moveTo>
                    <a:pt x="39066" y="0"/>
                  </a:moveTo>
                  <a:cubicBezTo>
                    <a:pt x="60653" y="0"/>
                    <a:pt x="78170" y="17500"/>
                    <a:pt x="78170" y="39087"/>
                  </a:cubicBezTo>
                  <a:cubicBezTo>
                    <a:pt x="78170" y="60675"/>
                    <a:pt x="60653" y="78175"/>
                    <a:pt x="39066" y="78175"/>
                  </a:cubicBezTo>
                  <a:cubicBezTo>
                    <a:pt x="17502" y="78175"/>
                    <a:pt x="0" y="60675"/>
                    <a:pt x="0" y="39087"/>
                  </a:cubicBezTo>
                  <a:cubicBezTo>
                    <a:pt x="0" y="17500"/>
                    <a:pt x="17502" y="0"/>
                    <a:pt x="3906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72" name="Freeform: Shape 303">
              <a:extLst>
                <a:ext uri="{FF2B5EF4-FFF2-40B4-BE49-F238E27FC236}">
                  <a16:creationId xmlns:a16="http://schemas.microsoft.com/office/drawing/2014/main" id="{0D1B9ADB-781A-42AE-A936-77CBE2B5F9B5}"/>
                </a:ext>
              </a:extLst>
            </p:cNvPr>
            <p:cNvSpPr>
              <a:spLocks/>
            </p:cNvSpPr>
            <p:nvPr/>
          </p:nvSpPr>
          <p:spPr bwMode="auto">
            <a:xfrm>
              <a:off x="7552476" y="3608216"/>
              <a:ext cx="78171" cy="78175"/>
            </a:xfrm>
            <a:custGeom>
              <a:avLst/>
              <a:gdLst>
                <a:gd name="connsiteX0" fmla="*/ 39082 w 78171"/>
                <a:gd name="connsiteY0" fmla="*/ 0 h 78175"/>
                <a:gd name="connsiteX1" fmla="*/ 78171 w 78171"/>
                <a:gd name="connsiteY1" fmla="*/ 39087 h 78175"/>
                <a:gd name="connsiteX2" fmla="*/ 39082 w 78171"/>
                <a:gd name="connsiteY2" fmla="*/ 78175 h 78175"/>
                <a:gd name="connsiteX3" fmla="*/ 0 w 78171"/>
                <a:gd name="connsiteY3" fmla="*/ 39087 h 78175"/>
                <a:gd name="connsiteX4" fmla="*/ 39082 w 78171"/>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5">
                  <a:moveTo>
                    <a:pt x="39082" y="0"/>
                  </a:moveTo>
                  <a:cubicBezTo>
                    <a:pt x="60665" y="0"/>
                    <a:pt x="78171" y="17500"/>
                    <a:pt x="78171" y="39087"/>
                  </a:cubicBezTo>
                  <a:cubicBezTo>
                    <a:pt x="78171" y="60675"/>
                    <a:pt x="60665" y="78175"/>
                    <a:pt x="39082" y="78175"/>
                  </a:cubicBezTo>
                  <a:cubicBezTo>
                    <a:pt x="17497" y="78175"/>
                    <a:pt x="0" y="60675"/>
                    <a:pt x="0" y="39087"/>
                  </a:cubicBezTo>
                  <a:cubicBezTo>
                    <a:pt x="0" y="17500"/>
                    <a:pt x="17497" y="0"/>
                    <a:pt x="3908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73" name="Freeform: Shape 304">
              <a:extLst>
                <a:ext uri="{FF2B5EF4-FFF2-40B4-BE49-F238E27FC236}">
                  <a16:creationId xmlns:a16="http://schemas.microsoft.com/office/drawing/2014/main" id="{62E97534-E24A-47C2-9175-8D92ADA4C00B}"/>
                </a:ext>
              </a:extLst>
            </p:cNvPr>
            <p:cNvSpPr>
              <a:spLocks/>
            </p:cNvSpPr>
            <p:nvPr/>
          </p:nvSpPr>
          <p:spPr bwMode="auto">
            <a:xfrm>
              <a:off x="8210183" y="3608216"/>
              <a:ext cx="78173" cy="78175"/>
            </a:xfrm>
            <a:custGeom>
              <a:avLst/>
              <a:gdLst>
                <a:gd name="connsiteX0" fmla="*/ 39082 w 78173"/>
                <a:gd name="connsiteY0" fmla="*/ 0 h 78175"/>
                <a:gd name="connsiteX1" fmla="*/ 78173 w 78173"/>
                <a:gd name="connsiteY1" fmla="*/ 39087 h 78175"/>
                <a:gd name="connsiteX2" fmla="*/ 39082 w 78173"/>
                <a:gd name="connsiteY2" fmla="*/ 78175 h 78175"/>
                <a:gd name="connsiteX3" fmla="*/ 0 w 78173"/>
                <a:gd name="connsiteY3" fmla="*/ 39087 h 78175"/>
                <a:gd name="connsiteX4" fmla="*/ 39082 w 78173"/>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5">
                  <a:moveTo>
                    <a:pt x="39082" y="0"/>
                  </a:moveTo>
                  <a:cubicBezTo>
                    <a:pt x="60660" y="0"/>
                    <a:pt x="78173" y="17500"/>
                    <a:pt x="78173" y="39087"/>
                  </a:cubicBezTo>
                  <a:cubicBezTo>
                    <a:pt x="78173" y="60675"/>
                    <a:pt x="60660" y="78175"/>
                    <a:pt x="39082" y="78175"/>
                  </a:cubicBezTo>
                  <a:cubicBezTo>
                    <a:pt x="17487" y="78175"/>
                    <a:pt x="0" y="60675"/>
                    <a:pt x="0" y="39087"/>
                  </a:cubicBezTo>
                  <a:cubicBezTo>
                    <a:pt x="0" y="17500"/>
                    <a:pt x="17487" y="0"/>
                    <a:pt x="3908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74" name="Freeform: Shape 305">
              <a:extLst>
                <a:ext uri="{FF2B5EF4-FFF2-40B4-BE49-F238E27FC236}">
                  <a16:creationId xmlns:a16="http://schemas.microsoft.com/office/drawing/2014/main" id="{F8347D4B-1918-4B60-A480-78A293D6AB3D}"/>
                </a:ext>
              </a:extLst>
            </p:cNvPr>
            <p:cNvSpPr>
              <a:spLocks/>
            </p:cNvSpPr>
            <p:nvPr/>
          </p:nvSpPr>
          <p:spPr bwMode="auto">
            <a:xfrm>
              <a:off x="9151821" y="3608216"/>
              <a:ext cx="78180" cy="78175"/>
            </a:xfrm>
            <a:custGeom>
              <a:avLst/>
              <a:gdLst>
                <a:gd name="connsiteX0" fmla="*/ 39086 w 78180"/>
                <a:gd name="connsiteY0" fmla="*/ 0 h 78175"/>
                <a:gd name="connsiteX1" fmla="*/ 78180 w 78180"/>
                <a:gd name="connsiteY1" fmla="*/ 39087 h 78175"/>
                <a:gd name="connsiteX2" fmla="*/ 39086 w 78180"/>
                <a:gd name="connsiteY2" fmla="*/ 78175 h 78175"/>
                <a:gd name="connsiteX3" fmla="*/ 0 w 78180"/>
                <a:gd name="connsiteY3" fmla="*/ 39087 h 78175"/>
                <a:gd name="connsiteX4" fmla="*/ 39086 w 78180"/>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0" h="78175">
                  <a:moveTo>
                    <a:pt x="39086" y="0"/>
                  </a:moveTo>
                  <a:cubicBezTo>
                    <a:pt x="60675" y="0"/>
                    <a:pt x="78180" y="17500"/>
                    <a:pt x="78180" y="39087"/>
                  </a:cubicBezTo>
                  <a:cubicBezTo>
                    <a:pt x="78180" y="60675"/>
                    <a:pt x="60675" y="78175"/>
                    <a:pt x="39086" y="78175"/>
                  </a:cubicBezTo>
                  <a:cubicBezTo>
                    <a:pt x="17502" y="78175"/>
                    <a:pt x="0" y="60675"/>
                    <a:pt x="0" y="39087"/>
                  </a:cubicBezTo>
                  <a:cubicBezTo>
                    <a:pt x="0" y="17500"/>
                    <a:pt x="17502"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75" name="Freeform: Shape 306">
              <a:extLst>
                <a:ext uri="{FF2B5EF4-FFF2-40B4-BE49-F238E27FC236}">
                  <a16:creationId xmlns:a16="http://schemas.microsoft.com/office/drawing/2014/main" id="{BEBC0377-A19A-4DFB-AB26-7E97EDCAA278}"/>
                </a:ext>
              </a:extLst>
            </p:cNvPr>
            <p:cNvSpPr>
              <a:spLocks/>
            </p:cNvSpPr>
            <p:nvPr/>
          </p:nvSpPr>
          <p:spPr bwMode="auto">
            <a:xfrm>
              <a:off x="9617922" y="3608216"/>
              <a:ext cx="78174" cy="78175"/>
            </a:xfrm>
            <a:custGeom>
              <a:avLst/>
              <a:gdLst>
                <a:gd name="connsiteX0" fmla="*/ 39087 w 78174"/>
                <a:gd name="connsiteY0" fmla="*/ 0 h 78175"/>
                <a:gd name="connsiteX1" fmla="*/ 78174 w 78174"/>
                <a:gd name="connsiteY1" fmla="*/ 39087 h 78175"/>
                <a:gd name="connsiteX2" fmla="*/ 39087 w 78174"/>
                <a:gd name="connsiteY2" fmla="*/ 78175 h 78175"/>
                <a:gd name="connsiteX3" fmla="*/ 0 w 78174"/>
                <a:gd name="connsiteY3" fmla="*/ 39087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7"/>
                  </a:cubicBezTo>
                  <a:cubicBezTo>
                    <a:pt x="78174" y="60675"/>
                    <a:pt x="60674" y="78175"/>
                    <a:pt x="39087" y="78175"/>
                  </a:cubicBezTo>
                  <a:cubicBezTo>
                    <a:pt x="17500" y="78175"/>
                    <a:pt x="0" y="60675"/>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76" name="Freeform: Shape 307">
              <a:extLst>
                <a:ext uri="{FF2B5EF4-FFF2-40B4-BE49-F238E27FC236}">
                  <a16:creationId xmlns:a16="http://schemas.microsoft.com/office/drawing/2014/main" id="{58A2D66F-2FB9-441A-B790-A99262094873}"/>
                </a:ext>
              </a:extLst>
            </p:cNvPr>
            <p:cNvSpPr>
              <a:spLocks/>
            </p:cNvSpPr>
            <p:nvPr/>
          </p:nvSpPr>
          <p:spPr bwMode="auto">
            <a:xfrm>
              <a:off x="9899477" y="3608216"/>
              <a:ext cx="78174" cy="78175"/>
            </a:xfrm>
            <a:custGeom>
              <a:avLst/>
              <a:gdLst>
                <a:gd name="connsiteX0" fmla="*/ 39087 w 78174"/>
                <a:gd name="connsiteY0" fmla="*/ 0 h 78175"/>
                <a:gd name="connsiteX1" fmla="*/ 78174 w 78174"/>
                <a:gd name="connsiteY1" fmla="*/ 39087 h 78175"/>
                <a:gd name="connsiteX2" fmla="*/ 39087 w 78174"/>
                <a:gd name="connsiteY2" fmla="*/ 78175 h 78175"/>
                <a:gd name="connsiteX3" fmla="*/ 0 w 78174"/>
                <a:gd name="connsiteY3" fmla="*/ 39087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7"/>
                  </a:cubicBezTo>
                  <a:cubicBezTo>
                    <a:pt x="78174" y="60675"/>
                    <a:pt x="60674" y="78175"/>
                    <a:pt x="39087" y="78175"/>
                  </a:cubicBezTo>
                  <a:cubicBezTo>
                    <a:pt x="17500" y="78175"/>
                    <a:pt x="0" y="60675"/>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77" name="Freeform: Shape 308">
              <a:extLst>
                <a:ext uri="{FF2B5EF4-FFF2-40B4-BE49-F238E27FC236}">
                  <a16:creationId xmlns:a16="http://schemas.microsoft.com/office/drawing/2014/main" id="{38B7379F-3426-44F3-9A6B-95F6DE944138}"/>
                </a:ext>
              </a:extLst>
            </p:cNvPr>
            <p:cNvSpPr>
              <a:spLocks/>
            </p:cNvSpPr>
            <p:nvPr/>
          </p:nvSpPr>
          <p:spPr bwMode="auto">
            <a:xfrm>
              <a:off x="6655778" y="3629276"/>
              <a:ext cx="40306" cy="57114"/>
            </a:xfrm>
            <a:custGeom>
              <a:avLst/>
              <a:gdLst>
                <a:gd name="connsiteX0" fmla="*/ 32839 w 40306"/>
                <a:gd name="connsiteY0" fmla="*/ 0 h 57114"/>
                <a:gd name="connsiteX1" fmla="*/ 40306 w 40306"/>
                <a:gd name="connsiteY1" fmla="*/ 18026 h 57114"/>
                <a:gd name="connsiteX2" fmla="*/ 1218 w 40306"/>
                <a:gd name="connsiteY2" fmla="*/ 57114 h 57114"/>
                <a:gd name="connsiteX3" fmla="*/ 0 w 40306"/>
                <a:gd name="connsiteY3" fmla="*/ 56609 h 57114"/>
                <a:gd name="connsiteX4" fmla="*/ 5942 w 40306"/>
                <a:gd name="connsiteY4" fmla="*/ 44273 h 57114"/>
                <a:gd name="connsiteX5" fmla="*/ 32839 w 40306"/>
                <a:gd name="connsiteY5" fmla="*/ 0 h 57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06" h="57114">
                  <a:moveTo>
                    <a:pt x="32839" y="0"/>
                  </a:moveTo>
                  <a:lnTo>
                    <a:pt x="40306" y="18026"/>
                  </a:lnTo>
                  <a:cubicBezTo>
                    <a:pt x="40306" y="39614"/>
                    <a:pt x="22806" y="57114"/>
                    <a:pt x="1218" y="57114"/>
                  </a:cubicBezTo>
                  <a:lnTo>
                    <a:pt x="0" y="56609"/>
                  </a:lnTo>
                  <a:lnTo>
                    <a:pt x="5942" y="44273"/>
                  </a:lnTo>
                  <a:lnTo>
                    <a:pt x="3283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78" name="Freeform: Shape 309">
              <a:extLst>
                <a:ext uri="{FF2B5EF4-FFF2-40B4-BE49-F238E27FC236}">
                  <a16:creationId xmlns:a16="http://schemas.microsoft.com/office/drawing/2014/main" id="{1315814D-15A4-4F8F-9072-6ABAA2D46821}"/>
                </a:ext>
              </a:extLst>
            </p:cNvPr>
            <p:cNvSpPr>
              <a:spLocks/>
            </p:cNvSpPr>
            <p:nvPr/>
          </p:nvSpPr>
          <p:spPr bwMode="auto">
            <a:xfrm>
              <a:off x="6804820" y="3693393"/>
              <a:ext cx="78189" cy="78173"/>
            </a:xfrm>
            <a:custGeom>
              <a:avLst/>
              <a:gdLst>
                <a:gd name="connsiteX0" fmla="*/ 39090 w 78189"/>
                <a:gd name="connsiteY0" fmla="*/ 0 h 78173"/>
                <a:gd name="connsiteX1" fmla="*/ 78189 w 78189"/>
                <a:gd name="connsiteY1" fmla="*/ 39087 h 78173"/>
                <a:gd name="connsiteX2" fmla="*/ 39090 w 78189"/>
                <a:gd name="connsiteY2" fmla="*/ 78173 h 78173"/>
                <a:gd name="connsiteX3" fmla="*/ 0 w 78189"/>
                <a:gd name="connsiteY3" fmla="*/ 39087 h 78173"/>
                <a:gd name="connsiteX4" fmla="*/ 39090 w 7818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9" h="78173">
                  <a:moveTo>
                    <a:pt x="39090" y="0"/>
                  </a:moveTo>
                  <a:cubicBezTo>
                    <a:pt x="60671" y="0"/>
                    <a:pt x="78189" y="17500"/>
                    <a:pt x="78189" y="39087"/>
                  </a:cubicBezTo>
                  <a:cubicBezTo>
                    <a:pt x="78189" y="60673"/>
                    <a:pt x="60671" y="78173"/>
                    <a:pt x="39090" y="78173"/>
                  </a:cubicBezTo>
                  <a:cubicBezTo>
                    <a:pt x="17499" y="78173"/>
                    <a:pt x="0" y="60673"/>
                    <a:pt x="0" y="39087"/>
                  </a:cubicBezTo>
                  <a:cubicBezTo>
                    <a:pt x="0" y="17500"/>
                    <a:pt x="17499" y="0"/>
                    <a:pt x="3909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79" name="Freeform: Shape 310">
              <a:extLst>
                <a:ext uri="{FF2B5EF4-FFF2-40B4-BE49-F238E27FC236}">
                  <a16:creationId xmlns:a16="http://schemas.microsoft.com/office/drawing/2014/main" id="{1D320C77-180C-4BBD-9870-842B442191AC}"/>
                </a:ext>
              </a:extLst>
            </p:cNvPr>
            <p:cNvSpPr>
              <a:spLocks/>
            </p:cNvSpPr>
            <p:nvPr/>
          </p:nvSpPr>
          <p:spPr bwMode="auto">
            <a:xfrm>
              <a:off x="7176318" y="3693393"/>
              <a:ext cx="78177" cy="78173"/>
            </a:xfrm>
            <a:custGeom>
              <a:avLst/>
              <a:gdLst>
                <a:gd name="connsiteX0" fmla="*/ 39075 w 78177"/>
                <a:gd name="connsiteY0" fmla="*/ 0 h 78173"/>
                <a:gd name="connsiteX1" fmla="*/ 78177 w 78177"/>
                <a:gd name="connsiteY1" fmla="*/ 39087 h 78173"/>
                <a:gd name="connsiteX2" fmla="*/ 39075 w 78177"/>
                <a:gd name="connsiteY2" fmla="*/ 78173 h 78173"/>
                <a:gd name="connsiteX3" fmla="*/ 0 w 78177"/>
                <a:gd name="connsiteY3" fmla="*/ 39087 h 78173"/>
                <a:gd name="connsiteX4" fmla="*/ 39075 w 78177"/>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7" h="78173">
                  <a:moveTo>
                    <a:pt x="39075" y="0"/>
                  </a:moveTo>
                  <a:cubicBezTo>
                    <a:pt x="60680" y="0"/>
                    <a:pt x="78177" y="17500"/>
                    <a:pt x="78177" y="39087"/>
                  </a:cubicBezTo>
                  <a:cubicBezTo>
                    <a:pt x="78177" y="60673"/>
                    <a:pt x="60680" y="78173"/>
                    <a:pt x="39075" y="78173"/>
                  </a:cubicBezTo>
                  <a:cubicBezTo>
                    <a:pt x="17505" y="78173"/>
                    <a:pt x="0" y="60673"/>
                    <a:pt x="0" y="39087"/>
                  </a:cubicBezTo>
                  <a:cubicBezTo>
                    <a:pt x="0" y="17500"/>
                    <a:pt x="17505" y="0"/>
                    <a:pt x="3907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80" name="Freeform: Shape 311">
              <a:extLst>
                <a:ext uri="{FF2B5EF4-FFF2-40B4-BE49-F238E27FC236}">
                  <a16:creationId xmlns:a16="http://schemas.microsoft.com/office/drawing/2014/main" id="{C630734D-8E27-477B-A988-669E1BB6BE10}"/>
                </a:ext>
              </a:extLst>
            </p:cNvPr>
            <p:cNvSpPr>
              <a:spLocks/>
            </p:cNvSpPr>
            <p:nvPr/>
          </p:nvSpPr>
          <p:spPr bwMode="auto">
            <a:xfrm>
              <a:off x="8964923" y="3693393"/>
              <a:ext cx="78167" cy="78173"/>
            </a:xfrm>
            <a:custGeom>
              <a:avLst/>
              <a:gdLst>
                <a:gd name="connsiteX0" fmla="*/ 39078 w 78167"/>
                <a:gd name="connsiteY0" fmla="*/ 0 h 78173"/>
                <a:gd name="connsiteX1" fmla="*/ 78167 w 78167"/>
                <a:gd name="connsiteY1" fmla="*/ 39087 h 78173"/>
                <a:gd name="connsiteX2" fmla="*/ 39078 w 78167"/>
                <a:gd name="connsiteY2" fmla="*/ 78173 h 78173"/>
                <a:gd name="connsiteX3" fmla="*/ 0 w 78167"/>
                <a:gd name="connsiteY3" fmla="*/ 39087 h 78173"/>
                <a:gd name="connsiteX4" fmla="*/ 39078 w 78167"/>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3">
                  <a:moveTo>
                    <a:pt x="39078" y="0"/>
                  </a:moveTo>
                  <a:cubicBezTo>
                    <a:pt x="60666" y="0"/>
                    <a:pt x="78167" y="17500"/>
                    <a:pt x="78167" y="39087"/>
                  </a:cubicBezTo>
                  <a:cubicBezTo>
                    <a:pt x="78167" y="60673"/>
                    <a:pt x="60666" y="78173"/>
                    <a:pt x="39078" y="78173"/>
                  </a:cubicBezTo>
                  <a:cubicBezTo>
                    <a:pt x="17502" y="78173"/>
                    <a:pt x="0" y="60673"/>
                    <a:pt x="0" y="39087"/>
                  </a:cubicBezTo>
                  <a:cubicBezTo>
                    <a:pt x="0" y="17500"/>
                    <a:pt x="17502" y="0"/>
                    <a:pt x="3907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81" name="Freeform: Shape 312">
              <a:extLst>
                <a:ext uri="{FF2B5EF4-FFF2-40B4-BE49-F238E27FC236}">
                  <a16:creationId xmlns:a16="http://schemas.microsoft.com/office/drawing/2014/main" id="{E98E2465-7179-4616-9A34-FAF1950FFE2D}"/>
                </a:ext>
              </a:extLst>
            </p:cNvPr>
            <p:cNvSpPr>
              <a:spLocks/>
            </p:cNvSpPr>
            <p:nvPr/>
          </p:nvSpPr>
          <p:spPr bwMode="auto">
            <a:xfrm>
              <a:off x="9338734" y="3693394"/>
              <a:ext cx="78174" cy="78173"/>
            </a:xfrm>
            <a:custGeom>
              <a:avLst/>
              <a:gdLst>
                <a:gd name="connsiteX0" fmla="*/ 39087 w 78174"/>
                <a:gd name="connsiteY0" fmla="*/ 0 h 78173"/>
                <a:gd name="connsiteX1" fmla="*/ 78174 w 78174"/>
                <a:gd name="connsiteY1" fmla="*/ 39086 h 78173"/>
                <a:gd name="connsiteX2" fmla="*/ 39087 w 78174"/>
                <a:gd name="connsiteY2" fmla="*/ 78173 h 78173"/>
                <a:gd name="connsiteX3" fmla="*/ 0 w 78174"/>
                <a:gd name="connsiteY3" fmla="*/ 39086 h 78173"/>
                <a:gd name="connsiteX4" fmla="*/ 39087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7" y="0"/>
                  </a:moveTo>
                  <a:cubicBezTo>
                    <a:pt x="60674" y="0"/>
                    <a:pt x="78174" y="17500"/>
                    <a:pt x="78174" y="39086"/>
                  </a:cubicBezTo>
                  <a:cubicBezTo>
                    <a:pt x="78174" y="60673"/>
                    <a:pt x="60674" y="78173"/>
                    <a:pt x="39087" y="78173"/>
                  </a:cubicBezTo>
                  <a:cubicBezTo>
                    <a:pt x="17500" y="78173"/>
                    <a:pt x="0" y="60673"/>
                    <a:pt x="0" y="39086"/>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82" name="Freeform: Shape 313">
              <a:extLst>
                <a:ext uri="{FF2B5EF4-FFF2-40B4-BE49-F238E27FC236}">
                  <a16:creationId xmlns:a16="http://schemas.microsoft.com/office/drawing/2014/main" id="{795851F6-971C-43CD-B2C2-35478CC03871}"/>
                </a:ext>
              </a:extLst>
            </p:cNvPr>
            <p:cNvSpPr>
              <a:spLocks/>
            </p:cNvSpPr>
            <p:nvPr/>
          </p:nvSpPr>
          <p:spPr bwMode="auto">
            <a:xfrm>
              <a:off x="9617922" y="3693394"/>
              <a:ext cx="78175" cy="78173"/>
            </a:xfrm>
            <a:custGeom>
              <a:avLst/>
              <a:gdLst>
                <a:gd name="connsiteX0" fmla="*/ 39087 w 78175"/>
                <a:gd name="connsiteY0" fmla="*/ 0 h 78173"/>
                <a:gd name="connsiteX1" fmla="*/ 78175 w 78175"/>
                <a:gd name="connsiteY1" fmla="*/ 39086 h 78173"/>
                <a:gd name="connsiteX2" fmla="*/ 39087 w 78175"/>
                <a:gd name="connsiteY2" fmla="*/ 78173 h 78173"/>
                <a:gd name="connsiteX3" fmla="*/ 0 w 78175"/>
                <a:gd name="connsiteY3" fmla="*/ 39086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500"/>
                    <a:pt x="78175" y="39086"/>
                  </a:cubicBezTo>
                  <a:cubicBezTo>
                    <a:pt x="78175" y="60673"/>
                    <a:pt x="60675" y="78173"/>
                    <a:pt x="39087" y="78173"/>
                  </a:cubicBezTo>
                  <a:cubicBezTo>
                    <a:pt x="17500" y="78173"/>
                    <a:pt x="0" y="60673"/>
                    <a:pt x="0" y="39086"/>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83" name="Freeform: Shape 314">
              <a:extLst>
                <a:ext uri="{FF2B5EF4-FFF2-40B4-BE49-F238E27FC236}">
                  <a16:creationId xmlns:a16="http://schemas.microsoft.com/office/drawing/2014/main" id="{C6C29B7E-8743-4425-950C-F4AFD715972A}"/>
                </a:ext>
              </a:extLst>
            </p:cNvPr>
            <p:cNvSpPr>
              <a:spLocks/>
            </p:cNvSpPr>
            <p:nvPr/>
          </p:nvSpPr>
          <p:spPr bwMode="auto">
            <a:xfrm>
              <a:off x="9807202" y="3693394"/>
              <a:ext cx="78175" cy="78173"/>
            </a:xfrm>
            <a:custGeom>
              <a:avLst/>
              <a:gdLst>
                <a:gd name="connsiteX0" fmla="*/ 39087 w 78175"/>
                <a:gd name="connsiteY0" fmla="*/ 0 h 78173"/>
                <a:gd name="connsiteX1" fmla="*/ 78175 w 78175"/>
                <a:gd name="connsiteY1" fmla="*/ 39086 h 78173"/>
                <a:gd name="connsiteX2" fmla="*/ 39087 w 78175"/>
                <a:gd name="connsiteY2" fmla="*/ 78173 h 78173"/>
                <a:gd name="connsiteX3" fmla="*/ 0 w 78175"/>
                <a:gd name="connsiteY3" fmla="*/ 39086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500"/>
                    <a:pt x="78175" y="39086"/>
                  </a:cubicBezTo>
                  <a:cubicBezTo>
                    <a:pt x="78175" y="60673"/>
                    <a:pt x="60675" y="78173"/>
                    <a:pt x="39087" y="78173"/>
                  </a:cubicBezTo>
                  <a:cubicBezTo>
                    <a:pt x="17500" y="78173"/>
                    <a:pt x="0" y="60673"/>
                    <a:pt x="0" y="39086"/>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84" name="Freeform: Shape 315">
              <a:extLst>
                <a:ext uri="{FF2B5EF4-FFF2-40B4-BE49-F238E27FC236}">
                  <a16:creationId xmlns:a16="http://schemas.microsoft.com/office/drawing/2014/main" id="{F0203ACF-20F6-4FC1-AF17-6CE7B25E85CC}"/>
                </a:ext>
              </a:extLst>
            </p:cNvPr>
            <p:cNvSpPr>
              <a:spLocks/>
            </p:cNvSpPr>
            <p:nvPr/>
          </p:nvSpPr>
          <p:spPr bwMode="auto">
            <a:xfrm>
              <a:off x="10091123" y="3693394"/>
              <a:ext cx="78174" cy="78173"/>
            </a:xfrm>
            <a:custGeom>
              <a:avLst/>
              <a:gdLst>
                <a:gd name="connsiteX0" fmla="*/ 39088 w 78174"/>
                <a:gd name="connsiteY0" fmla="*/ 0 h 78173"/>
                <a:gd name="connsiteX1" fmla="*/ 78174 w 78174"/>
                <a:gd name="connsiteY1" fmla="*/ 39086 h 78173"/>
                <a:gd name="connsiteX2" fmla="*/ 39088 w 78174"/>
                <a:gd name="connsiteY2" fmla="*/ 78173 h 78173"/>
                <a:gd name="connsiteX3" fmla="*/ 0 w 78174"/>
                <a:gd name="connsiteY3" fmla="*/ 39086 h 78173"/>
                <a:gd name="connsiteX4" fmla="*/ 39088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8" y="0"/>
                  </a:moveTo>
                  <a:cubicBezTo>
                    <a:pt x="60675" y="0"/>
                    <a:pt x="78174" y="17500"/>
                    <a:pt x="78174" y="39086"/>
                  </a:cubicBezTo>
                  <a:cubicBezTo>
                    <a:pt x="78174" y="60673"/>
                    <a:pt x="60675" y="78173"/>
                    <a:pt x="39088" y="78173"/>
                  </a:cubicBezTo>
                  <a:cubicBezTo>
                    <a:pt x="17500" y="78173"/>
                    <a:pt x="0" y="60673"/>
                    <a:pt x="0" y="39086"/>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85" name="Freeform: Shape 316">
              <a:extLst>
                <a:ext uri="{FF2B5EF4-FFF2-40B4-BE49-F238E27FC236}">
                  <a16:creationId xmlns:a16="http://schemas.microsoft.com/office/drawing/2014/main" id="{0ED00465-4535-4DF0-A546-D5C13CFCF7CD}"/>
                </a:ext>
              </a:extLst>
            </p:cNvPr>
            <p:cNvSpPr>
              <a:spLocks/>
            </p:cNvSpPr>
            <p:nvPr/>
          </p:nvSpPr>
          <p:spPr bwMode="auto">
            <a:xfrm>
              <a:off x="10185763" y="3721072"/>
              <a:ext cx="26549" cy="45301"/>
            </a:xfrm>
            <a:custGeom>
              <a:avLst/>
              <a:gdLst>
                <a:gd name="connsiteX0" fmla="*/ 4726 w 26549"/>
                <a:gd name="connsiteY0" fmla="*/ 0 h 45301"/>
                <a:gd name="connsiteX1" fmla="*/ 26549 w 26549"/>
                <a:gd name="connsiteY1" fmla="*/ 45301 h 45301"/>
                <a:gd name="connsiteX2" fmla="*/ 11449 w 26549"/>
                <a:gd name="connsiteY2" fmla="*/ 39047 h 45301"/>
                <a:gd name="connsiteX3" fmla="*/ 0 w 26549"/>
                <a:gd name="connsiteY3" fmla="*/ 11408 h 45301"/>
                <a:gd name="connsiteX4" fmla="*/ 4726 w 26549"/>
                <a:gd name="connsiteY4" fmla="*/ 0 h 45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9" h="45301">
                  <a:moveTo>
                    <a:pt x="4726" y="0"/>
                  </a:moveTo>
                  <a:lnTo>
                    <a:pt x="26549" y="45301"/>
                  </a:lnTo>
                  <a:lnTo>
                    <a:pt x="11449" y="39047"/>
                  </a:lnTo>
                  <a:cubicBezTo>
                    <a:pt x="4375" y="31974"/>
                    <a:pt x="0" y="22202"/>
                    <a:pt x="0" y="11408"/>
                  </a:cubicBezTo>
                  <a:lnTo>
                    <a:pt x="472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86" name="Freeform: Shape 317">
              <a:extLst>
                <a:ext uri="{FF2B5EF4-FFF2-40B4-BE49-F238E27FC236}">
                  <a16:creationId xmlns:a16="http://schemas.microsoft.com/office/drawing/2014/main" id="{56E0F379-CE20-48D1-A4F0-C8CDA8447B3A}"/>
                </a:ext>
              </a:extLst>
            </p:cNvPr>
            <p:cNvSpPr>
              <a:spLocks/>
            </p:cNvSpPr>
            <p:nvPr/>
          </p:nvSpPr>
          <p:spPr bwMode="auto">
            <a:xfrm>
              <a:off x="6617902" y="3776203"/>
              <a:ext cx="78172" cy="78173"/>
            </a:xfrm>
            <a:custGeom>
              <a:avLst/>
              <a:gdLst>
                <a:gd name="connsiteX0" fmla="*/ 39086 w 78172"/>
                <a:gd name="connsiteY0" fmla="*/ 0 h 78173"/>
                <a:gd name="connsiteX1" fmla="*/ 78172 w 78172"/>
                <a:gd name="connsiteY1" fmla="*/ 39086 h 78173"/>
                <a:gd name="connsiteX2" fmla="*/ 39086 w 78172"/>
                <a:gd name="connsiteY2" fmla="*/ 78173 h 78173"/>
                <a:gd name="connsiteX3" fmla="*/ 0 w 78172"/>
                <a:gd name="connsiteY3" fmla="*/ 39086 h 78173"/>
                <a:gd name="connsiteX4" fmla="*/ 39086 w 78172"/>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2" h="78173">
                  <a:moveTo>
                    <a:pt x="39086" y="0"/>
                  </a:moveTo>
                  <a:cubicBezTo>
                    <a:pt x="60673" y="0"/>
                    <a:pt x="78172" y="17499"/>
                    <a:pt x="78172" y="39086"/>
                  </a:cubicBezTo>
                  <a:cubicBezTo>
                    <a:pt x="78172" y="60673"/>
                    <a:pt x="60673" y="78173"/>
                    <a:pt x="39086" y="78173"/>
                  </a:cubicBezTo>
                  <a:cubicBezTo>
                    <a:pt x="17499" y="78173"/>
                    <a:pt x="0" y="60673"/>
                    <a:pt x="0" y="39086"/>
                  </a:cubicBezTo>
                  <a:cubicBezTo>
                    <a:pt x="0" y="17499"/>
                    <a:pt x="17499"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87" name="Freeform: Shape 318">
              <a:extLst>
                <a:ext uri="{FF2B5EF4-FFF2-40B4-BE49-F238E27FC236}">
                  <a16:creationId xmlns:a16="http://schemas.microsoft.com/office/drawing/2014/main" id="{42CCEC81-354B-4C47-A457-11F40A862A94}"/>
                </a:ext>
              </a:extLst>
            </p:cNvPr>
            <p:cNvSpPr>
              <a:spLocks/>
            </p:cNvSpPr>
            <p:nvPr/>
          </p:nvSpPr>
          <p:spPr bwMode="auto">
            <a:xfrm>
              <a:off x="7084012" y="3776203"/>
              <a:ext cx="78196" cy="78173"/>
            </a:xfrm>
            <a:custGeom>
              <a:avLst/>
              <a:gdLst>
                <a:gd name="connsiteX0" fmla="*/ 39098 w 78196"/>
                <a:gd name="connsiteY0" fmla="*/ 0 h 78173"/>
                <a:gd name="connsiteX1" fmla="*/ 78196 w 78196"/>
                <a:gd name="connsiteY1" fmla="*/ 39086 h 78173"/>
                <a:gd name="connsiteX2" fmla="*/ 39098 w 78196"/>
                <a:gd name="connsiteY2" fmla="*/ 78173 h 78173"/>
                <a:gd name="connsiteX3" fmla="*/ 0 w 78196"/>
                <a:gd name="connsiteY3" fmla="*/ 39086 h 78173"/>
                <a:gd name="connsiteX4" fmla="*/ 39098 w 78196"/>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6" h="78173">
                  <a:moveTo>
                    <a:pt x="39098" y="0"/>
                  </a:moveTo>
                  <a:cubicBezTo>
                    <a:pt x="60692" y="0"/>
                    <a:pt x="78196" y="17499"/>
                    <a:pt x="78196" y="39086"/>
                  </a:cubicBezTo>
                  <a:cubicBezTo>
                    <a:pt x="78196" y="60673"/>
                    <a:pt x="60692" y="78173"/>
                    <a:pt x="39098" y="78173"/>
                  </a:cubicBezTo>
                  <a:cubicBezTo>
                    <a:pt x="17505" y="78173"/>
                    <a:pt x="0" y="60673"/>
                    <a:pt x="0" y="39086"/>
                  </a:cubicBezTo>
                  <a:cubicBezTo>
                    <a:pt x="0" y="17499"/>
                    <a:pt x="17505" y="0"/>
                    <a:pt x="3909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88" name="Freeform: Shape 319">
              <a:extLst>
                <a:ext uri="{FF2B5EF4-FFF2-40B4-BE49-F238E27FC236}">
                  <a16:creationId xmlns:a16="http://schemas.microsoft.com/office/drawing/2014/main" id="{557EB05D-26E2-4C11-A4CC-258C9C96480C}"/>
                </a:ext>
              </a:extLst>
            </p:cNvPr>
            <p:cNvSpPr>
              <a:spLocks/>
            </p:cNvSpPr>
            <p:nvPr/>
          </p:nvSpPr>
          <p:spPr bwMode="auto">
            <a:xfrm>
              <a:off x="7270954" y="3776203"/>
              <a:ext cx="78164" cy="78173"/>
            </a:xfrm>
            <a:custGeom>
              <a:avLst/>
              <a:gdLst>
                <a:gd name="connsiteX0" fmla="*/ 39081 w 78164"/>
                <a:gd name="connsiteY0" fmla="*/ 0 h 78173"/>
                <a:gd name="connsiteX1" fmla="*/ 78164 w 78164"/>
                <a:gd name="connsiteY1" fmla="*/ 39086 h 78173"/>
                <a:gd name="connsiteX2" fmla="*/ 39081 w 78164"/>
                <a:gd name="connsiteY2" fmla="*/ 78173 h 78173"/>
                <a:gd name="connsiteX3" fmla="*/ 0 w 78164"/>
                <a:gd name="connsiteY3" fmla="*/ 39086 h 78173"/>
                <a:gd name="connsiteX4" fmla="*/ 39081 w 7816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4" h="78173">
                  <a:moveTo>
                    <a:pt x="39081" y="0"/>
                  </a:moveTo>
                  <a:cubicBezTo>
                    <a:pt x="60665" y="0"/>
                    <a:pt x="78164" y="17499"/>
                    <a:pt x="78164" y="39086"/>
                  </a:cubicBezTo>
                  <a:cubicBezTo>
                    <a:pt x="78164" y="60673"/>
                    <a:pt x="60665" y="78173"/>
                    <a:pt x="39081" y="78173"/>
                  </a:cubicBezTo>
                  <a:cubicBezTo>
                    <a:pt x="17488" y="78173"/>
                    <a:pt x="0" y="60673"/>
                    <a:pt x="0" y="39086"/>
                  </a:cubicBezTo>
                  <a:cubicBezTo>
                    <a:pt x="0" y="17499"/>
                    <a:pt x="17488" y="0"/>
                    <a:pt x="3908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89" name="Freeform: Shape 320">
              <a:extLst>
                <a:ext uri="{FF2B5EF4-FFF2-40B4-BE49-F238E27FC236}">
                  <a16:creationId xmlns:a16="http://schemas.microsoft.com/office/drawing/2014/main" id="{D621598D-FA35-4A74-8D68-373C8704C509}"/>
                </a:ext>
              </a:extLst>
            </p:cNvPr>
            <p:cNvSpPr>
              <a:spLocks/>
            </p:cNvSpPr>
            <p:nvPr/>
          </p:nvSpPr>
          <p:spPr bwMode="auto">
            <a:xfrm>
              <a:off x="7836400" y="3776203"/>
              <a:ext cx="78169" cy="78173"/>
            </a:xfrm>
            <a:custGeom>
              <a:avLst/>
              <a:gdLst>
                <a:gd name="connsiteX0" fmla="*/ 39080 w 78169"/>
                <a:gd name="connsiteY0" fmla="*/ 0 h 78173"/>
                <a:gd name="connsiteX1" fmla="*/ 78169 w 78169"/>
                <a:gd name="connsiteY1" fmla="*/ 39086 h 78173"/>
                <a:gd name="connsiteX2" fmla="*/ 39080 w 78169"/>
                <a:gd name="connsiteY2" fmla="*/ 78173 h 78173"/>
                <a:gd name="connsiteX3" fmla="*/ 0 w 78169"/>
                <a:gd name="connsiteY3" fmla="*/ 39086 h 78173"/>
                <a:gd name="connsiteX4" fmla="*/ 39080 w 7816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3">
                  <a:moveTo>
                    <a:pt x="39080" y="0"/>
                  </a:moveTo>
                  <a:cubicBezTo>
                    <a:pt x="60667" y="0"/>
                    <a:pt x="78169" y="17499"/>
                    <a:pt x="78169" y="39086"/>
                  </a:cubicBezTo>
                  <a:cubicBezTo>
                    <a:pt x="78169" y="60673"/>
                    <a:pt x="60667" y="78173"/>
                    <a:pt x="39080" y="78173"/>
                  </a:cubicBezTo>
                  <a:cubicBezTo>
                    <a:pt x="17498" y="78173"/>
                    <a:pt x="0" y="60673"/>
                    <a:pt x="0" y="39086"/>
                  </a:cubicBezTo>
                  <a:cubicBezTo>
                    <a:pt x="0" y="17499"/>
                    <a:pt x="17498" y="0"/>
                    <a:pt x="3908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90" name="Freeform: Shape 321">
              <a:extLst>
                <a:ext uri="{FF2B5EF4-FFF2-40B4-BE49-F238E27FC236}">
                  <a16:creationId xmlns:a16="http://schemas.microsoft.com/office/drawing/2014/main" id="{F95BFA37-C401-478A-BF11-A4EE0E34AACA}"/>
                </a:ext>
              </a:extLst>
            </p:cNvPr>
            <p:cNvSpPr>
              <a:spLocks/>
            </p:cNvSpPr>
            <p:nvPr/>
          </p:nvSpPr>
          <p:spPr bwMode="auto">
            <a:xfrm>
              <a:off x="9712562" y="3776203"/>
              <a:ext cx="78175" cy="78173"/>
            </a:xfrm>
            <a:custGeom>
              <a:avLst/>
              <a:gdLst>
                <a:gd name="connsiteX0" fmla="*/ 39087 w 78175"/>
                <a:gd name="connsiteY0" fmla="*/ 0 h 78173"/>
                <a:gd name="connsiteX1" fmla="*/ 78175 w 78175"/>
                <a:gd name="connsiteY1" fmla="*/ 39086 h 78173"/>
                <a:gd name="connsiteX2" fmla="*/ 39087 w 78175"/>
                <a:gd name="connsiteY2" fmla="*/ 78173 h 78173"/>
                <a:gd name="connsiteX3" fmla="*/ 0 w 78175"/>
                <a:gd name="connsiteY3" fmla="*/ 39086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499"/>
                    <a:pt x="78175" y="39086"/>
                  </a:cubicBezTo>
                  <a:cubicBezTo>
                    <a:pt x="78175" y="60673"/>
                    <a:pt x="60675" y="78173"/>
                    <a:pt x="39087" y="78173"/>
                  </a:cubicBezTo>
                  <a:cubicBezTo>
                    <a:pt x="17500" y="78173"/>
                    <a:pt x="0" y="60673"/>
                    <a:pt x="0" y="39086"/>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91" name="Freeform: Shape 322">
              <a:extLst>
                <a:ext uri="{FF2B5EF4-FFF2-40B4-BE49-F238E27FC236}">
                  <a16:creationId xmlns:a16="http://schemas.microsoft.com/office/drawing/2014/main" id="{4362EFCD-A4D0-4010-A026-61F733D16170}"/>
                </a:ext>
              </a:extLst>
            </p:cNvPr>
            <p:cNvSpPr>
              <a:spLocks/>
            </p:cNvSpPr>
            <p:nvPr/>
          </p:nvSpPr>
          <p:spPr bwMode="auto">
            <a:xfrm>
              <a:off x="9899478" y="3776203"/>
              <a:ext cx="78175" cy="78173"/>
            </a:xfrm>
            <a:custGeom>
              <a:avLst/>
              <a:gdLst>
                <a:gd name="connsiteX0" fmla="*/ 39087 w 78175"/>
                <a:gd name="connsiteY0" fmla="*/ 0 h 78173"/>
                <a:gd name="connsiteX1" fmla="*/ 78175 w 78175"/>
                <a:gd name="connsiteY1" fmla="*/ 39086 h 78173"/>
                <a:gd name="connsiteX2" fmla="*/ 39087 w 78175"/>
                <a:gd name="connsiteY2" fmla="*/ 78173 h 78173"/>
                <a:gd name="connsiteX3" fmla="*/ 0 w 78175"/>
                <a:gd name="connsiteY3" fmla="*/ 39086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499"/>
                    <a:pt x="78175" y="39086"/>
                  </a:cubicBezTo>
                  <a:cubicBezTo>
                    <a:pt x="78175" y="60673"/>
                    <a:pt x="60675" y="78173"/>
                    <a:pt x="39087" y="78173"/>
                  </a:cubicBezTo>
                  <a:cubicBezTo>
                    <a:pt x="17500" y="78173"/>
                    <a:pt x="0" y="60673"/>
                    <a:pt x="0" y="39086"/>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92" name="Freeform: Shape 323">
              <a:extLst>
                <a:ext uri="{FF2B5EF4-FFF2-40B4-BE49-F238E27FC236}">
                  <a16:creationId xmlns:a16="http://schemas.microsoft.com/office/drawing/2014/main" id="{7534BF42-818B-43CC-A854-34DD2EA2532B}"/>
                </a:ext>
              </a:extLst>
            </p:cNvPr>
            <p:cNvSpPr>
              <a:spLocks/>
            </p:cNvSpPr>
            <p:nvPr/>
          </p:nvSpPr>
          <p:spPr bwMode="auto">
            <a:xfrm>
              <a:off x="6577698" y="3806367"/>
              <a:ext cx="23736" cy="41651"/>
            </a:xfrm>
            <a:custGeom>
              <a:avLst/>
              <a:gdLst>
                <a:gd name="connsiteX0" fmla="*/ 20041 w 23736"/>
                <a:gd name="connsiteY0" fmla="*/ 0 h 41651"/>
                <a:gd name="connsiteX1" fmla="*/ 23736 w 23736"/>
                <a:gd name="connsiteY1" fmla="*/ 8922 h 41651"/>
                <a:gd name="connsiteX2" fmla="*/ 12288 w 23736"/>
                <a:gd name="connsiteY2" fmla="*/ 36561 h 41651"/>
                <a:gd name="connsiteX3" fmla="*/ 0 w 23736"/>
                <a:gd name="connsiteY3" fmla="*/ 41651 h 41651"/>
                <a:gd name="connsiteX4" fmla="*/ 74 w 23736"/>
                <a:gd name="connsiteY4" fmla="*/ 41448 h 41651"/>
                <a:gd name="connsiteX5" fmla="*/ 20041 w 23736"/>
                <a:gd name="connsiteY5" fmla="*/ 0 h 41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736" h="41651">
                  <a:moveTo>
                    <a:pt x="20041" y="0"/>
                  </a:moveTo>
                  <a:lnTo>
                    <a:pt x="23736" y="8922"/>
                  </a:lnTo>
                  <a:cubicBezTo>
                    <a:pt x="23736" y="19716"/>
                    <a:pt x="19361" y="29487"/>
                    <a:pt x="12288" y="36561"/>
                  </a:cubicBezTo>
                  <a:lnTo>
                    <a:pt x="0" y="41651"/>
                  </a:lnTo>
                  <a:lnTo>
                    <a:pt x="74" y="41448"/>
                  </a:lnTo>
                  <a:lnTo>
                    <a:pt x="2004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93" name="Freeform: Shape 324">
              <a:extLst>
                <a:ext uri="{FF2B5EF4-FFF2-40B4-BE49-F238E27FC236}">
                  <a16:creationId xmlns:a16="http://schemas.microsoft.com/office/drawing/2014/main" id="{574F94CE-8106-4D16-ABFD-6AE7F4B6D8D4}"/>
                </a:ext>
              </a:extLst>
            </p:cNvPr>
            <p:cNvSpPr>
              <a:spLocks/>
            </p:cNvSpPr>
            <p:nvPr/>
          </p:nvSpPr>
          <p:spPr bwMode="auto">
            <a:xfrm>
              <a:off x="6710171" y="3863742"/>
              <a:ext cx="78175" cy="78173"/>
            </a:xfrm>
            <a:custGeom>
              <a:avLst/>
              <a:gdLst>
                <a:gd name="connsiteX0" fmla="*/ 39086 w 78175"/>
                <a:gd name="connsiteY0" fmla="*/ 0 h 78173"/>
                <a:gd name="connsiteX1" fmla="*/ 78175 w 78175"/>
                <a:gd name="connsiteY1" fmla="*/ 39087 h 78173"/>
                <a:gd name="connsiteX2" fmla="*/ 39086 w 78175"/>
                <a:gd name="connsiteY2" fmla="*/ 78173 h 78173"/>
                <a:gd name="connsiteX3" fmla="*/ 0 w 78175"/>
                <a:gd name="connsiteY3" fmla="*/ 39087 h 78173"/>
                <a:gd name="connsiteX4" fmla="*/ 39086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6" y="0"/>
                  </a:moveTo>
                  <a:cubicBezTo>
                    <a:pt x="60676" y="0"/>
                    <a:pt x="78175" y="17499"/>
                    <a:pt x="78175" y="39087"/>
                  </a:cubicBezTo>
                  <a:cubicBezTo>
                    <a:pt x="78175" y="60673"/>
                    <a:pt x="60676" y="78173"/>
                    <a:pt x="39086" y="78173"/>
                  </a:cubicBezTo>
                  <a:cubicBezTo>
                    <a:pt x="17500" y="78173"/>
                    <a:pt x="0" y="60673"/>
                    <a:pt x="0" y="39087"/>
                  </a:cubicBezTo>
                  <a:cubicBezTo>
                    <a:pt x="0" y="17499"/>
                    <a:pt x="17500"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94" name="Freeform: Shape 325">
              <a:extLst>
                <a:ext uri="{FF2B5EF4-FFF2-40B4-BE49-F238E27FC236}">
                  <a16:creationId xmlns:a16="http://schemas.microsoft.com/office/drawing/2014/main" id="{F09CCCA5-63C5-4248-9421-0171E2B70042}"/>
                </a:ext>
              </a:extLst>
            </p:cNvPr>
            <p:cNvSpPr>
              <a:spLocks/>
            </p:cNvSpPr>
            <p:nvPr/>
          </p:nvSpPr>
          <p:spPr bwMode="auto">
            <a:xfrm>
              <a:off x="7552465" y="3863742"/>
              <a:ext cx="78171" cy="78173"/>
            </a:xfrm>
            <a:custGeom>
              <a:avLst/>
              <a:gdLst>
                <a:gd name="connsiteX0" fmla="*/ 39081 w 78171"/>
                <a:gd name="connsiteY0" fmla="*/ 0 h 78173"/>
                <a:gd name="connsiteX1" fmla="*/ 78171 w 78171"/>
                <a:gd name="connsiteY1" fmla="*/ 39087 h 78173"/>
                <a:gd name="connsiteX2" fmla="*/ 39081 w 78171"/>
                <a:gd name="connsiteY2" fmla="*/ 78173 h 78173"/>
                <a:gd name="connsiteX3" fmla="*/ 0 w 78171"/>
                <a:gd name="connsiteY3" fmla="*/ 39087 h 78173"/>
                <a:gd name="connsiteX4" fmla="*/ 39081 w 78171"/>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3">
                  <a:moveTo>
                    <a:pt x="39081" y="0"/>
                  </a:moveTo>
                  <a:cubicBezTo>
                    <a:pt x="60666" y="0"/>
                    <a:pt x="78171" y="17499"/>
                    <a:pt x="78171" y="39087"/>
                  </a:cubicBezTo>
                  <a:cubicBezTo>
                    <a:pt x="78171" y="60673"/>
                    <a:pt x="60666" y="78173"/>
                    <a:pt x="39081" y="78173"/>
                  </a:cubicBezTo>
                  <a:cubicBezTo>
                    <a:pt x="17497" y="78173"/>
                    <a:pt x="0" y="60673"/>
                    <a:pt x="0" y="39087"/>
                  </a:cubicBezTo>
                  <a:cubicBezTo>
                    <a:pt x="0" y="17499"/>
                    <a:pt x="17497" y="0"/>
                    <a:pt x="3908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95" name="Freeform: Shape 326">
              <a:extLst>
                <a:ext uri="{FF2B5EF4-FFF2-40B4-BE49-F238E27FC236}">
                  <a16:creationId xmlns:a16="http://schemas.microsoft.com/office/drawing/2014/main" id="{7507E08D-889E-4896-8D36-40A063C62766}"/>
                </a:ext>
              </a:extLst>
            </p:cNvPr>
            <p:cNvSpPr>
              <a:spLocks/>
            </p:cNvSpPr>
            <p:nvPr/>
          </p:nvSpPr>
          <p:spPr bwMode="auto">
            <a:xfrm>
              <a:off x="8870278" y="3863742"/>
              <a:ext cx="78171" cy="78173"/>
            </a:xfrm>
            <a:custGeom>
              <a:avLst/>
              <a:gdLst>
                <a:gd name="connsiteX0" fmla="*/ 39087 w 78171"/>
                <a:gd name="connsiteY0" fmla="*/ 0 h 78173"/>
                <a:gd name="connsiteX1" fmla="*/ 78171 w 78171"/>
                <a:gd name="connsiteY1" fmla="*/ 39087 h 78173"/>
                <a:gd name="connsiteX2" fmla="*/ 39087 w 78171"/>
                <a:gd name="connsiteY2" fmla="*/ 78173 h 78173"/>
                <a:gd name="connsiteX3" fmla="*/ 0 w 78171"/>
                <a:gd name="connsiteY3" fmla="*/ 39087 h 78173"/>
                <a:gd name="connsiteX4" fmla="*/ 39087 w 78171"/>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3">
                  <a:moveTo>
                    <a:pt x="39087" y="0"/>
                  </a:moveTo>
                  <a:cubicBezTo>
                    <a:pt x="60677" y="0"/>
                    <a:pt x="78171" y="17499"/>
                    <a:pt x="78171" y="39087"/>
                  </a:cubicBezTo>
                  <a:cubicBezTo>
                    <a:pt x="78171" y="60673"/>
                    <a:pt x="60677" y="78173"/>
                    <a:pt x="39087" y="78173"/>
                  </a:cubicBezTo>
                  <a:cubicBezTo>
                    <a:pt x="17503" y="78173"/>
                    <a:pt x="0" y="60673"/>
                    <a:pt x="0" y="39087"/>
                  </a:cubicBezTo>
                  <a:cubicBezTo>
                    <a:pt x="0" y="17499"/>
                    <a:pt x="17503"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96" name="Freeform: Shape 327">
              <a:extLst>
                <a:ext uri="{FF2B5EF4-FFF2-40B4-BE49-F238E27FC236}">
                  <a16:creationId xmlns:a16="http://schemas.microsoft.com/office/drawing/2014/main" id="{A5A21114-3A7B-4DC2-9077-10983B905B25}"/>
                </a:ext>
              </a:extLst>
            </p:cNvPr>
            <p:cNvSpPr>
              <a:spLocks/>
            </p:cNvSpPr>
            <p:nvPr/>
          </p:nvSpPr>
          <p:spPr bwMode="auto">
            <a:xfrm>
              <a:off x="9057191" y="3863742"/>
              <a:ext cx="78167" cy="78173"/>
            </a:xfrm>
            <a:custGeom>
              <a:avLst/>
              <a:gdLst>
                <a:gd name="connsiteX0" fmla="*/ 39082 w 78167"/>
                <a:gd name="connsiteY0" fmla="*/ 0 h 78173"/>
                <a:gd name="connsiteX1" fmla="*/ 78167 w 78167"/>
                <a:gd name="connsiteY1" fmla="*/ 39087 h 78173"/>
                <a:gd name="connsiteX2" fmla="*/ 39082 w 78167"/>
                <a:gd name="connsiteY2" fmla="*/ 78173 h 78173"/>
                <a:gd name="connsiteX3" fmla="*/ 0 w 78167"/>
                <a:gd name="connsiteY3" fmla="*/ 39087 h 78173"/>
                <a:gd name="connsiteX4" fmla="*/ 39082 w 78167"/>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3">
                  <a:moveTo>
                    <a:pt x="39082" y="0"/>
                  </a:moveTo>
                  <a:cubicBezTo>
                    <a:pt x="60667" y="0"/>
                    <a:pt x="78167" y="17499"/>
                    <a:pt x="78167" y="39087"/>
                  </a:cubicBezTo>
                  <a:cubicBezTo>
                    <a:pt x="78167" y="60673"/>
                    <a:pt x="60667" y="78173"/>
                    <a:pt x="39082" y="78173"/>
                  </a:cubicBezTo>
                  <a:cubicBezTo>
                    <a:pt x="17495" y="78173"/>
                    <a:pt x="0" y="60673"/>
                    <a:pt x="0" y="39087"/>
                  </a:cubicBezTo>
                  <a:cubicBezTo>
                    <a:pt x="0" y="17499"/>
                    <a:pt x="17495" y="0"/>
                    <a:pt x="3908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97" name="Freeform: Shape 328">
              <a:extLst>
                <a:ext uri="{FF2B5EF4-FFF2-40B4-BE49-F238E27FC236}">
                  <a16:creationId xmlns:a16="http://schemas.microsoft.com/office/drawing/2014/main" id="{FB70A7E2-3C48-48E2-86A7-A77BDCC5ACFB}"/>
                </a:ext>
              </a:extLst>
            </p:cNvPr>
            <p:cNvSpPr>
              <a:spLocks/>
            </p:cNvSpPr>
            <p:nvPr/>
          </p:nvSpPr>
          <p:spPr bwMode="auto">
            <a:xfrm>
              <a:off x="9244105" y="3863742"/>
              <a:ext cx="78163" cy="78173"/>
            </a:xfrm>
            <a:custGeom>
              <a:avLst/>
              <a:gdLst>
                <a:gd name="connsiteX0" fmla="*/ 39097 w 78163"/>
                <a:gd name="connsiteY0" fmla="*/ 0 h 78173"/>
                <a:gd name="connsiteX1" fmla="*/ 78163 w 78163"/>
                <a:gd name="connsiteY1" fmla="*/ 39087 h 78173"/>
                <a:gd name="connsiteX2" fmla="*/ 39097 w 78163"/>
                <a:gd name="connsiteY2" fmla="*/ 78173 h 78173"/>
                <a:gd name="connsiteX3" fmla="*/ 0 w 78163"/>
                <a:gd name="connsiteY3" fmla="*/ 39087 h 78173"/>
                <a:gd name="connsiteX4" fmla="*/ 39097 w 78163"/>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3" h="78173">
                  <a:moveTo>
                    <a:pt x="39097" y="0"/>
                  </a:moveTo>
                  <a:cubicBezTo>
                    <a:pt x="60663" y="0"/>
                    <a:pt x="78163" y="17499"/>
                    <a:pt x="78163" y="39087"/>
                  </a:cubicBezTo>
                  <a:cubicBezTo>
                    <a:pt x="78163" y="60673"/>
                    <a:pt x="60663" y="78173"/>
                    <a:pt x="39097" y="78173"/>
                  </a:cubicBezTo>
                  <a:cubicBezTo>
                    <a:pt x="17504" y="78173"/>
                    <a:pt x="0" y="60673"/>
                    <a:pt x="0" y="39087"/>
                  </a:cubicBezTo>
                  <a:cubicBezTo>
                    <a:pt x="0" y="17499"/>
                    <a:pt x="17504" y="0"/>
                    <a:pt x="3909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98" name="Freeform: Shape 329">
              <a:extLst>
                <a:ext uri="{FF2B5EF4-FFF2-40B4-BE49-F238E27FC236}">
                  <a16:creationId xmlns:a16="http://schemas.microsoft.com/office/drawing/2014/main" id="{C3EC7ED1-5CBA-44CF-8C06-3EBB1EBFBFF4}"/>
                </a:ext>
              </a:extLst>
            </p:cNvPr>
            <p:cNvSpPr>
              <a:spLocks/>
            </p:cNvSpPr>
            <p:nvPr/>
          </p:nvSpPr>
          <p:spPr bwMode="auto">
            <a:xfrm>
              <a:off x="9431009" y="3863742"/>
              <a:ext cx="78174" cy="78173"/>
            </a:xfrm>
            <a:custGeom>
              <a:avLst/>
              <a:gdLst>
                <a:gd name="connsiteX0" fmla="*/ 39088 w 78174"/>
                <a:gd name="connsiteY0" fmla="*/ 0 h 78173"/>
                <a:gd name="connsiteX1" fmla="*/ 78174 w 78174"/>
                <a:gd name="connsiteY1" fmla="*/ 39087 h 78173"/>
                <a:gd name="connsiteX2" fmla="*/ 39088 w 78174"/>
                <a:gd name="connsiteY2" fmla="*/ 78173 h 78173"/>
                <a:gd name="connsiteX3" fmla="*/ 0 w 78174"/>
                <a:gd name="connsiteY3" fmla="*/ 39087 h 78173"/>
                <a:gd name="connsiteX4" fmla="*/ 39088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8" y="0"/>
                  </a:moveTo>
                  <a:cubicBezTo>
                    <a:pt x="60675" y="0"/>
                    <a:pt x="78174" y="17499"/>
                    <a:pt x="78174" y="39087"/>
                  </a:cubicBezTo>
                  <a:cubicBezTo>
                    <a:pt x="78174" y="60673"/>
                    <a:pt x="60675" y="78173"/>
                    <a:pt x="39088" y="78173"/>
                  </a:cubicBezTo>
                  <a:cubicBezTo>
                    <a:pt x="17500" y="78173"/>
                    <a:pt x="0" y="60673"/>
                    <a:pt x="0" y="39087"/>
                  </a:cubicBezTo>
                  <a:cubicBezTo>
                    <a:pt x="0" y="17499"/>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399" name="Freeform: Shape 330">
              <a:extLst>
                <a:ext uri="{FF2B5EF4-FFF2-40B4-BE49-F238E27FC236}">
                  <a16:creationId xmlns:a16="http://schemas.microsoft.com/office/drawing/2014/main" id="{07698013-EEFD-4E52-B6F8-58074B24B709}"/>
                </a:ext>
              </a:extLst>
            </p:cNvPr>
            <p:cNvSpPr>
              <a:spLocks/>
            </p:cNvSpPr>
            <p:nvPr/>
          </p:nvSpPr>
          <p:spPr bwMode="auto">
            <a:xfrm>
              <a:off x="9617922" y="3863742"/>
              <a:ext cx="78175" cy="78173"/>
            </a:xfrm>
            <a:custGeom>
              <a:avLst/>
              <a:gdLst>
                <a:gd name="connsiteX0" fmla="*/ 39087 w 78175"/>
                <a:gd name="connsiteY0" fmla="*/ 0 h 78173"/>
                <a:gd name="connsiteX1" fmla="*/ 78175 w 78175"/>
                <a:gd name="connsiteY1" fmla="*/ 39087 h 78173"/>
                <a:gd name="connsiteX2" fmla="*/ 39087 w 78175"/>
                <a:gd name="connsiteY2" fmla="*/ 78173 h 78173"/>
                <a:gd name="connsiteX3" fmla="*/ 0 w 78175"/>
                <a:gd name="connsiteY3" fmla="*/ 39087 h 78173"/>
                <a:gd name="connsiteX4" fmla="*/ 39087 w 78175"/>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3">
                  <a:moveTo>
                    <a:pt x="39087" y="0"/>
                  </a:moveTo>
                  <a:cubicBezTo>
                    <a:pt x="60675" y="0"/>
                    <a:pt x="78175" y="17499"/>
                    <a:pt x="78175" y="39087"/>
                  </a:cubicBezTo>
                  <a:cubicBezTo>
                    <a:pt x="78175" y="60673"/>
                    <a:pt x="60675" y="78173"/>
                    <a:pt x="39087" y="78173"/>
                  </a:cubicBezTo>
                  <a:cubicBezTo>
                    <a:pt x="17500" y="78173"/>
                    <a:pt x="0" y="60673"/>
                    <a:pt x="0" y="39087"/>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00" name="Freeform: Shape 331">
              <a:extLst>
                <a:ext uri="{FF2B5EF4-FFF2-40B4-BE49-F238E27FC236}">
                  <a16:creationId xmlns:a16="http://schemas.microsoft.com/office/drawing/2014/main" id="{4CE2BEEE-3F00-4C60-A8B3-C9916E9927CD}"/>
                </a:ext>
              </a:extLst>
            </p:cNvPr>
            <p:cNvSpPr>
              <a:spLocks/>
            </p:cNvSpPr>
            <p:nvPr/>
          </p:nvSpPr>
          <p:spPr bwMode="auto">
            <a:xfrm>
              <a:off x="7363205" y="3948918"/>
              <a:ext cx="78164" cy="78161"/>
            </a:xfrm>
            <a:custGeom>
              <a:avLst/>
              <a:gdLst>
                <a:gd name="connsiteX0" fmla="*/ 39082 w 78164"/>
                <a:gd name="connsiteY0" fmla="*/ 0 h 78161"/>
                <a:gd name="connsiteX1" fmla="*/ 78164 w 78164"/>
                <a:gd name="connsiteY1" fmla="*/ 39086 h 78161"/>
                <a:gd name="connsiteX2" fmla="*/ 39082 w 78164"/>
                <a:gd name="connsiteY2" fmla="*/ 78161 h 78161"/>
                <a:gd name="connsiteX3" fmla="*/ 0 w 78164"/>
                <a:gd name="connsiteY3" fmla="*/ 39086 h 78161"/>
                <a:gd name="connsiteX4" fmla="*/ 39082 w 78164"/>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4" h="78161">
                  <a:moveTo>
                    <a:pt x="39082" y="0"/>
                  </a:moveTo>
                  <a:cubicBezTo>
                    <a:pt x="60666" y="0"/>
                    <a:pt x="78164" y="17499"/>
                    <a:pt x="78164" y="39086"/>
                  </a:cubicBezTo>
                  <a:cubicBezTo>
                    <a:pt x="78164" y="60673"/>
                    <a:pt x="60666" y="78161"/>
                    <a:pt x="39082" y="78161"/>
                  </a:cubicBezTo>
                  <a:cubicBezTo>
                    <a:pt x="17497" y="78161"/>
                    <a:pt x="0" y="60673"/>
                    <a:pt x="0" y="39086"/>
                  </a:cubicBezTo>
                  <a:cubicBezTo>
                    <a:pt x="0" y="17499"/>
                    <a:pt x="17497" y="0"/>
                    <a:pt x="3908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01" name="Freeform: Shape 332">
              <a:extLst>
                <a:ext uri="{FF2B5EF4-FFF2-40B4-BE49-F238E27FC236}">
                  <a16:creationId xmlns:a16="http://schemas.microsoft.com/office/drawing/2014/main" id="{C6F6F3EC-A435-498B-A319-7B420895AD3C}"/>
                </a:ext>
              </a:extLst>
            </p:cNvPr>
            <p:cNvSpPr>
              <a:spLocks/>
            </p:cNvSpPr>
            <p:nvPr/>
          </p:nvSpPr>
          <p:spPr bwMode="auto">
            <a:xfrm>
              <a:off x="7739391" y="3948918"/>
              <a:ext cx="78161" cy="78161"/>
            </a:xfrm>
            <a:custGeom>
              <a:avLst/>
              <a:gdLst>
                <a:gd name="connsiteX0" fmla="*/ 39087 w 78161"/>
                <a:gd name="connsiteY0" fmla="*/ 0 h 78161"/>
                <a:gd name="connsiteX1" fmla="*/ 78161 w 78161"/>
                <a:gd name="connsiteY1" fmla="*/ 39086 h 78161"/>
                <a:gd name="connsiteX2" fmla="*/ 39087 w 78161"/>
                <a:gd name="connsiteY2" fmla="*/ 78161 h 78161"/>
                <a:gd name="connsiteX3" fmla="*/ 0 w 78161"/>
                <a:gd name="connsiteY3" fmla="*/ 39086 h 78161"/>
                <a:gd name="connsiteX4" fmla="*/ 39087 w 78161"/>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1" h="78161">
                  <a:moveTo>
                    <a:pt x="39087" y="0"/>
                  </a:moveTo>
                  <a:cubicBezTo>
                    <a:pt x="60670" y="0"/>
                    <a:pt x="78161" y="17499"/>
                    <a:pt x="78161" y="39086"/>
                  </a:cubicBezTo>
                  <a:cubicBezTo>
                    <a:pt x="78161" y="60673"/>
                    <a:pt x="60670" y="78161"/>
                    <a:pt x="39087" y="78161"/>
                  </a:cubicBezTo>
                  <a:cubicBezTo>
                    <a:pt x="17497" y="78161"/>
                    <a:pt x="0" y="60673"/>
                    <a:pt x="0" y="39086"/>
                  </a:cubicBezTo>
                  <a:cubicBezTo>
                    <a:pt x="0" y="17499"/>
                    <a:pt x="17497"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02" name="Freeform: Shape 333">
              <a:extLst>
                <a:ext uri="{FF2B5EF4-FFF2-40B4-BE49-F238E27FC236}">
                  <a16:creationId xmlns:a16="http://schemas.microsoft.com/office/drawing/2014/main" id="{1B5E55AF-7EB3-4401-8295-762B01BAA59F}"/>
                </a:ext>
              </a:extLst>
            </p:cNvPr>
            <p:cNvSpPr>
              <a:spLocks/>
            </p:cNvSpPr>
            <p:nvPr/>
          </p:nvSpPr>
          <p:spPr bwMode="auto">
            <a:xfrm>
              <a:off x="7926291" y="3948918"/>
              <a:ext cx="78181" cy="78161"/>
            </a:xfrm>
            <a:custGeom>
              <a:avLst/>
              <a:gdLst>
                <a:gd name="connsiteX0" fmla="*/ 39094 w 78181"/>
                <a:gd name="connsiteY0" fmla="*/ 0 h 78161"/>
                <a:gd name="connsiteX1" fmla="*/ 78181 w 78181"/>
                <a:gd name="connsiteY1" fmla="*/ 39086 h 78161"/>
                <a:gd name="connsiteX2" fmla="*/ 39094 w 78181"/>
                <a:gd name="connsiteY2" fmla="*/ 78161 h 78161"/>
                <a:gd name="connsiteX3" fmla="*/ 0 w 78181"/>
                <a:gd name="connsiteY3" fmla="*/ 39086 h 78161"/>
                <a:gd name="connsiteX4" fmla="*/ 39094 w 78181"/>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1" h="78161">
                  <a:moveTo>
                    <a:pt x="39094" y="0"/>
                  </a:moveTo>
                  <a:cubicBezTo>
                    <a:pt x="60680" y="0"/>
                    <a:pt x="78181" y="17499"/>
                    <a:pt x="78181" y="39086"/>
                  </a:cubicBezTo>
                  <a:cubicBezTo>
                    <a:pt x="78181" y="60673"/>
                    <a:pt x="60680" y="78161"/>
                    <a:pt x="39094" y="78161"/>
                  </a:cubicBezTo>
                  <a:cubicBezTo>
                    <a:pt x="17501" y="78161"/>
                    <a:pt x="0" y="60673"/>
                    <a:pt x="0" y="39086"/>
                  </a:cubicBezTo>
                  <a:cubicBezTo>
                    <a:pt x="0" y="17499"/>
                    <a:pt x="17501" y="0"/>
                    <a:pt x="3909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03" name="Freeform: Shape 334">
              <a:extLst>
                <a:ext uri="{FF2B5EF4-FFF2-40B4-BE49-F238E27FC236}">
                  <a16:creationId xmlns:a16="http://schemas.microsoft.com/office/drawing/2014/main" id="{5C80C19A-7179-40B3-81E6-57394D3F4896}"/>
                </a:ext>
              </a:extLst>
            </p:cNvPr>
            <p:cNvSpPr>
              <a:spLocks/>
            </p:cNvSpPr>
            <p:nvPr/>
          </p:nvSpPr>
          <p:spPr bwMode="auto">
            <a:xfrm>
              <a:off x="9338735" y="3948918"/>
              <a:ext cx="78174" cy="78161"/>
            </a:xfrm>
            <a:custGeom>
              <a:avLst/>
              <a:gdLst>
                <a:gd name="connsiteX0" fmla="*/ 39087 w 78174"/>
                <a:gd name="connsiteY0" fmla="*/ 0 h 78161"/>
                <a:gd name="connsiteX1" fmla="*/ 78174 w 78174"/>
                <a:gd name="connsiteY1" fmla="*/ 39086 h 78161"/>
                <a:gd name="connsiteX2" fmla="*/ 39087 w 78174"/>
                <a:gd name="connsiteY2" fmla="*/ 78161 h 78161"/>
                <a:gd name="connsiteX3" fmla="*/ 0 w 78174"/>
                <a:gd name="connsiteY3" fmla="*/ 39086 h 78161"/>
                <a:gd name="connsiteX4" fmla="*/ 39087 w 78174"/>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61">
                  <a:moveTo>
                    <a:pt x="39087" y="0"/>
                  </a:moveTo>
                  <a:cubicBezTo>
                    <a:pt x="60674" y="0"/>
                    <a:pt x="78174" y="17499"/>
                    <a:pt x="78174" y="39086"/>
                  </a:cubicBezTo>
                  <a:cubicBezTo>
                    <a:pt x="78174" y="60673"/>
                    <a:pt x="60674" y="78161"/>
                    <a:pt x="39087" y="78161"/>
                  </a:cubicBezTo>
                  <a:cubicBezTo>
                    <a:pt x="17500" y="78161"/>
                    <a:pt x="0" y="60673"/>
                    <a:pt x="0" y="39086"/>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04" name="Freeform: Shape 335">
              <a:extLst>
                <a:ext uri="{FF2B5EF4-FFF2-40B4-BE49-F238E27FC236}">
                  <a16:creationId xmlns:a16="http://schemas.microsoft.com/office/drawing/2014/main" id="{B92CCAE1-C9A7-4C38-BE1D-1D30EE115AE5}"/>
                </a:ext>
              </a:extLst>
            </p:cNvPr>
            <p:cNvSpPr>
              <a:spLocks/>
            </p:cNvSpPr>
            <p:nvPr/>
          </p:nvSpPr>
          <p:spPr bwMode="auto">
            <a:xfrm>
              <a:off x="9996483" y="3948918"/>
              <a:ext cx="78174" cy="78161"/>
            </a:xfrm>
            <a:custGeom>
              <a:avLst/>
              <a:gdLst>
                <a:gd name="connsiteX0" fmla="*/ 39088 w 78174"/>
                <a:gd name="connsiteY0" fmla="*/ 0 h 78161"/>
                <a:gd name="connsiteX1" fmla="*/ 78174 w 78174"/>
                <a:gd name="connsiteY1" fmla="*/ 39086 h 78161"/>
                <a:gd name="connsiteX2" fmla="*/ 39088 w 78174"/>
                <a:gd name="connsiteY2" fmla="*/ 78161 h 78161"/>
                <a:gd name="connsiteX3" fmla="*/ 0 w 78174"/>
                <a:gd name="connsiteY3" fmla="*/ 39086 h 78161"/>
                <a:gd name="connsiteX4" fmla="*/ 39088 w 78174"/>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61">
                  <a:moveTo>
                    <a:pt x="39088" y="0"/>
                  </a:moveTo>
                  <a:cubicBezTo>
                    <a:pt x="60675" y="0"/>
                    <a:pt x="78174" y="17499"/>
                    <a:pt x="78174" y="39086"/>
                  </a:cubicBezTo>
                  <a:cubicBezTo>
                    <a:pt x="78174" y="60673"/>
                    <a:pt x="60675" y="78161"/>
                    <a:pt x="39088" y="78161"/>
                  </a:cubicBezTo>
                  <a:cubicBezTo>
                    <a:pt x="17500" y="78161"/>
                    <a:pt x="0" y="60673"/>
                    <a:pt x="0" y="39086"/>
                  </a:cubicBezTo>
                  <a:cubicBezTo>
                    <a:pt x="0" y="17499"/>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05" name="Freeform: Shape 336">
              <a:extLst>
                <a:ext uri="{FF2B5EF4-FFF2-40B4-BE49-F238E27FC236}">
                  <a16:creationId xmlns:a16="http://schemas.microsoft.com/office/drawing/2014/main" id="{9F7E7585-4115-41FB-98D8-09A29A74D0E6}"/>
                </a:ext>
              </a:extLst>
            </p:cNvPr>
            <p:cNvSpPr>
              <a:spLocks/>
            </p:cNvSpPr>
            <p:nvPr/>
          </p:nvSpPr>
          <p:spPr bwMode="auto">
            <a:xfrm>
              <a:off x="10185765" y="3948918"/>
              <a:ext cx="78174" cy="78161"/>
            </a:xfrm>
            <a:custGeom>
              <a:avLst/>
              <a:gdLst>
                <a:gd name="connsiteX0" fmla="*/ 39087 w 78174"/>
                <a:gd name="connsiteY0" fmla="*/ 0 h 78161"/>
                <a:gd name="connsiteX1" fmla="*/ 78174 w 78174"/>
                <a:gd name="connsiteY1" fmla="*/ 39086 h 78161"/>
                <a:gd name="connsiteX2" fmla="*/ 39087 w 78174"/>
                <a:gd name="connsiteY2" fmla="*/ 78161 h 78161"/>
                <a:gd name="connsiteX3" fmla="*/ 0 w 78174"/>
                <a:gd name="connsiteY3" fmla="*/ 39086 h 78161"/>
                <a:gd name="connsiteX4" fmla="*/ 39087 w 78174"/>
                <a:gd name="connsiteY4" fmla="*/ 0 h 78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61">
                  <a:moveTo>
                    <a:pt x="39087" y="0"/>
                  </a:moveTo>
                  <a:cubicBezTo>
                    <a:pt x="60674" y="0"/>
                    <a:pt x="78174" y="17499"/>
                    <a:pt x="78174" y="39086"/>
                  </a:cubicBezTo>
                  <a:cubicBezTo>
                    <a:pt x="78174" y="60673"/>
                    <a:pt x="60674" y="78161"/>
                    <a:pt x="39087" y="78161"/>
                  </a:cubicBezTo>
                  <a:cubicBezTo>
                    <a:pt x="17500" y="78161"/>
                    <a:pt x="0" y="60673"/>
                    <a:pt x="0" y="39086"/>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06" name="Freeform: Shape 337">
              <a:extLst>
                <a:ext uri="{FF2B5EF4-FFF2-40B4-BE49-F238E27FC236}">
                  <a16:creationId xmlns:a16="http://schemas.microsoft.com/office/drawing/2014/main" id="{522CF7F4-55A1-4C3A-8519-5CDA0B758225}"/>
                </a:ext>
              </a:extLst>
            </p:cNvPr>
            <p:cNvSpPr>
              <a:spLocks/>
            </p:cNvSpPr>
            <p:nvPr/>
          </p:nvSpPr>
          <p:spPr bwMode="auto">
            <a:xfrm>
              <a:off x="6897096" y="3948918"/>
              <a:ext cx="78170" cy="78162"/>
            </a:xfrm>
            <a:custGeom>
              <a:avLst/>
              <a:gdLst>
                <a:gd name="connsiteX0" fmla="*/ 39067 w 78170"/>
                <a:gd name="connsiteY0" fmla="*/ 0 h 78162"/>
                <a:gd name="connsiteX1" fmla="*/ 78170 w 78170"/>
                <a:gd name="connsiteY1" fmla="*/ 39087 h 78162"/>
                <a:gd name="connsiteX2" fmla="*/ 39067 w 78170"/>
                <a:gd name="connsiteY2" fmla="*/ 78162 h 78162"/>
                <a:gd name="connsiteX3" fmla="*/ 0 w 78170"/>
                <a:gd name="connsiteY3" fmla="*/ 39087 h 78162"/>
                <a:gd name="connsiteX4" fmla="*/ 39067 w 78170"/>
                <a:gd name="connsiteY4" fmla="*/ 0 h 78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0" h="78162">
                  <a:moveTo>
                    <a:pt x="39067" y="0"/>
                  </a:moveTo>
                  <a:cubicBezTo>
                    <a:pt x="60660" y="0"/>
                    <a:pt x="78170" y="17500"/>
                    <a:pt x="78170" y="39087"/>
                  </a:cubicBezTo>
                  <a:cubicBezTo>
                    <a:pt x="78170" y="60674"/>
                    <a:pt x="60660" y="78162"/>
                    <a:pt x="39067" y="78162"/>
                  </a:cubicBezTo>
                  <a:cubicBezTo>
                    <a:pt x="17501" y="78162"/>
                    <a:pt x="0" y="60674"/>
                    <a:pt x="0" y="39087"/>
                  </a:cubicBezTo>
                  <a:cubicBezTo>
                    <a:pt x="0" y="17500"/>
                    <a:pt x="17501" y="0"/>
                    <a:pt x="3906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07" name="Freeform: Shape 338">
              <a:extLst>
                <a:ext uri="{FF2B5EF4-FFF2-40B4-BE49-F238E27FC236}">
                  <a16:creationId xmlns:a16="http://schemas.microsoft.com/office/drawing/2014/main" id="{28D1E1BD-6C4E-4574-962C-C1ECDC8989B6}"/>
                </a:ext>
              </a:extLst>
            </p:cNvPr>
            <p:cNvSpPr>
              <a:spLocks/>
            </p:cNvSpPr>
            <p:nvPr/>
          </p:nvSpPr>
          <p:spPr bwMode="auto">
            <a:xfrm>
              <a:off x="10278039" y="3959196"/>
              <a:ext cx="39113" cy="67883"/>
            </a:xfrm>
            <a:custGeom>
              <a:avLst/>
              <a:gdLst>
                <a:gd name="connsiteX0" fmla="*/ 14271 w 39113"/>
                <a:gd name="connsiteY0" fmla="*/ 0 h 67883"/>
                <a:gd name="connsiteX1" fmla="*/ 39113 w 39113"/>
                <a:gd name="connsiteY1" fmla="*/ 67872 h 67883"/>
                <a:gd name="connsiteX2" fmla="*/ 39088 w 39113"/>
                <a:gd name="connsiteY2" fmla="*/ 67883 h 67883"/>
                <a:gd name="connsiteX3" fmla="*/ 0 w 39113"/>
                <a:gd name="connsiteY3" fmla="*/ 28808 h 67883"/>
                <a:gd name="connsiteX4" fmla="*/ 11449 w 39113"/>
                <a:gd name="connsiteY4" fmla="*/ 1170 h 67883"/>
                <a:gd name="connsiteX5" fmla="*/ 14271 w 39113"/>
                <a:gd name="connsiteY5" fmla="*/ 0 h 6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13" h="67883">
                  <a:moveTo>
                    <a:pt x="14271" y="0"/>
                  </a:moveTo>
                  <a:lnTo>
                    <a:pt x="39113" y="67872"/>
                  </a:lnTo>
                  <a:lnTo>
                    <a:pt x="39088" y="67883"/>
                  </a:lnTo>
                  <a:cubicBezTo>
                    <a:pt x="17500" y="67883"/>
                    <a:pt x="0" y="50395"/>
                    <a:pt x="0" y="28808"/>
                  </a:cubicBezTo>
                  <a:cubicBezTo>
                    <a:pt x="0" y="18014"/>
                    <a:pt x="4375" y="8243"/>
                    <a:pt x="11449" y="1170"/>
                  </a:cubicBezTo>
                  <a:lnTo>
                    <a:pt x="1427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08" name="Freeform: Shape 339">
              <a:extLst>
                <a:ext uri="{FF2B5EF4-FFF2-40B4-BE49-F238E27FC236}">
                  <a16:creationId xmlns:a16="http://schemas.microsoft.com/office/drawing/2014/main" id="{53B640B3-8197-4E87-A9CD-5AF73CF22AC4}"/>
                </a:ext>
              </a:extLst>
            </p:cNvPr>
            <p:cNvSpPr>
              <a:spLocks/>
            </p:cNvSpPr>
            <p:nvPr/>
          </p:nvSpPr>
          <p:spPr bwMode="auto">
            <a:xfrm>
              <a:off x="6991734" y="4038814"/>
              <a:ext cx="78160" cy="78175"/>
            </a:xfrm>
            <a:custGeom>
              <a:avLst/>
              <a:gdLst>
                <a:gd name="connsiteX0" fmla="*/ 39076 w 78160"/>
                <a:gd name="connsiteY0" fmla="*/ 0 h 78175"/>
                <a:gd name="connsiteX1" fmla="*/ 78160 w 78160"/>
                <a:gd name="connsiteY1" fmla="*/ 39087 h 78175"/>
                <a:gd name="connsiteX2" fmla="*/ 39076 w 78160"/>
                <a:gd name="connsiteY2" fmla="*/ 78175 h 78175"/>
                <a:gd name="connsiteX3" fmla="*/ 0 w 78160"/>
                <a:gd name="connsiteY3" fmla="*/ 39087 h 78175"/>
                <a:gd name="connsiteX4" fmla="*/ 39076 w 78160"/>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0" h="78175">
                  <a:moveTo>
                    <a:pt x="39076" y="0"/>
                  </a:moveTo>
                  <a:cubicBezTo>
                    <a:pt x="60662" y="0"/>
                    <a:pt x="78160" y="17500"/>
                    <a:pt x="78160" y="39087"/>
                  </a:cubicBezTo>
                  <a:cubicBezTo>
                    <a:pt x="78160" y="60674"/>
                    <a:pt x="60662" y="78175"/>
                    <a:pt x="39076" y="78175"/>
                  </a:cubicBezTo>
                  <a:cubicBezTo>
                    <a:pt x="17481" y="78175"/>
                    <a:pt x="0" y="60674"/>
                    <a:pt x="0" y="39087"/>
                  </a:cubicBezTo>
                  <a:cubicBezTo>
                    <a:pt x="0" y="17500"/>
                    <a:pt x="17481" y="0"/>
                    <a:pt x="3907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09" name="Freeform: Shape 340">
              <a:extLst>
                <a:ext uri="{FF2B5EF4-FFF2-40B4-BE49-F238E27FC236}">
                  <a16:creationId xmlns:a16="http://schemas.microsoft.com/office/drawing/2014/main" id="{B5A62164-9DF0-4221-A55A-37E5F1A0DAC0}"/>
                </a:ext>
              </a:extLst>
            </p:cNvPr>
            <p:cNvSpPr>
              <a:spLocks/>
            </p:cNvSpPr>
            <p:nvPr/>
          </p:nvSpPr>
          <p:spPr bwMode="auto">
            <a:xfrm>
              <a:off x="7176294" y="4038814"/>
              <a:ext cx="78178" cy="78175"/>
            </a:xfrm>
            <a:custGeom>
              <a:avLst/>
              <a:gdLst>
                <a:gd name="connsiteX0" fmla="*/ 39074 w 78178"/>
                <a:gd name="connsiteY0" fmla="*/ 0 h 78175"/>
                <a:gd name="connsiteX1" fmla="*/ 78178 w 78178"/>
                <a:gd name="connsiteY1" fmla="*/ 39087 h 78175"/>
                <a:gd name="connsiteX2" fmla="*/ 39074 w 78178"/>
                <a:gd name="connsiteY2" fmla="*/ 78175 h 78175"/>
                <a:gd name="connsiteX3" fmla="*/ 0 w 78178"/>
                <a:gd name="connsiteY3" fmla="*/ 39087 h 78175"/>
                <a:gd name="connsiteX4" fmla="*/ 39074 w 78178"/>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8" h="78175">
                  <a:moveTo>
                    <a:pt x="39074" y="0"/>
                  </a:moveTo>
                  <a:cubicBezTo>
                    <a:pt x="60679" y="0"/>
                    <a:pt x="78178" y="17500"/>
                    <a:pt x="78178" y="39087"/>
                  </a:cubicBezTo>
                  <a:cubicBezTo>
                    <a:pt x="78178" y="60674"/>
                    <a:pt x="60679" y="78175"/>
                    <a:pt x="39074" y="78175"/>
                  </a:cubicBezTo>
                  <a:cubicBezTo>
                    <a:pt x="17504" y="78175"/>
                    <a:pt x="0" y="60674"/>
                    <a:pt x="0" y="39087"/>
                  </a:cubicBezTo>
                  <a:cubicBezTo>
                    <a:pt x="0" y="17500"/>
                    <a:pt x="17504" y="0"/>
                    <a:pt x="3907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10" name="Freeform: Shape 341">
              <a:extLst>
                <a:ext uri="{FF2B5EF4-FFF2-40B4-BE49-F238E27FC236}">
                  <a16:creationId xmlns:a16="http://schemas.microsoft.com/office/drawing/2014/main" id="{DBB04416-F41D-4D16-A6B6-FFE1182D704D}"/>
                </a:ext>
              </a:extLst>
            </p:cNvPr>
            <p:cNvSpPr>
              <a:spLocks/>
            </p:cNvSpPr>
            <p:nvPr/>
          </p:nvSpPr>
          <p:spPr bwMode="auto">
            <a:xfrm>
              <a:off x="9338735" y="4038814"/>
              <a:ext cx="78174" cy="78175"/>
            </a:xfrm>
            <a:custGeom>
              <a:avLst/>
              <a:gdLst>
                <a:gd name="connsiteX0" fmla="*/ 39087 w 78174"/>
                <a:gd name="connsiteY0" fmla="*/ 0 h 78175"/>
                <a:gd name="connsiteX1" fmla="*/ 78174 w 78174"/>
                <a:gd name="connsiteY1" fmla="*/ 39087 h 78175"/>
                <a:gd name="connsiteX2" fmla="*/ 39087 w 78174"/>
                <a:gd name="connsiteY2" fmla="*/ 78175 h 78175"/>
                <a:gd name="connsiteX3" fmla="*/ 0 w 78174"/>
                <a:gd name="connsiteY3" fmla="*/ 39087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7"/>
                  </a:cubicBezTo>
                  <a:cubicBezTo>
                    <a:pt x="78174" y="60674"/>
                    <a:pt x="60674" y="78175"/>
                    <a:pt x="39087" y="78175"/>
                  </a:cubicBezTo>
                  <a:cubicBezTo>
                    <a:pt x="17500" y="78175"/>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11" name="Freeform: Shape 342">
              <a:extLst>
                <a:ext uri="{FF2B5EF4-FFF2-40B4-BE49-F238E27FC236}">
                  <a16:creationId xmlns:a16="http://schemas.microsoft.com/office/drawing/2014/main" id="{8E13426D-0721-44B4-857C-6DFDB46159F4}"/>
                </a:ext>
              </a:extLst>
            </p:cNvPr>
            <p:cNvSpPr>
              <a:spLocks/>
            </p:cNvSpPr>
            <p:nvPr/>
          </p:nvSpPr>
          <p:spPr bwMode="auto">
            <a:xfrm>
              <a:off x="9525649" y="4038814"/>
              <a:ext cx="78174" cy="78175"/>
            </a:xfrm>
            <a:custGeom>
              <a:avLst/>
              <a:gdLst>
                <a:gd name="connsiteX0" fmla="*/ 39087 w 78174"/>
                <a:gd name="connsiteY0" fmla="*/ 0 h 78175"/>
                <a:gd name="connsiteX1" fmla="*/ 78174 w 78174"/>
                <a:gd name="connsiteY1" fmla="*/ 39087 h 78175"/>
                <a:gd name="connsiteX2" fmla="*/ 39087 w 78174"/>
                <a:gd name="connsiteY2" fmla="*/ 78175 h 78175"/>
                <a:gd name="connsiteX3" fmla="*/ 0 w 78174"/>
                <a:gd name="connsiteY3" fmla="*/ 39087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7"/>
                  </a:cubicBezTo>
                  <a:cubicBezTo>
                    <a:pt x="78174" y="60674"/>
                    <a:pt x="60674" y="78175"/>
                    <a:pt x="39087" y="78175"/>
                  </a:cubicBezTo>
                  <a:cubicBezTo>
                    <a:pt x="17500" y="78175"/>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12" name="Freeform: Shape 343">
              <a:extLst>
                <a:ext uri="{FF2B5EF4-FFF2-40B4-BE49-F238E27FC236}">
                  <a16:creationId xmlns:a16="http://schemas.microsoft.com/office/drawing/2014/main" id="{5F5FBF80-C1C7-43C0-B367-76B629CF5D88}"/>
                </a:ext>
              </a:extLst>
            </p:cNvPr>
            <p:cNvSpPr>
              <a:spLocks/>
            </p:cNvSpPr>
            <p:nvPr/>
          </p:nvSpPr>
          <p:spPr bwMode="auto">
            <a:xfrm>
              <a:off x="9807203" y="4038814"/>
              <a:ext cx="78175" cy="78175"/>
            </a:xfrm>
            <a:custGeom>
              <a:avLst/>
              <a:gdLst>
                <a:gd name="connsiteX0" fmla="*/ 39088 w 78175"/>
                <a:gd name="connsiteY0" fmla="*/ 0 h 78175"/>
                <a:gd name="connsiteX1" fmla="*/ 78175 w 78175"/>
                <a:gd name="connsiteY1" fmla="*/ 39087 h 78175"/>
                <a:gd name="connsiteX2" fmla="*/ 39088 w 78175"/>
                <a:gd name="connsiteY2" fmla="*/ 78175 h 78175"/>
                <a:gd name="connsiteX3" fmla="*/ 0 w 78175"/>
                <a:gd name="connsiteY3" fmla="*/ 39087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7"/>
                  </a:cubicBezTo>
                  <a:cubicBezTo>
                    <a:pt x="78175" y="60674"/>
                    <a:pt x="60675" y="78175"/>
                    <a:pt x="39088" y="78175"/>
                  </a:cubicBezTo>
                  <a:cubicBezTo>
                    <a:pt x="17500" y="78175"/>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13" name="Freeform: Shape 344">
              <a:extLst>
                <a:ext uri="{FF2B5EF4-FFF2-40B4-BE49-F238E27FC236}">
                  <a16:creationId xmlns:a16="http://schemas.microsoft.com/office/drawing/2014/main" id="{81D95980-F51C-4BD2-9A4C-BBA0B28C9C59}"/>
                </a:ext>
              </a:extLst>
            </p:cNvPr>
            <p:cNvSpPr>
              <a:spLocks/>
            </p:cNvSpPr>
            <p:nvPr/>
          </p:nvSpPr>
          <p:spPr bwMode="auto">
            <a:xfrm>
              <a:off x="9899478" y="4038814"/>
              <a:ext cx="78175" cy="78175"/>
            </a:xfrm>
            <a:custGeom>
              <a:avLst/>
              <a:gdLst>
                <a:gd name="connsiteX0" fmla="*/ 39087 w 78175"/>
                <a:gd name="connsiteY0" fmla="*/ 0 h 78175"/>
                <a:gd name="connsiteX1" fmla="*/ 78175 w 78175"/>
                <a:gd name="connsiteY1" fmla="*/ 39087 h 78175"/>
                <a:gd name="connsiteX2" fmla="*/ 39087 w 78175"/>
                <a:gd name="connsiteY2" fmla="*/ 78175 h 78175"/>
                <a:gd name="connsiteX3" fmla="*/ 0 w 78175"/>
                <a:gd name="connsiteY3" fmla="*/ 39087 h 78175"/>
                <a:gd name="connsiteX4" fmla="*/ 39087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7" y="0"/>
                  </a:moveTo>
                  <a:cubicBezTo>
                    <a:pt x="60675" y="0"/>
                    <a:pt x="78175" y="17500"/>
                    <a:pt x="78175" y="39087"/>
                  </a:cubicBezTo>
                  <a:cubicBezTo>
                    <a:pt x="78175" y="60674"/>
                    <a:pt x="60675" y="78175"/>
                    <a:pt x="39087" y="78175"/>
                  </a:cubicBezTo>
                  <a:cubicBezTo>
                    <a:pt x="17500" y="78175"/>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14" name="Freeform: Shape 345">
              <a:extLst>
                <a:ext uri="{FF2B5EF4-FFF2-40B4-BE49-F238E27FC236}">
                  <a16:creationId xmlns:a16="http://schemas.microsoft.com/office/drawing/2014/main" id="{0F7F0C57-B526-4522-9EDC-2A65A2F736AC}"/>
                </a:ext>
              </a:extLst>
            </p:cNvPr>
            <p:cNvSpPr>
              <a:spLocks/>
            </p:cNvSpPr>
            <p:nvPr/>
          </p:nvSpPr>
          <p:spPr bwMode="auto">
            <a:xfrm>
              <a:off x="10278039" y="4038814"/>
              <a:ext cx="60390" cy="78175"/>
            </a:xfrm>
            <a:custGeom>
              <a:avLst/>
              <a:gdLst>
                <a:gd name="connsiteX0" fmla="*/ 39088 w 60390"/>
                <a:gd name="connsiteY0" fmla="*/ 0 h 78175"/>
                <a:gd name="connsiteX1" fmla="*/ 42972 w 60390"/>
                <a:gd name="connsiteY1" fmla="*/ 1609 h 78175"/>
                <a:gd name="connsiteX2" fmla="*/ 60390 w 60390"/>
                <a:gd name="connsiteY2" fmla="*/ 69351 h 78175"/>
                <a:gd name="connsiteX3" fmla="*/ 39088 w 60390"/>
                <a:gd name="connsiteY3" fmla="*/ 78175 h 78175"/>
                <a:gd name="connsiteX4" fmla="*/ 0 w 60390"/>
                <a:gd name="connsiteY4" fmla="*/ 39087 h 78175"/>
                <a:gd name="connsiteX5" fmla="*/ 39088 w 60390"/>
                <a:gd name="connsiteY5" fmla="*/ 0 h 7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390" h="78175">
                  <a:moveTo>
                    <a:pt x="39088" y="0"/>
                  </a:moveTo>
                  <a:lnTo>
                    <a:pt x="42972" y="1609"/>
                  </a:lnTo>
                  <a:lnTo>
                    <a:pt x="60390" y="69351"/>
                  </a:lnTo>
                  <a:lnTo>
                    <a:pt x="39088" y="78175"/>
                  </a:lnTo>
                  <a:cubicBezTo>
                    <a:pt x="17500" y="78175"/>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15" name="Freeform: Shape 346">
              <a:extLst>
                <a:ext uri="{FF2B5EF4-FFF2-40B4-BE49-F238E27FC236}">
                  <a16:creationId xmlns:a16="http://schemas.microsoft.com/office/drawing/2014/main" id="{64703C31-F6ED-4387-9780-4BA19C3E49C9}"/>
                </a:ext>
              </a:extLst>
            </p:cNvPr>
            <p:cNvSpPr>
              <a:spLocks/>
            </p:cNvSpPr>
            <p:nvPr/>
          </p:nvSpPr>
          <p:spPr bwMode="auto">
            <a:xfrm>
              <a:off x="8964923" y="4121622"/>
              <a:ext cx="78170" cy="78174"/>
            </a:xfrm>
            <a:custGeom>
              <a:avLst/>
              <a:gdLst>
                <a:gd name="connsiteX0" fmla="*/ 39082 w 78170"/>
                <a:gd name="connsiteY0" fmla="*/ 0 h 78174"/>
                <a:gd name="connsiteX1" fmla="*/ 78170 w 78170"/>
                <a:gd name="connsiteY1" fmla="*/ 39087 h 78174"/>
                <a:gd name="connsiteX2" fmla="*/ 39082 w 78170"/>
                <a:gd name="connsiteY2" fmla="*/ 78174 h 78174"/>
                <a:gd name="connsiteX3" fmla="*/ 0 w 78170"/>
                <a:gd name="connsiteY3" fmla="*/ 39087 h 78174"/>
                <a:gd name="connsiteX4" fmla="*/ 39082 w 78170"/>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0" h="78174">
                  <a:moveTo>
                    <a:pt x="39082" y="0"/>
                  </a:moveTo>
                  <a:cubicBezTo>
                    <a:pt x="60670" y="0"/>
                    <a:pt x="78170" y="17500"/>
                    <a:pt x="78170" y="39087"/>
                  </a:cubicBezTo>
                  <a:cubicBezTo>
                    <a:pt x="78170" y="60675"/>
                    <a:pt x="60670" y="78174"/>
                    <a:pt x="39082" y="78174"/>
                  </a:cubicBezTo>
                  <a:cubicBezTo>
                    <a:pt x="17506" y="78174"/>
                    <a:pt x="0" y="60675"/>
                    <a:pt x="0" y="39087"/>
                  </a:cubicBezTo>
                  <a:cubicBezTo>
                    <a:pt x="0" y="17500"/>
                    <a:pt x="17506" y="0"/>
                    <a:pt x="3908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16" name="Freeform: Shape 347">
              <a:extLst>
                <a:ext uri="{FF2B5EF4-FFF2-40B4-BE49-F238E27FC236}">
                  <a16:creationId xmlns:a16="http://schemas.microsoft.com/office/drawing/2014/main" id="{958381F6-009E-4C3D-A1CF-3E5364854AEC}"/>
                </a:ext>
              </a:extLst>
            </p:cNvPr>
            <p:cNvSpPr>
              <a:spLocks/>
            </p:cNvSpPr>
            <p:nvPr/>
          </p:nvSpPr>
          <p:spPr bwMode="auto">
            <a:xfrm>
              <a:off x="7649459" y="4121624"/>
              <a:ext cx="78187" cy="78174"/>
            </a:xfrm>
            <a:custGeom>
              <a:avLst/>
              <a:gdLst>
                <a:gd name="connsiteX0" fmla="*/ 39097 w 78187"/>
                <a:gd name="connsiteY0" fmla="*/ 0 h 78174"/>
                <a:gd name="connsiteX1" fmla="*/ 78187 w 78187"/>
                <a:gd name="connsiteY1" fmla="*/ 39087 h 78174"/>
                <a:gd name="connsiteX2" fmla="*/ 39097 w 78187"/>
                <a:gd name="connsiteY2" fmla="*/ 78174 h 78174"/>
                <a:gd name="connsiteX3" fmla="*/ 0 w 78187"/>
                <a:gd name="connsiteY3" fmla="*/ 39087 h 78174"/>
                <a:gd name="connsiteX4" fmla="*/ 39097 w 78187"/>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7" h="78174">
                  <a:moveTo>
                    <a:pt x="39097" y="0"/>
                  </a:moveTo>
                  <a:cubicBezTo>
                    <a:pt x="60688" y="0"/>
                    <a:pt x="78187" y="17500"/>
                    <a:pt x="78187" y="39087"/>
                  </a:cubicBezTo>
                  <a:cubicBezTo>
                    <a:pt x="78187" y="60674"/>
                    <a:pt x="60688" y="78174"/>
                    <a:pt x="39097" y="78174"/>
                  </a:cubicBezTo>
                  <a:cubicBezTo>
                    <a:pt x="17504" y="78174"/>
                    <a:pt x="0" y="60674"/>
                    <a:pt x="0" y="39087"/>
                  </a:cubicBezTo>
                  <a:cubicBezTo>
                    <a:pt x="0" y="17500"/>
                    <a:pt x="17504" y="0"/>
                    <a:pt x="3909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17" name="Freeform: Shape 348">
              <a:extLst>
                <a:ext uri="{FF2B5EF4-FFF2-40B4-BE49-F238E27FC236}">
                  <a16:creationId xmlns:a16="http://schemas.microsoft.com/office/drawing/2014/main" id="{0DB2239D-32BC-428A-8EEB-240F52C7D908}"/>
                </a:ext>
              </a:extLst>
            </p:cNvPr>
            <p:cNvSpPr>
              <a:spLocks/>
            </p:cNvSpPr>
            <p:nvPr/>
          </p:nvSpPr>
          <p:spPr bwMode="auto">
            <a:xfrm>
              <a:off x="9617923" y="4121624"/>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18" name="Freeform: Shape 349">
              <a:extLst>
                <a:ext uri="{FF2B5EF4-FFF2-40B4-BE49-F238E27FC236}">
                  <a16:creationId xmlns:a16="http://schemas.microsoft.com/office/drawing/2014/main" id="{D1CEEA16-3783-4E4A-9389-F4226CFB0203}"/>
                </a:ext>
              </a:extLst>
            </p:cNvPr>
            <p:cNvSpPr>
              <a:spLocks/>
            </p:cNvSpPr>
            <p:nvPr/>
          </p:nvSpPr>
          <p:spPr bwMode="auto">
            <a:xfrm>
              <a:off x="7083989" y="4206799"/>
              <a:ext cx="78190" cy="78175"/>
            </a:xfrm>
            <a:custGeom>
              <a:avLst/>
              <a:gdLst>
                <a:gd name="connsiteX0" fmla="*/ 39095 w 78190"/>
                <a:gd name="connsiteY0" fmla="*/ 0 h 78175"/>
                <a:gd name="connsiteX1" fmla="*/ 78190 w 78190"/>
                <a:gd name="connsiteY1" fmla="*/ 39087 h 78175"/>
                <a:gd name="connsiteX2" fmla="*/ 39095 w 78190"/>
                <a:gd name="connsiteY2" fmla="*/ 78175 h 78175"/>
                <a:gd name="connsiteX3" fmla="*/ 0 w 78190"/>
                <a:gd name="connsiteY3" fmla="*/ 39087 h 78175"/>
                <a:gd name="connsiteX4" fmla="*/ 39095 w 78190"/>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0" h="78175">
                  <a:moveTo>
                    <a:pt x="39095" y="0"/>
                  </a:moveTo>
                  <a:cubicBezTo>
                    <a:pt x="60687" y="0"/>
                    <a:pt x="78190" y="17500"/>
                    <a:pt x="78190" y="39087"/>
                  </a:cubicBezTo>
                  <a:cubicBezTo>
                    <a:pt x="78190" y="60674"/>
                    <a:pt x="60687" y="78175"/>
                    <a:pt x="39095" y="78175"/>
                  </a:cubicBezTo>
                  <a:cubicBezTo>
                    <a:pt x="17504" y="78175"/>
                    <a:pt x="0" y="60674"/>
                    <a:pt x="0" y="39087"/>
                  </a:cubicBezTo>
                  <a:cubicBezTo>
                    <a:pt x="0" y="17500"/>
                    <a:pt x="17504" y="0"/>
                    <a:pt x="3909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19" name="Freeform: Shape 350">
              <a:extLst>
                <a:ext uri="{FF2B5EF4-FFF2-40B4-BE49-F238E27FC236}">
                  <a16:creationId xmlns:a16="http://schemas.microsoft.com/office/drawing/2014/main" id="{5CEFDF80-AFA7-48B5-9AEB-6F36F9CC9D17}"/>
                </a:ext>
              </a:extLst>
            </p:cNvPr>
            <p:cNvSpPr>
              <a:spLocks/>
            </p:cNvSpPr>
            <p:nvPr/>
          </p:nvSpPr>
          <p:spPr bwMode="auto">
            <a:xfrm>
              <a:off x="7457818" y="4206799"/>
              <a:ext cx="78167" cy="78175"/>
            </a:xfrm>
            <a:custGeom>
              <a:avLst/>
              <a:gdLst>
                <a:gd name="connsiteX0" fmla="*/ 39084 w 78167"/>
                <a:gd name="connsiteY0" fmla="*/ 0 h 78175"/>
                <a:gd name="connsiteX1" fmla="*/ 78167 w 78167"/>
                <a:gd name="connsiteY1" fmla="*/ 39087 h 78175"/>
                <a:gd name="connsiteX2" fmla="*/ 39084 w 78167"/>
                <a:gd name="connsiteY2" fmla="*/ 78175 h 78175"/>
                <a:gd name="connsiteX3" fmla="*/ 0 w 78167"/>
                <a:gd name="connsiteY3" fmla="*/ 39087 h 78175"/>
                <a:gd name="connsiteX4" fmla="*/ 39084 w 78167"/>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5">
                  <a:moveTo>
                    <a:pt x="39084" y="0"/>
                  </a:moveTo>
                  <a:cubicBezTo>
                    <a:pt x="60669" y="0"/>
                    <a:pt x="78167" y="17500"/>
                    <a:pt x="78167" y="39087"/>
                  </a:cubicBezTo>
                  <a:cubicBezTo>
                    <a:pt x="78167" y="60674"/>
                    <a:pt x="60669" y="78175"/>
                    <a:pt x="39084" y="78175"/>
                  </a:cubicBezTo>
                  <a:cubicBezTo>
                    <a:pt x="17498" y="78175"/>
                    <a:pt x="0" y="60674"/>
                    <a:pt x="0" y="39087"/>
                  </a:cubicBezTo>
                  <a:cubicBezTo>
                    <a:pt x="0" y="17500"/>
                    <a:pt x="17498" y="0"/>
                    <a:pt x="390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20" name="Freeform: Shape 351">
              <a:extLst>
                <a:ext uri="{FF2B5EF4-FFF2-40B4-BE49-F238E27FC236}">
                  <a16:creationId xmlns:a16="http://schemas.microsoft.com/office/drawing/2014/main" id="{A62C404B-EB82-4DDA-A91D-20E472DAFCDB}"/>
                </a:ext>
              </a:extLst>
            </p:cNvPr>
            <p:cNvSpPr>
              <a:spLocks/>
            </p:cNvSpPr>
            <p:nvPr/>
          </p:nvSpPr>
          <p:spPr bwMode="auto">
            <a:xfrm>
              <a:off x="7649456" y="4206799"/>
              <a:ext cx="78184" cy="78175"/>
            </a:xfrm>
            <a:custGeom>
              <a:avLst/>
              <a:gdLst>
                <a:gd name="connsiteX0" fmla="*/ 39095 w 78184"/>
                <a:gd name="connsiteY0" fmla="*/ 0 h 78175"/>
                <a:gd name="connsiteX1" fmla="*/ 78184 w 78184"/>
                <a:gd name="connsiteY1" fmla="*/ 39087 h 78175"/>
                <a:gd name="connsiteX2" fmla="*/ 39095 w 78184"/>
                <a:gd name="connsiteY2" fmla="*/ 78175 h 78175"/>
                <a:gd name="connsiteX3" fmla="*/ 0 w 78184"/>
                <a:gd name="connsiteY3" fmla="*/ 39087 h 78175"/>
                <a:gd name="connsiteX4" fmla="*/ 39095 w 7818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4" h="78175">
                  <a:moveTo>
                    <a:pt x="39095" y="0"/>
                  </a:moveTo>
                  <a:cubicBezTo>
                    <a:pt x="60686" y="0"/>
                    <a:pt x="78184" y="17500"/>
                    <a:pt x="78184" y="39087"/>
                  </a:cubicBezTo>
                  <a:cubicBezTo>
                    <a:pt x="78184" y="60674"/>
                    <a:pt x="60686" y="78175"/>
                    <a:pt x="39095" y="78175"/>
                  </a:cubicBezTo>
                  <a:cubicBezTo>
                    <a:pt x="17504" y="78175"/>
                    <a:pt x="0" y="60674"/>
                    <a:pt x="0" y="39087"/>
                  </a:cubicBezTo>
                  <a:cubicBezTo>
                    <a:pt x="0" y="17500"/>
                    <a:pt x="17504" y="0"/>
                    <a:pt x="3909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21" name="Freeform: Shape 352">
              <a:extLst>
                <a:ext uri="{FF2B5EF4-FFF2-40B4-BE49-F238E27FC236}">
                  <a16:creationId xmlns:a16="http://schemas.microsoft.com/office/drawing/2014/main" id="{2A781649-83C2-4A7E-A5C6-292A6D1AE304}"/>
                </a:ext>
              </a:extLst>
            </p:cNvPr>
            <p:cNvSpPr>
              <a:spLocks/>
            </p:cNvSpPr>
            <p:nvPr/>
          </p:nvSpPr>
          <p:spPr bwMode="auto">
            <a:xfrm>
              <a:off x="9807203" y="4206799"/>
              <a:ext cx="78175" cy="78175"/>
            </a:xfrm>
            <a:custGeom>
              <a:avLst/>
              <a:gdLst>
                <a:gd name="connsiteX0" fmla="*/ 39088 w 78175"/>
                <a:gd name="connsiteY0" fmla="*/ 0 h 78175"/>
                <a:gd name="connsiteX1" fmla="*/ 78175 w 78175"/>
                <a:gd name="connsiteY1" fmla="*/ 39087 h 78175"/>
                <a:gd name="connsiteX2" fmla="*/ 39088 w 78175"/>
                <a:gd name="connsiteY2" fmla="*/ 78175 h 78175"/>
                <a:gd name="connsiteX3" fmla="*/ 0 w 78175"/>
                <a:gd name="connsiteY3" fmla="*/ 39087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7"/>
                  </a:cubicBezTo>
                  <a:cubicBezTo>
                    <a:pt x="78175" y="60674"/>
                    <a:pt x="60675" y="78175"/>
                    <a:pt x="39088" y="78175"/>
                  </a:cubicBezTo>
                  <a:cubicBezTo>
                    <a:pt x="17500" y="78175"/>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22" name="Freeform: Shape 353">
              <a:extLst>
                <a:ext uri="{FF2B5EF4-FFF2-40B4-BE49-F238E27FC236}">
                  <a16:creationId xmlns:a16="http://schemas.microsoft.com/office/drawing/2014/main" id="{AAC74A0D-8180-4A2C-9375-9DEF1C1DB9B1}"/>
                </a:ext>
              </a:extLst>
            </p:cNvPr>
            <p:cNvSpPr>
              <a:spLocks/>
            </p:cNvSpPr>
            <p:nvPr/>
          </p:nvSpPr>
          <p:spPr bwMode="auto">
            <a:xfrm>
              <a:off x="9996483" y="4206799"/>
              <a:ext cx="78174" cy="78175"/>
            </a:xfrm>
            <a:custGeom>
              <a:avLst/>
              <a:gdLst>
                <a:gd name="connsiteX0" fmla="*/ 39088 w 78174"/>
                <a:gd name="connsiteY0" fmla="*/ 0 h 78175"/>
                <a:gd name="connsiteX1" fmla="*/ 78174 w 78174"/>
                <a:gd name="connsiteY1" fmla="*/ 39087 h 78175"/>
                <a:gd name="connsiteX2" fmla="*/ 39088 w 78174"/>
                <a:gd name="connsiteY2" fmla="*/ 78175 h 78175"/>
                <a:gd name="connsiteX3" fmla="*/ 0 w 78174"/>
                <a:gd name="connsiteY3" fmla="*/ 39087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5" y="0"/>
                    <a:pt x="78174" y="17500"/>
                    <a:pt x="78174" y="39087"/>
                  </a:cubicBezTo>
                  <a:cubicBezTo>
                    <a:pt x="78174" y="60674"/>
                    <a:pt x="60675" y="78175"/>
                    <a:pt x="39088" y="78175"/>
                  </a:cubicBezTo>
                  <a:cubicBezTo>
                    <a:pt x="17500" y="78175"/>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23" name="Freeform: Shape 354">
              <a:extLst>
                <a:ext uri="{FF2B5EF4-FFF2-40B4-BE49-F238E27FC236}">
                  <a16:creationId xmlns:a16="http://schemas.microsoft.com/office/drawing/2014/main" id="{6A8A561C-55D5-40C8-907A-7C8626761CFB}"/>
                </a:ext>
              </a:extLst>
            </p:cNvPr>
            <p:cNvSpPr>
              <a:spLocks/>
            </p:cNvSpPr>
            <p:nvPr/>
          </p:nvSpPr>
          <p:spPr bwMode="auto">
            <a:xfrm>
              <a:off x="10278039" y="4206799"/>
              <a:ext cx="78174" cy="78175"/>
            </a:xfrm>
            <a:custGeom>
              <a:avLst/>
              <a:gdLst>
                <a:gd name="connsiteX0" fmla="*/ 39088 w 78174"/>
                <a:gd name="connsiteY0" fmla="*/ 0 h 78175"/>
                <a:gd name="connsiteX1" fmla="*/ 78174 w 78174"/>
                <a:gd name="connsiteY1" fmla="*/ 39087 h 78175"/>
                <a:gd name="connsiteX2" fmla="*/ 39088 w 78174"/>
                <a:gd name="connsiteY2" fmla="*/ 78175 h 78175"/>
                <a:gd name="connsiteX3" fmla="*/ 0 w 78174"/>
                <a:gd name="connsiteY3" fmla="*/ 39087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5" y="0"/>
                    <a:pt x="78174" y="17500"/>
                    <a:pt x="78174" y="39087"/>
                  </a:cubicBezTo>
                  <a:cubicBezTo>
                    <a:pt x="78174" y="60674"/>
                    <a:pt x="60675" y="78175"/>
                    <a:pt x="39088" y="78175"/>
                  </a:cubicBezTo>
                  <a:cubicBezTo>
                    <a:pt x="17500" y="78175"/>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24" name="Freeform: Shape 355">
              <a:extLst>
                <a:ext uri="{FF2B5EF4-FFF2-40B4-BE49-F238E27FC236}">
                  <a16:creationId xmlns:a16="http://schemas.microsoft.com/office/drawing/2014/main" id="{4DD66A71-17CC-4EC7-B1E3-21AB73A9519B}"/>
                </a:ext>
              </a:extLst>
            </p:cNvPr>
            <p:cNvSpPr>
              <a:spLocks/>
            </p:cNvSpPr>
            <p:nvPr/>
          </p:nvSpPr>
          <p:spPr bwMode="auto">
            <a:xfrm>
              <a:off x="6804797" y="4206800"/>
              <a:ext cx="78184" cy="78175"/>
            </a:xfrm>
            <a:custGeom>
              <a:avLst/>
              <a:gdLst>
                <a:gd name="connsiteX0" fmla="*/ 39089 w 78184"/>
                <a:gd name="connsiteY0" fmla="*/ 0 h 78175"/>
                <a:gd name="connsiteX1" fmla="*/ 78184 w 78184"/>
                <a:gd name="connsiteY1" fmla="*/ 39087 h 78175"/>
                <a:gd name="connsiteX2" fmla="*/ 39089 w 78184"/>
                <a:gd name="connsiteY2" fmla="*/ 78175 h 78175"/>
                <a:gd name="connsiteX3" fmla="*/ 0 w 78184"/>
                <a:gd name="connsiteY3" fmla="*/ 39087 h 78175"/>
                <a:gd name="connsiteX4" fmla="*/ 39089 w 7818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4" h="78175">
                  <a:moveTo>
                    <a:pt x="39089" y="0"/>
                  </a:moveTo>
                  <a:cubicBezTo>
                    <a:pt x="60672" y="0"/>
                    <a:pt x="78184" y="17500"/>
                    <a:pt x="78184" y="39087"/>
                  </a:cubicBezTo>
                  <a:cubicBezTo>
                    <a:pt x="78184" y="60674"/>
                    <a:pt x="60672" y="78175"/>
                    <a:pt x="39089" y="78175"/>
                  </a:cubicBezTo>
                  <a:cubicBezTo>
                    <a:pt x="17500" y="78175"/>
                    <a:pt x="0" y="60674"/>
                    <a:pt x="0" y="39087"/>
                  </a:cubicBezTo>
                  <a:cubicBezTo>
                    <a:pt x="0" y="17500"/>
                    <a:pt x="17500" y="0"/>
                    <a:pt x="3908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25" name="Freeform: Shape 356">
              <a:extLst>
                <a:ext uri="{FF2B5EF4-FFF2-40B4-BE49-F238E27FC236}">
                  <a16:creationId xmlns:a16="http://schemas.microsoft.com/office/drawing/2014/main" id="{743CE1DE-8484-4A5B-B2CC-B1B2DADD759D}"/>
                </a:ext>
              </a:extLst>
            </p:cNvPr>
            <p:cNvSpPr>
              <a:spLocks/>
            </p:cNvSpPr>
            <p:nvPr/>
          </p:nvSpPr>
          <p:spPr bwMode="auto">
            <a:xfrm>
              <a:off x="8117910" y="5658497"/>
              <a:ext cx="78169" cy="78175"/>
            </a:xfrm>
            <a:custGeom>
              <a:avLst/>
              <a:gdLst>
                <a:gd name="connsiteX0" fmla="*/ 39073 w 78169"/>
                <a:gd name="connsiteY0" fmla="*/ 0 h 78175"/>
                <a:gd name="connsiteX1" fmla="*/ 78169 w 78169"/>
                <a:gd name="connsiteY1" fmla="*/ 39087 h 78175"/>
                <a:gd name="connsiteX2" fmla="*/ 39073 w 78169"/>
                <a:gd name="connsiteY2" fmla="*/ 78175 h 78175"/>
                <a:gd name="connsiteX3" fmla="*/ 0 w 78169"/>
                <a:gd name="connsiteY3" fmla="*/ 39087 h 78175"/>
                <a:gd name="connsiteX4" fmla="*/ 39073 w 78169"/>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5">
                  <a:moveTo>
                    <a:pt x="39073" y="0"/>
                  </a:moveTo>
                  <a:cubicBezTo>
                    <a:pt x="60660" y="0"/>
                    <a:pt x="78169" y="17500"/>
                    <a:pt x="78169" y="39087"/>
                  </a:cubicBezTo>
                  <a:cubicBezTo>
                    <a:pt x="78169" y="60674"/>
                    <a:pt x="60660" y="78175"/>
                    <a:pt x="39073" y="78175"/>
                  </a:cubicBezTo>
                  <a:cubicBezTo>
                    <a:pt x="17499" y="78175"/>
                    <a:pt x="0" y="60674"/>
                    <a:pt x="0" y="39087"/>
                  </a:cubicBezTo>
                  <a:cubicBezTo>
                    <a:pt x="0" y="17500"/>
                    <a:pt x="17499" y="0"/>
                    <a:pt x="390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26" name="Freeform: Shape 357">
              <a:extLst>
                <a:ext uri="{FF2B5EF4-FFF2-40B4-BE49-F238E27FC236}">
                  <a16:creationId xmlns:a16="http://schemas.microsoft.com/office/drawing/2014/main" id="{28A68B1F-A18D-4DC1-9E80-6052C20BEF79}"/>
                </a:ext>
              </a:extLst>
            </p:cNvPr>
            <p:cNvSpPr>
              <a:spLocks/>
            </p:cNvSpPr>
            <p:nvPr/>
          </p:nvSpPr>
          <p:spPr bwMode="auto">
            <a:xfrm>
              <a:off x="7457814" y="4294342"/>
              <a:ext cx="78167" cy="78175"/>
            </a:xfrm>
            <a:custGeom>
              <a:avLst/>
              <a:gdLst>
                <a:gd name="connsiteX0" fmla="*/ 39084 w 78167"/>
                <a:gd name="connsiteY0" fmla="*/ 0 h 78175"/>
                <a:gd name="connsiteX1" fmla="*/ 78167 w 78167"/>
                <a:gd name="connsiteY1" fmla="*/ 39088 h 78175"/>
                <a:gd name="connsiteX2" fmla="*/ 39084 w 78167"/>
                <a:gd name="connsiteY2" fmla="*/ 78175 h 78175"/>
                <a:gd name="connsiteX3" fmla="*/ 0 w 78167"/>
                <a:gd name="connsiteY3" fmla="*/ 39088 h 78175"/>
                <a:gd name="connsiteX4" fmla="*/ 39084 w 78167"/>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5">
                  <a:moveTo>
                    <a:pt x="39084" y="0"/>
                  </a:moveTo>
                  <a:cubicBezTo>
                    <a:pt x="60669" y="0"/>
                    <a:pt x="78167" y="17500"/>
                    <a:pt x="78167" y="39088"/>
                  </a:cubicBezTo>
                  <a:cubicBezTo>
                    <a:pt x="78167" y="60675"/>
                    <a:pt x="60669" y="78175"/>
                    <a:pt x="39084" y="78175"/>
                  </a:cubicBezTo>
                  <a:cubicBezTo>
                    <a:pt x="17499" y="78175"/>
                    <a:pt x="0" y="60675"/>
                    <a:pt x="0" y="39088"/>
                  </a:cubicBezTo>
                  <a:cubicBezTo>
                    <a:pt x="0" y="17500"/>
                    <a:pt x="17499" y="0"/>
                    <a:pt x="390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27" name="Freeform: Shape 358">
              <a:extLst>
                <a:ext uri="{FF2B5EF4-FFF2-40B4-BE49-F238E27FC236}">
                  <a16:creationId xmlns:a16="http://schemas.microsoft.com/office/drawing/2014/main" id="{D6134CE5-D048-4698-9EDC-DAB704ED896E}"/>
                </a:ext>
              </a:extLst>
            </p:cNvPr>
            <p:cNvSpPr>
              <a:spLocks/>
            </p:cNvSpPr>
            <p:nvPr/>
          </p:nvSpPr>
          <p:spPr bwMode="auto">
            <a:xfrm>
              <a:off x="8870275" y="4294342"/>
              <a:ext cx="78173" cy="78175"/>
            </a:xfrm>
            <a:custGeom>
              <a:avLst/>
              <a:gdLst>
                <a:gd name="connsiteX0" fmla="*/ 39088 w 78173"/>
                <a:gd name="connsiteY0" fmla="*/ 0 h 78175"/>
                <a:gd name="connsiteX1" fmla="*/ 78173 w 78173"/>
                <a:gd name="connsiteY1" fmla="*/ 39088 h 78175"/>
                <a:gd name="connsiteX2" fmla="*/ 39088 w 78173"/>
                <a:gd name="connsiteY2" fmla="*/ 78175 h 78175"/>
                <a:gd name="connsiteX3" fmla="*/ 0 w 78173"/>
                <a:gd name="connsiteY3" fmla="*/ 39088 h 78175"/>
                <a:gd name="connsiteX4" fmla="*/ 39088 w 78173"/>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5">
                  <a:moveTo>
                    <a:pt x="39088" y="0"/>
                  </a:moveTo>
                  <a:cubicBezTo>
                    <a:pt x="60677" y="0"/>
                    <a:pt x="78173" y="17500"/>
                    <a:pt x="78173" y="39088"/>
                  </a:cubicBezTo>
                  <a:cubicBezTo>
                    <a:pt x="78173" y="60675"/>
                    <a:pt x="60677" y="78175"/>
                    <a:pt x="39088" y="78175"/>
                  </a:cubicBezTo>
                  <a:cubicBezTo>
                    <a:pt x="17502" y="78175"/>
                    <a:pt x="0" y="60675"/>
                    <a:pt x="0" y="39088"/>
                  </a:cubicBezTo>
                  <a:cubicBezTo>
                    <a:pt x="0" y="17500"/>
                    <a:pt x="17502"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28" name="Freeform: Shape 359">
              <a:extLst>
                <a:ext uri="{FF2B5EF4-FFF2-40B4-BE49-F238E27FC236}">
                  <a16:creationId xmlns:a16="http://schemas.microsoft.com/office/drawing/2014/main" id="{E12F4BE3-8F56-4C2E-A791-401537C81092}"/>
                </a:ext>
              </a:extLst>
            </p:cNvPr>
            <p:cNvSpPr>
              <a:spLocks/>
            </p:cNvSpPr>
            <p:nvPr/>
          </p:nvSpPr>
          <p:spPr bwMode="auto">
            <a:xfrm>
              <a:off x="9338735" y="4294342"/>
              <a:ext cx="78174" cy="78175"/>
            </a:xfrm>
            <a:custGeom>
              <a:avLst/>
              <a:gdLst>
                <a:gd name="connsiteX0" fmla="*/ 39087 w 78174"/>
                <a:gd name="connsiteY0" fmla="*/ 0 h 78175"/>
                <a:gd name="connsiteX1" fmla="*/ 78174 w 78174"/>
                <a:gd name="connsiteY1" fmla="*/ 39088 h 78175"/>
                <a:gd name="connsiteX2" fmla="*/ 39087 w 78174"/>
                <a:gd name="connsiteY2" fmla="*/ 78175 h 78175"/>
                <a:gd name="connsiteX3" fmla="*/ 0 w 78174"/>
                <a:gd name="connsiteY3" fmla="*/ 39088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8"/>
                  </a:cubicBezTo>
                  <a:cubicBezTo>
                    <a:pt x="78174" y="60675"/>
                    <a:pt x="60674" y="78175"/>
                    <a:pt x="39087" y="78175"/>
                  </a:cubicBezTo>
                  <a:cubicBezTo>
                    <a:pt x="17500" y="78175"/>
                    <a:pt x="0" y="60675"/>
                    <a:pt x="0" y="39088"/>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29" name="Freeform: Shape 360">
              <a:extLst>
                <a:ext uri="{FF2B5EF4-FFF2-40B4-BE49-F238E27FC236}">
                  <a16:creationId xmlns:a16="http://schemas.microsoft.com/office/drawing/2014/main" id="{B26155B9-968A-448A-A031-87939CC3A114}"/>
                </a:ext>
              </a:extLst>
            </p:cNvPr>
            <p:cNvSpPr>
              <a:spLocks/>
            </p:cNvSpPr>
            <p:nvPr/>
          </p:nvSpPr>
          <p:spPr bwMode="auto">
            <a:xfrm>
              <a:off x="9525649" y="4294342"/>
              <a:ext cx="78174" cy="78175"/>
            </a:xfrm>
            <a:custGeom>
              <a:avLst/>
              <a:gdLst>
                <a:gd name="connsiteX0" fmla="*/ 39087 w 78174"/>
                <a:gd name="connsiteY0" fmla="*/ 0 h 78175"/>
                <a:gd name="connsiteX1" fmla="*/ 78174 w 78174"/>
                <a:gd name="connsiteY1" fmla="*/ 39088 h 78175"/>
                <a:gd name="connsiteX2" fmla="*/ 39087 w 78174"/>
                <a:gd name="connsiteY2" fmla="*/ 78175 h 78175"/>
                <a:gd name="connsiteX3" fmla="*/ 0 w 78174"/>
                <a:gd name="connsiteY3" fmla="*/ 39088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8"/>
                  </a:cubicBezTo>
                  <a:cubicBezTo>
                    <a:pt x="78174" y="60675"/>
                    <a:pt x="60674" y="78175"/>
                    <a:pt x="39087" y="78175"/>
                  </a:cubicBezTo>
                  <a:cubicBezTo>
                    <a:pt x="17500" y="78175"/>
                    <a:pt x="0" y="60675"/>
                    <a:pt x="0" y="39088"/>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30" name="Freeform: Shape 361">
              <a:extLst>
                <a:ext uri="{FF2B5EF4-FFF2-40B4-BE49-F238E27FC236}">
                  <a16:creationId xmlns:a16="http://schemas.microsoft.com/office/drawing/2014/main" id="{D630C3D5-02F7-4072-8DF4-EF591FE02964}"/>
                </a:ext>
              </a:extLst>
            </p:cNvPr>
            <p:cNvSpPr>
              <a:spLocks/>
            </p:cNvSpPr>
            <p:nvPr/>
          </p:nvSpPr>
          <p:spPr bwMode="auto">
            <a:xfrm>
              <a:off x="9807203" y="4294342"/>
              <a:ext cx="78175" cy="78175"/>
            </a:xfrm>
            <a:custGeom>
              <a:avLst/>
              <a:gdLst>
                <a:gd name="connsiteX0" fmla="*/ 39088 w 78175"/>
                <a:gd name="connsiteY0" fmla="*/ 0 h 78175"/>
                <a:gd name="connsiteX1" fmla="*/ 78175 w 78175"/>
                <a:gd name="connsiteY1" fmla="*/ 39088 h 78175"/>
                <a:gd name="connsiteX2" fmla="*/ 39088 w 78175"/>
                <a:gd name="connsiteY2" fmla="*/ 78175 h 78175"/>
                <a:gd name="connsiteX3" fmla="*/ 0 w 78175"/>
                <a:gd name="connsiteY3" fmla="*/ 39088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8"/>
                  </a:cubicBezTo>
                  <a:cubicBezTo>
                    <a:pt x="78175" y="60675"/>
                    <a:pt x="60675" y="78175"/>
                    <a:pt x="39088" y="78175"/>
                  </a:cubicBezTo>
                  <a:cubicBezTo>
                    <a:pt x="17500" y="78175"/>
                    <a:pt x="0" y="60675"/>
                    <a:pt x="0" y="39088"/>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31" name="Freeform: Shape 362">
              <a:extLst>
                <a:ext uri="{FF2B5EF4-FFF2-40B4-BE49-F238E27FC236}">
                  <a16:creationId xmlns:a16="http://schemas.microsoft.com/office/drawing/2014/main" id="{59992B36-E689-447E-9682-52158E783819}"/>
                </a:ext>
              </a:extLst>
            </p:cNvPr>
            <p:cNvSpPr>
              <a:spLocks/>
            </p:cNvSpPr>
            <p:nvPr/>
          </p:nvSpPr>
          <p:spPr bwMode="auto">
            <a:xfrm>
              <a:off x="10185765" y="4294342"/>
              <a:ext cx="78174" cy="78175"/>
            </a:xfrm>
            <a:custGeom>
              <a:avLst/>
              <a:gdLst>
                <a:gd name="connsiteX0" fmla="*/ 39087 w 78174"/>
                <a:gd name="connsiteY0" fmla="*/ 0 h 78175"/>
                <a:gd name="connsiteX1" fmla="*/ 78174 w 78174"/>
                <a:gd name="connsiteY1" fmla="*/ 39088 h 78175"/>
                <a:gd name="connsiteX2" fmla="*/ 39087 w 78174"/>
                <a:gd name="connsiteY2" fmla="*/ 78175 h 78175"/>
                <a:gd name="connsiteX3" fmla="*/ 0 w 78174"/>
                <a:gd name="connsiteY3" fmla="*/ 39088 h 78175"/>
                <a:gd name="connsiteX4" fmla="*/ 39087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7" y="0"/>
                  </a:moveTo>
                  <a:cubicBezTo>
                    <a:pt x="60674" y="0"/>
                    <a:pt x="78174" y="17500"/>
                    <a:pt x="78174" y="39088"/>
                  </a:cubicBezTo>
                  <a:cubicBezTo>
                    <a:pt x="78174" y="60675"/>
                    <a:pt x="60674" y="78175"/>
                    <a:pt x="39087" y="78175"/>
                  </a:cubicBezTo>
                  <a:cubicBezTo>
                    <a:pt x="17500" y="78175"/>
                    <a:pt x="0" y="60675"/>
                    <a:pt x="0" y="39088"/>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32" name="Freeform: Shape 363">
              <a:extLst>
                <a:ext uri="{FF2B5EF4-FFF2-40B4-BE49-F238E27FC236}">
                  <a16:creationId xmlns:a16="http://schemas.microsoft.com/office/drawing/2014/main" id="{415D11E8-020A-4EE0-B0B8-1CD00F4EA982}"/>
                </a:ext>
              </a:extLst>
            </p:cNvPr>
            <p:cNvSpPr>
              <a:spLocks/>
            </p:cNvSpPr>
            <p:nvPr/>
          </p:nvSpPr>
          <p:spPr bwMode="auto">
            <a:xfrm>
              <a:off x="10278039" y="4294342"/>
              <a:ext cx="78174" cy="78175"/>
            </a:xfrm>
            <a:custGeom>
              <a:avLst/>
              <a:gdLst>
                <a:gd name="connsiteX0" fmla="*/ 39088 w 78174"/>
                <a:gd name="connsiteY0" fmla="*/ 0 h 78175"/>
                <a:gd name="connsiteX1" fmla="*/ 78174 w 78174"/>
                <a:gd name="connsiteY1" fmla="*/ 39088 h 78175"/>
                <a:gd name="connsiteX2" fmla="*/ 39088 w 78174"/>
                <a:gd name="connsiteY2" fmla="*/ 78175 h 78175"/>
                <a:gd name="connsiteX3" fmla="*/ 0 w 78174"/>
                <a:gd name="connsiteY3" fmla="*/ 39088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5" y="0"/>
                    <a:pt x="78174" y="17500"/>
                    <a:pt x="78174" y="39088"/>
                  </a:cubicBezTo>
                  <a:cubicBezTo>
                    <a:pt x="78174" y="60675"/>
                    <a:pt x="60675" y="78175"/>
                    <a:pt x="39088" y="78175"/>
                  </a:cubicBezTo>
                  <a:cubicBezTo>
                    <a:pt x="17500" y="78175"/>
                    <a:pt x="0" y="60675"/>
                    <a:pt x="0" y="39088"/>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33" name="Freeform: Shape 364">
              <a:extLst>
                <a:ext uri="{FF2B5EF4-FFF2-40B4-BE49-F238E27FC236}">
                  <a16:creationId xmlns:a16="http://schemas.microsoft.com/office/drawing/2014/main" id="{E3BFDCA6-B69E-4EF4-B1FE-983B1DED6AC4}"/>
                </a:ext>
              </a:extLst>
            </p:cNvPr>
            <p:cNvSpPr>
              <a:spLocks/>
            </p:cNvSpPr>
            <p:nvPr/>
          </p:nvSpPr>
          <p:spPr bwMode="auto">
            <a:xfrm>
              <a:off x="10372679" y="4312209"/>
              <a:ext cx="16571" cy="50981"/>
            </a:xfrm>
            <a:custGeom>
              <a:avLst/>
              <a:gdLst>
                <a:gd name="connsiteX0" fmla="*/ 8790 w 16571"/>
                <a:gd name="connsiteY0" fmla="*/ 0 h 50981"/>
                <a:gd name="connsiteX1" fmla="*/ 16571 w 16571"/>
                <a:gd name="connsiteY1" fmla="*/ 50981 h 50981"/>
                <a:gd name="connsiteX2" fmla="*/ 11449 w 16571"/>
                <a:gd name="connsiteY2" fmla="*/ 48859 h 50981"/>
                <a:gd name="connsiteX3" fmla="*/ 0 w 16571"/>
                <a:gd name="connsiteY3" fmla="*/ 21221 h 50981"/>
                <a:gd name="connsiteX4" fmla="*/ 8790 w 16571"/>
                <a:gd name="connsiteY4" fmla="*/ 0 h 50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1" h="50981">
                  <a:moveTo>
                    <a:pt x="8790" y="0"/>
                  </a:moveTo>
                  <a:lnTo>
                    <a:pt x="16571" y="50981"/>
                  </a:lnTo>
                  <a:lnTo>
                    <a:pt x="11449" y="48859"/>
                  </a:lnTo>
                  <a:cubicBezTo>
                    <a:pt x="4375" y="41786"/>
                    <a:pt x="0" y="32014"/>
                    <a:pt x="0" y="21221"/>
                  </a:cubicBezTo>
                  <a:lnTo>
                    <a:pt x="879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34" name="Freeform: Shape 365">
              <a:extLst>
                <a:ext uri="{FF2B5EF4-FFF2-40B4-BE49-F238E27FC236}">
                  <a16:creationId xmlns:a16="http://schemas.microsoft.com/office/drawing/2014/main" id="{46E5B0EA-27E9-487D-8B8C-4E8285C969EC}"/>
                </a:ext>
              </a:extLst>
            </p:cNvPr>
            <p:cNvSpPr>
              <a:spLocks/>
            </p:cNvSpPr>
            <p:nvPr/>
          </p:nvSpPr>
          <p:spPr bwMode="auto">
            <a:xfrm>
              <a:off x="6991714" y="4377151"/>
              <a:ext cx="78166" cy="78175"/>
            </a:xfrm>
            <a:custGeom>
              <a:avLst/>
              <a:gdLst>
                <a:gd name="connsiteX0" fmla="*/ 39078 w 78166"/>
                <a:gd name="connsiteY0" fmla="*/ 0 h 78175"/>
                <a:gd name="connsiteX1" fmla="*/ 78166 w 78166"/>
                <a:gd name="connsiteY1" fmla="*/ 39088 h 78175"/>
                <a:gd name="connsiteX2" fmla="*/ 39078 w 78166"/>
                <a:gd name="connsiteY2" fmla="*/ 78175 h 78175"/>
                <a:gd name="connsiteX3" fmla="*/ 0 w 78166"/>
                <a:gd name="connsiteY3" fmla="*/ 39088 h 78175"/>
                <a:gd name="connsiteX4" fmla="*/ 39078 w 7816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6" h="78175">
                  <a:moveTo>
                    <a:pt x="39078" y="0"/>
                  </a:moveTo>
                  <a:cubicBezTo>
                    <a:pt x="60666" y="0"/>
                    <a:pt x="78166" y="17500"/>
                    <a:pt x="78166" y="39088"/>
                  </a:cubicBezTo>
                  <a:cubicBezTo>
                    <a:pt x="78166" y="60674"/>
                    <a:pt x="60666" y="78175"/>
                    <a:pt x="39078" y="78175"/>
                  </a:cubicBezTo>
                  <a:cubicBezTo>
                    <a:pt x="17486" y="78175"/>
                    <a:pt x="0" y="60674"/>
                    <a:pt x="0" y="39088"/>
                  </a:cubicBezTo>
                  <a:cubicBezTo>
                    <a:pt x="0" y="17500"/>
                    <a:pt x="17486" y="0"/>
                    <a:pt x="3907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35" name="Freeform: Shape 366">
              <a:extLst>
                <a:ext uri="{FF2B5EF4-FFF2-40B4-BE49-F238E27FC236}">
                  <a16:creationId xmlns:a16="http://schemas.microsoft.com/office/drawing/2014/main" id="{EBDD4530-CBDA-4FC9-A3FE-6AD392B1C5A1}"/>
                </a:ext>
              </a:extLst>
            </p:cNvPr>
            <p:cNvSpPr>
              <a:spLocks/>
            </p:cNvSpPr>
            <p:nvPr/>
          </p:nvSpPr>
          <p:spPr bwMode="auto">
            <a:xfrm>
              <a:off x="9151821" y="4377151"/>
              <a:ext cx="78177" cy="78175"/>
            </a:xfrm>
            <a:custGeom>
              <a:avLst/>
              <a:gdLst>
                <a:gd name="connsiteX0" fmla="*/ 39086 w 78177"/>
                <a:gd name="connsiteY0" fmla="*/ 0 h 78175"/>
                <a:gd name="connsiteX1" fmla="*/ 78177 w 78177"/>
                <a:gd name="connsiteY1" fmla="*/ 39088 h 78175"/>
                <a:gd name="connsiteX2" fmla="*/ 39086 w 78177"/>
                <a:gd name="connsiteY2" fmla="*/ 78175 h 78175"/>
                <a:gd name="connsiteX3" fmla="*/ 0 w 78177"/>
                <a:gd name="connsiteY3" fmla="*/ 39088 h 78175"/>
                <a:gd name="connsiteX4" fmla="*/ 39086 w 78177"/>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7" h="78175">
                  <a:moveTo>
                    <a:pt x="39086" y="0"/>
                  </a:moveTo>
                  <a:cubicBezTo>
                    <a:pt x="60675" y="0"/>
                    <a:pt x="78177" y="17500"/>
                    <a:pt x="78177" y="39088"/>
                  </a:cubicBezTo>
                  <a:cubicBezTo>
                    <a:pt x="78177" y="60674"/>
                    <a:pt x="60675" y="78175"/>
                    <a:pt x="39086" y="78175"/>
                  </a:cubicBezTo>
                  <a:cubicBezTo>
                    <a:pt x="17500" y="78175"/>
                    <a:pt x="0" y="60674"/>
                    <a:pt x="0" y="39088"/>
                  </a:cubicBezTo>
                  <a:cubicBezTo>
                    <a:pt x="0" y="17500"/>
                    <a:pt x="17500"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36" name="Freeform: Shape 367">
              <a:extLst>
                <a:ext uri="{FF2B5EF4-FFF2-40B4-BE49-F238E27FC236}">
                  <a16:creationId xmlns:a16="http://schemas.microsoft.com/office/drawing/2014/main" id="{B66AD495-1664-40A6-A8B2-33ACFB386724}"/>
                </a:ext>
              </a:extLst>
            </p:cNvPr>
            <p:cNvSpPr>
              <a:spLocks/>
            </p:cNvSpPr>
            <p:nvPr/>
          </p:nvSpPr>
          <p:spPr bwMode="auto">
            <a:xfrm>
              <a:off x="9244101" y="4377151"/>
              <a:ext cx="78167" cy="78175"/>
            </a:xfrm>
            <a:custGeom>
              <a:avLst/>
              <a:gdLst>
                <a:gd name="connsiteX0" fmla="*/ 39094 w 78167"/>
                <a:gd name="connsiteY0" fmla="*/ 0 h 78175"/>
                <a:gd name="connsiteX1" fmla="*/ 78167 w 78167"/>
                <a:gd name="connsiteY1" fmla="*/ 39088 h 78175"/>
                <a:gd name="connsiteX2" fmla="*/ 39094 w 78167"/>
                <a:gd name="connsiteY2" fmla="*/ 78175 h 78175"/>
                <a:gd name="connsiteX3" fmla="*/ 0 w 78167"/>
                <a:gd name="connsiteY3" fmla="*/ 39088 h 78175"/>
                <a:gd name="connsiteX4" fmla="*/ 39094 w 78167"/>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5">
                  <a:moveTo>
                    <a:pt x="39094" y="0"/>
                  </a:moveTo>
                  <a:cubicBezTo>
                    <a:pt x="60667" y="0"/>
                    <a:pt x="78167" y="17500"/>
                    <a:pt x="78167" y="39088"/>
                  </a:cubicBezTo>
                  <a:cubicBezTo>
                    <a:pt x="78167" y="60674"/>
                    <a:pt x="60667" y="78175"/>
                    <a:pt x="39094" y="78175"/>
                  </a:cubicBezTo>
                  <a:cubicBezTo>
                    <a:pt x="17502" y="78175"/>
                    <a:pt x="0" y="60674"/>
                    <a:pt x="0" y="39088"/>
                  </a:cubicBezTo>
                  <a:cubicBezTo>
                    <a:pt x="0" y="17500"/>
                    <a:pt x="17502" y="0"/>
                    <a:pt x="3909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37" name="Freeform: Shape 368">
              <a:extLst>
                <a:ext uri="{FF2B5EF4-FFF2-40B4-BE49-F238E27FC236}">
                  <a16:creationId xmlns:a16="http://schemas.microsoft.com/office/drawing/2014/main" id="{C35F00BC-3CE5-4821-9AB8-BDA28CBC37D2}"/>
                </a:ext>
              </a:extLst>
            </p:cNvPr>
            <p:cNvSpPr>
              <a:spLocks/>
            </p:cNvSpPr>
            <p:nvPr/>
          </p:nvSpPr>
          <p:spPr bwMode="auto">
            <a:xfrm>
              <a:off x="7083978" y="4462328"/>
              <a:ext cx="78186" cy="78175"/>
            </a:xfrm>
            <a:custGeom>
              <a:avLst/>
              <a:gdLst>
                <a:gd name="connsiteX0" fmla="*/ 39093 w 78186"/>
                <a:gd name="connsiteY0" fmla="*/ 0 h 78175"/>
                <a:gd name="connsiteX1" fmla="*/ 78186 w 78186"/>
                <a:gd name="connsiteY1" fmla="*/ 39087 h 78175"/>
                <a:gd name="connsiteX2" fmla="*/ 39093 w 78186"/>
                <a:gd name="connsiteY2" fmla="*/ 78175 h 78175"/>
                <a:gd name="connsiteX3" fmla="*/ 0 w 78186"/>
                <a:gd name="connsiteY3" fmla="*/ 39087 h 78175"/>
                <a:gd name="connsiteX4" fmla="*/ 39093 w 7818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86" h="78175">
                  <a:moveTo>
                    <a:pt x="39093" y="0"/>
                  </a:moveTo>
                  <a:cubicBezTo>
                    <a:pt x="60685" y="0"/>
                    <a:pt x="78186" y="17500"/>
                    <a:pt x="78186" y="39087"/>
                  </a:cubicBezTo>
                  <a:cubicBezTo>
                    <a:pt x="78186" y="60675"/>
                    <a:pt x="60685" y="78175"/>
                    <a:pt x="39093" y="78175"/>
                  </a:cubicBezTo>
                  <a:cubicBezTo>
                    <a:pt x="17503" y="78175"/>
                    <a:pt x="0" y="60675"/>
                    <a:pt x="0" y="39087"/>
                  </a:cubicBezTo>
                  <a:cubicBezTo>
                    <a:pt x="0" y="17500"/>
                    <a:pt x="17503" y="0"/>
                    <a:pt x="3909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38" name="Freeform: Shape 369">
              <a:extLst>
                <a:ext uri="{FF2B5EF4-FFF2-40B4-BE49-F238E27FC236}">
                  <a16:creationId xmlns:a16="http://schemas.microsoft.com/office/drawing/2014/main" id="{EDC28A28-B995-4758-AE7F-99B7D91A05E5}"/>
                </a:ext>
              </a:extLst>
            </p:cNvPr>
            <p:cNvSpPr>
              <a:spLocks/>
            </p:cNvSpPr>
            <p:nvPr/>
          </p:nvSpPr>
          <p:spPr bwMode="auto">
            <a:xfrm>
              <a:off x="7270908" y="4462328"/>
              <a:ext cx="78169" cy="78173"/>
            </a:xfrm>
            <a:custGeom>
              <a:avLst/>
              <a:gdLst>
                <a:gd name="connsiteX0" fmla="*/ 39085 w 78169"/>
                <a:gd name="connsiteY0" fmla="*/ 0 h 78173"/>
                <a:gd name="connsiteX1" fmla="*/ 78169 w 78169"/>
                <a:gd name="connsiteY1" fmla="*/ 39086 h 78173"/>
                <a:gd name="connsiteX2" fmla="*/ 39085 w 78169"/>
                <a:gd name="connsiteY2" fmla="*/ 78173 h 78173"/>
                <a:gd name="connsiteX3" fmla="*/ 0 w 78169"/>
                <a:gd name="connsiteY3" fmla="*/ 39086 h 78173"/>
                <a:gd name="connsiteX4" fmla="*/ 39085 w 78169"/>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3">
                  <a:moveTo>
                    <a:pt x="39085" y="0"/>
                  </a:moveTo>
                  <a:cubicBezTo>
                    <a:pt x="60671" y="0"/>
                    <a:pt x="78169" y="17499"/>
                    <a:pt x="78169" y="39086"/>
                  </a:cubicBezTo>
                  <a:cubicBezTo>
                    <a:pt x="78169" y="60674"/>
                    <a:pt x="60671" y="78173"/>
                    <a:pt x="39085" y="78173"/>
                  </a:cubicBezTo>
                  <a:cubicBezTo>
                    <a:pt x="17496" y="78173"/>
                    <a:pt x="0" y="60674"/>
                    <a:pt x="0" y="39086"/>
                  </a:cubicBezTo>
                  <a:cubicBezTo>
                    <a:pt x="0" y="17499"/>
                    <a:pt x="17496"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39" name="Freeform: Shape 370">
              <a:extLst>
                <a:ext uri="{FF2B5EF4-FFF2-40B4-BE49-F238E27FC236}">
                  <a16:creationId xmlns:a16="http://schemas.microsoft.com/office/drawing/2014/main" id="{217163B0-4FC3-473B-87C9-1B51A9BF845D}"/>
                </a:ext>
              </a:extLst>
            </p:cNvPr>
            <p:cNvSpPr>
              <a:spLocks/>
            </p:cNvSpPr>
            <p:nvPr/>
          </p:nvSpPr>
          <p:spPr bwMode="auto">
            <a:xfrm>
              <a:off x="9244101" y="4462328"/>
              <a:ext cx="78167" cy="78173"/>
            </a:xfrm>
            <a:custGeom>
              <a:avLst/>
              <a:gdLst>
                <a:gd name="connsiteX0" fmla="*/ 39092 w 78167"/>
                <a:gd name="connsiteY0" fmla="*/ 0 h 78173"/>
                <a:gd name="connsiteX1" fmla="*/ 78167 w 78167"/>
                <a:gd name="connsiteY1" fmla="*/ 39086 h 78173"/>
                <a:gd name="connsiteX2" fmla="*/ 39092 w 78167"/>
                <a:gd name="connsiteY2" fmla="*/ 78173 h 78173"/>
                <a:gd name="connsiteX3" fmla="*/ 0 w 78167"/>
                <a:gd name="connsiteY3" fmla="*/ 39086 h 78173"/>
                <a:gd name="connsiteX4" fmla="*/ 39092 w 78167"/>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7" h="78173">
                  <a:moveTo>
                    <a:pt x="39092" y="0"/>
                  </a:moveTo>
                  <a:cubicBezTo>
                    <a:pt x="60667" y="0"/>
                    <a:pt x="78167" y="17499"/>
                    <a:pt x="78167" y="39086"/>
                  </a:cubicBezTo>
                  <a:cubicBezTo>
                    <a:pt x="78167" y="60674"/>
                    <a:pt x="60667" y="78173"/>
                    <a:pt x="39092" y="78173"/>
                  </a:cubicBezTo>
                  <a:cubicBezTo>
                    <a:pt x="17502" y="78173"/>
                    <a:pt x="0" y="60674"/>
                    <a:pt x="0" y="39086"/>
                  </a:cubicBezTo>
                  <a:cubicBezTo>
                    <a:pt x="0" y="17499"/>
                    <a:pt x="17502" y="0"/>
                    <a:pt x="3909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40" name="Freeform: Shape 371">
              <a:extLst>
                <a:ext uri="{FF2B5EF4-FFF2-40B4-BE49-F238E27FC236}">
                  <a16:creationId xmlns:a16="http://schemas.microsoft.com/office/drawing/2014/main" id="{E54FFEEC-517A-49EF-9A1D-CE87672CC369}"/>
                </a:ext>
              </a:extLst>
            </p:cNvPr>
            <p:cNvSpPr>
              <a:spLocks/>
            </p:cNvSpPr>
            <p:nvPr/>
          </p:nvSpPr>
          <p:spPr bwMode="auto">
            <a:xfrm>
              <a:off x="9525649" y="4462328"/>
              <a:ext cx="78174" cy="78173"/>
            </a:xfrm>
            <a:custGeom>
              <a:avLst/>
              <a:gdLst>
                <a:gd name="connsiteX0" fmla="*/ 39087 w 78174"/>
                <a:gd name="connsiteY0" fmla="*/ 0 h 78173"/>
                <a:gd name="connsiteX1" fmla="*/ 78174 w 78174"/>
                <a:gd name="connsiteY1" fmla="*/ 39086 h 78173"/>
                <a:gd name="connsiteX2" fmla="*/ 39087 w 78174"/>
                <a:gd name="connsiteY2" fmla="*/ 78173 h 78173"/>
                <a:gd name="connsiteX3" fmla="*/ 0 w 78174"/>
                <a:gd name="connsiteY3" fmla="*/ 39086 h 78173"/>
                <a:gd name="connsiteX4" fmla="*/ 39087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7" y="0"/>
                  </a:moveTo>
                  <a:cubicBezTo>
                    <a:pt x="60674" y="0"/>
                    <a:pt x="78174" y="17499"/>
                    <a:pt x="78174" y="39086"/>
                  </a:cubicBezTo>
                  <a:cubicBezTo>
                    <a:pt x="78174" y="60674"/>
                    <a:pt x="60674" y="78173"/>
                    <a:pt x="39087" y="78173"/>
                  </a:cubicBezTo>
                  <a:cubicBezTo>
                    <a:pt x="17500" y="78173"/>
                    <a:pt x="0" y="60674"/>
                    <a:pt x="0" y="39086"/>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41" name="Freeform: Shape 372">
              <a:extLst>
                <a:ext uri="{FF2B5EF4-FFF2-40B4-BE49-F238E27FC236}">
                  <a16:creationId xmlns:a16="http://schemas.microsoft.com/office/drawing/2014/main" id="{142B1608-D64A-48C2-A867-00AD786D55A2}"/>
                </a:ext>
              </a:extLst>
            </p:cNvPr>
            <p:cNvSpPr>
              <a:spLocks/>
            </p:cNvSpPr>
            <p:nvPr/>
          </p:nvSpPr>
          <p:spPr bwMode="auto">
            <a:xfrm>
              <a:off x="10091123" y="4462328"/>
              <a:ext cx="78174" cy="78175"/>
            </a:xfrm>
            <a:custGeom>
              <a:avLst/>
              <a:gdLst>
                <a:gd name="connsiteX0" fmla="*/ 39088 w 78174"/>
                <a:gd name="connsiteY0" fmla="*/ 0 h 78175"/>
                <a:gd name="connsiteX1" fmla="*/ 78174 w 78174"/>
                <a:gd name="connsiteY1" fmla="*/ 39087 h 78175"/>
                <a:gd name="connsiteX2" fmla="*/ 39088 w 78174"/>
                <a:gd name="connsiteY2" fmla="*/ 78175 h 78175"/>
                <a:gd name="connsiteX3" fmla="*/ 0 w 78174"/>
                <a:gd name="connsiteY3" fmla="*/ 39087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5" y="0"/>
                    <a:pt x="78174" y="17500"/>
                    <a:pt x="78174" y="39087"/>
                  </a:cubicBezTo>
                  <a:cubicBezTo>
                    <a:pt x="78174" y="60675"/>
                    <a:pt x="60675" y="78175"/>
                    <a:pt x="39088" y="78175"/>
                  </a:cubicBezTo>
                  <a:cubicBezTo>
                    <a:pt x="17500" y="78175"/>
                    <a:pt x="0" y="60675"/>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42" name="Freeform: Shape 373">
              <a:extLst>
                <a:ext uri="{FF2B5EF4-FFF2-40B4-BE49-F238E27FC236}">
                  <a16:creationId xmlns:a16="http://schemas.microsoft.com/office/drawing/2014/main" id="{3DB86D69-2332-410C-BA0D-72ED792CE5C1}"/>
                </a:ext>
              </a:extLst>
            </p:cNvPr>
            <p:cNvSpPr>
              <a:spLocks/>
            </p:cNvSpPr>
            <p:nvPr/>
          </p:nvSpPr>
          <p:spPr bwMode="auto">
            <a:xfrm>
              <a:off x="10185763" y="4462328"/>
              <a:ext cx="78174" cy="78173"/>
            </a:xfrm>
            <a:custGeom>
              <a:avLst/>
              <a:gdLst>
                <a:gd name="connsiteX0" fmla="*/ 39088 w 78174"/>
                <a:gd name="connsiteY0" fmla="*/ 0 h 78173"/>
                <a:gd name="connsiteX1" fmla="*/ 78174 w 78174"/>
                <a:gd name="connsiteY1" fmla="*/ 39086 h 78173"/>
                <a:gd name="connsiteX2" fmla="*/ 39088 w 78174"/>
                <a:gd name="connsiteY2" fmla="*/ 78173 h 78173"/>
                <a:gd name="connsiteX3" fmla="*/ 0 w 78174"/>
                <a:gd name="connsiteY3" fmla="*/ 39086 h 78173"/>
                <a:gd name="connsiteX4" fmla="*/ 39088 w 78174"/>
                <a:gd name="connsiteY4" fmla="*/ 0 h 78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3">
                  <a:moveTo>
                    <a:pt x="39088" y="0"/>
                  </a:moveTo>
                  <a:cubicBezTo>
                    <a:pt x="60675" y="0"/>
                    <a:pt x="78174" y="17499"/>
                    <a:pt x="78174" y="39086"/>
                  </a:cubicBezTo>
                  <a:cubicBezTo>
                    <a:pt x="78174" y="60674"/>
                    <a:pt x="60675" y="78173"/>
                    <a:pt x="39088" y="78173"/>
                  </a:cubicBezTo>
                  <a:cubicBezTo>
                    <a:pt x="17500" y="78173"/>
                    <a:pt x="0" y="60674"/>
                    <a:pt x="0" y="39086"/>
                  </a:cubicBezTo>
                  <a:cubicBezTo>
                    <a:pt x="0" y="17499"/>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43" name="Freeform: Shape 374">
              <a:extLst>
                <a:ext uri="{FF2B5EF4-FFF2-40B4-BE49-F238E27FC236}">
                  <a16:creationId xmlns:a16="http://schemas.microsoft.com/office/drawing/2014/main" id="{D6C33938-B34B-4525-9A91-0CD46793F35C}"/>
                </a:ext>
              </a:extLst>
            </p:cNvPr>
            <p:cNvSpPr>
              <a:spLocks/>
            </p:cNvSpPr>
            <p:nvPr/>
          </p:nvSpPr>
          <p:spPr bwMode="auto">
            <a:xfrm>
              <a:off x="10372678" y="4467079"/>
              <a:ext cx="31157" cy="70138"/>
            </a:xfrm>
            <a:custGeom>
              <a:avLst/>
              <a:gdLst>
                <a:gd name="connsiteX0" fmla="*/ 27616 w 31157"/>
                <a:gd name="connsiteY0" fmla="*/ 0 h 70138"/>
                <a:gd name="connsiteX1" fmla="*/ 31157 w 31157"/>
                <a:gd name="connsiteY1" fmla="*/ 70138 h 70138"/>
                <a:gd name="connsiteX2" fmla="*/ 11448 w 31157"/>
                <a:gd name="connsiteY2" fmla="*/ 61974 h 70138"/>
                <a:gd name="connsiteX3" fmla="*/ 0 w 31157"/>
                <a:gd name="connsiteY3" fmla="*/ 34335 h 70138"/>
                <a:gd name="connsiteX4" fmla="*/ 11448 w 31157"/>
                <a:gd name="connsiteY4" fmla="*/ 6697 h 70138"/>
                <a:gd name="connsiteX5" fmla="*/ 27616 w 31157"/>
                <a:gd name="connsiteY5" fmla="*/ 0 h 70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57" h="70138">
                  <a:moveTo>
                    <a:pt x="27616" y="0"/>
                  </a:moveTo>
                  <a:lnTo>
                    <a:pt x="31157" y="70138"/>
                  </a:lnTo>
                  <a:lnTo>
                    <a:pt x="11448" y="61974"/>
                  </a:lnTo>
                  <a:cubicBezTo>
                    <a:pt x="4375" y="54901"/>
                    <a:pt x="0" y="45129"/>
                    <a:pt x="0" y="34335"/>
                  </a:cubicBezTo>
                  <a:cubicBezTo>
                    <a:pt x="0" y="23542"/>
                    <a:pt x="4375" y="13770"/>
                    <a:pt x="11448" y="6697"/>
                  </a:cubicBezTo>
                  <a:lnTo>
                    <a:pt x="2761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44" name="Freeform: Shape 375">
              <a:extLst>
                <a:ext uri="{FF2B5EF4-FFF2-40B4-BE49-F238E27FC236}">
                  <a16:creationId xmlns:a16="http://schemas.microsoft.com/office/drawing/2014/main" id="{CAE1B7A5-D98F-4BE1-BFEC-B8B2F7E8A8F7}"/>
                </a:ext>
              </a:extLst>
            </p:cNvPr>
            <p:cNvSpPr>
              <a:spLocks/>
            </p:cNvSpPr>
            <p:nvPr/>
          </p:nvSpPr>
          <p:spPr bwMode="auto">
            <a:xfrm>
              <a:off x="8964914" y="4547501"/>
              <a:ext cx="78172" cy="78174"/>
            </a:xfrm>
            <a:custGeom>
              <a:avLst/>
              <a:gdLst>
                <a:gd name="connsiteX0" fmla="*/ 39084 w 78172"/>
                <a:gd name="connsiteY0" fmla="*/ 0 h 78174"/>
                <a:gd name="connsiteX1" fmla="*/ 78172 w 78172"/>
                <a:gd name="connsiteY1" fmla="*/ 39088 h 78174"/>
                <a:gd name="connsiteX2" fmla="*/ 39084 w 78172"/>
                <a:gd name="connsiteY2" fmla="*/ 78174 h 78174"/>
                <a:gd name="connsiteX3" fmla="*/ 0 w 78172"/>
                <a:gd name="connsiteY3" fmla="*/ 39088 h 78174"/>
                <a:gd name="connsiteX4" fmla="*/ 39084 w 78172"/>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2" h="78174">
                  <a:moveTo>
                    <a:pt x="39084" y="0"/>
                  </a:moveTo>
                  <a:cubicBezTo>
                    <a:pt x="60673" y="0"/>
                    <a:pt x="78172" y="17500"/>
                    <a:pt x="78172" y="39088"/>
                  </a:cubicBezTo>
                  <a:cubicBezTo>
                    <a:pt x="78172" y="60675"/>
                    <a:pt x="60673" y="78174"/>
                    <a:pt x="39084" y="78174"/>
                  </a:cubicBezTo>
                  <a:cubicBezTo>
                    <a:pt x="17503" y="78174"/>
                    <a:pt x="0" y="60675"/>
                    <a:pt x="0" y="39088"/>
                  </a:cubicBezTo>
                  <a:cubicBezTo>
                    <a:pt x="0" y="17500"/>
                    <a:pt x="17503" y="0"/>
                    <a:pt x="390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45" name="Freeform: Shape 376">
              <a:extLst>
                <a:ext uri="{FF2B5EF4-FFF2-40B4-BE49-F238E27FC236}">
                  <a16:creationId xmlns:a16="http://schemas.microsoft.com/office/drawing/2014/main" id="{D01C28BA-05A9-4EE1-94E1-59C0317FD696}"/>
                </a:ext>
              </a:extLst>
            </p:cNvPr>
            <p:cNvSpPr>
              <a:spLocks/>
            </p:cNvSpPr>
            <p:nvPr/>
          </p:nvSpPr>
          <p:spPr bwMode="auto">
            <a:xfrm>
              <a:off x="9338735" y="4547501"/>
              <a:ext cx="78174" cy="78174"/>
            </a:xfrm>
            <a:custGeom>
              <a:avLst/>
              <a:gdLst>
                <a:gd name="connsiteX0" fmla="*/ 39087 w 78174"/>
                <a:gd name="connsiteY0" fmla="*/ 0 h 78174"/>
                <a:gd name="connsiteX1" fmla="*/ 78174 w 78174"/>
                <a:gd name="connsiteY1" fmla="*/ 39088 h 78174"/>
                <a:gd name="connsiteX2" fmla="*/ 39087 w 78174"/>
                <a:gd name="connsiteY2" fmla="*/ 78174 h 78174"/>
                <a:gd name="connsiteX3" fmla="*/ 0 w 78174"/>
                <a:gd name="connsiteY3" fmla="*/ 39088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8"/>
                  </a:cubicBezTo>
                  <a:cubicBezTo>
                    <a:pt x="78174" y="60675"/>
                    <a:pt x="60674" y="78174"/>
                    <a:pt x="39087" y="78174"/>
                  </a:cubicBezTo>
                  <a:cubicBezTo>
                    <a:pt x="17500" y="78174"/>
                    <a:pt x="0" y="60675"/>
                    <a:pt x="0" y="39088"/>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46" name="Freeform: Shape 377">
              <a:extLst>
                <a:ext uri="{FF2B5EF4-FFF2-40B4-BE49-F238E27FC236}">
                  <a16:creationId xmlns:a16="http://schemas.microsoft.com/office/drawing/2014/main" id="{9D44FF3C-5D27-420D-A9BA-898B0C6E1C55}"/>
                </a:ext>
              </a:extLst>
            </p:cNvPr>
            <p:cNvSpPr>
              <a:spLocks/>
            </p:cNvSpPr>
            <p:nvPr/>
          </p:nvSpPr>
          <p:spPr bwMode="auto">
            <a:xfrm>
              <a:off x="10278039" y="4547501"/>
              <a:ext cx="78174" cy="78174"/>
            </a:xfrm>
            <a:custGeom>
              <a:avLst/>
              <a:gdLst>
                <a:gd name="connsiteX0" fmla="*/ 39088 w 78174"/>
                <a:gd name="connsiteY0" fmla="*/ 0 h 78174"/>
                <a:gd name="connsiteX1" fmla="*/ 78174 w 78174"/>
                <a:gd name="connsiteY1" fmla="*/ 39088 h 78174"/>
                <a:gd name="connsiteX2" fmla="*/ 39088 w 78174"/>
                <a:gd name="connsiteY2" fmla="*/ 78174 h 78174"/>
                <a:gd name="connsiteX3" fmla="*/ 0 w 78174"/>
                <a:gd name="connsiteY3" fmla="*/ 39088 h 78174"/>
                <a:gd name="connsiteX4" fmla="*/ 39088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8" y="0"/>
                  </a:moveTo>
                  <a:cubicBezTo>
                    <a:pt x="60675" y="0"/>
                    <a:pt x="78174" y="17500"/>
                    <a:pt x="78174" y="39088"/>
                  </a:cubicBezTo>
                  <a:cubicBezTo>
                    <a:pt x="78174" y="60675"/>
                    <a:pt x="60675" y="78174"/>
                    <a:pt x="39088" y="78174"/>
                  </a:cubicBezTo>
                  <a:cubicBezTo>
                    <a:pt x="17500" y="78174"/>
                    <a:pt x="0" y="60675"/>
                    <a:pt x="0" y="39088"/>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47" name="Freeform: Shape 378">
              <a:extLst>
                <a:ext uri="{FF2B5EF4-FFF2-40B4-BE49-F238E27FC236}">
                  <a16:creationId xmlns:a16="http://schemas.microsoft.com/office/drawing/2014/main" id="{AD2353D6-10D8-4E5B-8780-E0D96EEFF07C}"/>
                </a:ext>
              </a:extLst>
            </p:cNvPr>
            <p:cNvSpPr>
              <a:spLocks/>
            </p:cNvSpPr>
            <p:nvPr/>
          </p:nvSpPr>
          <p:spPr bwMode="auto">
            <a:xfrm>
              <a:off x="10372679" y="4550510"/>
              <a:ext cx="35528" cy="73683"/>
            </a:xfrm>
            <a:custGeom>
              <a:avLst/>
              <a:gdLst>
                <a:gd name="connsiteX0" fmla="*/ 31827 w 35528"/>
                <a:gd name="connsiteY0" fmla="*/ 0 h 73683"/>
                <a:gd name="connsiteX1" fmla="*/ 35528 w 35528"/>
                <a:gd name="connsiteY1" fmla="*/ 73284 h 73683"/>
                <a:gd name="connsiteX2" fmla="*/ 35508 w 35528"/>
                <a:gd name="connsiteY2" fmla="*/ 73683 h 73683"/>
                <a:gd name="connsiteX3" fmla="*/ 11449 w 35528"/>
                <a:gd name="connsiteY3" fmla="*/ 63718 h 73683"/>
                <a:gd name="connsiteX4" fmla="*/ 0 w 35528"/>
                <a:gd name="connsiteY4" fmla="*/ 36080 h 73683"/>
                <a:gd name="connsiteX5" fmla="*/ 11449 w 35528"/>
                <a:gd name="connsiteY5" fmla="*/ 8441 h 73683"/>
                <a:gd name="connsiteX6" fmla="*/ 31827 w 35528"/>
                <a:gd name="connsiteY6" fmla="*/ 0 h 73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528" h="73683">
                  <a:moveTo>
                    <a:pt x="31827" y="0"/>
                  </a:moveTo>
                  <a:lnTo>
                    <a:pt x="35528" y="73284"/>
                  </a:lnTo>
                  <a:lnTo>
                    <a:pt x="35508" y="73683"/>
                  </a:lnTo>
                  <a:lnTo>
                    <a:pt x="11449" y="63718"/>
                  </a:lnTo>
                  <a:cubicBezTo>
                    <a:pt x="4375" y="56645"/>
                    <a:pt x="0" y="46874"/>
                    <a:pt x="0" y="36080"/>
                  </a:cubicBezTo>
                  <a:cubicBezTo>
                    <a:pt x="0" y="25286"/>
                    <a:pt x="4375" y="15514"/>
                    <a:pt x="11449" y="8441"/>
                  </a:cubicBezTo>
                  <a:lnTo>
                    <a:pt x="3182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48" name="Freeform: Shape 379">
              <a:extLst>
                <a:ext uri="{FF2B5EF4-FFF2-40B4-BE49-F238E27FC236}">
                  <a16:creationId xmlns:a16="http://schemas.microsoft.com/office/drawing/2014/main" id="{86ADD4AD-6A06-45DA-B27F-7A79E67D9F78}"/>
                </a:ext>
              </a:extLst>
            </p:cNvPr>
            <p:cNvSpPr>
              <a:spLocks/>
            </p:cNvSpPr>
            <p:nvPr/>
          </p:nvSpPr>
          <p:spPr bwMode="auto">
            <a:xfrm>
              <a:off x="6991701" y="4635044"/>
              <a:ext cx="78168" cy="78174"/>
            </a:xfrm>
            <a:custGeom>
              <a:avLst/>
              <a:gdLst>
                <a:gd name="connsiteX0" fmla="*/ 39080 w 78168"/>
                <a:gd name="connsiteY0" fmla="*/ 0 h 78174"/>
                <a:gd name="connsiteX1" fmla="*/ 78168 w 78168"/>
                <a:gd name="connsiteY1" fmla="*/ 39087 h 78174"/>
                <a:gd name="connsiteX2" fmla="*/ 39080 w 78168"/>
                <a:gd name="connsiteY2" fmla="*/ 78174 h 78174"/>
                <a:gd name="connsiteX3" fmla="*/ 0 w 78168"/>
                <a:gd name="connsiteY3" fmla="*/ 39087 h 78174"/>
                <a:gd name="connsiteX4" fmla="*/ 39080 w 78168"/>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8" h="78174">
                  <a:moveTo>
                    <a:pt x="39080" y="0"/>
                  </a:moveTo>
                  <a:cubicBezTo>
                    <a:pt x="60670" y="0"/>
                    <a:pt x="78168" y="17499"/>
                    <a:pt x="78168" y="39087"/>
                  </a:cubicBezTo>
                  <a:cubicBezTo>
                    <a:pt x="78168" y="60674"/>
                    <a:pt x="60670" y="78174"/>
                    <a:pt x="39080" y="78174"/>
                  </a:cubicBezTo>
                  <a:cubicBezTo>
                    <a:pt x="17490" y="78174"/>
                    <a:pt x="0" y="60674"/>
                    <a:pt x="0" y="39087"/>
                  </a:cubicBezTo>
                  <a:cubicBezTo>
                    <a:pt x="0" y="17499"/>
                    <a:pt x="17490" y="0"/>
                    <a:pt x="3908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49" name="Freeform: Shape 380">
              <a:extLst>
                <a:ext uri="{FF2B5EF4-FFF2-40B4-BE49-F238E27FC236}">
                  <a16:creationId xmlns:a16="http://schemas.microsoft.com/office/drawing/2014/main" id="{D6842557-27EA-4401-BD57-7153D0610841}"/>
                </a:ext>
              </a:extLst>
            </p:cNvPr>
            <p:cNvSpPr>
              <a:spLocks/>
            </p:cNvSpPr>
            <p:nvPr/>
          </p:nvSpPr>
          <p:spPr bwMode="auto">
            <a:xfrm>
              <a:off x="9151821" y="4635045"/>
              <a:ext cx="78176" cy="78175"/>
            </a:xfrm>
            <a:custGeom>
              <a:avLst/>
              <a:gdLst>
                <a:gd name="connsiteX0" fmla="*/ 39086 w 78176"/>
                <a:gd name="connsiteY0" fmla="*/ 0 h 78175"/>
                <a:gd name="connsiteX1" fmla="*/ 78176 w 78176"/>
                <a:gd name="connsiteY1" fmla="*/ 39087 h 78175"/>
                <a:gd name="connsiteX2" fmla="*/ 39086 w 78176"/>
                <a:gd name="connsiteY2" fmla="*/ 78175 h 78175"/>
                <a:gd name="connsiteX3" fmla="*/ 0 w 78176"/>
                <a:gd name="connsiteY3" fmla="*/ 39087 h 78175"/>
                <a:gd name="connsiteX4" fmla="*/ 39086 w 7817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6" h="78175">
                  <a:moveTo>
                    <a:pt x="39086" y="0"/>
                  </a:moveTo>
                  <a:cubicBezTo>
                    <a:pt x="60674" y="0"/>
                    <a:pt x="78176" y="17500"/>
                    <a:pt x="78176" y="39087"/>
                  </a:cubicBezTo>
                  <a:cubicBezTo>
                    <a:pt x="78176" y="60674"/>
                    <a:pt x="60674" y="78175"/>
                    <a:pt x="39086" y="78175"/>
                  </a:cubicBezTo>
                  <a:cubicBezTo>
                    <a:pt x="17500" y="78175"/>
                    <a:pt x="0" y="60674"/>
                    <a:pt x="0" y="39087"/>
                  </a:cubicBezTo>
                  <a:cubicBezTo>
                    <a:pt x="0" y="17500"/>
                    <a:pt x="17500"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50" name="Freeform: Shape 381">
              <a:extLst>
                <a:ext uri="{FF2B5EF4-FFF2-40B4-BE49-F238E27FC236}">
                  <a16:creationId xmlns:a16="http://schemas.microsoft.com/office/drawing/2014/main" id="{F494F5B5-8895-4659-B7FD-64268611FCE0}"/>
                </a:ext>
              </a:extLst>
            </p:cNvPr>
            <p:cNvSpPr>
              <a:spLocks/>
            </p:cNvSpPr>
            <p:nvPr/>
          </p:nvSpPr>
          <p:spPr bwMode="auto">
            <a:xfrm>
              <a:off x="9617922" y="4635045"/>
              <a:ext cx="78175" cy="78175"/>
            </a:xfrm>
            <a:custGeom>
              <a:avLst/>
              <a:gdLst>
                <a:gd name="connsiteX0" fmla="*/ 39087 w 78175"/>
                <a:gd name="connsiteY0" fmla="*/ 0 h 78175"/>
                <a:gd name="connsiteX1" fmla="*/ 78175 w 78175"/>
                <a:gd name="connsiteY1" fmla="*/ 39087 h 78175"/>
                <a:gd name="connsiteX2" fmla="*/ 39087 w 78175"/>
                <a:gd name="connsiteY2" fmla="*/ 78175 h 78175"/>
                <a:gd name="connsiteX3" fmla="*/ 0 w 78175"/>
                <a:gd name="connsiteY3" fmla="*/ 39087 h 78175"/>
                <a:gd name="connsiteX4" fmla="*/ 39087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7" y="0"/>
                  </a:moveTo>
                  <a:cubicBezTo>
                    <a:pt x="60675" y="0"/>
                    <a:pt x="78175" y="17500"/>
                    <a:pt x="78175" y="39087"/>
                  </a:cubicBezTo>
                  <a:cubicBezTo>
                    <a:pt x="78175" y="60674"/>
                    <a:pt x="60675" y="78175"/>
                    <a:pt x="39087" y="78175"/>
                  </a:cubicBezTo>
                  <a:cubicBezTo>
                    <a:pt x="17500" y="78175"/>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51" name="Freeform: Shape 382">
              <a:extLst>
                <a:ext uri="{FF2B5EF4-FFF2-40B4-BE49-F238E27FC236}">
                  <a16:creationId xmlns:a16="http://schemas.microsoft.com/office/drawing/2014/main" id="{E405F255-0586-424B-9A37-819C0F4351A6}"/>
                </a:ext>
              </a:extLst>
            </p:cNvPr>
            <p:cNvSpPr>
              <a:spLocks/>
            </p:cNvSpPr>
            <p:nvPr/>
          </p:nvSpPr>
          <p:spPr bwMode="auto">
            <a:xfrm>
              <a:off x="9899478" y="4635044"/>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499"/>
                    <a:pt x="78175" y="39087"/>
                  </a:cubicBezTo>
                  <a:cubicBezTo>
                    <a:pt x="78175" y="60674"/>
                    <a:pt x="60675" y="78174"/>
                    <a:pt x="39087" y="78174"/>
                  </a:cubicBezTo>
                  <a:cubicBezTo>
                    <a:pt x="17500" y="78174"/>
                    <a:pt x="0" y="60674"/>
                    <a:pt x="0" y="39087"/>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52" name="Freeform: Shape 383">
              <a:extLst>
                <a:ext uri="{FF2B5EF4-FFF2-40B4-BE49-F238E27FC236}">
                  <a16:creationId xmlns:a16="http://schemas.microsoft.com/office/drawing/2014/main" id="{78803D9F-5E68-4966-96F1-946C75D81E83}"/>
                </a:ext>
              </a:extLst>
            </p:cNvPr>
            <p:cNvSpPr>
              <a:spLocks/>
            </p:cNvSpPr>
            <p:nvPr/>
          </p:nvSpPr>
          <p:spPr bwMode="auto">
            <a:xfrm>
              <a:off x="9244099" y="4722588"/>
              <a:ext cx="78169" cy="78174"/>
            </a:xfrm>
            <a:custGeom>
              <a:avLst/>
              <a:gdLst>
                <a:gd name="connsiteX0" fmla="*/ 39091 w 78169"/>
                <a:gd name="connsiteY0" fmla="*/ 0 h 78174"/>
                <a:gd name="connsiteX1" fmla="*/ 78169 w 78169"/>
                <a:gd name="connsiteY1" fmla="*/ 39087 h 78174"/>
                <a:gd name="connsiteX2" fmla="*/ 39091 w 78169"/>
                <a:gd name="connsiteY2" fmla="*/ 78174 h 78174"/>
                <a:gd name="connsiteX3" fmla="*/ 0 w 78169"/>
                <a:gd name="connsiteY3" fmla="*/ 39087 h 78174"/>
                <a:gd name="connsiteX4" fmla="*/ 39091 w 78169"/>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4">
                  <a:moveTo>
                    <a:pt x="39091" y="0"/>
                  </a:moveTo>
                  <a:cubicBezTo>
                    <a:pt x="60669" y="0"/>
                    <a:pt x="78169" y="17500"/>
                    <a:pt x="78169" y="39087"/>
                  </a:cubicBezTo>
                  <a:cubicBezTo>
                    <a:pt x="78169" y="60674"/>
                    <a:pt x="60669" y="78174"/>
                    <a:pt x="39091" y="78174"/>
                  </a:cubicBezTo>
                  <a:cubicBezTo>
                    <a:pt x="17501" y="78174"/>
                    <a:pt x="0" y="60674"/>
                    <a:pt x="0" y="39087"/>
                  </a:cubicBezTo>
                  <a:cubicBezTo>
                    <a:pt x="0" y="17500"/>
                    <a:pt x="17501" y="0"/>
                    <a:pt x="3909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53" name="Freeform: Shape 384">
              <a:extLst>
                <a:ext uri="{FF2B5EF4-FFF2-40B4-BE49-F238E27FC236}">
                  <a16:creationId xmlns:a16="http://schemas.microsoft.com/office/drawing/2014/main" id="{38047E79-801D-4AF3-98A7-75B95C828BC5}"/>
                </a:ext>
              </a:extLst>
            </p:cNvPr>
            <p:cNvSpPr>
              <a:spLocks/>
            </p:cNvSpPr>
            <p:nvPr/>
          </p:nvSpPr>
          <p:spPr bwMode="auto">
            <a:xfrm>
              <a:off x="9525649" y="4722588"/>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54" name="Freeform: Shape 385">
              <a:extLst>
                <a:ext uri="{FF2B5EF4-FFF2-40B4-BE49-F238E27FC236}">
                  <a16:creationId xmlns:a16="http://schemas.microsoft.com/office/drawing/2014/main" id="{BAF6BA50-D68B-4034-A3B4-30361D610AC8}"/>
                </a:ext>
              </a:extLst>
            </p:cNvPr>
            <p:cNvSpPr>
              <a:spLocks/>
            </p:cNvSpPr>
            <p:nvPr/>
          </p:nvSpPr>
          <p:spPr bwMode="auto">
            <a:xfrm>
              <a:off x="9712562" y="4722588"/>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500"/>
                    <a:pt x="78175" y="39087"/>
                  </a:cubicBezTo>
                  <a:cubicBezTo>
                    <a:pt x="78175" y="60674"/>
                    <a:pt x="60675"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55" name="Freeform: Shape 386">
              <a:extLst>
                <a:ext uri="{FF2B5EF4-FFF2-40B4-BE49-F238E27FC236}">
                  <a16:creationId xmlns:a16="http://schemas.microsoft.com/office/drawing/2014/main" id="{8DF9B62E-F059-4BEB-B06E-AE669CA5C239}"/>
                </a:ext>
              </a:extLst>
            </p:cNvPr>
            <p:cNvSpPr>
              <a:spLocks/>
            </p:cNvSpPr>
            <p:nvPr/>
          </p:nvSpPr>
          <p:spPr bwMode="auto">
            <a:xfrm>
              <a:off x="7176250" y="4803030"/>
              <a:ext cx="78176" cy="78174"/>
            </a:xfrm>
            <a:custGeom>
              <a:avLst/>
              <a:gdLst>
                <a:gd name="connsiteX0" fmla="*/ 39079 w 78176"/>
                <a:gd name="connsiteY0" fmla="*/ 0 h 78174"/>
                <a:gd name="connsiteX1" fmla="*/ 78176 w 78176"/>
                <a:gd name="connsiteY1" fmla="*/ 39087 h 78174"/>
                <a:gd name="connsiteX2" fmla="*/ 39079 w 78176"/>
                <a:gd name="connsiteY2" fmla="*/ 78174 h 78174"/>
                <a:gd name="connsiteX3" fmla="*/ 0 w 78176"/>
                <a:gd name="connsiteY3" fmla="*/ 39087 h 78174"/>
                <a:gd name="connsiteX4" fmla="*/ 39079 w 78176"/>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6" h="78174">
                  <a:moveTo>
                    <a:pt x="39079" y="0"/>
                  </a:moveTo>
                  <a:cubicBezTo>
                    <a:pt x="60677" y="0"/>
                    <a:pt x="78176" y="17500"/>
                    <a:pt x="78176" y="39087"/>
                  </a:cubicBezTo>
                  <a:cubicBezTo>
                    <a:pt x="78176" y="60674"/>
                    <a:pt x="60677" y="78174"/>
                    <a:pt x="39079" y="78174"/>
                  </a:cubicBezTo>
                  <a:cubicBezTo>
                    <a:pt x="17502" y="78174"/>
                    <a:pt x="0" y="60674"/>
                    <a:pt x="0" y="39087"/>
                  </a:cubicBezTo>
                  <a:cubicBezTo>
                    <a:pt x="0" y="17500"/>
                    <a:pt x="17502" y="0"/>
                    <a:pt x="3907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56" name="Freeform: Shape 387">
              <a:extLst>
                <a:ext uri="{FF2B5EF4-FFF2-40B4-BE49-F238E27FC236}">
                  <a16:creationId xmlns:a16="http://schemas.microsoft.com/office/drawing/2014/main" id="{909376AD-4B66-4D3E-AE29-C5471850FD83}"/>
                </a:ext>
              </a:extLst>
            </p:cNvPr>
            <p:cNvSpPr>
              <a:spLocks/>
            </p:cNvSpPr>
            <p:nvPr/>
          </p:nvSpPr>
          <p:spPr bwMode="auto">
            <a:xfrm>
              <a:off x="7649436" y="4803030"/>
              <a:ext cx="78179" cy="78174"/>
            </a:xfrm>
            <a:custGeom>
              <a:avLst/>
              <a:gdLst>
                <a:gd name="connsiteX0" fmla="*/ 39092 w 78179"/>
                <a:gd name="connsiteY0" fmla="*/ 0 h 78174"/>
                <a:gd name="connsiteX1" fmla="*/ 78179 w 78179"/>
                <a:gd name="connsiteY1" fmla="*/ 39087 h 78174"/>
                <a:gd name="connsiteX2" fmla="*/ 39092 w 78179"/>
                <a:gd name="connsiteY2" fmla="*/ 78174 h 78174"/>
                <a:gd name="connsiteX3" fmla="*/ 0 w 78179"/>
                <a:gd name="connsiteY3" fmla="*/ 39087 h 78174"/>
                <a:gd name="connsiteX4" fmla="*/ 39092 w 78179"/>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9" h="78174">
                  <a:moveTo>
                    <a:pt x="39092" y="0"/>
                  </a:moveTo>
                  <a:cubicBezTo>
                    <a:pt x="60680" y="0"/>
                    <a:pt x="78179" y="17500"/>
                    <a:pt x="78179" y="39087"/>
                  </a:cubicBezTo>
                  <a:cubicBezTo>
                    <a:pt x="78179" y="60674"/>
                    <a:pt x="60680" y="78174"/>
                    <a:pt x="39092" y="78174"/>
                  </a:cubicBezTo>
                  <a:cubicBezTo>
                    <a:pt x="17502" y="78174"/>
                    <a:pt x="0" y="60674"/>
                    <a:pt x="0" y="39087"/>
                  </a:cubicBezTo>
                  <a:cubicBezTo>
                    <a:pt x="0" y="17500"/>
                    <a:pt x="17502" y="0"/>
                    <a:pt x="3909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57" name="Freeform: Shape 388">
              <a:extLst>
                <a:ext uri="{FF2B5EF4-FFF2-40B4-BE49-F238E27FC236}">
                  <a16:creationId xmlns:a16="http://schemas.microsoft.com/office/drawing/2014/main" id="{9F76CD05-8C1A-46A1-B0F5-7084BB72EC45}"/>
                </a:ext>
              </a:extLst>
            </p:cNvPr>
            <p:cNvSpPr>
              <a:spLocks/>
            </p:cNvSpPr>
            <p:nvPr/>
          </p:nvSpPr>
          <p:spPr bwMode="auto">
            <a:xfrm>
              <a:off x="9899478" y="4803030"/>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500"/>
                    <a:pt x="78175" y="39087"/>
                  </a:cubicBezTo>
                  <a:cubicBezTo>
                    <a:pt x="78175" y="60674"/>
                    <a:pt x="60675"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58" name="Freeform: Shape 389">
              <a:extLst>
                <a:ext uri="{FF2B5EF4-FFF2-40B4-BE49-F238E27FC236}">
                  <a16:creationId xmlns:a16="http://schemas.microsoft.com/office/drawing/2014/main" id="{BEC02711-56A1-49D4-BEC6-F623C3441603}"/>
                </a:ext>
              </a:extLst>
            </p:cNvPr>
            <p:cNvSpPr>
              <a:spLocks/>
            </p:cNvSpPr>
            <p:nvPr/>
          </p:nvSpPr>
          <p:spPr bwMode="auto">
            <a:xfrm>
              <a:off x="7363157" y="4885841"/>
              <a:ext cx="78169" cy="78174"/>
            </a:xfrm>
            <a:custGeom>
              <a:avLst/>
              <a:gdLst>
                <a:gd name="connsiteX0" fmla="*/ 39084 w 78169"/>
                <a:gd name="connsiteY0" fmla="*/ 0 h 78174"/>
                <a:gd name="connsiteX1" fmla="*/ 78169 w 78169"/>
                <a:gd name="connsiteY1" fmla="*/ 39087 h 78174"/>
                <a:gd name="connsiteX2" fmla="*/ 39084 w 78169"/>
                <a:gd name="connsiteY2" fmla="*/ 78174 h 78174"/>
                <a:gd name="connsiteX3" fmla="*/ 0 w 78169"/>
                <a:gd name="connsiteY3" fmla="*/ 39087 h 78174"/>
                <a:gd name="connsiteX4" fmla="*/ 39084 w 78169"/>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9" h="78174">
                  <a:moveTo>
                    <a:pt x="39084" y="0"/>
                  </a:moveTo>
                  <a:cubicBezTo>
                    <a:pt x="60670" y="0"/>
                    <a:pt x="78169" y="17500"/>
                    <a:pt x="78169" y="39087"/>
                  </a:cubicBezTo>
                  <a:cubicBezTo>
                    <a:pt x="78169" y="60674"/>
                    <a:pt x="60670" y="78174"/>
                    <a:pt x="39084" y="78174"/>
                  </a:cubicBezTo>
                  <a:cubicBezTo>
                    <a:pt x="17498" y="78174"/>
                    <a:pt x="0" y="60674"/>
                    <a:pt x="0" y="39087"/>
                  </a:cubicBezTo>
                  <a:cubicBezTo>
                    <a:pt x="0" y="17500"/>
                    <a:pt x="17498" y="0"/>
                    <a:pt x="390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59" name="Freeform: Shape 390">
              <a:extLst>
                <a:ext uri="{FF2B5EF4-FFF2-40B4-BE49-F238E27FC236}">
                  <a16:creationId xmlns:a16="http://schemas.microsoft.com/office/drawing/2014/main" id="{1E689F9F-90FD-445C-B46D-6E2783C058B4}"/>
                </a:ext>
              </a:extLst>
            </p:cNvPr>
            <p:cNvSpPr>
              <a:spLocks/>
            </p:cNvSpPr>
            <p:nvPr/>
          </p:nvSpPr>
          <p:spPr bwMode="auto">
            <a:xfrm>
              <a:off x="8773265" y="4885841"/>
              <a:ext cx="78175" cy="78174"/>
            </a:xfrm>
            <a:custGeom>
              <a:avLst/>
              <a:gdLst>
                <a:gd name="connsiteX0" fmla="*/ 39089 w 78175"/>
                <a:gd name="connsiteY0" fmla="*/ 0 h 78174"/>
                <a:gd name="connsiteX1" fmla="*/ 78175 w 78175"/>
                <a:gd name="connsiteY1" fmla="*/ 39087 h 78174"/>
                <a:gd name="connsiteX2" fmla="*/ 39089 w 78175"/>
                <a:gd name="connsiteY2" fmla="*/ 78174 h 78174"/>
                <a:gd name="connsiteX3" fmla="*/ 0 w 78175"/>
                <a:gd name="connsiteY3" fmla="*/ 39087 h 78174"/>
                <a:gd name="connsiteX4" fmla="*/ 39089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9" y="0"/>
                  </a:moveTo>
                  <a:cubicBezTo>
                    <a:pt x="60674" y="0"/>
                    <a:pt x="78175" y="17500"/>
                    <a:pt x="78175" y="39087"/>
                  </a:cubicBezTo>
                  <a:cubicBezTo>
                    <a:pt x="78175" y="60674"/>
                    <a:pt x="60674" y="78174"/>
                    <a:pt x="39089" y="78174"/>
                  </a:cubicBezTo>
                  <a:cubicBezTo>
                    <a:pt x="17498" y="78174"/>
                    <a:pt x="0" y="60674"/>
                    <a:pt x="0" y="39087"/>
                  </a:cubicBezTo>
                  <a:cubicBezTo>
                    <a:pt x="0" y="17500"/>
                    <a:pt x="17498" y="0"/>
                    <a:pt x="3908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60" name="Freeform: Shape 391">
              <a:extLst>
                <a:ext uri="{FF2B5EF4-FFF2-40B4-BE49-F238E27FC236}">
                  <a16:creationId xmlns:a16="http://schemas.microsoft.com/office/drawing/2014/main" id="{B165A56A-8A03-4CD6-89F0-B82AA8C2E5B4}"/>
                </a:ext>
              </a:extLst>
            </p:cNvPr>
            <p:cNvSpPr>
              <a:spLocks/>
            </p:cNvSpPr>
            <p:nvPr/>
          </p:nvSpPr>
          <p:spPr bwMode="auto">
            <a:xfrm>
              <a:off x="9057184" y="4885841"/>
              <a:ext cx="78172" cy="78174"/>
            </a:xfrm>
            <a:custGeom>
              <a:avLst/>
              <a:gdLst>
                <a:gd name="connsiteX0" fmla="*/ 39085 w 78172"/>
                <a:gd name="connsiteY0" fmla="*/ 0 h 78174"/>
                <a:gd name="connsiteX1" fmla="*/ 78172 w 78172"/>
                <a:gd name="connsiteY1" fmla="*/ 39087 h 78174"/>
                <a:gd name="connsiteX2" fmla="*/ 39085 w 78172"/>
                <a:gd name="connsiteY2" fmla="*/ 78174 h 78174"/>
                <a:gd name="connsiteX3" fmla="*/ 0 w 78172"/>
                <a:gd name="connsiteY3" fmla="*/ 39087 h 78174"/>
                <a:gd name="connsiteX4" fmla="*/ 39085 w 78172"/>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2" h="78174">
                  <a:moveTo>
                    <a:pt x="39085" y="0"/>
                  </a:moveTo>
                  <a:cubicBezTo>
                    <a:pt x="60673" y="0"/>
                    <a:pt x="78172" y="17500"/>
                    <a:pt x="78172" y="39087"/>
                  </a:cubicBezTo>
                  <a:cubicBezTo>
                    <a:pt x="78172" y="60674"/>
                    <a:pt x="60673" y="78174"/>
                    <a:pt x="39085" y="78174"/>
                  </a:cubicBezTo>
                  <a:cubicBezTo>
                    <a:pt x="17498" y="78174"/>
                    <a:pt x="0" y="60674"/>
                    <a:pt x="0" y="39087"/>
                  </a:cubicBezTo>
                  <a:cubicBezTo>
                    <a:pt x="0" y="17500"/>
                    <a:pt x="17498"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61" name="Freeform: Shape 392">
              <a:extLst>
                <a:ext uri="{FF2B5EF4-FFF2-40B4-BE49-F238E27FC236}">
                  <a16:creationId xmlns:a16="http://schemas.microsoft.com/office/drawing/2014/main" id="{CA06289F-D367-4781-90EF-A8325AE39B13}"/>
                </a:ext>
              </a:extLst>
            </p:cNvPr>
            <p:cNvSpPr>
              <a:spLocks/>
            </p:cNvSpPr>
            <p:nvPr/>
          </p:nvSpPr>
          <p:spPr bwMode="auto">
            <a:xfrm>
              <a:off x="9338734" y="4885841"/>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62" name="Freeform: Shape 393">
              <a:extLst>
                <a:ext uri="{FF2B5EF4-FFF2-40B4-BE49-F238E27FC236}">
                  <a16:creationId xmlns:a16="http://schemas.microsoft.com/office/drawing/2014/main" id="{4330C267-94E8-4722-A963-4F8FDAFC9D42}"/>
                </a:ext>
              </a:extLst>
            </p:cNvPr>
            <p:cNvSpPr>
              <a:spLocks/>
            </p:cNvSpPr>
            <p:nvPr/>
          </p:nvSpPr>
          <p:spPr bwMode="auto">
            <a:xfrm>
              <a:off x="9525649" y="488584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63" name="Freeform: Shape 394">
              <a:extLst>
                <a:ext uri="{FF2B5EF4-FFF2-40B4-BE49-F238E27FC236}">
                  <a16:creationId xmlns:a16="http://schemas.microsoft.com/office/drawing/2014/main" id="{D53D1E0A-025E-44F7-9A0C-83684B0B1918}"/>
                </a:ext>
              </a:extLst>
            </p:cNvPr>
            <p:cNvSpPr>
              <a:spLocks/>
            </p:cNvSpPr>
            <p:nvPr/>
          </p:nvSpPr>
          <p:spPr bwMode="auto">
            <a:xfrm>
              <a:off x="9712563" y="488584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64" name="Freeform: Shape 395">
              <a:extLst>
                <a:ext uri="{FF2B5EF4-FFF2-40B4-BE49-F238E27FC236}">
                  <a16:creationId xmlns:a16="http://schemas.microsoft.com/office/drawing/2014/main" id="{12D41302-0327-4FDA-9D84-2613DCE6FBD9}"/>
                </a:ext>
              </a:extLst>
            </p:cNvPr>
            <p:cNvSpPr>
              <a:spLocks/>
            </p:cNvSpPr>
            <p:nvPr/>
          </p:nvSpPr>
          <p:spPr bwMode="auto">
            <a:xfrm>
              <a:off x="9807203" y="488584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65" name="Freeform: Shape 396">
              <a:extLst>
                <a:ext uri="{FF2B5EF4-FFF2-40B4-BE49-F238E27FC236}">
                  <a16:creationId xmlns:a16="http://schemas.microsoft.com/office/drawing/2014/main" id="{A8158149-7A43-4495-9AF4-1EBD56808A04}"/>
                </a:ext>
              </a:extLst>
            </p:cNvPr>
            <p:cNvSpPr>
              <a:spLocks/>
            </p:cNvSpPr>
            <p:nvPr/>
          </p:nvSpPr>
          <p:spPr bwMode="auto">
            <a:xfrm>
              <a:off x="9151821" y="4975750"/>
              <a:ext cx="78176" cy="78174"/>
            </a:xfrm>
            <a:custGeom>
              <a:avLst/>
              <a:gdLst>
                <a:gd name="connsiteX0" fmla="*/ 39086 w 78176"/>
                <a:gd name="connsiteY0" fmla="*/ 0 h 78174"/>
                <a:gd name="connsiteX1" fmla="*/ 78176 w 78176"/>
                <a:gd name="connsiteY1" fmla="*/ 39087 h 78174"/>
                <a:gd name="connsiteX2" fmla="*/ 39086 w 78176"/>
                <a:gd name="connsiteY2" fmla="*/ 78174 h 78174"/>
                <a:gd name="connsiteX3" fmla="*/ 0 w 78176"/>
                <a:gd name="connsiteY3" fmla="*/ 39087 h 78174"/>
                <a:gd name="connsiteX4" fmla="*/ 39086 w 78176"/>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6" h="78174">
                  <a:moveTo>
                    <a:pt x="39086" y="0"/>
                  </a:moveTo>
                  <a:cubicBezTo>
                    <a:pt x="60674" y="0"/>
                    <a:pt x="78176" y="17500"/>
                    <a:pt x="78176" y="39087"/>
                  </a:cubicBezTo>
                  <a:cubicBezTo>
                    <a:pt x="78176" y="60674"/>
                    <a:pt x="60674" y="78174"/>
                    <a:pt x="39086" y="78174"/>
                  </a:cubicBezTo>
                  <a:cubicBezTo>
                    <a:pt x="17500" y="78174"/>
                    <a:pt x="0" y="60674"/>
                    <a:pt x="0" y="39087"/>
                  </a:cubicBezTo>
                  <a:cubicBezTo>
                    <a:pt x="0" y="17500"/>
                    <a:pt x="17500"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66" name="Freeform: Shape 397">
              <a:extLst>
                <a:ext uri="{FF2B5EF4-FFF2-40B4-BE49-F238E27FC236}">
                  <a16:creationId xmlns:a16="http://schemas.microsoft.com/office/drawing/2014/main" id="{6F89C823-8563-4632-AC6A-12F93097A3B6}"/>
                </a:ext>
              </a:extLst>
            </p:cNvPr>
            <p:cNvSpPr>
              <a:spLocks/>
            </p:cNvSpPr>
            <p:nvPr/>
          </p:nvSpPr>
          <p:spPr bwMode="auto">
            <a:xfrm>
              <a:off x="9712563" y="4975750"/>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67" name="Freeform: Shape 398">
              <a:extLst>
                <a:ext uri="{FF2B5EF4-FFF2-40B4-BE49-F238E27FC236}">
                  <a16:creationId xmlns:a16="http://schemas.microsoft.com/office/drawing/2014/main" id="{CCBA913F-EC34-4C3E-AFDE-57D7CACBA6F1}"/>
                </a:ext>
              </a:extLst>
            </p:cNvPr>
            <p:cNvSpPr>
              <a:spLocks/>
            </p:cNvSpPr>
            <p:nvPr/>
          </p:nvSpPr>
          <p:spPr bwMode="auto">
            <a:xfrm>
              <a:off x="9899478" y="4975750"/>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500"/>
                    <a:pt x="78175" y="39087"/>
                  </a:cubicBezTo>
                  <a:cubicBezTo>
                    <a:pt x="78175" y="60674"/>
                    <a:pt x="60675"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68" name="Freeform: Shape 399">
              <a:extLst>
                <a:ext uri="{FF2B5EF4-FFF2-40B4-BE49-F238E27FC236}">
                  <a16:creationId xmlns:a16="http://schemas.microsoft.com/office/drawing/2014/main" id="{6A0333EA-E155-4940-AF68-9A0DAC586C54}"/>
                </a:ext>
              </a:extLst>
            </p:cNvPr>
            <p:cNvSpPr>
              <a:spLocks/>
            </p:cNvSpPr>
            <p:nvPr/>
          </p:nvSpPr>
          <p:spPr bwMode="auto">
            <a:xfrm>
              <a:off x="10091123" y="4975750"/>
              <a:ext cx="78174" cy="78174"/>
            </a:xfrm>
            <a:custGeom>
              <a:avLst/>
              <a:gdLst>
                <a:gd name="connsiteX0" fmla="*/ 39088 w 78174"/>
                <a:gd name="connsiteY0" fmla="*/ 0 h 78174"/>
                <a:gd name="connsiteX1" fmla="*/ 78174 w 78174"/>
                <a:gd name="connsiteY1" fmla="*/ 39087 h 78174"/>
                <a:gd name="connsiteX2" fmla="*/ 39088 w 78174"/>
                <a:gd name="connsiteY2" fmla="*/ 78174 h 78174"/>
                <a:gd name="connsiteX3" fmla="*/ 0 w 78174"/>
                <a:gd name="connsiteY3" fmla="*/ 39087 h 78174"/>
                <a:gd name="connsiteX4" fmla="*/ 39088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8" y="0"/>
                  </a:moveTo>
                  <a:cubicBezTo>
                    <a:pt x="60675" y="0"/>
                    <a:pt x="78174" y="17500"/>
                    <a:pt x="78174" y="39087"/>
                  </a:cubicBezTo>
                  <a:cubicBezTo>
                    <a:pt x="78174"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69" name="Freeform: Shape 400">
              <a:extLst>
                <a:ext uri="{FF2B5EF4-FFF2-40B4-BE49-F238E27FC236}">
                  <a16:creationId xmlns:a16="http://schemas.microsoft.com/office/drawing/2014/main" id="{7655C420-B928-41B1-AE1C-D8EDBCFE6437}"/>
                </a:ext>
              </a:extLst>
            </p:cNvPr>
            <p:cNvSpPr>
              <a:spLocks/>
            </p:cNvSpPr>
            <p:nvPr/>
          </p:nvSpPr>
          <p:spPr bwMode="auto">
            <a:xfrm>
              <a:off x="7836346" y="5063292"/>
              <a:ext cx="78173" cy="78174"/>
            </a:xfrm>
            <a:custGeom>
              <a:avLst/>
              <a:gdLst>
                <a:gd name="connsiteX0" fmla="*/ 39085 w 78173"/>
                <a:gd name="connsiteY0" fmla="*/ 0 h 78174"/>
                <a:gd name="connsiteX1" fmla="*/ 78173 w 78173"/>
                <a:gd name="connsiteY1" fmla="*/ 39087 h 78174"/>
                <a:gd name="connsiteX2" fmla="*/ 39085 w 78173"/>
                <a:gd name="connsiteY2" fmla="*/ 78174 h 78174"/>
                <a:gd name="connsiteX3" fmla="*/ 0 w 78173"/>
                <a:gd name="connsiteY3" fmla="*/ 39087 h 78174"/>
                <a:gd name="connsiteX4" fmla="*/ 39085 w 78173"/>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4">
                  <a:moveTo>
                    <a:pt x="39085" y="0"/>
                  </a:moveTo>
                  <a:cubicBezTo>
                    <a:pt x="60672" y="0"/>
                    <a:pt x="78173" y="17500"/>
                    <a:pt x="78173" y="39087"/>
                  </a:cubicBezTo>
                  <a:cubicBezTo>
                    <a:pt x="78173" y="60674"/>
                    <a:pt x="60672" y="78174"/>
                    <a:pt x="39085" y="78174"/>
                  </a:cubicBezTo>
                  <a:cubicBezTo>
                    <a:pt x="17500" y="78174"/>
                    <a:pt x="0" y="60674"/>
                    <a:pt x="0" y="39087"/>
                  </a:cubicBezTo>
                  <a:cubicBezTo>
                    <a:pt x="0" y="17500"/>
                    <a:pt x="17500"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70" name="Freeform: Shape 401">
              <a:extLst>
                <a:ext uri="{FF2B5EF4-FFF2-40B4-BE49-F238E27FC236}">
                  <a16:creationId xmlns:a16="http://schemas.microsoft.com/office/drawing/2014/main" id="{F4C0CF95-2C60-40BE-9770-918DA7A6622F}"/>
                </a:ext>
              </a:extLst>
            </p:cNvPr>
            <p:cNvSpPr>
              <a:spLocks/>
            </p:cNvSpPr>
            <p:nvPr/>
          </p:nvSpPr>
          <p:spPr bwMode="auto">
            <a:xfrm>
              <a:off x="9338735" y="506329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71" name="Freeform: Shape 402">
              <a:extLst>
                <a:ext uri="{FF2B5EF4-FFF2-40B4-BE49-F238E27FC236}">
                  <a16:creationId xmlns:a16="http://schemas.microsoft.com/office/drawing/2014/main" id="{56794B4A-B544-4C22-976E-E0BEB51A31B2}"/>
                </a:ext>
              </a:extLst>
            </p:cNvPr>
            <p:cNvSpPr>
              <a:spLocks/>
            </p:cNvSpPr>
            <p:nvPr/>
          </p:nvSpPr>
          <p:spPr bwMode="auto">
            <a:xfrm>
              <a:off x="9525649" y="506329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72" name="Freeform: Shape 403">
              <a:extLst>
                <a:ext uri="{FF2B5EF4-FFF2-40B4-BE49-F238E27FC236}">
                  <a16:creationId xmlns:a16="http://schemas.microsoft.com/office/drawing/2014/main" id="{FAD91E44-B523-460D-8E6A-7D7B6859EB64}"/>
                </a:ext>
              </a:extLst>
            </p:cNvPr>
            <p:cNvSpPr>
              <a:spLocks/>
            </p:cNvSpPr>
            <p:nvPr/>
          </p:nvSpPr>
          <p:spPr bwMode="auto">
            <a:xfrm>
              <a:off x="9996483" y="5148466"/>
              <a:ext cx="78174" cy="78174"/>
            </a:xfrm>
            <a:custGeom>
              <a:avLst/>
              <a:gdLst>
                <a:gd name="connsiteX0" fmla="*/ 39086 w 78174"/>
                <a:gd name="connsiteY0" fmla="*/ 0 h 78174"/>
                <a:gd name="connsiteX1" fmla="*/ 78174 w 78174"/>
                <a:gd name="connsiteY1" fmla="*/ 39087 h 78174"/>
                <a:gd name="connsiteX2" fmla="*/ 39086 w 78174"/>
                <a:gd name="connsiteY2" fmla="*/ 78174 h 78174"/>
                <a:gd name="connsiteX3" fmla="*/ 0 w 78174"/>
                <a:gd name="connsiteY3" fmla="*/ 39087 h 78174"/>
                <a:gd name="connsiteX4" fmla="*/ 39086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6" y="0"/>
                  </a:moveTo>
                  <a:cubicBezTo>
                    <a:pt x="60674" y="0"/>
                    <a:pt x="78174" y="17500"/>
                    <a:pt x="78174" y="39087"/>
                  </a:cubicBezTo>
                  <a:cubicBezTo>
                    <a:pt x="78174" y="60674"/>
                    <a:pt x="60674" y="78174"/>
                    <a:pt x="39086" y="78174"/>
                  </a:cubicBezTo>
                  <a:cubicBezTo>
                    <a:pt x="17499" y="78174"/>
                    <a:pt x="0" y="60674"/>
                    <a:pt x="0" y="39087"/>
                  </a:cubicBezTo>
                  <a:cubicBezTo>
                    <a:pt x="0" y="17500"/>
                    <a:pt x="17499"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73" name="Freeform: Shape 404">
              <a:extLst>
                <a:ext uri="{FF2B5EF4-FFF2-40B4-BE49-F238E27FC236}">
                  <a16:creationId xmlns:a16="http://schemas.microsoft.com/office/drawing/2014/main" id="{44207291-075D-4BC0-B9DE-E367C95C623C}"/>
                </a:ext>
              </a:extLst>
            </p:cNvPr>
            <p:cNvSpPr>
              <a:spLocks/>
            </p:cNvSpPr>
            <p:nvPr/>
          </p:nvSpPr>
          <p:spPr bwMode="auto">
            <a:xfrm>
              <a:off x="7552421" y="5148468"/>
              <a:ext cx="78173" cy="78174"/>
            </a:xfrm>
            <a:custGeom>
              <a:avLst/>
              <a:gdLst>
                <a:gd name="connsiteX0" fmla="*/ 39086 w 78173"/>
                <a:gd name="connsiteY0" fmla="*/ 0 h 78174"/>
                <a:gd name="connsiteX1" fmla="*/ 78173 w 78173"/>
                <a:gd name="connsiteY1" fmla="*/ 39087 h 78174"/>
                <a:gd name="connsiteX2" fmla="*/ 39086 w 78173"/>
                <a:gd name="connsiteY2" fmla="*/ 78174 h 78174"/>
                <a:gd name="connsiteX3" fmla="*/ 0 w 78173"/>
                <a:gd name="connsiteY3" fmla="*/ 39087 h 78174"/>
                <a:gd name="connsiteX4" fmla="*/ 39086 w 78173"/>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4">
                  <a:moveTo>
                    <a:pt x="39086" y="0"/>
                  </a:moveTo>
                  <a:cubicBezTo>
                    <a:pt x="60672" y="0"/>
                    <a:pt x="78173" y="17500"/>
                    <a:pt x="78173" y="39087"/>
                  </a:cubicBezTo>
                  <a:cubicBezTo>
                    <a:pt x="78173" y="60674"/>
                    <a:pt x="60672" y="78174"/>
                    <a:pt x="39086" y="78174"/>
                  </a:cubicBezTo>
                  <a:cubicBezTo>
                    <a:pt x="17499" y="78174"/>
                    <a:pt x="0" y="60674"/>
                    <a:pt x="0" y="39087"/>
                  </a:cubicBezTo>
                  <a:cubicBezTo>
                    <a:pt x="0" y="17500"/>
                    <a:pt x="17499"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74" name="Freeform: Shape 405">
              <a:extLst>
                <a:ext uri="{FF2B5EF4-FFF2-40B4-BE49-F238E27FC236}">
                  <a16:creationId xmlns:a16="http://schemas.microsoft.com/office/drawing/2014/main" id="{172C3ED0-0309-406B-BACF-44F6977EF1C4}"/>
                </a:ext>
              </a:extLst>
            </p:cNvPr>
            <p:cNvSpPr>
              <a:spLocks/>
            </p:cNvSpPr>
            <p:nvPr/>
          </p:nvSpPr>
          <p:spPr bwMode="auto">
            <a:xfrm>
              <a:off x="9807203" y="5148468"/>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75" name="Freeform: Shape 406">
              <a:extLst>
                <a:ext uri="{FF2B5EF4-FFF2-40B4-BE49-F238E27FC236}">
                  <a16:creationId xmlns:a16="http://schemas.microsoft.com/office/drawing/2014/main" id="{FB054AC2-70ED-4A2E-A352-DCEA9AF03B5C}"/>
                </a:ext>
              </a:extLst>
            </p:cNvPr>
            <p:cNvSpPr>
              <a:spLocks/>
            </p:cNvSpPr>
            <p:nvPr/>
          </p:nvSpPr>
          <p:spPr bwMode="auto">
            <a:xfrm>
              <a:off x="8023255" y="5231276"/>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4" y="0"/>
                    <a:pt x="78175" y="17500"/>
                    <a:pt x="78175" y="39087"/>
                  </a:cubicBezTo>
                  <a:cubicBezTo>
                    <a:pt x="78175" y="60674"/>
                    <a:pt x="60674"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76" name="Freeform: Shape 407">
              <a:extLst>
                <a:ext uri="{FF2B5EF4-FFF2-40B4-BE49-F238E27FC236}">
                  <a16:creationId xmlns:a16="http://schemas.microsoft.com/office/drawing/2014/main" id="{F5DE2FF3-DE23-488A-9166-B1297EA6839E}"/>
                </a:ext>
              </a:extLst>
            </p:cNvPr>
            <p:cNvSpPr>
              <a:spLocks/>
            </p:cNvSpPr>
            <p:nvPr/>
          </p:nvSpPr>
          <p:spPr bwMode="auto">
            <a:xfrm>
              <a:off x="9338734" y="5231276"/>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77" name="Freeform: Shape 408">
              <a:extLst>
                <a:ext uri="{FF2B5EF4-FFF2-40B4-BE49-F238E27FC236}">
                  <a16:creationId xmlns:a16="http://schemas.microsoft.com/office/drawing/2014/main" id="{ED3DD4A2-E5C5-4863-96A4-7A288FFD06A9}"/>
                </a:ext>
              </a:extLst>
            </p:cNvPr>
            <p:cNvSpPr>
              <a:spLocks/>
            </p:cNvSpPr>
            <p:nvPr/>
          </p:nvSpPr>
          <p:spPr bwMode="auto">
            <a:xfrm>
              <a:off x="9712562" y="5231276"/>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5" y="0"/>
                    <a:pt x="78175" y="17500"/>
                    <a:pt x="78175" y="39087"/>
                  </a:cubicBezTo>
                  <a:cubicBezTo>
                    <a:pt x="78175" y="60674"/>
                    <a:pt x="60675"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78" name="Freeform: Shape 409">
              <a:extLst>
                <a:ext uri="{FF2B5EF4-FFF2-40B4-BE49-F238E27FC236}">
                  <a16:creationId xmlns:a16="http://schemas.microsoft.com/office/drawing/2014/main" id="{E66AEAD3-D24D-4053-8FE3-4D8375C983BE}"/>
                </a:ext>
              </a:extLst>
            </p:cNvPr>
            <p:cNvSpPr>
              <a:spLocks/>
            </p:cNvSpPr>
            <p:nvPr/>
          </p:nvSpPr>
          <p:spPr bwMode="auto">
            <a:xfrm>
              <a:off x="7457781" y="5316452"/>
              <a:ext cx="78171" cy="78174"/>
            </a:xfrm>
            <a:custGeom>
              <a:avLst/>
              <a:gdLst>
                <a:gd name="connsiteX0" fmla="*/ 39085 w 78171"/>
                <a:gd name="connsiteY0" fmla="*/ 0 h 78174"/>
                <a:gd name="connsiteX1" fmla="*/ 78171 w 78171"/>
                <a:gd name="connsiteY1" fmla="*/ 39087 h 78174"/>
                <a:gd name="connsiteX2" fmla="*/ 39085 w 78171"/>
                <a:gd name="connsiteY2" fmla="*/ 78174 h 78174"/>
                <a:gd name="connsiteX3" fmla="*/ 0 w 78171"/>
                <a:gd name="connsiteY3" fmla="*/ 39087 h 78174"/>
                <a:gd name="connsiteX4" fmla="*/ 39085 w 78171"/>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1" h="78174">
                  <a:moveTo>
                    <a:pt x="39085" y="0"/>
                  </a:moveTo>
                  <a:cubicBezTo>
                    <a:pt x="60672" y="0"/>
                    <a:pt x="78171" y="17500"/>
                    <a:pt x="78171" y="39087"/>
                  </a:cubicBezTo>
                  <a:cubicBezTo>
                    <a:pt x="78171" y="60674"/>
                    <a:pt x="60672" y="78174"/>
                    <a:pt x="39085" y="78174"/>
                  </a:cubicBezTo>
                  <a:cubicBezTo>
                    <a:pt x="17499" y="78174"/>
                    <a:pt x="0" y="60674"/>
                    <a:pt x="0" y="39087"/>
                  </a:cubicBezTo>
                  <a:cubicBezTo>
                    <a:pt x="0" y="17500"/>
                    <a:pt x="17499" y="0"/>
                    <a:pt x="3908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79" name="Freeform: Shape 410">
              <a:extLst>
                <a:ext uri="{FF2B5EF4-FFF2-40B4-BE49-F238E27FC236}">
                  <a16:creationId xmlns:a16="http://schemas.microsoft.com/office/drawing/2014/main" id="{288C5550-2091-4BF6-9FF3-7888A96F38ED}"/>
                </a:ext>
              </a:extLst>
            </p:cNvPr>
            <p:cNvSpPr>
              <a:spLocks/>
            </p:cNvSpPr>
            <p:nvPr/>
          </p:nvSpPr>
          <p:spPr bwMode="auto">
            <a:xfrm>
              <a:off x="8210157" y="531645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3" y="0"/>
                    <a:pt x="78174" y="17500"/>
                    <a:pt x="78174" y="39087"/>
                  </a:cubicBezTo>
                  <a:cubicBezTo>
                    <a:pt x="78174" y="60674"/>
                    <a:pt x="60673" y="78174"/>
                    <a:pt x="39087" y="78174"/>
                  </a:cubicBezTo>
                  <a:cubicBezTo>
                    <a:pt x="17499" y="78174"/>
                    <a:pt x="0" y="60674"/>
                    <a:pt x="0" y="39087"/>
                  </a:cubicBezTo>
                  <a:cubicBezTo>
                    <a:pt x="0" y="17500"/>
                    <a:pt x="17499"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80" name="Freeform: Shape 411">
              <a:extLst>
                <a:ext uri="{FF2B5EF4-FFF2-40B4-BE49-F238E27FC236}">
                  <a16:creationId xmlns:a16="http://schemas.microsoft.com/office/drawing/2014/main" id="{085E6083-F817-404B-BB92-5FE4744DD4C7}"/>
                </a:ext>
              </a:extLst>
            </p:cNvPr>
            <p:cNvSpPr>
              <a:spLocks/>
            </p:cNvSpPr>
            <p:nvPr/>
          </p:nvSpPr>
          <p:spPr bwMode="auto">
            <a:xfrm>
              <a:off x="9338734" y="5316452"/>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81" name="Freeform: Shape 412">
              <a:extLst>
                <a:ext uri="{FF2B5EF4-FFF2-40B4-BE49-F238E27FC236}">
                  <a16:creationId xmlns:a16="http://schemas.microsoft.com/office/drawing/2014/main" id="{B8ABA988-922F-466C-914A-365C695E790D}"/>
                </a:ext>
              </a:extLst>
            </p:cNvPr>
            <p:cNvSpPr>
              <a:spLocks/>
            </p:cNvSpPr>
            <p:nvPr/>
          </p:nvSpPr>
          <p:spPr bwMode="auto">
            <a:xfrm>
              <a:off x="9525647" y="531645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82" name="Freeform: Shape 413">
              <a:extLst>
                <a:ext uri="{FF2B5EF4-FFF2-40B4-BE49-F238E27FC236}">
                  <a16:creationId xmlns:a16="http://schemas.microsoft.com/office/drawing/2014/main" id="{857A58AC-3570-4969-80CC-434F359B657C}"/>
                </a:ext>
              </a:extLst>
            </p:cNvPr>
            <p:cNvSpPr>
              <a:spLocks/>
            </p:cNvSpPr>
            <p:nvPr/>
          </p:nvSpPr>
          <p:spPr bwMode="auto">
            <a:xfrm>
              <a:off x="7836338" y="5408726"/>
              <a:ext cx="78173" cy="78175"/>
            </a:xfrm>
            <a:custGeom>
              <a:avLst/>
              <a:gdLst>
                <a:gd name="connsiteX0" fmla="*/ 39086 w 78173"/>
                <a:gd name="connsiteY0" fmla="*/ 0 h 78175"/>
                <a:gd name="connsiteX1" fmla="*/ 78173 w 78173"/>
                <a:gd name="connsiteY1" fmla="*/ 39087 h 78175"/>
                <a:gd name="connsiteX2" fmla="*/ 39086 w 78173"/>
                <a:gd name="connsiteY2" fmla="*/ 78175 h 78175"/>
                <a:gd name="connsiteX3" fmla="*/ 0 w 78173"/>
                <a:gd name="connsiteY3" fmla="*/ 39087 h 78175"/>
                <a:gd name="connsiteX4" fmla="*/ 39086 w 78173"/>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5">
                  <a:moveTo>
                    <a:pt x="39086" y="0"/>
                  </a:moveTo>
                  <a:cubicBezTo>
                    <a:pt x="60672" y="0"/>
                    <a:pt x="78173" y="17500"/>
                    <a:pt x="78173" y="39087"/>
                  </a:cubicBezTo>
                  <a:cubicBezTo>
                    <a:pt x="78173" y="60675"/>
                    <a:pt x="60672" y="78175"/>
                    <a:pt x="39086" y="78175"/>
                  </a:cubicBezTo>
                  <a:cubicBezTo>
                    <a:pt x="17500" y="78175"/>
                    <a:pt x="0" y="60675"/>
                    <a:pt x="0" y="39087"/>
                  </a:cubicBezTo>
                  <a:cubicBezTo>
                    <a:pt x="0" y="17500"/>
                    <a:pt x="17500"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83" name="Freeform: Shape 414">
              <a:extLst>
                <a:ext uri="{FF2B5EF4-FFF2-40B4-BE49-F238E27FC236}">
                  <a16:creationId xmlns:a16="http://schemas.microsoft.com/office/drawing/2014/main" id="{F9935398-3322-4EE9-BE3D-AB320E5EAB51}"/>
                </a:ext>
              </a:extLst>
            </p:cNvPr>
            <p:cNvSpPr>
              <a:spLocks/>
            </p:cNvSpPr>
            <p:nvPr/>
          </p:nvSpPr>
          <p:spPr bwMode="auto">
            <a:xfrm>
              <a:off x="8023251" y="5408726"/>
              <a:ext cx="78175" cy="78175"/>
            </a:xfrm>
            <a:custGeom>
              <a:avLst/>
              <a:gdLst>
                <a:gd name="connsiteX0" fmla="*/ 39087 w 78175"/>
                <a:gd name="connsiteY0" fmla="*/ 0 h 78175"/>
                <a:gd name="connsiteX1" fmla="*/ 78175 w 78175"/>
                <a:gd name="connsiteY1" fmla="*/ 39087 h 78175"/>
                <a:gd name="connsiteX2" fmla="*/ 39087 w 78175"/>
                <a:gd name="connsiteY2" fmla="*/ 78175 h 78175"/>
                <a:gd name="connsiteX3" fmla="*/ 0 w 78175"/>
                <a:gd name="connsiteY3" fmla="*/ 39087 h 78175"/>
                <a:gd name="connsiteX4" fmla="*/ 39087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7" y="0"/>
                  </a:moveTo>
                  <a:cubicBezTo>
                    <a:pt x="60675" y="0"/>
                    <a:pt x="78175" y="17500"/>
                    <a:pt x="78175" y="39087"/>
                  </a:cubicBezTo>
                  <a:cubicBezTo>
                    <a:pt x="78175" y="60675"/>
                    <a:pt x="60675" y="78175"/>
                    <a:pt x="39087" y="78175"/>
                  </a:cubicBezTo>
                  <a:cubicBezTo>
                    <a:pt x="17500" y="78175"/>
                    <a:pt x="0" y="60675"/>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84" name="Freeform: Shape 415">
              <a:extLst>
                <a:ext uri="{FF2B5EF4-FFF2-40B4-BE49-F238E27FC236}">
                  <a16:creationId xmlns:a16="http://schemas.microsoft.com/office/drawing/2014/main" id="{191501CD-5ECA-4806-8CEB-51CF4EB4EFE6}"/>
                </a:ext>
              </a:extLst>
            </p:cNvPr>
            <p:cNvSpPr>
              <a:spLocks/>
            </p:cNvSpPr>
            <p:nvPr/>
          </p:nvSpPr>
          <p:spPr bwMode="auto">
            <a:xfrm>
              <a:off x="8304793" y="5408726"/>
              <a:ext cx="78174" cy="78175"/>
            </a:xfrm>
            <a:custGeom>
              <a:avLst/>
              <a:gdLst>
                <a:gd name="connsiteX0" fmla="*/ 39088 w 78174"/>
                <a:gd name="connsiteY0" fmla="*/ 0 h 78175"/>
                <a:gd name="connsiteX1" fmla="*/ 78174 w 78174"/>
                <a:gd name="connsiteY1" fmla="*/ 39087 h 78175"/>
                <a:gd name="connsiteX2" fmla="*/ 39088 w 78174"/>
                <a:gd name="connsiteY2" fmla="*/ 78175 h 78175"/>
                <a:gd name="connsiteX3" fmla="*/ 0 w 78174"/>
                <a:gd name="connsiteY3" fmla="*/ 39087 h 78175"/>
                <a:gd name="connsiteX4" fmla="*/ 39088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8" y="0"/>
                  </a:moveTo>
                  <a:cubicBezTo>
                    <a:pt x="60678" y="0"/>
                    <a:pt x="78174" y="17500"/>
                    <a:pt x="78174" y="39087"/>
                  </a:cubicBezTo>
                  <a:cubicBezTo>
                    <a:pt x="78174" y="60675"/>
                    <a:pt x="60678" y="78175"/>
                    <a:pt x="39088" y="78175"/>
                  </a:cubicBezTo>
                  <a:cubicBezTo>
                    <a:pt x="17501" y="78175"/>
                    <a:pt x="0" y="60675"/>
                    <a:pt x="0" y="39087"/>
                  </a:cubicBezTo>
                  <a:cubicBezTo>
                    <a:pt x="0" y="17500"/>
                    <a:pt x="17501"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85" name="Freeform: Shape 416">
              <a:extLst>
                <a:ext uri="{FF2B5EF4-FFF2-40B4-BE49-F238E27FC236}">
                  <a16:creationId xmlns:a16="http://schemas.microsoft.com/office/drawing/2014/main" id="{EEA6FF91-ADBF-4BEC-90FC-0D601505EE76}"/>
                </a:ext>
              </a:extLst>
            </p:cNvPr>
            <p:cNvSpPr>
              <a:spLocks/>
            </p:cNvSpPr>
            <p:nvPr/>
          </p:nvSpPr>
          <p:spPr bwMode="auto">
            <a:xfrm>
              <a:off x="7552414" y="5493902"/>
              <a:ext cx="78174" cy="78175"/>
            </a:xfrm>
            <a:custGeom>
              <a:avLst/>
              <a:gdLst>
                <a:gd name="connsiteX0" fmla="*/ 39086 w 78174"/>
                <a:gd name="connsiteY0" fmla="*/ 0 h 78175"/>
                <a:gd name="connsiteX1" fmla="*/ 78174 w 78174"/>
                <a:gd name="connsiteY1" fmla="*/ 39088 h 78175"/>
                <a:gd name="connsiteX2" fmla="*/ 39086 w 78174"/>
                <a:gd name="connsiteY2" fmla="*/ 78175 h 78175"/>
                <a:gd name="connsiteX3" fmla="*/ 0 w 78174"/>
                <a:gd name="connsiteY3" fmla="*/ 39088 h 78175"/>
                <a:gd name="connsiteX4" fmla="*/ 39086 w 78174"/>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5">
                  <a:moveTo>
                    <a:pt x="39086" y="0"/>
                  </a:moveTo>
                  <a:cubicBezTo>
                    <a:pt x="60673" y="0"/>
                    <a:pt x="78174" y="17500"/>
                    <a:pt x="78174" y="39088"/>
                  </a:cubicBezTo>
                  <a:cubicBezTo>
                    <a:pt x="78174" y="60675"/>
                    <a:pt x="60673" y="78175"/>
                    <a:pt x="39086" y="78175"/>
                  </a:cubicBezTo>
                  <a:cubicBezTo>
                    <a:pt x="17500" y="78175"/>
                    <a:pt x="0" y="60675"/>
                    <a:pt x="0" y="39088"/>
                  </a:cubicBezTo>
                  <a:cubicBezTo>
                    <a:pt x="0" y="17500"/>
                    <a:pt x="17500"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86" name="Freeform: Shape 417">
              <a:extLst>
                <a:ext uri="{FF2B5EF4-FFF2-40B4-BE49-F238E27FC236}">
                  <a16:creationId xmlns:a16="http://schemas.microsoft.com/office/drawing/2014/main" id="{910E09FD-EBF6-4935-A738-25DD328A51DA}"/>
                </a:ext>
              </a:extLst>
            </p:cNvPr>
            <p:cNvSpPr>
              <a:spLocks/>
            </p:cNvSpPr>
            <p:nvPr/>
          </p:nvSpPr>
          <p:spPr bwMode="auto">
            <a:xfrm>
              <a:off x="9338735" y="5661890"/>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87" name="Freeform: Shape 418">
              <a:extLst>
                <a:ext uri="{FF2B5EF4-FFF2-40B4-BE49-F238E27FC236}">
                  <a16:creationId xmlns:a16="http://schemas.microsoft.com/office/drawing/2014/main" id="{24F4C6B0-4690-4270-9E85-B5ECA8FD3C98}"/>
                </a:ext>
              </a:extLst>
            </p:cNvPr>
            <p:cNvSpPr>
              <a:spLocks/>
            </p:cNvSpPr>
            <p:nvPr/>
          </p:nvSpPr>
          <p:spPr bwMode="auto">
            <a:xfrm>
              <a:off x="9525649" y="5661890"/>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88" name="Freeform: Shape 419">
              <a:extLst>
                <a:ext uri="{FF2B5EF4-FFF2-40B4-BE49-F238E27FC236}">
                  <a16:creationId xmlns:a16="http://schemas.microsoft.com/office/drawing/2014/main" id="{D54D8E59-635B-4219-B8E9-D343C6C12961}"/>
                </a:ext>
              </a:extLst>
            </p:cNvPr>
            <p:cNvSpPr>
              <a:spLocks/>
            </p:cNvSpPr>
            <p:nvPr/>
          </p:nvSpPr>
          <p:spPr bwMode="auto">
            <a:xfrm>
              <a:off x="9712563" y="5749431"/>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89" name="Freeform: Shape 420">
              <a:extLst>
                <a:ext uri="{FF2B5EF4-FFF2-40B4-BE49-F238E27FC236}">
                  <a16:creationId xmlns:a16="http://schemas.microsoft.com/office/drawing/2014/main" id="{DC72B04E-4C37-45D3-A4E6-DAB94774A0F4}"/>
                </a:ext>
              </a:extLst>
            </p:cNvPr>
            <p:cNvSpPr>
              <a:spLocks/>
            </p:cNvSpPr>
            <p:nvPr/>
          </p:nvSpPr>
          <p:spPr bwMode="auto">
            <a:xfrm>
              <a:off x="9996483" y="5749432"/>
              <a:ext cx="57354" cy="67253"/>
            </a:xfrm>
            <a:custGeom>
              <a:avLst/>
              <a:gdLst>
                <a:gd name="connsiteX0" fmla="*/ 39088 w 57354"/>
                <a:gd name="connsiteY0" fmla="*/ 0 h 67253"/>
                <a:gd name="connsiteX1" fmla="*/ 57354 w 57354"/>
                <a:gd name="connsiteY1" fmla="*/ 7567 h 67253"/>
                <a:gd name="connsiteX2" fmla="*/ 12722 w 57354"/>
                <a:gd name="connsiteY2" fmla="*/ 67253 h 67253"/>
                <a:gd name="connsiteX3" fmla="*/ 11448 w 57354"/>
                <a:gd name="connsiteY3" fmla="*/ 66726 h 67253"/>
                <a:gd name="connsiteX4" fmla="*/ 0 w 57354"/>
                <a:gd name="connsiteY4" fmla="*/ 39087 h 67253"/>
                <a:gd name="connsiteX5" fmla="*/ 39088 w 57354"/>
                <a:gd name="connsiteY5" fmla="*/ 0 h 67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354" h="67253">
                  <a:moveTo>
                    <a:pt x="39088" y="0"/>
                  </a:moveTo>
                  <a:lnTo>
                    <a:pt x="57354" y="7567"/>
                  </a:lnTo>
                  <a:lnTo>
                    <a:pt x="12722" y="67253"/>
                  </a:lnTo>
                  <a:lnTo>
                    <a:pt x="11448" y="66726"/>
                  </a:lnTo>
                  <a:cubicBezTo>
                    <a:pt x="4375" y="59653"/>
                    <a:pt x="0" y="49881"/>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90" name="Freeform: Shape 421">
              <a:extLst>
                <a:ext uri="{FF2B5EF4-FFF2-40B4-BE49-F238E27FC236}">
                  <a16:creationId xmlns:a16="http://schemas.microsoft.com/office/drawing/2014/main" id="{93AED135-06EF-4DE1-ADB8-C46583946916}"/>
                </a:ext>
              </a:extLst>
            </p:cNvPr>
            <p:cNvSpPr>
              <a:spLocks/>
            </p:cNvSpPr>
            <p:nvPr/>
          </p:nvSpPr>
          <p:spPr bwMode="auto">
            <a:xfrm>
              <a:off x="7836333" y="5749432"/>
              <a:ext cx="78173" cy="78174"/>
            </a:xfrm>
            <a:custGeom>
              <a:avLst/>
              <a:gdLst>
                <a:gd name="connsiteX0" fmla="*/ 39086 w 78173"/>
                <a:gd name="connsiteY0" fmla="*/ 0 h 78174"/>
                <a:gd name="connsiteX1" fmla="*/ 78173 w 78173"/>
                <a:gd name="connsiteY1" fmla="*/ 39087 h 78174"/>
                <a:gd name="connsiteX2" fmla="*/ 39086 w 78173"/>
                <a:gd name="connsiteY2" fmla="*/ 78174 h 78174"/>
                <a:gd name="connsiteX3" fmla="*/ 0 w 78173"/>
                <a:gd name="connsiteY3" fmla="*/ 39087 h 78174"/>
                <a:gd name="connsiteX4" fmla="*/ 39086 w 78173"/>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3" h="78174">
                  <a:moveTo>
                    <a:pt x="39086" y="0"/>
                  </a:moveTo>
                  <a:cubicBezTo>
                    <a:pt x="60673" y="0"/>
                    <a:pt x="78173" y="17500"/>
                    <a:pt x="78173" y="39087"/>
                  </a:cubicBezTo>
                  <a:cubicBezTo>
                    <a:pt x="78173" y="60674"/>
                    <a:pt x="60673" y="78174"/>
                    <a:pt x="39086" y="78174"/>
                  </a:cubicBezTo>
                  <a:cubicBezTo>
                    <a:pt x="17499" y="78174"/>
                    <a:pt x="0" y="60674"/>
                    <a:pt x="0" y="39087"/>
                  </a:cubicBezTo>
                  <a:cubicBezTo>
                    <a:pt x="0" y="17500"/>
                    <a:pt x="17499" y="0"/>
                    <a:pt x="3908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91" name="Freeform: Shape 422">
              <a:extLst>
                <a:ext uri="{FF2B5EF4-FFF2-40B4-BE49-F238E27FC236}">
                  <a16:creationId xmlns:a16="http://schemas.microsoft.com/office/drawing/2014/main" id="{404BDD78-36C9-469E-AF1C-7156D6C21F1F}"/>
                </a:ext>
              </a:extLst>
            </p:cNvPr>
            <p:cNvSpPr>
              <a:spLocks/>
            </p:cNvSpPr>
            <p:nvPr/>
          </p:nvSpPr>
          <p:spPr bwMode="auto">
            <a:xfrm>
              <a:off x="9617923" y="5493902"/>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92" name="Freeform: Shape 423">
              <a:extLst>
                <a:ext uri="{FF2B5EF4-FFF2-40B4-BE49-F238E27FC236}">
                  <a16:creationId xmlns:a16="http://schemas.microsoft.com/office/drawing/2014/main" id="{D2A2A9E7-E798-4022-B7B5-EFB3C75CBA62}"/>
                </a:ext>
              </a:extLst>
            </p:cNvPr>
            <p:cNvSpPr>
              <a:spLocks/>
            </p:cNvSpPr>
            <p:nvPr/>
          </p:nvSpPr>
          <p:spPr bwMode="auto">
            <a:xfrm>
              <a:off x="7649416" y="5836973"/>
              <a:ext cx="78176" cy="78175"/>
            </a:xfrm>
            <a:custGeom>
              <a:avLst/>
              <a:gdLst>
                <a:gd name="connsiteX0" fmla="*/ 39088 w 78176"/>
                <a:gd name="connsiteY0" fmla="*/ 0 h 78175"/>
                <a:gd name="connsiteX1" fmla="*/ 78176 w 78176"/>
                <a:gd name="connsiteY1" fmla="*/ 39088 h 78175"/>
                <a:gd name="connsiteX2" fmla="*/ 39088 w 78176"/>
                <a:gd name="connsiteY2" fmla="*/ 78175 h 78175"/>
                <a:gd name="connsiteX3" fmla="*/ 0 w 78176"/>
                <a:gd name="connsiteY3" fmla="*/ 39088 h 78175"/>
                <a:gd name="connsiteX4" fmla="*/ 39088 w 78176"/>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6" h="78175">
                  <a:moveTo>
                    <a:pt x="39088" y="0"/>
                  </a:moveTo>
                  <a:cubicBezTo>
                    <a:pt x="60675" y="0"/>
                    <a:pt x="78176" y="17500"/>
                    <a:pt x="78176" y="39088"/>
                  </a:cubicBezTo>
                  <a:cubicBezTo>
                    <a:pt x="78176" y="60675"/>
                    <a:pt x="60675" y="78175"/>
                    <a:pt x="39088" y="78175"/>
                  </a:cubicBezTo>
                  <a:cubicBezTo>
                    <a:pt x="17500" y="78175"/>
                    <a:pt x="0" y="60675"/>
                    <a:pt x="0" y="39088"/>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93" name="Freeform: Shape 424">
              <a:extLst>
                <a:ext uri="{FF2B5EF4-FFF2-40B4-BE49-F238E27FC236}">
                  <a16:creationId xmlns:a16="http://schemas.microsoft.com/office/drawing/2014/main" id="{40625A7F-F582-4D32-BE90-AC3E75EAC26D}"/>
                </a:ext>
              </a:extLst>
            </p:cNvPr>
            <p:cNvSpPr>
              <a:spLocks/>
            </p:cNvSpPr>
            <p:nvPr/>
          </p:nvSpPr>
          <p:spPr bwMode="auto">
            <a:xfrm>
              <a:off x="9712563" y="5836973"/>
              <a:ext cx="78175" cy="78175"/>
            </a:xfrm>
            <a:custGeom>
              <a:avLst/>
              <a:gdLst>
                <a:gd name="connsiteX0" fmla="*/ 39088 w 78175"/>
                <a:gd name="connsiteY0" fmla="*/ 0 h 78175"/>
                <a:gd name="connsiteX1" fmla="*/ 78175 w 78175"/>
                <a:gd name="connsiteY1" fmla="*/ 39088 h 78175"/>
                <a:gd name="connsiteX2" fmla="*/ 39088 w 78175"/>
                <a:gd name="connsiteY2" fmla="*/ 78175 h 78175"/>
                <a:gd name="connsiteX3" fmla="*/ 0 w 78175"/>
                <a:gd name="connsiteY3" fmla="*/ 39088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8"/>
                  </a:cubicBezTo>
                  <a:cubicBezTo>
                    <a:pt x="78175" y="60675"/>
                    <a:pt x="60675" y="78175"/>
                    <a:pt x="39088" y="78175"/>
                  </a:cubicBezTo>
                  <a:cubicBezTo>
                    <a:pt x="17500" y="78175"/>
                    <a:pt x="0" y="60675"/>
                    <a:pt x="0" y="39088"/>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94" name="Freeform: Shape 425">
              <a:extLst>
                <a:ext uri="{FF2B5EF4-FFF2-40B4-BE49-F238E27FC236}">
                  <a16:creationId xmlns:a16="http://schemas.microsoft.com/office/drawing/2014/main" id="{E63991DE-8B65-41D5-916E-B4AE56534615}"/>
                </a:ext>
              </a:extLst>
            </p:cNvPr>
            <p:cNvSpPr>
              <a:spLocks/>
            </p:cNvSpPr>
            <p:nvPr/>
          </p:nvSpPr>
          <p:spPr bwMode="auto">
            <a:xfrm>
              <a:off x="7836328" y="5922149"/>
              <a:ext cx="78175" cy="78174"/>
            </a:xfrm>
            <a:custGeom>
              <a:avLst/>
              <a:gdLst>
                <a:gd name="connsiteX0" fmla="*/ 39087 w 78175"/>
                <a:gd name="connsiteY0" fmla="*/ 0 h 78174"/>
                <a:gd name="connsiteX1" fmla="*/ 78175 w 78175"/>
                <a:gd name="connsiteY1" fmla="*/ 39087 h 78174"/>
                <a:gd name="connsiteX2" fmla="*/ 39087 w 78175"/>
                <a:gd name="connsiteY2" fmla="*/ 78174 h 78174"/>
                <a:gd name="connsiteX3" fmla="*/ 0 w 78175"/>
                <a:gd name="connsiteY3" fmla="*/ 39087 h 78174"/>
                <a:gd name="connsiteX4" fmla="*/ 39087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7" y="0"/>
                  </a:moveTo>
                  <a:cubicBezTo>
                    <a:pt x="60674" y="0"/>
                    <a:pt x="78175" y="17500"/>
                    <a:pt x="78175" y="39087"/>
                  </a:cubicBezTo>
                  <a:cubicBezTo>
                    <a:pt x="78175"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95" name="Freeform: Shape 426">
              <a:extLst>
                <a:ext uri="{FF2B5EF4-FFF2-40B4-BE49-F238E27FC236}">
                  <a16:creationId xmlns:a16="http://schemas.microsoft.com/office/drawing/2014/main" id="{3E69ECC1-EA6A-4577-89DF-A6FA5B258750}"/>
                </a:ext>
              </a:extLst>
            </p:cNvPr>
            <p:cNvSpPr>
              <a:spLocks/>
            </p:cNvSpPr>
            <p:nvPr/>
          </p:nvSpPr>
          <p:spPr bwMode="auto">
            <a:xfrm>
              <a:off x="9338735" y="5922149"/>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96" name="Freeform: Shape 427">
              <a:extLst>
                <a:ext uri="{FF2B5EF4-FFF2-40B4-BE49-F238E27FC236}">
                  <a16:creationId xmlns:a16="http://schemas.microsoft.com/office/drawing/2014/main" id="{519E82AB-9C47-49D5-9D0C-56022592781E}"/>
                </a:ext>
              </a:extLst>
            </p:cNvPr>
            <p:cNvSpPr>
              <a:spLocks/>
            </p:cNvSpPr>
            <p:nvPr/>
          </p:nvSpPr>
          <p:spPr bwMode="auto">
            <a:xfrm>
              <a:off x="9525649" y="5922149"/>
              <a:ext cx="78174" cy="78174"/>
            </a:xfrm>
            <a:custGeom>
              <a:avLst/>
              <a:gdLst>
                <a:gd name="connsiteX0" fmla="*/ 39088 w 78174"/>
                <a:gd name="connsiteY0" fmla="*/ 0 h 78174"/>
                <a:gd name="connsiteX1" fmla="*/ 78174 w 78174"/>
                <a:gd name="connsiteY1" fmla="*/ 39087 h 78174"/>
                <a:gd name="connsiteX2" fmla="*/ 39088 w 78174"/>
                <a:gd name="connsiteY2" fmla="*/ 78174 h 78174"/>
                <a:gd name="connsiteX3" fmla="*/ 0 w 78174"/>
                <a:gd name="connsiteY3" fmla="*/ 39087 h 78174"/>
                <a:gd name="connsiteX4" fmla="*/ 39088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8" y="0"/>
                  </a:moveTo>
                  <a:cubicBezTo>
                    <a:pt x="60675" y="0"/>
                    <a:pt x="78174" y="17500"/>
                    <a:pt x="78174" y="39087"/>
                  </a:cubicBezTo>
                  <a:cubicBezTo>
                    <a:pt x="78174" y="60674"/>
                    <a:pt x="60675" y="78174"/>
                    <a:pt x="39088" y="78174"/>
                  </a:cubicBezTo>
                  <a:cubicBezTo>
                    <a:pt x="17500" y="78174"/>
                    <a:pt x="0" y="60674"/>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97" name="Freeform: Shape 428">
              <a:extLst>
                <a:ext uri="{FF2B5EF4-FFF2-40B4-BE49-F238E27FC236}">
                  <a16:creationId xmlns:a16="http://schemas.microsoft.com/office/drawing/2014/main" id="{FB985508-E68C-4CE0-AD45-BF6A03F2A9D2}"/>
                </a:ext>
              </a:extLst>
            </p:cNvPr>
            <p:cNvSpPr>
              <a:spLocks/>
            </p:cNvSpPr>
            <p:nvPr/>
          </p:nvSpPr>
          <p:spPr bwMode="auto">
            <a:xfrm>
              <a:off x="7926235" y="6007325"/>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5" y="0"/>
                    <a:pt x="78174" y="17500"/>
                    <a:pt x="78174" y="39087"/>
                  </a:cubicBezTo>
                  <a:cubicBezTo>
                    <a:pt x="78174" y="60674"/>
                    <a:pt x="60675" y="78174"/>
                    <a:pt x="39087" y="78174"/>
                  </a:cubicBezTo>
                  <a:cubicBezTo>
                    <a:pt x="17500" y="78174"/>
                    <a:pt x="0" y="60674"/>
                    <a:pt x="0" y="39087"/>
                  </a:cubicBezTo>
                  <a:cubicBezTo>
                    <a:pt x="0" y="17500"/>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98" name="Freeform: Shape 429">
              <a:extLst>
                <a:ext uri="{FF2B5EF4-FFF2-40B4-BE49-F238E27FC236}">
                  <a16:creationId xmlns:a16="http://schemas.microsoft.com/office/drawing/2014/main" id="{0787ECB2-30E3-4D00-B15F-AC2FB94897C2}"/>
                </a:ext>
              </a:extLst>
            </p:cNvPr>
            <p:cNvSpPr>
              <a:spLocks/>
            </p:cNvSpPr>
            <p:nvPr/>
          </p:nvSpPr>
          <p:spPr bwMode="auto">
            <a:xfrm>
              <a:off x="9525649" y="6007325"/>
              <a:ext cx="78174" cy="78174"/>
            </a:xfrm>
            <a:custGeom>
              <a:avLst/>
              <a:gdLst>
                <a:gd name="connsiteX0" fmla="*/ 39088 w 78174"/>
                <a:gd name="connsiteY0" fmla="*/ 0 h 78174"/>
                <a:gd name="connsiteX1" fmla="*/ 78174 w 78174"/>
                <a:gd name="connsiteY1" fmla="*/ 39087 h 78174"/>
                <a:gd name="connsiteX2" fmla="*/ 39088 w 78174"/>
                <a:gd name="connsiteY2" fmla="*/ 78174 h 78174"/>
                <a:gd name="connsiteX3" fmla="*/ 0 w 78174"/>
                <a:gd name="connsiteY3" fmla="*/ 39087 h 78174"/>
                <a:gd name="connsiteX4" fmla="*/ 39088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8" y="0"/>
                  </a:moveTo>
                  <a:cubicBezTo>
                    <a:pt x="60675" y="0"/>
                    <a:pt x="78174" y="17500"/>
                    <a:pt x="78174" y="39087"/>
                  </a:cubicBezTo>
                  <a:cubicBezTo>
                    <a:pt x="78174" y="60675"/>
                    <a:pt x="60675" y="78174"/>
                    <a:pt x="39088" y="78174"/>
                  </a:cubicBezTo>
                  <a:cubicBezTo>
                    <a:pt x="17500" y="78174"/>
                    <a:pt x="0" y="60675"/>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499" name="Freeform: Shape 430">
              <a:extLst>
                <a:ext uri="{FF2B5EF4-FFF2-40B4-BE49-F238E27FC236}">
                  <a16:creationId xmlns:a16="http://schemas.microsoft.com/office/drawing/2014/main" id="{A92D9E12-BB75-4039-B056-DAC162249965}"/>
                </a:ext>
              </a:extLst>
            </p:cNvPr>
            <p:cNvSpPr>
              <a:spLocks/>
            </p:cNvSpPr>
            <p:nvPr/>
          </p:nvSpPr>
          <p:spPr bwMode="auto">
            <a:xfrm>
              <a:off x="9617923" y="6007325"/>
              <a:ext cx="78175" cy="78174"/>
            </a:xfrm>
            <a:custGeom>
              <a:avLst/>
              <a:gdLst>
                <a:gd name="connsiteX0" fmla="*/ 39088 w 78175"/>
                <a:gd name="connsiteY0" fmla="*/ 0 h 78174"/>
                <a:gd name="connsiteX1" fmla="*/ 78175 w 78175"/>
                <a:gd name="connsiteY1" fmla="*/ 39087 h 78174"/>
                <a:gd name="connsiteX2" fmla="*/ 39088 w 78175"/>
                <a:gd name="connsiteY2" fmla="*/ 78174 h 78174"/>
                <a:gd name="connsiteX3" fmla="*/ 0 w 78175"/>
                <a:gd name="connsiteY3" fmla="*/ 39087 h 78174"/>
                <a:gd name="connsiteX4" fmla="*/ 39088 w 78175"/>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4">
                  <a:moveTo>
                    <a:pt x="39088" y="0"/>
                  </a:moveTo>
                  <a:cubicBezTo>
                    <a:pt x="60675" y="0"/>
                    <a:pt x="78175" y="17500"/>
                    <a:pt x="78175" y="39087"/>
                  </a:cubicBezTo>
                  <a:cubicBezTo>
                    <a:pt x="78175" y="60675"/>
                    <a:pt x="60675" y="78174"/>
                    <a:pt x="39088" y="78174"/>
                  </a:cubicBezTo>
                  <a:cubicBezTo>
                    <a:pt x="17500" y="78174"/>
                    <a:pt x="0" y="60675"/>
                    <a:pt x="0" y="39087"/>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500" name="Freeform: Shape 431">
              <a:extLst>
                <a:ext uri="{FF2B5EF4-FFF2-40B4-BE49-F238E27FC236}">
                  <a16:creationId xmlns:a16="http://schemas.microsoft.com/office/drawing/2014/main" id="{9F860D3A-1D29-4873-BE65-BE15904E996B}"/>
                </a:ext>
              </a:extLst>
            </p:cNvPr>
            <p:cNvSpPr>
              <a:spLocks/>
            </p:cNvSpPr>
            <p:nvPr/>
          </p:nvSpPr>
          <p:spPr bwMode="auto">
            <a:xfrm>
              <a:off x="7649412" y="6094867"/>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499"/>
                    <a:pt x="78174" y="39087"/>
                  </a:cubicBezTo>
                  <a:cubicBezTo>
                    <a:pt x="78174" y="60674"/>
                    <a:pt x="60674" y="78174"/>
                    <a:pt x="39087" y="78174"/>
                  </a:cubicBezTo>
                  <a:cubicBezTo>
                    <a:pt x="17500" y="78174"/>
                    <a:pt x="0" y="60674"/>
                    <a:pt x="0" y="39087"/>
                  </a:cubicBezTo>
                  <a:cubicBezTo>
                    <a:pt x="0" y="17499"/>
                    <a:pt x="17500"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501" name="Freeform: Shape 432">
              <a:extLst>
                <a:ext uri="{FF2B5EF4-FFF2-40B4-BE49-F238E27FC236}">
                  <a16:creationId xmlns:a16="http://schemas.microsoft.com/office/drawing/2014/main" id="{0B2EA80F-81F7-4A4C-8351-BAD8173B3B1B}"/>
                </a:ext>
              </a:extLst>
            </p:cNvPr>
            <p:cNvSpPr>
              <a:spLocks/>
            </p:cNvSpPr>
            <p:nvPr/>
          </p:nvSpPr>
          <p:spPr bwMode="auto">
            <a:xfrm>
              <a:off x="7836324" y="6177678"/>
              <a:ext cx="78175" cy="78175"/>
            </a:xfrm>
            <a:custGeom>
              <a:avLst/>
              <a:gdLst>
                <a:gd name="connsiteX0" fmla="*/ 39088 w 78175"/>
                <a:gd name="connsiteY0" fmla="*/ 0 h 78175"/>
                <a:gd name="connsiteX1" fmla="*/ 78175 w 78175"/>
                <a:gd name="connsiteY1" fmla="*/ 39088 h 78175"/>
                <a:gd name="connsiteX2" fmla="*/ 39088 w 78175"/>
                <a:gd name="connsiteY2" fmla="*/ 78175 h 78175"/>
                <a:gd name="connsiteX3" fmla="*/ 0 w 78175"/>
                <a:gd name="connsiteY3" fmla="*/ 39088 h 78175"/>
                <a:gd name="connsiteX4" fmla="*/ 39088 w 78175"/>
                <a:gd name="connsiteY4" fmla="*/ 0 h 7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5" h="78175">
                  <a:moveTo>
                    <a:pt x="39088" y="0"/>
                  </a:moveTo>
                  <a:cubicBezTo>
                    <a:pt x="60675" y="0"/>
                    <a:pt x="78175" y="17500"/>
                    <a:pt x="78175" y="39088"/>
                  </a:cubicBezTo>
                  <a:cubicBezTo>
                    <a:pt x="78175" y="60675"/>
                    <a:pt x="60675" y="78175"/>
                    <a:pt x="39088" y="78175"/>
                  </a:cubicBezTo>
                  <a:cubicBezTo>
                    <a:pt x="17500" y="78175"/>
                    <a:pt x="0" y="60675"/>
                    <a:pt x="0" y="39088"/>
                  </a:cubicBezTo>
                  <a:cubicBezTo>
                    <a:pt x="0" y="17500"/>
                    <a:pt x="17500" y="0"/>
                    <a:pt x="3908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sp>
          <p:nvSpPr>
            <p:cNvPr id="502" name="Freeform: Shape 433">
              <a:extLst>
                <a:ext uri="{FF2B5EF4-FFF2-40B4-BE49-F238E27FC236}">
                  <a16:creationId xmlns:a16="http://schemas.microsoft.com/office/drawing/2014/main" id="{7D8557E1-B30B-433F-9F54-8118C6483F01}"/>
                </a:ext>
              </a:extLst>
            </p:cNvPr>
            <p:cNvSpPr>
              <a:spLocks/>
            </p:cNvSpPr>
            <p:nvPr/>
          </p:nvSpPr>
          <p:spPr bwMode="auto">
            <a:xfrm>
              <a:off x="7649409" y="6350395"/>
              <a:ext cx="78174" cy="78174"/>
            </a:xfrm>
            <a:custGeom>
              <a:avLst/>
              <a:gdLst>
                <a:gd name="connsiteX0" fmla="*/ 39087 w 78174"/>
                <a:gd name="connsiteY0" fmla="*/ 0 h 78174"/>
                <a:gd name="connsiteX1" fmla="*/ 78174 w 78174"/>
                <a:gd name="connsiteY1" fmla="*/ 39087 h 78174"/>
                <a:gd name="connsiteX2" fmla="*/ 39087 w 78174"/>
                <a:gd name="connsiteY2" fmla="*/ 78174 h 78174"/>
                <a:gd name="connsiteX3" fmla="*/ 0 w 78174"/>
                <a:gd name="connsiteY3" fmla="*/ 39087 h 78174"/>
                <a:gd name="connsiteX4" fmla="*/ 39087 w 78174"/>
                <a:gd name="connsiteY4" fmla="*/ 0 h 78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74" h="78174">
                  <a:moveTo>
                    <a:pt x="39087" y="0"/>
                  </a:moveTo>
                  <a:cubicBezTo>
                    <a:pt x="60674" y="0"/>
                    <a:pt x="78174" y="17500"/>
                    <a:pt x="78174" y="39087"/>
                  </a:cubicBezTo>
                  <a:cubicBezTo>
                    <a:pt x="78174" y="60674"/>
                    <a:pt x="60674" y="78174"/>
                    <a:pt x="39087" y="78174"/>
                  </a:cubicBezTo>
                  <a:cubicBezTo>
                    <a:pt x="17499" y="78174"/>
                    <a:pt x="0" y="60674"/>
                    <a:pt x="0" y="39087"/>
                  </a:cubicBezTo>
                  <a:cubicBezTo>
                    <a:pt x="0" y="17500"/>
                    <a:pt x="17499" y="0"/>
                    <a:pt x="3908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kern="0">
                <a:solidFill>
                  <a:srgbClr val="505050"/>
                </a:solidFill>
                <a:latin typeface="Segoe UI Semilight"/>
              </a:endParaRPr>
            </a:p>
          </p:txBody>
        </p:sp>
      </p:grpSp>
      <p:cxnSp>
        <p:nvCxnSpPr>
          <p:cNvPr id="504" name="Straight Arrow Connector 503">
            <a:extLst>
              <a:ext uri="{FF2B5EF4-FFF2-40B4-BE49-F238E27FC236}">
                <a16:creationId xmlns:a16="http://schemas.microsoft.com/office/drawing/2014/main" id="{23BDE8A0-CF49-4B38-97CF-1409A2470777}"/>
              </a:ext>
            </a:extLst>
          </p:cNvPr>
          <p:cNvCxnSpPr>
            <a:cxnSpLocks/>
            <a:stCxn id="703" idx="5"/>
            <a:endCxn id="392" idx="0"/>
          </p:cNvCxnSpPr>
          <p:nvPr/>
        </p:nvCxnSpPr>
        <p:spPr>
          <a:xfrm>
            <a:off x="4276985" y="2999314"/>
            <a:ext cx="610486" cy="293194"/>
          </a:xfrm>
          <a:prstGeom prst="straightConnector1">
            <a:avLst/>
          </a:prstGeom>
          <a:ln w="9525" cap="flat" cmpd="sng" algn="ctr">
            <a:solidFill>
              <a:schemeClr val="tx1">
                <a:lumMod val="40000"/>
                <a:lumOff val="60000"/>
              </a:schemeClr>
            </a:solidFill>
            <a:prstDash val="dash"/>
            <a:round/>
            <a:headEnd type="none" w="med" len="med"/>
            <a:tailEnd type="triangle" w="med" len="med"/>
          </a:ln>
        </p:spPr>
        <p:style>
          <a:lnRef idx="0">
            <a:scrgbClr r="0" g="0" b="0"/>
          </a:lnRef>
          <a:fillRef idx="0">
            <a:scrgbClr r="0" g="0" b="0"/>
          </a:fillRef>
          <a:effectRef idx="0">
            <a:scrgbClr r="0" g="0" b="0"/>
          </a:effectRef>
          <a:fontRef idx="minor">
            <a:schemeClr val="tx1"/>
          </a:fontRef>
        </p:style>
      </p:cxnSp>
      <p:cxnSp>
        <p:nvCxnSpPr>
          <p:cNvPr id="505" name="Straight Arrow Connector 504">
            <a:extLst>
              <a:ext uri="{FF2B5EF4-FFF2-40B4-BE49-F238E27FC236}">
                <a16:creationId xmlns:a16="http://schemas.microsoft.com/office/drawing/2014/main" id="{69AE9623-0351-4815-BDEF-140DCE887B3E}"/>
              </a:ext>
            </a:extLst>
          </p:cNvPr>
          <p:cNvCxnSpPr>
            <a:cxnSpLocks/>
            <a:endCxn id="432" idx="1"/>
          </p:cNvCxnSpPr>
          <p:nvPr/>
        </p:nvCxnSpPr>
        <p:spPr>
          <a:xfrm flipH="1" flipV="1">
            <a:off x="7428096" y="3633396"/>
            <a:ext cx="718738" cy="14271"/>
          </a:xfrm>
          <a:prstGeom prst="straightConnector1">
            <a:avLst/>
          </a:prstGeom>
          <a:ln w="9525" cap="flat" cmpd="sng" algn="ctr">
            <a:solidFill>
              <a:schemeClr val="tx1">
                <a:lumMod val="40000"/>
                <a:lumOff val="60000"/>
              </a:schemeClr>
            </a:solidFill>
            <a:prstDash val="dash"/>
            <a:round/>
            <a:headEnd type="none" w="med" len="med"/>
            <a:tailEnd type="triangle" w="med" len="med"/>
          </a:ln>
        </p:spPr>
        <p:style>
          <a:lnRef idx="0">
            <a:scrgbClr r="0" g="0" b="0"/>
          </a:lnRef>
          <a:fillRef idx="0">
            <a:scrgbClr r="0" g="0" b="0"/>
          </a:fillRef>
          <a:effectRef idx="0">
            <a:scrgbClr r="0" g="0" b="0"/>
          </a:effectRef>
          <a:fontRef idx="minor">
            <a:schemeClr val="tx1"/>
          </a:fontRef>
        </p:style>
      </p:cxnSp>
      <p:cxnSp>
        <p:nvCxnSpPr>
          <p:cNvPr id="506" name="Straight Arrow Connector 505">
            <a:extLst>
              <a:ext uri="{FF2B5EF4-FFF2-40B4-BE49-F238E27FC236}">
                <a16:creationId xmlns:a16="http://schemas.microsoft.com/office/drawing/2014/main" id="{212DFF5E-496A-4157-ACE2-F82FA1AE0BD5}"/>
              </a:ext>
            </a:extLst>
          </p:cNvPr>
          <p:cNvCxnSpPr>
            <a:cxnSpLocks/>
            <a:endCxn id="330" idx="3296"/>
          </p:cNvCxnSpPr>
          <p:nvPr/>
        </p:nvCxnSpPr>
        <p:spPr>
          <a:xfrm>
            <a:off x="4626332" y="2200415"/>
            <a:ext cx="536442" cy="709061"/>
          </a:xfrm>
          <a:prstGeom prst="straightConnector1">
            <a:avLst/>
          </a:prstGeom>
          <a:ln w="9525" cap="flat" cmpd="sng" algn="ctr">
            <a:solidFill>
              <a:schemeClr val="tx1">
                <a:lumMod val="40000"/>
                <a:lumOff val="60000"/>
              </a:schemeClr>
            </a:solidFill>
            <a:prstDash val="dash"/>
            <a:round/>
            <a:headEnd type="none" w="med" len="med"/>
            <a:tailEnd type="triangle" w="med" len="med"/>
          </a:ln>
        </p:spPr>
        <p:style>
          <a:lnRef idx="0">
            <a:scrgbClr r="0" g="0" b="0"/>
          </a:lnRef>
          <a:fillRef idx="0">
            <a:scrgbClr r="0" g="0" b="0"/>
          </a:fillRef>
          <a:effectRef idx="0">
            <a:scrgbClr r="0" g="0" b="0"/>
          </a:effectRef>
          <a:fontRef idx="minor">
            <a:schemeClr val="tx1"/>
          </a:fontRef>
        </p:style>
      </p:cxnSp>
      <p:cxnSp>
        <p:nvCxnSpPr>
          <p:cNvPr id="513" name="Straight Arrow Connector 512">
            <a:extLst>
              <a:ext uri="{FF2B5EF4-FFF2-40B4-BE49-F238E27FC236}">
                <a16:creationId xmlns:a16="http://schemas.microsoft.com/office/drawing/2014/main" id="{3B050A9A-9489-49D4-8148-738027438FE9}"/>
              </a:ext>
            </a:extLst>
          </p:cNvPr>
          <p:cNvCxnSpPr>
            <a:cxnSpLocks/>
            <a:stCxn id="680" idx="1"/>
            <a:endCxn id="329" idx="5"/>
          </p:cNvCxnSpPr>
          <p:nvPr/>
        </p:nvCxnSpPr>
        <p:spPr>
          <a:xfrm flipH="1" flipV="1">
            <a:off x="7069980" y="4732910"/>
            <a:ext cx="383761" cy="271267"/>
          </a:xfrm>
          <a:prstGeom prst="straightConnector1">
            <a:avLst/>
          </a:prstGeom>
          <a:ln w="9525" cap="flat" cmpd="sng" algn="ctr">
            <a:solidFill>
              <a:schemeClr val="tx1">
                <a:lumMod val="40000"/>
                <a:lumOff val="60000"/>
              </a:schemeClr>
            </a:solidFill>
            <a:prstDash val="dash"/>
            <a:round/>
            <a:headEnd type="none" w="med" len="med"/>
            <a:tailEnd type="triangle" w="med" len="med"/>
          </a:ln>
        </p:spPr>
        <p:style>
          <a:lnRef idx="0">
            <a:scrgbClr r="0" g="0" b="0"/>
          </a:lnRef>
          <a:fillRef idx="0">
            <a:scrgbClr r="0" g="0" b="0"/>
          </a:fillRef>
          <a:effectRef idx="0">
            <a:scrgbClr r="0" g="0" b="0"/>
          </a:effectRef>
          <a:fontRef idx="minor">
            <a:schemeClr val="tx1"/>
          </a:fontRef>
        </p:style>
      </p:cxnSp>
      <p:pic>
        <p:nvPicPr>
          <p:cNvPr id="1026" name="Picture 2" descr="Image result for Cosmos DB logo">
            <a:extLst>
              <a:ext uri="{FF2B5EF4-FFF2-40B4-BE49-F238E27FC236}">
                <a16:creationId xmlns:a16="http://schemas.microsoft.com/office/drawing/2014/main" id="{AEF4B61D-7F4F-4886-BF96-4F7E187593D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74111" y="3427607"/>
            <a:ext cx="1174728" cy="616732"/>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A0AD9E79-D29B-46A6-A4AE-4457B129AAC2}"/>
              </a:ext>
            </a:extLst>
          </p:cNvPr>
          <p:cNvSpPr txBox="1"/>
          <p:nvPr/>
        </p:nvSpPr>
        <p:spPr>
          <a:xfrm>
            <a:off x="5206619" y="5236272"/>
            <a:ext cx="1742785" cy="184666"/>
          </a:xfrm>
          <a:prstGeom prst="rect">
            <a:avLst/>
          </a:prstGeom>
          <a:noFill/>
        </p:spPr>
        <p:txBody>
          <a:bodyPr wrap="none" lIns="0" tIns="0" rIns="0" bIns="0" rtlCol="0">
            <a:spAutoFit/>
          </a:bodyPr>
          <a:lstStyle/>
          <a:p>
            <a:r>
              <a:rPr lang="en-US" sz="1200" dirty="0">
                <a:gradFill>
                  <a:gsLst>
                    <a:gs pos="2917">
                      <a:prstClr val="black"/>
                    </a:gs>
                    <a:gs pos="30000">
                      <a:prstClr val="black"/>
                    </a:gs>
                  </a:gsLst>
                  <a:lin ang="5400000" scaled="0"/>
                </a:gradFill>
                <a:latin typeface="Calibri" panose="020F0502020204030204"/>
              </a:rPr>
              <a:t>Multi-Master at global scale</a:t>
            </a:r>
          </a:p>
        </p:txBody>
      </p:sp>
      <p:cxnSp>
        <p:nvCxnSpPr>
          <p:cNvPr id="522" name="Straight Arrow Connector 521">
            <a:extLst>
              <a:ext uri="{FF2B5EF4-FFF2-40B4-BE49-F238E27FC236}">
                <a16:creationId xmlns:a16="http://schemas.microsoft.com/office/drawing/2014/main" id="{4FB43C0B-FEF4-4509-9AEB-B9C19D40F2C6}"/>
              </a:ext>
            </a:extLst>
          </p:cNvPr>
          <p:cNvCxnSpPr>
            <a:cxnSpLocks/>
            <a:stCxn id="635" idx="7"/>
            <a:endCxn id="330" idx="1550"/>
          </p:cNvCxnSpPr>
          <p:nvPr/>
        </p:nvCxnSpPr>
        <p:spPr>
          <a:xfrm flipV="1">
            <a:off x="4276986" y="3742042"/>
            <a:ext cx="929639" cy="559787"/>
          </a:xfrm>
          <a:prstGeom prst="straightConnector1">
            <a:avLst/>
          </a:prstGeom>
          <a:ln w="9525" cap="flat" cmpd="sng" algn="ctr">
            <a:solidFill>
              <a:schemeClr val="tx1">
                <a:lumMod val="40000"/>
                <a:lumOff val="60000"/>
              </a:schemeClr>
            </a:solidFill>
            <a:prstDash val="dash"/>
            <a:round/>
            <a:headEnd type="none" w="med" len="med"/>
            <a:tailEnd type="triangle" w="med" len="med"/>
          </a:ln>
        </p:spPr>
        <p:style>
          <a:lnRef idx="0">
            <a:scrgbClr r="0" g="0" b="0"/>
          </a:lnRef>
          <a:fillRef idx="0">
            <a:scrgbClr r="0" g="0" b="0"/>
          </a:fillRef>
          <a:effectRef idx="0">
            <a:scrgbClr r="0" g="0" b="0"/>
          </a:effectRef>
          <a:fontRef idx="minor">
            <a:schemeClr val="tx1"/>
          </a:fontRef>
        </p:style>
      </p:cxnSp>
      <p:sp>
        <p:nvSpPr>
          <p:cNvPr id="4" name="TextBox 3">
            <a:extLst>
              <a:ext uri="{FF2B5EF4-FFF2-40B4-BE49-F238E27FC236}">
                <a16:creationId xmlns:a16="http://schemas.microsoft.com/office/drawing/2014/main" id="{8533D4B3-724A-4619-BE65-5181EC1ACA6A}"/>
              </a:ext>
            </a:extLst>
          </p:cNvPr>
          <p:cNvSpPr txBox="1"/>
          <p:nvPr/>
        </p:nvSpPr>
        <p:spPr>
          <a:xfrm>
            <a:off x="7420950" y="3378217"/>
            <a:ext cx="851002" cy="276999"/>
          </a:xfrm>
          <a:prstGeom prst="rect">
            <a:avLst/>
          </a:prstGeom>
          <a:noFill/>
        </p:spPr>
        <p:txBody>
          <a:bodyPr wrap="none" rtlCol="0">
            <a:spAutoFit/>
          </a:bodyPr>
          <a:lstStyle/>
          <a:p>
            <a:r>
              <a:rPr lang="en-US" sz="1200" dirty="0">
                <a:solidFill>
                  <a:prstClr val="black"/>
                </a:solidFill>
                <a:latin typeface="Calibri" panose="020F0502020204030204"/>
              </a:rPr>
              <a:t>read/write</a:t>
            </a:r>
          </a:p>
        </p:txBody>
      </p:sp>
      <p:sp>
        <p:nvSpPr>
          <p:cNvPr id="503" name="TextBox 502">
            <a:extLst>
              <a:ext uri="{FF2B5EF4-FFF2-40B4-BE49-F238E27FC236}">
                <a16:creationId xmlns:a16="http://schemas.microsoft.com/office/drawing/2014/main" id="{696B27C7-7DAD-45F6-9BEE-9B983C9A9CB4}"/>
              </a:ext>
            </a:extLst>
          </p:cNvPr>
          <p:cNvSpPr txBox="1"/>
          <p:nvPr/>
        </p:nvSpPr>
        <p:spPr>
          <a:xfrm rot="19742081">
            <a:off x="4099330" y="3807026"/>
            <a:ext cx="851002" cy="276999"/>
          </a:xfrm>
          <a:prstGeom prst="rect">
            <a:avLst/>
          </a:prstGeom>
          <a:noFill/>
        </p:spPr>
        <p:txBody>
          <a:bodyPr wrap="none" rtlCol="0">
            <a:spAutoFit/>
          </a:bodyPr>
          <a:lstStyle/>
          <a:p>
            <a:r>
              <a:rPr lang="en-US" sz="1200" dirty="0">
                <a:solidFill>
                  <a:prstClr val="black"/>
                </a:solidFill>
                <a:latin typeface="Calibri" panose="020F0502020204030204"/>
              </a:rPr>
              <a:t>read/write</a:t>
            </a:r>
          </a:p>
        </p:txBody>
      </p:sp>
      <p:sp>
        <p:nvSpPr>
          <p:cNvPr id="507" name="TextBox 506">
            <a:extLst>
              <a:ext uri="{FF2B5EF4-FFF2-40B4-BE49-F238E27FC236}">
                <a16:creationId xmlns:a16="http://schemas.microsoft.com/office/drawing/2014/main" id="{B0E6B61D-9494-4274-B141-849B4611B525}"/>
              </a:ext>
            </a:extLst>
          </p:cNvPr>
          <p:cNvSpPr txBox="1"/>
          <p:nvPr/>
        </p:nvSpPr>
        <p:spPr>
          <a:xfrm rot="1791365">
            <a:off x="4192570" y="2848495"/>
            <a:ext cx="851002" cy="276999"/>
          </a:xfrm>
          <a:prstGeom prst="rect">
            <a:avLst/>
          </a:prstGeom>
          <a:noFill/>
        </p:spPr>
        <p:txBody>
          <a:bodyPr wrap="none" rtlCol="0">
            <a:spAutoFit/>
          </a:bodyPr>
          <a:lstStyle/>
          <a:p>
            <a:r>
              <a:rPr lang="en-US" sz="1200" dirty="0">
                <a:solidFill>
                  <a:prstClr val="black"/>
                </a:solidFill>
                <a:latin typeface="Calibri" panose="020F0502020204030204"/>
              </a:rPr>
              <a:t>read/write</a:t>
            </a:r>
          </a:p>
        </p:txBody>
      </p:sp>
      <p:sp>
        <p:nvSpPr>
          <p:cNvPr id="508" name="TextBox 507">
            <a:extLst>
              <a:ext uri="{FF2B5EF4-FFF2-40B4-BE49-F238E27FC236}">
                <a16:creationId xmlns:a16="http://schemas.microsoft.com/office/drawing/2014/main" id="{25FDA18E-5BAB-44A5-BD57-1C3CF5EA11C6}"/>
              </a:ext>
            </a:extLst>
          </p:cNvPr>
          <p:cNvSpPr txBox="1"/>
          <p:nvPr/>
        </p:nvSpPr>
        <p:spPr>
          <a:xfrm rot="2159783">
            <a:off x="7054559" y="4698941"/>
            <a:ext cx="851002" cy="276999"/>
          </a:xfrm>
          <a:prstGeom prst="rect">
            <a:avLst/>
          </a:prstGeom>
          <a:noFill/>
        </p:spPr>
        <p:txBody>
          <a:bodyPr wrap="none" rtlCol="0">
            <a:spAutoFit/>
          </a:bodyPr>
          <a:lstStyle/>
          <a:p>
            <a:r>
              <a:rPr lang="en-US" sz="1200" dirty="0">
                <a:solidFill>
                  <a:prstClr val="black"/>
                </a:solidFill>
                <a:latin typeface="Calibri" panose="020F0502020204030204"/>
              </a:rPr>
              <a:t>read/write</a:t>
            </a:r>
          </a:p>
        </p:txBody>
      </p:sp>
      <p:sp>
        <p:nvSpPr>
          <p:cNvPr id="509" name="Title 1">
            <a:extLst>
              <a:ext uri="{FF2B5EF4-FFF2-40B4-BE49-F238E27FC236}">
                <a16:creationId xmlns:a16="http://schemas.microsoft.com/office/drawing/2014/main" id="{CA66AD7A-5A4E-46C1-86B4-AD8B661A4756}"/>
              </a:ext>
            </a:extLst>
          </p:cNvPr>
          <p:cNvSpPr txBox="1">
            <a:spLocks/>
          </p:cNvSpPr>
          <p:nvPr/>
        </p:nvSpPr>
        <p:spPr>
          <a:xfrm>
            <a:off x="361604" y="421930"/>
            <a:ext cx="2872217" cy="1479145"/>
          </a:xfrm>
          <a:prstGeom prst="rect">
            <a:avLst/>
          </a:prstGeom>
        </p:spPr>
        <p:txBody>
          <a:bodyPr>
            <a:normAutofit fontScale="85000" lnSpcReduction="10000"/>
          </a:bodyPr>
          <a:lstStyle>
            <a:lvl1pPr algn="l" defTabSz="914400" rtl="0" eaLnBrk="1" latinLnBrk="0" hangingPunct="1">
              <a:lnSpc>
                <a:spcPct val="90000"/>
              </a:lnSpc>
              <a:spcBef>
                <a:spcPct val="0"/>
              </a:spcBef>
              <a:buNone/>
              <a:defRPr sz="4400" kern="1200">
                <a:solidFill>
                  <a:schemeClr val="bg1"/>
                </a:solidFill>
                <a:latin typeface="Segoe UI Light" panose="020B0502040204020203" pitchFamily="34" charset="0"/>
                <a:ea typeface="+mj-ea"/>
                <a:cs typeface="Segoe UI Light" panose="020B0502040204020203" pitchFamily="34" charset="0"/>
              </a:defRPr>
            </a:lvl1pPr>
          </a:lstStyle>
          <a:p>
            <a:r>
              <a:rPr lang="en-US" dirty="0">
                <a:solidFill>
                  <a:prstClr val="white"/>
                </a:solidFill>
              </a:rPr>
              <a:t>Azure Cosmos DB Multi-Master</a:t>
            </a:r>
          </a:p>
        </p:txBody>
      </p:sp>
    </p:spTree>
    <p:extLst>
      <p:ext uri="{BB962C8B-B14F-4D97-AF65-F5344CB8AC3E}">
        <p14:creationId xmlns:p14="http://schemas.microsoft.com/office/powerpoint/2010/main" val="2279081907"/>
      </p:ext>
    </p:extLst>
  </p:cSld>
  <p:clrMapOvr>
    <a:masterClrMapping/>
  </p:clrMapOvr>
  <p:transition spd="slow">
    <p:push dir="u"/>
  </p:transition>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Oval 1"/>
          <p:cNvSpPr/>
          <p:nvPr/>
        </p:nvSpPr>
        <p:spPr>
          <a:xfrm>
            <a:off x="-953066" y="1861315"/>
            <a:ext cx="14166669" cy="795528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Freeform: Shape 99"/>
          <p:cNvSpPr/>
          <p:nvPr/>
        </p:nvSpPr>
        <p:spPr>
          <a:xfrm>
            <a:off x="35631" y="5341026"/>
            <a:ext cx="12189302" cy="1745574"/>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15361" h="1745574">
                <a:moveTo>
                  <a:pt x="5907680" y="0"/>
                </a:moveTo>
                <a:cubicBezTo>
                  <a:pt x="8502236" y="0"/>
                  <a:pt x="10736988" y="686989"/>
                  <a:pt x="11747164" y="1675322"/>
                </a:cubicBezTo>
                <a:lnTo>
                  <a:pt x="11815361" y="1745574"/>
                </a:lnTo>
                <a:lnTo>
                  <a:pt x="0" y="1745574"/>
                </a:lnTo>
                <a:lnTo>
                  <a:pt x="68197" y="1675322"/>
                </a:lnTo>
                <a:cubicBezTo>
                  <a:pt x="1078372" y="686989"/>
                  <a:pt x="3313125" y="0"/>
                  <a:pt x="5907680" y="0"/>
                </a:cubicBezTo>
                <a:close/>
              </a:path>
            </a:pathLst>
          </a:cu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925" name="Freeform: Shape 924"/>
          <p:cNvSpPr>
            <a:spLocks/>
          </p:cNvSpPr>
          <p:nvPr/>
        </p:nvSpPr>
        <p:spPr bwMode="auto">
          <a:xfrm>
            <a:off x="1281629" y="5592603"/>
            <a:ext cx="9922465" cy="1934496"/>
          </a:xfrm>
          <a:custGeom>
            <a:avLst/>
            <a:gdLst>
              <a:gd name="connsiteX0" fmla="*/ 8407318 w 9922465"/>
              <a:gd name="connsiteY0" fmla="*/ 1824114 h 1934496"/>
              <a:gd name="connsiteX1" fmla="*/ 8462510 w 9922465"/>
              <a:gd name="connsiteY1" fmla="*/ 1879305 h 1934496"/>
              <a:gd name="connsiteX2" fmla="*/ 8407318 w 9922465"/>
              <a:gd name="connsiteY2" fmla="*/ 1934496 h 1934496"/>
              <a:gd name="connsiteX3" fmla="*/ 8352126 w 9922465"/>
              <a:gd name="connsiteY3" fmla="*/ 1879305 h 1934496"/>
              <a:gd name="connsiteX4" fmla="*/ 8407318 w 9922465"/>
              <a:gd name="connsiteY4" fmla="*/ 1824114 h 1934496"/>
              <a:gd name="connsiteX5" fmla="*/ 8273682 w 9922465"/>
              <a:gd name="connsiteY5" fmla="*/ 1824114 h 1934496"/>
              <a:gd name="connsiteX6" fmla="*/ 8328874 w 9922465"/>
              <a:gd name="connsiteY6" fmla="*/ 1879305 h 1934496"/>
              <a:gd name="connsiteX7" fmla="*/ 8273682 w 9922465"/>
              <a:gd name="connsiteY7" fmla="*/ 1934496 h 1934496"/>
              <a:gd name="connsiteX8" fmla="*/ 8218490 w 9922465"/>
              <a:gd name="connsiteY8" fmla="*/ 1879305 h 1934496"/>
              <a:gd name="connsiteX9" fmla="*/ 8273682 w 9922465"/>
              <a:gd name="connsiteY9" fmla="*/ 1824114 h 1934496"/>
              <a:gd name="connsiteX10" fmla="*/ 8143386 w 9922465"/>
              <a:gd name="connsiteY10" fmla="*/ 1824114 h 1934496"/>
              <a:gd name="connsiteX11" fmla="*/ 8198578 w 9922465"/>
              <a:gd name="connsiteY11" fmla="*/ 1879305 h 1934496"/>
              <a:gd name="connsiteX12" fmla="*/ 8143386 w 9922465"/>
              <a:gd name="connsiteY12" fmla="*/ 1934496 h 1934496"/>
              <a:gd name="connsiteX13" fmla="*/ 8088194 w 9922465"/>
              <a:gd name="connsiteY13" fmla="*/ 1879305 h 1934496"/>
              <a:gd name="connsiteX14" fmla="*/ 8143386 w 9922465"/>
              <a:gd name="connsiteY14" fmla="*/ 1824114 h 1934496"/>
              <a:gd name="connsiteX15" fmla="*/ 8009752 w 9922465"/>
              <a:gd name="connsiteY15" fmla="*/ 1824114 h 1934496"/>
              <a:gd name="connsiteX16" fmla="*/ 8064944 w 9922465"/>
              <a:gd name="connsiteY16" fmla="*/ 1879305 h 1934496"/>
              <a:gd name="connsiteX17" fmla="*/ 8009752 w 9922465"/>
              <a:gd name="connsiteY17" fmla="*/ 1934496 h 1934496"/>
              <a:gd name="connsiteX18" fmla="*/ 7954560 w 9922465"/>
              <a:gd name="connsiteY18" fmla="*/ 1879305 h 1934496"/>
              <a:gd name="connsiteX19" fmla="*/ 8009752 w 9922465"/>
              <a:gd name="connsiteY19" fmla="*/ 1824114 h 1934496"/>
              <a:gd name="connsiteX20" fmla="*/ 7876117 w 9922465"/>
              <a:gd name="connsiteY20" fmla="*/ 1824114 h 1934496"/>
              <a:gd name="connsiteX21" fmla="*/ 7931309 w 9922465"/>
              <a:gd name="connsiteY21" fmla="*/ 1879305 h 1934496"/>
              <a:gd name="connsiteX22" fmla="*/ 7876117 w 9922465"/>
              <a:gd name="connsiteY22" fmla="*/ 1934496 h 1934496"/>
              <a:gd name="connsiteX23" fmla="*/ 7820925 w 9922465"/>
              <a:gd name="connsiteY23" fmla="*/ 1879305 h 1934496"/>
              <a:gd name="connsiteX24" fmla="*/ 7876117 w 9922465"/>
              <a:gd name="connsiteY24" fmla="*/ 1824114 h 1934496"/>
              <a:gd name="connsiteX25" fmla="*/ 7745824 w 9922465"/>
              <a:gd name="connsiteY25" fmla="*/ 1824114 h 1934496"/>
              <a:gd name="connsiteX26" fmla="*/ 7801016 w 9922465"/>
              <a:gd name="connsiteY26" fmla="*/ 1879305 h 1934496"/>
              <a:gd name="connsiteX27" fmla="*/ 7745824 w 9922465"/>
              <a:gd name="connsiteY27" fmla="*/ 1934496 h 1934496"/>
              <a:gd name="connsiteX28" fmla="*/ 7690632 w 9922465"/>
              <a:gd name="connsiteY28" fmla="*/ 1879305 h 1934496"/>
              <a:gd name="connsiteX29" fmla="*/ 7745824 w 9922465"/>
              <a:gd name="connsiteY29" fmla="*/ 1824114 h 1934496"/>
              <a:gd name="connsiteX30" fmla="*/ 7608849 w 9922465"/>
              <a:gd name="connsiteY30" fmla="*/ 1824114 h 1934496"/>
              <a:gd name="connsiteX31" fmla="*/ 7664041 w 9922465"/>
              <a:gd name="connsiteY31" fmla="*/ 1879305 h 1934496"/>
              <a:gd name="connsiteX32" fmla="*/ 7608849 w 9922465"/>
              <a:gd name="connsiteY32" fmla="*/ 1934496 h 1934496"/>
              <a:gd name="connsiteX33" fmla="*/ 7553657 w 9922465"/>
              <a:gd name="connsiteY33" fmla="*/ 1879305 h 1934496"/>
              <a:gd name="connsiteX34" fmla="*/ 7608849 w 9922465"/>
              <a:gd name="connsiteY34" fmla="*/ 1824114 h 1934496"/>
              <a:gd name="connsiteX35" fmla="*/ 7481895 w 9922465"/>
              <a:gd name="connsiteY35" fmla="*/ 1824114 h 1934496"/>
              <a:gd name="connsiteX36" fmla="*/ 7537087 w 9922465"/>
              <a:gd name="connsiteY36" fmla="*/ 1879305 h 1934496"/>
              <a:gd name="connsiteX37" fmla="*/ 7481895 w 9922465"/>
              <a:gd name="connsiteY37" fmla="*/ 1934496 h 1934496"/>
              <a:gd name="connsiteX38" fmla="*/ 7426703 w 9922465"/>
              <a:gd name="connsiteY38" fmla="*/ 1879305 h 1934496"/>
              <a:gd name="connsiteX39" fmla="*/ 7481895 w 9922465"/>
              <a:gd name="connsiteY39" fmla="*/ 1824114 h 1934496"/>
              <a:gd name="connsiteX40" fmla="*/ 7341579 w 9922465"/>
              <a:gd name="connsiteY40" fmla="*/ 1824114 h 1934496"/>
              <a:gd name="connsiteX41" fmla="*/ 7396771 w 9922465"/>
              <a:gd name="connsiteY41" fmla="*/ 1879305 h 1934496"/>
              <a:gd name="connsiteX42" fmla="*/ 7341579 w 9922465"/>
              <a:gd name="connsiteY42" fmla="*/ 1934496 h 1934496"/>
              <a:gd name="connsiteX43" fmla="*/ 7286387 w 9922465"/>
              <a:gd name="connsiteY43" fmla="*/ 1879305 h 1934496"/>
              <a:gd name="connsiteX44" fmla="*/ 7341579 w 9922465"/>
              <a:gd name="connsiteY44" fmla="*/ 1824114 h 1934496"/>
              <a:gd name="connsiteX45" fmla="*/ 7211286 w 9922465"/>
              <a:gd name="connsiteY45" fmla="*/ 1824114 h 1934496"/>
              <a:gd name="connsiteX46" fmla="*/ 7266478 w 9922465"/>
              <a:gd name="connsiteY46" fmla="*/ 1879305 h 1934496"/>
              <a:gd name="connsiteX47" fmla="*/ 7211286 w 9922465"/>
              <a:gd name="connsiteY47" fmla="*/ 1934496 h 1934496"/>
              <a:gd name="connsiteX48" fmla="*/ 7156094 w 9922465"/>
              <a:gd name="connsiteY48" fmla="*/ 1879305 h 1934496"/>
              <a:gd name="connsiteX49" fmla="*/ 7211286 w 9922465"/>
              <a:gd name="connsiteY49" fmla="*/ 1824114 h 1934496"/>
              <a:gd name="connsiteX50" fmla="*/ 7080993 w 9922465"/>
              <a:gd name="connsiteY50" fmla="*/ 1824114 h 1934496"/>
              <a:gd name="connsiteX51" fmla="*/ 7136185 w 9922465"/>
              <a:gd name="connsiteY51" fmla="*/ 1879305 h 1934496"/>
              <a:gd name="connsiteX52" fmla="*/ 7080993 w 9922465"/>
              <a:gd name="connsiteY52" fmla="*/ 1934496 h 1934496"/>
              <a:gd name="connsiteX53" fmla="*/ 7025801 w 9922465"/>
              <a:gd name="connsiteY53" fmla="*/ 1879305 h 1934496"/>
              <a:gd name="connsiteX54" fmla="*/ 7080993 w 9922465"/>
              <a:gd name="connsiteY54" fmla="*/ 1824114 h 1934496"/>
              <a:gd name="connsiteX55" fmla="*/ 6947357 w 9922465"/>
              <a:gd name="connsiteY55" fmla="*/ 1824114 h 1934496"/>
              <a:gd name="connsiteX56" fmla="*/ 7002549 w 9922465"/>
              <a:gd name="connsiteY56" fmla="*/ 1879305 h 1934496"/>
              <a:gd name="connsiteX57" fmla="*/ 6947357 w 9922465"/>
              <a:gd name="connsiteY57" fmla="*/ 1934496 h 1934496"/>
              <a:gd name="connsiteX58" fmla="*/ 6892165 w 9922465"/>
              <a:gd name="connsiteY58" fmla="*/ 1879305 h 1934496"/>
              <a:gd name="connsiteX59" fmla="*/ 6947357 w 9922465"/>
              <a:gd name="connsiteY59" fmla="*/ 1824114 h 1934496"/>
              <a:gd name="connsiteX60" fmla="*/ 6817063 w 9922465"/>
              <a:gd name="connsiteY60" fmla="*/ 1824114 h 1934496"/>
              <a:gd name="connsiteX61" fmla="*/ 6872255 w 9922465"/>
              <a:gd name="connsiteY61" fmla="*/ 1879305 h 1934496"/>
              <a:gd name="connsiteX62" fmla="*/ 6817063 w 9922465"/>
              <a:gd name="connsiteY62" fmla="*/ 1934496 h 1934496"/>
              <a:gd name="connsiteX63" fmla="*/ 6761871 w 9922465"/>
              <a:gd name="connsiteY63" fmla="*/ 1879305 h 1934496"/>
              <a:gd name="connsiteX64" fmla="*/ 6817063 w 9922465"/>
              <a:gd name="connsiteY64" fmla="*/ 1824114 h 1934496"/>
              <a:gd name="connsiteX65" fmla="*/ 6683431 w 9922465"/>
              <a:gd name="connsiteY65" fmla="*/ 1824114 h 1934496"/>
              <a:gd name="connsiteX66" fmla="*/ 6738623 w 9922465"/>
              <a:gd name="connsiteY66" fmla="*/ 1879305 h 1934496"/>
              <a:gd name="connsiteX67" fmla="*/ 6683431 w 9922465"/>
              <a:gd name="connsiteY67" fmla="*/ 1934496 h 1934496"/>
              <a:gd name="connsiteX68" fmla="*/ 6628239 w 9922465"/>
              <a:gd name="connsiteY68" fmla="*/ 1879305 h 1934496"/>
              <a:gd name="connsiteX69" fmla="*/ 6683431 w 9922465"/>
              <a:gd name="connsiteY69" fmla="*/ 1824114 h 1934496"/>
              <a:gd name="connsiteX70" fmla="*/ 6553137 w 9922465"/>
              <a:gd name="connsiteY70" fmla="*/ 1824114 h 1934496"/>
              <a:gd name="connsiteX71" fmla="*/ 6608329 w 9922465"/>
              <a:gd name="connsiteY71" fmla="*/ 1879305 h 1934496"/>
              <a:gd name="connsiteX72" fmla="*/ 6553137 w 9922465"/>
              <a:gd name="connsiteY72" fmla="*/ 1934496 h 1934496"/>
              <a:gd name="connsiteX73" fmla="*/ 6497945 w 9922465"/>
              <a:gd name="connsiteY73" fmla="*/ 1879305 h 1934496"/>
              <a:gd name="connsiteX74" fmla="*/ 6553137 w 9922465"/>
              <a:gd name="connsiteY74" fmla="*/ 1824114 h 1934496"/>
              <a:gd name="connsiteX75" fmla="*/ 6289207 w 9922465"/>
              <a:gd name="connsiteY75" fmla="*/ 1824114 h 1934496"/>
              <a:gd name="connsiteX76" fmla="*/ 6344399 w 9922465"/>
              <a:gd name="connsiteY76" fmla="*/ 1879305 h 1934496"/>
              <a:gd name="connsiteX77" fmla="*/ 6289207 w 9922465"/>
              <a:gd name="connsiteY77" fmla="*/ 1934496 h 1934496"/>
              <a:gd name="connsiteX78" fmla="*/ 6234015 w 9922465"/>
              <a:gd name="connsiteY78" fmla="*/ 1879305 h 1934496"/>
              <a:gd name="connsiteX79" fmla="*/ 6289207 w 9922465"/>
              <a:gd name="connsiteY79" fmla="*/ 1824114 h 1934496"/>
              <a:gd name="connsiteX80" fmla="*/ 6155572 w 9922465"/>
              <a:gd name="connsiteY80" fmla="*/ 1824114 h 1934496"/>
              <a:gd name="connsiteX81" fmla="*/ 6210764 w 9922465"/>
              <a:gd name="connsiteY81" fmla="*/ 1879305 h 1934496"/>
              <a:gd name="connsiteX82" fmla="*/ 6155572 w 9922465"/>
              <a:gd name="connsiteY82" fmla="*/ 1934496 h 1934496"/>
              <a:gd name="connsiteX83" fmla="*/ 6100380 w 9922465"/>
              <a:gd name="connsiteY83" fmla="*/ 1879305 h 1934496"/>
              <a:gd name="connsiteX84" fmla="*/ 6155572 w 9922465"/>
              <a:gd name="connsiteY84" fmla="*/ 1824114 h 1934496"/>
              <a:gd name="connsiteX85" fmla="*/ 6021938 w 9922465"/>
              <a:gd name="connsiteY85" fmla="*/ 1824114 h 1934496"/>
              <a:gd name="connsiteX86" fmla="*/ 6077130 w 9922465"/>
              <a:gd name="connsiteY86" fmla="*/ 1879305 h 1934496"/>
              <a:gd name="connsiteX87" fmla="*/ 6021938 w 9922465"/>
              <a:gd name="connsiteY87" fmla="*/ 1934496 h 1934496"/>
              <a:gd name="connsiteX88" fmla="*/ 5966746 w 9922465"/>
              <a:gd name="connsiteY88" fmla="*/ 1879305 h 1934496"/>
              <a:gd name="connsiteX89" fmla="*/ 6021938 w 9922465"/>
              <a:gd name="connsiteY89" fmla="*/ 1824114 h 1934496"/>
              <a:gd name="connsiteX90" fmla="*/ 5884964 w 9922465"/>
              <a:gd name="connsiteY90" fmla="*/ 1824114 h 1934496"/>
              <a:gd name="connsiteX91" fmla="*/ 5940156 w 9922465"/>
              <a:gd name="connsiteY91" fmla="*/ 1879305 h 1934496"/>
              <a:gd name="connsiteX92" fmla="*/ 5884964 w 9922465"/>
              <a:gd name="connsiteY92" fmla="*/ 1934496 h 1934496"/>
              <a:gd name="connsiteX93" fmla="*/ 5829772 w 9922465"/>
              <a:gd name="connsiteY93" fmla="*/ 1879305 h 1934496"/>
              <a:gd name="connsiteX94" fmla="*/ 5884964 w 9922465"/>
              <a:gd name="connsiteY94" fmla="*/ 1824114 h 1934496"/>
              <a:gd name="connsiteX95" fmla="*/ 5754670 w 9922465"/>
              <a:gd name="connsiteY95" fmla="*/ 1824114 h 1934496"/>
              <a:gd name="connsiteX96" fmla="*/ 5809862 w 9922465"/>
              <a:gd name="connsiteY96" fmla="*/ 1879305 h 1934496"/>
              <a:gd name="connsiteX97" fmla="*/ 5754670 w 9922465"/>
              <a:gd name="connsiteY97" fmla="*/ 1934496 h 1934496"/>
              <a:gd name="connsiteX98" fmla="*/ 5699478 w 9922465"/>
              <a:gd name="connsiteY98" fmla="*/ 1879305 h 1934496"/>
              <a:gd name="connsiteX99" fmla="*/ 5754670 w 9922465"/>
              <a:gd name="connsiteY99" fmla="*/ 1824114 h 1934496"/>
              <a:gd name="connsiteX100" fmla="*/ 5487399 w 9922465"/>
              <a:gd name="connsiteY100" fmla="*/ 1824114 h 1934496"/>
              <a:gd name="connsiteX101" fmla="*/ 5542591 w 9922465"/>
              <a:gd name="connsiteY101" fmla="*/ 1879305 h 1934496"/>
              <a:gd name="connsiteX102" fmla="*/ 5487399 w 9922465"/>
              <a:gd name="connsiteY102" fmla="*/ 1934496 h 1934496"/>
              <a:gd name="connsiteX103" fmla="*/ 5432207 w 9922465"/>
              <a:gd name="connsiteY103" fmla="*/ 1879305 h 1934496"/>
              <a:gd name="connsiteX104" fmla="*/ 5487399 w 9922465"/>
              <a:gd name="connsiteY104" fmla="*/ 1824114 h 1934496"/>
              <a:gd name="connsiteX105" fmla="*/ 5357105 w 9922465"/>
              <a:gd name="connsiteY105" fmla="*/ 1824114 h 1934496"/>
              <a:gd name="connsiteX106" fmla="*/ 5412297 w 9922465"/>
              <a:gd name="connsiteY106" fmla="*/ 1879305 h 1934496"/>
              <a:gd name="connsiteX107" fmla="*/ 5357105 w 9922465"/>
              <a:gd name="connsiteY107" fmla="*/ 1934496 h 1934496"/>
              <a:gd name="connsiteX108" fmla="*/ 5301913 w 9922465"/>
              <a:gd name="connsiteY108" fmla="*/ 1879305 h 1934496"/>
              <a:gd name="connsiteX109" fmla="*/ 5357105 w 9922465"/>
              <a:gd name="connsiteY109" fmla="*/ 1824114 h 1934496"/>
              <a:gd name="connsiteX110" fmla="*/ 5223473 w 9922465"/>
              <a:gd name="connsiteY110" fmla="*/ 1824114 h 1934496"/>
              <a:gd name="connsiteX111" fmla="*/ 5278665 w 9922465"/>
              <a:gd name="connsiteY111" fmla="*/ 1879305 h 1934496"/>
              <a:gd name="connsiteX112" fmla="*/ 5223473 w 9922465"/>
              <a:gd name="connsiteY112" fmla="*/ 1934496 h 1934496"/>
              <a:gd name="connsiteX113" fmla="*/ 5168281 w 9922465"/>
              <a:gd name="connsiteY113" fmla="*/ 1879305 h 1934496"/>
              <a:gd name="connsiteX114" fmla="*/ 5223473 w 9922465"/>
              <a:gd name="connsiteY114" fmla="*/ 1824114 h 1934496"/>
              <a:gd name="connsiteX115" fmla="*/ 5093178 w 9922465"/>
              <a:gd name="connsiteY115" fmla="*/ 1824114 h 1934496"/>
              <a:gd name="connsiteX116" fmla="*/ 5148370 w 9922465"/>
              <a:gd name="connsiteY116" fmla="*/ 1879305 h 1934496"/>
              <a:gd name="connsiteX117" fmla="*/ 5093178 w 9922465"/>
              <a:gd name="connsiteY117" fmla="*/ 1934496 h 1934496"/>
              <a:gd name="connsiteX118" fmla="*/ 5037986 w 9922465"/>
              <a:gd name="connsiteY118" fmla="*/ 1879305 h 1934496"/>
              <a:gd name="connsiteX119" fmla="*/ 5093178 w 9922465"/>
              <a:gd name="connsiteY119" fmla="*/ 1824114 h 1934496"/>
              <a:gd name="connsiteX120" fmla="*/ 4959543 w 9922465"/>
              <a:gd name="connsiteY120" fmla="*/ 1824114 h 1934496"/>
              <a:gd name="connsiteX121" fmla="*/ 5014735 w 9922465"/>
              <a:gd name="connsiteY121" fmla="*/ 1879305 h 1934496"/>
              <a:gd name="connsiteX122" fmla="*/ 4959543 w 9922465"/>
              <a:gd name="connsiteY122" fmla="*/ 1934496 h 1934496"/>
              <a:gd name="connsiteX123" fmla="*/ 4904351 w 9922465"/>
              <a:gd name="connsiteY123" fmla="*/ 1879305 h 1934496"/>
              <a:gd name="connsiteX124" fmla="*/ 4959543 w 9922465"/>
              <a:gd name="connsiteY124" fmla="*/ 1824114 h 1934496"/>
              <a:gd name="connsiteX125" fmla="*/ 4829250 w 9922465"/>
              <a:gd name="connsiteY125" fmla="*/ 1824114 h 1934496"/>
              <a:gd name="connsiteX126" fmla="*/ 4884442 w 9922465"/>
              <a:gd name="connsiteY126" fmla="*/ 1879305 h 1934496"/>
              <a:gd name="connsiteX127" fmla="*/ 4829250 w 9922465"/>
              <a:gd name="connsiteY127" fmla="*/ 1934496 h 1934496"/>
              <a:gd name="connsiteX128" fmla="*/ 4774058 w 9922465"/>
              <a:gd name="connsiteY128" fmla="*/ 1879305 h 1934496"/>
              <a:gd name="connsiteX129" fmla="*/ 4829250 w 9922465"/>
              <a:gd name="connsiteY129" fmla="*/ 1824114 h 1934496"/>
              <a:gd name="connsiteX130" fmla="*/ 4695613 w 9922465"/>
              <a:gd name="connsiteY130" fmla="*/ 1824114 h 1934496"/>
              <a:gd name="connsiteX131" fmla="*/ 4750805 w 9922465"/>
              <a:gd name="connsiteY131" fmla="*/ 1879305 h 1934496"/>
              <a:gd name="connsiteX132" fmla="*/ 4695613 w 9922465"/>
              <a:gd name="connsiteY132" fmla="*/ 1934496 h 1934496"/>
              <a:gd name="connsiteX133" fmla="*/ 4640421 w 9922465"/>
              <a:gd name="connsiteY133" fmla="*/ 1879305 h 1934496"/>
              <a:gd name="connsiteX134" fmla="*/ 4695613 w 9922465"/>
              <a:gd name="connsiteY134" fmla="*/ 1824114 h 1934496"/>
              <a:gd name="connsiteX135" fmla="*/ 2834762 w 9922465"/>
              <a:gd name="connsiteY135" fmla="*/ 1824114 h 1934496"/>
              <a:gd name="connsiteX136" fmla="*/ 2889954 w 9922465"/>
              <a:gd name="connsiteY136" fmla="*/ 1879305 h 1934496"/>
              <a:gd name="connsiteX137" fmla="*/ 2834762 w 9922465"/>
              <a:gd name="connsiteY137" fmla="*/ 1934496 h 1934496"/>
              <a:gd name="connsiteX138" fmla="*/ 2779570 w 9922465"/>
              <a:gd name="connsiteY138" fmla="*/ 1879305 h 1934496"/>
              <a:gd name="connsiteX139" fmla="*/ 2834762 w 9922465"/>
              <a:gd name="connsiteY139" fmla="*/ 1824114 h 1934496"/>
              <a:gd name="connsiteX140" fmla="*/ 2707807 w 9922465"/>
              <a:gd name="connsiteY140" fmla="*/ 1824114 h 1934496"/>
              <a:gd name="connsiteX141" fmla="*/ 2762999 w 9922465"/>
              <a:gd name="connsiteY141" fmla="*/ 1879305 h 1934496"/>
              <a:gd name="connsiteX142" fmla="*/ 2707807 w 9922465"/>
              <a:gd name="connsiteY142" fmla="*/ 1934496 h 1934496"/>
              <a:gd name="connsiteX143" fmla="*/ 2652615 w 9922465"/>
              <a:gd name="connsiteY143" fmla="*/ 1879305 h 1934496"/>
              <a:gd name="connsiteX144" fmla="*/ 2707807 w 9922465"/>
              <a:gd name="connsiteY144" fmla="*/ 1824114 h 1934496"/>
              <a:gd name="connsiteX145" fmla="*/ 2570834 w 9922465"/>
              <a:gd name="connsiteY145" fmla="*/ 1824114 h 1934496"/>
              <a:gd name="connsiteX146" fmla="*/ 2626025 w 9922465"/>
              <a:gd name="connsiteY146" fmla="*/ 1879305 h 1934496"/>
              <a:gd name="connsiteX147" fmla="*/ 2570834 w 9922465"/>
              <a:gd name="connsiteY147" fmla="*/ 1934496 h 1934496"/>
              <a:gd name="connsiteX148" fmla="*/ 2515641 w 9922465"/>
              <a:gd name="connsiteY148" fmla="*/ 1879305 h 1934496"/>
              <a:gd name="connsiteX149" fmla="*/ 2570834 w 9922465"/>
              <a:gd name="connsiteY149" fmla="*/ 1824114 h 1934496"/>
              <a:gd name="connsiteX150" fmla="*/ 2437196 w 9922465"/>
              <a:gd name="connsiteY150" fmla="*/ 1824114 h 1934496"/>
              <a:gd name="connsiteX151" fmla="*/ 2492389 w 9922465"/>
              <a:gd name="connsiteY151" fmla="*/ 1879305 h 1934496"/>
              <a:gd name="connsiteX152" fmla="*/ 2437196 w 9922465"/>
              <a:gd name="connsiteY152" fmla="*/ 1934496 h 1934496"/>
              <a:gd name="connsiteX153" fmla="*/ 2382005 w 9922465"/>
              <a:gd name="connsiteY153" fmla="*/ 1879305 h 1934496"/>
              <a:gd name="connsiteX154" fmla="*/ 2437196 w 9922465"/>
              <a:gd name="connsiteY154" fmla="*/ 1824114 h 1934496"/>
              <a:gd name="connsiteX155" fmla="*/ 2303564 w 9922465"/>
              <a:gd name="connsiteY155" fmla="*/ 1824114 h 1934496"/>
              <a:gd name="connsiteX156" fmla="*/ 2358756 w 9922465"/>
              <a:gd name="connsiteY156" fmla="*/ 1879305 h 1934496"/>
              <a:gd name="connsiteX157" fmla="*/ 2303564 w 9922465"/>
              <a:gd name="connsiteY157" fmla="*/ 1934496 h 1934496"/>
              <a:gd name="connsiteX158" fmla="*/ 2248372 w 9922465"/>
              <a:gd name="connsiteY158" fmla="*/ 1879305 h 1934496"/>
              <a:gd name="connsiteX159" fmla="*/ 2303564 w 9922465"/>
              <a:gd name="connsiteY159" fmla="*/ 1824114 h 1934496"/>
              <a:gd name="connsiteX160" fmla="*/ 2173271 w 9922465"/>
              <a:gd name="connsiteY160" fmla="*/ 1824114 h 1934496"/>
              <a:gd name="connsiteX161" fmla="*/ 2228463 w 9922465"/>
              <a:gd name="connsiteY161" fmla="*/ 1879305 h 1934496"/>
              <a:gd name="connsiteX162" fmla="*/ 2173271 w 9922465"/>
              <a:gd name="connsiteY162" fmla="*/ 1934496 h 1934496"/>
              <a:gd name="connsiteX163" fmla="*/ 2118079 w 9922465"/>
              <a:gd name="connsiteY163" fmla="*/ 1879305 h 1934496"/>
              <a:gd name="connsiteX164" fmla="*/ 2173271 w 9922465"/>
              <a:gd name="connsiteY164" fmla="*/ 1824114 h 1934496"/>
              <a:gd name="connsiteX165" fmla="*/ 2039637 w 9922465"/>
              <a:gd name="connsiteY165" fmla="*/ 1824114 h 1934496"/>
              <a:gd name="connsiteX166" fmla="*/ 2094830 w 9922465"/>
              <a:gd name="connsiteY166" fmla="*/ 1879305 h 1934496"/>
              <a:gd name="connsiteX167" fmla="*/ 2039637 w 9922465"/>
              <a:gd name="connsiteY167" fmla="*/ 1934496 h 1934496"/>
              <a:gd name="connsiteX168" fmla="*/ 1984445 w 9922465"/>
              <a:gd name="connsiteY168" fmla="*/ 1879305 h 1934496"/>
              <a:gd name="connsiteX169" fmla="*/ 2039637 w 9922465"/>
              <a:gd name="connsiteY169" fmla="*/ 1824114 h 1934496"/>
              <a:gd name="connsiteX170" fmla="*/ 1909341 w 9922465"/>
              <a:gd name="connsiteY170" fmla="*/ 1824114 h 1934496"/>
              <a:gd name="connsiteX171" fmla="*/ 1964533 w 9922465"/>
              <a:gd name="connsiteY171" fmla="*/ 1879305 h 1934496"/>
              <a:gd name="connsiteX172" fmla="*/ 1909341 w 9922465"/>
              <a:gd name="connsiteY172" fmla="*/ 1934496 h 1934496"/>
              <a:gd name="connsiteX173" fmla="*/ 1854149 w 9922465"/>
              <a:gd name="connsiteY173" fmla="*/ 1879305 h 1934496"/>
              <a:gd name="connsiteX174" fmla="*/ 1909341 w 9922465"/>
              <a:gd name="connsiteY174" fmla="*/ 1824114 h 1934496"/>
              <a:gd name="connsiteX175" fmla="*/ 1779049 w 9922465"/>
              <a:gd name="connsiteY175" fmla="*/ 1824114 h 1934496"/>
              <a:gd name="connsiteX176" fmla="*/ 1834241 w 9922465"/>
              <a:gd name="connsiteY176" fmla="*/ 1879305 h 1934496"/>
              <a:gd name="connsiteX177" fmla="*/ 1779049 w 9922465"/>
              <a:gd name="connsiteY177" fmla="*/ 1934496 h 1934496"/>
              <a:gd name="connsiteX178" fmla="*/ 1723856 w 9922465"/>
              <a:gd name="connsiteY178" fmla="*/ 1879305 h 1934496"/>
              <a:gd name="connsiteX179" fmla="*/ 1779049 w 9922465"/>
              <a:gd name="connsiteY179" fmla="*/ 1824114 h 1934496"/>
              <a:gd name="connsiteX180" fmla="*/ 1645413 w 9922465"/>
              <a:gd name="connsiteY180" fmla="*/ 1824114 h 1934496"/>
              <a:gd name="connsiteX181" fmla="*/ 1700604 w 9922465"/>
              <a:gd name="connsiteY181" fmla="*/ 1879305 h 1934496"/>
              <a:gd name="connsiteX182" fmla="*/ 1645413 w 9922465"/>
              <a:gd name="connsiteY182" fmla="*/ 1934496 h 1934496"/>
              <a:gd name="connsiteX183" fmla="*/ 1590220 w 9922465"/>
              <a:gd name="connsiteY183" fmla="*/ 1879305 h 1934496"/>
              <a:gd name="connsiteX184" fmla="*/ 1645413 w 9922465"/>
              <a:gd name="connsiteY184" fmla="*/ 1824114 h 1934496"/>
              <a:gd name="connsiteX185" fmla="*/ 1515120 w 9922465"/>
              <a:gd name="connsiteY185" fmla="*/ 1824114 h 1934496"/>
              <a:gd name="connsiteX186" fmla="*/ 1570311 w 9922465"/>
              <a:gd name="connsiteY186" fmla="*/ 1879305 h 1934496"/>
              <a:gd name="connsiteX187" fmla="*/ 1515120 w 9922465"/>
              <a:gd name="connsiteY187" fmla="*/ 1934496 h 1934496"/>
              <a:gd name="connsiteX188" fmla="*/ 1459927 w 9922465"/>
              <a:gd name="connsiteY188" fmla="*/ 1879305 h 1934496"/>
              <a:gd name="connsiteX189" fmla="*/ 1515120 w 9922465"/>
              <a:gd name="connsiteY189" fmla="*/ 1824114 h 1934496"/>
              <a:gd name="connsiteX190" fmla="*/ 1381486 w 9922465"/>
              <a:gd name="connsiteY190" fmla="*/ 1824114 h 1934496"/>
              <a:gd name="connsiteX191" fmla="*/ 1436678 w 9922465"/>
              <a:gd name="connsiteY191" fmla="*/ 1879305 h 1934496"/>
              <a:gd name="connsiteX192" fmla="*/ 1381486 w 9922465"/>
              <a:gd name="connsiteY192" fmla="*/ 1934496 h 1934496"/>
              <a:gd name="connsiteX193" fmla="*/ 1326294 w 9922465"/>
              <a:gd name="connsiteY193" fmla="*/ 1879305 h 1934496"/>
              <a:gd name="connsiteX194" fmla="*/ 1381486 w 9922465"/>
              <a:gd name="connsiteY194" fmla="*/ 1824114 h 1934496"/>
              <a:gd name="connsiteX195" fmla="*/ 1251193 w 9922465"/>
              <a:gd name="connsiteY195" fmla="*/ 1824114 h 1934496"/>
              <a:gd name="connsiteX196" fmla="*/ 1306386 w 9922465"/>
              <a:gd name="connsiteY196" fmla="*/ 1879305 h 1934496"/>
              <a:gd name="connsiteX197" fmla="*/ 1251193 w 9922465"/>
              <a:gd name="connsiteY197" fmla="*/ 1934496 h 1934496"/>
              <a:gd name="connsiteX198" fmla="*/ 1196001 w 9922465"/>
              <a:gd name="connsiteY198" fmla="*/ 1879305 h 1934496"/>
              <a:gd name="connsiteX199" fmla="*/ 1251193 w 9922465"/>
              <a:gd name="connsiteY199" fmla="*/ 1824114 h 1934496"/>
              <a:gd name="connsiteX200" fmla="*/ 4565336 w 9922465"/>
              <a:gd name="connsiteY200" fmla="*/ 1824106 h 1934496"/>
              <a:gd name="connsiteX201" fmla="*/ 4620528 w 9922465"/>
              <a:gd name="connsiteY201" fmla="*/ 1879297 h 1934496"/>
              <a:gd name="connsiteX202" fmla="*/ 4565336 w 9922465"/>
              <a:gd name="connsiteY202" fmla="*/ 1934488 h 1934496"/>
              <a:gd name="connsiteX203" fmla="*/ 4510144 w 9922465"/>
              <a:gd name="connsiteY203" fmla="*/ 1879297 h 1934496"/>
              <a:gd name="connsiteX204" fmla="*/ 4565336 w 9922465"/>
              <a:gd name="connsiteY204" fmla="*/ 1824106 h 1934496"/>
              <a:gd name="connsiteX205" fmla="*/ 4431689 w 9922465"/>
              <a:gd name="connsiteY205" fmla="*/ 1824098 h 1934496"/>
              <a:gd name="connsiteX206" fmla="*/ 4486881 w 9922465"/>
              <a:gd name="connsiteY206" fmla="*/ 1879289 h 1934496"/>
              <a:gd name="connsiteX207" fmla="*/ 4431689 w 9922465"/>
              <a:gd name="connsiteY207" fmla="*/ 1934480 h 1934496"/>
              <a:gd name="connsiteX208" fmla="*/ 4376497 w 9922465"/>
              <a:gd name="connsiteY208" fmla="*/ 1879289 h 1934496"/>
              <a:gd name="connsiteX209" fmla="*/ 4431689 w 9922465"/>
              <a:gd name="connsiteY209" fmla="*/ 1824098 h 1934496"/>
              <a:gd name="connsiteX210" fmla="*/ 8801537 w 9922465"/>
              <a:gd name="connsiteY210" fmla="*/ 1707182 h 1934496"/>
              <a:gd name="connsiteX211" fmla="*/ 8856729 w 9922465"/>
              <a:gd name="connsiteY211" fmla="*/ 1762373 h 1934496"/>
              <a:gd name="connsiteX212" fmla="*/ 8801537 w 9922465"/>
              <a:gd name="connsiteY212" fmla="*/ 1817564 h 1934496"/>
              <a:gd name="connsiteX213" fmla="*/ 8746345 w 9922465"/>
              <a:gd name="connsiteY213" fmla="*/ 1762373 h 1934496"/>
              <a:gd name="connsiteX214" fmla="*/ 8801537 w 9922465"/>
              <a:gd name="connsiteY214" fmla="*/ 1707182 h 1934496"/>
              <a:gd name="connsiteX215" fmla="*/ 8671243 w 9922465"/>
              <a:gd name="connsiteY215" fmla="*/ 1707182 h 1934496"/>
              <a:gd name="connsiteX216" fmla="*/ 8726435 w 9922465"/>
              <a:gd name="connsiteY216" fmla="*/ 1762373 h 1934496"/>
              <a:gd name="connsiteX217" fmla="*/ 8671243 w 9922465"/>
              <a:gd name="connsiteY217" fmla="*/ 1817564 h 1934496"/>
              <a:gd name="connsiteX218" fmla="*/ 8616051 w 9922465"/>
              <a:gd name="connsiteY218" fmla="*/ 1762373 h 1934496"/>
              <a:gd name="connsiteX219" fmla="*/ 8671243 w 9922465"/>
              <a:gd name="connsiteY219" fmla="*/ 1707182 h 1934496"/>
              <a:gd name="connsiteX220" fmla="*/ 8537609 w 9922465"/>
              <a:gd name="connsiteY220" fmla="*/ 1707182 h 1934496"/>
              <a:gd name="connsiteX221" fmla="*/ 8592801 w 9922465"/>
              <a:gd name="connsiteY221" fmla="*/ 1762373 h 1934496"/>
              <a:gd name="connsiteX222" fmla="*/ 8537609 w 9922465"/>
              <a:gd name="connsiteY222" fmla="*/ 1817564 h 1934496"/>
              <a:gd name="connsiteX223" fmla="*/ 8482417 w 9922465"/>
              <a:gd name="connsiteY223" fmla="*/ 1762373 h 1934496"/>
              <a:gd name="connsiteX224" fmla="*/ 8537609 w 9922465"/>
              <a:gd name="connsiteY224" fmla="*/ 1707182 h 1934496"/>
              <a:gd name="connsiteX225" fmla="*/ 8407318 w 9922465"/>
              <a:gd name="connsiteY225" fmla="*/ 1707182 h 1934496"/>
              <a:gd name="connsiteX226" fmla="*/ 8462510 w 9922465"/>
              <a:gd name="connsiteY226" fmla="*/ 1762373 h 1934496"/>
              <a:gd name="connsiteX227" fmla="*/ 8407318 w 9922465"/>
              <a:gd name="connsiteY227" fmla="*/ 1817564 h 1934496"/>
              <a:gd name="connsiteX228" fmla="*/ 8352126 w 9922465"/>
              <a:gd name="connsiteY228" fmla="*/ 1762373 h 1934496"/>
              <a:gd name="connsiteX229" fmla="*/ 8407318 w 9922465"/>
              <a:gd name="connsiteY229" fmla="*/ 1707182 h 1934496"/>
              <a:gd name="connsiteX230" fmla="*/ 8273682 w 9922465"/>
              <a:gd name="connsiteY230" fmla="*/ 1707182 h 1934496"/>
              <a:gd name="connsiteX231" fmla="*/ 8328874 w 9922465"/>
              <a:gd name="connsiteY231" fmla="*/ 1762373 h 1934496"/>
              <a:gd name="connsiteX232" fmla="*/ 8273682 w 9922465"/>
              <a:gd name="connsiteY232" fmla="*/ 1817564 h 1934496"/>
              <a:gd name="connsiteX233" fmla="*/ 8218490 w 9922465"/>
              <a:gd name="connsiteY233" fmla="*/ 1762373 h 1934496"/>
              <a:gd name="connsiteX234" fmla="*/ 8273682 w 9922465"/>
              <a:gd name="connsiteY234" fmla="*/ 1707182 h 1934496"/>
              <a:gd name="connsiteX235" fmla="*/ 8143386 w 9922465"/>
              <a:gd name="connsiteY235" fmla="*/ 1707182 h 1934496"/>
              <a:gd name="connsiteX236" fmla="*/ 8198578 w 9922465"/>
              <a:gd name="connsiteY236" fmla="*/ 1762373 h 1934496"/>
              <a:gd name="connsiteX237" fmla="*/ 8143386 w 9922465"/>
              <a:gd name="connsiteY237" fmla="*/ 1817564 h 1934496"/>
              <a:gd name="connsiteX238" fmla="*/ 8088194 w 9922465"/>
              <a:gd name="connsiteY238" fmla="*/ 1762373 h 1934496"/>
              <a:gd name="connsiteX239" fmla="*/ 8143386 w 9922465"/>
              <a:gd name="connsiteY239" fmla="*/ 1707182 h 1934496"/>
              <a:gd name="connsiteX240" fmla="*/ 8009752 w 9922465"/>
              <a:gd name="connsiteY240" fmla="*/ 1707182 h 1934496"/>
              <a:gd name="connsiteX241" fmla="*/ 8064944 w 9922465"/>
              <a:gd name="connsiteY241" fmla="*/ 1762373 h 1934496"/>
              <a:gd name="connsiteX242" fmla="*/ 8009752 w 9922465"/>
              <a:gd name="connsiteY242" fmla="*/ 1817564 h 1934496"/>
              <a:gd name="connsiteX243" fmla="*/ 7954560 w 9922465"/>
              <a:gd name="connsiteY243" fmla="*/ 1762373 h 1934496"/>
              <a:gd name="connsiteX244" fmla="*/ 8009752 w 9922465"/>
              <a:gd name="connsiteY244" fmla="*/ 1707182 h 1934496"/>
              <a:gd name="connsiteX245" fmla="*/ 7876117 w 9922465"/>
              <a:gd name="connsiteY245" fmla="*/ 1707182 h 1934496"/>
              <a:gd name="connsiteX246" fmla="*/ 7931309 w 9922465"/>
              <a:gd name="connsiteY246" fmla="*/ 1762373 h 1934496"/>
              <a:gd name="connsiteX247" fmla="*/ 7876117 w 9922465"/>
              <a:gd name="connsiteY247" fmla="*/ 1817564 h 1934496"/>
              <a:gd name="connsiteX248" fmla="*/ 7820925 w 9922465"/>
              <a:gd name="connsiteY248" fmla="*/ 1762373 h 1934496"/>
              <a:gd name="connsiteX249" fmla="*/ 7876117 w 9922465"/>
              <a:gd name="connsiteY249" fmla="*/ 1707182 h 1934496"/>
              <a:gd name="connsiteX250" fmla="*/ 7745824 w 9922465"/>
              <a:gd name="connsiteY250" fmla="*/ 1707182 h 1934496"/>
              <a:gd name="connsiteX251" fmla="*/ 7801016 w 9922465"/>
              <a:gd name="connsiteY251" fmla="*/ 1762373 h 1934496"/>
              <a:gd name="connsiteX252" fmla="*/ 7745824 w 9922465"/>
              <a:gd name="connsiteY252" fmla="*/ 1817564 h 1934496"/>
              <a:gd name="connsiteX253" fmla="*/ 7690632 w 9922465"/>
              <a:gd name="connsiteY253" fmla="*/ 1762373 h 1934496"/>
              <a:gd name="connsiteX254" fmla="*/ 7745824 w 9922465"/>
              <a:gd name="connsiteY254" fmla="*/ 1707182 h 1934496"/>
              <a:gd name="connsiteX255" fmla="*/ 7608849 w 9922465"/>
              <a:gd name="connsiteY255" fmla="*/ 1707182 h 1934496"/>
              <a:gd name="connsiteX256" fmla="*/ 7664041 w 9922465"/>
              <a:gd name="connsiteY256" fmla="*/ 1762373 h 1934496"/>
              <a:gd name="connsiteX257" fmla="*/ 7608849 w 9922465"/>
              <a:gd name="connsiteY257" fmla="*/ 1817564 h 1934496"/>
              <a:gd name="connsiteX258" fmla="*/ 7553657 w 9922465"/>
              <a:gd name="connsiteY258" fmla="*/ 1762373 h 1934496"/>
              <a:gd name="connsiteX259" fmla="*/ 7608849 w 9922465"/>
              <a:gd name="connsiteY259" fmla="*/ 1707182 h 1934496"/>
              <a:gd name="connsiteX260" fmla="*/ 7481895 w 9922465"/>
              <a:gd name="connsiteY260" fmla="*/ 1707182 h 1934496"/>
              <a:gd name="connsiteX261" fmla="*/ 7537087 w 9922465"/>
              <a:gd name="connsiteY261" fmla="*/ 1762373 h 1934496"/>
              <a:gd name="connsiteX262" fmla="*/ 7481895 w 9922465"/>
              <a:gd name="connsiteY262" fmla="*/ 1817564 h 1934496"/>
              <a:gd name="connsiteX263" fmla="*/ 7426703 w 9922465"/>
              <a:gd name="connsiteY263" fmla="*/ 1762373 h 1934496"/>
              <a:gd name="connsiteX264" fmla="*/ 7481895 w 9922465"/>
              <a:gd name="connsiteY264" fmla="*/ 1707182 h 1934496"/>
              <a:gd name="connsiteX265" fmla="*/ 7341579 w 9922465"/>
              <a:gd name="connsiteY265" fmla="*/ 1707182 h 1934496"/>
              <a:gd name="connsiteX266" fmla="*/ 7396771 w 9922465"/>
              <a:gd name="connsiteY266" fmla="*/ 1762373 h 1934496"/>
              <a:gd name="connsiteX267" fmla="*/ 7341579 w 9922465"/>
              <a:gd name="connsiteY267" fmla="*/ 1817564 h 1934496"/>
              <a:gd name="connsiteX268" fmla="*/ 7286387 w 9922465"/>
              <a:gd name="connsiteY268" fmla="*/ 1762373 h 1934496"/>
              <a:gd name="connsiteX269" fmla="*/ 7341579 w 9922465"/>
              <a:gd name="connsiteY269" fmla="*/ 1707182 h 1934496"/>
              <a:gd name="connsiteX270" fmla="*/ 7211286 w 9922465"/>
              <a:gd name="connsiteY270" fmla="*/ 1707182 h 1934496"/>
              <a:gd name="connsiteX271" fmla="*/ 7266478 w 9922465"/>
              <a:gd name="connsiteY271" fmla="*/ 1762373 h 1934496"/>
              <a:gd name="connsiteX272" fmla="*/ 7211286 w 9922465"/>
              <a:gd name="connsiteY272" fmla="*/ 1817564 h 1934496"/>
              <a:gd name="connsiteX273" fmla="*/ 7156094 w 9922465"/>
              <a:gd name="connsiteY273" fmla="*/ 1762373 h 1934496"/>
              <a:gd name="connsiteX274" fmla="*/ 7211286 w 9922465"/>
              <a:gd name="connsiteY274" fmla="*/ 1707182 h 1934496"/>
              <a:gd name="connsiteX275" fmla="*/ 7080993 w 9922465"/>
              <a:gd name="connsiteY275" fmla="*/ 1707182 h 1934496"/>
              <a:gd name="connsiteX276" fmla="*/ 7136185 w 9922465"/>
              <a:gd name="connsiteY276" fmla="*/ 1762373 h 1934496"/>
              <a:gd name="connsiteX277" fmla="*/ 7080993 w 9922465"/>
              <a:gd name="connsiteY277" fmla="*/ 1817564 h 1934496"/>
              <a:gd name="connsiteX278" fmla="*/ 7025801 w 9922465"/>
              <a:gd name="connsiteY278" fmla="*/ 1762373 h 1934496"/>
              <a:gd name="connsiteX279" fmla="*/ 7080993 w 9922465"/>
              <a:gd name="connsiteY279" fmla="*/ 1707182 h 1934496"/>
              <a:gd name="connsiteX280" fmla="*/ 6947357 w 9922465"/>
              <a:gd name="connsiteY280" fmla="*/ 1707182 h 1934496"/>
              <a:gd name="connsiteX281" fmla="*/ 7002549 w 9922465"/>
              <a:gd name="connsiteY281" fmla="*/ 1762373 h 1934496"/>
              <a:gd name="connsiteX282" fmla="*/ 6947357 w 9922465"/>
              <a:gd name="connsiteY282" fmla="*/ 1817564 h 1934496"/>
              <a:gd name="connsiteX283" fmla="*/ 6892165 w 9922465"/>
              <a:gd name="connsiteY283" fmla="*/ 1762373 h 1934496"/>
              <a:gd name="connsiteX284" fmla="*/ 6947357 w 9922465"/>
              <a:gd name="connsiteY284" fmla="*/ 1707182 h 1934496"/>
              <a:gd name="connsiteX285" fmla="*/ 6817063 w 9922465"/>
              <a:gd name="connsiteY285" fmla="*/ 1707182 h 1934496"/>
              <a:gd name="connsiteX286" fmla="*/ 6872255 w 9922465"/>
              <a:gd name="connsiteY286" fmla="*/ 1762373 h 1934496"/>
              <a:gd name="connsiteX287" fmla="*/ 6817063 w 9922465"/>
              <a:gd name="connsiteY287" fmla="*/ 1817564 h 1934496"/>
              <a:gd name="connsiteX288" fmla="*/ 6761871 w 9922465"/>
              <a:gd name="connsiteY288" fmla="*/ 1762373 h 1934496"/>
              <a:gd name="connsiteX289" fmla="*/ 6817063 w 9922465"/>
              <a:gd name="connsiteY289" fmla="*/ 1707182 h 1934496"/>
              <a:gd name="connsiteX290" fmla="*/ 6683431 w 9922465"/>
              <a:gd name="connsiteY290" fmla="*/ 1707182 h 1934496"/>
              <a:gd name="connsiteX291" fmla="*/ 6738623 w 9922465"/>
              <a:gd name="connsiteY291" fmla="*/ 1762373 h 1934496"/>
              <a:gd name="connsiteX292" fmla="*/ 6683431 w 9922465"/>
              <a:gd name="connsiteY292" fmla="*/ 1817564 h 1934496"/>
              <a:gd name="connsiteX293" fmla="*/ 6628239 w 9922465"/>
              <a:gd name="connsiteY293" fmla="*/ 1762373 h 1934496"/>
              <a:gd name="connsiteX294" fmla="*/ 6683431 w 9922465"/>
              <a:gd name="connsiteY294" fmla="*/ 1707182 h 1934496"/>
              <a:gd name="connsiteX295" fmla="*/ 6553137 w 9922465"/>
              <a:gd name="connsiteY295" fmla="*/ 1707182 h 1934496"/>
              <a:gd name="connsiteX296" fmla="*/ 6608329 w 9922465"/>
              <a:gd name="connsiteY296" fmla="*/ 1762373 h 1934496"/>
              <a:gd name="connsiteX297" fmla="*/ 6553137 w 9922465"/>
              <a:gd name="connsiteY297" fmla="*/ 1817564 h 1934496"/>
              <a:gd name="connsiteX298" fmla="*/ 6497945 w 9922465"/>
              <a:gd name="connsiteY298" fmla="*/ 1762373 h 1934496"/>
              <a:gd name="connsiteX299" fmla="*/ 6553137 w 9922465"/>
              <a:gd name="connsiteY299" fmla="*/ 1707182 h 1934496"/>
              <a:gd name="connsiteX300" fmla="*/ 6419502 w 9922465"/>
              <a:gd name="connsiteY300" fmla="*/ 1707182 h 1934496"/>
              <a:gd name="connsiteX301" fmla="*/ 6474694 w 9922465"/>
              <a:gd name="connsiteY301" fmla="*/ 1762373 h 1934496"/>
              <a:gd name="connsiteX302" fmla="*/ 6419502 w 9922465"/>
              <a:gd name="connsiteY302" fmla="*/ 1817564 h 1934496"/>
              <a:gd name="connsiteX303" fmla="*/ 6364310 w 9922465"/>
              <a:gd name="connsiteY303" fmla="*/ 1762373 h 1934496"/>
              <a:gd name="connsiteX304" fmla="*/ 6419502 w 9922465"/>
              <a:gd name="connsiteY304" fmla="*/ 1707182 h 1934496"/>
              <a:gd name="connsiteX305" fmla="*/ 6289207 w 9922465"/>
              <a:gd name="connsiteY305" fmla="*/ 1707182 h 1934496"/>
              <a:gd name="connsiteX306" fmla="*/ 6344399 w 9922465"/>
              <a:gd name="connsiteY306" fmla="*/ 1762373 h 1934496"/>
              <a:gd name="connsiteX307" fmla="*/ 6289207 w 9922465"/>
              <a:gd name="connsiteY307" fmla="*/ 1817564 h 1934496"/>
              <a:gd name="connsiteX308" fmla="*/ 6234015 w 9922465"/>
              <a:gd name="connsiteY308" fmla="*/ 1762373 h 1934496"/>
              <a:gd name="connsiteX309" fmla="*/ 6289207 w 9922465"/>
              <a:gd name="connsiteY309" fmla="*/ 1707182 h 1934496"/>
              <a:gd name="connsiteX310" fmla="*/ 6155572 w 9922465"/>
              <a:gd name="connsiteY310" fmla="*/ 1707182 h 1934496"/>
              <a:gd name="connsiteX311" fmla="*/ 6210764 w 9922465"/>
              <a:gd name="connsiteY311" fmla="*/ 1762373 h 1934496"/>
              <a:gd name="connsiteX312" fmla="*/ 6155572 w 9922465"/>
              <a:gd name="connsiteY312" fmla="*/ 1817564 h 1934496"/>
              <a:gd name="connsiteX313" fmla="*/ 6100380 w 9922465"/>
              <a:gd name="connsiteY313" fmla="*/ 1762373 h 1934496"/>
              <a:gd name="connsiteX314" fmla="*/ 6155572 w 9922465"/>
              <a:gd name="connsiteY314" fmla="*/ 1707182 h 1934496"/>
              <a:gd name="connsiteX315" fmla="*/ 6021938 w 9922465"/>
              <a:gd name="connsiteY315" fmla="*/ 1707182 h 1934496"/>
              <a:gd name="connsiteX316" fmla="*/ 6077130 w 9922465"/>
              <a:gd name="connsiteY316" fmla="*/ 1762373 h 1934496"/>
              <a:gd name="connsiteX317" fmla="*/ 6021938 w 9922465"/>
              <a:gd name="connsiteY317" fmla="*/ 1817564 h 1934496"/>
              <a:gd name="connsiteX318" fmla="*/ 5966746 w 9922465"/>
              <a:gd name="connsiteY318" fmla="*/ 1762373 h 1934496"/>
              <a:gd name="connsiteX319" fmla="*/ 6021938 w 9922465"/>
              <a:gd name="connsiteY319" fmla="*/ 1707182 h 1934496"/>
              <a:gd name="connsiteX320" fmla="*/ 5884964 w 9922465"/>
              <a:gd name="connsiteY320" fmla="*/ 1707182 h 1934496"/>
              <a:gd name="connsiteX321" fmla="*/ 5940156 w 9922465"/>
              <a:gd name="connsiteY321" fmla="*/ 1762373 h 1934496"/>
              <a:gd name="connsiteX322" fmla="*/ 5884964 w 9922465"/>
              <a:gd name="connsiteY322" fmla="*/ 1817564 h 1934496"/>
              <a:gd name="connsiteX323" fmla="*/ 5829772 w 9922465"/>
              <a:gd name="connsiteY323" fmla="*/ 1762373 h 1934496"/>
              <a:gd name="connsiteX324" fmla="*/ 5884964 w 9922465"/>
              <a:gd name="connsiteY324" fmla="*/ 1707182 h 1934496"/>
              <a:gd name="connsiteX325" fmla="*/ 5754670 w 9922465"/>
              <a:gd name="connsiteY325" fmla="*/ 1707182 h 1934496"/>
              <a:gd name="connsiteX326" fmla="*/ 5809862 w 9922465"/>
              <a:gd name="connsiteY326" fmla="*/ 1762373 h 1934496"/>
              <a:gd name="connsiteX327" fmla="*/ 5754670 w 9922465"/>
              <a:gd name="connsiteY327" fmla="*/ 1817564 h 1934496"/>
              <a:gd name="connsiteX328" fmla="*/ 5699478 w 9922465"/>
              <a:gd name="connsiteY328" fmla="*/ 1762373 h 1934496"/>
              <a:gd name="connsiteX329" fmla="*/ 5754670 w 9922465"/>
              <a:gd name="connsiteY329" fmla="*/ 1707182 h 1934496"/>
              <a:gd name="connsiteX330" fmla="*/ 5621035 w 9922465"/>
              <a:gd name="connsiteY330" fmla="*/ 1707182 h 1934496"/>
              <a:gd name="connsiteX331" fmla="*/ 5676227 w 9922465"/>
              <a:gd name="connsiteY331" fmla="*/ 1762373 h 1934496"/>
              <a:gd name="connsiteX332" fmla="*/ 5621035 w 9922465"/>
              <a:gd name="connsiteY332" fmla="*/ 1817564 h 1934496"/>
              <a:gd name="connsiteX333" fmla="*/ 5565843 w 9922465"/>
              <a:gd name="connsiteY333" fmla="*/ 1762373 h 1934496"/>
              <a:gd name="connsiteX334" fmla="*/ 5621035 w 9922465"/>
              <a:gd name="connsiteY334" fmla="*/ 1707182 h 1934496"/>
              <a:gd name="connsiteX335" fmla="*/ 5487399 w 9922465"/>
              <a:gd name="connsiteY335" fmla="*/ 1707182 h 1934496"/>
              <a:gd name="connsiteX336" fmla="*/ 5542591 w 9922465"/>
              <a:gd name="connsiteY336" fmla="*/ 1762373 h 1934496"/>
              <a:gd name="connsiteX337" fmla="*/ 5487399 w 9922465"/>
              <a:gd name="connsiteY337" fmla="*/ 1817564 h 1934496"/>
              <a:gd name="connsiteX338" fmla="*/ 5432207 w 9922465"/>
              <a:gd name="connsiteY338" fmla="*/ 1762373 h 1934496"/>
              <a:gd name="connsiteX339" fmla="*/ 5487399 w 9922465"/>
              <a:gd name="connsiteY339" fmla="*/ 1707182 h 1934496"/>
              <a:gd name="connsiteX340" fmla="*/ 5357105 w 9922465"/>
              <a:gd name="connsiteY340" fmla="*/ 1707182 h 1934496"/>
              <a:gd name="connsiteX341" fmla="*/ 5412297 w 9922465"/>
              <a:gd name="connsiteY341" fmla="*/ 1762373 h 1934496"/>
              <a:gd name="connsiteX342" fmla="*/ 5357105 w 9922465"/>
              <a:gd name="connsiteY342" fmla="*/ 1817564 h 1934496"/>
              <a:gd name="connsiteX343" fmla="*/ 5301913 w 9922465"/>
              <a:gd name="connsiteY343" fmla="*/ 1762373 h 1934496"/>
              <a:gd name="connsiteX344" fmla="*/ 5357105 w 9922465"/>
              <a:gd name="connsiteY344" fmla="*/ 1707182 h 1934496"/>
              <a:gd name="connsiteX345" fmla="*/ 5223473 w 9922465"/>
              <a:gd name="connsiteY345" fmla="*/ 1707182 h 1934496"/>
              <a:gd name="connsiteX346" fmla="*/ 5278665 w 9922465"/>
              <a:gd name="connsiteY346" fmla="*/ 1762373 h 1934496"/>
              <a:gd name="connsiteX347" fmla="*/ 5223473 w 9922465"/>
              <a:gd name="connsiteY347" fmla="*/ 1817564 h 1934496"/>
              <a:gd name="connsiteX348" fmla="*/ 5168281 w 9922465"/>
              <a:gd name="connsiteY348" fmla="*/ 1762373 h 1934496"/>
              <a:gd name="connsiteX349" fmla="*/ 5223473 w 9922465"/>
              <a:gd name="connsiteY349" fmla="*/ 1707182 h 1934496"/>
              <a:gd name="connsiteX350" fmla="*/ 5093178 w 9922465"/>
              <a:gd name="connsiteY350" fmla="*/ 1707182 h 1934496"/>
              <a:gd name="connsiteX351" fmla="*/ 5148370 w 9922465"/>
              <a:gd name="connsiteY351" fmla="*/ 1762373 h 1934496"/>
              <a:gd name="connsiteX352" fmla="*/ 5093178 w 9922465"/>
              <a:gd name="connsiteY352" fmla="*/ 1817564 h 1934496"/>
              <a:gd name="connsiteX353" fmla="*/ 5037986 w 9922465"/>
              <a:gd name="connsiteY353" fmla="*/ 1762373 h 1934496"/>
              <a:gd name="connsiteX354" fmla="*/ 5093178 w 9922465"/>
              <a:gd name="connsiteY354" fmla="*/ 1707182 h 1934496"/>
              <a:gd name="connsiteX355" fmla="*/ 4959543 w 9922465"/>
              <a:gd name="connsiteY355" fmla="*/ 1707182 h 1934496"/>
              <a:gd name="connsiteX356" fmla="*/ 5014735 w 9922465"/>
              <a:gd name="connsiteY356" fmla="*/ 1762373 h 1934496"/>
              <a:gd name="connsiteX357" fmla="*/ 4959543 w 9922465"/>
              <a:gd name="connsiteY357" fmla="*/ 1817564 h 1934496"/>
              <a:gd name="connsiteX358" fmla="*/ 4904351 w 9922465"/>
              <a:gd name="connsiteY358" fmla="*/ 1762373 h 1934496"/>
              <a:gd name="connsiteX359" fmla="*/ 4959543 w 9922465"/>
              <a:gd name="connsiteY359" fmla="*/ 1707182 h 1934496"/>
              <a:gd name="connsiteX360" fmla="*/ 4829251 w 9922465"/>
              <a:gd name="connsiteY360" fmla="*/ 1707182 h 1934496"/>
              <a:gd name="connsiteX361" fmla="*/ 4884443 w 9922465"/>
              <a:gd name="connsiteY361" fmla="*/ 1762373 h 1934496"/>
              <a:gd name="connsiteX362" fmla="*/ 4829251 w 9922465"/>
              <a:gd name="connsiteY362" fmla="*/ 1817564 h 1934496"/>
              <a:gd name="connsiteX363" fmla="*/ 4774059 w 9922465"/>
              <a:gd name="connsiteY363" fmla="*/ 1762373 h 1934496"/>
              <a:gd name="connsiteX364" fmla="*/ 4829251 w 9922465"/>
              <a:gd name="connsiteY364" fmla="*/ 1707182 h 1934496"/>
              <a:gd name="connsiteX365" fmla="*/ 4695613 w 9922465"/>
              <a:gd name="connsiteY365" fmla="*/ 1707182 h 1934496"/>
              <a:gd name="connsiteX366" fmla="*/ 4750805 w 9922465"/>
              <a:gd name="connsiteY366" fmla="*/ 1762373 h 1934496"/>
              <a:gd name="connsiteX367" fmla="*/ 4695613 w 9922465"/>
              <a:gd name="connsiteY367" fmla="*/ 1817564 h 1934496"/>
              <a:gd name="connsiteX368" fmla="*/ 4640421 w 9922465"/>
              <a:gd name="connsiteY368" fmla="*/ 1762373 h 1934496"/>
              <a:gd name="connsiteX369" fmla="*/ 4695613 w 9922465"/>
              <a:gd name="connsiteY369" fmla="*/ 1707182 h 1934496"/>
              <a:gd name="connsiteX370" fmla="*/ 3098681 w 9922465"/>
              <a:gd name="connsiteY370" fmla="*/ 1707182 h 1934496"/>
              <a:gd name="connsiteX371" fmla="*/ 3153873 w 9922465"/>
              <a:gd name="connsiteY371" fmla="*/ 1762373 h 1934496"/>
              <a:gd name="connsiteX372" fmla="*/ 3098681 w 9922465"/>
              <a:gd name="connsiteY372" fmla="*/ 1817564 h 1934496"/>
              <a:gd name="connsiteX373" fmla="*/ 3043489 w 9922465"/>
              <a:gd name="connsiteY373" fmla="*/ 1762373 h 1934496"/>
              <a:gd name="connsiteX374" fmla="*/ 3098681 w 9922465"/>
              <a:gd name="connsiteY374" fmla="*/ 1707182 h 1934496"/>
              <a:gd name="connsiteX375" fmla="*/ 2971729 w 9922465"/>
              <a:gd name="connsiteY375" fmla="*/ 1707182 h 1934496"/>
              <a:gd name="connsiteX376" fmla="*/ 3026921 w 9922465"/>
              <a:gd name="connsiteY376" fmla="*/ 1762373 h 1934496"/>
              <a:gd name="connsiteX377" fmla="*/ 2971729 w 9922465"/>
              <a:gd name="connsiteY377" fmla="*/ 1817564 h 1934496"/>
              <a:gd name="connsiteX378" fmla="*/ 2916537 w 9922465"/>
              <a:gd name="connsiteY378" fmla="*/ 1762373 h 1934496"/>
              <a:gd name="connsiteX379" fmla="*/ 2971729 w 9922465"/>
              <a:gd name="connsiteY379" fmla="*/ 1707182 h 1934496"/>
              <a:gd name="connsiteX380" fmla="*/ 2834772 w 9922465"/>
              <a:gd name="connsiteY380" fmla="*/ 1707182 h 1934496"/>
              <a:gd name="connsiteX381" fmla="*/ 2889964 w 9922465"/>
              <a:gd name="connsiteY381" fmla="*/ 1762373 h 1934496"/>
              <a:gd name="connsiteX382" fmla="*/ 2834772 w 9922465"/>
              <a:gd name="connsiteY382" fmla="*/ 1817564 h 1934496"/>
              <a:gd name="connsiteX383" fmla="*/ 2779580 w 9922465"/>
              <a:gd name="connsiteY383" fmla="*/ 1762373 h 1934496"/>
              <a:gd name="connsiteX384" fmla="*/ 2834772 w 9922465"/>
              <a:gd name="connsiteY384" fmla="*/ 1707182 h 1934496"/>
              <a:gd name="connsiteX385" fmla="*/ 2707817 w 9922465"/>
              <a:gd name="connsiteY385" fmla="*/ 1707182 h 1934496"/>
              <a:gd name="connsiteX386" fmla="*/ 2763009 w 9922465"/>
              <a:gd name="connsiteY386" fmla="*/ 1762373 h 1934496"/>
              <a:gd name="connsiteX387" fmla="*/ 2707817 w 9922465"/>
              <a:gd name="connsiteY387" fmla="*/ 1817564 h 1934496"/>
              <a:gd name="connsiteX388" fmla="*/ 2652625 w 9922465"/>
              <a:gd name="connsiteY388" fmla="*/ 1762373 h 1934496"/>
              <a:gd name="connsiteX389" fmla="*/ 2707817 w 9922465"/>
              <a:gd name="connsiteY389" fmla="*/ 1707182 h 1934496"/>
              <a:gd name="connsiteX390" fmla="*/ 2570843 w 9922465"/>
              <a:gd name="connsiteY390" fmla="*/ 1707182 h 1934496"/>
              <a:gd name="connsiteX391" fmla="*/ 2626036 w 9922465"/>
              <a:gd name="connsiteY391" fmla="*/ 1762373 h 1934496"/>
              <a:gd name="connsiteX392" fmla="*/ 2570843 w 9922465"/>
              <a:gd name="connsiteY392" fmla="*/ 1817564 h 1934496"/>
              <a:gd name="connsiteX393" fmla="*/ 2515651 w 9922465"/>
              <a:gd name="connsiteY393" fmla="*/ 1762373 h 1934496"/>
              <a:gd name="connsiteX394" fmla="*/ 2570843 w 9922465"/>
              <a:gd name="connsiteY394" fmla="*/ 1707182 h 1934496"/>
              <a:gd name="connsiteX395" fmla="*/ 2437207 w 9922465"/>
              <a:gd name="connsiteY395" fmla="*/ 1707182 h 1934496"/>
              <a:gd name="connsiteX396" fmla="*/ 2492398 w 9922465"/>
              <a:gd name="connsiteY396" fmla="*/ 1762373 h 1934496"/>
              <a:gd name="connsiteX397" fmla="*/ 2437207 w 9922465"/>
              <a:gd name="connsiteY397" fmla="*/ 1817564 h 1934496"/>
              <a:gd name="connsiteX398" fmla="*/ 2382015 w 9922465"/>
              <a:gd name="connsiteY398" fmla="*/ 1762373 h 1934496"/>
              <a:gd name="connsiteX399" fmla="*/ 2437207 w 9922465"/>
              <a:gd name="connsiteY399" fmla="*/ 1707182 h 1934496"/>
              <a:gd name="connsiteX400" fmla="*/ 2303575 w 9922465"/>
              <a:gd name="connsiteY400" fmla="*/ 1707182 h 1934496"/>
              <a:gd name="connsiteX401" fmla="*/ 2358767 w 9922465"/>
              <a:gd name="connsiteY401" fmla="*/ 1762373 h 1934496"/>
              <a:gd name="connsiteX402" fmla="*/ 2303575 w 9922465"/>
              <a:gd name="connsiteY402" fmla="*/ 1817564 h 1934496"/>
              <a:gd name="connsiteX403" fmla="*/ 2248383 w 9922465"/>
              <a:gd name="connsiteY403" fmla="*/ 1762373 h 1934496"/>
              <a:gd name="connsiteX404" fmla="*/ 2303575 w 9922465"/>
              <a:gd name="connsiteY404" fmla="*/ 1707182 h 1934496"/>
              <a:gd name="connsiteX405" fmla="*/ 2173282 w 9922465"/>
              <a:gd name="connsiteY405" fmla="*/ 1707182 h 1934496"/>
              <a:gd name="connsiteX406" fmla="*/ 2228474 w 9922465"/>
              <a:gd name="connsiteY406" fmla="*/ 1762373 h 1934496"/>
              <a:gd name="connsiteX407" fmla="*/ 2173282 w 9922465"/>
              <a:gd name="connsiteY407" fmla="*/ 1817564 h 1934496"/>
              <a:gd name="connsiteX408" fmla="*/ 2118090 w 9922465"/>
              <a:gd name="connsiteY408" fmla="*/ 1762373 h 1934496"/>
              <a:gd name="connsiteX409" fmla="*/ 2173282 w 9922465"/>
              <a:gd name="connsiteY409" fmla="*/ 1707182 h 1934496"/>
              <a:gd name="connsiteX410" fmla="*/ 2039648 w 9922465"/>
              <a:gd name="connsiteY410" fmla="*/ 1707182 h 1934496"/>
              <a:gd name="connsiteX411" fmla="*/ 2094840 w 9922465"/>
              <a:gd name="connsiteY411" fmla="*/ 1762373 h 1934496"/>
              <a:gd name="connsiteX412" fmla="*/ 2039648 w 9922465"/>
              <a:gd name="connsiteY412" fmla="*/ 1817564 h 1934496"/>
              <a:gd name="connsiteX413" fmla="*/ 1984455 w 9922465"/>
              <a:gd name="connsiteY413" fmla="*/ 1762373 h 1934496"/>
              <a:gd name="connsiteX414" fmla="*/ 2039648 w 9922465"/>
              <a:gd name="connsiteY414" fmla="*/ 1707182 h 1934496"/>
              <a:gd name="connsiteX415" fmla="*/ 1909353 w 9922465"/>
              <a:gd name="connsiteY415" fmla="*/ 1707182 h 1934496"/>
              <a:gd name="connsiteX416" fmla="*/ 1964545 w 9922465"/>
              <a:gd name="connsiteY416" fmla="*/ 1762373 h 1934496"/>
              <a:gd name="connsiteX417" fmla="*/ 1909353 w 9922465"/>
              <a:gd name="connsiteY417" fmla="*/ 1817564 h 1934496"/>
              <a:gd name="connsiteX418" fmla="*/ 1854161 w 9922465"/>
              <a:gd name="connsiteY418" fmla="*/ 1762373 h 1934496"/>
              <a:gd name="connsiteX419" fmla="*/ 1909353 w 9922465"/>
              <a:gd name="connsiteY419" fmla="*/ 1707182 h 1934496"/>
              <a:gd name="connsiteX420" fmla="*/ 1779058 w 9922465"/>
              <a:gd name="connsiteY420" fmla="*/ 1707182 h 1934496"/>
              <a:gd name="connsiteX421" fmla="*/ 1834251 w 9922465"/>
              <a:gd name="connsiteY421" fmla="*/ 1762373 h 1934496"/>
              <a:gd name="connsiteX422" fmla="*/ 1779058 w 9922465"/>
              <a:gd name="connsiteY422" fmla="*/ 1817564 h 1934496"/>
              <a:gd name="connsiteX423" fmla="*/ 1723867 w 9922465"/>
              <a:gd name="connsiteY423" fmla="*/ 1762373 h 1934496"/>
              <a:gd name="connsiteX424" fmla="*/ 1779058 w 9922465"/>
              <a:gd name="connsiteY424" fmla="*/ 1707182 h 1934496"/>
              <a:gd name="connsiteX425" fmla="*/ 1645422 w 9922465"/>
              <a:gd name="connsiteY425" fmla="*/ 1707182 h 1934496"/>
              <a:gd name="connsiteX426" fmla="*/ 1700617 w 9922465"/>
              <a:gd name="connsiteY426" fmla="*/ 1762373 h 1934496"/>
              <a:gd name="connsiteX427" fmla="*/ 1645422 w 9922465"/>
              <a:gd name="connsiteY427" fmla="*/ 1817564 h 1934496"/>
              <a:gd name="connsiteX428" fmla="*/ 1590230 w 9922465"/>
              <a:gd name="connsiteY428" fmla="*/ 1762373 h 1934496"/>
              <a:gd name="connsiteX429" fmla="*/ 1645422 w 9922465"/>
              <a:gd name="connsiteY429" fmla="*/ 1707182 h 1934496"/>
              <a:gd name="connsiteX430" fmla="*/ 1515130 w 9922465"/>
              <a:gd name="connsiteY430" fmla="*/ 1707182 h 1934496"/>
              <a:gd name="connsiteX431" fmla="*/ 1570322 w 9922465"/>
              <a:gd name="connsiteY431" fmla="*/ 1762373 h 1934496"/>
              <a:gd name="connsiteX432" fmla="*/ 1515130 w 9922465"/>
              <a:gd name="connsiteY432" fmla="*/ 1817564 h 1934496"/>
              <a:gd name="connsiteX433" fmla="*/ 1459938 w 9922465"/>
              <a:gd name="connsiteY433" fmla="*/ 1762373 h 1934496"/>
              <a:gd name="connsiteX434" fmla="*/ 1515130 w 9922465"/>
              <a:gd name="connsiteY434" fmla="*/ 1707182 h 1934496"/>
              <a:gd name="connsiteX435" fmla="*/ 1381494 w 9922465"/>
              <a:gd name="connsiteY435" fmla="*/ 1707182 h 1934496"/>
              <a:gd name="connsiteX436" fmla="*/ 1436688 w 9922465"/>
              <a:gd name="connsiteY436" fmla="*/ 1762373 h 1934496"/>
              <a:gd name="connsiteX437" fmla="*/ 1381494 w 9922465"/>
              <a:gd name="connsiteY437" fmla="*/ 1817564 h 1934496"/>
              <a:gd name="connsiteX438" fmla="*/ 1326303 w 9922465"/>
              <a:gd name="connsiteY438" fmla="*/ 1762373 h 1934496"/>
              <a:gd name="connsiteX439" fmla="*/ 1381494 w 9922465"/>
              <a:gd name="connsiteY439" fmla="*/ 1707182 h 1934496"/>
              <a:gd name="connsiteX440" fmla="*/ 1251201 w 9922465"/>
              <a:gd name="connsiteY440" fmla="*/ 1707182 h 1934496"/>
              <a:gd name="connsiteX441" fmla="*/ 1306393 w 9922465"/>
              <a:gd name="connsiteY441" fmla="*/ 1762373 h 1934496"/>
              <a:gd name="connsiteX442" fmla="*/ 1251201 w 9922465"/>
              <a:gd name="connsiteY442" fmla="*/ 1817564 h 1934496"/>
              <a:gd name="connsiteX443" fmla="*/ 1196010 w 9922465"/>
              <a:gd name="connsiteY443" fmla="*/ 1762373 h 1934496"/>
              <a:gd name="connsiteX444" fmla="*/ 1251201 w 9922465"/>
              <a:gd name="connsiteY444" fmla="*/ 1707182 h 1934496"/>
              <a:gd name="connsiteX445" fmla="*/ 1909361 w 9922465"/>
              <a:gd name="connsiteY445" fmla="*/ 1580232 h 1934496"/>
              <a:gd name="connsiteX446" fmla="*/ 1964554 w 9922465"/>
              <a:gd name="connsiteY446" fmla="*/ 1635423 h 1934496"/>
              <a:gd name="connsiteX447" fmla="*/ 1909361 w 9922465"/>
              <a:gd name="connsiteY447" fmla="*/ 1690614 h 1934496"/>
              <a:gd name="connsiteX448" fmla="*/ 1854168 w 9922465"/>
              <a:gd name="connsiteY448" fmla="*/ 1635423 h 1934496"/>
              <a:gd name="connsiteX449" fmla="*/ 1909361 w 9922465"/>
              <a:gd name="connsiteY449" fmla="*/ 1580232 h 1934496"/>
              <a:gd name="connsiteX450" fmla="*/ 1779065 w 9922465"/>
              <a:gd name="connsiteY450" fmla="*/ 1580232 h 1934496"/>
              <a:gd name="connsiteX451" fmla="*/ 1834257 w 9922465"/>
              <a:gd name="connsiteY451" fmla="*/ 1635423 h 1934496"/>
              <a:gd name="connsiteX452" fmla="*/ 1779065 w 9922465"/>
              <a:gd name="connsiteY452" fmla="*/ 1690614 h 1934496"/>
              <a:gd name="connsiteX453" fmla="*/ 1723872 w 9922465"/>
              <a:gd name="connsiteY453" fmla="*/ 1635423 h 1934496"/>
              <a:gd name="connsiteX454" fmla="*/ 1779065 w 9922465"/>
              <a:gd name="connsiteY454" fmla="*/ 1580232 h 1934496"/>
              <a:gd name="connsiteX455" fmla="*/ 1645431 w 9922465"/>
              <a:gd name="connsiteY455" fmla="*/ 1580232 h 1934496"/>
              <a:gd name="connsiteX456" fmla="*/ 1700623 w 9922465"/>
              <a:gd name="connsiteY456" fmla="*/ 1635423 h 1934496"/>
              <a:gd name="connsiteX457" fmla="*/ 1645431 w 9922465"/>
              <a:gd name="connsiteY457" fmla="*/ 1690614 h 1934496"/>
              <a:gd name="connsiteX458" fmla="*/ 1590238 w 9922465"/>
              <a:gd name="connsiteY458" fmla="*/ 1635423 h 1934496"/>
              <a:gd name="connsiteX459" fmla="*/ 1645431 w 9922465"/>
              <a:gd name="connsiteY459" fmla="*/ 1580232 h 1934496"/>
              <a:gd name="connsiteX460" fmla="*/ 1515140 w 9922465"/>
              <a:gd name="connsiteY460" fmla="*/ 1580232 h 1934496"/>
              <a:gd name="connsiteX461" fmla="*/ 1570329 w 9922465"/>
              <a:gd name="connsiteY461" fmla="*/ 1635423 h 1934496"/>
              <a:gd name="connsiteX462" fmla="*/ 1515140 w 9922465"/>
              <a:gd name="connsiteY462" fmla="*/ 1690614 h 1934496"/>
              <a:gd name="connsiteX463" fmla="*/ 1459945 w 9922465"/>
              <a:gd name="connsiteY463" fmla="*/ 1635423 h 1934496"/>
              <a:gd name="connsiteX464" fmla="*/ 1515140 w 9922465"/>
              <a:gd name="connsiteY464" fmla="*/ 1580232 h 1934496"/>
              <a:gd name="connsiteX465" fmla="*/ 1381504 w 9922465"/>
              <a:gd name="connsiteY465" fmla="*/ 1580232 h 1934496"/>
              <a:gd name="connsiteX466" fmla="*/ 1436697 w 9922465"/>
              <a:gd name="connsiteY466" fmla="*/ 1635423 h 1934496"/>
              <a:gd name="connsiteX467" fmla="*/ 1381504 w 9922465"/>
              <a:gd name="connsiteY467" fmla="*/ 1690614 h 1934496"/>
              <a:gd name="connsiteX468" fmla="*/ 1326312 w 9922465"/>
              <a:gd name="connsiteY468" fmla="*/ 1635423 h 1934496"/>
              <a:gd name="connsiteX469" fmla="*/ 1381504 w 9922465"/>
              <a:gd name="connsiteY469" fmla="*/ 1580232 h 1934496"/>
              <a:gd name="connsiteX470" fmla="*/ 1251210 w 9922465"/>
              <a:gd name="connsiteY470" fmla="*/ 1580232 h 1934496"/>
              <a:gd name="connsiteX471" fmla="*/ 1306401 w 9922465"/>
              <a:gd name="connsiteY471" fmla="*/ 1635423 h 1934496"/>
              <a:gd name="connsiteX472" fmla="*/ 1251210 w 9922465"/>
              <a:gd name="connsiteY472" fmla="*/ 1690614 h 1934496"/>
              <a:gd name="connsiteX473" fmla="*/ 1196016 w 9922465"/>
              <a:gd name="connsiteY473" fmla="*/ 1635423 h 1934496"/>
              <a:gd name="connsiteX474" fmla="*/ 1251210 w 9922465"/>
              <a:gd name="connsiteY474" fmla="*/ 1580232 h 1934496"/>
              <a:gd name="connsiteX475" fmla="*/ 9068806 w 9922465"/>
              <a:gd name="connsiteY475" fmla="*/ 1580228 h 1934496"/>
              <a:gd name="connsiteX476" fmla="*/ 9123998 w 9922465"/>
              <a:gd name="connsiteY476" fmla="*/ 1635419 h 1934496"/>
              <a:gd name="connsiteX477" fmla="*/ 9068806 w 9922465"/>
              <a:gd name="connsiteY477" fmla="*/ 1690610 h 1934496"/>
              <a:gd name="connsiteX478" fmla="*/ 9013614 w 9922465"/>
              <a:gd name="connsiteY478" fmla="*/ 1635419 h 1934496"/>
              <a:gd name="connsiteX479" fmla="*/ 9068806 w 9922465"/>
              <a:gd name="connsiteY479" fmla="*/ 1580228 h 1934496"/>
              <a:gd name="connsiteX480" fmla="*/ 8671243 w 9922465"/>
              <a:gd name="connsiteY480" fmla="*/ 1580228 h 1934496"/>
              <a:gd name="connsiteX481" fmla="*/ 8726435 w 9922465"/>
              <a:gd name="connsiteY481" fmla="*/ 1635419 h 1934496"/>
              <a:gd name="connsiteX482" fmla="*/ 8671243 w 9922465"/>
              <a:gd name="connsiteY482" fmla="*/ 1690610 h 1934496"/>
              <a:gd name="connsiteX483" fmla="*/ 8616051 w 9922465"/>
              <a:gd name="connsiteY483" fmla="*/ 1635419 h 1934496"/>
              <a:gd name="connsiteX484" fmla="*/ 8671243 w 9922465"/>
              <a:gd name="connsiteY484" fmla="*/ 1580228 h 1934496"/>
              <a:gd name="connsiteX485" fmla="*/ 8537609 w 9922465"/>
              <a:gd name="connsiteY485" fmla="*/ 1580228 h 1934496"/>
              <a:gd name="connsiteX486" fmla="*/ 8592801 w 9922465"/>
              <a:gd name="connsiteY486" fmla="*/ 1635419 h 1934496"/>
              <a:gd name="connsiteX487" fmla="*/ 8537609 w 9922465"/>
              <a:gd name="connsiteY487" fmla="*/ 1690610 h 1934496"/>
              <a:gd name="connsiteX488" fmla="*/ 8482417 w 9922465"/>
              <a:gd name="connsiteY488" fmla="*/ 1635419 h 1934496"/>
              <a:gd name="connsiteX489" fmla="*/ 8537609 w 9922465"/>
              <a:gd name="connsiteY489" fmla="*/ 1580228 h 1934496"/>
              <a:gd name="connsiteX490" fmla="*/ 8407318 w 9922465"/>
              <a:gd name="connsiteY490" fmla="*/ 1580228 h 1934496"/>
              <a:gd name="connsiteX491" fmla="*/ 8462510 w 9922465"/>
              <a:gd name="connsiteY491" fmla="*/ 1635419 h 1934496"/>
              <a:gd name="connsiteX492" fmla="*/ 8407318 w 9922465"/>
              <a:gd name="connsiteY492" fmla="*/ 1690610 h 1934496"/>
              <a:gd name="connsiteX493" fmla="*/ 8352126 w 9922465"/>
              <a:gd name="connsiteY493" fmla="*/ 1635419 h 1934496"/>
              <a:gd name="connsiteX494" fmla="*/ 8407318 w 9922465"/>
              <a:gd name="connsiteY494" fmla="*/ 1580228 h 1934496"/>
              <a:gd name="connsiteX495" fmla="*/ 8273682 w 9922465"/>
              <a:gd name="connsiteY495" fmla="*/ 1580228 h 1934496"/>
              <a:gd name="connsiteX496" fmla="*/ 8328874 w 9922465"/>
              <a:gd name="connsiteY496" fmla="*/ 1635419 h 1934496"/>
              <a:gd name="connsiteX497" fmla="*/ 8273682 w 9922465"/>
              <a:gd name="connsiteY497" fmla="*/ 1690610 h 1934496"/>
              <a:gd name="connsiteX498" fmla="*/ 8218490 w 9922465"/>
              <a:gd name="connsiteY498" fmla="*/ 1635419 h 1934496"/>
              <a:gd name="connsiteX499" fmla="*/ 8273682 w 9922465"/>
              <a:gd name="connsiteY499" fmla="*/ 1580228 h 1934496"/>
              <a:gd name="connsiteX500" fmla="*/ 8143386 w 9922465"/>
              <a:gd name="connsiteY500" fmla="*/ 1580228 h 1934496"/>
              <a:gd name="connsiteX501" fmla="*/ 8198578 w 9922465"/>
              <a:gd name="connsiteY501" fmla="*/ 1635419 h 1934496"/>
              <a:gd name="connsiteX502" fmla="*/ 8143386 w 9922465"/>
              <a:gd name="connsiteY502" fmla="*/ 1690610 h 1934496"/>
              <a:gd name="connsiteX503" fmla="*/ 8088194 w 9922465"/>
              <a:gd name="connsiteY503" fmla="*/ 1635419 h 1934496"/>
              <a:gd name="connsiteX504" fmla="*/ 8143386 w 9922465"/>
              <a:gd name="connsiteY504" fmla="*/ 1580228 h 1934496"/>
              <a:gd name="connsiteX505" fmla="*/ 8009752 w 9922465"/>
              <a:gd name="connsiteY505" fmla="*/ 1580228 h 1934496"/>
              <a:gd name="connsiteX506" fmla="*/ 8064944 w 9922465"/>
              <a:gd name="connsiteY506" fmla="*/ 1635419 h 1934496"/>
              <a:gd name="connsiteX507" fmla="*/ 8009752 w 9922465"/>
              <a:gd name="connsiteY507" fmla="*/ 1690610 h 1934496"/>
              <a:gd name="connsiteX508" fmla="*/ 7954560 w 9922465"/>
              <a:gd name="connsiteY508" fmla="*/ 1635419 h 1934496"/>
              <a:gd name="connsiteX509" fmla="*/ 8009752 w 9922465"/>
              <a:gd name="connsiteY509" fmla="*/ 1580228 h 1934496"/>
              <a:gd name="connsiteX510" fmla="*/ 7876117 w 9922465"/>
              <a:gd name="connsiteY510" fmla="*/ 1580228 h 1934496"/>
              <a:gd name="connsiteX511" fmla="*/ 7931309 w 9922465"/>
              <a:gd name="connsiteY511" fmla="*/ 1635419 h 1934496"/>
              <a:gd name="connsiteX512" fmla="*/ 7876117 w 9922465"/>
              <a:gd name="connsiteY512" fmla="*/ 1690610 h 1934496"/>
              <a:gd name="connsiteX513" fmla="*/ 7820925 w 9922465"/>
              <a:gd name="connsiteY513" fmla="*/ 1635419 h 1934496"/>
              <a:gd name="connsiteX514" fmla="*/ 7876117 w 9922465"/>
              <a:gd name="connsiteY514" fmla="*/ 1580228 h 1934496"/>
              <a:gd name="connsiteX515" fmla="*/ 7745824 w 9922465"/>
              <a:gd name="connsiteY515" fmla="*/ 1580228 h 1934496"/>
              <a:gd name="connsiteX516" fmla="*/ 7801016 w 9922465"/>
              <a:gd name="connsiteY516" fmla="*/ 1635419 h 1934496"/>
              <a:gd name="connsiteX517" fmla="*/ 7745824 w 9922465"/>
              <a:gd name="connsiteY517" fmla="*/ 1690610 h 1934496"/>
              <a:gd name="connsiteX518" fmla="*/ 7690632 w 9922465"/>
              <a:gd name="connsiteY518" fmla="*/ 1635419 h 1934496"/>
              <a:gd name="connsiteX519" fmla="*/ 7745824 w 9922465"/>
              <a:gd name="connsiteY519" fmla="*/ 1580228 h 1934496"/>
              <a:gd name="connsiteX520" fmla="*/ 7608849 w 9922465"/>
              <a:gd name="connsiteY520" fmla="*/ 1580228 h 1934496"/>
              <a:gd name="connsiteX521" fmla="*/ 7664041 w 9922465"/>
              <a:gd name="connsiteY521" fmla="*/ 1635419 h 1934496"/>
              <a:gd name="connsiteX522" fmla="*/ 7608849 w 9922465"/>
              <a:gd name="connsiteY522" fmla="*/ 1690610 h 1934496"/>
              <a:gd name="connsiteX523" fmla="*/ 7553657 w 9922465"/>
              <a:gd name="connsiteY523" fmla="*/ 1635419 h 1934496"/>
              <a:gd name="connsiteX524" fmla="*/ 7608849 w 9922465"/>
              <a:gd name="connsiteY524" fmla="*/ 1580228 h 1934496"/>
              <a:gd name="connsiteX525" fmla="*/ 7481895 w 9922465"/>
              <a:gd name="connsiteY525" fmla="*/ 1580228 h 1934496"/>
              <a:gd name="connsiteX526" fmla="*/ 7537087 w 9922465"/>
              <a:gd name="connsiteY526" fmla="*/ 1635419 h 1934496"/>
              <a:gd name="connsiteX527" fmla="*/ 7481895 w 9922465"/>
              <a:gd name="connsiteY527" fmla="*/ 1690610 h 1934496"/>
              <a:gd name="connsiteX528" fmla="*/ 7426703 w 9922465"/>
              <a:gd name="connsiteY528" fmla="*/ 1635419 h 1934496"/>
              <a:gd name="connsiteX529" fmla="*/ 7481895 w 9922465"/>
              <a:gd name="connsiteY529" fmla="*/ 1580228 h 1934496"/>
              <a:gd name="connsiteX530" fmla="*/ 7341579 w 9922465"/>
              <a:gd name="connsiteY530" fmla="*/ 1580228 h 1934496"/>
              <a:gd name="connsiteX531" fmla="*/ 7396771 w 9922465"/>
              <a:gd name="connsiteY531" fmla="*/ 1635419 h 1934496"/>
              <a:gd name="connsiteX532" fmla="*/ 7341579 w 9922465"/>
              <a:gd name="connsiteY532" fmla="*/ 1690610 h 1934496"/>
              <a:gd name="connsiteX533" fmla="*/ 7286387 w 9922465"/>
              <a:gd name="connsiteY533" fmla="*/ 1635419 h 1934496"/>
              <a:gd name="connsiteX534" fmla="*/ 7341579 w 9922465"/>
              <a:gd name="connsiteY534" fmla="*/ 1580228 h 1934496"/>
              <a:gd name="connsiteX535" fmla="*/ 7211286 w 9922465"/>
              <a:gd name="connsiteY535" fmla="*/ 1580228 h 1934496"/>
              <a:gd name="connsiteX536" fmla="*/ 7266478 w 9922465"/>
              <a:gd name="connsiteY536" fmla="*/ 1635419 h 1934496"/>
              <a:gd name="connsiteX537" fmla="*/ 7211286 w 9922465"/>
              <a:gd name="connsiteY537" fmla="*/ 1690610 h 1934496"/>
              <a:gd name="connsiteX538" fmla="*/ 7156094 w 9922465"/>
              <a:gd name="connsiteY538" fmla="*/ 1635419 h 1934496"/>
              <a:gd name="connsiteX539" fmla="*/ 7211286 w 9922465"/>
              <a:gd name="connsiteY539" fmla="*/ 1580228 h 1934496"/>
              <a:gd name="connsiteX540" fmla="*/ 7080993 w 9922465"/>
              <a:gd name="connsiteY540" fmla="*/ 1580228 h 1934496"/>
              <a:gd name="connsiteX541" fmla="*/ 7136185 w 9922465"/>
              <a:gd name="connsiteY541" fmla="*/ 1635419 h 1934496"/>
              <a:gd name="connsiteX542" fmla="*/ 7080993 w 9922465"/>
              <a:gd name="connsiteY542" fmla="*/ 1690610 h 1934496"/>
              <a:gd name="connsiteX543" fmla="*/ 7025801 w 9922465"/>
              <a:gd name="connsiteY543" fmla="*/ 1635419 h 1934496"/>
              <a:gd name="connsiteX544" fmla="*/ 7080993 w 9922465"/>
              <a:gd name="connsiteY544" fmla="*/ 1580228 h 1934496"/>
              <a:gd name="connsiteX545" fmla="*/ 6947357 w 9922465"/>
              <a:gd name="connsiteY545" fmla="*/ 1580228 h 1934496"/>
              <a:gd name="connsiteX546" fmla="*/ 7002549 w 9922465"/>
              <a:gd name="connsiteY546" fmla="*/ 1635419 h 1934496"/>
              <a:gd name="connsiteX547" fmla="*/ 6947357 w 9922465"/>
              <a:gd name="connsiteY547" fmla="*/ 1690610 h 1934496"/>
              <a:gd name="connsiteX548" fmla="*/ 6892165 w 9922465"/>
              <a:gd name="connsiteY548" fmla="*/ 1635419 h 1934496"/>
              <a:gd name="connsiteX549" fmla="*/ 6947357 w 9922465"/>
              <a:gd name="connsiteY549" fmla="*/ 1580228 h 1934496"/>
              <a:gd name="connsiteX550" fmla="*/ 6817063 w 9922465"/>
              <a:gd name="connsiteY550" fmla="*/ 1580228 h 1934496"/>
              <a:gd name="connsiteX551" fmla="*/ 6872255 w 9922465"/>
              <a:gd name="connsiteY551" fmla="*/ 1635419 h 1934496"/>
              <a:gd name="connsiteX552" fmla="*/ 6817063 w 9922465"/>
              <a:gd name="connsiteY552" fmla="*/ 1690610 h 1934496"/>
              <a:gd name="connsiteX553" fmla="*/ 6761871 w 9922465"/>
              <a:gd name="connsiteY553" fmla="*/ 1635419 h 1934496"/>
              <a:gd name="connsiteX554" fmla="*/ 6817063 w 9922465"/>
              <a:gd name="connsiteY554" fmla="*/ 1580228 h 1934496"/>
              <a:gd name="connsiteX555" fmla="*/ 6683431 w 9922465"/>
              <a:gd name="connsiteY555" fmla="*/ 1580228 h 1934496"/>
              <a:gd name="connsiteX556" fmla="*/ 6738623 w 9922465"/>
              <a:gd name="connsiteY556" fmla="*/ 1635419 h 1934496"/>
              <a:gd name="connsiteX557" fmla="*/ 6683431 w 9922465"/>
              <a:gd name="connsiteY557" fmla="*/ 1690610 h 1934496"/>
              <a:gd name="connsiteX558" fmla="*/ 6628239 w 9922465"/>
              <a:gd name="connsiteY558" fmla="*/ 1635419 h 1934496"/>
              <a:gd name="connsiteX559" fmla="*/ 6683431 w 9922465"/>
              <a:gd name="connsiteY559" fmla="*/ 1580228 h 1934496"/>
              <a:gd name="connsiteX560" fmla="*/ 6553137 w 9922465"/>
              <a:gd name="connsiteY560" fmla="*/ 1580228 h 1934496"/>
              <a:gd name="connsiteX561" fmla="*/ 6608329 w 9922465"/>
              <a:gd name="connsiteY561" fmla="*/ 1635419 h 1934496"/>
              <a:gd name="connsiteX562" fmla="*/ 6553137 w 9922465"/>
              <a:gd name="connsiteY562" fmla="*/ 1690610 h 1934496"/>
              <a:gd name="connsiteX563" fmla="*/ 6497945 w 9922465"/>
              <a:gd name="connsiteY563" fmla="*/ 1635419 h 1934496"/>
              <a:gd name="connsiteX564" fmla="*/ 6553137 w 9922465"/>
              <a:gd name="connsiteY564" fmla="*/ 1580228 h 1934496"/>
              <a:gd name="connsiteX565" fmla="*/ 6419502 w 9922465"/>
              <a:gd name="connsiteY565" fmla="*/ 1580228 h 1934496"/>
              <a:gd name="connsiteX566" fmla="*/ 6474694 w 9922465"/>
              <a:gd name="connsiteY566" fmla="*/ 1635419 h 1934496"/>
              <a:gd name="connsiteX567" fmla="*/ 6419502 w 9922465"/>
              <a:gd name="connsiteY567" fmla="*/ 1690610 h 1934496"/>
              <a:gd name="connsiteX568" fmla="*/ 6364310 w 9922465"/>
              <a:gd name="connsiteY568" fmla="*/ 1635419 h 1934496"/>
              <a:gd name="connsiteX569" fmla="*/ 6419502 w 9922465"/>
              <a:gd name="connsiteY569" fmla="*/ 1580228 h 1934496"/>
              <a:gd name="connsiteX570" fmla="*/ 6289208 w 9922465"/>
              <a:gd name="connsiteY570" fmla="*/ 1580228 h 1934496"/>
              <a:gd name="connsiteX571" fmla="*/ 6344400 w 9922465"/>
              <a:gd name="connsiteY571" fmla="*/ 1635419 h 1934496"/>
              <a:gd name="connsiteX572" fmla="*/ 6289208 w 9922465"/>
              <a:gd name="connsiteY572" fmla="*/ 1690610 h 1934496"/>
              <a:gd name="connsiteX573" fmla="*/ 6234016 w 9922465"/>
              <a:gd name="connsiteY573" fmla="*/ 1635419 h 1934496"/>
              <a:gd name="connsiteX574" fmla="*/ 6289208 w 9922465"/>
              <a:gd name="connsiteY574" fmla="*/ 1580228 h 1934496"/>
              <a:gd name="connsiteX575" fmla="*/ 6155572 w 9922465"/>
              <a:gd name="connsiteY575" fmla="*/ 1580228 h 1934496"/>
              <a:gd name="connsiteX576" fmla="*/ 6210764 w 9922465"/>
              <a:gd name="connsiteY576" fmla="*/ 1635419 h 1934496"/>
              <a:gd name="connsiteX577" fmla="*/ 6155572 w 9922465"/>
              <a:gd name="connsiteY577" fmla="*/ 1690610 h 1934496"/>
              <a:gd name="connsiteX578" fmla="*/ 6100380 w 9922465"/>
              <a:gd name="connsiteY578" fmla="*/ 1635419 h 1934496"/>
              <a:gd name="connsiteX579" fmla="*/ 6155572 w 9922465"/>
              <a:gd name="connsiteY579" fmla="*/ 1580228 h 1934496"/>
              <a:gd name="connsiteX580" fmla="*/ 6021938 w 9922465"/>
              <a:gd name="connsiteY580" fmla="*/ 1580228 h 1934496"/>
              <a:gd name="connsiteX581" fmla="*/ 6077130 w 9922465"/>
              <a:gd name="connsiteY581" fmla="*/ 1635419 h 1934496"/>
              <a:gd name="connsiteX582" fmla="*/ 6021938 w 9922465"/>
              <a:gd name="connsiteY582" fmla="*/ 1690610 h 1934496"/>
              <a:gd name="connsiteX583" fmla="*/ 5966746 w 9922465"/>
              <a:gd name="connsiteY583" fmla="*/ 1635419 h 1934496"/>
              <a:gd name="connsiteX584" fmla="*/ 6021938 w 9922465"/>
              <a:gd name="connsiteY584" fmla="*/ 1580228 h 1934496"/>
              <a:gd name="connsiteX585" fmla="*/ 5884964 w 9922465"/>
              <a:gd name="connsiteY585" fmla="*/ 1580228 h 1934496"/>
              <a:gd name="connsiteX586" fmla="*/ 5940156 w 9922465"/>
              <a:gd name="connsiteY586" fmla="*/ 1635419 h 1934496"/>
              <a:gd name="connsiteX587" fmla="*/ 5884964 w 9922465"/>
              <a:gd name="connsiteY587" fmla="*/ 1690610 h 1934496"/>
              <a:gd name="connsiteX588" fmla="*/ 5829772 w 9922465"/>
              <a:gd name="connsiteY588" fmla="*/ 1635419 h 1934496"/>
              <a:gd name="connsiteX589" fmla="*/ 5884964 w 9922465"/>
              <a:gd name="connsiteY589" fmla="*/ 1580228 h 1934496"/>
              <a:gd name="connsiteX590" fmla="*/ 5754670 w 9922465"/>
              <a:gd name="connsiteY590" fmla="*/ 1580228 h 1934496"/>
              <a:gd name="connsiteX591" fmla="*/ 5809862 w 9922465"/>
              <a:gd name="connsiteY591" fmla="*/ 1635419 h 1934496"/>
              <a:gd name="connsiteX592" fmla="*/ 5754670 w 9922465"/>
              <a:gd name="connsiteY592" fmla="*/ 1690610 h 1934496"/>
              <a:gd name="connsiteX593" fmla="*/ 5699478 w 9922465"/>
              <a:gd name="connsiteY593" fmla="*/ 1635419 h 1934496"/>
              <a:gd name="connsiteX594" fmla="*/ 5754670 w 9922465"/>
              <a:gd name="connsiteY594" fmla="*/ 1580228 h 1934496"/>
              <a:gd name="connsiteX595" fmla="*/ 5621035 w 9922465"/>
              <a:gd name="connsiteY595" fmla="*/ 1580228 h 1934496"/>
              <a:gd name="connsiteX596" fmla="*/ 5676227 w 9922465"/>
              <a:gd name="connsiteY596" fmla="*/ 1635419 h 1934496"/>
              <a:gd name="connsiteX597" fmla="*/ 5621035 w 9922465"/>
              <a:gd name="connsiteY597" fmla="*/ 1690610 h 1934496"/>
              <a:gd name="connsiteX598" fmla="*/ 5565843 w 9922465"/>
              <a:gd name="connsiteY598" fmla="*/ 1635419 h 1934496"/>
              <a:gd name="connsiteX599" fmla="*/ 5621035 w 9922465"/>
              <a:gd name="connsiteY599" fmla="*/ 1580228 h 1934496"/>
              <a:gd name="connsiteX600" fmla="*/ 5357105 w 9922465"/>
              <a:gd name="connsiteY600" fmla="*/ 1580228 h 1934496"/>
              <a:gd name="connsiteX601" fmla="*/ 5412297 w 9922465"/>
              <a:gd name="connsiteY601" fmla="*/ 1635419 h 1934496"/>
              <a:gd name="connsiteX602" fmla="*/ 5357105 w 9922465"/>
              <a:gd name="connsiteY602" fmla="*/ 1690610 h 1934496"/>
              <a:gd name="connsiteX603" fmla="*/ 5301913 w 9922465"/>
              <a:gd name="connsiteY603" fmla="*/ 1635419 h 1934496"/>
              <a:gd name="connsiteX604" fmla="*/ 5357105 w 9922465"/>
              <a:gd name="connsiteY604" fmla="*/ 1580228 h 1934496"/>
              <a:gd name="connsiteX605" fmla="*/ 5223473 w 9922465"/>
              <a:gd name="connsiteY605" fmla="*/ 1580228 h 1934496"/>
              <a:gd name="connsiteX606" fmla="*/ 5278665 w 9922465"/>
              <a:gd name="connsiteY606" fmla="*/ 1635419 h 1934496"/>
              <a:gd name="connsiteX607" fmla="*/ 5223473 w 9922465"/>
              <a:gd name="connsiteY607" fmla="*/ 1690610 h 1934496"/>
              <a:gd name="connsiteX608" fmla="*/ 5168281 w 9922465"/>
              <a:gd name="connsiteY608" fmla="*/ 1635419 h 1934496"/>
              <a:gd name="connsiteX609" fmla="*/ 5223473 w 9922465"/>
              <a:gd name="connsiteY609" fmla="*/ 1580228 h 1934496"/>
              <a:gd name="connsiteX610" fmla="*/ 5093178 w 9922465"/>
              <a:gd name="connsiteY610" fmla="*/ 1580228 h 1934496"/>
              <a:gd name="connsiteX611" fmla="*/ 5148370 w 9922465"/>
              <a:gd name="connsiteY611" fmla="*/ 1635419 h 1934496"/>
              <a:gd name="connsiteX612" fmla="*/ 5093178 w 9922465"/>
              <a:gd name="connsiteY612" fmla="*/ 1690610 h 1934496"/>
              <a:gd name="connsiteX613" fmla="*/ 5037986 w 9922465"/>
              <a:gd name="connsiteY613" fmla="*/ 1635419 h 1934496"/>
              <a:gd name="connsiteX614" fmla="*/ 5093178 w 9922465"/>
              <a:gd name="connsiteY614" fmla="*/ 1580228 h 1934496"/>
              <a:gd name="connsiteX615" fmla="*/ 4959543 w 9922465"/>
              <a:gd name="connsiteY615" fmla="*/ 1580228 h 1934496"/>
              <a:gd name="connsiteX616" fmla="*/ 5014735 w 9922465"/>
              <a:gd name="connsiteY616" fmla="*/ 1635419 h 1934496"/>
              <a:gd name="connsiteX617" fmla="*/ 4959543 w 9922465"/>
              <a:gd name="connsiteY617" fmla="*/ 1690610 h 1934496"/>
              <a:gd name="connsiteX618" fmla="*/ 4904351 w 9922465"/>
              <a:gd name="connsiteY618" fmla="*/ 1635419 h 1934496"/>
              <a:gd name="connsiteX619" fmla="*/ 4959543 w 9922465"/>
              <a:gd name="connsiteY619" fmla="*/ 1580228 h 1934496"/>
              <a:gd name="connsiteX620" fmla="*/ 4829251 w 9922465"/>
              <a:gd name="connsiteY620" fmla="*/ 1580228 h 1934496"/>
              <a:gd name="connsiteX621" fmla="*/ 4884443 w 9922465"/>
              <a:gd name="connsiteY621" fmla="*/ 1635419 h 1934496"/>
              <a:gd name="connsiteX622" fmla="*/ 4829251 w 9922465"/>
              <a:gd name="connsiteY622" fmla="*/ 1690610 h 1934496"/>
              <a:gd name="connsiteX623" fmla="*/ 4774059 w 9922465"/>
              <a:gd name="connsiteY623" fmla="*/ 1635419 h 1934496"/>
              <a:gd name="connsiteX624" fmla="*/ 4829251 w 9922465"/>
              <a:gd name="connsiteY624" fmla="*/ 1580228 h 1934496"/>
              <a:gd name="connsiteX625" fmla="*/ 4695613 w 9922465"/>
              <a:gd name="connsiteY625" fmla="*/ 1580228 h 1934496"/>
              <a:gd name="connsiteX626" fmla="*/ 4750805 w 9922465"/>
              <a:gd name="connsiteY626" fmla="*/ 1635419 h 1934496"/>
              <a:gd name="connsiteX627" fmla="*/ 4695613 w 9922465"/>
              <a:gd name="connsiteY627" fmla="*/ 1690610 h 1934496"/>
              <a:gd name="connsiteX628" fmla="*/ 4640421 w 9922465"/>
              <a:gd name="connsiteY628" fmla="*/ 1635419 h 1934496"/>
              <a:gd name="connsiteX629" fmla="*/ 4695613 w 9922465"/>
              <a:gd name="connsiteY629" fmla="*/ 1580228 h 1934496"/>
              <a:gd name="connsiteX630" fmla="*/ 4565322 w 9922465"/>
              <a:gd name="connsiteY630" fmla="*/ 1580228 h 1934496"/>
              <a:gd name="connsiteX631" fmla="*/ 4620514 w 9922465"/>
              <a:gd name="connsiteY631" fmla="*/ 1635419 h 1934496"/>
              <a:gd name="connsiteX632" fmla="*/ 4565322 w 9922465"/>
              <a:gd name="connsiteY632" fmla="*/ 1690610 h 1934496"/>
              <a:gd name="connsiteX633" fmla="*/ 4510130 w 9922465"/>
              <a:gd name="connsiteY633" fmla="*/ 1635419 h 1934496"/>
              <a:gd name="connsiteX634" fmla="*/ 4565322 w 9922465"/>
              <a:gd name="connsiteY634" fmla="*/ 1580228 h 1934496"/>
              <a:gd name="connsiteX635" fmla="*/ 3098681 w 9922465"/>
              <a:gd name="connsiteY635" fmla="*/ 1580228 h 1934496"/>
              <a:gd name="connsiteX636" fmla="*/ 3153873 w 9922465"/>
              <a:gd name="connsiteY636" fmla="*/ 1635419 h 1934496"/>
              <a:gd name="connsiteX637" fmla="*/ 3098681 w 9922465"/>
              <a:gd name="connsiteY637" fmla="*/ 1690610 h 1934496"/>
              <a:gd name="connsiteX638" fmla="*/ 3043489 w 9922465"/>
              <a:gd name="connsiteY638" fmla="*/ 1635419 h 1934496"/>
              <a:gd name="connsiteX639" fmla="*/ 3098681 w 9922465"/>
              <a:gd name="connsiteY639" fmla="*/ 1580228 h 1934496"/>
              <a:gd name="connsiteX640" fmla="*/ 2971729 w 9922465"/>
              <a:gd name="connsiteY640" fmla="*/ 1580228 h 1934496"/>
              <a:gd name="connsiteX641" fmla="*/ 3026921 w 9922465"/>
              <a:gd name="connsiteY641" fmla="*/ 1635419 h 1934496"/>
              <a:gd name="connsiteX642" fmla="*/ 2971729 w 9922465"/>
              <a:gd name="connsiteY642" fmla="*/ 1690610 h 1934496"/>
              <a:gd name="connsiteX643" fmla="*/ 2916537 w 9922465"/>
              <a:gd name="connsiteY643" fmla="*/ 1635419 h 1934496"/>
              <a:gd name="connsiteX644" fmla="*/ 2971729 w 9922465"/>
              <a:gd name="connsiteY644" fmla="*/ 1580228 h 1934496"/>
              <a:gd name="connsiteX645" fmla="*/ 2834783 w 9922465"/>
              <a:gd name="connsiteY645" fmla="*/ 1580228 h 1934496"/>
              <a:gd name="connsiteX646" fmla="*/ 2889974 w 9922465"/>
              <a:gd name="connsiteY646" fmla="*/ 1635419 h 1934496"/>
              <a:gd name="connsiteX647" fmla="*/ 2834783 w 9922465"/>
              <a:gd name="connsiteY647" fmla="*/ 1690610 h 1934496"/>
              <a:gd name="connsiteX648" fmla="*/ 2779590 w 9922465"/>
              <a:gd name="connsiteY648" fmla="*/ 1635419 h 1934496"/>
              <a:gd name="connsiteX649" fmla="*/ 2834783 w 9922465"/>
              <a:gd name="connsiteY649" fmla="*/ 1580228 h 1934496"/>
              <a:gd name="connsiteX650" fmla="*/ 2707828 w 9922465"/>
              <a:gd name="connsiteY650" fmla="*/ 1580228 h 1934496"/>
              <a:gd name="connsiteX651" fmla="*/ 2763021 w 9922465"/>
              <a:gd name="connsiteY651" fmla="*/ 1635419 h 1934496"/>
              <a:gd name="connsiteX652" fmla="*/ 2707828 w 9922465"/>
              <a:gd name="connsiteY652" fmla="*/ 1690610 h 1934496"/>
              <a:gd name="connsiteX653" fmla="*/ 2652636 w 9922465"/>
              <a:gd name="connsiteY653" fmla="*/ 1635419 h 1934496"/>
              <a:gd name="connsiteX654" fmla="*/ 2707828 w 9922465"/>
              <a:gd name="connsiteY654" fmla="*/ 1580228 h 1934496"/>
              <a:gd name="connsiteX655" fmla="*/ 2570854 w 9922465"/>
              <a:gd name="connsiteY655" fmla="*/ 1580228 h 1934496"/>
              <a:gd name="connsiteX656" fmla="*/ 2626046 w 9922465"/>
              <a:gd name="connsiteY656" fmla="*/ 1635419 h 1934496"/>
              <a:gd name="connsiteX657" fmla="*/ 2570854 w 9922465"/>
              <a:gd name="connsiteY657" fmla="*/ 1690610 h 1934496"/>
              <a:gd name="connsiteX658" fmla="*/ 2515662 w 9922465"/>
              <a:gd name="connsiteY658" fmla="*/ 1635419 h 1934496"/>
              <a:gd name="connsiteX659" fmla="*/ 2570854 w 9922465"/>
              <a:gd name="connsiteY659" fmla="*/ 1580228 h 1934496"/>
              <a:gd name="connsiteX660" fmla="*/ 2437218 w 9922465"/>
              <a:gd name="connsiteY660" fmla="*/ 1580228 h 1934496"/>
              <a:gd name="connsiteX661" fmla="*/ 2492409 w 9922465"/>
              <a:gd name="connsiteY661" fmla="*/ 1635419 h 1934496"/>
              <a:gd name="connsiteX662" fmla="*/ 2437218 w 9922465"/>
              <a:gd name="connsiteY662" fmla="*/ 1690610 h 1934496"/>
              <a:gd name="connsiteX663" fmla="*/ 2382026 w 9922465"/>
              <a:gd name="connsiteY663" fmla="*/ 1635419 h 1934496"/>
              <a:gd name="connsiteX664" fmla="*/ 2437218 w 9922465"/>
              <a:gd name="connsiteY664" fmla="*/ 1580228 h 1934496"/>
              <a:gd name="connsiteX665" fmla="*/ 2303586 w 9922465"/>
              <a:gd name="connsiteY665" fmla="*/ 1580228 h 1934496"/>
              <a:gd name="connsiteX666" fmla="*/ 2358778 w 9922465"/>
              <a:gd name="connsiteY666" fmla="*/ 1635419 h 1934496"/>
              <a:gd name="connsiteX667" fmla="*/ 2303586 w 9922465"/>
              <a:gd name="connsiteY667" fmla="*/ 1690610 h 1934496"/>
              <a:gd name="connsiteX668" fmla="*/ 2248394 w 9922465"/>
              <a:gd name="connsiteY668" fmla="*/ 1635419 h 1934496"/>
              <a:gd name="connsiteX669" fmla="*/ 2303586 w 9922465"/>
              <a:gd name="connsiteY669" fmla="*/ 1580228 h 1934496"/>
              <a:gd name="connsiteX670" fmla="*/ 2173293 w 9922465"/>
              <a:gd name="connsiteY670" fmla="*/ 1580228 h 1934496"/>
              <a:gd name="connsiteX671" fmla="*/ 2228486 w 9922465"/>
              <a:gd name="connsiteY671" fmla="*/ 1635419 h 1934496"/>
              <a:gd name="connsiteX672" fmla="*/ 2173293 w 9922465"/>
              <a:gd name="connsiteY672" fmla="*/ 1690610 h 1934496"/>
              <a:gd name="connsiteX673" fmla="*/ 2118101 w 9922465"/>
              <a:gd name="connsiteY673" fmla="*/ 1635419 h 1934496"/>
              <a:gd name="connsiteX674" fmla="*/ 2173293 w 9922465"/>
              <a:gd name="connsiteY674" fmla="*/ 1580228 h 1934496"/>
              <a:gd name="connsiteX675" fmla="*/ 2039658 w 9922465"/>
              <a:gd name="connsiteY675" fmla="*/ 1580228 h 1934496"/>
              <a:gd name="connsiteX676" fmla="*/ 2094851 w 9922465"/>
              <a:gd name="connsiteY676" fmla="*/ 1635419 h 1934496"/>
              <a:gd name="connsiteX677" fmla="*/ 2039658 w 9922465"/>
              <a:gd name="connsiteY677" fmla="*/ 1690610 h 1934496"/>
              <a:gd name="connsiteX678" fmla="*/ 1984465 w 9922465"/>
              <a:gd name="connsiteY678" fmla="*/ 1635419 h 1934496"/>
              <a:gd name="connsiteX679" fmla="*/ 2039658 w 9922465"/>
              <a:gd name="connsiteY679" fmla="*/ 1580228 h 1934496"/>
              <a:gd name="connsiteX680" fmla="*/ 9068807 w 9922465"/>
              <a:gd name="connsiteY680" fmla="*/ 1459958 h 1934496"/>
              <a:gd name="connsiteX681" fmla="*/ 9123999 w 9922465"/>
              <a:gd name="connsiteY681" fmla="*/ 1515149 h 1934496"/>
              <a:gd name="connsiteX682" fmla="*/ 9068807 w 9922465"/>
              <a:gd name="connsiteY682" fmla="*/ 1570340 h 1934496"/>
              <a:gd name="connsiteX683" fmla="*/ 9013615 w 9922465"/>
              <a:gd name="connsiteY683" fmla="*/ 1515149 h 1934496"/>
              <a:gd name="connsiteX684" fmla="*/ 9068807 w 9922465"/>
              <a:gd name="connsiteY684" fmla="*/ 1459958 h 1934496"/>
              <a:gd name="connsiteX685" fmla="*/ 8671244 w 9922465"/>
              <a:gd name="connsiteY685" fmla="*/ 1459958 h 1934496"/>
              <a:gd name="connsiteX686" fmla="*/ 8726436 w 9922465"/>
              <a:gd name="connsiteY686" fmla="*/ 1515149 h 1934496"/>
              <a:gd name="connsiteX687" fmla="*/ 8671244 w 9922465"/>
              <a:gd name="connsiteY687" fmla="*/ 1570340 h 1934496"/>
              <a:gd name="connsiteX688" fmla="*/ 8616052 w 9922465"/>
              <a:gd name="connsiteY688" fmla="*/ 1515149 h 1934496"/>
              <a:gd name="connsiteX689" fmla="*/ 8671244 w 9922465"/>
              <a:gd name="connsiteY689" fmla="*/ 1459958 h 1934496"/>
              <a:gd name="connsiteX690" fmla="*/ 8537612 w 9922465"/>
              <a:gd name="connsiteY690" fmla="*/ 1459958 h 1934496"/>
              <a:gd name="connsiteX691" fmla="*/ 8592804 w 9922465"/>
              <a:gd name="connsiteY691" fmla="*/ 1515149 h 1934496"/>
              <a:gd name="connsiteX692" fmla="*/ 8537612 w 9922465"/>
              <a:gd name="connsiteY692" fmla="*/ 1570340 h 1934496"/>
              <a:gd name="connsiteX693" fmla="*/ 8482420 w 9922465"/>
              <a:gd name="connsiteY693" fmla="*/ 1515149 h 1934496"/>
              <a:gd name="connsiteX694" fmla="*/ 8537612 w 9922465"/>
              <a:gd name="connsiteY694" fmla="*/ 1459958 h 1934496"/>
              <a:gd name="connsiteX695" fmla="*/ 8407316 w 9922465"/>
              <a:gd name="connsiteY695" fmla="*/ 1459958 h 1934496"/>
              <a:gd name="connsiteX696" fmla="*/ 8462508 w 9922465"/>
              <a:gd name="connsiteY696" fmla="*/ 1515149 h 1934496"/>
              <a:gd name="connsiteX697" fmla="*/ 8407316 w 9922465"/>
              <a:gd name="connsiteY697" fmla="*/ 1570340 h 1934496"/>
              <a:gd name="connsiteX698" fmla="*/ 8352124 w 9922465"/>
              <a:gd name="connsiteY698" fmla="*/ 1515149 h 1934496"/>
              <a:gd name="connsiteX699" fmla="*/ 8407316 w 9922465"/>
              <a:gd name="connsiteY699" fmla="*/ 1459958 h 1934496"/>
              <a:gd name="connsiteX700" fmla="*/ 8273682 w 9922465"/>
              <a:gd name="connsiteY700" fmla="*/ 1459958 h 1934496"/>
              <a:gd name="connsiteX701" fmla="*/ 8328874 w 9922465"/>
              <a:gd name="connsiteY701" fmla="*/ 1515149 h 1934496"/>
              <a:gd name="connsiteX702" fmla="*/ 8273682 w 9922465"/>
              <a:gd name="connsiteY702" fmla="*/ 1570340 h 1934496"/>
              <a:gd name="connsiteX703" fmla="*/ 8218490 w 9922465"/>
              <a:gd name="connsiteY703" fmla="*/ 1515149 h 1934496"/>
              <a:gd name="connsiteX704" fmla="*/ 8273682 w 9922465"/>
              <a:gd name="connsiteY704" fmla="*/ 1459958 h 1934496"/>
              <a:gd name="connsiteX705" fmla="*/ 8143388 w 9922465"/>
              <a:gd name="connsiteY705" fmla="*/ 1459958 h 1934496"/>
              <a:gd name="connsiteX706" fmla="*/ 8198580 w 9922465"/>
              <a:gd name="connsiteY706" fmla="*/ 1515149 h 1934496"/>
              <a:gd name="connsiteX707" fmla="*/ 8143388 w 9922465"/>
              <a:gd name="connsiteY707" fmla="*/ 1570340 h 1934496"/>
              <a:gd name="connsiteX708" fmla="*/ 8088196 w 9922465"/>
              <a:gd name="connsiteY708" fmla="*/ 1515149 h 1934496"/>
              <a:gd name="connsiteX709" fmla="*/ 8143388 w 9922465"/>
              <a:gd name="connsiteY709" fmla="*/ 1459958 h 1934496"/>
              <a:gd name="connsiteX710" fmla="*/ 8009753 w 9922465"/>
              <a:gd name="connsiteY710" fmla="*/ 1459958 h 1934496"/>
              <a:gd name="connsiteX711" fmla="*/ 8064945 w 9922465"/>
              <a:gd name="connsiteY711" fmla="*/ 1515149 h 1934496"/>
              <a:gd name="connsiteX712" fmla="*/ 8009753 w 9922465"/>
              <a:gd name="connsiteY712" fmla="*/ 1570340 h 1934496"/>
              <a:gd name="connsiteX713" fmla="*/ 7954561 w 9922465"/>
              <a:gd name="connsiteY713" fmla="*/ 1515149 h 1934496"/>
              <a:gd name="connsiteX714" fmla="*/ 8009753 w 9922465"/>
              <a:gd name="connsiteY714" fmla="*/ 1459958 h 1934496"/>
              <a:gd name="connsiteX715" fmla="*/ 7876118 w 9922465"/>
              <a:gd name="connsiteY715" fmla="*/ 1459958 h 1934496"/>
              <a:gd name="connsiteX716" fmla="*/ 7931310 w 9922465"/>
              <a:gd name="connsiteY716" fmla="*/ 1515149 h 1934496"/>
              <a:gd name="connsiteX717" fmla="*/ 7876118 w 9922465"/>
              <a:gd name="connsiteY717" fmla="*/ 1570340 h 1934496"/>
              <a:gd name="connsiteX718" fmla="*/ 7820926 w 9922465"/>
              <a:gd name="connsiteY718" fmla="*/ 1515149 h 1934496"/>
              <a:gd name="connsiteX719" fmla="*/ 7876118 w 9922465"/>
              <a:gd name="connsiteY719" fmla="*/ 1459958 h 1934496"/>
              <a:gd name="connsiteX720" fmla="*/ 7745823 w 9922465"/>
              <a:gd name="connsiteY720" fmla="*/ 1459958 h 1934496"/>
              <a:gd name="connsiteX721" fmla="*/ 7801015 w 9922465"/>
              <a:gd name="connsiteY721" fmla="*/ 1515149 h 1934496"/>
              <a:gd name="connsiteX722" fmla="*/ 7745823 w 9922465"/>
              <a:gd name="connsiteY722" fmla="*/ 1570340 h 1934496"/>
              <a:gd name="connsiteX723" fmla="*/ 7690631 w 9922465"/>
              <a:gd name="connsiteY723" fmla="*/ 1515149 h 1934496"/>
              <a:gd name="connsiteX724" fmla="*/ 7745823 w 9922465"/>
              <a:gd name="connsiteY724" fmla="*/ 1459958 h 1934496"/>
              <a:gd name="connsiteX725" fmla="*/ 7608849 w 9922465"/>
              <a:gd name="connsiteY725" fmla="*/ 1459958 h 1934496"/>
              <a:gd name="connsiteX726" fmla="*/ 7664041 w 9922465"/>
              <a:gd name="connsiteY726" fmla="*/ 1515149 h 1934496"/>
              <a:gd name="connsiteX727" fmla="*/ 7608849 w 9922465"/>
              <a:gd name="connsiteY727" fmla="*/ 1570340 h 1934496"/>
              <a:gd name="connsiteX728" fmla="*/ 7553657 w 9922465"/>
              <a:gd name="connsiteY728" fmla="*/ 1515149 h 1934496"/>
              <a:gd name="connsiteX729" fmla="*/ 7608849 w 9922465"/>
              <a:gd name="connsiteY729" fmla="*/ 1459958 h 1934496"/>
              <a:gd name="connsiteX730" fmla="*/ 7481897 w 9922465"/>
              <a:gd name="connsiteY730" fmla="*/ 1459958 h 1934496"/>
              <a:gd name="connsiteX731" fmla="*/ 7537089 w 9922465"/>
              <a:gd name="connsiteY731" fmla="*/ 1515149 h 1934496"/>
              <a:gd name="connsiteX732" fmla="*/ 7481897 w 9922465"/>
              <a:gd name="connsiteY732" fmla="*/ 1570340 h 1934496"/>
              <a:gd name="connsiteX733" fmla="*/ 7426705 w 9922465"/>
              <a:gd name="connsiteY733" fmla="*/ 1515149 h 1934496"/>
              <a:gd name="connsiteX734" fmla="*/ 7481897 w 9922465"/>
              <a:gd name="connsiteY734" fmla="*/ 1459958 h 1934496"/>
              <a:gd name="connsiteX735" fmla="*/ 7341579 w 9922465"/>
              <a:gd name="connsiteY735" fmla="*/ 1459958 h 1934496"/>
              <a:gd name="connsiteX736" fmla="*/ 7396771 w 9922465"/>
              <a:gd name="connsiteY736" fmla="*/ 1515149 h 1934496"/>
              <a:gd name="connsiteX737" fmla="*/ 7341579 w 9922465"/>
              <a:gd name="connsiteY737" fmla="*/ 1570340 h 1934496"/>
              <a:gd name="connsiteX738" fmla="*/ 7286387 w 9922465"/>
              <a:gd name="connsiteY738" fmla="*/ 1515149 h 1934496"/>
              <a:gd name="connsiteX739" fmla="*/ 7341579 w 9922465"/>
              <a:gd name="connsiteY739" fmla="*/ 1459958 h 1934496"/>
              <a:gd name="connsiteX740" fmla="*/ 7211286 w 9922465"/>
              <a:gd name="connsiteY740" fmla="*/ 1459958 h 1934496"/>
              <a:gd name="connsiteX741" fmla="*/ 7266478 w 9922465"/>
              <a:gd name="connsiteY741" fmla="*/ 1515149 h 1934496"/>
              <a:gd name="connsiteX742" fmla="*/ 7211286 w 9922465"/>
              <a:gd name="connsiteY742" fmla="*/ 1570340 h 1934496"/>
              <a:gd name="connsiteX743" fmla="*/ 7156094 w 9922465"/>
              <a:gd name="connsiteY743" fmla="*/ 1515149 h 1934496"/>
              <a:gd name="connsiteX744" fmla="*/ 7211286 w 9922465"/>
              <a:gd name="connsiteY744" fmla="*/ 1459958 h 1934496"/>
              <a:gd name="connsiteX745" fmla="*/ 7080993 w 9922465"/>
              <a:gd name="connsiteY745" fmla="*/ 1459958 h 1934496"/>
              <a:gd name="connsiteX746" fmla="*/ 7136185 w 9922465"/>
              <a:gd name="connsiteY746" fmla="*/ 1515149 h 1934496"/>
              <a:gd name="connsiteX747" fmla="*/ 7080993 w 9922465"/>
              <a:gd name="connsiteY747" fmla="*/ 1570340 h 1934496"/>
              <a:gd name="connsiteX748" fmla="*/ 7025801 w 9922465"/>
              <a:gd name="connsiteY748" fmla="*/ 1515149 h 1934496"/>
              <a:gd name="connsiteX749" fmla="*/ 7080993 w 9922465"/>
              <a:gd name="connsiteY749" fmla="*/ 1459958 h 1934496"/>
              <a:gd name="connsiteX750" fmla="*/ 6947357 w 9922465"/>
              <a:gd name="connsiteY750" fmla="*/ 1459958 h 1934496"/>
              <a:gd name="connsiteX751" fmla="*/ 7002549 w 9922465"/>
              <a:gd name="connsiteY751" fmla="*/ 1515149 h 1934496"/>
              <a:gd name="connsiteX752" fmla="*/ 6947357 w 9922465"/>
              <a:gd name="connsiteY752" fmla="*/ 1570340 h 1934496"/>
              <a:gd name="connsiteX753" fmla="*/ 6892165 w 9922465"/>
              <a:gd name="connsiteY753" fmla="*/ 1515149 h 1934496"/>
              <a:gd name="connsiteX754" fmla="*/ 6947357 w 9922465"/>
              <a:gd name="connsiteY754" fmla="*/ 1459958 h 1934496"/>
              <a:gd name="connsiteX755" fmla="*/ 6817064 w 9922465"/>
              <a:gd name="connsiteY755" fmla="*/ 1459958 h 1934496"/>
              <a:gd name="connsiteX756" fmla="*/ 6872256 w 9922465"/>
              <a:gd name="connsiteY756" fmla="*/ 1515149 h 1934496"/>
              <a:gd name="connsiteX757" fmla="*/ 6817064 w 9922465"/>
              <a:gd name="connsiteY757" fmla="*/ 1570340 h 1934496"/>
              <a:gd name="connsiteX758" fmla="*/ 6761872 w 9922465"/>
              <a:gd name="connsiteY758" fmla="*/ 1515149 h 1934496"/>
              <a:gd name="connsiteX759" fmla="*/ 6817064 w 9922465"/>
              <a:gd name="connsiteY759" fmla="*/ 1459958 h 1934496"/>
              <a:gd name="connsiteX760" fmla="*/ 6683431 w 9922465"/>
              <a:gd name="connsiteY760" fmla="*/ 1459958 h 1934496"/>
              <a:gd name="connsiteX761" fmla="*/ 6738623 w 9922465"/>
              <a:gd name="connsiteY761" fmla="*/ 1515149 h 1934496"/>
              <a:gd name="connsiteX762" fmla="*/ 6683431 w 9922465"/>
              <a:gd name="connsiteY762" fmla="*/ 1570340 h 1934496"/>
              <a:gd name="connsiteX763" fmla="*/ 6628239 w 9922465"/>
              <a:gd name="connsiteY763" fmla="*/ 1515149 h 1934496"/>
              <a:gd name="connsiteX764" fmla="*/ 6683431 w 9922465"/>
              <a:gd name="connsiteY764" fmla="*/ 1459958 h 1934496"/>
              <a:gd name="connsiteX765" fmla="*/ 6553137 w 9922465"/>
              <a:gd name="connsiteY765" fmla="*/ 1459958 h 1934496"/>
              <a:gd name="connsiteX766" fmla="*/ 6608329 w 9922465"/>
              <a:gd name="connsiteY766" fmla="*/ 1515149 h 1934496"/>
              <a:gd name="connsiteX767" fmla="*/ 6553137 w 9922465"/>
              <a:gd name="connsiteY767" fmla="*/ 1570340 h 1934496"/>
              <a:gd name="connsiteX768" fmla="*/ 6497945 w 9922465"/>
              <a:gd name="connsiteY768" fmla="*/ 1515149 h 1934496"/>
              <a:gd name="connsiteX769" fmla="*/ 6553137 w 9922465"/>
              <a:gd name="connsiteY769" fmla="*/ 1459958 h 1934496"/>
              <a:gd name="connsiteX770" fmla="*/ 6419502 w 9922465"/>
              <a:gd name="connsiteY770" fmla="*/ 1459958 h 1934496"/>
              <a:gd name="connsiteX771" fmla="*/ 6474694 w 9922465"/>
              <a:gd name="connsiteY771" fmla="*/ 1515149 h 1934496"/>
              <a:gd name="connsiteX772" fmla="*/ 6419502 w 9922465"/>
              <a:gd name="connsiteY772" fmla="*/ 1570340 h 1934496"/>
              <a:gd name="connsiteX773" fmla="*/ 6364310 w 9922465"/>
              <a:gd name="connsiteY773" fmla="*/ 1515149 h 1934496"/>
              <a:gd name="connsiteX774" fmla="*/ 6419502 w 9922465"/>
              <a:gd name="connsiteY774" fmla="*/ 1459958 h 1934496"/>
              <a:gd name="connsiteX775" fmla="*/ 6289207 w 9922465"/>
              <a:gd name="connsiteY775" fmla="*/ 1459958 h 1934496"/>
              <a:gd name="connsiteX776" fmla="*/ 6344399 w 9922465"/>
              <a:gd name="connsiteY776" fmla="*/ 1515149 h 1934496"/>
              <a:gd name="connsiteX777" fmla="*/ 6289207 w 9922465"/>
              <a:gd name="connsiteY777" fmla="*/ 1570340 h 1934496"/>
              <a:gd name="connsiteX778" fmla="*/ 6234015 w 9922465"/>
              <a:gd name="connsiteY778" fmla="*/ 1515149 h 1934496"/>
              <a:gd name="connsiteX779" fmla="*/ 6289207 w 9922465"/>
              <a:gd name="connsiteY779" fmla="*/ 1459958 h 1934496"/>
              <a:gd name="connsiteX780" fmla="*/ 6155573 w 9922465"/>
              <a:gd name="connsiteY780" fmla="*/ 1459958 h 1934496"/>
              <a:gd name="connsiteX781" fmla="*/ 6210765 w 9922465"/>
              <a:gd name="connsiteY781" fmla="*/ 1515149 h 1934496"/>
              <a:gd name="connsiteX782" fmla="*/ 6155573 w 9922465"/>
              <a:gd name="connsiteY782" fmla="*/ 1570340 h 1934496"/>
              <a:gd name="connsiteX783" fmla="*/ 6100381 w 9922465"/>
              <a:gd name="connsiteY783" fmla="*/ 1515149 h 1934496"/>
              <a:gd name="connsiteX784" fmla="*/ 6155573 w 9922465"/>
              <a:gd name="connsiteY784" fmla="*/ 1459958 h 1934496"/>
              <a:gd name="connsiteX785" fmla="*/ 6021939 w 9922465"/>
              <a:gd name="connsiteY785" fmla="*/ 1459958 h 1934496"/>
              <a:gd name="connsiteX786" fmla="*/ 6077131 w 9922465"/>
              <a:gd name="connsiteY786" fmla="*/ 1515149 h 1934496"/>
              <a:gd name="connsiteX787" fmla="*/ 6021939 w 9922465"/>
              <a:gd name="connsiteY787" fmla="*/ 1570340 h 1934496"/>
              <a:gd name="connsiteX788" fmla="*/ 5966747 w 9922465"/>
              <a:gd name="connsiteY788" fmla="*/ 1515149 h 1934496"/>
              <a:gd name="connsiteX789" fmla="*/ 6021939 w 9922465"/>
              <a:gd name="connsiteY789" fmla="*/ 1459958 h 1934496"/>
              <a:gd name="connsiteX790" fmla="*/ 5884964 w 9922465"/>
              <a:gd name="connsiteY790" fmla="*/ 1459958 h 1934496"/>
              <a:gd name="connsiteX791" fmla="*/ 5940156 w 9922465"/>
              <a:gd name="connsiteY791" fmla="*/ 1515149 h 1934496"/>
              <a:gd name="connsiteX792" fmla="*/ 5884964 w 9922465"/>
              <a:gd name="connsiteY792" fmla="*/ 1570340 h 1934496"/>
              <a:gd name="connsiteX793" fmla="*/ 5829772 w 9922465"/>
              <a:gd name="connsiteY793" fmla="*/ 1515149 h 1934496"/>
              <a:gd name="connsiteX794" fmla="*/ 5884964 w 9922465"/>
              <a:gd name="connsiteY794" fmla="*/ 1459958 h 1934496"/>
              <a:gd name="connsiteX795" fmla="*/ 5754668 w 9922465"/>
              <a:gd name="connsiteY795" fmla="*/ 1459958 h 1934496"/>
              <a:gd name="connsiteX796" fmla="*/ 5809860 w 9922465"/>
              <a:gd name="connsiteY796" fmla="*/ 1515149 h 1934496"/>
              <a:gd name="connsiteX797" fmla="*/ 5754668 w 9922465"/>
              <a:gd name="connsiteY797" fmla="*/ 1570340 h 1934496"/>
              <a:gd name="connsiteX798" fmla="*/ 5699476 w 9922465"/>
              <a:gd name="connsiteY798" fmla="*/ 1515149 h 1934496"/>
              <a:gd name="connsiteX799" fmla="*/ 5754668 w 9922465"/>
              <a:gd name="connsiteY799" fmla="*/ 1459958 h 1934496"/>
              <a:gd name="connsiteX800" fmla="*/ 5621034 w 9922465"/>
              <a:gd name="connsiteY800" fmla="*/ 1459958 h 1934496"/>
              <a:gd name="connsiteX801" fmla="*/ 5676226 w 9922465"/>
              <a:gd name="connsiteY801" fmla="*/ 1515149 h 1934496"/>
              <a:gd name="connsiteX802" fmla="*/ 5621034 w 9922465"/>
              <a:gd name="connsiteY802" fmla="*/ 1570340 h 1934496"/>
              <a:gd name="connsiteX803" fmla="*/ 5565842 w 9922465"/>
              <a:gd name="connsiteY803" fmla="*/ 1515149 h 1934496"/>
              <a:gd name="connsiteX804" fmla="*/ 5621034 w 9922465"/>
              <a:gd name="connsiteY804" fmla="*/ 1459958 h 1934496"/>
              <a:gd name="connsiteX805" fmla="*/ 5487399 w 9922465"/>
              <a:gd name="connsiteY805" fmla="*/ 1459958 h 1934496"/>
              <a:gd name="connsiteX806" fmla="*/ 5542591 w 9922465"/>
              <a:gd name="connsiteY806" fmla="*/ 1515149 h 1934496"/>
              <a:gd name="connsiteX807" fmla="*/ 5487399 w 9922465"/>
              <a:gd name="connsiteY807" fmla="*/ 1570340 h 1934496"/>
              <a:gd name="connsiteX808" fmla="*/ 5432207 w 9922465"/>
              <a:gd name="connsiteY808" fmla="*/ 1515149 h 1934496"/>
              <a:gd name="connsiteX809" fmla="*/ 5487399 w 9922465"/>
              <a:gd name="connsiteY809" fmla="*/ 1459958 h 1934496"/>
              <a:gd name="connsiteX810" fmla="*/ 5357106 w 9922465"/>
              <a:gd name="connsiteY810" fmla="*/ 1459958 h 1934496"/>
              <a:gd name="connsiteX811" fmla="*/ 5412298 w 9922465"/>
              <a:gd name="connsiteY811" fmla="*/ 1515149 h 1934496"/>
              <a:gd name="connsiteX812" fmla="*/ 5357106 w 9922465"/>
              <a:gd name="connsiteY812" fmla="*/ 1570340 h 1934496"/>
              <a:gd name="connsiteX813" fmla="*/ 5301914 w 9922465"/>
              <a:gd name="connsiteY813" fmla="*/ 1515149 h 1934496"/>
              <a:gd name="connsiteX814" fmla="*/ 5357106 w 9922465"/>
              <a:gd name="connsiteY814" fmla="*/ 1459958 h 1934496"/>
              <a:gd name="connsiteX815" fmla="*/ 5223473 w 9922465"/>
              <a:gd name="connsiteY815" fmla="*/ 1459958 h 1934496"/>
              <a:gd name="connsiteX816" fmla="*/ 5278665 w 9922465"/>
              <a:gd name="connsiteY816" fmla="*/ 1515149 h 1934496"/>
              <a:gd name="connsiteX817" fmla="*/ 5223473 w 9922465"/>
              <a:gd name="connsiteY817" fmla="*/ 1570340 h 1934496"/>
              <a:gd name="connsiteX818" fmla="*/ 5168281 w 9922465"/>
              <a:gd name="connsiteY818" fmla="*/ 1515149 h 1934496"/>
              <a:gd name="connsiteX819" fmla="*/ 5223473 w 9922465"/>
              <a:gd name="connsiteY819" fmla="*/ 1459958 h 1934496"/>
              <a:gd name="connsiteX820" fmla="*/ 5093178 w 9922465"/>
              <a:gd name="connsiteY820" fmla="*/ 1459958 h 1934496"/>
              <a:gd name="connsiteX821" fmla="*/ 5148370 w 9922465"/>
              <a:gd name="connsiteY821" fmla="*/ 1515149 h 1934496"/>
              <a:gd name="connsiteX822" fmla="*/ 5093178 w 9922465"/>
              <a:gd name="connsiteY822" fmla="*/ 1570340 h 1934496"/>
              <a:gd name="connsiteX823" fmla="*/ 5037986 w 9922465"/>
              <a:gd name="connsiteY823" fmla="*/ 1515149 h 1934496"/>
              <a:gd name="connsiteX824" fmla="*/ 5093178 w 9922465"/>
              <a:gd name="connsiteY824" fmla="*/ 1459958 h 1934496"/>
              <a:gd name="connsiteX825" fmla="*/ 4959542 w 9922465"/>
              <a:gd name="connsiteY825" fmla="*/ 1459958 h 1934496"/>
              <a:gd name="connsiteX826" fmla="*/ 5014734 w 9922465"/>
              <a:gd name="connsiteY826" fmla="*/ 1515149 h 1934496"/>
              <a:gd name="connsiteX827" fmla="*/ 4959542 w 9922465"/>
              <a:gd name="connsiteY827" fmla="*/ 1570340 h 1934496"/>
              <a:gd name="connsiteX828" fmla="*/ 4904350 w 9922465"/>
              <a:gd name="connsiteY828" fmla="*/ 1515149 h 1934496"/>
              <a:gd name="connsiteX829" fmla="*/ 4959542 w 9922465"/>
              <a:gd name="connsiteY829" fmla="*/ 1459958 h 1934496"/>
              <a:gd name="connsiteX830" fmla="*/ 4829250 w 9922465"/>
              <a:gd name="connsiteY830" fmla="*/ 1459958 h 1934496"/>
              <a:gd name="connsiteX831" fmla="*/ 4884442 w 9922465"/>
              <a:gd name="connsiteY831" fmla="*/ 1515149 h 1934496"/>
              <a:gd name="connsiteX832" fmla="*/ 4829250 w 9922465"/>
              <a:gd name="connsiteY832" fmla="*/ 1570340 h 1934496"/>
              <a:gd name="connsiteX833" fmla="*/ 4774058 w 9922465"/>
              <a:gd name="connsiteY833" fmla="*/ 1515149 h 1934496"/>
              <a:gd name="connsiteX834" fmla="*/ 4829250 w 9922465"/>
              <a:gd name="connsiteY834" fmla="*/ 1459958 h 1934496"/>
              <a:gd name="connsiteX835" fmla="*/ 4695614 w 9922465"/>
              <a:gd name="connsiteY835" fmla="*/ 1459958 h 1934496"/>
              <a:gd name="connsiteX836" fmla="*/ 4750806 w 9922465"/>
              <a:gd name="connsiteY836" fmla="*/ 1515149 h 1934496"/>
              <a:gd name="connsiteX837" fmla="*/ 4695614 w 9922465"/>
              <a:gd name="connsiteY837" fmla="*/ 1570340 h 1934496"/>
              <a:gd name="connsiteX838" fmla="*/ 4640422 w 9922465"/>
              <a:gd name="connsiteY838" fmla="*/ 1515149 h 1934496"/>
              <a:gd name="connsiteX839" fmla="*/ 4695614 w 9922465"/>
              <a:gd name="connsiteY839" fmla="*/ 1459958 h 1934496"/>
              <a:gd name="connsiteX840" fmla="*/ 4565322 w 9922465"/>
              <a:gd name="connsiteY840" fmla="*/ 1459958 h 1934496"/>
              <a:gd name="connsiteX841" fmla="*/ 4620514 w 9922465"/>
              <a:gd name="connsiteY841" fmla="*/ 1515149 h 1934496"/>
              <a:gd name="connsiteX842" fmla="*/ 4565322 w 9922465"/>
              <a:gd name="connsiteY842" fmla="*/ 1570340 h 1934496"/>
              <a:gd name="connsiteX843" fmla="*/ 4510130 w 9922465"/>
              <a:gd name="connsiteY843" fmla="*/ 1515149 h 1934496"/>
              <a:gd name="connsiteX844" fmla="*/ 4565322 w 9922465"/>
              <a:gd name="connsiteY844" fmla="*/ 1459958 h 1934496"/>
              <a:gd name="connsiteX845" fmla="*/ 4431687 w 9922465"/>
              <a:gd name="connsiteY845" fmla="*/ 1459958 h 1934496"/>
              <a:gd name="connsiteX846" fmla="*/ 4486879 w 9922465"/>
              <a:gd name="connsiteY846" fmla="*/ 1515149 h 1934496"/>
              <a:gd name="connsiteX847" fmla="*/ 4431687 w 9922465"/>
              <a:gd name="connsiteY847" fmla="*/ 1570340 h 1934496"/>
              <a:gd name="connsiteX848" fmla="*/ 4376495 w 9922465"/>
              <a:gd name="connsiteY848" fmla="*/ 1515149 h 1934496"/>
              <a:gd name="connsiteX849" fmla="*/ 4431687 w 9922465"/>
              <a:gd name="connsiteY849" fmla="*/ 1459958 h 1934496"/>
              <a:gd name="connsiteX850" fmla="*/ 3098681 w 9922465"/>
              <a:gd name="connsiteY850" fmla="*/ 1459958 h 1934496"/>
              <a:gd name="connsiteX851" fmla="*/ 3153873 w 9922465"/>
              <a:gd name="connsiteY851" fmla="*/ 1515149 h 1934496"/>
              <a:gd name="connsiteX852" fmla="*/ 3098681 w 9922465"/>
              <a:gd name="connsiteY852" fmla="*/ 1570340 h 1934496"/>
              <a:gd name="connsiteX853" fmla="*/ 3043489 w 9922465"/>
              <a:gd name="connsiteY853" fmla="*/ 1515149 h 1934496"/>
              <a:gd name="connsiteX854" fmla="*/ 3098681 w 9922465"/>
              <a:gd name="connsiteY854" fmla="*/ 1459958 h 1934496"/>
              <a:gd name="connsiteX855" fmla="*/ 2971729 w 9922465"/>
              <a:gd name="connsiteY855" fmla="*/ 1459958 h 1934496"/>
              <a:gd name="connsiteX856" fmla="*/ 3026921 w 9922465"/>
              <a:gd name="connsiteY856" fmla="*/ 1515149 h 1934496"/>
              <a:gd name="connsiteX857" fmla="*/ 2971729 w 9922465"/>
              <a:gd name="connsiteY857" fmla="*/ 1570340 h 1934496"/>
              <a:gd name="connsiteX858" fmla="*/ 2916537 w 9922465"/>
              <a:gd name="connsiteY858" fmla="*/ 1515149 h 1934496"/>
              <a:gd name="connsiteX859" fmla="*/ 2971729 w 9922465"/>
              <a:gd name="connsiteY859" fmla="*/ 1459958 h 1934496"/>
              <a:gd name="connsiteX860" fmla="*/ 2834792 w 9922465"/>
              <a:gd name="connsiteY860" fmla="*/ 1459958 h 1934496"/>
              <a:gd name="connsiteX861" fmla="*/ 2889984 w 9922465"/>
              <a:gd name="connsiteY861" fmla="*/ 1515149 h 1934496"/>
              <a:gd name="connsiteX862" fmla="*/ 2834792 w 9922465"/>
              <a:gd name="connsiteY862" fmla="*/ 1570340 h 1934496"/>
              <a:gd name="connsiteX863" fmla="*/ 2779600 w 9922465"/>
              <a:gd name="connsiteY863" fmla="*/ 1515149 h 1934496"/>
              <a:gd name="connsiteX864" fmla="*/ 2834792 w 9922465"/>
              <a:gd name="connsiteY864" fmla="*/ 1459958 h 1934496"/>
              <a:gd name="connsiteX865" fmla="*/ 2707839 w 9922465"/>
              <a:gd name="connsiteY865" fmla="*/ 1459958 h 1934496"/>
              <a:gd name="connsiteX866" fmla="*/ 2763031 w 9922465"/>
              <a:gd name="connsiteY866" fmla="*/ 1515149 h 1934496"/>
              <a:gd name="connsiteX867" fmla="*/ 2707839 w 9922465"/>
              <a:gd name="connsiteY867" fmla="*/ 1570340 h 1934496"/>
              <a:gd name="connsiteX868" fmla="*/ 2652646 w 9922465"/>
              <a:gd name="connsiteY868" fmla="*/ 1515149 h 1934496"/>
              <a:gd name="connsiteX869" fmla="*/ 2707839 w 9922465"/>
              <a:gd name="connsiteY869" fmla="*/ 1459958 h 1934496"/>
              <a:gd name="connsiteX870" fmla="*/ 2570864 w 9922465"/>
              <a:gd name="connsiteY870" fmla="*/ 1459958 h 1934496"/>
              <a:gd name="connsiteX871" fmla="*/ 2626056 w 9922465"/>
              <a:gd name="connsiteY871" fmla="*/ 1515149 h 1934496"/>
              <a:gd name="connsiteX872" fmla="*/ 2570864 w 9922465"/>
              <a:gd name="connsiteY872" fmla="*/ 1570340 h 1934496"/>
              <a:gd name="connsiteX873" fmla="*/ 2515671 w 9922465"/>
              <a:gd name="connsiteY873" fmla="*/ 1515149 h 1934496"/>
              <a:gd name="connsiteX874" fmla="*/ 2570864 w 9922465"/>
              <a:gd name="connsiteY874" fmla="*/ 1459958 h 1934496"/>
              <a:gd name="connsiteX875" fmla="*/ 2437228 w 9922465"/>
              <a:gd name="connsiteY875" fmla="*/ 1459958 h 1934496"/>
              <a:gd name="connsiteX876" fmla="*/ 2492419 w 9922465"/>
              <a:gd name="connsiteY876" fmla="*/ 1515149 h 1934496"/>
              <a:gd name="connsiteX877" fmla="*/ 2437228 w 9922465"/>
              <a:gd name="connsiteY877" fmla="*/ 1570340 h 1934496"/>
              <a:gd name="connsiteX878" fmla="*/ 2382037 w 9922465"/>
              <a:gd name="connsiteY878" fmla="*/ 1515149 h 1934496"/>
              <a:gd name="connsiteX879" fmla="*/ 2437228 w 9922465"/>
              <a:gd name="connsiteY879" fmla="*/ 1459958 h 1934496"/>
              <a:gd name="connsiteX880" fmla="*/ 2303596 w 9922465"/>
              <a:gd name="connsiteY880" fmla="*/ 1459958 h 1934496"/>
              <a:gd name="connsiteX881" fmla="*/ 2358787 w 9922465"/>
              <a:gd name="connsiteY881" fmla="*/ 1515149 h 1934496"/>
              <a:gd name="connsiteX882" fmla="*/ 2303596 w 9922465"/>
              <a:gd name="connsiteY882" fmla="*/ 1570340 h 1934496"/>
              <a:gd name="connsiteX883" fmla="*/ 2248404 w 9922465"/>
              <a:gd name="connsiteY883" fmla="*/ 1515149 h 1934496"/>
              <a:gd name="connsiteX884" fmla="*/ 2303596 w 9922465"/>
              <a:gd name="connsiteY884" fmla="*/ 1459958 h 1934496"/>
              <a:gd name="connsiteX885" fmla="*/ 2173305 w 9922465"/>
              <a:gd name="connsiteY885" fmla="*/ 1459958 h 1934496"/>
              <a:gd name="connsiteX886" fmla="*/ 2228497 w 9922465"/>
              <a:gd name="connsiteY886" fmla="*/ 1515149 h 1934496"/>
              <a:gd name="connsiteX887" fmla="*/ 2173305 w 9922465"/>
              <a:gd name="connsiteY887" fmla="*/ 1570340 h 1934496"/>
              <a:gd name="connsiteX888" fmla="*/ 2118111 w 9922465"/>
              <a:gd name="connsiteY888" fmla="*/ 1515149 h 1934496"/>
              <a:gd name="connsiteX889" fmla="*/ 2173305 w 9922465"/>
              <a:gd name="connsiteY889" fmla="*/ 1459958 h 1934496"/>
              <a:gd name="connsiteX890" fmla="*/ 2039668 w 9922465"/>
              <a:gd name="connsiteY890" fmla="*/ 1459958 h 1934496"/>
              <a:gd name="connsiteX891" fmla="*/ 2094860 w 9922465"/>
              <a:gd name="connsiteY891" fmla="*/ 1515149 h 1934496"/>
              <a:gd name="connsiteX892" fmla="*/ 2039668 w 9922465"/>
              <a:gd name="connsiteY892" fmla="*/ 1570340 h 1934496"/>
              <a:gd name="connsiteX893" fmla="*/ 1984475 w 9922465"/>
              <a:gd name="connsiteY893" fmla="*/ 1515149 h 1934496"/>
              <a:gd name="connsiteX894" fmla="*/ 2039668 w 9922465"/>
              <a:gd name="connsiteY894" fmla="*/ 1459958 h 1934496"/>
              <a:gd name="connsiteX895" fmla="*/ 1909371 w 9922465"/>
              <a:gd name="connsiteY895" fmla="*/ 1459958 h 1934496"/>
              <a:gd name="connsiteX896" fmla="*/ 1964564 w 9922465"/>
              <a:gd name="connsiteY896" fmla="*/ 1515149 h 1934496"/>
              <a:gd name="connsiteX897" fmla="*/ 1909371 w 9922465"/>
              <a:gd name="connsiteY897" fmla="*/ 1570340 h 1934496"/>
              <a:gd name="connsiteX898" fmla="*/ 1854178 w 9922465"/>
              <a:gd name="connsiteY898" fmla="*/ 1515149 h 1934496"/>
              <a:gd name="connsiteX899" fmla="*/ 1909371 w 9922465"/>
              <a:gd name="connsiteY899" fmla="*/ 1459958 h 1934496"/>
              <a:gd name="connsiteX900" fmla="*/ 1779076 w 9922465"/>
              <a:gd name="connsiteY900" fmla="*/ 1459958 h 1934496"/>
              <a:gd name="connsiteX901" fmla="*/ 1834269 w 9922465"/>
              <a:gd name="connsiteY901" fmla="*/ 1515149 h 1934496"/>
              <a:gd name="connsiteX902" fmla="*/ 1779076 w 9922465"/>
              <a:gd name="connsiteY902" fmla="*/ 1570340 h 1934496"/>
              <a:gd name="connsiteX903" fmla="*/ 1723884 w 9922465"/>
              <a:gd name="connsiteY903" fmla="*/ 1515149 h 1934496"/>
              <a:gd name="connsiteX904" fmla="*/ 1779076 w 9922465"/>
              <a:gd name="connsiteY904" fmla="*/ 1459958 h 1934496"/>
              <a:gd name="connsiteX905" fmla="*/ 1645440 w 9922465"/>
              <a:gd name="connsiteY905" fmla="*/ 1459958 h 1934496"/>
              <a:gd name="connsiteX906" fmla="*/ 1700637 w 9922465"/>
              <a:gd name="connsiteY906" fmla="*/ 1515149 h 1934496"/>
              <a:gd name="connsiteX907" fmla="*/ 1645440 w 9922465"/>
              <a:gd name="connsiteY907" fmla="*/ 1570340 h 1934496"/>
              <a:gd name="connsiteX908" fmla="*/ 1590248 w 9922465"/>
              <a:gd name="connsiteY908" fmla="*/ 1515149 h 1934496"/>
              <a:gd name="connsiteX909" fmla="*/ 1645440 w 9922465"/>
              <a:gd name="connsiteY909" fmla="*/ 1459958 h 1934496"/>
              <a:gd name="connsiteX910" fmla="*/ 1515149 w 9922465"/>
              <a:gd name="connsiteY910" fmla="*/ 1459958 h 1934496"/>
              <a:gd name="connsiteX911" fmla="*/ 1570338 w 9922465"/>
              <a:gd name="connsiteY911" fmla="*/ 1515149 h 1934496"/>
              <a:gd name="connsiteX912" fmla="*/ 1515149 w 9922465"/>
              <a:gd name="connsiteY912" fmla="*/ 1570340 h 1934496"/>
              <a:gd name="connsiteX913" fmla="*/ 1459956 w 9922465"/>
              <a:gd name="connsiteY913" fmla="*/ 1515149 h 1934496"/>
              <a:gd name="connsiteX914" fmla="*/ 1515149 w 9922465"/>
              <a:gd name="connsiteY914" fmla="*/ 1459958 h 1934496"/>
              <a:gd name="connsiteX915" fmla="*/ 1381511 w 9922465"/>
              <a:gd name="connsiteY915" fmla="*/ 1459958 h 1934496"/>
              <a:gd name="connsiteX916" fmla="*/ 1436705 w 9922465"/>
              <a:gd name="connsiteY916" fmla="*/ 1515149 h 1934496"/>
              <a:gd name="connsiteX917" fmla="*/ 1381511 w 9922465"/>
              <a:gd name="connsiteY917" fmla="*/ 1570340 h 1934496"/>
              <a:gd name="connsiteX918" fmla="*/ 1326322 w 9922465"/>
              <a:gd name="connsiteY918" fmla="*/ 1515149 h 1934496"/>
              <a:gd name="connsiteX919" fmla="*/ 1381511 w 9922465"/>
              <a:gd name="connsiteY919" fmla="*/ 1459958 h 1934496"/>
              <a:gd name="connsiteX920" fmla="*/ 1251220 w 9922465"/>
              <a:gd name="connsiteY920" fmla="*/ 1459958 h 1934496"/>
              <a:gd name="connsiteX921" fmla="*/ 1306413 w 9922465"/>
              <a:gd name="connsiteY921" fmla="*/ 1515149 h 1934496"/>
              <a:gd name="connsiteX922" fmla="*/ 1251220 w 9922465"/>
              <a:gd name="connsiteY922" fmla="*/ 1570340 h 1934496"/>
              <a:gd name="connsiteX923" fmla="*/ 1196028 w 9922465"/>
              <a:gd name="connsiteY923" fmla="*/ 1515149 h 1934496"/>
              <a:gd name="connsiteX924" fmla="*/ 1251220 w 9922465"/>
              <a:gd name="connsiteY924" fmla="*/ 1459958 h 1934496"/>
              <a:gd name="connsiteX925" fmla="*/ 1117583 w 9922465"/>
              <a:gd name="connsiteY925" fmla="*/ 1459958 h 1934496"/>
              <a:gd name="connsiteX926" fmla="*/ 1172776 w 9922465"/>
              <a:gd name="connsiteY926" fmla="*/ 1515149 h 1934496"/>
              <a:gd name="connsiteX927" fmla="*/ 1117583 w 9922465"/>
              <a:gd name="connsiteY927" fmla="*/ 1570340 h 1934496"/>
              <a:gd name="connsiteX928" fmla="*/ 1062390 w 9922465"/>
              <a:gd name="connsiteY928" fmla="*/ 1515149 h 1934496"/>
              <a:gd name="connsiteX929" fmla="*/ 1117583 w 9922465"/>
              <a:gd name="connsiteY929" fmla="*/ 1459958 h 1934496"/>
              <a:gd name="connsiteX930" fmla="*/ 980607 w 9922465"/>
              <a:gd name="connsiteY930" fmla="*/ 1459958 h 1934496"/>
              <a:gd name="connsiteX931" fmla="*/ 1035800 w 9922465"/>
              <a:gd name="connsiteY931" fmla="*/ 1515149 h 1934496"/>
              <a:gd name="connsiteX932" fmla="*/ 980607 w 9922465"/>
              <a:gd name="connsiteY932" fmla="*/ 1570340 h 1934496"/>
              <a:gd name="connsiteX933" fmla="*/ 925415 w 9922465"/>
              <a:gd name="connsiteY933" fmla="*/ 1515149 h 1934496"/>
              <a:gd name="connsiteX934" fmla="*/ 980607 w 9922465"/>
              <a:gd name="connsiteY934" fmla="*/ 1459958 h 1934496"/>
              <a:gd name="connsiteX935" fmla="*/ 7608849 w 9922465"/>
              <a:gd name="connsiteY935" fmla="*/ 1336350 h 1934496"/>
              <a:gd name="connsiteX936" fmla="*/ 7664041 w 9922465"/>
              <a:gd name="connsiteY936" fmla="*/ 1391541 h 1934496"/>
              <a:gd name="connsiteX937" fmla="*/ 7608849 w 9922465"/>
              <a:gd name="connsiteY937" fmla="*/ 1446732 h 1934496"/>
              <a:gd name="connsiteX938" fmla="*/ 7553657 w 9922465"/>
              <a:gd name="connsiteY938" fmla="*/ 1391541 h 1934496"/>
              <a:gd name="connsiteX939" fmla="*/ 7608849 w 9922465"/>
              <a:gd name="connsiteY939" fmla="*/ 1336350 h 1934496"/>
              <a:gd name="connsiteX940" fmla="*/ 7481897 w 9922465"/>
              <a:gd name="connsiteY940" fmla="*/ 1336350 h 1934496"/>
              <a:gd name="connsiteX941" fmla="*/ 7537089 w 9922465"/>
              <a:gd name="connsiteY941" fmla="*/ 1391541 h 1934496"/>
              <a:gd name="connsiteX942" fmla="*/ 7481897 w 9922465"/>
              <a:gd name="connsiteY942" fmla="*/ 1446732 h 1934496"/>
              <a:gd name="connsiteX943" fmla="*/ 7426705 w 9922465"/>
              <a:gd name="connsiteY943" fmla="*/ 1391541 h 1934496"/>
              <a:gd name="connsiteX944" fmla="*/ 7481897 w 9922465"/>
              <a:gd name="connsiteY944" fmla="*/ 1336350 h 1934496"/>
              <a:gd name="connsiteX945" fmla="*/ 7341579 w 9922465"/>
              <a:gd name="connsiteY945" fmla="*/ 1336350 h 1934496"/>
              <a:gd name="connsiteX946" fmla="*/ 7396771 w 9922465"/>
              <a:gd name="connsiteY946" fmla="*/ 1391541 h 1934496"/>
              <a:gd name="connsiteX947" fmla="*/ 7341579 w 9922465"/>
              <a:gd name="connsiteY947" fmla="*/ 1446732 h 1934496"/>
              <a:gd name="connsiteX948" fmla="*/ 7286387 w 9922465"/>
              <a:gd name="connsiteY948" fmla="*/ 1391541 h 1934496"/>
              <a:gd name="connsiteX949" fmla="*/ 7341579 w 9922465"/>
              <a:gd name="connsiteY949" fmla="*/ 1336350 h 1934496"/>
              <a:gd name="connsiteX950" fmla="*/ 7211286 w 9922465"/>
              <a:gd name="connsiteY950" fmla="*/ 1336350 h 1934496"/>
              <a:gd name="connsiteX951" fmla="*/ 7266478 w 9922465"/>
              <a:gd name="connsiteY951" fmla="*/ 1391541 h 1934496"/>
              <a:gd name="connsiteX952" fmla="*/ 7211286 w 9922465"/>
              <a:gd name="connsiteY952" fmla="*/ 1446732 h 1934496"/>
              <a:gd name="connsiteX953" fmla="*/ 7156094 w 9922465"/>
              <a:gd name="connsiteY953" fmla="*/ 1391541 h 1934496"/>
              <a:gd name="connsiteX954" fmla="*/ 7211286 w 9922465"/>
              <a:gd name="connsiteY954" fmla="*/ 1336350 h 1934496"/>
              <a:gd name="connsiteX955" fmla="*/ 7080993 w 9922465"/>
              <a:gd name="connsiteY955" fmla="*/ 1336350 h 1934496"/>
              <a:gd name="connsiteX956" fmla="*/ 7136185 w 9922465"/>
              <a:gd name="connsiteY956" fmla="*/ 1391541 h 1934496"/>
              <a:gd name="connsiteX957" fmla="*/ 7080993 w 9922465"/>
              <a:gd name="connsiteY957" fmla="*/ 1446732 h 1934496"/>
              <a:gd name="connsiteX958" fmla="*/ 7025801 w 9922465"/>
              <a:gd name="connsiteY958" fmla="*/ 1391541 h 1934496"/>
              <a:gd name="connsiteX959" fmla="*/ 7080993 w 9922465"/>
              <a:gd name="connsiteY959" fmla="*/ 1336350 h 1934496"/>
              <a:gd name="connsiteX960" fmla="*/ 6947357 w 9922465"/>
              <a:gd name="connsiteY960" fmla="*/ 1336350 h 1934496"/>
              <a:gd name="connsiteX961" fmla="*/ 7002549 w 9922465"/>
              <a:gd name="connsiteY961" fmla="*/ 1391541 h 1934496"/>
              <a:gd name="connsiteX962" fmla="*/ 6947357 w 9922465"/>
              <a:gd name="connsiteY962" fmla="*/ 1446732 h 1934496"/>
              <a:gd name="connsiteX963" fmla="*/ 6892165 w 9922465"/>
              <a:gd name="connsiteY963" fmla="*/ 1391541 h 1934496"/>
              <a:gd name="connsiteX964" fmla="*/ 6947357 w 9922465"/>
              <a:gd name="connsiteY964" fmla="*/ 1336350 h 1934496"/>
              <a:gd name="connsiteX965" fmla="*/ 6817064 w 9922465"/>
              <a:gd name="connsiteY965" fmla="*/ 1336350 h 1934496"/>
              <a:gd name="connsiteX966" fmla="*/ 6872256 w 9922465"/>
              <a:gd name="connsiteY966" fmla="*/ 1391541 h 1934496"/>
              <a:gd name="connsiteX967" fmla="*/ 6817064 w 9922465"/>
              <a:gd name="connsiteY967" fmla="*/ 1446732 h 1934496"/>
              <a:gd name="connsiteX968" fmla="*/ 6761872 w 9922465"/>
              <a:gd name="connsiteY968" fmla="*/ 1391541 h 1934496"/>
              <a:gd name="connsiteX969" fmla="*/ 6817064 w 9922465"/>
              <a:gd name="connsiteY969" fmla="*/ 1336350 h 1934496"/>
              <a:gd name="connsiteX970" fmla="*/ 6683431 w 9922465"/>
              <a:gd name="connsiteY970" fmla="*/ 1336350 h 1934496"/>
              <a:gd name="connsiteX971" fmla="*/ 6738623 w 9922465"/>
              <a:gd name="connsiteY971" fmla="*/ 1391541 h 1934496"/>
              <a:gd name="connsiteX972" fmla="*/ 6683431 w 9922465"/>
              <a:gd name="connsiteY972" fmla="*/ 1446732 h 1934496"/>
              <a:gd name="connsiteX973" fmla="*/ 6628239 w 9922465"/>
              <a:gd name="connsiteY973" fmla="*/ 1391541 h 1934496"/>
              <a:gd name="connsiteX974" fmla="*/ 6683431 w 9922465"/>
              <a:gd name="connsiteY974" fmla="*/ 1336350 h 1934496"/>
              <a:gd name="connsiteX975" fmla="*/ 6553137 w 9922465"/>
              <a:gd name="connsiteY975" fmla="*/ 1336350 h 1934496"/>
              <a:gd name="connsiteX976" fmla="*/ 6608329 w 9922465"/>
              <a:gd name="connsiteY976" fmla="*/ 1391541 h 1934496"/>
              <a:gd name="connsiteX977" fmla="*/ 6553137 w 9922465"/>
              <a:gd name="connsiteY977" fmla="*/ 1446732 h 1934496"/>
              <a:gd name="connsiteX978" fmla="*/ 6497945 w 9922465"/>
              <a:gd name="connsiteY978" fmla="*/ 1391541 h 1934496"/>
              <a:gd name="connsiteX979" fmla="*/ 6553137 w 9922465"/>
              <a:gd name="connsiteY979" fmla="*/ 1336350 h 1934496"/>
              <a:gd name="connsiteX980" fmla="*/ 6419502 w 9922465"/>
              <a:gd name="connsiteY980" fmla="*/ 1336350 h 1934496"/>
              <a:gd name="connsiteX981" fmla="*/ 6474694 w 9922465"/>
              <a:gd name="connsiteY981" fmla="*/ 1391541 h 1934496"/>
              <a:gd name="connsiteX982" fmla="*/ 6419502 w 9922465"/>
              <a:gd name="connsiteY982" fmla="*/ 1446732 h 1934496"/>
              <a:gd name="connsiteX983" fmla="*/ 6364310 w 9922465"/>
              <a:gd name="connsiteY983" fmla="*/ 1391541 h 1934496"/>
              <a:gd name="connsiteX984" fmla="*/ 6419502 w 9922465"/>
              <a:gd name="connsiteY984" fmla="*/ 1336350 h 1934496"/>
              <a:gd name="connsiteX985" fmla="*/ 6289207 w 9922465"/>
              <a:gd name="connsiteY985" fmla="*/ 1336350 h 1934496"/>
              <a:gd name="connsiteX986" fmla="*/ 6344399 w 9922465"/>
              <a:gd name="connsiteY986" fmla="*/ 1391541 h 1934496"/>
              <a:gd name="connsiteX987" fmla="*/ 6289207 w 9922465"/>
              <a:gd name="connsiteY987" fmla="*/ 1446732 h 1934496"/>
              <a:gd name="connsiteX988" fmla="*/ 6234015 w 9922465"/>
              <a:gd name="connsiteY988" fmla="*/ 1391541 h 1934496"/>
              <a:gd name="connsiteX989" fmla="*/ 6289207 w 9922465"/>
              <a:gd name="connsiteY989" fmla="*/ 1336350 h 1934496"/>
              <a:gd name="connsiteX990" fmla="*/ 6155573 w 9922465"/>
              <a:gd name="connsiteY990" fmla="*/ 1336350 h 1934496"/>
              <a:gd name="connsiteX991" fmla="*/ 6210765 w 9922465"/>
              <a:gd name="connsiteY991" fmla="*/ 1391541 h 1934496"/>
              <a:gd name="connsiteX992" fmla="*/ 6155573 w 9922465"/>
              <a:gd name="connsiteY992" fmla="*/ 1446732 h 1934496"/>
              <a:gd name="connsiteX993" fmla="*/ 6100381 w 9922465"/>
              <a:gd name="connsiteY993" fmla="*/ 1391541 h 1934496"/>
              <a:gd name="connsiteX994" fmla="*/ 6155573 w 9922465"/>
              <a:gd name="connsiteY994" fmla="*/ 1336350 h 1934496"/>
              <a:gd name="connsiteX995" fmla="*/ 6021939 w 9922465"/>
              <a:gd name="connsiteY995" fmla="*/ 1336350 h 1934496"/>
              <a:gd name="connsiteX996" fmla="*/ 6077131 w 9922465"/>
              <a:gd name="connsiteY996" fmla="*/ 1391541 h 1934496"/>
              <a:gd name="connsiteX997" fmla="*/ 6021939 w 9922465"/>
              <a:gd name="connsiteY997" fmla="*/ 1446732 h 1934496"/>
              <a:gd name="connsiteX998" fmla="*/ 5966747 w 9922465"/>
              <a:gd name="connsiteY998" fmla="*/ 1391541 h 1934496"/>
              <a:gd name="connsiteX999" fmla="*/ 6021939 w 9922465"/>
              <a:gd name="connsiteY999" fmla="*/ 1336350 h 1934496"/>
              <a:gd name="connsiteX1000" fmla="*/ 5884964 w 9922465"/>
              <a:gd name="connsiteY1000" fmla="*/ 1336350 h 1934496"/>
              <a:gd name="connsiteX1001" fmla="*/ 5940156 w 9922465"/>
              <a:gd name="connsiteY1001" fmla="*/ 1391541 h 1934496"/>
              <a:gd name="connsiteX1002" fmla="*/ 5884964 w 9922465"/>
              <a:gd name="connsiteY1002" fmla="*/ 1446732 h 1934496"/>
              <a:gd name="connsiteX1003" fmla="*/ 5829772 w 9922465"/>
              <a:gd name="connsiteY1003" fmla="*/ 1391541 h 1934496"/>
              <a:gd name="connsiteX1004" fmla="*/ 5884964 w 9922465"/>
              <a:gd name="connsiteY1004" fmla="*/ 1336350 h 1934496"/>
              <a:gd name="connsiteX1005" fmla="*/ 5754668 w 9922465"/>
              <a:gd name="connsiteY1005" fmla="*/ 1336350 h 1934496"/>
              <a:gd name="connsiteX1006" fmla="*/ 5809860 w 9922465"/>
              <a:gd name="connsiteY1006" fmla="*/ 1391541 h 1934496"/>
              <a:gd name="connsiteX1007" fmla="*/ 5754668 w 9922465"/>
              <a:gd name="connsiteY1007" fmla="*/ 1446732 h 1934496"/>
              <a:gd name="connsiteX1008" fmla="*/ 5699476 w 9922465"/>
              <a:gd name="connsiteY1008" fmla="*/ 1391541 h 1934496"/>
              <a:gd name="connsiteX1009" fmla="*/ 5754668 w 9922465"/>
              <a:gd name="connsiteY1009" fmla="*/ 1336350 h 1934496"/>
              <a:gd name="connsiteX1010" fmla="*/ 5621035 w 9922465"/>
              <a:gd name="connsiteY1010" fmla="*/ 1336350 h 1934496"/>
              <a:gd name="connsiteX1011" fmla="*/ 5676227 w 9922465"/>
              <a:gd name="connsiteY1011" fmla="*/ 1391541 h 1934496"/>
              <a:gd name="connsiteX1012" fmla="*/ 5621035 w 9922465"/>
              <a:gd name="connsiteY1012" fmla="*/ 1446732 h 1934496"/>
              <a:gd name="connsiteX1013" fmla="*/ 5565843 w 9922465"/>
              <a:gd name="connsiteY1013" fmla="*/ 1391541 h 1934496"/>
              <a:gd name="connsiteX1014" fmla="*/ 5621035 w 9922465"/>
              <a:gd name="connsiteY1014" fmla="*/ 1336350 h 1934496"/>
              <a:gd name="connsiteX1015" fmla="*/ 5487399 w 9922465"/>
              <a:gd name="connsiteY1015" fmla="*/ 1336350 h 1934496"/>
              <a:gd name="connsiteX1016" fmla="*/ 5542591 w 9922465"/>
              <a:gd name="connsiteY1016" fmla="*/ 1391541 h 1934496"/>
              <a:gd name="connsiteX1017" fmla="*/ 5487399 w 9922465"/>
              <a:gd name="connsiteY1017" fmla="*/ 1446732 h 1934496"/>
              <a:gd name="connsiteX1018" fmla="*/ 5432207 w 9922465"/>
              <a:gd name="connsiteY1018" fmla="*/ 1391541 h 1934496"/>
              <a:gd name="connsiteX1019" fmla="*/ 5487399 w 9922465"/>
              <a:gd name="connsiteY1019" fmla="*/ 1336350 h 1934496"/>
              <a:gd name="connsiteX1020" fmla="*/ 5357106 w 9922465"/>
              <a:gd name="connsiteY1020" fmla="*/ 1336350 h 1934496"/>
              <a:gd name="connsiteX1021" fmla="*/ 5412298 w 9922465"/>
              <a:gd name="connsiteY1021" fmla="*/ 1391541 h 1934496"/>
              <a:gd name="connsiteX1022" fmla="*/ 5357106 w 9922465"/>
              <a:gd name="connsiteY1022" fmla="*/ 1446732 h 1934496"/>
              <a:gd name="connsiteX1023" fmla="*/ 5301914 w 9922465"/>
              <a:gd name="connsiteY1023" fmla="*/ 1391541 h 1934496"/>
              <a:gd name="connsiteX1024" fmla="*/ 5357106 w 9922465"/>
              <a:gd name="connsiteY1024" fmla="*/ 1336350 h 1934496"/>
              <a:gd name="connsiteX1025" fmla="*/ 4959543 w 9922465"/>
              <a:gd name="connsiteY1025" fmla="*/ 1336350 h 1934496"/>
              <a:gd name="connsiteX1026" fmla="*/ 5014735 w 9922465"/>
              <a:gd name="connsiteY1026" fmla="*/ 1391541 h 1934496"/>
              <a:gd name="connsiteX1027" fmla="*/ 4959543 w 9922465"/>
              <a:gd name="connsiteY1027" fmla="*/ 1446732 h 1934496"/>
              <a:gd name="connsiteX1028" fmla="*/ 4904351 w 9922465"/>
              <a:gd name="connsiteY1028" fmla="*/ 1391541 h 1934496"/>
              <a:gd name="connsiteX1029" fmla="*/ 4959543 w 9922465"/>
              <a:gd name="connsiteY1029" fmla="*/ 1336350 h 1934496"/>
              <a:gd name="connsiteX1030" fmla="*/ 4565322 w 9922465"/>
              <a:gd name="connsiteY1030" fmla="*/ 1336350 h 1934496"/>
              <a:gd name="connsiteX1031" fmla="*/ 4620514 w 9922465"/>
              <a:gd name="connsiteY1031" fmla="*/ 1391541 h 1934496"/>
              <a:gd name="connsiteX1032" fmla="*/ 4565322 w 9922465"/>
              <a:gd name="connsiteY1032" fmla="*/ 1446732 h 1934496"/>
              <a:gd name="connsiteX1033" fmla="*/ 4510130 w 9922465"/>
              <a:gd name="connsiteY1033" fmla="*/ 1391541 h 1934496"/>
              <a:gd name="connsiteX1034" fmla="*/ 4565322 w 9922465"/>
              <a:gd name="connsiteY1034" fmla="*/ 1336350 h 1934496"/>
              <a:gd name="connsiteX1035" fmla="*/ 2971729 w 9922465"/>
              <a:gd name="connsiteY1035" fmla="*/ 1336350 h 1934496"/>
              <a:gd name="connsiteX1036" fmla="*/ 3026921 w 9922465"/>
              <a:gd name="connsiteY1036" fmla="*/ 1391541 h 1934496"/>
              <a:gd name="connsiteX1037" fmla="*/ 2971729 w 9922465"/>
              <a:gd name="connsiteY1037" fmla="*/ 1446732 h 1934496"/>
              <a:gd name="connsiteX1038" fmla="*/ 2916537 w 9922465"/>
              <a:gd name="connsiteY1038" fmla="*/ 1391541 h 1934496"/>
              <a:gd name="connsiteX1039" fmla="*/ 2971729 w 9922465"/>
              <a:gd name="connsiteY1039" fmla="*/ 1336350 h 1934496"/>
              <a:gd name="connsiteX1040" fmla="*/ 2834801 w 9922465"/>
              <a:gd name="connsiteY1040" fmla="*/ 1336350 h 1934496"/>
              <a:gd name="connsiteX1041" fmla="*/ 2889994 w 9922465"/>
              <a:gd name="connsiteY1041" fmla="*/ 1391541 h 1934496"/>
              <a:gd name="connsiteX1042" fmla="*/ 2834801 w 9922465"/>
              <a:gd name="connsiteY1042" fmla="*/ 1446732 h 1934496"/>
              <a:gd name="connsiteX1043" fmla="*/ 2779610 w 9922465"/>
              <a:gd name="connsiteY1043" fmla="*/ 1391541 h 1934496"/>
              <a:gd name="connsiteX1044" fmla="*/ 2834801 w 9922465"/>
              <a:gd name="connsiteY1044" fmla="*/ 1336350 h 1934496"/>
              <a:gd name="connsiteX1045" fmla="*/ 2707848 w 9922465"/>
              <a:gd name="connsiteY1045" fmla="*/ 1336350 h 1934496"/>
              <a:gd name="connsiteX1046" fmla="*/ 2763042 w 9922465"/>
              <a:gd name="connsiteY1046" fmla="*/ 1391541 h 1934496"/>
              <a:gd name="connsiteX1047" fmla="*/ 2707848 w 9922465"/>
              <a:gd name="connsiteY1047" fmla="*/ 1446732 h 1934496"/>
              <a:gd name="connsiteX1048" fmla="*/ 2652656 w 9922465"/>
              <a:gd name="connsiteY1048" fmla="*/ 1391541 h 1934496"/>
              <a:gd name="connsiteX1049" fmla="*/ 2707848 w 9922465"/>
              <a:gd name="connsiteY1049" fmla="*/ 1336350 h 1934496"/>
              <a:gd name="connsiteX1050" fmla="*/ 2570875 w 9922465"/>
              <a:gd name="connsiteY1050" fmla="*/ 1336350 h 1934496"/>
              <a:gd name="connsiteX1051" fmla="*/ 2626067 w 9922465"/>
              <a:gd name="connsiteY1051" fmla="*/ 1391541 h 1934496"/>
              <a:gd name="connsiteX1052" fmla="*/ 2570875 w 9922465"/>
              <a:gd name="connsiteY1052" fmla="*/ 1446732 h 1934496"/>
              <a:gd name="connsiteX1053" fmla="*/ 2515683 w 9922465"/>
              <a:gd name="connsiteY1053" fmla="*/ 1391541 h 1934496"/>
              <a:gd name="connsiteX1054" fmla="*/ 2570875 w 9922465"/>
              <a:gd name="connsiteY1054" fmla="*/ 1336350 h 1934496"/>
              <a:gd name="connsiteX1055" fmla="*/ 2173314 w 9922465"/>
              <a:gd name="connsiteY1055" fmla="*/ 1336350 h 1934496"/>
              <a:gd name="connsiteX1056" fmla="*/ 2228507 w 9922465"/>
              <a:gd name="connsiteY1056" fmla="*/ 1391541 h 1934496"/>
              <a:gd name="connsiteX1057" fmla="*/ 2173314 w 9922465"/>
              <a:gd name="connsiteY1057" fmla="*/ 1446732 h 1934496"/>
              <a:gd name="connsiteX1058" fmla="*/ 2118122 w 9922465"/>
              <a:gd name="connsiteY1058" fmla="*/ 1391541 h 1934496"/>
              <a:gd name="connsiteX1059" fmla="*/ 2173314 w 9922465"/>
              <a:gd name="connsiteY1059" fmla="*/ 1336350 h 1934496"/>
              <a:gd name="connsiteX1060" fmla="*/ 2039678 w 9922465"/>
              <a:gd name="connsiteY1060" fmla="*/ 1336350 h 1934496"/>
              <a:gd name="connsiteX1061" fmla="*/ 2094870 w 9922465"/>
              <a:gd name="connsiteY1061" fmla="*/ 1391541 h 1934496"/>
              <a:gd name="connsiteX1062" fmla="*/ 2039678 w 9922465"/>
              <a:gd name="connsiteY1062" fmla="*/ 1446732 h 1934496"/>
              <a:gd name="connsiteX1063" fmla="*/ 1984484 w 9922465"/>
              <a:gd name="connsiteY1063" fmla="*/ 1391541 h 1934496"/>
              <a:gd name="connsiteX1064" fmla="*/ 2039678 w 9922465"/>
              <a:gd name="connsiteY1064" fmla="*/ 1336350 h 1934496"/>
              <a:gd name="connsiteX1065" fmla="*/ 1909381 w 9922465"/>
              <a:gd name="connsiteY1065" fmla="*/ 1336350 h 1934496"/>
              <a:gd name="connsiteX1066" fmla="*/ 1964575 w 9922465"/>
              <a:gd name="connsiteY1066" fmla="*/ 1391541 h 1934496"/>
              <a:gd name="connsiteX1067" fmla="*/ 1909381 w 9922465"/>
              <a:gd name="connsiteY1067" fmla="*/ 1446732 h 1934496"/>
              <a:gd name="connsiteX1068" fmla="*/ 1854188 w 9922465"/>
              <a:gd name="connsiteY1068" fmla="*/ 1391541 h 1934496"/>
              <a:gd name="connsiteX1069" fmla="*/ 1909381 w 9922465"/>
              <a:gd name="connsiteY1069" fmla="*/ 1336350 h 1934496"/>
              <a:gd name="connsiteX1070" fmla="*/ 1779086 w 9922465"/>
              <a:gd name="connsiteY1070" fmla="*/ 1336350 h 1934496"/>
              <a:gd name="connsiteX1071" fmla="*/ 1834278 w 9922465"/>
              <a:gd name="connsiteY1071" fmla="*/ 1391541 h 1934496"/>
              <a:gd name="connsiteX1072" fmla="*/ 1779086 w 9922465"/>
              <a:gd name="connsiteY1072" fmla="*/ 1446732 h 1934496"/>
              <a:gd name="connsiteX1073" fmla="*/ 1723892 w 9922465"/>
              <a:gd name="connsiteY1073" fmla="*/ 1391541 h 1934496"/>
              <a:gd name="connsiteX1074" fmla="*/ 1779086 w 9922465"/>
              <a:gd name="connsiteY1074" fmla="*/ 1336350 h 1934496"/>
              <a:gd name="connsiteX1075" fmla="*/ 1645448 w 9922465"/>
              <a:gd name="connsiteY1075" fmla="*/ 1336350 h 1934496"/>
              <a:gd name="connsiteX1076" fmla="*/ 1700644 w 9922465"/>
              <a:gd name="connsiteY1076" fmla="*/ 1391541 h 1934496"/>
              <a:gd name="connsiteX1077" fmla="*/ 1645448 w 9922465"/>
              <a:gd name="connsiteY1077" fmla="*/ 1446732 h 1934496"/>
              <a:gd name="connsiteX1078" fmla="*/ 1590256 w 9922465"/>
              <a:gd name="connsiteY1078" fmla="*/ 1391541 h 1934496"/>
              <a:gd name="connsiteX1079" fmla="*/ 1645448 w 9922465"/>
              <a:gd name="connsiteY1079" fmla="*/ 1336350 h 1934496"/>
              <a:gd name="connsiteX1080" fmla="*/ 1515160 w 9922465"/>
              <a:gd name="connsiteY1080" fmla="*/ 1336350 h 1934496"/>
              <a:gd name="connsiteX1081" fmla="*/ 1570346 w 9922465"/>
              <a:gd name="connsiteY1081" fmla="*/ 1391541 h 1934496"/>
              <a:gd name="connsiteX1082" fmla="*/ 1515160 w 9922465"/>
              <a:gd name="connsiteY1082" fmla="*/ 1446732 h 1934496"/>
              <a:gd name="connsiteX1083" fmla="*/ 1459963 w 9922465"/>
              <a:gd name="connsiteY1083" fmla="*/ 1391541 h 1934496"/>
              <a:gd name="connsiteX1084" fmla="*/ 1515160 w 9922465"/>
              <a:gd name="connsiteY1084" fmla="*/ 1336350 h 1934496"/>
              <a:gd name="connsiteX1085" fmla="*/ 1381522 w 9922465"/>
              <a:gd name="connsiteY1085" fmla="*/ 1336350 h 1934496"/>
              <a:gd name="connsiteX1086" fmla="*/ 1436714 w 9922465"/>
              <a:gd name="connsiteY1086" fmla="*/ 1391541 h 1934496"/>
              <a:gd name="connsiteX1087" fmla="*/ 1381522 w 9922465"/>
              <a:gd name="connsiteY1087" fmla="*/ 1446732 h 1934496"/>
              <a:gd name="connsiteX1088" fmla="*/ 1326330 w 9922465"/>
              <a:gd name="connsiteY1088" fmla="*/ 1391541 h 1934496"/>
              <a:gd name="connsiteX1089" fmla="*/ 1381522 w 9922465"/>
              <a:gd name="connsiteY1089" fmla="*/ 1336350 h 1934496"/>
              <a:gd name="connsiteX1090" fmla="*/ 1251229 w 9922465"/>
              <a:gd name="connsiteY1090" fmla="*/ 1336350 h 1934496"/>
              <a:gd name="connsiteX1091" fmla="*/ 1306421 w 9922465"/>
              <a:gd name="connsiteY1091" fmla="*/ 1391541 h 1934496"/>
              <a:gd name="connsiteX1092" fmla="*/ 1251229 w 9922465"/>
              <a:gd name="connsiteY1092" fmla="*/ 1446732 h 1934496"/>
              <a:gd name="connsiteX1093" fmla="*/ 1196037 w 9922465"/>
              <a:gd name="connsiteY1093" fmla="*/ 1391541 h 1934496"/>
              <a:gd name="connsiteX1094" fmla="*/ 1251229 w 9922465"/>
              <a:gd name="connsiteY1094" fmla="*/ 1336350 h 1934496"/>
              <a:gd name="connsiteX1095" fmla="*/ 1117592 w 9922465"/>
              <a:gd name="connsiteY1095" fmla="*/ 1336350 h 1934496"/>
              <a:gd name="connsiteX1096" fmla="*/ 1172785 w 9922465"/>
              <a:gd name="connsiteY1096" fmla="*/ 1391541 h 1934496"/>
              <a:gd name="connsiteX1097" fmla="*/ 1117592 w 9922465"/>
              <a:gd name="connsiteY1097" fmla="*/ 1446732 h 1934496"/>
              <a:gd name="connsiteX1098" fmla="*/ 1062400 w 9922465"/>
              <a:gd name="connsiteY1098" fmla="*/ 1391541 h 1934496"/>
              <a:gd name="connsiteX1099" fmla="*/ 1117592 w 9922465"/>
              <a:gd name="connsiteY1099" fmla="*/ 1336350 h 1934496"/>
              <a:gd name="connsiteX1100" fmla="*/ 980615 w 9922465"/>
              <a:gd name="connsiteY1100" fmla="*/ 1336350 h 1934496"/>
              <a:gd name="connsiteX1101" fmla="*/ 1035808 w 9922465"/>
              <a:gd name="connsiteY1101" fmla="*/ 1391541 h 1934496"/>
              <a:gd name="connsiteX1102" fmla="*/ 980615 w 9922465"/>
              <a:gd name="connsiteY1102" fmla="*/ 1446732 h 1934496"/>
              <a:gd name="connsiteX1103" fmla="*/ 925422 w 9922465"/>
              <a:gd name="connsiteY1103" fmla="*/ 1391541 h 1934496"/>
              <a:gd name="connsiteX1104" fmla="*/ 980615 w 9922465"/>
              <a:gd name="connsiteY1104" fmla="*/ 1336350 h 1934496"/>
              <a:gd name="connsiteX1105" fmla="*/ 9199101 w 9922465"/>
              <a:gd name="connsiteY1105" fmla="*/ 1336348 h 1934496"/>
              <a:gd name="connsiteX1106" fmla="*/ 9254293 w 9922465"/>
              <a:gd name="connsiteY1106" fmla="*/ 1391539 h 1934496"/>
              <a:gd name="connsiteX1107" fmla="*/ 9199101 w 9922465"/>
              <a:gd name="connsiteY1107" fmla="*/ 1446730 h 1934496"/>
              <a:gd name="connsiteX1108" fmla="*/ 9143909 w 9922465"/>
              <a:gd name="connsiteY1108" fmla="*/ 1391539 h 1934496"/>
              <a:gd name="connsiteX1109" fmla="*/ 9199101 w 9922465"/>
              <a:gd name="connsiteY1109" fmla="*/ 1336348 h 1934496"/>
              <a:gd name="connsiteX1110" fmla="*/ 9068807 w 9922465"/>
              <a:gd name="connsiteY1110" fmla="*/ 1336348 h 1934496"/>
              <a:gd name="connsiteX1111" fmla="*/ 9123999 w 9922465"/>
              <a:gd name="connsiteY1111" fmla="*/ 1391539 h 1934496"/>
              <a:gd name="connsiteX1112" fmla="*/ 9068807 w 9922465"/>
              <a:gd name="connsiteY1112" fmla="*/ 1446730 h 1934496"/>
              <a:gd name="connsiteX1113" fmla="*/ 9013615 w 9922465"/>
              <a:gd name="connsiteY1113" fmla="*/ 1391539 h 1934496"/>
              <a:gd name="connsiteX1114" fmla="*/ 9068807 w 9922465"/>
              <a:gd name="connsiteY1114" fmla="*/ 1336348 h 1934496"/>
              <a:gd name="connsiteX1115" fmla="*/ 8407316 w 9922465"/>
              <a:gd name="connsiteY1115" fmla="*/ 1336348 h 1934496"/>
              <a:gd name="connsiteX1116" fmla="*/ 8462508 w 9922465"/>
              <a:gd name="connsiteY1116" fmla="*/ 1391539 h 1934496"/>
              <a:gd name="connsiteX1117" fmla="*/ 8407316 w 9922465"/>
              <a:gd name="connsiteY1117" fmla="*/ 1446730 h 1934496"/>
              <a:gd name="connsiteX1118" fmla="*/ 8352124 w 9922465"/>
              <a:gd name="connsiteY1118" fmla="*/ 1391539 h 1934496"/>
              <a:gd name="connsiteX1119" fmla="*/ 8407316 w 9922465"/>
              <a:gd name="connsiteY1119" fmla="*/ 1336348 h 1934496"/>
              <a:gd name="connsiteX1120" fmla="*/ 8273682 w 9922465"/>
              <a:gd name="connsiteY1120" fmla="*/ 1336348 h 1934496"/>
              <a:gd name="connsiteX1121" fmla="*/ 8328874 w 9922465"/>
              <a:gd name="connsiteY1121" fmla="*/ 1391539 h 1934496"/>
              <a:gd name="connsiteX1122" fmla="*/ 8273682 w 9922465"/>
              <a:gd name="connsiteY1122" fmla="*/ 1446730 h 1934496"/>
              <a:gd name="connsiteX1123" fmla="*/ 8218490 w 9922465"/>
              <a:gd name="connsiteY1123" fmla="*/ 1391539 h 1934496"/>
              <a:gd name="connsiteX1124" fmla="*/ 8273682 w 9922465"/>
              <a:gd name="connsiteY1124" fmla="*/ 1336348 h 1934496"/>
              <a:gd name="connsiteX1125" fmla="*/ 8143388 w 9922465"/>
              <a:gd name="connsiteY1125" fmla="*/ 1336348 h 1934496"/>
              <a:gd name="connsiteX1126" fmla="*/ 8198580 w 9922465"/>
              <a:gd name="connsiteY1126" fmla="*/ 1391539 h 1934496"/>
              <a:gd name="connsiteX1127" fmla="*/ 8143388 w 9922465"/>
              <a:gd name="connsiteY1127" fmla="*/ 1446730 h 1934496"/>
              <a:gd name="connsiteX1128" fmla="*/ 8088196 w 9922465"/>
              <a:gd name="connsiteY1128" fmla="*/ 1391539 h 1934496"/>
              <a:gd name="connsiteX1129" fmla="*/ 8143388 w 9922465"/>
              <a:gd name="connsiteY1129" fmla="*/ 1336348 h 1934496"/>
              <a:gd name="connsiteX1130" fmla="*/ 8009753 w 9922465"/>
              <a:gd name="connsiteY1130" fmla="*/ 1336348 h 1934496"/>
              <a:gd name="connsiteX1131" fmla="*/ 8064945 w 9922465"/>
              <a:gd name="connsiteY1131" fmla="*/ 1391539 h 1934496"/>
              <a:gd name="connsiteX1132" fmla="*/ 8009753 w 9922465"/>
              <a:gd name="connsiteY1132" fmla="*/ 1446730 h 1934496"/>
              <a:gd name="connsiteX1133" fmla="*/ 7954561 w 9922465"/>
              <a:gd name="connsiteY1133" fmla="*/ 1391539 h 1934496"/>
              <a:gd name="connsiteX1134" fmla="*/ 8009753 w 9922465"/>
              <a:gd name="connsiteY1134" fmla="*/ 1336348 h 1934496"/>
              <a:gd name="connsiteX1135" fmla="*/ 7876118 w 9922465"/>
              <a:gd name="connsiteY1135" fmla="*/ 1336348 h 1934496"/>
              <a:gd name="connsiteX1136" fmla="*/ 7931310 w 9922465"/>
              <a:gd name="connsiteY1136" fmla="*/ 1391539 h 1934496"/>
              <a:gd name="connsiteX1137" fmla="*/ 7876118 w 9922465"/>
              <a:gd name="connsiteY1137" fmla="*/ 1446730 h 1934496"/>
              <a:gd name="connsiteX1138" fmla="*/ 7820926 w 9922465"/>
              <a:gd name="connsiteY1138" fmla="*/ 1391539 h 1934496"/>
              <a:gd name="connsiteX1139" fmla="*/ 7876118 w 9922465"/>
              <a:gd name="connsiteY1139" fmla="*/ 1336348 h 1934496"/>
              <a:gd name="connsiteX1140" fmla="*/ 7745823 w 9922465"/>
              <a:gd name="connsiteY1140" fmla="*/ 1336348 h 1934496"/>
              <a:gd name="connsiteX1141" fmla="*/ 7801015 w 9922465"/>
              <a:gd name="connsiteY1141" fmla="*/ 1391539 h 1934496"/>
              <a:gd name="connsiteX1142" fmla="*/ 7745823 w 9922465"/>
              <a:gd name="connsiteY1142" fmla="*/ 1446730 h 1934496"/>
              <a:gd name="connsiteX1143" fmla="*/ 7690631 w 9922465"/>
              <a:gd name="connsiteY1143" fmla="*/ 1391539 h 1934496"/>
              <a:gd name="connsiteX1144" fmla="*/ 7745823 w 9922465"/>
              <a:gd name="connsiteY1144" fmla="*/ 1336348 h 1934496"/>
              <a:gd name="connsiteX1145" fmla="*/ 185475 w 9922465"/>
              <a:gd name="connsiteY1145" fmla="*/ 1336348 h 1934496"/>
              <a:gd name="connsiteX1146" fmla="*/ 240666 w 9922465"/>
              <a:gd name="connsiteY1146" fmla="*/ 1391539 h 1934496"/>
              <a:gd name="connsiteX1147" fmla="*/ 185475 w 9922465"/>
              <a:gd name="connsiteY1147" fmla="*/ 1446730 h 1934496"/>
              <a:gd name="connsiteX1148" fmla="*/ 130283 w 9922465"/>
              <a:gd name="connsiteY1148" fmla="*/ 1391539 h 1934496"/>
              <a:gd name="connsiteX1149" fmla="*/ 185475 w 9922465"/>
              <a:gd name="connsiteY1149" fmla="*/ 1336348 h 1934496"/>
              <a:gd name="connsiteX1150" fmla="*/ 9199101 w 9922465"/>
              <a:gd name="connsiteY1150" fmla="*/ 1219421 h 1934496"/>
              <a:gd name="connsiteX1151" fmla="*/ 9254293 w 9922465"/>
              <a:gd name="connsiteY1151" fmla="*/ 1274612 h 1934496"/>
              <a:gd name="connsiteX1152" fmla="*/ 9199101 w 9922465"/>
              <a:gd name="connsiteY1152" fmla="*/ 1329803 h 1934496"/>
              <a:gd name="connsiteX1153" fmla="*/ 9143909 w 9922465"/>
              <a:gd name="connsiteY1153" fmla="*/ 1274612 h 1934496"/>
              <a:gd name="connsiteX1154" fmla="*/ 9199101 w 9922465"/>
              <a:gd name="connsiteY1154" fmla="*/ 1219421 h 1934496"/>
              <a:gd name="connsiteX1155" fmla="*/ 9068807 w 9922465"/>
              <a:gd name="connsiteY1155" fmla="*/ 1219421 h 1934496"/>
              <a:gd name="connsiteX1156" fmla="*/ 9123999 w 9922465"/>
              <a:gd name="connsiteY1156" fmla="*/ 1274612 h 1934496"/>
              <a:gd name="connsiteX1157" fmla="*/ 9068807 w 9922465"/>
              <a:gd name="connsiteY1157" fmla="*/ 1329803 h 1934496"/>
              <a:gd name="connsiteX1158" fmla="*/ 9013615 w 9922465"/>
              <a:gd name="connsiteY1158" fmla="*/ 1274612 h 1934496"/>
              <a:gd name="connsiteX1159" fmla="*/ 9068807 w 9922465"/>
              <a:gd name="connsiteY1159" fmla="*/ 1219421 h 1934496"/>
              <a:gd name="connsiteX1160" fmla="*/ 8537612 w 9922465"/>
              <a:gd name="connsiteY1160" fmla="*/ 1219421 h 1934496"/>
              <a:gd name="connsiteX1161" fmla="*/ 8592804 w 9922465"/>
              <a:gd name="connsiteY1161" fmla="*/ 1274612 h 1934496"/>
              <a:gd name="connsiteX1162" fmla="*/ 8537612 w 9922465"/>
              <a:gd name="connsiteY1162" fmla="*/ 1329803 h 1934496"/>
              <a:gd name="connsiteX1163" fmla="*/ 8482420 w 9922465"/>
              <a:gd name="connsiteY1163" fmla="*/ 1274612 h 1934496"/>
              <a:gd name="connsiteX1164" fmla="*/ 8537612 w 9922465"/>
              <a:gd name="connsiteY1164" fmla="*/ 1219421 h 1934496"/>
              <a:gd name="connsiteX1165" fmla="*/ 8407316 w 9922465"/>
              <a:gd name="connsiteY1165" fmla="*/ 1219421 h 1934496"/>
              <a:gd name="connsiteX1166" fmla="*/ 8462508 w 9922465"/>
              <a:gd name="connsiteY1166" fmla="*/ 1274612 h 1934496"/>
              <a:gd name="connsiteX1167" fmla="*/ 8407316 w 9922465"/>
              <a:gd name="connsiteY1167" fmla="*/ 1329803 h 1934496"/>
              <a:gd name="connsiteX1168" fmla="*/ 8352124 w 9922465"/>
              <a:gd name="connsiteY1168" fmla="*/ 1274612 h 1934496"/>
              <a:gd name="connsiteX1169" fmla="*/ 8407316 w 9922465"/>
              <a:gd name="connsiteY1169" fmla="*/ 1219421 h 1934496"/>
              <a:gd name="connsiteX1170" fmla="*/ 8273682 w 9922465"/>
              <a:gd name="connsiteY1170" fmla="*/ 1219421 h 1934496"/>
              <a:gd name="connsiteX1171" fmla="*/ 8328874 w 9922465"/>
              <a:gd name="connsiteY1171" fmla="*/ 1274612 h 1934496"/>
              <a:gd name="connsiteX1172" fmla="*/ 8273682 w 9922465"/>
              <a:gd name="connsiteY1172" fmla="*/ 1329803 h 1934496"/>
              <a:gd name="connsiteX1173" fmla="*/ 8218490 w 9922465"/>
              <a:gd name="connsiteY1173" fmla="*/ 1274612 h 1934496"/>
              <a:gd name="connsiteX1174" fmla="*/ 8273682 w 9922465"/>
              <a:gd name="connsiteY1174" fmla="*/ 1219421 h 1934496"/>
              <a:gd name="connsiteX1175" fmla="*/ 8143388 w 9922465"/>
              <a:gd name="connsiteY1175" fmla="*/ 1219421 h 1934496"/>
              <a:gd name="connsiteX1176" fmla="*/ 8198580 w 9922465"/>
              <a:gd name="connsiteY1176" fmla="*/ 1274612 h 1934496"/>
              <a:gd name="connsiteX1177" fmla="*/ 8143388 w 9922465"/>
              <a:gd name="connsiteY1177" fmla="*/ 1329803 h 1934496"/>
              <a:gd name="connsiteX1178" fmla="*/ 8088196 w 9922465"/>
              <a:gd name="connsiteY1178" fmla="*/ 1274612 h 1934496"/>
              <a:gd name="connsiteX1179" fmla="*/ 8143388 w 9922465"/>
              <a:gd name="connsiteY1179" fmla="*/ 1219421 h 1934496"/>
              <a:gd name="connsiteX1180" fmla="*/ 8009753 w 9922465"/>
              <a:gd name="connsiteY1180" fmla="*/ 1219421 h 1934496"/>
              <a:gd name="connsiteX1181" fmla="*/ 8064945 w 9922465"/>
              <a:gd name="connsiteY1181" fmla="*/ 1274612 h 1934496"/>
              <a:gd name="connsiteX1182" fmla="*/ 8009753 w 9922465"/>
              <a:gd name="connsiteY1182" fmla="*/ 1329803 h 1934496"/>
              <a:gd name="connsiteX1183" fmla="*/ 7954561 w 9922465"/>
              <a:gd name="connsiteY1183" fmla="*/ 1274612 h 1934496"/>
              <a:gd name="connsiteX1184" fmla="*/ 8009753 w 9922465"/>
              <a:gd name="connsiteY1184" fmla="*/ 1219421 h 1934496"/>
              <a:gd name="connsiteX1185" fmla="*/ 7876118 w 9922465"/>
              <a:gd name="connsiteY1185" fmla="*/ 1219421 h 1934496"/>
              <a:gd name="connsiteX1186" fmla="*/ 7931310 w 9922465"/>
              <a:gd name="connsiteY1186" fmla="*/ 1274612 h 1934496"/>
              <a:gd name="connsiteX1187" fmla="*/ 7876118 w 9922465"/>
              <a:gd name="connsiteY1187" fmla="*/ 1329803 h 1934496"/>
              <a:gd name="connsiteX1188" fmla="*/ 7820926 w 9922465"/>
              <a:gd name="connsiteY1188" fmla="*/ 1274612 h 1934496"/>
              <a:gd name="connsiteX1189" fmla="*/ 7876118 w 9922465"/>
              <a:gd name="connsiteY1189" fmla="*/ 1219421 h 1934496"/>
              <a:gd name="connsiteX1190" fmla="*/ 7745823 w 9922465"/>
              <a:gd name="connsiteY1190" fmla="*/ 1219421 h 1934496"/>
              <a:gd name="connsiteX1191" fmla="*/ 7801015 w 9922465"/>
              <a:gd name="connsiteY1191" fmla="*/ 1274612 h 1934496"/>
              <a:gd name="connsiteX1192" fmla="*/ 7745823 w 9922465"/>
              <a:gd name="connsiteY1192" fmla="*/ 1329803 h 1934496"/>
              <a:gd name="connsiteX1193" fmla="*/ 7690631 w 9922465"/>
              <a:gd name="connsiteY1193" fmla="*/ 1274612 h 1934496"/>
              <a:gd name="connsiteX1194" fmla="*/ 7745823 w 9922465"/>
              <a:gd name="connsiteY1194" fmla="*/ 1219421 h 1934496"/>
              <a:gd name="connsiteX1195" fmla="*/ 7608849 w 9922465"/>
              <a:gd name="connsiteY1195" fmla="*/ 1219421 h 1934496"/>
              <a:gd name="connsiteX1196" fmla="*/ 7664041 w 9922465"/>
              <a:gd name="connsiteY1196" fmla="*/ 1274612 h 1934496"/>
              <a:gd name="connsiteX1197" fmla="*/ 7608849 w 9922465"/>
              <a:gd name="connsiteY1197" fmla="*/ 1329803 h 1934496"/>
              <a:gd name="connsiteX1198" fmla="*/ 7553657 w 9922465"/>
              <a:gd name="connsiteY1198" fmla="*/ 1274612 h 1934496"/>
              <a:gd name="connsiteX1199" fmla="*/ 7608849 w 9922465"/>
              <a:gd name="connsiteY1199" fmla="*/ 1219421 h 1934496"/>
              <a:gd name="connsiteX1200" fmla="*/ 7481897 w 9922465"/>
              <a:gd name="connsiteY1200" fmla="*/ 1219421 h 1934496"/>
              <a:gd name="connsiteX1201" fmla="*/ 7537089 w 9922465"/>
              <a:gd name="connsiteY1201" fmla="*/ 1274612 h 1934496"/>
              <a:gd name="connsiteX1202" fmla="*/ 7481897 w 9922465"/>
              <a:gd name="connsiteY1202" fmla="*/ 1329803 h 1934496"/>
              <a:gd name="connsiteX1203" fmla="*/ 7426705 w 9922465"/>
              <a:gd name="connsiteY1203" fmla="*/ 1274612 h 1934496"/>
              <a:gd name="connsiteX1204" fmla="*/ 7481897 w 9922465"/>
              <a:gd name="connsiteY1204" fmla="*/ 1219421 h 1934496"/>
              <a:gd name="connsiteX1205" fmla="*/ 7341579 w 9922465"/>
              <a:gd name="connsiteY1205" fmla="*/ 1219421 h 1934496"/>
              <a:gd name="connsiteX1206" fmla="*/ 7396771 w 9922465"/>
              <a:gd name="connsiteY1206" fmla="*/ 1274612 h 1934496"/>
              <a:gd name="connsiteX1207" fmla="*/ 7341579 w 9922465"/>
              <a:gd name="connsiteY1207" fmla="*/ 1329803 h 1934496"/>
              <a:gd name="connsiteX1208" fmla="*/ 7286387 w 9922465"/>
              <a:gd name="connsiteY1208" fmla="*/ 1274612 h 1934496"/>
              <a:gd name="connsiteX1209" fmla="*/ 7341579 w 9922465"/>
              <a:gd name="connsiteY1209" fmla="*/ 1219421 h 1934496"/>
              <a:gd name="connsiteX1210" fmla="*/ 7211286 w 9922465"/>
              <a:gd name="connsiteY1210" fmla="*/ 1219421 h 1934496"/>
              <a:gd name="connsiteX1211" fmla="*/ 7266478 w 9922465"/>
              <a:gd name="connsiteY1211" fmla="*/ 1274612 h 1934496"/>
              <a:gd name="connsiteX1212" fmla="*/ 7211286 w 9922465"/>
              <a:gd name="connsiteY1212" fmla="*/ 1329803 h 1934496"/>
              <a:gd name="connsiteX1213" fmla="*/ 7156094 w 9922465"/>
              <a:gd name="connsiteY1213" fmla="*/ 1274612 h 1934496"/>
              <a:gd name="connsiteX1214" fmla="*/ 7211286 w 9922465"/>
              <a:gd name="connsiteY1214" fmla="*/ 1219421 h 1934496"/>
              <a:gd name="connsiteX1215" fmla="*/ 7080993 w 9922465"/>
              <a:gd name="connsiteY1215" fmla="*/ 1219421 h 1934496"/>
              <a:gd name="connsiteX1216" fmla="*/ 7136185 w 9922465"/>
              <a:gd name="connsiteY1216" fmla="*/ 1274612 h 1934496"/>
              <a:gd name="connsiteX1217" fmla="*/ 7080993 w 9922465"/>
              <a:gd name="connsiteY1217" fmla="*/ 1329803 h 1934496"/>
              <a:gd name="connsiteX1218" fmla="*/ 7025801 w 9922465"/>
              <a:gd name="connsiteY1218" fmla="*/ 1274612 h 1934496"/>
              <a:gd name="connsiteX1219" fmla="*/ 7080993 w 9922465"/>
              <a:gd name="connsiteY1219" fmla="*/ 1219421 h 1934496"/>
              <a:gd name="connsiteX1220" fmla="*/ 6947357 w 9922465"/>
              <a:gd name="connsiteY1220" fmla="*/ 1219421 h 1934496"/>
              <a:gd name="connsiteX1221" fmla="*/ 7002549 w 9922465"/>
              <a:gd name="connsiteY1221" fmla="*/ 1274612 h 1934496"/>
              <a:gd name="connsiteX1222" fmla="*/ 6947357 w 9922465"/>
              <a:gd name="connsiteY1222" fmla="*/ 1329803 h 1934496"/>
              <a:gd name="connsiteX1223" fmla="*/ 6892165 w 9922465"/>
              <a:gd name="connsiteY1223" fmla="*/ 1274612 h 1934496"/>
              <a:gd name="connsiteX1224" fmla="*/ 6947357 w 9922465"/>
              <a:gd name="connsiteY1224" fmla="*/ 1219421 h 1934496"/>
              <a:gd name="connsiteX1225" fmla="*/ 6817064 w 9922465"/>
              <a:gd name="connsiteY1225" fmla="*/ 1219421 h 1934496"/>
              <a:gd name="connsiteX1226" fmla="*/ 6872256 w 9922465"/>
              <a:gd name="connsiteY1226" fmla="*/ 1274612 h 1934496"/>
              <a:gd name="connsiteX1227" fmla="*/ 6817064 w 9922465"/>
              <a:gd name="connsiteY1227" fmla="*/ 1329803 h 1934496"/>
              <a:gd name="connsiteX1228" fmla="*/ 6761872 w 9922465"/>
              <a:gd name="connsiteY1228" fmla="*/ 1274612 h 1934496"/>
              <a:gd name="connsiteX1229" fmla="*/ 6817064 w 9922465"/>
              <a:gd name="connsiteY1229" fmla="*/ 1219421 h 1934496"/>
              <a:gd name="connsiteX1230" fmla="*/ 6683431 w 9922465"/>
              <a:gd name="connsiteY1230" fmla="*/ 1219421 h 1934496"/>
              <a:gd name="connsiteX1231" fmla="*/ 6738623 w 9922465"/>
              <a:gd name="connsiteY1231" fmla="*/ 1274612 h 1934496"/>
              <a:gd name="connsiteX1232" fmla="*/ 6683431 w 9922465"/>
              <a:gd name="connsiteY1232" fmla="*/ 1329803 h 1934496"/>
              <a:gd name="connsiteX1233" fmla="*/ 6628239 w 9922465"/>
              <a:gd name="connsiteY1233" fmla="*/ 1274612 h 1934496"/>
              <a:gd name="connsiteX1234" fmla="*/ 6683431 w 9922465"/>
              <a:gd name="connsiteY1234" fmla="*/ 1219421 h 1934496"/>
              <a:gd name="connsiteX1235" fmla="*/ 6553137 w 9922465"/>
              <a:gd name="connsiteY1235" fmla="*/ 1219421 h 1934496"/>
              <a:gd name="connsiteX1236" fmla="*/ 6608329 w 9922465"/>
              <a:gd name="connsiteY1236" fmla="*/ 1274612 h 1934496"/>
              <a:gd name="connsiteX1237" fmla="*/ 6553137 w 9922465"/>
              <a:gd name="connsiteY1237" fmla="*/ 1329803 h 1934496"/>
              <a:gd name="connsiteX1238" fmla="*/ 6497945 w 9922465"/>
              <a:gd name="connsiteY1238" fmla="*/ 1274612 h 1934496"/>
              <a:gd name="connsiteX1239" fmla="*/ 6553137 w 9922465"/>
              <a:gd name="connsiteY1239" fmla="*/ 1219421 h 1934496"/>
              <a:gd name="connsiteX1240" fmla="*/ 6419502 w 9922465"/>
              <a:gd name="connsiteY1240" fmla="*/ 1219421 h 1934496"/>
              <a:gd name="connsiteX1241" fmla="*/ 6474694 w 9922465"/>
              <a:gd name="connsiteY1241" fmla="*/ 1274612 h 1934496"/>
              <a:gd name="connsiteX1242" fmla="*/ 6419502 w 9922465"/>
              <a:gd name="connsiteY1242" fmla="*/ 1329803 h 1934496"/>
              <a:gd name="connsiteX1243" fmla="*/ 6364310 w 9922465"/>
              <a:gd name="connsiteY1243" fmla="*/ 1274612 h 1934496"/>
              <a:gd name="connsiteX1244" fmla="*/ 6419502 w 9922465"/>
              <a:gd name="connsiteY1244" fmla="*/ 1219421 h 1934496"/>
              <a:gd name="connsiteX1245" fmla="*/ 6289207 w 9922465"/>
              <a:gd name="connsiteY1245" fmla="*/ 1219421 h 1934496"/>
              <a:gd name="connsiteX1246" fmla="*/ 6344399 w 9922465"/>
              <a:gd name="connsiteY1246" fmla="*/ 1274612 h 1934496"/>
              <a:gd name="connsiteX1247" fmla="*/ 6289207 w 9922465"/>
              <a:gd name="connsiteY1247" fmla="*/ 1329803 h 1934496"/>
              <a:gd name="connsiteX1248" fmla="*/ 6234015 w 9922465"/>
              <a:gd name="connsiteY1248" fmla="*/ 1274612 h 1934496"/>
              <a:gd name="connsiteX1249" fmla="*/ 6289207 w 9922465"/>
              <a:gd name="connsiteY1249" fmla="*/ 1219421 h 1934496"/>
              <a:gd name="connsiteX1250" fmla="*/ 6155573 w 9922465"/>
              <a:gd name="connsiteY1250" fmla="*/ 1219421 h 1934496"/>
              <a:gd name="connsiteX1251" fmla="*/ 6210765 w 9922465"/>
              <a:gd name="connsiteY1251" fmla="*/ 1274612 h 1934496"/>
              <a:gd name="connsiteX1252" fmla="*/ 6155573 w 9922465"/>
              <a:gd name="connsiteY1252" fmla="*/ 1329803 h 1934496"/>
              <a:gd name="connsiteX1253" fmla="*/ 6100381 w 9922465"/>
              <a:gd name="connsiteY1253" fmla="*/ 1274612 h 1934496"/>
              <a:gd name="connsiteX1254" fmla="*/ 6155573 w 9922465"/>
              <a:gd name="connsiteY1254" fmla="*/ 1219421 h 1934496"/>
              <a:gd name="connsiteX1255" fmla="*/ 6021939 w 9922465"/>
              <a:gd name="connsiteY1255" fmla="*/ 1219421 h 1934496"/>
              <a:gd name="connsiteX1256" fmla="*/ 6077131 w 9922465"/>
              <a:gd name="connsiteY1256" fmla="*/ 1274612 h 1934496"/>
              <a:gd name="connsiteX1257" fmla="*/ 6021939 w 9922465"/>
              <a:gd name="connsiteY1257" fmla="*/ 1329803 h 1934496"/>
              <a:gd name="connsiteX1258" fmla="*/ 5966747 w 9922465"/>
              <a:gd name="connsiteY1258" fmla="*/ 1274612 h 1934496"/>
              <a:gd name="connsiteX1259" fmla="*/ 6021939 w 9922465"/>
              <a:gd name="connsiteY1259" fmla="*/ 1219421 h 1934496"/>
              <a:gd name="connsiteX1260" fmla="*/ 5884964 w 9922465"/>
              <a:gd name="connsiteY1260" fmla="*/ 1219421 h 1934496"/>
              <a:gd name="connsiteX1261" fmla="*/ 5940156 w 9922465"/>
              <a:gd name="connsiteY1261" fmla="*/ 1274612 h 1934496"/>
              <a:gd name="connsiteX1262" fmla="*/ 5884964 w 9922465"/>
              <a:gd name="connsiteY1262" fmla="*/ 1329803 h 1934496"/>
              <a:gd name="connsiteX1263" fmla="*/ 5829772 w 9922465"/>
              <a:gd name="connsiteY1263" fmla="*/ 1274612 h 1934496"/>
              <a:gd name="connsiteX1264" fmla="*/ 5884964 w 9922465"/>
              <a:gd name="connsiteY1264" fmla="*/ 1219421 h 1934496"/>
              <a:gd name="connsiteX1265" fmla="*/ 5754668 w 9922465"/>
              <a:gd name="connsiteY1265" fmla="*/ 1219421 h 1934496"/>
              <a:gd name="connsiteX1266" fmla="*/ 5809860 w 9922465"/>
              <a:gd name="connsiteY1266" fmla="*/ 1274612 h 1934496"/>
              <a:gd name="connsiteX1267" fmla="*/ 5754668 w 9922465"/>
              <a:gd name="connsiteY1267" fmla="*/ 1329803 h 1934496"/>
              <a:gd name="connsiteX1268" fmla="*/ 5699476 w 9922465"/>
              <a:gd name="connsiteY1268" fmla="*/ 1274612 h 1934496"/>
              <a:gd name="connsiteX1269" fmla="*/ 5754668 w 9922465"/>
              <a:gd name="connsiteY1269" fmla="*/ 1219421 h 1934496"/>
              <a:gd name="connsiteX1270" fmla="*/ 5621034 w 9922465"/>
              <a:gd name="connsiteY1270" fmla="*/ 1219421 h 1934496"/>
              <a:gd name="connsiteX1271" fmla="*/ 5676226 w 9922465"/>
              <a:gd name="connsiteY1271" fmla="*/ 1274612 h 1934496"/>
              <a:gd name="connsiteX1272" fmla="*/ 5621034 w 9922465"/>
              <a:gd name="connsiteY1272" fmla="*/ 1329803 h 1934496"/>
              <a:gd name="connsiteX1273" fmla="*/ 5565842 w 9922465"/>
              <a:gd name="connsiteY1273" fmla="*/ 1274612 h 1934496"/>
              <a:gd name="connsiteX1274" fmla="*/ 5621034 w 9922465"/>
              <a:gd name="connsiteY1274" fmla="*/ 1219421 h 1934496"/>
              <a:gd name="connsiteX1275" fmla="*/ 5487399 w 9922465"/>
              <a:gd name="connsiteY1275" fmla="*/ 1219421 h 1934496"/>
              <a:gd name="connsiteX1276" fmla="*/ 5542591 w 9922465"/>
              <a:gd name="connsiteY1276" fmla="*/ 1274612 h 1934496"/>
              <a:gd name="connsiteX1277" fmla="*/ 5487399 w 9922465"/>
              <a:gd name="connsiteY1277" fmla="*/ 1329803 h 1934496"/>
              <a:gd name="connsiteX1278" fmla="*/ 5432207 w 9922465"/>
              <a:gd name="connsiteY1278" fmla="*/ 1274612 h 1934496"/>
              <a:gd name="connsiteX1279" fmla="*/ 5487399 w 9922465"/>
              <a:gd name="connsiteY1279" fmla="*/ 1219421 h 1934496"/>
              <a:gd name="connsiteX1280" fmla="*/ 5357106 w 9922465"/>
              <a:gd name="connsiteY1280" fmla="*/ 1219421 h 1934496"/>
              <a:gd name="connsiteX1281" fmla="*/ 5412298 w 9922465"/>
              <a:gd name="connsiteY1281" fmla="*/ 1274612 h 1934496"/>
              <a:gd name="connsiteX1282" fmla="*/ 5357106 w 9922465"/>
              <a:gd name="connsiteY1282" fmla="*/ 1329803 h 1934496"/>
              <a:gd name="connsiteX1283" fmla="*/ 5301914 w 9922465"/>
              <a:gd name="connsiteY1283" fmla="*/ 1274612 h 1934496"/>
              <a:gd name="connsiteX1284" fmla="*/ 5357106 w 9922465"/>
              <a:gd name="connsiteY1284" fmla="*/ 1219421 h 1934496"/>
              <a:gd name="connsiteX1285" fmla="*/ 5093178 w 9922465"/>
              <a:gd name="connsiteY1285" fmla="*/ 1219421 h 1934496"/>
              <a:gd name="connsiteX1286" fmla="*/ 5148370 w 9922465"/>
              <a:gd name="connsiteY1286" fmla="*/ 1274612 h 1934496"/>
              <a:gd name="connsiteX1287" fmla="*/ 5093178 w 9922465"/>
              <a:gd name="connsiteY1287" fmla="*/ 1329803 h 1934496"/>
              <a:gd name="connsiteX1288" fmla="*/ 5037986 w 9922465"/>
              <a:gd name="connsiteY1288" fmla="*/ 1274612 h 1934496"/>
              <a:gd name="connsiteX1289" fmla="*/ 5093178 w 9922465"/>
              <a:gd name="connsiteY1289" fmla="*/ 1219421 h 1934496"/>
              <a:gd name="connsiteX1290" fmla="*/ 4959542 w 9922465"/>
              <a:gd name="connsiteY1290" fmla="*/ 1219421 h 1934496"/>
              <a:gd name="connsiteX1291" fmla="*/ 5014734 w 9922465"/>
              <a:gd name="connsiteY1291" fmla="*/ 1274612 h 1934496"/>
              <a:gd name="connsiteX1292" fmla="*/ 4959542 w 9922465"/>
              <a:gd name="connsiteY1292" fmla="*/ 1329803 h 1934496"/>
              <a:gd name="connsiteX1293" fmla="*/ 4904350 w 9922465"/>
              <a:gd name="connsiteY1293" fmla="*/ 1274612 h 1934496"/>
              <a:gd name="connsiteX1294" fmla="*/ 4959542 w 9922465"/>
              <a:gd name="connsiteY1294" fmla="*/ 1219421 h 1934496"/>
              <a:gd name="connsiteX1295" fmla="*/ 4829250 w 9922465"/>
              <a:gd name="connsiteY1295" fmla="*/ 1219421 h 1934496"/>
              <a:gd name="connsiteX1296" fmla="*/ 4884442 w 9922465"/>
              <a:gd name="connsiteY1296" fmla="*/ 1274612 h 1934496"/>
              <a:gd name="connsiteX1297" fmla="*/ 4829250 w 9922465"/>
              <a:gd name="connsiteY1297" fmla="*/ 1329803 h 1934496"/>
              <a:gd name="connsiteX1298" fmla="*/ 4774058 w 9922465"/>
              <a:gd name="connsiteY1298" fmla="*/ 1274612 h 1934496"/>
              <a:gd name="connsiteX1299" fmla="*/ 4829250 w 9922465"/>
              <a:gd name="connsiteY1299" fmla="*/ 1219421 h 1934496"/>
              <a:gd name="connsiteX1300" fmla="*/ 319111 w 9922465"/>
              <a:gd name="connsiteY1300" fmla="*/ 1219421 h 1934496"/>
              <a:gd name="connsiteX1301" fmla="*/ 374305 w 9922465"/>
              <a:gd name="connsiteY1301" fmla="*/ 1274612 h 1934496"/>
              <a:gd name="connsiteX1302" fmla="*/ 319111 w 9922465"/>
              <a:gd name="connsiteY1302" fmla="*/ 1329803 h 1934496"/>
              <a:gd name="connsiteX1303" fmla="*/ 263920 w 9922465"/>
              <a:gd name="connsiteY1303" fmla="*/ 1274612 h 1934496"/>
              <a:gd name="connsiteX1304" fmla="*/ 319111 w 9922465"/>
              <a:gd name="connsiteY1304" fmla="*/ 1219421 h 1934496"/>
              <a:gd name="connsiteX1305" fmla="*/ 185480 w 9922465"/>
              <a:gd name="connsiteY1305" fmla="*/ 1219421 h 1934496"/>
              <a:gd name="connsiteX1306" fmla="*/ 240671 w 9922465"/>
              <a:gd name="connsiteY1306" fmla="*/ 1274612 h 1934496"/>
              <a:gd name="connsiteX1307" fmla="*/ 185480 w 9922465"/>
              <a:gd name="connsiteY1307" fmla="*/ 1329803 h 1934496"/>
              <a:gd name="connsiteX1308" fmla="*/ 130288 w 9922465"/>
              <a:gd name="connsiteY1308" fmla="*/ 1274612 h 1934496"/>
              <a:gd name="connsiteX1309" fmla="*/ 185480 w 9922465"/>
              <a:gd name="connsiteY1309" fmla="*/ 1219421 h 1934496"/>
              <a:gd name="connsiteX1310" fmla="*/ 449407 w 9922465"/>
              <a:gd name="connsiteY1310" fmla="*/ 1219419 h 1934496"/>
              <a:gd name="connsiteX1311" fmla="*/ 504600 w 9922465"/>
              <a:gd name="connsiteY1311" fmla="*/ 1274610 h 1934496"/>
              <a:gd name="connsiteX1312" fmla="*/ 449407 w 9922465"/>
              <a:gd name="connsiteY1312" fmla="*/ 1329801 h 1934496"/>
              <a:gd name="connsiteX1313" fmla="*/ 394214 w 9922465"/>
              <a:gd name="connsiteY1313" fmla="*/ 1274610 h 1934496"/>
              <a:gd name="connsiteX1314" fmla="*/ 449407 w 9922465"/>
              <a:gd name="connsiteY1314" fmla="*/ 1219419 h 1934496"/>
              <a:gd name="connsiteX1315" fmla="*/ 4565322 w 9922465"/>
              <a:gd name="connsiteY1315" fmla="*/ 1219417 h 1934496"/>
              <a:gd name="connsiteX1316" fmla="*/ 4620514 w 9922465"/>
              <a:gd name="connsiteY1316" fmla="*/ 1274608 h 1934496"/>
              <a:gd name="connsiteX1317" fmla="*/ 4565322 w 9922465"/>
              <a:gd name="connsiteY1317" fmla="*/ 1329799 h 1934496"/>
              <a:gd name="connsiteX1318" fmla="*/ 4510130 w 9922465"/>
              <a:gd name="connsiteY1318" fmla="*/ 1274608 h 1934496"/>
              <a:gd name="connsiteX1319" fmla="*/ 4565322 w 9922465"/>
              <a:gd name="connsiteY1319" fmla="*/ 1219417 h 1934496"/>
              <a:gd name="connsiteX1320" fmla="*/ 2834811 w 9922465"/>
              <a:gd name="connsiteY1320" fmla="*/ 1219417 h 1934496"/>
              <a:gd name="connsiteX1321" fmla="*/ 2890003 w 9922465"/>
              <a:gd name="connsiteY1321" fmla="*/ 1274608 h 1934496"/>
              <a:gd name="connsiteX1322" fmla="*/ 2834811 w 9922465"/>
              <a:gd name="connsiteY1322" fmla="*/ 1329799 h 1934496"/>
              <a:gd name="connsiteX1323" fmla="*/ 2779620 w 9922465"/>
              <a:gd name="connsiteY1323" fmla="*/ 1274608 h 1934496"/>
              <a:gd name="connsiteX1324" fmla="*/ 2834811 w 9922465"/>
              <a:gd name="connsiteY1324" fmla="*/ 1219417 h 1934496"/>
              <a:gd name="connsiteX1325" fmla="*/ 2707858 w 9922465"/>
              <a:gd name="connsiteY1325" fmla="*/ 1219417 h 1934496"/>
              <a:gd name="connsiteX1326" fmla="*/ 2763052 w 9922465"/>
              <a:gd name="connsiteY1326" fmla="*/ 1274608 h 1934496"/>
              <a:gd name="connsiteX1327" fmla="*/ 2707858 w 9922465"/>
              <a:gd name="connsiteY1327" fmla="*/ 1329799 h 1934496"/>
              <a:gd name="connsiteX1328" fmla="*/ 2652667 w 9922465"/>
              <a:gd name="connsiteY1328" fmla="*/ 1274608 h 1934496"/>
              <a:gd name="connsiteX1329" fmla="*/ 2707858 w 9922465"/>
              <a:gd name="connsiteY1329" fmla="*/ 1219417 h 1934496"/>
              <a:gd name="connsiteX1330" fmla="*/ 2570885 w 9922465"/>
              <a:gd name="connsiteY1330" fmla="*/ 1219417 h 1934496"/>
              <a:gd name="connsiteX1331" fmla="*/ 2626075 w 9922465"/>
              <a:gd name="connsiteY1331" fmla="*/ 1274608 h 1934496"/>
              <a:gd name="connsiteX1332" fmla="*/ 2570885 w 9922465"/>
              <a:gd name="connsiteY1332" fmla="*/ 1329799 h 1934496"/>
              <a:gd name="connsiteX1333" fmla="*/ 2515692 w 9922465"/>
              <a:gd name="connsiteY1333" fmla="*/ 1274608 h 1934496"/>
              <a:gd name="connsiteX1334" fmla="*/ 2570885 w 9922465"/>
              <a:gd name="connsiteY1334" fmla="*/ 1219417 h 1934496"/>
              <a:gd name="connsiteX1335" fmla="*/ 2039686 w 9922465"/>
              <a:gd name="connsiteY1335" fmla="*/ 1219417 h 1934496"/>
              <a:gd name="connsiteX1336" fmla="*/ 2094880 w 9922465"/>
              <a:gd name="connsiteY1336" fmla="*/ 1274608 h 1934496"/>
              <a:gd name="connsiteX1337" fmla="*/ 2039686 w 9922465"/>
              <a:gd name="connsiteY1337" fmla="*/ 1329799 h 1934496"/>
              <a:gd name="connsiteX1338" fmla="*/ 1984493 w 9922465"/>
              <a:gd name="connsiteY1338" fmla="*/ 1274608 h 1934496"/>
              <a:gd name="connsiteX1339" fmla="*/ 2039686 w 9922465"/>
              <a:gd name="connsiteY1339" fmla="*/ 1219417 h 1934496"/>
              <a:gd name="connsiteX1340" fmla="*/ 1909390 w 9922465"/>
              <a:gd name="connsiteY1340" fmla="*/ 1219417 h 1934496"/>
              <a:gd name="connsiteX1341" fmla="*/ 1964583 w 9922465"/>
              <a:gd name="connsiteY1341" fmla="*/ 1274608 h 1934496"/>
              <a:gd name="connsiteX1342" fmla="*/ 1909390 w 9922465"/>
              <a:gd name="connsiteY1342" fmla="*/ 1329799 h 1934496"/>
              <a:gd name="connsiteX1343" fmla="*/ 1854197 w 9922465"/>
              <a:gd name="connsiteY1343" fmla="*/ 1274608 h 1934496"/>
              <a:gd name="connsiteX1344" fmla="*/ 1909390 w 9922465"/>
              <a:gd name="connsiteY1344" fmla="*/ 1219417 h 1934496"/>
              <a:gd name="connsiteX1345" fmla="*/ 1779095 w 9922465"/>
              <a:gd name="connsiteY1345" fmla="*/ 1219417 h 1934496"/>
              <a:gd name="connsiteX1346" fmla="*/ 1834287 w 9922465"/>
              <a:gd name="connsiteY1346" fmla="*/ 1274608 h 1934496"/>
              <a:gd name="connsiteX1347" fmla="*/ 1779095 w 9922465"/>
              <a:gd name="connsiteY1347" fmla="*/ 1329799 h 1934496"/>
              <a:gd name="connsiteX1348" fmla="*/ 1723902 w 9922465"/>
              <a:gd name="connsiteY1348" fmla="*/ 1274608 h 1934496"/>
              <a:gd name="connsiteX1349" fmla="*/ 1779095 w 9922465"/>
              <a:gd name="connsiteY1349" fmla="*/ 1219417 h 1934496"/>
              <a:gd name="connsiteX1350" fmla="*/ 1645457 w 9922465"/>
              <a:gd name="connsiteY1350" fmla="*/ 1219417 h 1934496"/>
              <a:gd name="connsiteX1351" fmla="*/ 1700655 w 9922465"/>
              <a:gd name="connsiteY1351" fmla="*/ 1274608 h 1934496"/>
              <a:gd name="connsiteX1352" fmla="*/ 1645457 w 9922465"/>
              <a:gd name="connsiteY1352" fmla="*/ 1329799 h 1934496"/>
              <a:gd name="connsiteX1353" fmla="*/ 1590265 w 9922465"/>
              <a:gd name="connsiteY1353" fmla="*/ 1274608 h 1934496"/>
              <a:gd name="connsiteX1354" fmla="*/ 1645457 w 9922465"/>
              <a:gd name="connsiteY1354" fmla="*/ 1219417 h 1934496"/>
              <a:gd name="connsiteX1355" fmla="*/ 1515168 w 9922465"/>
              <a:gd name="connsiteY1355" fmla="*/ 1219417 h 1934496"/>
              <a:gd name="connsiteX1356" fmla="*/ 1570354 w 9922465"/>
              <a:gd name="connsiteY1356" fmla="*/ 1274608 h 1934496"/>
              <a:gd name="connsiteX1357" fmla="*/ 1515168 w 9922465"/>
              <a:gd name="connsiteY1357" fmla="*/ 1329799 h 1934496"/>
              <a:gd name="connsiteX1358" fmla="*/ 1459973 w 9922465"/>
              <a:gd name="connsiteY1358" fmla="*/ 1274608 h 1934496"/>
              <a:gd name="connsiteX1359" fmla="*/ 1515168 w 9922465"/>
              <a:gd name="connsiteY1359" fmla="*/ 1219417 h 1934496"/>
              <a:gd name="connsiteX1360" fmla="*/ 1381528 w 9922465"/>
              <a:gd name="connsiteY1360" fmla="*/ 1219417 h 1934496"/>
              <a:gd name="connsiteX1361" fmla="*/ 1436723 w 9922465"/>
              <a:gd name="connsiteY1361" fmla="*/ 1274608 h 1934496"/>
              <a:gd name="connsiteX1362" fmla="*/ 1381528 w 9922465"/>
              <a:gd name="connsiteY1362" fmla="*/ 1329799 h 1934496"/>
              <a:gd name="connsiteX1363" fmla="*/ 1326339 w 9922465"/>
              <a:gd name="connsiteY1363" fmla="*/ 1274608 h 1934496"/>
              <a:gd name="connsiteX1364" fmla="*/ 1381528 w 9922465"/>
              <a:gd name="connsiteY1364" fmla="*/ 1219417 h 1934496"/>
              <a:gd name="connsiteX1365" fmla="*/ 1251239 w 9922465"/>
              <a:gd name="connsiteY1365" fmla="*/ 1219417 h 1934496"/>
              <a:gd name="connsiteX1366" fmla="*/ 1306431 w 9922465"/>
              <a:gd name="connsiteY1366" fmla="*/ 1274608 h 1934496"/>
              <a:gd name="connsiteX1367" fmla="*/ 1251239 w 9922465"/>
              <a:gd name="connsiteY1367" fmla="*/ 1329799 h 1934496"/>
              <a:gd name="connsiteX1368" fmla="*/ 1196046 w 9922465"/>
              <a:gd name="connsiteY1368" fmla="*/ 1274608 h 1934496"/>
              <a:gd name="connsiteX1369" fmla="*/ 1251239 w 9922465"/>
              <a:gd name="connsiteY1369" fmla="*/ 1219417 h 1934496"/>
              <a:gd name="connsiteX1370" fmla="*/ 1117601 w 9922465"/>
              <a:gd name="connsiteY1370" fmla="*/ 1219417 h 1934496"/>
              <a:gd name="connsiteX1371" fmla="*/ 1172794 w 9922465"/>
              <a:gd name="connsiteY1371" fmla="*/ 1274608 h 1934496"/>
              <a:gd name="connsiteX1372" fmla="*/ 1117601 w 9922465"/>
              <a:gd name="connsiteY1372" fmla="*/ 1329799 h 1934496"/>
              <a:gd name="connsiteX1373" fmla="*/ 1062408 w 9922465"/>
              <a:gd name="connsiteY1373" fmla="*/ 1274608 h 1934496"/>
              <a:gd name="connsiteX1374" fmla="*/ 1117601 w 9922465"/>
              <a:gd name="connsiteY1374" fmla="*/ 1219417 h 1934496"/>
              <a:gd name="connsiteX1375" fmla="*/ 980622 w 9922465"/>
              <a:gd name="connsiteY1375" fmla="*/ 1219417 h 1934496"/>
              <a:gd name="connsiteX1376" fmla="*/ 1035816 w 9922465"/>
              <a:gd name="connsiteY1376" fmla="*/ 1274608 h 1934496"/>
              <a:gd name="connsiteX1377" fmla="*/ 980622 w 9922465"/>
              <a:gd name="connsiteY1377" fmla="*/ 1329799 h 1934496"/>
              <a:gd name="connsiteX1378" fmla="*/ 925429 w 9922465"/>
              <a:gd name="connsiteY1378" fmla="*/ 1274608 h 1934496"/>
              <a:gd name="connsiteX1379" fmla="*/ 980622 w 9922465"/>
              <a:gd name="connsiteY1379" fmla="*/ 1219417 h 1934496"/>
              <a:gd name="connsiteX1380" fmla="*/ 9469710 w 9922465"/>
              <a:gd name="connsiteY1380" fmla="*/ 1099147 h 1934496"/>
              <a:gd name="connsiteX1381" fmla="*/ 9524902 w 9922465"/>
              <a:gd name="connsiteY1381" fmla="*/ 1154338 h 1934496"/>
              <a:gd name="connsiteX1382" fmla="*/ 9469710 w 9922465"/>
              <a:gd name="connsiteY1382" fmla="*/ 1209529 h 1934496"/>
              <a:gd name="connsiteX1383" fmla="*/ 9414518 w 9922465"/>
              <a:gd name="connsiteY1383" fmla="*/ 1154338 h 1934496"/>
              <a:gd name="connsiteX1384" fmla="*/ 9469710 w 9922465"/>
              <a:gd name="connsiteY1384" fmla="*/ 1099147 h 1934496"/>
              <a:gd name="connsiteX1385" fmla="*/ 9336075 w 9922465"/>
              <a:gd name="connsiteY1385" fmla="*/ 1099147 h 1934496"/>
              <a:gd name="connsiteX1386" fmla="*/ 9391267 w 9922465"/>
              <a:gd name="connsiteY1386" fmla="*/ 1154338 h 1934496"/>
              <a:gd name="connsiteX1387" fmla="*/ 9336075 w 9922465"/>
              <a:gd name="connsiteY1387" fmla="*/ 1209529 h 1934496"/>
              <a:gd name="connsiteX1388" fmla="*/ 9280883 w 9922465"/>
              <a:gd name="connsiteY1388" fmla="*/ 1154338 h 1934496"/>
              <a:gd name="connsiteX1389" fmla="*/ 9336075 w 9922465"/>
              <a:gd name="connsiteY1389" fmla="*/ 1099147 h 1934496"/>
              <a:gd name="connsiteX1390" fmla="*/ 9199100 w 9922465"/>
              <a:gd name="connsiteY1390" fmla="*/ 1099147 h 1934496"/>
              <a:gd name="connsiteX1391" fmla="*/ 9254292 w 9922465"/>
              <a:gd name="connsiteY1391" fmla="*/ 1154338 h 1934496"/>
              <a:gd name="connsiteX1392" fmla="*/ 9199100 w 9922465"/>
              <a:gd name="connsiteY1392" fmla="*/ 1209529 h 1934496"/>
              <a:gd name="connsiteX1393" fmla="*/ 9143908 w 9922465"/>
              <a:gd name="connsiteY1393" fmla="*/ 1154338 h 1934496"/>
              <a:gd name="connsiteX1394" fmla="*/ 9199100 w 9922465"/>
              <a:gd name="connsiteY1394" fmla="*/ 1099147 h 1934496"/>
              <a:gd name="connsiteX1395" fmla="*/ 9068805 w 9922465"/>
              <a:gd name="connsiteY1395" fmla="*/ 1099147 h 1934496"/>
              <a:gd name="connsiteX1396" fmla="*/ 9123997 w 9922465"/>
              <a:gd name="connsiteY1396" fmla="*/ 1154338 h 1934496"/>
              <a:gd name="connsiteX1397" fmla="*/ 9068805 w 9922465"/>
              <a:gd name="connsiteY1397" fmla="*/ 1209529 h 1934496"/>
              <a:gd name="connsiteX1398" fmla="*/ 9013613 w 9922465"/>
              <a:gd name="connsiteY1398" fmla="*/ 1154338 h 1934496"/>
              <a:gd name="connsiteX1399" fmla="*/ 9068805 w 9922465"/>
              <a:gd name="connsiteY1399" fmla="*/ 1099147 h 1934496"/>
              <a:gd name="connsiteX1400" fmla="*/ 8935170 w 9922465"/>
              <a:gd name="connsiteY1400" fmla="*/ 1099147 h 1934496"/>
              <a:gd name="connsiteX1401" fmla="*/ 8990362 w 9922465"/>
              <a:gd name="connsiteY1401" fmla="*/ 1154338 h 1934496"/>
              <a:gd name="connsiteX1402" fmla="*/ 8935170 w 9922465"/>
              <a:gd name="connsiteY1402" fmla="*/ 1209529 h 1934496"/>
              <a:gd name="connsiteX1403" fmla="*/ 8879978 w 9922465"/>
              <a:gd name="connsiteY1403" fmla="*/ 1154338 h 1934496"/>
              <a:gd name="connsiteX1404" fmla="*/ 8935170 w 9922465"/>
              <a:gd name="connsiteY1404" fmla="*/ 1099147 h 1934496"/>
              <a:gd name="connsiteX1405" fmla="*/ 8801536 w 9922465"/>
              <a:gd name="connsiteY1405" fmla="*/ 1099147 h 1934496"/>
              <a:gd name="connsiteX1406" fmla="*/ 8856728 w 9922465"/>
              <a:gd name="connsiteY1406" fmla="*/ 1154338 h 1934496"/>
              <a:gd name="connsiteX1407" fmla="*/ 8801536 w 9922465"/>
              <a:gd name="connsiteY1407" fmla="*/ 1209529 h 1934496"/>
              <a:gd name="connsiteX1408" fmla="*/ 8746344 w 9922465"/>
              <a:gd name="connsiteY1408" fmla="*/ 1154338 h 1934496"/>
              <a:gd name="connsiteX1409" fmla="*/ 8801536 w 9922465"/>
              <a:gd name="connsiteY1409" fmla="*/ 1099147 h 1934496"/>
              <a:gd name="connsiteX1410" fmla="*/ 8671243 w 9922465"/>
              <a:gd name="connsiteY1410" fmla="*/ 1099147 h 1934496"/>
              <a:gd name="connsiteX1411" fmla="*/ 8726435 w 9922465"/>
              <a:gd name="connsiteY1411" fmla="*/ 1154338 h 1934496"/>
              <a:gd name="connsiteX1412" fmla="*/ 8671243 w 9922465"/>
              <a:gd name="connsiteY1412" fmla="*/ 1209529 h 1934496"/>
              <a:gd name="connsiteX1413" fmla="*/ 8616051 w 9922465"/>
              <a:gd name="connsiteY1413" fmla="*/ 1154338 h 1934496"/>
              <a:gd name="connsiteX1414" fmla="*/ 8671243 w 9922465"/>
              <a:gd name="connsiteY1414" fmla="*/ 1099147 h 1934496"/>
              <a:gd name="connsiteX1415" fmla="*/ 8537609 w 9922465"/>
              <a:gd name="connsiteY1415" fmla="*/ 1099147 h 1934496"/>
              <a:gd name="connsiteX1416" fmla="*/ 8592801 w 9922465"/>
              <a:gd name="connsiteY1416" fmla="*/ 1154338 h 1934496"/>
              <a:gd name="connsiteX1417" fmla="*/ 8537609 w 9922465"/>
              <a:gd name="connsiteY1417" fmla="*/ 1209529 h 1934496"/>
              <a:gd name="connsiteX1418" fmla="*/ 8482417 w 9922465"/>
              <a:gd name="connsiteY1418" fmla="*/ 1154338 h 1934496"/>
              <a:gd name="connsiteX1419" fmla="*/ 8537609 w 9922465"/>
              <a:gd name="connsiteY1419" fmla="*/ 1099147 h 1934496"/>
              <a:gd name="connsiteX1420" fmla="*/ 8407315 w 9922465"/>
              <a:gd name="connsiteY1420" fmla="*/ 1099147 h 1934496"/>
              <a:gd name="connsiteX1421" fmla="*/ 8462507 w 9922465"/>
              <a:gd name="connsiteY1421" fmla="*/ 1154338 h 1934496"/>
              <a:gd name="connsiteX1422" fmla="*/ 8407315 w 9922465"/>
              <a:gd name="connsiteY1422" fmla="*/ 1209529 h 1934496"/>
              <a:gd name="connsiteX1423" fmla="*/ 8352123 w 9922465"/>
              <a:gd name="connsiteY1423" fmla="*/ 1154338 h 1934496"/>
              <a:gd name="connsiteX1424" fmla="*/ 8407315 w 9922465"/>
              <a:gd name="connsiteY1424" fmla="*/ 1099147 h 1934496"/>
              <a:gd name="connsiteX1425" fmla="*/ 8273681 w 9922465"/>
              <a:gd name="connsiteY1425" fmla="*/ 1099147 h 1934496"/>
              <a:gd name="connsiteX1426" fmla="*/ 8328873 w 9922465"/>
              <a:gd name="connsiteY1426" fmla="*/ 1154338 h 1934496"/>
              <a:gd name="connsiteX1427" fmla="*/ 8273681 w 9922465"/>
              <a:gd name="connsiteY1427" fmla="*/ 1209529 h 1934496"/>
              <a:gd name="connsiteX1428" fmla="*/ 8218489 w 9922465"/>
              <a:gd name="connsiteY1428" fmla="*/ 1154338 h 1934496"/>
              <a:gd name="connsiteX1429" fmla="*/ 8273681 w 9922465"/>
              <a:gd name="connsiteY1429" fmla="*/ 1099147 h 1934496"/>
              <a:gd name="connsiteX1430" fmla="*/ 8143386 w 9922465"/>
              <a:gd name="connsiteY1430" fmla="*/ 1099147 h 1934496"/>
              <a:gd name="connsiteX1431" fmla="*/ 8198578 w 9922465"/>
              <a:gd name="connsiteY1431" fmla="*/ 1154338 h 1934496"/>
              <a:gd name="connsiteX1432" fmla="*/ 8143386 w 9922465"/>
              <a:gd name="connsiteY1432" fmla="*/ 1209529 h 1934496"/>
              <a:gd name="connsiteX1433" fmla="*/ 8088194 w 9922465"/>
              <a:gd name="connsiteY1433" fmla="*/ 1154338 h 1934496"/>
              <a:gd name="connsiteX1434" fmla="*/ 8143386 w 9922465"/>
              <a:gd name="connsiteY1434" fmla="*/ 1099147 h 1934496"/>
              <a:gd name="connsiteX1435" fmla="*/ 8009752 w 9922465"/>
              <a:gd name="connsiteY1435" fmla="*/ 1099147 h 1934496"/>
              <a:gd name="connsiteX1436" fmla="*/ 8064944 w 9922465"/>
              <a:gd name="connsiteY1436" fmla="*/ 1154338 h 1934496"/>
              <a:gd name="connsiteX1437" fmla="*/ 8009752 w 9922465"/>
              <a:gd name="connsiteY1437" fmla="*/ 1209529 h 1934496"/>
              <a:gd name="connsiteX1438" fmla="*/ 7954560 w 9922465"/>
              <a:gd name="connsiteY1438" fmla="*/ 1154338 h 1934496"/>
              <a:gd name="connsiteX1439" fmla="*/ 8009752 w 9922465"/>
              <a:gd name="connsiteY1439" fmla="*/ 1099147 h 1934496"/>
              <a:gd name="connsiteX1440" fmla="*/ 7876117 w 9922465"/>
              <a:gd name="connsiteY1440" fmla="*/ 1099147 h 1934496"/>
              <a:gd name="connsiteX1441" fmla="*/ 7931309 w 9922465"/>
              <a:gd name="connsiteY1441" fmla="*/ 1154338 h 1934496"/>
              <a:gd name="connsiteX1442" fmla="*/ 7876117 w 9922465"/>
              <a:gd name="connsiteY1442" fmla="*/ 1209529 h 1934496"/>
              <a:gd name="connsiteX1443" fmla="*/ 7820925 w 9922465"/>
              <a:gd name="connsiteY1443" fmla="*/ 1154338 h 1934496"/>
              <a:gd name="connsiteX1444" fmla="*/ 7876117 w 9922465"/>
              <a:gd name="connsiteY1444" fmla="*/ 1099147 h 1934496"/>
              <a:gd name="connsiteX1445" fmla="*/ 7745822 w 9922465"/>
              <a:gd name="connsiteY1445" fmla="*/ 1099147 h 1934496"/>
              <a:gd name="connsiteX1446" fmla="*/ 7801014 w 9922465"/>
              <a:gd name="connsiteY1446" fmla="*/ 1154338 h 1934496"/>
              <a:gd name="connsiteX1447" fmla="*/ 7745822 w 9922465"/>
              <a:gd name="connsiteY1447" fmla="*/ 1209529 h 1934496"/>
              <a:gd name="connsiteX1448" fmla="*/ 7690630 w 9922465"/>
              <a:gd name="connsiteY1448" fmla="*/ 1154338 h 1934496"/>
              <a:gd name="connsiteX1449" fmla="*/ 7745822 w 9922465"/>
              <a:gd name="connsiteY1449" fmla="*/ 1099147 h 1934496"/>
              <a:gd name="connsiteX1450" fmla="*/ 7608847 w 9922465"/>
              <a:gd name="connsiteY1450" fmla="*/ 1099147 h 1934496"/>
              <a:gd name="connsiteX1451" fmla="*/ 7664039 w 9922465"/>
              <a:gd name="connsiteY1451" fmla="*/ 1154338 h 1934496"/>
              <a:gd name="connsiteX1452" fmla="*/ 7608847 w 9922465"/>
              <a:gd name="connsiteY1452" fmla="*/ 1209529 h 1934496"/>
              <a:gd name="connsiteX1453" fmla="*/ 7553655 w 9922465"/>
              <a:gd name="connsiteY1453" fmla="*/ 1154338 h 1934496"/>
              <a:gd name="connsiteX1454" fmla="*/ 7608847 w 9922465"/>
              <a:gd name="connsiteY1454" fmla="*/ 1099147 h 1934496"/>
              <a:gd name="connsiteX1455" fmla="*/ 7481895 w 9922465"/>
              <a:gd name="connsiteY1455" fmla="*/ 1099147 h 1934496"/>
              <a:gd name="connsiteX1456" fmla="*/ 7537087 w 9922465"/>
              <a:gd name="connsiteY1456" fmla="*/ 1154338 h 1934496"/>
              <a:gd name="connsiteX1457" fmla="*/ 7481895 w 9922465"/>
              <a:gd name="connsiteY1457" fmla="*/ 1209529 h 1934496"/>
              <a:gd name="connsiteX1458" fmla="*/ 7426703 w 9922465"/>
              <a:gd name="connsiteY1458" fmla="*/ 1154338 h 1934496"/>
              <a:gd name="connsiteX1459" fmla="*/ 7481895 w 9922465"/>
              <a:gd name="connsiteY1459" fmla="*/ 1099147 h 1934496"/>
              <a:gd name="connsiteX1460" fmla="*/ 7341578 w 9922465"/>
              <a:gd name="connsiteY1460" fmla="*/ 1099147 h 1934496"/>
              <a:gd name="connsiteX1461" fmla="*/ 7396770 w 9922465"/>
              <a:gd name="connsiteY1461" fmla="*/ 1154338 h 1934496"/>
              <a:gd name="connsiteX1462" fmla="*/ 7341578 w 9922465"/>
              <a:gd name="connsiteY1462" fmla="*/ 1209529 h 1934496"/>
              <a:gd name="connsiteX1463" fmla="*/ 7286386 w 9922465"/>
              <a:gd name="connsiteY1463" fmla="*/ 1154338 h 1934496"/>
              <a:gd name="connsiteX1464" fmla="*/ 7341578 w 9922465"/>
              <a:gd name="connsiteY1464" fmla="*/ 1099147 h 1934496"/>
              <a:gd name="connsiteX1465" fmla="*/ 7211285 w 9922465"/>
              <a:gd name="connsiteY1465" fmla="*/ 1099147 h 1934496"/>
              <a:gd name="connsiteX1466" fmla="*/ 7266477 w 9922465"/>
              <a:gd name="connsiteY1466" fmla="*/ 1154338 h 1934496"/>
              <a:gd name="connsiteX1467" fmla="*/ 7211285 w 9922465"/>
              <a:gd name="connsiteY1467" fmla="*/ 1209529 h 1934496"/>
              <a:gd name="connsiteX1468" fmla="*/ 7156093 w 9922465"/>
              <a:gd name="connsiteY1468" fmla="*/ 1154338 h 1934496"/>
              <a:gd name="connsiteX1469" fmla="*/ 7211285 w 9922465"/>
              <a:gd name="connsiteY1469" fmla="*/ 1099147 h 1934496"/>
              <a:gd name="connsiteX1470" fmla="*/ 7080991 w 9922465"/>
              <a:gd name="connsiteY1470" fmla="*/ 1099147 h 1934496"/>
              <a:gd name="connsiteX1471" fmla="*/ 7136183 w 9922465"/>
              <a:gd name="connsiteY1471" fmla="*/ 1154338 h 1934496"/>
              <a:gd name="connsiteX1472" fmla="*/ 7080991 w 9922465"/>
              <a:gd name="connsiteY1472" fmla="*/ 1209529 h 1934496"/>
              <a:gd name="connsiteX1473" fmla="*/ 7025799 w 9922465"/>
              <a:gd name="connsiteY1473" fmla="*/ 1154338 h 1934496"/>
              <a:gd name="connsiteX1474" fmla="*/ 7080991 w 9922465"/>
              <a:gd name="connsiteY1474" fmla="*/ 1099147 h 1934496"/>
              <a:gd name="connsiteX1475" fmla="*/ 6947356 w 9922465"/>
              <a:gd name="connsiteY1475" fmla="*/ 1099147 h 1934496"/>
              <a:gd name="connsiteX1476" fmla="*/ 7002548 w 9922465"/>
              <a:gd name="connsiteY1476" fmla="*/ 1154338 h 1934496"/>
              <a:gd name="connsiteX1477" fmla="*/ 6947356 w 9922465"/>
              <a:gd name="connsiteY1477" fmla="*/ 1209529 h 1934496"/>
              <a:gd name="connsiteX1478" fmla="*/ 6892164 w 9922465"/>
              <a:gd name="connsiteY1478" fmla="*/ 1154338 h 1934496"/>
              <a:gd name="connsiteX1479" fmla="*/ 6947356 w 9922465"/>
              <a:gd name="connsiteY1479" fmla="*/ 1099147 h 1934496"/>
              <a:gd name="connsiteX1480" fmla="*/ 6817063 w 9922465"/>
              <a:gd name="connsiteY1480" fmla="*/ 1099147 h 1934496"/>
              <a:gd name="connsiteX1481" fmla="*/ 6872255 w 9922465"/>
              <a:gd name="connsiteY1481" fmla="*/ 1154338 h 1934496"/>
              <a:gd name="connsiteX1482" fmla="*/ 6817063 w 9922465"/>
              <a:gd name="connsiteY1482" fmla="*/ 1209529 h 1934496"/>
              <a:gd name="connsiteX1483" fmla="*/ 6761871 w 9922465"/>
              <a:gd name="connsiteY1483" fmla="*/ 1154338 h 1934496"/>
              <a:gd name="connsiteX1484" fmla="*/ 6817063 w 9922465"/>
              <a:gd name="connsiteY1484" fmla="*/ 1099147 h 1934496"/>
              <a:gd name="connsiteX1485" fmla="*/ 6683430 w 9922465"/>
              <a:gd name="connsiteY1485" fmla="*/ 1099147 h 1934496"/>
              <a:gd name="connsiteX1486" fmla="*/ 6738622 w 9922465"/>
              <a:gd name="connsiteY1486" fmla="*/ 1154338 h 1934496"/>
              <a:gd name="connsiteX1487" fmla="*/ 6683430 w 9922465"/>
              <a:gd name="connsiteY1487" fmla="*/ 1209529 h 1934496"/>
              <a:gd name="connsiteX1488" fmla="*/ 6628238 w 9922465"/>
              <a:gd name="connsiteY1488" fmla="*/ 1154338 h 1934496"/>
              <a:gd name="connsiteX1489" fmla="*/ 6683430 w 9922465"/>
              <a:gd name="connsiteY1489" fmla="*/ 1099147 h 1934496"/>
              <a:gd name="connsiteX1490" fmla="*/ 6553135 w 9922465"/>
              <a:gd name="connsiteY1490" fmla="*/ 1099147 h 1934496"/>
              <a:gd name="connsiteX1491" fmla="*/ 6608327 w 9922465"/>
              <a:gd name="connsiteY1491" fmla="*/ 1154338 h 1934496"/>
              <a:gd name="connsiteX1492" fmla="*/ 6553135 w 9922465"/>
              <a:gd name="connsiteY1492" fmla="*/ 1209529 h 1934496"/>
              <a:gd name="connsiteX1493" fmla="*/ 6497943 w 9922465"/>
              <a:gd name="connsiteY1493" fmla="*/ 1154338 h 1934496"/>
              <a:gd name="connsiteX1494" fmla="*/ 6553135 w 9922465"/>
              <a:gd name="connsiteY1494" fmla="*/ 1099147 h 1934496"/>
              <a:gd name="connsiteX1495" fmla="*/ 6419501 w 9922465"/>
              <a:gd name="connsiteY1495" fmla="*/ 1099147 h 1934496"/>
              <a:gd name="connsiteX1496" fmla="*/ 6474693 w 9922465"/>
              <a:gd name="connsiteY1496" fmla="*/ 1154338 h 1934496"/>
              <a:gd name="connsiteX1497" fmla="*/ 6419501 w 9922465"/>
              <a:gd name="connsiteY1497" fmla="*/ 1209529 h 1934496"/>
              <a:gd name="connsiteX1498" fmla="*/ 6364309 w 9922465"/>
              <a:gd name="connsiteY1498" fmla="*/ 1154338 h 1934496"/>
              <a:gd name="connsiteX1499" fmla="*/ 6419501 w 9922465"/>
              <a:gd name="connsiteY1499" fmla="*/ 1099147 h 1934496"/>
              <a:gd name="connsiteX1500" fmla="*/ 6289206 w 9922465"/>
              <a:gd name="connsiteY1500" fmla="*/ 1099147 h 1934496"/>
              <a:gd name="connsiteX1501" fmla="*/ 6344398 w 9922465"/>
              <a:gd name="connsiteY1501" fmla="*/ 1154338 h 1934496"/>
              <a:gd name="connsiteX1502" fmla="*/ 6289206 w 9922465"/>
              <a:gd name="connsiteY1502" fmla="*/ 1209529 h 1934496"/>
              <a:gd name="connsiteX1503" fmla="*/ 6234014 w 9922465"/>
              <a:gd name="connsiteY1503" fmla="*/ 1154338 h 1934496"/>
              <a:gd name="connsiteX1504" fmla="*/ 6289206 w 9922465"/>
              <a:gd name="connsiteY1504" fmla="*/ 1099147 h 1934496"/>
              <a:gd name="connsiteX1505" fmla="*/ 6155571 w 9922465"/>
              <a:gd name="connsiteY1505" fmla="*/ 1099147 h 1934496"/>
              <a:gd name="connsiteX1506" fmla="*/ 6210763 w 9922465"/>
              <a:gd name="connsiteY1506" fmla="*/ 1154338 h 1934496"/>
              <a:gd name="connsiteX1507" fmla="*/ 6155571 w 9922465"/>
              <a:gd name="connsiteY1507" fmla="*/ 1209529 h 1934496"/>
              <a:gd name="connsiteX1508" fmla="*/ 6100379 w 9922465"/>
              <a:gd name="connsiteY1508" fmla="*/ 1154338 h 1934496"/>
              <a:gd name="connsiteX1509" fmla="*/ 6155571 w 9922465"/>
              <a:gd name="connsiteY1509" fmla="*/ 1099147 h 1934496"/>
              <a:gd name="connsiteX1510" fmla="*/ 6021938 w 9922465"/>
              <a:gd name="connsiteY1510" fmla="*/ 1099147 h 1934496"/>
              <a:gd name="connsiteX1511" fmla="*/ 6077130 w 9922465"/>
              <a:gd name="connsiteY1511" fmla="*/ 1154338 h 1934496"/>
              <a:gd name="connsiteX1512" fmla="*/ 6021938 w 9922465"/>
              <a:gd name="connsiteY1512" fmla="*/ 1209529 h 1934496"/>
              <a:gd name="connsiteX1513" fmla="*/ 5966746 w 9922465"/>
              <a:gd name="connsiteY1513" fmla="*/ 1154338 h 1934496"/>
              <a:gd name="connsiteX1514" fmla="*/ 6021938 w 9922465"/>
              <a:gd name="connsiteY1514" fmla="*/ 1099147 h 1934496"/>
              <a:gd name="connsiteX1515" fmla="*/ 5884963 w 9922465"/>
              <a:gd name="connsiteY1515" fmla="*/ 1099147 h 1934496"/>
              <a:gd name="connsiteX1516" fmla="*/ 5940155 w 9922465"/>
              <a:gd name="connsiteY1516" fmla="*/ 1154338 h 1934496"/>
              <a:gd name="connsiteX1517" fmla="*/ 5884963 w 9922465"/>
              <a:gd name="connsiteY1517" fmla="*/ 1209529 h 1934496"/>
              <a:gd name="connsiteX1518" fmla="*/ 5829771 w 9922465"/>
              <a:gd name="connsiteY1518" fmla="*/ 1154338 h 1934496"/>
              <a:gd name="connsiteX1519" fmla="*/ 5884963 w 9922465"/>
              <a:gd name="connsiteY1519" fmla="*/ 1099147 h 1934496"/>
              <a:gd name="connsiteX1520" fmla="*/ 5754668 w 9922465"/>
              <a:gd name="connsiteY1520" fmla="*/ 1099147 h 1934496"/>
              <a:gd name="connsiteX1521" fmla="*/ 5809860 w 9922465"/>
              <a:gd name="connsiteY1521" fmla="*/ 1154338 h 1934496"/>
              <a:gd name="connsiteX1522" fmla="*/ 5754668 w 9922465"/>
              <a:gd name="connsiteY1522" fmla="*/ 1209529 h 1934496"/>
              <a:gd name="connsiteX1523" fmla="*/ 5699476 w 9922465"/>
              <a:gd name="connsiteY1523" fmla="*/ 1154338 h 1934496"/>
              <a:gd name="connsiteX1524" fmla="*/ 5754668 w 9922465"/>
              <a:gd name="connsiteY1524" fmla="*/ 1099147 h 1934496"/>
              <a:gd name="connsiteX1525" fmla="*/ 5621031 w 9922465"/>
              <a:gd name="connsiteY1525" fmla="*/ 1099147 h 1934496"/>
              <a:gd name="connsiteX1526" fmla="*/ 5676223 w 9922465"/>
              <a:gd name="connsiteY1526" fmla="*/ 1154338 h 1934496"/>
              <a:gd name="connsiteX1527" fmla="*/ 5621031 w 9922465"/>
              <a:gd name="connsiteY1527" fmla="*/ 1209529 h 1934496"/>
              <a:gd name="connsiteX1528" fmla="*/ 5565839 w 9922465"/>
              <a:gd name="connsiteY1528" fmla="*/ 1154338 h 1934496"/>
              <a:gd name="connsiteX1529" fmla="*/ 5621031 w 9922465"/>
              <a:gd name="connsiteY1529" fmla="*/ 1099147 h 1934496"/>
              <a:gd name="connsiteX1530" fmla="*/ 5487398 w 9922465"/>
              <a:gd name="connsiteY1530" fmla="*/ 1099147 h 1934496"/>
              <a:gd name="connsiteX1531" fmla="*/ 5542590 w 9922465"/>
              <a:gd name="connsiteY1531" fmla="*/ 1154338 h 1934496"/>
              <a:gd name="connsiteX1532" fmla="*/ 5487398 w 9922465"/>
              <a:gd name="connsiteY1532" fmla="*/ 1209529 h 1934496"/>
              <a:gd name="connsiteX1533" fmla="*/ 5432206 w 9922465"/>
              <a:gd name="connsiteY1533" fmla="*/ 1154338 h 1934496"/>
              <a:gd name="connsiteX1534" fmla="*/ 5487398 w 9922465"/>
              <a:gd name="connsiteY1534" fmla="*/ 1099147 h 1934496"/>
              <a:gd name="connsiteX1535" fmla="*/ 5357105 w 9922465"/>
              <a:gd name="connsiteY1535" fmla="*/ 1099147 h 1934496"/>
              <a:gd name="connsiteX1536" fmla="*/ 5412297 w 9922465"/>
              <a:gd name="connsiteY1536" fmla="*/ 1154338 h 1934496"/>
              <a:gd name="connsiteX1537" fmla="*/ 5357105 w 9922465"/>
              <a:gd name="connsiteY1537" fmla="*/ 1209529 h 1934496"/>
              <a:gd name="connsiteX1538" fmla="*/ 5301913 w 9922465"/>
              <a:gd name="connsiteY1538" fmla="*/ 1154338 h 1934496"/>
              <a:gd name="connsiteX1539" fmla="*/ 5357105 w 9922465"/>
              <a:gd name="connsiteY1539" fmla="*/ 1099147 h 1934496"/>
              <a:gd name="connsiteX1540" fmla="*/ 5093176 w 9922465"/>
              <a:gd name="connsiteY1540" fmla="*/ 1099147 h 1934496"/>
              <a:gd name="connsiteX1541" fmla="*/ 5148368 w 9922465"/>
              <a:gd name="connsiteY1541" fmla="*/ 1154338 h 1934496"/>
              <a:gd name="connsiteX1542" fmla="*/ 5093176 w 9922465"/>
              <a:gd name="connsiteY1542" fmla="*/ 1209529 h 1934496"/>
              <a:gd name="connsiteX1543" fmla="*/ 5037984 w 9922465"/>
              <a:gd name="connsiteY1543" fmla="*/ 1154338 h 1934496"/>
              <a:gd name="connsiteX1544" fmla="*/ 5093176 w 9922465"/>
              <a:gd name="connsiteY1544" fmla="*/ 1099147 h 1934496"/>
              <a:gd name="connsiteX1545" fmla="*/ 4959540 w 9922465"/>
              <a:gd name="connsiteY1545" fmla="*/ 1099147 h 1934496"/>
              <a:gd name="connsiteX1546" fmla="*/ 5014732 w 9922465"/>
              <a:gd name="connsiteY1546" fmla="*/ 1154338 h 1934496"/>
              <a:gd name="connsiteX1547" fmla="*/ 4959540 w 9922465"/>
              <a:gd name="connsiteY1547" fmla="*/ 1209529 h 1934496"/>
              <a:gd name="connsiteX1548" fmla="*/ 4904348 w 9922465"/>
              <a:gd name="connsiteY1548" fmla="*/ 1154338 h 1934496"/>
              <a:gd name="connsiteX1549" fmla="*/ 4959540 w 9922465"/>
              <a:gd name="connsiteY1549" fmla="*/ 1099147 h 1934496"/>
              <a:gd name="connsiteX1550" fmla="*/ 4829246 w 9922465"/>
              <a:gd name="connsiteY1550" fmla="*/ 1099147 h 1934496"/>
              <a:gd name="connsiteX1551" fmla="*/ 4884438 w 9922465"/>
              <a:gd name="connsiteY1551" fmla="*/ 1154338 h 1934496"/>
              <a:gd name="connsiteX1552" fmla="*/ 4829246 w 9922465"/>
              <a:gd name="connsiteY1552" fmla="*/ 1209529 h 1934496"/>
              <a:gd name="connsiteX1553" fmla="*/ 4774054 w 9922465"/>
              <a:gd name="connsiteY1553" fmla="*/ 1154338 h 1934496"/>
              <a:gd name="connsiteX1554" fmla="*/ 4829246 w 9922465"/>
              <a:gd name="connsiteY1554" fmla="*/ 1099147 h 1934496"/>
              <a:gd name="connsiteX1555" fmla="*/ 319117 w 9922465"/>
              <a:gd name="connsiteY1555" fmla="*/ 1099147 h 1934496"/>
              <a:gd name="connsiteX1556" fmla="*/ 374310 w 9922465"/>
              <a:gd name="connsiteY1556" fmla="*/ 1154338 h 1934496"/>
              <a:gd name="connsiteX1557" fmla="*/ 319117 w 9922465"/>
              <a:gd name="connsiteY1557" fmla="*/ 1209529 h 1934496"/>
              <a:gd name="connsiteX1558" fmla="*/ 263926 w 9922465"/>
              <a:gd name="connsiteY1558" fmla="*/ 1154338 h 1934496"/>
              <a:gd name="connsiteX1559" fmla="*/ 319117 w 9922465"/>
              <a:gd name="connsiteY1559" fmla="*/ 1099147 h 1934496"/>
              <a:gd name="connsiteX1560" fmla="*/ 185484 w 9922465"/>
              <a:gd name="connsiteY1560" fmla="*/ 1099147 h 1934496"/>
              <a:gd name="connsiteX1561" fmla="*/ 240675 w 9922465"/>
              <a:gd name="connsiteY1561" fmla="*/ 1154338 h 1934496"/>
              <a:gd name="connsiteX1562" fmla="*/ 185484 w 9922465"/>
              <a:gd name="connsiteY1562" fmla="*/ 1209529 h 1934496"/>
              <a:gd name="connsiteX1563" fmla="*/ 130292 w 9922465"/>
              <a:gd name="connsiteY1563" fmla="*/ 1154338 h 1934496"/>
              <a:gd name="connsiteX1564" fmla="*/ 185484 w 9922465"/>
              <a:gd name="connsiteY1564" fmla="*/ 1099147 h 1934496"/>
              <a:gd name="connsiteX1565" fmla="*/ 55190 w 9922465"/>
              <a:gd name="connsiteY1565" fmla="*/ 1099147 h 1934496"/>
              <a:gd name="connsiteX1566" fmla="*/ 110381 w 9922465"/>
              <a:gd name="connsiteY1566" fmla="*/ 1154338 h 1934496"/>
              <a:gd name="connsiteX1567" fmla="*/ 55190 w 9922465"/>
              <a:gd name="connsiteY1567" fmla="*/ 1209529 h 1934496"/>
              <a:gd name="connsiteX1568" fmla="*/ 0 w 9922465"/>
              <a:gd name="connsiteY1568" fmla="*/ 1154338 h 1934496"/>
              <a:gd name="connsiteX1569" fmla="*/ 55190 w 9922465"/>
              <a:gd name="connsiteY1569" fmla="*/ 1099147 h 1934496"/>
              <a:gd name="connsiteX1570" fmla="*/ 3499584 w 9922465"/>
              <a:gd name="connsiteY1570" fmla="*/ 1099146 h 1934496"/>
              <a:gd name="connsiteX1571" fmla="*/ 3554776 w 9922465"/>
              <a:gd name="connsiteY1571" fmla="*/ 1154337 h 1934496"/>
              <a:gd name="connsiteX1572" fmla="*/ 3499584 w 9922465"/>
              <a:gd name="connsiteY1572" fmla="*/ 1209528 h 1934496"/>
              <a:gd name="connsiteX1573" fmla="*/ 3444392 w 9922465"/>
              <a:gd name="connsiteY1573" fmla="*/ 1154337 h 1934496"/>
              <a:gd name="connsiteX1574" fmla="*/ 3499584 w 9922465"/>
              <a:gd name="connsiteY1574" fmla="*/ 1099146 h 1934496"/>
              <a:gd name="connsiteX1575" fmla="*/ 2570894 w 9922465"/>
              <a:gd name="connsiteY1575" fmla="*/ 1099146 h 1934496"/>
              <a:gd name="connsiteX1576" fmla="*/ 2626086 w 9922465"/>
              <a:gd name="connsiteY1576" fmla="*/ 1154337 h 1934496"/>
              <a:gd name="connsiteX1577" fmla="*/ 2570894 w 9922465"/>
              <a:gd name="connsiteY1577" fmla="*/ 1209528 h 1934496"/>
              <a:gd name="connsiteX1578" fmla="*/ 2515701 w 9922465"/>
              <a:gd name="connsiteY1578" fmla="*/ 1154337 h 1934496"/>
              <a:gd name="connsiteX1579" fmla="*/ 2570894 w 9922465"/>
              <a:gd name="connsiteY1579" fmla="*/ 1099146 h 1934496"/>
              <a:gd name="connsiteX1580" fmla="*/ 2039698 w 9922465"/>
              <a:gd name="connsiteY1580" fmla="*/ 1099146 h 1934496"/>
              <a:gd name="connsiteX1581" fmla="*/ 2094891 w 9922465"/>
              <a:gd name="connsiteY1581" fmla="*/ 1154337 h 1934496"/>
              <a:gd name="connsiteX1582" fmla="*/ 2039698 w 9922465"/>
              <a:gd name="connsiteY1582" fmla="*/ 1209528 h 1934496"/>
              <a:gd name="connsiteX1583" fmla="*/ 1984505 w 9922465"/>
              <a:gd name="connsiteY1583" fmla="*/ 1154337 h 1934496"/>
              <a:gd name="connsiteX1584" fmla="*/ 2039698 w 9922465"/>
              <a:gd name="connsiteY1584" fmla="*/ 1099146 h 1934496"/>
              <a:gd name="connsiteX1585" fmla="*/ 1909401 w 9922465"/>
              <a:gd name="connsiteY1585" fmla="*/ 1099146 h 1934496"/>
              <a:gd name="connsiteX1586" fmla="*/ 1964592 w 9922465"/>
              <a:gd name="connsiteY1586" fmla="*/ 1154337 h 1934496"/>
              <a:gd name="connsiteX1587" fmla="*/ 1909401 w 9922465"/>
              <a:gd name="connsiteY1587" fmla="*/ 1209528 h 1934496"/>
              <a:gd name="connsiteX1588" fmla="*/ 1854207 w 9922465"/>
              <a:gd name="connsiteY1588" fmla="*/ 1154337 h 1934496"/>
              <a:gd name="connsiteX1589" fmla="*/ 1909401 w 9922465"/>
              <a:gd name="connsiteY1589" fmla="*/ 1099146 h 1934496"/>
              <a:gd name="connsiteX1590" fmla="*/ 1779104 w 9922465"/>
              <a:gd name="connsiteY1590" fmla="*/ 1099146 h 1934496"/>
              <a:gd name="connsiteX1591" fmla="*/ 1834296 w 9922465"/>
              <a:gd name="connsiteY1591" fmla="*/ 1154337 h 1934496"/>
              <a:gd name="connsiteX1592" fmla="*/ 1779104 w 9922465"/>
              <a:gd name="connsiteY1592" fmla="*/ 1209528 h 1934496"/>
              <a:gd name="connsiteX1593" fmla="*/ 1723910 w 9922465"/>
              <a:gd name="connsiteY1593" fmla="*/ 1154337 h 1934496"/>
              <a:gd name="connsiteX1594" fmla="*/ 1779104 w 9922465"/>
              <a:gd name="connsiteY1594" fmla="*/ 1099146 h 1934496"/>
              <a:gd name="connsiteX1595" fmla="*/ 1645469 w 9922465"/>
              <a:gd name="connsiteY1595" fmla="*/ 1099146 h 1934496"/>
              <a:gd name="connsiteX1596" fmla="*/ 1700664 w 9922465"/>
              <a:gd name="connsiteY1596" fmla="*/ 1154337 h 1934496"/>
              <a:gd name="connsiteX1597" fmla="*/ 1645469 w 9922465"/>
              <a:gd name="connsiteY1597" fmla="*/ 1209528 h 1934496"/>
              <a:gd name="connsiteX1598" fmla="*/ 1590275 w 9922465"/>
              <a:gd name="connsiteY1598" fmla="*/ 1154337 h 1934496"/>
              <a:gd name="connsiteX1599" fmla="*/ 1645469 w 9922465"/>
              <a:gd name="connsiteY1599" fmla="*/ 1099146 h 1934496"/>
              <a:gd name="connsiteX1600" fmla="*/ 1515179 w 9922465"/>
              <a:gd name="connsiteY1600" fmla="*/ 1099146 h 1934496"/>
              <a:gd name="connsiteX1601" fmla="*/ 1570364 w 9922465"/>
              <a:gd name="connsiteY1601" fmla="*/ 1154337 h 1934496"/>
              <a:gd name="connsiteX1602" fmla="*/ 1515179 w 9922465"/>
              <a:gd name="connsiteY1602" fmla="*/ 1209528 h 1934496"/>
              <a:gd name="connsiteX1603" fmla="*/ 1459982 w 9922465"/>
              <a:gd name="connsiteY1603" fmla="*/ 1154337 h 1934496"/>
              <a:gd name="connsiteX1604" fmla="*/ 1515179 w 9922465"/>
              <a:gd name="connsiteY1604" fmla="*/ 1099146 h 1934496"/>
              <a:gd name="connsiteX1605" fmla="*/ 1381539 w 9922465"/>
              <a:gd name="connsiteY1605" fmla="*/ 1099146 h 1934496"/>
              <a:gd name="connsiteX1606" fmla="*/ 1436731 w 9922465"/>
              <a:gd name="connsiteY1606" fmla="*/ 1154337 h 1934496"/>
              <a:gd name="connsiteX1607" fmla="*/ 1381539 w 9922465"/>
              <a:gd name="connsiteY1607" fmla="*/ 1209528 h 1934496"/>
              <a:gd name="connsiteX1608" fmla="*/ 1326349 w 9922465"/>
              <a:gd name="connsiteY1608" fmla="*/ 1154337 h 1934496"/>
              <a:gd name="connsiteX1609" fmla="*/ 1381539 w 9922465"/>
              <a:gd name="connsiteY1609" fmla="*/ 1099146 h 1934496"/>
              <a:gd name="connsiteX1610" fmla="*/ 1251245 w 9922465"/>
              <a:gd name="connsiteY1610" fmla="*/ 1099146 h 1934496"/>
              <a:gd name="connsiteX1611" fmla="*/ 1306439 w 9922465"/>
              <a:gd name="connsiteY1611" fmla="*/ 1154337 h 1934496"/>
              <a:gd name="connsiteX1612" fmla="*/ 1251245 w 9922465"/>
              <a:gd name="connsiteY1612" fmla="*/ 1209528 h 1934496"/>
              <a:gd name="connsiteX1613" fmla="*/ 1196054 w 9922465"/>
              <a:gd name="connsiteY1613" fmla="*/ 1154337 h 1934496"/>
              <a:gd name="connsiteX1614" fmla="*/ 1251245 w 9922465"/>
              <a:gd name="connsiteY1614" fmla="*/ 1099146 h 1934496"/>
              <a:gd name="connsiteX1615" fmla="*/ 1117610 w 9922465"/>
              <a:gd name="connsiteY1615" fmla="*/ 1099146 h 1934496"/>
              <a:gd name="connsiteX1616" fmla="*/ 1172803 w 9922465"/>
              <a:gd name="connsiteY1616" fmla="*/ 1154337 h 1934496"/>
              <a:gd name="connsiteX1617" fmla="*/ 1117610 w 9922465"/>
              <a:gd name="connsiteY1617" fmla="*/ 1209528 h 1934496"/>
              <a:gd name="connsiteX1618" fmla="*/ 1062416 w 9922465"/>
              <a:gd name="connsiteY1618" fmla="*/ 1154337 h 1934496"/>
              <a:gd name="connsiteX1619" fmla="*/ 1117610 w 9922465"/>
              <a:gd name="connsiteY1619" fmla="*/ 1099146 h 1934496"/>
              <a:gd name="connsiteX1620" fmla="*/ 980631 w 9922465"/>
              <a:gd name="connsiteY1620" fmla="*/ 1099146 h 1934496"/>
              <a:gd name="connsiteX1621" fmla="*/ 1035825 w 9922465"/>
              <a:gd name="connsiteY1621" fmla="*/ 1154337 h 1934496"/>
              <a:gd name="connsiteX1622" fmla="*/ 980631 w 9922465"/>
              <a:gd name="connsiteY1622" fmla="*/ 1209528 h 1934496"/>
              <a:gd name="connsiteX1623" fmla="*/ 925438 w 9922465"/>
              <a:gd name="connsiteY1623" fmla="*/ 1154337 h 1934496"/>
              <a:gd name="connsiteX1624" fmla="*/ 980631 w 9922465"/>
              <a:gd name="connsiteY1624" fmla="*/ 1099146 h 1934496"/>
              <a:gd name="connsiteX1625" fmla="*/ 846993 w 9922465"/>
              <a:gd name="connsiteY1625" fmla="*/ 1099146 h 1934496"/>
              <a:gd name="connsiteX1626" fmla="*/ 902186 w 9922465"/>
              <a:gd name="connsiteY1626" fmla="*/ 1154337 h 1934496"/>
              <a:gd name="connsiteX1627" fmla="*/ 846993 w 9922465"/>
              <a:gd name="connsiteY1627" fmla="*/ 1209528 h 1934496"/>
              <a:gd name="connsiteX1628" fmla="*/ 791796 w 9922465"/>
              <a:gd name="connsiteY1628" fmla="*/ 1154337 h 1934496"/>
              <a:gd name="connsiteX1629" fmla="*/ 846993 w 9922465"/>
              <a:gd name="connsiteY1629" fmla="*/ 1099146 h 1934496"/>
              <a:gd name="connsiteX1630" fmla="*/ 716690 w 9922465"/>
              <a:gd name="connsiteY1630" fmla="*/ 1099146 h 1934496"/>
              <a:gd name="connsiteX1631" fmla="*/ 771886 w 9922465"/>
              <a:gd name="connsiteY1631" fmla="*/ 1154337 h 1934496"/>
              <a:gd name="connsiteX1632" fmla="*/ 716690 w 9922465"/>
              <a:gd name="connsiteY1632" fmla="*/ 1209528 h 1934496"/>
              <a:gd name="connsiteX1633" fmla="*/ 661502 w 9922465"/>
              <a:gd name="connsiteY1633" fmla="*/ 1154337 h 1934496"/>
              <a:gd name="connsiteX1634" fmla="*/ 716690 w 9922465"/>
              <a:gd name="connsiteY1634" fmla="*/ 1099146 h 1934496"/>
              <a:gd name="connsiteX1635" fmla="*/ 583057 w 9922465"/>
              <a:gd name="connsiteY1635" fmla="*/ 1099146 h 1934496"/>
              <a:gd name="connsiteX1636" fmla="*/ 638250 w 9922465"/>
              <a:gd name="connsiteY1636" fmla="*/ 1154337 h 1934496"/>
              <a:gd name="connsiteX1637" fmla="*/ 583057 w 9922465"/>
              <a:gd name="connsiteY1637" fmla="*/ 1209528 h 1934496"/>
              <a:gd name="connsiteX1638" fmla="*/ 527863 w 9922465"/>
              <a:gd name="connsiteY1638" fmla="*/ 1154337 h 1934496"/>
              <a:gd name="connsiteX1639" fmla="*/ 583057 w 9922465"/>
              <a:gd name="connsiteY1639" fmla="*/ 1099146 h 1934496"/>
              <a:gd name="connsiteX1640" fmla="*/ 449413 w 9922465"/>
              <a:gd name="connsiteY1640" fmla="*/ 1099146 h 1934496"/>
              <a:gd name="connsiteX1641" fmla="*/ 504606 w 9922465"/>
              <a:gd name="connsiteY1641" fmla="*/ 1154337 h 1934496"/>
              <a:gd name="connsiteX1642" fmla="*/ 449413 w 9922465"/>
              <a:gd name="connsiteY1642" fmla="*/ 1209528 h 1934496"/>
              <a:gd name="connsiteX1643" fmla="*/ 394220 w 9922465"/>
              <a:gd name="connsiteY1643" fmla="*/ 1154337 h 1934496"/>
              <a:gd name="connsiteX1644" fmla="*/ 449413 w 9922465"/>
              <a:gd name="connsiteY1644" fmla="*/ 1099146 h 1934496"/>
              <a:gd name="connsiteX1645" fmla="*/ 9603343 w 9922465"/>
              <a:gd name="connsiteY1645" fmla="*/ 975533 h 1934496"/>
              <a:gd name="connsiteX1646" fmla="*/ 9658535 w 9922465"/>
              <a:gd name="connsiteY1646" fmla="*/ 1030724 h 1934496"/>
              <a:gd name="connsiteX1647" fmla="*/ 9603343 w 9922465"/>
              <a:gd name="connsiteY1647" fmla="*/ 1085915 h 1934496"/>
              <a:gd name="connsiteX1648" fmla="*/ 9548151 w 9922465"/>
              <a:gd name="connsiteY1648" fmla="*/ 1030724 h 1934496"/>
              <a:gd name="connsiteX1649" fmla="*/ 9603343 w 9922465"/>
              <a:gd name="connsiteY1649" fmla="*/ 975533 h 1934496"/>
              <a:gd name="connsiteX1650" fmla="*/ 9469708 w 9922465"/>
              <a:gd name="connsiteY1650" fmla="*/ 975533 h 1934496"/>
              <a:gd name="connsiteX1651" fmla="*/ 9524900 w 9922465"/>
              <a:gd name="connsiteY1651" fmla="*/ 1030724 h 1934496"/>
              <a:gd name="connsiteX1652" fmla="*/ 9469708 w 9922465"/>
              <a:gd name="connsiteY1652" fmla="*/ 1085915 h 1934496"/>
              <a:gd name="connsiteX1653" fmla="*/ 9414516 w 9922465"/>
              <a:gd name="connsiteY1653" fmla="*/ 1030724 h 1934496"/>
              <a:gd name="connsiteX1654" fmla="*/ 9469708 w 9922465"/>
              <a:gd name="connsiteY1654" fmla="*/ 975533 h 1934496"/>
              <a:gd name="connsiteX1655" fmla="*/ 8935170 w 9922465"/>
              <a:gd name="connsiteY1655" fmla="*/ 975533 h 1934496"/>
              <a:gd name="connsiteX1656" fmla="*/ 8990362 w 9922465"/>
              <a:gd name="connsiteY1656" fmla="*/ 1030724 h 1934496"/>
              <a:gd name="connsiteX1657" fmla="*/ 8935170 w 9922465"/>
              <a:gd name="connsiteY1657" fmla="*/ 1085915 h 1934496"/>
              <a:gd name="connsiteX1658" fmla="*/ 8879978 w 9922465"/>
              <a:gd name="connsiteY1658" fmla="*/ 1030724 h 1934496"/>
              <a:gd name="connsiteX1659" fmla="*/ 8935170 w 9922465"/>
              <a:gd name="connsiteY1659" fmla="*/ 975533 h 1934496"/>
              <a:gd name="connsiteX1660" fmla="*/ 8407315 w 9922465"/>
              <a:gd name="connsiteY1660" fmla="*/ 975533 h 1934496"/>
              <a:gd name="connsiteX1661" fmla="*/ 8462507 w 9922465"/>
              <a:gd name="connsiteY1661" fmla="*/ 1030724 h 1934496"/>
              <a:gd name="connsiteX1662" fmla="*/ 8407315 w 9922465"/>
              <a:gd name="connsiteY1662" fmla="*/ 1085915 h 1934496"/>
              <a:gd name="connsiteX1663" fmla="*/ 8352123 w 9922465"/>
              <a:gd name="connsiteY1663" fmla="*/ 1030724 h 1934496"/>
              <a:gd name="connsiteX1664" fmla="*/ 8407315 w 9922465"/>
              <a:gd name="connsiteY1664" fmla="*/ 975533 h 1934496"/>
              <a:gd name="connsiteX1665" fmla="*/ 7876116 w 9922465"/>
              <a:gd name="connsiteY1665" fmla="*/ 975533 h 1934496"/>
              <a:gd name="connsiteX1666" fmla="*/ 7931308 w 9922465"/>
              <a:gd name="connsiteY1666" fmla="*/ 1030724 h 1934496"/>
              <a:gd name="connsiteX1667" fmla="*/ 7876116 w 9922465"/>
              <a:gd name="connsiteY1667" fmla="*/ 1085915 h 1934496"/>
              <a:gd name="connsiteX1668" fmla="*/ 7820924 w 9922465"/>
              <a:gd name="connsiteY1668" fmla="*/ 1030724 h 1934496"/>
              <a:gd name="connsiteX1669" fmla="*/ 7876116 w 9922465"/>
              <a:gd name="connsiteY1669" fmla="*/ 975533 h 1934496"/>
              <a:gd name="connsiteX1670" fmla="*/ 7745822 w 9922465"/>
              <a:gd name="connsiteY1670" fmla="*/ 975533 h 1934496"/>
              <a:gd name="connsiteX1671" fmla="*/ 7801014 w 9922465"/>
              <a:gd name="connsiteY1671" fmla="*/ 1030724 h 1934496"/>
              <a:gd name="connsiteX1672" fmla="*/ 7745822 w 9922465"/>
              <a:gd name="connsiteY1672" fmla="*/ 1085915 h 1934496"/>
              <a:gd name="connsiteX1673" fmla="*/ 7690630 w 9922465"/>
              <a:gd name="connsiteY1673" fmla="*/ 1030724 h 1934496"/>
              <a:gd name="connsiteX1674" fmla="*/ 7745822 w 9922465"/>
              <a:gd name="connsiteY1674" fmla="*/ 975533 h 1934496"/>
              <a:gd name="connsiteX1675" fmla="*/ 7481894 w 9922465"/>
              <a:gd name="connsiteY1675" fmla="*/ 975533 h 1934496"/>
              <a:gd name="connsiteX1676" fmla="*/ 7537086 w 9922465"/>
              <a:gd name="connsiteY1676" fmla="*/ 1030724 h 1934496"/>
              <a:gd name="connsiteX1677" fmla="*/ 7481894 w 9922465"/>
              <a:gd name="connsiteY1677" fmla="*/ 1085915 h 1934496"/>
              <a:gd name="connsiteX1678" fmla="*/ 7426702 w 9922465"/>
              <a:gd name="connsiteY1678" fmla="*/ 1030724 h 1934496"/>
              <a:gd name="connsiteX1679" fmla="*/ 7481894 w 9922465"/>
              <a:gd name="connsiteY1679" fmla="*/ 975533 h 1934496"/>
              <a:gd name="connsiteX1680" fmla="*/ 7341578 w 9922465"/>
              <a:gd name="connsiteY1680" fmla="*/ 975533 h 1934496"/>
              <a:gd name="connsiteX1681" fmla="*/ 7396770 w 9922465"/>
              <a:gd name="connsiteY1681" fmla="*/ 1030724 h 1934496"/>
              <a:gd name="connsiteX1682" fmla="*/ 7341578 w 9922465"/>
              <a:gd name="connsiteY1682" fmla="*/ 1085915 h 1934496"/>
              <a:gd name="connsiteX1683" fmla="*/ 7286386 w 9922465"/>
              <a:gd name="connsiteY1683" fmla="*/ 1030724 h 1934496"/>
              <a:gd name="connsiteX1684" fmla="*/ 7341578 w 9922465"/>
              <a:gd name="connsiteY1684" fmla="*/ 975533 h 1934496"/>
              <a:gd name="connsiteX1685" fmla="*/ 7211285 w 9922465"/>
              <a:gd name="connsiteY1685" fmla="*/ 975533 h 1934496"/>
              <a:gd name="connsiteX1686" fmla="*/ 7266477 w 9922465"/>
              <a:gd name="connsiteY1686" fmla="*/ 1030724 h 1934496"/>
              <a:gd name="connsiteX1687" fmla="*/ 7211285 w 9922465"/>
              <a:gd name="connsiteY1687" fmla="*/ 1085915 h 1934496"/>
              <a:gd name="connsiteX1688" fmla="*/ 7156093 w 9922465"/>
              <a:gd name="connsiteY1688" fmla="*/ 1030724 h 1934496"/>
              <a:gd name="connsiteX1689" fmla="*/ 7211285 w 9922465"/>
              <a:gd name="connsiteY1689" fmla="*/ 975533 h 1934496"/>
              <a:gd name="connsiteX1690" fmla="*/ 6947356 w 9922465"/>
              <a:gd name="connsiteY1690" fmla="*/ 975533 h 1934496"/>
              <a:gd name="connsiteX1691" fmla="*/ 7002548 w 9922465"/>
              <a:gd name="connsiteY1691" fmla="*/ 1030724 h 1934496"/>
              <a:gd name="connsiteX1692" fmla="*/ 6947356 w 9922465"/>
              <a:gd name="connsiteY1692" fmla="*/ 1085915 h 1934496"/>
              <a:gd name="connsiteX1693" fmla="*/ 6892164 w 9922465"/>
              <a:gd name="connsiteY1693" fmla="*/ 1030724 h 1934496"/>
              <a:gd name="connsiteX1694" fmla="*/ 6947356 w 9922465"/>
              <a:gd name="connsiteY1694" fmla="*/ 975533 h 1934496"/>
              <a:gd name="connsiteX1695" fmla="*/ 6817063 w 9922465"/>
              <a:gd name="connsiteY1695" fmla="*/ 975533 h 1934496"/>
              <a:gd name="connsiteX1696" fmla="*/ 6872255 w 9922465"/>
              <a:gd name="connsiteY1696" fmla="*/ 1030724 h 1934496"/>
              <a:gd name="connsiteX1697" fmla="*/ 6817063 w 9922465"/>
              <a:gd name="connsiteY1697" fmla="*/ 1085915 h 1934496"/>
              <a:gd name="connsiteX1698" fmla="*/ 6761871 w 9922465"/>
              <a:gd name="connsiteY1698" fmla="*/ 1030724 h 1934496"/>
              <a:gd name="connsiteX1699" fmla="*/ 6817063 w 9922465"/>
              <a:gd name="connsiteY1699" fmla="*/ 975533 h 1934496"/>
              <a:gd name="connsiteX1700" fmla="*/ 6683430 w 9922465"/>
              <a:gd name="connsiteY1700" fmla="*/ 975533 h 1934496"/>
              <a:gd name="connsiteX1701" fmla="*/ 6738622 w 9922465"/>
              <a:gd name="connsiteY1701" fmla="*/ 1030724 h 1934496"/>
              <a:gd name="connsiteX1702" fmla="*/ 6683430 w 9922465"/>
              <a:gd name="connsiteY1702" fmla="*/ 1085915 h 1934496"/>
              <a:gd name="connsiteX1703" fmla="*/ 6628238 w 9922465"/>
              <a:gd name="connsiteY1703" fmla="*/ 1030724 h 1934496"/>
              <a:gd name="connsiteX1704" fmla="*/ 6683430 w 9922465"/>
              <a:gd name="connsiteY1704" fmla="*/ 975533 h 1934496"/>
              <a:gd name="connsiteX1705" fmla="*/ 6289206 w 9922465"/>
              <a:gd name="connsiteY1705" fmla="*/ 975533 h 1934496"/>
              <a:gd name="connsiteX1706" fmla="*/ 6344398 w 9922465"/>
              <a:gd name="connsiteY1706" fmla="*/ 1030724 h 1934496"/>
              <a:gd name="connsiteX1707" fmla="*/ 6289206 w 9922465"/>
              <a:gd name="connsiteY1707" fmla="*/ 1085915 h 1934496"/>
              <a:gd name="connsiteX1708" fmla="*/ 6234014 w 9922465"/>
              <a:gd name="connsiteY1708" fmla="*/ 1030724 h 1934496"/>
              <a:gd name="connsiteX1709" fmla="*/ 6289206 w 9922465"/>
              <a:gd name="connsiteY1709" fmla="*/ 975533 h 1934496"/>
              <a:gd name="connsiteX1710" fmla="*/ 5754667 w 9922465"/>
              <a:gd name="connsiteY1710" fmla="*/ 975533 h 1934496"/>
              <a:gd name="connsiteX1711" fmla="*/ 5809859 w 9922465"/>
              <a:gd name="connsiteY1711" fmla="*/ 1030724 h 1934496"/>
              <a:gd name="connsiteX1712" fmla="*/ 5754667 w 9922465"/>
              <a:gd name="connsiteY1712" fmla="*/ 1085915 h 1934496"/>
              <a:gd name="connsiteX1713" fmla="*/ 5699475 w 9922465"/>
              <a:gd name="connsiteY1713" fmla="*/ 1030724 h 1934496"/>
              <a:gd name="connsiteX1714" fmla="*/ 5754667 w 9922465"/>
              <a:gd name="connsiteY1714" fmla="*/ 975533 h 1934496"/>
              <a:gd name="connsiteX1715" fmla="*/ 5487398 w 9922465"/>
              <a:gd name="connsiteY1715" fmla="*/ 975533 h 1934496"/>
              <a:gd name="connsiteX1716" fmla="*/ 5542590 w 9922465"/>
              <a:gd name="connsiteY1716" fmla="*/ 1030724 h 1934496"/>
              <a:gd name="connsiteX1717" fmla="*/ 5487398 w 9922465"/>
              <a:gd name="connsiteY1717" fmla="*/ 1085915 h 1934496"/>
              <a:gd name="connsiteX1718" fmla="*/ 5432206 w 9922465"/>
              <a:gd name="connsiteY1718" fmla="*/ 1030724 h 1934496"/>
              <a:gd name="connsiteX1719" fmla="*/ 5487398 w 9922465"/>
              <a:gd name="connsiteY1719" fmla="*/ 975533 h 1934496"/>
              <a:gd name="connsiteX1720" fmla="*/ 5357105 w 9922465"/>
              <a:gd name="connsiteY1720" fmla="*/ 975533 h 1934496"/>
              <a:gd name="connsiteX1721" fmla="*/ 5412297 w 9922465"/>
              <a:gd name="connsiteY1721" fmla="*/ 1030724 h 1934496"/>
              <a:gd name="connsiteX1722" fmla="*/ 5357105 w 9922465"/>
              <a:gd name="connsiteY1722" fmla="*/ 1085915 h 1934496"/>
              <a:gd name="connsiteX1723" fmla="*/ 5301913 w 9922465"/>
              <a:gd name="connsiteY1723" fmla="*/ 1030724 h 1934496"/>
              <a:gd name="connsiteX1724" fmla="*/ 5357105 w 9922465"/>
              <a:gd name="connsiteY1724" fmla="*/ 975533 h 1934496"/>
              <a:gd name="connsiteX1725" fmla="*/ 5093176 w 9922465"/>
              <a:gd name="connsiteY1725" fmla="*/ 975533 h 1934496"/>
              <a:gd name="connsiteX1726" fmla="*/ 5148368 w 9922465"/>
              <a:gd name="connsiteY1726" fmla="*/ 1030724 h 1934496"/>
              <a:gd name="connsiteX1727" fmla="*/ 5093176 w 9922465"/>
              <a:gd name="connsiteY1727" fmla="*/ 1085915 h 1934496"/>
              <a:gd name="connsiteX1728" fmla="*/ 5037984 w 9922465"/>
              <a:gd name="connsiteY1728" fmla="*/ 1030724 h 1934496"/>
              <a:gd name="connsiteX1729" fmla="*/ 5093176 w 9922465"/>
              <a:gd name="connsiteY1729" fmla="*/ 975533 h 1934496"/>
              <a:gd name="connsiteX1730" fmla="*/ 4959540 w 9922465"/>
              <a:gd name="connsiteY1730" fmla="*/ 975533 h 1934496"/>
              <a:gd name="connsiteX1731" fmla="*/ 5014732 w 9922465"/>
              <a:gd name="connsiteY1731" fmla="*/ 1030724 h 1934496"/>
              <a:gd name="connsiteX1732" fmla="*/ 4959540 w 9922465"/>
              <a:gd name="connsiteY1732" fmla="*/ 1085915 h 1934496"/>
              <a:gd name="connsiteX1733" fmla="*/ 4904348 w 9922465"/>
              <a:gd name="connsiteY1733" fmla="*/ 1030724 h 1934496"/>
              <a:gd name="connsiteX1734" fmla="*/ 4959540 w 9922465"/>
              <a:gd name="connsiteY1734" fmla="*/ 975533 h 1934496"/>
              <a:gd name="connsiteX1735" fmla="*/ 4161075 w 9922465"/>
              <a:gd name="connsiteY1735" fmla="*/ 975533 h 1934496"/>
              <a:gd name="connsiteX1736" fmla="*/ 4216267 w 9922465"/>
              <a:gd name="connsiteY1736" fmla="*/ 1030724 h 1934496"/>
              <a:gd name="connsiteX1737" fmla="*/ 4161075 w 9922465"/>
              <a:gd name="connsiteY1737" fmla="*/ 1085915 h 1934496"/>
              <a:gd name="connsiteX1738" fmla="*/ 4105883 w 9922465"/>
              <a:gd name="connsiteY1738" fmla="*/ 1030724 h 1934496"/>
              <a:gd name="connsiteX1739" fmla="*/ 4161075 w 9922465"/>
              <a:gd name="connsiteY1739" fmla="*/ 975533 h 1934496"/>
              <a:gd name="connsiteX1740" fmla="*/ 4030782 w 9922465"/>
              <a:gd name="connsiteY1740" fmla="*/ 975533 h 1934496"/>
              <a:gd name="connsiteX1741" fmla="*/ 4085974 w 9922465"/>
              <a:gd name="connsiteY1741" fmla="*/ 1030724 h 1934496"/>
              <a:gd name="connsiteX1742" fmla="*/ 4030782 w 9922465"/>
              <a:gd name="connsiteY1742" fmla="*/ 1085915 h 1934496"/>
              <a:gd name="connsiteX1743" fmla="*/ 3975590 w 9922465"/>
              <a:gd name="connsiteY1743" fmla="*/ 1030724 h 1934496"/>
              <a:gd name="connsiteX1744" fmla="*/ 4030782 w 9922465"/>
              <a:gd name="connsiteY1744" fmla="*/ 975533 h 1934496"/>
              <a:gd name="connsiteX1745" fmla="*/ 3369290 w 9922465"/>
              <a:gd name="connsiteY1745" fmla="*/ 975533 h 1934496"/>
              <a:gd name="connsiteX1746" fmla="*/ 3424482 w 9922465"/>
              <a:gd name="connsiteY1746" fmla="*/ 1030724 h 1934496"/>
              <a:gd name="connsiteX1747" fmla="*/ 3369290 w 9922465"/>
              <a:gd name="connsiteY1747" fmla="*/ 1085915 h 1934496"/>
              <a:gd name="connsiteX1748" fmla="*/ 3314098 w 9922465"/>
              <a:gd name="connsiteY1748" fmla="*/ 1030724 h 1934496"/>
              <a:gd name="connsiteX1749" fmla="*/ 3369290 w 9922465"/>
              <a:gd name="connsiteY1749" fmla="*/ 975533 h 1934496"/>
              <a:gd name="connsiteX1750" fmla="*/ 2707880 w 9922465"/>
              <a:gd name="connsiteY1750" fmla="*/ 975533 h 1934496"/>
              <a:gd name="connsiteX1751" fmla="*/ 2763074 w 9922465"/>
              <a:gd name="connsiteY1751" fmla="*/ 1030724 h 1934496"/>
              <a:gd name="connsiteX1752" fmla="*/ 2707880 w 9922465"/>
              <a:gd name="connsiteY1752" fmla="*/ 1085915 h 1934496"/>
              <a:gd name="connsiteX1753" fmla="*/ 2652689 w 9922465"/>
              <a:gd name="connsiteY1753" fmla="*/ 1030724 h 1934496"/>
              <a:gd name="connsiteX1754" fmla="*/ 2707880 w 9922465"/>
              <a:gd name="connsiteY1754" fmla="*/ 975533 h 1934496"/>
              <a:gd name="connsiteX1755" fmla="*/ 2173347 w 9922465"/>
              <a:gd name="connsiteY1755" fmla="*/ 975533 h 1934496"/>
              <a:gd name="connsiteX1756" fmla="*/ 2228540 w 9922465"/>
              <a:gd name="connsiteY1756" fmla="*/ 1030724 h 1934496"/>
              <a:gd name="connsiteX1757" fmla="*/ 2173347 w 9922465"/>
              <a:gd name="connsiteY1757" fmla="*/ 1085915 h 1934496"/>
              <a:gd name="connsiteX1758" fmla="*/ 2118154 w 9922465"/>
              <a:gd name="connsiteY1758" fmla="*/ 1030724 h 1934496"/>
              <a:gd name="connsiteX1759" fmla="*/ 2173347 w 9922465"/>
              <a:gd name="connsiteY1759" fmla="*/ 975533 h 1934496"/>
              <a:gd name="connsiteX1760" fmla="*/ 1251258 w 9922465"/>
              <a:gd name="connsiteY1760" fmla="*/ 975533 h 1934496"/>
              <a:gd name="connsiteX1761" fmla="*/ 1306450 w 9922465"/>
              <a:gd name="connsiteY1761" fmla="*/ 1030724 h 1934496"/>
              <a:gd name="connsiteX1762" fmla="*/ 1251258 w 9922465"/>
              <a:gd name="connsiteY1762" fmla="*/ 1085915 h 1934496"/>
              <a:gd name="connsiteX1763" fmla="*/ 1196066 w 9922465"/>
              <a:gd name="connsiteY1763" fmla="*/ 1030724 h 1934496"/>
              <a:gd name="connsiteX1764" fmla="*/ 1251258 w 9922465"/>
              <a:gd name="connsiteY1764" fmla="*/ 975533 h 1934496"/>
              <a:gd name="connsiteX1765" fmla="*/ 847001 w 9922465"/>
              <a:gd name="connsiteY1765" fmla="*/ 975533 h 1934496"/>
              <a:gd name="connsiteX1766" fmla="*/ 902196 w 9922465"/>
              <a:gd name="connsiteY1766" fmla="*/ 1030724 h 1934496"/>
              <a:gd name="connsiteX1767" fmla="*/ 847001 w 9922465"/>
              <a:gd name="connsiteY1767" fmla="*/ 1085915 h 1934496"/>
              <a:gd name="connsiteX1768" fmla="*/ 791804 w 9922465"/>
              <a:gd name="connsiteY1768" fmla="*/ 1030724 h 1934496"/>
              <a:gd name="connsiteX1769" fmla="*/ 847001 w 9922465"/>
              <a:gd name="connsiteY1769" fmla="*/ 975533 h 1934496"/>
              <a:gd name="connsiteX1770" fmla="*/ 9336074 w 9922465"/>
              <a:gd name="connsiteY1770" fmla="*/ 975532 h 1934496"/>
              <a:gd name="connsiteX1771" fmla="*/ 9391266 w 9922465"/>
              <a:gd name="connsiteY1771" fmla="*/ 1030723 h 1934496"/>
              <a:gd name="connsiteX1772" fmla="*/ 9336074 w 9922465"/>
              <a:gd name="connsiteY1772" fmla="*/ 1085914 h 1934496"/>
              <a:gd name="connsiteX1773" fmla="*/ 9280882 w 9922465"/>
              <a:gd name="connsiteY1773" fmla="*/ 1030723 h 1934496"/>
              <a:gd name="connsiteX1774" fmla="*/ 9336074 w 9922465"/>
              <a:gd name="connsiteY1774" fmla="*/ 975532 h 1934496"/>
              <a:gd name="connsiteX1775" fmla="*/ 9199098 w 9922465"/>
              <a:gd name="connsiteY1775" fmla="*/ 975532 h 1934496"/>
              <a:gd name="connsiteX1776" fmla="*/ 9254290 w 9922465"/>
              <a:gd name="connsiteY1776" fmla="*/ 1030723 h 1934496"/>
              <a:gd name="connsiteX1777" fmla="*/ 9199098 w 9922465"/>
              <a:gd name="connsiteY1777" fmla="*/ 1085914 h 1934496"/>
              <a:gd name="connsiteX1778" fmla="*/ 9143906 w 9922465"/>
              <a:gd name="connsiteY1778" fmla="*/ 1030723 h 1934496"/>
              <a:gd name="connsiteX1779" fmla="*/ 9199098 w 9922465"/>
              <a:gd name="connsiteY1779" fmla="*/ 975532 h 1934496"/>
              <a:gd name="connsiteX1780" fmla="*/ 9068805 w 9922465"/>
              <a:gd name="connsiteY1780" fmla="*/ 975532 h 1934496"/>
              <a:gd name="connsiteX1781" fmla="*/ 9123997 w 9922465"/>
              <a:gd name="connsiteY1781" fmla="*/ 1030723 h 1934496"/>
              <a:gd name="connsiteX1782" fmla="*/ 9068805 w 9922465"/>
              <a:gd name="connsiteY1782" fmla="*/ 1085914 h 1934496"/>
              <a:gd name="connsiteX1783" fmla="*/ 9013613 w 9922465"/>
              <a:gd name="connsiteY1783" fmla="*/ 1030723 h 1934496"/>
              <a:gd name="connsiteX1784" fmla="*/ 9068805 w 9922465"/>
              <a:gd name="connsiteY1784" fmla="*/ 975532 h 1934496"/>
              <a:gd name="connsiteX1785" fmla="*/ 8801536 w 9922465"/>
              <a:gd name="connsiteY1785" fmla="*/ 975532 h 1934496"/>
              <a:gd name="connsiteX1786" fmla="*/ 8856728 w 9922465"/>
              <a:gd name="connsiteY1786" fmla="*/ 1030723 h 1934496"/>
              <a:gd name="connsiteX1787" fmla="*/ 8801536 w 9922465"/>
              <a:gd name="connsiteY1787" fmla="*/ 1085914 h 1934496"/>
              <a:gd name="connsiteX1788" fmla="*/ 8746344 w 9922465"/>
              <a:gd name="connsiteY1788" fmla="*/ 1030723 h 1934496"/>
              <a:gd name="connsiteX1789" fmla="*/ 8801536 w 9922465"/>
              <a:gd name="connsiteY1789" fmla="*/ 975532 h 1934496"/>
              <a:gd name="connsiteX1790" fmla="*/ 8671243 w 9922465"/>
              <a:gd name="connsiteY1790" fmla="*/ 975532 h 1934496"/>
              <a:gd name="connsiteX1791" fmla="*/ 8726435 w 9922465"/>
              <a:gd name="connsiteY1791" fmla="*/ 1030723 h 1934496"/>
              <a:gd name="connsiteX1792" fmla="*/ 8671243 w 9922465"/>
              <a:gd name="connsiteY1792" fmla="*/ 1085914 h 1934496"/>
              <a:gd name="connsiteX1793" fmla="*/ 8616051 w 9922465"/>
              <a:gd name="connsiteY1793" fmla="*/ 1030723 h 1934496"/>
              <a:gd name="connsiteX1794" fmla="*/ 8671243 w 9922465"/>
              <a:gd name="connsiteY1794" fmla="*/ 975532 h 1934496"/>
              <a:gd name="connsiteX1795" fmla="*/ 8537608 w 9922465"/>
              <a:gd name="connsiteY1795" fmla="*/ 975532 h 1934496"/>
              <a:gd name="connsiteX1796" fmla="*/ 8592800 w 9922465"/>
              <a:gd name="connsiteY1796" fmla="*/ 1030723 h 1934496"/>
              <a:gd name="connsiteX1797" fmla="*/ 8537608 w 9922465"/>
              <a:gd name="connsiteY1797" fmla="*/ 1085914 h 1934496"/>
              <a:gd name="connsiteX1798" fmla="*/ 8482416 w 9922465"/>
              <a:gd name="connsiteY1798" fmla="*/ 1030723 h 1934496"/>
              <a:gd name="connsiteX1799" fmla="*/ 8537608 w 9922465"/>
              <a:gd name="connsiteY1799" fmla="*/ 975532 h 1934496"/>
              <a:gd name="connsiteX1800" fmla="*/ 8273681 w 9922465"/>
              <a:gd name="connsiteY1800" fmla="*/ 975532 h 1934496"/>
              <a:gd name="connsiteX1801" fmla="*/ 8328873 w 9922465"/>
              <a:gd name="connsiteY1801" fmla="*/ 1030723 h 1934496"/>
              <a:gd name="connsiteX1802" fmla="*/ 8273681 w 9922465"/>
              <a:gd name="connsiteY1802" fmla="*/ 1085914 h 1934496"/>
              <a:gd name="connsiteX1803" fmla="*/ 8218489 w 9922465"/>
              <a:gd name="connsiteY1803" fmla="*/ 1030723 h 1934496"/>
              <a:gd name="connsiteX1804" fmla="*/ 8273681 w 9922465"/>
              <a:gd name="connsiteY1804" fmla="*/ 975532 h 1934496"/>
              <a:gd name="connsiteX1805" fmla="*/ 8143385 w 9922465"/>
              <a:gd name="connsiteY1805" fmla="*/ 975532 h 1934496"/>
              <a:gd name="connsiteX1806" fmla="*/ 8198577 w 9922465"/>
              <a:gd name="connsiteY1806" fmla="*/ 1030723 h 1934496"/>
              <a:gd name="connsiteX1807" fmla="*/ 8143385 w 9922465"/>
              <a:gd name="connsiteY1807" fmla="*/ 1085914 h 1934496"/>
              <a:gd name="connsiteX1808" fmla="*/ 8088193 w 9922465"/>
              <a:gd name="connsiteY1808" fmla="*/ 1030723 h 1934496"/>
              <a:gd name="connsiteX1809" fmla="*/ 8143385 w 9922465"/>
              <a:gd name="connsiteY1809" fmla="*/ 975532 h 1934496"/>
              <a:gd name="connsiteX1810" fmla="*/ 8009751 w 9922465"/>
              <a:gd name="connsiteY1810" fmla="*/ 975532 h 1934496"/>
              <a:gd name="connsiteX1811" fmla="*/ 8064943 w 9922465"/>
              <a:gd name="connsiteY1811" fmla="*/ 1030723 h 1934496"/>
              <a:gd name="connsiteX1812" fmla="*/ 8009751 w 9922465"/>
              <a:gd name="connsiteY1812" fmla="*/ 1085914 h 1934496"/>
              <a:gd name="connsiteX1813" fmla="*/ 7954559 w 9922465"/>
              <a:gd name="connsiteY1813" fmla="*/ 1030723 h 1934496"/>
              <a:gd name="connsiteX1814" fmla="*/ 8009751 w 9922465"/>
              <a:gd name="connsiteY1814" fmla="*/ 975532 h 1934496"/>
              <a:gd name="connsiteX1815" fmla="*/ 7608847 w 9922465"/>
              <a:gd name="connsiteY1815" fmla="*/ 975532 h 1934496"/>
              <a:gd name="connsiteX1816" fmla="*/ 7664039 w 9922465"/>
              <a:gd name="connsiteY1816" fmla="*/ 1030723 h 1934496"/>
              <a:gd name="connsiteX1817" fmla="*/ 7608847 w 9922465"/>
              <a:gd name="connsiteY1817" fmla="*/ 1085914 h 1934496"/>
              <a:gd name="connsiteX1818" fmla="*/ 7553655 w 9922465"/>
              <a:gd name="connsiteY1818" fmla="*/ 1030723 h 1934496"/>
              <a:gd name="connsiteX1819" fmla="*/ 7608847 w 9922465"/>
              <a:gd name="connsiteY1819" fmla="*/ 975532 h 1934496"/>
              <a:gd name="connsiteX1820" fmla="*/ 7080991 w 9922465"/>
              <a:gd name="connsiteY1820" fmla="*/ 975532 h 1934496"/>
              <a:gd name="connsiteX1821" fmla="*/ 7136183 w 9922465"/>
              <a:gd name="connsiteY1821" fmla="*/ 1030723 h 1934496"/>
              <a:gd name="connsiteX1822" fmla="*/ 7080991 w 9922465"/>
              <a:gd name="connsiteY1822" fmla="*/ 1085914 h 1934496"/>
              <a:gd name="connsiteX1823" fmla="*/ 7025799 w 9922465"/>
              <a:gd name="connsiteY1823" fmla="*/ 1030723 h 1934496"/>
              <a:gd name="connsiteX1824" fmla="*/ 7080991 w 9922465"/>
              <a:gd name="connsiteY1824" fmla="*/ 975532 h 1934496"/>
              <a:gd name="connsiteX1825" fmla="*/ 6553135 w 9922465"/>
              <a:gd name="connsiteY1825" fmla="*/ 975532 h 1934496"/>
              <a:gd name="connsiteX1826" fmla="*/ 6608327 w 9922465"/>
              <a:gd name="connsiteY1826" fmla="*/ 1030723 h 1934496"/>
              <a:gd name="connsiteX1827" fmla="*/ 6553135 w 9922465"/>
              <a:gd name="connsiteY1827" fmla="*/ 1085914 h 1934496"/>
              <a:gd name="connsiteX1828" fmla="*/ 6497943 w 9922465"/>
              <a:gd name="connsiteY1828" fmla="*/ 1030723 h 1934496"/>
              <a:gd name="connsiteX1829" fmla="*/ 6553135 w 9922465"/>
              <a:gd name="connsiteY1829" fmla="*/ 975532 h 1934496"/>
              <a:gd name="connsiteX1830" fmla="*/ 6419501 w 9922465"/>
              <a:gd name="connsiteY1830" fmla="*/ 975532 h 1934496"/>
              <a:gd name="connsiteX1831" fmla="*/ 6474693 w 9922465"/>
              <a:gd name="connsiteY1831" fmla="*/ 1030723 h 1934496"/>
              <a:gd name="connsiteX1832" fmla="*/ 6419501 w 9922465"/>
              <a:gd name="connsiteY1832" fmla="*/ 1085914 h 1934496"/>
              <a:gd name="connsiteX1833" fmla="*/ 6364309 w 9922465"/>
              <a:gd name="connsiteY1833" fmla="*/ 1030723 h 1934496"/>
              <a:gd name="connsiteX1834" fmla="*/ 6419501 w 9922465"/>
              <a:gd name="connsiteY1834" fmla="*/ 975532 h 1934496"/>
              <a:gd name="connsiteX1835" fmla="*/ 6155571 w 9922465"/>
              <a:gd name="connsiteY1835" fmla="*/ 975532 h 1934496"/>
              <a:gd name="connsiteX1836" fmla="*/ 6210763 w 9922465"/>
              <a:gd name="connsiteY1836" fmla="*/ 1030723 h 1934496"/>
              <a:gd name="connsiteX1837" fmla="*/ 6155571 w 9922465"/>
              <a:gd name="connsiteY1837" fmla="*/ 1085914 h 1934496"/>
              <a:gd name="connsiteX1838" fmla="*/ 6100379 w 9922465"/>
              <a:gd name="connsiteY1838" fmla="*/ 1030723 h 1934496"/>
              <a:gd name="connsiteX1839" fmla="*/ 6155571 w 9922465"/>
              <a:gd name="connsiteY1839" fmla="*/ 975532 h 1934496"/>
              <a:gd name="connsiteX1840" fmla="*/ 6021936 w 9922465"/>
              <a:gd name="connsiteY1840" fmla="*/ 975532 h 1934496"/>
              <a:gd name="connsiteX1841" fmla="*/ 6077128 w 9922465"/>
              <a:gd name="connsiteY1841" fmla="*/ 1030723 h 1934496"/>
              <a:gd name="connsiteX1842" fmla="*/ 6021936 w 9922465"/>
              <a:gd name="connsiteY1842" fmla="*/ 1085914 h 1934496"/>
              <a:gd name="connsiteX1843" fmla="*/ 5966744 w 9922465"/>
              <a:gd name="connsiteY1843" fmla="*/ 1030723 h 1934496"/>
              <a:gd name="connsiteX1844" fmla="*/ 6021936 w 9922465"/>
              <a:gd name="connsiteY1844" fmla="*/ 975532 h 1934496"/>
              <a:gd name="connsiteX1845" fmla="*/ 5884963 w 9922465"/>
              <a:gd name="connsiteY1845" fmla="*/ 975532 h 1934496"/>
              <a:gd name="connsiteX1846" fmla="*/ 5940155 w 9922465"/>
              <a:gd name="connsiteY1846" fmla="*/ 1030723 h 1934496"/>
              <a:gd name="connsiteX1847" fmla="*/ 5884963 w 9922465"/>
              <a:gd name="connsiteY1847" fmla="*/ 1085914 h 1934496"/>
              <a:gd name="connsiteX1848" fmla="*/ 5829771 w 9922465"/>
              <a:gd name="connsiteY1848" fmla="*/ 1030723 h 1934496"/>
              <a:gd name="connsiteX1849" fmla="*/ 5884963 w 9922465"/>
              <a:gd name="connsiteY1849" fmla="*/ 975532 h 1934496"/>
              <a:gd name="connsiteX1850" fmla="*/ 5621031 w 9922465"/>
              <a:gd name="connsiteY1850" fmla="*/ 975532 h 1934496"/>
              <a:gd name="connsiteX1851" fmla="*/ 5676223 w 9922465"/>
              <a:gd name="connsiteY1851" fmla="*/ 1030723 h 1934496"/>
              <a:gd name="connsiteX1852" fmla="*/ 5621031 w 9922465"/>
              <a:gd name="connsiteY1852" fmla="*/ 1085914 h 1934496"/>
              <a:gd name="connsiteX1853" fmla="*/ 5565839 w 9922465"/>
              <a:gd name="connsiteY1853" fmla="*/ 1030723 h 1934496"/>
              <a:gd name="connsiteX1854" fmla="*/ 5621031 w 9922465"/>
              <a:gd name="connsiteY1854" fmla="*/ 975532 h 1934496"/>
              <a:gd name="connsiteX1855" fmla="*/ 5223472 w 9922465"/>
              <a:gd name="connsiteY1855" fmla="*/ 975532 h 1934496"/>
              <a:gd name="connsiteX1856" fmla="*/ 5278664 w 9922465"/>
              <a:gd name="connsiteY1856" fmla="*/ 1030723 h 1934496"/>
              <a:gd name="connsiteX1857" fmla="*/ 5223472 w 9922465"/>
              <a:gd name="connsiteY1857" fmla="*/ 1085914 h 1934496"/>
              <a:gd name="connsiteX1858" fmla="*/ 5168280 w 9922465"/>
              <a:gd name="connsiteY1858" fmla="*/ 1030723 h 1934496"/>
              <a:gd name="connsiteX1859" fmla="*/ 5223472 w 9922465"/>
              <a:gd name="connsiteY1859" fmla="*/ 975532 h 1934496"/>
              <a:gd name="connsiteX1860" fmla="*/ 4294710 w 9922465"/>
              <a:gd name="connsiteY1860" fmla="*/ 975532 h 1934496"/>
              <a:gd name="connsiteX1861" fmla="*/ 4349902 w 9922465"/>
              <a:gd name="connsiteY1861" fmla="*/ 1030723 h 1934496"/>
              <a:gd name="connsiteX1862" fmla="*/ 4294710 w 9922465"/>
              <a:gd name="connsiteY1862" fmla="*/ 1085914 h 1934496"/>
              <a:gd name="connsiteX1863" fmla="*/ 4239518 w 9922465"/>
              <a:gd name="connsiteY1863" fmla="*/ 1030723 h 1934496"/>
              <a:gd name="connsiteX1864" fmla="*/ 4294710 w 9922465"/>
              <a:gd name="connsiteY1864" fmla="*/ 975532 h 1934496"/>
              <a:gd name="connsiteX1865" fmla="*/ 3499584 w 9922465"/>
              <a:gd name="connsiteY1865" fmla="*/ 975532 h 1934496"/>
              <a:gd name="connsiteX1866" fmla="*/ 3554776 w 9922465"/>
              <a:gd name="connsiteY1866" fmla="*/ 1030723 h 1934496"/>
              <a:gd name="connsiteX1867" fmla="*/ 3499584 w 9922465"/>
              <a:gd name="connsiteY1867" fmla="*/ 1085914 h 1934496"/>
              <a:gd name="connsiteX1868" fmla="*/ 3444392 w 9922465"/>
              <a:gd name="connsiteY1868" fmla="*/ 1030723 h 1934496"/>
              <a:gd name="connsiteX1869" fmla="*/ 3499584 w 9922465"/>
              <a:gd name="connsiteY1869" fmla="*/ 975532 h 1934496"/>
              <a:gd name="connsiteX1870" fmla="*/ 2834836 w 9922465"/>
              <a:gd name="connsiteY1870" fmla="*/ 975532 h 1934496"/>
              <a:gd name="connsiteX1871" fmla="*/ 2890028 w 9922465"/>
              <a:gd name="connsiteY1871" fmla="*/ 1030723 h 1934496"/>
              <a:gd name="connsiteX1872" fmla="*/ 2834836 w 9922465"/>
              <a:gd name="connsiteY1872" fmla="*/ 1085914 h 1934496"/>
              <a:gd name="connsiteX1873" fmla="*/ 2779643 w 9922465"/>
              <a:gd name="connsiteY1873" fmla="*/ 1030723 h 1934496"/>
              <a:gd name="connsiteX1874" fmla="*/ 2834836 w 9922465"/>
              <a:gd name="connsiteY1874" fmla="*/ 975532 h 1934496"/>
              <a:gd name="connsiteX1875" fmla="*/ 2303639 w 9922465"/>
              <a:gd name="connsiteY1875" fmla="*/ 975532 h 1934496"/>
              <a:gd name="connsiteX1876" fmla="*/ 2358830 w 9922465"/>
              <a:gd name="connsiteY1876" fmla="*/ 1030723 h 1934496"/>
              <a:gd name="connsiteX1877" fmla="*/ 2303639 w 9922465"/>
              <a:gd name="connsiteY1877" fmla="*/ 1085914 h 1934496"/>
              <a:gd name="connsiteX1878" fmla="*/ 2248448 w 9922465"/>
              <a:gd name="connsiteY1878" fmla="*/ 1030723 h 1934496"/>
              <a:gd name="connsiteX1879" fmla="*/ 2303639 w 9922465"/>
              <a:gd name="connsiteY1879" fmla="*/ 975532 h 1934496"/>
              <a:gd name="connsiteX1880" fmla="*/ 2039712 w 9922465"/>
              <a:gd name="connsiteY1880" fmla="*/ 975532 h 1934496"/>
              <a:gd name="connsiteX1881" fmla="*/ 2094905 w 9922465"/>
              <a:gd name="connsiteY1881" fmla="*/ 1030723 h 1934496"/>
              <a:gd name="connsiteX1882" fmla="*/ 2039712 w 9922465"/>
              <a:gd name="connsiteY1882" fmla="*/ 1085914 h 1934496"/>
              <a:gd name="connsiteX1883" fmla="*/ 1984518 w 9922465"/>
              <a:gd name="connsiteY1883" fmla="*/ 1030723 h 1934496"/>
              <a:gd name="connsiteX1884" fmla="*/ 2039712 w 9922465"/>
              <a:gd name="connsiteY1884" fmla="*/ 975532 h 1934496"/>
              <a:gd name="connsiteX1885" fmla="*/ 1909414 w 9922465"/>
              <a:gd name="connsiteY1885" fmla="*/ 975532 h 1934496"/>
              <a:gd name="connsiteX1886" fmla="*/ 1964607 w 9922465"/>
              <a:gd name="connsiteY1886" fmla="*/ 1030723 h 1934496"/>
              <a:gd name="connsiteX1887" fmla="*/ 1909414 w 9922465"/>
              <a:gd name="connsiteY1887" fmla="*/ 1085914 h 1934496"/>
              <a:gd name="connsiteX1888" fmla="*/ 1854220 w 9922465"/>
              <a:gd name="connsiteY1888" fmla="*/ 1030723 h 1934496"/>
              <a:gd name="connsiteX1889" fmla="*/ 1909414 w 9922465"/>
              <a:gd name="connsiteY1889" fmla="*/ 975532 h 1934496"/>
              <a:gd name="connsiteX1890" fmla="*/ 1779117 w 9922465"/>
              <a:gd name="connsiteY1890" fmla="*/ 975532 h 1934496"/>
              <a:gd name="connsiteX1891" fmla="*/ 1834310 w 9922465"/>
              <a:gd name="connsiteY1891" fmla="*/ 1030723 h 1934496"/>
              <a:gd name="connsiteX1892" fmla="*/ 1779117 w 9922465"/>
              <a:gd name="connsiteY1892" fmla="*/ 1085914 h 1934496"/>
              <a:gd name="connsiteX1893" fmla="*/ 1723923 w 9922465"/>
              <a:gd name="connsiteY1893" fmla="*/ 1030723 h 1934496"/>
              <a:gd name="connsiteX1894" fmla="*/ 1779117 w 9922465"/>
              <a:gd name="connsiteY1894" fmla="*/ 975532 h 1934496"/>
              <a:gd name="connsiteX1895" fmla="*/ 1645480 w 9922465"/>
              <a:gd name="connsiteY1895" fmla="*/ 975532 h 1934496"/>
              <a:gd name="connsiteX1896" fmla="*/ 1700679 w 9922465"/>
              <a:gd name="connsiteY1896" fmla="*/ 1030723 h 1934496"/>
              <a:gd name="connsiteX1897" fmla="*/ 1645480 w 9922465"/>
              <a:gd name="connsiteY1897" fmla="*/ 1085914 h 1934496"/>
              <a:gd name="connsiteX1898" fmla="*/ 1590287 w 9922465"/>
              <a:gd name="connsiteY1898" fmla="*/ 1030723 h 1934496"/>
              <a:gd name="connsiteX1899" fmla="*/ 1645480 w 9922465"/>
              <a:gd name="connsiteY1899" fmla="*/ 975532 h 1934496"/>
              <a:gd name="connsiteX1900" fmla="*/ 1515189 w 9922465"/>
              <a:gd name="connsiteY1900" fmla="*/ 975532 h 1934496"/>
              <a:gd name="connsiteX1901" fmla="*/ 1570378 w 9922465"/>
              <a:gd name="connsiteY1901" fmla="*/ 1030723 h 1934496"/>
              <a:gd name="connsiteX1902" fmla="*/ 1515189 w 9922465"/>
              <a:gd name="connsiteY1902" fmla="*/ 1085914 h 1934496"/>
              <a:gd name="connsiteX1903" fmla="*/ 1459995 w 9922465"/>
              <a:gd name="connsiteY1903" fmla="*/ 1030723 h 1934496"/>
              <a:gd name="connsiteX1904" fmla="*/ 1515189 w 9922465"/>
              <a:gd name="connsiteY1904" fmla="*/ 975532 h 1934496"/>
              <a:gd name="connsiteX1905" fmla="*/ 1381549 w 9922465"/>
              <a:gd name="connsiteY1905" fmla="*/ 975532 h 1934496"/>
              <a:gd name="connsiteX1906" fmla="*/ 1436744 w 9922465"/>
              <a:gd name="connsiteY1906" fmla="*/ 1030723 h 1934496"/>
              <a:gd name="connsiteX1907" fmla="*/ 1381549 w 9922465"/>
              <a:gd name="connsiteY1907" fmla="*/ 1085914 h 1934496"/>
              <a:gd name="connsiteX1908" fmla="*/ 1326361 w 9922465"/>
              <a:gd name="connsiteY1908" fmla="*/ 1030723 h 1934496"/>
              <a:gd name="connsiteX1909" fmla="*/ 1381549 w 9922465"/>
              <a:gd name="connsiteY1909" fmla="*/ 975532 h 1934496"/>
              <a:gd name="connsiteX1910" fmla="*/ 1117621 w 9922465"/>
              <a:gd name="connsiteY1910" fmla="*/ 975532 h 1934496"/>
              <a:gd name="connsiteX1911" fmla="*/ 1172814 w 9922465"/>
              <a:gd name="connsiteY1911" fmla="*/ 1030723 h 1934496"/>
              <a:gd name="connsiteX1912" fmla="*/ 1117621 w 9922465"/>
              <a:gd name="connsiteY1912" fmla="*/ 1085914 h 1934496"/>
              <a:gd name="connsiteX1913" fmla="*/ 1062427 w 9922465"/>
              <a:gd name="connsiteY1913" fmla="*/ 1030723 h 1934496"/>
              <a:gd name="connsiteX1914" fmla="*/ 1117621 w 9922465"/>
              <a:gd name="connsiteY1914" fmla="*/ 975532 h 1934496"/>
              <a:gd name="connsiteX1915" fmla="*/ 980643 w 9922465"/>
              <a:gd name="connsiteY1915" fmla="*/ 975532 h 1934496"/>
              <a:gd name="connsiteX1916" fmla="*/ 1035836 w 9922465"/>
              <a:gd name="connsiteY1916" fmla="*/ 1030723 h 1934496"/>
              <a:gd name="connsiteX1917" fmla="*/ 980643 w 9922465"/>
              <a:gd name="connsiteY1917" fmla="*/ 1085914 h 1934496"/>
              <a:gd name="connsiteX1918" fmla="*/ 925449 w 9922465"/>
              <a:gd name="connsiteY1918" fmla="*/ 1030723 h 1934496"/>
              <a:gd name="connsiteX1919" fmla="*/ 980643 w 9922465"/>
              <a:gd name="connsiteY1919" fmla="*/ 975532 h 1934496"/>
              <a:gd name="connsiteX1920" fmla="*/ 716703 w 9922465"/>
              <a:gd name="connsiteY1920" fmla="*/ 975532 h 1934496"/>
              <a:gd name="connsiteX1921" fmla="*/ 771897 w 9922465"/>
              <a:gd name="connsiteY1921" fmla="*/ 1030723 h 1934496"/>
              <a:gd name="connsiteX1922" fmla="*/ 716703 w 9922465"/>
              <a:gd name="connsiteY1922" fmla="*/ 1085914 h 1934496"/>
              <a:gd name="connsiteX1923" fmla="*/ 661511 w 9922465"/>
              <a:gd name="connsiteY1923" fmla="*/ 1030723 h 1934496"/>
              <a:gd name="connsiteX1924" fmla="*/ 716703 w 9922465"/>
              <a:gd name="connsiteY1924" fmla="*/ 975532 h 1934496"/>
              <a:gd name="connsiteX1925" fmla="*/ 583065 w 9922465"/>
              <a:gd name="connsiteY1925" fmla="*/ 975532 h 1934496"/>
              <a:gd name="connsiteX1926" fmla="*/ 638258 w 9922465"/>
              <a:gd name="connsiteY1926" fmla="*/ 1030723 h 1934496"/>
              <a:gd name="connsiteX1927" fmla="*/ 583065 w 9922465"/>
              <a:gd name="connsiteY1927" fmla="*/ 1085914 h 1934496"/>
              <a:gd name="connsiteX1928" fmla="*/ 527871 w 9922465"/>
              <a:gd name="connsiteY1928" fmla="*/ 1030723 h 1934496"/>
              <a:gd name="connsiteX1929" fmla="*/ 583065 w 9922465"/>
              <a:gd name="connsiteY1929" fmla="*/ 975532 h 1934496"/>
              <a:gd name="connsiteX1930" fmla="*/ 449419 w 9922465"/>
              <a:gd name="connsiteY1930" fmla="*/ 975532 h 1934496"/>
              <a:gd name="connsiteX1931" fmla="*/ 504612 w 9922465"/>
              <a:gd name="connsiteY1931" fmla="*/ 1030723 h 1934496"/>
              <a:gd name="connsiteX1932" fmla="*/ 449419 w 9922465"/>
              <a:gd name="connsiteY1932" fmla="*/ 1085914 h 1934496"/>
              <a:gd name="connsiteX1933" fmla="*/ 394227 w 9922465"/>
              <a:gd name="connsiteY1933" fmla="*/ 1030723 h 1934496"/>
              <a:gd name="connsiteX1934" fmla="*/ 449419 w 9922465"/>
              <a:gd name="connsiteY1934" fmla="*/ 975532 h 1934496"/>
              <a:gd name="connsiteX1935" fmla="*/ 319124 w 9922465"/>
              <a:gd name="connsiteY1935" fmla="*/ 975532 h 1934496"/>
              <a:gd name="connsiteX1936" fmla="*/ 374317 w 9922465"/>
              <a:gd name="connsiteY1936" fmla="*/ 1030723 h 1934496"/>
              <a:gd name="connsiteX1937" fmla="*/ 319124 w 9922465"/>
              <a:gd name="connsiteY1937" fmla="*/ 1085914 h 1934496"/>
              <a:gd name="connsiteX1938" fmla="*/ 263931 w 9922465"/>
              <a:gd name="connsiteY1938" fmla="*/ 1030723 h 1934496"/>
              <a:gd name="connsiteX1939" fmla="*/ 319124 w 9922465"/>
              <a:gd name="connsiteY1939" fmla="*/ 975532 h 1934496"/>
              <a:gd name="connsiteX1940" fmla="*/ 185492 w 9922465"/>
              <a:gd name="connsiteY1940" fmla="*/ 975532 h 1934496"/>
              <a:gd name="connsiteX1941" fmla="*/ 240682 w 9922465"/>
              <a:gd name="connsiteY1941" fmla="*/ 1030723 h 1934496"/>
              <a:gd name="connsiteX1942" fmla="*/ 185492 w 9922465"/>
              <a:gd name="connsiteY1942" fmla="*/ 1085914 h 1934496"/>
              <a:gd name="connsiteX1943" fmla="*/ 130299 w 9922465"/>
              <a:gd name="connsiteY1943" fmla="*/ 1030723 h 1934496"/>
              <a:gd name="connsiteX1944" fmla="*/ 185492 w 9922465"/>
              <a:gd name="connsiteY1944" fmla="*/ 975532 h 1934496"/>
              <a:gd name="connsiteX1945" fmla="*/ 55197 w 9922465"/>
              <a:gd name="connsiteY1945" fmla="*/ 975532 h 1934496"/>
              <a:gd name="connsiteX1946" fmla="*/ 110388 w 9922465"/>
              <a:gd name="connsiteY1946" fmla="*/ 1030723 h 1934496"/>
              <a:gd name="connsiteX1947" fmla="*/ 55197 w 9922465"/>
              <a:gd name="connsiteY1947" fmla="*/ 1085914 h 1934496"/>
              <a:gd name="connsiteX1948" fmla="*/ 7 w 9922465"/>
              <a:gd name="connsiteY1948" fmla="*/ 1030723 h 1934496"/>
              <a:gd name="connsiteX1949" fmla="*/ 55197 w 9922465"/>
              <a:gd name="connsiteY1949" fmla="*/ 975532 h 1934496"/>
              <a:gd name="connsiteX1950" fmla="*/ 9469710 w 9922465"/>
              <a:gd name="connsiteY1950" fmla="*/ 855263 h 1934496"/>
              <a:gd name="connsiteX1951" fmla="*/ 9524902 w 9922465"/>
              <a:gd name="connsiteY1951" fmla="*/ 910454 h 1934496"/>
              <a:gd name="connsiteX1952" fmla="*/ 9469710 w 9922465"/>
              <a:gd name="connsiteY1952" fmla="*/ 965645 h 1934496"/>
              <a:gd name="connsiteX1953" fmla="*/ 9414518 w 9922465"/>
              <a:gd name="connsiteY1953" fmla="*/ 910454 h 1934496"/>
              <a:gd name="connsiteX1954" fmla="*/ 9469710 w 9922465"/>
              <a:gd name="connsiteY1954" fmla="*/ 855263 h 1934496"/>
              <a:gd name="connsiteX1955" fmla="*/ 9336075 w 9922465"/>
              <a:gd name="connsiteY1955" fmla="*/ 855263 h 1934496"/>
              <a:gd name="connsiteX1956" fmla="*/ 9391267 w 9922465"/>
              <a:gd name="connsiteY1956" fmla="*/ 910454 h 1934496"/>
              <a:gd name="connsiteX1957" fmla="*/ 9336075 w 9922465"/>
              <a:gd name="connsiteY1957" fmla="*/ 965645 h 1934496"/>
              <a:gd name="connsiteX1958" fmla="*/ 9280883 w 9922465"/>
              <a:gd name="connsiteY1958" fmla="*/ 910454 h 1934496"/>
              <a:gd name="connsiteX1959" fmla="*/ 9336075 w 9922465"/>
              <a:gd name="connsiteY1959" fmla="*/ 855263 h 1934496"/>
              <a:gd name="connsiteX1960" fmla="*/ 9199100 w 9922465"/>
              <a:gd name="connsiteY1960" fmla="*/ 855263 h 1934496"/>
              <a:gd name="connsiteX1961" fmla="*/ 9254292 w 9922465"/>
              <a:gd name="connsiteY1961" fmla="*/ 910454 h 1934496"/>
              <a:gd name="connsiteX1962" fmla="*/ 9199100 w 9922465"/>
              <a:gd name="connsiteY1962" fmla="*/ 965645 h 1934496"/>
              <a:gd name="connsiteX1963" fmla="*/ 9143908 w 9922465"/>
              <a:gd name="connsiteY1963" fmla="*/ 910454 h 1934496"/>
              <a:gd name="connsiteX1964" fmla="*/ 9199100 w 9922465"/>
              <a:gd name="connsiteY1964" fmla="*/ 855263 h 1934496"/>
              <a:gd name="connsiteX1965" fmla="*/ 9068806 w 9922465"/>
              <a:gd name="connsiteY1965" fmla="*/ 855263 h 1934496"/>
              <a:gd name="connsiteX1966" fmla="*/ 9123998 w 9922465"/>
              <a:gd name="connsiteY1966" fmla="*/ 910454 h 1934496"/>
              <a:gd name="connsiteX1967" fmla="*/ 9068806 w 9922465"/>
              <a:gd name="connsiteY1967" fmla="*/ 965645 h 1934496"/>
              <a:gd name="connsiteX1968" fmla="*/ 9013614 w 9922465"/>
              <a:gd name="connsiteY1968" fmla="*/ 910454 h 1934496"/>
              <a:gd name="connsiteX1969" fmla="*/ 9068806 w 9922465"/>
              <a:gd name="connsiteY1969" fmla="*/ 855263 h 1934496"/>
              <a:gd name="connsiteX1970" fmla="*/ 8935170 w 9922465"/>
              <a:gd name="connsiteY1970" fmla="*/ 855263 h 1934496"/>
              <a:gd name="connsiteX1971" fmla="*/ 8990362 w 9922465"/>
              <a:gd name="connsiteY1971" fmla="*/ 910454 h 1934496"/>
              <a:gd name="connsiteX1972" fmla="*/ 8935170 w 9922465"/>
              <a:gd name="connsiteY1972" fmla="*/ 965645 h 1934496"/>
              <a:gd name="connsiteX1973" fmla="*/ 8879978 w 9922465"/>
              <a:gd name="connsiteY1973" fmla="*/ 910454 h 1934496"/>
              <a:gd name="connsiteX1974" fmla="*/ 8935170 w 9922465"/>
              <a:gd name="connsiteY1974" fmla="*/ 855263 h 1934496"/>
              <a:gd name="connsiteX1975" fmla="*/ 8801536 w 9922465"/>
              <a:gd name="connsiteY1975" fmla="*/ 855263 h 1934496"/>
              <a:gd name="connsiteX1976" fmla="*/ 8856728 w 9922465"/>
              <a:gd name="connsiteY1976" fmla="*/ 910454 h 1934496"/>
              <a:gd name="connsiteX1977" fmla="*/ 8801536 w 9922465"/>
              <a:gd name="connsiteY1977" fmla="*/ 965645 h 1934496"/>
              <a:gd name="connsiteX1978" fmla="*/ 8746344 w 9922465"/>
              <a:gd name="connsiteY1978" fmla="*/ 910454 h 1934496"/>
              <a:gd name="connsiteX1979" fmla="*/ 8801536 w 9922465"/>
              <a:gd name="connsiteY1979" fmla="*/ 855263 h 1934496"/>
              <a:gd name="connsiteX1980" fmla="*/ 8671243 w 9922465"/>
              <a:gd name="connsiteY1980" fmla="*/ 855263 h 1934496"/>
              <a:gd name="connsiteX1981" fmla="*/ 8726435 w 9922465"/>
              <a:gd name="connsiteY1981" fmla="*/ 910454 h 1934496"/>
              <a:gd name="connsiteX1982" fmla="*/ 8671243 w 9922465"/>
              <a:gd name="connsiteY1982" fmla="*/ 965645 h 1934496"/>
              <a:gd name="connsiteX1983" fmla="*/ 8616051 w 9922465"/>
              <a:gd name="connsiteY1983" fmla="*/ 910454 h 1934496"/>
              <a:gd name="connsiteX1984" fmla="*/ 8671243 w 9922465"/>
              <a:gd name="connsiteY1984" fmla="*/ 855263 h 1934496"/>
              <a:gd name="connsiteX1985" fmla="*/ 8537609 w 9922465"/>
              <a:gd name="connsiteY1985" fmla="*/ 855263 h 1934496"/>
              <a:gd name="connsiteX1986" fmla="*/ 8592801 w 9922465"/>
              <a:gd name="connsiteY1986" fmla="*/ 910454 h 1934496"/>
              <a:gd name="connsiteX1987" fmla="*/ 8537609 w 9922465"/>
              <a:gd name="connsiteY1987" fmla="*/ 965645 h 1934496"/>
              <a:gd name="connsiteX1988" fmla="*/ 8482417 w 9922465"/>
              <a:gd name="connsiteY1988" fmla="*/ 910454 h 1934496"/>
              <a:gd name="connsiteX1989" fmla="*/ 8537609 w 9922465"/>
              <a:gd name="connsiteY1989" fmla="*/ 855263 h 1934496"/>
              <a:gd name="connsiteX1990" fmla="*/ 8407315 w 9922465"/>
              <a:gd name="connsiteY1990" fmla="*/ 855263 h 1934496"/>
              <a:gd name="connsiteX1991" fmla="*/ 8462507 w 9922465"/>
              <a:gd name="connsiteY1991" fmla="*/ 910454 h 1934496"/>
              <a:gd name="connsiteX1992" fmla="*/ 8407315 w 9922465"/>
              <a:gd name="connsiteY1992" fmla="*/ 965645 h 1934496"/>
              <a:gd name="connsiteX1993" fmla="*/ 8352123 w 9922465"/>
              <a:gd name="connsiteY1993" fmla="*/ 910454 h 1934496"/>
              <a:gd name="connsiteX1994" fmla="*/ 8407315 w 9922465"/>
              <a:gd name="connsiteY1994" fmla="*/ 855263 h 1934496"/>
              <a:gd name="connsiteX1995" fmla="*/ 8273681 w 9922465"/>
              <a:gd name="connsiteY1995" fmla="*/ 855263 h 1934496"/>
              <a:gd name="connsiteX1996" fmla="*/ 8328873 w 9922465"/>
              <a:gd name="connsiteY1996" fmla="*/ 910454 h 1934496"/>
              <a:gd name="connsiteX1997" fmla="*/ 8273681 w 9922465"/>
              <a:gd name="connsiteY1997" fmla="*/ 965645 h 1934496"/>
              <a:gd name="connsiteX1998" fmla="*/ 8218489 w 9922465"/>
              <a:gd name="connsiteY1998" fmla="*/ 910454 h 1934496"/>
              <a:gd name="connsiteX1999" fmla="*/ 8273681 w 9922465"/>
              <a:gd name="connsiteY1999" fmla="*/ 855263 h 1934496"/>
              <a:gd name="connsiteX2000" fmla="*/ 8143386 w 9922465"/>
              <a:gd name="connsiteY2000" fmla="*/ 855263 h 1934496"/>
              <a:gd name="connsiteX2001" fmla="*/ 8198578 w 9922465"/>
              <a:gd name="connsiteY2001" fmla="*/ 910454 h 1934496"/>
              <a:gd name="connsiteX2002" fmla="*/ 8143386 w 9922465"/>
              <a:gd name="connsiteY2002" fmla="*/ 965645 h 1934496"/>
              <a:gd name="connsiteX2003" fmla="*/ 8088194 w 9922465"/>
              <a:gd name="connsiteY2003" fmla="*/ 910454 h 1934496"/>
              <a:gd name="connsiteX2004" fmla="*/ 8143386 w 9922465"/>
              <a:gd name="connsiteY2004" fmla="*/ 855263 h 1934496"/>
              <a:gd name="connsiteX2005" fmla="*/ 8009752 w 9922465"/>
              <a:gd name="connsiteY2005" fmla="*/ 855263 h 1934496"/>
              <a:gd name="connsiteX2006" fmla="*/ 8064944 w 9922465"/>
              <a:gd name="connsiteY2006" fmla="*/ 910454 h 1934496"/>
              <a:gd name="connsiteX2007" fmla="*/ 8009752 w 9922465"/>
              <a:gd name="connsiteY2007" fmla="*/ 965645 h 1934496"/>
              <a:gd name="connsiteX2008" fmla="*/ 7954560 w 9922465"/>
              <a:gd name="connsiteY2008" fmla="*/ 910454 h 1934496"/>
              <a:gd name="connsiteX2009" fmla="*/ 8009752 w 9922465"/>
              <a:gd name="connsiteY2009" fmla="*/ 855263 h 1934496"/>
              <a:gd name="connsiteX2010" fmla="*/ 7876117 w 9922465"/>
              <a:gd name="connsiteY2010" fmla="*/ 855263 h 1934496"/>
              <a:gd name="connsiteX2011" fmla="*/ 7931309 w 9922465"/>
              <a:gd name="connsiteY2011" fmla="*/ 910454 h 1934496"/>
              <a:gd name="connsiteX2012" fmla="*/ 7876117 w 9922465"/>
              <a:gd name="connsiteY2012" fmla="*/ 965645 h 1934496"/>
              <a:gd name="connsiteX2013" fmla="*/ 7820925 w 9922465"/>
              <a:gd name="connsiteY2013" fmla="*/ 910454 h 1934496"/>
              <a:gd name="connsiteX2014" fmla="*/ 7876117 w 9922465"/>
              <a:gd name="connsiteY2014" fmla="*/ 855263 h 1934496"/>
              <a:gd name="connsiteX2015" fmla="*/ 7745822 w 9922465"/>
              <a:gd name="connsiteY2015" fmla="*/ 855263 h 1934496"/>
              <a:gd name="connsiteX2016" fmla="*/ 7801014 w 9922465"/>
              <a:gd name="connsiteY2016" fmla="*/ 910454 h 1934496"/>
              <a:gd name="connsiteX2017" fmla="*/ 7745822 w 9922465"/>
              <a:gd name="connsiteY2017" fmla="*/ 965645 h 1934496"/>
              <a:gd name="connsiteX2018" fmla="*/ 7690630 w 9922465"/>
              <a:gd name="connsiteY2018" fmla="*/ 910454 h 1934496"/>
              <a:gd name="connsiteX2019" fmla="*/ 7745822 w 9922465"/>
              <a:gd name="connsiteY2019" fmla="*/ 855263 h 1934496"/>
              <a:gd name="connsiteX2020" fmla="*/ 7608849 w 9922465"/>
              <a:gd name="connsiteY2020" fmla="*/ 855263 h 1934496"/>
              <a:gd name="connsiteX2021" fmla="*/ 7664041 w 9922465"/>
              <a:gd name="connsiteY2021" fmla="*/ 910454 h 1934496"/>
              <a:gd name="connsiteX2022" fmla="*/ 7608849 w 9922465"/>
              <a:gd name="connsiteY2022" fmla="*/ 965645 h 1934496"/>
              <a:gd name="connsiteX2023" fmla="*/ 7553657 w 9922465"/>
              <a:gd name="connsiteY2023" fmla="*/ 910454 h 1934496"/>
              <a:gd name="connsiteX2024" fmla="*/ 7608849 w 9922465"/>
              <a:gd name="connsiteY2024" fmla="*/ 855263 h 1934496"/>
              <a:gd name="connsiteX2025" fmla="*/ 7481895 w 9922465"/>
              <a:gd name="connsiteY2025" fmla="*/ 855263 h 1934496"/>
              <a:gd name="connsiteX2026" fmla="*/ 7537087 w 9922465"/>
              <a:gd name="connsiteY2026" fmla="*/ 910454 h 1934496"/>
              <a:gd name="connsiteX2027" fmla="*/ 7481895 w 9922465"/>
              <a:gd name="connsiteY2027" fmla="*/ 965645 h 1934496"/>
              <a:gd name="connsiteX2028" fmla="*/ 7426703 w 9922465"/>
              <a:gd name="connsiteY2028" fmla="*/ 910454 h 1934496"/>
              <a:gd name="connsiteX2029" fmla="*/ 7481895 w 9922465"/>
              <a:gd name="connsiteY2029" fmla="*/ 855263 h 1934496"/>
              <a:gd name="connsiteX2030" fmla="*/ 7341578 w 9922465"/>
              <a:gd name="connsiteY2030" fmla="*/ 855263 h 1934496"/>
              <a:gd name="connsiteX2031" fmla="*/ 7396770 w 9922465"/>
              <a:gd name="connsiteY2031" fmla="*/ 910454 h 1934496"/>
              <a:gd name="connsiteX2032" fmla="*/ 7341578 w 9922465"/>
              <a:gd name="connsiteY2032" fmla="*/ 965645 h 1934496"/>
              <a:gd name="connsiteX2033" fmla="*/ 7286386 w 9922465"/>
              <a:gd name="connsiteY2033" fmla="*/ 910454 h 1934496"/>
              <a:gd name="connsiteX2034" fmla="*/ 7341578 w 9922465"/>
              <a:gd name="connsiteY2034" fmla="*/ 855263 h 1934496"/>
              <a:gd name="connsiteX2035" fmla="*/ 7211285 w 9922465"/>
              <a:gd name="connsiteY2035" fmla="*/ 855263 h 1934496"/>
              <a:gd name="connsiteX2036" fmla="*/ 7266477 w 9922465"/>
              <a:gd name="connsiteY2036" fmla="*/ 910454 h 1934496"/>
              <a:gd name="connsiteX2037" fmla="*/ 7211285 w 9922465"/>
              <a:gd name="connsiteY2037" fmla="*/ 965645 h 1934496"/>
              <a:gd name="connsiteX2038" fmla="*/ 7156093 w 9922465"/>
              <a:gd name="connsiteY2038" fmla="*/ 910454 h 1934496"/>
              <a:gd name="connsiteX2039" fmla="*/ 7211285 w 9922465"/>
              <a:gd name="connsiteY2039" fmla="*/ 855263 h 1934496"/>
              <a:gd name="connsiteX2040" fmla="*/ 7080993 w 9922465"/>
              <a:gd name="connsiteY2040" fmla="*/ 855263 h 1934496"/>
              <a:gd name="connsiteX2041" fmla="*/ 7136185 w 9922465"/>
              <a:gd name="connsiteY2041" fmla="*/ 910454 h 1934496"/>
              <a:gd name="connsiteX2042" fmla="*/ 7080993 w 9922465"/>
              <a:gd name="connsiteY2042" fmla="*/ 965645 h 1934496"/>
              <a:gd name="connsiteX2043" fmla="*/ 7025801 w 9922465"/>
              <a:gd name="connsiteY2043" fmla="*/ 910454 h 1934496"/>
              <a:gd name="connsiteX2044" fmla="*/ 7080993 w 9922465"/>
              <a:gd name="connsiteY2044" fmla="*/ 855263 h 1934496"/>
              <a:gd name="connsiteX2045" fmla="*/ 6947357 w 9922465"/>
              <a:gd name="connsiteY2045" fmla="*/ 855263 h 1934496"/>
              <a:gd name="connsiteX2046" fmla="*/ 7002549 w 9922465"/>
              <a:gd name="connsiteY2046" fmla="*/ 910454 h 1934496"/>
              <a:gd name="connsiteX2047" fmla="*/ 6947357 w 9922465"/>
              <a:gd name="connsiteY2047" fmla="*/ 965645 h 1934496"/>
              <a:gd name="connsiteX2048" fmla="*/ 6892165 w 9922465"/>
              <a:gd name="connsiteY2048" fmla="*/ 910454 h 1934496"/>
              <a:gd name="connsiteX2049" fmla="*/ 6947357 w 9922465"/>
              <a:gd name="connsiteY2049" fmla="*/ 855263 h 1934496"/>
              <a:gd name="connsiteX2050" fmla="*/ 6817063 w 9922465"/>
              <a:gd name="connsiteY2050" fmla="*/ 855263 h 1934496"/>
              <a:gd name="connsiteX2051" fmla="*/ 6872255 w 9922465"/>
              <a:gd name="connsiteY2051" fmla="*/ 910454 h 1934496"/>
              <a:gd name="connsiteX2052" fmla="*/ 6817063 w 9922465"/>
              <a:gd name="connsiteY2052" fmla="*/ 965645 h 1934496"/>
              <a:gd name="connsiteX2053" fmla="*/ 6761871 w 9922465"/>
              <a:gd name="connsiteY2053" fmla="*/ 910454 h 1934496"/>
              <a:gd name="connsiteX2054" fmla="*/ 6817063 w 9922465"/>
              <a:gd name="connsiteY2054" fmla="*/ 855263 h 1934496"/>
              <a:gd name="connsiteX2055" fmla="*/ 6683430 w 9922465"/>
              <a:gd name="connsiteY2055" fmla="*/ 855263 h 1934496"/>
              <a:gd name="connsiteX2056" fmla="*/ 6738622 w 9922465"/>
              <a:gd name="connsiteY2056" fmla="*/ 910454 h 1934496"/>
              <a:gd name="connsiteX2057" fmla="*/ 6683430 w 9922465"/>
              <a:gd name="connsiteY2057" fmla="*/ 965645 h 1934496"/>
              <a:gd name="connsiteX2058" fmla="*/ 6628238 w 9922465"/>
              <a:gd name="connsiteY2058" fmla="*/ 910454 h 1934496"/>
              <a:gd name="connsiteX2059" fmla="*/ 6683430 w 9922465"/>
              <a:gd name="connsiteY2059" fmla="*/ 855263 h 1934496"/>
              <a:gd name="connsiteX2060" fmla="*/ 6553135 w 9922465"/>
              <a:gd name="connsiteY2060" fmla="*/ 855263 h 1934496"/>
              <a:gd name="connsiteX2061" fmla="*/ 6608327 w 9922465"/>
              <a:gd name="connsiteY2061" fmla="*/ 910454 h 1934496"/>
              <a:gd name="connsiteX2062" fmla="*/ 6553135 w 9922465"/>
              <a:gd name="connsiteY2062" fmla="*/ 965645 h 1934496"/>
              <a:gd name="connsiteX2063" fmla="*/ 6497943 w 9922465"/>
              <a:gd name="connsiteY2063" fmla="*/ 910454 h 1934496"/>
              <a:gd name="connsiteX2064" fmla="*/ 6553135 w 9922465"/>
              <a:gd name="connsiteY2064" fmla="*/ 855263 h 1934496"/>
              <a:gd name="connsiteX2065" fmla="*/ 6419502 w 9922465"/>
              <a:gd name="connsiteY2065" fmla="*/ 855263 h 1934496"/>
              <a:gd name="connsiteX2066" fmla="*/ 6474694 w 9922465"/>
              <a:gd name="connsiteY2066" fmla="*/ 910454 h 1934496"/>
              <a:gd name="connsiteX2067" fmla="*/ 6419502 w 9922465"/>
              <a:gd name="connsiteY2067" fmla="*/ 965645 h 1934496"/>
              <a:gd name="connsiteX2068" fmla="*/ 6364310 w 9922465"/>
              <a:gd name="connsiteY2068" fmla="*/ 910454 h 1934496"/>
              <a:gd name="connsiteX2069" fmla="*/ 6419502 w 9922465"/>
              <a:gd name="connsiteY2069" fmla="*/ 855263 h 1934496"/>
              <a:gd name="connsiteX2070" fmla="*/ 6289206 w 9922465"/>
              <a:gd name="connsiteY2070" fmla="*/ 855263 h 1934496"/>
              <a:gd name="connsiteX2071" fmla="*/ 6344398 w 9922465"/>
              <a:gd name="connsiteY2071" fmla="*/ 910454 h 1934496"/>
              <a:gd name="connsiteX2072" fmla="*/ 6289206 w 9922465"/>
              <a:gd name="connsiteY2072" fmla="*/ 965645 h 1934496"/>
              <a:gd name="connsiteX2073" fmla="*/ 6234014 w 9922465"/>
              <a:gd name="connsiteY2073" fmla="*/ 910454 h 1934496"/>
              <a:gd name="connsiteX2074" fmla="*/ 6289206 w 9922465"/>
              <a:gd name="connsiteY2074" fmla="*/ 855263 h 1934496"/>
              <a:gd name="connsiteX2075" fmla="*/ 6155571 w 9922465"/>
              <a:gd name="connsiteY2075" fmla="*/ 855263 h 1934496"/>
              <a:gd name="connsiteX2076" fmla="*/ 6210763 w 9922465"/>
              <a:gd name="connsiteY2076" fmla="*/ 910454 h 1934496"/>
              <a:gd name="connsiteX2077" fmla="*/ 6155571 w 9922465"/>
              <a:gd name="connsiteY2077" fmla="*/ 965645 h 1934496"/>
              <a:gd name="connsiteX2078" fmla="*/ 6100379 w 9922465"/>
              <a:gd name="connsiteY2078" fmla="*/ 910454 h 1934496"/>
              <a:gd name="connsiteX2079" fmla="*/ 6155571 w 9922465"/>
              <a:gd name="connsiteY2079" fmla="*/ 855263 h 1934496"/>
              <a:gd name="connsiteX2080" fmla="*/ 6021938 w 9922465"/>
              <a:gd name="connsiteY2080" fmla="*/ 855263 h 1934496"/>
              <a:gd name="connsiteX2081" fmla="*/ 6077130 w 9922465"/>
              <a:gd name="connsiteY2081" fmla="*/ 910454 h 1934496"/>
              <a:gd name="connsiteX2082" fmla="*/ 6021938 w 9922465"/>
              <a:gd name="connsiteY2082" fmla="*/ 965645 h 1934496"/>
              <a:gd name="connsiteX2083" fmla="*/ 5966746 w 9922465"/>
              <a:gd name="connsiteY2083" fmla="*/ 910454 h 1934496"/>
              <a:gd name="connsiteX2084" fmla="*/ 6021938 w 9922465"/>
              <a:gd name="connsiteY2084" fmla="*/ 855263 h 1934496"/>
              <a:gd name="connsiteX2085" fmla="*/ 5884961 w 9922465"/>
              <a:gd name="connsiteY2085" fmla="*/ 855263 h 1934496"/>
              <a:gd name="connsiteX2086" fmla="*/ 5940153 w 9922465"/>
              <a:gd name="connsiteY2086" fmla="*/ 910454 h 1934496"/>
              <a:gd name="connsiteX2087" fmla="*/ 5884961 w 9922465"/>
              <a:gd name="connsiteY2087" fmla="*/ 965645 h 1934496"/>
              <a:gd name="connsiteX2088" fmla="*/ 5829769 w 9922465"/>
              <a:gd name="connsiteY2088" fmla="*/ 910454 h 1934496"/>
              <a:gd name="connsiteX2089" fmla="*/ 5884961 w 9922465"/>
              <a:gd name="connsiteY2089" fmla="*/ 855263 h 1934496"/>
              <a:gd name="connsiteX2090" fmla="*/ 5754668 w 9922465"/>
              <a:gd name="connsiteY2090" fmla="*/ 855263 h 1934496"/>
              <a:gd name="connsiteX2091" fmla="*/ 5809860 w 9922465"/>
              <a:gd name="connsiteY2091" fmla="*/ 910454 h 1934496"/>
              <a:gd name="connsiteX2092" fmla="*/ 5754668 w 9922465"/>
              <a:gd name="connsiteY2092" fmla="*/ 965645 h 1934496"/>
              <a:gd name="connsiteX2093" fmla="*/ 5699476 w 9922465"/>
              <a:gd name="connsiteY2093" fmla="*/ 910454 h 1934496"/>
              <a:gd name="connsiteX2094" fmla="*/ 5754668 w 9922465"/>
              <a:gd name="connsiteY2094" fmla="*/ 855263 h 1934496"/>
              <a:gd name="connsiteX2095" fmla="*/ 5621034 w 9922465"/>
              <a:gd name="connsiteY2095" fmla="*/ 855263 h 1934496"/>
              <a:gd name="connsiteX2096" fmla="*/ 5676226 w 9922465"/>
              <a:gd name="connsiteY2096" fmla="*/ 910454 h 1934496"/>
              <a:gd name="connsiteX2097" fmla="*/ 5621034 w 9922465"/>
              <a:gd name="connsiteY2097" fmla="*/ 965645 h 1934496"/>
              <a:gd name="connsiteX2098" fmla="*/ 5565842 w 9922465"/>
              <a:gd name="connsiteY2098" fmla="*/ 910454 h 1934496"/>
              <a:gd name="connsiteX2099" fmla="*/ 5621034 w 9922465"/>
              <a:gd name="connsiteY2099" fmla="*/ 855263 h 1934496"/>
              <a:gd name="connsiteX2100" fmla="*/ 5487399 w 9922465"/>
              <a:gd name="connsiteY2100" fmla="*/ 855263 h 1934496"/>
              <a:gd name="connsiteX2101" fmla="*/ 5542591 w 9922465"/>
              <a:gd name="connsiteY2101" fmla="*/ 910454 h 1934496"/>
              <a:gd name="connsiteX2102" fmla="*/ 5487399 w 9922465"/>
              <a:gd name="connsiteY2102" fmla="*/ 965645 h 1934496"/>
              <a:gd name="connsiteX2103" fmla="*/ 5432207 w 9922465"/>
              <a:gd name="connsiteY2103" fmla="*/ 910454 h 1934496"/>
              <a:gd name="connsiteX2104" fmla="*/ 5487399 w 9922465"/>
              <a:gd name="connsiteY2104" fmla="*/ 855263 h 1934496"/>
              <a:gd name="connsiteX2105" fmla="*/ 5357105 w 9922465"/>
              <a:gd name="connsiteY2105" fmla="*/ 855263 h 1934496"/>
              <a:gd name="connsiteX2106" fmla="*/ 5412297 w 9922465"/>
              <a:gd name="connsiteY2106" fmla="*/ 910454 h 1934496"/>
              <a:gd name="connsiteX2107" fmla="*/ 5357105 w 9922465"/>
              <a:gd name="connsiteY2107" fmla="*/ 965645 h 1934496"/>
              <a:gd name="connsiteX2108" fmla="*/ 5301913 w 9922465"/>
              <a:gd name="connsiteY2108" fmla="*/ 910454 h 1934496"/>
              <a:gd name="connsiteX2109" fmla="*/ 5357105 w 9922465"/>
              <a:gd name="connsiteY2109" fmla="*/ 855263 h 1934496"/>
              <a:gd name="connsiteX2110" fmla="*/ 5223472 w 9922465"/>
              <a:gd name="connsiteY2110" fmla="*/ 855263 h 1934496"/>
              <a:gd name="connsiteX2111" fmla="*/ 5278664 w 9922465"/>
              <a:gd name="connsiteY2111" fmla="*/ 910454 h 1934496"/>
              <a:gd name="connsiteX2112" fmla="*/ 5223472 w 9922465"/>
              <a:gd name="connsiteY2112" fmla="*/ 965645 h 1934496"/>
              <a:gd name="connsiteX2113" fmla="*/ 5168280 w 9922465"/>
              <a:gd name="connsiteY2113" fmla="*/ 910454 h 1934496"/>
              <a:gd name="connsiteX2114" fmla="*/ 5223472 w 9922465"/>
              <a:gd name="connsiteY2114" fmla="*/ 855263 h 1934496"/>
              <a:gd name="connsiteX2115" fmla="*/ 5093178 w 9922465"/>
              <a:gd name="connsiteY2115" fmla="*/ 855263 h 1934496"/>
              <a:gd name="connsiteX2116" fmla="*/ 5148370 w 9922465"/>
              <a:gd name="connsiteY2116" fmla="*/ 910454 h 1934496"/>
              <a:gd name="connsiteX2117" fmla="*/ 5093178 w 9922465"/>
              <a:gd name="connsiteY2117" fmla="*/ 965645 h 1934496"/>
              <a:gd name="connsiteX2118" fmla="*/ 5037986 w 9922465"/>
              <a:gd name="connsiteY2118" fmla="*/ 910454 h 1934496"/>
              <a:gd name="connsiteX2119" fmla="*/ 5093178 w 9922465"/>
              <a:gd name="connsiteY2119" fmla="*/ 855263 h 1934496"/>
              <a:gd name="connsiteX2120" fmla="*/ 4161076 w 9922465"/>
              <a:gd name="connsiteY2120" fmla="*/ 855263 h 1934496"/>
              <a:gd name="connsiteX2121" fmla="*/ 4216268 w 9922465"/>
              <a:gd name="connsiteY2121" fmla="*/ 910454 h 1934496"/>
              <a:gd name="connsiteX2122" fmla="*/ 4161076 w 9922465"/>
              <a:gd name="connsiteY2122" fmla="*/ 965645 h 1934496"/>
              <a:gd name="connsiteX2123" fmla="*/ 4105884 w 9922465"/>
              <a:gd name="connsiteY2123" fmla="*/ 910454 h 1934496"/>
              <a:gd name="connsiteX2124" fmla="*/ 4161076 w 9922465"/>
              <a:gd name="connsiteY2124" fmla="*/ 855263 h 1934496"/>
              <a:gd name="connsiteX2125" fmla="*/ 3633218 w 9922465"/>
              <a:gd name="connsiteY2125" fmla="*/ 855263 h 1934496"/>
              <a:gd name="connsiteX2126" fmla="*/ 3688410 w 9922465"/>
              <a:gd name="connsiteY2126" fmla="*/ 910454 h 1934496"/>
              <a:gd name="connsiteX2127" fmla="*/ 3633218 w 9922465"/>
              <a:gd name="connsiteY2127" fmla="*/ 965645 h 1934496"/>
              <a:gd name="connsiteX2128" fmla="*/ 3578026 w 9922465"/>
              <a:gd name="connsiteY2128" fmla="*/ 910454 h 1934496"/>
              <a:gd name="connsiteX2129" fmla="*/ 3633218 w 9922465"/>
              <a:gd name="connsiteY2129" fmla="*/ 855263 h 1934496"/>
              <a:gd name="connsiteX2130" fmla="*/ 3499586 w 9922465"/>
              <a:gd name="connsiteY2130" fmla="*/ 855263 h 1934496"/>
              <a:gd name="connsiteX2131" fmla="*/ 3554778 w 9922465"/>
              <a:gd name="connsiteY2131" fmla="*/ 910454 h 1934496"/>
              <a:gd name="connsiteX2132" fmla="*/ 3499586 w 9922465"/>
              <a:gd name="connsiteY2132" fmla="*/ 965645 h 1934496"/>
              <a:gd name="connsiteX2133" fmla="*/ 3444394 w 9922465"/>
              <a:gd name="connsiteY2133" fmla="*/ 910454 h 1934496"/>
              <a:gd name="connsiteX2134" fmla="*/ 3499586 w 9922465"/>
              <a:gd name="connsiteY2134" fmla="*/ 855263 h 1934496"/>
              <a:gd name="connsiteX2135" fmla="*/ 3369290 w 9922465"/>
              <a:gd name="connsiteY2135" fmla="*/ 855263 h 1934496"/>
              <a:gd name="connsiteX2136" fmla="*/ 3424482 w 9922465"/>
              <a:gd name="connsiteY2136" fmla="*/ 910454 h 1934496"/>
              <a:gd name="connsiteX2137" fmla="*/ 3369290 w 9922465"/>
              <a:gd name="connsiteY2137" fmla="*/ 965645 h 1934496"/>
              <a:gd name="connsiteX2138" fmla="*/ 3314098 w 9922465"/>
              <a:gd name="connsiteY2138" fmla="*/ 910454 h 1934496"/>
              <a:gd name="connsiteX2139" fmla="*/ 3369290 w 9922465"/>
              <a:gd name="connsiteY2139" fmla="*/ 855263 h 1934496"/>
              <a:gd name="connsiteX2140" fmla="*/ 2834849 w 9922465"/>
              <a:gd name="connsiteY2140" fmla="*/ 855263 h 1934496"/>
              <a:gd name="connsiteX2141" fmla="*/ 2890040 w 9922465"/>
              <a:gd name="connsiteY2141" fmla="*/ 910454 h 1934496"/>
              <a:gd name="connsiteX2142" fmla="*/ 2834849 w 9922465"/>
              <a:gd name="connsiteY2142" fmla="*/ 965645 h 1934496"/>
              <a:gd name="connsiteX2143" fmla="*/ 2779655 w 9922465"/>
              <a:gd name="connsiteY2143" fmla="*/ 910454 h 1934496"/>
              <a:gd name="connsiteX2144" fmla="*/ 2834849 w 9922465"/>
              <a:gd name="connsiteY2144" fmla="*/ 855263 h 1934496"/>
              <a:gd name="connsiteX2145" fmla="*/ 2707895 w 9922465"/>
              <a:gd name="connsiteY2145" fmla="*/ 855263 h 1934496"/>
              <a:gd name="connsiteX2146" fmla="*/ 2763087 w 9922465"/>
              <a:gd name="connsiteY2146" fmla="*/ 910454 h 1934496"/>
              <a:gd name="connsiteX2147" fmla="*/ 2707895 w 9922465"/>
              <a:gd name="connsiteY2147" fmla="*/ 965645 h 1934496"/>
              <a:gd name="connsiteX2148" fmla="*/ 2652702 w 9922465"/>
              <a:gd name="connsiteY2148" fmla="*/ 910454 h 1934496"/>
              <a:gd name="connsiteX2149" fmla="*/ 2707895 w 9922465"/>
              <a:gd name="connsiteY2149" fmla="*/ 855263 h 1934496"/>
              <a:gd name="connsiteX2150" fmla="*/ 2570919 w 9922465"/>
              <a:gd name="connsiteY2150" fmla="*/ 855263 h 1934496"/>
              <a:gd name="connsiteX2151" fmla="*/ 2626110 w 9922465"/>
              <a:gd name="connsiteY2151" fmla="*/ 910454 h 1934496"/>
              <a:gd name="connsiteX2152" fmla="*/ 2570919 w 9922465"/>
              <a:gd name="connsiteY2152" fmla="*/ 965645 h 1934496"/>
              <a:gd name="connsiteX2153" fmla="*/ 2515724 w 9922465"/>
              <a:gd name="connsiteY2153" fmla="*/ 910454 h 1934496"/>
              <a:gd name="connsiteX2154" fmla="*/ 2570919 w 9922465"/>
              <a:gd name="connsiteY2154" fmla="*/ 855263 h 1934496"/>
              <a:gd name="connsiteX2155" fmla="*/ 2303651 w 9922465"/>
              <a:gd name="connsiteY2155" fmla="*/ 855263 h 1934496"/>
              <a:gd name="connsiteX2156" fmla="*/ 2358843 w 9922465"/>
              <a:gd name="connsiteY2156" fmla="*/ 910454 h 1934496"/>
              <a:gd name="connsiteX2157" fmla="*/ 2303651 w 9922465"/>
              <a:gd name="connsiteY2157" fmla="*/ 965645 h 1934496"/>
              <a:gd name="connsiteX2158" fmla="*/ 2248461 w 9922465"/>
              <a:gd name="connsiteY2158" fmla="*/ 910454 h 1934496"/>
              <a:gd name="connsiteX2159" fmla="*/ 2303651 w 9922465"/>
              <a:gd name="connsiteY2159" fmla="*/ 855263 h 1934496"/>
              <a:gd name="connsiteX2160" fmla="*/ 2173362 w 9922465"/>
              <a:gd name="connsiteY2160" fmla="*/ 855263 h 1934496"/>
              <a:gd name="connsiteX2161" fmla="*/ 2228554 w 9922465"/>
              <a:gd name="connsiteY2161" fmla="*/ 910454 h 1934496"/>
              <a:gd name="connsiteX2162" fmla="*/ 2173362 w 9922465"/>
              <a:gd name="connsiteY2162" fmla="*/ 965645 h 1934496"/>
              <a:gd name="connsiteX2163" fmla="*/ 2118170 w 9922465"/>
              <a:gd name="connsiteY2163" fmla="*/ 910454 h 1934496"/>
              <a:gd name="connsiteX2164" fmla="*/ 2173362 w 9922465"/>
              <a:gd name="connsiteY2164" fmla="*/ 855263 h 1934496"/>
              <a:gd name="connsiteX2165" fmla="*/ 2039725 w 9922465"/>
              <a:gd name="connsiteY2165" fmla="*/ 855263 h 1934496"/>
              <a:gd name="connsiteX2166" fmla="*/ 2094919 w 9922465"/>
              <a:gd name="connsiteY2166" fmla="*/ 910454 h 1934496"/>
              <a:gd name="connsiteX2167" fmla="*/ 2039725 w 9922465"/>
              <a:gd name="connsiteY2167" fmla="*/ 965645 h 1934496"/>
              <a:gd name="connsiteX2168" fmla="*/ 1984533 w 9922465"/>
              <a:gd name="connsiteY2168" fmla="*/ 910454 h 1934496"/>
              <a:gd name="connsiteX2169" fmla="*/ 2039725 w 9922465"/>
              <a:gd name="connsiteY2169" fmla="*/ 855263 h 1934496"/>
              <a:gd name="connsiteX2170" fmla="*/ 1909428 w 9922465"/>
              <a:gd name="connsiteY2170" fmla="*/ 855263 h 1934496"/>
              <a:gd name="connsiteX2171" fmla="*/ 1964620 w 9922465"/>
              <a:gd name="connsiteY2171" fmla="*/ 910454 h 1934496"/>
              <a:gd name="connsiteX2172" fmla="*/ 1909428 w 9922465"/>
              <a:gd name="connsiteY2172" fmla="*/ 965645 h 1934496"/>
              <a:gd name="connsiteX2173" fmla="*/ 1854234 w 9922465"/>
              <a:gd name="connsiteY2173" fmla="*/ 910454 h 1934496"/>
              <a:gd name="connsiteX2174" fmla="*/ 1909428 w 9922465"/>
              <a:gd name="connsiteY2174" fmla="*/ 855263 h 1934496"/>
              <a:gd name="connsiteX2175" fmla="*/ 1779130 w 9922465"/>
              <a:gd name="connsiteY2175" fmla="*/ 855263 h 1934496"/>
              <a:gd name="connsiteX2176" fmla="*/ 1834324 w 9922465"/>
              <a:gd name="connsiteY2176" fmla="*/ 910454 h 1934496"/>
              <a:gd name="connsiteX2177" fmla="*/ 1779130 w 9922465"/>
              <a:gd name="connsiteY2177" fmla="*/ 965645 h 1934496"/>
              <a:gd name="connsiteX2178" fmla="*/ 1723937 w 9922465"/>
              <a:gd name="connsiteY2178" fmla="*/ 910454 h 1934496"/>
              <a:gd name="connsiteX2179" fmla="*/ 1779130 w 9922465"/>
              <a:gd name="connsiteY2179" fmla="*/ 855263 h 1934496"/>
              <a:gd name="connsiteX2180" fmla="*/ 1645495 w 9922465"/>
              <a:gd name="connsiteY2180" fmla="*/ 855263 h 1934496"/>
              <a:gd name="connsiteX2181" fmla="*/ 1700693 w 9922465"/>
              <a:gd name="connsiteY2181" fmla="*/ 910454 h 1934496"/>
              <a:gd name="connsiteX2182" fmla="*/ 1645495 w 9922465"/>
              <a:gd name="connsiteY2182" fmla="*/ 965645 h 1934496"/>
              <a:gd name="connsiteX2183" fmla="*/ 1590303 w 9922465"/>
              <a:gd name="connsiteY2183" fmla="*/ 910454 h 1934496"/>
              <a:gd name="connsiteX2184" fmla="*/ 1645495 w 9922465"/>
              <a:gd name="connsiteY2184" fmla="*/ 855263 h 1934496"/>
              <a:gd name="connsiteX2185" fmla="*/ 1515206 w 9922465"/>
              <a:gd name="connsiteY2185" fmla="*/ 855263 h 1934496"/>
              <a:gd name="connsiteX2186" fmla="*/ 1570391 w 9922465"/>
              <a:gd name="connsiteY2186" fmla="*/ 910454 h 1934496"/>
              <a:gd name="connsiteX2187" fmla="*/ 1515206 w 9922465"/>
              <a:gd name="connsiteY2187" fmla="*/ 965645 h 1934496"/>
              <a:gd name="connsiteX2188" fmla="*/ 1460009 w 9922465"/>
              <a:gd name="connsiteY2188" fmla="*/ 910454 h 1934496"/>
              <a:gd name="connsiteX2189" fmla="*/ 1515206 w 9922465"/>
              <a:gd name="connsiteY2189" fmla="*/ 855263 h 1934496"/>
              <a:gd name="connsiteX2190" fmla="*/ 1381566 w 9922465"/>
              <a:gd name="connsiteY2190" fmla="*/ 855263 h 1934496"/>
              <a:gd name="connsiteX2191" fmla="*/ 1436758 w 9922465"/>
              <a:gd name="connsiteY2191" fmla="*/ 910454 h 1934496"/>
              <a:gd name="connsiteX2192" fmla="*/ 1381566 w 9922465"/>
              <a:gd name="connsiteY2192" fmla="*/ 965645 h 1934496"/>
              <a:gd name="connsiteX2193" fmla="*/ 1326375 w 9922465"/>
              <a:gd name="connsiteY2193" fmla="*/ 910454 h 1934496"/>
              <a:gd name="connsiteX2194" fmla="*/ 1381566 w 9922465"/>
              <a:gd name="connsiteY2194" fmla="*/ 855263 h 1934496"/>
              <a:gd name="connsiteX2195" fmla="*/ 1251271 w 9922465"/>
              <a:gd name="connsiteY2195" fmla="*/ 855263 h 1934496"/>
              <a:gd name="connsiteX2196" fmla="*/ 1306464 w 9922465"/>
              <a:gd name="connsiteY2196" fmla="*/ 910454 h 1934496"/>
              <a:gd name="connsiteX2197" fmla="*/ 1251271 w 9922465"/>
              <a:gd name="connsiteY2197" fmla="*/ 965645 h 1934496"/>
              <a:gd name="connsiteX2198" fmla="*/ 1196078 w 9922465"/>
              <a:gd name="connsiteY2198" fmla="*/ 910454 h 1934496"/>
              <a:gd name="connsiteX2199" fmla="*/ 1251271 w 9922465"/>
              <a:gd name="connsiteY2199" fmla="*/ 855263 h 1934496"/>
              <a:gd name="connsiteX2200" fmla="*/ 1117634 w 9922465"/>
              <a:gd name="connsiteY2200" fmla="*/ 855263 h 1934496"/>
              <a:gd name="connsiteX2201" fmla="*/ 1172828 w 9922465"/>
              <a:gd name="connsiteY2201" fmla="*/ 910454 h 1934496"/>
              <a:gd name="connsiteX2202" fmla="*/ 1117634 w 9922465"/>
              <a:gd name="connsiteY2202" fmla="*/ 965645 h 1934496"/>
              <a:gd name="connsiteX2203" fmla="*/ 1062440 w 9922465"/>
              <a:gd name="connsiteY2203" fmla="*/ 910454 h 1934496"/>
              <a:gd name="connsiteX2204" fmla="*/ 1117634 w 9922465"/>
              <a:gd name="connsiteY2204" fmla="*/ 855263 h 1934496"/>
              <a:gd name="connsiteX2205" fmla="*/ 980654 w 9922465"/>
              <a:gd name="connsiteY2205" fmla="*/ 855263 h 1934496"/>
              <a:gd name="connsiteX2206" fmla="*/ 1035848 w 9922465"/>
              <a:gd name="connsiteY2206" fmla="*/ 910454 h 1934496"/>
              <a:gd name="connsiteX2207" fmla="*/ 980654 w 9922465"/>
              <a:gd name="connsiteY2207" fmla="*/ 965645 h 1934496"/>
              <a:gd name="connsiteX2208" fmla="*/ 925460 w 9922465"/>
              <a:gd name="connsiteY2208" fmla="*/ 910454 h 1934496"/>
              <a:gd name="connsiteX2209" fmla="*/ 980654 w 9922465"/>
              <a:gd name="connsiteY2209" fmla="*/ 855263 h 1934496"/>
              <a:gd name="connsiteX2210" fmla="*/ 847016 w 9922465"/>
              <a:gd name="connsiteY2210" fmla="*/ 855263 h 1934496"/>
              <a:gd name="connsiteX2211" fmla="*/ 902209 w 9922465"/>
              <a:gd name="connsiteY2211" fmla="*/ 910454 h 1934496"/>
              <a:gd name="connsiteX2212" fmla="*/ 847016 w 9922465"/>
              <a:gd name="connsiteY2212" fmla="*/ 965645 h 1934496"/>
              <a:gd name="connsiteX2213" fmla="*/ 791816 w 9922465"/>
              <a:gd name="connsiteY2213" fmla="*/ 910454 h 1934496"/>
              <a:gd name="connsiteX2214" fmla="*/ 847016 w 9922465"/>
              <a:gd name="connsiteY2214" fmla="*/ 855263 h 1934496"/>
              <a:gd name="connsiteX2215" fmla="*/ 716709 w 9922465"/>
              <a:gd name="connsiteY2215" fmla="*/ 855263 h 1934496"/>
              <a:gd name="connsiteX2216" fmla="*/ 771907 w 9922465"/>
              <a:gd name="connsiteY2216" fmla="*/ 910454 h 1934496"/>
              <a:gd name="connsiteX2217" fmla="*/ 716709 w 9922465"/>
              <a:gd name="connsiteY2217" fmla="*/ 965645 h 1934496"/>
              <a:gd name="connsiteX2218" fmla="*/ 661522 w 9922465"/>
              <a:gd name="connsiteY2218" fmla="*/ 910454 h 1934496"/>
              <a:gd name="connsiteX2219" fmla="*/ 716709 w 9922465"/>
              <a:gd name="connsiteY2219" fmla="*/ 855263 h 1934496"/>
              <a:gd name="connsiteX2220" fmla="*/ 583074 w 9922465"/>
              <a:gd name="connsiteY2220" fmla="*/ 855263 h 1934496"/>
              <a:gd name="connsiteX2221" fmla="*/ 638268 w 9922465"/>
              <a:gd name="connsiteY2221" fmla="*/ 910454 h 1934496"/>
              <a:gd name="connsiteX2222" fmla="*/ 583074 w 9922465"/>
              <a:gd name="connsiteY2222" fmla="*/ 965645 h 1934496"/>
              <a:gd name="connsiteX2223" fmla="*/ 527881 w 9922465"/>
              <a:gd name="connsiteY2223" fmla="*/ 910454 h 1934496"/>
              <a:gd name="connsiteX2224" fmla="*/ 583074 w 9922465"/>
              <a:gd name="connsiteY2224" fmla="*/ 855263 h 1934496"/>
              <a:gd name="connsiteX2225" fmla="*/ 9867273 w 9922465"/>
              <a:gd name="connsiteY2225" fmla="*/ 855260 h 1934496"/>
              <a:gd name="connsiteX2226" fmla="*/ 9922465 w 9922465"/>
              <a:gd name="connsiteY2226" fmla="*/ 910451 h 1934496"/>
              <a:gd name="connsiteX2227" fmla="*/ 9867273 w 9922465"/>
              <a:gd name="connsiteY2227" fmla="*/ 965642 h 1934496"/>
              <a:gd name="connsiteX2228" fmla="*/ 9812081 w 9922465"/>
              <a:gd name="connsiteY2228" fmla="*/ 910451 h 1934496"/>
              <a:gd name="connsiteX2229" fmla="*/ 9867273 w 9922465"/>
              <a:gd name="connsiteY2229" fmla="*/ 855260 h 1934496"/>
              <a:gd name="connsiteX2230" fmla="*/ 9733637 w 9922465"/>
              <a:gd name="connsiteY2230" fmla="*/ 855260 h 1934496"/>
              <a:gd name="connsiteX2231" fmla="*/ 9788829 w 9922465"/>
              <a:gd name="connsiteY2231" fmla="*/ 910451 h 1934496"/>
              <a:gd name="connsiteX2232" fmla="*/ 9733637 w 9922465"/>
              <a:gd name="connsiteY2232" fmla="*/ 965642 h 1934496"/>
              <a:gd name="connsiteX2233" fmla="*/ 9678445 w 9922465"/>
              <a:gd name="connsiteY2233" fmla="*/ 910451 h 1934496"/>
              <a:gd name="connsiteX2234" fmla="*/ 9733637 w 9922465"/>
              <a:gd name="connsiteY2234" fmla="*/ 855260 h 1934496"/>
              <a:gd name="connsiteX2235" fmla="*/ 9603343 w 9922465"/>
              <a:gd name="connsiteY2235" fmla="*/ 855260 h 1934496"/>
              <a:gd name="connsiteX2236" fmla="*/ 9658535 w 9922465"/>
              <a:gd name="connsiteY2236" fmla="*/ 910451 h 1934496"/>
              <a:gd name="connsiteX2237" fmla="*/ 9603343 w 9922465"/>
              <a:gd name="connsiteY2237" fmla="*/ 965642 h 1934496"/>
              <a:gd name="connsiteX2238" fmla="*/ 9548151 w 9922465"/>
              <a:gd name="connsiteY2238" fmla="*/ 910451 h 1934496"/>
              <a:gd name="connsiteX2239" fmla="*/ 9603343 w 9922465"/>
              <a:gd name="connsiteY2239" fmla="*/ 855260 h 1934496"/>
              <a:gd name="connsiteX2240" fmla="*/ 449429 w 9922465"/>
              <a:gd name="connsiteY2240" fmla="*/ 855260 h 1934496"/>
              <a:gd name="connsiteX2241" fmla="*/ 504621 w 9922465"/>
              <a:gd name="connsiteY2241" fmla="*/ 910451 h 1934496"/>
              <a:gd name="connsiteX2242" fmla="*/ 449429 w 9922465"/>
              <a:gd name="connsiteY2242" fmla="*/ 965642 h 1934496"/>
              <a:gd name="connsiteX2243" fmla="*/ 394234 w 9922465"/>
              <a:gd name="connsiteY2243" fmla="*/ 910451 h 1934496"/>
              <a:gd name="connsiteX2244" fmla="*/ 449429 w 9922465"/>
              <a:gd name="connsiteY2244" fmla="*/ 855260 h 1934496"/>
              <a:gd name="connsiteX2245" fmla="*/ 319132 w 9922465"/>
              <a:gd name="connsiteY2245" fmla="*/ 855260 h 1934496"/>
              <a:gd name="connsiteX2246" fmla="*/ 374326 w 9922465"/>
              <a:gd name="connsiteY2246" fmla="*/ 910451 h 1934496"/>
              <a:gd name="connsiteX2247" fmla="*/ 319132 w 9922465"/>
              <a:gd name="connsiteY2247" fmla="*/ 965642 h 1934496"/>
              <a:gd name="connsiteX2248" fmla="*/ 263940 w 9922465"/>
              <a:gd name="connsiteY2248" fmla="*/ 910451 h 1934496"/>
              <a:gd name="connsiteX2249" fmla="*/ 319132 w 9922465"/>
              <a:gd name="connsiteY2249" fmla="*/ 855260 h 1934496"/>
              <a:gd name="connsiteX2250" fmla="*/ 185499 w 9922465"/>
              <a:gd name="connsiteY2250" fmla="*/ 855260 h 1934496"/>
              <a:gd name="connsiteX2251" fmla="*/ 240690 w 9922465"/>
              <a:gd name="connsiteY2251" fmla="*/ 910451 h 1934496"/>
              <a:gd name="connsiteX2252" fmla="*/ 185499 w 9922465"/>
              <a:gd name="connsiteY2252" fmla="*/ 965642 h 1934496"/>
              <a:gd name="connsiteX2253" fmla="*/ 130308 w 9922465"/>
              <a:gd name="connsiteY2253" fmla="*/ 910451 h 1934496"/>
              <a:gd name="connsiteX2254" fmla="*/ 185499 w 9922465"/>
              <a:gd name="connsiteY2254" fmla="*/ 855260 h 1934496"/>
              <a:gd name="connsiteX2255" fmla="*/ 9733637 w 9922465"/>
              <a:gd name="connsiteY2255" fmla="*/ 724970 h 1934496"/>
              <a:gd name="connsiteX2256" fmla="*/ 9788829 w 9922465"/>
              <a:gd name="connsiteY2256" fmla="*/ 780161 h 1934496"/>
              <a:gd name="connsiteX2257" fmla="*/ 9733637 w 9922465"/>
              <a:gd name="connsiteY2257" fmla="*/ 835352 h 1934496"/>
              <a:gd name="connsiteX2258" fmla="*/ 9678445 w 9922465"/>
              <a:gd name="connsiteY2258" fmla="*/ 780161 h 1934496"/>
              <a:gd name="connsiteX2259" fmla="*/ 9733637 w 9922465"/>
              <a:gd name="connsiteY2259" fmla="*/ 724970 h 1934496"/>
              <a:gd name="connsiteX2260" fmla="*/ 9603344 w 9922465"/>
              <a:gd name="connsiteY2260" fmla="*/ 724970 h 1934496"/>
              <a:gd name="connsiteX2261" fmla="*/ 9658536 w 9922465"/>
              <a:gd name="connsiteY2261" fmla="*/ 780161 h 1934496"/>
              <a:gd name="connsiteX2262" fmla="*/ 9603344 w 9922465"/>
              <a:gd name="connsiteY2262" fmla="*/ 835352 h 1934496"/>
              <a:gd name="connsiteX2263" fmla="*/ 9548152 w 9922465"/>
              <a:gd name="connsiteY2263" fmla="*/ 780161 h 1934496"/>
              <a:gd name="connsiteX2264" fmla="*/ 9603344 w 9922465"/>
              <a:gd name="connsiteY2264" fmla="*/ 724970 h 1934496"/>
              <a:gd name="connsiteX2265" fmla="*/ 9469710 w 9922465"/>
              <a:gd name="connsiteY2265" fmla="*/ 724970 h 1934496"/>
              <a:gd name="connsiteX2266" fmla="*/ 9524902 w 9922465"/>
              <a:gd name="connsiteY2266" fmla="*/ 780161 h 1934496"/>
              <a:gd name="connsiteX2267" fmla="*/ 9469710 w 9922465"/>
              <a:gd name="connsiteY2267" fmla="*/ 835352 h 1934496"/>
              <a:gd name="connsiteX2268" fmla="*/ 9414518 w 9922465"/>
              <a:gd name="connsiteY2268" fmla="*/ 780161 h 1934496"/>
              <a:gd name="connsiteX2269" fmla="*/ 9469710 w 9922465"/>
              <a:gd name="connsiteY2269" fmla="*/ 724970 h 1934496"/>
              <a:gd name="connsiteX2270" fmla="*/ 9336075 w 9922465"/>
              <a:gd name="connsiteY2270" fmla="*/ 724970 h 1934496"/>
              <a:gd name="connsiteX2271" fmla="*/ 9391267 w 9922465"/>
              <a:gd name="connsiteY2271" fmla="*/ 780161 h 1934496"/>
              <a:gd name="connsiteX2272" fmla="*/ 9336075 w 9922465"/>
              <a:gd name="connsiteY2272" fmla="*/ 835352 h 1934496"/>
              <a:gd name="connsiteX2273" fmla="*/ 9280883 w 9922465"/>
              <a:gd name="connsiteY2273" fmla="*/ 780161 h 1934496"/>
              <a:gd name="connsiteX2274" fmla="*/ 9336075 w 9922465"/>
              <a:gd name="connsiteY2274" fmla="*/ 724970 h 1934496"/>
              <a:gd name="connsiteX2275" fmla="*/ 9199100 w 9922465"/>
              <a:gd name="connsiteY2275" fmla="*/ 724970 h 1934496"/>
              <a:gd name="connsiteX2276" fmla="*/ 9254292 w 9922465"/>
              <a:gd name="connsiteY2276" fmla="*/ 780161 h 1934496"/>
              <a:gd name="connsiteX2277" fmla="*/ 9199100 w 9922465"/>
              <a:gd name="connsiteY2277" fmla="*/ 835352 h 1934496"/>
              <a:gd name="connsiteX2278" fmla="*/ 9143908 w 9922465"/>
              <a:gd name="connsiteY2278" fmla="*/ 780161 h 1934496"/>
              <a:gd name="connsiteX2279" fmla="*/ 9199100 w 9922465"/>
              <a:gd name="connsiteY2279" fmla="*/ 724970 h 1934496"/>
              <a:gd name="connsiteX2280" fmla="*/ 9068806 w 9922465"/>
              <a:gd name="connsiteY2280" fmla="*/ 724970 h 1934496"/>
              <a:gd name="connsiteX2281" fmla="*/ 9123998 w 9922465"/>
              <a:gd name="connsiteY2281" fmla="*/ 780161 h 1934496"/>
              <a:gd name="connsiteX2282" fmla="*/ 9068806 w 9922465"/>
              <a:gd name="connsiteY2282" fmla="*/ 835352 h 1934496"/>
              <a:gd name="connsiteX2283" fmla="*/ 9013614 w 9922465"/>
              <a:gd name="connsiteY2283" fmla="*/ 780161 h 1934496"/>
              <a:gd name="connsiteX2284" fmla="*/ 9068806 w 9922465"/>
              <a:gd name="connsiteY2284" fmla="*/ 724970 h 1934496"/>
              <a:gd name="connsiteX2285" fmla="*/ 8935170 w 9922465"/>
              <a:gd name="connsiteY2285" fmla="*/ 724970 h 1934496"/>
              <a:gd name="connsiteX2286" fmla="*/ 8990362 w 9922465"/>
              <a:gd name="connsiteY2286" fmla="*/ 780161 h 1934496"/>
              <a:gd name="connsiteX2287" fmla="*/ 8935170 w 9922465"/>
              <a:gd name="connsiteY2287" fmla="*/ 835352 h 1934496"/>
              <a:gd name="connsiteX2288" fmla="*/ 8879978 w 9922465"/>
              <a:gd name="connsiteY2288" fmla="*/ 780161 h 1934496"/>
              <a:gd name="connsiteX2289" fmla="*/ 8935170 w 9922465"/>
              <a:gd name="connsiteY2289" fmla="*/ 724970 h 1934496"/>
              <a:gd name="connsiteX2290" fmla="*/ 8801536 w 9922465"/>
              <a:gd name="connsiteY2290" fmla="*/ 724970 h 1934496"/>
              <a:gd name="connsiteX2291" fmla="*/ 8856728 w 9922465"/>
              <a:gd name="connsiteY2291" fmla="*/ 780161 h 1934496"/>
              <a:gd name="connsiteX2292" fmla="*/ 8801536 w 9922465"/>
              <a:gd name="connsiteY2292" fmla="*/ 835352 h 1934496"/>
              <a:gd name="connsiteX2293" fmla="*/ 8746344 w 9922465"/>
              <a:gd name="connsiteY2293" fmla="*/ 780161 h 1934496"/>
              <a:gd name="connsiteX2294" fmla="*/ 8801536 w 9922465"/>
              <a:gd name="connsiteY2294" fmla="*/ 724970 h 1934496"/>
              <a:gd name="connsiteX2295" fmla="*/ 8671243 w 9922465"/>
              <a:gd name="connsiteY2295" fmla="*/ 724970 h 1934496"/>
              <a:gd name="connsiteX2296" fmla="*/ 8726435 w 9922465"/>
              <a:gd name="connsiteY2296" fmla="*/ 780161 h 1934496"/>
              <a:gd name="connsiteX2297" fmla="*/ 8671243 w 9922465"/>
              <a:gd name="connsiteY2297" fmla="*/ 835352 h 1934496"/>
              <a:gd name="connsiteX2298" fmla="*/ 8616051 w 9922465"/>
              <a:gd name="connsiteY2298" fmla="*/ 780161 h 1934496"/>
              <a:gd name="connsiteX2299" fmla="*/ 8671243 w 9922465"/>
              <a:gd name="connsiteY2299" fmla="*/ 724970 h 1934496"/>
              <a:gd name="connsiteX2300" fmla="*/ 8537609 w 9922465"/>
              <a:gd name="connsiteY2300" fmla="*/ 724970 h 1934496"/>
              <a:gd name="connsiteX2301" fmla="*/ 8592801 w 9922465"/>
              <a:gd name="connsiteY2301" fmla="*/ 780161 h 1934496"/>
              <a:gd name="connsiteX2302" fmla="*/ 8537609 w 9922465"/>
              <a:gd name="connsiteY2302" fmla="*/ 835352 h 1934496"/>
              <a:gd name="connsiteX2303" fmla="*/ 8482417 w 9922465"/>
              <a:gd name="connsiteY2303" fmla="*/ 780161 h 1934496"/>
              <a:gd name="connsiteX2304" fmla="*/ 8537609 w 9922465"/>
              <a:gd name="connsiteY2304" fmla="*/ 724970 h 1934496"/>
              <a:gd name="connsiteX2305" fmla="*/ 8407318 w 9922465"/>
              <a:gd name="connsiteY2305" fmla="*/ 724970 h 1934496"/>
              <a:gd name="connsiteX2306" fmla="*/ 8462510 w 9922465"/>
              <a:gd name="connsiteY2306" fmla="*/ 780161 h 1934496"/>
              <a:gd name="connsiteX2307" fmla="*/ 8407318 w 9922465"/>
              <a:gd name="connsiteY2307" fmla="*/ 835352 h 1934496"/>
              <a:gd name="connsiteX2308" fmla="*/ 8352126 w 9922465"/>
              <a:gd name="connsiteY2308" fmla="*/ 780161 h 1934496"/>
              <a:gd name="connsiteX2309" fmla="*/ 8407318 w 9922465"/>
              <a:gd name="connsiteY2309" fmla="*/ 724970 h 1934496"/>
              <a:gd name="connsiteX2310" fmla="*/ 8273682 w 9922465"/>
              <a:gd name="connsiteY2310" fmla="*/ 724970 h 1934496"/>
              <a:gd name="connsiteX2311" fmla="*/ 8328874 w 9922465"/>
              <a:gd name="connsiteY2311" fmla="*/ 780161 h 1934496"/>
              <a:gd name="connsiteX2312" fmla="*/ 8273682 w 9922465"/>
              <a:gd name="connsiteY2312" fmla="*/ 835352 h 1934496"/>
              <a:gd name="connsiteX2313" fmla="*/ 8218490 w 9922465"/>
              <a:gd name="connsiteY2313" fmla="*/ 780161 h 1934496"/>
              <a:gd name="connsiteX2314" fmla="*/ 8273682 w 9922465"/>
              <a:gd name="connsiteY2314" fmla="*/ 724970 h 1934496"/>
              <a:gd name="connsiteX2315" fmla="*/ 8143386 w 9922465"/>
              <a:gd name="connsiteY2315" fmla="*/ 724970 h 1934496"/>
              <a:gd name="connsiteX2316" fmla="*/ 8198578 w 9922465"/>
              <a:gd name="connsiteY2316" fmla="*/ 780161 h 1934496"/>
              <a:gd name="connsiteX2317" fmla="*/ 8143386 w 9922465"/>
              <a:gd name="connsiteY2317" fmla="*/ 835352 h 1934496"/>
              <a:gd name="connsiteX2318" fmla="*/ 8088194 w 9922465"/>
              <a:gd name="connsiteY2318" fmla="*/ 780161 h 1934496"/>
              <a:gd name="connsiteX2319" fmla="*/ 8143386 w 9922465"/>
              <a:gd name="connsiteY2319" fmla="*/ 724970 h 1934496"/>
              <a:gd name="connsiteX2320" fmla="*/ 8009753 w 9922465"/>
              <a:gd name="connsiteY2320" fmla="*/ 724970 h 1934496"/>
              <a:gd name="connsiteX2321" fmla="*/ 8064945 w 9922465"/>
              <a:gd name="connsiteY2321" fmla="*/ 780161 h 1934496"/>
              <a:gd name="connsiteX2322" fmla="*/ 8009753 w 9922465"/>
              <a:gd name="connsiteY2322" fmla="*/ 835352 h 1934496"/>
              <a:gd name="connsiteX2323" fmla="*/ 7954561 w 9922465"/>
              <a:gd name="connsiteY2323" fmla="*/ 780161 h 1934496"/>
              <a:gd name="connsiteX2324" fmla="*/ 8009753 w 9922465"/>
              <a:gd name="connsiteY2324" fmla="*/ 724970 h 1934496"/>
              <a:gd name="connsiteX2325" fmla="*/ 7876118 w 9922465"/>
              <a:gd name="connsiteY2325" fmla="*/ 724970 h 1934496"/>
              <a:gd name="connsiteX2326" fmla="*/ 7931310 w 9922465"/>
              <a:gd name="connsiteY2326" fmla="*/ 780161 h 1934496"/>
              <a:gd name="connsiteX2327" fmla="*/ 7876118 w 9922465"/>
              <a:gd name="connsiteY2327" fmla="*/ 835352 h 1934496"/>
              <a:gd name="connsiteX2328" fmla="*/ 7820926 w 9922465"/>
              <a:gd name="connsiteY2328" fmla="*/ 780161 h 1934496"/>
              <a:gd name="connsiteX2329" fmla="*/ 7876118 w 9922465"/>
              <a:gd name="connsiteY2329" fmla="*/ 724970 h 1934496"/>
              <a:gd name="connsiteX2330" fmla="*/ 7745824 w 9922465"/>
              <a:gd name="connsiteY2330" fmla="*/ 724970 h 1934496"/>
              <a:gd name="connsiteX2331" fmla="*/ 7801016 w 9922465"/>
              <a:gd name="connsiteY2331" fmla="*/ 780161 h 1934496"/>
              <a:gd name="connsiteX2332" fmla="*/ 7745824 w 9922465"/>
              <a:gd name="connsiteY2332" fmla="*/ 835352 h 1934496"/>
              <a:gd name="connsiteX2333" fmla="*/ 7690632 w 9922465"/>
              <a:gd name="connsiteY2333" fmla="*/ 780161 h 1934496"/>
              <a:gd name="connsiteX2334" fmla="*/ 7745824 w 9922465"/>
              <a:gd name="connsiteY2334" fmla="*/ 724970 h 1934496"/>
              <a:gd name="connsiteX2335" fmla="*/ 7608850 w 9922465"/>
              <a:gd name="connsiteY2335" fmla="*/ 724970 h 1934496"/>
              <a:gd name="connsiteX2336" fmla="*/ 7664042 w 9922465"/>
              <a:gd name="connsiteY2336" fmla="*/ 780161 h 1934496"/>
              <a:gd name="connsiteX2337" fmla="*/ 7608850 w 9922465"/>
              <a:gd name="connsiteY2337" fmla="*/ 835352 h 1934496"/>
              <a:gd name="connsiteX2338" fmla="*/ 7553658 w 9922465"/>
              <a:gd name="connsiteY2338" fmla="*/ 780161 h 1934496"/>
              <a:gd name="connsiteX2339" fmla="*/ 7608850 w 9922465"/>
              <a:gd name="connsiteY2339" fmla="*/ 724970 h 1934496"/>
              <a:gd name="connsiteX2340" fmla="*/ 7481895 w 9922465"/>
              <a:gd name="connsiteY2340" fmla="*/ 724970 h 1934496"/>
              <a:gd name="connsiteX2341" fmla="*/ 7537087 w 9922465"/>
              <a:gd name="connsiteY2341" fmla="*/ 780161 h 1934496"/>
              <a:gd name="connsiteX2342" fmla="*/ 7481895 w 9922465"/>
              <a:gd name="connsiteY2342" fmla="*/ 835352 h 1934496"/>
              <a:gd name="connsiteX2343" fmla="*/ 7426703 w 9922465"/>
              <a:gd name="connsiteY2343" fmla="*/ 780161 h 1934496"/>
              <a:gd name="connsiteX2344" fmla="*/ 7481895 w 9922465"/>
              <a:gd name="connsiteY2344" fmla="*/ 724970 h 1934496"/>
              <a:gd name="connsiteX2345" fmla="*/ 7341579 w 9922465"/>
              <a:gd name="connsiteY2345" fmla="*/ 724970 h 1934496"/>
              <a:gd name="connsiteX2346" fmla="*/ 7396771 w 9922465"/>
              <a:gd name="connsiteY2346" fmla="*/ 780161 h 1934496"/>
              <a:gd name="connsiteX2347" fmla="*/ 7341579 w 9922465"/>
              <a:gd name="connsiteY2347" fmla="*/ 835352 h 1934496"/>
              <a:gd name="connsiteX2348" fmla="*/ 7286387 w 9922465"/>
              <a:gd name="connsiteY2348" fmla="*/ 780161 h 1934496"/>
              <a:gd name="connsiteX2349" fmla="*/ 7341579 w 9922465"/>
              <a:gd name="connsiteY2349" fmla="*/ 724970 h 1934496"/>
              <a:gd name="connsiteX2350" fmla="*/ 7211286 w 9922465"/>
              <a:gd name="connsiteY2350" fmla="*/ 724970 h 1934496"/>
              <a:gd name="connsiteX2351" fmla="*/ 7266478 w 9922465"/>
              <a:gd name="connsiteY2351" fmla="*/ 780161 h 1934496"/>
              <a:gd name="connsiteX2352" fmla="*/ 7211286 w 9922465"/>
              <a:gd name="connsiteY2352" fmla="*/ 835352 h 1934496"/>
              <a:gd name="connsiteX2353" fmla="*/ 7156094 w 9922465"/>
              <a:gd name="connsiteY2353" fmla="*/ 780161 h 1934496"/>
              <a:gd name="connsiteX2354" fmla="*/ 7211286 w 9922465"/>
              <a:gd name="connsiteY2354" fmla="*/ 724970 h 1934496"/>
              <a:gd name="connsiteX2355" fmla="*/ 7080994 w 9922465"/>
              <a:gd name="connsiteY2355" fmla="*/ 724970 h 1934496"/>
              <a:gd name="connsiteX2356" fmla="*/ 7136186 w 9922465"/>
              <a:gd name="connsiteY2356" fmla="*/ 780161 h 1934496"/>
              <a:gd name="connsiteX2357" fmla="*/ 7080994 w 9922465"/>
              <a:gd name="connsiteY2357" fmla="*/ 835352 h 1934496"/>
              <a:gd name="connsiteX2358" fmla="*/ 7025802 w 9922465"/>
              <a:gd name="connsiteY2358" fmla="*/ 780161 h 1934496"/>
              <a:gd name="connsiteX2359" fmla="*/ 7080994 w 9922465"/>
              <a:gd name="connsiteY2359" fmla="*/ 724970 h 1934496"/>
              <a:gd name="connsiteX2360" fmla="*/ 6947358 w 9922465"/>
              <a:gd name="connsiteY2360" fmla="*/ 724970 h 1934496"/>
              <a:gd name="connsiteX2361" fmla="*/ 7002550 w 9922465"/>
              <a:gd name="connsiteY2361" fmla="*/ 780161 h 1934496"/>
              <a:gd name="connsiteX2362" fmla="*/ 6947358 w 9922465"/>
              <a:gd name="connsiteY2362" fmla="*/ 835352 h 1934496"/>
              <a:gd name="connsiteX2363" fmla="*/ 6892166 w 9922465"/>
              <a:gd name="connsiteY2363" fmla="*/ 780161 h 1934496"/>
              <a:gd name="connsiteX2364" fmla="*/ 6947358 w 9922465"/>
              <a:gd name="connsiteY2364" fmla="*/ 724970 h 1934496"/>
              <a:gd name="connsiteX2365" fmla="*/ 6817064 w 9922465"/>
              <a:gd name="connsiteY2365" fmla="*/ 724970 h 1934496"/>
              <a:gd name="connsiteX2366" fmla="*/ 6872256 w 9922465"/>
              <a:gd name="connsiteY2366" fmla="*/ 780161 h 1934496"/>
              <a:gd name="connsiteX2367" fmla="*/ 6817064 w 9922465"/>
              <a:gd name="connsiteY2367" fmla="*/ 835352 h 1934496"/>
              <a:gd name="connsiteX2368" fmla="*/ 6761872 w 9922465"/>
              <a:gd name="connsiteY2368" fmla="*/ 780161 h 1934496"/>
              <a:gd name="connsiteX2369" fmla="*/ 6817064 w 9922465"/>
              <a:gd name="connsiteY2369" fmla="*/ 724970 h 1934496"/>
              <a:gd name="connsiteX2370" fmla="*/ 6683431 w 9922465"/>
              <a:gd name="connsiteY2370" fmla="*/ 724970 h 1934496"/>
              <a:gd name="connsiteX2371" fmla="*/ 6738623 w 9922465"/>
              <a:gd name="connsiteY2371" fmla="*/ 780161 h 1934496"/>
              <a:gd name="connsiteX2372" fmla="*/ 6683431 w 9922465"/>
              <a:gd name="connsiteY2372" fmla="*/ 835352 h 1934496"/>
              <a:gd name="connsiteX2373" fmla="*/ 6628239 w 9922465"/>
              <a:gd name="connsiteY2373" fmla="*/ 780161 h 1934496"/>
              <a:gd name="connsiteX2374" fmla="*/ 6683431 w 9922465"/>
              <a:gd name="connsiteY2374" fmla="*/ 724970 h 1934496"/>
              <a:gd name="connsiteX2375" fmla="*/ 6553137 w 9922465"/>
              <a:gd name="connsiteY2375" fmla="*/ 724970 h 1934496"/>
              <a:gd name="connsiteX2376" fmla="*/ 6608329 w 9922465"/>
              <a:gd name="connsiteY2376" fmla="*/ 780161 h 1934496"/>
              <a:gd name="connsiteX2377" fmla="*/ 6553137 w 9922465"/>
              <a:gd name="connsiteY2377" fmla="*/ 835352 h 1934496"/>
              <a:gd name="connsiteX2378" fmla="*/ 6497945 w 9922465"/>
              <a:gd name="connsiteY2378" fmla="*/ 780161 h 1934496"/>
              <a:gd name="connsiteX2379" fmla="*/ 6553137 w 9922465"/>
              <a:gd name="connsiteY2379" fmla="*/ 724970 h 1934496"/>
              <a:gd name="connsiteX2380" fmla="*/ 6419503 w 9922465"/>
              <a:gd name="connsiteY2380" fmla="*/ 724970 h 1934496"/>
              <a:gd name="connsiteX2381" fmla="*/ 6474695 w 9922465"/>
              <a:gd name="connsiteY2381" fmla="*/ 780161 h 1934496"/>
              <a:gd name="connsiteX2382" fmla="*/ 6419503 w 9922465"/>
              <a:gd name="connsiteY2382" fmla="*/ 835352 h 1934496"/>
              <a:gd name="connsiteX2383" fmla="*/ 6364311 w 9922465"/>
              <a:gd name="connsiteY2383" fmla="*/ 780161 h 1934496"/>
              <a:gd name="connsiteX2384" fmla="*/ 6419503 w 9922465"/>
              <a:gd name="connsiteY2384" fmla="*/ 724970 h 1934496"/>
              <a:gd name="connsiteX2385" fmla="*/ 6289207 w 9922465"/>
              <a:gd name="connsiteY2385" fmla="*/ 724970 h 1934496"/>
              <a:gd name="connsiteX2386" fmla="*/ 6344399 w 9922465"/>
              <a:gd name="connsiteY2386" fmla="*/ 780161 h 1934496"/>
              <a:gd name="connsiteX2387" fmla="*/ 6289207 w 9922465"/>
              <a:gd name="connsiteY2387" fmla="*/ 835352 h 1934496"/>
              <a:gd name="connsiteX2388" fmla="*/ 6234015 w 9922465"/>
              <a:gd name="connsiteY2388" fmla="*/ 780161 h 1934496"/>
              <a:gd name="connsiteX2389" fmla="*/ 6289207 w 9922465"/>
              <a:gd name="connsiteY2389" fmla="*/ 724970 h 1934496"/>
              <a:gd name="connsiteX2390" fmla="*/ 6155573 w 9922465"/>
              <a:gd name="connsiteY2390" fmla="*/ 724970 h 1934496"/>
              <a:gd name="connsiteX2391" fmla="*/ 6210765 w 9922465"/>
              <a:gd name="connsiteY2391" fmla="*/ 780161 h 1934496"/>
              <a:gd name="connsiteX2392" fmla="*/ 6155573 w 9922465"/>
              <a:gd name="connsiteY2392" fmla="*/ 835352 h 1934496"/>
              <a:gd name="connsiteX2393" fmla="*/ 6100381 w 9922465"/>
              <a:gd name="connsiteY2393" fmla="*/ 780161 h 1934496"/>
              <a:gd name="connsiteX2394" fmla="*/ 6155573 w 9922465"/>
              <a:gd name="connsiteY2394" fmla="*/ 724970 h 1934496"/>
              <a:gd name="connsiteX2395" fmla="*/ 5621035 w 9922465"/>
              <a:gd name="connsiteY2395" fmla="*/ 724970 h 1934496"/>
              <a:gd name="connsiteX2396" fmla="*/ 5676227 w 9922465"/>
              <a:gd name="connsiteY2396" fmla="*/ 780161 h 1934496"/>
              <a:gd name="connsiteX2397" fmla="*/ 5621035 w 9922465"/>
              <a:gd name="connsiteY2397" fmla="*/ 835352 h 1934496"/>
              <a:gd name="connsiteX2398" fmla="*/ 5565843 w 9922465"/>
              <a:gd name="connsiteY2398" fmla="*/ 780161 h 1934496"/>
              <a:gd name="connsiteX2399" fmla="*/ 5621035 w 9922465"/>
              <a:gd name="connsiteY2399" fmla="*/ 724970 h 1934496"/>
              <a:gd name="connsiteX2400" fmla="*/ 5487399 w 9922465"/>
              <a:gd name="connsiteY2400" fmla="*/ 724970 h 1934496"/>
              <a:gd name="connsiteX2401" fmla="*/ 5542591 w 9922465"/>
              <a:gd name="connsiteY2401" fmla="*/ 780161 h 1934496"/>
              <a:gd name="connsiteX2402" fmla="*/ 5487399 w 9922465"/>
              <a:gd name="connsiteY2402" fmla="*/ 835352 h 1934496"/>
              <a:gd name="connsiteX2403" fmla="*/ 5432207 w 9922465"/>
              <a:gd name="connsiteY2403" fmla="*/ 780161 h 1934496"/>
              <a:gd name="connsiteX2404" fmla="*/ 5487399 w 9922465"/>
              <a:gd name="connsiteY2404" fmla="*/ 724970 h 1934496"/>
              <a:gd name="connsiteX2405" fmla="*/ 5357106 w 9922465"/>
              <a:gd name="connsiteY2405" fmla="*/ 724970 h 1934496"/>
              <a:gd name="connsiteX2406" fmla="*/ 5412298 w 9922465"/>
              <a:gd name="connsiteY2406" fmla="*/ 780161 h 1934496"/>
              <a:gd name="connsiteX2407" fmla="*/ 5357106 w 9922465"/>
              <a:gd name="connsiteY2407" fmla="*/ 835352 h 1934496"/>
              <a:gd name="connsiteX2408" fmla="*/ 5301914 w 9922465"/>
              <a:gd name="connsiteY2408" fmla="*/ 780161 h 1934496"/>
              <a:gd name="connsiteX2409" fmla="*/ 5357106 w 9922465"/>
              <a:gd name="connsiteY2409" fmla="*/ 724970 h 1934496"/>
              <a:gd name="connsiteX2410" fmla="*/ 5223473 w 9922465"/>
              <a:gd name="connsiteY2410" fmla="*/ 724970 h 1934496"/>
              <a:gd name="connsiteX2411" fmla="*/ 5278665 w 9922465"/>
              <a:gd name="connsiteY2411" fmla="*/ 780161 h 1934496"/>
              <a:gd name="connsiteX2412" fmla="*/ 5223473 w 9922465"/>
              <a:gd name="connsiteY2412" fmla="*/ 835352 h 1934496"/>
              <a:gd name="connsiteX2413" fmla="*/ 5168281 w 9922465"/>
              <a:gd name="connsiteY2413" fmla="*/ 780161 h 1934496"/>
              <a:gd name="connsiteX2414" fmla="*/ 5223473 w 9922465"/>
              <a:gd name="connsiteY2414" fmla="*/ 724970 h 1934496"/>
              <a:gd name="connsiteX2415" fmla="*/ 5093178 w 9922465"/>
              <a:gd name="connsiteY2415" fmla="*/ 724970 h 1934496"/>
              <a:gd name="connsiteX2416" fmla="*/ 5148370 w 9922465"/>
              <a:gd name="connsiteY2416" fmla="*/ 780161 h 1934496"/>
              <a:gd name="connsiteX2417" fmla="*/ 5093178 w 9922465"/>
              <a:gd name="connsiteY2417" fmla="*/ 835352 h 1934496"/>
              <a:gd name="connsiteX2418" fmla="*/ 5037986 w 9922465"/>
              <a:gd name="connsiteY2418" fmla="*/ 780161 h 1934496"/>
              <a:gd name="connsiteX2419" fmla="*/ 5093178 w 9922465"/>
              <a:gd name="connsiteY2419" fmla="*/ 724970 h 1934496"/>
              <a:gd name="connsiteX2420" fmla="*/ 3897148 w 9922465"/>
              <a:gd name="connsiteY2420" fmla="*/ 724970 h 1934496"/>
              <a:gd name="connsiteX2421" fmla="*/ 3952340 w 9922465"/>
              <a:gd name="connsiteY2421" fmla="*/ 780161 h 1934496"/>
              <a:gd name="connsiteX2422" fmla="*/ 3897148 w 9922465"/>
              <a:gd name="connsiteY2422" fmla="*/ 835352 h 1934496"/>
              <a:gd name="connsiteX2423" fmla="*/ 3841956 w 9922465"/>
              <a:gd name="connsiteY2423" fmla="*/ 780161 h 1934496"/>
              <a:gd name="connsiteX2424" fmla="*/ 3897148 w 9922465"/>
              <a:gd name="connsiteY2424" fmla="*/ 724970 h 1934496"/>
              <a:gd name="connsiteX2425" fmla="*/ 3763514 w 9922465"/>
              <a:gd name="connsiteY2425" fmla="*/ 724970 h 1934496"/>
              <a:gd name="connsiteX2426" fmla="*/ 3818706 w 9922465"/>
              <a:gd name="connsiteY2426" fmla="*/ 780161 h 1934496"/>
              <a:gd name="connsiteX2427" fmla="*/ 3763514 w 9922465"/>
              <a:gd name="connsiteY2427" fmla="*/ 835352 h 1934496"/>
              <a:gd name="connsiteX2428" fmla="*/ 3708322 w 9922465"/>
              <a:gd name="connsiteY2428" fmla="*/ 780161 h 1934496"/>
              <a:gd name="connsiteX2429" fmla="*/ 3763514 w 9922465"/>
              <a:gd name="connsiteY2429" fmla="*/ 724970 h 1934496"/>
              <a:gd name="connsiteX2430" fmla="*/ 3633221 w 9922465"/>
              <a:gd name="connsiteY2430" fmla="*/ 724970 h 1934496"/>
              <a:gd name="connsiteX2431" fmla="*/ 3688413 w 9922465"/>
              <a:gd name="connsiteY2431" fmla="*/ 780161 h 1934496"/>
              <a:gd name="connsiteX2432" fmla="*/ 3633221 w 9922465"/>
              <a:gd name="connsiteY2432" fmla="*/ 835352 h 1934496"/>
              <a:gd name="connsiteX2433" fmla="*/ 3578029 w 9922465"/>
              <a:gd name="connsiteY2433" fmla="*/ 780161 h 1934496"/>
              <a:gd name="connsiteX2434" fmla="*/ 3633221 w 9922465"/>
              <a:gd name="connsiteY2434" fmla="*/ 724970 h 1934496"/>
              <a:gd name="connsiteX2435" fmla="*/ 3499586 w 9922465"/>
              <a:gd name="connsiteY2435" fmla="*/ 724970 h 1934496"/>
              <a:gd name="connsiteX2436" fmla="*/ 3554778 w 9922465"/>
              <a:gd name="connsiteY2436" fmla="*/ 780161 h 1934496"/>
              <a:gd name="connsiteX2437" fmla="*/ 3499586 w 9922465"/>
              <a:gd name="connsiteY2437" fmla="*/ 835352 h 1934496"/>
              <a:gd name="connsiteX2438" fmla="*/ 3444394 w 9922465"/>
              <a:gd name="connsiteY2438" fmla="*/ 780161 h 1934496"/>
              <a:gd name="connsiteX2439" fmla="*/ 3499586 w 9922465"/>
              <a:gd name="connsiteY2439" fmla="*/ 724970 h 1934496"/>
              <a:gd name="connsiteX2440" fmla="*/ 3369292 w 9922465"/>
              <a:gd name="connsiteY2440" fmla="*/ 724970 h 1934496"/>
              <a:gd name="connsiteX2441" fmla="*/ 3424484 w 9922465"/>
              <a:gd name="connsiteY2441" fmla="*/ 780161 h 1934496"/>
              <a:gd name="connsiteX2442" fmla="*/ 3369292 w 9922465"/>
              <a:gd name="connsiteY2442" fmla="*/ 835352 h 1934496"/>
              <a:gd name="connsiteX2443" fmla="*/ 3314100 w 9922465"/>
              <a:gd name="connsiteY2443" fmla="*/ 780161 h 1934496"/>
              <a:gd name="connsiteX2444" fmla="*/ 3369292 w 9922465"/>
              <a:gd name="connsiteY2444" fmla="*/ 724970 h 1934496"/>
              <a:gd name="connsiteX2445" fmla="*/ 2834856 w 9922465"/>
              <a:gd name="connsiteY2445" fmla="*/ 724970 h 1934496"/>
              <a:gd name="connsiteX2446" fmla="*/ 2890049 w 9922465"/>
              <a:gd name="connsiteY2446" fmla="*/ 780161 h 1934496"/>
              <a:gd name="connsiteX2447" fmla="*/ 2834856 w 9922465"/>
              <a:gd name="connsiteY2447" fmla="*/ 835352 h 1934496"/>
              <a:gd name="connsiteX2448" fmla="*/ 2779665 w 9922465"/>
              <a:gd name="connsiteY2448" fmla="*/ 780161 h 1934496"/>
              <a:gd name="connsiteX2449" fmla="*/ 2834856 w 9922465"/>
              <a:gd name="connsiteY2449" fmla="*/ 724970 h 1934496"/>
              <a:gd name="connsiteX2450" fmla="*/ 2707901 w 9922465"/>
              <a:gd name="connsiteY2450" fmla="*/ 724970 h 1934496"/>
              <a:gd name="connsiteX2451" fmla="*/ 2763094 w 9922465"/>
              <a:gd name="connsiteY2451" fmla="*/ 780161 h 1934496"/>
              <a:gd name="connsiteX2452" fmla="*/ 2707901 w 9922465"/>
              <a:gd name="connsiteY2452" fmla="*/ 835352 h 1934496"/>
              <a:gd name="connsiteX2453" fmla="*/ 2652711 w 9922465"/>
              <a:gd name="connsiteY2453" fmla="*/ 780161 h 1934496"/>
              <a:gd name="connsiteX2454" fmla="*/ 2707901 w 9922465"/>
              <a:gd name="connsiteY2454" fmla="*/ 724970 h 1934496"/>
              <a:gd name="connsiteX2455" fmla="*/ 2570929 w 9922465"/>
              <a:gd name="connsiteY2455" fmla="*/ 724970 h 1934496"/>
              <a:gd name="connsiteX2456" fmla="*/ 2626122 w 9922465"/>
              <a:gd name="connsiteY2456" fmla="*/ 780161 h 1934496"/>
              <a:gd name="connsiteX2457" fmla="*/ 2570929 w 9922465"/>
              <a:gd name="connsiteY2457" fmla="*/ 835352 h 1934496"/>
              <a:gd name="connsiteX2458" fmla="*/ 2515735 w 9922465"/>
              <a:gd name="connsiteY2458" fmla="*/ 780161 h 1934496"/>
              <a:gd name="connsiteX2459" fmla="*/ 2570929 w 9922465"/>
              <a:gd name="connsiteY2459" fmla="*/ 724970 h 1934496"/>
              <a:gd name="connsiteX2460" fmla="*/ 2437294 w 9922465"/>
              <a:gd name="connsiteY2460" fmla="*/ 724970 h 1934496"/>
              <a:gd name="connsiteX2461" fmla="*/ 2492487 w 9922465"/>
              <a:gd name="connsiteY2461" fmla="*/ 780161 h 1934496"/>
              <a:gd name="connsiteX2462" fmla="*/ 2437294 w 9922465"/>
              <a:gd name="connsiteY2462" fmla="*/ 835352 h 1934496"/>
              <a:gd name="connsiteX2463" fmla="*/ 2382104 w 9922465"/>
              <a:gd name="connsiteY2463" fmla="*/ 780161 h 1934496"/>
              <a:gd name="connsiteX2464" fmla="*/ 2437294 w 9922465"/>
              <a:gd name="connsiteY2464" fmla="*/ 724970 h 1934496"/>
              <a:gd name="connsiteX2465" fmla="*/ 2303662 w 9922465"/>
              <a:gd name="connsiteY2465" fmla="*/ 724970 h 1934496"/>
              <a:gd name="connsiteX2466" fmla="*/ 2358853 w 9922465"/>
              <a:gd name="connsiteY2466" fmla="*/ 780161 h 1934496"/>
              <a:gd name="connsiteX2467" fmla="*/ 2303662 w 9922465"/>
              <a:gd name="connsiteY2467" fmla="*/ 835352 h 1934496"/>
              <a:gd name="connsiteX2468" fmla="*/ 2248471 w 9922465"/>
              <a:gd name="connsiteY2468" fmla="*/ 780161 h 1934496"/>
              <a:gd name="connsiteX2469" fmla="*/ 2303662 w 9922465"/>
              <a:gd name="connsiteY2469" fmla="*/ 724970 h 1934496"/>
              <a:gd name="connsiteX2470" fmla="*/ 2173371 w 9922465"/>
              <a:gd name="connsiteY2470" fmla="*/ 724970 h 1934496"/>
              <a:gd name="connsiteX2471" fmla="*/ 2228562 w 9922465"/>
              <a:gd name="connsiteY2471" fmla="*/ 780161 h 1934496"/>
              <a:gd name="connsiteX2472" fmla="*/ 2173371 w 9922465"/>
              <a:gd name="connsiteY2472" fmla="*/ 835352 h 1934496"/>
              <a:gd name="connsiteX2473" fmla="*/ 2118177 w 9922465"/>
              <a:gd name="connsiteY2473" fmla="*/ 780161 h 1934496"/>
              <a:gd name="connsiteX2474" fmla="*/ 2173371 w 9922465"/>
              <a:gd name="connsiteY2474" fmla="*/ 724970 h 1934496"/>
              <a:gd name="connsiteX2475" fmla="*/ 2039733 w 9922465"/>
              <a:gd name="connsiteY2475" fmla="*/ 724970 h 1934496"/>
              <a:gd name="connsiteX2476" fmla="*/ 2094927 w 9922465"/>
              <a:gd name="connsiteY2476" fmla="*/ 780161 h 1934496"/>
              <a:gd name="connsiteX2477" fmla="*/ 2039733 w 9922465"/>
              <a:gd name="connsiteY2477" fmla="*/ 835352 h 1934496"/>
              <a:gd name="connsiteX2478" fmla="*/ 1984539 w 9922465"/>
              <a:gd name="connsiteY2478" fmla="*/ 780161 h 1934496"/>
              <a:gd name="connsiteX2479" fmla="*/ 2039733 w 9922465"/>
              <a:gd name="connsiteY2479" fmla="*/ 724970 h 1934496"/>
              <a:gd name="connsiteX2480" fmla="*/ 1909436 w 9922465"/>
              <a:gd name="connsiteY2480" fmla="*/ 724970 h 1934496"/>
              <a:gd name="connsiteX2481" fmla="*/ 1964630 w 9922465"/>
              <a:gd name="connsiteY2481" fmla="*/ 780161 h 1934496"/>
              <a:gd name="connsiteX2482" fmla="*/ 1909436 w 9922465"/>
              <a:gd name="connsiteY2482" fmla="*/ 835352 h 1934496"/>
              <a:gd name="connsiteX2483" fmla="*/ 1854243 w 9922465"/>
              <a:gd name="connsiteY2483" fmla="*/ 780161 h 1934496"/>
              <a:gd name="connsiteX2484" fmla="*/ 1909436 w 9922465"/>
              <a:gd name="connsiteY2484" fmla="*/ 724970 h 1934496"/>
              <a:gd name="connsiteX2485" fmla="*/ 1779142 w 9922465"/>
              <a:gd name="connsiteY2485" fmla="*/ 724970 h 1934496"/>
              <a:gd name="connsiteX2486" fmla="*/ 1834335 w 9922465"/>
              <a:gd name="connsiteY2486" fmla="*/ 780161 h 1934496"/>
              <a:gd name="connsiteX2487" fmla="*/ 1779142 w 9922465"/>
              <a:gd name="connsiteY2487" fmla="*/ 835352 h 1934496"/>
              <a:gd name="connsiteX2488" fmla="*/ 1723947 w 9922465"/>
              <a:gd name="connsiteY2488" fmla="*/ 780161 h 1934496"/>
              <a:gd name="connsiteX2489" fmla="*/ 1779142 w 9922465"/>
              <a:gd name="connsiteY2489" fmla="*/ 724970 h 1934496"/>
              <a:gd name="connsiteX2490" fmla="*/ 1645501 w 9922465"/>
              <a:gd name="connsiteY2490" fmla="*/ 724970 h 1934496"/>
              <a:gd name="connsiteX2491" fmla="*/ 1700699 w 9922465"/>
              <a:gd name="connsiteY2491" fmla="*/ 780161 h 1934496"/>
              <a:gd name="connsiteX2492" fmla="*/ 1645501 w 9922465"/>
              <a:gd name="connsiteY2492" fmla="*/ 835352 h 1934496"/>
              <a:gd name="connsiteX2493" fmla="*/ 1590310 w 9922465"/>
              <a:gd name="connsiteY2493" fmla="*/ 780161 h 1934496"/>
              <a:gd name="connsiteX2494" fmla="*/ 1645501 w 9922465"/>
              <a:gd name="connsiteY2494" fmla="*/ 724970 h 1934496"/>
              <a:gd name="connsiteX2495" fmla="*/ 1515213 w 9922465"/>
              <a:gd name="connsiteY2495" fmla="*/ 724970 h 1934496"/>
              <a:gd name="connsiteX2496" fmla="*/ 1570399 w 9922465"/>
              <a:gd name="connsiteY2496" fmla="*/ 780161 h 1934496"/>
              <a:gd name="connsiteX2497" fmla="*/ 1515213 w 9922465"/>
              <a:gd name="connsiteY2497" fmla="*/ 835352 h 1934496"/>
              <a:gd name="connsiteX2498" fmla="*/ 1460016 w 9922465"/>
              <a:gd name="connsiteY2498" fmla="*/ 780161 h 1934496"/>
              <a:gd name="connsiteX2499" fmla="*/ 1515213 w 9922465"/>
              <a:gd name="connsiteY2499" fmla="*/ 724970 h 1934496"/>
              <a:gd name="connsiteX2500" fmla="*/ 1381573 w 9922465"/>
              <a:gd name="connsiteY2500" fmla="*/ 724970 h 1934496"/>
              <a:gd name="connsiteX2501" fmla="*/ 1436767 w 9922465"/>
              <a:gd name="connsiteY2501" fmla="*/ 780161 h 1934496"/>
              <a:gd name="connsiteX2502" fmla="*/ 1381573 w 9922465"/>
              <a:gd name="connsiteY2502" fmla="*/ 835352 h 1934496"/>
              <a:gd name="connsiteX2503" fmla="*/ 1326381 w 9922465"/>
              <a:gd name="connsiteY2503" fmla="*/ 780161 h 1934496"/>
              <a:gd name="connsiteX2504" fmla="*/ 1381573 w 9922465"/>
              <a:gd name="connsiteY2504" fmla="*/ 724970 h 1934496"/>
              <a:gd name="connsiteX2505" fmla="*/ 1251282 w 9922465"/>
              <a:gd name="connsiteY2505" fmla="*/ 724970 h 1934496"/>
              <a:gd name="connsiteX2506" fmla="*/ 1306475 w 9922465"/>
              <a:gd name="connsiteY2506" fmla="*/ 780161 h 1934496"/>
              <a:gd name="connsiteX2507" fmla="*/ 1251282 w 9922465"/>
              <a:gd name="connsiteY2507" fmla="*/ 835352 h 1934496"/>
              <a:gd name="connsiteX2508" fmla="*/ 1196089 w 9922465"/>
              <a:gd name="connsiteY2508" fmla="*/ 780161 h 1934496"/>
              <a:gd name="connsiteX2509" fmla="*/ 1251282 w 9922465"/>
              <a:gd name="connsiteY2509" fmla="*/ 724970 h 1934496"/>
              <a:gd name="connsiteX2510" fmla="*/ 1117642 w 9922465"/>
              <a:gd name="connsiteY2510" fmla="*/ 724970 h 1934496"/>
              <a:gd name="connsiteX2511" fmla="*/ 1172836 w 9922465"/>
              <a:gd name="connsiteY2511" fmla="*/ 780161 h 1934496"/>
              <a:gd name="connsiteX2512" fmla="*/ 1117642 w 9922465"/>
              <a:gd name="connsiteY2512" fmla="*/ 835352 h 1934496"/>
              <a:gd name="connsiteX2513" fmla="*/ 1062448 w 9922465"/>
              <a:gd name="connsiteY2513" fmla="*/ 780161 h 1934496"/>
              <a:gd name="connsiteX2514" fmla="*/ 1117642 w 9922465"/>
              <a:gd name="connsiteY2514" fmla="*/ 724970 h 1934496"/>
              <a:gd name="connsiteX2515" fmla="*/ 980664 w 9922465"/>
              <a:gd name="connsiteY2515" fmla="*/ 724970 h 1934496"/>
              <a:gd name="connsiteX2516" fmla="*/ 1035857 w 9922465"/>
              <a:gd name="connsiteY2516" fmla="*/ 780161 h 1934496"/>
              <a:gd name="connsiteX2517" fmla="*/ 980664 w 9922465"/>
              <a:gd name="connsiteY2517" fmla="*/ 835352 h 1934496"/>
              <a:gd name="connsiteX2518" fmla="*/ 925471 w 9922465"/>
              <a:gd name="connsiteY2518" fmla="*/ 780161 h 1934496"/>
              <a:gd name="connsiteX2519" fmla="*/ 980664 w 9922465"/>
              <a:gd name="connsiteY2519" fmla="*/ 724970 h 1934496"/>
              <a:gd name="connsiteX2520" fmla="*/ 847022 w 9922465"/>
              <a:gd name="connsiteY2520" fmla="*/ 724970 h 1934496"/>
              <a:gd name="connsiteX2521" fmla="*/ 902217 w 9922465"/>
              <a:gd name="connsiteY2521" fmla="*/ 780161 h 1934496"/>
              <a:gd name="connsiteX2522" fmla="*/ 847022 w 9922465"/>
              <a:gd name="connsiteY2522" fmla="*/ 835352 h 1934496"/>
              <a:gd name="connsiteX2523" fmla="*/ 791823 w 9922465"/>
              <a:gd name="connsiteY2523" fmla="*/ 780161 h 1934496"/>
              <a:gd name="connsiteX2524" fmla="*/ 847022 w 9922465"/>
              <a:gd name="connsiteY2524" fmla="*/ 724970 h 1934496"/>
              <a:gd name="connsiteX2525" fmla="*/ 716722 w 9922465"/>
              <a:gd name="connsiteY2525" fmla="*/ 724970 h 1934496"/>
              <a:gd name="connsiteX2526" fmla="*/ 771916 w 9922465"/>
              <a:gd name="connsiteY2526" fmla="*/ 780161 h 1934496"/>
              <a:gd name="connsiteX2527" fmla="*/ 716722 w 9922465"/>
              <a:gd name="connsiteY2527" fmla="*/ 835352 h 1934496"/>
              <a:gd name="connsiteX2528" fmla="*/ 661530 w 9922465"/>
              <a:gd name="connsiteY2528" fmla="*/ 780161 h 1934496"/>
              <a:gd name="connsiteX2529" fmla="*/ 716722 w 9922465"/>
              <a:gd name="connsiteY2529" fmla="*/ 724970 h 1934496"/>
              <a:gd name="connsiteX2530" fmla="*/ 583085 w 9922465"/>
              <a:gd name="connsiteY2530" fmla="*/ 724970 h 1934496"/>
              <a:gd name="connsiteX2531" fmla="*/ 638278 w 9922465"/>
              <a:gd name="connsiteY2531" fmla="*/ 780161 h 1934496"/>
              <a:gd name="connsiteX2532" fmla="*/ 583085 w 9922465"/>
              <a:gd name="connsiteY2532" fmla="*/ 835352 h 1934496"/>
              <a:gd name="connsiteX2533" fmla="*/ 527891 w 9922465"/>
              <a:gd name="connsiteY2533" fmla="*/ 780161 h 1934496"/>
              <a:gd name="connsiteX2534" fmla="*/ 583085 w 9922465"/>
              <a:gd name="connsiteY2534" fmla="*/ 724970 h 1934496"/>
              <a:gd name="connsiteX2535" fmla="*/ 449437 w 9922465"/>
              <a:gd name="connsiteY2535" fmla="*/ 724970 h 1934496"/>
              <a:gd name="connsiteX2536" fmla="*/ 504629 w 9922465"/>
              <a:gd name="connsiteY2536" fmla="*/ 780161 h 1934496"/>
              <a:gd name="connsiteX2537" fmla="*/ 449437 w 9922465"/>
              <a:gd name="connsiteY2537" fmla="*/ 835352 h 1934496"/>
              <a:gd name="connsiteX2538" fmla="*/ 394244 w 9922465"/>
              <a:gd name="connsiteY2538" fmla="*/ 780161 h 1934496"/>
              <a:gd name="connsiteX2539" fmla="*/ 449437 w 9922465"/>
              <a:gd name="connsiteY2539" fmla="*/ 724970 h 1934496"/>
              <a:gd name="connsiteX2540" fmla="*/ 319140 w 9922465"/>
              <a:gd name="connsiteY2540" fmla="*/ 724970 h 1934496"/>
              <a:gd name="connsiteX2541" fmla="*/ 374334 w 9922465"/>
              <a:gd name="connsiteY2541" fmla="*/ 780161 h 1934496"/>
              <a:gd name="connsiteX2542" fmla="*/ 319140 w 9922465"/>
              <a:gd name="connsiteY2542" fmla="*/ 835352 h 1934496"/>
              <a:gd name="connsiteX2543" fmla="*/ 263948 w 9922465"/>
              <a:gd name="connsiteY2543" fmla="*/ 780161 h 1934496"/>
              <a:gd name="connsiteX2544" fmla="*/ 319140 w 9922465"/>
              <a:gd name="connsiteY2544" fmla="*/ 724970 h 1934496"/>
              <a:gd name="connsiteX2545" fmla="*/ 185509 w 9922465"/>
              <a:gd name="connsiteY2545" fmla="*/ 724970 h 1934496"/>
              <a:gd name="connsiteX2546" fmla="*/ 240701 w 9922465"/>
              <a:gd name="connsiteY2546" fmla="*/ 780161 h 1934496"/>
              <a:gd name="connsiteX2547" fmla="*/ 185509 w 9922465"/>
              <a:gd name="connsiteY2547" fmla="*/ 835352 h 1934496"/>
              <a:gd name="connsiteX2548" fmla="*/ 130319 w 9922465"/>
              <a:gd name="connsiteY2548" fmla="*/ 780161 h 1934496"/>
              <a:gd name="connsiteX2549" fmla="*/ 185509 w 9922465"/>
              <a:gd name="connsiteY2549" fmla="*/ 724970 h 1934496"/>
              <a:gd name="connsiteX2550" fmla="*/ 8801538 w 9922465"/>
              <a:gd name="connsiteY2550" fmla="*/ 608039 h 1934496"/>
              <a:gd name="connsiteX2551" fmla="*/ 8856730 w 9922465"/>
              <a:gd name="connsiteY2551" fmla="*/ 663230 h 1934496"/>
              <a:gd name="connsiteX2552" fmla="*/ 8801538 w 9922465"/>
              <a:gd name="connsiteY2552" fmla="*/ 718421 h 1934496"/>
              <a:gd name="connsiteX2553" fmla="*/ 8746346 w 9922465"/>
              <a:gd name="connsiteY2553" fmla="*/ 663230 h 1934496"/>
              <a:gd name="connsiteX2554" fmla="*/ 8801538 w 9922465"/>
              <a:gd name="connsiteY2554" fmla="*/ 608039 h 1934496"/>
              <a:gd name="connsiteX2555" fmla="*/ 8671244 w 9922465"/>
              <a:gd name="connsiteY2555" fmla="*/ 608039 h 1934496"/>
              <a:gd name="connsiteX2556" fmla="*/ 8726436 w 9922465"/>
              <a:gd name="connsiteY2556" fmla="*/ 663230 h 1934496"/>
              <a:gd name="connsiteX2557" fmla="*/ 8671244 w 9922465"/>
              <a:gd name="connsiteY2557" fmla="*/ 718421 h 1934496"/>
              <a:gd name="connsiteX2558" fmla="*/ 8616052 w 9922465"/>
              <a:gd name="connsiteY2558" fmla="*/ 663230 h 1934496"/>
              <a:gd name="connsiteX2559" fmla="*/ 8671244 w 9922465"/>
              <a:gd name="connsiteY2559" fmla="*/ 608039 h 1934496"/>
              <a:gd name="connsiteX2560" fmla="*/ 8537609 w 9922465"/>
              <a:gd name="connsiteY2560" fmla="*/ 608039 h 1934496"/>
              <a:gd name="connsiteX2561" fmla="*/ 8592801 w 9922465"/>
              <a:gd name="connsiteY2561" fmla="*/ 663230 h 1934496"/>
              <a:gd name="connsiteX2562" fmla="*/ 8537609 w 9922465"/>
              <a:gd name="connsiteY2562" fmla="*/ 718421 h 1934496"/>
              <a:gd name="connsiteX2563" fmla="*/ 8482417 w 9922465"/>
              <a:gd name="connsiteY2563" fmla="*/ 663230 h 1934496"/>
              <a:gd name="connsiteX2564" fmla="*/ 8537609 w 9922465"/>
              <a:gd name="connsiteY2564" fmla="*/ 608039 h 1934496"/>
              <a:gd name="connsiteX2565" fmla="*/ 8407318 w 9922465"/>
              <a:gd name="connsiteY2565" fmla="*/ 608039 h 1934496"/>
              <a:gd name="connsiteX2566" fmla="*/ 8462510 w 9922465"/>
              <a:gd name="connsiteY2566" fmla="*/ 663230 h 1934496"/>
              <a:gd name="connsiteX2567" fmla="*/ 8407318 w 9922465"/>
              <a:gd name="connsiteY2567" fmla="*/ 718421 h 1934496"/>
              <a:gd name="connsiteX2568" fmla="*/ 8352126 w 9922465"/>
              <a:gd name="connsiteY2568" fmla="*/ 663230 h 1934496"/>
              <a:gd name="connsiteX2569" fmla="*/ 8407318 w 9922465"/>
              <a:gd name="connsiteY2569" fmla="*/ 608039 h 1934496"/>
              <a:gd name="connsiteX2570" fmla="*/ 8273682 w 9922465"/>
              <a:gd name="connsiteY2570" fmla="*/ 608039 h 1934496"/>
              <a:gd name="connsiteX2571" fmla="*/ 8328874 w 9922465"/>
              <a:gd name="connsiteY2571" fmla="*/ 663230 h 1934496"/>
              <a:gd name="connsiteX2572" fmla="*/ 8273682 w 9922465"/>
              <a:gd name="connsiteY2572" fmla="*/ 718421 h 1934496"/>
              <a:gd name="connsiteX2573" fmla="*/ 8218490 w 9922465"/>
              <a:gd name="connsiteY2573" fmla="*/ 663230 h 1934496"/>
              <a:gd name="connsiteX2574" fmla="*/ 8273682 w 9922465"/>
              <a:gd name="connsiteY2574" fmla="*/ 608039 h 1934496"/>
              <a:gd name="connsiteX2575" fmla="*/ 8143386 w 9922465"/>
              <a:gd name="connsiteY2575" fmla="*/ 608039 h 1934496"/>
              <a:gd name="connsiteX2576" fmla="*/ 8198578 w 9922465"/>
              <a:gd name="connsiteY2576" fmla="*/ 663230 h 1934496"/>
              <a:gd name="connsiteX2577" fmla="*/ 8143386 w 9922465"/>
              <a:gd name="connsiteY2577" fmla="*/ 718421 h 1934496"/>
              <a:gd name="connsiteX2578" fmla="*/ 8088194 w 9922465"/>
              <a:gd name="connsiteY2578" fmla="*/ 663230 h 1934496"/>
              <a:gd name="connsiteX2579" fmla="*/ 8143386 w 9922465"/>
              <a:gd name="connsiteY2579" fmla="*/ 608039 h 1934496"/>
              <a:gd name="connsiteX2580" fmla="*/ 8009753 w 9922465"/>
              <a:gd name="connsiteY2580" fmla="*/ 608039 h 1934496"/>
              <a:gd name="connsiteX2581" fmla="*/ 8064945 w 9922465"/>
              <a:gd name="connsiteY2581" fmla="*/ 663230 h 1934496"/>
              <a:gd name="connsiteX2582" fmla="*/ 8009753 w 9922465"/>
              <a:gd name="connsiteY2582" fmla="*/ 718421 h 1934496"/>
              <a:gd name="connsiteX2583" fmla="*/ 7954561 w 9922465"/>
              <a:gd name="connsiteY2583" fmla="*/ 663230 h 1934496"/>
              <a:gd name="connsiteX2584" fmla="*/ 8009753 w 9922465"/>
              <a:gd name="connsiteY2584" fmla="*/ 608039 h 1934496"/>
              <a:gd name="connsiteX2585" fmla="*/ 7876118 w 9922465"/>
              <a:gd name="connsiteY2585" fmla="*/ 608039 h 1934496"/>
              <a:gd name="connsiteX2586" fmla="*/ 7931310 w 9922465"/>
              <a:gd name="connsiteY2586" fmla="*/ 663230 h 1934496"/>
              <a:gd name="connsiteX2587" fmla="*/ 7876118 w 9922465"/>
              <a:gd name="connsiteY2587" fmla="*/ 718421 h 1934496"/>
              <a:gd name="connsiteX2588" fmla="*/ 7820926 w 9922465"/>
              <a:gd name="connsiteY2588" fmla="*/ 663230 h 1934496"/>
              <a:gd name="connsiteX2589" fmla="*/ 7876118 w 9922465"/>
              <a:gd name="connsiteY2589" fmla="*/ 608039 h 1934496"/>
              <a:gd name="connsiteX2590" fmla="*/ 7745824 w 9922465"/>
              <a:gd name="connsiteY2590" fmla="*/ 608039 h 1934496"/>
              <a:gd name="connsiteX2591" fmla="*/ 7801016 w 9922465"/>
              <a:gd name="connsiteY2591" fmla="*/ 663230 h 1934496"/>
              <a:gd name="connsiteX2592" fmla="*/ 7745824 w 9922465"/>
              <a:gd name="connsiteY2592" fmla="*/ 718421 h 1934496"/>
              <a:gd name="connsiteX2593" fmla="*/ 7690632 w 9922465"/>
              <a:gd name="connsiteY2593" fmla="*/ 663230 h 1934496"/>
              <a:gd name="connsiteX2594" fmla="*/ 7745824 w 9922465"/>
              <a:gd name="connsiteY2594" fmla="*/ 608039 h 1934496"/>
              <a:gd name="connsiteX2595" fmla="*/ 7608850 w 9922465"/>
              <a:gd name="connsiteY2595" fmla="*/ 608039 h 1934496"/>
              <a:gd name="connsiteX2596" fmla="*/ 7664042 w 9922465"/>
              <a:gd name="connsiteY2596" fmla="*/ 663230 h 1934496"/>
              <a:gd name="connsiteX2597" fmla="*/ 7608850 w 9922465"/>
              <a:gd name="connsiteY2597" fmla="*/ 718421 h 1934496"/>
              <a:gd name="connsiteX2598" fmla="*/ 7553658 w 9922465"/>
              <a:gd name="connsiteY2598" fmla="*/ 663230 h 1934496"/>
              <a:gd name="connsiteX2599" fmla="*/ 7608850 w 9922465"/>
              <a:gd name="connsiteY2599" fmla="*/ 608039 h 1934496"/>
              <a:gd name="connsiteX2600" fmla="*/ 7481895 w 9922465"/>
              <a:gd name="connsiteY2600" fmla="*/ 608039 h 1934496"/>
              <a:gd name="connsiteX2601" fmla="*/ 7537087 w 9922465"/>
              <a:gd name="connsiteY2601" fmla="*/ 663230 h 1934496"/>
              <a:gd name="connsiteX2602" fmla="*/ 7481895 w 9922465"/>
              <a:gd name="connsiteY2602" fmla="*/ 718421 h 1934496"/>
              <a:gd name="connsiteX2603" fmla="*/ 7426703 w 9922465"/>
              <a:gd name="connsiteY2603" fmla="*/ 663230 h 1934496"/>
              <a:gd name="connsiteX2604" fmla="*/ 7481895 w 9922465"/>
              <a:gd name="connsiteY2604" fmla="*/ 608039 h 1934496"/>
              <a:gd name="connsiteX2605" fmla="*/ 7341579 w 9922465"/>
              <a:gd name="connsiteY2605" fmla="*/ 608039 h 1934496"/>
              <a:gd name="connsiteX2606" fmla="*/ 7396771 w 9922465"/>
              <a:gd name="connsiteY2606" fmla="*/ 663230 h 1934496"/>
              <a:gd name="connsiteX2607" fmla="*/ 7341579 w 9922465"/>
              <a:gd name="connsiteY2607" fmla="*/ 718421 h 1934496"/>
              <a:gd name="connsiteX2608" fmla="*/ 7286387 w 9922465"/>
              <a:gd name="connsiteY2608" fmla="*/ 663230 h 1934496"/>
              <a:gd name="connsiteX2609" fmla="*/ 7341579 w 9922465"/>
              <a:gd name="connsiteY2609" fmla="*/ 608039 h 1934496"/>
              <a:gd name="connsiteX2610" fmla="*/ 7211286 w 9922465"/>
              <a:gd name="connsiteY2610" fmla="*/ 608039 h 1934496"/>
              <a:gd name="connsiteX2611" fmla="*/ 7266478 w 9922465"/>
              <a:gd name="connsiteY2611" fmla="*/ 663230 h 1934496"/>
              <a:gd name="connsiteX2612" fmla="*/ 7211286 w 9922465"/>
              <a:gd name="connsiteY2612" fmla="*/ 718421 h 1934496"/>
              <a:gd name="connsiteX2613" fmla="*/ 7156094 w 9922465"/>
              <a:gd name="connsiteY2613" fmla="*/ 663230 h 1934496"/>
              <a:gd name="connsiteX2614" fmla="*/ 7211286 w 9922465"/>
              <a:gd name="connsiteY2614" fmla="*/ 608039 h 1934496"/>
              <a:gd name="connsiteX2615" fmla="*/ 7080994 w 9922465"/>
              <a:gd name="connsiteY2615" fmla="*/ 608039 h 1934496"/>
              <a:gd name="connsiteX2616" fmla="*/ 7136186 w 9922465"/>
              <a:gd name="connsiteY2616" fmla="*/ 663230 h 1934496"/>
              <a:gd name="connsiteX2617" fmla="*/ 7080994 w 9922465"/>
              <a:gd name="connsiteY2617" fmla="*/ 718421 h 1934496"/>
              <a:gd name="connsiteX2618" fmla="*/ 7025802 w 9922465"/>
              <a:gd name="connsiteY2618" fmla="*/ 663230 h 1934496"/>
              <a:gd name="connsiteX2619" fmla="*/ 7080994 w 9922465"/>
              <a:gd name="connsiteY2619" fmla="*/ 608039 h 1934496"/>
              <a:gd name="connsiteX2620" fmla="*/ 6947358 w 9922465"/>
              <a:gd name="connsiteY2620" fmla="*/ 608039 h 1934496"/>
              <a:gd name="connsiteX2621" fmla="*/ 7002550 w 9922465"/>
              <a:gd name="connsiteY2621" fmla="*/ 663230 h 1934496"/>
              <a:gd name="connsiteX2622" fmla="*/ 6947358 w 9922465"/>
              <a:gd name="connsiteY2622" fmla="*/ 718421 h 1934496"/>
              <a:gd name="connsiteX2623" fmla="*/ 6892166 w 9922465"/>
              <a:gd name="connsiteY2623" fmla="*/ 663230 h 1934496"/>
              <a:gd name="connsiteX2624" fmla="*/ 6947358 w 9922465"/>
              <a:gd name="connsiteY2624" fmla="*/ 608039 h 1934496"/>
              <a:gd name="connsiteX2625" fmla="*/ 6817064 w 9922465"/>
              <a:gd name="connsiteY2625" fmla="*/ 608039 h 1934496"/>
              <a:gd name="connsiteX2626" fmla="*/ 6872256 w 9922465"/>
              <a:gd name="connsiteY2626" fmla="*/ 663230 h 1934496"/>
              <a:gd name="connsiteX2627" fmla="*/ 6817064 w 9922465"/>
              <a:gd name="connsiteY2627" fmla="*/ 718421 h 1934496"/>
              <a:gd name="connsiteX2628" fmla="*/ 6761872 w 9922465"/>
              <a:gd name="connsiteY2628" fmla="*/ 663230 h 1934496"/>
              <a:gd name="connsiteX2629" fmla="*/ 6817064 w 9922465"/>
              <a:gd name="connsiteY2629" fmla="*/ 608039 h 1934496"/>
              <a:gd name="connsiteX2630" fmla="*/ 6683431 w 9922465"/>
              <a:gd name="connsiteY2630" fmla="*/ 608039 h 1934496"/>
              <a:gd name="connsiteX2631" fmla="*/ 6738623 w 9922465"/>
              <a:gd name="connsiteY2631" fmla="*/ 663230 h 1934496"/>
              <a:gd name="connsiteX2632" fmla="*/ 6683431 w 9922465"/>
              <a:gd name="connsiteY2632" fmla="*/ 718421 h 1934496"/>
              <a:gd name="connsiteX2633" fmla="*/ 6628239 w 9922465"/>
              <a:gd name="connsiteY2633" fmla="*/ 663230 h 1934496"/>
              <a:gd name="connsiteX2634" fmla="*/ 6683431 w 9922465"/>
              <a:gd name="connsiteY2634" fmla="*/ 608039 h 1934496"/>
              <a:gd name="connsiteX2635" fmla="*/ 6155573 w 9922465"/>
              <a:gd name="connsiteY2635" fmla="*/ 608039 h 1934496"/>
              <a:gd name="connsiteX2636" fmla="*/ 6210765 w 9922465"/>
              <a:gd name="connsiteY2636" fmla="*/ 663230 h 1934496"/>
              <a:gd name="connsiteX2637" fmla="*/ 6155573 w 9922465"/>
              <a:gd name="connsiteY2637" fmla="*/ 718421 h 1934496"/>
              <a:gd name="connsiteX2638" fmla="*/ 6100381 w 9922465"/>
              <a:gd name="connsiteY2638" fmla="*/ 663230 h 1934496"/>
              <a:gd name="connsiteX2639" fmla="*/ 6155573 w 9922465"/>
              <a:gd name="connsiteY2639" fmla="*/ 608039 h 1934496"/>
              <a:gd name="connsiteX2640" fmla="*/ 5487399 w 9922465"/>
              <a:gd name="connsiteY2640" fmla="*/ 608039 h 1934496"/>
              <a:gd name="connsiteX2641" fmla="*/ 5542591 w 9922465"/>
              <a:gd name="connsiteY2641" fmla="*/ 663230 h 1934496"/>
              <a:gd name="connsiteX2642" fmla="*/ 5487399 w 9922465"/>
              <a:gd name="connsiteY2642" fmla="*/ 718421 h 1934496"/>
              <a:gd name="connsiteX2643" fmla="*/ 5432207 w 9922465"/>
              <a:gd name="connsiteY2643" fmla="*/ 663230 h 1934496"/>
              <a:gd name="connsiteX2644" fmla="*/ 5487399 w 9922465"/>
              <a:gd name="connsiteY2644" fmla="*/ 608039 h 1934496"/>
              <a:gd name="connsiteX2645" fmla="*/ 5357106 w 9922465"/>
              <a:gd name="connsiteY2645" fmla="*/ 608039 h 1934496"/>
              <a:gd name="connsiteX2646" fmla="*/ 5412298 w 9922465"/>
              <a:gd name="connsiteY2646" fmla="*/ 663230 h 1934496"/>
              <a:gd name="connsiteX2647" fmla="*/ 5357106 w 9922465"/>
              <a:gd name="connsiteY2647" fmla="*/ 718421 h 1934496"/>
              <a:gd name="connsiteX2648" fmla="*/ 5301914 w 9922465"/>
              <a:gd name="connsiteY2648" fmla="*/ 663230 h 1934496"/>
              <a:gd name="connsiteX2649" fmla="*/ 5357106 w 9922465"/>
              <a:gd name="connsiteY2649" fmla="*/ 608039 h 1934496"/>
              <a:gd name="connsiteX2650" fmla="*/ 5223473 w 9922465"/>
              <a:gd name="connsiteY2650" fmla="*/ 608038 h 1934496"/>
              <a:gd name="connsiteX2651" fmla="*/ 5278665 w 9922465"/>
              <a:gd name="connsiteY2651" fmla="*/ 663229 h 1934496"/>
              <a:gd name="connsiteX2652" fmla="*/ 5223473 w 9922465"/>
              <a:gd name="connsiteY2652" fmla="*/ 718420 h 1934496"/>
              <a:gd name="connsiteX2653" fmla="*/ 5168281 w 9922465"/>
              <a:gd name="connsiteY2653" fmla="*/ 663229 h 1934496"/>
              <a:gd name="connsiteX2654" fmla="*/ 5223473 w 9922465"/>
              <a:gd name="connsiteY2654" fmla="*/ 608038 h 1934496"/>
              <a:gd name="connsiteX2655" fmla="*/ 4030786 w 9922465"/>
              <a:gd name="connsiteY2655" fmla="*/ 608038 h 1934496"/>
              <a:gd name="connsiteX2656" fmla="*/ 4085978 w 9922465"/>
              <a:gd name="connsiteY2656" fmla="*/ 663229 h 1934496"/>
              <a:gd name="connsiteX2657" fmla="*/ 4030786 w 9922465"/>
              <a:gd name="connsiteY2657" fmla="*/ 718420 h 1934496"/>
              <a:gd name="connsiteX2658" fmla="*/ 3975594 w 9922465"/>
              <a:gd name="connsiteY2658" fmla="*/ 663229 h 1934496"/>
              <a:gd name="connsiteX2659" fmla="*/ 4030786 w 9922465"/>
              <a:gd name="connsiteY2659" fmla="*/ 608038 h 1934496"/>
              <a:gd name="connsiteX2660" fmla="*/ 3897148 w 9922465"/>
              <a:gd name="connsiteY2660" fmla="*/ 608038 h 1934496"/>
              <a:gd name="connsiteX2661" fmla="*/ 3952340 w 9922465"/>
              <a:gd name="connsiteY2661" fmla="*/ 663229 h 1934496"/>
              <a:gd name="connsiteX2662" fmla="*/ 3897148 w 9922465"/>
              <a:gd name="connsiteY2662" fmla="*/ 718420 h 1934496"/>
              <a:gd name="connsiteX2663" fmla="*/ 3841956 w 9922465"/>
              <a:gd name="connsiteY2663" fmla="*/ 663229 h 1934496"/>
              <a:gd name="connsiteX2664" fmla="*/ 3897148 w 9922465"/>
              <a:gd name="connsiteY2664" fmla="*/ 608038 h 1934496"/>
              <a:gd name="connsiteX2665" fmla="*/ 3763514 w 9922465"/>
              <a:gd name="connsiteY2665" fmla="*/ 608038 h 1934496"/>
              <a:gd name="connsiteX2666" fmla="*/ 3818706 w 9922465"/>
              <a:gd name="connsiteY2666" fmla="*/ 663229 h 1934496"/>
              <a:gd name="connsiteX2667" fmla="*/ 3763514 w 9922465"/>
              <a:gd name="connsiteY2667" fmla="*/ 718420 h 1934496"/>
              <a:gd name="connsiteX2668" fmla="*/ 3708322 w 9922465"/>
              <a:gd name="connsiteY2668" fmla="*/ 663229 h 1934496"/>
              <a:gd name="connsiteX2669" fmla="*/ 3763514 w 9922465"/>
              <a:gd name="connsiteY2669" fmla="*/ 608038 h 1934496"/>
              <a:gd name="connsiteX2670" fmla="*/ 3633221 w 9922465"/>
              <a:gd name="connsiteY2670" fmla="*/ 608038 h 1934496"/>
              <a:gd name="connsiteX2671" fmla="*/ 3688413 w 9922465"/>
              <a:gd name="connsiteY2671" fmla="*/ 663229 h 1934496"/>
              <a:gd name="connsiteX2672" fmla="*/ 3633221 w 9922465"/>
              <a:gd name="connsiteY2672" fmla="*/ 718420 h 1934496"/>
              <a:gd name="connsiteX2673" fmla="*/ 3578029 w 9922465"/>
              <a:gd name="connsiteY2673" fmla="*/ 663229 h 1934496"/>
              <a:gd name="connsiteX2674" fmla="*/ 3633221 w 9922465"/>
              <a:gd name="connsiteY2674" fmla="*/ 608038 h 1934496"/>
              <a:gd name="connsiteX2675" fmla="*/ 3499589 w 9922465"/>
              <a:gd name="connsiteY2675" fmla="*/ 608038 h 1934496"/>
              <a:gd name="connsiteX2676" fmla="*/ 3554781 w 9922465"/>
              <a:gd name="connsiteY2676" fmla="*/ 663229 h 1934496"/>
              <a:gd name="connsiteX2677" fmla="*/ 3499589 w 9922465"/>
              <a:gd name="connsiteY2677" fmla="*/ 718420 h 1934496"/>
              <a:gd name="connsiteX2678" fmla="*/ 3444397 w 9922465"/>
              <a:gd name="connsiteY2678" fmla="*/ 663229 h 1934496"/>
              <a:gd name="connsiteX2679" fmla="*/ 3499589 w 9922465"/>
              <a:gd name="connsiteY2679" fmla="*/ 608038 h 1934496"/>
              <a:gd name="connsiteX2680" fmla="*/ 3369292 w 9922465"/>
              <a:gd name="connsiteY2680" fmla="*/ 608038 h 1934496"/>
              <a:gd name="connsiteX2681" fmla="*/ 3424484 w 9922465"/>
              <a:gd name="connsiteY2681" fmla="*/ 663229 h 1934496"/>
              <a:gd name="connsiteX2682" fmla="*/ 3369292 w 9922465"/>
              <a:gd name="connsiteY2682" fmla="*/ 718420 h 1934496"/>
              <a:gd name="connsiteX2683" fmla="*/ 3314100 w 9922465"/>
              <a:gd name="connsiteY2683" fmla="*/ 663229 h 1934496"/>
              <a:gd name="connsiteX2684" fmla="*/ 3369292 w 9922465"/>
              <a:gd name="connsiteY2684" fmla="*/ 608038 h 1934496"/>
              <a:gd name="connsiteX2685" fmla="*/ 3235657 w 9922465"/>
              <a:gd name="connsiteY2685" fmla="*/ 608038 h 1934496"/>
              <a:gd name="connsiteX2686" fmla="*/ 3290849 w 9922465"/>
              <a:gd name="connsiteY2686" fmla="*/ 663229 h 1934496"/>
              <a:gd name="connsiteX2687" fmla="*/ 3235657 w 9922465"/>
              <a:gd name="connsiteY2687" fmla="*/ 718420 h 1934496"/>
              <a:gd name="connsiteX2688" fmla="*/ 3180465 w 9922465"/>
              <a:gd name="connsiteY2688" fmla="*/ 663229 h 1934496"/>
              <a:gd name="connsiteX2689" fmla="*/ 3235657 w 9922465"/>
              <a:gd name="connsiteY2689" fmla="*/ 608038 h 1934496"/>
              <a:gd name="connsiteX2690" fmla="*/ 2570932 w 9922465"/>
              <a:gd name="connsiteY2690" fmla="*/ 608038 h 1934496"/>
              <a:gd name="connsiteX2691" fmla="*/ 2626123 w 9922465"/>
              <a:gd name="connsiteY2691" fmla="*/ 663229 h 1934496"/>
              <a:gd name="connsiteX2692" fmla="*/ 2570932 w 9922465"/>
              <a:gd name="connsiteY2692" fmla="*/ 718420 h 1934496"/>
              <a:gd name="connsiteX2693" fmla="*/ 2515738 w 9922465"/>
              <a:gd name="connsiteY2693" fmla="*/ 663229 h 1934496"/>
              <a:gd name="connsiteX2694" fmla="*/ 2570932 w 9922465"/>
              <a:gd name="connsiteY2694" fmla="*/ 608038 h 1934496"/>
              <a:gd name="connsiteX2695" fmla="*/ 2437297 w 9922465"/>
              <a:gd name="connsiteY2695" fmla="*/ 608038 h 1934496"/>
              <a:gd name="connsiteX2696" fmla="*/ 2492487 w 9922465"/>
              <a:gd name="connsiteY2696" fmla="*/ 663229 h 1934496"/>
              <a:gd name="connsiteX2697" fmla="*/ 2437297 w 9922465"/>
              <a:gd name="connsiteY2697" fmla="*/ 718420 h 1934496"/>
              <a:gd name="connsiteX2698" fmla="*/ 2382108 w 9922465"/>
              <a:gd name="connsiteY2698" fmla="*/ 663229 h 1934496"/>
              <a:gd name="connsiteX2699" fmla="*/ 2437297 w 9922465"/>
              <a:gd name="connsiteY2699" fmla="*/ 608038 h 1934496"/>
              <a:gd name="connsiteX2700" fmla="*/ 2303664 w 9922465"/>
              <a:gd name="connsiteY2700" fmla="*/ 608038 h 1934496"/>
              <a:gd name="connsiteX2701" fmla="*/ 2358856 w 9922465"/>
              <a:gd name="connsiteY2701" fmla="*/ 663229 h 1934496"/>
              <a:gd name="connsiteX2702" fmla="*/ 2303664 w 9922465"/>
              <a:gd name="connsiteY2702" fmla="*/ 718420 h 1934496"/>
              <a:gd name="connsiteX2703" fmla="*/ 2248473 w 9922465"/>
              <a:gd name="connsiteY2703" fmla="*/ 663229 h 1934496"/>
              <a:gd name="connsiteX2704" fmla="*/ 2303664 w 9922465"/>
              <a:gd name="connsiteY2704" fmla="*/ 608038 h 1934496"/>
              <a:gd name="connsiteX2705" fmla="*/ 2173372 w 9922465"/>
              <a:gd name="connsiteY2705" fmla="*/ 608038 h 1934496"/>
              <a:gd name="connsiteX2706" fmla="*/ 2228565 w 9922465"/>
              <a:gd name="connsiteY2706" fmla="*/ 663229 h 1934496"/>
              <a:gd name="connsiteX2707" fmla="*/ 2173372 w 9922465"/>
              <a:gd name="connsiteY2707" fmla="*/ 718420 h 1934496"/>
              <a:gd name="connsiteX2708" fmla="*/ 2118180 w 9922465"/>
              <a:gd name="connsiteY2708" fmla="*/ 663229 h 1934496"/>
              <a:gd name="connsiteX2709" fmla="*/ 2173372 w 9922465"/>
              <a:gd name="connsiteY2709" fmla="*/ 608038 h 1934496"/>
              <a:gd name="connsiteX2710" fmla="*/ 2039736 w 9922465"/>
              <a:gd name="connsiteY2710" fmla="*/ 608038 h 1934496"/>
              <a:gd name="connsiteX2711" fmla="*/ 2094930 w 9922465"/>
              <a:gd name="connsiteY2711" fmla="*/ 663229 h 1934496"/>
              <a:gd name="connsiteX2712" fmla="*/ 2039736 w 9922465"/>
              <a:gd name="connsiteY2712" fmla="*/ 718420 h 1934496"/>
              <a:gd name="connsiteX2713" fmla="*/ 1984543 w 9922465"/>
              <a:gd name="connsiteY2713" fmla="*/ 663229 h 1934496"/>
              <a:gd name="connsiteX2714" fmla="*/ 2039736 w 9922465"/>
              <a:gd name="connsiteY2714" fmla="*/ 608038 h 1934496"/>
              <a:gd name="connsiteX2715" fmla="*/ 1909437 w 9922465"/>
              <a:gd name="connsiteY2715" fmla="*/ 608038 h 1934496"/>
              <a:gd name="connsiteX2716" fmla="*/ 1964630 w 9922465"/>
              <a:gd name="connsiteY2716" fmla="*/ 663229 h 1934496"/>
              <a:gd name="connsiteX2717" fmla="*/ 1909437 w 9922465"/>
              <a:gd name="connsiteY2717" fmla="*/ 718420 h 1934496"/>
              <a:gd name="connsiteX2718" fmla="*/ 1854244 w 9922465"/>
              <a:gd name="connsiteY2718" fmla="*/ 663229 h 1934496"/>
              <a:gd name="connsiteX2719" fmla="*/ 1909437 w 9922465"/>
              <a:gd name="connsiteY2719" fmla="*/ 608038 h 1934496"/>
              <a:gd name="connsiteX2720" fmla="*/ 1779142 w 9922465"/>
              <a:gd name="connsiteY2720" fmla="*/ 608038 h 1934496"/>
              <a:gd name="connsiteX2721" fmla="*/ 1834335 w 9922465"/>
              <a:gd name="connsiteY2721" fmla="*/ 663229 h 1934496"/>
              <a:gd name="connsiteX2722" fmla="*/ 1779142 w 9922465"/>
              <a:gd name="connsiteY2722" fmla="*/ 718420 h 1934496"/>
              <a:gd name="connsiteX2723" fmla="*/ 1723950 w 9922465"/>
              <a:gd name="connsiteY2723" fmla="*/ 663229 h 1934496"/>
              <a:gd name="connsiteX2724" fmla="*/ 1779142 w 9922465"/>
              <a:gd name="connsiteY2724" fmla="*/ 608038 h 1934496"/>
              <a:gd name="connsiteX2725" fmla="*/ 1645508 w 9922465"/>
              <a:gd name="connsiteY2725" fmla="*/ 608038 h 1934496"/>
              <a:gd name="connsiteX2726" fmla="*/ 1700702 w 9922465"/>
              <a:gd name="connsiteY2726" fmla="*/ 663229 h 1934496"/>
              <a:gd name="connsiteX2727" fmla="*/ 1645508 w 9922465"/>
              <a:gd name="connsiteY2727" fmla="*/ 718420 h 1934496"/>
              <a:gd name="connsiteX2728" fmla="*/ 1590311 w 9922465"/>
              <a:gd name="connsiteY2728" fmla="*/ 663229 h 1934496"/>
              <a:gd name="connsiteX2729" fmla="*/ 1645508 w 9922465"/>
              <a:gd name="connsiteY2729" fmla="*/ 608038 h 1934496"/>
              <a:gd name="connsiteX2730" fmla="*/ 1515217 w 9922465"/>
              <a:gd name="connsiteY2730" fmla="*/ 608038 h 1934496"/>
              <a:gd name="connsiteX2731" fmla="*/ 1570402 w 9922465"/>
              <a:gd name="connsiteY2731" fmla="*/ 663229 h 1934496"/>
              <a:gd name="connsiteX2732" fmla="*/ 1515217 w 9922465"/>
              <a:gd name="connsiteY2732" fmla="*/ 718420 h 1934496"/>
              <a:gd name="connsiteX2733" fmla="*/ 1460020 w 9922465"/>
              <a:gd name="connsiteY2733" fmla="*/ 663229 h 1934496"/>
              <a:gd name="connsiteX2734" fmla="*/ 1515217 w 9922465"/>
              <a:gd name="connsiteY2734" fmla="*/ 608038 h 1934496"/>
              <a:gd name="connsiteX2735" fmla="*/ 1381573 w 9922465"/>
              <a:gd name="connsiteY2735" fmla="*/ 608038 h 1934496"/>
              <a:gd name="connsiteX2736" fmla="*/ 1436767 w 9922465"/>
              <a:gd name="connsiteY2736" fmla="*/ 663229 h 1934496"/>
              <a:gd name="connsiteX2737" fmla="*/ 1381573 w 9922465"/>
              <a:gd name="connsiteY2737" fmla="*/ 718420 h 1934496"/>
              <a:gd name="connsiteX2738" fmla="*/ 1326384 w 9922465"/>
              <a:gd name="connsiteY2738" fmla="*/ 663229 h 1934496"/>
              <a:gd name="connsiteX2739" fmla="*/ 1381573 w 9922465"/>
              <a:gd name="connsiteY2739" fmla="*/ 608038 h 1934496"/>
              <a:gd name="connsiteX2740" fmla="*/ 1251282 w 9922465"/>
              <a:gd name="connsiteY2740" fmla="*/ 608038 h 1934496"/>
              <a:gd name="connsiteX2741" fmla="*/ 1306476 w 9922465"/>
              <a:gd name="connsiteY2741" fmla="*/ 663229 h 1934496"/>
              <a:gd name="connsiteX2742" fmla="*/ 1251282 w 9922465"/>
              <a:gd name="connsiteY2742" fmla="*/ 718420 h 1934496"/>
              <a:gd name="connsiteX2743" fmla="*/ 1196089 w 9922465"/>
              <a:gd name="connsiteY2743" fmla="*/ 663229 h 1934496"/>
              <a:gd name="connsiteX2744" fmla="*/ 1251282 w 9922465"/>
              <a:gd name="connsiteY2744" fmla="*/ 608038 h 1934496"/>
              <a:gd name="connsiteX2745" fmla="*/ 8143386 w 9922465"/>
              <a:gd name="connsiteY2745" fmla="*/ 494447 h 1934496"/>
              <a:gd name="connsiteX2746" fmla="*/ 8198578 w 9922465"/>
              <a:gd name="connsiteY2746" fmla="*/ 549638 h 1934496"/>
              <a:gd name="connsiteX2747" fmla="*/ 8143386 w 9922465"/>
              <a:gd name="connsiteY2747" fmla="*/ 604829 h 1934496"/>
              <a:gd name="connsiteX2748" fmla="*/ 8088194 w 9922465"/>
              <a:gd name="connsiteY2748" fmla="*/ 549638 h 1934496"/>
              <a:gd name="connsiteX2749" fmla="*/ 8143386 w 9922465"/>
              <a:gd name="connsiteY2749" fmla="*/ 494447 h 1934496"/>
              <a:gd name="connsiteX2750" fmla="*/ 8009753 w 9922465"/>
              <a:gd name="connsiteY2750" fmla="*/ 494447 h 1934496"/>
              <a:gd name="connsiteX2751" fmla="*/ 8064945 w 9922465"/>
              <a:gd name="connsiteY2751" fmla="*/ 549638 h 1934496"/>
              <a:gd name="connsiteX2752" fmla="*/ 8009753 w 9922465"/>
              <a:gd name="connsiteY2752" fmla="*/ 604829 h 1934496"/>
              <a:gd name="connsiteX2753" fmla="*/ 7954561 w 9922465"/>
              <a:gd name="connsiteY2753" fmla="*/ 549638 h 1934496"/>
              <a:gd name="connsiteX2754" fmla="*/ 8009753 w 9922465"/>
              <a:gd name="connsiteY2754" fmla="*/ 494447 h 1934496"/>
              <a:gd name="connsiteX2755" fmla="*/ 7876118 w 9922465"/>
              <a:gd name="connsiteY2755" fmla="*/ 494447 h 1934496"/>
              <a:gd name="connsiteX2756" fmla="*/ 7931310 w 9922465"/>
              <a:gd name="connsiteY2756" fmla="*/ 549638 h 1934496"/>
              <a:gd name="connsiteX2757" fmla="*/ 7876118 w 9922465"/>
              <a:gd name="connsiteY2757" fmla="*/ 604829 h 1934496"/>
              <a:gd name="connsiteX2758" fmla="*/ 7820926 w 9922465"/>
              <a:gd name="connsiteY2758" fmla="*/ 549638 h 1934496"/>
              <a:gd name="connsiteX2759" fmla="*/ 7876118 w 9922465"/>
              <a:gd name="connsiteY2759" fmla="*/ 494447 h 1934496"/>
              <a:gd name="connsiteX2760" fmla="*/ 7745824 w 9922465"/>
              <a:gd name="connsiteY2760" fmla="*/ 494447 h 1934496"/>
              <a:gd name="connsiteX2761" fmla="*/ 7801016 w 9922465"/>
              <a:gd name="connsiteY2761" fmla="*/ 549638 h 1934496"/>
              <a:gd name="connsiteX2762" fmla="*/ 7745824 w 9922465"/>
              <a:gd name="connsiteY2762" fmla="*/ 604829 h 1934496"/>
              <a:gd name="connsiteX2763" fmla="*/ 7690632 w 9922465"/>
              <a:gd name="connsiteY2763" fmla="*/ 549638 h 1934496"/>
              <a:gd name="connsiteX2764" fmla="*/ 7745824 w 9922465"/>
              <a:gd name="connsiteY2764" fmla="*/ 494447 h 1934496"/>
              <a:gd name="connsiteX2765" fmla="*/ 7608850 w 9922465"/>
              <a:gd name="connsiteY2765" fmla="*/ 494447 h 1934496"/>
              <a:gd name="connsiteX2766" fmla="*/ 7664042 w 9922465"/>
              <a:gd name="connsiteY2766" fmla="*/ 549638 h 1934496"/>
              <a:gd name="connsiteX2767" fmla="*/ 7608850 w 9922465"/>
              <a:gd name="connsiteY2767" fmla="*/ 604829 h 1934496"/>
              <a:gd name="connsiteX2768" fmla="*/ 7553658 w 9922465"/>
              <a:gd name="connsiteY2768" fmla="*/ 549638 h 1934496"/>
              <a:gd name="connsiteX2769" fmla="*/ 7608850 w 9922465"/>
              <a:gd name="connsiteY2769" fmla="*/ 494447 h 1934496"/>
              <a:gd name="connsiteX2770" fmla="*/ 7481895 w 9922465"/>
              <a:gd name="connsiteY2770" fmla="*/ 494447 h 1934496"/>
              <a:gd name="connsiteX2771" fmla="*/ 7537087 w 9922465"/>
              <a:gd name="connsiteY2771" fmla="*/ 549638 h 1934496"/>
              <a:gd name="connsiteX2772" fmla="*/ 7481895 w 9922465"/>
              <a:gd name="connsiteY2772" fmla="*/ 604829 h 1934496"/>
              <a:gd name="connsiteX2773" fmla="*/ 7426703 w 9922465"/>
              <a:gd name="connsiteY2773" fmla="*/ 549638 h 1934496"/>
              <a:gd name="connsiteX2774" fmla="*/ 7481895 w 9922465"/>
              <a:gd name="connsiteY2774" fmla="*/ 494447 h 1934496"/>
              <a:gd name="connsiteX2775" fmla="*/ 7341580 w 9922465"/>
              <a:gd name="connsiteY2775" fmla="*/ 494447 h 1934496"/>
              <a:gd name="connsiteX2776" fmla="*/ 7396772 w 9922465"/>
              <a:gd name="connsiteY2776" fmla="*/ 549638 h 1934496"/>
              <a:gd name="connsiteX2777" fmla="*/ 7341580 w 9922465"/>
              <a:gd name="connsiteY2777" fmla="*/ 604829 h 1934496"/>
              <a:gd name="connsiteX2778" fmla="*/ 7286388 w 9922465"/>
              <a:gd name="connsiteY2778" fmla="*/ 549638 h 1934496"/>
              <a:gd name="connsiteX2779" fmla="*/ 7341580 w 9922465"/>
              <a:gd name="connsiteY2779" fmla="*/ 494447 h 1934496"/>
              <a:gd name="connsiteX2780" fmla="*/ 7211286 w 9922465"/>
              <a:gd name="connsiteY2780" fmla="*/ 494447 h 1934496"/>
              <a:gd name="connsiteX2781" fmla="*/ 7266478 w 9922465"/>
              <a:gd name="connsiteY2781" fmla="*/ 549638 h 1934496"/>
              <a:gd name="connsiteX2782" fmla="*/ 7211286 w 9922465"/>
              <a:gd name="connsiteY2782" fmla="*/ 604829 h 1934496"/>
              <a:gd name="connsiteX2783" fmla="*/ 7156094 w 9922465"/>
              <a:gd name="connsiteY2783" fmla="*/ 549638 h 1934496"/>
              <a:gd name="connsiteX2784" fmla="*/ 7211286 w 9922465"/>
              <a:gd name="connsiteY2784" fmla="*/ 494447 h 1934496"/>
              <a:gd name="connsiteX2785" fmla="*/ 7080994 w 9922465"/>
              <a:gd name="connsiteY2785" fmla="*/ 494447 h 1934496"/>
              <a:gd name="connsiteX2786" fmla="*/ 7136186 w 9922465"/>
              <a:gd name="connsiteY2786" fmla="*/ 549638 h 1934496"/>
              <a:gd name="connsiteX2787" fmla="*/ 7080994 w 9922465"/>
              <a:gd name="connsiteY2787" fmla="*/ 604829 h 1934496"/>
              <a:gd name="connsiteX2788" fmla="*/ 7025802 w 9922465"/>
              <a:gd name="connsiteY2788" fmla="*/ 549638 h 1934496"/>
              <a:gd name="connsiteX2789" fmla="*/ 7080994 w 9922465"/>
              <a:gd name="connsiteY2789" fmla="*/ 494447 h 1934496"/>
              <a:gd name="connsiteX2790" fmla="*/ 6947358 w 9922465"/>
              <a:gd name="connsiteY2790" fmla="*/ 494447 h 1934496"/>
              <a:gd name="connsiteX2791" fmla="*/ 7002550 w 9922465"/>
              <a:gd name="connsiteY2791" fmla="*/ 549638 h 1934496"/>
              <a:gd name="connsiteX2792" fmla="*/ 6947358 w 9922465"/>
              <a:gd name="connsiteY2792" fmla="*/ 604829 h 1934496"/>
              <a:gd name="connsiteX2793" fmla="*/ 6892166 w 9922465"/>
              <a:gd name="connsiteY2793" fmla="*/ 549638 h 1934496"/>
              <a:gd name="connsiteX2794" fmla="*/ 6947358 w 9922465"/>
              <a:gd name="connsiteY2794" fmla="*/ 494447 h 1934496"/>
              <a:gd name="connsiteX2795" fmla="*/ 6289207 w 9922465"/>
              <a:gd name="connsiteY2795" fmla="*/ 494447 h 1934496"/>
              <a:gd name="connsiteX2796" fmla="*/ 6344399 w 9922465"/>
              <a:gd name="connsiteY2796" fmla="*/ 549638 h 1934496"/>
              <a:gd name="connsiteX2797" fmla="*/ 6289207 w 9922465"/>
              <a:gd name="connsiteY2797" fmla="*/ 604829 h 1934496"/>
              <a:gd name="connsiteX2798" fmla="*/ 6234015 w 9922465"/>
              <a:gd name="connsiteY2798" fmla="*/ 549638 h 1934496"/>
              <a:gd name="connsiteX2799" fmla="*/ 6289207 w 9922465"/>
              <a:gd name="connsiteY2799" fmla="*/ 494447 h 1934496"/>
              <a:gd name="connsiteX2800" fmla="*/ 4030786 w 9922465"/>
              <a:gd name="connsiteY2800" fmla="*/ 494447 h 1934496"/>
              <a:gd name="connsiteX2801" fmla="*/ 4085978 w 9922465"/>
              <a:gd name="connsiteY2801" fmla="*/ 549638 h 1934496"/>
              <a:gd name="connsiteX2802" fmla="*/ 4030786 w 9922465"/>
              <a:gd name="connsiteY2802" fmla="*/ 604829 h 1934496"/>
              <a:gd name="connsiteX2803" fmla="*/ 3975594 w 9922465"/>
              <a:gd name="connsiteY2803" fmla="*/ 549638 h 1934496"/>
              <a:gd name="connsiteX2804" fmla="*/ 4030786 w 9922465"/>
              <a:gd name="connsiteY2804" fmla="*/ 494447 h 1934496"/>
              <a:gd name="connsiteX2805" fmla="*/ 3897148 w 9922465"/>
              <a:gd name="connsiteY2805" fmla="*/ 494447 h 1934496"/>
              <a:gd name="connsiteX2806" fmla="*/ 3952340 w 9922465"/>
              <a:gd name="connsiteY2806" fmla="*/ 549638 h 1934496"/>
              <a:gd name="connsiteX2807" fmla="*/ 3897148 w 9922465"/>
              <a:gd name="connsiteY2807" fmla="*/ 604829 h 1934496"/>
              <a:gd name="connsiteX2808" fmla="*/ 3841956 w 9922465"/>
              <a:gd name="connsiteY2808" fmla="*/ 549638 h 1934496"/>
              <a:gd name="connsiteX2809" fmla="*/ 3897148 w 9922465"/>
              <a:gd name="connsiteY2809" fmla="*/ 494447 h 1934496"/>
              <a:gd name="connsiteX2810" fmla="*/ 3763514 w 9922465"/>
              <a:gd name="connsiteY2810" fmla="*/ 494447 h 1934496"/>
              <a:gd name="connsiteX2811" fmla="*/ 3818706 w 9922465"/>
              <a:gd name="connsiteY2811" fmla="*/ 549638 h 1934496"/>
              <a:gd name="connsiteX2812" fmla="*/ 3763514 w 9922465"/>
              <a:gd name="connsiteY2812" fmla="*/ 604829 h 1934496"/>
              <a:gd name="connsiteX2813" fmla="*/ 3708322 w 9922465"/>
              <a:gd name="connsiteY2813" fmla="*/ 549638 h 1934496"/>
              <a:gd name="connsiteX2814" fmla="*/ 3763514 w 9922465"/>
              <a:gd name="connsiteY2814" fmla="*/ 494447 h 1934496"/>
              <a:gd name="connsiteX2815" fmla="*/ 3633221 w 9922465"/>
              <a:gd name="connsiteY2815" fmla="*/ 494447 h 1934496"/>
              <a:gd name="connsiteX2816" fmla="*/ 3688413 w 9922465"/>
              <a:gd name="connsiteY2816" fmla="*/ 549638 h 1934496"/>
              <a:gd name="connsiteX2817" fmla="*/ 3633221 w 9922465"/>
              <a:gd name="connsiteY2817" fmla="*/ 604829 h 1934496"/>
              <a:gd name="connsiteX2818" fmla="*/ 3578029 w 9922465"/>
              <a:gd name="connsiteY2818" fmla="*/ 549638 h 1934496"/>
              <a:gd name="connsiteX2819" fmla="*/ 3633221 w 9922465"/>
              <a:gd name="connsiteY2819" fmla="*/ 494447 h 1934496"/>
              <a:gd name="connsiteX2820" fmla="*/ 3499589 w 9922465"/>
              <a:gd name="connsiteY2820" fmla="*/ 494447 h 1934496"/>
              <a:gd name="connsiteX2821" fmla="*/ 3554781 w 9922465"/>
              <a:gd name="connsiteY2821" fmla="*/ 549638 h 1934496"/>
              <a:gd name="connsiteX2822" fmla="*/ 3499589 w 9922465"/>
              <a:gd name="connsiteY2822" fmla="*/ 604829 h 1934496"/>
              <a:gd name="connsiteX2823" fmla="*/ 3444397 w 9922465"/>
              <a:gd name="connsiteY2823" fmla="*/ 549638 h 1934496"/>
              <a:gd name="connsiteX2824" fmla="*/ 3499589 w 9922465"/>
              <a:gd name="connsiteY2824" fmla="*/ 494447 h 1934496"/>
              <a:gd name="connsiteX2825" fmla="*/ 3369292 w 9922465"/>
              <a:gd name="connsiteY2825" fmla="*/ 494447 h 1934496"/>
              <a:gd name="connsiteX2826" fmla="*/ 3424484 w 9922465"/>
              <a:gd name="connsiteY2826" fmla="*/ 549638 h 1934496"/>
              <a:gd name="connsiteX2827" fmla="*/ 3369292 w 9922465"/>
              <a:gd name="connsiteY2827" fmla="*/ 604829 h 1934496"/>
              <a:gd name="connsiteX2828" fmla="*/ 3314100 w 9922465"/>
              <a:gd name="connsiteY2828" fmla="*/ 549638 h 1934496"/>
              <a:gd name="connsiteX2829" fmla="*/ 3369292 w 9922465"/>
              <a:gd name="connsiteY2829" fmla="*/ 494447 h 1934496"/>
              <a:gd name="connsiteX2830" fmla="*/ 3235657 w 9922465"/>
              <a:gd name="connsiteY2830" fmla="*/ 494447 h 1934496"/>
              <a:gd name="connsiteX2831" fmla="*/ 3290849 w 9922465"/>
              <a:gd name="connsiteY2831" fmla="*/ 549638 h 1934496"/>
              <a:gd name="connsiteX2832" fmla="*/ 3235657 w 9922465"/>
              <a:gd name="connsiteY2832" fmla="*/ 604829 h 1934496"/>
              <a:gd name="connsiteX2833" fmla="*/ 3180465 w 9922465"/>
              <a:gd name="connsiteY2833" fmla="*/ 549638 h 1934496"/>
              <a:gd name="connsiteX2834" fmla="*/ 3235657 w 9922465"/>
              <a:gd name="connsiteY2834" fmla="*/ 494447 h 1934496"/>
              <a:gd name="connsiteX2835" fmla="*/ 2437297 w 9922465"/>
              <a:gd name="connsiteY2835" fmla="*/ 494447 h 1934496"/>
              <a:gd name="connsiteX2836" fmla="*/ 2492487 w 9922465"/>
              <a:gd name="connsiteY2836" fmla="*/ 549638 h 1934496"/>
              <a:gd name="connsiteX2837" fmla="*/ 2437297 w 9922465"/>
              <a:gd name="connsiteY2837" fmla="*/ 604829 h 1934496"/>
              <a:gd name="connsiteX2838" fmla="*/ 2382108 w 9922465"/>
              <a:gd name="connsiteY2838" fmla="*/ 549638 h 1934496"/>
              <a:gd name="connsiteX2839" fmla="*/ 2437297 w 9922465"/>
              <a:gd name="connsiteY2839" fmla="*/ 494447 h 1934496"/>
              <a:gd name="connsiteX2840" fmla="*/ 2303664 w 9922465"/>
              <a:gd name="connsiteY2840" fmla="*/ 494447 h 1934496"/>
              <a:gd name="connsiteX2841" fmla="*/ 2358856 w 9922465"/>
              <a:gd name="connsiteY2841" fmla="*/ 549638 h 1934496"/>
              <a:gd name="connsiteX2842" fmla="*/ 2303664 w 9922465"/>
              <a:gd name="connsiteY2842" fmla="*/ 604829 h 1934496"/>
              <a:gd name="connsiteX2843" fmla="*/ 2248473 w 9922465"/>
              <a:gd name="connsiteY2843" fmla="*/ 549638 h 1934496"/>
              <a:gd name="connsiteX2844" fmla="*/ 2303664 w 9922465"/>
              <a:gd name="connsiteY2844" fmla="*/ 494447 h 1934496"/>
              <a:gd name="connsiteX2845" fmla="*/ 2173372 w 9922465"/>
              <a:gd name="connsiteY2845" fmla="*/ 494447 h 1934496"/>
              <a:gd name="connsiteX2846" fmla="*/ 2228565 w 9922465"/>
              <a:gd name="connsiteY2846" fmla="*/ 549638 h 1934496"/>
              <a:gd name="connsiteX2847" fmla="*/ 2173372 w 9922465"/>
              <a:gd name="connsiteY2847" fmla="*/ 604829 h 1934496"/>
              <a:gd name="connsiteX2848" fmla="*/ 2118180 w 9922465"/>
              <a:gd name="connsiteY2848" fmla="*/ 549638 h 1934496"/>
              <a:gd name="connsiteX2849" fmla="*/ 2173372 w 9922465"/>
              <a:gd name="connsiteY2849" fmla="*/ 494447 h 1934496"/>
              <a:gd name="connsiteX2850" fmla="*/ 2039736 w 9922465"/>
              <a:gd name="connsiteY2850" fmla="*/ 494447 h 1934496"/>
              <a:gd name="connsiteX2851" fmla="*/ 2094930 w 9922465"/>
              <a:gd name="connsiteY2851" fmla="*/ 549638 h 1934496"/>
              <a:gd name="connsiteX2852" fmla="*/ 2039736 w 9922465"/>
              <a:gd name="connsiteY2852" fmla="*/ 604829 h 1934496"/>
              <a:gd name="connsiteX2853" fmla="*/ 1984543 w 9922465"/>
              <a:gd name="connsiteY2853" fmla="*/ 549638 h 1934496"/>
              <a:gd name="connsiteX2854" fmla="*/ 2039736 w 9922465"/>
              <a:gd name="connsiteY2854" fmla="*/ 494447 h 1934496"/>
              <a:gd name="connsiteX2855" fmla="*/ 1909437 w 9922465"/>
              <a:gd name="connsiteY2855" fmla="*/ 494447 h 1934496"/>
              <a:gd name="connsiteX2856" fmla="*/ 1964630 w 9922465"/>
              <a:gd name="connsiteY2856" fmla="*/ 549638 h 1934496"/>
              <a:gd name="connsiteX2857" fmla="*/ 1909437 w 9922465"/>
              <a:gd name="connsiteY2857" fmla="*/ 604829 h 1934496"/>
              <a:gd name="connsiteX2858" fmla="*/ 1854244 w 9922465"/>
              <a:gd name="connsiteY2858" fmla="*/ 549638 h 1934496"/>
              <a:gd name="connsiteX2859" fmla="*/ 1909437 w 9922465"/>
              <a:gd name="connsiteY2859" fmla="*/ 494447 h 1934496"/>
              <a:gd name="connsiteX2860" fmla="*/ 1779142 w 9922465"/>
              <a:gd name="connsiteY2860" fmla="*/ 494447 h 1934496"/>
              <a:gd name="connsiteX2861" fmla="*/ 1834335 w 9922465"/>
              <a:gd name="connsiteY2861" fmla="*/ 549638 h 1934496"/>
              <a:gd name="connsiteX2862" fmla="*/ 1779142 w 9922465"/>
              <a:gd name="connsiteY2862" fmla="*/ 604829 h 1934496"/>
              <a:gd name="connsiteX2863" fmla="*/ 1723950 w 9922465"/>
              <a:gd name="connsiteY2863" fmla="*/ 549638 h 1934496"/>
              <a:gd name="connsiteX2864" fmla="*/ 1779142 w 9922465"/>
              <a:gd name="connsiteY2864" fmla="*/ 494447 h 1934496"/>
              <a:gd name="connsiteX2865" fmla="*/ 1645508 w 9922465"/>
              <a:gd name="connsiteY2865" fmla="*/ 494447 h 1934496"/>
              <a:gd name="connsiteX2866" fmla="*/ 1700702 w 9922465"/>
              <a:gd name="connsiteY2866" fmla="*/ 549638 h 1934496"/>
              <a:gd name="connsiteX2867" fmla="*/ 1645508 w 9922465"/>
              <a:gd name="connsiteY2867" fmla="*/ 604829 h 1934496"/>
              <a:gd name="connsiteX2868" fmla="*/ 1590311 w 9922465"/>
              <a:gd name="connsiteY2868" fmla="*/ 549638 h 1934496"/>
              <a:gd name="connsiteX2869" fmla="*/ 1645508 w 9922465"/>
              <a:gd name="connsiteY2869" fmla="*/ 494447 h 1934496"/>
              <a:gd name="connsiteX2870" fmla="*/ 1515217 w 9922465"/>
              <a:gd name="connsiteY2870" fmla="*/ 494447 h 1934496"/>
              <a:gd name="connsiteX2871" fmla="*/ 1570402 w 9922465"/>
              <a:gd name="connsiteY2871" fmla="*/ 549638 h 1934496"/>
              <a:gd name="connsiteX2872" fmla="*/ 1515217 w 9922465"/>
              <a:gd name="connsiteY2872" fmla="*/ 604829 h 1934496"/>
              <a:gd name="connsiteX2873" fmla="*/ 1460020 w 9922465"/>
              <a:gd name="connsiteY2873" fmla="*/ 549638 h 1934496"/>
              <a:gd name="connsiteX2874" fmla="*/ 1515217 w 9922465"/>
              <a:gd name="connsiteY2874" fmla="*/ 494447 h 1934496"/>
              <a:gd name="connsiteX2875" fmla="*/ 1381573 w 9922465"/>
              <a:gd name="connsiteY2875" fmla="*/ 494447 h 1934496"/>
              <a:gd name="connsiteX2876" fmla="*/ 1436767 w 9922465"/>
              <a:gd name="connsiteY2876" fmla="*/ 549638 h 1934496"/>
              <a:gd name="connsiteX2877" fmla="*/ 1381573 w 9922465"/>
              <a:gd name="connsiteY2877" fmla="*/ 604829 h 1934496"/>
              <a:gd name="connsiteX2878" fmla="*/ 1326384 w 9922465"/>
              <a:gd name="connsiteY2878" fmla="*/ 549638 h 1934496"/>
              <a:gd name="connsiteX2879" fmla="*/ 1381573 w 9922465"/>
              <a:gd name="connsiteY2879" fmla="*/ 494447 h 1934496"/>
              <a:gd name="connsiteX2880" fmla="*/ 1251282 w 9922465"/>
              <a:gd name="connsiteY2880" fmla="*/ 494447 h 1934496"/>
              <a:gd name="connsiteX2881" fmla="*/ 1306476 w 9922465"/>
              <a:gd name="connsiteY2881" fmla="*/ 549638 h 1934496"/>
              <a:gd name="connsiteX2882" fmla="*/ 1251282 w 9922465"/>
              <a:gd name="connsiteY2882" fmla="*/ 604829 h 1934496"/>
              <a:gd name="connsiteX2883" fmla="*/ 1196089 w 9922465"/>
              <a:gd name="connsiteY2883" fmla="*/ 549638 h 1934496"/>
              <a:gd name="connsiteX2884" fmla="*/ 1251282 w 9922465"/>
              <a:gd name="connsiteY2884" fmla="*/ 494447 h 1934496"/>
              <a:gd name="connsiteX2885" fmla="*/ 8801538 w 9922465"/>
              <a:gd name="connsiteY2885" fmla="*/ 364154 h 1934496"/>
              <a:gd name="connsiteX2886" fmla="*/ 8856730 w 9922465"/>
              <a:gd name="connsiteY2886" fmla="*/ 419345 h 1934496"/>
              <a:gd name="connsiteX2887" fmla="*/ 8801538 w 9922465"/>
              <a:gd name="connsiteY2887" fmla="*/ 474536 h 1934496"/>
              <a:gd name="connsiteX2888" fmla="*/ 8746346 w 9922465"/>
              <a:gd name="connsiteY2888" fmla="*/ 419345 h 1934496"/>
              <a:gd name="connsiteX2889" fmla="*/ 8801538 w 9922465"/>
              <a:gd name="connsiteY2889" fmla="*/ 364154 h 1934496"/>
              <a:gd name="connsiteX2890" fmla="*/ 8671244 w 9922465"/>
              <a:gd name="connsiteY2890" fmla="*/ 364154 h 1934496"/>
              <a:gd name="connsiteX2891" fmla="*/ 8726436 w 9922465"/>
              <a:gd name="connsiteY2891" fmla="*/ 419345 h 1934496"/>
              <a:gd name="connsiteX2892" fmla="*/ 8671244 w 9922465"/>
              <a:gd name="connsiteY2892" fmla="*/ 474536 h 1934496"/>
              <a:gd name="connsiteX2893" fmla="*/ 8616052 w 9922465"/>
              <a:gd name="connsiteY2893" fmla="*/ 419345 h 1934496"/>
              <a:gd name="connsiteX2894" fmla="*/ 8671244 w 9922465"/>
              <a:gd name="connsiteY2894" fmla="*/ 364154 h 1934496"/>
              <a:gd name="connsiteX2895" fmla="*/ 8537609 w 9922465"/>
              <a:gd name="connsiteY2895" fmla="*/ 364154 h 1934496"/>
              <a:gd name="connsiteX2896" fmla="*/ 8592801 w 9922465"/>
              <a:gd name="connsiteY2896" fmla="*/ 419345 h 1934496"/>
              <a:gd name="connsiteX2897" fmla="*/ 8537609 w 9922465"/>
              <a:gd name="connsiteY2897" fmla="*/ 474536 h 1934496"/>
              <a:gd name="connsiteX2898" fmla="*/ 8482417 w 9922465"/>
              <a:gd name="connsiteY2898" fmla="*/ 419345 h 1934496"/>
              <a:gd name="connsiteX2899" fmla="*/ 8537609 w 9922465"/>
              <a:gd name="connsiteY2899" fmla="*/ 364154 h 1934496"/>
              <a:gd name="connsiteX2900" fmla="*/ 7745824 w 9922465"/>
              <a:gd name="connsiteY2900" fmla="*/ 364154 h 1934496"/>
              <a:gd name="connsiteX2901" fmla="*/ 7801016 w 9922465"/>
              <a:gd name="connsiteY2901" fmla="*/ 419345 h 1934496"/>
              <a:gd name="connsiteX2902" fmla="*/ 7745824 w 9922465"/>
              <a:gd name="connsiteY2902" fmla="*/ 474536 h 1934496"/>
              <a:gd name="connsiteX2903" fmla="*/ 7690632 w 9922465"/>
              <a:gd name="connsiteY2903" fmla="*/ 419345 h 1934496"/>
              <a:gd name="connsiteX2904" fmla="*/ 7745824 w 9922465"/>
              <a:gd name="connsiteY2904" fmla="*/ 364154 h 1934496"/>
              <a:gd name="connsiteX2905" fmla="*/ 7608850 w 9922465"/>
              <a:gd name="connsiteY2905" fmla="*/ 364154 h 1934496"/>
              <a:gd name="connsiteX2906" fmla="*/ 7664042 w 9922465"/>
              <a:gd name="connsiteY2906" fmla="*/ 419345 h 1934496"/>
              <a:gd name="connsiteX2907" fmla="*/ 7608850 w 9922465"/>
              <a:gd name="connsiteY2907" fmla="*/ 474536 h 1934496"/>
              <a:gd name="connsiteX2908" fmla="*/ 7553658 w 9922465"/>
              <a:gd name="connsiteY2908" fmla="*/ 419345 h 1934496"/>
              <a:gd name="connsiteX2909" fmla="*/ 7608850 w 9922465"/>
              <a:gd name="connsiteY2909" fmla="*/ 364154 h 1934496"/>
              <a:gd name="connsiteX2910" fmla="*/ 7481895 w 9922465"/>
              <a:gd name="connsiteY2910" fmla="*/ 364154 h 1934496"/>
              <a:gd name="connsiteX2911" fmla="*/ 7537087 w 9922465"/>
              <a:gd name="connsiteY2911" fmla="*/ 419345 h 1934496"/>
              <a:gd name="connsiteX2912" fmla="*/ 7481895 w 9922465"/>
              <a:gd name="connsiteY2912" fmla="*/ 474536 h 1934496"/>
              <a:gd name="connsiteX2913" fmla="*/ 7426703 w 9922465"/>
              <a:gd name="connsiteY2913" fmla="*/ 419345 h 1934496"/>
              <a:gd name="connsiteX2914" fmla="*/ 7481895 w 9922465"/>
              <a:gd name="connsiteY2914" fmla="*/ 364154 h 1934496"/>
              <a:gd name="connsiteX2915" fmla="*/ 7341580 w 9922465"/>
              <a:gd name="connsiteY2915" fmla="*/ 364154 h 1934496"/>
              <a:gd name="connsiteX2916" fmla="*/ 7396772 w 9922465"/>
              <a:gd name="connsiteY2916" fmla="*/ 419345 h 1934496"/>
              <a:gd name="connsiteX2917" fmla="*/ 7341580 w 9922465"/>
              <a:gd name="connsiteY2917" fmla="*/ 474536 h 1934496"/>
              <a:gd name="connsiteX2918" fmla="*/ 7286388 w 9922465"/>
              <a:gd name="connsiteY2918" fmla="*/ 419345 h 1934496"/>
              <a:gd name="connsiteX2919" fmla="*/ 7341580 w 9922465"/>
              <a:gd name="connsiteY2919" fmla="*/ 364154 h 1934496"/>
              <a:gd name="connsiteX2920" fmla="*/ 6553137 w 9922465"/>
              <a:gd name="connsiteY2920" fmla="*/ 364154 h 1934496"/>
              <a:gd name="connsiteX2921" fmla="*/ 6608329 w 9922465"/>
              <a:gd name="connsiteY2921" fmla="*/ 419345 h 1934496"/>
              <a:gd name="connsiteX2922" fmla="*/ 6553137 w 9922465"/>
              <a:gd name="connsiteY2922" fmla="*/ 474536 h 1934496"/>
              <a:gd name="connsiteX2923" fmla="*/ 6497945 w 9922465"/>
              <a:gd name="connsiteY2923" fmla="*/ 419345 h 1934496"/>
              <a:gd name="connsiteX2924" fmla="*/ 6553137 w 9922465"/>
              <a:gd name="connsiteY2924" fmla="*/ 364154 h 1934496"/>
              <a:gd name="connsiteX2925" fmla="*/ 6419503 w 9922465"/>
              <a:gd name="connsiteY2925" fmla="*/ 364154 h 1934496"/>
              <a:gd name="connsiteX2926" fmla="*/ 6474695 w 9922465"/>
              <a:gd name="connsiteY2926" fmla="*/ 419345 h 1934496"/>
              <a:gd name="connsiteX2927" fmla="*/ 6419503 w 9922465"/>
              <a:gd name="connsiteY2927" fmla="*/ 474536 h 1934496"/>
              <a:gd name="connsiteX2928" fmla="*/ 6364311 w 9922465"/>
              <a:gd name="connsiteY2928" fmla="*/ 419345 h 1934496"/>
              <a:gd name="connsiteX2929" fmla="*/ 6419503 w 9922465"/>
              <a:gd name="connsiteY2929" fmla="*/ 364154 h 1934496"/>
              <a:gd name="connsiteX2930" fmla="*/ 4030786 w 9922465"/>
              <a:gd name="connsiteY2930" fmla="*/ 364154 h 1934496"/>
              <a:gd name="connsiteX2931" fmla="*/ 4085978 w 9922465"/>
              <a:gd name="connsiteY2931" fmla="*/ 419345 h 1934496"/>
              <a:gd name="connsiteX2932" fmla="*/ 4030786 w 9922465"/>
              <a:gd name="connsiteY2932" fmla="*/ 474536 h 1934496"/>
              <a:gd name="connsiteX2933" fmla="*/ 3975594 w 9922465"/>
              <a:gd name="connsiteY2933" fmla="*/ 419345 h 1934496"/>
              <a:gd name="connsiteX2934" fmla="*/ 4030786 w 9922465"/>
              <a:gd name="connsiteY2934" fmla="*/ 364154 h 1934496"/>
              <a:gd name="connsiteX2935" fmla="*/ 3897148 w 9922465"/>
              <a:gd name="connsiteY2935" fmla="*/ 364154 h 1934496"/>
              <a:gd name="connsiteX2936" fmla="*/ 3952340 w 9922465"/>
              <a:gd name="connsiteY2936" fmla="*/ 419345 h 1934496"/>
              <a:gd name="connsiteX2937" fmla="*/ 3897148 w 9922465"/>
              <a:gd name="connsiteY2937" fmla="*/ 474536 h 1934496"/>
              <a:gd name="connsiteX2938" fmla="*/ 3841956 w 9922465"/>
              <a:gd name="connsiteY2938" fmla="*/ 419345 h 1934496"/>
              <a:gd name="connsiteX2939" fmla="*/ 3897148 w 9922465"/>
              <a:gd name="connsiteY2939" fmla="*/ 364154 h 1934496"/>
              <a:gd name="connsiteX2940" fmla="*/ 3763514 w 9922465"/>
              <a:gd name="connsiteY2940" fmla="*/ 364154 h 1934496"/>
              <a:gd name="connsiteX2941" fmla="*/ 3818706 w 9922465"/>
              <a:gd name="connsiteY2941" fmla="*/ 419345 h 1934496"/>
              <a:gd name="connsiteX2942" fmla="*/ 3763514 w 9922465"/>
              <a:gd name="connsiteY2942" fmla="*/ 474536 h 1934496"/>
              <a:gd name="connsiteX2943" fmla="*/ 3708322 w 9922465"/>
              <a:gd name="connsiteY2943" fmla="*/ 419345 h 1934496"/>
              <a:gd name="connsiteX2944" fmla="*/ 3763514 w 9922465"/>
              <a:gd name="connsiteY2944" fmla="*/ 364154 h 1934496"/>
              <a:gd name="connsiteX2945" fmla="*/ 3633221 w 9922465"/>
              <a:gd name="connsiteY2945" fmla="*/ 364154 h 1934496"/>
              <a:gd name="connsiteX2946" fmla="*/ 3688413 w 9922465"/>
              <a:gd name="connsiteY2946" fmla="*/ 419345 h 1934496"/>
              <a:gd name="connsiteX2947" fmla="*/ 3633221 w 9922465"/>
              <a:gd name="connsiteY2947" fmla="*/ 474536 h 1934496"/>
              <a:gd name="connsiteX2948" fmla="*/ 3578029 w 9922465"/>
              <a:gd name="connsiteY2948" fmla="*/ 419345 h 1934496"/>
              <a:gd name="connsiteX2949" fmla="*/ 3633221 w 9922465"/>
              <a:gd name="connsiteY2949" fmla="*/ 364154 h 1934496"/>
              <a:gd name="connsiteX2950" fmla="*/ 3499589 w 9922465"/>
              <a:gd name="connsiteY2950" fmla="*/ 364154 h 1934496"/>
              <a:gd name="connsiteX2951" fmla="*/ 3554781 w 9922465"/>
              <a:gd name="connsiteY2951" fmla="*/ 419345 h 1934496"/>
              <a:gd name="connsiteX2952" fmla="*/ 3499589 w 9922465"/>
              <a:gd name="connsiteY2952" fmla="*/ 474536 h 1934496"/>
              <a:gd name="connsiteX2953" fmla="*/ 3444397 w 9922465"/>
              <a:gd name="connsiteY2953" fmla="*/ 419345 h 1934496"/>
              <a:gd name="connsiteX2954" fmla="*/ 3499589 w 9922465"/>
              <a:gd name="connsiteY2954" fmla="*/ 364154 h 1934496"/>
              <a:gd name="connsiteX2955" fmla="*/ 3369292 w 9922465"/>
              <a:gd name="connsiteY2955" fmla="*/ 364154 h 1934496"/>
              <a:gd name="connsiteX2956" fmla="*/ 3424484 w 9922465"/>
              <a:gd name="connsiteY2956" fmla="*/ 419345 h 1934496"/>
              <a:gd name="connsiteX2957" fmla="*/ 3369292 w 9922465"/>
              <a:gd name="connsiteY2957" fmla="*/ 474536 h 1934496"/>
              <a:gd name="connsiteX2958" fmla="*/ 3314100 w 9922465"/>
              <a:gd name="connsiteY2958" fmla="*/ 419345 h 1934496"/>
              <a:gd name="connsiteX2959" fmla="*/ 3369292 w 9922465"/>
              <a:gd name="connsiteY2959" fmla="*/ 364154 h 1934496"/>
              <a:gd name="connsiteX2960" fmla="*/ 3235657 w 9922465"/>
              <a:gd name="connsiteY2960" fmla="*/ 364154 h 1934496"/>
              <a:gd name="connsiteX2961" fmla="*/ 3290849 w 9922465"/>
              <a:gd name="connsiteY2961" fmla="*/ 419345 h 1934496"/>
              <a:gd name="connsiteX2962" fmla="*/ 3235657 w 9922465"/>
              <a:gd name="connsiteY2962" fmla="*/ 474536 h 1934496"/>
              <a:gd name="connsiteX2963" fmla="*/ 3180465 w 9922465"/>
              <a:gd name="connsiteY2963" fmla="*/ 419345 h 1934496"/>
              <a:gd name="connsiteX2964" fmla="*/ 3235657 w 9922465"/>
              <a:gd name="connsiteY2964" fmla="*/ 364154 h 1934496"/>
              <a:gd name="connsiteX2965" fmla="*/ 3098681 w 9922465"/>
              <a:gd name="connsiteY2965" fmla="*/ 364154 h 1934496"/>
              <a:gd name="connsiteX2966" fmla="*/ 3153873 w 9922465"/>
              <a:gd name="connsiteY2966" fmla="*/ 419345 h 1934496"/>
              <a:gd name="connsiteX2967" fmla="*/ 3098681 w 9922465"/>
              <a:gd name="connsiteY2967" fmla="*/ 474536 h 1934496"/>
              <a:gd name="connsiteX2968" fmla="*/ 3043489 w 9922465"/>
              <a:gd name="connsiteY2968" fmla="*/ 419345 h 1934496"/>
              <a:gd name="connsiteX2969" fmla="*/ 3098681 w 9922465"/>
              <a:gd name="connsiteY2969" fmla="*/ 364154 h 1934496"/>
              <a:gd name="connsiteX2970" fmla="*/ 2971729 w 9922465"/>
              <a:gd name="connsiteY2970" fmla="*/ 364154 h 1934496"/>
              <a:gd name="connsiteX2971" fmla="*/ 3026921 w 9922465"/>
              <a:gd name="connsiteY2971" fmla="*/ 419345 h 1934496"/>
              <a:gd name="connsiteX2972" fmla="*/ 2971729 w 9922465"/>
              <a:gd name="connsiteY2972" fmla="*/ 474536 h 1934496"/>
              <a:gd name="connsiteX2973" fmla="*/ 2916537 w 9922465"/>
              <a:gd name="connsiteY2973" fmla="*/ 419345 h 1934496"/>
              <a:gd name="connsiteX2974" fmla="*/ 2971729 w 9922465"/>
              <a:gd name="connsiteY2974" fmla="*/ 364154 h 1934496"/>
              <a:gd name="connsiteX2975" fmla="*/ 2834862 w 9922465"/>
              <a:gd name="connsiteY2975" fmla="*/ 364154 h 1934496"/>
              <a:gd name="connsiteX2976" fmla="*/ 2890052 w 9922465"/>
              <a:gd name="connsiteY2976" fmla="*/ 419345 h 1934496"/>
              <a:gd name="connsiteX2977" fmla="*/ 2834862 w 9922465"/>
              <a:gd name="connsiteY2977" fmla="*/ 474536 h 1934496"/>
              <a:gd name="connsiteX2978" fmla="*/ 2779671 w 9922465"/>
              <a:gd name="connsiteY2978" fmla="*/ 419345 h 1934496"/>
              <a:gd name="connsiteX2979" fmla="*/ 2834862 w 9922465"/>
              <a:gd name="connsiteY2979" fmla="*/ 364154 h 1934496"/>
              <a:gd name="connsiteX2980" fmla="*/ 2437297 w 9922465"/>
              <a:gd name="connsiteY2980" fmla="*/ 364154 h 1934496"/>
              <a:gd name="connsiteX2981" fmla="*/ 2492487 w 9922465"/>
              <a:gd name="connsiteY2981" fmla="*/ 419345 h 1934496"/>
              <a:gd name="connsiteX2982" fmla="*/ 2437297 w 9922465"/>
              <a:gd name="connsiteY2982" fmla="*/ 474536 h 1934496"/>
              <a:gd name="connsiteX2983" fmla="*/ 2382108 w 9922465"/>
              <a:gd name="connsiteY2983" fmla="*/ 419345 h 1934496"/>
              <a:gd name="connsiteX2984" fmla="*/ 2437297 w 9922465"/>
              <a:gd name="connsiteY2984" fmla="*/ 364154 h 1934496"/>
              <a:gd name="connsiteX2985" fmla="*/ 2303664 w 9922465"/>
              <a:gd name="connsiteY2985" fmla="*/ 364154 h 1934496"/>
              <a:gd name="connsiteX2986" fmla="*/ 2358856 w 9922465"/>
              <a:gd name="connsiteY2986" fmla="*/ 419345 h 1934496"/>
              <a:gd name="connsiteX2987" fmla="*/ 2303664 w 9922465"/>
              <a:gd name="connsiteY2987" fmla="*/ 474536 h 1934496"/>
              <a:gd name="connsiteX2988" fmla="*/ 2248473 w 9922465"/>
              <a:gd name="connsiteY2988" fmla="*/ 419345 h 1934496"/>
              <a:gd name="connsiteX2989" fmla="*/ 2303664 w 9922465"/>
              <a:gd name="connsiteY2989" fmla="*/ 364154 h 1934496"/>
              <a:gd name="connsiteX2990" fmla="*/ 2173372 w 9922465"/>
              <a:gd name="connsiteY2990" fmla="*/ 364154 h 1934496"/>
              <a:gd name="connsiteX2991" fmla="*/ 2228565 w 9922465"/>
              <a:gd name="connsiteY2991" fmla="*/ 419345 h 1934496"/>
              <a:gd name="connsiteX2992" fmla="*/ 2173372 w 9922465"/>
              <a:gd name="connsiteY2992" fmla="*/ 474536 h 1934496"/>
              <a:gd name="connsiteX2993" fmla="*/ 2118180 w 9922465"/>
              <a:gd name="connsiteY2993" fmla="*/ 419345 h 1934496"/>
              <a:gd name="connsiteX2994" fmla="*/ 2173372 w 9922465"/>
              <a:gd name="connsiteY2994" fmla="*/ 364154 h 1934496"/>
              <a:gd name="connsiteX2995" fmla="*/ 2039736 w 9922465"/>
              <a:gd name="connsiteY2995" fmla="*/ 364154 h 1934496"/>
              <a:gd name="connsiteX2996" fmla="*/ 2094930 w 9922465"/>
              <a:gd name="connsiteY2996" fmla="*/ 419345 h 1934496"/>
              <a:gd name="connsiteX2997" fmla="*/ 2039736 w 9922465"/>
              <a:gd name="connsiteY2997" fmla="*/ 474536 h 1934496"/>
              <a:gd name="connsiteX2998" fmla="*/ 1984543 w 9922465"/>
              <a:gd name="connsiteY2998" fmla="*/ 419345 h 1934496"/>
              <a:gd name="connsiteX2999" fmla="*/ 2039736 w 9922465"/>
              <a:gd name="connsiteY2999" fmla="*/ 364154 h 1934496"/>
              <a:gd name="connsiteX3000" fmla="*/ 1909440 w 9922465"/>
              <a:gd name="connsiteY3000" fmla="*/ 364154 h 1934496"/>
              <a:gd name="connsiteX3001" fmla="*/ 1964634 w 9922465"/>
              <a:gd name="connsiteY3001" fmla="*/ 419345 h 1934496"/>
              <a:gd name="connsiteX3002" fmla="*/ 1909440 w 9922465"/>
              <a:gd name="connsiteY3002" fmla="*/ 474536 h 1934496"/>
              <a:gd name="connsiteX3003" fmla="*/ 1854246 w 9922465"/>
              <a:gd name="connsiteY3003" fmla="*/ 419345 h 1934496"/>
              <a:gd name="connsiteX3004" fmla="*/ 1909440 w 9922465"/>
              <a:gd name="connsiteY3004" fmla="*/ 364154 h 1934496"/>
              <a:gd name="connsiteX3005" fmla="*/ 1779142 w 9922465"/>
              <a:gd name="connsiteY3005" fmla="*/ 364154 h 1934496"/>
              <a:gd name="connsiteX3006" fmla="*/ 1834337 w 9922465"/>
              <a:gd name="connsiteY3006" fmla="*/ 419345 h 1934496"/>
              <a:gd name="connsiteX3007" fmla="*/ 1779142 w 9922465"/>
              <a:gd name="connsiteY3007" fmla="*/ 474536 h 1934496"/>
              <a:gd name="connsiteX3008" fmla="*/ 1723951 w 9922465"/>
              <a:gd name="connsiteY3008" fmla="*/ 419345 h 1934496"/>
              <a:gd name="connsiteX3009" fmla="*/ 1779142 w 9922465"/>
              <a:gd name="connsiteY3009" fmla="*/ 364154 h 1934496"/>
              <a:gd name="connsiteX3010" fmla="*/ 1645508 w 9922465"/>
              <a:gd name="connsiteY3010" fmla="*/ 364154 h 1934496"/>
              <a:gd name="connsiteX3011" fmla="*/ 1700702 w 9922465"/>
              <a:gd name="connsiteY3011" fmla="*/ 419345 h 1934496"/>
              <a:gd name="connsiteX3012" fmla="*/ 1645508 w 9922465"/>
              <a:gd name="connsiteY3012" fmla="*/ 474536 h 1934496"/>
              <a:gd name="connsiteX3013" fmla="*/ 1590313 w 9922465"/>
              <a:gd name="connsiteY3013" fmla="*/ 419345 h 1934496"/>
              <a:gd name="connsiteX3014" fmla="*/ 1645508 w 9922465"/>
              <a:gd name="connsiteY3014" fmla="*/ 364154 h 1934496"/>
              <a:gd name="connsiteX3015" fmla="*/ 1515217 w 9922465"/>
              <a:gd name="connsiteY3015" fmla="*/ 364154 h 1934496"/>
              <a:gd name="connsiteX3016" fmla="*/ 1570405 w 9922465"/>
              <a:gd name="connsiteY3016" fmla="*/ 419345 h 1934496"/>
              <a:gd name="connsiteX3017" fmla="*/ 1515217 w 9922465"/>
              <a:gd name="connsiteY3017" fmla="*/ 474536 h 1934496"/>
              <a:gd name="connsiteX3018" fmla="*/ 1460020 w 9922465"/>
              <a:gd name="connsiteY3018" fmla="*/ 419345 h 1934496"/>
              <a:gd name="connsiteX3019" fmla="*/ 1515217 w 9922465"/>
              <a:gd name="connsiteY3019" fmla="*/ 364154 h 1934496"/>
              <a:gd name="connsiteX3020" fmla="*/ 1381573 w 9922465"/>
              <a:gd name="connsiteY3020" fmla="*/ 364154 h 1934496"/>
              <a:gd name="connsiteX3021" fmla="*/ 1436767 w 9922465"/>
              <a:gd name="connsiteY3021" fmla="*/ 419345 h 1934496"/>
              <a:gd name="connsiteX3022" fmla="*/ 1381573 w 9922465"/>
              <a:gd name="connsiteY3022" fmla="*/ 474536 h 1934496"/>
              <a:gd name="connsiteX3023" fmla="*/ 1326384 w 9922465"/>
              <a:gd name="connsiteY3023" fmla="*/ 419345 h 1934496"/>
              <a:gd name="connsiteX3024" fmla="*/ 1381573 w 9922465"/>
              <a:gd name="connsiteY3024" fmla="*/ 364154 h 1934496"/>
              <a:gd name="connsiteX3025" fmla="*/ 1251283 w 9922465"/>
              <a:gd name="connsiteY3025" fmla="*/ 364154 h 1934496"/>
              <a:gd name="connsiteX3026" fmla="*/ 1306476 w 9922465"/>
              <a:gd name="connsiteY3026" fmla="*/ 419345 h 1934496"/>
              <a:gd name="connsiteX3027" fmla="*/ 1251283 w 9922465"/>
              <a:gd name="connsiteY3027" fmla="*/ 474536 h 1934496"/>
              <a:gd name="connsiteX3028" fmla="*/ 1196091 w 9922465"/>
              <a:gd name="connsiteY3028" fmla="*/ 419345 h 1934496"/>
              <a:gd name="connsiteX3029" fmla="*/ 1251283 w 9922465"/>
              <a:gd name="connsiteY3029" fmla="*/ 364154 h 1934496"/>
              <a:gd name="connsiteX3030" fmla="*/ 7608850 w 9922465"/>
              <a:gd name="connsiteY3030" fmla="*/ 247225 h 1934496"/>
              <a:gd name="connsiteX3031" fmla="*/ 7664042 w 9922465"/>
              <a:gd name="connsiteY3031" fmla="*/ 302416 h 1934496"/>
              <a:gd name="connsiteX3032" fmla="*/ 7608850 w 9922465"/>
              <a:gd name="connsiteY3032" fmla="*/ 357607 h 1934496"/>
              <a:gd name="connsiteX3033" fmla="*/ 7553658 w 9922465"/>
              <a:gd name="connsiteY3033" fmla="*/ 302416 h 1934496"/>
              <a:gd name="connsiteX3034" fmla="*/ 7608850 w 9922465"/>
              <a:gd name="connsiteY3034" fmla="*/ 247225 h 1934496"/>
              <a:gd name="connsiteX3035" fmla="*/ 7481898 w 9922465"/>
              <a:gd name="connsiteY3035" fmla="*/ 247225 h 1934496"/>
              <a:gd name="connsiteX3036" fmla="*/ 7537090 w 9922465"/>
              <a:gd name="connsiteY3036" fmla="*/ 302416 h 1934496"/>
              <a:gd name="connsiteX3037" fmla="*/ 7481898 w 9922465"/>
              <a:gd name="connsiteY3037" fmla="*/ 357607 h 1934496"/>
              <a:gd name="connsiteX3038" fmla="*/ 7426706 w 9922465"/>
              <a:gd name="connsiteY3038" fmla="*/ 302416 h 1934496"/>
              <a:gd name="connsiteX3039" fmla="*/ 7481898 w 9922465"/>
              <a:gd name="connsiteY3039" fmla="*/ 247225 h 1934496"/>
              <a:gd name="connsiteX3040" fmla="*/ 5093178 w 9922465"/>
              <a:gd name="connsiteY3040" fmla="*/ 247225 h 1934496"/>
              <a:gd name="connsiteX3041" fmla="*/ 5148370 w 9922465"/>
              <a:gd name="connsiteY3041" fmla="*/ 302416 h 1934496"/>
              <a:gd name="connsiteX3042" fmla="*/ 5093178 w 9922465"/>
              <a:gd name="connsiteY3042" fmla="*/ 357607 h 1934496"/>
              <a:gd name="connsiteX3043" fmla="*/ 5037986 w 9922465"/>
              <a:gd name="connsiteY3043" fmla="*/ 302416 h 1934496"/>
              <a:gd name="connsiteX3044" fmla="*/ 5093178 w 9922465"/>
              <a:gd name="connsiteY3044" fmla="*/ 247225 h 1934496"/>
              <a:gd name="connsiteX3045" fmla="*/ 4030786 w 9922465"/>
              <a:gd name="connsiteY3045" fmla="*/ 247225 h 1934496"/>
              <a:gd name="connsiteX3046" fmla="*/ 4085978 w 9922465"/>
              <a:gd name="connsiteY3046" fmla="*/ 302416 h 1934496"/>
              <a:gd name="connsiteX3047" fmla="*/ 4030786 w 9922465"/>
              <a:gd name="connsiteY3047" fmla="*/ 357607 h 1934496"/>
              <a:gd name="connsiteX3048" fmla="*/ 3975594 w 9922465"/>
              <a:gd name="connsiteY3048" fmla="*/ 302416 h 1934496"/>
              <a:gd name="connsiteX3049" fmla="*/ 4030786 w 9922465"/>
              <a:gd name="connsiteY3049" fmla="*/ 247225 h 1934496"/>
              <a:gd name="connsiteX3050" fmla="*/ 3897148 w 9922465"/>
              <a:gd name="connsiteY3050" fmla="*/ 247225 h 1934496"/>
              <a:gd name="connsiteX3051" fmla="*/ 3952340 w 9922465"/>
              <a:gd name="connsiteY3051" fmla="*/ 302416 h 1934496"/>
              <a:gd name="connsiteX3052" fmla="*/ 3897148 w 9922465"/>
              <a:gd name="connsiteY3052" fmla="*/ 357607 h 1934496"/>
              <a:gd name="connsiteX3053" fmla="*/ 3841956 w 9922465"/>
              <a:gd name="connsiteY3053" fmla="*/ 302416 h 1934496"/>
              <a:gd name="connsiteX3054" fmla="*/ 3897148 w 9922465"/>
              <a:gd name="connsiteY3054" fmla="*/ 247225 h 1934496"/>
              <a:gd name="connsiteX3055" fmla="*/ 3763514 w 9922465"/>
              <a:gd name="connsiteY3055" fmla="*/ 247225 h 1934496"/>
              <a:gd name="connsiteX3056" fmla="*/ 3818706 w 9922465"/>
              <a:gd name="connsiteY3056" fmla="*/ 302416 h 1934496"/>
              <a:gd name="connsiteX3057" fmla="*/ 3763514 w 9922465"/>
              <a:gd name="connsiteY3057" fmla="*/ 357607 h 1934496"/>
              <a:gd name="connsiteX3058" fmla="*/ 3708322 w 9922465"/>
              <a:gd name="connsiteY3058" fmla="*/ 302416 h 1934496"/>
              <a:gd name="connsiteX3059" fmla="*/ 3763514 w 9922465"/>
              <a:gd name="connsiteY3059" fmla="*/ 247225 h 1934496"/>
              <a:gd name="connsiteX3060" fmla="*/ 3633221 w 9922465"/>
              <a:gd name="connsiteY3060" fmla="*/ 247225 h 1934496"/>
              <a:gd name="connsiteX3061" fmla="*/ 3688413 w 9922465"/>
              <a:gd name="connsiteY3061" fmla="*/ 302416 h 1934496"/>
              <a:gd name="connsiteX3062" fmla="*/ 3633221 w 9922465"/>
              <a:gd name="connsiteY3062" fmla="*/ 357607 h 1934496"/>
              <a:gd name="connsiteX3063" fmla="*/ 3578029 w 9922465"/>
              <a:gd name="connsiteY3063" fmla="*/ 302416 h 1934496"/>
              <a:gd name="connsiteX3064" fmla="*/ 3633221 w 9922465"/>
              <a:gd name="connsiteY3064" fmla="*/ 247225 h 1934496"/>
              <a:gd name="connsiteX3065" fmla="*/ 3499589 w 9922465"/>
              <a:gd name="connsiteY3065" fmla="*/ 247225 h 1934496"/>
              <a:gd name="connsiteX3066" fmla="*/ 3554781 w 9922465"/>
              <a:gd name="connsiteY3066" fmla="*/ 302416 h 1934496"/>
              <a:gd name="connsiteX3067" fmla="*/ 3499589 w 9922465"/>
              <a:gd name="connsiteY3067" fmla="*/ 357607 h 1934496"/>
              <a:gd name="connsiteX3068" fmla="*/ 3444397 w 9922465"/>
              <a:gd name="connsiteY3068" fmla="*/ 302416 h 1934496"/>
              <a:gd name="connsiteX3069" fmla="*/ 3499589 w 9922465"/>
              <a:gd name="connsiteY3069" fmla="*/ 247225 h 1934496"/>
              <a:gd name="connsiteX3070" fmla="*/ 3369293 w 9922465"/>
              <a:gd name="connsiteY3070" fmla="*/ 247225 h 1934496"/>
              <a:gd name="connsiteX3071" fmla="*/ 3424485 w 9922465"/>
              <a:gd name="connsiteY3071" fmla="*/ 302416 h 1934496"/>
              <a:gd name="connsiteX3072" fmla="*/ 3369293 w 9922465"/>
              <a:gd name="connsiteY3072" fmla="*/ 357607 h 1934496"/>
              <a:gd name="connsiteX3073" fmla="*/ 3314101 w 9922465"/>
              <a:gd name="connsiteY3073" fmla="*/ 302416 h 1934496"/>
              <a:gd name="connsiteX3074" fmla="*/ 3369293 w 9922465"/>
              <a:gd name="connsiteY3074" fmla="*/ 247225 h 1934496"/>
              <a:gd name="connsiteX3075" fmla="*/ 3235657 w 9922465"/>
              <a:gd name="connsiteY3075" fmla="*/ 247225 h 1934496"/>
              <a:gd name="connsiteX3076" fmla="*/ 3290849 w 9922465"/>
              <a:gd name="connsiteY3076" fmla="*/ 302416 h 1934496"/>
              <a:gd name="connsiteX3077" fmla="*/ 3235657 w 9922465"/>
              <a:gd name="connsiteY3077" fmla="*/ 357607 h 1934496"/>
              <a:gd name="connsiteX3078" fmla="*/ 3180465 w 9922465"/>
              <a:gd name="connsiteY3078" fmla="*/ 302416 h 1934496"/>
              <a:gd name="connsiteX3079" fmla="*/ 3235657 w 9922465"/>
              <a:gd name="connsiteY3079" fmla="*/ 247225 h 1934496"/>
              <a:gd name="connsiteX3080" fmla="*/ 3098682 w 9922465"/>
              <a:gd name="connsiteY3080" fmla="*/ 247225 h 1934496"/>
              <a:gd name="connsiteX3081" fmla="*/ 3153874 w 9922465"/>
              <a:gd name="connsiteY3081" fmla="*/ 302416 h 1934496"/>
              <a:gd name="connsiteX3082" fmla="*/ 3098682 w 9922465"/>
              <a:gd name="connsiteY3082" fmla="*/ 357607 h 1934496"/>
              <a:gd name="connsiteX3083" fmla="*/ 3043490 w 9922465"/>
              <a:gd name="connsiteY3083" fmla="*/ 302416 h 1934496"/>
              <a:gd name="connsiteX3084" fmla="*/ 3098682 w 9922465"/>
              <a:gd name="connsiteY3084" fmla="*/ 247225 h 1934496"/>
              <a:gd name="connsiteX3085" fmla="*/ 2971729 w 9922465"/>
              <a:gd name="connsiteY3085" fmla="*/ 247225 h 1934496"/>
              <a:gd name="connsiteX3086" fmla="*/ 3026921 w 9922465"/>
              <a:gd name="connsiteY3086" fmla="*/ 302416 h 1934496"/>
              <a:gd name="connsiteX3087" fmla="*/ 2971729 w 9922465"/>
              <a:gd name="connsiteY3087" fmla="*/ 357607 h 1934496"/>
              <a:gd name="connsiteX3088" fmla="*/ 2916537 w 9922465"/>
              <a:gd name="connsiteY3088" fmla="*/ 302416 h 1934496"/>
              <a:gd name="connsiteX3089" fmla="*/ 2971729 w 9922465"/>
              <a:gd name="connsiteY3089" fmla="*/ 247225 h 1934496"/>
              <a:gd name="connsiteX3090" fmla="*/ 2834862 w 9922465"/>
              <a:gd name="connsiteY3090" fmla="*/ 247225 h 1934496"/>
              <a:gd name="connsiteX3091" fmla="*/ 2890052 w 9922465"/>
              <a:gd name="connsiteY3091" fmla="*/ 302416 h 1934496"/>
              <a:gd name="connsiteX3092" fmla="*/ 2834862 w 9922465"/>
              <a:gd name="connsiteY3092" fmla="*/ 357607 h 1934496"/>
              <a:gd name="connsiteX3093" fmla="*/ 2779671 w 9922465"/>
              <a:gd name="connsiteY3093" fmla="*/ 302416 h 1934496"/>
              <a:gd name="connsiteX3094" fmla="*/ 2834862 w 9922465"/>
              <a:gd name="connsiteY3094" fmla="*/ 247225 h 1934496"/>
              <a:gd name="connsiteX3095" fmla="*/ 2570933 w 9922465"/>
              <a:gd name="connsiteY3095" fmla="*/ 247225 h 1934496"/>
              <a:gd name="connsiteX3096" fmla="*/ 2626123 w 9922465"/>
              <a:gd name="connsiteY3096" fmla="*/ 302416 h 1934496"/>
              <a:gd name="connsiteX3097" fmla="*/ 2570933 w 9922465"/>
              <a:gd name="connsiteY3097" fmla="*/ 357607 h 1934496"/>
              <a:gd name="connsiteX3098" fmla="*/ 2515738 w 9922465"/>
              <a:gd name="connsiteY3098" fmla="*/ 302416 h 1934496"/>
              <a:gd name="connsiteX3099" fmla="*/ 2570933 w 9922465"/>
              <a:gd name="connsiteY3099" fmla="*/ 247225 h 1934496"/>
              <a:gd name="connsiteX3100" fmla="*/ 2437297 w 9922465"/>
              <a:gd name="connsiteY3100" fmla="*/ 247225 h 1934496"/>
              <a:gd name="connsiteX3101" fmla="*/ 2492487 w 9922465"/>
              <a:gd name="connsiteY3101" fmla="*/ 302416 h 1934496"/>
              <a:gd name="connsiteX3102" fmla="*/ 2437297 w 9922465"/>
              <a:gd name="connsiteY3102" fmla="*/ 357607 h 1934496"/>
              <a:gd name="connsiteX3103" fmla="*/ 2382108 w 9922465"/>
              <a:gd name="connsiteY3103" fmla="*/ 302416 h 1934496"/>
              <a:gd name="connsiteX3104" fmla="*/ 2437297 w 9922465"/>
              <a:gd name="connsiteY3104" fmla="*/ 247225 h 1934496"/>
              <a:gd name="connsiteX3105" fmla="*/ 2303666 w 9922465"/>
              <a:gd name="connsiteY3105" fmla="*/ 247225 h 1934496"/>
              <a:gd name="connsiteX3106" fmla="*/ 2358856 w 9922465"/>
              <a:gd name="connsiteY3106" fmla="*/ 302416 h 1934496"/>
              <a:gd name="connsiteX3107" fmla="*/ 2303666 w 9922465"/>
              <a:gd name="connsiteY3107" fmla="*/ 357607 h 1934496"/>
              <a:gd name="connsiteX3108" fmla="*/ 2248473 w 9922465"/>
              <a:gd name="connsiteY3108" fmla="*/ 302416 h 1934496"/>
              <a:gd name="connsiteX3109" fmla="*/ 2303666 w 9922465"/>
              <a:gd name="connsiteY3109" fmla="*/ 247225 h 1934496"/>
              <a:gd name="connsiteX3110" fmla="*/ 2173372 w 9922465"/>
              <a:gd name="connsiteY3110" fmla="*/ 247225 h 1934496"/>
              <a:gd name="connsiteX3111" fmla="*/ 2228566 w 9922465"/>
              <a:gd name="connsiteY3111" fmla="*/ 302416 h 1934496"/>
              <a:gd name="connsiteX3112" fmla="*/ 2173372 w 9922465"/>
              <a:gd name="connsiteY3112" fmla="*/ 357607 h 1934496"/>
              <a:gd name="connsiteX3113" fmla="*/ 2118180 w 9922465"/>
              <a:gd name="connsiteY3113" fmla="*/ 302416 h 1934496"/>
              <a:gd name="connsiteX3114" fmla="*/ 2173372 w 9922465"/>
              <a:gd name="connsiteY3114" fmla="*/ 247225 h 1934496"/>
              <a:gd name="connsiteX3115" fmla="*/ 1909440 w 9922465"/>
              <a:gd name="connsiteY3115" fmla="*/ 247225 h 1934496"/>
              <a:gd name="connsiteX3116" fmla="*/ 1964634 w 9922465"/>
              <a:gd name="connsiteY3116" fmla="*/ 302416 h 1934496"/>
              <a:gd name="connsiteX3117" fmla="*/ 1909440 w 9922465"/>
              <a:gd name="connsiteY3117" fmla="*/ 357607 h 1934496"/>
              <a:gd name="connsiteX3118" fmla="*/ 1854246 w 9922465"/>
              <a:gd name="connsiteY3118" fmla="*/ 302416 h 1934496"/>
              <a:gd name="connsiteX3119" fmla="*/ 1909440 w 9922465"/>
              <a:gd name="connsiteY3119" fmla="*/ 247225 h 1934496"/>
              <a:gd name="connsiteX3120" fmla="*/ 1779142 w 9922465"/>
              <a:gd name="connsiteY3120" fmla="*/ 247225 h 1934496"/>
              <a:gd name="connsiteX3121" fmla="*/ 1834337 w 9922465"/>
              <a:gd name="connsiteY3121" fmla="*/ 302416 h 1934496"/>
              <a:gd name="connsiteX3122" fmla="*/ 1779142 w 9922465"/>
              <a:gd name="connsiteY3122" fmla="*/ 357607 h 1934496"/>
              <a:gd name="connsiteX3123" fmla="*/ 1723951 w 9922465"/>
              <a:gd name="connsiteY3123" fmla="*/ 302416 h 1934496"/>
              <a:gd name="connsiteX3124" fmla="*/ 1779142 w 9922465"/>
              <a:gd name="connsiteY3124" fmla="*/ 247225 h 1934496"/>
              <a:gd name="connsiteX3125" fmla="*/ 1645508 w 9922465"/>
              <a:gd name="connsiteY3125" fmla="*/ 247225 h 1934496"/>
              <a:gd name="connsiteX3126" fmla="*/ 1700702 w 9922465"/>
              <a:gd name="connsiteY3126" fmla="*/ 302416 h 1934496"/>
              <a:gd name="connsiteX3127" fmla="*/ 1645508 w 9922465"/>
              <a:gd name="connsiteY3127" fmla="*/ 357607 h 1934496"/>
              <a:gd name="connsiteX3128" fmla="*/ 1590313 w 9922465"/>
              <a:gd name="connsiteY3128" fmla="*/ 302416 h 1934496"/>
              <a:gd name="connsiteX3129" fmla="*/ 1645508 w 9922465"/>
              <a:gd name="connsiteY3129" fmla="*/ 247225 h 1934496"/>
              <a:gd name="connsiteX3130" fmla="*/ 1515217 w 9922465"/>
              <a:gd name="connsiteY3130" fmla="*/ 247225 h 1934496"/>
              <a:gd name="connsiteX3131" fmla="*/ 1570405 w 9922465"/>
              <a:gd name="connsiteY3131" fmla="*/ 302416 h 1934496"/>
              <a:gd name="connsiteX3132" fmla="*/ 1515217 w 9922465"/>
              <a:gd name="connsiteY3132" fmla="*/ 357607 h 1934496"/>
              <a:gd name="connsiteX3133" fmla="*/ 1460020 w 9922465"/>
              <a:gd name="connsiteY3133" fmla="*/ 302416 h 1934496"/>
              <a:gd name="connsiteX3134" fmla="*/ 1515217 w 9922465"/>
              <a:gd name="connsiteY3134" fmla="*/ 247225 h 1934496"/>
              <a:gd name="connsiteX3135" fmla="*/ 1381573 w 9922465"/>
              <a:gd name="connsiteY3135" fmla="*/ 247225 h 1934496"/>
              <a:gd name="connsiteX3136" fmla="*/ 1436767 w 9922465"/>
              <a:gd name="connsiteY3136" fmla="*/ 302416 h 1934496"/>
              <a:gd name="connsiteX3137" fmla="*/ 1381573 w 9922465"/>
              <a:gd name="connsiteY3137" fmla="*/ 357607 h 1934496"/>
              <a:gd name="connsiteX3138" fmla="*/ 1326384 w 9922465"/>
              <a:gd name="connsiteY3138" fmla="*/ 302416 h 1934496"/>
              <a:gd name="connsiteX3139" fmla="*/ 1381573 w 9922465"/>
              <a:gd name="connsiteY3139" fmla="*/ 247225 h 1934496"/>
              <a:gd name="connsiteX3140" fmla="*/ 7481898 w 9922465"/>
              <a:gd name="connsiteY3140" fmla="*/ 120271 h 1934496"/>
              <a:gd name="connsiteX3141" fmla="*/ 7537090 w 9922465"/>
              <a:gd name="connsiteY3141" fmla="*/ 175462 h 1934496"/>
              <a:gd name="connsiteX3142" fmla="*/ 7481898 w 9922465"/>
              <a:gd name="connsiteY3142" fmla="*/ 230653 h 1934496"/>
              <a:gd name="connsiteX3143" fmla="*/ 7426706 w 9922465"/>
              <a:gd name="connsiteY3143" fmla="*/ 175462 h 1934496"/>
              <a:gd name="connsiteX3144" fmla="*/ 7481898 w 9922465"/>
              <a:gd name="connsiteY3144" fmla="*/ 120271 h 1934496"/>
              <a:gd name="connsiteX3145" fmla="*/ 7341580 w 9922465"/>
              <a:gd name="connsiteY3145" fmla="*/ 120271 h 1934496"/>
              <a:gd name="connsiteX3146" fmla="*/ 7396772 w 9922465"/>
              <a:gd name="connsiteY3146" fmla="*/ 175462 h 1934496"/>
              <a:gd name="connsiteX3147" fmla="*/ 7341580 w 9922465"/>
              <a:gd name="connsiteY3147" fmla="*/ 230653 h 1934496"/>
              <a:gd name="connsiteX3148" fmla="*/ 7286388 w 9922465"/>
              <a:gd name="connsiteY3148" fmla="*/ 175462 h 1934496"/>
              <a:gd name="connsiteX3149" fmla="*/ 7341580 w 9922465"/>
              <a:gd name="connsiteY3149" fmla="*/ 120271 h 1934496"/>
              <a:gd name="connsiteX3150" fmla="*/ 7211288 w 9922465"/>
              <a:gd name="connsiteY3150" fmla="*/ 120271 h 1934496"/>
              <a:gd name="connsiteX3151" fmla="*/ 7266480 w 9922465"/>
              <a:gd name="connsiteY3151" fmla="*/ 175462 h 1934496"/>
              <a:gd name="connsiteX3152" fmla="*/ 7211288 w 9922465"/>
              <a:gd name="connsiteY3152" fmla="*/ 230653 h 1934496"/>
              <a:gd name="connsiteX3153" fmla="*/ 7156096 w 9922465"/>
              <a:gd name="connsiteY3153" fmla="*/ 175462 h 1934496"/>
              <a:gd name="connsiteX3154" fmla="*/ 7211288 w 9922465"/>
              <a:gd name="connsiteY3154" fmla="*/ 120271 h 1934496"/>
              <a:gd name="connsiteX3155" fmla="*/ 5223474 w 9922465"/>
              <a:gd name="connsiteY3155" fmla="*/ 120271 h 1934496"/>
              <a:gd name="connsiteX3156" fmla="*/ 5278666 w 9922465"/>
              <a:gd name="connsiteY3156" fmla="*/ 175462 h 1934496"/>
              <a:gd name="connsiteX3157" fmla="*/ 5223474 w 9922465"/>
              <a:gd name="connsiteY3157" fmla="*/ 230653 h 1934496"/>
              <a:gd name="connsiteX3158" fmla="*/ 5168282 w 9922465"/>
              <a:gd name="connsiteY3158" fmla="*/ 175462 h 1934496"/>
              <a:gd name="connsiteX3159" fmla="*/ 5223474 w 9922465"/>
              <a:gd name="connsiteY3159" fmla="*/ 120271 h 1934496"/>
              <a:gd name="connsiteX3160" fmla="*/ 5093178 w 9922465"/>
              <a:gd name="connsiteY3160" fmla="*/ 120271 h 1934496"/>
              <a:gd name="connsiteX3161" fmla="*/ 5148370 w 9922465"/>
              <a:gd name="connsiteY3161" fmla="*/ 175462 h 1934496"/>
              <a:gd name="connsiteX3162" fmla="*/ 5093178 w 9922465"/>
              <a:gd name="connsiteY3162" fmla="*/ 230653 h 1934496"/>
              <a:gd name="connsiteX3163" fmla="*/ 5037986 w 9922465"/>
              <a:gd name="connsiteY3163" fmla="*/ 175462 h 1934496"/>
              <a:gd name="connsiteX3164" fmla="*/ 5093178 w 9922465"/>
              <a:gd name="connsiteY3164" fmla="*/ 120271 h 1934496"/>
              <a:gd name="connsiteX3165" fmla="*/ 4161077 w 9922465"/>
              <a:gd name="connsiteY3165" fmla="*/ 120271 h 1934496"/>
              <a:gd name="connsiteX3166" fmla="*/ 4216269 w 9922465"/>
              <a:gd name="connsiteY3166" fmla="*/ 175462 h 1934496"/>
              <a:gd name="connsiteX3167" fmla="*/ 4161077 w 9922465"/>
              <a:gd name="connsiteY3167" fmla="*/ 230653 h 1934496"/>
              <a:gd name="connsiteX3168" fmla="*/ 4105885 w 9922465"/>
              <a:gd name="connsiteY3168" fmla="*/ 175462 h 1934496"/>
              <a:gd name="connsiteX3169" fmla="*/ 4161077 w 9922465"/>
              <a:gd name="connsiteY3169" fmla="*/ 120271 h 1934496"/>
              <a:gd name="connsiteX3170" fmla="*/ 4030786 w 9922465"/>
              <a:gd name="connsiteY3170" fmla="*/ 120271 h 1934496"/>
              <a:gd name="connsiteX3171" fmla="*/ 4085978 w 9922465"/>
              <a:gd name="connsiteY3171" fmla="*/ 175462 h 1934496"/>
              <a:gd name="connsiteX3172" fmla="*/ 4030786 w 9922465"/>
              <a:gd name="connsiteY3172" fmla="*/ 230653 h 1934496"/>
              <a:gd name="connsiteX3173" fmla="*/ 3975594 w 9922465"/>
              <a:gd name="connsiteY3173" fmla="*/ 175462 h 1934496"/>
              <a:gd name="connsiteX3174" fmla="*/ 4030786 w 9922465"/>
              <a:gd name="connsiteY3174" fmla="*/ 120271 h 1934496"/>
              <a:gd name="connsiteX3175" fmla="*/ 3897148 w 9922465"/>
              <a:gd name="connsiteY3175" fmla="*/ 120271 h 1934496"/>
              <a:gd name="connsiteX3176" fmla="*/ 3952340 w 9922465"/>
              <a:gd name="connsiteY3176" fmla="*/ 175462 h 1934496"/>
              <a:gd name="connsiteX3177" fmla="*/ 3897148 w 9922465"/>
              <a:gd name="connsiteY3177" fmla="*/ 230653 h 1934496"/>
              <a:gd name="connsiteX3178" fmla="*/ 3841956 w 9922465"/>
              <a:gd name="connsiteY3178" fmla="*/ 175462 h 1934496"/>
              <a:gd name="connsiteX3179" fmla="*/ 3897148 w 9922465"/>
              <a:gd name="connsiteY3179" fmla="*/ 120271 h 1934496"/>
              <a:gd name="connsiteX3180" fmla="*/ 3763514 w 9922465"/>
              <a:gd name="connsiteY3180" fmla="*/ 120271 h 1934496"/>
              <a:gd name="connsiteX3181" fmla="*/ 3818706 w 9922465"/>
              <a:gd name="connsiteY3181" fmla="*/ 175462 h 1934496"/>
              <a:gd name="connsiteX3182" fmla="*/ 3763514 w 9922465"/>
              <a:gd name="connsiteY3182" fmla="*/ 230653 h 1934496"/>
              <a:gd name="connsiteX3183" fmla="*/ 3708322 w 9922465"/>
              <a:gd name="connsiteY3183" fmla="*/ 175462 h 1934496"/>
              <a:gd name="connsiteX3184" fmla="*/ 3763514 w 9922465"/>
              <a:gd name="connsiteY3184" fmla="*/ 120271 h 1934496"/>
              <a:gd name="connsiteX3185" fmla="*/ 3633221 w 9922465"/>
              <a:gd name="connsiteY3185" fmla="*/ 120271 h 1934496"/>
              <a:gd name="connsiteX3186" fmla="*/ 3688413 w 9922465"/>
              <a:gd name="connsiteY3186" fmla="*/ 175462 h 1934496"/>
              <a:gd name="connsiteX3187" fmla="*/ 3633221 w 9922465"/>
              <a:gd name="connsiteY3187" fmla="*/ 230653 h 1934496"/>
              <a:gd name="connsiteX3188" fmla="*/ 3578029 w 9922465"/>
              <a:gd name="connsiteY3188" fmla="*/ 175462 h 1934496"/>
              <a:gd name="connsiteX3189" fmla="*/ 3633221 w 9922465"/>
              <a:gd name="connsiteY3189" fmla="*/ 120271 h 1934496"/>
              <a:gd name="connsiteX3190" fmla="*/ 3499589 w 9922465"/>
              <a:gd name="connsiteY3190" fmla="*/ 120271 h 1934496"/>
              <a:gd name="connsiteX3191" fmla="*/ 3554781 w 9922465"/>
              <a:gd name="connsiteY3191" fmla="*/ 175462 h 1934496"/>
              <a:gd name="connsiteX3192" fmla="*/ 3499589 w 9922465"/>
              <a:gd name="connsiteY3192" fmla="*/ 230653 h 1934496"/>
              <a:gd name="connsiteX3193" fmla="*/ 3444397 w 9922465"/>
              <a:gd name="connsiteY3193" fmla="*/ 175462 h 1934496"/>
              <a:gd name="connsiteX3194" fmla="*/ 3499589 w 9922465"/>
              <a:gd name="connsiteY3194" fmla="*/ 120271 h 1934496"/>
              <a:gd name="connsiteX3195" fmla="*/ 3369293 w 9922465"/>
              <a:gd name="connsiteY3195" fmla="*/ 120271 h 1934496"/>
              <a:gd name="connsiteX3196" fmla="*/ 3424485 w 9922465"/>
              <a:gd name="connsiteY3196" fmla="*/ 175462 h 1934496"/>
              <a:gd name="connsiteX3197" fmla="*/ 3369293 w 9922465"/>
              <a:gd name="connsiteY3197" fmla="*/ 230653 h 1934496"/>
              <a:gd name="connsiteX3198" fmla="*/ 3314101 w 9922465"/>
              <a:gd name="connsiteY3198" fmla="*/ 175462 h 1934496"/>
              <a:gd name="connsiteX3199" fmla="*/ 3369293 w 9922465"/>
              <a:gd name="connsiteY3199" fmla="*/ 120271 h 1934496"/>
              <a:gd name="connsiteX3200" fmla="*/ 3235657 w 9922465"/>
              <a:gd name="connsiteY3200" fmla="*/ 120271 h 1934496"/>
              <a:gd name="connsiteX3201" fmla="*/ 3290849 w 9922465"/>
              <a:gd name="connsiteY3201" fmla="*/ 175462 h 1934496"/>
              <a:gd name="connsiteX3202" fmla="*/ 3235657 w 9922465"/>
              <a:gd name="connsiteY3202" fmla="*/ 230653 h 1934496"/>
              <a:gd name="connsiteX3203" fmla="*/ 3180465 w 9922465"/>
              <a:gd name="connsiteY3203" fmla="*/ 175462 h 1934496"/>
              <a:gd name="connsiteX3204" fmla="*/ 3235657 w 9922465"/>
              <a:gd name="connsiteY3204" fmla="*/ 120271 h 1934496"/>
              <a:gd name="connsiteX3205" fmla="*/ 3098682 w 9922465"/>
              <a:gd name="connsiteY3205" fmla="*/ 120271 h 1934496"/>
              <a:gd name="connsiteX3206" fmla="*/ 3153874 w 9922465"/>
              <a:gd name="connsiteY3206" fmla="*/ 175462 h 1934496"/>
              <a:gd name="connsiteX3207" fmla="*/ 3098682 w 9922465"/>
              <a:gd name="connsiteY3207" fmla="*/ 230653 h 1934496"/>
              <a:gd name="connsiteX3208" fmla="*/ 3043490 w 9922465"/>
              <a:gd name="connsiteY3208" fmla="*/ 175462 h 1934496"/>
              <a:gd name="connsiteX3209" fmla="*/ 3098682 w 9922465"/>
              <a:gd name="connsiteY3209" fmla="*/ 120271 h 1934496"/>
              <a:gd name="connsiteX3210" fmla="*/ 2971729 w 9922465"/>
              <a:gd name="connsiteY3210" fmla="*/ 120271 h 1934496"/>
              <a:gd name="connsiteX3211" fmla="*/ 3026921 w 9922465"/>
              <a:gd name="connsiteY3211" fmla="*/ 175462 h 1934496"/>
              <a:gd name="connsiteX3212" fmla="*/ 2971729 w 9922465"/>
              <a:gd name="connsiteY3212" fmla="*/ 230653 h 1934496"/>
              <a:gd name="connsiteX3213" fmla="*/ 2916537 w 9922465"/>
              <a:gd name="connsiteY3213" fmla="*/ 175462 h 1934496"/>
              <a:gd name="connsiteX3214" fmla="*/ 2971729 w 9922465"/>
              <a:gd name="connsiteY3214" fmla="*/ 120271 h 1934496"/>
              <a:gd name="connsiteX3215" fmla="*/ 2707903 w 9922465"/>
              <a:gd name="connsiteY3215" fmla="*/ 120271 h 1934496"/>
              <a:gd name="connsiteX3216" fmla="*/ 2763100 w 9922465"/>
              <a:gd name="connsiteY3216" fmla="*/ 175462 h 1934496"/>
              <a:gd name="connsiteX3217" fmla="*/ 2707903 w 9922465"/>
              <a:gd name="connsiteY3217" fmla="*/ 230653 h 1934496"/>
              <a:gd name="connsiteX3218" fmla="*/ 2652715 w 9922465"/>
              <a:gd name="connsiteY3218" fmla="*/ 175462 h 1934496"/>
              <a:gd name="connsiteX3219" fmla="*/ 2707903 w 9922465"/>
              <a:gd name="connsiteY3219" fmla="*/ 120271 h 1934496"/>
              <a:gd name="connsiteX3220" fmla="*/ 2570933 w 9922465"/>
              <a:gd name="connsiteY3220" fmla="*/ 120271 h 1934496"/>
              <a:gd name="connsiteX3221" fmla="*/ 2626123 w 9922465"/>
              <a:gd name="connsiteY3221" fmla="*/ 175462 h 1934496"/>
              <a:gd name="connsiteX3222" fmla="*/ 2570933 w 9922465"/>
              <a:gd name="connsiteY3222" fmla="*/ 230653 h 1934496"/>
              <a:gd name="connsiteX3223" fmla="*/ 2515738 w 9922465"/>
              <a:gd name="connsiteY3223" fmla="*/ 175462 h 1934496"/>
              <a:gd name="connsiteX3224" fmla="*/ 2570933 w 9922465"/>
              <a:gd name="connsiteY3224" fmla="*/ 120271 h 1934496"/>
              <a:gd name="connsiteX3225" fmla="*/ 2437297 w 9922465"/>
              <a:gd name="connsiteY3225" fmla="*/ 120271 h 1934496"/>
              <a:gd name="connsiteX3226" fmla="*/ 2492487 w 9922465"/>
              <a:gd name="connsiteY3226" fmla="*/ 175462 h 1934496"/>
              <a:gd name="connsiteX3227" fmla="*/ 2437297 w 9922465"/>
              <a:gd name="connsiteY3227" fmla="*/ 230653 h 1934496"/>
              <a:gd name="connsiteX3228" fmla="*/ 2382108 w 9922465"/>
              <a:gd name="connsiteY3228" fmla="*/ 175462 h 1934496"/>
              <a:gd name="connsiteX3229" fmla="*/ 2437297 w 9922465"/>
              <a:gd name="connsiteY3229" fmla="*/ 120271 h 1934496"/>
              <a:gd name="connsiteX3230" fmla="*/ 2303666 w 9922465"/>
              <a:gd name="connsiteY3230" fmla="*/ 120271 h 1934496"/>
              <a:gd name="connsiteX3231" fmla="*/ 2358856 w 9922465"/>
              <a:gd name="connsiteY3231" fmla="*/ 175462 h 1934496"/>
              <a:gd name="connsiteX3232" fmla="*/ 2303666 w 9922465"/>
              <a:gd name="connsiteY3232" fmla="*/ 230653 h 1934496"/>
              <a:gd name="connsiteX3233" fmla="*/ 2248473 w 9922465"/>
              <a:gd name="connsiteY3233" fmla="*/ 175462 h 1934496"/>
              <a:gd name="connsiteX3234" fmla="*/ 2303666 w 9922465"/>
              <a:gd name="connsiteY3234" fmla="*/ 120271 h 1934496"/>
              <a:gd name="connsiteX3235" fmla="*/ 2173372 w 9922465"/>
              <a:gd name="connsiteY3235" fmla="*/ 120271 h 1934496"/>
              <a:gd name="connsiteX3236" fmla="*/ 2228566 w 9922465"/>
              <a:gd name="connsiteY3236" fmla="*/ 175462 h 1934496"/>
              <a:gd name="connsiteX3237" fmla="*/ 2173372 w 9922465"/>
              <a:gd name="connsiteY3237" fmla="*/ 230653 h 1934496"/>
              <a:gd name="connsiteX3238" fmla="*/ 2118180 w 9922465"/>
              <a:gd name="connsiteY3238" fmla="*/ 175462 h 1934496"/>
              <a:gd name="connsiteX3239" fmla="*/ 2173372 w 9922465"/>
              <a:gd name="connsiteY3239" fmla="*/ 120271 h 1934496"/>
              <a:gd name="connsiteX3240" fmla="*/ 7341580 w 9922465"/>
              <a:gd name="connsiteY3240" fmla="*/ 0 h 1934496"/>
              <a:gd name="connsiteX3241" fmla="*/ 7396772 w 9922465"/>
              <a:gd name="connsiteY3241" fmla="*/ 55191 h 1934496"/>
              <a:gd name="connsiteX3242" fmla="*/ 7341580 w 9922465"/>
              <a:gd name="connsiteY3242" fmla="*/ 110382 h 1934496"/>
              <a:gd name="connsiteX3243" fmla="*/ 7286388 w 9922465"/>
              <a:gd name="connsiteY3243" fmla="*/ 55191 h 1934496"/>
              <a:gd name="connsiteX3244" fmla="*/ 7341580 w 9922465"/>
              <a:gd name="connsiteY3244" fmla="*/ 0 h 1934496"/>
              <a:gd name="connsiteX3245" fmla="*/ 4294713 w 9922465"/>
              <a:gd name="connsiteY3245" fmla="*/ 0 h 1934496"/>
              <a:gd name="connsiteX3246" fmla="*/ 4349905 w 9922465"/>
              <a:gd name="connsiteY3246" fmla="*/ 55191 h 1934496"/>
              <a:gd name="connsiteX3247" fmla="*/ 4294713 w 9922465"/>
              <a:gd name="connsiteY3247" fmla="*/ 110382 h 1934496"/>
              <a:gd name="connsiteX3248" fmla="*/ 4239521 w 9922465"/>
              <a:gd name="connsiteY3248" fmla="*/ 55191 h 1934496"/>
              <a:gd name="connsiteX3249" fmla="*/ 4294713 w 9922465"/>
              <a:gd name="connsiteY3249" fmla="*/ 0 h 1934496"/>
              <a:gd name="connsiteX3250" fmla="*/ 4161077 w 9922465"/>
              <a:gd name="connsiteY3250" fmla="*/ 0 h 1934496"/>
              <a:gd name="connsiteX3251" fmla="*/ 4216269 w 9922465"/>
              <a:gd name="connsiteY3251" fmla="*/ 55191 h 1934496"/>
              <a:gd name="connsiteX3252" fmla="*/ 4161077 w 9922465"/>
              <a:gd name="connsiteY3252" fmla="*/ 110382 h 1934496"/>
              <a:gd name="connsiteX3253" fmla="*/ 4105885 w 9922465"/>
              <a:gd name="connsiteY3253" fmla="*/ 55191 h 1934496"/>
              <a:gd name="connsiteX3254" fmla="*/ 4161077 w 9922465"/>
              <a:gd name="connsiteY3254" fmla="*/ 0 h 1934496"/>
              <a:gd name="connsiteX3255" fmla="*/ 4030786 w 9922465"/>
              <a:gd name="connsiteY3255" fmla="*/ 0 h 1934496"/>
              <a:gd name="connsiteX3256" fmla="*/ 4085978 w 9922465"/>
              <a:gd name="connsiteY3256" fmla="*/ 55191 h 1934496"/>
              <a:gd name="connsiteX3257" fmla="*/ 4030786 w 9922465"/>
              <a:gd name="connsiteY3257" fmla="*/ 110382 h 1934496"/>
              <a:gd name="connsiteX3258" fmla="*/ 3975594 w 9922465"/>
              <a:gd name="connsiteY3258" fmla="*/ 55191 h 1934496"/>
              <a:gd name="connsiteX3259" fmla="*/ 4030786 w 9922465"/>
              <a:gd name="connsiteY3259" fmla="*/ 0 h 1934496"/>
              <a:gd name="connsiteX3260" fmla="*/ 3897148 w 9922465"/>
              <a:gd name="connsiteY3260" fmla="*/ 0 h 1934496"/>
              <a:gd name="connsiteX3261" fmla="*/ 3952340 w 9922465"/>
              <a:gd name="connsiteY3261" fmla="*/ 55191 h 1934496"/>
              <a:gd name="connsiteX3262" fmla="*/ 3897148 w 9922465"/>
              <a:gd name="connsiteY3262" fmla="*/ 110382 h 1934496"/>
              <a:gd name="connsiteX3263" fmla="*/ 3841956 w 9922465"/>
              <a:gd name="connsiteY3263" fmla="*/ 55191 h 1934496"/>
              <a:gd name="connsiteX3264" fmla="*/ 3897148 w 9922465"/>
              <a:gd name="connsiteY3264" fmla="*/ 0 h 1934496"/>
              <a:gd name="connsiteX3265" fmla="*/ 3763514 w 9922465"/>
              <a:gd name="connsiteY3265" fmla="*/ 0 h 1934496"/>
              <a:gd name="connsiteX3266" fmla="*/ 3818706 w 9922465"/>
              <a:gd name="connsiteY3266" fmla="*/ 55191 h 1934496"/>
              <a:gd name="connsiteX3267" fmla="*/ 3763514 w 9922465"/>
              <a:gd name="connsiteY3267" fmla="*/ 110382 h 1934496"/>
              <a:gd name="connsiteX3268" fmla="*/ 3708322 w 9922465"/>
              <a:gd name="connsiteY3268" fmla="*/ 55191 h 1934496"/>
              <a:gd name="connsiteX3269" fmla="*/ 3763514 w 9922465"/>
              <a:gd name="connsiteY3269" fmla="*/ 0 h 1934496"/>
              <a:gd name="connsiteX3270" fmla="*/ 3633221 w 9922465"/>
              <a:gd name="connsiteY3270" fmla="*/ 0 h 1934496"/>
              <a:gd name="connsiteX3271" fmla="*/ 3688413 w 9922465"/>
              <a:gd name="connsiteY3271" fmla="*/ 55191 h 1934496"/>
              <a:gd name="connsiteX3272" fmla="*/ 3633221 w 9922465"/>
              <a:gd name="connsiteY3272" fmla="*/ 110382 h 1934496"/>
              <a:gd name="connsiteX3273" fmla="*/ 3578029 w 9922465"/>
              <a:gd name="connsiteY3273" fmla="*/ 55191 h 1934496"/>
              <a:gd name="connsiteX3274" fmla="*/ 3633221 w 9922465"/>
              <a:gd name="connsiteY3274" fmla="*/ 0 h 1934496"/>
              <a:gd name="connsiteX3275" fmla="*/ 3499589 w 9922465"/>
              <a:gd name="connsiteY3275" fmla="*/ 0 h 1934496"/>
              <a:gd name="connsiteX3276" fmla="*/ 3554781 w 9922465"/>
              <a:gd name="connsiteY3276" fmla="*/ 55191 h 1934496"/>
              <a:gd name="connsiteX3277" fmla="*/ 3499589 w 9922465"/>
              <a:gd name="connsiteY3277" fmla="*/ 110382 h 1934496"/>
              <a:gd name="connsiteX3278" fmla="*/ 3444397 w 9922465"/>
              <a:gd name="connsiteY3278" fmla="*/ 55191 h 1934496"/>
              <a:gd name="connsiteX3279" fmla="*/ 3499589 w 9922465"/>
              <a:gd name="connsiteY3279" fmla="*/ 0 h 1934496"/>
              <a:gd name="connsiteX3280" fmla="*/ 3369293 w 9922465"/>
              <a:gd name="connsiteY3280" fmla="*/ 0 h 1934496"/>
              <a:gd name="connsiteX3281" fmla="*/ 3424485 w 9922465"/>
              <a:gd name="connsiteY3281" fmla="*/ 55191 h 1934496"/>
              <a:gd name="connsiteX3282" fmla="*/ 3369293 w 9922465"/>
              <a:gd name="connsiteY3282" fmla="*/ 110382 h 1934496"/>
              <a:gd name="connsiteX3283" fmla="*/ 3314101 w 9922465"/>
              <a:gd name="connsiteY3283" fmla="*/ 55191 h 1934496"/>
              <a:gd name="connsiteX3284" fmla="*/ 3369293 w 9922465"/>
              <a:gd name="connsiteY3284" fmla="*/ 0 h 1934496"/>
              <a:gd name="connsiteX3285" fmla="*/ 3235657 w 9922465"/>
              <a:gd name="connsiteY3285" fmla="*/ 0 h 1934496"/>
              <a:gd name="connsiteX3286" fmla="*/ 3290849 w 9922465"/>
              <a:gd name="connsiteY3286" fmla="*/ 55191 h 1934496"/>
              <a:gd name="connsiteX3287" fmla="*/ 3235657 w 9922465"/>
              <a:gd name="connsiteY3287" fmla="*/ 110382 h 1934496"/>
              <a:gd name="connsiteX3288" fmla="*/ 3180465 w 9922465"/>
              <a:gd name="connsiteY3288" fmla="*/ 55191 h 1934496"/>
              <a:gd name="connsiteX3289" fmla="*/ 3235657 w 9922465"/>
              <a:gd name="connsiteY3289" fmla="*/ 0 h 1934496"/>
              <a:gd name="connsiteX3290" fmla="*/ 2834862 w 9922465"/>
              <a:gd name="connsiteY3290" fmla="*/ 0 h 1934496"/>
              <a:gd name="connsiteX3291" fmla="*/ 2890052 w 9922465"/>
              <a:gd name="connsiteY3291" fmla="*/ 55191 h 1934496"/>
              <a:gd name="connsiteX3292" fmla="*/ 2834862 w 9922465"/>
              <a:gd name="connsiteY3292" fmla="*/ 110382 h 1934496"/>
              <a:gd name="connsiteX3293" fmla="*/ 2779671 w 9922465"/>
              <a:gd name="connsiteY3293" fmla="*/ 55191 h 1934496"/>
              <a:gd name="connsiteX3294" fmla="*/ 2834862 w 9922465"/>
              <a:gd name="connsiteY3294" fmla="*/ 0 h 1934496"/>
              <a:gd name="connsiteX3295" fmla="*/ 2707903 w 9922465"/>
              <a:gd name="connsiteY3295" fmla="*/ 0 h 1934496"/>
              <a:gd name="connsiteX3296" fmla="*/ 2763100 w 9922465"/>
              <a:gd name="connsiteY3296" fmla="*/ 55191 h 1934496"/>
              <a:gd name="connsiteX3297" fmla="*/ 2707903 w 9922465"/>
              <a:gd name="connsiteY3297" fmla="*/ 110382 h 1934496"/>
              <a:gd name="connsiteX3298" fmla="*/ 2652715 w 9922465"/>
              <a:gd name="connsiteY3298" fmla="*/ 55191 h 1934496"/>
              <a:gd name="connsiteX3299" fmla="*/ 2707903 w 9922465"/>
              <a:gd name="connsiteY3299" fmla="*/ 0 h 1934496"/>
              <a:gd name="connsiteX3300" fmla="*/ 2570933 w 9922465"/>
              <a:gd name="connsiteY3300" fmla="*/ 0 h 1934496"/>
              <a:gd name="connsiteX3301" fmla="*/ 2626123 w 9922465"/>
              <a:gd name="connsiteY3301" fmla="*/ 55191 h 1934496"/>
              <a:gd name="connsiteX3302" fmla="*/ 2570933 w 9922465"/>
              <a:gd name="connsiteY3302" fmla="*/ 110382 h 1934496"/>
              <a:gd name="connsiteX3303" fmla="*/ 2515738 w 9922465"/>
              <a:gd name="connsiteY3303" fmla="*/ 55191 h 1934496"/>
              <a:gd name="connsiteX3304" fmla="*/ 2570933 w 9922465"/>
              <a:gd name="connsiteY3304" fmla="*/ 0 h 1934496"/>
              <a:gd name="connsiteX3305" fmla="*/ 2437297 w 9922465"/>
              <a:gd name="connsiteY3305" fmla="*/ 0 h 1934496"/>
              <a:gd name="connsiteX3306" fmla="*/ 2492487 w 9922465"/>
              <a:gd name="connsiteY3306" fmla="*/ 55191 h 1934496"/>
              <a:gd name="connsiteX3307" fmla="*/ 2437297 w 9922465"/>
              <a:gd name="connsiteY3307" fmla="*/ 110382 h 1934496"/>
              <a:gd name="connsiteX3308" fmla="*/ 2382108 w 9922465"/>
              <a:gd name="connsiteY3308" fmla="*/ 55191 h 1934496"/>
              <a:gd name="connsiteX3309" fmla="*/ 2437297 w 9922465"/>
              <a:gd name="connsiteY3309" fmla="*/ 0 h 1934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Lst>
            <a:rect l="l" t="t" r="r" b="b"/>
            <a:pathLst>
              <a:path w="9922465" h="1934496">
                <a:moveTo>
                  <a:pt x="8407318" y="1824114"/>
                </a:moveTo>
                <a:cubicBezTo>
                  <a:pt x="8437800" y="1824114"/>
                  <a:pt x="8462510" y="1848824"/>
                  <a:pt x="8462510" y="1879305"/>
                </a:cubicBezTo>
                <a:cubicBezTo>
                  <a:pt x="8462510" y="1909786"/>
                  <a:pt x="8437800" y="1934496"/>
                  <a:pt x="8407318" y="1934496"/>
                </a:cubicBezTo>
                <a:cubicBezTo>
                  <a:pt x="8376836" y="1934496"/>
                  <a:pt x="8352126" y="1909786"/>
                  <a:pt x="8352126" y="1879305"/>
                </a:cubicBezTo>
                <a:cubicBezTo>
                  <a:pt x="8352126" y="1848824"/>
                  <a:pt x="8376836" y="1824114"/>
                  <a:pt x="8407318" y="1824114"/>
                </a:cubicBezTo>
                <a:close/>
                <a:moveTo>
                  <a:pt x="8273682" y="1824114"/>
                </a:moveTo>
                <a:cubicBezTo>
                  <a:pt x="8304164" y="1824114"/>
                  <a:pt x="8328874" y="1848824"/>
                  <a:pt x="8328874" y="1879305"/>
                </a:cubicBezTo>
                <a:cubicBezTo>
                  <a:pt x="8328874" y="1909786"/>
                  <a:pt x="8304164" y="1934496"/>
                  <a:pt x="8273682" y="1934496"/>
                </a:cubicBezTo>
                <a:cubicBezTo>
                  <a:pt x="8243200" y="1934496"/>
                  <a:pt x="8218490" y="1909786"/>
                  <a:pt x="8218490" y="1879305"/>
                </a:cubicBezTo>
                <a:cubicBezTo>
                  <a:pt x="8218490" y="1848824"/>
                  <a:pt x="8243200" y="1824114"/>
                  <a:pt x="8273682" y="1824114"/>
                </a:cubicBezTo>
                <a:close/>
                <a:moveTo>
                  <a:pt x="8143386" y="1824114"/>
                </a:moveTo>
                <a:cubicBezTo>
                  <a:pt x="8173868" y="1824114"/>
                  <a:pt x="8198578" y="1848824"/>
                  <a:pt x="8198578" y="1879305"/>
                </a:cubicBezTo>
                <a:cubicBezTo>
                  <a:pt x="8198578" y="1909786"/>
                  <a:pt x="8173868" y="1934496"/>
                  <a:pt x="8143386" y="1934496"/>
                </a:cubicBezTo>
                <a:cubicBezTo>
                  <a:pt x="8112904" y="1934496"/>
                  <a:pt x="8088194" y="1909786"/>
                  <a:pt x="8088194" y="1879305"/>
                </a:cubicBezTo>
                <a:cubicBezTo>
                  <a:pt x="8088194" y="1848824"/>
                  <a:pt x="8112904" y="1824114"/>
                  <a:pt x="8143386" y="1824114"/>
                </a:cubicBezTo>
                <a:close/>
                <a:moveTo>
                  <a:pt x="8009752" y="1824114"/>
                </a:moveTo>
                <a:cubicBezTo>
                  <a:pt x="8040234" y="1824114"/>
                  <a:pt x="8064944" y="1848824"/>
                  <a:pt x="8064944" y="1879305"/>
                </a:cubicBezTo>
                <a:cubicBezTo>
                  <a:pt x="8064944" y="1909786"/>
                  <a:pt x="8040234" y="1934496"/>
                  <a:pt x="8009752" y="1934496"/>
                </a:cubicBezTo>
                <a:cubicBezTo>
                  <a:pt x="7979270" y="1934496"/>
                  <a:pt x="7954560" y="1909786"/>
                  <a:pt x="7954560" y="1879305"/>
                </a:cubicBezTo>
                <a:cubicBezTo>
                  <a:pt x="7954560" y="1848824"/>
                  <a:pt x="7979270" y="1824114"/>
                  <a:pt x="8009752" y="1824114"/>
                </a:cubicBezTo>
                <a:close/>
                <a:moveTo>
                  <a:pt x="7876117" y="1824114"/>
                </a:moveTo>
                <a:cubicBezTo>
                  <a:pt x="7906599" y="1824114"/>
                  <a:pt x="7931309" y="1848824"/>
                  <a:pt x="7931309" y="1879305"/>
                </a:cubicBezTo>
                <a:cubicBezTo>
                  <a:pt x="7931309" y="1909786"/>
                  <a:pt x="7906599" y="1934496"/>
                  <a:pt x="7876117" y="1934496"/>
                </a:cubicBezTo>
                <a:cubicBezTo>
                  <a:pt x="7845635" y="1934496"/>
                  <a:pt x="7820925" y="1909786"/>
                  <a:pt x="7820925" y="1879305"/>
                </a:cubicBezTo>
                <a:cubicBezTo>
                  <a:pt x="7820925" y="1848824"/>
                  <a:pt x="7845635" y="1824114"/>
                  <a:pt x="7876117" y="1824114"/>
                </a:cubicBezTo>
                <a:close/>
                <a:moveTo>
                  <a:pt x="7745824" y="1824114"/>
                </a:moveTo>
                <a:cubicBezTo>
                  <a:pt x="7776306" y="1824114"/>
                  <a:pt x="7801016" y="1848824"/>
                  <a:pt x="7801016" y="1879305"/>
                </a:cubicBezTo>
                <a:cubicBezTo>
                  <a:pt x="7801016" y="1909786"/>
                  <a:pt x="7776306" y="1934496"/>
                  <a:pt x="7745824" y="1934496"/>
                </a:cubicBezTo>
                <a:cubicBezTo>
                  <a:pt x="7715342" y="1934496"/>
                  <a:pt x="7690632" y="1909786"/>
                  <a:pt x="7690632" y="1879305"/>
                </a:cubicBezTo>
                <a:cubicBezTo>
                  <a:pt x="7690632" y="1848824"/>
                  <a:pt x="7715342" y="1824114"/>
                  <a:pt x="7745824" y="1824114"/>
                </a:cubicBezTo>
                <a:close/>
                <a:moveTo>
                  <a:pt x="7608849" y="1824114"/>
                </a:moveTo>
                <a:cubicBezTo>
                  <a:pt x="7639331" y="1824114"/>
                  <a:pt x="7664041" y="1848824"/>
                  <a:pt x="7664041" y="1879305"/>
                </a:cubicBezTo>
                <a:cubicBezTo>
                  <a:pt x="7664041" y="1909786"/>
                  <a:pt x="7639331" y="1934496"/>
                  <a:pt x="7608849" y="1934496"/>
                </a:cubicBezTo>
                <a:cubicBezTo>
                  <a:pt x="7578367" y="1934496"/>
                  <a:pt x="7553657" y="1909786"/>
                  <a:pt x="7553657" y="1879305"/>
                </a:cubicBezTo>
                <a:cubicBezTo>
                  <a:pt x="7553657" y="1848824"/>
                  <a:pt x="7578367" y="1824114"/>
                  <a:pt x="7608849" y="1824114"/>
                </a:cubicBezTo>
                <a:close/>
                <a:moveTo>
                  <a:pt x="7481895" y="1824114"/>
                </a:moveTo>
                <a:cubicBezTo>
                  <a:pt x="7512377" y="1824114"/>
                  <a:pt x="7537087" y="1848824"/>
                  <a:pt x="7537087" y="1879305"/>
                </a:cubicBezTo>
                <a:cubicBezTo>
                  <a:pt x="7537087" y="1909786"/>
                  <a:pt x="7512377" y="1934496"/>
                  <a:pt x="7481895" y="1934496"/>
                </a:cubicBezTo>
                <a:cubicBezTo>
                  <a:pt x="7451413" y="1934496"/>
                  <a:pt x="7426703" y="1909786"/>
                  <a:pt x="7426703" y="1879305"/>
                </a:cubicBezTo>
                <a:cubicBezTo>
                  <a:pt x="7426703" y="1848824"/>
                  <a:pt x="7451413" y="1824114"/>
                  <a:pt x="7481895" y="1824114"/>
                </a:cubicBezTo>
                <a:close/>
                <a:moveTo>
                  <a:pt x="7341579" y="1824114"/>
                </a:moveTo>
                <a:cubicBezTo>
                  <a:pt x="7372061" y="1824114"/>
                  <a:pt x="7396771" y="1848824"/>
                  <a:pt x="7396771" y="1879305"/>
                </a:cubicBezTo>
                <a:cubicBezTo>
                  <a:pt x="7396771" y="1909786"/>
                  <a:pt x="7372061" y="1934496"/>
                  <a:pt x="7341579" y="1934496"/>
                </a:cubicBezTo>
                <a:cubicBezTo>
                  <a:pt x="7311097" y="1934496"/>
                  <a:pt x="7286387" y="1909786"/>
                  <a:pt x="7286387" y="1879305"/>
                </a:cubicBezTo>
                <a:cubicBezTo>
                  <a:pt x="7286387" y="1848824"/>
                  <a:pt x="7311097" y="1824114"/>
                  <a:pt x="7341579" y="1824114"/>
                </a:cubicBezTo>
                <a:close/>
                <a:moveTo>
                  <a:pt x="7211286" y="1824114"/>
                </a:moveTo>
                <a:cubicBezTo>
                  <a:pt x="7241768" y="1824114"/>
                  <a:pt x="7266478" y="1848824"/>
                  <a:pt x="7266478" y="1879305"/>
                </a:cubicBezTo>
                <a:cubicBezTo>
                  <a:pt x="7266478" y="1909786"/>
                  <a:pt x="7241768" y="1934496"/>
                  <a:pt x="7211286" y="1934496"/>
                </a:cubicBezTo>
                <a:cubicBezTo>
                  <a:pt x="7180804" y="1934496"/>
                  <a:pt x="7156094" y="1909786"/>
                  <a:pt x="7156094" y="1879305"/>
                </a:cubicBezTo>
                <a:cubicBezTo>
                  <a:pt x="7156094" y="1848824"/>
                  <a:pt x="7180804" y="1824114"/>
                  <a:pt x="7211286" y="1824114"/>
                </a:cubicBezTo>
                <a:close/>
                <a:moveTo>
                  <a:pt x="7080993" y="1824114"/>
                </a:moveTo>
                <a:cubicBezTo>
                  <a:pt x="7111475" y="1824114"/>
                  <a:pt x="7136185" y="1848824"/>
                  <a:pt x="7136185" y="1879305"/>
                </a:cubicBezTo>
                <a:cubicBezTo>
                  <a:pt x="7136185" y="1909786"/>
                  <a:pt x="7111475" y="1934496"/>
                  <a:pt x="7080993" y="1934496"/>
                </a:cubicBezTo>
                <a:cubicBezTo>
                  <a:pt x="7050511" y="1934496"/>
                  <a:pt x="7025801" y="1909786"/>
                  <a:pt x="7025801" y="1879305"/>
                </a:cubicBezTo>
                <a:cubicBezTo>
                  <a:pt x="7025801" y="1848824"/>
                  <a:pt x="7050511" y="1824114"/>
                  <a:pt x="7080993" y="1824114"/>
                </a:cubicBezTo>
                <a:close/>
                <a:moveTo>
                  <a:pt x="6947357" y="1824114"/>
                </a:moveTo>
                <a:cubicBezTo>
                  <a:pt x="6977839" y="1824114"/>
                  <a:pt x="7002549" y="1848824"/>
                  <a:pt x="7002549" y="1879305"/>
                </a:cubicBezTo>
                <a:cubicBezTo>
                  <a:pt x="7002549" y="1909786"/>
                  <a:pt x="6977839" y="1934496"/>
                  <a:pt x="6947357" y="1934496"/>
                </a:cubicBezTo>
                <a:cubicBezTo>
                  <a:pt x="6916875" y="1934496"/>
                  <a:pt x="6892165" y="1909786"/>
                  <a:pt x="6892165" y="1879305"/>
                </a:cubicBezTo>
                <a:cubicBezTo>
                  <a:pt x="6892165" y="1848824"/>
                  <a:pt x="6916875" y="1824114"/>
                  <a:pt x="6947357" y="1824114"/>
                </a:cubicBezTo>
                <a:close/>
                <a:moveTo>
                  <a:pt x="6817063" y="1824114"/>
                </a:moveTo>
                <a:cubicBezTo>
                  <a:pt x="6847545" y="1824114"/>
                  <a:pt x="6872255" y="1848824"/>
                  <a:pt x="6872255" y="1879305"/>
                </a:cubicBezTo>
                <a:cubicBezTo>
                  <a:pt x="6872255" y="1909786"/>
                  <a:pt x="6847545" y="1934496"/>
                  <a:pt x="6817063" y="1934496"/>
                </a:cubicBezTo>
                <a:cubicBezTo>
                  <a:pt x="6786581" y="1934496"/>
                  <a:pt x="6761871" y="1909786"/>
                  <a:pt x="6761871" y="1879305"/>
                </a:cubicBezTo>
                <a:cubicBezTo>
                  <a:pt x="6761871" y="1848824"/>
                  <a:pt x="6786581" y="1824114"/>
                  <a:pt x="6817063" y="1824114"/>
                </a:cubicBezTo>
                <a:close/>
                <a:moveTo>
                  <a:pt x="6683431" y="1824114"/>
                </a:moveTo>
                <a:cubicBezTo>
                  <a:pt x="6713913" y="1824114"/>
                  <a:pt x="6738623" y="1848824"/>
                  <a:pt x="6738623" y="1879305"/>
                </a:cubicBezTo>
                <a:cubicBezTo>
                  <a:pt x="6738623" y="1909786"/>
                  <a:pt x="6713913" y="1934496"/>
                  <a:pt x="6683431" y="1934496"/>
                </a:cubicBezTo>
                <a:cubicBezTo>
                  <a:pt x="6652949" y="1934496"/>
                  <a:pt x="6628239" y="1909786"/>
                  <a:pt x="6628239" y="1879305"/>
                </a:cubicBezTo>
                <a:cubicBezTo>
                  <a:pt x="6628239" y="1848824"/>
                  <a:pt x="6652949" y="1824114"/>
                  <a:pt x="6683431" y="1824114"/>
                </a:cubicBezTo>
                <a:close/>
                <a:moveTo>
                  <a:pt x="6553137" y="1824114"/>
                </a:moveTo>
                <a:cubicBezTo>
                  <a:pt x="6583619" y="1824114"/>
                  <a:pt x="6608329" y="1848824"/>
                  <a:pt x="6608329" y="1879305"/>
                </a:cubicBezTo>
                <a:cubicBezTo>
                  <a:pt x="6608329" y="1909786"/>
                  <a:pt x="6583619" y="1934496"/>
                  <a:pt x="6553137" y="1934496"/>
                </a:cubicBezTo>
                <a:cubicBezTo>
                  <a:pt x="6522655" y="1934496"/>
                  <a:pt x="6497945" y="1909786"/>
                  <a:pt x="6497945" y="1879305"/>
                </a:cubicBezTo>
                <a:cubicBezTo>
                  <a:pt x="6497945" y="1848824"/>
                  <a:pt x="6522655" y="1824114"/>
                  <a:pt x="6553137" y="1824114"/>
                </a:cubicBezTo>
                <a:close/>
                <a:moveTo>
                  <a:pt x="6289207" y="1824114"/>
                </a:moveTo>
                <a:cubicBezTo>
                  <a:pt x="6319689" y="1824114"/>
                  <a:pt x="6344399" y="1848824"/>
                  <a:pt x="6344399" y="1879305"/>
                </a:cubicBezTo>
                <a:cubicBezTo>
                  <a:pt x="6344399" y="1909786"/>
                  <a:pt x="6319689" y="1934496"/>
                  <a:pt x="6289207" y="1934496"/>
                </a:cubicBezTo>
                <a:cubicBezTo>
                  <a:pt x="6258725" y="1934496"/>
                  <a:pt x="6234015" y="1909786"/>
                  <a:pt x="6234015" y="1879305"/>
                </a:cubicBezTo>
                <a:cubicBezTo>
                  <a:pt x="6234015" y="1848824"/>
                  <a:pt x="6258725" y="1824114"/>
                  <a:pt x="6289207" y="1824114"/>
                </a:cubicBezTo>
                <a:close/>
                <a:moveTo>
                  <a:pt x="6155572" y="1824114"/>
                </a:moveTo>
                <a:cubicBezTo>
                  <a:pt x="6186054" y="1824114"/>
                  <a:pt x="6210764" y="1848824"/>
                  <a:pt x="6210764" y="1879305"/>
                </a:cubicBezTo>
                <a:cubicBezTo>
                  <a:pt x="6210764" y="1909786"/>
                  <a:pt x="6186054" y="1934496"/>
                  <a:pt x="6155572" y="1934496"/>
                </a:cubicBezTo>
                <a:cubicBezTo>
                  <a:pt x="6125090" y="1934496"/>
                  <a:pt x="6100380" y="1909786"/>
                  <a:pt x="6100380" y="1879305"/>
                </a:cubicBezTo>
                <a:cubicBezTo>
                  <a:pt x="6100380" y="1848824"/>
                  <a:pt x="6125090" y="1824114"/>
                  <a:pt x="6155572" y="1824114"/>
                </a:cubicBezTo>
                <a:close/>
                <a:moveTo>
                  <a:pt x="6021938" y="1824114"/>
                </a:moveTo>
                <a:cubicBezTo>
                  <a:pt x="6052420" y="1824114"/>
                  <a:pt x="6077130" y="1848824"/>
                  <a:pt x="6077130" y="1879305"/>
                </a:cubicBezTo>
                <a:cubicBezTo>
                  <a:pt x="6077130" y="1909786"/>
                  <a:pt x="6052420" y="1934496"/>
                  <a:pt x="6021938" y="1934496"/>
                </a:cubicBezTo>
                <a:cubicBezTo>
                  <a:pt x="5991456" y="1934496"/>
                  <a:pt x="5966746" y="1909786"/>
                  <a:pt x="5966746" y="1879305"/>
                </a:cubicBezTo>
                <a:cubicBezTo>
                  <a:pt x="5966746" y="1848824"/>
                  <a:pt x="5991456" y="1824114"/>
                  <a:pt x="6021938" y="1824114"/>
                </a:cubicBezTo>
                <a:close/>
                <a:moveTo>
                  <a:pt x="5884964" y="1824114"/>
                </a:moveTo>
                <a:cubicBezTo>
                  <a:pt x="5915446" y="1824114"/>
                  <a:pt x="5940156" y="1848824"/>
                  <a:pt x="5940156" y="1879305"/>
                </a:cubicBezTo>
                <a:cubicBezTo>
                  <a:pt x="5940156" y="1909786"/>
                  <a:pt x="5915446" y="1934496"/>
                  <a:pt x="5884964" y="1934496"/>
                </a:cubicBezTo>
                <a:cubicBezTo>
                  <a:pt x="5854482" y="1934496"/>
                  <a:pt x="5829772" y="1909786"/>
                  <a:pt x="5829772" y="1879305"/>
                </a:cubicBezTo>
                <a:cubicBezTo>
                  <a:pt x="5829772" y="1848824"/>
                  <a:pt x="5854482" y="1824114"/>
                  <a:pt x="5884964" y="1824114"/>
                </a:cubicBezTo>
                <a:close/>
                <a:moveTo>
                  <a:pt x="5754670" y="1824114"/>
                </a:moveTo>
                <a:cubicBezTo>
                  <a:pt x="5785152" y="1824114"/>
                  <a:pt x="5809862" y="1848824"/>
                  <a:pt x="5809862" y="1879305"/>
                </a:cubicBezTo>
                <a:cubicBezTo>
                  <a:pt x="5809862" y="1909786"/>
                  <a:pt x="5785152" y="1934496"/>
                  <a:pt x="5754670" y="1934496"/>
                </a:cubicBezTo>
                <a:cubicBezTo>
                  <a:pt x="5724188" y="1934496"/>
                  <a:pt x="5699478" y="1909786"/>
                  <a:pt x="5699478" y="1879305"/>
                </a:cubicBezTo>
                <a:cubicBezTo>
                  <a:pt x="5699478" y="1848824"/>
                  <a:pt x="5724188" y="1824114"/>
                  <a:pt x="5754670" y="1824114"/>
                </a:cubicBezTo>
                <a:close/>
                <a:moveTo>
                  <a:pt x="5487399" y="1824114"/>
                </a:moveTo>
                <a:cubicBezTo>
                  <a:pt x="5517881" y="1824114"/>
                  <a:pt x="5542591" y="1848824"/>
                  <a:pt x="5542591" y="1879305"/>
                </a:cubicBezTo>
                <a:cubicBezTo>
                  <a:pt x="5542591" y="1909786"/>
                  <a:pt x="5517881" y="1934496"/>
                  <a:pt x="5487399" y="1934496"/>
                </a:cubicBezTo>
                <a:cubicBezTo>
                  <a:pt x="5456917" y="1934496"/>
                  <a:pt x="5432207" y="1909786"/>
                  <a:pt x="5432207" y="1879305"/>
                </a:cubicBezTo>
                <a:cubicBezTo>
                  <a:pt x="5432207" y="1848824"/>
                  <a:pt x="5456917" y="1824114"/>
                  <a:pt x="5487399" y="1824114"/>
                </a:cubicBezTo>
                <a:close/>
                <a:moveTo>
                  <a:pt x="5357105" y="1824114"/>
                </a:moveTo>
                <a:cubicBezTo>
                  <a:pt x="5387587" y="1824114"/>
                  <a:pt x="5412297" y="1848824"/>
                  <a:pt x="5412297" y="1879305"/>
                </a:cubicBezTo>
                <a:cubicBezTo>
                  <a:pt x="5412297" y="1909786"/>
                  <a:pt x="5387587" y="1934496"/>
                  <a:pt x="5357105" y="1934496"/>
                </a:cubicBezTo>
                <a:cubicBezTo>
                  <a:pt x="5326623" y="1934496"/>
                  <a:pt x="5301913" y="1909786"/>
                  <a:pt x="5301913" y="1879305"/>
                </a:cubicBezTo>
                <a:cubicBezTo>
                  <a:pt x="5301913" y="1848824"/>
                  <a:pt x="5326623" y="1824114"/>
                  <a:pt x="5357105" y="1824114"/>
                </a:cubicBezTo>
                <a:close/>
                <a:moveTo>
                  <a:pt x="5223473" y="1824114"/>
                </a:moveTo>
                <a:cubicBezTo>
                  <a:pt x="5253955" y="1824114"/>
                  <a:pt x="5278665" y="1848824"/>
                  <a:pt x="5278665" y="1879305"/>
                </a:cubicBezTo>
                <a:cubicBezTo>
                  <a:pt x="5278665" y="1909786"/>
                  <a:pt x="5253955" y="1934496"/>
                  <a:pt x="5223473" y="1934496"/>
                </a:cubicBezTo>
                <a:cubicBezTo>
                  <a:pt x="5192991" y="1934496"/>
                  <a:pt x="5168281" y="1909786"/>
                  <a:pt x="5168281" y="1879305"/>
                </a:cubicBezTo>
                <a:cubicBezTo>
                  <a:pt x="5168281" y="1848824"/>
                  <a:pt x="5192991" y="1824114"/>
                  <a:pt x="5223473" y="1824114"/>
                </a:cubicBezTo>
                <a:close/>
                <a:moveTo>
                  <a:pt x="5093178" y="1824114"/>
                </a:moveTo>
                <a:cubicBezTo>
                  <a:pt x="5123660" y="1824114"/>
                  <a:pt x="5148370" y="1848824"/>
                  <a:pt x="5148370" y="1879305"/>
                </a:cubicBezTo>
                <a:cubicBezTo>
                  <a:pt x="5148370" y="1909786"/>
                  <a:pt x="5123660" y="1934496"/>
                  <a:pt x="5093178" y="1934496"/>
                </a:cubicBezTo>
                <a:cubicBezTo>
                  <a:pt x="5062696" y="1934496"/>
                  <a:pt x="5037986" y="1909786"/>
                  <a:pt x="5037986" y="1879305"/>
                </a:cubicBezTo>
                <a:cubicBezTo>
                  <a:pt x="5037986" y="1848824"/>
                  <a:pt x="5062696" y="1824114"/>
                  <a:pt x="5093178" y="1824114"/>
                </a:cubicBezTo>
                <a:close/>
                <a:moveTo>
                  <a:pt x="4959543" y="1824114"/>
                </a:moveTo>
                <a:cubicBezTo>
                  <a:pt x="4990025" y="1824114"/>
                  <a:pt x="5014735" y="1848824"/>
                  <a:pt x="5014735" y="1879305"/>
                </a:cubicBezTo>
                <a:cubicBezTo>
                  <a:pt x="5014735" y="1909786"/>
                  <a:pt x="4990025" y="1934496"/>
                  <a:pt x="4959543" y="1934496"/>
                </a:cubicBezTo>
                <a:cubicBezTo>
                  <a:pt x="4929061" y="1934496"/>
                  <a:pt x="4904351" y="1909786"/>
                  <a:pt x="4904351" y="1879305"/>
                </a:cubicBezTo>
                <a:cubicBezTo>
                  <a:pt x="4904351" y="1848824"/>
                  <a:pt x="4929061" y="1824114"/>
                  <a:pt x="4959543" y="1824114"/>
                </a:cubicBezTo>
                <a:close/>
                <a:moveTo>
                  <a:pt x="4829250" y="1824114"/>
                </a:moveTo>
                <a:cubicBezTo>
                  <a:pt x="4859732" y="1824114"/>
                  <a:pt x="4884442" y="1848824"/>
                  <a:pt x="4884442" y="1879305"/>
                </a:cubicBezTo>
                <a:cubicBezTo>
                  <a:pt x="4884442" y="1909786"/>
                  <a:pt x="4859732" y="1934496"/>
                  <a:pt x="4829250" y="1934496"/>
                </a:cubicBezTo>
                <a:cubicBezTo>
                  <a:pt x="4798768" y="1934496"/>
                  <a:pt x="4774058" y="1909786"/>
                  <a:pt x="4774058" y="1879305"/>
                </a:cubicBezTo>
                <a:cubicBezTo>
                  <a:pt x="4774058" y="1848824"/>
                  <a:pt x="4798768" y="1824114"/>
                  <a:pt x="4829250" y="1824114"/>
                </a:cubicBezTo>
                <a:close/>
                <a:moveTo>
                  <a:pt x="4695613" y="1824114"/>
                </a:moveTo>
                <a:cubicBezTo>
                  <a:pt x="4726095" y="1824114"/>
                  <a:pt x="4750805" y="1848824"/>
                  <a:pt x="4750805" y="1879305"/>
                </a:cubicBezTo>
                <a:cubicBezTo>
                  <a:pt x="4750805" y="1909786"/>
                  <a:pt x="4726095" y="1934496"/>
                  <a:pt x="4695613" y="1934496"/>
                </a:cubicBezTo>
                <a:cubicBezTo>
                  <a:pt x="4665131" y="1934496"/>
                  <a:pt x="4640421" y="1909786"/>
                  <a:pt x="4640421" y="1879305"/>
                </a:cubicBezTo>
                <a:cubicBezTo>
                  <a:pt x="4640421" y="1848824"/>
                  <a:pt x="4665131" y="1824114"/>
                  <a:pt x="4695613" y="1824114"/>
                </a:cubicBezTo>
                <a:close/>
                <a:moveTo>
                  <a:pt x="2834762" y="1824114"/>
                </a:moveTo>
                <a:cubicBezTo>
                  <a:pt x="2865244" y="1824114"/>
                  <a:pt x="2889954" y="1848824"/>
                  <a:pt x="2889954" y="1879305"/>
                </a:cubicBezTo>
                <a:cubicBezTo>
                  <a:pt x="2889954" y="1909786"/>
                  <a:pt x="2865244" y="1934496"/>
                  <a:pt x="2834762" y="1934496"/>
                </a:cubicBezTo>
                <a:cubicBezTo>
                  <a:pt x="2804280" y="1934496"/>
                  <a:pt x="2779570" y="1909786"/>
                  <a:pt x="2779570" y="1879305"/>
                </a:cubicBezTo>
                <a:cubicBezTo>
                  <a:pt x="2779570" y="1848824"/>
                  <a:pt x="2804280" y="1824114"/>
                  <a:pt x="2834762" y="1824114"/>
                </a:cubicBezTo>
                <a:close/>
                <a:moveTo>
                  <a:pt x="2707807" y="1824114"/>
                </a:moveTo>
                <a:cubicBezTo>
                  <a:pt x="2738289" y="1824114"/>
                  <a:pt x="2762999" y="1848824"/>
                  <a:pt x="2762999" y="1879305"/>
                </a:cubicBezTo>
                <a:cubicBezTo>
                  <a:pt x="2762999" y="1909786"/>
                  <a:pt x="2738289" y="1934496"/>
                  <a:pt x="2707807" y="1934496"/>
                </a:cubicBezTo>
                <a:cubicBezTo>
                  <a:pt x="2677325" y="1934496"/>
                  <a:pt x="2652615" y="1909786"/>
                  <a:pt x="2652615" y="1879305"/>
                </a:cubicBezTo>
                <a:cubicBezTo>
                  <a:pt x="2652615" y="1848824"/>
                  <a:pt x="2677325" y="1824114"/>
                  <a:pt x="2707807" y="1824114"/>
                </a:cubicBezTo>
                <a:close/>
                <a:moveTo>
                  <a:pt x="2570834" y="1824114"/>
                </a:moveTo>
                <a:cubicBezTo>
                  <a:pt x="2601315" y="1824114"/>
                  <a:pt x="2626025" y="1848824"/>
                  <a:pt x="2626025" y="1879305"/>
                </a:cubicBezTo>
                <a:cubicBezTo>
                  <a:pt x="2626025" y="1909786"/>
                  <a:pt x="2601315" y="1934496"/>
                  <a:pt x="2570834" y="1934496"/>
                </a:cubicBezTo>
                <a:cubicBezTo>
                  <a:pt x="2540351" y="1934496"/>
                  <a:pt x="2515641" y="1909786"/>
                  <a:pt x="2515641" y="1879305"/>
                </a:cubicBezTo>
                <a:cubicBezTo>
                  <a:pt x="2515641" y="1848824"/>
                  <a:pt x="2540351" y="1824114"/>
                  <a:pt x="2570834" y="1824114"/>
                </a:cubicBezTo>
                <a:close/>
                <a:moveTo>
                  <a:pt x="2437196" y="1824114"/>
                </a:moveTo>
                <a:cubicBezTo>
                  <a:pt x="2467679" y="1824114"/>
                  <a:pt x="2492389" y="1848824"/>
                  <a:pt x="2492389" y="1879305"/>
                </a:cubicBezTo>
                <a:cubicBezTo>
                  <a:pt x="2492389" y="1909786"/>
                  <a:pt x="2467679" y="1934496"/>
                  <a:pt x="2437196" y="1934496"/>
                </a:cubicBezTo>
                <a:cubicBezTo>
                  <a:pt x="2406715" y="1934496"/>
                  <a:pt x="2382005" y="1909786"/>
                  <a:pt x="2382005" y="1879305"/>
                </a:cubicBezTo>
                <a:cubicBezTo>
                  <a:pt x="2382005" y="1848824"/>
                  <a:pt x="2406715" y="1824114"/>
                  <a:pt x="2437196" y="1824114"/>
                </a:cubicBezTo>
                <a:close/>
                <a:moveTo>
                  <a:pt x="2303564" y="1824114"/>
                </a:moveTo>
                <a:cubicBezTo>
                  <a:pt x="2334046" y="1824114"/>
                  <a:pt x="2358756" y="1848824"/>
                  <a:pt x="2358756" y="1879305"/>
                </a:cubicBezTo>
                <a:cubicBezTo>
                  <a:pt x="2358756" y="1909786"/>
                  <a:pt x="2334046" y="1934496"/>
                  <a:pt x="2303564" y="1934496"/>
                </a:cubicBezTo>
                <a:cubicBezTo>
                  <a:pt x="2273082" y="1934496"/>
                  <a:pt x="2248372" y="1909786"/>
                  <a:pt x="2248372" y="1879305"/>
                </a:cubicBezTo>
                <a:cubicBezTo>
                  <a:pt x="2248372" y="1848824"/>
                  <a:pt x="2273082" y="1824114"/>
                  <a:pt x="2303564" y="1824114"/>
                </a:cubicBezTo>
                <a:close/>
                <a:moveTo>
                  <a:pt x="2173271" y="1824114"/>
                </a:moveTo>
                <a:cubicBezTo>
                  <a:pt x="2203753" y="1824114"/>
                  <a:pt x="2228463" y="1848824"/>
                  <a:pt x="2228463" y="1879305"/>
                </a:cubicBezTo>
                <a:cubicBezTo>
                  <a:pt x="2228463" y="1909786"/>
                  <a:pt x="2203753" y="1934496"/>
                  <a:pt x="2173271" y="1934496"/>
                </a:cubicBezTo>
                <a:cubicBezTo>
                  <a:pt x="2142789" y="1934496"/>
                  <a:pt x="2118079" y="1909786"/>
                  <a:pt x="2118079" y="1879305"/>
                </a:cubicBezTo>
                <a:cubicBezTo>
                  <a:pt x="2118079" y="1848824"/>
                  <a:pt x="2142789" y="1824114"/>
                  <a:pt x="2173271" y="1824114"/>
                </a:cubicBezTo>
                <a:close/>
                <a:moveTo>
                  <a:pt x="2039637" y="1824114"/>
                </a:moveTo>
                <a:cubicBezTo>
                  <a:pt x="2070119" y="1824114"/>
                  <a:pt x="2094830" y="1848824"/>
                  <a:pt x="2094830" y="1879305"/>
                </a:cubicBezTo>
                <a:cubicBezTo>
                  <a:pt x="2094830" y="1909786"/>
                  <a:pt x="2070119" y="1934496"/>
                  <a:pt x="2039637" y="1934496"/>
                </a:cubicBezTo>
                <a:cubicBezTo>
                  <a:pt x="2009155" y="1934496"/>
                  <a:pt x="1984445" y="1909786"/>
                  <a:pt x="1984445" y="1879305"/>
                </a:cubicBezTo>
                <a:cubicBezTo>
                  <a:pt x="1984445" y="1848824"/>
                  <a:pt x="2009155" y="1824114"/>
                  <a:pt x="2039637" y="1824114"/>
                </a:cubicBezTo>
                <a:close/>
                <a:moveTo>
                  <a:pt x="1909341" y="1824114"/>
                </a:moveTo>
                <a:cubicBezTo>
                  <a:pt x="1939823" y="1824114"/>
                  <a:pt x="1964533" y="1848824"/>
                  <a:pt x="1964533" y="1879305"/>
                </a:cubicBezTo>
                <a:cubicBezTo>
                  <a:pt x="1964533" y="1909786"/>
                  <a:pt x="1939823" y="1934496"/>
                  <a:pt x="1909341" y="1934496"/>
                </a:cubicBezTo>
                <a:cubicBezTo>
                  <a:pt x="1878859" y="1934496"/>
                  <a:pt x="1854149" y="1909786"/>
                  <a:pt x="1854149" y="1879305"/>
                </a:cubicBezTo>
                <a:cubicBezTo>
                  <a:pt x="1854149" y="1848824"/>
                  <a:pt x="1878859" y="1824114"/>
                  <a:pt x="1909341" y="1824114"/>
                </a:cubicBezTo>
                <a:close/>
                <a:moveTo>
                  <a:pt x="1779049" y="1824114"/>
                </a:moveTo>
                <a:cubicBezTo>
                  <a:pt x="1809531" y="1824114"/>
                  <a:pt x="1834241" y="1848824"/>
                  <a:pt x="1834241" y="1879305"/>
                </a:cubicBezTo>
                <a:cubicBezTo>
                  <a:pt x="1834241" y="1909786"/>
                  <a:pt x="1809531" y="1934496"/>
                  <a:pt x="1779049" y="1934496"/>
                </a:cubicBezTo>
                <a:cubicBezTo>
                  <a:pt x="1748566" y="1934496"/>
                  <a:pt x="1723856" y="1909786"/>
                  <a:pt x="1723856" y="1879305"/>
                </a:cubicBezTo>
                <a:cubicBezTo>
                  <a:pt x="1723856" y="1848824"/>
                  <a:pt x="1748566" y="1824114"/>
                  <a:pt x="1779049" y="1824114"/>
                </a:cubicBezTo>
                <a:close/>
                <a:moveTo>
                  <a:pt x="1645413" y="1824114"/>
                </a:moveTo>
                <a:cubicBezTo>
                  <a:pt x="1675895" y="1824114"/>
                  <a:pt x="1700604" y="1848824"/>
                  <a:pt x="1700604" y="1879305"/>
                </a:cubicBezTo>
                <a:cubicBezTo>
                  <a:pt x="1700604" y="1909786"/>
                  <a:pt x="1675895" y="1934496"/>
                  <a:pt x="1645413" y="1934496"/>
                </a:cubicBezTo>
                <a:cubicBezTo>
                  <a:pt x="1614930" y="1934496"/>
                  <a:pt x="1590220" y="1909786"/>
                  <a:pt x="1590220" y="1879305"/>
                </a:cubicBezTo>
                <a:cubicBezTo>
                  <a:pt x="1590220" y="1848824"/>
                  <a:pt x="1614930" y="1824114"/>
                  <a:pt x="1645413" y="1824114"/>
                </a:cubicBezTo>
                <a:close/>
                <a:moveTo>
                  <a:pt x="1515120" y="1824114"/>
                </a:moveTo>
                <a:cubicBezTo>
                  <a:pt x="1545602" y="1824114"/>
                  <a:pt x="1570311" y="1848824"/>
                  <a:pt x="1570311" y="1879305"/>
                </a:cubicBezTo>
                <a:cubicBezTo>
                  <a:pt x="1570311" y="1909786"/>
                  <a:pt x="1545602" y="1934496"/>
                  <a:pt x="1515120" y="1934496"/>
                </a:cubicBezTo>
                <a:cubicBezTo>
                  <a:pt x="1484638" y="1934496"/>
                  <a:pt x="1459927" y="1909786"/>
                  <a:pt x="1459927" y="1879305"/>
                </a:cubicBezTo>
                <a:cubicBezTo>
                  <a:pt x="1459927" y="1848824"/>
                  <a:pt x="1484638" y="1824114"/>
                  <a:pt x="1515120" y="1824114"/>
                </a:cubicBezTo>
                <a:close/>
                <a:moveTo>
                  <a:pt x="1381486" y="1824114"/>
                </a:moveTo>
                <a:cubicBezTo>
                  <a:pt x="1411968" y="1824114"/>
                  <a:pt x="1436678" y="1848824"/>
                  <a:pt x="1436678" y="1879305"/>
                </a:cubicBezTo>
                <a:cubicBezTo>
                  <a:pt x="1436678" y="1909786"/>
                  <a:pt x="1411968" y="1934496"/>
                  <a:pt x="1381486" y="1934496"/>
                </a:cubicBezTo>
                <a:cubicBezTo>
                  <a:pt x="1351005" y="1934496"/>
                  <a:pt x="1326294" y="1909786"/>
                  <a:pt x="1326294" y="1879305"/>
                </a:cubicBezTo>
                <a:cubicBezTo>
                  <a:pt x="1326294" y="1848824"/>
                  <a:pt x="1351005" y="1824114"/>
                  <a:pt x="1381486" y="1824114"/>
                </a:cubicBezTo>
                <a:close/>
                <a:moveTo>
                  <a:pt x="1251193" y="1824114"/>
                </a:moveTo>
                <a:cubicBezTo>
                  <a:pt x="1281674" y="1824114"/>
                  <a:pt x="1306386" y="1848824"/>
                  <a:pt x="1306386" y="1879305"/>
                </a:cubicBezTo>
                <a:cubicBezTo>
                  <a:pt x="1306386" y="1909786"/>
                  <a:pt x="1281674" y="1934496"/>
                  <a:pt x="1251193" y="1934496"/>
                </a:cubicBezTo>
                <a:cubicBezTo>
                  <a:pt x="1220711" y="1934496"/>
                  <a:pt x="1196001" y="1909786"/>
                  <a:pt x="1196001" y="1879305"/>
                </a:cubicBezTo>
                <a:cubicBezTo>
                  <a:pt x="1196001" y="1848824"/>
                  <a:pt x="1220711" y="1824114"/>
                  <a:pt x="1251193" y="1824114"/>
                </a:cubicBezTo>
                <a:close/>
                <a:moveTo>
                  <a:pt x="4565336" y="1824106"/>
                </a:moveTo>
                <a:cubicBezTo>
                  <a:pt x="4595818" y="1824106"/>
                  <a:pt x="4620528" y="1848816"/>
                  <a:pt x="4620528" y="1879297"/>
                </a:cubicBezTo>
                <a:cubicBezTo>
                  <a:pt x="4620528" y="1909778"/>
                  <a:pt x="4595818" y="1934488"/>
                  <a:pt x="4565336" y="1934488"/>
                </a:cubicBezTo>
                <a:cubicBezTo>
                  <a:pt x="4534854" y="1934488"/>
                  <a:pt x="4510144" y="1909778"/>
                  <a:pt x="4510144" y="1879297"/>
                </a:cubicBezTo>
                <a:cubicBezTo>
                  <a:pt x="4510144" y="1848816"/>
                  <a:pt x="4534854" y="1824106"/>
                  <a:pt x="4565336" y="1824106"/>
                </a:cubicBezTo>
                <a:close/>
                <a:moveTo>
                  <a:pt x="4431689" y="1824098"/>
                </a:moveTo>
                <a:cubicBezTo>
                  <a:pt x="4462171" y="1824098"/>
                  <a:pt x="4486881" y="1848808"/>
                  <a:pt x="4486881" y="1879289"/>
                </a:cubicBezTo>
                <a:cubicBezTo>
                  <a:pt x="4486881" y="1909770"/>
                  <a:pt x="4462171" y="1934480"/>
                  <a:pt x="4431689" y="1934480"/>
                </a:cubicBezTo>
                <a:cubicBezTo>
                  <a:pt x="4401207" y="1934480"/>
                  <a:pt x="4376497" y="1909770"/>
                  <a:pt x="4376497" y="1879289"/>
                </a:cubicBezTo>
                <a:cubicBezTo>
                  <a:pt x="4376497" y="1848808"/>
                  <a:pt x="4401207" y="1824098"/>
                  <a:pt x="4431689" y="1824098"/>
                </a:cubicBezTo>
                <a:close/>
                <a:moveTo>
                  <a:pt x="8801537" y="1707182"/>
                </a:moveTo>
                <a:cubicBezTo>
                  <a:pt x="8832019" y="1707182"/>
                  <a:pt x="8856729" y="1731892"/>
                  <a:pt x="8856729" y="1762373"/>
                </a:cubicBezTo>
                <a:cubicBezTo>
                  <a:pt x="8856729" y="1792854"/>
                  <a:pt x="8832019" y="1817564"/>
                  <a:pt x="8801537" y="1817564"/>
                </a:cubicBezTo>
                <a:cubicBezTo>
                  <a:pt x="8771055" y="1817564"/>
                  <a:pt x="8746345" y="1792854"/>
                  <a:pt x="8746345" y="1762373"/>
                </a:cubicBezTo>
                <a:cubicBezTo>
                  <a:pt x="8746345" y="1731892"/>
                  <a:pt x="8771055" y="1707182"/>
                  <a:pt x="8801537" y="1707182"/>
                </a:cubicBezTo>
                <a:close/>
                <a:moveTo>
                  <a:pt x="8671243" y="1707182"/>
                </a:moveTo>
                <a:cubicBezTo>
                  <a:pt x="8701725" y="1707182"/>
                  <a:pt x="8726435" y="1731892"/>
                  <a:pt x="8726435" y="1762373"/>
                </a:cubicBezTo>
                <a:cubicBezTo>
                  <a:pt x="8726435" y="1792854"/>
                  <a:pt x="8701725" y="1817564"/>
                  <a:pt x="8671243" y="1817564"/>
                </a:cubicBezTo>
                <a:cubicBezTo>
                  <a:pt x="8640761" y="1817564"/>
                  <a:pt x="8616051" y="1792854"/>
                  <a:pt x="8616051" y="1762373"/>
                </a:cubicBezTo>
                <a:cubicBezTo>
                  <a:pt x="8616051" y="1731892"/>
                  <a:pt x="8640761" y="1707182"/>
                  <a:pt x="8671243" y="1707182"/>
                </a:cubicBezTo>
                <a:close/>
                <a:moveTo>
                  <a:pt x="8537609" y="1707182"/>
                </a:moveTo>
                <a:cubicBezTo>
                  <a:pt x="8568091" y="1707182"/>
                  <a:pt x="8592801" y="1731892"/>
                  <a:pt x="8592801" y="1762373"/>
                </a:cubicBezTo>
                <a:cubicBezTo>
                  <a:pt x="8592801" y="1792854"/>
                  <a:pt x="8568091" y="1817564"/>
                  <a:pt x="8537609" y="1817564"/>
                </a:cubicBezTo>
                <a:cubicBezTo>
                  <a:pt x="8507127" y="1817564"/>
                  <a:pt x="8482417" y="1792854"/>
                  <a:pt x="8482417" y="1762373"/>
                </a:cubicBezTo>
                <a:cubicBezTo>
                  <a:pt x="8482417" y="1731892"/>
                  <a:pt x="8507127" y="1707182"/>
                  <a:pt x="8537609" y="1707182"/>
                </a:cubicBezTo>
                <a:close/>
                <a:moveTo>
                  <a:pt x="8407318" y="1707182"/>
                </a:moveTo>
                <a:cubicBezTo>
                  <a:pt x="8437800" y="1707182"/>
                  <a:pt x="8462510" y="1731892"/>
                  <a:pt x="8462510" y="1762373"/>
                </a:cubicBezTo>
                <a:cubicBezTo>
                  <a:pt x="8462510" y="1792854"/>
                  <a:pt x="8437800" y="1817564"/>
                  <a:pt x="8407318" y="1817564"/>
                </a:cubicBezTo>
                <a:cubicBezTo>
                  <a:pt x="8376836" y="1817564"/>
                  <a:pt x="8352126" y="1792854"/>
                  <a:pt x="8352126" y="1762373"/>
                </a:cubicBezTo>
                <a:cubicBezTo>
                  <a:pt x="8352126" y="1731892"/>
                  <a:pt x="8376836" y="1707182"/>
                  <a:pt x="8407318" y="1707182"/>
                </a:cubicBezTo>
                <a:close/>
                <a:moveTo>
                  <a:pt x="8273682" y="1707182"/>
                </a:moveTo>
                <a:cubicBezTo>
                  <a:pt x="8304164" y="1707182"/>
                  <a:pt x="8328874" y="1731892"/>
                  <a:pt x="8328874" y="1762373"/>
                </a:cubicBezTo>
                <a:cubicBezTo>
                  <a:pt x="8328874" y="1792854"/>
                  <a:pt x="8304164" y="1817564"/>
                  <a:pt x="8273682" y="1817564"/>
                </a:cubicBezTo>
                <a:cubicBezTo>
                  <a:pt x="8243200" y="1817564"/>
                  <a:pt x="8218490" y="1792854"/>
                  <a:pt x="8218490" y="1762373"/>
                </a:cubicBezTo>
                <a:cubicBezTo>
                  <a:pt x="8218490" y="1731892"/>
                  <a:pt x="8243200" y="1707182"/>
                  <a:pt x="8273682" y="1707182"/>
                </a:cubicBezTo>
                <a:close/>
                <a:moveTo>
                  <a:pt x="8143386" y="1707182"/>
                </a:moveTo>
                <a:cubicBezTo>
                  <a:pt x="8173868" y="1707182"/>
                  <a:pt x="8198578" y="1731892"/>
                  <a:pt x="8198578" y="1762373"/>
                </a:cubicBezTo>
                <a:cubicBezTo>
                  <a:pt x="8198578" y="1792854"/>
                  <a:pt x="8173868" y="1817564"/>
                  <a:pt x="8143386" y="1817564"/>
                </a:cubicBezTo>
                <a:cubicBezTo>
                  <a:pt x="8112904" y="1817564"/>
                  <a:pt x="8088194" y="1792854"/>
                  <a:pt x="8088194" y="1762373"/>
                </a:cubicBezTo>
                <a:cubicBezTo>
                  <a:pt x="8088194" y="1731892"/>
                  <a:pt x="8112904" y="1707182"/>
                  <a:pt x="8143386" y="1707182"/>
                </a:cubicBezTo>
                <a:close/>
                <a:moveTo>
                  <a:pt x="8009752" y="1707182"/>
                </a:moveTo>
                <a:cubicBezTo>
                  <a:pt x="8040234" y="1707182"/>
                  <a:pt x="8064944" y="1731892"/>
                  <a:pt x="8064944" y="1762373"/>
                </a:cubicBezTo>
                <a:cubicBezTo>
                  <a:pt x="8064944" y="1792854"/>
                  <a:pt x="8040234" y="1817564"/>
                  <a:pt x="8009752" y="1817564"/>
                </a:cubicBezTo>
                <a:cubicBezTo>
                  <a:pt x="7979270" y="1817564"/>
                  <a:pt x="7954560" y="1792854"/>
                  <a:pt x="7954560" y="1762373"/>
                </a:cubicBezTo>
                <a:cubicBezTo>
                  <a:pt x="7954560" y="1731892"/>
                  <a:pt x="7979270" y="1707182"/>
                  <a:pt x="8009752" y="1707182"/>
                </a:cubicBezTo>
                <a:close/>
                <a:moveTo>
                  <a:pt x="7876117" y="1707182"/>
                </a:moveTo>
                <a:cubicBezTo>
                  <a:pt x="7906599" y="1707182"/>
                  <a:pt x="7931309" y="1731892"/>
                  <a:pt x="7931309" y="1762373"/>
                </a:cubicBezTo>
                <a:cubicBezTo>
                  <a:pt x="7931309" y="1792854"/>
                  <a:pt x="7906599" y="1817564"/>
                  <a:pt x="7876117" y="1817564"/>
                </a:cubicBezTo>
                <a:cubicBezTo>
                  <a:pt x="7845635" y="1817564"/>
                  <a:pt x="7820925" y="1792854"/>
                  <a:pt x="7820925" y="1762373"/>
                </a:cubicBezTo>
                <a:cubicBezTo>
                  <a:pt x="7820925" y="1731892"/>
                  <a:pt x="7845635" y="1707182"/>
                  <a:pt x="7876117" y="1707182"/>
                </a:cubicBezTo>
                <a:close/>
                <a:moveTo>
                  <a:pt x="7745824" y="1707182"/>
                </a:moveTo>
                <a:cubicBezTo>
                  <a:pt x="7776306" y="1707182"/>
                  <a:pt x="7801016" y="1731892"/>
                  <a:pt x="7801016" y="1762373"/>
                </a:cubicBezTo>
                <a:cubicBezTo>
                  <a:pt x="7801016" y="1792854"/>
                  <a:pt x="7776306" y="1817564"/>
                  <a:pt x="7745824" y="1817564"/>
                </a:cubicBezTo>
                <a:cubicBezTo>
                  <a:pt x="7715342" y="1817564"/>
                  <a:pt x="7690632" y="1792854"/>
                  <a:pt x="7690632" y="1762373"/>
                </a:cubicBezTo>
                <a:cubicBezTo>
                  <a:pt x="7690632" y="1731892"/>
                  <a:pt x="7715342" y="1707182"/>
                  <a:pt x="7745824" y="1707182"/>
                </a:cubicBezTo>
                <a:close/>
                <a:moveTo>
                  <a:pt x="7608849" y="1707182"/>
                </a:moveTo>
                <a:cubicBezTo>
                  <a:pt x="7639331" y="1707182"/>
                  <a:pt x="7664041" y="1731892"/>
                  <a:pt x="7664041" y="1762373"/>
                </a:cubicBezTo>
                <a:cubicBezTo>
                  <a:pt x="7664041" y="1792854"/>
                  <a:pt x="7639331" y="1817564"/>
                  <a:pt x="7608849" y="1817564"/>
                </a:cubicBezTo>
                <a:cubicBezTo>
                  <a:pt x="7578367" y="1817564"/>
                  <a:pt x="7553657" y="1792854"/>
                  <a:pt x="7553657" y="1762373"/>
                </a:cubicBezTo>
                <a:cubicBezTo>
                  <a:pt x="7553657" y="1731892"/>
                  <a:pt x="7578367" y="1707182"/>
                  <a:pt x="7608849" y="1707182"/>
                </a:cubicBezTo>
                <a:close/>
                <a:moveTo>
                  <a:pt x="7481895" y="1707182"/>
                </a:moveTo>
                <a:cubicBezTo>
                  <a:pt x="7512377" y="1707182"/>
                  <a:pt x="7537087" y="1731892"/>
                  <a:pt x="7537087" y="1762373"/>
                </a:cubicBezTo>
                <a:cubicBezTo>
                  <a:pt x="7537087" y="1792854"/>
                  <a:pt x="7512377" y="1817564"/>
                  <a:pt x="7481895" y="1817564"/>
                </a:cubicBezTo>
                <a:cubicBezTo>
                  <a:pt x="7451413" y="1817564"/>
                  <a:pt x="7426703" y="1792854"/>
                  <a:pt x="7426703" y="1762373"/>
                </a:cubicBezTo>
                <a:cubicBezTo>
                  <a:pt x="7426703" y="1731892"/>
                  <a:pt x="7451413" y="1707182"/>
                  <a:pt x="7481895" y="1707182"/>
                </a:cubicBezTo>
                <a:close/>
                <a:moveTo>
                  <a:pt x="7341579" y="1707182"/>
                </a:moveTo>
                <a:cubicBezTo>
                  <a:pt x="7372061" y="1707182"/>
                  <a:pt x="7396771" y="1731892"/>
                  <a:pt x="7396771" y="1762373"/>
                </a:cubicBezTo>
                <a:cubicBezTo>
                  <a:pt x="7396771" y="1792854"/>
                  <a:pt x="7372061" y="1817564"/>
                  <a:pt x="7341579" y="1817564"/>
                </a:cubicBezTo>
                <a:cubicBezTo>
                  <a:pt x="7311097" y="1817564"/>
                  <a:pt x="7286387" y="1792854"/>
                  <a:pt x="7286387" y="1762373"/>
                </a:cubicBezTo>
                <a:cubicBezTo>
                  <a:pt x="7286387" y="1731892"/>
                  <a:pt x="7311097" y="1707182"/>
                  <a:pt x="7341579" y="1707182"/>
                </a:cubicBezTo>
                <a:close/>
                <a:moveTo>
                  <a:pt x="7211286" y="1707182"/>
                </a:moveTo>
                <a:cubicBezTo>
                  <a:pt x="7241768" y="1707182"/>
                  <a:pt x="7266478" y="1731892"/>
                  <a:pt x="7266478" y="1762373"/>
                </a:cubicBezTo>
                <a:cubicBezTo>
                  <a:pt x="7266478" y="1792854"/>
                  <a:pt x="7241768" y="1817564"/>
                  <a:pt x="7211286" y="1817564"/>
                </a:cubicBezTo>
                <a:cubicBezTo>
                  <a:pt x="7180804" y="1817564"/>
                  <a:pt x="7156094" y="1792854"/>
                  <a:pt x="7156094" y="1762373"/>
                </a:cubicBezTo>
                <a:cubicBezTo>
                  <a:pt x="7156094" y="1731892"/>
                  <a:pt x="7180804" y="1707182"/>
                  <a:pt x="7211286" y="1707182"/>
                </a:cubicBezTo>
                <a:close/>
                <a:moveTo>
                  <a:pt x="7080993" y="1707182"/>
                </a:moveTo>
                <a:cubicBezTo>
                  <a:pt x="7111475" y="1707182"/>
                  <a:pt x="7136185" y="1731892"/>
                  <a:pt x="7136185" y="1762373"/>
                </a:cubicBezTo>
                <a:cubicBezTo>
                  <a:pt x="7136185" y="1792854"/>
                  <a:pt x="7111475" y="1817564"/>
                  <a:pt x="7080993" y="1817564"/>
                </a:cubicBezTo>
                <a:cubicBezTo>
                  <a:pt x="7050511" y="1817564"/>
                  <a:pt x="7025801" y="1792854"/>
                  <a:pt x="7025801" y="1762373"/>
                </a:cubicBezTo>
                <a:cubicBezTo>
                  <a:pt x="7025801" y="1731892"/>
                  <a:pt x="7050511" y="1707182"/>
                  <a:pt x="7080993" y="1707182"/>
                </a:cubicBezTo>
                <a:close/>
                <a:moveTo>
                  <a:pt x="6947357" y="1707182"/>
                </a:moveTo>
                <a:cubicBezTo>
                  <a:pt x="6977839" y="1707182"/>
                  <a:pt x="7002549" y="1731892"/>
                  <a:pt x="7002549" y="1762373"/>
                </a:cubicBezTo>
                <a:cubicBezTo>
                  <a:pt x="7002549" y="1792854"/>
                  <a:pt x="6977839" y="1817564"/>
                  <a:pt x="6947357" y="1817564"/>
                </a:cubicBezTo>
                <a:cubicBezTo>
                  <a:pt x="6916875" y="1817564"/>
                  <a:pt x="6892165" y="1792854"/>
                  <a:pt x="6892165" y="1762373"/>
                </a:cubicBezTo>
                <a:cubicBezTo>
                  <a:pt x="6892165" y="1731892"/>
                  <a:pt x="6916875" y="1707182"/>
                  <a:pt x="6947357" y="1707182"/>
                </a:cubicBezTo>
                <a:close/>
                <a:moveTo>
                  <a:pt x="6817063" y="1707182"/>
                </a:moveTo>
                <a:cubicBezTo>
                  <a:pt x="6847545" y="1707182"/>
                  <a:pt x="6872255" y="1731892"/>
                  <a:pt x="6872255" y="1762373"/>
                </a:cubicBezTo>
                <a:cubicBezTo>
                  <a:pt x="6872255" y="1792854"/>
                  <a:pt x="6847545" y="1817564"/>
                  <a:pt x="6817063" y="1817564"/>
                </a:cubicBezTo>
                <a:cubicBezTo>
                  <a:pt x="6786581" y="1817564"/>
                  <a:pt x="6761871" y="1792854"/>
                  <a:pt x="6761871" y="1762373"/>
                </a:cubicBezTo>
                <a:cubicBezTo>
                  <a:pt x="6761871" y="1731892"/>
                  <a:pt x="6786581" y="1707182"/>
                  <a:pt x="6817063" y="1707182"/>
                </a:cubicBezTo>
                <a:close/>
                <a:moveTo>
                  <a:pt x="6683431" y="1707182"/>
                </a:moveTo>
                <a:cubicBezTo>
                  <a:pt x="6713913" y="1707182"/>
                  <a:pt x="6738623" y="1731892"/>
                  <a:pt x="6738623" y="1762373"/>
                </a:cubicBezTo>
                <a:cubicBezTo>
                  <a:pt x="6738623" y="1792854"/>
                  <a:pt x="6713913" y="1817564"/>
                  <a:pt x="6683431" y="1817564"/>
                </a:cubicBezTo>
                <a:cubicBezTo>
                  <a:pt x="6652949" y="1817564"/>
                  <a:pt x="6628239" y="1792854"/>
                  <a:pt x="6628239" y="1762373"/>
                </a:cubicBezTo>
                <a:cubicBezTo>
                  <a:pt x="6628239" y="1731892"/>
                  <a:pt x="6652949" y="1707182"/>
                  <a:pt x="6683431" y="1707182"/>
                </a:cubicBezTo>
                <a:close/>
                <a:moveTo>
                  <a:pt x="6553137" y="1707182"/>
                </a:moveTo>
                <a:cubicBezTo>
                  <a:pt x="6583619" y="1707182"/>
                  <a:pt x="6608329" y="1731892"/>
                  <a:pt x="6608329" y="1762373"/>
                </a:cubicBezTo>
                <a:cubicBezTo>
                  <a:pt x="6608329" y="1792854"/>
                  <a:pt x="6583619" y="1817564"/>
                  <a:pt x="6553137" y="1817564"/>
                </a:cubicBezTo>
                <a:cubicBezTo>
                  <a:pt x="6522655" y="1817564"/>
                  <a:pt x="6497945" y="1792854"/>
                  <a:pt x="6497945" y="1762373"/>
                </a:cubicBezTo>
                <a:cubicBezTo>
                  <a:pt x="6497945" y="1731892"/>
                  <a:pt x="6522655" y="1707182"/>
                  <a:pt x="6553137" y="1707182"/>
                </a:cubicBezTo>
                <a:close/>
                <a:moveTo>
                  <a:pt x="6419502" y="1707182"/>
                </a:moveTo>
                <a:cubicBezTo>
                  <a:pt x="6449984" y="1707182"/>
                  <a:pt x="6474694" y="1731892"/>
                  <a:pt x="6474694" y="1762373"/>
                </a:cubicBezTo>
                <a:cubicBezTo>
                  <a:pt x="6474694" y="1792854"/>
                  <a:pt x="6449984" y="1817564"/>
                  <a:pt x="6419502" y="1817564"/>
                </a:cubicBezTo>
                <a:cubicBezTo>
                  <a:pt x="6389020" y="1817564"/>
                  <a:pt x="6364310" y="1792854"/>
                  <a:pt x="6364310" y="1762373"/>
                </a:cubicBezTo>
                <a:cubicBezTo>
                  <a:pt x="6364310" y="1731892"/>
                  <a:pt x="6389020" y="1707182"/>
                  <a:pt x="6419502" y="1707182"/>
                </a:cubicBezTo>
                <a:close/>
                <a:moveTo>
                  <a:pt x="6289207" y="1707182"/>
                </a:moveTo>
                <a:cubicBezTo>
                  <a:pt x="6319689" y="1707182"/>
                  <a:pt x="6344399" y="1731892"/>
                  <a:pt x="6344399" y="1762373"/>
                </a:cubicBezTo>
                <a:cubicBezTo>
                  <a:pt x="6344399" y="1792854"/>
                  <a:pt x="6319689" y="1817564"/>
                  <a:pt x="6289207" y="1817564"/>
                </a:cubicBezTo>
                <a:cubicBezTo>
                  <a:pt x="6258725" y="1817564"/>
                  <a:pt x="6234015" y="1792854"/>
                  <a:pt x="6234015" y="1762373"/>
                </a:cubicBezTo>
                <a:cubicBezTo>
                  <a:pt x="6234015" y="1731892"/>
                  <a:pt x="6258725" y="1707182"/>
                  <a:pt x="6289207" y="1707182"/>
                </a:cubicBezTo>
                <a:close/>
                <a:moveTo>
                  <a:pt x="6155572" y="1707182"/>
                </a:moveTo>
                <a:cubicBezTo>
                  <a:pt x="6186054" y="1707182"/>
                  <a:pt x="6210764" y="1731892"/>
                  <a:pt x="6210764" y="1762373"/>
                </a:cubicBezTo>
                <a:cubicBezTo>
                  <a:pt x="6210764" y="1792854"/>
                  <a:pt x="6186054" y="1817564"/>
                  <a:pt x="6155572" y="1817564"/>
                </a:cubicBezTo>
                <a:cubicBezTo>
                  <a:pt x="6125090" y="1817564"/>
                  <a:pt x="6100380" y="1792854"/>
                  <a:pt x="6100380" y="1762373"/>
                </a:cubicBezTo>
                <a:cubicBezTo>
                  <a:pt x="6100380" y="1731892"/>
                  <a:pt x="6125090" y="1707182"/>
                  <a:pt x="6155572" y="1707182"/>
                </a:cubicBezTo>
                <a:close/>
                <a:moveTo>
                  <a:pt x="6021938" y="1707182"/>
                </a:moveTo>
                <a:cubicBezTo>
                  <a:pt x="6052420" y="1707182"/>
                  <a:pt x="6077130" y="1731892"/>
                  <a:pt x="6077130" y="1762373"/>
                </a:cubicBezTo>
                <a:cubicBezTo>
                  <a:pt x="6077130" y="1792854"/>
                  <a:pt x="6052420" y="1817564"/>
                  <a:pt x="6021938" y="1817564"/>
                </a:cubicBezTo>
                <a:cubicBezTo>
                  <a:pt x="5991456" y="1817564"/>
                  <a:pt x="5966746" y="1792854"/>
                  <a:pt x="5966746" y="1762373"/>
                </a:cubicBezTo>
                <a:cubicBezTo>
                  <a:pt x="5966746" y="1731892"/>
                  <a:pt x="5991456" y="1707182"/>
                  <a:pt x="6021938" y="1707182"/>
                </a:cubicBezTo>
                <a:close/>
                <a:moveTo>
                  <a:pt x="5884964" y="1707182"/>
                </a:moveTo>
                <a:cubicBezTo>
                  <a:pt x="5915446" y="1707182"/>
                  <a:pt x="5940156" y="1731892"/>
                  <a:pt x="5940156" y="1762373"/>
                </a:cubicBezTo>
                <a:cubicBezTo>
                  <a:pt x="5940156" y="1792854"/>
                  <a:pt x="5915446" y="1817564"/>
                  <a:pt x="5884964" y="1817564"/>
                </a:cubicBezTo>
                <a:cubicBezTo>
                  <a:pt x="5854482" y="1817564"/>
                  <a:pt x="5829772" y="1792854"/>
                  <a:pt x="5829772" y="1762373"/>
                </a:cubicBezTo>
                <a:cubicBezTo>
                  <a:pt x="5829772" y="1731892"/>
                  <a:pt x="5854482" y="1707182"/>
                  <a:pt x="5884964" y="1707182"/>
                </a:cubicBezTo>
                <a:close/>
                <a:moveTo>
                  <a:pt x="5754670" y="1707182"/>
                </a:moveTo>
                <a:cubicBezTo>
                  <a:pt x="5785152" y="1707182"/>
                  <a:pt x="5809862" y="1731892"/>
                  <a:pt x="5809862" y="1762373"/>
                </a:cubicBezTo>
                <a:cubicBezTo>
                  <a:pt x="5809862" y="1792854"/>
                  <a:pt x="5785152" y="1817564"/>
                  <a:pt x="5754670" y="1817564"/>
                </a:cubicBezTo>
                <a:cubicBezTo>
                  <a:pt x="5724188" y="1817564"/>
                  <a:pt x="5699478" y="1792854"/>
                  <a:pt x="5699478" y="1762373"/>
                </a:cubicBezTo>
                <a:cubicBezTo>
                  <a:pt x="5699478" y="1731892"/>
                  <a:pt x="5724188" y="1707182"/>
                  <a:pt x="5754670" y="1707182"/>
                </a:cubicBezTo>
                <a:close/>
                <a:moveTo>
                  <a:pt x="5621035" y="1707182"/>
                </a:moveTo>
                <a:cubicBezTo>
                  <a:pt x="5651517" y="1707182"/>
                  <a:pt x="5676227" y="1731892"/>
                  <a:pt x="5676227" y="1762373"/>
                </a:cubicBezTo>
                <a:cubicBezTo>
                  <a:pt x="5676227" y="1792854"/>
                  <a:pt x="5651517" y="1817564"/>
                  <a:pt x="5621035" y="1817564"/>
                </a:cubicBezTo>
                <a:cubicBezTo>
                  <a:pt x="5590553" y="1817564"/>
                  <a:pt x="5565843" y="1792854"/>
                  <a:pt x="5565843" y="1762373"/>
                </a:cubicBezTo>
                <a:cubicBezTo>
                  <a:pt x="5565843" y="1731892"/>
                  <a:pt x="5590553" y="1707182"/>
                  <a:pt x="5621035" y="1707182"/>
                </a:cubicBezTo>
                <a:close/>
                <a:moveTo>
                  <a:pt x="5487399" y="1707182"/>
                </a:moveTo>
                <a:cubicBezTo>
                  <a:pt x="5517881" y="1707182"/>
                  <a:pt x="5542591" y="1731892"/>
                  <a:pt x="5542591" y="1762373"/>
                </a:cubicBezTo>
                <a:cubicBezTo>
                  <a:pt x="5542591" y="1792854"/>
                  <a:pt x="5517881" y="1817564"/>
                  <a:pt x="5487399" y="1817564"/>
                </a:cubicBezTo>
                <a:cubicBezTo>
                  <a:pt x="5456917" y="1817564"/>
                  <a:pt x="5432207" y="1792854"/>
                  <a:pt x="5432207" y="1762373"/>
                </a:cubicBezTo>
                <a:cubicBezTo>
                  <a:pt x="5432207" y="1731892"/>
                  <a:pt x="5456917" y="1707182"/>
                  <a:pt x="5487399" y="1707182"/>
                </a:cubicBezTo>
                <a:close/>
                <a:moveTo>
                  <a:pt x="5357105" y="1707182"/>
                </a:moveTo>
                <a:cubicBezTo>
                  <a:pt x="5387587" y="1707182"/>
                  <a:pt x="5412297" y="1731892"/>
                  <a:pt x="5412297" y="1762373"/>
                </a:cubicBezTo>
                <a:cubicBezTo>
                  <a:pt x="5412297" y="1792854"/>
                  <a:pt x="5387587" y="1817564"/>
                  <a:pt x="5357105" y="1817564"/>
                </a:cubicBezTo>
                <a:cubicBezTo>
                  <a:pt x="5326623" y="1817564"/>
                  <a:pt x="5301913" y="1792854"/>
                  <a:pt x="5301913" y="1762373"/>
                </a:cubicBezTo>
                <a:cubicBezTo>
                  <a:pt x="5301913" y="1731892"/>
                  <a:pt x="5326623" y="1707182"/>
                  <a:pt x="5357105" y="1707182"/>
                </a:cubicBezTo>
                <a:close/>
                <a:moveTo>
                  <a:pt x="5223473" y="1707182"/>
                </a:moveTo>
                <a:cubicBezTo>
                  <a:pt x="5253955" y="1707182"/>
                  <a:pt x="5278665" y="1731892"/>
                  <a:pt x="5278665" y="1762373"/>
                </a:cubicBezTo>
                <a:cubicBezTo>
                  <a:pt x="5278665" y="1792854"/>
                  <a:pt x="5253955" y="1817564"/>
                  <a:pt x="5223473" y="1817564"/>
                </a:cubicBezTo>
                <a:cubicBezTo>
                  <a:pt x="5192991" y="1817564"/>
                  <a:pt x="5168281" y="1792854"/>
                  <a:pt x="5168281" y="1762373"/>
                </a:cubicBezTo>
                <a:cubicBezTo>
                  <a:pt x="5168281" y="1731892"/>
                  <a:pt x="5192991" y="1707182"/>
                  <a:pt x="5223473" y="1707182"/>
                </a:cubicBezTo>
                <a:close/>
                <a:moveTo>
                  <a:pt x="5093178" y="1707182"/>
                </a:moveTo>
                <a:cubicBezTo>
                  <a:pt x="5123660" y="1707182"/>
                  <a:pt x="5148370" y="1731892"/>
                  <a:pt x="5148370" y="1762373"/>
                </a:cubicBezTo>
                <a:cubicBezTo>
                  <a:pt x="5148370" y="1792854"/>
                  <a:pt x="5123660" y="1817564"/>
                  <a:pt x="5093178" y="1817564"/>
                </a:cubicBezTo>
                <a:cubicBezTo>
                  <a:pt x="5062696" y="1817564"/>
                  <a:pt x="5037986" y="1792854"/>
                  <a:pt x="5037986" y="1762373"/>
                </a:cubicBezTo>
                <a:cubicBezTo>
                  <a:pt x="5037986" y="1731892"/>
                  <a:pt x="5062696" y="1707182"/>
                  <a:pt x="5093178" y="1707182"/>
                </a:cubicBezTo>
                <a:close/>
                <a:moveTo>
                  <a:pt x="4959543" y="1707182"/>
                </a:moveTo>
                <a:cubicBezTo>
                  <a:pt x="4990025" y="1707182"/>
                  <a:pt x="5014735" y="1731892"/>
                  <a:pt x="5014735" y="1762373"/>
                </a:cubicBezTo>
                <a:cubicBezTo>
                  <a:pt x="5014735" y="1792854"/>
                  <a:pt x="4990025" y="1817564"/>
                  <a:pt x="4959543" y="1817564"/>
                </a:cubicBezTo>
                <a:cubicBezTo>
                  <a:pt x="4929061" y="1817564"/>
                  <a:pt x="4904351" y="1792854"/>
                  <a:pt x="4904351" y="1762373"/>
                </a:cubicBezTo>
                <a:cubicBezTo>
                  <a:pt x="4904351" y="1731892"/>
                  <a:pt x="4929061" y="1707182"/>
                  <a:pt x="4959543" y="1707182"/>
                </a:cubicBezTo>
                <a:close/>
                <a:moveTo>
                  <a:pt x="4829251" y="1707182"/>
                </a:moveTo>
                <a:cubicBezTo>
                  <a:pt x="4859733" y="1707182"/>
                  <a:pt x="4884443" y="1731892"/>
                  <a:pt x="4884443" y="1762373"/>
                </a:cubicBezTo>
                <a:cubicBezTo>
                  <a:pt x="4884443" y="1792854"/>
                  <a:pt x="4859733" y="1817564"/>
                  <a:pt x="4829251" y="1817564"/>
                </a:cubicBezTo>
                <a:cubicBezTo>
                  <a:pt x="4798769" y="1817564"/>
                  <a:pt x="4774059" y="1792854"/>
                  <a:pt x="4774059" y="1762373"/>
                </a:cubicBezTo>
                <a:cubicBezTo>
                  <a:pt x="4774059" y="1731892"/>
                  <a:pt x="4798769" y="1707182"/>
                  <a:pt x="4829251" y="1707182"/>
                </a:cubicBezTo>
                <a:close/>
                <a:moveTo>
                  <a:pt x="4695613" y="1707182"/>
                </a:moveTo>
                <a:cubicBezTo>
                  <a:pt x="4726095" y="1707182"/>
                  <a:pt x="4750805" y="1731892"/>
                  <a:pt x="4750805" y="1762373"/>
                </a:cubicBezTo>
                <a:cubicBezTo>
                  <a:pt x="4750805" y="1792854"/>
                  <a:pt x="4726095" y="1817564"/>
                  <a:pt x="4695613" y="1817564"/>
                </a:cubicBezTo>
                <a:cubicBezTo>
                  <a:pt x="4665131" y="1817564"/>
                  <a:pt x="4640421" y="1792854"/>
                  <a:pt x="4640421" y="1762373"/>
                </a:cubicBezTo>
                <a:cubicBezTo>
                  <a:pt x="4640421" y="1731892"/>
                  <a:pt x="4665131" y="1707182"/>
                  <a:pt x="4695613" y="1707182"/>
                </a:cubicBezTo>
                <a:close/>
                <a:moveTo>
                  <a:pt x="3098681" y="1707182"/>
                </a:moveTo>
                <a:cubicBezTo>
                  <a:pt x="3129163" y="1707182"/>
                  <a:pt x="3153873" y="1731892"/>
                  <a:pt x="3153873" y="1762373"/>
                </a:cubicBezTo>
                <a:cubicBezTo>
                  <a:pt x="3153873" y="1792854"/>
                  <a:pt x="3129163" y="1817564"/>
                  <a:pt x="3098681" y="1817564"/>
                </a:cubicBezTo>
                <a:cubicBezTo>
                  <a:pt x="3068199" y="1817564"/>
                  <a:pt x="3043489" y="1792854"/>
                  <a:pt x="3043489" y="1762373"/>
                </a:cubicBezTo>
                <a:cubicBezTo>
                  <a:pt x="3043489" y="1731892"/>
                  <a:pt x="3068199" y="1707182"/>
                  <a:pt x="3098681" y="1707182"/>
                </a:cubicBezTo>
                <a:close/>
                <a:moveTo>
                  <a:pt x="2971729" y="1707182"/>
                </a:moveTo>
                <a:cubicBezTo>
                  <a:pt x="3002211" y="1707182"/>
                  <a:pt x="3026921" y="1731892"/>
                  <a:pt x="3026921" y="1762373"/>
                </a:cubicBezTo>
                <a:cubicBezTo>
                  <a:pt x="3026921" y="1792854"/>
                  <a:pt x="3002211" y="1817564"/>
                  <a:pt x="2971729" y="1817564"/>
                </a:cubicBezTo>
                <a:cubicBezTo>
                  <a:pt x="2941247" y="1817564"/>
                  <a:pt x="2916537" y="1792854"/>
                  <a:pt x="2916537" y="1762373"/>
                </a:cubicBezTo>
                <a:cubicBezTo>
                  <a:pt x="2916537" y="1731892"/>
                  <a:pt x="2941247" y="1707182"/>
                  <a:pt x="2971729" y="1707182"/>
                </a:cubicBezTo>
                <a:close/>
                <a:moveTo>
                  <a:pt x="2834772" y="1707182"/>
                </a:moveTo>
                <a:cubicBezTo>
                  <a:pt x="2865254" y="1707182"/>
                  <a:pt x="2889964" y="1731892"/>
                  <a:pt x="2889964" y="1762373"/>
                </a:cubicBezTo>
                <a:cubicBezTo>
                  <a:pt x="2889964" y="1792854"/>
                  <a:pt x="2865254" y="1817564"/>
                  <a:pt x="2834772" y="1817564"/>
                </a:cubicBezTo>
                <a:cubicBezTo>
                  <a:pt x="2804290" y="1817564"/>
                  <a:pt x="2779580" y="1792854"/>
                  <a:pt x="2779580" y="1762373"/>
                </a:cubicBezTo>
                <a:cubicBezTo>
                  <a:pt x="2779580" y="1731892"/>
                  <a:pt x="2804290" y="1707182"/>
                  <a:pt x="2834772" y="1707182"/>
                </a:cubicBezTo>
                <a:close/>
                <a:moveTo>
                  <a:pt x="2707817" y="1707182"/>
                </a:moveTo>
                <a:cubicBezTo>
                  <a:pt x="2738299" y="1707182"/>
                  <a:pt x="2763009" y="1731892"/>
                  <a:pt x="2763009" y="1762373"/>
                </a:cubicBezTo>
                <a:cubicBezTo>
                  <a:pt x="2763009" y="1792854"/>
                  <a:pt x="2738299" y="1817564"/>
                  <a:pt x="2707817" y="1817564"/>
                </a:cubicBezTo>
                <a:cubicBezTo>
                  <a:pt x="2677336" y="1817564"/>
                  <a:pt x="2652625" y="1792854"/>
                  <a:pt x="2652625" y="1762373"/>
                </a:cubicBezTo>
                <a:cubicBezTo>
                  <a:pt x="2652625" y="1731892"/>
                  <a:pt x="2677336" y="1707182"/>
                  <a:pt x="2707817" y="1707182"/>
                </a:cubicBezTo>
                <a:close/>
                <a:moveTo>
                  <a:pt x="2570843" y="1707182"/>
                </a:moveTo>
                <a:cubicBezTo>
                  <a:pt x="2601326" y="1707182"/>
                  <a:pt x="2626036" y="1731892"/>
                  <a:pt x="2626036" y="1762373"/>
                </a:cubicBezTo>
                <a:cubicBezTo>
                  <a:pt x="2626036" y="1792854"/>
                  <a:pt x="2601326" y="1817564"/>
                  <a:pt x="2570843" y="1817564"/>
                </a:cubicBezTo>
                <a:cubicBezTo>
                  <a:pt x="2540362" y="1817564"/>
                  <a:pt x="2515651" y="1792854"/>
                  <a:pt x="2515651" y="1762373"/>
                </a:cubicBezTo>
                <a:cubicBezTo>
                  <a:pt x="2515651" y="1731892"/>
                  <a:pt x="2540362" y="1707182"/>
                  <a:pt x="2570843" y="1707182"/>
                </a:cubicBezTo>
                <a:close/>
                <a:moveTo>
                  <a:pt x="2437207" y="1707182"/>
                </a:moveTo>
                <a:cubicBezTo>
                  <a:pt x="2467689" y="1707182"/>
                  <a:pt x="2492398" y="1731892"/>
                  <a:pt x="2492398" y="1762373"/>
                </a:cubicBezTo>
                <a:cubicBezTo>
                  <a:pt x="2492398" y="1792854"/>
                  <a:pt x="2467689" y="1817564"/>
                  <a:pt x="2437207" y="1817564"/>
                </a:cubicBezTo>
                <a:cubicBezTo>
                  <a:pt x="2406725" y="1817564"/>
                  <a:pt x="2382015" y="1792854"/>
                  <a:pt x="2382015" y="1762373"/>
                </a:cubicBezTo>
                <a:cubicBezTo>
                  <a:pt x="2382015" y="1731892"/>
                  <a:pt x="2406725" y="1707182"/>
                  <a:pt x="2437207" y="1707182"/>
                </a:cubicBezTo>
                <a:close/>
                <a:moveTo>
                  <a:pt x="2303575" y="1707182"/>
                </a:moveTo>
                <a:cubicBezTo>
                  <a:pt x="2334057" y="1707182"/>
                  <a:pt x="2358767" y="1731892"/>
                  <a:pt x="2358767" y="1762373"/>
                </a:cubicBezTo>
                <a:cubicBezTo>
                  <a:pt x="2358767" y="1792854"/>
                  <a:pt x="2334057" y="1817564"/>
                  <a:pt x="2303575" y="1817564"/>
                </a:cubicBezTo>
                <a:cubicBezTo>
                  <a:pt x="2273093" y="1817564"/>
                  <a:pt x="2248383" y="1792854"/>
                  <a:pt x="2248383" y="1762373"/>
                </a:cubicBezTo>
                <a:cubicBezTo>
                  <a:pt x="2248383" y="1731892"/>
                  <a:pt x="2273093" y="1707182"/>
                  <a:pt x="2303575" y="1707182"/>
                </a:cubicBezTo>
                <a:close/>
                <a:moveTo>
                  <a:pt x="2173282" y="1707182"/>
                </a:moveTo>
                <a:cubicBezTo>
                  <a:pt x="2203764" y="1707182"/>
                  <a:pt x="2228474" y="1731892"/>
                  <a:pt x="2228474" y="1762373"/>
                </a:cubicBezTo>
                <a:cubicBezTo>
                  <a:pt x="2228474" y="1792854"/>
                  <a:pt x="2203764" y="1817564"/>
                  <a:pt x="2173282" y="1817564"/>
                </a:cubicBezTo>
                <a:cubicBezTo>
                  <a:pt x="2142800" y="1817564"/>
                  <a:pt x="2118090" y="1792854"/>
                  <a:pt x="2118090" y="1762373"/>
                </a:cubicBezTo>
                <a:cubicBezTo>
                  <a:pt x="2118090" y="1731892"/>
                  <a:pt x="2142800" y="1707182"/>
                  <a:pt x="2173282" y="1707182"/>
                </a:cubicBezTo>
                <a:close/>
                <a:moveTo>
                  <a:pt x="2039648" y="1707182"/>
                </a:moveTo>
                <a:cubicBezTo>
                  <a:pt x="2070129" y="1707182"/>
                  <a:pt x="2094840" y="1731892"/>
                  <a:pt x="2094840" y="1762373"/>
                </a:cubicBezTo>
                <a:cubicBezTo>
                  <a:pt x="2094840" y="1792854"/>
                  <a:pt x="2070129" y="1817564"/>
                  <a:pt x="2039648" y="1817564"/>
                </a:cubicBezTo>
                <a:cubicBezTo>
                  <a:pt x="2009165" y="1817564"/>
                  <a:pt x="1984455" y="1792854"/>
                  <a:pt x="1984455" y="1762373"/>
                </a:cubicBezTo>
                <a:cubicBezTo>
                  <a:pt x="1984455" y="1731892"/>
                  <a:pt x="2009165" y="1707182"/>
                  <a:pt x="2039648" y="1707182"/>
                </a:cubicBezTo>
                <a:close/>
                <a:moveTo>
                  <a:pt x="1909353" y="1707182"/>
                </a:moveTo>
                <a:cubicBezTo>
                  <a:pt x="1939835" y="1707182"/>
                  <a:pt x="1964545" y="1731892"/>
                  <a:pt x="1964545" y="1762373"/>
                </a:cubicBezTo>
                <a:cubicBezTo>
                  <a:pt x="1964545" y="1792854"/>
                  <a:pt x="1939835" y="1817564"/>
                  <a:pt x="1909353" y="1817564"/>
                </a:cubicBezTo>
                <a:cubicBezTo>
                  <a:pt x="1878870" y="1817564"/>
                  <a:pt x="1854161" y="1792854"/>
                  <a:pt x="1854161" y="1762373"/>
                </a:cubicBezTo>
                <a:cubicBezTo>
                  <a:pt x="1854161" y="1731892"/>
                  <a:pt x="1878870" y="1707182"/>
                  <a:pt x="1909353" y="1707182"/>
                </a:cubicBezTo>
                <a:close/>
                <a:moveTo>
                  <a:pt x="1779058" y="1707182"/>
                </a:moveTo>
                <a:cubicBezTo>
                  <a:pt x="1809540" y="1707182"/>
                  <a:pt x="1834251" y="1731892"/>
                  <a:pt x="1834251" y="1762373"/>
                </a:cubicBezTo>
                <a:cubicBezTo>
                  <a:pt x="1834251" y="1792854"/>
                  <a:pt x="1809540" y="1817564"/>
                  <a:pt x="1779058" y="1817564"/>
                </a:cubicBezTo>
                <a:cubicBezTo>
                  <a:pt x="1748577" y="1817564"/>
                  <a:pt x="1723867" y="1792854"/>
                  <a:pt x="1723867" y="1762373"/>
                </a:cubicBezTo>
                <a:cubicBezTo>
                  <a:pt x="1723867" y="1731892"/>
                  <a:pt x="1748577" y="1707182"/>
                  <a:pt x="1779058" y="1707182"/>
                </a:cubicBezTo>
                <a:close/>
                <a:moveTo>
                  <a:pt x="1645422" y="1707182"/>
                </a:moveTo>
                <a:cubicBezTo>
                  <a:pt x="1675906" y="1707182"/>
                  <a:pt x="1700617" y="1731892"/>
                  <a:pt x="1700617" y="1762373"/>
                </a:cubicBezTo>
                <a:cubicBezTo>
                  <a:pt x="1700617" y="1792854"/>
                  <a:pt x="1675906" y="1817564"/>
                  <a:pt x="1645422" y="1817564"/>
                </a:cubicBezTo>
                <a:cubicBezTo>
                  <a:pt x="1614940" y="1817564"/>
                  <a:pt x="1590230" y="1792854"/>
                  <a:pt x="1590230" y="1762373"/>
                </a:cubicBezTo>
                <a:cubicBezTo>
                  <a:pt x="1590230" y="1731892"/>
                  <a:pt x="1614940" y="1707182"/>
                  <a:pt x="1645422" y="1707182"/>
                </a:cubicBezTo>
                <a:close/>
                <a:moveTo>
                  <a:pt x="1515130" y="1707182"/>
                </a:moveTo>
                <a:cubicBezTo>
                  <a:pt x="1545612" y="1707182"/>
                  <a:pt x="1570322" y="1731892"/>
                  <a:pt x="1570322" y="1762373"/>
                </a:cubicBezTo>
                <a:cubicBezTo>
                  <a:pt x="1570322" y="1792854"/>
                  <a:pt x="1545612" y="1817564"/>
                  <a:pt x="1515130" y="1817564"/>
                </a:cubicBezTo>
                <a:cubicBezTo>
                  <a:pt x="1484648" y="1817564"/>
                  <a:pt x="1459938" y="1792854"/>
                  <a:pt x="1459938" y="1762373"/>
                </a:cubicBezTo>
                <a:cubicBezTo>
                  <a:pt x="1459938" y="1731892"/>
                  <a:pt x="1484648" y="1707182"/>
                  <a:pt x="1515130" y="1707182"/>
                </a:cubicBezTo>
                <a:close/>
                <a:moveTo>
                  <a:pt x="1381494" y="1707182"/>
                </a:moveTo>
                <a:cubicBezTo>
                  <a:pt x="1411978" y="1707182"/>
                  <a:pt x="1436688" y="1731892"/>
                  <a:pt x="1436688" y="1762373"/>
                </a:cubicBezTo>
                <a:cubicBezTo>
                  <a:pt x="1436688" y="1792854"/>
                  <a:pt x="1411978" y="1817564"/>
                  <a:pt x="1381494" y="1817564"/>
                </a:cubicBezTo>
                <a:cubicBezTo>
                  <a:pt x="1351014" y="1817564"/>
                  <a:pt x="1326303" y="1792854"/>
                  <a:pt x="1326303" y="1762373"/>
                </a:cubicBezTo>
                <a:cubicBezTo>
                  <a:pt x="1326303" y="1731892"/>
                  <a:pt x="1351014" y="1707182"/>
                  <a:pt x="1381494" y="1707182"/>
                </a:cubicBezTo>
                <a:close/>
                <a:moveTo>
                  <a:pt x="1251201" y="1707182"/>
                </a:moveTo>
                <a:cubicBezTo>
                  <a:pt x="1281685" y="1707182"/>
                  <a:pt x="1306393" y="1731892"/>
                  <a:pt x="1306393" y="1762373"/>
                </a:cubicBezTo>
                <a:cubicBezTo>
                  <a:pt x="1306393" y="1792854"/>
                  <a:pt x="1281685" y="1817564"/>
                  <a:pt x="1251201" y="1817564"/>
                </a:cubicBezTo>
                <a:cubicBezTo>
                  <a:pt x="1220721" y="1817564"/>
                  <a:pt x="1196010" y="1792854"/>
                  <a:pt x="1196010" y="1762373"/>
                </a:cubicBezTo>
                <a:cubicBezTo>
                  <a:pt x="1196010" y="1731892"/>
                  <a:pt x="1220721" y="1707182"/>
                  <a:pt x="1251201" y="1707182"/>
                </a:cubicBezTo>
                <a:close/>
                <a:moveTo>
                  <a:pt x="1909361" y="1580232"/>
                </a:moveTo>
                <a:cubicBezTo>
                  <a:pt x="1939843" y="1580232"/>
                  <a:pt x="1964554" y="1604942"/>
                  <a:pt x="1964554" y="1635423"/>
                </a:cubicBezTo>
                <a:cubicBezTo>
                  <a:pt x="1964554" y="1665904"/>
                  <a:pt x="1939843" y="1690614"/>
                  <a:pt x="1909361" y="1690614"/>
                </a:cubicBezTo>
                <a:cubicBezTo>
                  <a:pt x="1878879" y="1690614"/>
                  <a:pt x="1854168" y="1665904"/>
                  <a:pt x="1854168" y="1635423"/>
                </a:cubicBezTo>
                <a:cubicBezTo>
                  <a:pt x="1854168" y="1604942"/>
                  <a:pt x="1878879" y="1580232"/>
                  <a:pt x="1909361" y="1580232"/>
                </a:cubicBezTo>
                <a:close/>
                <a:moveTo>
                  <a:pt x="1779065" y="1580232"/>
                </a:moveTo>
                <a:cubicBezTo>
                  <a:pt x="1809547" y="1580232"/>
                  <a:pt x="1834257" y="1604942"/>
                  <a:pt x="1834257" y="1635423"/>
                </a:cubicBezTo>
                <a:cubicBezTo>
                  <a:pt x="1834257" y="1665904"/>
                  <a:pt x="1809547" y="1690614"/>
                  <a:pt x="1779065" y="1690614"/>
                </a:cubicBezTo>
                <a:cubicBezTo>
                  <a:pt x="1748583" y="1690614"/>
                  <a:pt x="1723872" y="1665904"/>
                  <a:pt x="1723872" y="1635423"/>
                </a:cubicBezTo>
                <a:cubicBezTo>
                  <a:pt x="1723872" y="1604942"/>
                  <a:pt x="1748583" y="1580232"/>
                  <a:pt x="1779065" y="1580232"/>
                </a:cubicBezTo>
                <a:close/>
                <a:moveTo>
                  <a:pt x="1645431" y="1580232"/>
                </a:moveTo>
                <a:cubicBezTo>
                  <a:pt x="1675914" y="1580232"/>
                  <a:pt x="1700623" y="1604942"/>
                  <a:pt x="1700623" y="1635423"/>
                </a:cubicBezTo>
                <a:cubicBezTo>
                  <a:pt x="1700623" y="1665904"/>
                  <a:pt x="1675914" y="1690614"/>
                  <a:pt x="1645431" y="1690614"/>
                </a:cubicBezTo>
                <a:cubicBezTo>
                  <a:pt x="1614950" y="1690614"/>
                  <a:pt x="1590238" y="1665904"/>
                  <a:pt x="1590238" y="1635423"/>
                </a:cubicBezTo>
                <a:cubicBezTo>
                  <a:pt x="1590238" y="1604942"/>
                  <a:pt x="1614950" y="1580232"/>
                  <a:pt x="1645431" y="1580232"/>
                </a:cubicBezTo>
                <a:close/>
                <a:moveTo>
                  <a:pt x="1515140" y="1580232"/>
                </a:moveTo>
                <a:cubicBezTo>
                  <a:pt x="1545619" y="1580232"/>
                  <a:pt x="1570329" y="1604942"/>
                  <a:pt x="1570329" y="1635423"/>
                </a:cubicBezTo>
                <a:cubicBezTo>
                  <a:pt x="1570329" y="1665904"/>
                  <a:pt x="1545619" y="1690614"/>
                  <a:pt x="1515140" y="1690614"/>
                </a:cubicBezTo>
                <a:cubicBezTo>
                  <a:pt x="1484656" y="1690614"/>
                  <a:pt x="1459945" y="1665904"/>
                  <a:pt x="1459945" y="1635423"/>
                </a:cubicBezTo>
                <a:cubicBezTo>
                  <a:pt x="1459945" y="1604942"/>
                  <a:pt x="1484656" y="1580232"/>
                  <a:pt x="1515140" y="1580232"/>
                </a:cubicBezTo>
                <a:close/>
                <a:moveTo>
                  <a:pt x="1381504" y="1580232"/>
                </a:moveTo>
                <a:cubicBezTo>
                  <a:pt x="1411984" y="1580232"/>
                  <a:pt x="1436697" y="1604942"/>
                  <a:pt x="1436697" y="1635423"/>
                </a:cubicBezTo>
                <a:cubicBezTo>
                  <a:pt x="1436697" y="1665904"/>
                  <a:pt x="1411984" y="1690614"/>
                  <a:pt x="1381504" y="1690614"/>
                </a:cubicBezTo>
                <a:cubicBezTo>
                  <a:pt x="1351022" y="1690614"/>
                  <a:pt x="1326312" y="1665904"/>
                  <a:pt x="1326312" y="1635423"/>
                </a:cubicBezTo>
                <a:cubicBezTo>
                  <a:pt x="1326312" y="1604942"/>
                  <a:pt x="1351022" y="1580232"/>
                  <a:pt x="1381504" y="1580232"/>
                </a:cubicBezTo>
                <a:close/>
                <a:moveTo>
                  <a:pt x="1251210" y="1580232"/>
                </a:moveTo>
                <a:cubicBezTo>
                  <a:pt x="1281690" y="1580232"/>
                  <a:pt x="1306401" y="1604942"/>
                  <a:pt x="1306401" y="1635423"/>
                </a:cubicBezTo>
                <a:cubicBezTo>
                  <a:pt x="1306401" y="1665904"/>
                  <a:pt x="1281690" y="1690614"/>
                  <a:pt x="1251210" y="1690614"/>
                </a:cubicBezTo>
                <a:cubicBezTo>
                  <a:pt x="1220727" y="1690614"/>
                  <a:pt x="1196016" y="1665904"/>
                  <a:pt x="1196016" y="1635423"/>
                </a:cubicBezTo>
                <a:cubicBezTo>
                  <a:pt x="1196016" y="1604942"/>
                  <a:pt x="1220727" y="1580232"/>
                  <a:pt x="1251210" y="1580232"/>
                </a:cubicBezTo>
                <a:close/>
                <a:moveTo>
                  <a:pt x="9068806" y="1580228"/>
                </a:moveTo>
                <a:cubicBezTo>
                  <a:pt x="9099288" y="1580228"/>
                  <a:pt x="9123998" y="1604938"/>
                  <a:pt x="9123998" y="1635419"/>
                </a:cubicBezTo>
                <a:cubicBezTo>
                  <a:pt x="9123998" y="1665900"/>
                  <a:pt x="9099288" y="1690610"/>
                  <a:pt x="9068806" y="1690610"/>
                </a:cubicBezTo>
                <a:cubicBezTo>
                  <a:pt x="9038324" y="1690610"/>
                  <a:pt x="9013614" y="1665900"/>
                  <a:pt x="9013614" y="1635419"/>
                </a:cubicBezTo>
                <a:cubicBezTo>
                  <a:pt x="9013614" y="1604938"/>
                  <a:pt x="9038324" y="1580228"/>
                  <a:pt x="9068806" y="1580228"/>
                </a:cubicBezTo>
                <a:close/>
                <a:moveTo>
                  <a:pt x="8671243" y="1580228"/>
                </a:moveTo>
                <a:cubicBezTo>
                  <a:pt x="8701725" y="1580228"/>
                  <a:pt x="8726435" y="1604938"/>
                  <a:pt x="8726435" y="1635419"/>
                </a:cubicBezTo>
                <a:cubicBezTo>
                  <a:pt x="8726435" y="1665900"/>
                  <a:pt x="8701725" y="1690610"/>
                  <a:pt x="8671243" y="1690610"/>
                </a:cubicBezTo>
                <a:cubicBezTo>
                  <a:pt x="8640761" y="1690610"/>
                  <a:pt x="8616051" y="1665900"/>
                  <a:pt x="8616051" y="1635419"/>
                </a:cubicBezTo>
                <a:cubicBezTo>
                  <a:pt x="8616051" y="1604938"/>
                  <a:pt x="8640761" y="1580228"/>
                  <a:pt x="8671243" y="1580228"/>
                </a:cubicBezTo>
                <a:close/>
                <a:moveTo>
                  <a:pt x="8537609" y="1580228"/>
                </a:moveTo>
                <a:cubicBezTo>
                  <a:pt x="8568091" y="1580228"/>
                  <a:pt x="8592801" y="1604938"/>
                  <a:pt x="8592801" y="1635419"/>
                </a:cubicBezTo>
                <a:cubicBezTo>
                  <a:pt x="8592801" y="1665900"/>
                  <a:pt x="8568091" y="1690610"/>
                  <a:pt x="8537609" y="1690610"/>
                </a:cubicBezTo>
                <a:cubicBezTo>
                  <a:pt x="8507127" y="1690610"/>
                  <a:pt x="8482417" y="1665900"/>
                  <a:pt x="8482417" y="1635419"/>
                </a:cubicBezTo>
                <a:cubicBezTo>
                  <a:pt x="8482417" y="1604938"/>
                  <a:pt x="8507127" y="1580228"/>
                  <a:pt x="8537609" y="1580228"/>
                </a:cubicBezTo>
                <a:close/>
                <a:moveTo>
                  <a:pt x="8407318" y="1580228"/>
                </a:moveTo>
                <a:cubicBezTo>
                  <a:pt x="8437800" y="1580228"/>
                  <a:pt x="8462510" y="1604938"/>
                  <a:pt x="8462510" y="1635419"/>
                </a:cubicBezTo>
                <a:cubicBezTo>
                  <a:pt x="8462510" y="1665900"/>
                  <a:pt x="8437800" y="1690610"/>
                  <a:pt x="8407318" y="1690610"/>
                </a:cubicBezTo>
                <a:cubicBezTo>
                  <a:pt x="8376836" y="1690610"/>
                  <a:pt x="8352126" y="1665900"/>
                  <a:pt x="8352126" y="1635419"/>
                </a:cubicBezTo>
                <a:cubicBezTo>
                  <a:pt x="8352126" y="1604938"/>
                  <a:pt x="8376836" y="1580228"/>
                  <a:pt x="8407318" y="1580228"/>
                </a:cubicBezTo>
                <a:close/>
                <a:moveTo>
                  <a:pt x="8273682" y="1580228"/>
                </a:moveTo>
                <a:cubicBezTo>
                  <a:pt x="8304164" y="1580228"/>
                  <a:pt x="8328874" y="1604938"/>
                  <a:pt x="8328874" y="1635419"/>
                </a:cubicBezTo>
                <a:cubicBezTo>
                  <a:pt x="8328874" y="1665900"/>
                  <a:pt x="8304164" y="1690610"/>
                  <a:pt x="8273682" y="1690610"/>
                </a:cubicBezTo>
                <a:cubicBezTo>
                  <a:pt x="8243200" y="1690610"/>
                  <a:pt x="8218490" y="1665900"/>
                  <a:pt x="8218490" y="1635419"/>
                </a:cubicBezTo>
                <a:cubicBezTo>
                  <a:pt x="8218490" y="1604938"/>
                  <a:pt x="8243200" y="1580228"/>
                  <a:pt x="8273682" y="1580228"/>
                </a:cubicBezTo>
                <a:close/>
                <a:moveTo>
                  <a:pt x="8143386" y="1580228"/>
                </a:moveTo>
                <a:cubicBezTo>
                  <a:pt x="8173868" y="1580228"/>
                  <a:pt x="8198578" y="1604938"/>
                  <a:pt x="8198578" y="1635419"/>
                </a:cubicBezTo>
                <a:cubicBezTo>
                  <a:pt x="8198578" y="1665900"/>
                  <a:pt x="8173868" y="1690610"/>
                  <a:pt x="8143386" y="1690610"/>
                </a:cubicBezTo>
                <a:cubicBezTo>
                  <a:pt x="8112904" y="1690610"/>
                  <a:pt x="8088194" y="1665900"/>
                  <a:pt x="8088194" y="1635419"/>
                </a:cubicBezTo>
                <a:cubicBezTo>
                  <a:pt x="8088194" y="1604938"/>
                  <a:pt x="8112904" y="1580228"/>
                  <a:pt x="8143386" y="1580228"/>
                </a:cubicBezTo>
                <a:close/>
                <a:moveTo>
                  <a:pt x="8009752" y="1580228"/>
                </a:moveTo>
                <a:cubicBezTo>
                  <a:pt x="8040234" y="1580228"/>
                  <a:pt x="8064944" y="1604938"/>
                  <a:pt x="8064944" y="1635419"/>
                </a:cubicBezTo>
                <a:cubicBezTo>
                  <a:pt x="8064944" y="1665900"/>
                  <a:pt x="8040234" y="1690610"/>
                  <a:pt x="8009752" y="1690610"/>
                </a:cubicBezTo>
                <a:cubicBezTo>
                  <a:pt x="7979270" y="1690610"/>
                  <a:pt x="7954560" y="1665900"/>
                  <a:pt x="7954560" y="1635419"/>
                </a:cubicBezTo>
                <a:cubicBezTo>
                  <a:pt x="7954560" y="1604938"/>
                  <a:pt x="7979270" y="1580228"/>
                  <a:pt x="8009752" y="1580228"/>
                </a:cubicBezTo>
                <a:close/>
                <a:moveTo>
                  <a:pt x="7876117" y="1580228"/>
                </a:moveTo>
                <a:cubicBezTo>
                  <a:pt x="7906599" y="1580228"/>
                  <a:pt x="7931309" y="1604938"/>
                  <a:pt x="7931309" y="1635419"/>
                </a:cubicBezTo>
                <a:cubicBezTo>
                  <a:pt x="7931309" y="1665900"/>
                  <a:pt x="7906599" y="1690610"/>
                  <a:pt x="7876117" y="1690610"/>
                </a:cubicBezTo>
                <a:cubicBezTo>
                  <a:pt x="7845635" y="1690610"/>
                  <a:pt x="7820925" y="1665900"/>
                  <a:pt x="7820925" y="1635419"/>
                </a:cubicBezTo>
                <a:cubicBezTo>
                  <a:pt x="7820925" y="1604938"/>
                  <a:pt x="7845635" y="1580228"/>
                  <a:pt x="7876117" y="1580228"/>
                </a:cubicBezTo>
                <a:close/>
                <a:moveTo>
                  <a:pt x="7745824" y="1580228"/>
                </a:moveTo>
                <a:cubicBezTo>
                  <a:pt x="7776306" y="1580228"/>
                  <a:pt x="7801016" y="1604938"/>
                  <a:pt x="7801016" y="1635419"/>
                </a:cubicBezTo>
                <a:cubicBezTo>
                  <a:pt x="7801016" y="1665900"/>
                  <a:pt x="7776306" y="1690610"/>
                  <a:pt x="7745824" y="1690610"/>
                </a:cubicBezTo>
                <a:cubicBezTo>
                  <a:pt x="7715342" y="1690610"/>
                  <a:pt x="7690632" y="1665900"/>
                  <a:pt x="7690632" y="1635419"/>
                </a:cubicBezTo>
                <a:cubicBezTo>
                  <a:pt x="7690632" y="1604938"/>
                  <a:pt x="7715342" y="1580228"/>
                  <a:pt x="7745824" y="1580228"/>
                </a:cubicBezTo>
                <a:close/>
                <a:moveTo>
                  <a:pt x="7608849" y="1580228"/>
                </a:moveTo>
                <a:cubicBezTo>
                  <a:pt x="7639331" y="1580228"/>
                  <a:pt x="7664041" y="1604938"/>
                  <a:pt x="7664041" y="1635419"/>
                </a:cubicBezTo>
                <a:cubicBezTo>
                  <a:pt x="7664041" y="1665900"/>
                  <a:pt x="7639331" y="1690610"/>
                  <a:pt x="7608849" y="1690610"/>
                </a:cubicBezTo>
                <a:cubicBezTo>
                  <a:pt x="7578367" y="1690610"/>
                  <a:pt x="7553657" y="1665900"/>
                  <a:pt x="7553657" y="1635419"/>
                </a:cubicBezTo>
                <a:cubicBezTo>
                  <a:pt x="7553657" y="1604938"/>
                  <a:pt x="7578367" y="1580228"/>
                  <a:pt x="7608849" y="1580228"/>
                </a:cubicBezTo>
                <a:close/>
                <a:moveTo>
                  <a:pt x="7481895" y="1580228"/>
                </a:moveTo>
                <a:cubicBezTo>
                  <a:pt x="7512377" y="1580228"/>
                  <a:pt x="7537087" y="1604938"/>
                  <a:pt x="7537087" y="1635419"/>
                </a:cubicBezTo>
                <a:cubicBezTo>
                  <a:pt x="7537087" y="1665900"/>
                  <a:pt x="7512377" y="1690610"/>
                  <a:pt x="7481895" y="1690610"/>
                </a:cubicBezTo>
                <a:cubicBezTo>
                  <a:pt x="7451413" y="1690610"/>
                  <a:pt x="7426703" y="1665900"/>
                  <a:pt x="7426703" y="1635419"/>
                </a:cubicBezTo>
                <a:cubicBezTo>
                  <a:pt x="7426703" y="1604938"/>
                  <a:pt x="7451413" y="1580228"/>
                  <a:pt x="7481895" y="1580228"/>
                </a:cubicBezTo>
                <a:close/>
                <a:moveTo>
                  <a:pt x="7341579" y="1580228"/>
                </a:moveTo>
                <a:cubicBezTo>
                  <a:pt x="7372061" y="1580228"/>
                  <a:pt x="7396771" y="1604938"/>
                  <a:pt x="7396771" y="1635419"/>
                </a:cubicBezTo>
                <a:cubicBezTo>
                  <a:pt x="7396771" y="1665900"/>
                  <a:pt x="7372061" y="1690610"/>
                  <a:pt x="7341579" y="1690610"/>
                </a:cubicBezTo>
                <a:cubicBezTo>
                  <a:pt x="7311097" y="1690610"/>
                  <a:pt x="7286387" y="1665900"/>
                  <a:pt x="7286387" y="1635419"/>
                </a:cubicBezTo>
                <a:cubicBezTo>
                  <a:pt x="7286387" y="1604938"/>
                  <a:pt x="7311097" y="1580228"/>
                  <a:pt x="7341579" y="1580228"/>
                </a:cubicBezTo>
                <a:close/>
                <a:moveTo>
                  <a:pt x="7211286" y="1580228"/>
                </a:moveTo>
                <a:cubicBezTo>
                  <a:pt x="7241768" y="1580228"/>
                  <a:pt x="7266478" y="1604938"/>
                  <a:pt x="7266478" y="1635419"/>
                </a:cubicBezTo>
                <a:cubicBezTo>
                  <a:pt x="7266478" y="1665900"/>
                  <a:pt x="7241768" y="1690610"/>
                  <a:pt x="7211286" y="1690610"/>
                </a:cubicBezTo>
                <a:cubicBezTo>
                  <a:pt x="7180804" y="1690610"/>
                  <a:pt x="7156094" y="1665900"/>
                  <a:pt x="7156094" y="1635419"/>
                </a:cubicBezTo>
                <a:cubicBezTo>
                  <a:pt x="7156094" y="1604938"/>
                  <a:pt x="7180804" y="1580228"/>
                  <a:pt x="7211286" y="1580228"/>
                </a:cubicBezTo>
                <a:close/>
                <a:moveTo>
                  <a:pt x="7080993" y="1580228"/>
                </a:moveTo>
                <a:cubicBezTo>
                  <a:pt x="7111475" y="1580228"/>
                  <a:pt x="7136185" y="1604938"/>
                  <a:pt x="7136185" y="1635419"/>
                </a:cubicBezTo>
                <a:cubicBezTo>
                  <a:pt x="7136185" y="1665900"/>
                  <a:pt x="7111475" y="1690610"/>
                  <a:pt x="7080993" y="1690610"/>
                </a:cubicBezTo>
                <a:cubicBezTo>
                  <a:pt x="7050511" y="1690610"/>
                  <a:pt x="7025801" y="1665900"/>
                  <a:pt x="7025801" y="1635419"/>
                </a:cubicBezTo>
                <a:cubicBezTo>
                  <a:pt x="7025801" y="1604938"/>
                  <a:pt x="7050511" y="1580228"/>
                  <a:pt x="7080993" y="1580228"/>
                </a:cubicBezTo>
                <a:close/>
                <a:moveTo>
                  <a:pt x="6947357" y="1580228"/>
                </a:moveTo>
                <a:cubicBezTo>
                  <a:pt x="6977839" y="1580228"/>
                  <a:pt x="7002549" y="1604938"/>
                  <a:pt x="7002549" y="1635419"/>
                </a:cubicBezTo>
                <a:cubicBezTo>
                  <a:pt x="7002549" y="1665900"/>
                  <a:pt x="6977839" y="1690610"/>
                  <a:pt x="6947357" y="1690610"/>
                </a:cubicBezTo>
                <a:cubicBezTo>
                  <a:pt x="6916875" y="1690610"/>
                  <a:pt x="6892165" y="1665900"/>
                  <a:pt x="6892165" y="1635419"/>
                </a:cubicBezTo>
                <a:cubicBezTo>
                  <a:pt x="6892165" y="1604938"/>
                  <a:pt x="6916875" y="1580228"/>
                  <a:pt x="6947357" y="1580228"/>
                </a:cubicBezTo>
                <a:close/>
                <a:moveTo>
                  <a:pt x="6817063" y="1580228"/>
                </a:moveTo>
                <a:cubicBezTo>
                  <a:pt x="6847545" y="1580228"/>
                  <a:pt x="6872255" y="1604938"/>
                  <a:pt x="6872255" y="1635419"/>
                </a:cubicBezTo>
                <a:cubicBezTo>
                  <a:pt x="6872255" y="1665900"/>
                  <a:pt x="6847545" y="1690610"/>
                  <a:pt x="6817063" y="1690610"/>
                </a:cubicBezTo>
                <a:cubicBezTo>
                  <a:pt x="6786581" y="1690610"/>
                  <a:pt x="6761871" y="1665900"/>
                  <a:pt x="6761871" y="1635419"/>
                </a:cubicBezTo>
                <a:cubicBezTo>
                  <a:pt x="6761871" y="1604938"/>
                  <a:pt x="6786581" y="1580228"/>
                  <a:pt x="6817063" y="1580228"/>
                </a:cubicBezTo>
                <a:close/>
                <a:moveTo>
                  <a:pt x="6683431" y="1580228"/>
                </a:moveTo>
                <a:cubicBezTo>
                  <a:pt x="6713913" y="1580228"/>
                  <a:pt x="6738623" y="1604938"/>
                  <a:pt x="6738623" y="1635419"/>
                </a:cubicBezTo>
                <a:cubicBezTo>
                  <a:pt x="6738623" y="1665900"/>
                  <a:pt x="6713913" y="1690610"/>
                  <a:pt x="6683431" y="1690610"/>
                </a:cubicBezTo>
                <a:cubicBezTo>
                  <a:pt x="6652949" y="1690610"/>
                  <a:pt x="6628239" y="1665900"/>
                  <a:pt x="6628239" y="1635419"/>
                </a:cubicBezTo>
                <a:cubicBezTo>
                  <a:pt x="6628239" y="1604938"/>
                  <a:pt x="6652949" y="1580228"/>
                  <a:pt x="6683431" y="1580228"/>
                </a:cubicBezTo>
                <a:close/>
                <a:moveTo>
                  <a:pt x="6553137" y="1580228"/>
                </a:moveTo>
                <a:cubicBezTo>
                  <a:pt x="6583619" y="1580228"/>
                  <a:pt x="6608329" y="1604938"/>
                  <a:pt x="6608329" y="1635419"/>
                </a:cubicBezTo>
                <a:cubicBezTo>
                  <a:pt x="6608329" y="1665900"/>
                  <a:pt x="6583619" y="1690610"/>
                  <a:pt x="6553137" y="1690610"/>
                </a:cubicBezTo>
                <a:cubicBezTo>
                  <a:pt x="6522655" y="1690610"/>
                  <a:pt x="6497945" y="1665900"/>
                  <a:pt x="6497945" y="1635419"/>
                </a:cubicBezTo>
                <a:cubicBezTo>
                  <a:pt x="6497945" y="1604938"/>
                  <a:pt x="6522655" y="1580228"/>
                  <a:pt x="6553137" y="1580228"/>
                </a:cubicBezTo>
                <a:close/>
                <a:moveTo>
                  <a:pt x="6419502" y="1580228"/>
                </a:moveTo>
                <a:cubicBezTo>
                  <a:pt x="6449984" y="1580228"/>
                  <a:pt x="6474694" y="1604938"/>
                  <a:pt x="6474694" y="1635419"/>
                </a:cubicBezTo>
                <a:cubicBezTo>
                  <a:pt x="6474694" y="1665900"/>
                  <a:pt x="6449984" y="1690610"/>
                  <a:pt x="6419502" y="1690610"/>
                </a:cubicBezTo>
                <a:cubicBezTo>
                  <a:pt x="6389020" y="1690610"/>
                  <a:pt x="6364310" y="1665900"/>
                  <a:pt x="6364310" y="1635419"/>
                </a:cubicBezTo>
                <a:cubicBezTo>
                  <a:pt x="6364310" y="1604938"/>
                  <a:pt x="6389020" y="1580228"/>
                  <a:pt x="6419502" y="1580228"/>
                </a:cubicBezTo>
                <a:close/>
                <a:moveTo>
                  <a:pt x="6289208" y="1580228"/>
                </a:moveTo>
                <a:cubicBezTo>
                  <a:pt x="6319690" y="1580228"/>
                  <a:pt x="6344400" y="1604938"/>
                  <a:pt x="6344400" y="1635419"/>
                </a:cubicBezTo>
                <a:cubicBezTo>
                  <a:pt x="6344400" y="1665900"/>
                  <a:pt x="6319690" y="1690610"/>
                  <a:pt x="6289208" y="1690610"/>
                </a:cubicBezTo>
                <a:cubicBezTo>
                  <a:pt x="6258726" y="1690610"/>
                  <a:pt x="6234016" y="1665900"/>
                  <a:pt x="6234016" y="1635419"/>
                </a:cubicBezTo>
                <a:cubicBezTo>
                  <a:pt x="6234016" y="1604938"/>
                  <a:pt x="6258726" y="1580228"/>
                  <a:pt x="6289208" y="1580228"/>
                </a:cubicBezTo>
                <a:close/>
                <a:moveTo>
                  <a:pt x="6155572" y="1580228"/>
                </a:moveTo>
                <a:cubicBezTo>
                  <a:pt x="6186054" y="1580228"/>
                  <a:pt x="6210764" y="1604938"/>
                  <a:pt x="6210764" y="1635419"/>
                </a:cubicBezTo>
                <a:cubicBezTo>
                  <a:pt x="6210764" y="1665900"/>
                  <a:pt x="6186054" y="1690610"/>
                  <a:pt x="6155572" y="1690610"/>
                </a:cubicBezTo>
                <a:cubicBezTo>
                  <a:pt x="6125090" y="1690610"/>
                  <a:pt x="6100380" y="1665900"/>
                  <a:pt x="6100380" y="1635419"/>
                </a:cubicBezTo>
                <a:cubicBezTo>
                  <a:pt x="6100380" y="1604938"/>
                  <a:pt x="6125090" y="1580228"/>
                  <a:pt x="6155572" y="1580228"/>
                </a:cubicBezTo>
                <a:close/>
                <a:moveTo>
                  <a:pt x="6021938" y="1580228"/>
                </a:moveTo>
                <a:cubicBezTo>
                  <a:pt x="6052420" y="1580228"/>
                  <a:pt x="6077130" y="1604938"/>
                  <a:pt x="6077130" y="1635419"/>
                </a:cubicBezTo>
                <a:cubicBezTo>
                  <a:pt x="6077130" y="1665900"/>
                  <a:pt x="6052420" y="1690610"/>
                  <a:pt x="6021938" y="1690610"/>
                </a:cubicBezTo>
                <a:cubicBezTo>
                  <a:pt x="5991456" y="1690610"/>
                  <a:pt x="5966746" y="1665900"/>
                  <a:pt x="5966746" y="1635419"/>
                </a:cubicBezTo>
                <a:cubicBezTo>
                  <a:pt x="5966746" y="1604938"/>
                  <a:pt x="5991456" y="1580228"/>
                  <a:pt x="6021938" y="1580228"/>
                </a:cubicBezTo>
                <a:close/>
                <a:moveTo>
                  <a:pt x="5884964" y="1580228"/>
                </a:moveTo>
                <a:cubicBezTo>
                  <a:pt x="5915446" y="1580228"/>
                  <a:pt x="5940156" y="1604938"/>
                  <a:pt x="5940156" y="1635419"/>
                </a:cubicBezTo>
                <a:cubicBezTo>
                  <a:pt x="5940156" y="1665900"/>
                  <a:pt x="5915446" y="1690610"/>
                  <a:pt x="5884964" y="1690610"/>
                </a:cubicBezTo>
                <a:cubicBezTo>
                  <a:pt x="5854482" y="1690610"/>
                  <a:pt x="5829772" y="1665900"/>
                  <a:pt x="5829772" y="1635419"/>
                </a:cubicBezTo>
                <a:cubicBezTo>
                  <a:pt x="5829772" y="1604938"/>
                  <a:pt x="5854482" y="1580228"/>
                  <a:pt x="5884964" y="1580228"/>
                </a:cubicBezTo>
                <a:close/>
                <a:moveTo>
                  <a:pt x="5754670" y="1580228"/>
                </a:moveTo>
                <a:cubicBezTo>
                  <a:pt x="5785152" y="1580228"/>
                  <a:pt x="5809862" y="1604938"/>
                  <a:pt x="5809862" y="1635419"/>
                </a:cubicBezTo>
                <a:cubicBezTo>
                  <a:pt x="5809862" y="1665900"/>
                  <a:pt x="5785152" y="1690610"/>
                  <a:pt x="5754670" y="1690610"/>
                </a:cubicBezTo>
                <a:cubicBezTo>
                  <a:pt x="5724188" y="1690610"/>
                  <a:pt x="5699478" y="1665900"/>
                  <a:pt x="5699478" y="1635419"/>
                </a:cubicBezTo>
                <a:cubicBezTo>
                  <a:pt x="5699478" y="1604938"/>
                  <a:pt x="5724188" y="1580228"/>
                  <a:pt x="5754670" y="1580228"/>
                </a:cubicBezTo>
                <a:close/>
                <a:moveTo>
                  <a:pt x="5621035" y="1580228"/>
                </a:moveTo>
                <a:cubicBezTo>
                  <a:pt x="5651517" y="1580228"/>
                  <a:pt x="5676227" y="1604938"/>
                  <a:pt x="5676227" y="1635419"/>
                </a:cubicBezTo>
                <a:cubicBezTo>
                  <a:pt x="5676227" y="1665900"/>
                  <a:pt x="5651517" y="1690610"/>
                  <a:pt x="5621035" y="1690610"/>
                </a:cubicBezTo>
                <a:cubicBezTo>
                  <a:pt x="5590553" y="1690610"/>
                  <a:pt x="5565843" y="1665900"/>
                  <a:pt x="5565843" y="1635419"/>
                </a:cubicBezTo>
                <a:cubicBezTo>
                  <a:pt x="5565843" y="1604938"/>
                  <a:pt x="5590553" y="1580228"/>
                  <a:pt x="5621035" y="1580228"/>
                </a:cubicBezTo>
                <a:close/>
                <a:moveTo>
                  <a:pt x="5357105" y="1580228"/>
                </a:moveTo>
                <a:cubicBezTo>
                  <a:pt x="5387587" y="1580228"/>
                  <a:pt x="5412297" y="1604938"/>
                  <a:pt x="5412297" y="1635419"/>
                </a:cubicBezTo>
                <a:cubicBezTo>
                  <a:pt x="5412297" y="1665900"/>
                  <a:pt x="5387587" y="1690610"/>
                  <a:pt x="5357105" y="1690610"/>
                </a:cubicBezTo>
                <a:cubicBezTo>
                  <a:pt x="5326623" y="1690610"/>
                  <a:pt x="5301913" y="1665900"/>
                  <a:pt x="5301913" y="1635419"/>
                </a:cubicBezTo>
                <a:cubicBezTo>
                  <a:pt x="5301913" y="1604938"/>
                  <a:pt x="5326623" y="1580228"/>
                  <a:pt x="5357105" y="1580228"/>
                </a:cubicBezTo>
                <a:close/>
                <a:moveTo>
                  <a:pt x="5223473" y="1580228"/>
                </a:moveTo>
                <a:cubicBezTo>
                  <a:pt x="5253955" y="1580228"/>
                  <a:pt x="5278665" y="1604938"/>
                  <a:pt x="5278665" y="1635419"/>
                </a:cubicBezTo>
                <a:cubicBezTo>
                  <a:pt x="5278665" y="1665900"/>
                  <a:pt x="5253955" y="1690610"/>
                  <a:pt x="5223473" y="1690610"/>
                </a:cubicBezTo>
                <a:cubicBezTo>
                  <a:pt x="5192991" y="1690610"/>
                  <a:pt x="5168281" y="1665900"/>
                  <a:pt x="5168281" y="1635419"/>
                </a:cubicBezTo>
                <a:cubicBezTo>
                  <a:pt x="5168281" y="1604938"/>
                  <a:pt x="5192991" y="1580228"/>
                  <a:pt x="5223473" y="1580228"/>
                </a:cubicBezTo>
                <a:close/>
                <a:moveTo>
                  <a:pt x="5093178" y="1580228"/>
                </a:moveTo>
                <a:cubicBezTo>
                  <a:pt x="5123660" y="1580228"/>
                  <a:pt x="5148370" y="1604938"/>
                  <a:pt x="5148370" y="1635419"/>
                </a:cubicBezTo>
                <a:cubicBezTo>
                  <a:pt x="5148370" y="1665900"/>
                  <a:pt x="5123660" y="1690610"/>
                  <a:pt x="5093178" y="1690610"/>
                </a:cubicBezTo>
                <a:cubicBezTo>
                  <a:pt x="5062696" y="1690610"/>
                  <a:pt x="5037986" y="1665900"/>
                  <a:pt x="5037986" y="1635419"/>
                </a:cubicBezTo>
                <a:cubicBezTo>
                  <a:pt x="5037986" y="1604938"/>
                  <a:pt x="5062696" y="1580228"/>
                  <a:pt x="5093178" y="1580228"/>
                </a:cubicBezTo>
                <a:close/>
                <a:moveTo>
                  <a:pt x="4959543" y="1580228"/>
                </a:moveTo>
                <a:cubicBezTo>
                  <a:pt x="4990025" y="1580228"/>
                  <a:pt x="5014735" y="1604938"/>
                  <a:pt x="5014735" y="1635419"/>
                </a:cubicBezTo>
                <a:cubicBezTo>
                  <a:pt x="5014735" y="1665900"/>
                  <a:pt x="4990025" y="1690610"/>
                  <a:pt x="4959543" y="1690610"/>
                </a:cubicBezTo>
                <a:cubicBezTo>
                  <a:pt x="4929061" y="1690610"/>
                  <a:pt x="4904351" y="1665900"/>
                  <a:pt x="4904351" y="1635419"/>
                </a:cubicBezTo>
                <a:cubicBezTo>
                  <a:pt x="4904351" y="1604938"/>
                  <a:pt x="4929061" y="1580228"/>
                  <a:pt x="4959543" y="1580228"/>
                </a:cubicBezTo>
                <a:close/>
                <a:moveTo>
                  <a:pt x="4829251" y="1580228"/>
                </a:moveTo>
                <a:cubicBezTo>
                  <a:pt x="4859733" y="1580228"/>
                  <a:pt x="4884443" y="1604938"/>
                  <a:pt x="4884443" y="1635419"/>
                </a:cubicBezTo>
                <a:cubicBezTo>
                  <a:pt x="4884443" y="1665900"/>
                  <a:pt x="4859733" y="1690610"/>
                  <a:pt x="4829251" y="1690610"/>
                </a:cubicBezTo>
                <a:cubicBezTo>
                  <a:pt x="4798769" y="1690610"/>
                  <a:pt x="4774059" y="1665900"/>
                  <a:pt x="4774059" y="1635419"/>
                </a:cubicBezTo>
                <a:cubicBezTo>
                  <a:pt x="4774059" y="1604938"/>
                  <a:pt x="4798769" y="1580228"/>
                  <a:pt x="4829251" y="1580228"/>
                </a:cubicBezTo>
                <a:close/>
                <a:moveTo>
                  <a:pt x="4695613" y="1580228"/>
                </a:moveTo>
                <a:cubicBezTo>
                  <a:pt x="4726095" y="1580228"/>
                  <a:pt x="4750805" y="1604938"/>
                  <a:pt x="4750805" y="1635419"/>
                </a:cubicBezTo>
                <a:cubicBezTo>
                  <a:pt x="4750805" y="1665900"/>
                  <a:pt x="4726095" y="1690610"/>
                  <a:pt x="4695613" y="1690610"/>
                </a:cubicBezTo>
                <a:cubicBezTo>
                  <a:pt x="4665131" y="1690610"/>
                  <a:pt x="4640421" y="1665900"/>
                  <a:pt x="4640421" y="1635419"/>
                </a:cubicBezTo>
                <a:cubicBezTo>
                  <a:pt x="4640421" y="1604938"/>
                  <a:pt x="4665131" y="1580228"/>
                  <a:pt x="4695613" y="1580228"/>
                </a:cubicBezTo>
                <a:close/>
                <a:moveTo>
                  <a:pt x="4565322" y="1580228"/>
                </a:moveTo>
                <a:cubicBezTo>
                  <a:pt x="4595804" y="1580228"/>
                  <a:pt x="4620514" y="1604938"/>
                  <a:pt x="4620514" y="1635419"/>
                </a:cubicBezTo>
                <a:cubicBezTo>
                  <a:pt x="4620514" y="1665900"/>
                  <a:pt x="4595804" y="1690610"/>
                  <a:pt x="4565322" y="1690610"/>
                </a:cubicBezTo>
                <a:cubicBezTo>
                  <a:pt x="4534840" y="1690610"/>
                  <a:pt x="4510130" y="1665900"/>
                  <a:pt x="4510130" y="1635419"/>
                </a:cubicBezTo>
                <a:cubicBezTo>
                  <a:pt x="4510130" y="1604938"/>
                  <a:pt x="4534840" y="1580228"/>
                  <a:pt x="4565322" y="1580228"/>
                </a:cubicBezTo>
                <a:close/>
                <a:moveTo>
                  <a:pt x="3098681" y="1580228"/>
                </a:moveTo>
                <a:cubicBezTo>
                  <a:pt x="3129163" y="1580228"/>
                  <a:pt x="3153873" y="1604938"/>
                  <a:pt x="3153873" y="1635419"/>
                </a:cubicBezTo>
                <a:cubicBezTo>
                  <a:pt x="3153873" y="1665900"/>
                  <a:pt x="3129163" y="1690610"/>
                  <a:pt x="3098681" y="1690610"/>
                </a:cubicBezTo>
                <a:cubicBezTo>
                  <a:pt x="3068199" y="1690610"/>
                  <a:pt x="3043489" y="1665900"/>
                  <a:pt x="3043489" y="1635419"/>
                </a:cubicBezTo>
                <a:cubicBezTo>
                  <a:pt x="3043489" y="1604938"/>
                  <a:pt x="3068199" y="1580228"/>
                  <a:pt x="3098681" y="1580228"/>
                </a:cubicBezTo>
                <a:close/>
                <a:moveTo>
                  <a:pt x="2971729" y="1580228"/>
                </a:moveTo>
                <a:cubicBezTo>
                  <a:pt x="3002211" y="1580228"/>
                  <a:pt x="3026921" y="1604938"/>
                  <a:pt x="3026921" y="1635419"/>
                </a:cubicBezTo>
                <a:cubicBezTo>
                  <a:pt x="3026921" y="1665900"/>
                  <a:pt x="3002211" y="1690610"/>
                  <a:pt x="2971729" y="1690610"/>
                </a:cubicBezTo>
                <a:cubicBezTo>
                  <a:pt x="2941247" y="1690610"/>
                  <a:pt x="2916537" y="1665900"/>
                  <a:pt x="2916537" y="1635419"/>
                </a:cubicBezTo>
                <a:cubicBezTo>
                  <a:pt x="2916537" y="1604938"/>
                  <a:pt x="2941247" y="1580228"/>
                  <a:pt x="2971729" y="1580228"/>
                </a:cubicBezTo>
                <a:close/>
                <a:moveTo>
                  <a:pt x="2834783" y="1580228"/>
                </a:moveTo>
                <a:cubicBezTo>
                  <a:pt x="2865264" y="1580228"/>
                  <a:pt x="2889974" y="1604938"/>
                  <a:pt x="2889974" y="1635419"/>
                </a:cubicBezTo>
                <a:cubicBezTo>
                  <a:pt x="2889974" y="1665900"/>
                  <a:pt x="2865264" y="1690610"/>
                  <a:pt x="2834783" y="1690610"/>
                </a:cubicBezTo>
                <a:cubicBezTo>
                  <a:pt x="2804300" y="1690610"/>
                  <a:pt x="2779590" y="1665900"/>
                  <a:pt x="2779590" y="1635419"/>
                </a:cubicBezTo>
                <a:cubicBezTo>
                  <a:pt x="2779590" y="1604938"/>
                  <a:pt x="2804300" y="1580228"/>
                  <a:pt x="2834783" y="1580228"/>
                </a:cubicBezTo>
                <a:close/>
                <a:moveTo>
                  <a:pt x="2707828" y="1580228"/>
                </a:moveTo>
                <a:cubicBezTo>
                  <a:pt x="2738310" y="1580228"/>
                  <a:pt x="2763021" y="1604938"/>
                  <a:pt x="2763021" y="1635419"/>
                </a:cubicBezTo>
                <a:cubicBezTo>
                  <a:pt x="2763021" y="1665900"/>
                  <a:pt x="2738310" y="1690610"/>
                  <a:pt x="2707828" y="1690610"/>
                </a:cubicBezTo>
                <a:cubicBezTo>
                  <a:pt x="2677345" y="1690610"/>
                  <a:pt x="2652636" y="1665900"/>
                  <a:pt x="2652636" y="1635419"/>
                </a:cubicBezTo>
                <a:cubicBezTo>
                  <a:pt x="2652636" y="1604938"/>
                  <a:pt x="2677345" y="1580228"/>
                  <a:pt x="2707828" y="1580228"/>
                </a:cubicBezTo>
                <a:close/>
                <a:moveTo>
                  <a:pt x="2570854" y="1580228"/>
                </a:moveTo>
                <a:cubicBezTo>
                  <a:pt x="2601336" y="1580228"/>
                  <a:pt x="2626046" y="1604938"/>
                  <a:pt x="2626046" y="1635419"/>
                </a:cubicBezTo>
                <a:cubicBezTo>
                  <a:pt x="2626046" y="1665900"/>
                  <a:pt x="2601336" y="1690610"/>
                  <a:pt x="2570854" y="1690610"/>
                </a:cubicBezTo>
                <a:cubicBezTo>
                  <a:pt x="2540372" y="1690610"/>
                  <a:pt x="2515662" y="1665900"/>
                  <a:pt x="2515662" y="1635419"/>
                </a:cubicBezTo>
                <a:cubicBezTo>
                  <a:pt x="2515662" y="1604938"/>
                  <a:pt x="2540372" y="1580228"/>
                  <a:pt x="2570854" y="1580228"/>
                </a:cubicBezTo>
                <a:close/>
                <a:moveTo>
                  <a:pt x="2437218" y="1580228"/>
                </a:moveTo>
                <a:cubicBezTo>
                  <a:pt x="2467700" y="1580228"/>
                  <a:pt x="2492409" y="1604938"/>
                  <a:pt x="2492409" y="1635419"/>
                </a:cubicBezTo>
                <a:cubicBezTo>
                  <a:pt x="2492409" y="1665900"/>
                  <a:pt x="2467700" y="1690610"/>
                  <a:pt x="2437218" y="1690610"/>
                </a:cubicBezTo>
                <a:cubicBezTo>
                  <a:pt x="2406736" y="1690610"/>
                  <a:pt x="2382026" y="1665900"/>
                  <a:pt x="2382026" y="1635419"/>
                </a:cubicBezTo>
                <a:cubicBezTo>
                  <a:pt x="2382026" y="1604938"/>
                  <a:pt x="2406736" y="1580228"/>
                  <a:pt x="2437218" y="1580228"/>
                </a:cubicBezTo>
                <a:close/>
                <a:moveTo>
                  <a:pt x="2303586" y="1580228"/>
                </a:moveTo>
                <a:cubicBezTo>
                  <a:pt x="2334067" y="1580228"/>
                  <a:pt x="2358778" y="1604938"/>
                  <a:pt x="2358778" y="1635419"/>
                </a:cubicBezTo>
                <a:cubicBezTo>
                  <a:pt x="2358778" y="1665900"/>
                  <a:pt x="2334067" y="1690610"/>
                  <a:pt x="2303586" y="1690610"/>
                </a:cubicBezTo>
                <a:cubicBezTo>
                  <a:pt x="2273104" y="1690610"/>
                  <a:pt x="2248394" y="1665900"/>
                  <a:pt x="2248394" y="1635419"/>
                </a:cubicBezTo>
                <a:cubicBezTo>
                  <a:pt x="2248394" y="1604938"/>
                  <a:pt x="2273104" y="1580228"/>
                  <a:pt x="2303586" y="1580228"/>
                </a:cubicBezTo>
                <a:close/>
                <a:moveTo>
                  <a:pt x="2173293" y="1580228"/>
                </a:moveTo>
                <a:cubicBezTo>
                  <a:pt x="2203775" y="1580228"/>
                  <a:pt x="2228486" y="1604938"/>
                  <a:pt x="2228486" y="1635419"/>
                </a:cubicBezTo>
                <a:cubicBezTo>
                  <a:pt x="2228486" y="1665900"/>
                  <a:pt x="2203775" y="1690610"/>
                  <a:pt x="2173293" y="1690610"/>
                </a:cubicBezTo>
                <a:cubicBezTo>
                  <a:pt x="2142811" y="1690610"/>
                  <a:pt x="2118101" y="1665900"/>
                  <a:pt x="2118101" y="1635419"/>
                </a:cubicBezTo>
                <a:cubicBezTo>
                  <a:pt x="2118101" y="1604938"/>
                  <a:pt x="2142811" y="1580228"/>
                  <a:pt x="2173293" y="1580228"/>
                </a:cubicBezTo>
                <a:close/>
                <a:moveTo>
                  <a:pt x="2039658" y="1580228"/>
                </a:moveTo>
                <a:cubicBezTo>
                  <a:pt x="2070140" y="1580228"/>
                  <a:pt x="2094851" y="1604938"/>
                  <a:pt x="2094851" y="1635419"/>
                </a:cubicBezTo>
                <a:cubicBezTo>
                  <a:pt x="2094851" y="1665900"/>
                  <a:pt x="2070140" y="1690610"/>
                  <a:pt x="2039658" y="1690610"/>
                </a:cubicBezTo>
                <a:cubicBezTo>
                  <a:pt x="2009176" y="1690610"/>
                  <a:pt x="1984465" y="1665900"/>
                  <a:pt x="1984465" y="1635419"/>
                </a:cubicBezTo>
                <a:cubicBezTo>
                  <a:pt x="1984465" y="1604938"/>
                  <a:pt x="2009176" y="1580228"/>
                  <a:pt x="2039658" y="1580228"/>
                </a:cubicBezTo>
                <a:close/>
                <a:moveTo>
                  <a:pt x="9068807" y="1459958"/>
                </a:moveTo>
                <a:cubicBezTo>
                  <a:pt x="9099289" y="1459958"/>
                  <a:pt x="9123999" y="1484668"/>
                  <a:pt x="9123999" y="1515149"/>
                </a:cubicBezTo>
                <a:cubicBezTo>
                  <a:pt x="9123999" y="1545630"/>
                  <a:pt x="9099289" y="1570340"/>
                  <a:pt x="9068807" y="1570340"/>
                </a:cubicBezTo>
                <a:cubicBezTo>
                  <a:pt x="9038325" y="1570340"/>
                  <a:pt x="9013615" y="1545630"/>
                  <a:pt x="9013615" y="1515149"/>
                </a:cubicBezTo>
                <a:cubicBezTo>
                  <a:pt x="9013615" y="1484668"/>
                  <a:pt x="9038325" y="1459958"/>
                  <a:pt x="9068807" y="1459958"/>
                </a:cubicBezTo>
                <a:close/>
                <a:moveTo>
                  <a:pt x="8671244" y="1459958"/>
                </a:moveTo>
                <a:cubicBezTo>
                  <a:pt x="8701726" y="1459958"/>
                  <a:pt x="8726436" y="1484668"/>
                  <a:pt x="8726436" y="1515149"/>
                </a:cubicBezTo>
                <a:cubicBezTo>
                  <a:pt x="8726436" y="1545630"/>
                  <a:pt x="8701726" y="1570340"/>
                  <a:pt x="8671244" y="1570340"/>
                </a:cubicBezTo>
                <a:cubicBezTo>
                  <a:pt x="8640762" y="1570340"/>
                  <a:pt x="8616052" y="1545630"/>
                  <a:pt x="8616052" y="1515149"/>
                </a:cubicBezTo>
                <a:cubicBezTo>
                  <a:pt x="8616052" y="1484668"/>
                  <a:pt x="8640762" y="1459958"/>
                  <a:pt x="8671244" y="1459958"/>
                </a:cubicBezTo>
                <a:close/>
                <a:moveTo>
                  <a:pt x="8537612" y="1459958"/>
                </a:moveTo>
                <a:cubicBezTo>
                  <a:pt x="8568094" y="1459958"/>
                  <a:pt x="8592804" y="1484668"/>
                  <a:pt x="8592804" y="1515149"/>
                </a:cubicBezTo>
                <a:cubicBezTo>
                  <a:pt x="8592804" y="1545630"/>
                  <a:pt x="8568094" y="1570340"/>
                  <a:pt x="8537612" y="1570340"/>
                </a:cubicBezTo>
                <a:cubicBezTo>
                  <a:pt x="8507130" y="1570340"/>
                  <a:pt x="8482420" y="1545630"/>
                  <a:pt x="8482420" y="1515149"/>
                </a:cubicBezTo>
                <a:cubicBezTo>
                  <a:pt x="8482420" y="1484668"/>
                  <a:pt x="8507130" y="1459958"/>
                  <a:pt x="8537612" y="1459958"/>
                </a:cubicBezTo>
                <a:close/>
                <a:moveTo>
                  <a:pt x="8407316" y="1459958"/>
                </a:moveTo>
                <a:cubicBezTo>
                  <a:pt x="8437798" y="1459958"/>
                  <a:pt x="8462508" y="1484668"/>
                  <a:pt x="8462508" y="1515149"/>
                </a:cubicBezTo>
                <a:cubicBezTo>
                  <a:pt x="8462508" y="1545630"/>
                  <a:pt x="8437798" y="1570340"/>
                  <a:pt x="8407316" y="1570340"/>
                </a:cubicBezTo>
                <a:cubicBezTo>
                  <a:pt x="8376834" y="1570340"/>
                  <a:pt x="8352124" y="1545630"/>
                  <a:pt x="8352124" y="1515149"/>
                </a:cubicBezTo>
                <a:cubicBezTo>
                  <a:pt x="8352124" y="1484668"/>
                  <a:pt x="8376834" y="1459958"/>
                  <a:pt x="8407316" y="1459958"/>
                </a:cubicBezTo>
                <a:close/>
                <a:moveTo>
                  <a:pt x="8273682" y="1459958"/>
                </a:moveTo>
                <a:cubicBezTo>
                  <a:pt x="8304164" y="1459958"/>
                  <a:pt x="8328874" y="1484668"/>
                  <a:pt x="8328874" y="1515149"/>
                </a:cubicBezTo>
                <a:cubicBezTo>
                  <a:pt x="8328874" y="1545630"/>
                  <a:pt x="8304164" y="1570340"/>
                  <a:pt x="8273682" y="1570340"/>
                </a:cubicBezTo>
                <a:cubicBezTo>
                  <a:pt x="8243200" y="1570340"/>
                  <a:pt x="8218490" y="1545630"/>
                  <a:pt x="8218490" y="1515149"/>
                </a:cubicBezTo>
                <a:cubicBezTo>
                  <a:pt x="8218490" y="1484668"/>
                  <a:pt x="8243200" y="1459958"/>
                  <a:pt x="8273682" y="1459958"/>
                </a:cubicBezTo>
                <a:close/>
                <a:moveTo>
                  <a:pt x="8143388" y="1459958"/>
                </a:moveTo>
                <a:cubicBezTo>
                  <a:pt x="8173870" y="1459958"/>
                  <a:pt x="8198580" y="1484668"/>
                  <a:pt x="8198580" y="1515149"/>
                </a:cubicBezTo>
                <a:cubicBezTo>
                  <a:pt x="8198580" y="1545630"/>
                  <a:pt x="8173870" y="1570340"/>
                  <a:pt x="8143388" y="1570340"/>
                </a:cubicBezTo>
                <a:cubicBezTo>
                  <a:pt x="8112906" y="1570340"/>
                  <a:pt x="8088196" y="1545630"/>
                  <a:pt x="8088196" y="1515149"/>
                </a:cubicBezTo>
                <a:cubicBezTo>
                  <a:pt x="8088196" y="1484668"/>
                  <a:pt x="8112906" y="1459958"/>
                  <a:pt x="8143388" y="1459958"/>
                </a:cubicBezTo>
                <a:close/>
                <a:moveTo>
                  <a:pt x="8009753" y="1459958"/>
                </a:moveTo>
                <a:cubicBezTo>
                  <a:pt x="8040235" y="1459958"/>
                  <a:pt x="8064945" y="1484668"/>
                  <a:pt x="8064945" y="1515149"/>
                </a:cubicBezTo>
                <a:cubicBezTo>
                  <a:pt x="8064945" y="1545630"/>
                  <a:pt x="8040235" y="1570340"/>
                  <a:pt x="8009753" y="1570340"/>
                </a:cubicBezTo>
                <a:cubicBezTo>
                  <a:pt x="7979271" y="1570340"/>
                  <a:pt x="7954561" y="1545630"/>
                  <a:pt x="7954561" y="1515149"/>
                </a:cubicBezTo>
                <a:cubicBezTo>
                  <a:pt x="7954561" y="1484668"/>
                  <a:pt x="7979271" y="1459958"/>
                  <a:pt x="8009753" y="1459958"/>
                </a:cubicBezTo>
                <a:close/>
                <a:moveTo>
                  <a:pt x="7876118" y="1459958"/>
                </a:moveTo>
                <a:cubicBezTo>
                  <a:pt x="7906600" y="1459958"/>
                  <a:pt x="7931310" y="1484668"/>
                  <a:pt x="7931310" y="1515149"/>
                </a:cubicBezTo>
                <a:cubicBezTo>
                  <a:pt x="7931310" y="1545630"/>
                  <a:pt x="7906600" y="1570340"/>
                  <a:pt x="7876118" y="1570340"/>
                </a:cubicBezTo>
                <a:cubicBezTo>
                  <a:pt x="7845636" y="1570340"/>
                  <a:pt x="7820926" y="1545630"/>
                  <a:pt x="7820926" y="1515149"/>
                </a:cubicBezTo>
                <a:cubicBezTo>
                  <a:pt x="7820926" y="1484668"/>
                  <a:pt x="7845636" y="1459958"/>
                  <a:pt x="7876118" y="1459958"/>
                </a:cubicBezTo>
                <a:close/>
                <a:moveTo>
                  <a:pt x="7745823" y="1459958"/>
                </a:moveTo>
                <a:cubicBezTo>
                  <a:pt x="7776305" y="1459958"/>
                  <a:pt x="7801015" y="1484668"/>
                  <a:pt x="7801015" y="1515149"/>
                </a:cubicBezTo>
                <a:cubicBezTo>
                  <a:pt x="7801015" y="1545630"/>
                  <a:pt x="7776305" y="1570340"/>
                  <a:pt x="7745823" y="1570340"/>
                </a:cubicBezTo>
                <a:cubicBezTo>
                  <a:pt x="7715341" y="1570340"/>
                  <a:pt x="7690631" y="1545630"/>
                  <a:pt x="7690631" y="1515149"/>
                </a:cubicBezTo>
                <a:cubicBezTo>
                  <a:pt x="7690631" y="1484668"/>
                  <a:pt x="7715341" y="1459958"/>
                  <a:pt x="7745823" y="1459958"/>
                </a:cubicBezTo>
                <a:close/>
                <a:moveTo>
                  <a:pt x="7608849" y="1459958"/>
                </a:moveTo>
                <a:cubicBezTo>
                  <a:pt x="7639331" y="1459958"/>
                  <a:pt x="7664041" y="1484668"/>
                  <a:pt x="7664041" y="1515149"/>
                </a:cubicBezTo>
                <a:cubicBezTo>
                  <a:pt x="7664041" y="1545630"/>
                  <a:pt x="7639331" y="1570340"/>
                  <a:pt x="7608849" y="1570340"/>
                </a:cubicBezTo>
                <a:cubicBezTo>
                  <a:pt x="7578367" y="1570340"/>
                  <a:pt x="7553657" y="1545630"/>
                  <a:pt x="7553657" y="1515149"/>
                </a:cubicBezTo>
                <a:cubicBezTo>
                  <a:pt x="7553657" y="1484668"/>
                  <a:pt x="7578367" y="1459958"/>
                  <a:pt x="7608849" y="1459958"/>
                </a:cubicBezTo>
                <a:close/>
                <a:moveTo>
                  <a:pt x="7481897" y="1459958"/>
                </a:moveTo>
                <a:cubicBezTo>
                  <a:pt x="7512379" y="1459958"/>
                  <a:pt x="7537089" y="1484668"/>
                  <a:pt x="7537089" y="1515149"/>
                </a:cubicBezTo>
                <a:cubicBezTo>
                  <a:pt x="7537089" y="1545630"/>
                  <a:pt x="7512379" y="1570340"/>
                  <a:pt x="7481897" y="1570340"/>
                </a:cubicBezTo>
                <a:cubicBezTo>
                  <a:pt x="7451415" y="1570340"/>
                  <a:pt x="7426705" y="1545630"/>
                  <a:pt x="7426705" y="1515149"/>
                </a:cubicBezTo>
                <a:cubicBezTo>
                  <a:pt x="7426705" y="1484668"/>
                  <a:pt x="7451415" y="1459958"/>
                  <a:pt x="7481897" y="1459958"/>
                </a:cubicBezTo>
                <a:close/>
                <a:moveTo>
                  <a:pt x="7341579" y="1459958"/>
                </a:moveTo>
                <a:cubicBezTo>
                  <a:pt x="7372061" y="1459958"/>
                  <a:pt x="7396771" y="1484668"/>
                  <a:pt x="7396771" y="1515149"/>
                </a:cubicBezTo>
                <a:cubicBezTo>
                  <a:pt x="7396771" y="1545630"/>
                  <a:pt x="7372061" y="1570340"/>
                  <a:pt x="7341579" y="1570340"/>
                </a:cubicBezTo>
                <a:cubicBezTo>
                  <a:pt x="7311097" y="1570340"/>
                  <a:pt x="7286387" y="1545630"/>
                  <a:pt x="7286387" y="1515149"/>
                </a:cubicBezTo>
                <a:cubicBezTo>
                  <a:pt x="7286387" y="1484668"/>
                  <a:pt x="7311097" y="1459958"/>
                  <a:pt x="7341579" y="1459958"/>
                </a:cubicBezTo>
                <a:close/>
                <a:moveTo>
                  <a:pt x="7211286" y="1459958"/>
                </a:moveTo>
                <a:cubicBezTo>
                  <a:pt x="7241768" y="1459958"/>
                  <a:pt x="7266478" y="1484668"/>
                  <a:pt x="7266478" y="1515149"/>
                </a:cubicBezTo>
                <a:cubicBezTo>
                  <a:pt x="7266478" y="1545630"/>
                  <a:pt x="7241768" y="1570340"/>
                  <a:pt x="7211286" y="1570340"/>
                </a:cubicBezTo>
                <a:cubicBezTo>
                  <a:pt x="7180804" y="1570340"/>
                  <a:pt x="7156094" y="1545630"/>
                  <a:pt x="7156094" y="1515149"/>
                </a:cubicBezTo>
                <a:cubicBezTo>
                  <a:pt x="7156094" y="1484668"/>
                  <a:pt x="7180804" y="1459958"/>
                  <a:pt x="7211286" y="1459958"/>
                </a:cubicBezTo>
                <a:close/>
                <a:moveTo>
                  <a:pt x="7080993" y="1459958"/>
                </a:moveTo>
                <a:cubicBezTo>
                  <a:pt x="7111475" y="1459958"/>
                  <a:pt x="7136185" y="1484668"/>
                  <a:pt x="7136185" y="1515149"/>
                </a:cubicBezTo>
                <a:cubicBezTo>
                  <a:pt x="7136185" y="1545630"/>
                  <a:pt x="7111475" y="1570340"/>
                  <a:pt x="7080993" y="1570340"/>
                </a:cubicBezTo>
                <a:cubicBezTo>
                  <a:pt x="7050511" y="1570340"/>
                  <a:pt x="7025801" y="1545630"/>
                  <a:pt x="7025801" y="1515149"/>
                </a:cubicBezTo>
                <a:cubicBezTo>
                  <a:pt x="7025801" y="1484668"/>
                  <a:pt x="7050511" y="1459958"/>
                  <a:pt x="7080993" y="1459958"/>
                </a:cubicBezTo>
                <a:close/>
                <a:moveTo>
                  <a:pt x="6947357" y="1459958"/>
                </a:moveTo>
                <a:cubicBezTo>
                  <a:pt x="6977839" y="1459958"/>
                  <a:pt x="7002549" y="1484668"/>
                  <a:pt x="7002549" y="1515149"/>
                </a:cubicBezTo>
                <a:cubicBezTo>
                  <a:pt x="7002549" y="1545630"/>
                  <a:pt x="6977839" y="1570340"/>
                  <a:pt x="6947357" y="1570340"/>
                </a:cubicBezTo>
                <a:cubicBezTo>
                  <a:pt x="6916875" y="1570340"/>
                  <a:pt x="6892165" y="1545630"/>
                  <a:pt x="6892165" y="1515149"/>
                </a:cubicBezTo>
                <a:cubicBezTo>
                  <a:pt x="6892165" y="1484668"/>
                  <a:pt x="6916875" y="1459958"/>
                  <a:pt x="6947357" y="1459958"/>
                </a:cubicBezTo>
                <a:close/>
                <a:moveTo>
                  <a:pt x="6817064" y="1459958"/>
                </a:moveTo>
                <a:cubicBezTo>
                  <a:pt x="6847546" y="1459958"/>
                  <a:pt x="6872256" y="1484668"/>
                  <a:pt x="6872256" y="1515149"/>
                </a:cubicBezTo>
                <a:cubicBezTo>
                  <a:pt x="6872256" y="1545630"/>
                  <a:pt x="6847546" y="1570340"/>
                  <a:pt x="6817064" y="1570340"/>
                </a:cubicBezTo>
                <a:cubicBezTo>
                  <a:pt x="6786582" y="1570340"/>
                  <a:pt x="6761872" y="1545630"/>
                  <a:pt x="6761872" y="1515149"/>
                </a:cubicBezTo>
                <a:cubicBezTo>
                  <a:pt x="6761872" y="1484668"/>
                  <a:pt x="6786582" y="1459958"/>
                  <a:pt x="6817064" y="1459958"/>
                </a:cubicBezTo>
                <a:close/>
                <a:moveTo>
                  <a:pt x="6683431" y="1459958"/>
                </a:moveTo>
                <a:cubicBezTo>
                  <a:pt x="6713913" y="1459958"/>
                  <a:pt x="6738623" y="1484668"/>
                  <a:pt x="6738623" y="1515149"/>
                </a:cubicBezTo>
                <a:cubicBezTo>
                  <a:pt x="6738623" y="1545630"/>
                  <a:pt x="6713913" y="1570340"/>
                  <a:pt x="6683431" y="1570340"/>
                </a:cubicBezTo>
                <a:cubicBezTo>
                  <a:pt x="6652949" y="1570340"/>
                  <a:pt x="6628239" y="1545630"/>
                  <a:pt x="6628239" y="1515149"/>
                </a:cubicBezTo>
                <a:cubicBezTo>
                  <a:pt x="6628239" y="1484668"/>
                  <a:pt x="6652949" y="1459958"/>
                  <a:pt x="6683431" y="1459958"/>
                </a:cubicBezTo>
                <a:close/>
                <a:moveTo>
                  <a:pt x="6553137" y="1459958"/>
                </a:moveTo>
                <a:cubicBezTo>
                  <a:pt x="6583619" y="1459958"/>
                  <a:pt x="6608329" y="1484668"/>
                  <a:pt x="6608329" y="1515149"/>
                </a:cubicBezTo>
                <a:cubicBezTo>
                  <a:pt x="6608329" y="1545630"/>
                  <a:pt x="6583619" y="1570340"/>
                  <a:pt x="6553137" y="1570340"/>
                </a:cubicBezTo>
                <a:cubicBezTo>
                  <a:pt x="6522655" y="1570340"/>
                  <a:pt x="6497945" y="1545630"/>
                  <a:pt x="6497945" y="1515149"/>
                </a:cubicBezTo>
                <a:cubicBezTo>
                  <a:pt x="6497945" y="1484668"/>
                  <a:pt x="6522655" y="1459958"/>
                  <a:pt x="6553137" y="1459958"/>
                </a:cubicBezTo>
                <a:close/>
                <a:moveTo>
                  <a:pt x="6419502" y="1459958"/>
                </a:moveTo>
                <a:cubicBezTo>
                  <a:pt x="6449984" y="1459958"/>
                  <a:pt x="6474694" y="1484668"/>
                  <a:pt x="6474694" y="1515149"/>
                </a:cubicBezTo>
                <a:cubicBezTo>
                  <a:pt x="6474694" y="1545630"/>
                  <a:pt x="6449984" y="1570340"/>
                  <a:pt x="6419502" y="1570340"/>
                </a:cubicBezTo>
                <a:cubicBezTo>
                  <a:pt x="6389020" y="1570340"/>
                  <a:pt x="6364310" y="1545630"/>
                  <a:pt x="6364310" y="1515149"/>
                </a:cubicBezTo>
                <a:cubicBezTo>
                  <a:pt x="6364310" y="1484668"/>
                  <a:pt x="6389020" y="1459958"/>
                  <a:pt x="6419502" y="1459958"/>
                </a:cubicBezTo>
                <a:close/>
                <a:moveTo>
                  <a:pt x="6289207" y="1459958"/>
                </a:moveTo>
                <a:cubicBezTo>
                  <a:pt x="6319689" y="1459958"/>
                  <a:pt x="6344399" y="1484668"/>
                  <a:pt x="6344399" y="1515149"/>
                </a:cubicBezTo>
                <a:cubicBezTo>
                  <a:pt x="6344399" y="1545630"/>
                  <a:pt x="6319689" y="1570340"/>
                  <a:pt x="6289207" y="1570340"/>
                </a:cubicBezTo>
                <a:cubicBezTo>
                  <a:pt x="6258725" y="1570340"/>
                  <a:pt x="6234015" y="1545630"/>
                  <a:pt x="6234015" y="1515149"/>
                </a:cubicBezTo>
                <a:cubicBezTo>
                  <a:pt x="6234015" y="1484668"/>
                  <a:pt x="6258725" y="1459958"/>
                  <a:pt x="6289207" y="1459958"/>
                </a:cubicBezTo>
                <a:close/>
                <a:moveTo>
                  <a:pt x="6155573" y="1459958"/>
                </a:moveTo>
                <a:cubicBezTo>
                  <a:pt x="6186055" y="1459958"/>
                  <a:pt x="6210765" y="1484668"/>
                  <a:pt x="6210765" y="1515149"/>
                </a:cubicBezTo>
                <a:cubicBezTo>
                  <a:pt x="6210765" y="1545630"/>
                  <a:pt x="6186055" y="1570340"/>
                  <a:pt x="6155573" y="1570340"/>
                </a:cubicBezTo>
                <a:cubicBezTo>
                  <a:pt x="6125091" y="1570340"/>
                  <a:pt x="6100381" y="1545630"/>
                  <a:pt x="6100381" y="1515149"/>
                </a:cubicBezTo>
                <a:cubicBezTo>
                  <a:pt x="6100381" y="1484668"/>
                  <a:pt x="6125091" y="1459958"/>
                  <a:pt x="6155573" y="1459958"/>
                </a:cubicBezTo>
                <a:close/>
                <a:moveTo>
                  <a:pt x="6021939" y="1459958"/>
                </a:moveTo>
                <a:cubicBezTo>
                  <a:pt x="6052421" y="1459958"/>
                  <a:pt x="6077131" y="1484668"/>
                  <a:pt x="6077131" y="1515149"/>
                </a:cubicBezTo>
                <a:cubicBezTo>
                  <a:pt x="6077131" y="1545630"/>
                  <a:pt x="6052421" y="1570340"/>
                  <a:pt x="6021939" y="1570340"/>
                </a:cubicBezTo>
                <a:cubicBezTo>
                  <a:pt x="5991457" y="1570340"/>
                  <a:pt x="5966747" y="1545630"/>
                  <a:pt x="5966747" y="1515149"/>
                </a:cubicBezTo>
                <a:cubicBezTo>
                  <a:pt x="5966747" y="1484668"/>
                  <a:pt x="5991457" y="1459958"/>
                  <a:pt x="6021939" y="1459958"/>
                </a:cubicBezTo>
                <a:close/>
                <a:moveTo>
                  <a:pt x="5884964" y="1459958"/>
                </a:moveTo>
                <a:cubicBezTo>
                  <a:pt x="5915446" y="1459958"/>
                  <a:pt x="5940156" y="1484668"/>
                  <a:pt x="5940156" y="1515149"/>
                </a:cubicBezTo>
                <a:cubicBezTo>
                  <a:pt x="5940156" y="1545630"/>
                  <a:pt x="5915446" y="1570340"/>
                  <a:pt x="5884964" y="1570340"/>
                </a:cubicBezTo>
                <a:cubicBezTo>
                  <a:pt x="5854482" y="1570340"/>
                  <a:pt x="5829772" y="1545630"/>
                  <a:pt x="5829772" y="1515149"/>
                </a:cubicBezTo>
                <a:cubicBezTo>
                  <a:pt x="5829772" y="1484668"/>
                  <a:pt x="5854482" y="1459958"/>
                  <a:pt x="5884964" y="1459958"/>
                </a:cubicBezTo>
                <a:close/>
                <a:moveTo>
                  <a:pt x="5754668" y="1459958"/>
                </a:moveTo>
                <a:cubicBezTo>
                  <a:pt x="5785150" y="1459958"/>
                  <a:pt x="5809860" y="1484668"/>
                  <a:pt x="5809860" y="1515149"/>
                </a:cubicBezTo>
                <a:cubicBezTo>
                  <a:pt x="5809860" y="1545630"/>
                  <a:pt x="5785150" y="1570340"/>
                  <a:pt x="5754668" y="1570340"/>
                </a:cubicBezTo>
                <a:cubicBezTo>
                  <a:pt x="5724186" y="1570340"/>
                  <a:pt x="5699476" y="1545630"/>
                  <a:pt x="5699476" y="1515149"/>
                </a:cubicBezTo>
                <a:cubicBezTo>
                  <a:pt x="5699476" y="1484668"/>
                  <a:pt x="5724186" y="1459958"/>
                  <a:pt x="5754668" y="1459958"/>
                </a:cubicBezTo>
                <a:close/>
                <a:moveTo>
                  <a:pt x="5621034" y="1459958"/>
                </a:moveTo>
                <a:cubicBezTo>
                  <a:pt x="5651516" y="1459958"/>
                  <a:pt x="5676226" y="1484668"/>
                  <a:pt x="5676226" y="1515149"/>
                </a:cubicBezTo>
                <a:cubicBezTo>
                  <a:pt x="5676226" y="1545630"/>
                  <a:pt x="5651516" y="1570340"/>
                  <a:pt x="5621034" y="1570340"/>
                </a:cubicBezTo>
                <a:cubicBezTo>
                  <a:pt x="5590552" y="1570340"/>
                  <a:pt x="5565842" y="1545630"/>
                  <a:pt x="5565842" y="1515149"/>
                </a:cubicBezTo>
                <a:cubicBezTo>
                  <a:pt x="5565842" y="1484668"/>
                  <a:pt x="5590552" y="1459958"/>
                  <a:pt x="5621034" y="1459958"/>
                </a:cubicBezTo>
                <a:close/>
                <a:moveTo>
                  <a:pt x="5487399" y="1459958"/>
                </a:moveTo>
                <a:cubicBezTo>
                  <a:pt x="5517881" y="1459958"/>
                  <a:pt x="5542591" y="1484668"/>
                  <a:pt x="5542591" y="1515149"/>
                </a:cubicBezTo>
                <a:cubicBezTo>
                  <a:pt x="5542591" y="1545630"/>
                  <a:pt x="5517881" y="1570340"/>
                  <a:pt x="5487399" y="1570340"/>
                </a:cubicBezTo>
                <a:cubicBezTo>
                  <a:pt x="5456917" y="1570340"/>
                  <a:pt x="5432207" y="1545630"/>
                  <a:pt x="5432207" y="1515149"/>
                </a:cubicBezTo>
                <a:cubicBezTo>
                  <a:pt x="5432207" y="1484668"/>
                  <a:pt x="5456917" y="1459958"/>
                  <a:pt x="5487399" y="1459958"/>
                </a:cubicBezTo>
                <a:close/>
                <a:moveTo>
                  <a:pt x="5357106" y="1459958"/>
                </a:moveTo>
                <a:cubicBezTo>
                  <a:pt x="5387588" y="1459958"/>
                  <a:pt x="5412298" y="1484668"/>
                  <a:pt x="5412298" y="1515149"/>
                </a:cubicBezTo>
                <a:cubicBezTo>
                  <a:pt x="5412298" y="1545630"/>
                  <a:pt x="5387588" y="1570340"/>
                  <a:pt x="5357106" y="1570340"/>
                </a:cubicBezTo>
                <a:cubicBezTo>
                  <a:pt x="5326624" y="1570340"/>
                  <a:pt x="5301914" y="1545630"/>
                  <a:pt x="5301914" y="1515149"/>
                </a:cubicBezTo>
                <a:cubicBezTo>
                  <a:pt x="5301914" y="1484668"/>
                  <a:pt x="5326624" y="1459958"/>
                  <a:pt x="5357106" y="1459958"/>
                </a:cubicBezTo>
                <a:close/>
                <a:moveTo>
                  <a:pt x="5223473" y="1459958"/>
                </a:moveTo>
                <a:cubicBezTo>
                  <a:pt x="5253955" y="1459958"/>
                  <a:pt x="5278665" y="1484668"/>
                  <a:pt x="5278665" y="1515149"/>
                </a:cubicBezTo>
                <a:cubicBezTo>
                  <a:pt x="5278665" y="1545630"/>
                  <a:pt x="5253955" y="1570340"/>
                  <a:pt x="5223473" y="1570340"/>
                </a:cubicBezTo>
                <a:cubicBezTo>
                  <a:pt x="5192991" y="1570340"/>
                  <a:pt x="5168281" y="1545630"/>
                  <a:pt x="5168281" y="1515149"/>
                </a:cubicBezTo>
                <a:cubicBezTo>
                  <a:pt x="5168281" y="1484668"/>
                  <a:pt x="5192991" y="1459958"/>
                  <a:pt x="5223473" y="1459958"/>
                </a:cubicBezTo>
                <a:close/>
                <a:moveTo>
                  <a:pt x="5093178" y="1459958"/>
                </a:moveTo>
                <a:cubicBezTo>
                  <a:pt x="5123660" y="1459958"/>
                  <a:pt x="5148370" y="1484668"/>
                  <a:pt x="5148370" y="1515149"/>
                </a:cubicBezTo>
                <a:cubicBezTo>
                  <a:pt x="5148370" y="1545630"/>
                  <a:pt x="5123660" y="1570340"/>
                  <a:pt x="5093178" y="1570340"/>
                </a:cubicBezTo>
                <a:cubicBezTo>
                  <a:pt x="5062696" y="1570340"/>
                  <a:pt x="5037986" y="1545630"/>
                  <a:pt x="5037986" y="1515149"/>
                </a:cubicBezTo>
                <a:cubicBezTo>
                  <a:pt x="5037986" y="1484668"/>
                  <a:pt x="5062696" y="1459958"/>
                  <a:pt x="5093178" y="1459958"/>
                </a:cubicBezTo>
                <a:close/>
                <a:moveTo>
                  <a:pt x="4959542" y="1459958"/>
                </a:moveTo>
                <a:cubicBezTo>
                  <a:pt x="4990024" y="1459958"/>
                  <a:pt x="5014734" y="1484668"/>
                  <a:pt x="5014734" y="1515149"/>
                </a:cubicBezTo>
                <a:cubicBezTo>
                  <a:pt x="5014734" y="1545630"/>
                  <a:pt x="4990024" y="1570340"/>
                  <a:pt x="4959542" y="1570340"/>
                </a:cubicBezTo>
                <a:cubicBezTo>
                  <a:pt x="4929060" y="1570340"/>
                  <a:pt x="4904350" y="1545630"/>
                  <a:pt x="4904350" y="1515149"/>
                </a:cubicBezTo>
                <a:cubicBezTo>
                  <a:pt x="4904350" y="1484668"/>
                  <a:pt x="4929060" y="1459958"/>
                  <a:pt x="4959542" y="1459958"/>
                </a:cubicBezTo>
                <a:close/>
                <a:moveTo>
                  <a:pt x="4829250" y="1459958"/>
                </a:moveTo>
                <a:cubicBezTo>
                  <a:pt x="4859732" y="1459958"/>
                  <a:pt x="4884442" y="1484668"/>
                  <a:pt x="4884442" y="1515149"/>
                </a:cubicBezTo>
                <a:cubicBezTo>
                  <a:pt x="4884442" y="1545630"/>
                  <a:pt x="4859732" y="1570340"/>
                  <a:pt x="4829250" y="1570340"/>
                </a:cubicBezTo>
                <a:cubicBezTo>
                  <a:pt x="4798768" y="1570340"/>
                  <a:pt x="4774058" y="1545630"/>
                  <a:pt x="4774058" y="1515149"/>
                </a:cubicBezTo>
                <a:cubicBezTo>
                  <a:pt x="4774058" y="1484668"/>
                  <a:pt x="4798768" y="1459958"/>
                  <a:pt x="4829250" y="1459958"/>
                </a:cubicBezTo>
                <a:close/>
                <a:moveTo>
                  <a:pt x="4695614" y="1459958"/>
                </a:moveTo>
                <a:cubicBezTo>
                  <a:pt x="4726096" y="1459958"/>
                  <a:pt x="4750806" y="1484668"/>
                  <a:pt x="4750806" y="1515149"/>
                </a:cubicBezTo>
                <a:cubicBezTo>
                  <a:pt x="4750806" y="1545630"/>
                  <a:pt x="4726096" y="1570340"/>
                  <a:pt x="4695614" y="1570340"/>
                </a:cubicBezTo>
                <a:cubicBezTo>
                  <a:pt x="4665132" y="1570340"/>
                  <a:pt x="4640422" y="1545630"/>
                  <a:pt x="4640422" y="1515149"/>
                </a:cubicBezTo>
                <a:cubicBezTo>
                  <a:pt x="4640422" y="1484668"/>
                  <a:pt x="4665132" y="1459958"/>
                  <a:pt x="4695614" y="1459958"/>
                </a:cubicBezTo>
                <a:close/>
                <a:moveTo>
                  <a:pt x="4565322" y="1459958"/>
                </a:moveTo>
                <a:cubicBezTo>
                  <a:pt x="4595804" y="1459958"/>
                  <a:pt x="4620514" y="1484668"/>
                  <a:pt x="4620514" y="1515149"/>
                </a:cubicBezTo>
                <a:cubicBezTo>
                  <a:pt x="4620514" y="1545630"/>
                  <a:pt x="4595804" y="1570340"/>
                  <a:pt x="4565322" y="1570340"/>
                </a:cubicBezTo>
                <a:cubicBezTo>
                  <a:pt x="4534840" y="1570340"/>
                  <a:pt x="4510130" y="1545630"/>
                  <a:pt x="4510130" y="1515149"/>
                </a:cubicBezTo>
                <a:cubicBezTo>
                  <a:pt x="4510130" y="1484668"/>
                  <a:pt x="4534840" y="1459958"/>
                  <a:pt x="4565322" y="1459958"/>
                </a:cubicBezTo>
                <a:close/>
                <a:moveTo>
                  <a:pt x="4431687" y="1459958"/>
                </a:moveTo>
                <a:cubicBezTo>
                  <a:pt x="4462169" y="1459958"/>
                  <a:pt x="4486879" y="1484668"/>
                  <a:pt x="4486879" y="1515149"/>
                </a:cubicBezTo>
                <a:cubicBezTo>
                  <a:pt x="4486879" y="1545630"/>
                  <a:pt x="4462169" y="1570340"/>
                  <a:pt x="4431687" y="1570340"/>
                </a:cubicBezTo>
                <a:cubicBezTo>
                  <a:pt x="4401205" y="1570340"/>
                  <a:pt x="4376495" y="1545630"/>
                  <a:pt x="4376495" y="1515149"/>
                </a:cubicBezTo>
                <a:cubicBezTo>
                  <a:pt x="4376495" y="1484668"/>
                  <a:pt x="4401205" y="1459958"/>
                  <a:pt x="4431687" y="1459958"/>
                </a:cubicBezTo>
                <a:close/>
                <a:moveTo>
                  <a:pt x="3098681" y="1459958"/>
                </a:moveTo>
                <a:cubicBezTo>
                  <a:pt x="3129163" y="1459958"/>
                  <a:pt x="3153873" y="1484668"/>
                  <a:pt x="3153873" y="1515149"/>
                </a:cubicBezTo>
                <a:cubicBezTo>
                  <a:pt x="3153873" y="1545630"/>
                  <a:pt x="3129163" y="1570340"/>
                  <a:pt x="3098681" y="1570340"/>
                </a:cubicBezTo>
                <a:cubicBezTo>
                  <a:pt x="3068199" y="1570340"/>
                  <a:pt x="3043489" y="1545630"/>
                  <a:pt x="3043489" y="1515149"/>
                </a:cubicBezTo>
                <a:cubicBezTo>
                  <a:pt x="3043489" y="1484668"/>
                  <a:pt x="3068199" y="1459958"/>
                  <a:pt x="3098681" y="1459958"/>
                </a:cubicBezTo>
                <a:close/>
                <a:moveTo>
                  <a:pt x="2971729" y="1459958"/>
                </a:moveTo>
                <a:cubicBezTo>
                  <a:pt x="3002211" y="1459958"/>
                  <a:pt x="3026921" y="1484668"/>
                  <a:pt x="3026921" y="1515149"/>
                </a:cubicBezTo>
                <a:cubicBezTo>
                  <a:pt x="3026921" y="1545630"/>
                  <a:pt x="3002211" y="1570340"/>
                  <a:pt x="2971729" y="1570340"/>
                </a:cubicBezTo>
                <a:cubicBezTo>
                  <a:pt x="2941247" y="1570340"/>
                  <a:pt x="2916537" y="1545630"/>
                  <a:pt x="2916537" y="1515149"/>
                </a:cubicBezTo>
                <a:cubicBezTo>
                  <a:pt x="2916537" y="1484668"/>
                  <a:pt x="2941247" y="1459958"/>
                  <a:pt x="2971729" y="1459958"/>
                </a:cubicBezTo>
                <a:close/>
                <a:moveTo>
                  <a:pt x="2834792" y="1459958"/>
                </a:moveTo>
                <a:cubicBezTo>
                  <a:pt x="2865274" y="1459958"/>
                  <a:pt x="2889984" y="1484668"/>
                  <a:pt x="2889984" y="1515149"/>
                </a:cubicBezTo>
                <a:cubicBezTo>
                  <a:pt x="2889984" y="1545630"/>
                  <a:pt x="2865274" y="1570340"/>
                  <a:pt x="2834792" y="1570340"/>
                </a:cubicBezTo>
                <a:cubicBezTo>
                  <a:pt x="2804310" y="1570340"/>
                  <a:pt x="2779600" y="1545630"/>
                  <a:pt x="2779600" y="1515149"/>
                </a:cubicBezTo>
                <a:cubicBezTo>
                  <a:pt x="2779600" y="1484668"/>
                  <a:pt x="2804310" y="1459958"/>
                  <a:pt x="2834792" y="1459958"/>
                </a:cubicBezTo>
                <a:close/>
                <a:moveTo>
                  <a:pt x="2707839" y="1459958"/>
                </a:moveTo>
                <a:cubicBezTo>
                  <a:pt x="2738320" y="1459958"/>
                  <a:pt x="2763031" y="1484668"/>
                  <a:pt x="2763031" y="1515149"/>
                </a:cubicBezTo>
                <a:cubicBezTo>
                  <a:pt x="2763031" y="1545630"/>
                  <a:pt x="2738320" y="1570340"/>
                  <a:pt x="2707839" y="1570340"/>
                </a:cubicBezTo>
                <a:cubicBezTo>
                  <a:pt x="2677357" y="1570340"/>
                  <a:pt x="2652646" y="1545630"/>
                  <a:pt x="2652646" y="1515149"/>
                </a:cubicBezTo>
                <a:cubicBezTo>
                  <a:pt x="2652646" y="1484668"/>
                  <a:pt x="2677357" y="1459958"/>
                  <a:pt x="2707839" y="1459958"/>
                </a:cubicBezTo>
                <a:close/>
                <a:moveTo>
                  <a:pt x="2570864" y="1459958"/>
                </a:moveTo>
                <a:cubicBezTo>
                  <a:pt x="2601346" y="1459958"/>
                  <a:pt x="2626056" y="1484668"/>
                  <a:pt x="2626056" y="1515149"/>
                </a:cubicBezTo>
                <a:cubicBezTo>
                  <a:pt x="2626056" y="1545630"/>
                  <a:pt x="2601346" y="1570340"/>
                  <a:pt x="2570864" y="1570340"/>
                </a:cubicBezTo>
                <a:cubicBezTo>
                  <a:pt x="2540381" y="1570340"/>
                  <a:pt x="2515671" y="1545630"/>
                  <a:pt x="2515671" y="1515149"/>
                </a:cubicBezTo>
                <a:cubicBezTo>
                  <a:pt x="2515671" y="1484668"/>
                  <a:pt x="2540381" y="1459958"/>
                  <a:pt x="2570864" y="1459958"/>
                </a:cubicBezTo>
                <a:close/>
                <a:moveTo>
                  <a:pt x="2437228" y="1459958"/>
                </a:moveTo>
                <a:cubicBezTo>
                  <a:pt x="2467711" y="1459958"/>
                  <a:pt x="2492419" y="1484668"/>
                  <a:pt x="2492419" y="1515149"/>
                </a:cubicBezTo>
                <a:cubicBezTo>
                  <a:pt x="2492419" y="1545630"/>
                  <a:pt x="2467711" y="1570340"/>
                  <a:pt x="2437228" y="1570340"/>
                </a:cubicBezTo>
                <a:cubicBezTo>
                  <a:pt x="2406748" y="1570340"/>
                  <a:pt x="2382037" y="1545630"/>
                  <a:pt x="2382037" y="1515149"/>
                </a:cubicBezTo>
                <a:cubicBezTo>
                  <a:pt x="2382037" y="1484668"/>
                  <a:pt x="2406748" y="1459958"/>
                  <a:pt x="2437228" y="1459958"/>
                </a:cubicBezTo>
                <a:close/>
                <a:moveTo>
                  <a:pt x="2303596" y="1459958"/>
                </a:moveTo>
                <a:cubicBezTo>
                  <a:pt x="2334078" y="1459958"/>
                  <a:pt x="2358787" y="1484668"/>
                  <a:pt x="2358787" y="1515149"/>
                </a:cubicBezTo>
                <a:cubicBezTo>
                  <a:pt x="2358787" y="1545630"/>
                  <a:pt x="2334078" y="1570340"/>
                  <a:pt x="2303596" y="1570340"/>
                </a:cubicBezTo>
                <a:cubicBezTo>
                  <a:pt x="2273113" y="1570340"/>
                  <a:pt x="2248404" y="1545630"/>
                  <a:pt x="2248404" y="1515149"/>
                </a:cubicBezTo>
                <a:cubicBezTo>
                  <a:pt x="2248404" y="1484668"/>
                  <a:pt x="2273113" y="1459958"/>
                  <a:pt x="2303596" y="1459958"/>
                </a:cubicBezTo>
                <a:close/>
                <a:moveTo>
                  <a:pt x="2173305" y="1459958"/>
                </a:moveTo>
                <a:cubicBezTo>
                  <a:pt x="2203787" y="1459958"/>
                  <a:pt x="2228497" y="1484668"/>
                  <a:pt x="2228497" y="1515149"/>
                </a:cubicBezTo>
                <a:cubicBezTo>
                  <a:pt x="2228497" y="1545630"/>
                  <a:pt x="2203787" y="1570340"/>
                  <a:pt x="2173305" y="1570340"/>
                </a:cubicBezTo>
                <a:cubicBezTo>
                  <a:pt x="2142822" y="1570340"/>
                  <a:pt x="2118111" y="1545630"/>
                  <a:pt x="2118111" y="1515149"/>
                </a:cubicBezTo>
                <a:cubicBezTo>
                  <a:pt x="2118111" y="1484668"/>
                  <a:pt x="2142822" y="1459958"/>
                  <a:pt x="2173305" y="1459958"/>
                </a:cubicBezTo>
                <a:close/>
                <a:moveTo>
                  <a:pt x="2039668" y="1459958"/>
                </a:moveTo>
                <a:cubicBezTo>
                  <a:pt x="2070150" y="1459958"/>
                  <a:pt x="2094860" y="1484668"/>
                  <a:pt x="2094860" y="1515149"/>
                </a:cubicBezTo>
                <a:cubicBezTo>
                  <a:pt x="2094860" y="1545630"/>
                  <a:pt x="2070150" y="1570340"/>
                  <a:pt x="2039668" y="1570340"/>
                </a:cubicBezTo>
                <a:cubicBezTo>
                  <a:pt x="2009185" y="1570340"/>
                  <a:pt x="1984475" y="1545630"/>
                  <a:pt x="1984475" y="1515149"/>
                </a:cubicBezTo>
                <a:cubicBezTo>
                  <a:pt x="1984475" y="1484668"/>
                  <a:pt x="2009185" y="1459958"/>
                  <a:pt x="2039668" y="1459958"/>
                </a:cubicBezTo>
                <a:close/>
                <a:moveTo>
                  <a:pt x="1909371" y="1459958"/>
                </a:moveTo>
                <a:cubicBezTo>
                  <a:pt x="1939853" y="1459958"/>
                  <a:pt x="1964564" y="1484668"/>
                  <a:pt x="1964564" y="1515149"/>
                </a:cubicBezTo>
                <a:cubicBezTo>
                  <a:pt x="1964564" y="1545630"/>
                  <a:pt x="1939853" y="1570340"/>
                  <a:pt x="1909371" y="1570340"/>
                </a:cubicBezTo>
                <a:cubicBezTo>
                  <a:pt x="1878889" y="1570340"/>
                  <a:pt x="1854178" y="1545630"/>
                  <a:pt x="1854178" y="1515149"/>
                </a:cubicBezTo>
                <a:cubicBezTo>
                  <a:pt x="1854178" y="1484668"/>
                  <a:pt x="1878889" y="1459958"/>
                  <a:pt x="1909371" y="1459958"/>
                </a:cubicBezTo>
                <a:close/>
                <a:moveTo>
                  <a:pt x="1779076" y="1459958"/>
                </a:moveTo>
                <a:cubicBezTo>
                  <a:pt x="1809559" y="1459958"/>
                  <a:pt x="1834269" y="1484668"/>
                  <a:pt x="1834269" y="1515149"/>
                </a:cubicBezTo>
                <a:cubicBezTo>
                  <a:pt x="1834269" y="1545630"/>
                  <a:pt x="1809559" y="1570340"/>
                  <a:pt x="1779076" y="1570340"/>
                </a:cubicBezTo>
                <a:cubicBezTo>
                  <a:pt x="1748595" y="1570340"/>
                  <a:pt x="1723884" y="1545630"/>
                  <a:pt x="1723884" y="1515149"/>
                </a:cubicBezTo>
                <a:cubicBezTo>
                  <a:pt x="1723884" y="1484668"/>
                  <a:pt x="1748595" y="1459958"/>
                  <a:pt x="1779076" y="1459958"/>
                </a:cubicBezTo>
                <a:close/>
                <a:moveTo>
                  <a:pt x="1645440" y="1459958"/>
                </a:moveTo>
                <a:cubicBezTo>
                  <a:pt x="1675922" y="1459958"/>
                  <a:pt x="1700637" y="1484668"/>
                  <a:pt x="1700637" y="1515149"/>
                </a:cubicBezTo>
                <a:cubicBezTo>
                  <a:pt x="1700637" y="1545630"/>
                  <a:pt x="1675922" y="1570340"/>
                  <a:pt x="1645440" y="1570340"/>
                </a:cubicBezTo>
                <a:cubicBezTo>
                  <a:pt x="1614959" y="1570340"/>
                  <a:pt x="1590248" y="1545630"/>
                  <a:pt x="1590248" y="1515149"/>
                </a:cubicBezTo>
                <a:cubicBezTo>
                  <a:pt x="1590248" y="1484668"/>
                  <a:pt x="1614959" y="1459958"/>
                  <a:pt x="1645440" y="1459958"/>
                </a:cubicBezTo>
                <a:close/>
                <a:moveTo>
                  <a:pt x="1515149" y="1459958"/>
                </a:moveTo>
                <a:cubicBezTo>
                  <a:pt x="1545630" y="1459958"/>
                  <a:pt x="1570338" y="1484668"/>
                  <a:pt x="1570338" y="1515149"/>
                </a:cubicBezTo>
                <a:cubicBezTo>
                  <a:pt x="1570338" y="1545630"/>
                  <a:pt x="1545630" y="1570340"/>
                  <a:pt x="1515149" y="1570340"/>
                </a:cubicBezTo>
                <a:cubicBezTo>
                  <a:pt x="1484666" y="1570340"/>
                  <a:pt x="1459956" y="1545630"/>
                  <a:pt x="1459956" y="1515149"/>
                </a:cubicBezTo>
                <a:cubicBezTo>
                  <a:pt x="1459956" y="1484668"/>
                  <a:pt x="1484666" y="1459958"/>
                  <a:pt x="1515149" y="1459958"/>
                </a:cubicBezTo>
                <a:close/>
                <a:moveTo>
                  <a:pt x="1381511" y="1459958"/>
                </a:moveTo>
                <a:cubicBezTo>
                  <a:pt x="1411994" y="1459958"/>
                  <a:pt x="1436705" y="1484668"/>
                  <a:pt x="1436705" y="1515149"/>
                </a:cubicBezTo>
                <a:cubicBezTo>
                  <a:pt x="1436705" y="1545630"/>
                  <a:pt x="1411994" y="1570340"/>
                  <a:pt x="1381511" y="1570340"/>
                </a:cubicBezTo>
                <a:cubicBezTo>
                  <a:pt x="1351035" y="1570340"/>
                  <a:pt x="1326322" y="1545630"/>
                  <a:pt x="1326322" y="1515149"/>
                </a:cubicBezTo>
                <a:cubicBezTo>
                  <a:pt x="1326322" y="1484668"/>
                  <a:pt x="1351035" y="1459958"/>
                  <a:pt x="1381511" y="1459958"/>
                </a:cubicBezTo>
                <a:close/>
                <a:moveTo>
                  <a:pt x="1251220" y="1459958"/>
                </a:moveTo>
                <a:cubicBezTo>
                  <a:pt x="1281702" y="1459958"/>
                  <a:pt x="1306413" y="1484668"/>
                  <a:pt x="1306413" y="1515149"/>
                </a:cubicBezTo>
                <a:cubicBezTo>
                  <a:pt x="1306413" y="1545630"/>
                  <a:pt x="1281702" y="1570340"/>
                  <a:pt x="1251220" y="1570340"/>
                </a:cubicBezTo>
                <a:cubicBezTo>
                  <a:pt x="1220737" y="1570340"/>
                  <a:pt x="1196028" y="1545630"/>
                  <a:pt x="1196028" y="1515149"/>
                </a:cubicBezTo>
                <a:cubicBezTo>
                  <a:pt x="1196028" y="1484668"/>
                  <a:pt x="1220737" y="1459958"/>
                  <a:pt x="1251220" y="1459958"/>
                </a:cubicBezTo>
                <a:close/>
                <a:moveTo>
                  <a:pt x="1117583" y="1459958"/>
                </a:moveTo>
                <a:cubicBezTo>
                  <a:pt x="1148066" y="1459958"/>
                  <a:pt x="1172776" y="1484668"/>
                  <a:pt x="1172776" y="1515149"/>
                </a:cubicBezTo>
                <a:cubicBezTo>
                  <a:pt x="1172776" y="1545630"/>
                  <a:pt x="1148066" y="1570340"/>
                  <a:pt x="1117583" y="1570340"/>
                </a:cubicBezTo>
                <a:cubicBezTo>
                  <a:pt x="1087101" y="1570340"/>
                  <a:pt x="1062390" y="1545630"/>
                  <a:pt x="1062390" y="1515149"/>
                </a:cubicBezTo>
                <a:cubicBezTo>
                  <a:pt x="1062390" y="1484668"/>
                  <a:pt x="1087101" y="1459958"/>
                  <a:pt x="1117583" y="1459958"/>
                </a:cubicBezTo>
                <a:close/>
                <a:moveTo>
                  <a:pt x="980607" y="1459958"/>
                </a:moveTo>
                <a:cubicBezTo>
                  <a:pt x="1011090" y="1459958"/>
                  <a:pt x="1035800" y="1484668"/>
                  <a:pt x="1035800" y="1515149"/>
                </a:cubicBezTo>
                <a:cubicBezTo>
                  <a:pt x="1035800" y="1545630"/>
                  <a:pt x="1011090" y="1570340"/>
                  <a:pt x="980607" y="1570340"/>
                </a:cubicBezTo>
                <a:cubicBezTo>
                  <a:pt x="950125" y="1570340"/>
                  <a:pt x="925415" y="1545630"/>
                  <a:pt x="925415" y="1515149"/>
                </a:cubicBezTo>
                <a:cubicBezTo>
                  <a:pt x="925415" y="1484668"/>
                  <a:pt x="950125" y="1459958"/>
                  <a:pt x="980607" y="1459958"/>
                </a:cubicBezTo>
                <a:close/>
                <a:moveTo>
                  <a:pt x="7608849" y="1336350"/>
                </a:moveTo>
                <a:cubicBezTo>
                  <a:pt x="7639331" y="1336350"/>
                  <a:pt x="7664041" y="1361060"/>
                  <a:pt x="7664041" y="1391541"/>
                </a:cubicBezTo>
                <a:cubicBezTo>
                  <a:pt x="7664041" y="1422022"/>
                  <a:pt x="7639331" y="1446732"/>
                  <a:pt x="7608849" y="1446732"/>
                </a:cubicBezTo>
                <a:cubicBezTo>
                  <a:pt x="7578367" y="1446732"/>
                  <a:pt x="7553657" y="1422022"/>
                  <a:pt x="7553657" y="1391541"/>
                </a:cubicBezTo>
                <a:cubicBezTo>
                  <a:pt x="7553657" y="1361060"/>
                  <a:pt x="7578367" y="1336350"/>
                  <a:pt x="7608849" y="1336350"/>
                </a:cubicBezTo>
                <a:close/>
                <a:moveTo>
                  <a:pt x="7481897" y="1336350"/>
                </a:moveTo>
                <a:cubicBezTo>
                  <a:pt x="7512379" y="1336350"/>
                  <a:pt x="7537089" y="1361060"/>
                  <a:pt x="7537089" y="1391541"/>
                </a:cubicBezTo>
                <a:cubicBezTo>
                  <a:pt x="7537089" y="1422022"/>
                  <a:pt x="7512379" y="1446732"/>
                  <a:pt x="7481897" y="1446732"/>
                </a:cubicBezTo>
                <a:cubicBezTo>
                  <a:pt x="7451415" y="1446732"/>
                  <a:pt x="7426705" y="1422022"/>
                  <a:pt x="7426705" y="1391541"/>
                </a:cubicBezTo>
                <a:cubicBezTo>
                  <a:pt x="7426705" y="1361060"/>
                  <a:pt x="7451415" y="1336350"/>
                  <a:pt x="7481897" y="1336350"/>
                </a:cubicBezTo>
                <a:close/>
                <a:moveTo>
                  <a:pt x="7341579" y="1336350"/>
                </a:moveTo>
                <a:cubicBezTo>
                  <a:pt x="7372061" y="1336350"/>
                  <a:pt x="7396771" y="1361060"/>
                  <a:pt x="7396771" y="1391541"/>
                </a:cubicBezTo>
                <a:cubicBezTo>
                  <a:pt x="7396771" y="1422022"/>
                  <a:pt x="7372061" y="1446732"/>
                  <a:pt x="7341579" y="1446732"/>
                </a:cubicBezTo>
                <a:cubicBezTo>
                  <a:pt x="7311097" y="1446732"/>
                  <a:pt x="7286387" y="1422022"/>
                  <a:pt x="7286387" y="1391541"/>
                </a:cubicBezTo>
                <a:cubicBezTo>
                  <a:pt x="7286387" y="1361060"/>
                  <a:pt x="7311097" y="1336350"/>
                  <a:pt x="7341579" y="1336350"/>
                </a:cubicBezTo>
                <a:close/>
                <a:moveTo>
                  <a:pt x="7211286" y="1336350"/>
                </a:moveTo>
                <a:cubicBezTo>
                  <a:pt x="7241768" y="1336350"/>
                  <a:pt x="7266478" y="1361060"/>
                  <a:pt x="7266478" y="1391541"/>
                </a:cubicBezTo>
                <a:cubicBezTo>
                  <a:pt x="7266478" y="1422022"/>
                  <a:pt x="7241768" y="1446732"/>
                  <a:pt x="7211286" y="1446732"/>
                </a:cubicBezTo>
                <a:cubicBezTo>
                  <a:pt x="7180804" y="1446732"/>
                  <a:pt x="7156094" y="1422022"/>
                  <a:pt x="7156094" y="1391541"/>
                </a:cubicBezTo>
                <a:cubicBezTo>
                  <a:pt x="7156094" y="1361060"/>
                  <a:pt x="7180804" y="1336350"/>
                  <a:pt x="7211286" y="1336350"/>
                </a:cubicBezTo>
                <a:close/>
                <a:moveTo>
                  <a:pt x="7080993" y="1336350"/>
                </a:moveTo>
                <a:cubicBezTo>
                  <a:pt x="7111475" y="1336350"/>
                  <a:pt x="7136185" y="1361060"/>
                  <a:pt x="7136185" y="1391541"/>
                </a:cubicBezTo>
                <a:cubicBezTo>
                  <a:pt x="7136185" y="1422022"/>
                  <a:pt x="7111475" y="1446732"/>
                  <a:pt x="7080993" y="1446732"/>
                </a:cubicBezTo>
                <a:cubicBezTo>
                  <a:pt x="7050511" y="1446732"/>
                  <a:pt x="7025801" y="1422022"/>
                  <a:pt x="7025801" y="1391541"/>
                </a:cubicBezTo>
                <a:cubicBezTo>
                  <a:pt x="7025801" y="1361060"/>
                  <a:pt x="7050511" y="1336350"/>
                  <a:pt x="7080993" y="1336350"/>
                </a:cubicBezTo>
                <a:close/>
                <a:moveTo>
                  <a:pt x="6947357" y="1336350"/>
                </a:moveTo>
                <a:cubicBezTo>
                  <a:pt x="6977839" y="1336350"/>
                  <a:pt x="7002549" y="1361060"/>
                  <a:pt x="7002549" y="1391541"/>
                </a:cubicBezTo>
                <a:cubicBezTo>
                  <a:pt x="7002549" y="1422022"/>
                  <a:pt x="6977839" y="1446732"/>
                  <a:pt x="6947357" y="1446732"/>
                </a:cubicBezTo>
                <a:cubicBezTo>
                  <a:pt x="6916875" y="1446732"/>
                  <a:pt x="6892165" y="1422022"/>
                  <a:pt x="6892165" y="1391541"/>
                </a:cubicBezTo>
                <a:cubicBezTo>
                  <a:pt x="6892165" y="1361060"/>
                  <a:pt x="6916875" y="1336350"/>
                  <a:pt x="6947357" y="1336350"/>
                </a:cubicBezTo>
                <a:close/>
                <a:moveTo>
                  <a:pt x="6817064" y="1336350"/>
                </a:moveTo>
                <a:cubicBezTo>
                  <a:pt x="6847546" y="1336350"/>
                  <a:pt x="6872256" y="1361060"/>
                  <a:pt x="6872256" y="1391541"/>
                </a:cubicBezTo>
                <a:cubicBezTo>
                  <a:pt x="6872256" y="1422022"/>
                  <a:pt x="6847546" y="1446732"/>
                  <a:pt x="6817064" y="1446732"/>
                </a:cubicBezTo>
                <a:cubicBezTo>
                  <a:pt x="6786582" y="1446732"/>
                  <a:pt x="6761872" y="1422022"/>
                  <a:pt x="6761872" y="1391541"/>
                </a:cubicBezTo>
                <a:cubicBezTo>
                  <a:pt x="6761872" y="1361060"/>
                  <a:pt x="6786582" y="1336350"/>
                  <a:pt x="6817064" y="1336350"/>
                </a:cubicBezTo>
                <a:close/>
                <a:moveTo>
                  <a:pt x="6683431" y="1336350"/>
                </a:moveTo>
                <a:cubicBezTo>
                  <a:pt x="6713913" y="1336350"/>
                  <a:pt x="6738623" y="1361060"/>
                  <a:pt x="6738623" y="1391541"/>
                </a:cubicBezTo>
                <a:cubicBezTo>
                  <a:pt x="6738623" y="1422022"/>
                  <a:pt x="6713913" y="1446732"/>
                  <a:pt x="6683431" y="1446732"/>
                </a:cubicBezTo>
                <a:cubicBezTo>
                  <a:pt x="6652949" y="1446732"/>
                  <a:pt x="6628239" y="1422022"/>
                  <a:pt x="6628239" y="1391541"/>
                </a:cubicBezTo>
                <a:cubicBezTo>
                  <a:pt x="6628239" y="1361060"/>
                  <a:pt x="6652949" y="1336350"/>
                  <a:pt x="6683431" y="1336350"/>
                </a:cubicBezTo>
                <a:close/>
                <a:moveTo>
                  <a:pt x="6553137" y="1336350"/>
                </a:moveTo>
                <a:cubicBezTo>
                  <a:pt x="6583619" y="1336350"/>
                  <a:pt x="6608329" y="1361060"/>
                  <a:pt x="6608329" y="1391541"/>
                </a:cubicBezTo>
                <a:cubicBezTo>
                  <a:pt x="6608329" y="1422022"/>
                  <a:pt x="6583619" y="1446732"/>
                  <a:pt x="6553137" y="1446732"/>
                </a:cubicBezTo>
                <a:cubicBezTo>
                  <a:pt x="6522655" y="1446732"/>
                  <a:pt x="6497945" y="1422022"/>
                  <a:pt x="6497945" y="1391541"/>
                </a:cubicBezTo>
                <a:cubicBezTo>
                  <a:pt x="6497945" y="1361060"/>
                  <a:pt x="6522655" y="1336350"/>
                  <a:pt x="6553137" y="1336350"/>
                </a:cubicBezTo>
                <a:close/>
                <a:moveTo>
                  <a:pt x="6419502" y="1336350"/>
                </a:moveTo>
                <a:cubicBezTo>
                  <a:pt x="6449984" y="1336350"/>
                  <a:pt x="6474694" y="1361060"/>
                  <a:pt x="6474694" y="1391541"/>
                </a:cubicBezTo>
                <a:cubicBezTo>
                  <a:pt x="6474694" y="1422022"/>
                  <a:pt x="6449984" y="1446732"/>
                  <a:pt x="6419502" y="1446732"/>
                </a:cubicBezTo>
                <a:cubicBezTo>
                  <a:pt x="6389020" y="1446732"/>
                  <a:pt x="6364310" y="1422022"/>
                  <a:pt x="6364310" y="1391541"/>
                </a:cubicBezTo>
                <a:cubicBezTo>
                  <a:pt x="6364310" y="1361060"/>
                  <a:pt x="6389020" y="1336350"/>
                  <a:pt x="6419502" y="1336350"/>
                </a:cubicBezTo>
                <a:close/>
                <a:moveTo>
                  <a:pt x="6289207" y="1336350"/>
                </a:moveTo>
                <a:cubicBezTo>
                  <a:pt x="6319689" y="1336350"/>
                  <a:pt x="6344399" y="1361060"/>
                  <a:pt x="6344399" y="1391541"/>
                </a:cubicBezTo>
                <a:cubicBezTo>
                  <a:pt x="6344399" y="1422022"/>
                  <a:pt x="6319689" y="1446732"/>
                  <a:pt x="6289207" y="1446732"/>
                </a:cubicBezTo>
                <a:cubicBezTo>
                  <a:pt x="6258725" y="1446732"/>
                  <a:pt x="6234015" y="1422022"/>
                  <a:pt x="6234015" y="1391541"/>
                </a:cubicBezTo>
                <a:cubicBezTo>
                  <a:pt x="6234015" y="1361060"/>
                  <a:pt x="6258725" y="1336350"/>
                  <a:pt x="6289207" y="1336350"/>
                </a:cubicBezTo>
                <a:close/>
                <a:moveTo>
                  <a:pt x="6155573" y="1336350"/>
                </a:moveTo>
                <a:cubicBezTo>
                  <a:pt x="6186055" y="1336350"/>
                  <a:pt x="6210765" y="1361060"/>
                  <a:pt x="6210765" y="1391541"/>
                </a:cubicBezTo>
                <a:cubicBezTo>
                  <a:pt x="6210765" y="1422022"/>
                  <a:pt x="6186055" y="1446732"/>
                  <a:pt x="6155573" y="1446732"/>
                </a:cubicBezTo>
                <a:cubicBezTo>
                  <a:pt x="6125091" y="1446732"/>
                  <a:pt x="6100381" y="1422022"/>
                  <a:pt x="6100381" y="1391541"/>
                </a:cubicBezTo>
                <a:cubicBezTo>
                  <a:pt x="6100381" y="1361060"/>
                  <a:pt x="6125091" y="1336350"/>
                  <a:pt x="6155573" y="1336350"/>
                </a:cubicBezTo>
                <a:close/>
                <a:moveTo>
                  <a:pt x="6021939" y="1336350"/>
                </a:moveTo>
                <a:cubicBezTo>
                  <a:pt x="6052421" y="1336350"/>
                  <a:pt x="6077131" y="1361060"/>
                  <a:pt x="6077131" y="1391541"/>
                </a:cubicBezTo>
                <a:cubicBezTo>
                  <a:pt x="6077131" y="1422022"/>
                  <a:pt x="6052421" y="1446732"/>
                  <a:pt x="6021939" y="1446732"/>
                </a:cubicBezTo>
                <a:cubicBezTo>
                  <a:pt x="5991457" y="1446732"/>
                  <a:pt x="5966747" y="1422022"/>
                  <a:pt x="5966747" y="1391541"/>
                </a:cubicBezTo>
                <a:cubicBezTo>
                  <a:pt x="5966747" y="1361060"/>
                  <a:pt x="5991457" y="1336350"/>
                  <a:pt x="6021939" y="1336350"/>
                </a:cubicBezTo>
                <a:close/>
                <a:moveTo>
                  <a:pt x="5884964" y="1336350"/>
                </a:moveTo>
                <a:cubicBezTo>
                  <a:pt x="5915446" y="1336350"/>
                  <a:pt x="5940156" y="1361060"/>
                  <a:pt x="5940156" y="1391541"/>
                </a:cubicBezTo>
                <a:cubicBezTo>
                  <a:pt x="5940156" y="1422022"/>
                  <a:pt x="5915446" y="1446732"/>
                  <a:pt x="5884964" y="1446732"/>
                </a:cubicBezTo>
                <a:cubicBezTo>
                  <a:pt x="5854482" y="1446732"/>
                  <a:pt x="5829772" y="1422022"/>
                  <a:pt x="5829772" y="1391541"/>
                </a:cubicBezTo>
                <a:cubicBezTo>
                  <a:pt x="5829772" y="1361060"/>
                  <a:pt x="5854482" y="1336350"/>
                  <a:pt x="5884964" y="1336350"/>
                </a:cubicBezTo>
                <a:close/>
                <a:moveTo>
                  <a:pt x="5754668" y="1336350"/>
                </a:moveTo>
                <a:cubicBezTo>
                  <a:pt x="5785150" y="1336350"/>
                  <a:pt x="5809860" y="1361060"/>
                  <a:pt x="5809860" y="1391541"/>
                </a:cubicBezTo>
                <a:cubicBezTo>
                  <a:pt x="5809860" y="1422022"/>
                  <a:pt x="5785150" y="1446732"/>
                  <a:pt x="5754668" y="1446732"/>
                </a:cubicBezTo>
                <a:cubicBezTo>
                  <a:pt x="5724186" y="1446732"/>
                  <a:pt x="5699476" y="1422022"/>
                  <a:pt x="5699476" y="1391541"/>
                </a:cubicBezTo>
                <a:cubicBezTo>
                  <a:pt x="5699476" y="1361060"/>
                  <a:pt x="5724186" y="1336350"/>
                  <a:pt x="5754668" y="1336350"/>
                </a:cubicBezTo>
                <a:close/>
                <a:moveTo>
                  <a:pt x="5621035" y="1336350"/>
                </a:moveTo>
                <a:cubicBezTo>
                  <a:pt x="5651517" y="1336350"/>
                  <a:pt x="5676227" y="1361060"/>
                  <a:pt x="5676227" y="1391541"/>
                </a:cubicBezTo>
                <a:cubicBezTo>
                  <a:pt x="5676227" y="1422022"/>
                  <a:pt x="5651517" y="1446732"/>
                  <a:pt x="5621035" y="1446732"/>
                </a:cubicBezTo>
                <a:cubicBezTo>
                  <a:pt x="5590553" y="1446732"/>
                  <a:pt x="5565843" y="1422022"/>
                  <a:pt x="5565843" y="1391541"/>
                </a:cubicBezTo>
                <a:cubicBezTo>
                  <a:pt x="5565843" y="1361060"/>
                  <a:pt x="5590553" y="1336350"/>
                  <a:pt x="5621035" y="1336350"/>
                </a:cubicBezTo>
                <a:close/>
                <a:moveTo>
                  <a:pt x="5487399" y="1336350"/>
                </a:moveTo>
                <a:cubicBezTo>
                  <a:pt x="5517881" y="1336350"/>
                  <a:pt x="5542591" y="1361060"/>
                  <a:pt x="5542591" y="1391541"/>
                </a:cubicBezTo>
                <a:cubicBezTo>
                  <a:pt x="5542591" y="1422022"/>
                  <a:pt x="5517881" y="1446732"/>
                  <a:pt x="5487399" y="1446732"/>
                </a:cubicBezTo>
                <a:cubicBezTo>
                  <a:pt x="5456917" y="1446732"/>
                  <a:pt x="5432207" y="1422022"/>
                  <a:pt x="5432207" y="1391541"/>
                </a:cubicBezTo>
                <a:cubicBezTo>
                  <a:pt x="5432207" y="1361060"/>
                  <a:pt x="5456917" y="1336350"/>
                  <a:pt x="5487399" y="1336350"/>
                </a:cubicBezTo>
                <a:close/>
                <a:moveTo>
                  <a:pt x="5357106" y="1336350"/>
                </a:moveTo>
                <a:cubicBezTo>
                  <a:pt x="5387588" y="1336350"/>
                  <a:pt x="5412298" y="1361060"/>
                  <a:pt x="5412298" y="1391541"/>
                </a:cubicBezTo>
                <a:cubicBezTo>
                  <a:pt x="5412298" y="1422022"/>
                  <a:pt x="5387588" y="1446732"/>
                  <a:pt x="5357106" y="1446732"/>
                </a:cubicBezTo>
                <a:cubicBezTo>
                  <a:pt x="5326624" y="1446732"/>
                  <a:pt x="5301914" y="1422022"/>
                  <a:pt x="5301914" y="1391541"/>
                </a:cubicBezTo>
                <a:cubicBezTo>
                  <a:pt x="5301914" y="1361060"/>
                  <a:pt x="5326624" y="1336350"/>
                  <a:pt x="5357106" y="1336350"/>
                </a:cubicBezTo>
                <a:close/>
                <a:moveTo>
                  <a:pt x="4959543" y="1336350"/>
                </a:moveTo>
                <a:cubicBezTo>
                  <a:pt x="4990025" y="1336350"/>
                  <a:pt x="5014735" y="1361060"/>
                  <a:pt x="5014735" y="1391541"/>
                </a:cubicBezTo>
                <a:cubicBezTo>
                  <a:pt x="5014735" y="1422022"/>
                  <a:pt x="4990025" y="1446732"/>
                  <a:pt x="4959543" y="1446732"/>
                </a:cubicBezTo>
                <a:cubicBezTo>
                  <a:pt x="4929061" y="1446732"/>
                  <a:pt x="4904351" y="1422022"/>
                  <a:pt x="4904351" y="1391541"/>
                </a:cubicBezTo>
                <a:cubicBezTo>
                  <a:pt x="4904351" y="1361060"/>
                  <a:pt x="4929061" y="1336350"/>
                  <a:pt x="4959543" y="1336350"/>
                </a:cubicBezTo>
                <a:close/>
                <a:moveTo>
                  <a:pt x="4565322" y="1336350"/>
                </a:moveTo>
                <a:cubicBezTo>
                  <a:pt x="4595804" y="1336350"/>
                  <a:pt x="4620514" y="1361060"/>
                  <a:pt x="4620514" y="1391541"/>
                </a:cubicBezTo>
                <a:cubicBezTo>
                  <a:pt x="4620514" y="1422022"/>
                  <a:pt x="4595804" y="1446732"/>
                  <a:pt x="4565322" y="1446732"/>
                </a:cubicBezTo>
                <a:cubicBezTo>
                  <a:pt x="4534840" y="1446732"/>
                  <a:pt x="4510130" y="1422022"/>
                  <a:pt x="4510130" y="1391541"/>
                </a:cubicBezTo>
                <a:cubicBezTo>
                  <a:pt x="4510130" y="1361060"/>
                  <a:pt x="4534840" y="1336350"/>
                  <a:pt x="4565322" y="1336350"/>
                </a:cubicBezTo>
                <a:close/>
                <a:moveTo>
                  <a:pt x="2971729" y="1336350"/>
                </a:moveTo>
                <a:cubicBezTo>
                  <a:pt x="3002211" y="1336350"/>
                  <a:pt x="3026921" y="1361060"/>
                  <a:pt x="3026921" y="1391541"/>
                </a:cubicBezTo>
                <a:cubicBezTo>
                  <a:pt x="3026921" y="1422022"/>
                  <a:pt x="3002211" y="1446732"/>
                  <a:pt x="2971729" y="1446732"/>
                </a:cubicBezTo>
                <a:cubicBezTo>
                  <a:pt x="2941247" y="1446732"/>
                  <a:pt x="2916537" y="1422022"/>
                  <a:pt x="2916537" y="1391541"/>
                </a:cubicBezTo>
                <a:cubicBezTo>
                  <a:pt x="2916537" y="1361060"/>
                  <a:pt x="2941247" y="1336350"/>
                  <a:pt x="2971729" y="1336350"/>
                </a:cubicBezTo>
                <a:close/>
                <a:moveTo>
                  <a:pt x="2834801" y="1336350"/>
                </a:moveTo>
                <a:cubicBezTo>
                  <a:pt x="2865283" y="1336350"/>
                  <a:pt x="2889994" y="1361060"/>
                  <a:pt x="2889994" y="1391541"/>
                </a:cubicBezTo>
                <a:cubicBezTo>
                  <a:pt x="2889994" y="1422022"/>
                  <a:pt x="2865283" y="1446732"/>
                  <a:pt x="2834801" y="1446732"/>
                </a:cubicBezTo>
                <a:cubicBezTo>
                  <a:pt x="2804320" y="1446732"/>
                  <a:pt x="2779610" y="1422022"/>
                  <a:pt x="2779610" y="1391541"/>
                </a:cubicBezTo>
                <a:cubicBezTo>
                  <a:pt x="2779610" y="1361060"/>
                  <a:pt x="2804320" y="1336350"/>
                  <a:pt x="2834801" y="1336350"/>
                </a:cubicBezTo>
                <a:close/>
                <a:moveTo>
                  <a:pt x="2707848" y="1336350"/>
                </a:moveTo>
                <a:cubicBezTo>
                  <a:pt x="2738330" y="1336350"/>
                  <a:pt x="2763042" y="1361060"/>
                  <a:pt x="2763042" y="1391541"/>
                </a:cubicBezTo>
                <a:cubicBezTo>
                  <a:pt x="2763042" y="1422022"/>
                  <a:pt x="2738330" y="1446732"/>
                  <a:pt x="2707848" y="1446732"/>
                </a:cubicBezTo>
                <a:cubicBezTo>
                  <a:pt x="2677367" y="1446732"/>
                  <a:pt x="2652656" y="1422022"/>
                  <a:pt x="2652656" y="1391541"/>
                </a:cubicBezTo>
                <a:cubicBezTo>
                  <a:pt x="2652656" y="1361060"/>
                  <a:pt x="2677367" y="1336350"/>
                  <a:pt x="2707848" y="1336350"/>
                </a:cubicBezTo>
                <a:close/>
                <a:moveTo>
                  <a:pt x="2570875" y="1336350"/>
                </a:moveTo>
                <a:cubicBezTo>
                  <a:pt x="2601357" y="1336350"/>
                  <a:pt x="2626067" y="1361060"/>
                  <a:pt x="2626067" y="1391541"/>
                </a:cubicBezTo>
                <a:cubicBezTo>
                  <a:pt x="2626067" y="1422022"/>
                  <a:pt x="2601357" y="1446732"/>
                  <a:pt x="2570875" y="1446732"/>
                </a:cubicBezTo>
                <a:cubicBezTo>
                  <a:pt x="2540392" y="1446732"/>
                  <a:pt x="2515683" y="1422022"/>
                  <a:pt x="2515683" y="1391541"/>
                </a:cubicBezTo>
                <a:cubicBezTo>
                  <a:pt x="2515683" y="1361060"/>
                  <a:pt x="2540392" y="1336350"/>
                  <a:pt x="2570875" y="1336350"/>
                </a:cubicBezTo>
                <a:close/>
                <a:moveTo>
                  <a:pt x="2173314" y="1336350"/>
                </a:moveTo>
                <a:cubicBezTo>
                  <a:pt x="2203797" y="1336350"/>
                  <a:pt x="2228507" y="1361060"/>
                  <a:pt x="2228507" y="1391541"/>
                </a:cubicBezTo>
                <a:cubicBezTo>
                  <a:pt x="2228507" y="1422022"/>
                  <a:pt x="2203797" y="1446732"/>
                  <a:pt x="2173314" y="1446732"/>
                </a:cubicBezTo>
                <a:cubicBezTo>
                  <a:pt x="2142832" y="1446732"/>
                  <a:pt x="2118122" y="1422022"/>
                  <a:pt x="2118122" y="1391541"/>
                </a:cubicBezTo>
                <a:cubicBezTo>
                  <a:pt x="2118122" y="1361060"/>
                  <a:pt x="2142832" y="1336350"/>
                  <a:pt x="2173314" y="1336350"/>
                </a:cubicBezTo>
                <a:close/>
                <a:moveTo>
                  <a:pt x="2039678" y="1336350"/>
                </a:moveTo>
                <a:cubicBezTo>
                  <a:pt x="2070160" y="1336350"/>
                  <a:pt x="2094870" y="1361060"/>
                  <a:pt x="2094870" y="1391541"/>
                </a:cubicBezTo>
                <a:cubicBezTo>
                  <a:pt x="2094870" y="1422022"/>
                  <a:pt x="2070160" y="1446732"/>
                  <a:pt x="2039678" y="1446732"/>
                </a:cubicBezTo>
                <a:cubicBezTo>
                  <a:pt x="2009195" y="1446732"/>
                  <a:pt x="1984484" y="1422022"/>
                  <a:pt x="1984484" y="1391541"/>
                </a:cubicBezTo>
                <a:cubicBezTo>
                  <a:pt x="1984484" y="1361060"/>
                  <a:pt x="2009195" y="1336350"/>
                  <a:pt x="2039678" y="1336350"/>
                </a:cubicBezTo>
                <a:close/>
                <a:moveTo>
                  <a:pt x="1909381" y="1336350"/>
                </a:moveTo>
                <a:cubicBezTo>
                  <a:pt x="1939864" y="1336350"/>
                  <a:pt x="1964575" y="1361060"/>
                  <a:pt x="1964575" y="1391541"/>
                </a:cubicBezTo>
                <a:cubicBezTo>
                  <a:pt x="1964575" y="1422022"/>
                  <a:pt x="1939864" y="1446732"/>
                  <a:pt x="1909381" y="1446732"/>
                </a:cubicBezTo>
                <a:cubicBezTo>
                  <a:pt x="1878899" y="1446732"/>
                  <a:pt x="1854188" y="1422022"/>
                  <a:pt x="1854188" y="1391541"/>
                </a:cubicBezTo>
                <a:cubicBezTo>
                  <a:pt x="1854188" y="1361060"/>
                  <a:pt x="1878899" y="1336350"/>
                  <a:pt x="1909381" y="1336350"/>
                </a:cubicBezTo>
                <a:close/>
                <a:moveTo>
                  <a:pt x="1779086" y="1336350"/>
                </a:moveTo>
                <a:cubicBezTo>
                  <a:pt x="1809568" y="1336350"/>
                  <a:pt x="1834278" y="1361060"/>
                  <a:pt x="1834278" y="1391541"/>
                </a:cubicBezTo>
                <a:cubicBezTo>
                  <a:pt x="1834278" y="1422022"/>
                  <a:pt x="1809568" y="1446732"/>
                  <a:pt x="1779086" y="1446732"/>
                </a:cubicBezTo>
                <a:cubicBezTo>
                  <a:pt x="1748603" y="1446732"/>
                  <a:pt x="1723892" y="1422022"/>
                  <a:pt x="1723892" y="1391541"/>
                </a:cubicBezTo>
                <a:cubicBezTo>
                  <a:pt x="1723892" y="1361060"/>
                  <a:pt x="1748603" y="1336350"/>
                  <a:pt x="1779086" y="1336350"/>
                </a:cubicBezTo>
                <a:close/>
                <a:moveTo>
                  <a:pt x="1645448" y="1336350"/>
                </a:moveTo>
                <a:cubicBezTo>
                  <a:pt x="1675933" y="1336350"/>
                  <a:pt x="1700644" y="1361060"/>
                  <a:pt x="1700644" y="1391541"/>
                </a:cubicBezTo>
                <a:cubicBezTo>
                  <a:pt x="1700644" y="1422022"/>
                  <a:pt x="1675933" y="1446732"/>
                  <a:pt x="1645448" y="1446732"/>
                </a:cubicBezTo>
                <a:cubicBezTo>
                  <a:pt x="1614967" y="1446732"/>
                  <a:pt x="1590256" y="1422022"/>
                  <a:pt x="1590256" y="1391541"/>
                </a:cubicBezTo>
                <a:cubicBezTo>
                  <a:pt x="1590256" y="1361060"/>
                  <a:pt x="1614967" y="1336350"/>
                  <a:pt x="1645448" y="1336350"/>
                </a:cubicBezTo>
                <a:close/>
                <a:moveTo>
                  <a:pt x="1515160" y="1336350"/>
                </a:moveTo>
                <a:cubicBezTo>
                  <a:pt x="1545636" y="1336350"/>
                  <a:pt x="1570346" y="1361060"/>
                  <a:pt x="1570346" y="1391541"/>
                </a:cubicBezTo>
                <a:cubicBezTo>
                  <a:pt x="1570346" y="1422022"/>
                  <a:pt x="1545636" y="1446732"/>
                  <a:pt x="1515160" y="1446732"/>
                </a:cubicBezTo>
                <a:cubicBezTo>
                  <a:pt x="1484676" y="1446732"/>
                  <a:pt x="1459963" y="1422022"/>
                  <a:pt x="1459963" y="1391541"/>
                </a:cubicBezTo>
                <a:cubicBezTo>
                  <a:pt x="1459963" y="1361060"/>
                  <a:pt x="1484676" y="1336350"/>
                  <a:pt x="1515160" y="1336350"/>
                </a:cubicBezTo>
                <a:close/>
                <a:moveTo>
                  <a:pt x="1381522" y="1336350"/>
                </a:moveTo>
                <a:cubicBezTo>
                  <a:pt x="1412004" y="1336350"/>
                  <a:pt x="1436714" y="1361060"/>
                  <a:pt x="1436714" y="1391541"/>
                </a:cubicBezTo>
                <a:cubicBezTo>
                  <a:pt x="1436714" y="1422022"/>
                  <a:pt x="1412004" y="1446732"/>
                  <a:pt x="1381522" y="1446732"/>
                </a:cubicBezTo>
                <a:cubicBezTo>
                  <a:pt x="1351043" y="1446732"/>
                  <a:pt x="1326330" y="1422022"/>
                  <a:pt x="1326330" y="1391541"/>
                </a:cubicBezTo>
                <a:cubicBezTo>
                  <a:pt x="1326330" y="1361060"/>
                  <a:pt x="1351043" y="1336350"/>
                  <a:pt x="1381522" y="1336350"/>
                </a:cubicBezTo>
                <a:close/>
                <a:moveTo>
                  <a:pt x="1251229" y="1336350"/>
                </a:moveTo>
                <a:cubicBezTo>
                  <a:pt x="1281711" y="1336350"/>
                  <a:pt x="1306421" y="1361060"/>
                  <a:pt x="1306421" y="1391541"/>
                </a:cubicBezTo>
                <a:cubicBezTo>
                  <a:pt x="1306421" y="1422022"/>
                  <a:pt x="1281711" y="1446732"/>
                  <a:pt x="1251229" y="1446732"/>
                </a:cubicBezTo>
                <a:cubicBezTo>
                  <a:pt x="1220747" y="1446732"/>
                  <a:pt x="1196037" y="1422022"/>
                  <a:pt x="1196037" y="1391541"/>
                </a:cubicBezTo>
                <a:cubicBezTo>
                  <a:pt x="1196037" y="1361060"/>
                  <a:pt x="1220747" y="1336350"/>
                  <a:pt x="1251229" y="1336350"/>
                </a:cubicBezTo>
                <a:close/>
                <a:moveTo>
                  <a:pt x="1117592" y="1336350"/>
                </a:moveTo>
                <a:cubicBezTo>
                  <a:pt x="1148075" y="1336350"/>
                  <a:pt x="1172785" y="1361060"/>
                  <a:pt x="1172785" y="1391541"/>
                </a:cubicBezTo>
                <a:cubicBezTo>
                  <a:pt x="1172785" y="1422022"/>
                  <a:pt x="1148075" y="1446732"/>
                  <a:pt x="1117592" y="1446732"/>
                </a:cubicBezTo>
                <a:cubicBezTo>
                  <a:pt x="1087110" y="1446732"/>
                  <a:pt x="1062400" y="1422022"/>
                  <a:pt x="1062400" y="1391541"/>
                </a:cubicBezTo>
                <a:cubicBezTo>
                  <a:pt x="1062400" y="1361060"/>
                  <a:pt x="1087110" y="1336350"/>
                  <a:pt x="1117592" y="1336350"/>
                </a:cubicBezTo>
                <a:close/>
                <a:moveTo>
                  <a:pt x="980615" y="1336350"/>
                </a:moveTo>
                <a:cubicBezTo>
                  <a:pt x="1011098" y="1336350"/>
                  <a:pt x="1035808" y="1361060"/>
                  <a:pt x="1035808" y="1391541"/>
                </a:cubicBezTo>
                <a:cubicBezTo>
                  <a:pt x="1035808" y="1422022"/>
                  <a:pt x="1011098" y="1446732"/>
                  <a:pt x="980615" y="1446732"/>
                </a:cubicBezTo>
                <a:cubicBezTo>
                  <a:pt x="950133" y="1446732"/>
                  <a:pt x="925422" y="1422022"/>
                  <a:pt x="925422" y="1391541"/>
                </a:cubicBezTo>
                <a:cubicBezTo>
                  <a:pt x="925422" y="1361060"/>
                  <a:pt x="950133" y="1336350"/>
                  <a:pt x="980615" y="1336350"/>
                </a:cubicBezTo>
                <a:close/>
                <a:moveTo>
                  <a:pt x="9199101" y="1336348"/>
                </a:moveTo>
                <a:cubicBezTo>
                  <a:pt x="9229583" y="1336348"/>
                  <a:pt x="9254293" y="1361058"/>
                  <a:pt x="9254293" y="1391539"/>
                </a:cubicBezTo>
                <a:cubicBezTo>
                  <a:pt x="9254293" y="1422020"/>
                  <a:pt x="9229583" y="1446730"/>
                  <a:pt x="9199101" y="1446730"/>
                </a:cubicBezTo>
                <a:cubicBezTo>
                  <a:pt x="9168619" y="1446730"/>
                  <a:pt x="9143909" y="1422020"/>
                  <a:pt x="9143909" y="1391539"/>
                </a:cubicBezTo>
                <a:cubicBezTo>
                  <a:pt x="9143909" y="1361058"/>
                  <a:pt x="9168619" y="1336348"/>
                  <a:pt x="9199101" y="1336348"/>
                </a:cubicBezTo>
                <a:close/>
                <a:moveTo>
                  <a:pt x="9068807" y="1336348"/>
                </a:moveTo>
                <a:cubicBezTo>
                  <a:pt x="9099289" y="1336348"/>
                  <a:pt x="9123999" y="1361058"/>
                  <a:pt x="9123999" y="1391539"/>
                </a:cubicBezTo>
                <a:cubicBezTo>
                  <a:pt x="9123999" y="1422020"/>
                  <a:pt x="9099289" y="1446730"/>
                  <a:pt x="9068807" y="1446730"/>
                </a:cubicBezTo>
                <a:cubicBezTo>
                  <a:pt x="9038325" y="1446730"/>
                  <a:pt x="9013615" y="1422020"/>
                  <a:pt x="9013615" y="1391539"/>
                </a:cubicBezTo>
                <a:cubicBezTo>
                  <a:pt x="9013615" y="1361058"/>
                  <a:pt x="9038325" y="1336348"/>
                  <a:pt x="9068807" y="1336348"/>
                </a:cubicBezTo>
                <a:close/>
                <a:moveTo>
                  <a:pt x="8407316" y="1336348"/>
                </a:moveTo>
                <a:cubicBezTo>
                  <a:pt x="8437798" y="1336348"/>
                  <a:pt x="8462508" y="1361058"/>
                  <a:pt x="8462508" y="1391539"/>
                </a:cubicBezTo>
                <a:cubicBezTo>
                  <a:pt x="8462508" y="1422020"/>
                  <a:pt x="8437798" y="1446730"/>
                  <a:pt x="8407316" y="1446730"/>
                </a:cubicBezTo>
                <a:cubicBezTo>
                  <a:pt x="8376834" y="1446730"/>
                  <a:pt x="8352124" y="1422020"/>
                  <a:pt x="8352124" y="1391539"/>
                </a:cubicBezTo>
                <a:cubicBezTo>
                  <a:pt x="8352124" y="1361058"/>
                  <a:pt x="8376834" y="1336348"/>
                  <a:pt x="8407316" y="1336348"/>
                </a:cubicBezTo>
                <a:close/>
                <a:moveTo>
                  <a:pt x="8273682" y="1336348"/>
                </a:moveTo>
                <a:cubicBezTo>
                  <a:pt x="8304164" y="1336348"/>
                  <a:pt x="8328874" y="1361058"/>
                  <a:pt x="8328874" y="1391539"/>
                </a:cubicBezTo>
                <a:cubicBezTo>
                  <a:pt x="8328874" y="1422020"/>
                  <a:pt x="8304164" y="1446730"/>
                  <a:pt x="8273682" y="1446730"/>
                </a:cubicBezTo>
                <a:cubicBezTo>
                  <a:pt x="8243200" y="1446730"/>
                  <a:pt x="8218490" y="1422020"/>
                  <a:pt x="8218490" y="1391539"/>
                </a:cubicBezTo>
                <a:cubicBezTo>
                  <a:pt x="8218490" y="1361058"/>
                  <a:pt x="8243200" y="1336348"/>
                  <a:pt x="8273682" y="1336348"/>
                </a:cubicBezTo>
                <a:close/>
                <a:moveTo>
                  <a:pt x="8143388" y="1336348"/>
                </a:moveTo>
                <a:cubicBezTo>
                  <a:pt x="8173870" y="1336348"/>
                  <a:pt x="8198580" y="1361058"/>
                  <a:pt x="8198580" y="1391539"/>
                </a:cubicBezTo>
                <a:cubicBezTo>
                  <a:pt x="8198580" y="1422020"/>
                  <a:pt x="8173870" y="1446730"/>
                  <a:pt x="8143388" y="1446730"/>
                </a:cubicBezTo>
                <a:cubicBezTo>
                  <a:pt x="8112906" y="1446730"/>
                  <a:pt x="8088196" y="1422020"/>
                  <a:pt x="8088196" y="1391539"/>
                </a:cubicBezTo>
                <a:cubicBezTo>
                  <a:pt x="8088196" y="1361058"/>
                  <a:pt x="8112906" y="1336348"/>
                  <a:pt x="8143388" y="1336348"/>
                </a:cubicBezTo>
                <a:close/>
                <a:moveTo>
                  <a:pt x="8009753" y="1336348"/>
                </a:moveTo>
                <a:cubicBezTo>
                  <a:pt x="8040235" y="1336348"/>
                  <a:pt x="8064945" y="1361058"/>
                  <a:pt x="8064945" y="1391539"/>
                </a:cubicBezTo>
                <a:cubicBezTo>
                  <a:pt x="8064945" y="1422020"/>
                  <a:pt x="8040235" y="1446730"/>
                  <a:pt x="8009753" y="1446730"/>
                </a:cubicBezTo>
                <a:cubicBezTo>
                  <a:pt x="7979271" y="1446730"/>
                  <a:pt x="7954561" y="1422020"/>
                  <a:pt x="7954561" y="1391539"/>
                </a:cubicBezTo>
                <a:cubicBezTo>
                  <a:pt x="7954561" y="1361058"/>
                  <a:pt x="7979271" y="1336348"/>
                  <a:pt x="8009753" y="1336348"/>
                </a:cubicBezTo>
                <a:close/>
                <a:moveTo>
                  <a:pt x="7876118" y="1336348"/>
                </a:moveTo>
                <a:cubicBezTo>
                  <a:pt x="7906600" y="1336348"/>
                  <a:pt x="7931310" y="1361058"/>
                  <a:pt x="7931310" y="1391539"/>
                </a:cubicBezTo>
                <a:cubicBezTo>
                  <a:pt x="7931310" y="1422020"/>
                  <a:pt x="7906600" y="1446730"/>
                  <a:pt x="7876118" y="1446730"/>
                </a:cubicBezTo>
                <a:cubicBezTo>
                  <a:pt x="7845636" y="1446730"/>
                  <a:pt x="7820926" y="1422020"/>
                  <a:pt x="7820926" y="1391539"/>
                </a:cubicBezTo>
                <a:cubicBezTo>
                  <a:pt x="7820926" y="1361058"/>
                  <a:pt x="7845636" y="1336348"/>
                  <a:pt x="7876118" y="1336348"/>
                </a:cubicBezTo>
                <a:close/>
                <a:moveTo>
                  <a:pt x="7745823" y="1336348"/>
                </a:moveTo>
                <a:cubicBezTo>
                  <a:pt x="7776305" y="1336348"/>
                  <a:pt x="7801015" y="1361058"/>
                  <a:pt x="7801015" y="1391539"/>
                </a:cubicBezTo>
                <a:cubicBezTo>
                  <a:pt x="7801015" y="1422020"/>
                  <a:pt x="7776305" y="1446730"/>
                  <a:pt x="7745823" y="1446730"/>
                </a:cubicBezTo>
                <a:cubicBezTo>
                  <a:pt x="7715341" y="1446730"/>
                  <a:pt x="7690631" y="1422020"/>
                  <a:pt x="7690631" y="1391539"/>
                </a:cubicBezTo>
                <a:cubicBezTo>
                  <a:pt x="7690631" y="1361058"/>
                  <a:pt x="7715341" y="1336348"/>
                  <a:pt x="7745823" y="1336348"/>
                </a:cubicBezTo>
                <a:close/>
                <a:moveTo>
                  <a:pt x="185475" y="1336348"/>
                </a:moveTo>
                <a:cubicBezTo>
                  <a:pt x="215957" y="1336348"/>
                  <a:pt x="240666" y="1361058"/>
                  <a:pt x="240666" y="1391539"/>
                </a:cubicBezTo>
                <a:cubicBezTo>
                  <a:pt x="240666" y="1422020"/>
                  <a:pt x="215957" y="1446730"/>
                  <a:pt x="185475" y="1446730"/>
                </a:cubicBezTo>
                <a:cubicBezTo>
                  <a:pt x="154994" y="1446730"/>
                  <a:pt x="130283" y="1422020"/>
                  <a:pt x="130283" y="1391539"/>
                </a:cubicBezTo>
                <a:cubicBezTo>
                  <a:pt x="130283" y="1361058"/>
                  <a:pt x="154994" y="1336348"/>
                  <a:pt x="185475" y="1336348"/>
                </a:cubicBezTo>
                <a:close/>
                <a:moveTo>
                  <a:pt x="9199101" y="1219421"/>
                </a:moveTo>
                <a:cubicBezTo>
                  <a:pt x="9229583" y="1219421"/>
                  <a:pt x="9254293" y="1244131"/>
                  <a:pt x="9254293" y="1274612"/>
                </a:cubicBezTo>
                <a:cubicBezTo>
                  <a:pt x="9254293" y="1305093"/>
                  <a:pt x="9229583" y="1329803"/>
                  <a:pt x="9199101" y="1329803"/>
                </a:cubicBezTo>
                <a:cubicBezTo>
                  <a:pt x="9168619" y="1329803"/>
                  <a:pt x="9143909" y="1305093"/>
                  <a:pt x="9143909" y="1274612"/>
                </a:cubicBezTo>
                <a:cubicBezTo>
                  <a:pt x="9143909" y="1244131"/>
                  <a:pt x="9168619" y="1219421"/>
                  <a:pt x="9199101" y="1219421"/>
                </a:cubicBezTo>
                <a:close/>
                <a:moveTo>
                  <a:pt x="9068807" y="1219421"/>
                </a:moveTo>
                <a:cubicBezTo>
                  <a:pt x="9099289" y="1219421"/>
                  <a:pt x="9123999" y="1244131"/>
                  <a:pt x="9123999" y="1274612"/>
                </a:cubicBezTo>
                <a:cubicBezTo>
                  <a:pt x="9123999" y="1305093"/>
                  <a:pt x="9099289" y="1329803"/>
                  <a:pt x="9068807" y="1329803"/>
                </a:cubicBezTo>
                <a:cubicBezTo>
                  <a:pt x="9038325" y="1329803"/>
                  <a:pt x="9013615" y="1305093"/>
                  <a:pt x="9013615" y="1274612"/>
                </a:cubicBezTo>
                <a:cubicBezTo>
                  <a:pt x="9013615" y="1244131"/>
                  <a:pt x="9038325" y="1219421"/>
                  <a:pt x="9068807" y="1219421"/>
                </a:cubicBezTo>
                <a:close/>
                <a:moveTo>
                  <a:pt x="8537612" y="1219421"/>
                </a:moveTo>
                <a:cubicBezTo>
                  <a:pt x="8568094" y="1219421"/>
                  <a:pt x="8592804" y="1244131"/>
                  <a:pt x="8592804" y="1274612"/>
                </a:cubicBezTo>
                <a:cubicBezTo>
                  <a:pt x="8592804" y="1305093"/>
                  <a:pt x="8568094" y="1329803"/>
                  <a:pt x="8537612" y="1329803"/>
                </a:cubicBezTo>
                <a:cubicBezTo>
                  <a:pt x="8507130" y="1329803"/>
                  <a:pt x="8482420" y="1305093"/>
                  <a:pt x="8482420" y="1274612"/>
                </a:cubicBezTo>
                <a:cubicBezTo>
                  <a:pt x="8482420" y="1244131"/>
                  <a:pt x="8507130" y="1219421"/>
                  <a:pt x="8537612" y="1219421"/>
                </a:cubicBezTo>
                <a:close/>
                <a:moveTo>
                  <a:pt x="8407316" y="1219421"/>
                </a:moveTo>
                <a:cubicBezTo>
                  <a:pt x="8437798" y="1219421"/>
                  <a:pt x="8462508" y="1244131"/>
                  <a:pt x="8462508" y="1274612"/>
                </a:cubicBezTo>
                <a:cubicBezTo>
                  <a:pt x="8462508" y="1305093"/>
                  <a:pt x="8437798" y="1329803"/>
                  <a:pt x="8407316" y="1329803"/>
                </a:cubicBezTo>
                <a:cubicBezTo>
                  <a:pt x="8376834" y="1329803"/>
                  <a:pt x="8352124" y="1305093"/>
                  <a:pt x="8352124" y="1274612"/>
                </a:cubicBezTo>
                <a:cubicBezTo>
                  <a:pt x="8352124" y="1244131"/>
                  <a:pt x="8376834" y="1219421"/>
                  <a:pt x="8407316" y="1219421"/>
                </a:cubicBezTo>
                <a:close/>
                <a:moveTo>
                  <a:pt x="8273682" y="1219421"/>
                </a:moveTo>
                <a:cubicBezTo>
                  <a:pt x="8304164" y="1219421"/>
                  <a:pt x="8328874" y="1244131"/>
                  <a:pt x="8328874" y="1274612"/>
                </a:cubicBezTo>
                <a:cubicBezTo>
                  <a:pt x="8328874" y="1305093"/>
                  <a:pt x="8304164" y="1329803"/>
                  <a:pt x="8273682" y="1329803"/>
                </a:cubicBezTo>
                <a:cubicBezTo>
                  <a:pt x="8243200" y="1329803"/>
                  <a:pt x="8218490" y="1305093"/>
                  <a:pt x="8218490" y="1274612"/>
                </a:cubicBezTo>
                <a:cubicBezTo>
                  <a:pt x="8218490" y="1244131"/>
                  <a:pt x="8243200" y="1219421"/>
                  <a:pt x="8273682" y="1219421"/>
                </a:cubicBezTo>
                <a:close/>
                <a:moveTo>
                  <a:pt x="8143388" y="1219421"/>
                </a:moveTo>
                <a:cubicBezTo>
                  <a:pt x="8173870" y="1219421"/>
                  <a:pt x="8198580" y="1244131"/>
                  <a:pt x="8198580" y="1274612"/>
                </a:cubicBezTo>
                <a:cubicBezTo>
                  <a:pt x="8198580" y="1305093"/>
                  <a:pt x="8173870" y="1329803"/>
                  <a:pt x="8143388" y="1329803"/>
                </a:cubicBezTo>
                <a:cubicBezTo>
                  <a:pt x="8112906" y="1329803"/>
                  <a:pt x="8088196" y="1305093"/>
                  <a:pt x="8088196" y="1274612"/>
                </a:cubicBezTo>
                <a:cubicBezTo>
                  <a:pt x="8088196" y="1244131"/>
                  <a:pt x="8112906" y="1219421"/>
                  <a:pt x="8143388" y="1219421"/>
                </a:cubicBezTo>
                <a:close/>
                <a:moveTo>
                  <a:pt x="8009753" y="1219421"/>
                </a:moveTo>
                <a:cubicBezTo>
                  <a:pt x="8040235" y="1219421"/>
                  <a:pt x="8064945" y="1244131"/>
                  <a:pt x="8064945" y="1274612"/>
                </a:cubicBezTo>
                <a:cubicBezTo>
                  <a:pt x="8064945" y="1305093"/>
                  <a:pt x="8040235" y="1329803"/>
                  <a:pt x="8009753" y="1329803"/>
                </a:cubicBezTo>
                <a:cubicBezTo>
                  <a:pt x="7979271" y="1329803"/>
                  <a:pt x="7954561" y="1305093"/>
                  <a:pt x="7954561" y="1274612"/>
                </a:cubicBezTo>
                <a:cubicBezTo>
                  <a:pt x="7954561" y="1244131"/>
                  <a:pt x="7979271" y="1219421"/>
                  <a:pt x="8009753" y="1219421"/>
                </a:cubicBezTo>
                <a:close/>
                <a:moveTo>
                  <a:pt x="7876118" y="1219421"/>
                </a:moveTo>
                <a:cubicBezTo>
                  <a:pt x="7906600" y="1219421"/>
                  <a:pt x="7931310" y="1244131"/>
                  <a:pt x="7931310" y="1274612"/>
                </a:cubicBezTo>
                <a:cubicBezTo>
                  <a:pt x="7931310" y="1305093"/>
                  <a:pt x="7906600" y="1329803"/>
                  <a:pt x="7876118" y="1329803"/>
                </a:cubicBezTo>
                <a:cubicBezTo>
                  <a:pt x="7845636" y="1329803"/>
                  <a:pt x="7820926" y="1305093"/>
                  <a:pt x="7820926" y="1274612"/>
                </a:cubicBezTo>
                <a:cubicBezTo>
                  <a:pt x="7820926" y="1244131"/>
                  <a:pt x="7845636" y="1219421"/>
                  <a:pt x="7876118" y="1219421"/>
                </a:cubicBezTo>
                <a:close/>
                <a:moveTo>
                  <a:pt x="7745823" y="1219421"/>
                </a:moveTo>
                <a:cubicBezTo>
                  <a:pt x="7776305" y="1219421"/>
                  <a:pt x="7801015" y="1244131"/>
                  <a:pt x="7801015" y="1274612"/>
                </a:cubicBezTo>
                <a:cubicBezTo>
                  <a:pt x="7801015" y="1305093"/>
                  <a:pt x="7776305" y="1329803"/>
                  <a:pt x="7745823" y="1329803"/>
                </a:cubicBezTo>
                <a:cubicBezTo>
                  <a:pt x="7715341" y="1329803"/>
                  <a:pt x="7690631" y="1305093"/>
                  <a:pt x="7690631" y="1274612"/>
                </a:cubicBezTo>
                <a:cubicBezTo>
                  <a:pt x="7690631" y="1244131"/>
                  <a:pt x="7715341" y="1219421"/>
                  <a:pt x="7745823" y="1219421"/>
                </a:cubicBezTo>
                <a:close/>
                <a:moveTo>
                  <a:pt x="7608849" y="1219421"/>
                </a:moveTo>
                <a:cubicBezTo>
                  <a:pt x="7639331" y="1219421"/>
                  <a:pt x="7664041" y="1244131"/>
                  <a:pt x="7664041" y="1274612"/>
                </a:cubicBezTo>
                <a:cubicBezTo>
                  <a:pt x="7664041" y="1305093"/>
                  <a:pt x="7639331" y="1329803"/>
                  <a:pt x="7608849" y="1329803"/>
                </a:cubicBezTo>
                <a:cubicBezTo>
                  <a:pt x="7578367" y="1329803"/>
                  <a:pt x="7553657" y="1305093"/>
                  <a:pt x="7553657" y="1274612"/>
                </a:cubicBezTo>
                <a:cubicBezTo>
                  <a:pt x="7553657" y="1244131"/>
                  <a:pt x="7578367" y="1219421"/>
                  <a:pt x="7608849" y="1219421"/>
                </a:cubicBezTo>
                <a:close/>
                <a:moveTo>
                  <a:pt x="7481897" y="1219421"/>
                </a:moveTo>
                <a:cubicBezTo>
                  <a:pt x="7512379" y="1219421"/>
                  <a:pt x="7537089" y="1244131"/>
                  <a:pt x="7537089" y="1274612"/>
                </a:cubicBezTo>
                <a:cubicBezTo>
                  <a:pt x="7537089" y="1305093"/>
                  <a:pt x="7512379" y="1329803"/>
                  <a:pt x="7481897" y="1329803"/>
                </a:cubicBezTo>
                <a:cubicBezTo>
                  <a:pt x="7451415" y="1329803"/>
                  <a:pt x="7426705" y="1305093"/>
                  <a:pt x="7426705" y="1274612"/>
                </a:cubicBezTo>
                <a:cubicBezTo>
                  <a:pt x="7426705" y="1244131"/>
                  <a:pt x="7451415" y="1219421"/>
                  <a:pt x="7481897" y="1219421"/>
                </a:cubicBezTo>
                <a:close/>
                <a:moveTo>
                  <a:pt x="7341579" y="1219421"/>
                </a:moveTo>
                <a:cubicBezTo>
                  <a:pt x="7372061" y="1219421"/>
                  <a:pt x="7396771" y="1244131"/>
                  <a:pt x="7396771" y="1274612"/>
                </a:cubicBezTo>
                <a:cubicBezTo>
                  <a:pt x="7396771" y="1305093"/>
                  <a:pt x="7372061" y="1329803"/>
                  <a:pt x="7341579" y="1329803"/>
                </a:cubicBezTo>
                <a:cubicBezTo>
                  <a:pt x="7311097" y="1329803"/>
                  <a:pt x="7286387" y="1305093"/>
                  <a:pt x="7286387" y="1274612"/>
                </a:cubicBezTo>
                <a:cubicBezTo>
                  <a:pt x="7286387" y="1244131"/>
                  <a:pt x="7311097" y="1219421"/>
                  <a:pt x="7341579" y="1219421"/>
                </a:cubicBezTo>
                <a:close/>
                <a:moveTo>
                  <a:pt x="7211286" y="1219421"/>
                </a:moveTo>
                <a:cubicBezTo>
                  <a:pt x="7241768" y="1219421"/>
                  <a:pt x="7266478" y="1244131"/>
                  <a:pt x="7266478" y="1274612"/>
                </a:cubicBezTo>
                <a:cubicBezTo>
                  <a:pt x="7266478" y="1305093"/>
                  <a:pt x="7241768" y="1329803"/>
                  <a:pt x="7211286" y="1329803"/>
                </a:cubicBezTo>
                <a:cubicBezTo>
                  <a:pt x="7180804" y="1329803"/>
                  <a:pt x="7156094" y="1305093"/>
                  <a:pt x="7156094" y="1274612"/>
                </a:cubicBezTo>
                <a:cubicBezTo>
                  <a:pt x="7156094" y="1244131"/>
                  <a:pt x="7180804" y="1219421"/>
                  <a:pt x="7211286" y="1219421"/>
                </a:cubicBezTo>
                <a:close/>
                <a:moveTo>
                  <a:pt x="7080993" y="1219421"/>
                </a:moveTo>
                <a:cubicBezTo>
                  <a:pt x="7111475" y="1219421"/>
                  <a:pt x="7136185" y="1244131"/>
                  <a:pt x="7136185" y="1274612"/>
                </a:cubicBezTo>
                <a:cubicBezTo>
                  <a:pt x="7136185" y="1305093"/>
                  <a:pt x="7111475" y="1329803"/>
                  <a:pt x="7080993" y="1329803"/>
                </a:cubicBezTo>
                <a:cubicBezTo>
                  <a:pt x="7050511" y="1329803"/>
                  <a:pt x="7025801" y="1305093"/>
                  <a:pt x="7025801" y="1274612"/>
                </a:cubicBezTo>
                <a:cubicBezTo>
                  <a:pt x="7025801" y="1244131"/>
                  <a:pt x="7050511" y="1219421"/>
                  <a:pt x="7080993" y="1219421"/>
                </a:cubicBezTo>
                <a:close/>
                <a:moveTo>
                  <a:pt x="6947357" y="1219421"/>
                </a:moveTo>
                <a:cubicBezTo>
                  <a:pt x="6977839" y="1219421"/>
                  <a:pt x="7002549" y="1244131"/>
                  <a:pt x="7002549" y="1274612"/>
                </a:cubicBezTo>
                <a:cubicBezTo>
                  <a:pt x="7002549" y="1305093"/>
                  <a:pt x="6977839" y="1329803"/>
                  <a:pt x="6947357" y="1329803"/>
                </a:cubicBezTo>
                <a:cubicBezTo>
                  <a:pt x="6916875" y="1329803"/>
                  <a:pt x="6892165" y="1305093"/>
                  <a:pt x="6892165" y="1274612"/>
                </a:cubicBezTo>
                <a:cubicBezTo>
                  <a:pt x="6892165" y="1244131"/>
                  <a:pt x="6916875" y="1219421"/>
                  <a:pt x="6947357" y="1219421"/>
                </a:cubicBezTo>
                <a:close/>
                <a:moveTo>
                  <a:pt x="6817064" y="1219421"/>
                </a:moveTo>
                <a:cubicBezTo>
                  <a:pt x="6847546" y="1219421"/>
                  <a:pt x="6872256" y="1244131"/>
                  <a:pt x="6872256" y="1274612"/>
                </a:cubicBezTo>
                <a:cubicBezTo>
                  <a:pt x="6872256" y="1305093"/>
                  <a:pt x="6847546" y="1329803"/>
                  <a:pt x="6817064" y="1329803"/>
                </a:cubicBezTo>
                <a:cubicBezTo>
                  <a:pt x="6786582" y="1329803"/>
                  <a:pt x="6761872" y="1305093"/>
                  <a:pt x="6761872" y="1274612"/>
                </a:cubicBezTo>
                <a:cubicBezTo>
                  <a:pt x="6761872" y="1244131"/>
                  <a:pt x="6786582" y="1219421"/>
                  <a:pt x="6817064" y="1219421"/>
                </a:cubicBezTo>
                <a:close/>
                <a:moveTo>
                  <a:pt x="6683431" y="1219421"/>
                </a:moveTo>
                <a:cubicBezTo>
                  <a:pt x="6713913" y="1219421"/>
                  <a:pt x="6738623" y="1244131"/>
                  <a:pt x="6738623" y="1274612"/>
                </a:cubicBezTo>
                <a:cubicBezTo>
                  <a:pt x="6738623" y="1305093"/>
                  <a:pt x="6713913" y="1329803"/>
                  <a:pt x="6683431" y="1329803"/>
                </a:cubicBezTo>
                <a:cubicBezTo>
                  <a:pt x="6652949" y="1329803"/>
                  <a:pt x="6628239" y="1305093"/>
                  <a:pt x="6628239" y="1274612"/>
                </a:cubicBezTo>
                <a:cubicBezTo>
                  <a:pt x="6628239" y="1244131"/>
                  <a:pt x="6652949" y="1219421"/>
                  <a:pt x="6683431" y="1219421"/>
                </a:cubicBezTo>
                <a:close/>
                <a:moveTo>
                  <a:pt x="6553137" y="1219421"/>
                </a:moveTo>
                <a:cubicBezTo>
                  <a:pt x="6583619" y="1219421"/>
                  <a:pt x="6608329" y="1244131"/>
                  <a:pt x="6608329" y="1274612"/>
                </a:cubicBezTo>
                <a:cubicBezTo>
                  <a:pt x="6608329" y="1305093"/>
                  <a:pt x="6583619" y="1329803"/>
                  <a:pt x="6553137" y="1329803"/>
                </a:cubicBezTo>
                <a:cubicBezTo>
                  <a:pt x="6522655" y="1329803"/>
                  <a:pt x="6497945" y="1305093"/>
                  <a:pt x="6497945" y="1274612"/>
                </a:cubicBezTo>
                <a:cubicBezTo>
                  <a:pt x="6497945" y="1244131"/>
                  <a:pt x="6522655" y="1219421"/>
                  <a:pt x="6553137" y="1219421"/>
                </a:cubicBezTo>
                <a:close/>
                <a:moveTo>
                  <a:pt x="6419502" y="1219421"/>
                </a:moveTo>
                <a:cubicBezTo>
                  <a:pt x="6449984" y="1219421"/>
                  <a:pt x="6474694" y="1244131"/>
                  <a:pt x="6474694" y="1274612"/>
                </a:cubicBezTo>
                <a:cubicBezTo>
                  <a:pt x="6474694" y="1305093"/>
                  <a:pt x="6449984" y="1329803"/>
                  <a:pt x="6419502" y="1329803"/>
                </a:cubicBezTo>
                <a:cubicBezTo>
                  <a:pt x="6389020" y="1329803"/>
                  <a:pt x="6364310" y="1305093"/>
                  <a:pt x="6364310" y="1274612"/>
                </a:cubicBezTo>
                <a:cubicBezTo>
                  <a:pt x="6364310" y="1244131"/>
                  <a:pt x="6389020" y="1219421"/>
                  <a:pt x="6419502" y="1219421"/>
                </a:cubicBezTo>
                <a:close/>
                <a:moveTo>
                  <a:pt x="6289207" y="1219421"/>
                </a:moveTo>
                <a:cubicBezTo>
                  <a:pt x="6319689" y="1219421"/>
                  <a:pt x="6344399" y="1244131"/>
                  <a:pt x="6344399" y="1274612"/>
                </a:cubicBezTo>
                <a:cubicBezTo>
                  <a:pt x="6344399" y="1305093"/>
                  <a:pt x="6319689" y="1329803"/>
                  <a:pt x="6289207" y="1329803"/>
                </a:cubicBezTo>
                <a:cubicBezTo>
                  <a:pt x="6258725" y="1329803"/>
                  <a:pt x="6234015" y="1305093"/>
                  <a:pt x="6234015" y="1274612"/>
                </a:cubicBezTo>
                <a:cubicBezTo>
                  <a:pt x="6234015" y="1244131"/>
                  <a:pt x="6258725" y="1219421"/>
                  <a:pt x="6289207" y="1219421"/>
                </a:cubicBezTo>
                <a:close/>
                <a:moveTo>
                  <a:pt x="6155573" y="1219421"/>
                </a:moveTo>
                <a:cubicBezTo>
                  <a:pt x="6186055" y="1219421"/>
                  <a:pt x="6210765" y="1244131"/>
                  <a:pt x="6210765" y="1274612"/>
                </a:cubicBezTo>
                <a:cubicBezTo>
                  <a:pt x="6210765" y="1305093"/>
                  <a:pt x="6186055" y="1329803"/>
                  <a:pt x="6155573" y="1329803"/>
                </a:cubicBezTo>
                <a:cubicBezTo>
                  <a:pt x="6125091" y="1329803"/>
                  <a:pt x="6100381" y="1305093"/>
                  <a:pt x="6100381" y="1274612"/>
                </a:cubicBezTo>
                <a:cubicBezTo>
                  <a:pt x="6100381" y="1244131"/>
                  <a:pt x="6125091" y="1219421"/>
                  <a:pt x="6155573" y="1219421"/>
                </a:cubicBezTo>
                <a:close/>
                <a:moveTo>
                  <a:pt x="6021939" y="1219421"/>
                </a:moveTo>
                <a:cubicBezTo>
                  <a:pt x="6052421" y="1219421"/>
                  <a:pt x="6077131" y="1244131"/>
                  <a:pt x="6077131" y="1274612"/>
                </a:cubicBezTo>
                <a:cubicBezTo>
                  <a:pt x="6077131" y="1305093"/>
                  <a:pt x="6052421" y="1329803"/>
                  <a:pt x="6021939" y="1329803"/>
                </a:cubicBezTo>
                <a:cubicBezTo>
                  <a:pt x="5991457" y="1329803"/>
                  <a:pt x="5966747" y="1305093"/>
                  <a:pt x="5966747" y="1274612"/>
                </a:cubicBezTo>
                <a:cubicBezTo>
                  <a:pt x="5966747" y="1244131"/>
                  <a:pt x="5991457" y="1219421"/>
                  <a:pt x="6021939" y="1219421"/>
                </a:cubicBezTo>
                <a:close/>
                <a:moveTo>
                  <a:pt x="5884964" y="1219421"/>
                </a:moveTo>
                <a:cubicBezTo>
                  <a:pt x="5915446" y="1219421"/>
                  <a:pt x="5940156" y="1244131"/>
                  <a:pt x="5940156" y="1274612"/>
                </a:cubicBezTo>
                <a:cubicBezTo>
                  <a:pt x="5940156" y="1305093"/>
                  <a:pt x="5915446" y="1329803"/>
                  <a:pt x="5884964" y="1329803"/>
                </a:cubicBezTo>
                <a:cubicBezTo>
                  <a:pt x="5854482" y="1329803"/>
                  <a:pt x="5829772" y="1305093"/>
                  <a:pt x="5829772" y="1274612"/>
                </a:cubicBezTo>
                <a:cubicBezTo>
                  <a:pt x="5829772" y="1244131"/>
                  <a:pt x="5854482" y="1219421"/>
                  <a:pt x="5884964" y="1219421"/>
                </a:cubicBezTo>
                <a:close/>
                <a:moveTo>
                  <a:pt x="5754668" y="1219421"/>
                </a:moveTo>
                <a:cubicBezTo>
                  <a:pt x="5785150" y="1219421"/>
                  <a:pt x="5809860" y="1244131"/>
                  <a:pt x="5809860" y="1274612"/>
                </a:cubicBezTo>
                <a:cubicBezTo>
                  <a:pt x="5809860" y="1305093"/>
                  <a:pt x="5785150" y="1329803"/>
                  <a:pt x="5754668" y="1329803"/>
                </a:cubicBezTo>
                <a:cubicBezTo>
                  <a:pt x="5724186" y="1329803"/>
                  <a:pt x="5699476" y="1305093"/>
                  <a:pt x="5699476" y="1274612"/>
                </a:cubicBezTo>
                <a:cubicBezTo>
                  <a:pt x="5699476" y="1244131"/>
                  <a:pt x="5724186" y="1219421"/>
                  <a:pt x="5754668" y="1219421"/>
                </a:cubicBezTo>
                <a:close/>
                <a:moveTo>
                  <a:pt x="5621034" y="1219421"/>
                </a:moveTo>
                <a:cubicBezTo>
                  <a:pt x="5651516" y="1219421"/>
                  <a:pt x="5676226" y="1244131"/>
                  <a:pt x="5676226" y="1274612"/>
                </a:cubicBezTo>
                <a:cubicBezTo>
                  <a:pt x="5676226" y="1305093"/>
                  <a:pt x="5651516" y="1329803"/>
                  <a:pt x="5621034" y="1329803"/>
                </a:cubicBezTo>
                <a:cubicBezTo>
                  <a:pt x="5590552" y="1329803"/>
                  <a:pt x="5565842" y="1305093"/>
                  <a:pt x="5565842" y="1274612"/>
                </a:cubicBezTo>
                <a:cubicBezTo>
                  <a:pt x="5565842" y="1244131"/>
                  <a:pt x="5590552" y="1219421"/>
                  <a:pt x="5621034" y="1219421"/>
                </a:cubicBezTo>
                <a:close/>
                <a:moveTo>
                  <a:pt x="5487399" y="1219421"/>
                </a:moveTo>
                <a:cubicBezTo>
                  <a:pt x="5517881" y="1219421"/>
                  <a:pt x="5542591" y="1244131"/>
                  <a:pt x="5542591" y="1274612"/>
                </a:cubicBezTo>
                <a:cubicBezTo>
                  <a:pt x="5542591" y="1305093"/>
                  <a:pt x="5517881" y="1329803"/>
                  <a:pt x="5487399" y="1329803"/>
                </a:cubicBezTo>
                <a:cubicBezTo>
                  <a:pt x="5456917" y="1329803"/>
                  <a:pt x="5432207" y="1305093"/>
                  <a:pt x="5432207" y="1274612"/>
                </a:cubicBezTo>
                <a:cubicBezTo>
                  <a:pt x="5432207" y="1244131"/>
                  <a:pt x="5456917" y="1219421"/>
                  <a:pt x="5487399" y="1219421"/>
                </a:cubicBezTo>
                <a:close/>
                <a:moveTo>
                  <a:pt x="5357106" y="1219421"/>
                </a:moveTo>
                <a:cubicBezTo>
                  <a:pt x="5387588" y="1219421"/>
                  <a:pt x="5412298" y="1244131"/>
                  <a:pt x="5412298" y="1274612"/>
                </a:cubicBezTo>
                <a:cubicBezTo>
                  <a:pt x="5412298" y="1305093"/>
                  <a:pt x="5387588" y="1329803"/>
                  <a:pt x="5357106" y="1329803"/>
                </a:cubicBezTo>
                <a:cubicBezTo>
                  <a:pt x="5326624" y="1329803"/>
                  <a:pt x="5301914" y="1305093"/>
                  <a:pt x="5301914" y="1274612"/>
                </a:cubicBezTo>
                <a:cubicBezTo>
                  <a:pt x="5301914" y="1244131"/>
                  <a:pt x="5326624" y="1219421"/>
                  <a:pt x="5357106" y="1219421"/>
                </a:cubicBezTo>
                <a:close/>
                <a:moveTo>
                  <a:pt x="5093178" y="1219421"/>
                </a:moveTo>
                <a:cubicBezTo>
                  <a:pt x="5123660" y="1219421"/>
                  <a:pt x="5148370" y="1244131"/>
                  <a:pt x="5148370" y="1274612"/>
                </a:cubicBezTo>
                <a:cubicBezTo>
                  <a:pt x="5148370" y="1305093"/>
                  <a:pt x="5123660" y="1329803"/>
                  <a:pt x="5093178" y="1329803"/>
                </a:cubicBezTo>
                <a:cubicBezTo>
                  <a:pt x="5062696" y="1329803"/>
                  <a:pt x="5037986" y="1305093"/>
                  <a:pt x="5037986" y="1274612"/>
                </a:cubicBezTo>
                <a:cubicBezTo>
                  <a:pt x="5037986" y="1244131"/>
                  <a:pt x="5062696" y="1219421"/>
                  <a:pt x="5093178" y="1219421"/>
                </a:cubicBezTo>
                <a:close/>
                <a:moveTo>
                  <a:pt x="4959542" y="1219421"/>
                </a:moveTo>
                <a:cubicBezTo>
                  <a:pt x="4990024" y="1219421"/>
                  <a:pt x="5014734" y="1244131"/>
                  <a:pt x="5014734" y="1274612"/>
                </a:cubicBezTo>
                <a:cubicBezTo>
                  <a:pt x="5014734" y="1305093"/>
                  <a:pt x="4990024" y="1329803"/>
                  <a:pt x="4959542" y="1329803"/>
                </a:cubicBezTo>
                <a:cubicBezTo>
                  <a:pt x="4929060" y="1329803"/>
                  <a:pt x="4904350" y="1305093"/>
                  <a:pt x="4904350" y="1274612"/>
                </a:cubicBezTo>
                <a:cubicBezTo>
                  <a:pt x="4904350" y="1244131"/>
                  <a:pt x="4929060" y="1219421"/>
                  <a:pt x="4959542" y="1219421"/>
                </a:cubicBezTo>
                <a:close/>
                <a:moveTo>
                  <a:pt x="4829250" y="1219421"/>
                </a:moveTo>
                <a:cubicBezTo>
                  <a:pt x="4859732" y="1219421"/>
                  <a:pt x="4884442" y="1244131"/>
                  <a:pt x="4884442" y="1274612"/>
                </a:cubicBezTo>
                <a:cubicBezTo>
                  <a:pt x="4884442" y="1305093"/>
                  <a:pt x="4859732" y="1329803"/>
                  <a:pt x="4829250" y="1329803"/>
                </a:cubicBezTo>
                <a:cubicBezTo>
                  <a:pt x="4798768" y="1329803"/>
                  <a:pt x="4774058" y="1305093"/>
                  <a:pt x="4774058" y="1274612"/>
                </a:cubicBezTo>
                <a:cubicBezTo>
                  <a:pt x="4774058" y="1244131"/>
                  <a:pt x="4798768" y="1219421"/>
                  <a:pt x="4829250" y="1219421"/>
                </a:cubicBezTo>
                <a:close/>
                <a:moveTo>
                  <a:pt x="319111" y="1219421"/>
                </a:moveTo>
                <a:cubicBezTo>
                  <a:pt x="349594" y="1219421"/>
                  <a:pt x="374305" y="1244131"/>
                  <a:pt x="374305" y="1274612"/>
                </a:cubicBezTo>
                <a:cubicBezTo>
                  <a:pt x="374305" y="1305093"/>
                  <a:pt x="349594" y="1329803"/>
                  <a:pt x="319111" y="1329803"/>
                </a:cubicBezTo>
                <a:cubicBezTo>
                  <a:pt x="288629" y="1329803"/>
                  <a:pt x="263920" y="1305093"/>
                  <a:pt x="263920" y="1274612"/>
                </a:cubicBezTo>
                <a:cubicBezTo>
                  <a:pt x="263920" y="1244131"/>
                  <a:pt x="288629" y="1219421"/>
                  <a:pt x="319111" y="1219421"/>
                </a:cubicBezTo>
                <a:close/>
                <a:moveTo>
                  <a:pt x="185480" y="1219421"/>
                </a:moveTo>
                <a:cubicBezTo>
                  <a:pt x="215961" y="1219421"/>
                  <a:pt x="240671" y="1244131"/>
                  <a:pt x="240671" y="1274612"/>
                </a:cubicBezTo>
                <a:cubicBezTo>
                  <a:pt x="240671" y="1305093"/>
                  <a:pt x="215961" y="1329803"/>
                  <a:pt x="185480" y="1329803"/>
                </a:cubicBezTo>
                <a:cubicBezTo>
                  <a:pt x="154998" y="1329803"/>
                  <a:pt x="130288" y="1305093"/>
                  <a:pt x="130288" y="1274612"/>
                </a:cubicBezTo>
                <a:cubicBezTo>
                  <a:pt x="130288" y="1244131"/>
                  <a:pt x="154998" y="1219421"/>
                  <a:pt x="185480" y="1219421"/>
                </a:cubicBezTo>
                <a:close/>
                <a:moveTo>
                  <a:pt x="449407" y="1219419"/>
                </a:moveTo>
                <a:cubicBezTo>
                  <a:pt x="479889" y="1219419"/>
                  <a:pt x="504600" y="1244129"/>
                  <a:pt x="504600" y="1274610"/>
                </a:cubicBezTo>
                <a:cubicBezTo>
                  <a:pt x="504600" y="1305091"/>
                  <a:pt x="479889" y="1329801"/>
                  <a:pt x="449407" y="1329801"/>
                </a:cubicBezTo>
                <a:cubicBezTo>
                  <a:pt x="418924" y="1329801"/>
                  <a:pt x="394214" y="1305091"/>
                  <a:pt x="394214" y="1274610"/>
                </a:cubicBezTo>
                <a:cubicBezTo>
                  <a:pt x="394214" y="1244129"/>
                  <a:pt x="418924" y="1219419"/>
                  <a:pt x="449407" y="1219419"/>
                </a:cubicBezTo>
                <a:close/>
                <a:moveTo>
                  <a:pt x="4565322" y="1219417"/>
                </a:moveTo>
                <a:cubicBezTo>
                  <a:pt x="4595804" y="1219417"/>
                  <a:pt x="4620514" y="1244127"/>
                  <a:pt x="4620514" y="1274608"/>
                </a:cubicBezTo>
                <a:cubicBezTo>
                  <a:pt x="4620514" y="1305089"/>
                  <a:pt x="4595804" y="1329799"/>
                  <a:pt x="4565322" y="1329799"/>
                </a:cubicBezTo>
                <a:cubicBezTo>
                  <a:pt x="4534840" y="1329799"/>
                  <a:pt x="4510130" y="1305089"/>
                  <a:pt x="4510130" y="1274608"/>
                </a:cubicBezTo>
                <a:cubicBezTo>
                  <a:pt x="4510130" y="1244127"/>
                  <a:pt x="4534840" y="1219417"/>
                  <a:pt x="4565322" y="1219417"/>
                </a:cubicBezTo>
                <a:close/>
                <a:moveTo>
                  <a:pt x="2834811" y="1219417"/>
                </a:moveTo>
                <a:cubicBezTo>
                  <a:pt x="2865293" y="1219417"/>
                  <a:pt x="2890003" y="1244127"/>
                  <a:pt x="2890003" y="1274608"/>
                </a:cubicBezTo>
                <a:cubicBezTo>
                  <a:pt x="2890003" y="1305089"/>
                  <a:pt x="2865293" y="1329799"/>
                  <a:pt x="2834811" y="1329799"/>
                </a:cubicBezTo>
                <a:cubicBezTo>
                  <a:pt x="2804329" y="1329799"/>
                  <a:pt x="2779620" y="1305089"/>
                  <a:pt x="2779620" y="1274608"/>
                </a:cubicBezTo>
                <a:cubicBezTo>
                  <a:pt x="2779620" y="1244127"/>
                  <a:pt x="2804329" y="1219417"/>
                  <a:pt x="2834811" y="1219417"/>
                </a:cubicBezTo>
                <a:close/>
                <a:moveTo>
                  <a:pt x="2707858" y="1219417"/>
                </a:moveTo>
                <a:cubicBezTo>
                  <a:pt x="2738341" y="1219417"/>
                  <a:pt x="2763052" y="1244127"/>
                  <a:pt x="2763052" y="1274608"/>
                </a:cubicBezTo>
                <a:cubicBezTo>
                  <a:pt x="2763052" y="1305089"/>
                  <a:pt x="2738341" y="1329799"/>
                  <a:pt x="2707858" y="1329799"/>
                </a:cubicBezTo>
                <a:cubicBezTo>
                  <a:pt x="2677377" y="1329799"/>
                  <a:pt x="2652667" y="1305089"/>
                  <a:pt x="2652667" y="1274608"/>
                </a:cubicBezTo>
                <a:cubicBezTo>
                  <a:pt x="2652667" y="1244127"/>
                  <a:pt x="2677377" y="1219417"/>
                  <a:pt x="2707858" y="1219417"/>
                </a:cubicBezTo>
                <a:close/>
                <a:moveTo>
                  <a:pt x="2570885" y="1219417"/>
                </a:moveTo>
                <a:cubicBezTo>
                  <a:pt x="2601367" y="1219417"/>
                  <a:pt x="2626075" y="1244127"/>
                  <a:pt x="2626075" y="1274608"/>
                </a:cubicBezTo>
                <a:cubicBezTo>
                  <a:pt x="2626075" y="1305089"/>
                  <a:pt x="2601367" y="1329799"/>
                  <a:pt x="2570885" y="1329799"/>
                </a:cubicBezTo>
                <a:cubicBezTo>
                  <a:pt x="2540401" y="1329799"/>
                  <a:pt x="2515692" y="1305089"/>
                  <a:pt x="2515692" y="1274608"/>
                </a:cubicBezTo>
                <a:cubicBezTo>
                  <a:pt x="2515692" y="1244127"/>
                  <a:pt x="2540401" y="1219417"/>
                  <a:pt x="2570885" y="1219417"/>
                </a:cubicBezTo>
                <a:close/>
                <a:moveTo>
                  <a:pt x="2039686" y="1219417"/>
                </a:moveTo>
                <a:cubicBezTo>
                  <a:pt x="2070169" y="1219417"/>
                  <a:pt x="2094880" y="1244127"/>
                  <a:pt x="2094880" y="1274608"/>
                </a:cubicBezTo>
                <a:cubicBezTo>
                  <a:pt x="2094880" y="1305089"/>
                  <a:pt x="2070169" y="1329799"/>
                  <a:pt x="2039686" y="1329799"/>
                </a:cubicBezTo>
                <a:cubicBezTo>
                  <a:pt x="2009204" y="1329799"/>
                  <a:pt x="1984493" y="1305089"/>
                  <a:pt x="1984493" y="1274608"/>
                </a:cubicBezTo>
                <a:cubicBezTo>
                  <a:pt x="1984493" y="1244127"/>
                  <a:pt x="2009204" y="1219417"/>
                  <a:pt x="2039686" y="1219417"/>
                </a:cubicBezTo>
                <a:close/>
                <a:moveTo>
                  <a:pt x="1909390" y="1219417"/>
                </a:moveTo>
                <a:cubicBezTo>
                  <a:pt x="1939873" y="1219417"/>
                  <a:pt x="1964583" y="1244127"/>
                  <a:pt x="1964583" y="1274608"/>
                </a:cubicBezTo>
                <a:cubicBezTo>
                  <a:pt x="1964583" y="1305089"/>
                  <a:pt x="1939873" y="1329799"/>
                  <a:pt x="1909390" y="1329799"/>
                </a:cubicBezTo>
                <a:cubicBezTo>
                  <a:pt x="1878908" y="1329799"/>
                  <a:pt x="1854197" y="1305089"/>
                  <a:pt x="1854197" y="1274608"/>
                </a:cubicBezTo>
                <a:cubicBezTo>
                  <a:pt x="1854197" y="1244127"/>
                  <a:pt x="1878908" y="1219417"/>
                  <a:pt x="1909390" y="1219417"/>
                </a:cubicBezTo>
                <a:close/>
                <a:moveTo>
                  <a:pt x="1779095" y="1219417"/>
                </a:moveTo>
                <a:cubicBezTo>
                  <a:pt x="1809577" y="1219417"/>
                  <a:pt x="1834287" y="1244127"/>
                  <a:pt x="1834287" y="1274608"/>
                </a:cubicBezTo>
                <a:cubicBezTo>
                  <a:pt x="1834287" y="1305089"/>
                  <a:pt x="1809577" y="1329799"/>
                  <a:pt x="1779095" y="1329799"/>
                </a:cubicBezTo>
                <a:cubicBezTo>
                  <a:pt x="1748613" y="1329799"/>
                  <a:pt x="1723902" y="1305089"/>
                  <a:pt x="1723902" y="1274608"/>
                </a:cubicBezTo>
                <a:cubicBezTo>
                  <a:pt x="1723902" y="1244127"/>
                  <a:pt x="1748613" y="1219417"/>
                  <a:pt x="1779095" y="1219417"/>
                </a:cubicBezTo>
                <a:close/>
                <a:moveTo>
                  <a:pt x="1645457" y="1219417"/>
                </a:moveTo>
                <a:cubicBezTo>
                  <a:pt x="1675941" y="1219417"/>
                  <a:pt x="1700655" y="1244127"/>
                  <a:pt x="1700655" y="1274608"/>
                </a:cubicBezTo>
                <a:cubicBezTo>
                  <a:pt x="1700655" y="1305089"/>
                  <a:pt x="1675941" y="1329799"/>
                  <a:pt x="1645457" y="1329799"/>
                </a:cubicBezTo>
                <a:cubicBezTo>
                  <a:pt x="1614977" y="1329799"/>
                  <a:pt x="1590265" y="1305089"/>
                  <a:pt x="1590265" y="1274608"/>
                </a:cubicBezTo>
                <a:cubicBezTo>
                  <a:pt x="1590265" y="1244127"/>
                  <a:pt x="1614977" y="1219417"/>
                  <a:pt x="1645457" y="1219417"/>
                </a:cubicBezTo>
                <a:close/>
                <a:moveTo>
                  <a:pt x="1515168" y="1219417"/>
                </a:moveTo>
                <a:cubicBezTo>
                  <a:pt x="1545647" y="1219417"/>
                  <a:pt x="1570354" y="1244127"/>
                  <a:pt x="1570354" y="1274608"/>
                </a:cubicBezTo>
                <a:cubicBezTo>
                  <a:pt x="1570354" y="1305089"/>
                  <a:pt x="1545647" y="1329799"/>
                  <a:pt x="1515168" y="1329799"/>
                </a:cubicBezTo>
                <a:cubicBezTo>
                  <a:pt x="1484683" y="1329799"/>
                  <a:pt x="1459973" y="1305089"/>
                  <a:pt x="1459973" y="1274608"/>
                </a:cubicBezTo>
                <a:cubicBezTo>
                  <a:pt x="1459973" y="1244127"/>
                  <a:pt x="1484683" y="1219417"/>
                  <a:pt x="1515168" y="1219417"/>
                </a:cubicBezTo>
                <a:close/>
                <a:moveTo>
                  <a:pt x="1381528" y="1219417"/>
                </a:moveTo>
                <a:cubicBezTo>
                  <a:pt x="1412011" y="1219417"/>
                  <a:pt x="1436723" y="1244127"/>
                  <a:pt x="1436723" y="1274608"/>
                </a:cubicBezTo>
                <a:cubicBezTo>
                  <a:pt x="1436723" y="1305089"/>
                  <a:pt x="1412011" y="1329799"/>
                  <a:pt x="1381528" y="1329799"/>
                </a:cubicBezTo>
                <a:cubicBezTo>
                  <a:pt x="1351052" y="1329799"/>
                  <a:pt x="1326339" y="1305089"/>
                  <a:pt x="1326339" y="1274608"/>
                </a:cubicBezTo>
                <a:cubicBezTo>
                  <a:pt x="1326339" y="1244127"/>
                  <a:pt x="1351052" y="1219417"/>
                  <a:pt x="1381528" y="1219417"/>
                </a:cubicBezTo>
                <a:close/>
                <a:moveTo>
                  <a:pt x="1251239" y="1219417"/>
                </a:moveTo>
                <a:cubicBezTo>
                  <a:pt x="1281721" y="1219417"/>
                  <a:pt x="1306431" y="1244127"/>
                  <a:pt x="1306431" y="1274608"/>
                </a:cubicBezTo>
                <a:cubicBezTo>
                  <a:pt x="1306431" y="1305089"/>
                  <a:pt x="1281721" y="1329799"/>
                  <a:pt x="1251239" y="1329799"/>
                </a:cubicBezTo>
                <a:cubicBezTo>
                  <a:pt x="1220756" y="1329799"/>
                  <a:pt x="1196046" y="1305089"/>
                  <a:pt x="1196046" y="1274608"/>
                </a:cubicBezTo>
                <a:cubicBezTo>
                  <a:pt x="1196046" y="1244127"/>
                  <a:pt x="1220756" y="1219417"/>
                  <a:pt x="1251239" y="1219417"/>
                </a:cubicBezTo>
                <a:close/>
                <a:moveTo>
                  <a:pt x="1117601" y="1219417"/>
                </a:moveTo>
                <a:cubicBezTo>
                  <a:pt x="1148084" y="1219417"/>
                  <a:pt x="1172794" y="1244127"/>
                  <a:pt x="1172794" y="1274608"/>
                </a:cubicBezTo>
                <a:cubicBezTo>
                  <a:pt x="1172794" y="1305089"/>
                  <a:pt x="1148084" y="1329799"/>
                  <a:pt x="1117601" y="1329799"/>
                </a:cubicBezTo>
                <a:cubicBezTo>
                  <a:pt x="1087119" y="1329799"/>
                  <a:pt x="1062408" y="1305089"/>
                  <a:pt x="1062408" y="1274608"/>
                </a:cubicBezTo>
                <a:cubicBezTo>
                  <a:pt x="1062408" y="1244127"/>
                  <a:pt x="1087119" y="1219417"/>
                  <a:pt x="1117601" y="1219417"/>
                </a:cubicBezTo>
                <a:close/>
                <a:moveTo>
                  <a:pt x="980622" y="1219417"/>
                </a:moveTo>
                <a:cubicBezTo>
                  <a:pt x="1011105" y="1219417"/>
                  <a:pt x="1035816" y="1244127"/>
                  <a:pt x="1035816" y="1274608"/>
                </a:cubicBezTo>
                <a:cubicBezTo>
                  <a:pt x="1035816" y="1305089"/>
                  <a:pt x="1011105" y="1329799"/>
                  <a:pt x="980622" y="1329799"/>
                </a:cubicBezTo>
                <a:cubicBezTo>
                  <a:pt x="950140" y="1329799"/>
                  <a:pt x="925429" y="1305089"/>
                  <a:pt x="925429" y="1274608"/>
                </a:cubicBezTo>
                <a:cubicBezTo>
                  <a:pt x="925429" y="1244127"/>
                  <a:pt x="950140" y="1219417"/>
                  <a:pt x="980622" y="1219417"/>
                </a:cubicBezTo>
                <a:close/>
                <a:moveTo>
                  <a:pt x="9469710" y="1099147"/>
                </a:moveTo>
                <a:cubicBezTo>
                  <a:pt x="9500192" y="1099147"/>
                  <a:pt x="9524902" y="1123857"/>
                  <a:pt x="9524902" y="1154338"/>
                </a:cubicBezTo>
                <a:cubicBezTo>
                  <a:pt x="9524902" y="1184819"/>
                  <a:pt x="9500192" y="1209529"/>
                  <a:pt x="9469710" y="1209529"/>
                </a:cubicBezTo>
                <a:cubicBezTo>
                  <a:pt x="9439228" y="1209529"/>
                  <a:pt x="9414518" y="1184819"/>
                  <a:pt x="9414518" y="1154338"/>
                </a:cubicBezTo>
                <a:cubicBezTo>
                  <a:pt x="9414518" y="1123857"/>
                  <a:pt x="9439228" y="1099147"/>
                  <a:pt x="9469710" y="1099147"/>
                </a:cubicBezTo>
                <a:close/>
                <a:moveTo>
                  <a:pt x="9336075" y="1099147"/>
                </a:moveTo>
                <a:cubicBezTo>
                  <a:pt x="9366557" y="1099147"/>
                  <a:pt x="9391267" y="1123857"/>
                  <a:pt x="9391267" y="1154338"/>
                </a:cubicBezTo>
                <a:cubicBezTo>
                  <a:pt x="9391267" y="1184819"/>
                  <a:pt x="9366557" y="1209529"/>
                  <a:pt x="9336075" y="1209529"/>
                </a:cubicBezTo>
                <a:cubicBezTo>
                  <a:pt x="9305593" y="1209529"/>
                  <a:pt x="9280883" y="1184819"/>
                  <a:pt x="9280883" y="1154338"/>
                </a:cubicBezTo>
                <a:cubicBezTo>
                  <a:pt x="9280883" y="1123857"/>
                  <a:pt x="9305593" y="1099147"/>
                  <a:pt x="9336075" y="1099147"/>
                </a:cubicBezTo>
                <a:close/>
                <a:moveTo>
                  <a:pt x="9199100" y="1099147"/>
                </a:moveTo>
                <a:cubicBezTo>
                  <a:pt x="9229582" y="1099147"/>
                  <a:pt x="9254292" y="1123857"/>
                  <a:pt x="9254292" y="1154338"/>
                </a:cubicBezTo>
                <a:cubicBezTo>
                  <a:pt x="9254292" y="1184819"/>
                  <a:pt x="9229582" y="1209529"/>
                  <a:pt x="9199100" y="1209529"/>
                </a:cubicBezTo>
                <a:cubicBezTo>
                  <a:pt x="9168618" y="1209529"/>
                  <a:pt x="9143908" y="1184819"/>
                  <a:pt x="9143908" y="1154338"/>
                </a:cubicBezTo>
                <a:cubicBezTo>
                  <a:pt x="9143908" y="1123857"/>
                  <a:pt x="9168618" y="1099147"/>
                  <a:pt x="9199100" y="1099147"/>
                </a:cubicBezTo>
                <a:close/>
                <a:moveTo>
                  <a:pt x="9068805" y="1099147"/>
                </a:moveTo>
                <a:cubicBezTo>
                  <a:pt x="9099287" y="1099147"/>
                  <a:pt x="9123997" y="1123857"/>
                  <a:pt x="9123997" y="1154338"/>
                </a:cubicBezTo>
                <a:cubicBezTo>
                  <a:pt x="9123997" y="1184819"/>
                  <a:pt x="9099287" y="1209529"/>
                  <a:pt x="9068805" y="1209529"/>
                </a:cubicBezTo>
                <a:cubicBezTo>
                  <a:pt x="9038323" y="1209529"/>
                  <a:pt x="9013613" y="1184819"/>
                  <a:pt x="9013613" y="1154338"/>
                </a:cubicBezTo>
                <a:cubicBezTo>
                  <a:pt x="9013613" y="1123857"/>
                  <a:pt x="9038323" y="1099147"/>
                  <a:pt x="9068805" y="1099147"/>
                </a:cubicBezTo>
                <a:close/>
                <a:moveTo>
                  <a:pt x="8935170" y="1099147"/>
                </a:moveTo>
                <a:cubicBezTo>
                  <a:pt x="8965652" y="1099147"/>
                  <a:pt x="8990362" y="1123857"/>
                  <a:pt x="8990362" y="1154338"/>
                </a:cubicBezTo>
                <a:cubicBezTo>
                  <a:pt x="8990362" y="1184819"/>
                  <a:pt x="8965652" y="1209529"/>
                  <a:pt x="8935170" y="1209529"/>
                </a:cubicBezTo>
                <a:cubicBezTo>
                  <a:pt x="8904688" y="1209529"/>
                  <a:pt x="8879978" y="1184819"/>
                  <a:pt x="8879978" y="1154338"/>
                </a:cubicBezTo>
                <a:cubicBezTo>
                  <a:pt x="8879978" y="1123857"/>
                  <a:pt x="8904688" y="1099147"/>
                  <a:pt x="8935170" y="1099147"/>
                </a:cubicBezTo>
                <a:close/>
                <a:moveTo>
                  <a:pt x="8801536" y="1099147"/>
                </a:moveTo>
                <a:cubicBezTo>
                  <a:pt x="8832018" y="1099147"/>
                  <a:pt x="8856728" y="1123857"/>
                  <a:pt x="8856728" y="1154338"/>
                </a:cubicBezTo>
                <a:cubicBezTo>
                  <a:pt x="8856728" y="1184819"/>
                  <a:pt x="8832018" y="1209529"/>
                  <a:pt x="8801536" y="1209529"/>
                </a:cubicBezTo>
                <a:cubicBezTo>
                  <a:pt x="8771054" y="1209529"/>
                  <a:pt x="8746344" y="1184819"/>
                  <a:pt x="8746344" y="1154338"/>
                </a:cubicBezTo>
                <a:cubicBezTo>
                  <a:pt x="8746344" y="1123857"/>
                  <a:pt x="8771054" y="1099147"/>
                  <a:pt x="8801536" y="1099147"/>
                </a:cubicBezTo>
                <a:close/>
                <a:moveTo>
                  <a:pt x="8671243" y="1099147"/>
                </a:moveTo>
                <a:cubicBezTo>
                  <a:pt x="8701725" y="1099147"/>
                  <a:pt x="8726435" y="1123857"/>
                  <a:pt x="8726435" y="1154338"/>
                </a:cubicBezTo>
                <a:cubicBezTo>
                  <a:pt x="8726435" y="1184819"/>
                  <a:pt x="8701725" y="1209529"/>
                  <a:pt x="8671243" y="1209529"/>
                </a:cubicBezTo>
                <a:cubicBezTo>
                  <a:pt x="8640761" y="1209529"/>
                  <a:pt x="8616051" y="1184819"/>
                  <a:pt x="8616051" y="1154338"/>
                </a:cubicBezTo>
                <a:cubicBezTo>
                  <a:pt x="8616051" y="1123857"/>
                  <a:pt x="8640761" y="1099147"/>
                  <a:pt x="8671243" y="1099147"/>
                </a:cubicBezTo>
                <a:close/>
                <a:moveTo>
                  <a:pt x="8537609" y="1099147"/>
                </a:moveTo>
                <a:cubicBezTo>
                  <a:pt x="8568091" y="1099147"/>
                  <a:pt x="8592801" y="1123857"/>
                  <a:pt x="8592801" y="1154338"/>
                </a:cubicBezTo>
                <a:cubicBezTo>
                  <a:pt x="8592801" y="1184819"/>
                  <a:pt x="8568091" y="1209529"/>
                  <a:pt x="8537609" y="1209529"/>
                </a:cubicBezTo>
                <a:cubicBezTo>
                  <a:pt x="8507127" y="1209529"/>
                  <a:pt x="8482417" y="1184819"/>
                  <a:pt x="8482417" y="1154338"/>
                </a:cubicBezTo>
                <a:cubicBezTo>
                  <a:pt x="8482417" y="1123857"/>
                  <a:pt x="8507127" y="1099147"/>
                  <a:pt x="8537609" y="1099147"/>
                </a:cubicBezTo>
                <a:close/>
                <a:moveTo>
                  <a:pt x="8407315" y="1099147"/>
                </a:moveTo>
                <a:cubicBezTo>
                  <a:pt x="8437797" y="1099147"/>
                  <a:pt x="8462507" y="1123857"/>
                  <a:pt x="8462507" y="1154338"/>
                </a:cubicBezTo>
                <a:cubicBezTo>
                  <a:pt x="8462507" y="1184819"/>
                  <a:pt x="8437797" y="1209529"/>
                  <a:pt x="8407315" y="1209529"/>
                </a:cubicBezTo>
                <a:cubicBezTo>
                  <a:pt x="8376833" y="1209529"/>
                  <a:pt x="8352123" y="1184819"/>
                  <a:pt x="8352123" y="1154338"/>
                </a:cubicBezTo>
                <a:cubicBezTo>
                  <a:pt x="8352123" y="1123857"/>
                  <a:pt x="8376833" y="1099147"/>
                  <a:pt x="8407315" y="1099147"/>
                </a:cubicBezTo>
                <a:close/>
                <a:moveTo>
                  <a:pt x="8273681" y="1099147"/>
                </a:moveTo>
                <a:cubicBezTo>
                  <a:pt x="8304163" y="1099147"/>
                  <a:pt x="8328873" y="1123857"/>
                  <a:pt x="8328873" y="1154338"/>
                </a:cubicBezTo>
                <a:cubicBezTo>
                  <a:pt x="8328873" y="1184819"/>
                  <a:pt x="8304163" y="1209529"/>
                  <a:pt x="8273681" y="1209529"/>
                </a:cubicBezTo>
                <a:cubicBezTo>
                  <a:pt x="8243199" y="1209529"/>
                  <a:pt x="8218489" y="1184819"/>
                  <a:pt x="8218489" y="1154338"/>
                </a:cubicBezTo>
                <a:cubicBezTo>
                  <a:pt x="8218489" y="1123857"/>
                  <a:pt x="8243199" y="1099147"/>
                  <a:pt x="8273681" y="1099147"/>
                </a:cubicBezTo>
                <a:close/>
                <a:moveTo>
                  <a:pt x="8143386" y="1099147"/>
                </a:moveTo>
                <a:cubicBezTo>
                  <a:pt x="8173868" y="1099147"/>
                  <a:pt x="8198578" y="1123857"/>
                  <a:pt x="8198578" y="1154338"/>
                </a:cubicBezTo>
                <a:cubicBezTo>
                  <a:pt x="8198578" y="1184819"/>
                  <a:pt x="8173868" y="1209529"/>
                  <a:pt x="8143386" y="1209529"/>
                </a:cubicBezTo>
                <a:cubicBezTo>
                  <a:pt x="8112904" y="1209529"/>
                  <a:pt x="8088194" y="1184819"/>
                  <a:pt x="8088194" y="1154338"/>
                </a:cubicBezTo>
                <a:cubicBezTo>
                  <a:pt x="8088194" y="1123857"/>
                  <a:pt x="8112904" y="1099147"/>
                  <a:pt x="8143386" y="1099147"/>
                </a:cubicBezTo>
                <a:close/>
                <a:moveTo>
                  <a:pt x="8009752" y="1099147"/>
                </a:moveTo>
                <a:cubicBezTo>
                  <a:pt x="8040234" y="1099147"/>
                  <a:pt x="8064944" y="1123857"/>
                  <a:pt x="8064944" y="1154338"/>
                </a:cubicBezTo>
                <a:cubicBezTo>
                  <a:pt x="8064944" y="1184819"/>
                  <a:pt x="8040234" y="1209529"/>
                  <a:pt x="8009752" y="1209529"/>
                </a:cubicBezTo>
                <a:cubicBezTo>
                  <a:pt x="7979270" y="1209529"/>
                  <a:pt x="7954560" y="1184819"/>
                  <a:pt x="7954560" y="1154338"/>
                </a:cubicBezTo>
                <a:cubicBezTo>
                  <a:pt x="7954560" y="1123857"/>
                  <a:pt x="7979270" y="1099147"/>
                  <a:pt x="8009752" y="1099147"/>
                </a:cubicBezTo>
                <a:close/>
                <a:moveTo>
                  <a:pt x="7876117" y="1099147"/>
                </a:moveTo>
                <a:cubicBezTo>
                  <a:pt x="7906599" y="1099147"/>
                  <a:pt x="7931309" y="1123857"/>
                  <a:pt x="7931309" y="1154338"/>
                </a:cubicBezTo>
                <a:cubicBezTo>
                  <a:pt x="7931309" y="1184819"/>
                  <a:pt x="7906599" y="1209529"/>
                  <a:pt x="7876117" y="1209529"/>
                </a:cubicBezTo>
                <a:cubicBezTo>
                  <a:pt x="7845635" y="1209529"/>
                  <a:pt x="7820925" y="1184819"/>
                  <a:pt x="7820925" y="1154338"/>
                </a:cubicBezTo>
                <a:cubicBezTo>
                  <a:pt x="7820925" y="1123857"/>
                  <a:pt x="7845635" y="1099147"/>
                  <a:pt x="7876117" y="1099147"/>
                </a:cubicBezTo>
                <a:close/>
                <a:moveTo>
                  <a:pt x="7745822" y="1099147"/>
                </a:moveTo>
                <a:cubicBezTo>
                  <a:pt x="7776304" y="1099147"/>
                  <a:pt x="7801014" y="1123857"/>
                  <a:pt x="7801014" y="1154338"/>
                </a:cubicBezTo>
                <a:cubicBezTo>
                  <a:pt x="7801014" y="1184819"/>
                  <a:pt x="7776304" y="1209529"/>
                  <a:pt x="7745822" y="1209529"/>
                </a:cubicBezTo>
                <a:cubicBezTo>
                  <a:pt x="7715340" y="1209529"/>
                  <a:pt x="7690630" y="1184819"/>
                  <a:pt x="7690630" y="1154338"/>
                </a:cubicBezTo>
                <a:cubicBezTo>
                  <a:pt x="7690630" y="1123857"/>
                  <a:pt x="7715340" y="1099147"/>
                  <a:pt x="7745822" y="1099147"/>
                </a:cubicBezTo>
                <a:close/>
                <a:moveTo>
                  <a:pt x="7608847" y="1099147"/>
                </a:moveTo>
                <a:cubicBezTo>
                  <a:pt x="7639329" y="1099147"/>
                  <a:pt x="7664039" y="1123857"/>
                  <a:pt x="7664039" y="1154338"/>
                </a:cubicBezTo>
                <a:cubicBezTo>
                  <a:pt x="7664039" y="1184819"/>
                  <a:pt x="7639329" y="1209529"/>
                  <a:pt x="7608847" y="1209529"/>
                </a:cubicBezTo>
                <a:cubicBezTo>
                  <a:pt x="7578365" y="1209529"/>
                  <a:pt x="7553655" y="1184819"/>
                  <a:pt x="7553655" y="1154338"/>
                </a:cubicBezTo>
                <a:cubicBezTo>
                  <a:pt x="7553655" y="1123857"/>
                  <a:pt x="7578365" y="1099147"/>
                  <a:pt x="7608847" y="1099147"/>
                </a:cubicBezTo>
                <a:close/>
                <a:moveTo>
                  <a:pt x="7481895" y="1099147"/>
                </a:moveTo>
                <a:cubicBezTo>
                  <a:pt x="7512377" y="1099147"/>
                  <a:pt x="7537087" y="1123857"/>
                  <a:pt x="7537087" y="1154338"/>
                </a:cubicBezTo>
                <a:cubicBezTo>
                  <a:pt x="7537087" y="1184819"/>
                  <a:pt x="7512377" y="1209529"/>
                  <a:pt x="7481895" y="1209529"/>
                </a:cubicBezTo>
                <a:cubicBezTo>
                  <a:pt x="7451413" y="1209529"/>
                  <a:pt x="7426703" y="1184819"/>
                  <a:pt x="7426703" y="1154338"/>
                </a:cubicBezTo>
                <a:cubicBezTo>
                  <a:pt x="7426703" y="1123857"/>
                  <a:pt x="7451413" y="1099147"/>
                  <a:pt x="7481895" y="1099147"/>
                </a:cubicBezTo>
                <a:close/>
                <a:moveTo>
                  <a:pt x="7341578" y="1099147"/>
                </a:moveTo>
                <a:cubicBezTo>
                  <a:pt x="7372060" y="1099147"/>
                  <a:pt x="7396770" y="1123857"/>
                  <a:pt x="7396770" y="1154338"/>
                </a:cubicBezTo>
                <a:cubicBezTo>
                  <a:pt x="7396770" y="1184819"/>
                  <a:pt x="7372060" y="1209529"/>
                  <a:pt x="7341578" y="1209529"/>
                </a:cubicBezTo>
                <a:cubicBezTo>
                  <a:pt x="7311096" y="1209529"/>
                  <a:pt x="7286386" y="1184819"/>
                  <a:pt x="7286386" y="1154338"/>
                </a:cubicBezTo>
                <a:cubicBezTo>
                  <a:pt x="7286386" y="1123857"/>
                  <a:pt x="7311096" y="1099147"/>
                  <a:pt x="7341578" y="1099147"/>
                </a:cubicBezTo>
                <a:close/>
                <a:moveTo>
                  <a:pt x="7211285" y="1099147"/>
                </a:moveTo>
                <a:cubicBezTo>
                  <a:pt x="7241767" y="1099147"/>
                  <a:pt x="7266477" y="1123857"/>
                  <a:pt x="7266477" y="1154338"/>
                </a:cubicBezTo>
                <a:cubicBezTo>
                  <a:pt x="7266477" y="1184819"/>
                  <a:pt x="7241767" y="1209529"/>
                  <a:pt x="7211285" y="1209529"/>
                </a:cubicBezTo>
                <a:cubicBezTo>
                  <a:pt x="7180803" y="1209529"/>
                  <a:pt x="7156093" y="1184819"/>
                  <a:pt x="7156093" y="1154338"/>
                </a:cubicBezTo>
                <a:cubicBezTo>
                  <a:pt x="7156093" y="1123857"/>
                  <a:pt x="7180803" y="1099147"/>
                  <a:pt x="7211285" y="1099147"/>
                </a:cubicBezTo>
                <a:close/>
                <a:moveTo>
                  <a:pt x="7080991" y="1099147"/>
                </a:moveTo>
                <a:cubicBezTo>
                  <a:pt x="7111473" y="1099147"/>
                  <a:pt x="7136183" y="1123857"/>
                  <a:pt x="7136183" y="1154338"/>
                </a:cubicBezTo>
                <a:cubicBezTo>
                  <a:pt x="7136183" y="1184819"/>
                  <a:pt x="7111473" y="1209529"/>
                  <a:pt x="7080991" y="1209529"/>
                </a:cubicBezTo>
                <a:cubicBezTo>
                  <a:pt x="7050509" y="1209529"/>
                  <a:pt x="7025799" y="1184819"/>
                  <a:pt x="7025799" y="1154338"/>
                </a:cubicBezTo>
                <a:cubicBezTo>
                  <a:pt x="7025799" y="1123857"/>
                  <a:pt x="7050509" y="1099147"/>
                  <a:pt x="7080991" y="1099147"/>
                </a:cubicBezTo>
                <a:close/>
                <a:moveTo>
                  <a:pt x="6947356" y="1099147"/>
                </a:moveTo>
                <a:cubicBezTo>
                  <a:pt x="6977838" y="1099147"/>
                  <a:pt x="7002548" y="1123857"/>
                  <a:pt x="7002548" y="1154338"/>
                </a:cubicBezTo>
                <a:cubicBezTo>
                  <a:pt x="7002548" y="1184819"/>
                  <a:pt x="6977838" y="1209529"/>
                  <a:pt x="6947356" y="1209529"/>
                </a:cubicBezTo>
                <a:cubicBezTo>
                  <a:pt x="6916874" y="1209529"/>
                  <a:pt x="6892164" y="1184819"/>
                  <a:pt x="6892164" y="1154338"/>
                </a:cubicBezTo>
                <a:cubicBezTo>
                  <a:pt x="6892164" y="1123857"/>
                  <a:pt x="6916874" y="1099147"/>
                  <a:pt x="6947356" y="1099147"/>
                </a:cubicBezTo>
                <a:close/>
                <a:moveTo>
                  <a:pt x="6817063" y="1099147"/>
                </a:moveTo>
                <a:cubicBezTo>
                  <a:pt x="6847545" y="1099147"/>
                  <a:pt x="6872255" y="1123857"/>
                  <a:pt x="6872255" y="1154338"/>
                </a:cubicBezTo>
                <a:cubicBezTo>
                  <a:pt x="6872255" y="1184819"/>
                  <a:pt x="6847545" y="1209529"/>
                  <a:pt x="6817063" y="1209529"/>
                </a:cubicBezTo>
                <a:cubicBezTo>
                  <a:pt x="6786581" y="1209529"/>
                  <a:pt x="6761871" y="1184819"/>
                  <a:pt x="6761871" y="1154338"/>
                </a:cubicBezTo>
                <a:cubicBezTo>
                  <a:pt x="6761871" y="1123857"/>
                  <a:pt x="6786581" y="1099147"/>
                  <a:pt x="6817063" y="1099147"/>
                </a:cubicBezTo>
                <a:close/>
                <a:moveTo>
                  <a:pt x="6683430" y="1099147"/>
                </a:moveTo>
                <a:cubicBezTo>
                  <a:pt x="6713912" y="1099147"/>
                  <a:pt x="6738622" y="1123857"/>
                  <a:pt x="6738622" y="1154338"/>
                </a:cubicBezTo>
                <a:cubicBezTo>
                  <a:pt x="6738622" y="1184819"/>
                  <a:pt x="6713912" y="1209529"/>
                  <a:pt x="6683430" y="1209529"/>
                </a:cubicBezTo>
                <a:cubicBezTo>
                  <a:pt x="6652948" y="1209529"/>
                  <a:pt x="6628238" y="1184819"/>
                  <a:pt x="6628238" y="1154338"/>
                </a:cubicBezTo>
                <a:cubicBezTo>
                  <a:pt x="6628238" y="1123857"/>
                  <a:pt x="6652948" y="1099147"/>
                  <a:pt x="6683430" y="1099147"/>
                </a:cubicBezTo>
                <a:close/>
                <a:moveTo>
                  <a:pt x="6553135" y="1099147"/>
                </a:moveTo>
                <a:cubicBezTo>
                  <a:pt x="6583617" y="1099147"/>
                  <a:pt x="6608327" y="1123857"/>
                  <a:pt x="6608327" y="1154338"/>
                </a:cubicBezTo>
                <a:cubicBezTo>
                  <a:pt x="6608327" y="1184819"/>
                  <a:pt x="6583617" y="1209529"/>
                  <a:pt x="6553135" y="1209529"/>
                </a:cubicBezTo>
                <a:cubicBezTo>
                  <a:pt x="6522653" y="1209529"/>
                  <a:pt x="6497943" y="1184819"/>
                  <a:pt x="6497943" y="1154338"/>
                </a:cubicBezTo>
                <a:cubicBezTo>
                  <a:pt x="6497943" y="1123857"/>
                  <a:pt x="6522653" y="1099147"/>
                  <a:pt x="6553135" y="1099147"/>
                </a:cubicBezTo>
                <a:close/>
                <a:moveTo>
                  <a:pt x="6419501" y="1099147"/>
                </a:moveTo>
                <a:cubicBezTo>
                  <a:pt x="6449983" y="1099147"/>
                  <a:pt x="6474693" y="1123857"/>
                  <a:pt x="6474693" y="1154338"/>
                </a:cubicBezTo>
                <a:cubicBezTo>
                  <a:pt x="6474693" y="1184819"/>
                  <a:pt x="6449983" y="1209529"/>
                  <a:pt x="6419501" y="1209529"/>
                </a:cubicBezTo>
                <a:cubicBezTo>
                  <a:pt x="6389019" y="1209529"/>
                  <a:pt x="6364309" y="1184819"/>
                  <a:pt x="6364309" y="1154338"/>
                </a:cubicBezTo>
                <a:cubicBezTo>
                  <a:pt x="6364309" y="1123857"/>
                  <a:pt x="6389019" y="1099147"/>
                  <a:pt x="6419501" y="1099147"/>
                </a:cubicBezTo>
                <a:close/>
                <a:moveTo>
                  <a:pt x="6289206" y="1099147"/>
                </a:moveTo>
                <a:cubicBezTo>
                  <a:pt x="6319688" y="1099147"/>
                  <a:pt x="6344398" y="1123857"/>
                  <a:pt x="6344398" y="1154338"/>
                </a:cubicBezTo>
                <a:cubicBezTo>
                  <a:pt x="6344398" y="1184819"/>
                  <a:pt x="6319688" y="1209529"/>
                  <a:pt x="6289206" y="1209529"/>
                </a:cubicBezTo>
                <a:cubicBezTo>
                  <a:pt x="6258724" y="1209529"/>
                  <a:pt x="6234014" y="1184819"/>
                  <a:pt x="6234014" y="1154338"/>
                </a:cubicBezTo>
                <a:cubicBezTo>
                  <a:pt x="6234014" y="1123857"/>
                  <a:pt x="6258724" y="1099147"/>
                  <a:pt x="6289206" y="1099147"/>
                </a:cubicBezTo>
                <a:close/>
                <a:moveTo>
                  <a:pt x="6155571" y="1099147"/>
                </a:moveTo>
                <a:cubicBezTo>
                  <a:pt x="6186053" y="1099147"/>
                  <a:pt x="6210763" y="1123857"/>
                  <a:pt x="6210763" y="1154338"/>
                </a:cubicBezTo>
                <a:cubicBezTo>
                  <a:pt x="6210763" y="1184819"/>
                  <a:pt x="6186053" y="1209529"/>
                  <a:pt x="6155571" y="1209529"/>
                </a:cubicBezTo>
                <a:cubicBezTo>
                  <a:pt x="6125089" y="1209529"/>
                  <a:pt x="6100379" y="1184819"/>
                  <a:pt x="6100379" y="1154338"/>
                </a:cubicBezTo>
                <a:cubicBezTo>
                  <a:pt x="6100379" y="1123857"/>
                  <a:pt x="6125089" y="1099147"/>
                  <a:pt x="6155571" y="1099147"/>
                </a:cubicBezTo>
                <a:close/>
                <a:moveTo>
                  <a:pt x="6021938" y="1099147"/>
                </a:moveTo>
                <a:cubicBezTo>
                  <a:pt x="6052420" y="1099147"/>
                  <a:pt x="6077130" y="1123857"/>
                  <a:pt x="6077130" y="1154338"/>
                </a:cubicBezTo>
                <a:cubicBezTo>
                  <a:pt x="6077130" y="1184819"/>
                  <a:pt x="6052420" y="1209529"/>
                  <a:pt x="6021938" y="1209529"/>
                </a:cubicBezTo>
                <a:cubicBezTo>
                  <a:pt x="5991456" y="1209529"/>
                  <a:pt x="5966746" y="1184819"/>
                  <a:pt x="5966746" y="1154338"/>
                </a:cubicBezTo>
                <a:cubicBezTo>
                  <a:pt x="5966746" y="1123857"/>
                  <a:pt x="5991456" y="1099147"/>
                  <a:pt x="6021938" y="1099147"/>
                </a:cubicBezTo>
                <a:close/>
                <a:moveTo>
                  <a:pt x="5884963" y="1099147"/>
                </a:moveTo>
                <a:cubicBezTo>
                  <a:pt x="5915445" y="1099147"/>
                  <a:pt x="5940155" y="1123857"/>
                  <a:pt x="5940155" y="1154338"/>
                </a:cubicBezTo>
                <a:cubicBezTo>
                  <a:pt x="5940155" y="1184819"/>
                  <a:pt x="5915445" y="1209529"/>
                  <a:pt x="5884963" y="1209529"/>
                </a:cubicBezTo>
                <a:cubicBezTo>
                  <a:pt x="5854481" y="1209529"/>
                  <a:pt x="5829771" y="1184819"/>
                  <a:pt x="5829771" y="1154338"/>
                </a:cubicBezTo>
                <a:cubicBezTo>
                  <a:pt x="5829771" y="1123857"/>
                  <a:pt x="5854481" y="1099147"/>
                  <a:pt x="5884963" y="1099147"/>
                </a:cubicBezTo>
                <a:close/>
                <a:moveTo>
                  <a:pt x="5754668" y="1099147"/>
                </a:moveTo>
                <a:cubicBezTo>
                  <a:pt x="5785150" y="1099147"/>
                  <a:pt x="5809860" y="1123857"/>
                  <a:pt x="5809860" y="1154338"/>
                </a:cubicBezTo>
                <a:cubicBezTo>
                  <a:pt x="5809860" y="1184819"/>
                  <a:pt x="5785150" y="1209529"/>
                  <a:pt x="5754668" y="1209529"/>
                </a:cubicBezTo>
                <a:cubicBezTo>
                  <a:pt x="5724186" y="1209529"/>
                  <a:pt x="5699476" y="1184819"/>
                  <a:pt x="5699476" y="1154338"/>
                </a:cubicBezTo>
                <a:cubicBezTo>
                  <a:pt x="5699476" y="1123857"/>
                  <a:pt x="5724186" y="1099147"/>
                  <a:pt x="5754668" y="1099147"/>
                </a:cubicBezTo>
                <a:close/>
                <a:moveTo>
                  <a:pt x="5621031" y="1099147"/>
                </a:moveTo>
                <a:cubicBezTo>
                  <a:pt x="5651513" y="1099147"/>
                  <a:pt x="5676223" y="1123857"/>
                  <a:pt x="5676223" y="1154338"/>
                </a:cubicBezTo>
                <a:cubicBezTo>
                  <a:pt x="5676223" y="1184819"/>
                  <a:pt x="5651513" y="1209529"/>
                  <a:pt x="5621031" y="1209529"/>
                </a:cubicBezTo>
                <a:cubicBezTo>
                  <a:pt x="5590549" y="1209529"/>
                  <a:pt x="5565839" y="1184819"/>
                  <a:pt x="5565839" y="1154338"/>
                </a:cubicBezTo>
                <a:cubicBezTo>
                  <a:pt x="5565839" y="1123857"/>
                  <a:pt x="5590549" y="1099147"/>
                  <a:pt x="5621031" y="1099147"/>
                </a:cubicBezTo>
                <a:close/>
                <a:moveTo>
                  <a:pt x="5487398" y="1099147"/>
                </a:moveTo>
                <a:cubicBezTo>
                  <a:pt x="5517880" y="1099147"/>
                  <a:pt x="5542590" y="1123857"/>
                  <a:pt x="5542590" y="1154338"/>
                </a:cubicBezTo>
                <a:cubicBezTo>
                  <a:pt x="5542590" y="1184819"/>
                  <a:pt x="5517880" y="1209529"/>
                  <a:pt x="5487398" y="1209529"/>
                </a:cubicBezTo>
                <a:cubicBezTo>
                  <a:pt x="5456916" y="1209529"/>
                  <a:pt x="5432206" y="1184819"/>
                  <a:pt x="5432206" y="1154338"/>
                </a:cubicBezTo>
                <a:cubicBezTo>
                  <a:pt x="5432206" y="1123857"/>
                  <a:pt x="5456916" y="1099147"/>
                  <a:pt x="5487398" y="1099147"/>
                </a:cubicBezTo>
                <a:close/>
                <a:moveTo>
                  <a:pt x="5357105" y="1099147"/>
                </a:moveTo>
                <a:cubicBezTo>
                  <a:pt x="5387587" y="1099147"/>
                  <a:pt x="5412297" y="1123857"/>
                  <a:pt x="5412297" y="1154338"/>
                </a:cubicBezTo>
                <a:cubicBezTo>
                  <a:pt x="5412297" y="1184819"/>
                  <a:pt x="5387587" y="1209529"/>
                  <a:pt x="5357105" y="1209529"/>
                </a:cubicBezTo>
                <a:cubicBezTo>
                  <a:pt x="5326623" y="1209529"/>
                  <a:pt x="5301913" y="1184819"/>
                  <a:pt x="5301913" y="1154338"/>
                </a:cubicBezTo>
                <a:cubicBezTo>
                  <a:pt x="5301913" y="1123857"/>
                  <a:pt x="5326623" y="1099147"/>
                  <a:pt x="5357105" y="1099147"/>
                </a:cubicBezTo>
                <a:close/>
                <a:moveTo>
                  <a:pt x="5093176" y="1099147"/>
                </a:moveTo>
                <a:cubicBezTo>
                  <a:pt x="5123658" y="1099147"/>
                  <a:pt x="5148368" y="1123857"/>
                  <a:pt x="5148368" y="1154338"/>
                </a:cubicBezTo>
                <a:cubicBezTo>
                  <a:pt x="5148368" y="1184819"/>
                  <a:pt x="5123658" y="1209529"/>
                  <a:pt x="5093176" y="1209529"/>
                </a:cubicBezTo>
                <a:cubicBezTo>
                  <a:pt x="5062694" y="1209529"/>
                  <a:pt x="5037984" y="1184819"/>
                  <a:pt x="5037984" y="1154338"/>
                </a:cubicBezTo>
                <a:cubicBezTo>
                  <a:pt x="5037984" y="1123857"/>
                  <a:pt x="5062694" y="1099147"/>
                  <a:pt x="5093176" y="1099147"/>
                </a:cubicBezTo>
                <a:close/>
                <a:moveTo>
                  <a:pt x="4959540" y="1099147"/>
                </a:moveTo>
                <a:cubicBezTo>
                  <a:pt x="4990022" y="1099147"/>
                  <a:pt x="5014732" y="1123857"/>
                  <a:pt x="5014732" y="1154338"/>
                </a:cubicBezTo>
                <a:cubicBezTo>
                  <a:pt x="5014732" y="1184819"/>
                  <a:pt x="4990022" y="1209529"/>
                  <a:pt x="4959540" y="1209529"/>
                </a:cubicBezTo>
                <a:cubicBezTo>
                  <a:pt x="4929058" y="1209529"/>
                  <a:pt x="4904348" y="1184819"/>
                  <a:pt x="4904348" y="1154338"/>
                </a:cubicBezTo>
                <a:cubicBezTo>
                  <a:pt x="4904348" y="1123857"/>
                  <a:pt x="4929058" y="1099147"/>
                  <a:pt x="4959540" y="1099147"/>
                </a:cubicBezTo>
                <a:close/>
                <a:moveTo>
                  <a:pt x="4829246" y="1099147"/>
                </a:moveTo>
                <a:cubicBezTo>
                  <a:pt x="4859728" y="1099147"/>
                  <a:pt x="4884438" y="1123857"/>
                  <a:pt x="4884438" y="1154338"/>
                </a:cubicBezTo>
                <a:cubicBezTo>
                  <a:pt x="4884438" y="1184819"/>
                  <a:pt x="4859728" y="1209529"/>
                  <a:pt x="4829246" y="1209529"/>
                </a:cubicBezTo>
                <a:cubicBezTo>
                  <a:pt x="4798764" y="1209529"/>
                  <a:pt x="4774054" y="1184819"/>
                  <a:pt x="4774054" y="1154338"/>
                </a:cubicBezTo>
                <a:cubicBezTo>
                  <a:pt x="4774054" y="1123857"/>
                  <a:pt x="4798764" y="1099147"/>
                  <a:pt x="4829246" y="1099147"/>
                </a:cubicBezTo>
                <a:close/>
                <a:moveTo>
                  <a:pt x="319117" y="1099147"/>
                </a:moveTo>
                <a:cubicBezTo>
                  <a:pt x="349600" y="1099147"/>
                  <a:pt x="374310" y="1123857"/>
                  <a:pt x="374310" y="1154338"/>
                </a:cubicBezTo>
                <a:cubicBezTo>
                  <a:pt x="374310" y="1184819"/>
                  <a:pt x="349600" y="1209529"/>
                  <a:pt x="319117" y="1209529"/>
                </a:cubicBezTo>
                <a:cubicBezTo>
                  <a:pt x="288635" y="1209529"/>
                  <a:pt x="263926" y="1184819"/>
                  <a:pt x="263926" y="1154338"/>
                </a:cubicBezTo>
                <a:cubicBezTo>
                  <a:pt x="263926" y="1123857"/>
                  <a:pt x="288635" y="1099147"/>
                  <a:pt x="319117" y="1099147"/>
                </a:cubicBezTo>
                <a:close/>
                <a:moveTo>
                  <a:pt x="185484" y="1099147"/>
                </a:moveTo>
                <a:cubicBezTo>
                  <a:pt x="215966" y="1099147"/>
                  <a:pt x="240675" y="1123857"/>
                  <a:pt x="240675" y="1154338"/>
                </a:cubicBezTo>
                <a:cubicBezTo>
                  <a:pt x="240675" y="1184819"/>
                  <a:pt x="215966" y="1209529"/>
                  <a:pt x="185484" y="1209529"/>
                </a:cubicBezTo>
                <a:cubicBezTo>
                  <a:pt x="155003" y="1209529"/>
                  <a:pt x="130292" y="1184819"/>
                  <a:pt x="130292" y="1154338"/>
                </a:cubicBezTo>
                <a:cubicBezTo>
                  <a:pt x="130292" y="1123857"/>
                  <a:pt x="155003" y="1099147"/>
                  <a:pt x="185484" y="1099147"/>
                </a:cubicBezTo>
                <a:close/>
                <a:moveTo>
                  <a:pt x="55190" y="1099147"/>
                </a:moveTo>
                <a:cubicBezTo>
                  <a:pt x="85672" y="1099147"/>
                  <a:pt x="110381" y="1123857"/>
                  <a:pt x="110381" y="1154338"/>
                </a:cubicBezTo>
                <a:cubicBezTo>
                  <a:pt x="110381" y="1184819"/>
                  <a:pt x="85672" y="1209529"/>
                  <a:pt x="55190" y="1209529"/>
                </a:cubicBezTo>
                <a:cubicBezTo>
                  <a:pt x="24708" y="1209529"/>
                  <a:pt x="0" y="1184819"/>
                  <a:pt x="0" y="1154338"/>
                </a:cubicBezTo>
                <a:cubicBezTo>
                  <a:pt x="0" y="1123857"/>
                  <a:pt x="24708" y="1099147"/>
                  <a:pt x="55190" y="1099147"/>
                </a:cubicBezTo>
                <a:close/>
                <a:moveTo>
                  <a:pt x="3499584" y="1099146"/>
                </a:moveTo>
                <a:cubicBezTo>
                  <a:pt x="3530066" y="1099146"/>
                  <a:pt x="3554776" y="1123856"/>
                  <a:pt x="3554776" y="1154337"/>
                </a:cubicBezTo>
                <a:cubicBezTo>
                  <a:pt x="3554776" y="1184818"/>
                  <a:pt x="3530066" y="1209528"/>
                  <a:pt x="3499584" y="1209528"/>
                </a:cubicBezTo>
                <a:cubicBezTo>
                  <a:pt x="3469102" y="1209528"/>
                  <a:pt x="3444392" y="1184818"/>
                  <a:pt x="3444392" y="1154337"/>
                </a:cubicBezTo>
                <a:cubicBezTo>
                  <a:pt x="3444392" y="1123856"/>
                  <a:pt x="3469102" y="1099146"/>
                  <a:pt x="3499584" y="1099146"/>
                </a:cubicBezTo>
                <a:close/>
                <a:moveTo>
                  <a:pt x="2570894" y="1099146"/>
                </a:moveTo>
                <a:cubicBezTo>
                  <a:pt x="2601377" y="1099146"/>
                  <a:pt x="2626086" y="1123856"/>
                  <a:pt x="2626086" y="1154337"/>
                </a:cubicBezTo>
                <a:cubicBezTo>
                  <a:pt x="2626086" y="1184818"/>
                  <a:pt x="2601377" y="1209528"/>
                  <a:pt x="2570894" y="1209528"/>
                </a:cubicBezTo>
                <a:cubicBezTo>
                  <a:pt x="2540412" y="1209528"/>
                  <a:pt x="2515701" y="1184818"/>
                  <a:pt x="2515701" y="1154337"/>
                </a:cubicBezTo>
                <a:cubicBezTo>
                  <a:pt x="2515701" y="1123856"/>
                  <a:pt x="2540412" y="1099146"/>
                  <a:pt x="2570894" y="1099146"/>
                </a:cubicBezTo>
                <a:close/>
                <a:moveTo>
                  <a:pt x="2039698" y="1099146"/>
                </a:moveTo>
                <a:cubicBezTo>
                  <a:pt x="2070180" y="1099146"/>
                  <a:pt x="2094891" y="1123856"/>
                  <a:pt x="2094891" y="1154337"/>
                </a:cubicBezTo>
                <a:cubicBezTo>
                  <a:pt x="2094891" y="1184818"/>
                  <a:pt x="2070180" y="1209528"/>
                  <a:pt x="2039698" y="1209528"/>
                </a:cubicBezTo>
                <a:cubicBezTo>
                  <a:pt x="2009214" y="1209528"/>
                  <a:pt x="1984505" y="1184818"/>
                  <a:pt x="1984505" y="1154337"/>
                </a:cubicBezTo>
                <a:cubicBezTo>
                  <a:pt x="1984505" y="1123856"/>
                  <a:pt x="2009214" y="1099146"/>
                  <a:pt x="2039698" y="1099146"/>
                </a:cubicBezTo>
                <a:close/>
                <a:moveTo>
                  <a:pt x="1909401" y="1099146"/>
                </a:moveTo>
                <a:cubicBezTo>
                  <a:pt x="1939883" y="1099146"/>
                  <a:pt x="1964592" y="1123856"/>
                  <a:pt x="1964592" y="1154337"/>
                </a:cubicBezTo>
                <a:cubicBezTo>
                  <a:pt x="1964592" y="1184818"/>
                  <a:pt x="1939883" y="1209528"/>
                  <a:pt x="1909401" y="1209528"/>
                </a:cubicBezTo>
                <a:cubicBezTo>
                  <a:pt x="1878917" y="1209528"/>
                  <a:pt x="1854207" y="1184818"/>
                  <a:pt x="1854207" y="1154337"/>
                </a:cubicBezTo>
                <a:cubicBezTo>
                  <a:pt x="1854207" y="1123856"/>
                  <a:pt x="1878917" y="1099146"/>
                  <a:pt x="1909401" y="1099146"/>
                </a:cubicBezTo>
                <a:close/>
                <a:moveTo>
                  <a:pt x="1779104" y="1099146"/>
                </a:moveTo>
                <a:cubicBezTo>
                  <a:pt x="1809585" y="1099146"/>
                  <a:pt x="1834296" y="1123856"/>
                  <a:pt x="1834296" y="1154337"/>
                </a:cubicBezTo>
                <a:cubicBezTo>
                  <a:pt x="1834296" y="1184818"/>
                  <a:pt x="1809585" y="1209528"/>
                  <a:pt x="1779104" y="1209528"/>
                </a:cubicBezTo>
                <a:cubicBezTo>
                  <a:pt x="1748623" y="1209528"/>
                  <a:pt x="1723910" y="1184818"/>
                  <a:pt x="1723910" y="1154337"/>
                </a:cubicBezTo>
                <a:cubicBezTo>
                  <a:pt x="1723910" y="1123856"/>
                  <a:pt x="1748623" y="1099146"/>
                  <a:pt x="1779104" y="1099146"/>
                </a:cubicBezTo>
                <a:close/>
                <a:moveTo>
                  <a:pt x="1645469" y="1099146"/>
                </a:moveTo>
                <a:cubicBezTo>
                  <a:pt x="1675950" y="1099146"/>
                  <a:pt x="1700664" y="1123856"/>
                  <a:pt x="1700664" y="1154337"/>
                </a:cubicBezTo>
                <a:cubicBezTo>
                  <a:pt x="1700664" y="1184818"/>
                  <a:pt x="1675950" y="1209528"/>
                  <a:pt x="1645469" y="1209528"/>
                </a:cubicBezTo>
                <a:cubicBezTo>
                  <a:pt x="1614986" y="1209528"/>
                  <a:pt x="1590275" y="1184818"/>
                  <a:pt x="1590275" y="1154337"/>
                </a:cubicBezTo>
                <a:cubicBezTo>
                  <a:pt x="1590275" y="1123856"/>
                  <a:pt x="1614986" y="1099146"/>
                  <a:pt x="1645469" y="1099146"/>
                </a:cubicBezTo>
                <a:close/>
                <a:moveTo>
                  <a:pt x="1515179" y="1099146"/>
                </a:moveTo>
                <a:cubicBezTo>
                  <a:pt x="1545657" y="1099146"/>
                  <a:pt x="1570364" y="1123856"/>
                  <a:pt x="1570364" y="1154337"/>
                </a:cubicBezTo>
                <a:cubicBezTo>
                  <a:pt x="1570364" y="1184818"/>
                  <a:pt x="1545657" y="1209528"/>
                  <a:pt x="1515179" y="1209528"/>
                </a:cubicBezTo>
                <a:cubicBezTo>
                  <a:pt x="1484695" y="1209528"/>
                  <a:pt x="1459982" y="1184818"/>
                  <a:pt x="1459982" y="1154337"/>
                </a:cubicBezTo>
                <a:cubicBezTo>
                  <a:pt x="1459982" y="1123856"/>
                  <a:pt x="1484695" y="1099146"/>
                  <a:pt x="1515179" y="1099146"/>
                </a:cubicBezTo>
                <a:close/>
                <a:moveTo>
                  <a:pt x="1381539" y="1099146"/>
                </a:moveTo>
                <a:cubicBezTo>
                  <a:pt x="1412022" y="1099146"/>
                  <a:pt x="1436731" y="1123856"/>
                  <a:pt x="1436731" y="1154337"/>
                </a:cubicBezTo>
                <a:cubicBezTo>
                  <a:pt x="1436731" y="1184818"/>
                  <a:pt x="1412022" y="1209528"/>
                  <a:pt x="1381539" y="1209528"/>
                </a:cubicBezTo>
                <a:cubicBezTo>
                  <a:pt x="1351062" y="1209528"/>
                  <a:pt x="1326349" y="1184818"/>
                  <a:pt x="1326349" y="1154337"/>
                </a:cubicBezTo>
                <a:cubicBezTo>
                  <a:pt x="1326349" y="1123856"/>
                  <a:pt x="1351062" y="1099146"/>
                  <a:pt x="1381539" y="1099146"/>
                </a:cubicBezTo>
                <a:close/>
                <a:moveTo>
                  <a:pt x="1251245" y="1099146"/>
                </a:moveTo>
                <a:cubicBezTo>
                  <a:pt x="1281728" y="1099146"/>
                  <a:pt x="1306439" y="1123856"/>
                  <a:pt x="1306439" y="1154337"/>
                </a:cubicBezTo>
                <a:cubicBezTo>
                  <a:pt x="1306439" y="1184818"/>
                  <a:pt x="1281728" y="1209528"/>
                  <a:pt x="1251245" y="1209528"/>
                </a:cubicBezTo>
                <a:cubicBezTo>
                  <a:pt x="1220763" y="1209528"/>
                  <a:pt x="1196054" y="1184818"/>
                  <a:pt x="1196054" y="1154337"/>
                </a:cubicBezTo>
                <a:cubicBezTo>
                  <a:pt x="1196054" y="1123856"/>
                  <a:pt x="1220763" y="1099146"/>
                  <a:pt x="1251245" y="1099146"/>
                </a:cubicBezTo>
                <a:close/>
                <a:moveTo>
                  <a:pt x="1117610" y="1099146"/>
                </a:moveTo>
                <a:cubicBezTo>
                  <a:pt x="1148093" y="1099146"/>
                  <a:pt x="1172803" y="1123856"/>
                  <a:pt x="1172803" y="1154337"/>
                </a:cubicBezTo>
                <a:cubicBezTo>
                  <a:pt x="1172803" y="1184818"/>
                  <a:pt x="1148093" y="1209528"/>
                  <a:pt x="1117610" y="1209528"/>
                </a:cubicBezTo>
                <a:cubicBezTo>
                  <a:pt x="1087127" y="1209528"/>
                  <a:pt x="1062416" y="1184818"/>
                  <a:pt x="1062416" y="1154337"/>
                </a:cubicBezTo>
                <a:cubicBezTo>
                  <a:pt x="1062416" y="1123856"/>
                  <a:pt x="1087127" y="1099146"/>
                  <a:pt x="1117610" y="1099146"/>
                </a:cubicBezTo>
                <a:close/>
                <a:moveTo>
                  <a:pt x="980631" y="1099146"/>
                </a:moveTo>
                <a:cubicBezTo>
                  <a:pt x="1011115" y="1099146"/>
                  <a:pt x="1035825" y="1123856"/>
                  <a:pt x="1035825" y="1154337"/>
                </a:cubicBezTo>
                <a:cubicBezTo>
                  <a:pt x="1035825" y="1184818"/>
                  <a:pt x="1011115" y="1209528"/>
                  <a:pt x="980631" y="1209528"/>
                </a:cubicBezTo>
                <a:cubicBezTo>
                  <a:pt x="950149" y="1209528"/>
                  <a:pt x="925438" y="1184818"/>
                  <a:pt x="925438" y="1154337"/>
                </a:cubicBezTo>
                <a:cubicBezTo>
                  <a:pt x="925438" y="1123856"/>
                  <a:pt x="950149" y="1099146"/>
                  <a:pt x="980631" y="1099146"/>
                </a:cubicBezTo>
                <a:close/>
                <a:moveTo>
                  <a:pt x="846993" y="1099146"/>
                </a:moveTo>
                <a:cubicBezTo>
                  <a:pt x="877476" y="1099146"/>
                  <a:pt x="902186" y="1123856"/>
                  <a:pt x="902186" y="1154337"/>
                </a:cubicBezTo>
                <a:cubicBezTo>
                  <a:pt x="902186" y="1184818"/>
                  <a:pt x="877476" y="1209528"/>
                  <a:pt x="846993" y="1209528"/>
                </a:cubicBezTo>
                <a:cubicBezTo>
                  <a:pt x="816511" y="1209528"/>
                  <a:pt x="791796" y="1184818"/>
                  <a:pt x="791796" y="1154337"/>
                </a:cubicBezTo>
                <a:cubicBezTo>
                  <a:pt x="791796" y="1123856"/>
                  <a:pt x="816511" y="1099146"/>
                  <a:pt x="846993" y="1099146"/>
                </a:cubicBezTo>
                <a:close/>
                <a:moveTo>
                  <a:pt x="716690" y="1099146"/>
                </a:moveTo>
                <a:cubicBezTo>
                  <a:pt x="747176" y="1099146"/>
                  <a:pt x="771886" y="1123856"/>
                  <a:pt x="771886" y="1154337"/>
                </a:cubicBezTo>
                <a:cubicBezTo>
                  <a:pt x="771886" y="1184818"/>
                  <a:pt x="747176" y="1209528"/>
                  <a:pt x="716690" y="1209528"/>
                </a:cubicBezTo>
                <a:cubicBezTo>
                  <a:pt x="686211" y="1209528"/>
                  <a:pt x="661502" y="1184818"/>
                  <a:pt x="661502" y="1154337"/>
                </a:cubicBezTo>
                <a:cubicBezTo>
                  <a:pt x="661502" y="1123856"/>
                  <a:pt x="686211" y="1099146"/>
                  <a:pt x="716690" y="1099146"/>
                </a:cubicBezTo>
                <a:close/>
                <a:moveTo>
                  <a:pt x="583057" y="1099146"/>
                </a:moveTo>
                <a:cubicBezTo>
                  <a:pt x="613540" y="1099146"/>
                  <a:pt x="638250" y="1123856"/>
                  <a:pt x="638250" y="1154337"/>
                </a:cubicBezTo>
                <a:cubicBezTo>
                  <a:pt x="638250" y="1184818"/>
                  <a:pt x="613540" y="1209528"/>
                  <a:pt x="583057" y="1209528"/>
                </a:cubicBezTo>
                <a:cubicBezTo>
                  <a:pt x="552573" y="1209528"/>
                  <a:pt x="527863" y="1184818"/>
                  <a:pt x="527863" y="1154337"/>
                </a:cubicBezTo>
                <a:cubicBezTo>
                  <a:pt x="527863" y="1123856"/>
                  <a:pt x="552573" y="1099146"/>
                  <a:pt x="583057" y="1099146"/>
                </a:cubicBezTo>
                <a:close/>
                <a:moveTo>
                  <a:pt x="449413" y="1099146"/>
                </a:moveTo>
                <a:cubicBezTo>
                  <a:pt x="479896" y="1099146"/>
                  <a:pt x="504606" y="1123856"/>
                  <a:pt x="504606" y="1154337"/>
                </a:cubicBezTo>
                <a:cubicBezTo>
                  <a:pt x="504606" y="1184818"/>
                  <a:pt x="479896" y="1209528"/>
                  <a:pt x="449413" y="1209528"/>
                </a:cubicBezTo>
                <a:cubicBezTo>
                  <a:pt x="418931" y="1209528"/>
                  <a:pt x="394220" y="1184818"/>
                  <a:pt x="394220" y="1154337"/>
                </a:cubicBezTo>
                <a:cubicBezTo>
                  <a:pt x="394220" y="1123856"/>
                  <a:pt x="418931" y="1099146"/>
                  <a:pt x="449413" y="1099146"/>
                </a:cubicBezTo>
                <a:close/>
                <a:moveTo>
                  <a:pt x="9603343" y="975533"/>
                </a:moveTo>
                <a:cubicBezTo>
                  <a:pt x="9633825" y="975533"/>
                  <a:pt x="9658535" y="1000243"/>
                  <a:pt x="9658535" y="1030724"/>
                </a:cubicBezTo>
                <a:cubicBezTo>
                  <a:pt x="9658535" y="1061205"/>
                  <a:pt x="9633825" y="1085915"/>
                  <a:pt x="9603343" y="1085915"/>
                </a:cubicBezTo>
                <a:cubicBezTo>
                  <a:pt x="9572861" y="1085915"/>
                  <a:pt x="9548151" y="1061205"/>
                  <a:pt x="9548151" y="1030724"/>
                </a:cubicBezTo>
                <a:cubicBezTo>
                  <a:pt x="9548151" y="1000243"/>
                  <a:pt x="9572861" y="975533"/>
                  <a:pt x="9603343" y="975533"/>
                </a:cubicBezTo>
                <a:close/>
                <a:moveTo>
                  <a:pt x="9469708" y="975533"/>
                </a:moveTo>
                <a:cubicBezTo>
                  <a:pt x="9500190" y="975533"/>
                  <a:pt x="9524900" y="1000243"/>
                  <a:pt x="9524900" y="1030724"/>
                </a:cubicBezTo>
                <a:cubicBezTo>
                  <a:pt x="9524900" y="1061205"/>
                  <a:pt x="9500190" y="1085915"/>
                  <a:pt x="9469708" y="1085915"/>
                </a:cubicBezTo>
                <a:cubicBezTo>
                  <a:pt x="9439226" y="1085915"/>
                  <a:pt x="9414516" y="1061205"/>
                  <a:pt x="9414516" y="1030724"/>
                </a:cubicBezTo>
                <a:cubicBezTo>
                  <a:pt x="9414516" y="1000243"/>
                  <a:pt x="9439226" y="975533"/>
                  <a:pt x="9469708" y="975533"/>
                </a:cubicBezTo>
                <a:close/>
                <a:moveTo>
                  <a:pt x="8935170" y="975533"/>
                </a:moveTo>
                <a:cubicBezTo>
                  <a:pt x="8965652" y="975533"/>
                  <a:pt x="8990362" y="1000243"/>
                  <a:pt x="8990362" y="1030724"/>
                </a:cubicBezTo>
                <a:cubicBezTo>
                  <a:pt x="8990362" y="1061205"/>
                  <a:pt x="8965652" y="1085915"/>
                  <a:pt x="8935170" y="1085915"/>
                </a:cubicBezTo>
                <a:cubicBezTo>
                  <a:pt x="8904688" y="1085915"/>
                  <a:pt x="8879978" y="1061205"/>
                  <a:pt x="8879978" y="1030724"/>
                </a:cubicBezTo>
                <a:cubicBezTo>
                  <a:pt x="8879978" y="1000243"/>
                  <a:pt x="8904688" y="975533"/>
                  <a:pt x="8935170" y="975533"/>
                </a:cubicBezTo>
                <a:close/>
                <a:moveTo>
                  <a:pt x="8407315" y="975533"/>
                </a:moveTo>
                <a:cubicBezTo>
                  <a:pt x="8437797" y="975533"/>
                  <a:pt x="8462507" y="1000243"/>
                  <a:pt x="8462507" y="1030724"/>
                </a:cubicBezTo>
                <a:cubicBezTo>
                  <a:pt x="8462507" y="1061205"/>
                  <a:pt x="8437797" y="1085915"/>
                  <a:pt x="8407315" y="1085915"/>
                </a:cubicBezTo>
                <a:cubicBezTo>
                  <a:pt x="8376833" y="1085915"/>
                  <a:pt x="8352123" y="1061205"/>
                  <a:pt x="8352123" y="1030724"/>
                </a:cubicBezTo>
                <a:cubicBezTo>
                  <a:pt x="8352123" y="1000243"/>
                  <a:pt x="8376833" y="975533"/>
                  <a:pt x="8407315" y="975533"/>
                </a:cubicBezTo>
                <a:close/>
                <a:moveTo>
                  <a:pt x="7876116" y="975533"/>
                </a:moveTo>
                <a:cubicBezTo>
                  <a:pt x="7906598" y="975533"/>
                  <a:pt x="7931308" y="1000243"/>
                  <a:pt x="7931308" y="1030724"/>
                </a:cubicBezTo>
                <a:cubicBezTo>
                  <a:pt x="7931308" y="1061205"/>
                  <a:pt x="7906598" y="1085915"/>
                  <a:pt x="7876116" y="1085915"/>
                </a:cubicBezTo>
                <a:cubicBezTo>
                  <a:pt x="7845634" y="1085915"/>
                  <a:pt x="7820924" y="1061205"/>
                  <a:pt x="7820924" y="1030724"/>
                </a:cubicBezTo>
                <a:cubicBezTo>
                  <a:pt x="7820924" y="1000243"/>
                  <a:pt x="7845634" y="975533"/>
                  <a:pt x="7876116" y="975533"/>
                </a:cubicBezTo>
                <a:close/>
                <a:moveTo>
                  <a:pt x="7745822" y="975533"/>
                </a:moveTo>
                <a:cubicBezTo>
                  <a:pt x="7776304" y="975533"/>
                  <a:pt x="7801014" y="1000243"/>
                  <a:pt x="7801014" y="1030724"/>
                </a:cubicBezTo>
                <a:cubicBezTo>
                  <a:pt x="7801014" y="1061205"/>
                  <a:pt x="7776304" y="1085915"/>
                  <a:pt x="7745822" y="1085915"/>
                </a:cubicBezTo>
                <a:cubicBezTo>
                  <a:pt x="7715340" y="1085915"/>
                  <a:pt x="7690630" y="1061205"/>
                  <a:pt x="7690630" y="1030724"/>
                </a:cubicBezTo>
                <a:cubicBezTo>
                  <a:pt x="7690630" y="1000243"/>
                  <a:pt x="7715340" y="975533"/>
                  <a:pt x="7745822" y="975533"/>
                </a:cubicBezTo>
                <a:close/>
                <a:moveTo>
                  <a:pt x="7481894" y="975533"/>
                </a:moveTo>
                <a:cubicBezTo>
                  <a:pt x="7512376" y="975533"/>
                  <a:pt x="7537086" y="1000243"/>
                  <a:pt x="7537086" y="1030724"/>
                </a:cubicBezTo>
                <a:cubicBezTo>
                  <a:pt x="7537086" y="1061205"/>
                  <a:pt x="7512376" y="1085915"/>
                  <a:pt x="7481894" y="1085915"/>
                </a:cubicBezTo>
                <a:cubicBezTo>
                  <a:pt x="7451412" y="1085915"/>
                  <a:pt x="7426702" y="1061205"/>
                  <a:pt x="7426702" y="1030724"/>
                </a:cubicBezTo>
                <a:cubicBezTo>
                  <a:pt x="7426702" y="1000243"/>
                  <a:pt x="7451412" y="975533"/>
                  <a:pt x="7481894" y="975533"/>
                </a:cubicBezTo>
                <a:close/>
                <a:moveTo>
                  <a:pt x="7341578" y="975533"/>
                </a:moveTo>
                <a:cubicBezTo>
                  <a:pt x="7372060" y="975533"/>
                  <a:pt x="7396770" y="1000243"/>
                  <a:pt x="7396770" y="1030724"/>
                </a:cubicBezTo>
                <a:cubicBezTo>
                  <a:pt x="7396770" y="1061205"/>
                  <a:pt x="7372060" y="1085915"/>
                  <a:pt x="7341578" y="1085915"/>
                </a:cubicBezTo>
                <a:cubicBezTo>
                  <a:pt x="7311096" y="1085915"/>
                  <a:pt x="7286386" y="1061205"/>
                  <a:pt x="7286386" y="1030724"/>
                </a:cubicBezTo>
                <a:cubicBezTo>
                  <a:pt x="7286386" y="1000243"/>
                  <a:pt x="7311096" y="975533"/>
                  <a:pt x="7341578" y="975533"/>
                </a:cubicBezTo>
                <a:close/>
                <a:moveTo>
                  <a:pt x="7211285" y="975533"/>
                </a:moveTo>
                <a:cubicBezTo>
                  <a:pt x="7241767" y="975533"/>
                  <a:pt x="7266477" y="1000243"/>
                  <a:pt x="7266477" y="1030724"/>
                </a:cubicBezTo>
                <a:cubicBezTo>
                  <a:pt x="7266477" y="1061205"/>
                  <a:pt x="7241767" y="1085915"/>
                  <a:pt x="7211285" y="1085915"/>
                </a:cubicBezTo>
                <a:cubicBezTo>
                  <a:pt x="7180803" y="1085915"/>
                  <a:pt x="7156093" y="1061205"/>
                  <a:pt x="7156093" y="1030724"/>
                </a:cubicBezTo>
                <a:cubicBezTo>
                  <a:pt x="7156093" y="1000243"/>
                  <a:pt x="7180803" y="975533"/>
                  <a:pt x="7211285" y="975533"/>
                </a:cubicBezTo>
                <a:close/>
                <a:moveTo>
                  <a:pt x="6947356" y="975533"/>
                </a:moveTo>
                <a:cubicBezTo>
                  <a:pt x="6977838" y="975533"/>
                  <a:pt x="7002548" y="1000243"/>
                  <a:pt x="7002548" y="1030724"/>
                </a:cubicBezTo>
                <a:cubicBezTo>
                  <a:pt x="7002548" y="1061205"/>
                  <a:pt x="6977838" y="1085915"/>
                  <a:pt x="6947356" y="1085915"/>
                </a:cubicBezTo>
                <a:cubicBezTo>
                  <a:pt x="6916874" y="1085915"/>
                  <a:pt x="6892164" y="1061205"/>
                  <a:pt x="6892164" y="1030724"/>
                </a:cubicBezTo>
                <a:cubicBezTo>
                  <a:pt x="6892164" y="1000243"/>
                  <a:pt x="6916874" y="975533"/>
                  <a:pt x="6947356" y="975533"/>
                </a:cubicBezTo>
                <a:close/>
                <a:moveTo>
                  <a:pt x="6817063" y="975533"/>
                </a:moveTo>
                <a:cubicBezTo>
                  <a:pt x="6847545" y="975533"/>
                  <a:pt x="6872255" y="1000243"/>
                  <a:pt x="6872255" y="1030724"/>
                </a:cubicBezTo>
                <a:cubicBezTo>
                  <a:pt x="6872255" y="1061205"/>
                  <a:pt x="6847545" y="1085915"/>
                  <a:pt x="6817063" y="1085915"/>
                </a:cubicBezTo>
                <a:cubicBezTo>
                  <a:pt x="6786581" y="1085915"/>
                  <a:pt x="6761871" y="1061205"/>
                  <a:pt x="6761871" y="1030724"/>
                </a:cubicBezTo>
                <a:cubicBezTo>
                  <a:pt x="6761871" y="1000243"/>
                  <a:pt x="6786581" y="975533"/>
                  <a:pt x="6817063" y="975533"/>
                </a:cubicBezTo>
                <a:close/>
                <a:moveTo>
                  <a:pt x="6683430" y="975533"/>
                </a:moveTo>
                <a:cubicBezTo>
                  <a:pt x="6713912" y="975533"/>
                  <a:pt x="6738622" y="1000243"/>
                  <a:pt x="6738622" y="1030724"/>
                </a:cubicBezTo>
                <a:cubicBezTo>
                  <a:pt x="6738622" y="1061205"/>
                  <a:pt x="6713912" y="1085915"/>
                  <a:pt x="6683430" y="1085915"/>
                </a:cubicBezTo>
                <a:cubicBezTo>
                  <a:pt x="6652948" y="1085915"/>
                  <a:pt x="6628238" y="1061205"/>
                  <a:pt x="6628238" y="1030724"/>
                </a:cubicBezTo>
                <a:cubicBezTo>
                  <a:pt x="6628238" y="1000243"/>
                  <a:pt x="6652948" y="975533"/>
                  <a:pt x="6683430" y="975533"/>
                </a:cubicBezTo>
                <a:close/>
                <a:moveTo>
                  <a:pt x="6289206" y="975533"/>
                </a:moveTo>
                <a:cubicBezTo>
                  <a:pt x="6319688" y="975533"/>
                  <a:pt x="6344398" y="1000243"/>
                  <a:pt x="6344398" y="1030724"/>
                </a:cubicBezTo>
                <a:cubicBezTo>
                  <a:pt x="6344398" y="1061205"/>
                  <a:pt x="6319688" y="1085915"/>
                  <a:pt x="6289206" y="1085915"/>
                </a:cubicBezTo>
                <a:cubicBezTo>
                  <a:pt x="6258724" y="1085915"/>
                  <a:pt x="6234014" y="1061205"/>
                  <a:pt x="6234014" y="1030724"/>
                </a:cubicBezTo>
                <a:cubicBezTo>
                  <a:pt x="6234014" y="1000243"/>
                  <a:pt x="6258724" y="975533"/>
                  <a:pt x="6289206" y="975533"/>
                </a:cubicBezTo>
                <a:close/>
                <a:moveTo>
                  <a:pt x="5754667" y="975533"/>
                </a:moveTo>
                <a:cubicBezTo>
                  <a:pt x="5785149" y="975533"/>
                  <a:pt x="5809859" y="1000243"/>
                  <a:pt x="5809859" y="1030724"/>
                </a:cubicBezTo>
                <a:cubicBezTo>
                  <a:pt x="5809859" y="1061205"/>
                  <a:pt x="5785149" y="1085915"/>
                  <a:pt x="5754667" y="1085915"/>
                </a:cubicBezTo>
                <a:cubicBezTo>
                  <a:pt x="5724185" y="1085915"/>
                  <a:pt x="5699475" y="1061205"/>
                  <a:pt x="5699475" y="1030724"/>
                </a:cubicBezTo>
                <a:cubicBezTo>
                  <a:pt x="5699475" y="1000243"/>
                  <a:pt x="5724185" y="975533"/>
                  <a:pt x="5754667" y="975533"/>
                </a:cubicBezTo>
                <a:close/>
                <a:moveTo>
                  <a:pt x="5487398" y="975533"/>
                </a:moveTo>
                <a:cubicBezTo>
                  <a:pt x="5517880" y="975533"/>
                  <a:pt x="5542590" y="1000243"/>
                  <a:pt x="5542590" y="1030724"/>
                </a:cubicBezTo>
                <a:cubicBezTo>
                  <a:pt x="5542590" y="1061205"/>
                  <a:pt x="5517880" y="1085915"/>
                  <a:pt x="5487398" y="1085915"/>
                </a:cubicBezTo>
                <a:cubicBezTo>
                  <a:pt x="5456916" y="1085915"/>
                  <a:pt x="5432206" y="1061205"/>
                  <a:pt x="5432206" y="1030724"/>
                </a:cubicBezTo>
                <a:cubicBezTo>
                  <a:pt x="5432206" y="1000243"/>
                  <a:pt x="5456916" y="975533"/>
                  <a:pt x="5487398" y="975533"/>
                </a:cubicBezTo>
                <a:close/>
                <a:moveTo>
                  <a:pt x="5357105" y="975533"/>
                </a:moveTo>
                <a:cubicBezTo>
                  <a:pt x="5387587" y="975533"/>
                  <a:pt x="5412297" y="1000243"/>
                  <a:pt x="5412297" y="1030724"/>
                </a:cubicBezTo>
                <a:cubicBezTo>
                  <a:pt x="5412297" y="1061205"/>
                  <a:pt x="5387587" y="1085915"/>
                  <a:pt x="5357105" y="1085915"/>
                </a:cubicBezTo>
                <a:cubicBezTo>
                  <a:pt x="5326623" y="1085915"/>
                  <a:pt x="5301913" y="1061205"/>
                  <a:pt x="5301913" y="1030724"/>
                </a:cubicBezTo>
                <a:cubicBezTo>
                  <a:pt x="5301913" y="1000243"/>
                  <a:pt x="5326623" y="975533"/>
                  <a:pt x="5357105" y="975533"/>
                </a:cubicBezTo>
                <a:close/>
                <a:moveTo>
                  <a:pt x="5093176" y="975533"/>
                </a:moveTo>
                <a:cubicBezTo>
                  <a:pt x="5123658" y="975533"/>
                  <a:pt x="5148368" y="1000243"/>
                  <a:pt x="5148368" y="1030724"/>
                </a:cubicBezTo>
                <a:cubicBezTo>
                  <a:pt x="5148368" y="1061205"/>
                  <a:pt x="5123658" y="1085915"/>
                  <a:pt x="5093176" y="1085915"/>
                </a:cubicBezTo>
                <a:cubicBezTo>
                  <a:pt x="5062694" y="1085915"/>
                  <a:pt x="5037984" y="1061205"/>
                  <a:pt x="5037984" y="1030724"/>
                </a:cubicBezTo>
                <a:cubicBezTo>
                  <a:pt x="5037984" y="1000243"/>
                  <a:pt x="5062694" y="975533"/>
                  <a:pt x="5093176" y="975533"/>
                </a:cubicBezTo>
                <a:close/>
                <a:moveTo>
                  <a:pt x="4959540" y="975533"/>
                </a:moveTo>
                <a:cubicBezTo>
                  <a:pt x="4990022" y="975533"/>
                  <a:pt x="5014732" y="1000243"/>
                  <a:pt x="5014732" y="1030724"/>
                </a:cubicBezTo>
                <a:cubicBezTo>
                  <a:pt x="5014732" y="1061205"/>
                  <a:pt x="4990022" y="1085915"/>
                  <a:pt x="4959540" y="1085915"/>
                </a:cubicBezTo>
                <a:cubicBezTo>
                  <a:pt x="4929058" y="1085915"/>
                  <a:pt x="4904348" y="1061205"/>
                  <a:pt x="4904348" y="1030724"/>
                </a:cubicBezTo>
                <a:cubicBezTo>
                  <a:pt x="4904348" y="1000243"/>
                  <a:pt x="4929058" y="975533"/>
                  <a:pt x="4959540" y="975533"/>
                </a:cubicBezTo>
                <a:close/>
                <a:moveTo>
                  <a:pt x="4161075" y="975533"/>
                </a:moveTo>
                <a:cubicBezTo>
                  <a:pt x="4191557" y="975533"/>
                  <a:pt x="4216267" y="1000243"/>
                  <a:pt x="4216267" y="1030724"/>
                </a:cubicBezTo>
                <a:cubicBezTo>
                  <a:pt x="4216267" y="1061205"/>
                  <a:pt x="4191557" y="1085915"/>
                  <a:pt x="4161075" y="1085915"/>
                </a:cubicBezTo>
                <a:cubicBezTo>
                  <a:pt x="4130593" y="1085915"/>
                  <a:pt x="4105883" y="1061205"/>
                  <a:pt x="4105883" y="1030724"/>
                </a:cubicBezTo>
                <a:cubicBezTo>
                  <a:pt x="4105883" y="1000243"/>
                  <a:pt x="4130593" y="975533"/>
                  <a:pt x="4161075" y="975533"/>
                </a:cubicBezTo>
                <a:close/>
                <a:moveTo>
                  <a:pt x="4030782" y="975533"/>
                </a:moveTo>
                <a:cubicBezTo>
                  <a:pt x="4061264" y="975533"/>
                  <a:pt x="4085974" y="1000243"/>
                  <a:pt x="4085974" y="1030724"/>
                </a:cubicBezTo>
                <a:cubicBezTo>
                  <a:pt x="4085974" y="1061205"/>
                  <a:pt x="4061264" y="1085915"/>
                  <a:pt x="4030782" y="1085915"/>
                </a:cubicBezTo>
                <a:cubicBezTo>
                  <a:pt x="4000300" y="1085915"/>
                  <a:pt x="3975590" y="1061205"/>
                  <a:pt x="3975590" y="1030724"/>
                </a:cubicBezTo>
                <a:cubicBezTo>
                  <a:pt x="3975590" y="1000243"/>
                  <a:pt x="4000300" y="975533"/>
                  <a:pt x="4030782" y="975533"/>
                </a:cubicBezTo>
                <a:close/>
                <a:moveTo>
                  <a:pt x="3369290" y="975533"/>
                </a:moveTo>
                <a:cubicBezTo>
                  <a:pt x="3399772" y="975533"/>
                  <a:pt x="3424482" y="1000243"/>
                  <a:pt x="3424482" y="1030724"/>
                </a:cubicBezTo>
                <a:cubicBezTo>
                  <a:pt x="3424482" y="1061205"/>
                  <a:pt x="3399772" y="1085915"/>
                  <a:pt x="3369290" y="1085915"/>
                </a:cubicBezTo>
                <a:cubicBezTo>
                  <a:pt x="3338808" y="1085915"/>
                  <a:pt x="3314098" y="1061205"/>
                  <a:pt x="3314098" y="1030724"/>
                </a:cubicBezTo>
                <a:cubicBezTo>
                  <a:pt x="3314098" y="1000243"/>
                  <a:pt x="3338808" y="975533"/>
                  <a:pt x="3369290" y="975533"/>
                </a:cubicBezTo>
                <a:close/>
                <a:moveTo>
                  <a:pt x="2707880" y="975533"/>
                </a:moveTo>
                <a:cubicBezTo>
                  <a:pt x="2738363" y="975533"/>
                  <a:pt x="2763074" y="1000243"/>
                  <a:pt x="2763074" y="1030724"/>
                </a:cubicBezTo>
                <a:cubicBezTo>
                  <a:pt x="2763074" y="1061205"/>
                  <a:pt x="2738363" y="1085915"/>
                  <a:pt x="2707880" y="1085915"/>
                </a:cubicBezTo>
                <a:cubicBezTo>
                  <a:pt x="2677401" y="1085915"/>
                  <a:pt x="2652689" y="1061205"/>
                  <a:pt x="2652689" y="1030724"/>
                </a:cubicBezTo>
                <a:cubicBezTo>
                  <a:pt x="2652689" y="1000243"/>
                  <a:pt x="2677401" y="975533"/>
                  <a:pt x="2707880" y="975533"/>
                </a:cubicBezTo>
                <a:close/>
                <a:moveTo>
                  <a:pt x="2173347" y="975533"/>
                </a:moveTo>
                <a:cubicBezTo>
                  <a:pt x="2203830" y="975533"/>
                  <a:pt x="2228540" y="1000243"/>
                  <a:pt x="2228540" y="1030724"/>
                </a:cubicBezTo>
                <a:cubicBezTo>
                  <a:pt x="2228540" y="1061205"/>
                  <a:pt x="2203830" y="1085915"/>
                  <a:pt x="2173347" y="1085915"/>
                </a:cubicBezTo>
                <a:cubicBezTo>
                  <a:pt x="2142865" y="1085915"/>
                  <a:pt x="2118154" y="1061205"/>
                  <a:pt x="2118154" y="1030724"/>
                </a:cubicBezTo>
                <a:cubicBezTo>
                  <a:pt x="2118154" y="1000243"/>
                  <a:pt x="2142865" y="975533"/>
                  <a:pt x="2173347" y="975533"/>
                </a:cubicBezTo>
                <a:close/>
                <a:moveTo>
                  <a:pt x="1251258" y="975533"/>
                </a:moveTo>
                <a:cubicBezTo>
                  <a:pt x="1281740" y="975533"/>
                  <a:pt x="1306450" y="1000243"/>
                  <a:pt x="1306450" y="1030724"/>
                </a:cubicBezTo>
                <a:cubicBezTo>
                  <a:pt x="1306450" y="1061205"/>
                  <a:pt x="1281740" y="1085915"/>
                  <a:pt x="1251258" y="1085915"/>
                </a:cubicBezTo>
                <a:cubicBezTo>
                  <a:pt x="1220775" y="1085915"/>
                  <a:pt x="1196066" y="1061205"/>
                  <a:pt x="1196066" y="1030724"/>
                </a:cubicBezTo>
                <a:cubicBezTo>
                  <a:pt x="1196066" y="1000243"/>
                  <a:pt x="1220775" y="975533"/>
                  <a:pt x="1251258" y="975533"/>
                </a:cubicBezTo>
                <a:close/>
                <a:moveTo>
                  <a:pt x="847001" y="975533"/>
                </a:moveTo>
                <a:cubicBezTo>
                  <a:pt x="877484" y="975533"/>
                  <a:pt x="902196" y="1000243"/>
                  <a:pt x="902196" y="1030724"/>
                </a:cubicBezTo>
                <a:cubicBezTo>
                  <a:pt x="902196" y="1061205"/>
                  <a:pt x="877484" y="1085915"/>
                  <a:pt x="847001" y="1085915"/>
                </a:cubicBezTo>
                <a:cubicBezTo>
                  <a:pt x="816519" y="1085915"/>
                  <a:pt x="791804" y="1061205"/>
                  <a:pt x="791804" y="1030724"/>
                </a:cubicBezTo>
                <a:cubicBezTo>
                  <a:pt x="791804" y="1000243"/>
                  <a:pt x="816519" y="975533"/>
                  <a:pt x="847001" y="975533"/>
                </a:cubicBezTo>
                <a:close/>
                <a:moveTo>
                  <a:pt x="9336074" y="975532"/>
                </a:moveTo>
                <a:cubicBezTo>
                  <a:pt x="9366556" y="975532"/>
                  <a:pt x="9391266" y="1000242"/>
                  <a:pt x="9391266" y="1030723"/>
                </a:cubicBezTo>
                <a:cubicBezTo>
                  <a:pt x="9391266" y="1061204"/>
                  <a:pt x="9366556" y="1085914"/>
                  <a:pt x="9336074" y="1085914"/>
                </a:cubicBezTo>
                <a:cubicBezTo>
                  <a:pt x="9305592" y="1085914"/>
                  <a:pt x="9280882" y="1061204"/>
                  <a:pt x="9280882" y="1030723"/>
                </a:cubicBezTo>
                <a:cubicBezTo>
                  <a:pt x="9280882" y="1000242"/>
                  <a:pt x="9305592" y="975532"/>
                  <a:pt x="9336074" y="975532"/>
                </a:cubicBezTo>
                <a:close/>
                <a:moveTo>
                  <a:pt x="9199098" y="975532"/>
                </a:moveTo>
                <a:cubicBezTo>
                  <a:pt x="9229580" y="975532"/>
                  <a:pt x="9254290" y="1000242"/>
                  <a:pt x="9254290" y="1030723"/>
                </a:cubicBezTo>
                <a:cubicBezTo>
                  <a:pt x="9254290" y="1061204"/>
                  <a:pt x="9229580" y="1085914"/>
                  <a:pt x="9199098" y="1085914"/>
                </a:cubicBezTo>
                <a:cubicBezTo>
                  <a:pt x="9168616" y="1085914"/>
                  <a:pt x="9143906" y="1061204"/>
                  <a:pt x="9143906" y="1030723"/>
                </a:cubicBezTo>
                <a:cubicBezTo>
                  <a:pt x="9143906" y="1000242"/>
                  <a:pt x="9168616" y="975532"/>
                  <a:pt x="9199098" y="975532"/>
                </a:cubicBezTo>
                <a:close/>
                <a:moveTo>
                  <a:pt x="9068805" y="975532"/>
                </a:moveTo>
                <a:cubicBezTo>
                  <a:pt x="9099287" y="975532"/>
                  <a:pt x="9123997" y="1000242"/>
                  <a:pt x="9123997" y="1030723"/>
                </a:cubicBezTo>
                <a:cubicBezTo>
                  <a:pt x="9123997" y="1061204"/>
                  <a:pt x="9099287" y="1085914"/>
                  <a:pt x="9068805" y="1085914"/>
                </a:cubicBezTo>
                <a:cubicBezTo>
                  <a:pt x="9038323" y="1085914"/>
                  <a:pt x="9013613" y="1061204"/>
                  <a:pt x="9013613" y="1030723"/>
                </a:cubicBezTo>
                <a:cubicBezTo>
                  <a:pt x="9013613" y="1000242"/>
                  <a:pt x="9038323" y="975532"/>
                  <a:pt x="9068805" y="975532"/>
                </a:cubicBezTo>
                <a:close/>
                <a:moveTo>
                  <a:pt x="8801536" y="975532"/>
                </a:moveTo>
                <a:cubicBezTo>
                  <a:pt x="8832018" y="975532"/>
                  <a:pt x="8856728" y="1000242"/>
                  <a:pt x="8856728" y="1030723"/>
                </a:cubicBezTo>
                <a:cubicBezTo>
                  <a:pt x="8856728" y="1061204"/>
                  <a:pt x="8832018" y="1085914"/>
                  <a:pt x="8801536" y="1085914"/>
                </a:cubicBezTo>
                <a:cubicBezTo>
                  <a:pt x="8771054" y="1085914"/>
                  <a:pt x="8746344" y="1061204"/>
                  <a:pt x="8746344" y="1030723"/>
                </a:cubicBezTo>
                <a:cubicBezTo>
                  <a:pt x="8746344" y="1000242"/>
                  <a:pt x="8771054" y="975532"/>
                  <a:pt x="8801536" y="975532"/>
                </a:cubicBezTo>
                <a:close/>
                <a:moveTo>
                  <a:pt x="8671243" y="975532"/>
                </a:moveTo>
                <a:cubicBezTo>
                  <a:pt x="8701725" y="975532"/>
                  <a:pt x="8726435" y="1000242"/>
                  <a:pt x="8726435" y="1030723"/>
                </a:cubicBezTo>
                <a:cubicBezTo>
                  <a:pt x="8726435" y="1061204"/>
                  <a:pt x="8701725" y="1085914"/>
                  <a:pt x="8671243" y="1085914"/>
                </a:cubicBezTo>
                <a:cubicBezTo>
                  <a:pt x="8640761" y="1085914"/>
                  <a:pt x="8616051" y="1061204"/>
                  <a:pt x="8616051" y="1030723"/>
                </a:cubicBezTo>
                <a:cubicBezTo>
                  <a:pt x="8616051" y="1000242"/>
                  <a:pt x="8640761" y="975532"/>
                  <a:pt x="8671243" y="975532"/>
                </a:cubicBezTo>
                <a:close/>
                <a:moveTo>
                  <a:pt x="8537608" y="975532"/>
                </a:moveTo>
                <a:cubicBezTo>
                  <a:pt x="8568090" y="975532"/>
                  <a:pt x="8592800" y="1000242"/>
                  <a:pt x="8592800" y="1030723"/>
                </a:cubicBezTo>
                <a:cubicBezTo>
                  <a:pt x="8592800" y="1061204"/>
                  <a:pt x="8568090" y="1085914"/>
                  <a:pt x="8537608" y="1085914"/>
                </a:cubicBezTo>
                <a:cubicBezTo>
                  <a:pt x="8507126" y="1085914"/>
                  <a:pt x="8482416" y="1061204"/>
                  <a:pt x="8482416" y="1030723"/>
                </a:cubicBezTo>
                <a:cubicBezTo>
                  <a:pt x="8482416" y="1000242"/>
                  <a:pt x="8507126" y="975532"/>
                  <a:pt x="8537608" y="975532"/>
                </a:cubicBezTo>
                <a:close/>
                <a:moveTo>
                  <a:pt x="8273681" y="975532"/>
                </a:moveTo>
                <a:cubicBezTo>
                  <a:pt x="8304163" y="975532"/>
                  <a:pt x="8328873" y="1000242"/>
                  <a:pt x="8328873" y="1030723"/>
                </a:cubicBezTo>
                <a:cubicBezTo>
                  <a:pt x="8328873" y="1061204"/>
                  <a:pt x="8304163" y="1085914"/>
                  <a:pt x="8273681" y="1085914"/>
                </a:cubicBezTo>
                <a:cubicBezTo>
                  <a:pt x="8243199" y="1085914"/>
                  <a:pt x="8218489" y="1061204"/>
                  <a:pt x="8218489" y="1030723"/>
                </a:cubicBezTo>
                <a:cubicBezTo>
                  <a:pt x="8218489" y="1000242"/>
                  <a:pt x="8243199" y="975532"/>
                  <a:pt x="8273681" y="975532"/>
                </a:cubicBezTo>
                <a:close/>
                <a:moveTo>
                  <a:pt x="8143385" y="975532"/>
                </a:moveTo>
                <a:cubicBezTo>
                  <a:pt x="8173867" y="975532"/>
                  <a:pt x="8198577" y="1000242"/>
                  <a:pt x="8198577" y="1030723"/>
                </a:cubicBezTo>
                <a:cubicBezTo>
                  <a:pt x="8198577" y="1061204"/>
                  <a:pt x="8173867" y="1085914"/>
                  <a:pt x="8143385" y="1085914"/>
                </a:cubicBezTo>
                <a:cubicBezTo>
                  <a:pt x="8112903" y="1085914"/>
                  <a:pt x="8088193" y="1061204"/>
                  <a:pt x="8088193" y="1030723"/>
                </a:cubicBezTo>
                <a:cubicBezTo>
                  <a:pt x="8088193" y="1000242"/>
                  <a:pt x="8112903" y="975532"/>
                  <a:pt x="8143385" y="975532"/>
                </a:cubicBezTo>
                <a:close/>
                <a:moveTo>
                  <a:pt x="8009751" y="975532"/>
                </a:moveTo>
                <a:cubicBezTo>
                  <a:pt x="8040233" y="975532"/>
                  <a:pt x="8064943" y="1000242"/>
                  <a:pt x="8064943" y="1030723"/>
                </a:cubicBezTo>
                <a:cubicBezTo>
                  <a:pt x="8064943" y="1061204"/>
                  <a:pt x="8040233" y="1085914"/>
                  <a:pt x="8009751" y="1085914"/>
                </a:cubicBezTo>
                <a:cubicBezTo>
                  <a:pt x="7979269" y="1085914"/>
                  <a:pt x="7954559" y="1061204"/>
                  <a:pt x="7954559" y="1030723"/>
                </a:cubicBezTo>
                <a:cubicBezTo>
                  <a:pt x="7954559" y="1000242"/>
                  <a:pt x="7979269" y="975532"/>
                  <a:pt x="8009751" y="975532"/>
                </a:cubicBezTo>
                <a:close/>
                <a:moveTo>
                  <a:pt x="7608847" y="975532"/>
                </a:moveTo>
                <a:cubicBezTo>
                  <a:pt x="7639329" y="975532"/>
                  <a:pt x="7664039" y="1000242"/>
                  <a:pt x="7664039" y="1030723"/>
                </a:cubicBezTo>
                <a:cubicBezTo>
                  <a:pt x="7664039" y="1061204"/>
                  <a:pt x="7639329" y="1085914"/>
                  <a:pt x="7608847" y="1085914"/>
                </a:cubicBezTo>
                <a:cubicBezTo>
                  <a:pt x="7578365" y="1085914"/>
                  <a:pt x="7553655" y="1061204"/>
                  <a:pt x="7553655" y="1030723"/>
                </a:cubicBezTo>
                <a:cubicBezTo>
                  <a:pt x="7553655" y="1000242"/>
                  <a:pt x="7578365" y="975532"/>
                  <a:pt x="7608847" y="975532"/>
                </a:cubicBezTo>
                <a:close/>
                <a:moveTo>
                  <a:pt x="7080991" y="975532"/>
                </a:moveTo>
                <a:cubicBezTo>
                  <a:pt x="7111473" y="975532"/>
                  <a:pt x="7136183" y="1000242"/>
                  <a:pt x="7136183" y="1030723"/>
                </a:cubicBezTo>
                <a:cubicBezTo>
                  <a:pt x="7136183" y="1061204"/>
                  <a:pt x="7111473" y="1085914"/>
                  <a:pt x="7080991" y="1085914"/>
                </a:cubicBezTo>
                <a:cubicBezTo>
                  <a:pt x="7050509" y="1085914"/>
                  <a:pt x="7025799" y="1061204"/>
                  <a:pt x="7025799" y="1030723"/>
                </a:cubicBezTo>
                <a:cubicBezTo>
                  <a:pt x="7025799" y="1000242"/>
                  <a:pt x="7050509" y="975532"/>
                  <a:pt x="7080991" y="975532"/>
                </a:cubicBezTo>
                <a:close/>
                <a:moveTo>
                  <a:pt x="6553135" y="975532"/>
                </a:moveTo>
                <a:cubicBezTo>
                  <a:pt x="6583617" y="975532"/>
                  <a:pt x="6608327" y="1000242"/>
                  <a:pt x="6608327" y="1030723"/>
                </a:cubicBezTo>
                <a:cubicBezTo>
                  <a:pt x="6608327" y="1061204"/>
                  <a:pt x="6583617" y="1085914"/>
                  <a:pt x="6553135" y="1085914"/>
                </a:cubicBezTo>
                <a:cubicBezTo>
                  <a:pt x="6522653" y="1085914"/>
                  <a:pt x="6497943" y="1061204"/>
                  <a:pt x="6497943" y="1030723"/>
                </a:cubicBezTo>
                <a:cubicBezTo>
                  <a:pt x="6497943" y="1000242"/>
                  <a:pt x="6522653" y="975532"/>
                  <a:pt x="6553135" y="975532"/>
                </a:cubicBezTo>
                <a:close/>
                <a:moveTo>
                  <a:pt x="6419501" y="975532"/>
                </a:moveTo>
                <a:cubicBezTo>
                  <a:pt x="6449983" y="975532"/>
                  <a:pt x="6474693" y="1000242"/>
                  <a:pt x="6474693" y="1030723"/>
                </a:cubicBezTo>
                <a:cubicBezTo>
                  <a:pt x="6474693" y="1061204"/>
                  <a:pt x="6449983" y="1085914"/>
                  <a:pt x="6419501" y="1085914"/>
                </a:cubicBezTo>
                <a:cubicBezTo>
                  <a:pt x="6389019" y="1085914"/>
                  <a:pt x="6364309" y="1061204"/>
                  <a:pt x="6364309" y="1030723"/>
                </a:cubicBezTo>
                <a:cubicBezTo>
                  <a:pt x="6364309" y="1000242"/>
                  <a:pt x="6389019" y="975532"/>
                  <a:pt x="6419501" y="975532"/>
                </a:cubicBezTo>
                <a:close/>
                <a:moveTo>
                  <a:pt x="6155571" y="975532"/>
                </a:moveTo>
                <a:cubicBezTo>
                  <a:pt x="6186053" y="975532"/>
                  <a:pt x="6210763" y="1000242"/>
                  <a:pt x="6210763" y="1030723"/>
                </a:cubicBezTo>
                <a:cubicBezTo>
                  <a:pt x="6210763" y="1061204"/>
                  <a:pt x="6186053" y="1085914"/>
                  <a:pt x="6155571" y="1085914"/>
                </a:cubicBezTo>
                <a:cubicBezTo>
                  <a:pt x="6125089" y="1085914"/>
                  <a:pt x="6100379" y="1061204"/>
                  <a:pt x="6100379" y="1030723"/>
                </a:cubicBezTo>
                <a:cubicBezTo>
                  <a:pt x="6100379" y="1000242"/>
                  <a:pt x="6125089" y="975532"/>
                  <a:pt x="6155571" y="975532"/>
                </a:cubicBezTo>
                <a:close/>
                <a:moveTo>
                  <a:pt x="6021936" y="975532"/>
                </a:moveTo>
                <a:cubicBezTo>
                  <a:pt x="6052418" y="975532"/>
                  <a:pt x="6077128" y="1000242"/>
                  <a:pt x="6077128" y="1030723"/>
                </a:cubicBezTo>
                <a:cubicBezTo>
                  <a:pt x="6077128" y="1061204"/>
                  <a:pt x="6052418" y="1085914"/>
                  <a:pt x="6021936" y="1085914"/>
                </a:cubicBezTo>
                <a:cubicBezTo>
                  <a:pt x="5991454" y="1085914"/>
                  <a:pt x="5966744" y="1061204"/>
                  <a:pt x="5966744" y="1030723"/>
                </a:cubicBezTo>
                <a:cubicBezTo>
                  <a:pt x="5966744" y="1000242"/>
                  <a:pt x="5991454" y="975532"/>
                  <a:pt x="6021936" y="975532"/>
                </a:cubicBezTo>
                <a:close/>
                <a:moveTo>
                  <a:pt x="5884963" y="975532"/>
                </a:moveTo>
                <a:cubicBezTo>
                  <a:pt x="5915445" y="975532"/>
                  <a:pt x="5940155" y="1000242"/>
                  <a:pt x="5940155" y="1030723"/>
                </a:cubicBezTo>
                <a:cubicBezTo>
                  <a:pt x="5940155" y="1061204"/>
                  <a:pt x="5915445" y="1085914"/>
                  <a:pt x="5884963" y="1085914"/>
                </a:cubicBezTo>
                <a:cubicBezTo>
                  <a:pt x="5854481" y="1085914"/>
                  <a:pt x="5829771" y="1061204"/>
                  <a:pt x="5829771" y="1030723"/>
                </a:cubicBezTo>
                <a:cubicBezTo>
                  <a:pt x="5829771" y="1000242"/>
                  <a:pt x="5854481" y="975532"/>
                  <a:pt x="5884963" y="975532"/>
                </a:cubicBezTo>
                <a:close/>
                <a:moveTo>
                  <a:pt x="5621031" y="975532"/>
                </a:moveTo>
                <a:cubicBezTo>
                  <a:pt x="5651513" y="975532"/>
                  <a:pt x="5676223" y="1000242"/>
                  <a:pt x="5676223" y="1030723"/>
                </a:cubicBezTo>
                <a:cubicBezTo>
                  <a:pt x="5676223" y="1061204"/>
                  <a:pt x="5651513" y="1085914"/>
                  <a:pt x="5621031" y="1085914"/>
                </a:cubicBezTo>
                <a:cubicBezTo>
                  <a:pt x="5590549" y="1085914"/>
                  <a:pt x="5565839" y="1061204"/>
                  <a:pt x="5565839" y="1030723"/>
                </a:cubicBezTo>
                <a:cubicBezTo>
                  <a:pt x="5565839" y="1000242"/>
                  <a:pt x="5590549" y="975532"/>
                  <a:pt x="5621031" y="975532"/>
                </a:cubicBezTo>
                <a:close/>
                <a:moveTo>
                  <a:pt x="5223472" y="975532"/>
                </a:moveTo>
                <a:cubicBezTo>
                  <a:pt x="5253954" y="975532"/>
                  <a:pt x="5278664" y="1000242"/>
                  <a:pt x="5278664" y="1030723"/>
                </a:cubicBezTo>
                <a:cubicBezTo>
                  <a:pt x="5278664" y="1061204"/>
                  <a:pt x="5253954" y="1085914"/>
                  <a:pt x="5223472" y="1085914"/>
                </a:cubicBezTo>
                <a:cubicBezTo>
                  <a:pt x="5192990" y="1085914"/>
                  <a:pt x="5168280" y="1061204"/>
                  <a:pt x="5168280" y="1030723"/>
                </a:cubicBezTo>
                <a:cubicBezTo>
                  <a:pt x="5168280" y="1000242"/>
                  <a:pt x="5192990" y="975532"/>
                  <a:pt x="5223472" y="975532"/>
                </a:cubicBezTo>
                <a:close/>
                <a:moveTo>
                  <a:pt x="4294710" y="975532"/>
                </a:moveTo>
                <a:cubicBezTo>
                  <a:pt x="4325192" y="975532"/>
                  <a:pt x="4349902" y="1000242"/>
                  <a:pt x="4349902" y="1030723"/>
                </a:cubicBezTo>
                <a:cubicBezTo>
                  <a:pt x="4349902" y="1061204"/>
                  <a:pt x="4325192" y="1085914"/>
                  <a:pt x="4294710" y="1085914"/>
                </a:cubicBezTo>
                <a:cubicBezTo>
                  <a:pt x="4264228" y="1085914"/>
                  <a:pt x="4239518" y="1061204"/>
                  <a:pt x="4239518" y="1030723"/>
                </a:cubicBezTo>
                <a:cubicBezTo>
                  <a:pt x="4239518" y="1000242"/>
                  <a:pt x="4264228" y="975532"/>
                  <a:pt x="4294710" y="975532"/>
                </a:cubicBezTo>
                <a:close/>
                <a:moveTo>
                  <a:pt x="3499584" y="975532"/>
                </a:moveTo>
                <a:cubicBezTo>
                  <a:pt x="3530066" y="975532"/>
                  <a:pt x="3554776" y="1000242"/>
                  <a:pt x="3554776" y="1030723"/>
                </a:cubicBezTo>
                <a:cubicBezTo>
                  <a:pt x="3554776" y="1061204"/>
                  <a:pt x="3530066" y="1085914"/>
                  <a:pt x="3499584" y="1085914"/>
                </a:cubicBezTo>
                <a:cubicBezTo>
                  <a:pt x="3469102" y="1085914"/>
                  <a:pt x="3444392" y="1061204"/>
                  <a:pt x="3444392" y="1030723"/>
                </a:cubicBezTo>
                <a:cubicBezTo>
                  <a:pt x="3444392" y="1000242"/>
                  <a:pt x="3469102" y="975532"/>
                  <a:pt x="3499584" y="975532"/>
                </a:cubicBezTo>
                <a:close/>
                <a:moveTo>
                  <a:pt x="2834836" y="975532"/>
                </a:moveTo>
                <a:cubicBezTo>
                  <a:pt x="2865318" y="975532"/>
                  <a:pt x="2890028" y="1000242"/>
                  <a:pt x="2890028" y="1030723"/>
                </a:cubicBezTo>
                <a:cubicBezTo>
                  <a:pt x="2890028" y="1061204"/>
                  <a:pt x="2865318" y="1085914"/>
                  <a:pt x="2834836" y="1085914"/>
                </a:cubicBezTo>
                <a:cubicBezTo>
                  <a:pt x="2804354" y="1085914"/>
                  <a:pt x="2779643" y="1061204"/>
                  <a:pt x="2779643" y="1030723"/>
                </a:cubicBezTo>
                <a:cubicBezTo>
                  <a:pt x="2779643" y="1000242"/>
                  <a:pt x="2804354" y="975532"/>
                  <a:pt x="2834836" y="975532"/>
                </a:cubicBezTo>
                <a:close/>
                <a:moveTo>
                  <a:pt x="2303639" y="975532"/>
                </a:moveTo>
                <a:cubicBezTo>
                  <a:pt x="2334120" y="975532"/>
                  <a:pt x="2358830" y="1000242"/>
                  <a:pt x="2358830" y="1030723"/>
                </a:cubicBezTo>
                <a:cubicBezTo>
                  <a:pt x="2358830" y="1061204"/>
                  <a:pt x="2334120" y="1085914"/>
                  <a:pt x="2303639" y="1085914"/>
                </a:cubicBezTo>
                <a:cubicBezTo>
                  <a:pt x="2273157" y="1085914"/>
                  <a:pt x="2248448" y="1061204"/>
                  <a:pt x="2248448" y="1030723"/>
                </a:cubicBezTo>
                <a:cubicBezTo>
                  <a:pt x="2248448" y="1000242"/>
                  <a:pt x="2273157" y="975532"/>
                  <a:pt x="2303639" y="975532"/>
                </a:cubicBezTo>
                <a:close/>
                <a:moveTo>
                  <a:pt x="2039712" y="975532"/>
                </a:moveTo>
                <a:cubicBezTo>
                  <a:pt x="2070195" y="975532"/>
                  <a:pt x="2094905" y="1000242"/>
                  <a:pt x="2094905" y="1030723"/>
                </a:cubicBezTo>
                <a:cubicBezTo>
                  <a:pt x="2094905" y="1061204"/>
                  <a:pt x="2070195" y="1085914"/>
                  <a:pt x="2039712" y="1085914"/>
                </a:cubicBezTo>
                <a:cubicBezTo>
                  <a:pt x="2009228" y="1085914"/>
                  <a:pt x="1984518" y="1061204"/>
                  <a:pt x="1984518" y="1030723"/>
                </a:cubicBezTo>
                <a:cubicBezTo>
                  <a:pt x="1984518" y="1000242"/>
                  <a:pt x="2009228" y="975532"/>
                  <a:pt x="2039712" y="975532"/>
                </a:cubicBezTo>
                <a:close/>
                <a:moveTo>
                  <a:pt x="1909414" y="975532"/>
                </a:moveTo>
                <a:cubicBezTo>
                  <a:pt x="1939897" y="975532"/>
                  <a:pt x="1964607" y="1000242"/>
                  <a:pt x="1964607" y="1030723"/>
                </a:cubicBezTo>
                <a:cubicBezTo>
                  <a:pt x="1964607" y="1061204"/>
                  <a:pt x="1939897" y="1085914"/>
                  <a:pt x="1909414" y="1085914"/>
                </a:cubicBezTo>
                <a:cubicBezTo>
                  <a:pt x="1878931" y="1085914"/>
                  <a:pt x="1854220" y="1061204"/>
                  <a:pt x="1854220" y="1030723"/>
                </a:cubicBezTo>
                <a:cubicBezTo>
                  <a:pt x="1854220" y="1000242"/>
                  <a:pt x="1878931" y="975532"/>
                  <a:pt x="1909414" y="975532"/>
                </a:cubicBezTo>
                <a:close/>
                <a:moveTo>
                  <a:pt x="1779117" y="975532"/>
                </a:moveTo>
                <a:cubicBezTo>
                  <a:pt x="1809599" y="975532"/>
                  <a:pt x="1834310" y="1000242"/>
                  <a:pt x="1834310" y="1030723"/>
                </a:cubicBezTo>
                <a:cubicBezTo>
                  <a:pt x="1834310" y="1061204"/>
                  <a:pt x="1809599" y="1085914"/>
                  <a:pt x="1779117" y="1085914"/>
                </a:cubicBezTo>
                <a:cubicBezTo>
                  <a:pt x="1748635" y="1085914"/>
                  <a:pt x="1723923" y="1061204"/>
                  <a:pt x="1723923" y="1030723"/>
                </a:cubicBezTo>
                <a:cubicBezTo>
                  <a:pt x="1723923" y="1000242"/>
                  <a:pt x="1748635" y="975532"/>
                  <a:pt x="1779117" y="975532"/>
                </a:cubicBezTo>
                <a:close/>
                <a:moveTo>
                  <a:pt x="1645480" y="975532"/>
                </a:moveTo>
                <a:cubicBezTo>
                  <a:pt x="1675963" y="975532"/>
                  <a:pt x="1700679" y="1000242"/>
                  <a:pt x="1700679" y="1030723"/>
                </a:cubicBezTo>
                <a:cubicBezTo>
                  <a:pt x="1700679" y="1061204"/>
                  <a:pt x="1675963" y="1085914"/>
                  <a:pt x="1645480" y="1085914"/>
                </a:cubicBezTo>
                <a:cubicBezTo>
                  <a:pt x="1615000" y="1085914"/>
                  <a:pt x="1590287" y="1061204"/>
                  <a:pt x="1590287" y="1030723"/>
                </a:cubicBezTo>
                <a:cubicBezTo>
                  <a:pt x="1590287" y="1000242"/>
                  <a:pt x="1615000" y="975532"/>
                  <a:pt x="1645480" y="975532"/>
                </a:cubicBezTo>
                <a:close/>
                <a:moveTo>
                  <a:pt x="1515189" y="975532"/>
                </a:moveTo>
                <a:cubicBezTo>
                  <a:pt x="1545668" y="975532"/>
                  <a:pt x="1570378" y="1000242"/>
                  <a:pt x="1570378" y="1030723"/>
                </a:cubicBezTo>
                <a:cubicBezTo>
                  <a:pt x="1570378" y="1061204"/>
                  <a:pt x="1545668" y="1085914"/>
                  <a:pt x="1515189" y="1085914"/>
                </a:cubicBezTo>
                <a:cubicBezTo>
                  <a:pt x="1484708" y="1085914"/>
                  <a:pt x="1459995" y="1061204"/>
                  <a:pt x="1459995" y="1030723"/>
                </a:cubicBezTo>
                <a:cubicBezTo>
                  <a:pt x="1459995" y="1000242"/>
                  <a:pt x="1484708" y="975532"/>
                  <a:pt x="1515189" y="975532"/>
                </a:cubicBezTo>
                <a:close/>
                <a:moveTo>
                  <a:pt x="1381549" y="975532"/>
                </a:moveTo>
                <a:cubicBezTo>
                  <a:pt x="1412033" y="975532"/>
                  <a:pt x="1436744" y="1000242"/>
                  <a:pt x="1436744" y="1030723"/>
                </a:cubicBezTo>
                <a:cubicBezTo>
                  <a:pt x="1436744" y="1061204"/>
                  <a:pt x="1412033" y="1085914"/>
                  <a:pt x="1381549" y="1085914"/>
                </a:cubicBezTo>
                <a:cubicBezTo>
                  <a:pt x="1351074" y="1085914"/>
                  <a:pt x="1326361" y="1061204"/>
                  <a:pt x="1326361" y="1030723"/>
                </a:cubicBezTo>
                <a:cubicBezTo>
                  <a:pt x="1326361" y="1000242"/>
                  <a:pt x="1351074" y="975532"/>
                  <a:pt x="1381549" y="975532"/>
                </a:cubicBezTo>
                <a:close/>
                <a:moveTo>
                  <a:pt x="1117621" y="975532"/>
                </a:moveTo>
                <a:cubicBezTo>
                  <a:pt x="1148103" y="975532"/>
                  <a:pt x="1172814" y="1000242"/>
                  <a:pt x="1172814" y="1030723"/>
                </a:cubicBezTo>
                <a:cubicBezTo>
                  <a:pt x="1172814" y="1061204"/>
                  <a:pt x="1148103" y="1085914"/>
                  <a:pt x="1117621" y="1085914"/>
                </a:cubicBezTo>
                <a:cubicBezTo>
                  <a:pt x="1087137" y="1085914"/>
                  <a:pt x="1062427" y="1061204"/>
                  <a:pt x="1062427" y="1030723"/>
                </a:cubicBezTo>
                <a:cubicBezTo>
                  <a:pt x="1062427" y="1000242"/>
                  <a:pt x="1087137" y="975532"/>
                  <a:pt x="1117621" y="975532"/>
                </a:cubicBezTo>
                <a:close/>
                <a:moveTo>
                  <a:pt x="980643" y="975532"/>
                </a:moveTo>
                <a:cubicBezTo>
                  <a:pt x="1011125" y="975532"/>
                  <a:pt x="1035836" y="1000242"/>
                  <a:pt x="1035836" y="1030723"/>
                </a:cubicBezTo>
                <a:cubicBezTo>
                  <a:pt x="1035836" y="1061204"/>
                  <a:pt x="1011125" y="1085914"/>
                  <a:pt x="980643" y="1085914"/>
                </a:cubicBezTo>
                <a:cubicBezTo>
                  <a:pt x="950159" y="1085914"/>
                  <a:pt x="925449" y="1061204"/>
                  <a:pt x="925449" y="1030723"/>
                </a:cubicBezTo>
                <a:cubicBezTo>
                  <a:pt x="925449" y="1000242"/>
                  <a:pt x="950159" y="975532"/>
                  <a:pt x="980643" y="975532"/>
                </a:cubicBezTo>
                <a:close/>
                <a:moveTo>
                  <a:pt x="716703" y="975532"/>
                </a:moveTo>
                <a:cubicBezTo>
                  <a:pt x="747185" y="975532"/>
                  <a:pt x="771897" y="1000242"/>
                  <a:pt x="771897" y="1030723"/>
                </a:cubicBezTo>
                <a:cubicBezTo>
                  <a:pt x="771897" y="1061204"/>
                  <a:pt x="747185" y="1085914"/>
                  <a:pt x="716703" y="1085914"/>
                </a:cubicBezTo>
                <a:cubicBezTo>
                  <a:pt x="686222" y="1085914"/>
                  <a:pt x="661511" y="1061204"/>
                  <a:pt x="661511" y="1030723"/>
                </a:cubicBezTo>
                <a:cubicBezTo>
                  <a:pt x="661511" y="1000242"/>
                  <a:pt x="686222" y="975532"/>
                  <a:pt x="716703" y="975532"/>
                </a:cubicBezTo>
                <a:close/>
                <a:moveTo>
                  <a:pt x="583065" y="975532"/>
                </a:moveTo>
                <a:cubicBezTo>
                  <a:pt x="613549" y="975532"/>
                  <a:pt x="638258" y="1000242"/>
                  <a:pt x="638258" y="1030723"/>
                </a:cubicBezTo>
                <a:cubicBezTo>
                  <a:pt x="638258" y="1061204"/>
                  <a:pt x="613549" y="1085914"/>
                  <a:pt x="583065" y="1085914"/>
                </a:cubicBezTo>
                <a:cubicBezTo>
                  <a:pt x="552583" y="1085914"/>
                  <a:pt x="527871" y="1061204"/>
                  <a:pt x="527871" y="1030723"/>
                </a:cubicBezTo>
                <a:cubicBezTo>
                  <a:pt x="527871" y="1000242"/>
                  <a:pt x="552583" y="975532"/>
                  <a:pt x="583065" y="975532"/>
                </a:cubicBezTo>
                <a:close/>
                <a:moveTo>
                  <a:pt x="449419" y="975532"/>
                </a:moveTo>
                <a:cubicBezTo>
                  <a:pt x="479902" y="975532"/>
                  <a:pt x="504612" y="1000242"/>
                  <a:pt x="504612" y="1030723"/>
                </a:cubicBezTo>
                <a:cubicBezTo>
                  <a:pt x="504612" y="1061204"/>
                  <a:pt x="479902" y="1085914"/>
                  <a:pt x="449419" y="1085914"/>
                </a:cubicBezTo>
                <a:cubicBezTo>
                  <a:pt x="418936" y="1085914"/>
                  <a:pt x="394227" y="1061204"/>
                  <a:pt x="394227" y="1030723"/>
                </a:cubicBezTo>
                <a:cubicBezTo>
                  <a:pt x="394227" y="1000242"/>
                  <a:pt x="418936" y="975532"/>
                  <a:pt x="449419" y="975532"/>
                </a:cubicBezTo>
                <a:close/>
                <a:moveTo>
                  <a:pt x="319124" y="975532"/>
                </a:moveTo>
                <a:cubicBezTo>
                  <a:pt x="349606" y="975532"/>
                  <a:pt x="374317" y="1000242"/>
                  <a:pt x="374317" y="1030723"/>
                </a:cubicBezTo>
                <a:cubicBezTo>
                  <a:pt x="374317" y="1061204"/>
                  <a:pt x="349606" y="1085914"/>
                  <a:pt x="319124" y="1085914"/>
                </a:cubicBezTo>
                <a:cubicBezTo>
                  <a:pt x="288640" y="1085914"/>
                  <a:pt x="263931" y="1061204"/>
                  <a:pt x="263931" y="1030723"/>
                </a:cubicBezTo>
                <a:cubicBezTo>
                  <a:pt x="263931" y="1000242"/>
                  <a:pt x="288640" y="975532"/>
                  <a:pt x="319124" y="975532"/>
                </a:cubicBezTo>
                <a:close/>
                <a:moveTo>
                  <a:pt x="185492" y="975532"/>
                </a:moveTo>
                <a:cubicBezTo>
                  <a:pt x="215972" y="975532"/>
                  <a:pt x="240682" y="1000242"/>
                  <a:pt x="240682" y="1030723"/>
                </a:cubicBezTo>
                <a:cubicBezTo>
                  <a:pt x="240682" y="1061204"/>
                  <a:pt x="215972" y="1085914"/>
                  <a:pt x="185492" y="1085914"/>
                </a:cubicBezTo>
                <a:cubicBezTo>
                  <a:pt x="155010" y="1085914"/>
                  <a:pt x="130299" y="1061204"/>
                  <a:pt x="130299" y="1030723"/>
                </a:cubicBezTo>
                <a:cubicBezTo>
                  <a:pt x="130299" y="1000242"/>
                  <a:pt x="155010" y="975532"/>
                  <a:pt x="185492" y="975532"/>
                </a:cubicBezTo>
                <a:close/>
                <a:moveTo>
                  <a:pt x="55197" y="975532"/>
                </a:moveTo>
                <a:cubicBezTo>
                  <a:pt x="85679" y="975532"/>
                  <a:pt x="110388" y="1000242"/>
                  <a:pt x="110388" y="1030723"/>
                </a:cubicBezTo>
                <a:cubicBezTo>
                  <a:pt x="110388" y="1061204"/>
                  <a:pt x="85679" y="1085914"/>
                  <a:pt x="55197" y="1085914"/>
                </a:cubicBezTo>
                <a:cubicBezTo>
                  <a:pt x="24715" y="1085914"/>
                  <a:pt x="7" y="1061204"/>
                  <a:pt x="7" y="1030723"/>
                </a:cubicBezTo>
                <a:cubicBezTo>
                  <a:pt x="7" y="1000242"/>
                  <a:pt x="24715" y="975532"/>
                  <a:pt x="55197" y="975532"/>
                </a:cubicBezTo>
                <a:close/>
                <a:moveTo>
                  <a:pt x="9469710" y="855263"/>
                </a:moveTo>
                <a:cubicBezTo>
                  <a:pt x="9500192" y="855263"/>
                  <a:pt x="9524902" y="879973"/>
                  <a:pt x="9524902" y="910454"/>
                </a:cubicBezTo>
                <a:cubicBezTo>
                  <a:pt x="9524902" y="940935"/>
                  <a:pt x="9500192" y="965645"/>
                  <a:pt x="9469710" y="965645"/>
                </a:cubicBezTo>
                <a:cubicBezTo>
                  <a:pt x="9439228" y="965645"/>
                  <a:pt x="9414518" y="940935"/>
                  <a:pt x="9414518" y="910454"/>
                </a:cubicBezTo>
                <a:cubicBezTo>
                  <a:pt x="9414518" y="879973"/>
                  <a:pt x="9439228" y="855263"/>
                  <a:pt x="9469710" y="855263"/>
                </a:cubicBezTo>
                <a:close/>
                <a:moveTo>
                  <a:pt x="9336075" y="855263"/>
                </a:moveTo>
                <a:cubicBezTo>
                  <a:pt x="9366557" y="855263"/>
                  <a:pt x="9391267" y="879973"/>
                  <a:pt x="9391267" y="910454"/>
                </a:cubicBezTo>
                <a:cubicBezTo>
                  <a:pt x="9391267" y="940935"/>
                  <a:pt x="9366557" y="965645"/>
                  <a:pt x="9336075" y="965645"/>
                </a:cubicBezTo>
                <a:cubicBezTo>
                  <a:pt x="9305593" y="965645"/>
                  <a:pt x="9280883" y="940935"/>
                  <a:pt x="9280883" y="910454"/>
                </a:cubicBezTo>
                <a:cubicBezTo>
                  <a:pt x="9280883" y="879973"/>
                  <a:pt x="9305593" y="855263"/>
                  <a:pt x="9336075" y="855263"/>
                </a:cubicBezTo>
                <a:close/>
                <a:moveTo>
                  <a:pt x="9199100" y="855263"/>
                </a:moveTo>
                <a:cubicBezTo>
                  <a:pt x="9229582" y="855263"/>
                  <a:pt x="9254292" y="879973"/>
                  <a:pt x="9254292" y="910454"/>
                </a:cubicBezTo>
                <a:cubicBezTo>
                  <a:pt x="9254292" y="940935"/>
                  <a:pt x="9229582" y="965645"/>
                  <a:pt x="9199100" y="965645"/>
                </a:cubicBezTo>
                <a:cubicBezTo>
                  <a:pt x="9168618" y="965645"/>
                  <a:pt x="9143908" y="940935"/>
                  <a:pt x="9143908" y="910454"/>
                </a:cubicBezTo>
                <a:cubicBezTo>
                  <a:pt x="9143908" y="879973"/>
                  <a:pt x="9168618" y="855263"/>
                  <a:pt x="9199100" y="855263"/>
                </a:cubicBezTo>
                <a:close/>
                <a:moveTo>
                  <a:pt x="9068806" y="855263"/>
                </a:moveTo>
                <a:cubicBezTo>
                  <a:pt x="9099288" y="855263"/>
                  <a:pt x="9123998" y="879973"/>
                  <a:pt x="9123998" y="910454"/>
                </a:cubicBezTo>
                <a:cubicBezTo>
                  <a:pt x="9123998" y="940935"/>
                  <a:pt x="9099288" y="965645"/>
                  <a:pt x="9068806" y="965645"/>
                </a:cubicBezTo>
                <a:cubicBezTo>
                  <a:pt x="9038324" y="965645"/>
                  <a:pt x="9013614" y="940935"/>
                  <a:pt x="9013614" y="910454"/>
                </a:cubicBezTo>
                <a:cubicBezTo>
                  <a:pt x="9013614" y="879973"/>
                  <a:pt x="9038324" y="855263"/>
                  <a:pt x="9068806" y="855263"/>
                </a:cubicBezTo>
                <a:close/>
                <a:moveTo>
                  <a:pt x="8935170" y="855263"/>
                </a:moveTo>
                <a:cubicBezTo>
                  <a:pt x="8965652" y="855263"/>
                  <a:pt x="8990362" y="879973"/>
                  <a:pt x="8990362" y="910454"/>
                </a:cubicBezTo>
                <a:cubicBezTo>
                  <a:pt x="8990362" y="940935"/>
                  <a:pt x="8965652" y="965645"/>
                  <a:pt x="8935170" y="965645"/>
                </a:cubicBezTo>
                <a:cubicBezTo>
                  <a:pt x="8904688" y="965645"/>
                  <a:pt x="8879978" y="940935"/>
                  <a:pt x="8879978" y="910454"/>
                </a:cubicBezTo>
                <a:cubicBezTo>
                  <a:pt x="8879978" y="879973"/>
                  <a:pt x="8904688" y="855263"/>
                  <a:pt x="8935170" y="855263"/>
                </a:cubicBezTo>
                <a:close/>
                <a:moveTo>
                  <a:pt x="8801536" y="855263"/>
                </a:moveTo>
                <a:cubicBezTo>
                  <a:pt x="8832018" y="855263"/>
                  <a:pt x="8856728" y="879973"/>
                  <a:pt x="8856728" y="910454"/>
                </a:cubicBezTo>
                <a:cubicBezTo>
                  <a:pt x="8856728" y="940935"/>
                  <a:pt x="8832018" y="965645"/>
                  <a:pt x="8801536" y="965645"/>
                </a:cubicBezTo>
                <a:cubicBezTo>
                  <a:pt x="8771054" y="965645"/>
                  <a:pt x="8746344" y="940935"/>
                  <a:pt x="8746344" y="910454"/>
                </a:cubicBezTo>
                <a:cubicBezTo>
                  <a:pt x="8746344" y="879973"/>
                  <a:pt x="8771054" y="855263"/>
                  <a:pt x="8801536" y="855263"/>
                </a:cubicBezTo>
                <a:close/>
                <a:moveTo>
                  <a:pt x="8671243" y="855263"/>
                </a:moveTo>
                <a:cubicBezTo>
                  <a:pt x="8701725" y="855263"/>
                  <a:pt x="8726435" y="879973"/>
                  <a:pt x="8726435" y="910454"/>
                </a:cubicBezTo>
                <a:cubicBezTo>
                  <a:pt x="8726435" y="940935"/>
                  <a:pt x="8701725" y="965645"/>
                  <a:pt x="8671243" y="965645"/>
                </a:cubicBezTo>
                <a:cubicBezTo>
                  <a:pt x="8640761" y="965645"/>
                  <a:pt x="8616051" y="940935"/>
                  <a:pt x="8616051" y="910454"/>
                </a:cubicBezTo>
                <a:cubicBezTo>
                  <a:pt x="8616051" y="879973"/>
                  <a:pt x="8640761" y="855263"/>
                  <a:pt x="8671243" y="855263"/>
                </a:cubicBezTo>
                <a:close/>
                <a:moveTo>
                  <a:pt x="8537609" y="855263"/>
                </a:moveTo>
                <a:cubicBezTo>
                  <a:pt x="8568091" y="855263"/>
                  <a:pt x="8592801" y="879973"/>
                  <a:pt x="8592801" y="910454"/>
                </a:cubicBezTo>
                <a:cubicBezTo>
                  <a:pt x="8592801" y="940935"/>
                  <a:pt x="8568091" y="965645"/>
                  <a:pt x="8537609" y="965645"/>
                </a:cubicBezTo>
                <a:cubicBezTo>
                  <a:pt x="8507127" y="965645"/>
                  <a:pt x="8482417" y="940935"/>
                  <a:pt x="8482417" y="910454"/>
                </a:cubicBezTo>
                <a:cubicBezTo>
                  <a:pt x="8482417" y="879973"/>
                  <a:pt x="8507127" y="855263"/>
                  <a:pt x="8537609" y="855263"/>
                </a:cubicBezTo>
                <a:close/>
                <a:moveTo>
                  <a:pt x="8407315" y="855263"/>
                </a:moveTo>
                <a:cubicBezTo>
                  <a:pt x="8437797" y="855263"/>
                  <a:pt x="8462507" y="879973"/>
                  <a:pt x="8462507" y="910454"/>
                </a:cubicBezTo>
                <a:cubicBezTo>
                  <a:pt x="8462507" y="940935"/>
                  <a:pt x="8437797" y="965645"/>
                  <a:pt x="8407315" y="965645"/>
                </a:cubicBezTo>
                <a:cubicBezTo>
                  <a:pt x="8376833" y="965645"/>
                  <a:pt x="8352123" y="940935"/>
                  <a:pt x="8352123" y="910454"/>
                </a:cubicBezTo>
                <a:cubicBezTo>
                  <a:pt x="8352123" y="879973"/>
                  <a:pt x="8376833" y="855263"/>
                  <a:pt x="8407315" y="855263"/>
                </a:cubicBezTo>
                <a:close/>
                <a:moveTo>
                  <a:pt x="8273681" y="855263"/>
                </a:moveTo>
                <a:cubicBezTo>
                  <a:pt x="8304163" y="855263"/>
                  <a:pt x="8328873" y="879973"/>
                  <a:pt x="8328873" y="910454"/>
                </a:cubicBezTo>
                <a:cubicBezTo>
                  <a:pt x="8328873" y="940935"/>
                  <a:pt x="8304163" y="965645"/>
                  <a:pt x="8273681" y="965645"/>
                </a:cubicBezTo>
                <a:cubicBezTo>
                  <a:pt x="8243199" y="965645"/>
                  <a:pt x="8218489" y="940935"/>
                  <a:pt x="8218489" y="910454"/>
                </a:cubicBezTo>
                <a:cubicBezTo>
                  <a:pt x="8218489" y="879973"/>
                  <a:pt x="8243199" y="855263"/>
                  <a:pt x="8273681" y="855263"/>
                </a:cubicBezTo>
                <a:close/>
                <a:moveTo>
                  <a:pt x="8143386" y="855263"/>
                </a:moveTo>
                <a:cubicBezTo>
                  <a:pt x="8173868" y="855263"/>
                  <a:pt x="8198578" y="879973"/>
                  <a:pt x="8198578" y="910454"/>
                </a:cubicBezTo>
                <a:cubicBezTo>
                  <a:pt x="8198578" y="940935"/>
                  <a:pt x="8173868" y="965645"/>
                  <a:pt x="8143386" y="965645"/>
                </a:cubicBezTo>
                <a:cubicBezTo>
                  <a:pt x="8112904" y="965645"/>
                  <a:pt x="8088194" y="940935"/>
                  <a:pt x="8088194" y="910454"/>
                </a:cubicBezTo>
                <a:cubicBezTo>
                  <a:pt x="8088194" y="879973"/>
                  <a:pt x="8112904" y="855263"/>
                  <a:pt x="8143386" y="855263"/>
                </a:cubicBezTo>
                <a:close/>
                <a:moveTo>
                  <a:pt x="8009752" y="855263"/>
                </a:moveTo>
                <a:cubicBezTo>
                  <a:pt x="8040234" y="855263"/>
                  <a:pt x="8064944" y="879973"/>
                  <a:pt x="8064944" y="910454"/>
                </a:cubicBezTo>
                <a:cubicBezTo>
                  <a:pt x="8064944" y="940935"/>
                  <a:pt x="8040234" y="965645"/>
                  <a:pt x="8009752" y="965645"/>
                </a:cubicBezTo>
                <a:cubicBezTo>
                  <a:pt x="7979270" y="965645"/>
                  <a:pt x="7954560" y="940935"/>
                  <a:pt x="7954560" y="910454"/>
                </a:cubicBezTo>
                <a:cubicBezTo>
                  <a:pt x="7954560" y="879973"/>
                  <a:pt x="7979270" y="855263"/>
                  <a:pt x="8009752" y="855263"/>
                </a:cubicBezTo>
                <a:close/>
                <a:moveTo>
                  <a:pt x="7876117" y="855263"/>
                </a:moveTo>
                <a:cubicBezTo>
                  <a:pt x="7906599" y="855263"/>
                  <a:pt x="7931309" y="879973"/>
                  <a:pt x="7931309" y="910454"/>
                </a:cubicBezTo>
                <a:cubicBezTo>
                  <a:pt x="7931309" y="940935"/>
                  <a:pt x="7906599" y="965645"/>
                  <a:pt x="7876117" y="965645"/>
                </a:cubicBezTo>
                <a:cubicBezTo>
                  <a:pt x="7845635" y="965645"/>
                  <a:pt x="7820925" y="940935"/>
                  <a:pt x="7820925" y="910454"/>
                </a:cubicBezTo>
                <a:cubicBezTo>
                  <a:pt x="7820925" y="879973"/>
                  <a:pt x="7845635" y="855263"/>
                  <a:pt x="7876117" y="855263"/>
                </a:cubicBezTo>
                <a:close/>
                <a:moveTo>
                  <a:pt x="7745822" y="855263"/>
                </a:moveTo>
                <a:cubicBezTo>
                  <a:pt x="7776304" y="855263"/>
                  <a:pt x="7801014" y="879973"/>
                  <a:pt x="7801014" y="910454"/>
                </a:cubicBezTo>
                <a:cubicBezTo>
                  <a:pt x="7801014" y="940935"/>
                  <a:pt x="7776304" y="965645"/>
                  <a:pt x="7745822" y="965645"/>
                </a:cubicBezTo>
                <a:cubicBezTo>
                  <a:pt x="7715340" y="965645"/>
                  <a:pt x="7690630" y="940935"/>
                  <a:pt x="7690630" y="910454"/>
                </a:cubicBezTo>
                <a:cubicBezTo>
                  <a:pt x="7690630" y="879973"/>
                  <a:pt x="7715340" y="855263"/>
                  <a:pt x="7745822" y="855263"/>
                </a:cubicBezTo>
                <a:close/>
                <a:moveTo>
                  <a:pt x="7608849" y="855263"/>
                </a:moveTo>
                <a:cubicBezTo>
                  <a:pt x="7639331" y="855263"/>
                  <a:pt x="7664041" y="879973"/>
                  <a:pt x="7664041" y="910454"/>
                </a:cubicBezTo>
                <a:cubicBezTo>
                  <a:pt x="7664041" y="940935"/>
                  <a:pt x="7639331" y="965645"/>
                  <a:pt x="7608849" y="965645"/>
                </a:cubicBezTo>
                <a:cubicBezTo>
                  <a:pt x="7578367" y="965645"/>
                  <a:pt x="7553657" y="940935"/>
                  <a:pt x="7553657" y="910454"/>
                </a:cubicBezTo>
                <a:cubicBezTo>
                  <a:pt x="7553657" y="879973"/>
                  <a:pt x="7578367" y="855263"/>
                  <a:pt x="7608849" y="855263"/>
                </a:cubicBezTo>
                <a:close/>
                <a:moveTo>
                  <a:pt x="7481895" y="855263"/>
                </a:moveTo>
                <a:cubicBezTo>
                  <a:pt x="7512377" y="855263"/>
                  <a:pt x="7537087" y="879973"/>
                  <a:pt x="7537087" y="910454"/>
                </a:cubicBezTo>
                <a:cubicBezTo>
                  <a:pt x="7537087" y="940935"/>
                  <a:pt x="7512377" y="965645"/>
                  <a:pt x="7481895" y="965645"/>
                </a:cubicBezTo>
                <a:cubicBezTo>
                  <a:pt x="7451413" y="965645"/>
                  <a:pt x="7426703" y="940935"/>
                  <a:pt x="7426703" y="910454"/>
                </a:cubicBezTo>
                <a:cubicBezTo>
                  <a:pt x="7426703" y="879973"/>
                  <a:pt x="7451413" y="855263"/>
                  <a:pt x="7481895" y="855263"/>
                </a:cubicBezTo>
                <a:close/>
                <a:moveTo>
                  <a:pt x="7341578" y="855263"/>
                </a:moveTo>
                <a:cubicBezTo>
                  <a:pt x="7372060" y="855263"/>
                  <a:pt x="7396770" y="879973"/>
                  <a:pt x="7396770" y="910454"/>
                </a:cubicBezTo>
                <a:cubicBezTo>
                  <a:pt x="7396770" y="940935"/>
                  <a:pt x="7372060" y="965645"/>
                  <a:pt x="7341578" y="965645"/>
                </a:cubicBezTo>
                <a:cubicBezTo>
                  <a:pt x="7311096" y="965645"/>
                  <a:pt x="7286386" y="940935"/>
                  <a:pt x="7286386" y="910454"/>
                </a:cubicBezTo>
                <a:cubicBezTo>
                  <a:pt x="7286386" y="879973"/>
                  <a:pt x="7311096" y="855263"/>
                  <a:pt x="7341578" y="855263"/>
                </a:cubicBezTo>
                <a:close/>
                <a:moveTo>
                  <a:pt x="7211285" y="855263"/>
                </a:moveTo>
                <a:cubicBezTo>
                  <a:pt x="7241767" y="855263"/>
                  <a:pt x="7266477" y="879973"/>
                  <a:pt x="7266477" y="910454"/>
                </a:cubicBezTo>
                <a:cubicBezTo>
                  <a:pt x="7266477" y="940935"/>
                  <a:pt x="7241767" y="965645"/>
                  <a:pt x="7211285" y="965645"/>
                </a:cubicBezTo>
                <a:cubicBezTo>
                  <a:pt x="7180803" y="965645"/>
                  <a:pt x="7156093" y="940935"/>
                  <a:pt x="7156093" y="910454"/>
                </a:cubicBezTo>
                <a:cubicBezTo>
                  <a:pt x="7156093" y="879973"/>
                  <a:pt x="7180803" y="855263"/>
                  <a:pt x="7211285" y="855263"/>
                </a:cubicBezTo>
                <a:close/>
                <a:moveTo>
                  <a:pt x="7080993" y="855263"/>
                </a:moveTo>
                <a:cubicBezTo>
                  <a:pt x="7111475" y="855263"/>
                  <a:pt x="7136185" y="879973"/>
                  <a:pt x="7136185" y="910454"/>
                </a:cubicBezTo>
                <a:cubicBezTo>
                  <a:pt x="7136185" y="940935"/>
                  <a:pt x="7111475" y="965645"/>
                  <a:pt x="7080993" y="965645"/>
                </a:cubicBezTo>
                <a:cubicBezTo>
                  <a:pt x="7050511" y="965645"/>
                  <a:pt x="7025801" y="940935"/>
                  <a:pt x="7025801" y="910454"/>
                </a:cubicBezTo>
                <a:cubicBezTo>
                  <a:pt x="7025801" y="879973"/>
                  <a:pt x="7050511" y="855263"/>
                  <a:pt x="7080993" y="855263"/>
                </a:cubicBezTo>
                <a:close/>
                <a:moveTo>
                  <a:pt x="6947357" y="855263"/>
                </a:moveTo>
                <a:cubicBezTo>
                  <a:pt x="6977839" y="855263"/>
                  <a:pt x="7002549" y="879973"/>
                  <a:pt x="7002549" y="910454"/>
                </a:cubicBezTo>
                <a:cubicBezTo>
                  <a:pt x="7002549" y="940935"/>
                  <a:pt x="6977839" y="965645"/>
                  <a:pt x="6947357" y="965645"/>
                </a:cubicBezTo>
                <a:cubicBezTo>
                  <a:pt x="6916875" y="965645"/>
                  <a:pt x="6892165" y="940935"/>
                  <a:pt x="6892165" y="910454"/>
                </a:cubicBezTo>
                <a:cubicBezTo>
                  <a:pt x="6892165" y="879973"/>
                  <a:pt x="6916875" y="855263"/>
                  <a:pt x="6947357" y="855263"/>
                </a:cubicBezTo>
                <a:close/>
                <a:moveTo>
                  <a:pt x="6817063" y="855263"/>
                </a:moveTo>
                <a:cubicBezTo>
                  <a:pt x="6847545" y="855263"/>
                  <a:pt x="6872255" y="879973"/>
                  <a:pt x="6872255" y="910454"/>
                </a:cubicBezTo>
                <a:cubicBezTo>
                  <a:pt x="6872255" y="940935"/>
                  <a:pt x="6847545" y="965645"/>
                  <a:pt x="6817063" y="965645"/>
                </a:cubicBezTo>
                <a:cubicBezTo>
                  <a:pt x="6786581" y="965645"/>
                  <a:pt x="6761871" y="940935"/>
                  <a:pt x="6761871" y="910454"/>
                </a:cubicBezTo>
                <a:cubicBezTo>
                  <a:pt x="6761871" y="879973"/>
                  <a:pt x="6786581" y="855263"/>
                  <a:pt x="6817063" y="855263"/>
                </a:cubicBezTo>
                <a:close/>
                <a:moveTo>
                  <a:pt x="6683430" y="855263"/>
                </a:moveTo>
                <a:cubicBezTo>
                  <a:pt x="6713912" y="855263"/>
                  <a:pt x="6738622" y="879973"/>
                  <a:pt x="6738622" y="910454"/>
                </a:cubicBezTo>
                <a:cubicBezTo>
                  <a:pt x="6738622" y="940935"/>
                  <a:pt x="6713912" y="965645"/>
                  <a:pt x="6683430" y="965645"/>
                </a:cubicBezTo>
                <a:cubicBezTo>
                  <a:pt x="6652948" y="965645"/>
                  <a:pt x="6628238" y="940935"/>
                  <a:pt x="6628238" y="910454"/>
                </a:cubicBezTo>
                <a:cubicBezTo>
                  <a:pt x="6628238" y="879973"/>
                  <a:pt x="6652948" y="855263"/>
                  <a:pt x="6683430" y="855263"/>
                </a:cubicBezTo>
                <a:close/>
                <a:moveTo>
                  <a:pt x="6553135" y="855263"/>
                </a:moveTo>
                <a:cubicBezTo>
                  <a:pt x="6583617" y="855263"/>
                  <a:pt x="6608327" y="879973"/>
                  <a:pt x="6608327" y="910454"/>
                </a:cubicBezTo>
                <a:cubicBezTo>
                  <a:pt x="6608327" y="940935"/>
                  <a:pt x="6583617" y="965645"/>
                  <a:pt x="6553135" y="965645"/>
                </a:cubicBezTo>
                <a:cubicBezTo>
                  <a:pt x="6522653" y="965645"/>
                  <a:pt x="6497943" y="940935"/>
                  <a:pt x="6497943" y="910454"/>
                </a:cubicBezTo>
                <a:cubicBezTo>
                  <a:pt x="6497943" y="879973"/>
                  <a:pt x="6522653" y="855263"/>
                  <a:pt x="6553135" y="855263"/>
                </a:cubicBezTo>
                <a:close/>
                <a:moveTo>
                  <a:pt x="6419502" y="855263"/>
                </a:moveTo>
                <a:cubicBezTo>
                  <a:pt x="6449984" y="855263"/>
                  <a:pt x="6474694" y="879973"/>
                  <a:pt x="6474694" y="910454"/>
                </a:cubicBezTo>
                <a:cubicBezTo>
                  <a:pt x="6474694" y="940935"/>
                  <a:pt x="6449984" y="965645"/>
                  <a:pt x="6419502" y="965645"/>
                </a:cubicBezTo>
                <a:cubicBezTo>
                  <a:pt x="6389020" y="965645"/>
                  <a:pt x="6364310" y="940935"/>
                  <a:pt x="6364310" y="910454"/>
                </a:cubicBezTo>
                <a:cubicBezTo>
                  <a:pt x="6364310" y="879973"/>
                  <a:pt x="6389020" y="855263"/>
                  <a:pt x="6419502" y="855263"/>
                </a:cubicBezTo>
                <a:close/>
                <a:moveTo>
                  <a:pt x="6289206" y="855263"/>
                </a:moveTo>
                <a:cubicBezTo>
                  <a:pt x="6319688" y="855263"/>
                  <a:pt x="6344398" y="879973"/>
                  <a:pt x="6344398" y="910454"/>
                </a:cubicBezTo>
                <a:cubicBezTo>
                  <a:pt x="6344398" y="940935"/>
                  <a:pt x="6319688" y="965645"/>
                  <a:pt x="6289206" y="965645"/>
                </a:cubicBezTo>
                <a:cubicBezTo>
                  <a:pt x="6258724" y="965645"/>
                  <a:pt x="6234014" y="940935"/>
                  <a:pt x="6234014" y="910454"/>
                </a:cubicBezTo>
                <a:cubicBezTo>
                  <a:pt x="6234014" y="879973"/>
                  <a:pt x="6258724" y="855263"/>
                  <a:pt x="6289206" y="855263"/>
                </a:cubicBezTo>
                <a:close/>
                <a:moveTo>
                  <a:pt x="6155571" y="855263"/>
                </a:moveTo>
                <a:cubicBezTo>
                  <a:pt x="6186053" y="855263"/>
                  <a:pt x="6210763" y="879973"/>
                  <a:pt x="6210763" y="910454"/>
                </a:cubicBezTo>
                <a:cubicBezTo>
                  <a:pt x="6210763" y="940935"/>
                  <a:pt x="6186053" y="965645"/>
                  <a:pt x="6155571" y="965645"/>
                </a:cubicBezTo>
                <a:cubicBezTo>
                  <a:pt x="6125089" y="965645"/>
                  <a:pt x="6100379" y="940935"/>
                  <a:pt x="6100379" y="910454"/>
                </a:cubicBezTo>
                <a:cubicBezTo>
                  <a:pt x="6100379" y="879973"/>
                  <a:pt x="6125089" y="855263"/>
                  <a:pt x="6155571" y="855263"/>
                </a:cubicBezTo>
                <a:close/>
                <a:moveTo>
                  <a:pt x="6021938" y="855263"/>
                </a:moveTo>
                <a:cubicBezTo>
                  <a:pt x="6052420" y="855263"/>
                  <a:pt x="6077130" y="879973"/>
                  <a:pt x="6077130" y="910454"/>
                </a:cubicBezTo>
                <a:cubicBezTo>
                  <a:pt x="6077130" y="940935"/>
                  <a:pt x="6052420" y="965645"/>
                  <a:pt x="6021938" y="965645"/>
                </a:cubicBezTo>
                <a:cubicBezTo>
                  <a:pt x="5991456" y="965645"/>
                  <a:pt x="5966746" y="940935"/>
                  <a:pt x="5966746" y="910454"/>
                </a:cubicBezTo>
                <a:cubicBezTo>
                  <a:pt x="5966746" y="879973"/>
                  <a:pt x="5991456" y="855263"/>
                  <a:pt x="6021938" y="855263"/>
                </a:cubicBezTo>
                <a:close/>
                <a:moveTo>
                  <a:pt x="5884961" y="855263"/>
                </a:moveTo>
                <a:cubicBezTo>
                  <a:pt x="5915443" y="855263"/>
                  <a:pt x="5940153" y="879973"/>
                  <a:pt x="5940153" y="910454"/>
                </a:cubicBezTo>
                <a:cubicBezTo>
                  <a:pt x="5940153" y="940935"/>
                  <a:pt x="5915443" y="965645"/>
                  <a:pt x="5884961" y="965645"/>
                </a:cubicBezTo>
                <a:cubicBezTo>
                  <a:pt x="5854479" y="965645"/>
                  <a:pt x="5829769" y="940935"/>
                  <a:pt x="5829769" y="910454"/>
                </a:cubicBezTo>
                <a:cubicBezTo>
                  <a:pt x="5829769" y="879973"/>
                  <a:pt x="5854479" y="855263"/>
                  <a:pt x="5884961" y="855263"/>
                </a:cubicBezTo>
                <a:close/>
                <a:moveTo>
                  <a:pt x="5754668" y="855263"/>
                </a:moveTo>
                <a:cubicBezTo>
                  <a:pt x="5785150" y="855263"/>
                  <a:pt x="5809860" y="879973"/>
                  <a:pt x="5809860" y="910454"/>
                </a:cubicBezTo>
                <a:cubicBezTo>
                  <a:pt x="5809860" y="940935"/>
                  <a:pt x="5785150" y="965645"/>
                  <a:pt x="5754668" y="965645"/>
                </a:cubicBezTo>
                <a:cubicBezTo>
                  <a:pt x="5724186" y="965645"/>
                  <a:pt x="5699476" y="940935"/>
                  <a:pt x="5699476" y="910454"/>
                </a:cubicBezTo>
                <a:cubicBezTo>
                  <a:pt x="5699476" y="879973"/>
                  <a:pt x="5724186" y="855263"/>
                  <a:pt x="5754668" y="855263"/>
                </a:cubicBezTo>
                <a:close/>
                <a:moveTo>
                  <a:pt x="5621034" y="855263"/>
                </a:moveTo>
                <a:cubicBezTo>
                  <a:pt x="5651516" y="855263"/>
                  <a:pt x="5676226" y="879973"/>
                  <a:pt x="5676226" y="910454"/>
                </a:cubicBezTo>
                <a:cubicBezTo>
                  <a:pt x="5676226" y="940935"/>
                  <a:pt x="5651516" y="965645"/>
                  <a:pt x="5621034" y="965645"/>
                </a:cubicBezTo>
                <a:cubicBezTo>
                  <a:pt x="5590552" y="965645"/>
                  <a:pt x="5565842" y="940935"/>
                  <a:pt x="5565842" y="910454"/>
                </a:cubicBezTo>
                <a:cubicBezTo>
                  <a:pt x="5565842" y="879973"/>
                  <a:pt x="5590552" y="855263"/>
                  <a:pt x="5621034" y="855263"/>
                </a:cubicBezTo>
                <a:close/>
                <a:moveTo>
                  <a:pt x="5487399" y="855263"/>
                </a:moveTo>
                <a:cubicBezTo>
                  <a:pt x="5517881" y="855263"/>
                  <a:pt x="5542591" y="879973"/>
                  <a:pt x="5542591" y="910454"/>
                </a:cubicBezTo>
                <a:cubicBezTo>
                  <a:pt x="5542591" y="940935"/>
                  <a:pt x="5517881" y="965645"/>
                  <a:pt x="5487399" y="965645"/>
                </a:cubicBezTo>
                <a:cubicBezTo>
                  <a:pt x="5456917" y="965645"/>
                  <a:pt x="5432207" y="940935"/>
                  <a:pt x="5432207" y="910454"/>
                </a:cubicBezTo>
                <a:cubicBezTo>
                  <a:pt x="5432207" y="879973"/>
                  <a:pt x="5456917" y="855263"/>
                  <a:pt x="5487399" y="855263"/>
                </a:cubicBezTo>
                <a:close/>
                <a:moveTo>
                  <a:pt x="5357105" y="855263"/>
                </a:moveTo>
                <a:cubicBezTo>
                  <a:pt x="5387587" y="855263"/>
                  <a:pt x="5412297" y="879973"/>
                  <a:pt x="5412297" y="910454"/>
                </a:cubicBezTo>
                <a:cubicBezTo>
                  <a:pt x="5412297" y="940935"/>
                  <a:pt x="5387587" y="965645"/>
                  <a:pt x="5357105" y="965645"/>
                </a:cubicBezTo>
                <a:cubicBezTo>
                  <a:pt x="5326623" y="965645"/>
                  <a:pt x="5301913" y="940935"/>
                  <a:pt x="5301913" y="910454"/>
                </a:cubicBezTo>
                <a:cubicBezTo>
                  <a:pt x="5301913" y="879973"/>
                  <a:pt x="5326623" y="855263"/>
                  <a:pt x="5357105" y="855263"/>
                </a:cubicBezTo>
                <a:close/>
                <a:moveTo>
                  <a:pt x="5223472" y="855263"/>
                </a:moveTo>
                <a:cubicBezTo>
                  <a:pt x="5253954" y="855263"/>
                  <a:pt x="5278664" y="879973"/>
                  <a:pt x="5278664" y="910454"/>
                </a:cubicBezTo>
                <a:cubicBezTo>
                  <a:pt x="5278664" y="940935"/>
                  <a:pt x="5253954" y="965645"/>
                  <a:pt x="5223472" y="965645"/>
                </a:cubicBezTo>
                <a:cubicBezTo>
                  <a:pt x="5192990" y="965645"/>
                  <a:pt x="5168280" y="940935"/>
                  <a:pt x="5168280" y="910454"/>
                </a:cubicBezTo>
                <a:cubicBezTo>
                  <a:pt x="5168280" y="879973"/>
                  <a:pt x="5192990" y="855263"/>
                  <a:pt x="5223472" y="855263"/>
                </a:cubicBezTo>
                <a:close/>
                <a:moveTo>
                  <a:pt x="5093178" y="855263"/>
                </a:moveTo>
                <a:cubicBezTo>
                  <a:pt x="5123660" y="855263"/>
                  <a:pt x="5148370" y="879973"/>
                  <a:pt x="5148370" y="910454"/>
                </a:cubicBezTo>
                <a:cubicBezTo>
                  <a:pt x="5148370" y="940935"/>
                  <a:pt x="5123660" y="965645"/>
                  <a:pt x="5093178" y="965645"/>
                </a:cubicBezTo>
                <a:cubicBezTo>
                  <a:pt x="5062696" y="965645"/>
                  <a:pt x="5037986" y="940935"/>
                  <a:pt x="5037986" y="910454"/>
                </a:cubicBezTo>
                <a:cubicBezTo>
                  <a:pt x="5037986" y="879973"/>
                  <a:pt x="5062696" y="855263"/>
                  <a:pt x="5093178" y="855263"/>
                </a:cubicBezTo>
                <a:close/>
                <a:moveTo>
                  <a:pt x="4161076" y="855263"/>
                </a:moveTo>
                <a:cubicBezTo>
                  <a:pt x="4191558" y="855263"/>
                  <a:pt x="4216268" y="879973"/>
                  <a:pt x="4216268" y="910454"/>
                </a:cubicBezTo>
                <a:cubicBezTo>
                  <a:pt x="4216268" y="940935"/>
                  <a:pt x="4191558" y="965645"/>
                  <a:pt x="4161076" y="965645"/>
                </a:cubicBezTo>
                <a:cubicBezTo>
                  <a:pt x="4130594" y="965645"/>
                  <a:pt x="4105884" y="940935"/>
                  <a:pt x="4105884" y="910454"/>
                </a:cubicBezTo>
                <a:cubicBezTo>
                  <a:pt x="4105884" y="879973"/>
                  <a:pt x="4130594" y="855263"/>
                  <a:pt x="4161076" y="855263"/>
                </a:cubicBezTo>
                <a:close/>
                <a:moveTo>
                  <a:pt x="3633218" y="855263"/>
                </a:moveTo>
                <a:cubicBezTo>
                  <a:pt x="3663700" y="855263"/>
                  <a:pt x="3688410" y="879973"/>
                  <a:pt x="3688410" y="910454"/>
                </a:cubicBezTo>
                <a:cubicBezTo>
                  <a:pt x="3688410" y="940935"/>
                  <a:pt x="3663700" y="965645"/>
                  <a:pt x="3633218" y="965645"/>
                </a:cubicBezTo>
                <a:cubicBezTo>
                  <a:pt x="3602736" y="965645"/>
                  <a:pt x="3578026" y="940935"/>
                  <a:pt x="3578026" y="910454"/>
                </a:cubicBezTo>
                <a:cubicBezTo>
                  <a:pt x="3578026" y="879973"/>
                  <a:pt x="3602736" y="855263"/>
                  <a:pt x="3633218" y="855263"/>
                </a:cubicBezTo>
                <a:close/>
                <a:moveTo>
                  <a:pt x="3499586" y="855263"/>
                </a:moveTo>
                <a:cubicBezTo>
                  <a:pt x="3530068" y="855263"/>
                  <a:pt x="3554778" y="879973"/>
                  <a:pt x="3554778" y="910454"/>
                </a:cubicBezTo>
                <a:cubicBezTo>
                  <a:pt x="3554778" y="940935"/>
                  <a:pt x="3530068" y="965645"/>
                  <a:pt x="3499586" y="965645"/>
                </a:cubicBezTo>
                <a:cubicBezTo>
                  <a:pt x="3469104" y="965645"/>
                  <a:pt x="3444394" y="940935"/>
                  <a:pt x="3444394" y="910454"/>
                </a:cubicBezTo>
                <a:cubicBezTo>
                  <a:pt x="3444394" y="879973"/>
                  <a:pt x="3469104" y="855263"/>
                  <a:pt x="3499586" y="855263"/>
                </a:cubicBezTo>
                <a:close/>
                <a:moveTo>
                  <a:pt x="3369290" y="855263"/>
                </a:moveTo>
                <a:cubicBezTo>
                  <a:pt x="3399772" y="855263"/>
                  <a:pt x="3424482" y="879973"/>
                  <a:pt x="3424482" y="910454"/>
                </a:cubicBezTo>
                <a:cubicBezTo>
                  <a:pt x="3424482" y="940935"/>
                  <a:pt x="3399772" y="965645"/>
                  <a:pt x="3369290" y="965645"/>
                </a:cubicBezTo>
                <a:cubicBezTo>
                  <a:pt x="3338808" y="965645"/>
                  <a:pt x="3314098" y="940935"/>
                  <a:pt x="3314098" y="910454"/>
                </a:cubicBezTo>
                <a:cubicBezTo>
                  <a:pt x="3314098" y="879973"/>
                  <a:pt x="3338808" y="855263"/>
                  <a:pt x="3369290" y="855263"/>
                </a:cubicBezTo>
                <a:close/>
                <a:moveTo>
                  <a:pt x="2834849" y="855263"/>
                </a:moveTo>
                <a:cubicBezTo>
                  <a:pt x="2865329" y="855263"/>
                  <a:pt x="2890040" y="879973"/>
                  <a:pt x="2890040" y="910454"/>
                </a:cubicBezTo>
                <a:cubicBezTo>
                  <a:pt x="2890040" y="940935"/>
                  <a:pt x="2865329" y="965645"/>
                  <a:pt x="2834849" y="965645"/>
                </a:cubicBezTo>
                <a:cubicBezTo>
                  <a:pt x="2804367" y="965645"/>
                  <a:pt x="2779655" y="940935"/>
                  <a:pt x="2779655" y="910454"/>
                </a:cubicBezTo>
                <a:cubicBezTo>
                  <a:pt x="2779655" y="879973"/>
                  <a:pt x="2804367" y="855263"/>
                  <a:pt x="2834849" y="855263"/>
                </a:cubicBezTo>
                <a:close/>
                <a:moveTo>
                  <a:pt x="2707895" y="855263"/>
                </a:moveTo>
                <a:cubicBezTo>
                  <a:pt x="2738377" y="855263"/>
                  <a:pt x="2763087" y="879973"/>
                  <a:pt x="2763087" y="910454"/>
                </a:cubicBezTo>
                <a:cubicBezTo>
                  <a:pt x="2763087" y="940935"/>
                  <a:pt x="2738377" y="965645"/>
                  <a:pt x="2707895" y="965645"/>
                </a:cubicBezTo>
                <a:cubicBezTo>
                  <a:pt x="2677411" y="965645"/>
                  <a:pt x="2652702" y="940935"/>
                  <a:pt x="2652702" y="910454"/>
                </a:cubicBezTo>
                <a:cubicBezTo>
                  <a:pt x="2652702" y="879973"/>
                  <a:pt x="2677411" y="855263"/>
                  <a:pt x="2707895" y="855263"/>
                </a:cubicBezTo>
                <a:close/>
                <a:moveTo>
                  <a:pt x="2570919" y="855263"/>
                </a:moveTo>
                <a:cubicBezTo>
                  <a:pt x="2601400" y="855263"/>
                  <a:pt x="2626110" y="879973"/>
                  <a:pt x="2626110" y="910454"/>
                </a:cubicBezTo>
                <a:cubicBezTo>
                  <a:pt x="2626110" y="940935"/>
                  <a:pt x="2601400" y="965645"/>
                  <a:pt x="2570919" y="965645"/>
                </a:cubicBezTo>
                <a:cubicBezTo>
                  <a:pt x="2540436" y="965645"/>
                  <a:pt x="2515724" y="940935"/>
                  <a:pt x="2515724" y="910454"/>
                </a:cubicBezTo>
                <a:cubicBezTo>
                  <a:pt x="2515724" y="879973"/>
                  <a:pt x="2540436" y="855263"/>
                  <a:pt x="2570919" y="855263"/>
                </a:cubicBezTo>
                <a:close/>
                <a:moveTo>
                  <a:pt x="2303651" y="855263"/>
                </a:moveTo>
                <a:cubicBezTo>
                  <a:pt x="2334134" y="855263"/>
                  <a:pt x="2358843" y="879973"/>
                  <a:pt x="2358843" y="910454"/>
                </a:cubicBezTo>
                <a:cubicBezTo>
                  <a:pt x="2358843" y="940935"/>
                  <a:pt x="2334134" y="965645"/>
                  <a:pt x="2303651" y="965645"/>
                </a:cubicBezTo>
                <a:cubicBezTo>
                  <a:pt x="2273169" y="965645"/>
                  <a:pt x="2248461" y="940935"/>
                  <a:pt x="2248461" y="910454"/>
                </a:cubicBezTo>
                <a:cubicBezTo>
                  <a:pt x="2248461" y="879973"/>
                  <a:pt x="2273169" y="855263"/>
                  <a:pt x="2303651" y="855263"/>
                </a:cubicBezTo>
                <a:close/>
                <a:moveTo>
                  <a:pt x="2173362" y="855263"/>
                </a:moveTo>
                <a:cubicBezTo>
                  <a:pt x="2203845" y="855263"/>
                  <a:pt x="2228554" y="879973"/>
                  <a:pt x="2228554" y="910454"/>
                </a:cubicBezTo>
                <a:cubicBezTo>
                  <a:pt x="2228554" y="940935"/>
                  <a:pt x="2203845" y="965645"/>
                  <a:pt x="2173362" y="965645"/>
                </a:cubicBezTo>
                <a:cubicBezTo>
                  <a:pt x="2142879" y="965645"/>
                  <a:pt x="2118170" y="940935"/>
                  <a:pt x="2118170" y="910454"/>
                </a:cubicBezTo>
                <a:cubicBezTo>
                  <a:pt x="2118170" y="879973"/>
                  <a:pt x="2142879" y="855263"/>
                  <a:pt x="2173362" y="855263"/>
                </a:cubicBezTo>
                <a:close/>
                <a:moveTo>
                  <a:pt x="2039725" y="855263"/>
                </a:moveTo>
                <a:cubicBezTo>
                  <a:pt x="2070208" y="855263"/>
                  <a:pt x="2094919" y="879973"/>
                  <a:pt x="2094919" y="910454"/>
                </a:cubicBezTo>
                <a:cubicBezTo>
                  <a:pt x="2094919" y="940935"/>
                  <a:pt x="2070208" y="965645"/>
                  <a:pt x="2039725" y="965645"/>
                </a:cubicBezTo>
                <a:cubicBezTo>
                  <a:pt x="2009244" y="965645"/>
                  <a:pt x="1984533" y="940935"/>
                  <a:pt x="1984533" y="910454"/>
                </a:cubicBezTo>
                <a:cubicBezTo>
                  <a:pt x="1984533" y="879973"/>
                  <a:pt x="2009244" y="855263"/>
                  <a:pt x="2039725" y="855263"/>
                </a:cubicBezTo>
                <a:close/>
                <a:moveTo>
                  <a:pt x="1909428" y="855263"/>
                </a:moveTo>
                <a:cubicBezTo>
                  <a:pt x="1939911" y="855263"/>
                  <a:pt x="1964620" y="879973"/>
                  <a:pt x="1964620" y="910454"/>
                </a:cubicBezTo>
                <a:cubicBezTo>
                  <a:pt x="1964620" y="940935"/>
                  <a:pt x="1939911" y="965645"/>
                  <a:pt x="1909428" y="965645"/>
                </a:cubicBezTo>
                <a:cubicBezTo>
                  <a:pt x="1878945" y="965645"/>
                  <a:pt x="1854234" y="940935"/>
                  <a:pt x="1854234" y="910454"/>
                </a:cubicBezTo>
                <a:cubicBezTo>
                  <a:pt x="1854234" y="879973"/>
                  <a:pt x="1878945" y="855263"/>
                  <a:pt x="1909428" y="855263"/>
                </a:cubicBezTo>
                <a:close/>
                <a:moveTo>
                  <a:pt x="1779130" y="855263"/>
                </a:moveTo>
                <a:cubicBezTo>
                  <a:pt x="1809614" y="855263"/>
                  <a:pt x="1834324" y="879973"/>
                  <a:pt x="1834324" y="910454"/>
                </a:cubicBezTo>
                <a:cubicBezTo>
                  <a:pt x="1834324" y="940935"/>
                  <a:pt x="1809614" y="965645"/>
                  <a:pt x="1779130" y="965645"/>
                </a:cubicBezTo>
                <a:cubicBezTo>
                  <a:pt x="1748649" y="965645"/>
                  <a:pt x="1723937" y="940935"/>
                  <a:pt x="1723937" y="910454"/>
                </a:cubicBezTo>
                <a:cubicBezTo>
                  <a:pt x="1723937" y="879973"/>
                  <a:pt x="1748649" y="855263"/>
                  <a:pt x="1779130" y="855263"/>
                </a:cubicBezTo>
                <a:close/>
                <a:moveTo>
                  <a:pt x="1645495" y="855263"/>
                </a:moveTo>
                <a:cubicBezTo>
                  <a:pt x="1675980" y="855263"/>
                  <a:pt x="1700693" y="879973"/>
                  <a:pt x="1700693" y="910454"/>
                </a:cubicBezTo>
                <a:cubicBezTo>
                  <a:pt x="1700693" y="940935"/>
                  <a:pt x="1675980" y="965645"/>
                  <a:pt x="1645495" y="965645"/>
                </a:cubicBezTo>
                <a:cubicBezTo>
                  <a:pt x="1615015" y="965645"/>
                  <a:pt x="1590303" y="940935"/>
                  <a:pt x="1590303" y="910454"/>
                </a:cubicBezTo>
                <a:cubicBezTo>
                  <a:pt x="1590303" y="879973"/>
                  <a:pt x="1615015" y="855263"/>
                  <a:pt x="1645495" y="855263"/>
                </a:cubicBezTo>
                <a:close/>
                <a:moveTo>
                  <a:pt x="1515206" y="855263"/>
                </a:moveTo>
                <a:cubicBezTo>
                  <a:pt x="1545685" y="855263"/>
                  <a:pt x="1570391" y="879973"/>
                  <a:pt x="1570391" y="910454"/>
                </a:cubicBezTo>
                <a:cubicBezTo>
                  <a:pt x="1570391" y="940935"/>
                  <a:pt x="1545685" y="965645"/>
                  <a:pt x="1515206" y="965645"/>
                </a:cubicBezTo>
                <a:cubicBezTo>
                  <a:pt x="1484723" y="965645"/>
                  <a:pt x="1460009" y="940935"/>
                  <a:pt x="1460009" y="910454"/>
                </a:cubicBezTo>
                <a:cubicBezTo>
                  <a:pt x="1460009" y="879973"/>
                  <a:pt x="1484723" y="855263"/>
                  <a:pt x="1515206" y="855263"/>
                </a:cubicBezTo>
                <a:close/>
                <a:moveTo>
                  <a:pt x="1381566" y="855263"/>
                </a:moveTo>
                <a:cubicBezTo>
                  <a:pt x="1412046" y="855263"/>
                  <a:pt x="1436758" y="879973"/>
                  <a:pt x="1436758" y="910454"/>
                </a:cubicBezTo>
                <a:cubicBezTo>
                  <a:pt x="1436758" y="940935"/>
                  <a:pt x="1412046" y="965645"/>
                  <a:pt x="1381566" y="965645"/>
                </a:cubicBezTo>
                <a:cubicBezTo>
                  <a:pt x="1351086" y="965645"/>
                  <a:pt x="1326375" y="940935"/>
                  <a:pt x="1326375" y="910454"/>
                </a:cubicBezTo>
                <a:cubicBezTo>
                  <a:pt x="1326375" y="879973"/>
                  <a:pt x="1351086" y="855263"/>
                  <a:pt x="1381566" y="855263"/>
                </a:cubicBezTo>
                <a:close/>
                <a:moveTo>
                  <a:pt x="1251271" y="855263"/>
                </a:moveTo>
                <a:cubicBezTo>
                  <a:pt x="1281752" y="855263"/>
                  <a:pt x="1306464" y="879973"/>
                  <a:pt x="1306464" y="910454"/>
                </a:cubicBezTo>
                <a:cubicBezTo>
                  <a:pt x="1306464" y="940935"/>
                  <a:pt x="1281752" y="965645"/>
                  <a:pt x="1251271" y="965645"/>
                </a:cubicBezTo>
                <a:cubicBezTo>
                  <a:pt x="1220788" y="965645"/>
                  <a:pt x="1196078" y="940935"/>
                  <a:pt x="1196078" y="910454"/>
                </a:cubicBezTo>
                <a:cubicBezTo>
                  <a:pt x="1196078" y="879973"/>
                  <a:pt x="1220788" y="855263"/>
                  <a:pt x="1251271" y="855263"/>
                </a:cubicBezTo>
                <a:close/>
                <a:moveTo>
                  <a:pt x="1117634" y="855263"/>
                </a:moveTo>
                <a:cubicBezTo>
                  <a:pt x="1148117" y="855263"/>
                  <a:pt x="1172828" y="879973"/>
                  <a:pt x="1172828" y="910454"/>
                </a:cubicBezTo>
                <a:cubicBezTo>
                  <a:pt x="1172828" y="940935"/>
                  <a:pt x="1148117" y="965645"/>
                  <a:pt x="1117634" y="965645"/>
                </a:cubicBezTo>
                <a:cubicBezTo>
                  <a:pt x="1087150" y="965645"/>
                  <a:pt x="1062440" y="940935"/>
                  <a:pt x="1062440" y="910454"/>
                </a:cubicBezTo>
                <a:cubicBezTo>
                  <a:pt x="1062440" y="879973"/>
                  <a:pt x="1087150" y="855263"/>
                  <a:pt x="1117634" y="855263"/>
                </a:cubicBezTo>
                <a:close/>
                <a:moveTo>
                  <a:pt x="980654" y="855263"/>
                </a:moveTo>
                <a:cubicBezTo>
                  <a:pt x="1011137" y="855263"/>
                  <a:pt x="1035848" y="879973"/>
                  <a:pt x="1035848" y="910454"/>
                </a:cubicBezTo>
                <a:cubicBezTo>
                  <a:pt x="1035848" y="940935"/>
                  <a:pt x="1011137" y="965645"/>
                  <a:pt x="980654" y="965645"/>
                </a:cubicBezTo>
                <a:cubicBezTo>
                  <a:pt x="950172" y="965645"/>
                  <a:pt x="925460" y="940935"/>
                  <a:pt x="925460" y="910454"/>
                </a:cubicBezTo>
                <a:cubicBezTo>
                  <a:pt x="925460" y="879973"/>
                  <a:pt x="950172" y="855263"/>
                  <a:pt x="980654" y="855263"/>
                </a:cubicBezTo>
                <a:close/>
                <a:moveTo>
                  <a:pt x="847016" y="855263"/>
                </a:moveTo>
                <a:cubicBezTo>
                  <a:pt x="877497" y="855263"/>
                  <a:pt x="902209" y="879973"/>
                  <a:pt x="902209" y="910454"/>
                </a:cubicBezTo>
                <a:cubicBezTo>
                  <a:pt x="902209" y="940935"/>
                  <a:pt x="877497" y="965645"/>
                  <a:pt x="847016" y="965645"/>
                </a:cubicBezTo>
                <a:cubicBezTo>
                  <a:pt x="816533" y="965645"/>
                  <a:pt x="791816" y="940935"/>
                  <a:pt x="791816" y="910454"/>
                </a:cubicBezTo>
                <a:cubicBezTo>
                  <a:pt x="791816" y="879973"/>
                  <a:pt x="816533" y="855263"/>
                  <a:pt x="847016" y="855263"/>
                </a:cubicBezTo>
                <a:close/>
                <a:moveTo>
                  <a:pt x="716709" y="855263"/>
                </a:moveTo>
                <a:cubicBezTo>
                  <a:pt x="747196" y="855263"/>
                  <a:pt x="771907" y="879973"/>
                  <a:pt x="771907" y="910454"/>
                </a:cubicBezTo>
                <a:cubicBezTo>
                  <a:pt x="771907" y="940935"/>
                  <a:pt x="747196" y="965645"/>
                  <a:pt x="716709" y="965645"/>
                </a:cubicBezTo>
                <a:cubicBezTo>
                  <a:pt x="686233" y="965645"/>
                  <a:pt x="661522" y="940935"/>
                  <a:pt x="661522" y="910454"/>
                </a:cubicBezTo>
                <a:cubicBezTo>
                  <a:pt x="661522" y="879973"/>
                  <a:pt x="686233" y="855263"/>
                  <a:pt x="716709" y="855263"/>
                </a:cubicBezTo>
                <a:close/>
                <a:moveTo>
                  <a:pt x="583074" y="855263"/>
                </a:moveTo>
                <a:cubicBezTo>
                  <a:pt x="613557" y="855263"/>
                  <a:pt x="638268" y="879973"/>
                  <a:pt x="638268" y="910454"/>
                </a:cubicBezTo>
                <a:cubicBezTo>
                  <a:pt x="638268" y="940935"/>
                  <a:pt x="613557" y="965645"/>
                  <a:pt x="583074" y="965645"/>
                </a:cubicBezTo>
                <a:cubicBezTo>
                  <a:pt x="552591" y="965645"/>
                  <a:pt x="527881" y="940935"/>
                  <a:pt x="527881" y="910454"/>
                </a:cubicBezTo>
                <a:cubicBezTo>
                  <a:pt x="527881" y="879973"/>
                  <a:pt x="552591" y="855263"/>
                  <a:pt x="583074" y="855263"/>
                </a:cubicBezTo>
                <a:close/>
                <a:moveTo>
                  <a:pt x="9867273" y="855260"/>
                </a:moveTo>
                <a:cubicBezTo>
                  <a:pt x="9897755" y="855260"/>
                  <a:pt x="9922465" y="879970"/>
                  <a:pt x="9922465" y="910451"/>
                </a:cubicBezTo>
                <a:cubicBezTo>
                  <a:pt x="9922465" y="940932"/>
                  <a:pt x="9897755" y="965642"/>
                  <a:pt x="9867273" y="965642"/>
                </a:cubicBezTo>
                <a:cubicBezTo>
                  <a:pt x="9836791" y="965642"/>
                  <a:pt x="9812081" y="940932"/>
                  <a:pt x="9812081" y="910451"/>
                </a:cubicBezTo>
                <a:cubicBezTo>
                  <a:pt x="9812081" y="879970"/>
                  <a:pt x="9836791" y="855260"/>
                  <a:pt x="9867273" y="855260"/>
                </a:cubicBezTo>
                <a:close/>
                <a:moveTo>
                  <a:pt x="9733637" y="855260"/>
                </a:moveTo>
                <a:cubicBezTo>
                  <a:pt x="9764119" y="855260"/>
                  <a:pt x="9788829" y="879970"/>
                  <a:pt x="9788829" y="910451"/>
                </a:cubicBezTo>
                <a:cubicBezTo>
                  <a:pt x="9788829" y="940932"/>
                  <a:pt x="9764119" y="965642"/>
                  <a:pt x="9733637" y="965642"/>
                </a:cubicBezTo>
                <a:cubicBezTo>
                  <a:pt x="9703155" y="965642"/>
                  <a:pt x="9678445" y="940932"/>
                  <a:pt x="9678445" y="910451"/>
                </a:cubicBezTo>
                <a:cubicBezTo>
                  <a:pt x="9678445" y="879970"/>
                  <a:pt x="9703155" y="855260"/>
                  <a:pt x="9733637" y="855260"/>
                </a:cubicBezTo>
                <a:close/>
                <a:moveTo>
                  <a:pt x="9603343" y="855260"/>
                </a:moveTo>
                <a:cubicBezTo>
                  <a:pt x="9633825" y="855260"/>
                  <a:pt x="9658535" y="879970"/>
                  <a:pt x="9658535" y="910451"/>
                </a:cubicBezTo>
                <a:cubicBezTo>
                  <a:pt x="9658535" y="940932"/>
                  <a:pt x="9633825" y="965642"/>
                  <a:pt x="9603343" y="965642"/>
                </a:cubicBezTo>
                <a:cubicBezTo>
                  <a:pt x="9572861" y="965642"/>
                  <a:pt x="9548151" y="940932"/>
                  <a:pt x="9548151" y="910451"/>
                </a:cubicBezTo>
                <a:cubicBezTo>
                  <a:pt x="9548151" y="879970"/>
                  <a:pt x="9572861" y="855260"/>
                  <a:pt x="9603343" y="855260"/>
                </a:cubicBezTo>
                <a:close/>
                <a:moveTo>
                  <a:pt x="449429" y="855260"/>
                </a:moveTo>
                <a:cubicBezTo>
                  <a:pt x="479910" y="855260"/>
                  <a:pt x="504621" y="879970"/>
                  <a:pt x="504621" y="910451"/>
                </a:cubicBezTo>
                <a:cubicBezTo>
                  <a:pt x="504621" y="940932"/>
                  <a:pt x="479910" y="965642"/>
                  <a:pt x="449429" y="965642"/>
                </a:cubicBezTo>
                <a:cubicBezTo>
                  <a:pt x="418945" y="965642"/>
                  <a:pt x="394234" y="940932"/>
                  <a:pt x="394234" y="910451"/>
                </a:cubicBezTo>
                <a:cubicBezTo>
                  <a:pt x="394234" y="879970"/>
                  <a:pt x="418945" y="855260"/>
                  <a:pt x="449429" y="855260"/>
                </a:cubicBezTo>
                <a:close/>
                <a:moveTo>
                  <a:pt x="319132" y="855260"/>
                </a:moveTo>
                <a:cubicBezTo>
                  <a:pt x="349615" y="855260"/>
                  <a:pt x="374326" y="879970"/>
                  <a:pt x="374326" y="910451"/>
                </a:cubicBezTo>
                <a:cubicBezTo>
                  <a:pt x="374326" y="940932"/>
                  <a:pt x="349615" y="965642"/>
                  <a:pt x="319132" y="965642"/>
                </a:cubicBezTo>
                <a:cubicBezTo>
                  <a:pt x="288649" y="965642"/>
                  <a:pt x="263940" y="940932"/>
                  <a:pt x="263940" y="910451"/>
                </a:cubicBezTo>
                <a:cubicBezTo>
                  <a:pt x="263940" y="879970"/>
                  <a:pt x="288649" y="855260"/>
                  <a:pt x="319132" y="855260"/>
                </a:cubicBezTo>
                <a:close/>
                <a:moveTo>
                  <a:pt x="185499" y="855260"/>
                </a:moveTo>
                <a:cubicBezTo>
                  <a:pt x="215981" y="855260"/>
                  <a:pt x="240690" y="879970"/>
                  <a:pt x="240690" y="910451"/>
                </a:cubicBezTo>
                <a:cubicBezTo>
                  <a:pt x="240690" y="940932"/>
                  <a:pt x="215981" y="965642"/>
                  <a:pt x="185499" y="965642"/>
                </a:cubicBezTo>
                <a:cubicBezTo>
                  <a:pt x="155018" y="965642"/>
                  <a:pt x="130308" y="940932"/>
                  <a:pt x="130308" y="910451"/>
                </a:cubicBezTo>
                <a:cubicBezTo>
                  <a:pt x="130308" y="879970"/>
                  <a:pt x="155018" y="855260"/>
                  <a:pt x="185499" y="855260"/>
                </a:cubicBezTo>
                <a:close/>
                <a:moveTo>
                  <a:pt x="9733637" y="724970"/>
                </a:moveTo>
                <a:cubicBezTo>
                  <a:pt x="9764119" y="724970"/>
                  <a:pt x="9788829" y="749680"/>
                  <a:pt x="9788829" y="780161"/>
                </a:cubicBezTo>
                <a:cubicBezTo>
                  <a:pt x="9788829" y="810642"/>
                  <a:pt x="9764119" y="835352"/>
                  <a:pt x="9733637" y="835352"/>
                </a:cubicBezTo>
                <a:cubicBezTo>
                  <a:pt x="9703155" y="835352"/>
                  <a:pt x="9678445" y="810642"/>
                  <a:pt x="9678445" y="780161"/>
                </a:cubicBezTo>
                <a:cubicBezTo>
                  <a:pt x="9678445" y="749680"/>
                  <a:pt x="9703155" y="724970"/>
                  <a:pt x="9733637" y="724970"/>
                </a:cubicBezTo>
                <a:close/>
                <a:moveTo>
                  <a:pt x="9603344" y="724970"/>
                </a:moveTo>
                <a:cubicBezTo>
                  <a:pt x="9633826" y="724970"/>
                  <a:pt x="9658536" y="749680"/>
                  <a:pt x="9658536" y="780161"/>
                </a:cubicBezTo>
                <a:cubicBezTo>
                  <a:pt x="9658536" y="810642"/>
                  <a:pt x="9633826" y="835352"/>
                  <a:pt x="9603344" y="835352"/>
                </a:cubicBezTo>
                <a:cubicBezTo>
                  <a:pt x="9572862" y="835352"/>
                  <a:pt x="9548152" y="810642"/>
                  <a:pt x="9548152" y="780161"/>
                </a:cubicBezTo>
                <a:cubicBezTo>
                  <a:pt x="9548152" y="749680"/>
                  <a:pt x="9572862" y="724970"/>
                  <a:pt x="9603344" y="724970"/>
                </a:cubicBezTo>
                <a:close/>
                <a:moveTo>
                  <a:pt x="9469710" y="724970"/>
                </a:moveTo>
                <a:cubicBezTo>
                  <a:pt x="9500192" y="724970"/>
                  <a:pt x="9524902" y="749680"/>
                  <a:pt x="9524902" y="780161"/>
                </a:cubicBezTo>
                <a:cubicBezTo>
                  <a:pt x="9524902" y="810642"/>
                  <a:pt x="9500192" y="835352"/>
                  <a:pt x="9469710" y="835352"/>
                </a:cubicBezTo>
                <a:cubicBezTo>
                  <a:pt x="9439228" y="835352"/>
                  <a:pt x="9414518" y="810642"/>
                  <a:pt x="9414518" y="780161"/>
                </a:cubicBezTo>
                <a:cubicBezTo>
                  <a:pt x="9414518" y="749680"/>
                  <a:pt x="9439228" y="724970"/>
                  <a:pt x="9469710" y="724970"/>
                </a:cubicBezTo>
                <a:close/>
                <a:moveTo>
                  <a:pt x="9336075" y="724970"/>
                </a:moveTo>
                <a:cubicBezTo>
                  <a:pt x="9366557" y="724970"/>
                  <a:pt x="9391267" y="749680"/>
                  <a:pt x="9391267" y="780161"/>
                </a:cubicBezTo>
                <a:cubicBezTo>
                  <a:pt x="9391267" y="810642"/>
                  <a:pt x="9366557" y="835352"/>
                  <a:pt x="9336075" y="835352"/>
                </a:cubicBezTo>
                <a:cubicBezTo>
                  <a:pt x="9305593" y="835352"/>
                  <a:pt x="9280883" y="810642"/>
                  <a:pt x="9280883" y="780161"/>
                </a:cubicBezTo>
                <a:cubicBezTo>
                  <a:pt x="9280883" y="749680"/>
                  <a:pt x="9305593" y="724970"/>
                  <a:pt x="9336075" y="724970"/>
                </a:cubicBezTo>
                <a:close/>
                <a:moveTo>
                  <a:pt x="9199100" y="724970"/>
                </a:moveTo>
                <a:cubicBezTo>
                  <a:pt x="9229582" y="724970"/>
                  <a:pt x="9254292" y="749680"/>
                  <a:pt x="9254292" y="780161"/>
                </a:cubicBezTo>
                <a:cubicBezTo>
                  <a:pt x="9254292" y="810642"/>
                  <a:pt x="9229582" y="835352"/>
                  <a:pt x="9199100" y="835352"/>
                </a:cubicBezTo>
                <a:cubicBezTo>
                  <a:pt x="9168618" y="835352"/>
                  <a:pt x="9143908" y="810642"/>
                  <a:pt x="9143908" y="780161"/>
                </a:cubicBezTo>
                <a:cubicBezTo>
                  <a:pt x="9143908" y="749680"/>
                  <a:pt x="9168618" y="724970"/>
                  <a:pt x="9199100" y="724970"/>
                </a:cubicBezTo>
                <a:close/>
                <a:moveTo>
                  <a:pt x="9068806" y="724970"/>
                </a:moveTo>
                <a:cubicBezTo>
                  <a:pt x="9099288" y="724970"/>
                  <a:pt x="9123998" y="749680"/>
                  <a:pt x="9123998" y="780161"/>
                </a:cubicBezTo>
                <a:cubicBezTo>
                  <a:pt x="9123998" y="810642"/>
                  <a:pt x="9099288" y="835352"/>
                  <a:pt x="9068806" y="835352"/>
                </a:cubicBezTo>
                <a:cubicBezTo>
                  <a:pt x="9038324" y="835352"/>
                  <a:pt x="9013614" y="810642"/>
                  <a:pt x="9013614" y="780161"/>
                </a:cubicBezTo>
                <a:cubicBezTo>
                  <a:pt x="9013614" y="749680"/>
                  <a:pt x="9038324" y="724970"/>
                  <a:pt x="9068806" y="724970"/>
                </a:cubicBezTo>
                <a:close/>
                <a:moveTo>
                  <a:pt x="8935170" y="724970"/>
                </a:moveTo>
                <a:cubicBezTo>
                  <a:pt x="8965652" y="724970"/>
                  <a:pt x="8990362" y="749680"/>
                  <a:pt x="8990362" y="780161"/>
                </a:cubicBezTo>
                <a:cubicBezTo>
                  <a:pt x="8990362" y="810642"/>
                  <a:pt x="8965652" y="835352"/>
                  <a:pt x="8935170" y="835352"/>
                </a:cubicBezTo>
                <a:cubicBezTo>
                  <a:pt x="8904688" y="835352"/>
                  <a:pt x="8879978" y="810642"/>
                  <a:pt x="8879978" y="780161"/>
                </a:cubicBezTo>
                <a:cubicBezTo>
                  <a:pt x="8879978" y="749680"/>
                  <a:pt x="8904688" y="724970"/>
                  <a:pt x="8935170" y="724970"/>
                </a:cubicBezTo>
                <a:close/>
                <a:moveTo>
                  <a:pt x="8801536" y="724970"/>
                </a:moveTo>
                <a:cubicBezTo>
                  <a:pt x="8832018" y="724970"/>
                  <a:pt x="8856728" y="749680"/>
                  <a:pt x="8856728" y="780161"/>
                </a:cubicBezTo>
                <a:cubicBezTo>
                  <a:pt x="8856728" y="810642"/>
                  <a:pt x="8832018" y="835352"/>
                  <a:pt x="8801536" y="835352"/>
                </a:cubicBezTo>
                <a:cubicBezTo>
                  <a:pt x="8771054" y="835352"/>
                  <a:pt x="8746344" y="810642"/>
                  <a:pt x="8746344" y="780161"/>
                </a:cubicBezTo>
                <a:cubicBezTo>
                  <a:pt x="8746344" y="749680"/>
                  <a:pt x="8771054" y="724970"/>
                  <a:pt x="8801536" y="724970"/>
                </a:cubicBezTo>
                <a:close/>
                <a:moveTo>
                  <a:pt x="8671243" y="724970"/>
                </a:moveTo>
                <a:cubicBezTo>
                  <a:pt x="8701725" y="724970"/>
                  <a:pt x="8726435" y="749680"/>
                  <a:pt x="8726435" y="780161"/>
                </a:cubicBezTo>
                <a:cubicBezTo>
                  <a:pt x="8726435" y="810642"/>
                  <a:pt x="8701725" y="835352"/>
                  <a:pt x="8671243" y="835352"/>
                </a:cubicBezTo>
                <a:cubicBezTo>
                  <a:pt x="8640761" y="835352"/>
                  <a:pt x="8616051" y="810642"/>
                  <a:pt x="8616051" y="780161"/>
                </a:cubicBezTo>
                <a:cubicBezTo>
                  <a:pt x="8616051" y="749680"/>
                  <a:pt x="8640761" y="724970"/>
                  <a:pt x="8671243" y="724970"/>
                </a:cubicBezTo>
                <a:close/>
                <a:moveTo>
                  <a:pt x="8537609" y="724970"/>
                </a:moveTo>
                <a:cubicBezTo>
                  <a:pt x="8568091" y="724970"/>
                  <a:pt x="8592801" y="749680"/>
                  <a:pt x="8592801" y="780161"/>
                </a:cubicBezTo>
                <a:cubicBezTo>
                  <a:pt x="8592801" y="810642"/>
                  <a:pt x="8568091" y="835352"/>
                  <a:pt x="8537609" y="835352"/>
                </a:cubicBezTo>
                <a:cubicBezTo>
                  <a:pt x="8507127" y="835352"/>
                  <a:pt x="8482417" y="810642"/>
                  <a:pt x="8482417" y="780161"/>
                </a:cubicBezTo>
                <a:cubicBezTo>
                  <a:pt x="8482417" y="749680"/>
                  <a:pt x="8507127" y="724970"/>
                  <a:pt x="8537609" y="724970"/>
                </a:cubicBezTo>
                <a:close/>
                <a:moveTo>
                  <a:pt x="8407318" y="724970"/>
                </a:moveTo>
                <a:cubicBezTo>
                  <a:pt x="8437800" y="724970"/>
                  <a:pt x="8462510" y="749680"/>
                  <a:pt x="8462510" y="780161"/>
                </a:cubicBezTo>
                <a:cubicBezTo>
                  <a:pt x="8462510" y="810642"/>
                  <a:pt x="8437800" y="835352"/>
                  <a:pt x="8407318" y="835352"/>
                </a:cubicBezTo>
                <a:cubicBezTo>
                  <a:pt x="8376836" y="835352"/>
                  <a:pt x="8352126" y="810642"/>
                  <a:pt x="8352126" y="780161"/>
                </a:cubicBezTo>
                <a:cubicBezTo>
                  <a:pt x="8352126" y="749680"/>
                  <a:pt x="8376836" y="724970"/>
                  <a:pt x="8407318" y="724970"/>
                </a:cubicBezTo>
                <a:close/>
                <a:moveTo>
                  <a:pt x="8273682" y="724970"/>
                </a:moveTo>
                <a:cubicBezTo>
                  <a:pt x="8304164" y="724970"/>
                  <a:pt x="8328874" y="749680"/>
                  <a:pt x="8328874" y="780161"/>
                </a:cubicBezTo>
                <a:cubicBezTo>
                  <a:pt x="8328874" y="810642"/>
                  <a:pt x="8304164" y="835352"/>
                  <a:pt x="8273682" y="835352"/>
                </a:cubicBezTo>
                <a:cubicBezTo>
                  <a:pt x="8243200" y="835352"/>
                  <a:pt x="8218490" y="810642"/>
                  <a:pt x="8218490" y="780161"/>
                </a:cubicBezTo>
                <a:cubicBezTo>
                  <a:pt x="8218490" y="749680"/>
                  <a:pt x="8243200" y="724970"/>
                  <a:pt x="8273682" y="724970"/>
                </a:cubicBezTo>
                <a:close/>
                <a:moveTo>
                  <a:pt x="8143386" y="724970"/>
                </a:moveTo>
                <a:cubicBezTo>
                  <a:pt x="8173868" y="724970"/>
                  <a:pt x="8198578" y="749680"/>
                  <a:pt x="8198578" y="780161"/>
                </a:cubicBezTo>
                <a:cubicBezTo>
                  <a:pt x="8198578" y="810642"/>
                  <a:pt x="8173868" y="835352"/>
                  <a:pt x="8143386" y="835352"/>
                </a:cubicBezTo>
                <a:cubicBezTo>
                  <a:pt x="8112904" y="835352"/>
                  <a:pt x="8088194" y="810642"/>
                  <a:pt x="8088194" y="780161"/>
                </a:cubicBezTo>
                <a:cubicBezTo>
                  <a:pt x="8088194" y="749680"/>
                  <a:pt x="8112904" y="724970"/>
                  <a:pt x="8143386" y="724970"/>
                </a:cubicBezTo>
                <a:close/>
                <a:moveTo>
                  <a:pt x="8009753" y="724970"/>
                </a:moveTo>
                <a:cubicBezTo>
                  <a:pt x="8040235" y="724970"/>
                  <a:pt x="8064945" y="749680"/>
                  <a:pt x="8064945" y="780161"/>
                </a:cubicBezTo>
                <a:cubicBezTo>
                  <a:pt x="8064945" y="810642"/>
                  <a:pt x="8040235" y="835352"/>
                  <a:pt x="8009753" y="835352"/>
                </a:cubicBezTo>
                <a:cubicBezTo>
                  <a:pt x="7979271" y="835352"/>
                  <a:pt x="7954561" y="810642"/>
                  <a:pt x="7954561" y="780161"/>
                </a:cubicBezTo>
                <a:cubicBezTo>
                  <a:pt x="7954561" y="749680"/>
                  <a:pt x="7979271" y="724970"/>
                  <a:pt x="8009753" y="724970"/>
                </a:cubicBezTo>
                <a:close/>
                <a:moveTo>
                  <a:pt x="7876118" y="724970"/>
                </a:moveTo>
                <a:cubicBezTo>
                  <a:pt x="7906600" y="724970"/>
                  <a:pt x="7931310" y="749680"/>
                  <a:pt x="7931310" y="780161"/>
                </a:cubicBezTo>
                <a:cubicBezTo>
                  <a:pt x="7931310" y="810642"/>
                  <a:pt x="7906600" y="835352"/>
                  <a:pt x="7876118" y="835352"/>
                </a:cubicBezTo>
                <a:cubicBezTo>
                  <a:pt x="7845636" y="835352"/>
                  <a:pt x="7820926" y="810642"/>
                  <a:pt x="7820926" y="780161"/>
                </a:cubicBezTo>
                <a:cubicBezTo>
                  <a:pt x="7820926" y="749680"/>
                  <a:pt x="7845636" y="724970"/>
                  <a:pt x="7876118" y="724970"/>
                </a:cubicBezTo>
                <a:close/>
                <a:moveTo>
                  <a:pt x="7745824" y="724970"/>
                </a:moveTo>
                <a:cubicBezTo>
                  <a:pt x="7776306" y="724970"/>
                  <a:pt x="7801016" y="749680"/>
                  <a:pt x="7801016" y="780161"/>
                </a:cubicBezTo>
                <a:cubicBezTo>
                  <a:pt x="7801016" y="810642"/>
                  <a:pt x="7776306" y="835352"/>
                  <a:pt x="7745824" y="835352"/>
                </a:cubicBezTo>
                <a:cubicBezTo>
                  <a:pt x="7715342" y="835352"/>
                  <a:pt x="7690632" y="810642"/>
                  <a:pt x="7690632" y="780161"/>
                </a:cubicBezTo>
                <a:cubicBezTo>
                  <a:pt x="7690632" y="749680"/>
                  <a:pt x="7715342" y="724970"/>
                  <a:pt x="7745824" y="724970"/>
                </a:cubicBezTo>
                <a:close/>
                <a:moveTo>
                  <a:pt x="7608850" y="724970"/>
                </a:moveTo>
                <a:cubicBezTo>
                  <a:pt x="7639332" y="724970"/>
                  <a:pt x="7664042" y="749680"/>
                  <a:pt x="7664042" y="780161"/>
                </a:cubicBezTo>
                <a:cubicBezTo>
                  <a:pt x="7664042" y="810642"/>
                  <a:pt x="7639332" y="835352"/>
                  <a:pt x="7608850" y="835352"/>
                </a:cubicBezTo>
                <a:cubicBezTo>
                  <a:pt x="7578368" y="835352"/>
                  <a:pt x="7553658" y="810642"/>
                  <a:pt x="7553658" y="780161"/>
                </a:cubicBezTo>
                <a:cubicBezTo>
                  <a:pt x="7553658" y="749680"/>
                  <a:pt x="7578368" y="724970"/>
                  <a:pt x="7608850" y="724970"/>
                </a:cubicBezTo>
                <a:close/>
                <a:moveTo>
                  <a:pt x="7481895" y="724970"/>
                </a:moveTo>
                <a:cubicBezTo>
                  <a:pt x="7512377" y="724970"/>
                  <a:pt x="7537087" y="749680"/>
                  <a:pt x="7537087" y="780161"/>
                </a:cubicBezTo>
                <a:cubicBezTo>
                  <a:pt x="7537087" y="810642"/>
                  <a:pt x="7512377" y="835352"/>
                  <a:pt x="7481895" y="835352"/>
                </a:cubicBezTo>
                <a:cubicBezTo>
                  <a:pt x="7451413" y="835352"/>
                  <a:pt x="7426703" y="810642"/>
                  <a:pt x="7426703" y="780161"/>
                </a:cubicBezTo>
                <a:cubicBezTo>
                  <a:pt x="7426703" y="749680"/>
                  <a:pt x="7451413" y="724970"/>
                  <a:pt x="7481895" y="724970"/>
                </a:cubicBezTo>
                <a:close/>
                <a:moveTo>
                  <a:pt x="7341579" y="724970"/>
                </a:moveTo>
                <a:cubicBezTo>
                  <a:pt x="7372061" y="724970"/>
                  <a:pt x="7396771" y="749680"/>
                  <a:pt x="7396771" y="780161"/>
                </a:cubicBezTo>
                <a:cubicBezTo>
                  <a:pt x="7396771" y="810642"/>
                  <a:pt x="7372061" y="835352"/>
                  <a:pt x="7341579" y="835352"/>
                </a:cubicBezTo>
                <a:cubicBezTo>
                  <a:pt x="7311097" y="835352"/>
                  <a:pt x="7286387" y="810642"/>
                  <a:pt x="7286387" y="780161"/>
                </a:cubicBezTo>
                <a:cubicBezTo>
                  <a:pt x="7286387" y="749680"/>
                  <a:pt x="7311097" y="724970"/>
                  <a:pt x="7341579" y="724970"/>
                </a:cubicBezTo>
                <a:close/>
                <a:moveTo>
                  <a:pt x="7211286" y="724970"/>
                </a:moveTo>
                <a:cubicBezTo>
                  <a:pt x="7241768" y="724970"/>
                  <a:pt x="7266478" y="749680"/>
                  <a:pt x="7266478" y="780161"/>
                </a:cubicBezTo>
                <a:cubicBezTo>
                  <a:pt x="7266478" y="810642"/>
                  <a:pt x="7241768" y="835352"/>
                  <a:pt x="7211286" y="835352"/>
                </a:cubicBezTo>
                <a:cubicBezTo>
                  <a:pt x="7180804" y="835352"/>
                  <a:pt x="7156094" y="810642"/>
                  <a:pt x="7156094" y="780161"/>
                </a:cubicBezTo>
                <a:cubicBezTo>
                  <a:pt x="7156094" y="749680"/>
                  <a:pt x="7180804" y="724970"/>
                  <a:pt x="7211286" y="724970"/>
                </a:cubicBezTo>
                <a:close/>
                <a:moveTo>
                  <a:pt x="7080994" y="724970"/>
                </a:moveTo>
                <a:cubicBezTo>
                  <a:pt x="7111476" y="724970"/>
                  <a:pt x="7136186" y="749680"/>
                  <a:pt x="7136186" y="780161"/>
                </a:cubicBezTo>
                <a:cubicBezTo>
                  <a:pt x="7136186" y="810642"/>
                  <a:pt x="7111476" y="835352"/>
                  <a:pt x="7080994" y="835352"/>
                </a:cubicBezTo>
                <a:cubicBezTo>
                  <a:pt x="7050512" y="835352"/>
                  <a:pt x="7025802" y="810642"/>
                  <a:pt x="7025802" y="780161"/>
                </a:cubicBezTo>
                <a:cubicBezTo>
                  <a:pt x="7025802" y="749680"/>
                  <a:pt x="7050512" y="724970"/>
                  <a:pt x="7080994" y="724970"/>
                </a:cubicBezTo>
                <a:close/>
                <a:moveTo>
                  <a:pt x="6947358" y="724970"/>
                </a:moveTo>
                <a:cubicBezTo>
                  <a:pt x="6977840" y="724970"/>
                  <a:pt x="7002550" y="749680"/>
                  <a:pt x="7002550" y="780161"/>
                </a:cubicBezTo>
                <a:cubicBezTo>
                  <a:pt x="7002550" y="810642"/>
                  <a:pt x="6977840" y="835352"/>
                  <a:pt x="6947358" y="835352"/>
                </a:cubicBezTo>
                <a:cubicBezTo>
                  <a:pt x="6916876" y="835352"/>
                  <a:pt x="6892166" y="810642"/>
                  <a:pt x="6892166" y="780161"/>
                </a:cubicBezTo>
                <a:cubicBezTo>
                  <a:pt x="6892166" y="749680"/>
                  <a:pt x="6916876" y="724970"/>
                  <a:pt x="6947358" y="724970"/>
                </a:cubicBezTo>
                <a:close/>
                <a:moveTo>
                  <a:pt x="6817064" y="724970"/>
                </a:moveTo>
                <a:cubicBezTo>
                  <a:pt x="6847546" y="724970"/>
                  <a:pt x="6872256" y="749680"/>
                  <a:pt x="6872256" y="780161"/>
                </a:cubicBezTo>
                <a:cubicBezTo>
                  <a:pt x="6872256" y="810642"/>
                  <a:pt x="6847546" y="835352"/>
                  <a:pt x="6817064" y="835352"/>
                </a:cubicBezTo>
                <a:cubicBezTo>
                  <a:pt x="6786582" y="835352"/>
                  <a:pt x="6761872" y="810642"/>
                  <a:pt x="6761872" y="780161"/>
                </a:cubicBezTo>
                <a:cubicBezTo>
                  <a:pt x="6761872" y="749680"/>
                  <a:pt x="6786582" y="724970"/>
                  <a:pt x="6817064" y="724970"/>
                </a:cubicBezTo>
                <a:close/>
                <a:moveTo>
                  <a:pt x="6683431" y="724970"/>
                </a:moveTo>
                <a:cubicBezTo>
                  <a:pt x="6713913" y="724970"/>
                  <a:pt x="6738623" y="749680"/>
                  <a:pt x="6738623" y="780161"/>
                </a:cubicBezTo>
                <a:cubicBezTo>
                  <a:pt x="6738623" y="810642"/>
                  <a:pt x="6713913" y="835352"/>
                  <a:pt x="6683431" y="835352"/>
                </a:cubicBezTo>
                <a:cubicBezTo>
                  <a:pt x="6652949" y="835352"/>
                  <a:pt x="6628239" y="810642"/>
                  <a:pt x="6628239" y="780161"/>
                </a:cubicBezTo>
                <a:cubicBezTo>
                  <a:pt x="6628239" y="749680"/>
                  <a:pt x="6652949" y="724970"/>
                  <a:pt x="6683431" y="724970"/>
                </a:cubicBezTo>
                <a:close/>
                <a:moveTo>
                  <a:pt x="6553137" y="724970"/>
                </a:moveTo>
                <a:cubicBezTo>
                  <a:pt x="6583619" y="724970"/>
                  <a:pt x="6608329" y="749680"/>
                  <a:pt x="6608329" y="780161"/>
                </a:cubicBezTo>
                <a:cubicBezTo>
                  <a:pt x="6608329" y="810642"/>
                  <a:pt x="6583619" y="835352"/>
                  <a:pt x="6553137" y="835352"/>
                </a:cubicBezTo>
                <a:cubicBezTo>
                  <a:pt x="6522655" y="835352"/>
                  <a:pt x="6497945" y="810642"/>
                  <a:pt x="6497945" y="780161"/>
                </a:cubicBezTo>
                <a:cubicBezTo>
                  <a:pt x="6497945" y="749680"/>
                  <a:pt x="6522655" y="724970"/>
                  <a:pt x="6553137" y="724970"/>
                </a:cubicBezTo>
                <a:close/>
                <a:moveTo>
                  <a:pt x="6419503" y="724970"/>
                </a:moveTo>
                <a:cubicBezTo>
                  <a:pt x="6449985" y="724970"/>
                  <a:pt x="6474695" y="749680"/>
                  <a:pt x="6474695" y="780161"/>
                </a:cubicBezTo>
                <a:cubicBezTo>
                  <a:pt x="6474695" y="810642"/>
                  <a:pt x="6449985" y="835352"/>
                  <a:pt x="6419503" y="835352"/>
                </a:cubicBezTo>
                <a:cubicBezTo>
                  <a:pt x="6389021" y="835352"/>
                  <a:pt x="6364311" y="810642"/>
                  <a:pt x="6364311" y="780161"/>
                </a:cubicBezTo>
                <a:cubicBezTo>
                  <a:pt x="6364311" y="749680"/>
                  <a:pt x="6389021" y="724970"/>
                  <a:pt x="6419503" y="724970"/>
                </a:cubicBezTo>
                <a:close/>
                <a:moveTo>
                  <a:pt x="6289207" y="724970"/>
                </a:moveTo>
                <a:cubicBezTo>
                  <a:pt x="6319689" y="724970"/>
                  <a:pt x="6344399" y="749680"/>
                  <a:pt x="6344399" y="780161"/>
                </a:cubicBezTo>
                <a:cubicBezTo>
                  <a:pt x="6344399" y="810642"/>
                  <a:pt x="6319689" y="835352"/>
                  <a:pt x="6289207" y="835352"/>
                </a:cubicBezTo>
                <a:cubicBezTo>
                  <a:pt x="6258725" y="835352"/>
                  <a:pt x="6234015" y="810642"/>
                  <a:pt x="6234015" y="780161"/>
                </a:cubicBezTo>
                <a:cubicBezTo>
                  <a:pt x="6234015" y="749680"/>
                  <a:pt x="6258725" y="724970"/>
                  <a:pt x="6289207" y="724970"/>
                </a:cubicBezTo>
                <a:close/>
                <a:moveTo>
                  <a:pt x="6155573" y="724970"/>
                </a:moveTo>
                <a:cubicBezTo>
                  <a:pt x="6186055" y="724970"/>
                  <a:pt x="6210765" y="749680"/>
                  <a:pt x="6210765" y="780161"/>
                </a:cubicBezTo>
                <a:cubicBezTo>
                  <a:pt x="6210765" y="810642"/>
                  <a:pt x="6186055" y="835352"/>
                  <a:pt x="6155573" y="835352"/>
                </a:cubicBezTo>
                <a:cubicBezTo>
                  <a:pt x="6125091" y="835352"/>
                  <a:pt x="6100381" y="810642"/>
                  <a:pt x="6100381" y="780161"/>
                </a:cubicBezTo>
                <a:cubicBezTo>
                  <a:pt x="6100381" y="749680"/>
                  <a:pt x="6125091" y="724970"/>
                  <a:pt x="6155573" y="724970"/>
                </a:cubicBezTo>
                <a:close/>
                <a:moveTo>
                  <a:pt x="5621035" y="724970"/>
                </a:moveTo>
                <a:cubicBezTo>
                  <a:pt x="5651517" y="724970"/>
                  <a:pt x="5676227" y="749680"/>
                  <a:pt x="5676227" y="780161"/>
                </a:cubicBezTo>
                <a:cubicBezTo>
                  <a:pt x="5676227" y="810642"/>
                  <a:pt x="5651517" y="835352"/>
                  <a:pt x="5621035" y="835352"/>
                </a:cubicBezTo>
                <a:cubicBezTo>
                  <a:pt x="5590553" y="835352"/>
                  <a:pt x="5565843" y="810642"/>
                  <a:pt x="5565843" y="780161"/>
                </a:cubicBezTo>
                <a:cubicBezTo>
                  <a:pt x="5565843" y="749680"/>
                  <a:pt x="5590553" y="724970"/>
                  <a:pt x="5621035" y="724970"/>
                </a:cubicBezTo>
                <a:close/>
                <a:moveTo>
                  <a:pt x="5487399" y="724970"/>
                </a:moveTo>
                <a:cubicBezTo>
                  <a:pt x="5517881" y="724970"/>
                  <a:pt x="5542591" y="749680"/>
                  <a:pt x="5542591" y="780161"/>
                </a:cubicBezTo>
                <a:cubicBezTo>
                  <a:pt x="5542591" y="810642"/>
                  <a:pt x="5517881" y="835352"/>
                  <a:pt x="5487399" y="835352"/>
                </a:cubicBezTo>
                <a:cubicBezTo>
                  <a:pt x="5456917" y="835352"/>
                  <a:pt x="5432207" y="810642"/>
                  <a:pt x="5432207" y="780161"/>
                </a:cubicBezTo>
                <a:cubicBezTo>
                  <a:pt x="5432207" y="749680"/>
                  <a:pt x="5456917" y="724970"/>
                  <a:pt x="5487399" y="724970"/>
                </a:cubicBezTo>
                <a:close/>
                <a:moveTo>
                  <a:pt x="5357106" y="724970"/>
                </a:moveTo>
                <a:cubicBezTo>
                  <a:pt x="5387588" y="724970"/>
                  <a:pt x="5412298" y="749680"/>
                  <a:pt x="5412298" y="780161"/>
                </a:cubicBezTo>
                <a:cubicBezTo>
                  <a:pt x="5412298" y="810642"/>
                  <a:pt x="5387588" y="835352"/>
                  <a:pt x="5357106" y="835352"/>
                </a:cubicBezTo>
                <a:cubicBezTo>
                  <a:pt x="5326624" y="835352"/>
                  <a:pt x="5301914" y="810642"/>
                  <a:pt x="5301914" y="780161"/>
                </a:cubicBezTo>
                <a:cubicBezTo>
                  <a:pt x="5301914" y="749680"/>
                  <a:pt x="5326624" y="724970"/>
                  <a:pt x="5357106" y="724970"/>
                </a:cubicBezTo>
                <a:close/>
                <a:moveTo>
                  <a:pt x="5223473" y="724970"/>
                </a:moveTo>
                <a:cubicBezTo>
                  <a:pt x="5253955" y="724970"/>
                  <a:pt x="5278665" y="749680"/>
                  <a:pt x="5278665" y="780161"/>
                </a:cubicBezTo>
                <a:cubicBezTo>
                  <a:pt x="5278665" y="810642"/>
                  <a:pt x="5253955" y="835352"/>
                  <a:pt x="5223473" y="835352"/>
                </a:cubicBezTo>
                <a:cubicBezTo>
                  <a:pt x="5192991" y="835352"/>
                  <a:pt x="5168281" y="810642"/>
                  <a:pt x="5168281" y="780161"/>
                </a:cubicBezTo>
                <a:cubicBezTo>
                  <a:pt x="5168281" y="749680"/>
                  <a:pt x="5192991" y="724970"/>
                  <a:pt x="5223473" y="724970"/>
                </a:cubicBezTo>
                <a:close/>
                <a:moveTo>
                  <a:pt x="5093178" y="724970"/>
                </a:moveTo>
                <a:cubicBezTo>
                  <a:pt x="5123660" y="724970"/>
                  <a:pt x="5148370" y="749680"/>
                  <a:pt x="5148370" y="780161"/>
                </a:cubicBezTo>
                <a:cubicBezTo>
                  <a:pt x="5148370" y="810642"/>
                  <a:pt x="5123660" y="835352"/>
                  <a:pt x="5093178" y="835352"/>
                </a:cubicBezTo>
                <a:cubicBezTo>
                  <a:pt x="5062696" y="835352"/>
                  <a:pt x="5037986" y="810642"/>
                  <a:pt x="5037986" y="780161"/>
                </a:cubicBezTo>
                <a:cubicBezTo>
                  <a:pt x="5037986" y="749680"/>
                  <a:pt x="5062696" y="724970"/>
                  <a:pt x="5093178" y="724970"/>
                </a:cubicBezTo>
                <a:close/>
                <a:moveTo>
                  <a:pt x="3897148" y="724970"/>
                </a:moveTo>
                <a:cubicBezTo>
                  <a:pt x="3927630" y="724970"/>
                  <a:pt x="3952340" y="749680"/>
                  <a:pt x="3952340" y="780161"/>
                </a:cubicBezTo>
                <a:cubicBezTo>
                  <a:pt x="3952340" y="810642"/>
                  <a:pt x="3927630" y="835352"/>
                  <a:pt x="3897148" y="835352"/>
                </a:cubicBezTo>
                <a:cubicBezTo>
                  <a:pt x="3866666" y="835352"/>
                  <a:pt x="3841956" y="810642"/>
                  <a:pt x="3841956" y="780161"/>
                </a:cubicBezTo>
                <a:cubicBezTo>
                  <a:pt x="3841956" y="749680"/>
                  <a:pt x="3866666" y="724970"/>
                  <a:pt x="3897148" y="724970"/>
                </a:cubicBezTo>
                <a:close/>
                <a:moveTo>
                  <a:pt x="3763514" y="724970"/>
                </a:moveTo>
                <a:cubicBezTo>
                  <a:pt x="3793996" y="724970"/>
                  <a:pt x="3818706" y="749680"/>
                  <a:pt x="3818706" y="780161"/>
                </a:cubicBezTo>
                <a:cubicBezTo>
                  <a:pt x="3818706" y="810642"/>
                  <a:pt x="3793996" y="835352"/>
                  <a:pt x="3763514" y="835352"/>
                </a:cubicBezTo>
                <a:cubicBezTo>
                  <a:pt x="3733032" y="835352"/>
                  <a:pt x="3708322" y="810642"/>
                  <a:pt x="3708322" y="780161"/>
                </a:cubicBezTo>
                <a:cubicBezTo>
                  <a:pt x="3708322" y="749680"/>
                  <a:pt x="3733032" y="724970"/>
                  <a:pt x="3763514" y="724970"/>
                </a:cubicBezTo>
                <a:close/>
                <a:moveTo>
                  <a:pt x="3633221" y="724970"/>
                </a:moveTo>
                <a:cubicBezTo>
                  <a:pt x="3663703" y="724970"/>
                  <a:pt x="3688413" y="749680"/>
                  <a:pt x="3688413" y="780161"/>
                </a:cubicBezTo>
                <a:cubicBezTo>
                  <a:pt x="3688413" y="810642"/>
                  <a:pt x="3663703" y="835352"/>
                  <a:pt x="3633221" y="835352"/>
                </a:cubicBezTo>
                <a:cubicBezTo>
                  <a:pt x="3602739" y="835352"/>
                  <a:pt x="3578029" y="810642"/>
                  <a:pt x="3578029" y="780161"/>
                </a:cubicBezTo>
                <a:cubicBezTo>
                  <a:pt x="3578029" y="749680"/>
                  <a:pt x="3602739" y="724970"/>
                  <a:pt x="3633221" y="724970"/>
                </a:cubicBezTo>
                <a:close/>
                <a:moveTo>
                  <a:pt x="3499586" y="724970"/>
                </a:moveTo>
                <a:cubicBezTo>
                  <a:pt x="3530068" y="724970"/>
                  <a:pt x="3554778" y="749680"/>
                  <a:pt x="3554778" y="780161"/>
                </a:cubicBezTo>
                <a:cubicBezTo>
                  <a:pt x="3554778" y="810642"/>
                  <a:pt x="3530068" y="835352"/>
                  <a:pt x="3499586" y="835352"/>
                </a:cubicBezTo>
                <a:cubicBezTo>
                  <a:pt x="3469104" y="835352"/>
                  <a:pt x="3444394" y="810642"/>
                  <a:pt x="3444394" y="780161"/>
                </a:cubicBezTo>
                <a:cubicBezTo>
                  <a:pt x="3444394" y="749680"/>
                  <a:pt x="3469104" y="724970"/>
                  <a:pt x="3499586" y="724970"/>
                </a:cubicBezTo>
                <a:close/>
                <a:moveTo>
                  <a:pt x="3369292" y="724970"/>
                </a:moveTo>
                <a:cubicBezTo>
                  <a:pt x="3399774" y="724970"/>
                  <a:pt x="3424484" y="749680"/>
                  <a:pt x="3424484" y="780161"/>
                </a:cubicBezTo>
                <a:cubicBezTo>
                  <a:pt x="3424484" y="810642"/>
                  <a:pt x="3399774" y="835352"/>
                  <a:pt x="3369292" y="835352"/>
                </a:cubicBezTo>
                <a:cubicBezTo>
                  <a:pt x="3338810" y="835352"/>
                  <a:pt x="3314100" y="810642"/>
                  <a:pt x="3314100" y="780161"/>
                </a:cubicBezTo>
                <a:cubicBezTo>
                  <a:pt x="3314100" y="749680"/>
                  <a:pt x="3338810" y="724970"/>
                  <a:pt x="3369292" y="724970"/>
                </a:cubicBezTo>
                <a:close/>
                <a:moveTo>
                  <a:pt x="2834856" y="724970"/>
                </a:moveTo>
                <a:cubicBezTo>
                  <a:pt x="2865340" y="724970"/>
                  <a:pt x="2890049" y="749680"/>
                  <a:pt x="2890049" y="780161"/>
                </a:cubicBezTo>
                <a:cubicBezTo>
                  <a:pt x="2890049" y="810642"/>
                  <a:pt x="2865340" y="835352"/>
                  <a:pt x="2834856" y="835352"/>
                </a:cubicBezTo>
                <a:cubicBezTo>
                  <a:pt x="2804376" y="835352"/>
                  <a:pt x="2779665" y="810642"/>
                  <a:pt x="2779665" y="780161"/>
                </a:cubicBezTo>
                <a:cubicBezTo>
                  <a:pt x="2779665" y="749680"/>
                  <a:pt x="2804376" y="724970"/>
                  <a:pt x="2834856" y="724970"/>
                </a:cubicBezTo>
                <a:close/>
                <a:moveTo>
                  <a:pt x="2707901" y="724970"/>
                </a:moveTo>
                <a:cubicBezTo>
                  <a:pt x="2738385" y="724970"/>
                  <a:pt x="2763094" y="749680"/>
                  <a:pt x="2763094" y="780161"/>
                </a:cubicBezTo>
                <a:cubicBezTo>
                  <a:pt x="2763094" y="810642"/>
                  <a:pt x="2738385" y="835352"/>
                  <a:pt x="2707901" y="835352"/>
                </a:cubicBezTo>
                <a:cubicBezTo>
                  <a:pt x="2677420" y="835352"/>
                  <a:pt x="2652711" y="810642"/>
                  <a:pt x="2652711" y="780161"/>
                </a:cubicBezTo>
                <a:cubicBezTo>
                  <a:pt x="2652711" y="749680"/>
                  <a:pt x="2677420" y="724970"/>
                  <a:pt x="2707901" y="724970"/>
                </a:cubicBezTo>
                <a:close/>
                <a:moveTo>
                  <a:pt x="2570929" y="724970"/>
                </a:moveTo>
                <a:cubicBezTo>
                  <a:pt x="2601412" y="724970"/>
                  <a:pt x="2626122" y="749680"/>
                  <a:pt x="2626122" y="780161"/>
                </a:cubicBezTo>
                <a:cubicBezTo>
                  <a:pt x="2626122" y="810642"/>
                  <a:pt x="2601412" y="835352"/>
                  <a:pt x="2570929" y="835352"/>
                </a:cubicBezTo>
                <a:cubicBezTo>
                  <a:pt x="2540446" y="835352"/>
                  <a:pt x="2515735" y="810642"/>
                  <a:pt x="2515735" y="780161"/>
                </a:cubicBezTo>
                <a:cubicBezTo>
                  <a:pt x="2515735" y="749680"/>
                  <a:pt x="2540446" y="724970"/>
                  <a:pt x="2570929" y="724970"/>
                </a:cubicBezTo>
                <a:close/>
                <a:moveTo>
                  <a:pt x="2437294" y="724970"/>
                </a:moveTo>
                <a:cubicBezTo>
                  <a:pt x="2467777" y="724970"/>
                  <a:pt x="2492487" y="749680"/>
                  <a:pt x="2492487" y="780161"/>
                </a:cubicBezTo>
                <a:cubicBezTo>
                  <a:pt x="2492487" y="810642"/>
                  <a:pt x="2467777" y="835352"/>
                  <a:pt x="2437294" y="835352"/>
                </a:cubicBezTo>
                <a:cubicBezTo>
                  <a:pt x="2406815" y="835352"/>
                  <a:pt x="2382104" y="810642"/>
                  <a:pt x="2382104" y="780161"/>
                </a:cubicBezTo>
                <a:cubicBezTo>
                  <a:pt x="2382104" y="749680"/>
                  <a:pt x="2406815" y="724970"/>
                  <a:pt x="2437294" y="724970"/>
                </a:cubicBezTo>
                <a:close/>
                <a:moveTo>
                  <a:pt x="2303662" y="724970"/>
                </a:moveTo>
                <a:cubicBezTo>
                  <a:pt x="2334145" y="724970"/>
                  <a:pt x="2358853" y="749680"/>
                  <a:pt x="2358853" y="780161"/>
                </a:cubicBezTo>
                <a:cubicBezTo>
                  <a:pt x="2358853" y="810642"/>
                  <a:pt x="2334145" y="835352"/>
                  <a:pt x="2303662" y="835352"/>
                </a:cubicBezTo>
                <a:cubicBezTo>
                  <a:pt x="2273180" y="835352"/>
                  <a:pt x="2248471" y="810642"/>
                  <a:pt x="2248471" y="780161"/>
                </a:cubicBezTo>
                <a:cubicBezTo>
                  <a:pt x="2248471" y="749680"/>
                  <a:pt x="2273180" y="724970"/>
                  <a:pt x="2303662" y="724970"/>
                </a:cubicBezTo>
                <a:close/>
                <a:moveTo>
                  <a:pt x="2173371" y="724970"/>
                </a:moveTo>
                <a:cubicBezTo>
                  <a:pt x="2203851" y="724970"/>
                  <a:pt x="2228562" y="749680"/>
                  <a:pt x="2228562" y="780161"/>
                </a:cubicBezTo>
                <a:cubicBezTo>
                  <a:pt x="2228562" y="810642"/>
                  <a:pt x="2203851" y="835352"/>
                  <a:pt x="2173371" y="835352"/>
                </a:cubicBezTo>
                <a:cubicBezTo>
                  <a:pt x="2142888" y="835352"/>
                  <a:pt x="2118177" y="810642"/>
                  <a:pt x="2118177" y="780161"/>
                </a:cubicBezTo>
                <a:cubicBezTo>
                  <a:pt x="2118177" y="749680"/>
                  <a:pt x="2142888" y="724970"/>
                  <a:pt x="2173371" y="724970"/>
                </a:cubicBezTo>
                <a:close/>
                <a:moveTo>
                  <a:pt x="2039733" y="724970"/>
                </a:moveTo>
                <a:cubicBezTo>
                  <a:pt x="2070216" y="724970"/>
                  <a:pt x="2094927" y="749680"/>
                  <a:pt x="2094927" y="780161"/>
                </a:cubicBezTo>
                <a:cubicBezTo>
                  <a:pt x="2094927" y="810642"/>
                  <a:pt x="2070216" y="835352"/>
                  <a:pt x="2039733" y="835352"/>
                </a:cubicBezTo>
                <a:cubicBezTo>
                  <a:pt x="2009252" y="835352"/>
                  <a:pt x="1984539" y="810642"/>
                  <a:pt x="1984539" y="780161"/>
                </a:cubicBezTo>
                <a:cubicBezTo>
                  <a:pt x="1984539" y="749680"/>
                  <a:pt x="2009252" y="724970"/>
                  <a:pt x="2039733" y="724970"/>
                </a:cubicBezTo>
                <a:close/>
                <a:moveTo>
                  <a:pt x="1909436" y="724970"/>
                </a:moveTo>
                <a:cubicBezTo>
                  <a:pt x="1939919" y="724970"/>
                  <a:pt x="1964630" y="749680"/>
                  <a:pt x="1964630" y="780161"/>
                </a:cubicBezTo>
                <a:cubicBezTo>
                  <a:pt x="1964630" y="810642"/>
                  <a:pt x="1939919" y="835352"/>
                  <a:pt x="1909436" y="835352"/>
                </a:cubicBezTo>
                <a:cubicBezTo>
                  <a:pt x="1878955" y="835352"/>
                  <a:pt x="1854243" y="810642"/>
                  <a:pt x="1854243" y="780161"/>
                </a:cubicBezTo>
                <a:cubicBezTo>
                  <a:pt x="1854243" y="749680"/>
                  <a:pt x="1878955" y="724970"/>
                  <a:pt x="1909436" y="724970"/>
                </a:cubicBezTo>
                <a:close/>
                <a:moveTo>
                  <a:pt x="1779142" y="724970"/>
                </a:moveTo>
                <a:cubicBezTo>
                  <a:pt x="1809623" y="724970"/>
                  <a:pt x="1834335" y="749680"/>
                  <a:pt x="1834335" y="780161"/>
                </a:cubicBezTo>
                <a:cubicBezTo>
                  <a:pt x="1834335" y="810642"/>
                  <a:pt x="1809623" y="835352"/>
                  <a:pt x="1779142" y="835352"/>
                </a:cubicBezTo>
                <a:cubicBezTo>
                  <a:pt x="1748660" y="835352"/>
                  <a:pt x="1723947" y="810642"/>
                  <a:pt x="1723947" y="780161"/>
                </a:cubicBezTo>
                <a:cubicBezTo>
                  <a:pt x="1723947" y="749680"/>
                  <a:pt x="1748660" y="724970"/>
                  <a:pt x="1779142" y="724970"/>
                </a:cubicBezTo>
                <a:close/>
                <a:moveTo>
                  <a:pt x="1645501" y="724970"/>
                </a:moveTo>
                <a:cubicBezTo>
                  <a:pt x="1675988" y="724970"/>
                  <a:pt x="1700699" y="749680"/>
                  <a:pt x="1700699" y="780161"/>
                </a:cubicBezTo>
                <a:cubicBezTo>
                  <a:pt x="1700699" y="810642"/>
                  <a:pt x="1675988" y="835352"/>
                  <a:pt x="1645501" y="835352"/>
                </a:cubicBezTo>
                <a:cubicBezTo>
                  <a:pt x="1615024" y="835352"/>
                  <a:pt x="1590310" y="810642"/>
                  <a:pt x="1590310" y="780161"/>
                </a:cubicBezTo>
                <a:cubicBezTo>
                  <a:pt x="1590310" y="749680"/>
                  <a:pt x="1615024" y="724970"/>
                  <a:pt x="1645501" y="724970"/>
                </a:cubicBezTo>
                <a:close/>
                <a:moveTo>
                  <a:pt x="1515213" y="724970"/>
                </a:moveTo>
                <a:cubicBezTo>
                  <a:pt x="1545692" y="724970"/>
                  <a:pt x="1570399" y="749680"/>
                  <a:pt x="1570399" y="780161"/>
                </a:cubicBezTo>
                <a:cubicBezTo>
                  <a:pt x="1570399" y="810642"/>
                  <a:pt x="1545692" y="835352"/>
                  <a:pt x="1515213" y="835352"/>
                </a:cubicBezTo>
                <a:cubicBezTo>
                  <a:pt x="1484730" y="835352"/>
                  <a:pt x="1460016" y="810642"/>
                  <a:pt x="1460016" y="780161"/>
                </a:cubicBezTo>
                <a:cubicBezTo>
                  <a:pt x="1460016" y="749680"/>
                  <a:pt x="1484730" y="724970"/>
                  <a:pt x="1515213" y="724970"/>
                </a:cubicBezTo>
                <a:close/>
                <a:moveTo>
                  <a:pt x="1381573" y="724970"/>
                </a:moveTo>
                <a:cubicBezTo>
                  <a:pt x="1412052" y="724970"/>
                  <a:pt x="1436767" y="749680"/>
                  <a:pt x="1436767" y="780161"/>
                </a:cubicBezTo>
                <a:cubicBezTo>
                  <a:pt x="1436767" y="810642"/>
                  <a:pt x="1412052" y="835352"/>
                  <a:pt x="1381573" y="835352"/>
                </a:cubicBezTo>
                <a:cubicBezTo>
                  <a:pt x="1351096" y="835352"/>
                  <a:pt x="1326381" y="810642"/>
                  <a:pt x="1326381" y="780161"/>
                </a:cubicBezTo>
                <a:cubicBezTo>
                  <a:pt x="1326381" y="749680"/>
                  <a:pt x="1351096" y="724970"/>
                  <a:pt x="1381573" y="724970"/>
                </a:cubicBezTo>
                <a:close/>
                <a:moveTo>
                  <a:pt x="1251282" y="724970"/>
                </a:moveTo>
                <a:cubicBezTo>
                  <a:pt x="1281764" y="724970"/>
                  <a:pt x="1306475" y="749680"/>
                  <a:pt x="1306475" y="780161"/>
                </a:cubicBezTo>
                <a:cubicBezTo>
                  <a:pt x="1306475" y="810642"/>
                  <a:pt x="1281764" y="835352"/>
                  <a:pt x="1251282" y="835352"/>
                </a:cubicBezTo>
                <a:cubicBezTo>
                  <a:pt x="1220800" y="835352"/>
                  <a:pt x="1196089" y="810642"/>
                  <a:pt x="1196089" y="780161"/>
                </a:cubicBezTo>
                <a:cubicBezTo>
                  <a:pt x="1196089" y="749680"/>
                  <a:pt x="1220800" y="724970"/>
                  <a:pt x="1251282" y="724970"/>
                </a:cubicBezTo>
                <a:close/>
                <a:moveTo>
                  <a:pt x="1117642" y="724970"/>
                </a:moveTo>
                <a:cubicBezTo>
                  <a:pt x="1148126" y="724970"/>
                  <a:pt x="1172836" y="749680"/>
                  <a:pt x="1172836" y="780161"/>
                </a:cubicBezTo>
                <a:cubicBezTo>
                  <a:pt x="1172836" y="810642"/>
                  <a:pt x="1148126" y="835352"/>
                  <a:pt x="1117642" y="835352"/>
                </a:cubicBezTo>
                <a:cubicBezTo>
                  <a:pt x="1087161" y="835352"/>
                  <a:pt x="1062448" y="810642"/>
                  <a:pt x="1062448" y="780161"/>
                </a:cubicBezTo>
                <a:cubicBezTo>
                  <a:pt x="1062448" y="749680"/>
                  <a:pt x="1087161" y="724970"/>
                  <a:pt x="1117642" y="724970"/>
                </a:cubicBezTo>
                <a:close/>
                <a:moveTo>
                  <a:pt x="980664" y="724970"/>
                </a:moveTo>
                <a:cubicBezTo>
                  <a:pt x="1011146" y="724970"/>
                  <a:pt x="1035857" y="749680"/>
                  <a:pt x="1035857" y="780161"/>
                </a:cubicBezTo>
                <a:cubicBezTo>
                  <a:pt x="1035857" y="810642"/>
                  <a:pt x="1011146" y="835352"/>
                  <a:pt x="980664" y="835352"/>
                </a:cubicBezTo>
                <a:cubicBezTo>
                  <a:pt x="950180" y="835352"/>
                  <a:pt x="925471" y="810642"/>
                  <a:pt x="925471" y="780161"/>
                </a:cubicBezTo>
                <a:cubicBezTo>
                  <a:pt x="925471" y="749680"/>
                  <a:pt x="950180" y="724970"/>
                  <a:pt x="980664" y="724970"/>
                </a:cubicBezTo>
                <a:close/>
                <a:moveTo>
                  <a:pt x="847022" y="724970"/>
                </a:moveTo>
                <a:cubicBezTo>
                  <a:pt x="877506" y="724970"/>
                  <a:pt x="902217" y="749680"/>
                  <a:pt x="902217" y="780161"/>
                </a:cubicBezTo>
                <a:cubicBezTo>
                  <a:pt x="902217" y="810642"/>
                  <a:pt x="877506" y="835352"/>
                  <a:pt x="847022" y="835352"/>
                </a:cubicBezTo>
                <a:cubicBezTo>
                  <a:pt x="816540" y="835352"/>
                  <a:pt x="791823" y="810642"/>
                  <a:pt x="791823" y="780161"/>
                </a:cubicBezTo>
                <a:cubicBezTo>
                  <a:pt x="791823" y="749680"/>
                  <a:pt x="816540" y="724970"/>
                  <a:pt x="847022" y="724970"/>
                </a:cubicBezTo>
                <a:close/>
                <a:moveTo>
                  <a:pt x="716722" y="724970"/>
                </a:moveTo>
                <a:cubicBezTo>
                  <a:pt x="747204" y="724970"/>
                  <a:pt x="771916" y="749680"/>
                  <a:pt x="771916" y="780161"/>
                </a:cubicBezTo>
                <a:cubicBezTo>
                  <a:pt x="771916" y="810642"/>
                  <a:pt x="747204" y="835352"/>
                  <a:pt x="716722" y="835352"/>
                </a:cubicBezTo>
                <a:cubicBezTo>
                  <a:pt x="686240" y="835352"/>
                  <a:pt x="661530" y="810642"/>
                  <a:pt x="661530" y="780161"/>
                </a:cubicBezTo>
                <a:cubicBezTo>
                  <a:pt x="661530" y="749680"/>
                  <a:pt x="686240" y="724970"/>
                  <a:pt x="716722" y="724970"/>
                </a:cubicBezTo>
                <a:close/>
                <a:moveTo>
                  <a:pt x="583085" y="724970"/>
                </a:moveTo>
                <a:cubicBezTo>
                  <a:pt x="613567" y="724970"/>
                  <a:pt x="638278" y="749680"/>
                  <a:pt x="638278" y="780161"/>
                </a:cubicBezTo>
                <a:cubicBezTo>
                  <a:pt x="638278" y="810642"/>
                  <a:pt x="613567" y="835352"/>
                  <a:pt x="583085" y="835352"/>
                </a:cubicBezTo>
                <a:cubicBezTo>
                  <a:pt x="552602" y="835352"/>
                  <a:pt x="527891" y="810642"/>
                  <a:pt x="527891" y="780161"/>
                </a:cubicBezTo>
                <a:cubicBezTo>
                  <a:pt x="527891" y="749680"/>
                  <a:pt x="552602" y="724970"/>
                  <a:pt x="583085" y="724970"/>
                </a:cubicBezTo>
                <a:close/>
                <a:moveTo>
                  <a:pt x="449437" y="724970"/>
                </a:moveTo>
                <a:cubicBezTo>
                  <a:pt x="479919" y="724970"/>
                  <a:pt x="504629" y="749680"/>
                  <a:pt x="504629" y="780161"/>
                </a:cubicBezTo>
                <a:cubicBezTo>
                  <a:pt x="504629" y="810642"/>
                  <a:pt x="479919" y="835352"/>
                  <a:pt x="449437" y="835352"/>
                </a:cubicBezTo>
                <a:cubicBezTo>
                  <a:pt x="418954" y="835352"/>
                  <a:pt x="394244" y="810642"/>
                  <a:pt x="394244" y="780161"/>
                </a:cubicBezTo>
                <a:cubicBezTo>
                  <a:pt x="394244" y="749680"/>
                  <a:pt x="418954" y="724970"/>
                  <a:pt x="449437" y="724970"/>
                </a:cubicBezTo>
                <a:close/>
                <a:moveTo>
                  <a:pt x="319140" y="724970"/>
                </a:moveTo>
                <a:cubicBezTo>
                  <a:pt x="349624" y="724970"/>
                  <a:pt x="374334" y="749680"/>
                  <a:pt x="374334" y="780161"/>
                </a:cubicBezTo>
                <a:cubicBezTo>
                  <a:pt x="374334" y="810642"/>
                  <a:pt x="349624" y="835352"/>
                  <a:pt x="319140" y="835352"/>
                </a:cubicBezTo>
                <a:cubicBezTo>
                  <a:pt x="288658" y="835352"/>
                  <a:pt x="263948" y="810642"/>
                  <a:pt x="263948" y="780161"/>
                </a:cubicBezTo>
                <a:cubicBezTo>
                  <a:pt x="263948" y="749680"/>
                  <a:pt x="288658" y="724970"/>
                  <a:pt x="319140" y="724970"/>
                </a:cubicBezTo>
                <a:close/>
                <a:moveTo>
                  <a:pt x="185509" y="724970"/>
                </a:moveTo>
                <a:cubicBezTo>
                  <a:pt x="215993" y="724970"/>
                  <a:pt x="240701" y="749680"/>
                  <a:pt x="240701" y="780161"/>
                </a:cubicBezTo>
                <a:cubicBezTo>
                  <a:pt x="240701" y="810642"/>
                  <a:pt x="215993" y="835352"/>
                  <a:pt x="185509" y="835352"/>
                </a:cubicBezTo>
                <a:cubicBezTo>
                  <a:pt x="155029" y="835352"/>
                  <a:pt x="130319" y="810642"/>
                  <a:pt x="130319" y="780161"/>
                </a:cubicBezTo>
                <a:cubicBezTo>
                  <a:pt x="130319" y="749680"/>
                  <a:pt x="155029" y="724970"/>
                  <a:pt x="185509" y="724970"/>
                </a:cubicBezTo>
                <a:close/>
                <a:moveTo>
                  <a:pt x="8801538" y="608039"/>
                </a:moveTo>
                <a:cubicBezTo>
                  <a:pt x="8832020" y="608039"/>
                  <a:pt x="8856730" y="632749"/>
                  <a:pt x="8856730" y="663230"/>
                </a:cubicBezTo>
                <a:cubicBezTo>
                  <a:pt x="8856730" y="693711"/>
                  <a:pt x="8832020" y="718421"/>
                  <a:pt x="8801538" y="718421"/>
                </a:cubicBezTo>
                <a:cubicBezTo>
                  <a:pt x="8771056" y="718421"/>
                  <a:pt x="8746346" y="693711"/>
                  <a:pt x="8746346" y="663230"/>
                </a:cubicBezTo>
                <a:cubicBezTo>
                  <a:pt x="8746346" y="632749"/>
                  <a:pt x="8771056" y="608039"/>
                  <a:pt x="8801538" y="608039"/>
                </a:cubicBezTo>
                <a:close/>
                <a:moveTo>
                  <a:pt x="8671244" y="608039"/>
                </a:moveTo>
                <a:cubicBezTo>
                  <a:pt x="8701726" y="608039"/>
                  <a:pt x="8726436" y="632749"/>
                  <a:pt x="8726436" y="663230"/>
                </a:cubicBezTo>
                <a:cubicBezTo>
                  <a:pt x="8726436" y="693711"/>
                  <a:pt x="8701726" y="718421"/>
                  <a:pt x="8671244" y="718421"/>
                </a:cubicBezTo>
                <a:cubicBezTo>
                  <a:pt x="8640762" y="718421"/>
                  <a:pt x="8616052" y="693711"/>
                  <a:pt x="8616052" y="663230"/>
                </a:cubicBezTo>
                <a:cubicBezTo>
                  <a:pt x="8616052" y="632749"/>
                  <a:pt x="8640762" y="608039"/>
                  <a:pt x="8671244" y="608039"/>
                </a:cubicBezTo>
                <a:close/>
                <a:moveTo>
                  <a:pt x="8537609" y="608039"/>
                </a:moveTo>
                <a:cubicBezTo>
                  <a:pt x="8568091" y="608039"/>
                  <a:pt x="8592801" y="632749"/>
                  <a:pt x="8592801" y="663230"/>
                </a:cubicBezTo>
                <a:cubicBezTo>
                  <a:pt x="8592801" y="693711"/>
                  <a:pt x="8568091" y="718421"/>
                  <a:pt x="8537609" y="718421"/>
                </a:cubicBezTo>
                <a:cubicBezTo>
                  <a:pt x="8507127" y="718421"/>
                  <a:pt x="8482417" y="693711"/>
                  <a:pt x="8482417" y="663230"/>
                </a:cubicBezTo>
                <a:cubicBezTo>
                  <a:pt x="8482417" y="632749"/>
                  <a:pt x="8507127" y="608039"/>
                  <a:pt x="8537609" y="608039"/>
                </a:cubicBezTo>
                <a:close/>
                <a:moveTo>
                  <a:pt x="8407318" y="608039"/>
                </a:moveTo>
                <a:cubicBezTo>
                  <a:pt x="8437800" y="608039"/>
                  <a:pt x="8462510" y="632749"/>
                  <a:pt x="8462510" y="663230"/>
                </a:cubicBezTo>
                <a:cubicBezTo>
                  <a:pt x="8462510" y="693711"/>
                  <a:pt x="8437800" y="718421"/>
                  <a:pt x="8407318" y="718421"/>
                </a:cubicBezTo>
                <a:cubicBezTo>
                  <a:pt x="8376836" y="718421"/>
                  <a:pt x="8352126" y="693711"/>
                  <a:pt x="8352126" y="663230"/>
                </a:cubicBezTo>
                <a:cubicBezTo>
                  <a:pt x="8352126" y="632749"/>
                  <a:pt x="8376836" y="608039"/>
                  <a:pt x="8407318" y="608039"/>
                </a:cubicBezTo>
                <a:close/>
                <a:moveTo>
                  <a:pt x="8273682" y="608039"/>
                </a:moveTo>
                <a:cubicBezTo>
                  <a:pt x="8304164" y="608039"/>
                  <a:pt x="8328874" y="632749"/>
                  <a:pt x="8328874" y="663230"/>
                </a:cubicBezTo>
                <a:cubicBezTo>
                  <a:pt x="8328874" y="693711"/>
                  <a:pt x="8304164" y="718421"/>
                  <a:pt x="8273682" y="718421"/>
                </a:cubicBezTo>
                <a:cubicBezTo>
                  <a:pt x="8243200" y="718421"/>
                  <a:pt x="8218490" y="693711"/>
                  <a:pt x="8218490" y="663230"/>
                </a:cubicBezTo>
                <a:cubicBezTo>
                  <a:pt x="8218490" y="632749"/>
                  <a:pt x="8243200" y="608039"/>
                  <a:pt x="8273682" y="608039"/>
                </a:cubicBezTo>
                <a:close/>
                <a:moveTo>
                  <a:pt x="8143386" y="608039"/>
                </a:moveTo>
                <a:cubicBezTo>
                  <a:pt x="8173868" y="608039"/>
                  <a:pt x="8198578" y="632749"/>
                  <a:pt x="8198578" y="663230"/>
                </a:cubicBezTo>
                <a:cubicBezTo>
                  <a:pt x="8198578" y="693711"/>
                  <a:pt x="8173868" y="718421"/>
                  <a:pt x="8143386" y="718421"/>
                </a:cubicBezTo>
                <a:cubicBezTo>
                  <a:pt x="8112904" y="718421"/>
                  <a:pt x="8088194" y="693711"/>
                  <a:pt x="8088194" y="663230"/>
                </a:cubicBezTo>
                <a:cubicBezTo>
                  <a:pt x="8088194" y="632749"/>
                  <a:pt x="8112904" y="608039"/>
                  <a:pt x="8143386" y="608039"/>
                </a:cubicBezTo>
                <a:close/>
                <a:moveTo>
                  <a:pt x="8009753" y="608039"/>
                </a:moveTo>
                <a:cubicBezTo>
                  <a:pt x="8040235" y="608039"/>
                  <a:pt x="8064945" y="632749"/>
                  <a:pt x="8064945" y="663230"/>
                </a:cubicBezTo>
                <a:cubicBezTo>
                  <a:pt x="8064945" y="693711"/>
                  <a:pt x="8040235" y="718421"/>
                  <a:pt x="8009753" y="718421"/>
                </a:cubicBezTo>
                <a:cubicBezTo>
                  <a:pt x="7979271" y="718421"/>
                  <a:pt x="7954561" y="693711"/>
                  <a:pt x="7954561" y="663230"/>
                </a:cubicBezTo>
                <a:cubicBezTo>
                  <a:pt x="7954561" y="632749"/>
                  <a:pt x="7979271" y="608039"/>
                  <a:pt x="8009753" y="608039"/>
                </a:cubicBezTo>
                <a:close/>
                <a:moveTo>
                  <a:pt x="7876118" y="608039"/>
                </a:moveTo>
                <a:cubicBezTo>
                  <a:pt x="7906600" y="608039"/>
                  <a:pt x="7931310" y="632749"/>
                  <a:pt x="7931310" y="663230"/>
                </a:cubicBezTo>
                <a:cubicBezTo>
                  <a:pt x="7931310" y="693711"/>
                  <a:pt x="7906600" y="718421"/>
                  <a:pt x="7876118" y="718421"/>
                </a:cubicBezTo>
                <a:cubicBezTo>
                  <a:pt x="7845636" y="718421"/>
                  <a:pt x="7820926" y="693711"/>
                  <a:pt x="7820926" y="663230"/>
                </a:cubicBezTo>
                <a:cubicBezTo>
                  <a:pt x="7820926" y="632749"/>
                  <a:pt x="7845636" y="608039"/>
                  <a:pt x="7876118" y="608039"/>
                </a:cubicBezTo>
                <a:close/>
                <a:moveTo>
                  <a:pt x="7745824" y="608039"/>
                </a:moveTo>
                <a:cubicBezTo>
                  <a:pt x="7776306" y="608039"/>
                  <a:pt x="7801016" y="632749"/>
                  <a:pt x="7801016" y="663230"/>
                </a:cubicBezTo>
                <a:cubicBezTo>
                  <a:pt x="7801016" y="693711"/>
                  <a:pt x="7776306" y="718421"/>
                  <a:pt x="7745824" y="718421"/>
                </a:cubicBezTo>
                <a:cubicBezTo>
                  <a:pt x="7715342" y="718421"/>
                  <a:pt x="7690632" y="693711"/>
                  <a:pt x="7690632" y="663230"/>
                </a:cubicBezTo>
                <a:cubicBezTo>
                  <a:pt x="7690632" y="632749"/>
                  <a:pt x="7715342" y="608039"/>
                  <a:pt x="7745824" y="608039"/>
                </a:cubicBezTo>
                <a:close/>
                <a:moveTo>
                  <a:pt x="7608850" y="608039"/>
                </a:moveTo>
                <a:cubicBezTo>
                  <a:pt x="7639332" y="608039"/>
                  <a:pt x="7664042" y="632749"/>
                  <a:pt x="7664042" y="663230"/>
                </a:cubicBezTo>
                <a:cubicBezTo>
                  <a:pt x="7664042" y="693711"/>
                  <a:pt x="7639332" y="718421"/>
                  <a:pt x="7608850" y="718421"/>
                </a:cubicBezTo>
                <a:cubicBezTo>
                  <a:pt x="7578368" y="718421"/>
                  <a:pt x="7553658" y="693711"/>
                  <a:pt x="7553658" y="663230"/>
                </a:cubicBezTo>
                <a:cubicBezTo>
                  <a:pt x="7553658" y="632749"/>
                  <a:pt x="7578368" y="608039"/>
                  <a:pt x="7608850" y="608039"/>
                </a:cubicBezTo>
                <a:close/>
                <a:moveTo>
                  <a:pt x="7481895" y="608039"/>
                </a:moveTo>
                <a:cubicBezTo>
                  <a:pt x="7512377" y="608039"/>
                  <a:pt x="7537087" y="632749"/>
                  <a:pt x="7537087" y="663230"/>
                </a:cubicBezTo>
                <a:cubicBezTo>
                  <a:pt x="7537087" y="693711"/>
                  <a:pt x="7512377" y="718421"/>
                  <a:pt x="7481895" y="718421"/>
                </a:cubicBezTo>
                <a:cubicBezTo>
                  <a:pt x="7451413" y="718421"/>
                  <a:pt x="7426703" y="693711"/>
                  <a:pt x="7426703" y="663230"/>
                </a:cubicBezTo>
                <a:cubicBezTo>
                  <a:pt x="7426703" y="632749"/>
                  <a:pt x="7451413" y="608039"/>
                  <a:pt x="7481895" y="608039"/>
                </a:cubicBezTo>
                <a:close/>
                <a:moveTo>
                  <a:pt x="7341579" y="608039"/>
                </a:moveTo>
                <a:cubicBezTo>
                  <a:pt x="7372061" y="608039"/>
                  <a:pt x="7396771" y="632749"/>
                  <a:pt x="7396771" y="663230"/>
                </a:cubicBezTo>
                <a:cubicBezTo>
                  <a:pt x="7396771" y="693711"/>
                  <a:pt x="7372061" y="718421"/>
                  <a:pt x="7341579" y="718421"/>
                </a:cubicBezTo>
                <a:cubicBezTo>
                  <a:pt x="7311097" y="718421"/>
                  <a:pt x="7286387" y="693711"/>
                  <a:pt x="7286387" y="663230"/>
                </a:cubicBezTo>
                <a:cubicBezTo>
                  <a:pt x="7286387" y="632749"/>
                  <a:pt x="7311097" y="608039"/>
                  <a:pt x="7341579" y="608039"/>
                </a:cubicBezTo>
                <a:close/>
                <a:moveTo>
                  <a:pt x="7211286" y="608039"/>
                </a:moveTo>
                <a:cubicBezTo>
                  <a:pt x="7241768" y="608039"/>
                  <a:pt x="7266478" y="632749"/>
                  <a:pt x="7266478" y="663230"/>
                </a:cubicBezTo>
                <a:cubicBezTo>
                  <a:pt x="7266478" y="693711"/>
                  <a:pt x="7241768" y="718421"/>
                  <a:pt x="7211286" y="718421"/>
                </a:cubicBezTo>
                <a:cubicBezTo>
                  <a:pt x="7180804" y="718421"/>
                  <a:pt x="7156094" y="693711"/>
                  <a:pt x="7156094" y="663230"/>
                </a:cubicBezTo>
                <a:cubicBezTo>
                  <a:pt x="7156094" y="632749"/>
                  <a:pt x="7180804" y="608039"/>
                  <a:pt x="7211286" y="608039"/>
                </a:cubicBezTo>
                <a:close/>
                <a:moveTo>
                  <a:pt x="7080994" y="608039"/>
                </a:moveTo>
                <a:cubicBezTo>
                  <a:pt x="7111476" y="608039"/>
                  <a:pt x="7136186" y="632749"/>
                  <a:pt x="7136186" y="663230"/>
                </a:cubicBezTo>
                <a:cubicBezTo>
                  <a:pt x="7136186" y="693711"/>
                  <a:pt x="7111476" y="718421"/>
                  <a:pt x="7080994" y="718421"/>
                </a:cubicBezTo>
                <a:cubicBezTo>
                  <a:pt x="7050512" y="718421"/>
                  <a:pt x="7025802" y="693711"/>
                  <a:pt x="7025802" y="663230"/>
                </a:cubicBezTo>
                <a:cubicBezTo>
                  <a:pt x="7025802" y="632749"/>
                  <a:pt x="7050512" y="608039"/>
                  <a:pt x="7080994" y="608039"/>
                </a:cubicBezTo>
                <a:close/>
                <a:moveTo>
                  <a:pt x="6947358" y="608039"/>
                </a:moveTo>
                <a:cubicBezTo>
                  <a:pt x="6977840" y="608039"/>
                  <a:pt x="7002550" y="632749"/>
                  <a:pt x="7002550" y="663230"/>
                </a:cubicBezTo>
                <a:cubicBezTo>
                  <a:pt x="7002550" y="693711"/>
                  <a:pt x="6977840" y="718421"/>
                  <a:pt x="6947358" y="718421"/>
                </a:cubicBezTo>
                <a:cubicBezTo>
                  <a:pt x="6916876" y="718421"/>
                  <a:pt x="6892166" y="693711"/>
                  <a:pt x="6892166" y="663230"/>
                </a:cubicBezTo>
                <a:cubicBezTo>
                  <a:pt x="6892166" y="632749"/>
                  <a:pt x="6916876" y="608039"/>
                  <a:pt x="6947358" y="608039"/>
                </a:cubicBezTo>
                <a:close/>
                <a:moveTo>
                  <a:pt x="6817064" y="608039"/>
                </a:moveTo>
                <a:cubicBezTo>
                  <a:pt x="6847546" y="608039"/>
                  <a:pt x="6872256" y="632749"/>
                  <a:pt x="6872256" y="663230"/>
                </a:cubicBezTo>
                <a:cubicBezTo>
                  <a:pt x="6872256" y="693711"/>
                  <a:pt x="6847546" y="718421"/>
                  <a:pt x="6817064" y="718421"/>
                </a:cubicBezTo>
                <a:cubicBezTo>
                  <a:pt x="6786582" y="718421"/>
                  <a:pt x="6761872" y="693711"/>
                  <a:pt x="6761872" y="663230"/>
                </a:cubicBezTo>
                <a:cubicBezTo>
                  <a:pt x="6761872" y="632749"/>
                  <a:pt x="6786582" y="608039"/>
                  <a:pt x="6817064" y="608039"/>
                </a:cubicBezTo>
                <a:close/>
                <a:moveTo>
                  <a:pt x="6683431" y="608039"/>
                </a:moveTo>
                <a:cubicBezTo>
                  <a:pt x="6713913" y="608039"/>
                  <a:pt x="6738623" y="632749"/>
                  <a:pt x="6738623" y="663230"/>
                </a:cubicBezTo>
                <a:cubicBezTo>
                  <a:pt x="6738623" y="693711"/>
                  <a:pt x="6713913" y="718421"/>
                  <a:pt x="6683431" y="718421"/>
                </a:cubicBezTo>
                <a:cubicBezTo>
                  <a:pt x="6652949" y="718421"/>
                  <a:pt x="6628239" y="693711"/>
                  <a:pt x="6628239" y="663230"/>
                </a:cubicBezTo>
                <a:cubicBezTo>
                  <a:pt x="6628239" y="632749"/>
                  <a:pt x="6652949" y="608039"/>
                  <a:pt x="6683431" y="608039"/>
                </a:cubicBezTo>
                <a:close/>
                <a:moveTo>
                  <a:pt x="6155573" y="608039"/>
                </a:moveTo>
                <a:cubicBezTo>
                  <a:pt x="6186055" y="608039"/>
                  <a:pt x="6210765" y="632749"/>
                  <a:pt x="6210765" y="663230"/>
                </a:cubicBezTo>
                <a:cubicBezTo>
                  <a:pt x="6210765" y="693711"/>
                  <a:pt x="6186055" y="718421"/>
                  <a:pt x="6155573" y="718421"/>
                </a:cubicBezTo>
                <a:cubicBezTo>
                  <a:pt x="6125091" y="718421"/>
                  <a:pt x="6100381" y="693711"/>
                  <a:pt x="6100381" y="663230"/>
                </a:cubicBezTo>
                <a:cubicBezTo>
                  <a:pt x="6100381" y="632749"/>
                  <a:pt x="6125091" y="608039"/>
                  <a:pt x="6155573" y="608039"/>
                </a:cubicBezTo>
                <a:close/>
                <a:moveTo>
                  <a:pt x="5487399" y="608039"/>
                </a:moveTo>
                <a:cubicBezTo>
                  <a:pt x="5517881" y="608039"/>
                  <a:pt x="5542591" y="632749"/>
                  <a:pt x="5542591" y="663230"/>
                </a:cubicBezTo>
                <a:cubicBezTo>
                  <a:pt x="5542591" y="693711"/>
                  <a:pt x="5517881" y="718421"/>
                  <a:pt x="5487399" y="718421"/>
                </a:cubicBezTo>
                <a:cubicBezTo>
                  <a:pt x="5456917" y="718421"/>
                  <a:pt x="5432207" y="693711"/>
                  <a:pt x="5432207" y="663230"/>
                </a:cubicBezTo>
                <a:cubicBezTo>
                  <a:pt x="5432207" y="632749"/>
                  <a:pt x="5456917" y="608039"/>
                  <a:pt x="5487399" y="608039"/>
                </a:cubicBezTo>
                <a:close/>
                <a:moveTo>
                  <a:pt x="5357106" y="608039"/>
                </a:moveTo>
                <a:cubicBezTo>
                  <a:pt x="5387588" y="608039"/>
                  <a:pt x="5412298" y="632749"/>
                  <a:pt x="5412298" y="663230"/>
                </a:cubicBezTo>
                <a:cubicBezTo>
                  <a:pt x="5412298" y="693711"/>
                  <a:pt x="5387588" y="718421"/>
                  <a:pt x="5357106" y="718421"/>
                </a:cubicBezTo>
                <a:cubicBezTo>
                  <a:pt x="5326624" y="718421"/>
                  <a:pt x="5301914" y="693711"/>
                  <a:pt x="5301914" y="663230"/>
                </a:cubicBezTo>
                <a:cubicBezTo>
                  <a:pt x="5301914" y="632749"/>
                  <a:pt x="5326624" y="608039"/>
                  <a:pt x="5357106" y="608039"/>
                </a:cubicBezTo>
                <a:close/>
                <a:moveTo>
                  <a:pt x="5223473" y="608038"/>
                </a:moveTo>
                <a:cubicBezTo>
                  <a:pt x="5253955" y="608038"/>
                  <a:pt x="5278665" y="632748"/>
                  <a:pt x="5278665" y="663229"/>
                </a:cubicBezTo>
                <a:cubicBezTo>
                  <a:pt x="5278665" y="693710"/>
                  <a:pt x="5253955" y="718420"/>
                  <a:pt x="5223473" y="718420"/>
                </a:cubicBezTo>
                <a:cubicBezTo>
                  <a:pt x="5192991" y="718420"/>
                  <a:pt x="5168281" y="693710"/>
                  <a:pt x="5168281" y="663229"/>
                </a:cubicBezTo>
                <a:cubicBezTo>
                  <a:pt x="5168281" y="632748"/>
                  <a:pt x="5192991" y="608038"/>
                  <a:pt x="5223473" y="608038"/>
                </a:cubicBezTo>
                <a:close/>
                <a:moveTo>
                  <a:pt x="4030786" y="608038"/>
                </a:moveTo>
                <a:cubicBezTo>
                  <a:pt x="4061268" y="608038"/>
                  <a:pt x="4085978" y="632748"/>
                  <a:pt x="4085978" y="663229"/>
                </a:cubicBezTo>
                <a:cubicBezTo>
                  <a:pt x="4085978" y="693710"/>
                  <a:pt x="4061268" y="718420"/>
                  <a:pt x="4030786" y="718420"/>
                </a:cubicBezTo>
                <a:cubicBezTo>
                  <a:pt x="4000304" y="718420"/>
                  <a:pt x="3975594" y="693710"/>
                  <a:pt x="3975594" y="663229"/>
                </a:cubicBezTo>
                <a:cubicBezTo>
                  <a:pt x="3975594" y="632748"/>
                  <a:pt x="4000304" y="608038"/>
                  <a:pt x="4030786" y="608038"/>
                </a:cubicBezTo>
                <a:close/>
                <a:moveTo>
                  <a:pt x="3897148" y="608038"/>
                </a:moveTo>
                <a:cubicBezTo>
                  <a:pt x="3927630" y="608038"/>
                  <a:pt x="3952340" y="632748"/>
                  <a:pt x="3952340" y="663229"/>
                </a:cubicBezTo>
                <a:cubicBezTo>
                  <a:pt x="3952340" y="693710"/>
                  <a:pt x="3927630" y="718420"/>
                  <a:pt x="3897148" y="718420"/>
                </a:cubicBezTo>
                <a:cubicBezTo>
                  <a:pt x="3866666" y="718420"/>
                  <a:pt x="3841956" y="693710"/>
                  <a:pt x="3841956" y="663229"/>
                </a:cubicBezTo>
                <a:cubicBezTo>
                  <a:pt x="3841956" y="632748"/>
                  <a:pt x="3866666" y="608038"/>
                  <a:pt x="3897148" y="608038"/>
                </a:cubicBezTo>
                <a:close/>
                <a:moveTo>
                  <a:pt x="3763514" y="608038"/>
                </a:moveTo>
                <a:cubicBezTo>
                  <a:pt x="3793996" y="608038"/>
                  <a:pt x="3818706" y="632748"/>
                  <a:pt x="3818706" y="663229"/>
                </a:cubicBezTo>
                <a:cubicBezTo>
                  <a:pt x="3818706" y="693710"/>
                  <a:pt x="3793996" y="718420"/>
                  <a:pt x="3763514" y="718420"/>
                </a:cubicBezTo>
                <a:cubicBezTo>
                  <a:pt x="3733032" y="718420"/>
                  <a:pt x="3708322" y="693710"/>
                  <a:pt x="3708322" y="663229"/>
                </a:cubicBezTo>
                <a:cubicBezTo>
                  <a:pt x="3708322" y="632748"/>
                  <a:pt x="3733032" y="608038"/>
                  <a:pt x="3763514" y="608038"/>
                </a:cubicBezTo>
                <a:close/>
                <a:moveTo>
                  <a:pt x="3633221" y="608038"/>
                </a:moveTo>
                <a:cubicBezTo>
                  <a:pt x="3663703" y="608038"/>
                  <a:pt x="3688413" y="632748"/>
                  <a:pt x="3688413" y="663229"/>
                </a:cubicBezTo>
                <a:cubicBezTo>
                  <a:pt x="3688413" y="693710"/>
                  <a:pt x="3663703" y="718420"/>
                  <a:pt x="3633221" y="718420"/>
                </a:cubicBezTo>
                <a:cubicBezTo>
                  <a:pt x="3602739" y="718420"/>
                  <a:pt x="3578029" y="693710"/>
                  <a:pt x="3578029" y="663229"/>
                </a:cubicBezTo>
                <a:cubicBezTo>
                  <a:pt x="3578029" y="632748"/>
                  <a:pt x="3602739" y="608038"/>
                  <a:pt x="3633221" y="608038"/>
                </a:cubicBezTo>
                <a:close/>
                <a:moveTo>
                  <a:pt x="3499589" y="608038"/>
                </a:moveTo>
                <a:cubicBezTo>
                  <a:pt x="3530071" y="608038"/>
                  <a:pt x="3554781" y="632748"/>
                  <a:pt x="3554781" y="663229"/>
                </a:cubicBezTo>
                <a:cubicBezTo>
                  <a:pt x="3554781" y="693710"/>
                  <a:pt x="3530071" y="718420"/>
                  <a:pt x="3499589" y="718420"/>
                </a:cubicBezTo>
                <a:cubicBezTo>
                  <a:pt x="3469107" y="718420"/>
                  <a:pt x="3444397" y="693710"/>
                  <a:pt x="3444397" y="663229"/>
                </a:cubicBezTo>
                <a:cubicBezTo>
                  <a:pt x="3444397" y="632748"/>
                  <a:pt x="3469107" y="608038"/>
                  <a:pt x="3499589" y="608038"/>
                </a:cubicBezTo>
                <a:close/>
                <a:moveTo>
                  <a:pt x="3369292" y="608038"/>
                </a:moveTo>
                <a:cubicBezTo>
                  <a:pt x="3399774" y="608038"/>
                  <a:pt x="3424484" y="632748"/>
                  <a:pt x="3424484" y="663229"/>
                </a:cubicBezTo>
                <a:cubicBezTo>
                  <a:pt x="3424484" y="693710"/>
                  <a:pt x="3399774" y="718420"/>
                  <a:pt x="3369292" y="718420"/>
                </a:cubicBezTo>
                <a:cubicBezTo>
                  <a:pt x="3338810" y="718420"/>
                  <a:pt x="3314100" y="693710"/>
                  <a:pt x="3314100" y="663229"/>
                </a:cubicBezTo>
                <a:cubicBezTo>
                  <a:pt x="3314100" y="632748"/>
                  <a:pt x="3338810" y="608038"/>
                  <a:pt x="3369292" y="608038"/>
                </a:cubicBezTo>
                <a:close/>
                <a:moveTo>
                  <a:pt x="3235657" y="608038"/>
                </a:moveTo>
                <a:cubicBezTo>
                  <a:pt x="3266139" y="608038"/>
                  <a:pt x="3290849" y="632748"/>
                  <a:pt x="3290849" y="663229"/>
                </a:cubicBezTo>
                <a:cubicBezTo>
                  <a:pt x="3290849" y="693710"/>
                  <a:pt x="3266139" y="718420"/>
                  <a:pt x="3235657" y="718420"/>
                </a:cubicBezTo>
                <a:cubicBezTo>
                  <a:pt x="3205175" y="718420"/>
                  <a:pt x="3180465" y="693710"/>
                  <a:pt x="3180465" y="663229"/>
                </a:cubicBezTo>
                <a:cubicBezTo>
                  <a:pt x="3180465" y="632748"/>
                  <a:pt x="3205175" y="608038"/>
                  <a:pt x="3235657" y="608038"/>
                </a:cubicBezTo>
                <a:close/>
                <a:moveTo>
                  <a:pt x="2570932" y="608038"/>
                </a:moveTo>
                <a:cubicBezTo>
                  <a:pt x="2601414" y="608038"/>
                  <a:pt x="2626123" y="632748"/>
                  <a:pt x="2626123" y="663229"/>
                </a:cubicBezTo>
                <a:cubicBezTo>
                  <a:pt x="2626123" y="693710"/>
                  <a:pt x="2601414" y="718420"/>
                  <a:pt x="2570932" y="718420"/>
                </a:cubicBezTo>
                <a:cubicBezTo>
                  <a:pt x="2540449" y="718420"/>
                  <a:pt x="2515738" y="693710"/>
                  <a:pt x="2515738" y="663229"/>
                </a:cubicBezTo>
                <a:cubicBezTo>
                  <a:pt x="2515738" y="632748"/>
                  <a:pt x="2540449" y="608038"/>
                  <a:pt x="2570932" y="608038"/>
                </a:cubicBezTo>
                <a:close/>
                <a:moveTo>
                  <a:pt x="2437297" y="608038"/>
                </a:moveTo>
                <a:cubicBezTo>
                  <a:pt x="2467779" y="608038"/>
                  <a:pt x="2492487" y="632748"/>
                  <a:pt x="2492487" y="663229"/>
                </a:cubicBezTo>
                <a:cubicBezTo>
                  <a:pt x="2492487" y="693710"/>
                  <a:pt x="2467779" y="718420"/>
                  <a:pt x="2437297" y="718420"/>
                </a:cubicBezTo>
                <a:cubicBezTo>
                  <a:pt x="2406818" y="718420"/>
                  <a:pt x="2382108" y="693710"/>
                  <a:pt x="2382108" y="663229"/>
                </a:cubicBezTo>
                <a:cubicBezTo>
                  <a:pt x="2382108" y="632748"/>
                  <a:pt x="2406818" y="608038"/>
                  <a:pt x="2437297" y="608038"/>
                </a:cubicBezTo>
                <a:close/>
                <a:moveTo>
                  <a:pt x="2303664" y="608038"/>
                </a:moveTo>
                <a:cubicBezTo>
                  <a:pt x="2334145" y="608038"/>
                  <a:pt x="2358856" y="632748"/>
                  <a:pt x="2358856" y="663229"/>
                </a:cubicBezTo>
                <a:cubicBezTo>
                  <a:pt x="2358856" y="693710"/>
                  <a:pt x="2334145" y="718420"/>
                  <a:pt x="2303664" y="718420"/>
                </a:cubicBezTo>
                <a:cubicBezTo>
                  <a:pt x="2273182" y="718420"/>
                  <a:pt x="2248473" y="693710"/>
                  <a:pt x="2248473" y="663229"/>
                </a:cubicBezTo>
                <a:cubicBezTo>
                  <a:pt x="2248473" y="632748"/>
                  <a:pt x="2273182" y="608038"/>
                  <a:pt x="2303664" y="608038"/>
                </a:cubicBezTo>
                <a:close/>
                <a:moveTo>
                  <a:pt x="2173372" y="608038"/>
                </a:moveTo>
                <a:cubicBezTo>
                  <a:pt x="2203854" y="608038"/>
                  <a:pt x="2228565" y="632748"/>
                  <a:pt x="2228565" y="663229"/>
                </a:cubicBezTo>
                <a:cubicBezTo>
                  <a:pt x="2228565" y="693710"/>
                  <a:pt x="2203854" y="718420"/>
                  <a:pt x="2173372" y="718420"/>
                </a:cubicBezTo>
                <a:cubicBezTo>
                  <a:pt x="2142889" y="718420"/>
                  <a:pt x="2118180" y="693710"/>
                  <a:pt x="2118180" y="663229"/>
                </a:cubicBezTo>
                <a:cubicBezTo>
                  <a:pt x="2118180" y="632748"/>
                  <a:pt x="2142889" y="608038"/>
                  <a:pt x="2173372" y="608038"/>
                </a:cubicBezTo>
                <a:close/>
                <a:moveTo>
                  <a:pt x="2039736" y="608038"/>
                </a:moveTo>
                <a:cubicBezTo>
                  <a:pt x="2070218" y="608038"/>
                  <a:pt x="2094930" y="632748"/>
                  <a:pt x="2094930" y="663229"/>
                </a:cubicBezTo>
                <a:cubicBezTo>
                  <a:pt x="2094930" y="693710"/>
                  <a:pt x="2070218" y="718420"/>
                  <a:pt x="2039736" y="718420"/>
                </a:cubicBezTo>
                <a:cubicBezTo>
                  <a:pt x="2009254" y="718420"/>
                  <a:pt x="1984543" y="693710"/>
                  <a:pt x="1984543" y="663229"/>
                </a:cubicBezTo>
                <a:cubicBezTo>
                  <a:pt x="1984543" y="632748"/>
                  <a:pt x="2009254" y="608038"/>
                  <a:pt x="2039736" y="608038"/>
                </a:cubicBezTo>
                <a:close/>
                <a:moveTo>
                  <a:pt x="1909437" y="608038"/>
                </a:moveTo>
                <a:cubicBezTo>
                  <a:pt x="1939921" y="608038"/>
                  <a:pt x="1964630" y="632748"/>
                  <a:pt x="1964630" y="663229"/>
                </a:cubicBezTo>
                <a:cubicBezTo>
                  <a:pt x="1964630" y="693710"/>
                  <a:pt x="1939921" y="718420"/>
                  <a:pt x="1909437" y="718420"/>
                </a:cubicBezTo>
                <a:cubicBezTo>
                  <a:pt x="1878955" y="718420"/>
                  <a:pt x="1854244" y="693710"/>
                  <a:pt x="1854244" y="663229"/>
                </a:cubicBezTo>
                <a:cubicBezTo>
                  <a:pt x="1854244" y="632748"/>
                  <a:pt x="1878955" y="608038"/>
                  <a:pt x="1909437" y="608038"/>
                </a:cubicBezTo>
                <a:close/>
                <a:moveTo>
                  <a:pt x="1779142" y="608038"/>
                </a:moveTo>
                <a:cubicBezTo>
                  <a:pt x="1809626" y="608038"/>
                  <a:pt x="1834335" y="632748"/>
                  <a:pt x="1834335" y="663229"/>
                </a:cubicBezTo>
                <a:cubicBezTo>
                  <a:pt x="1834335" y="693710"/>
                  <a:pt x="1809626" y="718420"/>
                  <a:pt x="1779142" y="718420"/>
                </a:cubicBezTo>
                <a:cubicBezTo>
                  <a:pt x="1748663" y="718420"/>
                  <a:pt x="1723950" y="693710"/>
                  <a:pt x="1723950" y="663229"/>
                </a:cubicBezTo>
                <a:cubicBezTo>
                  <a:pt x="1723950" y="632748"/>
                  <a:pt x="1748663" y="608038"/>
                  <a:pt x="1779142" y="608038"/>
                </a:cubicBezTo>
                <a:close/>
                <a:moveTo>
                  <a:pt x="1645508" y="608038"/>
                </a:moveTo>
                <a:cubicBezTo>
                  <a:pt x="1675988" y="608038"/>
                  <a:pt x="1700702" y="632748"/>
                  <a:pt x="1700702" y="663229"/>
                </a:cubicBezTo>
                <a:cubicBezTo>
                  <a:pt x="1700702" y="693710"/>
                  <a:pt x="1675988" y="718420"/>
                  <a:pt x="1645508" y="718420"/>
                </a:cubicBezTo>
                <a:cubicBezTo>
                  <a:pt x="1615024" y="718420"/>
                  <a:pt x="1590311" y="693710"/>
                  <a:pt x="1590311" y="663229"/>
                </a:cubicBezTo>
                <a:cubicBezTo>
                  <a:pt x="1590311" y="632748"/>
                  <a:pt x="1615024" y="608038"/>
                  <a:pt x="1645508" y="608038"/>
                </a:cubicBezTo>
                <a:close/>
                <a:moveTo>
                  <a:pt x="1515217" y="608038"/>
                </a:moveTo>
                <a:cubicBezTo>
                  <a:pt x="1545695" y="608038"/>
                  <a:pt x="1570402" y="632748"/>
                  <a:pt x="1570402" y="663229"/>
                </a:cubicBezTo>
                <a:cubicBezTo>
                  <a:pt x="1570402" y="693710"/>
                  <a:pt x="1545695" y="718420"/>
                  <a:pt x="1515217" y="718420"/>
                </a:cubicBezTo>
                <a:cubicBezTo>
                  <a:pt x="1484732" y="718420"/>
                  <a:pt x="1460020" y="693710"/>
                  <a:pt x="1460020" y="663229"/>
                </a:cubicBezTo>
                <a:cubicBezTo>
                  <a:pt x="1460020" y="632748"/>
                  <a:pt x="1484732" y="608038"/>
                  <a:pt x="1515217" y="608038"/>
                </a:cubicBezTo>
                <a:close/>
                <a:moveTo>
                  <a:pt x="1381573" y="608038"/>
                </a:moveTo>
                <a:cubicBezTo>
                  <a:pt x="1412057" y="608038"/>
                  <a:pt x="1436767" y="632748"/>
                  <a:pt x="1436767" y="663229"/>
                </a:cubicBezTo>
                <a:cubicBezTo>
                  <a:pt x="1436767" y="693710"/>
                  <a:pt x="1412057" y="718420"/>
                  <a:pt x="1381573" y="718420"/>
                </a:cubicBezTo>
                <a:cubicBezTo>
                  <a:pt x="1351097" y="718420"/>
                  <a:pt x="1326384" y="693710"/>
                  <a:pt x="1326384" y="663229"/>
                </a:cubicBezTo>
                <a:cubicBezTo>
                  <a:pt x="1326384" y="632748"/>
                  <a:pt x="1351097" y="608038"/>
                  <a:pt x="1381573" y="608038"/>
                </a:cubicBezTo>
                <a:close/>
                <a:moveTo>
                  <a:pt x="1251282" y="608038"/>
                </a:moveTo>
                <a:cubicBezTo>
                  <a:pt x="1281766" y="608038"/>
                  <a:pt x="1306476" y="632748"/>
                  <a:pt x="1306476" y="663229"/>
                </a:cubicBezTo>
                <a:cubicBezTo>
                  <a:pt x="1306476" y="693710"/>
                  <a:pt x="1281766" y="718420"/>
                  <a:pt x="1251282" y="718420"/>
                </a:cubicBezTo>
                <a:cubicBezTo>
                  <a:pt x="1220801" y="718420"/>
                  <a:pt x="1196089" y="693710"/>
                  <a:pt x="1196089" y="663229"/>
                </a:cubicBezTo>
                <a:cubicBezTo>
                  <a:pt x="1196089" y="632748"/>
                  <a:pt x="1220801" y="608038"/>
                  <a:pt x="1251282" y="608038"/>
                </a:cubicBezTo>
                <a:close/>
                <a:moveTo>
                  <a:pt x="8143386" y="494447"/>
                </a:moveTo>
                <a:cubicBezTo>
                  <a:pt x="8173868" y="494447"/>
                  <a:pt x="8198578" y="519157"/>
                  <a:pt x="8198578" y="549638"/>
                </a:cubicBezTo>
                <a:cubicBezTo>
                  <a:pt x="8198578" y="580119"/>
                  <a:pt x="8173868" y="604829"/>
                  <a:pt x="8143386" y="604829"/>
                </a:cubicBezTo>
                <a:cubicBezTo>
                  <a:pt x="8112904" y="604829"/>
                  <a:pt x="8088194" y="580119"/>
                  <a:pt x="8088194" y="549638"/>
                </a:cubicBezTo>
                <a:cubicBezTo>
                  <a:pt x="8088194" y="519157"/>
                  <a:pt x="8112904" y="494447"/>
                  <a:pt x="8143386" y="494447"/>
                </a:cubicBezTo>
                <a:close/>
                <a:moveTo>
                  <a:pt x="8009753" y="494447"/>
                </a:moveTo>
                <a:cubicBezTo>
                  <a:pt x="8040235" y="494447"/>
                  <a:pt x="8064945" y="519157"/>
                  <a:pt x="8064945" y="549638"/>
                </a:cubicBezTo>
                <a:cubicBezTo>
                  <a:pt x="8064945" y="580119"/>
                  <a:pt x="8040235" y="604829"/>
                  <a:pt x="8009753" y="604829"/>
                </a:cubicBezTo>
                <a:cubicBezTo>
                  <a:pt x="7979271" y="604829"/>
                  <a:pt x="7954561" y="580119"/>
                  <a:pt x="7954561" y="549638"/>
                </a:cubicBezTo>
                <a:cubicBezTo>
                  <a:pt x="7954561" y="519157"/>
                  <a:pt x="7979271" y="494447"/>
                  <a:pt x="8009753" y="494447"/>
                </a:cubicBezTo>
                <a:close/>
                <a:moveTo>
                  <a:pt x="7876118" y="494447"/>
                </a:moveTo>
                <a:cubicBezTo>
                  <a:pt x="7906600" y="494447"/>
                  <a:pt x="7931310" y="519157"/>
                  <a:pt x="7931310" y="549638"/>
                </a:cubicBezTo>
                <a:cubicBezTo>
                  <a:pt x="7931310" y="580119"/>
                  <a:pt x="7906600" y="604829"/>
                  <a:pt x="7876118" y="604829"/>
                </a:cubicBezTo>
                <a:cubicBezTo>
                  <a:pt x="7845636" y="604829"/>
                  <a:pt x="7820926" y="580119"/>
                  <a:pt x="7820926" y="549638"/>
                </a:cubicBezTo>
                <a:cubicBezTo>
                  <a:pt x="7820926" y="519157"/>
                  <a:pt x="7845636" y="494447"/>
                  <a:pt x="7876118" y="494447"/>
                </a:cubicBezTo>
                <a:close/>
                <a:moveTo>
                  <a:pt x="7745824" y="494447"/>
                </a:moveTo>
                <a:cubicBezTo>
                  <a:pt x="7776306" y="494447"/>
                  <a:pt x="7801016" y="519157"/>
                  <a:pt x="7801016" y="549638"/>
                </a:cubicBezTo>
                <a:cubicBezTo>
                  <a:pt x="7801016" y="580119"/>
                  <a:pt x="7776306" y="604829"/>
                  <a:pt x="7745824" y="604829"/>
                </a:cubicBezTo>
                <a:cubicBezTo>
                  <a:pt x="7715342" y="604829"/>
                  <a:pt x="7690632" y="580119"/>
                  <a:pt x="7690632" y="549638"/>
                </a:cubicBezTo>
                <a:cubicBezTo>
                  <a:pt x="7690632" y="519157"/>
                  <a:pt x="7715342" y="494447"/>
                  <a:pt x="7745824" y="494447"/>
                </a:cubicBezTo>
                <a:close/>
                <a:moveTo>
                  <a:pt x="7608850" y="494447"/>
                </a:moveTo>
                <a:cubicBezTo>
                  <a:pt x="7639332" y="494447"/>
                  <a:pt x="7664042" y="519157"/>
                  <a:pt x="7664042" y="549638"/>
                </a:cubicBezTo>
                <a:cubicBezTo>
                  <a:pt x="7664042" y="580119"/>
                  <a:pt x="7639332" y="604829"/>
                  <a:pt x="7608850" y="604829"/>
                </a:cubicBezTo>
                <a:cubicBezTo>
                  <a:pt x="7578368" y="604829"/>
                  <a:pt x="7553658" y="580119"/>
                  <a:pt x="7553658" y="549638"/>
                </a:cubicBezTo>
                <a:cubicBezTo>
                  <a:pt x="7553658" y="519157"/>
                  <a:pt x="7578368" y="494447"/>
                  <a:pt x="7608850" y="494447"/>
                </a:cubicBezTo>
                <a:close/>
                <a:moveTo>
                  <a:pt x="7481895" y="494447"/>
                </a:moveTo>
                <a:cubicBezTo>
                  <a:pt x="7512377" y="494447"/>
                  <a:pt x="7537087" y="519157"/>
                  <a:pt x="7537087" y="549638"/>
                </a:cubicBezTo>
                <a:cubicBezTo>
                  <a:pt x="7537087" y="580119"/>
                  <a:pt x="7512377" y="604829"/>
                  <a:pt x="7481895" y="604829"/>
                </a:cubicBezTo>
                <a:cubicBezTo>
                  <a:pt x="7451413" y="604829"/>
                  <a:pt x="7426703" y="580119"/>
                  <a:pt x="7426703" y="549638"/>
                </a:cubicBezTo>
                <a:cubicBezTo>
                  <a:pt x="7426703" y="519157"/>
                  <a:pt x="7451413" y="494447"/>
                  <a:pt x="7481895" y="494447"/>
                </a:cubicBezTo>
                <a:close/>
                <a:moveTo>
                  <a:pt x="7341580" y="494447"/>
                </a:moveTo>
                <a:cubicBezTo>
                  <a:pt x="7372062" y="494447"/>
                  <a:pt x="7396772" y="519157"/>
                  <a:pt x="7396772" y="549638"/>
                </a:cubicBezTo>
                <a:cubicBezTo>
                  <a:pt x="7396772" y="580119"/>
                  <a:pt x="7372062" y="604829"/>
                  <a:pt x="7341580" y="604829"/>
                </a:cubicBezTo>
                <a:cubicBezTo>
                  <a:pt x="7311098" y="604829"/>
                  <a:pt x="7286388" y="580119"/>
                  <a:pt x="7286388" y="549638"/>
                </a:cubicBezTo>
                <a:cubicBezTo>
                  <a:pt x="7286388" y="519157"/>
                  <a:pt x="7311098" y="494447"/>
                  <a:pt x="7341580" y="494447"/>
                </a:cubicBezTo>
                <a:close/>
                <a:moveTo>
                  <a:pt x="7211286" y="494447"/>
                </a:moveTo>
                <a:cubicBezTo>
                  <a:pt x="7241768" y="494447"/>
                  <a:pt x="7266478" y="519157"/>
                  <a:pt x="7266478" y="549638"/>
                </a:cubicBezTo>
                <a:cubicBezTo>
                  <a:pt x="7266478" y="580119"/>
                  <a:pt x="7241768" y="604829"/>
                  <a:pt x="7211286" y="604829"/>
                </a:cubicBezTo>
                <a:cubicBezTo>
                  <a:pt x="7180804" y="604829"/>
                  <a:pt x="7156094" y="580119"/>
                  <a:pt x="7156094" y="549638"/>
                </a:cubicBezTo>
                <a:cubicBezTo>
                  <a:pt x="7156094" y="519157"/>
                  <a:pt x="7180804" y="494447"/>
                  <a:pt x="7211286" y="494447"/>
                </a:cubicBezTo>
                <a:close/>
                <a:moveTo>
                  <a:pt x="7080994" y="494447"/>
                </a:moveTo>
                <a:cubicBezTo>
                  <a:pt x="7111476" y="494447"/>
                  <a:pt x="7136186" y="519157"/>
                  <a:pt x="7136186" y="549638"/>
                </a:cubicBezTo>
                <a:cubicBezTo>
                  <a:pt x="7136186" y="580119"/>
                  <a:pt x="7111476" y="604829"/>
                  <a:pt x="7080994" y="604829"/>
                </a:cubicBezTo>
                <a:cubicBezTo>
                  <a:pt x="7050512" y="604829"/>
                  <a:pt x="7025802" y="580119"/>
                  <a:pt x="7025802" y="549638"/>
                </a:cubicBezTo>
                <a:cubicBezTo>
                  <a:pt x="7025802" y="519157"/>
                  <a:pt x="7050512" y="494447"/>
                  <a:pt x="7080994" y="494447"/>
                </a:cubicBezTo>
                <a:close/>
                <a:moveTo>
                  <a:pt x="6947358" y="494447"/>
                </a:moveTo>
                <a:cubicBezTo>
                  <a:pt x="6977840" y="494447"/>
                  <a:pt x="7002550" y="519157"/>
                  <a:pt x="7002550" y="549638"/>
                </a:cubicBezTo>
                <a:cubicBezTo>
                  <a:pt x="7002550" y="580119"/>
                  <a:pt x="6977840" y="604829"/>
                  <a:pt x="6947358" y="604829"/>
                </a:cubicBezTo>
                <a:cubicBezTo>
                  <a:pt x="6916876" y="604829"/>
                  <a:pt x="6892166" y="580119"/>
                  <a:pt x="6892166" y="549638"/>
                </a:cubicBezTo>
                <a:cubicBezTo>
                  <a:pt x="6892166" y="519157"/>
                  <a:pt x="6916876" y="494447"/>
                  <a:pt x="6947358" y="494447"/>
                </a:cubicBezTo>
                <a:close/>
                <a:moveTo>
                  <a:pt x="6289207" y="494447"/>
                </a:moveTo>
                <a:cubicBezTo>
                  <a:pt x="6319689" y="494447"/>
                  <a:pt x="6344399" y="519157"/>
                  <a:pt x="6344399" y="549638"/>
                </a:cubicBezTo>
                <a:cubicBezTo>
                  <a:pt x="6344399" y="580119"/>
                  <a:pt x="6319689" y="604829"/>
                  <a:pt x="6289207" y="604829"/>
                </a:cubicBezTo>
                <a:cubicBezTo>
                  <a:pt x="6258725" y="604829"/>
                  <a:pt x="6234015" y="580119"/>
                  <a:pt x="6234015" y="549638"/>
                </a:cubicBezTo>
                <a:cubicBezTo>
                  <a:pt x="6234015" y="519157"/>
                  <a:pt x="6258725" y="494447"/>
                  <a:pt x="6289207" y="494447"/>
                </a:cubicBezTo>
                <a:close/>
                <a:moveTo>
                  <a:pt x="4030786" y="494447"/>
                </a:moveTo>
                <a:cubicBezTo>
                  <a:pt x="4061268" y="494447"/>
                  <a:pt x="4085978" y="519157"/>
                  <a:pt x="4085978" y="549638"/>
                </a:cubicBezTo>
                <a:cubicBezTo>
                  <a:pt x="4085978" y="580119"/>
                  <a:pt x="4061268" y="604829"/>
                  <a:pt x="4030786" y="604829"/>
                </a:cubicBezTo>
                <a:cubicBezTo>
                  <a:pt x="4000304" y="604829"/>
                  <a:pt x="3975594" y="580119"/>
                  <a:pt x="3975594" y="549638"/>
                </a:cubicBezTo>
                <a:cubicBezTo>
                  <a:pt x="3975594" y="519157"/>
                  <a:pt x="4000304" y="494447"/>
                  <a:pt x="4030786" y="494447"/>
                </a:cubicBezTo>
                <a:close/>
                <a:moveTo>
                  <a:pt x="3897148" y="494447"/>
                </a:moveTo>
                <a:cubicBezTo>
                  <a:pt x="3927630" y="494447"/>
                  <a:pt x="3952340" y="519157"/>
                  <a:pt x="3952340" y="549638"/>
                </a:cubicBezTo>
                <a:cubicBezTo>
                  <a:pt x="3952340" y="580119"/>
                  <a:pt x="3927630" y="604829"/>
                  <a:pt x="3897148" y="604829"/>
                </a:cubicBezTo>
                <a:cubicBezTo>
                  <a:pt x="3866666" y="604829"/>
                  <a:pt x="3841956" y="580119"/>
                  <a:pt x="3841956" y="549638"/>
                </a:cubicBezTo>
                <a:cubicBezTo>
                  <a:pt x="3841956" y="519157"/>
                  <a:pt x="3866666" y="494447"/>
                  <a:pt x="3897148" y="494447"/>
                </a:cubicBezTo>
                <a:close/>
                <a:moveTo>
                  <a:pt x="3763514" y="494447"/>
                </a:moveTo>
                <a:cubicBezTo>
                  <a:pt x="3793996" y="494447"/>
                  <a:pt x="3818706" y="519157"/>
                  <a:pt x="3818706" y="549638"/>
                </a:cubicBezTo>
                <a:cubicBezTo>
                  <a:pt x="3818706" y="580119"/>
                  <a:pt x="3793996" y="604829"/>
                  <a:pt x="3763514" y="604829"/>
                </a:cubicBezTo>
                <a:cubicBezTo>
                  <a:pt x="3733032" y="604829"/>
                  <a:pt x="3708322" y="580119"/>
                  <a:pt x="3708322" y="549638"/>
                </a:cubicBezTo>
                <a:cubicBezTo>
                  <a:pt x="3708322" y="519157"/>
                  <a:pt x="3733032" y="494447"/>
                  <a:pt x="3763514" y="494447"/>
                </a:cubicBezTo>
                <a:close/>
                <a:moveTo>
                  <a:pt x="3633221" y="494447"/>
                </a:moveTo>
                <a:cubicBezTo>
                  <a:pt x="3663703" y="494447"/>
                  <a:pt x="3688413" y="519157"/>
                  <a:pt x="3688413" y="549638"/>
                </a:cubicBezTo>
                <a:cubicBezTo>
                  <a:pt x="3688413" y="580119"/>
                  <a:pt x="3663703" y="604829"/>
                  <a:pt x="3633221" y="604829"/>
                </a:cubicBezTo>
                <a:cubicBezTo>
                  <a:pt x="3602739" y="604829"/>
                  <a:pt x="3578029" y="580119"/>
                  <a:pt x="3578029" y="549638"/>
                </a:cubicBezTo>
                <a:cubicBezTo>
                  <a:pt x="3578029" y="519157"/>
                  <a:pt x="3602739" y="494447"/>
                  <a:pt x="3633221" y="494447"/>
                </a:cubicBezTo>
                <a:close/>
                <a:moveTo>
                  <a:pt x="3499589" y="494447"/>
                </a:moveTo>
                <a:cubicBezTo>
                  <a:pt x="3530071" y="494447"/>
                  <a:pt x="3554781" y="519157"/>
                  <a:pt x="3554781" y="549638"/>
                </a:cubicBezTo>
                <a:cubicBezTo>
                  <a:pt x="3554781" y="580119"/>
                  <a:pt x="3530071" y="604829"/>
                  <a:pt x="3499589" y="604829"/>
                </a:cubicBezTo>
                <a:cubicBezTo>
                  <a:pt x="3469107" y="604829"/>
                  <a:pt x="3444397" y="580119"/>
                  <a:pt x="3444397" y="549638"/>
                </a:cubicBezTo>
                <a:cubicBezTo>
                  <a:pt x="3444397" y="519157"/>
                  <a:pt x="3469107" y="494447"/>
                  <a:pt x="3499589" y="494447"/>
                </a:cubicBezTo>
                <a:close/>
                <a:moveTo>
                  <a:pt x="3369292" y="494447"/>
                </a:moveTo>
                <a:cubicBezTo>
                  <a:pt x="3399774" y="494447"/>
                  <a:pt x="3424484" y="519157"/>
                  <a:pt x="3424484" y="549638"/>
                </a:cubicBezTo>
                <a:cubicBezTo>
                  <a:pt x="3424484" y="580119"/>
                  <a:pt x="3399774" y="604829"/>
                  <a:pt x="3369292" y="604829"/>
                </a:cubicBezTo>
                <a:cubicBezTo>
                  <a:pt x="3338810" y="604829"/>
                  <a:pt x="3314100" y="580119"/>
                  <a:pt x="3314100" y="549638"/>
                </a:cubicBezTo>
                <a:cubicBezTo>
                  <a:pt x="3314100" y="519157"/>
                  <a:pt x="3338810" y="494447"/>
                  <a:pt x="3369292" y="494447"/>
                </a:cubicBezTo>
                <a:close/>
                <a:moveTo>
                  <a:pt x="3235657" y="494447"/>
                </a:moveTo>
                <a:cubicBezTo>
                  <a:pt x="3266139" y="494447"/>
                  <a:pt x="3290849" y="519157"/>
                  <a:pt x="3290849" y="549638"/>
                </a:cubicBezTo>
                <a:cubicBezTo>
                  <a:pt x="3290849" y="580119"/>
                  <a:pt x="3266139" y="604829"/>
                  <a:pt x="3235657" y="604829"/>
                </a:cubicBezTo>
                <a:cubicBezTo>
                  <a:pt x="3205175" y="604829"/>
                  <a:pt x="3180465" y="580119"/>
                  <a:pt x="3180465" y="549638"/>
                </a:cubicBezTo>
                <a:cubicBezTo>
                  <a:pt x="3180465" y="519157"/>
                  <a:pt x="3205175" y="494447"/>
                  <a:pt x="3235657" y="494447"/>
                </a:cubicBezTo>
                <a:close/>
                <a:moveTo>
                  <a:pt x="2437297" y="494447"/>
                </a:moveTo>
                <a:cubicBezTo>
                  <a:pt x="2467779" y="494447"/>
                  <a:pt x="2492487" y="519157"/>
                  <a:pt x="2492487" y="549638"/>
                </a:cubicBezTo>
                <a:cubicBezTo>
                  <a:pt x="2492487" y="580119"/>
                  <a:pt x="2467779" y="604829"/>
                  <a:pt x="2437297" y="604829"/>
                </a:cubicBezTo>
                <a:cubicBezTo>
                  <a:pt x="2406818" y="604829"/>
                  <a:pt x="2382108" y="580119"/>
                  <a:pt x="2382108" y="549638"/>
                </a:cubicBezTo>
                <a:cubicBezTo>
                  <a:pt x="2382108" y="519157"/>
                  <a:pt x="2406818" y="494447"/>
                  <a:pt x="2437297" y="494447"/>
                </a:cubicBezTo>
                <a:close/>
                <a:moveTo>
                  <a:pt x="2303664" y="494447"/>
                </a:moveTo>
                <a:cubicBezTo>
                  <a:pt x="2334145" y="494447"/>
                  <a:pt x="2358856" y="519157"/>
                  <a:pt x="2358856" y="549638"/>
                </a:cubicBezTo>
                <a:cubicBezTo>
                  <a:pt x="2358856" y="580119"/>
                  <a:pt x="2334145" y="604829"/>
                  <a:pt x="2303664" y="604829"/>
                </a:cubicBezTo>
                <a:cubicBezTo>
                  <a:pt x="2273182" y="604829"/>
                  <a:pt x="2248473" y="580119"/>
                  <a:pt x="2248473" y="549638"/>
                </a:cubicBezTo>
                <a:cubicBezTo>
                  <a:pt x="2248473" y="519157"/>
                  <a:pt x="2273182" y="494447"/>
                  <a:pt x="2303664" y="494447"/>
                </a:cubicBezTo>
                <a:close/>
                <a:moveTo>
                  <a:pt x="2173372" y="494447"/>
                </a:moveTo>
                <a:cubicBezTo>
                  <a:pt x="2203854" y="494447"/>
                  <a:pt x="2228565" y="519157"/>
                  <a:pt x="2228565" y="549638"/>
                </a:cubicBezTo>
                <a:cubicBezTo>
                  <a:pt x="2228565" y="580119"/>
                  <a:pt x="2203854" y="604829"/>
                  <a:pt x="2173372" y="604829"/>
                </a:cubicBezTo>
                <a:cubicBezTo>
                  <a:pt x="2142889" y="604829"/>
                  <a:pt x="2118180" y="580119"/>
                  <a:pt x="2118180" y="549638"/>
                </a:cubicBezTo>
                <a:cubicBezTo>
                  <a:pt x="2118180" y="519157"/>
                  <a:pt x="2142889" y="494447"/>
                  <a:pt x="2173372" y="494447"/>
                </a:cubicBezTo>
                <a:close/>
                <a:moveTo>
                  <a:pt x="2039736" y="494447"/>
                </a:moveTo>
                <a:cubicBezTo>
                  <a:pt x="2070218" y="494447"/>
                  <a:pt x="2094930" y="519157"/>
                  <a:pt x="2094930" y="549638"/>
                </a:cubicBezTo>
                <a:cubicBezTo>
                  <a:pt x="2094930" y="580119"/>
                  <a:pt x="2070218" y="604829"/>
                  <a:pt x="2039736" y="604829"/>
                </a:cubicBezTo>
                <a:cubicBezTo>
                  <a:pt x="2009254" y="604829"/>
                  <a:pt x="1984543" y="580119"/>
                  <a:pt x="1984543" y="549638"/>
                </a:cubicBezTo>
                <a:cubicBezTo>
                  <a:pt x="1984543" y="519157"/>
                  <a:pt x="2009254" y="494447"/>
                  <a:pt x="2039736" y="494447"/>
                </a:cubicBezTo>
                <a:close/>
                <a:moveTo>
                  <a:pt x="1909437" y="494447"/>
                </a:moveTo>
                <a:cubicBezTo>
                  <a:pt x="1939921" y="494447"/>
                  <a:pt x="1964630" y="519157"/>
                  <a:pt x="1964630" y="549638"/>
                </a:cubicBezTo>
                <a:cubicBezTo>
                  <a:pt x="1964630" y="580119"/>
                  <a:pt x="1939921" y="604829"/>
                  <a:pt x="1909437" y="604829"/>
                </a:cubicBezTo>
                <a:cubicBezTo>
                  <a:pt x="1878955" y="604829"/>
                  <a:pt x="1854244" y="580119"/>
                  <a:pt x="1854244" y="549638"/>
                </a:cubicBezTo>
                <a:cubicBezTo>
                  <a:pt x="1854244" y="519157"/>
                  <a:pt x="1878955" y="494447"/>
                  <a:pt x="1909437" y="494447"/>
                </a:cubicBezTo>
                <a:close/>
                <a:moveTo>
                  <a:pt x="1779142" y="494447"/>
                </a:moveTo>
                <a:cubicBezTo>
                  <a:pt x="1809626" y="494447"/>
                  <a:pt x="1834335" y="519157"/>
                  <a:pt x="1834335" y="549638"/>
                </a:cubicBezTo>
                <a:cubicBezTo>
                  <a:pt x="1834335" y="580119"/>
                  <a:pt x="1809626" y="604829"/>
                  <a:pt x="1779142" y="604829"/>
                </a:cubicBezTo>
                <a:cubicBezTo>
                  <a:pt x="1748663" y="604829"/>
                  <a:pt x="1723950" y="580119"/>
                  <a:pt x="1723950" y="549638"/>
                </a:cubicBezTo>
                <a:cubicBezTo>
                  <a:pt x="1723950" y="519157"/>
                  <a:pt x="1748663" y="494447"/>
                  <a:pt x="1779142" y="494447"/>
                </a:cubicBezTo>
                <a:close/>
                <a:moveTo>
                  <a:pt x="1645508" y="494447"/>
                </a:moveTo>
                <a:cubicBezTo>
                  <a:pt x="1675988" y="494447"/>
                  <a:pt x="1700702" y="519157"/>
                  <a:pt x="1700702" y="549638"/>
                </a:cubicBezTo>
                <a:cubicBezTo>
                  <a:pt x="1700702" y="580119"/>
                  <a:pt x="1675988" y="604829"/>
                  <a:pt x="1645508" y="604829"/>
                </a:cubicBezTo>
                <a:cubicBezTo>
                  <a:pt x="1615024" y="604829"/>
                  <a:pt x="1590311" y="580119"/>
                  <a:pt x="1590311" y="549638"/>
                </a:cubicBezTo>
                <a:cubicBezTo>
                  <a:pt x="1590311" y="519157"/>
                  <a:pt x="1615024" y="494447"/>
                  <a:pt x="1645508" y="494447"/>
                </a:cubicBezTo>
                <a:close/>
                <a:moveTo>
                  <a:pt x="1515217" y="494447"/>
                </a:moveTo>
                <a:cubicBezTo>
                  <a:pt x="1545695" y="494447"/>
                  <a:pt x="1570402" y="519157"/>
                  <a:pt x="1570402" y="549638"/>
                </a:cubicBezTo>
                <a:cubicBezTo>
                  <a:pt x="1570402" y="580119"/>
                  <a:pt x="1545695" y="604829"/>
                  <a:pt x="1515217" y="604829"/>
                </a:cubicBezTo>
                <a:cubicBezTo>
                  <a:pt x="1484732" y="604829"/>
                  <a:pt x="1460020" y="580119"/>
                  <a:pt x="1460020" y="549638"/>
                </a:cubicBezTo>
                <a:cubicBezTo>
                  <a:pt x="1460020" y="519157"/>
                  <a:pt x="1484732" y="494447"/>
                  <a:pt x="1515217" y="494447"/>
                </a:cubicBezTo>
                <a:close/>
                <a:moveTo>
                  <a:pt x="1381573" y="494447"/>
                </a:moveTo>
                <a:cubicBezTo>
                  <a:pt x="1412057" y="494447"/>
                  <a:pt x="1436767" y="519157"/>
                  <a:pt x="1436767" y="549638"/>
                </a:cubicBezTo>
                <a:cubicBezTo>
                  <a:pt x="1436767" y="580119"/>
                  <a:pt x="1412057" y="604829"/>
                  <a:pt x="1381573" y="604829"/>
                </a:cubicBezTo>
                <a:cubicBezTo>
                  <a:pt x="1351097" y="604829"/>
                  <a:pt x="1326384" y="580119"/>
                  <a:pt x="1326384" y="549638"/>
                </a:cubicBezTo>
                <a:cubicBezTo>
                  <a:pt x="1326384" y="519157"/>
                  <a:pt x="1351097" y="494447"/>
                  <a:pt x="1381573" y="494447"/>
                </a:cubicBezTo>
                <a:close/>
                <a:moveTo>
                  <a:pt x="1251282" y="494447"/>
                </a:moveTo>
                <a:cubicBezTo>
                  <a:pt x="1281766" y="494447"/>
                  <a:pt x="1306476" y="519157"/>
                  <a:pt x="1306476" y="549638"/>
                </a:cubicBezTo>
                <a:cubicBezTo>
                  <a:pt x="1306476" y="580119"/>
                  <a:pt x="1281766" y="604829"/>
                  <a:pt x="1251282" y="604829"/>
                </a:cubicBezTo>
                <a:cubicBezTo>
                  <a:pt x="1220801" y="604829"/>
                  <a:pt x="1196089" y="580119"/>
                  <a:pt x="1196089" y="549638"/>
                </a:cubicBezTo>
                <a:cubicBezTo>
                  <a:pt x="1196089" y="519157"/>
                  <a:pt x="1220801" y="494447"/>
                  <a:pt x="1251282" y="494447"/>
                </a:cubicBezTo>
                <a:close/>
                <a:moveTo>
                  <a:pt x="8801538" y="364154"/>
                </a:moveTo>
                <a:cubicBezTo>
                  <a:pt x="8832020" y="364154"/>
                  <a:pt x="8856730" y="388864"/>
                  <a:pt x="8856730" y="419345"/>
                </a:cubicBezTo>
                <a:cubicBezTo>
                  <a:pt x="8856730" y="449826"/>
                  <a:pt x="8832020" y="474536"/>
                  <a:pt x="8801538" y="474536"/>
                </a:cubicBezTo>
                <a:cubicBezTo>
                  <a:pt x="8771056" y="474536"/>
                  <a:pt x="8746346" y="449826"/>
                  <a:pt x="8746346" y="419345"/>
                </a:cubicBezTo>
                <a:cubicBezTo>
                  <a:pt x="8746346" y="388864"/>
                  <a:pt x="8771056" y="364154"/>
                  <a:pt x="8801538" y="364154"/>
                </a:cubicBezTo>
                <a:close/>
                <a:moveTo>
                  <a:pt x="8671244" y="364154"/>
                </a:moveTo>
                <a:cubicBezTo>
                  <a:pt x="8701726" y="364154"/>
                  <a:pt x="8726436" y="388864"/>
                  <a:pt x="8726436" y="419345"/>
                </a:cubicBezTo>
                <a:cubicBezTo>
                  <a:pt x="8726436" y="449826"/>
                  <a:pt x="8701726" y="474536"/>
                  <a:pt x="8671244" y="474536"/>
                </a:cubicBezTo>
                <a:cubicBezTo>
                  <a:pt x="8640762" y="474536"/>
                  <a:pt x="8616052" y="449826"/>
                  <a:pt x="8616052" y="419345"/>
                </a:cubicBezTo>
                <a:cubicBezTo>
                  <a:pt x="8616052" y="388864"/>
                  <a:pt x="8640762" y="364154"/>
                  <a:pt x="8671244" y="364154"/>
                </a:cubicBezTo>
                <a:close/>
                <a:moveTo>
                  <a:pt x="8537609" y="364154"/>
                </a:moveTo>
                <a:cubicBezTo>
                  <a:pt x="8568091" y="364154"/>
                  <a:pt x="8592801" y="388864"/>
                  <a:pt x="8592801" y="419345"/>
                </a:cubicBezTo>
                <a:cubicBezTo>
                  <a:pt x="8592801" y="449826"/>
                  <a:pt x="8568091" y="474536"/>
                  <a:pt x="8537609" y="474536"/>
                </a:cubicBezTo>
                <a:cubicBezTo>
                  <a:pt x="8507127" y="474536"/>
                  <a:pt x="8482417" y="449826"/>
                  <a:pt x="8482417" y="419345"/>
                </a:cubicBezTo>
                <a:cubicBezTo>
                  <a:pt x="8482417" y="388864"/>
                  <a:pt x="8507127" y="364154"/>
                  <a:pt x="8537609" y="364154"/>
                </a:cubicBezTo>
                <a:close/>
                <a:moveTo>
                  <a:pt x="7745824" y="364154"/>
                </a:moveTo>
                <a:cubicBezTo>
                  <a:pt x="7776306" y="364154"/>
                  <a:pt x="7801016" y="388864"/>
                  <a:pt x="7801016" y="419345"/>
                </a:cubicBezTo>
                <a:cubicBezTo>
                  <a:pt x="7801016" y="449826"/>
                  <a:pt x="7776306" y="474536"/>
                  <a:pt x="7745824" y="474536"/>
                </a:cubicBezTo>
                <a:cubicBezTo>
                  <a:pt x="7715342" y="474536"/>
                  <a:pt x="7690632" y="449826"/>
                  <a:pt x="7690632" y="419345"/>
                </a:cubicBezTo>
                <a:cubicBezTo>
                  <a:pt x="7690632" y="388864"/>
                  <a:pt x="7715342" y="364154"/>
                  <a:pt x="7745824" y="364154"/>
                </a:cubicBezTo>
                <a:close/>
                <a:moveTo>
                  <a:pt x="7608850" y="364154"/>
                </a:moveTo>
                <a:cubicBezTo>
                  <a:pt x="7639332" y="364154"/>
                  <a:pt x="7664042" y="388864"/>
                  <a:pt x="7664042" y="419345"/>
                </a:cubicBezTo>
                <a:cubicBezTo>
                  <a:pt x="7664042" y="449826"/>
                  <a:pt x="7639332" y="474536"/>
                  <a:pt x="7608850" y="474536"/>
                </a:cubicBezTo>
                <a:cubicBezTo>
                  <a:pt x="7578368" y="474536"/>
                  <a:pt x="7553658" y="449826"/>
                  <a:pt x="7553658" y="419345"/>
                </a:cubicBezTo>
                <a:cubicBezTo>
                  <a:pt x="7553658" y="388864"/>
                  <a:pt x="7578368" y="364154"/>
                  <a:pt x="7608850" y="364154"/>
                </a:cubicBezTo>
                <a:close/>
                <a:moveTo>
                  <a:pt x="7481895" y="364154"/>
                </a:moveTo>
                <a:cubicBezTo>
                  <a:pt x="7512377" y="364154"/>
                  <a:pt x="7537087" y="388864"/>
                  <a:pt x="7537087" y="419345"/>
                </a:cubicBezTo>
                <a:cubicBezTo>
                  <a:pt x="7537087" y="449826"/>
                  <a:pt x="7512377" y="474536"/>
                  <a:pt x="7481895" y="474536"/>
                </a:cubicBezTo>
                <a:cubicBezTo>
                  <a:pt x="7451413" y="474536"/>
                  <a:pt x="7426703" y="449826"/>
                  <a:pt x="7426703" y="419345"/>
                </a:cubicBezTo>
                <a:cubicBezTo>
                  <a:pt x="7426703" y="388864"/>
                  <a:pt x="7451413" y="364154"/>
                  <a:pt x="7481895" y="364154"/>
                </a:cubicBezTo>
                <a:close/>
                <a:moveTo>
                  <a:pt x="7341580" y="364154"/>
                </a:moveTo>
                <a:cubicBezTo>
                  <a:pt x="7372062" y="364154"/>
                  <a:pt x="7396772" y="388864"/>
                  <a:pt x="7396772" y="419345"/>
                </a:cubicBezTo>
                <a:cubicBezTo>
                  <a:pt x="7396772" y="449826"/>
                  <a:pt x="7372062" y="474536"/>
                  <a:pt x="7341580" y="474536"/>
                </a:cubicBezTo>
                <a:cubicBezTo>
                  <a:pt x="7311098" y="474536"/>
                  <a:pt x="7286388" y="449826"/>
                  <a:pt x="7286388" y="419345"/>
                </a:cubicBezTo>
                <a:cubicBezTo>
                  <a:pt x="7286388" y="388864"/>
                  <a:pt x="7311098" y="364154"/>
                  <a:pt x="7341580" y="364154"/>
                </a:cubicBezTo>
                <a:close/>
                <a:moveTo>
                  <a:pt x="6553137" y="364154"/>
                </a:moveTo>
                <a:cubicBezTo>
                  <a:pt x="6583619" y="364154"/>
                  <a:pt x="6608329" y="388864"/>
                  <a:pt x="6608329" y="419345"/>
                </a:cubicBezTo>
                <a:cubicBezTo>
                  <a:pt x="6608329" y="449826"/>
                  <a:pt x="6583619" y="474536"/>
                  <a:pt x="6553137" y="474536"/>
                </a:cubicBezTo>
                <a:cubicBezTo>
                  <a:pt x="6522655" y="474536"/>
                  <a:pt x="6497945" y="449826"/>
                  <a:pt x="6497945" y="419345"/>
                </a:cubicBezTo>
                <a:cubicBezTo>
                  <a:pt x="6497945" y="388864"/>
                  <a:pt x="6522655" y="364154"/>
                  <a:pt x="6553137" y="364154"/>
                </a:cubicBezTo>
                <a:close/>
                <a:moveTo>
                  <a:pt x="6419503" y="364154"/>
                </a:moveTo>
                <a:cubicBezTo>
                  <a:pt x="6449985" y="364154"/>
                  <a:pt x="6474695" y="388864"/>
                  <a:pt x="6474695" y="419345"/>
                </a:cubicBezTo>
                <a:cubicBezTo>
                  <a:pt x="6474695" y="449826"/>
                  <a:pt x="6449985" y="474536"/>
                  <a:pt x="6419503" y="474536"/>
                </a:cubicBezTo>
                <a:cubicBezTo>
                  <a:pt x="6389021" y="474536"/>
                  <a:pt x="6364311" y="449826"/>
                  <a:pt x="6364311" y="419345"/>
                </a:cubicBezTo>
                <a:cubicBezTo>
                  <a:pt x="6364311" y="388864"/>
                  <a:pt x="6389021" y="364154"/>
                  <a:pt x="6419503" y="364154"/>
                </a:cubicBezTo>
                <a:close/>
                <a:moveTo>
                  <a:pt x="4030786" y="364154"/>
                </a:moveTo>
                <a:cubicBezTo>
                  <a:pt x="4061268" y="364154"/>
                  <a:pt x="4085978" y="388864"/>
                  <a:pt x="4085978" y="419345"/>
                </a:cubicBezTo>
                <a:cubicBezTo>
                  <a:pt x="4085978" y="449826"/>
                  <a:pt x="4061268" y="474536"/>
                  <a:pt x="4030786" y="474536"/>
                </a:cubicBezTo>
                <a:cubicBezTo>
                  <a:pt x="4000304" y="474536"/>
                  <a:pt x="3975594" y="449826"/>
                  <a:pt x="3975594" y="419345"/>
                </a:cubicBezTo>
                <a:cubicBezTo>
                  <a:pt x="3975594" y="388864"/>
                  <a:pt x="4000304" y="364154"/>
                  <a:pt x="4030786" y="364154"/>
                </a:cubicBezTo>
                <a:close/>
                <a:moveTo>
                  <a:pt x="3897148" y="364154"/>
                </a:moveTo>
                <a:cubicBezTo>
                  <a:pt x="3927630" y="364154"/>
                  <a:pt x="3952340" y="388864"/>
                  <a:pt x="3952340" y="419345"/>
                </a:cubicBezTo>
                <a:cubicBezTo>
                  <a:pt x="3952340" y="449826"/>
                  <a:pt x="3927630" y="474536"/>
                  <a:pt x="3897148" y="474536"/>
                </a:cubicBezTo>
                <a:cubicBezTo>
                  <a:pt x="3866666" y="474536"/>
                  <a:pt x="3841956" y="449826"/>
                  <a:pt x="3841956" y="419345"/>
                </a:cubicBezTo>
                <a:cubicBezTo>
                  <a:pt x="3841956" y="388864"/>
                  <a:pt x="3866666" y="364154"/>
                  <a:pt x="3897148" y="364154"/>
                </a:cubicBezTo>
                <a:close/>
                <a:moveTo>
                  <a:pt x="3763514" y="364154"/>
                </a:moveTo>
                <a:cubicBezTo>
                  <a:pt x="3793996" y="364154"/>
                  <a:pt x="3818706" y="388864"/>
                  <a:pt x="3818706" y="419345"/>
                </a:cubicBezTo>
                <a:cubicBezTo>
                  <a:pt x="3818706" y="449826"/>
                  <a:pt x="3793996" y="474536"/>
                  <a:pt x="3763514" y="474536"/>
                </a:cubicBezTo>
                <a:cubicBezTo>
                  <a:pt x="3733032" y="474536"/>
                  <a:pt x="3708322" y="449826"/>
                  <a:pt x="3708322" y="419345"/>
                </a:cubicBezTo>
                <a:cubicBezTo>
                  <a:pt x="3708322" y="388864"/>
                  <a:pt x="3733032" y="364154"/>
                  <a:pt x="3763514" y="364154"/>
                </a:cubicBezTo>
                <a:close/>
                <a:moveTo>
                  <a:pt x="3633221" y="364154"/>
                </a:moveTo>
                <a:cubicBezTo>
                  <a:pt x="3663703" y="364154"/>
                  <a:pt x="3688413" y="388864"/>
                  <a:pt x="3688413" y="419345"/>
                </a:cubicBezTo>
                <a:cubicBezTo>
                  <a:pt x="3688413" y="449826"/>
                  <a:pt x="3663703" y="474536"/>
                  <a:pt x="3633221" y="474536"/>
                </a:cubicBezTo>
                <a:cubicBezTo>
                  <a:pt x="3602739" y="474536"/>
                  <a:pt x="3578029" y="449826"/>
                  <a:pt x="3578029" y="419345"/>
                </a:cubicBezTo>
                <a:cubicBezTo>
                  <a:pt x="3578029" y="388864"/>
                  <a:pt x="3602739" y="364154"/>
                  <a:pt x="3633221" y="364154"/>
                </a:cubicBezTo>
                <a:close/>
                <a:moveTo>
                  <a:pt x="3499589" y="364154"/>
                </a:moveTo>
                <a:cubicBezTo>
                  <a:pt x="3530071" y="364154"/>
                  <a:pt x="3554781" y="388864"/>
                  <a:pt x="3554781" y="419345"/>
                </a:cubicBezTo>
                <a:cubicBezTo>
                  <a:pt x="3554781" y="449826"/>
                  <a:pt x="3530071" y="474536"/>
                  <a:pt x="3499589" y="474536"/>
                </a:cubicBezTo>
                <a:cubicBezTo>
                  <a:pt x="3469107" y="474536"/>
                  <a:pt x="3444397" y="449826"/>
                  <a:pt x="3444397" y="419345"/>
                </a:cubicBezTo>
                <a:cubicBezTo>
                  <a:pt x="3444397" y="388864"/>
                  <a:pt x="3469107" y="364154"/>
                  <a:pt x="3499589" y="364154"/>
                </a:cubicBezTo>
                <a:close/>
                <a:moveTo>
                  <a:pt x="3369292" y="364154"/>
                </a:moveTo>
                <a:cubicBezTo>
                  <a:pt x="3399774" y="364154"/>
                  <a:pt x="3424484" y="388864"/>
                  <a:pt x="3424484" y="419345"/>
                </a:cubicBezTo>
                <a:cubicBezTo>
                  <a:pt x="3424484" y="449826"/>
                  <a:pt x="3399774" y="474536"/>
                  <a:pt x="3369292" y="474536"/>
                </a:cubicBezTo>
                <a:cubicBezTo>
                  <a:pt x="3338810" y="474536"/>
                  <a:pt x="3314100" y="449826"/>
                  <a:pt x="3314100" y="419345"/>
                </a:cubicBezTo>
                <a:cubicBezTo>
                  <a:pt x="3314100" y="388864"/>
                  <a:pt x="3338810" y="364154"/>
                  <a:pt x="3369292" y="364154"/>
                </a:cubicBezTo>
                <a:close/>
                <a:moveTo>
                  <a:pt x="3235657" y="364154"/>
                </a:moveTo>
                <a:cubicBezTo>
                  <a:pt x="3266139" y="364154"/>
                  <a:pt x="3290849" y="388864"/>
                  <a:pt x="3290849" y="419345"/>
                </a:cubicBezTo>
                <a:cubicBezTo>
                  <a:pt x="3290849" y="449826"/>
                  <a:pt x="3266139" y="474536"/>
                  <a:pt x="3235657" y="474536"/>
                </a:cubicBezTo>
                <a:cubicBezTo>
                  <a:pt x="3205175" y="474536"/>
                  <a:pt x="3180465" y="449826"/>
                  <a:pt x="3180465" y="419345"/>
                </a:cubicBezTo>
                <a:cubicBezTo>
                  <a:pt x="3180465" y="388864"/>
                  <a:pt x="3205175" y="364154"/>
                  <a:pt x="3235657" y="364154"/>
                </a:cubicBezTo>
                <a:close/>
                <a:moveTo>
                  <a:pt x="3098681" y="364154"/>
                </a:moveTo>
                <a:cubicBezTo>
                  <a:pt x="3129163" y="364154"/>
                  <a:pt x="3153873" y="388864"/>
                  <a:pt x="3153873" y="419345"/>
                </a:cubicBezTo>
                <a:cubicBezTo>
                  <a:pt x="3153873" y="449826"/>
                  <a:pt x="3129163" y="474536"/>
                  <a:pt x="3098681" y="474536"/>
                </a:cubicBezTo>
                <a:cubicBezTo>
                  <a:pt x="3068199" y="474536"/>
                  <a:pt x="3043489" y="449826"/>
                  <a:pt x="3043489" y="419345"/>
                </a:cubicBezTo>
                <a:cubicBezTo>
                  <a:pt x="3043489" y="388864"/>
                  <a:pt x="3068199" y="364154"/>
                  <a:pt x="3098681" y="364154"/>
                </a:cubicBezTo>
                <a:close/>
                <a:moveTo>
                  <a:pt x="2971729" y="364154"/>
                </a:moveTo>
                <a:cubicBezTo>
                  <a:pt x="3002211" y="364154"/>
                  <a:pt x="3026921" y="388864"/>
                  <a:pt x="3026921" y="419345"/>
                </a:cubicBezTo>
                <a:cubicBezTo>
                  <a:pt x="3026921" y="449826"/>
                  <a:pt x="3002211" y="474536"/>
                  <a:pt x="2971729" y="474536"/>
                </a:cubicBezTo>
                <a:cubicBezTo>
                  <a:pt x="2941247" y="474536"/>
                  <a:pt x="2916537" y="449826"/>
                  <a:pt x="2916537" y="419345"/>
                </a:cubicBezTo>
                <a:cubicBezTo>
                  <a:pt x="2916537" y="388864"/>
                  <a:pt x="2941247" y="364154"/>
                  <a:pt x="2971729" y="364154"/>
                </a:cubicBezTo>
                <a:close/>
                <a:moveTo>
                  <a:pt x="2834862" y="364154"/>
                </a:moveTo>
                <a:cubicBezTo>
                  <a:pt x="2865342" y="364154"/>
                  <a:pt x="2890052" y="388864"/>
                  <a:pt x="2890052" y="419345"/>
                </a:cubicBezTo>
                <a:cubicBezTo>
                  <a:pt x="2890052" y="449826"/>
                  <a:pt x="2865342" y="474536"/>
                  <a:pt x="2834862" y="474536"/>
                </a:cubicBezTo>
                <a:cubicBezTo>
                  <a:pt x="2804379" y="474536"/>
                  <a:pt x="2779671" y="449826"/>
                  <a:pt x="2779671" y="419345"/>
                </a:cubicBezTo>
                <a:cubicBezTo>
                  <a:pt x="2779671" y="388864"/>
                  <a:pt x="2804379" y="364154"/>
                  <a:pt x="2834862" y="364154"/>
                </a:cubicBezTo>
                <a:close/>
                <a:moveTo>
                  <a:pt x="2437297" y="364154"/>
                </a:moveTo>
                <a:cubicBezTo>
                  <a:pt x="2467781" y="364154"/>
                  <a:pt x="2492487" y="388864"/>
                  <a:pt x="2492487" y="419345"/>
                </a:cubicBezTo>
                <a:cubicBezTo>
                  <a:pt x="2492487" y="449826"/>
                  <a:pt x="2467781" y="474536"/>
                  <a:pt x="2437297" y="474536"/>
                </a:cubicBezTo>
                <a:cubicBezTo>
                  <a:pt x="2406818" y="474536"/>
                  <a:pt x="2382108" y="449826"/>
                  <a:pt x="2382108" y="419345"/>
                </a:cubicBezTo>
                <a:cubicBezTo>
                  <a:pt x="2382108" y="388864"/>
                  <a:pt x="2406818" y="364154"/>
                  <a:pt x="2437297" y="364154"/>
                </a:cubicBezTo>
                <a:close/>
                <a:moveTo>
                  <a:pt x="2303664" y="364154"/>
                </a:moveTo>
                <a:cubicBezTo>
                  <a:pt x="2334146" y="364154"/>
                  <a:pt x="2358856" y="388864"/>
                  <a:pt x="2358856" y="419345"/>
                </a:cubicBezTo>
                <a:cubicBezTo>
                  <a:pt x="2358856" y="449826"/>
                  <a:pt x="2334146" y="474536"/>
                  <a:pt x="2303664" y="474536"/>
                </a:cubicBezTo>
                <a:cubicBezTo>
                  <a:pt x="2273184" y="474536"/>
                  <a:pt x="2248473" y="449826"/>
                  <a:pt x="2248473" y="419345"/>
                </a:cubicBezTo>
                <a:cubicBezTo>
                  <a:pt x="2248473" y="388864"/>
                  <a:pt x="2273184" y="364154"/>
                  <a:pt x="2303664" y="364154"/>
                </a:cubicBezTo>
                <a:close/>
                <a:moveTo>
                  <a:pt x="2173372" y="364154"/>
                </a:moveTo>
                <a:cubicBezTo>
                  <a:pt x="2203854" y="364154"/>
                  <a:pt x="2228565" y="388864"/>
                  <a:pt x="2228565" y="419345"/>
                </a:cubicBezTo>
                <a:cubicBezTo>
                  <a:pt x="2228565" y="449826"/>
                  <a:pt x="2203854" y="474536"/>
                  <a:pt x="2173372" y="474536"/>
                </a:cubicBezTo>
                <a:cubicBezTo>
                  <a:pt x="2142892" y="474536"/>
                  <a:pt x="2118180" y="449826"/>
                  <a:pt x="2118180" y="419345"/>
                </a:cubicBezTo>
                <a:cubicBezTo>
                  <a:pt x="2118180" y="388864"/>
                  <a:pt x="2142892" y="364154"/>
                  <a:pt x="2173372" y="364154"/>
                </a:cubicBezTo>
                <a:close/>
                <a:moveTo>
                  <a:pt x="2039736" y="364154"/>
                </a:moveTo>
                <a:cubicBezTo>
                  <a:pt x="2070218" y="364154"/>
                  <a:pt x="2094930" y="388864"/>
                  <a:pt x="2094930" y="419345"/>
                </a:cubicBezTo>
                <a:cubicBezTo>
                  <a:pt x="2094930" y="449826"/>
                  <a:pt x="2070218" y="474536"/>
                  <a:pt x="2039736" y="474536"/>
                </a:cubicBezTo>
                <a:cubicBezTo>
                  <a:pt x="2009254" y="474536"/>
                  <a:pt x="1984543" y="449826"/>
                  <a:pt x="1984543" y="419345"/>
                </a:cubicBezTo>
                <a:cubicBezTo>
                  <a:pt x="1984543" y="388864"/>
                  <a:pt x="2009254" y="364154"/>
                  <a:pt x="2039736" y="364154"/>
                </a:cubicBezTo>
                <a:close/>
                <a:moveTo>
                  <a:pt x="1909440" y="364154"/>
                </a:moveTo>
                <a:cubicBezTo>
                  <a:pt x="1939922" y="364154"/>
                  <a:pt x="1964634" y="388864"/>
                  <a:pt x="1964634" y="419345"/>
                </a:cubicBezTo>
                <a:cubicBezTo>
                  <a:pt x="1964634" y="449826"/>
                  <a:pt x="1939922" y="474536"/>
                  <a:pt x="1909440" y="474536"/>
                </a:cubicBezTo>
                <a:cubicBezTo>
                  <a:pt x="1878957" y="474536"/>
                  <a:pt x="1854246" y="449826"/>
                  <a:pt x="1854246" y="419345"/>
                </a:cubicBezTo>
                <a:cubicBezTo>
                  <a:pt x="1854246" y="388864"/>
                  <a:pt x="1878957" y="364154"/>
                  <a:pt x="1909440" y="364154"/>
                </a:cubicBezTo>
                <a:close/>
                <a:moveTo>
                  <a:pt x="1779142" y="364154"/>
                </a:moveTo>
                <a:cubicBezTo>
                  <a:pt x="1809626" y="364154"/>
                  <a:pt x="1834337" y="388864"/>
                  <a:pt x="1834337" y="419345"/>
                </a:cubicBezTo>
                <a:cubicBezTo>
                  <a:pt x="1834337" y="449826"/>
                  <a:pt x="1809626" y="474536"/>
                  <a:pt x="1779142" y="474536"/>
                </a:cubicBezTo>
                <a:cubicBezTo>
                  <a:pt x="1748663" y="474536"/>
                  <a:pt x="1723951" y="449826"/>
                  <a:pt x="1723951" y="419345"/>
                </a:cubicBezTo>
                <a:cubicBezTo>
                  <a:pt x="1723951" y="388864"/>
                  <a:pt x="1748663" y="364154"/>
                  <a:pt x="1779142" y="364154"/>
                </a:cubicBezTo>
                <a:close/>
                <a:moveTo>
                  <a:pt x="1645508" y="364154"/>
                </a:moveTo>
                <a:cubicBezTo>
                  <a:pt x="1675988" y="364154"/>
                  <a:pt x="1700702" y="388864"/>
                  <a:pt x="1700702" y="419345"/>
                </a:cubicBezTo>
                <a:cubicBezTo>
                  <a:pt x="1700702" y="449826"/>
                  <a:pt x="1675988" y="474536"/>
                  <a:pt x="1645508" y="474536"/>
                </a:cubicBezTo>
                <a:cubicBezTo>
                  <a:pt x="1615024" y="474536"/>
                  <a:pt x="1590313" y="449826"/>
                  <a:pt x="1590313" y="419345"/>
                </a:cubicBezTo>
                <a:cubicBezTo>
                  <a:pt x="1590313" y="388864"/>
                  <a:pt x="1615024" y="364154"/>
                  <a:pt x="1645508" y="364154"/>
                </a:cubicBezTo>
                <a:close/>
                <a:moveTo>
                  <a:pt x="1515217" y="364154"/>
                </a:moveTo>
                <a:cubicBezTo>
                  <a:pt x="1545695" y="364154"/>
                  <a:pt x="1570405" y="388864"/>
                  <a:pt x="1570405" y="419345"/>
                </a:cubicBezTo>
                <a:cubicBezTo>
                  <a:pt x="1570405" y="449826"/>
                  <a:pt x="1545695" y="474536"/>
                  <a:pt x="1515217" y="474536"/>
                </a:cubicBezTo>
                <a:cubicBezTo>
                  <a:pt x="1484732" y="474536"/>
                  <a:pt x="1460020" y="449826"/>
                  <a:pt x="1460020" y="419345"/>
                </a:cubicBezTo>
                <a:cubicBezTo>
                  <a:pt x="1460020" y="388864"/>
                  <a:pt x="1484732" y="364154"/>
                  <a:pt x="1515217" y="364154"/>
                </a:cubicBezTo>
                <a:close/>
                <a:moveTo>
                  <a:pt x="1381573" y="364154"/>
                </a:moveTo>
                <a:cubicBezTo>
                  <a:pt x="1412060" y="364154"/>
                  <a:pt x="1436767" y="388864"/>
                  <a:pt x="1436767" y="419345"/>
                </a:cubicBezTo>
                <a:cubicBezTo>
                  <a:pt x="1436767" y="449826"/>
                  <a:pt x="1412060" y="474536"/>
                  <a:pt x="1381573" y="474536"/>
                </a:cubicBezTo>
                <a:cubicBezTo>
                  <a:pt x="1351097" y="474536"/>
                  <a:pt x="1326384" y="449826"/>
                  <a:pt x="1326384" y="419345"/>
                </a:cubicBezTo>
                <a:cubicBezTo>
                  <a:pt x="1326384" y="388864"/>
                  <a:pt x="1351097" y="364154"/>
                  <a:pt x="1381573" y="364154"/>
                </a:cubicBezTo>
                <a:close/>
                <a:moveTo>
                  <a:pt x="1251283" y="364154"/>
                </a:moveTo>
                <a:cubicBezTo>
                  <a:pt x="1281766" y="364154"/>
                  <a:pt x="1306476" y="388864"/>
                  <a:pt x="1306476" y="419345"/>
                </a:cubicBezTo>
                <a:cubicBezTo>
                  <a:pt x="1306476" y="449826"/>
                  <a:pt x="1281766" y="474536"/>
                  <a:pt x="1251283" y="474536"/>
                </a:cubicBezTo>
                <a:cubicBezTo>
                  <a:pt x="1220801" y="474536"/>
                  <a:pt x="1196091" y="449826"/>
                  <a:pt x="1196091" y="419345"/>
                </a:cubicBezTo>
                <a:cubicBezTo>
                  <a:pt x="1196091" y="388864"/>
                  <a:pt x="1220801" y="364154"/>
                  <a:pt x="1251283" y="364154"/>
                </a:cubicBezTo>
                <a:close/>
                <a:moveTo>
                  <a:pt x="7608850" y="247225"/>
                </a:moveTo>
                <a:cubicBezTo>
                  <a:pt x="7639332" y="247225"/>
                  <a:pt x="7664042" y="271935"/>
                  <a:pt x="7664042" y="302416"/>
                </a:cubicBezTo>
                <a:cubicBezTo>
                  <a:pt x="7664042" y="332897"/>
                  <a:pt x="7639332" y="357607"/>
                  <a:pt x="7608850" y="357607"/>
                </a:cubicBezTo>
                <a:cubicBezTo>
                  <a:pt x="7578368" y="357607"/>
                  <a:pt x="7553658" y="332897"/>
                  <a:pt x="7553658" y="302416"/>
                </a:cubicBezTo>
                <a:cubicBezTo>
                  <a:pt x="7553658" y="271935"/>
                  <a:pt x="7578368" y="247225"/>
                  <a:pt x="7608850" y="247225"/>
                </a:cubicBezTo>
                <a:close/>
                <a:moveTo>
                  <a:pt x="7481898" y="247225"/>
                </a:moveTo>
                <a:cubicBezTo>
                  <a:pt x="7512380" y="247225"/>
                  <a:pt x="7537090" y="271935"/>
                  <a:pt x="7537090" y="302416"/>
                </a:cubicBezTo>
                <a:cubicBezTo>
                  <a:pt x="7537090" y="332897"/>
                  <a:pt x="7512380" y="357607"/>
                  <a:pt x="7481898" y="357607"/>
                </a:cubicBezTo>
                <a:cubicBezTo>
                  <a:pt x="7451416" y="357607"/>
                  <a:pt x="7426706" y="332897"/>
                  <a:pt x="7426706" y="302416"/>
                </a:cubicBezTo>
                <a:cubicBezTo>
                  <a:pt x="7426706" y="271935"/>
                  <a:pt x="7451416" y="247225"/>
                  <a:pt x="7481898" y="247225"/>
                </a:cubicBezTo>
                <a:close/>
                <a:moveTo>
                  <a:pt x="5093178" y="247225"/>
                </a:moveTo>
                <a:cubicBezTo>
                  <a:pt x="5123660" y="247225"/>
                  <a:pt x="5148370" y="271935"/>
                  <a:pt x="5148370" y="302416"/>
                </a:cubicBezTo>
                <a:cubicBezTo>
                  <a:pt x="5148370" y="332897"/>
                  <a:pt x="5123660" y="357607"/>
                  <a:pt x="5093178" y="357607"/>
                </a:cubicBezTo>
                <a:cubicBezTo>
                  <a:pt x="5062696" y="357607"/>
                  <a:pt x="5037986" y="332897"/>
                  <a:pt x="5037986" y="302416"/>
                </a:cubicBezTo>
                <a:cubicBezTo>
                  <a:pt x="5037986" y="271935"/>
                  <a:pt x="5062696" y="247225"/>
                  <a:pt x="5093178" y="247225"/>
                </a:cubicBezTo>
                <a:close/>
                <a:moveTo>
                  <a:pt x="4030786" y="247225"/>
                </a:moveTo>
                <a:cubicBezTo>
                  <a:pt x="4061268" y="247225"/>
                  <a:pt x="4085978" y="271935"/>
                  <a:pt x="4085978" y="302416"/>
                </a:cubicBezTo>
                <a:cubicBezTo>
                  <a:pt x="4085978" y="332897"/>
                  <a:pt x="4061268" y="357607"/>
                  <a:pt x="4030786" y="357607"/>
                </a:cubicBezTo>
                <a:cubicBezTo>
                  <a:pt x="4000304" y="357607"/>
                  <a:pt x="3975594" y="332897"/>
                  <a:pt x="3975594" y="302416"/>
                </a:cubicBezTo>
                <a:cubicBezTo>
                  <a:pt x="3975594" y="271935"/>
                  <a:pt x="4000304" y="247225"/>
                  <a:pt x="4030786" y="247225"/>
                </a:cubicBezTo>
                <a:close/>
                <a:moveTo>
                  <a:pt x="3897148" y="247225"/>
                </a:moveTo>
                <a:cubicBezTo>
                  <a:pt x="3927630" y="247225"/>
                  <a:pt x="3952340" y="271935"/>
                  <a:pt x="3952340" y="302416"/>
                </a:cubicBezTo>
                <a:cubicBezTo>
                  <a:pt x="3952340" y="332897"/>
                  <a:pt x="3927630" y="357607"/>
                  <a:pt x="3897148" y="357607"/>
                </a:cubicBezTo>
                <a:cubicBezTo>
                  <a:pt x="3866666" y="357607"/>
                  <a:pt x="3841956" y="332897"/>
                  <a:pt x="3841956" y="302416"/>
                </a:cubicBezTo>
                <a:cubicBezTo>
                  <a:pt x="3841956" y="271935"/>
                  <a:pt x="3866666" y="247225"/>
                  <a:pt x="3897148" y="247225"/>
                </a:cubicBezTo>
                <a:close/>
                <a:moveTo>
                  <a:pt x="3763514" y="247225"/>
                </a:moveTo>
                <a:cubicBezTo>
                  <a:pt x="3793996" y="247225"/>
                  <a:pt x="3818706" y="271935"/>
                  <a:pt x="3818706" y="302416"/>
                </a:cubicBezTo>
                <a:cubicBezTo>
                  <a:pt x="3818706" y="332897"/>
                  <a:pt x="3793996" y="357607"/>
                  <a:pt x="3763514" y="357607"/>
                </a:cubicBezTo>
                <a:cubicBezTo>
                  <a:pt x="3733032" y="357607"/>
                  <a:pt x="3708322" y="332897"/>
                  <a:pt x="3708322" y="302416"/>
                </a:cubicBezTo>
                <a:cubicBezTo>
                  <a:pt x="3708322" y="271935"/>
                  <a:pt x="3733032" y="247225"/>
                  <a:pt x="3763514" y="247225"/>
                </a:cubicBezTo>
                <a:close/>
                <a:moveTo>
                  <a:pt x="3633221" y="247225"/>
                </a:moveTo>
                <a:cubicBezTo>
                  <a:pt x="3663703" y="247225"/>
                  <a:pt x="3688413" y="271935"/>
                  <a:pt x="3688413" y="302416"/>
                </a:cubicBezTo>
                <a:cubicBezTo>
                  <a:pt x="3688413" y="332897"/>
                  <a:pt x="3663703" y="357607"/>
                  <a:pt x="3633221" y="357607"/>
                </a:cubicBezTo>
                <a:cubicBezTo>
                  <a:pt x="3602739" y="357607"/>
                  <a:pt x="3578029" y="332897"/>
                  <a:pt x="3578029" y="302416"/>
                </a:cubicBezTo>
                <a:cubicBezTo>
                  <a:pt x="3578029" y="271935"/>
                  <a:pt x="3602739" y="247225"/>
                  <a:pt x="3633221" y="247225"/>
                </a:cubicBezTo>
                <a:close/>
                <a:moveTo>
                  <a:pt x="3499589" y="247225"/>
                </a:moveTo>
                <a:cubicBezTo>
                  <a:pt x="3530071" y="247225"/>
                  <a:pt x="3554781" y="271935"/>
                  <a:pt x="3554781" y="302416"/>
                </a:cubicBezTo>
                <a:cubicBezTo>
                  <a:pt x="3554781" y="332897"/>
                  <a:pt x="3530071" y="357607"/>
                  <a:pt x="3499589" y="357607"/>
                </a:cubicBezTo>
                <a:cubicBezTo>
                  <a:pt x="3469107" y="357607"/>
                  <a:pt x="3444397" y="332897"/>
                  <a:pt x="3444397" y="302416"/>
                </a:cubicBezTo>
                <a:cubicBezTo>
                  <a:pt x="3444397" y="271935"/>
                  <a:pt x="3469107" y="247225"/>
                  <a:pt x="3499589" y="247225"/>
                </a:cubicBezTo>
                <a:close/>
                <a:moveTo>
                  <a:pt x="3369293" y="247225"/>
                </a:moveTo>
                <a:cubicBezTo>
                  <a:pt x="3399775" y="247225"/>
                  <a:pt x="3424485" y="271935"/>
                  <a:pt x="3424485" y="302416"/>
                </a:cubicBezTo>
                <a:cubicBezTo>
                  <a:pt x="3424485" y="332897"/>
                  <a:pt x="3399775" y="357607"/>
                  <a:pt x="3369293" y="357607"/>
                </a:cubicBezTo>
                <a:cubicBezTo>
                  <a:pt x="3338811" y="357607"/>
                  <a:pt x="3314101" y="332897"/>
                  <a:pt x="3314101" y="302416"/>
                </a:cubicBezTo>
                <a:cubicBezTo>
                  <a:pt x="3314101" y="271935"/>
                  <a:pt x="3338811" y="247225"/>
                  <a:pt x="3369293" y="247225"/>
                </a:cubicBezTo>
                <a:close/>
                <a:moveTo>
                  <a:pt x="3235657" y="247225"/>
                </a:moveTo>
                <a:cubicBezTo>
                  <a:pt x="3266139" y="247225"/>
                  <a:pt x="3290849" y="271935"/>
                  <a:pt x="3290849" y="302416"/>
                </a:cubicBezTo>
                <a:cubicBezTo>
                  <a:pt x="3290849" y="332897"/>
                  <a:pt x="3266139" y="357607"/>
                  <a:pt x="3235657" y="357607"/>
                </a:cubicBezTo>
                <a:cubicBezTo>
                  <a:pt x="3205175" y="357607"/>
                  <a:pt x="3180465" y="332897"/>
                  <a:pt x="3180465" y="302416"/>
                </a:cubicBezTo>
                <a:cubicBezTo>
                  <a:pt x="3180465" y="271935"/>
                  <a:pt x="3205175" y="247225"/>
                  <a:pt x="3235657" y="247225"/>
                </a:cubicBezTo>
                <a:close/>
                <a:moveTo>
                  <a:pt x="3098682" y="247225"/>
                </a:moveTo>
                <a:cubicBezTo>
                  <a:pt x="3129164" y="247225"/>
                  <a:pt x="3153874" y="271935"/>
                  <a:pt x="3153874" y="302416"/>
                </a:cubicBezTo>
                <a:cubicBezTo>
                  <a:pt x="3153874" y="332897"/>
                  <a:pt x="3129164" y="357607"/>
                  <a:pt x="3098682" y="357607"/>
                </a:cubicBezTo>
                <a:cubicBezTo>
                  <a:pt x="3068200" y="357607"/>
                  <a:pt x="3043490" y="332897"/>
                  <a:pt x="3043490" y="302416"/>
                </a:cubicBezTo>
                <a:cubicBezTo>
                  <a:pt x="3043490" y="271935"/>
                  <a:pt x="3068200" y="247225"/>
                  <a:pt x="3098682" y="247225"/>
                </a:cubicBezTo>
                <a:close/>
                <a:moveTo>
                  <a:pt x="2971729" y="247225"/>
                </a:moveTo>
                <a:cubicBezTo>
                  <a:pt x="3002211" y="247225"/>
                  <a:pt x="3026921" y="271935"/>
                  <a:pt x="3026921" y="302416"/>
                </a:cubicBezTo>
                <a:cubicBezTo>
                  <a:pt x="3026921" y="332897"/>
                  <a:pt x="3002211" y="357607"/>
                  <a:pt x="2971729" y="357607"/>
                </a:cubicBezTo>
                <a:cubicBezTo>
                  <a:pt x="2941247" y="357607"/>
                  <a:pt x="2916537" y="332897"/>
                  <a:pt x="2916537" y="302416"/>
                </a:cubicBezTo>
                <a:cubicBezTo>
                  <a:pt x="2916537" y="271935"/>
                  <a:pt x="2941247" y="247225"/>
                  <a:pt x="2971729" y="247225"/>
                </a:cubicBezTo>
                <a:close/>
                <a:moveTo>
                  <a:pt x="2834862" y="247225"/>
                </a:moveTo>
                <a:cubicBezTo>
                  <a:pt x="2865342" y="247225"/>
                  <a:pt x="2890052" y="271935"/>
                  <a:pt x="2890052" y="302416"/>
                </a:cubicBezTo>
                <a:cubicBezTo>
                  <a:pt x="2890052" y="332897"/>
                  <a:pt x="2865342" y="357607"/>
                  <a:pt x="2834862" y="357607"/>
                </a:cubicBezTo>
                <a:cubicBezTo>
                  <a:pt x="2804379" y="357607"/>
                  <a:pt x="2779671" y="332897"/>
                  <a:pt x="2779671" y="302416"/>
                </a:cubicBezTo>
                <a:cubicBezTo>
                  <a:pt x="2779671" y="271935"/>
                  <a:pt x="2804379" y="247225"/>
                  <a:pt x="2834862" y="247225"/>
                </a:cubicBezTo>
                <a:close/>
                <a:moveTo>
                  <a:pt x="2570933" y="247225"/>
                </a:moveTo>
                <a:cubicBezTo>
                  <a:pt x="2601414" y="247225"/>
                  <a:pt x="2626123" y="271935"/>
                  <a:pt x="2626123" y="302416"/>
                </a:cubicBezTo>
                <a:cubicBezTo>
                  <a:pt x="2626123" y="332897"/>
                  <a:pt x="2601414" y="357607"/>
                  <a:pt x="2570933" y="357607"/>
                </a:cubicBezTo>
                <a:cubicBezTo>
                  <a:pt x="2540449" y="357607"/>
                  <a:pt x="2515738" y="332897"/>
                  <a:pt x="2515738" y="302416"/>
                </a:cubicBezTo>
                <a:cubicBezTo>
                  <a:pt x="2515738" y="271935"/>
                  <a:pt x="2540449" y="247225"/>
                  <a:pt x="2570933" y="247225"/>
                </a:cubicBezTo>
                <a:close/>
                <a:moveTo>
                  <a:pt x="2437297" y="247225"/>
                </a:moveTo>
                <a:cubicBezTo>
                  <a:pt x="2467781" y="247225"/>
                  <a:pt x="2492487" y="271935"/>
                  <a:pt x="2492487" y="302416"/>
                </a:cubicBezTo>
                <a:cubicBezTo>
                  <a:pt x="2492487" y="332897"/>
                  <a:pt x="2467781" y="357607"/>
                  <a:pt x="2437297" y="357607"/>
                </a:cubicBezTo>
                <a:cubicBezTo>
                  <a:pt x="2406818" y="357607"/>
                  <a:pt x="2382108" y="332897"/>
                  <a:pt x="2382108" y="302416"/>
                </a:cubicBezTo>
                <a:cubicBezTo>
                  <a:pt x="2382108" y="271935"/>
                  <a:pt x="2406818" y="247225"/>
                  <a:pt x="2437297" y="247225"/>
                </a:cubicBezTo>
                <a:close/>
                <a:moveTo>
                  <a:pt x="2303666" y="247225"/>
                </a:moveTo>
                <a:cubicBezTo>
                  <a:pt x="2334146" y="247225"/>
                  <a:pt x="2358856" y="271935"/>
                  <a:pt x="2358856" y="302416"/>
                </a:cubicBezTo>
                <a:cubicBezTo>
                  <a:pt x="2358856" y="332897"/>
                  <a:pt x="2334146" y="357607"/>
                  <a:pt x="2303666" y="357607"/>
                </a:cubicBezTo>
                <a:cubicBezTo>
                  <a:pt x="2273184" y="357607"/>
                  <a:pt x="2248473" y="332897"/>
                  <a:pt x="2248473" y="302416"/>
                </a:cubicBezTo>
                <a:cubicBezTo>
                  <a:pt x="2248473" y="271935"/>
                  <a:pt x="2273184" y="247225"/>
                  <a:pt x="2303666" y="247225"/>
                </a:cubicBezTo>
                <a:close/>
                <a:moveTo>
                  <a:pt x="2173372" y="247225"/>
                </a:moveTo>
                <a:cubicBezTo>
                  <a:pt x="2203857" y="247225"/>
                  <a:pt x="2228566" y="271935"/>
                  <a:pt x="2228566" y="302416"/>
                </a:cubicBezTo>
                <a:cubicBezTo>
                  <a:pt x="2228566" y="332897"/>
                  <a:pt x="2203857" y="357607"/>
                  <a:pt x="2173372" y="357607"/>
                </a:cubicBezTo>
                <a:cubicBezTo>
                  <a:pt x="2142892" y="357607"/>
                  <a:pt x="2118180" y="332897"/>
                  <a:pt x="2118180" y="302416"/>
                </a:cubicBezTo>
                <a:cubicBezTo>
                  <a:pt x="2118180" y="271935"/>
                  <a:pt x="2142892" y="247225"/>
                  <a:pt x="2173372" y="247225"/>
                </a:cubicBezTo>
                <a:close/>
                <a:moveTo>
                  <a:pt x="1909440" y="247225"/>
                </a:moveTo>
                <a:cubicBezTo>
                  <a:pt x="1939922" y="247225"/>
                  <a:pt x="1964634" y="271935"/>
                  <a:pt x="1964634" y="302416"/>
                </a:cubicBezTo>
                <a:cubicBezTo>
                  <a:pt x="1964634" y="332897"/>
                  <a:pt x="1939922" y="357607"/>
                  <a:pt x="1909440" y="357607"/>
                </a:cubicBezTo>
                <a:cubicBezTo>
                  <a:pt x="1878957" y="357607"/>
                  <a:pt x="1854246" y="332897"/>
                  <a:pt x="1854246" y="302416"/>
                </a:cubicBezTo>
                <a:cubicBezTo>
                  <a:pt x="1854246" y="271935"/>
                  <a:pt x="1878957" y="247225"/>
                  <a:pt x="1909440" y="247225"/>
                </a:cubicBezTo>
                <a:close/>
                <a:moveTo>
                  <a:pt x="1779142" y="247225"/>
                </a:moveTo>
                <a:cubicBezTo>
                  <a:pt x="1809626" y="247225"/>
                  <a:pt x="1834337" y="271935"/>
                  <a:pt x="1834337" y="302416"/>
                </a:cubicBezTo>
                <a:cubicBezTo>
                  <a:pt x="1834337" y="332897"/>
                  <a:pt x="1809626" y="357607"/>
                  <a:pt x="1779142" y="357607"/>
                </a:cubicBezTo>
                <a:cubicBezTo>
                  <a:pt x="1748663" y="357607"/>
                  <a:pt x="1723951" y="332897"/>
                  <a:pt x="1723951" y="302416"/>
                </a:cubicBezTo>
                <a:cubicBezTo>
                  <a:pt x="1723951" y="271935"/>
                  <a:pt x="1748663" y="247225"/>
                  <a:pt x="1779142" y="247225"/>
                </a:cubicBezTo>
                <a:close/>
                <a:moveTo>
                  <a:pt x="1645508" y="247225"/>
                </a:moveTo>
                <a:cubicBezTo>
                  <a:pt x="1675988" y="247225"/>
                  <a:pt x="1700702" y="271935"/>
                  <a:pt x="1700702" y="302416"/>
                </a:cubicBezTo>
                <a:cubicBezTo>
                  <a:pt x="1700702" y="332897"/>
                  <a:pt x="1675988" y="357607"/>
                  <a:pt x="1645508" y="357607"/>
                </a:cubicBezTo>
                <a:cubicBezTo>
                  <a:pt x="1615027" y="357607"/>
                  <a:pt x="1590313" y="332897"/>
                  <a:pt x="1590313" y="302416"/>
                </a:cubicBezTo>
                <a:cubicBezTo>
                  <a:pt x="1590313" y="271935"/>
                  <a:pt x="1615027" y="247225"/>
                  <a:pt x="1645508" y="247225"/>
                </a:cubicBezTo>
                <a:close/>
                <a:moveTo>
                  <a:pt x="1515217" y="247225"/>
                </a:moveTo>
                <a:cubicBezTo>
                  <a:pt x="1545695" y="247225"/>
                  <a:pt x="1570405" y="271935"/>
                  <a:pt x="1570405" y="302416"/>
                </a:cubicBezTo>
                <a:cubicBezTo>
                  <a:pt x="1570405" y="332897"/>
                  <a:pt x="1545695" y="357607"/>
                  <a:pt x="1515217" y="357607"/>
                </a:cubicBezTo>
                <a:cubicBezTo>
                  <a:pt x="1484732" y="357607"/>
                  <a:pt x="1460020" y="332897"/>
                  <a:pt x="1460020" y="302416"/>
                </a:cubicBezTo>
                <a:cubicBezTo>
                  <a:pt x="1460020" y="271935"/>
                  <a:pt x="1484732" y="247225"/>
                  <a:pt x="1515217" y="247225"/>
                </a:cubicBezTo>
                <a:close/>
                <a:moveTo>
                  <a:pt x="1381573" y="247225"/>
                </a:moveTo>
                <a:cubicBezTo>
                  <a:pt x="1412060" y="247225"/>
                  <a:pt x="1436767" y="271935"/>
                  <a:pt x="1436767" y="302416"/>
                </a:cubicBezTo>
                <a:cubicBezTo>
                  <a:pt x="1436767" y="332897"/>
                  <a:pt x="1412060" y="357607"/>
                  <a:pt x="1381573" y="357607"/>
                </a:cubicBezTo>
                <a:cubicBezTo>
                  <a:pt x="1351097" y="357607"/>
                  <a:pt x="1326384" y="332897"/>
                  <a:pt x="1326384" y="302416"/>
                </a:cubicBezTo>
                <a:cubicBezTo>
                  <a:pt x="1326384" y="271935"/>
                  <a:pt x="1351097" y="247225"/>
                  <a:pt x="1381573" y="247225"/>
                </a:cubicBezTo>
                <a:close/>
                <a:moveTo>
                  <a:pt x="7481898" y="120271"/>
                </a:moveTo>
                <a:cubicBezTo>
                  <a:pt x="7512380" y="120271"/>
                  <a:pt x="7537090" y="144981"/>
                  <a:pt x="7537090" y="175462"/>
                </a:cubicBezTo>
                <a:cubicBezTo>
                  <a:pt x="7537090" y="205943"/>
                  <a:pt x="7512380" y="230653"/>
                  <a:pt x="7481898" y="230653"/>
                </a:cubicBezTo>
                <a:cubicBezTo>
                  <a:pt x="7451416" y="230653"/>
                  <a:pt x="7426706" y="205943"/>
                  <a:pt x="7426706" y="175462"/>
                </a:cubicBezTo>
                <a:cubicBezTo>
                  <a:pt x="7426706" y="144981"/>
                  <a:pt x="7451416" y="120271"/>
                  <a:pt x="7481898" y="120271"/>
                </a:cubicBezTo>
                <a:close/>
                <a:moveTo>
                  <a:pt x="7341580" y="120271"/>
                </a:moveTo>
                <a:cubicBezTo>
                  <a:pt x="7372062" y="120271"/>
                  <a:pt x="7396772" y="144981"/>
                  <a:pt x="7396772" y="175462"/>
                </a:cubicBezTo>
                <a:cubicBezTo>
                  <a:pt x="7396772" y="205943"/>
                  <a:pt x="7372062" y="230653"/>
                  <a:pt x="7341580" y="230653"/>
                </a:cubicBezTo>
                <a:cubicBezTo>
                  <a:pt x="7311098" y="230653"/>
                  <a:pt x="7286388" y="205943"/>
                  <a:pt x="7286388" y="175462"/>
                </a:cubicBezTo>
                <a:cubicBezTo>
                  <a:pt x="7286388" y="144981"/>
                  <a:pt x="7311098" y="120271"/>
                  <a:pt x="7341580" y="120271"/>
                </a:cubicBezTo>
                <a:close/>
                <a:moveTo>
                  <a:pt x="7211288" y="120271"/>
                </a:moveTo>
                <a:cubicBezTo>
                  <a:pt x="7241770" y="120271"/>
                  <a:pt x="7266480" y="144981"/>
                  <a:pt x="7266480" y="175462"/>
                </a:cubicBezTo>
                <a:cubicBezTo>
                  <a:pt x="7266480" y="205943"/>
                  <a:pt x="7241770" y="230653"/>
                  <a:pt x="7211288" y="230653"/>
                </a:cubicBezTo>
                <a:cubicBezTo>
                  <a:pt x="7180806" y="230653"/>
                  <a:pt x="7156096" y="205943"/>
                  <a:pt x="7156096" y="175462"/>
                </a:cubicBezTo>
                <a:cubicBezTo>
                  <a:pt x="7156096" y="144981"/>
                  <a:pt x="7180806" y="120271"/>
                  <a:pt x="7211288" y="120271"/>
                </a:cubicBezTo>
                <a:close/>
                <a:moveTo>
                  <a:pt x="5223474" y="120271"/>
                </a:moveTo>
                <a:cubicBezTo>
                  <a:pt x="5253956" y="120271"/>
                  <a:pt x="5278666" y="144981"/>
                  <a:pt x="5278666" y="175462"/>
                </a:cubicBezTo>
                <a:cubicBezTo>
                  <a:pt x="5278666" y="205943"/>
                  <a:pt x="5253956" y="230653"/>
                  <a:pt x="5223474" y="230653"/>
                </a:cubicBezTo>
                <a:cubicBezTo>
                  <a:pt x="5192992" y="230653"/>
                  <a:pt x="5168282" y="205943"/>
                  <a:pt x="5168282" y="175462"/>
                </a:cubicBezTo>
                <a:cubicBezTo>
                  <a:pt x="5168282" y="144981"/>
                  <a:pt x="5192992" y="120271"/>
                  <a:pt x="5223474" y="120271"/>
                </a:cubicBezTo>
                <a:close/>
                <a:moveTo>
                  <a:pt x="5093178" y="120271"/>
                </a:moveTo>
                <a:cubicBezTo>
                  <a:pt x="5123660" y="120271"/>
                  <a:pt x="5148370" y="144981"/>
                  <a:pt x="5148370" y="175462"/>
                </a:cubicBezTo>
                <a:cubicBezTo>
                  <a:pt x="5148370" y="205943"/>
                  <a:pt x="5123660" y="230653"/>
                  <a:pt x="5093178" y="230653"/>
                </a:cubicBezTo>
                <a:cubicBezTo>
                  <a:pt x="5062696" y="230653"/>
                  <a:pt x="5037986" y="205943"/>
                  <a:pt x="5037986" y="175462"/>
                </a:cubicBezTo>
                <a:cubicBezTo>
                  <a:pt x="5037986" y="144981"/>
                  <a:pt x="5062696" y="120271"/>
                  <a:pt x="5093178" y="120271"/>
                </a:cubicBezTo>
                <a:close/>
                <a:moveTo>
                  <a:pt x="4161077" y="120271"/>
                </a:moveTo>
                <a:cubicBezTo>
                  <a:pt x="4191559" y="120271"/>
                  <a:pt x="4216269" y="144981"/>
                  <a:pt x="4216269" y="175462"/>
                </a:cubicBezTo>
                <a:cubicBezTo>
                  <a:pt x="4216269" y="205943"/>
                  <a:pt x="4191559" y="230653"/>
                  <a:pt x="4161077" y="230653"/>
                </a:cubicBezTo>
                <a:cubicBezTo>
                  <a:pt x="4130595" y="230653"/>
                  <a:pt x="4105885" y="205943"/>
                  <a:pt x="4105885" y="175462"/>
                </a:cubicBezTo>
                <a:cubicBezTo>
                  <a:pt x="4105885" y="144981"/>
                  <a:pt x="4130595" y="120271"/>
                  <a:pt x="4161077" y="120271"/>
                </a:cubicBezTo>
                <a:close/>
                <a:moveTo>
                  <a:pt x="4030786" y="120271"/>
                </a:moveTo>
                <a:cubicBezTo>
                  <a:pt x="4061268" y="120271"/>
                  <a:pt x="4085978" y="144981"/>
                  <a:pt x="4085978" y="175462"/>
                </a:cubicBezTo>
                <a:cubicBezTo>
                  <a:pt x="4085978" y="205943"/>
                  <a:pt x="4061268" y="230653"/>
                  <a:pt x="4030786" y="230653"/>
                </a:cubicBezTo>
                <a:cubicBezTo>
                  <a:pt x="4000304" y="230653"/>
                  <a:pt x="3975594" y="205943"/>
                  <a:pt x="3975594" y="175462"/>
                </a:cubicBezTo>
                <a:cubicBezTo>
                  <a:pt x="3975594" y="144981"/>
                  <a:pt x="4000304" y="120271"/>
                  <a:pt x="4030786" y="120271"/>
                </a:cubicBezTo>
                <a:close/>
                <a:moveTo>
                  <a:pt x="3897148" y="120271"/>
                </a:moveTo>
                <a:cubicBezTo>
                  <a:pt x="3927630" y="120271"/>
                  <a:pt x="3952340" y="144981"/>
                  <a:pt x="3952340" y="175462"/>
                </a:cubicBezTo>
                <a:cubicBezTo>
                  <a:pt x="3952340" y="205943"/>
                  <a:pt x="3927630" y="230653"/>
                  <a:pt x="3897148" y="230653"/>
                </a:cubicBezTo>
                <a:cubicBezTo>
                  <a:pt x="3866666" y="230653"/>
                  <a:pt x="3841956" y="205943"/>
                  <a:pt x="3841956" y="175462"/>
                </a:cubicBezTo>
                <a:cubicBezTo>
                  <a:pt x="3841956" y="144981"/>
                  <a:pt x="3866666" y="120271"/>
                  <a:pt x="3897148" y="120271"/>
                </a:cubicBezTo>
                <a:close/>
                <a:moveTo>
                  <a:pt x="3763514" y="120271"/>
                </a:moveTo>
                <a:cubicBezTo>
                  <a:pt x="3793996" y="120271"/>
                  <a:pt x="3818706" y="144981"/>
                  <a:pt x="3818706" y="175462"/>
                </a:cubicBezTo>
                <a:cubicBezTo>
                  <a:pt x="3818706" y="205943"/>
                  <a:pt x="3793996" y="230653"/>
                  <a:pt x="3763514" y="230653"/>
                </a:cubicBezTo>
                <a:cubicBezTo>
                  <a:pt x="3733032" y="230653"/>
                  <a:pt x="3708322" y="205943"/>
                  <a:pt x="3708322" y="175462"/>
                </a:cubicBezTo>
                <a:cubicBezTo>
                  <a:pt x="3708322" y="144981"/>
                  <a:pt x="3733032" y="120271"/>
                  <a:pt x="3763514" y="120271"/>
                </a:cubicBezTo>
                <a:close/>
                <a:moveTo>
                  <a:pt x="3633221" y="120271"/>
                </a:moveTo>
                <a:cubicBezTo>
                  <a:pt x="3663703" y="120271"/>
                  <a:pt x="3688413" y="144981"/>
                  <a:pt x="3688413" y="175462"/>
                </a:cubicBezTo>
                <a:cubicBezTo>
                  <a:pt x="3688413" y="205943"/>
                  <a:pt x="3663703" y="230653"/>
                  <a:pt x="3633221" y="230653"/>
                </a:cubicBezTo>
                <a:cubicBezTo>
                  <a:pt x="3602739" y="230653"/>
                  <a:pt x="3578029" y="205943"/>
                  <a:pt x="3578029" y="175462"/>
                </a:cubicBezTo>
                <a:cubicBezTo>
                  <a:pt x="3578029" y="144981"/>
                  <a:pt x="3602739" y="120271"/>
                  <a:pt x="3633221" y="120271"/>
                </a:cubicBezTo>
                <a:close/>
                <a:moveTo>
                  <a:pt x="3499589" y="120271"/>
                </a:moveTo>
                <a:cubicBezTo>
                  <a:pt x="3530071" y="120271"/>
                  <a:pt x="3554781" y="144981"/>
                  <a:pt x="3554781" y="175462"/>
                </a:cubicBezTo>
                <a:cubicBezTo>
                  <a:pt x="3554781" y="205943"/>
                  <a:pt x="3530071" y="230653"/>
                  <a:pt x="3499589" y="230653"/>
                </a:cubicBezTo>
                <a:cubicBezTo>
                  <a:pt x="3469107" y="230653"/>
                  <a:pt x="3444397" y="205943"/>
                  <a:pt x="3444397" y="175462"/>
                </a:cubicBezTo>
                <a:cubicBezTo>
                  <a:pt x="3444397" y="144981"/>
                  <a:pt x="3469107" y="120271"/>
                  <a:pt x="3499589" y="120271"/>
                </a:cubicBezTo>
                <a:close/>
                <a:moveTo>
                  <a:pt x="3369293" y="120271"/>
                </a:moveTo>
                <a:cubicBezTo>
                  <a:pt x="3399775" y="120271"/>
                  <a:pt x="3424485" y="144981"/>
                  <a:pt x="3424485" y="175462"/>
                </a:cubicBezTo>
                <a:cubicBezTo>
                  <a:pt x="3424485" y="205943"/>
                  <a:pt x="3399775" y="230653"/>
                  <a:pt x="3369293" y="230653"/>
                </a:cubicBezTo>
                <a:cubicBezTo>
                  <a:pt x="3338811" y="230653"/>
                  <a:pt x="3314101" y="205943"/>
                  <a:pt x="3314101" y="175462"/>
                </a:cubicBezTo>
                <a:cubicBezTo>
                  <a:pt x="3314101" y="144981"/>
                  <a:pt x="3338811" y="120271"/>
                  <a:pt x="3369293" y="120271"/>
                </a:cubicBezTo>
                <a:close/>
                <a:moveTo>
                  <a:pt x="3235657" y="120271"/>
                </a:moveTo>
                <a:cubicBezTo>
                  <a:pt x="3266139" y="120271"/>
                  <a:pt x="3290849" y="144981"/>
                  <a:pt x="3290849" y="175462"/>
                </a:cubicBezTo>
                <a:cubicBezTo>
                  <a:pt x="3290849" y="205943"/>
                  <a:pt x="3266139" y="230653"/>
                  <a:pt x="3235657" y="230653"/>
                </a:cubicBezTo>
                <a:cubicBezTo>
                  <a:pt x="3205175" y="230653"/>
                  <a:pt x="3180465" y="205943"/>
                  <a:pt x="3180465" y="175462"/>
                </a:cubicBezTo>
                <a:cubicBezTo>
                  <a:pt x="3180465" y="144981"/>
                  <a:pt x="3205175" y="120271"/>
                  <a:pt x="3235657" y="120271"/>
                </a:cubicBezTo>
                <a:close/>
                <a:moveTo>
                  <a:pt x="3098682" y="120271"/>
                </a:moveTo>
                <a:cubicBezTo>
                  <a:pt x="3129164" y="120271"/>
                  <a:pt x="3153874" y="144981"/>
                  <a:pt x="3153874" y="175462"/>
                </a:cubicBezTo>
                <a:cubicBezTo>
                  <a:pt x="3153874" y="205943"/>
                  <a:pt x="3129164" y="230653"/>
                  <a:pt x="3098682" y="230653"/>
                </a:cubicBezTo>
                <a:cubicBezTo>
                  <a:pt x="3068200" y="230653"/>
                  <a:pt x="3043490" y="205943"/>
                  <a:pt x="3043490" y="175462"/>
                </a:cubicBezTo>
                <a:cubicBezTo>
                  <a:pt x="3043490" y="144981"/>
                  <a:pt x="3068200" y="120271"/>
                  <a:pt x="3098682" y="120271"/>
                </a:cubicBezTo>
                <a:close/>
                <a:moveTo>
                  <a:pt x="2971729" y="120271"/>
                </a:moveTo>
                <a:cubicBezTo>
                  <a:pt x="3002211" y="120271"/>
                  <a:pt x="3026921" y="144981"/>
                  <a:pt x="3026921" y="175462"/>
                </a:cubicBezTo>
                <a:cubicBezTo>
                  <a:pt x="3026921" y="205943"/>
                  <a:pt x="3002211" y="230653"/>
                  <a:pt x="2971729" y="230653"/>
                </a:cubicBezTo>
                <a:cubicBezTo>
                  <a:pt x="2941247" y="230653"/>
                  <a:pt x="2916537" y="205943"/>
                  <a:pt x="2916537" y="175462"/>
                </a:cubicBezTo>
                <a:cubicBezTo>
                  <a:pt x="2916537" y="144981"/>
                  <a:pt x="2941247" y="120271"/>
                  <a:pt x="2971729" y="120271"/>
                </a:cubicBezTo>
                <a:close/>
                <a:moveTo>
                  <a:pt x="2707903" y="120271"/>
                </a:moveTo>
                <a:cubicBezTo>
                  <a:pt x="2738390" y="120271"/>
                  <a:pt x="2763100" y="144981"/>
                  <a:pt x="2763100" y="175462"/>
                </a:cubicBezTo>
                <a:cubicBezTo>
                  <a:pt x="2763100" y="205943"/>
                  <a:pt x="2738390" y="230653"/>
                  <a:pt x="2707903" y="230653"/>
                </a:cubicBezTo>
                <a:cubicBezTo>
                  <a:pt x="2677427" y="230653"/>
                  <a:pt x="2652715" y="205943"/>
                  <a:pt x="2652715" y="175462"/>
                </a:cubicBezTo>
                <a:cubicBezTo>
                  <a:pt x="2652715" y="144981"/>
                  <a:pt x="2677427" y="120271"/>
                  <a:pt x="2707903" y="120271"/>
                </a:cubicBezTo>
                <a:close/>
                <a:moveTo>
                  <a:pt x="2570933" y="120271"/>
                </a:moveTo>
                <a:cubicBezTo>
                  <a:pt x="2601414" y="120271"/>
                  <a:pt x="2626123" y="144981"/>
                  <a:pt x="2626123" y="175462"/>
                </a:cubicBezTo>
                <a:cubicBezTo>
                  <a:pt x="2626123" y="205943"/>
                  <a:pt x="2601414" y="230653"/>
                  <a:pt x="2570933" y="230653"/>
                </a:cubicBezTo>
                <a:cubicBezTo>
                  <a:pt x="2540449" y="230653"/>
                  <a:pt x="2515738" y="205943"/>
                  <a:pt x="2515738" y="175462"/>
                </a:cubicBezTo>
                <a:cubicBezTo>
                  <a:pt x="2515738" y="144981"/>
                  <a:pt x="2540449" y="120271"/>
                  <a:pt x="2570933" y="120271"/>
                </a:cubicBezTo>
                <a:close/>
                <a:moveTo>
                  <a:pt x="2437297" y="120271"/>
                </a:moveTo>
                <a:cubicBezTo>
                  <a:pt x="2467781" y="120271"/>
                  <a:pt x="2492487" y="144981"/>
                  <a:pt x="2492487" y="175462"/>
                </a:cubicBezTo>
                <a:cubicBezTo>
                  <a:pt x="2492487" y="205943"/>
                  <a:pt x="2467781" y="230653"/>
                  <a:pt x="2437297" y="230653"/>
                </a:cubicBezTo>
                <a:cubicBezTo>
                  <a:pt x="2406818" y="230653"/>
                  <a:pt x="2382108" y="205943"/>
                  <a:pt x="2382108" y="175462"/>
                </a:cubicBezTo>
                <a:cubicBezTo>
                  <a:pt x="2382108" y="144981"/>
                  <a:pt x="2406818" y="120271"/>
                  <a:pt x="2437297" y="120271"/>
                </a:cubicBezTo>
                <a:close/>
                <a:moveTo>
                  <a:pt x="2303666" y="120271"/>
                </a:moveTo>
                <a:cubicBezTo>
                  <a:pt x="2334146" y="120271"/>
                  <a:pt x="2358856" y="144981"/>
                  <a:pt x="2358856" y="175462"/>
                </a:cubicBezTo>
                <a:cubicBezTo>
                  <a:pt x="2358856" y="205943"/>
                  <a:pt x="2334146" y="230653"/>
                  <a:pt x="2303666" y="230653"/>
                </a:cubicBezTo>
                <a:cubicBezTo>
                  <a:pt x="2273184" y="230653"/>
                  <a:pt x="2248473" y="205943"/>
                  <a:pt x="2248473" y="175462"/>
                </a:cubicBezTo>
                <a:cubicBezTo>
                  <a:pt x="2248473" y="144981"/>
                  <a:pt x="2273184" y="120271"/>
                  <a:pt x="2303666" y="120271"/>
                </a:cubicBezTo>
                <a:close/>
                <a:moveTo>
                  <a:pt x="2173372" y="120271"/>
                </a:moveTo>
                <a:cubicBezTo>
                  <a:pt x="2203857" y="120271"/>
                  <a:pt x="2228566" y="144981"/>
                  <a:pt x="2228566" y="175462"/>
                </a:cubicBezTo>
                <a:cubicBezTo>
                  <a:pt x="2228566" y="205943"/>
                  <a:pt x="2203857" y="230653"/>
                  <a:pt x="2173372" y="230653"/>
                </a:cubicBezTo>
                <a:cubicBezTo>
                  <a:pt x="2142892" y="230653"/>
                  <a:pt x="2118180" y="205943"/>
                  <a:pt x="2118180" y="175462"/>
                </a:cubicBezTo>
                <a:cubicBezTo>
                  <a:pt x="2118180" y="144981"/>
                  <a:pt x="2142892" y="120271"/>
                  <a:pt x="2173372" y="120271"/>
                </a:cubicBezTo>
                <a:close/>
                <a:moveTo>
                  <a:pt x="7341580" y="0"/>
                </a:moveTo>
                <a:cubicBezTo>
                  <a:pt x="7372062" y="0"/>
                  <a:pt x="7396772" y="24710"/>
                  <a:pt x="7396772" y="55191"/>
                </a:cubicBezTo>
                <a:cubicBezTo>
                  <a:pt x="7396772" y="85672"/>
                  <a:pt x="7372062" y="110382"/>
                  <a:pt x="7341580" y="110382"/>
                </a:cubicBezTo>
                <a:cubicBezTo>
                  <a:pt x="7311098" y="110382"/>
                  <a:pt x="7286388" y="85672"/>
                  <a:pt x="7286388" y="55191"/>
                </a:cubicBezTo>
                <a:cubicBezTo>
                  <a:pt x="7286388" y="24710"/>
                  <a:pt x="7311098" y="0"/>
                  <a:pt x="7341580" y="0"/>
                </a:cubicBezTo>
                <a:close/>
                <a:moveTo>
                  <a:pt x="4294713" y="0"/>
                </a:moveTo>
                <a:cubicBezTo>
                  <a:pt x="4325195" y="0"/>
                  <a:pt x="4349905" y="24710"/>
                  <a:pt x="4349905" y="55191"/>
                </a:cubicBezTo>
                <a:cubicBezTo>
                  <a:pt x="4349905" y="85672"/>
                  <a:pt x="4325195" y="110382"/>
                  <a:pt x="4294713" y="110382"/>
                </a:cubicBezTo>
                <a:cubicBezTo>
                  <a:pt x="4264231" y="110382"/>
                  <a:pt x="4239521" y="85672"/>
                  <a:pt x="4239521" y="55191"/>
                </a:cubicBezTo>
                <a:cubicBezTo>
                  <a:pt x="4239521" y="24710"/>
                  <a:pt x="4264231" y="0"/>
                  <a:pt x="4294713" y="0"/>
                </a:cubicBezTo>
                <a:close/>
                <a:moveTo>
                  <a:pt x="4161077" y="0"/>
                </a:moveTo>
                <a:cubicBezTo>
                  <a:pt x="4191559" y="0"/>
                  <a:pt x="4216269" y="24710"/>
                  <a:pt x="4216269" y="55191"/>
                </a:cubicBezTo>
                <a:cubicBezTo>
                  <a:pt x="4216269" y="85672"/>
                  <a:pt x="4191559" y="110382"/>
                  <a:pt x="4161077" y="110382"/>
                </a:cubicBezTo>
                <a:cubicBezTo>
                  <a:pt x="4130595" y="110382"/>
                  <a:pt x="4105885" y="85672"/>
                  <a:pt x="4105885" y="55191"/>
                </a:cubicBezTo>
                <a:cubicBezTo>
                  <a:pt x="4105885" y="24710"/>
                  <a:pt x="4130595" y="0"/>
                  <a:pt x="4161077" y="0"/>
                </a:cubicBezTo>
                <a:close/>
                <a:moveTo>
                  <a:pt x="4030786" y="0"/>
                </a:moveTo>
                <a:cubicBezTo>
                  <a:pt x="4061268" y="0"/>
                  <a:pt x="4085978" y="24710"/>
                  <a:pt x="4085978" y="55191"/>
                </a:cubicBezTo>
                <a:cubicBezTo>
                  <a:pt x="4085978" y="85672"/>
                  <a:pt x="4061268" y="110382"/>
                  <a:pt x="4030786" y="110382"/>
                </a:cubicBezTo>
                <a:cubicBezTo>
                  <a:pt x="4000304" y="110382"/>
                  <a:pt x="3975594" y="85672"/>
                  <a:pt x="3975594" y="55191"/>
                </a:cubicBezTo>
                <a:cubicBezTo>
                  <a:pt x="3975594" y="24710"/>
                  <a:pt x="4000304" y="0"/>
                  <a:pt x="4030786" y="0"/>
                </a:cubicBezTo>
                <a:close/>
                <a:moveTo>
                  <a:pt x="3897148" y="0"/>
                </a:moveTo>
                <a:cubicBezTo>
                  <a:pt x="3927630" y="0"/>
                  <a:pt x="3952340" y="24710"/>
                  <a:pt x="3952340" y="55191"/>
                </a:cubicBezTo>
                <a:cubicBezTo>
                  <a:pt x="3952340" y="85672"/>
                  <a:pt x="3927630" y="110382"/>
                  <a:pt x="3897148" y="110382"/>
                </a:cubicBezTo>
                <a:cubicBezTo>
                  <a:pt x="3866666" y="110382"/>
                  <a:pt x="3841956" y="85672"/>
                  <a:pt x="3841956" y="55191"/>
                </a:cubicBezTo>
                <a:cubicBezTo>
                  <a:pt x="3841956" y="24710"/>
                  <a:pt x="3866666" y="0"/>
                  <a:pt x="3897148" y="0"/>
                </a:cubicBezTo>
                <a:close/>
                <a:moveTo>
                  <a:pt x="3763514" y="0"/>
                </a:moveTo>
                <a:cubicBezTo>
                  <a:pt x="3793996" y="0"/>
                  <a:pt x="3818706" y="24710"/>
                  <a:pt x="3818706" y="55191"/>
                </a:cubicBezTo>
                <a:cubicBezTo>
                  <a:pt x="3818706" y="85672"/>
                  <a:pt x="3793996" y="110382"/>
                  <a:pt x="3763514" y="110382"/>
                </a:cubicBezTo>
                <a:cubicBezTo>
                  <a:pt x="3733032" y="110382"/>
                  <a:pt x="3708322" y="85672"/>
                  <a:pt x="3708322" y="55191"/>
                </a:cubicBezTo>
                <a:cubicBezTo>
                  <a:pt x="3708322" y="24710"/>
                  <a:pt x="3733032" y="0"/>
                  <a:pt x="3763514" y="0"/>
                </a:cubicBezTo>
                <a:close/>
                <a:moveTo>
                  <a:pt x="3633221" y="0"/>
                </a:moveTo>
                <a:cubicBezTo>
                  <a:pt x="3663703" y="0"/>
                  <a:pt x="3688413" y="24710"/>
                  <a:pt x="3688413" y="55191"/>
                </a:cubicBezTo>
                <a:cubicBezTo>
                  <a:pt x="3688413" y="85672"/>
                  <a:pt x="3663703" y="110382"/>
                  <a:pt x="3633221" y="110382"/>
                </a:cubicBezTo>
                <a:cubicBezTo>
                  <a:pt x="3602739" y="110382"/>
                  <a:pt x="3578029" y="85672"/>
                  <a:pt x="3578029" y="55191"/>
                </a:cubicBezTo>
                <a:cubicBezTo>
                  <a:pt x="3578029" y="24710"/>
                  <a:pt x="3602739" y="0"/>
                  <a:pt x="3633221" y="0"/>
                </a:cubicBezTo>
                <a:close/>
                <a:moveTo>
                  <a:pt x="3499589" y="0"/>
                </a:moveTo>
                <a:cubicBezTo>
                  <a:pt x="3530071" y="0"/>
                  <a:pt x="3554781" y="24710"/>
                  <a:pt x="3554781" y="55191"/>
                </a:cubicBezTo>
                <a:cubicBezTo>
                  <a:pt x="3554781" y="85672"/>
                  <a:pt x="3530071" y="110382"/>
                  <a:pt x="3499589" y="110382"/>
                </a:cubicBezTo>
                <a:cubicBezTo>
                  <a:pt x="3469107" y="110382"/>
                  <a:pt x="3444397" y="85672"/>
                  <a:pt x="3444397" y="55191"/>
                </a:cubicBezTo>
                <a:cubicBezTo>
                  <a:pt x="3444397" y="24710"/>
                  <a:pt x="3469107" y="0"/>
                  <a:pt x="3499589" y="0"/>
                </a:cubicBezTo>
                <a:close/>
                <a:moveTo>
                  <a:pt x="3369293" y="0"/>
                </a:moveTo>
                <a:cubicBezTo>
                  <a:pt x="3399775" y="0"/>
                  <a:pt x="3424485" y="24710"/>
                  <a:pt x="3424485" y="55191"/>
                </a:cubicBezTo>
                <a:cubicBezTo>
                  <a:pt x="3424485" y="85672"/>
                  <a:pt x="3399775" y="110382"/>
                  <a:pt x="3369293" y="110382"/>
                </a:cubicBezTo>
                <a:cubicBezTo>
                  <a:pt x="3338811" y="110382"/>
                  <a:pt x="3314101" y="85672"/>
                  <a:pt x="3314101" y="55191"/>
                </a:cubicBezTo>
                <a:cubicBezTo>
                  <a:pt x="3314101" y="24710"/>
                  <a:pt x="3338811" y="0"/>
                  <a:pt x="3369293" y="0"/>
                </a:cubicBezTo>
                <a:close/>
                <a:moveTo>
                  <a:pt x="3235657" y="0"/>
                </a:moveTo>
                <a:cubicBezTo>
                  <a:pt x="3266139" y="0"/>
                  <a:pt x="3290849" y="24710"/>
                  <a:pt x="3290849" y="55191"/>
                </a:cubicBezTo>
                <a:cubicBezTo>
                  <a:pt x="3290849" y="85672"/>
                  <a:pt x="3266139" y="110382"/>
                  <a:pt x="3235657" y="110382"/>
                </a:cubicBezTo>
                <a:cubicBezTo>
                  <a:pt x="3205175" y="110382"/>
                  <a:pt x="3180465" y="85672"/>
                  <a:pt x="3180465" y="55191"/>
                </a:cubicBezTo>
                <a:cubicBezTo>
                  <a:pt x="3180465" y="24710"/>
                  <a:pt x="3205175" y="0"/>
                  <a:pt x="3235657" y="0"/>
                </a:cubicBezTo>
                <a:close/>
                <a:moveTo>
                  <a:pt x="2834862" y="0"/>
                </a:moveTo>
                <a:cubicBezTo>
                  <a:pt x="2865342" y="0"/>
                  <a:pt x="2890052" y="24710"/>
                  <a:pt x="2890052" y="55191"/>
                </a:cubicBezTo>
                <a:cubicBezTo>
                  <a:pt x="2890052" y="85672"/>
                  <a:pt x="2865342" y="110382"/>
                  <a:pt x="2834862" y="110382"/>
                </a:cubicBezTo>
                <a:cubicBezTo>
                  <a:pt x="2804379" y="110382"/>
                  <a:pt x="2779671" y="85672"/>
                  <a:pt x="2779671" y="55191"/>
                </a:cubicBezTo>
                <a:cubicBezTo>
                  <a:pt x="2779671" y="24710"/>
                  <a:pt x="2804379" y="0"/>
                  <a:pt x="2834862" y="0"/>
                </a:cubicBezTo>
                <a:close/>
                <a:moveTo>
                  <a:pt x="2707903" y="0"/>
                </a:moveTo>
                <a:cubicBezTo>
                  <a:pt x="2738390" y="0"/>
                  <a:pt x="2763100" y="24710"/>
                  <a:pt x="2763100" y="55191"/>
                </a:cubicBezTo>
                <a:cubicBezTo>
                  <a:pt x="2763100" y="85672"/>
                  <a:pt x="2738390" y="110382"/>
                  <a:pt x="2707903" y="110382"/>
                </a:cubicBezTo>
                <a:cubicBezTo>
                  <a:pt x="2677427" y="110382"/>
                  <a:pt x="2652715" y="85672"/>
                  <a:pt x="2652715" y="55191"/>
                </a:cubicBezTo>
                <a:cubicBezTo>
                  <a:pt x="2652715" y="24710"/>
                  <a:pt x="2677427" y="0"/>
                  <a:pt x="2707903" y="0"/>
                </a:cubicBezTo>
                <a:close/>
                <a:moveTo>
                  <a:pt x="2570933" y="0"/>
                </a:moveTo>
                <a:cubicBezTo>
                  <a:pt x="2601414" y="0"/>
                  <a:pt x="2626123" y="24710"/>
                  <a:pt x="2626123" y="55191"/>
                </a:cubicBezTo>
                <a:cubicBezTo>
                  <a:pt x="2626123" y="85672"/>
                  <a:pt x="2601414" y="110382"/>
                  <a:pt x="2570933" y="110382"/>
                </a:cubicBezTo>
                <a:cubicBezTo>
                  <a:pt x="2540449" y="110382"/>
                  <a:pt x="2515738" y="85672"/>
                  <a:pt x="2515738" y="55191"/>
                </a:cubicBezTo>
                <a:cubicBezTo>
                  <a:pt x="2515738" y="24710"/>
                  <a:pt x="2540449" y="0"/>
                  <a:pt x="2570933" y="0"/>
                </a:cubicBezTo>
                <a:close/>
                <a:moveTo>
                  <a:pt x="2437297" y="0"/>
                </a:moveTo>
                <a:cubicBezTo>
                  <a:pt x="2467781" y="0"/>
                  <a:pt x="2492487" y="24710"/>
                  <a:pt x="2492487" y="55191"/>
                </a:cubicBezTo>
                <a:cubicBezTo>
                  <a:pt x="2492487" y="85672"/>
                  <a:pt x="2467781" y="110382"/>
                  <a:pt x="2437297" y="110382"/>
                </a:cubicBezTo>
                <a:cubicBezTo>
                  <a:pt x="2406818" y="110382"/>
                  <a:pt x="2382108" y="85672"/>
                  <a:pt x="2382108" y="55191"/>
                </a:cubicBezTo>
                <a:cubicBezTo>
                  <a:pt x="2382108" y="24710"/>
                  <a:pt x="2406818" y="0"/>
                  <a:pt x="2437297"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dirty="0">
              <a:solidFill>
                <a:srgbClr val="505050"/>
              </a:solidFill>
              <a:latin typeface="Segoe UI"/>
            </a:endParaRPr>
          </a:p>
        </p:txBody>
      </p:sp>
      <p:pic>
        <p:nvPicPr>
          <p:cNvPr id="829" name="Picture 2" descr="https://c2.staticflickr.com/4/3701/19224697601_d03ecccf71_o.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3945" r="13945"/>
          <a:stretch/>
        </p:blipFill>
        <p:spPr bwMode="auto">
          <a:xfrm>
            <a:off x="10477765" y="2999157"/>
            <a:ext cx="554112" cy="768430"/>
          </a:xfrm>
          <a:prstGeom prst="rect">
            <a:avLst/>
          </a:prstGeom>
          <a:noFill/>
          <a:extLst>
            <a:ext uri="{909E8E84-426E-40DD-AFC4-6F175D3DCCD1}">
              <a14:hiddenFill xmlns:a14="http://schemas.microsoft.com/office/drawing/2010/main">
                <a:solidFill>
                  <a:srgbClr val="FFFFFF"/>
                </a:solidFill>
              </a14:hiddenFill>
            </a:ext>
          </a:extLst>
        </p:spPr>
      </p:pic>
      <p:pic>
        <p:nvPicPr>
          <p:cNvPr id="839" name="Picture 838" descr="https://upload.wikimedia.org/wikipedia/en/thumb/5/54/Gremlin_%28programming_language%29.png/383px-Gremlin_%28programming_language%29.png"/>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6504642" y="2549099"/>
            <a:ext cx="1560030" cy="606906"/>
          </a:xfrm>
          <a:prstGeom prst="rect">
            <a:avLst/>
          </a:prstGeom>
          <a:extLst>
            <a:ext uri="{909E8E84-426E-40DD-AFC4-6F175D3DCCD1}">
              <a14:hiddenFill xmlns:a14="http://schemas.microsoft.com/office/drawing/2010/main">
                <a:solidFill>
                  <a:srgbClr val="FFFFFF"/>
                </a:solidFill>
              </a14:hiddenFill>
            </a:ext>
          </a:extLst>
        </p:spPr>
      </p:pic>
      <p:pic>
        <p:nvPicPr>
          <p:cNvPr id="840" name="Picture 4" descr="File:MongoDB-Logo.sv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859375" y="2931867"/>
            <a:ext cx="1564327" cy="424476"/>
          </a:xfrm>
          <a:prstGeom prst="rect">
            <a:avLst/>
          </a:prstGeom>
          <a:noFill/>
          <a:extLst>
            <a:ext uri="{909E8E84-426E-40DD-AFC4-6F175D3DCCD1}">
              <a14:hiddenFill xmlns:a14="http://schemas.microsoft.com/office/drawing/2010/main">
                <a:solidFill>
                  <a:srgbClr val="FFFFFF"/>
                </a:solidFill>
              </a14:hiddenFill>
            </a:ext>
          </a:extLst>
        </p:spPr>
      </p:pic>
      <p:grpSp>
        <p:nvGrpSpPr>
          <p:cNvPr id="865" name="Group 864"/>
          <p:cNvGrpSpPr/>
          <p:nvPr/>
        </p:nvGrpSpPr>
        <p:grpSpPr>
          <a:xfrm>
            <a:off x="8764941" y="3950037"/>
            <a:ext cx="586303" cy="377163"/>
            <a:chOff x="7117181" y="5146654"/>
            <a:chExt cx="663064" cy="426544"/>
          </a:xfrm>
          <a:solidFill>
            <a:srgbClr val="59B4D9"/>
          </a:solidFill>
        </p:grpSpPr>
        <p:sp>
          <p:nvSpPr>
            <p:cNvPr id="866" name="Oval 865"/>
            <p:cNvSpPr/>
            <p:nvPr/>
          </p:nvSpPr>
          <p:spPr bwMode="auto">
            <a:xfrm rot="715722">
              <a:off x="7117181" y="5146654"/>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7" name="Oval 866"/>
            <p:cNvSpPr/>
            <p:nvPr/>
          </p:nvSpPr>
          <p:spPr bwMode="auto">
            <a:xfrm>
              <a:off x="7476127" y="5224668"/>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8" name="Oval 867"/>
            <p:cNvSpPr/>
            <p:nvPr/>
          </p:nvSpPr>
          <p:spPr bwMode="auto">
            <a:xfrm>
              <a:off x="7296654"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9" name="Oval 868"/>
            <p:cNvSpPr/>
            <p:nvPr/>
          </p:nvSpPr>
          <p:spPr bwMode="auto">
            <a:xfrm>
              <a:off x="7655599"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870" name="Straight Connector 869"/>
            <p:cNvCxnSpPr>
              <a:cxnSpLocks/>
            </p:cNvCxnSpPr>
            <p:nvPr/>
          </p:nvCxnSpPr>
          <p:spPr>
            <a:xfrm>
              <a:off x="7240481" y="5221859"/>
              <a:ext cx="235646" cy="65132"/>
            </a:xfrm>
            <a:prstGeom prst="line">
              <a:avLst/>
            </a:prstGeom>
            <a:grpFill/>
            <a:ln w="12700" cap="flat" cmpd="sng" algn="ctr">
              <a:solidFill>
                <a:schemeClr val="tx2"/>
              </a:solidFill>
              <a:prstDash val="sysDot"/>
              <a:miter lim="800000"/>
              <a:headEnd type="none"/>
              <a:tailEnd type="none"/>
            </a:ln>
            <a:effectLst/>
          </p:spPr>
        </p:cxnSp>
        <p:cxnSp>
          <p:nvCxnSpPr>
            <p:cNvPr id="871" name="Straight Connector 870"/>
            <p:cNvCxnSpPr>
              <a:cxnSpLocks/>
            </p:cNvCxnSpPr>
            <p:nvPr/>
          </p:nvCxnSpPr>
          <p:spPr>
            <a:xfrm>
              <a:off x="7421300" y="5510875"/>
              <a:ext cx="234299" cy="0"/>
            </a:xfrm>
            <a:prstGeom prst="line">
              <a:avLst/>
            </a:prstGeom>
            <a:grpFill/>
            <a:ln w="12700" cap="flat" cmpd="sng" algn="ctr">
              <a:solidFill>
                <a:schemeClr val="tx2"/>
              </a:solidFill>
              <a:prstDash val="sysDot"/>
              <a:miter lim="800000"/>
              <a:headEnd type="none"/>
              <a:tailEnd type="none"/>
            </a:ln>
            <a:effectLst/>
          </p:spPr>
        </p:cxnSp>
        <p:cxnSp>
          <p:nvCxnSpPr>
            <p:cNvPr id="872" name="Straight Connector 871"/>
            <p:cNvCxnSpPr>
              <a:cxnSpLocks/>
            </p:cNvCxnSpPr>
            <p:nvPr/>
          </p:nvCxnSpPr>
          <p:spPr>
            <a:xfrm>
              <a:off x="7582519" y="5331060"/>
              <a:ext cx="91334" cy="135746"/>
            </a:xfrm>
            <a:prstGeom prst="line">
              <a:avLst/>
            </a:prstGeom>
            <a:grpFill/>
            <a:ln w="12700" cap="flat" cmpd="sng" algn="ctr">
              <a:solidFill>
                <a:schemeClr val="tx2"/>
              </a:solidFill>
              <a:prstDash val="sysDot"/>
              <a:miter lim="800000"/>
              <a:headEnd type="none"/>
              <a:tailEnd type="none"/>
            </a:ln>
            <a:effectLst/>
          </p:spPr>
        </p:cxnSp>
        <p:cxnSp>
          <p:nvCxnSpPr>
            <p:cNvPr id="873" name="Straight Connector 872"/>
            <p:cNvCxnSpPr>
              <a:cxnSpLocks/>
            </p:cNvCxnSpPr>
            <p:nvPr/>
          </p:nvCxnSpPr>
          <p:spPr>
            <a:xfrm flipV="1">
              <a:off x="7403046" y="5331060"/>
              <a:ext cx="91335" cy="135746"/>
            </a:xfrm>
            <a:prstGeom prst="line">
              <a:avLst/>
            </a:prstGeom>
            <a:grpFill/>
            <a:ln w="12700" cap="flat" cmpd="sng" algn="ctr">
              <a:solidFill>
                <a:schemeClr val="tx2"/>
              </a:solidFill>
              <a:prstDash val="sysDot"/>
              <a:miter lim="800000"/>
              <a:headEnd type="none"/>
              <a:tailEnd type="none"/>
            </a:ln>
            <a:effectLst/>
          </p:spPr>
        </p:cxnSp>
      </p:grpSp>
      <p:grpSp>
        <p:nvGrpSpPr>
          <p:cNvPr id="874" name="Group 873"/>
          <p:cNvGrpSpPr/>
          <p:nvPr/>
        </p:nvGrpSpPr>
        <p:grpSpPr>
          <a:xfrm>
            <a:off x="6876015" y="3656510"/>
            <a:ext cx="499208" cy="473323"/>
            <a:chOff x="7128988" y="4166153"/>
            <a:chExt cx="604908" cy="573541"/>
          </a:xfrm>
        </p:grpSpPr>
        <p:cxnSp>
          <p:nvCxnSpPr>
            <p:cNvPr id="875" name="Straight Connector 874"/>
            <p:cNvCxnSpPr>
              <a:cxnSpLocks/>
            </p:cNvCxnSpPr>
            <p:nvPr/>
          </p:nvCxnSpPr>
          <p:spPr>
            <a:xfrm>
              <a:off x="7128988" y="4451736"/>
              <a:ext cx="238107" cy="72556"/>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6" name="Straight Connector 875"/>
            <p:cNvCxnSpPr>
              <a:cxnSpLocks/>
            </p:cNvCxnSpPr>
            <p:nvPr/>
          </p:nvCxnSpPr>
          <p:spPr>
            <a:xfrm flipV="1">
              <a:off x="7128988" y="4379180"/>
              <a:ext cx="233873" cy="72556"/>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77" name="Oval 876"/>
            <p:cNvSpPr/>
            <p:nvPr/>
          </p:nvSpPr>
          <p:spPr bwMode="auto">
            <a:xfrm>
              <a:off x="7128988" y="4383154"/>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78" name="Straight Connector 877"/>
            <p:cNvCxnSpPr>
              <a:cxnSpLocks/>
            </p:cNvCxnSpPr>
            <p:nvPr/>
          </p:nvCxnSpPr>
          <p:spPr>
            <a:xfrm>
              <a:off x="7367095" y="4524292"/>
              <a:ext cx="241432" cy="108368"/>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9" name="Straight Connector 878"/>
            <p:cNvCxnSpPr>
              <a:cxnSpLocks/>
            </p:cNvCxnSpPr>
            <p:nvPr/>
          </p:nvCxnSpPr>
          <p:spPr>
            <a:xfrm>
              <a:off x="7367095" y="4524292"/>
              <a:ext cx="229638" cy="1361"/>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0" name="Oval 879"/>
            <p:cNvSpPr/>
            <p:nvPr/>
          </p:nvSpPr>
          <p:spPr bwMode="auto">
            <a:xfrm rot="20946206">
              <a:off x="7596733" y="460253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1" name="Oval 880"/>
            <p:cNvSpPr/>
            <p:nvPr/>
          </p:nvSpPr>
          <p:spPr bwMode="auto">
            <a:xfrm>
              <a:off x="7596733" y="445707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82" name="Straight Connector 881"/>
            <p:cNvCxnSpPr>
              <a:cxnSpLocks/>
            </p:cNvCxnSpPr>
            <p:nvPr/>
          </p:nvCxnSpPr>
          <p:spPr>
            <a:xfrm>
              <a:off x="7362861" y="4379181"/>
              <a:ext cx="233872" cy="1013"/>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3" name="Oval 882"/>
            <p:cNvSpPr/>
            <p:nvPr/>
          </p:nvSpPr>
          <p:spPr bwMode="auto">
            <a:xfrm>
              <a:off x="7367095" y="4455710"/>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84" name="Straight Connector 883"/>
            <p:cNvCxnSpPr>
              <a:cxnSpLocks/>
            </p:cNvCxnSpPr>
            <p:nvPr/>
          </p:nvCxnSpPr>
          <p:spPr>
            <a:xfrm flipV="1">
              <a:off x="7362861" y="4277619"/>
              <a:ext cx="248934" cy="101562"/>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5" name="Oval 884"/>
            <p:cNvSpPr/>
            <p:nvPr/>
          </p:nvSpPr>
          <p:spPr bwMode="auto">
            <a:xfrm>
              <a:off x="7362861" y="4310599"/>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6" name="Oval 885"/>
            <p:cNvSpPr/>
            <p:nvPr/>
          </p:nvSpPr>
          <p:spPr bwMode="auto">
            <a:xfrm>
              <a:off x="7596733" y="4311612"/>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7" name="Oval 886"/>
            <p:cNvSpPr/>
            <p:nvPr/>
          </p:nvSpPr>
          <p:spPr bwMode="auto">
            <a:xfrm rot="377738">
              <a:off x="7596733" y="4166153"/>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grpSp>
      <p:sp>
        <p:nvSpPr>
          <p:cNvPr id="889" name="TextBox 888"/>
          <p:cNvSpPr txBox="1"/>
          <p:nvPr/>
        </p:nvSpPr>
        <p:spPr>
          <a:xfrm>
            <a:off x="4367177" y="4063639"/>
            <a:ext cx="996428"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Column-family</a:t>
            </a:r>
          </a:p>
        </p:txBody>
      </p:sp>
      <p:sp>
        <p:nvSpPr>
          <p:cNvPr id="890" name="TextBox 889"/>
          <p:cNvSpPr txBox="1"/>
          <p:nvPr/>
        </p:nvSpPr>
        <p:spPr>
          <a:xfrm>
            <a:off x="6832290" y="4138630"/>
            <a:ext cx="727122"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Document</a:t>
            </a:r>
          </a:p>
        </p:txBody>
      </p:sp>
      <p:sp>
        <p:nvSpPr>
          <p:cNvPr id="891" name="TextBox 890"/>
          <p:cNvSpPr txBox="1"/>
          <p:nvPr/>
        </p:nvSpPr>
        <p:spPr>
          <a:xfrm>
            <a:off x="8931096" y="4426926"/>
            <a:ext cx="467436"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Graph</a:t>
            </a:r>
          </a:p>
        </p:txBody>
      </p:sp>
      <p:sp>
        <p:nvSpPr>
          <p:cNvPr id="893" name="TextBox 892"/>
          <p:cNvSpPr txBox="1"/>
          <p:nvPr/>
        </p:nvSpPr>
        <p:spPr>
          <a:xfrm>
            <a:off x="819605" y="5509878"/>
            <a:ext cx="2021708"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Turnkey global distribution</a:t>
            </a:r>
          </a:p>
        </p:txBody>
      </p:sp>
      <p:sp>
        <p:nvSpPr>
          <p:cNvPr id="894" name="TextBox 893"/>
          <p:cNvSpPr txBox="1"/>
          <p:nvPr/>
        </p:nvSpPr>
        <p:spPr>
          <a:xfrm>
            <a:off x="2665537" y="4952921"/>
            <a:ext cx="1858201" cy="461665"/>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Elastic scale out </a:t>
            </a:r>
          </a:p>
          <a:p>
            <a:pPr algn="ctr" defTabSz="857124">
              <a:defRPr/>
            </a:pPr>
            <a:r>
              <a:rPr lang="en-US" sz="1200" kern="0" dirty="0">
                <a:solidFill>
                  <a:srgbClr val="002050"/>
                </a:solidFill>
                <a:latin typeface="Segoe UI"/>
                <a:cs typeface="Segoe UI Light" panose="020B0502040204020203" pitchFamily="34" charset="0"/>
              </a:rPr>
              <a:t>of storage &amp; throughput</a:t>
            </a:r>
          </a:p>
        </p:txBody>
      </p:sp>
      <p:sp>
        <p:nvSpPr>
          <p:cNvPr id="895" name="TextBox 894"/>
          <p:cNvSpPr txBox="1"/>
          <p:nvPr/>
        </p:nvSpPr>
        <p:spPr>
          <a:xfrm>
            <a:off x="4395442" y="4830534"/>
            <a:ext cx="3222357"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Guaranteed low latency at the 99</a:t>
            </a:r>
            <a:r>
              <a:rPr lang="en-US" sz="1200" kern="0" baseline="30000" dirty="0">
                <a:solidFill>
                  <a:srgbClr val="002050"/>
                </a:solidFill>
                <a:latin typeface="Segoe UI"/>
                <a:cs typeface="Segoe UI Light" panose="020B0502040204020203" pitchFamily="34" charset="0"/>
              </a:rPr>
              <a:t>th</a:t>
            </a:r>
            <a:r>
              <a:rPr lang="en-US" sz="1200" kern="0" dirty="0">
                <a:solidFill>
                  <a:srgbClr val="002050"/>
                </a:solidFill>
                <a:latin typeface="Segoe UI"/>
                <a:cs typeface="Segoe UI Light" panose="020B0502040204020203" pitchFamily="34" charset="0"/>
              </a:rPr>
              <a:t> percentile</a:t>
            </a:r>
          </a:p>
        </p:txBody>
      </p:sp>
      <p:sp>
        <p:nvSpPr>
          <p:cNvPr id="896" name="TextBox 895"/>
          <p:cNvSpPr txBox="1"/>
          <p:nvPr/>
        </p:nvSpPr>
        <p:spPr>
          <a:xfrm>
            <a:off x="9784424" y="5509878"/>
            <a:ext cx="1595309"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Comprehensive SLAs</a:t>
            </a:r>
          </a:p>
        </p:txBody>
      </p:sp>
      <p:sp>
        <p:nvSpPr>
          <p:cNvPr id="897" name="TextBox 896"/>
          <p:cNvSpPr txBox="1"/>
          <p:nvPr/>
        </p:nvSpPr>
        <p:spPr>
          <a:xfrm>
            <a:off x="7239920" y="5081896"/>
            <a:ext cx="2691764"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Five well-defined consistency models</a:t>
            </a:r>
          </a:p>
        </p:txBody>
      </p:sp>
      <p:grpSp>
        <p:nvGrpSpPr>
          <p:cNvPr id="905" name="Group 3"/>
          <p:cNvGrpSpPr/>
          <p:nvPr/>
        </p:nvGrpSpPr>
        <p:grpSpPr>
          <a:xfrm>
            <a:off x="2155722" y="6201962"/>
            <a:ext cx="752902" cy="752901"/>
            <a:chOff x="-4594157" y="2516834"/>
            <a:chExt cx="1070585" cy="1070585"/>
          </a:xfrm>
        </p:grpSpPr>
        <p:sp>
          <p:nvSpPr>
            <p:cNvPr id="90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07" name="Group 5"/>
            <p:cNvGrpSpPr/>
            <p:nvPr/>
          </p:nvGrpSpPr>
          <p:grpSpPr>
            <a:xfrm>
              <a:off x="-4594157" y="2516834"/>
              <a:ext cx="1070585" cy="1070585"/>
              <a:chOff x="10232415" y="2527090"/>
              <a:chExt cx="1070585" cy="1070585"/>
            </a:xfrm>
          </p:grpSpPr>
          <p:sp>
            <p:nvSpPr>
              <p:cNvPr id="908" name="Oval 6"/>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09" name="Graphic 90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0" name="Group 14"/>
          <p:cNvGrpSpPr/>
          <p:nvPr/>
        </p:nvGrpSpPr>
        <p:grpSpPr>
          <a:xfrm>
            <a:off x="7205301" y="6323443"/>
            <a:ext cx="752902" cy="752901"/>
            <a:chOff x="-4594157" y="2516834"/>
            <a:chExt cx="1070585" cy="1070585"/>
          </a:xfrm>
        </p:grpSpPr>
        <p:sp>
          <p:nvSpPr>
            <p:cNvPr id="91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12" name="Group 16"/>
            <p:cNvGrpSpPr/>
            <p:nvPr/>
          </p:nvGrpSpPr>
          <p:grpSpPr>
            <a:xfrm>
              <a:off x="-4594157" y="2516834"/>
              <a:ext cx="1070585" cy="1070585"/>
              <a:chOff x="10232415" y="2527090"/>
              <a:chExt cx="1070585" cy="1070585"/>
            </a:xfrm>
          </p:grpSpPr>
          <p:sp>
            <p:nvSpPr>
              <p:cNvPr id="913" name="Oval 1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14" name="Graphic 91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5" name="Group 24"/>
          <p:cNvGrpSpPr/>
          <p:nvPr/>
        </p:nvGrpSpPr>
        <p:grpSpPr>
          <a:xfrm>
            <a:off x="6130269" y="5962859"/>
            <a:ext cx="752902" cy="752901"/>
            <a:chOff x="-4594157" y="2516834"/>
            <a:chExt cx="1070585" cy="1070585"/>
          </a:xfrm>
        </p:grpSpPr>
        <p:sp>
          <p:nvSpPr>
            <p:cNvPr id="91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17" name="Group 26"/>
            <p:cNvGrpSpPr/>
            <p:nvPr/>
          </p:nvGrpSpPr>
          <p:grpSpPr>
            <a:xfrm>
              <a:off x="-4594157" y="2516834"/>
              <a:ext cx="1070585" cy="1070585"/>
              <a:chOff x="10232415" y="2527090"/>
              <a:chExt cx="1070585" cy="1070585"/>
            </a:xfrm>
          </p:grpSpPr>
          <p:sp>
            <p:nvSpPr>
              <p:cNvPr id="918" name="Oval 2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19" name="Graphic 91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20" name="Group 900"/>
          <p:cNvGrpSpPr/>
          <p:nvPr/>
        </p:nvGrpSpPr>
        <p:grpSpPr>
          <a:xfrm>
            <a:off x="9313584" y="5962859"/>
            <a:ext cx="752902" cy="752901"/>
            <a:chOff x="-4594157" y="2516834"/>
            <a:chExt cx="1070585" cy="1070585"/>
          </a:xfrm>
        </p:grpSpPr>
        <p:sp>
          <p:nvSpPr>
            <p:cNvPr id="92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22" name="Group 902"/>
            <p:cNvGrpSpPr/>
            <p:nvPr/>
          </p:nvGrpSpPr>
          <p:grpSpPr>
            <a:xfrm>
              <a:off x="-4594157" y="2516834"/>
              <a:ext cx="1070585" cy="1070585"/>
              <a:chOff x="10232415" y="2527090"/>
              <a:chExt cx="1070585" cy="1070585"/>
            </a:xfrm>
          </p:grpSpPr>
          <p:sp>
            <p:nvSpPr>
              <p:cNvPr id="923" name="Oval 903"/>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24" name="Graphic 92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sp>
        <p:nvSpPr>
          <p:cNvPr id="9" name="Freeform: Shape 8"/>
          <p:cNvSpPr/>
          <p:nvPr/>
        </p:nvSpPr>
        <p:spPr>
          <a:xfrm>
            <a:off x="-7257" y="4536008"/>
            <a:ext cx="12199257" cy="1037701"/>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928" name="Freeform: Shape 927"/>
          <p:cNvSpPr/>
          <p:nvPr/>
        </p:nvSpPr>
        <p:spPr>
          <a:xfrm>
            <a:off x="-7257" y="3439656"/>
            <a:ext cx="12199257" cy="1020029"/>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grpSp>
        <p:nvGrpSpPr>
          <p:cNvPr id="4" name="Group 3">
            <a:extLst>
              <a:ext uri="{FF2B5EF4-FFF2-40B4-BE49-F238E27FC236}">
                <a16:creationId xmlns:a16="http://schemas.microsoft.com/office/drawing/2014/main" id="{D975F83B-BB0D-46C1-945E-BAEBDBB5700C}"/>
              </a:ext>
            </a:extLst>
          </p:cNvPr>
          <p:cNvGrpSpPr/>
          <p:nvPr/>
        </p:nvGrpSpPr>
        <p:grpSpPr>
          <a:xfrm>
            <a:off x="4118503" y="2589878"/>
            <a:ext cx="1897954" cy="623188"/>
            <a:chOff x="5645189" y="2644649"/>
            <a:chExt cx="1897954" cy="623188"/>
          </a:xfrm>
        </p:grpSpPr>
        <p:sp>
          <p:nvSpPr>
            <p:cNvPr id="830" name="Freeform: Shape 28"/>
            <p:cNvSpPr/>
            <p:nvPr/>
          </p:nvSpPr>
          <p:spPr>
            <a:xfrm>
              <a:off x="5645189" y="2644649"/>
              <a:ext cx="722852" cy="623188"/>
            </a:xfrm>
            <a:custGeom>
              <a:avLst/>
              <a:gdLst>
                <a:gd name="connsiteX0" fmla="*/ 4283739 w 6912012"/>
                <a:gd name="connsiteY0" fmla="*/ 3558282 h 5959009"/>
                <a:gd name="connsiteX1" fmla="*/ 4283739 w 6912012"/>
                <a:gd name="connsiteY1" fmla="*/ 4359666 h 5959009"/>
                <a:gd name="connsiteX2" fmla="*/ 5085123 w 6912012"/>
                <a:gd name="connsiteY2" fmla="*/ 4359666 h 5959009"/>
                <a:gd name="connsiteX3" fmla="*/ 5085123 w 6912012"/>
                <a:gd name="connsiteY3" fmla="*/ 3558282 h 5959009"/>
                <a:gd name="connsiteX4" fmla="*/ 3285434 w 6912012"/>
                <a:gd name="connsiteY4" fmla="*/ 3558282 h 5959009"/>
                <a:gd name="connsiteX5" fmla="*/ 3285434 w 6912012"/>
                <a:gd name="connsiteY5" fmla="*/ 4359666 h 5959009"/>
                <a:gd name="connsiteX6" fmla="*/ 4086818 w 6912012"/>
                <a:gd name="connsiteY6" fmla="*/ 4359666 h 5959009"/>
                <a:gd name="connsiteX7" fmla="*/ 4086818 w 6912012"/>
                <a:gd name="connsiteY7" fmla="*/ 3558282 h 5959009"/>
                <a:gd name="connsiteX8" fmla="*/ 2287129 w 6912012"/>
                <a:gd name="connsiteY8" fmla="*/ 3558282 h 5959009"/>
                <a:gd name="connsiteX9" fmla="*/ 2287129 w 6912012"/>
                <a:gd name="connsiteY9" fmla="*/ 4359666 h 5959009"/>
                <a:gd name="connsiteX10" fmla="*/ 3088513 w 6912012"/>
                <a:gd name="connsiteY10" fmla="*/ 4359666 h 5959009"/>
                <a:gd name="connsiteX11" fmla="*/ 3088513 w 6912012"/>
                <a:gd name="connsiteY11" fmla="*/ 3558282 h 5959009"/>
                <a:gd name="connsiteX12" fmla="*/ 4283739 w 6912012"/>
                <a:gd name="connsiteY12" fmla="*/ 2561689 h 5959009"/>
                <a:gd name="connsiteX13" fmla="*/ 4283739 w 6912012"/>
                <a:gd name="connsiteY13" fmla="*/ 3363073 h 5959009"/>
                <a:gd name="connsiteX14" fmla="*/ 5085123 w 6912012"/>
                <a:gd name="connsiteY14" fmla="*/ 3363073 h 5959009"/>
                <a:gd name="connsiteX15" fmla="*/ 5085123 w 6912012"/>
                <a:gd name="connsiteY15" fmla="*/ 2561689 h 5959009"/>
                <a:gd name="connsiteX16" fmla="*/ 3285434 w 6912012"/>
                <a:gd name="connsiteY16" fmla="*/ 2561689 h 5959009"/>
                <a:gd name="connsiteX17" fmla="*/ 3285434 w 6912012"/>
                <a:gd name="connsiteY17" fmla="*/ 3363073 h 5959009"/>
                <a:gd name="connsiteX18" fmla="*/ 4086818 w 6912012"/>
                <a:gd name="connsiteY18" fmla="*/ 3363073 h 5959009"/>
                <a:gd name="connsiteX19" fmla="*/ 4086818 w 6912012"/>
                <a:gd name="connsiteY19" fmla="*/ 2561689 h 5959009"/>
                <a:gd name="connsiteX20" fmla="*/ 2287129 w 6912012"/>
                <a:gd name="connsiteY20" fmla="*/ 2561689 h 5959009"/>
                <a:gd name="connsiteX21" fmla="*/ 2287129 w 6912012"/>
                <a:gd name="connsiteY21" fmla="*/ 3363073 h 5959009"/>
                <a:gd name="connsiteX22" fmla="*/ 3088513 w 6912012"/>
                <a:gd name="connsiteY22" fmla="*/ 3363073 h 5959009"/>
                <a:gd name="connsiteX23" fmla="*/ 3088513 w 6912012"/>
                <a:gd name="connsiteY23" fmla="*/ 2561689 h 5959009"/>
                <a:gd name="connsiteX24" fmla="*/ 4283739 w 6912012"/>
                <a:gd name="connsiteY24" fmla="*/ 1565096 h 5959009"/>
                <a:gd name="connsiteX25" fmla="*/ 4283739 w 6912012"/>
                <a:gd name="connsiteY25" fmla="*/ 2366480 h 5959009"/>
                <a:gd name="connsiteX26" fmla="*/ 5085123 w 6912012"/>
                <a:gd name="connsiteY26" fmla="*/ 2366480 h 5959009"/>
                <a:gd name="connsiteX27" fmla="*/ 5085123 w 6912012"/>
                <a:gd name="connsiteY27" fmla="*/ 1565096 h 5959009"/>
                <a:gd name="connsiteX28" fmla="*/ 3285434 w 6912012"/>
                <a:gd name="connsiteY28" fmla="*/ 1565096 h 5959009"/>
                <a:gd name="connsiteX29" fmla="*/ 3285434 w 6912012"/>
                <a:gd name="connsiteY29" fmla="*/ 2366480 h 5959009"/>
                <a:gd name="connsiteX30" fmla="*/ 4086818 w 6912012"/>
                <a:gd name="connsiteY30" fmla="*/ 2366480 h 5959009"/>
                <a:gd name="connsiteX31" fmla="*/ 4086818 w 6912012"/>
                <a:gd name="connsiteY31" fmla="*/ 1565096 h 5959009"/>
                <a:gd name="connsiteX32" fmla="*/ 2287129 w 6912012"/>
                <a:gd name="connsiteY32" fmla="*/ 1565096 h 5959009"/>
                <a:gd name="connsiteX33" fmla="*/ 2287129 w 6912012"/>
                <a:gd name="connsiteY33" fmla="*/ 2366480 h 5959009"/>
                <a:gd name="connsiteX34" fmla="*/ 3088513 w 6912012"/>
                <a:gd name="connsiteY34" fmla="*/ 2366480 h 5959009"/>
                <a:gd name="connsiteX35" fmla="*/ 3088513 w 6912012"/>
                <a:gd name="connsiteY35" fmla="*/ 1565096 h 5959009"/>
                <a:gd name="connsiteX36" fmla="*/ 1826890 w 6912012"/>
                <a:gd name="connsiteY36" fmla="*/ 1539635 h 5959009"/>
                <a:gd name="connsiteX37" fmla="*/ 1826890 w 6912012"/>
                <a:gd name="connsiteY37" fmla="*/ 4787206 h 5959009"/>
                <a:gd name="connsiteX38" fmla="*/ 5085123 w 6912012"/>
                <a:gd name="connsiteY38" fmla="*/ 4787206 h 5959009"/>
                <a:gd name="connsiteX39" fmla="*/ 5085123 w 6912012"/>
                <a:gd name="connsiteY39" fmla="*/ 4567677 h 5959009"/>
                <a:gd name="connsiteX40" fmla="*/ 2046419 w 6912012"/>
                <a:gd name="connsiteY40" fmla="*/ 4567677 h 5959009"/>
                <a:gd name="connsiteX41" fmla="*/ 2046419 w 6912012"/>
                <a:gd name="connsiteY41" fmla="*/ 1539635 h 5959009"/>
                <a:gd name="connsiteX42" fmla="*/ 1743189 w 6912012"/>
                <a:gd name="connsiteY42" fmla="*/ 0 h 5959009"/>
                <a:gd name="connsiteX43" fmla="*/ 5168823 w 6912012"/>
                <a:gd name="connsiteY43" fmla="*/ 0 h 5959009"/>
                <a:gd name="connsiteX44" fmla="*/ 6912012 w 6912012"/>
                <a:gd name="connsiteY44" fmla="*/ 2979505 h 5959009"/>
                <a:gd name="connsiteX45" fmla="*/ 5168823 w 6912012"/>
                <a:gd name="connsiteY45" fmla="*/ 5959009 h 5959009"/>
                <a:gd name="connsiteX46" fmla="*/ 1743189 w 6912012"/>
                <a:gd name="connsiteY46" fmla="*/ 5959009 h 5959009"/>
                <a:gd name="connsiteX47" fmla="*/ 0 w 6912012"/>
                <a:gd name="connsiteY47" fmla="*/ 2979505 h 5959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912012" h="5959009">
                  <a:moveTo>
                    <a:pt x="4283739" y="3558282"/>
                  </a:moveTo>
                  <a:lnTo>
                    <a:pt x="4283739" y="4359666"/>
                  </a:lnTo>
                  <a:lnTo>
                    <a:pt x="5085123" y="4359666"/>
                  </a:lnTo>
                  <a:lnTo>
                    <a:pt x="5085123" y="3558282"/>
                  </a:lnTo>
                  <a:close/>
                  <a:moveTo>
                    <a:pt x="3285434" y="3558282"/>
                  </a:moveTo>
                  <a:lnTo>
                    <a:pt x="3285434" y="4359666"/>
                  </a:lnTo>
                  <a:lnTo>
                    <a:pt x="4086818" y="4359666"/>
                  </a:lnTo>
                  <a:lnTo>
                    <a:pt x="4086818" y="3558282"/>
                  </a:lnTo>
                  <a:close/>
                  <a:moveTo>
                    <a:pt x="2287129" y="3558282"/>
                  </a:moveTo>
                  <a:lnTo>
                    <a:pt x="2287129" y="4359666"/>
                  </a:lnTo>
                  <a:lnTo>
                    <a:pt x="3088513" y="4359666"/>
                  </a:lnTo>
                  <a:lnTo>
                    <a:pt x="3088513" y="3558282"/>
                  </a:lnTo>
                  <a:close/>
                  <a:moveTo>
                    <a:pt x="4283739" y="2561689"/>
                  </a:moveTo>
                  <a:lnTo>
                    <a:pt x="4283739" y="3363073"/>
                  </a:lnTo>
                  <a:lnTo>
                    <a:pt x="5085123" y="3363073"/>
                  </a:lnTo>
                  <a:lnTo>
                    <a:pt x="5085123" y="2561689"/>
                  </a:lnTo>
                  <a:close/>
                  <a:moveTo>
                    <a:pt x="3285434" y="2561689"/>
                  </a:moveTo>
                  <a:lnTo>
                    <a:pt x="3285434" y="3363073"/>
                  </a:lnTo>
                  <a:lnTo>
                    <a:pt x="4086818" y="3363073"/>
                  </a:lnTo>
                  <a:lnTo>
                    <a:pt x="4086818" y="2561689"/>
                  </a:lnTo>
                  <a:close/>
                  <a:moveTo>
                    <a:pt x="2287129" y="2561689"/>
                  </a:moveTo>
                  <a:lnTo>
                    <a:pt x="2287129" y="3363073"/>
                  </a:lnTo>
                  <a:lnTo>
                    <a:pt x="3088513" y="3363073"/>
                  </a:lnTo>
                  <a:lnTo>
                    <a:pt x="3088513" y="2561689"/>
                  </a:lnTo>
                  <a:close/>
                  <a:moveTo>
                    <a:pt x="4283739" y="1565096"/>
                  </a:moveTo>
                  <a:lnTo>
                    <a:pt x="4283739" y="2366480"/>
                  </a:lnTo>
                  <a:lnTo>
                    <a:pt x="5085123" y="2366480"/>
                  </a:lnTo>
                  <a:lnTo>
                    <a:pt x="5085123" y="1565096"/>
                  </a:lnTo>
                  <a:close/>
                  <a:moveTo>
                    <a:pt x="3285434" y="1565096"/>
                  </a:moveTo>
                  <a:lnTo>
                    <a:pt x="3285434" y="2366480"/>
                  </a:lnTo>
                  <a:lnTo>
                    <a:pt x="4086818" y="2366480"/>
                  </a:lnTo>
                  <a:lnTo>
                    <a:pt x="4086818" y="1565096"/>
                  </a:lnTo>
                  <a:close/>
                  <a:moveTo>
                    <a:pt x="2287129" y="1565096"/>
                  </a:moveTo>
                  <a:lnTo>
                    <a:pt x="2287129" y="2366480"/>
                  </a:lnTo>
                  <a:lnTo>
                    <a:pt x="3088513" y="2366480"/>
                  </a:lnTo>
                  <a:lnTo>
                    <a:pt x="3088513" y="1565096"/>
                  </a:lnTo>
                  <a:close/>
                  <a:moveTo>
                    <a:pt x="1826890" y="1539635"/>
                  </a:moveTo>
                  <a:lnTo>
                    <a:pt x="1826890" y="4787206"/>
                  </a:lnTo>
                  <a:lnTo>
                    <a:pt x="5085123" y="4787206"/>
                  </a:lnTo>
                  <a:lnTo>
                    <a:pt x="5085123" y="4567677"/>
                  </a:lnTo>
                  <a:lnTo>
                    <a:pt x="2046419" y="4567677"/>
                  </a:lnTo>
                  <a:lnTo>
                    <a:pt x="2046419" y="1539635"/>
                  </a:lnTo>
                  <a:close/>
                  <a:moveTo>
                    <a:pt x="1743189" y="0"/>
                  </a:moveTo>
                  <a:lnTo>
                    <a:pt x="5168823" y="0"/>
                  </a:lnTo>
                  <a:lnTo>
                    <a:pt x="6912012" y="2979505"/>
                  </a:lnTo>
                  <a:lnTo>
                    <a:pt x="5168823" y="5959009"/>
                  </a:lnTo>
                  <a:lnTo>
                    <a:pt x="1743189" y="5959009"/>
                  </a:lnTo>
                  <a:lnTo>
                    <a:pt x="0" y="297950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latin typeface="Segoe UI"/>
              </a:endParaRPr>
            </a:p>
          </p:txBody>
        </p:sp>
        <p:sp>
          <p:nvSpPr>
            <p:cNvPr id="3" name="TextBox 2"/>
            <p:cNvSpPr txBox="1"/>
            <p:nvPr/>
          </p:nvSpPr>
          <p:spPr>
            <a:xfrm>
              <a:off x="6430723" y="2787717"/>
              <a:ext cx="1112420" cy="369332"/>
            </a:xfrm>
            <a:prstGeom prst="rect">
              <a:avLst/>
            </a:prstGeom>
            <a:noFill/>
          </p:spPr>
          <p:txBody>
            <a:bodyPr wrap="none" rtlCol="0">
              <a:spAutoFit/>
            </a:bodyPr>
            <a:lstStyle/>
            <a:p>
              <a:r>
                <a:rPr lang="en-US" dirty="0">
                  <a:solidFill>
                    <a:srgbClr val="000000"/>
                  </a:solidFill>
                  <a:latin typeface="Segoe UI"/>
                </a:rPr>
                <a:t>Table API</a:t>
              </a:r>
            </a:p>
          </p:txBody>
        </p:sp>
      </p:grpSp>
      <p:grpSp>
        <p:nvGrpSpPr>
          <p:cNvPr id="93" name="Group 92"/>
          <p:cNvGrpSpPr/>
          <p:nvPr/>
        </p:nvGrpSpPr>
        <p:grpSpPr>
          <a:xfrm>
            <a:off x="4468630" y="3829867"/>
            <a:ext cx="648960" cy="124646"/>
            <a:chOff x="4937947" y="5178778"/>
            <a:chExt cx="733930" cy="124646"/>
          </a:xfrm>
        </p:grpSpPr>
        <p:cxnSp>
          <p:nvCxnSpPr>
            <p:cNvPr id="94" name="Straight Connector 93"/>
            <p:cNvCxnSpPr>
              <a:cxnSpLocks/>
            </p:cNvCxnSpPr>
            <p:nvPr/>
          </p:nvCxnSpPr>
          <p:spPr>
            <a:xfrm>
              <a:off x="5062593" y="5241101"/>
              <a:ext cx="187117" cy="0"/>
            </a:xfrm>
            <a:prstGeom prst="line">
              <a:avLst/>
            </a:prstGeom>
            <a:noFill/>
            <a:ln w="12700" cap="flat" cmpd="sng" algn="ctr">
              <a:solidFill>
                <a:schemeClr val="tx2"/>
              </a:solidFill>
              <a:prstDash val="sysDot"/>
              <a:miter lim="800000"/>
              <a:headEnd type="none"/>
              <a:tailEnd type="none"/>
            </a:ln>
            <a:effectLst/>
          </p:spPr>
        </p:cxnSp>
        <p:sp>
          <p:nvSpPr>
            <p:cNvPr id="95" name="Oval 94"/>
            <p:cNvSpPr/>
            <p:nvPr/>
          </p:nvSpPr>
          <p:spPr bwMode="auto">
            <a:xfrm>
              <a:off x="4937947" y="5178778"/>
              <a:ext cx="124646" cy="124646"/>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6" name="Oval 95"/>
            <p:cNvSpPr/>
            <p:nvPr/>
          </p:nvSpPr>
          <p:spPr bwMode="auto">
            <a:xfrm>
              <a:off x="5249710"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7" name="Oval 96"/>
            <p:cNvSpPr/>
            <p:nvPr/>
          </p:nvSpPr>
          <p:spPr bwMode="auto">
            <a:xfrm>
              <a:off x="5404122"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8" name="Oval 97"/>
            <p:cNvSpPr/>
            <p:nvPr/>
          </p:nvSpPr>
          <p:spPr bwMode="auto">
            <a:xfrm>
              <a:off x="5558535"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grpSp>
        <p:nvGrpSpPr>
          <p:cNvPr id="118" name="Group 117"/>
          <p:cNvGrpSpPr/>
          <p:nvPr/>
        </p:nvGrpSpPr>
        <p:grpSpPr>
          <a:xfrm>
            <a:off x="2522203" y="3918617"/>
            <a:ext cx="723819" cy="774671"/>
            <a:chOff x="4511512" y="6316301"/>
            <a:chExt cx="668502" cy="1610561"/>
          </a:xfrm>
        </p:grpSpPr>
        <p:grpSp>
          <p:nvGrpSpPr>
            <p:cNvPr id="119" name="Group 118"/>
            <p:cNvGrpSpPr/>
            <p:nvPr/>
          </p:nvGrpSpPr>
          <p:grpSpPr>
            <a:xfrm>
              <a:off x="4511512" y="6316301"/>
              <a:ext cx="617679" cy="892977"/>
              <a:chOff x="4066669" y="5178779"/>
              <a:chExt cx="1357897" cy="892977"/>
            </a:xfrm>
          </p:grpSpPr>
          <p:cxnSp>
            <p:nvCxnSpPr>
              <p:cNvPr id="121" name="Straight Connector 120"/>
              <p:cNvCxnSpPr>
                <a:cxnSpLocks/>
              </p:cNvCxnSpPr>
              <p:nvPr/>
            </p:nvCxnSpPr>
            <p:spPr>
              <a:xfrm>
                <a:off x="4308965" y="5299925"/>
                <a:ext cx="895279" cy="0"/>
              </a:xfrm>
              <a:prstGeom prst="line">
                <a:avLst/>
              </a:prstGeom>
              <a:noFill/>
              <a:ln w="12700" cap="flat" cmpd="sng" algn="ctr">
                <a:solidFill>
                  <a:schemeClr val="tx2"/>
                </a:solidFill>
                <a:prstDash val="sysDot"/>
                <a:miter lim="800000"/>
                <a:headEnd type="none"/>
                <a:tailEnd type="none"/>
              </a:ln>
              <a:effectLst/>
            </p:spPr>
          </p:cxnSp>
          <p:sp>
            <p:nvSpPr>
              <p:cNvPr id="122" name="Oval 121"/>
              <p:cNvSpPr/>
              <p:nvPr/>
            </p:nvSpPr>
            <p:spPr bwMode="auto">
              <a:xfrm>
                <a:off x="4066669" y="517877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3" name="Oval 122"/>
              <p:cNvSpPr/>
              <p:nvPr/>
            </p:nvSpPr>
            <p:spPr bwMode="auto">
              <a:xfrm>
                <a:off x="5204244" y="5189764"/>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124" name="Straight Connector 123"/>
              <p:cNvCxnSpPr>
                <a:cxnSpLocks/>
              </p:cNvCxnSpPr>
              <p:nvPr/>
            </p:nvCxnSpPr>
            <p:spPr>
              <a:xfrm>
                <a:off x="4308965" y="5620439"/>
                <a:ext cx="895279" cy="0"/>
              </a:xfrm>
              <a:prstGeom prst="line">
                <a:avLst/>
              </a:prstGeom>
              <a:noFill/>
              <a:ln w="12700" cap="flat" cmpd="sng" algn="ctr">
                <a:solidFill>
                  <a:schemeClr val="tx2"/>
                </a:solidFill>
                <a:prstDash val="sysDot"/>
                <a:miter lim="800000"/>
                <a:headEnd type="none"/>
                <a:tailEnd type="none"/>
              </a:ln>
              <a:effectLst/>
            </p:spPr>
          </p:cxnSp>
          <p:sp>
            <p:nvSpPr>
              <p:cNvPr id="125" name="Oval 124"/>
              <p:cNvSpPr/>
              <p:nvPr/>
            </p:nvSpPr>
            <p:spPr bwMode="auto">
              <a:xfrm>
                <a:off x="4066669" y="5499293"/>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6" name="Oval 125"/>
              <p:cNvSpPr/>
              <p:nvPr/>
            </p:nvSpPr>
            <p:spPr bwMode="auto">
              <a:xfrm>
                <a:off x="5204244" y="5510278"/>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127" name="Straight Connector 126"/>
              <p:cNvCxnSpPr>
                <a:cxnSpLocks/>
              </p:cNvCxnSpPr>
              <p:nvPr/>
            </p:nvCxnSpPr>
            <p:spPr>
              <a:xfrm>
                <a:off x="4308965" y="5950606"/>
                <a:ext cx="895279" cy="0"/>
              </a:xfrm>
              <a:prstGeom prst="line">
                <a:avLst/>
              </a:prstGeom>
              <a:noFill/>
              <a:ln w="12700" cap="flat" cmpd="sng" algn="ctr">
                <a:solidFill>
                  <a:schemeClr val="tx2"/>
                </a:solidFill>
                <a:prstDash val="sysDot"/>
                <a:miter lim="800000"/>
                <a:headEnd type="none"/>
                <a:tailEnd type="none"/>
              </a:ln>
              <a:effectLst/>
            </p:spPr>
          </p:cxnSp>
          <p:sp>
            <p:nvSpPr>
              <p:cNvPr id="128" name="Oval 127"/>
              <p:cNvSpPr/>
              <p:nvPr/>
            </p:nvSpPr>
            <p:spPr bwMode="auto">
              <a:xfrm>
                <a:off x="4066669" y="582945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9" name="Oval 128"/>
              <p:cNvSpPr/>
              <p:nvPr/>
            </p:nvSpPr>
            <p:spPr bwMode="auto">
              <a:xfrm>
                <a:off x="5204244" y="5840445"/>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sp>
          <p:nvSpPr>
            <p:cNvPr id="120" name="TextBox 119"/>
            <p:cNvSpPr txBox="1"/>
            <p:nvPr/>
          </p:nvSpPr>
          <p:spPr>
            <a:xfrm>
              <a:off x="4538071" y="7398964"/>
              <a:ext cx="641943" cy="527898"/>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Key-value</a:t>
              </a:r>
            </a:p>
          </p:txBody>
        </p:sp>
      </p:grpSp>
      <p:sp>
        <p:nvSpPr>
          <p:cNvPr id="84" name="Title 10"/>
          <p:cNvSpPr>
            <a:spLocks noGrp="1"/>
          </p:cNvSpPr>
          <p:nvPr>
            <p:ph type="title"/>
          </p:nvPr>
        </p:nvSpPr>
        <p:spPr>
          <a:xfrm>
            <a:off x="185254" y="296723"/>
            <a:ext cx="11642721" cy="917575"/>
          </a:xfrm>
        </p:spPr>
        <p:txBody>
          <a:bodyPr>
            <a:noAutofit/>
          </a:bodyPr>
          <a:lstStyle/>
          <a:p>
            <a:pPr algn="ctr"/>
            <a:r>
              <a:rPr lang="en-US" dirty="0">
                <a:solidFill>
                  <a:schemeClr val="bg1"/>
                </a:solidFill>
              </a:rPr>
              <a:t>Azure Cosmos DB</a:t>
            </a:r>
            <a:br>
              <a:rPr lang="en-US" dirty="0">
                <a:solidFill>
                  <a:schemeClr val="bg1"/>
                </a:solidFill>
              </a:rPr>
            </a:br>
            <a:r>
              <a:rPr lang="en-US" sz="2400" dirty="0">
                <a:solidFill>
                  <a:schemeClr val="bg1"/>
                </a:solidFill>
              </a:rPr>
              <a:t>A globally distributed, massively scalable, multi-model database service</a:t>
            </a:r>
          </a:p>
        </p:txBody>
      </p:sp>
      <p:sp>
        <p:nvSpPr>
          <p:cNvPr id="82" name="Freeform: Shape 81">
            <a:extLst>
              <a:ext uri="{FF2B5EF4-FFF2-40B4-BE49-F238E27FC236}">
                <a16:creationId xmlns:a16="http://schemas.microsoft.com/office/drawing/2014/main" id="{E3BC5004-545A-408F-A807-CC56FD5B1E43}"/>
              </a:ext>
            </a:extLst>
          </p:cNvPr>
          <p:cNvSpPr/>
          <p:nvPr/>
        </p:nvSpPr>
        <p:spPr>
          <a:xfrm>
            <a:off x="672831" y="3576103"/>
            <a:ext cx="669864" cy="309672"/>
          </a:xfrm>
          <a:custGeom>
            <a:avLst/>
            <a:gdLst>
              <a:gd name="connsiteX0" fmla="*/ 333618 w 531187"/>
              <a:gd name="connsiteY0" fmla="*/ 682320 h 835576"/>
              <a:gd name="connsiteX1" fmla="*/ 303480 w 531187"/>
              <a:gd name="connsiteY1" fmla="*/ 696608 h 835576"/>
              <a:gd name="connsiteX2" fmla="*/ 292318 w 531187"/>
              <a:gd name="connsiteY2" fmla="*/ 734224 h 835576"/>
              <a:gd name="connsiteX3" fmla="*/ 303480 w 531187"/>
              <a:gd name="connsiteY3" fmla="*/ 771840 h 835576"/>
              <a:gd name="connsiteX4" fmla="*/ 332725 w 531187"/>
              <a:gd name="connsiteY4" fmla="*/ 785681 h 835576"/>
              <a:gd name="connsiteX5" fmla="*/ 362305 w 531187"/>
              <a:gd name="connsiteY5" fmla="*/ 772287 h 835576"/>
              <a:gd name="connsiteX6" fmla="*/ 373243 w 531187"/>
              <a:gd name="connsiteY6" fmla="*/ 734894 h 835576"/>
              <a:gd name="connsiteX7" fmla="*/ 362639 w 531187"/>
              <a:gd name="connsiteY7" fmla="*/ 696161 h 835576"/>
              <a:gd name="connsiteX8" fmla="*/ 333618 w 531187"/>
              <a:gd name="connsiteY8" fmla="*/ 682320 h 835576"/>
              <a:gd name="connsiteX9" fmla="*/ 435863 w 531187"/>
              <a:gd name="connsiteY9" fmla="*/ 653968 h 835576"/>
              <a:gd name="connsiteX10" fmla="*/ 471917 w 531187"/>
              <a:gd name="connsiteY10" fmla="*/ 653968 h 835576"/>
              <a:gd name="connsiteX11" fmla="*/ 471917 w 531187"/>
              <a:gd name="connsiteY11" fmla="*/ 784788 h 835576"/>
              <a:gd name="connsiteX12" fmla="*/ 531187 w 531187"/>
              <a:gd name="connsiteY12" fmla="*/ 784788 h 835576"/>
              <a:gd name="connsiteX13" fmla="*/ 531187 w 531187"/>
              <a:gd name="connsiteY13" fmla="*/ 814033 h 835576"/>
              <a:gd name="connsiteX14" fmla="*/ 435863 w 531187"/>
              <a:gd name="connsiteY14" fmla="*/ 814033 h 835576"/>
              <a:gd name="connsiteX15" fmla="*/ 435863 w 531187"/>
              <a:gd name="connsiteY15" fmla="*/ 653968 h 835576"/>
              <a:gd name="connsiteX16" fmla="*/ 334623 w 531187"/>
              <a:gd name="connsiteY16" fmla="*/ 651290 h 835576"/>
              <a:gd name="connsiteX17" fmla="*/ 389987 w 531187"/>
              <a:gd name="connsiteY17" fmla="*/ 673725 h 835576"/>
              <a:gd name="connsiteX18" fmla="*/ 411195 w 531187"/>
              <a:gd name="connsiteY18" fmla="*/ 732885 h 835576"/>
              <a:gd name="connsiteX19" fmla="*/ 389205 w 531187"/>
              <a:gd name="connsiteY19" fmla="*/ 793718 h 835576"/>
              <a:gd name="connsiteX20" fmla="*/ 387754 w 531187"/>
              <a:gd name="connsiteY20" fmla="*/ 795225 h 835576"/>
              <a:gd name="connsiteX21" fmla="*/ 386303 w 531187"/>
              <a:gd name="connsiteY21" fmla="*/ 796620 h 835576"/>
              <a:gd name="connsiteX22" fmla="*/ 426822 w 531187"/>
              <a:gd name="connsiteY22" fmla="*/ 835576 h 835576"/>
              <a:gd name="connsiteX23" fmla="*/ 376369 w 531187"/>
              <a:gd name="connsiteY23" fmla="*/ 835576 h 835576"/>
              <a:gd name="connsiteX24" fmla="*/ 355161 w 531187"/>
              <a:gd name="connsiteY24" fmla="*/ 814033 h 835576"/>
              <a:gd name="connsiteX25" fmla="*/ 332055 w 531187"/>
              <a:gd name="connsiteY25" fmla="*/ 816824 h 835576"/>
              <a:gd name="connsiteX26" fmla="*/ 276021 w 531187"/>
              <a:gd name="connsiteY26" fmla="*/ 794499 h 835576"/>
              <a:gd name="connsiteX27" fmla="*/ 254367 w 531187"/>
              <a:gd name="connsiteY27" fmla="*/ 736122 h 835576"/>
              <a:gd name="connsiteX28" fmla="*/ 276356 w 531187"/>
              <a:gd name="connsiteY28" fmla="*/ 674730 h 835576"/>
              <a:gd name="connsiteX29" fmla="*/ 334623 w 531187"/>
              <a:gd name="connsiteY29" fmla="*/ 651290 h 835576"/>
              <a:gd name="connsiteX30" fmla="*/ 195394 w 531187"/>
              <a:gd name="connsiteY30" fmla="*/ 651290 h 835576"/>
              <a:gd name="connsiteX31" fmla="*/ 217551 w 531187"/>
              <a:gd name="connsiteY31" fmla="*/ 652796 h 835576"/>
              <a:gd name="connsiteX32" fmla="*/ 235354 w 531187"/>
              <a:gd name="connsiteY32" fmla="*/ 657429 h 835576"/>
              <a:gd name="connsiteX33" fmla="*/ 235354 w 531187"/>
              <a:gd name="connsiteY33" fmla="*/ 690803 h 835576"/>
              <a:gd name="connsiteX34" fmla="*/ 226592 w 531187"/>
              <a:gd name="connsiteY34" fmla="*/ 685892 h 835576"/>
              <a:gd name="connsiteX35" fmla="*/ 216825 w 531187"/>
              <a:gd name="connsiteY35" fmla="*/ 682376 h 835576"/>
              <a:gd name="connsiteX36" fmla="*/ 206835 w 531187"/>
              <a:gd name="connsiteY36" fmla="*/ 680311 h 835576"/>
              <a:gd name="connsiteX37" fmla="*/ 197403 w 531187"/>
              <a:gd name="connsiteY37" fmla="*/ 679641 h 835576"/>
              <a:gd name="connsiteX38" fmla="*/ 186241 w 531187"/>
              <a:gd name="connsiteY38" fmla="*/ 680813 h 835576"/>
              <a:gd name="connsiteX39" fmla="*/ 177758 w 531187"/>
              <a:gd name="connsiteY39" fmla="*/ 684106 h 835576"/>
              <a:gd name="connsiteX40" fmla="*/ 172400 w 531187"/>
              <a:gd name="connsiteY40" fmla="*/ 689185 h 835576"/>
              <a:gd name="connsiteX41" fmla="*/ 170502 w 531187"/>
              <a:gd name="connsiteY41" fmla="*/ 695826 h 835576"/>
              <a:gd name="connsiteX42" fmla="*/ 172623 w 531187"/>
              <a:gd name="connsiteY42" fmla="*/ 703026 h 835576"/>
              <a:gd name="connsiteX43" fmla="*/ 178651 w 531187"/>
              <a:gd name="connsiteY43" fmla="*/ 709053 h 835576"/>
              <a:gd name="connsiteX44" fmla="*/ 188138 w 531187"/>
              <a:gd name="connsiteY44" fmla="*/ 714635 h 835576"/>
              <a:gd name="connsiteX45" fmla="*/ 200752 w 531187"/>
              <a:gd name="connsiteY45" fmla="*/ 720271 h 835576"/>
              <a:gd name="connsiteX46" fmla="*/ 217997 w 531187"/>
              <a:gd name="connsiteY46" fmla="*/ 728810 h 835576"/>
              <a:gd name="connsiteX47" fmla="*/ 231113 w 531187"/>
              <a:gd name="connsiteY47" fmla="*/ 739024 h 835576"/>
              <a:gd name="connsiteX48" fmla="*/ 239484 w 531187"/>
              <a:gd name="connsiteY48" fmla="*/ 752028 h 835576"/>
              <a:gd name="connsiteX49" fmla="*/ 242386 w 531187"/>
              <a:gd name="connsiteY49" fmla="*/ 769050 h 835576"/>
              <a:gd name="connsiteX50" fmla="*/ 237308 w 531187"/>
              <a:gd name="connsiteY50" fmla="*/ 791541 h 835576"/>
              <a:gd name="connsiteX51" fmla="*/ 223522 w 531187"/>
              <a:gd name="connsiteY51" fmla="*/ 806275 h 835576"/>
              <a:gd name="connsiteX52" fmla="*/ 203263 w 531187"/>
              <a:gd name="connsiteY52" fmla="*/ 814368 h 835576"/>
              <a:gd name="connsiteX53" fmla="*/ 178874 w 531187"/>
              <a:gd name="connsiteY53" fmla="*/ 816824 h 835576"/>
              <a:gd name="connsiteX54" fmla="*/ 153815 w 531187"/>
              <a:gd name="connsiteY54" fmla="*/ 814591 h 835576"/>
              <a:gd name="connsiteX55" fmla="*/ 133221 w 531187"/>
              <a:gd name="connsiteY55" fmla="*/ 807894 h 835576"/>
              <a:gd name="connsiteX56" fmla="*/ 133221 w 531187"/>
              <a:gd name="connsiteY56" fmla="*/ 772175 h 835576"/>
              <a:gd name="connsiteX57" fmla="*/ 154317 w 531187"/>
              <a:gd name="connsiteY57" fmla="*/ 784398 h 835576"/>
              <a:gd name="connsiteX58" fmla="*/ 177311 w 531187"/>
              <a:gd name="connsiteY58" fmla="*/ 788472 h 835576"/>
              <a:gd name="connsiteX59" fmla="*/ 189199 w 531187"/>
              <a:gd name="connsiteY59" fmla="*/ 787244 h 835576"/>
              <a:gd name="connsiteX60" fmla="*/ 197682 w 531187"/>
              <a:gd name="connsiteY60" fmla="*/ 783840 h 835576"/>
              <a:gd name="connsiteX61" fmla="*/ 202761 w 531187"/>
              <a:gd name="connsiteY61" fmla="*/ 778705 h 835576"/>
              <a:gd name="connsiteX62" fmla="*/ 204435 w 531187"/>
              <a:gd name="connsiteY62" fmla="*/ 772287 h 835576"/>
              <a:gd name="connsiteX63" fmla="*/ 201756 w 531187"/>
              <a:gd name="connsiteY63" fmla="*/ 763915 h 835576"/>
              <a:gd name="connsiteX64" fmla="*/ 194445 w 531187"/>
              <a:gd name="connsiteY64" fmla="*/ 757106 h 835576"/>
              <a:gd name="connsiteX65" fmla="*/ 183450 w 531187"/>
              <a:gd name="connsiteY65" fmla="*/ 751079 h 835576"/>
              <a:gd name="connsiteX66" fmla="*/ 169721 w 531187"/>
              <a:gd name="connsiteY66" fmla="*/ 745163 h 835576"/>
              <a:gd name="connsiteX67" fmla="*/ 141760 w 531187"/>
              <a:gd name="connsiteY67" fmla="*/ 726076 h 835576"/>
              <a:gd name="connsiteX68" fmla="*/ 132551 w 531187"/>
              <a:gd name="connsiteY68" fmla="*/ 698840 h 835576"/>
              <a:gd name="connsiteX69" fmla="*/ 137574 w 531187"/>
              <a:gd name="connsiteY69" fmla="*/ 677353 h 835576"/>
              <a:gd name="connsiteX70" fmla="*/ 151248 w 531187"/>
              <a:gd name="connsiteY70" fmla="*/ 662563 h 835576"/>
              <a:gd name="connsiteX71" fmla="*/ 171284 w 531187"/>
              <a:gd name="connsiteY71" fmla="*/ 654024 h 835576"/>
              <a:gd name="connsiteX72" fmla="*/ 195394 w 531187"/>
              <a:gd name="connsiteY72" fmla="*/ 651290 h 835576"/>
              <a:gd name="connsiteX73" fmla="*/ 0 w 531187"/>
              <a:gd name="connsiteY73" fmla="*/ 0 h 835576"/>
              <a:gd name="connsiteX74" fmla="*/ 248557 w 531187"/>
              <a:gd name="connsiteY74" fmla="*/ 591457 h 835576"/>
              <a:gd name="connsiteX75" fmla="*/ 0 w 531187"/>
              <a:gd name="connsiteY75" fmla="*/ 0 h 835576"/>
              <a:gd name="connsiteX0" fmla="*/ 201067 w 398636"/>
              <a:gd name="connsiteY0" fmla="*/ 31030 h 184286"/>
              <a:gd name="connsiteX1" fmla="*/ 170929 w 398636"/>
              <a:gd name="connsiteY1" fmla="*/ 45318 h 184286"/>
              <a:gd name="connsiteX2" fmla="*/ 159767 w 398636"/>
              <a:gd name="connsiteY2" fmla="*/ 82934 h 184286"/>
              <a:gd name="connsiteX3" fmla="*/ 170929 w 398636"/>
              <a:gd name="connsiteY3" fmla="*/ 120550 h 184286"/>
              <a:gd name="connsiteX4" fmla="*/ 200174 w 398636"/>
              <a:gd name="connsiteY4" fmla="*/ 134391 h 184286"/>
              <a:gd name="connsiteX5" fmla="*/ 229754 w 398636"/>
              <a:gd name="connsiteY5" fmla="*/ 120997 h 184286"/>
              <a:gd name="connsiteX6" fmla="*/ 240692 w 398636"/>
              <a:gd name="connsiteY6" fmla="*/ 83604 h 184286"/>
              <a:gd name="connsiteX7" fmla="*/ 230088 w 398636"/>
              <a:gd name="connsiteY7" fmla="*/ 44871 h 184286"/>
              <a:gd name="connsiteX8" fmla="*/ 201067 w 398636"/>
              <a:gd name="connsiteY8" fmla="*/ 31030 h 184286"/>
              <a:gd name="connsiteX9" fmla="*/ 303312 w 398636"/>
              <a:gd name="connsiteY9" fmla="*/ 2678 h 184286"/>
              <a:gd name="connsiteX10" fmla="*/ 339366 w 398636"/>
              <a:gd name="connsiteY10" fmla="*/ 2678 h 184286"/>
              <a:gd name="connsiteX11" fmla="*/ 339366 w 398636"/>
              <a:gd name="connsiteY11" fmla="*/ 133498 h 184286"/>
              <a:gd name="connsiteX12" fmla="*/ 398636 w 398636"/>
              <a:gd name="connsiteY12" fmla="*/ 133498 h 184286"/>
              <a:gd name="connsiteX13" fmla="*/ 398636 w 398636"/>
              <a:gd name="connsiteY13" fmla="*/ 162743 h 184286"/>
              <a:gd name="connsiteX14" fmla="*/ 303312 w 398636"/>
              <a:gd name="connsiteY14" fmla="*/ 162743 h 184286"/>
              <a:gd name="connsiteX15" fmla="*/ 303312 w 398636"/>
              <a:gd name="connsiteY15" fmla="*/ 2678 h 184286"/>
              <a:gd name="connsiteX16" fmla="*/ 202072 w 398636"/>
              <a:gd name="connsiteY16" fmla="*/ 0 h 184286"/>
              <a:gd name="connsiteX17" fmla="*/ 257436 w 398636"/>
              <a:gd name="connsiteY17" fmla="*/ 22435 h 184286"/>
              <a:gd name="connsiteX18" fmla="*/ 278644 w 398636"/>
              <a:gd name="connsiteY18" fmla="*/ 81595 h 184286"/>
              <a:gd name="connsiteX19" fmla="*/ 256654 w 398636"/>
              <a:gd name="connsiteY19" fmla="*/ 142428 h 184286"/>
              <a:gd name="connsiteX20" fmla="*/ 255203 w 398636"/>
              <a:gd name="connsiteY20" fmla="*/ 143935 h 184286"/>
              <a:gd name="connsiteX21" fmla="*/ 253752 w 398636"/>
              <a:gd name="connsiteY21" fmla="*/ 145330 h 184286"/>
              <a:gd name="connsiteX22" fmla="*/ 294271 w 398636"/>
              <a:gd name="connsiteY22" fmla="*/ 184286 h 184286"/>
              <a:gd name="connsiteX23" fmla="*/ 243818 w 398636"/>
              <a:gd name="connsiteY23" fmla="*/ 184286 h 184286"/>
              <a:gd name="connsiteX24" fmla="*/ 222610 w 398636"/>
              <a:gd name="connsiteY24" fmla="*/ 162743 h 184286"/>
              <a:gd name="connsiteX25" fmla="*/ 199504 w 398636"/>
              <a:gd name="connsiteY25" fmla="*/ 165534 h 184286"/>
              <a:gd name="connsiteX26" fmla="*/ 143470 w 398636"/>
              <a:gd name="connsiteY26" fmla="*/ 143209 h 184286"/>
              <a:gd name="connsiteX27" fmla="*/ 121816 w 398636"/>
              <a:gd name="connsiteY27" fmla="*/ 84832 h 184286"/>
              <a:gd name="connsiteX28" fmla="*/ 143805 w 398636"/>
              <a:gd name="connsiteY28" fmla="*/ 23440 h 184286"/>
              <a:gd name="connsiteX29" fmla="*/ 202072 w 398636"/>
              <a:gd name="connsiteY29" fmla="*/ 0 h 184286"/>
              <a:gd name="connsiteX30" fmla="*/ 62843 w 398636"/>
              <a:gd name="connsiteY30" fmla="*/ 0 h 184286"/>
              <a:gd name="connsiteX31" fmla="*/ 85000 w 398636"/>
              <a:gd name="connsiteY31" fmla="*/ 1506 h 184286"/>
              <a:gd name="connsiteX32" fmla="*/ 102803 w 398636"/>
              <a:gd name="connsiteY32" fmla="*/ 6139 h 184286"/>
              <a:gd name="connsiteX33" fmla="*/ 102803 w 398636"/>
              <a:gd name="connsiteY33" fmla="*/ 39513 h 184286"/>
              <a:gd name="connsiteX34" fmla="*/ 94041 w 398636"/>
              <a:gd name="connsiteY34" fmla="*/ 34602 h 184286"/>
              <a:gd name="connsiteX35" fmla="*/ 84274 w 398636"/>
              <a:gd name="connsiteY35" fmla="*/ 31086 h 184286"/>
              <a:gd name="connsiteX36" fmla="*/ 74284 w 398636"/>
              <a:gd name="connsiteY36" fmla="*/ 29021 h 184286"/>
              <a:gd name="connsiteX37" fmla="*/ 64852 w 398636"/>
              <a:gd name="connsiteY37" fmla="*/ 28351 h 184286"/>
              <a:gd name="connsiteX38" fmla="*/ 53690 w 398636"/>
              <a:gd name="connsiteY38" fmla="*/ 29523 h 184286"/>
              <a:gd name="connsiteX39" fmla="*/ 45207 w 398636"/>
              <a:gd name="connsiteY39" fmla="*/ 32816 h 184286"/>
              <a:gd name="connsiteX40" fmla="*/ 39849 w 398636"/>
              <a:gd name="connsiteY40" fmla="*/ 37895 h 184286"/>
              <a:gd name="connsiteX41" fmla="*/ 37951 w 398636"/>
              <a:gd name="connsiteY41" fmla="*/ 44536 h 184286"/>
              <a:gd name="connsiteX42" fmla="*/ 40072 w 398636"/>
              <a:gd name="connsiteY42" fmla="*/ 51736 h 184286"/>
              <a:gd name="connsiteX43" fmla="*/ 46100 w 398636"/>
              <a:gd name="connsiteY43" fmla="*/ 57763 h 184286"/>
              <a:gd name="connsiteX44" fmla="*/ 55587 w 398636"/>
              <a:gd name="connsiteY44" fmla="*/ 63345 h 184286"/>
              <a:gd name="connsiteX45" fmla="*/ 68201 w 398636"/>
              <a:gd name="connsiteY45" fmla="*/ 68981 h 184286"/>
              <a:gd name="connsiteX46" fmla="*/ 85446 w 398636"/>
              <a:gd name="connsiteY46" fmla="*/ 77520 h 184286"/>
              <a:gd name="connsiteX47" fmla="*/ 98562 w 398636"/>
              <a:gd name="connsiteY47" fmla="*/ 87734 h 184286"/>
              <a:gd name="connsiteX48" fmla="*/ 106933 w 398636"/>
              <a:gd name="connsiteY48" fmla="*/ 100738 h 184286"/>
              <a:gd name="connsiteX49" fmla="*/ 109835 w 398636"/>
              <a:gd name="connsiteY49" fmla="*/ 117760 h 184286"/>
              <a:gd name="connsiteX50" fmla="*/ 104757 w 398636"/>
              <a:gd name="connsiteY50" fmla="*/ 140251 h 184286"/>
              <a:gd name="connsiteX51" fmla="*/ 90971 w 398636"/>
              <a:gd name="connsiteY51" fmla="*/ 154985 h 184286"/>
              <a:gd name="connsiteX52" fmla="*/ 70712 w 398636"/>
              <a:gd name="connsiteY52" fmla="*/ 163078 h 184286"/>
              <a:gd name="connsiteX53" fmla="*/ 46323 w 398636"/>
              <a:gd name="connsiteY53" fmla="*/ 165534 h 184286"/>
              <a:gd name="connsiteX54" fmla="*/ 21264 w 398636"/>
              <a:gd name="connsiteY54" fmla="*/ 163301 h 184286"/>
              <a:gd name="connsiteX55" fmla="*/ 670 w 398636"/>
              <a:gd name="connsiteY55" fmla="*/ 156604 h 184286"/>
              <a:gd name="connsiteX56" fmla="*/ 670 w 398636"/>
              <a:gd name="connsiteY56" fmla="*/ 120885 h 184286"/>
              <a:gd name="connsiteX57" fmla="*/ 21766 w 398636"/>
              <a:gd name="connsiteY57" fmla="*/ 133108 h 184286"/>
              <a:gd name="connsiteX58" fmla="*/ 44760 w 398636"/>
              <a:gd name="connsiteY58" fmla="*/ 137182 h 184286"/>
              <a:gd name="connsiteX59" fmla="*/ 56648 w 398636"/>
              <a:gd name="connsiteY59" fmla="*/ 135954 h 184286"/>
              <a:gd name="connsiteX60" fmla="*/ 65131 w 398636"/>
              <a:gd name="connsiteY60" fmla="*/ 132550 h 184286"/>
              <a:gd name="connsiteX61" fmla="*/ 70210 w 398636"/>
              <a:gd name="connsiteY61" fmla="*/ 127415 h 184286"/>
              <a:gd name="connsiteX62" fmla="*/ 71884 w 398636"/>
              <a:gd name="connsiteY62" fmla="*/ 120997 h 184286"/>
              <a:gd name="connsiteX63" fmla="*/ 69205 w 398636"/>
              <a:gd name="connsiteY63" fmla="*/ 112625 h 184286"/>
              <a:gd name="connsiteX64" fmla="*/ 61894 w 398636"/>
              <a:gd name="connsiteY64" fmla="*/ 105816 h 184286"/>
              <a:gd name="connsiteX65" fmla="*/ 50899 w 398636"/>
              <a:gd name="connsiteY65" fmla="*/ 99789 h 184286"/>
              <a:gd name="connsiteX66" fmla="*/ 37170 w 398636"/>
              <a:gd name="connsiteY66" fmla="*/ 93873 h 184286"/>
              <a:gd name="connsiteX67" fmla="*/ 9209 w 398636"/>
              <a:gd name="connsiteY67" fmla="*/ 74786 h 184286"/>
              <a:gd name="connsiteX68" fmla="*/ 0 w 398636"/>
              <a:gd name="connsiteY68" fmla="*/ 47550 h 184286"/>
              <a:gd name="connsiteX69" fmla="*/ 5023 w 398636"/>
              <a:gd name="connsiteY69" fmla="*/ 26063 h 184286"/>
              <a:gd name="connsiteX70" fmla="*/ 18697 w 398636"/>
              <a:gd name="connsiteY70" fmla="*/ 11273 h 184286"/>
              <a:gd name="connsiteX71" fmla="*/ 38733 w 398636"/>
              <a:gd name="connsiteY71" fmla="*/ 2734 h 184286"/>
              <a:gd name="connsiteX72" fmla="*/ 62843 w 398636"/>
              <a:gd name="connsiteY72" fmla="*/ 0 h 18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8636" h="184286">
                <a:moveTo>
                  <a:pt x="201067" y="31030"/>
                </a:moveTo>
                <a:cubicBezTo>
                  <a:pt x="188491" y="31030"/>
                  <a:pt x="178445" y="35793"/>
                  <a:pt x="170929" y="45318"/>
                </a:cubicBezTo>
                <a:cubicBezTo>
                  <a:pt x="163488" y="54768"/>
                  <a:pt x="159767" y="67307"/>
                  <a:pt x="159767" y="82934"/>
                </a:cubicBezTo>
                <a:cubicBezTo>
                  <a:pt x="159767" y="98784"/>
                  <a:pt x="163488" y="111323"/>
                  <a:pt x="170929" y="120550"/>
                </a:cubicBezTo>
                <a:cubicBezTo>
                  <a:pt x="178371" y="129778"/>
                  <a:pt x="188119" y="134391"/>
                  <a:pt x="200174" y="134391"/>
                </a:cubicBezTo>
                <a:cubicBezTo>
                  <a:pt x="212601" y="134391"/>
                  <a:pt x="222461" y="129927"/>
                  <a:pt x="229754" y="120997"/>
                </a:cubicBezTo>
                <a:cubicBezTo>
                  <a:pt x="237046" y="111918"/>
                  <a:pt x="240692" y="99454"/>
                  <a:pt x="240692" y="83604"/>
                </a:cubicBezTo>
                <a:cubicBezTo>
                  <a:pt x="240692" y="67084"/>
                  <a:pt x="237158" y="54173"/>
                  <a:pt x="230088" y="44871"/>
                </a:cubicBezTo>
                <a:cubicBezTo>
                  <a:pt x="223094" y="35644"/>
                  <a:pt x="213420" y="31030"/>
                  <a:pt x="201067" y="31030"/>
                </a:cubicBezTo>
                <a:close/>
                <a:moveTo>
                  <a:pt x="303312" y="2678"/>
                </a:moveTo>
                <a:lnTo>
                  <a:pt x="339366" y="2678"/>
                </a:lnTo>
                <a:lnTo>
                  <a:pt x="339366" y="133498"/>
                </a:lnTo>
                <a:lnTo>
                  <a:pt x="398636" y="133498"/>
                </a:lnTo>
                <a:lnTo>
                  <a:pt x="398636" y="162743"/>
                </a:lnTo>
                <a:lnTo>
                  <a:pt x="303312" y="162743"/>
                </a:lnTo>
                <a:lnTo>
                  <a:pt x="303312" y="2678"/>
                </a:lnTo>
                <a:close/>
                <a:moveTo>
                  <a:pt x="202072" y="0"/>
                </a:moveTo>
                <a:cubicBezTo>
                  <a:pt x="224917" y="0"/>
                  <a:pt x="243371" y="7478"/>
                  <a:pt x="257436" y="22435"/>
                </a:cubicBezTo>
                <a:cubicBezTo>
                  <a:pt x="271574" y="37318"/>
                  <a:pt x="278644" y="57038"/>
                  <a:pt x="278644" y="81595"/>
                </a:cubicBezTo>
                <a:cubicBezTo>
                  <a:pt x="278644" y="106672"/>
                  <a:pt x="271314" y="126950"/>
                  <a:pt x="256654" y="142428"/>
                </a:cubicBezTo>
                <a:cubicBezTo>
                  <a:pt x="256133" y="142949"/>
                  <a:pt x="255650" y="143451"/>
                  <a:pt x="255203" y="143935"/>
                </a:cubicBezTo>
                <a:cubicBezTo>
                  <a:pt x="254757" y="144419"/>
                  <a:pt x="254273" y="144884"/>
                  <a:pt x="253752" y="145330"/>
                </a:cubicBezTo>
                <a:lnTo>
                  <a:pt x="294271" y="184286"/>
                </a:lnTo>
                <a:lnTo>
                  <a:pt x="243818" y="184286"/>
                </a:lnTo>
                <a:lnTo>
                  <a:pt x="222610" y="162743"/>
                </a:lnTo>
                <a:cubicBezTo>
                  <a:pt x="215615" y="164603"/>
                  <a:pt x="207913" y="165534"/>
                  <a:pt x="199504" y="165534"/>
                </a:cubicBezTo>
                <a:cubicBezTo>
                  <a:pt x="176585" y="165534"/>
                  <a:pt x="157907" y="158092"/>
                  <a:pt x="143470" y="143209"/>
                </a:cubicBezTo>
                <a:cubicBezTo>
                  <a:pt x="129034" y="128178"/>
                  <a:pt x="121816" y="108719"/>
                  <a:pt x="121816" y="84832"/>
                </a:cubicBezTo>
                <a:cubicBezTo>
                  <a:pt x="121816" y="59605"/>
                  <a:pt x="129146" y="39141"/>
                  <a:pt x="143805" y="23440"/>
                </a:cubicBezTo>
                <a:cubicBezTo>
                  <a:pt x="158391" y="7813"/>
                  <a:pt x="177813" y="0"/>
                  <a:pt x="202072" y="0"/>
                </a:cubicBezTo>
                <a:close/>
                <a:moveTo>
                  <a:pt x="62843" y="0"/>
                </a:moveTo>
                <a:cubicBezTo>
                  <a:pt x="71177" y="0"/>
                  <a:pt x="78563" y="502"/>
                  <a:pt x="85000" y="1506"/>
                </a:cubicBezTo>
                <a:cubicBezTo>
                  <a:pt x="91436" y="2511"/>
                  <a:pt x="97371" y="4055"/>
                  <a:pt x="102803" y="6139"/>
                </a:cubicBezTo>
                <a:lnTo>
                  <a:pt x="102803" y="39513"/>
                </a:lnTo>
                <a:cubicBezTo>
                  <a:pt x="100124" y="37653"/>
                  <a:pt x="97204" y="36016"/>
                  <a:pt x="94041" y="34602"/>
                </a:cubicBezTo>
                <a:cubicBezTo>
                  <a:pt x="90878" y="33188"/>
                  <a:pt x="87623" y="32016"/>
                  <a:pt x="84274" y="31086"/>
                </a:cubicBezTo>
                <a:cubicBezTo>
                  <a:pt x="80925" y="30156"/>
                  <a:pt x="77595" y="29468"/>
                  <a:pt x="74284" y="29021"/>
                </a:cubicBezTo>
                <a:cubicBezTo>
                  <a:pt x="70973" y="28575"/>
                  <a:pt x="67829" y="28351"/>
                  <a:pt x="64852" y="28351"/>
                </a:cubicBezTo>
                <a:cubicBezTo>
                  <a:pt x="60759" y="28351"/>
                  <a:pt x="57039" y="28742"/>
                  <a:pt x="53690" y="29523"/>
                </a:cubicBezTo>
                <a:cubicBezTo>
                  <a:pt x="50341" y="30305"/>
                  <a:pt x="47514" y="31402"/>
                  <a:pt x="45207" y="32816"/>
                </a:cubicBezTo>
                <a:cubicBezTo>
                  <a:pt x="42900" y="34230"/>
                  <a:pt x="41114" y="35923"/>
                  <a:pt x="39849" y="37895"/>
                </a:cubicBezTo>
                <a:cubicBezTo>
                  <a:pt x="38584" y="39867"/>
                  <a:pt x="37951" y="42081"/>
                  <a:pt x="37951" y="44536"/>
                </a:cubicBezTo>
                <a:cubicBezTo>
                  <a:pt x="37951" y="47215"/>
                  <a:pt x="38658" y="49615"/>
                  <a:pt x="40072" y="51736"/>
                </a:cubicBezTo>
                <a:cubicBezTo>
                  <a:pt x="41486" y="53857"/>
                  <a:pt x="43495" y="55866"/>
                  <a:pt x="46100" y="57763"/>
                </a:cubicBezTo>
                <a:cubicBezTo>
                  <a:pt x="48704" y="59661"/>
                  <a:pt x="51867" y="61521"/>
                  <a:pt x="55587" y="63345"/>
                </a:cubicBezTo>
                <a:cubicBezTo>
                  <a:pt x="59308" y="65168"/>
                  <a:pt x="63513" y="67047"/>
                  <a:pt x="68201" y="68981"/>
                </a:cubicBezTo>
                <a:cubicBezTo>
                  <a:pt x="74600" y="71660"/>
                  <a:pt x="80349" y="74507"/>
                  <a:pt x="85446" y="77520"/>
                </a:cubicBezTo>
                <a:cubicBezTo>
                  <a:pt x="90543" y="80534"/>
                  <a:pt x="94915" y="83939"/>
                  <a:pt x="98562" y="87734"/>
                </a:cubicBezTo>
                <a:cubicBezTo>
                  <a:pt x="102208" y="91529"/>
                  <a:pt x="104998" y="95863"/>
                  <a:pt x="106933" y="100738"/>
                </a:cubicBezTo>
                <a:cubicBezTo>
                  <a:pt x="108868" y="105612"/>
                  <a:pt x="109835" y="111286"/>
                  <a:pt x="109835" y="117760"/>
                </a:cubicBezTo>
                <a:cubicBezTo>
                  <a:pt x="109835" y="126690"/>
                  <a:pt x="108142" y="134187"/>
                  <a:pt x="104757" y="140251"/>
                </a:cubicBezTo>
                <a:cubicBezTo>
                  <a:pt x="101371" y="146316"/>
                  <a:pt x="96776" y="151228"/>
                  <a:pt x="90971" y="154985"/>
                </a:cubicBezTo>
                <a:cubicBezTo>
                  <a:pt x="85167" y="158743"/>
                  <a:pt x="78414" y="161441"/>
                  <a:pt x="70712" y="163078"/>
                </a:cubicBezTo>
                <a:cubicBezTo>
                  <a:pt x="63010" y="164715"/>
                  <a:pt x="54881" y="165534"/>
                  <a:pt x="46323" y="165534"/>
                </a:cubicBezTo>
                <a:cubicBezTo>
                  <a:pt x="37542" y="165534"/>
                  <a:pt x="29189" y="164790"/>
                  <a:pt x="21264" y="163301"/>
                </a:cubicBezTo>
                <a:cubicBezTo>
                  <a:pt x="13339" y="161813"/>
                  <a:pt x="6474" y="159581"/>
                  <a:pt x="670" y="156604"/>
                </a:cubicBezTo>
                <a:lnTo>
                  <a:pt x="670" y="120885"/>
                </a:lnTo>
                <a:cubicBezTo>
                  <a:pt x="7144" y="126317"/>
                  <a:pt x="14176" y="130392"/>
                  <a:pt x="21766" y="133108"/>
                </a:cubicBezTo>
                <a:cubicBezTo>
                  <a:pt x="29357" y="135824"/>
                  <a:pt x="37021" y="137182"/>
                  <a:pt x="44760" y="137182"/>
                </a:cubicBezTo>
                <a:cubicBezTo>
                  <a:pt x="49299" y="137182"/>
                  <a:pt x="53262" y="136773"/>
                  <a:pt x="56648" y="135954"/>
                </a:cubicBezTo>
                <a:cubicBezTo>
                  <a:pt x="60034" y="135136"/>
                  <a:pt x="62861" y="134001"/>
                  <a:pt x="65131" y="132550"/>
                </a:cubicBezTo>
                <a:cubicBezTo>
                  <a:pt x="67401" y="131099"/>
                  <a:pt x="69094" y="129387"/>
                  <a:pt x="70210" y="127415"/>
                </a:cubicBezTo>
                <a:cubicBezTo>
                  <a:pt x="71326" y="125443"/>
                  <a:pt x="71884" y="123304"/>
                  <a:pt x="71884" y="120997"/>
                </a:cubicBezTo>
                <a:cubicBezTo>
                  <a:pt x="71884" y="117871"/>
                  <a:pt x="70991" y="115081"/>
                  <a:pt x="69205" y="112625"/>
                </a:cubicBezTo>
                <a:cubicBezTo>
                  <a:pt x="67419" y="110170"/>
                  <a:pt x="64982" y="107900"/>
                  <a:pt x="61894" y="105816"/>
                </a:cubicBezTo>
                <a:cubicBezTo>
                  <a:pt x="58806" y="103733"/>
                  <a:pt x="55141" y="101724"/>
                  <a:pt x="50899" y="99789"/>
                </a:cubicBezTo>
                <a:cubicBezTo>
                  <a:pt x="46658" y="97854"/>
                  <a:pt x="42081" y="95882"/>
                  <a:pt x="37170" y="93873"/>
                </a:cubicBezTo>
                <a:cubicBezTo>
                  <a:pt x="24668" y="88664"/>
                  <a:pt x="15348" y="82302"/>
                  <a:pt x="9209" y="74786"/>
                </a:cubicBezTo>
                <a:cubicBezTo>
                  <a:pt x="3070" y="67270"/>
                  <a:pt x="0" y="58191"/>
                  <a:pt x="0" y="47550"/>
                </a:cubicBezTo>
                <a:cubicBezTo>
                  <a:pt x="0" y="39216"/>
                  <a:pt x="1674" y="32053"/>
                  <a:pt x="5023" y="26063"/>
                </a:cubicBezTo>
                <a:cubicBezTo>
                  <a:pt x="8372" y="20073"/>
                  <a:pt x="12930" y="15143"/>
                  <a:pt x="18697" y="11273"/>
                </a:cubicBezTo>
                <a:cubicBezTo>
                  <a:pt x="24464" y="7404"/>
                  <a:pt x="31142" y="4557"/>
                  <a:pt x="38733" y="2734"/>
                </a:cubicBezTo>
                <a:cubicBezTo>
                  <a:pt x="46323" y="911"/>
                  <a:pt x="54360" y="0"/>
                  <a:pt x="62843"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latin typeface="Segoe UI"/>
            </a:endParaRPr>
          </a:p>
        </p:txBody>
      </p:sp>
      <p:sp>
        <p:nvSpPr>
          <p:cNvPr id="88" name="Freeform: Shape 87"/>
          <p:cNvSpPr/>
          <p:nvPr/>
        </p:nvSpPr>
        <p:spPr>
          <a:xfrm>
            <a:off x="2321911" y="4736239"/>
            <a:ext cx="2383222" cy="956663"/>
          </a:xfrm>
          <a:custGeom>
            <a:avLst/>
            <a:gdLst>
              <a:gd name="connsiteX0" fmla="*/ 1630787 w 2383222"/>
              <a:gd name="connsiteY0" fmla="*/ 285598 h 956663"/>
              <a:gd name="connsiteX1" fmla="*/ 1278090 w 2383222"/>
              <a:gd name="connsiteY1" fmla="*/ 11278 h 956663"/>
              <a:gd name="connsiteX2" fmla="*/ 233061 w 2383222"/>
              <a:gd name="connsiteY2" fmla="*/ 102718 h 956663"/>
              <a:gd name="connsiteX3" fmla="*/ 69775 w 2383222"/>
              <a:gd name="connsiteY3" fmla="*/ 553386 h 956663"/>
              <a:gd name="connsiteX4" fmla="*/ 1140930 w 2383222"/>
              <a:gd name="connsiteY4" fmla="*/ 938741 h 956663"/>
              <a:gd name="connsiteX5" fmla="*/ 2310055 w 2383222"/>
              <a:gd name="connsiteY5" fmla="*/ 840769 h 956663"/>
              <a:gd name="connsiteX6" fmla="*/ 2205553 w 2383222"/>
              <a:gd name="connsiteY6" fmla="*/ 383569 h 956663"/>
              <a:gd name="connsiteX7" fmla="*/ 1754884 w 2383222"/>
              <a:gd name="connsiteY7" fmla="*/ 141906 h 956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83222" h="956663">
                <a:moveTo>
                  <a:pt x="1630787" y="285598"/>
                </a:moveTo>
                <a:cubicBezTo>
                  <a:pt x="1570915" y="163678"/>
                  <a:pt x="1511044" y="41758"/>
                  <a:pt x="1278090" y="11278"/>
                </a:cubicBezTo>
                <a:cubicBezTo>
                  <a:pt x="1045136" y="-19202"/>
                  <a:pt x="434447" y="12367"/>
                  <a:pt x="233061" y="102718"/>
                </a:cubicBezTo>
                <a:cubicBezTo>
                  <a:pt x="31675" y="193069"/>
                  <a:pt x="-81536" y="414049"/>
                  <a:pt x="69775" y="553386"/>
                </a:cubicBezTo>
                <a:cubicBezTo>
                  <a:pt x="221086" y="692723"/>
                  <a:pt x="767550" y="890844"/>
                  <a:pt x="1140930" y="938741"/>
                </a:cubicBezTo>
                <a:cubicBezTo>
                  <a:pt x="1514310" y="986638"/>
                  <a:pt x="2132618" y="933298"/>
                  <a:pt x="2310055" y="840769"/>
                </a:cubicBezTo>
                <a:cubicBezTo>
                  <a:pt x="2487492" y="748240"/>
                  <a:pt x="2298081" y="500046"/>
                  <a:pt x="2205553" y="383569"/>
                </a:cubicBezTo>
                <a:cubicBezTo>
                  <a:pt x="2113025" y="267092"/>
                  <a:pt x="1933954" y="204499"/>
                  <a:pt x="1754884" y="141906"/>
                </a:cubicBezTo>
              </a:path>
            </a:pathLst>
          </a:custGeom>
          <a:no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6" name="Picture 2" descr="Image result for cassandra logo">
            <a:extLst>
              <a:ext uri="{FF2B5EF4-FFF2-40B4-BE49-F238E27FC236}">
                <a16:creationId xmlns:a16="http://schemas.microsoft.com/office/drawing/2014/main" id="{EC1E3447-0585-4030-8F8B-D496B453CA0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572637" y="2557088"/>
            <a:ext cx="1202369" cy="8062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96225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1" name="Title 10"/>
          <p:cNvSpPr>
            <a:spLocks noGrp="1"/>
          </p:cNvSpPr>
          <p:nvPr>
            <p:ph type="title"/>
          </p:nvPr>
        </p:nvSpPr>
        <p:spPr>
          <a:xfrm>
            <a:off x="1575988" y="3507298"/>
            <a:ext cx="5896062" cy="917445"/>
          </a:xfrm>
        </p:spPr>
        <p:txBody>
          <a:bodyPr>
            <a:noAutofit/>
          </a:bodyPr>
          <a:lstStyle/>
          <a:p>
            <a:pPr algn="ctr"/>
            <a:r>
              <a:rPr lang="en-US" sz="6470" dirty="0">
                <a:solidFill>
                  <a:schemeClr val="bg1"/>
                </a:solidFill>
                <a:latin typeface="Segoe UI Light" panose="020B0502040204020203" pitchFamily="34" charset="0"/>
                <a:cs typeface="Segoe UI Light" panose="020B0502040204020203" pitchFamily="34" charset="0"/>
              </a:rPr>
              <a:t>Elastic </a:t>
            </a:r>
            <a:r>
              <a:rPr lang="en-US" sz="6470" dirty="0" err="1">
                <a:solidFill>
                  <a:schemeClr val="bg1"/>
                </a:solidFill>
                <a:latin typeface="Segoe UI Light" panose="020B0502040204020203" pitchFamily="34" charset="0"/>
                <a:cs typeface="Segoe UI Light" panose="020B0502040204020203" pitchFamily="34" charset="0"/>
              </a:rPr>
              <a:t>Scale</a:t>
            </a:r>
            <a:r>
              <a:rPr lang="en-US" sz="6470" u="sng" dirty="0" err="1">
                <a:solidFill>
                  <a:schemeClr val="bg1"/>
                </a:solidFill>
                <a:latin typeface="Segoe UI Light" panose="020B0502040204020203" pitchFamily="34" charset="0"/>
                <a:cs typeface="Segoe UI Light" panose="020B0502040204020203" pitchFamily="34" charset="0"/>
              </a:rPr>
              <a:t>out</a:t>
            </a:r>
            <a:br>
              <a:rPr lang="en-US" sz="6470" dirty="0">
                <a:solidFill>
                  <a:schemeClr val="bg1"/>
                </a:solidFill>
                <a:latin typeface="Segoe UI Light" panose="020B0502040204020203" pitchFamily="34" charset="0"/>
                <a:cs typeface="Segoe UI Light" panose="020B0502040204020203" pitchFamily="34" charset="0"/>
              </a:rPr>
            </a:br>
            <a:endParaRPr lang="en-US" sz="3137" dirty="0">
              <a:solidFill>
                <a:schemeClr val="bg1"/>
              </a:solidFill>
              <a:latin typeface="Segoe UI Light" panose="020B0502040204020203" pitchFamily="34" charset="0"/>
              <a:cs typeface="Segoe UI Light" panose="020B0502040204020203" pitchFamily="34" charset="0"/>
            </a:endParaRPr>
          </a:p>
        </p:txBody>
      </p:sp>
      <p:grpSp>
        <p:nvGrpSpPr>
          <p:cNvPr id="5" name="Group 4"/>
          <p:cNvGrpSpPr/>
          <p:nvPr/>
        </p:nvGrpSpPr>
        <p:grpSpPr>
          <a:xfrm>
            <a:off x="6733724" y="2238261"/>
            <a:ext cx="5190697" cy="3684957"/>
            <a:chOff x="3178738" y="1795814"/>
            <a:chExt cx="6549840" cy="4509118"/>
          </a:xfrm>
        </p:grpSpPr>
        <p:sp>
          <p:nvSpPr>
            <p:cNvPr id="67" name="Freeform: Shape 83"/>
            <p:cNvSpPr/>
            <p:nvPr/>
          </p:nvSpPr>
          <p:spPr>
            <a:xfrm>
              <a:off x="3252668" y="2953792"/>
              <a:ext cx="1924508" cy="2822667"/>
            </a:xfrm>
            <a:custGeom>
              <a:avLst/>
              <a:gdLst>
                <a:gd name="connsiteX0" fmla="*/ 0 w 4763589"/>
                <a:gd name="connsiteY0" fmla="*/ 2403565 h 2504203"/>
                <a:gd name="connsiteX1" fmla="*/ 2669177 w 4763589"/>
                <a:gd name="connsiteY1" fmla="*/ 2220685 h 2504203"/>
                <a:gd name="connsiteX2" fmla="*/ 4763589 w 4763589"/>
                <a:gd name="connsiteY2" fmla="*/ 0 h 2504203"/>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14882"/>
                <a:gd name="connsiteX1" fmla="*/ 4763589 w 4763589"/>
                <a:gd name="connsiteY1" fmla="*/ 0 h 2414882"/>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Lst>
              <a:ahLst/>
              <a:cxnLst>
                <a:cxn ang="0">
                  <a:pos x="connsiteX0" y="connsiteY0"/>
                </a:cxn>
                <a:cxn ang="0">
                  <a:pos x="connsiteX1" y="connsiteY1"/>
                </a:cxn>
              </a:cxnLst>
              <a:rect l="l" t="t" r="r" b="b"/>
              <a:pathLst>
                <a:path w="4763589" h="2403565">
                  <a:moveTo>
                    <a:pt x="0" y="2403565"/>
                  </a:moveTo>
                  <a:cubicBezTo>
                    <a:pt x="1612078" y="2269470"/>
                    <a:pt x="3695453" y="1313760"/>
                    <a:pt x="4763589" y="0"/>
                  </a:cubicBezTo>
                </a:path>
              </a:pathLst>
            </a:custGeom>
            <a:noFill/>
            <a:ln w="57150">
              <a:solidFill>
                <a:srgbClr val="B8D432"/>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kern="0">
                <a:solidFill>
                  <a:sysClr val="windowText" lastClr="000000"/>
                </a:solidFill>
                <a:latin typeface="Segoe UI"/>
              </a:endParaRPr>
            </a:p>
          </p:txBody>
        </p:sp>
        <p:sp>
          <p:nvSpPr>
            <p:cNvPr id="68" name="Freeform 1490"/>
            <p:cNvSpPr/>
            <p:nvPr/>
          </p:nvSpPr>
          <p:spPr bwMode="auto">
            <a:xfrm>
              <a:off x="3178738" y="5523248"/>
              <a:ext cx="339370" cy="435261"/>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Oval 7"/>
            <p:cNvSpPr/>
            <p:nvPr/>
          </p:nvSpPr>
          <p:spPr>
            <a:xfrm>
              <a:off x="4640669" y="3468316"/>
              <a:ext cx="503310" cy="165749"/>
            </a:xfrm>
            <a:prstGeom prst="ellipse">
              <a:avLst/>
            </a:prstGeom>
            <a:solidFill>
              <a:srgbClr val="D7ED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kern="0">
                <a:solidFill>
                  <a:sysClr val="windowText" lastClr="000000"/>
                </a:solidFill>
                <a:latin typeface="Segoe UI"/>
              </a:endParaRPr>
            </a:p>
          </p:txBody>
        </p:sp>
        <p:sp>
          <p:nvSpPr>
            <p:cNvPr id="69" name="Freeform 1490"/>
            <p:cNvSpPr/>
            <p:nvPr/>
          </p:nvSpPr>
          <p:spPr bwMode="auto">
            <a:xfrm>
              <a:off x="3996104" y="4694657"/>
              <a:ext cx="437636" cy="56129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 name="Freeform 1490"/>
            <p:cNvSpPr/>
            <p:nvPr/>
          </p:nvSpPr>
          <p:spPr bwMode="auto">
            <a:xfrm>
              <a:off x="4559929" y="3423574"/>
              <a:ext cx="658050" cy="843986"/>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6" name="Freeform: Shape 82"/>
            <p:cNvSpPr/>
            <p:nvPr/>
          </p:nvSpPr>
          <p:spPr>
            <a:xfrm>
              <a:off x="4846637" y="2354262"/>
              <a:ext cx="742685" cy="392958"/>
            </a:xfrm>
            <a:custGeom>
              <a:avLst/>
              <a:gdLst>
                <a:gd name="connsiteX0" fmla="*/ 2109675 w 2202320"/>
                <a:gd name="connsiteY0" fmla="*/ 4552470 h 4684629"/>
                <a:gd name="connsiteX1" fmla="*/ 2055204 w 2202320"/>
                <a:gd name="connsiteY1" fmla="*/ 4595332 h 4684629"/>
                <a:gd name="connsiteX2" fmla="*/ 2110121 w 2202320"/>
                <a:gd name="connsiteY2" fmla="*/ 4637971 h 4684629"/>
                <a:gd name="connsiteX3" fmla="*/ 2139366 w 2202320"/>
                <a:gd name="connsiteY3" fmla="*/ 4625916 h 4684629"/>
                <a:gd name="connsiteX4" fmla="*/ 2150752 w 2202320"/>
                <a:gd name="connsiteY4" fmla="*/ 4595332 h 4684629"/>
                <a:gd name="connsiteX5" fmla="*/ 2139255 w 2202320"/>
                <a:gd name="connsiteY5" fmla="*/ 4564525 h 4684629"/>
                <a:gd name="connsiteX6" fmla="*/ 2109675 w 2202320"/>
                <a:gd name="connsiteY6" fmla="*/ 4552470 h 4684629"/>
                <a:gd name="connsiteX7" fmla="*/ 1953182 w 2202320"/>
                <a:gd name="connsiteY7" fmla="*/ 4550237 h 4684629"/>
                <a:gd name="connsiteX8" fmla="*/ 1923603 w 2202320"/>
                <a:gd name="connsiteY8" fmla="*/ 4562404 h 4684629"/>
                <a:gd name="connsiteX9" fmla="*/ 1912106 w 2202320"/>
                <a:gd name="connsiteY9" fmla="*/ 4593100 h 4684629"/>
                <a:gd name="connsiteX10" fmla="*/ 1923603 w 2202320"/>
                <a:gd name="connsiteY10" fmla="*/ 4623572 h 4684629"/>
                <a:gd name="connsiteX11" fmla="*/ 1953629 w 2202320"/>
                <a:gd name="connsiteY11" fmla="*/ 4635516 h 4684629"/>
                <a:gd name="connsiteX12" fmla="*/ 2008100 w 2202320"/>
                <a:gd name="connsiteY12" fmla="*/ 4593100 h 4684629"/>
                <a:gd name="connsiteX13" fmla="*/ 1953182 w 2202320"/>
                <a:gd name="connsiteY13" fmla="*/ 4550237 h 4684629"/>
                <a:gd name="connsiteX14" fmla="*/ 1946931 w 2202320"/>
                <a:gd name="connsiteY14" fmla="*/ 4504026 h 4684629"/>
                <a:gd name="connsiteX15" fmla="*/ 2031540 w 2202320"/>
                <a:gd name="connsiteY15" fmla="*/ 4560283 h 4684629"/>
                <a:gd name="connsiteX16" fmla="*/ 2116372 w 2202320"/>
                <a:gd name="connsiteY16" fmla="*/ 4506259 h 4684629"/>
                <a:gd name="connsiteX17" fmla="*/ 2178434 w 2202320"/>
                <a:gd name="connsiteY17" fmla="*/ 4531038 h 4684629"/>
                <a:gd name="connsiteX18" fmla="*/ 2202320 w 2202320"/>
                <a:gd name="connsiteY18" fmla="*/ 4595779 h 4684629"/>
                <a:gd name="connsiteX19" fmla="*/ 2177317 w 2202320"/>
                <a:gd name="connsiteY19" fmla="*/ 4658621 h 4684629"/>
                <a:gd name="connsiteX20" fmla="*/ 2115926 w 2202320"/>
                <a:gd name="connsiteY20" fmla="*/ 4684629 h 4684629"/>
                <a:gd name="connsiteX21" fmla="*/ 2031540 w 2202320"/>
                <a:gd name="connsiteY21" fmla="*/ 4628372 h 4684629"/>
                <a:gd name="connsiteX22" fmla="*/ 1946931 w 2202320"/>
                <a:gd name="connsiteY22" fmla="*/ 4682620 h 4684629"/>
                <a:gd name="connsiteX23" fmla="*/ 1884982 w 2202320"/>
                <a:gd name="connsiteY23" fmla="*/ 4657728 h 4684629"/>
                <a:gd name="connsiteX24" fmla="*/ 1860983 w 2202320"/>
                <a:gd name="connsiteY24" fmla="*/ 4592653 h 4684629"/>
                <a:gd name="connsiteX25" fmla="*/ 1885763 w 2202320"/>
                <a:gd name="connsiteY25" fmla="*/ 4529922 h 4684629"/>
                <a:gd name="connsiteX26" fmla="*/ 1946931 w 2202320"/>
                <a:gd name="connsiteY26" fmla="*/ 4504026 h 4684629"/>
                <a:gd name="connsiteX27" fmla="*/ 0 w 2202320"/>
                <a:gd name="connsiteY27" fmla="*/ 0 h 4684629"/>
                <a:gd name="connsiteX28" fmla="*/ 593271 w 2202320"/>
                <a:gd name="connsiteY28" fmla="*/ 1016455 h 4684629"/>
                <a:gd name="connsiteX29" fmla="*/ 0 w 2202320"/>
                <a:gd name="connsiteY29" fmla="*/ 0 h 4684629"/>
                <a:gd name="connsiteX0" fmla="*/ 248692 w 341337"/>
                <a:gd name="connsiteY0" fmla="*/ 48444 h 180603"/>
                <a:gd name="connsiteX1" fmla="*/ 194221 w 341337"/>
                <a:gd name="connsiteY1" fmla="*/ 91306 h 180603"/>
                <a:gd name="connsiteX2" fmla="*/ 249138 w 341337"/>
                <a:gd name="connsiteY2" fmla="*/ 133945 h 180603"/>
                <a:gd name="connsiteX3" fmla="*/ 278383 w 341337"/>
                <a:gd name="connsiteY3" fmla="*/ 121890 h 180603"/>
                <a:gd name="connsiteX4" fmla="*/ 289769 w 341337"/>
                <a:gd name="connsiteY4" fmla="*/ 91306 h 180603"/>
                <a:gd name="connsiteX5" fmla="*/ 278272 w 341337"/>
                <a:gd name="connsiteY5" fmla="*/ 60499 h 180603"/>
                <a:gd name="connsiteX6" fmla="*/ 248692 w 341337"/>
                <a:gd name="connsiteY6" fmla="*/ 48444 h 180603"/>
                <a:gd name="connsiteX7" fmla="*/ 92199 w 341337"/>
                <a:gd name="connsiteY7" fmla="*/ 46211 h 180603"/>
                <a:gd name="connsiteX8" fmla="*/ 62620 w 341337"/>
                <a:gd name="connsiteY8" fmla="*/ 58378 h 180603"/>
                <a:gd name="connsiteX9" fmla="*/ 51123 w 341337"/>
                <a:gd name="connsiteY9" fmla="*/ 89074 h 180603"/>
                <a:gd name="connsiteX10" fmla="*/ 62620 w 341337"/>
                <a:gd name="connsiteY10" fmla="*/ 119546 h 180603"/>
                <a:gd name="connsiteX11" fmla="*/ 92646 w 341337"/>
                <a:gd name="connsiteY11" fmla="*/ 131490 h 180603"/>
                <a:gd name="connsiteX12" fmla="*/ 147117 w 341337"/>
                <a:gd name="connsiteY12" fmla="*/ 89074 h 180603"/>
                <a:gd name="connsiteX13" fmla="*/ 92199 w 341337"/>
                <a:gd name="connsiteY13" fmla="*/ 46211 h 180603"/>
                <a:gd name="connsiteX14" fmla="*/ 85948 w 341337"/>
                <a:gd name="connsiteY14" fmla="*/ 0 h 180603"/>
                <a:gd name="connsiteX15" fmla="*/ 170557 w 341337"/>
                <a:gd name="connsiteY15" fmla="*/ 56257 h 180603"/>
                <a:gd name="connsiteX16" fmla="*/ 255389 w 341337"/>
                <a:gd name="connsiteY16" fmla="*/ 2233 h 180603"/>
                <a:gd name="connsiteX17" fmla="*/ 317451 w 341337"/>
                <a:gd name="connsiteY17" fmla="*/ 27012 h 180603"/>
                <a:gd name="connsiteX18" fmla="*/ 341337 w 341337"/>
                <a:gd name="connsiteY18" fmla="*/ 91753 h 180603"/>
                <a:gd name="connsiteX19" fmla="*/ 316334 w 341337"/>
                <a:gd name="connsiteY19" fmla="*/ 154595 h 180603"/>
                <a:gd name="connsiteX20" fmla="*/ 254943 w 341337"/>
                <a:gd name="connsiteY20" fmla="*/ 180603 h 180603"/>
                <a:gd name="connsiteX21" fmla="*/ 170557 w 341337"/>
                <a:gd name="connsiteY21" fmla="*/ 124346 h 180603"/>
                <a:gd name="connsiteX22" fmla="*/ 85948 w 341337"/>
                <a:gd name="connsiteY22" fmla="*/ 178594 h 180603"/>
                <a:gd name="connsiteX23" fmla="*/ 23999 w 341337"/>
                <a:gd name="connsiteY23" fmla="*/ 153702 h 180603"/>
                <a:gd name="connsiteX24" fmla="*/ 0 w 341337"/>
                <a:gd name="connsiteY24" fmla="*/ 88627 h 180603"/>
                <a:gd name="connsiteX25" fmla="*/ 24780 w 341337"/>
                <a:gd name="connsiteY25" fmla="*/ 25896 h 180603"/>
                <a:gd name="connsiteX26" fmla="*/ 85948 w 341337"/>
                <a:gd name="connsiteY26" fmla="*/ 0 h 180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41337" h="180603">
                  <a:moveTo>
                    <a:pt x="248692" y="48444"/>
                  </a:moveTo>
                  <a:cubicBezTo>
                    <a:pt x="228749" y="48444"/>
                    <a:pt x="210592" y="62731"/>
                    <a:pt x="194221" y="91306"/>
                  </a:cubicBezTo>
                  <a:cubicBezTo>
                    <a:pt x="210294" y="119732"/>
                    <a:pt x="228600" y="133945"/>
                    <a:pt x="249138" y="133945"/>
                  </a:cubicBezTo>
                  <a:cubicBezTo>
                    <a:pt x="261045" y="133945"/>
                    <a:pt x="270793" y="129927"/>
                    <a:pt x="278383" y="121890"/>
                  </a:cubicBezTo>
                  <a:cubicBezTo>
                    <a:pt x="285973" y="113854"/>
                    <a:pt x="289769" y="103659"/>
                    <a:pt x="289769" y="91306"/>
                  </a:cubicBezTo>
                  <a:cubicBezTo>
                    <a:pt x="289769" y="78805"/>
                    <a:pt x="285936" y="68536"/>
                    <a:pt x="278272" y="60499"/>
                  </a:cubicBezTo>
                  <a:cubicBezTo>
                    <a:pt x="270607" y="52462"/>
                    <a:pt x="260747" y="48444"/>
                    <a:pt x="248692" y="48444"/>
                  </a:cubicBezTo>
                  <a:close/>
                  <a:moveTo>
                    <a:pt x="92199" y="46211"/>
                  </a:moveTo>
                  <a:cubicBezTo>
                    <a:pt x="80144" y="46211"/>
                    <a:pt x="70284" y="50267"/>
                    <a:pt x="62620" y="58378"/>
                  </a:cubicBezTo>
                  <a:cubicBezTo>
                    <a:pt x="54955" y="66489"/>
                    <a:pt x="51123" y="76721"/>
                    <a:pt x="51123" y="89074"/>
                  </a:cubicBezTo>
                  <a:cubicBezTo>
                    <a:pt x="51123" y="101427"/>
                    <a:pt x="54955" y="111584"/>
                    <a:pt x="62620" y="119546"/>
                  </a:cubicBezTo>
                  <a:cubicBezTo>
                    <a:pt x="70284" y="127509"/>
                    <a:pt x="80293" y="131490"/>
                    <a:pt x="92646" y="131490"/>
                  </a:cubicBezTo>
                  <a:cubicBezTo>
                    <a:pt x="112886" y="131490"/>
                    <a:pt x="131043" y="117351"/>
                    <a:pt x="147117" y="89074"/>
                  </a:cubicBezTo>
                  <a:cubicBezTo>
                    <a:pt x="131043" y="60499"/>
                    <a:pt x="112738" y="46211"/>
                    <a:pt x="92199" y="46211"/>
                  </a:cubicBezTo>
                  <a:close/>
                  <a:moveTo>
                    <a:pt x="85948" y="0"/>
                  </a:moveTo>
                  <a:cubicBezTo>
                    <a:pt x="121072" y="0"/>
                    <a:pt x="149275" y="18753"/>
                    <a:pt x="170557" y="56257"/>
                  </a:cubicBezTo>
                  <a:cubicBezTo>
                    <a:pt x="193179" y="20241"/>
                    <a:pt x="221456" y="2233"/>
                    <a:pt x="255389" y="2233"/>
                  </a:cubicBezTo>
                  <a:cubicBezTo>
                    <a:pt x="280839" y="2233"/>
                    <a:pt x="301526" y="10493"/>
                    <a:pt x="317451" y="27012"/>
                  </a:cubicBezTo>
                  <a:cubicBezTo>
                    <a:pt x="333375" y="43532"/>
                    <a:pt x="341337" y="65112"/>
                    <a:pt x="341337" y="91753"/>
                  </a:cubicBezTo>
                  <a:cubicBezTo>
                    <a:pt x="341337" y="116309"/>
                    <a:pt x="333003" y="137257"/>
                    <a:pt x="316334" y="154595"/>
                  </a:cubicBezTo>
                  <a:cubicBezTo>
                    <a:pt x="299666" y="171934"/>
                    <a:pt x="279202" y="180603"/>
                    <a:pt x="254943" y="180603"/>
                  </a:cubicBezTo>
                  <a:cubicBezTo>
                    <a:pt x="220563" y="180603"/>
                    <a:pt x="192435" y="161851"/>
                    <a:pt x="170557" y="124346"/>
                  </a:cubicBezTo>
                  <a:cubicBezTo>
                    <a:pt x="147787" y="160511"/>
                    <a:pt x="119584" y="178594"/>
                    <a:pt x="85948" y="178594"/>
                  </a:cubicBezTo>
                  <a:cubicBezTo>
                    <a:pt x="60648" y="178594"/>
                    <a:pt x="39998" y="170297"/>
                    <a:pt x="23999" y="153702"/>
                  </a:cubicBezTo>
                  <a:cubicBezTo>
                    <a:pt x="8000" y="137108"/>
                    <a:pt x="0" y="115416"/>
                    <a:pt x="0" y="88627"/>
                  </a:cubicBezTo>
                  <a:cubicBezTo>
                    <a:pt x="0" y="64071"/>
                    <a:pt x="8260" y="43160"/>
                    <a:pt x="24780" y="25896"/>
                  </a:cubicBezTo>
                  <a:cubicBezTo>
                    <a:pt x="41300" y="8632"/>
                    <a:pt x="61689" y="0"/>
                    <a:pt x="8594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kern="0">
                <a:solidFill>
                  <a:sysClr val="windowText" lastClr="000000"/>
                </a:solidFill>
                <a:latin typeface="Segoe UI"/>
              </a:endParaRPr>
            </a:p>
          </p:txBody>
        </p:sp>
        <p:sp>
          <p:nvSpPr>
            <p:cNvPr id="24" name="Freeform: Shape 83"/>
            <p:cNvSpPr/>
            <p:nvPr/>
          </p:nvSpPr>
          <p:spPr>
            <a:xfrm>
              <a:off x="4105451" y="4235223"/>
              <a:ext cx="4640224" cy="1731983"/>
            </a:xfrm>
            <a:custGeom>
              <a:avLst/>
              <a:gdLst>
                <a:gd name="connsiteX0" fmla="*/ 0 w 4763589"/>
                <a:gd name="connsiteY0" fmla="*/ 2403565 h 2504203"/>
                <a:gd name="connsiteX1" fmla="*/ 2669177 w 4763589"/>
                <a:gd name="connsiteY1" fmla="*/ 2220685 h 2504203"/>
                <a:gd name="connsiteX2" fmla="*/ 4763589 w 4763589"/>
                <a:gd name="connsiteY2" fmla="*/ 0 h 2504203"/>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14882"/>
                <a:gd name="connsiteX1" fmla="*/ 4763589 w 4763589"/>
                <a:gd name="connsiteY1" fmla="*/ 0 h 2414882"/>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 name="connsiteX0" fmla="*/ 0 w 4763589"/>
                <a:gd name="connsiteY0" fmla="*/ 2403565 h 2403565"/>
                <a:gd name="connsiteX1" fmla="*/ 4763589 w 4763589"/>
                <a:gd name="connsiteY1" fmla="*/ 0 h 2403565"/>
              </a:gdLst>
              <a:ahLst/>
              <a:cxnLst>
                <a:cxn ang="0">
                  <a:pos x="connsiteX0" y="connsiteY0"/>
                </a:cxn>
                <a:cxn ang="0">
                  <a:pos x="connsiteX1" y="connsiteY1"/>
                </a:cxn>
              </a:cxnLst>
              <a:rect l="l" t="t" r="r" b="b"/>
              <a:pathLst>
                <a:path w="4763589" h="2403565">
                  <a:moveTo>
                    <a:pt x="0" y="2403565"/>
                  </a:moveTo>
                  <a:cubicBezTo>
                    <a:pt x="1612078" y="2269470"/>
                    <a:pt x="3695453" y="1313760"/>
                    <a:pt x="4763589" y="0"/>
                  </a:cubicBezTo>
                </a:path>
              </a:pathLst>
            </a:custGeom>
            <a:noFill/>
            <a:ln w="57150">
              <a:solidFill>
                <a:srgbClr val="B8D432"/>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kern="0">
                <a:solidFill>
                  <a:sysClr val="windowText" lastClr="000000"/>
                </a:solidFill>
                <a:latin typeface="Segoe UI"/>
              </a:endParaRPr>
            </a:p>
          </p:txBody>
        </p:sp>
        <p:sp>
          <p:nvSpPr>
            <p:cNvPr id="25" name="Freeform: Shape 82"/>
            <p:cNvSpPr/>
            <p:nvPr/>
          </p:nvSpPr>
          <p:spPr>
            <a:xfrm>
              <a:off x="8606751" y="3682971"/>
              <a:ext cx="742685" cy="392958"/>
            </a:xfrm>
            <a:custGeom>
              <a:avLst/>
              <a:gdLst>
                <a:gd name="connsiteX0" fmla="*/ 2109675 w 2202320"/>
                <a:gd name="connsiteY0" fmla="*/ 4552470 h 4684629"/>
                <a:gd name="connsiteX1" fmla="*/ 2055204 w 2202320"/>
                <a:gd name="connsiteY1" fmla="*/ 4595332 h 4684629"/>
                <a:gd name="connsiteX2" fmla="*/ 2110121 w 2202320"/>
                <a:gd name="connsiteY2" fmla="*/ 4637971 h 4684629"/>
                <a:gd name="connsiteX3" fmla="*/ 2139366 w 2202320"/>
                <a:gd name="connsiteY3" fmla="*/ 4625916 h 4684629"/>
                <a:gd name="connsiteX4" fmla="*/ 2150752 w 2202320"/>
                <a:gd name="connsiteY4" fmla="*/ 4595332 h 4684629"/>
                <a:gd name="connsiteX5" fmla="*/ 2139255 w 2202320"/>
                <a:gd name="connsiteY5" fmla="*/ 4564525 h 4684629"/>
                <a:gd name="connsiteX6" fmla="*/ 2109675 w 2202320"/>
                <a:gd name="connsiteY6" fmla="*/ 4552470 h 4684629"/>
                <a:gd name="connsiteX7" fmla="*/ 1953182 w 2202320"/>
                <a:gd name="connsiteY7" fmla="*/ 4550237 h 4684629"/>
                <a:gd name="connsiteX8" fmla="*/ 1923603 w 2202320"/>
                <a:gd name="connsiteY8" fmla="*/ 4562404 h 4684629"/>
                <a:gd name="connsiteX9" fmla="*/ 1912106 w 2202320"/>
                <a:gd name="connsiteY9" fmla="*/ 4593100 h 4684629"/>
                <a:gd name="connsiteX10" fmla="*/ 1923603 w 2202320"/>
                <a:gd name="connsiteY10" fmla="*/ 4623572 h 4684629"/>
                <a:gd name="connsiteX11" fmla="*/ 1953629 w 2202320"/>
                <a:gd name="connsiteY11" fmla="*/ 4635516 h 4684629"/>
                <a:gd name="connsiteX12" fmla="*/ 2008100 w 2202320"/>
                <a:gd name="connsiteY12" fmla="*/ 4593100 h 4684629"/>
                <a:gd name="connsiteX13" fmla="*/ 1953182 w 2202320"/>
                <a:gd name="connsiteY13" fmla="*/ 4550237 h 4684629"/>
                <a:gd name="connsiteX14" fmla="*/ 1946931 w 2202320"/>
                <a:gd name="connsiteY14" fmla="*/ 4504026 h 4684629"/>
                <a:gd name="connsiteX15" fmla="*/ 2031540 w 2202320"/>
                <a:gd name="connsiteY15" fmla="*/ 4560283 h 4684629"/>
                <a:gd name="connsiteX16" fmla="*/ 2116372 w 2202320"/>
                <a:gd name="connsiteY16" fmla="*/ 4506259 h 4684629"/>
                <a:gd name="connsiteX17" fmla="*/ 2178434 w 2202320"/>
                <a:gd name="connsiteY17" fmla="*/ 4531038 h 4684629"/>
                <a:gd name="connsiteX18" fmla="*/ 2202320 w 2202320"/>
                <a:gd name="connsiteY18" fmla="*/ 4595779 h 4684629"/>
                <a:gd name="connsiteX19" fmla="*/ 2177317 w 2202320"/>
                <a:gd name="connsiteY19" fmla="*/ 4658621 h 4684629"/>
                <a:gd name="connsiteX20" fmla="*/ 2115926 w 2202320"/>
                <a:gd name="connsiteY20" fmla="*/ 4684629 h 4684629"/>
                <a:gd name="connsiteX21" fmla="*/ 2031540 w 2202320"/>
                <a:gd name="connsiteY21" fmla="*/ 4628372 h 4684629"/>
                <a:gd name="connsiteX22" fmla="*/ 1946931 w 2202320"/>
                <a:gd name="connsiteY22" fmla="*/ 4682620 h 4684629"/>
                <a:gd name="connsiteX23" fmla="*/ 1884982 w 2202320"/>
                <a:gd name="connsiteY23" fmla="*/ 4657728 h 4684629"/>
                <a:gd name="connsiteX24" fmla="*/ 1860983 w 2202320"/>
                <a:gd name="connsiteY24" fmla="*/ 4592653 h 4684629"/>
                <a:gd name="connsiteX25" fmla="*/ 1885763 w 2202320"/>
                <a:gd name="connsiteY25" fmla="*/ 4529922 h 4684629"/>
                <a:gd name="connsiteX26" fmla="*/ 1946931 w 2202320"/>
                <a:gd name="connsiteY26" fmla="*/ 4504026 h 4684629"/>
                <a:gd name="connsiteX27" fmla="*/ 0 w 2202320"/>
                <a:gd name="connsiteY27" fmla="*/ 0 h 4684629"/>
                <a:gd name="connsiteX28" fmla="*/ 593271 w 2202320"/>
                <a:gd name="connsiteY28" fmla="*/ 1016455 h 4684629"/>
                <a:gd name="connsiteX29" fmla="*/ 0 w 2202320"/>
                <a:gd name="connsiteY29" fmla="*/ 0 h 4684629"/>
                <a:gd name="connsiteX0" fmla="*/ 248692 w 341337"/>
                <a:gd name="connsiteY0" fmla="*/ 48444 h 180603"/>
                <a:gd name="connsiteX1" fmla="*/ 194221 w 341337"/>
                <a:gd name="connsiteY1" fmla="*/ 91306 h 180603"/>
                <a:gd name="connsiteX2" fmla="*/ 249138 w 341337"/>
                <a:gd name="connsiteY2" fmla="*/ 133945 h 180603"/>
                <a:gd name="connsiteX3" fmla="*/ 278383 w 341337"/>
                <a:gd name="connsiteY3" fmla="*/ 121890 h 180603"/>
                <a:gd name="connsiteX4" fmla="*/ 289769 w 341337"/>
                <a:gd name="connsiteY4" fmla="*/ 91306 h 180603"/>
                <a:gd name="connsiteX5" fmla="*/ 278272 w 341337"/>
                <a:gd name="connsiteY5" fmla="*/ 60499 h 180603"/>
                <a:gd name="connsiteX6" fmla="*/ 248692 w 341337"/>
                <a:gd name="connsiteY6" fmla="*/ 48444 h 180603"/>
                <a:gd name="connsiteX7" fmla="*/ 92199 w 341337"/>
                <a:gd name="connsiteY7" fmla="*/ 46211 h 180603"/>
                <a:gd name="connsiteX8" fmla="*/ 62620 w 341337"/>
                <a:gd name="connsiteY8" fmla="*/ 58378 h 180603"/>
                <a:gd name="connsiteX9" fmla="*/ 51123 w 341337"/>
                <a:gd name="connsiteY9" fmla="*/ 89074 h 180603"/>
                <a:gd name="connsiteX10" fmla="*/ 62620 w 341337"/>
                <a:gd name="connsiteY10" fmla="*/ 119546 h 180603"/>
                <a:gd name="connsiteX11" fmla="*/ 92646 w 341337"/>
                <a:gd name="connsiteY11" fmla="*/ 131490 h 180603"/>
                <a:gd name="connsiteX12" fmla="*/ 147117 w 341337"/>
                <a:gd name="connsiteY12" fmla="*/ 89074 h 180603"/>
                <a:gd name="connsiteX13" fmla="*/ 92199 w 341337"/>
                <a:gd name="connsiteY13" fmla="*/ 46211 h 180603"/>
                <a:gd name="connsiteX14" fmla="*/ 85948 w 341337"/>
                <a:gd name="connsiteY14" fmla="*/ 0 h 180603"/>
                <a:gd name="connsiteX15" fmla="*/ 170557 w 341337"/>
                <a:gd name="connsiteY15" fmla="*/ 56257 h 180603"/>
                <a:gd name="connsiteX16" fmla="*/ 255389 w 341337"/>
                <a:gd name="connsiteY16" fmla="*/ 2233 h 180603"/>
                <a:gd name="connsiteX17" fmla="*/ 317451 w 341337"/>
                <a:gd name="connsiteY17" fmla="*/ 27012 h 180603"/>
                <a:gd name="connsiteX18" fmla="*/ 341337 w 341337"/>
                <a:gd name="connsiteY18" fmla="*/ 91753 h 180603"/>
                <a:gd name="connsiteX19" fmla="*/ 316334 w 341337"/>
                <a:gd name="connsiteY19" fmla="*/ 154595 h 180603"/>
                <a:gd name="connsiteX20" fmla="*/ 254943 w 341337"/>
                <a:gd name="connsiteY20" fmla="*/ 180603 h 180603"/>
                <a:gd name="connsiteX21" fmla="*/ 170557 w 341337"/>
                <a:gd name="connsiteY21" fmla="*/ 124346 h 180603"/>
                <a:gd name="connsiteX22" fmla="*/ 85948 w 341337"/>
                <a:gd name="connsiteY22" fmla="*/ 178594 h 180603"/>
                <a:gd name="connsiteX23" fmla="*/ 23999 w 341337"/>
                <a:gd name="connsiteY23" fmla="*/ 153702 h 180603"/>
                <a:gd name="connsiteX24" fmla="*/ 0 w 341337"/>
                <a:gd name="connsiteY24" fmla="*/ 88627 h 180603"/>
                <a:gd name="connsiteX25" fmla="*/ 24780 w 341337"/>
                <a:gd name="connsiteY25" fmla="*/ 25896 h 180603"/>
                <a:gd name="connsiteX26" fmla="*/ 85948 w 341337"/>
                <a:gd name="connsiteY26" fmla="*/ 0 h 180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41337" h="180603">
                  <a:moveTo>
                    <a:pt x="248692" y="48444"/>
                  </a:moveTo>
                  <a:cubicBezTo>
                    <a:pt x="228749" y="48444"/>
                    <a:pt x="210592" y="62731"/>
                    <a:pt x="194221" y="91306"/>
                  </a:cubicBezTo>
                  <a:cubicBezTo>
                    <a:pt x="210294" y="119732"/>
                    <a:pt x="228600" y="133945"/>
                    <a:pt x="249138" y="133945"/>
                  </a:cubicBezTo>
                  <a:cubicBezTo>
                    <a:pt x="261045" y="133945"/>
                    <a:pt x="270793" y="129927"/>
                    <a:pt x="278383" y="121890"/>
                  </a:cubicBezTo>
                  <a:cubicBezTo>
                    <a:pt x="285973" y="113854"/>
                    <a:pt x="289769" y="103659"/>
                    <a:pt x="289769" y="91306"/>
                  </a:cubicBezTo>
                  <a:cubicBezTo>
                    <a:pt x="289769" y="78805"/>
                    <a:pt x="285936" y="68536"/>
                    <a:pt x="278272" y="60499"/>
                  </a:cubicBezTo>
                  <a:cubicBezTo>
                    <a:pt x="270607" y="52462"/>
                    <a:pt x="260747" y="48444"/>
                    <a:pt x="248692" y="48444"/>
                  </a:cubicBezTo>
                  <a:close/>
                  <a:moveTo>
                    <a:pt x="92199" y="46211"/>
                  </a:moveTo>
                  <a:cubicBezTo>
                    <a:pt x="80144" y="46211"/>
                    <a:pt x="70284" y="50267"/>
                    <a:pt x="62620" y="58378"/>
                  </a:cubicBezTo>
                  <a:cubicBezTo>
                    <a:pt x="54955" y="66489"/>
                    <a:pt x="51123" y="76721"/>
                    <a:pt x="51123" y="89074"/>
                  </a:cubicBezTo>
                  <a:cubicBezTo>
                    <a:pt x="51123" y="101427"/>
                    <a:pt x="54955" y="111584"/>
                    <a:pt x="62620" y="119546"/>
                  </a:cubicBezTo>
                  <a:cubicBezTo>
                    <a:pt x="70284" y="127509"/>
                    <a:pt x="80293" y="131490"/>
                    <a:pt x="92646" y="131490"/>
                  </a:cubicBezTo>
                  <a:cubicBezTo>
                    <a:pt x="112886" y="131490"/>
                    <a:pt x="131043" y="117351"/>
                    <a:pt x="147117" y="89074"/>
                  </a:cubicBezTo>
                  <a:cubicBezTo>
                    <a:pt x="131043" y="60499"/>
                    <a:pt x="112738" y="46211"/>
                    <a:pt x="92199" y="46211"/>
                  </a:cubicBezTo>
                  <a:close/>
                  <a:moveTo>
                    <a:pt x="85948" y="0"/>
                  </a:moveTo>
                  <a:cubicBezTo>
                    <a:pt x="121072" y="0"/>
                    <a:pt x="149275" y="18753"/>
                    <a:pt x="170557" y="56257"/>
                  </a:cubicBezTo>
                  <a:cubicBezTo>
                    <a:pt x="193179" y="20241"/>
                    <a:pt x="221456" y="2233"/>
                    <a:pt x="255389" y="2233"/>
                  </a:cubicBezTo>
                  <a:cubicBezTo>
                    <a:pt x="280839" y="2233"/>
                    <a:pt x="301526" y="10493"/>
                    <a:pt x="317451" y="27012"/>
                  </a:cubicBezTo>
                  <a:cubicBezTo>
                    <a:pt x="333375" y="43532"/>
                    <a:pt x="341337" y="65112"/>
                    <a:pt x="341337" y="91753"/>
                  </a:cubicBezTo>
                  <a:cubicBezTo>
                    <a:pt x="341337" y="116309"/>
                    <a:pt x="333003" y="137257"/>
                    <a:pt x="316334" y="154595"/>
                  </a:cubicBezTo>
                  <a:cubicBezTo>
                    <a:pt x="299666" y="171934"/>
                    <a:pt x="279202" y="180603"/>
                    <a:pt x="254943" y="180603"/>
                  </a:cubicBezTo>
                  <a:cubicBezTo>
                    <a:pt x="220563" y="180603"/>
                    <a:pt x="192435" y="161851"/>
                    <a:pt x="170557" y="124346"/>
                  </a:cubicBezTo>
                  <a:cubicBezTo>
                    <a:pt x="147787" y="160511"/>
                    <a:pt x="119584" y="178594"/>
                    <a:pt x="85948" y="178594"/>
                  </a:cubicBezTo>
                  <a:cubicBezTo>
                    <a:pt x="60648" y="178594"/>
                    <a:pt x="39998" y="170297"/>
                    <a:pt x="23999" y="153702"/>
                  </a:cubicBezTo>
                  <a:cubicBezTo>
                    <a:pt x="8000" y="137108"/>
                    <a:pt x="0" y="115416"/>
                    <a:pt x="0" y="88627"/>
                  </a:cubicBezTo>
                  <a:cubicBezTo>
                    <a:pt x="0" y="64071"/>
                    <a:pt x="8260" y="43160"/>
                    <a:pt x="24780" y="25896"/>
                  </a:cubicBezTo>
                  <a:cubicBezTo>
                    <a:pt x="41300" y="8632"/>
                    <a:pt x="61689" y="0"/>
                    <a:pt x="8594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kern="0">
                <a:solidFill>
                  <a:sysClr val="windowText" lastClr="000000"/>
                </a:solidFill>
                <a:latin typeface="Segoe UI"/>
              </a:endParaRPr>
            </a:p>
          </p:txBody>
        </p:sp>
        <p:grpSp>
          <p:nvGrpSpPr>
            <p:cNvPr id="10" name="Group 9"/>
            <p:cNvGrpSpPr/>
            <p:nvPr/>
          </p:nvGrpSpPr>
          <p:grpSpPr>
            <a:xfrm>
              <a:off x="3769802" y="5744123"/>
              <a:ext cx="560809" cy="560809"/>
              <a:chOff x="7716623" y="4879378"/>
              <a:chExt cx="914400" cy="914400"/>
            </a:xfrm>
          </p:grpSpPr>
          <p:sp>
            <p:nvSpPr>
              <p:cNvPr id="9" name="Rectangle 8"/>
              <p:cNvSpPr/>
              <p:nvPr/>
            </p:nvSpPr>
            <p:spPr>
              <a:xfrm>
                <a:off x="7815943" y="5032829"/>
                <a:ext cx="707571" cy="489858"/>
              </a:xfrm>
              <a:prstGeom prst="rect">
                <a:avLst/>
              </a:prstGeom>
              <a:solidFill>
                <a:srgbClr val="D7ED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kern="0">
                  <a:solidFill>
                    <a:sysClr val="windowText" lastClr="000000"/>
                  </a:solidFill>
                  <a:latin typeface="Segoe UI"/>
                </a:endParaRPr>
              </a:p>
            </p:txBody>
          </p:sp>
          <p:grpSp>
            <p:nvGrpSpPr>
              <p:cNvPr id="7" name="Group 6"/>
              <p:cNvGrpSpPr/>
              <p:nvPr/>
            </p:nvGrpSpPr>
            <p:grpSpPr>
              <a:xfrm>
                <a:off x="7716623" y="4879378"/>
                <a:ext cx="914400" cy="914400"/>
                <a:chOff x="7522013" y="6858000"/>
                <a:chExt cx="914400" cy="914400"/>
              </a:xfrm>
            </p:grpSpPr>
            <p:pic>
              <p:nvPicPr>
                <p:cNvPr id="4" name="Graphic 3" descr="Monito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22013" y="6858000"/>
                  <a:ext cx="914400" cy="914400"/>
                </a:xfrm>
                <a:prstGeom prst="rect">
                  <a:avLst/>
                </a:prstGeom>
              </p:spPr>
            </p:pic>
            <p:pic>
              <p:nvPicPr>
                <p:cNvPr id="6" name="Graphic 5" descr="Repeat"/>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800543" y="7078472"/>
                  <a:ext cx="352541" cy="352541"/>
                </a:xfrm>
                <a:prstGeom prst="rect">
                  <a:avLst/>
                </a:prstGeom>
              </p:spPr>
            </p:pic>
          </p:grpSp>
        </p:grpSp>
        <p:grpSp>
          <p:nvGrpSpPr>
            <p:cNvPr id="34" name="Group 33"/>
            <p:cNvGrpSpPr/>
            <p:nvPr/>
          </p:nvGrpSpPr>
          <p:grpSpPr>
            <a:xfrm>
              <a:off x="5644586" y="5317407"/>
              <a:ext cx="770747" cy="770747"/>
              <a:chOff x="7716623" y="4879378"/>
              <a:chExt cx="914400" cy="914400"/>
            </a:xfrm>
          </p:grpSpPr>
          <p:sp>
            <p:nvSpPr>
              <p:cNvPr id="35" name="Rectangle 34"/>
              <p:cNvSpPr/>
              <p:nvPr/>
            </p:nvSpPr>
            <p:spPr>
              <a:xfrm>
                <a:off x="7815943" y="5032829"/>
                <a:ext cx="707571" cy="489858"/>
              </a:xfrm>
              <a:prstGeom prst="rect">
                <a:avLst/>
              </a:prstGeom>
              <a:solidFill>
                <a:srgbClr val="D7ED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kern="0">
                  <a:solidFill>
                    <a:sysClr val="windowText" lastClr="000000"/>
                  </a:solidFill>
                  <a:latin typeface="Segoe UI"/>
                </a:endParaRPr>
              </a:p>
            </p:txBody>
          </p:sp>
          <p:grpSp>
            <p:nvGrpSpPr>
              <p:cNvPr id="36" name="Group 35"/>
              <p:cNvGrpSpPr/>
              <p:nvPr/>
            </p:nvGrpSpPr>
            <p:grpSpPr>
              <a:xfrm>
                <a:off x="7716623" y="4879378"/>
                <a:ext cx="914400" cy="914400"/>
                <a:chOff x="7522013" y="6858000"/>
                <a:chExt cx="914400" cy="914400"/>
              </a:xfrm>
            </p:grpSpPr>
            <p:pic>
              <p:nvPicPr>
                <p:cNvPr id="37" name="Graphic 36" descr="Monito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22013" y="6858000"/>
                  <a:ext cx="914400" cy="914400"/>
                </a:xfrm>
                <a:prstGeom prst="rect">
                  <a:avLst/>
                </a:prstGeom>
              </p:spPr>
            </p:pic>
            <p:pic>
              <p:nvPicPr>
                <p:cNvPr id="38" name="Graphic 37" descr="Repeat"/>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800543" y="7078472"/>
                  <a:ext cx="352541" cy="352541"/>
                </a:xfrm>
                <a:prstGeom prst="rect">
                  <a:avLst/>
                </a:prstGeom>
              </p:spPr>
            </p:pic>
          </p:grpSp>
        </p:grpSp>
        <p:grpSp>
          <p:nvGrpSpPr>
            <p:cNvPr id="39" name="Group 38"/>
            <p:cNvGrpSpPr/>
            <p:nvPr/>
          </p:nvGrpSpPr>
          <p:grpSpPr>
            <a:xfrm>
              <a:off x="7437572" y="4297829"/>
              <a:ext cx="1033788" cy="1033788"/>
              <a:chOff x="7716623" y="4879378"/>
              <a:chExt cx="914400" cy="914400"/>
            </a:xfrm>
          </p:grpSpPr>
          <p:sp>
            <p:nvSpPr>
              <p:cNvPr id="40" name="Rectangle 39"/>
              <p:cNvSpPr/>
              <p:nvPr/>
            </p:nvSpPr>
            <p:spPr>
              <a:xfrm>
                <a:off x="7815943" y="5032829"/>
                <a:ext cx="707571" cy="489858"/>
              </a:xfrm>
              <a:prstGeom prst="rect">
                <a:avLst/>
              </a:prstGeom>
              <a:solidFill>
                <a:srgbClr val="D7ED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kern="0">
                  <a:solidFill>
                    <a:sysClr val="windowText" lastClr="000000"/>
                  </a:solidFill>
                  <a:latin typeface="Segoe UI"/>
                </a:endParaRPr>
              </a:p>
            </p:txBody>
          </p:sp>
          <p:grpSp>
            <p:nvGrpSpPr>
              <p:cNvPr id="41" name="Group 40"/>
              <p:cNvGrpSpPr/>
              <p:nvPr/>
            </p:nvGrpSpPr>
            <p:grpSpPr>
              <a:xfrm>
                <a:off x="7716623" y="4879378"/>
                <a:ext cx="914400" cy="914400"/>
                <a:chOff x="7522013" y="6858000"/>
                <a:chExt cx="914400" cy="914400"/>
              </a:xfrm>
            </p:grpSpPr>
            <p:pic>
              <p:nvPicPr>
                <p:cNvPr id="42" name="Graphic 41" descr="Monito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22013" y="6858000"/>
                  <a:ext cx="914400" cy="914400"/>
                </a:xfrm>
                <a:prstGeom prst="rect">
                  <a:avLst/>
                </a:prstGeom>
              </p:spPr>
            </p:pic>
            <p:pic>
              <p:nvPicPr>
                <p:cNvPr id="43" name="Graphic 42" descr="Repeat"/>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800543" y="7078472"/>
                  <a:ext cx="352541" cy="352541"/>
                </a:xfrm>
                <a:prstGeom prst="rect">
                  <a:avLst/>
                </a:prstGeom>
              </p:spPr>
            </p:pic>
          </p:grpSp>
        </p:grpSp>
        <p:sp>
          <p:nvSpPr>
            <p:cNvPr id="2" name="TextBox 1"/>
            <p:cNvSpPr txBox="1"/>
            <p:nvPr/>
          </p:nvSpPr>
          <p:spPr>
            <a:xfrm>
              <a:off x="4360029" y="1795814"/>
              <a:ext cx="2024517" cy="629884"/>
            </a:xfrm>
            <a:prstGeom prst="rect">
              <a:avLst/>
            </a:prstGeom>
            <a:noFill/>
          </p:spPr>
          <p:txBody>
            <a:bodyPr wrap="none" rtlCol="0">
              <a:spAutoFit/>
            </a:bodyPr>
            <a:lstStyle/>
            <a:p>
              <a:pPr defTabSz="914367"/>
              <a:r>
                <a:rPr lang="en-US" sz="2745" dirty="0">
                  <a:solidFill>
                    <a:srgbClr val="FFFFFF"/>
                  </a:solidFill>
                  <a:latin typeface="Segoe UI Light" panose="020B0502040204020203" pitchFamily="34" charset="0"/>
                  <a:cs typeface="Segoe UI Light" panose="020B0502040204020203" pitchFamily="34" charset="0"/>
                </a:rPr>
                <a:t>STORAGE</a:t>
              </a:r>
            </a:p>
          </p:txBody>
        </p:sp>
        <p:sp>
          <p:nvSpPr>
            <p:cNvPr id="27" name="TextBox 26"/>
            <p:cNvSpPr txBox="1"/>
            <p:nvPr/>
          </p:nvSpPr>
          <p:spPr>
            <a:xfrm>
              <a:off x="6742614" y="2951805"/>
              <a:ext cx="2985964" cy="629884"/>
            </a:xfrm>
            <a:prstGeom prst="rect">
              <a:avLst/>
            </a:prstGeom>
            <a:noFill/>
          </p:spPr>
          <p:txBody>
            <a:bodyPr wrap="none" rtlCol="0">
              <a:spAutoFit/>
            </a:bodyPr>
            <a:lstStyle/>
            <a:p>
              <a:pPr defTabSz="914367"/>
              <a:r>
                <a:rPr lang="en-US" sz="2745" dirty="0">
                  <a:solidFill>
                    <a:srgbClr val="FFFFFF"/>
                  </a:solidFill>
                  <a:latin typeface="Segoe UI Light" panose="020B0502040204020203" pitchFamily="34" charset="0"/>
                  <a:cs typeface="Segoe UI Light" panose="020B0502040204020203" pitchFamily="34" charset="0"/>
                </a:rPr>
                <a:t>THROUGHPUT</a:t>
              </a:r>
            </a:p>
          </p:txBody>
        </p:sp>
      </p:grpSp>
    </p:spTree>
    <p:extLst>
      <p:ext uri="{BB962C8B-B14F-4D97-AF65-F5344CB8AC3E}">
        <p14:creationId xmlns:p14="http://schemas.microsoft.com/office/powerpoint/2010/main" val="278323472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365760" y="1644923"/>
            <a:ext cx="7701507" cy="4727448"/>
          </a:xfrm>
          <a:prstGeom prst="rect">
            <a:avLst/>
          </a:prstGeom>
          <a:noFill/>
        </p:spPr>
        <p:txBody>
          <a:bodyPr wrap="square" lIns="182880" tIns="146304" rIns="182880" bIns="146304" rtlCol="0">
            <a:spAutoFit/>
          </a:bodyPr>
          <a:lstStyle/>
          <a:p>
            <a:pPr marL="342900" indent="-342900" defTabSz="896386">
              <a:buFont typeface="Arial" panose="020B0604020202020204" pitchFamily="34" charset="0"/>
              <a:buChar char="•"/>
            </a:pPr>
            <a:r>
              <a:rPr lang="en-US" sz="2400" kern="0" dirty="0">
                <a:solidFill>
                  <a:schemeClr val="bg1"/>
                </a:solidFill>
                <a:latin typeface="Segoe Light"/>
              </a:rPr>
              <a:t>System designed to independently scale storage and throughput</a:t>
            </a:r>
          </a:p>
          <a:p>
            <a:pPr marL="342900" indent="-342900" defTabSz="896386">
              <a:buFont typeface="Arial" panose="020B0604020202020204" pitchFamily="34" charset="0"/>
              <a:buChar char="•"/>
            </a:pPr>
            <a:endParaRPr lang="en-US" sz="2400" kern="0" dirty="0">
              <a:solidFill>
                <a:schemeClr val="bg1"/>
              </a:solidFill>
              <a:latin typeface="Segoe Light"/>
            </a:endParaRPr>
          </a:p>
          <a:p>
            <a:pPr marL="342900" lvl="1" indent="-342900" defTabSz="896386">
              <a:buFont typeface="Arial" panose="020B0604020202020204" pitchFamily="34" charset="0"/>
              <a:buChar char="•"/>
            </a:pPr>
            <a:r>
              <a:rPr lang="en-US" sz="2400" kern="0" dirty="0">
                <a:solidFill>
                  <a:schemeClr val="bg1"/>
                </a:solidFill>
                <a:latin typeface="Segoe Light"/>
              </a:rPr>
              <a:t>Transparent server side partition management and routing</a:t>
            </a:r>
          </a:p>
          <a:p>
            <a:pPr marL="342900" indent="-342900" defTabSz="896386">
              <a:buFont typeface="Arial" panose="020B0604020202020204" pitchFamily="34" charset="0"/>
              <a:buChar char="•"/>
            </a:pPr>
            <a:endParaRPr lang="en-US" sz="2400" kern="0" dirty="0">
              <a:solidFill>
                <a:schemeClr val="bg1"/>
              </a:solidFill>
              <a:latin typeface="Segoe Light"/>
            </a:endParaRPr>
          </a:p>
          <a:p>
            <a:pPr marL="342900" lvl="1" indent="-342900" defTabSz="896386">
              <a:buFont typeface="Arial" panose="020B0604020202020204" pitchFamily="34" charset="0"/>
              <a:buChar char="•"/>
            </a:pPr>
            <a:r>
              <a:rPr lang="en-US" sz="2400" kern="0" dirty="0">
                <a:solidFill>
                  <a:schemeClr val="bg1"/>
                </a:solidFill>
                <a:latin typeface="Segoe Light"/>
              </a:rPr>
              <a:t>Automatically indexed SSD storage</a:t>
            </a:r>
          </a:p>
          <a:p>
            <a:pPr marL="342900" lvl="1" indent="-342900" defTabSz="896386">
              <a:buFont typeface="Arial" panose="020B0604020202020204" pitchFamily="34" charset="0"/>
              <a:buChar char="•"/>
            </a:pPr>
            <a:endParaRPr lang="en-US" sz="2400" kern="0" dirty="0">
              <a:solidFill>
                <a:schemeClr val="bg1"/>
              </a:solidFill>
              <a:latin typeface="Segoe Light"/>
            </a:endParaRPr>
          </a:p>
          <a:p>
            <a:pPr marL="342900" lvl="1" indent="-342900" defTabSz="896386">
              <a:buFont typeface="Arial" panose="020B0604020202020204" pitchFamily="34" charset="0"/>
              <a:buChar char="•"/>
            </a:pPr>
            <a:r>
              <a:rPr lang="en-US" sz="2400" kern="0" dirty="0">
                <a:solidFill>
                  <a:schemeClr val="bg1"/>
                </a:solidFill>
                <a:latin typeface="Segoe Light"/>
              </a:rPr>
              <a:t>Automatic global distribution of data across any number of Azure regions</a:t>
            </a:r>
          </a:p>
          <a:p>
            <a:pPr marL="342900" lvl="1" indent="-342900" defTabSz="896386">
              <a:buFont typeface="Arial" panose="020B0604020202020204" pitchFamily="34" charset="0"/>
              <a:buChar char="•"/>
            </a:pPr>
            <a:endParaRPr lang="en-US" sz="2400" kern="0" dirty="0">
              <a:solidFill>
                <a:schemeClr val="bg1"/>
              </a:solidFill>
              <a:latin typeface="Segoe Light"/>
            </a:endParaRPr>
          </a:p>
          <a:p>
            <a:pPr marL="342900" lvl="1" indent="-342900" defTabSz="896386">
              <a:buFont typeface="Arial" panose="020B0604020202020204" pitchFamily="34" charset="0"/>
              <a:buChar char="•"/>
            </a:pPr>
            <a:r>
              <a:rPr lang="en-US" sz="2400" kern="0" dirty="0">
                <a:solidFill>
                  <a:schemeClr val="bg1"/>
                </a:solidFill>
                <a:latin typeface="Segoe Light"/>
              </a:rPr>
              <a:t>Optionally evict old data using built-in support for TTL</a:t>
            </a:r>
          </a:p>
        </p:txBody>
      </p:sp>
      <p:sp>
        <p:nvSpPr>
          <p:cNvPr id="9" name="Title 5"/>
          <p:cNvSpPr txBox="1">
            <a:spLocks/>
          </p:cNvSpPr>
          <p:nvPr/>
        </p:nvSpPr>
        <p:spPr>
          <a:xfrm>
            <a:off x="365760" y="233682"/>
            <a:ext cx="10934963" cy="1084912"/>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6500" spc="-300" dirty="0">
                <a:solidFill>
                  <a:schemeClr val="bg1"/>
                </a:solidFill>
                <a:latin typeface="Segoe Light"/>
                <a:ea typeface="Segoe UI Black" panose="020B0A02040204020203" pitchFamily="34" charset="0"/>
                <a:cs typeface="Segoe UI Black" panose="020B0A02040204020203" pitchFamily="34" charset="0"/>
              </a:rPr>
              <a:t>Elastically scalable storage</a:t>
            </a:r>
          </a:p>
        </p:txBody>
      </p:sp>
      <p:grpSp>
        <p:nvGrpSpPr>
          <p:cNvPr id="5" name="Group 4"/>
          <p:cNvGrpSpPr/>
          <p:nvPr/>
        </p:nvGrpSpPr>
        <p:grpSpPr>
          <a:xfrm>
            <a:off x="7326075" y="2312963"/>
            <a:ext cx="4487146" cy="3499595"/>
            <a:chOff x="2568404" y="2223105"/>
            <a:chExt cx="6171960" cy="4484518"/>
          </a:xfrm>
        </p:grpSpPr>
        <p:sp>
          <p:nvSpPr>
            <p:cNvPr id="6" name="Rectangle 5"/>
            <p:cNvSpPr/>
            <p:nvPr/>
          </p:nvSpPr>
          <p:spPr>
            <a:xfrm>
              <a:off x="3062270" y="2683443"/>
              <a:ext cx="4718784" cy="3471581"/>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7" name="Rectangle 6"/>
            <p:cNvSpPr/>
            <p:nvPr/>
          </p:nvSpPr>
          <p:spPr>
            <a:xfrm>
              <a:off x="3055990" y="4072432"/>
              <a:ext cx="2590800" cy="2082592"/>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8" name="Rectangle 7"/>
            <p:cNvSpPr/>
            <p:nvPr/>
          </p:nvSpPr>
          <p:spPr>
            <a:xfrm>
              <a:off x="3055990" y="5088225"/>
              <a:ext cx="1295400" cy="106680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cxnSp>
          <p:nvCxnSpPr>
            <p:cNvPr id="11" name="Straight Arrow Connector 10"/>
            <p:cNvCxnSpPr/>
            <p:nvPr/>
          </p:nvCxnSpPr>
          <p:spPr>
            <a:xfrm flipV="1">
              <a:off x="3055990" y="2223105"/>
              <a:ext cx="0" cy="3931920"/>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3055990" y="6155025"/>
              <a:ext cx="5486400" cy="0"/>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14" name="Freeform: Shape 13"/>
            <p:cNvSpPr/>
            <p:nvPr/>
          </p:nvSpPr>
          <p:spPr>
            <a:xfrm>
              <a:off x="3523475" y="2237006"/>
              <a:ext cx="4717774" cy="3670853"/>
            </a:xfrm>
            <a:custGeom>
              <a:avLst/>
              <a:gdLst>
                <a:gd name="connsiteX0" fmla="*/ 0 w 4717774"/>
                <a:gd name="connsiteY0" fmla="*/ 3670853 h 3670853"/>
                <a:gd name="connsiteX1" fmla="*/ 304800 w 4717774"/>
                <a:gd name="connsiteY1" fmla="*/ 3611218 h 3670853"/>
                <a:gd name="connsiteX2" fmla="*/ 834887 w 4717774"/>
                <a:gd name="connsiteY2" fmla="*/ 3366053 h 3670853"/>
                <a:gd name="connsiteX3" fmla="*/ 1550504 w 4717774"/>
                <a:gd name="connsiteY3" fmla="*/ 2802835 h 3670853"/>
                <a:gd name="connsiteX4" fmla="*/ 2716695 w 4717774"/>
                <a:gd name="connsiteY4" fmla="*/ 1802296 h 3670853"/>
                <a:gd name="connsiteX5" fmla="*/ 4717774 w 4717774"/>
                <a:gd name="connsiteY5" fmla="*/ 0 h 3670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17774" h="3670853">
                  <a:moveTo>
                    <a:pt x="0" y="3670853"/>
                  </a:moveTo>
                  <a:cubicBezTo>
                    <a:pt x="82826" y="3666435"/>
                    <a:pt x="165652" y="3662018"/>
                    <a:pt x="304800" y="3611218"/>
                  </a:cubicBezTo>
                  <a:cubicBezTo>
                    <a:pt x="443948" y="3560418"/>
                    <a:pt x="627270" y="3500783"/>
                    <a:pt x="834887" y="3366053"/>
                  </a:cubicBezTo>
                  <a:cubicBezTo>
                    <a:pt x="1042504" y="3231322"/>
                    <a:pt x="1236869" y="3063461"/>
                    <a:pt x="1550504" y="2802835"/>
                  </a:cubicBezTo>
                  <a:cubicBezTo>
                    <a:pt x="1864139" y="2542209"/>
                    <a:pt x="2188817" y="2269435"/>
                    <a:pt x="2716695" y="1802296"/>
                  </a:cubicBezTo>
                  <a:cubicBezTo>
                    <a:pt x="3244573" y="1335157"/>
                    <a:pt x="3981173" y="667578"/>
                    <a:pt x="4717774" y="0"/>
                  </a:cubicBezTo>
                </a:path>
              </a:pathLst>
            </a:custGeom>
            <a:noFill/>
            <a:ln w="57150">
              <a:solidFill>
                <a:srgbClr val="0070C0"/>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15" name="TextBox 14"/>
            <p:cNvSpPr txBox="1"/>
            <p:nvPr/>
          </p:nvSpPr>
          <p:spPr>
            <a:xfrm>
              <a:off x="2777120" y="5034397"/>
              <a:ext cx="1817553" cy="579966"/>
            </a:xfrm>
            <a:prstGeom prst="rect">
              <a:avLst/>
            </a:prstGeom>
            <a:noFill/>
          </p:spPr>
          <p:txBody>
            <a:bodyPr wrap="square" rtlCol="0">
              <a:spAutoFit/>
            </a:bodyPr>
            <a:lstStyle/>
            <a:p>
              <a:pPr algn="ctr" defTabSz="914367"/>
              <a:r>
                <a:rPr lang="en-US" sz="1176" b="1" dirty="0">
                  <a:solidFill>
                    <a:srgbClr val="000000"/>
                  </a:solidFill>
                  <a:latin typeface="Segoe UI"/>
                </a:rPr>
                <a:t>Transaction </a:t>
              </a:r>
            </a:p>
            <a:p>
              <a:pPr algn="ctr" defTabSz="914367"/>
              <a:r>
                <a:rPr lang="en-US" sz="1176" b="1" dirty="0">
                  <a:solidFill>
                    <a:srgbClr val="000000"/>
                  </a:solidFill>
                  <a:latin typeface="Segoe UI"/>
                </a:rPr>
                <a:t>data</a:t>
              </a:r>
            </a:p>
          </p:txBody>
        </p:sp>
        <p:sp>
          <p:nvSpPr>
            <p:cNvPr id="16" name="TextBox 15"/>
            <p:cNvSpPr txBox="1"/>
            <p:nvPr/>
          </p:nvSpPr>
          <p:spPr>
            <a:xfrm>
              <a:off x="3158919" y="4126894"/>
              <a:ext cx="2582305" cy="347980"/>
            </a:xfrm>
            <a:prstGeom prst="rect">
              <a:avLst/>
            </a:prstGeom>
            <a:noFill/>
          </p:spPr>
          <p:txBody>
            <a:bodyPr wrap="square" rtlCol="0">
              <a:spAutoFit/>
            </a:bodyPr>
            <a:lstStyle/>
            <a:p>
              <a:pPr defTabSz="914367"/>
              <a:r>
                <a:rPr lang="en-US" sz="1176" b="1" dirty="0">
                  <a:solidFill>
                    <a:srgbClr val="000000"/>
                  </a:solidFill>
                  <a:latin typeface="Segoe UI"/>
                </a:rPr>
                <a:t>Web/content data</a:t>
              </a:r>
            </a:p>
          </p:txBody>
        </p:sp>
        <p:sp>
          <p:nvSpPr>
            <p:cNvPr id="17" name="TextBox 16"/>
            <p:cNvSpPr txBox="1"/>
            <p:nvPr/>
          </p:nvSpPr>
          <p:spPr>
            <a:xfrm>
              <a:off x="3139704" y="2750352"/>
              <a:ext cx="3878380" cy="347980"/>
            </a:xfrm>
            <a:prstGeom prst="rect">
              <a:avLst/>
            </a:prstGeom>
            <a:noFill/>
          </p:spPr>
          <p:txBody>
            <a:bodyPr wrap="square" rtlCol="0">
              <a:spAutoFit/>
            </a:bodyPr>
            <a:lstStyle/>
            <a:p>
              <a:pPr defTabSz="914367"/>
              <a:r>
                <a:rPr lang="en-US" sz="1176" b="1" dirty="0">
                  <a:solidFill>
                    <a:srgbClr val="000000"/>
                  </a:solidFill>
                  <a:latin typeface="Segoe UI"/>
                </a:rPr>
                <a:t>Social data/Machine-generated data</a:t>
              </a:r>
            </a:p>
          </p:txBody>
        </p:sp>
        <p:sp>
          <p:nvSpPr>
            <p:cNvPr id="18" name="TextBox 17"/>
            <p:cNvSpPr txBox="1"/>
            <p:nvPr/>
          </p:nvSpPr>
          <p:spPr>
            <a:xfrm>
              <a:off x="3177416" y="5576914"/>
              <a:ext cx="564894" cy="388892"/>
            </a:xfrm>
            <a:prstGeom prst="rect">
              <a:avLst/>
            </a:prstGeom>
            <a:noFill/>
          </p:spPr>
          <p:txBody>
            <a:bodyPr wrap="none" rtlCol="0">
              <a:spAutoFit/>
            </a:bodyPr>
            <a:lstStyle/>
            <a:p>
              <a:pPr defTabSz="914367"/>
              <a:r>
                <a:rPr lang="en-US" sz="1372" b="1" dirty="0">
                  <a:solidFill>
                    <a:srgbClr val="000000"/>
                  </a:solidFill>
                  <a:latin typeface="Segoe UI"/>
                </a:rPr>
                <a:t>KB</a:t>
              </a:r>
            </a:p>
          </p:txBody>
        </p:sp>
        <p:sp>
          <p:nvSpPr>
            <p:cNvPr id="19" name="TextBox 18"/>
            <p:cNvSpPr txBox="1"/>
            <p:nvPr/>
          </p:nvSpPr>
          <p:spPr>
            <a:xfrm rot="19736087">
              <a:off x="4011483" y="5187990"/>
              <a:ext cx="639860" cy="388892"/>
            </a:xfrm>
            <a:prstGeom prst="rect">
              <a:avLst/>
            </a:prstGeom>
            <a:noFill/>
          </p:spPr>
          <p:txBody>
            <a:bodyPr wrap="none" rtlCol="0">
              <a:spAutoFit/>
            </a:bodyPr>
            <a:lstStyle/>
            <a:p>
              <a:pPr defTabSz="914367"/>
              <a:r>
                <a:rPr lang="en-US" sz="1372" b="1" dirty="0">
                  <a:solidFill>
                    <a:srgbClr val="000000"/>
                  </a:solidFill>
                  <a:latin typeface="Segoe UI"/>
                </a:rPr>
                <a:t>MB</a:t>
              </a:r>
            </a:p>
          </p:txBody>
        </p:sp>
        <p:sp>
          <p:nvSpPr>
            <p:cNvPr id="20" name="TextBox 19"/>
            <p:cNvSpPr txBox="1"/>
            <p:nvPr/>
          </p:nvSpPr>
          <p:spPr>
            <a:xfrm rot="19736087">
              <a:off x="4868645" y="4464793"/>
              <a:ext cx="580327" cy="388892"/>
            </a:xfrm>
            <a:prstGeom prst="rect">
              <a:avLst/>
            </a:prstGeom>
            <a:noFill/>
          </p:spPr>
          <p:txBody>
            <a:bodyPr wrap="none" rtlCol="0">
              <a:spAutoFit/>
            </a:bodyPr>
            <a:lstStyle/>
            <a:p>
              <a:pPr defTabSz="914367"/>
              <a:r>
                <a:rPr lang="en-US" sz="1372" b="1" dirty="0">
                  <a:solidFill>
                    <a:srgbClr val="000000"/>
                  </a:solidFill>
                  <a:latin typeface="Segoe UI"/>
                </a:rPr>
                <a:t>GB</a:t>
              </a:r>
            </a:p>
          </p:txBody>
        </p:sp>
        <p:sp>
          <p:nvSpPr>
            <p:cNvPr id="21" name="TextBox 20"/>
            <p:cNvSpPr txBox="1"/>
            <p:nvPr/>
          </p:nvSpPr>
          <p:spPr>
            <a:xfrm rot="19147365">
              <a:off x="5956772" y="3602159"/>
              <a:ext cx="549459" cy="388892"/>
            </a:xfrm>
            <a:prstGeom prst="rect">
              <a:avLst/>
            </a:prstGeom>
            <a:noFill/>
          </p:spPr>
          <p:txBody>
            <a:bodyPr wrap="none" rtlCol="0">
              <a:spAutoFit/>
            </a:bodyPr>
            <a:lstStyle/>
            <a:p>
              <a:pPr defTabSz="914367"/>
              <a:r>
                <a:rPr lang="en-US" sz="1372" b="1" dirty="0">
                  <a:solidFill>
                    <a:srgbClr val="000000"/>
                  </a:solidFill>
                  <a:latin typeface="Segoe UI"/>
                </a:rPr>
                <a:t>TB</a:t>
              </a:r>
            </a:p>
          </p:txBody>
        </p:sp>
        <p:sp>
          <p:nvSpPr>
            <p:cNvPr id="22" name="TextBox 21"/>
            <p:cNvSpPr txBox="1"/>
            <p:nvPr/>
          </p:nvSpPr>
          <p:spPr>
            <a:xfrm rot="19147365">
              <a:off x="6916669" y="2732398"/>
              <a:ext cx="556075" cy="388892"/>
            </a:xfrm>
            <a:prstGeom prst="rect">
              <a:avLst/>
            </a:prstGeom>
            <a:noFill/>
          </p:spPr>
          <p:txBody>
            <a:bodyPr wrap="none" rtlCol="0">
              <a:spAutoFit/>
            </a:bodyPr>
            <a:lstStyle/>
            <a:p>
              <a:pPr defTabSz="914367"/>
              <a:r>
                <a:rPr lang="en-US" sz="1372" b="1" dirty="0">
                  <a:solidFill>
                    <a:srgbClr val="000000"/>
                  </a:solidFill>
                  <a:latin typeface="Segoe UI"/>
                </a:rPr>
                <a:t>PB</a:t>
              </a:r>
            </a:p>
          </p:txBody>
        </p:sp>
        <p:cxnSp>
          <p:nvCxnSpPr>
            <p:cNvPr id="23" name="Straight Arrow Connector 22"/>
            <p:cNvCxnSpPr/>
            <p:nvPr/>
          </p:nvCxnSpPr>
          <p:spPr>
            <a:xfrm flipV="1">
              <a:off x="8542390" y="2926844"/>
              <a:ext cx="0" cy="1393633"/>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4670414" y="6318731"/>
              <a:ext cx="2776399" cy="388892"/>
            </a:xfrm>
            <a:prstGeom prst="rect">
              <a:avLst/>
            </a:prstGeom>
            <a:noFill/>
          </p:spPr>
          <p:txBody>
            <a:bodyPr wrap="none" rtlCol="0">
              <a:spAutoFit/>
            </a:bodyPr>
            <a:lstStyle/>
            <a:p>
              <a:pPr defTabSz="914367"/>
              <a:r>
                <a:rPr lang="en-US" sz="1372" dirty="0">
                  <a:solidFill>
                    <a:srgbClr val="FFFFFF"/>
                  </a:solidFill>
                  <a:latin typeface="Segoe UI"/>
                </a:rPr>
                <a:t>Data variety/complexity</a:t>
              </a:r>
            </a:p>
          </p:txBody>
        </p:sp>
        <p:sp>
          <p:nvSpPr>
            <p:cNvPr id="25" name="TextBox 24"/>
            <p:cNvSpPr txBox="1"/>
            <p:nvPr/>
          </p:nvSpPr>
          <p:spPr>
            <a:xfrm rot="16200000">
              <a:off x="2028834" y="4111761"/>
              <a:ext cx="1496572" cy="417431"/>
            </a:xfrm>
            <a:prstGeom prst="rect">
              <a:avLst/>
            </a:prstGeom>
            <a:noFill/>
          </p:spPr>
          <p:txBody>
            <a:bodyPr wrap="none" rtlCol="0">
              <a:spAutoFit/>
            </a:bodyPr>
            <a:lstStyle/>
            <a:p>
              <a:pPr defTabSz="914367"/>
              <a:r>
                <a:rPr lang="en-US" sz="1372" dirty="0">
                  <a:solidFill>
                    <a:srgbClr val="FFFFFF"/>
                  </a:solidFill>
                  <a:latin typeface="Segoe UI"/>
                </a:rPr>
                <a:t>Data volume</a:t>
              </a:r>
            </a:p>
          </p:txBody>
        </p:sp>
        <p:sp>
          <p:nvSpPr>
            <p:cNvPr id="26" name="TextBox 25"/>
            <p:cNvSpPr txBox="1"/>
            <p:nvPr/>
          </p:nvSpPr>
          <p:spPr>
            <a:xfrm rot="16200000">
              <a:off x="7800164" y="4662715"/>
              <a:ext cx="1462967" cy="417431"/>
            </a:xfrm>
            <a:prstGeom prst="rect">
              <a:avLst/>
            </a:prstGeom>
            <a:noFill/>
          </p:spPr>
          <p:txBody>
            <a:bodyPr wrap="none" rtlCol="0">
              <a:spAutoFit/>
            </a:bodyPr>
            <a:lstStyle/>
            <a:p>
              <a:pPr defTabSz="914367"/>
              <a:r>
                <a:rPr lang="en-US" sz="1372" dirty="0">
                  <a:solidFill>
                    <a:srgbClr val="FFFFFF"/>
                  </a:solidFill>
                  <a:latin typeface="Segoe UI"/>
                </a:rPr>
                <a:t>Log 10 scale</a:t>
              </a:r>
            </a:p>
          </p:txBody>
        </p:sp>
        <p:sp>
          <p:nvSpPr>
            <p:cNvPr id="27" name="TextBox 26"/>
            <p:cNvSpPr txBox="1"/>
            <p:nvPr/>
          </p:nvSpPr>
          <p:spPr>
            <a:xfrm rot="16200000">
              <a:off x="8352731" y="5699143"/>
              <a:ext cx="357834" cy="417431"/>
            </a:xfrm>
            <a:prstGeom prst="rect">
              <a:avLst/>
            </a:prstGeom>
            <a:noFill/>
          </p:spPr>
          <p:txBody>
            <a:bodyPr wrap="none" rtlCol="0">
              <a:spAutoFit/>
            </a:bodyPr>
            <a:lstStyle/>
            <a:p>
              <a:pPr defTabSz="914367"/>
              <a:r>
                <a:rPr lang="en-US" sz="1372" dirty="0">
                  <a:solidFill>
                    <a:srgbClr val="FFFFFF"/>
                  </a:solidFill>
                  <a:latin typeface="Segoe UI"/>
                </a:rPr>
                <a:t>1</a:t>
              </a:r>
            </a:p>
          </p:txBody>
        </p:sp>
        <p:sp>
          <p:nvSpPr>
            <p:cNvPr id="28" name="TextBox 27"/>
            <p:cNvSpPr txBox="1"/>
            <p:nvPr/>
          </p:nvSpPr>
          <p:spPr>
            <a:xfrm rot="16200000">
              <a:off x="8292135" y="2474727"/>
              <a:ext cx="479028" cy="417431"/>
            </a:xfrm>
            <a:prstGeom prst="rect">
              <a:avLst/>
            </a:prstGeom>
            <a:noFill/>
          </p:spPr>
          <p:txBody>
            <a:bodyPr wrap="none" rtlCol="0">
              <a:spAutoFit/>
            </a:bodyPr>
            <a:lstStyle/>
            <a:p>
              <a:pPr defTabSz="914367"/>
              <a:r>
                <a:rPr lang="en-US" sz="1372" dirty="0">
                  <a:solidFill>
                    <a:srgbClr val="FFFFFF"/>
                  </a:solidFill>
                  <a:latin typeface="Segoe UI"/>
                </a:rPr>
                <a:t>15</a:t>
              </a:r>
            </a:p>
          </p:txBody>
        </p:sp>
      </p:grpSp>
    </p:spTree>
    <p:extLst>
      <p:ext uri="{BB962C8B-B14F-4D97-AF65-F5344CB8AC3E}">
        <p14:creationId xmlns:p14="http://schemas.microsoft.com/office/powerpoint/2010/main" val="348667882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9511" y="5415951"/>
            <a:ext cx="3771900" cy="899666"/>
          </a:xfrm>
        </p:spPr>
        <p:txBody>
          <a:bodyPr/>
          <a:lstStyle/>
          <a:p>
            <a:r>
              <a:rPr lang="en-US" dirty="0"/>
              <a:t>System Design</a:t>
            </a:r>
          </a:p>
        </p:txBody>
      </p:sp>
    </p:spTree>
    <p:extLst>
      <p:ext uri="{BB962C8B-B14F-4D97-AF65-F5344CB8AC3E}">
        <p14:creationId xmlns:p14="http://schemas.microsoft.com/office/powerpoint/2010/main" val="12171330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53" name="Flowchart: Document 152"/>
          <p:cNvSpPr/>
          <p:nvPr/>
        </p:nvSpPr>
        <p:spPr>
          <a:xfrm>
            <a:off x="2629875" y="3526414"/>
            <a:ext cx="1276775" cy="410356"/>
          </a:xfrm>
          <a:prstGeom prst="flowChartDocument">
            <a:avLst/>
          </a:prstGeom>
          <a:solidFill>
            <a:schemeClr val="accent5">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r>
              <a:rPr lang="en-US">
                <a:solidFill>
                  <a:srgbClr val="FFFF00"/>
                </a:solidFill>
                <a:latin typeface="Segoe UI Light" panose="020B0502040204020203" pitchFamily="34" charset="0"/>
                <a:cs typeface="Segoe UI Light" panose="020B0502040204020203" pitchFamily="34" charset="0"/>
                <a:sym typeface="Gill Sans" charset="0"/>
              </a:rPr>
              <a:t>Container</a:t>
            </a:r>
          </a:p>
        </p:txBody>
      </p:sp>
      <p:sp>
        <p:nvSpPr>
          <p:cNvPr id="154" name="Flowchart: Document 153"/>
          <p:cNvSpPr/>
          <p:nvPr/>
        </p:nvSpPr>
        <p:spPr>
          <a:xfrm>
            <a:off x="2706075" y="3602614"/>
            <a:ext cx="1276775" cy="410356"/>
          </a:xfrm>
          <a:prstGeom prst="flowChartDocument">
            <a:avLst/>
          </a:prstGeom>
          <a:solidFill>
            <a:schemeClr val="accent5">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r>
              <a:rPr lang="en-US" dirty="0">
                <a:solidFill>
                  <a:srgbClr val="FFFF00"/>
                </a:solidFill>
                <a:latin typeface="Segoe UI Light" panose="020B0502040204020203" pitchFamily="34" charset="0"/>
                <a:cs typeface="Segoe UI Light" panose="020B0502040204020203" pitchFamily="34" charset="0"/>
                <a:sym typeface="Gill Sans" charset="0"/>
              </a:rPr>
              <a:t>Container</a:t>
            </a:r>
          </a:p>
        </p:txBody>
      </p:sp>
      <p:sp>
        <p:nvSpPr>
          <p:cNvPr id="155" name="Flowchart: Document 154"/>
          <p:cNvSpPr/>
          <p:nvPr/>
        </p:nvSpPr>
        <p:spPr>
          <a:xfrm>
            <a:off x="2782275" y="3678814"/>
            <a:ext cx="1276775" cy="410356"/>
          </a:xfrm>
          <a:prstGeom prst="flowChartDocument">
            <a:avLst/>
          </a:prstGeom>
          <a:solidFill>
            <a:schemeClr val="accent5">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r>
              <a:rPr lang="en-US">
                <a:solidFill>
                  <a:srgbClr val="FFFF00"/>
                </a:solidFill>
                <a:latin typeface="Segoe UI Light" panose="020B0502040204020203" pitchFamily="34" charset="0"/>
                <a:cs typeface="Segoe UI Light" panose="020B0502040204020203" pitchFamily="34" charset="0"/>
                <a:sym typeface="Gill Sans" charset="0"/>
              </a:rPr>
              <a:t>Container</a:t>
            </a:r>
          </a:p>
        </p:txBody>
      </p:sp>
      <p:sp>
        <p:nvSpPr>
          <p:cNvPr id="156" name="Flowchart: Document 155"/>
          <p:cNvSpPr/>
          <p:nvPr/>
        </p:nvSpPr>
        <p:spPr>
          <a:xfrm>
            <a:off x="2858475" y="3755014"/>
            <a:ext cx="1276775" cy="410356"/>
          </a:xfrm>
          <a:prstGeom prst="flowChartDocument">
            <a:avLst/>
          </a:prstGeom>
          <a:solidFill>
            <a:schemeClr val="accent5">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r>
              <a:rPr lang="en-US" dirty="0">
                <a:solidFill>
                  <a:srgbClr val="FFFF00"/>
                </a:solidFill>
                <a:latin typeface="Segoe UI Light" panose="020B0502040204020203" pitchFamily="34" charset="0"/>
                <a:cs typeface="Segoe UI Light" panose="020B0502040204020203" pitchFamily="34" charset="0"/>
                <a:sym typeface="Gill Sans" charset="0"/>
              </a:rPr>
              <a:t>Containers</a:t>
            </a:r>
          </a:p>
        </p:txBody>
      </p:sp>
      <p:sp>
        <p:nvSpPr>
          <p:cNvPr id="157" name="TextBox 156"/>
          <p:cNvSpPr txBox="1"/>
          <p:nvPr/>
        </p:nvSpPr>
        <p:spPr>
          <a:xfrm>
            <a:off x="2906460" y="2749238"/>
            <a:ext cx="1315291" cy="369332"/>
          </a:xfrm>
          <a:prstGeom prst="rect">
            <a:avLst/>
          </a:prstGeom>
          <a:noFill/>
          <a:ln>
            <a:noFill/>
          </a:ln>
        </p:spPr>
        <p:txBody>
          <a:bodyPr wrap="square" rtlCol="0">
            <a:spAutoFit/>
          </a:bodyPr>
          <a:lstStyle/>
          <a:p>
            <a:pPr algn="ctr" defTabSz="457200" fontAlgn="base">
              <a:spcBef>
                <a:spcPct val="0"/>
              </a:spcBef>
              <a:spcAft>
                <a:spcPct val="0"/>
              </a:spcAft>
              <a:defRPr/>
            </a:pPr>
            <a:r>
              <a:rPr lang="en-US">
                <a:solidFill>
                  <a:prstClr val="white"/>
                </a:solidFill>
                <a:latin typeface="Segoe UI Light" panose="020B0502040204020203" pitchFamily="34" charset="0"/>
                <a:ea typeface="Heiti SC Light" charset="-122"/>
                <a:cs typeface="Segoe UI Light" panose="020B0502040204020203" pitchFamily="34" charset="0"/>
                <a:sym typeface="Gill Sans" charset="0"/>
              </a:rPr>
              <a:t>Collections</a:t>
            </a:r>
          </a:p>
        </p:txBody>
      </p:sp>
      <p:sp>
        <p:nvSpPr>
          <p:cNvPr id="158" name="TextBox 157"/>
          <p:cNvSpPr txBox="1"/>
          <p:nvPr/>
        </p:nvSpPr>
        <p:spPr>
          <a:xfrm>
            <a:off x="1783850" y="2776679"/>
            <a:ext cx="992440" cy="369332"/>
          </a:xfrm>
          <a:prstGeom prst="rect">
            <a:avLst/>
          </a:prstGeom>
          <a:noFill/>
          <a:ln>
            <a:noFill/>
          </a:ln>
        </p:spPr>
        <p:txBody>
          <a:bodyPr wrap="square" rtlCol="0">
            <a:spAutoFit/>
          </a:bodyPr>
          <a:lstStyle/>
          <a:p>
            <a:pPr algn="ctr" defTabSz="457200" fontAlgn="base">
              <a:spcBef>
                <a:spcPct val="0"/>
              </a:spcBef>
              <a:spcAft>
                <a:spcPct val="0"/>
              </a:spcAft>
              <a:defRPr/>
            </a:pPr>
            <a:r>
              <a:rPr lang="en-US">
                <a:solidFill>
                  <a:prstClr val="white"/>
                </a:solidFill>
                <a:latin typeface="Segoe UI Light" panose="020B0502040204020203" pitchFamily="34" charset="0"/>
                <a:ea typeface="Heiti SC Light" charset="-122"/>
                <a:cs typeface="Segoe UI Light" panose="020B0502040204020203" pitchFamily="34" charset="0"/>
                <a:sym typeface="Gill Sans" charset="0"/>
              </a:rPr>
              <a:t>Tables</a:t>
            </a:r>
            <a:endParaRPr lang="en-US" sz="2200">
              <a:solidFill>
                <a:prstClr val="white"/>
              </a:solidFill>
              <a:latin typeface="Segoe UI Light" panose="020B0502040204020203" pitchFamily="34" charset="0"/>
              <a:ea typeface="Heiti SC Light" charset="-122"/>
              <a:cs typeface="Segoe UI Light" panose="020B0502040204020203" pitchFamily="34" charset="0"/>
              <a:sym typeface="Gill Sans" charset="0"/>
            </a:endParaRPr>
          </a:p>
        </p:txBody>
      </p:sp>
      <p:sp>
        <p:nvSpPr>
          <p:cNvPr id="159" name="TextBox 158"/>
          <p:cNvSpPr txBox="1"/>
          <p:nvPr/>
        </p:nvSpPr>
        <p:spPr>
          <a:xfrm>
            <a:off x="4258303" y="2760113"/>
            <a:ext cx="900548" cy="369332"/>
          </a:xfrm>
          <a:prstGeom prst="rect">
            <a:avLst/>
          </a:prstGeom>
          <a:noFill/>
          <a:ln>
            <a:noFill/>
          </a:ln>
        </p:spPr>
        <p:txBody>
          <a:bodyPr wrap="square" rtlCol="0">
            <a:spAutoFit/>
          </a:bodyPr>
          <a:lstStyle/>
          <a:p>
            <a:pPr algn="ctr" defTabSz="457200" fontAlgn="base">
              <a:spcBef>
                <a:spcPct val="0"/>
              </a:spcBef>
              <a:spcAft>
                <a:spcPct val="0"/>
              </a:spcAft>
              <a:defRPr/>
            </a:pPr>
            <a:r>
              <a:rPr lang="en-US">
                <a:solidFill>
                  <a:prstClr val="white"/>
                </a:solidFill>
                <a:latin typeface="Segoe UI Light" panose="020B0502040204020203" pitchFamily="34" charset="0"/>
                <a:ea typeface="Heiti SC Light" charset="-122"/>
                <a:cs typeface="Segoe UI Light" panose="020B0502040204020203" pitchFamily="34" charset="0"/>
                <a:sym typeface="Gill Sans" charset="0"/>
              </a:rPr>
              <a:t>Graphs</a:t>
            </a:r>
          </a:p>
        </p:txBody>
      </p:sp>
      <p:grpSp>
        <p:nvGrpSpPr>
          <p:cNvPr id="160" name="Group 159"/>
          <p:cNvGrpSpPr/>
          <p:nvPr/>
        </p:nvGrpSpPr>
        <p:grpSpPr>
          <a:xfrm>
            <a:off x="3228499" y="2127179"/>
            <a:ext cx="495957" cy="602954"/>
            <a:chOff x="1345497" y="1522604"/>
            <a:chExt cx="596149" cy="700081"/>
          </a:xfrm>
          <a:solidFill>
            <a:schemeClr val="accent2">
              <a:lumMod val="60000"/>
              <a:lumOff val="40000"/>
            </a:schemeClr>
          </a:solidFill>
        </p:grpSpPr>
        <p:pic>
          <p:nvPicPr>
            <p:cNvPr id="162" name="Picture 161"/>
            <p:cNvPicPr>
              <a:picLocks noChangeAspect="1"/>
            </p:cNvPicPr>
            <p:nvPr/>
          </p:nvPicPr>
          <p:blipFill>
            <a:blip r:embed="rId4"/>
            <a:stretch>
              <a:fillRect/>
            </a:stretch>
          </p:blipFill>
          <p:spPr>
            <a:xfrm>
              <a:off x="1345497" y="1522604"/>
              <a:ext cx="459514" cy="560559"/>
            </a:xfrm>
            <a:prstGeom prst="rect">
              <a:avLst/>
            </a:prstGeom>
            <a:grpFill/>
          </p:spPr>
        </p:pic>
        <p:pic>
          <p:nvPicPr>
            <p:cNvPr id="163" name="Picture 162"/>
            <p:cNvPicPr>
              <a:picLocks noChangeAspect="1"/>
            </p:cNvPicPr>
            <p:nvPr/>
          </p:nvPicPr>
          <p:blipFill>
            <a:blip r:embed="rId4"/>
            <a:stretch>
              <a:fillRect/>
            </a:stretch>
          </p:blipFill>
          <p:spPr>
            <a:xfrm>
              <a:off x="1408559" y="1593808"/>
              <a:ext cx="459514" cy="560559"/>
            </a:xfrm>
            <a:prstGeom prst="rect">
              <a:avLst/>
            </a:prstGeom>
            <a:grpFill/>
          </p:spPr>
        </p:pic>
        <p:pic>
          <p:nvPicPr>
            <p:cNvPr id="164" name="Picture 163"/>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165" name="Group 164"/>
          <p:cNvGrpSpPr/>
          <p:nvPr/>
        </p:nvGrpSpPr>
        <p:grpSpPr>
          <a:xfrm>
            <a:off x="4485465" y="2091453"/>
            <a:ext cx="477293" cy="647402"/>
            <a:chOff x="2707640" y="3871118"/>
            <a:chExt cx="529298" cy="639523"/>
          </a:xfrm>
          <a:solidFill>
            <a:schemeClr val="accent4">
              <a:lumMod val="40000"/>
              <a:lumOff val="60000"/>
            </a:schemeClr>
          </a:solidFill>
        </p:grpSpPr>
        <p:grpSp>
          <p:nvGrpSpPr>
            <p:cNvPr id="166" name="Group 165"/>
            <p:cNvGrpSpPr/>
            <p:nvPr/>
          </p:nvGrpSpPr>
          <p:grpSpPr>
            <a:xfrm>
              <a:off x="2707640" y="3871118"/>
              <a:ext cx="529298" cy="639523"/>
              <a:chOff x="1345497" y="1522604"/>
              <a:chExt cx="596149" cy="700081"/>
            </a:xfrm>
            <a:grpFill/>
          </p:grpSpPr>
          <p:pic>
            <p:nvPicPr>
              <p:cNvPr id="168" name="Picture 167"/>
              <p:cNvPicPr>
                <a:picLocks noChangeAspect="1"/>
              </p:cNvPicPr>
              <p:nvPr/>
            </p:nvPicPr>
            <p:blipFill>
              <a:blip r:embed="rId4"/>
              <a:stretch>
                <a:fillRect/>
              </a:stretch>
            </p:blipFill>
            <p:spPr>
              <a:xfrm>
                <a:off x="1345497" y="1522604"/>
                <a:ext cx="459514" cy="560559"/>
              </a:xfrm>
              <a:prstGeom prst="rect">
                <a:avLst/>
              </a:prstGeom>
              <a:grpFill/>
            </p:spPr>
          </p:pic>
          <p:pic>
            <p:nvPicPr>
              <p:cNvPr id="169" name="Picture 168"/>
              <p:cNvPicPr>
                <a:picLocks noChangeAspect="1"/>
              </p:cNvPicPr>
              <p:nvPr/>
            </p:nvPicPr>
            <p:blipFill>
              <a:blip r:embed="rId4"/>
              <a:stretch>
                <a:fillRect/>
              </a:stretch>
            </p:blipFill>
            <p:spPr>
              <a:xfrm>
                <a:off x="1408559" y="1593808"/>
                <a:ext cx="459514" cy="560559"/>
              </a:xfrm>
              <a:prstGeom prst="rect">
                <a:avLst/>
              </a:prstGeom>
              <a:grpFill/>
            </p:spPr>
          </p:pic>
          <p:pic>
            <p:nvPicPr>
              <p:cNvPr id="170" name="Picture 169"/>
              <p:cNvPicPr>
                <a:picLocks noChangeAspect="1"/>
              </p:cNvPicPr>
              <p:nvPr/>
            </p:nvPicPr>
            <p:blipFill>
              <a:blip r:embed="rId4"/>
              <a:stretch>
                <a:fillRect/>
              </a:stretch>
            </p:blipFill>
            <p:spPr>
              <a:xfrm>
                <a:off x="1482132" y="1662126"/>
                <a:ext cx="459514" cy="560559"/>
              </a:xfrm>
              <a:prstGeom prst="rect">
                <a:avLst/>
              </a:prstGeom>
              <a:grpFill/>
              <a:ln w="3175">
                <a:noFill/>
              </a:ln>
            </p:spPr>
          </p:pic>
        </p:grpSp>
        <p:pic>
          <p:nvPicPr>
            <p:cNvPr id="167" name="Picture 166"/>
            <p:cNvPicPr>
              <a:picLocks noChangeAspect="1"/>
            </p:cNvPicPr>
            <p:nvPr/>
          </p:nvPicPr>
          <p:blipFill>
            <a:blip r:embed="rId5"/>
            <a:stretch>
              <a:fillRect/>
            </a:stretch>
          </p:blipFill>
          <p:spPr>
            <a:xfrm>
              <a:off x="2888445" y="4116672"/>
              <a:ext cx="298935" cy="302442"/>
            </a:xfrm>
            <a:prstGeom prst="rect">
              <a:avLst/>
            </a:prstGeom>
            <a:grpFill/>
          </p:spPr>
        </p:pic>
      </p:grpSp>
      <p:grpSp>
        <p:nvGrpSpPr>
          <p:cNvPr id="171" name="Group 170"/>
          <p:cNvGrpSpPr/>
          <p:nvPr/>
        </p:nvGrpSpPr>
        <p:grpSpPr>
          <a:xfrm>
            <a:off x="1893141" y="2224991"/>
            <a:ext cx="566603" cy="569433"/>
            <a:chOff x="2624230" y="1291099"/>
            <a:chExt cx="529298" cy="639523"/>
          </a:xfrm>
          <a:solidFill>
            <a:srgbClr val="92D050"/>
          </a:solidFill>
        </p:grpSpPr>
        <p:grpSp>
          <p:nvGrpSpPr>
            <p:cNvPr id="172" name="Group 171"/>
            <p:cNvGrpSpPr/>
            <p:nvPr/>
          </p:nvGrpSpPr>
          <p:grpSpPr>
            <a:xfrm>
              <a:off x="2624230" y="1291099"/>
              <a:ext cx="529298" cy="639523"/>
              <a:chOff x="2624230" y="1291099"/>
              <a:chExt cx="529298" cy="639523"/>
            </a:xfrm>
            <a:grpFill/>
          </p:grpSpPr>
          <p:grpSp>
            <p:nvGrpSpPr>
              <p:cNvPr id="176" name="Group 175"/>
              <p:cNvGrpSpPr/>
              <p:nvPr/>
            </p:nvGrpSpPr>
            <p:grpSpPr>
              <a:xfrm>
                <a:off x="2624230" y="1291099"/>
                <a:ext cx="529298" cy="639523"/>
                <a:chOff x="1345497" y="1522604"/>
                <a:chExt cx="596149" cy="700081"/>
              </a:xfrm>
              <a:grpFill/>
            </p:grpSpPr>
            <p:pic>
              <p:nvPicPr>
                <p:cNvPr id="180" name="Picture 179"/>
                <p:cNvPicPr>
                  <a:picLocks noChangeAspect="1"/>
                </p:cNvPicPr>
                <p:nvPr/>
              </p:nvPicPr>
              <p:blipFill>
                <a:blip r:embed="rId4"/>
                <a:stretch>
                  <a:fillRect/>
                </a:stretch>
              </p:blipFill>
              <p:spPr>
                <a:xfrm>
                  <a:off x="1345497" y="1522604"/>
                  <a:ext cx="459514" cy="560559"/>
                </a:xfrm>
                <a:prstGeom prst="rect">
                  <a:avLst/>
                </a:prstGeom>
                <a:grpFill/>
              </p:spPr>
            </p:pic>
            <p:pic>
              <p:nvPicPr>
                <p:cNvPr id="181" name="Picture 180"/>
                <p:cNvPicPr>
                  <a:picLocks noChangeAspect="1"/>
                </p:cNvPicPr>
                <p:nvPr/>
              </p:nvPicPr>
              <p:blipFill>
                <a:blip r:embed="rId4"/>
                <a:stretch>
                  <a:fillRect/>
                </a:stretch>
              </p:blipFill>
              <p:spPr>
                <a:xfrm>
                  <a:off x="1408559" y="1593808"/>
                  <a:ext cx="459514" cy="560559"/>
                </a:xfrm>
                <a:prstGeom prst="rect">
                  <a:avLst/>
                </a:prstGeom>
                <a:grpFill/>
              </p:spPr>
            </p:pic>
            <p:pic>
              <p:nvPicPr>
                <p:cNvPr id="182" name="Picture 181"/>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177" name="Group 176"/>
              <p:cNvGrpSpPr/>
              <p:nvPr/>
            </p:nvGrpSpPr>
            <p:grpSpPr>
              <a:xfrm>
                <a:off x="2809635" y="1532333"/>
                <a:ext cx="275408" cy="347520"/>
                <a:chOff x="2809635" y="1532333"/>
                <a:chExt cx="275408" cy="347520"/>
              </a:xfrm>
              <a:grpFill/>
            </p:grpSpPr>
            <p:sp>
              <p:nvSpPr>
                <p:cNvPr id="178" name="Rectangle: Rounded Corners 232"/>
                <p:cNvSpPr/>
                <p:nvPr/>
              </p:nvSpPr>
              <p:spPr>
                <a:xfrm>
                  <a:off x="2809635" y="1532333"/>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179" name="Rectangle: Rounded Corners 233"/>
                <p:cNvSpPr/>
                <p:nvPr/>
              </p:nvSpPr>
              <p:spPr>
                <a:xfrm>
                  <a:off x="2886954" y="1569660"/>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grpSp>
        </p:grpSp>
        <p:pic>
          <p:nvPicPr>
            <p:cNvPr id="173" name="Picture 172"/>
            <p:cNvPicPr>
              <a:picLocks noChangeAspect="1"/>
            </p:cNvPicPr>
            <p:nvPr/>
          </p:nvPicPr>
          <p:blipFill>
            <a:blip r:embed="rId6"/>
            <a:stretch>
              <a:fillRect/>
            </a:stretch>
          </p:blipFill>
          <p:spPr>
            <a:xfrm>
              <a:off x="2795295" y="1550332"/>
              <a:ext cx="309874" cy="136492"/>
            </a:xfrm>
            <a:prstGeom prst="rect">
              <a:avLst/>
            </a:prstGeom>
            <a:grpFill/>
          </p:spPr>
        </p:pic>
        <p:pic>
          <p:nvPicPr>
            <p:cNvPr id="174" name="Picture 173"/>
            <p:cNvPicPr>
              <a:picLocks noChangeAspect="1"/>
            </p:cNvPicPr>
            <p:nvPr/>
          </p:nvPicPr>
          <p:blipFill>
            <a:blip r:embed="rId6"/>
            <a:stretch>
              <a:fillRect/>
            </a:stretch>
          </p:blipFill>
          <p:spPr>
            <a:xfrm>
              <a:off x="2797939" y="1657523"/>
              <a:ext cx="309874" cy="136492"/>
            </a:xfrm>
            <a:prstGeom prst="rect">
              <a:avLst/>
            </a:prstGeom>
            <a:grpFill/>
          </p:spPr>
        </p:pic>
        <p:pic>
          <p:nvPicPr>
            <p:cNvPr id="175" name="Picture 174"/>
            <p:cNvPicPr>
              <a:picLocks noChangeAspect="1"/>
            </p:cNvPicPr>
            <p:nvPr/>
          </p:nvPicPr>
          <p:blipFill>
            <a:blip r:embed="rId6"/>
            <a:stretch>
              <a:fillRect/>
            </a:stretch>
          </p:blipFill>
          <p:spPr>
            <a:xfrm>
              <a:off x="2797939" y="1764714"/>
              <a:ext cx="309874" cy="136492"/>
            </a:xfrm>
            <a:prstGeom prst="rect">
              <a:avLst/>
            </a:prstGeom>
            <a:grpFill/>
          </p:spPr>
        </p:pic>
      </p:grpSp>
      <p:sp>
        <p:nvSpPr>
          <p:cNvPr id="7" name="Down Arrow 6"/>
          <p:cNvSpPr/>
          <p:nvPr/>
        </p:nvSpPr>
        <p:spPr>
          <a:xfrm rot="1800350">
            <a:off x="4314824" y="3063843"/>
            <a:ext cx="456468" cy="46577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183" name="Down Arrow 182"/>
          <p:cNvSpPr/>
          <p:nvPr/>
        </p:nvSpPr>
        <p:spPr>
          <a:xfrm>
            <a:off x="3304414" y="3134079"/>
            <a:ext cx="393639" cy="393807"/>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184" name="Down Arrow 183"/>
          <p:cNvSpPr/>
          <p:nvPr/>
        </p:nvSpPr>
        <p:spPr>
          <a:xfrm rot="19981856">
            <a:off x="2283830" y="3099300"/>
            <a:ext cx="404453" cy="40549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grpSp>
        <p:nvGrpSpPr>
          <p:cNvPr id="221" name="Group 220"/>
          <p:cNvGrpSpPr/>
          <p:nvPr/>
        </p:nvGrpSpPr>
        <p:grpSpPr>
          <a:xfrm>
            <a:off x="1025051" y="5896143"/>
            <a:ext cx="785985" cy="685800"/>
            <a:chOff x="468086" y="2406098"/>
            <a:chExt cx="1110063" cy="1019598"/>
          </a:xfrm>
          <a:solidFill>
            <a:schemeClr val="accent1">
              <a:lumMod val="40000"/>
              <a:lumOff val="60000"/>
            </a:schemeClr>
          </a:solidFill>
        </p:grpSpPr>
        <p:sp>
          <p:nvSpPr>
            <p:cNvPr id="222" name="Oval 221"/>
            <p:cNvSpPr/>
            <p:nvPr/>
          </p:nvSpPr>
          <p:spPr>
            <a:xfrm>
              <a:off x="468086" y="2406098"/>
              <a:ext cx="1110063" cy="1019598"/>
            </a:xfrm>
            <a:prstGeom prst="ellipse">
              <a:avLst/>
            </a:prstGeom>
            <a:solidFill>
              <a:srgbClr val="00B0F0"/>
            </a:solidFill>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defRPr/>
              </a:pPr>
              <a:endParaRPr lang="en-US" sz="800">
                <a:solidFill>
                  <a:prstClr val="white"/>
                </a:solidFill>
                <a:latin typeface="Calibri" panose="020F0502020204030204"/>
                <a:sym typeface="Gill Sans" charset="0"/>
              </a:endParaRPr>
            </a:p>
          </p:txBody>
        </p:sp>
        <p:sp>
          <p:nvSpPr>
            <p:cNvPr id="223" name="Rectangle 222"/>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sp>
          <p:nvSpPr>
            <p:cNvPr id="224" name="Rectangle 223"/>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sp>
          <p:nvSpPr>
            <p:cNvPr id="225" name="Rectangle 224"/>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sp>
          <p:nvSpPr>
            <p:cNvPr id="226" name="Rectangle 225"/>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cxnSp>
          <p:nvCxnSpPr>
            <p:cNvPr id="227" name="Curved Connector 226"/>
            <p:cNvCxnSpPr>
              <a:stCxn id="224" idx="3"/>
              <a:endCxn id="226"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228" name="Curved Connector 227"/>
            <p:cNvCxnSpPr>
              <a:endCxn id="223"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9" name="Curved Connector 228"/>
            <p:cNvCxnSpPr>
              <a:stCxn id="224" idx="3"/>
              <a:endCxn id="225"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230" name="Group 229"/>
          <p:cNvGrpSpPr/>
          <p:nvPr/>
        </p:nvGrpSpPr>
        <p:grpSpPr>
          <a:xfrm>
            <a:off x="1951663" y="5872522"/>
            <a:ext cx="785985" cy="685800"/>
            <a:chOff x="468086" y="2406098"/>
            <a:chExt cx="1110063" cy="1019598"/>
          </a:xfrm>
          <a:solidFill>
            <a:schemeClr val="accent1">
              <a:lumMod val="40000"/>
              <a:lumOff val="60000"/>
            </a:schemeClr>
          </a:solidFill>
        </p:grpSpPr>
        <p:sp>
          <p:nvSpPr>
            <p:cNvPr id="231" name="Oval 230"/>
            <p:cNvSpPr/>
            <p:nvPr/>
          </p:nvSpPr>
          <p:spPr>
            <a:xfrm>
              <a:off x="468086" y="2406098"/>
              <a:ext cx="1110063" cy="1019598"/>
            </a:xfrm>
            <a:prstGeom prst="ellipse">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defRPr/>
              </a:pPr>
              <a:endParaRPr lang="en-US" sz="800">
                <a:solidFill>
                  <a:prstClr val="white"/>
                </a:solidFill>
                <a:latin typeface="Calibri" panose="020F0502020204030204"/>
                <a:sym typeface="Gill Sans" charset="0"/>
              </a:endParaRPr>
            </a:p>
          </p:txBody>
        </p:sp>
        <p:sp>
          <p:nvSpPr>
            <p:cNvPr id="232" name="Rectangle 231"/>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sp>
          <p:nvSpPr>
            <p:cNvPr id="236" name="Rectangle 235"/>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sp>
          <p:nvSpPr>
            <p:cNvPr id="237" name="Rectangle 236"/>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sp>
          <p:nvSpPr>
            <p:cNvPr id="238" name="Rectangle 237"/>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cxnSp>
          <p:nvCxnSpPr>
            <p:cNvPr id="240" name="Curved Connector 239"/>
            <p:cNvCxnSpPr>
              <a:stCxn id="236" idx="3"/>
              <a:endCxn id="238"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241" name="Curved Connector 240"/>
            <p:cNvCxnSpPr>
              <a:endCxn id="232"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2" name="Curved Connector 241"/>
            <p:cNvCxnSpPr>
              <a:stCxn id="236" idx="3"/>
              <a:endCxn id="237"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243" name="Group 242"/>
          <p:cNvGrpSpPr/>
          <p:nvPr/>
        </p:nvGrpSpPr>
        <p:grpSpPr>
          <a:xfrm>
            <a:off x="2868625" y="5863381"/>
            <a:ext cx="785985" cy="685800"/>
            <a:chOff x="468086" y="2406098"/>
            <a:chExt cx="1110063" cy="1019598"/>
          </a:xfrm>
          <a:solidFill>
            <a:schemeClr val="accent1">
              <a:lumMod val="40000"/>
              <a:lumOff val="60000"/>
            </a:schemeClr>
          </a:solidFill>
        </p:grpSpPr>
        <p:sp>
          <p:nvSpPr>
            <p:cNvPr id="244" name="Oval 243"/>
            <p:cNvSpPr/>
            <p:nvPr/>
          </p:nvSpPr>
          <p:spPr>
            <a:xfrm>
              <a:off x="468086" y="2406098"/>
              <a:ext cx="1110063" cy="1019598"/>
            </a:xfrm>
            <a:prstGeom prst="ellipse">
              <a:avLst/>
            </a:prstGeom>
            <a:solidFill>
              <a:schemeClr val="accent1">
                <a:lumMod val="40000"/>
                <a:lumOff val="60000"/>
              </a:schemeClr>
            </a:solidFill>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defRPr/>
              </a:pPr>
              <a:endParaRPr lang="en-US" sz="800">
                <a:solidFill>
                  <a:prstClr val="white"/>
                </a:solidFill>
                <a:latin typeface="Calibri" panose="020F0502020204030204"/>
                <a:sym typeface="Gill Sans" charset="0"/>
              </a:endParaRPr>
            </a:p>
          </p:txBody>
        </p:sp>
        <p:sp>
          <p:nvSpPr>
            <p:cNvPr id="245" name="Rectangle 244"/>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sp>
          <p:nvSpPr>
            <p:cNvPr id="246" name="Rectangle 245"/>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sp>
          <p:nvSpPr>
            <p:cNvPr id="247" name="Rectangle 246"/>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sp>
          <p:nvSpPr>
            <p:cNvPr id="248" name="Rectangle 247"/>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cxnSp>
          <p:nvCxnSpPr>
            <p:cNvPr id="249" name="Curved Connector 248"/>
            <p:cNvCxnSpPr>
              <a:stCxn id="246" idx="3"/>
              <a:endCxn id="248"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250" name="Curved Connector 249"/>
            <p:cNvCxnSpPr>
              <a:endCxn id="245"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2" name="Curved Connector 251"/>
            <p:cNvCxnSpPr>
              <a:stCxn id="246" idx="3"/>
              <a:endCxn id="247"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255" name="Group 254"/>
          <p:cNvGrpSpPr/>
          <p:nvPr/>
        </p:nvGrpSpPr>
        <p:grpSpPr>
          <a:xfrm>
            <a:off x="3973487" y="5850098"/>
            <a:ext cx="785985" cy="685800"/>
            <a:chOff x="468086" y="2406098"/>
            <a:chExt cx="1110063" cy="1019598"/>
          </a:xfrm>
          <a:solidFill>
            <a:schemeClr val="accent1">
              <a:lumMod val="40000"/>
              <a:lumOff val="60000"/>
            </a:schemeClr>
          </a:solidFill>
        </p:grpSpPr>
        <p:sp>
          <p:nvSpPr>
            <p:cNvPr id="258" name="Oval 257"/>
            <p:cNvSpPr/>
            <p:nvPr/>
          </p:nvSpPr>
          <p:spPr>
            <a:xfrm>
              <a:off x="468086" y="2406098"/>
              <a:ext cx="1110063" cy="1019598"/>
            </a:xfrm>
            <a:prstGeom prst="ellipse">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defRPr/>
              </a:pPr>
              <a:endParaRPr lang="en-US" sz="800">
                <a:solidFill>
                  <a:prstClr val="white"/>
                </a:solidFill>
                <a:latin typeface="Calibri" panose="020F0502020204030204"/>
                <a:sym typeface="Gill Sans" charset="0"/>
              </a:endParaRPr>
            </a:p>
          </p:txBody>
        </p:sp>
        <p:sp>
          <p:nvSpPr>
            <p:cNvPr id="259" name="Rectangle 258"/>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sp>
          <p:nvSpPr>
            <p:cNvPr id="260" name="Rectangle 259"/>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sp>
          <p:nvSpPr>
            <p:cNvPr id="265" name="Rectangle 264"/>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sp>
          <p:nvSpPr>
            <p:cNvPr id="268" name="Rectangle 267"/>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cxnSp>
          <p:nvCxnSpPr>
            <p:cNvPr id="269" name="Curved Connector 268"/>
            <p:cNvCxnSpPr>
              <a:stCxn id="260" idx="3"/>
              <a:endCxn id="268"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280" name="Curved Connector 279"/>
            <p:cNvCxnSpPr>
              <a:endCxn id="259"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1" name="Curved Connector 280"/>
            <p:cNvCxnSpPr>
              <a:stCxn id="260" idx="3"/>
              <a:endCxn id="265"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sp>
        <p:nvSpPr>
          <p:cNvPr id="310" name="TextBox 309"/>
          <p:cNvSpPr txBox="1"/>
          <p:nvPr/>
        </p:nvSpPr>
        <p:spPr>
          <a:xfrm>
            <a:off x="5783779" y="6044698"/>
            <a:ext cx="3113052" cy="369332"/>
          </a:xfrm>
          <a:prstGeom prst="rect">
            <a:avLst/>
          </a:prstGeom>
          <a:noFill/>
        </p:spPr>
        <p:txBody>
          <a:bodyPr wrap="square" rtlCol="0">
            <a:spAutoFit/>
          </a:bodyPr>
          <a:lstStyle/>
          <a:p>
            <a:pPr algn="ctr" defTabSz="457200" fontAlgn="base">
              <a:spcBef>
                <a:spcPct val="0"/>
              </a:spcBef>
              <a:spcAft>
                <a:spcPct val="0"/>
              </a:spcAft>
              <a:defRPr/>
            </a:pPr>
            <a:r>
              <a:rPr lang="en-US"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source Partitions (Physical)</a:t>
            </a:r>
          </a:p>
        </p:txBody>
      </p:sp>
      <p:sp>
        <p:nvSpPr>
          <p:cNvPr id="313" name="Down Arrow 312"/>
          <p:cNvSpPr/>
          <p:nvPr/>
        </p:nvSpPr>
        <p:spPr>
          <a:xfrm rot="21325308">
            <a:off x="3203573" y="1736366"/>
            <a:ext cx="385319" cy="372172"/>
          </a:xfrm>
          <a:prstGeom prst="downArrow">
            <a:avLst/>
          </a:prstGeom>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sp>
        <p:nvSpPr>
          <p:cNvPr id="314" name="Down Arrow 313"/>
          <p:cNvSpPr/>
          <p:nvPr/>
        </p:nvSpPr>
        <p:spPr>
          <a:xfrm rot="1335975">
            <a:off x="2169092" y="1623757"/>
            <a:ext cx="364063" cy="527196"/>
          </a:xfrm>
          <a:prstGeom prst="downArrow">
            <a:avLst/>
          </a:prstGeom>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sp>
        <p:nvSpPr>
          <p:cNvPr id="318" name="Down Arrow 317"/>
          <p:cNvSpPr/>
          <p:nvPr/>
        </p:nvSpPr>
        <p:spPr>
          <a:xfrm rot="19981856">
            <a:off x="4335954" y="1576984"/>
            <a:ext cx="315355" cy="527196"/>
          </a:xfrm>
          <a:prstGeom prst="downArrow">
            <a:avLst/>
          </a:prstGeom>
        </p:spPr>
        <p:style>
          <a:lnRef idx="1">
            <a:schemeClr val="accent2"/>
          </a:lnRef>
          <a:fillRef idx="2">
            <a:schemeClr val="accent2"/>
          </a:fillRef>
          <a:effectRef idx="1">
            <a:schemeClr val="accent2"/>
          </a:effectRef>
          <a:fontRef idx="minor">
            <a:schemeClr val="dk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sp>
        <p:nvSpPr>
          <p:cNvPr id="319" name="Down Arrow 318"/>
          <p:cNvSpPr/>
          <p:nvPr/>
        </p:nvSpPr>
        <p:spPr>
          <a:xfrm>
            <a:off x="2292093" y="5315326"/>
            <a:ext cx="332174" cy="527196"/>
          </a:xfrm>
          <a:prstGeom prst="downArrow">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sp>
        <p:nvSpPr>
          <p:cNvPr id="320" name="Down Arrow 319"/>
          <p:cNvSpPr/>
          <p:nvPr/>
        </p:nvSpPr>
        <p:spPr>
          <a:xfrm rot="1335975">
            <a:off x="1587992" y="5324701"/>
            <a:ext cx="277193" cy="527196"/>
          </a:xfrm>
          <a:prstGeom prst="downArrow">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sp>
        <p:nvSpPr>
          <p:cNvPr id="321" name="Down Arrow 320"/>
          <p:cNvSpPr/>
          <p:nvPr/>
        </p:nvSpPr>
        <p:spPr>
          <a:xfrm rot="20330059">
            <a:off x="1113305" y="5321989"/>
            <a:ext cx="320091" cy="516697"/>
          </a:xfrm>
          <a:prstGeom prst="downArrow">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sp>
        <p:nvSpPr>
          <p:cNvPr id="343" name="TextBox 342"/>
          <p:cNvSpPr txBox="1"/>
          <p:nvPr/>
        </p:nvSpPr>
        <p:spPr>
          <a:xfrm>
            <a:off x="2746760" y="1392371"/>
            <a:ext cx="1315291" cy="369332"/>
          </a:xfrm>
          <a:prstGeom prst="rect">
            <a:avLst/>
          </a:prstGeom>
          <a:noFill/>
          <a:ln>
            <a:noFill/>
          </a:ln>
        </p:spPr>
        <p:txBody>
          <a:bodyPr wrap="square" rtlCol="0">
            <a:spAutoFit/>
          </a:bodyPr>
          <a:lstStyle/>
          <a:p>
            <a:pPr algn="ctr" defTabSz="457200" fontAlgn="base">
              <a:spcBef>
                <a:spcPct val="0"/>
              </a:spcBef>
              <a:spcAft>
                <a:spcPct val="0"/>
              </a:spcAft>
              <a:defRPr/>
            </a:pPr>
            <a:r>
              <a:rPr lang="en-US"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Tenants</a:t>
            </a:r>
          </a:p>
        </p:txBody>
      </p:sp>
      <p:grpSp>
        <p:nvGrpSpPr>
          <p:cNvPr id="137" name="Group 136"/>
          <p:cNvGrpSpPr/>
          <p:nvPr/>
        </p:nvGrpSpPr>
        <p:grpSpPr>
          <a:xfrm>
            <a:off x="2329880" y="715215"/>
            <a:ext cx="2020760" cy="656461"/>
            <a:chOff x="8662987" y="4396646"/>
            <a:chExt cx="2370335" cy="994781"/>
          </a:xfrm>
        </p:grpSpPr>
        <p:sp>
          <p:nvSpPr>
            <p:cNvPr id="138" name="Freeform 137"/>
            <p:cNvSpPr>
              <a:spLocks/>
            </p:cNvSpPr>
            <p:nvPr/>
          </p:nvSpPr>
          <p:spPr bwMode="auto">
            <a:xfrm>
              <a:off x="9587308"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defRPr/>
              </a:pPr>
              <a:endParaRPr lang="en-US" sz="900">
                <a:solidFill>
                  <a:prstClr val="black"/>
                </a:solidFill>
                <a:latin typeface="Calibri" panose="020F0502020204030204"/>
                <a:sym typeface="Gill Sans" charset="0"/>
              </a:endParaRPr>
            </a:p>
          </p:txBody>
        </p:sp>
        <p:sp>
          <p:nvSpPr>
            <p:cNvPr id="187" name="Freeform 186"/>
            <p:cNvSpPr>
              <a:spLocks/>
            </p:cNvSpPr>
            <p:nvPr/>
          </p:nvSpPr>
          <p:spPr bwMode="auto">
            <a:xfrm>
              <a:off x="9115587"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defRPr/>
              </a:pPr>
              <a:endParaRPr lang="en-US" sz="900">
                <a:solidFill>
                  <a:prstClr val="black"/>
                </a:solidFill>
                <a:latin typeface="Calibri" panose="020F0502020204030204"/>
                <a:sym typeface="Gill Sans" charset="0"/>
              </a:endParaRPr>
            </a:p>
          </p:txBody>
        </p:sp>
        <p:sp>
          <p:nvSpPr>
            <p:cNvPr id="188" name="Freeform 187"/>
            <p:cNvSpPr>
              <a:spLocks/>
            </p:cNvSpPr>
            <p:nvPr/>
          </p:nvSpPr>
          <p:spPr bwMode="auto">
            <a:xfrm>
              <a:off x="10075934"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defRPr/>
              </a:pPr>
              <a:endParaRPr lang="en-US" sz="900">
                <a:solidFill>
                  <a:prstClr val="black"/>
                </a:solidFill>
                <a:latin typeface="Calibri" panose="020F0502020204030204"/>
                <a:sym typeface="Gill Sans" charset="0"/>
              </a:endParaRPr>
            </a:p>
          </p:txBody>
        </p:sp>
        <p:sp>
          <p:nvSpPr>
            <p:cNvPr id="189" name="Freeform 188"/>
            <p:cNvSpPr>
              <a:spLocks/>
            </p:cNvSpPr>
            <p:nvPr/>
          </p:nvSpPr>
          <p:spPr bwMode="auto">
            <a:xfrm>
              <a:off x="9359162"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8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defRPr/>
              </a:pPr>
              <a:endParaRPr lang="en-US" sz="900">
                <a:solidFill>
                  <a:prstClr val="black"/>
                </a:solidFill>
                <a:latin typeface="Calibri" panose="020F0502020204030204"/>
                <a:sym typeface="Gill Sans" charset="0"/>
              </a:endParaRPr>
            </a:p>
          </p:txBody>
        </p:sp>
        <p:sp>
          <p:nvSpPr>
            <p:cNvPr id="190" name="Freeform 189"/>
            <p:cNvSpPr>
              <a:spLocks/>
            </p:cNvSpPr>
            <p:nvPr/>
          </p:nvSpPr>
          <p:spPr bwMode="auto">
            <a:xfrm>
              <a:off x="9888078"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8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defRPr/>
              </a:pPr>
              <a:endParaRPr lang="en-US" sz="900">
                <a:solidFill>
                  <a:prstClr val="black"/>
                </a:solidFill>
                <a:latin typeface="Calibri" panose="020F0502020204030204"/>
                <a:sym typeface="Gill Sans" charset="0"/>
              </a:endParaRPr>
            </a:p>
          </p:txBody>
        </p:sp>
        <p:grpSp>
          <p:nvGrpSpPr>
            <p:cNvPr id="191" name="Group 190"/>
            <p:cNvGrpSpPr/>
            <p:nvPr/>
          </p:nvGrpSpPr>
          <p:grpSpPr>
            <a:xfrm>
              <a:off x="9646658" y="4819932"/>
              <a:ext cx="326294" cy="521835"/>
              <a:chOff x="9870594" y="4096783"/>
              <a:chExt cx="987037" cy="1578550"/>
            </a:xfrm>
          </p:grpSpPr>
          <p:sp>
            <p:nvSpPr>
              <p:cNvPr id="196" name="Rectangle: Rounded Corners 10"/>
              <p:cNvSpPr/>
              <p:nvPr/>
            </p:nvSpPr>
            <p:spPr>
              <a:xfrm>
                <a:off x="9870594" y="4096783"/>
                <a:ext cx="987037" cy="1578550"/>
              </a:xfrm>
              <a:prstGeom prst="roundRect">
                <a:avLst>
                  <a:gd name="adj" fmla="val 7576"/>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defRPr/>
                </a:pPr>
                <a:endParaRPr lang="en-US" sz="900">
                  <a:solidFill>
                    <a:prstClr val="white"/>
                  </a:solidFill>
                  <a:latin typeface="Calibri" panose="020F0502020204030204"/>
                  <a:sym typeface="Gill Sans" charset="0"/>
                </a:endParaRPr>
              </a:p>
            </p:txBody>
          </p:sp>
          <p:grpSp>
            <p:nvGrpSpPr>
              <p:cNvPr id="197" name="Group 196"/>
              <p:cNvGrpSpPr/>
              <p:nvPr/>
            </p:nvGrpSpPr>
            <p:grpSpPr>
              <a:xfrm>
                <a:off x="10040340" y="4272898"/>
                <a:ext cx="647543" cy="188007"/>
                <a:chOff x="10040340" y="4272898"/>
                <a:chExt cx="647543" cy="188007"/>
              </a:xfrm>
            </p:grpSpPr>
            <p:sp>
              <p:nvSpPr>
                <p:cNvPr id="204" name="Rectangle: Rounded Corners 18"/>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defRPr/>
                  </a:pPr>
                  <a:endParaRPr lang="en-US" sz="900">
                    <a:solidFill>
                      <a:prstClr val="white"/>
                    </a:solidFill>
                    <a:latin typeface="Calibri" panose="020F0502020204030204"/>
                    <a:sym typeface="Gill Sans" charset="0"/>
                  </a:endParaRPr>
                </a:p>
              </p:txBody>
            </p:sp>
            <p:sp>
              <p:nvSpPr>
                <p:cNvPr id="205" name="Oval 204"/>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defRPr/>
                  </a:pPr>
                  <a:endParaRPr lang="en-US" sz="900">
                    <a:solidFill>
                      <a:prstClr val="white"/>
                    </a:solidFill>
                    <a:latin typeface="Calibri" panose="020F0502020204030204"/>
                    <a:sym typeface="Gill Sans" charset="0"/>
                  </a:endParaRPr>
                </a:p>
              </p:txBody>
            </p:sp>
          </p:grpSp>
          <p:grpSp>
            <p:nvGrpSpPr>
              <p:cNvPr id="198" name="Group 197"/>
              <p:cNvGrpSpPr/>
              <p:nvPr/>
            </p:nvGrpSpPr>
            <p:grpSpPr>
              <a:xfrm>
                <a:off x="10040340" y="4533545"/>
                <a:ext cx="647543" cy="188007"/>
                <a:chOff x="10040340" y="4272898"/>
                <a:chExt cx="647543" cy="188007"/>
              </a:xfrm>
            </p:grpSpPr>
            <p:sp>
              <p:nvSpPr>
                <p:cNvPr id="202" name="Rectangle: Rounded Corners 16"/>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defRPr/>
                  </a:pPr>
                  <a:endParaRPr lang="en-US" sz="900">
                    <a:solidFill>
                      <a:prstClr val="white"/>
                    </a:solidFill>
                    <a:latin typeface="Calibri" panose="020F0502020204030204"/>
                    <a:sym typeface="Gill Sans" charset="0"/>
                  </a:endParaRPr>
                </a:p>
              </p:txBody>
            </p:sp>
            <p:sp>
              <p:nvSpPr>
                <p:cNvPr id="203" name="Oval 202"/>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defRPr/>
                  </a:pPr>
                  <a:endParaRPr lang="en-US" sz="900">
                    <a:solidFill>
                      <a:prstClr val="white"/>
                    </a:solidFill>
                    <a:latin typeface="Calibri" panose="020F0502020204030204"/>
                    <a:sym typeface="Gill Sans" charset="0"/>
                  </a:endParaRPr>
                </a:p>
              </p:txBody>
            </p:sp>
          </p:grpSp>
          <p:grpSp>
            <p:nvGrpSpPr>
              <p:cNvPr id="199" name="Group 198"/>
              <p:cNvGrpSpPr/>
              <p:nvPr/>
            </p:nvGrpSpPr>
            <p:grpSpPr>
              <a:xfrm>
                <a:off x="10040340" y="4786108"/>
                <a:ext cx="647543" cy="188007"/>
                <a:chOff x="10040340" y="4272898"/>
                <a:chExt cx="647543" cy="188007"/>
              </a:xfrm>
            </p:grpSpPr>
            <p:sp>
              <p:nvSpPr>
                <p:cNvPr id="200" name="Rectangle: Rounded Corners 14"/>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defRPr/>
                  </a:pPr>
                  <a:endParaRPr lang="en-US" sz="900">
                    <a:solidFill>
                      <a:prstClr val="white"/>
                    </a:solidFill>
                    <a:latin typeface="Calibri" panose="020F0502020204030204"/>
                    <a:sym typeface="Gill Sans" charset="0"/>
                  </a:endParaRPr>
                </a:p>
              </p:txBody>
            </p:sp>
            <p:sp>
              <p:nvSpPr>
                <p:cNvPr id="201" name="Oval 200"/>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200" fontAlgn="base">
                    <a:spcBef>
                      <a:spcPct val="0"/>
                    </a:spcBef>
                    <a:spcAft>
                      <a:spcPct val="0"/>
                    </a:spcAft>
                    <a:defRPr/>
                  </a:pPr>
                  <a:endParaRPr lang="en-US" sz="900">
                    <a:solidFill>
                      <a:prstClr val="white"/>
                    </a:solidFill>
                    <a:latin typeface="Calibri" panose="020F0502020204030204"/>
                    <a:sym typeface="Gill Sans" charset="0"/>
                  </a:endParaRPr>
                </a:p>
              </p:txBody>
            </p:sp>
          </p:grpSp>
        </p:grpSp>
        <p:sp>
          <p:nvSpPr>
            <p:cNvPr id="192" name="Freeform 191"/>
            <p:cNvSpPr>
              <a:spLocks/>
            </p:cNvSpPr>
            <p:nvPr/>
          </p:nvSpPr>
          <p:spPr bwMode="auto">
            <a:xfrm>
              <a:off x="8662987"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defRPr/>
              </a:pPr>
              <a:endParaRPr lang="en-US" sz="900">
                <a:solidFill>
                  <a:prstClr val="black"/>
                </a:solidFill>
                <a:latin typeface="Calibri" panose="020F0502020204030204"/>
                <a:sym typeface="Gill Sans" charset="0"/>
              </a:endParaRPr>
            </a:p>
          </p:txBody>
        </p:sp>
        <p:sp>
          <p:nvSpPr>
            <p:cNvPr id="193" name="Freeform 192"/>
            <p:cNvSpPr>
              <a:spLocks/>
            </p:cNvSpPr>
            <p:nvPr/>
          </p:nvSpPr>
          <p:spPr bwMode="auto">
            <a:xfrm>
              <a:off x="8864723"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8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defRPr/>
              </a:pPr>
              <a:endParaRPr lang="en-US" sz="900">
                <a:solidFill>
                  <a:prstClr val="black"/>
                </a:solidFill>
                <a:latin typeface="Calibri" panose="020F0502020204030204"/>
                <a:sym typeface="Gill Sans" charset="0"/>
              </a:endParaRPr>
            </a:p>
          </p:txBody>
        </p:sp>
        <p:sp>
          <p:nvSpPr>
            <p:cNvPr id="194" name="Freeform 193"/>
            <p:cNvSpPr>
              <a:spLocks/>
            </p:cNvSpPr>
            <p:nvPr/>
          </p:nvSpPr>
          <p:spPr bwMode="auto">
            <a:xfrm>
              <a:off x="10657610"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50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defRPr/>
              </a:pPr>
              <a:endParaRPr lang="en-US" sz="900">
                <a:solidFill>
                  <a:prstClr val="black"/>
                </a:solidFill>
                <a:latin typeface="Calibri" panose="020F0502020204030204"/>
                <a:sym typeface="Gill Sans" charset="0"/>
              </a:endParaRPr>
            </a:p>
          </p:txBody>
        </p:sp>
        <p:sp>
          <p:nvSpPr>
            <p:cNvPr id="195" name="Freeform 194"/>
            <p:cNvSpPr>
              <a:spLocks/>
            </p:cNvSpPr>
            <p:nvPr/>
          </p:nvSpPr>
          <p:spPr bwMode="auto">
            <a:xfrm>
              <a:off x="10366535"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85000"/>
              </a:schemeClr>
            </a:solidFill>
            <a:ln>
              <a:noFill/>
            </a:ln>
          </p:spPr>
          <p:txBody>
            <a:bodyPr vert="horz" wrap="square" lIns="45720" tIns="22860" rIns="45720" bIns="228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fontAlgn="base">
                <a:spcBef>
                  <a:spcPct val="0"/>
                </a:spcBef>
                <a:spcAft>
                  <a:spcPct val="0"/>
                </a:spcAft>
                <a:defRPr/>
              </a:pPr>
              <a:endParaRPr lang="en-US" sz="900">
                <a:solidFill>
                  <a:prstClr val="black"/>
                </a:solidFill>
                <a:latin typeface="Calibri" panose="020F0502020204030204"/>
                <a:sym typeface="Gill Sans" charset="0"/>
              </a:endParaRPr>
            </a:p>
          </p:txBody>
        </p:sp>
      </p:grpSp>
      <p:sp>
        <p:nvSpPr>
          <p:cNvPr id="5" name="Rectangle 4"/>
          <p:cNvSpPr/>
          <p:nvPr/>
        </p:nvSpPr>
        <p:spPr>
          <a:xfrm>
            <a:off x="2347702" y="4693883"/>
            <a:ext cx="248075" cy="207927"/>
          </a:xfrm>
          <a:prstGeom prst="rect">
            <a:avLst/>
          </a:prstGeom>
          <a:solidFill>
            <a:schemeClr val="accent6">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146" name="Rectangle 145"/>
          <p:cNvSpPr/>
          <p:nvPr/>
        </p:nvSpPr>
        <p:spPr>
          <a:xfrm>
            <a:off x="2633772" y="4693883"/>
            <a:ext cx="248075" cy="207927"/>
          </a:xfrm>
          <a:prstGeom prst="rect">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147" name="Rectangle 146"/>
          <p:cNvSpPr/>
          <p:nvPr/>
        </p:nvSpPr>
        <p:spPr>
          <a:xfrm>
            <a:off x="2347702" y="4935028"/>
            <a:ext cx="248075" cy="207927"/>
          </a:xfrm>
          <a:prstGeom prst="rect">
            <a:avLst/>
          </a:prstGeom>
          <a:solidFill>
            <a:schemeClr val="accent6">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148" name="Rectangle 147"/>
          <p:cNvSpPr/>
          <p:nvPr/>
        </p:nvSpPr>
        <p:spPr>
          <a:xfrm>
            <a:off x="2633772" y="4935028"/>
            <a:ext cx="248075" cy="207927"/>
          </a:xfrm>
          <a:prstGeom prst="rect">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6" name="TextBox 5"/>
          <p:cNvSpPr txBox="1"/>
          <p:nvPr/>
        </p:nvSpPr>
        <p:spPr>
          <a:xfrm>
            <a:off x="2359047" y="5023819"/>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186" name="TextBox 185"/>
          <p:cNvSpPr txBox="1"/>
          <p:nvPr/>
        </p:nvSpPr>
        <p:spPr>
          <a:xfrm>
            <a:off x="2660081" y="5035512"/>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06" name="Rectangle 205"/>
          <p:cNvSpPr/>
          <p:nvPr/>
        </p:nvSpPr>
        <p:spPr>
          <a:xfrm>
            <a:off x="3058611" y="4724387"/>
            <a:ext cx="248075" cy="207927"/>
          </a:xfrm>
          <a:prstGeom prst="rect">
            <a:avLst/>
          </a:prstGeom>
          <a:solidFill>
            <a:schemeClr val="bg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07" name="Rectangle 206"/>
          <p:cNvSpPr/>
          <p:nvPr/>
        </p:nvSpPr>
        <p:spPr>
          <a:xfrm>
            <a:off x="3344680" y="4724387"/>
            <a:ext cx="248075" cy="207927"/>
          </a:xfrm>
          <a:prstGeom prst="rect">
            <a:avLst/>
          </a:prstGeom>
          <a:solidFill>
            <a:schemeClr val="accent2">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08" name="Rectangle 207"/>
          <p:cNvSpPr/>
          <p:nvPr/>
        </p:nvSpPr>
        <p:spPr>
          <a:xfrm>
            <a:off x="3058611" y="4965532"/>
            <a:ext cx="248075" cy="207927"/>
          </a:xfrm>
          <a:prstGeom prst="rect">
            <a:avLst/>
          </a:prstGeom>
          <a:solidFill>
            <a:schemeClr val="bg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209" name="Rectangle 208"/>
          <p:cNvSpPr/>
          <p:nvPr/>
        </p:nvSpPr>
        <p:spPr>
          <a:xfrm>
            <a:off x="3344680" y="4965532"/>
            <a:ext cx="248075" cy="207927"/>
          </a:xfrm>
          <a:prstGeom prst="rect">
            <a:avLst/>
          </a:prstGeom>
          <a:solidFill>
            <a:schemeClr val="accent2">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210" name="TextBox 209"/>
          <p:cNvSpPr txBox="1"/>
          <p:nvPr/>
        </p:nvSpPr>
        <p:spPr>
          <a:xfrm>
            <a:off x="3069955" y="5054322"/>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11" name="TextBox 210"/>
          <p:cNvSpPr txBox="1"/>
          <p:nvPr/>
        </p:nvSpPr>
        <p:spPr>
          <a:xfrm>
            <a:off x="3370989" y="5066015"/>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12" name="Rectangle 211"/>
          <p:cNvSpPr/>
          <p:nvPr/>
        </p:nvSpPr>
        <p:spPr>
          <a:xfrm>
            <a:off x="1632040" y="4701014"/>
            <a:ext cx="248075" cy="207927"/>
          </a:xfrm>
          <a:prstGeom prst="rect">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13" name="Rectangle 212"/>
          <p:cNvSpPr/>
          <p:nvPr/>
        </p:nvSpPr>
        <p:spPr>
          <a:xfrm>
            <a:off x="1918110" y="4701014"/>
            <a:ext cx="248075" cy="207927"/>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14" name="Rectangle 213"/>
          <p:cNvSpPr/>
          <p:nvPr/>
        </p:nvSpPr>
        <p:spPr>
          <a:xfrm>
            <a:off x="1632040" y="4942159"/>
            <a:ext cx="248075" cy="207927"/>
          </a:xfrm>
          <a:prstGeom prst="rect">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215" name="Rectangle 214"/>
          <p:cNvSpPr/>
          <p:nvPr/>
        </p:nvSpPr>
        <p:spPr>
          <a:xfrm>
            <a:off x="1918110" y="4942159"/>
            <a:ext cx="248075" cy="207927"/>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216" name="TextBox 215"/>
          <p:cNvSpPr txBox="1"/>
          <p:nvPr/>
        </p:nvSpPr>
        <p:spPr>
          <a:xfrm>
            <a:off x="1643385" y="5030949"/>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17" name="TextBox 216"/>
          <p:cNvSpPr txBox="1"/>
          <p:nvPr/>
        </p:nvSpPr>
        <p:spPr>
          <a:xfrm>
            <a:off x="1944419" y="5042642"/>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18" name="Rectangle 217"/>
          <p:cNvSpPr/>
          <p:nvPr/>
        </p:nvSpPr>
        <p:spPr>
          <a:xfrm>
            <a:off x="954215" y="4695457"/>
            <a:ext cx="248075" cy="207927"/>
          </a:xfrm>
          <a:prstGeom prst="rect">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19" name="Rectangle 218"/>
          <p:cNvSpPr/>
          <p:nvPr/>
        </p:nvSpPr>
        <p:spPr>
          <a:xfrm>
            <a:off x="1240284" y="4695457"/>
            <a:ext cx="248075" cy="207927"/>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20" name="Rectangle 219"/>
          <p:cNvSpPr/>
          <p:nvPr/>
        </p:nvSpPr>
        <p:spPr>
          <a:xfrm>
            <a:off x="954215" y="4936602"/>
            <a:ext cx="248075" cy="207927"/>
          </a:xfrm>
          <a:prstGeom prst="rect">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233" name="Rectangle 232"/>
          <p:cNvSpPr/>
          <p:nvPr/>
        </p:nvSpPr>
        <p:spPr>
          <a:xfrm>
            <a:off x="1240284" y="4936602"/>
            <a:ext cx="248075" cy="207927"/>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234" name="TextBox 233"/>
          <p:cNvSpPr txBox="1"/>
          <p:nvPr/>
        </p:nvSpPr>
        <p:spPr>
          <a:xfrm>
            <a:off x="965559" y="5025393"/>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35" name="TextBox 234"/>
          <p:cNvSpPr txBox="1"/>
          <p:nvPr/>
        </p:nvSpPr>
        <p:spPr>
          <a:xfrm>
            <a:off x="1266593" y="5037086"/>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39" name="Rectangle 238"/>
          <p:cNvSpPr/>
          <p:nvPr/>
        </p:nvSpPr>
        <p:spPr>
          <a:xfrm>
            <a:off x="3724860" y="4729803"/>
            <a:ext cx="248075" cy="207927"/>
          </a:xfrm>
          <a:prstGeom prst="rect">
            <a:avLst/>
          </a:prstGeom>
          <a:solidFill>
            <a:schemeClr val="accent3">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51" name="Rectangle 250"/>
          <p:cNvSpPr/>
          <p:nvPr/>
        </p:nvSpPr>
        <p:spPr>
          <a:xfrm>
            <a:off x="4010930" y="4729803"/>
            <a:ext cx="248075" cy="207927"/>
          </a:xfrm>
          <a:prstGeom prst="rect">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53" name="Rectangle 252"/>
          <p:cNvSpPr/>
          <p:nvPr/>
        </p:nvSpPr>
        <p:spPr>
          <a:xfrm>
            <a:off x="3724860" y="4970948"/>
            <a:ext cx="248075" cy="207927"/>
          </a:xfrm>
          <a:prstGeom prst="rect">
            <a:avLst/>
          </a:prstGeom>
          <a:solidFill>
            <a:schemeClr val="accent3">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254" name="Rectangle 253"/>
          <p:cNvSpPr/>
          <p:nvPr/>
        </p:nvSpPr>
        <p:spPr>
          <a:xfrm>
            <a:off x="4010930" y="4970948"/>
            <a:ext cx="248075" cy="207927"/>
          </a:xfrm>
          <a:prstGeom prst="rect">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256" name="TextBox 255"/>
          <p:cNvSpPr txBox="1"/>
          <p:nvPr/>
        </p:nvSpPr>
        <p:spPr>
          <a:xfrm>
            <a:off x="3736205" y="5059739"/>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57" name="TextBox 256"/>
          <p:cNvSpPr txBox="1"/>
          <p:nvPr/>
        </p:nvSpPr>
        <p:spPr>
          <a:xfrm>
            <a:off x="4037239" y="5071432"/>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61" name="Rectangle 260"/>
          <p:cNvSpPr/>
          <p:nvPr/>
        </p:nvSpPr>
        <p:spPr>
          <a:xfrm>
            <a:off x="4437651" y="4703577"/>
            <a:ext cx="248075" cy="207927"/>
          </a:xfrm>
          <a:prstGeom prst="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62" name="Rectangle 261"/>
          <p:cNvSpPr/>
          <p:nvPr/>
        </p:nvSpPr>
        <p:spPr>
          <a:xfrm>
            <a:off x="4723721" y="4703577"/>
            <a:ext cx="248075" cy="207927"/>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63" name="Rectangle 262"/>
          <p:cNvSpPr/>
          <p:nvPr/>
        </p:nvSpPr>
        <p:spPr>
          <a:xfrm>
            <a:off x="4437651" y="4944722"/>
            <a:ext cx="248075" cy="207927"/>
          </a:xfrm>
          <a:prstGeom prst="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264" name="Rectangle 263"/>
          <p:cNvSpPr/>
          <p:nvPr/>
        </p:nvSpPr>
        <p:spPr>
          <a:xfrm>
            <a:off x="4723721" y="4944722"/>
            <a:ext cx="248075" cy="207927"/>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266" name="TextBox 265"/>
          <p:cNvSpPr txBox="1"/>
          <p:nvPr/>
        </p:nvSpPr>
        <p:spPr>
          <a:xfrm>
            <a:off x="4448996" y="5033512"/>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67" name="TextBox 266"/>
          <p:cNvSpPr txBox="1"/>
          <p:nvPr/>
        </p:nvSpPr>
        <p:spPr>
          <a:xfrm>
            <a:off x="4750030" y="5045205"/>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70" name="Rectangle 269"/>
          <p:cNvSpPr/>
          <p:nvPr/>
        </p:nvSpPr>
        <p:spPr>
          <a:xfrm>
            <a:off x="5078293" y="4700615"/>
            <a:ext cx="248075" cy="207927"/>
          </a:xfrm>
          <a:prstGeom prst="rect">
            <a:avLst/>
          </a:prstGeom>
          <a:solidFill>
            <a:schemeClr val="tx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71" name="Rectangle 270"/>
          <p:cNvSpPr/>
          <p:nvPr/>
        </p:nvSpPr>
        <p:spPr>
          <a:xfrm>
            <a:off x="5364363" y="4700615"/>
            <a:ext cx="248075" cy="207927"/>
          </a:xfrm>
          <a:prstGeom prst="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72" name="Rectangle 271"/>
          <p:cNvSpPr/>
          <p:nvPr/>
        </p:nvSpPr>
        <p:spPr>
          <a:xfrm>
            <a:off x="5078293" y="4941760"/>
            <a:ext cx="248075" cy="207927"/>
          </a:xfrm>
          <a:prstGeom prst="rect">
            <a:avLst/>
          </a:prstGeom>
          <a:solidFill>
            <a:schemeClr val="tx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273" name="Rectangle 272"/>
          <p:cNvSpPr/>
          <p:nvPr/>
        </p:nvSpPr>
        <p:spPr>
          <a:xfrm>
            <a:off x="5364363" y="4941760"/>
            <a:ext cx="248075" cy="207927"/>
          </a:xfrm>
          <a:prstGeom prst="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274" name="TextBox 273"/>
          <p:cNvSpPr txBox="1"/>
          <p:nvPr/>
        </p:nvSpPr>
        <p:spPr>
          <a:xfrm>
            <a:off x="5089638" y="5030550"/>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75" name="TextBox 274"/>
          <p:cNvSpPr txBox="1"/>
          <p:nvPr/>
        </p:nvSpPr>
        <p:spPr>
          <a:xfrm>
            <a:off x="5390672" y="5042243"/>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76" name="Down Arrow 275"/>
          <p:cNvSpPr/>
          <p:nvPr/>
        </p:nvSpPr>
        <p:spPr>
          <a:xfrm>
            <a:off x="3106940" y="5346002"/>
            <a:ext cx="332174" cy="527196"/>
          </a:xfrm>
          <a:prstGeom prst="downArrow">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sp>
        <p:nvSpPr>
          <p:cNvPr id="277" name="Down Arrow 276"/>
          <p:cNvSpPr/>
          <p:nvPr/>
        </p:nvSpPr>
        <p:spPr>
          <a:xfrm rot="20311010">
            <a:off x="3848305" y="5279089"/>
            <a:ext cx="353533" cy="622633"/>
          </a:xfrm>
          <a:prstGeom prst="downArrow">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sp>
        <p:nvSpPr>
          <p:cNvPr id="278" name="Down Arrow 277"/>
          <p:cNvSpPr/>
          <p:nvPr/>
        </p:nvSpPr>
        <p:spPr>
          <a:xfrm rot="1210900">
            <a:off x="4300301" y="5258318"/>
            <a:ext cx="406782" cy="603543"/>
          </a:xfrm>
          <a:prstGeom prst="downArrow">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sp>
        <p:nvSpPr>
          <p:cNvPr id="279" name="Down Arrow 278"/>
          <p:cNvSpPr/>
          <p:nvPr/>
        </p:nvSpPr>
        <p:spPr>
          <a:xfrm rot="2418351">
            <a:off x="4804157" y="5260468"/>
            <a:ext cx="355720" cy="692361"/>
          </a:xfrm>
          <a:prstGeom prst="downArrow">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sp>
        <p:nvSpPr>
          <p:cNvPr id="282" name="Down Arrow 281"/>
          <p:cNvSpPr/>
          <p:nvPr/>
        </p:nvSpPr>
        <p:spPr>
          <a:xfrm rot="3143076">
            <a:off x="1922025" y="3691076"/>
            <a:ext cx="356728" cy="1023663"/>
          </a:xfrm>
          <a:prstGeom prst="downArrow">
            <a:avLst/>
          </a:prstGeom>
          <a:solidFill>
            <a:schemeClr val="accent3">
              <a:lumMod val="75000"/>
            </a:schemeClr>
          </a:solidFill>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sp>
        <p:nvSpPr>
          <p:cNvPr id="283" name="Down Arrow 282"/>
          <p:cNvSpPr/>
          <p:nvPr/>
        </p:nvSpPr>
        <p:spPr>
          <a:xfrm rot="19084972">
            <a:off x="4286585" y="3808186"/>
            <a:ext cx="365290" cy="754516"/>
          </a:xfrm>
          <a:prstGeom prst="downArrow">
            <a:avLst/>
          </a:prstGeom>
          <a:solidFill>
            <a:schemeClr val="accent3">
              <a:lumMod val="75000"/>
            </a:schemeClr>
          </a:solidFill>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sp>
        <p:nvSpPr>
          <p:cNvPr id="284" name="Down Arrow 283"/>
          <p:cNvSpPr/>
          <p:nvPr/>
        </p:nvSpPr>
        <p:spPr>
          <a:xfrm>
            <a:off x="3161477" y="4251804"/>
            <a:ext cx="372970" cy="446981"/>
          </a:xfrm>
          <a:prstGeom prst="downArrow">
            <a:avLst/>
          </a:prstGeom>
          <a:solidFill>
            <a:schemeClr val="accent3">
              <a:lumMod val="75000"/>
            </a:schemeClr>
          </a:solidFill>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sp>
        <p:nvSpPr>
          <p:cNvPr id="286" name="TextBox 285"/>
          <p:cNvSpPr txBox="1"/>
          <p:nvPr/>
        </p:nvSpPr>
        <p:spPr>
          <a:xfrm>
            <a:off x="4857167" y="6084262"/>
            <a:ext cx="684808" cy="600164"/>
          </a:xfrm>
          <a:prstGeom prst="rect">
            <a:avLst/>
          </a:prstGeom>
          <a:noFill/>
        </p:spPr>
        <p:txBody>
          <a:bodyPr wrap="square" rtlCol="0">
            <a:spAutoFit/>
          </a:bodyPr>
          <a:lstStyle/>
          <a:p>
            <a:pPr algn="ctr" defTabSz="457200" fontAlgn="base">
              <a:spcBef>
                <a:spcPct val="0"/>
              </a:spcBef>
              <a:spcAft>
                <a:spcPct val="0"/>
              </a:spcAft>
              <a:defRPr/>
            </a:pPr>
            <a:r>
              <a:rPr lang="en-US" sz="3300" b="1" dirty="0">
                <a:solidFill>
                  <a:prstClr val="white"/>
                </a:solidFill>
                <a:latin typeface="Gill Sans" charset="0"/>
                <a:ea typeface="Heiti SC Light" charset="-122"/>
                <a:sym typeface="Gill Sans" charset="0"/>
              </a:rPr>
              <a:t>…</a:t>
            </a:r>
          </a:p>
        </p:txBody>
      </p:sp>
      <p:sp>
        <p:nvSpPr>
          <p:cNvPr id="296" name="TextBox 295"/>
          <p:cNvSpPr txBox="1"/>
          <p:nvPr/>
        </p:nvSpPr>
        <p:spPr>
          <a:xfrm>
            <a:off x="5675969" y="4819789"/>
            <a:ext cx="3305567" cy="369332"/>
          </a:xfrm>
          <a:prstGeom prst="rect">
            <a:avLst/>
          </a:prstGeom>
          <a:noFill/>
        </p:spPr>
        <p:txBody>
          <a:bodyPr wrap="square" rtlCol="0">
            <a:spAutoFit/>
          </a:bodyPr>
          <a:lstStyle/>
          <a:p>
            <a:pPr algn="ctr" defTabSz="457200" fontAlgn="base">
              <a:spcBef>
                <a:spcPct val="0"/>
              </a:spcBef>
              <a:spcAft>
                <a:spcPct val="0"/>
              </a:spcAft>
              <a:defRPr/>
            </a:pPr>
            <a:r>
              <a:rPr lang="en-US"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Partition-key-ranges (logical)</a:t>
            </a:r>
          </a:p>
        </p:txBody>
      </p:sp>
      <p:sp>
        <p:nvSpPr>
          <p:cNvPr id="297" name="TextBox 296"/>
          <p:cNvSpPr txBox="1"/>
          <p:nvPr/>
        </p:nvSpPr>
        <p:spPr>
          <a:xfrm>
            <a:off x="5783779" y="3689804"/>
            <a:ext cx="2082588" cy="369332"/>
          </a:xfrm>
          <a:prstGeom prst="rect">
            <a:avLst/>
          </a:prstGeom>
          <a:noFill/>
        </p:spPr>
        <p:txBody>
          <a:bodyPr wrap="square" rtlCol="0">
            <a:spAutoFit/>
          </a:bodyPr>
          <a:lstStyle/>
          <a:p>
            <a:pPr algn="ctr" defTabSz="457200" fontAlgn="base">
              <a:spcBef>
                <a:spcPct val="0"/>
              </a:spcBef>
              <a:spcAft>
                <a:spcPct val="0"/>
              </a:spcAft>
              <a:defRPr/>
            </a:pPr>
            <a:r>
              <a:rPr lang="en-US"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Containers (logical)</a:t>
            </a:r>
          </a:p>
        </p:txBody>
      </p:sp>
      <p:sp>
        <p:nvSpPr>
          <p:cNvPr id="299" name="TextBox 298"/>
          <p:cNvSpPr txBox="1"/>
          <p:nvPr/>
        </p:nvSpPr>
        <p:spPr>
          <a:xfrm>
            <a:off x="5783779" y="2348127"/>
            <a:ext cx="2082588" cy="369332"/>
          </a:xfrm>
          <a:prstGeom prst="rect">
            <a:avLst/>
          </a:prstGeom>
          <a:noFill/>
        </p:spPr>
        <p:txBody>
          <a:bodyPr wrap="square" rtlCol="0">
            <a:spAutoFit/>
          </a:bodyPr>
          <a:lstStyle/>
          <a:p>
            <a:pPr algn="ctr" defTabSz="457200" fontAlgn="base">
              <a:spcBef>
                <a:spcPct val="0"/>
              </a:spcBef>
              <a:spcAft>
                <a:spcPct val="0"/>
              </a:spcAft>
              <a:defRPr/>
            </a:pPr>
            <a:r>
              <a:rPr lang="en-US"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sources (logical)</a:t>
            </a:r>
          </a:p>
        </p:txBody>
      </p:sp>
    </p:spTree>
    <p:custDataLst>
      <p:tags r:id="rId1"/>
    </p:custDataLst>
    <p:extLst>
      <p:ext uri="{BB962C8B-B14F-4D97-AF65-F5344CB8AC3E}">
        <p14:creationId xmlns:p14="http://schemas.microsoft.com/office/powerpoint/2010/main" val="258702505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bg>
      <p:bgPr>
        <a:solidFill>
          <a:srgbClr val="000000"/>
        </a:solidFill>
        <a:effectLst/>
      </p:bgPr>
    </p:bg>
    <p:spTree>
      <p:nvGrpSpPr>
        <p:cNvPr id="1" name=""/>
        <p:cNvGrpSpPr/>
        <p:nvPr/>
      </p:nvGrpSpPr>
      <p:grpSpPr>
        <a:xfrm>
          <a:off x="0" y="0"/>
          <a:ext cx="0" cy="0"/>
          <a:chOff x="0" y="0"/>
          <a:chExt cx="0" cy="0"/>
        </a:xfrm>
      </p:grpSpPr>
      <p:sp>
        <p:nvSpPr>
          <p:cNvPr id="156" name="Flowchart: Document 155"/>
          <p:cNvSpPr/>
          <p:nvPr/>
        </p:nvSpPr>
        <p:spPr>
          <a:xfrm>
            <a:off x="695877" y="819811"/>
            <a:ext cx="642476" cy="410356"/>
          </a:xfrm>
          <a:prstGeom prst="flowChartDocument">
            <a:avLst/>
          </a:prstGeom>
          <a:solidFill>
            <a:schemeClr val="accent6">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r>
              <a:rPr lang="en-US" dirty="0">
                <a:solidFill>
                  <a:srgbClr val="FFFF00"/>
                </a:solidFill>
                <a:latin typeface="Segoe UI Light" panose="020B0502040204020203" pitchFamily="34" charset="0"/>
                <a:cs typeface="Segoe UI Light" panose="020B0502040204020203" pitchFamily="34" charset="0"/>
                <a:sym typeface="Gill Sans" charset="0"/>
              </a:rPr>
              <a:t>C1</a:t>
            </a:r>
          </a:p>
        </p:txBody>
      </p:sp>
      <p:grpSp>
        <p:nvGrpSpPr>
          <p:cNvPr id="221" name="Group 220"/>
          <p:cNvGrpSpPr/>
          <p:nvPr/>
        </p:nvGrpSpPr>
        <p:grpSpPr>
          <a:xfrm>
            <a:off x="1279395" y="3665411"/>
            <a:ext cx="785985" cy="685800"/>
            <a:chOff x="468086" y="2406098"/>
            <a:chExt cx="1110063" cy="1019598"/>
          </a:xfrm>
          <a:solidFill>
            <a:schemeClr val="accent1">
              <a:lumMod val="40000"/>
              <a:lumOff val="60000"/>
            </a:schemeClr>
          </a:solidFill>
        </p:grpSpPr>
        <p:sp>
          <p:nvSpPr>
            <p:cNvPr id="222" name="Oval 221"/>
            <p:cNvSpPr/>
            <p:nvPr/>
          </p:nvSpPr>
          <p:spPr>
            <a:xfrm>
              <a:off x="468086" y="2406098"/>
              <a:ext cx="1110063" cy="1019598"/>
            </a:xfrm>
            <a:prstGeom prst="ellipse">
              <a:avLst/>
            </a:prstGeom>
            <a:solidFill>
              <a:srgbClr val="00B0F0"/>
            </a:solidFill>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defRPr/>
              </a:pPr>
              <a:endParaRPr lang="en-US" sz="800">
                <a:solidFill>
                  <a:prstClr val="white"/>
                </a:solidFill>
                <a:latin typeface="Calibri" panose="020F0502020204030204"/>
                <a:sym typeface="Gill Sans" charset="0"/>
              </a:endParaRPr>
            </a:p>
          </p:txBody>
        </p:sp>
        <p:sp>
          <p:nvSpPr>
            <p:cNvPr id="223" name="Rectangle 222"/>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sp>
          <p:nvSpPr>
            <p:cNvPr id="224" name="Rectangle 223"/>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sp>
          <p:nvSpPr>
            <p:cNvPr id="225" name="Rectangle 224"/>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sp>
          <p:nvSpPr>
            <p:cNvPr id="226" name="Rectangle 225"/>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cxnSp>
          <p:nvCxnSpPr>
            <p:cNvPr id="227" name="Curved Connector 226"/>
            <p:cNvCxnSpPr>
              <a:stCxn id="224" idx="3"/>
              <a:endCxn id="226"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228" name="Curved Connector 227"/>
            <p:cNvCxnSpPr>
              <a:endCxn id="223"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9" name="Curved Connector 228"/>
            <p:cNvCxnSpPr>
              <a:stCxn id="224" idx="3"/>
              <a:endCxn id="225"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230" name="Group 229"/>
          <p:cNvGrpSpPr/>
          <p:nvPr/>
        </p:nvGrpSpPr>
        <p:grpSpPr>
          <a:xfrm>
            <a:off x="3222180" y="3638609"/>
            <a:ext cx="785985" cy="685800"/>
            <a:chOff x="468086" y="2406098"/>
            <a:chExt cx="1110063" cy="1019598"/>
          </a:xfrm>
          <a:solidFill>
            <a:schemeClr val="accent1">
              <a:lumMod val="40000"/>
              <a:lumOff val="60000"/>
            </a:schemeClr>
          </a:solidFill>
        </p:grpSpPr>
        <p:sp>
          <p:nvSpPr>
            <p:cNvPr id="231" name="Oval 230"/>
            <p:cNvSpPr/>
            <p:nvPr/>
          </p:nvSpPr>
          <p:spPr>
            <a:xfrm>
              <a:off x="468086" y="2406098"/>
              <a:ext cx="1110063" cy="1019598"/>
            </a:xfrm>
            <a:prstGeom prst="ellipse">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defRPr/>
              </a:pPr>
              <a:endParaRPr lang="en-US" sz="800">
                <a:solidFill>
                  <a:prstClr val="white"/>
                </a:solidFill>
                <a:latin typeface="Calibri" panose="020F0502020204030204"/>
                <a:sym typeface="Gill Sans" charset="0"/>
              </a:endParaRPr>
            </a:p>
          </p:txBody>
        </p:sp>
        <p:sp>
          <p:nvSpPr>
            <p:cNvPr id="232" name="Rectangle 231"/>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sp>
          <p:nvSpPr>
            <p:cNvPr id="236" name="Rectangle 235"/>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sp>
          <p:nvSpPr>
            <p:cNvPr id="237" name="Rectangle 236"/>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sp>
          <p:nvSpPr>
            <p:cNvPr id="238" name="Rectangle 237"/>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cxnSp>
          <p:nvCxnSpPr>
            <p:cNvPr id="240" name="Curved Connector 239"/>
            <p:cNvCxnSpPr>
              <a:stCxn id="236" idx="3"/>
              <a:endCxn id="238"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241" name="Curved Connector 240"/>
            <p:cNvCxnSpPr>
              <a:endCxn id="232"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2" name="Curved Connector 241"/>
            <p:cNvCxnSpPr>
              <a:stCxn id="236" idx="3"/>
              <a:endCxn id="237"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243" name="Group 242"/>
          <p:cNvGrpSpPr/>
          <p:nvPr/>
        </p:nvGrpSpPr>
        <p:grpSpPr>
          <a:xfrm>
            <a:off x="4411270" y="3664463"/>
            <a:ext cx="785985" cy="685800"/>
            <a:chOff x="468086" y="2406098"/>
            <a:chExt cx="1110063" cy="1019598"/>
          </a:xfrm>
          <a:solidFill>
            <a:schemeClr val="accent1">
              <a:lumMod val="40000"/>
              <a:lumOff val="60000"/>
            </a:schemeClr>
          </a:solidFill>
        </p:grpSpPr>
        <p:sp>
          <p:nvSpPr>
            <p:cNvPr id="244" name="Oval 243"/>
            <p:cNvSpPr/>
            <p:nvPr/>
          </p:nvSpPr>
          <p:spPr>
            <a:xfrm>
              <a:off x="468086" y="2406098"/>
              <a:ext cx="1110063" cy="1019598"/>
            </a:xfrm>
            <a:prstGeom prst="ellipse">
              <a:avLst/>
            </a:prstGeom>
            <a:solidFill>
              <a:schemeClr val="accent1">
                <a:lumMod val="40000"/>
                <a:lumOff val="60000"/>
              </a:schemeClr>
            </a:solidFill>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defRPr/>
              </a:pPr>
              <a:endParaRPr lang="en-US" sz="800">
                <a:solidFill>
                  <a:prstClr val="white"/>
                </a:solidFill>
                <a:latin typeface="Calibri" panose="020F0502020204030204"/>
                <a:sym typeface="Gill Sans" charset="0"/>
              </a:endParaRPr>
            </a:p>
          </p:txBody>
        </p:sp>
        <p:sp>
          <p:nvSpPr>
            <p:cNvPr id="245" name="Rectangle 244"/>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sp>
          <p:nvSpPr>
            <p:cNvPr id="246" name="Rectangle 245"/>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sp>
          <p:nvSpPr>
            <p:cNvPr id="247" name="Rectangle 246"/>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sp>
          <p:nvSpPr>
            <p:cNvPr id="248" name="Rectangle 247"/>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cxnSp>
          <p:nvCxnSpPr>
            <p:cNvPr id="249" name="Curved Connector 248"/>
            <p:cNvCxnSpPr>
              <a:stCxn id="246" idx="3"/>
              <a:endCxn id="248"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250" name="Curved Connector 249"/>
            <p:cNvCxnSpPr>
              <a:endCxn id="245"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2" name="Curved Connector 251"/>
            <p:cNvCxnSpPr>
              <a:stCxn id="246" idx="3"/>
              <a:endCxn id="247"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sp>
        <p:nvSpPr>
          <p:cNvPr id="310" name="TextBox 309"/>
          <p:cNvSpPr txBox="1"/>
          <p:nvPr/>
        </p:nvSpPr>
        <p:spPr>
          <a:xfrm>
            <a:off x="5802391" y="3984266"/>
            <a:ext cx="3113052" cy="369332"/>
          </a:xfrm>
          <a:prstGeom prst="rect">
            <a:avLst/>
          </a:prstGeom>
          <a:noFill/>
        </p:spPr>
        <p:txBody>
          <a:bodyPr wrap="square" rtlCol="0">
            <a:spAutoFit/>
          </a:bodyPr>
          <a:lstStyle/>
          <a:p>
            <a:pPr algn="ctr" defTabSz="457200" fontAlgn="base">
              <a:spcBef>
                <a:spcPct val="0"/>
              </a:spcBef>
              <a:spcAft>
                <a:spcPct val="0"/>
              </a:spcAft>
              <a:defRPr/>
            </a:pPr>
            <a:r>
              <a:rPr lang="en-US"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source Partitions (Physical)</a:t>
            </a:r>
          </a:p>
        </p:txBody>
      </p:sp>
      <p:sp>
        <p:nvSpPr>
          <p:cNvPr id="319" name="Down Arrow 318"/>
          <p:cNvSpPr/>
          <p:nvPr/>
        </p:nvSpPr>
        <p:spPr>
          <a:xfrm>
            <a:off x="4580948" y="2983566"/>
            <a:ext cx="390196" cy="596762"/>
          </a:xfrm>
          <a:prstGeom prst="downArrow">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sp>
        <p:nvSpPr>
          <p:cNvPr id="320" name="Down Arrow 319"/>
          <p:cNvSpPr/>
          <p:nvPr/>
        </p:nvSpPr>
        <p:spPr>
          <a:xfrm rot="562504">
            <a:off x="1203334" y="2938611"/>
            <a:ext cx="349172" cy="666206"/>
          </a:xfrm>
          <a:prstGeom prst="downArrow">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sp>
        <p:nvSpPr>
          <p:cNvPr id="321" name="Down Arrow 320"/>
          <p:cNvSpPr/>
          <p:nvPr/>
        </p:nvSpPr>
        <p:spPr>
          <a:xfrm rot="20086638">
            <a:off x="648603" y="2897847"/>
            <a:ext cx="410344" cy="975053"/>
          </a:xfrm>
          <a:prstGeom prst="downArrow">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sp>
        <p:nvSpPr>
          <p:cNvPr id="5" name="Rectangle 4"/>
          <p:cNvSpPr/>
          <p:nvPr/>
        </p:nvSpPr>
        <p:spPr>
          <a:xfrm>
            <a:off x="1641027" y="2286403"/>
            <a:ext cx="248075" cy="207927"/>
          </a:xfrm>
          <a:prstGeom prst="rect">
            <a:avLst/>
          </a:prstGeom>
          <a:solidFill>
            <a:schemeClr val="accent6">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146" name="Rectangle 145"/>
          <p:cNvSpPr/>
          <p:nvPr/>
        </p:nvSpPr>
        <p:spPr>
          <a:xfrm>
            <a:off x="1927096" y="2286403"/>
            <a:ext cx="248075" cy="207927"/>
          </a:xfrm>
          <a:prstGeom prst="rect">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147" name="Rectangle 146"/>
          <p:cNvSpPr/>
          <p:nvPr/>
        </p:nvSpPr>
        <p:spPr>
          <a:xfrm>
            <a:off x="1641027" y="2527548"/>
            <a:ext cx="248075" cy="207927"/>
          </a:xfrm>
          <a:prstGeom prst="rect">
            <a:avLst/>
          </a:prstGeom>
          <a:solidFill>
            <a:schemeClr val="accent6">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148" name="Rectangle 147"/>
          <p:cNvSpPr/>
          <p:nvPr/>
        </p:nvSpPr>
        <p:spPr>
          <a:xfrm>
            <a:off x="1927096" y="2527548"/>
            <a:ext cx="248075" cy="207927"/>
          </a:xfrm>
          <a:prstGeom prst="rect">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6" name="TextBox 5"/>
          <p:cNvSpPr txBox="1"/>
          <p:nvPr/>
        </p:nvSpPr>
        <p:spPr>
          <a:xfrm>
            <a:off x="1652371" y="2616339"/>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186" name="TextBox 185"/>
          <p:cNvSpPr txBox="1"/>
          <p:nvPr/>
        </p:nvSpPr>
        <p:spPr>
          <a:xfrm>
            <a:off x="1953405" y="2628032"/>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06" name="Rectangle 205"/>
          <p:cNvSpPr/>
          <p:nvPr/>
        </p:nvSpPr>
        <p:spPr>
          <a:xfrm>
            <a:off x="2351935" y="2316907"/>
            <a:ext cx="248075" cy="207927"/>
          </a:xfrm>
          <a:prstGeom prst="rect">
            <a:avLst/>
          </a:prstGeom>
          <a:solidFill>
            <a:schemeClr val="bg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07" name="Rectangle 206"/>
          <p:cNvSpPr/>
          <p:nvPr/>
        </p:nvSpPr>
        <p:spPr>
          <a:xfrm>
            <a:off x="2638005" y="2316907"/>
            <a:ext cx="248075" cy="207927"/>
          </a:xfrm>
          <a:prstGeom prst="rect">
            <a:avLst/>
          </a:prstGeom>
          <a:solidFill>
            <a:schemeClr val="accent2">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08" name="Rectangle 207"/>
          <p:cNvSpPr/>
          <p:nvPr/>
        </p:nvSpPr>
        <p:spPr>
          <a:xfrm>
            <a:off x="2351935" y="2558052"/>
            <a:ext cx="248075" cy="207927"/>
          </a:xfrm>
          <a:prstGeom prst="rect">
            <a:avLst/>
          </a:prstGeom>
          <a:solidFill>
            <a:schemeClr val="bg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209" name="Rectangle 208"/>
          <p:cNvSpPr/>
          <p:nvPr/>
        </p:nvSpPr>
        <p:spPr>
          <a:xfrm>
            <a:off x="2638005" y="2558052"/>
            <a:ext cx="248075" cy="207927"/>
          </a:xfrm>
          <a:prstGeom prst="rect">
            <a:avLst/>
          </a:prstGeom>
          <a:solidFill>
            <a:schemeClr val="accent2">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210" name="TextBox 209"/>
          <p:cNvSpPr txBox="1"/>
          <p:nvPr/>
        </p:nvSpPr>
        <p:spPr>
          <a:xfrm>
            <a:off x="2363280" y="2646842"/>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11" name="TextBox 210"/>
          <p:cNvSpPr txBox="1"/>
          <p:nvPr/>
        </p:nvSpPr>
        <p:spPr>
          <a:xfrm>
            <a:off x="2664314" y="2658535"/>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12" name="Rectangle 211"/>
          <p:cNvSpPr/>
          <p:nvPr/>
        </p:nvSpPr>
        <p:spPr>
          <a:xfrm>
            <a:off x="1003194" y="2316006"/>
            <a:ext cx="248075" cy="207927"/>
          </a:xfrm>
          <a:prstGeom prst="rect">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13" name="Rectangle 212"/>
          <p:cNvSpPr/>
          <p:nvPr/>
        </p:nvSpPr>
        <p:spPr>
          <a:xfrm>
            <a:off x="1289263" y="2316006"/>
            <a:ext cx="248075" cy="207927"/>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14" name="Rectangle 213"/>
          <p:cNvSpPr/>
          <p:nvPr/>
        </p:nvSpPr>
        <p:spPr>
          <a:xfrm>
            <a:off x="1003194" y="2557151"/>
            <a:ext cx="248075" cy="207927"/>
          </a:xfrm>
          <a:prstGeom prst="rect">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215" name="Rectangle 214"/>
          <p:cNvSpPr/>
          <p:nvPr/>
        </p:nvSpPr>
        <p:spPr>
          <a:xfrm>
            <a:off x="1289263" y="2557151"/>
            <a:ext cx="248075" cy="207927"/>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216" name="TextBox 215"/>
          <p:cNvSpPr txBox="1"/>
          <p:nvPr/>
        </p:nvSpPr>
        <p:spPr>
          <a:xfrm>
            <a:off x="1014538" y="2645941"/>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17" name="TextBox 216"/>
          <p:cNvSpPr txBox="1"/>
          <p:nvPr/>
        </p:nvSpPr>
        <p:spPr>
          <a:xfrm>
            <a:off x="1315572" y="2657634"/>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18" name="Rectangle 217"/>
          <p:cNvSpPr/>
          <p:nvPr/>
        </p:nvSpPr>
        <p:spPr>
          <a:xfrm>
            <a:off x="325368" y="2310449"/>
            <a:ext cx="248075" cy="207927"/>
          </a:xfrm>
          <a:prstGeom prst="rect">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19" name="Rectangle 218"/>
          <p:cNvSpPr/>
          <p:nvPr/>
        </p:nvSpPr>
        <p:spPr>
          <a:xfrm>
            <a:off x="611438" y="2310449"/>
            <a:ext cx="248075" cy="207927"/>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20" name="Rectangle 219"/>
          <p:cNvSpPr/>
          <p:nvPr/>
        </p:nvSpPr>
        <p:spPr>
          <a:xfrm>
            <a:off x="325368" y="2551594"/>
            <a:ext cx="248075" cy="207927"/>
          </a:xfrm>
          <a:prstGeom prst="rect">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233" name="Rectangle 232"/>
          <p:cNvSpPr/>
          <p:nvPr/>
        </p:nvSpPr>
        <p:spPr>
          <a:xfrm>
            <a:off x="611438" y="2551594"/>
            <a:ext cx="248075" cy="207927"/>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234" name="TextBox 233"/>
          <p:cNvSpPr txBox="1"/>
          <p:nvPr/>
        </p:nvSpPr>
        <p:spPr>
          <a:xfrm>
            <a:off x="336713" y="2640385"/>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35" name="TextBox 234"/>
          <p:cNvSpPr txBox="1"/>
          <p:nvPr/>
        </p:nvSpPr>
        <p:spPr>
          <a:xfrm>
            <a:off x="637747" y="2652078"/>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39" name="Rectangle 238"/>
          <p:cNvSpPr/>
          <p:nvPr/>
        </p:nvSpPr>
        <p:spPr>
          <a:xfrm>
            <a:off x="3151800" y="2296147"/>
            <a:ext cx="248075" cy="207927"/>
          </a:xfrm>
          <a:prstGeom prst="rect">
            <a:avLst/>
          </a:prstGeom>
          <a:solidFill>
            <a:schemeClr val="accent3">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51" name="Rectangle 250"/>
          <p:cNvSpPr/>
          <p:nvPr/>
        </p:nvSpPr>
        <p:spPr>
          <a:xfrm>
            <a:off x="3437870" y="2296147"/>
            <a:ext cx="248075" cy="207927"/>
          </a:xfrm>
          <a:prstGeom prst="rect">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53" name="Rectangle 252"/>
          <p:cNvSpPr/>
          <p:nvPr/>
        </p:nvSpPr>
        <p:spPr>
          <a:xfrm>
            <a:off x="3151800" y="2537292"/>
            <a:ext cx="248075" cy="207927"/>
          </a:xfrm>
          <a:prstGeom prst="rect">
            <a:avLst/>
          </a:prstGeom>
          <a:solidFill>
            <a:schemeClr val="accent3">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254" name="Rectangle 253"/>
          <p:cNvSpPr/>
          <p:nvPr/>
        </p:nvSpPr>
        <p:spPr>
          <a:xfrm>
            <a:off x="3437870" y="2537292"/>
            <a:ext cx="248075" cy="207927"/>
          </a:xfrm>
          <a:prstGeom prst="rect">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256" name="TextBox 255"/>
          <p:cNvSpPr txBox="1"/>
          <p:nvPr/>
        </p:nvSpPr>
        <p:spPr>
          <a:xfrm>
            <a:off x="3163145" y="2626083"/>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57" name="TextBox 256"/>
          <p:cNvSpPr txBox="1"/>
          <p:nvPr/>
        </p:nvSpPr>
        <p:spPr>
          <a:xfrm>
            <a:off x="3464179" y="2637776"/>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61" name="Rectangle 260"/>
          <p:cNvSpPr/>
          <p:nvPr/>
        </p:nvSpPr>
        <p:spPr>
          <a:xfrm>
            <a:off x="3789484" y="2271624"/>
            <a:ext cx="248075" cy="207927"/>
          </a:xfrm>
          <a:prstGeom prst="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62" name="Rectangle 261"/>
          <p:cNvSpPr/>
          <p:nvPr/>
        </p:nvSpPr>
        <p:spPr>
          <a:xfrm>
            <a:off x="4083218" y="2268364"/>
            <a:ext cx="248075" cy="207927"/>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63" name="Rectangle 262"/>
          <p:cNvSpPr/>
          <p:nvPr/>
        </p:nvSpPr>
        <p:spPr>
          <a:xfrm>
            <a:off x="3789484" y="2512769"/>
            <a:ext cx="248075" cy="207927"/>
          </a:xfrm>
          <a:prstGeom prst="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264" name="Rectangle 263"/>
          <p:cNvSpPr/>
          <p:nvPr/>
        </p:nvSpPr>
        <p:spPr>
          <a:xfrm>
            <a:off x="4083218" y="2509509"/>
            <a:ext cx="248075" cy="207927"/>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266" name="TextBox 265"/>
          <p:cNvSpPr txBox="1"/>
          <p:nvPr/>
        </p:nvSpPr>
        <p:spPr>
          <a:xfrm>
            <a:off x="3800828" y="2601559"/>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67" name="TextBox 266"/>
          <p:cNvSpPr txBox="1"/>
          <p:nvPr/>
        </p:nvSpPr>
        <p:spPr>
          <a:xfrm>
            <a:off x="4109527" y="2609993"/>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70" name="Rectangle 269"/>
          <p:cNvSpPr/>
          <p:nvPr/>
        </p:nvSpPr>
        <p:spPr>
          <a:xfrm>
            <a:off x="4540659" y="2304842"/>
            <a:ext cx="248075" cy="207927"/>
          </a:xfrm>
          <a:prstGeom prst="rect">
            <a:avLst/>
          </a:prstGeom>
          <a:solidFill>
            <a:schemeClr val="tx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71" name="Rectangle 270"/>
          <p:cNvSpPr/>
          <p:nvPr/>
        </p:nvSpPr>
        <p:spPr>
          <a:xfrm>
            <a:off x="4826729" y="2304842"/>
            <a:ext cx="248075" cy="207927"/>
          </a:xfrm>
          <a:prstGeom prst="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72" name="Rectangle 271"/>
          <p:cNvSpPr/>
          <p:nvPr/>
        </p:nvSpPr>
        <p:spPr>
          <a:xfrm>
            <a:off x="4540659" y="2545987"/>
            <a:ext cx="248075" cy="207927"/>
          </a:xfrm>
          <a:prstGeom prst="rect">
            <a:avLst/>
          </a:prstGeom>
          <a:solidFill>
            <a:schemeClr val="tx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273" name="Rectangle 272"/>
          <p:cNvSpPr/>
          <p:nvPr/>
        </p:nvSpPr>
        <p:spPr>
          <a:xfrm>
            <a:off x="4826729" y="2545987"/>
            <a:ext cx="248075" cy="207927"/>
          </a:xfrm>
          <a:prstGeom prst="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4400">
              <a:solidFill>
                <a:prstClr val="white"/>
              </a:solidFill>
              <a:latin typeface="Calibri" panose="020F0502020204030204"/>
              <a:sym typeface="Gill Sans" charset="0"/>
            </a:endParaRPr>
          </a:p>
        </p:txBody>
      </p:sp>
      <p:sp>
        <p:nvSpPr>
          <p:cNvPr id="274" name="TextBox 273"/>
          <p:cNvSpPr txBox="1"/>
          <p:nvPr/>
        </p:nvSpPr>
        <p:spPr>
          <a:xfrm>
            <a:off x="4552004" y="2634778"/>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75" name="TextBox 274"/>
          <p:cNvSpPr txBox="1"/>
          <p:nvPr/>
        </p:nvSpPr>
        <p:spPr>
          <a:xfrm>
            <a:off x="4853038" y="2646471"/>
            <a:ext cx="236213" cy="369332"/>
          </a:xfrm>
          <a:prstGeom prst="rect">
            <a:avLst/>
          </a:prstGeom>
          <a:noFill/>
        </p:spPr>
        <p:txBody>
          <a:bodyPr wrap="square" rtlCol="0">
            <a:spAutoFit/>
          </a:bodyPr>
          <a:lstStyle/>
          <a:p>
            <a:pPr algn="ctr" defTabSz="457200" fontAlgn="base">
              <a:spcBef>
                <a:spcPct val="0"/>
              </a:spcBef>
              <a:spcAft>
                <a:spcPct val="0"/>
              </a:spcAft>
              <a:defRPr/>
            </a:pPr>
            <a:r>
              <a:rPr lang="en-US" b="1" dirty="0">
                <a:solidFill>
                  <a:prstClr val="white"/>
                </a:solidFill>
                <a:latin typeface="Gill Sans" charset="0"/>
                <a:ea typeface="Heiti SC Light" charset="-122"/>
                <a:sym typeface="Gill Sans" charset="0"/>
              </a:rPr>
              <a:t>…</a:t>
            </a:r>
          </a:p>
        </p:txBody>
      </p:sp>
      <p:sp>
        <p:nvSpPr>
          <p:cNvPr id="276" name="Down Arrow 275"/>
          <p:cNvSpPr/>
          <p:nvPr/>
        </p:nvSpPr>
        <p:spPr>
          <a:xfrm>
            <a:off x="3256640" y="2935865"/>
            <a:ext cx="304849" cy="702745"/>
          </a:xfrm>
          <a:prstGeom prst="downArrow">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sp>
        <p:nvSpPr>
          <p:cNvPr id="278" name="Down Arrow 277"/>
          <p:cNvSpPr/>
          <p:nvPr/>
        </p:nvSpPr>
        <p:spPr>
          <a:xfrm rot="1210900">
            <a:off x="3713039" y="2914803"/>
            <a:ext cx="377050" cy="729490"/>
          </a:xfrm>
          <a:prstGeom prst="downArrow">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sp>
        <p:nvSpPr>
          <p:cNvPr id="282" name="Down Arrow 281"/>
          <p:cNvSpPr/>
          <p:nvPr/>
        </p:nvSpPr>
        <p:spPr>
          <a:xfrm rot="441143">
            <a:off x="681868" y="1309994"/>
            <a:ext cx="471386" cy="897845"/>
          </a:xfrm>
          <a:prstGeom prst="downArrow">
            <a:avLst/>
          </a:prstGeom>
          <a:solidFill>
            <a:schemeClr val="accent3">
              <a:lumMod val="75000"/>
            </a:schemeClr>
          </a:solidFill>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sp>
        <p:nvSpPr>
          <p:cNvPr id="283" name="Down Arrow 282"/>
          <p:cNvSpPr/>
          <p:nvPr/>
        </p:nvSpPr>
        <p:spPr>
          <a:xfrm rot="20203422">
            <a:off x="3588529" y="1296404"/>
            <a:ext cx="391207" cy="955430"/>
          </a:xfrm>
          <a:prstGeom prst="downArrow">
            <a:avLst/>
          </a:prstGeom>
          <a:solidFill>
            <a:schemeClr val="accent3">
              <a:lumMod val="75000"/>
            </a:schemeClr>
          </a:solidFill>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sp>
        <p:nvSpPr>
          <p:cNvPr id="284" name="Down Arrow 283"/>
          <p:cNvSpPr/>
          <p:nvPr/>
        </p:nvSpPr>
        <p:spPr>
          <a:xfrm>
            <a:off x="2971350" y="1323727"/>
            <a:ext cx="372970" cy="917762"/>
          </a:xfrm>
          <a:prstGeom prst="downArrow">
            <a:avLst/>
          </a:prstGeom>
          <a:solidFill>
            <a:schemeClr val="accent3">
              <a:lumMod val="75000"/>
            </a:schemeClr>
          </a:solidFill>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sp>
        <p:nvSpPr>
          <p:cNvPr id="286" name="TextBox 285"/>
          <p:cNvSpPr txBox="1"/>
          <p:nvPr/>
        </p:nvSpPr>
        <p:spPr>
          <a:xfrm>
            <a:off x="5197255" y="3846103"/>
            <a:ext cx="684808" cy="600164"/>
          </a:xfrm>
          <a:prstGeom prst="rect">
            <a:avLst/>
          </a:prstGeom>
          <a:noFill/>
        </p:spPr>
        <p:txBody>
          <a:bodyPr wrap="square" rtlCol="0">
            <a:spAutoFit/>
          </a:bodyPr>
          <a:lstStyle/>
          <a:p>
            <a:pPr algn="ctr" defTabSz="457200" fontAlgn="base">
              <a:spcBef>
                <a:spcPct val="0"/>
              </a:spcBef>
              <a:spcAft>
                <a:spcPct val="0"/>
              </a:spcAft>
              <a:defRPr/>
            </a:pPr>
            <a:r>
              <a:rPr lang="en-US" sz="3300" b="1" dirty="0">
                <a:solidFill>
                  <a:prstClr val="white"/>
                </a:solidFill>
                <a:latin typeface="Gill Sans" charset="0"/>
                <a:ea typeface="Heiti SC Light" charset="-122"/>
                <a:sym typeface="Gill Sans" charset="0"/>
              </a:rPr>
              <a:t>…</a:t>
            </a:r>
          </a:p>
        </p:txBody>
      </p:sp>
      <p:sp>
        <p:nvSpPr>
          <p:cNvPr id="296" name="TextBox 295"/>
          <p:cNvSpPr txBox="1"/>
          <p:nvPr/>
        </p:nvSpPr>
        <p:spPr>
          <a:xfrm>
            <a:off x="5737938" y="2548991"/>
            <a:ext cx="3305567" cy="369332"/>
          </a:xfrm>
          <a:prstGeom prst="rect">
            <a:avLst/>
          </a:prstGeom>
          <a:noFill/>
        </p:spPr>
        <p:txBody>
          <a:bodyPr wrap="square" rtlCol="0">
            <a:spAutoFit/>
          </a:bodyPr>
          <a:lstStyle/>
          <a:p>
            <a:pPr algn="ctr" defTabSz="457200" fontAlgn="base">
              <a:spcBef>
                <a:spcPct val="0"/>
              </a:spcBef>
              <a:spcAft>
                <a:spcPct val="0"/>
              </a:spcAft>
              <a:defRPr/>
            </a:pPr>
            <a:r>
              <a:rPr lang="en-US"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Partition-key-ranges (logical)</a:t>
            </a:r>
          </a:p>
        </p:txBody>
      </p:sp>
      <p:sp>
        <p:nvSpPr>
          <p:cNvPr id="297" name="TextBox 296"/>
          <p:cNvSpPr txBox="1"/>
          <p:nvPr/>
        </p:nvSpPr>
        <p:spPr>
          <a:xfrm>
            <a:off x="6024551" y="1000562"/>
            <a:ext cx="2082588" cy="369332"/>
          </a:xfrm>
          <a:prstGeom prst="rect">
            <a:avLst/>
          </a:prstGeom>
          <a:noFill/>
        </p:spPr>
        <p:txBody>
          <a:bodyPr wrap="square" rtlCol="0">
            <a:spAutoFit/>
          </a:bodyPr>
          <a:lstStyle/>
          <a:p>
            <a:pPr algn="ctr" defTabSz="457200" fontAlgn="base">
              <a:spcBef>
                <a:spcPct val="0"/>
              </a:spcBef>
              <a:spcAft>
                <a:spcPct val="0"/>
              </a:spcAft>
              <a:defRPr/>
            </a:pPr>
            <a:r>
              <a:rPr lang="en-US"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Containers (logical)</a:t>
            </a:r>
          </a:p>
        </p:txBody>
      </p:sp>
      <p:sp>
        <p:nvSpPr>
          <p:cNvPr id="152" name="Flowchart: Document 151"/>
          <p:cNvSpPr/>
          <p:nvPr/>
        </p:nvSpPr>
        <p:spPr>
          <a:xfrm>
            <a:off x="1735264" y="824581"/>
            <a:ext cx="642476" cy="410356"/>
          </a:xfrm>
          <a:prstGeom prst="flowChartDocument">
            <a:avLst/>
          </a:prstGeom>
          <a:solidFill>
            <a:schemeClr val="accent6">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r>
              <a:rPr lang="en-US" dirty="0">
                <a:solidFill>
                  <a:srgbClr val="FFFF00"/>
                </a:solidFill>
                <a:latin typeface="Segoe UI Light" panose="020B0502040204020203" pitchFamily="34" charset="0"/>
                <a:cs typeface="Segoe UI Light" panose="020B0502040204020203" pitchFamily="34" charset="0"/>
                <a:sym typeface="Gill Sans" charset="0"/>
              </a:rPr>
              <a:t>C2</a:t>
            </a:r>
          </a:p>
        </p:txBody>
      </p:sp>
      <p:sp>
        <p:nvSpPr>
          <p:cNvPr id="161" name="Flowchart: Document 160"/>
          <p:cNvSpPr/>
          <p:nvPr/>
        </p:nvSpPr>
        <p:spPr>
          <a:xfrm>
            <a:off x="3207989" y="815976"/>
            <a:ext cx="642476" cy="410356"/>
          </a:xfrm>
          <a:prstGeom prst="flowChartDocument">
            <a:avLst/>
          </a:prstGeom>
          <a:solidFill>
            <a:schemeClr val="accent5">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r>
              <a:rPr lang="en-US" dirty="0">
                <a:solidFill>
                  <a:srgbClr val="FFFF00"/>
                </a:solidFill>
                <a:latin typeface="Segoe UI Light" panose="020B0502040204020203" pitchFamily="34" charset="0"/>
                <a:cs typeface="Segoe UI Light" panose="020B0502040204020203" pitchFamily="34" charset="0"/>
                <a:sym typeface="Gill Sans" charset="0"/>
              </a:rPr>
              <a:t>C3</a:t>
            </a:r>
          </a:p>
        </p:txBody>
      </p:sp>
      <p:sp>
        <p:nvSpPr>
          <p:cNvPr id="285" name="TextBox 284"/>
          <p:cNvSpPr txBox="1"/>
          <p:nvPr/>
        </p:nvSpPr>
        <p:spPr>
          <a:xfrm>
            <a:off x="5117583" y="769729"/>
            <a:ext cx="684808" cy="600164"/>
          </a:xfrm>
          <a:prstGeom prst="rect">
            <a:avLst/>
          </a:prstGeom>
          <a:noFill/>
        </p:spPr>
        <p:txBody>
          <a:bodyPr wrap="square" rtlCol="0">
            <a:spAutoFit/>
          </a:bodyPr>
          <a:lstStyle/>
          <a:p>
            <a:pPr algn="ctr" defTabSz="457200" fontAlgn="base">
              <a:spcBef>
                <a:spcPct val="0"/>
              </a:spcBef>
              <a:spcAft>
                <a:spcPct val="0"/>
              </a:spcAft>
              <a:defRPr/>
            </a:pPr>
            <a:r>
              <a:rPr lang="en-US" sz="3300" b="1" dirty="0">
                <a:solidFill>
                  <a:prstClr val="white"/>
                </a:solidFill>
                <a:latin typeface="Gill Sans" charset="0"/>
                <a:ea typeface="Heiti SC Light" charset="-122"/>
                <a:sym typeface="Gill Sans" charset="0"/>
              </a:rPr>
              <a:t>…</a:t>
            </a:r>
          </a:p>
        </p:txBody>
      </p:sp>
      <p:sp>
        <p:nvSpPr>
          <p:cNvPr id="287" name="Down Arrow 286"/>
          <p:cNvSpPr/>
          <p:nvPr/>
        </p:nvSpPr>
        <p:spPr>
          <a:xfrm rot="441143">
            <a:off x="1737914" y="1350198"/>
            <a:ext cx="471386" cy="897845"/>
          </a:xfrm>
          <a:prstGeom prst="downArrow">
            <a:avLst/>
          </a:prstGeom>
          <a:solidFill>
            <a:schemeClr val="accent3">
              <a:lumMod val="75000"/>
            </a:schemeClr>
          </a:solidFill>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sp>
        <p:nvSpPr>
          <p:cNvPr id="288" name="Down Arrow 287"/>
          <p:cNvSpPr/>
          <p:nvPr/>
        </p:nvSpPr>
        <p:spPr>
          <a:xfrm rot="1335975" flipH="1">
            <a:off x="1686415" y="2864463"/>
            <a:ext cx="310903" cy="742943"/>
          </a:xfrm>
          <a:prstGeom prst="downArrow">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sp>
        <p:nvSpPr>
          <p:cNvPr id="289" name="Down Arrow 288"/>
          <p:cNvSpPr/>
          <p:nvPr/>
        </p:nvSpPr>
        <p:spPr>
          <a:xfrm rot="2491222" flipH="1">
            <a:off x="2224908" y="2897868"/>
            <a:ext cx="364076" cy="755813"/>
          </a:xfrm>
          <a:prstGeom prst="downArrow">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sp>
        <p:nvSpPr>
          <p:cNvPr id="290" name="Down Arrow 289"/>
          <p:cNvSpPr/>
          <p:nvPr/>
        </p:nvSpPr>
        <p:spPr>
          <a:xfrm rot="18741104">
            <a:off x="4143660" y="980051"/>
            <a:ext cx="482378" cy="1281114"/>
          </a:xfrm>
          <a:prstGeom prst="downArrow">
            <a:avLst/>
          </a:prstGeom>
          <a:solidFill>
            <a:schemeClr val="accent3">
              <a:lumMod val="75000"/>
            </a:schemeClr>
          </a:solidFill>
        </p:spPr>
        <p:style>
          <a:lnRef idx="1">
            <a:schemeClr val="accent4"/>
          </a:lnRef>
          <a:fillRef idx="2">
            <a:schemeClr val="accent4"/>
          </a:fillRef>
          <a:effectRef idx="1">
            <a:schemeClr val="accent4"/>
          </a:effectRef>
          <a:fontRef idx="minor">
            <a:schemeClr val="dk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sp>
        <p:nvSpPr>
          <p:cNvPr id="291" name="TextBox 290"/>
          <p:cNvSpPr txBox="1"/>
          <p:nvPr/>
        </p:nvSpPr>
        <p:spPr>
          <a:xfrm>
            <a:off x="5227032" y="2342021"/>
            <a:ext cx="684808" cy="600164"/>
          </a:xfrm>
          <a:prstGeom prst="rect">
            <a:avLst/>
          </a:prstGeom>
          <a:noFill/>
        </p:spPr>
        <p:txBody>
          <a:bodyPr wrap="square" rtlCol="0">
            <a:spAutoFit/>
          </a:bodyPr>
          <a:lstStyle/>
          <a:p>
            <a:pPr algn="ctr" defTabSz="457200" fontAlgn="base">
              <a:spcBef>
                <a:spcPct val="0"/>
              </a:spcBef>
              <a:spcAft>
                <a:spcPct val="0"/>
              </a:spcAft>
              <a:defRPr/>
            </a:pPr>
            <a:r>
              <a:rPr lang="en-US" sz="3300" b="1" dirty="0">
                <a:solidFill>
                  <a:prstClr val="white"/>
                </a:solidFill>
                <a:latin typeface="Gill Sans" charset="0"/>
                <a:ea typeface="Heiti SC Light" charset="-122"/>
                <a:sym typeface="Gill Sans" charset="0"/>
              </a:rPr>
              <a:t>…</a:t>
            </a:r>
          </a:p>
        </p:txBody>
      </p:sp>
      <p:grpSp>
        <p:nvGrpSpPr>
          <p:cNvPr id="293" name="Group 292"/>
          <p:cNvGrpSpPr/>
          <p:nvPr/>
        </p:nvGrpSpPr>
        <p:grpSpPr>
          <a:xfrm>
            <a:off x="1950275" y="4250778"/>
            <a:ext cx="8568999" cy="2500658"/>
            <a:chOff x="6438116" y="3358225"/>
            <a:chExt cx="17137997" cy="5001316"/>
          </a:xfrm>
        </p:grpSpPr>
        <p:grpSp>
          <p:nvGrpSpPr>
            <p:cNvPr id="301" name="Group 300"/>
            <p:cNvGrpSpPr/>
            <p:nvPr/>
          </p:nvGrpSpPr>
          <p:grpSpPr>
            <a:xfrm>
              <a:off x="13793511" y="3998906"/>
              <a:ext cx="9782602" cy="4360635"/>
              <a:chOff x="14170479" y="6188874"/>
              <a:chExt cx="9782602" cy="4360635"/>
            </a:xfrm>
          </p:grpSpPr>
          <p:grpSp>
            <p:nvGrpSpPr>
              <p:cNvPr id="302" name="Group 301"/>
              <p:cNvGrpSpPr/>
              <p:nvPr/>
            </p:nvGrpSpPr>
            <p:grpSpPr>
              <a:xfrm>
                <a:off x="14170479" y="6188874"/>
                <a:ext cx="4724402" cy="3944583"/>
                <a:chOff x="376818" y="2357006"/>
                <a:chExt cx="1414653" cy="1211378"/>
              </a:xfrm>
              <a:solidFill>
                <a:schemeClr val="accent1">
                  <a:lumMod val="40000"/>
                  <a:lumOff val="60000"/>
                </a:schemeClr>
              </a:solidFill>
            </p:grpSpPr>
            <p:sp>
              <p:nvSpPr>
                <p:cNvPr id="312" name="Oval 311"/>
                <p:cNvSpPr/>
                <p:nvPr/>
              </p:nvSpPr>
              <p:spPr>
                <a:xfrm>
                  <a:off x="376818" y="2357006"/>
                  <a:ext cx="1414653" cy="1211378"/>
                </a:xfrm>
                <a:prstGeom prst="ellipse">
                  <a:avLst/>
                </a:prstGeom>
                <a:solidFill>
                  <a:schemeClr val="accent1">
                    <a:lumMod val="75000"/>
                  </a:schemeClr>
                </a:solidFill>
                <a:ln>
                  <a:solidFill>
                    <a:schemeClr val="bg1"/>
                  </a:solidFill>
                </a:ln>
              </p:spPr>
              <p:style>
                <a:lnRef idx="0">
                  <a:schemeClr val="accent5"/>
                </a:lnRef>
                <a:fillRef idx="3">
                  <a:schemeClr val="accent5"/>
                </a:fillRef>
                <a:effectRef idx="3">
                  <a:schemeClr val="accent5"/>
                </a:effectRef>
                <a:fontRef idx="minor">
                  <a:schemeClr val="lt1"/>
                </a:fontRef>
              </p:style>
              <p:txBody>
                <a:bodyPr rtlCol="0" anchor="ctr"/>
                <a:lstStyle/>
                <a:p>
                  <a:pPr algn="ctr" defTabSz="457200" fontAlgn="base">
                    <a:spcBef>
                      <a:spcPct val="0"/>
                    </a:spcBef>
                    <a:spcAft>
                      <a:spcPct val="0"/>
                    </a:spcAft>
                    <a:defRPr/>
                  </a:pPr>
                  <a:endParaRPr lang="en-US" sz="800">
                    <a:solidFill>
                      <a:prstClr val="white"/>
                    </a:solidFill>
                    <a:latin typeface="Calibri" panose="020F0502020204030204"/>
                    <a:sym typeface="Gill Sans" charset="0"/>
                  </a:endParaRPr>
                </a:p>
              </p:txBody>
            </p:sp>
            <p:sp>
              <p:nvSpPr>
                <p:cNvPr id="315" name="Rectangle 314"/>
                <p:cNvSpPr/>
                <p:nvPr/>
              </p:nvSpPr>
              <p:spPr>
                <a:xfrm>
                  <a:off x="976500" y="2505458"/>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sp>
              <p:nvSpPr>
                <p:cNvPr id="316" name="Rectangle 315"/>
                <p:cNvSpPr/>
                <p:nvPr/>
              </p:nvSpPr>
              <p:spPr>
                <a:xfrm>
                  <a:off x="612238" y="2731975"/>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sp>
              <p:nvSpPr>
                <p:cNvPr id="317" name="Rectangle 316"/>
                <p:cNvSpPr/>
                <p:nvPr/>
              </p:nvSpPr>
              <p:spPr>
                <a:xfrm>
                  <a:off x="976541" y="2787503"/>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sp>
              <p:nvSpPr>
                <p:cNvPr id="322" name="Rectangle 321"/>
                <p:cNvSpPr/>
                <p:nvPr/>
              </p:nvSpPr>
              <p:spPr>
                <a:xfrm>
                  <a:off x="976500" y="3077658"/>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defRPr/>
                  </a:pPr>
                  <a:endParaRPr lang="en-US" sz="800">
                    <a:solidFill>
                      <a:prstClr val="black"/>
                    </a:solidFill>
                    <a:latin typeface="Calibri" panose="020F0502020204030204"/>
                    <a:sym typeface="Gill Sans" charset="0"/>
                  </a:endParaRPr>
                </a:p>
              </p:txBody>
            </p:sp>
            <p:cxnSp>
              <p:nvCxnSpPr>
                <p:cNvPr id="323" name="Curved Connector 322"/>
                <p:cNvCxnSpPr>
                  <a:stCxn id="316" idx="3"/>
                  <a:endCxn id="322" idx="1"/>
                </p:cNvCxnSpPr>
                <p:nvPr/>
              </p:nvCxnSpPr>
              <p:spPr>
                <a:xfrm>
                  <a:off x="723964" y="2845174"/>
                  <a:ext cx="252536" cy="345683"/>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324" name="Curved Connector 323"/>
                <p:cNvCxnSpPr>
                  <a:stCxn id="316" idx="3"/>
                  <a:endCxn id="315" idx="1"/>
                </p:cNvCxnSpPr>
                <p:nvPr/>
              </p:nvCxnSpPr>
              <p:spPr>
                <a:xfrm flipV="1">
                  <a:off x="723964" y="2618657"/>
                  <a:ext cx="252536" cy="226517"/>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5" name="Curved Connector 324"/>
                <p:cNvCxnSpPr>
                  <a:stCxn id="316" idx="3"/>
                  <a:endCxn id="317" idx="1"/>
                </p:cNvCxnSpPr>
                <p:nvPr/>
              </p:nvCxnSpPr>
              <p:spPr>
                <a:xfrm>
                  <a:off x="723964" y="2845174"/>
                  <a:ext cx="252577" cy="55528"/>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sp>
            <p:nvSpPr>
              <p:cNvPr id="303" name="TextBox 302"/>
              <p:cNvSpPr txBox="1"/>
              <p:nvPr/>
            </p:nvSpPr>
            <p:spPr>
              <a:xfrm>
                <a:off x="14385289" y="8133894"/>
                <a:ext cx="1366144" cy="1169550"/>
              </a:xfrm>
              <a:prstGeom prst="rect">
                <a:avLst/>
              </a:prstGeom>
              <a:noFill/>
            </p:spPr>
            <p:txBody>
              <a:bodyPr wrap="square" rtlCol="0">
                <a:spAutoFit/>
              </a:bodyPr>
              <a:lstStyle/>
              <a:p>
                <a:pPr defTabSz="457200" fontAlgn="base">
                  <a:spcBef>
                    <a:spcPct val="0"/>
                  </a:spcBef>
                  <a:spcAft>
                    <a:spcPct val="0"/>
                  </a:spcAft>
                  <a:defRPr/>
                </a:pPr>
                <a:r>
                  <a:rPr lang="en-US" sz="1600">
                    <a:solidFill>
                      <a:prstClr val="white"/>
                    </a:solidFill>
                    <a:latin typeface="Segoe UI Light" panose="020B0502040204020203" pitchFamily="34" charset="0"/>
                    <a:ea typeface="Heiti SC Light" charset="-122"/>
                    <a:cs typeface="Segoe UI Light" panose="020B0502040204020203" pitchFamily="34" charset="0"/>
                    <a:sym typeface="Gill Sans" charset="0"/>
                  </a:rPr>
                  <a:t>Leader</a:t>
                </a:r>
              </a:p>
            </p:txBody>
          </p:sp>
          <p:sp>
            <p:nvSpPr>
              <p:cNvPr id="304" name="TextBox 303"/>
              <p:cNvSpPr txBox="1"/>
              <p:nvPr/>
            </p:nvSpPr>
            <p:spPr>
              <a:xfrm>
                <a:off x="16589539" y="6723488"/>
                <a:ext cx="1839970" cy="677108"/>
              </a:xfrm>
              <a:prstGeom prst="rect">
                <a:avLst/>
              </a:prstGeom>
              <a:noFill/>
            </p:spPr>
            <p:txBody>
              <a:bodyPr wrap="square" rtlCol="0">
                <a:spAutoFit/>
              </a:bodyPr>
              <a:lstStyle/>
              <a:p>
                <a:pPr defTabSz="457200" fontAlgn="base">
                  <a:spcBef>
                    <a:spcPct val="0"/>
                  </a:spcBef>
                  <a:spcAft>
                    <a:spcPct val="0"/>
                  </a:spcAft>
                  <a:defRPr/>
                </a:pPr>
                <a:r>
                  <a:rPr lang="en-US" sz="1600">
                    <a:solidFill>
                      <a:prstClr val="white"/>
                    </a:solidFill>
                    <a:latin typeface="Segoe UI Light" panose="020B0502040204020203" pitchFamily="34" charset="0"/>
                    <a:ea typeface="Heiti SC Light" charset="-122"/>
                    <a:cs typeface="Segoe UI Light" panose="020B0502040204020203" pitchFamily="34" charset="0"/>
                    <a:sym typeface="Gill Sans" charset="0"/>
                  </a:rPr>
                  <a:t>Follower</a:t>
                </a:r>
              </a:p>
            </p:txBody>
          </p:sp>
          <p:sp>
            <p:nvSpPr>
              <p:cNvPr id="305" name="TextBox 304"/>
              <p:cNvSpPr txBox="1"/>
              <p:nvPr/>
            </p:nvSpPr>
            <p:spPr>
              <a:xfrm>
                <a:off x="16613545" y="7503706"/>
                <a:ext cx="1839970" cy="677108"/>
              </a:xfrm>
              <a:prstGeom prst="rect">
                <a:avLst/>
              </a:prstGeom>
              <a:noFill/>
            </p:spPr>
            <p:txBody>
              <a:bodyPr wrap="square" rtlCol="0">
                <a:spAutoFit/>
              </a:bodyPr>
              <a:lstStyle/>
              <a:p>
                <a:pPr defTabSz="457200" fontAlgn="base">
                  <a:spcBef>
                    <a:spcPct val="0"/>
                  </a:spcBef>
                  <a:spcAft>
                    <a:spcPct val="0"/>
                  </a:spcAft>
                  <a:defRPr/>
                </a:pPr>
                <a:r>
                  <a:rPr lang="en-US" sz="1600">
                    <a:solidFill>
                      <a:prstClr val="white"/>
                    </a:solidFill>
                    <a:latin typeface="Segoe UI Light" panose="020B0502040204020203" pitchFamily="34" charset="0"/>
                    <a:ea typeface="Heiti SC Light" charset="-122"/>
                    <a:cs typeface="Segoe UI Light" panose="020B0502040204020203" pitchFamily="34" charset="0"/>
                    <a:sym typeface="Gill Sans" charset="0"/>
                  </a:rPr>
                  <a:t>Follower</a:t>
                </a:r>
              </a:p>
            </p:txBody>
          </p:sp>
          <p:sp>
            <p:nvSpPr>
              <p:cNvPr id="306" name="TextBox 305"/>
              <p:cNvSpPr txBox="1"/>
              <p:nvPr/>
            </p:nvSpPr>
            <p:spPr>
              <a:xfrm>
                <a:off x="16589539" y="8362305"/>
                <a:ext cx="2202412" cy="677108"/>
              </a:xfrm>
              <a:prstGeom prst="rect">
                <a:avLst/>
              </a:prstGeom>
              <a:noFill/>
            </p:spPr>
            <p:txBody>
              <a:bodyPr wrap="square" rtlCol="0">
                <a:spAutoFit/>
              </a:bodyPr>
              <a:lstStyle/>
              <a:p>
                <a:pPr defTabSz="457200" fontAlgn="base">
                  <a:spcBef>
                    <a:spcPct val="0"/>
                  </a:spcBef>
                  <a:spcAft>
                    <a:spcPct val="0"/>
                  </a:spcAft>
                  <a:defRPr/>
                </a:pPr>
                <a:r>
                  <a:rPr lang="en-US" sz="1600">
                    <a:solidFill>
                      <a:prstClr val="white"/>
                    </a:solidFill>
                    <a:latin typeface="Segoe UI Light" panose="020B0502040204020203" pitchFamily="34" charset="0"/>
                    <a:ea typeface="Heiti SC Light" charset="-122"/>
                    <a:cs typeface="Segoe UI Light" panose="020B0502040204020203" pitchFamily="34" charset="0"/>
                    <a:sym typeface="Gill Sans" charset="0"/>
                  </a:rPr>
                  <a:t>Forwarder</a:t>
                </a:r>
              </a:p>
            </p:txBody>
          </p:sp>
          <p:sp>
            <p:nvSpPr>
              <p:cNvPr id="307" name="TextBox 306"/>
              <p:cNvSpPr txBox="1"/>
              <p:nvPr/>
            </p:nvSpPr>
            <p:spPr>
              <a:xfrm>
                <a:off x="15261041" y="9366803"/>
                <a:ext cx="2195108" cy="677108"/>
              </a:xfrm>
              <a:prstGeom prst="rect">
                <a:avLst/>
              </a:prstGeom>
              <a:noFill/>
            </p:spPr>
            <p:txBody>
              <a:bodyPr wrap="square" rtlCol="0">
                <a:spAutoFit/>
              </a:bodyPr>
              <a:lstStyle/>
              <a:p>
                <a:pPr algn="ctr" defTabSz="457200" fontAlgn="base">
                  <a:spcBef>
                    <a:spcPct val="0"/>
                  </a:spcBef>
                  <a:spcAft>
                    <a:spcPct val="0"/>
                  </a:spcAft>
                  <a:defRPr/>
                </a:pPr>
                <a:r>
                  <a:rPr lang="en-US" sz="1600">
                    <a:solidFill>
                      <a:prstClr val="white"/>
                    </a:solidFill>
                    <a:latin typeface="Segoe UI Light" panose="020B0502040204020203" pitchFamily="34" charset="0"/>
                    <a:ea typeface="Heiti SC Light" charset="-122"/>
                    <a:cs typeface="Segoe UI Light" panose="020B0502040204020203" pitchFamily="34" charset="0"/>
                    <a:sym typeface="Gill Sans" charset="0"/>
                  </a:rPr>
                  <a:t>Replica set</a:t>
                </a:r>
              </a:p>
            </p:txBody>
          </p:sp>
          <p:sp>
            <p:nvSpPr>
              <p:cNvPr id="308" name="Right Brace 307"/>
              <p:cNvSpPr/>
              <p:nvPr/>
            </p:nvSpPr>
            <p:spPr>
              <a:xfrm rot="5400000">
                <a:off x="16011031" y="8035038"/>
                <a:ext cx="720890" cy="2638536"/>
              </a:xfrm>
              <a:prstGeom prst="rightBrac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457200" fontAlgn="base">
                  <a:spcBef>
                    <a:spcPct val="0"/>
                  </a:spcBef>
                  <a:spcAft>
                    <a:spcPct val="0"/>
                  </a:spcAft>
                  <a:defRPr/>
                </a:pPr>
                <a:endParaRPr lang="en-US" sz="5600">
                  <a:solidFill>
                    <a:prstClr val="black"/>
                  </a:solidFill>
                  <a:latin typeface="Calibri" panose="020F0502020204030204"/>
                  <a:sym typeface="Gill Sans" charset="0"/>
                </a:endParaRPr>
              </a:p>
            </p:txBody>
          </p:sp>
          <p:cxnSp>
            <p:nvCxnSpPr>
              <p:cNvPr id="309" name="Curved Connector 308"/>
              <p:cNvCxnSpPr/>
              <p:nvPr/>
            </p:nvCxnSpPr>
            <p:spPr>
              <a:xfrm>
                <a:off x="16517124" y="9036818"/>
                <a:ext cx="3732888" cy="921223"/>
              </a:xfrm>
              <a:prstGeom prst="curvedConnector3">
                <a:avLst>
                  <a:gd name="adj1" fmla="val 50000"/>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11" name="TextBox 310"/>
              <p:cNvSpPr txBox="1"/>
              <p:nvPr/>
            </p:nvSpPr>
            <p:spPr>
              <a:xfrm>
                <a:off x="20150965" y="9379959"/>
                <a:ext cx="3802116" cy="1169550"/>
              </a:xfrm>
              <a:prstGeom prst="rect">
                <a:avLst/>
              </a:prstGeom>
              <a:noFill/>
            </p:spPr>
            <p:txBody>
              <a:bodyPr wrap="square" rtlCol="0">
                <a:spAutoFit/>
              </a:bodyPr>
              <a:lstStyle/>
              <a:p>
                <a:pPr defTabSz="457200" fontAlgn="base">
                  <a:spcBef>
                    <a:spcPct val="0"/>
                  </a:spcBef>
                  <a:spcAft>
                    <a:spcPct val="0"/>
                  </a:spcAft>
                  <a:defRPr/>
                </a:pPr>
                <a:r>
                  <a:rPr lang="en-US" sz="1600">
                    <a:solidFill>
                      <a:prstClr val="white"/>
                    </a:solidFill>
                    <a:latin typeface="Segoe UI Light" panose="020B0502040204020203" pitchFamily="34" charset="0"/>
                    <a:ea typeface="Heiti SC Light" charset="-122"/>
                    <a:cs typeface="Segoe UI Light" panose="020B0502040204020203" pitchFamily="34" charset="0"/>
                    <a:sym typeface="Gill Sans" charset="0"/>
                  </a:rPr>
                  <a:t>To a remote resource partition(s)</a:t>
                </a:r>
              </a:p>
            </p:txBody>
          </p:sp>
        </p:grpSp>
        <p:cxnSp>
          <p:nvCxnSpPr>
            <p:cNvPr id="298" name="Straight Arrow Connector 297"/>
            <p:cNvCxnSpPr>
              <a:stCxn id="222" idx="5"/>
            </p:cNvCxnSpPr>
            <p:nvPr/>
          </p:nvCxnSpPr>
          <p:spPr>
            <a:xfrm>
              <a:off x="6438116" y="3358225"/>
              <a:ext cx="7474250" cy="1955512"/>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grpSp>
      <p:sp>
        <p:nvSpPr>
          <p:cNvPr id="328" name="TextBox 327"/>
          <p:cNvSpPr txBox="1"/>
          <p:nvPr/>
        </p:nvSpPr>
        <p:spPr>
          <a:xfrm>
            <a:off x="50849" y="5495616"/>
            <a:ext cx="7219959" cy="646331"/>
          </a:xfrm>
          <a:prstGeom prst="rect">
            <a:avLst/>
          </a:prstGeom>
          <a:noFill/>
        </p:spPr>
        <p:txBody>
          <a:bodyPr wrap="square" rtlCol="0">
            <a:spAutoFit/>
          </a:bodyPr>
          <a:lstStyle/>
          <a:p>
            <a:pPr defTabSz="457200" fontAlgn="base">
              <a:spcBef>
                <a:spcPct val="0"/>
              </a:spcBef>
              <a:spcAft>
                <a:spcPct val="0"/>
              </a:spcAft>
              <a:defRPr/>
            </a:pPr>
            <a:r>
              <a:rPr lang="en-US"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The key ranges of C1 and C2 both </a:t>
            </a:r>
          </a:p>
          <a:p>
            <a:pPr defTabSz="457200" fontAlgn="base">
              <a:spcBef>
                <a:spcPct val="0"/>
              </a:spcBef>
              <a:spcAft>
                <a:spcPct val="0"/>
              </a:spcAft>
              <a:defRPr/>
            </a:pPr>
            <a:r>
              <a:rPr lang="en-US"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share the underlying resource partition</a:t>
            </a:r>
          </a:p>
        </p:txBody>
      </p:sp>
      <p:sp>
        <p:nvSpPr>
          <p:cNvPr id="329" name="TextBox 328"/>
          <p:cNvSpPr txBox="1"/>
          <p:nvPr/>
        </p:nvSpPr>
        <p:spPr>
          <a:xfrm>
            <a:off x="141896" y="6307051"/>
            <a:ext cx="4530100" cy="646331"/>
          </a:xfrm>
          <a:prstGeom prst="rect">
            <a:avLst/>
          </a:prstGeom>
          <a:noFill/>
        </p:spPr>
        <p:txBody>
          <a:bodyPr wrap="square" rtlCol="0">
            <a:spAutoFit/>
          </a:bodyPr>
          <a:lstStyle/>
          <a:p>
            <a:pPr defTabSz="457200" fontAlgn="base">
              <a:spcBef>
                <a:spcPct val="0"/>
              </a:spcBef>
              <a:spcAft>
                <a:spcPct val="0"/>
              </a:spcAft>
              <a:defRPr/>
            </a:pPr>
            <a:r>
              <a:rPr lang="en-US"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The three key ranges of C3 are </a:t>
            </a:r>
          </a:p>
          <a:p>
            <a:pPr defTabSz="457200" fontAlgn="base">
              <a:spcBef>
                <a:spcPct val="0"/>
              </a:spcBef>
              <a:spcAft>
                <a:spcPct val="0"/>
              </a:spcAft>
              <a:defRPr/>
            </a:pPr>
            <a:r>
              <a:rPr lang="en-US"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distributed across two resource partitions</a:t>
            </a:r>
          </a:p>
        </p:txBody>
      </p:sp>
    </p:spTree>
    <p:custDataLst>
      <p:tags r:id="rId1"/>
    </p:custDataLst>
    <p:extLst>
      <p:ext uri="{BB962C8B-B14F-4D97-AF65-F5344CB8AC3E}">
        <p14:creationId xmlns:p14="http://schemas.microsoft.com/office/powerpoint/2010/main" val="36608563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79271" y="4241127"/>
            <a:ext cx="6297730" cy="2739246"/>
          </a:xfrm>
          <a:prstGeom prst="rect">
            <a:avLst/>
          </a:prstGeom>
          <a:solidFill>
            <a:schemeClr val="accent5">
              <a:lumMod val="5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a:sym typeface="Gill Sans" charset="0"/>
            </a:endParaRPr>
          </a:p>
        </p:txBody>
      </p:sp>
      <p:sp>
        <p:nvSpPr>
          <p:cNvPr id="16" name="Title 5"/>
          <p:cNvSpPr txBox="1">
            <a:spLocks/>
          </p:cNvSpPr>
          <p:nvPr/>
        </p:nvSpPr>
        <p:spPr>
          <a:xfrm>
            <a:off x="6934" y="282285"/>
            <a:ext cx="6470067" cy="727100"/>
          </a:xfrm>
          <a:prstGeom prst="rect">
            <a:avLst/>
          </a:prstGeom>
        </p:spPr>
        <p:txBody>
          <a:bodyPr vert="horz" wrap="square" lIns="137142" tIns="85714" rIns="137142" bIns="85714"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40335"/>
            <a:r>
              <a:rPr lang="en-US" sz="4000" kern="0" spc="-134" dirty="0">
                <a:solidFill>
                  <a:prstClr val="white"/>
                </a:solidFill>
                <a:latin typeface="Segoe UI Light" panose="020B0502040204020203" pitchFamily="34" charset="0"/>
                <a:cs typeface="Segoe UI Light" panose="020B0502040204020203" pitchFamily="34" charset="0"/>
                <a:sym typeface="Gill Sans" charset="0"/>
              </a:rPr>
              <a:t>Fully resource governed stack</a:t>
            </a:r>
          </a:p>
        </p:txBody>
      </p:sp>
      <p:sp>
        <p:nvSpPr>
          <p:cNvPr id="7369" name="TextBox 7368"/>
          <p:cNvSpPr txBox="1"/>
          <p:nvPr/>
        </p:nvSpPr>
        <p:spPr>
          <a:xfrm>
            <a:off x="6627309" y="1166622"/>
            <a:ext cx="5526367" cy="5687711"/>
          </a:xfrm>
          <a:prstGeom prst="rect">
            <a:avLst/>
          </a:prstGeom>
          <a:noFill/>
        </p:spPr>
        <p:txBody>
          <a:bodyPr wrap="square" lIns="91440" tIns="73152" rIns="91440" bIns="73152" rtlCol="0">
            <a:spAutoFit/>
          </a:bodyPr>
          <a:lstStyle/>
          <a:p>
            <a:pPr marL="171450" indent="-171450" defTabSz="448193" fontAlgn="base">
              <a:spcBef>
                <a:spcPct val="0"/>
              </a:spcBef>
              <a:spcAft>
                <a:spcPct val="0"/>
              </a:spcAft>
              <a:buFont typeface="Arial" panose="020B0604020202020204" pitchFamily="34" charset="0"/>
              <a:buChar char="•"/>
            </a:pPr>
            <a:r>
              <a:rPr lang="en-US" sz="2000" kern="0" dirty="0">
                <a:solidFill>
                  <a:srgbClr val="FFFF00"/>
                </a:solidFill>
                <a:latin typeface="Segoe UI Light" panose="020B0502040204020203" pitchFamily="34" charset="0"/>
                <a:ea typeface="Heiti SC Light" charset="-122"/>
                <a:cs typeface="Segoe UI Light" panose="020B0502040204020203" pitchFamily="34" charset="0"/>
                <a:sym typeface="Gill Sans" charset="0"/>
              </a:rPr>
              <a:t>Request Unit (RU)</a:t>
            </a:r>
          </a:p>
          <a:p>
            <a:pPr marL="400050" lvl="1" indent="-171450" defTabSz="448193" fontAlgn="base">
              <a:spcBef>
                <a:spcPct val="0"/>
              </a:spcBef>
              <a:spcAft>
                <a:spcPct val="0"/>
              </a:spcAft>
              <a:buFont typeface="Arial" panose="020B0604020202020204" pitchFamily="34" charset="0"/>
              <a:buChar char="•"/>
            </a:pPr>
            <a:r>
              <a:rPr lang="en-US" sz="2000" kern="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ate based currency (/sec)</a:t>
            </a:r>
          </a:p>
          <a:p>
            <a:pPr marL="400050" lvl="1" indent="-171450" defTabSz="448193" fontAlgn="base">
              <a:spcBef>
                <a:spcPct val="0"/>
              </a:spcBef>
              <a:spcAft>
                <a:spcPct val="0"/>
              </a:spcAft>
              <a:buFont typeface="Arial" panose="020B0604020202020204" pitchFamily="34" charset="0"/>
              <a:buChar char="•"/>
            </a:pPr>
            <a:r>
              <a:rPr lang="en-US" sz="2000" kern="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Normalized across various database operations</a:t>
            </a:r>
          </a:p>
          <a:p>
            <a:pPr marL="400050" lvl="1" indent="-171450" defTabSz="448193" fontAlgn="base">
              <a:spcBef>
                <a:spcPct val="0"/>
              </a:spcBef>
              <a:spcAft>
                <a:spcPct val="0"/>
              </a:spcAft>
              <a:buFont typeface="Arial" panose="020B0604020202020204" pitchFamily="34" charset="0"/>
              <a:buChar char="•"/>
            </a:pPr>
            <a:r>
              <a:rPr lang="en-US" sz="2000" kern="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ML pipeline to calculate the query charges across different datasets and query patterns </a:t>
            </a:r>
          </a:p>
          <a:p>
            <a:pPr marL="400050" lvl="1" indent="-171450" defTabSz="448193" fontAlgn="base">
              <a:spcBef>
                <a:spcPct val="0"/>
              </a:spcBef>
              <a:spcAft>
                <a:spcPct val="0"/>
              </a:spcAft>
              <a:buFont typeface="Arial" panose="020B0604020202020204" pitchFamily="34" charset="0"/>
              <a:buChar char="•"/>
            </a:pPr>
            <a:r>
              <a:rPr lang="en-US" sz="2000" kern="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Need to remain consistent across hardware generations</a:t>
            </a:r>
          </a:p>
          <a:p>
            <a:pPr marL="228600" lvl="1" defTabSz="448193" fontAlgn="base">
              <a:spcBef>
                <a:spcPct val="0"/>
              </a:spcBef>
              <a:spcAft>
                <a:spcPct val="0"/>
              </a:spcAft>
            </a:pPr>
            <a:endParaRPr lang="en-US" sz="2000" kern="0" dirty="0">
              <a:solidFill>
                <a:prstClr val="white"/>
              </a:solidFill>
              <a:latin typeface="Segoe UI Light" panose="020B0502040204020203" pitchFamily="34" charset="0"/>
              <a:ea typeface="Heiti SC Light" charset="-122"/>
              <a:cs typeface="Segoe UI Light" panose="020B0502040204020203" pitchFamily="34" charset="0"/>
              <a:sym typeface="Gill Sans" charset="0"/>
            </a:endParaRPr>
          </a:p>
          <a:p>
            <a:pPr marL="228600" lvl="1" defTabSz="448193" fontAlgn="base">
              <a:spcBef>
                <a:spcPct val="0"/>
              </a:spcBef>
              <a:spcAft>
                <a:spcPct val="0"/>
              </a:spcAft>
            </a:pPr>
            <a:r>
              <a:rPr lang="en-US" sz="2000" kern="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Capacity management, COGS, SLA, margins, pricing, all depend on stringent resource governance across the entire stack</a:t>
            </a:r>
          </a:p>
          <a:p>
            <a:pPr marL="228600" lvl="1" defTabSz="448193" fontAlgn="base">
              <a:spcBef>
                <a:spcPct val="0"/>
              </a:spcBef>
              <a:spcAft>
                <a:spcPct val="0"/>
              </a:spcAft>
            </a:pPr>
            <a:endParaRPr lang="en-US" sz="2000" kern="0" dirty="0">
              <a:solidFill>
                <a:prstClr val="white"/>
              </a:solidFill>
              <a:latin typeface="Segoe UI Light" panose="020B0502040204020203" pitchFamily="34" charset="0"/>
              <a:ea typeface="Heiti SC Light" charset="-122"/>
              <a:cs typeface="Segoe UI Light" panose="020B0502040204020203" pitchFamily="34" charset="0"/>
              <a:sym typeface="Gill Sans" charset="0"/>
            </a:endParaRPr>
          </a:p>
          <a:p>
            <a:pPr marL="171450" indent="-171450" defTabSz="448193" fontAlgn="base">
              <a:spcBef>
                <a:spcPct val="0"/>
              </a:spcBef>
              <a:spcAft>
                <a:spcPct val="0"/>
              </a:spcAft>
              <a:buFont typeface="Arial" panose="020B0604020202020204" pitchFamily="34" charset="0"/>
              <a:buChar char="•"/>
            </a:pPr>
            <a:r>
              <a:rPr lang="en-US" sz="2000" kern="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utomated perf and RG runs every four hours to detect regressions</a:t>
            </a:r>
          </a:p>
          <a:p>
            <a:pPr marL="171450" indent="-171450" defTabSz="448193" fontAlgn="base">
              <a:spcBef>
                <a:spcPct val="0"/>
              </a:spcBef>
              <a:spcAft>
                <a:spcPct val="0"/>
              </a:spcAft>
              <a:buFont typeface="Arial" panose="020B0604020202020204" pitchFamily="34" charset="0"/>
              <a:buChar char="•"/>
            </a:pPr>
            <a:r>
              <a:rPr lang="en-US" sz="2000" kern="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ll engine micro-operations are finely calibrated to live within the fixed budgets of system resources</a:t>
            </a:r>
          </a:p>
        </p:txBody>
      </p:sp>
      <p:sp>
        <p:nvSpPr>
          <p:cNvPr id="31" name="TextBox 30"/>
          <p:cNvSpPr txBox="1"/>
          <p:nvPr/>
        </p:nvSpPr>
        <p:spPr>
          <a:xfrm>
            <a:off x="269332" y="1439238"/>
            <a:ext cx="1052266" cy="307777"/>
          </a:xfrm>
          <a:prstGeom prst="rect">
            <a:avLst/>
          </a:prstGeom>
          <a:noFill/>
        </p:spPr>
        <p:txBody>
          <a:bodyPr wrap="square" rtlCol="0">
            <a:spAutoFit/>
          </a:bodyPr>
          <a:lstStyle/>
          <a:p>
            <a:pPr defTabSz="457200" fontAlgn="base">
              <a:spcBef>
                <a:spcPct val="0"/>
              </a:spcBef>
              <a:spcAft>
                <a:spcPct val="0"/>
              </a:spcAft>
            </a:pPr>
            <a:r>
              <a:rPr lang="en-US" sz="14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 Memory</a:t>
            </a:r>
          </a:p>
        </p:txBody>
      </p:sp>
      <p:pic>
        <p:nvPicPr>
          <p:cNvPr id="45" name="Picture 44"/>
          <p:cNvPicPr>
            <a:picLocks noChangeAspect="1"/>
          </p:cNvPicPr>
          <p:nvPr/>
        </p:nvPicPr>
        <p:blipFill>
          <a:blip r:embed="rId3"/>
          <a:stretch>
            <a:fillRect/>
          </a:stretch>
        </p:blipFill>
        <p:spPr>
          <a:xfrm>
            <a:off x="493227" y="1875010"/>
            <a:ext cx="987638" cy="926673"/>
          </a:xfrm>
          <a:prstGeom prst="rect">
            <a:avLst/>
          </a:prstGeom>
        </p:spPr>
      </p:pic>
      <p:sp>
        <p:nvSpPr>
          <p:cNvPr id="47" name="TextBox 46"/>
          <p:cNvSpPr txBox="1"/>
          <p:nvPr/>
        </p:nvSpPr>
        <p:spPr>
          <a:xfrm>
            <a:off x="1656083" y="2573238"/>
            <a:ext cx="838200" cy="307777"/>
          </a:xfrm>
          <a:prstGeom prst="rect">
            <a:avLst/>
          </a:prstGeom>
          <a:noFill/>
        </p:spPr>
        <p:txBody>
          <a:bodyPr wrap="square" rtlCol="0">
            <a:spAutoFit/>
          </a:bodyPr>
          <a:lstStyle/>
          <a:p>
            <a:pPr defTabSz="457200" fontAlgn="base">
              <a:spcBef>
                <a:spcPct val="0"/>
              </a:spcBef>
              <a:spcAft>
                <a:spcPct val="0"/>
              </a:spcAft>
            </a:pPr>
            <a:r>
              <a:rPr lang="en-US" sz="14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 IOPS</a:t>
            </a:r>
          </a:p>
        </p:txBody>
      </p:sp>
      <p:sp>
        <p:nvSpPr>
          <p:cNvPr id="48" name="TextBox 47"/>
          <p:cNvSpPr txBox="1"/>
          <p:nvPr/>
        </p:nvSpPr>
        <p:spPr>
          <a:xfrm>
            <a:off x="1544876" y="1875010"/>
            <a:ext cx="847989" cy="307777"/>
          </a:xfrm>
          <a:prstGeom prst="rect">
            <a:avLst/>
          </a:prstGeom>
          <a:noFill/>
        </p:spPr>
        <p:txBody>
          <a:bodyPr wrap="square" rtlCol="0">
            <a:spAutoFit/>
          </a:bodyPr>
          <a:lstStyle/>
          <a:p>
            <a:pPr defTabSz="457200" fontAlgn="base">
              <a:spcBef>
                <a:spcPct val="0"/>
              </a:spcBef>
              <a:spcAft>
                <a:spcPct val="0"/>
              </a:spcAft>
            </a:pPr>
            <a:r>
              <a:rPr lang="en-US" sz="14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 CPU</a:t>
            </a:r>
          </a:p>
        </p:txBody>
      </p:sp>
      <p:cxnSp>
        <p:nvCxnSpPr>
          <p:cNvPr id="49" name="Curved Connector 48"/>
          <p:cNvCxnSpPr>
            <a:stCxn id="47" idx="1"/>
          </p:cNvCxnSpPr>
          <p:nvPr/>
        </p:nvCxnSpPr>
        <p:spPr>
          <a:xfrm rot="10800000">
            <a:off x="1066469" y="2575823"/>
            <a:ext cx="589614" cy="151305"/>
          </a:xfrm>
          <a:prstGeom prst="curvedConnector3">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Curved Connector 51"/>
          <p:cNvCxnSpPr/>
          <p:nvPr/>
        </p:nvCxnSpPr>
        <p:spPr>
          <a:xfrm rot="10800000" flipV="1">
            <a:off x="1102463" y="2051124"/>
            <a:ext cx="553620" cy="237586"/>
          </a:xfrm>
          <a:prstGeom prst="curvedConnector3">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Curved Connector 53"/>
          <p:cNvCxnSpPr/>
          <p:nvPr/>
        </p:nvCxnSpPr>
        <p:spPr>
          <a:xfrm rot="5400000">
            <a:off x="442865" y="1900739"/>
            <a:ext cx="520063" cy="94897"/>
          </a:xfrm>
          <a:prstGeom prst="curvedConnector3">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192204" y="2907800"/>
            <a:ext cx="1923786" cy="369332"/>
          </a:xfrm>
          <a:prstGeom prst="rect">
            <a:avLst/>
          </a:prstGeom>
          <a:noFill/>
        </p:spPr>
        <p:txBody>
          <a:bodyPr wrap="square" rtlCol="0">
            <a:spAutoFit/>
          </a:bodyPr>
          <a:lstStyle/>
          <a:p>
            <a:pPr defTabSz="457200" fontAlgn="base">
              <a:spcBef>
                <a:spcPct val="0"/>
              </a:spcBef>
              <a:spcAft>
                <a:spcPct val="0"/>
              </a:spcAft>
            </a:pPr>
            <a:r>
              <a:rPr lang="en-US" dirty="0">
                <a:solidFill>
                  <a:srgbClr val="FFC000"/>
                </a:solidFill>
                <a:latin typeface="Segoe UI Light" panose="020B0502040204020203" pitchFamily="34" charset="0"/>
                <a:ea typeface="Heiti SC Light" charset="-122"/>
                <a:cs typeface="Segoe UI Light" panose="020B0502040204020203" pitchFamily="34" charset="0"/>
                <a:sym typeface="Gill Sans" charset="0"/>
              </a:rPr>
              <a:t>Request Unit (RU)</a:t>
            </a:r>
          </a:p>
        </p:txBody>
      </p:sp>
      <p:pic>
        <p:nvPicPr>
          <p:cNvPr id="58" name="Picture 57"/>
          <p:cNvPicPr>
            <a:picLocks noChangeAspect="1"/>
          </p:cNvPicPr>
          <p:nvPr/>
        </p:nvPicPr>
        <p:blipFill>
          <a:blip r:embed="rId4"/>
          <a:stretch>
            <a:fillRect/>
          </a:stretch>
        </p:blipFill>
        <p:spPr>
          <a:xfrm>
            <a:off x="4191566" y="1428784"/>
            <a:ext cx="257118" cy="241247"/>
          </a:xfrm>
          <a:prstGeom prst="rect">
            <a:avLst/>
          </a:prstGeom>
        </p:spPr>
      </p:pic>
      <p:sp>
        <p:nvSpPr>
          <p:cNvPr id="59" name="TextBox 58"/>
          <p:cNvSpPr txBox="1"/>
          <p:nvPr/>
        </p:nvSpPr>
        <p:spPr>
          <a:xfrm>
            <a:off x="2692524" y="1403213"/>
            <a:ext cx="838200"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a:t>
            </a:r>
          </a:p>
        </p:txBody>
      </p:sp>
      <p:sp>
        <p:nvSpPr>
          <p:cNvPr id="60" name="TextBox 59"/>
          <p:cNvSpPr txBox="1"/>
          <p:nvPr/>
        </p:nvSpPr>
        <p:spPr>
          <a:xfrm>
            <a:off x="3491442" y="1403213"/>
            <a:ext cx="838200"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t>
            </a:r>
          </a:p>
        </p:txBody>
      </p:sp>
      <p:pic>
        <p:nvPicPr>
          <p:cNvPr id="61" name="Picture 60"/>
          <p:cNvPicPr>
            <a:picLocks noChangeAspect="1"/>
          </p:cNvPicPr>
          <p:nvPr/>
        </p:nvPicPr>
        <p:blipFill>
          <a:blip r:embed="rId4"/>
          <a:stretch>
            <a:fillRect/>
          </a:stretch>
        </p:blipFill>
        <p:spPr>
          <a:xfrm>
            <a:off x="4170660" y="1845135"/>
            <a:ext cx="257118" cy="241247"/>
          </a:xfrm>
          <a:prstGeom prst="rect">
            <a:avLst/>
          </a:prstGeom>
        </p:spPr>
      </p:pic>
      <p:sp>
        <p:nvSpPr>
          <p:cNvPr id="62" name="TextBox 61"/>
          <p:cNvSpPr txBox="1"/>
          <p:nvPr/>
        </p:nvSpPr>
        <p:spPr>
          <a:xfrm>
            <a:off x="2709845" y="1812125"/>
            <a:ext cx="838200"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INSERT</a:t>
            </a:r>
          </a:p>
        </p:txBody>
      </p:sp>
      <p:sp>
        <p:nvSpPr>
          <p:cNvPr id="63" name="TextBox 62"/>
          <p:cNvSpPr txBox="1"/>
          <p:nvPr/>
        </p:nvSpPr>
        <p:spPr>
          <a:xfrm>
            <a:off x="3548045" y="1813504"/>
            <a:ext cx="838200"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t>
            </a:r>
          </a:p>
        </p:txBody>
      </p:sp>
      <p:pic>
        <p:nvPicPr>
          <p:cNvPr id="64" name="Picture 63"/>
          <p:cNvPicPr>
            <a:picLocks noChangeAspect="1"/>
          </p:cNvPicPr>
          <p:nvPr/>
        </p:nvPicPr>
        <p:blipFill>
          <a:blip r:embed="rId4"/>
          <a:stretch>
            <a:fillRect/>
          </a:stretch>
        </p:blipFill>
        <p:spPr>
          <a:xfrm>
            <a:off x="4497766" y="1837695"/>
            <a:ext cx="257118" cy="241247"/>
          </a:xfrm>
          <a:prstGeom prst="rect">
            <a:avLst/>
          </a:prstGeom>
        </p:spPr>
      </p:pic>
      <p:pic>
        <p:nvPicPr>
          <p:cNvPr id="65" name="Picture 64"/>
          <p:cNvPicPr>
            <a:picLocks noChangeAspect="1"/>
          </p:cNvPicPr>
          <p:nvPr/>
        </p:nvPicPr>
        <p:blipFill>
          <a:blip r:embed="rId4"/>
          <a:stretch>
            <a:fillRect/>
          </a:stretch>
        </p:blipFill>
        <p:spPr>
          <a:xfrm>
            <a:off x="4824872" y="1835854"/>
            <a:ext cx="257118" cy="241247"/>
          </a:xfrm>
          <a:prstGeom prst="rect">
            <a:avLst/>
          </a:prstGeom>
        </p:spPr>
      </p:pic>
      <p:pic>
        <p:nvPicPr>
          <p:cNvPr id="66" name="Picture 65"/>
          <p:cNvPicPr>
            <a:picLocks noChangeAspect="1"/>
          </p:cNvPicPr>
          <p:nvPr/>
        </p:nvPicPr>
        <p:blipFill>
          <a:blip r:embed="rId4"/>
          <a:stretch>
            <a:fillRect/>
          </a:stretch>
        </p:blipFill>
        <p:spPr>
          <a:xfrm>
            <a:off x="4150033" y="2280881"/>
            <a:ext cx="257118" cy="241247"/>
          </a:xfrm>
          <a:prstGeom prst="rect">
            <a:avLst/>
          </a:prstGeom>
        </p:spPr>
      </p:pic>
      <p:sp>
        <p:nvSpPr>
          <p:cNvPr id="67" name="TextBox 66"/>
          <p:cNvSpPr txBox="1"/>
          <p:nvPr/>
        </p:nvSpPr>
        <p:spPr>
          <a:xfrm>
            <a:off x="2624026" y="2247870"/>
            <a:ext cx="933564"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UPSERT</a:t>
            </a:r>
          </a:p>
        </p:txBody>
      </p:sp>
      <p:sp>
        <p:nvSpPr>
          <p:cNvPr id="68" name="TextBox 67"/>
          <p:cNvSpPr txBox="1"/>
          <p:nvPr/>
        </p:nvSpPr>
        <p:spPr>
          <a:xfrm>
            <a:off x="3540269" y="2226981"/>
            <a:ext cx="838200"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t>
            </a:r>
          </a:p>
        </p:txBody>
      </p:sp>
      <p:pic>
        <p:nvPicPr>
          <p:cNvPr id="69" name="Picture 68"/>
          <p:cNvPicPr>
            <a:picLocks noChangeAspect="1"/>
          </p:cNvPicPr>
          <p:nvPr/>
        </p:nvPicPr>
        <p:blipFill>
          <a:blip r:embed="rId4"/>
          <a:stretch>
            <a:fillRect/>
          </a:stretch>
        </p:blipFill>
        <p:spPr>
          <a:xfrm>
            <a:off x="4477139" y="2273440"/>
            <a:ext cx="257118" cy="241247"/>
          </a:xfrm>
          <a:prstGeom prst="rect">
            <a:avLst/>
          </a:prstGeom>
        </p:spPr>
      </p:pic>
      <p:pic>
        <p:nvPicPr>
          <p:cNvPr id="70" name="Picture 69"/>
          <p:cNvPicPr>
            <a:picLocks noChangeAspect="1"/>
          </p:cNvPicPr>
          <p:nvPr/>
        </p:nvPicPr>
        <p:blipFill>
          <a:blip r:embed="rId4"/>
          <a:stretch>
            <a:fillRect/>
          </a:stretch>
        </p:blipFill>
        <p:spPr>
          <a:xfrm>
            <a:off x="4804245" y="2271599"/>
            <a:ext cx="257118" cy="241247"/>
          </a:xfrm>
          <a:prstGeom prst="rect">
            <a:avLst/>
          </a:prstGeom>
        </p:spPr>
      </p:pic>
      <p:pic>
        <p:nvPicPr>
          <p:cNvPr id="71" name="Picture 70"/>
          <p:cNvPicPr>
            <a:picLocks noChangeAspect="1"/>
          </p:cNvPicPr>
          <p:nvPr/>
        </p:nvPicPr>
        <p:blipFill>
          <a:blip r:embed="rId4"/>
          <a:stretch>
            <a:fillRect/>
          </a:stretch>
        </p:blipFill>
        <p:spPr>
          <a:xfrm>
            <a:off x="4153339" y="2697114"/>
            <a:ext cx="257118" cy="241247"/>
          </a:xfrm>
          <a:prstGeom prst="rect">
            <a:avLst/>
          </a:prstGeom>
        </p:spPr>
      </p:pic>
      <p:sp>
        <p:nvSpPr>
          <p:cNvPr id="72" name="TextBox 71"/>
          <p:cNvSpPr txBox="1"/>
          <p:nvPr/>
        </p:nvSpPr>
        <p:spPr>
          <a:xfrm>
            <a:off x="2722696" y="2664104"/>
            <a:ext cx="838200"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DELETE</a:t>
            </a:r>
          </a:p>
        </p:txBody>
      </p:sp>
      <p:sp>
        <p:nvSpPr>
          <p:cNvPr id="73" name="TextBox 72"/>
          <p:cNvSpPr txBox="1"/>
          <p:nvPr/>
        </p:nvSpPr>
        <p:spPr>
          <a:xfrm>
            <a:off x="3530724" y="2665483"/>
            <a:ext cx="838200"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t>
            </a:r>
          </a:p>
        </p:txBody>
      </p:sp>
      <p:pic>
        <p:nvPicPr>
          <p:cNvPr id="74" name="Picture 73"/>
          <p:cNvPicPr>
            <a:picLocks noChangeAspect="1"/>
          </p:cNvPicPr>
          <p:nvPr/>
        </p:nvPicPr>
        <p:blipFill>
          <a:blip r:embed="rId4"/>
          <a:stretch>
            <a:fillRect/>
          </a:stretch>
        </p:blipFill>
        <p:spPr>
          <a:xfrm>
            <a:off x="4480445" y="2689674"/>
            <a:ext cx="257118" cy="241247"/>
          </a:xfrm>
          <a:prstGeom prst="rect">
            <a:avLst/>
          </a:prstGeom>
        </p:spPr>
      </p:pic>
      <p:pic>
        <p:nvPicPr>
          <p:cNvPr id="75" name="Picture 74"/>
          <p:cNvPicPr>
            <a:picLocks noChangeAspect="1"/>
          </p:cNvPicPr>
          <p:nvPr/>
        </p:nvPicPr>
        <p:blipFill>
          <a:blip r:embed="rId4"/>
          <a:stretch>
            <a:fillRect/>
          </a:stretch>
        </p:blipFill>
        <p:spPr>
          <a:xfrm>
            <a:off x="5114030" y="3122481"/>
            <a:ext cx="257118" cy="241247"/>
          </a:xfrm>
          <a:prstGeom prst="rect">
            <a:avLst/>
          </a:prstGeom>
        </p:spPr>
      </p:pic>
      <p:pic>
        <p:nvPicPr>
          <p:cNvPr id="76" name="Picture 75"/>
          <p:cNvPicPr>
            <a:picLocks noChangeAspect="1"/>
          </p:cNvPicPr>
          <p:nvPr/>
        </p:nvPicPr>
        <p:blipFill>
          <a:blip r:embed="rId4"/>
          <a:stretch>
            <a:fillRect/>
          </a:stretch>
        </p:blipFill>
        <p:spPr>
          <a:xfrm>
            <a:off x="4132712" y="3132860"/>
            <a:ext cx="257118" cy="241247"/>
          </a:xfrm>
          <a:prstGeom prst="rect">
            <a:avLst/>
          </a:prstGeom>
        </p:spPr>
      </p:pic>
      <p:sp>
        <p:nvSpPr>
          <p:cNvPr id="77" name="TextBox 76"/>
          <p:cNvSpPr txBox="1"/>
          <p:nvPr/>
        </p:nvSpPr>
        <p:spPr>
          <a:xfrm>
            <a:off x="2702069" y="3099849"/>
            <a:ext cx="838200"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QUERY</a:t>
            </a:r>
          </a:p>
        </p:txBody>
      </p:sp>
      <p:sp>
        <p:nvSpPr>
          <p:cNvPr id="78" name="TextBox 77"/>
          <p:cNvSpPr txBox="1"/>
          <p:nvPr/>
        </p:nvSpPr>
        <p:spPr>
          <a:xfrm>
            <a:off x="3522948" y="3078960"/>
            <a:ext cx="838200"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t>
            </a:r>
          </a:p>
        </p:txBody>
      </p:sp>
      <p:pic>
        <p:nvPicPr>
          <p:cNvPr id="79" name="Picture 78"/>
          <p:cNvPicPr>
            <a:picLocks noChangeAspect="1"/>
          </p:cNvPicPr>
          <p:nvPr/>
        </p:nvPicPr>
        <p:blipFill>
          <a:blip r:embed="rId4"/>
          <a:stretch>
            <a:fillRect/>
          </a:stretch>
        </p:blipFill>
        <p:spPr>
          <a:xfrm>
            <a:off x="4459818" y="3125419"/>
            <a:ext cx="257118" cy="241247"/>
          </a:xfrm>
          <a:prstGeom prst="rect">
            <a:avLst/>
          </a:prstGeom>
        </p:spPr>
      </p:pic>
      <p:pic>
        <p:nvPicPr>
          <p:cNvPr id="80" name="Picture 79"/>
          <p:cNvPicPr>
            <a:picLocks noChangeAspect="1"/>
          </p:cNvPicPr>
          <p:nvPr/>
        </p:nvPicPr>
        <p:blipFill>
          <a:blip r:embed="rId4"/>
          <a:stretch>
            <a:fillRect/>
          </a:stretch>
        </p:blipFill>
        <p:spPr>
          <a:xfrm>
            <a:off x="4786924" y="3123578"/>
            <a:ext cx="257118" cy="241247"/>
          </a:xfrm>
          <a:prstGeom prst="rect">
            <a:avLst/>
          </a:prstGeom>
        </p:spPr>
      </p:pic>
      <p:sp>
        <p:nvSpPr>
          <p:cNvPr id="81" name="TextBox 80"/>
          <p:cNvSpPr txBox="1"/>
          <p:nvPr/>
        </p:nvSpPr>
        <p:spPr>
          <a:xfrm>
            <a:off x="5458663" y="3038294"/>
            <a:ext cx="549195" cy="400110"/>
          </a:xfrm>
          <a:prstGeom prst="rect">
            <a:avLst/>
          </a:prstGeom>
          <a:noFill/>
        </p:spPr>
        <p:txBody>
          <a:bodyPr wrap="square" rtlCol="0">
            <a:spAutoFit/>
          </a:bodyPr>
          <a:lstStyle/>
          <a:p>
            <a:pPr defTabSz="457200" fontAlgn="base">
              <a:spcBef>
                <a:spcPct val="0"/>
              </a:spcBef>
              <a:spcAft>
                <a:spcPct val="0"/>
              </a:spcAft>
            </a:pPr>
            <a:r>
              <a:rPr lang="en-US" sz="20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t>
            </a:r>
          </a:p>
        </p:txBody>
      </p:sp>
      <p:sp>
        <p:nvSpPr>
          <p:cNvPr id="82" name="TextBox 81"/>
          <p:cNvSpPr txBox="1"/>
          <p:nvPr/>
        </p:nvSpPr>
        <p:spPr>
          <a:xfrm>
            <a:off x="2514599" y="3478214"/>
            <a:ext cx="3659177" cy="369332"/>
          </a:xfrm>
          <a:prstGeom prst="rect">
            <a:avLst/>
          </a:prstGeom>
          <a:noFill/>
        </p:spPr>
        <p:txBody>
          <a:bodyPr wrap="square" rtlCol="0">
            <a:spAutoFit/>
          </a:bodyPr>
          <a:lstStyle/>
          <a:p>
            <a:pPr defTabSz="457200" fontAlgn="base">
              <a:spcBef>
                <a:spcPct val="0"/>
              </a:spcBef>
              <a:spcAft>
                <a:spcPct val="0"/>
              </a:spcAft>
            </a:pPr>
            <a:r>
              <a:rPr lang="en-US" dirty="0">
                <a:solidFill>
                  <a:srgbClr val="FFC000"/>
                </a:solidFill>
                <a:latin typeface="Segoe UI Light" panose="020B0502040204020203" pitchFamily="34" charset="0"/>
                <a:ea typeface="Heiti SC Light" charset="-122"/>
                <a:cs typeface="Segoe UI Light" panose="020B0502040204020203" pitchFamily="34" charset="0"/>
                <a:sym typeface="Gill Sans" charset="0"/>
              </a:rPr>
              <a:t>Database operations consume RUs</a:t>
            </a:r>
          </a:p>
        </p:txBody>
      </p:sp>
      <p:pic>
        <p:nvPicPr>
          <p:cNvPr id="39" name="Picture 38"/>
          <p:cNvPicPr>
            <a:picLocks noChangeAspect="1"/>
          </p:cNvPicPr>
          <p:nvPr/>
        </p:nvPicPr>
        <p:blipFill>
          <a:blip r:embed="rId5"/>
          <a:stretch>
            <a:fillRect/>
          </a:stretch>
        </p:blipFill>
        <p:spPr>
          <a:xfrm>
            <a:off x="1872146" y="4492727"/>
            <a:ext cx="290149" cy="361650"/>
          </a:xfrm>
          <a:prstGeom prst="rect">
            <a:avLst/>
          </a:prstGeom>
          <a:solidFill>
            <a:schemeClr val="accent2">
              <a:lumMod val="60000"/>
              <a:lumOff val="40000"/>
            </a:schemeClr>
          </a:solidFill>
          <a:ln w="3175">
            <a:noFill/>
          </a:ln>
        </p:spPr>
      </p:pic>
      <p:pic>
        <p:nvPicPr>
          <p:cNvPr id="40" name="Picture 39"/>
          <p:cNvPicPr>
            <a:picLocks noChangeAspect="1"/>
          </p:cNvPicPr>
          <p:nvPr/>
        </p:nvPicPr>
        <p:blipFill>
          <a:blip r:embed="rId6"/>
          <a:stretch>
            <a:fillRect/>
          </a:stretch>
        </p:blipFill>
        <p:spPr>
          <a:xfrm>
            <a:off x="4046596" y="4525922"/>
            <a:ext cx="359609" cy="367370"/>
          </a:xfrm>
          <a:prstGeom prst="rect">
            <a:avLst/>
          </a:prstGeom>
        </p:spPr>
      </p:pic>
      <p:pic>
        <p:nvPicPr>
          <p:cNvPr id="41" name="Picture 40"/>
          <p:cNvPicPr>
            <a:picLocks noChangeAspect="1"/>
          </p:cNvPicPr>
          <p:nvPr/>
        </p:nvPicPr>
        <p:blipFill>
          <a:blip r:embed="rId7"/>
          <a:stretch>
            <a:fillRect/>
          </a:stretch>
        </p:blipFill>
        <p:spPr>
          <a:xfrm>
            <a:off x="5250801" y="4556406"/>
            <a:ext cx="325159" cy="336911"/>
          </a:xfrm>
          <a:prstGeom prst="rect">
            <a:avLst/>
          </a:prstGeom>
        </p:spPr>
      </p:pic>
      <p:sp>
        <p:nvSpPr>
          <p:cNvPr id="42" name="Isosceles Triangle 41">
            <a:extLst>
              <a:ext uri="{FF2B5EF4-FFF2-40B4-BE49-F238E27FC236}">
                <a16:creationId xmlns:a16="http://schemas.microsoft.com/office/drawing/2014/main" id="{0C66B03E-D6DA-4F98-B224-9F261F331F10}"/>
              </a:ext>
            </a:extLst>
          </p:cNvPr>
          <p:cNvSpPr/>
          <p:nvPr/>
        </p:nvSpPr>
        <p:spPr>
          <a:xfrm>
            <a:off x="2897200" y="4544651"/>
            <a:ext cx="304800" cy="312420"/>
          </a:xfrm>
          <a:prstGeom prst="triangle">
            <a:avLst/>
          </a:prstGeom>
          <a:solidFill>
            <a:srgbClr val="FFC000"/>
          </a:solidFill>
          <a:ln w="28575">
            <a:solidFill>
              <a:schemeClr val="bg1"/>
            </a:solidFill>
          </a:ln>
        </p:spPr>
        <p:style>
          <a:lnRef idx="0">
            <a:scrgbClr r="0" g="0" b="0"/>
          </a:lnRef>
          <a:fillRef idx="0">
            <a:scrgbClr r="0" g="0" b="0"/>
          </a:fillRef>
          <a:effectRef idx="0">
            <a:scrgbClr r="0" g="0" b="0"/>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a:sym typeface="Gill Sans" charset="0"/>
            </a:endParaRPr>
          </a:p>
        </p:txBody>
      </p:sp>
      <p:cxnSp>
        <p:nvCxnSpPr>
          <p:cNvPr id="46" name="Straight Connector 45">
            <a:extLst>
              <a:ext uri="{FF2B5EF4-FFF2-40B4-BE49-F238E27FC236}">
                <a16:creationId xmlns:a16="http://schemas.microsoft.com/office/drawing/2014/main" id="{EB2D1927-6C64-4A3B-9AC2-EFA16FEC2B55}"/>
              </a:ext>
            </a:extLst>
          </p:cNvPr>
          <p:cNvCxnSpPr>
            <a:cxnSpLocks/>
          </p:cNvCxnSpPr>
          <p:nvPr/>
        </p:nvCxnSpPr>
        <p:spPr>
          <a:xfrm>
            <a:off x="3105440" y="4867185"/>
            <a:ext cx="237986" cy="338735"/>
          </a:xfrm>
          <a:prstGeom prst="line">
            <a:avLst/>
          </a:prstGeom>
          <a:ln w="28575">
            <a:solidFill>
              <a:schemeClr val="bg1"/>
            </a:solidFill>
            <a:headEnd type="triangle" w="med" len="med"/>
            <a:tailEnd type="none" w="med" len="med"/>
          </a:ln>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AE308056-87DF-4DB2-8AC0-4874892C5A6D}"/>
              </a:ext>
            </a:extLst>
          </p:cNvPr>
          <p:cNvCxnSpPr>
            <a:cxnSpLocks/>
          </p:cNvCxnSpPr>
          <p:nvPr/>
        </p:nvCxnSpPr>
        <p:spPr>
          <a:xfrm>
            <a:off x="2971429" y="4867185"/>
            <a:ext cx="141174" cy="304587"/>
          </a:xfrm>
          <a:prstGeom prst="line">
            <a:avLst/>
          </a:prstGeom>
          <a:ln w="28575">
            <a:solidFill>
              <a:schemeClr val="bg1"/>
            </a:solidFill>
            <a:headEnd type="triangle" w="med" len="med"/>
            <a:tailEnd type="none" w="med" len="med"/>
          </a:ln>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C4BDF574-1E6E-4D29-B482-F3487F6D5C91}"/>
              </a:ext>
            </a:extLst>
          </p:cNvPr>
          <p:cNvCxnSpPr>
            <a:cxnSpLocks/>
            <a:stCxn id="42" idx="3"/>
          </p:cNvCxnSpPr>
          <p:nvPr/>
        </p:nvCxnSpPr>
        <p:spPr>
          <a:xfrm flipH="1">
            <a:off x="2771196" y="4857071"/>
            <a:ext cx="278405" cy="328089"/>
          </a:xfrm>
          <a:prstGeom prst="line">
            <a:avLst/>
          </a:prstGeom>
          <a:ln w="28575">
            <a:solidFill>
              <a:schemeClr val="bg1"/>
            </a:solidFill>
            <a:headEnd type="triangle" w="med" len="med"/>
            <a:tailEnd type="none" w="med" len="med"/>
          </a:ln>
        </p:spPr>
        <p:style>
          <a:lnRef idx="1">
            <a:schemeClr val="dk1"/>
          </a:lnRef>
          <a:fillRef idx="0">
            <a:schemeClr val="dk1"/>
          </a:fillRef>
          <a:effectRef idx="0">
            <a:schemeClr val="dk1"/>
          </a:effectRef>
          <a:fontRef idx="minor">
            <a:schemeClr val="tx1"/>
          </a:fontRef>
        </p:style>
      </p:cxnSp>
      <p:grpSp>
        <p:nvGrpSpPr>
          <p:cNvPr id="53" name="Group 52"/>
          <p:cNvGrpSpPr/>
          <p:nvPr/>
        </p:nvGrpSpPr>
        <p:grpSpPr>
          <a:xfrm>
            <a:off x="2761875" y="4464772"/>
            <a:ext cx="270651" cy="322893"/>
            <a:chOff x="2204471" y="7735902"/>
            <a:chExt cx="629880" cy="683309"/>
          </a:xfrm>
        </p:grpSpPr>
        <p:pic>
          <p:nvPicPr>
            <p:cNvPr id="55" name="Picture 54"/>
            <p:cNvPicPr>
              <a:picLocks noChangeAspect="1"/>
            </p:cNvPicPr>
            <p:nvPr/>
          </p:nvPicPr>
          <p:blipFill>
            <a:blip r:embed="rId8"/>
            <a:stretch>
              <a:fillRect/>
            </a:stretch>
          </p:blipFill>
          <p:spPr>
            <a:xfrm>
              <a:off x="2204471" y="7735902"/>
              <a:ext cx="624551" cy="265811"/>
            </a:xfrm>
            <a:prstGeom prst="rect">
              <a:avLst/>
            </a:prstGeom>
            <a:solidFill>
              <a:srgbClr val="92D050"/>
            </a:solidFill>
          </p:spPr>
        </p:pic>
        <p:pic>
          <p:nvPicPr>
            <p:cNvPr id="56" name="Picture 55"/>
            <p:cNvPicPr>
              <a:picLocks noChangeAspect="1"/>
            </p:cNvPicPr>
            <p:nvPr/>
          </p:nvPicPr>
          <p:blipFill>
            <a:blip r:embed="rId8"/>
            <a:stretch>
              <a:fillRect/>
            </a:stretch>
          </p:blipFill>
          <p:spPr>
            <a:xfrm>
              <a:off x="2209800" y="7944651"/>
              <a:ext cx="624551" cy="265811"/>
            </a:xfrm>
            <a:prstGeom prst="rect">
              <a:avLst/>
            </a:prstGeom>
            <a:solidFill>
              <a:srgbClr val="92D050"/>
            </a:solidFill>
          </p:spPr>
        </p:pic>
        <p:pic>
          <p:nvPicPr>
            <p:cNvPr id="83" name="Picture 82"/>
            <p:cNvPicPr>
              <a:picLocks noChangeAspect="1"/>
            </p:cNvPicPr>
            <p:nvPr/>
          </p:nvPicPr>
          <p:blipFill>
            <a:blip r:embed="rId8"/>
            <a:stretch>
              <a:fillRect/>
            </a:stretch>
          </p:blipFill>
          <p:spPr>
            <a:xfrm>
              <a:off x="2209800" y="8153400"/>
              <a:ext cx="624551" cy="265811"/>
            </a:xfrm>
            <a:prstGeom prst="rect">
              <a:avLst/>
            </a:prstGeom>
            <a:solidFill>
              <a:srgbClr val="92D050"/>
            </a:solidFill>
          </p:spPr>
        </p:pic>
      </p:grpSp>
      <p:sp>
        <p:nvSpPr>
          <p:cNvPr id="84" name="Oval 83"/>
          <p:cNvSpPr/>
          <p:nvPr/>
        </p:nvSpPr>
        <p:spPr>
          <a:xfrm>
            <a:off x="1804579" y="5045421"/>
            <a:ext cx="268576" cy="27242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600" dirty="0">
                <a:solidFill>
                  <a:prstClr val="black"/>
                </a:solidFill>
                <a:latin typeface="Segoe UI Light" panose="020B0502040204020203" pitchFamily="34" charset="0"/>
                <a:cs typeface="Segoe UI Light" panose="020B0502040204020203" pitchFamily="34" charset="0"/>
                <a:sym typeface="Gill Sans" charset="0"/>
              </a:rPr>
              <a:t>A</a:t>
            </a:r>
          </a:p>
        </p:txBody>
      </p:sp>
      <p:sp>
        <p:nvSpPr>
          <p:cNvPr id="85" name="Oval 84"/>
          <p:cNvSpPr/>
          <p:nvPr/>
        </p:nvSpPr>
        <p:spPr>
          <a:xfrm>
            <a:off x="2664083" y="5035441"/>
            <a:ext cx="268576" cy="27242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600" dirty="0">
                <a:solidFill>
                  <a:prstClr val="black"/>
                </a:solidFill>
                <a:latin typeface="Segoe UI Light" panose="020B0502040204020203" pitchFamily="34" charset="0"/>
                <a:cs typeface="Segoe UI Light" panose="020B0502040204020203" pitchFamily="34" charset="0"/>
                <a:sym typeface="Gill Sans" charset="0"/>
              </a:rPr>
              <a:t>B</a:t>
            </a:r>
          </a:p>
        </p:txBody>
      </p:sp>
      <p:sp>
        <p:nvSpPr>
          <p:cNvPr id="86" name="Plus 85"/>
          <p:cNvSpPr/>
          <p:nvPr/>
        </p:nvSpPr>
        <p:spPr>
          <a:xfrm>
            <a:off x="2314695" y="4551387"/>
            <a:ext cx="357852" cy="334919"/>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a:sym typeface="Gill Sans" charset="0"/>
            </a:endParaRPr>
          </a:p>
        </p:txBody>
      </p:sp>
      <p:sp>
        <p:nvSpPr>
          <p:cNvPr id="87" name="Plus 86"/>
          <p:cNvSpPr/>
          <p:nvPr/>
        </p:nvSpPr>
        <p:spPr>
          <a:xfrm>
            <a:off x="3435058" y="4542907"/>
            <a:ext cx="317713" cy="334919"/>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a:sym typeface="Gill Sans" charset="0"/>
            </a:endParaRPr>
          </a:p>
        </p:txBody>
      </p:sp>
      <p:sp>
        <p:nvSpPr>
          <p:cNvPr id="88" name="Plus 87"/>
          <p:cNvSpPr/>
          <p:nvPr/>
        </p:nvSpPr>
        <p:spPr>
          <a:xfrm>
            <a:off x="4593565" y="4569166"/>
            <a:ext cx="339240" cy="311390"/>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a:sym typeface="Gill Sans" charset="0"/>
            </a:endParaRPr>
          </a:p>
        </p:txBody>
      </p:sp>
      <p:sp>
        <p:nvSpPr>
          <p:cNvPr id="89" name="TextBox 88"/>
          <p:cNvSpPr txBox="1"/>
          <p:nvPr/>
        </p:nvSpPr>
        <p:spPr>
          <a:xfrm>
            <a:off x="2073154" y="5025462"/>
            <a:ext cx="630354" cy="307777"/>
          </a:xfrm>
          <a:prstGeom prst="rect">
            <a:avLst/>
          </a:prstGeom>
          <a:noFill/>
        </p:spPr>
        <p:txBody>
          <a:bodyPr wrap="square" rtlCol="0">
            <a:spAutoFit/>
          </a:bodyPr>
          <a:lstStyle/>
          <a:p>
            <a:pPr defTabSz="457200" fontAlgn="base">
              <a:spcBef>
                <a:spcPct val="0"/>
              </a:spcBef>
              <a:spcAft>
                <a:spcPct val="0"/>
              </a:spcAft>
            </a:pPr>
            <a:r>
              <a:rPr lang="en-US" sz="14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Scans</a:t>
            </a:r>
          </a:p>
        </p:txBody>
      </p:sp>
      <p:sp>
        <p:nvSpPr>
          <p:cNvPr id="90" name="TextBox 89"/>
          <p:cNvSpPr txBox="1"/>
          <p:nvPr/>
        </p:nvSpPr>
        <p:spPr>
          <a:xfrm>
            <a:off x="2983799" y="5178710"/>
            <a:ext cx="826777" cy="523220"/>
          </a:xfrm>
          <a:prstGeom prst="rect">
            <a:avLst/>
          </a:prstGeom>
          <a:noFill/>
        </p:spPr>
        <p:txBody>
          <a:bodyPr wrap="square" rtlCol="0">
            <a:spAutoFit/>
          </a:bodyPr>
          <a:lstStyle/>
          <a:p>
            <a:pPr defTabSz="457200" fontAlgn="base">
              <a:spcBef>
                <a:spcPct val="0"/>
              </a:spcBef>
              <a:spcAft>
                <a:spcPct val="0"/>
              </a:spcAft>
            </a:pPr>
            <a:r>
              <a:rPr lang="en-US" sz="14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Index Lookups</a:t>
            </a:r>
          </a:p>
        </p:txBody>
      </p:sp>
      <p:sp>
        <p:nvSpPr>
          <p:cNvPr id="91" name="Oval 90"/>
          <p:cNvSpPr/>
          <p:nvPr/>
        </p:nvSpPr>
        <p:spPr>
          <a:xfrm>
            <a:off x="3778021" y="5035558"/>
            <a:ext cx="268576" cy="27242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600" dirty="0">
                <a:solidFill>
                  <a:prstClr val="black"/>
                </a:solidFill>
                <a:latin typeface="Segoe UI Light" panose="020B0502040204020203" pitchFamily="34" charset="0"/>
                <a:cs typeface="Segoe UI Light" panose="020B0502040204020203" pitchFamily="34" charset="0"/>
                <a:sym typeface="Gill Sans" charset="0"/>
              </a:rPr>
              <a:t>C</a:t>
            </a:r>
          </a:p>
        </p:txBody>
      </p:sp>
      <p:sp>
        <p:nvSpPr>
          <p:cNvPr id="92" name="TextBox 91"/>
          <p:cNvSpPr txBox="1"/>
          <p:nvPr/>
        </p:nvSpPr>
        <p:spPr>
          <a:xfrm>
            <a:off x="4046596" y="5015599"/>
            <a:ext cx="1114402" cy="523220"/>
          </a:xfrm>
          <a:prstGeom prst="rect">
            <a:avLst/>
          </a:prstGeom>
          <a:noFill/>
        </p:spPr>
        <p:txBody>
          <a:bodyPr wrap="square" rtlCol="0">
            <a:spAutoFit/>
          </a:bodyPr>
          <a:lstStyle/>
          <a:p>
            <a:pPr defTabSz="457200" fontAlgn="base">
              <a:spcBef>
                <a:spcPct val="0"/>
              </a:spcBef>
              <a:spcAft>
                <a:spcPct val="0"/>
              </a:spcAft>
            </a:pPr>
            <a:r>
              <a:rPr lang="en-US" sz="14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Query Complexity</a:t>
            </a:r>
          </a:p>
        </p:txBody>
      </p:sp>
      <p:sp>
        <p:nvSpPr>
          <p:cNvPr id="93" name="Oval 92"/>
          <p:cNvSpPr/>
          <p:nvPr/>
        </p:nvSpPr>
        <p:spPr>
          <a:xfrm>
            <a:off x="5055154" y="5042929"/>
            <a:ext cx="268576" cy="27242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600" dirty="0">
                <a:solidFill>
                  <a:prstClr val="black"/>
                </a:solidFill>
                <a:latin typeface="Segoe UI Light" panose="020B0502040204020203" pitchFamily="34" charset="0"/>
                <a:cs typeface="Segoe UI Light" panose="020B0502040204020203" pitchFamily="34" charset="0"/>
                <a:sym typeface="Gill Sans" charset="0"/>
              </a:rPr>
              <a:t>D</a:t>
            </a:r>
          </a:p>
        </p:txBody>
      </p:sp>
      <p:sp>
        <p:nvSpPr>
          <p:cNvPr id="94" name="TextBox 93"/>
          <p:cNvSpPr txBox="1"/>
          <p:nvPr/>
        </p:nvSpPr>
        <p:spPr>
          <a:xfrm>
            <a:off x="5323730" y="5022970"/>
            <a:ext cx="1008558" cy="523220"/>
          </a:xfrm>
          <a:prstGeom prst="rect">
            <a:avLst/>
          </a:prstGeom>
          <a:noFill/>
        </p:spPr>
        <p:txBody>
          <a:bodyPr wrap="square" rtlCol="0">
            <a:spAutoFit/>
          </a:bodyPr>
          <a:lstStyle/>
          <a:p>
            <a:pPr defTabSz="457200" fontAlgn="base">
              <a:spcBef>
                <a:spcPct val="0"/>
              </a:spcBef>
              <a:spcAft>
                <a:spcPct val="0"/>
              </a:spcAft>
            </a:pPr>
            <a:r>
              <a:rPr lang="en-US" sz="14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Instruction</a:t>
            </a:r>
          </a:p>
          <a:p>
            <a:pPr defTabSz="457200" fontAlgn="base">
              <a:spcBef>
                <a:spcPct val="0"/>
              </a:spcBef>
              <a:spcAft>
                <a:spcPct val="0"/>
              </a:spcAft>
            </a:pPr>
            <a:r>
              <a:rPr lang="en-US" sz="14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Cost</a:t>
            </a:r>
          </a:p>
        </p:txBody>
      </p:sp>
      <p:sp>
        <p:nvSpPr>
          <p:cNvPr id="95" name="TextBox 94"/>
          <p:cNvSpPr txBox="1"/>
          <p:nvPr/>
        </p:nvSpPr>
        <p:spPr>
          <a:xfrm>
            <a:off x="601489" y="4561989"/>
            <a:ext cx="630354" cy="584775"/>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Query</a:t>
            </a:r>
          </a:p>
        </p:txBody>
      </p:sp>
      <p:sp>
        <p:nvSpPr>
          <p:cNvPr id="96" name="Equal 95"/>
          <p:cNvSpPr/>
          <p:nvPr/>
        </p:nvSpPr>
        <p:spPr>
          <a:xfrm>
            <a:off x="1299530" y="4613755"/>
            <a:ext cx="344363" cy="240967"/>
          </a:xfrm>
          <a:prstGeom prst="mathEqua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4400">
              <a:solidFill>
                <a:prstClr val="black"/>
              </a:solidFill>
              <a:latin typeface="Calibri"/>
              <a:sym typeface="Gill Sans" charset="0"/>
            </a:endParaRPr>
          </a:p>
        </p:txBody>
      </p:sp>
      <p:sp>
        <p:nvSpPr>
          <p:cNvPr id="97" name="TextBox 96"/>
          <p:cNvSpPr txBox="1"/>
          <p:nvPr/>
        </p:nvSpPr>
        <p:spPr>
          <a:xfrm>
            <a:off x="768371" y="5867829"/>
            <a:ext cx="4668282" cy="400110"/>
          </a:xfrm>
          <a:prstGeom prst="rect">
            <a:avLst/>
          </a:prstGeom>
          <a:noFill/>
          <a:ln>
            <a:noFill/>
          </a:ln>
        </p:spPr>
        <p:txBody>
          <a:bodyPr wrap="square" rtlCol="0">
            <a:spAutoFit/>
          </a:bodyPr>
          <a:lstStyle/>
          <a:p>
            <a:pPr defTabSz="457200" fontAlgn="base">
              <a:spcBef>
                <a:spcPct val="0"/>
              </a:spcBef>
              <a:spcAft>
                <a:spcPct val="0"/>
              </a:spcAft>
            </a:pPr>
            <a:r>
              <a:rPr lang="en-US" sz="2000" i="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Cost (Query) == </a:t>
            </a:r>
            <a:r>
              <a:rPr lang="pt-BR" sz="2000" i="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ω x A+ ϕ x B+ λ (C+D)</a:t>
            </a:r>
            <a:endParaRPr lang="en-US" sz="1600" i="1" dirty="0">
              <a:solidFill>
                <a:prstClr val="white"/>
              </a:solidFill>
              <a:latin typeface="Segoe UI Light" panose="020B0502040204020203" pitchFamily="34" charset="0"/>
              <a:ea typeface="Heiti SC Light" charset="-122"/>
              <a:cs typeface="Segoe UI Light" panose="020B0502040204020203" pitchFamily="34" charset="0"/>
              <a:sym typeface="Gill Sans" charset="0"/>
            </a:endParaRPr>
          </a:p>
        </p:txBody>
      </p:sp>
      <p:sp>
        <p:nvSpPr>
          <p:cNvPr id="110" name="TextBox 109"/>
          <p:cNvSpPr txBox="1"/>
          <p:nvPr/>
        </p:nvSpPr>
        <p:spPr>
          <a:xfrm>
            <a:off x="830582" y="6315724"/>
            <a:ext cx="4960618" cy="584775"/>
          </a:xfrm>
          <a:prstGeom prst="rect">
            <a:avLst/>
          </a:prstGeom>
          <a:noFill/>
        </p:spPr>
        <p:txBody>
          <a:bodyPr wrap="square" rtlCol="0">
            <a:spAutoFit/>
          </a:bodyPr>
          <a:lstStyle/>
          <a:p>
            <a:pPr defTabSz="457200" fontAlgn="base">
              <a:spcBef>
                <a:spcPct val="0"/>
              </a:spcBef>
              <a:spcAft>
                <a:spcPct val="0"/>
              </a:spcAft>
            </a:pPr>
            <a:r>
              <a:rPr lang="pt-BR" sz="1600" i="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ω</a:t>
            </a:r>
            <a:r>
              <a:rPr lang="en-US" sz="1600" i="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 </a:t>
            </a:r>
            <a:r>
              <a:rPr lang="pt-BR" sz="1600" i="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ϕ</a:t>
            </a:r>
            <a:r>
              <a:rPr lang="en-US" sz="1600" i="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 and </a:t>
            </a:r>
            <a:r>
              <a:rPr lang="pt-BR" sz="1600" i="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λ</a:t>
            </a:r>
            <a:r>
              <a:rPr lang="en-US" sz="1600" i="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 are calculated from ML models trained on </a:t>
            </a:r>
          </a:p>
          <a:p>
            <a:pPr defTabSz="457200" fontAlgn="base">
              <a:spcBef>
                <a:spcPct val="0"/>
              </a:spcBef>
              <a:spcAft>
                <a:spcPct val="0"/>
              </a:spcAft>
            </a:pPr>
            <a:r>
              <a:rPr lang="en-US" sz="1600" i="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production &amp; test data</a:t>
            </a:r>
          </a:p>
        </p:txBody>
      </p:sp>
    </p:spTree>
    <p:extLst>
      <p:ext uri="{BB962C8B-B14F-4D97-AF65-F5344CB8AC3E}">
        <p14:creationId xmlns:p14="http://schemas.microsoft.com/office/powerpoint/2010/main" val="27004432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2" descr="https://d2v9y0dukr6mq2.cloudfront.net/video/thumbnail/xCCDBUa/blue-planet-earth-rotation-with-space-background-4k-animation_ed3hfc3cl__F0000.png">
            <a:extLst>
              <a:ext uri="{FF2B5EF4-FFF2-40B4-BE49-F238E27FC236}">
                <a16:creationId xmlns:a16="http://schemas.microsoft.com/office/drawing/2014/main" id="{97D03819-4496-4D39-BE93-46BC9EBB05A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0"/>
            <a:ext cx="12192000" cy="7315200"/>
          </a:xfrm>
          <a:prstGeom prst="rect">
            <a:avLst/>
          </a:prstGeom>
          <a:noFill/>
          <a:extLst>
            <a:ext uri="{909E8E84-426E-40DD-AFC4-6F175D3DCCD1}">
              <a14:hiddenFill xmlns:a14="http://schemas.microsoft.com/office/drawing/2010/main">
                <a:solidFill>
                  <a:srgbClr val="FFFFFF"/>
                </a:solidFill>
              </a14:hiddenFill>
            </a:ext>
          </a:extLst>
        </p:spPr>
      </p:pic>
      <p:sp>
        <p:nvSpPr>
          <p:cNvPr id="5" name="텍스트 개체 틀 3">
            <a:extLst>
              <a:ext uri="{FF2B5EF4-FFF2-40B4-BE49-F238E27FC236}">
                <a16:creationId xmlns:a16="http://schemas.microsoft.com/office/drawing/2014/main" id="{3CE50B8D-E1A6-40A1-A272-B5D59CCE5157}"/>
              </a:ext>
            </a:extLst>
          </p:cNvPr>
          <p:cNvSpPr>
            <a:spLocks noGrp="1"/>
          </p:cNvSpPr>
          <p:nvPr>
            <p:ph type="body" sz="quarter" idx="10"/>
          </p:nvPr>
        </p:nvSpPr>
        <p:spPr>
          <a:xfrm>
            <a:off x="474733" y="579255"/>
            <a:ext cx="10874919" cy="1176044"/>
          </a:xfrm>
        </p:spPr>
        <p:txBody>
          <a:bodyPr>
            <a:normAutofit fontScale="62500" lnSpcReduction="20000"/>
          </a:bodyPr>
          <a:lstStyle/>
          <a:p>
            <a:pPr algn="ctr"/>
            <a:r>
              <a:rPr lang="en-US" sz="8600" b="0" dirty="0">
                <a:solidFill>
                  <a:schemeClr val="bg1"/>
                </a:solidFill>
                <a:latin typeface="Segoe UI Light" panose="020B0502040204020203" pitchFamily="34" charset="0"/>
                <a:ea typeface="3Dumb" pitchFamily="2" charset="0"/>
                <a:cs typeface="Segoe UI Light" panose="020B0502040204020203" pitchFamily="34" charset="0"/>
              </a:rPr>
              <a:t>Azure Cosmos DB</a:t>
            </a:r>
          </a:p>
          <a:p>
            <a:pPr algn="ctr"/>
            <a:r>
              <a:rPr lang="en-US" sz="6400" b="0" dirty="0">
                <a:solidFill>
                  <a:schemeClr val="bg1"/>
                </a:solidFill>
                <a:latin typeface="Segoe UI Light" panose="020B0502040204020203" pitchFamily="34" charset="0"/>
                <a:ea typeface="3Dumb" pitchFamily="2" charset="0"/>
                <a:cs typeface="Segoe UI Light" panose="020B0502040204020203" pitchFamily="34" charset="0"/>
              </a:rPr>
              <a:t>Globally-distributed, multi-model database service</a:t>
            </a:r>
          </a:p>
        </p:txBody>
      </p:sp>
      <p:sp>
        <p:nvSpPr>
          <p:cNvPr id="4" name="Rectangle 3">
            <a:extLst>
              <a:ext uri="{FF2B5EF4-FFF2-40B4-BE49-F238E27FC236}">
                <a16:creationId xmlns:a16="http://schemas.microsoft.com/office/drawing/2014/main" id="{4C7A61DE-2D28-4C0D-81C3-C622781331ED}"/>
              </a:ext>
            </a:extLst>
          </p:cNvPr>
          <p:cNvSpPr/>
          <p:nvPr/>
        </p:nvSpPr>
        <p:spPr>
          <a:xfrm>
            <a:off x="285918" y="5519866"/>
            <a:ext cx="3700757" cy="461665"/>
          </a:xfrm>
          <a:prstGeom prst="rect">
            <a:avLst/>
          </a:prstGeom>
        </p:spPr>
        <p:txBody>
          <a:bodyPr wrap="square">
            <a:spAutoFit/>
          </a:bodyPr>
          <a:lstStyle/>
          <a:p>
            <a:pPr defTabSz="914377" latinLnBrk="1"/>
            <a:endParaRPr lang="en-US" sz="2400" dirty="0">
              <a:solidFill>
                <a:prstClr val="white"/>
              </a:solidFill>
              <a:latin typeface="Mathlete Bulky" panose="00000600000000000000" pitchFamily="50" charset="0"/>
            </a:endParaRPr>
          </a:p>
        </p:txBody>
      </p:sp>
      <p:sp>
        <p:nvSpPr>
          <p:cNvPr id="2" name="TextBox 1">
            <a:extLst>
              <a:ext uri="{FF2B5EF4-FFF2-40B4-BE49-F238E27FC236}">
                <a16:creationId xmlns:a16="http://schemas.microsoft.com/office/drawing/2014/main" id="{4DE77C3C-845B-4348-AB75-17EDE8ED2D0E}"/>
              </a:ext>
            </a:extLst>
          </p:cNvPr>
          <p:cNvSpPr txBox="1"/>
          <p:nvPr/>
        </p:nvSpPr>
        <p:spPr>
          <a:xfrm rot="19346129">
            <a:off x="7053662" y="5749440"/>
            <a:ext cx="1781257" cy="369332"/>
          </a:xfrm>
          <a:prstGeom prst="rect">
            <a:avLst/>
          </a:prstGeom>
          <a:noFill/>
        </p:spPr>
        <p:txBody>
          <a:bodyPr wrap="none" rtlCol="0">
            <a:spAutoFit/>
          </a:bodyPr>
          <a:lstStyle/>
          <a:p>
            <a:pPr defTabSz="914377" latinLnBrk="1"/>
            <a:r>
              <a:rPr lang="en-US" dirty="0">
                <a:solidFill>
                  <a:prstClr val="white"/>
                </a:solidFill>
                <a:latin typeface="2Dumb" panose="02000000000000000000" pitchFamily="2" charset="0"/>
                <a:ea typeface="2Dumb" panose="02000000000000000000" pitchFamily="2" charset="0"/>
              </a:rPr>
              <a:t>#</a:t>
            </a:r>
            <a:r>
              <a:rPr lang="en-US" dirty="0" err="1">
                <a:solidFill>
                  <a:prstClr val="white"/>
                </a:solidFill>
                <a:latin typeface="2Dumb" panose="02000000000000000000" pitchFamily="2" charset="0"/>
                <a:ea typeface="2Dumb" panose="02000000000000000000" pitchFamily="2" charset="0"/>
              </a:rPr>
              <a:t>CosmosDB</a:t>
            </a:r>
            <a:endParaRPr lang="en-US" dirty="0">
              <a:solidFill>
                <a:prstClr val="white"/>
              </a:solidFill>
              <a:latin typeface="2Dumb" panose="02000000000000000000" pitchFamily="2" charset="0"/>
              <a:ea typeface="2Dumb" panose="02000000000000000000" pitchFamily="2" charset="0"/>
            </a:endParaRPr>
          </a:p>
        </p:txBody>
      </p:sp>
    </p:spTree>
    <p:extLst>
      <p:ext uri="{BB962C8B-B14F-4D97-AF65-F5344CB8AC3E}">
        <p14:creationId xmlns:p14="http://schemas.microsoft.com/office/powerpoint/2010/main" val="508432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156970" y="1857942"/>
            <a:ext cx="7024529" cy="3988784"/>
          </a:xfrm>
          <a:prstGeom prst="rect">
            <a:avLst/>
          </a:prstGeom>
          <a:noFill/>
        </p:spPr>
        <p:txBody>
          <a:bodyPr wrap="square" lIns="182880" tIns="146304" rIns="182880" bIns="146304" rtlCol="0">
            <a:spAutoFit/>
          </a:bodyPr>
          <a:lstStyle/>
          <a:p>
            <a:pPr defTabSz="896386"/>
            <a:r>
              <a:rPr lang="en-US" sz="2400" kern="0" dirty="0">
                <a:solidFill>
                  <a:schemeClr val="bg1"/>
                </a:solidFill>
                <a:latin typeface="Segoe Light"/>
              </a:rPr>
              <a:t>Elastically scale throughput from 10 to 100s of millions of requests/sec across multiple regions</a:t>
            </a:r>
          </a:p>
          <a:p>
            <a:pPr defTabSz="896386"/>
            <a:endParaRPr lang="en-US" sz="2400" kern="0" dirty="0">
              <a:solidFill>
                <a:schemeClr val="bg1"/>
              </a:solidFill>
              <a:latin typeface="Segoe Light"/>
            </a:endParaRPr>
          </a:p>
          <a:p>
            <a:pPr defTabSz="896386"/>
            <a:r>
              <a:rPr lang="en-US" sz="2400" kern="0" dirty="0">
                <a:solidFill>
                  <a:schemeClr val="bg1"/>
                </a:solidFill>
                <a:latin typeface="Segoe Light"/>
              </a:rPr>
              <a:t>Customers pay by the hour for the provisioned throughput</a:t>
            </a:r>
          </a:p>
          <a:p>
            <a:pPr marL="0" lvl="1" defTabSz="896386"/>
            <a:endParaRPr lang="en-US" sz="2400" kern="0" dirty="0">
              <a:solidFill>
                <a:schemeClr val="bg1"/>
              </a:solidFill>
              <a:latin typeface="Segoe Light"/>
            </a:endParaRPr>
          </a:p>
          <a:p>
            <a:pPr marL="0" lvl="1" defTabSz="896386"/>
            <a:r>
              <a:rPr lang="en-US" sz="2400" kern="0" dirty="0">
                <a:solidFill>
                  <a:schemeClr val="bg1"/>
                </a:solidFill>
                <a:latin typeface="Segoe Light"/>
              </a:rPr>
              <a:t>Transparent server side partition management and routing</a:t>
            </a:r>
          </a:p>
          <a:p>
            <a:pPr marL="0" lvl="1" defTabSz="896386"/>
            <a:endParaRPr lang="en-US" sz="2400" kern="0" dirty="0">
              <a:solidFill>
                <a:schemeClr val="bg1"/>
              </a:solidFill>
              <a:latin typeface="Segoe Light"/>
            </a:endParaRPr>
          </a:p>
          <a:p>
            <a:pPr marL="0" lvl="1" defTabSz="896386"/>
            <a:r>
              <a:rPr lang="en-US" sz="2400" kern="0" dirty="0">
                <a:solidFill>
                  <a:schemeClr val="bg1"/>
                </a:solidFill>
                <a:latin typeface="Segoe Light"/>
              </a:rPr>
              <a:t>Support for requests/sec for different workloads</a:t>
            </a:r>
          </a:p>
        </p:txBody>
      </p:sp>
      <p:pic>
        <p:nvPicPr>
          <p:cNvPr id="8" name="Picture 7"/>
          <p:cNvPicPr>
            <a:picLocks noChangeAspect="1"/>
          </p:cNvPicPr>
          <p:nvPr/>
        </p:nvPicPr>
        <p:blipFill>
          <a:blip r:embed="rId3">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8023077" y="1503361"/>
            <a:ext cx="3810262" cy="2403005"/>
          </a:xfrm>
          <a:prstGeom prst="rect">
            <a:avLst/>
          </a:prstGeom>
        </p:spPr>
      </p:pic>
      <p:sp>
        <p:nvSpPr>
          <p:cNvPr id="9" name="Oval 8"/>
          <p:cNvSpPr/>
          <p:nvPr/>
        </p:nvSpPr>
        <p:spPr>
          <a:xfrm>
            <a:off x="10274893" y="2338213"/>
            <a:ext cx="111096" cy="111096"/>
          </a:xfrm>
          <a:prstGeom prst="ellipse">
            <a:avLst/>
          </a:prstGeom>
          <a:solidFill>
            <a:srgbClr val="0B8172">
              <a:alpha val="68000"/>
            </a:srgbClr>
          </a:solidFill>
          <a:ln>
            <a:noFill/>
          </a:ln>
          <a:effectLst>
            <a:outerShdw blurRad="203200" sx="200000" sy="200000" algn="ctr" rotWithShape="0">
              <a:schemeClr val="accent6">
                <a:lumMod val="60000"/>
                <a:lumOff val="40000"/>
                <a:alpha val="7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Oval 10"/>
          <p:cNvSpPr/>
          <p:nvPr/>
        </p:nvSpPr>
        <p:spPr>
          <a:xfrm>
            <a:off x="8754152" y="2968865"/>
            <a:ext cx="251303" cy="251303"/>
          </a:xfrm>
          <a:prstGeom prst="ellipse">
            <a:avLst/>
          </a:prstGeom>
          <a:solidFill>
            <a:srgbClr val="0B8172">
              <a:alpha val="81000"/>
            </a:srgbClr>
          </a:solidFill>
          <a:ln>
            <a:noFill/>
          </a:ln>
          <a:effectLst>
            <a:outerShdw sx="138000" sy="138000" algn="ctr" rotWithShape="0">
              <a:schemeClr val="accent6">
                <a:lumMod val="60000"/>
                <a:lumOff val="40000"/>
                <a:alpha val="6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p:cNvPicPr>
            <a:picLocks noChangeAspect="1"/>
          </p:cNvPicPr>
          <p:nvPr/>
        </p:nvPicPr>
        <p:blipFill>
          <a:blip r:embed="rId3">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8023077" y="4050968"/>
            <a:ext cx="3810262" cy="2403005"/>
          </a:xfrm>
          <a:prstGeom prst="rect">
            <a:avLst/>
          </a:prstGeom>
        </p:spPr>
      </p:pic>
      <p:sp>
        <p:nvSpPr>
          <p:cNvPr id="14" name="Oval 13"/>
          <p:cNvSpPr/>
          <p:nvPr/>
        </p:nvSpPr>
        <p:spPr>
          <a:xfrm>
            <a:off x="8820854" y="5606215"/>
            <a:ext cx="111096" cy="111096"/>
          </a:xfrm>
          <a:prstGeom prst="ellipse">
            <a:avLst/>
          </a:prstGeom>
          <a:solidFill>
            <a:srgbClr val="0B8172">
              <a:alpha val="68000"/>
            </a:srgbClr>
          </a:solidFill>
          <a:ln>
            <a:noFill/>
          </a:ln>
          <a:effectLst>
            <a:outerShdw blurRad="203200" sx="200000" sy="200000" algn="ctr" rotWithShape="0">
              <a:schemeClr val="accent6">
                <a:lumMod val="60000"/>
                <a:lumOff val="40000"/>
                <a:alpha val="7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Oval 14"/>
          <p:cNvSpPr/>
          <p:nvPr/>
        </p:nvSpPr>
        <p:spPr>
          <a:xfrm>
            <a:off x="10204789" y="4945619"/>
            <a:ext cx="251303" cy="251303"/>
          </a:xfrm>
          <a:prstGeom prst="ellipse">
            <a:avLst/>
          </a:prstGeom>
          <a:solidFill>
            <a:srgbClr val="0B8172">
              <a:alpha val="81000"/>
            </a:srgbClr>
          </a:solidFill>
          <a:ln>
            <a:noFill/>
          </a:ln>
          <a:effectLst>
            <a:outerShdw sx="138000" sy="138000" algn="ctr" rotWithShape="0">
              <a:schemeClr val="accent6">
                <a:lumMod val="60000"/>
                <a:lumOff val="40000"/>
                <a:alpha val="6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Box 15"/>
          <p:cNvSpPr txBox="1"/>
          <p:nvPr/>
        </p:nvSpPr>
        <p:spPr>
          <a:xfrm>
            <a:off x="8820854" y="1198266"/>
            <a:ext cx="737702" cy="246221"/>
          </a:xfrm>
          <a:prstGeom prst="rect">
            <a:avLst/>
          </a:prstGeom>
          <a:noFill/>
        </p:spPr>
        <p:txBody>
          <a:bodyPr wrap="none" rtlCol="0">
            <a:spAutoFit/>
          </a:bodyPr>
          <a:lstStyle/>
          <a:p>
            <a:r>
              <a:rPr lang="en-US" sz="1000" dirty="0">
                <a:latin typeface="Segoe UI Semibold" panose="020B0702040204020203" pitchFamily="34" charset="0"/>
                <a:cs typeface="Segoe UI Semibold" panose="020B0702040204020203" pitchFamily="34" charset="0"/>
              </a:rPr>
              <a:t>9 PM PST</a:t>
            </a:r>
          </a:p>
        </p:txBody>
      </p:sp>
      <p:sp>
        <p:nvSpPr>
          <p:cNvPr id="17" name="TextBox 16"/>
          <p:cNvSpPr txBox="1"/>
          <p:nvPr/>
        </p:nvSpPr>
        <p:spPr>
          <a:xfrm>
            <a:off x="10501006" y="1380250"/>
            <a:ext cx="1053494" cy="246221"/>
          </a:xfrm>
          <a:prstGeom prst="rect">
            <a:avLst/>
          </a:prstGeom>
          <a:noFill/>
        </p:spPr>
        <p:txBody>
          <a:bodyPr wrap="none" rtlCol="0">
            <a:spAutoFit/>
          </a:bodyPr>
          <a:lstStyle/>
          <a:p>
            <a:r>
              <a:rPr lang="en-US" sz="1000" dirty="0">
                <a:solidFill>
                  <a:srgbClr val="0B8172"/>
                </a:solidFill>
                <a:latin typeface="Segoe UI Light" panose="020B0502040204020203" pitchFamily="34" charset="0"/>
                <a:cs typeface="Segoe UI Light" panose="020B0502040204020203" pitchFamily="34" charset="0"/>
              </a:rPr>
              <a:t>Less throughput</a:t>
            </a:r>
          </a:p>
        </p:txBody>
      </p:sp>
      <p:sp>
        <p:nvSpPr>
          <p:cNvPr id="18" name="TextBox 17"/>
          <p:cNvSpPr txBox="1"/>
          <p:nvPr/>
        </p:nvSpPr>
        <p:spPr>
          <a:xfrm>
            <a:off x="7557322" y="3307894"/>
            <a:ext cx="1116011" cy="246221"/>
          </a:xfrm>
          <a:prstGeom prst="rect">
            <a:avLst/>
          </a:prstGeom>
          <a:noFill/>
        </p:spPr>
        <p:txBody>
          <a:bodyPr wrap="none" rtlCol="0">
            <a:spAutoFit/>
          </a:bodyPr>
          <a:lstStyle/>
          <a:p>
            <a:r>
              <a:rPr lang="en-US" sz="1000" dirty="0">
                <a:solidFill>
                  <a:srgbClr val="0B8172"/>
                </a:solidFill>
                <a:latin typeface="Segoe UI Light" panose="020B0502040204020203" pitchFamily="34" charset="0"/>
                <a:cs typeface="Segoe UI Light" panose="020B0502040204020203" pitchFamily="34" charset="0"/>
              </a:rPr>
              <a:t>More throughput</a:t>
            </a:r>
          </a:p>
        </p:txBody>
      </p:sp>
      <p:cxnSp>
        <p:nvCxnSpPr>
          <p:cNvPr id="19" name="Connector: Elbow 15"/>
          <p:cNvCxnSpPr>
            <a:stCxn id="18" idx="3"/>
            <a:endCxn id="11" idx="4"/>
          </p:cNvCxnSpPr>
          <p:nvPr/>
        </p:nvCxnSpPr>
        <p:spPr>
          <a:xfrm flipV="1">
            <a:off x="8673333" y="3220168"/>
            <a:ext cx="206471" cy="210837"/>
          </a:xfrm>
          <a:prstGeom prst="bentConnector2">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0" name="Connector: Elbow 17"/>
          <p:cNvCxnSpPr>
            <a:stCxn id="17" idx="1"/>
            <a:endCxn id="9" idx="0"/>
          </p:cNvCxnSpPr>
          <p:nvPr/>
        </p:nvCxnSpPr>
        <p:spPr>
          <a:xfrm rot="10800000" flipV="1">
            <a:off x="10330442" y="1503361"/>
            <a:ext cx="170565" cy="834852"/>
          </a:xfrm>
          <a:prstGeom prst="bentConnector2">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10501006" y="3965240"/>
            <a:ext cx="1116011" cy="246221"/>
          </a:xfrm>
          <a:prstGeom prst="rect">
            <a:avLst/>
          </a:prstGeom>
          <a:noFill/>
        </p:spPr>
        <p:txBody>
          <a:bodyPr wrap="none" rtlCol="0">
            <a:spAutoFit/>
          </a:bodyPr>
          <a:lstStyle/>
          <a:p>
            <a:r>
              <a:rPr lang="en-US" sz="1000" dirty="0">
                <a:solidFill>
                  <a:srgbClr val="0B8172"/>
                </a:solidFill>
                <a:latin typeface="Segoe UI Light" panose="020B0502040204020203" pitchFamily="34" charset="0"/>
                <a:cs typeface="Segoe UI Light" panose="020B0502040204020203" pitchFamily="34" charset="0"/>
              </a:rPr>
              <a:t>More throughput</a:t>
            </a:r>
          </a:p>
        </p:txBody>
      </p:sp>
      <p:cxnSp>
        <p:nvCxnSpPr>
          <p:cNvPr id="22" name="Connector: Elbow 20"/>
          <p:cNvCxnSpPr>
            <a:stCxn id="21" idx="1"/>
          </p:cNvCxnSpPr>
          <p:nvPr/>
        </p:nvCxnSpPr>
        <p:spPr>
          <a:xfrm rot="10800000" flipV="1">
            <a:off x="10330450" y="4088351"/>
            <a:ext cx="170557" cy="834852"/>
          </a:xfrm>
          <a:prstGeom prst="bentConnector2">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7557322" y="5817262"/>
            <a:ext cx="1053494" cy="246221"/>
          </a:xfrm>
          <a:prstGeom prst="rect">
            <a:avLst/>
          </a:prstGeom>
          <a:noFill/>
        </p:spPr>
        <p:txBody>
          <a:bodyPr wrap="none" rtlCol="0">
            <a:spAutoFit/>
          </a:bodyPr>
          <a:lstStyle/>
          <a:p>
            <a:r>
              <a:rPr lang="en-US" sz="1000" dirty="0">
                <a:solidFill>
                  <a:srgbClr val="0B8172"/>
                </a:solidFill>
                <a:latin typeface="Segoe UI Light" panose="020B0502040204020203" pitchFamily="34" charset="0"/>
                <a:cs typeface="Segoe UI Light" panose="020B0502040204020203" pitchFamily="34" charset="0"/>
              </a:rPr>
              <a:t>Less throughput</a:t>
            </a:r>
          </a:p>
        </p:txBody>
      </p:sp>
      <p:cxnSp>
        <p:nvCxnSpPr>
          <p:cNvPr id="24" name="Connector: Elbow 22"/>
          <p:cNvCxnSpPr>
            <a:stCxn id="23" idx="3"/>
          </p:cNvCxnSpPr>
          <p:nvPr/>
        </p:nvCxnSpPr>
        <p:spPr>
          <a:xfrm flipV="1">
            <a:off x="8610816" y="5729537"/>
            <a:ext cx="268988" cy="210836"/>
          </a:xfrm>
          <a:prstGeom prst="bentConnector3">
            <a:avLst>
              <a:gd name="adj1" fmla="val 50000"/>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8642214" y="3732279"/>
            <a:ext cx="768159" cy="246221"/>
          </a:xfrm>
          <a:prstGeom prst="rect">
            <a:avLst/>
          </a:prstGeom>
          <a:noFill/>
        </p:spPr>
        <p:txBody>
          <a:bodyPr wrap="none" rtlCol="0">
            <a:spAutoFit/>
          </a:bodyPr>
          <a:lstStyle/>
          <a:p>
            <a:r>
              <a:rPr lang="en-US" sz="1000" dirty="0">
                <a:latin typeface="Segoe UI Semibold" panose="020B0702040204020203" pitchFamily="34" charset="0"/>
                <a:cs typeface="Segoe UI Semibold" panose="020B0702040204020203" pitchFamily="34" charset="0"/>
              </a:rPr>
              <a:t>11 PM PST</a:t>
            </a:r>
          </a:p>
        </p:txBody>
      </p:sp>
      <p:sp>
        <p:nvSpPr>
          <p:cNvPr id="26" name="Rectangle 25"/>
          <p:cNvSpPr/>
          <p:nvPr/>
        </p:nvSpPr>
        <p:spPr>
          <a:xfrm>
            <a:off x="7343217" y="979046"/>
            <a:ext cx="4781307" cy="5764043"/>
          </a:xfrm>
          <a:prstGeom prst="rect">
            <a:avLst/>
          </a:prstGeom>
          <a:solidFill>
            <a:srgbClr val="000000">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grpSp>
        <p:nvGrpSpPr>
          <p:cNvPr id="27" name="Group 26"/>
          <p:cNvGrpSpPr/>
          <p:nvPr/>
        </p:nvGrpSpPr>
        <p:grpSpPr>
          <a:xfrm>
            <a:off x="7343217" y="2707142"/>
            <a:ext cx="4924848" cy="2370188"/>
            <a:chOff x="6572809" y="4415723"/>
            <a:chExt cx="4924848" cy="2370188"/>
          </a:xfrm>
        </p:grpSpPr>
        <p:grpSp>
          <p:nvGrpSpPr>
            <p:cNvPr id="28" name="Group 27"/>
            <p:cNvGrpSpPr/>
            <p:nvPr/>
          </p:nvGrpSpPr>
          <p:grpSpPr>
            <a:xfrm>
              <a:off x="7428377" y="4943568"/>
              <a:ext cx="3983580" cy="842463"/>
              <a:chOff x="7420176" y="4616011"/>
              <a:chExt cx="3983580" cy="842463"/>
            </a:xfrm>
          </p:grpSpPr>
          <p:cxnSp>
            <p:nvCxnSpPr>
              <p:cNvPr id="40" name="Straight Connector 39"/>
              <p:cNvCxnSpPr/>
              <p:nvPr/>
            </p:nvCxnSpPr>
            <p:spPr>
              <a:xfrm flipV="1">
                <a:off x="7420176" y="4616011"/>
                <a:ext cx="22160" cy="8410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7442336" y="4616863"/>
                <a:ext cx="303170"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flipV="1">
                <a:off x="7742803" y="4616011"/>
                <a:ext cx="28216" cy="8410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7771019" y="5457061"/>
                <a:ext cx="140889"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V="1">
                <a:off x="7911908" y="4663164"/>
                <a:ext cx="22160" cy="793897"/>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7934068" y="4663164"/>
                <a:ext cx="41379"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flipV="1">
                <a:off x="7972154" y="4663164"/>
                <a:ext cx="28216" cy="793897"/>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8000370" y="5457061"/>
                <a:ext cx="247357"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8293199" y="5418024"/>
                <a:ext cx="247357"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8572216" y="5418024"/>
                <a:ext cx="204366"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8825994" y="5418024"/>
                <a:ext cx="63792"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8904817" y="5457061"/>
                <a:ext cx="686714"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V="1">
                <a:off x="9591531" y="4658964"/>
                <a:ext cx="11080" cy="798098"/>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9602611" y="4661064"/>
                <a:ext cx="176773"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flipV="1">
                <a:off x="9776356" y="4663165"/>
                <a:ext cx="24923" cy="353139"/>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9801279" y="5016304"/>
                <a:ext cx="118994"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10011466" y="4661064"/>
                <a:ext cx="1392290"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V="1">
                <a:off x="10011466" y="4663165"/>
                <a:ext cx="5540" cy="267965"/>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9960263" y="4931817"/>
                <a:ext cx="51203"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flipV="1">
                <a:off x="9945020" y="4757090"/>
                <a:ext cx="15243" cy="17404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V="1">
                <a:off x="9920273" y="4757090"/>
                <a:ext cx="21895" cy="259214"/>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V="1">
                <a:off x="8247706" y="5418024"/>
                <a:ext cx="49593"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V="1">
                <a:off x="8532225" y="5380223"/>
                <a:ext cx="3447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flipV="1">
                <a:off x="8772572" y="5380223"/>
                <a:ext cx="3447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flipH="1" flipV="1">
                <a:off x="8562462" y="5380223"/>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H="1" flipV="1">
                <a:off x="8804643" y="5380223"/>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flipH="1" flipV="1">
                <a:off x="8887386" y="5418024"/>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grpSp>
        <p:sp>
          <p:nvSpPr>
            <p:cNvPr id="29" name="TextBox 28"/>
            <p:cNvSpPr txBox="1"/>
            <p:nvPr/>
          </p:nvSpPr>
          <p:spPr>
            <a:xfrm rot="16200000">
              <a:off x="5815743" y="5172789"/>
              <a:ext cx="1791131" cy="276999"/>
            </a:xfrm>
            <a:prstGeom prst="rect">
              <a:avLst/>
            </a:prstGeom>
            <a:noFill/>
          </p:spPr>
          <p:txBody>
            <a:bodyPr wrap="none" rtlCol="0">
              <a:spAutoFit/>
            </a:bodyPr>
            <a:lstStyle/>
            <a:p>
              <a:r>
                <a:rPr lang="en-US" sz="1200" dirty="0">
                  <a:solidFill>
                    <a:schemeClr val="bg1"/>
                  </a:solidFill>
                  <a:latin typeface="Segoe UI Light" panose="020B0502040204020203" pitchFamily="34" charset="0"/>
                  <a:cs typeface="Segoe UI Light" panose="020B0502040204020203" pitchFamily="34" charset="0"/>
                </a:rPr>
                <a:t>Provisioned request / sec</a:t>
              </a:r>
            </a:p>
          </p:txBody>
        </p:sp>
        <p:sp>
          <p:nvSpPr>
            <p:cNvPr id="30" name="TextBox 29"/>
            <p:cNvSpPr txBox="1"/>
            <p:nvPr/>
          </p:nvSpPr>
          <p:spPr>
            <a:xfrm>
              <a:off x="8889784" y="6171904"/>
              <a:ext cx="540533" cy="276999"/>
            </a:xfrm>
            <a:prstGeom prst="rect">
              <a:avLst/>
            </a:prstGeom>
            <a:noFill/>
          </p:spPr>
          <p:txBody>
            <a:bodyPr wrap="none" rtlCol="0">
              <a:spAutoFit/>
            </a:bodyPr>
            <a:lstStyle/>
            <a:p>
              <a:r>
                <a:rPr lang="en-US" sz="1200" dirty="0">
                  <a:solidFill>
                    <a:schemeClr val="bg1"/>
                  </a:solidFill>
                  <a:latin typeface="Segoe UI Light" panose="020B0502040204020203" pitchFamily="34" charset="0"/>
                  <a:cs typeface="Segoe UI Light" panose="020B0502040204020203" pitchFamily="34" charset="0"/>
                </a:rPr>
                <a:t>Time </a:t>
              </a:r>
            </a:p>
          </p:txBody>
        </p:sp>
        <p:sp>
          <p:nvSpPr>
            <p:cNvPr id="31" name="TextBox 30"/>
            <p:cNvSpPr txBox="1"/>
            <p:nvPr/>
          </p:nvSpPr>
          <p:spPr>
            <a:xfrm>
              <a:off x="6832426" y="4746685"/>
              <a:ext cx="554959" cy="1061829"/>
            </a:xfrm>
            <a:prstGeom prst="rect">
              <a:avLst/>
            </a:prstGeom>
            <a:noFill/>
          </p:spPr>
          <p:txBody>
            <a:bodyPr wrap="none" rtlCol="0">
              <a:spAutoFit/>
            </a:bodyPr>
            <a:lstStyle/>
            <a:p>
              <a:pPr algn="r">
                <a:lnSpc>
                  <a:spcPct val="150000"/>
                </a:lnSpc>
              </a:pPr>
              <a:r>
                <a:rPr lang="en-US" sz="700" dirty="0">
                  <a:solidFill>
                    <a:schemeClr val="bg1"/>
                  </a:solidFill>
                  <a:latin typeface="Segoe UI Semilight" panose="020B0402040204020203" pitchFamily="34" charset="0"/>
                  <a:cs typeface="Segoe UI Semilight" panose="020B0402040204020203" pitchFamily="34" charset="0"/>
                </a:rPr>
                <a:t>12000000</a:t>
              </a:r>
            </a:p>
            <a:p>
              <a:pPr algn="r">
                <a:lnSpc>
                  <a:spcPct val="150000"/>
                </a:lnSpc>
              </a:pPr>
              <a:r>
                <a:rPr lang="en-US" sz="700" dirty="0">
                  <a:solidFill>
                    <a:schemeClr val="bg1"/>
                  </a:solidFill>
                  <a:latin typeface="Segoe UI Semilight" panose="020B0402040204020203" pitchFamily="34" charset="0"/>
                  <a:cs typeface="Segoe UI Semilight" panose="020B0402040204020203" pitchFamily="34" charset="0"/>
                </a:rPr>
                <a:t>10000000</a:t>
              </a:r>
            </a:p>
            <a:p>
              <a:pPr algn="r">
                <a:lnSpc>
                  <a:spcPct val="150000"/>
                </a:lnSpc>
              </a:pPr>
              <a:r>
                <a:rPr lang="en-US" sz="700" dirty="0">
                  <a:solidFill>
                    <a:schemeClr val="bg1"/>
                  </a:solidFill>
                  <a:latin typeface="Segoe UI Semilight" panose="020B0402040204020203" pitchFamily="34" charset="0"/>
                  <a:cs typeface="Segoe UI Semilight" panose="020B0402040204020203" pitchFamily="34" charset="0"/>
                </a:rPr>
                <a:t>8000000</a:t>
              </a:r>
            </a:p>
            <a:p>
              <a:pPr algn="r">
                <a:lnSpc>
                  <a:spcPct val="150000"/>
                </a:lnSpc>
              </a:pPr>
              <a:r>
                <a:rPr lang="en-US" sz="700" dirty="0">
                  <a:solidFill>
                    <a:schemeClr val="bg1"/>
                  </a:solidFill>
                  <a:latin typeface="Segoe UI Semilight" panose="020B0402040204020203" pitchFamily="34" charset="0"/>
                  <a:cs typeface="Segoe UI Semilight" panose="020B0402040204020203" pitchFamily="34" charset="0"/>
                </a:rPr>
                <a:t>6000000</a:t>
              </a:r>
            </a:p>
            <a:p>
              <a:pPr algn="r">
                <a:lnSpc>
                  <a:spcPct val="150000"/>
                </a:lnSpc>
              </a:pPr>
              <a:r>
                <a:rPr lang="en-US" sz="700" dirty="0">
                  <a:solidFill>
                    <a:schemeClr val="bg1"/>
                  </a:solidFill>
                  <a:latin typeface="Segoe UI Semilight" panose="020B0402040204020203" pitchFamily="34" charset="0"/>
                  <a:cs typeface="Segoe UI Semilight" panose="020B0402040204020203" pitchFamily="34" charset="0"/>
                </a:rPr>
                <a:t>4000000</a:t>
              </a:r>
            </a:p>
            <a:p>
              <a:pPr algn="r">
                <a:lnSpc>
                  <a:spcPct val="150000"/>
                </a:lnSpc>
              </a:pPr>
              <a:r>
                <a:rPr lang="en-US" sz="700" dirty="0">
                  <a:solidFill>
                    <a:schemeClr val="bg1"/>
                  </a:solidFill>
                  <a:latin typeface="Segoe UI Semilight" panose="020B0402040204020203" pitchFamily="34" charset="0"/>
                  <a:cs typeface="Segoe UI Semilight" panose="020B0402040204020203" pitchFamily="34" charset="0"/>
                </a:rPr>
                <a:t>2000000</a:t>
              </a:r>
            </a:p>
          </p:txBody>
        </p:sp>
        <p:cxnSp>
          <p:nvCxnSpPr>
            <p:cNvPr id="32" name="Straight Connector 31"/>
            <p:cNvCxnSpPr/>
            <p:nvPr/>
          </p:nvCxnSpPr>
          <p:spPr>
            <a:xfrm>
              <a:off x="7428377" y="5884143"/>
              <a:ext cx="4069280" cy="0"/>
            </a:xfrm>
            <a:prstGeom prst="line">
              <a:avLst/>
            </a:prstGeom>
            <a:ln>
              <a:solidFill>
                <a:srgbClr val="0B8172"/>
              </a:solidFill>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7374768" y="5922810"/>
              <a:ext cx="545341" cy="253916"/>
            </a:xfrm>
            <a:prstGeom prst="rect">
              <a:avLst/>
            </a:prstGeom>
            <a:noFill/>
          </p:spPr>
          <p:txBody>
            <a:bodyPr wrap="none" rtlCol="0">
              <a:spAutoFit/>
            </a:bodyPr>
            <a:lstStyle/>
            <a:p>
              <a:pPr algn="r">
                <a:lnSpc>
                  <a:spcPct val="150000"/>
                </a:lnSpc>
              </a:pPr>
              <a:r>
                <a:rPr lang="en-US" sz="700" dirty="0">
                  <a:solidFill>
                    <a:schemeClr val="bg1"/>
                  </a:solidFill>
                  <a:latin typeface="Segoe UI Semilight" panose="020B0402040204020203" pitchFamily="34" charset="0"/>
                  <a:cs typeface="Segoe UI Semilight" panose="020B0402040204020203" pitchFamily="34" charset="0"/>
                </a:rPr>
                <a:t>Nov 2016</a:t>
              </a:r>
            </a:p>
          </p:txBody>
        </p:sp>
        <p:sp>
          <p:nvSpPr>
            <p:cNvPr id="34" name="TextBox 33"/>
            <p:cNvSpPr txBox="1"/>
            <p:nvPr/>
          </p:nvSpPr>
          <p:spPr>
            <a:xfrm>
              <a:off x="10134950" y="5922810"/>
              <a:ext cx="535723" cy="253916"/>
            </a:xfrm>
            <a:prstGeom prst="rect">
              <a:avLst/>
            </a:prstGeom>
            <a:noFill/>
          </p:spPr>
          <p:txBody>
            <a:bodyPr wrap="none" rtlCol="0">
              <a:spAutoFit/>
            </a:bodyPr>
            <a:lstStyle/>
            <a:p>
              <a:pPr algn="r">
                <a:lnSpc>
                  <a:spcPct val="150000"/>
                </a:lnSpc>
              </a:pPr>
              <a:r>
                <a:rPr lang="en-US" sz="700" dirty="0">
                  <a:solidFill>
                    <a:schemeClr val="bg1"/>
                  </a:solidFill>
                  <a:latin typeface="Segoe UI Semilight" panose="020B0402040204020203" pitchFamily="34" charset="0"/>
                  <a:cs typeface="Segoe UI Semilight" panose="020B0402040204020203" pitchFamily="34" charset="0"/>
                </a:rPr>
                <a:t>Dec 2016</a:t>
              </a:r>
            </a:p>
          </p:txBody>
        </p:sp>
        <p:sp>
          <p:nvSpPr>
            <p:cNvPr id="35" name="Oval 34"/>
            <p:cNvSpPr/>
            <p:nvPr/>
          </p:nvSpPr>
          <p:spPr>
            <a:xfrm>
              <a:off x="9996324" y="4960708"/>
              <a:ext cx="53563" cy="53563"/>
            </a:xfrm>
            <a:prstGeom prst="ellipse">
              <a:avLst/>
            </a:prstGeom>
            <a:solidFill>
              <a:srgbClr val="0B81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6" name="TextBox 35"/>
            <p:cNvSpPr txBox="1"/>
            <p:nvPr/>
          </p:nvSpPr>
          <p:spPr>
            <a:xfrm>
              <a:off x="10546054" y="4689230"/>
              <a:ext cx="816249" cy="246221"/>
            </a:xfrm>
            <a:prstGeom prst="rect">
              <a:avLst/>
            </a:prstGeom>
            <a:noFill/>
          </p:spPr>
          <p:txBody>
            <a:bodyPr wrap="none" rtlCol="0">
              <a:spAutoFit/>
            </a:bodyPr>
            <a:lstStyle/>
            <a:p>
              <a:r>
                <a:rPr lang="en-US" sz="1000" dirty="0">
                  <a:solidFill>
                    <a:schemeClr val="bg1"/>
                  </a:solidFill>
                  <a:latin typeface="Segoe UI Light" panose="020B0502040204020203" pitchFamily="34" charset="0"/>
                  <a:cs typeface="Segoe UI Light" panose="020B0502040204020203" pitchFamily="34" charset="0"/>
                </a:rPr>
                <a:t>Black Friday</a:t>
              </a:r>
            </a:p>
          </p:txBody>
        </p:sp>
        <p:cxnSp>
          <p:nvCxnSpPr>
            <p:cNvPr id="37" name="Straight Connector 36"/>
            <p:cNvCxnSpPr/>
            <p:nvPr/>
          </p:nvCxnSpPr>
          <p:spPr>
            <a:xfrm>
              <a:off x="10014207" y="4812341"/>
              <a:ext cx="535947"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10019094" y="4812341"/>
              <a:ext cx="573" cy="140755"/>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8063785" y="6508912"/>
              <a:ext cx="2246384" cy="276999"/>
            </a:xfrm>
            <a:prstGeom prst="rect">
              <a:avLst/>
            </a:prstGeom>
            <a:noFill/>
          </p:spPr>
          <p:txBody>
            <a:bodyPr wrap="none" rtlCol="0">
              <a:spAutoFit/>
            </a:bodyPr>
            <a:lstStyle/>
            <a:p>
              <a:r>
                <a:rPr lang="en-US" sz="1200" dirty="0">
                  <a:solidFill>
                    <a:schemeClr val="bg1"/>
                  </a:solidFill>
                  <a:latin typeface="Segoe UI Light" panose="020B0502040204020203" pitchFamily="34" charset="0"/>
                  <a:cs typeface="Segoe UI Light" panose="020B0502040204020203" pitchFamily="34" charset="0"/>
                </a:rPr>
                <a:t>Hourly throughput (request/sec)</a:t>
              </a:r>
            </a:p>
          </p:txBody>
        </p:sp>
      </p:grpSp>
      <p:sp>
        <p:nvSpPr>
          <p:cNvPr id="67" name="Title 5"/>
          <p:cNvSpPr txBox="1">
            <a:spLocks/>
          </p:cNvSpPr>
          <p:nvPr/>
        </p:nvSpPr>
        <p:spPr>
          <a:xfrm>
            <a:off x="137368" y="245579"/>
            <a:ext cx="12207032" cy="10156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6000" spc="-300" dirty="0">
                <a:solidFill>
                  <a:schemeClr val="bg1"/>
                </a:solidFill>
                <a:latin typeface="Segoe Light"/>
                <a:ea typeface="Segoe UI Black" panose="020B0A02040204020203" pitchFamily="34" charset="0"/>
                <a:cs typeface="Segoe UI Black" panose="020B0A02040204020203" pitchFamily="34" charset="0"/>
              </a:rPr>
              <a:t>Elastically scalable throughput, globally</a:t>
            </a:r>
          </a:p>
        </p:txBody>
      </p:sp>
    </p:spTree>
    <p:extLst>
      <p:ext uri="{BB962C8B-B14F-4D97-AF65-F5344CB8AC3E}">
        <p14:creationId xmlns:p14="http://schemas.microsoft.com/office/powerpoint/2010/main" val="21258035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fade">
                                      <p:cBhvr>
                                        <p:cTn id="11"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57" name="Title 1"/>
          <p:cNvSpPr txBox="1">
            <a:spLocks/>
          </p:cNvSpPr>
          <p:nvPr/>
        </p:nvSpPr>
        <p:spPr>
          <a:xfrm>
            <a:off x="17457" y="317653"/>
            <a:ext cx="11298954" cy="574378"/>
          </a:xfrm>
          <a:prstGeom prst="rect">
            <a:avLst/>
          </a:prstGeom>
        </p:spPr>
        <p:txBody>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pPr defTabSz="1243478"/>
            <a:r>
              <a:rPr lang="en-US" sz="4000" dirty="0">
                <a:solidFill>
                  <a:prstClr val="white"/>
                </a:solidFill>
                <a:latin typeface="Segoe UI Light" panose="020B0502040204020203" pitchFamily="34" charset="0"/>
                <a:cs typeface="Segoe UI Light" panose="020B0502040204020203" pitchFamily="34" charset="0"/>
                <a:sym typeface="Gill Sans" charset="0"/>
              </a:rPr>
              <a:t>Elastically scaling throughput (and storage), </a:t>
            </a:r>
            <a:r>
              <a:rPr lang="en-US" sz="4000" dirty="0">
                <a:solidFill>
                  <a:srgbClr val="FFFF00"/>
                </a:solidFill>
                <a:latin typeface="Segoe UI Light" panose="020B0502040204020203" pitchFamily="34" charset="0"/>
                <a:cs typeface="Segoe UI Light" panose="020B0502040204020203" pitchFamily="34" charset="0"/>
                <a:sym typeface="Gill Sans" charset="0"/>
              </a:rPr>
              <a:t>globally</a:t>
            </a:r>
          </a:p>
        </p:txBody>
      </p:sp>
      <p:pic>
        <p:nvPicPr>
          <p:cNvPr id="208" name="Picture 207"/>
          <p:cNvPicPr>
            <a:picLocks noChangeAspect="1"/>
          </p:cNvPicPr>
          <p:nvPr/>
        </p:nvPicPr>
        <p:blipFill>
          <a:blip r:embed="rId4"/>
          <a:stretch>
            <a:fillRect/>
          </a:stretch>
        </p:blipFill>
        <p:spPr>
          <a:xfrm>
            <a:off x="228600" y="1600200"/>
            <a:ext cx="11774184" cy="4749154"/>
          </a:xfrm>
          <a:prstGeom prst="rect">
            <a:avLst/>
          </a:prstGeom>
          <a:noFill/>
        </p:spPr>
      </p:pic>
    </p:spTree>
    <p:custDataLst>
      <p:tags r:id="rId1"/>
    </p:custDataLst>
    <p:extLst>
      <p:ext uri="{BB962C8B-B14F-4D97-AF65-F5344CB8AC3E}">
        <p14:creationId xmlns:p14="http://schemas.microsoft.com/office/powerpoint/2010/main" val="331529938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20502" name="Rectangle 20501"/>
          <p:cNvSpPr/>
          <p:nvPr/>
        </p:nvSpPr>
        <p:spPr>
          <a:xfrm>
            <a:off x="1064380" y="1606708"/>
            <a:ext cx="3538497" cy="347894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grpSp>
        <p:nvGrpSpPr>
          <p:cNvPr id="160" name="Group 159"/>
          <p:cNvGrpSpPr/>
          <p:nvPr/>
        </p:nvGrpSpPr>
        <p:grpSpPr>
          <a:xfrm>
            <a:off x="1158438" y="4078921"/>
            <a:ext cx="495957" cy="602954"/>
            <a:chOff x="1345497" y="1522604"/>
            <a:chExt cx="596149" cy="700081"/>
          </a:xfrm>
          <a:solidFill>
            <a:schemeClr val="accent2">
              <a:lumMod val="60000"/>
              <a:lumOff val="40000"/>
            </a:schemeClr>
          </a:solidFill>
        </p:grpSpPr>
        <p:pic>
          <p:nvPicPr>
            <p:cNvPr id="162" name="Picture 161"/>
            <p:cNvPicPr>
              <a:picLocks noChangeAspect="1"/>
            </p:cNvPicPr>
            <p:nvPr/>
          </p:nvPicPr>
          <p:blipFill>
            <a:blip r:embed="rId4"/>
            <a:stretch>
              <a:fillRect/>
            </a:stretch>
          </p:blipFill>
          <p:spPr>
            <a:xfrm>
              <a:off x="1345497" y="1522604"/>
              <a:ext cx="459514" cy="560559"/>
            </a:xfrm>
            <a:prstGeom prst="rect">
              <a:avLst/>
            </a:prstGeom>
            <a:grpFill/>
          </p:spPr>
        </p:pic>
        <p:pic>
          <p:nvPicPr>
            <p:cNvPr id="163" name="Picture 162"/>
            <p:cNvPicPr>
              <a:picLocks noChangeAspect="1"/>
            </p:cNvPicPr>
            <p:nvPr/>
          </p:nvPicPr>
          <p:blipFill>
            <a:blip r:embed="rId4"/>
            <a:stretch>
              <a:fillRect/>
            </a:stretch>
          </p:blipFill>
          <p:spPr>
            <a:xfrm>
              <a:off x="1408559" y="1593808"/>
              <a:ext cx="459514" cy="560559"/>
            </a:xfrm>
            <a:prstGeom prst="rect">
              <a:avLst/>
            </a:prstGeom>
            <a:grpFill/>
          </p:spPr>
        </p:pic>
        <p:pic>
          <p:nvPicPr>
            <p:cNvPr id="164" name="Picture 163"/>
            <p:cNvPicPr>
              <a:picLocks noChangeAspect="1"/>
            </p:cNvPicPr>
            <p:nvPr/>
          </p:nvPicPr>
          <p:blipFill>
            <a:blip r:embed="rId4"/>
            <a:stretch>
              <a:fillRect/>
            </a:stretch>
          </p:blipFill>
          <p:spPr>
            <a:xfrm>
              <a:off x="1482132" y="1662126"/>
              <a:ext cx="459514" cy="560559"/>
            </a:xfrm>
            <a:prstGeom prst="rect">
              <a:avLst/>
            </a:prstGeom>
            <a:grpFill/>
            <a:ln w="3175">
              <a:noFill/>
            </a:ln>
          </p:spPr>
        </p:pic>
      </p:grpSp>
      <p:pic>
        <p:nvPicPr>
          <p:cNvPr id="20490" name="Picture 10" descr="Image result for database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309283" y="1918524"/>
            <a:ext cx="683877" cy="683877"/>
          </a:xfrm>
          <a:prstGeom prst="rect">
            <a:avLst/>
          </a:prstGeom>
          <a:solidFill>
            <a:schemeClr val="accent2">
              <a:lumMod val="60000"/>
              <a:lumOff val="40000"/>
            </a:schemeClr>
          </a:solidFill>
        </p:spPr>
      </p:pic>
      <p:grpSp>
        <p:nvGrpSpPr>
          <p:cNvPr id="161" name="Group 160"/>
          <p:cNvGrpSpPr/>
          <p:nvPr/>
        </p:nvGrpSpPr>
        <p:grpSpPr>
          <a:xfrm>
            <a:off x="1842706" y="4127127"/>
            <a:ext cx="495957" cy="602954"/>
            <a:chOff x="1345497" y="1522604"/>
            <a:chExt cx="596149" cy="700081"/>
          </a:xfrm>
          <a:solidFill>
            <a:schemeClr val="accent2">
              <a:lumMod val="60000"/>
              <a:lumOff val="40000"/>
            </a:schemeClr>
          </a:solidFill>
        </p:grpSpPr>
        <p:pic>
          <p:nvPicPr>
            <p:cNvPr id="185" name="Picture 184"/>
            <p:cNvPicPr>
              <a:picLocks noChangeAspect="1"/>
            </p:cNvPicPr>
            <p:nvPr/>
          </p:nvPicPr>
          <p:blipFill>
            <a:blip r:embed="rId4"/>
            <a:stretch>
              <a:fillRect/>
            </a:stretch>
          </p:blipFill>
          <p:spPr>
            <a:xfrm>
              <a:off x="1345497" y="1522604"/>
              <a:ext cx="459514" cy="560559"/>
            </a:xfrm>
            <a:prstGeom prst="rect">
              <a:avLst/>
            </a:prstGeom>
            <a:grpFill/>
          </p:spPr>
        </p:pic>
        <p:pic>
          <p:nvPicPr>
            <p:cNvPr id="285" name="Picture 284"/>
            <p:cNvPicPr>
              <a:picLocks noChangeAspect="1"/>
            </p:cNvPicPr>
            <p:nvPr/>
          </p:nvPicPr>
          <p:blipFill>
            <a:blip r:embed="rId4"/>
            <a:stretch>
              <a:fillRect/>
            </a:stretch>
          </p:blipFill>
          <p:spPr>
            <a:xfrm>
              <a:off x="1408559" y="1593808"/>
              <a:ext cx="459514" cy="560559"/>
            </a:xfrm>
            <a:prstGeom prst="rect">
              <a:avLst/>
            </a:prstGeom>
            <a:grpFill/>
          </p:spPr>
        </p:pic>
        <p:pic>
          <p:nvPicPr>
            <p:cNvPr id="287" name="Picture 286"/>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288" name="Group 287"/>
          <p:cNvGrpSpPr/>
          <p:nvPr/>
        </p:nvGrpSpPr>
        <p:grpSpPr>
          <a:xfrm>
            <a:off x="2601613" y="4117571"/>
            <a:ext cx="495957" cy="602954"/>
            <a:chOff x="1345497" y="1522604"/>
            <a:chExt cx="596149" cy="700081"/>
          </a:xfrm>
          <a:solidFill>
            <a:schemeClr val="accent2">
              <a:lumMod val="60000"/>
              <a:lumOff val="40000"/>
            </a:schemeClr>
          </a:solidFill>
        </p:grpSpPr>
        <p:pic>
          <p:nvPicPr>
            <p:cNvPr id="289" name="Picture 288"/>
            <p:cNvPicPr>
              <a:picLocks noChangeAspect="1"/>
            </p:cNvPicPr>
            <p:nvPr/>
          </p:nvPicPr>
          <p:blipFill>
            <a:blip r:embed="rId4"/>
            <a:stretch>
              <a:fillRect/>
            </a:stretch>
          </p:blipFill>
          <p:spPr>
            <a:xfrm>
              <a:off x="1345497" y="1522604"/>
              <a:ext cx="459514" cy="560559"/>
            </a:xfrm>
            <a:prstGeom prst="rect">
              <a:avLst/>
            </a:prstGeom>
            <a:grpFill/>
          </p:spPr>
        </p:pic>
        <p:pic>
          <p:nvPicPr>
            <p:cNvPr id="290" name="Picture 289"/>
            <p:cNvPicPr>
              <a:picLocks noChangeAspect="1"/>
            </p:cNvPicPr>
            <p:nvPr/>
          </p:nvPicPr>
          <p:blipFill>
            <a:blip r:embed="rId4"/>
            <a:stretch>
              <a:fillRect/>
            </a:stretch>
          </p:blipFill>
          <p:spPr>
            <a:xfrm>
              <a:off x="1408559" y="1593808"/>
              <a:ext cx="459514" cy="560559"/>
            </a:xfrm>
            <a:prstGeom prst="rect">
              <a:avLst/>
            </a:prstGeom>
            <a:grpFill/>
          </p:spPr>
        </p:pic>
        <p:pic>
          <p:nvPicPr>
            <p:cNvPr id="291" name="Picture 290"/>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292" name="Group 291"/>
          <p:cNvGrpSpPr/>
          <p:nvPr/>
        </p:nvGrpSpPr>
        <p:grpSpPr>
          <a:xfrm>
            <a:off x="3319339" y="4146722"/>
            <a:ext cx="495957" cy="602954"/>
            <a:chOff x="1345497" y="1522604"/>
            <a:chExt cx="596149" cy="700081"/>
          </a:xfrm>
          <a:solidFill>
            <a:schemeClr val="accent2">
              <a:lumMod val="60000"/>
              <a:lumOff val="40000"/>
            </a:schemeClr>
          </a:solidFill>
        </p:grpSpPr>
        <p:pic>
          <p:nvPicPr>
            <p:cNvPr id="293" name="Picture 292"/>
            <p:cNvPicPr>
              <a:picLocks noChangeAspect="1"/>
            </p:cNvPicPr>
            <p:nvPr/>
          </p:nvPicPr>
          <p:blipFill>
            <a:blip r:embed="rId4"/>
            <a:stretch>
              <a:fillRect/>
            </a:stretch>
          </p:blipFill>
          <p:spPr>
            <a:xfrm>
              <a:off x="1345497" y="1522604"/>
              <a:ext cx="459514" cy="560559"/>
            </a:xfrm>
            <a:prstGeom prst="rect">
              <a:avLst/>
            </a:prstGeom>
            <a:grpFill/>
          </p:spPr>
        </p:pic>
        <p:pic>
          <p:nvPicPr>
            <p:cNvPr id="294" name="Picture 293"/>
            <p:cNvPicPr>
              <a:picLocks noChangeAspect="1"/>
            </p:cNvPicPr>
            <p:nvPr/>
          </p:nvPicPr>
          <p:blipFill>
            <a:blip r:embed="rId4"/>
            <a:stretch>
              <a:fillRect/>
            </a:stretch>
          </p:blipFill>
          <p:spPr>
            <a:xfrm>
              <a:off x="1408559" y="1593808"/>
              <a:ext cx="459514" cy="560559"/>
            </a:xfrm>
            <a:prstGeom prst="rect">
              <a:avLst/>
            </a:prstGeom>
            <a:grpFill/>
          </p:spPr>
        </p:pic>
        <p:pic>
          <p:nvPicPr>
            <p:cNvPr id="295" name="Picture 294"/>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298" name="Group 297"/>
          <p:cNvGrpSpPr/>
          <p:nvPr/>
        </p:nvGrpSpPr>
        <p:grpSpPr>
          <a:xfrm>
            <a:off x="3997830" y="4118814"/>
            <a:ext cx="495957" cy="602954"/>
            <a:chOff x="1345497" y="1522604"/>
            <a:chExt cx="596149" cy="700081"/>
          </a:xfrm>
          <a:solidFill>
            <a:schemeClr val="accent2">
              <a:lumMod val="60000"/>
              <a:lumOff val="40000"/>
            </a:schemeClr>
          </a:solidFill>
        </p:grpSpPr>
        <p:pic>
          <p:nvPicPr>
            <p:cNvPr id="300" name="Picture 299"/>
            <p:cNvPicPr>
              <a:picLocks noChangeAspect="1"/>
            </p:cNvPicPr>
            <p:nvPr/>
          </p:nvPicPr>
          <p:blipFill>
            <a:blip r:embed="rId4"/>
            <a:stretch>
              <a:fillRect/>
            </a:stretch>
          </p:blipFill>
          <p:spPr>
            <a:xfrm>
              <a:off x="1345497" y="1522604"/>
              <a:ext cx="459514" cy="560559"/>
            </a:xfrm>
            <a:prstGeom prst="rect">
              <a:avLst/>
            </a:prstGeom>
            <a:grpFill/>
          </p:spPr>
        </p:pic>
        <p:pic>
          <p:nvPicPr>
            <p:cNvPr id="301" name="Picture 300"/>
            <p:cNvPicPr>
              <a:picLocks noChangeAspect="1"/>
            </p:cNvPicPr>
            <p:nvPr/>
          </p:nvPicPr>
          <p:blipFill>
            <a:blip r:embed="rId4"/>
            <a:stretch>
              <a:fillRect/>
            </a:stretch>
          </p:blipFill>
          <p:spPr>
            <a:xfrm>
              <a:off x="1408559" y="1593808"/>
              <a:ext cx="459514" cy="560559"/>
            </a:xfrm>
            <a:prstGeom prst="rect">
              <a:avLst/>
            </a:prstGeom>
            <a:grpFill/>
          </p:spPr>
        </p:pic>
        <p:pic>
          <p:nvPicPr>
            <p:cNvPr id="302" name="Picture 301"/>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303" name="Group 302"/>
          <p:cNvGrpSpPr/>
          <p:nvPr/>
        </p:nvGrpSpPr>
        <p:grpSpPr>
          <a:xfrm>
            <a:off x="233160" y="3945815"/>
            <a:ext cx="495957" cy="602954"/>
            <a:chOff x="1345497" y="1522604"/>
            <a:chExt cx="596149" cy="700081"/>
          </a:xfrm>
          <a:solidFill>
            <a:srgbClr val="FFFF00"/>
          </a:solidFill>
        </p:grpSpPr>
        <p:pic>
          <p:nvPicPr>
            <p:cNvPr id="304" name="Picture 303"/>
            <p:cNvPicPr>
              <a:picLocks noChangeAspect="1"/>
            </p:cNvPicPr>
            <p:nvPr/>
          </p:nvPicPr>
          <p:blipFill>
            <a:blip r:embed="rId4"/>
            <a:stretch>
              <a:fillRect/>
            </a:stretch>
          </p:blipFill>
          <p:spPr>
            <a:xfrm>
              <a:off x="1345497" y="1522604"/>
              <a:ext cx="459514" cy="560559"/>
            </a:xfrm>
            <a:prstGeom prst="rect">
              <a:avLst/>
            </a:prstGeom>
            <a:grpFill/>
          </p:spPr>
        </p:pic>
        <p:pic>
          <p:nvPicPr>
            <p:cNvPr id="305" name="Picture 304"/>
            <p:cNvPicPr>
              <a:picLocks noChangeAspect="1"/>
            </p:cNvPicPr>
            <p:nvPr/>
          </p:nvPicPr>
          <p:blipFill>
            <a:blip r:embed="rId4"/>
            <a:stretch>
              <a:fillRect/>
            </a:stretch>
          </p:blipFill>
          <p:spPr>
            <a:xfrm>
              <a:off x="1408559" y="1593808"/>
              <a:ext cx="459514" cy="560559"/>
            </a:xfrm>
            <a:prstGeom prst="rect">
              <a:avLst/>
            </a:prstGeom>
            <a:grpFill/>
          </p:spPr>
        </p:pic>
        <p:pic>
          <p:nvPicPr>
            <p:cNvPr id="306" name="Picture 305"/>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307" name="Group 306"/>
          <p:cNvGrpSpPr/>
          <p:nvPr/>
        </p:nvGrpSpPr>
        <p:grpSpPr>
          <a:xfrm>
            <a:off x="4680360" y="3987069"/>
            <a:ext cx="495957" cy="602954"/>
            <a:chOff x="1345497" y="1522604"/>
            <a:chExt cx="596149" cy="700081"/>
          </a:xfrm>
          <a:solidFill>
            <a:srgbClr val="FFFF00"/>
          </a:solidFill>
        </p:grpSpPr>
        <p:pic>
          <p:nvPicPr>
            <p:cNvPr id="308" name="Picture 307"/>
            <p:cNvPicPr>
              <a:picLocks noChangeAspect="1"/>
            </p:cNvPicPr>
            <p:nvPr/>
          </p:nvPicPr>
          <p:blipFill>
            <a:blip r:embed="rId4"/>
            <a:stretch>
              <a:fillRect/>
            </a:stretch>
          </p:blipFill>
          <p:spPr>
            <a:xfrm>
              <a:off x="1345497" y="1522604"/>
              <a:ext cx="459514" cy="560559"/>
            </a:xfrm>
            <a:prstGeom prst="rect">
              <a:avLst/>
            </a:prstGeom>
            <a:grpFill/>
          </p:spPr>
        </p:pic>
        <p:pic>
          <p:nvPicPr>
            <p:cNvPr id="309" name="Picture 308"/>
            <p:cNvPicPr>
              <a:picLocks noChangeAspect="1"/>
            </p:cNvPicPr>
            <p:nvPr/>
          </p:nvPicPr>
          <p:blipFill>
            <a:blip r:embed="rId4"/>
            <a:stretch>
              <a:fillRect/>
            </a:stretch>
          </p:blipFill>
          <p:spPr>
            <a:xfrm>
              <a:off x="1408559" y="1593808"/>
              <a:ext cx="459514" cy="560559"/>
            </a:xfrm>
            <a:prstGeom prst="rect">
              <a:avLst/>
            </a:prstGeom>
            <a:grpFill/>
          </p:spPr>
        </p:pic>
        <p:pic>
          <p:nvPicPr>
            <p:cNvPr id="311" name="Picture 310"/>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322" name="Group 321"/>
          <p:cNvGrpSpPr/>
          <p:nvPr/>
        </p:nvGrpSpPr>
        <p:grpSpPr>
          <a:xfrm>
            <a:off x="5738824" y="5725384"/>
            <a:ext cx="495957" cy="602954"/>
            <a:chOff x="1345497" y="1522604"/>
            <a:chExt cx="596149" cy="700081"/>
          </a:xfrm>
          <a:solidFill>
            <a:schemeClr val="accent2">
              <a:lumMod val="60000"/>
              <a:lumOff val="40000"/>
            </a:schemeClr>
          </a:solidFill>
        </p:grpSpPr>
        <p:pic>
          <p:nvPicPr>
            <p:cNvPr id="323" name="Picture 322"/>
            <p:cNvPicPr>
              <a:picLocks noChangeAspect="1"/>
            </p:cNvPicPr>
            <p:nvPr/>
          </p:nvPicPr>
          <p:blipFill>
            <a:blip r:embed="rId4"/>
            <a:stretch>
              <a:fillRect/>
            </a:stretch>
          </p:blipFill>
          <p:spPr>
            <a:xfrm>
              <a:off x="1345497" y="1522604"/>
              <a:ext cx="459514" cy="560559"/>
            </a:xfrm>
            <a:prstGeom prst="rect">
              <a:avLst/>
            </a:prstGeom>
            <a:grpFill/>
          </p:spPr>
        </p:pic>
        <p:pic>
          <p:nvPicPr>
            <p:cNvPr id="324" name="Picture 323"/>
            <p:cNvPicPr>
              <a:picLocks noChangeAspect="1"/>
            </p:cNvPicPr>
            <p:nvPr/>
          </p:nvPicPr>
          <p:blipFill>
            <a:blip r:embed="rId4"/>
            <a:stretch>
              <a:fillRect/>
            </a:stretch>
          </p:blipFill>
          <p:spPr>
            <a:xfrm>
              <a:off x="1408559" y="1593808"/>
              <a:ext cx="459514" cy="560559"/>
            </a:xfrm>
            <a:prstGeom prst="rect">
              <a:avLst/>
            </a:prstGeom>
            <a:grpFill/>
          </p:spPr>
        </p:pic>
        <p:pic>
          <p:nvPicPr>
            <p:cNvPr id="325" name="Picture 324"/>
            <p:cNvPicPr>
              <a:picLocks noChangeAspect="1"/>
            </p:cNvPicPr>
            <p:nvPr/>
          </p:nvPicPr>
          <p:blipFill>
            <a:blip r:embed="rId4"/>
            <a:stretch>
              <a:fillRect/>
            </a:stretch>
          </p:blipFill>
          <p:spPr>
            <a:xfrm>
              <a:off x="1482132" y="1662126"/>
              <a:ext cx="459514" cy="560559"/>
            </a:xfrm>
            <a:prstGeom prst="rect">
              <a:avLst/>
            </a:prstGeom>
            <a:grpFill/>
            <a:ln w="3175">
              <a:noFill/>
            </a:ln>
          </p:spPr>
        </p:pic>
      </p:grpSp>
      <p:pic>
        <p:nvPicPr>
          <p:cNvPr id="326" name="Picture 10" descr="Image result for database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951420" y="3593642"/>
            <a:ext cx="683877" cy="683877"/>
          </a:xfrm>
          <a:prstGeom prst="rect">
            <a:avLst/>
          </a:prstGeom>
          <a:solidFill>
            <a:schemeClr val="accent2">
              <a:lumMod val="60000"/>
              <a:lumOff val="40000"/>
            </a:schemeClr>
          </a:solidFill>
        </p:spPr>
      </p:pic>
      <p:grpSp>
        <p:nvGrpSpPr>
          <p:cNvPr id="327" name="Group 326"/>
          <p:cNvGrpSpPr/>
          <p:nvPr/>
        </p:nvGrpSpPr>
        <p:grpSpPr>
          <a:xfrm>
            <a:off x="6569435" y="5745277"/>
            <a:ext cx="495957" cy="602954"/>
            <a:chOff x="1345497" y="1522604"/>
            <a:chExt cx="596149" cy="700081"/>
          </a:xfrm>
          <a:solidFill>
            <a:schemeClr val="accent2">
              <a:lumMod val="60000"/>
              <a:lumOff val="40000"/>
            </a:schemeClr>
          </a:solidFill>
        </p:grpSpPr>
        <p:pic>
          <p:nvPicPr>
            <p:cNvPr id="328" name="Picture 327"/>
            <p:cNvPicPr>
              <a:picLocks noChangeAspect="1"/>
            </p:cNvPicPr>
            <p:nvPr/>
          </p:nvPicPr>
          <p:blipFill>
            <a:blip r:embed="rId4"/>
            <a:stretch>
              <a:fillRect/>
            </a:stretch>
          </p:blipFill>
          <p:spPr>
            <a:xfrm>
              <a:off x="1345497" y="1522604"/>
              <a:ext cx="459514" cy="560559"/>
            </a:xfrm>
            <a:prstGeom prst="rect">
              <a:avLst/>
            </a:prstGeom>
            <a:grpFill/>
          </p:spPr>
        </p:pic>
        <p:pic>
          <p:nvPicPr>
            <p:cNvPr id="329" name="Picture 328"/>
            <p:cNvPicPr>
              <a:picLocks noChangeAspect="1"/>
            </p:cNvPicPr>
            <p:nvPr/>
          </p:nvPicPr>
          <p:blipFill>
            <a:blip r:embed="rId4"/>
            <a:stretch>
              <a:fillRect/>
            </a:stretch>
          </p:blipFill>
          <p:spPr>
            <a:xfrm>
              <a:off x="1408559" y="1593808"/>
              <a:ext cx="459514" cy="560559"/>
            </a:xfrm>
            <a:prstGeom prst="rect">
              <a:avLst/>
            </a:prstGeom>
            <a:grpFill/>
          </p:spPr>
        </p:pic>
        <p:pic>
          <p:nvPicPr>
            <p:cNvPr id="330" name="Picture 329"/>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331" name="Group 330"/>
          <p:cNvGrpSpPr/>
          <p:nvPr/>
        </p:nvGrpSpPr>
        <p:grpSpPr>
          <a:xfrm>
            <a:off x="7328342" y="5735721"/>
            <a:ext cx="495957" cy="602954"/>
            <a:chOff x="1345497" y="1522604"/>
            <a:chExt cx="596149" cy="700081"/>
          </a:xfrm>
          <a:solidFill>
            <a:schemeClr val="accent2">
              <a:lumMod val="60000"/>
              <a:lumOff val="40000"/>
            </a:schemeClr>
          </a:solidFill>
        </p:grpSpPr>
        <p:pic>
          <p:nvPicPr>
            <p:cNvPr id="332" name="Picture 331"/>
            <p:cNvPicPr>
              <a:picLocks noChangeAspect="1"/>
            </p:cNvPicPr>
            <p:nvPr/>
          </p:nvPicPr>
          <p:blipFill>
            <a:blip r:embed="rId4"/>
            <a:stretch>
              <a:fillRect/>
            </a:stretch>
          </p:blipFill>
          <p:spPr>
            <a:xfrm>
              <a:off x="1345497" y="1522604"/>
              <a:ext cx="459514" cy="560559"/>
            </a:xfrm>
            <a:prstGeom prst="rect">
              <a:avLst/>
            </a:prstGeom>
            <a:grpFill/>
          </p:spPr>
        </p:pic>
        <p:pic>
          <p:nvPicPr>
            <p:cNvPr id="333" name="Picture 332"/>
            <p:cNvPicPr>
              <a:picLocks noChangeAspect="1"/>
            </p:cNvPicPr>
            <p:nvPr/>
          </p:nvPicPr>
          <p:blipFill>
            <a:blip r:embed="rId4"/>
            <a:stretch>
              <a:fillRect/>
            </a:stretch>
          </p:blipFill>
          <p:spPr>
            <a:xfrm>
              <a:off x="1408559" y="1593808"/>
              <a:ext cx="459514" cy="560559"/>
            </a:xfrm>
            <a:prstGeom prst="rect">
              <a:avLst/>
            </a:prstGeom>
            <a:grpFill/>
          </p:spPr>
        </p:pic>
        <p:pic>
          <p:nvPicPr>
            <p:cNvPr id="334" name="Picture 333"/>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335" name="Group 334"/>
          <p:cNvGrpSpPr/>
          <p:nvPr/>
        </p:nvGrpSpPr>
        <p:grpSpPr>
          <a:xfrm>
            <a:off x="8046069" y="5764872"/>
            <a:ext cx="495957" cy="602954"/>
            <a:chOff x="1345497" y="1522604"/>
            <a:chExt cx="596149" cy="700081"/>
          </a:xfrm>
          <a:solidFill>
            <a:schemeClr val="accent2">
              <a:lumMod val="60000"/>
              <a:lumOff val="40000"/>
            </a:schemeClr>
          </a:solidFill>
        </p:grpSpPr>
        <p:pic>
          <p:nvPicPr>
            <p:cNvPr id="336" name="Picture 335"/>
            <p:cNvPicPr>
              <a:picLocks noChangeAspect="1"/>
            </p:cNvPicPr>
            <p:nvPr/>
          </p:nvPicPr>
          <p:blipFill>
            <a:blip r:embed="rId4"/>
            <a:stretch>
              <a:fillRect/>
            </a:stretch>
          </p:blipFill>
          <p:spPr>
            <a:xfrm>
              <a:off x="1345497" y="1522604"/>
              <a:ext cx="459514" cy="560559"/>
            </a:xfrm>
            <a:prstGeom prst="rect">
              <a:avLst/>
            </a:prstGeom>
            <a:grpFill/>
          </p:spPr>
        </p:pic>
        <p:pic>
          <p:nvPicPr>
            <p:cNvPr id="337" name="Picture 336"/>
            <p:cNvPicPr>
              <a:picLocks noChangeAspect="1"/>
            </p:cNvPicPr>
            <p:nvPr/>
          </p:nvPicPr>
          <p:blipFill>
            <a:blip r:embed="rId4"/>
            <a:stretch>
              <a:fillRect/>
            </a:stretch>
          </p:blipFill>
          <p:spPr>
            <a:xfrm>
              <a:off x="1408559" y="1593808"/>
              <a:ext cx="459514" cy="560559"/>
            </a:xfrm>
            <a:prstGeom prst="rect">
              <a:avLst/>
            </a:prstGeom>
            <a:grpFill/>
          </p:spPr>
        </p:pic>
        <p:pic>
          <p:nvPicPr>
            <p:cNvPr id="338" name="Picture 337"/>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339" name="Group 338"/>
          <p:cNvGrpSpPr/>
          <p:nvPr/>
        </p:nvGrpSpPr>
        <p:grpSpPr>
          <a:xfrm>
            <a:off x="8724560" y="5736964"/>
            <a:ext cx="495957" cy="602954"/>
            <a:chOff x="1345497" y="1522604"/>
            <a:chExt cx="596149" cy="700081"/>
          </a:xfrm>
          <a:solidFill>
            <a:schemeClr val="accent2">
              <a:lumMod val="60000"/>
              <a:lumOff val="40000"/>
            </a:schemeClr>
          </a:solidFill>
        </p:grpSpPr>
        <p:pic>
          <p:nvPicPr>
            <p:cNvPr id="340" name="Picture 339"/>
            <p:cNvPicPr>
              <a:picLocks noChangeAspect="1"/>
            </p:cNvPicPr>
            <p:nvPr/>
          </p:nvPicPr>
          <p:blipFill>
            <a:blip r:embed="rId4"/>
            <a:stretch>
              <a:fillRect/>
            </a:stretch>
          </p:blipFill>
          <p:spPr>
            <a:xfrm>
              <a:off x="1345497" y="1522604"/>
              <a:ext cx="459514" cy="560559"/>
            </a:xfrm>
            <a:prstGeom prst="rect">
              <a:avLst/>
            </a:prstGeom>
            <a:grpFill/>
          </p:spPr>
        </p:pic>
        <p:pic>
          <p:nvPicPr>
            <p:cNvPr id="341" name="Picture 340"/>
            <p:cNvPicPr>
              <a:picLocks noChangeAspect="1"/>
            </p:cNvPicPr>
            <p:nvPr/>
          </p:nvPicPr>
          <p:blipFill>
            <a:blip r:embed="rId4"/>
            <a:stretch>
              <a:fillRect/>
            </a:stretch>
          </p:blipFill>
          <p:spPr>
            <a:xfrm>
              <a:off x="1408559" y="1593808"/>
              <a:ext cx="459514" cy="560559"/>
            </a:xfrm>
            <a:prstGeom prst="rect">
              <a:avLst/>
            </a:prstGeom>
            <a:grpFill/>
          </p:spPr>
        </p:pic>
        <p:pic>
          <p:nvPicPr>
            <p:cNvPr id="342" name="Picture 341"/>
            <p:cNvPicPr>
              <a:picLocks noChangeAspect="1"/>
            </p:cNvPicPr>
            <p:nvPr/>
          </p:nvPicPr>
          <p:blipFill>
            <a:blip r:embed="rId4"/>
            <a:stretch>
              <a:fillRect/>
            </a:stretch>
          </p:blipFill>
          <p:spPr>
            <a:xfrm>
              <a:off x="1482132" y="1662126"/>
              <a:ext cx="459514" cy="560559"/>
            </a:xfrm>
            <a:prstGeom prst="rect">
              <a:avLst/>
            </a:prstGeom>
            <a:grpFill/>
            <a:ln w="3175">
              <a:noFill/>
            </a:ln>
          </p:spPr>
        </p:pic>
      </p:grpSp>
      <p:cxnSp>
        <p:nvCxnSpPr>
          <p:cNvPr id="8" name="Curved Connector 7"/>
          <p:cNvCxnSpPr>
            <a:stCxn id="20490" idx="2"/>
            <a:endCxn id="304" idx="0"/>
          </p:cNvCxnSpPr>
          <p:nvPr/>
        </p:nvCxnSpPr>
        <p:spPr>
          <a:xfrm rot="5400000">
            <a:off x="866055" y="2160648"/>
            <a:ext cx="1343415" cy="2226919"/>
          </a:xfrm>
          <a:prstGeom prst="curvedConnector3">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89" name="Curved Connector 388"/>
          <p:cNvCxnSpPr>
            <a:stCxn id="20490" idx="2"/>
            <a:endCxn id="162" idx="0"/>
          </p:cNvCxnSpPr>
          <p:nvPr/>
        </p:nvCxnSpPr>
        <p:spPr>
          <a:xfrm rot="5400000">
            <a:off x="1262141" y="2689841"/>
            <a:ext cx="1476521" cy="1301641"/>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90" name="Curved Connector 389"/>
          <p:cNvCxnSpPr>
            <a:stCxn id="20490" idx="2"/>
            <a:endCxn id="185" idx="0"/>
          </p:cNvCxnSpPr>
          <p:nvPr/>
        </p:nvCxnSpPr>
        <p:spPr>
          <a:xfrm rot="5400000">
            <a:off x="1580172" y="3056077"/>
            <a:ext cx="1524727" cy="617373"/>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91" name="Curved Connector 390"/>
          <p:cNvCxnSpPr>
            <a:stCxn id="20490" idx="2"/>
            <a:endCxn id="289" idx="0"/>
          </p:cNvCxnSpPr>
          <p:nvPr/>
        </p:nvCxnSpPr>
        <p:spPr>
          <a:xfrm rot="16200000" flipH="1">
            <a:off x="1964403" y="3289219"/>
            <a:ext cx="1515171" cy="141534"/>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92" name="Curved Connector 391"/>
          <p:cNvCxnSpPr>
            <a:stCxn id="20490" idx="2"/>
          </p:cNvCxnSpPr>
          <p:nvPr/>
        </p:nvCxnSpPr>
        <p:spPr>
          <a:xfrm rot="16200000" flipH="1">
            <a:off x="2197457" y="3056165"/>
            <a:ext cx="1554142" cy="646612"/>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93" name="Curved Connector 392"/>
          <p:cNvCxnSpPr>
            <a:stCxn id="20490" idx="2"/>
            <a:endCxn id="300" idx="0"/>
          </p:cNvCxnSpPr>
          <p:nvPr/>
        </p:nvCxnSpPr>
        <p:spPr>
          <a:xfrm rot="16200000" flipH="1">
            <a:off x="2661890" y="2591731"/>
            <a:ext cx="1516413" cy="1537752"/>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94" name="Curved Connector 393"/>
          <p:cNvCxnSpPr>
            <a:stCxn id="20490" idx="2"/>
            <a:endCxn id="309" idx="0"/>
          </p:cNvCxnSpPr>
          <p:nvPr/>
        </p:nvCxnSpPr>
        <p:spPr>
          <a:xfrm rot="16200000" flipH="1">
            <a:off x="3064597" y="2189025"/>
            <a:ext cx="1445994" cy="2272745"/>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96" name="Curved Connector 395"/>
          <p:cNvCxnSpPr>
            <a:stCxn id="326" idx="2"/>
            <a:endCxn id="324" idx="0"/>
          </p:cNvCxnSpPr>
          <p:nvPr/>
        </p:nvCxnSpPr>
        <p:spPr>
          <a:xfrm rot="5400000">
            <a:off x="5883299" y="4376649"/>
            <a:ext cx="1509191" cy="1310929"/>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97" name="Curved Connector 396"/>
          <p:cNvCxnSpPr>
            <a:endCxn id="328" idx="0"/>
          </p:cNvCxnSpPr>
          <p:nvPr/>
        </p:nvCxnSpPr>
        <p:spPr>
          <a:xfrm rot="5400000">
            <a:off x="6262427" y="4714344"/>
            <a:ext cx="1529085" cy="532782"/>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98" name="Curved Connector 397"/>
          <p:cNvCxnSpPr>
            <a:endCxn id="332" idx="0"/>
          </p:cNvCxnSpPr>
          <p:nvPr/>
        </p:nvCxnSpPr>
        <p:spPr>
          <a:xfrm rot="16200000" flipH="1">
            <a:off x="6640540" y="4856777"/>
            <a:ext cx="1531763" cy="226126"/>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99" name="Curved Connector 398"/>
          <p:cNvCxnSpPr>
            <a:stCxn id="326" idx="2"/>
            <a:endCxn id="337" idx="0"/>
          </p:cNvCxnSpPr>
          <p:nvPr/>
        </p:nvCxnSpPr>
        <p:spPr>
          <a:xfrm rot="16200000" flipH="1">
            <a:off x="7017178" y="4553700"/>
            <a:ext cx="1548679" cy="996316"/>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0" name="Curved Connector 399"/>
          <p:cNvCxnSpPr>
            <a:stCxn id="326" idx="2"/>
            <a:endCxn id="341" idx="0"/>
          </p:cNvCxnSpPr>
          <p:nvPr/>
        </p:nvCxnSpPr>
        <p:spPr>
          <a:xfrm rot="16200000" flipH="1">
            <a:off x="7370377" y="4200500"/>
            <a:ext cx="1520771" cy="1674807"/>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0495" name="TextBox 20494"/>
          <p:cNvSpPr txBox="1"/>
          <p:nvPr/>
        </p:nvSpPr>
        <p:spPr>
          <a:xfrm>
            <a:off x="2999305" y="2079408"/>
            <a:ext cx="1420981" cy="430887"/>
          </a:xfrm>
          <a:prstGeom prst="rect">
            <a:avLst/>
          </a:prstGeom>
          <a:noFill/>
        </p:spPr>
        <p:txBody>
          <a:bodyPr wrap="square" rtlCol="0">
            <a:spAutoFit/>
          </a:bodyPr>
          <a:lstStyle/>
          <a:p>
            <a:pPr defTabSz="457200" fontAlgn="base">
              <a:spcBef>
                <a:spcPct val="0"/>
              </a:spcBef>
              <a:spcAft>
                <a:spcPct val="0"/>
              </a:spcAft>
              <a:defRPr/>
            </a:pPr>
            <a:r>
              <a:rPr lang="en-US" sz="2200" dirty="0">
                <a:solidFill>
                  <a:prstClr val="white"/>
                </a:solidFill>
                <a:latin typeface="Calibri" panose="020F0502020204030204"/>
                <a:ea typeface="Heiti SC Light" charset="-122"/>
                <a:sym typeface="Gill Sans" charset="0"/>
              </a:rPr>
              <a:t>100K RU/s</a:t>
            </a:r>
          </a:p>
        </p:txBody>
      </p:sp>
      <p:sp>
        <p:nvSpPr>
          <p:cNvPr id="427" name="TextBox 426"/>
          <p:cNvSpPr txBox="1"/>
          <p:nvPr/>
        </p:nvSpPr>
        <p:spPr>
          <a:xfrm>
            <a:off x="7689529" y="3733849"/>
            <a:ext cx="1420981" cy="430887"/>
          </a:xfrm>
          <a:prstGeom prst="rect">
            <a:avLst/>
          </a:prstGeom>
          <a:noFill/>
        </p:spPr>
        <p:txBody>
          <a:bodyPr wrap="square" rtlCol="0">
            <a:spAutoFit/>
          </a:bodyPr>
          <a:lstStyle/>
          <a:p>
            <a:pPr defTabSz="457200" fontAlgn="base">
              <a:spcBef>
                <a:spcPct val="0"/>
              </a:spcBef>
              <a:spcAft>
                <a:spcPct val="0"/>
              </a:spcAft>
              <a:defRPr/>
            </a:pPr>
            <a:r>
              <a:rPr lang="en-US" sz="2200" dirty="0">
                <a:solidFill>
                  <a:prstClr val="white"/>
                </a:solidFill>
                <a:latin typeface="Calibri" panose="020F0502020204030204"/>
                <a:ea typeface="Heiti SC Light" charset="-122"/>
                <a:sym typeface="Gill Sans" charset="0"/>
              </a:rPr>
              <a:t>2M RU/s</a:t>
            </a:r>
          </a:p>
        </p:txBody>
      </p:sp>
      <p:sp>
        <p:nvSpPr>
          <p:cNvPr id="428" name="TextBox 427"/>
          <p:cNvSpPr txBox="1"/>
          <p:nvPr/>
        </p:nvSpPr>
        <p:spPr>
          <a:xfrm>
            <a:off x="46621" y="4617954"/>
            <a:ext cx="1174115" cy="430887"/>
          </a:xfrm>
          <a:prstGeom prst="rect">
            <a:avLst/>
          </a:prstGeom>
          <a:noFill/>
        </p:spPr>
        <p:txBody>
          <a:bodyPr wrap="square" rtlCol="0">
            <a:spAutoFit/>
          </a:bodyPr>
          <a:lstStyle/>
          <a:p>
            <a:pPr defTabSz="457200" fontAlgn="base">
              <a:spcBef>
                <a:spcPct val="0"/>
              </a:spcBef>
              <a:spcAft>
                <a:spcPct val="0"/>
              </a:spcAft>
              <a:defRPr/>
            </a:pPr>
            <a:r>
              <a:rPr lang="en-US" sz="2200" dirty="0">
                <a:solidFill>
                  <a:prstClr val="white"/>
                </a:solidFill>
                <a:latin typeface="Calibri" panose="020F0502020204030204"/>
                <a:ea typeface="Heiti SC Light" charset="-122"/>
                <a:sym typeface="Gill Sans" charset="0"/>
              </a:rPr>
              <a:t>1M RU/s</a:t>
            </a:r>
          </a:p>
        </p:txBody>
      </p:sp>
      <p:sp>
        <p:nvSpPr>
          <p:cNvPr id="429" name="TextBox 428"/>
          <p:cNvSpPr txBox="1"/>
          <p:nvPr/>
        </p:nvSpPr>
        <p:spPr>
          <a:xfrm>
            <a:off x="4566012" y="4638476"/>
            <a:ext cx="1174115" cy="769441"/>
          </a:xfrm>
          <a:prstGeom prst="rect">
            <a:avLst/>
          </a:prstGeom>
          <a:noFill/>
        </p:spPr>
        <p:txBody>
          <a:bodyPr wrap="square" rtlCol="0">
            <a:spAutoFit/>
          </a:bodyPr>
          <a:lstStyle/>
          <a:p>
            <a:pPr defTabSz="457200" fontAlgn="base">
              <a:spcBef>
                <a:spcPct val="0"/>
              </a:spcBef>
              <a:spcAft>
                <a:spcPct val="0"/>
              </a:spcAft>
              <a:defRPr/>
            </a:pPr>
            <a:r>
              <a:rPr lang="en-US" sz="2200" dirty="0">
                <a:solidFill>
                  <a:prstClr val="white"/>
                </a:solidFill>
                <a:latin typeface="Calibri" panose="020F0502020204030204"/>
                <a:ea typeface="Heiti SC Light" charset="-122"/>
                <a:sym typeface="Gill Sans" charset="0"/>
              </a:rPr>
              <a:t>10K RU/s</a:t>
            </a:r>
          </a:p>
        </p:txBody>
      </p:sp>
      <p:sp>
        <p:nvSpPr>
          <p:cNvPr id="433" name="Rectangle 432"/>
          <p:cNvSpPr/>
          <p:nvPr/>
        </p:nvSpPr>
        <p:spPr>
          <a:xfrm>
            <a:off x="5647166" y="3483450"/>
            <a:ext cx="3608445" cy="33078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435" name="TextBox 434"/>
          <p:cNvSpPr txBox="1"/>
          <p:nvPr/>
        </p:nvSpPr>
        <p:spPr>
          <a:xfrm>
            <a:off x="500636" y="6228066"/>
            <a:ext cx="3806829" cy="646331"/>
          </a:xfrm>
          <a:prstGeom prst="rect">
            <a:avLst/>
          </a:prstGeom>
          <a:noFill/>
        </p:spPr>
        <p:txBody>
          <a:bodyPr wrap="square" rtlCol="0">
            <a:spAutoFit/>
          </a:bodyPr>
          <a:lstStyle/>
          <a:p>
            <a:pPr algn="ctr" defTabSz="457200" fontAlgn="base">
              <a:spcBef>
                <a:spcPct val="0"/>
              </a:spcBef>
              <a:spcAft>
                <a:spcPct val="0"/>
              </a:spcAft>
              <a:defRPr/>
            </a:pPr>
            <a:r>
              <a:rPr lang="en-US" sz="3600" dirty="0">
                <a:solidFill>
                  <a:prstClr val="white"/>
                </a:solidFill>
                <a:latin typeface="Gill Sans" charset="0"/>
                <a:ea typeface="Heiti SC Light" charset="-122"/>
                <a:sym typeface="Gill Sans" charset="0"/>
              </a:rPr>
              <a:t>MongoDB/SQL</a:t>
            </a:r>
            <a:endParaRPr lang="en-US" sz="5600" dirty="0">
              <a:solidFill>
                <a:prstClr val="white"/>
              </a:solidFill>
              <a:latin typeface="Gill Sans" charset="0"/>
              <a:ea typeface="Heiti SC Light" charset="-122"/>
              <a:sym typeface="Gill Sans" charset="0"/>
            </a:endParaRPr>
          </a:p>
        </p:txBody>
      </p:sp>
      <p:pic>
        <p:nvPicPr>
          <p:cNvPr id="456" name="Picture 10" descr="Image result for database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780807" y="1502260"/>
            <a:ext cx="683877" cy="683877"/>
          </a:xfrm>
          <a:prstGeom prst="rect">
            <a:avLst/>
          </a:prstGeom>
          <a:solidFill>
            <a:schemeClr val="accent2">
              <a:lumMod val="60000"/>
              <a:lumOff val="40000"/>
            </a:schemeClr>
          </a:solidFill>
        </p:spPr>
      </p:pic>
      <p:grpSp>
        <p:nvGrpSpPr>
          <p:cNvPr id="457" name="Group 456"/>
          <p:cNvGrpSpPr/>
          <p:nvPr/>
        </p:nvGrpSpPr>
        <p:grpSpPr>
          <a:xfrm>
            <a:off x="8739456" y="2499053"/>
            <a:ext cx="495957" cy="602954"/>
            <a:chOff x="1345497" y="1522604"/>
            <a:chExt cx="596149" cy="700081"/>
          </a:xfrm>
          <a:solidFill>
            <a:srgbClr val="FFFF00"/>
          </a:solidFill>
        </p:grpSpPr>
        <p:pic>
          <p:nvPicPr>
            <p:cNvPr id="458" name="Picture 457"/>
            <p:cNvPicPr>
              <a:picLocks noChangeAspect="1"/>
            </p:cNvPicPr>
            <p:nvPr/>
          </p:nvPicPr>
          <p:blipFill>
            <a:blip r:embed="rId4"/>
            <a:stretch>
              <a:fillRect/>
            </a:stretch>
          </p:blipFill>
          <p:spPr>
            <a:xfrm>
              <a:off x="1345497" y="1522604"/>
              <a:ext cx="459514" cy="560559"/>
            </a:xfrm>
            <a:prstGeom prst="rect">
              <a:avLst/>
            </a:prstGeom>
            <a:grpFill/>
          </p:spPr>
        </p:pic>
        <p:pic>
          <p:nvPicPr>
            <p:cNvPr id="459" name="Picture 458"/>
            <p:cNvPicPr>
              <a:picLocks noChangeAspect="1"/>
            </p:cNvPicPr>
            <p:nvPr/>
          </p:nvPicPr>
          <p:blipFill>
            <a:blip r:embed="rId4"/>
            <a:stretch>
              <a:fillRect/>
            </a:stretch>
          </p:blipFill>
          <p:spPr>
            <a:xfrm>
              <a:off x="1408559" y="1593808"/>
              <a:ext cx="459514" cy="560559"/>
            </a:xfrm>
            <a:prstGeom prst="rect">
              <a:avLst/>
            </a:prstGeom>
            <a:grpFill/>
          </p:spPr>
        </p:pic>
        <p:pic>
          <p:nvPicPr>
            <p:cNvPr id="460" name="Picture 459"/>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461" name="Group 460"/>
          <p:cNvGrpSpPr/>
          <p:nvPr/>
        </p:nvGrpSpPr>
        <p:grpSpPr>
          <a:xfrm>
            <a:off x="9857295" y="2497810"/>
            <a:ext cx="495957" cy="602954"/>
            <a:chOff x="1345497" y="1522604"/>
            <a:chExt cx="596149" cy="700081"/>
          </a:xfrm>
          <a:solidFill>
            <a:srgbClr val="FFFF00"/>
          </a:solidFill>
        </p:grpSpPr>
        <p:pic>
          <p:nvPicPr>
            <p:cNvPr id="462" name="Picture 461"/>
            <p:cNvPicPr>
              <a:picLocks noChangeAspect="1"/>
            </p:cNvPicPr>
            <p:nvPr/>
          </p:nvPicPr>
          <p:blipFill>
            <a:blip r:embed="rId4"/>
            <a:stretch>
              <a:fillRect/>
            </a:stretch>
          </p:blipFill>
          <p:spPr>
            <a:xfrm>
              <a:off x="1345497" y="1522604"/>
              <a:ext cx="459514" cy="560559"/>
            </a:xfrm>
            <a:prstGeom prst="rect">
              <a:avLst/>
            </a:prstGeom>
            <a:grpFill/>
          </p:spPr>
        </p:pic>
        <p:pic>
          <p:nvPicPr>
            <p:cNvPr id="463" name="Picture 462"/>
            <p:cNvPicPr>
              <a:picLocks noChangeAspect="1"/>
            </p:cNvPicPr>
            <p:nvPr/>
          </p:nvPicPr>
          <p:blipFill>
            <a:blip r:embed="rId4"/>
            <a:stretch>
              <a:fillRect/>
            </a:stretch>
          </p:blipFill>
          <p:spPr>
            <a:xfrm>
              <a:off x="1408559" y="1593808"/>
              <a:ext cx="459514" cy="560559"/>
            </a:xfrm>
            <a:prstGeom prst="rect">
              <a:avLst/>
            </a:prstGeom>
            <a:grpFill/>
          </p:spPr>
        </p:pic>
        <p:pic>
          <p:nvPicPr>
            <p:cNvPr id="464" name="Picture 463"/>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465" name="Group 464"/>
          <p:cNvGrpSpPr/>
          <p:nvPr/>
        </p:nvGrpSpPr>
        <p:grpSpPr>
          <a:xfrm>
            <a:off x="10920855" y="2497810"/>
            <a:ext cx="495957" cy="602954"/>
            <a:chOff x="1345497" y="1522604"/>
            <a:chExt cx="596149" cy="700081"/>
          </a:xfrm>
          <a:solidFill>
            <a:srgbClr val="FFFF00"/>
          </a:solidFill>
        </p:grpSpPr>
        <p:pic>
          <p:nvPicPr>
            <p:cNvPr id="466" name="Picture 465"/>
            <p:cNvPicPr>
              <a:picLocks noChangeAspect="1"/>
            </p:cNvPicPr>
            <p:nvPr/>
          </p:nvPicPr>
          <p:blipFill>
            <a:blip r:embed="rId4"/>
            <a:stretch>
              <a:fillRect/>
            </a:stretch>
          </p:blipFill>
          <p:spPr>
            <a:xfrm>
              <a:off x="1345497" y="1522604"/>
              <a:ext cx="459514" cy="560559"/>
            </a:xfrm>
            <a:prstGeom prst="rect">
              <a:avLst/>
            </a:prstGeom>
            <a:grpFill/>
          </p:spPr>
        </p:pic>
        <p:pic>
          <p:nvPicPr>
            <p:cNvPr id="467" name="Picture 466"/>
            <p:cNvPicPr>
              <a:picLocks noChangeAspect="1"/>
            </p:cNvPicPr>
            <p:nvPr/>
          </p:nvPicPr>
          <p:blipFill>
            <a:blip r:embed="rId4"/>
            <a:stretch>
              <a:fillRect/>
            </a:stretch>
          </p:blipFill>
          <p:spPr>
            <a:xfrm>
              <a:off x="1408559" y="1593808"/>
              <a:ext cx="459514" cy="560559"/>
            </a:xfrm>
            <a:prstGeom prst="rect">
              <a:avLst/>
            </a:prstGeom>
            <a:grpFill/>
          </p:spPr>
        </p:pic>
        <p:pic>
          <p:nvPicPr>
            <p:cNvPr id="468" name="Picture 467"/>
            <p:cNvPicPr>
              <a:picLocks noChangeAspect="1"/>
            </p:cNvPicPr>
            <p:nvPr/>
          </p:nvPicPr>
          <p:blipFill>
            <a:blip r:embed="rId4"/>
            <a:stretch>
              <a:fillRect/>
            </a:stretch>
          </p:blipFill>
          <p:spPr>
            <a:xfrm>
              <a:off x="1482132" y="1662126"/>
              <a:ext cx="459514" cy="560559"/>
            </a:xfrm>
            <a:prstGeom prst="rect">
              <a:avLst/>
            </a:prstGeom>
            <a:grpFill/>
            <a:ln w="3175">
              <a:noFill/>
            </a:ln>
          </p:spPr>
        </p:pic>
      </p:grpSp>
      <p:cxnSp>
        <p:nvCxnSpPr>
          <p:cNvPr id="469" name="Curved Connector 468"/>
          <p:cNvCxnSpPr>
            <a:stCxn id="456" idx="2"/>
            <a:endCxn id="458" idx="0"/>
          </p:cNvCxnSpPr>
          <p:nvPr/>
        </p:nvCxnSpPr>
        <p:spPr>
          <a:xfrm rot="5400000">
            <a:off x="9370214" y="1746522"/>
            <a:ext cx="312916" cy="1192147"/>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70" name="Curved Connector 469"/>
          <p:cNvCxnSpPr>
            <a:stCxn id="456" idx="2"/>
            <a:endCxn id="462" idx="0"/>
          </p:cNvCxnSpPr>
          <p:nvPr/>
        </p:nvCxnSpPr>
        <p:spPr>
          <a:xfrm rot="5400000">
            <a:off x="9929755" y="2304819"/>
            <a:ext cx="311674" cy="74308"/>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71" name="Curved Connector 470"/>
          <p:cNvCxnSpPr>
            <a:stCxn id="456" idx="2"/>
            <a:endCxn id="467" idx="0"/>
          </p:cNvCxnSpPr>
          <p:nvPr/>
        </p:nvCxnSpPr>
        <p:spPr>
          <a:xfrm rot="16200000" flipH="1">
            <a:off x="10457104" y="1851778"/>
            <a:ext cx="372999" cy="1041716"/>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72" name="TextBox 471"/>
          <p:cNvSpPr txBox="1"/>
          <p:nvPr/>
        </p:nvSpPr>
        <p:spPr>
          <a:xfrm>
            <a:off x="9766194" y="3129191"/>
            <a:ext cx="1174115" cy="769441"/>
          </a:xfrm>
          <a:prstGeom prst="rect">
            <a:avLst/>
          </a:prstGeom>
          <a:noFill/>
        </p:spPr>
        <p:txBody>
          <a:bodyPr wrap="square" rtlCol="0">
            <a:spAutoFit/>
          </a:bodyPr>
          <a:lstStyle/>
          <a:p>
            <a:pPr defTabSz="457200" fontAlgn="base">
              <a:spcBef>
                <a:spcPct val="0"/>
              </a:spcBef>
              <a:spcAft>
                <a:spcPct val="0"/>
              </a:spcAft>
              <a:defRPr/>
            </a:pPr>
            <a:r>
              <a:rPr lang="en-US" sz="2200" dirty="0">
                <a:solidFill>
                  <a:prstClr val="white"/>
                </a:solidFill>
                <a:latin typeface="Calibri" panose="020F0502020204030204"/>
                <a:ea typeface="Heiti SC Light" charset="-122"/>
                <a:sym typeface="Gill Sans" charset="0"/>
              </a:rPr>
              <a:t>50K RU/s</a:t>
            </a:r>
          </a:p>
        </p:txBody>
      </p:sp>
      <p:sp>
        <p:nvSpPr>
          <p:cNvPr id="473" name="TextBox 472"/>
          <p:cNvSpPr txBox="1"/>
          <p:nvPr/>
        </p:nvSpPr>
        <p:spPr>
          <a:xfrm>
            <a:off x="8456214" y="3090077"/>
            <a:ext cx="1174115" cy="430887"/>
          </a:xfrm>
          <a:prstGeom prst="rect">
            <a:avLst/>
          </a:prstGeom>
          <a:noFill/>
        </p:spPr>
        <p:txBody>
          <a:bodyPr wrap="square" rtlCol="0">
            <a:spAutoFit/>
          </a:bodyPr>
          <a:lstStyle/>
          <a:p>
            <a:pPr defTabSz="457200" fontAlgn="base">
              <a:spcBef>
                <a:spcPct val="0"/>
              </a:spcBef>
              <a:spcAft>
                <a:spcPct val="0"/>
              </a:spcAft>
              <a:defRPr/>
            </a:pPr>
            <a:r>
              <a:rPr lang="en-US" sz="2200" dirty="0">
                <a:solidFill>
                  <a:prstClr val="white"/>
                </a:solidFill>
                <a:latin typeface="Calibri" panose="020F0502020204030204"/>
                <a:ea typeface="Heiti SC Light" charset="-122"/>
                <a:sym typeface="Gill Sans" charset="0"/>
              </a:rPr>
              <a:t>2M RU/s</a:t>
            </a:r>
          </a:p>
        </p:txBody>
      </p:sp>
      <p:sp>
        <p:nvSpPr>
          <p:cNvPr id="474" name="TextBox 473"/>
          <p:cNvSpPr txBox="1"/>
          <p:nvPr/>
        </p:nvSpPr>
        <p:spPr>
          <a:xfrm>
            <a:off x="11097484" y="3129191"/>
            <a:ext cx="1174115" cy="769441"/>
          </a:xfrm>
          <a:prstGeom prst="rect">
            <a:avLst/>
          </a:prstGeom>
          <a:noFill/>
        </p:spPr>
        <p:txBody>
          <a:bodyPr wrap="square" rtlCol="0">
            <a:spAutoFit/>
          </a:bodyPr>
          <a:lstStyle/>
          <a:p>
            <a:pPr defTabSz="457200" fontAlgn="base">
              <a:spcBef>
                <a:spcPct val="0"/>
              </a:spcBef>
              <a:spcAft>
                <a:spcPct val="0"/>
              </a:spcAft>
              <a:defRPr/>
            </a:pPr>
            <a:r>
              <a:rPr lang="en-US" sz="2200" dirty="0">
                <a:solidFill>
                  <a:prstClr val="white"/>
                </a:solidFill>
                <a:latin typeface="Calibri" panose="020F0502020204030204"/>
                <a:ea typeface="Heiti SC Light" charset="-122"/>
                <a:sym typeface="Gill Sans" charset="0"/>
              </a:rPr>
              <a:t>20K RU/s</a:t>
            </a:r>
          </a:p>
        </p:txBody>
      </p:sp>
      <p:sp>
        <p:nvSpPr>
          <p:cNvPr id="475" name="TextBox 474"/>
          <p:cNvSpPr txBox="1"/>
          <p:nvPr/>
        </p:nvSpPr>
        <p:spPr>
          <a:xfrm>
            <a:off x="10515179" y="1616081"/>
            <a:ext cx="1420981" cy="430887"/>
          </a:xfrm>
          <a:prstGeom prst="rect">
            <a:avLst/>
          </a:prstGeom>
          <a:noFill/>
        </p:spPr>
        <p:txBody>
          <a:bodyPr wrap="square" rtlCol="0">
            <a:spAutoFit/>
          </a:bodyPr>
          <a:lstStyle/>
          <a:p>
            <a:pPr defTabSz="457200" fontAlgn="base">
              <a:spcBef>
                <a:spcPct val="0"/>
              </a:spcBef>
              <a:spcAft>
                <a:spcPct val="0"/>
              </a:spcAft>
              <a:defRPr/>
            </a:pPr>
            <a:r>
              <a:rPr lang="en-US" sz="2200" dirty="0">
                <a:solidFill>
                  <a:prstClr val="white"/>
                </a:solidFill>
                <a:latin typeface="Calibri" panose="020F0502020204030204"/>
                <a:ea typeface="Heiti SC Light" charset="-122"/>
                <a:sym typeface="Gill Sans" charset="0"/>
              </a:rPr>
              <a:t>0 RU/s</a:t>
            </a:r>
          </a:p>
        </p:txBody>
      </p:sp>
      <p:sp>
        <p:nvSpPr>
          <p:cNvPr id="476" name="Rounded Rectangle 475"/>
          <p:cNvSpPr/>
          <p:nvPr/>
        </p:nvSpPr>
        <p:spPr>
          <a:xfrm>
            <a:off x="4717008" y="414700"/>
            <a:ext cx="1135487" cy="486748"/>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r>
              <a:rPr lang="en-US" sz="2000" dirty="0">
                <a:solidFill>
                  <a:prstClr val="white"/>
                </a:solidFill>
                <a:latin typeface="Calibri" panose="020F0502020204030204"/>
                <a:sym typeface="Gill Sans" charset="0"/>
              </a:rPr>
              <a:t>account</a:t>
            </a:r>
          </a:p>
        </p:txBody>
      </p:sp>
      <p:cxnSp>
        <p:nvCxnSpPr>
          <p:cNvPr id="477" name="Curved Connector 476"/>
          <p:cNvCxnSpPr>
            <a:stCxn id="476" idx="2"/>
            <a:endCxn id="20490" idx="0"/>
          </p:cNvCxnSpPr>
          <p:nvPr/>
        </p:nvCxnSpPr>
        <p:spPr>
          <a:xfrm rot="5400000">
            <a:off x="3459448" y="93221"/>
            <a:ext cx="1017077" cy="2633531"/>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78" name="Curved Connector 477"/>
          <p:cNvCxnSpPr>
            <a:endCxn id="326" idx="0"/>
          </p:cNvCxnSpPr>
          <p:nvPr/>
        </p:nvCxnSpPr>
        <p:spPr>
          <a:xfrm rot="16200000" flipH="1">
            <a:off x="4969797" y="1270080"/>
            <a:ext cx="2692194" cy="1954930"/>
          </a:xfrm>
          <a:prstGeom prst="curvedConnector3">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79" name="Curved Connector 478"/>
          <p:cNvCxnSpPr>
            <a:stCxn id="476" idx="2"/>
            <a:endCxn id="456" idx="0"/>
          </p:cNvCxnSpPr>
          <p:nvPr/>
        </p:nvCxnSpPr>
        <p:spPr>
          <a:xfrm rot="16200000" flipH="1">
            <a:off x="7403342" y="-1217144"/>
            <a:ext cx="600813" cy="4837994"/>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0898080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bg>
      <p:bgPr>
        <a:solidFill>
          <a:srgbClr val="000000"/>
        </a:solidFill>
        <a:effectLst/>
      </p:bgPr>
    </p:bg>
    <p:spTree>
      <p:nvGrpSpPr>
        <p:cNvPr id="1" name=""/>
        <p:cNvGrpSpPr/>
        <p:nvPr/>
      </p:nvGrpSpPr>
      <p:grpSpPr>
        <a:xfrm>
          <a:off x="0" y="0"/>
          <a:ext cx="0" cy="0"/>
          <a:chOff x="0" y="0"/>
          <a:chExt cx="0" cy="0"/>
        </a:xfrm>
      </p:grpSpPr>
      <p:sp>
        <p:nvSpPr>
          <p:cNvPr id="20502" name="Rectangle 20501"/>
          <p:cNvSpPr/>
          <p:nvPr/>
        </p:nvSpPr>
        <p:spPr>
          <a:xfrm>
            <a:off x="1354365" y="374904"/>
            <a:ext cx="3665842" cy="347894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cxnSp>
        <p:nvCxnSpPr>
          <p:cNvPr id="8" name="Curved Connector 7"/>
          <p:cNvCxnSpPr>
            <a:endCxn id="304" idx="0"/>
          </p:cNvCxnSpPr>
          <p:nvPr/>
        </p:nvCxnSpPr>
        <p:spPr>
          <a:xfrm rot="5400000">
            <a:off x="1036633" y="736417"/>
            <a:ext cx="1397739" cy="2666099"/>
          </a:xfrm>
          <a:prstGeom prst="curvedConnector3">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89" name="Curved Connector 388"/>
          <p:cNvCxnSpPr>
            <a:endCxn id="162" idx="0"/>
          </p:cNvCxnSpPr>
          <p:nvPr/>
        </p:nvCxnSpPr>
        <p:spPr>
          <a:xfrm rot="5400000">
            <a:off x="1592143" y="1399022"/>
            <a:ext cx="1504833" cy="1447985"/>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90" name="Curved Connector 389"/>
          <p:cNvCxnSpPr>
            <a:endCxn id="185" idx="0"/>
          </p:cNvCxnSpPr>
          <p:nvPr/>
        </p:nvCxnSpPr>
        <p:spPr>
          <a:xfrm rot="5400000">
            <a:off x="1997502" y="1824274"/>
            <a:ext cx="1524727" cy="617373"/>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91" name="Curved Connector 390"/>
          <p:cNvCxnSpPr>
            <a:endCxn id="289" idx="0"/>
          </p:cNvCxnSpPr>
          <p:nvPr/>
        </p:nvCxnSpPr>
        <p:spPr>
          <a:xfrm rot="16200000" flipH="1">
            <a:off x="2381733" y="2057415"/>
            <a:ext cx="1515171" cy="141534"/>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92" name="Curved Connector 391"/>
          <p:cNvCxnSpPr>
            <a:endCxn id="293" idx="0"/>
          </p:cNvCxnSpPr>
          <p:nvPr/>
        </p:nvCxnSpPr>
        <p:spPr>
          <a:xfrm rot="16200000" flipH="1">
            <a:off x="2726021" y="1713127"/>
            <a:ext cx="1544321" cy="859261"/>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93" name="Curved Connector 392"/>
          <p:cNvCxnSpPr>
            <a:endCxn id="300" idx="0"/>
          </p:cNvCxnSpPr>
          <p:nvPr/>
        </p:nvCxnSpPr>
        <p:spPr>
          <a:xfrm rot="16200000" flipH="1">
            <a:off x="3079220" y="1359928"/>
            <a:ext cx="1516413" cy="1537752"/>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94" name="Curved Connector 393"/>
          <p:cNvCxnSpPr>
            <a:endCxn id="309" idx="0"/>
          </p:cNvCxnSpPr>
          <p:nvPr/>
        </p:nvCxnSpPr>
        <p:spPr>
          <a:xfrm rot="16200000" flipH="1">
            <a:off x="3614292" y="824856"/>
            <a:ext cx="1447231" cy="2538713"/>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96" name="Curved Connector 395"/>
          <p:cNvCxnSpPr>
            <a:endCxn id="324" idx="0"/>
          </p:cNvCxnSpPr>
          <p:nvPr/>
        </p:nvCxnSpPr>
        <p:spPr>
          <a:xfrm rot="5400000">
            <a:off x="7509752" y="1497545"/>
            <a:ext cx="1509191" cy="1310929"/>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97" name="Curved Connector 396"/>
          <p:cNvCxnSpPr>
            <a:endCxn id="328" idx="0"/>
          </p:cNvCxnSpPr>
          <p:nvPr/>
        </p:nvCxnSpPr>
        <p:spPr>
          <a:xfrm rot="5400000">
            <a:off x="7888879" y="1835240"/>
            <a:ext cx="1529085" cy="532782"/>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98" name="Curved Connector 397"/>
          <p:cNvCxnSpPr>
            <a:endCxn id="332" idx="0"/>
          </p:cNvCxnSpPr>
          <p:nvPr/>
        </p:nvCxnSpPr>
        <p:spPr>
          <a:xfrm rot="16200000" flipH="1">
            <a:off x="8266993" y="1977673"/>
            <a:ext cx="1531763" cy="226126"/>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99" name="Curved Connector 398"/>
          <p:cNvCxnSpPr>
            <a:endCxn id="337" idx="0"/>
          </p:cNvCxnSpPr>
          <p:nvPr/>
        </p:nvCxnSpPr>
        <p:spPr>
          <a:xfrm rot="16200000" flipH="1">
            <a:off x="8643630" y="1674596"/>
            <a:ext cx="1548679" cy="996316"/>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0" name="Curved Connector 399"/>
          <p:cNvCxnSpPr>
            <a:endCxn id="341" idx="0"/>
          </p:cNvCxnSpPr>
          <p:nvPr/>
        </p:nvCxnSpPr>
        <p:spPr>
          <a:xfrm rot="16200000" flipH="1">
            <a:off x="8996830" y="1321396"/>
            <a:ext cx="1520771" cy="1674807"/>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23" name="Curved Connector 422"/>
          <p:cNvCxnSpPr>
            <a:endCxn id="407" idx="0"/>
          </p:cNvCxnSpPr>
          <p:nvPr/>
        </p:nvCxnSpPr>
        <p:spPr>
          <a:xfrm rot="5400000">
            <a:off x="2509039" y="4952312"/>
            <a:ext cx="913729" cy="1179273"/>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24" name="Curved Connector 423"/>
          <p:cNvCxnSpPr>
            <a:endCxn id="411" idx="0"/>
          </p:cNvCxnSpPr>
          <p:nvPr/>
        </p:nvCxnSpPr>
        <p:spPr>
          <a:xfrm rot="5400000">
            <a:off x="3068580" y="5510610"/>
            <a:ext cx="912487" cy="61435"/>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25" name="Curved Connector 424"/>
          <p:cNvCxnSpPr>
            <a:endCxn id="416" idx="0"/>
          </p:cNvCxnSpPr>
          <p:nvPr/>
        </p:nvCxnSpPr>
        <p:spPr>
          <a:xfrm rot="16200000" flipH="1">
            <a:off x="3595929" y="5044695"/>
            <a:ext cx="973812" cy="1054590"/>
          </a:xfrm>
          <a:prstGeom prst="curved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0495" name="TextBox 20494"/>
          <p:cNvSpPr txBox="1"/>
          <p:nvPr/>
        </p:nvSpPr>
        <p:spPr>
          <a:xfrm>
            <a:off x="3507452" y="864116"/>
            <a:ext cx="1420981" cy="430887"/>
          </a:xfrm>
          <a:prstGeom prst="rect">
            <a:avLst/>
          </a:prstGeom>
          <a:noFill/>
        </p:spPr>
        <p:txBody>
          <a:bodyPr wrap="square" rtlCol="0">
            <a:spAutoFit/>
          </a:bodyPr>
          <a:lstStyle/>
          <a:p>
            <a:pPr defTabSz="457200" fontAlgn="base">
              <a:spcBef>
                <a:spcPct val="0"/>
              </a:spcBef>
              <a:spcAft>
                <a:spcPct val="0"/>
              </a:spcAft>
              <a:defRPr/>
            </a:pPr>
            <a:r>
              <a:rPr lang="en-US" sz="2200" dirty="0">
                <a:solidFill>
                  <a:prstClr val="white"/>
                </a:solidFill>
                <a:latin typeface="Calibri" panose="020F0502020204030204"/>
                <a:ea typeface="Heiti SC Light" charset="-122"/>
                <a:sym typeface="Gill Sans" charset="0"/>
              </a:rPr>
              <a:t>100K RU/s</a:t>
            </a:r>
          </a:p>
        </p:txBody>
      </p:sp>
      <p:sp>
        <p:nvSpPr>
          <p:cNvPr id="427" name="TextBox 426"/>
          <p:cNvSpPr txBox="1"/>
          <p:nvPr/>
        </p:nvSpPr>
        <p:spPr>
          <a:xfrm>
            <a:off x="9315981" y="854745"/>
            <a:ext cx="1420981" cy="430887"/>
          </a:xfrm>
          <a:prstGeom prst="rect">
            <a:avLst/>
          </a:prstGeom>
          <a:noFill/>
        </p:spPr>
        <p:txBody>
          <a:bodyPr wrap="square" rtlCol="0">
            <a:spAutoFit/>
          </a:bodyPr>
          <a:lstStyle/>
          <a:p>
            <a:pPr defTabSz="457200" fontAlgn="base">
              <a:spcBef>
                <a:spcPct val="0"/>
              </a:spcBef>
              <a:spcAft>
                <a:spcPct val="0"/>
              </a:spcAft>
              <a:defRPr/>
            </a:pPr>
            <a:r>
              <a:rPr lang="en-US" sz="2200" dirty="0">
                <a:solidFill>
                  <a:prstClr val="white"/>
                </a:solidFill>
                <a:latin typeface="Calibri" panose="020F0502020204030204"/>
                <a:ea typeface="Heiti SC Light" charset="-122"/>
                <a:sym typeface="Gill Sans" charset="0"/>
              </a:rPr>
              <a:t>2M RU/s</a:t>
            </a:r>
          </a:p>
        </p:txBody>
      </p:sp>
      <p:sp>
        <p:nvSpPr>
          <p:cNvPr id="428" name="TextBox 427"/>
          <p:cNvSpPr txBox="1"/>
          <p:nvPr/>
        </p:nvSpPr>
        <p:spPr>
          <a:xfrm>
            <a:off x="33540" y="3469127"/>
            <a:ext cx="1174115" cy="430887"/>
          </a:xfrm>
          <a:prstGeom prst="rect">
            <a:avLst/>
          </a:prstGeom>
          <a:noFill/>
        </p:spPr>
        <p:txBody>
          <a:bodyPr wrap="square" rtlCol="0">
            <a:spAutoFit/>
          </a:bodyPr>
          <a:lstStyle/>
          <a:p>
            <a:pPr defTabSz="457200" fontAlgn="base">
              <a:spcBef>
                <a:spcPct val="0"/>
              </a:spcBef>
              <a:spcAft>
                <a:spcPct val="0"/>
              </a:spcAft>
              <a:defRPr/>
            </a:pPr>
            <a:r>
              <a:rPr lang="en-US" sz="2200" dirty="0">
                <a:solidFill>
                  <a:prstClr val="white"/>
                </a:solidFill>
                <a:latin typeface="Calibri" panose="020F0502020204030204"/>
                <a:ea typeface="Heiti SC Light" charset="-122"/>
                <a:sym typeface="Gill Sans" charset="0"/>
              </a:rPr>
              <a:t>1M RU/s</a:t>
            </a:r>
          </a:p>
        </p:txBody>
      </p:sp>
      <p:sp>
        <p:nvSpPr>
          <p:cNvPr id="429" name="TextBox 428"/>
          <p:cNvSpPr txBox="1"/>
          <p:nvPr/>
        </p:nvSpPr>
        <p:spPr>
          <a:xfrm>
            <a:off x="5211349" y="3498277"/>
            <a:ext cx="1174115" cy="769441"/>
          </a:xfrm>
          <a:prstGeom prst="rect">
            <a:avLst/>
          </a:prstGeom>
          <a:noFill/>
        </p:spPr>
        <p:txBody>
          <a:bodyPr wrap="square" rtlCol="0">
            <a:spAutoFit/>
          </a:bodyPr>
          <a:lstStyle/>
          <a:p>
            <a:pPr defTabSz="457200" fontAlgn="base">
              <a:spcBef>
                <a:spcPct val="0"/>
              </a:spcBef>
              <a:spcAft>
                <a:spcPct val="0"/>
              </a:spcAft>
              <a:defRPr/>
            </a:pPr>
            <a:r>
              <a:rPr lang="en-US" sz="2200" dirty="0">
                <a:solidFill>
                  <a:prstClr val="white"/>
                </a:solidFill>
                <a:latin typeface="Calibri" panose="020F0502020204030204"/>
                <a:ea typeface="Heiti SC Light" charset="-122"/>
                <a:sym typeface="Gill Sans" charset="0"/>
              </a:rPr>
              <a:t>10K RU/s</a:t>
            </a:r>
          </a:p>
        </p:txBody>
      </p:sp>
      <p:sp>
        <p:nvSpPr>
          <p:cNvPr id="430" name="TextBox 429"/>
          <p:cNvSpPr txBox="1"/>
          <p:nvPr/>
        </p:nvSpPr>
        <p:spPr>
          <a:xfrm>
            <a:off x="3211862" y="6628952"/>
            <a:ext cx="1174115" cy="769441"/>
          </a:xfrm>
          <a:prstGeom prst="rect">
            <a:avLst/>
          </a:prstGeom>
          <a:noFill/>
        </p:spPr>
        <p:txBody>
          <a:bodyPr wrap="square" rtlCol="0">
            <a:spAutoFit/>
          </a:bodyPr>
          <a:lstStyle/>
          <a:p>
            <a:pPr defTabSz="457200" fontAlgn="base">
              <a:spcBef>
                <a:spcPct val="0"/>
              </a:spcBef>
              <a:spcAft>
                <a:spcPct val="0"/>
              </a:spcAft>
              <a:defRPr/>
            </a:pPr>
            <a:r>
              <a:rPr lang="en-US" sz="2200" dirty="0">
                <a:solidFill>
                  <a:prstClr val="white"/>
                </a:solidFill>
                <a:latin typeface="Calibri" panose="020F0502020204030204"/>
                <a:ea typeface="Heiti SC Light" charset="-122"/>
                <a:sym typeface="Gill Sans" charset="0"/>
              </a:rPr>
              <a:t>50K RU/s</a:t>
            </a:r>
          </a:p>
        </p:txBody>
      </p:sp>
      <p:sp>
        <p:nvSpPr>
          <p:cNvPr id="431" name="TextBox 430"/>
          <p:cNvSpPr txBox="1"/>
          <p:nvPr/>
        </p:nvSpPr>
        <p:spPr>
          <a:xfrm>
            <a:off x="1906800" y="6681929"/>
            <a:ext cx="1174115" cy="430887"/>
          </a:xfrm>
          <a:prstGeom prst="rect">
            <a:avLst/>
          </a:prstGeom>
          <a:noFill/>
        </p:spPr>
        <p:txBody>
          <a:bodyPr wrap="square" rtlCol="0">
            <a:spAutoFit/>
          </a:bodyPr>
          <a:lstStyle/>
          <a:p>
            <a:pPr defTabSz="457200" fontAlgn="base">
              <a:spcBef>
                <a:spcPct val="0"/>
              </a:spcBef>
              <a:spcAft>
                <a:spcPct val="0"/>
              </a:spcAft>
              <a:defRPr/>
            </a:pPr>
            <a:r>
              <a:rPr lang="en-US" sz="2200" dirty="0">
                <a:solidFill>
                  <a:prstClr val="white"/>
                </a:solidFill>
                <a:latin typeface="Calibri" panose="020F0502020204030204"/>
                <a:ea typeface="Heiti SC Light" charset="-122"/>
                <a:sym typeface="Gill Sans" charset="0"/>
              </a:rPr>
              <a:t>2M RU/s</a:t>
            </a:r>
          </a:p>
        </p:txBody>
      </p:sp>
      <p:sp>
        <p:nvSpPr>
          <p:cNvPr id="432" name="TextBox 431"/>
          <p:cNvSpPr txBox="1"/>
          <p:nvPr/>
        </p:nvSpPr>
        <p:spPr>
          <a:xfrm>
            <a:off x="4543153" y="6628952"/>
            <a:ext cx="1174115" cy="769441"/>
          </a:xfrm>
          <a:prstGeom prst="rect">
            <a:avLst/>
          </a:prstGeom>
          <a:noFill/>
        </p:spPr>
        <p:txBody>
          <a:bodyPr wrap="square" rtlCol="0">
            <a:spAutoFit/>
          </a:bodyPr>
          <a:lstStyle/>
          <a:p>
            <a:pPr defTabSz="457200" fontAlgn="base">
              <a:spcBef>
                <a:spcPct val="0"/>
              </a:spcBef>
              <a:spcAft>
                <a:spcPct val="0"/>
              </a:spcAft>
              <a:defRPr/>
            </a:pPr>
            <a:r>
              <a:rPr lang="en-US" sz="2200" dirty="0">
                <a:solidFill>
                  <a:prstClr val="white"/>
                </a:solidFill>
                <a:latin typeface="Calibri" panose="020F0502020204030204"/>
                <a:ea typeface="Heiti SC Light" charset="-122"/>
                <a:sym typeface="Gill Sans" charset="0"/>
              </a:rPr>
              <a:t>20K RU/s</a:t>
            </a:r>
          </a:p>
        </p:txBody>
      </p:sp>
      <p:sp>
        <p:nvSpPr>
          <p:cNvPr id="433" name="Rectangle 432"/>
          <p:cNvSpPr/>
          <p:nvPr/>
        </p:nvSpPr>
        <p:spPr>
          <a:xfrm>
            <a:off x="7273619" y="433282"/>
            <a:ext cx="3665842" cy="347894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434" name="TextBox 433"/>
          <p:cNvSpPr txBox="1"/>
          <p:nvPr/>
        </p:nvSpPr>
        <p:spPr>
          <a:xfrm>
            <a:off x="4038211" y="4596649"/>
            <a:ext cx="1420981" cy="430887"/>
          </a:xfrm>
          <a:prstGeom prst="rect">
            <a:avLst/>
          </a:prstGeom>
          <a:noFill/>
        </p:spPr>
        <p:txBody>
          <a:bodyPr wrap="square" rtlCol="0">
            <a:spAutoFit/>
          </a:bodyPr>
          <a:lstStyle/>
          <a:p>
            <a:pPr defTabSz="457200" fontAlgn="base">
              <a:spcBef>
                <a:spcPct val="0"/>
              </a:spcBef>
              <a:spcAft>
                <a:spcPct val="0"/>
              </a:spcAft>
              <a:defRPr/>
            </a:pPr>
            <a:r>
              <a:rPr lang="en-US" sz="2200" dirty="0">
                <a:solidFill>
                  <a:prstClr val="white"/>
                </a:solidFill>
                <a:latin typeface="Calibri" panose="020F0502020204030204"/>
                <a:ea typeface="Heiti SC Light" charset="-122"/>
                <a:sym typeface="Gill Sans" charset="0"/>
              </a:rPr>
              <a:t>0 RU/s</a:t>
            </a:r>
          </a:p>
        </p:txBody>
      </p:sp>
      <p:grpSp>
        <p:nvGrpSpPr>
          <p:cNvPr id="90" name="Group 89"/>
          <p:cNvGrpSpPr/>
          <p:nvPr/>
        </p:nvGrpSpPr>
        <p:grpSpPr>
          <a:xfrm>
            <a:off x="147088" y="2808680"/>
            <a:ext cx="566603" cy="569433"/>
            <a:chOff x="2624230" y="1291099"/>
            <a:chExt cx="529298" cy="639523"/>
          </a:xfrm>
          <a:solidFill>
            <a:srgbClr val="FFFF00"/>
          </a:solidFill>
        </p:grpSpPr>
        <p:grpSp>
          <p:nvGrpSpPr>
            <p:cNvPr id="91" name="Group 90"/>
            <p:cNvGrpSpPr/>
            <p:nvPr/>
          </p:nvGrpSpPr>
          <p:grpSpPr>
            <a:xfrm>
              <a:off x="2624230" y="1291099"/>
              <a:ext cx="529298" cy="639523"/>
              <a:chOff x="2624230" y="1291099"/>
              <a:chExt cx="529298" cy="639523"/>
            </a:xfrm>
            <a:grpFill/>
          </p:grpSpPr>
          <p:grpSp>
            <p:nvGrpSpPr>
              <p:cNvPr id="95" name="Group 94"/>
              <p:cNvGrpSpPr/>
              <p:nvPr/>
            </p:nvGrpSpPr>
            <p:grpSpPr>
              <a:xfrm>
                <a:off x="2624230" y="1291099"/>
                <a:ext cx="529298" cy="639523"/>
                <a:chOff x="1345497" y="1522604"/>
                <a:chExt cx="596149" cy="700081"/>
              </a:xfrm>
              <a:grpFill/>
            </p:grpSpPr>
            <p:pic>
              <p:nvPicPr>
                <p:cNvPr id="99" name="Picture 98"/>
                <p:cNvPicPr>
                  <a:picLocks noChangeAspect="1"/>
                </p:cNvPicPr>
                <p:nvPr/>
              </p:nvPicPr>
              <p:blipFill>
                <a:blip r:embed="rId4"/>
                <a:stretch>
                  <a:fillRect/>
                </a:stretch>
              </p:blipFill>
              <p:spPr>
                <a:xfrm>
                  <a:off x="1345497" y="1522604"/>
                  <a:ext cx="459514" cy="560559"/>
                </a:xfrm>
                <a:prstGeom prst="rect">
                  <a:avLst/>
                </a:prstGeom>
                <a:grpFill/>
                <a:ln>
                  <a:solidFill>
                    <a:srgbClr val="FFFF00"/>
                  </a:solidFill>
                </a:ln>
              </p:spPr>
            </p:pic>
            <p:pic>
              <p:nvPicPr>
                <p:cNvPr id="100" name="Picture 99"/>
                <p:cNvPicPr>
                  <a:picLocks noChangeAspect="1"/>
                </p:cNvPicPr>
                <p:nvPr/>
              </p:nvPicPr>
              <p:blipFill>
                <a:blip r:embed="rId4"/>
                <a:stretch>
                  <a:fillRect/>
                </a:stretch>
              </p:blipFill>
              <p:spPr>
                <a:xfrm>
                  <a:off x="1408559" y="1593808"/>
                  <a:ext cx="459514" cy="560559"/>
                </a:xfrm>
                <a:prstGeom prst="rect">
                  <a:avLst/>
                </a:prstGeom>
                <a:grpFill/>
                <a:ln>
                  <a:solidFill>
                    <a:srgbClr val="FFFF00"/>
                  </a:solidFill>
                </a:ln>
              </p:spPr>
            </p:pic>
            <p:pic>
              <p:nvPicPr>
                <p:cNvPr id="101" name="Picture 100"/>
                <p:cNvPicPr>
                  <a:picLocks noChangeAspect="1"/>
                </p:cNvPicPr>
                <p:nvPr/>
              </p:nvPicPr>
              <p:blipFill>
                <a:blip r:embed="rId4"/>
                <a:stretch>
                  <a:fillRect/>
                </a:stretch>
              </p:blipFill>
              <p:spPr>
                <a:xfrm>
                  <a:off x="1482132" y="1662126"/>
                  <a:ext cx="459514" cy="560559"/>
                </a:xfrm>
                <a:prstGeom prst="rect">
                  <a:avLst/>
                </a:prstGeom>
                <a:grpFill/>
                <a:ln w="3175">
                  <a:solidFill>
                    <a:srgbClr val="FFFF00"/>
                  </a:solidFill>
                </a:ln>
              </p:spPr>
            </p:pic>
          </p:grpSp>
          <p:grpSp>
            <p:nvGrpSpPr>
              <p:cNvPr id="96" name="Group 95"/>
              <p:cNvGrpSpPr/>
              <p:nvPr/>
            </p:nvGrpSpPr>
            <p:grpSpPr>
              <a:xfrm>
                <a:off x="2809635" y="1532333"/>
                <a:ext cx="275408" cy="347520"/>
                <a:chOff x="2809635" y="1532333"/>
                <a:chExt cx="275408" cy="347520"/>
              </a:xfrm>
              <a:grpFill/>
            </p:grpSpPr>
            <p:sp>
              <p:nvSpPr>
                <p:cNvPr id="97" name="Rectangle: Rounded Corners 232"/>
                <p:cNvSpPr/>
                <p:nvPr/>
              </p:nvSpPr>
              <p:spPr>
                <a:xfrm>
                  <a:off x="2809635" y="1532333"/>
                  <a:ext cx="198089" cy="310193"/>
                </a:xfrm>
                <a:prstGeom prst="roundRect">
                  <a:avLst>
                    <a:gd name="adj" fmla="val 0"/>
                  </a:avLst>
                </a:prstGeom>
                <a:grp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98" name="Rectangle: Rounded Corners 233"/>
                <p:cNvSpPr/>
                <p:nvPr/>
              </p:nvSpPr>
              <p:spPr>
                <a:xfrm>
                  <a:off x="2886954" y="1569660"/>
                  <a:ext cx="198089" cy="310193"/>
                </a:xfrm>
                <a:prstGeom prst="roundRect">
                  <a:avLst>
                    <a:gd name="adj" fmla="val 0"/>
                  </a:avLst>
                </a:prstGeom>
                <a:grp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grpSp>
        </p:grpSp>
        <p:pic>
          <p:nvPicPr>
            <p:cNvPr id="92" name="Picture 91"/>
            <p:cNvPicPr>
              <a:picLocks noChangeAspect="1"/>
            </p:cNvPicPr>
            <p:nvPr/>
          </p:nvPicPr>
          <p:blipFill>
            <a:blip r:embed="rId5"/>
            <a:stretch>
              <a:fillRect/>
            </a:stretch>
          </p:blipFill>
          <p:spPr>
            <a:xfrm>
              <a:off x="2795295" y="1550332"/>
              <a:ext cx="309874" cy="136492"/>
            </a:xfrm>
            <a:prstGeom prst="rect">
              <a:avLst/>
            </a:prstGeom>
            <a:grpFill/>
            <a:ln>
              <a:solidFill>
                <a:srgbClr val="FFFF00"/>
              </a:solidFill>
            </a:ln>
          </p:spPr>
        </p:pic>
        <p:pic>
          <p:nvPicPr>
            <p:cNvPr id="93" name="Picture 92"/>
            <p:cNvPicPr>
              <a:picLocks noChangeAspect="1"/>
            </p:cNvPicPr>
            <p:nvPr/>
          </p:nvPicPr>
          <p:blipFill>
            <a:blip r:embed="rId5"/>
            <a:stretch>
              <a:fillRect/>
            </a:stretch>
          </p:blipFill>
          <p:spPr>
            <a:xfrm>
              <a:off x="2797939" y="1657523"/>
              <a:ext cx="309874" cy="136492"/>
            </a:xfrm>
            <a:prstGeom prst="rect">
              <a:avLst/>
            </a:prstGeom>
            <a:grpFill/>
            <a:ln>
              <a:solidFill>
                <a:srgbClr val="FFFF00"/>
              </a:solidFill>
            </a:ln>
          </p:spPr>
        </p:pic>
        <p:pic>
          <p:nvPicPr>
            <p:cNvPr id="94" name="Picture 93"/>
            <p:cNvPicPr>
              <a:picLocks noChangeAspect="1"/>
            </p:cNvPicPr>
            <p:nvPr/>
          </p:nvPicPr>
          <p:blipFill>
            <a:blip r:embed="rId5"/>
            <a:stretch>
              <a:fillRect/>
            </a:stretch>
          </p:blipFill>
          <p:spPr>
            <a:xfrm>
              <a:off x="2797939" y="1764714"/>
              <a:ext cx="309874" cy="136492"/>
            </a:xfrm>
            <a:prstGeom prst="rect">
              <a:avLst/>
            </a:prstGeom>
            <a:grpFill/>
            <a:ln>
              <a:solidFill>
                <a:srgbClr val="FFFF00"/>
              </a:solidFill>
            </a:ln>
          </p:spPr>
        </p:pic>
      </p:grpSp>
      <p:grpSp>
        <p:nvGrpSpPr>
          <p:cNvPr id="102" name="Group 101"/>
          <p:cNvGrpSpPr/>
          <p:nvPr/>
        </p:nvGrpSpPr>
        <p:grpSpPr>
          <a:xfrm>
            <a:off x="1372332" y="2855020"/>
            <a:ext cx="566603" cy="569433"/>
            <a:chOff x="2624230" y="1291099"/>
            <a:chExt cx="529298" cy="639523"/>
          </a:xfrm>
          <a:solidFill>
            <a:srgbClr val="92D050"/>
          </a:solidFill>
        </p:grpSpPr>
        <p:grpSp>
          <p:nvGrpSpPr>
            <p:cNvPr id="103" name="Group 102"/>
            <p:cNvGrpSpPr/>
            <p:nvPr/>
          </p:nvGrpSpPr>
          <p:grpSpPr>
            <a:xfrm>
              <a:off x="2624230" y="1291099"/>
              <a:ext cx="529298" cy="639523"/>
              <a:chOff x="2624230" y="1291099"/>
              <a:chExt cx="529298" cy="639523"/>
            </a:xfrm>
            <a:grpFill/>
          </p:grpSpPr>
          <p:grpSp>
            <p:nvGrpSpPr>
              <p:cNvPr id="107" name="Group 106"/>
              <p:cNvGrpSpPr/>
              <p:nvPr/>
            </p:nvGrpSpPr>
            <p:grpSpPr>
              <a:xfrm>
                <a:off x="2624230" y="1291099"/>
                <a:ext cx="529298" cy="639523"/>
                <a:chOff x="1345497" y="1522604"/>
                <a:chExt cx="596149" cy="700081"/>
              </a:xfrm>
              <a:grpFill/>
            </p:grpSpPr>
            <p:pic>
              <p:nvPicPr>
                <p:cNvPr id="111" name="Picture 110"/>
                <p:cNvPicPr>
                  <a:picLocks noChangeAspect="1"/>
                </p:cNvPicPr>
                <p:nvPr/>
              </p:nvPicPr>
              <p:blipFill>
                <a:blip r:embed="rId4"/>
                <a:stretch>
                  <a:fillRect/>
                </a:stretch>
              </p:blipFill>
              <p:spPr>
                <a:xfrm>
                  <a:off x="1345497" y="1522604"/>
                  <a:ext cx="459514" cy="560559"/>
                </a:xfrm>
                <a:prstGeom prst="rect">
                  <a:avLst/>
                </a:prstGeom>
                <a:grpFill/>
              </p:spPr>
            </p:pic>
            <p:pic>
              <p:nvPicPr>
                <p:cNvPr id="112" name="Picture 111"/>
                <p:cNvPicPr>
                  <a:picLocks noChangeAspect="1"/>
                </p:cNvPicPr>
                <p:nvPr/>
              </p:nvPicPr>
              <p:blipFill>
                <a:blip r:embed="rId4"/>
                <a:stretch>
                  <a:fillRect/>
                </a:stretch>
              </p:blipFill>
              <p:spPr>
                <a:xfrm>
                  <a:off x="1408559" y="1593808"/>
                  <a:ext cx="459514" cy="560559"/>
                </a:xfrm>
                <a:prstGeom prst="rect">
                  <a:avLst/>
                </a:prstGeom>
                <a:grpFill/>
              </p:spPr>
            </p:pic>
            <p:pic>
              <p:nvPicPr>
                <p:cNvPr id="113" name="Picture 112"/>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108" name="Group 107"/>
              <p:cNvGrpSpPr/>
              <p:nvPr/>
            </p:nvGrpSpPr>
            <p:grpSpPr>
              <a:xfrm>
                <a:off x="2809635" y="1532333"/>
                <a:ext cx="275408" cy="347520"/>
                <a:chOff x="2809635" y="1532333"/>
                <a:chExt cx="275408" cy="347520"/>
              </a:xfrm>
              <a:grpFill/>
            </p:grpSpPr>
            <p:sp>
              <p:nvSpPr>
                <p:cNvPr id="109" name="Rectangle: Rounded Corners 232"/>
                <p:cNvSpPr/>
                <p:nvPr/>
              </p:nvSpPr>
              <p:spPr>
                <a:xfrm>
                  <a:off x="2809635" y="1532333"/>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110" name="Rectangle: Rounded Corners 233"/>
                <p:cNvSpPr/>
                <p:nvPr/>
              </p:nvSpPr>
              <p:spPr>
                <a:xfrm>
                  <a:off x="2886954" y="1569660"/>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grpSp>
        </p:grpSp>
        <p:pic>
          <p:nvPicPr>
            <p:cNvPr id="104" name="Picture 103"/>
            <p:cNvPicPr>
              <a:picLocks noChangeAspect="1"/>
            </p:cNvPicPr>
            <p:nvPr/>
          </p:nvPicPr>
          <p:blipFill>
            <a:blip r:embed="rId5"/>
            <a:stretch>
              <a:fillRect/>
            </a:stretch>
          </p:blipFill>
          <p:spPr>
            <a:xfrm>
              <a:off x="2795295" y="1550332"/>
              <a:ext cx="309874" cy="136492"/>
            </a:xfrm>
            <a:prstGeom prst="rect">
              <a:avLst/>
            </a:prstGeom>
            <a:grpFill/>
          </p:spPr>
        </p:pic>
        <p:pic>
          <p:nvPicPr>
            <p:cNvPr id="105" name="Picture 104"/>
            <p:cNvPicPr>
              <a:picLocks noChangeAspect="1"/>
            </p:cNvPicPr>
            <p:nvPr/>
          </p:nvPicPr>
          <p:blipFill>
            <a:blip r:embed="rId5"/>
            <a:stretch>
              <a:fillRect/>
            </a:stretch>
          </p:blipFill>
          <p:spPr>
            <a:xfrm>
              <a:off x="2797939" y="1657523"/>
              <a:ext cx="309874" cy="136492"/>
            </a:xfrm>
            <a:prstGeom prst="rect">
              <a:avLst/>
            </a:prstGeom>
            <a:grpFill/>
          </p:spPr>
        </p:pic>
        <p:pic>
          <p:nvPicPr>
            <p:cNvPr id="106" name="Picture 105"/>
            <p:cNvPicPr>
              <a:picLocks noChangeAspect="1"/>
            </p:cNvPicPr>
            <p:nvPr/>
          </p:nvPicPr>
          <p:blipFill>
            <a:blip r:embed="rId5"/>
            <a:stretch>
              <a:fillRect/>
            </a:stretch>
          </p:blipFill>
          <p:spPr>
            <a:xfrm>
              <a:off x="2797939" y="1764714"/>
              <a:ext cx="309874" cy="136492"/>
            </a:xfrm>
            <a:prstGeom prst="rect">
              <a:avLst/>
            </a:prstGeom>
            <a:grpFill/>
          </p:spPr>
        </p:pic>
      </p:grpSp>
      <p:grpSp>
        <p:nvGrpSpPr>
          <p:cNvPr id="114" name="Group 113"/>
          <p:cNvGrpSpPr/>
          <p:nvPr/>
        </p:nvGrpSpPr>
        <p:grpSpPr>
          <a:xfrm>
            <a:off x="2194227" y="2865422"/>
            <a:ext cx="566603" cy="569433"/>
            <a:chOff x="2624230" y="1291099"/>
            <a:chExt cx="529298" cy="639523"/>
          </a:xfrm>
          <a:solidFill>
            <a:srgbClr val="92D050"/>
          </a:solidFill>
        </p:grpSpPr>
        <p:grpSp>
          <p:nvGrpSpPr>
            <p:cNvPr id="115" name="Group 114"/>
            <p:cNvGrpSpPr/>
            <p:nvPr/>
          </p:nvGrpSpPr>
          <p:grpSpPr>
            <a:xfrm>
              <a:off x="2624230" y="1291099"/>
              <a:ext cx="529298" cy="639523"/>
              <a:chOff x="2624230" y="1291099"/>
              <a:chExt cx="529298" cy="639523"/>
            </a:xfrm>
            <a:grpFill/>
          </p:grpSpPr>
          <p:grpSp>
            <p:nvGrpSpPr>
              <p:cNvPr id="119" name="Group 118"/>
              <p:cNvGrpSpPr/>
              <p:nvPr/>
            </p:nvGrpSpPr>
            <p:grpSpPr>
              <a:xfrm>
                <a:off x="2624230" y="1291099"/>
                <a:ext cx="529298" cy="639523"/>
                <a:chOff x="1345497" y="1522604"/>
                <a:chExt cx="596149" cy="700081"/>
              </a:xfrm>
              <a:grpFill/>
            </p:grpSpPr>
            <p:pic>
              <p:nvPicPr>
                <p:cNvPr id="123" name="Picture 122"/>
                <p:cNvPicPr>
                  <a:picLocks noChangeAspect="1"/>
                </p:cNvPicPr>
                <p:nvPr/>
              </p:nvPicPr>
              <p:blipFill>
                <a:blip r:embed="rId4"/>
                <a:stretch>
                  <a:fillRect/>
                </a:stretch>
              </p:blipFill>
              <p:spPr>
                <a:xfrm>
                  <a:off x="1345497" y="1522604"/>
                  <a:ext cx="459514" cy="560559"/>
                </a:xfrm>
                <a:prstGeom prst="rect">
                  <a:avLst/>
                </a:prstGeom>
                <a:grpFill/>
              </p:spPr>
            </p:pic>
            <p:pic>
              <p:nvPicPr>
                <p:cNvPr id="124" name="Picture 123"/>
                <p:cNvPicPr>
                  <a:picLocks noChangeAspect="1"/>
                </p:cNvPicPr>
                <p:nvPr/>
              </p:nvPicPr>
              <p:blipFill>
                <a:blip r:embed="rId4"/>
                <a:stretch>
                  <a:fillRect/>
                </a:stretch>
              </p:blipFill>
              <p:spPr>
                <a:xfrm>
                  <a:off x="1408559" y="1593808"/>
                  <a:ext cx="459514" cy="560559"/>
                </a:xfrm>
                <a:prstGeom prst="rect">
                  <a:avLst/>
                </a:prstGeom>
                <a:grpFill/>
              </p:spPr>
            </p:pic>
            <p:pic>
              <p:nvPicPr>
                <p:cNvPr id="125" name="Picture 124"/>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120" name="Group 119"/>
              <p:cNvGrpSpPr/>
              <p:nvPr/>
            </p:nvGrpSpPr>
            <p:grpSpPr>
              <a:xfrm>
                <a:off x="2809635" y="1532333"/>
                <a:ext cx="275408" cy="347520"/>
                <a:chOff x="2809635" y="1532333"/>
                <a:chExt cx="275408" cy="347520"/>
              </a:xfrm>
              <a:grpFill/>
            </p:grpSpPr>
            <p:sp>
              <p:nvSpPr>
                <p:cNvPr id="121" name="Rectangle: Rounded Corners 232"/>
                <p:cNvSpPr/>
                <p:nvPr/>
              </p:nvSpPr>
              <p:spPr>
                <a:xfrm>
                  <a:off x="2809635" y="1532333"/>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122" name="Rectangle: Rounded Corners 233"/>
                <p:cNvSpPr/>
                <p:nvPr/>
              </p:nvSpPr>
              <p:spPr>
                <a:xfrm>
                  <a:off x="2886954" y="1569660"/>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grpSp>
        </p:grpSp>
        <p:pic>
          <p:nvPicPr>
            <p:cNvPr id="116" name="Picture 115"/>
            <p:cNvPicPr>
              <a:picLocks noChangeAspect="1"/>
            </p:cNvPicPr>
            <p:nvPr/>
          </p:nvPicPr>
          <p:blipFill>
            <a:blip r:embed="rId5"/>
            <a:stretch>
              <a:fillRect/>
            </a:stretch>
          </p:blipFill>
          <p:spPr>
            <a:xfrm>
              <a:off x="2795295" y="1550332"/>
              <a:ext cx="309874" cy="136492"/>
            </a:xfrm>
            <a:prstGeom prst="rect">
              <a:avLst/>
            </a:prstGeom>
            <a:grpFill/>
          </p:spPr>
        </p:pic>
        <p:pic>
          <p:nvPicPr>
            <p:cNvPr id="117" name="Picture 116"/>
            <p:cNvPicPr>
              <a:picLocks noChangeAspect="1"/>
            </p:cNvPicPr>
            <p:nvPr/>
          </p:nvPicPr>
          <p:blipFill>
            <a:blip r:embed="rId5"/>
            <a:stretch>
              <a:fillRect/>
            </a:stretch>
          </p:blipFill>
          <p:spPr>
            <a:xfrm>
              <a:off x="2797939" y="1657523"/>
              <a:ext cx="309874" cy="136492"/>
            </a:xfrm>
            <a:prstGeom prst="rect">
              <a:avLst/>
            </a:prstGeom>
            <a:grpFill/>
          </p:spPr>
        </p:pic>
        <p:pic>
          <p:nvPicPr>
            <p:cNvPr id="118" name="Picture 117"/>
            <p:cNvPicPr>
              <a:picLocks noChangeAspect="1"/>
            </p:cNvPicPr>
            <p:nvPr/>
          </p:nvPicPr>
          <p:blipFill>
            <a:blip r:embed="rId5"/>
            <a:stretch>
              <a:fillRect/>
            </a:stretch>
          </p:blipFill>
          <p:spPr>
            <a:xfrm>
              <a:off x="2797939" y="1764714"/>
              <a:ext cx="309874" cy="136492"/>
            </a:xfrm>
            <a:prstGeom prst="rect">
              <a:avLst/>
            </a:prstGeom>
            <a:grpFill/>
          </p:spPr>
        </p:pic>
      </p:grpSp>
      <p:grpSp>
        <p:nvGrpSpPr>
          <p:cNvPr id="126" name="Group 125"/>
          <p:cNvGrpSpPr/>
          <p:nvPr/>
        </p:nvGrpSpPr>
        <p:grpSpPr>
          <a:xfrm>
            <a:off x="2936719" y="2874290"/>
            <a:ext cx="566603" cy="569433"/>
            <a:chOff x="2624230" y="1291099"/>
            <a:chExt cx="529298" cy="639523"/>
          </a:xfrm>
          <a:solidFill>
            <a:srgbClr val="92D050"/>
          </a:solidFill>
        </p:grpSpPr>
        <p:grpSp>
          <p:nvGrpSpPr>
            <p:cNvPr id="127" name="Group 126"/>
            <p:cNvGrpSpPr/>
            <p:nvPr/>
          </p:nvGrpSpPr>
          <p:grpSpPr>
            <a:xfrm>
              <a:off x="2624230" y="1291099"/>
              <a:ext cx="529298" cy="639523"/>
              <a:chOff x="2624230" y="1291099"/>
              <a:chExt cx="529298" cy="639523"/>
            </a:xfrm>
            <a:grpFill/>
          </p:grpSpPr>
          <p:grpSp>
            <p:nvGrpSpPr>
              <p:cNvPr id="131" name="Group 130"/>
              <p:cNvGrpSpPr/>
              <p:nvPr/>
            </p:nvGrpSpPr>
            <p:grpSpPr>
              <a:xfrm>
                <a:off x="2624230" y="1291099"/>
                <a:ext cx="529298" cy="639523"/>
                <a:chOff x="1345497" y="1522604"/>
                <a:chExt cx="596149" cy="700081"/>
              </a:xfrm>
              <a:grpFill/>
            </p:grpSpPr>
            <p:pic>
              <p:nvPicPr>
                <p:cNvPr id="135" name="Picture 134"/>
                <p:cNvPicPr>
                  <a:picLocks noChangeAspect="1"/>
                </p:cNvPicPr>
                <p:nvPr/>
              </p:nvPicPr>
              <p:blipFill>
                <a:blip r:embed="rId4"/>
                <a:stretch>
                  <a:fillRect/>
                </a:stretch>
              </p:blipFill>
              <p:spPr>
                <a:xfrm>
                  <a:off x="1345497" y="1522604"/>
                  <a:ext cx="459514" cy="560559"/>
                </a:xfrm>
                <a:prstGeom prst="rect">
                  <a:avLst/>
                </a:prstGeom>
                <a:grpFill/>
              </p:spPr>
            </p:pic>
            <p:pic>
              <p:nvPicPr>
                <p:cNvPr id="136" name="Picture 135"/>
                <p:cNvPicPr>
                  <a:picLocks noChangeAspect="1"/>
                </p:cNvPicPr>
                <p:nvPr/>
              </p:nvPicPr>
              <p:blipFill>
                <a:blip r:embed="rId4"/>
                <a:stretch>
                  <a:fillRect/>
                </a:stretch>
              </p:blipFill>
              <p:spPr>
                <a:xfrm>
                  <a:off x="1408559" y="1593808"/>
                  <a:ext cx="459514" cy="560559"/>
                </a:xfrm>
                <a:prstGeom prst="rect">
                  <a:avLst/>
                </a:prstGeom>
                <a:grpFill/>
              </p:spPr>
            </p:pic>
            <p:pic>
              <p:nvPicPr>
                <p:cNvPr id="137" name="Picture 136"/>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132" name="Group 131"/>
              <p:cNvGrpSpPr/>
              <p:nvPr/>
            </p:nvGrpSpPr>
            <p:grpSpPr>
              <a:xfrm>
                <a:off x="2809635" y="1532333"/>
                <a:ext cx="275408" cy="347520"/>
                <a:chOff x="2809635" y="1532333"/>
                <a:chExt cx="275408" cy="347520"/>
              </a:xfrm>
              <a:grpFill/>
            </p:grpSpPr>
            <p:sp>
              <p:nvSpPr>
                <p:cNvPr id="133" name="Rectangle: Rounded Corners 232"/>
                <p:cNvSpPr/>
                <p:nvPr/>
              </p:nvSpPr>
              <p:spPr>
                <a:xfrm>
                  <a:off x="2809635" y="1532333"/>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134" name="Rectangle: Rounded Corners 233"/>
                <p:cNvSpPr/>
                <p:nvPr/>
              </p:nvSpPr>
              <p:spPr>
                <a:xfrm>
                  <a:off x="2886954" y="1569660"/>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grpSp>
        </p:grpSp>
        <p:pic>
          <p:nvPicPr>
            <p:cNvPr id="128" name="Picture 127"/>
            <p:cNvPicPr>
              <a:picLocks noChangeAspect="1"/>
            </p:cNvPicPr>
            <p:nvPr/>
          </p:nvPicPr>
          <p:blipFill>
            <a:blip r:embed="rId5"/>
            <a:stretch>
              <a:fillRect/>
            </a:stretch>
          </p:blipFill>
          <p:spPr>
            <a:xfrm>
              <a:off x="2795295" y="1550332"/>
              <a:ext cx="309874" cy="136492"/>
            </a:xfrm>
            <a:prstGeom prst="rect">
              <a:avLst/>
            </a:prstGeom>
            <a:grpFill/>
          </p:spPr>
        </p:pic>
        <p:pic>
          <p:nvPicPr>
            <p:cNvPr id="129" name="Picture 128"/>
            <p:cNvPicPr>
              <a:picLocks noChangeAspect="1"/>
            </p:cNvPicPr>
            <p:nvPr/>
          </p:nvPicPr>
          <p:blipFill>
            <a:blip r:embed="rId5"/>
            <a:stretch>
              <a:fillRect/>
            </a:stretch>
          </p:blipFill>
          <p:spPr>
            <a:xfrm>
              <a:off x="2797939" y="1657523"/>
              <a:ext cx="309874" cy="136492"/>
            </a:xfrm>
            <a:prstGeom prst="rect">
              <a:avLst/>
            </a:prstGeom>
            <a:grpFill/>
          </p:spPr>
        </p:pic>
        <p:pic>
          <p:nvPicPr>
            <p:cNvPr id="130" name="Picture 129"/>
            <p:cNvPicPr>
              <a:picLocks noChangeAspect="1"/>
            </p:cNvPicPr>
            <p:nvPr/>
          </p:nvPicPr>
          <p:blipFill>
            <a:blip r:embed="rId5"/>
            <a:stretch>
              <a:fillRect/>
            </a:stretch>
          </p:blipFill>
          <p:spPr>
            <a:xfrm>
              <a:off x="2797939" y="1764714"/>
              <a:ext cx="309874" cy="136492"/>
            </a:xfrm>
            <a:prstGeom prst="rect">
              <a:avLst/>
            </a:prstGeom>
            <a:grpFill/>
          </p:spPr>
        </p:pic>
      </p:grpSp>
      <p:grpSp>
        <p:nvGrpSpPr>
          <p:cNvPr id="139" name="Group 138"/>
          <p:cNvGrpSpPr/>
          <p:nvPr/>
        </p:nvGrpSpPr>
        <p:grpSpPr>
          <a:xfrm>
            <a:off x="3685248" y="2828618"/>
            <a:ext cx="566603" cy="569433"/>
            <a:chOff x="2624230" y="1291099"/>
            <a:chExt cx="529298" cy="639523"/>
          </a:xfrm>
          <a:solidFill>
            <a:srgbClr val="92D050"/>
          </a:solidFill>
        </p:grpSpPr>
        <p:grpSp>
          <p:nvGrpSpPr>
            <p:cNvPr id="140" name="Group 139"/>
            <p:cNvGrpSpPr/>
            <p:nvPr/>
          </p:nvGrpSpPr>
          <p:grpSpPr>
            <a:xfrm>
              <a:off x="2624230" y="1291099"/>
              <a:ext cx="529298" cy="639523"/>
              <a:chOff x="2624230" y="1291099"/>
              <a:chExt cx="529298" cy="639523"/>
            </a:xfrm>
            <a:grpFill/>
          </p:grpSpPr>
          <p:grpSp>
            <p:nvGrpSpPr>
              <p:cNvPr id="144" name="Group 143"/>
              <p:cNvGrpSpPr/>
              <p:nvPr/>
            </p:nvGrpSpPr>
            <p:grpSpPr>
              <a:xfrm>
                <a:off x="2624230" y="1291099"/>
                <a:ext cx="529298" cy="639523"/>
                <a:chOff x="1345497" y="1522604"/>
                <a:chExt cx="596149" cy="700081"/>
              </a:xfrm>
              <a:grpFill/>
            </p:grpSpPr>
            <p:pic>
              <p:nvPicPr>
                <p:cNvPr id="148" name="Picture 147"/>
                <p:cNvPicPr>
                  <a:picLocks noChangeAspect="1"/>
                </p:cNvPicPr>
                <p:nvPr/>
              </p:nvPicPr>
              <p:blipFill>
                <a:blip r:embed="rId4"/>
                <a:stretch>
                  <a:fillRect/>
                </a:stretch>
              </p:blipFill>
              <p:spPr>
                <a:xfrm>
                  <a:off x="1345497" y="1522604"/>
                  <a:ext cx="459514" cy="560559"/>
                </a:xfrm>
                <a:prstGeom prst="rect">
                  <a:avLst/>
                </a:prstGeom>
                <a:grpFill/>
              </p:spPr>
            </p:pic>
            <p:pic>
              <p:nvPicPr>
                <p:cNvPr id="149" name="Picture 148"/>
                <p:cNvPicPr>
                  <a:picLocks noChangeAspect="1"/>
                </p:cNvPicPr>
                <p:nvPr/>
              </p:nvPicPr>
              <p:blipFill>
                <a:blip r:embed="rId4"/>
                <a:stretch>
                  <a:fillRect/>
                </a:stretch>
              </p:blipFill>
              <p:spPr>
                <a:xfrm>
                  <a:off x="1408559" y="1593808"/>
                  <a:ext cx="459514" cy="560559"/>
                </a:xfrm>
                <a:prstGeom prst="rect">
                  <a:avLst/>
                </a:prstGeom>
                <a:grpFill/>
              </p:spPr>
            </p:pic>
            <p:pic>
              <p:nvPicPr>
                <p:cNvPr id="150" name="Picture 149"/>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145" name="Group 144"/>
              <p:cNvGrpSpPr/>
              <p:nvPr/>
            </p:nvGrpSpPr>
            <p:grpSpPr>
              <a:xfrm>
                <a:off x="2809635" y="1532333"/>
                <a:ext cx="275408" cy="347520"/>
                <a:chOff x="2809635" y="1532333"/>
                <a:chExt cx="275408" cy="347520"/>
              </a:xfrm>
              <a:grpFill/>
            </p:grpSpPr>
            <p:sp>
              <p:nvSpPr>
                <p:cNvPr id="146" name="Rectangle: Rounded Corners 232"/>
                <p:cNvSpPr/>
                <p:nvPr/>
              </p:nvSpPr>
              <p:spPr>
                <a:xfrm>
                  <a:off x="2809635" y="1532333"/>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147" name="Rectangle: Rounded Corners 233"/>
                <p:cNvSpPr/>
                <p:nvPr/>
              </p:nvSpPr>
              <p:spPr>
                <a:xfrm>
                  <a:off x="2886954" y="1569660"/>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grpSp>
        </p:grpSp>
        <p:pic>
          <p:nvPicPr>
            <p:cNvPr id="141" name="Picture 140"/>
            <p:cNvPicPr>
              <a:picLocks noChangeAspect="1"/>
            </p:cNvPicPr>
            <p:nvPr/>
          </p:nvPicPr>
          <p:blipFill>
            <a:blip r:embed="rId5"/>
            <a:stretch>
              <a:fillRect/>
            </a:stretch>
          </p:blipFill>
          <p:spPr>
            <a:xfrm>
              <a:off x="2795295" y="1550332"/>
              <a:ext cx="309874" cy="136492"/>
            </a:xfrm>
            <a:prstGeom prst="rect">
              <a:avLst/>
            </a:prstGeom>
            <a:grpFill/>
          </p:spPr>
        </p:pic>
        <p:pic>
          <p:nvPicPr>
            <p:cNvPr id="142" name="Picture 141"/>
            <p:cNvPicPr>
              <a:picLocks noChangeAspect="1"/>
            </p:cNvPicPr>
            <p:nvPr/>
          </p:nvPicPr>
          <p:blipFill>
            <a:blip r:embed="rId5"/>
            <a:stretch>
              <a:fillRect/>
            </a:stretch>
          </p:blipFill>
          <p:spPr>
            <a:xfrm>
              <a:off x="2797939" y="1657523"/>
              <a:ext cx="309874" cy="136492"/>
            </a:xfrm>
            <a:prstGeom prst="rect">
              <a:avLst/>
            </a:prstGeom>
            <a:grpFill/>
          </p:spPr>
        </p:pic>
        <p:pic>
          <p:nvPicPr>
            <p:cNvPr id="143" name="Picture 142"/>
            <p:cNvPicPr>
              <a:picLocks noChangeAspect="1"/>
            </p:cNvPicPr>
            <p:nvPr/>
          </p:nvPicPr>
          <p:blipFill>
            <a:blip r:embed="rId5"/>
            <a:stretch>
              <a:fillRect/>
            </a:stretch>
          </p:blipFill>
          <p:spPr>
            <a:xfrm>
              <a:off x="2797939" y="1764714"/>
              <a:ext cx="309874" cy="136492"/>
            </a:xfrm>
            <a:prstGeom prst="rect">
              <a:avLst/>
            </a:prstGeom>
            <a:grpFill/>
          </p:spPr>
        </p:pic>
      </p:grpSp>
      <p:grpSp>
        <p:nvGrpSpPr>
          <p:cNvPr id="151" name="Group 150"/>
          <p:cNvGrpSpPr/>
          <p:nvPr/>
        </p:nvGrpSpPr>
        <p:grpSpPr>
          <a:xfrm>
            <a:off x="4416922" y="2846468"/>
            <a:ext cx="566603" cy="569433"/>
            <a:chOff x="2624230" y="1291099"/>
            <a:chExt cx="529298" cy="639523"/>
          </a:xfrm>
          <a:solidFill>
            <a:srgbClr val="92D050"/>
          </a:solidFill>
        </p:grpSpPr>
        <p:grpSp>
          <p:nvGrpSpPr>
            <p:cNvPr id="152" name="Group 151"/>
            <p:cNvGrpSpPr/>
            <p:nvPr/>
          </p:nvGrpSpPr>
          <p:grpSpPr>
            <a:xfrm>
              <a:off x="2624230" y="1291099"/>
              <a:ext cx="529298" cy="639523"/>
              <a:chOff x="2624230" y="1291099"/>
              <a:chExt cx="529298" cy="639523"/>
            </a:xfrm>
            <a:grpFill/>
          </p:grpSpPr>
          <p:grpSp>
            <p:nvGrpSpPr>
              <p:cNvPr id="156" name="Group 155"/>
              <p:cNvGrpSpPr/>
              <p:nvPr/>
            </p:nvGrpSpPr>
            <p:grpSpPr>
              <a:xfrm>
                <a:off x="2624230" y="1291099"/>
                <a:ext cx="529298" cy="639523"/>
                <a:chOff x="1345497" y="1522604"/>
                <a:chExt cx="596149" cy="700081"/>
              </a:xfrm>
              <a:grpFill/>
            </p:grpSpPr>
            <p:pic>
              <p:nvPicPr>
                <p:cNvPr id="165" name="Picture 164"/>
                <p:cNvPicPr>
                  <a:picLocks noChangeAspect="1"/>
                </p:cNvPicPr>
                <p:nvPr/>
              </p:nvPicPr>
              <p:blipFill>
                <a:blip r:embed="rId4"/>
                <a:stretch>
                  <a:fillRect/>
                </a:stretch>
              </p:blipFill>
              <p:spPr>
                <a:xfrm>
                  <a:off x="1345497" y="1522604"/>
                  <a:ext cx="459514" cy="560559"/>
                </a:xfrm>
                <a:prstGeom prst="rect">
                  <a:avLst/>
                </a:prstGeom>
                <a:grpFill/>
              </p:spPr>
            </p:pic>
            <p:pic>
              <p:nvPicPr>
                <p:cNvPr id="166" name="Picture 165"/>
                <p:cNvPicPr>
                  <a:picLocks noChangeAspect="1"/>
                </p:cNvPicPr>
                <p:nvPr/>
              </p:nvPicPr>
              <p:blipFill>
                <a:blip r:embed="rId4"/>
                <a:stretch>
                  <a:fillRect/>
                </a:stretch>
              </p:blipFill>
              <p:spPr>
                <a:xfrm>
                  <a:off x="1408559" y="1593808"/>
                  <a:ext cx="459514" cy="560559"/>
                </a:xfrm>
                <a:prstGeom prst="rect">
                  <a:avLst/>
                </a:prstGeom>
                <a:grpFill/>
              </p:spPr>
            </p:pic>
            <p:pic>
              <p:nvPicPr>
                <p:cNvPr id="167" name="Picture 166"/>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157" name="Group 156"/>
              <p:cNvGrpSpPr/>
              <p:nvPr/>
            </p:nvGrpSpPr>
            <p:grpSpPr>
              <a:xfrm>
                <a:off x="2809635" y="1532333"/>
                <a:ext cx="275408" cy="347520"/>
                <a:chOff x="2809635" y="1532333"/>
                <a:chExt cx="275408" cy="347520"/>
              </a:xfrm>
              <a:grpFill/>
            </p:grpSpPr>
            <p:sp>
              <p:nvSpPr>
                <p:cNvPr id="158" name="Rectangle: Rounded Corners 232"/>
                <p:cNvSpPr/>
                <p:nvPr/>
              </p:nvSpPr>
              <p:spPr>
                <a:xfrm>
                  <a:off x="2809635" y="1532333"/>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159" name="Rectangle: Rounded Corners 233"/>
                <p:cNvSpPr/>
                <p:nvPr/>
              </p:nvSpPr>
              <p:spPr>
                <a:xfrm>
                  <a:off x="2886954" y="1569660"/>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grpSp>
        </p:grpSp>
        <p:pic>
          <p:nvPicPr>
            <p:cNvPr id="153" name="Picture 152"/>
            <p:cNvPicPr>
              <a:picLocks noChangeAspect="1"/>
            </p:cNvPicPr>
            <p:nvPr/>
          </p:nvPicPr>
          <p:blipFill>
            <a:blip r:embed="rId5"/>
            <a:stretch>
              <a:fillRect/>
            </a:stretch>
          </p:blipFill>
          <p:spPr>
            <a:xfrm>
              <a:off x="2795295" y="1550332"/>
              <a:ext cx="309874" cy="136492"/>
            </a:xfrm>
            <a:prstGeom prst="rect">
              <a:avLst/>
            </a:prstGeom>
            <a:grpFill/>
          </p:spPr>
        </p:pic>
        <p:pic>
          <p:nvPicPr>
            <p:cNvPr id="154" name="Picture 153"/>
            <p:cNvPicPr>
              <a:picLocks noChangeAspect="1"/>
            </p:cNvPicPr>
            <p:nvPr/>
          </p:nvPicPr>
          <p:blipFill>
            <a:blip r:embed="rId5"/>
            <a:stretch>
              <a:fillRect/>
            </a:stretch>
          </p:blipFill>
          <p:spPr>
            <a:xfrm>
              <a:off x="2797939" y="1657523"/>
              <a:ext cx="309874" cy="136492"/>
            </a:xfrm>
            <a:prstGeom prst="rect">
              <a:avLst/>
            </a:prstGeom>
            <a:grpFill/>
          </p:spPr>
        </p:pic>
        <p:pic>
          <p:nvPicPr>
            <p:cNvPr id="155" name="Picture 154"/>
            <p:cNvPicPr>
              <a:picLocks noChangeAspect="1"/>
            </p:cNvPicPr>
            <p:nvPr/>
          </p:nvPicPr>
          <p:blipFill>
            <a:blip r:embed="rId5"/>
            <a:stretch>
              <a:fillRect/>
            </a:stretch>
          </p:blipFill>
          <p:spPr>
            <a:xfrm>
              <a:off x="2797939" y="1764714"/>
              <a:ext cx="309874" cy="136492"/>
            </a:xfrm>
            <a:prstGeom prst="rect">
              <a:avLst/>
            </a:prstGeom>
            <a:grpFill/>
          </p:spPr>
        </p:pic>
      </p:grpSp>
      <p:grpSp>
        <p:nvGrpSpPr>
          <p:cNvPr id="168" name="Group 167"/>
          <p:cNvGrpSpPr/>
          <p:nvPr/>
        </p:nvGrpSpPr>
        <p:grpSpPr>
          <a:xfrm>
            <a:off x="5358926" y="2801125"/>
            <a:ext cx="566603" cy="569433"/>
            <a:chOff x="2624230" y="1291099"/>
            <a:chExt cx="529298" cy="639523"/>
          </a:xfrm>
          <a:solidFill>
            <a:srgbClr val="FFFF00"/>
          </a:solidFill>
        </p:grpSpPr>
        <p:grpSp>
          <p:nvGrpSpPr>
            <p:cNvPr id="169" name="Group 168"/>
            <p:cNvGrpSpPr/>
            <p:nvPr/>
          </p:nvGrpSpPr>
          <p:grpSpPr>
            <a:xfrm>
              <a:off x="2624230" y="1291099"/>
              <a:ext cx="529298" cy="639523"/>
              <a:chOff x="2624230" y="1291099"/>
              <a:chExt cx="529298" cy="639523"/>
            </a:xfrm>
            <a:grpFill/>
          </p:grpSpPr>
          <p:grpSp>
            <p:nvGrpSpPr>
              <p:cNvPr id="173" name="Group 172"/>
              <p:cNvGrpSpPr/>
              <p:nvPr/>
            </p:nvGrpSpPr>
            <p:grpSpPr>
              <a:xfrm>
                <a:off x="2624230" y="1291099"/>
                <a:ext cx="529298" cy="639523"/>
                <a:chOff x="1345497" y="1522604"/>
                <a:chExt cx="596149" cy="700081"/>
              </a:xfrm>
              <a:grpFill/>
            </p:grpSpPr>
            <p:pic>
              <p:nvPicPr>
                <p:cNvPr id="177" name="Picture 176"/>
                <p:cNvPicPr>
                  <a:picLocks noChangeAspect="1"/>
                </p:cNvPicPr>
                <p:nvPr/>
              </p:nvPicPr>
              <p:blipFill>
                <a:blip r:embed="rId4"/>
                <a:stretch>
                  <a:fillRect/>
                </a:stretch>
              </p:blipFill>
              <p:spPr>
                <a:xfrm>
                  <a:off x="1345497" y="1522604"/>
                  <a:ext cx="459514" cy="560559"/>
                </a:xfrm>
                <a:prstGeom prst="rect">
                  <a:avLst/>
                </a:prstGeom>
                <a:grpFill/>
              </p:spPr>
            </p:pic>
            <p:pic>
              <p:nvPicPr>
                <p:cNvPr id="178" name="Picture 177"/>
                <p:cNvPicPr>
                  <a:picLocks noChangeAspect="1"/>
                </p:cNvPicPr>
                <p:nvPr/>
              </p:nvPicPr>
              <p:blipFill>
                <a:blip r:embed="rId4"/>
                <a:stretch>
                  <a:fillRect/>
                </a:stretch>
              </p:blipFill>
              <p:spPr>
                <a:xfrm>
                  <a:off x="1408559" y="1593808"/>
                  <a:ext cx="459514" cy="560559"/>
                </a:xfrm>
                <a:prstGeom prst="rect">
                  <a:avLst/>
                </a:prstGeom>
                <a:grpFill/>
              </p:spPr>
            </p:pic>
            <p:pic>
              <p:nvPicPr>
                <p:cNvPr id="179" name="Picture 178"/>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174" name="Group 173"/>
              <p:cNvGrpSpPr/>
              <p:nvPr/>
            </p:nvGrpSpPr>
            <p:grpSpPr>
              <a:xfrm>
                <a:off x="2809635" y="1532333"/>
                <a:ext cx="275408" cy="347520"/>
                <a:chOff x="2809635" y="1532333"/>
                <a:chExt cx="275408" cy="347520"/>
              </a:xfrm>
              <a:grpFill/>
            </p:grpSpPr>
            <p:sp>
              <p:nvSpPr>
                <p:cNvPr id="175" name="Rectangle: Rounded Corners 232"/>
                <p:cNvSpPr/>
                <p:nvPr/>
              </p:nvSpPr>
              <p:spPr>
                <a:xfrm>
                  <a:off x="2809635" y="1532333"/>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176" name="Rectangle: Rounded Corners 233"/>
                <p:cNvSpPr/>
                <p:nvPr/>
              </p:nvSpPr>
              <p:spPr>
                <a:xfrm>
                  <a:off x="2886954" y="1569660"/>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grpSp>
        </p:grpSp>
        <p:pic>
          <p:nvPicPr>
            <p:cNvPr id="170" name="Picture 169"/>
            <p:cNvPicPr>
              <a:picLocks noChangeAspect="1"/>
            </p:cNvPicPr>
            <p:nvPr/>
          </p:nvPicPr>
          <p:blipFill>
            <a:blip r:embed="rId5"/>
            <a:stretch>
              <a:fillRect/>
            </a:stretch>
          </p:blipFill>
          <p:spPr>
            <a:xfrm>
              <a:off x="2795295" y="1550332"/>
              <a:ext cx="309874" cy="136492"/>
            </a:xfrm>
            <a:prstGeom prst="rect">
              <a:avLst/>
            </a:prstGeom>
            <a:grpFill/>
          </p:spPr>
        </p:pic>
        <p:pic>
          <p:nvPicPr>
            <p:cNvPr id="171" name="Picture 170"/>
            <p:cNvPicPr>
              <a:picLocks noChangeAspect="1"/>
            </p:cNvPicPr>
            <p:nvPr/>
          </p:nvPicPr>
          <p:blipFill>
            <a:blip r:embed="rId5"/>
            <a:stretch>
              <a:fillRect/>
            </a:stretch>
          </p:blipFill>
          <p:spPr>
            <a:xfrm>
              <a:off x="2797939" y="1657523"/>
              <a:ext cx="309874" cy="136492"/>
            </a:xfrm>
            <a:prstGeom prst="rect">
              <a:avLst/>
            </a:prstGeom>
            <a:grpFill/>
          </p:spPr>
        </p:pic>
        <p:pic>
          <p:nvPicPr>
            <p:cNvPr id="172" name="Picture 171"/>
            <p:cNvPicPr>
              <a:picLocks noChangeAspect="1"/>
            </p:cNvPicPr>
            <p:nvPr/>
          </p:nvPicPr>
          <p:blipFill>
            <a:blip r:embed="rId5"/>
            <a:stretch>
              <a:fillRect/>
            </a:stretch>
          </p:blipFill>
          <p:spPr>
            <a:xfrm>
              <a:off x="2797939" y="1764714"/>
              <a:ext cx="309874" cy="136492"/>
            </a:xfrm>
            <a:prstGeom prst="rect">
              <a:avLst/>
            </a:prstGeom>
            <a:grpFill/>
          </p:spPr>
        </p:pic>
      </p:grpSp>
      <p:grpSp>
        <p:nvGrpSpPr>
          <p:cNvPr id="180" name="Group 179"/>
          <p:cNvGrpSpPr/>
          <p:nvPr/>
        </p:nvGrpSpPr>
        <p:grpSpPr>
          <a:xfrm>
            <a:off x="7308582" y="2850228"/>
            <a:ext cx="566603" cy="569433"/>
            <a:chOff x="2624230" y="1291099"/>
            <a:chExt cx="529298" cy="639523"/>
          </a:xfrm>
          <a:solidFill>
            <a:srgbClr val="92D050"/>
          </a:solidFill>
        </p:grpSpPr>
        <p:grpSp>
          <p:nvGrpSpPr>
            <p:cNvPr id="181" name="Group 180"/>
            <p:cNvGrpSpPr/>
            <p:nvPr/>
          </p:nvGrpSpPr>
          <p:grpSpPr>
            <a:xfrm>
              <a:off x="2624230" y="1291099"/>
              <a:ext cx="529298" cy="639523"/>
              <a:chOff x="2624230" y="1291099"/>
              <a:chExt cx="529298" cy="639523"/>
            </a:xfrm>
            <a:grpFill/>
          </p:grpSpPr>
          <p:grpSp>
            <p:nvGrpSpPr>
              <p:cNvPr id="186" name="Group 185"/>
              <p:cNvGrpSpPr/>
              <p:nvPr/>
            </p:nvGrpSpPr>
            <p:grpSpPr>
              <a:xfrm>
                <a:off x="2624230" y="1291099"/>
                <a:ext cx="529298" cy="639523"/>
                <a:chOff x="1345497" y="1522604"/>
                <a:chExt cx="596149" cy="700081"/>
              </a:xfrm>
              <a:grpFill/>
            </p:grpSpPr>
            <p:pic>
              <p:nvPicPr>
                <p:cNvPr id="190" name="Picture 189"/>
                <p:cNvPicPr>
                  <a:picLocks noChangeAspect="1"/>
                </p:cNvPicPr>
                <p:nvPr/>
              </p:nvPicPr>
              <p:blipFill>
                <a:blip r:embed="rId4"/>
                <a:stretch>
                  <a:fillRect/>
                </a:stretch>
              </p:blipFill>
              <p:spPr>
                <a:xfrm>
                  <a:off x="1345497" y="1522604"/>
                  <a:ext cx="459514" cy="560559"/>
                </a:xfrm>
                <a:prstGeom prst="rect">
                  <a:avLst/>
                </a:prstGeom>
                <a:grpFill/>
              </p:spPr>
            </p:pic>
            <p:pic>
              <p:nvPicPr>
                <p:cNvPr id="191" name="Picture 190"/>
                <p:cNvPicPr>
                  <a:picLocks noChangeAspect="1"/>
                </p:cNvPicPr>
                <p:nvPr/>
              </p:nvPicPr>
              <p:blipFill>
                <a:blip r:embed="rId4"/>
                <a:stretch>
                  <a:fillRect/>
                </a:stretch>
              </p:blipFill>
              <p:spPr>
                <a:xfrm>
                  <a:off x="1408559" y="1593808"/>
                  <a:ext cx="459514" cy="560559"/>
                </a:xfrm>
                <a:prstGeom prst="rect">
                  <a:avLst/>
                </a:prstGeom>
                <a:grpFill/>
              </p:spPr>
            </p:pic>
            <p:pic>
              <p:nvPicPr>
                <p:cNvPr id="192" name="Picture 191"/>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187" name="Group 186"/>
              <p:cNvGrpSpPr/>
              <p:nvPr/>
            </p:nvGrpSpPr>
            <p:grpSpPr>
              <a:xfrm>
                <a:off x="2809635" y="1532333"/>
                <a:ext cx="275408" cy="347520"/>
                <a:chOff x="2809635" y="1532333"/>
                <a:chExt cx="275408" cy="347520"/>
              </a:xfrm>
              <a:grpFill/>
            </p:grpSpPr>
            <p:sp>
              <p:nvSpPr>
                <p:cNvPr id="188" name="Rectangle: Rounded Corners 232"/>
                <p:cNvSpPr/>
                <p:nvPr/>
              </p:nvSpPr>
              <p:spPr>
                <a:xfrm>
                  <a:off x="2809635" y="1532333"/>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189" name="Rectangle: Rounded Corners 233"/>
                <p:cNvSpPr/>
                <p:nvPr/>
              </p:nvSpPr>
              <p:spPr>
                <a:xfrm>
                  <a:off x="2886954" y="1569660"/>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grpSp>
        </p:grpSp>
        <p:pic>
          <p:nvPicPr>
            <p:cNvPr id="182" name="Picture 181"/>
            <p:cNvPicPr>
              <a:picLocks noChangeAspect="1"/>
            </p:cNvPicPr>
            <p:nvPr/>
          </p:nvPicPr>
          <p:blipFill>
            <a:blip r:embed="rId5"/>
            <a:stretch>
              <a:fillRect/>
            </a:stretch>
          </p:blipFill>
          <p:spPr>
            <a:xfrm>
              <a:off x="2795295" y="1550332"/>
              <a:ext cx="309874" cy="136492"/>
            </a:xfrm>
            <a:prstGeom prst="rect">
              <a:avLst/>
            </a:prstGeom>
            <a:grpFill/>
          </p:spPr>
        </p:pic>
        <p:pic>
          <p:nvPicPr>
            <p:cNvPr id="183" name="Picture 182"/>
            <p:cNvPicPr>
              <a:picLocks noChangeAspect="1"/>
            </p:cNvPicPr>
            <p:nvPr/>
          </p:nvPicPr>
          <p:blipFill>
            <a:blip r:embed="rId5"/>
            <a:stretch>
              <a:fillRect/>
            </a:stretch>
          </p:blipFill>
          <p:spPr>
            <a:xfrm>
              <a:off x="2797939" y="1657523"/>
              <a:ext cx="309874" cy="136492"/>
            </a:xfrm>
            <a:prstGeom prst="rect">
              <a:avLst/>
            </a:prstGeom>
            <a:grpFill/>
          </p:spPr>
        </p:pic>
        <p:pic>
          <p:nvPicPr>
            <p:cNvPr id="184" name="Picture 183"/>
            <p:cNvPicPr>
              <a:picLocks noChangeAspect="1"/>
            </p:cNvPicPr>
            <p:nvPr/>
          </p:nvPicPr>
          <p:blipFill>
            <a:blip r:embed="rId5"/>
            <a:stretch>
              <a:fillRect/>
            </a:stretch>
          </p:blipFill>
          <p:spPr>
            <a:xfrm>
              <a:off x="2797939" y="1764714"/>
              <a:ext cx="309874" cy="136492"/>
            </a:xfrm>
            <a:prstGeom prst="rect">
              <a:avLst/>
            </a:prstGeom>
            <a:grpFill/>
          </p:spPr>
        </p:pic>
      </p:grpSp>
      <p:grpSp>
        <p:nvGrpSpPr>
          <p:cNvPr id="193" name="Group 192"/>
          <p:cNvGrpSpPr/>
          <p:nvPr/>
        </p:nvGrpSpPr>
        <p:grpSpPr>
          <a:xfrm>
            <a:off x="8130477" y="2860629"/>
            <a:ext cx="566603" cy="569433"/>
            <a:chOff x="2624230" y="1291099"/>
            <a:chExt cx="529298" cy="639523"/>
          </a:xfrm>
          <a:solidFill>
            <a:srgbClr val="92D050"/>
          </a:solidFill>
        </p:grpSpPr>
        <p:grpSp>
          <p:nvGrpSpPr>
            <p:cNvPr id="194" name="Group 193"/>
            <p:cNvGrpSpPr/>
            <p:nvPr/>
          </p:nvGrpSpPr>
          <p:grpSpPr>
            <a:xfrm>
              <a:off x="2624230" y="1291099"/>
              <a:ext cx="529298" cy="639523"/>
              <a:chOff x="2624230" y="1291099"/>
              <a:chExt cx="529298" cy="639523"/>
            </a:xfrm>
            <a:grpFill/>
          </p:grpSpPr>
          <p:grpSp>
            <p:nvGrpSpPr>
              <p:cNvPr id="198" name="Group 197"/>
              <p:cNvGrpSpPr/>
              <p:nvPr/>
            </p:nvGrpSpPr>
            <p:grpSpPr>
              <a:xfrm>
                <a:off x="2624230" y="1291099"/>
                <a:ext cx="529298" cy="639523"/>
                <a:chOff x="1345497" y="1522604"/>
                <a:chExt cx="596149" cy="700081"/>
              </a:xfrm>
              <a:grpFill/>
            </p:grpSpPr>
            <p:pic>
              <p:nvPicPr>
                <p:cNvPr id="202" name="Picture 201"/>
                <p:cNvPicPr>
                  <a:picLocks noChangeAspect="1"/>
                </p:cNvPicPr>
                <p:nvPr/>
              </p:nvPicPr>
              <p:blipFill>
                <a:blip r:embed="rId4"/>
                <a:stretch>
                  <a:fillRect/>
                </a:stretch>
              </p:blipFill>
              <p:spPr>
                <a:xfrm>
                  <a:off x="1345497" y="1522604"/>
                  <a:ext cx="459514" cy="560559"/>
                </a:xfrm>
                <a:prstGeom prst="rect">
                  <a:avLst/>
                </a:prstGeom>
                <a:grpFill/>
              </p:spPr>
            </p:pic>
            <p:pic>
              <p:nvPicPr>
                <p:cNvPr id="203" name="Picture 202"/>
                <p:cNvPicPr>
                  <a:picLocks noChangeAspect="1"/>
                </p:cNvPicPr>
                <p:nvPr/>
              </p:nvPicPr>
              <p:blipFill>
                <a:blip r:embed="rId4"/>
                <a:stretch>
                  <a:fillRect/>
                </a:stretch>
              </p:blipFill>
              <p:spPr>
                <a:xfrm>
                  <a:off x="1408559" y="1593808"/>
                  <a:ext cx="459514" cy="560559"/>
                </a:xfrm>
                <a:prstGeom prst="rect">
                  <a:avLst/>
                </a:prstGeom>
                <a:grpFill/>
              </p:spPr>
            </p:pic>
            <p:pic>
              <p:nvPicPr>
                <p:cNvPr id="204" name="Picture 203"/>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199" name="Group 198"/>
              <p:cNvGrpSpPr/>
              <p:nvPr/>
            </p:nvGrpSpPr>
            <p:grpSpPr>
              <a:xfrm>
                <a:off x="2809635" y="1532333"/>
                <a:ext cx="275408" cy="347520"/>
                <a:chOff x="2809635" y="1532333"/>
                <a:chExt cx="275408" cy="347520"/>
              </a:xfrm>
              <a:grpFill/>
            </p:grpSpPr>
            <p:sp>
              <p:nvSpPr>
                <p:cNvPr id="200" name="Rectangle: Rounded Corners 232"/>
                <p:cNvSpPr/>
                <p:nvPr/>
              </p:nvSpPr>
              <p:spPr>
                <a:xfrm>
                  <a:off x="2809635" y="1532333"/>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01" name="Rectangle: Rounded Corners 233"/>
                <p:cNvSpPr/>
                <p:nvPr/>
              </p:nvSpPr>
              <p:spPr>
                <a:xfrm>
                  <a:off x="2886954" y="1569660"/>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grpSp>
        </p:grpSp>
        <p:pic>
          <p:nvPicPr>
            <p:cNvPr id="195" name="Picture 194"/>
            <p:cNvPicPr>
              <a:picLocks noChangeAspect="1"/>
            </p:cNvPicPr>
            <p:nvPr/>
          </p:nvPicPr>
          <p:blipFill>
            <a:blip r:embed="rId5"/>
            <a:stretch>
              <a:fillRect/>
            </a:stretch>
          </p:blipFill>
          <p:spPr>
            <a:xfrm>
              <a:off x="2795295" y="1550332"/>
              <a:ext cx="309874" cy="136492"/>
            </a:xfrm>
            <a:prstGeom prst="rect">
              <a:avLst/>
            </a:prstGeom>
            <a:grpFill/>
          </p:spPr>
        </p:pic>
        <p:pic>
          <p:nvPicPr>
            <p:cNvPr id="196" name="Picture 195"/>
            <p:cNvPicPr>
              <a:picLocks noChangeAspect="1"/>
            </p:cNvPicPr>
            <p:nvPr/>
          </p:nvPicPr>
          <p:blipFill>
            <a:blip r:embed="rId5"/>
            <a:stretch>
              <a:fillRect/>
            </a:stretch>
          </p:blipFill>
          <p:spPr>
            <a:xfrm>
              <a:off x="2797939" y="1657523"/>
              <a:ext cx="309874" cy="136492"/>
            </a:xfrm>
            <a:prstGeom prst="rect">
              <a:avLst/>
            </a:prstGeom>
            <a:grpFill/>
          </p:spPr>
        </p:pic>
        <p:pic>
          <p:nvPicPr>
            <p:cNvPr id="197" name="Picture 196"/>
            <p:cNvPicPr>
              <a:picLocks noChangeAspect="1"/>
            </p:cNvPicPr>
            <p:nvPr/>
          </p:nvPicPr>
          <p:blipFill>
            <a:blip r:embed="rId5"/>
            <a:stretch>
              <a:fillRect/>
            </a:stretch>
          </p:blipFill>
          <p:spPr>
            <a:xfrm>
              <a:off x="2797939" y="1764714"/>
              <a:ext cx="309874" cy="136492"/>
            </a:xfrm>
            <a:prstGeom prst="rect">
              <a:avLst/>
            </a:prstGeom>
            <a:grpFill/>
          </p:spPr>
        </p:pic>
      </p:grpSp>
      <p:grpSp>
        <p:nvGrpSpPr>
          <p:cNvPr id="205" name="Group 204"/>
          <p:cNvGrpSpPr/>
          <p:nvPr/>
        </p:nvGrpSpPr>
        <p:grpSpPr>
          <a:xfrm>
            <a:off x="8872969" y="2869497"/>
            <a:ext cx="566603" cy="569433"/>
            <a:chOff x="2624230" y="1291099"/>
            <a:chExt cx="529298" cy="639523"/>
          </a:xfrm>
          <a:solidFill>
            <a:srgbClr val="92D050"/>
          </a:solidFill>
        </p:grpSpPr>
        <p:grpSp>
          <p:nvGrpSpPr>
            <p:cNvPr id="206" name="Group 205"/>
            <p:cNvGrpSpPr/>
            <p:nvPr/>
          </p:nvGrpSpPr>
          <p:grpSpPr>
            <a:xfrm>
              <a:off x="2624230" y="1291099"/>
              <a:ext cx="529298" cy="639523"/>
              <a:chOff x="2624230" y="1291099"/>
              <a:chExt cx="529298" cy="639523"/>
            </a:xfrm>
            <a:grpFill/>
          </p:grpSpPr>
          <p:grpSp>
            <p:nvGrpSpPr>
              <p:cNvPr id="210" name="Group 209"/>
              <p:cNvGrpSpPr/>
              <p:nvPr/>
            </p:nvGrpSpPr>
            <p:grpSpPr>
              <a:xfrm>
                <a:off x="2624230" y="1291099"/>
                <a:ext cx="529298" cy="639523"/>
                <a:chOff x="1345497" y="1522604"/>
                <a:chExt cx="596149" cy="700081"/>
              </a:xfrm>
              <a:grpFill/>
            </p:grpSpPr>
            <p:pic>
              <p:nvPicPr>
                <p:cNvPr id="214" name="Picture 213"/>
                <p:cNvPicPr>
                  <a:picLocks noChangeAspect="1"/>
                </p:cNvPicPr>
                <p:nvPr/>
              </p:nvPicPr>
              <p:blipFill>
                <a:blip r:embed="rId4"/>
                <a:stretch>
                  <a:fillRect/>
                </a:stretch>
              </p:blipFill>
              <p:spPr>
                <a:xfrm>
                  <a:off x="1345497" y="1522604"/>
                  <a:ext cx="459514" cy="560559"/>
                </a:xfrm>
                <a:prstGeom prst="rect">
                  <a:avLst/>
                </a:prstGeom>
                <a:grpFill/>
              </p:spPr>
            </p:pic>
            <p:pic>
              <p:nvPicPr>
                <p:cNvPr id="215" name="Picture 214"/>
                <p:cNvPicPr>
                  <a:picLocks noChangeAspect="1"/>
                </p:cNvPicPr>
                <p:nvPr/>
              </p:nvPicPr>
              <p:blipFill>
                <a:blip r:embed="rId4"/>
                <a:stretch>
                  <a:fillRect/>
                </a:stretch>
              </p:blipFill>
              <p:spPr>
                <a:xfrm>
                  <a:off x="1408559" y="1593808"/>
                  <a:ext cx="459514" cy="560559"/>
                </a:xfrm>
                <a:prstGeom prst="rect">
                  <a:avLst/>
                </a:prstGeom>
                <a:grpFill/>
              </p:spPr>
            </p:pic>
            <p:pic>
              <p:nvPicPr>
                <p:cNvPr id="216" name="Picture 215"/>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211" name="Group 210"/>
              <p:cNvGrpSpPr/>
              <p:nvPr/>
            </p:nvGrpSpPr>
            <p:grpSpPr>
              <a:xfrm>
                <a:off x="2809635" y="1532333"/>
                <a:ext cx="275408" cy="347520"/>
                <a:chOff x="2809635" y="1532333"/>
                <a:chExt cx="275408" cy="347520"/>
              </a:xfrm>
              <a:grpFill/>
            </p:grpSpPr>
            <p:sp>
              <p:nvSpPr>
                <p:cNvPr id="212" name="Rectangle: Rounded Corners 232"/>
                <p:cNvSpPr/>
                <p:nvPr/>
              </p:nvSpPr>
              <p:spPr>
                <a:xfrm>
                  <a:off x="2809635" y="1532333"/>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13" name="Rectangle: Rounded Corners 233"/>
                <p:cNvSpPr/>
                <p:nvPr/>
              </p:nvSpPr>
              <p:spPr>
                <a:xfrm>
                  <a:off x="2886954" y="1569660"/>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grpSp>
        </p:grpSp>
        <p:pic>
          <p:nvPicPr>
            <p:cNvPr id="207" name="Picture 206"/>
            <p:cNvPicPr>
              <a:picLocks noChangeAspect="1"/>
            </p:cNvPicPr>
            <p:nvPr/>
          </p:nvPicPr>
          <p:blipFill>
            <a:blip r:embed="rId5"/>
            <a:stretch>
              <a:fillRect/>
            </a:stretch>
          </p:blipFill>
          <p:spPr>
            <a:xfrm>
              <a:off x="2795295" y="1550332"/>
              <a:ext cx="309874" cy="136492"/>
            </a:xfrm>
            <a:prstGeom prst="rect">
              <a:avLst/>
            </a:prstGeom>
            <a:grpFill/>
          </p:spPr>
        </p:pic>
        <p:pic>
          <p:nvPicPr>
            <p:cNvPr id="208" name="Picture 207"/>
            <p:cNvPicPr>
              <a:picLocks noChangeAspect="1"/>
            </p:cNvPicPr>
            <p:nvPr/>
          </p:nvPicPr>
          <p:blipFill>
            <a:blip r:embed="rId5"/>
            <a:stretch>
              <a:fillRect/>
            </a:stretch>
          </p:blipFill>
          <p:spPr>
            <a:xfrm>
              <a:off x="2797939" y="1657523"/>
              <a:ext cx="309874" cy="136492"/>
            </a:xfrm>
            <a:prstGeom prst="rect">
              <a:avLst/>
            </a:prstGeom>
            <a:grpFill/>
          </p:spPr>
        </p:pic>
        <p:pic>
          <p:nvPicPr>
            <p:cNvPr id="209" name="Picture 208"/>
            <p:cNvPicPr>
              <a:picLocks noChangeAspect="1"/>
            </p:cNvPicPr>
            <p:nvPr/>
          </p:nvPicPr>
          <p:blipFill>
            <a:blip r:embed="rId5"/>
            <a:stretch>
              <a:fillRect/>
            </a:stretch>
          </p:blipFill>
          <p:spPr>
            <a:xfrm>
              <a:off x="2797939" y="1764714"/>
              <a:ext cx="309874" cy="136492"/>
            </a:xfrm>
            <a:prstGeom prst="rect">
              <a:avLst/>
            </a:prstGeom>
            <a:grpFill/>
          </p:spPr>
        </p:pic>
      </p:grpSp>
      <p:grpSp>
        <p:nvGrpSpPr>
          <p:cNvPr id="217" name="Group 216"/>
          <p:cNvGrpSpPr/>
          <p:nvPr/>
        </p:nvGrpSpPr>
        <p:grpSpPr>
          <a:xfrm>
            <a:off x="9621498" y="2823826"/>
            <a:ext cx="566603" cy="569433"/>
            <a:chOff x="2624230" y="1291099"/>
            <a:chExt cx="529298" cy="639523"/>
          </a:xfrm>
          <a:solidFill>
            <a:srgbClr val="92D050"/>
          </a:solidFill>
        </p:grpSpPr>
        <p:grpSp>
          <p:nvGrpSpPr>
            <p:cNvPr id="218" name="Group 217"/>
            <p:cNvGrpSpPr/>
            <p:nvPr/>
          </p:nvGrpSpPr>
          <p:grpSpPr>
            <a:xfrm>
              <a:off x="2624230" y="1291099"/>
              <a:ext cx="529298" cy="639523"/>
              <a:chOff x="2624230" y="1291099"/>
              <a:chExt cx="529298" cy="639523"/>
            </a:xfrm>
            <a:grpFill/>
          </p:grpSpPr>
          <p:grpSp>
            <p:nvGrpSpPr>
              <p:cNvPr id="222" name="Group 221"/>
              <p:cNvGrpSpPr/>
              <p:nvPr/>
            </p:nvGrpSpPr>
            <p:grpSpPr>
              <a:xfrm>
                <a:off x="2624230" y="1291099"/>
                <a:ext cx="529298" cy="639523"/>
                <a:chOff x="1345497" y="1522604"/>
                <a:chExt cx="596149" cy="700081"/>
              </a:xfrm>
              <a:grpFill/>
            </p:grpSpPr>
            <p:pic>
              <p:nvPicPr>
                <p:cNvPr id="226" name="Picture 225"/>
                <p:cNvPicPr>
                  <a:picLocks noChangeAspect="1"/>
                </p:cNvPicPr>
                <p:nvPr/>
              </p:nvPicPr>
              <p:blipFill>
                <a:blip r:embed="rId4"/>
                <a:stretch>
                  <a:fillRect/>
                </a:stretch>
              </p:blipFill>
              <p:spPr>
                <a:xfrm>
                  <a:off x="1345497" y="1522604"/>
                  <a:ext cx="459514" cy="560559"/>
                </a:xfrm>
                <a:prstGeom prst="rect">
                  <a:avLst/>
                </a:prstGeom>
                <a:grpFill/>
              </p:spPr>
            </p:pic>
            <p:pic>
              <p:nvPicPr>
                <p:cNvPr id="227" name="Picture 226"/>
                <p:cNvPicPr>
                  <a:picLocks noChangeAspect="1"/>
                </p:cNvPicPr>
                <p:nvPr/>
              </p:nvPicPr>
              <p:blipFill>
                <a:blip r:embed="rId4"/>
                <a:stretch>
                  <a:fillRect/>
                </a:stretch>
              </p:blipFill>
              <p:spPr>
                <a:xfrm>
                  <a:off x="1408559" y="1593808"/>
                  <a:ext cx="459514" cy="560559"/>
                </a:xfrm>
                <a:prstGeom prst="rect">
                  <a:avLst/>
                </a:prstGeom>
                <a:grpFill/>
              </p:spPr>
            </p:pic>
            <p:pic>
              <p:nvPicPr>
                <p:cNvPr id="228" name="Picture 227"/>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223" name="Group 222"/>
              <p:cNvGrpSpPr/>
              <p:nvPr/>
            </p:nvGrpSpPr>
            <p:grpSpPr>
              <a:xfrm>
                <a:off x="2809635" y="1532333"/>
                <a:ext cx="275408" cy="347520"/>
                <a:chOff x="2809635" y="1532333"/>
                <a:chExt cx="275408" cy="347520"/>
              </a:xfrm>
              <a:grpFill/>
            </p:grpSpPr>
            <p:sp>
              <p:nvSpPr>
                <p:cNvPr id="224" name="Rectangle: Rounded Corners 232"/>
                <p:cNvSpPr/>
                <p:nvPr/>
              </p:nvSpPr>
              <p:spPr>
                <a:xfrm>
                  <a:off x="2809635" y="1532333"/>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25" name="Rectangle: Rounded Corners 233"/>
                <p:cNvSpPr/>
                <p:nvPr/>
              </p:nvSpPr>
              <p:spPr>
                <a:xfrm>
                  <a:off x="2886954" y="1569660"/>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grpSp>
        </p:grpSp>
        <p:pic>
          <p:nvPicPr>
            <p:cNvPr id="219" name="Picture 218"/>
            <p:cNvPicPr>
              <a:picLocks noChangeAspect="1"/>
            </p:cNvPicPr>
            <p:nvPr/>
          </p:nvPicPr>
          <p:blipFill>
            <a:blip r:embed="rId5"/>
            <a:stretch>
              <a:fillRect/>
            </a:stretch>
          </p:blipFill>
          <p:spPr>
            <a:xfrm>
              <a:off x="2795295" y="1550332"/>
              <a:ext cx="309874" cy="136492"/>
            </a:xfrm>
            <a:prstGeom prst="rect">
              <a:avLst/>
            </a:prstGeom>
            <a:grpFill/>
          </p:spPr>
        </p:pic>
        <p:pic>
          <p:nvPicPr>
            <p:cNvPr id="220" name="Picture 219"/>
            <p:cNvPicPr>
              <a:picLocks noChangeAspect="1"/>
            </p:cNvPicPr>
            <p:nvPr/>
          </p:nvPicPr>
          <p:blipFill>
            <a:blip r:embed="rId5"/>
            <a:stretch>
              <a:fillRect/>
            </a:stretch>
          </p:blipFill>
          <p:spPr>
            <a:xfrm>
              <a:off x="2797939" y="1657523"/>
              <a:ext cx="309874" cy="136492"/>
            </a:xfrm>
            <a:prstGeom prst="rect">
              <a:avLst/>
            </a:prstGeom>
            <a:grpFill/>
          </p:spPr>
        </p:pic>
        <p:pic>
          <p:nvPicPr>
            <p:cNvPr id="221" name="Picture 220"/>
            <p:cNvPicPr>
              <a:picLocks noChangeAspect="1"/>
            </p:cNvPicPr>
            <p:nvPr/>
          </p:nvPicPr>
          <p:blipFill>
            <a:blip r:embed="rId5"/>
            <a:stretch>
              <a:fillRect/>
            </a:stretch>
          </p:blipFill>
          <p:spPr>
            <a:xfrm>
              <a:off x="2797939" y="1764714"/>
              <a:ext cx="309874" cy="136492"/>
            </a:xfrm>
            <a:prstGeom prst="rect">
              <a:avLst/>
            </a:prstGeom>
            <a:grpFill/>
          </p:spPr>
        </p:pic>
      </p:grpSp>
      <p:grpSp>
        <p:nvGrpSpPr>
          <p:cNvPr id="229" name="Group 228"/>
          <p:cNvGrpSpPr/>
          <p:nvPr/>
        </p:nvGrpSpPr>
        <p:grpSpPr>
          <a:xfrm>
            <a:off x="10353172" y="2841676"/>
            <a:ext cx="566603" cy="569433"/>
            <a:chOff x="2624230" y="1291099"/>
            <a:chExt cx="529298" cy="639523"/>
          </a:xfrm>
          <a:solidFill>
            <a:srgbClr val="92D050"/>
          </a:solidFill>
        </p:grpSpPr>
        <p:grpSp>
          <p:nvGrpSpPr>
            <p:cNvPr id="230" name="Group 229"/>
            <p:cNvGrpSpPr/>
            <p:nvPr/>
          </p:nvGrpSpPr>
          <p:grpSpPr>
            <a:xfrm>
              <a:off x="2624230" y="1291099"/>
              <a:ext cx="529298" cy="639523"/>
              <a:chOff x="2624230" y="1291099"/>
              <a:chExt cx="529298" cy="639523"/>
            </a:xfrm>
            <a:grpFill/>
          </p:grpSpPr>
          <p:grpSp>
            <p:nvGrpSpPr>
              <p:cNvPr id="234" name="Group 233"/>
              <p:cNvGrpSpPr/>
              <p:nvPr/>
            </p:nvGrpSpPr>
            <p:grpSpPr>
              <a:xfrm>
                <a:off x="2624230" y="1291099"/>
                <a:ext cx="529298" cy="639523"/>
                <a:chOff x="1345497" y="1522604"/>
                <a:chExt cx="596149" cy="700081"/>
              </a:xfrm>
              <a:grpFill/>
            </p:grpSpPr>
            <p:pic>
              <p:nvPicPr>
                <p:cNvPr id="238" name="Picture 237"/>
                <p:cNvPicPr>
                  <a:picLocks noChangeAspect="1"/>
                </p:cNvPicPr>
                <p:nvPr/>
              </p:nvPicPr>
              <p:blipFill>
                <a:blip r:embed="rId4"/>
                <a:stretch>
                  <a:fillRect/>
                </a:stretch>
              </p:blipFill>
              <p:spPr>
                <a:xfrm>
                  <a:off x="1345497" y="1522604"/>
                  <a:ext cx="459514" cy="560559"/>
                </a:xfrm>
                <a:prstGeom prst="rect">
                  <a:avLst/>
                </a:prstGeom>
                <a:grpFill/>
              </p:spPr>
            </p:pic>
            <p:pic>
              <p:nvPicPr>
                <p:cNvPr id="239" name="Picture 238"/>
                <p:cNvPicPr>
                  <a:picLocks noChangeAspect="1"/>
                </p:cNvPicPr>
                <p:nvPr/>
              </p:nvPicPr>
              <p:blipFill>
                <a:blip r:embed="rId4"/>
                <a:stretch>
                  <a:fillRect/>
                </a:stretch>
              </p:blipFill>
              <p:spPr>
                <a:xfrm>
                  <a:off x="1408559" y="1593808"/>
                  <a:ext cx="459514" cy="560559"/>
                </a:xfrm>
                <a:prstGeom prst="rect">
                  <a:avLst/>
                </a:prstGeom>
                <a:grpFill/>
              </p:spPr>
            </p:pic>
            <p:pic>
              <p:nvPicPr>
                <p:cNvPr id="240" name="Picture 239"/>
                <p:cNvPicPr>
                  <a:picLocks noChangeAspect="1"/>
                </p:cNvPicPr>
                <p:nvPr/>
              </p:nvPicPr>
              <p:blipFill>
                <a:blip r:embed="rId4"/>
                <a:stretch>
                  <a:fillRect/>
                </a:stretch>
              </p:blipFill>
              <p:spPr>
                <a:xfrm>
                  <a:off x="1482132" y="1662126"/>
                  <a:ext cx="459514" cy="560559"/>
                </a:xfrm>
                <a:prstGeom prst="rect">
                  <a:avLst/>
                </a:prstGeom>
                <a:grpFill/>
                <a:ln w="3175">
                  <a:noFill/>
                </a:ln>
              </p:spPr>
            </p:pic>
          </p:grpSp>
          <p:grpSp>
            <p:nvGrpSpPr>
              <p:cNvPr id="235" name="Group 234"/>
              <p:cNvGrpSpPr/>
              <p:nvPr/>
            </p:nvGrpSpPr>
            <p:grpSpPr>
              <a:xfrm>
                <a:off x="2809635" y="1532333"/>
                <a:ext cx="275408" cy="347520"/>
                <a:chOff x="2809635" y="1532333"/>
                <a:chExt cx="275408" cy="347520"/>
              </a:xfrm>
              <a:grpFill/>
            </p:grpSpPr>
            <p:sp>
              <p:nvSpPr>
                <p:cNvPr id="236" name="Rectangle: Rounded Corners 232"/>
                <p:cNvSpPr/>
                <p:nvPr/>
              </p:nvSpPr>
              <p:spPr>
                <a:xfrm>
                  <a:off x="2809635" y="1532333"/>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37" name="Rectangle: Rounded Corners 233"/>
                <p:cNvSpPr/>
                <p:nvPr/>
              </p:nvSpPr>
              <p:spPr>
                <a:xfrm>
                  <a:off x="2886954" y="1569660"/>
                  <a:ext cx="198089" cy="310193"/>
                </a:xfrm>
                <a:prstGeom prst="roundRect">
                  <a:avLst>
                    <a:gd name="adj" fmla="val 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grpSp>
        </p:grpSp>
        <p:pic>
          <p:nvPicPr>
            <p:cNvPr id="231" name="Picture 230"/>
            <p:cNvPicPr>
              <a:picLocks noChangeAspect="1"/>
            </p:cNvPicPr>
            <p:nvPr/>
          </p:nvPicPr>
          <p:blipFill>
            <a:blip r:embed="rId5"/>
            <a:stretch>
              <a:fillRect/>
            </a:stretch>
          </p:blipFill>
          <p:spPr>
            <a:xfrm>
              <a:off x="2795295" y="1550332"/>
              <a:ext cx="309874" cy="136492"/>
            </a:xfrm>
            <a:prstGeom prst="rect">
              <a:avLst/>
            </a:prstGeom>
            <a:grpFill/>
          </p:spPr>
        </p:pic>
        <p:pic>
          <p:nvPicPr>
            <p:cNvPr id="232" name="Picture 231"/>
            <p:cNvPicPr>
              <a:picLocks noChangeAspect="1"/>
            </p:cNvPicPr>
            <p:nvPr/>
          </p:nvPicPr>
          <p:blipFill>
            <a:blip r:embed="rId5"/>
            <a:stretch>
              <a:fillRect/>
            </a:stretch>
          </p:blipFill>
          <p:spPr>
            <a:xfrm>
              <a:off x="2797939" y="1657523"/>
              <a:ext cx="309874" cy="136492"/>
            </a:xfrm>
            <a:prstGeom prst="rect">
              <a:avLst/>
            </a:prstGeom>
            <a:grpFill/>
          </p:spPr>
        </p:pic>
        <p:pic>
          <p:nvPicPr>
            <p:cNvPr id="233" name="Picture 232"/>
            <p:cNvPicPr>
              <a:picLocks noChangeAspect="1"/>
            </p:cNvPicPr>
            <p:nvPr/>
          </p:nvPicPr>
          <p:blipFill>
            <a:blip r:embed="rId5"/>
            <a:stretch>
              <a:fillRect/>
            </a:stretch>
          </p:blipFill>
          <p:spPr>
            <a:xfrm>
              <a:off x="2797939" y="1764714"/>
              <a:ext cx="309874" cy="136492"/>
            </a:xfrm>
            <a:prstGeom prst="rect">
              <a:avLst/>
            </a:prstGeom>
            <a:grpFill/>
          </p:spPr>
        </p:pic>
      </p:grpSp>
      <p:grpSp>
        <p:nvGrpSpPr>
          <p:cNvPr id="241" name="Group 240"/>
          <p:cNvGrpSpPr/>
          <p:nvPr/>
        </p:nvGrpSpPr>
        <p:grpSpPr>
          <a:xfrm>
            <a:off x="2124301" y="5996546"/>
            <a:ext cx="566603" cy="569433"/>
            <a:chOff x="2624230" y="1291099"/>
            <a:chExt cx="529298" cy="639523"/>
          </a:xfrm>
          <a:solidFill>
            <a:srgbClr val="FFFF00"/>
          </a:solidFill>
        </p:grpSpPr>
        <p:grpSp>
          <p:nvGrpSpPr>
            <p:cNvPr id="242" name="Group 241"/>
            <p:cNvGrpSpPr/>
            <p:nvPr/>
          </p:nvGrpSpPr>
          <p:grpSpPr>
            <a:xfrm>
              <a:off x="2624230" y="1291099"/>
              <a:ext cx="529298" cy="639523"/>
              <a:chOff x="2624230" y="1291099"/>
              <a:chExt cx="529298" cy="639523"/>
            </a:xfrm>
            <a:grpFill/>
          </p:grpSpPr>
          <p:grpSp>
            <p:nvGrpSpPr>
              <p:cNvPr id="246" name="Group 245"/>
              <p:cNvGrpSpPr/>
              <p:nvPr/>
            </p:nvGrpSpPr>
            <p:grpSpPr>
              <a:xfrm>
                <a:off x="2624230" y="1291099"/>
                <a:ext cx="529298" cy="639523"/>
                <a:chOff x="1345497" y="1522604"/>
                <a:chExt cx="596149" cy="700081"/>
              </a:xfrm>
              <a:grpFill/>
            </p:grpSpPr>
            <p:pic>
              <p:nvPicPr>
                <p:cNvPr id="250" name="Picture 249"/>
                <p:cNvPicPr>
                  <a:picLocks noChangeAspect="1"/>
                </p:cNvPicPr>
                <p:nvPr/>
              </p:nvPicPr>
              <p:blipFill>
                <a:blip r:embed="rId4"/>
                <a:stretch>
                  <a:fillRect/>
                </a:stretch>
              </p:blipFill>
              <p:spPr>
                <a:xfrm>
                  <a:off x="1345497" y="1522604"/>
                  <a:ext cx="459514" cy="560559"/>
                </a:xfrm>
                <a:prstGeom prst="rect">
                  <a:avLst/>
                </a:prstGeom>
                <a:grpFill/>
                <a:ln>
                  <a:solidFill>
                    <a:srgbClr val="FFFF00"/>
                  </a:solidFill>
                </a:ln>
              </p:spPr>
            </p:pic>
            <p:pic>
              <p:nvPicPr>
                <p:cNvPr id="251" name="Picture 250"/>
                <p:cNvPicPr>
                  <a:picLocks noChangeAspect="1"/>
                </p:cNvPicPr>
                <p:nvPr/>
              </p:nvPicPr>
              <p:blipFill>
                <a:blip r:embed="rId4"/>
                <a:stretch>
                  <a:fillRect/>
                </a:stretch>
              </p:blipFill>
              <p:spPr>
                <a:xfrm>
                  <a:off x="1408559" y="1593808"/>
                  <a:ext cx="459514" cy="560559"/>
                </a:xfrm>
                <a:prstGeom prst="rect">
                  <a:avLst/>
                </a:prstGeom>
                <a:grpFill/>
                <a:ln>
                  <a:solidFill>
                    <a:srgbClr val="FFFF00"/>
                  </a:solidFill>
                </a:ln>
              </p:spPr>
            </p:pic>
            <p:pic>
              <p:nvPicPr>
                <p:cNvPr id="252" name="Picture 251"/>
                <p:cNvPicPr>
                  <a:picLocks noChangeAspect="1"/>
                </p:cNvPicPr>
                <p:nvPr/>
              </p:nvPicPr>
              <p:blipFill>
                <a:blip r:embed="rId4"/>
                <a:stretch>
                  <a:fillRect/>
                </a:stretch>
              </p:blipFill>
              <p:spPr>
                <a:xfrm>
                  <a:off x="1482132" y="1662126"/>
                  <a:ext cx="459514" cy="560559"/>
                </a:xfrm>
                <a:prstGeom prst="rect">
                  <a:avLst/>
                </a:prstGeom>
                <a:grpFill/>
                <a:ln w="3175">
                  <a:solidFill>
                    <a:srgbClr val="FFFF00"/>
                  </a:solidFill>
                </a:ln>
              </p:spPr>
            </p:pic>
          </p:grpSp>
          <p:grpSp>
            <p:nvGrpSpPr>
              <p:cNvPr id="247" name="Group 246"/>
              <p:cNvGrpSpPr/>
              <p:nvPr/>
            </p:nvGrpSpPr>
            <p:grpSpPr>
              <a:xfrm>
                <a:off x="2809635" y="1532333"/>
                <a:ext cx="275408" cy="347520"/>
                <a:chOff x="2809635" y="1532333"/>
                <a:chExt cx="275408" cy="347520"/>
              </a:xfrm>
              <a:grpFill/>
            </p:grpSpPr>
            <p:sp>
              <p:nvSpPr>
                <p:cNvPr id="248" name="Rectangle: Rounded Corners 232"/>
                <p:cNvSpPr/>
                <p:nvPr/>
              </p:nvSpPr>
              <p:spPr>
                <a:xfrm>
                  <a:off x="2809635" y="1532333"/>
                  <a:ext cx="198089" cy="310193"/>
                </a:xfrm>
                <a:prstGeom prst="roundRect">
                  <a:avLst>
                    <a:gd name="adj" fmla="val 0"/>
                  </a:avLst>
                </a:prstGeom>
                <a:grp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49" name="Rectangle: Rounded Corners 233"/>
                <p:cNvSpPr/>
                <p:nvPr/>
              </p:nvSpPr>
              <p:spPr>
                <a:xfrm>
                  <a:off x="2886954" y="1569660"/>
                  <a:ext cx="198089" cy="310193"/>
                </a:xfrm>
                <a:prstGeom prst="roundRect">
                  <a:avLst>
                    <a:gd name="adj" fmla="val 0"/>
                  </a:avLst>
                </a:prstGeom>
                <a:grp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grpSp>
        </p:grpSp>
        <p:pic>
          <p:nvPicPr>
            <p:cNvPr id="243" name="Picture 242"/>
            <p:cNvPicPr>
              <a:picLocks noChangeAspect="1"/>
            </p:cNvPicPr>
            <p:nvPr/>
          </p:nvPicPr>
          <p:blipFill>
            <a:blip r:embed="rId5"/>
            <a:stretch>
              <a:fillRect/>
            </a:stretch>
          </p:blipFill>
          <p:spPr>
            <a:xfrm>
              <a:off x="2795295" y="1550332"/>
              <a:ext cx="309874" cy="136492"/>
            </a:xfrm>
            <a:prstGeom prst="rect">
              <a:avLst/>
            </a:prstGeom>
            <a:grpFill/>
            <a:ln>
              <a:solidFill>
                <a:srgbClr val="FFFF00"/>
              </a:solidFill>
            </a:ln>
          </p:spPr>
        </p:pic>
        <p:pic>
          <p:nvPicPr>
            <p:cNvPr id="244" name="Picture 243"/>
            <p:cNvPicPr>
              <a:picLocks noChangeAspect="1"/>
            </p:cNvPicPr>
            <p:nvPr/>
          </p:nvPicPr>
          <p:blipFill>
            <a:blip r:embed="rId5"/>
            <a:stretch>
              <a:fillRect/>
            </a:stretch>
          </p:blipFill>
          <p:spPr>
            <a:xfrm>
              <a:off x="2797939" y="1657523"/>
              <a:ext cx="309874" cy="136492"/>
            </a:xfrm>
            <a:prstGeom prst="rect">
              <a:avLst/>
            </a:prstGeom>
            <a:grpFill/>
            <a:ln>
              <a:solidFill>
                <a:srgbClr val="FFFF00"/>
              </a:solidFill>
            </a:ln>
          </p:spPr>
        </p:pic>
        <p:pic>
          <p:nvPicPr>
            <p:cNvPr id="245" name="Picture 244"/>
            <p:cNvPicPr>
              <a:picLocks noChangeAspect="1"/>
            </p:cNvPicPr>
            <p:nvPr/>
          </p:nvPicPr>
          <p:blipFill>
            <a:blip r:embed="rId5"/>
            <a:stretch>
              <a:fillRect/>
            </a:stretch>
          </p:blipFill>
          <p:spPr>
            <a:xfrm>
              <a:off x="2797939" y="1764714"/>
              <a:ext cx="309874" cy="136492"/>
            </a:xfrm>
            <a:prstGeom prst="rect">
              <a:avLst/>
            </a:prstGeom>
            <a:grpFill/>
            <a:ln>
              <a:solidFill>
                <a:srgbClr val="FFFF00"/>
              </a:solidFill>
            </a:ln>
          </p:spPr>
        </p:pic>
      </p:grpSp>
      <p:grpSp>
        <p:nvGrpSpPr>
          <p:cNvPr id="253" name="Group 252"/>
          <p:cNvGrpSpPr/>
          <p:nvPr/>
        </p:nvGrpSpPr>
        <p:grpSpPr>
          <a:xfrm>
            <a:off x="3241522" y="5988503"/>
            <a:ext cx="566603" cy="569433"/>
            <a:chOff x="2624230" y="1291099"/>
            <a:chExt cx="529298" cy="639523"/>
          </a:xfrm>
          <a:solidFill>
            <a:srgbClr val="FFFF00"/>
          </a:solidFill>
        </p:grpSpPr>
        <p:grpSp>
          <p:nvGrpSpPr>
            <p:cNvPr id="254" name="Group 253"/>
            <p:cNvGrpSpPr/>
            <p:nvPr/>
          </p:nvGrpSpPr>
          <p:grpSpPr>
            <a:xfrm>
              <a:off x="2624230" y="1291099"/>
              <a:ext cx="529298" cy="639523"/>
              <a:chOff x="2624230" y="1291099"/>
              <a:chExt cx="529298" cy="639523"/>
            </a:xfrm>
            <a:grpFill/>
          </p:grpSpPr>
          <p:grpSp>
            <p:nvGrpSpPr>
              <p:cNvPr id="258" name="Group 257"/>
              <p:cNvGrpSpPr/>
              <p:nvPr/>
            </p:nvGrpSpPr>
            <p:grpSpPr>
              <a:xfrm>
                <a:off x="2624230" y="1291099"/>
                <a:ext cx="529298" cy="639523"/>
                <a:chOff x="1345497" y="1522604"/>
                <a:chExt cx="596149" cy="700081"/>
              </a:xfrm>
              <a:grpFill/>
            </p:grpSpPr>
            <p:pic>
              <p:nvPicPr>
                <p:cNvPr id="262" name="Picture 261"/>
                <p:cNvPicPr>
                  <a:picLocks noChangeAspect="1"/>
                </p:cNvPicPr>
                <p:nvPr/>
              </p:nvPicPr>
              <p:blipFill>
                <a:blip r:embed="rId4"/>
                <a:stretch>
                  <a:fillRect/>
                </a:stretch>
              </p:blipFill>
              <p:spPr>
                <a:xfrm>
                  <a:off x="1345497" y="1522604"/>
                  <a:ext cx="459514" cy="560559"/>
                </a:xfrm>
                <a:prstGeom prst="rect">
                  <a:avLst/>
                </a:prstGeom>
                <a:grpFill/>
                <a:ln>
                  <a:solidFill>
                    <a:srgbClr val="FFFF00"/>
                  </a:solidFill>
                </a:ln>
              </p:spPr>
            </p:pic>
            <p:pic>
              <p:nvPicPr>
                <p:cNvPr id="263" name="Picture 262"/>
                <p:cNvPicPr>
                  <a:picLocks noChangeAspect="1"/>
                </p:cNvPicPr>
                <p:nvPr/>
              </p:nvPicPr>
              <p:blipFill>
                <a:blip r:embed="rId4"/>
                <a:stretch>
                  <a:fillRect/>
                </a:stretch>
              </p:blipFill>
              <p:spPr>
                <a:xfrm>
                  <a:off x="1408559" y="1593808"/>
                  <a:ext cx="459514" cy="560559"/>
                </a:xfrm>
                <a:prstGeom prst="rect">
                  <a:avLst/>
                </a:prstGeom>
                <a:grpFill/>
                <a:ln>
                  <a:solidFill>
                    <a:srgbClr val="FFFF00"/>
                  </a:solidFill>
                </a:ln>
              </p:spPr>
            </p:pic>
            <p:pic>
              <p:nvPicPr>
                <p:cNvPr id="264" name="Picture 263"/>
                <p:cNvPicPr>
                  <a:picLocks noChangeAspect="1"/>
                </p:cNvPicPr>
                <p:nvPr/>
              </p:nvPicPr>
              <p:blipFill>
                <a:blip r:embed="rId4"/>
                <a:stretch>
                  <a:fillRect/>
                </a:stretch>
              </p:blipFill>
              <p:spPr>
                <a:xfrm>
                  <a:off x="1482132" y="1662126"/>
                  <a:ext cx="459514" cy="560559"/>
                </a:xfrm>
                <a:prstGeom prst="rect">
                  <a:avLst/>
                </a:prstGeom>
                <a:grpFill/>
                <a:ln w="3175">
                  <a:solidFill>
                    <a:srgbClr val="FFFF00"/>
                  </a:solidFill>
                </a:ln>
              </p:spPr>
            </p:pic>
          </p:grpSp>
          <p:grpSp>
            <p:nvGrpSpPr>
              <p:cNvPr id="259" name="Group 258"/>
              <p:cNvGrpSpPr/>
              <p:nvPr/>
            </p:nvGrpSpPr>
            <p:grpSpPr>
              <a:xfrm>
                <a:off x="2809635" y="1532333"/>
                <a:ext cx="275408" cy="347520"/>
                <a:chOff x="2809635" y="1532333"/>
                <a:chExt cx="275408" cy="347520"/>
              </a:xfrm>
              <a:grpFill/>
            </p:grpSpPr>
            <p:sp>
              <p:nvSpPr>
                <p:cNvPr id="260" name="Rectangle: Rounded Corners 232"/>
                <p:cNvSpPr/>
                <p:nvPr/>
              </p:nvSpPr>
              <p:spPr>
                <a:xfrm>
                  <a:off x="2809635" y="1532333"/>
                  <a:ext cx="198089" cy="310193"/>
                </a:xfrm>
                <a:prstGeom prst="roundRect">
                  <a:avLst>
                    <a:gd name="adj" fmla="val 0"/>
                  </a:avLst>
                </a:prstGeom>
                <a:grp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61" name="Rectangle: Rounded Corners 233"/>
                <p:cNvSpPr/>
                <p:nvPr/>
              </p:nvSpPr>
              <p:spPr>
                <a:xfrm>
                  <a:off x="2886954" y="1569660"/>
                  <a:ext cx="198089" cy="310193"/>
                </a:xfrm>
                <a:prstGeom prst="roundRect">
                  <a:avLst>
                    <a:gd name="adj" fmla="val 0"/>
                  </a:avLst>
                </a:prstGeom>
                <a:grp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grpSp>
        </p:grpSp>
        <p:pic>
          <p:nvPicPr>
            <p:cNvPr id="255" name="Picture 254"/>
            <p:cNvPicPr>
              <a:picLocks noChangeAspect="1"/>
            </p:cNvPicPr>
            <p:nvPr/>
          </p:nvPicPr>
          <p:blipFill>
            <a:blip r:embed="rId5"/>
            <a:stretch>
              <a:fillRect/>
            </a:stretch>
          </p:blipFill>
          <p:spPr>
            <a:xfrm>
              <a:off x="2795295" y="1550332"/>
              <a:ext cx="309874" cy="136492"/>
            </a:xfrm>
            <a:prstGeom prst="rect">
              <a:avLst/>
            </a:prstGeom>
            <a:grpFill/>
            <a:ln>
              <a:solidFill>
                <a:srgbClr val="FFFF00"/>
              </a:solidFill>
            </a:ln>
          </p:spPr>
        </p:pic>
        <p:pic>
          <p:nvPicPr>
            <p:cNvPr id="256" name="Picture 255"/>
            <p:cNvPicPr>
              <a:picLocks noChangeAspect="1"/>
            </p:cNvPicPr>
            <p:nvPr/>
          </p:nvPicPr>
          <p:blipFill>
            <a:blip r:embed="rId5"/>
            <a:stretch>
              <a:fillRect/>
            </a:stretch>
          </p:blipFill>
          <p:spPr>
            <a:xfrm>
              <a:off x="2797939" y="1657523"/>
              <a:ext cx="309874" cy="136492"/>
            </a:xfrm>
            <a:prstGeom prst="rect">
              <a:avLst/>
            </a:prstGeom>
            <a:grpFill/>
            <a:ln>
              <a:solidFill>
                <a:srgbClr val="FFFF00"/>
              </a:solidFill>
            </a:ln>
          </p:spPr>
        </p:pic>
        <p:pic>
          <p:nvPicPr>
            <p:cNvPr id="257" name="Picture 256"/>
            <p:cNvPicPr>
              <a:picLocks noChangeAspect="1"/>
            </p:cNvPicPr>
            <p:nvPr/>
          </p:nvPicPr>
          <p:blipFill>
            <a:blip r:embed="rId5"/>
            <a:stretch>
              <a:fillRect/>
            </a:stretch>
          </p:blipFill>
          <p:spPr>
            <a:xfrm>
              <a:off x="2797939" y="1764714"/>
              <a:ext cx="309874" cy="136492"/>
            </a:xfrm>
            <a:prstGeom prst="rect">
              <a:avLst/>
            </a:prstGeom>
            <a:grpFill/>
            <a:ln>
              <a:solidFill>
                <a:srgbClr val="FFFF00"/>
              </a:solidFill>
            </a:ln>
          </p:spPr>
        </p:pic>
      </p:grpSp>
      <p:grpSp>
        <p:nvGrpSpPr>
          <p:cNvPr id="265" name="Group 264"/>
          <p:cNvGrpSpPr/>
          <p:nvPr/>
        </p:nvGrpSpPr>
        <p:grpSpPr>
          <a:xfrm>
            <a:off x="4337907" y="6029166"/>
            <a:ext cx="566603" cy="569433"/>
            <a:chOff x="2624230" y="1291099"/>
            <a:chExt cx="529298" cy="639523"/>
          </a:xfrm>
          <a:solidFill>
            <a:srgbClr val="FFFF00"/>
          </a:solidFill>
        </p:grpSpPr>
        <p:grpSp>
          <p:nvGrpSpPr>
            <p:cNvPr id="266" name="Group 265"/>
            <p:cNvGrpSpPr/>
            <p:nvPr/>
          </p:nvGrpSpPr>
          <p:grpSpPr>
            <a:xfrm>
              <a:off x="2624230" y="1291099"/>
              <a:ext cx="529298" cy="639523"/>
              <a:chOff x="2624230" y="1291099"/>
              <a:chExt cx="529298" cy="639523"/>
            </a:xfrm>
            <a:grpFill/>
          </p:grpSpPr>
          <p:grpSp>
            <p:nvGrpSpPr>
              <p:cNvPr id="270" name="Group 269"/>
              <p:cNvGrpSpPr/>
              <p:nvPr/>
            </p:nvGrpSpPr>
            <p:grpSpPr>
              <a:xfrm>
                <a:off x="2624230" y="1291099"/>
                <a:ext cx="529298" cy="639523"/>
                <a:chOff x="1345497" y="1522604"/>
                <a:chExt cx="596149" cy="700081"/>
              </a:xfrm>
              <a:grpFill/>
            </p:grpSpPr>
            <p:pic>
              <p:nvPicPr>
                <p:cNvPr id="274" name="Picture 273"/>
                <p:cNvPicPr>
                  <a:picLocks noChangeAspect="1"/>
                </p:cNvPicPr>
                <p:nvPr/>
              </p:nvPicPr>
              <p:blipFill>
                <a:blip r:embed="rId4"/>
                <a:stretch>
                  <a:fillRect/>
                </a:stretch>
              </p:blipFill>
              <p:spPr>
                <a:xfrm>
                  <a:off x="1345497" y="1522604"/>
                  <a:ext cx="459514" cy="560559"/>
                </a:xfrm>
                <a:prstGeom prst="rect">
                  <a:avLst/>
                </a:prstGeom>
                <a:grpFill/>
                <a:ln>
                  <a:solidFill>
                    <a:srgbClr val="FFFF00"/>
                  </a:solidFill>
                </a:ln>
              </p:spPr>
            </p:pic>
            <p:pic>
              <p:nvPicPr>
                <p:cNvPr id="275" name="Picture 274"/>
                <p:cNvPicPr>
                  <a:picLocks noChangeAspect="1"/>
                </p:cNvPicPr>
                <p:nvPr/>
              </p:nvPicPr>
              <p:blipFill>
                <a:blip r:embed="rId4"/>
                <a:stretch>
                  <a:fillRect/>
                </a:stretch>
              </p:blipFill>
              <p:spPr>
                <a:xfrm>
                  <a:off x="1408559" y="1593808"/>
                  <a:ext cx="459514" cy="560559"/>
                </a:xfrm>
                <a:prstGeom prst="rect">
                  <a:avLst/>
                </a:prstGeom>
                <a:grpFill/>
                <a:ln>
                  <a:solidFill>
                    <a:srgbClr val="FFFF00"/>
                  </a:solidFill>
                </a:ln>
              </p:spPr>
            </p:pic>
            <p:pic>
              <p:nvPicPr>
                <p:cNvPr id="276" name="Picture 275"/>
                <p:cNvPicPr>
                  <a:picLocks noChangeAspect="1"/>
                </p:cNvPicPr>
                <p:nvPr/>
              </p:nvPicPr>
              <p:blipFill>
                <a:blip r:embed="rId4"/>
                <a:stretch>
                  <a:fillRect/>
                </a:stretch>
              </p:blipFill>
              <p:spPr>
                <a:xfrm>
                  <a:off x="1482132" y="1662126"/>
                  <a:ext cx="459514" cy="560559"/>
                </a:xfrm>
                <a:prstGeom prst="rect">
                  <a:avLst/>
                </a:prstGeom>
                <a:grpFill/>
                <a:ln w="3175">
                  <a:solidFill>
                    <a:srgbClr val="FFFF00"/>
                  </a:solidFill>
                </a:ln>
              </p:spPr>
            </p:pic>
          </p:grpSp>
          <p:grpSp>
            <p:nvGrpSpPr>
              <p:cNvPr id="271" name="Group 270"/>
              <p:cNvGrpSpPr/>
              <p:nvPr/>
            </p:nvGrpSpPr>
            <p:grpSpPr>
              <a:xfrm>
                <a:off x="2809635" y="1532333"/>
                <a:ext cx="275408" cy="347520"/>
                <a:chOff x="2809635" y="1532333"/>
                <a:chExt cx="275408" cy="347520"/>
              </a:xfrm>
              <a:grpFill/>
            </p:grpSpPr>
            <p:sp>
              <p:nvSpPr>
                <p:cNvPr id="272" name="Rectangle: Rounded Corners 232"/>
                <p:cNvSpPr/>
                <p:nvPr/>
              </p:nvSpPr>
              <p:spPr>
                <a:xfrm>
                  <a:off x="2809635" y="1532333"/>
                  <a:ext cx="198089" cy="310193"/>
                </a:xfrm>
                <a:prstGeom prst="roundRect">
                  <a:avLst>
                    <a:gd name="adj" fmla="val 0"/>
                  </a:avLst>
                </a:prstGeom>
                <a:grp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sp>
              <p:nvSpPr>
                <p:cNvPr id="273" name="Rectangle: Rounded Corners 233"/>
                <p:cNvSpPr/>
                <p:nvPr/>
              </p:nvSpPr>
              <p:spPr>
                <a:xfrm>
                  <a:off x="2886954" y="1569660"/>
                  <a:ext cx="198089" cy="310193"/>
                </a:xfrm>
                <a:prstGeom prst="roundRect">
                  <a:avLst>
                    <a:gd name="adj" fmla="val 0"/>
                  </a:avLst>
                </a:prstGeom>
                <a:grp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sz="5600">
                    <a:solidFill>
                      <a:prstClr val="white"/>
                    </a:solidFill>
                    <a:latin typeface="Calibri" panose="020F0502020204030204"/>
                    <a:sym typeface="Gill Sans" charset="0"/>
                  </a:endParaRPr>
                </a:p>
              </p:txBody>
            </p:sp>
          </p:grpSp>
        </p:grpSp>
        <p:pic>
          <p:nvPicPr>
            <p:cNvPr id="267" name="Picture 266"/>
            <p:cNvPicPr>
              <a:picLocks noChangeAspect="1"/>
            </p:cNvPicPr>
            <p:nvPr/>
          </p:nvPicPr>
          <p:blipFill>
            <a:blip r:embed="rId5"/>
            <a:stretch>
              <a:fillRect/>
            </a:stretch>
          </p:blipFill>
          <p:spPr>
            <a:xfrm>
              <a:off x="2795295" y="1550332"/>
              <a:ext cx="309874" cy="136492"/>
            </a:xfrm>
            <a:prstGeom prst="rect">
              <a:avLst/>
            </a:prstGeom>
            <a:grpFill/>
            <a:ln>
              <a:solidFill>
                <a:srgbClr val="FFFF00"/>
              </a:solidFill>
            </a:ln>
          </p:spPr>
        </p:pic>
        <p:pic>
          <p:nvPicPr>
            <p:cNvPr id="268" name="Picture 267"/>
            <p:cNvPicPr>
              <a:picLocks noChangeAspect="1"/>
            </p:cNvPicPr>
            <p:nvPr/>
          </p:nvPicPr>
          <p:blipFill>
            <a:blip r:embed="rId5"/>
            <a:stretch>
              <a:fillRect/>
            </a:stretch>
          </p:blipFill>
          <p:spPr>
            <a:xfrm>
              <a:off x="2797939" y="1657523"/>
              <a:ext cx="309874" cy="136492"/>
            </a:xfrm>
            <a:prstGeom prst="rect">
              <a:avLst/>
            </a:prstGeom>
            <a:grpFill/>
            <a:ln>
              <a:solidFill>
                <a:srgbClr val="FFFF00"/>
              </a:solidFill>
            </a:ln>
          </p:spPr>
        </p:pic>
        <p:pic>
          <p:nvPicPr>
            <p:cNvPr id="269" name="Picture 268"/>
            <p:cNvPicPr>
              <a:picLocks noChangeAspect="1"/>
            </p:cNvPicPr>
            <p:nvPr/>
          </p:nvPicPr>
          <p:blipFill>
            <a:blip r:embed="rId5"/>
            <a:stretch>
              <a:fillRect/>
            </a:stretch>
          </p:blipFill>
          <p:spPr>
            <a:xfrm>
              <a:off x="2797939" y="1764714"/>
              <a:ext cx="309874" cy="136492"/>
            </a:xfrm>
            <a:prstGeom prst="rect">
              <a:avLst/>
            </a:prstGeom>
            <a:grpFill/>
            <a:ln>
              <a:solidFill>
                <a:srgbClr val="FFFF00"/>
              </a:solidFill>
            </a:ln>
          </p:spPr>
        </p:pic>
      </p:grpSp>
      <p:sp>
        <p:nvSpPr>
          <p:cNvPr id="312" name="Rounded Rectangle 311"/>
          <p:cNvSpPr/>
          <p:nvPr/>
        </p:nvSpPr>
        <p:spPr>
          <a:xfrm>
            <a:off x="2828067" y="4573913"/>
            <a:ext cx="1135487" cy="486748"/>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r>
              <a:rPr lang="en-US" sz="2000" dirty="0">
                <a:solidFill>
                  <a:prstClr val="white"/>
                </a:solidFill>
                <a:latin typeface="Calibri" panose="020F0502020204030204"/>
                <a:sym typeface="Gill Sans" charset="0"/>
              </a:rPr>
              <a:t>account</a:t>
            </a:r>
          </a:p>
        </p:txBody>
      </p:sp>
      <p:sp>
        <p:nvSpPr>
          <p:cNvPr id="313" name="Rounded Rectangle 312"/>
          <p:cNvSpPr/>
          <p:nvPr/>
        </p:nvSpPr>
        <p:spPr>
          <a:xfrm>
            <a:off x="2392699" y="843811"/>
            <a:ext cx="1135487" cy="486748"/>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r>
              <a:rPr lang="en-US" sz="2000" dirty="0">
                <a:solidFill>
                  <a:prstClr val="white"/>
                </a:solidFill>
                <a:latin typeface="Calibri" panose="020F0502020204030204"/>
                <a:sym typeface="Gill Sans" charset="0"/>
              </a:rPr>
              <a:t>account</a:t>
            </a:r>
          </a:p>
        </p:txBody>
      </p:sp>
      <p:sp>
        <p:nvSpPr>
          <p:cNvPr id="314" name="Rounded Rectangle 313"/>
          <p:cNvSpPr/>
          <p:nvPr/>
        </p:nvSpPr>
        <p:spPr>
          <a:xfrm>
            <a:off x="8168297" y="826527"/>
            <a:ext cx="1135487" cy="486748"/>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r>
              <a:rPr lang="en-US" sz="2000" dirty="0">
                <a:solidFill>
                  <a:prstClr val="white"/>
                </a:solidFill>
                <a:latin typeface="Calibri" panose="020F0502020204030204"/>
                <a:sym typeface="Gill Sans" charset="0"/>
              </a:rPr>
              <a:t>account</a:t>
            </a:r>
          </a:p>
        </p:txBody>
      </p:sp>
      <p:sp>
        <p:nvSpPr>
          <p:cNvPr id="4" name="TextBox 3"/>
          <p:cNvSpPr txBox="1"/>
          <p:nvPr/>
        </p:nvSpPr>
        <p:spPr>
          <a:xfrm>
            <a:off x="6894576" y="5358384"/>
            <a:ext cx="5297424" cy="646331"/>
          </a:xfrm>
          <a:prstGeom prst="rect">
            <a:avLst/>
          </a:prstGeom>
          <a:noFill/>
        </p:spPr>
        <p:txBody>
          <a:bodyPr wrap="square" rtlCol="0">
            <a:spAutoFit/>
          </a:bodyPr>
          <a:lstStyle/>
          <a:p>
            <a:pPr algn="ctr" defTabSz="457200" fontAlgn="base">
              <a:spcBef>
                <a:spcPct val="0"/>
              </a:spcBef>
              <a:spcAft>
                <a:spcPct val="0"/>
              </a:spcAft>
              <a:defRPr/>
            </a:pPr>
            <a:r>
              <a:rPr lang="en-US" sz="3600" dirty="0">
                <a:solidFill>
                  <a:prstClr val="white"/>
                </a:solidFill>
                <a:latin typeface="Gill Sans" charset="0"/>
                <a:ea typeface="Heiti SC Light" charset="-122"/>
                <a:sym typeface="Gill Sans" charset="0"/>
              </a:rPr>
              <a:t>Tables/C*/Gremlin</a:t>
            </a:r>
            <a:endParaRPr lang="en-US" sz="5600" dirty="0">
              <a:solidFill>
                <a:prstClr val="white"/>
              </a:solidFill>
              <a:latin typeface="Gill Sans" charset="0"/>
              <a:ea typeface="Heiti SC Light" charset="-122"/>
              <a:sym typeface="Gill Sans" charset="0"/>
            </a:endParaRPr>
          </a:p>
        </p:txBody>
      </p:sp>
    </p:spTree>
    <p:custDataLst>
      <p:tags r:id="rId1"/>
    </p:custDataLst>
    <p:extLst>
      <p:ext uri="{BB962C8B-B14F-4D97-AF65-F5344CB8AC3E}">
        <p14:creationId xmlns:p14="http://schemas.microsoft.com/office/powerpoint/2010/main" val="302118574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90500" y="6019800"/>
            <a:ext cx="7723790" cy="899666"/>
          </a:xfrm>
        </p:spPr>
        <p:txBody>
          <a:bodyPr/>
          <a:lstStyle/>
          <a:p>
            <a:r>
              <a:rPr lang="en-US" dirty="0"/>
              <a:t>System Design - Elastic Scale</a:t>
            </a:r>
          </a:p>
        </p:txBody>
      </p:sp>
      <p:sp>
        <p:nvSpPr>
          <p:cNvPr id="3" name="Shape 2"/>
          <p:cNvSpPr/>
          <p:nvPr/>
        </p:nvSpPr>
        <p:spPr>
          <a:xfrm>
            <a:off x="172453" y="5355441"/>
            <a:ext cx="2787216" cy="662354"/>
          </a:xfrm>
          <a:prstGeom prst="leftRightRibbon">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 name="TextBox 3"/>
          <p:cNvSpPr txBox="1"/>
          <p:nvPr/>
        </p:nvSpPr>
        <p:spPr>
          <a:xfrm>
            <a:off x="586631" y="5466188"/>
            <a:ext cx="703064" cy="341632"/>
          </a:xfrm>
          <a:prstGeom prst="rect">
            <a:avLst/>
          </a:prstGeom>
          <a:noFill/>
        </p:spPr>
        <p:txBody>
          <a:bodyPr wrap="square" lIns="91440" tIns="73152" rIns="91440" bIns="73152" rtlCol="0">
            <a:spAutoFit/>
          </a:bodyPr>
          <a:lstStyle/>
          <a:p>
            <a:pPr defTabSz="457200" fontAlgn="base">
              <a:lnSpc>
                <a:spcPct val="90000"/>
              </a:lnSpc>
              <a:spcBef>
                <a:spcPct val="0"/>
              </a:spcBef>
              <a:spcAft>
                <a:spcPts val="300"/>
              </a:spcAft>
            </a:pPr>
            <a:r>
              <a:rPr lang="en-US" sz="1400" dirty="0">
                <a:solidFill>
                  <a:srgbClr val="FFFFFF"/>
                </a:solidFill>
                <a:latin typeface="Segoe UI Light"/>
                <a:ea typeface="Heiti SC Light" charset="-122"/>
                <a:sym typeface="Gill Sans" charset="0"/>
              </a:rPr>
              <a:t>GBs</a:t>
            </a:r>
          </a:p>
        </p:txBody>
      </p:sp>
      <p:sp>
        <p:nvSpPr>
          <p:cNvPr id="5" name="TextBox 4"/>
          <p:cNvSpPr txBox="1"/>
          <p:nvPr/>
        </p:nvSpPr>
        <p:spPr>
          <a:xfrm>
            <a:off x="1958193" y="5580488"/>
            <a:ext cx="703064" cy="341632"/>
          </a:xfrm>
          <a:prstGeom prst="rect">
            <a:avLst/>
          </a:prstGeom>
          <a:noFill/>
        </p:spPr>
        <p:txBody>
          <a:bodyPr wrap="square" lIns="91440" tIns="73152" rIns="91440" bIns="73152" rtlCol="0">
            <a:spAutoFit/>
          </a:bodyPr>
          <a:lstStyle/>
          <a:p>
            <a:pPr defTabSz="457200" fontAlgn="base">
              <a:lnSpc>
                <a:spcPct val="90000"/>
              </a:lnSpc>
              <a:spcBef>
                <a:spcPct val="0"/>
              </a:spcBef>
              <a:spcAft>
                <a:spcPts val="300"/>
              </a:spcAft>
            </a:pPr>
            <a:r>
              <a:rPr lang="en-US" sz="1400" dirty="0">
                <a:solidFill>
                  <a:srgbClr val="FFFFFF"/>
                </a:solidFill>
                <a:latin typeface="Segoe UI Light"/>
                <a:ea typeface="Heiti SC Light" charset="-122"/>
                <a:sym typeface="Gill Sans" charset="0"/>
              </a:rPr>
              <a:t>PBs</a:t>
            </a:r>
          </a:p>
        </p:txBody>
      </p:sp>
      <p:sp>
        <p:nvSpPr>
          <p:cNvPr id="6" name="Shape 5"/>
          <p:cNvSpPr/>
          <p:nvPr/>
        </p:nvSpPr>
        <p:spPr>
          <a:xfrm>
            <a:off x="330769" y="4857516"/>
            <a:ext cx="2898121" cy="749908"/>
          </a:xfrm>
          <a:prstGeom prst="leftRightRibbon">
            <a:avLst/>
          </a:prstGeom>
          <a:solidFill>
            <a:schemeClr val="accent2">
              <a:lumMod val="75000"/>
            </a:schemeClr>
          </a:solidFill>
        </p:spPr>
        <p:style>
          <a:lnRef idx="1">
            <a:schemeClr val="accent1"/>
          </a:lnRef>
          <a:fillRef idx="2">
            <a:schemeClr val="accent1"/>
          </a:fillRef>
          <a:effectRef idx="1">
            <a:schemeClr val="accent1"/>
          </a:effectRef>
          <a:fontRef idx="minor">
            <a:schemeClr val="dk1"/>
          </a:fontRef>
        </p:style>
      </p:sp>
      <p:sp>
        <p:nvSpPr>
          <p:cNvPr id="7" name="TextBox 6"/>
          <p:cNvSpPr txBox="1"/>
          <p:nvPr/>
        </p:nvSpPr>
        <p:spPr>
          <a:xfrm>
            <a:off x="703859" y="5015693"/>
            <a:ext cx="1087528" cy="341632"/>
          </a:xfrm>
          <a:prstGeom prst="rect">
            <a:avLst/>
          </a:prstGeom>
          <a:noFill/>
        </p:spPr>
        <p:txBody>
          <a:bodyPr wrap="square" lIns="91440" tIns="73152" rIns="91440" bIns="73152" rtlCol="0">
            <a:spAutoFit/>
          </a:bodyPr>
          <a:lstStyle/>
          <a:p>
            <a:pPr defTabSz="457200" fontAlgn="base">
              <a:lnSpc>
                <a:spcPct val="90000"/>
              </a:lnSpc>
              <a:spcBef>
                <a:spcPct val="0"/>
              </a:spcBef>
              <a:spcAft>
                <a:spcPts val="300"/>
              </a:spcAft>
            </a:pPr>
            <a:r>
              <a:rPr lang="en-US" sz="1400" dirty="0">
                <a:solidFill>
                  <a:srgbClr val="FFFFFF"/>
                </a:solidFill>
                <a:latin typeface="Segoe UI Light"/>
                <a:ea typeface="Heiti SC Light" charset="-122"/>
                <a:sym typeface="Gill Sans" charset="0"/>
              </a:rPr>
              <a:t>100 TPS</a:t>
            </a:r>
          </a:p>
        </p:txBody>
      </p:sp>
      <p:sp>
        <p:nvSpPr>
          <p:cNvPr id="8" name="TextBox 7"/>
          <p:cNvSpPr txBox="1"/>
          <p:nvPr/>
        </p:nvSpPr>
        <p:spPr>
          <a:xfrm>
            <a:off x="1822569" y="5129993"/>
            <a:ext cx="1662183" cy="341632"/>
          </a:xfrm>
          <a:prstGeom prst="rect">
            <a:avLst/>
          </a:prstGeom>
          <a:noFill/>
        </p:spPr>
        <p:txBody>
          <a:bodyPr wrap="square" lIns="91440" tIns="73152" rIns="91440" bIns="73152" rtlCol="0">
            <a:spAutoFit/>
          </a:bodyPr>
          <a:lstStyle/>
          <a:p>
            <a:pPr defTabSz="457200" fontAlgn="base">
              <a:lnSpc>
                <a:spcPct val="90000"/>
              </a:lnSpc>
              <a:spcBef>
                <a:spcPct val="0"/>
              </a:spcBef>
              <a:spcAft>
                <a:spcPts val="300"/>
              </a:spcAft>
            </a:pPr>
            <a:r>
              <a:rPr lang="en-US" sz="1400" dirty="0">
                <a:solidFill>
                  <a:srgbClr val="FFFFFF"/>
                </a:solidFill>
                <a:latin typeface="Segoe UI Light"/>
                <a:ea typeface="Heiti SC Light" charset="-122"/>
                <a:sym typeface="Gill Sans" charset="0"/>
              </a:rPr>
              <a:t>100M TPS</a:t>
            </a:r>
          </a:p>
        </p:txBody>
      </p:sp>
    </p:spTree>
    <p:extLst>
      <p:ext uri="{BB962C8B-B14F-4D97-AF65-F5344CB8AC3E}">
        <p14:creationId xmlns:p14="http://schemas.microsoft.com/office/powerpoint/2010/main" val="38597189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218" name="TextBox 217"/>
          <p:cNvSpPr txBox="1"/>
          <p:nvPr/>
        </p:nvSpPr>
        <p:spPr>
          <a:xfrm>
            <a:off x="1719457" y="2279352"/>
            <a:ext cx="2602261" cy="369332"/>
          </a:xfrm>
          <a:prstGeom prst="rect">
            <a:avLst/>
          </a:prstGeom>
          <a:noFill/>
        </p:spPr>
        <p:txBody>
          <a:bodyPr wrap="square" rtlCol="0">
            <a:spAutoFit/>
          </a:bodyPr>
          <a:lstStyle/>
          <a:p>
            <a:pPr defTabSz="457200" fontAlgn="base">
              <a:spcBef>
                <a:spcPct val="0"/>
              </a:spcBef>
              <a:spcAft>
                <a:spcPct val="0"/>
              </a:spcAft>
            </a:pPr>
            <a:r>
              <a:rPr lang="en-US" b="1" dirty="0" err="1">
                <a:solidFill>
                  <a:prstClr val="white"/>
                </a:solidFill>
                <a:latin typeface="Segoe UI Light" panose="020B0502040204020203" pitchFamily="34" charset="0"/>
                <a:ea typeface="Heiti SC Light" charset="-122"/>
                <a:cs typeface="Segoe UI Light" panose="020B0502040204020203" pitchFamily="34" charset="0"/>
                <a:sym typeface="Gill Sans" charset="0"/>
              </a:rPr>
              <a:t>PartitionKey</a:t>
            </a:r>
            <a:r>
              <a:rPr lang="en-US" b="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 = "airport"</a:t>
            </a:r>
          </a:p>
        </p:txBody>
      </p:sp>
      <p:sp>
        <p:nvSpPr>
          <p:cNvPr id="57" name="Title 1"/>
          <p:cNvSpPr txBox="1">
            <a:spLocks/>
          </p:cNvSpPr>
          <p:nvPr/>
        </p:nvSpPr>
        <p:spPr>
          <a:xfrm>
            <a:off x="94565" y="354729"/>
            <a:ext cx="11298954" cy="574378"/>
          </a:xfrm>
          <a:prstGeom prst="rect">
            <a:avLst/>
          </a:prstGeom>
        </p:spPr>
        <p:txBody>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pPr defTabSz="1243478"/>
            <a:r>
              <a:rPr lang="en-US" sz="4000" dirty="0">
                <a:solidFill>
                  <a:prstClr val="white"/>
                </a:solidFill>
                <a:latin typeface="Segoe UI Light" panose="020B0502040204020203" pitchFamily="34" charset="0"/>
                <a:cs typeface="Segoe UI Light" panose="020B0502040204020203" pitchFamily="34" charset="0"/>
                <a:sym typeface="Gill Sans" charset="0"/>
              </a:rPr>
              <a:t>Transparent horizontal partitioning </a:t>
            </a:r>
          </a:p>
        </p:txBody>
      </p:sp>
      <p:sp>
        <p:nvSpPr>
          <p:cNvPr id="233" name="Flowchart: Document 232"/>
          <p:cNvSpPr/>
          <p:nvPr/>
        </p:nvSpPr>
        <p:spPr>
          <a:xfrm>
            <a:off x="2316593" y="1756877"/>
            <a:ext cx="1137548" cy="508904"/>
          </a:xfrm>
          <a:prstGeom prst="flowChartDocument">
            <a:avLst/>
          </a:prstGeom>
          <a:solidFill>
            <a:schemeClr val="accent5">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dirty="0">
                <a:solidFill>
                  <a:srgbClr val="FFFF00"/>
                </a:solidFill>
                <a:latin typeface="Segoe UI Light" panose="020B0502040204020203" pitchFamily="34" charset="0"/>
                <a:cs typeface="Segoe UI Light" panose="020B0502040204020203" pitchFamily="34" charset="0"/>
                <a:sym typeface="Gill Sans" charset="0"/>
              </a:rPr>
              <a:t>Container</a:t>
            </a:r>
          </a:p>
        </p:txBody>
      </p:sp>
      <p:sp>
        <p:nvSpPr>
          <p:cNvPr id="270" name="Text Placeholder 1"/>
          <p:cNvSpPr txBox="1">
            <a:spLocks/>
          </p:cNvSpPr>
          <p:nvPr/>
        </p:nvSpPr>
        <p:spPr>
          <a:xfrm>
            <a:off x="6941917" y="1982932"/>
            <a:ext cx="4420621" cy="989790"/>
          </a:xfrm>
          <a:prstGeom prst="rect">
            <a:avLst/>
          </a:prstGeom>
          <a:solidFill>
            <a:srgbClr val="002060"/>
          </a:solidFill>
        </p:spPr>
        <p:txBody>
          <a:bodyPr/>
          <a:lstStyle>
            <a:lvl1pPr marL="457206" indent="-457206" algn="l" defTabSz="1828823"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17" indent="-457206" algn="l" defTabSz="1828823"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29" indent="-457206" algn="l" defTabSz="1828823"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40"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51"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63"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74"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86"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97"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indent="0" defTabSz="914412">
              <a:lnSpc>
                <a:spcPct val="100000"/>
              </a:lnSpc>
              <a:spcBef>
                <a:spcPts val="0"/>
              </a:spcBef>
              <a:buNone/>
            </a:pPr>
            <a:r>
              <a:rPr lang="en-US" sz="1400" dirty="0">
                <a:solidFill>
                  <a:prstClr val="white"/>
                </a:solidFill>
                <a:latin typeface="Lucida Console" panose="020B0609040504020204" pitchFamily="49" charset="0"/>
                <a:cs typeface="Segoe UI Light" panose="020B0502040204020203" pitchFamily="34" charset="0"/>
                <a:sym typeface="Gill Sans" charset="0"/>
              </a:rPr>
              <a:t>Table t = new Table (…);</a:t>
            </a:r>
          </a:p>
          <a:p>
            <a:pPr marL="0" indent="0" defTabSz="914412">
              <a:lnSpc>
                <a:spcPct val="100000"/>
              </a:lnSpc>
              <a:spcBef>
                <a:spcPts val="0"/>
              </a:spcBef>
              <a:buNone/>
            </a:pPr>
            <a:r>
              <a:rPr lang="en-US" sz="1400" dirty="0" err="1">
                <a:solidFill>
                  <a:prstClr val="white"/>
                </a:solidFill>
                <a:latin typeface="Lucida Console" panose="020B0609040504020204" pitchFamily="49" charset="0"/>
                <a:cs typeface="Segoe UI Light" panose="020B0502040204020203" pitchFamily="34" charset="0"/>
                <a:sym typeface="Gill Sans" charset="0"/>
              </a:rPr>
              <a:t>t.PartitionKey</a:t>
            </a:r>
            <a:r>
              <a:rPr lang="en-US" sz="1400" dirty="0">
                <a:solidFill>
                  <a:prstClr val="white"/>
                </a:solidFill>
                <a:latin typeface="Lucida Console" panose="020B0609040504020204" pitchFamily="49" charset="0"/>
                <a:cs typeface="Segoe UI Light" panose="020B0502040204020203" pitchFamily="34" charset="0"/>
                <a:sym typeface="Gill Sans" charset="0"/>
              </a:rPr>
              <a:t>="airport";</a:t>
            </a:r>
          </a:p>
          <a:p>
            <a:pPr marL="0" indent="0" defTabSz="914412">
              <a:lnSpc>
                <a:spcPct val="100000"/>
              </a:lnSpc>
              <a:spcBef>
                <a:spcPts val="0"/>
              </a:spcBef>
              <a:buNone/>
            </a:pPr>
            <a:r>
              <a:rPr lang="en-US" sz="1400" dirty="0">
                <a:solidFill>
                  <a:prstClr val="white"/>
                </a:solidFill>
                <a:latin typeface="Lucida Console" panose="020B0609040504020204" pitchFamily="49" charset="0"/>
                <a:cs typeface="Segoe UI Light" panose="020B0502040204020203" pitchFamily="34" charset="0"/>
                <a:sym typeface="Gill Sans" charset="0"/>
              </a:rPr>
              <a:t>...</a:t>
            </a:r>
          </a:p>
          <a:p>
            <a:pPr marL="0" indent="0" defTabSz="914412">
              <a:lnSpc>
                <a:spcPct val="100000"/>
              </a:lnSpc>
              <a:spcBef>
                <a:spcPts val="0"/>
              </a:spcBef>
              <a:buNone/>
            </a:pPr>
            <a:r>
              <a:rPr lang="en-US" sz="1400" dirty="0" err="1">
                <a:solidFill>
                  <a:prstClr val="white"/>
                </a:solidFill>
                <a:latin typeface="Lucida Console" panose="020B0609040504020204" pitchFamily="49" charset="0"/>
                <a:cs typeface="Segoe UI Light" panose="020B0502040204020203" pitchFamily="34" charset="0"/>
                <a:sym typeface="Gill Sans" charset="0"/>
              </a:rPr>
              <a:t>t.Offer.Throughput</a:t>
            </a:r>
            <a:r>
              <a:rPr lang="en-US" sz="1400" dirty="0">
                <a:solidFill>
                  <a:prstClr val="white"/>
                </a:solidFill>
                <a:latin typeface="Lucida Console" panose="020B0609040504020204" pitchFamily="49" charset="0"/>
                <a:cs typeface="Segoe UI Light" panose="020B0502040204020203" pitchFamily="34" charset="0"/>
                <a:sym typeface="Gill Sans" charset="0"/>
              </a:rPr>
              <a:t> = </a:t>
            </a:r>
            <a:r>
              <a:rPr lang="en-US" sz="1400" dirty="0">
                <a:solidFill>
                  <a:srgbClr val="FF0000"/>
                </a:solidFill>
                <a:latin typeface="Lucida Console" panose="020B0609040504020204" pitchFamily="49" charset="0"/>
                <a:cs typeface="Segoe UI Light" panose="020B0502040204020203" pitchFamily="34" charset="0"/>
                <a:sym typeface="Gill Sans" charset="0"/>
              </a:rPr>
              <a:t>20000</a:t>
            </a:r>
            <a:r>
              <a:rPr lang="en-US" sz="1400" dirty="0">
                <a:solidFill>
                  <a:prstClr val="white"/>
                </a:solidFill>
                <a:latin typeface="Lucida Console" panose="020B0609040504020204" pitchFamily="49" charset="0"/>
                <a:cs typeface="Segoe UI Light" panose="020B0502040204020203" pitchFamily="34" charset="0"/>
                <a:sym typeface="Gill Sans" charset="0"/>
              </a:rPr>
              <a:t>;</a:t>
            </a:r>
            <a:endParaRPr lang="en-US" sz="2000" dirty="0">
              <a:solidFill>
                <a:prstClr val="white"/>
              </a:solidFill>
              <a:latin typeface="Calibri" panose="020F0502020204030204"/>
              <a:cs typeface="Segoe UI Light" panose="020B0502040204020203" pitchFamily="34" charset="0"/>
              <a:sym typeface="Gill Sans" charset="0"/>
            </a:endParaRPr>
          </a:p>
        </p:txBody>
      </p:sp>
      <p:grpSp>
        <p:nvGrpSpPr>
          <p:cNvPr id="6" name="Group 5"/>
          <p:cNvGrpSpPr/>
          <p:nvPr/>
        </p:nvGrpSpPr>
        <p:grpSpPr>
          <a:xfrm>
            <a:off x="193439" y="2232137"/>
            <a:ext cx="6446149" cy="4341524"/>
            <a:chOff x="386878" y="4007074"/>
            <a:chExt cx="12892297" cy="8683048"/>
          </a:xfrm>
        </p:grpSpPr>
        <p:sp>
          <p:nvSpPr>
            <p:cNvPr id="161" name="Rectangle 160"/>
            <p:cNvSpPr/>
            <p:nvPr/>
          </p:nvSpPr>
          <p:spPr>
            <a:xfrm>
              <a:off x="6465706" y="5838939"/>
              <a:ext cx="2470940" cy="3914662"/>
            </a:xfrm>
            <a:prstGeom prst="rect">
              <a:avLst/>
            </a:prstGeom>
            <a:solidFill>
              <a:schemeClr val="accent6">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sp>
          <p:nvSpPr>
            <p:cNvPr id="3" name="Rectangle 2"/>
            <p:cNvSpPr/>
            <p:nvPr/>
          </p:nvSpPr>
          <p:spPr>
            <a:xfrm>
              <a:off x="2814254" y="5867400"/>
              <a:ext cx="2470940" cy="3886200"/>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grpSp>
          <p:nvGrpSpPr>
            <p:cNvPr id="80" name="Group 79"/>
            <p:cNvGrpSpPr/>
            <p:nvPr/>
          </p:nvGrpSpPr>
          <p:grpSpPr>
            <a:xfrm>
              <a:off x="3261390" y="6255197"/>
              <a:ext cx="1571969" cy="1371600"/>
              <a:chOff x="468086" y="2406098"/>
              <a:chExt cx="1110063" cy="1019598"/>
            </a:xfrm>
            <a:solidFill>
              <a:schemeClr val="accent1">
                <a:lumMod val="40000"/>
                <a:lumOff val="60000"/>
              </a:schemeClr>
            </a:solidFill>
          </p:grpSpPr>
          <p:sp>
            <p:nvSpPr>
              <p:cNvPr id="81" name="Oval 80"/>
              <p:cNvSpPr/>
              <p:nvPr/>
            </p:nvSpPr>
            <p:spPr>
              <a:xfrm>
                <a:off x="468086" y="2406098"/>
                <a:ext cx="1110063" cy="1019598"/>
              </a:xfrm>
              <a:prstGeom prst="ellipse">
                <a:avLst/>
              </a:prstGeom>
              <a:ln>
                <a:solidFill>
                  <a:srgbClr val="FF0000"/>
                </a:solidFill>
              </a:ln>
            </p:spPr>
            <p:style>
              <a:lnRef idx="0">
                <a:schemeClr val="accent5"/>
              </a:lnRef>
              <a:fillRef idx="3">
                <a:schemeClr val="accent5"/>
              </a:fillRef>
              <a:effectRef idx="3">
                <a:schemeClr val="accent5"/>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82" name="Rectangle 81"/>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83" name="Rectangle 82"/>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84" name="Rectangle 83"/>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85" name="Rectangle 84"/>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86" name="Curved Connector 85"/>
              <p:cNvCxnSpPr>
                <a:stCxn id="83" idx="3"/>
                <a:endCxn id="85"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87" name="Curved Connector 86"/>
              <p:cNvCxnSpPr>
                <a:endCxn id="82"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8" name="Curved Connector 87"/>
              <p:cNvCxnSpPr>
                <a:stCxn id="83" idx="3"/>
                <a:endCxn id="84"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107" name="Group 106"/>
            <p:cNvGrpSpPr/>
            <p:nvPr/>
          </p:nvGrpSpPr>
          <p:grpSpPr>
            <a:xfrm>
              <a:off x="6908281" y="6158368"/>
              <a:ext cx="1571969" cy="1371600"/>
              <a:chOff x="468086" y="2406098"/>
              <a:chExt cx="1110063" cy="1019598"/>
            </a:xfrm>
            <a:solidFill>
              <a:schemeClr val="accent1">
                <a:lumMod val="40000"/>
                <a:lumOff val="60000"/>
              </a:schemeClr>
            </a:solidFill>
          </p:grpSpPr>
          <p:sp>
            <p:nvSpPr>
              <p:cNvPr id="108" name="Oval 107"/>
              <p:cNvSpPr/>
              <p:nvPr/>
            </p:nvSpPr>
            <p:spPr>
              <a:xfrm>
                <a:off x="468086" y="2406098"/>
                <a:ext cx="1110063" cy="1019598"/>
              </a:xfrm>
              <a:prstGeom prst="ellipse">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109" name="Rectangle 108"/>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10" name="Rectangle 109"/>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11" name="Rectangle 110"/>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12" name="Rectangle 111"/>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113" name="Curved Connector 112"/>
              <p:cNvCxnSpPr>
                <a:stCxn id="110" idx="3"/>
                <a:endCxn id="112"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114" name="Curved Connector 113"/>
              <p:cNvCxnSpPr>
                <a:endCxn id="109"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5" name="Curved Connector 114"/>
              <p:cNvCxnSpPr>
                <a:stCxn id="110" idx="3"/>
                <a:endCxn id="111"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cxnSp>
          <p:nvCxnSpPr>
            <p:cNvPr id="5" name="Straight Arrow Connector 4"/>
            <p:cNvCxnSpPr/>
            <p:nvPr/>
          </p:nvCxnSpPr>
          <p:spPr>
            <a:xfrm>
              <a:off x="1902333" y="6288093"/>
              <a:ext cx="1147393" cy="682055"/>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00" name="TextBox 199"/>
            <p:cNvSpPr txBox="1"/>
            <p:nvPr/>
          </p:nvSpPr>
          <p:spPr>
            <a:xfrm>
              <a:off x="706604" y="5222428"/>
              <a:ext cx="2096490" cy="1169550"/>
            </a:xfrm>
            <a:prstGeom prst="rect">
              <a:avLst/>
            </a:prstGeom>
            <a:noFill/>
          </p:spPr>
          <p:txBody>
            <a:bodyPr wrap="square" rtlCol="0">
              <a:spAutoFit/>
            </a:bodyPr>
            <a:lstStyle/>
            <a:p>
              <a:pPr algn="ct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Writes/</a:t>
              </a:r>
            </a:p>
            <a:p>
              <a:pPr algn="ct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cxnSp>
          <p:nvCxnSpPr>
            <p:cNvPr id="213" name="Straight Arrow Connector 212"/>
            <p:cNvCxnSpPr/>
            <p:nvPr/>
          </p:nvCxnSpPr>
          <p:spPr>
            <a:xfrm flipH="1">
              <a:off x="8567406" y="6217446"/>
              <a:ext cx="1073115" cy="212123"/>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35" name="Straight Arrow Connector 234"/>
            <p:cNvCxnSpPr>
              <a:stCxn id="233" idx="2"/>
            </p:cNvCxnSpPr>
            <p:nvPr/>
          </p:nvCxnSpPr>
          <p:spPr>
            <a:xfrm flipH="1">
              <a:off x="4419837" y="4007074"/>
              <a:ext cx="1350896" cy="1647428"/>
            </a:xfrm>
            <a:prstGeom prst="straightConnector1">
              <a:avLst/>
            </a:prstGeom>
            <a:ln w="19050">
              <a:solidFill>
                <a:srgbClr val="FFFF00"/>
              </a:solidFill>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39" name="Straight Arrow Connector 238"/>
            <p:cNvCxnSpPr>
              <a:stCxn id="233" idx="2"/>
            </p:cNvCxnSpPr>
            <p:nvPr/>
          </p:nvCxnSpPr>
          <p:spPr>
            <a:xfrm>
              <a:off x="5770733" y="4007074"/>
              <a:ext cx="1886003" cy="1691169"/>
            </a:xfrm>
            <a:prstGeom prst="straightConnector1">
              <a:avLst/>
            </a:prstGeom>
            <a:ln w="19050">
              <a:solidFill>
                <a:srgbClr val="FFFF00"/>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51" name="TextBox 250"/>
            <p:cNvSpPr txBox="1"/>
            <p:nvPr/>
          </p:nvSpPr>
          <p:spPr>
            <a:xfrm>
              <a:off x="9184125" y="5427378"/>
              <a:ext cx="2312688" cy="1169550"/>
            </a:xfrm>
            <a:prstGeom prst="rect">
              <a:avLst/>
            </a:prstGeom>
            <a:noFill/>
          </p:spPr>
          <p:txBody>
            <a:bodyPr wrap="square" rtlCol="0">
              <a:spAutoFit/>
            </a:bodyPr>
            <a:lstStyle/>
            <a:p>
              <a:pPr algn="ct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Writes/</a:t>
              </a:r>
            </a:p>
            <a:p>
              <a:pPr algn="ct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sp>
          <p:nvSpPr>
            <p:cNvPr id="253" name="TextBox 252"/>
            <p:cNvSpPr txBox="1"/>
            <p:nvPr/>
          </p:nvSpPr>
          <p:spPr>
            <a:xfrm>
              <a:off x="2191062" y="9761486"/>
              <a:ext cx="3664894" cy="1169550"/>
            </a:xfrm>
            <a:prstGeom prst="rect">
              <a:avLst/>
            </a:prstGeom>
            <a:noFill/>
          </p:spPr>
          <p:txBody>
            <a:bodyPr wrap="square" rtlCol="0">
              <a:spAutoFit/>
            </a:bodyPr>
            <a:lstStyle/>
            <a:p>
              <a:pPr algn="ct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10K transactions/sec</a:t>
              </a:r>
            </a:p>
          </p:txBody>
        </p:sp>
        <p:sp>
          <p:nvSpPr>
            <p:cNvPr id="254" name="TextBox 253"/>
            <p:cNvSpPr txBox="1"/>
            <p:nvPr/>
          </p:nvSpPr>
          <p:spPr>
            <a:xfrm>
              <a:off x="5962454" y="9761486"/>
              <a:ext cx="3664894" cy="1169550"/>
            </a:xfrm>
            <a:prstGeom prst="rect">
              <a:avLst/>
            </a:prstGeom>
            <a:noFill/>
          </p:spPr>
          <p:txBody>
            <a:bodyPr wrap="square" rtlCol="0">
              <a:spAutoFit/>
            </a:bodyPr>
            <a:lstStyle/>
            <a:p>
              <a:pPr algn="ct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10K transactions/sec</a:t>
              </a:r>
            </a:p>
          </p:txBody>
        </p:sp>
        <p:sp>
          <p:nvSpPr>
            <p:cNvPr id="256" name="Rectangle 255"/>
            <p:cNvSpPr/>
            <p:nvPr/>
          </p:nvSpPr>
          <p:spPr>
            <a:xfrm>
              <a:off x="386878" y="7795285"/>
              <a:ext cx="1676400" cy="762000"/>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400" b="1" dirty="0">
                  <a:solidFill>
                    <a:prstClr val="white"/>
                  </a:solidFill>
                  <a:latin typeface="Segoe UI Light" panose="020B0502040204020203" pitchFamily="34" charset="0"/>
                  <a:cs typeface="Segoe UI Light" panose="020B0502040204020203" pitchFamily="34" charset="0"/>
                  <a:sym typeface="Gill Sans" charset="0"/>
                </a:rPr>
                <a:t>"airport"</a:t>
              </a:r>
              <a:endParaRPr lang="en-US" sz="1400" dirty="0">
                <a:solidFill>
                  <a:prstClr val="white"/>
                </a:solidFill>
                <a:latin typeface="Calibri" panose="020F0502020204030204"/>
                <a:sym typeface="Gill Sans" charset="0"/>
              </a:endParaRPr>
            </a:p>
          </p:txBody>
        </p:sp>
        <p:sp>
          <p:nvSpPr>
            <p:cNvPr id="257" name="Rectangle 256"/>
            <p:cNvSpPr/>
            <p:nvPr/>
          </p:nvSpPr>
          <p:spPr>
            <a:xfrm>
              <a:off x="2063278" y="7795285"/>
              <a:ext cx="1676400" cy="762000"/>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400" b="1" dirty="0">
                  <a:solidFill>
                    <a:prstClr val="white"/>
                  </a:solidFill>
                  <a:latin typeface="Segoe UI Light" panose="020B0502040204020203" pitchFamily="34" charset="0"/>
                  <a:cs typeface="Segoe UI Light" panose="020B0502040204020203" pitchFamily="34" charset="0"/>
                  <a:sym typeface="Gill Sans" charset="0"/>
                </a:rPr>
                <a:t>“AMS"</a:t>
              </a:r>
              <a:endParaRPr lang="en-US" sz="1400" dirty="0">
                <a:solidFill>
                  <a:prstClr val="white"/>
                </a:solidFill>
                <a:latin typeface="Calibri" panose="020F0502020204030204"/>
                <a:sym typeface="Gill Sans" charset="0"/>
              </a:endParaRPr>
            </a:p>
          </p:txBody>
        </p:sp>
        <p:cxnSp>
          <p:nvCxnSpPr>
            <p:cNvPr id="261" name="Curved Connector 260"/>
            <p:cNvCxnSpPr>
              <a:stCxn id="83" idx="2"/>
              <a:endCxn id="256" idx="0"/>
            </p:cNvCxnSpPr>
            <p:nvPr/>
          </p:nvCxnSpPr>
          <p:spPr>
            <a:xfrm rot="5400000">
              <a:off x="1975710" y="6291631"/>
              <a:ext cx="753022" cy="2254286"/>
            </a:xfrm>
            <a:prstGeom prst="curvedConnector3">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62" name="Rectangle 261"/>
            <p:cNvSpPr/>
            <p:nvPr/>
          </p:nvSpPr>
          <p:spPr>
            <a:xfrm>
              <a:off x="8450146" y="7656838"/>
              <a:ext cx="1676400" cy="762000"/>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400" b="1" dirty="0">
                  <a:solidFill>
                    <a:prstClr val="white"/>
                  </a:solidFill>
                  <a:latin typeface="Segoe UI Light" panose="020B0502040204020203" pitchFamily="34" charset="0"/>
                  <a:cs typeface="Segoe UI Light" panose="020B0502040204020203" pitchFamily="34" charset="0"/>
                  <a:sym typeface="Gill Sans" charset="0"/>
                </a:rPr>
                <a:t>"airport"</a:t>
              </a:r>
              <a:endParaRPr lang="en-US" sz="1400" dirty="0">
                <a:solidFill>
                  <a:prstClr val="white"/>
                </a:solidFill>
                <a:latin typeface="Calibri" panose="020F0502020204030204"/>
                <a:sym typeface="Gill Sans" charset="0"/>
              </a:endParaRPr>
            </a:p>
          </p:txBody>
        </p:sp>
        <p:sp>
          <p:nvSpPr>
            <p:cNvPr id="263" name="Rectangle 262"/>
            <p:cNvSpPr/>
            <p:nvPr/>
          </p:nvSpPr>
          <p:spPr>
            <a:xfrm>
              <a:off x="10126546" y="7656838"/>
              <a:ext cx="1676400" cy="762000"/>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400" b="1" dirty="0">
                  <a:solidFill>
                    <a:prstClr val="white"/>
                  </a:solidFill>
                  <a:latin typeface="Segoe UI Light" panose="020B0502040204020203" pitchFamily="34" charset="0"/>
                  <a:cs typeface="Segoe UI Light" panose="020B0502040204020203" pitchFamily="34" charset="0"/>
                  <a:sym typeface="Gill Sans" charset="0"/>
                </a:rPr>
                <a:t>“LAX"</a:t>
              </a:r>
              <a:endParaRPr lang="en-US" sz="1400" dirty="0">
                <a:solidFill>
                  <a:prstClr val="white"/>
                </a:solidFill>
                <a:latin typeface="Calibri" panose="020F0502020204030204"/>
                <a:sym typeface="Gill Sans" charset="0"/>
              </a:endParaRPr>
            </a:p>
          </p:txBody>
        </p:sp>
        <p:cxnSp>
          <p:nvCxnSpPr>
            <p:cNvPr id="264" name="Curved Connector 263"/>
            <p:cNvCxnSpPr>
              <a:endCxn id="262" idx="0"/>
            </p:cNvCxnSpPr>
            <p:nvPr/>
          </p:nvCxnSpPr>
          <p:spPr>
            <a:xfrm>
              <a:off x="7998524" y="6649663"/>
              <a:ext cx="1289822" cy="1007175"/>
            </a:xfrm>
            <a:prstGeom prst="curvedConnector2">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66" name="Rectangle 265"/>
            <p:cNvSpPr/>
            <p:nvPr/>
          </p:nvSpPr>
          <p:spPr>
            <a:xfrm>
              <a:off x="8443992" y="8460238"/>
              <a:ext cx="1676400" cy="762000"/>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400" b="1" dirty="0">
                  <a:solidFill>
                    <a:prstClr val="white"/>
                  </a:solidFill>
                  <a:latin typeface="Segoe UI Light" panose="020B0502040204020203" pitchFamily="34" charset="0"/>
                  <a:cs typeface="Segoe UI Light" panose="020B0502040204020203" pitchFamily="34" charset="0"/>
                  <a:sym typeface="Gill Sans" charset="0"/>
                </a:rPr>
                <a:t>"airport"</a:t>
              </a:r>
              <a:endParaRPr lang="en-US" sz="1400" dirty="0">
                <a:solidFill>
                  <a:prstClr val="white"/>
                </a:solidFill>
                <a:latin typeface="Calibri" panose="020F0502020204030204"/>
                <a:sym typeface="Gill Sans" charset="0"/>
              </a:endParaRPr>
            </a:p>
          </p:txBody>
        </p:sp>
        <p:sp>
          <p:nvSpPr>
            <p:cNvPr id="267" name="Rectangle 266"/>
            <p:cNvSpPr/>
            <p:nvPr/>
          </p:nvSpPr>
          <p:spPr>
            <a:xfrm>
              <a:off x="10126546" y="8444863"/>
              <a:ext cx="1676400" cy="762000"/>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400" b="1" dirty="0">
                  <a:solidFill>
                    <a:prstClr val="white"/>
                  </a:solidFill>
                  <a:latin typeface="Segoe UI Light" panose="020B0502040204020203" pitchFamily="34" charset="0"/>
                  <a:cs typeface="Segoe UI Light" panose="020B0502040204020203" pitchFamily="34" charset="0"/>
                  <a:sym typeface="Gill Sans" charset="0"/>
                </a:rPr>
                <a:t>“MEL"</a:t>
              </a:r>
              <a:endParaRPr lang="en-US" sz="1400" dirty="0">
                <a:solidFill>
                  <a:prstClr val="white"/>
                </a:solidFill>
                <a:latin typeface="Calibri" panose="020F0502020204030204"/>
                <a:sym typeface="Gill Sans" charset="0"/>
              </a:endParaRPr>
            </a:p>
          </p:txBody>
        </p:sp>
        <p:cxnSp>
          <p:nvCxnSpPr>
            <p:cNvPr id="312" name="Straight Arrow Connector 311"/>
            <p:cNvCxnSpPr/>
            <p:nvPr/>
          </p:nvCxnSpPr>
          <p:spPr>
            <a:xfrm>
              <a:off x="421125" y="11813102"/>
              <a:ext cx="12858050" cy="30780"/>
            </a:xfrm>
            <a:prstGeom prst="straightConnector1">
              <a:avLst/>
            </a:prstGeom>
            <a:ln w="57150">
              <a:headEnd type="none" w="med" len="med"/>
              <a:tailEnd type="triangle" w="med" len="med"/>
            </a:ln>
          </p:spPr>
          <p:style>
            <a:lnRef idx="3">
              <a:schemeClr val="accent1"/>
            </a:lnRef>
            <a:fillRef idx="0">
              <a:schemeClr val="accent1"/>
            </a:fillRef>
            <a:effectRef idx="2">
              <a:schemeClr val="accent1"/>
            </a:effectRef>
            <a:fontRef idx="minor">
              <a:schemeClr val="tx1"/>
            </a:fontRef>
          </p:style>
        </p:cxnSp>
        <p:sp>
          <p:nvSpPr>
            <p:cNvPr id="315" name="TextBox 314"/>
            <p:cNvSpPr txBox="1"/>
            <p:nvPr/>
          </p:nvSpPr>
          <p:spPr>
            <a:xfrm>
              <a:off x="2335134" y="12013014"/>
              <a:ext cx="10636779" cy="677108"/>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Local Distribution (via horizontal partitioning) </a:t>
              </a:r>
            </a:p>
          </p:txBody>
        </p:sp>
        <p:sp>
          <p:nvSpPr>
            <p:cNvPr id="316" name="Right Brace 315"/>
            <p:cNvSpPr/>
            <p:nvPr/>
          </p:nvSpPr>
          <p:spPr>
            <a:xfrm rot="5400000">
              <a:off x="5743650" y="6955736"/>
              <a:ext cx="541459" cy="7646640"/>
            </a:xfrm>
            <a:prstGeom prst="rightBrace">
              <a:avLst/>
            </a:prstGeom>
            <a:noFill/>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317" name="TextBox 316"/>
            <p:cNvSpPr txBox="1"/>
            <p:nvPr/>
          </p:nvSpPr>
          <p:spPr>
            <a:xfrm>
              <a:off x="3650406" y="10924232"/>
              <a:ext cx="4753868" cy="677108"/>
            </a:xfrm>
            <a:prstGeom prst="rect">
              <a:avLst/>
            </a:prstGeom>
            <a:noFill/>
          </p:spPr>
          <p:txBody>
            <a:bodyPr wrap="square" rtlCol="0">
              <a:spAutoFit/>
            </a:bodyPr>
            <a:lstStyle/>
            <a:p>
              <a:pPr algn="ct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20K transactions/sec</a:t>
              </a:r>
            </a:p>
          </p:txBody>
        </p:sp>
      </p:grpSp>
      <p:sp>
        <p:nvSpPr>
          <p:cNvPr id="93" name="TextBox 92"/>
          <p:cNvSpPr txBox="1"/>
          <p:nvPr/>
        </p:nvSpPr>
        <p:spPr>
          <a:xfrm>
            <a:off x="6941917" y="4237773"/>
            <a:ext cx="5007718" cy="2246769"/>
          </a:xfrm>
          <a:prstGeom prst="rect">
            <a:avLst/>
          </a:prstGeom>
          <a:noFill/>
        </p:spPr>
        <p:txBody>
          <a:bodyPr wrap="square" rtlCol="0">
            <a:spAutoFit/>
          </a:bodyPr>
          <a:lstStyle/>
          <a:p>
            <a:pPr marL="228600" indent="-228600" defTabSz="457200" fontAlgn="base">
              <a:spcBef>
                <a:spcPct val="0"/>
              </a:spcBef>
              <a:spcAft>
                <a:spcPct val="0"/>
              </a:spcAft>
              <a:buFont typeface="Arial" panose="020B0604020202020204" pitchFamily="34" charset="0"/>
              <a:buChar char="•"/>
            </a:pPr>
            <a:r>
              <a:rPr lang="en-US" sz="20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Customers specify partition key on their container</a:t>
            </a:r>
          </a:p>
          <a:p>
            <a:pPr marL="228600" indent="-228600" defTabSz="457200" fontAlgn="base">
              <a:spcBef>
                <a:spcPct val="0"/>
              </a:spcBef>
              <a:spcAft>
                <a:spcPct val="0"/>
              </a:spcAft>
              <a:buFont typeface="Arial" panose="020B0604020202020204" pitchFamily="34" charset="0"/>
              <a:buChar char="•"/>
            </a:pPr>
            <a:r>
              <a:rPr lang="en-US" sz="20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System transparently partitions the container</a:t>
            </a:r>
          </a:p>
          <a:p>
            <a:pPr marL="228600" indent="-228600" defTabSz="457200" fontAlgn="base">
              <a:spcBef>
                <a:spcPct val="0"/>
              </a:spcBef>
              <a:spcAft>
                <a:spcPct val="0"/>
              </a:spcAft>
              <a:buFont typeface="Arial" panose="020B0604020202020204" pitchFamily="34" charset="0"/>
              <a:buChar char="•"/>
            </a:pPr>
            <a:r>
              <a:rPr lang="en-US" sz="20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Independent scale out for storage and throughput</a:t>
            </a:r>
          </a:p>
          <a:p>
            <a:pPr marL="228600" indent="-228600" defTabSz="457200" fontAlgn="base">
              <a:spcBef>
                <a:spcPct val="0"/>
              </a:spcBef>
              <a:spcAft>
                <a:spcPct val="0"/>
              </a:spcAft>
              <a:buFont typeface="Arial" panose="020B0604020202020204" pitchFamily="34" charset="0"/>
              <a:buChar char="•"/>
            </a:pPr>
            <a:r>
              <a:rPr lang="en-US" sz="20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Consistent routing</a:t>
            </a:r>
          </a:p>
        </p:txBody>
      </p:sp>
    </p:spTree>
    <p:custDataLst>
      <p:tags r:id="rId1"/>
    </p:custDataLst>
    <p:extLst>
      <p:ext uri="{BB962C8B-B14F-4D97-AF65-F5344CB8AC3E}">
        <p14:creationId xmlns:p14="http://schemas.microsoft.com/office/powerpoint/2010/main" val="199230286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218" name="TextBox 217"/>
          <p:cNvSpPr txBox="1"/>
          <p:nvPr/>
        </p:nvSpPr>
        <p:spPr>
          <a:xfrm>
            <a:off x="2736395" y="2081464"/>
            <a:ext cx="2602261" cy="369332"/>
          </a:xfrm>
          <a:prstGeom prst="rect">
            <a:avLst/>
          </a:prstGeom>
          <a:noFill/>
        </p:spPr>
        <p:txBody>
          <a:bodyPr wrap="square" rtlCol="0">
            <a:spAutoFit/>
          </a:bodyPr>
          <a:lstStyle/>
          <a:p>
            <a:pPr defTabSz="457200" fontAlgn="base">
              <a:spcBef>
                <a:spcPct val="0"/>
              </a:spcBef>
              <a:spcAft>
                <a:spcPct val="0"/>
              </a:spcAft>
            </a:pPr>
            <a:r>
              <a:rPr lang="en-US" b="1" dirty="0" err="1">
                <a:solidFill>
                  <a:prstClr val="white"/>
                </a:solidFill>
                <a:latin typeface="Segoe UI Light" panose="020B0502040204020203" pitchFamily="34" charset="0"/>
                <a:ea typeface="Heiti SC Light" charset="-122"/>
                <a:cs typeface="Segoe UI Light" panose="020B0502040204020203" pitchFamily="34" charset="0"/>
                <a:sym typeface="Gill Sans" charset="0"/>
              </a:rPr>
              <a:t>PartitionKey</a:t>
            </a:r>
            <a:r>
              <a:rPr lang="en-US" b="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 = "airport"</a:t>
            </a:r>
          </a:p>
        </p:txBody>
      </p:sp>
      <p:sp>
        <p:nvSpPr>
          <p:cNvPr id="161" name="Rectangle 160"/>
          <p:cNvSpPr/>
          <p:nvPr/>
        </p:nvSpPr>
        <p:spPr>
          <a:xfrm>
            <a:off x="3232853" y="3148070"/>
            <a:ext cx="1235470" cy="1957331"/>
          </a:xfrm>
          <a:prstGeom prst="rect">
            <a:avLst/>
          </a:prstGeom>
          <a:solidFill>
            <a:schemeClr val="accent6">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sp>
        <p:nvSpPr>
          <p:cNvPr id="3" name="Rectangle 2"/>
          <p:cNvSpPr/>
          <p:nvPr/>
        </p:nvSpPr>
        <p:spPr>
          <a:xfrm>
            <a:off x="1407127" y="3162300"/>
            <a:ext cx="1235470" cy="1943100"/>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sp>
        <p:nvSpPr>
          <p:cNvPr id="57" name="Title 1"/>
          <p:cNvSpPr txBox="1">
            <a:spLocks/>
          </p:cNvSpPr>
          <p:nvPr/>
        </p:nvSpPr>
        <p:spPr>
          <a:xfrm>
            <a:off x="120117" y="337960"/>
            <a:ext cx="11298954" cy="574378"/>
          </a:xfrm>
          <a:prstGeom prst="rect">
            <a:avLst/>
          </a:prstGeom>
        </p:spPr>
        <p:txBody>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pPr defTabSz="1243478"/>
            <a:r>
              <a:rPr lang="en-US" sz="4000" dirty="0">
                <a:solidFill>
                  <a:prstClr val="white"/>
                </a:solidFill>
                <a:latin typeface="Segoe UI Light" panose="020B0502040204020203" pitchFamily="34" charset="0"/>
                <a:cs typeface="Segoe UI Light" panose="020B0502040204020203" pitchFamily="34" charset="0"/>
                <a:sym typeface="Gill Sans" charset="0"/>
              </a:rPr>
              <a:t>Responsive partition management operations</a:t>
            </a:r>
          </a:p>
        </p:txBody>
      </p:sp>
      <p:grpSp>
        <p:nvGrpSpPr>
          <p:cNvPr id="80" name="Group 79"/>
          <p:cNvGrpSpPr/>
          <p:nvPr/>
        </p:nvGrpSpPr>
        <p:grpSpPr>
          <a:xfrm>
            <a:off x="1630695" y="3356199"/>
            <a:ext cx="785985" cy="685800"/>
            <a:chOff x="468086" y="2406098"/>
            <a:chExt cx="1110063" cy="1019598"/>
          </a:xfrm>
          <a:solidFill>
            <a:schemeClr val="accent1">
              <a:lumMod val="40000"/>
              <a:lumOff val="60000"/>
            </a:schemeClr>
          </a:solidFill>
        </p:grpSpPr>
        <p:sp>
          <p:nvSpPr>
            <p:cNvPr id="81" name="Oval 80"/>
            <p:cNvSpPr/>
            <p:nvPr/>
          </p:nvSpPr>
          <p:spPr>
            <a:xfrm>
              <a:off x="468086" y="2406098"/>
              <a:ext cx="1110063" cy="1019598"/>
            </a:xfrm>
            <a:prstGeom prst="ellipse">
              <a:avLst/>
            </a:prstGeom>
            <a:ln>
              <a:solidFill>
                <a:srgbClr val="FF0000"/>
              </a:solidFill>
            </a:ln>
          </p:spPr>
          <p:style>
            <a:lnRef idx="0">
              <a:schemeClr val="accent5"/>
            </a:lnRef>
            <a:fillRef idx="3">
              <a:schemeClr val="accent5"/>
            </a:fillRef>
            <a:effectRef idx="3">
              <a:schemeClr val="accent5"/>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82" name="Rectangle 81"/>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83" name="Rectangle 82"/>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84" name="Rectangle 83"/>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85" name="Rectangle 84"/>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86" name="Curved Connector 85"/>
            <p:cNvCxnSpPr>
              <a:stCxn id="83" idx="3"/>
              <a:endCxn id="85"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87" name="Curved Connector 86"/>
            <p:cNvCxnSpPr>
              <a:endCxn id="82"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8" name="Curved Connector 87"/>
            <p:cNvCxnSpPr>
              <a:stCxn id="83" idx="3"/>
              <a:endCxn id="84"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107" name="Group 106"/>
          <p:cNvGrpSpPr/>
          <p:nvPr/>
        </p:nvGrpSpPr>
        <p:grpSpPr>
          <a:xfrm>
            <a:off x="3454141" y="3307784"/>
            <a:ext cx="785985" cy="685800"/>
            <a:chOff x="468086" y="2406098"/>
            <a:chExt cx="1110063" cy="1019598"/>
          </a:xfrm>
          <a:solidFill>
            <a:schemeClr val="accent1">
              <a:lumMod val="40000"/>
              <a:lumOff val="60000"/>
            </a:schemeClr>
          </a:solidFill>
        </p:grpSpPr>
        <p:sp>
          <p:nvSpPr>
            <p:cNvPr id="108" name="Oval 107"/>
            <p:cNvSpPr/>
            <p:nvPr/>
          </p:nvSpPr>
          <p:spPr>
            <a:xfrm>
              <a:off x="468086" y="2406098"/>
              <a:ext cx="1110063" cy="1019598"/>
            </a:xfrm>
            <a:prstGeom prst="ellipse">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109" name="Rectangle 108"/>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10" name="Rectangle 109"/>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11" name="Rectangle 110"/>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12" name="Rectangle 111"/>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113" name="Curved Connector 112"/>
            <p:cNvCxnSpPr>
              <a:stCxn id="110" idx="3"/>
              <a:endCxn id="112"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114" name="Curved Connector 113"/>
            <p:cNvCxnSpPr>
              <a:endCxn id="109"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5" name="Curved Connector 114"/>
            <p:cNvCxnSpPr>
              <a:stCxn id="110" idx="3"/>
              <a:endCxn id="111"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cxnSp>
        <p:nvCxnSpPr>
          <p:cNvPr id="5" name="Straight Arrow Connector 4"/>
          <p:cNvCxnSpPr/>
          <p:nvPr/>
        </p:nvCxnSpPr>
        <p:spPr>
          <a:xfrm>
            <a:off x="951167" y="3372647"/>
            <a:ext cx="573697" cy="341028"/>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00" name="TextBox 199"/>
          <p:cNvSpPr txBox="1"/>
          <p:nvPr/>
        </p:nvSpPr>
        <p:spPr>
          <a:xfrm>
            <a:off x="357955" y="2808520"/>
            <a:ext cx="1040205" cy="584775"/>
          </a:xfrm>
          <a:prstGeom prst="rect">
            <a:avLst/>
          </a:prstGeom>
          <a:noFill/>
        </p:spPr>
        <p:txBody>
          <a:bodyPr wrap="square" rtlCol="0">
            <a:spAutoFit/>
          </a:bodyPr>
          <a:lstStyle/>
          <a:p>
            <a:pPr algn="ct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Writes/</a:t>
            </a:r>
          </a:p>
          <a:p>
            <a:pPr algn="ct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cxnSp>
        <p:nvCxnSpPr>
          <p:cNvPr id="213" name="Straight Arrow Connector 212"/>
          <p:cNvCxnSpPr/>
          <p:nvPr/>
        </p:nvCxnSpPr>
        <p:spPr>
          <a:xfrm>
            <a:off x="3352517" y="3189068"/>
            <a:ext cx="56101" cy="212725"/>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33" name="Flowchart: Document 232"/>
          <p:cNvSpPr/>
          <p:nvPr/>
        </p:nvSpPr>
        <p:spPr>
          <a:xfrm>
            <a:off x="3200413" y="1401378"/>
            <a:ext cx="1137548" cy="508904"/>
          </a:xfrm>
          <a:prstGeom prst="flowChartDocument">
            <a:avLst/>
          </a:prstGeom>
          <a:solidFill>
            <a:schemeClr val="accent5">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dirty="0">
                <a:solidFill>
                  <a:srgbClr val="FFFF00"/>
                </a:solidFill>
                <a:latin typeface="Segoe UI Light" panose="020B0502040204020203" pitchFamily="34" charset="0"/>
                <a:cs typeface="Segoe UI Light" panose="020B0502040204020203" pitchFamily="34" charset="0"/>
                <a:sym typeface="Gill Sans" charset="0"/>
              </a:rPr>
              <a:t>Container</a:t>
            </a:r>
          </a:p>
        </p:txBody>
      </p:sp>
      <p:cxnSp>
        <p:nvCxnSpPr>
          <p:cNvPr id="235" name="Straight Arrow Connector 234"/>
          <p:cNvCxnSpPr>
            <a:stCxn id="233" idx="2"/>
          </p:cNvCxnSpPr>
          <p:nvPr/>
        </p:nvCxnSpPr>
        <p:spPr>
          <a:xfrm flipH="1">
            <a:off x="2038389" y="1876638"/>
            <a:ext cx="1730798" cy="1094345"/>
          </a:xfrm>
          <a:prstGeom prst="straightConnector1">
            <a:avLst/>
          </a:prstGeom>
          <a:ln w="19050">
            <a:solidFill>
              <a:srgbClr val="FFFF00"/>
            </a:solidFill>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39" name="Straight Arrow Connector 238"/>
          <p:cNvCxnSpPr>
            <a:stCxn id="233" idx="2"/>
          </p:cNvCxnSpPr>
          <p:nvPr/>
        </p:nvCxnSpPr>
        <p:spPr>
          <a:xfrm>
            <a:off x="3769187" y="1876638"/>
            <a:ext cx="42705" cy="1056043"/>
          </a:xfrm>
          <a:prstGeom prst="straightConnector1">
            <a:avLst/>
          </a:prstGeom>
          <a:ln w="19050">
            <a:solidFill>
              <a:srgbClr val="FFFF00"/>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51" name="TextBox 250"/>
          <p:cNvSpPr txBox="1"/>
          <p:nvPr/>
        </p:nvSpPr>
        <p:spPr>
          <a:xfrm>
            <a:off x="2611280" y="2855685"/>
            <a:ext cx="917654" cy="584775"/>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Writes/</a:t>
            </a:r>
          </a:p>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sp>
        <p:nvSpPr>
          <p:cNvPr id="253" name="TextBox 252"/>
          <p:cNvSpPr txBox="1"/>
          <p:nvPr/>
        </p:nvSpPr>
        <p:spPr>
          <a:xfrm>
            <a:off x="1095531" y="5109343"/>
            <a:ext cx="1832447" cy="307777"/>
          </a:xfrm>
          <a:prstGeom prst="rect">
            <a:avLst/>
          </a:prstGeom>
          <a:noFill/>
        </p:spPr>
        <p:txBody>
          <a:bodyPr wrap="square" rtlCol="0">
            <a:spAutoFit/>
          </a:bodyPr>
          <a:lstStyle/>
          <a:p>
            <a:pPr algn="ctr" defTabSz="457200" fontAlgn="base">
              <a:spcBef>
                <a:spcPct val="0"/>
              </a:spcBef>
              <a:spcAft>
                <a:spcPct val="0"/>
              </a:spcAft>
            </a:pPr>
            <a:r>
              <a:rPr lang="en-US" sz="14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10K transactions/sec</a:t>
            </a:r>
          </a:p>
        </p:txBody>
      </p:sp>
      <p:sp>
        <p:nvSpPr>
          <p:cNvPr id="254" name="TextBox 253"/>
          <p:cNvSpPr txBox="1"/>
          <p:nvPr/>
        </p:nvSpPr>
        <p:spPr>
          <a:xfrm>
            <a:off x="2981227" y="5109343"/>
            <a:ext cx="1832447" cy="307777"/>
          </a:xfrm>
          <a:prstGeom prst="rect">
            <a:avLst/>
          </a:prstGeom>
          <a:noFill/>
        </p:spPr>
        <p:txBody>
          <a:bodyPr wrap="square" rtlCol="0">
            <a:spAutoFit/>
          </a:bodyPr>
          <a:lstStyle/>
          <a:p>
            <a:pPr algn="ctr" defTabSz="457200" fontAlgn="base">
              <a:spcBef>
                <a:spcPct val="0"/>
              </a:spcBef>
              <a:spcAft>
                <a:spcPct val="0"/>
              </a:spcAft>
            </a:pPr>
            <a:r>
              <a:rPr lang="en-US" sz="14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10K transactions/sec</a:t>
            </a:r>
          </a:p>
        </p:txBody>
      </p:sp>
      <p:sp>
        <p:nvSpPr>
          <p:cNvPr id="256" name="Rectangle 255"/>
          <p:cNvSpPr/>
          <p:nvPr/>
        </p:nvSpPr>
        <p:spPr>
          <a:xfrm>
            <a:off x="212957" y="4126243"/>
            <a:ext cx="838200" cy="381000"/>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400" b="1" dirty="0">
                <a:solidFill>
                  <a:prstClr val="white"/>
                </a:solidFill>
                <a:latin typeface="Segoe UI Light" panose="020B0502040204020203" pitchFamily="34" charset="0"/>
                <a:cs typeface="Segoe UI Light" panose="020B0502040204020203" pitchFamily="34" charset="0"/>
                <a:sym typeface="Gill Sans" charset="0"/>
              </a:rPr>
              <a:t>"airport"</a:t>
            </a:r>
            <a:endParaRPr lang="en-US" sz="1400" dirty="0">
              <a:solidFill>
                <a:prstClr val="white"/>
              </a:solidFill>
              <a:latin typeface="Calibri" panose="020F0502020204030204"/>
              <a:sym typeface="Gill Sans" charset="0"/>
            </a:endParaRPr>
          </a:p>
        </p:txBody>
      </p:sp>
      <p:sp>
        <p:nvSpPr>
          <p:cNvPr id="257" name="Rectangle 256"/>
          <p:cNvSpPr/>
          <p:nvPr/>
        </p:nvSpPr>
        <p:spPr>
          <a:xfrm>
            <a:off x="1051157" y="4126243"/>
            <a:ext cx="838200" cy="381000"/>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400" b="1" dirty="0">
                <a:solidFill>
                  <a:prstClr val="white"/>
                </a:solidFill>
                <a:latin typeface="Segoe UI Light" panose="020B0502040204020203" pitchFamily="34" charset="0"/>
                <a:cs typeface="Segoe UI Light" panose="020B0502040204020203" pitchFamily="34" charset="0"/>
                <a:sym typeface="Gill Sans" charset="0"/>
              </a:rPr>
              <a:t>“AMS"</a:t>
            </a:r>
            <a:endParaRPr lang="en-US" sz="1400" dirty="0">
              <a:solidFill>
                <a:prstClr val="white"/>
              </a:solidFill>
              <a:latin typeface="Calibri" panose="020F0502020204030204"/>
              <a:sym typeface="Gill Sans" charset="0"/>
            </a:endParaRPr>
          </a:p>
        </p:txBody>
      </p:sp>
      <p:cxnSp>
        <p:nvCxnSpPr>
          <p:cNvPr id="261" name="Curved Connector 260"/>
          <p:cNvCxnSpPr>
            <a:stCxn id="83" idx="2"/>
            <a:endCxn id="256" idx="0"/>
          </p:cNvCxnSpPr>
          <p:nvPr/>
        </p:nvCxnSpPr>
        <p:spPr>
          <a:xfrm rot="5400000">
            <a:off x="997614" y="3384175"/>
            <a:ext cx="376512" cy="1107625"/>
          </a:xfrm>
          <a:prstGeom prst="curvedConnector3">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62" name="Rectangle 261"/>
          <p:cNvSpPr/>
          <p:nvPr/>
        </p:nvSpPr>
        <p:spPr>
          <a:xfrm>
            <a:off x="2907807" y="4094054"/>
            <a:ext cx="838200" cy="381000"/>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400" b="1" dirty="0">
                <a:solidFill>
                  <a:prstClr val="white"/>
                </a:solidFill>
                <a:latin typeface="Segoe UI Light" panose="020B0502040204020203" pitchFamily="34" charset="0"/>
                <a:cs typeface="Segoe UI Light" panose="020B0502040204020203" pitchFamily="34" charset="0"/>
                <a:sym typeface="Gill Sans" charset="0"/>
              </a:rPr>
              <a:t>"airport"</a:t>
            </a:r>
            <a:endParaRPr lang="en-US" sz="1400" dirty="0">
              <a:solidFill>
                <a:prstClr val="white"/>
              </a:solidFill>
              <a:latin typeface="Calibri" panose="020F0502020204030204"/>
              <a:sym typeface="Gill Sans" charset="0"/>
            </a:endParaRPr>
          </a:p>
        </p:txBody>
      </p:sp>
      <p:sp>
        <p:nvSpPr>
          <p:cNvPr id="263" name="Rectangle 262"/>
          <p:cNvSpPr/>
          <p:nvPr/>
        </p:nvSpPr>
        <p:spPr>
          <a:xfrm>
            <a:off x="3746007" y="4094054"/>
            <a:ext cx="838200" cy="381000"/>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400" b="1" dirty="0">
                <a:solidFill>
                  <a:prstClr val="white"/>
                </a:solidFill>
                <a:latin typeface="Segoe UI Light" panose="020B0502040204020203" pitchFamily="34" charset="0"/>
                <a:cs typeface="Segoe UI Light" panose="020B0502040204020203" pitchFamily="34" charset="0"/>
                <a:sym typeface="Gill Sans" charset="0"/>
              </a:rPr>
              <a:t>“LAX"</a:t>
            </a:r>
            <a:endParaRPr lang="en-US" sz="1400" dirty="0">
              <a:solidFill>
                <a:prstClr val="white"/>
              </a:solidFill>
              <a:latin typeface="Calibri" panose="020F0502020204030204"/>
              <a:sym typeface="Gill Sans" charset="0"/>
            </a:endParaRPr>
          </a:p>
        </p:txBody>
      </p:sp>
      <p:cxnSp>
        <p:nvCxnSpPr>
          <p:cNvPr id="264" name="Curved Connector 263"/>
          <p:cNvCxnSpPr>
            <a:stCxn id="110" idx="1"/>
            <a:endCxn id="262" idx="0"/>
          </p:cNvCxnSpPr>
          <p:nvPr/>
        </p:nvCxnSpPr>
        <p:spPr>
          <a:xfrm rot="10800000" flipV="1">
            <a:off x="3326908" y="3625176"/>
            <a:ext cx="196667" cy="468877"/>
          </a:xfrm>
          <a:prstGeom prst="curvedConnector2">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70" name="Text Placeholder 1"/>
          <p:cNvSpPr txBox="1">
            <a:spLocks/>
          </p:cNvSpPr>
          <p:nvPr/>
        </p:nvSpPr>
        <p:spPr>
          <a:xfrm>
            <a:off x="7574922" y="1875143"/>
            <a:ext cx="4420621" cy="945570"/>
          </a:xfrm>
          <a:prstGeom prst="rect">
            <a:avLst/>
          </a:prstGeom>
          <a:solidFill>
            <a:srgbClr val="002060"/>
          </a:solidFill>
        </p:spPr>
        <p:txBody>
          <a:bodyPr/>
          <a:lstStyle>
            <a:lvl1pPr marL="457206" indent="-457206" algn="l" defTabSz="1828823"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17" indent="-457206" algn="l" defTabSz="1828823"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29" indent="-457206" algn="l" defTabSz="1828823"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40"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51"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63"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74"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86"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97"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indent="0" defTabSz="914412">
              <a:lnSpc>
                <a:spcPct val="100000"/>
              </a:lnSpc>
              <a:spcBef>
                <a:spcPts val="0"/>
              </a:spcBef>
              <a:buNone/>
            </a:pPr>
            <a:r>
              <a:rPr lang="en-US" sz="1400" dirty="0">
                <a:solidFill>
                  <a:prstClr val="white"/>
                </a:solidFill>
                <a:latin typeface="Lucida Console" panose="020B0609040504020204" pitchFamily="49" charset="0"/>
                <a:cs typeface="Segoe UI Light" panose="020B0502040204020203" pitchFamily="34" charset="0"/>
                <a:sym typeface="Gill Sans" charset="0"/>
              </a:rPr>
              <a:t>Table t = new Table (…);</a:t>
            </a:r>
          </a:p>
          <a:p>
            <a:pPr marL="0" indent="0" defTabSz="914412">
              <a:lnSpc>
                <a:spcPct val="100000"/>
              </a:lnSpc>
              <a:spcBef>
                <a:spcPts val="0"/>
              </a:spcBef>
              <a:buNone/>
            </a:pPr>
            <a:r>
              <a:rPr lang="en-US" sz="1400" dirty="0" err="1">
                <a:solidFill>
                  <a:prstClr val="white"/>
                </a:solidFill>
                <a:latin typeface="Lucida Console" panose="020B0609040504020204" pitchFamily="49" charset="0"/>
                <a:cs typeface="Segoe UI Light" panose="020B0502040204020203" pitchFamily="34" charset="0"/>
                <a:sym typeface="Gill Sans" charset="0"/>
              </a:rPr>
              <a:t>t.PartitionKey</a:t>
            </a:r>
            <a:r>
              <a:rPr lang="en-US" sz="1400" dirty="0">
                <a:solidFill>
                  <a:prstClr val="white"/>
                </a:solidFill>
                <a:latin typeface="Lucida Console" panose="020B0609040504020204" pitchFamily="49" charset="0"/>
                <a:cs typeface="Segoe UI Light" panose="020B0502040204020203" pitchFamily="34" charset="0"/>
                <a:sym typeface="Gill Sans" charset="0"/>
              </a:rPr>
              <a:t>="airport";</a:t>
            </a:r>
          </a:p>
          <a:p>
            <a:pPr marL="0" indent="0" defTabSz="914412">
              <a:lnSpc>
                <a:spcPct val="100000"/>
              </a:lnSpc>
              <a:spcBef>
                <a:spcPts val="0"/>
              </a:spcBef>
              <a:buNone/>
            </a:pPr>
            <a:r>
              <a:rPr lang="en-US" sz="1400" dirty="0">
                <a:solidFill>
                  <a:prstClr val="white"/>
                </a:solidFill>
                <a:latin typeface="Lucida Console" panose="020B0609040504020204" pitchFamily="49" charset="0"/>
                <a:cs typeface="Segoe UI Light" panose="020B0502040204020203" pitchFamily="34" charset="0"/>
                <a:sym typeface="Gill Sans" charset="0"/>
              </a:rPr>
              <a:t>...</a:t>
            </a:r>
          </a:p>
          <a:p>
            <a:pPr marL="0" indent="0" defTabSz="914412">
              <a:lnSpc>
                <a:spcPct val="100000"/>
              </a:lnSpc>
              <a:spcBef>
                <a:spcPts val="0"/>
              </a:spcBef>
              <a:buNone/>
            </a:pPr>
            <a:r>
              <a:rPr lang="en-US" sz="1400" dirty="0" err="1">
                <a:solidFill>
                  <a:srgbClr val="FFFF00"/>
                </a:solidFill>
                <a:latin typeface="Lucida Console" panose="020B0609040504020204" pitchFamily="49" charset="0"/>
                <a:cs typeface="Segoe UI Light" panose="020B0502040204020203" pitchFamily="34" charset="0"/>
                <a:sym typeface="Gill Sans" charset="0"/>
              </a:rPr>
              <a:t>t.Offer.Throughput</a:t>
            </a:r>
            <a:r>
              <a:rPr lang="en-US" sz="1400" dirty="0">
                <a:solidFill>
                  <a:srgbClr val="FFFF00"/>
                </a:solidFill>
                <a:latin typeface="Lucida Console" panose="020B0609040504020204" pitchFamily="49" charset="0"/>
                <a:cs typeface="Segoe UI Light" panose="020B0502040204020203" pitchFamily="34" charset="0"/>
                <a:sym typeface="Gill Sans" charset="0"/>
              </a:rPr>
              <a:t> = </a:t>
            </a:r>
            <a:r>
              <a:rPr lang="en-US" sz="1400" dirty="0">
                <a:solidFill>
                  <a:srgbClr val="FF0000"/>
                </a:solidFill>
                <a:latin typeface="Lucida Console" panose="020B0609040504020204" pitchFamily="49" charset="0"/>
                <a:cs typeface="Segoe UI Light" panose="020B0502040204020203" pitchFamily="34" charset="0"/>
                <a:sym typeface="Gill Sans" charset="0"/>
              </a:rPr>
              <a:t>30000</a:t>
            </a:r>
            <a:r>
              <a:rPr lang="en-US" sz="1400" dirty="0">
                <a:solidFill>
                  <a:srgbClr val="FFFF00"/>
                </a:solidFill>
                <a:latin typeface="Lucida Console" panose="020B0609040504020204" pitchFamily="49" charset="0"/>
                <a:cs typeface="Segoe UI Light" panose="020B0502040204020203" pitchFamily="34" charset="0"/>
                <a:sym typeface="Gill Sans" charset="0"/>
              </a:rPr>
              <a:t>;</a:t>
            </a:r>
            <a:endParaRPr lang="en-US" sz="1400" dirty="0">
              <a:solidFill>
                <a:srgbClr val="FFFF00"/>
              </a:solidFill>
              <a:latin typeface="Lucida Console" panose="020B0609040504020204" pitchFamily="49" charset="0"/>
              <a:sym typeface="Gill Sans" charset="0"/>
            </a:endParaRPr>
          </a:p>
          <a:p>
            <a:pPr marL="228603" indent="-228603" defTabSz="914412">
              <a:lnSpc>
                <a:spcPct val="100000"/>
              </a:lnSpc>
              <a:spcBef>
                <a:spcPts val="0"/>
              </a:spcBef>
              <a:spcAft>
                <a:spcPts val="1766"/>
              </a:spcAft>
            </a:pPr>
            <a:endParaRPr lang="en-US" sz="2000" dirty="0">
              <a:solidFill>
                <a:prstClr val="white"/>
              </a:solidFill>
              <a:latin typeface="Calibri" panose="020F0502020204030204"/>
              <a:cs typeface="Segoe UI Light" panose="020B0502040204020203" pitchFamily="34" charset="0"/>
              <a:sym typeface="Gill Sans" charset="0"/>
            </a:endParaRPr>
          </a:p>
        </p:txBody>
      </p:sp>
      <p:sp>
        <p:nvSpPr>
          <p:cNvPr id="116" name="Rectangle 115"/>
          <p:cNvSpPr/>
          <p:nvPr/>
        </p:nvSpPr>
        <p:spPr>
          <a:xfrm>
            <a:off x="5008274" y="3152416"/>
            <a:ext cx="1235470" cy="1957331"/>
          </a:xfrm>
          <a:prstGeom prst="rect">
            <a:avLst/>
          </a:prstGeom>
        </p:spPr>
        <p:style>
          <a:lnRef idx="1">
            <a:schemeClr val="dk1"/>
          </a:lnRef>
          <a:fillRef idx="2">
            <a:schemeClr val="dk1"/>
          </a:fillRef>
          <a:effectRef idx="1">
            <a:schemeClr val="dk1"/>
          </a:effectRef>
          <a:fontRef idx="minor">
            <a:schemeClr val="dk1"/>
          </a:fontRef>
        </p:style>
        <p:txBody>
          <a:bodyPr rtlCol="0" anchor="ctr"/>
          <a:lstStyle/>
          <a:p>
            <a:pPr algn="ctr" defTabSz="457200" fontAlgn="base">
              <a:spcBef>
                <a:spcPct val="0"/>
              </a:spcBef>
              <a:spcAft>
                <a:spcPct val="0"/>
              </a:spcAft>
            </a:pPr>
            <a:endParaRPr lang="en-US" sz="5600">
              <a:solidFill>
                <a:prstClr val="black"/>
              </a:solidFill>
              <a:latin typeface="Calibri" panose="020F0502020204030204"/>
              <a:sym typeface="Gill Sans" charset="0"/>
            </a:endParaRPr>
          </a:p>
        </p:txBody>
      </p:sp>
      <p:grpSp>
        <p:nvGrpSpPr>
          <p:cNvPr id="117" name="Group 116"/>
          <p:cNvGrpSpPr/>
          <p:nvPr/>
        </p:nvGrpSpPr>
        <p:grpSpPr>
          <a:xfrm>
            <a:off x="5229562" y="3312131"/>
            <a:ext cx="785985" cy="685800"/>
            <a:chOff x="468086" y="2406098"/>
            <a:chExt cx="1110063" cy="1019598"/>
          </a:xfrm>
          <a:solidFill>
            <a:schemeClr val="accent1">
              <a:lumMod val="40000"/>
              <a:lumOff val="60000"/>
            </a:schemeClr>
          </a:solidFill>
        </p:grpSpPr>
        <p:sp>
          <p:nvSpPr>
            <p:cNvPr id="118" name="Oval 117"/>
            <p:cNvSpPr/>
            <p:nvPr/>
          </p:nvSpPr>
          <p:spPr>
            <a:xfrm>
              <a:off x="468086" y="2406098"/>
              <a:ext cx="1110063" cy="1019598"/>
            </a:xfrm>
            <a:prstGeom prst="ellipse">
              <a:avLst/>
            </a:prstGeom>
            <a:solidFill>
              <a:schemeClr val="bg1">
                <a:lumMod val="85000"/>
              </a:schemeClr>
            </a:solidFill>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119" name="Rectangle 118"/>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20" name="Rectangle 119"/>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21" name="Rectangle 120"/>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22" name="Rectangle 121"/>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123" name="Curved Connector 122"/>
            <p:cNvCxnSpPr>
              <a:stCxn id="120" idx="3"/>
              <a:endCxn id="122"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124" name="Curved Connector 123"/>
            <p:cNvCxnSpPr>
              <a:endCxn id="119"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5" name="Curved Connector 124"/>
            <p:cNvCxnSpPr>
              <a:stCxn id="120" idx="3"/>
              <a:endCxn id="121"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cxnSp>
        <p:nvCxnSpPr>
          <p:cNvPr id="126" name="Straight Arrow Connector 125"/>
          <p:cNvCxnSpPr/>
          <p:nvPr/>
        </p:nvCxnSpPr>
        <p:spPr>
          <a:xfrm flipH="1">
            <a:off x="6059125" y="3124989"/>
            <a:ext cx="203001" cy="322742"/>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127" name="TextBox 126"/>
          <p:cNvSpPr txBox="1"/>
          <p:nvPr/>
        </p:nvSpPr>
        <p:spPr>
          <a:xfrm>
            <a:off x="6262545" y="2876967"/>
            <a:ext cx="876988" cy="584775"/>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Writes/</a:t>
            </a:r>
          </a:p>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sp>
        <p:nvSpPr>
          <p:cNvPr id="128" name="TextBox 127"/>
          <p:cNvSpPr txBox="1"/>
          <p:nvPr/>
        </p:nvSpPr>
        <p:spPr>
          <a:xfrm>
            <a:off x="4756648" y="5113690"/>
            <a:ext cx="1832447" cy="307777"/>
          </a:xfrm>
          <a:prstGeom prst="rect">
            <a:avLst/>
          </a:prstGeom>
          <a:noFill/>
        </p:spPr>
        <p:txBody>
          <a:bodyPr wrap="square" rtlCol="0">
            <a:spAutoFit/>
          </a:bodyPr>
          <a:lstStyle/>
          <a:p>
            <a:pPr algn="ctr" defTabSz="457200" fontAlgn="base">
              <a:spcBef>
                <a:spcPct val="0"/>
              </a:spcBef>
              <a:spcAft>
                <a:spcPct val="0"/>
              </a:spcAft>
            </a:pPr>
            <a:r>
              <a:rPr lang="en-US" sz="1400" dirty="0">
                <a:solidFill>
                  <a:srgbClr val="FF0000"/>
                </a:solidFill>
                <a:latin typeface="Segoe UI Light" panose="020B0502040204020203" pitchFamily="34" charset="0"/>
                <a:ea typeface="Heiti SC Light" charset="-122"/>
                <a:cs typeface="Segoe UI Light" panose="020B0502040204020203" pitchFamily="34" charset="0"/>
                <a:sym typeface="Gill Sans" charset="0"/>
              </a:rPr>
              <a:t>10K transactions/sec</a:t>
            </a:r>
          </a:p>
        </p:txBody>
      </p:sp>
      <p:cxnSp>
        <p:nvCxnSpPr>
          <p:cNvPr id="131" name="Curved Connector 130"/>
          <p:cNvCxnSpPr/>
          <p:nvPr/>
        </p:nvCxnSpPr>
        <p:spPr>
          <a:xfrm>
            <a:off x="5774683" y="3557778"/>
            <a:ext cx="644911" cy="503588"/>
          </a:xfrm>
          <a:prstGeom prst="curvedConnector2">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32" name="Rectangle 131"/>
          <p:cNvSpPr/>
          <p:nvPr/>
        </p:nvSpPr>
        <p:spPr>
          <a:xfrm>
            <a:off x="5914963" y="4094054"/>
            <a:ext cx="838200" cy="381000"/>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400" b="1" dirty="0">
                <a:solidFill>
                  <a:prstClr val="white"/>
                </a:solidFill>
                <a:latin typeface="Segoe UI Light" panose="020B0502040204020203" pitchFamily="34" charset="0"/>
                <a:cs typeface="Segoe UI Light" panose="020B0502040204020203" pitchFamily="34" charset="0"/>
                <a:sym typeface="Gill Sans" charset="0"/>
              </a:rPr>
              <a:t>"airport"</a:t>
            </a:r>
            <a:endParaRPr lang="en-US" sz="1400" dirty="0">
              <a:solidFill>
                <a:prstClr val="white"/>
              </a:solidFill>
              <a:latin typeface="Calibri" panose="020F0502020204030204"/>
              <a:sym typeface="Gill Sans" charset="0"/>
            </a:endParaRPr>
          </a:p>
        </p:txBody>
      </p:sp>
      <p:sp>
        <p:nvSpPr>
          <p:cNvPr id="133" name="Rectangle 132"/>
          <p:cNvSpPr/>
          <p:nvPr/>
        </p:nvSpPr>
        <p:spPr>
          <a:xfrm>
            <a:off x="6736722" y="4086367"/>
            <a:ext cx="838200" cy="381000"/>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400" b="1" dirty="0">
                <a:solidFill>
                  <a:prstClr val="white"/>
                </a:solidFill>
                <a:latin typeface="Segoe UI Light" panose="020B0502040204020203" pitchFamily="34" charset="0"/>
                <a:cs typeface="Segoe UI Light" panose="020B0502040204020203" pitchFamily="34" charset="0"/>
                <a:sym typeface="Gill Sans" charset="0"/>
              </a:rPr>
              <a:t>“MEL"</a:t>
            </a:r>
            <a:endParaRPr lang="en-US" sz="1400" dirty="0">
              <a:solidFill>
                <a:prstClr val="white"/>
              </a:solidFill>
              <a:latin typeface="Calibri" panose="020F0502020204030204"/>
              <a:sym typeface="Gill Sans" charset="0"/>
            </a:endParaRPr>
          </a:p>
        </p:txBody>
      </p:sp>
      <p:cxnSp>
        <p:nvCxnSpPr>
          <p:cNvPr id="134" name="Straight Arrow Connector 133"/>
          <p:cNvCxnSpPr/>
          <p:nvPr/>
        </p:nvCxnSpPr>
        <p:spPr>
          <a:xfrm>
            <a:off x="3769187" y="1876638"/>
            <a:ext cx="1598365" cy="1129342"/>
          </a:xfrm>
          <a:prstGeom prst="straightConnector1">
            <a:avLst/>
          </a:prstGeom>
          <a:ln w="19050">
            <a:solidFill>
              <a:srgbClr val="FFFF00"/>
            </a:solidFill>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135" name="Straight Arrow Connector 134"/>
          <p:cNvCxnSpPr/>
          <p:nvPr/>
        </p:nvCxnSpPr>
        <p:spPr>
          <a:xfrm>
            <a:off x="193439" y="6073169"/>
            <a:ext cx="6429025" cy="15390"/>
          </a:xfrm>
          <a:prstGeom prst="straightConnector1">
            <a:avLst/>
          </a:prstGeom>
          <a:ln w="57150">
            <a:headEnd type="none" w="med" len="med"/>
            <a:tailEnd type="triangle" w="med" len="med"/>
          </a:ln>
        </p:spPr>
        <p:style>
          <a:lnRef idx="3">
            <a:schemeClr val="accent1"/>
          </a:lnRef>
          <a:fillRef idx="0">
            <a:schemeClr val="accent1"/>
          </a:fillRef>
          <a:effectRef idx="2">
            <a:schemeClr val="accent1"/>
          </a:effectRef>
          <a:fontRef idx="minor">
            <a:schemeClr val="tx1"/>
          </a:fontRef>
        </p:style>
      </p:cxnSp>
      <p:sp>
        <p:nvSpPr>
          <p:cNvPr id="136" name="TextBox 135"/>
          <p:cNvSpPr txBox="1"/>
          <p:nvPr/>
        </p:nvSpPr>
        <p:spPr>
          <a:xfrm>
            <a:off x="1056990" y="6192769"/>
            <a:ext cx="5318390"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Local Distribution (via horizontal partitioning) </a:t>
            </a:r>
          </a:p>
        </p:txBody>
      </p:sp>
      <p:sp>
        <p:nvSpPr>
          <p:cNvPr id="137" name="TextBox 136"/>
          <p:cNvSpPr txBox="1"/>
          <p:nvPr/>
        </p:nvSpPr>
        <p:spPr>
          <a:xfrm>
            <a:off x="7574922" y="4518843"/>
            <a:ext cx="4437511" cy="2246769"/>
          </a:xfrm>
          <a:prstGeom prst="rect">
            <a:avLst/>
          </a:prstGeom>
          <a:noFill/>
        </p:spPr>
        <p:txBody>
          <a:bodyPr wrap="square" rtlCol="0">
            <a:spAutoFit/>
          </a:bodyPr>
          <a:lstStyle/>
          <a:p>
            <a:pPr marL="228600" indent="-228600" defTabSz="457200" fontAlgn="base">
              <a:spcBef>
                <a:spcPct val="0"/>
              </a:spcBef>
              <a:spcAft>
                <a:spcPct val="0"/>
              </a:spcAft>
              <a:buFont typeface="Arial" panose="020B0604020202020204" pitchFamily="34" charset="0"/>
              <a:buChar char="•"/>
            </a:pPr>
            <a:r>
              <a:rPr lang="en-US" sz="20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Transparent and highly responsive partition management</a:t>
            </a:r>
          </a:p>
          <a:p>
            <a:pPr marL="228600" indent="-228600" defTabSz="457200" fontAlgn="base">
              <a:spcBef>
                <a:spcPct val="0"/>
              </a:spcBef>
              <a:spcAft>
                <a:spcPct val="0"/>
              </a:spcAft>
              <a:buFont typeface="Arial" panose="020B0604020202020204" pitchFamily="34" charset="0"/>
              <a:buChar char="•"/>
            </a:pPr>
            <a:r>
              <a:rPr lang="en-US" sz="20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Consistent routing</a:t>
            </a:r>
          </a:p>
          <a:p>
            <a:pPr marL="228600" indent="-228600" defTabSz="457200" fontAlgn="base">
              <a:spcBef>
                <a:spcPct val="0"/>
              </a:spcBef>
              <a:spcAft>
                <a:spcPct val="0"/>
              </a:spcAft>
              <a:buFont typeface="Arial" panose="020B0604020202020204" pitchFamily="34" charset="0"/>
              <a:buChar char="•"/>
            </a:pPr>
            <a:r>
              <a:rPr lang="en-US" sz="2000" dirty="0">
                <a:solidFill>
                  <a:srgbClr val="FFFF00"/>
                </a:solidFill>
                <a:latin typeface="Segoe UI Light" panose="020B0502040204020203" pitchFamily="34" charset="0"/>
                <a:ea typeface="Heiti SC Light" charset="-122"/>
                <a:cs typeface="Segoe UI Light" panose="020B0502040204020203" pitchFamily="34" charset="0"/>
                <a:sym typeface="Gill Sans" charset="0"/>
              </a:rPr>
              <a:t>Throughput, consistency, latency and availability guarantees maintained during partition management operations</a:t>
            </a:r>
          </a:p>
        </p:txBody>
      </p:sp>
      <p:sp>
        <p:nvSpPr>
          <p:cNvPr id="138" name="Right Brace 137"/>
          <p:cNvSpPr/>
          <p:nvPr/>
        </p:nvSpPr>
        <p:spPr>
          <a:xfrm rot="5400000">
            <a:off x="3725427" y="2939728"/>
            <a:ext cx="295466" cy="5270290"/>
          </a:xfrm>
          <a:prstGeom prst="rightBrace">
            <a:avLst/>
          </a:prstGeom>
          <a:noFill/>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139" name="TextBox 138"/>
          <p:cNvSpPr txBox="1"/>
          <p:nvPr/>
        </p:nvSpPr>
        <p:spPr>
          <a:xfrm>
            <a:off x="2981227" y="5619144"/>
            <a:ext cx="1832447" cy="307777"/>
          </a:xfrm>
          <a:prstGeom prst="rect">
            <a:avLst/>
          </a:prstGeom>
          <a:noFill/>
        </p:spPr>
        <p:txBody>
          <a:bodyPr wrap="square" rtlCol="0">
            <a:spAutoFit/>
          </a:bodyPr>
          <a:lstStyle/>
          <a:p>
            <a:pPr algn="ctr" defTabSz="457200" fontAlgn="base">
              <a:spcBef>
                <a:spcPct val="0"/>
              </a:spcBef>
              <a:spcAft>
                <a:spcPct val="0"/>
              </a:spcAft>
            </a:pPr>
            <a:r>
              <a:rPr lang="en-US" sz="14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30K transactions/sec</a:t>
            </a:r>
          </a:p>
        </p:txBody>
      </p:sp>
    </p:spTree>
    <p:custDataLst>
      <p:tags r:id="rId1"/>
    </p:custDataLst>
    <p:extLst>
      <p:ext uri="{BB962C8B-B14F-4D97-AF65-F5344CB8AC3E}">
        <p14:creationId xmlns:p14="http://schemas.microsoft.com/office/powerpoint/2010/main" val="51432506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0499" y="5905500"/>
            <a:ext cx="10025555" cy="899666"/>
          </a:xfrm>
        </p:spPr>
        <p:txBody>
          <a:bodyPr/>
          <a:lstStyle/>
          <a:p>
            <a:r>
              <a:rPr lang="en-US" dirty="0"/>
              <a:t>System Design - Global Distribution </a:t>
            </a:r>
          </a:p>
        </p:txBody>
      </p:sp>
      <p:pic>
        <p:nvPicPr>
          <p:cNvPr id="3" name="Graphic 10">
            <a:extLst>
              <a:ext uri="{FF2B5EF4-FFF2-40B4-BE49-F238E27FC236}">
                <a16:creationId xmlns:a16="http://schemas.microsoft.com/office/drawing/2014/main" id="{81A0562A-3AD4-450C-B25D-FF8C50F13F1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0500" y="3276600"/>
            <a:ext cx="5132096" cy="2825383"/>
          </a:xfrm>
          <a:prstGeom prst="rect">
            <a:avLst/>
          </a:prstGeom>
        </p:spPr>
      </p:pic>
    </p:spTree>
    <p:extLst>
      <p:ext uri="{BB962C8B-B14F-4D97-AF65-F5344CB8AC3E}">
        <p14:creationId xmlns:p14="http://schemas.microsoft.com/office/powerpoint/2010/main" val="6523155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218" name="TextBox 217"/>
          <p:cNvSpPr txBox="1"/>
          <p:nvPr/>
        </p:nvSpPr>
        <p:spPr>
          <a:xfrm>
            <a:off x="2417822" y="1666376"/>
            <a:ext cx="2602261" cy="369332"/>
          </a:xfrm>
          <a:prstGeom prst="rect">
            <a:avLst/>
          </a:prstGeom>
          <a:noFill/>
        </p:spPr>
        <p:txBody>
          <a:bodyPr wrap="square" rtlCol="0">
            <a:spAutoFit/>
          </a:bodyPr>
          <a:lstStyle/>
          <a:p>
            <a:pPr defTabSz="457200" fontAlgn="base">
              <a:spcBef>
                <a:spcPct val="0"/>
              </a:spcBef>
              <a:spcAft>
                <a:spcPct val="0"/>
              </a:spcAft>
            </a:pPr>
            <a:r>
              <a:rPr lang="en-US" b="1" dirty="0" err="1">
                <a:solidFill>
                  <a:prstClr val="white"/>
                </a:solidFill>
                <a:latin typeface="Segoe UI Light" panose="020B0502040204020203" pitchFamily="34" charset="0"/>
                <a:ea typeface="Heiti SC Light" charset="-122"/>
                <a:cs typeface="Segoe UI Light" panose="020B0502040204020203" pitchFamily="34" charset="0"/>
                <a:sym typeface="Gill Sans" charset="0"/>
              </a:rPr>
              <a:t>PartitionKey</a:t>
            </a:r>
            <a:r>
              <a:rPr lang="en-US" b="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 = "airport"</a:t>
            </a:r>
          </a:p>
        </p:txBody>
      </p:sp>
      <p:sp>
        <p:nvSpPr>
          <p:cNvPr id="161" name="Rectangle 160"/>
          <p:cNvSpPr/>
          <p:nvPr/>
        </p:nvSpPr>
        <p:spPr>
          <a:xfrm>
            <a:off x="3092945" y="2525026"/>
            <a:ext cx="1235470" cy="2770874"/>
          </a:xfrm>
          <a:prstGeom prst="rect">
            <a:avLst/>
          </a:prstGeom>
          <a:solidFill>
            <a:schemeClr val="accent6">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sp>
        <p:nvSpPr>
          <p:cNvPr id="3" name="Rectangle 2"/>
          <p:cNvSpPr/>
          <p:nvPr/>
        </p:nvSpPr>
        <p:spPr>
          <a:xfrm>
            <a:off x="1267218" y="2525026"/>
            <a:ext cx="1235470" cy="2770875"/>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sp>
        <p:nvSpPr>
          <p:cNvPr id="57" name="Title 1"/>
          <p:cNvSpPr txBox="1">
            <a:spLocks/>
          </p:cNvSpPr>
          <p:nvPr/>
        </p:nvSpPr>
        <p:spPr>
          <a:xfrm>
            <a:off x="92354" y="327842"/>
            <a:ext cx="5164794" cy="574378"/>
          </a:xfrm>
          <a:prstGeom prst="rect">
            <a:avLst/>
          </a:prstGeom>
        </p:spPr>
        <p:txBody>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pPr defTabSz="1243478"/>
            <a:r>
              <a:rPr lang="en-US" sz="4000" dirty="0">
                <a:solidFill>
                  <a:prstClr val="white"/>
                </a:solidFill>
                <a:latin typeface="Segoe UI Light" panose="020B0502040204020203" pitchFamily="34" charset="0"/>
                <a:cs typeface="Segoe UI Light" panose="020B0502040204020203" pitchFamily="34" charset="0"/>
                <a:sym typeface="Gill Sans" charset="0"/>
              </a:rPr>
              <a:t>Global distribution </a:t>
            </a:r>
            <a:endParaRPr lang="en-US" sz="4000" dirty="0">
              <a:solidFill>
                <a:srgbClr val="FFFF00"/>
              </a:solidFill>
              <a:latin typeface="Segoe UI Light" panose="020B0502040204020203" pitchFamily="34" charset="0"/>
              <a:cs typeface="Segoe UI Light" panose="020B0502040204020203" pitchFamily="34" charset="0"/>
              <a:sym typeface="Gill Sans" charset="0"/>
            </a:endParaRPr>
          </a:p>
        </p:txBody>
      </p:sp>
      <p:grpSp>
        <p:nvGrpSpPr>
          <p:cNvPr id="80" name="Group 79"/>
          <p:cNvGrpSpPr/>
          <p:nvPr/>
        </p:nvGrpSpPr>
        <p:grpSpPr>
          <a:xfrm>
            <a:off x="1490786" y="2718925"/>
            <a:ext cx="785985" cy="685800"/>
            <a:chOff x="468086" y="2406098"/>
            <a:chExt cx="1110063" cy="1019598"/>
          </a:xfrm>
          <a:solidFill>
            <a:schemeClr val="accent1">
              <a:lumMod val="40000"/>
              <a:lumOff val="60000"/>
            </a:schemeClr>
          </a:solidFill>
        </p:grpSpPr>
        <p:sp>
          <p:nvSpPr>
            <p:cNvPr id="81" name="Oval 80"/>
            <p:cNvSpPr/>
            <p:nvPr/>
          </p:nvSpPr>
          <p:spPr>
            <a:xfrm>
              <a:off x="468086" y="2406098"/>
              <a:ext cx="1110063" cy="1019598"/>
            </a:xfrm>
            <a:prstGeom prst="ellipse">
              <a:avLst/>
            </a:prstGeom>
            <a:ln>
              <a:solidFill>
                <a:srgbClr val="FF0000"/>
              </a:solidFill>
            </a:ln>
          </p:spPr>
          <p:style>
            <a:lnRef idx="0">
              <a:schemeClr val="accent5"/>
            </a:lnRef>
            <a:fillRef idx="3">
              <a:schemeClr val="accent5"/>
            </a:fillRef>
            <a:effectRef idx="3">
              <a:schemeClr val="accent5"/>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82" name="Rectangle 81"/>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83" name="Rectangle 82"/>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84" name="Rectangle 83"/>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85" name="Rectangle 84"/>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86" name="Curved Connector 85"/>
            <p:cNvCxnSpPr>
              <a:stCxn id="83" idx="3"/>
              <a:endCxn id="85"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87" name="Curved Connector 86"/>
            <p:cNvCxnSpPr>
              <a:endCxn id="82"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8" name="Curved Connector 87"/>
            <p:cNvCxnSpPr>
              <a:stCxn id="83" idx="3"/>
              <a:endCxn id="84"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107" name="Group 106"/>
          <p:cNvGrpSpPr/>
          <p:nvPr/>
        </p:nvGrpSpPr>
        <p:grpSpPr>
          <a:xfrm>
            <a:off x="3314232" y="2670510"/>
            <a:ext cx="785985" cy="685800"/>
            <a:chOff x="468086" y="2406098"/>
            <a:chExt cx="1110063" cy="1019598"/>
          </a:xfrm>
          <a:solidFill>
            <a:schemeClr val="accent1">
              <a:lumMod val="40000"/>
              <a:lumOff val="60000"/>
            </a:schemeClr>
          </a:solidFill>
        </p:grpSpPr>
        <p:sp>
          <p:nvSpPr>
            <p:cNvPr id="108" name="Oval 107"/>
            <p:cNvSpPr/>
            <p:nvPr/>
          </p:nvSpPr>
          <p:spPr>
            <a:xfrm>
              <a:off x="468086" y="2406098"/>
              <a:ext cx="1110063" cy="1019598"/>
            </a:xfrm>
            <a:prstGeom prst="ellipse">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109" name="Rectangle 108"/>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10" name="Rectangle 109"/>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11" name="Rectangle 110"/>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12" name="Rectangle 111"/>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113" name="Curved Connector 112"/>
            <p:cNvCxnSpPr>
              <a:stCxn id="110" idx="3"/>
              <a:endCxn id="112"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114" name="Curved Connector 113"/>
            <p:cNvCxnSpPr>
              <a:endCxn id="109"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5" name="Curved Connector 114"/>
            <p:cNvCxnSpPr>
              <a:stCxn id="110" idx="3"/>
              <a:endCxn id="111"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sp>
        <p:nvSpPr>
          <p:cNvPr id="164" name="Rectangle 163"/>
          <p:cNvSpPr/>
          <p:nvPr/>
        </p:nvSpPr>
        <p:spPr>
          <a:xfrm>
            <a:off x="4852542" y="2525026"/>
            <a:ext cx="1235470" cy="2770874"/>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grpSp>
        <p:nvGrpSpPr>
          <p:cNvPr id="165" name="Group 164"/>
          <p:cNvGrpSpPr/>
          <p:nvPr/>
        </p:nvGrpSpPr>
        <p:grpSpPr>
          <a:xfrm>
            <a:off x="5077285" y="2679390"/>
            <a:ext cx="785985" cy="685800"/>
            <a:chOff x="468086" y="2406098"/>
            <a:chExt cx="1110063" cy="1019598"/>
          </a:xfrm>
          <a:solidFill>
            <a:schemeClr val="accent1">
              <a:lumMod val="40000"/>
              <a:lumOff val="60000"/>
            </a:schemeClr>
          </a:solidFill>
        </p:grpSpPr>
        <p:sp>
          <p:nvSpPr>
            <p:cNvPr id="166" name="Oval 165"/>
            <p:cNvSpPr/>
            <p:nvPr/>
          </p:nvSpPr>
          <p:spPr>
            <a:xfrm>
              <a:off x="468086" y="2406098"/>
              <a:ext cx="1110063" cy="1019598"/>
            </a:xfrm>
            <a:prstGeom prst="ellipse">
              <a:avLst/>
            </a:prstGeom>
            <a:ln/>
          </p:spPr>
          <p:style>
            <a:lnRef idx="1">
              <a:schemeClr val="dk1"/>
            </a:lnRef>
            <a:fillRef idx="2">
              <a:schemeClr val="dk1"/>
            </a:fillRef>
            <a:effectRef idx="1">
              <a:schemeClr val="dk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67" name="Rectangle 166"/>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68" name="Rectangle 167"/>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69" name="Rectangle 168"/>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70" name="Rectangle 169"/>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171" name="Curved Connector 170"/>
            <p:cNvCxnSpPr>
              <a:stCxn id="168" idx="3"/>
              <a:endCxn id="170"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172" name="Curved Connector 171"/>
            <p:cNvCxnSpPr>
              <a:endCxn id="167"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3" name="Curved Connector 172"/>
            <p:cNvCxnSpPr>
              <a:stCxn id="168" idx="3"/>
              <a:endCxn id="169"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sp>
        <p:nvSpPr>
          <p:cNvPr id="163" name="Right Brace 162"/>
          <p:cNvSpPr/>
          <p:nvPr/>
        </p:nvSpPr>
        <p:spPr>
          <a:xfrm rot="5400000">
            <a:off x="4401602" y="266361"/>
            <a:ext cx="274333" cy="6390705"/>
          </a:xfrm>
          <a:prstGeom prst="rightBrace">
            <a:avLst/>
          </a:prstGeom>
          <a:noFill/>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cxnSp>
        <p:nvCxnSpPr>
          <p:cNvPr id="5" name="Straight Arrow Connector 4"/>
          <p:cNvCxnSpPr/>
          <p:nvPr/>
        </p:nvCxnSpPr>
        <p:spPr>
          <a:xfrm>
            <a:off x="1143457" y="2903140"/>
            <a:ext cx="281155" cy="108398"/>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00" name="TextBox 199"/>
          <p:cNvSpPr txBox="1"/>
          <p:nvPr/>
        </p:nvSpPr>
        <p:spPr>
          <a:xfrm>
            <a:off x="626269" y="2607534"/>
            <a:ext cx="870634" cy="584775"/>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Writes/</a:t>
            </a:r>
          </a:p>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cxnSp>
        <p:nvCxnSpPr>
          <p:cNvPr id="207" name="Straight Arrow Connector 206"/>
          <p:cNvCxnSpPr>
            <a:stCxn id="208" idx="1"/>
          </p:cNvCxnSpPr>
          <p:nvPr/>
        </p:nvCxnSpPr>
        <p:spPr>
          <a:xfrm flipH="1">
            <a:off x="5928433" y="2778386"/>
            <a:ext cx="239734" cy="225883"/>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08" name="TextBox 207"/>
          <p:cNvSpPr txBox="1"/>
          <p:nvPr/>
        </p:nvSpPr>
        <p:spPr>
          <a:xfrm>
            <a:off x="6168167" y="2485998"/>
            <a:ext cx="843042" cy="584775"/>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Writes/</a:t>
            </a:r>
          </a:p>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cxnSp>
        <p:nvCxnSpPr>
          <p:cNvPr id="213" name="Straight Arrow Connector 212"/>
          <p:cNvCxnSpPr/>
          <p:nvPr/>
        </p:nvCxnSpPr>
        <p:spPr>
          <a:xfrm>
            <a:off x="2842071" y="2965163"/>
            <a:ext cx="372359" cy="186035"/>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14" name="TextBox 213"/>
          <p:cNvSpPr txBox="1"/>
          <p:nvPr/>
        </p:nvSpPr>
        <p:spPr>
          <a:xfrm>
            <a:off x="2504288" y="2663179"/>
            <a:ext cx="631741" cy="584775"/>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sp>
        <p:nvSpPr>
          <p:cNvPr id="219" name="TextBox 218"/>
          <p:cNvSpPr txBox="1"/>
          <p:nvPr/>
        </p:nvSpPr>
        <p:spPr>
          <a:xfrm>
            <a:off x="3055475" y="2209841"/>
            <a:ext cx="1344262" cy="523220"/>
          </a:xfrm>
          <a:prstGeom prst="rect">
            <a:avLst/>
          </a:prstGeom>
          <a:noFill/>
        </p:spPr>
        <p:txBody>
          <a:bodyPr wrap="square" rtlCol="0">
            <a:spAutoFit/>
          </a:bodyPr>
          <a:lstStyle/>
          <a:p>
            <a:pPr defTabSz="457200" fontAlgn="base">
              <a:spcBef>
                <a:spcPct val="0"/>
              </a:spcBef>
              <a:spcAft>
                <a:spcPct val="0"/>
              </a:spcAft>
            </a:pPr>
            <a:r>
              <a:rPr lang="en-US" sz="1400" b="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irport" : “AMS"</a:t>
            </a:r>
          </a:p>
        </p:txBody>
      </p:sp>
      <p:sp>
        <p:nvSpPr>
          <p:cNvPr id="220" name="TextBox 219"/>
          <p:cNvSpPr txBox="1"/>
          <p:nvPr/>
        </p:nvSpPr>
        <p:spPr>
          <a:xfrm>
            <a:off x="4776615" y="2208286"/>
            <a:ext cx="1385536" cy="307777"/>
          </a:xfrm>
          <a:prstGeom prst="rect">
            <a:avLst/>
          </a:prstGeom>
          <a:noFill/>
        </p:spPr>
        <p:txBody>
          <a:bodyPr wrap="square" rtlCol="0">
            <a:spAutoFit/>
          </a:bodyPr>
          <a:lstStyle/>
          <a:p>
            <a:pPr defTabSz="457200" fontAlgn="base">
              <a:spcBef>
                <a:spcPct val="0"/>
              </a:spcBef>
              <a:spcAft>
                <a:spcPct val="0"/>
              </a:spcAft>
            </a:pPr>
            <a:r>
              <a:rPr lang="en-US" sz="1400" b="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irport" : “MEL"</a:t>
            </a:r>
          </a:p>
        </p:txBody>
      </p:sp>
      <p:sp>
        <p:nvSpPr>
          <p:cNvPr id="221" name="TextBox 220"/>
          <p:cNvSpPr txBox="1"/>
          <p:nvPr/>
        </p:nvSpPr>
        <p:spPr>
          <a:xfrm>
            <a:off x="6735795" y="3093276"/>
            <a:ext cx="998327"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West US</a:t>
            </a:r>
          </a:p>
        </p:txBody>
      </p:sp>
      <p:sp>
        <p:nvSpPr>
          <p:cNvPr id="233" name="Flowchart: Document 232"/>
          <p:cNvSpPr/>
          <p:nvPr/>
        </p:nvSpPr>
        <p:spPr>
          <a:xfrm>
            <a:off x="3055475" y="1115857"/>
            <a:ext cx="1137548" cy="508904"/>
          </a:xfrm>
          <a:prstGeom prst="flowChartDocument">
            <a:avLst/>
          </a:prstGeom>
          <a:solidFill>
            <a:schemeClr val="accent5">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dirty="0">
                <a:solidFill>
                  <a:srgbClr val="FFFF00"/>
                </a:solidFill>
                <a:latin typeface="Segoe UI Light" panose="020B0502040204020203" pitchFamily="34" charset="0"/>
                <a:cs typeface="Segoe UI Light" panose="020B0502040204020203" pitchFamily="34" charset="0"/>
                <a:sym typeface="Gill Sans" charset="0"/>
              </a:rPr>
              <a:t>Container</a:t>
            </a:r>
          </a:p>
        </p:txBody>
      </p:sp>
      <p:cxnSp>
        <p:nvCxnSpPr>
          <p:cNvPr id="235" name="Straight Arrow Connector 234"/>
          <p:cNvCxnSpPr>
            <a:stCxn id="233" idx="2"/>
          </p:cNvCxnSpPr>
          <p:nvPr/>
        </p:nvCxnSpPr>
        <p:spPr>
          <a:xfrm flipH="1">
            <a:off x="2038756" y="1591117"/>
            <a:ext cx="1585493" cy="824299"/>
          </a:xfrm>
          <a:prstGeom prst="straightConnector1">
            <a:avLst/>
          </a:prstGeom>
          <a:ln w="19050">
            <a:solidFill>
              <a:srgbClr val="FFFF00"/>
            </a:solidFill>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39" name="Straight Arrow Connector 238"/>
          <p:cNvCxnSpPr>
            <a:stCxn id="233" idx="2"/>
          </p:cNvCxnSpPr>
          <p:nvPr/>
        </p:nvCxnSpPr>
        <p:spPr>
          <a:xfrm>
            <a:off x="3624249" y="1591117"/>
            <a:ext cx="124536" cy="739856"/>
          </a:xfrm>
          <a:prstGeom prst="straightConnector1">
            <a:avLst/>
          </a:prstGeom>
          <a:ln w="19050">
            <a:solidFill>
              <a:srgbClr val="FFFF00"/>
            </a:solidFill>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42" name="Straight Arrow Connector 241"/>
          <p:cNvCxnSpPr>
            <a:stCxn id="233" idx="2"/>
          </p:cNvCxnSpPr>
          <p:nvPr/>
        </p:nvCxnSpPr>
        <p:spPr>
          <a:xfrm>
            <a:off x="3624249" y="1591117"/>
            <a:ext cx="1577000" cy="753624"/>
          </a:xfrm>
          <a:prstGeom prst="straightConnector1">
            <a:avLst/>
          </a:prstGeom>
          <a:ln w="19050">
            <a:solidFill>
              <a:srgbClr val="FFFF00"/>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47" name="TextBox 246"/>
          <p:cNvSpPr txBox="1"/>
          <p:nvPr/>
        </p:nvSpPr>
        <p:spPr>
          <a:xfrm>
            <a:off x="1247419" y="2234378"/>
            <a:ext cx="1279948" cy="523220"/>
          </a:xfrm>
          <a:prstGeom prst="rect">
            <a:avLst/>
          </a:prstGeom>
          <a:noFill/>
        </p:spPr>
        <p:txBody>
          <a:bodyPr wrap="square" rtlCol="0">
            <a:spAutoFit/>
          </a:bodyPr>
          <a:lstStyle/>
          <a:p>
            <a:pPr defTabSz="457200" fontAlgn="base">
              <a:spcBef>
                <a:spcPct val="0"/>
              </a:spcBef>
              <a:spcAft>
                <a:spcPct val="0"/>
              </a:spcAft>
            </a:pPr>
            <a:r>
              <a:rPr lang="en-US" sz="1400" b="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irport" : "LAX"</a:t>
            </a:r>
          </a:p>
        </p:txBody>
      </p:sp>
      <p:cxnSp>
        <p:nvCxnSpPr>
          <p:cNvPr id="151" name="Straight Arrow Connector 150"/>
          <p:cNvCxnSpPr/>
          <p:nvPr/>
        </p:nvCxnSpPr>
        <p:spPr>
          <a:xfrm>
            <a:off x="473541" y="6619629"/>
            <a:ext cx="6524397" cy="27853"/>
          </a:xfrm>
          <a:prstGeom prst="straightConnector1">
            <a:avLst/>
          </a:prstGeom>
          <a:ln w="57150">
            <a:headEnd type="none" w="med" len="med"/>
            <a:tailEnd type="triangle" w="med" len="med"/>
          </a:ln>
        </p:spPr>
        <p:style>
          <a:lnRef idx="3">
            <a:schemeClr val="accent1"/>
          </a:lnRef>
          <a:fillRef idx="0">
            <a:schemeClr val="accent1"/>
          </a:fillRef>
          <a:effectRef idx="2">
            <a:schemeClr val="accent1"/>
          </a:effectRef>
          <a:fontRef idx="minor">
            <a:schemeClr val="tx1"/>
          </a:fontRef>
        </p:style>
      </p:cxnSp>
      <p:sp>
        <p:nvSpPr>
          <p:cNvPr id="152" name="TextBox 151"/>
          <p:cNvSpPr txBox="1"/>
          <p:nvPr/>
        </p:nvSpPr>
        <p:spPr>
          <a:xfrm>
            <a:off x="1546948" y="6661256"/>
            <a:ext cx="5318390"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Local Distribution (via horizontal partitioning) </a:t>
            </a:r>
          </a:p>
        </p:txBody>
      </p:sp>
      <p:cxnSp>
        <p:nvCxnSpPr>
          <p:cNvPr id="154" name="Straight Arrow Connector 153"/>
          <p:cNvCxnSpPr/>
          <p:nvPr/>
        </p:nvCxnSpPr>
        <p:spPr>
          <a:xfrm flipV="1">
            <a:off x="541270" y="1505634"/>
            <a:ext cx="3233" cy="5167209"/>
          </a:xfrm>
          <a:prstGeom prst="straightConnector1">
            <a:avLst/>
          </a:prstGeom>
          <a:ln w="57150">
            <a:headEnd type="none" w="med" len="med"/>
            <a:tailEnd type="triangle" w="med" len="med"/>
          </a:ln>
        </p:spPr>
        <p:style>
          <a:lnRef idx="3">
            <a:schemeClr val="accent1"/>
          </a:lnRef>
          <a:fillRef idx="0">
            <a:schemeClr val="accent1"/>
          </a:fillRef>
          <a:effectRef idx="2">
            <a:schemeClr val="accent1"/>
          </a:effectRef>
          <a:fontRef idx="minor">
            <a:schemeClr val="tx1"/>
          </a:fontRef>
        </p:style>
      </p:cxnSp>
      <p:sp>
        <p:nvSpPr>
          <p:cNvPr id="157" name="TextBox 156"/>
          <p:cNvSpPr txBox="1"/>
          <p:nvPr/>
        </p:nvSpPr>
        <p:spPr>
          <a:xfrm rot="16200000">
            <a:off x="-1777480" y="3805598"/>
            <a:ext cx="4132159"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Global Distribution (of resource partitions)</a:t>
            </a:r>
          </a:p>
        </p:txBody>
      </p:sp>
      <p:sp>
        <p:nvSpPr>
          <p:cNvPr id="254" name="TextBox 253"/>
          <p:cNvSpPr txBox="1"/>
          <p:nvPr/>
        </p:nvSpPr>
        <p:spPr>
          <a:xfrm>
            <a:off x="3635630" y="3557631"/>
            <a:ext cx="1832447" cy="584775"/>
          </a:xfrm>
          <a:prstGeom prst="rect">
            <a:avLst/>
          </a:prstGeom>
          <a:noFill/>
        </p:spPr>
        <p:txBody>
          <a:bodyPr wrap="square" rtlCol="0">
            <a:spAutoFit/>
          </a:bodyPr>
          <a:lstStyle/>
          <a:p>
            <a:pPr algn="ct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30K transactions/sec</a:t>
            </a:r>
          </a:p>
        </p:txBody>
      </p:sp>
      <p:grpSp>
        <p:nvGrpSpPr>
          <p:cNvPr id="2" name="Group 1"/>
          <p:cNvGrpSpPr/>
          <p:nvPr/>
        </p:nvGrpSpPr>
        <p:grpSpPr>
          <a:xfrm>
            <a:off x="647878" y="3310342"/>
            <a:ext cx="7079885" cy="1890542"/>
            <a:chOff x="1295756" y="6163484"/>
            <a:chExt cx="14159769" cy="3781083"/>
          </a:xfrm>
        </p:grpSpPr>
        <p:grpSp>
          <p:nvGrpSpPr>
            <p:cNvPr id="89" name="Group 88"/>
            <p:cNvGrpSpPr/>
            <p:nvPr/>
          </p:nvGrpSpPr>
          <p:grpSpPr>
            <a:xfrm>
              <a:off x="1295756" y="6163484"/>
              <a:ext cx="14159769" cy="3435967"/>
              <a:chOff x="1269213" y="6596030"/>
              <a:chExt cx="14159769" cy="3435967"/>
            </a:xfrm>
          </p:grpSpPr>
          <p:sp>
            <p:nvSpPr>
              <p:cNvPr id="90" name="TextBox 89"/>
              <p:cNvSpPr txBox="1"/>
              <p:nvPr/>
            </p:nvSpPr>
            <p:spPr>
              <a:xfrm>
                <a:off x="5076815" y="6913500"/>
                <a:ext cx="1717736" cy="1169550"/>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Writes/</a:t>
                </a:r>
              </a:p>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grpSp>
            <p:nvGrpSpPr>
              <p:cNvPr id="91" name="Group 90"/>
              <p:cNvGrpSpPr/>
              <p:nvPr/>
            </p:nvGrpSpPr>
            <p:grpSpPr>
              <a:xfrm>
                <a:off x="1269213" y="6596030"/>
                <a:ext cx="14159769" cy="3435967"/>
                <a:chOff x="1269213" y="6596030"/>
                <a:chExt cx="14159769" cy="3435967"/>
              </a:xfrm>
            </p:grpSpPr>
            <p:grpSp>
              <p:nvGrpSpPr>
                <p:cNvPr id="92" name="Group 91"/>
                <p:cNvGrpSpPr/>
                <p:nvPr/>
              </p:nvGrpSpPr>
              <p:grpSpPr>
                <a:xfrm>
                  <a:off x="1269213" y="7185609"/>
                  <a:ext cx="14159769" cy="2846388"/>
                  <a:chOff x="1269213" y="7185609"/>
                  <a:chExt cx="14159769" cy="2846388"/>
                </a:xfrm>
              </p:grpSpPr>
              <p:sp>
                <p:nvSpPr>
                  <p:cNvPr id="97" name="TextBox 96"/>
                  <p:cNvSpPr txBox="1"/>
                  <p:nvPr/>
                </p:nvSpPr>
                <p:spPr>
                  <a:xfrm>
                    <a:off x="6180229" y="7977531"/>
                    <a:ext cx="417736" cy="553998"/>
                  </a:xfrm>
                  <a:prstGeom prst="rect">
                    <a:avLst/>
                  </a:prstGeom>
                  <a:noFill/>
                  <a:ln>
                    <a:noFill/>
                  </a:ln>
                </p:spPr>
                <p:txBody>
                  <a:bodyPr wrap="square" lIns="0" tIns="0" rIns="0" bIns="0" rtlCol="0">
                    <a:spAutoFit/>
                  </a:bodyPr>
                  <a:lstStyle/>
                  <a:p>
                    <a:pPr algn="ctr" defTabSz="457200" fontAlgn="base">
                      <a:spcBef>
                        <a:spcPct val="0"/>
                      </a:spcBef>
                      <a:spcAft>
                        <a:spcPct val="0"/>
                      </a:spcAft>
                    </a:pPr>
                    <a:endParaRPr lang="en-US" dirty="0">
                      <a:solidFill>
                        <a:prstClr val="white"/>
                      </a:solidFill>
                      <a:latin typeface="Gill Sans" charset="0"/>
                      <a:ea typeface="Heiti SC Light" charset="-122"/>
                      <a:sym typeface="Gill Sans" charset="0"/>
                    </a:endParaRPr>
                  </a:p>
                </p:txBody>
              </p:sp>
              <p:grpSp>
                <p:nvGrpSpPr>
                  <p:cNvPr id="98" name="Group 97"/>
                  <p:cNvGrpSpPr/>
                  <p:nvPr/>
                </p:nvGrpSpPr>
                <p:grpSpPr>
                  <a:xfrm>
                    <a:off x="2962258" y="8108047"/>
                    <a:ext cx="1571969" cy="1371600"/>
                    <a:chOff x="468086" y="2406098"/>
                    <a:chExt cx="1110063" cy="1019598"/>
                  </a:xfrm>
                  <a:solidFill>
                    <a:schemeClr val="accent1">
                      <a:lumMod val="40000"/>
                      <a:lumOff val="60000"/>
                    </a:schemeClr>
                  </a:solidFill>
                </p:grpSpPr>
                <p:sp>
                  <p:nvSpPr>
                    <p:cNvPr id="133" name="Oval 132"/>
                    <p:cNvSpPr/>
                    <p:nvPr/>
                  </p:nvSpPr>
                  <p:spPr>
                    <a:xfrm>
                      <a:off x="468086" y="2406098"/>
                      <a:ext cx="1110063" cy="1019598"/>
                    </a:xfrm>
                    <a:prstGeom prst="ellipse">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134" name="Rectangle 133"/>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35" name="Rectangle 134"/>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36" name="Rectangle 135"/>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37" name="Rectangle 136"/>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138" name="Curved Connector 137"/>
                    <p:cNvCxnSpPr>
                      <a:stCxn id="135" idx="3"/>
                      <a:endCxn id="137"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139" name="Curved Connector 138"/>
                    <p:cNvCxnSpPr>
                      <a:endCxn id="134"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0" name="Curved Connector 139"/>
                    <p:cNvCxnSpPr>
                      <a:stCxn id="135" idx="3"/>
                      <a:endCxn id="136"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99" name="Group 98"/>
                  <p:cNvGrpSpPr/>
                  <p:nvPr/>
                </p:nvGrpSpPr>
                <p:grpSpPr>
                  <a:xfrm>
                    <a:off x="6595402" y="8055639"/>
                    <a:ext cx="1571969" cy="1371600"/>
                    <a:chOff x="468086" y="2406098"/>
                    <a:chExt cx="1110063" cy="1019598"/>
                  </a:xfrm>
                  <a:solidFill>
                    <a:schemeClr val="accent1">
                      <a:lumMod val="40000"/>
                      <a:lumOff val="60000"/>
                    </a:schemeClr>
                  </a:solidFill>
                </p:grpSpPr>
                <p:sp>
                  <p:nvSpPr>
                    <p:cNvPr id="125" name="Oval 124"/>
                    <p:cNvSpPr/>
                    <p:nvPr/>
                  </p:nvSpPr>
                  <p:spPr>
                    <a:xfrm>
                      <a:off x="468086" y="2406098"/>
                      <a:ext cx="1110063" cy="1019598"/>
                    </a:xfrm>
                    <a:prstGeom prst="ellipse">
                      <a:avLst/>
                    </a:prstGeom>
                    <a:ln>
                      <a:solidFill>
                        <a:srgbClr val="FF0000"/>
                      </a:solidFill>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126" name="Rectangle 125"/>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27" name="Rectangle 126"/>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28" name="Rectangle 127"/>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29" name="Rectangle 128"/>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130" name="Curved Connector 129"/>
                    <p:cNvCxnSpPr>
                      <a:stCxn id="127" idx="3"/>
                      <a:endCxn id="129"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131" name="Curved Connector 130"/>
                    <p:cNvCxnSpPr>
                      <a:endCxn id="126"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2" name="Curved Connector 131"/>
                    <p:cNvCxnSpPr>
                      <a:stCxn id="127" idx="3"/>
                      <a:endCxn id="128"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100" name="Group 99"/>
                  <p:cNvGrpSpPr/>
                  <p:nvPr/>
                </p:nvGrpSpPr>
                <p:grpSpPr>
                  <a:xfrm>
                    <a:off x="10174695" y="8142173"/>
                    <a:ext cx="1571969" cy="1371600"/>
                    <a:chOff x="468086" y="2406098"/>
                    <a:chExt cx="1110063" cy="1019598"/>
                  </a:xfrm>
                  <a:solidFill>
                    <a:schemeClr val="accent1">
                      <a:lumMod val="40000"/>
                      <a:lumOff val="60000"/>
                    </a:schemeClr>
                  </a:solidFill>
                </p:grpSpPr>
                <p:sp>
                  <p:nvSpPr>
                    <p:cNvPr id="117" name="Oval 116"/>
                    <p:cNvSpPr/>
                    <p:nvPr/>
                  </p:nvSpPr>
                  <p:spPr>
                    <a:xfrm>
                      <a:off x="468086" y="2406098"/>
                      <a:ext cx="1110063" cy="1019598"/>
                    </a:xfrm>
                    <a:prstGeom prst="ellipse">
                      <a:avLst/>
                    </a:prstGeom>
                    <a:ln>
                      <a:noFill/>
                    </a:ln>
                  </p:spPr>
                  <p:style>
                    <a:lnRef idx="1">
                      <a:schemeClr val="dk1"/>
                    </a:lnRef>
                    <a:fillRef idx="2">
                      <a:schemeClr val="dk1"/>
                    </a:fillRef>
                    <a:effectRef idx="1">
                      <a:schemeClr val="dk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18" name="Rectangle 117"/>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19" name="Rectangle 118"/>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20" name="Rectangle 119"/>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21" name="Rectangle 120"/>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122" name="Curved Connector 121"/>
                    <p:cNvCxnSpPr>
                      <a:stCxn id="119" idx="3"/>
                      <a:endCxn id="121"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123" name="Curved Connector 122"/>
                    <p:cNvCxnSpPr>
                      <a:endCxn id="118"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4" name="Curved Connector 123"/>
                    <p:cNvCxnSpPr>
                      <a:stCxn id="119" idx="3"/>
                      <a:endCxn id="120"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sp>
                <p:nvSpPr>
                  <p:cNvPr id="101" name="Right Brace 100"/>
                  <p:cNvSpPr/>
                  <p:nvPr/>
                </p:nvSpPr>
                <p:spPr>
                  <a:xfrm rot="5400000">
                    <a:off x="8668656" y="3197298"/>
                    <a:ext cx="751959" cy="12768692"/>
                  </a:xfrm>
                  <a:prstGeom prst="rightBrace">
                    <a:avLst/>
                  </a:prstGeom>
                  <a:noFill/>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cxnSp>
                <p:nvCxnSpPr>
                  <p:cNvPr id="102" name="Straight Arrow Connector 101"/>
                  <p:cNvCxnSpPr/>
                  <p:nvPr/>
                </p:nvCxnSpPr>
                <p:spPr>
                  <a:xfrm>
                    <a:off x="5729113" y="7921786"/>
                    <a:ext cx="976487" cy="460214"/>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103" name="Straight Arrow Connector 102"/>
                  <p:cNvCxnSpPr/>
                  <p:nvPr/>
                </p:nvCxnSpPr>
                <p:spPr>
                  <a:xfrm>
                    <a:off x="1798141" y="8078425"/>
                    <a:ext cx="1147393" cy="682055"/>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104" name="TextBox 103"/>
                  <p:cNvSpPr txBox="1"/>
                  <p:nvPr/>
                </p:nvSpPr>
                <p:spPr>
                  <a:xfrm>
                    <a:off x="1269213" y="7411493"/>
                    <a:ext cx="1549260" cy="677108"/>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cxnSp>
                <p:nvCxnSpPr>
                  <p:cNvPr id="105" name="Straight Arrow Connector 104"/>
                  <p:cNvCxnSpPr>
                    <a:cxnSpLocks/>
                    <a:stCxn id="106" idx="2"/>
                  </p:cNvCxnSpPr>
                  <p:nvPr/>
                </p:nvCxnSpPr>
                <p:spPr>
                  <a:xfrm flipH="1">
                    <a:off x="11457124" y="7862717"/>
                    <a:ext cx="1197620" cy="359434"/>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106" name="TextBox 105"/>
                  <p:cNvSpPr txBox="1"/>
                  <p:nvPr/>
                </p:nvSpPr>
                <p:spPr>
                  <a:xfrm>
                    <a:off x="11830320" y="7185609"/>
                    <a:ext cx="1648846" cy="677108"/>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sp>
                <p:nvSpPr>
                  <p:cNvPr id="116" name="TextBox 115"/>
                  <p:cNvSpPr txBox="1"/>
                  <p:nvPr/>
                </p:nvSpPr>
                <p:spPr>
                  <a:xfrm>
                    <a:off x="13017152" y="8862447"/>
                    <a:ext cx="2411828" cy="1169550"/>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West Europe</a:t>
                    </a:r>
                  </a:p>
                </p:txBody>
              </p:sp>
            </p:grpSp>
            <p:grpSp>
              <p:nvGrpSpPr>
                <p:cNvPr id="93" name="Group 92"/>
                <p:cNvGrpSpPr/>
                <p:nvPr/>
              </p:nvGrpSpPr>
              <p:grpSpPr>
                <a:xfrm>
                  <a:off x="3315900" y="6596030"/>
                  <a:ext cx="7843775" cy="1714886"/>
                  <a:chOff x="3315900" y="6596030"/>
                  <a:chExt cx="7843775" cy="1714886"/>
                </a:xfrm>
              </p:grpSpPr>
              <p:cxnSp>
                <p:nvCxnSpPr>
                  <p:cNvPr id="94" name="Curved Connector 93"/>
                  <p:cNvCxnSpPr/>
                  <p:nvPr/>
                </p:nvCxnSpPr>
                <p:spPr>
                  <a:xfrm rot="5400000">
                    <a:off x="2840386" y="7163481"/>
                    <a:ext cx="1622949" cy="671922"/>
                  </a:xfrm>
                  <a:prstGeom prst="curvedConnector3">
                    <a:avLst>
                      <a:gd name="adj1" fmla="val 50000"/>
                    </a:avLst>
                  </a:prstGeom>
                  <a:ln>
                    <a:solidFill>
                      <a:schemeClr val="bg1"/>
                    </a:solidFill>
                    <a:prstDash val="dash"/>
                    <a:headEnd type="triangle"/>
                    <a:tailEnd type="triangle"/>
                  </a:ln>
                </p:spPr>
                <p:style>
                  <a:lnRef idx="3">
                    <a:schemeClr val="dk1"/>
                  </a:lnRef>
                  <a:fillRef idx="0">
                    <a:schemeClr val="dk1"/>
                  </a:fillRef>
                  <a:effectRef idx="2">
                    <a:schemeClr val="dk1"/>
                  </a:effectRef>
                  <a:fontRef idx="minor">
                    <a:schemeClr val="tx1"/>
                  </a:fontRef>
                </p:style>
              </p:cxnSp>
              <p:cxnSp>
                <p:nvCxnSpPr>
                  <p:cNvPr id="95" name="Curved Connector 94"/>
                  <p:cNvCxnSpPr/>
                  <p:nvPr/>
                </p:nvCxnSpPr>
                <p:spPr>
                  <a:xfrm rot="5400000">
                    <a:off x="6406112" y="7071544"/>
                    <a:ext cx="1622949" cy="671922"/>
                  </a:xfrm>
                  <a:prstGeom prst="curvedConnector3">
                    <a:avLst>
                      <a:gd name="adj1" fmla="val 50000"/>
                    </a:avLst>
                  </a:prstGeom>
                  <a:ln>
                    <a:solidFill>
                      <a:schemeClr val="bg1"/>
                    </a:solidFill>
                    <a:prstDash val="dash"/>
                    <a:headEnd type="triangle"/>
                    <a:tailEnd type="triangle"/>
                  </a:ln>
                </p:spPr>
                <p:style>
                  <a:lnRef idx="3">
                    <a:schemeClr val="dk1"/>
                  </a:lnRef>
                  <a:fillRef idx="0">
                    <a:schemeClr val="dk1"/>
                  </a:fillRef>
                  <a:effectRef idx="2">
                    <a:schemeClr val="dk1"/>
                  </a:effectRef>
                  <a:fontRef idx="minor">
                    <a:schemeClr val="tx1"/>
                  </a:fontRef>
                </p:style>
              </p:cxnSp>
              <p:cxnSp>
                <p:nvCxnSpPr>
                  <p:cNvPr id="96" name="Curved Connector 95"/>
                  <p:cNvCxnSpPr/>
                  <p:nvPr/>
                </p:nvCxnSpPr>
                <p:spPr>
                  <a:xfrm rot="5400000">
                    <a:off x="10012239" y="7135181"/>
                    <a:ext cx="1622949" cy="671922"/>
                  </a:xfrm>
                  <a:prstGeom prst="curvedConnector3">
                    <a:avLst>
                      <a:gd name="adj1" fmla="val 50000"/>
                    </a:avLst>
                  </a:prstGeom>
                  <a:ln>
                    <a:solidFill>
                      <a:schemeClr val="bg1"/>
                    </a:solidFill>
                    <a:prstDash val="dash"/>
                    <a:headEnd type="triangle"/>
                    <a:tailEnd type="triangle"/>
                  </a:ln>
                </p:spPr>
                <p:style>
                  <a:lnRef idx="3">
                    <a:schemeClr val="dk1"/>
                  </a:lnRef>
                  <a:fillRef idx="0">
                    <a:schemeClr val="dk1"/>
                  </a:fillRef>
                  <a:effectRef idx="2">
                    <a:schemeClr val="dk1"/>
                  </a:effectRef>
                  <a:fontRef idx="minor">
                    <a:schemeClr val="tx1"/>
                  </a:fontRef>
                </p:style>
              </p:cxnSp>
            </p:grpSp>
          </p:grpSp>
        </p:grpSp>
        <p:sp>
          <p:nvSpPr>
            <p:cNvPr id="141" name="TextBox 140"/>
            <p:cNvSpPr txBox="1"/>
            <p:nvPr/>
          </p:nvSpPr>
          <p:spPr>
            <a:xfrm>
              <a:off x="7437906" y="9329013"/>
              <a:ext cx="3664894" cy="615554"/>
            </a:xfrm>
            <a:prstGeom prst="rect">
              <a:avLst/>
            </a:prstGeom>
            <a:noFill/>
          </p:spPr>
          <p:txBody>
            <a:bodyPr wrap="square" rtlCol="0">
              <a:spAutoFit/>
            </a:bodyPr>
            <a:lstStyle/>
            <a:p>
              <a:pPr algn="ctr" defTabSz="457200" fontAlgn="base">
                <a:spcBef>
                  <a:spcPct val="0"/>
                </a:spcBef>
                <a:spcAft>
                  <a:spcPct val="0"/>
                </a:spcAft>
              </a:pPr>
              <a:r>
                <a:rPr lang="en-US" sz="14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30K transactions/sec</a:t>
              </a:r>
            </a:p>
          </p:txBody>
        </p:sp>
      </p:grpSp>
      <p:sp>
        <p:nvSpPr>
          <p:cNvPr id="142" name="Text Placeholder 1"/>
          <p:cNvSpPr txBox="1">
            <a:spLocks/>
          </p:cNvSpPr>
          <p:nvPr/>
        </p:nvSpPr>
        <p:spPr>
          <a:xfrm>
            <a:off x="7975840" y="1126453"/>
            <a:ext cx="4085870" cy="4957357"/>
          </a:xfrm>
          <a:prstGeom prst="rect">
            <a:avLst/>
          </a:prstGeom>
        </p:spPr>
        <p:txBody>
          <a:bodyPr/>
          <a:lstStyle>
            <a:lvl1pPr marL="457206" indent="-457206" algn="l" defTabSz="1828823"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17" indent="-457206" algn="l" defTabSz="1828823"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29" indent="-457206" algn="l" defTabSz="1828823"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40"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51"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63"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74"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86"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97"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228603" indent="-228603" defTabSz="914412">
              <a:lnSpc>
                <a:spcPct val="100000"/>
              </a:lnSpc>
              <a:spcBef>
                <a:spcPts val="0"/>
              </a:spcBef>
              <a:spcAft>
                <a:spcPts val="1766"/>
              </a:spcAft>
            </a:pPr>
            <a:r>
              <a:rPr lang="en-US" sz="1800" dirty="0">
                <a:solidFill>
                  <a:prstClr val="white"/>
                </a:solidFill>
                <a:latin typeface="Segoe UI Light" panose="020B0502040204020203" pitchFamily="34" charset="0"/>
                <a:cs typeface="Segoe UI Light" panose="020B0502040204020203" pitchFamily="34" charset="0"/>
                <a:sym typeface="Gill Sans" charset="0"/>
              </a:rPr>
              <a:t>Elastically scaling throughput from 10 to 100s of millions of transactions/sec across multiple regions on a single table</a:t>
            </a:r>
          </a:p>
          <a:p>
            <a:pPr marL="228603" indent="-228603" defTabSz="914412">
              <a:lnSpc>
                <a:spcPct val="100000"/>
              </a:lnSpc>
              <a:spcBef>
                <a:spcPts val="0"/>
              </a:spcBef>
              <a:spcAft>
                <a:spcPts val="1766"/>
              </a:spcAft>
            </a:pPr>
            <a:r>
              <a:rPr lang="en-US" sz="1800" dirty="0">
                <a:solidFill>
                  <a:prstClr val="white"/>
                </a:solidFill>
                <a:latin typeface="Segoe UI Light" panose="020B0502040204020203" pitchFamily="34" charset="0"/>
                <a:cs typeface="Segoe UI Light" panose="020B0502040204020203" pitchFamily="34" charset="0"/>
                <a:sym typeface="Gill Sans" charset="0"/>
              </a:rPr>
              <a:t>Automatic and transparent replication worldwide</a:t>
            </a:r>
          </a:p>
          <a:p>
            <a:pPr marL="228603" indent="-228603" defTabSz="914412">
              <a:lnSpc>
                <a:spcPct val="100000"/>
              </a:lnSpc>
              <a:spcBef>
                <a:spcPts val="0"/>
              </a:spcBef>
              <a:spcAft>
                <a:spcPts val="1766"/>
              </a:spcAft>
            </a:pPr>
            <a:r>
              <a:rPr lang="en-US" sz="1800" dirty="0">
                <a:solidFill>
                  <a:prstClr val="white"/>
                </a:solidFill>
                <a:latin typeface="Segoe UI Light" panose="020B0502040204020203" pitchFamily="34" charset="0"/>
                <a:cs typeface="Segoe UI Light" panose="020B0502040204020203" pitchFamily="34" charset="0"/>
                <a:sym typeface="Gill Sans" charset="0"/>
              </a:rPr>
              <a:t>Modular, resource governed nested consensus (replica set and partition set)</a:t>
            </a:r>
          </a:p>
          <a:p>
            <a:pPr marL="285750" indent="-285750" defTabSz="914412" fontAlgn="base">
              <a:lnSpc>
                <a:spcPct val="100000"/>
              </a:lnSpc>
              <a:spcBef>
                <a:spcPts val="0"/>
              </a:spcBef>
              <a:spcAft>
                <a:spcPct val="0"/>
              </a:spcAft>
            </a:pPr>
            <a:r>
              <a:rPr lang="en-US" sz="1800" dirty="0">
                <a:solidFill>
                  <a:prstClr val="white"/>
                </a:solidFill>
                <a:latin typeface="Segoe UI Light" panose="020B0502040204020203" pitchFamily="34" charset="0"/>
                <a:cs typeface="Segoe UI Light" panose="020B0502040204020203" pitchFamily="34" charset="0"/>
                <a:sym typeface="Gill Sans" charset="0"/>
              </a:rPr>
              <a:t>Customers can test end to end application availability by programmatically simulating failovers</a:t>
            </a:r>
          </a:p>
          <a:p>
            <a:pPr marL="285750" indent="-285750" defTabSz="914412" fontAlgn="base">
              <a:lnSpc>
                <a:spcPct val="100000"/>
              </a:lnSpc>
              <a:spcBef>
                <a:spcPts val="0"/>
              </a:spcBef>
              <a:spcAft>
                <a:spcPct val="0"/>
              </a:spcAft>
            </a:pPr>
            <a:endParaRPr lang="en-US" sz="1600" dirty="0">
              <a:solidFill>
                <a:prstClr val="white"/>
              </a:solidFill>
              <a:latin typeface="Segoe UI Light" panose="020B0502040204020203" pitchFamily="34" charset="0"/>
              <a:cs typeface="Segoe UI Light" panose="020B0502040204020203" pitchFamily="34" charset="0"/>
              <a:sym typeface="Gill Sans" charset="0"/>
            </a:endParaRPr>
          </a:p>
          <a:p>
            <a:pPr marL="285750" indent="-285750" defTabSz="914412" fontAlgn="base">
              <a:lnSpc>
                <a:spcPct val="100000"/>
              </a:lnSpc>
              <a:spcBef>
                <a:spcPts val="0"/>
              </a:spcBef>
              <a:spcAft>
                <a:spcPct val="0"/>
              </a:spcAft>
            </a:pPr>
            <a:r>
              <a:rPr lang="en-US" sz="1800" dirty="0">
                <a:solidFill>
                  <a:prstClr val="white"/>
                </a:solidFill>
                <a:latin typeface="Segoe UI Light" panose="020B0502040204020203" pitchFamily="34" charset="0"/>
                <a:cs typeface="Segoe UI Light" panose="020B0502040204020203" pitchFamily="34" charset="0"/>
                <a:sym typeface="Gill Sans" charset="0"/>
              </a:rPr>
              <a:t>Multi-homing APIs</a:t>
            </a:r>
          </a:p>
          <a:p>
            <a:pPr marL="514350" lvl="1" indent="-285750" defTabSz="914412" fontAlgn="base">
              <a:lnSpc>
                <a:spcPct val="100000"/>
              </a:lnSpc>
              <a:spcBef>
                <a:spcPts val="0"/>
              </a:spcBef>
              <a:spcAft>
                <a:spcPct val="0"/>
              </a:spcAft>
            </a:pPr>
            <a:r>
              <a:rPr lang="en-US" sz="1600" dirty="0">
                <a:solidFill>
                  <a:prstClr val="white"/>
                </a:solidFill>
                <a:latin typeface="Segoe UI Light" panose="020B0502040204020203" pitchFamily="34" charset="0"/>
                <a:cs typeface="Segoe UI Light" panose="020B0502040204020203" pitchFamily="34" charset="0"/>
                <a:sym typeface="Gill Sans" charset="0"/>
              </a:rPr>
              <a:t>Apps don’t need to be redeployed during regional failover</a:t>
            </a:r>
          </a:p>
          <a:p>
            <a:pPr marL="228603" indent="-228603" defTabSz="914412">
              <a:lnSpc>
                <a:spcPct val="100000"/>
              </a:lnSpc>
              <a:spcBef>
                <a:spcPts val="0"/>
              </a:spcBef>
              <a:spcAft>
                <a:spcPts val="1766"/>
              </a:spcAft>
            </a:pPr>
            <a:endParaRPr lang="en-US" sz="1800" dirty="0">
              <a:solidFill>
                <a:prstClr val="white"/>
              </a:solidFill>
              <a:latin typeface="Segoe UI Light" panose="020B0502040204020203" pitchFamily="34" charset="0"/>
              <a:cs typeface="Segoe UI Light" panose="020B0502040204020203" pitchFamily="34" charset="0"/>
              <a:sym typeface="Gill Sans" charset="0"/>
            </a:endParaRPr>
          </a:p>
          <a:p>
            <a:pPr marL="228603" indent="-228603" defTabSz="914412">
              <a:lnSpc>
                <a:spcPct val="100000"/>
              </a:lnSpc>
              <a:spcBef>
                <a:spcPts val="0"/>
              </a:spcBef>
              <a:spcAft>
                <a:spcPts val="1766"/>
              </a:spcAft>
            </a:pPr>
            <a:endParaRPr lang="en-US" sz="1800" dirty="0">
              <a:solidFill>
                <a:prstClr val="white"/>
              </a:solidFill>
              <a:latin typeface="Segoe UI Light" panose="020B0502040204020203" pitchFamily="34" charset="0"/>
              <a:cs typeface="Segoe UI Light" panose="020B0502040204020203" pitchFamily="34" charset="0"/>
              <a:sym typeface="Gill Sans" charset="0"/>
            </a:endParaRPr>
          </a:p>
        </p:txBody>
      </p:sp>
    </p:spTree>
    <p:custDataLst>
      <p:tags r:id="rId1"/>
    </p:custDataLst>
    <p:extLst>
      <p:ext uri="{BB962C8B-B14F-4D97-AF65-F5344CB8AC3E}">
        <p14:creationId xmlns:p14="http://schemas.microsoft.com/office/powerpoint/2010/main" val="320092342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218" name="TextBox 217"/>
          <p:cNvSpPr txBox="1"/>
          <p:nvPr/>
        </p:nvSpPr>
        <p:spPr>
          <a:xfrm>
            <a:off x="2417822" y="1666376"/>
            <a:ext cx="2602261" cy="369332"/>
          </a:xfrm>
          <a:prstGeom prst="rect">
            <a:avLst/>
          </a:prstGeom>
          <a:noFill/>
        </p:spPr>
        <p:txBody>
          <a:bodyPr wrap="square" rtlCol="0">
            <a:spAutoFit/>
          </a:bodyPr>
          <a:lstStyle/>
          <a:p>
            <a:pPr defTabSz="457200" fontAlgn="base">
              <a:spcBef>
                <a:spcPct val="0"/>
              </a:spcBef>
              <a:spcAft>
                <a:spcPct val="0"/>
              </a:spcAft>
            </a:pPr>
            <a:r>
              <a:rPr lang="en-US" b="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Partition-key = "airport"</a:t>
            </a:r>
          </a:p>
        </p:txBody>
      </p:sp>
      <p:sp>
        <p:nvSpPr>
          <p:cNvPr id="161" name="Rectangle 160"/>
          <p:cNvSpPr/>
          <p:nvPr/>
        </p:nvSpPr>
        <p:spPr>
          <a:xfrm>
            <a:off x="3092945" y="2525026"/>
            <a:ext cx="1235470" cy="3733801"/>
          </a:xfrm>
          <a:prstGeom prst="rect">
            <a:avLst/>
          </a:prstGeom>
          <a:solidFill>
            <a:schemeClr val="accent6">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sp>
        <p:nvSpPr>
          <p:cNvPr id="3" name="Rectangle 2"/>
          <p:cNvSpPr/>
          <p:nvPr/>
        </p:nvSpPr>
        <p:spPr>
          <a:xfrm>
            <a:off x="1267218" y="2525026"/>
            <a:ext cx="1235470" cy="3723966"/>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sp>
        <p:nvSpPr>
          <p:cNvPr id="57" name="Title 1"/>
          <p:cNvSpPr txBox="1">
            <a:spLocks/>
          </p:cNvSpPr>
          <p:nvPr/>
        </p:nvSpPr>
        <p:spPr>
          <a:xfrm>
            <a:off x="17457" y="317653"/>
            <a:ext cx="11298954" cy="574378"/>
          </a:xfrm>
          <a:prstGeom prst="rect">
            <a:avLst/>
          </a:prstGeom>
        </p:spPr>
        <p:txBody>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pPr defTabSz="1243478"/>
            <a:r>
              <a:rPr lang="en-US" sz="4000" dirty="0">
                <a:solidFill>
                  <a:prstClr val="white"/>
                </a:solidFill>
                <a:latin typeface="Segoe UI Light" panose="020B0502040204020203" pitchFamily="34" charset="0"/>
                <a:cs typeface="Segoe UI Light" panose="020B0502040204020203" pitchFamily="34" charset="0"/>
                <a:sym typeface="Gill Sans" charset="0"/>
              </a:rPr>
              <a:t>Elastically scaling throughput (and storage), </a:t>
            </a:r>
            <a:r>
              <a:rPr lang="en-US" sz="4000" dirty="0">
                <a:solidFill>
                  <a:srgbClr val="FFFF00"/>
                </a:solidFill>
                <a:latin typeface="Segoe UI Light" panose="020B0502040204020203" pitchFamily="34" charset="0"/>
                <a:cs typeface="Segoe UI Light" panose="020B0502040204020203" pitchFamily="34" charset="0"/>
                <a:sym typeface="Gill Sans" charset="0"/>
              </a:rPr>
              <a:t>globally</a:t>
            </a:r>
          </a:p>
        </p:txBody>
      </p:sp>
      <p:grpSp>
        <p:nvGrpSpPr>
          <p:cNvPr id="80" name="Group 79"/>
          <p:cNvGrpSpPr/>
          <p:nvPr/>
        </p:nvGrpSpPr>
        <p:grpSpPr>
          <a:xfrm>
            <a:off x="1490786" y="2718925"/>
            <a:ext cx="785985" cy="685800"/>
            <a:chOff x="468086" y="2406098"/>
            <a:chExt cx="1110063" cy="1019598"/>
          </a:xfrm>
          <a:solidFill>
            <a:schemeClr val="accent1">
              <a:lumMod val="40000"/>
              <a:lumOff val="60000"/>
            </a:schemeClr>
          </a:solidFill>
        </p:grpSpPr>
        <p:sp>
          <p:nvSpPr>
            <p:cNvPr id="81" name="Oval 80"/>
            <p:cNvSpPr/>
            <p:nvPr/>
          </p:nvSpPr>
          <p:spPr>
            <a:xfrm>
              <a:off x="468086" y="2406098"/>
              <a:ext cx="1110063" cy="1019598"/>
            </a:xfrm>
            <a:prstGeom prst="ellipse">
              <a:avLst/>
            </a:prstGeom>
            <a:ln>
              <a:solidFill>
                <a:srgbClr val="FF0000"/>
              </a:solidFill>
            </a:ln>
          </p:spPr>
          <p:style>
            <a:lnRef idx="0">
              <a:schemeClr val="accent5"/>
            </a:lnRef>
            <a:fillRef idx="3">
              <a:schemeClr val="accent5"/>
            </a:fillRef>
            <a:effectRef idx="3">
              <a:schemeClr val="accent5"/>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82" name="Rectangle 81"/>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83" name="Rectangle 82"/>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84" name="Rectangle 83"/>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85" name="Rectangle 84"/>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86" name="Curved Connector 85"/>
            <p:cNvCxnSpPr>
              <a:stCxn id="83" idx="3"/>
              <a:endCxn id="85"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87" name="Curved Connector 86"/>
            <p:cNvCxnSpPr>
              <a:endCxn id="82"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8" name="Curved Connector 87"/>
            <p:cNvCxnSpPr>
              <a:stCxn id="83" idx="3"/>
              <a:endCxn id="84"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107" name="Group 106"/>
          <p:cNvGrpSpPr/>
          <p:nvPr/>
        </p:nvGrpSpPr>
        <p:grpSpPr>
          <a:xfrm>
            <a:off x="3314232" y="2670510"/>
            <a:ext cx="785985" cy="685800"/>
            <a:chOff x="468086" y="2406098"/>
            <a:chExt cx="1110063" cy="1019598"/>
          </a:xfrm>
          <a:solidFill>
            <a:schemeClr val="accent1">
              <a:lumMod val="40000"/>
              <a:lumOff val="60000"/>
            </a:schemeClr>
          </a:solidFill>
        </p:grpSpPr>
        <p:sp>
          <p:nvSpPr>
            <p:cNvPr id="108" name="Oval 107"/>
            <p:cNvSpPr/>
            <p:nvPr/>
          </p:nvSpPr>
          <p:spPr>
            <a:xfrm>
              <a:off x="468086" y="2406098"/>
              <a:ext cx="1110063" cy="1019598"/>
            </a:xfrm>
            <a:prstGeom prst="ellipse">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109" name="Rectangle 108"/>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10" name="Rectangle 109"/>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11" name="Rectangle 110"/>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12" name="Rectangle 111"/>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113" name="Curved Connector 112"/>
            <p:cNvCxnSpPr>
              <a:stCxn id="110" idx="3"/>
              <a:endCxn id="112"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114" name="Curved Connector 113"/>
            <p:cNvCxnSpPr>
              <a:endCxn id="109"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5" name="Curved Connector 114"/>
            <p:cNvCxnSpPr>
              <a:stCxn id="110" idx="3"/>
              <a:endCxn id="111"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sp>
        <p:nvSpPr>
          <p:cNvPr id="164" name="Rectangle 163"/>
          <p:cNvSpPr/>
          <p:nvPr/>
        </p:nvSpPr>
        <p:spPr>
          <a:xfrm>
            <a:off x="4852542" y="2525026"/>
            <a:ext cx="1235470" cy="3733801"/>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grpSp>
        <p:nvGrpSpPr>
          <p:cNvPr id="165" name="Group 164"/>
          <p:cNvGrpSpPr/>
          <p:nvPr/>
        </p:nvGrpSpPr>
        <p:grpSpPr>
          <a:xfrm>
            <a:off x="5077285" y="2679390"/>
            <a:ext cx="785985" cy="685800"/>
            <a:chOff x="468086" y="2406098"/>
            <a:chExt cx="1110063" cy="1019598"/>
          </a:xfrm>
          <a:solidFill>
            <a:schemeClr val="accent1">
              <a:lumMod val="40000"/>
              <a:lumOff val="60000"/>
            </a:schemeClr>
          </a:solidFill>
        </p:grpSpPr>
        <p:sp>
          <p:nvSpPr>
            <p:cNvPr id="166" name="Oval 165"/>
            <p:cNvSpPr/>
            <p:nvPr/>
          </p:nvSpPr>
          <p:spPr>
            <a:xfrm>
              <a:off x="468086" y="2406098"/>
              <a:ext cx="1110063" cy="1019598"/>
            </a:xfrm>
            <a:prstGeom prst="ellipse">
              <a:avLst/>
            </a:prstGeom>
            <a:ln/>
          </p:spPr>
          <p:style>
            <a:lnRef idx="1">
              <a:schemeClr val="dk1"/>
            </a:lnRef>
            <a:fillRef idx="2">
              <a:schemeClr val="dk1"/>
            </a:fillRef>
            <a:effectRef idx="1">
              <a:schemeClr val="dk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67" name="Rectangle 166"/>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68" name="Rectangle 167"/>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69" name="Rectangle 168"/>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70" name="Rectangle 169"/>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171" name="Curved Connector 170"/>
            <p:cNvCxnSpPr>
              <a:stCxn id="168" idx="3"/>
              <a:endCxn id="170"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172" name="Curved Connector 171"/>
            <p:cNvCxnSpPr>
              <a:endCxn id="167"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3" name="Curved Connector 172"/>
            <p:cNvCxnSpPr>
              <a:stCxn id="168" idx="3"/>
              <a:endCxn id="169"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sp>
        <p:nvSpPr>
          <p:cNvPr id="163" name="Right Brace 162"/>
          <p:cNvSpPr/>
          <p:nvPr/>
        </p:nvSpPr>
        <p:spPr>
          <a:xfrm rot="5400000">
            <a:off x="4401602" y="266361"/>
            <a:ext cx="274333" cy="6390705"/>
          </a:xfrm>
          <a:prstGeom prst="rightBrace">
            <a:avLst/>
          </a:prstGeom>
          <a:noFill/>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cxnSp>
        <p:nvCxnSpPr>
          <p:cNvPr id="5" name="Straight Arrow Connector 4"/>
          <p:cNvCxnSpPr/>
          <p:nvPr/>
        </p:nvCxnSpPr>
        <p:spPr>
          <a:xfrm>
            <a:off x="1143457" y="2903140"/>
            <a:ext cx="281155" cy="108398"/>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00" name="TextBox 199"/>
          <p:cNvSpPr txBox="1"/>
          <p:nvPr/>
        </p:nvSpPr>
        <p:spPr>
          <a:xfrm>
            <a:off x="626269" y="2607534"/>
            <a:ext cx="870634" cy="584775"/>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Writes/</a:t>
            </a:r>
          </a:p>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cxnSp>
        <p:nvCxnSpPr>
          <p:cNvPr id="207" name="Straight Arrow Connector 206"/>
          <p:cNvCxnSpPr/>
          <p:nvPr/>
        </p:nvCxnSpPr>
        <p:spPr>
          <a:xfrm flipH="1">
            <a:off x="5928432" y="2755303"/>
            <a:ext cx="239736" cy="248967"/>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13" name="Straight Arrow Connector 212"/>
          <p:cNvCxnSpPr/>
          <p:nvPr/>
        </p:nvCxnSpPr>
        <p:spPr>
          <a:xfrm>
            <a:off x="2842071" y="2965163"/>
            <a:ext cx="372359" cy="186035"/>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14" name="TextBox 213"/>
          <p:cNvSpPr txBox="1"/>
          <p:nvPr/>
        </p:nvSpPr>
        <p:spPr>
          <a:xfrm>
            <a:off x="2504288" y="2663179"/>
            <a:ext cx="631741" cy="584775"/>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sp>
        <p:nvSpPr>
          <p:cNvPr id="219" name="TextBox 218"/>
          <p:cNvSpPr txBox="1"/>
          <p:nvPr/>
        </p:nvSpPr>
        <p:spPr>
          <a:xfrm>
            <a:off x="3055475" y="2209841"/>
            <a:ext cx="1344262" cy="523220"/>
          </a:xfrm>
          <a:prstGeom prst="rect">
            <a:avLst/>
          </a:prstGeom>
          <a:noFill/>
        </p:spPr>
        <p:txBody>
          <a:bodyPr wrap="square" rtlCol="0">
            <a:spAutoFit/>
          </a:bodyPr>
          <a:lstStyle/>
          <a:p>
            <a:pPr defTabSz="457200" fontAlgn="base">
              <a:spcBef>
                <a:spcPct val="0"/>
              </a:spcBef>
              <a:spcAft>
                <a:spcPct val="0"/>
              </a:spcAft>
            </a:pPr>
            <a:r>
              <a:rPr lang="en-US" sz="1400" b="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irport" : “AMS"</a:t>
            </a:r>
          </a:p>
        </p:txBody>
      </p:sp>
      <p:sp>
        <p:nvSpPr>
          <p:cNvPr id="220" name="TextBox 219"/>
          <p:cNvSpPr txBox="1"/>
          <p:nvPr/>
        </p:nvSpPr>
        <p:spPr>
          <a:xfrm>
            <a:off x="4776615" y="2208286"/>
            <a:ext cx="1385536" cy="307777"/>
          </a:xfrm>
          <a:prstGeom prst="rect">
            <a:avLst/>
          </a:prstGeom>
          <a:noFill/>
        </p:spPr>
        <p:txBody>
          <a:bodyPr wrap="square" rtlCol="0">
            <a:spAutoFit/>
          </a:bodyPr>
          <a:lstStyle/>
          <a:p>
            <a:pPr defTabSz="457200" fontAlgn="base">
              <a:spcBef>
                <a:spcPct val="0"/>
              </a:spcBef>
              <a:spcAft>
                <a:spcPct val="0"/>
              </a:spcAft>
            </a:pPr>
            <a:r>
              <a:rPr lang="en-US" sz="1400" b="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irport" : “MEL"</a:t>
            </a:r>
          </a:p>
        </p:txBody>
      </p:sp>
      <p:sp>
        <p:nvSpPr>
          <p:cNvPr id="221" name="TextBox 220"/>
          <p:cNvSpPr txBox="1"/>
          <p:nvPr/>
        </p:nvSpPr>
        <p:spPr>
          <a:xfrm>
            <a:off x="6735795" y="3093276"/>
            <a:ext cx="998327"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West US</a:t>
            </a:r>
          </a:p>
        </p:txBody>
      </p:sp>
      <p:sp>
        <p:nvSpPr>
          <p:cNvPr id="233" name="Flowchart: Document 232"/>
          <p:cNvSpPr/>
          <p:nvPr/>
        </p:nvSpPr>
        <p:spPr>
          <a:xfrm>
            <a:off x="3055475" y="1115857"/>
            <a:ext cx="1137548" cy="508904"/>
          </a:xfrm>
          <a:prstGeom prst="flowChartDocument">
            <a:avLst/>
          </a:prstGeom>
          <a:solidFill>
            <a:schemeClr val="accent5">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dirty="0">
                <a:solidFill>
                  <a:srgbClr val="FFFF00"/>
                </a:solidFill>
                <a:latin typeface="Segoe UI Light" panose="020B0502040204020203" pitchFamily="34" charset="0"/>
                <a:cs typeface="Segoe UI Light" panose="020B0502040204020203" pitchFamily="34" charset="0"/>
                <a:sym typeface="Gill Sans" charset="0"/>
              </a:rPr>
              <a:t>Container</a:t>
            </a:r>
          </a:p>
        </p:txBody>
      </p:sp>
      <p:cxnSp>
        <p:nvCxnSpPr>
          <p:cNvPr id="235" name="Straight Arrow Connector 234"/>
          <p:cNvCxnSpPr>
            <a:stCxn id="233" idx="2"/>
          </p:cNvCxnSpPr>
          <p:nvPr/>
        </p:nvCxnSpPr>
        <p:spPr>
          <a:xfrm flipH="1">
            <a:off x="2038756" y="1591117"/>
            <a:ext cx="1585493" cy="824299"/>
          </a:xfrm>
          <a:prstGeom prst="straightConnector1">
            <a:avLst/>
          </a:prstGeom>
          <a:ln w="19050">
            <a:solidFill>
              <a:srgbClr val="FFFF00"/>
            </a:solidFill>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39" name="Straight Arrow Connector 238"/>
          <p:cNvCxnSpPr>
            <a:stCxn id="233" idx="2"/>
          </p:cNvCxnSpPr>
          <p:nvPr/>
        </p:nvCxnSpPr>
        <p:spPr>
          <a:xfrm>
            <a:off x="3624249" y="1591117"/>
            <a:ext cx="124536" cy="739856"/>
          </a:xfrm>
          <a:prstGeom prst="straightConnector1">
            <a:avLst/>
          </a:prstGeom>
          <a:ln w="19050">
            <a:solidFill>
              <a:srgbClr val="FFFF00"/>
            </a:solidFill>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42" name="Straight Arrow Connector 241"/>
          <p:cNvCxnSpPr>
            <a:stCxn id="233" idx="2"/>
          </p:cNvCxnSpPr>
          <p:nvPr/>
        </p:nvCxnSpPr>
        <p:spPr>
          <a:xfrm>
            <a:off x="3624249" y="1591117"/>
            <a:ext cx="1577000" cy="753624"/>
          </a:xfrm>
          <a:prstGeom prst="straightConnector1">
            <a:avLst/>
          </a:prstGeom>
          <a:ln w="19050">
            <a:solidFill>
              <a:srgbClr val="FFFF00"/>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47" name="TextBox 246"/>
          <p:cNvSpPr txBox="1"/>
          <p:nvPr/>
        </p:nvSpPr>
        <p:spPr>
          <a:xfrm>
            <a:off x="1247419" y="2234378"/>
            <a:ext cx="1279948" cy="523220"/>
          </a:xfrm>
          <a:prstGeom prst="rect">
            <a:avLst/>
          </a:prstGeom>
          <a:noFill/>
        </p:spPr>
        <p:txBody>
          <a:bodyPr wrap="square" rtlCol="0">
            <a:spAutoFit/>
          </a:bodyPr>
          <a:lstStyle/>
          <a:p>
            <a:pPr defTabSz="457200" fontAlgn="base">
              <a:spcBef>
                <a:spcPct val="0"/>
              </a:spcBef>
              <a:spcAft>
                <a:spcPct val="0"/>
              </a:spcAft>
            </a:pPr>
            <a:r>
              <a:rPr lang="en-US" sz="1400" b="1"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irport" : "LAX"</a:t>
            </a:r>
          </a:p>
        </p:txBody>
      </p:sp>
      <p:cxnSp>
        <p:nvCxnSpPr>
          <p:cNvPr id="151" name="Straight Arrow Connector 150"/>
          <p:cNvCxnSpPr/>
          <p:nvPr/>
        </p:nvCxnSpPr>
        <p:spPr>
          <a:xfrm>
            <a:off x="473541" y="6619629"/>
            <a:ext cx="6524397" cy="27853"/>
          </a:xfrm>
          <a:prstGeom prst="straightConnector1">
            <a:avLst/>
          </a:prstGeom>
          <a:ln w="57150">
            <a:headEnd type="none" w="med" len="med"/>
            <a:tailEnd type="triangle" w="med" len="med"/>
          </a:ln>
        </p:spPr>
        <p:style>
          <a:lnRef idx="3">
            <a:schemeClr val="accent1"/>
          </a:lnRef>
          <a:fillRef idx="0">
            <a:schemeClr val="accent1"/>
          </a:fillRef>
          <a:effectRef idx="2">
            <a:schemeClr val="accent1"/>
          </a:effectRef>
          <a:fontRef idx="minor">
            <a:schemeClr val="tx1"/>
          </a:fontRef>
        </p:style>
      </p:cxnSp>
      <p:sp>
        <p:nvSpPr>
          <p:cNvPr id="152" name="TextBox 151"/>
          <p:cNvSpPr txBox="1"/>
          <p:nvPr/>
        </p:nvSpPr>
        <p:spPr>
          <a:xfrm>
            <a:off x="1533828" y="6755745"/>
            <a:ext cx="5318390"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Local Distribution (via horizontal partitioning) </a:t>
            </a:r>
          </a:p>
        </p:txBody>
      </p:sp>
      <p:cxnSp>
        <p:nvCxnSpPr>
          <p:cNvPr id="154" name="Straight Arrow Connector 153"/>
          <p:cNvCxnSpPr/>
          <p:nvPr/>
        </p:nvCxnSpPr>
        <p:spPr>
          <a:xfrm flipV="1">
            <a:off x="541270" y="1505634"/>
            <a:ext cx="3233" cy="5167209"/>
          </a:xfrm>
          <a:prstGeom prst="straightConnector1">
            <a:avLst/>
          </a:prstGeom>
          <a:ln w="57150">
            <a:headEnd type="none" w="med" len="med"/>
            <a:tailEnd type="triangle" w="med" len="med"/>
          </a:ln>
        </p:spPr>
        <p:style>
          <a:lnRef idx="3">
            <a:schemeClr val="accent1"/>
          </a:lnRef>
          <a:fillRef idx="0">
            <a:schemeClr val="accent1"/>
          </a:fillRef>
          <a:effectRef idx="2">
            <a:schemeClr val="accent1"/>
          </a:effectRef>
          <a:fontRef idx="minor">
            <a:schemeClr val="tx1"/>
          </a:fontRef>
        </p:style>
      </p:cxnSp>
      <p:sp>
        <p:nvSpPr>
          <p:cNvPr id="157" name="TextBox 156"/>
          <p:cNvSpPr txBox="1"/>
          <p:nvPr/>
        </p:nvSpPr>
        <p:spPr>
          <a:xfrm rot="16200000">
            <a:off x="-1777480" y="3805598"/>
            <a:ext cx="4132159"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Global Distribution (of resource partitions)</a:t>
            </a:r>
          </a:p>
        </p:txBody>
      </p:sp>
      <p:sp>
        <p:nvSpPr>
          <p:cNvPr id="210" name="TextBox 209"/>
          <p:cNvSpPr txBox="1"/>
          <p:nvPr/>
        </p:nvSpPr>
        <p:spPr>
          <a:xfrm>
            <a:off x="6143489" y="2494369"/>
            <a:ext cx="843042" cy="338554"/>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sp>
        <p:nvSpPr>
          <p:cNvPr id="195" name="TextBox 194"/>
          <p:cNvSpPr txBox="1"/>
          <p:nvPr/>
        </p:nvSpPr>
        <p:spPr>
          <a:xfrm>
            <a:off x="3635630" y="3557631"/>
            <a:ext cx="1832447" cy="584775"/>
          </a:xfrm>
          <a:prstGeom prst="rect">
            <a:avLst/>
          </a:prstGeom>
          <a:noFill/>
        </p:spPr>
        <p:txBody>
          <a:bodyPr wrap="square" rtlCol="0">
            <a:spAutoFit/>
          </a:bodyPr>
          <a:lstStyle/>
          <a:p>
            <a:pPr algn="ct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30K transactions/sec</a:t>
            </a:r>
          </a:p>
        </p:txBody>
      </p:sp>
      <p:grpSp>
        <p:nvGrpSpPr>
          <p:cNvPr id="2" name="Group 1"/>
          <p:cNvGrpSpPr/>
          <p:nvPr/>
        </p:nvGrpSpPr>
        <p:grpSpPr>
          <a:xfrm>
            <a:off x="647878" y="3310342"/>
            <a:ext cx="7079885" cy="2216056"/>
            <a:chOff x="1295756" y="6163484"/>
            <a:chExt cx="14159769" cy="4432112"/>
          </a:xfrm>
        </p:grpSpPr>
        <p:grpSp>
          <p:nvGrpSpPr>
            <p:cNvPr id="244" name="Group 243"/>
            <p:cNvGrpSpPr/>
            <p:nvPr/>
          </p:nvGrpSpPr>
          <p:grpSpPr>
            <a:xfrm>
              <a:off x="1295756" y="6163484"/>
              <a:ext cx="14159769" cy="3435967"/>
              <a:chOff x="1269213" y="6596030"/>
              <a:chExt cx="14159769" cy="3435967"/>
            </a:xfrm>
          </p:grpSpPr>
          <p:sp>
            <p:nvSpPr>
              <p:cNvPr id="201" name="TextBox 200"/>
              <p:cNvSpPr txBox="1"/>
              <p:nvPr/>
            </p:nvSpPr>
            <p:spPr>
              <a:xfrm>
                <a:off x="5076815" y="6913500"/>
                <a:ext cx="1611198" cy="1169550"/>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Writes/</a:t>
                </a:r>
              </a:p>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grpSp>
            <p:nvGrpSpPr>
              <p:cNvPr id="243" name="Group 242"/>
              <p:cNvGrpSpPr/>
              <p:nvPr/>
            </p:nvGrpSpPr>
            <p:grpSpPr>
              <a:xfrm>
                <a:off x="1269213" y="6596030"/>
                <a:ext cx="14159769" cy="3435967"/>
                <a:chOff x="1269213" y="6596030"/>
                <a:chExt cx="14159769" cy="3435967"/>
              </a:xfrm>
            </p:grpSpPr>
            <p:grpSp>
              <p:nvGrpSpPr>
                <p:cNvPr id="241" name="Group 240"/>
                <p:cNvGrpSpPr/>
                <p:nvPr/>
              </p:nvGrpSpPr>
              <p:grpSpPr>
                <a:xfrm>
                  <a:off x="1269213" y="7185609"/>
                  <a:ext cx="14159769" cy="2846388"/>
                  <a:chOff x="1269213" y="7185609"/>
                  <a:chExt cx="14159769" cy="2846388"/>
                </a:xfrm>
              </p:grpSpPr>
              <p:sp>
                <p:nvSpPr>
                  <p:cNvPr id="48" name="TextBox 47"/>
                  <p:cNvSpPr txBox="1"/>
                  <p:nvPr/>
                </p:nvSpPr>
                <p:spPr>
                  <a:xfrm>
                    <a:off x="6180229" y="7977531"/>
                    <a:ext cx="417736" cy="553998"/>
                  </a:xfrm>
                  <a:prstGeom prst="rect">
                    <a:avLst/>
                  </a:prstGeom>
                  <a:noFill/>
                  <a:ln>
                    <a:noFill/>
                  </a:ln>
                </p:spPr>
                <p:txBody>
                  <a:bodyPr wrap="square" lIns="0" tIns="0" rIns="0" bIns="0" rtlCol="0">
                    <a:spAutoFit/>
                  </a:bodyPr>
                  <a:lstStyle/>
                  <a:p>
                    <a:pPr algn="ctr" defTabSz="457200" fontAlgn="base">
                      <a:spcBef>
                        <a:spcPct val="0"/>
                      </a:spcBef>
                      <a:spcAft>
                        <a:spcPct val="0"/>
                      </a:spcAft>
                    </a:pPr>
                    <a:endParaRPr lang="en-US" dirty="0">
                      <a:solidFill>
                        <a:prstClr val="white"/>
                      </a:solidFill>
                      <a:latin typeface="Gill Sans" charset="0"/>
                      <a:ea typeface="Heiti SC Light" charset="-122"/>
                      <a:sym typeface="Gill Sans" charset="0"/>
                    </a:endParaRPr>
                  </a:p>
                </p:txBody>
              </p:sp>
              <p:grpSp>
                <p:nvGrpSpPr>
                  <p:cNvPr id="89" name="Group 88"/>
                  <p:cNvGrpSpPr/>
                  <p:nvPr/>
                </p:nvGrpSpPr>
                <p:grpSpPr>
                  <a:xfrm>
                    <a:off x="2962258" y="8108047"/>
                    <a:ext cx="1571969" cy="1371600"/>
                    <a:chOff x="468086" y="2406098"/>
                    <a:chExt cx="1110063" cy="1019598"/>
                  </a:xfrm>
                  <a:solidFill>
                    <a:schemeClr val="accent1">
                      <a:lumMod val="40000"/>
                      <a:lumOff val="60000"/>
                    </a:schemeClr>
                  </a:solidFill>
                </p:grpSpPr>
                <p:sp>
                  <p:nvSpPr>
                    <p:cNvPr id="90" name="Oval 89"/>
                    <p:cNvSpPr/>
                    <p:nvPr/>
                  </p:nvSpPr>
                  <p:spPr>
                    <a:xfrm>
                      <a:off x="468086" y="2406098"/>
                      <a:ext cx="1110063" cy="1019598"/>
                    </a:xfrm>
                    <a:prstGeom prst="ellipse">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91" name="Rectangle 90"/>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92" name="Rectangle 91"/>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93" name="Rectangle 92"/>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94" name="Rectangle 93"/>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95" name="Curved Connector 94"/>
                    <p:cNvCxnSpPr>
                      <a:stCxn id="92" idx="3"/>
                      <a:endCxn id="94"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96" name="Curved Connector 95"/>
                    <p:cNvCxnSpPr>
                      <a:endCxn id="91"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7" name="Curved Connector 96"/>
                    <p:cNvCxnSpPr>
                      <a:stCxn id="92" idx="3"/>
                      <a:endCxn id="93"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116" name="Group 115"/>
                  <p:cNvGrpSpPr/>
                  <p:nvPr/>
                </p:nvGrpSpPr>
                <p:grpSpPr>
                  <a:xfrm>
                    <a:off x="6595402" y="8055639"/>
                    <a:ext cx="1571969" cy="1371600"/>
                    <a:chOff x="468086" y="2406098"/>
                    <a:chExt cx="1110063" cy="1019598"/>
                  </a:xfrm>
                  <a:solidFill>
                    <a:schemeClr val="accent1">
                      <a:lumMod val="40000"/>
                      <a:lumOff val="60000"/>
                    </a:schemeClr>
                  </a:solidFill>
                </p:grpSpPr>
                <p:sp>
                  <p:nvSpPr>
                    <p:cNvPr id="117" name="Oval 116"/>
                    <p:cNvSpPr/>
                    <p:nvPr/>
                  </p:nvSpPr>
                  <p:spPr>
                    <a:xfrm>
                      <a:off x="468086" y="2406098"/>
                      <a:ext cx="1110063" cy="1019598"/>
                    </a:xfrm>
                    <a:prstGeom prst="ellipse">
                      <a:avLst/>
                    </a:prstGeom>
                    <a:ln>
                      <a:solidFill>
                        <a:srgbClr val="FF0000"/>
                      </a:solidFill>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118" name="Rectangle 117"/>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19" name="Rectangle 118"/>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20" name="Rectangle 119"/>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21" name="Rectangle 120"/>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122" name="Curved Connector 121"/>
                    <p:cNvCxnSpPr>
                      <a:stCxn id="119" idx="3"/>
                      <a:endCxn id="121"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123" name="Curved Connector 122"/>
                    <p:cNvCxnSpPr>
                      <a:endCxn id="118"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4" name="Curved Connector 123"/>
                    <p:cNvCxnSpPr>
                      <a:stCxn id="119" idx="3"/>
                      <a:endCxn id="120"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174" name="Group 173"/>
                  <p:cNvGrpSpPr/>
                  <p:nvPr/>
                </p:nvGrpSpPr>
                <p:grpSpPr>
                  <a:xfrm>
                    <a:off x="10174695" y="8142173"/>
                    <a:ext cx="1571969" cy="1371600"/>
                    <a:chOff x="468086" y="2406098"/>
                    <a:chExt cx="1110063" cy="1019598"/>
                  </a:xfrm>
                  <a:solidFill>
                    <a:schemeClr val="accent1">
                      <a:lumMod val="40000"/>
                      <a:lumOff val="60000"/>
                    </a:schemeClr>
                  </a:solidFill>
                </p:grpSpPr>
                <p:sp>
                  <p:nvSpPr>
                    <p:cNvPr id="175" name="Oval 174"/>
                    <p:cNvSpPr/>
                    <p:nvPr/>
                  </p:nvSpPr>
                  <p:spPr>
                    <a:xfrm>
                      <a:off x="468086" y="2406098"/>
                      <a:ext cx="1110063" cy="1019598"/>
                    </a:xfrm>
                    <a:prstGeom prst="ellipse">
                      <a:avLst/>
                    </a:prstGeom>
                    <a:ln>
                      <a:noFill/>
                    </a:ln>
                  </p:spPr>
                  <p:style>
                    <a:lnRef idx="1">
                      <a:schemeClr val="dk1"/>
                    </a:lnRef>
                    <a:fillRef idx="2">
                      <a:schemeClr val="dk1"/>
                    </a:fillRef>
                    <a:effectRef idx="1">
                      <a:schemeClr val="dk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76" name="Rectangle 175"/>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77" name="Rectangle 176"/>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78" name="Rectangle 177"/>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79" name="Rectangle 178"/>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180" name="Curved Connector 179"/>
                    <p:cNvCxnSpPr>
                      <a:stCxn id="177" idx="3"/>
                      <a:endCxn id="179"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181" name="Curved Connector 180"/>
                    <p:cNvCxnSpPr>
                      <a:endCxn id="176"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2" name="Curved Connector 181"/>
                    <p:cNvCxnSpPr>
                      <a:stCxn id="177" idx="3"/>
                      <a:endCxn id="178"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sp>
                <p:nvSpPr>
                  <p:cNvPr id="192" name="Right Brace 191"/>
                  <p:cNvSpPr/>
                  <p:nvPr/>
                </p:nvSpPr>
                <p:spPr>
                  <a:xfrm rot="5400000">
                    <a:off x="8668656" y="3197298"/>
                    <a:ext cx="751959" cy="12768692"/>
                  </a:xfrm>
                  <a:prstGeom prst="rightBrace">
                    <a:avLst/>
                  </a:prstGeom>
                  <a:noFill/>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cxnSp>
                <p:nvCxnSpPr>
                  <p:cNvPr id="196" name="Straight Arrow Connector 195"/>
                  <p:cNvCxnSpPr/>
                  <p:nvPr/>
                </p:nvCxnSpPr>
                <p:spPr>
                  <a:xfrm>
                    <a:off x="5729113" y="7921786"/>
                    <a:ext cx="976487" cy="460214"/>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03" name="Straight Arrow Connector 202"/>
                  <p:cNvCxnSpPr/>
                  <p:nvPr/>
                </p:nvCxnSpPr>
                <p:spPr>
                  <a:xfrm>
                    <a:off x="1798141" y="8078425"/>
                    <a:ext cx="1147393" cy="682055"/>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04" name="TextBox 203"/>
                  <p:cNvSpPr txBox="1"/>
                  <p:nvPr/>
                </p:nvSpPr>
                <p:spPr>
                  <a:xfrm>
                    <a:off x="1269213" y="7411493"/>
                    <a:ext cx="1506162" cy="677108"/>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cxnSp>
                <p:nvCxnSpPr>
                  <p:cNvPr id="211" name="Straight Arrow Connector 210"/>
                  <p:cNvCxnSpPr>
                    <a:cxnSpLocks/>
                    <a:stCxn id="212" idx="2"/>
                  </p:cNvCxnSpPr>
                  <p:nvPr/>
                </p:nvCxnSpPr>
                <p:spPr>
                  <a:xfrm flipH="1">
                    <a:off x="11457124" y="7862717"/>
                    <a:ext cx="1131112" cy="359434"/>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12" name="TextBox 211"/>
                  <p:cNvSpPr txBox="1"/>
                  <p:nvPr/>
                </p:nvSpPr>
                <p:spPr>
                  <a:xfrm>
                    <a:off x="11830320" y="7185609"/>
                    <a:ext cx="1515832" cy="677108"/>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sp>
                <p:nvSpPr>
                  <p:cNvPr id="222" name="TextBox 221"/>
                  <p:cNvSpPr txBox="1"/>
                  <p:nvPr/>
                </p:nvSpPr>
                <p:spPr>
                  <a:xfrm>
                    <a:off x="13017152" y="8862447"/>
                    <a:ext cx="2411828" cy="1169550"/>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West Europe</a:t>
                    </a:r>
                  </a:p>
                </p:txBody>
              </p:sp>
            </p:grpSp>
            <p:grpSp>
              <p:nvGrpSpPr>
                <p:cNvPr id="240" name="Group 239"/>
                <p:cNvGrpSpPr/>
                <p:nvPr/>
              </p:nvGrpSpPr>
              <p:grpSpPr>
                <a:xfrm>
                  <a:off x="3315900" y="6596030"/>
                  <a:ext cx="7843775" cy="1714886"/>
                  <a:chOff x="3315900" y="6596030"/>
                  <a:chExt cx="7843775" cy="1714886"/>
                </a:xfrm>
              </p:grpSpPr>
              <p:cxnSp>
                <p:nvCxnSpPr>
                  <p:cNvPr id="160" name="Curved Connector 159"/>
                  <p:cNvCxnSpPr/>
                  <p:nvPr/>
                </p:nvCxnSpPr>
                <p:spPr>
                  <a:xfrm rot="5400000">
                    <a:off x="2840386" y="7163481"/>
                    <a:ext cx="1622949" cy="671922"/>
                  </a:xfrm>
                  <a:prstGeom prst="curvedConnector3">
                    <a:avLst>
                      <a:gd name="adj1" fmla="val 50000"/>
                    </a:avLst>
                  </a:prstGeom>
                  <a:ln>
                    <a:solidFill>
                      <a:schemeClr val="bg1"/>
                    </a:solidFill>
                    <a:prstDash val="dash"/>
                    <a:headEnd type="triangle"/>
                    <a:tailEnd type="triangle"/>
                  </a:ln>
                </p:spPr>
                <p:style>
                  <a:lnRef idx="3">
                    <a:schemeClr val="dk1"/>
                  </a:lnRef>
                  <a:fillRef idx="0">
                    <a:schemeClr val="dk1"/>
                  </a:fillRef>
                  <a:effectRef idx="2">
                    <a:schemeClr val="dk1"/>
                  </a:effectRef>
                  <a:fontRef idx="minor">
                    <a:schemeClr val="tx1"/>
                  </a:fontRef>
                </p:style>
              </p:cxnSp>
              <p:cxnSp>
                <p:nvCxnSpPr>
                  <p:cNvPr id="199" name="Curved Connector 198"/>
                  <p:cNvCxnSpPr/>
                  <p:nvPr/>
                </p:nvCxnSpPr>
                <p:spPr>
                  <a:xfrm rot="5400000">
                    <a:off x="6406112" y="7071544"/>
                    <a:ext cx="1622949" cy="671922"/>
                  </a:xfrm>
                  <a:prstGeom prst="curvedConnector3">
                    <a:avLst>
                      <a:gd name="adj1" fmla="val 50000"/>
                    </a:avLst>
                  </a:prstGeom>
                  <a:ln>
                    <a:solidFill>
                      <a:schemeClr val="bg1"/>
                    </a:solidFill>
                    <a:prstDash val="dash"/>
                    <a:headEnd type="triangle"/>
                    <a:tailEnd type="triangle"/>
                  </a:ln>
                </p:spPr>
                <p:style>
                  <a:lnRef idx="3">
                    <a:schemeClr val="dk1"/>
                  </a:lnRef>
                  <a:fillRef idx="0">
                    <a:schemeClr val="dk1"/>
                  </a:fillRef>
                  <a:effectRef idx="2">
                    <a:schemeClr val="dk1"/>
                  </a:effectRef>
                  <a:fontRef idx="minor">
                    <a:schemeClr val="tx1"/>
                  </a:fontRef>
                </p:style>
              </p:cxnSp>
              <p:cxnSp>
                <p:nvCxnSpPr>
                  <p:cNvPr id="209" name="Curved Connector 208"/>
                  <p:cNvCxnSpPr/>
                  <p:nvPr/>
                </p:nvCxnSpPr>
                <p:spPr>
                  <a:xfrm rot="5400000">
                    <a:off x="10012239" y="7135181"/>
                    <a:ext cx="1622949" cy="671922"/>
                  </a:xfrm>
                  <a:prstGeom prst="curvedConnector3">
                    <a:avLst>
                      <a:gd name="adj1" fmla="val 50000"/>
                    </a:avLst>
                  </a:prstGeom>
                  <a:ln>
                    <a:solidFill>
                      <a:schemeClr val="bg1"/>
                    </a:solidFill>
                    <a:prstDash val="dash"/>
                    <a:headEnd type="triangle"/>
                    <a:tailEnd type="triangle"/>
                  </a:ln>
                </p:spPr>
                <p:style>
                  <a:lnRef idx="3">
                    <a:schemeClr val="dk1"/>
                  </a:lnRef>
                  <a:fillRef idx="0">
                    <a:schemeClr val="dk1"/>
                  </a:fillRef>
                  <a:effectRef idx="2">
                    <a:schemeClr val="dk1"/>
                  </a:effectRef>
                  <a:fontRef idx="minor">
                    <a:schemeClr val="tx1"/>
                  </a:fontRef>
                </p:style>
              </p:cxnSp>
            </p:grpSp>
          </p:grpSp>
        </p:grpSp>
        <p:sp>
          <p:nvSpPr>
            <p:cNvPr id="215" name="TextBox 214"/>
            <p:cNvSpPr txBox="1"/>
            <p:nvPr/>
          </p:nvSpPr>
          <p:spPr>
            <a:xfrm>
              <a:off x="7489616" y="9426046"/>
              <a:ext cx="3664894" cy="1169550"/>
            </a:xfrm>
            <a:prstGeom prst="rect">
              <a:avLst/>
            </a:prstGeom>
            <a:noFill/>
          </p:spPr>
          <p:txBody>
            <a:bodyPr wrap="square" rtlCol="0">
              <a:spAutoFit/>
            </a:bodyPr>
            <a:lstStyle/>
            <a:p>
              <a:pPr algn="ct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30K transactions/sec</a:t>
              </a:r>
            </a:p>
          </p:txBody>
        </p:sp>
      </p:grpSp>
      <p:grpSp>
        <p:nvGrpSpPr>
          <p:cNvPr id="4" name="Group 3"/>
          <p:cNvGrpSpPr/>
          <p:nvPr/>
        </p:nvGrpSpPr>
        <p:grpSpPr>
          <a:xfrm>
            <a:off x="648996" y="3345044"/>
            <a:ext cx="7777426" cy="3235327"/>
            <a:chOff x="1297992" y="6232888"/>
            <a:chExt cx="15554851" cy="6470654"/>
          </a:xfrm>
        </p:grpSpPr>
        <p:grpSp>
          <p:nvGrpSpPr>
            <p:cNvPr id="238" name="Group 237"/>
            <p:cNvGrpSpPr/>
            <p:nvPr/>
          </p:nvGrpSpPr>
          <p:grpSpPr>
            <a:xfrm>
              <a:off x="1297992" y="6232888"/>
              <a:ext cx="15554851" cy="5938068"/>
              <a:chOff x="1271449" y="6665434"/>
              <a:chExt cx="15554851" cy="5938068"/>
            </a:xfrm>
          </p:grpSpPr>
          <p:grpSp>
            <p:nvGrpSpPr>
              <p:cNvPr id="8" name="Group 7"/>
              <p:cNvGrpSpPr/>
              <p:nvPr/>
            </p:nvGrpSpPr>
            <p:grpSpPr>
              <a:xfrm>
                <a:off x="1271449" y="9875660"/>
                <a:ext cx="15554851" cy="2727842"/>
                <a:chOff x="1271449" y="9875660"/>
                <a:chExt cx="15554851" cy="2727842"/>
              </a:xfrm>
            </p:grpSpPr>
            <p:grpSp>
              <p:nvGrpSpPr>
                <p:cNvPr id="98" name="Group 97"/>
                <p:cNvGrpSpPr/>
                <p:nvPr/>
              </p:nvGrpSpPr>
              <p:grpSpPr>
                <a:xfrm>
                  <a:off x="2962258" y="10792163"/>
                  <a:ext cx="1571969" cy="1371600"/>
                  <a:chOff x="468086" y="2406098"/>
                  <a:chExt cx="1110063" cy="1019598"/>
                </a:xfrm>
                <a:solidFill>
                  <a:schemeClr val="accent1">
                    <a:lumMod val="40000"/>
                    <a:lumOff val="60000"/>
                  </a:schemeClr>
                </a:solidFill>
              </p:grpSpPr>
              <p:sp>
                <p:nvSpPr>
                  <p:cNvPr id="99" name="Oval 98"/>
                  <p:cNvSpPr/>
                  <p:nvPr/>
                </p:nvSpPr>
                <p:spPr>
                  <a:xfrm>
                    <a:off x="468086" y="2406098"/>
                    <a:ext cx="1110063" cy="1019598"/>
                  </a:xfrm>
                  <a:prstGeom prst="ellipse">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100" name="Rectangle 99"/>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01" name="Rectangle 100"/>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02" name="Rectangle 101"/>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03" name="Rectangle 102"/>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104" name="Curved Connector 103"/>
                  <p:cNvCxnSpPr>
                    <a:stCxn id="101" idx="3"/>
                    <a:endCxn id="103"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105" name="Curved Connector 104"/>
                  <p:cNvCxnSpPr>
                    <a:endCxn id="100"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6" name="Curved Connector 105"/>
                  <p:cNvCxnSpPr>
                    <a:stCxn id="101" idx="3"/>
                    <a:endCxn id="102"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125" name="Group 124"/>
                <p:cNvGrpSpPr/>
                <p:nvPr/>
              </p:nvGrpSpPr>
              <p:grpSpPr>
                <a:xfrm>
                  <a:off x="6645957" y="10781130"/>
                  <a:ext cx="1571969" cy="1371600"/>
                  <a:chOff x="468086" y="2406098"/>
                  <a:chExt cx="1110063" cy="1019598"/>
                </a:xfrm>
                <a:solidFill>
                  <a:schemeClr val="accent1">
                    <a:lumMod val="40000"/>
                    <a:lumOff val="60000"/>
                  </a:schemeClr>
                </a:solidFill>
              </p:grpSpPr>
              <p:sp>
                <p:nvSpPr>
                  <p:cNvPr id="126" name="Oval 125"/>
                  <p:cNvSpPr/>
                  <p:nvPr/>
                </p:nvSpPr>
                <p:spPr>
                  <a:xfrm>
                    <a:off x="468086" y="2406098"/>
                    <a:ext cx="1110063" cy="1019598"/>
                  </a:xfrm>
                  <a:prstGeom prst="ellipse">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sp>
                <p:nvSpPr>
                  <p:cNvPr id="127" name="Rectangle 126"/>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28" name="Rectangle 127"/>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29" name="Rectangle 128"/>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30" name="Rectangle 129"/>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131" name="Curved Connector 130"/>
                  <p:cNvCxnSpPr>
                    <a:stCxn id="128" idx="3"/>
                    <a:endCxn id="130"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132" name="Curved Connector 131"/>
                  <p:cNvCxnSpPr>
                    <a:endCxn id="127"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3" name="Curved Connector 132"/>
                  <p:cNvCxnSpPr>
                    <a:stCxn id="128" idx="3"/>
                    <a:endCxn id="129"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grpSp>
              <p:nvGrpSpPr>
                <p:cNvPr id="183" name="Group 182"/>
                <p:cNvGrpSpPr/>
                <p:nvPr/>
              </p:nvGrpSpPr>
              <p:grpSpPr>
                <a:xfrm>
                  <a:off x="10128026" y="10899434"/>
                  <a:ext cx="1571969" cy="1371600"/>
                  <a:chOff x="468086" y="2406098"/>
                  <a:chExt cx="1110063" cy="1019598"/>
                </a:xfrm>
                <a:solidFill>
                  <a:schemeClr val="accent1">
                    <a:lumMod val="40000"/>
                    <a:lumOff val="60000"/>
                  </a:schemeClr>
                </a:solidFill>
              </p:grpSpPr>
              <p:sp>
                <p:nvSpPr>
                  <p:cNvPr id="184" name="Oval 183"/>
                  <p:cNvSpPr/>
                  <p:nvPr/>
                </p:nvSpPr>
                <p:spPr>
                  <a:xfrm>
                    <a:off x="468086" y="2406098"/>
                    <a:ext cx="1110063" cy="1019598"/>
                  </a:xfrm>
                  <a:prstGeom prst="ellipse">
                    <a:avLst/>
                  </a:prstGeom>
                  <a:ln>
                    <a:solidFill>
                      <a:srgbClr val="FF0000"/>
                    </a:solidFill>
                  </a:ln>
                </p:spPr>
                <p:style>
                  <a:lnRef idx="1">
                    <a:schemeClr val="dk1"/>
                  </a:lnRef>
                  <a:fillRef idx="2">
                    <a:schemeClr val="dk1"/>
                  </a:fillRef>
                  <a:effectRef idx="1">
                    <a:schemeClr val="dk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85" name="Rectangle 184"/>
                  <p:cNvSpPr/>
                  <p:nvPr/>
                </p:nvSpPr>
                <p:spPr>
                  <a:xfrm>
                    <a:off x="1174923" y="2494500"/>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86" name="Rectangle 185"/>
                  <p:cNvSpPr/>
                  <p:nvPr/>
                </p:nvSpPr>
                <p:spPr>
                  <a:xfrm>
                    <a:off x="566148" y="2764776"/>
                    <a:ext cx="111726" cy="226398"/>
                  </a:xfrm>
                  <a:prstGeom prst="rect">
                    <a:avLst/>
                  </a:prstGeom>
                  <a:solidFill>
                    <a:srgbClr val="FFC0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87" name="Rectangle 186"/>
                  <p:cNvSpPr/>
                  <p:nvPr/>
                </p:nvSpPr>
                <p:spPr>
                  <a:xfrm>
                    <a:off x="1174923" y="2789109"/>
                    <a:ext cx="111726" cy="226398"/>
                  </a:xfrm>
                  <a:prstGeom prst="rect">
                    <a:avLst/>
                  </a:prstGeom>
                  <a:solidFill>
                    <a:srgbClr val="FFFF00"/>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sp>
                <p:nvSpPr>
                  <p:cNvPr id="188" name="Rectangle 187"/>
                  <p:cNvSpPr/>
                  <p:nvPr/>
                </p:nvSpPr>
                <p:spPr>
                  <a:xfrm>
                    <a:off x="1174923" y="3115795"/>
                    <a:ext cx="111726" cy="226398"/>
                  </a:xfrm>
                  <a:prstGeom prst="rect">
                    <a:avLst/>
                  </a:prstGeom>
                  <a:solidFill>
                    <a:srgbClr val="00B050"/>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US" sz="800">
                      <a:solidFill>
                        <a:prstClr val="black"/>
                      </a:solidFill>
                      <a:latin typeface="Calibri" panose="020F0502020204030204"/>
                      <a:sym typeface="Gill Sans" charset="0"/>
                    </a:endParaRPr>
                  </a:p>
                </p:txBody>
              </p:sp>
              <p:cxnSp>
                <p:nvCxnSpPr>
                  <p:cNvPr id="189" name="Curved Connector 188"/>
                  <p:cNvCxnSpPr>
                    <a:stCxn id="186" idx="3"/>
                    <a:endCxn id="188" idx="1"/>
                  </p:cNvCxnSpPr>
                  <p:nvPr/>
                </p:nvCxnSpPr>
                <p:spPr>
                  <a:xfrm>
                    <a:off x="677874" y="2877975"/>
                    <a:ext cx="497049" cy="351019"/>
                  </a:xfrm>
                  <a:prstGeom prst="curvedConnector3">
                    <a:avLst>
                      <a:gd name="adj1" fmla="val 50000"/>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190" name="Curved Connector 189"/>
                  <p:cNvCxnSpPr>
                    <a:endCxn id="185" idx="1"/>
                  </p:cNvCxnSpPr>
                  <p:nvPr/>
                </p:nvCxnSpPr>
                <p:spPr>
                  <a:xfrm flipV="1">
                    <a:off x="677874" y="2607699"/>
                    <a:ext cx="497049" cy="270276"/>
                  </a:xfrm>
                  <a:prstGeom prst="curvedConnector3">
                    <a:avLst/>
                  </a:prstGeom>
                  <a:grpFill/>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1" name="Curved Connector 190"/>
                  <p:cNvCxnSpPr>
                    <a:stCxn id="186" idx="3"/>
                    <a:endCxn id="187" idx="1"/>
                  </p:cNvCxnSpPr>
                  <p:nvPr/>
                </p:nvCxnSpPr>
                <p:spPr>
                  <a:xfrm>
                    <a:off x="677874" y="2877975"/>
                    <a:ext cx="497049" cy="24332"/>
                  </a:xfrm>
                  <a:prstGeom prst="curvedConnector3">
                    <a:avLst/>
                  </a:prstGeom>
                  <a:ln>
                    <a:headEnd type="triangle"/>
                    <a:tailEnd type="triangle"/>
                  </a:ln>
                </p:spPr>
                <p:style>
                  <a:lnRef idx="1">
                    <a:schemeClr val="dk1"/>
                  </a:lnRef>
                  <a:fillRef idx="0">
                    <a:schemeClr val="dk1"/>
                  </a:fillRef>
                  <a:effectRef idx="0">
                    <a:schemeClr val="dk1"/>
                  </a:effectRef>
                  <a:fontRef idx="minor">
                    <a:schemeClr val="tx1"/>
                  </a:fontRef>
                </p:style>
              </p:cxnSp>
            </p:grpSp>
            <p:sp>
              <p:nvSpPr>
                <p:cNvPr id="193" name="Right Brace 192"/>
                <p:cNvSpPr/>
                <p:nvPr/>
              </p:nvSpPr>
              <p:spPr>
                <a:xfrm rot="5400000">
                  <a:off x="8686943" y="5861464"/>
                  <a:ext cx="715383" cy="12768693"/>
                </a:xfrm>
                <a:prstGeom prst="rightBrace">
                  <a:avLst/>
                </a:prstGeom>
                <a:noFill/>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defTabSz="457200" fontAlgn="base">
                    <a:spcBef>
                      <a:spcPct val="0"/>
                    </a:spcBef>
                    <a:spcAft>
                      <a:spcPct val="0"/>
                    </a:spcAft>
                  </a:pPr>
                  <a:endParaRPr lang="en-US" sz="800">
                    <a:solidFill>
                      <a:prstClr val="white"/>
                    </a:solidFill>
                    <a:latin typeface="Calibri" panose="020F0502020204030204"/>
                    <a:sym typeface="Gill Sans" charset="0"/>
                  </a:endParaRPr>
                </a:p>
              </p:txBody>
            </p:sp>
            <p:cxnSp>
              <p:nvCxnSpPr>
                <p:cNvPr id="194" name="Straight Arrow Connector 193"/>
                <p:cNvCxnSpPr/>
                <p:nvPr/>
              </p:nvCxnSpPr>
              <p:spPr>
                <a:xfrm flipH="1">
                  <a:off x="11549391" y="10510315"/>
                  <a:ext cx="1143002" cy="664188"/>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02" name="TextBox 201"/>
                <p:cNvSpPr txBox="1"/>
                <p:nvPr/>
              </p:nvSpPr>
              <p:spPr>
                <a:xfrm>
                  <a:off x="12284496" y="9875660"/>
                  <a:ext cx="1684836" cy="1169550"/>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Writes/</a:t>
                  </a:r>
                </a:p>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cxnSp>
              <p:nvCxnSpPr>
                <p:cNvPr id="205" name="Straight Arrow Connector 204"/>
                <p:cNvCxnSpPr/>
                <p:nvPr/>
              </p:nvCxnSpPr>
              <p:spPr>
                <a:xfrm>
                  <a:off x="1839683" y="10653373"/>
                  <a:ext cx="1147393" cy="682055"/>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06" name="TextBox 205"/>
                <p:cNvSpPr txBox="1"/>
                <p:nvPr/>
              </p:nvSpPr>
              <p:spPr>
                <a:xfrm>
                  <a:off x="1271449" y="10075444"/>
                  <a:ext cx="1715628" cy="677108"/>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cxnSp>
              <p:nvCxnSpPr>
                <p:cNvPr id="216" name="Straight Arrow Connector 215"/>
                <p:cNvCxnSpPr/>
                <p:nvPr/>
              </p:nvCxnSpPr>
              <p:spPr>
                <a:xfrm>
                  <a:off x="5712049" y="10841256"/>
                  <a:ext cx="744717" cy="372070"/>
                </a:xfrm>
                <a:prstGeom prst="straightConnector1">
                  <a:avLst/>
                </a:prstGeom>
                <a:ln w="19050">
                  <a:solidFill>
                    <a:schemeClr val="bg1"/>
                  </a:solidFill>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17" name="TextBox 216"/>
                <p:cNvSpPr txBox="1"/>
                <p:nvPr/>
              </p:nvSpPr>
              <p:spPr>
                <a:xfrm>
                  <a:off x="4914717" y="10253858"/>
                  <a:ext cx="1465826" cy="677108"/>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Reads</a:t>
                  </a:r>
                </a:p>
              </p:txBody>
            </p:sp>
            <p:sp>
              <p:nvSpPr>
                <p:cNvPr id="224" name="TextBox 223"/>
                <p:cNvSpPr txBox="1"/>
                <p:nvPr/>
              </p:nvSpPr>
              <p:spPr>
                <a:xfrm>
                  <a:off x="12586934" y="11519592"/>
                  <a:ext cx="4239366" cy="677108"/>
                </a:xfrm>
                <a:prstGeom prst="rect">
                  <a:avLst/>
                </a:prstGeom>
                <a:noFill/>
              </p:spPr>
              <p:txBody>
                <a:bodyPr wrap="square" rtlCol="0">
                  <a:spAutoFit/>
                </a:bodyPr>
                <a:lstStyle/>
                <a:p>
                  <a:pPr defTabSz="457200" fontAlgn="base">
                    <a:spcBef>
                      <a:spcPct val="0"/>
                    </a:spcBef>
                    <a:spcAft>
                      <a:spcPct val="0"/>
                    </a:spcAft>
                  </a:pPr>
                  <a:r>
                    <a:rPr lang="en-US" sz="16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Australia - Southeast</a:t>
                  </a:r>
                </a:p>
              </p:txBody>
            </p:sp>
          </p:grpSp>
          <p:grpSp>
            <p:nvGrpSpPr>
              <p:cNvPr id="237" name="Group 236"/>
              <p:cNvGrpSpPr/>
              <p:nvPr/>
            </p:nvGrpSpPr>
            <p:grpSpPr>
              <a:xfrm>
                <a:off x="2901346" y="6665434"/>
                <a:ext cx="8379748" cy="4576724"/>
                <a:chOff x="2901346" y="6665434"/>
                <a:chExt cx="8379748" cy="4576724"/>
              </a:xfrm>
            </p:grpSpPr>
            <p:sp>
              <p:nvSpPr>
                <p:cNvPr id="236" name="Freeform 235"/>
                <p:cNvSpPr/>
                <p:nvPr/>
              </p:nvSpPr>
              <p:spPr>
                <a:xfrm>
                  <a:off x="6374363" y="6665434"/>
                  <a:ext cx="1333956" cy="4359349"/>
                </a:xfrm>
                <a:custGeom>
                  <a:avLst/>
                  <a:gdLst>
                    <a:gd name="connsiteX0" fmla="*/ 1291426 w 1333956"/>
                    <a:gd name="connsiteY0" fmla="*/ 0 h 4359349"/>
                    <a:gd name="connsiteX1" fmla="*/ 1302059 w 1333956"/>
                    <a:gd name="connsiteY1" fmla="*/ 223284 h 4359349"/>
                    <a:gd name="connsiteX2" fmla="*/ 1323324 w 1333956"/>
                    <a:gd name="connsiteY2" fmla="*/ 287079 h 4359349"/>
                    <a:gd name="connsiteX3" fmla="*/ 1333956 w 1333956"/>
                    <a:gd name="connsiteY3" fmla="*/ 318977 h 4359349"/>
                    <a:gd name="connsiteX4" fmla="*/ 1323324 w 1333956"/>
                    <a:gd name="connsiteY4" fmla="*/ 510363 h 4359349"/>
                    <a:gd name="connsiteX5" fmla="*/ 1291426 w 1333956"/>
                    <a:gd name="connsiteY5" fmla="*/ 606056 h 4359349"/>
                    <a:gd name="connsiteX6" fmla="*/ 1270161 w 1333956"/>
                    <a:gd name="connsiteY6" fmla="*/ 691117 h 4359349"/>
                    <a:gd name="connsiteX7" fmla="*/ 1259528 w 1333956"/>
                    <a:gd name="connsiteY7" fmla="*/ 723014 h 4359349"/>
                    <a:gd name="connsiteX8" fmla="*/ 1238263 w 1333956"/>
                    <a:gd name="connsiteY8" fmla="*/ 754912 h 4359349"/>
                    <a:gd name="connsiteX9" fmla="*/ 1174468 w 1333956"/>
                    <a:gd name="connsiteY9" fmla="*/ 797442 h 4359349"/>
                    <a:gd name="connsiteX10" fmla="*/ 1100040 w 1333956"/>
                    <a:gd name="connsiteY10" fmla="*/ 839972 h 4359349"/>
                    <a:gd name="connsiteX11" fmla="*/ 1046877 w 1333956"/>
                    <a:gd name="connsiteY11" fmla="*/ 893135 h 4359349"/>
                    <a:gd name="connsiteX12" fmla="*/ 983082 w 1333956"/>
                    <a:gd name="connsiteY12" fmla="*/ 935665 h 4359349"/>
                    <a:gd name="connsiteX13" fmla="*/ 929919 w 1333956"/>
                    <a:gd name="connsiteY13" fmla="*/ 988828 h 4359349"/>
                    <a:gd name="connsiteX14" fmla="*/ 866124 w 1333956"/>
                    <a:gd name="connsiteY14" fmla="*/ 1031358 h 4359349"/>
                    <a:gd name="connsiteX15" fmla="*/ 823594 w 1333956"/>
                    <a:gd name="connsiteY15" fmla="*/ 1063256 h 4359349"/>
                    <a:gd name="connsiteX16" fmla="*/ 749166 w 1333956"/>
                    <a:gd name="connsiteY16" fmla="*/ 1105786 h 4359349"/>
                    <a:gd name="connsiteX17" fmla="*/ 727901 w 1333956"/>
                    <a:gd name="connsiteY17" fmla="*/ 1137684 h 4359349"/>
                    <a:gd name="connsiteX18" fmla="*/ 642840 w 1333956"/>
                    <a:gd name="connsiteY18" fmla="*/ 1169582 h 4359349"/>
                    <a:gd name="connsiteX19" fmla="*/ 610942 w 1333956"/>
                    <a:gd name="connsiteY19" fmla="*/ 1180214 h 4359349"/>
                    <a:gd name="connsiteX20" fmla="*/ 568412 w 1333956"/>
                    <a:gd name="connsiteY20" fmla="*/ 1212112 h 4359349"/>
                    <a:gd name="connsiteX21" fmla="*/ 504617 w 1333956"/>
                    <a:gd name="connsiteY21" fmla="*/ 1233377 h 4359349"/>
                    <a:gd name="connsiteX22" fmla="*/ 472719 w 1333956"/>
                    <a:gd name="connsiteY22" fmla="*/ 1254642 h 4359349"/>
                    <a:gd name="connsiteX23" fmla="*/ 430189 w 1333956"/>
                    <a:gd name="connsiteY23" fmla="*/ 1265275 h 4359349"/>
                    <a:gd name="connsiteX24" fmla="*/ 387659 w 1333956"/>
                    <a:gd name="connsiteY24" fmla="*/ 1286540 h 4359349"/>
                    <a:gd name="connsiteX25" fmla="*/ 323863 w 1333956"/>
                    <a:gd name="connsiteY25" fmla="*/ 1307805 h 4359349"/>
                    <a:gd name="connsiteX26" fmla="*/ 302598 w 1333956"/>
                    <a:gd name="connsiteY26" fmla="*/ 1339703 h 4359349"/>
                    <a:gd name="connsiteX27" fmla="*/ 281333 w 1333956"/>
                    <a:gd name="connsiteY27" fmla="*/ 1382233 h 4359349"/>
                    <a:gd name="connsiteX28" fmla="*/ 249435 w 1333956"/>
                    <a:gd name="connsiteY28" fmla="*/ 1414131 h 4359349"/>
                    <a:gd name="connsiteX29" fmla="*/ 217538 w 1333956"/>
                    <a:gd name="connsiteY29" fmla="*/ 1477926 h 4359349"/>
                    <a:gd name="connsiteX30" fmla="*/ 185640 w 1333956"/>
                    <a:gd name="connsiteY30" fmla="*/ 1541721 h 4359349"/>
                    <a:gd name="connsiteX31" fmla="*/ 153742 w 1333956"/>
                    <a:gd name="connsiteY31" fmla="*/ 1562986 h 4359349"/>
                    <a:gd name="connsiteX32" fmla="*/ 121845 w 1333956"/>
                    <a:gd name="connsiteY32" fmla="*/ 1594884 h 4359349"/>
                    <a:gd name="connsiteX33" fmla="*/ 111212 w 1333956"/>
                    <a:gd name="connsiteY33" fmla="*/ 1626782 h 4359349"/>
                    <a:gd name="connsiteX34" fmla="*/ 68682 w 1333956"/>
                    <a:gd name="connsiteY34" fmla="*/ 1733107 h 4359349"/>
                    <a:gd name="connsiteX35" fmla="*/ 47417 w 1333956"/>
                    <a:gd name="connsiteY35" fmla="*/ 1839433 h 4359349"/>
                    <a:gd name="connsiteX36" fmla="*/ 26152 w 1333956"/>
                    <a:gd name="connsiteY36" fmla="*/ 1913861 h 4359349"/>
                    <a:gd name="connsiteX37" fmla="*/ 15519 w 1333956"/>
                    <a:gd name="connsiteY37" fmla="*/ 1956391 h 4359349"/>
                    <a:gd name="connsiteX38" fmla="*/ 26152 w 1333956"/>
                    <a:gd name="connsiteY38" fmla="*/ 2551814 h 4359349"/>
                    <a:gd name="connsiteX39" fmla="*/ 36784 w 1333956"/>
                    <a:gd name="connsiteY39" fmla="*/ 2594344 h 4359349"/>
                    <a:gd name="connsiteX40" fmla="*/ 15519 w 1333956"/>
                    <a:gd name="connsiteY40" fmla="*/ 2775098 h 4359349"/>
                    <a:gd name="connsiteX41" fmla="*/ 15519 w 1333956"/>
                    <a:gd name="connsiteY41" fmla="*/ 3253563 h 4359349"/>
                    <a:gd name="connsiteX42" fmla="*/ 26152 w 1333956"/>
                    <a:gd name="connsiteY42" fmla="*/ 3285461 h 4359349"/>
                    <a:gd name="connsiteX43" fmla="*/ 36784 w 1333956"/>
                    <a:gd name="connsiteY43" fmla="*/ 3381154 h 4359349"/>
                    <a:gd name="connsiteX44" fmla="*/ 68682 w 1333956"/>
                    <a:gd name="connsiteY44" fmla="*/ 3487479 h 4359349"/>
                    <a:gd name="connsiteX45" fmla="*/ 79314 w 1333956"/>
                    <a:gd name="connsiteY45" fmla="*/ 3540642 h 4359349"/>
                    <a:gd name="connsiteX46" fmla="*/ 89947 w 1333956"/>
                    <a:gd name="connsiteY46" fmla="*/ 3636335 h 4359349"/>
                    <a:gd name="connsiteX47" fmla="*/ 121845 w 1333956"/>
                    <a:gd name="connsiteY47" fmla="*/ 3732028 h 4359349"/>
                    <a:gd name="connsiteX48" fmla="*/ 132477 w 1333956"/>
                    <a:gd name="connsiteY48" fmla="*/ 3763926 h 4359349"/>
                    <a:gd name="connsiteX49" fmla="*/ 153742 w 1333956"/>
                    <a:gd name="connsiteY49" fmla="*/ 3795824 h 4359349"/>
                    <a:gd name="connsiteX50" fmla="*/ 175007 w 1333956"/>
                    <a:gd name="connsiteY50" fmla="*/ 3870251 h 4359349"/>
                    <a:gd name="connsiteX51" fmla="*/ 196273 w 1333956"/>
                    <a:gd name="connsiteY51" fmla="*/ 3934047 h 4359349"/>
                    <a:gd name="connsiteX52" fmla="*/ 260068 w 1333956"/>
                    <a:gd name="connsiteY52" fmla="*/ 3997842 h 4359349"/>
                    <a:gd name="connsiteX53" fmla="*/ 281333 w 1333956"/>
                    <a:gd name="connsiteY53" fmla="*/ 4040372 h 4359349"/>
                    <a:gd name="connsiteX54" fmla="*/ 334496 w 1333956"/>
                    <a:gd name="connsiteY54" fmla="*/ 4136065 h 4359349"/>
                    <a:gd name="connsiteX55" fmla="*/ 366394 w 1333956"/>
                    <a:gd name="connsiteY55" fmla="*/ 4348717 h 4359349"/>
                    <a:gd name="connsiteX56" fmla="*/ 377026 w 1333956"/>
                    <a:gd name="connsiteY56" fmla="*/ 4359349 h 4359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333956" h="4359349">
                      <a:moveTo>
                        <a:pt x="1291426" y="0"/>
                      </a:moveTo>
                      <a:cubicBezTo>
                        <a:pt x="1294970" y="74428"/>
                        <a:pt x="1293830" y="149227"/>
                        <a:pt x="1302059" y="223284"/>
                      </a:cubicBezTo>
                      <a:cubicBezTo>
                        <a:pt x="1304534" y="245562"/>
                        <a:pt x="1316236" y="265814"/>
                        <a:pt x="1323324" y="287079"/>
                      </a:cubicBezTo>
                      <a:lnTo>
                        <a:pt x="1333956" y="318977"/>
                      </a:lnTo>
                      <a:cubicBezTo>
                        <a:pt x="1330412" y="382772"/>
                        <a:pt x="1331249" y="446963"/>
                        <a:pt x="1323324" y="510363"/>
                      </a:cubicBezTo>
                      <a:cubicBezTo>
                        <a:pt x="1320665" y="531637"/>
                        <a:pt x="1298072" y="579471"/>
                        <a:pt x="1291426" y="606056"/>
                      </a:cubicBezTo>
                      <a:cubicBezTo>
                        <a:pt x="1284338" y="634410"/>
                        <a:pt x="1279404" y="663391"/>
                        <a:pt x="1270161" y="691117"/>
                      </a:cubicBezTo>
                      <a:cubicBezTo>
                        <a:pt x="1266617" y="701749"/>
                        <a:pt x="1264540" y="712990"/>
                        <a:pt x="1259528" y="723014"/>
                      </a:cubicBezTo>
                      <a:cubicBezTo>
                        <a:pt x="1253813" y="734444"/>
                        <a:pt x="1247880" y="746497"/>
                        <a:pt x="1238263" y="754912"/>
                      </a:cubicBezTo>
                      <a:cubicBezTo>
                        <a:pt x="1219029" y="771742"/>
                        <a:pt x="1195733" y="783265"/>
                        <a:pt x="1174468" y="797442"/>
                      </a:cubicBezTo>
                      <a:cubicBezTo>
                        <a:pt x="1129384" y="827498"/>
                        <a:pt x="1153997" y="812993"/>
                        <a:pt x="1100040" y="839972"/>
                      </a:cubicBezTo>
                      <a:cubicBezTo>
                        <a:pt x="1061053" y="898453"/>
                        <a:pt x="1100041" y="848831"/>
                        <a:pt x="1046877" y="893135"/>
                      </a:cubicBezTo>
                      <a:cubicBezTo>
                        <a:pt x="993780" y="937383"/>
                        <a:pt x="1039140" y="916980"/>
                        <a:pt x="983082" y="935665"/>
                      </a:cubicBezTo>
                      <a:cubicBezTo>
                        <a:pt x="965888" y="987245"/>
                        <a:pt x="984663" y="955981"/>
                        <a:pt x="929919" y="988828"/>
                      </a:cubicBezTo>
                      <a:cubicBezTo>
                        <a:pt x="908004" y="1001977"/>
                        <a:pt x="886570" y="1016023"/>
                        <a:pt x="866124" y="1031358"/>
                      </a:cubicBezTo>
                      <a:cubicBezTo>
                        <a:pt x="851947" y="1041991"/>
                        <a:pt x="838544" y="1053742"/>
                        <a:pt x="823594" y="1063256"/>
                      </a:cubicBezTo>
                      <a:cubicBezTo>
                        <a:pt x="799487" y="1078597"/>
                        <a:pt x="773975" y="1091609"/>
                        <a:pt x="749166" y="1105786"/>
                      </a:cubicBezTo>
                      <a:cubicBezTo>
                        <a:pt x="742078" y="1116419"/>
                        <a:pt x="737718" y="1129503"/>
                        <a:pt x="727901" y="1137684"/>
                      </a:cubicBezTo>
                      <a:cubicBezTo>
                        <a:pt x="702050" y="1159226"/>
                        <a:pt x="673319" y="1160874"/>
                        <a:pt x="642840" y="1169582"/>
                      </a:cubicBezTo>
                      <a:cubicBezTo>
                        <a:pt x="632063" y="1172661"/>
                        <a:pt x="621575" y="1176670"/>
                        <a:pt x="610942" y="1180214"/>
                      </a:cubicBezTo>
                      <a:cubicBezTo>
                        <a:pt x="596765" y="1190847"/>
                        <a:pt x="584262" y="1204187"/>
                        <a:pt x="568412" y="1212112"/>
                      </a:cubicBezTo>
                      <a:cubicBezTo>
                        <a:pt x="548363" y="1222136"/>
                        <a:pt x="523268" y="1220943"/>
                        <a:pt x="504617" y="1233377"/>
                      </a:cubicBezTo>
                      <a:cubicBezTo>
                        <a:pt x="493984" y="1240465"/>
                        <a:pt x="484465" y="1249608"/>
                        <a:pt x="472719" y="1254642"/>
                      </a:cubicBezTo>
                      <a:cubicBezTo>
                        <a:pt x="459288" y="1260398"/>
                        <a:pt x="443872" y="1260144"/>
                        <a:pt x="430189" y="1265275"/>
                      </a:cubicBezTo>
                      <a:cubicBezTo>
                        <a:pt x="415348" y="1270840"/>
                        <a:pt x="402375" y="1280654"/>
                        <a:pt x="387659" y="1286540"/>
                      </a:cubicBezTo>
                      <a:cubicBezTo>
                        <a:pt x="366847" y="1294865"/>
                        <a:pt x="323863" y="1307805"/>
                        <a:pt x="323863" y="1307805"/>
                      </a:cubicBezTo>
                      <a:cubicBezTo>
                        <a:pt x="316775" y="1318438"/>
                        <a:pt x="308938" y="1328608"/>
                        <a:pt x="302598" y="1339703"/>
                      </a:cubicBezTo>
                      <a:cubicBezTo>
                        <a:pt x="294734" y="1353465"/>
                        <a:pt x="290546" y="1369335"/>
                        <a:pt x="281333" y="1382233"/>
                      </a:cubicBezTo>
                      <a:cubicBezTo>
                        <a:pt x="272593" y="1394469"/>
                        <a:pt x="260068" y="1403498"/>
                        <a:pt x="249435" y="1414131"/>
                      </a:cubicBezTo>
                      <a:cubicBezTo>
                        <a:pt x="222713" y="1494301"/>
                        <a:pt x="258759" y="1395485"/>
                        <a:pt x="217538" y="1477926"/>
                      </a:cubicBezTo>
                      <a:cubicBezTo>
                        <a:pt x="200243" y="1512515"/>
                        <a:pt x="216110" y="1511252"/>
                        <a:pt x="185640" y="1541721"/>
                      </a:cubicBezTo>
                      <a:cubicBezTo>
                        <a:pt x="176604" y="1550757"/>
                        <a:pt x="163559" y="1554805"/>
                        <a:pt x="153742" y="1562986"/>
                      </a:cubicBezTo>
                      <a:cubicBezTo>
                        <a:pt x="142191" y="1572612"/>
                        <a:pt x="132477" y="1584251"/>
                        <a:pt x="121845" y="1594884"/>
                      </a:cubicBezTo>
                      <a:cubicBezTo>
                        <a:pt x="118301" y="1605517"/>
                        <a:pt x="115627" y="1616480"/>
                        <a:pt x="111212" y="1626782"/>
                      </a:cubicBezTo>
                      <a:cubicBezTo>
                        <a:pt x="84814" y="1688377"/>
                        <a:pt x="88042" y="1655666"/>
                        <a:pt x="68682" y="1733107"/>
                      </a:cubicBezTo>
                      <a:cubicBezTo>
                        <a:pt x="59916" y="1768172"/>
                        <a:pt x="56184" y="1804368"/>
                        <a:pt x="47417" y="1839433"/>
                      </a:cubicBezTo>
                      <a:cubicBezTo>
                        <a:pt x="14177" y="1972388"/>
                        <a:pt x="56659" y="1807086"/>
                        <a:pt x="26152" y="1913861"/>
                      </a:cubicBezTo>
                      <a:cubicBezTo>
                        <a:pt x="22138" y="1927912"/>
                        <a:pt x="19063" y="1942214"/>
                        <a:pt x="15519" y="1956391"/>
                      </a:cubicBezTo>
                      <a:cubicBezTo>
                        <a:pt x="19063" y="2154865"/>
                        <a:pt x="19539" y="2353418"/>
                        <a:pt x="26152" y="2551814"/>
                      </a:cubicBezTo>
                      <a:cubicBezTo>
                        <a:pt x="26639" y="2566419"/>
                        <a:pt x="36784" y="2579731"/>
                        <a:pt x="36784" y="2594344"/>
                      </a:cubicBezTo>
                      <a:cubicBezTo>
                        <a:pt x="36784" y="2700129"/>
                        <a:pt x="33644" y="2702602"/>
                        <a:pt x="15519" y="2775098"/>
                      </a:cubicBezTo>
                      <a:cubicBezTo>
                        <a:pt x="-7530" y="2982551"/>
                        <a:pt x="-2676" y="2898759"/>
                        <a:pt x="15519" y="3253563"/>
                      </a:cubicBezTo>
                      <a:cubicBezTo>
                        <a:pt x="16093" y="3264756"/>
                        <a:pt x="22608" y="3274828"/>
                        <a:pt x="26152" y="3285461"/>
                      </a:cubicBezTo>
                      <a:cubicBezTo>
                        <a:pt x="29696" y="3317359"/>
                        <a:pt x="31904" y="3349433"/>
                        <a:pt x="36784" y="3381154"/>
                      </a:cubicBezTo>
                      <a:cubicBezTo>
                        <a:pt x="48572" y="3457776"/>
                        <a:pt x="49364" y="3390883"/>
                        <a:pt x="68682" y="3487479"/>
                      </a:cubicBezTo>
                      <a:cubicBezTo>
                        <a:pt x="72226" y="3505200"/>
                        <a:pt x="76758" y="3522752"/>
                        <a:pt x="79314" y="3540642"/>
                      </a:cubicBezTo>
                      <a:cubicBezTo>
                        <a:pt x="83853" y="3572413"/>
                        <a:pt x="83653" y="3604864"/>
                        <a:pt x="89947" y="3636335"/>
                      </a:cubicBezTo>
                      <a:cubicBezTo>
                        <a:pt x="89951" y="3636355"/>
                        <a:pt x="116525" y="3716069"/>
                        <a:pt x="121845" y="3732028"/>
                      </a:cubicBezTo>
                      <a:cubicBezTo>
                        <a:pt x="125389" y="3742661"/>
                        <a:pt x="126260" y="3754601"/>
                        <a:pt x="132477" y="3763926"/>
                      </a:cubicBezTo>
                      <a:cubicBezTo>
                        <a:pt x="139565" y="3774559"/>
                        <a:pt x="148027" y="3784394"/>
                        <a:pt x="153742" y="3795824"/>
                      </a:cubicBezTo>
                      <a:cubicBezTo>
                        <a:pt x="162679" y="3813697"/>
                        <a:pt x="169894" y="3853209"/>
                        <a:pt x="175007" y="3870251"/>
                      </a:cubicBezTo>
                      <a:cubicBezTo>
                        <a:pt x="181448" y="3891721"/>
                        <a:pt x="182824" y="3916114"/>
                        <a:pt x="196273" y="3934047"/>
                      </a:cubicBezTo>
                      <a:cubicBezTo>
                        <a:pt x="235837" y="3986800"/>
                        <a:pt x="213425" y="3966747"/>
                        <a:pt x="260068" y="3997842"/>
                      </a:cubicBezTo>
                      <a:cubicBezTo>
                        <a:pt x="267156" y="4012019"/>
                        <a:pt x="273178" y="4026781"/>
                        <a:pt x="281333" y="4040372"/>
                      </a:cubicBezTo>
                      <a:cubicBezTo>
                        <a:pt x="336174" y="4131774"/>
                        <a:pt x="313108" y="4071906"/>
                        <a:pt x="334496" y="4136065"/>
                      </a:cubicBezTo>
                      <a:cubicBezTo>
                        <a:pt x="345684" y="4337460"/>
                        <a:pt x="299948" y="4282271"/>
                        <a:pt x="366394" y="4348717"/>
                      </a:cubicBezTo>
                      <a:lnTo>
                        <a:pt x="377026" y="4359349"/>
                      </a:lnTo>
                    </a:path>
                  </a:pathLst>
                </a:custGeom>
                <a:noFill/>
                <a:ln w="19050">
                  <a:solidFill>
                    <a:schemeClr val="bg1"/>
                  </a:solidFill>
                  <a:prstDash val="dash"/>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sp>
              <p:nvSpPr>
                <p:cNvPr id="197" name="Freeform 196"/>
                <p:cNvSpPr/>
                <p:nvPr/>
              </p:nvSpPr>
              <p:spPr>
                <a:xfrm>
                  <a:off x="2901346" y="6882809"/>
                  <a:ext cx="1333956" cy="4359349"/>
                </a:xfrm>
                <a:custGeom>
                  <a:avLst/>
                  <a:gdLst>
                    <a:gd name="connsiteX0" fmla="*/ 1291426 w 1333956"/>
                    <a:gd name="connsiteY0" fmla="*/ 0 h 4359349"/>
                    <a:gd name="connsiteX1" fmla="*/ 1302059 w 1333956"/>
                    <a:gd name="connsiteY1" fmla="*/ 223284 h 4359349"/>
                    <a:gd name="connsiteX2" fmla="*/ 1323324 w 1333956"/>
                    <a:gd name="connsiteY2" fmla="*/ 287079 h 4359349"/>
                    <a:gd name="connsiteX3" fmla="*/ 1333956 w 1333956"/>
                    <a:gd name="connsiteY3" fmla="*/ 318977 h 4359349"/>
                    <a:gd name="connsiteX4" fmla="*/ 1323324 w 1333956"/>
                    <a:gd name="connsiteY4" fmla="*/ 510363 h 4359349"/>
                    <a:gd name="connsiteX5" fmla="*/ 1291426 w 1333956"/>
                    <a:gd name="connsiteY5" fmla="*/ 606056 h 4359349"/>
                    <a:gd name="connsiteX6" fmla="*/ 1270161 w 1333956"/>
                    <a:gd name="connsiteY6" fmla="*/ 691117 h 4359349"/>
                    <a:gd name="connsiteX7" fmla="*/ 1259528 w 1333956"/>
                    <a:gd name="connsiteY7" fmla="*/ 723014 h 4359349"/>
                    <a:gd name="connsiteX8" fmla="*/ 1238263 w 1333956"/>
                    <a:gd name="connsiteY8" fmla="*/ 754912 h 4359349"/>
                    <a:gd name="connsiteX9" fmla="*/ 1174468 w 1333956"/>
                    <a:gd name="connsiteY9" fmla="*/ 797442 h 4359349"/>
                    <a:gd name="connsiteX10" fmla="*/ 1100040 w 1333956"/>
                    <a:gd name="connsiteY10" fmla="*/ 839972 h 4359349"/>
                    <a:gd name="connsiteX11" fmla="*/ 1046877 w 1333956"/>
                    <a:gd name="connsiteY11" fmla="*/ 893135 h 4359349"/>
                    <a:gd name="connsiteX12" fmla="*/ 983082 w 1333956"/>
                    <a:gd name="connsiteY12" fmla="*/ 935665 h 4359349"/>
                    <a:gd name="connsiteX13" fmla="*/ 929919 w 1333956"/>
                    <a:gd name="connsiteY13" fmla="*/ 988828 h 4359349"/>
                    <a:gd name="connsiteX14" fmla="*/ 866124 w 1333956"/>
                    <a:gd name="connsiteY14" fmla="*/ 1031358 h 4359349"/>
                    <a:gd name="connsiteX15" fmla="*/ 823594 w 1333956"/>
                    <a:gd name="connsiteY15" fmla="*/ 1063256 h 4359349"/>
                    <a:gd name="connsiteX16" fmla="*/ 749166 w 1333956"/>
                    <a:gd name="connsiteY16" fmla="*/ 1105786 h 4359349"/>
                    <a:gd name="connsiteX17" fmla="*/ 727901 w 1333956"/>
                    <a:gd name="connsiteY17" fmla="*/ 1137684 h 4359349"/>
                    <a:gd name="connsiteX18" fmla="*/ 642840 w 1333956"/>
                    <a:gd name="connsiteY18" fmla="*/ 1169582 h 4359349"/>
                    <a:gd name="connsiteX19" fmla="*/ 610942 w 1333956"/>
                    <a:gd name="connsiteY19" fmla="*/ 1180214 h 4359349"/>
                    <a:gd name="connsiteX20" fmla="*/ 568412 w 1333956"/>
                    <a:gd name="connsiteY20" fmla="*/ 1212112 h 4359349"/>
                    <a:gd name="connsiteX21" fmla="*/ 504617 w 1333956"/>
                    <a:gd name="connsiteY21" fmla="*/ 1233377 h 4359349"/>
                    <a:gd name="connsiteX22" fmla="*/ 472719 w 1333956"/>
                    <a:gd name="connsiteY22" fmla="*/ 1254642 h 4359349"/>
                    <a:gd name="connsiteX23" fmla="*/ 430189 w 1333956"/>
                    <a:gd name="connsiteY23" fmla="*/ 1265275 h 4359349"/>
                    <a:gd name="connsiteX24" fmla="*/ 387659 w 1333956"/>
                    <a:gd name="connsiteY24" fmla="*/ 1286540 h 4359349"/>
                    <a:gd name="connsiteX25" fmla="*/ 323863 w 1333956"/>
                    <a:gd name="connsiteY25" fmla="*/ 1307805 h 4359349"/>
                    <a:gd name="connsiteX26" fmla="*/ 302598 w 1333956"/>
                    <a:gd name="connsiteY26" fmla="*/ 1339703 h 4359349"/>
                    <a:gd name="connsiteX27" fmla="*/ 281333 w 1333956"/>
                    <a:gd name="connsiteY27" fmla="*/ 1382233 h 4359349"/>
                    <a:gd name="connsiteX28" fmla="*/ 249435 w 1333956"/>
                    <a:gd name="connsiteY28" fmla="*/ 1414131 h 4359349"/>
                    <a:gd name="connsiteX29" fmla="*/ 217538 w 1333956"/>
                    <a:gd name="connsiteY29" fmla="*/ 1477926 h 4359349"/>
                    <a:gd name="connsiteX30" fmla="*/ 185640 w 1333956"/>
                    <a:gd name="connsiteY30" fmla="*/ 1541721 h 4359349"/>
                    <a:gd name="connsiteX31" fmla="*/ 153742 w 1333956"/>
                    <a:gd name="connsiteY31" fmla="*/ 1562986 h 4359349"/>
                    <a:gd name="connsiteX32" fmla="*/ 121845 w 1333956"/>
                    <a:gd name="connsiteY32" fmla="*/ 1594884 h 4359349"/>
                    <a:gd name="connsiteX33" fmla="*/ 111212 w 1333956"/>
                    <a:gd name="connsiteY33" fmla="*/ 1626782 h 4359349"/>
                    <a:gd name="connsiteX34" fmla="*/ 68682 w 1333956"/>
                    <a:gd name="connsiteY34" fmla="*/ 1733107 h 4359349"/>
                    <a:gd name="connsiteX35" fmla="*/ 47417 w 1333956"/>
                    <a:gd name="connsiteY35" fmla="*/ 1839433 h 4359349"/>
                    <a:gd name="connsiteX36" fmla="*/ 26152 w 1333956"/>
                    <a:gd name="connsiteY36" fmla="*/ 1913861 h 4359349"/>
                    <a:gd name="connsiteX37" fmla="*/ 15519 w 1333956"/>
                    <a:gd name="connsiteY37" fmla="*/ 1956391 h 4359349"/>
                    <a:gd name="connsiteX38" fmla="*/ 26152 w 1333956"/>
                    <a:gd name="connsiteY38" fmla="*/ 2551814 h 4359349"/>
                    <a:gd name="connsiteX39" fmla="*/ 36784 w 1333956"/>
                    <a:gd name="connsiteY39" fmla="*/ 2594344 h 4359349"/>
                    <a:gd name="connsiteX40" fmla="*/ 15519 w 1333956"/>
                    <a:gd name="connsiteY40" fmla="*/ 2775098 h 4359349"/>
                    <a:gd name="connsiteX41" fmla="*/ 15519 w 1333956"/>
                    <a:gd name="connsiteY41" fmla="*/ 3253563 h 4359349"/>
                    <a:gd name="connsiteX42" fmla="*/ 26152 w 1333956"/>
                    <a:gd name="connsiteY42" fmla="*/ 3285461 h 4359349"/>
                    <a:gd name="connsiteX43" fmla="*/ 36784 w 1333956"/>
                    <a:gd name="connsiteY43" fmla="*/ 3381154 h 4359349"/>
                    <a:gd name="connsiteX44" fmla="*/ 68682 w 1333956"/>
                    <a:gd name="connsiteY44" fmla="*/ 3487479 h 4359349"/>
                    <a:gd name="connsiteX45" fmla="*/ 79314 w 1333956"/>
                    <a:gd name="connsiteY45" fmla="*/ 3540642 h 4359349"/>
                    <a:gd name="connsiteX46" fmla="*/ 89947 w 1333956"/>
                    <a:gd name="connsiteY46" fmla="*/ 3636335 h 4359349"/>
                    <a:gd name="connsiteX47" fmla="*/ 121845 w 1333956"/>
                    <a:gd name="connsiteY47" fmla="*/ 3732028 h 4359349"/>
                    <a:gd name="connsiteX48" fmla="*/ 132477 w 1333956"/>
                    <a:gd name="connsiteY48" fmla="*/ 3763926 h 4359349"/>
                    <a:gd name="connsiteX49" fmla="*/ 153742 w 1333956"/>
                    <a:gd name="connsiteY49" fmla="*/ 3795824 h 4359349"/>
                    <a:gd name="connsiteX50" fmla="*/ 175007 w 1333956"/>
                    <a:gd name="connsiteY50" fmla="*/ 3870251 h 4359349"/>
                    <a:gd name="connsiteX51" fmla="*/ 196273 w 1333956"/>
                    <a:gd name="connsiteY51" fmla="*/ 3934047 h 4359349"/>
                    <a:gd name="connsiteX52" fmla="*/ 260068 w 1333956"/>
                    <a:gd name="connsiteY52" fmla="*/ 3997842 h 4359349"/>
                    <a:gd name="connsiteX53" fmla="*/ 281333 w 1333956"/>
                    <a:gd name="connsiteY53" fmla="*/ 4040372 h 4359349"/>
                    <a:gd name="connsiteX54" fmla="*/ 334496 w 1333956"/>
                    <a:gd name="connsiteY54" fmla="*/ 4136065 h 4359349"/>
                    <a:gd name="connsiteX55" fmla="*/ 366394 w 1333956"/>
                    <a:gd name="connsiteY55" fmla="*/ 4348717 h 4359349"/>
                    <a:gd name="connsiteX56" fmla="*/ 377026 w 1333956"/>
                    <a:gd name="connsiteY56" fmla="*/ 4359349 h 4359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333956" h="4359349">
                      <a:moveTo>
                        <a:pt x="1291426" y="0"/>
                      </a:moveTo>
                      <a:cubicBezTo>
                        <a:pt x="1294970" y="74428"/>
                        <a:pt x="1293830" y="149227"/>
                        <a:pt x="1302059" y="223284"/>
                      </a:cubicBezTo>
                      <a:cubicBezTo>
                        <a:pt x="1304534" y="245562"/>
                        <a:pt x="1316236" y="265814"/>
                        <a:pt x="1323324" y="287079"/>
                      </a:cubicBezTo>
                      <a:lnTo>
                        <a:pt x="1333956" y="318977"/>
                      </a:lnTo>
                      <a:cubicBezTo>
                        <a:pt x="1330412" y="382772"/>
                        <a:pt x="1331249" y="446963"/>
                        <a:pt x="1323324" y="510363"/>
                      </a:cubicBezTo>
                      <a:cubicBezTo>
                        <a:pt x="1320665" y="531637"/>
                        <a:pt x="1298072" y="579471"/>
                        <a:pt x="1291426" y="606056"/>
                      </a:cubicBezTo>
                      <a:cubicBezTo>
                        <a:pt x="1284338" y="634410"/>
                        <a:pt x="1279404" y="663391"/>
                        <a:pt x="1270161" y="691117"/>
                      </a:cubicBezTo>
                      <a:cubicBezTo>
                        <a:pt x="1266617" y="701749"/>
                        <a:pt x="1264540" y="712990"/>
                        <a:pt x="1259528" y="723014"/>
                      </a:cubicBezTo>
                      <a:cubicBezTo>
                        <a:pt x="1253813" y="734444"/>
                        <a:pt x="1247880" y="746497"/>
                        <a:pt x="1238263" y="754912"/>
                      </a:cubicBezTo>
                      <a:cubicBezTo>
                        <a:pt x="1219029" y="771742"/>
                        <a:pt x="1195733" y="783265"/>
                        <a:pt x="1174468" y="797442"/>
                      </a:cubicBezTo>
                      <a:cubicBezTo>
                        <a:pt x="1129384" y="827498"/>
                        <a:pt x="1153997" y="812993"/>
                        <a:pt x="1100040" y="839972"/>
                      </a:cubicBezTo>
                      <a:cubicBezTo>
                        <a:pt x="1061053" y="898453"/>
                        <a:pt x="1100041" y="848831"/>
                        <a:pt x="1046877" y="893135"/>
                      </a:cubicBezTo>
                      <a:cubicBezTo>
                        <a:pt x="993780" y="937383"/>
                        <a:pt x="1039140" y="916980"/>
                        <a:pt x="983082" y="935665"/>
                      </a:cubicBezTo>
                      <a:cubicBezTo>
                        <a:pt x="965888" y="987245"/>
                        <a:pt x="984663" y="955981"/>
                        <a:pt x="929919" y="988828"/>
                      </a:cubicBezTo>
                      <a:cubicBezTo>
                        <a:pt x="908004" y="1001977"/>
                        <a:pt x="886570" y="1016023"/>
                        <a:pt x="866124" y="1031358"/>
                      </a:cubicBezTo>
                      <a:cubicBezTo>
                        <a:pt x="851947" y="1041991"/>
                        <a:pt x="838544" y="1053742"/>
                        <a:pt x="823594" y="1063256"/>
                      </a:cubicBezTo>
                      <a:cubicBezTo>
                        <a:pt x="799487" y="1078597"/>
                        <a:pt x="773975" y="1091609"/>
                        <a:pt x="749166" y="1105786"/>
                      </a:cubicBezTo>
                      <a:cubicBezTo>
                        <a:pt x="742078" y="1116419"/>
                        <a:pt x="737718" y="1129503"/>
                        <a:pt x="727901" y="1137684"/>
                      </a:cubicBezTo>
                      <a:cubicBezTo>
                        <a:pt x="702050" y="1159226"/>
                        <a:pt x="673319" y="1160874"/>
                        <a:pt x="642840" y="1169582"/>
                      </a:cubicBezTo>
                      <a:cubicBezTo>
                        <a:pt x="632063" y="1172661"/>
                        <a:pt x="621575" y="1176670"/>
                        <a:pt x="610942" y="1180214"/>
                      </a:cubicBezTo>
                      <a:cubicBezTo>
                        <a:pt x="596765" y="1190847"/>
                        <a:pt x="584262" y="1204187"/>
                        <a:pt x="568412" y="1212112"/>
                      </a:cubicBezTo>
                      <a:cubicBezTo>
                        <a:pt x="548363" y="1222136"/>
                        <a:pt x="523268" y="1220943"/>
                        <a:pt x="504617" y="1233377"/>
                      </a:cubicBezTo>
                      <a:cubicBezTo>
                        <a:pt x="493984" y="1240465"/>
                        <a:pt x="484465" y="1249608"/>
                        <a:pt x="472719" y="1254642"/>
                      </a:cubicBezTo>
                      <a:cubicBezTo>
                        <a:pt x="459288" y="1260398"/>
                        <a:pt x="443872" y="1260144"/>
                        <a:pt x="430189" y="1265275"/>
                      </a:cubicBezTo>
                      <a:cubicBezTo>
                        <a:pt x="415348" y="1270840"/>
                        <a:pt x="402375" y="1280654"/>
                        <a:pt x="387659" y="1286540"/>
                      </a:cubicBezTo>
                      <a:cubicBezTo>
                        <a:pt x="366847" y="1294865"/>
                        <a:pt x="323863" y="1307805"/>
                        <a:pt x="323863" y="1307805"/>
                      </a:cubicBezTo>
                      <a:cubicBezTo>
                        <a:pt x="316775" y="1318438"/>
                        <a:pt x="308938" y="1328608"/>
                        <a:pt x="302598" y="1339703"/>
                      </a:cubicBezTo>
                      <a:cubicBezTo>
                        <a:pt x="294734" y="1353465"/>
                        <a:pt x="290546" y="1369335"/>
                        <a:pt x="281333" y="1382233"/>
                      </a:cubicBezTo>
                      <a:cubicBezTo>
                        <a:pt x="272593" y="1394469"/>
                        <a:pt x="260068" y="1403498"/>
                        <a:pt x="249435" y="1414131"/>
                      </a:cubicBezTo>
                      <a:cubicBezTo>
                        <a:pt x="222713" y="1494301"/>
                        <a:pt x="258759" y="1395485"/>
                        <a:pt x="217538" y="1477926"/>
                      </a:cubicBezTo>
                      <a:cubicBezTo>
                        <a:pt x="200243" y="1512515"/>
                        <a:pt x="216110" y="1511252"/>
                        <a:pt x="185640" y="1541721"/>
                      </a:cubicBezTo>
                      <a:cubicBezTo>
                        <a:pt x="176604" y="1550757"/>
                        <a:pt x="163559" y="1554805"/>
                        <a:pt x="153742" y="1562986"/>
                      </a:cubicBezTo>
                      <a:cubicBezTo>
                        <a:pt x="142191" y="1572612"/>
                        <a:pt x="132477" y="1584251"/>
                        <a:pt x="121845" y="1594884"/>
                      </a:cubicBezTo>
                      <a:cubicBezTo>
                        <a:pt x="118301" y="1605517"/>
                        <a:pt x="115627" y="1616480"/>
                        <a:pt x="111212" y="1626782"/>
                      </a:cubicBezTo>
                      <a:cubicBezTo>
                        <a:pt x="84814" y="1688377"/>
                        <a:pt x="88042" y="1655666"/>
                        <a:pt x="68682" y="1733107"/>
                      </a:cubicBezTo>
                      <a:cubicBezTo>
                        <a:pt x="59916" y="1768172"/>
                        <a:pt x="56184" y="1804368"/>
                        <a:pt x="47417" y="1839433"/>
                      </a:cubicBezTo>
                      <a:cubicBezTo>
                        <a:pt x="14177" y="1972388"/>
                        <a:pt x="56659" y="1807086"/>
                        <a:pt x="26152" y="1913861"/>
                      </a:cubicBezTo>
                      <a:cubicBezTo>
                        <a:pt x="22138" y="1927912"/>
                        <a:pt x="19063" y="1942214"/>
                        <a:pt x="15519" y="1956391"/>
                      </a:cubicBezTo>
                      <a:cubicBezTo>
                        <a:pt x="19063" y="2154865"/>
                        <a:pt x="19539" y="2353418"/>
                        <a:pt x="26152" y="2551814"/>
                      </a:cubicBezTo>
                      <a:cubicBezTo>
                        <a:pt x="26639" y="2566419"/>
                        <a:pt x="36784" y="2579731"/>
                        <a:pt x="36784" y="2594344"/>
                      </a:cubicBezTo>
                      <a:cubicBezTo>
                        <a:pt x="36784" y="2700129"/>
                        <a:pt x="33644" y="2702602"/>
                        <a:pt x="15519" y="2775098"/>
                      </a:cubicBezTo>
                      <a:cubicBezTo>
                        <a:pt x="-7530" y="2982551"/>
                        <a:pt x="-2676" y="2898759"/>
                        <a:pt x="15519" y="3253563"/>
                      </a:cubicBezTo>
                      <a:cubicBezTo>
                        <a:pt x="16093" y="3264756"/>
                        <a:pt x="22608" y="3274828"/>
                        <a:pt x="26152" y="3285461"/>
                      </a:cubicBezTo>
                      <a:cubicBezTo>
                        <a:pt x="29696" y="3317359"/>
                        <a:pt x="31904" y="3349433"/>
                        <a:pt x="36784" y="3381154"/>
                      </a:cubicBezTo>
                      <a:cubicBezTo>
                        <a:pt x="48572" y="3457776"/>
                        <a:pt x="49364" y="3390883"/>
                        <a:pt x="68682" y="3487479"/>
                      </a:cubicBezTo>
                      <a:cubicBezTo>
                        <a:pt x="72226" y="3505200"/>
                        <a:pt x="76758" y="3522752"/>
                        <a:pt x="79314" y="3540642"/>
                      </a:cubicBezTo>
                      <a:cubicBezTo>
                        <a:pt x="83853" y="3572413"/>
                        <a:pt x="83653" y="3604864"/>
                        <a:pt x="89947" y="3636335"/>
                      </a:cubicBezTo>
                      <a:cubicBezTo>
                        <a:pt x="89951" y="3636355"/>
                        <a:pt x="116525" y="3716069"/>
                        <a:pt x="121845" y="3732028"/>
                      </a:cubicBezTo>
                      <a:cubicBezTo>
                        <a:pt x="125389" y="3742661"/>
                        <a:pt x="126260" y="3754601"/>
                        <a:pt x="132477" y="3763926"/>
                      </a:cubicBezTo>
                      <a:cubicBezTo>
                        <a:pt x="139565" y="3774559"/>
                        <a:pt x="148027" y="3784394"/>
                        <a:pt x="153742" y="3795824"/>
                      </a:cubicBezTo>
                      <a:cubicBezTo>
                        <a:pt x="162679" y="3813697"/>
                        <a:pt x="169894" y="3853209"/>
                        <a:pt x="175007" y="3870251"/>
                      </a:cubicBezTo>
                      <a:cubicBezTo>
                        <a:pt x="181448" y="3891721"/>
                        <a:pt x="182824" y="3916114"/>
                        <a:pt x="196273" y="3934047"/>
                      </a:cubicBezTo>
                      <a:cubicBezTo>
                        <a:pt x="235837" y="3986800"/>
                        <a:pt x="213425" y="3966747"/>
                        <a:pt x="260068" y="3997842"/>
                      </a:cubicBezTo>
                      <a:cubicBezTo>
                        <a:pt x="267156" y="4012019"/>
                        <a:pt x="273178" y="4026781"/>
                        <a:pt x="281333" y="4040372"/>
                      </a:cubicBezTo>
                      <a:cubicBezTo>
                        <a:pt x="336174" y="4131774"/>
                        <a:pt x="313108" y="4071906"/>
                        <a:pt x="334496" y="4136065"/>
                      </a:cubicBezTo>
                      <a:cubicBezTo>
                        <a:pt x="345684" y="4337460"/>
                        <a:pt x="299948" y="4282271"/>
                        <a:pt x="366394" y="4348717"/>
                      </a:cubicBezTo>
                      <a:lnTo>
                        <a:pt x="377026" y="4359349"/>
                      </a:lnTo>
                    </a:path>
                  </a:pathLst>
                </a:custGeom>
                <a:noFill/>
                <a:ln w="19050">
                  <a:solidFill>
                    <a:schemeClr val="bg1"/>
                  </a:solidFill>
                  <a:prstDash val="dash"/>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sp>
              <p:nvSpPr>
                <p:cNvPr id="198" name="Freeform 197"/>
                <p:cNvSpPr/>
                <p:nvPr/>
              </p:nvSpPr>
              <p:spPr>
                <a:xfrm>
                  <a:off x="9947138" y="6732344"/>
                  <a:ext cx="1333956" cy="4359349"/>
                </a:xfrm>
                <a:custGeom>
                  <a:avLst/>
                  <a:gdLst>
                    <a:gd name="connsiteX0" fmla="*/ 1291426 w 1333956"/>
                    <a:gd name="connsiteY0" fmla="*/ 0 h 4359349"/>
                    <a:gd name="connsiteX1" fmla="*/ 1302059 w 1333956"/>
                    <a:gd name="connsiteY1" fmla="*/ 223284 h 4359349"/>
                    <a:gd name="connsiteX2" fmla="*/ 1323324 w 1333956"/>
                    <a:gd name="connsiteY2" fmla="*/ 287079 h 4359349"/>
                    <a:gd name="connsiteX3" fmla="*/ 1333956 w 1333956"/>
                    <a:gd name="connsiteY3" fmla="*/ 318977 h 4359349"/>
                    <a:gd name="connsiteX4" fmla="*/ 1323324 w 1333956"/>
                    <a:gd name="connsiteY4" fmla="*/ 510363 h 4359349"/>
                    <a:gd name="connsiteX5" fmla="*/ 1291426 w 1333956"/>
                    <a:gd name="connsiteY5" fmla="*/ 606056 h 4359349"/>
                    <a:gd name="connsiteX6" fmla="*/ 1270161 w 1333956"/>
                    <a:gd name="connsiteY6" fmla="*/ 691117 h 4359349"/>
                    <a:gd name="connsiteX7" fmla="*/ 1259528 w 1333956"/>
                    <a:gd name="connsiteY7" fmla="*/ 723014 h 4359349"/>
                    <a:gd name="connsiteX8" fmla="*/ 1238263 w 1333956"/>
                    <a:gd name="connsiteY8" fmla="*/ 754912 h 4359349"/>
                    <a:gd name="connsiteX9" fmla="*/ 1174468 w 1333956"/>
                    <a:gd name="connsiteY9" fmla="*/ 797442 h 4359349"/>
                    <a:gd name="connsiteX10" fmla="*/ 1100040 w 1333956"/>
                    <a:gd name="connsiteY10" fmla="*/ 839972 h 4359349"/>
                    <a:gd name="connsiteX11" fmla="*/ 1046877 w 1333956"/>
                    <a:gd name="connsiteY11" fmla="*/ 893135 h 4359349"/>
                    <a:gd name="connsiteX12" fmla="*/ 983082 w 1333956"/>
                    <a:gd name="connsiteY12" fmla="*/ 935665 h 4359349"/>
                    <a:gd name="connsiteX13" fmla="*/ 929919 w 1333956"/>
                    <a:gd name="connsiteY13" fmla="*/ 988828 h 4359349"/>
                    <a:gd name="connsiteX14" fmla="*/ 866124 w 1333956"/>
                    <a:gd name="connsiteY14" fmla="*/ 1031358 h 4359349"/>
                    <a:gd name="connsiteX15" fmla="*/ 823594 w 1333956"/>
                    <a:gd name="connsiteY15" fmla="*/ 1063256 h 4359349"/>
                    <a:gd name="connsiteX16" fmla="*/ 749166 w 1333956"/>
                    <a:gd name="connsiteY16" fmla="*/ 1105786 h 4359349"/>
                    <a:gd name="connsiteX17" fmla="*/ 727901 w 1333956"/>
                    <a:gd name="connsiteY17" fmla="*/ 1137684 h 4359349"/>
                    <a:gd name="connsiteX18" fmla="*/ 642840 w 1333956"/>
                    <a:gd name="connsiteY18" fmla="*/ 1169582 h 4359349"/>
                    <a:gd name="connsiteX19" fmla="*/ 610942 w 1333956"/>
                    <a:gd name="connsiteY19" fmla="*/ 1180214 h 4359349"/>
                    <a:gd name="connsiteX20" fmla="*/ 568412 w 1333956"/>
                    <a:gd name="connsiteY20" fmla="*/ 1212112 h 4359349"/>
                    <a:gd name="connsiteX21" fmla="*/ 504617 w 1333956"/>
                    <a:gd name="connsiteY21" fmla="*/ 1233377 h 4359349"/>
                    <a:gd name="connsiteX22" fmla="*/ 472719 w 1333956"/>
                    <a:gd name="connsiteY22" fmla="*/ 1254642 h 4359349"/>
                    <a:gd name="connsiteX23" fmla="*/ 430189 w 1333956"/>
                    <a:gd name="connsiteY23" fmla="*/ 1265275 h 4359349"/>
                    <a:gd name="connsiteX24" fmla="*/ 387659 w 1333956"/>
                    <a:gd name="connsiteY24" fmla="*/ 1286540 h 4359349"/>
                    <a:gd name="connsiteX25" fmla="*/ 323863 w 1333956"/>
                    <a:gd name="connsiteY25" fmla="*/ 1307805 h 4359349"/>
                    <a:gd name="connsiteX26" fmla="*/ 302598 w 1333956"/>
                    <a:gd name="connsiteY26" fmla="*/ 1339703 h 4359349"/>
                    <a:gd name="connsiteX27" fmla="*/ 281333 w 1333956"/>
                    <a:gd name="connsiteY27" fmla="*/ 1382233 h 4359349"/>
                    <a:gd name="connsiteX28" fmla="*/ 249435 w 1333956"/>
                    <a:gd name="connsiteY28" fmla="*/ 1414131 h 4359349"/>
                    <a:gd name="connsiteX29" fmla="*/ 217538 w 1333956"/>
                    <a:gd name="connsiteY29" fmla="*/ 1477926 h 4359349"/>
                    <a:gd name="connsiteX30" fmla="*/ 185640 w 1333956"/>
                    <a:gd name="connsiteY30" fmla="*/ 1541721 h 4359349"/>
                    <a:gd name="connsiteX31" fmla="*/ 153742 w 1333956"/>
                    <a:gd name="connsiteY31" fmla="*/ 1562986 h 4359349"/>
                    <a:gd name="connsiteX32" fmla="*/ 121845 w 1333956"/>
                    <a:gd name="connsiteY32" fmla="*/ 1594884 h 4359349"/>
                    <a:gd name="connsiteX33" fmla="*/ 111212 w 1333956"/>
                    <a:gd name="connsiteY33" fmla="*/ 1626782 h 4359349"/>
                    <a:gd name="connsiteX34" fmla="*/ 68682 w 1333956"/>
                    <a:gd name="connsiteY34" fmla="*/ 1733107 h 4359349"/>
                    <a:gd name="connsiteX35" fmla="*/ 47417 w 1333956"/>
                    <a:gd name="connsiteY35" fmla="*/ 1839433 h 4359349"/>
                    <a:gd name="connsiteX36" fmla="*/ 26152 w 1333956"/>
                    <a:gd name="connsiteY36" fmla="*/ 1913861 h 4359349"/>
                    <a:gd name="connsiteX37" fmla="*/ 15519 w 1333956"/>
                    <a:gd name="connsiteY37" fmla="*/ 1956391 h 4359349"/>
                    <a:gd name="connsiteX38" fmla="*/ 26152 w 1333956"/>
                    <a:gd name="connsiteY38" fmla="*/ 2551814 h 4359349"/>
                    <a:gd name="connsiteX39" fmla="*/ 36784 w 1333956"/>
                    <a:gd name="connsiteY39" fmla="*/ 2594344 h 4359349"/>
                    <a:gd name="connsiteX40" fmla="*/ 15519 w 1333956"/>
                    <a:gd name="connsiteY40" fmla="*/ 2775098 h 4359349"/>
                    <a:gd name="connsiteX41" fmla="*/ 15519 w 1333956"/>
                    <a:gd name="connsiteY41" fmla="*/ 3253563 h 4359349"/>
                    <a:gd name="connsiteX42" fmla="*/ 26152 w 1333956"/>
                    <a:gd name="connsiteY42" fmla="*/ 3285461 h 4359349"/>
                    <a:gd name="connsiteX43" fmla="*/ 36784 w 1333956"/>
                    <a:gd name="connsiteY43" fmla="*/ 3381154 h 4359349"/>
                    <a:gd name="connsiteX44" fmla="*/ 68682 w 1333956"/>
                    <a:gd name="connsiteY44" fmla="*/ 3487479 h 4359349"/>
                    <a:gd name="connsiteX45" fmla="*/ 79314 w 1333956"/>
                    <a:gd name="connsiteY45" fmla="*/ 3540642 h 4359349"/>
                    <a:gd name="connsiteX46" fmla="*/ 89947 w 1333956"/>
                    <a:gd name="connsiteY46" fmla="*/ 3636335 h 4359349"/>
                    <a:gd name="connsiteX47" fmla="*/ 121845 w 1333956"/>
                    <a:gd name="connsiteY47" fmla="*/ 3732028 h 4359349"/>
                    <a:gd name="connsiteX48" fmla="*/ 132477 w 1333956"/>
                    <a:gd name="connsiteY48" fmla="*/ 3763926 h 4359349"/>
                    <a:gd name="connsiteX49" fmla="*/ 153742 w 1333956"/>
                    <a:gd name="connsiteY49" fmla="*/ 3795824 h 4359349"/>
                    <a:gd name="connsiteX50" fmla="*/ 175007 w 1333956"/>
                    <a:gd name="connsiteY50" fmla="*/ 3870251 h 4359349"/>
                    <a:gd name="connsiteX51" fmla="*/ 196273 w 1333956"/>
                    <a:gd name="connsiteY51" fmla="*/ 3934047 h 4359349"/>
                    <a:gd name="connsiteX52" fmla="*/ 260068 w 1333956"/>
                    <a:gd name="connsiteY52" fmla="*/ 3997842 h 4359349"/>
                    <a:gd name="connsiteX53" fmla="*/ 281333 w 1333956"/>
                    <a:gd name="connsiteY53" fmla="*/ 4040372 h 4359349"/>
                    <a:gd name="connsiteX54" fmla="*/ 334496 w 1333956"/>
                    <a:gd name="connsiteY54" fmla="*/ 4136065 h 4359349"/>
                    <a:gd name="connsiteX55" fmla="*/ 366394 w 1333956"/>
                    <a:gd name="connsiteY55" fmla="*/ 4348717 h 4359349"/>
                    <a:gd name="connsiteX56" fmla="*/ 377026 w 1333956"/>
                    <a:gd name="connsiteY56" fmla="*/ 4359349 h 4359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333956" h="4359349">
                      <a:moveTo>
                        <a:pt x="1291426" y="0"/>
                      </a:moveTo>
                      <a:cubicBezTo>
                        <a:pt x="1294970" y="74428"/>
                        <a:pt x="1293830" y="149227"/>
                        <a:pt x="1302059" y="223284"/>
                      </a:cubicBezTo>
                      <a:cubicBezTo>
                        <a:pt x="1304534" y="245562"/>
                        <a:pt x="1316236" y="265814"/>
                        <a:pt x="1323324" y="287079"/>
                      </a:cubicBezTo>
                      <a:lnTo>
                        <a:pt x="1333956" y="318977"/>
                      </a:lnTo>
                      <a:cubicBezTo>
                        <a:pt x="1330412" y="382772"/>
                        <a:pt x="1331249" y="446963"/>
                        <a:pt x="1323324" y="510363"/>
                      </a:cubicBezTo>
                      <a:cubicBezTo>
                        <a:pt x="1320665" y="531637"/>
                        <a:pt x="1298072" y="579471"/>
                        <a:pt x="1291426" y="606056"/>
                      </a:cubicBezTo>
                      <a:cubicBezTo>
                        <a:pt x="1284338" y="634410"/>
                        <a:pt x="1279404" y="663391"/>
                        <a:pt x="1270161" y="691117"/>
                      </a:cubicBezTo>
                      <a:cubicBezTo>
                        <a:pt x="1266617" y="701749"/>
                        <a:pt x="1264540" y="712990"/>
                        <a:pt x="1259528" y="723014"/>
                      </a:cubicBezTo>
                      <a:cubicBezTo>
                        <a:pt x="1253813" y="734444"/>
                        <a:pt x="1247880" y="746497"/>
                        <a:pt x="1238263" y="754912"/>
                      </a:cubicBezTo>
                      <a:cubicBezTo>
                        <a:pt x="1219029" y="771742"/>
                        <a:pt x="1195733" y="783265"/>
                        <a:pt x="1174468" y="797442"/>
                      </a:cubicBezTo>
                      <a:cubicBezTo>
                        <a:pt x="1129384" y="827498"/>
                        <a:pt x="1153997" y="812993"/>
                        <a:pt x="1100040" y="839972"/>
                      </a:cubicBezTo>
                      <a:cubicBezTo>
                        <a:pt x="1061053" y="898453"/>
                        <a:pt x="1100041" y="848831"/>
                        <a:pt x="1046877" y="893135"/>
                      </a:cubicBezTo>
                      <a:cubicBezTo>
                        <a:pt x="993780" y="937383"/>
                        <a:pt x="1039140" y="916980"/>
                        <a:pt x="983082" y="935665"/>
                      </a:cubicBezTo>
                      <a:cubicBezTo>
                        <a:pt x="965888" y="987245"/>
                        <a:pt x="984663" y="955981"/>
                        <a:pt x="929919" y="988828"/>
                      </a:cubicBezTo>
                      <a:cubicBezTo>
                        <a:pt x="908004" y="1001977"/>
                        <a:pt x="886570" y="1016023"/>
                        <a:pt x="866124" y="1031358"/>
                      </a:cubicBezTo>
                      <a:cubicBezTo>
                        <a:pt x="851947" y="1041991"/>
                        <a:pt x="838544" y="1053742"/>
                        <a:pt x="823594" y="1063256"/>
                      </a:cubicBezTo>
                      <a:cubicBezTo>
                        <a:pt x="799487" y="1078597"/>
                        <a:pt x="773975" y="1091609"/>
                        <a:pt x="749166" y="1105786"/>
                      </a:cubicBezTo>
                      <a:cubicBezTo>
                        <a:pt x="742078" y="1116419"/>
                        <a:pt x="737718" y="1129503"/>
                        <a:pt x="727901" y="1137684"/>
                      </a:cubicBezTo>
                      <a:cubicBezTo>
                        <a:pt x="702050" y="1159226"/>
                        <a:pt x="673319" y="1160874"/>
                        <a:pt x="642840" y="1169582"/>
                      </a:cubicBezTo>
                      <a:cubicBezTo>
                        <a:pt x="632063" y="1172661"/>
                        <a:pt x="621575" y="1176670"/>
                        <a:pt x="610942" y="1180214"/>
                      </a:cubicBezTo>
                      <a:cubicBezTo>
                        <a:pt x="596765" y="1190847"/>
                        <a:pt x="584262" y="1204187"/>
                        <a:pt x="568412" y="1212112"/>
                      </a:cubicBezTo>
                      <a:cubicBezTo>
                        <a:pt x="548363" y="1222136"/>
                        <a:pt x="523268" y="1220943"/>
                        <a:pt x="504617" y="1233377"/>
                      </a:cubicBezTo>
                      <a:cubicBezTo>
                        <a:pt x="493984" y="1240465"/>
                        <a:pt x="484465" y="1249608"/>
                        <a:pt x="472719" y="1254642"/>
                      </a:cubicBezTo>
                      <a:cubicBezTo>
                        <a:pt x="459288" y="1260398"/>
                        <a:pt x="443872" y="1260144"/>
                        <a:pt x="430189" y="1265275"/>
                      </a:cubicBezTo>
                      <a:cubicBezTo>
                        <a:pt x="415348" y="1270840"/>
                        <a:pt x="402375" y="1280654"/>
                        <a:pt x="387659" y="1286540"/>
                      </a:cubicBezTo>
                      <a:cubicBezTo>
                        <a:pt x="366847" y="1294865"/>
                        <a:pt x="323863" y="1307805"/>
                        <a:pt x="323863" y="1307805"/>
                      </a:cubicBezTo>
                      <a:cubicBezTo>
                        <a:pt x="316775" y="1318438"/>
                        <a:pt x="308938" y="1328608"/>
                        <a:pt x="302598" y="1339703"/>
                      </a:cubicBezTo>
                      <a:cubicBezTo>
                        <a:pt x="294734" y="1353465"/>
                        <a:pt x="290546" y="1369335"/>
                        <a:pt x="281333" y="1382233"/>
                      </a:cubicBezTo>
                      <a:cubicBezTo>
                        <a:pt x="272593" y="1394469"/>
                        <a:pt x="260068" y="1403498"/>
                        <a:pt x="249435" y="1414131"/>
                      </a:cubicBezTo>
                      <a:cubicBezTo>
                        <a:pt x="222713" y="1494301"/>
                        <a:pt x="258759" y="1395485"/>
                        <a:pt x="217538" y="1477926"/>
                      </a:cubicBezTo>
                      <a:cubicBezTo>
                        <a:pt x="200243" y="1512515"/>
                        <a:pt x="216110" y="1511252"/>
                        <a:pt x="185640" y="1541721"/>
                      </a:cubicBezTo>
                      <a:cubicBezTo>
                        <a:pt x="176604" y="1550757"/>
                        <a:pt x="163559" y="1554805"/>
                        <a:pt x="153742" y="1562986"/>
                      </a:cubicBezTo>
                      <a:cubicBezTo>
                        <a:pt x="142191" y="1572612"/>
                        <a:pt x="132477" y="1584251"/>
                        <a:pt x="121845" y="1594884"/>
                      </a:cubicBezTo>
                      <a:cubicBezTo>
                        <a:pt x="118301" y="1605517"/>
                        <a:pt x="115627" y="1616480"/>
                        <a:pt x="111212" y="1626782"/>
                      </a:cubicBezTo>
                      <a:cubicBezTo>
                        <a:pt x="84814" y="1688377"/>
                        <a:pt x="88042" y="1655666"/>
                        <a:pt x="68682" y="1733107"/>
                      </a:cubicBezTo>
                      <a:cubicBezTo>
                        <a:pt x="59916" y="1768172"/>
                        <a:pt x="56184" y="1804368"/>
                        <a:pt x="47417" y="1839433"/>
                      </a:cubicBezTo>
                      <a:cubicBezTo>
                        <a:pt x="14177" y="1972388"/>
                        <a:pt x="56659" y="1807086"/>
                        <a:pt x="26152" y="1913861"/>
                      </a:cubicBezTo>
                      <a:cubicBezTo>
                        <a:pt x="22138" y="1927912"/>
                        <a:pt x="19063" y="1942214"/>
                        <a:pt x="15519" y="1956391"/>
                      </a:cubicBezTo>
                      <a:cubicBezTo>
                        <a:pt x="19063" y="2154865"/>
                        <a:pt x="19539" y="2353418"/>
                        <a:pt x="26152" y="2551814"/>
                      </a:cubicBezTo>
                      <a:cubicBezTo>
                        <a:pt x="26639" y="2566419"/>
                        <a:pt x="36784" y="2579731"/>
                        <a:pt x="36784" y="2594344"/>
                      </a:cubicBezTo>
                      <a:cubicBezTo>
                        <a:pt x="36784" y="2700129"/>
                        <a:pt x="33644" y="2702602"/>
                        <a:pt x="15519" y="2775098"/>
                      </a:cubicBezTo>
                      <a:cubicBezTo>
                        <a:pt x="-7530" y="2982551"/>
                        <a:pt x="-2676" y="2898759"/>
                        <a:pt x="15519" y="3253563"/>
                      </a:cubicBezTo>
                      <a:cubicBezTo>
                        <a:pt x="16093" y="3264756"/>
                        <a:pt x="22608" y="3274828"/>
                        <a:pt x="26152" y="3285461"/>
                      </a:cubicBezTo>
                      <a:cubicBezTo>
                        <a:pt x="29696" y="3317359"/>
                        <a:pt x="31904" y="3349433"/>
                        <a:pt x="36784" y="3381154"/>
                      </a:cubicBezTo>
                      <a:cubicBezTo>
                        <a:pt x="48572" y="3457776"/>
                        <a:pt x="49364" y="3390883"/>
                        <a:pt x="68682" y="3487479"/>
                      </a:cubicBezTo>
                      <a:cubicBezTo>
                        <a:pt x="72226" y="3505200"/>
                        <a:pt x="76758" y="3522752"/>
                        <a:pt x="79314" y="3540642"/>
                      </a:cubicBezTo>
                      <a:cubicBezTo>
                        <a:pt x="83853" y="3572413"/>
                        <a:pt x="83653" y="3604864"/>
                        <a:pt x="89947" y="3636335"/>
                      </a:cubicBezTo>
                      <a:cubicBezTo>
                        <a:pt x="89951" y="3636355"/>
                        <a:pt x="116525" y="3716069"/>
                        <a:pt x="121845" y="3732028"/>
                      </a:cubicBezTo>
                      <a:cubicBezTo>
                        <a:pt x="125389" y="3742661"/>
                        <a:pt x="126260" y="3754601"/>
                        <a:pt x="132477" y="3763926"/>
                      </a:cubicBezTo>
                      <a:cubicBezTo>
                        <a:pt x="139565" y="3774559"/>
                        <a:pt x="148027" y="3784394"/>
                        <a:pt x="153742" y="3795824"/>
                      </a:cubicBezTo>
                      <a:cubicBezTo>
                        <a:pt x="162679" y="3813697"/>
                        <a:pt x="169894" y="3853209"/>
                        <a:pt x="175007" y="3870251"/>
                      </a:cubicBezTo>
                      <a:cubicBezTo>
                        <a:pt x="181448" y="3891721"/>
                        <a:pt x="182824" y="3916114"/>
                        <a:pt x="196273" y="3934047"/>
                      </a:cubicBezTo>
                      <a:cubicBezTo>
                        <a:pt x="235837" y="3986800"/>
                        <a:pt x="213425" y="3966747"/>
                        <a:pt x="260068" y="3997842"/>
                      </a:cubicBezTo>
                      <a:cubicBezTo>
                        <a:pt x="267156" y="4012019"/>
                        <a:pt x="273178" y="4026781"/>
                        <a:pt x="281333" y="4040372"/>
                      </a:cubicBezTo>
                      <a:cubicBezTo>
                        <a:pt x="336174" y="4131774"/>
                        <a:pt x="313108" y="4071906"/>
                        <a:pt x="334496" y="4136065"/>
                      </a:cubicBezTo>
                      <a:cubicBezTo>
                        <a:pt x="345684" y="4337460"/>
                        <a:pt x="299948" y="4282271"/>
                        <a:pt x="366394" y="4348717"/>
                      </a:cubicBezTo>
                      <a:lnTo>
                        <a:pt x="377026" y="4359349"/>
                      </a:lnTo>
                    </a:path>
                  </a:pathLst>
                </a:custGeom>
                <a:noFill/>
                <a:ln w="19050">
                  <a:solidFill>
                    <a:schemeClr val="bg1"/>
                  </a:solidFill>
                  <a:prstDash val="dash"/>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5600">
                    <a:solidFill>
                      <a:prstClr val="white"/>
                    </a:solidFill>
                    <a:latin typeface="Calibri" panose="020F0502020204030204"/>
                    <a:sym typeface="Gill Sans" charset="0"/>
                  </a:endParaRPr>
                </a:p>
              </p:txBody>
            </p:sp>
          </p:grpSp>
        </p:grpSp>
        <p:sp>
          <p:nvSpPr>
            <p:cNvPr id="225" name="TextBox 224"/>
            <p:cNvSpPr txBox="1"/>
            <p:nvPr/>
          </p:nvSpPr>
          <p:spPr>
            <a:xfrm>
              <a:off x="7321520" y="12087988"/>
              <a:ext cx="3664894" cy="615554"/>
            </a:xfrm>
            <a:prstGeom prst="rect">
              <a:avLst/>
            </a:prstGeom>
            <a:noFill/>
          </p:spPr>
          <p:txBody>
            <a:bodyPr wrap="square" rtlCol="0">
              <a:spAutoFit/>
            </a:bodyPr>
            <a:lstStyle/>
            <a:p>
              <a:pPr algn="ctr" defTabSz="457200" fontAlgn="base">
                <a:spcBef>
                  <a:spcPct val="0"/>
                </a:spcBef>
                <a:spcAft>
                  <a:spcPct val="0"/>
                </a:spcAft>
              </a:pPr>
              <a:r>
                <a:rPr lang="en-US" sz="1400" dirty="0">
                  <a:solidFill>
                    <a:prstClr val="white"/>
                  </a:solidFill>
                  <a:latin typeface="Segoe UI Light" panose="020B0502040204020203" pitchFamily="34" charset="0"/>
                  <a:ea typeface="Heiti SC Light" charset="-122"/>
                  <a:cs typeface="Segoe UI Light" panose="020B0502040204020203" pitchFamily="34" charset="0"/>
                  <a:sym typeface="Gill Sans" charset="0"/>
                </a:rPr>
                <a:t>30K transactions/sec</a:t>
              </a:r>
            </a:p>
          </p:txBody>
        </p:sp>
      </p:grpSp>
      <p:sp>
        <p:nvSpPr>
          <p:cNvPr id="226" name="Text Placeholder 1"/>
          <p:cNvSpPr txBox="1">
            <a:spLocks/>
          </p:cNvSpPr>
          <p:nvPr/>
        </p:nvSpPr>
        <p:spPr>
          <a:xfrm>
            <a:off x="8152718" y="1161524"/>
            <a:ext cx="3997560" cy="5503698"/>
          </a:xfrm>
          <a:prstGeom prst="rect">
            <a:avLst/>
          </a:prstGeom>
        </p:spPr>
        <p:txBody>
          <a:bodyPr/>
          <a:lstStyle>
            <a:lvl1pPr marL="457206" indent="-457206" algn="l" defTabSz="1828823"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17" indent="-457206" algn="l" defTabSz="1828823"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29" indent="-457206" algn="l" defTabSz="1828823"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40"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51"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63"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74"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86"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97" indent="-457206" algn="l" defTabSz="1828823"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228603" indent="-228603" defTabSz="914412">
              <a:lnSpc>
                <a:spcPct val="100000"/>
              </a:lnSpc>
              <a:spcBef>
                <a:spcPts val="0"/>
              </a:spcBef>
              <a:spcAft>
                <a:spcPts val="1766"/>
              </a:spcAft>
            </a:pPr>
            <a:r>
              <a:rPr lang="en-US" sz="1800" dirty="0">
                <a:solidFill>
                  <a:prstClr val="white"/>
                </a:solidFill>
                <a:latin typeface="Segoe UI Light" panose="020B0502040204020203" pitchFamily="34" charset="0"/>
                <a:cs typeface="Segoe UI Light" panose="020B0502040204020203" pitchFamily="34" charset="0"/>
                <a:sym typeface="Gill Sans" charset="0"/>
              </a:rPr>
              <a:t>Elastically scaling throughput from 10 to 100s of millions of transactions/sec across multiple regions on a single table</a:t>
            </a:r>
          </a:p>
          <a:p>
            <a:pPr marL="228603" indent="-228603" defTabSz="914412">
              <a:lnSpc>
                <a:spcPct val="100000"/>
              </a:lnSpc>
              <a:spcBef>
                <a:spcPts val="0"/>
              </a:spcBef>
              <a:spcAft>
                <a:spcPts val="1766"/>
              </a:spcAft>
            </a:pPr>
            <a:r>
              <a:rPr lang="en-US" sz="1800" dirty="0">
                <a:solidFill>
                  <a:prstClr val="white"/>
                </a:solidFill>
                <a:latin typeface="Segoe UI Light" panose="020B0502040204020203" pitchFamily="34" charset="0"/>
                <a:cs typeface="Segoe UI Light" panose="020B0502040204020203" pitchFamily="34" charset="0"/>
                <a:sym typeface="Gill Sans" charset="0"/>
              </a:rPr>
              <a:t>Automatic and transparent replication worldwide</a:t>
            </a:r>
          </a:p>
          <a:p>
            <a:pPr marL="228603" indent="-228603" defTabSz="914412">
              <a:lnSpc>
                <a:spcPct val="100000"/>
              </a:lnSpc>
              <a:spcBef>
                <a:spcPts val="0"/>
              </a:spcBef>
              <a:spcAft>
                <a:spcPts val="1766"/>
              </a:spcAft>
            </a:pPr>
            <a:r>
              <a:rPr lang="en-US" sz="1800" dirty="0">
                <a:solidFill>
                  <a:prstClr val="white"/>
                </a:solidFill>
                <a:latin typeface="Segoe UI Light" panose="020B0502040204020203" pitchFamily="34" charset="0"/>
                <a:cs typeface="Segoe UI Light" panose="020B0502040204020203" pitchFamily="34" charset="0"/>
                <a:sym typeface="Gill Sans" charset="0"/>
              </a:rPr>
              <a:t>Modular, resource governed nested consensus</a:t>
            </a:r>
          </a:p>
          <a:p>
            <a:pPr marL="285750" indent="-285750" defTabSz="914412" fontAlgn="base">
              <a:lnSpc>
                <a:spcPct val="100000"/>
              </a:lnSpc>
              <a:spcBef>
                <a:spcPts val="0"/>
              </a:spcBef>
              <a:spcAft>
                <a:spcPct val="0"/>
              </a:spcAft>
            </a:pPr>
            <a:r>
              <a:rPr lang="en-US" sz="1800" dirty="0">
                <a:solidFill>
                  <a:prstClr val="white"/>
                </a:solidFill>
                <a:latin typeface="Segoe UI Light" panose="020B0502040204020203" pitchFamily="34" charset="0"/>
                <a:cs typeface="Segoe UI Light" panose="020B0502040204020203" pitchFamily="34" charset="0"/>
                <a:sym typeface="Gill Sans" charset="0"/>
              </a:rPr>
              <a:t>Customers can test end to end application availability by programmatically simulating failovers</a:t>
            </a:r>
          </a:p>
          <a:p>
            <a:pPr marL="285750" indent="-285750" defTabSz="914412" fontAlgn="base">
              <a:lnSpc>
                <a:spcPct val="100000"/>
              </a:lnSpc>
              <a:spcBef>
                <a:spcPts val="0"/>
              </a:spcBef>
              <a:spcAft>
                <a:spcPct val="0"/>
              </a:spcAft>
            </a:pPr>
            <a:endParaRPr lang="en-US" sz="1800" dirty="0">
              <a:solidFill>
                <a:prstClr val="white"/>
              </a:solidFill>
              <a:latin typeface="Segoe UI Light" panose="020B0502040204020203" pitchFamily="34" charset="0"/>
              <a:cs typeface="Segoe UI Light" panose="020B0502040204020203" pitchFamily="34" charset="0"/>
              <a:sym typeface="Gill Sans" charset="0"/>
            </a:endParaRPr>
          </a:p>
          <a:p>
            <a:pPr marL="285750" indent="-285750" defTabSz="914412" fontAlgn="base">
              <a:lnSpc>
                <a:spcPct val="100000"/>
              </a:lnSpc>
              <a:spcBef>
                <a:spcPts val="0"/>
              </a:spcBef>
              <a:spcAft>
                <a:spcPct val="0"/>
              </a:spcAft>
            </a:pPr>
            <a:r>
              <a:rPr lang="en-US" sz="1800" dirty="0">
                <a:solidFill>
                  <a:prstClr val="white"/>
                </a:solidFill>
                <a:latin typeface="Segoe UI Light" panose="020B0502040204020203" pitchFamily="34" charset="0"/>
                <a:cs typeface="Segoe UI Light" panose="020B0502040204020203" pitchFamily="34" charset="0"/>
                <a:sym typeface="Gill Sans" charset="0"/>
              </a:rPr>
              <a:t>Multi-homing APIs</a:t>
            </a:r>
          </a:p>
          <a:p>
            <a:pPr marL="514350" lvl="1" indent="-285750" defTabSz="914412" fontAlgn="base">
              <a:lnSpc>
                <a:spcPct val="100000"/>
              </a:lnSpc>
              <a:spcBef>
                <a:spcPts val="0"/>
              </a:spcBef>
              <a:spcAft>
                <a:spcPct val="0"/>
              </a:spcAft>
            </a:pPr>
            <a:r>
              <a:rPr lang="en-US" sz="1600" dirty="0">
                <a:solidFill>
                  <a:prstClr val="white"/>
                </a:solidFill>
                <a:latin typeface="Segoe UI Light" panose="020B0502040204020203" pitchFamily="34" charset="0"/>
                <a:cs typeface="Segoe UI Light" panose="020B0502040204020203" pitchFamily="34" charset="0"/>
                <a:sym typeface="Gill Sans" charset="0"/>
              </a:rPr>
              <a:t>Apps don’t need to be redeployed during regional failover</a:t>
            </a:r>
          </a:p>
          <a:p>
            <a:pPr marL="285750" indent="-285750" defTabSz="914412" fontAlgn="base">
              <a:spcBef>
                <a:spcPts val="0"/>
              </a:spcBef>
              <a:spcAft>
                <a:spcPct val="0"/>
              </a:spcAft>
            </a:pPr>
            <a:endParaRPr lang="en-US" sz="1800" dirty="0">
              <a:solidFill>
                <a:prstClr val="white"/>
              </a:solidFill>
              <a:latin typeface="Segoe UI Light" panose="020B0502040204020203" pitchFamily="34" charset="0"/>
              <a:cs typeface="Segoe UI Light" panose="020B0502040204020203" pitchFamily="34" charset="0"/>
              <a:sym typeface="Gill Sans" charset="0"/>
            </a:endParaRPr>
          </a:p>
          <a:p>
            <a:pPr marL="228603" indent="-228603" defTabSz="914412">
              <a:lnSpc>
                <a:spcPct val="100000"/>
              </a:lnSpc>
              <a:spcBef>
                <a:spcPts val="0"/>
              </a:spcBef>
              <a:spcAft>
                <a:spcPts val="1766"/>
              </a:spcAft>
            </a:pPr>
            <a:r>
              <a:rPr lang="en-US" sz="1800" dirty="0">
                <a:solidFill>
                  <a:srgbClr val="FFFF00"/>
                </a:solidFill>
                <a:latin typeface="Segoe UI Light" panose="020B0502040204020203" pitchFamily="34" charset="0"/>
                <a:cs typeface="Segoe UI Light" panose="020B0502040204020203" pitchFamily="34" charset="0"/>
                <a:sym typeface="Gill Sans" charset="0"/>
              </a:rPr>
              <a:t>Customers associate/disassociate regions to a table at any time </a:t>
            </a:r>
          </a:p>
          <a:p>
            <a:pPr marL="228603" indent="-228603" defTabSz="914412">
              <a:lnSpc>
                <a:spcPct val="100000"/>
              </a:lnSpc>
              <a:spcBef>
                <a:spcPts val="0"/>
              </a:spcBef>
              <a:spcAft>
                <a:spcPts val="1766"/>
              </a:spcAft>
            </a:pPr>
            <a:endParaRPr lang="en-US" sz="1800" dirty="0">
              <a:solidFill>
                <a:prstClr val="white"/>
              </a:solidFill>
              <a:latin typeface="Segoe UI Light" panose="020B0502040204020203" pitchFamily="34" charset="0"/>
              <a:cs typeface="Segoe UI Light" panose="020B0502040204020203" pitchFamily="34" charset="0"/>
              <a:sym typeface="Gill Sans" charset="0"/>
            </a:endParaRPr>
          </a:p>
          <a:p>
            <a:pPr marL="228603" indent="-228603" defTabSz="914412">
              <a:lnSpc>
                <a:spcPct val="100000"/>
              </a:lnSpc>
              <a:spcBef>
                <a:spcPts val="0"/>
              </a:spcBef>
              <a:spcAft>
                <a:spcPts val="1766"/>
              </a:spcAft>
            </a:pPr>
            <a:endParaRPr lang="en-US" sz="1800" dirty="0">
              <a:solidFill>
                <a:prstClr val="white"/>
              </a:solidFill>
              <a:latin typeface="Segoe UI Light" panose="020B0502040204020203" pitchFamily="34" charset="0"/>
              <a:cs typeface="Segoe UI Light" panose="020B0502040204020203" pitchFamily="34" charset="0"/>
              <a:sym typeface="Gill Sans" charset="0"/>
            </a:endParaRPr>
          </a:p>
        </p:txBody>
      </p:sp>
    </p:spTree>
    <p:custDataLst>
      <p:tags r:id="rId1"/>
    </p:custDataLst>
    <p:extLst>
      <p:ext uri="{BB962C8B-B14F-4D97-AF65-F5344CB8AC3E}">
        <p14:creationId xmlns:p14="http://schemas.microsoft.com/office/powerpoint/2010/main" val="18881355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duotone>
              <a:prstClr val="black"/>
              <a:schemeClr val="accent1">
                <a:tint val="45000"/>
                <a:satMod val="400000"/>
              </a:schemeClr>
            </a:duotone>
          </a:blip>
          <a:stretch>
            <a:fillRect/>
          </a:stretch>
        </p:blipFill>
        <p:spPr>
          <a:xfrm>
            <a:off x="1729" y="0"/>
            <a:ext cx="12190271" cy="7315199"/>
          </a:xfrm>
          <a:prstGeom prst="rect">
            <a:avLst/>
          </a:prstGeom>
        </p:spPr>
      </p:pic>
      <p:grpSp>
        <p:nvGrpSpPr>
          <p:cNvPr id="7" name="Group 6">
            <a:extLst>
              <a:ext uri="{FF2B5EF4-FFF2-40B4-BE49-F238E27FC236}">
                <a16:creationId xmlns:a16="http://schemas.microsoft.com/office/drawing/2014/main" id="{391E04BB-1A30-4E8D-B60E-468D5854908F}"/>
              </a:ext>
            </a:extLst>
          </p:cNvPr>
          <p:cNvGrpSpPr/>
          <p:nvPr/>
        </p:nvGrpSpPr>
        <p:grpSpPr>
          <a:xfrm>
            <a:off x="5231670" y="1857324"/>
            <a:ext cx="6579837" cy="3601525"/>
            <a:chOff x="2094952" y="1132114"/>
            <a:chExt cx="4934878" cy="2701144"/>
          </a:xfrm>
        </p:grpSpPr>
        <p:grpSp>
          <p:nvGrpSpPr>
            <p:cNvPr id="8" name="Group 7">
              <a:extLst>
                <a:ext uri="{FF2B5EF4-FFF2-40B4-BE49-F238E27FC236}">
                  <a16:creationId xmlns:a16="http://schemas.microsoft.com/office/drawing/2014/main" id="{44B6CFDC-215C-4F28-9672-E1B12A07AA03}"/>
                </a:ext>
              </a:extLst>
            </p:cNvPr>
            <p:cNvGrpSpPr/>
            <p:nvPr/>
          </p:nvGrpSpPr>
          <p:grpSpPr>
            <a:xfrm>
              <a:off x="4974772" y="1770209"/>
              <a:ext cx="2024886" cy="2024884"/>
              <a:chOff x="8792026" y="981118"/>
              <a:chExt cx="2921554" cy="2921552"/>
            </a:xfrm>
            <a:noFill/>
          </p:grpSpPr>
          <p:sp>
            <p:nvSpPr>
              <p:cNvPr id="29" name="Oval 28">
                <a:extLst>
                  <a:ext uri="{FF2B5EF4-FFF2-40B4-BE49-F238E27FC236}">
                    <a16:creationId xmlns:a16="http://schemas.microsoft.com/office/drawing/2014/main" id="{40F99AA6-0838-49D9-899F-A8C823CE1E6C}"/>
                  </a:ext>
                </a:extLst>
              </p:cNvPr>
              <p:cNvSpPr/>
              <p:nvPr/>
            </p:nvSpPr>
            <p:spPr bwMode="auto">
              <a:xfrm>
                <a:off x="8811630" y="1004407"/>
                <a:ext cx="2856393" cy="285639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49" fontAlgn="base">
                  <a:lnSpc>
                    <a:spcPct val="90000"/>
                  </a:lnSpc>
                  <a:spcBef>
                    <a:spcPct val="0"/>
                  </a:spcBef>
                  <a:spcAft>
                    <a:spcPct val="0"/>
                  </a:spcAft>
                  <a:defRPr/>
                </a:pPr>
                <a:endParaRPr lang="en-US" sz="36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0" name="Group 29">
                <a:extLst>
                  <a:ext uri="{FF2B5EF4-FFF2-40B4-BE49-F238E27FC236}">
                    <a16:creationId xmlns:a16="http://schemas.microsoft.com/office/drawing/2014/main" id="{4E18F39C-50F3-444A-91C0-957F84F82299}"/>
                  </a:ext>
                </a:extLst>
              </p:cNvPr>
              <p:cNvGrpSpPr/>
              <p:nvPr/>
            </p:nvGrpSpPr>
            <p:grpSpPr>
              <a:xfrm>
                <a:off x="8792026" y="981118"/>
                <a:ext cx="2921554" cy="2921552"/>
                <a:chOff x="8792026" y="981118"/>
                <a:chExt cx="2921554" cy="2921552"/>
              </a:xfrm>
              <a:grpFill/>
            </p:grpSpPr>
            <p:sp>
              <p:nvSpPr>
                <p:cNvPr id="31" name="Oval 30">
                  <a:extLst>
                    <a:ext uri="{FF2B5EF4-FFF2-40B4-BE49-F238E27FC236}">
                      <a16:creationId xmlns:a16="http://schemas.microsoft.com/office/drawing/2014/main" id="{F2ED2BFB-FD19-4F16-B579-FF31D960AC25}"/>
                    </a:ext>
                  </a:extLst>
                </p:cNvPr>
                <p:cNvSpPr/>
                <p:nvPr/>
              </p:nvSpPr>
              <p:spPr bwMode="auto">
                <a:xfrm>
                  <a:off x="8792026" y="981118"/>
                  <a:ext cx="2921554" cy="2921552"/>
                </a:xfrm>
                <a:prstGeom prst="ellipse">
                  <a:avLst/>
                </a:prstGeom>
                <a:grpFill/>
                <a:ln w="44450" cap="rnd">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3600" err="1">
                    <a:solidFill>
                      <a:srgbClr val="FFFFFF"/>
                    </a:solidFill>
                    <a:latin typeface="Segoe UI Semilight" panose="020B0402040204020203" pitchFamily="34" charset="0"/>
                    <a:ea typeface="Segoe UI" charset="0"/>
                    <a:cs typeface="Segoe UI Semilight" panose="020B0402040204020203" pitchFamily="34" charset="0"/>
                  </a:endParaRPr>
                </a:p>
              </p:txBody>
            </p:sp>
            <p:sp>
              <p:nvSpPr>
                <p:cNvPr id="32" name="TextBox 31">
                  <a:extLst>
                    <a:ext uri="{FF2B5EF4-FFF2-40B4-BE49-F238E27FC236}">
                      <a16:creationId xmlns:a16="http://schemas.microsoft.com/office/drawing/2014/main" id="{ED0ED426-86A3-47BE-9048-C441CA2E303E}"/>
                    </a:ext>
                  </a:extLst>
                </p:cNvPr>
                <p:cNvSpPr txBox="1"/>
                <p:nvPr/>
              </p:nvSpPr>
              <p:spPr>
                <a:xfrm>
                  <a:off x="8972758" y="2071465"/>
                  <a:ext cx="2534140" cy="852985"/>
                </a:xfrm>
                <a:prstGeom prst="rect">
                  <a:avLst/>
                </a:prstGeom>
                <a:grpFill/>
                <a:ln>
                  <a:noFill/>
                </a:ln>
              </p:spPr>
              <p:txBody>
                <a:bodyPr wrap="square" lIns="179285" tIns="143428" rIns="179285" bIns="143428" rtlCol="0" anchor="ctr" anchorCtr="0">
                  <a:spAutoFit/>
                </a:bodyPr>
                <a:lstStyle/>
                <a:p>
                  <a:pPr algn="ctr" defTabSz="914344">
                    <a:lnSpc>
                      <a:spcPct val="90000"/>
                    </a:lnSpc>
                    <a:spcAft>
                      <a:spcPts val="588"/>
                    </a:spcAft>
                    <a:defRPr/>
                  </a:pPr>
                  <a:r>
                    <a:rPr lang="en-US" sz="3600" dirty="0">
                      <a:solidFill>
                        <a:srgbClr val="FFFFFF"/>
                      </a:solidFill>
                      <a:latin typeface="Segoe UI Semilight" panose="020B0402040204020203" pitchFamily="34" charset="0"/>
                      <a:ea typeface="Segoe UI" charset="0"/>
                      <a:cs typeface="Segoe UI Semilight" panose="020B0402040204020203" pitchFamily="34" charset="0"/>
                    </a:rPr>
                    <a:t>Windows</a:t>
                  </a:r>
                </a:p>
              </p:txBody>
            </p:sp>
          </p:grpSp>
        </p:grpSp>
        <p:grpSp>
          <p:nvGrpSpPr>
            <p:cNvPr id="9" name="Group 8">
              <a:extLst>
                <a:ext uri="{FF2B5EF4-FFF2-40B4-BE49-F238E27FC236}">
                  <a16:creationId xmlns:a16="http://schemas.microsoft.com/office/drawing/2014/main" id="{B955024C-929A-4FA1-9810-127F2BE47C4C}"/>
                </a:ext>
              </a:extLst>
            </p:cNvPr>
            <p:cNvGrpSpPr/>
            <p:nvPr/>
          </p:nvGrpSpPr>
          <p:grpSpPr>
            <a:xfrm>
              <a:off x="3365193" y="1132114"/>
              <a:ext cx="2306265" cy="2323598"/>
              <a:chOff x="6043491" y="3958046"/>
              <a:chExt cx="2895606" cy="2917371"/>
            </a:xfrm>
            <a:noFill/>
          </p:grpSpPr>
          <p:sp>
            <p:nvSpPr>
              <p:cNvPr id="25" name="Oval 24">
                <a:extLst>
                  <a:ext uri="{FF2B5EF4-FFF2-40B4-BE49-F238E27FC236}">
                    <a16:creationId xmlns:a16="http://schemas.microsoft.com/office/drawing/2014/main" id="{F8F75F16-8842-4F4D-8838-8291E4959A3C}"/>
                  </a:ext>
                </a:extLst>
              </p:cNvPr>
              <p:cNvSpPr/>
              <p:nvPr/>
            </p:nvSpPr>
            <p:spPr bwMode="auto">
              <a:xfrm>
                <a:off x="6056528" y="3958046"/>
                <a:ext cx="2856393" cy="285639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49" fontAlgn="base">
                  <a:lnSpc>
                    <a:spcPct val="90000"/>
                  </a:lnSpc>
                  <a:spcBef>
                    <a:spcPct val="0"/>
                  </a:spcBef>
                  <a:spcAft>
                    <a:spcPct val="0"/>
                  </a:spcAft>
                  <a:defRPr/>
                </a:pPr>
                <a:endParaRPr lang="en-US" sz="42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6" name="Group 25">
                <a:extLst>
                  <a:ext uri="{FF2B5EF4-FFF2-40B4-BE49-F238E27FC236}">
                    <a16:creationId xmlns:a16="http://schemas.microsoft.com/office/drawing/2014/main" id="{889B69D6-09CD-499B-97DE-77FC8A368893}"/>
                  </a:ext>
                </a:extLst>
              </p:cNvPr>
              <p:cNvGrpSpPr/>
              <p:nvPr/>
            </p:nvGrpSpPr>
            <p:grpSpPr>
              <a:xfrm>
                <a:off x="6043491" y="3979813"/>
                <a:ext cx="2895606" cy="2895604"/>
                <a:chOff x="6043491" y="2913794"/>
                <a:chExt cx="2895606" cy="2895604"/>
              </a:xfrm>
              <a:grpFill/>
            </p:grpSpPr>
            <p:sp>
              <p:nvSpPr>
                <p:cNvPr id="27" name="Oval 26">
                  <a:extLst>
                    <a:ext uri="{FF2B5EF4-FFF2-40B4-BE49-F238E27FC236}">
                      <a16:creationId xmlns:a16="http://schemas.microsoft.com/office/drawing/2014/main" id="{C1F9785D-C548-4456-BC83-8053B6E5B870}"/>
                    </a:ext>
                  </a:extLst>
                </p:cNvPr>
                <p:cNvSpPr/>
                <p:nvPr/>
              </p:nvSpPr>
              <p:spPr bwMode="auto">
                <a:xfrm>
                  <a:off x="6043491" y="2913794"/>
                  <a:ext cx="2895606" cy="2895604"/>
                </a:xfrm>
                <a:prstGeom prst="ellipse">
                  <a:avLst/>
                </a:prstGeom>
                <a:grpFill/>
                <a:ln w="44450" cap="rnd">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4200" dirty="0">
                    <a:solidFill>
                      <a:srgbClr val="FFFFFF"/>
                    </a:solidFill>
                    <a:latin typeface="Segoe UI Semilight" panose="020B0402040204020203" pitchFamily="34" charset="0"/>
                    <a:ea typeface="Segoe UI" charset="0"/>
                    <a:cs typeface="Segoe UI Semilight" panose="020B0402040204020203" pitchFamily="34" charset="0"/>
                  </a:endParaRPr>
                </a:p>
              </p:txBody>
            </p:sp>
            <p:sp>
              <p:nvSpPr>
                <p:cNvPr id="28" name="TextBox 27">
                  <a:extLst>
                    <a:ext uri="{FF2B5EF4-FFF2-40B4-BE49-F238E27FC236}">
                      <a16:creationId xmlns:a16="http://schemas.microsoft.com/office/drawing/2014/main" id="{6F46EDCE-E30D-439E-86C0-259897DFC64D}"/>
                    </a:ext>
                  </a:extLst>
                </p:cNvPr>
                <p:cNvSpPr txBox="1"/>
                <p:nvPr/>
              </p:nvSpPr>
              <p:spPr>
                <a:xfrm>
                  <a:off x="6629908" y="3744099"/>
                  <a:ext cx="1722770" cy="1368275"/>
                </a:xfrm>
                <a:prstGeom prst="rect">
                  <a:avLst/>
                </a:prstGeom>
                <a:grpFill/>
                <a:ln>
                  <a:noFill/>
                </a:ln>
              </p:spPr>
              <p:txBody>
                <a:bodyPr wrap="square" lIns="179285" tIns="143428" rIns="179285" bIns="143428" rtlCol="0" anchor="ctr" anchorCtr="0">
                  <a:spAutoFit/>
                </a:bodyPr>
                <a:lstStyle/>
                <a:p>
                  <a:pPr algn="ctr" defTabSz="914344">
                    <a:lnSpc>
                      <a:spcPct val="90000"/>
                    </a:lnSpc>
                    <a:spcAft>
                      <a:spcPts val="588"/>
                    </a:spcAft>
                    <a:defRPr/>
                  </a:pPr>
                  <a:r>
                    <a:rPr lang="en-US" sz="4200" dirty="0">
                      <a:solidFill>
                        <a:srgbClr val="FFFFFF"/>
                      </a:solidFill>
                      <a:latin typeface="Segoe UI Semilight" panose="020B0402040204020203" pitchFamily="34" charset="0"/>
                      <a:ea typeface="Segoe UI" charset="0"/>
                      <a:cs typeface="Segoe UI Semilight" panose="020B0402040204020203" pitchFamily="34" charset="0"/>
                    </a:rPr>
                    <a:t>Office 365</a:t>
                  </a:r>
                </a:p>
              </p:txBody>
            </p:sp>
          </p:grpSp>
        </p:grpSp>
        <p:grpSp>
          <p:nvGrpSpPr>
            <p:cNvPr id="10" name="Group 9">
              <a:extLst>
                <a:ext uri="{FF2B5EF4-FFF2-40B4-BE49-F238E27FC236}">
                  <a16:creationId xmlns:a16="http://schemas.microsoft.com/office/drawing/2014/main" id="{818EDD24-E61B-4E01-8BE4-F6FE6FBDF029}"/>
                </a:ext>
              </a:extLst>
            </p:cNvPr>
            <p:cNvGrpSpPr/>
            <p:nvPr/>
          </p:nvGrpSpPr>
          <p:grpSpPr>
            <a:xfrm>
              <a:off x="2741375" y="1959429"/>
              <a:ext cx="1365127" cy="1365125"/>
              <a:chOff x="3290407" y="981118"/>
              <a:chExt cx="2895606" cy="2895604"/>
            </a:xfrm>
            <a:noFill/>
          </p:grpSpPr>
          <p:sp>
            <p:nvSpPr>
              <p:cNvPr id="21" name="Oval 20">
                <a:extLst>
                  <a:ext uri="{FF2B5EF4-FFF2-40B4-BE49-F238E27FC236}">
                    <a16:creationId xmlns:a16="http://schemas.microsoft.com/office/drawing/2014/main" id="{CAD4FBFA-5F1A-449B-8438-498BFD074606}"/>
                  </a:ext>
                </a:extLst>
              </p:cNvPr>
              <p:cNvSpPr/>
              <p:nvPr/>
            </p:nvSpPr>
            <p:spPr bwMode="auto">
              <a:xfrm>
                <a:off x="3315807" y="1004407"/>
                <a:ext cx="2856393" cy="285639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algn="ctr" defTabSz="932449" fontAlgn="base">
                  <a:lnSpc>
                    <a:spcPct val="90000"/>
                  </a:lnSpc>
                  <a:spcBef>
                    <a:spcPct val="0"/>
                  </a:spcBef>
                  <a:spcAft>
                    <a:spcPct val="0"/>
                  </a:spcAft>
                  <a:defRPr/>
                </a:pPr>
                <a:endParaRPr lang="en-US" sz="25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2" name="Group 21">
                <a:extLst>
                  <a:ext uri="{FF2B5EF4-FFF2-40B4-BE49-F238E27FC236}">
                    <a16:creationId xmlns:a16="http://schemas.microsoft.com/office/drawing/2014/main" id="{752BC4B4-2854-49B8-8B5F-692A1FC216EA}"/>
                  </a:ext>
                </a:extLst>
              </p:cNvPr>
              <p:cNvGrpSpPr/>
              <p:nvPr/>
            </p:nvGrpSpPr>
            <p:grpSpPr>
              <a:xfrm>
                <a:off x="3290407" y="981118"/>
                <a:ext cx="2895606" cy="2895604"/>
                <a:chOff x="3290407" y="981118"/>
                <a:chExt cx="2895606" cy="2895604"/>
              </a:xfrm>
              <a:grpFill/>
            </p:grpSpPr>
            <p:sp>
              <p:nvSpPr>
                <p:cNvPr id="23" name="Oval 22">
                  <a:extLst>
                    <a:ext uri="{FF2B5EF4-FFF2-40B4-BE49-F238E27FC236}">
                      <a16:creationId xmlns:a16="http://schemas.microsoft.com/office/drawing/2014/main" id="{DF342B62-00A0-4CE1-8CA4-0674770021BA}"/>
                    </a:ext>
                  </a:extLst>
                </p:cNvPr>
                <p:cNvSpPr/>
                <p:nvPr/>
              </p:nvSpPr>
              <p:spPr bwMode="auto">
                <a:xfrm>
                  <a:off x="3290407" y="981118"/>
                  <a:ext cx="2895606" cy="2895604"/>
                </a:xfrm>
                <a:prstGeom prst="ellipse">
                  <a:avLst/>
                </a:prstGeom>
                <a:grpFill/>
                <a:ln w="44450" cap="rnd">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2500" err="1">
                    <a:solidFill>
                      <a:srgbClr val="FFFFFF"/>
                    </a:solidFill>
                    <a:latin typeface="Segoe UI Semilight" panose="020B0402040204020203" pitchFamily="34" charset="0"/>
                    <a:ea typeface="Segoe UI" charset="0"/>
                    <a:cs typeface="Segoe UI Semilight" panose="020B0402040204020203" pitchFamily="34" charset="0"/>
                  </a:endParaRPr>
                </a:p>
              </p:txBody>
            </p:sp>
            <p:sp>
              <p:nvSpPr>
                <p:cNvPr id="24" name="TextBox 23">
                  <a:extLst>
                    <a:ext uri="{FF2B5EF4-FFF2-40B4-BE49-F238E27FC236}">
                      <a16:creationId xmlns:a16="http://schemas.microsoft.com/office/drawing/2014/main" id="{CEC79936-2F57-4C52-9400-E11D232E7CBE}"/>
                    </a:ext>
                  </a:extLst>
                </p:cNvPr>
                <p:cNvSpPr txBox="1"/>
                <p:nvPr/>
              </p:nvSpPr>
              <p:spPr>
                <a:xfrm>
                  <a:off x="3395730" y="1723590"/>
                  <a:ext cx="2684957" cy="1562457"/>
                </a:xfrm>
                <a:prstGeom prst="rect">
                  <a:avLst/>
                </a:prstGeom>
                <a:grpFill/>
                <a:ln>
                  <a:noFill/>
                </a:ln>
              </p:spPr>
              <p:txBody>
                <a:bodyPr wrap="none" lIns="179285" tIns="143428" rIns="179285" bIns="143428" rtlCol="0" anchor="ctr" anchorCtr="0">
                  <a:spAutoFit/>
                </a:bodyPr>
                <a:lstStyle/>
                <a:p>
                  <a:pPr algn="ctr" defTabSz="914344">
                    <a:lnSpc>
                      <a:spcPct val="90000"/>
                    </a:lnSpc>
                    <a:spcAft>
                      <a:spcPts val="588"/>
                    </a:spcAft>
                    <a:defRPr/>
                  </a:pPr>
                  <a:r>
                    <a:rPr lang="en-US" sz="2500" dirty="0">
                      <a:solidFill>
                        <a:srgbClr val="FFFFFF"/>
                      </a:solidFill>
                      <a:latin typeface="Segoe UI Semilight" panose="020B0402040204020203" pitchFamily="34" charset="0"/>
                      <a:ea typeface="Segoe UI" charset="0"/>
                      <a:cs typeface="Segoe UI Semilight" panose="020B0402040204020203" pitchFamily="34" charset="0"/>
                    </a:rPr>
                    <a:t>Dynamics</a:t>
                  </a:r>
                  <a:br>
                    <a:rPr lang="en-US" sz="2500" dirty="0">
                      <a:solidFill>
                        <a:srgbClr val="FFFFFF"/>
                      </a:solidFill>
                      <a:latin typeface="Segoe UI Semilight" panose="020B0402040204020203" pitchFamily="34" charset="0"/>
                      <a:ea typeface="Segoe UI" charset="0"/>
                      <a:cs typeface="Segoe UI Semilight" panose="020B0402040204020203" pitchFamily="34" charset="0"/>
                    </a:rPr>
                  </a:br>
                  <a:r>
                    <a:rPr lang="en-US" sz="2500" dirty="0">
                      <a:solidFill>
                        <a:srgbClr val="FFFFFF"/>
                      </a:solidFill>
                      <a:latin typeface="Segoe UI Semilight" panose="020B0402040204020203" pitchFamily="34" charset="0"/>
                      <a:ea typeface="Segoe UI" charset="0"/>
                      <a:cs typeface="Segoe UI Semilight" panose="020B0402040204020203" pitchFamily="34" charset="0"/>
                    </a:rPr>
                    <a:t>365</a:t>
                  </a:r>
                </a:p>
              </p:txBody>
            </p:sp>
          </p:grpSp>
        </p:grpSp>
        <p:grpSp>
          <p:nvGrpSpPr>
            <p:cNvPr id="11" name="Group 10">
              <a:extLst>
                <a:ext uri="{FF2B5EF4-FFF2-40B4-BE49-F238E27FC236}">
                  <a16:creationId xmlns:a16="http://schemas.microsoft.com/office/drawing/2014/main" id="{0BBE7544-3458-46F6-9767-7A545ED8A6D3}"/>
                </a:ext>
              </a:extLst>
            </p:cNvPr>
            <p:cNvGrpSpPr/>
            <p:nvPr/>
          </p:nvGrpSpPr>
          <p:grpSpPr>
            <a:xfrm>
              <a:off x="2100263" y="2714732"/>
              <a:ext cx="1064419" cy="1064418"/>
              <a:chOff x="541872" y="2913794"/>
              <a:chExt cx="2895606" cy="2895604"/>
            </a:xfrm>
            <a:solidFill>
              <a:schemeClr val="bg2"/>
            </a:solidFill>
          </p:grpSpPr>
          <p:sp>
            <p:nvSpPr>
              <p:cNvPr id="19" name="Oval 18">
                <a:extLst>
                  <a:ext uri="{FF2B5EF4-FFF2-40B4-BE49-F238E27FC236}">
                    <a16:creationId xmlns:a16="http://schemas.microsoft.com/office/drawing/2014/main" id="{1FE36265-5B0D-4AEA-9C33-4BD11DE4782A}"/>
                  </a:ext>
                </a:extLst>
              </p:cNvPr>
              <p:cNvSpPr/>
              <p:nvPr/>
            </p:nvSpPr>
            <p:spPr bwMode="auto">
              <a:xfrm>
                <a:off x="541872" y="2913794"/>
                <a:ext cx="2895606" cy="2895604"/>
              </a:xfrm>
              <a:prstGeom prst="ellipse">
                <a:avLst/>
              </a:prstGeom>
              <a:noFill/>
              <a:ln w="44450" cap="rnd">
                <a:solidFill>
                  <a:schemeClr val="tx1">
                    <a:lumMod val="9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85" tIns="143428" rIns="179285" bIns="143428" numCol="1" spcCol="0" rtlCol="0" fromWordArt="0" anchor="ctr" anchorCtr="0" forceAA="0" compatLnSpc="1">
                <a:prstTxWarp prst="textNoShape">
                  <a:avLst/>
                </a:prstTxWarp>
                <a:noAutofit/>
              </a:bodyPr>
              <a:lstStyle/>
              <a:p>
                <a:pPr algn="ctr" defTabSz="914080" fontAlgn="base">
                  <a:lnSpc>
                    <a:spcPct val="90000"/>
                  </a:lnSpc>
                  <a:spcBef>
                    <a:spcPct val="0"/>
                  </a:spcBef>
                  <a:spcAft>
                    <a:spcPct val="0"/>
                  </a:spcAft>
                  <a:defRPr/>
                </a:pPr>
                <a:endParaRPr lang="en-US" sz="2000" dirty="0">
                  <a:solidFill>
                    <a:srgbClr val="FFFFFF"/>
                  </a:solidFill>
                  <a:latin typeface="Segoe UI Semilight" panose="020B0402040204020203" pitchFamily="34" charset="0"/>
                  <a:ea typeface="Segoe UI" charset="0"/>
                  <a:cs typeface="Segoe UI Semilight" panose="020B0402040204020203" pitchFamily="34" charset="0"/>
                </a:endParaRPr>
              </a:p>
            </p:txBody>
          </p:sp>
          <p:sp>
            <p:nvSpPr>
              <p:cNvPr id="20" name="TextBox 19">
                <a:extLst>
                  <a:ext uri="{FF2B5EF4-FFF2-40B4-BE49-F238E27FC236}">
                    <a16:creationId xmlns:a16="http://schemas.microsoft.com/office/drawing/2014/main" id="{19A55676-4972-4590-8E0F-A9D4D0978ADE}"/>
                  </a:ext>
                </a:extLst>
              </p:cNvPr>
              <p:cNvSpPr txBox="1"/>
              <p:nvPr/>
            </p:nvSpPr>
            <p:spPr>
              <a:xfrm>
                <a:off x="971294" y="3790167"/>
                <a:ext cx="2036745" cy="1156133"/>
              </a:xfrm>
              <a:prstGeom prst="rect">
                <a:avLst/>
              </a:prstGeom>
              <a:noFill/>
              <a:ln>
                <a:noFill/>
              </a:ln>
            </p:spPr>
            <p:txBody>
              <a:bodyPr wrap="none" lIns="179285" tIns="143428" rIns="179285" bIns="143428" rtlCol="0" anchor="ctr" anchorCtr="0">
                <a:spAutoFit/>
              </a:bodyPr>
              <a:lstStyle/>
              <a:p>
                <a:pPr algn="ctr" defTabSz="914344">
                  <a:lnSpc>
                    <a:spcPct val="90000"/>
                  </a:lnSpc>
                  <a:spcAft>
                    <a:spcPts val="588"/>
                  </a:spcAft>
                  <a:defRPr/>
                </a:pPr>
                <a:r>
                  <a:rPr lang="en-US" sz="2000" dirty="0">
                    <a:solidFill>
                      <a:srgbClr val="FFFFFF"/>
                    </a:solidFill>
                    <a:latin typeface="Segoe UI Semilight" panose="020B0402040204020203" pitchFamily="34" charset="0"/>
                    <a:ea typeface="Segoe UI" charset="0"/>
                    <a:cs typeface="Segoe UI Semilight" panose="020B0402040204020203" pitchFamily="34" charset="0"/>
                  </a:rPr>
                  <a:t>Azure</a:t>
                </a:r>
              </a:p>
            </p:txBody>
          </p:sp>
        </p:grpSp>
        <p:grpSp>
          <p:nvGrpSpPr>
            <p:cNvPr id="12" name="Group 11">
              <a:extLst>
                <a:ext uri="{FF2B5EF4-FFF2-40B4-BE49-F238E27FC236}">
                  <a16:creationId xmlns:a16="http://schemas.microsoft.com/office/drawing/2014/main" id="{9A0BB737-1308-45A6-8FEA-58135C97AA25}"/>
                </a:ext>
              </a:extLst>
            </p:cNvPr>
            <p:cNvGrpSpPr/>
            <p:nvPr/>
          </p:nvGrpSpPr>
          <p:grpSpPr>
            <a:xfrm>
              <a:off x="2094952" y="1134898"/>
              <a:ext cx="4934878" cy="2698360"/>
              <a:chOff x="2797613" y="1610644"/>
              <a:chExt cx="6579837" cy="3597813"/>
            </a:xfrm>
          </p:grpSpPr>
          <p:sp>
            <p:nvSpPr>
              <p:cNvPr id="13" name="Oval 12">
                <a:extLst>
                  <a:ext uri="{FF2B5EF4-FFF2-40B4-BE49-F238E27FC236}">
                    <a16:creationId xmlns:a16="http://schemas.microsoft.com/office/drawing/2014/main" id="{57CA5BBC-7B44-4EC5-84F3-40449D557724}"/>
                  </a:ext>
                </a:extLst>
              </p:cNvPr>
              <p:cNvSpPr/>
              <p:nvPr/>
            </p:nvSpPr>
            <p:spPr bwMode="auto">
              <a:xfrm>
                <a:off x="4467303" y="1610644"/>
                <a:ext cx="3153698" cy="3153698"/>
              </a:xfrm>
              <a:prstGeom prst="ellipse">
                <a:avLst/>
              </a:prstGeom>
              <a:solidFill>
                <a:schemeClr val="bg1"/>
              </a:solidFill>
              <a:ln w="79375"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 name="Oval 13">
                <a:extLst>
                  <a:ext uri="{FF2B5EF4-FFF2-40B4-BE49-F238E27FC236}">
                    <a16:creationId xmlns:a16="http://schemas.microsoft.com/office/drawing/2014/main" id="{ED40B4F0-EEFD-4948-AE9F-39D784E03080}"/>
                  </a:ext>
                </a:extLst>
              </p:cNvPr>
              <p:cNvSpPr/>
              <p:nvPr/>
            </p:nvSpPr>
            <p:spPr bwMode="auto">
              <a:xfrm>
                <a:off x="2797613" y="3709231"/>
                <a:ext cx="1499225" cy="1499225"/>
              </a:xfrm>
              <a:prstGeom prst="ellipse">
                <a:avLst/>
              </a:prstGeom>
              <a:solidFill>
                <a:schemeClr val="bg1"/>
              </a:solidFill>
              <a:ln w="79375"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 name="Oval 14">
                <a:extLst>
                  <a:ext uri="{FF2B5EF4-FFF2-40B4-BE49-F238E27FC236}">
                    <a16:creationId xmlns:a16="http://schemas.microsoft.com/office/drawing/2014/main" id="{32C89E4D-EEE6-4140-B238-03DC2589AFE8}"/>
                  </a:ext>
                </a:extLst>
              </p:cNvPr>
              <p:cNvSpPr/>
              <p:nvPr/>
            </p:nvSpPr>
            <p:spPr bwMode="auto">
              <a:xfrm>
                <a:off x="3641543" y="2710984"/>
                <a:ext cx="1787665" cy="1787665"/>
              </a:xfrm>
              <a:prstGeom prst="ellipse">
                <a:avLst/>
              </a:prstGeom>
              <a:solidFill>
                <a:schemeClr val="bg1"/>
              </a:solidFill>
              <a:ln w="79375"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 name="Oval 15">
                <a:extLst>
                  <a:ext uri="{FF2B5EF4-FFF2-40B4-BE49-F238E27FC236}">
                    <a16:creationId xmlns:a16="http://schemas.microsoft.com/office/drawing/2014/main" id="{7CEA0AED-61CC-45DB-964B-FFF54275DD4D}"/>
                  </a:ext>
                </a:extLst>
              </p:cNvPr>
              <p:cNvSpPr/>
              <p:nvPr/>
            </p:nvSpPr>
            <p:spPr bwMode="auto">
              <a:xfrm>
                <a:off x="6613473" y="2436403"/>
                <a:ext cx="2763977" cy="2763977"/>
              </a:xfrm>
              <a:prstGeom prst="ellipse">
                <a:avLst/>
              </a:prstGeom>
              <a:solidFill>
                <a:schemeClr val="bg1"/>
              </a:solidFill>
              <a:ln w="79375"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 name="Rectangle: Rounded Corners 116">
                <a:extLst>
                  <a:ext uri="{FF2B5EF4-FFF2-40B4-BE49-F238E27FC236}">
                    <a16:creationId xmlns:a16="http://schemas.microsoft.com/office/drawing/2014/main" id="{5519FE76-0BC7-40FC-9693-505B70C96253}"/>
                  </a:ext>
                </a:extLst>
              </p:cNvPr>
              <p:cNvSpPr/>
              <p:nvPr/>
            </p:nvSpPr>
            <p:spPr bwMode="auto">
              <a:xfrm>
                <a:off x="2898560" y="3926408"/>
                <a:ext cx="5826761" cy="1282049"/>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 name="Title">
                <a:extLst>
                  <a:ext uri="{FF2B5EF4-FFF2-40B4-BE49-F238E27FC236}">
                    <a16:creationId xmlns:a16="http://schemas.microsoft.com/office/drawing/2014/main" id="{AF2C2311-5322-43C2-9E23-E095A6573122}"/>
                  </a:ext>
                </a:extLst>
              </p:cNvPr>
              <p:cNvSpPr txBox="1">
                <a:spLocks/>
              </p:cNvSpPr>
              <p:nvPr/>
            </p:nvSpPr>
            <p:spPr>
              <a:xfrm>
                <a:off x="3695483" y="3273826"/>
                <a:ext cx="5074993" cy="899537"/>
              </a:xfrm>
              <a:prstGeom prst="rect">
                <a:avLst/>
              </a:prstGeom>
            </p:spPr>
            <p:txBody>
              <a:bodyPr vert="horz" wrap="square" lIns="143428" tIns="89643" rIns="143428" bIns="89643"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896364">
                  <a:defRPr/>
                </a:pPr>
                <a:r>
                  <a:rPr lang="en-US" sz="4705" kern="0" spc="-100" dirty="0">
                    <a:solidFill>
                      <a:srgbClr val="0F1221"/>
                    </a:solidFill>
                    <a:latin typeface="Segoe UI Light" panose="020B0502040204020203" pitchFamily="34" charset="0"/>
                    <a:ea typeface="3Dumb" pitchFamily="2" charset="0"/>
                    <a:cs typeface="Segoe UI Light" panose="020B0502040204020203" pitchFamily="34" charset="0"/>
                  </a:rPr>
                  <a:t>Natively built in the cloud database</a:t>
                </a:r>
              </a:p>
            </p:txBody>
          </p:sp>
        </p:grpSp>
      </p:grpSp>
      <p:sp>
        <p:nvSpPr>
          <p:cNvPr id="33" name="Title">
            <a:extLst>
              <a:ext uri="{FF2B5EF4-FFF2-40B4-BE49-F238E27FC236}">
                <a16:creationId xmlns:a16="http://schemas.microsoft.com/office/drawing/2014/main" id="{BE723F14-6149-492F-BB43-8640BD0218F0}"/>
              </a:ext>
            </a:extLst>
          </p:cNvPr>
          <p:cNvSpPr txBox="1">
            <a:spLocks/>
          </p:cNvSpPr>
          <p:nvPr/>
        </p:nvSpPr>
        <p:spPr>
          <a:xfrm>
            <a:off x="492647" y="3277263"/>
            <a:ext cx="5074993" cy="899537"/>
          </a:xfrm>
          <a:prstGeom prst="rect">
            <a:avLst/>
          </a:prstGeom>
        </p:spPr>
        <p:txBody>
          <a:bodyPr vert="horz" wrap="square" lIns="143428" tIns="89643" rIns="143428" bIns="89643"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896364">
              <a:defRPr/>
            </a:pPr>
            <a:r>
              <a:rPr lang="en-US" sz="6000" kern="0" spc="-100" dirty="0">
                <a:solidFill>
                  <a:srgbClr val="FFFFFF"/>
                </a:solidFill>
                <a:latin typeface="Segoe UI Light" panose="020B0502040204020203" pitchFamily="34" charset="0"/>
                <a:ea typeface="3Dumb" pitchFamily="2" charset="0"/>
                <a:cs typeface="Segoe UI Light" panose="020B0502040204020203" pitchFamily="34" charset="0"/>
              </a:rPr>
              <a:t>Azure </a:t>
            </a:r>
          </a:p>
          <a:p>
            <a:pPr defTabSz="896364">
              <a:defRPr/>
            </a:pPr>
            <a:r>
              <a:rPr lang="en-US" sz="6000" kern="0" spc="-100" dirty="0">
                <a:solidFill>
                  <a:srgbClr val="FFFFFF"/>
                </a:solidFill>
                <a:latin typeface="Segoe UI Light" panose="020B0502040204020203" pitchFamily="34" charset="0"/>
                <a:ea typeface="3Dumb" pitchFamily="2" charset="0"/>
                <a:cs typeface="Segoe UI Light" panose="020B0502040204020203" pitchFamily="34" charset="0"/>
              </a:rPr>
              <a:t>Cosmos DB =</a:t>
            </a:r>
          </a:p>
        </p:txBody>
      </p:sp>
    </p:spTree>
    <p:extLst>
      <p:ext uri="{BB962C8B-B14F-4D97-AF65-F5344CB8AC3E}">
        <p14:creationId xmlns:p14="http://schemas.microsoft.com/office/powerpoint/2010/main" val="2601029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Oval 1"/>
          <p:cNvSpPr/>
          <p:nvPr/>
        </p:nvSpPr>
        <p:spPr>
          <a:xfrm>
            <a:off x="-953066" y="1861315"/>
            <a:ext cx="14166669" cy="795528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Freeform: Shape 99"/>
          <p:cNvSpPr/>
          <p:nvPr/>
        </p:nvSpPr>
        <p:spPr>
          <a:xfrm>
            <a:off x="35631" y="5341026"/>
            <a:ext cx="12189302" cy="1745574"/>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15361" h="1745574">
                <a:moveTo>
                  <a:pt x="5907680" y="0"/>
                </a:moveTo>
                <a:cubicBezTo>
                  <a:pt x="8502236" y="0"/>
                  <a:pt x="10736988" y="686989"/>
                  <a:pt x="11747164" y="1675322"/>
                </a:cubicBezTo>
                <a:lnTo>
                  <a:pt x="11815361" y="1745574"/>
                </a:lnTo>
                <a:lnTo>
                  <a:pt x="0" y="1745574"/>
                </a:lnTo>
                <a:lnTo>
                  <a:pt x="68197" y="1675322"/>
                </a:lnTo>
                <a:cubicBezTo>
                  <a:pt x="1078372" y="686989"/>
                  <a:pt x="3313125" y="0"/>
                  <a:pt x="5907680" y="0"/>
                </a:cubicBezTo>
                <a:close/>
              </a:path>
            </a:pathLst>
          </a:cu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925" name="Freeform: Shape 924"/>
          <p:cNvSpPr>
            <a:spLocks/>
          </p:cNvSpPr>
          <p:nvPr/>
        </p:nvSpPr>
        <p:spPr bwMode="auto">
          <a:xfrm>
            <a:off x="1281629" y="5592603"/>
            <a:ext cx="9922465" cy="1934496"/>
          </a:xfrm>
          <a:custGeom>
            <a:avLst/>
            <a:gdLst>
              <a:gd name="connsiteX0" fmla="*/ 8407318 w 9922465"/>
              <a:gd name="connsiteY0" fmla="*/ 1824114 h 1934496"/>
              <a:gd name="connsiteX1" fmla="*/ 8462510 w 9922465"/>
              <a:gd name="connsiteY1" fmla="*/ 1879305 h 1934496"/>
              <a:gd name="connsiteX2" fmla="*/ 8407318 w 9922465"/>
              <a:gd name="connsiteY2" fmla="*/ 1934496 h 1934496"/>
              <a:gd name="connsiteX3" fmla="*/ 8352126 w 9922465"/>
              <a:gd name="connsiteY3" fmla="*/ 1879305 h 1934496"/>
              <a:gd name="connsiteX4" fmla="*/ 8407318 w 9922465"/>
              <a:gd name="connsiteY4" fmla="*/ 1824114 h 1934496"/>
              <a:gd name="connsiteX5" fmla="*/ 8273682 w 9922465"/>
              <a:gd name="connsiteY5" fmla="*/ 1824114 h 1934496"/>
              <a:gd name="connsiteX6" fmla="*/ 8328874 w 9922465"/>
              <a:gd name="connsiteY6" fmla="*/ 1879305 h 1934496"/>
              <a:gd name="connsiteX7" fmla="*/ 8273682 w 9922465"/>
              <a:gd name="connsiteY7" fmla="*/ 1934496 h 1934496"/>
              <a:gd name="connsiteX8" fmla="*/ 8218490 w 9922465"/>
              <a:gd name="connsiteY8" fmla="*/ 1879305 h 1934496"/>
              <a:gd name="connsiteX9" fmla="*/ 8273682 w 9922465"/>
              <a:gd name="connsiteY9" fmla="*/ 1824114 h 1934496"/>
              <a:gd name="connsiteX10" fmla="*/ 8143386 w 9922465"/>
              <a:gd name="connsiteY10" fmla="*/ 1824114 h 1934496"/>
              <a:gd name="connsiteX11" fmla="*/ 8198578 w 9922465"/>
              <a:gd name="connsiteY11" fmla="*/ 1879305 h 1934496"/>
              <a:gd name="connsiteX12" fmla="*/ 8143386 w 9922465"/>
              <a:gd name="connsiteY12" fmla="*/ 1934496 h 1934496"/>
              <a:gd name="connsiteX13" fmla="*/ 8088194 w 9922465"/>
              <a:gd name="connsiteY13" fmla="*/ 1879305 h 1934496"/>
              <a:gd name="connsiteX14" fmla="*/ 8143386 w 9922465"/>
              <a:gd name="connsiteY14" fmla="*/ 1824114 h 1934496"/>
              <a:gd name="connsiteX15" fmla="*/ 8009752 w 9922465"/>
              <a:gd name="connsiteY15" fmla="*/ 1824114 h 1934496"/>
              <a:gd name="connsiteX16" fmla="*/ 8064944 w 9922465"/>
              <a:gd name="connsiteY16" fmla="*/ 1879305 h 1934496"/>
              <a:gd name="connsiteX17" fmla="*/ 8009752 w 9922465"/>
              <a:gd name="connsiteY17" fmla="*/ 1934496 h 1934496"/>
              <a:gd name="connsiteX18" fmla="*/ 7954560 w 9922465"/>
              <a:gd name="connsiteY18" fmla="*/ 1879305 h 1934496"/>
              <a:gd name="connsiteX19" fmla="*/ 8009752 w 9922465"/>
              <a:gd name="connsiteY19" fmla="*/ 1824114 h 1934496"/>
              <a:gd name="connsiteX20" fmla="*/ 7876117 w 9922465"/>
              <a:gd name="connsiteY20" fmla="*/ 1824114 h 1934496"/>
              <a:gd name="connsiteX21" fmla="*/ 7931309 w 9922465"/>
              <a:gd name="connsiteY21" fmla="*/ 1879305 h 1934496"/>
              <a:gd name="connsiteX22" fmla="*/ 7876117 w 9922465"/>
              <a:gd name="connsiteY22" fmla="*/ 1934496 h 1934496"/>
              <a:gd name="connsiteX23" fmla="*/ 7820925 w 9922465"/>
              <a:gd name="connsiteY23" fmla="*/ 1879305 h 1934496"/>
              <a:gd name="connsiteX24" fmla="*/ 7876117 w 9922465"/>
              <a:gd name="connsiteY24" fmla="*/ 1824114 h 1934496"/>
              <a:gd name="connsiteX25" fmla="*/ 7745824 w 9922465"/>
              <a:gd name="connsiteY25" fmla="*/ 1824114 h 1934496"/>
              <a:gd name="connsiteX26" fmla="*/ 7801016 w 9922465"/>
              <a:gd name="connsiteY26" fmla="*/ 1879305 h 1934496"/>
              <a:gd name="connsiteX27" fmla="*/ 7745824 w 9922465"/>
              <a:gd name="connsiteY27" fmla="*/ 1934496 h 1934496"/>
              <a:gd name="connsiteX28" fmla="*/ 7690632 w 9922465"/>
              <a:gd name="connsiteY28" fmla="*/ 1879305 h 1934496"/>
              <a:gd name="connsiteX29" fmla="*/ 7745824 w 9922465"/>
              <a:gd name="connsiteY29" fmla="*/ 1824114 h 1934496"/>
              <a:gd name="connsiteX30" fmla="*/ 7608849 w 9922465"/>
              <a:gd name="connsiteY30" fmla="*/ 1824114 h 1934496"/>
              <a:gd name="connsiteX31" fmla="*/ 7664041 w 9922465"/>
              <a:gd name="connsiteY31" fmla="*/ 1879305 h 1934496"/>
              <a:gd name="connsiteX32" fmla="*/ 7608849 w 9922465"/>
              <a:gd name="connsiteY32" fmla="*/ 1934496 h 1934496"/>
              <a:gd name="connsiteX33" fmla="*/ 7553657 w 9922465"/>
              <a:gd name="connsiteY33" fmla="*/ 1879305 h 1934496"/>
              <a:gd name="connsiteX34" fmla="*/ 7608849 w 9922465"/>
              <a:gd name="connsiteY34" fmla="*/ 1824114 h 1934496"/>
              <a:gd name="connsiteX35" fmla="*/ 7481895 w 9922465"/>
              <a:gd name="connsiteY35" fmla="*/ 1824114 h 1934496"/>
              <a:gd name="connsiteX36" fmla="*/ 7537087 w 9922465"/>
              <a:gd name="connsiteY36" fmla="*/ 1879305 h 1934496"/>
              <a:gd name="connsiteX37" fmla="*/ 7481895 w 9922465"/>
              <a:gd name="connsiteY37" fmla="*/ 1934496 h 1934496"/>
              <a:gd name="connsiteX38" fmla="*/ 7426703 w 9922465"/>
              <a:gd name="connsiteY38" fmla="*/ 1879305 h 1934496"/>
              <a:gd name="connsiteX39" fmla="*/ 7481895 w 9922465"/>
              <a:gd name="connsiteY39" fmla="*/ 1824114 h 1934496"/>
              <a:gd name="connsiteX40" fmla="*/ 7341579 w 9922465"/>
              <a:gd name="connsiteY40" fmla="*/ 1824114 h 1934496"/>
              <a:gd name="connsiteX41" fmla="*/ 7396771 w 9922465"/>
              <a:gd name="connsiteY41" fmla="*/ 1879305 h 1934496"/>
              <a:gd name="connsiteX42" fmla="*/ 7341579 w 9922465"/>
              <a:gd name="connsiteY42" fmla="*/ 1934496 h 1934496"/>
              <a:gd name="connsiteX43" fmla="*/ 7286387 w 9922465"/>
              <a:gd name="connsiteY43" fmla="*/ 1879305 h 1934496"/>
              <a:gd name="connsiteX44" fmla="*/ 7341579 w 9922465"/>
              <a:gd name="connsiteY44" fmla="*/ 1824114 h 1934496"/>
              <a:gd name="connsiteX45" fmla="*/ 7211286 w 9922465"/>
              <a:gd name="connsiteY45" fmla="*/ 1824114 h 1934496"/>
              <a:gd name="connsiteX46" fmla="*/ 7266478 w 9922465"/>
              <a:gd name="connsiteY46" fmla="*/ 1879305 h 1934496"/>
              <a:gd name="connsiteX47" fmla="*/ 7211286 w 9922465"/>
              <a:gd name="connsiteY47" fmla="*/ 1934496 h 1934496"/>
              <a:gd name="connsiteX48" fmla="*/ 7156094 w 9922465"/>
              <a:gd name="connsiteY48" fmla="*/ 1879305 h 1934496"/>
              <a:gd name="connsiteX49" fmla="*/ 7211286 w 9922465"/>
              <a:gd name="connsiteY49" fmla="*/ 1824114 h 1934496"/>
              <a:gd name="connsiteX50" fmla="*/ 7080993 w 9922465"/>
              <a:gd name="connsiteY50" fmla="*/ 1824114 h 1934496"/>
              <a:gd name="connsiteX51" fmla="*/ 7136185 w 9922465"/>
              <a:gd name="connsiteY51" fmla="*/ 1879305 h 1934496"/>
              <a:gd name="connsiteX52" fmla="*/ 7080993 w 9922465"/>
              <a:gd name="connsiteY52" fmla="*/ 1934496 h 1934496"/>
              <a:gd name="connsiteX53" fmla="*/ 7025801 w 9922465"/>
              <a:gd name="connsiteY53" fmla="*/ 1879305 h 1934496"/>
              <a:gd name="connsiteX54" fmla="*/ 7080993 w 9922465"/>
              <a:gd name="connsiteY54" fmla="*/ 1824114 h 1934496"/>
              <a:gd name="connsiteX55" fmla="*/ 6947357 w 9922465"/>
              <a:gd name="connsiteY55" fmla="*/ 1824114 h 1934496"/>
              <a:gd name="connsiteX56" fmla="*/ 7002549 w 9922465"/>
              <a:gd name="connsiteY56" fmla="*/ 1879305 h 1934496"/>
              <a:gd name="connsiteX57" fmla="*/ 6947357 w 9922465"/>
              <a:gd name="connsiteY57" fmla="*/ 1934496 h 1934496"/>
              <a:gd name="connsiteX58" fmla="*/ 6892165 w 9922465"/>
              <a:gd name="connsiteY58" fmla="*/ 1879305 h 1934496"/>
              <a:gd name="connsiteX59" fmla="*/ 6947357 w 9922465"/>
              <a:gd name="connsiteY59" fmla="*/ 1824114 h 1934496"/>
              <a:gd name="connsiteX60" fmla="*/ 6817063 w 9922465"/>
              <a:gd name="connsiteY60" fmla="*/ 1824114 h 1934496"/>
              <a:gd name="connsiteX61" fmla="*/ 6872255 w 9922465"/>
              <a:gd name="connsiteY61" fmla="*/ 1879305 h 1934496"/>
              <a:gd name="connsiteX62" fmla="*/ 6817063 w 9922465"/>
              <a:gd name="connsiteY62" fmla="*/ 1934496 h 1934496"/>
              <a:gd name="connsiteX63" fmla="*/ 6761871 w 9922465"/>
              <a:gd name="connsiteY63" fmla="*/ 1879305 h 1934496"/>
              <a:gd name="connsiteX64" fmla="*/ 6817063 w 9922465"/>
              <a:gd name="connsiteY64" fmla="*/ 1824114 h 1934496"/>
              <a:gd name="connsiteX65" fmla="*/ 6683431 w 9922465"/>
              <a:gd name="connsiteY65" fmla="*/ 1824114 h 1934496"/>
              <a:gd name="connsiteX66" fmla="*/ 6738623 w 9922465"/>
              <a:gd name="connsiteY66" fmla="*/ 1879305 h 1934496"/>
              <a:gd name="connsiteX67" fmla="*/ 6683431 w 9922465"/>
              <a:gd name="connsiteY67" fmla="*/ 1934496 h 1934496"/>
              <a:gd name="connsiteX68" fmla="*/ 6628239 w 9922465"/>
              <a:gd name="connsiteY68" fmla="*/ 1879305 h 1934496"/>
              <a:gd name="connsiteX69" fmla="*/ 6683431 w 9922465"/>
              <a:gd name="connsiteY69" fmla="*/ 1824114 h 1934496"/>
              <a:gd name="connsiteX70" fmla="*/ 6553137 w 9922465"/>
              <a:gd name="connsiteY70" fmla="*/ 1824114 h 1934496"/>
              <a:gd name="connsiteX71" fmla="*/ 6608329 w 9922465"/>
              <a:gd name="connsiteY71" fmla="*/ 1879305 h 1934496"/>
              <a:gd name="connsiteX72" fmla="*/ 6553137 w 9922465"/>
              <a:gd name="connsiteY72" fmla="*/ 1934496 h 1934496"/>
              <a:gd name="connsiteX73" fmla="*/ 6497945 w 9922465"/>
              <a:gd name="connsiteY73" fmla="*/ 1879305 h 1934496"/>
              <a:gd name="connsiteX74" fmla="*/ 6553137 w 9922465"/>
              <a:gd name="connsiteY74" fmla="*/ 1824114 h 1934496"/>
              <a:gd name="connsiteX75" fmla="*/ 6289207 w 9922465"/>
              <a:gd name="connsiteY75" fmla="*/ 1824114 h 1934496"/>
              <a:gd name="connsiteX76" fmla="*/ 6344399 w 9922465"/>
              <a:gd name="connsiteY76" fmla="*/ 1879305 h 1934496"/>
              <a:gd name="connsiteX77" fmla="*/ 6289207 w 9922465"/>
              <a:gd name="connsiteY77" fmla="*/ 1934496 h 1934496"/>
              <a:gd name="connsiteX78" fmla="*/ 6234015 w 9922465"/>
              <a:gd name="connsiteY78" fmla="*/ 1879305 h 1934496"/>
              <a:gd name="connsiteX79" fmla="*/ 6289207 w 9922465"/>
              <a:gd name="connsiteY79" fmla="*/ 1824114 h 1934496"/>
              <a:gd name="connsiteX80" fmla="*/ 6155572 w 9922465"/>
              <a:gd name="connsiteY80" fmla="*/ 1824114 h 1934496"/>
              <a:gd name="connsiteX81" fmla="*/ 6210764 w 9922465"/>
              <a:gd name="connsiteY81" fmla="*/ 1879305 h 1934496"/>
              <a:gd name="connsiteX82" fmla="*/ 6155572 w 9922465"/>
              <a:gd name="connsiteY82" fmla="*/ 1934496 h 1934496"/>
              <a:gd name="connsiteX83" fmla="*/ 6100380 w 9922465"/>
              <a:gd name="connsiteY83" fmla="*/ 1879305 h 1934496"/>
              <a:gd name="connsiteX84" fmla="*/ 6155572 w 9922465"/>
              <a:gd name="connsiteY84" fmla="*/ 1824114 h 1934496"/>
              <a:gd name="connsiteX85" fmla="*/ 6021938 w 9922465"/>
              <a:gd name="connsiteY85" fmla="*/ 1824114 h 1934496"/>
              <a:gd name="connsiteX86" fmla="*/ 6077130 w 9922465"/>
              <a:gd name="connsiteY86" fmla="*/ 1879305 h 1934496"/>
              <a:gd name="connsiteX87" fmla="*/ 6021938 w 9922465"/>
              <a:gd name="connsiteY87" fmla="*/ 1934496 h 1934496"/>
              <a:gd name="connsiteX88" fmla="*/ 5966746 w 9922465"/>
              <a:gd name="connsiteY88" fmla="*/ 1879305 h 1934496"/>
              <a:gd name="connsiteX89" fmla="*/ 6021938 w 9922465"/>
              <a:gd name="connsiteY89" fmla="*/ 1824114 h 1934496"/>
              <a:gd name="connsiteX90" fmla="*/ 5884964 w 9922465"/>
              <a:gd name="connsiteY90" fmla="*/ 1824114 h 1934496"/>
              <a:gd name="connsiteX91" fmla="*/ 5940156 w 9922465"/>
              <a:gd name="connsiteY91" fmla="*/ 1879305 h 1934496"/>
              <a:gd name="connsiteX92" fmla="*/ 5884964 w 9922465"/>
              <a:gd name="connsiteY92" fmla="*/ 1934496 h 1934496"/>
              <a:gd name="connsiteX93" fmla="*/ 5829772 w 9922465"/>
              <a:gd name="connsiteY93" fmla="*/ 1879305 h 1934496"/>
              <a:gd name="connsiteX94" fmla="*/ 5884964 w 9922465"/>
              <a:gd name="connsiteY94" fmla="*/ 1824114 h 1934496"/>
              <a:gd name="connsiteX95" fmla="*/ 5754670 w 9922465"/>
              <a:gd name="connsiteY95" fmla="*/ 1824114 h 1934496"/>
              <a:gd name="connsiteX96" fmla="*/ 5809862 w 9922465"/>
              <a:gd name="connsiteY96" fmla="*/ 1879305 h 1934496"/>
              <a:gd name="connsiteX97" fmla="*/ 5754670 w 9922465"/>
              <a:gd name="connsiteY97" fmla="*/ 1934496 h 1934496"/>
              <a:gd name="connsiteX98" fmla="*/ 5699478 w 9922465"/>
              <a:gd name="connsiteY98" fmla="*/ 1879305 h 1934496"/>
              <a:gd name="connsiteX99" fmla="*/ 5754670 w 9922465"/>
              <a:gd name="connsiteY99" fmla="*/ 1824114 h 1934496"/>
              <a:gd name="connsiteX100" fmla="*/ 5487399 w 9922465"/>
              <a:gd name="connsiteY100" fmla="*/ 1824114 h 1934496"/>
              <a:gd name="connsiteX101" fmla="*/ 5542591 w 9922465"/>
              <a:gd name="connsiteY101" fmla="*/ 1879305 h 1934496"/>
              <a:gd name="connsiteX102" fmla="*/ 5487399 w 9922465"/>
              <a:gd name="connsiteY102" fmla="*/ 1934496 h 1934496"/>
              <a:gd name="connsiteX103" fmla="*/ 5432207 w 9922465"/>
              <a:gd name="connsiteY103" fmla="*/ 1879305 h 1934496"/>
              <a:gd name="connsiteX104" fmla="*/ 5487399 w 9922465"/>
              <a:gd name="connsiteY104" fmla="*/ 1824114 h 1934496"/>
              <a:gd name="connsiteX105" fmla="*/ 5357105 w 9922465"/>
              <a:gd name="connsiteY105" fmla="*/ 1824114 h 1934496"/>
              <a:gd name="connsiteX106" fmla="*/ 5412297 w 9922465"/>
              <a:gd name="connsiteY106" fmla="*/ 1879305 h 1934496"/>
              <a:gd name="connsiteX107" fmla="*/ 5357105 w 9922465"/>
              <a:gd name="connsiteY107" fmla="*/ 1934496 h 1934496"/>
              <a:gd name="connsiteX108" fmla="*/ 5301913 w 9922465"/>
              <a:gd name="connsiteY108" fmla="*/ 1879305 h 1934496"/>
              <a:gd name="connsiteX109" fmla="*/ 5357105 w 9922465"/>
              <a:gd name="connsiteY109" fmla="*/ 1824114 h 1934496"/>
              <a:gd name="connsiteX110" fmla="*/ 5223473 w 9922465"/>
              <a:gd name="connsiteY110" fmla="*/ 1824114 h 1934496"/>
              <a:gd name="connsiteX111" fmla="*/ 5278665 w 9922465"/>
              <a:gd name="connsiteY111" fmla="*/ 1879305 h 1934496"/>
              <a:gd name="connsiteX112" fmla="*/ 5223473 w 9922465"/>
              <a:gd name="connsiteY112" fmla="*/ 1934496 h 1934496"/>
              <a:gd name="connsiteX113" fmla="*/ 5168281 w 9922465"/>
              <a:gd name="connsiteY113" fmla="*/ 1879305 h 1934496"/>
              <a:gd name="connsiteX114" fmla="*/ 5223473 w 9922465"/>
              <a:gd name="connsiteY114" fmla="*/ 1824114 h 1934496"/>
              <a:gd name="connsiteX115" fmla="*/ 5093178 w 9922465"/>
              <a:gd name="connsiteY115" fmla="*/ 1824114 h 1934496"/>
              <a:gd name="connsiteX116" fmla="*/ 5148370 w 9922465"/>
              <a:gd name="connsiteY116" fmla="*/ 1879305 h 1934496"/>
              <a:gd name="connsiteX117" fmla="*/ 5093178 w 9922465"/>
              <a:gd name="connsiteY117" fmla="*/ 1934496 h 1934496"/>
              <a:gd name="connsiteX118" fmla="*/ 5037986 w 9922465"/>
              <a:gd name="connsiteY118" fmla="*/ 1879305 h 1934496"/>
              <a:gd name="connsiteX119" fmla="*/ 5093178 w 9922465"/>
              <a:gd name="connsiteY119" fmla="*/ 1824114 h 1934496"/>
              <a:gd name="connsiteX120" fmla="*/ 4959543 w 9922465"/>
              <a:gd name="connsiteY120" fmla="*/ 1824114 h 1934496"/>
              <a:gd name="connsiteX121" fmla="*/ 5014735 w 9922465"/>
              <a:gd name="connsiteY121" fmla="*/ 1879305 h 1934496"/>
              <a:gd name="connsiteX122" fmla="*/ 4959543 w 9922465"/>
              <a:gd name="connsiteY122" fmla="*/ 1934496 h 1934496"/>
              <a:gd name="connsiteX123" fmla="*/ 4904351 w 9922465"/>
              <a:gd name="connsiteY123" fmla="*/ 1879305 h 1934496"/>
              <a:gd name="connsiteX124" fmla="*/ 4959543 w 9922465"/>
              <a:gd name="connsiteY124" fmla="*/ 1824114 h 1934496"/>
              <a:gd name="connsiteX125" fmla="*/ 4829250 w 9922465"/>
              <a:gd name="connsiteY125" fmla="*/ 1824114 h 1934496"/>
              <a:gd name="connsiteX126" fmla="*/ 4884442 w 9922465"/>
              <a:gd name="connsiteY126" fmla="*/ 1879305 h 1934496"/>
              <a:gd name="connsiteX127" fmla="*/ 4829250 w 9922465"/>
              <a:gd name="connsiteY127" fmla="*/ 1934496 h 1934496"/>
              <a:gd name="connsiteX128" fmla="*/ 4774058 w 9922465"/>
              <a:gd name="connsiteY128" fmla="*/ 1879305 h 1934496"/>
              <a:gd name="connsiteX129" fmla="*/ 4829250 w 9922465"/>
              <a:gd name="connsiteY129" fmla="*/ 1824114 h 1934496"/>
              <a:gd name="connsiteX130" fmla="*/ 4695613 w 9922465"/>
              <a:gd name="connsiteY130" fmla="*/ 1824114 h 1934496"/>
              <a:gd name="connsiteX131" fmla="*/ 4750805 w 9922465"/>
              <a:gd name="connsiteY131" fmla="*/ 1879305 h 1934496"/>
              <a:gd name="connsiteX132" fmla="*/ 4695613 w 9922465"/>
              <a:gd name="connsiteY132" fmla="*/ 1934496 h 1934496"/>
              <a:gd name="connsiteX133" fmla="*/ 4640421 w 9922465"/>
              <a:gd name="connsiteY133" fmla="*/ 1879305 h 1934496"/>
              <a:gd name="connsiteX134" fmla="*/ 4695613 w 9922465"/>
              <a:gd name="connsiteY134" fmla="*/ 1824114 h 1934496"/>
              <a:gd name="connsiteX135" fmla="*/ 2834762 w 9922465"/>
              <a:gd name="connsiteY135" fmla="*/ 1824114 h 1934496"/>
              <a:gd name="connsiteX136" fmla="*/ 2889954 w 9922465"/>
              <a:gd name="connsiteY136" fmla="*/ 1879305 h 1934496"/>
              <a:gd name="connsiteX137" fmla="*/ 2834762 w 9922465"/>
              <a:gd name="connsiteY137" fmla="*/ 1934496 h 1934496"/>
              <a:gd name="connsiteX138" fmla="*/ 2779570 w 9922465"/>
              <a:gd name="connsiteY138" fmla="*/ 1879305 h 1934496"/>
              <a:gd name="connsiteX139" fmla="*/ 2834762 w 9922465"/>
              <a:gd name="connsiteY139" fmla="*/ 1824114 h 1934496"/>
              <a:gd name="connsiteX140" fmla="*/ 2707807 w 9922465"/>
              <a:gd name="connsiteY140" fmla="*/ 1824114 h 1934496"/>
              <a:gd name="connsiteX141" fmla="*/ 2762999 w 9922465"/>
              <a:gd name="connsiteY141" fmla="*/ 1879305 h 1934496"/>
              <a:gd name="connsiteX142" fmla="*/ 2707807 w 9922465"/>
              <a:gd name="connsiteY142" fmla="*/ 1934496 h 1934496"/>
              <a:gd name="connsiteX143" fmla="*/ 2652615 w 9922465"/>
              <a:gd name="connsiteY143" fmla="*/ 1879305 h 1934496"/>
              <a:gd name="connsiteX144" fmla="*/ 2707807 w 9922465"/>
              <a:gd name="connsiteY144" fmla="*/ 1824114 h 1934496"/>
              <a:gd name="connsiteX145" fmla="*/ 2570834 w 9922465"/>
              <a:gd name="connsiteY145" fmla="*/ 1824114 h 1934496"/>
              <a:gd name="connsiteX146" fmla="*/ 2626025 w 9922465"/>
              <a:gd name="connsiteY146" fmla="*/ 1879305 h 1934496"/>
              <a:gd name="connsiteX147" fmla="*/ 2570834 w 9922465"/>
              <a:gd name="connsiteY147" fmla="*/ 1934496 h 1934496"/>
              <a:gd name="connsiteX148" fmla="*/ 2515641 w 9922465"/>
              <a:gd name="connsiteY148" fmla="*/ 1879305 h 1934496"/>
              <a:gd name="connsiteX149" fmla="*/ 2570834 w 9922465"/>
              <a:gd name="connsiteY149" fmla="*/ 1824114 h 1934496"/>
              <a:gd name="connsiteX150" fmla="*/ 2437196 w 9922465"/>
              <a:gd name="connsiteY150" fmla="*/ 1824114 h 1934496"/>
              <a:gd name="connsiteX151" fmla="*/ 2492389 w 9922465"/>
              <a:gd name="connsiteY151" fmla="*/ 1879305 h 1934496"/>
              <a:gd name="connsiteX152" fmla="*/ 2437196 w 9922465"/>
              <a:gd name="connsiteY152" fmla="*/ 1934496 h 1934496"/>
              <a:gd name="connsiteX153" fmla="*/ 2382005 w 9922465"/>
              <a:gd name="connsiteY153" fmla="*/ 1879305 h 1934496"/>
              <a:gd name="connsiteX154" fmla="*/ 2437196 w 9922465"/>
              <a:gd name="connsiteY154" fmla="*/ 1824114 h 1934496"/>
              <a:gd name="connsiteX155" fmla="*/ 2303564 w 9922465"/>
              <a:gd name="connsiteY155" fmla="*/ 1824114 h 1934496"/>
              <a:gd name="connsiteX156" fmla="*/ 2358756 w 9922465"/>
              <a:gd name="connsiteY156" fmla="*/ 1879305 h 1934496"/>
              <a:gd name="connsiteX157" fmla="*/ 2303564 w 9922465"/>
              <a:gd name="connsiteY157" fmla="*/ 1934496 h 1934496"/>
              <a:gd name="connsiteX158" fmla="*/ 2248372 w 9922465"/>
              <a:gd name="connsiteY158" fmla="*/ 1879305 h 1934496"/>
              <a:gd name="connsiteX159" fmla="*/ 2303564 w 9922465"/>
              <a:gd name="connsiteY159" fmla="*/ 1824114 h 1934496"/>
              <a:gd name="connsiteX160" fmla="*/ 2173271 w 9922465"/>
              <a:gd name="connsiteY160" fmla="*/ 1824114 h 1934496"/>
              <a:gd name="connsiteX161" fmla="*/ 2228463 w 9922465"/>
              <a:gd name="connsiteY161" fmla="*/ 1879305 h 1934496"/>
              <a:gd name="connsiteX162" fmla="*/ 2173271 w 9922465"/>
              <a:gd name="connsiteY162" fmla="*/ 1934496 h 1934496"/>
              <a:gd name="connsiteX163" fmla="*/ 2118079 w 9922465"/>
              <a:gd name="connsiteY163" fmla="*/ 1879305 h 1934496"/>
              <a:gd name="connsiteX164" fmla="*/ 2173271 w 9922465"/>
              <a:gd name="connsiteY164" fmla="*/ 1824114 h 1934496"/>
              <a:gd name="connsiteX165" fmla="*/ 2039637 w 9922465"/>
              <a:gd name="connsiteY165" fmla="*/ 1824114 h 1934496"/>
              <a:gd name="connsiteX166" fmla="*/ 2094830 w 9922465"/>
              <a:gd name="connsiteY166" fmla="*/ 1879305 h 1934496"/>
              <a:gd name="connsiteX167" fmla="*/ 2039637 w 9922465"/>
              <a:gd name="connsiteY167" fmla="*/ 1934496 h 1934496"/>
              <a:gd name="connsiteX168" fmla="*/ 1984445 w 9922465"/>
              <a:gd name="connsiteY168" fmla="*/ 1879305 h 1934496"/>
              <a:gd name="connsiteX169" fmla="*/ 2039637 w 9922465"/>
              <a:gd name="connsiteY169" fmla="*/ 1824114 h 1934496"/>
              <a:gd name="connsiteX170" fmla="*/ 1909341 w 9922465"/>
              <a:gd name="connsiteY170" fmla="*/ 1824114 h 1934496"/>
              <a:gd name="connsiteX171" fmla="*/ 1964533 w 9922465"/>
              <a:gd name="connsiteY171" fmla="*/ 1879305 h 1934496"/>
              <a:gd name="connsiteX172" fmla="*/ 1909341 w 9922465"/>
              <a:gd name="connsiteY172" fmla="*/ 1934496 h 1934496"/>
              <a:gd name="connsiteX173" fmla="*/ 1854149 w 9922465"/>
              <a:gd name="connsiteY173" fmla="*/ 1879305 h 1934496"/>
              <a:gd name="connsiteX174" fmla="*/ 1909341 w 9922465"/>
              <a:gd name="connsiteY174" fmla="*/ 1824114 h 1934496"/>
              <a:gd name="connsiteX175" fmla="*/ 1779049 w 9922465"/>
              <a:gd name="connsiteY175" fmla="*/ 1824114 h 1934496"/>
              <a:gd name="connsiteX176" fmla="*/ 1834241 w 9922465"/>
              <a:gd name="connsiteY176" fmla="*/ 1879305 h 1934496"/>
              <a:gd name="connsiteX177" fmla="*/ 1779049 w 9922465"/>
              <a:gd name="connsiteY177" fmla="*/ 1934496 h 1934496"/>
              <a:gd name="connsiteX178" fmla="*/ 1723856 w 9922465"/>
              <a:gd name="connsiteY178" fmla="*/ 1879305 h 1934496"/>
              <a:gd name="connsiteX179" fmla="*/ 1779049 w 9922465"/>
              <a:gd name="connsiteY179" fmla="*/ 1824114 h 1934496"/>
              <a:gd name="connsiteX180" fmla="*/ 1645413 w 9922465"/>
              <a:gd name="connsiteY180" fmla="*/ 1824114 h 1934496"/>
              <a:gd name="connsiteX181" fmla="*/ 1700604 w 9922465"/>
              <a:gd name="connsiteY181" fmla="*/ 1879305 h 1934496"/>
              <a:gd name="connsiteX182" fmla="*/ 1645413 w 9922465"/>
              <a:gd name="connsiteY182" fmla="*/ 1934496 h 1934496"/>
              <a:gd name="connsiteX183" fmla="*/ 1590220 w 9922465"/>
              <a:gd name="connsiteY183" fmla="*/ 1879305 h 1934496"/>
              <a:gd name="connsiteX184" fmla="*/ 1645413 w 9922465"/>
              <a:gd name="connsiteY184" fmla="*/ 1824114 h 1934496"/>
              <a:gd name="connsiteX185" fmla="*/ 1515120 w 9922465"/>
              <a:gd name="connsiteY185" fmla="*/ 1824114 h 1934496"/>
              <a:gd name="connsiteX186" fmla="*/ 1570311 w 9922465"/>
              <a:gd name="connsiteY186" fmla="*/ 1879305 h 1934496"/>
              <a:gd name="connsiteX187" fmla="*/ 1515120 w 9922465"/>
              <a:gd name="connsiteY187" fmla="*/ 1934496 h 1934496"/>
              <a:gd name="connsiteX188" fmla="*/ 1459927 w 9922465"/>
              <a:gd name="connsiteY188" fmla="*/ 1879305 h 1934496"/>
              <a:gd name="connsiteX189" fmla="*/ 1515120 w 9922465"/>
              <a:gd name="connsiteY189" fmla="*/ 1824114 h 1934496"/>
              <a:gd name="connsiteX190" fmla="*/ 1381486 w 9922465"/>
              <a:gd name="connsiteY190" fmla="*/ 1824114 h 1934496"/>
              <a:gd name="connsiteX191" fmla="*/ 1436678 w 9922465"/>
              <a:gd name="connsiteY191" fmla="*/ 1879305 h 1934496"/>
              <a:gd name="connsiteX192" fmla="*/ 1381486 w 9922465"/>
              <a:gd name="connsiteY192" fmla="*/ 1934496 h 1934496"/>
              <a:gd name="connsiteX193" fmla="*/ 1326294 w 9922465"/>
              <a:gd name="connsiteY193" fmla="*/ 1879305 h 1934496"/>
              <a:gd name="connsiteX194" fmla="*/ 1381486 w 9922465"/>
              <a:gd name="connsiteY194" fmla="*/ 1824114 h 1934496"/>
              <a:gd name="connsiteX195" fmla="*/ 1251193 w 9922465"/>
              <a:gd name="connsiteY195" fmla="*/ 1824114 h 1934496"/>
              <a:gd name="connsiteX196" fmla="*/ 1306386 w 9922465"/>
              <a:gd name="connsiteY196" fmla="*/ 1879305 h 1934496"/>
              <a:gd name="connsiteX197" fmla="*/ 1251193 w 9922465"/>
              <a:gd name="connsiteY197" fmla="*/ 1934496 h 1934496"/>
              <a:gd name="connsiteX198" fmla="*/ 1196001 w 9922465"/>
              <a:gd name="connsiteY198" fmla="*/ 1879305 h 1934496"/>
              <a:gd name="connsiteX199" fmla="*/ 1251193 w 9922465"/>
              <a:gd name="connsiteY199" fmla="*/ 1824114 h 1934496"/>
              <a:gd name="connsiteX200" fmla="*/ 4565336 w 9922465"/>
              <a:gd name="connsiteY200" fmla="*/ 1824106 h 1934496"/>
              <a:gd name="connsiteX201" fmla="*/ 4620528 w 9922465"/>
              <a:gd name="connsiteY201" fmla="*/ 1879297 h 1934496"/>
              <a:gd name="connsiteX202" fmla="*/ 4565336 w 9922465"/>
              <a:gd name="connsiteY202" fmla="*/ 1934488 h 1934496"/>
              <a:gd name="connsiteX203" fmla="*/ 4510144 w 9922465"/>
              <a:gd name="connsiteY203" fmla="*/ 1879297 h 1934496"/>
              <a:gd name="connsiteX204" fmla="*/ 4565336 w 9922465"/>
              <a:gd name="connsiteY204" fmla="*/ 1824106 h 1934496"/>
              <a:gd name="connsiteX205" fmla="*/ 4431689 w 9922465"/>
              <a:gd name="connsiteY205" fmla="*/ 1824098 h 1934496"/>
              <a:gd name="connsiteX206" fmla="*/ 4486881 w 9922465"/>
              <a:gd name="connsiteY206" fmla="*/ 1879289 h 1934496"/>
              <a:gd name="connsiteX207" fmla="*/ 4431689 w 9922465"/>
              <a:gd name="connsiteY207" fmla="*/ 1934480 h 1934496"/>
              <a:gd name="connsiteX208" fmla="*/ 4376497 w 9922465"/>
              <a:gd name="connsiteY208" fmla="*/ 1879289 h 1934496"/>
              <a:gd name="connsiteX209" fmla="*/ 4431689 w 9922465"/>
              <a:gd name="connsiteY209" fmla="*/ 1824098 h 1934496"/>
              <a:gd name="connsiteX210" fmla="*/ 8801537 w 9922465"/>
              <a:gd name="connsiteY210" fmla="*/ 1707182 h 1934496"/>
              <a:gd name="connsiteX211" fmla="*/ 8856729 w 9922465"/>
              <a:gd name="connsiteY211" fmla="*/ 1762373 h 1934496"/>
              <a:gd name="connsiteX212" fmla="*/ 8801537 w 9922465"/>
              <a:gd name="connsiteY212" fmla="*/ 1817564 h 1934496"/>
              <a:gd name="connsiteX213" fmla="*/ 8746345 w 9922465"/>
              <a:gd name="connsiteY213" fmla="*/ 1762373 h 1934496"/>
              <a:gd name="connsiteX214" fmla="*/ 8801537 w 9922465"/>
              <a:gd name="connsiteY214" fmla="*/ 1707182 h 1934496"/>
              <a:gd name="connsiteX215" fmla="*/ 8671243 w 9922465"/>
              <a:gd name="connsiteY215" fmla="*/ 1707182 h 1934496"/>
              <a:gd name="connsiteX216" fmla="*/ 8726435 w 9922465"/>
              <a:gd name="connsiteY216" fmla="*/ 1762373 h 1934496"/>
              <a:gd name="connsiteX217" fmla="*/ 8671243 w 9922465"/>
              <a:gd name="connsiteY217" fmla="*/ 1817564 h 1934496"/>
              <a:gd name="connsiteX218" fmla="*/ 8616051 w 9922465"/>
              <a:gd name="connsiteY218" fmla="*/ 1762373 h 1934496"/>
              <a:gd name="connsiteX219" fmla="*/ 8671243 w 9922465"/>
              <a:gd name="connsiteY219" fmla="*/ 1707182 h 1934496"/>
              <a:gd name="connsiteX220" fmla="*/ 8537609 w 9922465"/>
              <a:gd name="connsiteY220" fmla="*/ 1707182 h 1934496"/>
              <a:gd name="connsiteX221" fmla="*/ 8592801 w 9922465"/>
              <a:gd name="connsiteY221" fmla="*/ 1762373 h 1934496"/>
              <a:gd name="connsiteX222" fmla="*/ 8537609 w 9922465"/>
              <a:gd name="connsiteY222" fmla="*/ 1817564 h 1934496"/>
              <a:gd name="connsiteX223" fmla="*/ 8482417 w 9922465"/>
              <a:gd name="connsiteY223" fmla="*/ 1762373 h 1934496"/>
              <a:gd name="connsiteX224" fmla="*/ 8537609 w 9922465"/>
              <a:gd name="connsiteY224" fmla="*/ 1707182 h 1934496"/>
              <a:gd name="connsiteX225" fmla="*/ 8407318 w 9922465"/>
              <a:gd name="connsiteY225" fmla="*/ 1707182 h 1934496"/>
              <a:gd name="connsiteX226" fmla="*/ 8462510 w 9922465"/>
              <a:gd name="connsiteY226" fmla="*/ 1762373 h 1934496"/>
              <a:gd name="connsiteX227" fmla="*/ 8407318 w 9922465"/>
              <a:gd name="connsiteY227" fmla="*/ 1817564 h 1934496"/>
              <a:gd name="connsiteX228" fmla="*/ 8352126 w 9922465"/>
              <a:gd name="connsiteY228" fmla="*/ 1762373 h 1934496"/>
              <a:gd name="connsiteX229" fmla="*/ 8407318 w 9922465"/>
              <a:gd name="connsiteY229" fmla="*/ 1707182 h 1934496"/>
              <a:gd name="connsiteX230" fmla="*/ 8273682 w 9922465"/>
              <a:gd name="connsiteY230" fmla="*/ 1707182 h 1934496"/>
              <a:gd name="connsiteX231" fmla="*/ 8328874 w 9922465"/>
              <a:gd name="connsiteY231" fmla="*/ 1762373 h 1934496"/>
              <a:gd name="connsiteX232" fmla="*/ 8273682 w 9922465"/>
              <a:gd name="connsiteY232" fmla="*/ 1817564 h 1934496"/>
              <a:gd name="connsiteX233" fmla="*/ 8218490 w 9922465"/>
              <a:gd name="connsiteY233" fmla="*/ 1762373 h 1934496"/>
              <a:gd name="connsiteX234" fmla="*/ 8273682 w 9922465"/>
              <a:gd name="connsiteY234" fmla="*/ 1707182 h 1934496"/>
              <a:gd name="connsiteX235" fmla="*/ 8143386 w 9922465"/>
              <a:gd name="connsiteY235" fmla="*/ 1707182 h 1934496"/>
              <a:gd name="connsiteX236" fmla="*/ 8198578 w 9922465"/>
              <a:gd name="connsiteY236" fmla="*/ 1762373 h 1934496"/>
              <a:gd name="connsiteX237" fmla="*/ 8143386 w 9922465"/>
              <a:gd name="connsiteY237" fmla="*/ 1817564 h 1934496"/>
              <a:gd name="connsiteX238" fmla="*/ 8088194 w 9922465"/>
              <a:gd name="connsiteY238" fmla="*/ 1762373 h 1934496"/>
              <a:gd name="connsiteX239" fmla="*/ 8143386 w 9922465"/>
              <a:gd name="connsiteY239" fmla="*/ 1707182 h 1934496"/>
              <a:gd name="connsiteX240" fmla="*/ 8009752 w 9922465"/>
              <a:gd name="connsiteY240" fmla="*/ 1707182 h 1934496"/>
              <a:gd name="connsiteX241" fmla="*/ 8064944 w 9922465"/>
              <a:gd name="connsiteY241" fmla="*/ 1762373 h 1934496"/>
              <a:gd name="connsiteX242" fmla="*/ 8009752 w 9922465"/>
              <a:gd name="connsiteY242" fmla="*/ 1817564 h 1934496"/>
              <a:gd name="connsiteX243" fmla="*/ 7954560 w 9922465"/>
              <a:gd name="connsiteY243" fmla="*/ 1762373 h 1934496"/>
              <a:gd name="connsiteX244" fmla="*/ 8009752 w 9922465"/>
              <a:gd name="connsiteY244" fmla="*/ 1707182 h 1934496"/>
              <a:gd name="connsiteX245" fmla="*/ 7876117 w 9922465"/>
              <a:gd name="connsiteY245" fmla="*/ 1707182 h 1934496"/>
              <a:gd name="connsiteX246" fmla="*/ 7931309 w 9922465"/>
              <a:gd name="connsiteY246" fmla="*/ 1762373 h 1934496"/>
              <a:gd name="connsiteX247" fmla="*/ 7876117 w 9922465"/>
              <a:gd name="connsiteY247" fmla="*/ 1817564 h 1934496"/>
              <a:gd name="connsiteX248" fmla="*/ 7820925 w 9922465"/>
              <a:gd name="connsiteY248" fmla="*/ 1762373 h 1934496"/>
              <a:gd name="connsiteX249" fmla="*/ 7876117 w 9922465"/>
              <a:gd name="connsiteY249" fmla="*/ 1707182 h 1934496"/>
              <a:gd name="connsiteX250" fmla="*/ 7745824 w 9922465"/>
              <a:gd name="connsiteY250" fmla="*/ 1707182 h 1934496"/>
              <a:gd name="connsiteX251" fmla="*/ 7801016 w 9922465"/>
              <a:gd name="connsiteY251" fmla="*/ 1762373 h 1934496"/>
              <a:gd name="connsiteX252" fmla="*/ 7745824 w 9922465"/>
              <a:gd name="connsiteY252" fmla="*/ 1817564 h 1934496"/>
              <a:gd name="connsiteX253" fmla="*/ 7690632 w 9922465"/>
              <a:gd name="connsiteY253" fmla="*/ 1762373 h 1934496"/>
              <a:gd name="connsiteX254" fmla="*/ 7745824 w 9922465"/>
              <a:gd name="connsiteY254" fmla="*/ 1707182 h 1934496"/>
              <a:gd name="connsiteX255" fmla="*/ 7608849 w 9922465"/>
              <a:gd name="connsiteY255" fmla="*/ 1707182 h 1934496"/>
              <a:gd name="connsiteX256" fmla="*/ 7664041 w 9922465"/>
              <a:gd name="connsiteY256" fmla="*/ 1762373 h 1934496"/>
              <a:gd name="connsiteX257" fmla="*/ 7608849 w 9922465"/>
              <a:gd name="connsiteY257" fmla="*/ 1817564 h 1934496"/>
              <a:gd name="connsiteX258" fmla="*/ 7553657 w 9922465"/>
              <a:gd name="connsiteY258" fmla="*/ 1762373 h 1934496"/>
              <a:gd name="connsiteX259" fmla="*/ 7608849 w 9922465"/>
              <a:gd name="connsiteY259" fmla="*/ 1707182 h 1934496"/>
              <a:gd name="connsiteX260" fmla="*/ 7481895 w 9922465"/>
              <a:gd name="connsiteY260" fmla="*/ 1707182 h 1934496"/>
              <a:gd name="connsiteX261" fmla="*/ 7537087 w 9922465"/>
              <a:gd name="connsiteY261" fmla="*/ 1762373 h 1934496"/>
              <a:gd name="connsiteX262" fmla="*/ 7481895 w 9922465"/>
              <a:gd name="connsiteY262" fmla="*/ 1817564 h 1934496"/>
              <a:gd name="connsiteX263" fmla="*/ 7426703 w 9922465"/>
              <a:gd name="connsiteY263" fmla="*/ 1762373 h 1934496"/>
              <a:gd name="connsiteX264" fmla="*/ 7481895 w 9922465"/>
              <a:gd name="connsiteY264" fmla="*/ 1707182 h 1934496"/>
              <a:gd name="connsiteX265" fmla="*/ 7341579 w 9922465"/>
              <a:gd name="connsiteY265" fmla="*/ 1707182 h 1934496"/>
              <a:gd name="connsiteX266" fmla="*/ 7396771 w 9922465"/>
              <a:gd name="connsiteY266" fmla="*/ 1762373 h 1934496"/>
              <a:gd name="connsiteX267" fmla="*/ 7341579 w 9922465"/>
              <a:gd name="connsiteY267" fmla="*/ 1817564 h 1934496"/>
              <a:gd name="connsiteX268" fmla="*/ 7286387 w 9922465"/>
              <a:gd name="connsiteY268" fmla="*/ 1762373 h 1934496"/>
              <a:gd name="connsiteX269" fmla="*/ 7341579 w 9922465"/>
              <a:gd name="connsiteY269" fmla="*/ 1707182 h 1934496"/>
              <a:gd name="connsiteX270" fmla="*/ 7211286 w 9922465"/>
              <a:gd name="connsiteY270" fmla="*/ 1707182 h 1934496"/>
              <a:gd name="connsiteX271" fmla="*/ 7266478 w 9922465"/>
              <a:gd name="connsiteY271" fmla="*/ 1762373 h 1934496"/>
              <a:gd name="connsiteX272" fmla="*/ 7211286 w 9922465"/>
              <a:gd name="connsiteY272" fmla="*/ 1817564 h 1934496"/>
              <a:gd name="connsiteX273" fmla="*/ 7156094 w 9922465"/>
              <a:gd name="connsiteY273" fmla="*/ 1762373 h 1934496"/>
              <a:gd name="connsiteX274" fmla="*/ 7211286 w 9922465"/>
              <a:gd name="connsiteY274" fmla="*/ 1707182 h 1934496"/>
              <a:gd name="connsiteX275" fmla="*/ 7080993 w 9922465"/>
              <a:gd name="connsiteY275" fmla="*/ 1707182 h 1934496"/>
              <a:gd name="connsiteX276" fmla="*/ 7136185 w 9922465"/>
              <a:gd name="connsiteY276" fmla="*/ 1762373 h 1934496"/>
              <a:gd name="connsiteX277" fmla="*/ 7080993 w 9922465"/>
              <a:gd name="connsiteY277" fmla="*/ 1817564 h 1934496"/>
              <a:gd name="connsiteX278" fmla="*/ 7025801 w 9922465"/>
              <a:gd name="connsiteY278" fmla="*/ 1762373 h 1934496"/>
              <a:gd name="connsiteX279" fmla="*/ 7080993 w 9922465"/>
              <a:gd name="connsiteY279" fmla="*/ 1707182 h 1934496"/>
              <a:gd name="connsiteX280" fmla="*/ 6947357 w 9922465"/>
              <a:gd name="connsiteY280" fmla="*/ 1707182 h 1934496"/>
              <a:gd name="connsiteX281" fmla="*/ 7002549 w 9922465"/>
              <a:gd name="connsiteY281" fmla="*/ 1762373 h 1934496"/>
              <a:gd name="connsiteX282" fmla="*/ 6947357 w 9922465"/>
              <a:gd name="connsiteY282" fmla="*/ 1817564 h 1934496"/>
              <a:gd name="connsiteX283" fmla="*/ 6892165 w 9922465"/>
              <a:gd name="connsiteY283" fmla="*/ 1762373 h 1934496"/>
              <a:gd name="connsiteX284" fmla="*/ 6947357 w 9922465"/>
              <a:gd name="connsiteY284" fmla="*/ 1707182 h 1934496"/>
              <a:gd name="connsiteX285" fmla="*/ 6817063 w 9922465"/>
              <a:gd name="connsiteY285" fmla="*/ 1707182 h 1934496"/>
              <a:gd name="connsiteX286" fmla="*/ 6872255 w 9922465"/>
              <a:gd name="connsiteY286" fmla="*/ 1762373 h 1934496"/>
              <a:gd name="connsiteX287" fmla="*/ 6817063 w 9922465"/>
              <a:gd name="connsiteY287" fmla="*/ 1817564 h 1934496"/>
              <a:gd name="connsiteX288" fmla="*/ 6761871 w 9922465"/>
              <a:gd name="connsiteY288" fmla="*/ 1762373 h 1934496"/>
              <a:gd name="connsiteX289" fmla="*/ 6817063 w 9922465"/>
              <a:gd name="connsiteY289" fmla="*/ 1707182 h 1934496"/>
              <a:gd name="connsiteX290" fmla="*/ 6683431 w 9922465"/>
              <a:gd name="connsiteY290" fmla="*/ 1707182 h 1934496"/>
              <a:gd name="connsiteX291" fmla="*/ 6738623 w 9922465"/>
              <a:gd name="connsiteY291" fmla="*/ 1762373 h 1934496"/>
              <a:gd name="connsiteX292" fmla="*/ 6683431 w 9922465"/>
              <a:gd name="connsiteY292" fmla="*/ 1817564 h 1934496"/>
              <a:gd name="connsiteX293" fmla="*/ 6628239 w 9922465"/>
              <a:gd name="connsiteY293" fmla="*/ 1762373 h 1934496"/>
              <a:gd name="connsiteX294" fmla="*/ 6683431 w 9922465"/>
              <a:gd name="connsiteY294" fmla="*/ 1707182 h 1934496"/>
              <a:gd name="connsiteX295" fmla="*/ 6553137 w 9922465"/>
              <a:gd name="connsiteY295" fmla="*/ 1707182 h 1934496"/>
              <a:gd name="connsiteX296" fmla="*/ 6608329 w 9922465"/>
              <a:gd name="connsiteY296" fmla="*/ 1762373 h 1934496"/>
              <a:gd name="connsiteX297" fmla="*/ 6553137 w 9922465"/>
              <a:gd name="connsiteY297" fmla="*/ 1817564 h 1934496"/>
              <a:gd name="connsiteX298" fmla="*/ 6497945 w 9922465"/>
              <a:gd name="connsiteY298" fmla="*/ 1762373 h 1934496"/>
              <a:gd name="connsiteX299" fmla="*/ 6553137 w 9922465"/>
              <a:gd name="connsiteY299" fmla="*/ 1707182 h 1934496"/>
              <a:gd name="connsiteX300" fmla="*/ 6419502 w 9922465"/>
              <a:gd name="connsiteY300" fmla="*/ 1707182 h 1934496"/>
              <a:gd name="connsiteX301" fmla="*/ 6474694 w 9922465"/>
              <a:gd name="connsiteY301" fmla="*/ 1762373 h 1934496"/>
              <a:gd name="connsiteX302" fmla="*/ 6419502 w 9922465"/>
              <a:gd name="connsiteY302" fmla="*/ 1817564 h 1934496"/>
              <a:gd name="connsiteX303" fmla="*/ 6364310 w 9922465"/>
              <a:gd name="connsiteY303" fmla="*/ 1762373 h 1934496"/>
              <a:gd name="connsiteX304" fmla="*/ 6419502 w 9922465"/>
              <a:gd name="connsiteY304" fmla="*/ 1707182 h 1934496"/>
              <a:gd name="connsiteX305" fmla="*/ 6289207 w 9922465"/>
              <a:gd name="connsiteY305" fmla="*/ 1707182 h 1934496"/>
              <a:gd name="connsiteX306" fmla="*/ 6344399 w 9922465"/>
              <a:gd name="connsiteY306" fmla="*/ 1762373 h 1934496"/>
              <a:gd name="connsiteX307" fmla="*/ 6289207 w 9922465"/>
              <a:gd name="connsiteY307" fmla="*/ 1817564 h 1934496"/>
              <a:gd name="connsiteX308" fmla="*/ 6234015 w 9922465"/>
              <a:gd name="connsiteY308" fmla="*/ 1762373 h 1934496"/>
              <a:gd name="connsiteX309" fmla="*/ 6289207 w 9922465"/>
              <a:gd name="connsiteY309" fmla="*/ 1707182 h 1934496"/>
              <a:gd name="connsiteX310" fmla="*/ 6155572 w 9922465"/>
              <a:gd name="connsiteY310" fmla="*/ 1707182 h 1934496"/>
              <a:gd name="connsiteX311" fmla="*/ 6210764 w 9922465"/>
              <a:gd name="connsiteY311" fmla="*/ 1762373 h 1934496"/>
              <a:gd name="connsiteX312" fmla="*/ 6155572 w 9922465"/>
              <a:gd name="connsiteY312" fmla="*/ 1817564 h 1934496"/>
              <a:gd name="connsiteX313" fmla="*/ 6100380 w 9922465"/>
              <a:gd name="connsiteY313" fmla="*/ 1762373 h 1934496"/>
              <a:gd name="connsiteX314" fmla="*/ 6155572 w 9922465"/>
              <a:gd name="connsiteY314" fmla="*/ 1707182 h 1934496"/>
              <a:gd name="connsiteX315" fmla="*/ 6021938 w 9922465"/>
              <a:gd name="connsiteY315" fmla="*/ 1707182 h 1934496"/>
              <a:gd name="connsiteX316" fmla="*/ 6077130 w 9922465"/>
              <a:gd name="connsiteY316" fmla="*/ 1762373 h 1934496"/>
              <a:gd name="connsiteX317" fmla="*/ 6021938 w 9922465"/>
              <a:gd name="connsiteY317" fmla="*/ 1817564 h 1934496"/>
              <a:gd name="connsiteX318" fmla="*/ 5966746 w 9922465"/>
              <a:gd name="connsiteY318" fmla="*/ 1762373 h 1934496"/>
              <a:gd name="connsiteX319" fmla="*/ 6021938 w 9922465"/>
              <a:gd name="connsiteY319" fmla="*/ 1707182 h 1934496"/>
              <a:gd name="connsiteX320" fmla="*/ 5884964 w 9922465"/>
              <a:gd name="connsiteY320" fmla="*/ 1707182 h 1934496"/>
              <a:gd name="connsiteX321" fmla="*/ 5940156 w 9922465"/>
              <a:gd name="connsiteY321" fmla="*/ 1762373 h 1934496"/>
              <a:gd name="connsiteX322" fmla="*/ 5884964 w 9922465"/>
              <a:gd name="connsiteY322" fmla="*/ 1817564 h 1934496"/>
              <a:gd name="connsiteX323" fmla="*/ 5829772 w 9922465"/>
              <a:gd name="connsiteY323" fmla="*/ 1762373 h 1934496"/>
              <a:gd name="connsiteX324" fmla="*/ 5884964 w 9922465"/>
              <a:gd name="connsiteY324" fmla="*/ 1707182 h 1934496"/>
              <a:gd name="connsiteX325" fmla="*/ 5754670 w 9922465"/>
              <a:gd name="connsiteY325" fmla="*/ 1707182 h 1934496"/>
              <a:gd name="connsiteX326" fmla="*/ 5809862 w 9922465"/>
              <a:gd name="connsiteY326" fmla="*/ 1762373 h 1934496"/>
              <a:gd name="connsiteX327" fmla="*/ 5754670 w 9922465"/>
              <a:gd name="connsiteY327" fmla="*/ 1817564 h 1934496"/>
              <a:gd name="connsiteX328" fmla="*/ 5699478 w 9922465"/>
              <a:gd name="connsiteY328" fmla="*/ 1762373 h 1934496"/>
              <a:gd name="connsiteX329" fmla="*/ 5754670 w 9922465"/>
              <a:gd name="connsiteY329" fmla="*/ 1707182 h 1934496"/>
              <a:gd name="connsiteX330" fmla="*/ 5621035 w 9922465"/>
              <a:gd name="connsiteY330" fmla="*/ 1707182 h 1934496"/>
              <a:gd name="connsiteX331" fmla="*/ 5676227 w 9922465"/>
              <a:gd name="connsiteY331" fmla="*/ 1762373 h 1934496"/>
              <a:gd name="connsiteX332" fmla="*/ 5621035 w 9922465"/>
              <a:gd name="connsiteY332" fmla="*/ 1817564 h 1934496"/>
              <a:gd name="connsiteX333" fmla="*/ 5565843 w 9922465"/>
              <a:gd name="connsiteY333" fmla="*/ 1762373 h 1934496"/>
              <a:gd name="connsiteX334" fmla="*/ 5621035 w 9922465"/>
              <a:gd name="connsiteY334" fmla="*/ 1707182 h 1934496"/>
              <a:gd name="connsiteX335" fmla="*/ 5487399 w 9922465"/>
              <a:gd name="connsiteY335" fmla="*/ 1707182 h 1934496"/>
              <a:gd name="connsiteX336" fmla="*/ 5542591 w 9922465"/>
              <a:gd name="connsiteY336" fmla="*/ 1762373 h 1934496"/>
              <a:gd name="connsiteX337" fmla="*/ 5487399 w 9922465"/>
              <a:gd name="connsiteY337" fmla="*/ 1817564 h 1934496"/>
              <a:gd name="connsiteX338" fmla="*/ 5432207 w 9922465"/>
              <a:gd name="connsiteY338" fmla="*/ 1762373 h 1934496"/>
              <a:gd name="connsiteX339" fmla="*/ 5487399 w 9922465"/>
              <a:gd name="connsiteY339" fmla="*/ 1707182 h 1934496"/>
              <a:gd name="connsiteX340" fmla="*/ 5357105 w 9922465"/>
              <a:gd name="connsiteY340" fmla="*/ 1707182 h 1934496"/>
              <a:gd name="connsiteX341" fmla="*/ 5412297 w 9922465"/>
              <a:gd name="connsiteY341" fmla="*/ 1762373 h 1934496"/>
              <a:gd name="connsiteX342" fmla="*/ 5357105 w 9922465"/>
              <a:gd name="connsiteY342" fmla="*/ 1817564 h 1934496"/>
              <a:gd name="connsiteX343" fmla="*/ 5301913 w 9922465"/>
              <a:gd name="connsiteY343" fmla="*/ 1762373 h 1934496"/>
              <a:gd name="connsiteX344" fmla="*/ 5357105 w 9922465"/>
              <a:gd name="connsiteY344" fmla="*/ 1707182 h 1934496"/>
              <a:gd name="connsiteX345" fmla="*/ 5223473 w 9922465"/>
              <a:gd name="connsiteY345" fmla="*/ 1707182 h 1934496"/>
              <a:gd name="connsiteX346" fmla="*/ 5278665 w 9922465"/>
              <a:gd name="connsiteY346" fmla="*/ 1762373 h 1934496"/>
              <a:gd name="connsiteX347" fmla="*/ 5223473 w 9922465"/>
              <a:gd name="connsiteY347" fmla="*/ 1817564 h 1934496"/>
              <a:gd name="connsiteX348" fmla="*/ 5168281 w 9922465"/>
              <a:gd name="connsiteY348" fmla="*/ 1762373 h 1934496"/>
              <a:gd name="connsiteX349" fmla="*/ 5223473 w 9922465"/>
              <a:gd name="connsiteY349" fmla="*/ 1707182 h 1934496"/>
              <a:gd name="connsiteX350" fmla="*/ 5093178 w 9922465"/>
              <a:gd name="connsiteY350" fmla="*/ 1707182 h 1934496"/>
              <a:gd name="connsiteX351" fmla="*/ 5148370 w 9922465"/>
              <a:gd name="connsiteY351" fmla="*/ 1762373 h 1934496"/>
              <a:gd name="connsiteX352" fmla="*/ 5093178 w 9922465"/>
              <a:gd name="connsiteY352" fmla="*/ 1817564 h 1934496"/>
              <a:gd name="connsiteX353" fmla="*/ 5037986 w 9922465"/>
              <a:gd name="connsiteY353" fmla="*/ 1762373 h 1934496"/>
              <a:gd name="connsiteX354" fmla="*/ 5093178 w 9922465"/>
              <a:gd name="connsiteY354" fmla="*/ 1707182 h 1934496"/>
              <a:gd name="connsiteX355" fmla="*/ 4959543 w 9922465"/>
              <a:gd name="connsiteY355" fmla="*/ 1707182 h 1934496"/>
              <a:gd name="connsiteX356" fmla="*/ 5014735 w 9922465"/>
              <a:gd name="connsiteY356" fmla="*/ 1762373 h 1934496"/>
              <a:gd name="connsiteX357" fmla="*/ 4959543 w 9922465"/>
              <a:gd name="connsiteY357" fmla="*/ 1817564 h 1934496"/>
              <a:gd name="connsiteX358" fmla="*/ 4904351 w 9922465"/>
              <a:gd name="connsiteY358" fmla="*/ 1762373 h 1934496"/>
              <a:gd name="connsiteX359" fmla="*/ 4959543 w 9922465"/>
              <a:gd name="connsiteY359" fmla="*/ 1707182 h 1934496"/>
              <a:gd name="connsiteX360" fmla="*/ 4829251 w 9922465"/>
              <a:gd name="connsiteY360" fmla="*/ 1707182 h 1934496"/>
              <a:gd name="connsiteX361" fmla="*/ 4884443 w 9922465"/>
              <a:gd name="connsiteY361" fmla="*/ 1762373 h 1934496"/>
              <a:gd name="connsiteX362" fmla="*/ 4829251 w 9922465"/>
              <a:gd name="connsiteY362" fmla="*/ 1817564 h 1934496"/>
              <a:gd name="connsiteX363" fmla="*/ 4774059 w 9922465"/>
              <a:gd name="connsiteY363" fmla="*/ 1762373 h 1934496"/>
              <a:gd name="connsiteX364" fmla="*/ 4829251 w 9922465"/>
              <a:gd name="connsiteY364" fmla="*/ 1707182 h 1934496"/>
              <a:gd name="connsiteX365" fmla="*/ 4695613 w 9922465"/>
              <a:gd name="connsiteY365" fmla="*/ 1707182 h 1934496"/>
              <a:gd name="connsiteX366" fmla="*/ 4750805 w 9922465"/>
              <a:gd name="connsiteY366" fmla="*/ 1762373 h 1934496"/>
              <a:gd name="connsiteX367" fmla="*/ 4695613 w 9922465"/>
              <a:gd name="connsiteY367" fmla="*/ 1817564 h 1934496"/>
              <a:gd name="connsiteX368" fmla="*/ 4640421 w 9922465"/>
              <a:gd name="connsiteY368" fmla="*/ 1762373 h 1934496"/>
              <a:gd name="connsiteX369" fmla="*/ 4695613 w 9922465"/>
              <a:gd name="connsiteY369" fmla="*/ 1707182 h 1934496"/>
              <a:gd name="connsiteX370" fmla="*/ 3098681 w 9922465"/>
              <a:gd name="connsiteY370" fmla="*/ 1707182 h 1934496"/>
              <a:gd name="connsiteX371" fmla="*/ 3153873 w 9922465"/>
              <a:gd name="connsiteY371" fmla="*/ 1762373 h 1934496"/>
              <a:gd name="connsiteX372" fmla="*/ 3098681 w 9922465"/>
              <a:gd name="connsiteY372" fmla="*/ 1817564 h 1934496"/>
              <a:gd name="connsiteX373" fmla="*/ 3043489 w 9922465"/>
              <a:gd name="connsiteY373" fmla="*/ 1762373 h 1934496"/>
              <a:gd name="connsiteX374" fmla="*/ 3098681 w 9922465"/>
              <a:gd name="connsiteY374" fmla="*/ 1707182 h 1934496"/>
              <a:gd name="connsiteX375" fmla="*/ 2971729 w 9922465"/>
              <a:gd name="connsiteY375" fmla="*/ 1707182 h 1934496"/>
              <a:gd name="connsiteX376" fmla="*/ 3026921 w 9922465"/>
              <a:gd name="connsiteY376" fmla="*/ 1762373 h 1934496"/>
              <a:gd name="connsiteX377" fmla="*/ 2971729 w 9922465"/>
              <a:gd name="connsiteY377" fmla="*/ 1817564 h 1934496"/>
              <a:gd name="connsiteX378" fmla="*/ 2916537 w 9922465"/>
              <a:gd name="connsiteY378" fmla="*/ 1762373 h 1934496"/>
              <a:gd name="connsiteX379" fmla="*/ 2971729 w 9922465"/>
              <a:gd name="connsiteY379" fmla="*/ 1707182 h 1934496"/>
              <a:gd name="connsiteX380" fmla="*/ 2834772 w 9922465"/>
              <a:gd name="connsiteY380" fmla="*/ 1707182 h 1934496"/>
              <a:gd name="connsiteX381" fmla="*/ 2889964 w 9922465"/>
              <a:gd name="connsiteY381" fmla="*/ 1762373 h 1934496"/>
              <a:gd name="connsiteX382" fmla="*/ 2834772 w 9922465"/>
              <a:gd name="connsiteY382" fmla="*/ 1817564 h 1934496"/>
              <a:gd name="connsiteX383" fmla="*/ 2779580 w 9922465"/>
              <a:gd name="connsiteY383" fmla="*/ 1762373 h 1934496"/>
              <a:gd name="connsiteX384" fmla="*/ 2834772 w 9922465"/>
              <a:gd name="connsiteY384" fmla="*/ 1707182 h 1934496"/>
              <a:gd name="connsiteX385" fmla="*/ 2707817 w 9922465"/>
              <a:gd name="connsiteY385" fmla="*/ 1707182 h 1934496"/>
              <a:gd name="connsiteX386" fmla="*/ 2763009 w 9922465"/>
              <a:gd name="connsiteY386" fmla="*/ 1762373 h 1934496"/>
              <a:gd name="connsiteX387" fmla="*/ 2707817 w 9922465"/>
              <a:gd name="connsiteY387" fmla="*/ 1817564 h 1934496"/>
              <a:gd name="connsiteX388" fmla="*/ 2652625 w 9922465"/>
              <a:gd name="connsiteY388" fmla="*/ 1762373 h 1934496"/>
              <a:gd name="connsiteX389" fmla="*/ 2707817 w 9922465"/>
              <a:gd name="connsiteY389" fmla="*/ 1707182 h 1934496"/>
              <a:gd name="connsiteX390" fmla="*/ 2570843 w 9922465"/>
              <a:gd name="connsiteY390" fmla="*/ 1707182 h 1934496"/>
              <a:gd name="connsiteX391" fmla="*/ 2626036 w 9922465"/>
              <a:gd name="connsiteY391" fmla="*/ 1762373 h 1934496"/>
              <a:gd name="connsiteX392" fmla="*/ 2570843 w 9922465"/>
              <a:gd name="connsiteY392" fmla="*/ 1817564 h 1934496"/>
              <a:gd name="connsiteX393" fmla="*/ 2515651 w 9922465"/>
              <a:gd name="connsiteY393" fmla="*/ 1762373 h 1934496"/>
              <a:gd name="connsiteX394" fmla="*/ 2570843 w 9922465"/>
              <a:gd name="connsiteY394" fmla="*/ 1707182 h 1934496"/>
              <a:gd name="connsiteX395" fmla="*/ 2437207 w 9922465"/>
              <a:gd name="connsiteY395" fmla="*/ 1707182 h 1934496"/>
              <a:gd name="connsiteX396" fmla="*/ 2492398 w 9922465"/>
              <a:gd name="connsiteY396" fmla="*/ 1762373 h 1934496"/>
              <a:gd name="connsiteX397" fmla="*/ 2437207 w 9922465"/>
              <a:gd name="connsiteY397" fmla="*/ 1817564 h 1934496"/>
              <a:gd name="connsiteX398" fmla="*/ 2382015 w 9922465"/>
              <a:gd name="connsiteY398" fmla="*/ 1762373 h 1934496"/>
              <a:gd name="connsiteX399" fmla="*/ 2437207 w 9922465"/>
              <a:gd name="connsiteY399" fmla="*/ 1707182 h 1934496"/>
              <a:gd name="connsiteX400" fmla="*/ 2303575 w 9922465"/>
              <a:gd name="connsiteY400" fmla="*/ 1707182 h 1934496"/>
              <a:gd name="connsiteX401" fmla="*/ 2358767 w 9922465"/>
              <a:gd name="connsiteY401" fmla="*/ 1762373 h 1934496"/>
              <a:gd name="connsiteX402" fmla="*/ 2303575 w 9922465"/>
              <a:gd name="connsiteY402" fmla="*/ 1817564 h 1934496"/>
              <a:gd name="connsiteX403" fmla="*/ 2248383 w 9922465"/>
              <a:gd name="connsiteY403" fmla="*/ 1762373 h 1934496"/>
              <a:gd name="connsiteX404" fmla="*/ 2303575 w 9922465"/>
              <a:gd name="connsiteY404" fmla="*/ 1707182 h 1934496"/>
              <a:gd name="connsiteX405" fmla="*/ 2173282 w 9922465"/>
              <a:gd name="connsiteY405" fmla="*/ 1707182 h 1934496"/>
              <a:gd name="connsiteX406" fmla="*/ 2228474 w 9922465"/>
              <a:gd name="connsiteY406" fmla="*/ 1762373 h 1934496"/>
              <a:gd name="connsiteX407" fmla="*/ 2173282 w 9922465"/>
              <a:gd name="connsiteY407" fmla="*/ 1817564 h 1934496"/>
              <a:gd name="connsiteX408" fmla="*/ 2118090 w 9922465"/>
              <a:gd name="connsiteY408" fmla="*/ 1762373 h 1934496"/>
              <a:gd name="connsiteX409" fmla="*/ 2173282 w 9922465"/>
              <a:gd name="connsiteY409" fmla="*/ 1707182 h 1934496"/>
              <a:gd name="connsiteX410" fmla="*/ 2039648 w 9922465"/>
              <a:gd name="connsiteY410" fmla="*/ 1707182 h 1934496"/>
              <a:gd name="connsiteX411" fmla="*/ 2094840 w 9922465"/>
              <a:gd name="connsiteY411" fmla="*/ 1762373 h 1934496"/>
              <a:gd name="connsiteX412" fmla="*/ 2039648 w 9922465"/>
              <a:gd name="connsiteY412" fmla="*/ 1817564 h 1934496"/>
              <a:gd name="connsiteX413" fmla="*/ 1984455 w 9922465"/>
              <a:gd name="connsiteY413" fmla="*/ 1762373 h 1934496"/>
              <a:gd name="connsiteX414" fmla="*/ 2039648 w 9922465"/>
              <a:gd name="connsiteY414" fmla="*/ 1707182 h 1934496"/>
              <a:gd name="connsiteX415" fmla="*/ 1909353 w 9922465"/>
              <a:gd name="connsiteY415" fmla="*/ 1707182 h 1934496"/>
              <a:gd name="connsiteX416" fmla="*/ 1964545 w 9922465"/>
              <a:gd name="connsiteY416" fmla="*/ 1762373 h 1934496"/>
              <a:gd name="connsiteX417" fmla="*/ 1909353 w 9922465"/>
              <a:gd name="connsiteY417" fmla="*/ 1817564 h 1934496"/>
              <a:gd name="connsiteX418" fmla="*/ 1854161 w 9922465"/>
              <a:gd name="connsiteY418" fmla="*/ 1762373 h 1934496"/>
              <a:gd name="connsiteX419" fmla="*/ 1909353 w 9922465"/>
              <a:gd name="connsiteY419" fmla="*/ 1707182 h 1934496"/>
              <a:gd name="connsiteX420" fmla="*/ 1779058 w 9922465"/>
              <a:gd name="connsiteY420" fmla="*/ 1707182 h 1934496"/>
              <a:gd name="connsiteX421" fmla="*/ 1834251 w 9922465"/>
              <a:gd name="connsiteY421" fmla="*/ 1762373 h 1934496"/>
              <a:gd name="connsiteX422" fmla="*/ 1779058 w 9922465"/>
              <a:gd name="connsiteY422" fmla="*/ 1817564 h 1934496"/>
              <a:gd name="connsiteX423" fmla="*/ 1723867 w 9922465"/>
              <a:gd name="connsiteY423" fmla="*/ 1762373 h 1934496"/>
              <a:gd name="connsiteX424" fmla="*/ 1779058 w 9922465"/>
              <a:gd name="connsiteY424" fmla="*/ 1707182 h 1934496"/>
              <a:gd name="connsiteX425" fmla="*/ 1645422 w 9922465"/>
              <a:gd name="connsiteY425" fmla="*/ 1707182 h 1934496"/>
              <a:gd name="connsiteX426" fmla="*/ 1700617 w 9922465"/>
              <a:gd name="connsiteY426" fmla="*/ 1762373 h 1934496"/>
              <a:gd name="connsiteX427" fmla="*/ 1645422 w 9922465"/>
              <a:gd name="connsiteY427" fmla="*/ 1817564 h 1934496"/>
              <a:gd name="connsiteX428" fmla="*/ 1590230 w 9922465"/>
              <a:gd name="connsiteY428" fmla="*/ 1762373 h 1934496"/>
              <a:gd name="connsiteX429" fmla="*/ 1645422 w 9922465"/>
              <a:gd name="connsiteY429" fmla="*/ 1707182 h 1934496"/>
              <a:gd name="connsiteX430" fmla="*/ 1515130 w 9922465"/>
              <a:gd name="connsiteY430" fmla="*/ 1707182 h 1934496"/>
              <a:gd name="connsiteX431" fmla="*/ 1570322 w 9922465"/>
              <a:gd name="connsiteY431" fmla="*/ 1762373 h 1934496"/>
              <a:gd name="connsiteX432" fmla="*/ 1515130 w 9922465"/>
              <a:gd name="connsiteY432" fmla="*/ 1817564 h 1934496"/>
              <a:gd name="connsiteX433" fmla="*/ 1459938 w 9922465"/>
              <a:gd name="connsiteY433" fmla="*/ 1762373 h 1934496"/>
              <a:gd name="connsiteX434" fmla="*/ 1515130 w 9922465"/>
              <a:gd name="connsiteY434" fmla="*/ 1707182 h 1934496"/>
              <a:gd name="connsiteX435" fmla="*/ 1381494 w 9922465"/>
              <a:gd name="connsiteY435" fmla="*/ 1707182 h 1934496"/>
              <a:gd name="connsiteX436" fmla="*/ 1436688 w 9922465"/>
              <a:gd name="connsiteY436" fmla="*/ 1762373 h 1934496"/>
              <a:gd name="connsiteX437" fmla="*/ 1381494 w 9922465"/>
              <a:gd name="connsiteY437" fmla="*/ 1817564 h 1934496"/>
              <a:gd name="connsiteX438" fmla="*/ 1326303 w 9922465"/>
              <a:gd name="connsiteY438" fmla="*/ 1762373 h 1934496"/>
              <a:gd name="connsiteX439" fmla="*/ 1381494 w 9922465"/>
              <a:gd name="connsiteY439" fmla="*/ 1707182 h 1934496"/>
              <a:gd name="connsiteX440" fmla="*/ 1251201 w 9922465"/>
              <a:gd name="connsiteY440" fmla="*/ 1707182 h 1934496"/>
              <a:gd name="connsiteX441" fmla="*/ 1306393 w 9922465"/>
              <a:gd name="connsiteY441" fmla="*/ 1762373 h 1934496"/>
              <a:gd name="connsiteX442" fmla="*/ 1251201 w 9922465"/>
              <a:gd name="connsiteY442" fmla="*/ 1817564 h 1934496"/>
              <a:gd name="connsiteX443" fmla="*/ 1196010 w 9922465"/>
              <a:gd name="connsiteY443" fmla="*/ 1762373 h 1934496"/>
              <a:gd name="connsiteX444" fmla="*/ 1251201 w 9922465"/>
              <a:gd name="connsiteY444" fmla="*/ 1707182 h 1934496"/>
              <a:gd name="connsiteX445" fmla="*/ 1909361 w 9922465"/>
              <a:gd name="connsiteY445" fmla="*/ 1580232 h 1934496"/>
              <a:gd name="connsiteX446" fmla="*/ 1964554 w 9922465"/>
              <a:gd name="connsiteY446" fmla="*/ 1635423 h 1934496"/>
              <a:gd name="connsiteX447" fmla="*/ 1909361 w 9922465"/>
              <a:gd name="connsiteY447" fmla="*/ 1690614 h 1934496"/>
              <a:gd name="connsiteX448" fmla="*/ 1854168 w 9922465"/>
              <a:gd name="connsiteY448" fmla="*/ 1635423 h 1934496"/>
              <a:gd name="connsiteX449" fmla="*/ 1909361 w 9922465"/>
              <a:gd name="connsiteY449" fmla="*/ 1580232 h 1934496"/>
              <a:gd name="connsiteX450" fmla="*/ 1779065 w 9922465"/>
              <a:gd name="connsiteY450" fmla="*/ 1580232 h 1934496"/>
              <a:gd name="connsiteX451" fmla="*/ 1834257 w 9922465"/>
              <a:gd name="connsiteY451" fmla="*/ 1635423 h 1934496"/>
              <a:gd name="connsiteX452" fmla="*/ 1779065 w 9922465"/>
              <a:gd name="connsiteY452" fmla="*/ 1690614 h 1934496"/>
              <a:gd name="connsiteX453" fmla="*/ 1723872 w 9922465"/>
              <a:gd name="connsiteY453" fmla="*/ 1635423 h 1934496"/>
              <a:gd name="connsiteX454" fmla="*/ 1779065 w 9922465"/>
              <a:gd name="connsiteY454" fmla="*/ 1580232 h 1934496"/>
              <a:gd name="connsiteX455" fmla="*/ 1645431 w 9922465"/>
              <a:gd name="connsiteY455" fmla="*/ 1580232 h 1934496"/>
              <a:gd name="connsiteX456" fmla="*/ 1700623 w 9922465"/>
              <a:gd name="connsiteY456" fmla="*/ 1635423 h 1934496"/>
              <a:gd name="connsiteX457" fmla="*/ 1645431 w 9922465"/>
              <a:gd name="connsiteY457" fmla="*/ 1690614 h 1934496"/>
              <a:gd name="connsiteX458" fmla="*/ 1590238 w 9922465"/>
              <a:gd name="connsiteY458" fmla="*/ 1635423 h 1934496"/>
              <a:gd name="connsiteX459" fmla="*/ 1645431 w 9922465"/>
              <a:gd name="connsiteY459" fmla="*/ 1580232 h 1934496"/>
              <a:gd name="connsiteX460" fmla="*/ 1515140 w 9922465"/>
              <a:gd name="connsiteY460" fmla="*/ 1580232 h 1934496"/>
              <a:gd name="connsiteX461" fmla="*/ 1570329 w 9922465"/>
              <a:gd name="connsiteY461" fmla="*/ 1635423 h 1934496"/>
              <a:gd name="connsiteX462" fmla="*/ 1515140 w 9922465"/>
              <a:gd name="connsiteY462" fmla="*/ 1690614 h 1934496"/>
              <a:gd name="connsiteX463" fmla="*/ 1459945 w 9922465"/>
              <a:gd name="connsiteY463" fmla="*/ 1635423 h 1934496"/>
              <a:gd name="connsiteX464" fmla="*/ 1515140 w 9922465"/>
              <a:gd name="connsiteY464" fmla="*/ 1580232 h 1934496"/>
              <a:gd name="connsiteX465" fmla="*/ 1381504 w 9922465"/>
              <a:gd name="connsiteY465" fmla="*/ 1580232 h 1934496"/>
              <a:gd name="connsiteX466" fmla="*/ 1436697 w 9922465"/>
              <a:gd name="connsiteY466" fmla="*/ 1635423 h 1934496"/>
              <a:gd name="connsiteX467" fmla="*/ 1381504 w 9922465"/>
              <a:gd name="connsiteY467" fmla="*/ 1690614 h 1934496"/>
              <a:gd name="connsiteX468" fmla="*/ 1326312 w 9922465"/>
              <a:gd name="connsiteY468" fmla="*/ 1635423 h 1934496"/>
              <a:gd name="connsiteX469" fmla="*/ 1381504 w 9922465"/>
              <a:gd name="connsiteY469" fmla="*/ 1580232 h 1934496"/>
              <a:gd name="connsiteX470" fmla="*/ 1251210 w 9922465"/>
              <a:gd name="connsiteY470" fmla="*/ 1580232 h 1934496"/>
              <a:gd name="connsiteX471" fmla="*/ 1306401 w 9922465"/>
              <a:gd name="connsiteY471" fmla="*/ 1635423 h 1934496"/>
              <a:gd name="connsiteX472" fmla="*/ 1251210 w 9922465"/>
              <a:gd name="connsiteY472" fmla="*/ 1690614 h 1934496"/>
              <a:gd name="connsiteX473" fmla="*/ 1196016 w 9922465"/>
              <a:gd name="connsiteY473" fmla="*/ 1635423 h 1934496"/>
              <a:gd name="connsiteX474" fmla="*/ 1251210 w 9922465"/>
              <a:gd name="connsiteY474" fmla="*/ 1580232 h 1934496"/>
              <a:gd name="connsiteX475" fmla="*/ 9068806 w 9922465"/>
              <a:gd name="connsiteY475" fmla="*/ 1580228 h 1934496"/>
              <a:gd name="connsiteX476" fmla="*/ 9123998 w 9922465"/>
              <a:gd name="connsiteY476" fmla="*/ 1635419 h 1934496"/>
              <a:gd name="connsiteX477" fmla="*/ 9068806 w 9922465"/>
              <a:gd name="connsiteY477" fmla="*/ 1690610 h 1934496"/>
              <a:gd name="connsiteX478" fmla="*/ 9013614 w 9922465"/>
              <a:gd name="connsiteY478" fmla="*/ 1635419 h 1934496"/>
              <a:gd name="connsiteX479" fmla="*/ 9068806 w 9922465"/>
              <a:gd name="connsiteY479" fmla="*/ 1580228 h 1934496"/>
              <a:gd name="connsiteX480" fmla="*/ 8671243 w 9922465"/>
              <a:gd name="connsiteY480" fmla="*/ 1580228 h 1934496"/>
              <a:gd name="connsiteX481" fmla="*/ 8726435 w 9922465"/>
              <a:gd name="connsiteY481" fmla="*/ 1635419 h 1934496"/>
              <a:gd name="connsiteX482" fmla="*/ 8671243 w 9922465"/>
              <a:gd name="connsiteY482" fmla="*/ 1690610 h 1934496"/>
              <a:gd name="connsiteX483" fmla="*/ 8616051 w 9922465"/>
              <a:gd name="connsiteY483" fmla="*/ 1635419 h 1934496"/>
              <a:gd name="connsiteX484" fmla="*/ 8671243 w 9922465"/>
              <a:gd name="connsiteY484" fmla="*/ 1580228 h 1934496"/>
              <a:gd name="connsiteX485" fmla="*/ 8537609 w 9922465"/>
              <a:gd name="connsiteY485" fmla="*/ 1580228 h 1934496"/>
              <a:gd name="connsiteX486" fmla="*/ 8592801 w 9922465"/>
              <a:gd name="connsiteY486" fmla="*/ 1635419 h 1934496"/>
              <a:gd name="connsiteX487" fmla="*/ 8537609 w 9922465"/>
              <a:gd name="connsiteY487" fmla="*/ 1690610 h 1934496"/>
              <a:gd name="connsiteX488" fmla="*/ 8482417 w 9922465"/>
              <a:gd name="connsiteY488" fmla="*/ 1635419 h 1934496"/>
              <a:gd name="connsiteX489" fmla="*/ 8537609 w 9922465"/>
              <a:gd name="connsiteY489" fmla="*/ 1580228 h 1934496"/>
              <a:gd name="connsiteX490" fmla="*/ 8407318 w 9922465"/>
              <a:gd name="connsiteY490" fmla="*/ 1580228 h 1934496"/>
              <a:gd name="connsiteX491" fmla="*/ 8462510 w 9922465"/>
              <a:gd name="connsiteY491" fmla="*/ 1635419 h 1934496"/>
              <a:gd name="connsiteX492" fmla="*/ 8407318 w 9922465"/>
              <a:gd name="connsiteY492" fmla="*/ 1690610 h 1934496"/>
              <a:gd name="connsiteX493" fmla="*/ 8352126 w 9922465"/>
              <a:gd name="connsiteY493" fmla="*/ 1635419 h 1934496"/>
              <a:gd name="connsiteX494" fmla="*/ 8407318 w 9922465"/>
              <a:gd name="connsiteY494" fmla="*/ 1580228 h 1934496"/>
              <a:gd name="connsiteX495" fmla="*/ 8273682 w 9922465"/>
              <a:gd name="connsiteY495" fmla="*/ 1580228 h 1934496"/>
              <a:gd name="connsiteX496" fmla="*/ 8328874 w 9922465"/>
              <a:gd name="connsiteY496" fmla="*/ 1635419 h 1934496"/>
              <a:gd name="connsiteX497" fmla="*/ 8273682 w 9922465"/>
              <a:gd name="connsiteY497" fmla="*/ 1690610 h 1934496"/>
              <a:gd name="connsiteX498" fmla="*/ 8218490 w 9922465"/>
              <a:gd name="connsiteY498" fmla="*/ 1635419 h 1934496"/>
              <a:gd name="connsiteX499" fmla="*/ 8273682 w 9922465"/>
              <a:gd name="connsiteY499" fmla="*/ 1580228 h 1934496"/>
              <a:gd name="connsiteX500" fmla="*/ 8143386 w 9922465"/>
              <a:gd name="connsiteY500" fmla="*/ 1580228 h 1934496"/>
              <a:gd name="connsiteX501" fmla="*/ 8198578 w 9922465"/>
              <a:gd name="connsiteY501" fmla="*/ 1635419 h 1934496"/>
              <a:gd name="connsiteX502" fmla="*/ 8143386 w 9922465"/>
              <a:gd name="connsiteY502" fmla="*/ 1690610 h 1934496"/>
              <a:gd name="connsiteX503" fmla="*/ 8088194 w 9922465"/>
              <a:gd name="connsiteY503" fmla="*/ 1635419 h 1934496"/>
              <a:gd name="connsiteX504" fmla="*/ 8143386 w 9922465"/>
              <a:gd name="connsiteY504" fmla="*/ 1580228 h 1934496"/>
              <a:gd name="connsiteX505" fmla="*/ 8009752 w 9922465"/>
              <a:gd name="connsiteY505" fmla="*/ 1580228 h 1934496"/>
              <a:gd name="connsiteX506" fmla="*/ 8064944 w 9922465"/>
              <a:gd name="connsiteY506" fmla="*/ 1635419 h 1934496"/>
              <a:gd name="connsiteX507" fmla="*/ 8009752 w 9922465"/>
              <a:gd name="connsiteY507" fmla="*/ 1690610 h 1934496"/>
              <a:gd name="connsiteX508" fmla="*/ 7954560 w 9922465"/>
              <a:gd name="connsiteY508" fmla="*/ 1635419 h 1934496"/>
              <a:gd name="connsiteX509" fmla="*/ 8009752 w 9922465"/>
              <a:gd name="connsiteY509" fmla="*/ 1580228 h 1934496"/>
              <a:gd name="connsiteX510" fmla="*/ 7876117 w 9922465"/>
              <a:gd name="connsiteY510" fmla="*/ 1580228 h 1934496"/>
              <a:gd name="connsiteX511" fmla="*/ 7931309 w 9922465"/>
              <a:gd name="connsiteY511" fmla="*/ 1635419 h 1934496"/>
              <a:gd name="connsiteX512" fmla="*/ 7876117 w 9922465"/>
              <a:gd name="connsiteY512" fmla="*/ 1690610 h 1934496"/>
              <a:gd name="connsiteX513" fmla="*/ 7820925 w 9922465"/>
              <a:gd name="connsiteY513" fmla="*/ 1635419 h 1934496"/>
              <a:gd name="connsiteX514" fmla="*/ 7876117 w 9922465"/>
              <a:gd name="connsiteY514" fmla="*/ 1580228 h 1934496"/>
              <a:gd name="connsiteX515" fmla="*/ 7745824 w 9922465"/>
              <a:gd name="connsiteY515" fmla="*/ 1580228 h 1934496"/>
              <a:gd name="connsiteX516" fmla="*/ 7801016 w 9922465"/>
              <a:gd name="connsiteY516" fmla="*/ 1635419 h 1934496"/>
              <a:gd name="connsiteX517" fmla="*/ 7745824 w 9922465"/>
              <a:gd name="connsiteY517" fmla="*/ 1690610 h 1934496"/>
              <a:gd name="connsiteX518" fmla="*/ 7690632 w 9922465"/>
              <a:gd name="connsiteY518" fmla="*/ 1635419 h 1934496"/>
              <a:gd name="connsiteX519" fmla="*/ 7745824 w 9922465"/>
              <a:gd name="connsiteY519" fmla="*/ 1580228 h 1934496"/>
              <a:gd name="connsiteX520" fmla="*/ 7608849 w 9922465"/>
              <a:gd name="connsiteY520" fmla="*/ 1580228 h 1934496"/>
              <a:gd name="connsiteX521" fmla="*/ 7664041 w 9922465"/>
              <a:gd name="connsiteY521" fmla="*/ 1635419 h 1934496"/>
              <a:gd name="connsiteX522" fmla="*/ 7608849 w 9922465"/>
              <a:gd name="connsiteY522" fmla="*/ 1690610 h 1934496"/>
              <a:gd name="connsiteX523" fmla="*/ 7553657 w 9922465"/>
              <a:gd name="connsiteY523" fmla="*/ 1635419 h 1934496"/>
              <a:gd name="connsiteX524" fmla="*/ 7608849 w 9922465"/>
              <a:gd name="connsiteY524" fmla="*/ 1580228 h 1934496"/>
              <a:gd name="connsiteX525" fmla="*/ 7481895 w 9922465"/>
              <a:gd name="connsiteY525" fmla="*/ 1580228 h 1934496"/>
              <a:gd name="connsiteX526" fmla="*/ 7537087 w 9922465"/>
              <a:gd name="connsiteY526" fmla="*/ 1635419 h 1934496"/>
              <a:gd name="connsiteX527" fmla="*/ 7481895 w 9922465"/>
              <a:gd name="connsiteY527" fmla="*/ 1690610 h 1934496"/>
              <a:gd name="connsiteX528" fmla="*/ 7426703 w 9922465"/>
              <a:gd name="connsiteY528" fmla="*/ 1635419 h 1934496"/>
              <a:gd name="connsiteX529" fmla="*/ 7481895 w 9922465"/>
              <a:gd name="connsiteY529" fmla="*/ 1580228 h 1934496"/>
              <a:gd name="connsiteX530" fmla="*/ 7341579 w 9922465"/>
              <a:gd name="connsiteY530" fmla="*/ 1580228 h 1934496"/>
              <a:gd name="connsiteX531" fmla="*/ 7396771 w 9922465"/>
              <a:gd name="connsiteY531" fmla="*/ 1635419 h 1934496"/>
              <a:gd name="connsiteX532" fmla="*/ 7341579 w 9922465"/>
              <a:gd name="connsiteY532" fmla="*/ 1690610 h 1934496"/>
              <a:gd name="connsiteX533" fmla="*/ 7286387 w 9922465"/>
              <a:gd name="connsiteY533" fmla="*/ 1635419 h 1934496"/>
              <a:gd name="connsiteX534" fmla="*/ 7341579 w 9922465"/>
              <a:gd name="connsiteY534" fmla="*/ 1580228 h 1934496"/>
              <a:gd name="connsiteX535" fmla="*/ 7211286 w 9922465"/>
              <a:gd name="connsiteY535" fmla="*/ 1580228 h 1934496"/>
              <a:gd name="connsiteX536" fmla="*/ 7266478 w 9922465"/>
              <a:gd name="connsiteY536" fmla="*/ 1635419 h 1934496"/>
              <a:gd name="connsiteX537" fmla="*/ 7211286 w 9922465"/>
              <a:gd name="connsiteY537" fmla="*/ 1690610 h 1934496"/>
              <a:gd name="connsiteX538" fmla="*/ 7156094 w 9922465"/>
              <a:gd name="connsiteY538" fmla="*/ 1635419 h 1934496"/>
              <a:gd name="connsiteX539" fmla="*/ 7211286 w 9922465"/>
              <a:gd name="connsiteY539" fmla="*/ 1580228 h 1934496"/>
              <a:gd name="connsiteX540" fmla="*/ 7080993 w 9922465"/>
              <a:gd name="connsiteY540" fmla="*/ 1580228 h 1934496"/>
              <a:gd name="connsiteX541" fmla="*/ 7136185 w 9922465"/>
              <a:gd name="connsiteY541" fmla="*/ 1635419 h 1934496"/>
              <a:gd name="connsiteX542" fmla="*/ 7080993 w 9922465"/>
              <a:gd name="connsiteY542" fmla="*/ 1690610 h 1934496"/>
              <a:gd name="connsiteX543" fmla="*/ 7025801 w 9922465"/>
              <a:gd name="connsiteY543" fmla="*/ 1635419 h 1934496"/>
              <a:gd name="connsiteX544" fmla="*/ 7080993 w 9922465"/>
              <a:gd name="connsiteY544" fmla="*/ 1580228 h 1934496"/>
              <a:gd name="connsiteX545" fmla="*/ 6947357 w 9922465"/>
              <a:gd name="connsiteY545" fmla="*/ 1580228 h 1934496"/>
              <a:gd name="connsiteX546" fmla="*/ 7002549 w 9922465"/>
              <a:gd name="connsiteY546" fmla="*/ 1635419 h 1934496"/>
              <a:gd name="connsiteX547" fmla="*/ 6947357 w 9922465"/>
              <a:gd name="connsiteY547" fmla="*/ 1690610 h 1934496"/>
              <a:gd name="connsiteX548" fmla="*/ 6892165 w 9922465"/>
              <a:gd name="connsiteY548" fmla="*/ 1635419 h 1934496"/>
              <a:gd name="connsiteX549" fmla="*/ 6947357 w 9922465"/>
              <a:gd name="connsiteY549" fmla="*/ 1580228 h 1934496"/>
              <a:gd name="connsiteX550" fmla="*/ 6817063 w 9922465"/>
              <a:gd name="connsiteY550" fmla="*/ 1580228 h 1934496"/>
              <a:gd name="connsiteX551" fmla="*/ 6872255 w 9922465"/>
              <a:gd name="connsiteY551" fmla="*/ 1635419 h 1934496"/>
              <a:gd name="connsiteX552" fmla="*/ 6817063 w 9922465"/>
              <a:gd name="connsiteY552" fmla="*/ 1690610 h 1934496"/>
              <a:gd name="connsiteX553" fmla="*/ 6761871 w 9922465"/>
              <a:gd name="connsiteY553" fmla="*/ 1635419 h 1934496"/>
              <a:gd name="connsiteX554" fmla="*/ 6817063 w 9922465"/>
              <a:gd name="connsiteY554" fmla="*/ 1580228 h 1934496"/>
              <a:gd name="connsiteX555" fmla="*/ 6683431 w 9922465"/>
              <a:gd name="connsiteY555" fmla="*/ 1580228 h 1934496"/>
              <a:gd name="connsiteX556" fmla="*/ 6738623 w 9922465"/>
              <a:gd name="connsiteY556" fmla="*/ 1635419 h 1934496"/>
              <a:gd name="connsiteX557" fmla="*/ 6683431 w 9922465"/>
              <a:gd name="connsiteY557" fmla="*/ 1690610 h 1934496"/>
              <a:gd name="connsiteX558" fmla="*/ 6628239 w 9922465"/>
              <a:gd name="connsiteY558" fmla="*/ 1635419 h 1934496"/>
              <a:gd name="connsiteX559" fmla="*/ 6683431 w 9922465"/>
              <a:gd name="connsiteY559" fmla="*/ 1580228 h 1934496"/>
              <a:gd name="connsiteX560" fmla="*/ 6553137 w 9922465"/>
              <a:gd name="connsiteY560" fmla="*/ 1580228 h 1934496"/>
              <a:gd name="connsiteX561" fmla="*/ 6608329 w 9922465"/>
              <a:gd name="connsiteY561" fmla="*/ 1635419 h 1934496"/>
              <a:gd name="connsiteX562" fmla="*/ 6553137 w 9922465"/>
              <a:gd name="connsiteY562" fmla="*/ 1690610 h 1934496"/>
              <a:gd name="connsiteX563" fmla="*/ 6497945 w 9922465"/>
              <a:gd name="connsiteY563" fmla="*/ 1635419 h 1934496"/>
              <a:gd name="connsiteX564" fmla="*/ 6553137 w 9922465"/>
              <a:gd name="connsiteY564" fmla="*/ 1580228 h 1934496"/>
              <a:gd name="connsiteX565" fmla="*/ 6419502 w 9922465"/>
              <a:gd name="connsiteY565" fmla="*/ 1580228 h 1934496"/>
              <a:gd name="connsiteX566" fmla="*/ 6474694 w 9922465"/>
              <a:gd name="connsiteY566" fmla="*/ 1635419 h 1934496"/>
              <a:gd name="connsiteX567" fmla="*/ 6419502 w 9922465"/>
              <a:gd name="connsiteY567" fmla="*/ 1690610 h 1934496"/>
              <a:gd name="connsiteX568" fmla="*/ 6364310 w 9922465"/>
              <a:gd name="connsiteY568" fmla="*/ 1635419 h 1934496"/>
              <a:gd name="connsiteX569" fmla="*/ 6419502 w 9922465"/>
              <a:gd name="connsiteY569" fmla="*/ 1580228 h 1934496"/>
              <a:gd name="connsiteX570" fmla="*/ 6289208 w 9922465"/>
              <a:gd name="connsiteY570" fmla="*/ 1580228 h 1934496"/>
              <a:gd name="connsiteX571" fmla="*/ 6344400 w 9922465"/>
              <a:gd name="connsiteY571" fmla="*/ 1635419 h 1934496"/>
              <a:gd name="connsiteX572" fmla="*/ 6289208 w 9922465"/>
              <a:gd name="connsiteY572" fmla="*/ 1690610 h 1934496"/>
              <a:gd name="connsiteX573" fmla="*/ 6234016 w 9922465"/>
              <a:gd name="connsiteY573" fmla="*/ 1635419 h 1934496"/>
              <a:gd name="connsiteX574" fmla="*/ 6289208 w 9922465"/>
              <a:gd name="connsiteY574" fmla="*/ 1580228 h 1934496"/>
              <a:gd name="connsiteX575" fmla="*/ 6155572 w 9922465"/>
              <a:gd name="connsiteY575" fmla="*/ 1580228 h 1934496"/>
              <a:gd name="connsiteX576" fmla="*/ 6210764 w 9922465"/>
              <a:gd name="connsiteY576" fmla="*/ 1635419 h 1934496"/>
              <a:gd name="connsiteX577" fmla="*/ 6155572 w 9922465"/>
              <a:gd name="connsiteY577" fmla="*/ 1690610 h 1934496"/>
              <a:gd name="connsiteX578" fmla="*/ 6100380 w 9922465"/>
              <a:gd name="connsiteY578" fmla="*/ 1635419 h 1934496"/>
              <a:gd name="connsiteX579" fmla="*/ 6155572 w 9922465"/>
              <a:gd name="connsiteY579" fmla="*/ 1580228 h 1934496"/>
              <a:gd name="connsiteX580" fmla="*/ 6021938 w 9922465"/>
              <a:gd name="connsiteY580" fmla="*/ 1580228 h 1934496"/>
              <a:gd name="connsiteX581" fmla="*/ 6077130 w 9922465"/>
              <a:gd name="connsiteY581" fmla="*/ 1635419 h 1934496"/>
              <a:gd name="connsiteX582" fmla="*/ 6021938 w 9922465"/>
              <a:gd name="connsiteY582" fmla="*/ 1690610 h 1934496"/>
              <a:gd name="connsiteX583" fmla="*/ 5966746 w 9922465"/>
              <a:gd name="connsiteY583" fmla="*/ 1635419 h 1934496"/>
              <a:gd name="connsiteX584" fmla="*/ 6021938 w 9922465"/>
              <a:gd name="connsiteY584" fmla="*/ 1580228 h 1934496"/>
              <a:gd name="connsiteX585" fmla="*/ 5884964 w 9922465"/>
              <a:gd name="connsiteY585" fmla="*/ 1580228 h 1934496"/>
              <a:gd name="connsiteX586" fmla="*/ 5940156 w 9922465"/>
              <a:gd name="connsiteY586" fmla="*/ 1635419 h 1934496"/>
              <a:gd name="connsiteX587" fmla="*/ 5884964 w 9922465"/>
              <a:gd name="connsiteY587" fmla="*/ 1690610 h 1934496"/>
              <a:gd name="connsiteX588" fmla="*/ 5829772 w 9922465"/>
              <a:gd name="connsiteY588" fmla="*/ 1635419 h 1934496"/>
              <a:gd name="connsiteX589" fmla="*/ 5884964 w 9922465"/>
              <a:gd name="connsiteY589" fmla="*/ 1580228 h 1934496"/>
              <a:gd name="connsiteX590" fmla="*/ 5754670 w 9922465"/>
              <a:gd name="connsiteY590" fmla="*/ 1580228 h 1934496"/>
              <a:gd name="connsiteX591" fmla="*/ 5809862 w 9922465"/>
              <a:gd name="connsiteY591" fmla="*/ 1635419 h 1934496"/>
              <a:gd name="connsiteX592" fmla="*/ 5754670 w 9922465"/>
              <a:gd name="connsiteY592" fmla="*/ 1690610 h 1934496"/>
              <a:gd name="connsiteX593" fmla="*/ 5699478 w 9922465"/>
              <a:gd name="connsiteY593" fmla="*/ 1635419 h 1934496"/>
              <a:gd name="connsiteX594" fmla="*/ 5754670 w 9922465"/>
              <a:gd name="connsiteY594" fmla="*/ 1580228 h 1934496"/>
              <a:gd name="connsiteX595" fmla="*/ 5621035 w 9922465"/>
              <a:gd name="connsiteY595" fmla="*/ 1580228 h 1934496"/>
              <a:gd name="connsiteX596" fmla="*/ 5676227 w 9922465"/>
              <a:gd name="connsiteY596" fmla="*/ 1635419 h 1934496"/>
              <a:gd name="connsiteX597" fmla="*/ 5621035 w 9922465"/>
              <a:gd name="connsiteY597" fmla="*/ 1690610 h 1934496"/>
              <a:gd name="connsiteX598" fmla="*/ 5565843 w 9922465"/>
              <a:gd name="connsiteY598" fmla="*/ 1635419 h 1934496"/>
              <a:gd name="connsiteX599" fmla="*/ 5621035 w 9922465"/>
              <a:gd name="connsiteY599" fmla="*/ 1580228 h 1934496"/>
              <a:gd name="connsiteX600" fmla="*/ 5357105 w 9922465"/>
              <a:gd name="connsiteY600" fmla="*/ 1580228 h 1934496"/>
              <a:gd name="connsiteX601" fmla="*/ 5412297 w 9922465"/>
              <a:gd name="connsiteY601" fmla="*/ 1635419 h 1934496"/>
              <a:gd name="connsiteX602" fmla="*/ 5357105 w 9922465"/>
              <a:gd name="connsiteY602" fmla="*/ 1690610 h 1934496"/>
              <a:gd name="connsiteX603" fmla="*/ 5301913 w 9922465"/>
              <a:gd name="connsiteY603" fmla="*/ 1635419 h 1934496"/>
              <a:gd name="connsiteX604" fmla="*/ 5357105 w 9922465"/>
              <a:gd name="connsiteY604" fmla="*/ 1580228 h 1934496"/>
              <a:gd name="connsiteX605" fmla="*/ 5223473 w 9922465"/>
              <a:gd name="connsiteY605" fmla="*/ 1580228 h 1934496"/>
              <a:gd name="connsiteX606" fmla="*/ 5278665 w 9922465"/>
              <a:gd name="connsiteY606" fmla="*/ 1635419 h 1934496"/>
              <a:gd name="connsiteX607" fmla="*/ 5223473 w 9922465"/>
              <a:gd name="connsiteY607" fmla="*/ 1690610 h 1934496"/>
              <a:gd name="connsiteX608" fmla="*/ 5168281 w 9922465"/>
              <a:gd name="connsiteY608" fmla="*/ 1635419 h 1934496"/>
              <a:gd name="connsiteX609" fmla="*/ 5223473 w 9922465"/>
              <a:gd name="connsiteY609" fmla="*/ 1580228 h 1934496"/>
              <a:gd name="connsiteX610" fmla="*/ 5093178 w 9922465"/>
              <a:gd name="connsiteY610" fmla="*/ 1580228 h 1934496"/>
              <a:gd name="connsiteX611" fmla="*/ 5148370 w 9922465"/>
              <a:gd name="connsiteY611" fmla="*/ 1635419 h 1934496"/>
              <a:gd name="connsiteX612" fmla="*/ 5093178 w 9922465"/>
              <a:gd name="connsiteY612" fmla="*/ 1690610 h 1934496"/>
              <a:gd name="connsiteX613" fmla="*/ 5037986 w 9922465"/>
              <a:gd name="connsiteY613" fmla="*/ 1635419 h 1934496"/>
              <a:gd name="connsiteX614" fmla="*/ 5093178 w 9922465"/>
              <a:gd name="connsiteY614" fmla="*/ 1580228 h 1934496"/>
              <a:gd name="connsiteX615" fmla="*/ 4959543 w 9922465"/>
              <a:gd name="connsiteY615" fmla="*/ 1580228 h 1934496"/>
              <a:gd name="connsiteX616" fmla="*/ 5014735 w 9922465"/>
              <a:gd name="connsiteY616" fmla="*/ 1635419 h 1934496"/>
              <a:gd name="connsiteX617" fmla="*/ 4959543 w 9922465"/>
              <a:gd name="connsiteY617" fmla="*/ 1690610 h 1934496"/>
              <a:gd name="connsiteX618" fmla="*/ 4904351 w 9922465"/>
              <a:gd name="connsiteY618" fmla="*/ 1635419 h 1934496"/>
              <a:gd name="connsiteX619" fmla="*/ 4959543 w 9922465"/>
              <a:gd name="connsiteY619" fmla="*/ 1580228 h 1934496"/>
              <a:gd name="connsiteX620" fmla="*/ 4829251 w 9922465"/>
              <a:gd name="connsiteY620" fmla="*/ 1580228 h 1934496"/>
              <a:gd name="connsiteX621" fmla="*/ 4884443 w 9922465"/>
              <a:gd name="connsiteY621" fmla="*/ 1635419 h 1934496"/>
              <a:gd name="connsiteX622" fmla="*/ 4829251 w 9922465"/>
              <a:gd name="connsiteY622" fmla="*/ 1690610 h 1934496"/>
              <a:gd name="connsiteX623" fmla="*/ 4774059 w 9922465"/>
              <a:gd name="connsiteY623" fmla="*/ 1635419 h 1934496"/>
              <a:gd name="connsiteX624" fmla="*/ 4829251 w 9922465"/>
              <a:gd name="connsiteY624" fmla="*/ 1580228 h 1934496"/>
              <a:gd name="connsiteX625" fmla="*/ 4695613 w 9922465"/>
              <a:gd name="connsiteY625" fmla="*/ 1580228 h 1934496"/>
              <a:gd name="connsiteX626" fmla="*/ 4750805 w 9922465"/>
              <a:gd name="connsiteY626" fmla="*/ 1635419 h 1934496"/>
              <a:gd name="connsiteX627" fmla="*/ 4695613 w 9922465"/>
              <a:gd name="connsiteY627" fmla="*/ 1690610 h 1934496"/>
              <a:gd name="connsiteX628" fmla="*/ 4640421 w 9922465"/>
              <a:gd name="connsiteY628" fmla="*/ 1635419 h 1934496"/>
              <a:gd name="connsiteX629" fmla="*/ 4695613 w 9922465"/>
              <a:gd name="connsiteY629" fmla="*/ 1580228 h 1934496"/>
              <a:gd name="connsiteX630" fmla="*/ 4565322 w 9922465"/>
              <a:gd name="connsiteY630" fmla="*/ 1580228 h 1934496"/>
              <a:gd name="connsiteX631" fmla="*/ 4620514 w 9922465"/>
              <a:gd name="connsiteY631" fmla="*/ 1635419 h 1934496"/>
              <a:gd name="connsiteX632" fmla="*/ 4565322 w 9922465"/>
              <a:gd name="connsiteY632" fmla="*/ 1690610 h 1934496"/>
              <a:gd name="connsiteX633" fmla="*/ 4510130 w 9922465"/>
              <a:gd name="connsiteY633" fmla="*/ 1635419 h 1934496"/>
              <a:gd name="connsiteX634" fmla="*/ 4565322 w 9922465"/>
              <a:gd name="connsiteY634" fmla="*/ 1580228 h 1934496"/>
              <a:gd name="connsiteX635" fmla="*/ 3098681 w 9922465"/>
              <a:gd name="connsiteY635" fmla="*/ 1580228 h 1934496"/>
              <a:gd name="connsiteX636" fmla="*/ 3153873 w 9922465"/>
              <a:gd name="connsiteY636" fmla="*/ 1635419 h 1934496"/>
              <a:gd name="connsiteX637" fmla="*/ 3098681 w 9922465"/>
              <a:gd name="connsiteY637" fmla="*/ 1690610 h 1934496"/>
              <a:gd name="connsiteX638" fmla="*/ 3043489 w 9922465"/>
              <a:gd name="connsiteY638" fmla="*/ 1635419 h 1934496"/>
              <a:gd name="connsiteX639" fmla="*/ 3098681 w 9922465"/>
              <a:gd name="connsiteY639" fmla="*/ 1580228 h 1934496"/>
              <a:gd name="connsiteX640" fmla="*/ 2971729 w 9922465"/>
              <a:gd name="connsiteY640" fmla="*/ 1580228 h 1934496"/>
              <a:gd name="connsiteX641" fmla="*/ 3026921 w 9922465"/>
              <a:gd name="connsiteY641" fmla="*/ 1635419 h 1934496"/>
              <a:gd name="connsiteX642" fmla="*/ 2971729 w 9922465"/>
              <a:gd name="connsiteY642" fmla="*/ 1690610 h 1934496"/>
              <a:gd name="connsiteX643" fmla="*/ 2916537 w 9922465"/>
              <a:gd name="connsiteY643" fmla="*/ 1635419 h 1934496"/>
              <a:gd name="connsiteX644" fmla="*/ 2971729 w 9922465"/>
              <a:gd name="connsiteY644" fmla="*/ 1580228 h 1934496"/>
              <a:gd name="connsiteX645" fmla="*/ 2834783 w 9922465"/>
              <a:gd name="connsiteY645" fmla="*/ 1580228 h 1934496"/>
              <a:gd name="connsiteX646" fmla="*/ 2889974 w 9922465"/>
              <a:gd name="connsiteY646" fmla="*/ 1635419 h 1934496"/>
              <a:gd name="connsiteX647" fmla="*/ 2834783 w 9922465"/>
              <a:gd name="connsiteY647" fmla="*/ 1690610 h 1934496"/>
              <a:gd name="connsiteX648" fmla="*/ 2779590 w 9922465"/>
              <a:gd name="connsiteY648" fmla="*/ 1635419 h 1934496"/>
              <a:gd name="connsiteX649" fmla="*/ 2834783 w 9922465"/>
              <a:gd name="connsiteY649" fmla="*/ 1580228 h 1934496"/>
              <a:gd name="connsiteX650" fmla="*/ 2707828 w 9922465"/>
              <a:gd name="connsiteY650" fmla="*/ 1580228 h 1934496"/>
              <a:gd name="connsiteX651" fmla="*/ 2763021 w 9922465"/>
              <a:gd name="connsiteY651" fmla="*/ 1635419 h 1934496"/>
              <a:gd name="connsiteX652" fmla="*/ 2707828 w 9922465"/>
              <a:gd name="connsiteY652" fmla="*/ 1690610 h 1934496"/>
              <a:gd name="connsiteX653" fmla="*/ 2652636 w 9922465"/>
              <a:gd name="connsiteY653" fmla="*/ 1635419 h 1934496"/>
              <a:gd name="connsiteX654" fmla="*/ 2707828 w 9922465"/>
              <a:gd name="connsiteY654" fmla="*/ 1580228 h 1934496"/>
              <a:gd name="connsiteX655" fmla="*/ 2570854 w 9922465"/>
              <a:gd name="connsiteY655" fmla="*/ 1580228 h 1934496"/>
              <a:gd name="connsiteX656" fmla="*/ 2626046 w 9922465"/>
              <a:gd name="connsiteY656" fmla="*/ 1635419 h 1934496"/>
              <a:gd name="connsiteX657" fmla="*/ 2570854 w 9922465"/>
              <a:gd name="connsiteY657" fmla="*/ 1690610 h 1934496"/>
              <a:gd name="connsiteX658" fmla="*/ 2515662 w 9922465"/>
              <a:gd name="connsiteY658" fmla="*/ 1635419 h 1934496"/>
              <a:gd name="connsiteX659" fmla="*/ 2570854 w 9922465"/>
              <a:gd name="connsiteY659" fmla="*/ 1580228 h 1934496"/>
              <a:gd name="connsiteX660" fmla="*/ 2437218 w 9922465"/>
              <a:gd name="connsiteY660" fmla="*/ 1580228 h 1934496"/>
              <a:gd name="connsiteX661" fmla="*/ 2492409 w 9922465"/>
              <a:gd name="connsiteY661" fmla="*/ 1635419 h 1934496"/>
              <a:gd name="connsiteX662" fmla="*/ 2437218 w 9922465"/>
              <a:gd name="connsiteY662" fmla="*/ 1690610 h 1934496"/>
              <a:gd name="connsiteX663" fmla="*/ 2382026 w 9922465"/>
              <a:gd name="connsiteY663" fmla="*/ 1635419 h 1934496"/>
              <a:gd name="connsiteX664" fmla="*/ 2437218 w 9922465"/>
              <a:gd name="connsiteY664" fmla="*/ 1580228 h 1934496"/>
              <a:gd name="connsiteX665" fmla="*/ 2303586 w 9922465"/>
              <a:gd name="connsiteY665" fmla="*/ 1580228 h 1934496"/>
              <a:gd name="connsiteX666" fmla="*/ 2358778 w 9922465"/>
              <a:gd name="connsiteY666" fmla="*/ 1635419 h 1934496"/>
              <a:gd name="connsiteX667" fmla="*/ 2303586 w 9922465"/>
              <a:gd name="connsiteY667" fmla="*/ 1690610 h 1934496"/>
              <a:gd name="connsiteX668" fmla="*/ 2248394 w 9922465"/>
              <a:gd name="connsiteY668" fmla="*/ 1635419 h 1934496"/>
              <a:gd name="connsiteX669" fmla="*/ 2303586 w 9922465"/>
              <a:gd name="connsiteY669" fmla="*/ 1580228 h 1934496"/>
              <a:gd name="connsiteX670" fmla="*/ 2173293 w 9922465"/>
              <a:gd name="connsiteY670" fmla="*/ 1580228 h 1934496"/>
              <a:gd name="connsiteX671" fmla="*/ 2228486 w 9922465"/>
              <a:gd name="connsiteY671" fmla="*/ 1635419 h 1934496"/>
              <a:gd name="connsiteX672" fmla="*/ 2173293 w 9922465"/>
              <a:gd name="connsiteY672" fmla="*/ 1690610 h 1934496"/>
              <a:gd name="connsiteX673" fmla="*/ 2118101 w 9922465"/>
              <a:gd name="connsiteY673" fmla="*/ 1635419 h 1934496"/>
              <a:gd name="connsiteX674" fmla="*/ 2173293 w 9922465"/>
              <a:gd name="connsiteY674" fmla="*/ 1580228 h 1934496"/>
              <a:gd name="connsiteX675" fmla="*/ 2039658 w 9922465"/>
              <a:gd name="connsiteY675" fmla="*/ 1580228 h 1934496"/>
              <a:gd name="connsiteX676" fmla="*/ 2094851 w 9922465"/>
              <a:gd name="connsiteY676" fmla="*/ 1635419 h 1934496"/>
              <a:gd name="connsiteX677" fmla="*/ 2039658 w 9922465"/>
              <a:gd name="connsiteY677" fmla="*/ 1690610 h 1934496"/>
              <a:gd name="connsiteX678" fmla="*/ 1984465 w 9922465"/>
              <a:gd name="connsiteY678" fmla="*/ 1635419 h 1934496"/>
              <a:gd name="connsiteX679" fmla="*/ 2039658 w 9922465"/>
              <a:gd name="connsiteY679" fmla="*/ 1580228 h 1934496"/>
              <a:gd name="connsiteX680" fmla="*/ 9068807 w 9922465"/>
              <a:gd name="connsiteY680" fmla="*/ 1459958 h 1934496"/>
              <a:gd name="connsiteX681" fmla="*/ 9123999 w 9922465"/>
              <a:gd name="connsiteY681" fmla="*/ 1515149 h 1934496"/>
              <a:gd name="connsiteX682" fmla="*/ 9068807 w 9922465"/>
              <a:gd name="connsiteY682" fmla="*/ 1570340 h 1934496"/>
              <a:gd name="connsiteX683" fmla="*/ 9013615 w 9922465"/>
              <a:gd name="connsiteY683" fmla="*/ 1515149 h 1934496"/>
              <a:gd name="connsiteX684" fmla="*/ 9068807 w 9922465"/>
              <a:gd name="connsiteY684" fmla="*/ 1459958 h 1934496"/>
              <a:gd name="connsiteX685" fmla="*/ 8671244 w 9922465"/>
              <a:gd name="connsiteY685" fmla="*/ 1459958 h 1934496"/>
              <a:gd name="connsiteX686" fmla="*/ 8726436 w 9922465"/>
              <a:gd name="connsiteY686" fmla="*/ 1515149 h 1934496"/>
              <a:gd name="connsiteX687" fmla="*/ 8671244 w 9922465"/>
              <a:gd name="connsiteY687" fmla="*/ 1570340 h 1934496"/>
              <a:gd name="connsiteX688" fmla="*/ 8616052 w 9922465"/>
              <a:gd name="connsiteY688" fmla="*/ 1515149 h 1934496"/>
              <a:gd name="connsiteX689" fmla="*/ 8671244 w 9922465"/>
              <a:gd name="connsiteY689" fmla="*/ 1459958 h 1934496"/>
              <a:gd name="connsiteX690" fmla="*/ 8537612 w 9922465"/>
              <a:gd name="connsiteY690" fmla="*/ 1459958 h 1934496"/>
              <a:gd name="connsiteX691" fmla="*/ 8592804 w 9922465"/>
              <a:gd name="connsiteY691" fmla="*/ 1515149 h 1934496"/>
              <a:gd name="connsiteX692" fmla="*/ 8537612 w 9922465"/>
              <a:gd name="connsiteY692" fmla="*/ 1570340 h 1934496"/>
              <a:gd name="connsiteX693" fmla="*/ 8482420 w 9922465"/>
              <a:gd name="connsiteY693" fmla="*/ 1515149 h 1934496"/>
              <a:gd name="connsiteX694" fmla="*/ 8537612 w 9922465"/>
              <a:gd name="connsiteY694" fmla="*/ 1459958 h 1934496"/>
              <a:gd name="connsiteX695" fmla="*/ 8407316 w 9922465"/>
              <a:gd name="connsiteY695" fmla="*/ 1459958 h 1934496"/>
              <a:gd name="connsiteX696" fmla="*/ 8462508 w 9922465"/>
              <a:gd name="connsiteY696" fmla="*/ 1515149 h 1934496"/>
              <a:gd name="connsiteX697" fmla="*/ 8407316 w 9922465"/>
              <a:gd name="connsiteY697" fmla="*/ 1570340 h 1934496"/>
              <a:gd name="connsiteX698" fmla="*/ 8352124 w 9922465"/>
              <a:gd name="connsiteY698" fmla="*/ 1515149 h 1934496"/>
              <a:gd name="connsiteX699" fmla="*/ 8407316 w 9922465"/>
              <a:gd name="connsiteY699" fmla="*/ 1459958 h 1934496"/>
              <a:gd name="connsiteX700" fmla="*/ 8273682 w 9922465"/>
              <a:gd name="connsiteY700" fmla="*/ 1459958 h 1934496"/>
              <a:gd name="connsiteX701" fmla="*/ 8328874 w 9922465"/>
              <a:gd name="connsiteY701" fmla="*/ 1515149 h 1934496"/>
              <a:gd name="connsiteX702" fmla="*/ 8273682 w 9922465"/>
              <a:gd name="connsiteY702" fmla="*/ 1570340 h 1934496"/>
              <a:gd name="connsiteX703" fmla="*/ 8218490 w 9922465"/>
              <a:gd name="connsiteY703" fmla="*/ 1515149 h 1934496"/>
              <a:gd name="connsiteX704" fmla="*/ 8273682 w 9922465"/>
              <a:gd name="connsiteY704" fmla="*/ 1459958 h 1934496"/>
              <a:gd name="connsiteX705" fmla="*/ 8143388 w 9922465"/>
              <a:gd name="connsiteY705" fmla="*/ 1459958 h 1934496"/>
              <a:gd name="connsiteX706" fmla="*/ 8198580 w 9922465"/>
              <a:gd name="connsiteY706" fmla="*/ 1515149 h 1934496"/>
              <a:gd name="connsiteX707" fmla="*/ 8143388 w 9922465"/>
              <a:gd name="connsiteY707" fmla="*/ 1570340 h 1934496"/>
              <a:gd name="connsiteX708" fmla="*/ 8088196 w 9922465"/>
              <a:gd name="connsiteY708" fmla="*/ 1515149 h 1934496"/>
              <a:gd name="connsiteX709" fmla="*/ 8143388 w 9922465"/>
              <a:gd name="connsiteY709" fmla="*/ 1459958 h 1934496"/>
              <a:gd name="connsiteX710" fmla="*/ 8009753 w 9922465"/>
              <a:gd name="connsiteY710" fmla="*/ 1459958 h 1934496"/>
              <a:gd name="connsiteX711" fmla="*/ 8064945 w 9922465"/>
              <a:gd name="connsiteY711" fmla="*/ 1515149 h 1934496"/>
              <a:gd name="connsiteX712" fmla="*/ 8009753 w 9922465"/>
              <a:gd name="connsiteY712" fmla="*/ 1570340 h 1934496"/>
              <a:gd name="connsiteX713" fmla="*/ 7954561 w 9922465"/>
              <a:gd name="connsiteY713" fmla="*/ 1515149 h 1934496"/>
              <a:gd name="connsiteX714" fmla="*/ 8009753 w 9922465"/>
              <a:gd name="connsiteY714" fmla="*/ 1459958 h 1934496"/>
              <a:gd name="connsiteX715" fmla="*/ 7876118 w 9922465"/>
              <a:gd name="connsiteY715" fmla="*/ 1459958 h 1934496"/>
              <a:gd name="connsiteX716" fmla="*/ 7931310 w 9922465"/>
              <a:gd name="connsiteY716" fmla="*/ 1515149 h 1934496"/>
              <a:gd name="connsiteX717" fmla="*/ 7876118 w 9922465"/>
              <a:gd name="connsiteY717" fmla="*/ 1570340 h 1934496"/>
              <a:gd name="connsiteX718" fmla="*/ 7820926 w 9922465"/>
              <a:gd name="connsiteY718" fmla="*/ 1515149 h 1934496"/>
              <a:gd name="connsiteX719" fmla="*/ 7876118 w 9922465"/>
              <a:gd name="connsiteY719" fmla="*/ 1459958 h 1934496"/>
              <a:gd name="connsiteX720" fmla="*/ 7745823 w 9922465"/>
              <a:gd name="connsiteY720" fmla="*/ 1459958 h 1934496"/>
              <a:gd name="connsiteX721" fmla="*/ 7801015 w 9922465"/>
              <a:gd name="connsiteY721" fmla="*/ 1515149 h 1934496"/>
              <a:gd name="connsiteX722" fmla="*/ 7745823 w 9922465"/>
              <a:gd name="connsiteY722" fmla="*/ 1570340 h 1934496"/>
              <a:gd name="connsiteX723" fmla="*/ 7690631 w 9922465"/>
              <a:gd name="connsiteY723" fmla="*/ 1515149 h 1934496"/>
              <a:gd name="connsiteX724" fmla="*/ 7745823 w 9922465"/>
              <a:gd name="connsiteY724" fmla="*/ 1459958 h 1934496"/>
              <a:gd name="connsiteX725" fmla="*/ 7608849 w 9922465"/>
              <a:gd name="connsiteY725" fmla="*/ 1459958 h 1934496"/>
              <a:gd name="connsiteX726" fmla="*/ 7664041 w 9922465"/>
              <a:gd name="connsiteY726" fmla="*/ 1515149 h 1934496"/>
              <a:gd name="connsiteX727" fmla="*/ 7608849 w 9922465"/>
              <a:gd name="connsiteY727" fmla="*/ 1570340 h 1934496"/>
              <a:gd name="connsiteX728" fmla="*/ 7553657 w 9922465"/>
              <a:gd name="connsiteY728" fmla="*/ 1515149 h 1934496"/>
              <a:gd name="connsiteX729" fmla="*/ 7608849 w 9922465"/>
              <a:gd name="connsiteY729" fmla="*/ 1459958 h 1934496"/>
              <a:gd name="connsiteX730" fmla="*/ 7481897 w 9922465"/>
              <a:gd name="connsiteY730" fmla="*/ 1459958 h 1934496"/>
              <a:gd name="connsiteX731" fmla="*/ 7537089 w 9922465"/>
              <a:gd name="connsiteY731" fmla="*/ 1515149 h 1934496"/>
              <a:gd name="connsiteX732" fmla="*/ 7481897 w 9922465"/>
              <a:gd name="connsiteY732" fmla="*/ 1570340 h 1934496"/>
              <a:gd name="connsiteX733" fmla="*/ 7426705 w 9922465"/>
              <a:gd name="connsiteY733" fmla="*/ 1515149 h 1934496"/>
              <a:gd name="connsiteX734" fmla="*/ 7481897 w 9922465"/>
              <a:gd name="connsiteY734" fmla="*/ 1459958 h 1934496"/>
              <a:gd name="connsiteX735" fmla="*/ 7341579 w 9922465"/>
              <a:gd name="connsiteY735" fmla="*/ 1459958 h 1934496"/>
              <a:gd name="connsiteX736" fmla="*/ 7396771 w 9922465"/>
              <a:gd name="connsiteY736" fmla="*/ 1515149 h 1934496"/>
              <a:gd name="connsiteX737" fmla="*/ 7341579 w 9922465"/>
              <a:gd name="connsiteY737" fmla="*/ 1570340 h 1934496"/>
              <a:gd name="connsiteX738" fmla="*/ 7286387 w 9922465"/>
              <a:gd name="connsiteY738" fmla="*/ 1515149 h 1934496"/>
              <a:gd name="connsiteX739" fmla="*/ 7341579 w 9922465"/>
              <a:gd name="connsiteY739" fmla="*/ 1459958 h 1934496"/>
              <a:gd name="connsiteX740" fmla="*/ 7211286 w 9922465"/>
              <a:gd name="connsiteY740" fmla="*/ 1459958 h 1934496"/>
              <a:gd name="connsiteX741" fmla="*/ 7266478 w 9922465"/>
              <a:gd name="connsiteY741" fmla="*/ 1515149 h 1934496"/>
              <a:gd name="connsiteX742" fmla="*/ 7211286 w 9922465"/>
              <a:gd name="connsiteY742" fmla="*/ 1570340 h 1934496"/>
              <a:gd name="connsiteX743" fmla="*/ 7156094 w 9922465"/>
              <a:gd name="connsiteY743" fmla="*/ 1515149 h 1934496"/>
              <a:gd name="connsiteX744" fmla="*/ 7211286 w 9922465"/>
              <a:gd name="connsiteY744" fmla="*/ 1459958 h 1934496"/>
              <a:gd name="connsiteX745" fmla="*/ 7080993 w 9922465"/>
              <a:gd name="connsiteY745" fmla="*/ 1459958 h 1934496"/>
              <a:gd name="connsiteX746" fmla="*/ 7136185 w 9922465"/>
              <a:gd name="connsiteY746" fmla="*/ 1515149 h 1934496"/>
              <a:gd name="connsiteX747" fmla="*/ 7080993 w 9922465"/>
              <a:gd name="connsiteY747" fmla="*/ 1570340 h 1934496"/>
              <a:gd name="connsiteX748" fmla="*/ 7025801 w 9922465"/>
              <a:gd name="connsiteY748" fmla="*/ 1515149 h 1934496"/>
              <a:gd name="connsiteX749" fmla="*/ 7080993 w 9922465"/>
              <a:gd name="connsiteY749" fmla="*/ 1459958 h 1934496"/>
              <a:gd name="connsiteX750" fmla="*/ 6947357 w 9922465"/>
              <a:gd name="connsiteY750" fmla="*/ 1459958 h 1934496"/>
              <a:gd name="connsiteX751" fmla="*/ 7002549 w 9922465"/>
              <a:gd name="connsiteY751" fmla="*/ 1515149 h 1934496"/>
              <a:gd name="connsiteX752" fmla="*/ 6947357 w 9922465"/>
              <a:gd name="connsiteY752" fmla="*/ 1570340 h 1934496"/>
              <a:gd name="connsiteX753" fmla="*/ 6892165 w 9922465"/>
              <a:gd name="connsiteY753" fmla="*/ 1515149 h 1934496"/>
              <a:gd name="connsiteX754" fmla="*/ 6947357 w 9922465"/>
              <a:gd name="connsiteY754" fmla="*/ 1459958 h 1934496"/>
              <a:gd name="connsiteX755" fmla="*/ 6817064 w 9922465"/>
              <a:gd name="connsiteY755" fmla="*/ 1459958 h 1934496"/>
              <a:gd name="connsiteX756" fmla="*/ 6872256 w 9922465"/>
              <a:gd name="connsiteY756" fmla="*/ 1515149 h 1934496"/>
              <a:gd name="connsiteX757" fmla="*/ 6817064 w 9922465"/>
              <a:gd name="connsiteY757" fmla="*/ 1570340 h 1934496"/>
              <a:gd name="connsiteX758" fmla="*/ 6761872 w 9922465"/>
              <a:gd name="connsiteY758" fmla="*/ 1515149 h 1934496"/>
              <a:gd name="connsiteX759" fmla="*/ 6817064 w 9922465"/>
              <a:gd name="connsiteY759" fmla="*/ 1459958 h 1934496"/>
              <a:gd name="connsiteX760" fmla="*/ 6683431 w 9922465"/>
              <a:gd name="connsiteY760" fmla="*/ 1459958 h 1934496"/>
              <a:gd name="connsiteX761" fmla="*/ 6738623 w 9922465"/>
              <a:gd name="connsiteY761" fmla="*/ 1515149 h 1934496"/>
              <a:gd name="connsiteX762" fmla="*/ 6683431 w 9922465"/>
              <a:gd name="connsiteY762" fmla="*/ 1570340 h 1934496"/>
              <a:gd name="connsiteX763" fmla="*/ 6628239 w 9922465"/>
              <a:gd name="connsiteY763" fmla="*/ 1515149 h 1934496"/>
              <a:gd name="connsiteX764" fmla="*/ 6683431 w 9922465"/>
              <a:gd name="connsiteY764" fmla="*/ 1459958 h 1934496"/>
              <a:gd name="connsiteX765" fmla="*/ 6553137 w 9922465"/>
              <a:gd name="connsiteY765" fmla="*/ 1459958 h 1934496"/>
              <a:gd name="connsiteX766" fmla="*/ 6608329 w 9922465"/>
              <a:gd name="connsiteY766" fmla="*/ 1515149 h 1934496"/>
              <a:gd name="connsiteX767" fmla="*/ 6553137 w 9922465"/>
              <a:gd name="connsiteY767" fmla="*/ 1570340 h 1934496"/>
              <a:gd name="connsiteX768" fmla="*/ 6497945 w 9922465"/>
              <a:gd name="connsiteY768" fmla="*/ 1515149 h 1934496"/>
              <a:gd name="connsiteX769" fmla="*/ 6553137 w 9922465"/>
              <a:gd name="connsiteY769" fmla="*/ 1459958 h 1934496"/>
              <a:gd name="connsiteX770" fmla="*/ 6419502 w 9922465"/>
              <a:gd name="connsiteY770" fmla="*/ 1459958 h 1934496"/>
              <a:gd name="connsiteX771" fmla="*/ 6474694 w 9922465"/>
              <a:gd name="connsiteY771" fmla="*/ 1515149 h 1934496"/>
              <a:gd name="connsiteX772" fmla="*/ 6419502 w 9922465"/>
              <a:gd name="connsiteY772" fmla="*/ 1570340 h 1934496"/>
              <a:gd name="connsiteX773" fmla="*/ 6364310 w 9922465"/>
              <a:gd name="connsiteY773" fmla="*/ 1515149 h 1934496"/>
              <a:gd name="connsiteX774" fmla="*/ 6419502 w 9922465"/>
              <a:gd name="connsiteY774" fmla="*/ 1459958 h 1934496"/>
              <a:gd name="connsiteX775" fmla="*/ 6289207 w 9922465"/>
              <a:gd name="connsiteY775" fmla="*/ 1459958 h 1934496"/>
              <a:gd name="connsiteX776" fmla="*/ 6344399 w 9922465"/>
              <a:gd name="connsiteY776" fmla="*/ 1515149 h 1934496"/>
              <a:gd name="connsiteX777" fmla="*/ 6289207 w 9922465"/>
              <a:gd name="connsiteY777" fmla="*/ 1570340 h 1934496"/>
              <a:gd name="connsiteX778" fmla="*/ 6234015 w 9922465"/>
              <a:gd name="connsiteY778" fmla="*/ 1515149 h 1934496"/>
              <a:gd name="connsiteX779" fmla="*/ 6289207 w 9922465"/>
              <a:gd name="connsiteY779" fmla="*/ 1459958 h 1934496"/>
              <a:gd name="connsiteX780" fmla="*/ 6155573 w 9922465"/>
              <a:gd name="connsiteY780" fmla="*/ 1459958 h 1934496"/>
              <a:gd name="connsiteX781" fmla="*/ 6210765 w 9922465"/>
              <a:gd name="connsiteY781" fmla="*/ 1515149 h 1934496"/>
              <a:gd name="connsiteX782" fmla="*/ 6155573 w 9922465"/>
              <a:gd name="connsiteY782" fmla="*/ 1570340 h 1934496"/>
              <a:gd name="connsiteX783" fmla="*/ 6100381 w 9922465"/>
              <a:gd name="connsiteY783" fmla="*/ 1515149 h 1934496"/>
              <a:gd name="connsiteX784" fmla="*/ 6155573 w 9922465"/>
              <a:gd name="connsiteY784" fmla="*/ 1459958 h 1934496"/>
              <a:gd name="connsiteX785" fmla="*/ 6021939 w 9922465"/>
              <a:gd name="connsiteY785" fmla="*/ 1459958 h 1934496"/>
              <a:gd name="connsiteX786" fmla="*/ 6077131 w 9922465"/>
              <a:gd name="connsiteY786" fmla="*/ 1515149 h 1934496"/>
              <a:gd name="connsiteX787" fmla="*/ 6021939 w 9922465"/>
              <a:gd name="connsiteY787" fmla="*/ 1570340 h 1934496"/>
              <a:gd name="connsiteX788" fmla="*/ 5966747 w 9922465"/>
              <a:gd name="connsiteY788" fmla="*/ 1515149 h 1934496"/>
              <a:gd name="connsiteX789" fmla="*/ 6021939 w 9922465"/>
              <a:gd name="connsiteY789" fmla="*/ 1459958 h 1934496"/>
              <a:gd name="connsiteX790" fmla="*/ 5884964 w 9922465"/>
              <a:gd name="connsiteY790" fmla="*/ 1459958 h 1934496"/>
              <a:gd name="connsiteX791" fmla="*/ 5940156 w 9922465"/>
              <a:gd name="connsiteY791" fmla="*/ 1515149 h 1934496"/>
              <a:gd name="connsiteX792" fmla="*/ 5884964 w 9922465"/>
              <a:gd name="connsiteY792" fmla="*/ 1570340 h 1934496"/>
              <a:gd name="connsiteX793" fmla="*/ 5829772 w 9922465"/>
              <a:gd name="connsiteY793" fmla="*/ 1515149 h 1934496"/>
              <a:gd name="connsiteX794" fmla="*/ 5884964 w 9922465"/>
              <a:gd name="connsiteY794" fmla="*/ 1459958 h 1934496"/>
              <a:gd name="connsiteX795" fmla="*/ 5754668 w 9922465"/>
              <a:gd name="connsiteY795" fmla="*/ 1459958 h 1934496"/>
              <a:gd name="connsiteX796" fmla="*/ 5809860 w 9922465"/>
              <a:gd name="connsiteY796" fmla="*/ 1515149 h 1934496"/>
              <a:gd name="connsiteX797" fmla="*/ 5754668 w 9922465"/>
              <a:gd name="connsiteY797" fmla="*/ 1570340 h 1934496"/>
              <a:gd name="connsiteX798" fmla="*/ 5699476 w 9922465"/>
              <a:gd name="connsiteY798" fmla="*/ 1515149 h 1934496"/>
              <a:gd name="connsiteX799" fmla="*/ 5754668 w 9922465"/>
              <a:gd name="connsiteY799" fmla="*/ 1459958 h 1934496"/>
              <a:gd name="connsiteX800" fmla="*/ 5621034 w 9922465"/>
              <a:gd name="connsiteY800" fmla="*/ 1459958 h 1934496"/>
              <a:gd name="connsiteX801" fmla="*/ 5676226 w 9922465"/>
              <a:gd name="connsiteY801" fmla="*/ 1515149 h 1934496"/>
              <a:gd name="connsiteX802" fmla="*/ 5621034 w 9922465"/>
              <a:gd name="connsiteY802" fmla="*/ 1570340 h 1934496"/>
              <a:gd name="connsiteX803" fmla="*/ 5565842 w 9922465"/>
              <a:gd name="connsiteY803" fmla="*/ 1515149 h 1934496"/>
              <a:gd name="connsiteX804" fmla="*/ 5621034 w 9922465"/>
              <a:gd name="connsiteY804" fmla="*/ 1459958 h 1934496"/>
              <a:gd name="connsiteX805" fmla="*/ 5487399 w 9922465"/>
              <a:gd name="connsiteY805" fmla="*/ 1459958 h 1934496"/>
              <a:gd name="connsiteX806" fmla="*/ 5542591 w 9922465"/>
              <a:gd name="connsiteY806" fmla="*/ 1515149 h 1934496"/>
              <a:gd name="connsiteX807" fmla="*/ 5487399 w 9922465"/>
              <a:gd name="connsiteY807" fmla="*/ 1570340 h 1934496"/>
              <a:gd name="connsiteX808" fmla="*/ 5432207 w 9922465"/>
              <a:gd name="connsiteY808" fmla="*/ 1515149 h 1934496"/>
              <a:gd name="connsiteX809" fmla="*/ 5487399 w 9922465"/>
              <a:gd name="connsiteY809" fmla="*/ 1459958 h 1934496"/>
              <a:gd name="connsiteX810" fmla="*/ 5357106 w 9922465"/>
              <a:gd name="connsiteY810" fmla="*/ 1459958 h 1934496"/>
              <a:gd name="connsiteX811" fmla="*/ 5412298 w 9922465"/>
              <a:gd name="connsiteY811" fmla="*/ 1515149 h 1934496"/>
              <a:gd name="connsiteX812" fmla="*/ 5357106 w 9922465"/>
              <a:gd name="connsiteY812" fmla="*/ 1570340 h 1934496"/>
              <a:gd name="connsiteX813" fmla="*/ 5301914 w 9922465"/>
              <a:gd name="connsiteY813" fmla="*/ 1515149 h 1934496"/>
              <a:gd name="connsiteX814" fmla="*/ 5357106 w 9922465"/>
              <a:gd name="connsiteY814" fmla="*/ 1459958 h 1934496"/>
              <a:gd name="connsiteX815" fmla="*/ 5223473 w 9922465"/>
              <a:gd name="connsiteY815" fmla="*/ 1459958 h 1934496"/>
              <a:gd name="connsiteX816" fmla="*/ 5278665 w 9922465"/>
              <a:gd name="connsiteY816" fmla="*/ 1515149 h 1934496"/>
              <a:gd name="connsiteX817" fmla="*/ 5223473 w 9922465"/>
              <a:gd name="connsiteY817" fmla="*/ 1570340 h 1934496"/>
              <a:gd name="connsiteX818" fmla="*/ 5168281 w 9922465"/>
              <a:gd name="connsiteY818" fmla="*/ 1515149 h 1934496"/>
              <a:gd name="connsiteX819" fmla="*/ 5223473 w 9922465"/>
              <a:gd name="connsiteY819" fmla="*/ 1459958 h 1934496"/>
              <a:gd name="connsiteX820" fmla="*/ 5093178 w 9922465"/>
              <a:gd name="connsiteY820" fmla="*/ 1459958 h 1934496"/>
              <a:gd name="connsiteX821" fmla="*/ 5148370 w 9922465"/>
              <a:gd name="connsiteY821" fmla="*/ 1515149 h 1934496"/>
              <a:gd name="connsiteX822" fmla="*/ 5093178 w 9922465"/>
              <a:gd name="connsiteY822" fmla="*/ 1570340 h 1934496"/>
              <a:gd name="connsiteX823" fmla="*/ 5037986 w 9922465"/>
              <a:gd name="connsiteY823" fmla="*/ 1515149 h 1934496"/>
              <a:gd name="connsiteX824" fmla="*/ 5093178 w 9922465"/>
              <a:gd name="connsiteY824" fmla="*/ 1459958 h 1934496"/>
              <a:gd name="connsiteX825" fmla="*/ 4959542 w 9922465"/>
              <a:gd name="connsiteY825" fmla="*/ 1459958 h 1934496"/>
              <a:gd name="connsiteX826" fmla="*/ 5014734 w 9922465"/>
              <a:gd name="connsiteY826" fmla="*/ 1515149 h 1934496"/>
              <a:gd name="connsiteX827" fmla="*/ 4959542 w 9922465"/>
              <a:gd name="connsiteY827" fmla="*/ 1570340 h 1934496"/>
              <a:gd name="connsiteX828" fmla="*/ 4904350 w 9922465"/>
              <a:gd name="connsiteY828" fmla="*/ 1515149 h 1934496"/>
              <a:gd name="connsiteX829" fmla="*/ 4959542 w 9922465"/>
              <a:gd name="connsiteY829" fmla="*/ 1459958 h 1934496"/>
              <a:gd name="connsiteX830" fmla="*/ 4829250 w 9922465"/>
              <a:gd name="connsiteY830" fmla="*/ 1459958 h 1934496"/>
              <a:gd name="connsiteX831" fmla="*/ 4884442 w 9922465"/>
              <a:gd name="connsiteY831" fmla="*/ 1515149 h 1934496"/>
              <a:gd name="connsiteX832" fmla="*/ 4829250 w 9922465"/>
              <a:gd name="connsiteY832" fmla="*/ 1570340 h 1934496"/>
              <a:gd name="connsiteX833" fmla="*/ 4774058 w 9922465"/>
              <a:gd name="connsiteY833" fmla="*/ 1515149 h 1934496"/>
              <a:gd name="connsiteX834" fmla="*/ 4829250 w 9922465"/>
              <a:gd name="connsiteY834" fmla="*/ 1459958 h 1934496"/>
              <a:gd name="connsiteX835" fmla="*/ 4695614 w 9922465"/>
              <a:gd name="connsiteY835" fmla="*/ 1459958 h 1934496"/>
              <a:gd name="connsiteX836" fmla="*/ 4750806 w 9922465"/>
              <a:gd name="connsiteY836" fmla="*/ 1515149 h 1934496"/>
              <a:gd name="connsiteX837" fmla="*/ 4695614 w 9922465"/>
              <a:gd name="connsiteY837" fmla="*/ 1570340 h 1934496"/>
              <a:gd name="connsiteX838" fmla="*/ 4640422 w 9922465"/>
              <a:gd name="connsiteY838" fmla="*/ 1515149 h 1934496"/>
              <a:gd name="connsiteX839" fmla="*/ 4695614 w 9922465"/>
              <a:gd name="connsiteY839" fmla="*/ 1459958 h 1934496"/>
              <a:gd name="connsiteX840" fmla="*/ 4565322 w 9922465"/>
              <a:gd name="connsiteY840" fmla="*/ 1459958 h 1934496"/>
              <a:gd name="connsiteX841" fmla="*/ 4620514 w 9922465"/>
              <a:gd name="connsiteY841" fmla="*/ 1515149 h 1934496"/>
              <a:gd name="connsiteX842" fmla="*/ 4565322 w 9922465"/>
              <a:gd name="connsiteY842" fmla="*/ 1570340 h 1934496"/>
              <a:gd name="connsiteX843" fmla="*/ 4510130 w 9922465"/>
              <a:gd name="connsiteY843" fmla="*/ 1515149 h 1934496"/>
              <a:gd name="connsiteX844" fmla="*/ 4565322 w 9922465"/>
              <a:gd name="connsiteY844" fmla="*/ 1459958 h 1934496"/>
              <a:gd name="connsiteX845" fmla="*/ 4431687 w 9922465"/>
              <a:gd name="connsiteY845" fmla="*/ 1459958 h 1934496"/>
              <a:gd name="connsiteX846" fmla="*/ 4486879 w 9922465"/>
              <a:gd name="connsiteY846" fmla="*/ 1515149 h 1934496"/>
              <a:gd name="connsiteX847" fmla="*/ 4431687 w 9922465"/>
              <a:gd name="connsiteY847" fmla="*/ 1570340 h 1934496"/>
              <a:gd name="connsiteX848" fmla="*/ 4376495 w 9922465"/>
              <a:gd name="connsiteY848" fmla="*/ 1515149 h 1934496"/>
              <a:gd name="connsiteX849" fmla="*/ 4431687 w 9922465"/>
              <a:gd name="connsiteY849" fmla="*/ 1459958 h 1934496"/>
              <a:gd name="connsiteX850" fmla="*/ 3098681 w 9922465"/>
              <a:gd name="connsiteY850" fmla="*/ 1459958 h 1934496"/>
              <a:gd name="connsiteX851" fmla="*/ 3153873 w 9922465"/>
              <a:gd name="connsiteY851" fmla="*/ 1515149 h 1934496"/>
              <a:gd name="connsiteX852" fmla="*/ 3098681 w 9922465"/>
              <a:gd name="connsiteY852" fmla="*/ 1570340 h 1934496"/>
              <a:gd name="connsiteX853" fmla="*/ 3043489 w 9922465"/>
              <a:gd name="connsiteY853" fmla="*/ 1515149 h 1934496"/>
              <a:gd name="connsiteX854" fmla="*/ 3098681 w 9922465"/>
              <a:gd name="connsiteY854" fmla="*/ 1459958 h 1934496"/>
              <a:gd name="connsiteX855" fmla="*/ 2971729 w 9922465"/>
              <a:gd name="connsiteY855" fmla="*/ 1459958 h 1934496"/>
              <a:gd name="connsiteX856" fmla="*/ 3026921 w 9922465"/>
              <a:gd name="connsiteY856" fmla="*/ 1515149 h 1934496"/>
              <a:gd name="connsiteX857" fmla="*/ 2971729 w 9922465"/>
              <a:gd name="connsiteY857" fmla="*/ 1570340 h 1934496"/>
              <a:gd name="connsiteX858" fmla="*/ 2916537 w 9922465"/>
              <a:gd name="connsiteY858" fmla="*/ 1515149 h 1934496"/>
              <a:gd name="connsiteX859" fmla="*/ 2971729 w 9922465"/>
              <a:gd name="connsiteY859" fmla="*/ 1459958 h 1934496"/>
              <a:gd name="connsiteX860" fmla="*/ 2834792 w 9922465"/>
              <a:gd name="connsiteY860" fmla="*/ 1459958 h 1934496"/>
              <a:gd name="connsiteX861" fmla="*/ 2889984 w 9922465"/>
              <a:gd name="connsiteY861" fmla="*/ 1515149 h 1934496"/>
              <a:gd name="connsiteX862" fmla="*/ 2834792 w 9922465"/>
              <a:gd name="connsiteY862" fmla="*/ 1570340 h 1934496"/>
              <a:gd name="connsiteX863" fmla="*/ 2779600 w 9922465"/>
              <a:gd name="connsiteY863" fmla="*/ 1515149 h 1934496"/>
              <a:gd name="connsiteX864" fmla="*/ 2834792 w 9922465"/>
              <a:gd name="connsiteY864" fmla="*/ 1459958 h 1934496"/>
              <a:gd name="connsiteX865" fmla="*/ 2707839 w 9922465"/>
              <a:gd name="connsiteY865" fmla="*/ 1459958 h 1934496"/>
              <a:gd name="connsiteX866" fmla="*/ 2763031 w 9922465"/>
              <a:gd name="connsiteY866" fmla="*/ 1515149 h 1934496"/>
              <a:gd name="connsiteX867" fmla="*/ 2707839 w 9922465"/>
              <a:gd name="connsiteY867" fmla="*/ 1570340 h 1934496"/>
              <a:gd name="connsiteX868" fmla="*/ 2652646 w 9922465"/>
              <a:gd name="connsiteY868" fmla="*/ 1515149 h 1934496"/>
              <a:gd name="connsiteX869" fmla="*/ 2707839 w 9922465"/>
              <a:gd name="connsiteY869" fmla="*/ 1459958 h 1934496"/>
              <a:gd name="connsiteX870" fmla="*/ 2570864 w 9922465"/>
              <a:gd name="connsiteY870" fmla="*/ 1459958 h 1934496"/>
              <a:gd name="connsiteX871" fmla="*/ 2626056 w 9922465"/>
              <a:gd name="connsiteY871" fmla="*/ 1515149 h 1934496"/>
              <a:gd name="connsiteX872" fmla="*/ 2570864 w 9922465"/>
              <a:gd name="connsiteY872" fmla="*/ 1570340 h 1934496"/>
              <a:gd name="connsiteX873" fmla="*/ 2515671 w 9922465"/>
              <a:gd name="connsiteY873" fmla="*/ 1515149 h 1934496"/>
              <a:gd name="connsiteX874" fmla="*/ 2570864 w 9922465"/>
              <a:gd name="connsiteY874" fmla="*/ 1459958 h 1934496"/>
              <a:gd name="connsiteX875" fmla="*/ 2437228 w 9922465"/>
              <a:gd name="connsiteY875" fmla="*/ 1459958 h 1934496"/>
              <a:gd name="connsiteX876" fmla="*/ 2492419 w 9922465"/>
              <a:gd name="connsiteY876" fmla="*/ 1515149 h 1934496"/>
              <a:gd name="connsiteX877" fmla="*/ 2437228 w 9922465"/>
              <a:gd name="connsiteY877" fmla="*/ 1570340 h 1934496"/>
              <a:gd name="connsiteX878" fmla="*/ 2382037 w 9922465"/>
              <a:gd name="connsiteY878" fmla="*/ 1515149 h 1934496"/>
              <a:gd name="connsiteX879" fmla="*/ 2437228 w 9922465"/>
              <a:gd name="connsiteY879" fmla="*/ 1459958 h 1934496"/>
              <a:gd name="connsiteX880" fmla="*/ 2303596 w 9922465"/>
              <a:gd name="connsiteY880" fmla="*/ 1459958 h 1934496"/>
              <a:gd name="connsiteX881" fmla="*/ 2358787 w 9922465"/>
              <a:gd name="connsiteY881" fmla="*/ 1515149 h 1934496"/>
              <a:gd name="connsiteX882" fmla="*/ 2303596 w 9922465"/>
              <a:gd name="connsiteY882" fmla="*/ 1570340 h 1934496"/>
              <a:gd name="connsiteX883" fmla="*/ 2248404 w 9922465"/>
              <a:gd name="connsiteY883" fmla="*/ 1515149 h 1934496"/>
              <a:gd name="connsiteX884" fmla="*/ 2303596 w 9922465"/>
              <a:gd name="connsiteY884" fmla="*/ 1459958 h 1934496"/>
              <a:gd name="connsiteX885" fmla="*/ 2173305 w 9922465"/>
              <a:gd name="connsiteY885" fmla="*/ 1459958 h 1934496"/>
              <a:gd name="connsiteX886" fmla="*/ 2228497 w 9922465"/>
              <a:gd name="connsiteY886" fmla="*/ 1515149 h 1934496"/>
              <a:gd name="connsiteX887" fmla="*/ 2173305 w 9922465"/>
              <a:gd name="connsiteY887" fmla="*/ 1570340 h 1934496"/>
              <a:gd name="connsiteX888" fmla="*/ 2118111 w 9922465"/>
              <a:gd name="connsiteY888" fmla="*/ 1515149 h 1934496"/>
              <a:gd name="connsiteX889" fmla="*/ 2173305 w 9922465"/>
              <a:gd name="connsiteY889" fmla="*/ 1459958 h 1934496"/>
              <a:gd name="connsiteX890" fmla="*/ 2039668 w 9922465"/>
              <a:gd name="connsiteY890" fmla="*/ 1459958 h 1934496"/>
              <a:gd name="connsiteX891" fmla="*/ 2094860 w 9922465"/>
              <a:gd name="connsiteY891" fmla="*/ 1515149 h 1934496"/>
              <a:gd name="connsiteX892" fmla="*/ 2039668 w 9922465"/>
              <a:gd name="connsiteY892" fmla="*/ 1570340 h 1934496"/>
              <a:gd name="connsiteX893" fmla="*/ 1984475 w 9922465"/>
              <a:gd name="connsiteY893" fmla="*/ 1515149 h 1934496"/>
              <a:gd name="connsiteX894" fmla="*/ 2039668 w 9922465"/>
              <a:gd name="connsiteY894" fmla="*/ 1459958 h 1934496"/>
              <a:gd name="connsiteX895" fmla="*/ 1909371 w 9922465"/>
              <a:gd name="connsiteY895" fmla="*/ 1459958 h 1934496"/>
              <a:gd name="connsiteX896" fmla="*/ 1964564 w 9922465"/>
              <a:gd name="connsiteY896" fmla="*/ 1515149 h 1934496"/>
              <a:gd name="connsiteX897" fmla="*/ 1909371 w 9922465"/>
              <a:gd name="connsiteY897" fmla="*/ 1570340 h 1934496"/>
              <a:gd name="connsiteX898" fmla="*/ 1854178 w 9922465"/>
              <a:gd name="connsiteY898" fmla="*/ 1515149 h 1934496"/>
              <a:gd name="connsiteX899" fmla="*/ 1909371 w 9922465"/>
              <a:gd name="connsiteY899" fmla="*/ 1459958 h 1934496"/>
              <a:gd name="connsiteX900" fmla="*/ 1779076 w 9922465"/>
              <a:gd name="connsiteY900" fmla="*/ 1459958 h 1934496"/>
              <a:gd name="connsiteX901" fmla="*/ 1834269 w 9922465"/>
              <a:gd name="connsiteY901" fmla="*/ 1515149 h 1934496"/>
              <a:gd name="connsiteX902" fmla="*/ 1779076 w 9922465"/>
              <a:gd name="connsiteY902" fmla="*/ 1570340 h 1934496"/>
              <a:gd name="connsiteX903" fmla="*/ 1723884 w 9922465"/>
              <a:gd name="connsiteY903" fmla="*/ 1515149 h 1934496"/>
              <a:gd name="connsiteX904" fmla="*/ 1779076 w 9922465"/>
              <a:gd name="connsiteY904" fmla="*/ 1459958 h 1934496"/>
              <a:gd name="connsiteX905" fmla="*/ 1645440 w 9922465"/>
              <a:gd name="connsiteY905" fmla="*/ 1459958 h 1934496"/>
              <a:gd name="connsiteX906" fmla="*/ 1700637 w 9922465"/>
              <a:gd name="connsiteY906" fmla="*/ 1515149 h 1934496"/>
              <a:gd name="connsiteX907" fmla="*/ 1645440 w 9922465"/>
              <a:gd name="connsiteY907" fmla="*/ 1570340 h 1934496"/>
              <a:gd name="connsiteX908" fmla="*/ 1590248 w 9922465"/>
              <a:gd name="connsiteY908" fmla="*/ 1515149 h 1934496"/>
              <a:gd name="connsiteX909" fmla="*/ 1645440 w 9922465"/>
              <a:gd name="connsiteY909" fmla="*/ 1459958 h 1934496"/>
              <a:gd name="connsiteX910" fmla="*/ 1515149 w 9922465"/>
              <a:gd name="connsiteY910" fmla="*/ 1459958 h 1934496"/>
              <a:gd name="connsiteX911" fmla="*/ 1570338 w 9922465"/>
              <a:gd name="connsiteY911" fmla="*/ 1515149 h 1934496"/>
              <a:gd name="connsiteX912" fmla="*/ 1515149 w 9922465"/>
              <a:gd name="connsiteY912" fmla="*/ 1570340 h 1934496"/>
              <a:gd name="connsiteX913" fmla="*/ 1459956 w 9922465"/>
              <a:gd name="connsiteY913" fmla="*/ 1515149 h 1934496"/>
              <a:gd name="connsiteX914" fmla="*/ 1515149 w 9922465"/>
              <a:gd name="connsiteY914" fmla="*/ 1459958 h 1934496"/>
              <a:gd name="connsiteX915" fmla="*/ 1381511 w 9922465"/>
              <a:gd name="connsiteY915" fmla="*/ 1459958 h 1934496"/>
              <a:gd name="connsiteX916" fmla="*/ 1436705 w 9922465"/>
              <a:gd name="connsiteY916" fmla="*/ 1515149 h 1934496"/>
              <a:gd name="connsiteX917" fmla="*/ 1381511 w 9922465"/>
              <a:gd name="connsiteY917" fmla="*/ 1570340 h 1934496"/>
              <a:gd name="connsiteX918" fmla="*/ 1326322 w 9922465"/>
              <a:gd name="connsiteY918" fmla="*/ 1515149 h 1934496"/>
              <a:gd name="connsiteX919" fmla="*/ 1381511 w 9922465"/>
              <a:gd name="connsiteY919" fmla="*/ 1459958 h 1934496"/>
              <a:gd name="connsiteX920" fmla="*/ 1251220 w 9922465"/>
              <a:gd name="connsiteY920" fmla="*/ 1459958 h 1934496"/>
              <a:gd name="connsiteX921" fmla="*/ 1306413 w 9922465"/>
              <a:gd name="connsiteY921" fmla="*/ 1515149 h 1934496"/>
              <a:gd name="connsiteX922" fmla="*/ 1251220 w 9922465"/>
              <a:gd name="connsiteY922" fmla="*/ 1570340 h 1934496"/>
              <a:gd name="connsiteX923" fmla="*/ 1196028 w 9922465"/>
              <a:gd name="connsiteY923" fmla="*/ 1515149 h 1934496"/>
              <a:gd name="connsiteX924" fmla="*/ 1251220 w 9922465"/>
              <a:gd name="connsiteY924" fmla="*/ 1459958 h 1934496"/>
              <a:gd name="connsiteX925" fmla="*/ 1117583 w 9922465"/>
              <a:gd name="connsiteY925" fmla="*/ 1459958 h 1934496"/>
              <a:gd name="connsiteX926" fmla="*/ 1172776 w 9922465"/>
              <a:gd name="connsiteY926" fmla="*/ 1515149 h 1934496"/>
              <a:gd name="connsiteX927" fmla="*/ 1117583 w 9922465"/>
              <a:gd name="connsiteY927" fmla="*/ 1570340 h 1934496"/>
              <a:gd name="connsiteX928" fmla="*/ 1062390 w 9922465"/>
              <a:gd name="connsiteY928" fmla="*/ 1515149 h 1934496"/>
              <a:gd name="connsiteX929" fmla="*/ 1117583 w 9922465"/>
              <a:gd name="connsiteY929" fmla="*/ 1459958 h 1934496"/>
              <a:gd name="connsiteX930" fmla="*/ 980607 w 9922465"/>
              <a:gd name="connsiteY930" fmla="*/ 1459958 h 1934496"/>
              <a:gd name="connsiteX931" fmla="*/ 1035800 w 9922465"/>
              <a:gd name="connsiteY931" fmla="*/ 1515149 h 1934496"/>
              <a:gd name="connsiteX932" fmla="*/ 980607 w 9922465"/>
              <a:gd name="connsiteY932" fmla="*/ 1570340 h 1934496"/>
              <a:gd name="connsiteX933" fmla="*/ 925415 w 9922465"/>
              <a:gd name="connsiteY933" fmla="*/ 1515149 h 1934496"/>
              <a:gd name="connsiteX934" fmla="*/ 980607 w 9922465"/>
              <a:gd name="connsiteY934" fmla="*/ 1459958 h 1934496"/>
              <a:gd name="connsiteX935" fmla="*/ 7608849 w 9922465"/>
              <a:gd name="connsiteY935" fmla="*/ 1336350 h 1934496"/>
              <a:gd name="connsiteX936" fmla="*/ 7664041 w 9922465"/>
              <a:gd name="connsiteY936" fmla="*/ 1391541 h 1934496"/>
              <a:gd name="connsiteX937" fmla="*/ 7608849 w 9922465"/>
              <a:gd name="connsiteY937" fmla="*/ 1446732 h 1934496"/>
              <a:gd name="connsiteX938" fmla="*/ 7553657 w 9922465"/>
              <a:gd name="connsiteY938" fmla="*/ 1391541 h 1934496"/>
              <a:gd name="connsiteX939" fmla="*/ 7608849 w 9922465"/>
              <a:gd name="connsiteY939" fmla="*/ 1336350 h 1934496"/>
              <a:gd name="connsiteX940" fmla="*/ 7481897 w 9922465"/>
              <a:gd name="connsiteY940" fmla="*/ 1336350 h 1934496"/>
              <a:gd name="connsiteX941" fmla="*/ 7537089 w 9922465"/>
              <a:gd name="connsiteY941" fmla="*/ 1391541 h 1934496"/>
              <a:gd name="connsiteX942" fmla="*/ 7481897 w 9922465"/>
              <a:gd name="connsiteY942" fmla="*/ 1446732 h 1934496"/>
              <a:gd name="connsiteX943" fmla="*/ 7426705 w 9922465"/>
              <a:gd name="connsiteY943" fmla="*/ 1391541 h 1934496"/>
              <a:gd name="connsiteX944" fmla="*/ 7481897 w 9922465"/>
              <a:gd name="connsiteY944" fmla="*/ 1336350 h 1934496"/>
              <a:gd name="connsiteX945" fmla="*/ 7341579 w 9922465"/>
              <a:gd name="connsiteY945" fmla="*/ 1336350 h 1934496"/>
              <a:gd name="connsiteX946" fmla="*/ 7396771 w 9922465"/>
              <a:gd name="connsiteY946" fmla="*/ 1391541 h 1934496"/>
              <a:gd name="connsiteX947" fmla="*/ 7341579 w 9922465"/>
              <a:gd name="connsiteY947" fmla="*/ 1446732 h 1934496"/>
              <a:gd name="connsiteX948" fmla="*/ 7286387 w 9922465"/>
              <a:gd name="connsiteY948" fmla="*/ 1391541 h 1934496"/>
              <a:gd name="connsiteX949" fmla="*/ 7341579 w 9922465"/>
              <a:gd name="connsiteY949" fmla="*/ 1336350 h 1934496"/>
              <a:gd name="connsiteX950" fmla="*/ 7211286 w 9922465"/>
              <a:gd name="connsiteY950" fmla="*/ 1336350 h 1934496"/>
              <a:gd name="connsiteX951" fmla="*/ 7266478 w 9922465"/>
              <a:gd name="connsiteY951" fmla="*/ 1391541 h 1934496"/>
              <a:gd name="connsiteX952" fmla="*/ 7211286 w 9922465"/>
              <a:gd name="connsiteY952" fmla="*/ 1446732 h 1934496"/>
              <a:gd name="connsiteX953" fmla="*/ 7156094 w 9922465"/>
              <a:gd name="connsiteY953" fmla="*/ 1391541 h 1934496"/>
              <a:gd name="connsiteX954" fmla="*/ 7211286 w 9922465"/>
              <a:gd name="connsiteY954" fmla="*/ 1336350 h 1934496"/>
              <a:gd name="connsiteX955" fmla="*/ 7080993 w 9922465"/>
              <a:gd name="connsiteY955" fmla="*/ 1336350 h 1934496"/>
              <a:gd name="connsiteX956" fmla="*/ 7136185 w 9922465"/>
              <a:gd name="connsiteY956" fmla="*/ 1391541 h 1934496"/>
              <a:gd name="connsiteX957" fmla="*/ 7080993 w 9922465"/>
              <a:gd name="connsiteY957" fmla="*/ 1446732 h 1934496"/>
              <a:gd name="connsiteX958" fmla="*/ 7025801 w 9922465"/>
              <a:gd name="connsiteY958" fmla="*/ 1391541 h 1934496"/>
              <a:gd name="connsiteX959" fmla="*/ 7080993 w 9922465"/>
              <a:gd name="connsiteY959" fmla="*/ 1336350 h 1934496"/>
              <a:gd name="connsiteX960" fmla="*/ 6947357 w 9922465"/>
              <a:gd name="connsiteY960" fmla="*/ 1336350 h 1934496"/>
              <a:gd name="connsiteX961" fmla="*/ 7002549 w 9922465"/>
              <a:gd name="connsiteY961" fmla="*/ 1391541 h 1934496"/>
              <a:gd name="connsiteX962" fmla="*/ 6947357 w 9922465"/>
              <a:gd name="connsiteY962" fmla="*/ 1446732 h 1934496"/>
              <a:gd name="connsiteX963" fmla="*/ 6892165 w 9922465"/>
              <a:gd name="connsiteY963" fmla="*/ 1391541 h 1934496"/>
              <a:gd name="connsiteX964" fmla="*/ 6947357 w 9922465"/>
              <a:gd name="connsiteY964" fmla="*/ 1336350 h 1934496"/>
              <a:gd name="connsiteX965" fmla="*/ 6817064 w 9922465"/>
              <a:gd name="connsiteY965" fmla="*/ 1336350 h 1934496"/>
              <a:gd name="connsiteX966" fmla="*/ 6872256 w 9922465"/>
              <a:gd name="connsiteY966" fmla="*/ 1391541 h 1934496"/>
              <a:gd name="connsiteX967" fmla="*/ 6817064 w 9922465"/>
              <a:gd name="connsiteY967" fmla="*/ 1446732 h 1934496"/>
              <a:gd name="connsiteX968" fmla="*/ 6761872 w 9922465"/>
              <a:gd name="connsiteY968" fmla="*/ 1391541 h 1934496"/>
              <a:gd name="connsiteX969" fmla="*/ 6817064 w 9922465"/>
              <a:gd name="connsiteY969" fmla="*/ 1336350 h 1934496"/>
              <a:gd name="connsiteX970" fmla="*/ 6683431 w 9922465"/>
              <a:gd name="connsiteY970" fmla="*/ 1336350 h 1934496"/>
              <a:gd name="connsiteX971" fmla="*/ 6738623 w 9922465"/>
              <a:gd name="connsiteY971" fmla="*/ 1391541 h 1934496"/>
              <a:gd name="connsiteX972" fmla="*/ 6683431 w 9922465"/>
              <a:gd name="connsiteY972" fmla="*/ 1446732 h 1934496"/>
              <a:gd name="connsiteX973" fmla="*/ 6628239 w 9922465"/>
              <a:gd name="connsiteY973" fmla="*/ 1391541 h 1934496"/>
              <a:gd name="connsiteX974" fmla="*/ 6683431 w 9922465"/>
              <a:gd name="connsiteY974" fmla="*/ 1336350 h 1934496"/>
              <a:gd name="connsiteX975" fmla="*/ 6553137 w 9922465"/>
              <a:gd name="connsiteY975" fmla="*/ 1336350 h 1934496"/>
              <a:gd name="connsiteX976" fmla="*/ 6608329 w 9922465"/>
              <a:gd name="connsiteY976" fmla="*/ 1391541 h 1934496"/>
              <a:gd name="connsiteX977" fmla="*/ 6553137 w 9922465"/>
              <a:gd name="connsiteY977" fmla="*/ 1446732 h 1934496"/>
              <a:gd name="connsiteX978" fmla="*/ 6497945 w 9922465"/>
              <a:gd name="connsiteY978" fmla="*/ 1391541 h 1934496"/>
              <a:gd name="connsiteX979" fmla="*/ 6553137 w 9922465"/>
              <a:gd name="connsiteY979" fmla="*/ 1336350 h 1934496"/>
              <a:gd name="connsiteX980" fmla="*/ 6419502 w 9922465"/>
              <a:gd name="connsiteY980" fmla="*/ 1336350 h 1934496"/>
              <a:gd name="connsiteX981" fmla="*/ 6474694 w 9922465"/>
              <a:gd name="connsiteY981" fmla="*/ 1391541 h 1934496"/>
              <a:gd name="connsiteX982" fmla="*/ 6419502 w 9922465"/>
              <a:gd name="connsiteY982" fmla="*/ 1446732 h 1934496"/>
              <a:gd name="connsiteX983" fmla="*/ 6364310 w 9922465"/>
              <a:gd name="connsiteY983" fmla="*/ 1391541 h 1934496"/>
              <a:gd name="connsiteX984" fmla="*/ 6419502 w 9922465"/>
              <a:gd name="connsiteY984" fmla="*/ 1336350 h 1934496"/>
              <a:gd name="connsiteX985" fmla="*/ 6289207 w 9922465"/>
              <a:gd name="connsiteY985" fmla="*/ 1336350 h 1934496"/>
              <a:gd name="connsiteX986" fmla="*/ 6344399 w 9922465"/>
              <a:gd name="connsiteY986" fmla="*/ 1391541 h 1934496"/>
              <a:gd name="connsiteX987" fmla="*/ 6289207 w 9922465"/>
              <a:gd name="connsiteY987" fmla="*/ 1446732 h 1934496"/>
              <a:gd name="connsiteX988" fmla="*/ 6234015 w 9922465"/>
              <a:gd name="connsiteY988" fmla="*/ 1391541 h 1934496"/>
              <a:gd name="connsiteX989" fmla="*/ 6289207 w 9922465"/>
              <a:gd name="connsiteY989" fmla="*/ 1336350 h 1934496"/>
              <a:gd name="connsiteX990" fmla="*/ 6155573 w 9922465"/>
              <a:gd name="connsiteY990" fmla="*/ 1336350 h 1934496"/>
              <a:gd name="connsiteX991" fmla="*/ 6210765 w 9922465"/>
              <a:gd name="connsiteY991" fmla="*/ 1391541 h 1934496"/>
              <a:gd name="connsiteX992" fmla="*/ 6155573 w 9922465"/>
              <a:gd name="connsiteY992" fmla="*/ 1446732 h 1934496"/>
              <a:gd name="connsiteX993" fmla="*/ 6100381 w 9922465"/>
              <a:gd name="connsiteY993" fmla="*/ 1391541 h 1934496"/>
              <a:gd name="connsiteX994" fmla="*/ 6155573 w 9922465"/>
              <a:gd name="connsiteY994" fmla="*/ 1336350 h 1934496"/>
              <a:gd name="connsiteX995" fmla="*/ 6021939 w 9922465"/>
              <a:gd name="connsiteY995" fmla="*/ 1336350 h 1934496"/>
              <a:gd name="connsiteX996" fmla="*/ 6077131 w 9922465"/>
              <a:gd name="connsiteY996" fmla="*/ 1391541 h 1934496"/>
              <a:gd name="connsiteX997" fmla="*/ 6021939 w 9922465"/>
              <a:gd name="connsiteY997" fmla="*/ 1446732 h 1934496"/>
              <a:gd name="connsiteX998" fmla="*/ 5966747 w 9922465"/>
              <a:gd name="connsiteY998" fmla="*/ 1391541 h 1934496"/>
              <a:gd name="connsiteX999" fmla="*/ 6021939 w 9922465"/>
              <a:gd name="connsiteY999" fmla="*/ 1336350 h 1934496"/>
              <a:gd name="connsiteX1000" fmla="*/ 5884964 w 9922465"/>
              <a:gd name="connsiteY1000" fmla="*/ 1336350 h 1934496"/>
              <a:gd name="connsiteX1001" fmla="*/ 5940156 w 9922465"/>
              <a:gd name="connsiteY1001" fmla="*/ 1391541 h 1934496"/>
              <a:gd name="connsiteX1002" fmla="*/ 5884964 w 9922465"/>
              <a:gd name="connsiteY1002" fmla="*/ 1446732 h 1934496"/>
              <a:gd name="connsiteX1003" fmla="*/ 5829772 w 9922465"/>
              <a:gd name="connsiteY1003" fmla="*/ 1391541 h 1934496"/>
              <a:gd name="connsiteX1004" fmla="*/ 5884964 w 9922465"/>
              <a:gd name="connsiteY1004" fmla="*/ 1336350 h 1934496"/>
              <a:gd name="connsiteX1005" fmla="*/ 5754668 w 9922465"/>
              <a:gd name="connsiteY1005" fmla="*/ 1336350 h 1934496"/>
              <a:gd name="connsiteX1006" fmla="*/ 5809860 w 9922465"/>
              <a:gd name="connsiteY1006" fmla="*/ 1391541 h 1934496"/>
              <a:gd name="connsiteX1007" fmla="*/ 5754668 w 9922465"/>
              <a:gd name="connsiteY1007" fmla="*/ 1446732 h 1934496"/>
              <a:gd name="connsiteX1008" fmla="*/ 5699476 w 9922465"/>
              <a:gd name="connsiteY1008" fmla="*/ 1391541 h 1934496"/>
              <a:gd name="connsiteX1009" fmla="*/ 5754668 w 9922465"/>
              <a:gd name="connsiteY1009" fmla="*/ 1336350 h 1934496"/>
              <a:gd name="connsiteX1010" fmla="*/ 5621035 w 9922465"/>
              <a:gd name="connsiteY1010" fmla="*/ 1336350 h 1934496"/>
              <a:gd name="connsiteX1011" fmla="*/ 5676227 w 9922465"/>
              <a:gd name="connsiteY1011" fmla="*/ 1391541 h 1934496"/>
              <a:gd name="connsiteX1012" fmla="*/ 5621035 w 9922465"/>
              <a:gd name="connsiteY1012" fmla="*/ 1446732 h 1934496"/>
              <a:gd name="connsiteX1013" fmla="*/ 5565843 w 9922465"/>
              <a:gd name="connsiteY1013" fmla="*/ 1391541 h 1934496"/>
              <a:gd name="connsiteX1014" fmla="*/ 5621035 w 9922465"/>
              <a:gd name="connsiteY1014" fmla="*/ 1336350 h 1934496"/>
              <a:gd name="connsiteX1015" fmla="*/ 5487399 w 9922465"/>
              <a:gd name="connsiteY1015" fmla="*/ 1336350 h 1934496"/>
              <a:gd name="connsiteX1016" fmla="*/ 5542591 w 9922465"/>
              <a:gd name="connsiteY1016" fmla="*/ 1391541 h 1934496"/>
              <a:gd name="connsiteX1017" fmla="*/ 5487399 w 9922465"/>
              <a:gd name="connsiteY1017" fmla="*/ 1446732 h 1934496"/>
              <a:gd name="connsiteX1018" fmla="*/ 5432207 w 9922465"/>
              <a:gd name="connsiteY1018" fmla="*/ 1391541 h 1934496"/>
              <a:gd name="connsiteX1019" fmla="*/ 5487399 w 9922465"/>
              <a:gd name="connsiteY1019" fmla="*/ 1336350 h 1934496"/>
              <a:gd name="connsiteX1020" fmla="*/ 5357106 w 9922465"/>
              <a:gd name="connsiteY1020" fmla="*/ 1336350 h 1934496"/>
              <a:gd name="connsiteX1021" fmla="*/ 5412298 w 9922465"/>
              <a:gd name="connsiteY1021" fmla="*/ 1391541 h 1934496"/>
              <a:gd name="connsiteX1022" fmla="*/ 5357106 w 9922465"/>
              <a:gd name="connsiteY1022" fmla="*/ 1446732 h 1934496"/>
              <a:gd name="connsiteX1023" fmla="*/ 5301914 w 9922465"/>
              <a:gd name="connsiteY1023" fmla="*/ 1391541 h 1934496"/>
              <a:gd name="connsiteX1024" fmla="*/ 5357106 w 9922465"/>
              <a:gd name="connsiteY1024" fmla="*/ 1336350 h 1934496"/>
              <a:gd name="connsiteX1025" fmla="*/ 4959543 w 9922465"/>
              <a:gd name="connsiteY1025" fmla="*/ 1336350 h 1934496"/>
              <a:gd name="connsiteX1026" fmla="*/ 5014735 w 9922465"/>
              <a:gd name="connsiteY1026" fmla="*/ 1391541 h 1934496"/>
              <a:gd name="connsiteX1027" fmla="*/ 4959543 w 9922465"/>
              <a:gd name="connsiteY1027" fmla="*/ 1446732 h 1934496"/>
              <a:gd name="connsiteX1028" fmla="*/ 4904351 w 9922465"/>
              <a:gd name="connsiteY1028" fmla="*/ 1391541 h 1934496"/>
              <a:gd name="connsiteX1029" fmla="*/ 4959543 w 9922465"/>
              <a:gd name="connsiteY1029" fmla="*/ 1336350 h 1934496"/>
              <a:gd name="connsiteX1030" fmla="*/ 4565322 w 9922465"/>
              <a:gd name="connsiteY1030" fmla="*/ 1336350 h 1934496"/>
              <a:gd name="connsiteX1031" fmla="*/ 4620514 w 9922465"/>
              <a:gd name="connsiteY1031" fmla="*/ 1391541 h 1934496"/>
              <a:gd name="connsiteX1032" fmla="*/ 4565322 w 9922465"/>
              <a:gd name="connsiteY1032" fmla="*/ 1446732 h 1934496"/>
              <a:gd name="connsiteX1033" fmla="*/ 4510130 w 9922465"/>
              <a:gd name="connsiteY1033" fmla="*/ 1391541 h 1934496"/>
              <a:gd name="connsiteX1034" fmla="*/ 4565322 w 9922465"/>
              <a:gd name="connsiteY1034" fmla="*/ 1336350 h 1934496"/>
              <a:gd name="connsiteX1035" fmla="*/ 2971729 w 9922465"/>
              <a:gd name="connsiteY1035" fmla="*/ 1336350 h 1934496"/>
              <a:gd name="connsiteX1036" fmla="*/ 3026921 w 9922465"/>
              <a:gd name="connsiteY1036" fmla="*/ 1391541 h 1934496"/>
              <a:gd name="connsiteX1037" fmla="*/ 2971729 w 9922465"/>
              <a:gd name="connsiteY1037" fmla="*/ 1446732 h 1934496"/>
              <a:gd name="connsiteX1038" fmla="*/ 2916537 w 9922465"/>
              <a:gd name="connsiteY1038" fmla="*/ 1391541 h 1934496"/>
              <a:gd name="connsiteX1039" fmla="*/ 2971729 w 9922465"/>
              <a:gd name="connsiteY1039" fmla="*/ 1336350 h 1934496"/>
              <a:gd name="connsiteX1040" fmla="*/ 2834801 w 9922465"/>
              <a:gd name="connsiteY1040" fmla="*/ 1336350 h 1934496"/>
              <a:gd name="connsiteX1041" fmla="*/ 2889994 w 9922465"/>
              <a:gd name="connsiteY1041" fmla="*/ 1391541 h 1934496"/>
              <a:gd name="connsiteX1042" fmla="*/ 2834801 w 9922465"/>
              <a:gd name="connsiteY1042" fmla="*/ 1446732 h 1934496"/>
              <a:gd name="connsiteX1043" fmla="*/ 2779610 w 9922465"/>
              <a:gd name="connsiteY1043" fmla="*/ 1391541 h 1934496"/>
              <a:gd name="connsiteX1044" fmla="*/ 2834801 w 9922465"/>
              <a:gd name="connsiteY1044" fmla="*/ 1336350 h 1934496"/>
              <a:gd name="connsiteX1045" fmla="*/ 2707848 w 9922465"/>
              <a:gd name="connsiteY1045" fmla="*/ 1336350 h 1934496"/>
              <a:gd name="connsiteX1046" fmla="*/ 2763042 w 9922465"/>
              <a:gd name="connsiteY1046" fmla="*/ 1391541 h 1934496"/>
              <a:gd name="connsiteX1047" fmla="*/ 2707848 w 9922465"/>
              <a:gd name="connsiteY1047" fmla="*/ 1446732 h 1934496"/>
              <a:gd name="connsiteX1048" fmla="*/ 2652656 w 9922465"/>
              <a:gd name="connsiteY1048" fmla="*/ 1391541 h 1934496"/>
              <a:gd name="connsiteX1049" fmla="*/ 2707848 w 9922465"/>
              <a:gd name="connsiteY1049" fmla="*/ 1336350 h 1934496"/>
              <a:gd name="connsiteX1050" fmla="*/ 2570875 w 9922465"/>
              <a:gd name="connsiteY1050" fmla="*/ 1336350 h 1934496"/>
              <a:gd name="connsiteX1051" fmla="*/ 2626067 w 9922465"/>
              <a:gd name="connsiteY1051" fmla="*/ 1391541 h 1934496"/>
              <a:gd name="connsiteX1052" fmla="*/ 2570875 w 9922465"/>
              <a:gd name="connsiteY1052" fmla="*/ 1446732 h 1934496"/>
              <a:gd name="connsiteX1053" fmla="*/ 2515683 w 9922465"/>
              <a:gd name="connsiteY1053" fmla="*/ 1391541 h 1934496"/>
              <a:gd name="connsiteX1054" fmla="*/ 2570875 w 9922465"/>
              <a:gd name="connsiteY1054" fmla="*/ 1336350 h 1934496"/>
              <a:gd name="connsiteX1055" fmla="*/ 2173314 w 9922465"/>
              <a:gd name="connsiteY1055" fmla="*/ 1336350 h 1934496"/>
              <a:gd name="connsiteX1056" fmla="*/ 2228507 w 9922465"/>
              <a:gd name="connsiteY1056" fmla="*/ 1391541 h 1934496"/>
              <a:gd name="connsiteX1057" fmla="*/ 2173314 w 9922465"/>
              <a:gd name="connsiteY1057" fmla="*/ 1446732 h 1934496"/>
              <a:gd name="connsiteX1058" fmla="*/ 2118122 w 9922465"/>
              <a:gd name="connsiteY1058" fmla="*/ 1391541 h 1934496"/>
              <a:gd name="connsiteX1059" fmla="*/ 2173314 w 9922465"/>
              <a:gd name="connsiteY1059" fmla="*/ 1336350 h 1934496"/>
              <a:gd name="connsiteX1060" fmla="*/ 2039678 w 9922465"/>
              <a:gd name="connsiteY1060" fmla="*/ 1336350 h 1934496"/>
              <a:gd name="connsiteX1061" fmla="*/ 2094870 w 9922465"/>
              <a:gd name="connsiteY1061" fmla="*/ 1391541 h 1934496"/>
              <a:gd name="connsiteX1062" fmla="*/ 2039678 w 9922465"/>
              <a:gd name="connsiteY1062" fmla="*/ 1446732 h 1934496"/>
              <a:gd name="connsiteX1063" fmla="*/ 1984484 w 9922465"/>
              <a:gd name="connsiteY1063" fmla="*/ 1391541 h 1934496"/>
              <a:gd name="connsiteX1064" fmla="*/ 2039678 w 9922465"/>
              <a:gd name="connsiteY1064" fmla="*/ 1336350 h 1934496"/>
              <a:gd name="connsiteX1065" fmla="*/ 1909381 w 9922465"/>
              <a:gd name="connsiteY1065" fmla="*/ 1336350 h 1934496"/>
              <a:gd name="connsiteX1066" fmla="*/ 1964575 w 9922465"/>
              <a:gd name="connsiteY1066" fmla="*/ 1391541 h 1934496"/>
              <a:gd name="connsiteX1067" fmla="*/ 1909381 w 9922465"/>
              <a:gd name="connsiteY1067" fmla="*/ 1446732 h 1934496"/>
              <a:gd name="connsiteX1068" fmla="*/ 1854188 w 9922465"/>
              <a:gd name="connsiteY1068" fmla="*/ 1391541 h 1934496"/>
              <a:gd name="connsiteX1069" fmla="*/ 1909381 w 9922465"/>
              <a:gd name="connsiteY1069" fmla="*/ 1336350 h 1934496"/>
              <a:gd name="connsiteX1070" fmla="*/ 1779086 w 9922465"/>
              <a:gd name="connsiteY1070" fmla="*/ 1336350 h 1934496"/>
              <a:gd name="connsiteX1071" fmla="*/ 1834278 w 9922465"/>
              <a:gd name="connsiteY1071" fmla="*/ 1391541 h 1934496"/>
              <a:gd name="connsiteX1072" fmla="*/ 1779086 w 9922465"/>
              <a:gd name="connsiteY1072" fmla="*/ 1446732 h 1934496"/>
              <a:gd name="connsiteX1073" fmla="*/ 1723892 w 9922465"/>
              <a:gd name="connsiteY1073" fmla="*/ 1391541 h 1934496"/>
              <a:gd name="connsiteX1074" fmla="*/ 1779086 w 9922465"/>
              <a:gd name="connsiteY1074" fmla="*/ 1336350 h 1934496"/>
              <a:gd name="connsiteX1075" fmla="*/ 1645448 w 9922465"/>
              <a:gd name="connsiteY1075" fmla="*/ 1336350 h 1934496"/>
              <a:gd name="connsiteX1076" fmla="*/ 1700644 w 9922465"/>
              <a:gd name="connsiteY1076" fmla="*/ 1391541 h 1934496"/>
              <a:gd name="connsiteX1077" fmla="*/ 1645448 w 9922465"/>
              <a:gd name="connsiteY1077" fmla="*/ 1446732 h 1934496"/>
              <a:gd name="connsiteX1078" fmla="*/ 1590256 w 9922465"/>
              <a:gd name="connsiteY1078" fmla="*/ 1391541 h 1934496"/>
              <a:gd name="connsiteX1079" fmla="*/ 1645448 w 9922465"/>
              <a:gd name="connsiteY1079" fmla="*/ 1336350 h 1934496"/>
              <a:gd name="connsiteX1080" fmla="*/ 1515160 w 9922465"/>
              <a:gd name="connsiteY1080" fmla="*/ 1336350 h 1934496"/>
              <a:gd name="connsiteX1081" fmla="*/ 1570346 w 9922465"/>
              <a:gd name="connsiteY1081" fmla="*/ 1391541 h 1934496"/>
              <a:gd name="connsiteX1082" fmla="*/ 1515160 w 9922465"/>
              <a:gd name="connsiteY1082" fmla="*/ 1446732 h 1934496"/>
              <a:gd name="connsiteX1083" fmla="*/ 1459963 w 9922465"/>
              <a:gd name="connsiteY1083" fmla="*/ 1391541 h 1934496"/>
              <a:gd name="connsiteX1084" fmla="*/ 1515160 w 9922465"/>
              <a:gd name="connsiteY1084" fmla="*/ 1336350 h 1934496"/>
              <a:gd name="connsiteX1085" fmla="*/ 1381522 w 9922465"/>
              <a:gd name="connsiteY1085" fmla="*/ 1336350 h 1934496"/>
              <a:gd name="connsiteX1086" fmla="*/ 1436714 w 9922465"/>
              <a:gd name="connsiteY1086" fmla="*/ 1391541 h 1934496"/>
              <a:gd name="connsiteX1087" fmla="*/ 1381522 w 9922465"/>
              <a:gd name="connsiteY1087" fmla="*/ 1446732 h 1934496"/>
              <a:gd name="connsiteX1088" fmla="*/ 1326330 w 9922465"/>
              <a:gd name="connsiteY1088" fmla="*/ 1391541 h 1934496"/>
              <a:gd name="connsiteX1089" fmla="*/ 1381522 w 9922465"/>
              <a:gd name="connsiteY1089" fmla="*/ 1336350 h 1934496"/>
              <a:gd name="connsiteX1090" fmla="*/ 1251229 w 9922465"/>
              <a:gd name="connsiteY1090" fmla="*/ 1336350 h 1934496"/>
              <a:gd name="connsiteX1091" fmla="*/ 1306421 w 9922465"/>
              <a:gd name="connsiteY1091" fmla="*/ 1391541 h 1934496"/>
              <a:gd name="connsiteX1092" fmla="*/ 1251229 w 9922465"/>
              <a:gd name="connsiteY1092" fmla="*/ 1446732 h 1934496"/>
              <a:gd name="connsiteX1093" fmla="*/ 1196037 w 9922465"/>
              <a:gd name="connsiteY1093" fmla="*/ 1391541 h 1934496"/>
              <a:gd name="connsiteX1094" fmla="*/ 1251229 w 9922465"/>
              <a:gd name="connsiteY1094" fmla="*/ 1336350 h 1934496"/>
              <a:gd name="connsiteX1095" fmla="*/ 1117592 w 9922465"/>
              <a:gd name="connsiteY1095" fmla="*/ 1336350 h 1934496"/>
              <a:gd name="connsiteX1096" fmla="*/ 1172785 w 9922465"/>
              <a:gd name="connsiteY1096" fmla="*/ 1391541 h 1934496"/>
              <a:gd name="connsiteX1097" fmla="*/ 1117592 w 9922465"/>
              <a:gd name="connsiteY1097" fmla="*/ 1446732 h 1934496"/>
              <a:gd name="connsiteX1098" fmla="*/ 1062400 w 9922465"/>
              <a:gd name="connsiteY1098" fmla="*/ 1391541 h 1934496"/>
              <a:gd name="connsiteX1099" fmla="*/ 1117592 w 9922465"/>
              <a:gd name="connsiteY1099" fmla="*/ 1336350 h 1934496"/>
              <a:gd name="connsiteX1100" fmla="*/ 980615 w 9922465"/>
              <a:gd name="connsiteY1100" fmla="*/ 1336350 h 1934496"/>
              <a:gd name="connsiteX1101" fmla="*/ 1035808 w 9922465"/>
              <a:gd name="connsiteY1101" fmla="*/ 1391541 h 1934496"/>
              <a:gd name="connsiteX1102" fmla="*/ 980615 w 9922465"/>
              <a:gd name="connsiteY1102" fmla="*/ 1446732 h 1934496"/>
              <a:gd name="connsiteX1103" fmla="*/ 925422 w 9922465"/>
              <a:gd name="connsiteY1103" fmla="*/ 1391541 h 1934496"/>
              <a:gd name="connsiteX1104" fmla="*/ 980615 w 9922465"/>
              <a:gd name="connsiteY1104" fmla="*/ 1336350 h 1934496"/>
              <a:gd name="connsiteX1105" fmla="*/ 9199101 w 9922465"/>
              <a:gd name="connsiteY1105" fmla="*/ 1336348 h 1934496"/>
              <a:gd name="connsiteX1106" fmla="*/ 9254293 w 9922465"/>
              <a:gd name="connsiteY1106" fmla="*/ 1391539 h 1934496"/>
              <a:gd name="connsiteX1107" fmla="*/ 9199101 w 9922465"/>
              <a:gd name="connsiteY1107" fmla="*/ 1446730 h 1934496"/>
              <a:gd name="connsiteX1108" fmla="*/ 9143909 w 9922465"/>
              <a:gd name="connsiteY1108" fmla="*/ 1391539 h 1934496"/>
              <a:gd name="connsiteX1109" fmla="*/ 9199101 w 9922465"/>
              <a:gd name="connsiteY1109" fmla="*/ 1336348 h 1934496"/>
              <a:gd name="connsiteX1110" fmla="*/ 9068807 w 9922465"/>
              <a:gd name="connsiteY1110" fmla="*/ 1336348 h 1934496"/>
              <a:gd name="connsiteX1111" fmla="*/ 9123999 w 9922465"/>
              <a:gd name="connsiteY1111" fmla="*/ 1391539 h 1934496"/>
              <a:gd name="connsiteX1112" fmla="*/ 9068807 w 9922465"/>
              <a:gd name="connsiteY1112" fmla="*/ 1446730 h 1934496"/>
              <a:gd name="connsiteX1113" fmla="*/ 9013615 w 9922465"/>
              <a:gd name="connsiteY1113" fmla="*/ 1391539 h 1934496"/>
              <a:gd name="connsiteX1114" fmla="*/ 9068807 w 9922465"/>
              <a:gd name="connsiteY1114" fmla="*/ 1336348 h 1934496"/>
              <a:gd name="connsiteX1115" fmla="*/ 8407316 w 9922465"/>
              <a:gd name="connsiteY1115" fmla="*/ 1336348 h 1934496"/>
              <a:gd name="connsiteX1116" fmla="*/ 8462508 w 9922465"/>
              <a:gd name="connsiteY1116" fmla="*/ 1391539 h 1934496"/>
              <a:gd name="connsiteX1117" fmla="*/ 8407316 w 9922465"/>
              <a:gd name="connsiteY1117" fmla="*/ 1446730 h 1934496"/>
              <a:gd name="connsiteX1118" fmla="*/ 8352124 w 9922465"/>
              <a:gd name="connsiteY1118" fmla="*/ 1391539 h 1934496"/>
              <a:gd name="connsiteX1119" fmla="*/ 8407316 w 9922465"/>
              <a:gd name="connsiteY1119" fmla="*/ 1336348 h 1934496"/>
              <a:gd name="connsiteX1120" fmla="*/ 8273682 w 9922465"/>
              <a:gd name="connsiteY1120" fmla="*/ 1336348 h 1934496"/>
              <a:gd name="connsiteX1121" fmla="*/ 8328874 w 9922465"/>
              <a:gd name="connsiteY1121" fmla="*/ 1391539 h 1934496"/>
              <a:gd name="connsiteX1122" fmla="*/ 8273682 w 9922465"/>
              <a:gd name="connsiteY1122" fmla="*/ 1446730 h 1934496"/>
              <a:gd name="connsiteX1123" fmla="*/ 8218490 w 9922465"/>
              <a:gd name="connsiteY1123" fmla="*/ 1391539 h 1934496"/>
              <a:gd name="connsiteX1124" fmla="*/ 8273682 w 9922465"/>
              <a:gd name="connsiteY1124" fmla="*/ 1336348 h 1934496"/>
              <a:gd name="connsiteX1125" fmla="*/ 8143388 w 9922465"/>
              <a:gd name="connsiteY1125" fmla="*/ 1336348 h 1934496"/>
              <a:gd name="connsiteX1126" fmla="*/ 8198580 w 9922465"/>
              <a:gd name="connsiteY1126" fmla="*/ 1391539 h 1934496"/>
              <a:gd name="connsiteX1127" fmla="*/ 8143388 w 9922465"/>
              <a:gd name="connsiteY1127" fmla="*/ 1446730 h 1934496"/>
              <a:gd name="connsiteX1128" fmla="*/ 8088196 w 9922465"/>
              <a:gd name="connsiteY1128" fmla="*/ 1391539 h 1934496"/>
              <a:gd name="connsiteX1129" fmla="*/ 8143388 w 9922465"/>
              <a:gd name="connsiteY1129" fmla="*/ 1336348 h 1934496"/>
              <a:gd name="connsiteX1130" fmla="*/ 8009753 w 9922465"/>
              <a:gd name="connsiteY1130" fmla="*/ 1336348 h 1934496"/>
              <a:gd name="connsiteX1131" fmla="*/ 8064945 w 9922465"/>
              <a:gd name="connsiteY1131" fmla="*/ 1391539 h 1934496"/>
              <a:gd name="connsiteX1132" fmla="*/ 8009753 w 9922465"/>
              <a:gd name="connsiteY1132" fmla="*/ 1446730 h 1934496"/>
              <a:gd name="connsiteX1133" fmla="*/ 7954561 w 9922465"/>
              <a:gd name="connsiteY1133" fmla="*/ 1391539 h 1934496"/>
              <a:gd name="connsiteX1134" fmla="*/ 8009753 w 9922465"/>
              <a:gd name="connsiteY1134" fmla="*/ 1336348 h 1934496"/>
              <a:gd name="connsiteX1135" fmla="*/ 7876118 w 9922465"/>
              <a:gd name="connsiteY1135" fmla="*/ 1336348 h 1934496"/>
              <a:gd name="connsiteX1136" fmla="*/ 7931310 w 9922465"/>
              <a:gd name="connsiteY1136" fmla="*/ 1391539 h 1934496"/>
              <a:gd name="connsiteX1137" fmla="*/ 7876118 w 9922465"/>
              <a:gd name="connsiteY1137" fmla="*/ 1446730 h 1934496"/>
              <a:gd name="connsiteX1138" fmla="*/ 7820926 w 9922465"/>
              <a:gd name="connsiteY1138" fmla="*/ 1391539 h 1934496"/>
              <a:gd name="connsiteX1139" fmla="*/ 7876118 w 9922465"/>
              <a:gd name="connsiteY1139" fmla="*/ 1336348 h 1934496"/>
              <a:gd name="connsiteX1140" fmla="*/ 7745823 w 9922465"/>
              <a:gd name="connsiteY1140" fmla="*/ 1336348 h 1934496"/>
              <a:gd name="connsiteX1141" fmla="*/ 7801015 w 9922465"/>
              <a:gd name="connsiteY1141" fmla="*/ 1391539 h 1934496"/>
              <a:gd name="connsiteX1142" fmla="*/ 7745823 w 9922465"/>
              <a:gd name="connsiteY1142" fmla="*/ 1446730 h 1934496"/>
              <a:gd name="connsiteX1143" fmla="*/ 7690631 w 9922465"/>
              <a:gd name="connsiteY1143" fmla="*/ 1391539 h 1934496"/>
              <a:gd name="connsiteX1144" fmla="*/ 7745823 w 9922465"/>
              <a:gd name="connsiteY1144" fmla="*/ 1336348 h 1934496"/>
              <a:gd name="connsiteX1145" fmla="*/ 185475 w 9922465"/>
              <a:gd name="connsiteY1145" fmla="*/ 1336348 h 1934496"/>
              <a:gd name="connsiteX1146" fmla="*/ 240666 w 9922465"/>
              <a:gd name="connsiteY1146" fmla="*/ 1391539 h 1934496"/>
              <a:gd name="connsiteX1147" fmla="*/ 185475 w 9922465"/>
              <a:gd name="connsiteY1147" fmla="*/ 1446730 h 1934496"/>
              <a:gd name="connsiteX1148" fmla="*/ 130283 w 9922465"/>
              <a:gd name="connsiteY1148" fmla="*/ 1391539 h 1934496"/>
              <a:gd name="connsiteX1149" fmla="*/ 185475 w 9922465"/>
              <a:gd name="connsiteY1149" fmla="*/ 1336348 h 1934496"/>
              <a:gd name="connsiteX1150" fmla="*/ 9199101 w 9922465"/>
              <a:gd name="connsiteY1150" fmla="*/ 1219421 h 1934496"/>
              <a:gd name="connsiteX1151" fmla="*/ 9254293 w 9922465"/>
              <a:gd name="connsiteY1151" fmla="*/ 1274612 h 1934496"/>
              <a:gd name="connsiteX1152" fmla="*/ 9199101 w 9922465"/>
              <a:gd name="connsiteY1152" fmla="*/ 1329803 h 1934496"/>
              <a:gd name="connsiteX1153" fmla="*/ 9143909 w 9922465"/>
              <a:gd name="connsiteY1153" fmla="*/ 1274612 h 1934496"/>
              <a:gd name="connsiteX1154" fmla="*/ 9199101 w 9922465"/>
              <a:gd name="connsiteY1154" fmla="*/ 1219421 h 1934496"/>
              <a:gd name="connsiteX1155" fmla="*/ 9068807 w 9922465"/>
              <a:gd name="connsiteY1155" fmla="*/ 1219421 h 1934496"/>
              <a:gd name="connsiteX1156" fmla="*/ 9123999 w 9922465"/>
              <a:gd name="connsiteY1156" fmla="*/ 1274612 h 1934496"/>
              <a:gd name="connsiteX1157" fmla="*/ 9068807 w 9922465"/>
              <a:gd name="connsiteY1157" fmla="*/ 1329803 h 1934496"/>
              <a:gd name="connsiteX1158" fmla="*/ 9013615 w 9922465"/>
              <a:gd name="connsiteY1158" fmla="*/ 1274612 h 1934496"/>
              <a:gd name="connsiteX1159" fmla="*/ 9068807 w 9922465"/>
              <a:gd name="connsiteY1159" fmla="*/ 1219421 h 1934496"/>
              <a:gd name="connsiteX1160" fmla="*/ 8537612 w 9922465"/>
              <a:gd name="connsiteY1160" fmla="*/ 1219421 h 1934496"/>
              <a:gd name="connsiteX1161" fmla="*/ 8592804 w 9922465"/>
              <a:gd name="connsiteY1161" fmla="*/ 1274612 h 1934496"/>
              <a:gd name="connsiteX1162" fmla="*/ 8537612 w 9922465"/>
              <a:gd name="connsiteY1162" fmla="*/ 1329803 h 1934496"/>
              <a:gd name="connsiteX1163" fmla="*/ 8482420 w 9922465"/>
              <a:gd name="connsiteY1163" fmla="*/ 1274612 h 1934496"/>
              <a:gd name="connsiteX1164" fmla="*/ 8537612 w 9922465"/>
              <a:gd name="connsiteY1164" fmla="*/ 1219421 h 1934496"/>
              <a:gd name="connsiteX1165" fmla="*/ 8407316 w 9922465"/>
              <a:gd name="connsiteY1165" fmla="*/ 1219421 h 1934496"/>
              <a:gd name="connsiteX1166" fmla="*/ 8462508 w 9922465"/>
              <a:gd name="connsiteY1166" fmla="*/ 1274612 h 1934496"/>
              <a:gd name="connsiteX1167" fmla="*/ 8407316 w 9922465"/>
              <a:gd name="connsiteY1167" fmla="*/ 1329803 h 1934496"/>
              <a:gd name="connsiteX1168" fmla="*/ 8352124 w 9922465"/>
              <a:gd name="connsiteY1168" fmla="*/ 1274612 h 1934496"/>
              <a:gd name="connsiteX1169" fmla="*/ 8407316 w 9922465"/>
              <a:gd name="connsiteY1169" fmla="*/ 1219421 h 1934496"/>
              <a:gd name="connsiteX1170" fmla="*/ 8273682 w 9922465"/>
              <a:gd name="connsiteY1170" fmla="*/ 1219421 h 1934496"/>
              <a:gd name="connsiteX1171" fmla="*/ 8328874 w 9922465"/>
              <a:gd name="connsiteY1171" fmla="*/ 1274612 h 1934496"/>
              <a:gd name="connsiteX1172" fmla="*/ 8273682 w 9922465"/>
              <a:gd name="connsiteY1172" fmla="*/ 1329803 h 1934496"/>
              <a:gd name="connsiteX1173" fmla="*/ 8218490 w 9922465"/>
              <a:gd name="connsiteY1173" fmla="*/ 1274612 h 1934496"/>
              <a:gd name="connsiteX1174" fmla="*/ 8273682 w 9922465"/>
              <a:gd name="connsiteY1174" fmla="*/ 1219421 h 1934496"/>
              <a:gd name="connsiteX1175" fmla="*/ 8143388 w 9922465"/>
              <a:gd name="connsiteY1175" fmla="*/ 1219421 h 1934496"/>
              <a:gd name="connsiteX1176" fmla="*/ 8198580 w 9922465"/>
              <a:gd name="connsiteY1176" fmla="*/ 1274612 h 1934496"/>
              <a:gd name="connsiteX1177" fmla="*/ 8143388 w 9922465"/>
              <a:gd name="connsiteY1177" fmla="*/ 1329803 h 1934496"/>
              <a:gd name="connsiteX1178" fmla="*/ 8088196 w 9922465"/>
              <a:gd name="connsiteY1178" fmla="*/ 1274612 h 1934496"/>
              <a:gd name="connsiteX1179" fmla="*/ 8143388 w 9922465"/>
              <a:gd name="connsiteY1179" fmla="*/ 1219421 h 1934496"/>
              <a:gd name="connsiteX1180" fmla="*/ 8009753 w 9922465"/>
              <a:gd name="connsiteY1180" fmla="*/ 1219421 h 1934496"/>
              <a:gd name="connsiteX1181" fmla="*/ 8064945 w 9922465"/>
              <a:gd name="connsiteY1181" fmla="*/ 1274612 h 1934496"/>
              <a:gd name="connsiteX1182" fmla="*/ 8009753 w 9922465"/>
              <a:gd name="connsiteY1182" fmla="*/ 1329803 h 1934496"/>
              <a:gd name="connsiteX1183" fmla="*/ 7954561 w 9922465"/>
              <a:gd name="connsiteY1183" fmla="*/ 1274612 h 1934496"/>
              <a:gd name="connsiteX1184" fmla="*/ 8009753 w 9922465"/>
              <a:gd name="connsiteY1184" fmla="*/ 1219421 h 1934496"/>
              <a:gd name="connsiteX1185" fmla="*/ 7876118 w 9922465"/>
              <a:gd name="connsiteY1185" fmla="*/ 1219421 h 1934496"/>
              <a:gd name="connsiteX1186" fmla="*/ 7931310 w 9922465"/>
              <a:gd name="connsiteY1186" fmla="*/ 1274612 h 1934496"/>
              <a:gd name="connsiteX1187" fmla="*/ 7876118 w 9922465"/>
              <a:gd name="connsiteY1187" fmla="*/ 1329803 h 1934496"/>
              <a:gd name="connsiteX1188" fmla="*/ 7820926 w 9922465"/>
              <a:gd name="connsiteY1188" fmla="*/ 1274612 h 1934496"/>
              <a:gd name="connsiteX1189" fmla="*/ 7876118 w 9922465"/>
              <a:gd name="connsiteY1189" fmla="*/ 1219421 h 1934496"/>
              <a:gd name="connsiteX1190" fmla="*/ 7745823 w 9922465"/>
              <a:gd name="connsiteY1190" fmla="*/ 1219421 h 1934496"/>
              <a:gd name="connsiteX1191" fmla="*/ 7801015 w 9922465"/>
              <a:gd name="connsiteY1191" fmla="*/ 1274612 h 1934496"/>
              <a:gd name="connsiteX1192" fmla="*/ 7745823 w 9922465"/>
              <a:gd name="connsiteY1192" fmla="*/ 1329803 h 1934496"/>
              <a:gd name="connsiteX1193" fmla="*/ 7690631 w 9922465"/>
              <a:gd name="connsiteY1193" fmla="*/ 1274612 h 1934496"/>
              <a:gd name="connsiteX1194" fmla="*/ 7745823 w 9922465"/>
              <a:gd name="connsiteY1194" fmla="*/ 1219421 h 1934496"/>
              <a:gd name="connsiteX1195" fmla="*/ 7608849 w 9922465"/>
              <a:gd name="connsiteY1195" fmla="*/ 1219421 h 1934496"/>
              <a:gd name="connsiteX1196" fmla="*/ 7664041 w 9922465"/>
              <a:gd name="connsiteY1196" fmla="*/ 1274612 h 1934496"/>
              <a:gd name="connsiteX1197" fmla="*/ 7608849 w 9922465"/>
              <a:gd name="connsiteY1197" fmla="*/ 1329803 h 1934496"/>
              <a:gd name="connsiteX1198" fmla="*/ 7553657 w 9922465"/>
              <a:gd name="connsiteY1198" fmla="*/ 1274612 h 1934496"/>
              <a:gd name="connsiteX1199" fmla="*/ 7608849 w 9922465"/>
              <a:gd name="connsiteY1199" fmla="*/ 1219421 h 1934496"/>
              <a:gd name="connsiteX1200" fmla="*/ 7481897 w 9922465"/>
              <a:gd name="connsiteY1200" fmla="*/ 1219421 h 1934496"/>
              <a:gd name="connsiteX1201" fmla="*/ 7537089 w 9922465"/>
              <a:gd name="connsiteY1201" fmla="*/ 1274612 h 1934496"/>
              <a:gd name="connsiteX1202" fmla="*/ 7481897 w 9922465"/>
              <a:gd name="connsiteY1202" fmla="*/ 1329803 h 1934496"/>
              <a:gd name="connsiteX1203" fmla="*/ 7426705 w 9922465"/>
              <a:gd name="connsiteY1203" fmla="*/ 1274612 h 1934496"/>
              <a:gd name="connsiteX1204" fmla="*/ 7481897 w 9922465"/>
              <a:gd name="connsiteY1204" fmla="*/ 1219421 h 1934496"/>
              <a:gd name="connsiteX1205" fmla="*/ 7341579 w 9922465"/>
              <a:gd name="connsiteY1205" fmla="*/ 1219421 h 1934496"/>
              <a:gd name="connsiteX1206" fmla="*/ 7396771 w 9922465"/>
              <a:gd name="connsiteY1206" fmla="*/ 1274612 h 1934496"/>
              <a:gd name="connsiteX1207" fmla="*/ 7341579 w 9922465"/>
              <a:gd name="connsiteY1207" fmla="*/ 1329803 h 1934496"/>
              <a:gd name="connsiteX1208" fmla="*/ 7286387 w 9922465"/>
              <a:gd name="connsiteY1208" fmla="*/ 1274612 h 1934496"/>
              <a:gd name="connsiteX1209" fmla="*/ 7341579 w 9922465"/>
              <a:gd name="connsiteY1209" fmla="*/ 1219421 h 1934496"/>
              <a:gd name="connsiteX1210" fmla="*/ 7211286 w 9922465"/>
              <a:gd name="connsiteY1210" fmla="*/ 1219421 h 1934496"/>
              <a:gd name="connsiteX1211" fmla="*/ 7266478 w 9922465"/>
              <a:gd name="connsiteY1211" fmla="*/ 1274612 h 1934496"/>
              <a:gd name="connsiteX1212" fmla="*/ 7211286 w 9922465"/>
              <a:gd name="connsiteY1212" fmla="*/ 1329803 h 1934496"/>
              <a:gd name="connsiteX1213" fmla="*/ 7156094 w 9922465"/>
              <a:gd name="connsiteY1213" fmla="*/ 1274612 h 1934496"/>
              <a:gd name="connsiteX1214" fmla="*/ 7211286 w 9922465"/>
              <a:gd name="connsiteY1214" fmla="*/ 1219421 h 1934496"/>
              <a:gd name="connsiteX1215" fmla="*/ 7080993 w 9922465"/>
              <a:gd name="connsiteY1215" fmla="*/ 1219421 h 1934496"/>
              <a:gd name="connsiteX1216" fmla="*/ 7136185 w 9922465"/>
              <a:gd name="connsiteY1216" fmla="*/ 1274612 h 1934496"/>
              <a:gd name="connsiteX1217" fmla="*/ 7080993 w 9922465"/>
              <a:gd name="connsiteY1217" fmla="*/ 1329803 h 1934496"/>
              <a:gd name="connsiteX1218" fmla="*/ 7025801 w 9922465"/>
              <a:gd name="connsiteY1218" fmla="*/ 1274612 h 1934496"/>
              <a:gd name="connsiteX1219" fmla="*/ 7080993 w 9922465"/>
              <a:gd name="connsiteY1219" fmla="*/ 1219421 h 1934496"/>
              <a:gd name="connsiteX1220" fmla="*/ 6947357 w 9922465"/>
              <a:gd name="connsiteY1220" fmla="*/ 1219421 h 1934496"/>
              <a:gd name="connsiteX1221" fmla="*/ 7002549 w 9922465"/>
              <a:gd name="connsiteY1221" fmla="*/ 1274612 h 1934496"/>
              <a:gd name="connsiteX1222" fmla="*/ 6947357 w 9922465"/>
              <a:gd name="connsiteY1222" fmla="*/ 1329803 h 1934496"/>
              <a:gd name="connsiteX1223" fmla="*/ 6892165 w 9922465"/>
              <a:gd name="connsiteY1223" fmla="*/ 1274612 h 1934496"/>
              <a:gd name="connsiteX1224" fmla="*/ 6947357 w 9922465"/>
              <a:gd name="connsiteY1224" fmla="*/ 1219421 h 1934496"/>
              <a:gd name="connsiteX1225" fmla="*/ 6817064 w 9922465"/>
              <a:gd name="connsiteY1225" fmla="*/ 1219421 h 1934496"/>
              <a:gd name="connsiteX1226" fmla="*/ 6872256 w 9922465"/>
              <a:gd name="connsiteY1226" fmla="*/ 1274612 h 1934496"/>
              <a:gd name="connsiteX1227" fmla="*/ 6817064 w 9922465"/>
              <a:gd name="connsiteY1227" fmla="*/ 1329803 h 1934496"/>
              <a:gd name="connsiteX1228" fmla="*/ 6761872 w 9922465"/>
              <a:gd name="connsiteY1228" fmla="*/ 1274612 h 1934496"/>
              <a:gd name="connsiteX1229" fmla="*/ 6817064 w 9922465"/>
              <a:gd name="connsiteY1229" fmla="*/ 1219421 h 1934496"/>
              <a:gd name="connsiteX1230" fmla="*/ 6683431 w 9922465"/>
              <a:gd name="connsiteY1230" fmla="*/ 1219421 h 1934496"/>
              <a:gd name="connsiteX1231" fmla="*/ 6738623 w 9922465"/>
              <a:gd name="connsiteY1231" fmla="*/ 1274612 h 1934496"/>
              <a:gd name="connsiteX1232" fmla="*/ 6683431 w 9922465"/>
              <a:gd name="connsiteY1232" fmla="*/ 1329803 h 1934496"/>
              <a:gd name="connsiteX1233" fmla="*/ 6628239 w 9922465"/>
              <a:gd name="connsiteY1233" fmla="*/ 1274612 h 1934496"/>
              <a:gd name="connsiteX1234" fmla="*/ 6683431 w 9922465"/>
              <a:gd name="connsiteY1234" fmla="*/ 1219421 h 1934496"/>
              <a:gd name="connsiteX1235" fmla="*/ 6553137 w 9922465"/>
              <a:gd name="connsiteY1235" fmla="*/ 1219421 h 1934496"/>
              <a:gd name="connsiteX1236" fmla="*/ 6608329 w 9922465"/>
              <a:gd name="connsiteY1236" fmla="*/ 1274612 h 1934496"/>
              <a:gd name="connsiteX1237" fmla="*/ 6553137 w 9922465"/>
              <a:gd name="connsiteY1237" fmla="*/ 1329803 h 1934496"/>
              <a:gd name="connsiteX1238" fmla="*/ 6497945 w 9922465"/>
              <a:gd name="connsiteY1238" fmla="*/ 1274612 h 1934496"/>
              <a:gd name="connsiteX1239" fmla="*/ 6553137 w 9922465"/>
              <a:gd name="connsiteY1239" fmla="*/ 1219421 h 1934496"/>
              <a:gd name="connsiteX1240" fmla="*/ 6419502 w 9922465"/>
              <a:gd name="connsiteY1240" fmla="*/ 1219421 h 1934496"/>
              <a:gd name="connsiteX1241" fmla="*/ 6474694 w 9922465"/>
              <a:gd name="connsiteY1241" fmla="*/ 1274612 h 1934496"/>
              <a:gd name="connsiteX1242" fmla="*/ 6419502 w 9922465"/>
              <a:gd name="connsiteY1242" fmla="*/ 1329803 h 1934496"/>
              <a:gd name="connsiteX1243" fmla="*/ 6364310 w 9922465"/>
              <a:gd name="connsiteY1243" fmla="*/ 1274612 h 1934496"/>
              <a:gd name="connsiteX1244" fmla="*/ 6419502 w 9922465"/>
              <a:gd name="connsiteY1244" fmla="*/ 1219421 h 1934496"/>
              <a:gd name="connsiteX1245" fmla="*/ 6289207 w 9922465"/>
              <a:gd name="connsiteY1245" fmla="*/ 1219421 h 1934496"/>
              <a:gd name="connsiteX1246" fmla="*/ 6344399 w 9922465"/>
              <a:gd name="connsiteY1246" fmla="*/ 1274612 h 1934496"/>
              <a:gd name="connsiteX1247" fmla="*/ 6289207 w 9922465"/>
              <a:gd name="connsiteY1247" fmla="*/ 1329803 h 1934496"/>
              <a:gd name="connsiteX1248" fmla="*/ 6234015 w 9922465"/>
              <a:gd name="connsiteY1248" fmla="*/ 1274612 h 1934496"/>
              <a:gd name="connsiteX1249" fmla="*/ 6289207 w 9922465"/>
              <a:gd name="connsiteY1249" fmla="*/ 1219421 h 1934496"/>
              <a:gd name="connsiteX1250" fmla="*/ 6155573 w 9922465"/>
              <a:gd name="connsiteY1250" fmla="*/ 1219421 h 1934496"/>
              <a:gd name="connsiteX1251" fmla="*/ 6210765 w 9922465"/>
              <a:gd name="connsiteY1251" fmla="*/ 1274612 h 1934496"/>
              <a:gd name="connsiteX1252" fmla="*/ 6155573 w 9922465"/>
              <a:gd name="connsiteY1252" fmla="*/ 1329803 h 1934496"/>
              <a:gd name="connsiteX1253" fmla="*/ 6100381 w 9922465"/>
              <a:gd name="connsiteY1253" fmla="*/ 1274612 h 1934496"/>
              <a:gd name="connsiteX1254" fmla="*/ 6155573 w 9922465"/>
              <a:gd name="connsiteY1254" fmla="*/ 1219421 h 1934496"/>
              <a:gd name="connsiteX1255" fmla="*/ 6021939 w 9922465"/>
              <a:gd name="connsiteY1255" fmla="*/ 1219421 h 1934496"/>
              <a:gd name="connsiteX1256" fmla="*/ 6077131 w 9922465"/>
              <a:gd name="connsiteY1256" fmla="*/ 1274612 h 1934496"/>
              <a:gd name="connsiteX1257" fmla="*/ 6021939 w 9922465"/>
              <a:gd name="connsiteY1257" fmla="*/ 1329803 h 1934496"/>
              <a:gd name="connsiteX1258" fmla="*/ 5966747 w 9922465"/>
              <a:gd name="connsiteY1258" fmla="*/ 1274612 h 1934496"/>
              <a:gd name="connsiteX1259" fmla="*/ 6021939 w 9922465"/>
              <a:gd name="connsiteY1259" fmla="*/ 1219421 h 1934496"/>
              <a:gd name="connsiteX1260" fmla="*/ 5884964 w 9922465"/>
              <a:gd name="connsiteY1260" fmla="*/ 1219421 h 1934496"/>
              <a:gd name="connsiteX1261" fmla="*/ 5940156 w 9922465"/>
              <a:gd name="connsiteY1261" fmla="*/ 1274612 h 1934496"/>
              <a:gd name="connsiteX1262" fmla="*/ 5884964 w 9922465"/>
              <a:gd name="connsiteY1262" fmla="*/ 1329803 h 1934496"/>
              <a:gd name="connsiteX1263" fmla="*/ 5829772 w 9922465"/>
              <a:gd name="connsiteY1263" fmla="*/ 1274612 h 1934496"/>
              <a:gd name="connsiteX1264" fmla="*/ 5884964 w 9922465"/>
              <a:gd name="connsiteY1264" fmla="*/ 1219421 h 1934496"/>
              <a:gd name="connsiteX1265" fmla="*/ 5754668 w 9922465"/>
              <a:gd name="connsiteY1265" fmla="*/ 1219421 h 1934496"/>
              <a:gd name="connsiteX1266" fmla="*/ 5809860 w 9922465"/>
              <a:gd name="connsiteY1266" fmla="*/ 1274612 h 1934496"/>
              <a:gd name="connsiteX1267" fmla="*/ 5754668 w 9922465"/>
              <a:gd name="connsiteY1267" fmla="*/ 1329803 h 1934496"/>
              <a:gd name="connsiteX1268" fmla="*/ 5699476 w 9922465"/>
              <a:gd name="connsiteY1268" fmla="*/ 1274612 h 1934496"/>
              <a:gd name="connsiteX1269" fmla="*/ 5754668 w 9922465"/>
              <a:gd name="connsiteY1269" fmla="*/ 1219421 h 1934496"/>
              <a:gd name="connsiteX1270" fmla="*/ 5621034 w 9922465"/>
              <a:gd name="connsiteY1270" fmla="*/ 1219421 h 1934496"/>
              <a:gd name="connsiteX1271" fmla="*/ 5676226 w 9922465"/>
              <a:gd name="connsiteY1271" fmla="*/ 1274612 h 1934496"/>
              <a:gd name="connsiteX1272" fmla="*/ 5621034 w 9922465"/>
              <a:gd name="connsiteY1272" fmla="*/ 1329803 h 1934496"/>
              <a:gd name="connsiteX1273" fmla="*/ 5565842 w 9922465"/>
              <a:gd name="connsiteY1273" fmla="*/ 1274612 h 1934496"/>
              <a:gd name="connsiteX1274" fmla="*/ 5621034 w 9922465"/>
              <a:gd name="connsiteY1274" fmla="*/ 1219421 h 1934496"/>
              <a:gd name="connsiteX1275" fmla="*/ 5487399 w 9922465"/>
              <a:gd name="connsiteY1275" fmla="*/ 1219421 h 1934496"/>
              <a:gd name="connsiteX1276" fmla="*/ 5542591 w 9922465"/>
              <a:gd name="connsiteY1276" fmla="*/ 1274612 h 1934496"/>
              <a:gd name="connsiteX1277" fmla="*/ 5487399 w 9922465"/>
              <a:gd name="connsiteY1277" fmla="*/ 1329803 h 1934496"/>
              <a:gd name="connsiteX1278" fmla="*/ 5432207 w 9922465"/>
              <a:gd name="connsiteY1278" fmla="*/ 1274612 h 1934496"/>
              <a:gd name="connsiteX1279" fmla="*/ 5487399 w 9922465"/>
              <a:gd name="connsiteY1279" fmla="*/ 1219421 h 1934496"/>
              <a:gd name="connsiteX1280" fmla="*/ 5357106 w 9922465"/>
              <a:gd name="connsiteY1280" fmla="*/ 1219421 h 1934496"/>
              <a:gd name="connsiteX1281" fmla="*/ 5412298 w 9922465"/>
              <a:gd name="connsiteY1281" fmla="*/ 1274612 h 1934496"/>
              <a:gd name="connsiteX1282" fmla="*/ 5357106 w 9922465"/>
              <a:gd name="connsiteY1282" fmla="*/ 1329803 h 1934496"/>
              <a:gd name="connsiteX1283" fmla="*/ 5301914 w 9922465"/>
              <a:gd name="connsiteY1283" fmla="*/ 1274612 h 1934496"/>
              <a:gd name="connsiteX1284" fmla="*/ 5357106 w 9922465"/>
              <a:gd name="connsiteY1284" fmla="*/ 1219421 h 1934496"/>
              <a:gd name="connsiteX1285" fmla="*/ 5093178 w 9922465"/>
              <a:gd name="connsiteY1285" fmla="*/ 1219421 h 1934496"/>
              <a:gd name="connsiteX1286" fmla="*/ 5148370 w 9922465"/>
              <a:gd name="connsiteY1286" fmla="*/ 1274612 h 1934496"/>
              <a:gd name="connsiteX1287" fmla="*/ 5093178 w 9922465"/>
              <a:gd name="connsiteY1287" fmla="*/ 1329803 h 1934496"/>
              <a:gd name="connsiteX1288" fmla="*/ 5037986 w 9922465"/>
              <a:gd name="connsiteY1288" fmla="*/ 1274612 h 1934496"/>
              <a:gd name="connsiteX1289" fmla="*/ 5093178 w 9922465"/>
              <a:gd name="connsiteY1289" fmla="*/ 1219421 h 1934496"/>
              <a:gd name="connsiteX1290" fmla="*/ 4959542 w 9922465"/>
              <a:gd name="connsiteY1290" fmla="*/ 1219421 h 1934496"/>
              <a:gd name="connsiteX1291" fmla="*/ 5014734 w 9922465"/>
              <a:gd name="connsiteY1291" fmla="*/ 1274612 h 1934496"/>
              <a:gd name="connsiteX1292" fmla="*/ 4959542 w 9922465"/>
              <a:gd name="connsiteY1292" fmla="*/ 1329803 h 1934496"/>
              <a:gd name="connsiteX1293" fmla="*/ 4904350 w 9922465"/>
              <a:gd name="connsiteY1293" fmla="*/ 1274612 h 1934496"/>
              <a:gd name="connsiteX1294" fmla="*/ 4959542 w 9922465"/>
              <a:gd name="connsiteY1294" fmla="*/ 1219421 h 1934496"/>
              <a:gd name="connsiteX1295" fmla="*/ 4829250 w 9922465"/>
              <a:gd name="connsiteY1295" fmla="*/ 1219421 h 1934496"/>
              <a:gd name="connsiteX1296" fmla="*/ 4884442 w 9922465"/>
              <a:gd name="connsiteY1296" fmla="*/ 1274612 h 1934496"/>
              <a:gd name="connsiteX1297" fmla="*/ 4829250 w 9922465"/>
              <a:gd name="connsiteY1297" fmla="*/ 1329803 h 1934496"/>
              <a:gd name="connsiteX1298" fmla="*/ 4774058 w 9922465"/>
              <a:gd name="connsiteY1298" fmla="*/ 1274612 h 1934496"/>
              <a:gd name="connsiteX1299" fmla="*/ 4829250 w 9922465"/>
              <a:gd name="connsiteY1299" fmla="*/ 1219421 h 1934496"/>
              <a:gd name="connsiteX1300" fmla="*/ 319111 w 9922465"/>
              <a:gd name="connsiteY1300" fmla="*/ 1219421 h 1934496"/>
              <a:gd name="connsiteX1301" fmla="*/ 374305 w 9922465"/>
              <a:gd name="connsiteY1301" fmla="*/ 1274612 h 1934496"/>
              <a:gd name="connsiteX1302" fmla="*/ 319111 w 9922465"/>
              <a:gd name="connsiteY1302" fmla="*/ 1329803 h 1934496"/>
              <a:gd name="connsiteX1303" fmla="*/ 263920 w 9922465"/>
              <a:gd name="connsiteY1303" fmla="*/ 1274612 h 1934496"/>
              <a:gd name="connsiteX1304" fmla="*/ 319111 w 9922465"/>
              <a:gd name="connsiteY1304" fmla="*/ 1219421 h 1934496"/>
              <a:gd name="connsiteX1305" fmla="*/ 185480 w 9922465"/>
              <a:gd name="connsiteY1305" fmla="*/ 1219421 h 1934496"/>
              <a:gd name="connsiteX1306" fmla="*/ 240671 w 9922465"/>
              <a:gd name="connsiteY1306" fmla="*/ 1274612 h 1934496"/>
              <a:gd name="connsiteX1307" fmla="*/ 185480 w 9922465"/>
              <a:gd name="connsiteY1307" fmla="*/ 1329803 h 1934496"/>
              <a:gd name="connsiteX1308" fmla="*/ 130288 w 9922465"/>
              <a:gd name="connsiteY1308" fmla="*/ 1274612 h 1934496"/>
              <a:gd name="connsiteX1309" fmla="*/ 185480 w 9922465"/>
              <a:gd name="connsiteY1309" fmla="*/ 1219421 h 1934496"/>
              <a:gd name="connsiteX1310" fmla="*/ 449407 w 9922465"/>
              <a:gd name="connsiteY1310" fmla="*/ 1219419 h 1934496"/>
              <a:gd name="connsiteX1311" fmla="*/ 504600 w 9922465"/>
              <a:gd name="connsiteY1311" fmla="*/ 1274610 h 1934496"/>
              <a:gd name="connsiteX1312" fmla="*/ 449407 w 9922465"/>
              <a:gd name="connsiteY1312" fmla="*/ 1329801 h 1934496"/>
              <a:gd name="connsiteX1313" fmla="*/ 394214 w 9922465"/>
              <a:gd name="connsiteY1313" fmla="*/ 1274610 h 1934496"/>
              <a:gd name="connsiteX1314" fmla="*/ 449407 w 9922465"/>
              <a:gd name="connsiteY1314" fmla="*/ 1219419 h 1934496"/>
              <a:gd name="connsiteX1315" fmla="*/ 4565322 w 9922465"/>
              <a:gd name="connsiteY1315" fmla="*/ 1219417 h 1934496"/>
              <a:gd name="connsiteX1316" fmla="*/ 4620514 w 9922465"/>
              <a:gd name="connsiteY1316" fmla="*/ 1274608 h 1934496"/>
              <a:gd name="connsiteX1317" fmla="*/ 4565322 w 9922465"/>
              <a:gd name="connsiteY1317" fmla="*/ 1329799 h 1934496"/>
              <a:gd name="connsiteX1318" fmla="*/ 4510130 w 9922465"/>
              <a:gd name="connsiteY1318" fmla="*/ 1274608 h 1934496"/>
              <a:gd name="connsiteX1319" fmla="*/ 4565322 w 9922465"/>
              <a:gd name="connsiteY1319" fmla="*/ 1219417 h 1934496"/>
              <a:gd name="connsiteX1320" fmla="*/ 2834811 w 9922465"/>
              <a:gd name="connsiteY1320" fmla="*/ 1219417 h 1934496"/>
              <a:gd name="connsiteX1321" fmla="*/ 2890003 w 9922465"/>
              <a:gd name="connsiteY1321" fmla="*/ 1274608 h 1934496"/>
              <a:gd name="connsiteX1322" fmla="*/ 2834811 w 9922465"/>
              <a:gd name="connsiteY1322" fmla="*/ 1329799 h 1934496"/>
              <a:gd name="connsiteX1323" fmla="*/ 2779620 w 9922465"/>
              <a:gd name="connsiteY1323" fmla="*/ 1274608 h 1934496"/>
              <a:gd name="connsiteX1324" fmla="*/ 2834811 w 9922465"/>
              <a:gd name="connsiteY1324" fmla="*/ 1219417 h 1934496"/>
              <a:gd name="connsiteX1325" fmla="*/ 2707858 w 9922465"/>
              <a:gd name="connsiteY1325" fmla="*/ 1219417 h 1934496"/>
              <a:gd name="connsiteX1326" fmla="*/ 2763052 w 9922465"/>
              <a:gd name="connsiteY1326" fmla="*/ 1274608 h 1934496"/>
              <a:gd name="connsiteX1327" fmla="*/ 2707858 w 9922465"/>
              <a:gd name="connsiteY1327" fmla="*/ 1329799 h 1934496"/>
              <a:gd name="connsiteX1328" fmla="*/ 2652667 w 9922465"/>
              <a:gd name="connsiteY1328" fmla="*/ 1274608 h 1934496"/>
              <a:gd name="connsiteX1329" fmla="*/ 2707858 w 9922465"/>
              <a:gd name="connsiteY1329" fmla="*/ 1219417 h 1934496"/>
              <a:gd name="connsiteX1330" fmla="*/ 2570885 w 9922465"/>
              <a:gd name="connsiteY1330" fmla="*/ 1219417 h 1934496"/>
              <a:gd name="connsiteX1331" fmla="*/ 2626075 w 9922465"/>
              <a:gd name="connsiteY1331" fmla="*/ 1274608 h 1934496"/>
              <a:gd name="connsiteX1332" fmla="*/ 2570885 w 9922465"/>
              <a:gd name="connsiteY1332" fmla="*/ 1329799 h 1934496"/>
              <a:gd name="connsiteX1333" fmla="*/ 2515692 w 9922465"/>
              <a:gd name="connsiteY1333" fmla="*/ 1274608 h 1934496"/>
              <a:gd name="connsiteX1334" fmla="*/ 2570885 w 9922465"/>
              <a:gd name="connsiteY1334" fmla="*/ 1219417 h 1934496"/>
              <a:gd name="connsiteX1335" fmla="*/ 2039686 w 9922465"/>
              <a:gd name="connsiteY1335" fmla="*/ 1219417 h 1934496"/>
              <a:gd name="connsiteX1336" fmla="*/ 2094880 w 9922465"/>
              <a:gd name="connsiteY1336" fmla="*/ 1274608 h 1934496"/>
              <a:gd name="connsiteX1337" fmla="*/ 2039686 w 9922465"/>
              <a:gd name="connsiteY1337" fmla="*/ 1329799 h 1934496"/>
              <a:gd name="connsiteX1338" fmla="*/ 1984493 w 9922465"/>
              <a:gd name="connsiteY1338" fmla="*/ 1274608 h 1934496"/>
              <a:gd name="connsiteX1339" fmla="*/ 2039686 w 9922465"/>
              <a:gd name="connsiteY1339" fmla="*/ 1219417 h 1934496"/>
              <a:gd name="connsiteX1340" fmla="*/ 1909390 w 9922465"/>
              <a:gd name="connsiteY1340" fmla="*/ 1219417 h 1934496"/>
              <a:gd name="connsiteX1341" fmla="*/ 1964583 w 9922465"/>
              <a:gd name="connsiteY1341" fmla="*/ 1274608 h 1934496"/>
              <a:gd name="connsiteX1342" fmla="*/ 1909390 w 9922465"/>
              <a:gd name="connsiteY1342" fmla="*/ 1329799 h 1934496"/>
              <a:gd name="connsiteX1343" fmla="*/ 1854197 w 9922465"/>
              <a:gd name="connsiteY1343" fmla="*/ 1274608 h 1934496"/>
              <a:gd name="connsiteX1344" fmla="*/ 1909390 w 9922465"/>
              <a:gd name="connsiteY1344" fmla="*/ 1219417 h 1934496"/>
              <a:gd name="connsiteX1345" fmla="*/ 1779095 w 9922465"/>
              <a:gd name="connsiteY1345" fmla="*/ 1219417 h 1934496"/>
              <a:gd name="connsiteX1346" fmla="*/ 1834287 w 9922465"/>
              <a:gd name="connsiteY1346" fmla="*/ 1274608 h 1934496"/>
              <a:gd name="connsiteX1347" fmla="*/ 1779095 w 9922465"/>
              <a:gd name="connsiteY1347" fmla="*/ 1329799 h 1934496"/>
              <a:gd name="connsiteX1348" fmla="*/ 1723902 w 9922465"/>
              <a:gd name="connsiteY1348" fmla="*/ 1274608 h 1934496"/>
              <a:gd name="connsiteX1349" fmla="*/ 1779095 w 9922465"/>
              <a:gd name="connsiteY1349" fmla="*/ 1219417 h 1934496"/>
              <a:gd name="connsiteX1350" fmla="*/ 1645457 w 9922465"/>
              <a:gd name="connsiteY1350" fmla="*/ 1219417 h 1934496"/>
              <a:gd name="connsiteX1351" fmla="*/ 1700655 w 9922465"/>
              <a:gd name="connsiteY1351" fmla="*/ 1274608 h 1934496"/>
              <a:gd name="connsiteX1352" fmla="*/ 1645457 w 9922465"/>
              <a:gd name="connsiteY1352" fmla="*/ 1329799 h 1934496"/>
              <a:gd name="connsiteX1353" fmla="*/ 1590265 w 9922465"/>
              <a:gd name="connsiteY1353" fmla="*/ 1274608 h 1934496"/>
              <a:gd name="connsiteX1354" fmla="*/ 1645457 w 9922465"/>
              <a:gd name="connsiteY1354" fmla="*/ 1219417 h 1934496"/>
              <a:gd name="connsiteX1355" fmla="*/ 1515168 w 9922465"/>
              <a:gd name="connsiteY1355" fmla="*/ 1219417 h 1934496"/>
              <a:gd name="connsiteX1356" fmla="*/ 1570354 w 9922465"/>
              <a:gd name="connsiteY1356" fmla="*/ 1274608 h 1934496"/>
              <a:gd name="connsiteX1357" fmla="*/ 1515168 w 9922465"/>
              <a:gd name="connsiteY1357" fmla="*/ 1329799 h 1934496"/>
              <a:gd name="connsiteX1358" fmla="*/ 1459973 w 9922465"/>
              <a:gd name="connsiteY1358" fmla="*/ 1274608 h 1934496"/>
              <a:gd name="connsiteX1359" fmla="*/ 1515168 w 9922465"/>
              <a:gd name="connsiteY1359" fmla="*/ 1219417 h 1934496"/>
              <a:gd name="connsiteX1360" fmla="*/ 1381528 w 9922465"/>
              <a:gd name="connsiteY1360" fmla="*/ 1219417 h 1934496"/>
              <a:gd name="connsiteX1361" fmla="*/ 1436723 w 9922465"/>
              <a:gd name="connsiteY1361" fmla="*/ 1274608 h 1934496"/>
              <a:gd name="connsiteX1362" fmla="*/ 1381528 w 9922465"/>
              <a:gd name="connsiteY1362" fmla="*/ 1329799 h 1934496"/>
              <a:gd name="connsiteX1363" fmla="*/ 1326339 w 9922465"/>
              <a:gd name="connsiteY1363" fmla="*/ 1274608 h 1934496"/>
              <a:gd name="connsiteX1364" fmla="*/ 1381528 w 9922465"/>
              <a:gd name="connsiteY1364" fmla="*/ 1219417 h 1934496"/>
              <a:gd name="connsiteX1365" fmla="*/ 1251239 w 9922465"/>
              <a:gd name="connsiteY1365" fmla="*/ 1219417 h 1934496"/>
              <a:gd name="connsiteX1366" fmla="*/ 1306431 w 9922465"/>
              <a:gd name="connsiteY1366" fmla="*/ 1274608 h 1934496"/>
              <a:gd name="connsiteX1367" fmla="*/ 1251239 w 9922465"/>
              <a:gd name="connsiteY1367" fmla="*/ 1329799 h 1934496"/>
              <a:gd name="connsiteX1368" fmla="*/ 1196046 w 9922465"/>
              <a:gd name="connsiteY1368" fmla="*/ 1274608 h 1934496"/>
              <a:gd name="connsiteX1369" fmla="*/ 1251239 w 9922465"/>
              <a:gd name="connsiteY1369" fmla="*/ 1219417 h 1934496"/>
              <a:gd name="connsiteX1370" fmla="*/ 1117601 w 9922465"/>
              <a:gd name="connsiteY1370" fmla="*/ 1219417 h 1934496"/>
              <a:gd name="connsiteX1371" fmla="*/ 1172794 w 9922465"/>
              <a:gd name="connsiteY1371" fmla="*/ 1274608 h 1934496"/>
              <a:gd name="connsiteX1372" fmla="*/ 1117601 w 9922465"/>
              <a:gd name="connsiteY1372" fmla="*/ 1329799 h 1934496"/>
              <a:gd name="connsiteX1373" fmla="*/ 1062408 w 9922465"/>
              <a:gd name="connsiteY1373" fmla="*/ 1274608 h 1934496"/>
              <a:gd name="connsiteX1374" fmla="*/ 1117601 w 9922465"/>
              <a:gd name="connsiteY1374" fmla="*/ 1219417 h 1934496"/>
              <a:gd name="connsiteX1375" fmla="*/ 980622 w 9922465"/>
              <a:gd name="connsiteY1375" fmla="*/ 1219417 h 1934496"/>
              <a:gd name="connsiteX1376" fmla="*/ 1035816 w 9922465"/>
              <a:gd name="connsiteY1376" fmla="*/ 1274608 h 1934496"/>
              <a:gd name="connsiteX1377" fmla="*/ 980622 w 9922465"/>
              <a:gd name="connsiteY1377" fmla="*/ 1329799 h 1934496"/>
              <a:gd name="connsiteX1378" fmla="*/ 925429 w 9922465"/>
              <a:gd name="connsiteY1378" fmla="*/ 1274608 h 1934496"/>
              <a:gd name="connsiteX1379" fmla="*/ 980622 w 9922465"/>
              <a:gd name="connsiteY1379" fmla="*/ 1219417 h 1934496"/>
              <a:gd name="connsiteX1380" fmla="*/ 9469710 w 9922465"/>
              <a:gd name="connsiteY1380" fmla="*/ 1099147 h 1934496"/>
              <a:gd name="connsiteX1381" fmla="*/ 9524902 w 9922465"/>
              <a:gd name="connsiteY1381" fmla="*/ 1154338 h 1934496"/>
              <a:gd name="connsiteX1382" fmla="*/ 9469710 w 9922465"/>
              <a:gd name="connsiteY1382" fmla="*/ 1209529 h 1934496"/>
              <a:gd name="connsiteX1383" fmla="*/ 9414518 w 9922465"/>
              <a:gd name="connsiteY1383" fmla="*/ 1154338 h 1934496"/>
              <a:gd name="connsiteX1384" fmla="*/ 9469710 w 9922465"/>
              <a:gd name="connsiteY1384" fmla="*/ 1099147 h 1934496"/>
              <a:gd name="connsiteX1385" fmla="*/ 9336075 w 9922465"/>
              <a:gd name="connsiteY1385" fmla="*/ 1099147 h 1934496"/>
              <a:gd name="connsiteX1386" fmla="*/ 9391267 w 9922465"/>
              <a:gd name="connsiteY1386" fmla="*/ 1154338 h 1934496"/>
              <a:gd name="connsiteX1387" fmla="*/ 9336075 w 9922465"/>
              <a:gd name="connsiteY1387" fmla="*/ 1209529 h 1934496"/>
              <a:gd name="connsiteX1388" fmla="*/ 9280883 w 9922465"/>
              <a:gd name="connsiteY1388" fmla="*/ 1154338 h 1934496"/>
              <a:gd name="connsiteX1389" fmla="*/ 9336075 w 9922465"/>
              <a:gd name="connsiteY1389" fmla="*/ 1099147 h 1934496"/>
              <a:gd name="connsiteX1390" fmla="*/ 9199100 w 9922465"/>
              <a:gd name="connsiteY1390" fmla="*/ 1099147 h 1934496"/>
              <a:gd name="connsiteX1391" fmla="*/ 9254292 w 9922465"/>
              <a:gd name="connsiteY1391" fmla="*/ 1154338 h 1934496"/>
              <a:gd name="connsiteX1392" fmla="*/ 9199100 w 9922465"/>
              <a:gd name="connsiteY1392" fmla="*/ 1209529 h 1934496"/>
              <a:gd name="connsiteX1393" fmla="*/ 9143908 w 9922465"/>
              <a:gd name="connsiteY1393" fmla="*/ 1154338 h 1934496"/>
              <a:gd name="connsiteX1394" fmla="*/ 9199100 w 9922465"/>
              <a:gd name="connsiteY1394" fmla="*/ 1099147 h 1934496"/>
              <a:gd name="connsiteX1395" fmla="*/ 9068805 w 9922465"/>
              <a:gd name="connsiteY1395" fmla="*/ 1099147 h 1934496"/>
              <a:gd name="connsiteX1396" fmla="*/ 9123997 w 9922465"/>
              <a:gd name="connsiteY1396" fmla="*/ 1154338 h 1934496"/>
              <a:gd name="connsiteX1397" fmla="*/ 9068805 w 9922465"/>
              <a:gd name="connsiteY1397" fmla="*/ 1209529 h 1934496"/>
              <a:gd name="connsiteX1398" fmla="*/ 9013613 w 9922465"/>
              <a:gd name="connsiteY1398" fmla="*/ 1154338 h 1934496"/>
              <a:gd name="connsiteX1399" fmla="*/ 9068805 w 9922465"/>
              <a:gd name="connsiteY1399" fmla="*/ 1099147 h 1934496"/>
              <a:gd name="connsiteX1400" fmla="*/ 8935170 w 9922465"/>
              <a:gd name="connsiteY1400" fmla="*/ 1099147 h 1934496"/>
              <a:gd name="connsiteX1401" fmla="*/ 8990362 w 9922465"/>
              <a:gd name="connsiteY1401" fmla="*/ 1154338 h 1934496"/>
              <a:gd name="connsiteX1402" fmla="*/ 8935170 w 9922465"/>
              <a:gd name="connsiteY1402" fmla="*/ 1209529 h 1934496"/>
              <a:gd name="connsiteX1403" fmla="*/ 8879978 w 9922465"/>
              <a:gd name="connsiteY1403" fmla="*/ 1154338 h 1934496"/>
              <a:gd name="connsiteX1404" fmla="*/ 8935170 w 9922465"/>
              <a:gd name="connsiteY1404" fmla="*/ 1099147 h 1934496"/>
              <a:gd name="connsiteX1405" fmla="*/ 8801536 w 9922465"/>
              <a:gd name="connsiteY1405" fmla="*/ 1099147 h 1934496"/>
              <a:gd name="connsiteX1406" fmla="*/ 8856728 w 9922465"/>
              <a:gd name="connsiteY1406" fmla="*/ 1154338 h 1934496"/>
              <a:gd name="connsiteX1407" fmla="*/ 8801536 w 9922465"/>
              <a:gd name="connsiteY1407" fmla="*/ 1209529 h 1934496"/>
              <a:gd name="connsiteX1408" fmla="*/ 8746344 w 9922465"/>
              <a:gd name="connsiteY1408" fmla="*/ 1154338 h 1934496"/>
              <a:gd name="connsiteX1409" fmla="*/ 8801536 w 9922465"/>
              <a:gd name="connsiteY1409" fmla="*/ 1099147 h 1934496"/>
              <a:gd name="connsiteX1410" fmla="*/ 8671243 w 9922465"/>
              <a:gd name="connsiteY1410" fmla="*/ 1099147 h 1934496"/>
              <a:gd name="connsiteX1411" fmla="*/ 8726435 w 9922465"/>
              <a:gd name="connsiteY1411" fmla="*/ 1154338 h 1934496"/>
              <a:gd name="connsiteX1412" fmla="*/ 8671243 w 9922465"/>
              <a:gd name="connsiteY1412" fmla="*/ 1209529 h 1934496"/>
              <a:gd name="connsiteX1413" fmla="*/ 8616051 w 9922465"/>
              <a:gd name="connsiteY1413" fmla="*/ 1154338 h 1934496"/>
              <a:gd name="connsiteX1414" fmla="*/ 8671243 w 9922465"/>
              <a:gd name="connsiteY1414" fmla="*/ 1099147 h 1934496"/>
              <a:gd name="connsiteX1415" fmla="*/ 8537609 w 9922465"/>
              <a:gd name="connsiteY1415" fmla="*/ 1099147 h 1934496"/>
              <a:gd name="connsiteX1416" fmla="*/ 8592801 w 9922465"/>
              <a:gd name="connsiteY1416" fmla="*/ 1154338 h 1934496"/>
              <a:gd name="connsiteX1417" fmla="*/ 8537609 w 9922465"/>
              <a:gd name="connsiteY1417" fmla="*/ 1209529 h 1934496"/>
              <a:gd name="connsiteX1418" fmla="*/ 8482417 w 9922465"/>
              <a:gd name="connsiteY1418" fmla="*/ 1154338 h 1934496"/>
              <a:gd name="connsiteX1419" fmla="*/ 8537609 w 9922465"/>
              <a:gd name="connsiteY1419" fmla="*/ 1099147 h 1934496"/>
              <a:gd name="connsiteX1420" fmla="*/ 8407315 w 9922465"/>
              <a:gd name="connsiteY1420" fmla="*/ 1099147 h 1934496"/>
              <a:gd name="connsiteX1421" fmla="*/ 8462507 w 9922465"/>
              <a:gd name="connsiteY1421" fmla="*/ 1154338 h 1934496"/>
              <a:gd name="connsiteX1422" fmla="*/ 8407315 w 9922465"/>
              <a:gd name="connsiteY1422" fmla="*/ 1209529 h 1934496"/>
              <a:gd name="connsiteX1423" fmla="*/ 8352123 w 9922465"/>
              <a:gd name="connsiteY1423" fmla="*/ 1154338 h 1934496"/>
              <a:gd name="connsiteX1424" fmla="*/ 8407315 w 9922465"/>
              <a:gd name="connsiteY1424" fmla="*/ 1099147 h 1934496"/>
              <a:gd name="connsiteX1425" fmla="*/ 8273681 w 9922465"/>
              <a:gd name="connsiteY1425" fmla="*/ 1099147 h 1934496"/>
              <a:gd name="connsiteX1426" fmla="*/ 8328873 w 9922465"/>
              <a:gd name="connsiteY1426" fmla="*/ 1154338 h 1934496"/>
              <a:gd name="connsiteX1427" fmla="*/ 8273681 w 9922465"/>
              <a:gd name="connsiteY1427" fmla="*/ 1209529 h 1934496"/>
              <a:gd name="connsiteX1428" fmla="*/ 8218489 w 9922465"/>
              <a:gd name="connsiteY1428" fmla="*/ 1154338 h 1934496"/>
              <a:gd name="connsiteX1429" fmla="*/ 8273681 w 9922465"/>
              <a:gd name="connsiteY1429" fmla="*/ 1099147 h 1934496"/>
              <a:gd name="connsiteX1430" fmla="*/ 8143386 w 9922465"/>
              <a:gd name="connsiteY1430" fmla="*/ 1099147 h 1934496"/>
              <a:gd name="connsiteX1431" fmla="*/ 8198578 w 9922465"/>
              <a:gd name="connsiteY1431" fmla="*/ 1154338 h 1934496"/>
              <a:gd name="connsiteX1432" fmla="*/ 8143386 w 9922465"/>
              <a:gd name="connsiteY1432" fmla="*/ 1209529 h 1934496"/>
              <a:gd name="connsiteX1433" fmla="*/ 8088194 w 9922465"/>
              <a:gd name="connsiteY1433" fmla="*/ 1154338 h 1934496"/>
              <a:gd name="connsiteX1434" fmla="*/ 8143386 w 9922465"/>
              <a:gd name="connsiteY1434" fmla="*/ 1099147 h 1934496"/>
              <a:gd name="connsiteX1435" fmla="*/ 8009752 w 9922465"/>
              <a:gd name="connsiteY1435" fmla="*/ 1099147 h 1934496"/>
              <a:gd name="connsiteX1436" fmla="*/ 8064944 w 9922465"/>
              <a:gd name="connsiteY1436" fmla="*/ 1154338 h 1934496"/>
              <a:gd name="connsiteX1437" fmla="*/ 8009752 w 9922465"/>
              <a:gd name="connsiteY1437" fmla="*/ 1209529 h 1934496"/>
              <a:gd name="connsiteX1438" fmla="*/ 7954560 w 9922465"/>
              <a:gd name="connsiteY1438" fmla="*/ 1154338 h 1934496"/>
              <a:gd name="connsiteX1439" fmla="*/ 8009752 w 9922465"/>
              <a:gd name="connsiteY1439" fmla="*/ 1099147 h 1934496"/>
              <a:gd name="connsiteX1440" fmla="*/ 7876117 w 9922465"/>
              <a:gd name="connsiteY1440" fmla="*/ 1099147 h 1934496"/>
              <a:gd name="connsiteX1441" fmla="*/ 7931309 w 9922465"/>
              <a:gd name="connsiteY1441" fmla="*/ 1154338 h 1934496"/>
              <a:gd name="connsiteX1442" fmla="*/ 7876117 w 9922465"/>
              <a:gd name="connsiteY1442" fmla="*/ 1209529 h 1934496"/>
              <a:gd name="connsiteX1443" fmla="*/ 7820925 w 9922465"/>
              <a:gd name="connsiteY1443" fmla="*/ 1154338 h 1934496"/>
              <a:gd name="connsiteX1444" fmla="*/ 7876117 w 9922465"/>
              <a:gd name="connsiteY1444" fmla="*/ 1099147 h 1934496"/>
              <a:gd name="connsiteX1445" fmla="*/ 7745822 w 9922465"/>
              <a:gd name="connsiteY1445" fmla="*/ 1099147 h 1934496"/>
              <a:gd name="connsiteX1446" fmla="*/ 7801014 w 9922465"/>
              <a:gd name="connsiteY1446" fmla="*/ 1154338 h 1934496"/>
              <a:gd name="connsiteX1447" fmla="*/ 7745822 w 9922465"/>
              <a:gd name="connsiteY1447" fmla="*/ 1209529 h 1934496"/>
              <a:gd name="connsiteX1448" fmla="*/ 7690630 w 9922465"/>
              <a:gd name="connsiteY1448" fmla="*/ 1154338 h 1934496"/>
              <a:gd name="connsiteX1449" fmla="*/ 7745822 w 9922465"/>
              <a:gd name="connsiteY1449" fmla="*/ 1099147 h 1934496"/>
              <a:gd name="connsiteX1450" fmla="*/ 7608847 w 9922465"/>
              <a:gd name="connsiteY1450" fmla="*/ 1099147 h 1934496"/>
              <a:gd name="connsiteX1451" fmla="*/ 7664039 w 9922465"/>
              <a:gd name="connsiteY1451" fmla="*/ 1154338 h 1934496"/>
              <a:gd name="connsiteX1452" fmla="*/ 7608847 w 9922465"/>
              <a:gd name="connsiteY1452" fmla="*/ 1209529 h 1934496"/>
              <a:gd name="connsiteX1453" fmla="*/ 7553655 w 9922465"/>
              <a:gd name="connsiteY1453" fmla="*/ 1154338 h 1934496"/>
              <a:gd name="connsiteX1454" fmla="*/ 7608847 w 9922465"/>
              <a:gd name="connsiteY1454" fmla="*/ 1099147 h 1934496"/>
              <a:gd name="connsiteX1455" fmla="*/ 7481895 w 9922465"/>
              <a:gd name="connsiteY1455" fmla="*/ 1099147 h 1934496"/>
              <a:gd name="connsiteX1456" fmla="*/ 7537087 w 9922465"/>
              <a:gd name="connsiteY1456" fmla="*/ 1154338 h 1934496"/>
              <a:gd name="connsiteX1457" fmla="*/ 7481895 w 9922465"/>
              <a:gd name="connsiteY1457" fmla="*/ 1209529 h 1934496"/>
              <a:gd name="connsiteX1458" fmla="*/ 7426703 w 9922465"/>
              <a:gd name="connsiteY1458" fmla="*/ 1154338 h 1934496"/>
              <a:gd name="connsiteX1459" fmla="*/ 7481895 w 9922465"/>
              <a:gd name="connsiteY1459" fmla="*/ 1099147 h 1934496"/>
              <a:gd name="connsiteX1460" fmla="*/ 7341578 w 9922465"/>
              <a:gd name="connsiteY1460" fmla="*/ 1099147 h 1934496"/>
              <a:gd name="connsiteX1461" fmla="*/ 7396770 w 9922465"/>
              <a:gd name="connsiteY1461" fmla="*/ 1154338 h 1934496"/>
              <a:gd name="connsiteX1462" fmla="*/ 7341578 w 9922465"/>
              <a:gd name="connsiteY1462" fmla="*/ 1209529 h 1934496"/>
              <a:gd name="connsiteX1463" fmla="*/ 7286386 w 9922465"/>
              <a:gd name="connsiteY1463" fmla="*/ 1154338 h 1934496"/>
              <a:gd name="connsiteX1464" fmla="*/ 7341578 w 9922465"/>
              <a:gd name="connsiteY1464" fmla="*/ 1099147 h 1934496"/>
              <a:gd name="connsiteX1465" fmla="*/ 7211285 w 9922465"/>
              <a:gd name="connsiteY1465" fmla="*/ 1099147 h 1934496"/>
              <a:gd name="connsiteX1466" fmla="*/ 7266477 w 9922465"/>
              <a:gd name="connsiteY1466" fmla="*/ 1154338 h 1934496"/>
              <a:gd name="connsiteX1467" fmla="*/ 7211285 w 9922465"/>
              <a:gd name="connsiteY1467" fmla="*/ 1209529 h 1934496"/>
              <a:gd name="connsiteX1468" fmla="*/ 7156093 w 9922465"/>
              <a:gd name="connsiteY1468" fmla="*/ 1154338 h 1934496"/>
              <a:gd name="connsiteX1469" fmla="*/ 7211285 w 9922465"/>
              <a:gd name="connsiteY1469" fmla="*/ 1099147 h 1934496"/>
              <a:gd name="connsiteX1470" fmla="*/ 7080991 w 9922465"/>
              <a:gd name="connsiteY1470" fmla="*/ 1099147 h 1934496"/>
              <a:gd name="connsiteX1471" fmla="*/ 7136183 w 9922465"/>
              <a:gd name="connsiteY1471" fmla="*/ 1154338 h 1934496"/>
              <a:gd name="connsiteX1472" fmla="*/ 7080991 w 9922465"/>
              <a:gd name="connsiteY1472" fmla="*/ 1209529 h 1934496"/>
              <a:gd name="connsiteX1473" fmla="*/ 7025799 w 9922465"/>
              <a:gd name="connsiteY1473" fmla="*/ 1154338 h 1934496"/>
              <a:gd name="connsiteX1474" fmla="*/ 7080991 w 9922465"/>
              <a:gd name="connsiteY1474" fmla="*/ 1099147 h 1934496"/>
              <a:gd name="connsiteX1475" fmla="*/ 6947356 w 9922465"/>
              <a:gd name="connsiteY1475" fmla="*/ 1099147 h 1934496"/>
              <a:gd name="connsiteX1476" fmla="*/ 7002548 w 9922465"/>
              <a:gd name="connsiteY1476" fmla="*/ 1154338 h 1934496"/>
              <a:gd name="connsiteX1477" fmla="*/ 6947356 w 9922465"/>
              <a:gd name="connsiteY1477" fmla="*/ 1209529 h 1934496"/>
              <a:gd name="connsiteX1478" fmla="*/ 6892164 w 9922465"/>
              <a:gd name="connsiteY1478" fmla="*/ 1154338 h 1934496"/>
              <a:gd name="connsiteX1479" fmla="*/ 6947356 w 9922465"/>
              <a:gd name="connsiteY1479" fmla="*/ 1099147 h 1934496"/>
              <a:gd name="connsiteX1480" fmla="*/ 6817063 w 9922465"/>
              <a:gd name="connsiteY1480" fmla="*/ 1099147 h 1934496"/>
              <a:gd name="connsiteX1481" fmla="*/ 6872255 w 9922465"/>
              <a:gd name="connsiteY1481" fmla="*/ 1154338 h 1934496"/>
              <a:gd name="connsiteX1482" fmla="*/ 6817063 w 9922465"/>
              <a:gd name="connsiteY1482" fmla="*/ 1209529 h 1934496"/>
              <a:gd name="connsiteX1483" fmla="*/ 6761871 w 9922465"/>
              <a:gd name="connsiteY1483" fmla="*/ 1154338 h 1934496"/>
              <a:gd name="connsiteX1484" fmla="*/ 6817063 w 9922465"/>
              <a:gd name="connsiteY1484" fmla="*/ 1099147 h 1934496"/>
              <a:gd name="connsiteX1485" fmla="*/ 6683430 w 9922465"/>
              <a:gd name="connsiteY1485" fmla="*/ 1099147 h 1934496"/>
              <a:gd name="connsiteX1486" fmla="*/ 6738622 w 9922465"/>
              <a:gd name="connsiteY1486" fmla="*/ 1154338 h 1934496"/>
              <a:gd name="connsiteX1487" fmla="*/ 6683430 w 9922465"/>
              <a:gd name="connsiteY1487" fmla="*/ 1209529 h 1934496"/>
              <a:gd name="connsiteX1488" fmla="*/ 6628238 w 9922465"/>
              <a:gd name="connsiteY1488" fmla="*/ 1154338 h 1934496"/>
              <a:gd name="connsiteX1489" fmla="*/ 6683430 w 9922465"/>
              <a:gd name="connsiteY1489" fmla="*/ 1099147 h 1934496"/>
              <a:gd name="connsiteX1490" fmla="*/ 6553135 w 9922465"/>
              <a:gd name="connsiteY1490" fmla="*/ 1099147 h 1934496"/>
              <a:gd name="connsiteX1491" fmla="*/ 6608327 w 9922465"/>
              <a:gd name="connsiteY1491" fmla="*/ 1154338 h 1934496"/>
              <a:gd name="connsiteX1492" fmla="*/ 6553135 w 9922465"/>
              <a:gd name="connsiteY1492" fmla="*/ 1209529 h 1934496"/>
              <a:gd name="connsiteX1493" fmla="*/ 6497943 w 9922465"/>
              <a:gd name="connsiteY1493" fmla="*/ 1154338 h 1934496"/>
              <a:gd name="connsiteX1494" fmla="*/ 6553135 w 9922465"/>
              <a:gd name="connsiteY1494" fmla="*/ 1099147 h 1934496"/>
              <a:gd name="connsiteX1495" fmla="*/ 6419501 w 9922465"/>
              <a:gd name="connsiteY1495" fmla="*/ 1099147 h 1934496"/>
              <a:gd name="connsiteX1496" fmla="*/ 6474693 w 9922465"/>
              <a:gd name="connsiteY1496" fmla="*/ 1154338 h 1934496"/>
              <a:gd name="connsiteX1497" fmla="*/ 6419501 w 9922465"/>
              <a:gd name="connsiteY1497" fmla="*/ 1209529 h 1934496"/>
              <a:gd name="connsiteX1498" fmla="*/ 6364309 w 9922465"/>
              <a:gd name="connsiteY1498" fmla="*/ 1154338 h 1934496"/>
              <a:gd name="connsiteX1499" fmla="*/ 6419501 w 9922465"/>
              <a:gd name="connsiteY1499" fmla="*/ 1099147 h 1934496"/>
              <a:gd name="connsiteX1500" fmla="*/ 6289206 w 9922465"/>
              <a:gd name="connsiteY1500" fmla="*/ 1099147 h 1934496"/>
              <a:gd name="connsiteX1501" fmla="*/ 6344398 w 9922465"/>
              <a:gd name="connsiteY1501" fmla="*/ 1154338 h 1934496"/>
              <a:gd name="connsiteX1502" fmla="*/ 6289206 w 9922465"/>
              <a:gd name="connsiteY1502" fmla="*/ 1209529 h 1934496"/>
              <a:gd name="connsiteX1503" fmla="*/ 6234014 w 9922465"/>
              <a:gd name="connsiteY1503" fmla="*/ 1154338 h 1934496"/>
              <a:gd name="connsiteX1504" fmla="*/ 6289206 w 9922465"/>
              <a:gd name="connsiteY1504" fmla="*/ 1099147 h 1934496"/>
              <a:gd name="connsiteX1505" fmla="*/ 6155571 w 9922465"/>
              <a:gd name="connsiteY1505" fmla="*/ 1099147 h 1934496"/>
              <a:gd name="connsiteX1506" fmla="*/ 6210763 w 9922465"/>
              <a:gd name="connsiteY1506" fmla="*/ 1154338 h 1934496"/>
              <a:gd name="connsiteX1507" fmla="*/ 6155571 w 9922465"/>
              <a:gd name="connsiteY1507" fmla="*/ 1209529 h 1934496"/>
              <a:gd name="connsiteX1508" fmla="*/ 6100379 w 9922465"/>
              <a:gd name="connsiteY1508" fmla="*/ 1154338 h 1934496"/>
              <a:gd name="connsiteX1509" fmla="*/ 6155571 w 9922465"/>
              <a:gd name="connsiteY1509" fmla="*/ 1099147 h 1934496"/>
              <a:gd name="connsiteX1510" fmla="*/ 6021938 w 9922465"/>
              <a:gd name="connsiteY1510" fmla="*/ 1099147 h 1934496"/>
              <a:gd name="connsiteX1511" fmla="*/ 6077130 w 9922465"/>
              <a:gd name="connsiteY1511" fmla="*/ 1154338 h 1934496"/>
              <a:gd name="connsiteX1512" fmla="*/ 6021938 w 9922465"/>
              <a:gd name="connsiteY1512" fmla="*/ 1209529 h 1934496"/>
              <a:gd name="connsiteX1513" fmla="*/ 5966746 w 9922465"/>
              <a:gd name="connsiteY1513" fmla="*/ 1154338 h 1934496"/>
              <a:gd name="connsiteX1514" fmla="*/ 6021938 w 9922465"/>
              <a:gd name="connsiteY1514" fmla="*/ 1099147 h 1934496"/>
              <a:gd name="connsiteX1515" fmla="*/ 5884963 w 9922465"/>
              <a:gd name="connsiteY1515" fmla="*/ 1099147 h 1934496"/>
              <a:gd name="connsiteX1516" fmla="*/ 5940155 w 9922465"/>
              <a:gd name="connsiteY1516" fmla="*/ 1154338 h 1934496"/>
              <a:gd name="connsiteX1517" fmla="*/ 5884963 w 9922465"/>
              <a:gd name="connsiteY1517" fmla="*/ 1209529 h 1934496"/>
              <a:gd name="connsiteX1518" fmla="*/ 5829771 w 9922465"/>
              <a:gd name="connsiteY1518" fmla="*/ 1154338 h 1934496"/>
              <a:gd name="connsiteX1519" fmla="*/ 5884963 w 9922465"/>
              <a:gd name="connsiteY1519" fmla="*/ 1099147 h 1934496"/>
              <a:gd name="connsiteX1520" fmla="*/ 5754668 w 9922465"/>
              <a:gd name="connsiteY1520" fmla="*/ 1099147 h 1934496"/>
              <a:gd name="connsiteX1521" fmla="*/ 5809860 w 9922465"/>
              <a:gd name="connsiteY1521" fmla="*/ 1154338 h 1934496"/>
              <a:gd name="connsiteX1522" fmla="*/ 5754668 w 9922465"/>
              <a:gd name="connsiteY1522" fmla="*/ 1209529 h 1934496"/>
              <a:gd name="connsiteX1523" fmla="*/ 5699476 w 9922465"/>
              <a:gd name="connsiteY1523" fmla="*/ 1154338 h 1934496"/>
              <a:gd name="connsiteX1524" fmla="*/ 5754668 w 9922465"/>
              <a:gd name="connsiteY1524" fmla="*/ 1099147 h 1934496"/>
              <a:gd name="connsiteX1525" fmla="*/ 5621031 w 9922465"/>
              <a:gd name="connsiteY1525" fmla="*/ 1099147 h 1934496"/>
              <a:gd name="connsiteX1526" fmla="*/ 5676223 w 9922465"/>
              <a:gd name="connsiteY1526" fmla="*/ 1154338 h 1934496"/>
              <a:gd name="connsiteX1527" fmla="*/ 5621031 w 9922465"/>
              <a:gd name="connsiteY1527" fmla="*/ 1209529 h 1934496"/>
              <a:gd name="connsiteX1528" fmla="*/ 5565839 w 9922465"/>
              <a:gd name="connsiteY1528" fmla="*/ 1154338 h 1934496"/>
              <a:gd name="connsiteX1529" fmla="*/ 5621031 w 9922465"/>
              <a:gd name="connsiteY1529" fmla="*/ 1099147 h 1934496"/>
              <a:gd name="connsiteX1530" fmla="*/ 5487398 w 9922465"/>
              <a:gd name="connsiteY1530" fmla="*/ 1099147 h 1934496"/>
              <a:gd name="connsiteX1531" fmla="*/ 5542590 w 9922465"/>
              <a:gd name="connsiteY1531" fmla="*/ 1154338 h 1934496"/>
              <a:gd name="connsiteX1532" fmla="*/ 5487398 w 9922465"/>
              <a:gd name="connsiteY1532" fmla="*/ 1209529 h 1934496"/>
              <a:gd name="connsiteX1533" fmla="*/ 5432206 w 9922465"/>
              <a:gd name="connsiteY1533" fmla="*/ 1154338 h 1934496"/>
              <a:gd name="connsiteX1534" fmla="*/ 5487398 w 9922465"/>
              <a:gd name="connsiteY1534" fmla="*/ 1099147 h 1934496"/>
              <a:gd name="connsiteX1535" fmla="*/ 5357105 w 9922465"/>
              <a:gd name="connsiteY1535" fmla="*/ 1099147 h 1934496"/>
              <a:gd name="connsiteX1536" fmla="*/ 5412297 w 9922465"/>
              <a:gd name="connsiteY1536" fmla="*/ 1154338 h 1934496"/>
              <a:gd name="connsiteX1537" fmla="*/ 5357105 w 9922465"/>
              <a:gd name="connsiteY1537" fmla="*/ 1209529 h 1934496"/>
              <a:gd name="connsiteX1538" fmla="*/ 5301913 w 9922465"/>
              <a:gd name="connsiteY1538" fmla="*/ 1154338 h 1934496"/>
              <a:gd name="connsiteX1539" fmla="*/ 5357105 w 9922465"/>
              <a:gd name="connsiteY1539" fmla="*/ 1099147 h 1934496"/>
              <a:gd name="connsiteX1540" fmla="*/ 5093176 w 9922465"/>
              <a:gd name="connsiteY1540" fmla="*/ 1099147 h 1934496"/>
              <a:gd name="connsiteX1541" fmla="*/ 5148368 w 9922465"/>
              <a:gd name="connsiteY1541" fmla="*/ 1154338 h 1934496"/>
              <a:gd name="connsiteX1542" fmla="*/ 5093176 w 9922465"/>
              <a:gd name="connsiteY1542" fmla="*/ 1209529 h 1934496"/>
              <a:gd name="connsiteX1543" fmla="*/ 5037984 w 9922465"/>
              <a:gd name="connsiteY1543" fmla="*/ 1154338 h 1934496"/>
              <a:gd name="connsiteX1544" fmla="*/ 5093176 w 9922465"/>
              <a:gd name="connsiteY1544" fmla="*/ 1099147 h 1934496"/>
              <a:gd name="connsiteX1545" fmla="*/ 4959540 w 9922465"/>
              <a:gd name="connsiteY1545" fmla="*/ 1099147 h 1934496"/>
              <a:gd name="connsiteX1546" fmla="*/ 5014732 w 9922465"/>
              <a:gd name="connsiteY1546" fmla="*/ 1154338 h 1934496"/>
              <a:gd name="connsiteX1547" fmla="*/ 4959540 w 9922465"/>
              <a:gd name="connsiteY1547" fmla="*/ 1209529 h 1934496"/>
              <a:gd name="connsiteX1548" fmla="*/ 4904348 w 9922465"/>
              <a:gd name="connsiteY1548" fmla="*/ 1154338 h 1934496"/>
              <a:gd name="connsiteX1549" fmla="*/ 4959540 w 9922465"/>
              <a:gd name="connsiteY1549" fmla="*/ 1099147 h 1934496"/>
              <a:gd name="connsiteX1550" fmla="*/ 4829246 w 9922465"/>
              <a:gd name="connsiteY1550" fmla="*/ 1099147 h 1934496"/>
              <a:gd name="connsiteX1551" fmla="*/ 4884438 w 9922465"/>
              <a:gd name="connsiteY1551" fmla="*/ 1154338 h 1934496"/>
              <a:gd name="connsiteX1552" fmla="*/ 4829246 w 9922465"/>
              <a:gd name="connsiteY1552" fmla="*/ 1209529 h 1934496"/>
              <a:gd name="connsiteX1553" fmla="*/ 4774054 w 9922465"/>
              <a:gd name="connsiteY1553" fmla="*/ 1154338 h 1934496"/>
              <a:gd name="connsiteX1554" fmla="*/ 4829246 w 9922465"/>
              <a:gd name="connsiteY1554" fmla="*/ 1099147 h 1934496"/>
              <a:gd name="connsiteX1555" fmla="*/ 319117 w 9922465"/>
              <a:gd name="connsiteY1555" fmla="*/ 1099147 h 1934496"/>
              <a:gd name="connsiteX1556" fmla="*/ 374310 w 9922465"/>
              <a:gd name="connsiteY1556" fmla="*/ 1154338 h 1934496"/>
              <a:gd name="connsiteX1557" fmla="*/ 319117 w 9922465"/>
              <a:gd name="connsiteY1557" fmla="*/ 1209529 h 1934496"/>
              <a:gd name="connsiteX1558" fmla="*/ 263926 w 9922465"/>
              <a:gd name="connsiteY1558" fmla="*/ 1154338 h 1934496"/>
              <a:gd name="connsiteX1559" fmla="*/ 319117 w 9922465"/>
              <a:gd name="connsiteY1559" fmla="*/ 1099147 h 1934496"/>
              <a:gd name="connsiteX1560" fmla="*/ 185484 w 9922465"/>
              <a:gd name="connsiteY1560" fmla="*/ 1099147 h 1934496"/>
              <a:gd name="connsiteX1561" fmla="*/ 240675 w 9922465"/>
              <a:gd name="connsiteY1561" fmla="*/ 1154338 h 1934496"/>
              <a:gd name="connsiteX1562" fmla="*/ 185484 w 9922465"/>
              <a:gd name="connsiteY1562" fmla="*/ 1209529 h 1934496"/>
              <a:gd name="connsiteX1563" fmla="*/ 130292 w 9922465"/>
              <a:gd name="connsiteY1563" fmla="*/ 1154338 h 1934496"/>
              <a:gd name="connsiteX1564" fmla="*/ 185484 w 9922465"/>
              <a:gd name="connsiteY1564" fmla="*/ 1099147 h 1934496"/>
              <a:gd name="connsiteX1565" fmla="*/ 55190 w 9922465"/>
              <a:gd name="connsiteY1565" fmla="*/ 1099147 h 1934496"/>
              <a:gd name="connsiteX1566" fmla="*/ 110381 w 9922465"/>
              <a:gd name="connsiteY1566" fmla="*/ 1154338 h 1934496"/>
              <a:gd name="connsiteX1567" fmla="*/ 55190 w 9922465"/>
              <a:gd name="connsiteY1567" fmla="*/ 1209529 h 1934496"/>
              <a:gd name="connsiteX1568" fmla="*/ 0 w 9922465"/>
              <a:gd name="connsiteY1568" fmla="*/ 1154338 h 1934496"/>
              <a:gd name="connsiteX1569" fmla="*/ 55190 w 9922465"/>
              <a:gd name="connsiteY1569" fmla="*/ 1099147 h 1934496"/>
              <a:gd name="connsiteX1570" fmla="*/ 3499584 w 9922465"/>
              <a:gd name="connsiteY1570" fmla="*/ 1099146 h 1934496"/>
              <a:gd name="connsiteX1571" fmla="*/ 3554776 w 9922465"/>
              <a:gd name="connsiteY1571" fmla="*/ 1154337 h 1934496"/>
              <a:gd name="connsiteX1572" fmla="*/ 3499584 w 9922465"/>
              <a:gd name="connsiteY1572" fmla="*/ 1209528 h 1934496"/>
              <a:gd name="connsiteX1573" fmla="*/ 3444392 w 9922465"/>
              <a:gd name="connsiteY1573" fmla="*/ 1154337 h 1934496"/>
              <a:gd name="connsiteX1574" fmla="*/ 3499584 w 9922465"/>
              <a:gd name="connsiteY1574" fmla="*/ 1099146 h 1934496"/>
              <a:gd name="connsiteX1575" fmla="*/ 2570894 w 9922465"/>
              <a:gd name="connsiteY1575" fmla="*/ 1099146 h 1934496"/>
              <a:gd name="connsiteX1576" fmla="*/ 2626086 w 9922465"/>
              <a:gd name="connsiteY1576" fmla="*/ 1154337 h 1934496"/>
              <a:gd name="connsiteX1577" fmla="*/ 2570894 w 9922465"/>
              <a:gd name="connsiteY1577" fmla="*/ 1209528 h 1934496"/>
              <a:gd name="connsiteX1578" fmla="*/ 2515701 w 9922465"/>
              <a:gd name="connsiteY1578" fmla="*/ 1154337 h 1934496"/>
              <a:gd name="connsiteX1579" fmla="*/ 2570894 w 9922465"/>
              <a:gd name="connsiteY1579" fmla="*/ 1099146 h 1934496"/>
              <a:gd name="connsiteX1580" fmla="*/ 2039698 w 9922465"/>
              <a:gd name="connsiteY1580" fmla="*/ 1099146 h 1934496"/>
              <a:gd name="connsiteX1581" fmla="*/ 2094891 w 9922465"/>
              <a:gd name="connsiteY1581" fmla="*/ 1154337 h 1934496"/>
              <a:gd name="connsiteX1582" fmla="*/ 2039698 w 9922465"/>
              <a:gd name="connsiteY1582" fmla="*/ 1209528 h 1934496"/>
              <a:gd name="connsiteX1583" fmla="*/ 1984505 w 9922465"/>
              <a:gd name="connsiteY1583" fmla="*/ 1154337 h 1934496"/>
              <a:gd name="connsiteX1584" fmla="*/ 2039698 w 9922465"/>
              <a:gd name="connsiteY1584" fmla="*/ 1099146 h 1934496"/>
              <a:gd name="connsiteX1585" fmla="*/ 1909401 w 9922465"/>
              <a:gd name="connsiteY1585" fmla="*/ 1099146 h 1934496"/>
              <a:gd name="connsiteX1586" fmla="*/ 1964592 w 9922465"/>
              <a:gd name="connsiteY1586" fmla="*/ 1154337 h 1934496"/>
              <a:gd name="connsiteX1587" fmla="*/ 1909401 w 9922465"/>
              <a:gd name="connsiteY1587" fmla="*/ 1209528 h 1934496"/>
              <a:gd name="connsiteX1588" fmla="*/ 1854207 w 9922465"/>
              <a:gd name="connsiteY1588" fmla="*/ 1154337 h 1934496"/>
              <a:gd name="connsiteX1589" fmla="*/ 1909401 w 9922465"/>
              <a:gd name="connsiteY1589" fmla="*/ 1099146 h 1934496"/>
              <a:gd name="connsiteX1590" fmla="*/ 1779104 w 9922465"/>
              <a:gd name="connsiteY1590" fmla="*/ 1099146 h 1934496"/>
              <a:gd name="connsiteX1591" fmla="*/ 1834296 w 9922465"/>
              <a:gd name="connsiteY1591" fmla="*/ 1154337 h 1934496"/>
              <a:gd name="connsiteX1592" fmla="*/ 1779104 w 9922465"/>
              <a:gd name="connsiteY1592" fmla="*/ 1209528 h 1934496"/>
              <a:gd name="connsiteX1593" fmla="*/ 1723910 w 9922465"/>
              <a:gd name="connsiteY1593" fmla="*/ 1154337 h 1934496"/>
              <a:gd name="connsiteX1594" fmla="*/ 1779104 w 9922465"/>
              <a:gd name="connsiteY1594" fmla="*/ 1099146 h 1934496"/>
              <a:gd name="connsiteX1595" fmla="*/ 1645469 w 9922465"/>
              <a:gd name="connsiteY1595" fmla="*/ 1099146 h 1934496"/>
              <a:gd name="connsiteX1596" fmla="*/ 1700664 w 9922465"/>
              <a:gd name="connsiteY1596" fmla="*/ 1154337 h 1934496"/>
              <a:gd name="connsiteX1597" fmla="*/ 1645469 w 9922465"/>
              <a:gd name="connsiteY1597" fmla="*/ 1209528 h 1934496"/>
              <a:gd name="connsiteX1598" fmla="*/ 1590275 w 9922465"/>
              <a:gd name="connsiteY1598" fmla="*/ 1154337 h 1934496"/>
              <a:gd name="connsiteX1599" fmla="*/ 1645469 w 9922465"/>
              <a:gd name="connsiteY1599" fmla="*/ 1099146 h 1934496"/>
              <a:gd name="connsiteX1600" fmla="*/ 1515179 w 9922465"/>
              <a:gd name="connsiteY1600" fmla="*/ 1099146 h 1934496"/>
              <a:gd name="connsiteX1601" fmla="*/ 1570364 w 9922465"/>
              <a:gd name="connsiteY1601" fmla="*/ 1154337 h 1934496"/>
              <a:gd name="connsiteX1602" fmla="*/ 1515179 w 9922465"/>
              <a:gd name="connsiteY1602" fmla="*/ 1209528 h 1934496"/>
              <a:gd name="connsiteX1603" fmla="*/ 1459982 w 9922465"/>
              <a:gd name="connsiteY1603" fmla="*/ 1154337 h 1934496"/>
              <a:gd name="connsiteX1604" fmla="*/ 1515179 w 9922465"/>
              <a:gd name="connsiteY1604" fmla="*/ 1099146 h 1934496"/>
              <a:gd name="connsiteX1605" fmla="*/ 1381539 w 9922465"/>
              <a:gd name="connsiteY1605" fmla="*/ 1099146 h 1934496"/>
              <a:gd name="connsiteX1606" fmla="*/ 1436731 w 9922465"/>
              <a:gd name="connsiteY1606" fmla="*/ 1154337 h 1934496"/>
              <a:gd name="connsiteX1607" fmla="*/ 1381539 w 9922465"/>
              <a:gd name="connsiteY1607" fmla="*/ 1209528 h 1934496"/>
              <a:gd name="connsiteX1608" fmla="*/ 1326349 w 9922465"/>
              <a:gd name="connsiteY1608" fmla="*/ 1154337 h 1934496"/>
              <a:gd name="connsiteX1609" fmla="*/ 1381539 w 9922465"/>
              <a:gd name="connsiteY1609" fmla="*/ 1099146 h 1934496"/>
              <a:gd name="connsiteX1610" fmla="*/ 1251245 w 9922465"/>
              <a:gd name="connsiteY1610" fmla="*/ 1099146 h 1934496"/>
              <a:gd name="connsiteX1611" fmla="*/ 1306439 w 9922465"/>
              <a:gd name="connsiteY1611" fmla="*/ 1154337 h 1934496"/>
              <a:gd name="connsiteX1612" fmla="*/ 1251245 w 9922465"/>
              <a:gd name="connsiteY1612" fmla="*/ 1209528 h 1934496"/>
              <a:gd name="connsiteX1613" fmla="*/ 1196054 w 9922465"/>
              <a:gd name="connsiteY1613" fmla="*/ 1154337 h 1934496"/>
              <a:gd name="connsiteX1614" fmla="*/ 1251245 w 9922465"/>
              <a:gd name="connsiteY1614" fmla="*/ 1099146 h 1934496"/>
              <a:gd name="connsiteX1615" fmla="*/ 1117610 w 9922465"/>
              <a:gd name="connsiteY1615" fmla="*/ 1099146 h 1934496"/>
              <a:gd name="connsiteX1616" fmla="*/ 1172803 w 9922465"/>
              <a:gd name="connsiteY1616" fmla="*/ 1154337 h 1934496"/>
              <a:gd name="connsiteX1617" fmla="*/ 1117610 w 9922465"/>
              <a:gd name="connsiteY1617" fmla="*/ 1209528 h 1934496"/>
              <a:gd name="connsiteX1618" fmla="*/ 1062416 w 9922465"/>
              <a:gd name="connsiteY1618" fmla="*/ 1154337 h 1934496"/>
              <a:gd name="connsiteX1619" fmla="*/ 1117610 w 9922465"/>
              <a:gd name="connsiteY1619" fmla="*/ 1099146 h 1934496"/>
              <a:gd name="connsiteX1620" fmla="*/ 980631 w 9922465"/>
              <a:gd name="connsiteY1620" fmla="*/ 1099146 h 1934496"/>
              <a:gd name="connsiteX1621" fmla="*/ 1035825 w 9922465"/>
              <a:gd name="connsiteY1621" fmla="*/ 1154337 h 1934496"/>
              <a:gd name="connsiteX1622" fmla="*/ 980631 w 9922465"/>
              <a:gd name="connsiteY1622" fmla="*/ 1209528 h 1934496"/>
              <a:gd name="connsiteX1623" fmla="*/ 925438 w 9922465"/>
              <a:gd name="connsiteY1623" fmla="*/ 1154337 h 1934496"/>
              <a:gd name="connsiteX1624" fmla="*/ 980631 w 9922465"/>
              <a:gd name="connsiteY1624" fmla="*/ 1099146 h 1934496"/>
              <a:gd name="connsiteX1625" fmla="*/ 846993 w 9922465"/>
              <a:gd name="connsiteY1625" fmla="*/ 1099146 h 1934496"/>
              <a:gd name="connsiteX1626" fmla="*/ 902186 w 9922465"/>
              <a:gd name="connsiteY1626" fmla="*/ 1154337 h 1934496"/>
              <a:gd name="connsiteX1627" fmla="*/ 846993 w 9922465"/>
              <a:gd name="connsiteY1627" fmla="*/ 1209528 h 1934496"/>
              <a:gd name="connsiteX1628" fmla="*/ 791796 w 9922465"/>
              <a:gd name="connsiteY1628" fmla="*/ 1154337 h 1934496"/>
              <a:gd name="connsiteX1629" fmla="*/ 846993 w 9922465"/>
              <a:gd name="connsiteY1629" fmla="*/ 1099146 h 1934496"/>
              <a:gd name="connsiteX1630" fmla="*/ 716690 w 9922465"/>
              <a:gd name="connsiteY1630" fmla="*/ 1099146 h 1934496"/>
              <a:gd name="connsiteX1631" fmla="*/ 771886 w 9922465"/>
              <a:gd name="connsiteY1631" fmla="*/ 1154337 h 1934496"/>
              <a:gd name="connsiteX1632" fmla="*/ 716690 w 9922465"/>
              <a:gd name="connsiteY1632" fmla="*/ 1209528 h 1934496"/>
              <a:gd name="connsiteX1633" fmla="*/ 661502 w 9922465"/>
              <a:gd name="connsiteY1633" fmla="*/ 1154337 h 1934496"/>
              <a:gd name="connsiteX1634" fmla="*/ 716690 w 9922465"/>
              <a:gd name="connsiteY1634" fmla="*/ 1099146 h 1934496"/>
              <a:gd name="connsiteX1635" fmla="*/ 583057 w 9922465"/>
              <a:gd name="connsiteY1635" fmla="*/ 1099146 h 1934496"/>
              <a:gd name="connsiteX1636" fmla="*/ 638250 w 9922465"/>
              <a:gd name="connsiteY1636" fmla="*/ 1154337 h 1934496"/>
              <a:gd name="connsiteX1637" fmla="*/ 583057 w 9922465"/>
              <a:gd name="connsiteY1637" fmla="*/ 1209528 h 1934496"/>
              <a:gd name="connsiteX1638" fmla="*/ 527863 w 9922465"/>
              <a:gd name="connsiteY1638" fmla="*/ 1154337 h 1934496"/>
              <a:gd name="connsiteX1639" fmla="*/ 583057 w 9922465"/>
              <a:gd name="connsiteY1639" fmla="*/ 1099146 h 1934496"/>
              <a:gd name="connsiteX1640" fmla="*/ 449413 w 9922465"/>
              <a:gd name="connsiteY1640" fmla="*/ 1099146 h 1934496"/>
              <a:gd name="connsiteX1641" fmla="*/ 504606 w 9922465"/>
              <a:gd name="connsiteY1641" fmla="*/ 1154337 h 1934496"/>
              <a:gd name="connsiteX1642" fmla="*/ 449413 w 9922465"/>
              <a:gd name="connsiteY1642" fmla="*/ 1209528 h 1934496"/>
              <a:gd name="connsiteX1643" fmla="*/ 394220 w 9922465"/>
              <a:gd name="connsiteY1643" fmla="*/ 1154337 h 1934496"/>
              <a:gd name="connsiteX1644" fmla="*/ 449413 w 9922465"/>
              <a:gd name="connsiteY1644" fmla="*/ 1099146 h 1934496"/>
              <a:gd name="connsiteX1645" fmla="*/ 9603343 w 9922465"/>
              <a:gd name="connsiteY1645" fmla="*/ 975533 h 1934496"/>
              <a:gd name="connsiteX1646" fmla="*/ 9658535 w 9922465"/>
              <a:gd name="connsiteY1646" fmla="*/ 1030724 h 1934496"/>
              <a:gd name="connsiteX1647" fmla="*/ 9603343 w 9922465"/>
              <a:gd name="connsiteY1647" fmla="*/ 1085915 h 1934496"/>
              <a:gd name="connsiteX1648" fmla="*/ 9548151 w 9922465"/>
              <a:gd name="connsiteY1648" fmla="*/ 1030724 h 1934496"/>
              <a:gd name="connsiteX1649" fmla="*/ 9603343 w 9922465"/>
              <a:gd name="connsiteY1649" fmla="*/ 975533 h 1934496"/>
              <a:gd name="connsiteX1650" fmla="*/ 9469708 w 9922465"/>
              <a:gd name="connsiteY1650" fmla="*/ 975533 h 1934496"/>
              <a:gd name="connsiteX1651" fmla="*/ 9524900 w 9922465"/>
              <a:gd name="connsiteY1651" fmla="*/ 1030724 h 1934496"/>
              <a:gd name="connsiteX1652" fmla="*/ 9469708 w 9922465"/>
              <a:gd name="connsiteY1652" fmla="*/ 1085915 h 1934496"/>
              <a:gd name="connsiteX1653" fmla="*/ 9414516 w 9922465"/>
              <a:gd name="connsiteY1653" fmla="*/ 1030724 h 1934496"/>
              <a:gd name="connsiteX1654" fmla="*/ 9469708 w 9922465"/>
              <a:gd name="connsiteY1654" fmla="*/ 975533 h 1934496"/>
              <a:gd name="connsiteX1655" fmla="*/ 8935170 w 9922465"/>
              <a:gd name="connsiteY1655" fmla="*/ 975533 h 1934496"/>
              <a:gd name="connsiteX1656" fmla="*/ 8990362 w 9922465"/>
              <a:gd name="connsiteY1656" fmla="*/ 1030724 h 1934496"/>
              <a:gd name="connsiteX1657" fmla="*/ 8935170 w 9922465"/>
              <a:gd name="connsiteY1657" fmla="*/ 1085915 h 1934496"/>
              <a:gd name="connsiteX1658" fmla="*/ 8879978 w 9922465"/>
              <a:gd name="connsiteY1658" fmla="*/ 1030724 h 1934496"/>
              <a:gd name="connsiteX1659" fmla="*/ 8935170 w 9922465"/>
              <a:gd name="connsiteY1659" fmla="*/ 975533 h 1934496"/>
              <a:gd name="connsiteX1660" fmla="*/ 8407315 w 9922465"/>
              <a:gd name="connsiteY1660" fmla="*/ 975533 h 1934496"/>
              <a:gd name="connsiteX1661" fmla="*/ 8462507 w 9922465"/>
              <a:gd name="connsiteY1661" fmla="*/ 1030724 h 1934496"/>
              <a:gd name="connsiteX1662" fmla="*/ 8407315 w 9922465"/>
              <a:gd name="connsiteY1662" fmla="*/ 1085915 h 1934496"/>
              <a:gd name="connsiteX1663" fmla="*/ 8352123 w 9922465"/>
              <a:gd name="connsiteY1663" fmla="*/ 1030724 h 1934496"/>
              <a:gd name="connsiteX1664" fmla="*/ 8407315 w 9922465"/>
              <a:gd name="connsiteY1664" fmla="*/ 975533 h 1934496"/>
              <a:gd name="connsiteX1665" fmla="*/ 7876116 w 9922465"/>
              <a:gd name="connsiteY1665" fmla="*/ 975533 h 1934496"/>
              <a:gd name="connsiteX1666" fmla="*/ 7931308 w 9922465"/>
              <a:gd name="connsiteY1666" fmla="*/ 1030724 h 1934496"/>
              <a:gd name="connsiteX1667" fmla="*/ 7876116 w 9922465"/>
              <a:gd name="connsiteY1667" fmla="*/ 1085915 h 1934496"/>
              <a:gd name="connsiteX1668" fmla="*/ 7820924 w 9922465"/>
              <a:gd name="connsiteY1668" fmla="*/ 1030724 h 1934496"/>
              <a:gd name="connsiteX1669" fmla="*/ 7876116 w 9922465"/>
              <a:gd name="connsiteY1669" fmla="*/ 975533 h 1934496"/>
              <a:gd name="connsiteX1670" fmla="*/ 7745822 w 9922465"/>
              <a:gd name="connsiteY1670" fmla="*/ 975533 h 1934496"/>
              <a:gd name="connsiteX1671" fmla="*/ 7801014 w 9922465"/>
              <a:gd name="connsiteY1671" fmla="*/ 1030724 h 1934496"/>
              <a:gd name="connsiteX1672" fmla="*/ 7745822 w 9922465"/>
              <a:gd name="connsiteY1672" fmla="*/ 1085915 h 1934496"/>
              <a:gd name="connsiteX1673" fmla="*/ 7690630 w 9922465"/>
              <a:gd name="connsiteY1673" fmla="*/ 1030724 h 1934496"/>
              <a:gd name="connsiteX1674" fmla="*/ 7745822 w 9922465"/>
              <a:gd name="connsiteY1674" fmla="*/ 975533 h 1934496"/>
              <a:gd name="connsiteX1675" fmla="*/ 7481894 w 9922465"/>
              <a:gd name="connsiteY1675" fmla="*/ 975533 h 1934496"/>
              <a:gd name="connsiteX1676" fmla="*/ 7537086 w 9922465"/>
              <a:gd name="connsiteY1676" fmla="*/ 1030724 h 1934496"/>
              <a:gd name="connsiteX1677" fmla="*/ 7481894 w 9922465"/>
              <a:gd name="connsiteY1677" fmla="*/ 1085915 h 1934496"/>
              <a:gd name="connsiteX1678" fmla="*/ 7426702 w 9922465"/>
              <a:gd name="connsiteY1678" fmla="*/ 1030724 h 1934496"/>
              <a:gd name="connsiteX1679" fmla="*/ 7481894 w 9922465"/>
              <a:gd name="connsiteY1679" fmla="*/ 975533 h 1934496"/>
              <a:gd name="connsiteX1680" fmla="*/ 7341578 w 9922465"/>
              <a:gd name="connsiteY1680" fmla="*/ 975533 h 1934496"/>
              <a:gd name="connsiteX1681" fmla="*/ 7396770 w 9922465"/>
              <a:gd name="connsiteY1681" fmla="*/ 1030724 h 1934496"/>
              <a:gd name="connsiteX1682" fmla="*/ 7341578 w 9922465"/>
              <a:gd name="connsiteY1682" fmla="*/ 1085915 h 1934496"/>
              <a:gd name="connsiteX1683" fmla="*/ 7286386 w 9922465"/>
              <a:gd name="connsiteY1683" fmla="*/ 1030724 h 1934496"/>
              <a:gd name="connsiteX1684" fmla="*/ 7341578 w 9922465"/>
              <a:gd name="connsiteY1684" fmla="*/ 975533 h 1934496"/>
              <a:gd name="connsiteX1685" fmla="*/ 7211285 w 9922465"/>
              <a:gd name="connsiteY1685" fmla="*/ 975533 h 1934496"/>
              <a:gd name="connsiteX1686" fmla="*/ 7266477 w 9922465"/>
              <a:gd name="connsiteY1686" fmla="*/ 1030724 h 1934496"/>
              <a:gd name="connsiteX1687" fmla="*/ 7211285 w 9922465"/>
              <a:gd name="connsiteY1687" fmla="*/ 1085915 h 1934496"/>
              <a:gd name="connsiteX1688" fmla="*/ 7156093 w 9922465"/>
              <a:gd name="connsiteY1688" fmla="*/ 1030724 h 1934496"/>
              <a:gd name="connsiteX1689" fmla="*/ 7211285 w 9922465"/>
              <a:gd name="connsiteY1689" fmla="*/ 975533 h 1934496"/>
              <a:gd name="connsiteX1690" fmla="*/ 6947356 w 9922465"/>
              <a:gd name="connsiteY1690" fmla="*/ 975533 h 1934496"/>
              <a:gd name="connsiteX1691" fmla="*/ 7002548 w 9922465"/>
              <a:gd name="connsiteY1691" fmla="*/ 1030724 h 1934496"/>
              <a:gd name="connsiteX1692" fmla="*/ 6947356 w 9922465"/>
              <a:gd name="connsiteY1692" fmla="*/ 1085915 h 1934496"/>
              <a:gd name="connsiteX1693" fmla="*/ 6892164 w 9922465"/>
              <a:gd name="connsiteY1693" fmla="*/ 1030724 h 1934496"/>
              <a:gd name="connsiteX1694" fmla="*/ 6947356 w 9922465"/>
              <a:gd name="connsiteY1694" fmla="*/ 975533 h 1934496"/>
              <a:gd name="connsiteX1695" fmla="*/ 6817063 w 9922465"/>
              <a:gd name="connsiteY1695" fmla="*/ 975533 h 1934496"/>
              <a:gd name="connsiteX1696" fmla="*/ 6872255 w 9922465"/>
              <a:gd name="connsiteY1696" fmla="*/ 1030724 h 1934496"/>
              <a:gd name="connsiteX1697" fmla="*/ 6817063 w 9922465"/>
              <a:gd name="connsiteY1697" fmla="*/ 1085915 h 1934496"/>
              <a:gd name="connsiteX1698" fmla="*/ 6761871 w 9922465"/>
              <a:gd name="connsiteY1698" fmla="*/ 1030724 h 1934496"/>
              <a:gd name="connsiteX1699" fmla="*/ 6817063 w 9922465"/>
              <a:gd name="connsiteY1699" fmla="*/ 975533 h 1934496"/>
              <a:gd name="connsiteX1700" fmla="*/ 6683430 w 9922465"/>
              <a:gd name="connsiteY1700" fmla="*/ 975533 h 1934496"/>
              <a:gd name="connsiteX1701" fmla="*/ 6738622 w 9922465"/>
              <a:gd name="connsiteY1701" fmla="*/ 1030724 h 1934496"/>
              <a:gd name="connsiteX1702" fmla="*/ 6683430 w 9922465"/>
              <a:gd name="connsiteY1702" fmla="*/ 1085915 h 1934496"/>
              <a:gd name="connsiteX1703" fmla="*/ 6628238 w 9922465"/>
              <a:gd name="connsiteY1703" fmla="*/ 1030724 h 1934496"/>
              <a:gd name="connsiteX1704" fmla="*/ 6683430 w 9922465"/>
              <a:gd name="connsiteY1704" fmla="*/ 975533 h 1934496"/>
              <a:gd name="connsiteX1705" fmla="*/ 6289206 w 9922465"/>
              <a:gd name="connsiteY1705" fmla="*/ 975533 h 1934496"/>
              <a:gd name="connsiteX1706" fmla="*/ 6344398 w 9922465"/>
              <a:gd name="connsiteY1706" fmla="*/ 1030724 h 1934496"/>
              <a:gd name="connsiteX1707" fmla="*/ 6289206 w 9922465"/>
              <a:gd name="connsiteY1707" fmla="*/ 1085915 h 1934496"/>
              <a:gd name="connsiteX1708" fmla="*/ 6234014 w 9922465"/>
              <a:gd name="connsiteY1708" fmla="*/ 1030724 h 1934496"/>
              <a:gd name="connsiteX1709" fmla="*/ 6289206 w 9922465"/>
              <a:gd name="connsiteY1709" fmla="*/ 975533 h 1934496"/>
              <a:gd name="connsiteX1710" fmla="*/ 5754667 w 9922465"/>
              <a:gd name="connsiteY1710" fmla="*/ 975533 h 1934496"/>
              <a:gd name="connsiteX1711" fmla="*/ 5809859 w 9922465"/>
              <a:gd name="connsiteY1711" fmla="*/ 1030724 h 1934496"/>
              <a:gd name="connsiteX1712" fmla="*/ 5754667 w 9922465"/>
              <a:gd name="connsiteY1712" fmla="*/ 1085915 h 1934496"/>
              <a:gd name="connsiteX1713" fmla="*/ 5699475 w 9922465"/>
              <a:gd name="connsiteY1713" fmla="*/ 1030724 h 1934496"/>
              <a:gd name="connsiteX1714" fmla="*/ 5754667 w 9922465"/>
              <a:gd name="connsiteY1714" fmla="*/ 975533 h 1934496"/>
              <a:gd name="connsiteX1715" fmla="*/ 5487398 w 9922465"/>
              <a:gd name="connsiteY1715" fmla="*/ 975533 h 1934496"/>
              <a:gd name="connsiteX1716" fmla="*/ 5542590 w 9922465"/>
              <a:gd name="connsiteY1716" fmla="*/ 1030724 h 1934496"/>
              <a:gd name="connsiteX1717" fmla="*/ 5487398 w 9922465"/>
              <a:gd name="connsiteY1717" fmla="*/ 1085915 h 1934496"/>
              <a:gd name="connsiteX1718" fmla="*/ 5432206 w 9922465"/>
              <a:gd name="connsiteY1718" fmla="*/ 1030724 h 1934496"/>
              <a:gd name="connsiteX1719" fmla="*/ 5487398 w 9922465"/>
              <a:gd name="connsiteY1719" fmla="*/ 975533 h 1934496"/>
              <a:gd name="connsiteX1720" fmla="*/ 5357105 w 9922465"/>
              <a:gd name="connsiteY1720" fmla="*/ 975533 h 1934496"/>
              <a:gd name="connsiteX1721" fmla="*/ 5412297 w 9922465"/>
              <a:gd name="connsiteY1721" fmla="*/ 1030724 h 1934496"/>
              <a:gd name="connsiteX1722" fmla="*/ 5357105 w 9922465"/>
              <a:gd name="connsiteY1722" fmla="*/ 1085915 h 1934496"/>
              <a:gd name="connsiteX1723" fmla="*/ 5301913 w 9922465"/>
              <a:gd name="connsiteY1723" fmla="*/ 1030724 h 1934496"/>
              <a:gd name="connsiteX1724" fmla="*/ 5357105 w 9922465"/>
              <a:gd name="connsiteY1724" fmla="*/ 975533 h 1934496"/>
              <a:gd name="connsiteX1725" fmla="*/ 5093176 w 9922465"/>
              <a:gd name="connsiteY1725" fmla="*/ 975533 h 1934496"/>
              <a:gd name="connsiteX1726" fmla="*/ 5148368 w 9922465"/>
              <a:gd name="connsiteY1726" fmla="*/ 1030724 h 1934496"/>
              <a:gd name="connsiteX1727" fmla="*/ 5093176 w 9922465"/>
              <a:gd name="connsiteY1727" fmla="*/ 1085915 h 1934496"/>
              <a:gd name="connsiteX1728" fmla="*/ 5037984 w 9922465"/>
              <a:gd name="connsiteY1728" fmla="*/ 1030724 h 1934496"/>
              <a:gd name="connsiteX1729" fmla="*/ 5093176 w 9922465"/>
              <a:gd name="connsiteY1729" fmla="*/ 975533 h 1934496"/>
              <a:gd name="connsiteX1730" fmla="*/ 4959540 w 9922465"/>
              <a:gd name="connsiteY1730" fmla="*/ 975533 h 1934496"/>
              <a:gd name="connsiteX1731" fmla="*/ 5014732 w 9922465"/>
              <a:gd name="connsiteY1731" fmla="*/ 1030724 h 1934496"/>
              <a:gd name="connsiteX1732" fmla="*/ 4959540 w 9922465"/>
              <a:gd name="connsiteY1732" fmla="*/ 1085915 h 1934496"/>
              <a:gd name="connsiteX1733" fmla="*/ 4904348 w 9922465"/>
              <a:gd name="connsiteY1733" fmla="*/ 1030724 h 1934496"/>
              <a:gd name="connsiteX1734" fmla="*/ 4959540 w 9922465"/>
              <a:gd name="connsiteY1734" fmla="*/ 975533 h 1934496"/>
              <a:gd name="connsiteX1735" fmla="*/ 4161075 w 9922465"/>
              <a:gd name="connsiteY1735" fmla="*/ 975533 h 1934496"/>
              <a:gd name="connsiteX1736" fmla="*/ 4216267 w 9922465"/>
              <a:gd name="connsiteY1736" fmla="*/ 1030724 h 1934496"/>
              <a:gd name="connsiteX1737" fmla="*/ 4161075 w 9922465"/>
              <a:gd name="connsiteY1737" fmla="*/ 1085915 h 1934496"/>
              <a:gd name="connsiteX1738" fmla="*/ 4105883 w 9922465"/>
              <a:gd name="connsiteY1738" fmla="*/ 1030724 h 1934496"/>
              <a:gd name="connsiteX1739" fmla="*/ 4161075 w 9922465"/>
              <a:gd name="connsiteY1739" fmla="*/ 975533 h 1934496"/>
              <a:gd name="connsiteX1740" fmla="*/ 4030782 w 9922465"/>
              <a:gd name="connsiteY1740" fmla="*/ 975533 h 1934496"/>
              <a:gd name="connsiteX1741" fmla="*/ 4085974 w 9922465"/>
              <a:gd name="connsiteY1741" fmla="*/ 1030724 h 1934496"/>
              <a:gd name="connsiteX1742" fmla="*/ 4030782 w 9922465"/>
              <a:gd name="connsiteY1742" fmla="*/ 1085915 h 1934496"/>
              <a:gd name="connsiteX1743" fmla="*/ 3975590 w 9922465"/>
              <a:gd name="connsiteY1743" fmla="*/ 1030724 h 1934496"/>
              <a:gd name="connsiteX1744" fmla="*/ 4030782 w 9922465"/>
              <a:gd name="connsiteY1744" fmla="*/ 975533 h 1934496"/>
              <a:gd name="connsiteX1745" fmla="*/ 3369290 w 9922465"/>
              <a:gd name="connsiteY1745" fmla="*/ 975533 h 1934496"/>
              <a:gd name="connsiteX1746" fmla="*/ 3424482 w 9922465"/>
              <a:gd name="connsiteY1746" fmla="*/ 1030724 h 1934496"/>
              <a:gd name="connsiteX1747" fmla="*/ 3369290 w 9922465"/>
              <a:gd name="connsiteY1747" fmla="*/ 1085915 h 1934496"/>
              <a:gd name="connsiteX1748" fmla="*/ 3314098 w 9922465"/>
              <a:gd name="connsiteY1748" fmla="*/ 1030724 h 1934496"/>
              <a:gd name="connsiteX1749" fmla="*/ 3369290 w 9922465"/>
              <a:gd name="connsiteY1749" fmla="*/ 975533 h 1934496"/>
              <a:gd name="connsiteX1750" fmla="*/ 2707880 w 9922465"/>
              <a:gd name="connsiteY1750" fmla="*/ 975533 h 1934496"/>
              <a:gd name="connsiteX1751" fmla="*/ 2763074 w 9922465"/>
              <a:gd name="connsiteY1751" fmla="*/ 1030724 h 1934496"/>
              <a:gd name="connsiteX1752" fmla="*/ 2707880 w 9922465"/>
              <a:gd name="connsiteY1752" fmla="*/ 1085915 h 1934496"/>
              <a:gd name="connsiteX1753" fmla="*/ 2652689 w 9922465"/>
              <a:gd name="connsiteY1753" fmla="*/ 1030724 h 1934496"/>
              <a:gd name="connsiteX1754" fmla="*/ 2707880 w 9922465"/>
              <a:gd name="connsiteY1754" fmla="*/ 975533 h 1934496"/>
              <a:gd name="connsiteX1755" fmla="*/ 2173347 w 9922465"/>
              <a:gd name="connsiteY1755" fmla="*/ 975533 h 1934496"/>
              <a:gd name="connsiteX1756" fmla="*/ 2228540 w 9922465"/>
              <a:gd name="connsiteY1756" fmla="*/ 1030724 h 1934496"/>
              <a:gd name="connsiteX1757" fmla="*/ 2173347 w 9922465"/>
              <a:gd name="connsiteY1757" fmla="*/ 1085915 h 1934496"/>
              <a:gd name="connsiteX1758" fmla="*/ 2118154 w 9922465"/>
              <a:gd name="connsiteY1758" fmla="*/ 1030724 h 1934496"/>
              <a:gd name="connsiteX1759" fmla="*/ 2173347 w 9922465"/>
              <a:gd name="connsiteY1759" fmla="*/ 975533 h 1934496"/>
              <a:gd name="connsiteX1760" fmla="*/ 1251258 w 9922465"/>
              <a:gd name="connsiteY1760" fmla="*/ 975533 h 1934496"/>
              <a:gd name="connsiteX1761" fmla="*/ 1306450 w 9922465"/>
              <a:gd name="connsiteY1761" fmla="*/ 1030724 h 1934496"/>
              <a:gd name="connsiteX1762" fmla="*/ 1251258 w 9922465"/>
              <a:gd name="connsiteY1762" fmla="*/ 1085915 h 1934496"/>
              <a:gd name="connsiteX1763" fmla="*/ 1196066 w 9922465"/>
              <a:gd name="connsiteY1763" fmla="*/ 1030724 h 1934496"/>
              <a:gd name="connsiteX1764" fmla="*/ 1251258 w 9922465"/>
              <a:gd name="connsiteY1764" fmla="*/ 975533 h 1934496"/>
              <a:gd name="connsiteX1765" fmla="*/ 847001 w 9922465"/>
              <a:gd name="connsiteY1765" fmla="*/ 975533 h 1934496"/>
              <a:gd name="connsiteX1766" fmla="*/ 902196 w 9922465"/>
              <a:gd name="connsiteY1766" fmla="*/ 1030724 h 1934496"/>
              <a:gd name="connsiteX1767" fmla="*/ 847001 w 9922465"/>
              <a:gd name="connsiteY1767" fmla="*/ 1085915 h 1934496"/>
              <a:gd name="connsiteX1768" fmla="*/ 791804 w 9922465"/>
              <a:gd name="connsiteY1768" fmla="*/ 1030724 h 1934496"/>
              <a:gd name="connsiteX1769" fmla="*/ 847001 w 9922465"/>
              <a:gd name="connsiteY1769" fmla="*/ 975533 h 1934496"/>
              <a:gd name="connsiteX1770" fmla="*/ 9336074 w 9922465"/>
              <a:gd name="connsiteY1770" fmla="*/ 975532 h 1934496"/>
              <a:gd name="connsiteX1771" fmla="*/ 9391266 w 9922465"/>
              <a:gd name="connsiteY1771" fmla="*/ 1030723 h 1934496"/>
              <a:gd name="connsiteX1772" fmla="*/ 9336074 w 9922465"/>
              <a:gd name="connsiteY1772" fmla="*/ 1085914 h 1934496"/>
              <a:gd name="connsiteX1773" fmla="*/ 9280882 w 9922465"/>
              <a:gd name="connsiteY1773" fmla="*/ 1030723 h 1934496"/>
              <a:gd name="connsiteX1774" fmla="*/ 9336074 w 9922465"/>
              <a:gd name="connsiteY1774" fmla="*/ 975532 h 1934496"/>
              <a:gd name="connsiteX1775" fmla="*/ 9199098 w 9922465"/>
              <a:gd name="connsiteY1775" fmla="*/ 975532 h 1934496"/>
              <a:gd name="connsiteX1776" fmla="*/ 9254290 w 9922465"/>
              <a:gd name="connsiteY1776" fmla="*/ 1030723 h 1934496"/>
              <a:gd name="connsiteX1777" fmla="*/ 9199098 w 9922465"/>
              <a:gd name="connsiteY1777" fmla="*/ 1085914 h 1934496"/>
              <a:gd name="connsiteX1778" fmla="*/ 9143906 w 9922465"/>
              <a:gd name="connsiteY1778" fmla="*/ 1030723 h 1934496"/>
              <a:gd name="connsiteX1779" fmla="*/ 9199098 w 9922465"/>
              <a:gd name="connsiteY1779" fmla="*/ 975532 h 1934496"/>
              <a:gd name="connsiteX1780" fmla="*/ 9068805 w 9922465"/>
              <a:gd name="connsiteY1780" fmla="*/ 975532 h 1934496"/>
              <a:gd name="connsiteX1781" fmla="*/ 9123997 w 9922465"/>
              <a:gd name="connsiteY1781" fmla="*/ 1030723 h 1934496"/>
              <a:gd name="connsiteX1782" fmla="*/ 9068805 w 9922465"/>
              <a:gd name="connsiteY1782" fmla="*/ 1085914 h 1934496"/>
              <a:gd name="connsiteX1783" fmla="*/ 9013613 w 9922465"/>
              <a:gd name="connsiteY1783" fmla="*/ 1030723 h 1934496"/>
              <a:gd name="connsiteX1784" fmla="*/ 9068805 w 9922465"/>
              <a:gd name="connsiteY1784" fmla="*/ 975532 h 1934496"/>
              <a:gd name="connsiteX1785" fmla="*/ 8801536 w 9922465"/>
              <a:gd name="connsiteY1785" fmla="*/ 975532 h 1934496"/>
              <a:gd name="connsiteX1786" fmla="*/ 8856728 w 9922465"/>
              <a:gd name="connsiteY1786" fmla="*/ 1030723 h 1934496"/>
              <a:gd name="connsiteX1787" fmla="*/ 8801536 w 9922465"/>
              <a:gd name="connsiteY1787" fmla="*/ 1085914 h 1934496"/>
              <a:gd name="connsiteX1788" fmla="*/ 8746344 w 9922465"/>
              <a:gd name="connsiteY1788" fmla="*/ 1030723 h 1934496"/>
              <a:gd name="connsiteX1789" fmla="*/ 8801536 w 9922465"/>
              <a:gd name="connsiteY1789" fmla="*/ 975532 h 1934496"/>
              <a:gd name="connsiteX1790" fmla="*/ 8671243 w 9922465"/>
              <a:gd name="connsiteY1790" fmla="*/ 975532 h 1934496"/>
              <a:gd name="connsiteX1791" fmla="*/ 8726435 w 9922465"/>
              <a:gd name="connsiteY1791" fmla="*/ 1030723 h 1934496"/>
              <a:gd name="connsiteX1792" fmla="*/ 8671243 w 9922465"/>
              <a:gd name="connsiteY1792" fmla="*/ 1085914 h 1934496"/>
              <a:gd name="connsiteX1793" fmla="*/ 8616051 w 9922465"/>
              <a:gd name="connsiteY1793" fmla="*/ 1030723 h 1934496"/>
              <a:gd name="connsiteX1794" fmla="*/ 8671243 w 9922465"/>
              <a:gd name="connsiteY1794" fmla="*/ 975532 h 1934496"/>
              <a:gd name="connsiteX1795" fmla="*/ 8537608 w 9922465"/>
              <a:gd name="connsiteY1795" fmla="*/ 975532 h 1934496"/>
              <a:gd name="connsiteX1796" fmla="*/ 8592800 w 9922465"/>
              <a:gd name="connsiteY1796" fmla="*/ 1030723 h 1934496"/>
              <a:gd name="connsiteX1797" fmla="*/ 8537608 w 9922465"/>
              <a:gd name="connsiteY1797" fmla="*/ 1085914 h 1934496"/>
              <a:gd name="connsiteX1798" fmla="*/ 8482416 w 9922465"/>
              <a:gd name="connsiteY1798" fmla="*/ 1030723 h 1934496"/>
              <a:gd name="connsiteX1799" fmla="*/ 8537608 w 9922465"/>
              <a:gd name="connsiteY1799" fmla="*/ 975532 h 1934496"/>
              <a:gd name="connsiteX1800" fmla="*/ 8273681 w 9922465"/>
              <a:gd name="connsiteY1800" fmla="*/ 975532 h 1934496"/>
              <a:gd name="connsiteX1801" fmla="*/ 8328873 w 9922465"/>
              <a:gd name="connsiteY1801" fmla="*/ 1030723 h 1934496"/>
              <a:gd name="connsiteX1802" fmla="*/ 8273681 w 9922465"/>
              <a:gd name="connsiteY1802" fmla="*/ 1085914 h 1934496"/>
              <a:gd name="connsiteX1803" fmla="*/ 8218489 w 9922465"/>
              <a:gd name="connsiteY1803" fmla="*/ 1030723 h 1934496"/>
              <a:gd name="connsiteX1804" fmla="*/ 8273681 w 9922465"/>
              <a:gd name="connsiteY1804" fmla="*/ 975532 h 1934496"/>
              <a:gd name="connsiteX1805" fmla="*/ 8143385 w 9922465"/>
              <a:gd name="connsiteY1805" fmla="*/ 975532 h 1934496"/>
              <a:gd name="connsiteX1806" fmla="*/ 8198577 w 9922465"/>
              <a:gd name="connsiteY1806" fmla="*/ 1030723 h 1934496"/>
              <a:gd name="connsiteX1807" fmla="*/ 8143385 w 9922465"/>
              <a:gd name="connsiteY1807" fmla="*/ 1085914 h 1934496"/>
              <a:gd name="connsiteX1808" fmla="*/ 8088193 w 9922465"/>
              <a:gd name="connsiteY1808" fmla="*/ 1030723 h 1934496"/>
              <a:gd name="connsiteX1809" fmla="*/ 8143385 w 9922465"/>
              <a:gd name="connsiteY1809" fmla="*/ 975532 h 1934496"/>
              <a:gd name="connsiteX1810" fmla="*/ 8009751 w 9922465"/>
              <a:gd name="connsiteY1810" fmla="*/ 975532 h 1934496"/>
              <a:gd name="connsiteX1811" fmla="*/ 8064943 w 9922465"/>
              <a:gd name="connsiteY1811" fmla="*/ 1030723 h 1934496"/>
              <a:gd name="connsiteX1812" fmla="*/ 8009751 w 9922465"/>
              <a:gd name="connsiteY1812" fmla="*/ 1085914 h 1934496"/>
              <a:gd name="connsiteX1813" fmla="*/ 7954559 w 9922465"/>
              <a:gd name="connsiteY1813" fmla="*/ 1030723 h 1934496"/>
              <a:gd name="connsiteX1814" fmla="*/ 8009751 w 9922465"/>
              <a:gd name="connsiteY1814" fmla="*/ 975532 h 1934496"/>
              <a:gd name="connsiteX1815" fmla="*/ 7608847 w 9922465"/>
              <a:gd name="connsiteY1815" fmla="*/ 975532 h 1934496"/>
              <a:gd name="connsiteX1816" fmla="*/ 7664039 w 9922465"/>
              <a:gd name="connsiteY1816" fmla="*/ 1030723 h 1934496"/>
              <a:gd name="connsiteX1817" fmla="*/ 7608847 w 9922465"/>
              <a:gd name="connsiteY1817" fmla="*/ 1085914 h 1934496"/>
              <a:gd name="connsiteX1818" fmla="*/ 7553655 w 9922465"/>
              <a:gd name="connsiteY1818" fmla="*/ 1030723 h 1934496"/>
              <a:gd name="connsiteX1819" fmla="*/ 7608847 w 9922465"/>
              <a:gd name="connsiteY1819" fmla="*/ 975532 h 1934496"/>
              <a:gd name="connsiteX1820" fmla="*/ 7080991 w 9922465"/>
              <a:gd name="connsiteY1820" fmla="*/ 975532 h 1934496"/>
              <a:gd name="connsiteX1821" fmla="*/ 7136183 w 9922465"/>
              <a:gd name="connsiteY1821" fmla="*/ 1030723 h 1934496"/>
              <a:gd name="connsiteX1822" fmla="*/ 7080991 w 9922465"/>
              <a:gd name="connsiteY1822" fmla="*/ 1085914 h 1934496"/>
              <a:gd name="connsiteX1823" fmla="*/ 7025799 w 9922465"/>
              <a:gd name="connsiteY1823" fmla="*/ 1030723 h 1934496"/>
              <a:gd name="connsiteX1824" fmla="*/ 7080991 w 9922465"/>
              <a:gd name="connsiteY1824" fmla="*/ 975532 h 1934496"/>
              <a:gd name="connsiteX1825" fmla="*/ 6553135 w 9922465"/>
              <a:gd name="connsiteY1825" fmla="*/ 975532 h 1934496"/>
              <a:gd name="connsiteX1826" fmla="*/ 6608327 w 9922465"/>
              <a:gd name="connsiteY1826" fmla="*/ 1030723 h 1934496"/>
              <a:gd name="connsiteX1827" fmla="*/ 6553135 w 9922465"/>
              <a:gd name="connsiteY1827" fmla="*/ 1085914 h 1934496"/>
              <a:gd name="connsiteX1828" fmla="*/ 6497943 w 9922465"/>
              <a:gd name="connsiteY1828" fmla="*/ 1030723 h 1934496"/>
              <a:gd name="connsiteX1829" fmla="*/ 6553135 w 9922465"/>
              <a:gd name="connsiteY1829" fmla="*/ 975532 h 1934496"/>
              <a:gd name="connsiteX1830" fmla="*/ 6419501 w 9922465"/>
              <a:gd name="connsiteY1830" fmla="*/ 975532 h 1934496"/>
              <a:gd name="connsiteX1831" fmla="*/ 6474693 w 9922465"/>
              <a:gd name="connsiteY1831" fmla="*/ 1030723 h 1934496"/>
              <a:gd name="connsiteX1832" fmla="*/ 6419501 w 9922465"/>
              <a:gd name="connsiteY1832" fmla="*/ 1085914 h 1934496"/>
              <a:gd name="connsiteX1833" fmla="*/ 6364309 w 9922465"/>
              <a:gd name="connsiteY1833" fmla="*/ 1030723 h 1934496"/>
              <a:gd name="connsiteX1834" fmla="*/ 6419501 w 9922465"/>
              <a:gd name="connsiteY1834" fmla="*/ 975532 h 1934496"/>
              <a:gd name="connsiteX1835" fmla="*/ 6155571 w 9922465"/>
              <a:gd name="connsiteY1835" fmla="*/ 975532 h 1934496"/>
              <a:gd name="connsiteX1836" fmla="*/ 6210763 w 9922465"/>
              <a:gd name="connsiteY1836" fmla="*/ 1030723 h 1934496"/>
              <a:gd name="connsiteX1837" fmla="*/ 6155571 w 9922465"/>
              <a:gd name="connsiteY1837" fmla="*/ 1085914 h 1934496"/>
              <a:gd name="connsiteX1838" fmla="*/ 6100379 w 9922465"/>
              <a:gd name="connsiteY1838" fmla="*/ 1030723 h 1934496"/>
              <a:gd name="connsiteX1839" fmla="*/ 6155571 w 9922465"/>
              <a:gd name="connsiteY1839" fmla="*/ 975532 h 1934496"/>
              <a:gd name="connsiteX1840" fmla="*/ 6021936 w 9922465"/>
              <a:gd name="connsiteY1840" fmla="*/ 975532 h 1934496"/>
              <a:gd name="connsiteX1841" fmla="*/ 6077128 w 9922465"/>
              <a:gd name="connsiteY1841" fmla="*/ 1030723 h 1934496"/>
              <a:gd name="connsiteX1842" fmla="*/ 6021936 w 9922465"/>
              <a:gd name="connsiteY1842" fmla="*/ 1085914 h 1934496"/>
              <a:gd name="connsiteX1843" fmla="*/ 5966744 w 9922465"/>
              <a:gd name="connsiteY1843" fmla="*/ 1030723 h 1934496"/>
              <a:gd name="connsiteX1844" fmla="*/ 6021936 w 9922465"/>
              <a:gd name="connsiteY1844" fmla="*/ 975532 h 1934496"/>
              <a:gd name="connsiteX1845" fmla="*/ 5884963 w 9922465"/>
              <a:gd name="connsiteY1845" fmla="*/ 975532 h 1934496"/>
              <a:gd name="connsiteX1846" fmla="*/ 5940155 w 9922465"/>
              <a:gd name="connsiteY1846" fmla="*/ 1030723 h 1934496"/>
              <a:gd name="connsiteX1847" fmla="*/ 5884963 w 9922465"/>
              <a:gd name="connsiteY1847" fmla="*/ 1085914 h 1934496"/>
              <a:gd name="connsiteX1848" fmla="*/ 5829771 w 9922465"/>
              <a:gd name="connsiteY1848" fmla="*/ 1030723 h 1934496"/>
              <a:gd name="connsiteX1849" fmla="*/ 5884963 w 9922465"/>
              <a:gd name="connsiteY1849" fmla="*/ 975532 h 1934496"/>
              <a:gd name="connsiteX1850" fmla="*/ 5621031 w 9922465"/>
              <a:gd name="connsiteY1850" fmla="*/ 975532 h 1934496"/>
              <a:gd name="connsiteX1851" fmla="*/ 5676223 w 9922465"/>
              <a:gd name="connsiteY1851" fmla="*/ 1030723 h 1934496"/>
              <a:gd name="connsiteX1852" fmla="*/ 5621031 w 9922465"/>
              <a:gd name="connsiteY1852" fmla="*/ 1085914 h 1934496"/>
              <a:gd name="connsiteX1853" fmla="*/ 5565839 w 9922465"/>
              <a:gd name="connsiteY1853" fmla="*/ 1030723 h 1934496"/>
              <a:gd name="connsiteX1854" fmla="*/ 5621031 w 9922465"/>
              <a:gd name="connsiteY1854" fmla="*/ 975532 h 1934496"/>
              <a:gd name="connsiteX1855" fmla="*/ 5223472 w 9922465"/>
              <a:gd name="connsiteY1855" fmla="*/ 975532 h 1934496"/>
              <a:gd name="connsiteX1856" fmla="*/ 5278664 w 9922465"/>
              <a:gd name="connsiteY1856" fmla="*/ 1030723 h 1934496"/>
              <a:gd name="connsiteX1857" fmla="*/ 5223472 w 9922465"/>
              <a:gd name="connsiteY1857" fmla="*/ 1085914 h 1934496"/>
              <a:gd name="connsiteX1858" fmla="*/ 5168280 w 9922465"/>
              <a:gd name="connsiteY1858" fmla="*/ 1030723 h 1934496"/>
              <a:gd name="connsiteX1859" fmla="*/ 5223472 w 9922465"/>
              <a:gd name="connsiteY1859" fmla="*/ 975532 h 1934496"/>
              <a:gd name="connsiteX1860" fmla="*/ 4294710 w 9922465"/>
              <a:gd name="connsiteY1860" fmla="*/ 975532 h 1934496"/>
              <a:gd name="connsiteX1861" fmla="*/ 4349902 w 9922465"/>
              <a:gd name="connsiteY1861" fmla="*/ 1030723 h 1934496"/>
              <a:gd name="connsiteX1862" fmla="*/ 4294710 w 9922465"/>
              <a:gd name="connsiteY1862" fmla="*/ 1085914 h 1934496"/>
              <a:gd name="connsiteX1863" fmla="*/ 4239518 w 9922465"/>
              <a:gd name="connsiteY1863" fmla="*/ 1030723 h 1934496"/>
              <a:gd name="connsiteX1864" fmla="*/ 4294710 w 9922465"/>
              <a:gd name="connsiteY1864" fmla="*/ 975532 h 1934496"/>
              <a:gd name="connsiteX1865" fmla="*/ 3499584 w 9922465"/>
              <a:gd name="connsiteY1865" fmla="*/ 975532 h 1934496"/>
              <a:gd name="connsiteX1866" fmla="*/ 3554776 w 9922465"/>
              <a:gd name="connsiteY1866" fmla="*/ 1030723 h 1934496"/>
              <a:gd name="connsiteX1867" fmla="*/ 3499584 w 9922465"/>
              <a:gd name="connsiteY1867" fmla="*/ 1085914 h 1934496"/>
              <a:gd name="connsiteX1868" fmla="*/ 3444392 w 9922465"/>
              <a:gd name="connsiteY1868" fmla="*/ 1030723 h 1934496"/>
              <a:gd name="connsiteX1869" fmla="*/ 3499584 w 9922465"/>
              <a:gd name="connsiteY1869" fmla="*/ 975532 h 1934496"/>
              <a:gd name="connsiteX1870" fmla="*/ 2834836 w 9922465"/>
              <a:gd name="connsiteY1870" fmla="*/ 975532 h 1934496"/>
              <a:gd name="connsiteX1871" fmla="*/ 2890028 w 9922465"/>
              <a:gd name="connsiteY1871" fmla="*/ 1030723 h 1934496"/>
              <a:gd name="connsiteX1872" fmla="*/ 2834836 w 9922465"/>
              <a:gd name="connsiteY1872" fmla="*/ 1085914 h 1934496"/>
              <a:gd name="connsiteX1873" fmla="*/ 2779643 w 9922465"/>
              <a:gd name="connsiteY1873" fmla="*/ 1030723 h 1934496"/>
              <a:gd name="connsiteX1874" fmla="*/ 2834836 w 9922465"/>
              <a:gd name="connsiteY1874" fmla="*/ 975532 h 1934496"/>
              <a:gd name="connsiteX1875" fmla="*/ 2303639 w 9922465"/>
              <a:gd name="connsiteY1875" fmla="*/ 975532 h 1934496"/>
              <a:gd name="connsiteX1876" fmla="*/ 2358830 w 9922465"/>
              <a:gd name="connsiteY1876" fmla="*/ 1030723 h 1934496"/>
              <a:gd name="connsiteX1877" fmla="*/ 2303639 w 9922465"/>
              <a:gd name="connsiteY1877" fmla="*/ 1085914 h 1934496"/>
              <a:gd name="connsiteX1878" fmla="*/ 2248448 w 9922465"/>
              <a:gd name="connsiteY1878" fmla="*/ 1030723 h 1934496"/>
              <a:gd name="connsiteX1879" fmla="*/ 2303639 w 9922465"/>
              <a:gd name="connsiteY1879" fmla="*/ 975532 h 1934496"/>
              <a:gd name="connsiteX1880" fmla="*/ 2039712 w 9922465"/>
              <a:gd name="connsiteY1880" fmla="*/ 975532 h 1934496"/>
              <a:gd name="connsiteX1881" fmla="*/ 2094905 w 9922465"/>
              <a:gd name="connsiteY1881" fmla="*/ 1030723 h 1934496"/>
              <a:gd name="connsiteX1882" fmla="*/ 2039712 w 9922465"/>
              <a:gd name="connsiteY1882" fmla="*/ 1085914 h 1934496"/>
              <a:gd name="connsiteX1883" fmla="*/ 1984518 w 9922465"/>
              <a:gd name="connsiteY1883" fmla="*/ 1030723 h 1934496"/>
              <a:gd name="connsiteX1884" fmla="*/ 2039712 w 9922465"/>
              <a:gd name="connsiteY1884" fmla="*/ 975532 h 1934496"/>
              <a:gd name="connsiteX1885" fmla="*/ 1909414 w 9922465"/>
              <a:gd name="connsiteY1885" fmla="*/ 975532 h 1934496"/>
              <a:gd name="connsiteX1886" fmla="*/ 1964607 w 9922465"/>
              <a:gd name="connsiteY1886" fmla="*/ 1030723 h 1934496"/>
              <a:gd name="connsiteX1887" fmla="*/ 1909414 w 9922465"/>
              <a:gd name="connsiteY1887" fmla="*/ 1085914 h 1934496"/>
              <a:gd name="connsiteX1888" fmla="*/ 1854220 w 9922465"/>
              <a:gd name="connsiteY1888" fmla="*/ 1030723 h 1934496"/>
              <a:gd name="connsiteX1889" fmla="*/ 1909414 w 9922465"/>
              <a:gd name="connsiteY1889" fmla="*/ 975532 h 1934496"/>
              <a:gd name="connsiteX1890" fmla="*/ 1779117 w 9922465"/>
              <a:gd name="connsiteY1890" fmla="*/ 975532 h 1934496"/>
              <a:gd name="connsiteX1891" fmla="*/ 1834310 w 9922465"/>
              <a:gd name="connsiteY1891" fmla="*/ 1030723 h 1934496"/>
              <a:gd name="connsiteX1892" fmla="*/ 1779117 w 9922465"/>
              <a:gd name="connsiteY1892" fmla="*/ 1085914 h 1934496"/>
              <a:gd name="connsiteX1893" fmla="*/ 1723923 w 9922465"/>
              <a:gd name="connsiteY1893" fmla="*/ 1030723 h 1934496"/>
              <a:gd name="connsiteX1894" fmla="*/ 1779117 w 9922465"/>
              <a:gd name="connsiteY1894" fmla="*/ 975532 h 1934496"/>
              <a:gd name="connsiteX1895" fmla="*/ 1645480 w 9922465"/>
              <a:gd name="connsiteY1895" fmla="*/ 975532 h 1934496"/>
              <a:gd name="connsiteX1896" fmla="*/ 1700679 w 9922465"/>
              <a:gd name="connsiteY1896" fmla="*/ 1030723 h 1934496"/>
              <a:gd name="connsiteX1897" fmla="*/ 1645480 w 9922465"/>
              <a:gd name="connsiteY1897" fmla="*/ 1085914 h 1934496"/>
              <a:gd name="connsiteX1898" fmla="*/ 1590287 w 9922465"/>
              <a:gd name="connsiteY1898" fmla="*/ 1030723 h 1934496"/>
              <a:gd name="connsiteX1899" fmla="*/ 1645480 w 9922465"/>
              <a:gd name="connsiteY1899" fmla="*/ 975532 h 1934496"/>
              <a:gd name="connsiteX1900" fmla="*/ 1515189 w 9922465"/>
              <a:gd name="connsiteY1900" fmla="*/ 975532 h 1934496"/>
              <a:gd name="connsiteX1901" fmla="*/ 1570378 w 9922465"/>
              <a:gd name="connsiteY1901" fmla="*/ 1030723 h 1934496"/>
              <a:gd name="connsiteX1902" fmla="*/ 1515189 w 9922465"/>
              <a:gd name="connsiteY1902" fmla="*/ 1085914 h 1934496"/>
              <a:gd name="connsiteX1903" fmla="*/ 1459995 w 9922465"/>
              <a:gd name="connsiteY1903" fmla="*/ 1030723 h 1934496"/>
              <a:gd name="connsiteX1904" fmla="*/ 1515189 w 9922465"/>
              <a:gd name="connsiteY1904" fmla="*/ 975532 h 1934496"/>
              <a:gd name="connsiteX1905" fmla="*/ 1381549 w 9922465"/>
              <a:gd name="connsiteY1905" fmla="*/ 975532 h 1934496"/>
              <a:gd name="connsiteX1906" fmla="*/ 1436744 w 9922465"/>
              <a:gd name="connsiteY1906" fmla="*/ 1030723 h 1934496"/>
              <a:gd name="connsiteX1907" fmla="*/ 1381549 w 9922465"/>
              <a:gd name="connsiteY1907" fmla="*/ 1085914 h 1934496"/>
              <a:gd name="connsiteX1908" fmla="*/ 1326361 w 9922465"/>
              <a:gd name="connsiteY1908" fmla="*/ 1030723 h 1934496"/>
              <a:gd name="connsiteX1909" fmla="*/ 1381549 w 9922465"/>
              <a:gd name="connsiteY1909" fmla="*/ 975532 h 1934496"/>
              <a:gd name="connsiteX1910" fmla="*/ 1117621 w 9922465"/>
              <a:gd name="connsiteY1910" fmla="*/ 975532 h 1934496"/>
              <a:gd name="connsiteX1911" fmla="*/ 1172814 w 9922465"/>
              <a:gd name="connsiteY1911" fmla="*/ 1030723 h 1934496"/>
              <a:gd name="connsiteX1912" fmla="*/ 1117621 w 9922465"/>
              <a:gd name="connsiteY1912" fmla="*/ 1085914 h 1934496"/>
              <a:gd name="connsiteX1913" fmla="*/ 1062427 w 9922465"/>
              <a:gd name="connsiteY1913" fmla="*/ 1030723 h 1934496"/>
              <a:gd name="connsiteX1914" fmla="*/ 1117621 w 9922465"/>
              <a:gd name="connsiteY1914" fmla="*/ 975532 h 1934496"/>
              <a:gd name="connsiteX1915" fmla="*/ 980643 w 9922465"/>
              <a:gd name="connsiteY1915" fmla="*/ 975532 h 1934496"/>
              <a:gd name="connsiteX1916" fmla="*/ 1035836 w 9922465"/>
              <a:gd name="connsiteY1916" fmla="*/ 1030723 h 1934496"/>
              <a:gd name="connsiteX1917" fmla="*/ 980643 w 9922465"/>
              <a:gd name="connsiteY1917" fmla="*/ 1085914 h 1934496"/>
              <a:gd name="connsiteX1918" fmla="*/ 925449 w 9922465"/>
              <a:gd name="connsiteY1918" fmla="*/ 1030723 h 1934496"/>
              <a:gd name="connsiteX1919" fmla="*/ 980643 w 9922465"/>
              <a:gd name="connsiteY1919" fmla="*/ 975532 h 1934496"/>
              <a:gd name="connsiteX1920" fmla="*/ 716703 w 9922465"/>
              <a:gd name="connsiteY1920" fmla="*/ 975532 h 1934496"/>
              <a:gd name="connsiteX1921" fmla="*/ 771897 w 9922465"/>
              <a:gd name="connsiteY1921" fmla="*/ 1030723 h 1934496"/>
              <a:gd name="connsiteX1922" fmla="*/ 716703 w 9922465"/>
              <a:gd name="connsiteY1922" fmla="*/ 1085914 h 1934496"/>
              <a:gd name="connsiteX1923" fmla="*/ 661511 w 9922465"/>
              <a:gd name="connsiteY1923" fmla="*/ 1030723 h 1934496"/>
              <a:gd name="connsiteX1924" fmla="*/ 716703 w 9922465"/>
              <a:gd name="connsiteY1924" fmla="*/ 975532 h 1934496"/>
              <a:gd name="connsiteX1925" fmla="*/ 583065 w 9922465"/>
              <a:gd name="connsiteY1925" fmla="*/ 975532 h 1934496"/>
              <a:gd name="connsiteX1926" fmla="*/ 638258 w 9922465"/>
              <a:gd name="connsiteY1926" fmla="*/ 1030723 h 1934496"/>
              <a:gd name="connsiteX1927" fmla="*/ 583065 w 9922465"/>
              <a:gd name="connsiteY1927" fmla="*/ 1085914 h 1934496"/>
              <a:gd name="connsiteX1928" fmla="*/ 527871 w 9922465"/>
              <a:gd name="connsiteY1928" fmla="*/ 1030723 h 1934496"/>
              <a:gd name="connsiteX1929" fmla="*/ 583065 w 9922465"/>
              <a:gd name="connsiteY1929" fmla="*/ 975532 h 1934496"/>
              <a:gd name="connsiteX1930" fmla="*/ 449419 w 9922465"/>
              <a:gd name="connsiteY1930" fmla="*/ 975532 h 1934496"/>
              <a:gd name="connsiteX1931" fmla="*/ 504612 w 9922465"/>
              <a:gd name="connsiteY1931" fmla="*/ 1030723 h 1934496"/>
              <a:gd name="connsiteX1932" fmla="*/ 449419 w 9922465"/>
              <a:gd name="connsiteY1932" fmla="*/ 1085914 h 1934496"/>
              <a:gd name="connsiteX1933" fmla="*/ 394227 w 9922465"/>
              <a:gd name="connsiteY1933" fmla="*/ 1030723 h 1934496"/>
              <a:gd name="connsiteX1934" fmla="*/ 449419 w 9922465"/>
              <a:gd name="connsiteY1934" fmla="*/ 975532 h 1934496"/>
              <a:gd name="connsiteX1935" fmla="*/ 319124 w 9922465"/>
              <a:gd name="connsiteY1935" fmla="*/ 975532 h 1934496"/>
              <a:gd name="connsiteX1936" fmla="*/ 374317 w 9922465"/>
              <a:gd name="connsiteY1936" fmla="*/ 1030723 h 1934496"/>
              <a:gd name="connsiteX1937" fmla="*/ 319124 w 9922465"/>
              <a:gd name="connsiteY1937" fmla="*/ 1085914 h 1934496"/>
              <a:gd name="connsiteX1938" fmla="*/ 263931 w 9922465"/>
              <a:gd name="connsiteY1938" fmla="*/ 1030723 h 1934496"/>
              <a:gd name="connsiteX1939" fmla="*/ 319124 w 9922465"/>
              <a:gd name="connsiteY1939" fmla="*/ 975532 h 1934496"/>
              <a:gd name="connsiteX1940" fmla="*/ 185492 w 9922465"/>
              <a:gd name="connsiteY1940" fmla="*/ 975532 h 1934496"/>
              <a:gd name="connsiteX1941" fmla="*/ 240682 w 9922465"/>
              <a:gd name="connsiteY1941" fmla="*/ 1030723 h 1934496"/>
              <a:gd name="connsiteX1942" fmla="*/ 185492 w 9922465"/>
              <a:gd name="connsiteY1942" fmla="*/ 1085914 h 1934496"/>
              <a:gd name="connsiteX1943" fmla="*/ 130299 w 9922465"/>
              <a:gd name="connsiteY1943" fmla="*/ 1030723 h 1934496"/>
              <a:gd name="connsiteX1944" fmla="*/ 185492 w 9922465"/>
              <a:gd name="connsiteY1944" fmla="*/ 975532 h 1934496"/>
              <a:gd name="connsiteX1945" fmla="*/ 55197 w 9922465"/>
              <a:gd name="connsiteY1945" fmla="*/ 975532 h 1934496"/>
              <a:gd name="connsiteX1946" fmla="*/ 110388 w 9922465"/>
              <a:gd name="connsiteY1946" fmla="*/ 1030723 h 1934496"/>
              <a:gd name="connsiteX1947" fmla="*/ 55197 w 9922465"/>
              <a:gd name="connsiteY1947" fmla="*/ 1085914 h 1934496"/>
              <a:gd name="connsiteX1948" fmla="*/ 7 w 9922465"/>
              <a:gd name="connsiteY1948" fmla="*/ 1030723 h 1934496"/>
              <a:gd name="connsiteX1949" fmla="*/ 55197 w 9922465"/>
              <a:gd name="connsiteY1949" fmla="*/ 975532 h 1934496"/>
              <a:gd name="connsiteX1950" fmla="*/ 9469710 w 9922465"/>
              <a:gd name="connsiteY1950" fmla="*/ 855263 h 1934496"/>
              <a:gd name="connsiteX1951" fmla="*/ 9524902 w 9922465"/>
              <a:gd name="connsiteY1951" fmla="*/ 910454 h 1934496"/>
              <a:gd name="connsiteX1952" fmla="*/ 9469710 w 9922465"/>
              <a:gd name="connsiteY1952" fmla="*/ 965645 h 1934496"/>
              <a:gd name="connsiteX1953" fmla="*/ 9414518 w 9922465"/>
              <a:gd name="connsiteY1953" fmla="*/ 910454 h 1934496"/>
              <a:gd name="connsiteX1954" fmla="*/ 9469710 w 9922465"/>
              <a:gd name="connsiteY1954" fmla="*/ 855263 h 1934496"/>
              <a:gd name="connsiteX1955" fmla="*/ 9336075 w 9922465"/>
              <a:gd name="connsiteY1955" fmla="*/ 855263 h 1934496"/>
              <a:gd name="connsiteX1956" fmla="*/ 9391267 w 9922465"/>
              <a:gd name="connsiteY1956" fmla="*/ 910454 h 1934496"/>
              <a:gd name="connsiteX1957" fmla="*/ 9336075 w 9922465"/>
              <a:gd name="connsiteY1957" fmla="*/ 965645 h 1934496"/>
              <a:gd name="connsiteX1958" fmla="*/ 9280883 w 9922465"/>
              <a:gd name="connsiteY1958" fmla="*/ 910454 h 1934496"/>
              <a:gd name="connsiteX1959" fmla="*/ 9336075 w 9922465"/>
              <a:gd name="connsiteY1959" fmla="*/ 855263 h 1934496"/>
              <a:gd name="connsiteX1960" fmla="*/ 9199100 w 9922465"/>
              <a:gd name="connsiteY1960" fmla="*/ 855263 h 1934496"/>
              <a:gd name="connsiteX1961" fmla="*/ 9254292 w 9922465"/>
              <a:gd name="connsiteY1961" fmla="*/ 910454 h 1934496"/>
              <a:gd name="connsiteX1962" fmla="*/ 9199100 w 9922465"/>
              <a:gd name="connsiteY1962" fmla="*/ 965645 h 1934496"/>
              <a:gd name="connsiteX1963" fmla="*/ 9143908 w 9922465"/>
              <a:gd name="connsiteY1963" fmla="*/ 910454 h 1934496"/>
              <a:gd name="connsiteX1964" fmla="*/ 9199100 w 9922465"/>
              <a:gd name="connsiteY1964" fmla="*/ 855263 h 1934496"/>
              <a:gd name="connsiteX1965" fmla="*/ 9068806 w 9922465"/>
              <a:gd name="connsiteY1965" fmla="*/ 855263 h 1934496"/>
              <a:gd name="connsiteX1966" fmla="*/ 9123998 w 9922465"/>
              <a:gd name="connsiteY1966" fmla="*/ 910454 h 1934496"/>
              <a:gd name="connsiteX1967" fmla="*/ 9068806 w 9922465"/>
              <a:gd name="connsiteY1967" fmla="*/ 965645 h 1934496"/>
              <a:gd name="connsiteX1968" fmla="*/ 9013614 w 9922465"/>
              <a:gd name="connsiteY1968" fmla="*/ 910454 h 1934496"/>
              <a:gd name="connsiteX1969" fmla="*/ 9068806 w 9922465"/>
              <a:gd name="connsiteY1969" fmla="*/ 855263 h 1934496"/>
              <a:gd name="connsiteX1970" fmla="*/ 8935170 w 9922465"/>
              <a:gd name="connsiteY1970" fmla="*/ 855263 h 1934496"/>
              <a:gd name="connsiteX1971" fmla="*/ 8990362 w 9922465"/>
              <a:gd name="connsiteY1971" fmla="*/ 910454 h 1934496"/>
              <a:gd name="connsiteX1972" fmla="*/ 8935170 w 9922465"/>
              <a:gd name="connsiteY1972" fmla="*/ 965645 h 1934496"/>
              <a:gd name="connsiteX1973" fmla="*/ 8879978 w 9922465"/>
              <a:gd name="connsiteY1973" fmla="*/ 910454 h 1934496"/>
              <a:gd name="connsiteX1974" fmla="*/ 8935170 w 9922465"/>
              <a:gd name="connsiteY1974" fmla="*/ 855263 h 1934496"/>
              <a:gd name="connsiteX1975" fmla="*/ 8801536 w 9922465"/>
              <a:gd name="connsiteY1975" fmla="*/ 855263 h 1934496"/>
              <a:gd name="connsiteX1976" fmla="*/ 8856728 w 9922465"/>
              <a:gd name="connsiteY1976" fmla="*/ 910454 h 1934496"/>
              <a:gd name="connsiteX1977" fmla="*/ 8801536 w 9922465"/>
              <a:gd name="connsiteY1977" fmla="*/ 965645 h 1934496"/>
              <a:gd name="connsiteX1978" fmla="*/ 8746344 w 9922465"/>
              <a:gd name="connsiteY1978" fmla="*/ 910454 h 1934496"/>
              <a:gd name="connsiteX1979" fmla="*/ 8801536 w 9922465"/>
              <a:gd name="connsiteY1979" fmla="*/ 855263 h 1934496"/>
              <a:gd name="connsiteX1980" fmla="*/ 8671243 w 9922465"/>
              <a:gd name="connsiteY1980" fmla="*/ 855263 h 1934496"/>
              <a:gd name="connsiteX1981" fmla="*/ 8726435 w 9922465"/>
              <a:gd name="connsiteY1981" fmla="*/ 910454 h 1934496"/>
              <a:gd name="connsiteX1982" fmla="*/ 8671243 w 9922465"/>
              <a:gd name="connsiteY1982" fmla="*/ 965645 h 1934496"/>
              <a:gd name="connsiteX1983" fmla="*/ 8616051 w 9922465"/>
              <a:gd name="connsiteY1983" fmla="*/ 910454 h 1934496"/>
              <a:gd name="connsiteX1984" fmla="*/ 8671243 w 9922465"/>
              <a:gd name="connsiteY1984" fmla="*/ 855263 h 1934496"/>
              <a:gd name="connsiteX1985" fmla="*/ 8537609 w 9922465"/>
              <a:gd name="connsiteY1985" fmla="*/ 855263 h 1934496"/>
              <a:gd name="connsiteX1986" fmla="*/ 8592801 w 9922465"/>
              <a:gd name="connsiteY1986" fmla="*/ 910454 h 1934496"/>
              <a:gd name="connsiteX1987" fmla="*/ 8537609 w 9922465"/>
              <a:gd name="connsiteY1987" fmla="*/ 965645 h 1934496"/>
              <a:gd name="connsiteX1988" fmla="*/ 8482417 w 9922465"/>
              <a:gd name="connsiteY1988" fmla="*/ 910454 h 1934496"/>
              <a:gd name="connsiteX1989" fmla="*/ 8537609 w 9922465"/>
              <a:gd name="connsiteY1989" fmla="*/ 855263 h 1934496"/>
              <a:gd name="connsiteX1990" fmla="*/ 8407315 w 9922465"/>
              <a:gd name="connsiteY1990" fmla="*/ 855263 h 1934496"/>
              <a:gd name="connsiteX1991" fmla="*/ 8462507 w 9922465"/>
              <a:gd name="connsiteY1991" fmla="*/ 910454 h 1934496"/>
              <a:gd name="connsiteX1992" fmla="*/ 8407315 w 9922465"/>
              <a:gd name="connsiteY1992" fmla="*/ 965645 h 1934496"/>
              <a:gd name="connsiteX1993" fmla="*/ 8352123 w 9922465"/>
              <a:gd name="connsiteY1993" fmla="*/ 910454 h 1934496"/>
              <a:gd name="connsiteX1994" fmla="*/ 8407315 w 9922465"/>
              <a:gd name="connsiteY1994" fmla="*/ 855263 h 1934496"/>
              <a:gd name="connsiteX1995" fmla="*/ 8273681 w 9922465"/>
              <a:gd name="connsiteY1995" fmla="*/ 855263 h 1934496"/>
              <a:gd name="connsiteX1996" fmla="*/ 8328873 w 9922465"/>
              <a:gd name="connsiteY1996" fmla="*/ 910454 h 1934496"/>
              <a:gd name="connsiteX1997" fmla="*/ 8273681 w 9922465"/>
              <a:gd name="connsiteY1997" fmla="*/ 965645 h 1934496"/>
              <a:gd name="connsiteX1998" fmla="*/ 8218489 w 9922465"/>
              <a:gd name="connsiteY1998" fmla="*/ 910454 h 1934496"/>
              <a:gd name="connsiteX1999" fmla="*/ 8273681 w 9922465"/>
              <a:gd name="connsiteY1999" fmla="*/ 855263 h 1934496"/>
              <a:gd name="connsiteX2000" fmla="*/ 8143386 w 9922465"/>
              <a:gd name="connsiteY2000" fmla="*/ 855263 h 1934496"/>
              <a:gd name="connsiteX2001" fmla="*/ 8198578 w 9922465"/>
              <a:gd name="connsiteY2001" fmla="*/ 910454 h 1934496"/>
              <a:gd name="connsiteX2002" fmla="*/ 8143386 w 9922465"/>
              <a:gd name="connsiteY2002" fmla="*/ 965645 h 1934496"/>
              <a:gd name="connsiteX2003" fmla="*/ 8088194 w 9922465"/>
              <a:gd name="connsiteY2003" fmla="*/ 910454 h 1934496"/>
              <a:gd name="connsiteX2004" fmla="*/ 8143386 w 9922465"/>
              <a:gd name="connsiteY2004" fmla="*/ 855263 h 1934496"/>
              <a:gd name="connsiteX2005" fmla="*/ 8009752 w 9922465"/>
              <a:gd name="connsiteY2005" fmla="*/ 855263 h 1934496"/>
              <a:gd name="connsiteX2006" fmla="*/ 8064944 w 9922465"/>
              <a:gd name="connsiteY2006" fmla="*/ 910454 h 1934496"/>
              <a:gd name="connsiteX2007" fmla="*/ 8009752 w 9922465"/>
              <a:gd name="connsiteY2007" fmla="*/ 965645 h 1934496"/>
              <a:gd name="connsiteX2008" fmla="*/ 7954560 w 9922465"/>
              <a:gd name="connsiteY2008" fmla="*/ 910454 h 1934496"/>
              <a:gd name="connsiteX2009" fmla="*/ 8009752 w 9922465"/>
              <a:gd name="connsiteY2009" fmla="*/ 855263 h 1934496"/>
              <a:gd name="connsiteX2010" fmla="*/ 7876117 w 9922465"/>
              <a:gd name="connsiteY2010" fmla="*/ 855263 h 1934496"/>
              <a:gd name="connsiteX2011" fmla="*/ 7931309 w 9922465"/>
              <a:gd name="connsiteY2011" fmla="*/ 910454 h 1934496"/>
              <a:gd name="connsiteX2012" fmla="*/ 7876117 w 9922465"/>
              <a:gd name="connsiteY2012" fmla="*/ 965645 h 1934496"/>
              <a:gd name="connsiteX2013" fmla="*/ 7820925 w 9922465"/>
              <a:gd name="connsiteY2013" fmla="*/ 910454 h 1934496"/>
              <a:gd name="connsiteX2014" fmla="*/ 7876117 w 9922465"/>
              <a:gd name="connsiteY2014" fmla="*/ 855263 h 1934496"/>
              <a:gd name="connsiteX2015" fmla="*/ 7745822 w 9922465"/>
              <a:gd name="connsiteY2015" fmla="*/ 855263 h 1934496"/>
              <a:gd name="connsiteX2016" fmla="*/ 7801014 w 9922465"/>
              <a:gd name="connsiteY2016" fmla="*/ 910454 h 1934496"/>
              <a:gd name="connsiteX2017" fmla="*/ 7745822 w 9922465"/>
              <a:gd name="connsiteY2017" fmla="*/ 965645 h 1934496"/>
              <a:gd name="connsiteX2018" fmla="*/ 7690630 w 9922465"/>
              <a:gd name="connsiteY2018" fmla="*/ 910454 h 1934496"/>
              <a:gd name="connsiteX2019" fmla="*/ 7745822 w 9922465"/>
              <a:gd name="connsiteY2019" fmla="*/ 855263 h 1934496"/>
              <a:gd name="connsiteX2020" fmla="*/ 7608849 w 9922465"/>
              <a:gd name="connsiteY2020" fmla="*/ 855263 h 1934496"/>
              <a:gd name="connsiteX2021" fmla="*/ 7664041 w 9922465"/>
              <a:gd name="connsiteY2021" fmla="*/ 910454 h 1934496"/>
              <a:gd name="connsiteX2022" fmla="*/ 7608849 w 9922465"/>
              <a:gd name="connsiteY2022" fmla="*/ 965645 h 1934496"/>
              <a:gd name="connsiteX2023" fmla="*/ 7553657 w 9922465"/>
              <a:gd name="connsiteY2023" fmla="*/ 910454 h 1934496"/>
              <a:gd name="connsiteX2024" fmla="*/ 7608849 w 9922465"/>
              <a:gd name="connsiteY2024" fmla="*/ 855263 h 1934496"/>
              <a:gd name="connsiteX2025" fmla="*/ 7481895 w 9922465"/>
              <a:gd name="connsiteY2025" fmla="*/ 855263 h 1934496"/>
              <a:gd name="connsiteX2026" fmla="*/ 7537087 w 9922465"/>
              <a:gd name="connsiteY2026" fmla="*/ 910454 h 1934496"/>
              <a:gd name="connsiteX2027" fmla="*/ 7481895 w 9922465"/>
              <a:gd name="connsiteY2027" fmla="*/ 965645 h 1934496"/>
              <a:gd name="connsiteX2028" fmla="*/ 7426703 w 9922465"/>
              <a:gd name="connsiteY2028" fmla="*/ 910454 h 1934496"/>
              <a:gd name="connsiteX2029" fmla="*/ 7481895 w 9922465"/>
              <a:gd name="connsiteY2029" fmla="*/ 855263 h 1934496"/>
              <a:gd name="connsiteX2030" fmla="*/ 7341578 w 9922465"/>
              <a:gd name="connsiteY2030" fmla="*/ 855263 h 1934496"/>
              <a:gd name="connsiteX2031" fmla="*/ 7396770 w 9922465"/>
              <a:gd name="connsiteY2031" fmla="*/ 910454 h 1934496"/>
              <a:gd name="connsiteX2032" fmla="*/ 7341578 w 9922465"/>
              <a:gd name="connsiteY2032" fmla="*/ 965645 h 1934496"/>
              <a:gd name="connsiteX2033" fmla="*/ 7286386 w 9922465"/>
              <a:gd name="connsiteY2033" fmla="*/ 910454 h 1934496"/>
              <a:gd name="connsiteX2034" fmla="*/ 7341578 w 9922465"/>
              <a:gd name="connsiteY2034" fmla="*/ 855263 h 1934496"/>
              <a:gd name="connsiteX2035" fmla="*/ 7211285 w 9922465"/>
              <a:gd name="connsiteY2035" fmla="*/ 855263 h 1934496"/>
              <a:gd name="connsiteX2036" fmla="*/ 7266477 w 9922465"/>
              <a:gd name="connsiteY2036" fmla="*/ 910454 h 1934496"/>
              <a:gd name="connsiteX2037" fmla="*/ 7211285 w 9922465"/>
              <a:gd name="connsiteY2037" fmla="*/ 965645 h 1934496"/>
              <a:gd name="connsiteX2038" fmla="*/ 7156093 w 9922465"/>
              <a:gd name="connsiteY2038" fmla="*/ 910454 h 1934496"/>
              <a:gd name="connsiteX2039" fmla="*/ 7211285 w 9922465"/>
              <a:gd name="connsiteY2039" fmla="*/ 855263 h 1934496"/>
              <a:gd name="connsiteX2040" fmla="*/ 7080993 w 9922465"/>
              <a:gd name="connsiteY2040" fmla="*/ 855263 h 1934496"/>
              <a:gd name="connsiteX2041" fmla="*/ 7136185 w 9922465"/>
              <a:gd name="connsiteY2041" fmla="*/ 910454 h 1934496"/>
              <a:gd name="connsiteX2042" fmla="*/ 7080993 w 9922465"/>
              <a:gd name="connsiteY2042" fmla="*/ 965645 h 1934496"/>
              <a:gd name="connsiteX2043" fmla="*/ 7025801 w 9922465"/>
              <a:gd name="connsiteY2043" fmla="*/ 910454 h 1934496"/>
              <a:gd name="connsiteX2044" fmla="*/ 7080993 w 9922465"/>
              <a:gd name="connsiteY2044" fmla="*/ 855263 h 1934496"/>
              <a:gd name="connsiteX2045" fmla="*/ 6947357 w 9922465"/>
              <a:gd name="connsiteY2045" fmla="*/ 855263 h 1934496"/>
              <a:gd name="connsiteX2046" fmla="*/ 7002549 w 9922465"/>
              <a:gd name="connsiteY2046" fmla="*/ 910454 h 1934496"/>
              <a:gd name="connsiteX2047" fmla="*/ 6947357 w 9922465"/>
              <a:gd name="connsiteY2047" fmla="*/ 965645 h 1934496"/>
              <a:gd name="connsiteX2048" fmla="*/ 6892165 w 9922465"/>
              <a:gd name="connsiteY2048" fmla="*/ 910454 h 1934496"/>
              <a:gd name="connsiteX2049" fmla="*/ 6947357 w 9922465"/>
              <a:gd name="connsiteY2049" fmla="*/ 855263 h 1934496"/>
              <a:gd name="connsiteX2050" fmla="*/ 6817063 w 9922465"/>
              <a:gd name="connsiteY2050" fmla="*/ 855263 h 1934496"/>
              <a:gd name="connsiteX2051" fmla="*/ 6872255 w 9922465"/>
              <a:gd name="connsiteY2051" fmla="*/ 910454 h 1934496"/>
              <a:gd name="connsiteX2052" fmla="*/ 6817063 w 9922465"/>
              <a:gd name="connsiteY2052" fmla="*/ 965645 h 1934496"/>
              <a:gd name="connsiteX2053" fmla="*/ 6761871 w 9922465"/>
              <a:gd name="connsiteY2053" fmla="*/ 910454 h 1934496"/>
              <a:gd name="connsiteX2054" fmla="*/ 6817063 w 9922465"/>
              <a:gd name="connsiteY2054" fmla="*/ 855263 h 1934496"/>
              <a:gd name="connsiteX2055" fmla="*/ 6683430 w 9922465"/>
              <a:gd name="connsiteY2055" fmla="*/ 855263 h 1934496"/>
              <a:gd name="connsiteX2056" fmla="*/ 6738622 w 9922465"/>
              <a:gd name="connsiteY2056" fmla="*/ 910454 h 1934496"/>
              <a:gd name="connsiteX2057" fmla="*/ 6683430 w 9922465"/>
              <a:gd name="connsiteY2057" fmla="*/ 965645 h 1934496"/>
              <a:gd name="connsiteX2058" fmla="*/ 6628238 w 9922465"/>
              <a:gd name="connsiteY2058" fmla="*/ 910454 h 1934496"/>
              <a:gd name="connsiteX2059" fmla="*/ 6683430 w 9922465"/>
              <a:gd name="connsiteY2059" fmla="*/ 855263 h 1934496"/>
              <a:gd name="connsiteX2060" fmla="*/ 6553135 w 9922465"/>
              <a:gd name="connsiteY2060" fmla="*/ 855263 h 1934496"/>
              <a:gd name="connsiteX2061" fmla="*/ 6608327 w 9922465"/>
              <a:gd name="connsiteY2061" fmla="*/ 910454 h 1934496"/>
              <a:gd name="connsiteX2062" fmla="*/ 6553135 w 9922465"/>
              <a:gd name="connsiteY2062" fmla="*/ 965645 h 1934496"/>
              <a:gd name="connsiteX2063" fmla="*/ 6497943 w 9922465"/>
              <a:gd name="connsiteY2063" fmla="*/ 910454 h 1934496"/>
              <a:gd name="connsiteX2064" fmla="*/ 6553135 w 9922465"/>
              <a:gd name="connsiteY2064" fmla="*/ 855263 h 1934496"/>
              <a:gd name="connsiteX2065" fmla="*/ 6419502 w 9922465"/>
              <a:gd name="connsiteY2065" fmla="*/ 855263 h 1934496"/>
              <a:gd name="connsiteX2066" fmla="*/ 6474694 w 9922465"/>
              <a:gd name="connsiteY2066" fmla="*/ 910454 h 1934496"/>
              <a:gd name="connsiteX2067" fmla="*/ 6419502 w 9922465"/>
              <a:gd name="connsiteY2067" fmla="*/ 965645 h 1934496"/>
              <a:gd name="connsiteX2068" fmla="*/ 6364310 w 9922465"/>
              <a:gd name="connsiteY2068" fmla="*/ 910454 h 1934496"/>
              <a:gd name="connsiteX2069" fmla="*/ 6419502 w 9922465"/>
              <a:gd name="connsiteY2069" fmla="*/ 855263 h 1934496"/>
              <a:gd name="connsiteX2070" fmla="*/ 6289206 w 9922465"/>
              <a:gd name="connsiteY2070" fmla="*/ 855263 h 1934496"/>
              <a:gd name="connsiteX2071" fmla="*/ 6344398 w 9922465"/>
              <a:gd name="connsiteY2071" fmla="*/ 910454 h 1934496"/>
              <a:gd name="connsiteX2072" fmla="*/ 6289206 w 9922465"/>
              <a:gd name="connsiteY2072" fmla="*/ 965645 h 1934496"/>
              <a:gd name="connsiteX2073" fmla="*/ 6234014 w 9922465"/>
              <a:gd name="connsiteY2073" fmla="*/ 910454 h 1934496"/>
              <a:gd name="connsiteX2074" fmla="*/ 6289206 w 9922465"/>
              <a:gd name="connsiteY2074" fmla="*/ 855263 h 1934496"/>
              <a:gd name="connsiteX2075" fmla="*/ 6155571 w 9922465"/>
              <a:gd name="connsiteY2075" fmla="*/ 855263 h 1934496"/>
              <a:gd name="connsiteX2076" fmla="*/ 6210763 w 9922465"/>
              <a:gd name="connsiteY2076" fmla="*/ 910454 h 1934496"/>
              <a:gd name="connsiteX2077" fmla="*/ 6155571 w 9922465"/>
              <a:gd name="connsiteY2077" fmla="*/ 965645 h 1934496"/>
              <a:gd name="connsiteX2078" fmla="*/ 6100379 w 9922465"/>
              <a:gd name="connsiteY2078" fmla="*/ 910454 h 1934496"/>
              <a:gd name="connsiteX2079" fmla="*/ 6155571 w 9922465"/>
              <a:gd name="connsiteY2079" fmla="*/ 855263 h 1934496"/>
              <a:gd name="connsiteX2080" fmla="*/ 6021938 w 9922465"/>
              <a:gd name="connsiteY2080" fmla="*/ 855263 h 1934496"/>
              <a:gd name="connsiteX2081" fmla="*/ 6077130 w 9922465"/>
              <a:gd name="connsiteY2081" fmla="*/ 910454 h 1934496"/>
              <a:gd name="connsiteX2082" fmla="*/ 6021938 w 9922465"/>
              <a:gd name="connsiteY2082" fmla="*/ 965645 h 1934496"/>
              <a:gd name="connsiteX2083" fmla="*/ 5966746 w 9922465"/>
              <a:gd name="connsiteY2083" fmla="*/ 910454 h 1934496"/>
              <a:gd name="connsiteX2084" fmla="*/ 6021938 w 9922465"/>
              <a:gd name="connsiteY2084" fmla="*/ 855263 h 1934496"/>
              <a:gd name="connsiteX2085" fmla="*/ 5884961 w 9922465"/>
              <a:gd name="connsiteY2085" fmla="*/ 855263 h 1934496"/>
              <a:gd name="connsiteX2086" fmla="*/ 5940153 w 9922465"/>
              <a:gd name="connsiteY2086" fmla="*/ 910454 h 1934496"/>
              <a:gd name="connsiteX2087" fmla="*/ 5884961 w 9922465"/>
              <a:gd name="connsiteY2087" fmla="*/ 965645 h 1934496"/>
              <a:gd name="connsiteX2088" fmla="*/ 5829769 w 9922465"/>
              <a:gd name="connsiteY2088" fmla="*/ 910454 h 1934496"/>
              <a:gd name="connsiteX2089" fmla="*/ 5884961 w 9922465"/>
              <a:gd name="connsiteY2089" fmla="*/ 855263 h 1934496"/>
              <a:gd name="connsiteX2090" fmla="*/ 5754668 w 9922465"/>
              <a:gd name="connsiteY2090" fmla="*/ 855263 h 1934496"/>
              <a:gd name="connsiteX2091" fmla="*/ 5809860 w 9922465"/>
              <a:gd name="connsiteY2091" fmla="*/ 910454 h 1934496"/>
              <a:gd name="connsiteX2092" fmla="*/ 5754668 w 9922465"/>
              <a:gd name="connsiteY2092" fmla="*/ 965645 h 1934496"/>
              <a:gd name="connsiteX2093" fmla="*/ 5699476 w 9922465"/>
              <a:gd name="connsiteY2093" fmla="*/ 910454 h 1934496"/>
              <a:gd name="connsiteX2094" fmla="*/ 5754668 w 9922465"/>
              <a:gd name="connsiteY2094" fmla="*/ 855263 h 1934496"/>
              <a:gd name="connsiteX2095" fmla="*/ 5621034 w 9922465"/>
              <a:gd name="connsiteY2095" fmla="*/ 855263 h 1934496"/>
              <a:gd name="connsiteX2096" fmla="*/ 5676226 w 9922465"/>
              <a:gd name="connsiteY2096" fmla="*/ 910454 h 1934496"/>
              <a:gd name="connsiteX2097" fmla="*/ 5621034 w 9922465"/>
              <a:gd name="connsiteY2097" fmla="*/ 965645 h 1934496"/>
              <a:gd name="connsiteX2098" fmla="*/ 5565842 w 9922465"/>
              <a:gd name="connsiteY2098" fmla="*/ 910454 h 1934496"/>
              <a:gd name="connsiteX2099" fmla="*/ 5621034 w 9922465"/>
              <a:gd name="connsiteY2099" fmla="*/ 855263 h 1934496"/>
              <a:gd name="connsiteX2100" fmla="*/ 5487399 w 9922465"/>
              <a:gd name="connsiteY2100" fmla="*/ 855263 h 1934496"/>
              <a:gd name="connsiteX2101" fmla="*/ 5542591 w 9922465"/>
              <a:gd name="connsiteY2101" fmla="*/ 910454 h 1934496"/>
              <a:gd name="connsiteX2102" fmla="*/ 5487399 w 9922465"/>
              <a:gd name="connsiteY2102" fmla="*/ 965645 h 1934496"/>
              <a:gd name="connsiteX2103" fmla="*/ 5432207 w 9922465"/>
              <a:gd name="connsiteY2103" fmla="*/ 910454 h 1934496"/>
              <a:gd name="connsiteX2104" fmla="*/ 5487399 w 9922465"/>
              <a:gd name="connsiteY2104" fmla="*/ 855263 h 1934496"/>
              <a:gd name="connsiteX2105" fmla="*/ 5357105 w 9922465"/>
              <a:gd name="connsiteY2105" fmla="*/ 855263 h 1934496"/>
              <a:gd name="connsiteX2106" fmla="*/ 5412297 w 9922465"/>
              <a:gd name="connsiteY2106" fmla="*/ 910454 h 1934496"/>
              <a:gd name="connsiteX2107" fmla="*/ 5357105 w 9922465"/>
              <a:gd name="connsiteY2107" fmla="*/ 965645 h 1934496"/>
              <a:gd name="connsiteX2108" fmla="*/ 5301913 w 9922465"/>
              <a:gd name="connsiteY2108" fmla="*/ 910454 h 1934496"/>
              <a:gd name="connsiteX2109" fmla="*/ 5357105 w 9922465"/>
              <a:gd name="connsiteY2109" fmla="*/ 855263 h 1934496"/>
              <a:gd name="connsiteX2110" fmla="*/ 5223472 w 9922465"/>
              <a:gd name="connsiteY2110" fmla="*/ 855263 h 1934496"/>
              <a:gd name="connsiteX2111" fmla="*/ 5278664 w 9922465"/>
              <a:gd name="connsiteY2111" fmla="*/ 910454 h 1934496"/>
              <a:gd name="connsiteX2112" fmla="*/ 5223472 w 9922465"/>
              <a:gd name="connsiteY2112" fmla="*/ 965645 h 1934496"/>
              <a:gd name="connsiteX2113" fmla="*/ 5168280 w 9922465"/>
              <a:gd name="connsiteY2113" fmla="*/ 910454 h 1934496"/>
              <a:gd name="connsiteX2114" fmla="*/ 5223472 w 9922465"/>
              <a:gd name="connsiteY2114" fmla="*/ 855263 h 1934496"/>
              <a:gd name="connsiteX2115" fmla="*/ 5093178 w 9922465"/>
              <a:gd name="connsiteY2115" fmla="*/ 855263 h 1934496"/>
              <a:gd name="connsiteX2116" fmla="*/ 5148370 w 9922465"/>
              <a:gd name="connsiteY2116" fmla="*/ 910454 h 1934496"/>
              <a:gd name="connsiteX2117" fmla="*/ 5093178 w 9922465"/>
              <a:gd name="connsiteY2117" fmla="*/ 965645 h 1934496"/>
              <a:gd name="connsiteX2118" fmla="*/ 5037986 w 9922465"/>
              <a:gd name="connsiteY2118" fmla="*/ 910454 h 1934496"/>
              <a:gd name="connsiteX2119" fmla="*/ 5093178 w 9922465"/>
              <a:gd name="connsiteY2119" fmla="*/ 855263 h 1934496"/>
              <a:gd name="connsiteX2120" fmla="*/ 4161076 w 9922465"/>
              <a:gd name="connsiteY2120" fmla="*/ 855263 h 1934496"/>
              <a:gd name="connsiteX2121" fmla="*/ 4216268 w 9922465"/>
              <a:gd name="connsiteY2121" fmla="*/ 910454 h 1934496"/>
              <a:gd name="connsiteX2122" fmla="*/ 4161076 w 9922465"/>
              <a:gd name="connsiteY2122" fmla="*/ 965645 h 1934496"/>
              <a:gd name="connsiteX2123" fmla="*/ 4105884 w 9922465"/>
              <a:gd name="connsiteY2123" fmla="*/ 910454 h 1934496"/>
              <a:gd name="connsiteX2124" fmla="*/ 4161076 w 9922465"/>
              <a:gd name="connsiteY2124" fmla="*/ 855263 h 1934496"/>
              <a:gd name="connsiteX2125" fmla="*/ 3633218 w 9922465"/>
              <a:gd name="connsiteY2125" fmla="*/ 855263 h 1934496"/>
              <a:gd name="connsiteX2126" fmla="*/ 3688410 w 9922465"/>
              <a:gd name="connsiteY2126" fmla="*/ 910454 h 1934496"/>
              <a:gd name="connsiteX2127" fmla="*/ 3633218 w 9922465"/>
              <a:gd name="connsiteY2127" fmla="*/ 965645 h 1934496"/>
              <a:gd name="connsiteX2128" fmla="*/ 3578026 w 9922465"/>
              <a:gd name="connsiteY2128" fmla="*/ 910454 h 1934496"/>
              <a:gd name="connsiteX2129" fmla="*/ 3633218 w 9922465"/>
              <a:gd name="connsiteY2129" fmla="*/ 855263 h 1934496"/>
              <a:gd name="connsiteX2130" fmla="*/ 3499586 w 9922465"/>
              <a:gd name="connsiteY2130" fmla="*/ 855263 h 1934496"/>
              <a:gd name="connsiteX2131" fmla="*/ 3554778 w 9922465"/>
              <a:gd name="connsiteY2131" fmla="*/ 910454 h 1934496"/>
              <a:gd name="connsiteX2132" fmla="*/ 3499586 w 9922465"/>
              <a:gd name="connsiteY2132" fmla="*/ 965645 h 1934496"/>
              <a:gd name="connsiteX2133" fmla="*/ 3444394 w 9922465"/>
              <a:gd name="connsiteY2133" fmla="*/ 910454 h 1934496"/>
              <a:gd name="connsiteX2134" fmla="*/ 3499586 w 9922465"/>
              <a:gd name="connsiteY2134" fmla="*/ 855263 h 1934496"/>
              <a:gd name="connsiteX2135" fmla="*/ 3369290 w 9922465"/>
              <a:gd name="connsiteY2135" fmla="*/ 855263 h 1934496"/>
              <a:gd name="connsiteX2136" fmla="*/ 3424482 w 9922465"/>
              <a:gd name="connsiteY2136" fmla="*/ 910454 h 1934496"/>
              <a:gd name="connsiteX2137" fmla="*/ 3369290 w 9922465"/>
              <a:gd name="connsiteY2137" fmla="*/ 965645 h 1934496"/>
              <a:gd name="connsiteX2138" fmla="*/ 3314098 w 9922465"/>
              <a:gd name="connsiteY2138" fmla="*/ 910454 h 1934496"/>
              <a:gd name="connsiteX2139" fmla="*/ 3369290 w 9922465"/>
              <a:gd name="connsiteY2139" fmla="*/ 855263 h 1934496"/>
              <a:gd name="connsiteX2140" fmla="*/ 2834849 w 9922465"/>
              <a:gd name="connsiteY2140" fmla="*/ 855263 h 1934496"/>
              <a:gd name="connsiteX2141" fmla="*/ 2890040 w 9922465"/>
              <a:gd name="connsiteY2141" fmla="*/ 910454 h 1934496"/>
              <a:gd name="connsiteX2142" fmla="*/ 2834849 w 9922465"/>
              <a:gd name="connsiteY2142" fmla="*/ 965645 h 1934496"/>
              <a:gd name="connsiteX2143" fmla="*/ 2779655 w 9922465"/>
              <a:gd name="connsiteY2143" fmla="*/ 910454 h 1934496"/>
              <a:gd name="connsiteX2144" fmla="*/ 2834849 w 9922465"/>
              <a:gd name="connsiteY2144" fmla="*/ 855263 h 1934496"/>
              <a:gd name="connsiteX2145" fmla="*/ 2707895 w 9922465"/>
              <a:gd name="connsiteY2145" fmla="*/ 855263 h 1934496"/>
              <a:gd name="connsiteX2146" fmla="*/ 2763087 w 9922465"/>
              <a:gd name="connsiteY2146" fmla="*/ 910454 h 1934496"/>
              <a:gd name="connsiteX2147" fmla="*/ 2707895 w 9922465"/>
              <a:gd name="connsiteY2147" fmla="*/ 965645 h 1934496"/>
              <a:gd name="connsiteX2148" fmla="*/ 2652702 w 9922465"/>
              <a:gd name="connsiteY2148" fmla="*/ 910454 h 1934496"/>
              <a:gd name="connsiteX2149" fmla="*/ 2707895 w 9922465"/>
              <a:gd name="connsiteY2149" fmla="*/ 855263 h 1934496"/>
              <a:gd name="connsiteX2150" fmla="*/ 2570919 w 9922465"/>
              <a:gd name="connsiteY2150" fmla="*/ 855263 h 1934496"/>
              <a:gd name="connsiteX2151" fmla="*/ 2626110 w 9922465"/>
              <a:gd name="connsiteY2151" fmla="*/ 910454 h 1934496"/>
              <a:gd name="connsiteX2152" fmla="*/ 2570919 w 9922465"/>
              <a:gd name="connsiteY2152" fmla="*/ 965645 h 1934496"/>
              <a:gd name="connsiteX2153" fmla="*/ 2515724 w 9922465"/>
              <a:gd name="connsiteY2153" fmla="*/ 910454 h 1934496"/>
              <a:gd name="connsiteX2154" fmla="*/ 2570919 w 9922465"/>
              <a:gd name="connsiteY2154" fmla="*/ 855263 h 1934496"/>
              <a:gd name="connsiteX2155" fmla="*/ 2303651 w 9922465"/>
              <a:gd name="connsiteY2155" fmla="*/ 855263 h 1934496"/>
              <a:gd name="connsiteX2156" fmla="*/ 2358843 w 9922465"/>
              <a:gd name="connsiteY2156" fmla="*/ 910454 h 1934496"/>
              <a:gd name="connsiteX2157" fmla="*/ 2303651 w 9922465"/>
              <a:gd name="connsiteY2157" fmla="*/ 965645 h 1934496"/>
              <a:gd name="connsiteX2158" fmla="*/ 2248461 w 9922465"/>
              <a:gd name="connsiteY2158" fmla="*/ 910454 h 1934496"/>
              <a:gd name="connsiteX2159" fmla="*/ 2303651 w 9922465"/>
              <a:gd name="connsiteY2159" fmla="*/ 855263 h 1934496"/>
              <a:gd name="connsiteX2160" fmla="*/ 2173362 w 9922465"/>
              <a:gd name="connsiteY2160" fmla="*/ 855263 h 1934496"/>
              <a:gd name="connsiteX2161" fmla="*/ 2228554 w 9922465"/>
              <a:gd name="connsiteY2161" fmla="*/ 910454 h 1934496"/>
              <a:gd name="connsiteX2162" fmla="*/ 2173362 w 9922465"/>
              <a:gd name="connsiteY2162" fmla="*/ 965645 h 1934496"/>
              <a:gd name="connsiteX2163" fmla="*/ 2118170 w 9922465"/>
              <a:gd name="connsiteY2163" fmla="*/ 910454 h 1934496"/>
              <a:gd name="connsiteX2164" fmla="*/ 2173362 w 9922465"/>
              <a:gd name="connsiteY2164" fmla="*/ 855263 h 1934496"/>
              <a:gd name="connsiteX2165" fmla="*/ 2039725 w 9922465"/>
              <a:gd name="connsiteY2165" fmla="*/ 855263 h 1934496"/>
              <a:gd name="connsiteX2166" fmla="*/ 2094919 w 9922465"/>
              <a:gd name="connsiteY2166" fmla="*/ 910454 h 1934496"/>
              <a:gd name="connsiteX2167" fmla="*/ 2039725 w 9922465"/>
              <a:gd name="connsiteY2167" fmla="*/ 965645 h 1934496"/>
              <a:gd name="connsiteX2168" fmla="*/ 1984533 w 9922465"/>
              <a:gd name="connsiteY2168" fmla="*/ 910454 h 1934496"/>
              <a:gd name="connsiteX2169" fmla="*/ 2039725 w 9922465"/>
              <a:gd name="connsiteY2169" fmla="*/ 855263 h 1934496"/>
              <a:gd name="connsiteX2170" fmla="*/ 1909428 w 9922465"/>
              <a:gd name="connsiteY2170" fmla="*/ 855263 h 1934496"/>
              <a:gd name="connsiteX2171" fmla="*/ 1964620 w 9922465"/>
              <a:gd name="connsiteY2171" fmla="*/ 910454 h 1934496"/>
              <a:gd name="connsiteX2172" fmla="*/ 1909428 w 9922465"/>
              <a:gd name="connsiteY2172" fmla="*/ 965645 h 1934496"/>
              <a:gd name="connsiteX2173" fmla="*/ 1854234 w 9922465"/>
              <a:gd name="connsiteY2173" fmla="*/ 910454 h 1934496"/>
              <a:gd name="connsiteX2174" fmla="*/ 1909428 w 9922465"/>
              <a:gd name="connsiteY2174" fmla="*/ 855263 h 1934496"/>
              <a:gd name="connsiteX2175" fmla="*/ 1779130 w 9922465"/>
              <a:gd name="connsiteY2175" fmla="*/ 855263 h 1934496"/>
              <a:gd name="connsiteX2176" fmla="*/ 1834324 w 9922465"/>
              <a:gd name="connsiteY2176" fmla="*/ 910454 h 1934496"/>
              <a:gd name="connsiteX2177" fmla="*/ 1779130 w 9922465"/>
              <a:gd name="connsiteY2177" fmla="*/ 965645 h 1934496"/>
              <a:gd name="connsiteX2178" fmla="*/ 1723937 w 9922465"/>
              <a:gd name="connsiteY2178" fmla="*/ 910454 h 1934496"/>
              <a:gd name="connsiteX2179" fmla="*/ 1779130 w 9922465"/>
              <a:gd name="connsiteY2179" fmla="*/ 855263 h 1934496"/>
              <a:gd name="connsiteX2180" fmla="*/ 1645495 w 9922465"/>
              <a:gd name="connsiteY2180" fmla="*/ 855263 h 1934496"/>
              <a:gd name="connsiteX2181" fmla="*/ 1700693 w 9922465"/>
              <a:gd name="connsiteY2181" fmla="*/ 910454 h 1934496"/>
              <a:gd name="connsiteX2182" fmla="*/ 1645495 w 9922465"/>
              <a:gd name="connsiteY2182" fmla="*/ 965645 h 1934496"/>
              <a:gd name="connsiteX2183" fmla="*/ 1590303 w 9922465"/>
              <a:gd name="connsiteY2183" fmla="*/ 910454 h 1934496"/>
              <a:gd name="connsiteX2184" fmla="*/ 1645495 w 9922465"/>
              <a:gd name="connsiteY2184" fmla="*/ 855263 h 1934496"/>
              <a:gd name="connsiteX2185" fmla="*/ 1515206 w 9922465"/>
              <a:gd name="connsiteY2185" fmla="*/ 855263 h 1934496"/>
              <a:gd name="connsiteX2186" fmla="*/ 1570391 w 9922465"/>
              <a:gd name="connsiteY2186" fmla="*/ 910454 h 1934496"/>
              <a:gd name="connsiteX2187" fmla="*/ 1515206 w 9922465"/>
              <a:gd name="connsiteY2187" fmla="*/ 965645 h 1934496"/>
              <a:gd name="connsiteX2188" fmla="*/ 1460009 w 9922465"/>
              <a:gd name="connsiteY2188" fmla="*/ 910454 h 1934496"/>
              <a:gd name="connsiteX2189" fmla="*/ 1515206 w 9922465"/>
              <a:gd name="connsiteY2189" fmla="*/ 855263 h 1934496"/>
              <a:gd name="connsiteX2190" fmla="*/ 1381566 w 9922465"/>
              <a:gd name="connsiteY2190" fmla="*/ 855263 h 1934496"/>
              <a:gd name="connsiteX2191" fmla="*/ 1436758 w 9922465"/>
              <a:gd name="connsiteY2191" fmla="*/ 910454 h 1934496"/>
              <a:gd name="connsiteX2192" fmla="*/ 1381566 w 9922465"/>
              <a:gd name="connsiteY2192" fmla="*/ 965645 h 1934496"/>
              <a:gd name="connsiteX2193" fmla="*/ 1326375 w 9922465"/>
              <a:gd name="connsiteY2193" fmla="*/ 910454 h 1934496"/>
              <a:gd name="connsiteX2194" fmla="*/ 1381566 w 9922465"/>
              <a:gd name="connsiteY2194" fmla="*/ 855263 h 1934496"/>
              <a:gd name="connsiteX2195" fmla="*/ 1251271 w 9922465"/>
              <a:gd name="connsiteY2195" fmla="*/ 855263 h 1934496"/>
              <a:gd name="connsiteX2196" fmla="*/ 1306464 w 9922465"/>
              <a:gd name="connsiteY2196" fmla="*/ 910454 h 1934496"/>
              <a:gd name="connsiteX2197" fmla="*/ 1251271 w 9922465"/>
              <a:gd name="connsiteY2197" fmla="*/ 965645 h 1934496"/>
              <a:gd name="connsiteX2198" fmla="*/ 1196078 w 9922465"/>
              <a:gd name="connsiteY2198" fmla="*/ 910454 h 1934496"/>
              <a:gd name="connsiteX2199" fmla="*/ 1251271 w 9922465"/>
              <a:gd name="connsiteY2199" fmla="*/ 855263 h 1934496"/>
              <a:gd name="connsiteX2200" fmla="*/ 1117634 w 9922465"/>
              <a:gd name="connsiteY2200" fmla="*/ 855263 h 1934496"/>
              <a:gd name="connsiteX2201" fmla="*/ 1172828 w 9922465"/>
              <a:gd name="connsiteY2201" fmla="*/ 910454 h 1934496"/>
              <a:gd name="connsiteX2202" fmla="*/ 1117634 w 9922465"/>
              <a:gd name="connsiteY2202" fmla="*/ 965645 h 1934496"/>
              <a:gd name="connsiteX2203" fmla="*/ 1062440 w 9922465"/>
              <a:gd name="connsiteY2203" fmla="*/ 910454 h 1934496"/>
              <a:gd name="connsiteX2204" fmla="*/ 1117634 w 9922465"/>
              <a:gd name="connsiteY2204" fmla="*/ 855263 h 1934496"/>
              <a:gd name="connsiteX2205" fmla="*/ 980654 w 9922465"/>
              <a:gd name="connsiteY2205" fmla="*/ 855263 h 1934496"/>
              <a:gd name="connsiteX2206" fmla="*/ 1035848 w 9922465"/>
              <a:gd name="connsiteY2206" fmla="*/ 910454 h 1934496"/>
              <a:gd name="connsiteX2207" fmla="*/ 980654 w 9922465"/>
              <a:gd name="connsiteY2207" fmla="*/ 965645 h 1934496"/>
              <a:gd name="connsiteX2208" fmla="*/ 925460 w 9922465"/>
              <a:gd name="connsiteY2208" fmla="*/ 910454 h 1934496"/>
              <a:gd name="connsiteX2209" fmla="*/ 980654 w 9922465"/>
              <a:gd name="connsiteY2209" fmla="*/ 855263 h 1934496"/>
              <a:gd name="connsiteX2210" fmla="*/ 847016 w 9922465"/>
              <a:gd name="connsiteY2210" fmla="*/ 855263 h 1934496"/>
              <a:gd name="connsiteX2211" fmla="*/ 902209 w 9922465"/>
              <a:gd name="connsiteY2211" fmla="*/ 910454 h 1934496"/>
              <a:gd name="connsiteX2212" fmla="*/ 847016 w 9922465"/>
              <a:gd name="connsiteY2212" fmla="*/ 965645 h 1934496"/>
              <a:gd name="connsiteX2213" fmla="*/ 791816 w 9922465"/>
              <a:gd name="connsiteY2213" fmla="*/ 910454 h 1934496"/>
              <a:gd name="connsiteX2214" fmla="*/ 847016 w 9922465"/>
              <a:gd name="connsiteY2214" fmla="*/ 855263 h 1934496"/>
              <a:gd name="connsiteX2215" fmla="*/ 716709 w 9922465"/>
              <a:gd name="connsiteY2215" fmla="*/ 855263 h 1934496"/>
              <a:gd name="connsiteX2216" fmla="*/ 771907 w 9922465"/>
              <a:gd name="connsiteY2216" fmla="*/ 910454 h 1934496"/>
              <a:gd name="connsiteX2217" fmla="*/ 716709 w 9922465"/>
              <a:gd name="connsiteY2217" fmla="*/ 965645 h 1934496"/>
              <a:gd name="connsiteX2218" fmla="*/ 661522 w 9922465"/>
              <a:gd name="connsiteY2218" fmla="*/ 910454 h 1934496"/>
              <a:gd name="connsiteX2219" fmla="*/ 716709 w 9922465"/>
              <a:gd name="connsiteY2219" fmla="*/ 855263 h 1934496"/>
              <a:gd name="connsiteX2220" fmla="*/ 583074 w 9922465"/>
              <a:gd name="connsiteY2220" fmla="*/ 855263 h 1934496"/>
              <a:gd name="connsiteX2221" fmla="*/ 638268 w 9922465"/>
              <a:gd name="connsiteY2221" fmla="*/ 910454 h 1934496"/>
              <a:gd name="connsiteX2222" fmla="*/ 583074 w 9922465"/>
              <a:gd name="connsiteY2222" fmla="*/ 965645 h 1934496"/>
              <a:gd name="connsiteX2223" fmla="*/ 527881 w 9922465"/>
              <a:gd name="connsiteY2223" fmla="*/ 910454 h 1934496"/>
              <a:gd name="connsiteX2224" fmla="*/ 583074 w 9922465"/>
              <a:gd name="connsiteY2224" fmla="*/ 855263 h 1934496"/>
              <a:gd name="connsiteX2225" fmla="*/ 9867273 w 9922465"/>
              <a:gd name="connsiteY2225" fmla="*/ 855260 h 1934496"/>
              <a:gd name="connsiteX2226" fmla="*/ 9922465 w 9922465"/>
              <a:gd name="connsiteY2226" fmla="*/ 910451 h 1934496"/>
              <a:gd name="connsiteX2227" fmla="*/ 9867273 w 9922465"/>
              <a:gd name="connsiteY2227" fmla="*/ 965642 h 1934496"/>
              <a:gd name="connsiteX2228" fmla="*/ 9812081 w 9922465"/>
              <a:gd name="connsiteY2228" fmla="*/ 910451 h 1934496"/>
              <a:gd name="connsiteX2229" fmla="*/ 9867273 w 9922465"/>
              <a:gd name="connsiteY2229" fmla="*/ 855260 h 1934496"/>
              <a:gd name="connsiteX2230" fmla="*/ 9733637 w 9922465"/>
              <a:gd name="connsiteY2230" fmla="*/ 855260 h 1934496"/>
              <a:gd name="connsiteX2231" fmla="*/ 9788829 w 9922465"/>
              <a:gd name="connsiteY2231" fmla="*/ 910451 h 1934496"/>
              <a:gd name="connsiteX2232" fmla="*/ 9733637 w 9922465"/>
              <a:gd name="connsiteY2232" fmla="*/ 965642 h 1934496"/>
              <a:gd name="connsiteX2233" fmla="*/ 9678445 w 9922465"/>
              <a:gd name="connsiteY2233" fmla="*/ 910451 h 1934496"/>
              <a:gd name="connsiteX2234" fmla="*/ 9733637 w 9922465"/>
              <a:gd name="connsiteY2234" fmla="*/ 855260 h 1934496"/>
              <a:gd name="connsiteX2235" fmla="*/ 9603343 w 9922465"/>
              <a:gd name="connsiteY2235" fmla="*/ 855260 h 1934496"/>
              <a:gd name="connsiteX2236" fmla="*/ 9658535 w 9922465"/>
              <a:gd name="connsiteY2236" fmla="*/ 910451 h 1934496"/>
              <a:gd name="connsiteX2237" fmla="*/ 9603343 w 9922465"/>
              <a:gd name="connsiteY2237" fmla="*/ 965642 h 1934496"/>
              <a:gd name="connsiteX2238" fmla="*/ 9548151 w 9922465"/>
              <a:gd name="connsiteY2238" fmla="*/ 910451 h 1934496"/>
              <a:gd name="connsiteX2239" fmla="*/ 9603343 w 9922465"/>
              <a:gd name="connsiteY2239" fmla="*/ 855260 h 1934496"/>
              <a:gd name="connsiteX2240" fmla="*/ 449429 w 9922465"/>
              <a:gd name="connsiteY2240" fmla="*/ 855260 h 1934496"/>
              <a:gd name="connsiteX2241" fmla="*/ 504621 w 9922465"/>
              <a:gd name="connsiteY2241" fmla="*/ 910451 h 1934496"/>
              <a:gd name="connsiteX2242" fmla="*/ 449429 w 9922465"/>
              <a:gd name="connsiteY2242" fmla="*/ 965642 h 1934496"/>
              <a:gd name="connsiteX2243" fmla="*/ 394234 w 9922465"/>
              <a:gd name="connsiteY2243" fmla="*/ 910451 h 1934496"/>
              <a:gd name="connsiteX2244" fmla="*/ 449429 w 9922465"/>
              <a:gd name="connsiteY2244" fmla="*/ 855260 h 1934496"/>
              <a:gd name="connsiteX2245" fmla="*/ 319132 w 9922465"/>
              <a:gd name="connsiteY2245" fmla="*/ 855260 h 1934496"/>
              <a:gd name="connsiteX2246" fmla="*/ 374326 w 9922465"/>
              <a:gd name="connsiteY2246" fmla="*/ 910451 h 1934496"/>
              <a:gd name="connsiteX2247" fmla="*/ 319132 w 9922465"/>
              <a:gd name="connsiteY2247" fmla="*/ 965642 h 1934496"/>
              <a:gd name="connsiteX2248" fmla="*/ 263940 w 9922465"/>
              <a:gd name="connsiteY2248" fmla="*/ 910451 h 1934496"/>
              <a:gd name="connsiteX2249" fmla="*/ 319132 w 9922465"/>
              <a:gd name="connsiteY2249" fmla="*/ 855260 h 1934496"/>
              <a:gd name="connsiteX2250" fmla="*/ 185499 w 9922465"/>
              <a:gd name="connsiteY2250" fmla="*/ 855260 h 1934496"/>
              <a:gd name="connsiteX2251" fmla="*/ 240690 w 9922465"/>
              <a:gd name="connsiteY2251" fmla="*/ 910451 h 1934496"/>
              <a:gd name="connsiteX2252" fmla="*/ 185499 w 9922465"/>
              <a:gd name="connsiteY2252" fmla="*/ 965642 h 1934496"/>
              <a:gd name="connsiteX2253" fmla="*/ 130308 w 9922465"/>
              <a:gd name="connsiteY2253" fmla="*/ 910451 h 1934496"/>
              <a:gd name="connsiteX2254" fmla="*/ 185499 w 9922465"/>
              <a:gd name="connsiteY2254" fmla="*/ 855260 h 1934496"/>
              <a:gd name="connsiteX2255" fmla="*/ 9733637 w 9922465"/>
              <a:gd name="connsiteY2255" fmla="*/ 724970 h 1934496"/>
              <a:gd name="connsiteX2256" fmla="*/ 9788829 w 9922465"/>
              <a:gd name="connsiteY2256" fmla="*/ 780161 h 1934496"/>
              <a:gd name="connsiteX2257" fmla="*/ 9733637 w 9922465"/>
              <a:gd name="connsiteY2257" fmla="*/ 835352 h 1934496"/>
              <a:gd name="connsiteX2258" fmla="*/ 9678445 w 9922465"/>
              <a:gd name="connsiteY2258" fmla="*/ 780161 h 1934496"/>
              <a:gd name="connsiteX2259" fmla="*/ 9733637 w 9922465"/>
              <a:gd name="connsiteY2259" fmla="*/ 724970 h 1934496"/>
              <a:gd name="connsiteX2260" fmla="*/ 9603344 w 9922465"/>
              <a:gd name="connsiteY2260" fmla="*/ 724970 h 1934496"/>
              <a:gd name="connsiteX2261" fmla="*/ 9658536 w 9922465"/>
              <a:gd name="connsiteY2261" fmla="*/ 780161 h 1934496"/>
              <a:gd name="connsiteX2262" fmla="*/ 9603344 w 9922465"/>
              <a:gd name="connsiteY2262" fmla="*/ 835352 h 1934496"/>
              <a:gd name="connsiteX2263" fmla="*/ 9548152 w 9922465"/>
              <a:gd name="connsiteY2263" fmla="*/ 780161 h 1934496"/>
              <a:gd name="connsiteX2264" fmla="*/ 9603344 w 9922465"/>
              <a:gd name="connsiteY2264" fmla="*/ 724970 h 1934496"/>
              <a:gd name="connsiteX2265" fmla="*/ 9469710 w 9922465"/>
              <a:gd name="connsiteY2265" fmla="*/ 724970 h 1934496"/>
              <a:gd name="connsiteX2266" fmla="*/ 9524902 w 9922465"/>
              <a:gd name="connsiteY2266" fmla="*/ 780161 h 1934496"/>
              <a:gd name="connsiteX2267" fmla="*/ 9469710 w 9922465"/>
              <a:gd name="connsiteY2267" fmla="*/ 835352 h 1934496"/>
              <a:gd name="connsiteX2268" fmla="*/ 9414518 w 9922465"/>
              <a:gd name="connsiteY2268" fmla="*/ 780161 h 1934496"/>
              <a:gd name="connsiteX2269" fmla="*/ 9469710 w 9922465"/>
              <a:gd name="connsiteY2269" fmla="*/ 724970 h 1934496"/>
              <a:gd name="connsiteX2270" fmla="*/ 9336075 w 9922465"/>
              <a:gd name="connsiteY2270" fmla="*/ 724970 h 1934496"/>
              <a:gd name="connsiteX2271" fmla="*/ 9391267 w 9922465"/>
              <a:gd name="connsiteY2271" fmla="*/ 780161 h 1934496"/>
              <a:gd name="connsiteX2272" fmla="*/ 9336075 w 9922465"/>
              <a:gd name="connsiteY2272" fmla="*/ 835352 h 1934496"/>
              <a:gd name="connsiteX2273" fmla="*/ 9280883 w 9922465"/>
              <a:gd name="connsiteY2273" fmla="*/ 780161 h 1934496"/>
              <a:gd name="connsiteX2274" fmla="*/ 9336075 w 9922465"/>
              <a:gd name="connsiteY2274" fmla="*/ 724970 h 1934496"/>
              <a:gd name="connsiteX2275" fmla="*/ 9199100 w 9922465"/>
              <a:gd name="connsiteY2275" fmla="*/ 724970 h 1934496"/>
              <a:gd name="connsiteX2276" fmla="*/ 9254292 w 9922465"/>
              <a:gd name="connsiteY2276" fmla="*/ 780161 h 1934496"/>
              <a:gd name="connsiteX2277" fmla="*/ 9199100 w 9922465"/>
              <a:gd name="connsiteY2277" fmla="*/ 835352 h 1934496"/>
              <a:gd name="connsiteX2278" fmla="*/ 9143908 w 9922465"/>
              <a:gd name="connsiteY2278" fmla="*/ 780161 h 1934496"/>
              <a:gd name="connsiteX2279" fmla="*/ 9199100 w 9922465"/>
              <a:gd name="connsiteY2279" fmla="*/ 724970 h 1934496"/>
              <a:gd name="connsiteX2280" fmla="*/ 9068806 w 9922465"/>
              <a:gd name="connsiteY2280" fmla="*/ 724970 h 1934496"/>
              <a:gd name="connsiteX2281" fmla="*/ 9123998 w 9922465"/>
              <a:gd name="connsiteY2281" fmla="*/ 780161 h 1934496"/>
              <a:gd name="connsiteX2282" fmla="*/ 9068806 w 9922465"/>
              <a:gd name="connsiteY2282" fmla="*/ 835352 h 1934496"/>
              <a:gd name="connsiteX2283" fmla="*/ 9013614 w 9922465"/>
              <a:gd name="connsiteY2283" fmla="*/ 780161 h 1934496"/>
              <a:gd name="connsiteX2284" fmla="*/ 9068806 w 9922465"/>
              <a:gd name="connsiteY2284" fmla="*/ 724970 h 1934496"/>
              <a:gd name="connsiteX2285" fmla="*/ 8935170 w 9922465"/>
              <a:gd name="connsiteY2285" fmla="*/ 724970 h 1934496"/>
              <a:gd name="connsiteX2286" fmla="*/ 8990362 w 9922465"/>
              <a:gd name="connsiteY2286" fmla="*/ 780161 h 1934496"/>
              <a:gd name="connsiteX2287" fmla="*/ 8935170 w 9922465"/>
              <a:gd name="connsiteY2287" fmla="*/ 835352 h 1934496"/>
              <a:gd name="connsiteX2288" fmla="*/ 8879978 w 9922465"/>
              <a:gd name="connsiteY2288" fmla="*/ 780161 h 1934496"/>
              <a:gd name="connsiteX2289" fmla="*/ 8935170 w 9922465"/>
              <a:gd name="connsiteY2289" fmla="*/ 724970 h 1934496"/>
              <a:gd name="connsiteX2290" fmla="*/ 8801536 w 9922465"/>
              <a:gd name="connsiteY2290" fmla="*/ 724970 h 1934496"/>
              <a:gd name="connsiteX2291" fmla="*/ 8856728 w 9922465"/>
              <a:gd name="connsiteY2291" fmla="*/ 780161 h 1934496"/>
              <a:gd name="connsiteX2292" fmla="*/ 8801536 w 9922465"/>
              <a:gd name="connsiteY2292" fmla="*/ 835352 h 1934496"/>
              <a:gd name="connsiteX2293" fmla="*/ 8746344 w 9922465"/>
              <a:gd name="connsiteY2293" fmla="*/ 780161 h 1934496"/>
              <a:gd name="connsiteX2294" fmla="*/ 8801536 w 9922465"/>
              <a:gd name="connsiteY2294" fmla="*/ 724970 h 1934496"/>
              <a:gd name="connsiteX2295" fmla="*/ 8671243 w 9922465"/>
              <a:gd name="connsiteY2295" fmla="*/ 724970 h 1934496"/>
              <a:gd name="connsiteX2296" fmla="*/ 8726435 w 9922465"/>
              <a:gd name="connsiteY2296" fmla="*/ 780161 h 1934496"/>
              <a:gd name="connsiteX2297" fmla="*/ 8671243 w 9922465"/>
              <a:gd name="connsiteY2297" fmla="*/ 835352 h 1934496"/>
              <a:gd name="connsiteX2298" fmla="*/ 8616051 w 9922465"/>
              <a:gd name="connsiteY2298" fmla="*/ 780161 h 1934496"/>
              <a:gd name="connsiteX2299" fmla="*/ 8671243 w 9922465"/>
              <a:gd name="connsiteY2299" fmla="*/ 724970 h 1934496"/>
              <a:gd name="connsiteX2300" fmla="*/ 8537609 w 9922465"/>
              <a:gd name="connsiteY2300" fmla="*/ 724970 h 1934496"/>
              <a:gd name="connsiteX2301" fmla="*/ 8592801 w 9922465"/>
              <a:gd name="connsiteY2301" fmla="*/ 780161 h 1934496"/>
              <a:gd name="connsiteX2302" fmla="*/ 8537609 w 9922465"/>
              <a:gd name="connsiteY2302" fmla="*/ 835352 h 1934496"/>
              <a:gd name="connsiteX2303" fmla="*/ 8482417 w 9922465"/>
              <a:gd name="connsiteY2303" fmla="*/ 780161 h 1934496"/>
              <a:gd name="connsiteX2304" fmla="*/ 8537609 w 9922465"/>
              <a:gd name="connsiteY2304" fmla="*/ 724970 h 1934496"/>
              <a:gd name="connsiteX2305" fmla="*/ 8407318 w 9922465"/>
              <a:gd name="connsiteY2305" fmla="*/ 724970 h 1934496"/>
              <a:gd name="connsiteX2306" fmla="*/ 8462510 w 9922465"/>
              <a:gd name="connsiteY2306" fmla="*/ 780161 h 1934496"/>
              <a:gd name="connsiteX2307" fmla="*/ 8407318 w 9922465"/>
              <a:gd name="connsiteY2307" fmla="*/ 835352 h 1934496"/>
              <a:gd name="connsiteX2308" fmla="*/ 8352126 w 9922465"/>
              <a:gd name="connsiteY2308" fmla="*/ 780161 h 1934496"/>
              <a:gd name="connsiteX2309" fmla="*/ 8407318 w 9922465"/>
              <a:gd name="connsiteY2309" fmla="*/ 724970 h 1934496"/>
              <a:gd name="connsiteX2310" fmla="*/ 8273682 w 9922465"/>
              <a:gd name="connsiteY2310" fmla="*/ 724970 h 1934496"/>
              <a:gd name="connsiteX2311" fmla="*/ 8328874 w 9922465"/>
              <a:gd name="connsiteY2311" fmla="*/ 780161 h 1934496"/>
              <a:gd name="connsiteX2312" fmla="*/ 8273682 w 9922465"/>
              <a:gd name="connsiteY2312" fmla="*/ 835352 h 1934496"/>
              <a:gd name="connsiteX2313" fmla="*/ 8218490 w 9922465"/>
              <a:gd name="connsiteY2313" fmla="*/ 780161 h 1934496"/>
              <a:gd name="connsiteX2314" fmla="*/ 8273682 w 9922465"/>
              <a:gd name="connsiteY2314" fmla="*/ 724970 h 1934496"/>
              <a:gd name="connsiteX2315" fmla="*/ 8143386 w 9922465"/>
              <a:gd name="connsiteY2315" fmla="*/ 724970 h 1934496"/>
              <a:gd name="connsiteX2316" fmla="*/ 8198578 w 9922465"/>
              <a:gd name="connsiteY2316" fmla="*/ 780161 h 1934496"/>
              <a:gd name="connsiteX2317" fmla="*/ 8143386 w 9922465"/>
              <a:gd name="connsiteY2317" fmla="*/ 835352 h 1934496"/>
              <a:gd name="connsiteX2318" fmla="*/ 8088194 w 9922465"/>
              <a:gd name="connsiteY2318" fmla="*/ 780161 h 1934496"/>
              <a:gd name="connsiteX2319" fmla="*/ 8143386 w 9922465"/>
              <a:gd name="connsiteY2319" fmla="*/ 724970 h 1934496"/>
              <a:gd name="connsiteX2320" fmla="*/ 8009753 w 9922465"/>
              <a:gd name="connsiteY2320" fmla="*/ 724970 h 1934496"/>
              <a:gd name="connsiteX2321" fmla="*/ 8064945 w 9922465"/>
              <a:gd name="connsiteY2321" fmla="*/ 780161 h 1934496"/>
              <a:gd name="connsiteX2322" fmla="*/ 8009753 w 9922465"/>
              <a:gd name="connsiteY2322" fmla="*/ 835352 h 1934496"/>
              <a:gd name="connsiteX2323" fmla="*/ 7954561 w 9922465"/>
              <a:gd name="connsiteY2323" fmla="*/ 780161 h 1934496"/>
              <a:gd name="connsiteX2324" fmla="*/ 8009753 w 9922465"/>
              <a:gd name="connsiteY2324" fmla="*/ 724970 h 1934496"/>
              <a:gd name="connsiteX2325" fmla="*/ 7876118 w 9922465"/>
              <a:gd name="connsiteY2325" fmla="*/ 724970 h 1934496"/>
              <a:gd name="connsiteX2326" fmla="*/ 7931310 w 9922465"/>
              <a:gd name="connsiteY2326" fmla="*/ 780161 h 1934496"/>
              <a:gd name="connsiteX2327" fmla="*/ 7876118 w 9922465"/>
              <a:gd name="connsiteY2327" fmla="*/ 835352 h 1934496"/>
              <a:gd name="connsiteX2328" fmla="*/ 7820926 w 9922465"/>
              <a:gd name="connsiteY2328" fmla="*/ 780161 h 1934496"/>
              <a:gd name="connsiteX2329" fmla="*/ 7876118 w 9922465"/>
              <a:gd name="connsiteY2329" fmla="*/ 724970 h 1934496"/>
              <a:gd name="connsiteX2330" fmla="*/ 7745824 w 9922465"/>
              <a:gd name="connsiteY2330" fmla="*/ 724970 h 1934496"/>
              <a:gd name="connsiteX2331" fmla="*/ 7801016 w 9922465"/>
              <a:gd name="connsiteY2331" fmla="*/ 780161 h 1934496"/>
              <a:gd name="connsiteX2332" fmla="*/ 7745824 w 9922465"/>
              <a:gd name="connsiteY2332" fmla="*/ 835352 h 1934496"/>
              <a:gd name="connsiteX2333" fmla="*/ 7690632 w 9922465"/>
              <a:gd name="connsiteY2333" fmla="*/ 780161 h 1934496"/>
              <a:gd name="connsiteX2334" fmla="*/ 7745824 w 9922465"/>
              <a:gd name="connsiteY2334" fmla="*/ 724970 h 1934496"/>
              <a:gd name="connsiteX2335" fmla="*/ 7608850 w 9922465"/>
              <a:gd name="connsiteY2335" fmla="*/ 724970 h 1934496"/>
              <a:gd name="connsiteX2336" fmla="*/ 7664042 w 9922465"/>
              <a:gd name="connsiteY2336" fmla="*/ 780161 h 1934496"/>
              <a:gd name="connsiteX2337" fmla="*/ 7608850 w 9922465"/>
              <a:gd name="connsiteY2337" fmla="*/ 835352 h 1934496"/>
              <a:gd name="connsiteX2338" fmla="*/ 7553658 w 9922465"/>
              <a:gd name="connsiteY2338" fmla="*/ 780161 h 1934496"/>
              <a:gd name="connsiteX2339" fmla="*/ 7608850 w 9922465"/>
              <a:gd name="connsiteY2339" fmla="*/ 724970 h 1934496"/>
              <a:gd name="connsiteX2340" fmla="*/ 7481895 w 9922465"/>
              <a:gd name="connsiteY2340" fmla="*/ 724970 h 1934496"/>
              <a:gd name="connsiteX2341" fmla="*/ 7537087 w 9922465"/>
              <a:gd name="connsiteY2341" fmla="*/ 780161 h 1934496"/>
              <a:gd name="connsiteX2342" fmla="*/ 7481895 w 9922465"/>
              <a:gd name="connsiteY2342" fmla="*/ 835352 h 1934496"/>
              <a:gd name="connsiteX2343" fmla="*/ 7426703 w 9922465"/>
              <a:gd name="connsiteY2343" fmla="*/ 780161 h 1934496"/>
              <a:gd name="connsiteX2344" fmla="*/ 7481895 w 9922465"/>
              <a:gd name="connsiteY2344" fmla="*/ 724970 h 1934496"/>
              <a:gd name="connsiteX2345" fmla="*/ 7341579 w 9922465"/>
              <a:gd name="connsiteY2345" fmla="*/ 724970 h 1934496"/>
              <a:gd name="connsiteX2346" fmla="*/ 7396771 w 9922465"/>
              <a:gd name="connsiteY2346" fmla="*/ 780161 h 1934496"/>
              <a:gd name="connsiteX2347" fmla="*/ 7341579 w 9922465"/>
              <a:gd name="connsiteY2347" fmla="*/ 835352 h 1934496"/>
              <a:gd name="connsiteX2348" fmla="*/ 7286387 w 9922465"/>
              <a:gd name="connsiteY2348" fmla="*/ 780161 h 1934496"/>
              <a:gd name="connsiteX2349" fmla="*/ 7341579 w 9922465"/>
              <a:gd name="connsiteY2349" fmla="*/ 724970 h 1934496"/>
              <a:gd name="connsiteX2350" fmla="*/ 7211286 w 9922465"/>
              <a:gd name="connsiteY2350" fmla="*/ 724970 h 1934496"/>
              <a:gd name="connsiteX2351" fmla="*/ 7266478 w 9922465"/>
              <a:gd name="connsiteY2351" fmla="*/ 780161 h 1934496"/>
              <a:gd name="connsiteX2352" fmla="*/ 7211286 w 9922465"/>
              <a:gd name="connsiteY2352" fmla="*/ 835352 h 1934496"/>
              <a:gd name="connsiteX2353" fmla="*/ 7156094 w 9922465"/>
              <a:gd name="connsiteY2353" fmla="*/ 780161 h 1934496"/>
              <a:gd name="connsiteX2354" fmla="*/ 7211286 w 9922465"/>
              <a:gd name="connsiteY2354" fmla="*/ 724970 h 1934496"/>
              <a:gd name="connsiteX2355" fmla="*/ 7080994 w 9922465"/>
              <a:gd name="connsiteY2355" fmla="*/ 724970 h 1934496"/>
              <a:gd name="connsiteX2356" fmla="*/ 7136186 w 9922465"/>
              <a:gd name="connsiteY2356" fmla="*/ 780161 h 1934496"/>
              <a:gd name="connsiteX2357" fmla="*/ 7080994 w 9922465"/>
              <a:gd name="connsiteY2357" fmla="*/ 835352 h 1934496"/>
              <a:gd name="connsiteX2358" fmla="*/ 7025802 w 9922465"/>
              <a:gd name="connsiteY2358" fmla="*/ 780161 h 1934496"/>
              <a:gd name="connsiteX2359" fmla="*/ 7080994 w 9922465"/>
              <a:gd name="connsiteY2359" fmla="*/ 724970 h 1934496"/>
              <a:gd name="connsiteX2360" fmla="*/ 6947358 w 9922465"/>
              <a:gd name="connsiteY2360" fmla="*/ 724970 h 1934496"/>
              <a:gd name="connsiteX2361" fmla="*/ 7002550 w 9922465"/>
              <a:gd name="connsiteY2361" fmla="*/ 780161 h 1934496"/>
              <a:gd name="connsiteX2362" fmla="*/ 6947358 w 9922465"/>
              <a:gd name="connsiteY2362" fmla="*/ 835352 h 1934496"/>
              <a:gd name="connsiteX2363" fmla="*/ 6892166 w 9922465"/>
              <a:gd name="connsiteY2363" fmla="*/ 780161 h 1934496"/>
              <a:gd name="connsiteX2364" fmla="*/ 6947358 w 9922465"/>
              <a:gd name="connsiteY2364" fmla="*/ 724970 h 1934496"/>
              <a:gd name="connsiteX2365" fmla="*/ 6817064 w 9922465"/>
              <a:gd name="connsiteY2365" fmla="*/ 724970 h 1934496"/>
              <a:gd name="connsiteX2366" fmla="*/ 6872256 w 9922465"/>
              <a:gd name="connsiteY2366" fmla="*/ 780161 h 1934496"/>
              <a:gd name="connsiteX2367" fmla="*/ 6817064 w 9922465"/>
              <a:gd name="connsiteY2367" fmla="*/ 835352 h 1934496"/>
              <a:gd name="connsiteX2368" fmla="*/ 6761872 w 9922465"/>
              <a:gd name="connsiteY2368" fmla="*/ 780161 h 1934496"/>
              <a:gd name="connsiteX2369" fmla="*/ 6817064 w 9922465"/>
              <a:gd name="connsiteY2369" fmla="*/ 724970 h 1934496"/>
              <a:gd name="connsiteX2370" fmla="*/ 6683431 w 9922465"/>
              <a:gd name="connsiteY2370" fmla="*/ 724970 h 1934496"/>
              <a:gd name="connsiteX2371" fmla="*/ 6738623 w 9922465"/>
              <a:gd name="connsiteY2371" fmla="*/ 780161 h 1934496"/>
              <a:gd name="connsiteX2372" fmla="*/ 6683431 w 9922465"/>
              <a:gd name="connsiteY2372" fmla="*/ 835352 h 1934496"/>
              <a:gd name="connsiteX2373" fmla="*/ 6628239 w 9922465"/>
              <a:gd name="connsiteY2373" fmla="*/ 780161 h 1934496"/>
              <a:gd name="connsiteX2374" fmla="*/ 6683431 w 9922465"/>
              <a:gd name="connsiteY2374" fmla="*/ 724970 h 1934496"/>
              <a:gd name="connsiteX2375" fmla="*/ 6553137 w 9922465"/>
              <a:gd name="connsiteY2375" fmla="*/ 724970 h 1934496"/>
              <a:gd name="connsiteX2376" fmla="*/ 6608329 w 9922465"/>
              <a:gd name="connsiteY2376" fmla="*/ 780161 h 1934496"/>
              <a:gd name="connsiteX2377" fmla="*/ 6553137 w 9922465"/>
              <a:gd name="connsiteY2377" fmla="*/ 835352 h 1934496"/>
              <a:gd name="connsiteX2378" fmla="*/ 6497945 w 9922465"/>
              <a:gd name="connsiteY2378" fmla="*/ 780161 h 1934496"/>
              <a:gd name="connsiteX2379" fmla="*/ 6553137 w 9922465"/>
              <a:gd name="connsiteY2379" fmla="*/ 724970 h 1934496"/>
              <a:gd name="connsiteX2380" fmla="*/ 6419503 w 9922465"/>
              <a:gd name="connsiteY2380" fmla="*/ 724970 h 1934496"/>
              <a:gd name="connsiteX2381" fmla="*/ 6474695 w 9922465"/>
              <a:gd name="connsiteY2381" fmla="*/ 780161 h 1934496"/>
              <a:gd name="connsiteX2382" fmla="*/ 6419503 w 9922465"/>
              <a:gd name="connsiteY2382" fmla="*/ 835352 h 1934496"/>
              <a:gd name="connsiteX2383" fmla="*/ 6364311 w 9922465"/>
              <a:gd name="connsiteY2383" fmla="*/ 780161 h 1934496"/>
              <a:gd name="connsiteX2384" fmla="*/ 6419503 w 9922465"/>
              <a:gd name="connsiteY2384" fmla="*/ 724970 h 1934496"/>
              <a:gd name="connsiteX2385" fmla="*/ 6289207 w 9922465"/>
              <a:gd name="connsiteY2385" fmla="*/ 724970 h 1934496"/>
              <a:gd name="connsiteX2386" fmla="*/ 6344399 w 9922465"/>
              <a:gd name="connsiteY2386" fmla="*/ 780161 h 1934496"/>
              <a:gd name="connsiteX2387" fmla="*/ 6289207 w 9922465"/>
              <a:gd name="connsiteY2387" fmla="*/ 835352 h 1934496"/>
              <a:gd name="connsiteX2388" fmla="*/ 6234015 w 9922465"/>
              <a:gd name="connsiteY2388" fmla="*/ 780161 h 1934496"/>
              <a:gd name="connsiteX2389" fmla="*/ 6289207 w 9922465"/>
              <a:gd name="connsiteY2389" fmla="*/ 724970 h 1934496"/>
              <a:gd name="connsiteX2390" fmla="*/ 6155573 w 9922465"/>
              <a:gd name="connsiteY2390" fmla="*/ 724970 h 1934496"/>
              <a:gd name="connsiteX2391" fmla="*/ 6210765 w 9922465"/>
              <a:gd name="connsiteY2391" fmla="*/ 780161 h 1934496"/>
              <a:gd name="connsiteX2392" fmla="*/ 6155573 w 9922465"/>
              <a:gd name="connsiteY2392" fmla="*/ 835352 h 1934496"/>
              <a:gd name="connsiteX2393" fmla="*/ 6100381 w 9922465"/>
              <a:gd name="connsiteY2393" fmla="*/ 780161 h 1934496"/>
              <a:gd name="connsiteX2394" fmla="*/ 6155573 w 9922465"/>
              <a:gd name="connsiteY2394" fmla="*/ 724970 h 1934496"/>
              <a:gd name="connsiteX2395" fmla="*/ 5621035 w 9922465"/>
              <a:gd name="connsiteY2395" fmla="*/ 724970 h 1934496"/>
              <a:gd name="connsiteX2396" fmla="*/ 5676227 w 9922465"/>
              <a:gd name="connsiteY2396" fmla="*/ 780161 h 1934496"/>
              <a:gd name="connsiteX2397" fmla="*/ 5621035 w 9922465"/>
              <a:gd name="connsiteY2397" fmla="*/ 835352 h 1934496"/>
              <a:gd name="connsiteX2398" fmla="*/ 5565843 w 9922465"/>
              <a:gd name="connsiteY2398" fmla="*/ 780161 h 1934496"/>
              <a:gd name="connsiteX2399" fmla="*/ 5621035 w 9922465"/>
              <a:gd name="connsiteY2399" fmla="*/ 724970 h 1934496"/>
              <a:gd name="connsiteX2400" fmla="*/ 5487399 w 9922465"/>
              <a:gd name="connsiteY2400" fmla="*/ 724970 h 1934496"/>
              <a:gd name="connsiteX2401" fmla="*/ 5542591 w 9922465"/>
              <a:gd name="connsiteY2401" fmla="*/ 780161 h 1934496"/>
              <a:gd name="connsiteX2402" fmla="*/ 5487399 w 9922465"/>
              <a:gd name="connsiteY2402" fmla="*/ 835352 h 1934496"/>
              <a:gd name="connsiteX2403" fmla="*/ 5432207 w 9922465"/>
              <a:gd name="connsiteY2403" fmla="*/ 780161 h 1934496"/>
              <a:gd name="connsiteX2404" fmla="*/ 5487399 w 9922465"/>
              <a:gd name="connsiteY2404" fmla="*/ 724970 h 1934496"/>
              <a:gd name="connsiteX2405" fmla="*/ 5357106 w 9922465"/>
              <a:gd name="connsiteY2405" fmla="*/ 724970 h 1934496"/>
              <a:gd name="connsiteX2406" fmla="*/ 5412298 w 9922465"/>
              <a:gd name="connsiteY2406" fmla="*/ 780161 h 1934496"/>
              <a:gd name="connsiteX2407" fmla="*/ 5357106 w 9922465"/>
              <a:gd name="connsiteY2407" fmla="*/ 835352 h 1934496"/>
              <a:gd name="connsiteX2408" fmla="*/ 5301914 w 9922465"/>
              <a:gd name="connsiteY2408" fmla="*/ 780161 h 1934496"/>
              <a:gd name="connsiteX2409" fmla="*/ 5357106 w 9922465"/>
              <a:gd name="connsiteY2409" fmla="*/ 724970 h 1934496"/>
              <a:gd name="connsiteX2410" fmla="*/ 5223473 w 9922465"/>
              <a:gd name="connsiteY2410" fmla="*/ 724970 h 1934496"/>
              <a:gd name="connsiteX2411" fmla="*/ 5278665 w 9922465"/>
              <a:gd name="connsiteY2411" fmla="*/ 780161 h 1934496"/>
              <a:gd name="connsiteX2412" fmla="*/ 5223473 w 9922465"/>
              <a:gd name="connsiteY2412" fmla="*/ 835352 h 1934496"/>
              <a:gd name="connsiteX2413" fmla="*/ 5168281 w 9922465"/>
              <a:gd name="connsiteY2413" fmla="*/ 780161 h 1934496"/>
              <a:gd name="connsiteX2414" fmla="*/ 5223473 w 9922465"/>
              <a:gd name="connsiteY2414" fmla="*/ 724970 h 1934496"/>
              <a:gd name="connsiteX2415" fmla="*/ 5093178 w 9922465"/>
              <a:gd name="connsiteY2415" fmla="*/ 724970 h 1934496"/>
              <a:gd name="connsiteX2416" fmla="*/ 5148370 w 9922465"/>
              <a:gd name="connsiteY2416" fmla="*/ 780161 h 1934496"/>
              <a:gd name="connsiteX2417" fmla="*/ 5093178 w 9922465"/>
              <a:gd name="connsiteY2417" fmla="*/ 835352 h 1934496"/>
              <a:gd name="connsiteX2418" fmla="*/ 5037986 w 9922465"/>
              <a:gd name="connsiteY2418" fmla="*/ 780161 h 1934496"/>
              <a:gd name="connsiteX2419" fmla="*/ 5093178 w 9922465"/>
              <a:gd name="connsiteY2419" fmla="*/ 724970 h 1934496"/>
              <a:gd name="connsiteX2420" fmla="*/ 3897148 w 9922465"/>
              <a:gd name="connsiteY2420" fmla="*/ 724970 h 1934496"/>
              <a:gd name="connsiteX2421" fmla="*/ 3952340 w 9922465"/>
              <a:gd name="connsiteY2421" fmla="*/ 780161 h 1934496"/>
              <a:gd name="connsiteX2422" fmla="*/ 3897148 w 9922465"/>
              <a:gd name="connsiteY2422" fmla="*/ 835352 h 1934496"/>
              <a:gd name="connsiteX2423" fmla="*/ 3841956 w 9922465"/>
              <a:gd name="connsiteY2423" fmla="*/ 780161 h 1934496"/>
              <a:gd name="connsiteX2424" fmla="*/ 3897148 w 9922465"/>
              <a:gd name="connsiteY2424" fmla="*/ 724970 h 1934496"/>
              <a:gd name="connsiteX2425" fmla="*/ 3763514 w 9922465"/>
              <a:gd name="connsiteY2425" fmla="*/ 724970 h 1934496"/>
              <a:gd name="connsiteX2426" fmla="*/ 3818706 w 9922465"/>
              <a:gd name="connsiteY2426" fmla="*/ 780161 h 1934496"/>
              <a:gd name="connsiteX2427" fmla="*/ 3763514 w 9922465"/>
              <a:gd name="connsiteY2427" fmla="*/ 835352 h 1934496"/>
              <a:gd name="connsiteX2428" fmla="*/ 3708322 w 9922465"/>
              <a:gd name="connsiteY2428" fmla="*/ 780161 h 1934496"/>
              <a:gd name="connsiteX2429" fmla="*/ 3763514 w 9922465"/>
              <a:gd name="connsiteY2429" fmla="*/ 724970 h 1934496"/>
              <a:gd name="connsiteX2430" fmla="*/ 3633221 w 9922465"/>
              <a:gd name="connsiteY2430" fmla="*/ 724970 h 1934496"/>
              <a:gd name="connsiteX2431" fmla="*/ 3688413 w 9922465"/>
              <a:gd name="connsiteY2431" fmla="*/ 780161 h 1934496"/>
              <a:gd name="connsiteX2432" fmla="*/ 3633221 w 9922465"/>
              <a:gd name="connsiteY2432" fmla="*/ 835352 h 1934496"/>
              <a:gd name="connsiteX2433" fmla="*/ 3578029 w 9922465"/>
              <a:gd name="connsiteY2433" fmla="*/ 780161 h 1934496"/>
              <a:gd name="connsiteX2434" fmla="*/ 3633221 w 9922465"/>
              <a:gd name="connsiteY2434" fmla="*/ 724970 h 1934496"/>
              <a:gd name="connsiteX2435" fmla="*/ 3499586 w 9922465"/>
              <a:gd name="connsiteY2435" fmla="*/ 724970 h 1934496"/>
              <a:gd name="connsiteX2436" fmla="*/ 3554778 w 9922465"/>
              <a:gd name="connsiteY2436" fmla="*/ 780161 h 1934496"/>
              <a:gd name="connsiteX2437" fmla="*/ 3499586 w 9922465"/>
              <a:gd name="connsiteY2437" fmla="*/ 835352 h 1934496"/>
              <a:gd name="connsiteX2438" fmla="*/ 3444394 w 9922465"/>
              <a:gd name="connsiteY2438" fmla="*/ 780161 h 1934496"/>
              <a:gd name="connsiteX2439" fmla="*/ 3499586 w 9922465"/>
              <a:gd name="connsiteY2439" fmla="*/ 724970 h 1934496"/>
              <a:gd name="connsiteX2440" fmla="*/ 3369292 w 9922465"/>
              <a:gd name="connsiteY2440" fmla="*/ 724970 h 1934496"/>
              <a:gd name="connsiteX2441" fmla="*/ 3424484 w 9922465"/>
              <a:gd name="connsiteY2441" fmla="*/ 780161 h 1934496"/>
              <a:gd name="connsiteX2442" fmla="*/ 3369292 w 9922465"/>
              <a:gd name="connsiteY2442" fmla="*/ 835352 h 1934496"/>
              <a:gd name="connsiteX2443" fmla="*/ 3314100 w 9922465"/>
              <a:gd name="connsiteY2443" fmla="*/ 780161 h 1934496"/>
              <a:gd name="connsiteX2444" fmla="*/ 3369292 w 9922465"/>
              <a:gd name="connsiteY2444" fmla="*/ 724970 h 1934496"/>
              <a:gd name="connsiteX2445" fmla="*/ 2834856 w 9922465"/>
              <a:gd name="connsiteY2445" fmla="*/ 724970 h 1934496"/>
              <a:gd name="connsiteX2446" fmla="*/ 2890049 w 9922465"/>
              <a:gd name="connsiteY2446" fmla="*/ 780161 h 1934496"/>
              <a:gd name="connsiteX2447" fmla="*/ 2834856 w 9922465"/>
              <a:gd name="connsiteY2447" fmla="*/ 835352 h 1934496"/>
              <a:gd name="connsiteX2448" fmla="*/ 2779665 w 9922465"/>
              <a:gd name="connsiteY2448" fmla="*/ 780161 h 1934496"/>
              <a:gd name="connsiteX2449" fmla="*/ 2834856 w 9922465"/>
              <a:gd name="connsiteY2449" fmla="*/ 724970 h 1934496"/>
              <a:gd name="connsiteX2450" fmla="*/ 2707901 w 9922465"/>
              <a:gd name="connsiteY2450" fmla="*/ 724970 h 1934496"/>
              <a:gd name="connsiteX2451" fmla="*/ 2763094 w 9922465"/>
              <a:gd name="connsiteY2451" fmla="*/ 780161 h 1934496"/>
              <a:gd name="connsiteX2452" fmla="*/ 2707901 w 9922465"/>
              <a:gd name="connsiteY2452" fmla="*/ 835352 h 1934496"/>
              <a:gd name="connsiteX2453" fmla="*/ 2652711 w 9922465"/>
              <a:gd name="connsiteY2453" fmla="*/ 780161 h 1934496"/>
              <a:gd name="connsiteX2454" fmla="*/ 2707901 w 9922465"/>
              <a:gd name="connsiteY2454" fmla="*/ 724970 h 1934496"/>
              <a:gd name="connsiteX2455" fmla="*/ 2570929 w 9922465"/>
              <a:gd name="connsiteY2455" fmla="*/ 724970 h 1934496"/>
              <a:gd name="connsiteX2456" fmla="*/ 2626122 w 9922465"/>
              <a:gd name="connsiteY2456" fmla="*/ 780161 h 1934496"/>
              <a:gd name="connsiteX2457" fmla="*/ 2570929 w 9922465"/>
              <a:gd name="connsiteY2457" fmla="*/ 835352 h 1934496"/>
              <a:gd name="connsiteX2458" fmla="*/ 2515735 w 9922465"/>
              <a:gd name="connsiteY2458" fmla="*/ 780161 h 1934496"/>
              <a:gd name="connsiteX2459" fmla="*/ 2570929 w 9922465"/>
              <a:gd name="connsiteY2459" fmla="*/ 724970 h 1934496"/>
              <a:gd name="connsiteX2460" fmla="*/ 2437294 w 9922465"/>
              <a:gd name="connsiteY2460" fmla="*/ 724970 h 1934496"/>
              <a:gd name="connsiteX2461" fmla="*/ 2492487 w 9922465"/>
              <a:gd name="connsiteY2461" fmla="*/ 780161 h 1934496"/>
              <a:gd name="connsiteX2462" fmla="*/ 2437294 w 9922465"/>
              <a:gd name="connsiteY2462" fmla="*/ 835352 h 1934496"/>
              <a:gd name="connsiteX2463" fmla="*/ 2382104 w 9922465"/>
              <a:gd name="connsiteY2463" fmla="*/ 780161 h 1934496"/>
              <a:gd name="connsiteX2464" fmla="*/ 2437294 w 9922465"/>
              <a:gd name="connsiteY2464" fmla="*/ 724970 h 1934496"/>
              <a:gd name="connsiteX2465" fmla="*/ 2303662 w 9922465"/>
              <a:gd name="connsiteY2465" fmla="*/ 724970 h 1934496"/>
              <a:gd name="connsiteX2466" fmla="*/ 2358853 w 9922465"/>
              <a:gd name="connsiteY2466" fmla="*/ 780161 h 1934496"/>
              <a:gd name="connsiteX2467" fmla="*/ 2303662 w 9922465"/>
              <a:gd name="connsiteY2467" fmla="*/ 835352 h 1934496"/>
              <a:gd name="connsiteX2468" fmla="*/ 2248471 w 9922465"/>
              <a:gd name="connsiteY2468" fmla="*/ 780161 h 1934496"/>
              <a:gd name="connsiteX2469" fmla="*/ 2303662 w 9922465"/>
              <a:gd name="connsiteY2469" fmla="*/ 724970 h 1934496"/>
              <a:gd name="connsiteX2470" fmla="*/ 2173371 w 9922465"/>
              <a:gd name="connsiteY2470" fmla="*/ 724970 h 1934496"/>
              <a:gd name="connsiteX2471" fmla="*/ 2228562 w 9922465"/>
              <a:gd name="connsiteY2471" fmla="*/ 780161 h 1934496"/>
              <a:gd name="connsiteX2472" fmla="*/ 2173371 w 9922465"/>
              <a:gd name="connsiteY2472" fmla="*/ 835352 h 1934496"/>
              <a:gd name="connsiteX2473" fmla="*/ 2118177 w 9922465"/>
              <a:gd name="connsiteY2473" fmla="*/ 780161 h 1934496"/>
              <a:gd name="connsiteX2474" fmla="*/ 2173371 w 9922465"/>
              <a:gd name="connsiteY2474" fmla="*/ 724970 h 1934496"/>
              <a:gd name="connsiteX2475" fmla="*/ 2039733 w 9922465"/>
              <a:gd name="connsiteY2475" fmla="*/ 724970 h 1934496"/>
              <a:gd name="connsiteX2476" fmla="*/ 2094927 w 9922465"/>
              <a:gd name="connsiteY2476" fmla="*/ 780161 h 1934496"/>
              <a:gd name="connsiteX2477" fmla="*/ 2039733 w 9922465"/>
              <a:gd name="connsiteY2477" fmla="*/ 835352 h 1934496"/>
              <a:gd name="connsiteX2478" fmla="*/ 1984539 w 9922465"/>
              <a:gd name="connsiteY2478" fmla="*/ 780161 h 1934496"/>
              <a:gd name="connsiteX2479" fmla="*/ 2039733 w 9922465"/>
              <a:gd name="connsiteY2479" fmla="*/ 724970 h 1934496"/>
              <a:gd name="connsiteX2480" fmla="*/ 1909436 w 9922465"/>
              <a:gd name="connsiteY2480" fmla="*/ 724970 h 1934496"/>
              <a:gd name="connsiteX2481" fmla="*/ 1964630 w 9922465"/>
              <a:gd name="connsiteY2481" fmla="*/ 780161 h 1934496"/>
              <a:gd name="connsiteX2482" fmla="*/ 1909436 w 9922465"/>
              <a:gd name="connsiteY2482" fmla="*/ 835352 h 1934496"/>
              <a:gd name="connsiteX2483" fmla="*/ 1854243 w 9922465"/>
              <a:gd name="connsiteY2483" fmla="*/ 780161 h 1934496"/>
              <a:gd name="connsiteX2484" fmla="*/ 1909436 w 9922465"/>
              <a:gd name="connsiteY2484" fmla="*/ 724970 h 1934496"/>
              <a:gd name="connsiteX2485" fmla="*/ 1779142 w 9922465"/>
              <a:gd name="connsiteY2485" fmla="*/ 724970 h 1934496"/>
              <a:gd name="connsiteX2486" fmla="*/ 1834335 w 9922465"/>
              <a:gd name="connsiteY2486" fmla="*/ 780161 h 1934496"/>
              <a:gd name="connsiteX2487" fmla="*/ 1779142 w 9922465"/>
              <a:gd name="connsiteY2487" fmla="*/ 835352 h 1934496"/>
              <a:gd name="connsiteX2488" fmla="*/ 1723947 w 9922465"/>
              <a:gd name="connsiteY2488" fmla="*/ 780161 h 1934496"/>
              <a:gd name="connsiteX2489" fmla="*/ 1779142 w 9922465"/>
              <a:gd name="connsiteY2489" fmla="*/ 724970 h 1934496"/>
              <a:gd name="connsiteX2490" fmla="*/ 1645501 w 9922465"/>
              <a:gd name="connsiteY2490" fmla="*/ 724970 h 1934496"/>
              <a:gd name="connsiteX2491" fmla="*/ 1700699 w 9922465"/>
              <a:gd name="connsiteY2491" fmla="*/ 780161 h 1934496"/>
              <a:gd name="connsiteX2492" fmla="*/ 1645501 w 9922465"/>
              <a:gd name="connsiteY2492" fmla="*/ 835352 h 1934496"/>
              <a:gd name="connsiteX2493" fmla="*/ 1590310 w 9922465"/>
              <a:gd name="connsiteY2493" fmla="*/ 780161 h 1934496"/>
              <a:gd name="connsiteX2494" fmla="*/ 1645501 w 9922465"/>
              <a:gd name="connsiteY2494" fmla="*/ 724970 h 1934496"/>
              <a:gd name="connsiteX2495" fmla="*/ 1515213 w 9922465"/>
              <a:gd name="connsiteY2495" fmla="*/ 724970 h 1934496"/>
              <a:gd name="connsiteX2496" fmla="*/ 1570399 w 9922465"/>
              <a:gd name="connsiteY2496" fmla="*/ 780161 h 1934496"/>
              <a:gd name="connsiteX2497" fmla="*/ 1515213 w 9922465"/>
              <a:gd name="connsiteY2497" fmla="*/ 835352 h 1934496"/>
              <a:gd name="connsiteX2498" fmla="*/ 1460016 w 9922465"/>
              <a:gd name="connsiteY2498" fmla="*/ 780161 h 1934496"/>
              <a:gd name="connsiteX2499" fmla="*/ 1515213 w 9922465"/>
              <a:gd name="connsiteY2499" fmla="*/ 724970 h 1934496"/>
              <a:gd name="connsiteX2500" fmla="*/ 1381573 w 9922465"/>
              <a:gd name="connsiteY2500" fmla="*/ 724970 h 1934496"/>
              <a:gd name="connsiteX2501" fmla="*/ 1436767 w 9922465"/>
              <a:gd name="connsiteY2501" fmla="*/ 780161 h 1934496"/>
              <a:gd name="connsiteX2502" fmla="*/ 1381573 w 9922465"/>
              <a:gd name="connsiteY2502" fmla="*/ 835352 h 1934496"/>
              <a:gd name="connsiteX2503" fmla="*/ 1326381 w 9922465"/>
              <a:gd name="connsiteY2503" fmla="*/ 780161 h 1934496"/>
              <a:gd name="connsiteX2504" fmla="*/ 1381573 w 9922465"/>
              <a:gd name="connsiteY2504" fmla="*/ 724970 h 1934496"/>
              <a:gd name="connsiteX2505" fmla="*/ 1251282 w 9922465"/>
              <a:gd name="connsiteY2505" fmla="*/ 724970 h 1934496"/>
              <a:gd name="connsiteX2506" fmla="*/ 1306475 w 9922465"/>
              <a:gd name="connsiteY2506" fmla="*/ 780161 h 1934496"/>
              <a:gd name="connsiteX2507" fmla="*/ 1251282 w 9922465"/>
              <a:gd name="connsiteY2507" fmla="*/ 835352 h 1934496"/>
              <a:gd name="connsiteX2508" fmla="*/ 1196089 w 9922465"/>
              <a:gd name="connsiteY2508" fmla="*/ 780161 h 1934496"/>
              <a:gd name="connsiteX2509" fmla="*/ 1251282 w 9922465"/>
              <a:gd name="connsiteY2509" fmla="*/ 724970 h 1934496"/>
              <a:gd name="connsiteX2510" fmla="*/ 1117642 w 9922465"/>
              <a:gd name="connsiteY2510" fmla="*/ 724970 h 1934496"/>
              <a:gd name="connsiteX2511" fmla="*/ 1172836 w 9922465"/>
              <a:gd name="connsiteY2511" fmla="*/ 780161 h 1934496"/>
              <a:gd name="connsiteX2512" fmla="*/ 1117642 w 9922465"/>
              <a:gd name="connsiteY2512" fmla="*/ 835352 h 1934496"/>
              <a:gd name="connsiteX2513" fmla="*/ 1062448 w 9922465"/>
              <a:gd name="connsiteY2513" fmla="*/ 780161 h 1934496"/>
              <a:gd name="connsiteX2514" fmla="*/ 1117642 w 9922465"/>
              <a:gd name="connsiteY2514" fmla="*/ 724970 h 1934496"/>
              <a:gd name="connsiteX2515" fmla="*/ 980664 w 9922465"/>
              <a:gd name="connsiteY2515" fmla="*/ 724970 h 1934496"/>
              <a:gd name="connsiteX2516" fmla="*/ 1035857 w 9922465"/>
              <a:gd name="connsiteY2516" fmla="*/ 780161 h 1934496"/>
              <a:gd name="connsiteX2517" fmla="*/ 980664 w 9922465"/>
              <a:gd name="connsiteY2517" fmla="*/ 835352 h 1934496"/>
              <a:gd name="connsiteX2518" fmla="*/ 925471 w 9922465"/>
              <a:gd name="connsiteY2518" fmla="*/ 780161 h 1934496"/>
              <a:gd name="connsiteX2519" fmla="*/ 980664 w 9922465"/>
              <a:gd name="connsiteY2519" fmla="*/ 724970 h 1934496"/>
              <a:gd name="connsiteX2520" fmla="*/ 847022 w 9922465"/>
              <a:gd name="connsiteY2520" fmla="*/ 724970 h 1934496"/>
              <a:gd name="connsiteX2521" fmla="*/ 902217 w 9922465"/>
              <a:gd name="connsiteY2521" fmla="*/ 780161 h 1934496"/>
              <a:gd name="connsiteX2522" fmla="*/ 847022 w 9922465"/>
              <a:gd name="connsiteY2522" fmla="*/ 835352 h 1934496"/>
              <a:gd name="connsiteX2523" fmla="*/ 791823 w 9922465"/>
              <a:gd name="connsiteY2523" fmla="*/ 780161 h 1934496"/>
              <a:gd name="connsiteX2524" fmla="*/ 847022 w 9922465"/>
              <a:gd name="connsiteY2524" fmla="*/ 724970 h 1934496"/>
              <a:gd name="connsiteX2525" fmla="*/ 716722 w 9922465"/>
              <a:gd name="connsiteY2525" fmla="*/ 724970 h 1934496"/>
              <a:gd name="connsiteX2526" fmla="*/ 771916 w 9922465"/>
              <a:gd name="connsiteY2526" fmla="*/ 780161 h 1934496"/>
              <a:gd name="connsiteX2527" fmla="*/ 716722 w 9922465"/>
              <a:gd name="connsiteY2527" fmla="*/ 835352 h 1934496"/>
              <a:gd name="connsiteX2528" fmla="*/ 661530 w 9922465"/>
              <a:gd name="connsiteY2528" fmla="*/ 780161 h 1934496"/>
              <a:gd name="connsiteX2529" fmla="*/ 716722 w 9922465"/>
              <a:gd name="connsiteY2529" fmla="*/ 724970 h 1934496"/>
              <a:gd name="connsiteX2530" fmla="*/ 583085 w 9922465"/>
              <a:gd name="connsiteY2530" fmla="*/ 724970 h 1934496"/>
              <a:gd name="connsiteX2531" fmla="*/ 638278 w 9922465"/>
              <a:gd name="connsiteY2531" fmla="*/ 780161 h 1934496"/>
              <a:gd name="connsiteX2532" fmla="*/ 583085 w 9922465"/>
              <a:gd name="connsiteY2532" fmla="*/ 835352 h 1934496"/>
              <a:gd name="connsiteX2533" fmla="*/ 527891 w 9922465"/>
              <a:gd name="connsiteY2533" fmla="*/ 780161 h 1934496"/>
              <a:gd name="connsiteX2534" fmla="*/ 583085 w 9922465"/>
              <a:gd name="connsiteY2534" fmla="*/ 724970 h 1934496"/>
              <a:gd name="connsiteX2535" fmla="*/ 449437 w 9922465"/>
              <a:gd name="connsiteY2535" fmla="*/ 724970 h 1934496"/>
              <a:gd name="connsiteX2536" fmla="*/ 504629 w 9922465"/>
              <a:gd name="connsiteY2536" fmla="*/ 780161 h 1934496"/>
              <a:gd name="connsiteX2537" fmla="*/ 449437 w 9922465"/>
              <a:gd name="connsiteY2537" fmla="*/ 835352 h 1934496"/>
              <a:gd name="connsiteX2538" fmla="*/ 394244 w 9922465"/>
              <a:gd name="connsiteY2538" fmla="*/ 780161 h 1934496"/>
              <a:gd name="connsiteX2539" fmla="*/ 449437 w 9922465"/>
              <a:gd name="connsiteY2539" fmla="*/ 724970 h 1934496"/>
              <a:gd name="connsiteX2540" fmla="*/ 319140 w 9922465"/>
              <a:gd name="connsiteY2540" fmla="*/ 724970 h 1934496"/>
              <a:gd name="connsiteX2541" fmla="*/ 374334 w 9922465"/>
              <a:gd name="connsiteY2541" fmla="*/ 780161 h 1934496"/>
              <a:gd name="connsiteX2542" fmla="*/ 319140 w 9922465"/>
              <a:gd name="connsiteY2542" fmla="*/ 835352 h 1934496"/>
              <a:gd name="connsiteX2543" fmla="*/ 263948 w 9922465"/>
              <a:gd name="connsiteY2543" fmla="*/ 780161 h 1934496"/>
              <a:gd name="connsiteX2544" fmla="*/ 319140 w 9922465"/>
              <a:gd name="connsiteY2544" fmla="*/ 724970 h 1934496"/>
              <a:gd name="connsiteX2545" fmla="*/ 185509 w 9922465"/>
              <a:gd name="connsiteY2545" fmla="*/ 724970 h 1934496"/>
              <a:gd name="connsiteX2546" fmla="*/ 240701 w 9922465"/>
              <a:gd name="connsiteY2546" fmla="*/ 780161 h 1934496"/>
              <a:gd name="connsiteX2547" fmla="*/ 185509 w 9922465"/>
              <a:gd name="connsiteY2547" fmla="*/ 835352 h 1934496"/>
              <a:gd name="connsiteX2548" fmla="*/ 130319 w 9922465"/>
              <a:gd name="connsiteY2548" fmla="*/ 780161 h 1934496"/>
              <a:gd name="connsiteX2549" fmla="*/ 185509 w 9922465"/>
              <a:gd name="connsiteY2549" fmla="*/ 724970 h 1934496"/>
              <a:gd name="connsiteX2550" fmla="*/ 8801538 w 9922465"/>
              <a:gd name="connsiteY2550" fmla="*/ 608039 h 1934496"/>
              <a:gd name="connsiteX2551" fmla="*/ 8856730 w 9922465"/>
              <a:gd name="connsiteY2551" fmla="*/ 663230 h 1934496"/>
              <a:gd name="connsiteX2552" fmla="*/ 8801538 w 9922465"/>
              <a:gd name="connsiteY2552" fmla="*/ 718421 h 1934496"/>
              <a:gd name="connsiteX2553" fmla="*/ 8746346 w 9922465"/>
              <a:gd name="connsiteY2553" fmla="*/ 663230 h 1934496"/>
              <a:gd name="connsiteX2554" fmla="*/ 8801538 w 9922465"/>
              <a:gd name="connsiteY2554" fmla="*/ 608039 h 1934496"/>
              <a:gd name="connsiteX2555" fmla="*/ 8671244 w 9922465"/>
              <a:gd name="connsiteY2555" fmla="*/ 608039 h 1934496"/>
              <a:gd name="connsiteX2556" fmla="*/ 8726436 w 9922465"/>
              <a:gd name="connsiteY2556" fmla="*/ 663230 h 1934496"/>
              <a:gd name="connsiteX2557" fmla="*/ 8671244 w 9922465"/>
              <a:gd name="connsiteY2557" fmla="*/ 718421 h 1934496"/>
              <a:gd name="connsiteX2558" fmla="*/ 8616052 w 9922465"/>
              <a:gd name="connsiteY2558" fmla="*/ 663230 h 1934496"/>
              <a:gd name="connsiteX2559" fmla="*/ 8671244 w 9922465"/>
              <a:gd name="connsiteY2559" fmla="*/ 608039 h 1934496"/>
              <a:gd name="connsiteX2560" fmla="*/ 8537609 w 9922465"/>
              <a:gd name="connsiteY2560" fmla="*/ 608039 h 1934496"/>
              <a:gd name="connsiteX2561" fmla="*/ 8592801 w 9922465"/>
              <a:gd name="connsiteY2561" fmla="*/ 663230 h 1934496"/>
              <a:gd name="connsiteX2562" fmla="*/ 8537609 w 9922465"/>
              <a:gd name="connsiteY2562" fmla="*/ 718421 h 1934496"/>
              <a:gd name="connsiteX2563" fmla="*/ 8482417 w 9922465"/>
              <a:gd name="connsiteY2563" fmla="*/ 663230 h 1934496"/>
              <a:gd name="connsiteX2564" fmla="*/ 8537609 w 9922465"/>
              <a:gd name="connsiteY2564" fmla="*/ 608039 h 1934496"/>
              <a:gd name="connsiteX2565" fmla="*/ 8407318 w 9922465"/>
              <a:gd name="connsiteY2565" fmla="*/ 608039 h 1934496"/>
              <a:gd name="connsiteX2566" fmla="*/ 8462510 w 9922465"/>
              <a:gd name="connsiteY2566" fmla="*/ 663230 h 1934496"/>
              <a:gd name="connsiteX2567" fmla="*/ 8407318 w 9922465"/>
              <a:gd name="connsiteY2567" fmla="*/ 718421 h 1934496"/>
              <a:gd name="connsiteX2568" fmla="*/ 8352126 w 9922465"/>
              <a:gd name="connsiteY2568" fmla="*/ 663230 h 1934496"/>
              <a:gd name="connsiteX2569" fmla="*/ 8407318 w 9922465"/>
              <a:gd name="connsiteY2569" fmla="*/ 608039 h 1934496"/>
              <a:gd name="connsiteX2570" fmla="*/ 8273682 w 9922465"/>
              <a:gd name="connsiteY2570" fmla="*/ 608039 h 1934496"/>
              <a:gd name="connsiteX2571" fmla="*/ 8328874 w 9922465"/>
              <a:gd name="connsiteY2571" fmla="*/ 663230 h 1934496"/>
              <a:gd name="connsiteX2572" fmla="*/ 8273682 w 9922465"/>
              <a:gd name="connsiteY2572" fmla="*/ 718421 h 1934496"/>
              <a:gd name="connsiteX2573" fmla="*/ 8218490 w 9922465"/>
              <a:gd name="connsiteY2573" fmla="*/ 663230 h 1934496"/>
              <a:gd name="connsiteX2574" fmla="*/ 8273682 w 9922465"/>
              <a:gd name="connsiteY2574" fmla="*/ 608039 h 1934496"/>
              <a:gd name="connsiteX2575" fmla="*/ 8143386 w 9922465"/>
              <a:gd name="connsiteY2575" fmla="*/ 608039 h 1934496"/>
              <a:gd name="connsiteX2576" fmla="*/ 8198578 w 9922465"/>
              <a:gd name="connsiteY2576" fmla="*/ 663230 h 1934496"/>
              <a:gd name="connsiteX2577" fmla="*/ 8143386 w 9922465"/>
              <a:gd name="connsiteY2577" fmla="*/ 718421 h 1934496"/>
              <a:gd name="connsiteX2578" fmla="*/ 8088194 w 9922465"/>
              <a:gd name="connsiteY2578" fmla="*/ 663230 h 1934496"/>
              <a:gd name="connsiteX2579" fmla="*/ 8143386 w 9922465"/>
              <a:gd name="connsiteY2579" fmla="*/ 608039 h 1934496"/>
              <a:gd name="connsiteX2580" fmla="*/ 8009753 w 9922465"/>
              <a:gd name="connsiteY2580" fmla="*/ 608039 h 1934496"/>
              <a:gd name="connsiteX2581" fmla="*/ 8064945 w 9922465"/>
              <a:gd name="connsiteY2581" fmla="*/ 663230 h 1934496"/>
              <a:gd name="connsiteX2582" fmla="*/ 8009753 w 9922465"/>
              <a:gd name="connsiteY2582" fmla="*/ 718421 h 1934496"/>
              <a:gd name="connsiteX2583" fmla="*/ 7954561 w 9922465"/>
              <a:gd name="connsiteY2583" fmla="*/ 663230 h 1934496"/>
              <a:gd name="connsiteX2584" fmla="*/ 8009753 w 9922465"/>
              <a:gd name="connsiteY2584" fmla="*/ 608039 h 1934496"/>
              <a:gd name="connsiteX2585" fmla="*/ 7876118 w 9922465"/>
              <a:gd name="connsiteY2585" fmla="*/ 608039 h 1934496"/>
              <a:gd name="connsiteX2586" fmla="*/ 7931310 w 9922465"/>
              <a:gd name="connsiteY2586" fmla="*/ 663230 h 1934496"/>
              <a:gd name="connsiteX2587" fmla="*/ 7876118 w 9922465"/>
              <a:gd name="connsiteY2587" fmla="*/ 718421 h 1934496"/>
              <a:gd name="connsiteX2588" fmla="*/ 7820926 w 9922465"/>
              <a:gd name="connsiteY2588" fmla="*/ 663230 h 1934496"/>
              <a:gd name="connsiteX2589" fmla="*/ 7876118 w 9922465"/>
              <a:gd name="connsiteY2589" fmla="*/ 608039 h 1934496"/>
              <a:gd name="connsiteX2590" fmla="*/ 7745824 w 9922465"/>
              <a:gd name="connsiteY2590" fmla="*/ 608039 h 1934496"/>
              <a:gd name="connsiteX2591" fmla="*/ 7801016 w 9922465"/>
              <a:gd name="connsiteY2591" fmla="*/ 663230 h 1934496"/>
              <a:gd name="connsiteX2592" fmla="*/ 7745824 w 9922465"/>
              <a:gd name="connsiteY2592" fmla="*/ 718421 h 1934496"/>
              <a:gd name="connsiteX2593" fmla="*/ 7690632 w 9922465"/>
              <a:gd name="connsiteY2593" fmla="*/ 663230 h 1934496"/>
              <a:gd name="connsiteX2594" fmla="*/ 7745824 w 9922465"/>
              <a:gd name="connsiteY2594" fmla="*/ 608039 h 1934496"/>
              <a:gd name="connsiteX2595" fmla="*/ 7608850 w 9922465"/>
              <a:gd name="connsiteY2595" fmla="*/ 608039 h 1934496"/>
              <a:gd name="connsiteX2596" fmla="*/ 7664042 w 9922465"/>
              <a:gd name="connsiteY2596" fmla="*/ 663230 h 1934496"/>
              <a:gd name="connsiteX2597" fmla="*/ 7608850 w 9922465"/>
              <a:gd name="connsiteY2597" fmla="*/ 718421 h 1934496"/>
              <a:gd name="connsiteX2598" fmla="*/ 7553658 w 9922465"/>
              <a:gd name="connsiteY2598" fmla="*/ 663230 h 1934496"/>
              <a:gd name="connsiteX2599" fmla="*/ 7608850 w 9922465"/>
              <a:gd name="connsiteY2599" fmla="*/ 608039 h 1934496"/>
              <a:gd name="connsiteX2600" fmla="*/ 7481895 w 9922465"/>
              <a:gd name="connsiteY2600" fmla="*/ 608039 h 1934496"/>
              <a:gd name="connsiteX2601" fmla="*/ 7537087 w 9922465"/>
              <a:gd name="connsiteY2601" fmla="*/ 663230 h 1934496"/>
              <a:gd name="connsiteX2602" fmla="*/ 7481895 w 9922465"/>
              <a:gd name="connsiteY2602" fmla="*/ 718421 h 1934496"/>
              <a:gd name="connsiteX2603" fmla="*/ 7426703 w 9922465"/>
              <a:gd name="connsiteY2603" fmla="*/ 663230 h 1934496"/>
              <a:gd name="connsiteX2604" fmla="*/ 7481895 w 9922465"/>
              <a:gd name="connsiteY2604" fmla="*/ 608039 h 1934496"/>
              <a:gd name="connsiteX2605" fmla="*/ 7341579 w 9922465"/>
              <a:gd name="connsiteY2605" fmla="*/ 608039 h 1934496"/>
              <a:gd name="connsiteX2606" fmla="*/ 7396771 w 9922465"/>
              <a:gd name="connsiteY2606" fmla="*/ 663230 h 1934496"/>
              <a:gd name="connsiteX2607" fmla="*/ 7341579 w 9922465"/>
              <a:gd name="connsiteY2607" fmla="*/ 718421 h 1934496"/>
              <a:gd name="connsiteX2608" fmla="*/ 7286387 w 9922465"/>
              <a:gd name="connsiteY2608" fmla="*/ 663230 h 1934496"/>
              <a:gd name="connsiteX2609" fmla="*/ 7341579 w 9922465"/>
              <a:gd name="connsiteY2609" fmla="*/ 608039 h 1934496"/>
              <a:gd name="connsiteX2610" fmla="*/ 7211286 w 9922465"/>
              <a:gd name="connsiteY2610" fmla="*/ 608039 h 1934496"/>
              <a:gd name="connsiteX2611" fmla="*/ 7266478 w 9922465"/>
              <a:gd name="connsiteY2611" fmla="*/ 663230 h 1934496"/>
              <a:gd name="connsiteX2612" fmla="*/ 7211286 w 9922465"/>
              <a:gd name="connsiteY2612" fmla="*/ 718421 h 1934496"/>
              <a:gd name="connsiteX2613" fmla="*/ 7156094 w 9922465"/>
              <a:gd name="connsiteY2613" fmla="*/ 663230 h 1934496"/>
              <a:gd name="connsiteX2614" fmla="*/ 7211286 w 9922465"/>
              <a:gd name="connsiteY2614" fmla="*/ 608039 h 1934496"/>
              <a:gd name="connsiteX2615" fmla="*/ 7080994 w 9922465"/>
              <a:gd name="connsiteY2615" fmla="*/ 608039 h 1934496"/>
              <a:gd name="connsiteX2616" fmla="*/ 7136186 w 9922465"/>
              <a:gd name="connsiteY2616" fmla="*/ 663230 h 1934496"/>
              <a:gd name="connsiteX2617" fmla="*/ 7080994 w 9922465"/>
              <a:gd name="connsiteY2617" fmla="*/ 718421 h 1934496"/>
              <a:gd name="connsiteX2618" fmla="*/ 7025802 w 9922465"/>
              <a:gd name="connsiteY2618" fmla="*/ 663230 h 1934496"/>
              <a:gd name="connsiteX2619" fmla="*/ 7080994 w 9922465"/>
              <a:gd name="connsiteY2619" fmla="*/ 608039 h 1934496"/>
              <a:gd name="connsiteX2620" fmla="*/ 6947358 w 9922465"/>
              <a:gd name="connsiteY2620" fmla="*/ 608039 h 1934496"/>
              <a:gd name="connsiteX2621" fmla="*/ 7002550 w 9922465"/>
              <a:gd name="connsiteY2621" fmla="*/ 663230 h 1934496"/>
              <a:gd name="connsiteX2622" fmla="*/ 6947358 w 9922465"/>
              <a:gd name="connsiteY2622" fmla="*/ 718421 h 1934496"/>
              <a:gd name="connsiteX2623" fmla="*/ 6892166 w 9922465"/>
              <a:gd name="connsiteY2623" fmla="*/ 663230 h 1934496"/>
              <a:gd name="connsiteX2624" fmla="*/ 6947358 w 9922465"/>
              <a:gd name="connsiteY2624" fmla="*/ 608039 h 1934496"/>
              <a:gd name="connsiteX2625" fmla="*/ 6817064 w 9922465"/>
              <a:gd name="connsiteY2625" fmla="*/ 608039 h 1934496"/>
              <a:gd name="connsiteX2626" fmla="*/ 6872256 w 9922465"/>
              <a:gd name="connsiteY2626" fmla="*/ 663230 h 1934496"/>
              <a:gd name="connsiteX2627" fmla="*/ 6817064 w 9922465"/>
              <a:gd name="connsiteY2627" fmla="*/ 718421 h 1934496"/>
              <a:gd name="connsiteX2628" fmla="*/ 6761872 w 9922465"/>
              <a:gd name="connsiteY2628" fmla="*/ 663230 h 1934496"/>
              <a:gd name="connsiteX2629" fmla="*/ 6817064 w 9922465"/>
              <a:gd name="connsiteY2629" fmla="*/ 608039 h 1934496"/>
              <a:gd name="connsiteX2630" fmla="*/ 6683431 w 9922465"/>
              <a:gd name="connsiteY2630" fmla="*/ 608039 h 1934496"/>
              <a:gd name="connsiteX2631" fmla="*/ 6738623 w 9922465"/>
              <a:gd name="connsiteY2631" fmla="*/ 663230 h 1934496"/>
              <a:gd name="connsiteX2632" fmla="*/ 6683431 w 9922465"/>
              <a:gd name="connsiteY2632" fmla="*/ 718421 h 1934496"/>
              <a:gd name="connsiteX2633" fmla="*/ 6628239 w 9922465"/>
              <a:gd name="connsiteY2633" fmla="*/ 663230 h 1934496"/>
              <a:gd name="connsiteX2634" fmla="*/ 6683431 w 9922465"/>
              <a:gd name="connsiteY2634" fmla="*/ 608039 h 1934496"/>
              <a:gd name="connsiteX2635" fmla="*/ 6155573 w 9922465"/>
              <a:gd name="connsiteY2635" fmla="*/ 608039 h 1934496"/>
              <a:gd name="connsiteX2636" fmla="*/ 6210765 w 9922465"/>
              <a:gd name="connsiteY2636" fmla="*/ 663230 h 1934496"/>
              <a:gd name="connsiteX2637" fmla="*/ 6155573 w 9922465"/>
              <a:gd name="connsiteY2637" fmla="*/ 718421 h 1934496"/>
              <a:gd name="connsiteX2638" fmla="*/ 6100381 w 9922465"/>
              <a:gd name="connsiteY2638" fmla="*/ 663230 h 1934496"/>
              <a:gd name="connsiteX2639" fmla="*/ 6155573 w 9922465"/>
              <a:gd name="connsiteY2639" fmla="*/ 608039 h 1934496"/>
              <a:gd name="connsiteX2640" fmla="*/ 5487399 w 9922465"/>
              <a:gd name="connsiteY2640" fmla="*/ 608039 h 1934496"/>
              <a:gd name="connsiteX2641" fmla="*/ 5542591 w 9922465"/>
              <a:gd name="connsiteY2641" fmla="*/ 663230 h 1934496"/>
              <a:gd name="connsiteX2642" fmla="*/ 5487399 w 9922465"/>
              <a:gd name="connsiteY2642" fmla="*/ 718421 h 1934496"/>
              <a:gd name="connsiteX2643" fmla="*/ 5432207 w 9922465"/>
              <a:gd name="connsiteY2643" fmla="*/ 663230 h 1934496"/>
              <a:gd name="connsiteX2644" fmla="*/ 5487399 w 9922465"/>
              <a:gd name="connsiteY2644" fmla="*/ 608039 h 1934496"/>
              <a:gd name="connsiteX2645" fmla="*/ 5357106 w 9922465"/>
              <a:gd name="connsiteY2645" fmla="*/ 608039 h 1934496"/>
              <a:gd name="connsiteX2646" fmla="*/ 5412298 w 9922465"/>
              <a:gd name="connsiteY2646" fmla="*/ 663230 h 1934496"/>
              <a:gd name="connsiteX2647" fmla="*/ 5357106 w 9922465"/>
              <a:gd name="connsiteY2647" fmla="*/ 718421 h 1934496"/>
              <a:gd name="connsiteX2648" fmla="*/ 5301914 w 9922465"/>
              <a:gd name="connsiteY2648" fmla="*/ 663230 h 1934496"/>
              <a:gd name="connsiteX2649" fmla="*/ 5357106 w 9922465"/>
              <a:gd name="connsiteY2649" fmla="*/ 608039 h 1934496"/>
              <a:gd name="connsiteX2650" fmla="*/ 5223473 w 9922465"/>
              <a:gd name="connsiteY2650" fmla="*/ 608038 h 1934496"/>
              <a:gd name="connsiteX2651" fmla="*/ 5278665 w 9922465"/>
              <a:gd name="connsiteY2651" fmla="*/ 663229 h 1934496"/>
              <a:gd name="connsiteX2652" fmla="*/ 5223473 w 9922465"/>
              <a:gd name="connsiteY2652" fmla="*/ 718420 h 1934496"/>
              <a:gd name="connsiteX2653" fmla="*/ 5168281 w 9922465"/>
              <a:gd name="connsiteY2653" fmla="*/ 663229 h 1934496"/>
              <a:gd name="connsiteX2654" fmla="*/ 5223473 w 9922465"/>
              <a:gd name="connsiteY2654" fmla="*/ 608038 h 1934496"/>
              <a:gd name="connsiteX2655" fmla="*/ 4030786 w 9922465"/>
              <a:gd name="connsiteY2655" fmla="*/ 608038 h 1934496"/>
              <a:gd name="connsiteX2656" fmla="*/ 4085978 w 9922465"/>
              <a:gd name="connsiteY2656" fmla="*/ 663229 h 1934496"/>
              <a:gd name="connsiteX2657" fmla="*/ 4030786 w 9922465"/>
              <a:gd name="connsiteY2657" fmla="*/ 718420 h 1934496"/>
              <a:gd name="connsiteX2658" fmla="*/ 3975594 w 9922465"/>
              <a:gd name="connsiteY2658" fmla="*/ 663229 h 1934496"/>
              <a:gd name="connsiteX2659" fmla="*/ 4030786 w 9922465"/>
              <a:gd name="connsiteY2659" fmla="*/ 608038 h 1934496"/>
              <a:gd name="connsiteX2660" fmla="*/ 3897148 w 9922465"/>
              <a:gd name="connsiteY2660" fmla="*/ 608038 h 1934496"/>
              <a:gd name="connsiteX2661" fmla="*/ 3952340 w 9922465"/>
              <a:gd name="connsiteY2661" fmla="*/ 663229 h 1934496"/>
              <a:gd name="connsiteX2662" fmla="*/ 3897148 w 9922465"/>
              <a:gd name="connsiteY2662" fmla="*/ 718420 h 1934496"/>
              <a:gd name="connsiteX2663" fmla="*/ 3841956 w 9922465"/>
              <a:gd name="connsiteY2663" fmla="*/ 663229 h 1934496"/>
              <a:gd name="connsiteX2664" fmla="*/ 3897148 w 9922465"/>
              <a:gd name="connsiteY2664" fmla="*/ 608038 h 1934496"/>
              <a:gd name="connsiteX2665" fmla="*/ 3763514 w 9922465"/>
              <a:gd name="connsiteY2665" fmla="*/ 608038 h 1934496"/>
              <a:gd name="connsiteX2666" fmla="*/ 3818706 w 9922465"/>
              <a:gd name="connsiteY2666" fmla="*/ 663229 h 1934496"/>
              <a:gd name="connsiteX2667" fmla="*/ 3763514 w 9922465"/>
              <a:gd name="connsiteY2667" fmla="*/ 718420 h 1934496"/>
              <a:gd name="connsiteX2668" fmla="*/ 3708322 w 9922465"/>
              <a:gd name="connsiteY2668" fmla="*/ 663229 h 1934496"/>
              <a:gd name="connsiteX2669" fmla="*/ 3763514 w 9922465"/>
              <a:gd name="connsiteY2669" fmla="*/ 608038 h 1934496"/>
              <a:gd name="connsiteX2670" fmla="*/ 3633221 w 9922465"/>
              <a:gd name="connsiteY2670" fmla="*/ 608038 h 1934496"/>
              <a:gd name="connsiteX2671" fmla="*/ 3688413 w 9922465"/>
              <a:gd name="connsiteY2671" fmla="*/ 663229 h 1934496"/>
              <a:gd name="connsiteX2672" fmla="*/ 3633221 w 9922465"/>
              <a:gd name="connsiteY2672" fmla="*/ 718420 h 1934496"/>
              <a:gd name="connsiteX2673" fmla="*/ 3578029 w 9922465"/>
              <a:gd name="connsiteY2673" fmla="*/ 663229 h 1934496"/>
              <a:gd name="connsiteX2674" fmla="*/ 3633221 w 9922465"/>
              <a:gd name="connsiteY2674" fmla="*/ 608038 h 1934496"/>
              <a:gd name="connsiteX2675" fmla="*/ 3499589 w 9922465"/>
              <a:gd name="connsiteY2675" fmla="*/ 608038 h 1934496"/>
              <a:gd name="connsiteX2676" fmla="*/ 3554781 w 9922465"/>
              <a:gd name="connsiteY2676" fmla="*/ 663229 h 1934496"/>
              <a:gd name="connsiteX2677" fmla="*/ 3499589 w 9922465"/>
              <a:gd name="connsiteY2677" fmla="*/ 718420 h 1934496"/>
              <a:gd name="connsiteX2678" fmla="*/ 3444397 w 9922465"/>
              <a:gd name="connsiteY2678" fmla="*/ 663229 h 1934496"/>
              <a:gd name="connsiteX2679" fmla="*/ 3499589 w 9922465"/>
              <a:gd name="connsiteY2679" fmla="*/ 608038 h 1934496"/>
              <a:gd name="connsiteX2680" fmla="*/ 3369292 w 9922465"/>
              <a:gd name="connsiteY2680" fmla="*/ 608038 h 1934496"/>
              <a:gd name="connsiteX2681" fmla="*/ 3424484 w 9922465"/>
              <a:gd name="connsiteY2681" fmla="*/ 663229 h 1934496"/>
              <a:gd name="connsiteX2682" fmla="*/ 3369292 w 9922465"/>
              <a:gd name="connsiteY2682" fmla="*/ 718420 h 1934496"/>
              <a:gd name="connsiteX2683" fmla="*/ 3314100 w 9922465"/>
              <a:gd name="connsiteY2683" fmla="*/ 663229 h 1934496"/>
              <a:gd name="connsiteX2684" fmla="*/ 3369292 w 9922465"/>
              <a:gd name="connsiteY2684" fmla="*/ 608038 h 1934496"/>
              <a:gd name="connsiteX2685" fmla="*/ 3235657 w 9922465"/>
              <a:gd name="connsiteY2685" fmla="*/ 608038 h 1934496"/>
              <a:gd name="connsiteX2686" fmla="*/ 3290849 w 9922465"/>
              <a:gd name="connsiteY2686" fmla="*/ 663229 h 1934496"/>
              <a:gd name="connsiteX2687" fmla="*/ 3235657 w 9922465"/>
              <a:gd name="connsiteY2687" fmla="*/ 718420 h 1934496"/>
              <a:gd name="connsiteX2688" fmla="*/ 3180465 w 9922465"/>
              <a:gd name="connsiteY2688" fmla="*/ 663229 h 1934496"/>
              <a:gd name="connsiteX2689" fmla="*/ 3235657 w 9922465"/>
              <a:gd name="connsiteY2689" fmla="*/ 608038 h 1934496"/>
              <a:gd name="connsiteX2690" fmla="*/ 2570932 w 9922465"/>
              <a:gd name="connsiteY2690" fmla="*/ 608038 h 1934496"/>
              <a:gd name="connsiteX2691" fmla="*/ 2626123 w 9922465"/>
              <a:gd name="connsiteY2691" fmla="*/ 663229 h 1934496"/>
              <a:gd name="connsiteX2692" fmla="*/ 2570932 w 9922465"/>
              <a:gd name="connsiteY2692" fmla="*/ 718420 h 1934496"/>
              <a:gd name="connsiteX2693" fmla="*/ 2515738 w 9922465"/>
              <a:gd name="connsiteY2693" fmla="*/ 663229 h 1934496"/>
              <a:gd name="connsiteX2694" fmla="*/ 2570932 w 9922465"/>
              <a:gd name="connsiteY2694" fmla="*/ 608038 h 1934496"/>
              <a:gd name="connsiteX2695" fmla="*/ 2437297 w 9922465"/>
              <a:gd name="connsiteY2695" fmla="*/ 608038 h 1934496"/>
              <a:gd name="connsiteX2696" fmla="*/ 2492487 w 9922465"/>
              <a:gd name="connsiteY2696" fmla="*/ 663229 h 1934496"/>
              <a:gd name="connsiteX2697" fmla="*/ 2437297 w 9922465"/>
              <a:gd name="connsiteY2697" fmla="*/ 718420 h 1934496"/>
              <a:gd name="connsiteX2698" fmla="*/ 2382108 w 9922465"/>
              <a:gd name="connsiteY2698" fmla="*/ 663229 h 1934496"/>
              <a:gd name="connsiteX2699" fmla="*/ 2437297 w 9922465"/>
              <a:gd name="connsiteY2699" fmla="*/ 608038 h 1934496"/>
              <a:gd name="connsiteX2700" fmla="*/ 2303664 w 9922465"/>
              <a:gd name="connsiteY2700" fmla="*/ 608038 h 1934496"/>
              <a:gd name="connsiteX2701" fmla="*/ 2358856 w 9922465"/>
              <a:gd name="connsiteY2701" fmla="*/ 663229 h 1934496"/>
              <a:gd name="connsiteX2702" fmla="*/ 2303664 w 9922465"/>
              <a:gd name="connsiteY2702" fmla="*/ 718420 h 1934496"/>
              <a:gd name="connsiteX2703" fmla="*/ 2248473 w 9922465"/>
              <a:gd name="connsiteY2703" fmla="*/ 663229 h 1934496"/>
              <a:gd name="connsiteX2704" fmla="*/ 2303664 w 9922465"/>
              <a:gd name="connsiteY2704" fmla="*/ 608038 h 1934496"/>
              <a:gd name="connsiteX2705" fmla="*/ 2173372 w 9922465"/>
              <a:gd name="connsiteY2705" fmla="*/ 608038 h 1934496"/>
              <a:gd name="connsiteX2706" fmla="*/ 2228565 w 9922465"/>
              <a:gd name="connsiteY2706" fmla="*/ 663229 h 1934496"/>
              <a:gd name="connsiteX2707" fmla="*/ 2173372 w 9922465"/>
              <a:gd name="connsiteY2707" fmla="*/ 718420 h 1934496"/>
              <a:gd name="connsiteX2708" fmla="*/ 2118180 w 9922465"/>
              <a:gd name="connsiteY2708" fmla="*/ 663229 h 1934496"/>
              <a:gd name="connsiteX2709" fmla="*/ 2173372 w 9922465"/>
              <a:gd name="connsiteY2709" fmla="*/ 608038 h 1934496"/>
              <a:gd name="connsiteX2710" fmla="*/ 2039736 w 9922465"/>
              <a:gd name="connsiteY2710" fmla="*/ 608038 h 1934496"/>
              <a:gd name="connsiteX2711" fmla="*/ 2094930 w 9922465"/>
              <a:gd name="connsiteY2711" fmla="*/ 663229 h 1934496"/>
              <a:gd name="connsiteX2712" fmla="*/ 2039736 w 9922465"/>
              <a:gd name="connsiteY2712" fmla="*/ 718420 h 1934496"/>
              <a:gd name="connsiteX2713" fmla="*/ 1984543 w 9922465"/>
              <a:gd name="connsiteY2713" fmla="*/ 663229 h 1934496"/>
              <a:gd name="connsiteX2714" fmla="*/ 2039736 w 9922465"/>
              <a:gd name="connsiteY2714" fmla="*/ 608038 h 1934496"/>
              <a:gd name="connsiteX2715" fmla="*/ 1909437 w 9922465"/>
              <a:gd name="connsiteY2715" fmla="*/ 608038 h 1934496"/>
              <a:gd name="connsiteX2716" fmla="*/ 1964630 w 9922465"/>
              <a:gd name="connsiteY2716" fmla="*/ 663229 h 1934496"/>
              <a:gd name="connsiteX2717" fmla="*/ 1909437 w 9922465"/>
              <a:gd name="connsiteY2717" fmla="*/ 718420 h 1934496"/>
              <a:gd name="connsiteX2718" fmla="*/ 1854244 w 9922465"/>
              <a:gd name="connsiteY2718" fmla="*/ 663229 h 1934496"/>
              <a:gd name="connsiteX2719" fmla="*/ 1909437 w 9922465"/>
              <a:gd name="connsiteY2719" fmla="*/ 608038 h 1934496"/>
              <a:gd name="connsiteX2720" fmla="*/ 1779142 w 9922465"/>
              <a:gd name="connsiteY2720" fmla="*/ 608038 h 1934496"/>
              <a:gd name="connsiteX2721" fmla="*/ 1834335 w 9922465"/>
              <a:gd name="connsiteY2721" fmla="*/ 663229 h 1934496"/>
              <a:gd name="connsiteX2722" fmla="*/ 1779142 w 9922465"/>
              <a:gd name="connsiteY2722" fmla="*/ 718420 h 1934496"/>
              <a:gd name="connsiteX2723" fmla="*/ 1723950 w 9922465"/>
              <a:gd name="connsiteY2723" fmla="*/ 663229 h 1934496"/>
              <a:gd name="connsiteX2724" fmla="*/ 1779142 w 9922465"/>
              <a:gd name="connsiteY2724" fmla="*/ 608038 h 1934496"/>
              <a:gd name="connsiteX2725" fmla="*/ 1645508 w 9922465"/>
              <a:gd name="connsiteY2725" fmla="*/ 608038 h 1934496"/>
              <a:gd name="connsiteX2726" fmla="*/ 1700702 w 9922465"/>
              <a:gd name="connsiteY2726" fmla="*/ 663229 h 1934496"/>
              <a:gd name="connsiteX2727" fmla="*/ 1645508 w 9922465"/>
              <a:gd name="connsiteY2727" fmla="*/ 718420 h 1934496"/>
              <a:gd name="connsiteX2728" fmla="*/ 1590311 w 9922465"/>
              <a:gd name="connsiteY2728" fmla="*/ 663229 h 1934496"/>
              <a:gd name="connsiteX2729" fmla="*/ 1645508 w 9922465"/>
              <a:gd name="connsiteY2729" fmla="*/ 608038 h 1934496"/>
              <a:gd name="connsiteX2730" fmla="*/ 1515217 w 9922465"/>
              <a:gd name="connsiteY2730" fmla="*/ 608038 h 1934496"/>
              <a:gd name="connsiteX2731" fmla="*/ 1570402 w 9922465"/>
              <a:gd name="connsiteY2731" fmla="*/ 663229 h 1934496"/>
              <a:gd name="connsiteX2732" fmla="*/ 1515217 w 9922465"/>
              <a:gd name="connsiteY2732" fmla="*/ 718420 h 1934496"/>
              <a:gd name="connsiteX2733" fmla="*/ 1460020 w 9922465"/>
              <a:gd name="connsiteY2733" fmla="*/ 663229 h 1934496"/>
              <a:gd name="connsiteX2734" fmla="*/ 1515217 w 9922465"/>
              <a:gd name="connsiteY2734" fmla="*/ 608038 h 1934496"/>
              <a:gd name="connsiteX2735" fmla="*/ 1381573 w 9922465"/>
              <a:gd name="connsiteY2735" fmla="*/ 608038 h 1934496"/>
              <a:gd name="connsiteX2736" fmla="*/ 1436767 w 9922465"/>
              <a:gd name="connsiteY2736" fmla="*/ 663229 h 1934496"/>
              <a:gd name="connsiteX2737" fmla="*/ 1381573 w 9922465"/>
              <a:gd name="connsiteY2737" fmla="*/ 718420 h 1934496"/>
              <a:gd name="connsiteX2738" fmla="*/ 1326384 w 9922465"/>
              <a:gd name="connsiteY2738" fmla="*/ 663229 h 1934496"/>
              <a:gd name="connsiteX2739" fmla="*/ 1381573 w 9922465"/>
              <a:gd name="connsiteY2739" fmla="*/ 608038 h 1934496"/>
              <a:gd name="connsiteX2740" fmla="*/ 1251282 w 9922465"/>
              <a:gd name="connsiteY2740" fmla="*/ 608038 h 1934496"/>
              <a:gd name="connsiteX2741" fmla="*/ 1306476 w 9922465"/>
              <a:gd name="connsiteY2741" fmla="*/ 663229 h 1934496"/>
              <a:gd name="connsiteX2742" fmla="*/ 1251282 w 9922465"/>
              <a:gd name="connsiteY2742" fmla="*/ 718420 h 1934496"/>
              <a:gd name="connsiteX2743" fmla="*/ 1196089 w 9922465"/>
              <a:gd name="connsiteY2743" fmla="*/ 663229 h 1934496"/>
              <a:gd name="connsiteX2744" fmla="*/ 1251282 w 9922465"/>
              <a:gd name="connsiteY2744" fmla="*/ 608038 h 1934496"/>
              <a:gd name="connsiteX2745" fmla="*/ 8143386 w 9922465"/>
              <a:gd name="connsiteY2745" fmla="*/ 494447 h 1934496"/>
              <a:gd name="connsiteX2746" fmla="*/ 8198578 w 9922465"/>
              <a:gd name="connsiteY2746" fmla="*/ 549638 h 1934496"/>
              <a:gd name="connsiteX2747" fmla="*/ 8143386 w 9922465"/>
              <a:gd name="connsiteY2747" fmla="*/ 604829 h 1934496"/>
              <a:gd name="connsiteX2748" fmla="*/ 8088194 w 9922465"/>
              <a:gd name="connsiteY2748" fmla="*/ 549638 h 1934496"/>
              <a:gd name="connsiteX2749" fmla="*/ 8143386 w 9922465"/>
              <a:gd name="connsiteY2749" fmla="*/ 494447 h 1934496"/>
              <a:gd name="connsiteX2750" fmla="*/ 8009753 w 9922465"/>
              <a:gd name="connsiteY2750" fmla="*/ 494447 h 1934496"/>
              <a:gd name="connsiteX2751" fmla="*/ 8064945 w 9922465"/>
              <a:gd name="connsiteY2751" fmla="*/ 549638 h 1934496"/>
              <a:gd name="connsiteX2752" fmla="*/ 8009753 w 9922465"/>
              <a:gd name="connsiteY2752" fmla="*/ 604829 h 1934496"/>
              <a:gd name="connsiteX2753" fmla="*/ 7954561 w 9922465"/>
              <a:gd name="connsiteY2753" fmla="*/ 549638 h 1934496"/>
              <a:gd name="connsiteX2754" fmla="*/ 8009753 w 9922465"/>
              <a:gd name="connsiteY2754" fmla="*/ 494447 h 1934496"/>
              <a:gd name="connsiteX2755" fmla="*/ 7876118 w 9922465"/>
              <a:gd name="connsiteY2755" fmla="*/ 494447 h 1934496"/>
              <a:gd name="connsiteX2756" fmla="*/ 7931310 w 9922465"/>
              <a:gd name="connsiteY2756" fmla="*/ 549638 h 1934496"/>
              <a:gd name="connsiteX2757" fmla="*/ 7876118 w 9922465"/>
              <a:gd name="connsiteY2757" fmla="*/ 604829 h 1934496"/>
              <a:gd name="connsiteX2758" fmla="*/ 7820926 w 9922465"/>
              <a:gd name="connsiteY2758" fmla="*/ 549638 h 1934496"/>
              <a:gd name="connsiteX2759" fmla="*/ 7876118 w 9922465"/>
              <a:gd name="connsiteY2759" fmla="*/ 494447 h 1934496"/>
              <a:gd name="connsiteX2760" fmla="*/ 7745824 w 9922465"/>
              <a:gd name="connsiteY2760" fmla="*/ 494447 h 1934496"/>
              <a:gd name="connsiteX2761" fmla="*/ 7801016 w 9922465"/>
              <a:gd name="connsiteY2761" fmla="*/ 549638 h 1934496"/>
              <a:gd name="connsiteX2762" fmla="*/ 7745824 w 9922465"/>
              <a:gd name="connsiteY2762" fmla="*/ 604829 h 1934496"/>
              <a:gd name="connsiteX2763" fmla="*/ 7690632 w 9922465"/>
              <a:gd name="connsiteY2763" fmla="*/ 549638 h 1934496"/>
              <a:gd name="connsiteX2764" fmla="*/ 7745824 w 9922465"/>
              <a:gd name="connsiteY2764" fmla="*/ 494447 h 1934496"/>
              <a:gd name="connsiteX2765" fmla="*/ 7608850 w 9922465"/>
              <a:gd name="connsiteY2765" fmla="*/ 494447 h 1934496"/>
              <a:gd name="connsiteX2766" fmla="*/ 7664042 w 9922465"/>
              <a:gd name="connsiteY2766" fmla="*/ 549638 h 1934496"/>
              <a:gd name="connsiteX2767" fmla="*/ 7608850 w 9922465"/>
              <a:gd name="connsiteY2767" fmla="*/ 604829 h 1934496"/>
              <a:gd name="connsiteX2768" fmla="*/ 7553658 w 9922465"/>
              <a:gd name="connsiteY2768" fmla="*/ 549638 h 1934496"/>
              <a:gd name="connsiteX2769" fmla="*/ 7608850 w 9922465"/>
              <a:gd name="connsiteY2769" fmla="*/ 494447 h 1934496"/>
              <a:gd name="connsiteX2770" fmla="*/ 7481895 w 9922465"/>
              <a:gd name="connsiteY2770" fmla="*/ 494447 h 1934496"/>
              <a:gd name="connsiteX2771" fmla="*/ 7537087 w 9922465"/>
              <a:gd name="connsiteY2771" fmla="*/ 549638 h 1934496"/>
              <a:gd name="connsiteX2772" fmla="*/ 7481895 w 9922465"/>
              <a:gd name="connsiteY2772" fmla="*/ 604829 h 1934496"/>
              <a:gd name="connsiteX2773" fmla="*/ 7426703 w 9922465"/>
              <a:gd name="connsiteY2773" fmla="*/ 549638 h 1934496"/>
              <a:gd name="connsiteX2774" fmla="*/ 7481895 w 9922465"/>
              <a:gd name="connsiteY2774" fmla="*/ 494447 h 1934496"/>
              <a:gd name="connsiteX2775" fmla="*/ 7341580 w 9922465"/>
              <a:gd name="connsiteY2775" fmla="*/ 494447 h 1934496"/>
              <a:gd name="connsiteX2776" fmla="*/ 7396772 w 9922465"/>
              <a:gd name="connsiteY2776" fmla="*/ 549638 h 1934496"/>
              <a:gd name="connsiteX2777" fmla="*/ 7341580 w 9922465"/>
              <a:gd name="connsiteY2777" fmla="*/ 604829 h 1934496"/>
              <a:gd name="connsiteX2778" fmla="*/ 7286388 w 9922465"/>
              <a:gd name="connsiteY2778" fmla="*/ 549638 h 1934496"/>
              <a:gd name="connsiteX2779" fmla="*/ 7341580 w 9922465"/>
              <a:gd name="connsiteY2779" fmla="*/ 494447 h 1934496"/>
              <a:gd name="connsiteX2780" fmla="*/ 7211286 w 9922465"/>
              <a:gd name="connsiteY2780" fmla="*/ 494447 h 1934496"/>
              <a:gd name="connsiteX2781" fmla="*/ 7266478 w 9922465"/>
              <a:gd name="connsiteY2781" fmla="*/ 549638 h 1934496"/>
              <a:gd name="connsiteX2782" fmla="*/ 7211286 w 9922465"/>
              <a:gd name="connsiteY2782" fmla="*/ 604829 h 1934496"/>
              <a:gd name="connsiteX2783" fmla="*/ 7156094 w 9922465"/>
              <a:gd name="connsiteY2783" fmla="*/ 549638 h 1934496"/>
              <a:gd name="connsiteX2784" fmla="*/ 7211286 w 9922465"/>
              <a:gd name="connsiteY2784" fmla="*/ 494447 h 1934496"/>
              <a:gd name="connsiteX2785" fmla="*/ 7080994 w 9922465"/>
              <a:gd name="connsiteY2785" fmla="*/ 494447 h 1934496"/>
              <a:gd name="connsiteX2786" fmla="*/ 7136186 w 9922465"/>
              <a:gd name="connsiteY2786" fmla="*/ 549638 h 1934496"/>
              <a:gd name="connsiteX2787" fmla="*/ 7080994 w 9922465"/>
              <a:gd name="connsiteY2787" fmla="*/ 604829 h 1934496"/>
              <a:gd name="connsiteX2788" fmla="*/ 7025802 w 9922465"/>
              <a:gd name="connsiteY2788" fmla="*/ 549638 h 1934496"/>
              <a:gd name="connsiteX2789" fmla="*/ 7080994 w 9922465"/>
              <a:gd name="connsiteY2789" fmla="*/ 494447 h 1934496"/>
              <a:gd name="connsiteX2790" fmla="*/ 6947358 w 9922465"/>
              <a:gd name="connsiteY2790" fmla="*/ 494447 h 1934496"/>
              <a:gd name="connsiteX2791" fmla="*/ 7002550 w 9922465"/>
              <a:gd name="connsiteY2791" fmla="*/ 549638 h 1934496"/>
              <a:gd name="connsiteX2792" fmla="*/ 6947358 w 9922465"/>
              <a:gd name="connsiteY2792" fmla="*/ 604829 h 1934496"/>
              <a:gd name="connsiteX2793" fmla="*/ 6892166 w 9922465"/>
              <a:gd name="connsiteY2793" fmla="*/ 549638 h 1934496"/>
              <a:gd name="connsiteX2794" fmla="*/ 6947358 w 9922465"/>
              <a:gd name="connsiteY2794" fmla="*/ 494447 h 1934496"/>
              <a:gd name="connsiteX2795" fmla="*/ 6289207 w 9922465"/>
              <a:gd name="connsiteY2795" fmla="*/ 494447 h 1934496"/>
              <a:gd name="connsiteX2796" fmla="*/ 6344399 w 9922465"/>
              <a:gd name="connsiteY2796" fmla="*/ 549638 h 1934496"/>
              <a:gd name="connsiteX2797" fmla="*/ 6289207 w 9922465"/>
              <a:gd name="connsiteY2797" fmla="*/ 604829 h 1934496"/>
              <a:gd name="connsiteX2798" fmla="*/ 6234015 w 9922465"/>
              <a:gd name="connsiteY2798" fmla="*/ 549638 h 1934496"/>
              <a:gd name="connsiteX2799" fmla="*/ 6289207 w 9922465"/>
              <a:gd name="connsiteY2799" fmla="*/ 494447 h 1934496"/>
              <a:gd name="connsiteX2800" fmla="*/ 4030786 w 9922465"/>
              <a:gd name="connsiteY2800" fmla="*/ 494447 h 1934496"/>
              <a:gd name="connsiteX2801" fmla="*/ 4085978 w 9922465"/>
              <a:gd name="connsiteY2801" fmla="*/ 549638 h 1934496"/>
              <a:gd name="connsiteX2802" fmla="*/ 4030786 w 9922465"/>
              <a:gd name="connsiteY2802" fmla="*/ 604829 h 1934496"/>
              <a:gd name="connsiteX2803" fmla="*/ 3975594 w 9922465"/>
              <a:gd name="connsiteY2803" fmla="*/ 549638 h 1934496"/>
              <a:gd name="connsiteX2804" fmla="*/ 4030786 w 9922465"/>
              <a:gd name="connsiteY2804" fmla="*/ 494447 h 1934496"/>
              <a:gd name="connsiteX2805" fmla="*/ 3897148 w 9922465"/>
              <a:gd name="connsiteY2805" fmla="*/ 494447 h 1934496"/>
              <a:gd name="connsiteX2806" fmla="*/ 3952340 w 9922465"/>
              <a:gd name="connsiteY2806" fmla="*/ 549638 h 1934496"/>
              <a:gd name="connsiteX2807" fmla="*/ 3897148 w 9922465"/>
              <a:gd name="connsiteY2807" fmla="*/ 604829 h 1934496"/>
              <a:gd name="connsiteX2808" fmla="*/ 3841956 w 9922465"/>
              <a:gd name="connsiteY2808" fmla="*/ 549638 h 1934496"/>
              <a:gd name="connsiteX2809" fmla="*/ 3897148 w 9922465"/>
              <a:gd name="connsiteY2809" fmla="*/ 494447 h 1934496"/>
              <a:gd name="connsiteX2810" fmla="*/ 3763514 w 9922465"/>
              <a:gd name="connsiteY2810" fmla="*/ 494447 h 1934496"/>
              <a:gd name="connsiteX2811" fmla="*/ 3818706 w 9922465"/>
              <a:gd name="connsiteY2811" fmla="*/ 549638 h 1934496"/>
              <a:gd name="connsiteX2812" fmla="*/ 3763514 w 9922465"/>
              <a:gd name="connsiteY2812" fmla="*/ 604829 h 1934496"/>
              <a:gd name="connsiteX2813" fmla="*/ 3708322 w 9922465"/>
              <a:gd name="connsiteY2813" fmla="*/ 549638 h 1934496"/>
              <a:gd name="connsiteX2814" fmla="*/ 3763514 w 9922465"/>
              <a:gd name="connsiteY2814" fmla="*/ 494447 h 1934496"/>
              <a:gd name="connsiteX2815" fmla="*/ 3633221 w 9922465"/>
              <a:gd name="connsiteY2815" fmla="*/ 494447 h 1934496"/>
              <a:gd name="connsiteX2816" fmla="*/ 3688413 w 9922465"/>
              <a:gd name="connsiteY2816" fmla="*/ 549638 h 1934496"/>
              <a:gd name="connsiteX2817" fmla="*/ 3633221 w 9922465"/>
              <a:gd name="connsiteY2817" fmla="*/ 604829 h 1934496"/>
              <a:gd name="connsiteX2818" fmla="*/ 3578029 w 9922465"/>
              <a:gd name="connsiteY2818" fmla="*/ 549638 h 1934496"/>
              <a:gd name="connsiteX2819" fmla="*/ 3633221 w 9922465"/>
              <a:gd name="connsiteY2819" fmla="*/ 494447 h 1934496"/>
              <a:gd name="connsiteX2820" fmla="*/ 3499589 w 9922465"/>
              <a:gd name="connsiteY2820" fmla="*/ 494447 h 1934496"/>
              <a:gd name="connsiteX2821" fmla="*/ 3554781 w 9922465"/>
              <a:gd name="connsiteY2821" fmla="*/ 549638 h 1934496"/>
              <a:gd name="connsiteX2822" fmla="*/ 3499589 w 9922465"/>
              <a:gd name="connsiteY2822" fmla="*/ 604829 h 1934496"/>
              <a:gd name="connsiteX2823" fmla="*/ 3444397 w 9922465"/>
              <a:gd name="connsiteY2823" fmla="*/ 549638 h 1934496"/>
              <a:gd name="connsiteX2824" fmla="*/ 3499589 w 9922465"/>
              <a:gd name="connsiteY2824" fmla="*/ 494447 h 1934496"/>
              <a:gd name="connsiteX2825" fmla="*/ 3369292 w 9922465"/>
              <a:gd name="connsiteY2825" fmla="*/ 494447 h 1934496"/>
              <a:gd name="connsiteX2826" fmla="*/ 3424484 w 9922465"/>
              <a:gd name="connsiteY2826" fmla="*/ 549638 h 1934496"/>
              <a:gd name="connsiteX2827" fmla="*/ 3369292 w 9922465"/>
              <a:gd name="connsiteY2827" fmla="*/ 604829 h 1934496"/>
              <a:gd name="connsiteX2828" fmla="*/ 3314100 w 9922465"/>
              <a:gd name="connsiteY2828" fmla="*/ 549638 h 1934496"/>
              <a:gd name="connsiteX2829" fmla="*/ 3369292 w 9922465"/>
              <a:gd name="connsiteY2829" fmla="*/ 494447 h 1934496"/>
              <a:gd name="connsiteX2830" fmla="*/ 3235657 w 9922465"/>
              <a:gd name="connsiteY2830" fmla="*/ 494447 h 1934496"/>
              <a:gd name="connsiteX2831" fmla="*/ 3290849 w 9922465"/>
              <a:gd name="connsiteY2831" fmla="*/ 549638 h 1934496"/>
              <a:gd name="connsiteX2832" fmla="*/ 3235657 w 9922465"/>
              <a:gd name="connsiteY2832" fmla="*/ 604829 h 1934496"/>
              <a:gd name="connsiteX2833" fmla="*/ 3180465 w 9922465"/>
              <a:gd name="connsiteY2833" fmla="*/ 549638 h 1934496"/>
              <a:gd name="connsiteX2834" fmla="*/ 3235657 w 9922465"/>
              <a:gd name="connsiteY2834" fmla="*/ 494447 h 1934496"/>
              <a:gd name="connsiteX2835" fmla="*/ 2437297 w 9922465"/>
              <a:gd name="connsiteY2835" fmla="*/ 494447 h 1934496"/>
              <a:gd name="connsiteX2836" fmla="*/ 2492487 w 9922465"/>
              <a:gd name="connsiteY2836" fmla="*/ 549638 h 1934496"/>
              <a:gd name="connsiteX2837" fmla="*/ 2437297 w 9922465"/>
              <a:gd name="connsiteY2837" fmla="*/ 604829 h 1934496"/>
              <a:gd name="connsiteX2838" fmla="*/ 2382108 w 9922465"/>
              <a:gd name="connsiteY2838" fmla="*/ 549638 h 1934496"/>
              <a:gd name="connsiteX2839" fmla="*/ 2437297 w 9922465"/>
              <a:gd name="connsiteY2839" fmla="*/ 494447 h 1934496"/>
              <a:gd name="connsiteX2840" fmla="*/ 2303664 w 9922465"/>
              <a:gd name="connsiteY2840" fmla="*/ 494447 h 1934496"/>
              <a:gd name="connsiteX2841" fmla="*/ 2358856 w 9922465"/>
              <a:gd name="connsiteY2841" fmla="*/ 549638 h 1934496"/>
              <a:gd name="connsiteX2842" fmla="*/ 2303664 w 9922465"/>
              <a:gd name="connsiteY2842" fmla="*/ 604829 h 1934496"/>
              <a:gd name="connsiteX2843" fmla="*/ 2248473 w 9922465"/>
              <a:gd name="connsiteY2843" fmla="*/ 549638 h 1934496"/>
              <a:gd name="connsiteX2844" fmla="*/ 2303664 w 9922465"/>
              <a:gd name="connsiteY2844" fmla="*/ 494447 h 1934496"/>
              <a:gd name="connsiteX2845" fmla="*/ 2173372 w 9922465"/>
              <a:gd name="connsiteY2845" fmla="*/ 494447 h 1934496"/>
              <a:gd name="connsiteX2846" fmla="*/ 2228565 w 9922465"/>
              <a:gd name="connsiteY2846" fmla="*/ 549638 h 1934496"/>
              <a:gd name="connsiteX2847" fmla="*/ 2173372 w 9922465"/>
              <a:gd name="connsiteY2847" fmla="*/ 604829 h 1934496"/>
              <a:gd name="connsiteX2848" fmla="*/ 2118180 w 9922465"/>
              <a:gd name="connsiteY2848" fmla="*/ 549638 h 1934496"/>
              <a:gd name="connsiteX2849" fmla="*/ 2173372 w 9922465"/>
              <a:gd name="connsiteY2849" fmla="*/ 494447 h 1934496"/>
              <a:gd name="connsiteX2850" fmla="*/ 2039736 w 9922465"/>
              <a:gd name="connsiteY2850" fmla="*/ 494447 h 1934496"/>
              <a:gd name="connsiteX2851" fmla="*/ 2094930 w 9922465"/>
              <a:gd name="connsiteY2851" fmla="*/ 549638 h 1934496"/>
              <a:gd name="connsiteX2852" fmla="*/ 2039736 w 9922465"/>
              <a:gd name="connsiteY2852" fmla="*/ 604829 h 1934496"/>
              <a:gd name="connsiteX2853" fmla="*/ 1984543 w 9922465"/>
              <a:gd name="connsiteY2853" fmla="*/ 549638 h 1934496"/>
              <a:gd name="connsiteX2854" fmla="*/ 2039736 w 9922465"/>
              <a:gd name="connsiteY2854" fmla="*/ 494447 h 1934496"/>
              <a:gd name="connsiteX2855" fmla="*/ 1909437 w 9922465"/>
              <a:gd name="connsiteY2855" fmla="*/ 494447 h 1934496"/>
              <a:gd name="connsiteX2856" fmla="*/ 1964630 w 9922465"/>
              <a:gd name="connsiteY2856" fmla="*/ 549638 h 1934496"/>
              <a:gd name="connsiteX2857" fmla="*/ 1909437 w 9922465"/>
              <a:gd name="connsiteY2857" fmla="*/ 604829 h 1934496"/>
              <a:gd name="connsiteX2858" fmla="*/ 1854244 w 9922465"/>
              <a:gd name="connsiteY2858" fmla="*/ 549638 h 1934496"/>
              <a:gd name="connsiteX2859" fmla="*/ 1909437 w 9922465"/>
              <a:gd name="connsiteY2859" fmla="*/ 494447 h 1934496"/>
              <a:gd name="connsiteX2860" fmla="*/ 1779142 w 9922465"/>
              <a:gd name="connsiteY2860" fmla="*/ 494447 h 1934496"/>
              <a:gd name="connsiteX2861" fmla="*/ 1834335 w 9922465"/>
              <a:gd name="connsiteY2861" fmla="*/ 549638 h 1934496"/>
              <a:gd name="connsiteX2862" fmla="*/ 1779142 w 9922465"/>
              <a:gd name="connsiteY2862" fmla="*/ 604829 h 1934496"/>
              <a:gd name="connsiteX2863" fmla="*/ 1723950 w 9922465"/>
              <a:gd name="connsiteY2863" fmla="*/ 549638 h 1934496"/>
              <a:gd name="connsiteX2864" fmla="*/ 1779142 w 9922465"/>
              <a:gd name="connsiteY2864" fmla="*/ 494447 h 1934496"/>
              <a:gd name="connsiteX2865" fmla="*/ 1645508 w 9922465"/>
              <a:gd name="connsiteY2865" fmla="*/ 494447 h 1934496"/>
              <a:gd name="connsiteX2866" fmla="*/ 1700702 w 9922465"/>
              <a:gd name="connsiteY2866" fmla="*/ 549638 h 1934496"/>
              <a:gd name="connsiteX2867" fmla="*/ 1645508 w 9922465"/>
              <a:gd name="connsiteY2867" fmla="*/ 604829 h 1934496"/>
              <a:gd name="connsiteX2868" fmla="*/ 1590311 w 9922465"/>
              <a:gd name="connsiteY2868" fmla="*/ 549638 h 1934496"/>
              <a:gd name="connsiteX2869" fmla="*/ 1645508 w 9922465"/>
              <a:gd name="connsiteY2869" fmla="*/ 494447 h 1934496"/>
              <a:gd name="connsiteX2870" fmla="*/ 1515217 w 9922465"/>
              <a:gd name="connsiteY2870" fmla="*/ 494447 h 1934496"/>
              <a:gd name="connsiteX2871" fmla="*/ 1570402 w 9922465"/>
              <a:gd name="connsiteY2871" fmla="*/ 549638 h 1934496"/>
              <a:gd name="connsiteX2872" fmla="*/ 1515217 w 9922465"/>
              <a:gd name="connsiteY2872" fmla="*/ 604829 h 1934496"/>
              <a:gd name="connsiteX2873" fmla="*/ 1460020 w 9922465"/>
              <a:gd name="connsiteY2873" fmla="*/ 549638 h 1934496"/>
              <a:gd name="connsiteX2874" fmla="*/ 1515217 w 9922465"/>
              <a:gd name="connsiteY2874" fmla="*/ 494447 h 1934496"/>
              <a:gd name="connsiteX2875" fmla="*/ 1381573 w 9922465"/>
              <a:gd name="connsiteY2875" fmla="*/ 494447 h 1934496"/>
              <a:gd name="connsiteX2876" fmla="*/ 1436767 w 9922465"/>
              <a:gd name="connsiteY2876" fmla="*/ 549638 h 1934496"/>
              <a:gd name="connsiteX2877" fmla="*/ 1381573 w 9922465"/>
              <a:gd name="connsiteY2877" fmla="*/ 604829 h 1934496"/>
              <a:gd name="connsiteX2878" fmla="*/ 1326384 w 9922465"/>
              <a:gd name="connsiteY2878" fmla="*/ 549638 h 1934496"/>
              <a:gd name="connsiteX2879" fmla="*/ 1381573 w 9922465"/>
              <a:gd name="connsiteY2879" fmla="*/ 494447 h 1934496"/>
              <a:gd name="connsiteX2880" fmla="*/ 1251282 w 9922465"/>
              <a:gd name="connsiteY2880" fmla="*/ 494447 h 1934496"/>
              <a:gd name="connsiteX2881" fmla="*/ 1306476 w 9922465"/>
              <a:gd name="connsiteY2881" fmla="*/ 549638 h 1934496"/>
              <a:gd name="connsiteX2882" fmla="*/ 1251282 w 9922465"/>
              <a:gd name="connsiteY2882" fmla="*/ 604829 h 1934496"/>
              <a:gd name="connsiteX2883" fmla="*/ 1196089 w 9922465"/>
              <a:gd name="connsiteY2883" fmla="*/ 549638 h 1934496"/>
              <a:gd name="connsiteX2884" fmla="*/ 1251282 w 9922465"/>
              <a:gd name="connsiteY2884" fmla="*/ 494447 h 1934496"/>
              <a:gd name="connsiteX2885" fmla="*/ 8801538 w 9922465"/>
              <a:gd name="connsiteY2885" fmla="*/ 364154 h 1934496"/>
              <a:gd name="connsiteX2886" fmla="*/ 8856730 w 9922465"/>
              <a:gd name="connsiteY2886" fmla="*/ 419345 h 1934496"/>
              <a:gd name="connsiteX2887" fmla="*/ 8801538 w 9922465"/>
              <a:gd name="connsiteY2887" fmla="*/ 474536 h 1934496"/>
              <a:gd name="connsiteX2888" fmla="*/ 8746346 w 9922465"/>
              <a:gd name="connsiteY2888" fmla="*/ 419345 h 1934496"/>
              <a:gd name="connsiteX2889" fmla="*/ 8801538 w 9922465"/>
              <a:gd name="connsiteY2889" fmla="*/ 364154 h 1934496"/>
              <a:gd name="connsiteX2890" fmla="*/ 8671244 w 9922465"/>
              <a:gd name="connsiteY2890" fmla="*/ 364154 h 1934496"/>
              <a:gd name="connsiteX2891" fmla="*/ 8726436 w 9922465"/>
              <a:gd name="connsiteY2891" fmla="*/ 419345 h 1934496"/>
              <a:gd name="connsiteX2892" fmla="*/ 8671244 w 9922465"/>
              <a:gd name="connsiteY2892" fmla="*/ 474536 h 1934496"/>
              <a:gd name="connsiteX2893" fmla="*/ 8616052 w 9922465"/>
              <a:gd name="connsiteY2893" fmla="*/ 419345 h 1934496"/>
              <a:gd name="connsiteX2894" fmla="*/ 8671244 w 9922465"/>
              <a:gd name="connsiteY2894" fmla="*/ 364154 h 1934496"/>
              <a:gd name="connsiteX2895" fmla="*/ 8537609 w 9922465"/>
              <a:gd name="connsiteY2895" fmla="*/ 364154 h 1934496"/>
              <a:gd name="connsiteX2896" fmla="*/ 8592801 w 9922465"/>
              <a:gd name="connsiteY2896" fmla="*/ 419345 h 1934496"/>
              <a:gd name="connsiteX2897" fmla="*/ 8537609 w 9922465"/>
              <a:gd name="connsiteY2897" fmla="*/ 474536 h 1934496"/>
              <a:gd name="connsiteX2898" fmla="*/ 8482417 w 9922465"/>
              <a:gd name="connsiteY2898" fmla="*/ 419345 h 1934496"/>
              <a:gd name="connsiteX2899" fmla="*/ 8537609 w 9922465"/>
              <a:gd name="connsiteY2899" fmla="*/ 364154 h 1934496"/>
              <a:gd name="connsiteX2900" fmla="*/ 7745824 w 9922465"/>
              <a:gd name="connsiteY2900" fmla="*/ 364154 h 1934496"/>
              <a:gd name="connsiteX2901" fmla="*/ 7801016 w 9922465"/>
              <a:gd name="connsiteY2901" fmla="*/ 419345 h 1934496"/>
              <a:gd name="connsiteX2902" fmla="*/ 7745824 w 9922465"/>
              <a:gd name="connsiteY2902" fmla="*/ 474536 h 1934496"/>
              <a:gd name="connsiteX2903" fmla="*/ 7690632 w 9922465"/>
              <a:gd name="connsiteY2903" fmla="*/ 419345 h 1934496"/>
              <a:gd name="connsiteX2904" fmla="*/ 7745824 w 9922465"/>
              <a:gd name="connsiteY2904" fmla="*/ 364154 h 1934496"/>
              <a:gd name="connsiteX2905" fmla="*/ 7608850 w 9922465"/>
              <a:gd name="connsiteY2905" fmla="*/ 364154 h 1934496"/>
              <a:gd name="connsiteX2906" fmla="*/ 7664042 w 9922465"/>
              <a:gd name="connsiteY2906" fmla="*/ 419345 h 1934496"/>
              <a:gd name="connsiteX2907" fmla="*/ 7608850 w 9922465"/>
              <a:gd name="connsiteY2907" fmla="*/ 474536 h 1934496"/>
              <a:gd name="connsiteX2908" fmla="*/ 7553658 w 9922465"/>
              <a:gd name="connsiteY2908" fmla="*/ 419345 h 1934496"/>
              <a:gd name="connsiteX2909" fmla="*/ 7608850 w 9922465"/>
              <a:gd name="connsiteY2909" fmla="*/ 364154 h 1934496"/>
              <a:gd name="connsiteX2910" fmla="*/ 7481895 w 9922465"/>
              <a:gd name="connsiteY2910" fmla="*/ 364154 h 1934496"/>
              <a:gd name="connsiteX2911" fmla="*/ 7537087 w 9922465"/>
              <a:gd name="connsiteY2911" fmla="*/ 419345 h 1934496"/>
              <a:gd name="connsiteX2912" fmla="*/ 7481895 w 9922465"/>
              <a:gd name="connsiteY2912" fmla="*/ 474536 h 1934496"/>
              <a:gd name="connsiteX2913" fmla="*/ 7426703 w 9922465"/>
              <a:gd name="connsiteY2913" fmla="*/ 419345 h 1934496"/>
              <a:gd name="connsiteX2914" fmla="*/ 7481895 w 9922465"/>
              <a:gd name="connsiteY2914" fmla="*/ 364154 h 1934496"/>
              <a:gd name="connsiteX2915" fmla="*/ 7341580 w 9922465"/>
              <a:gd name="connsiteY2915" fmla="*/ 364154 h 1934496"/>
              <a:gd name="connsiteX2916" fmla="*/ 7396772 w 9922465"/>
              <a:gd name="connsiteY2916" fmla="*/ 419345 h 1934496"/>
              <a:gd name="connsiteX2917" fmla="*/ 7341580 w 9922465"/>
              <a:gd name="connsiteY2917" fmla="*/ 474536 h 1934496"/>
              <a:gd name="connsiteX2918" fmla="*/ 7286388 w 9922465"/>
              <a:gd name="connsiteY2918" fmla="*/ 419345 h 1934496"/>
              <a:gd name="connsiteX2919" fmla="*/ 7341580 w 9922465"/>
              <a:gd name="connsiteY2919" fmla="*/ 364154 h 1934496"/>
              <a:gd name="connsiteX2920" fmla="*/ 6553137 w 9922465"/>
              <a:gd name="connsiteY2920" fmla="*/ 364154 h 1934496"/>
              <a:gd name="connsiteX2921" fmla="*/ 6608329 w 9922465"/>
              <a:gd name="connsiteY2921" fmla="*/ 419345 h 1934496"/>
              <a:gd name="connsiteX2922" fmla="*/ 6553137 w 9922465"/>
              <a:gd name="connsiteY2922" fmla="*/ 474536 h 1934496"/>
              <a:gd name="connsiteX2923" fmla="*/ 6497945 w 9922465"/>
              <a:gd name="connsiteY2923" fmla="*/ 419345 h 1934496"/>
              <a:gd name="connsiteX2924" fmla="*/ 6553137 w 9922465"/>
              <a:gd name="connsiteY2924" fmla="*/ 364154 h 1934496"/>
              <a:gd name="connsiteX2925" fmla="*/ 6419503 w 9922465"/>
              <a:gd name="connsiteY2925" fmla="*/ 364154 h 1934496"/>
              <a:gd name="connsiteX2926" fmla="*/ 6474695 w 9922465"/>
              <a:gd name="connsiteY2926" fmla="*/ 419345 h 1934496"/>
              <a:gd name="connsiteX2927" fmla="*/ 6419503 w 9922465"/>
              <a:gd name="connsiteY2927" fmla="*/ 474536 h 1934496"/>
              <a:gd name="connsiteX2928" fmla="*/ 6364311 w 9922465"/>
              <a:gd name="connsiteY2928" fmla="*/ 419345 h 1934496"/>
              <a:gd name="connsiteX2929" fmla="*/ 6419503 w 9922465"/>
              <a:gd name="connsiteY2929" fmla="*/ 364154 h 1934496"/>
              <a:gd name="connsiteX2930" fmla="*/ 4030786 w 9922465"/>
              <a:gd name="connsiteY2930" fmla="*/ 364154 h 1934496"/>
              <a:gd name="connsiteX2931" fmla="*/ 4085978 w 9922465"/>
              <a:gd name="connsiteY2931" fmla="*/ 419345 h 1934496"/>
              <a:gd name="connsiteX2932" fmla="*/ 4030786 w 9922465"/>
              <a:gd name="connsiteY2932" fmla="*/ 474536 h 1934496"/>
              <a:gd name="connsiteX2933" fmla="*/ 3975594 w 9922465"/>
              <a:gd name="connsiteY2933" fmla="*/ 419345 h 1934496"/>
              <a:gd name="connsiteX2934" fmla="*/ 4030786 w 9922465"/>
              <a:gd name="connsiteY2934" fmla="*/ 364154 h 1934496"/>
              <a:gd name="connsiteX2935" fmla="*/ 3897148 w 9922465"/>
              <a:gd name="connsiteY2935" fmla="*/ 364154 h 1934496"/>
              <a:gd name="connsiteX2936" fmla="*/ 3952340 w 9922465"/>
              <a:gd name="connsiteY2936" fmla="*/ 419345 h 1934496"/>
              <a:gd name="connsiteX2937" fmla="*/ 3897148 w 9922465"/>
              <a:gd name="connsiteY2937" fmla="*/ 474536 h 1934496"/>
              <a:gd name="connsiteX2938" fmla="*/ 3841956 w 9922465"/>
              <a:gd name="connsiteY2938" fmla="*/ 419345 h 1934496"/>
              <a:gd name="connsiteX2939" fmla="*/ 3897148 w 9922465"/>
              <a:gd name="connsiteY2939" fmla="*/ 364154 h 1934496"/>
              <a:gd name="connsiteX2940" fmla="*/ 3763514 w 9922465"/>
              <a:gd name="connsiteY2940" fmla="*/ 364154 h 1934496"/>
              <a:gd name="connsiteX2941" fmla="*/ 3818706 w 9922465"/>
              <a:gd name="connsiteY2941" fmla="*/ 419345 h 1934496"/>
              <a:gd name="connsiteX2942" fmla="*/ 3763514 w 9922465"/>
              <a:gd name="connsiteY2942" fmla="*/ 474536 h 1934496"/>
              <a:gd name="connsiteX2943" fmla="*/ 3708322 w 9922465"/>
              <a:gd name="connsiteY2943" fmla="*/ 419345 h 1934496"/>
              <a:gd name="connsiteX2944" fmla="*/ 3763514 w 9922465"/>
              <a:gd name="connsiteY2944" fmla="*/ 364154 h 1934496"/>
              <a:gd name="connsiteX2945" fmla="*/ 3633221 w 9922465"/>
              <a:gd name="connsiteY2945" fmla="*/ 364154 h 1934496"/>
              <a:gd name="connsiteX2946" fmla="*/ 3688413 w 9922465"/>
              <a:gd name="connsiteY2946" fmla="*/ 419345 h 1934496"/>
              <a:gd name="connsiteX2947" fmla="*/ 3633221 w 9922465"/>
              <a:gd name="connsiteY2947" fmla="*/ 474536 h 1934496"/>
              <a:gd name="connsiteX2948" fmla="*/ 3578029 w 9922465"/>
              <a:gd name="connsiteY2948" fmla="*/ 419345 h 1934496"/>
              <a:gd name="connsiteX2949" fmla="*/ 3633221 w 9922465"/>
              <a:gd name="connsiteY2949" fmla="*/ 364154 h 1934496"/>
              <a:gd name="connsiteX2950" fmla="*/ 3499589 w 9922465"/>
              <a:gd name="connsiteY2950" fmla="*/ 364154 h 1934496"/>
              <a:gd name="connsiteX2951" fmla="*/ 3554781 w 9922465"/>
              <a:gd name="connsiteY2951" fmla="*/ 419345 h 1934496"/>
              <a:gd name="connsiteX2952" fmla="*/ 3499589 w 9922465"/>
              <a:gd name="connsiteY2952" fmla="*/ 474536 h 1934496"/>
              <a:gd name="connsiteX2953" fmla="*/ 3444397 w 9922465"/>
              <a:gd name="connsiteY2953" fmla="*/ 419345 h 1934496"/>
              <a:gd name="connsiteX2954" fmla="*/ 3499589 w 9922465"/>
              <a:gd name="connsiteY2954" fmla="*/ 364154 h 1934496"/>
              <a:gd name="connsiteX2955" fmla="*/ 3369292 w 9922465"/>
              <a:gd name="connsiteY2955" fmla="*/ 364154 h 1934496"/>
              <a:gd name="connsiteX2956" fmla="*/ 3424484 w 9922465"/>
              <a:gd name="connsiteY2956" fmla="*/ 419345 h 1934496"/>
              <a:gd name="connsiteX2957" fmla="*/ 3369292 w 9922465"/>
              <a:gd name="connsiteY2957" fmla="*/ 474536 h 1934496"/>
              <a:gd name="connsiteX2958" fmla="*/ 3314100 w 9922465"/>
              <a:gd name="connsiteY2958" fmla="*/ 419345 h 1934496"/>
              <a:gd name="connsiteX2959" fmla="*/ 3369292 w 9922465"/>
              <a:gd name="connsiteY2959" fmla="*/ 364154 h 1934496"/>
              <a:gd name="connsiteX2960" fmla="*/ 3235657 w 9922465"/>
              <a:gd name="connsiteY2960" fmla="*/ 364154 h 1934496"/>
              <a:gd name="connsiteX2961" fmla="*/ 3290849 w 9922465"/>
              <a:gd name="connsiteY2961" fmla="*/ 419345 h 1934496"/>
              <a:gd name="connsiteX2962" fmla="*/ 3235657 w 9922465"/>
              <a:gd name="connsiteY2962" fmla="*/ 474536 h 1934496"/>
              <a:gd name="connsiteX2963" fmla="*/ 3180465 w 9922465"/>
              <a:gd name="connsiteY2963" fmla="*/ 419345 h 1934496"/>
              <a:gd name="connsiteX2964" fmla="*/ 3235657 w 9922465"/>
              <a:gd name="connsiteY2964" fmla="*/ 364154 h 1934496"/>
              <a:gd name="connsiteX2965" fmla="*/ 3098681 w 9922465"/>
              <a:gd name="connsiteY2965" fmla="*/ 364154 h 1934496"/>
              <a:gd name="connsiteX2966" fmla="*/ 3153873 w 9922465"/>
              <a:gd name="connsiteY2966" fmla="*/ 419345 h 1934496"/>
              <a:gd name="connsiteX2967" fmla="*/ 3098681 w 9922465"/>
              <a:gd name="connsiteY2967" fmla="*/ 474536 h 1934496"/>
              <a:gd name="connsiteX2968" fmla="*/ 3043489 w 9922465"/>
              <a:gd name="connsiteY2968" fmla="*/ 419345 h 1934496"/>
              <a:gd name="connsiteX2969" fmla="*/ 3098681 w 9922465"/>
              <a:gd name="connsiteY2969" fmla="*/ 364154 h 1934496"/>
              <a:gd name="connsiteX2970" fmla="*/ 2971729 w 9922465"/>
              <a:gd name="connsiteY2970" fmla="*/ 364154 h 1934496"/>
              <a:gd name="connsiteX2971" fmla="*/ 3026921 w 9922465"/>
              <a:gd name="connsiteY2971" fmla="*/ 419345 h 1934496"/>
              <a:gd name="connsiteX2972" fmla="*/ 2971729 w 9922465"/>
              <a:gd name="connsiteY2972" fmla="*/ 474536 h 1934496"/>
              <a:gd name="connsiteX2973" fmla="*/ 2916537 w 9922465"/>
              <a:gd name="connsiteY2973" fmla="*/ 419345 h 1934496"/>
              <a:gd name="connsiteX2974" fmla="*/ 2971729 w 9922465"/>
              <a:gd name="connsiteY2974" fmla="*/ 364154 h 1934496"/>
              <a:gd name="connsiteX2975" fmla="*/ 2834862 w 9922465"/>
              <a:gd name="connsiteY2975" fmla="*/ 364154 h 1934496"/>
              <a:gd name="connsiteX2976" fmla="*/ 2890052 w 9922465"/>
              <a:gd name="connsiteY2976" fmla="*/ 419345 h 1934496"/>
              <a:gd name="connsiteX2977" fmla="*/ 2834862 w 9922465"/>
              <a:gd name="connsiteY2977" fmla="*/ 474536 h 1934496"/>
              <a:gd name="connsiteX2978" fmla="*/ 2779671 w 9922465"/>
              <a:gd name="connsiteY2978" fmla="*/ 419345 h 1934496"/>
              <a:gd name="connsiteX2979" fmla="*/ 2834862 w 9922465"/>
              <a:gd name="connsiteY2979" fmla="*/ 364154 h 1934496"/>
              <a:gd name="connsiteX2980" fmla="*/ 2437297 w 9922465"/>
              <a:gd name="connsiteY2980" fmla="*/ 364154 h 1934496"/>
              <a:gd name="connsiteX2981" fmla="*/ 2492487 w 9922465"/>
              <a:gd name="connsiteY2981" fmla="*/ 419345 h 1934496"/>
              <a:gd name="connsiteX2982" fmla="*/ 2437297 w 9922465"/>
              <a:gd name="connsiteY2982" fmla="*/ 474536 h 1934496"/>
              <a:gd name="connsiteX2983" fmla="*/ 2382108 w 9922465"/>
              <a:gd name="connsiteY2983" fmla="*/ 419345 h 1934496"/>
              <a:gd name="connsiteX2984" fmla="*/ 2437297 w 9922465"/>
              <a:gd name="connsiteY2984" fmla="*/ 364154 h 1934496"/>
              <a:gd name="connsiteX2985" fmla="*/ 2303664 w 9922465"/>
              <a:gd name="connsiteY2985" fmla="*/ 364154 h 1934496"/>
              <a:gd name="connsiteX2986" fmla="*/ 2358856 w 9922465"/>
              <a:gd name="connsiteY2986" fmla="*/ 419345 h 1934496"/>
              <a:gd name="connsiteX2987" fmla="*/ 2303664 w 9922465"/>
              <a:gd name="connsiteY2987" fmla="*/ 474536 h 1934496"/>
              <a:gd name="connsiteX2988" fmla="*/ 2248473 w 9922465"/>
              <a:gd name="connsiteY2988" fmla="*/ 419345 h 1934496"/>
              <a:gd name="connsiteX2989" fmla="*/ 2303664 w 9922465"/>
              <a:gd name="connsiteY2989" fmla="*/ 364154 h 1934496"/>
              <a:gd name="connsiteX2990" fmla="*/ 2173372 w 9922465"/>
              <a:gd name="connsiteY2990" fmla="*/ 364154 h 1934496"/>
              <a:gd name="connsiteX2991" fmla="*/ 2228565 w 9922465"/>
              <a:gd name="connsiteY2991" fmla="*/ 419345 h 1934496"/>
              <a:gd name="connsiteX2992" fmla="*/ 2173372 w 9922465"/>
              <a:gd name="connsiteY2992" fmla="*/ 474536 h 1934496"/>
              <a:gd name="connsiteX2993" fmla="*/ 2118180 w 9922465"/>
              <a:gd name="connsiteY2993" fmla="*/ 419345 h 1934496"/>
              <a:gd name="connsiteX2994" fmla="*/ 2173372 w 9922465"/>
              <a:gd name="connsiteY2994" fmla="*/ 364154 h 1934496"/>
              <a:gd name="connsiteX2995" fmla="*/ 2039736 w 9922465"/>
              <a:gd name="connsiteY2995" fmla="*/ 364154 h 1934496"/>
              <a:gd name="connsiteX2996" fmla="*/ 2094930 w 9922465"/>
              <a:gd name="connsiteY2996" fmla="*/ 419345 h 1934496"/>
              <a:gd name="connsiteX2997" fmla="*/ 2039736 w 9922465"/>
              <a:gd name="connsiteY2997" fmla="*/ 474536 h 1934496"/>
              <a:gd name="connsiteX2998" fmla="*/ 1984543 w 9922465"/>
              <a:gd name="connsiteY2998" fmla="*/ 419345 h 1934496"/>
              <a:gd name="connsiteX2999" fmla="*/ 2039736 w 9922465"/>
              <a:gd name="connsiteY2999" fmla="*/ 364154 h 1934496"/>
              <a:gd name="connsiteX3000" fmla="*/ 1909440 w 9922465"/>
              <a:gd name="connsiteY3000" fmla="*/ 364154 h 1934496"/>
              <a:gd name="connsiteX3001" fmla="*/ 1964634 w 9922465"/>
              <a:gd name="connsiteY3001" fmla="*/ 419345 h 1934496"/>
              <a:gd name="connsiteX3002" fmla="*/ 1909440 w 9922465"/>
              <a:gd name="connsiteY3002" fmla="*/ 474536 h 1934496"/>
              <a:gd name="connsiteX3003" fmla="*/ 1854246 w 9922465"/>
              <a:gd name="connsiteY3003" fmla="*/ 419345 h 1934496"/>
              <a:gd name="connsiteX3004" fmla="*/ 1909440 w 9922465"/>
              <a:gd name="connsiteY3004" fmla="*/ 364154 h 1934496"/>
              <a:gd name="connsiteX3005" fmla="*/ 1779142 w 9922465"/>
              <a:gd name="connsiteY3005" fmla="*/ 364154 h 1934496"/>
              <a:gd name="connsiteX3006" fmla="*/ 1834337 w 9922465"/>
              <a:gd name="connsiteY3006" fmla="*/ 419345 h 1934496"/>
              <a:gd name="connsiteX3007" fmla="*/ 1779142 w 9922465"/>
              <a:gd name="connsiteY3007" fmla="*/ 474536 h 1934496"/>
              <a:gd name="connsiteX3008" fmla="*/ 1723951 w 9922465"/>
              <a:gd name="connsiteY3008" fmla="*/ 419345 h 1934496"/>
              <a:gd name="connsiteX3009" fmla="*/ 1779142 w 9922465"/>
              <a:gd name="connsiteY3009" fmla="*/ 364154 h 1934496"/>
              <a:gd name="connsiteX3010" fmla="*/ 1645508 w 9922465"/>
              <a:gd name="connsiteY3010" fmla="*/ 364154 h 1934496"/>
              <a:gd name="connsiteX3011" fmla="*/ 1700702 w 9922465"/>
              <a:gd name="connsiteY3011" fmla="*/ 419345 h 1934496"/>
              <a:gd name="connsiteX3012" fmla="*/ 1645508 w 9922465"/>
              <a:gd name="connsiteY3012" fmla="*/ 474536 h 1934496"/>
              <a:gd name="connsiteX3013" fmla="*/ 1590313 w 9922465"/>
              <a:gd name="connsiteY3013" fmla="*/ 419345 h 1934496"/>
              <a:gd name="connsiteX3014" fmla="*/ 1645508 w 9922465"/>
              <a:gd name="connsiteY3014" fmla="*/ 364154 h 1934496"/>
              <a:gd name="connsiteX3015" fmla="*/ 1515217 w 9922465"/>
              <a:gd name="connsiteY3015" fmla="*/ 364154 h 1934496"/>
              <a:gd name="connsiteX3016" fmla="*/ 1570405 w 9922465"/>
              <a:gd name="connsiteY3016" fmla="*/ 419345 h 1934496"/>
              <a:gd name="connsiteX3017" fmla="*/ 1515217 w 9922465"/>
              <a:gd name="connsiteY3017" fmla="*/ 474536 h 1934496"/>
              <a:gd name="connsiteX3018" fmla="*/ 1460020 w 9922465"/>
              <a:gd name="connsiteY3018" fmla="*/ 419345 h 1934496"/>
              <a:gd name="connsiteX3019" fmla="*/ 1515217 w 9922465"/>
              <a:gd name="connsiteY3019" fmla="*/ 364154 h 1934496"/>
              <a:gd name="connsiteX3020" fmla="*/ 1381573 w 9922465"/>
              <a:gd name="connsiteY3020" fmla="*/ 364154 h 1934496"/>
              <a:gd name="connsiteX3021" fmla="*/ 1436767 w 9922465"/>
              <a:gd name="connsiteY3021" fmla="*/ 419345 h 1934496"/>
              <a:gd name="connsiteX3022" fmla="*/ 1381573 w 9922465"/>
              <a:gd name="connsiteY3022" fmla="*/ 474536 h 1934496"/>
              <a:gd name="connsiteX3023" fmla="*/ 1326384 w 9922465"/>
              <a:gd name="connsiteY3023" fmla="*/ 419345 h 1934496"/>
              <a:gd name="connsiteX3024" fmla="*/ 1381573 w 9922465"/>
              <a:gd name="connsiteY3024" fmla="*/ 364154 h 1934496"/>
              <a:gd name="connsiteX3025" fmla="*/ 1251283 w 9922465"/>
              <a:gd name="connsiteY3025" fmla="*/ 364154 h 1934496"/>
              <a:gd name="connsiteX3026" fmla="*/ 1306476 w 9922465"/>
              <a:gd name="connsiteY3026" fmla="*/ 419345 h 1934496"/>
              <a:gd name="connsiteX3027" fmla="*/ 1251283 w 9922465"/>
              <a:gd name="connsiteY3027" fmla="*/ 474536 h 1934496"/>
              <a:gd name="connsiteX3028" fmla="*/ 1196091 w 9922465"/>
              <a:gd name="connsiteY3028" fmla="*/ 419345 h 1934496"/>
              <a:gd name="connsiteX3029" fmla="*/ 1251283 w 9922465"/>
              <a:gd name="connsiteY3029" fmla="*/ 364154 h 1934496"/>
              <a:gd name="connsiteX3030" fmla="*/ 7608850 w 9922465"/>
              <a:gd name="connsiteY3030" fmla="*/ 247225 h 1934496"/>
              <a:gd name="connsiteX3031" fmla="*/ 7664042 w 9922465"/>
              <a:gd name="connsiteY3031" fmla="*/ 302416 h 1934496"/>
              <a:gd name="connsiteX3032" fmla="*/ 7608850 w 9922465"/>
              <a:gd name="connsiteY3032" fmla="*/ 357607 h 1934496"/>
              <a:gd name="connsiteX3033" fmla="*/ 7553658 w 9922465"/>
              <a:gd name="connsiteY3033" fmla="*/ 302416 h 1934496"/>
              <a:gd name="connsiteX3034" fmla="*/ 7608850 w 9922465"/>
              <a:gd name="connsiteY3034" fmla="*/ 247225 h 1934496"/>
              <a:gd name="connsiteX3035" fmla="*/ 7481898 w 9922465"/>
              <a:gd name="connsiteY3035" fmla="*/ 247225 h 1934496"/>
              <a:gd name="connsiteX3036" fmla="*/ 7537090 w 9922465"/>
              <a:gd name="connsiteY3036" fmla="*/ 302416 h 1934496"/>
              <a:gd name="connsiteX3037" fmla="*/ 7481898 w 9922465"/>
              <a:gd name="connsiteY3037" fmla="*/ 357607 h 1934496"/>
              <a:gd name="connsiteX3038" fmla="*/ 7426706 w 9922465"/>
              <a:gd name="connsiteY3038" fmla="*/ 302416 h 1934496"/>
              <a:gd name="connsiteX3039" fmla="*/ 7481898 w 9922465"/>
              <a:gd name="connsiteY3039" fmla="*/ 247225 h 1934496"/>
              <a:gd name="connsiteX3040" fmla="*/ 5093178 w 9922465"/>
              <a:gd name="connsiteY3040" fmla="*/ 247225 h 1934496"/>
              <a:gd name="connsiteX3041" fmla="*/ 5148370 w 9922465"/>
              <a:gd name="connsiteY3041" fmla="*/ 302416 h 1934496"/>
              <a:gd name="connsiteX3042" fmla="*/ 5093178 w 9922465"/>
              <a:gd name="connsiteY3042" fmla="*/ 357607 h 1934496"/>
              <a:gd name="connsiteX3043" fmla="*/ 5037986 w 9922465"/>
              <a:gd name="connsiteY3043" fmla="*/ 302416 h 1934496"/>
              <a:gd name="connsiteX3044" fmla="*/ 5093178 w 9922465"/>
              <a:gd name="connsiteY3044" fmla="*/ 247225 h 1934496"/>
              <a:gd name="connsiteX3045" fmla="*/ 4030786 w 9922465"/>
              <a:gd name="connsiteY3045" fmla="*/ 247225 h 1934496"/>
              <a:gd name="connsiteX3046" fmla="*/ 4085978 w 9922465"/>
              <a:gd name="connsiteY3046" fmla="*/ 302416 h 1934496"/>
              <a:gd name="connsiteX3047" fmla="*/ 4030786 w 9922465"/>
              <a:gd name="connsiteY3047" fmla="*/ 357607 h 1934496"/>
              <a:gd name="connsiteX3048" fmla="*/ 3975594 w 9922465"/>
              <a:gd name="connsiteY3048" fmla="*/ 302416 h 1934496"/>
              <a:gd name="connsiteX3049" fmla="*/ 4030786 w 9922465"/>
              <a:gd name="connsiteY3049" fmla="*/ 247225 h 1934496"/>
              <a:gd name="connsiteX3050" fmla="*/ 3897148 w 9922465"/>
              <a:gd name="connsiteY3050" fmla="*/ 247225 h 1934496"/>
              <a:gd name="connsiteX3051" fmla="*/ 3952340 w 9922465"/>
              <a:gd name="connsiteY3051" fmla="*/ 302416 h 1934496"/>
              <a:gd name="connsiteX3052" fmla="*/ 3897148 w 9922465"/>
              <a:gd name="connsiteY3052" fmla="*/ 357607 h 1934496"/>
              <a:gd name="connsiteX3053" fmla="*/ 3841956 w 9922465"/>
              <a:gd name="connsiteY3053" fmla="*/ 302416 h 1934496"/>
              <a:gd name="connsiteX3054" fmla="*/ 3897148 w 9922465"/>
              <a:gd name="connsiteY3054" fmla="*/ 247225 h 1934496"/>
              <a:gd name="connsiteX3055" fmla="*/ 3763514 w 9922465"/>
              <a:gd name="connsiteY3055" fmla="*/ 247225 h 1934496"/>
              <a:gd name="connsiteX3056" fmla="*/ 3818706 w 9922465"/>
              <a:gd name="connsiteY3056" fmla="*/ 302416 h 1934496"/>
              <a:gd name="connsiteX3057" fmla="*/ 3763514 w 9922465"/>
              <a:gd name="connsiteY3057" fmla="*/ 357607 h 1934496"/>
              <a:gd name="connsiteX3058" fmla="*/ 3708322 w 9922465"/>
              <a:gd name="connsiteY3058" fmla="*/ 302416 h 1934496"/>
              <a:gd name="connsiteX3059" fmla="*/ 3763514 w 9922465"/>
              <a:gd name="connsiteY3059" fmla="*/ 247225 h 1934496"/>
              <a:gd name="connsiteX3060" fmla="*/ 3633221 w 9922465"/>
              <a:gd name="connsiteY3060" fmla="*/ 247225 h 1934496"/>
              <a:gd name="connsiteX3061" fmla="*/ 3688413 w 9922465"/>
              <a:gd name="connsiteY3061" fmla="*/ 302416 h 1934496"/>
              <a:gd name="connsiteX3062" fmla="*/ 3633221 w 9922465"/>
              <a:gd name="connsiteY3062" fmla="*/ 357607 h 1934496"/>
              <a:gd name="connsiteX3063" fmla="*/ 3578029 w 9922465"/>
              <a:gd name="connsiteY3063" fmla="*/ 302416 h 1934496"/>
              <a:gd name="connsiteX3064" fmla="*/ 3633221 w 9922465"/>
              <a:gd name="connsiteY3064" fmla="*/ 247225 h 1934496"/>
              <a:gd name="connsiteX3065" fmla="*/ 3499589 w 9922465"/>
              <a:gd name="connsiteY3065" fmla="*/ 247225 h 1934496"/>
              <a:gd name="connsiteX3066" fmla="*/ 3554781 w 9922465"/>
              <a:gd name="connsiteY3066" fmla="*/ 302416 h 1934496"/>
              <a:gd name="connsiteX3067" fmla="*/ 3499589 w 9922465"/>
              <a:gd name="connsiteY3067" fmla="*/ 357607 h 1934496"/>
              <a:gd name="connsiteX3068" fmla="*/ 3444397 w 9922465"/>
              <a:gd name="connsiteY3068" fmla="*/ 302416 h 1934496"/>
              <a:gd name="connsiteX3069" fmla="*/ 3499589 w 9922465"/>
              <a:gd name="connsiteY3069" fmla="*/ 247225 h 1934496"/>
              <a:gd name="connsiteX3070" fmla="*/ 3369293 w 9922465"/>
              <a:gd name="connsiteY3070" fmla="*/ 247225 h 1934496"/>
              <a:gd name="connsiteX3071" fmla="*/ 3424485 w 9922465"/>
              <a:gd name="connsiteY3071" fmla="*/ 302416 h 1934496"/>
              <a:gd name="connsiteX3072" fmla="*/ 3369293 w 9922465"/>
              <a:gd name="connsiteY3072" fmla="*/ 357607 h 1934496"/>
              <a:gd name="connsiteX3073" fmla="*/ 3314101 w 9922465"/>
              <a:gd name="connsiteY3073" fmla="*/ 302416 h 1934496"/>
              <a:gd name="connsiteX3074" fmla="*/ 3369293 w 9922465"/>
              <a:gd name="connsiteY3074" fmla="*/ 247225 h 1934496"/>
              <a:gd name="connsiteX3075" fmla="*/ 3235657 w 9922465"/>
              <a:gd name="connsiteY3075" fmla="*/ 247225 h 1934496"/>
              <a:gd name="connsiteX3076" fmla="*/ 3290849 w 9922465"/>
              <a:gd name="connsiteY3076" fmla="*/ 302416 h 1934496"/>
              <a:gd name="connsiteX3077" fmla="*/ 3235657 w 9922465"/>
              <a:gd name="connsiteY3077" fmla="*/ 357607 h 1934496"/>
              <a:gd name="connsiteX3078" fmla="*/ 3180465 w 9922465"/>
              <a:gd name="connsiteY3078" fmla="*/ 302416 h 1934496"/>
              <a:gd name="connsiteX3079" fmla="*/ 3235657 w 9922465"/>
              <a:gd name="connsiteY3079" fmla="*/ 247225 h 1934496"/>
              <a:gd name="connsiteX3080" fmla="*/ 3098682 w 9922465"/>
              <a:gd name="connsiteY3080" fmla="*/ 247225 h 1934496"/>
              <a:gd name="connsiteX3081" fmla="*/ 3153874 w 9922465"/>
              <a:gd name="connsiteY3081" fmla="*/ 302416 h 1934496"/>
              <a:gd name="connsiteX3082" fmla="*/ 3098682 w 9922465"/>
              <a:gd name="connsiteY3082" fmla="*/ 357607 h 1934496"/>
              <a:gd name="connsiteX3083" fmla="*/ 3043490 w 9922465"/>
              <a:gd name="connsiteY3083" fmla="*/ 302416 h 1934496"/>
              <a:gd name="connsiteX3084" fmla="*/ 3098682 w 9922465"/>
              <a:gd name="connsiteY3084" fmla="*/ 247225 h 1934496"/>
              <a:gd name="connsiteX3085" fmla="*/ 2971729 w 9922465"/>
              <a:gd name="connsiteY3085" fmla="*/ 247225 h 1934496"/>
              <a:gd name="connsiteX3086" fmla="*/ 3026921 w 9922465"/>
              <a:gd name="connsiteY3086" fmla="*/ 302416 h 1934496"/>
              <a:gd name="connsiteX3087" fmla="*/ 2971729 w 9922465"/>
              <a:gd name="connsiteY3087" fmla="*/ 357607 h 1934496"/>
              <a:gd name="connsiteX3088" fmla="*/ 2916537 w 9922465"/>
              <a:gd name="connsiteY3088" fmla="*/ 302416 h 1934496"/>
              <a:gd name="connsiteX3089" fmla="*/ 2971729 w 9922465"/>
              <a:gd name="connsiteY3089" fmla="*/ 247225 h 1934496"/>
              <a:gd name="connsiteX3090" fmla="*/ 2834862 w 9922465"/>
              <a:gd name="connsiteY3090" fmla="*/ 247225 h 1934496"/>
              <a:gd name="connsiteX3091" fmla="*/ 2890052 w 9922465"/>
              <a:gd name="connsiteY3091" fmla="*/ 302416 h 1934496"/>
              <a:gd name="connsiteX3092" fmla="*/ 2834862 w 9922465"/>
              <a:gd name="connsiteY3092" fmla="*/ 357607 h 1934496"/>
              <a:gd name="connsiteX3093" fmla="*/ 2779671 w 9922465"/>
              <a:gd name="connsiteY3093" fmla="*/ 302416 h 1934496"/>
              <a:gd name="connsiteX3094" fmla="*/ 2834862 w 9922465"/>
              <a:gd name="connsiteY3094" fmla="*/ 247225 h 1934496"/>
              <a:gd name="connsiteX3095" fmla="*/ 2570933 w 9922465"/>
              <a:gd name="connsiteY3095" fmla="*/ 247225 h 1934496"/>
              <a:gd name="connsiteX3096" fmla="*/ 2626123 w 9922465"/>
              <a:gd name="connsiteY3096" fmla="*/ 302416 h 1934496"/>
              <a:gd name="connsiteX3097" fmla="*/ 2570933 w 9922465"/>
              <a:gd name="connsiteY3097" fmla="*/ 357607 h 1934496"/>
              <a:gd name="connsiteX3098" fmla="*/ 2515738 w 9922465"/>
              <a:gd name="connsiteY3098" fmla="*/ 302416 h 1934496"/>
              <a:gd name="connsiteX3099" fmla="*/ 2570933 w 9922465"/>
              <a:gd name="connsiteY3099" fmla="*/ 247225 h 1934496"/>
              <a:gd name="connsiteX3100" fmla="*/ 2437297 w 9922465"/>
              <a:gd name="connsiteY3100" fmla="*/ 247225 h 1934496"/>
              <a:gd name="connsiteX3101" fmla="*/ 2492487 w 9922465"/>
              <a:gd name="connsiteY3101" fmla="*/ 302416 h 1934496"/>
              <a:gd name="connsiteX3102" fmla="*/ 2437297 w 9922465"/>
              <a:gd name="connsiteY3102" fmla="*/ 357607 h 1934496"/>
              <a:gd name="connsiteX3103" fmla="*/ 2382108 w 9922465"/>
              <a:gd name="connsiteY3103" fmla="*/ 302416 h 1934496"/>
              <a:gd name="connsiteX3104" fmla="*/ 2437297 w 9922465"/>
              <a:gd name="connsiteY3104" fmla="*/ 247225 h 1934496"/>
              <a:gd name="connsiteX3105" fmla="*/ 2303666 w 9922465"/>
              <a:gd name="connsiteY3105" fmla="*/ 247225 h 1934496"/>
              <a:gd name="connsiteX3106" fmla="*/ 2358856 w 9922465"/>
              <a:gd name="connsiteY3106" fmla="*/ 302416 h 1934496"/>
              <a:gd name="connsiteX3107" fmla="*/ 2303666 w 9922465"/>
              <a:gd name="connsiteY3107" fmla="*/ 357607 h 1934496"/>
              <a:gd name="connsiteX3108" fmla="*/ 2248473 w 9922465"/>
              <a:gd name="connsiteY3108" fmla="*/ 302416 h 1934496"/>
              <a:gd name="connsiteX3109" fmla="*/ 2303666 w 9922465"/>
              <a:gd name="connsiteY3109" fmla="*/ 247225 h 1934496"/>
              <a:gd name="connsiteX3110" fmla="*/ 2173372 w 9922465"/>
              <a:gd name="connsiteY3110" fmla="*/ 247225 h 1934496"/>
              <a:gd name="connsiteX3111" fmla="*/ 2228566 w 9922465"/>
              <a:gd name="connsiteY3111" fmla="*/ 302416 h 1934496"/>
              <a:gd name="connsiteX3112" fmla="*/ 2173372 w 9922465"/>
              <a:gd name="connsiteY3112" fmla="*/ 357607 h 1934496"/>
              <a:gd name="connsiteX3113" fmla="*/ 2118180 w 9922465"/>
              <a:gd name="connsiteY3113" fmla="*/ 302416 h 1934496"/>
              <a:gd name="connsiteX3114" fmla="*/ 2173372 w 9922465"/>
              <a:gd name="connsiteY3114" fmla="*/ 247225 h 1934496"/>
              <a:gd name="connsiteX3115" fmla="*/ 1909440 w 9922465"/>
              <a:gd name="connsiteY3115" fmla="*/ 247225 h 1934496"/>
              <a:gd name="connsiteX3116" fmla="*/ 1964634 w 9922465"/>
              <a:gd name="connsiteY3116" fmla="*/ 302416 h 1934496"/>
              <a:gd name="connsiteX3117" fmla="*/ 1909440 w 9922465"/>
              <a:gd name="connsiteY3117" fmla="*/ 357607 h 1934496"/>
              <a:gd name="connsiteX3118" fmla="*/ 1854246 w 9922465"/>
              <a:gd name="connsiteY3118" fmla="*/ 302416 h 1934496"/>
              <a:gd name="connsiteX3119" fmla="*/ 1909440 w 9922465"/>
              <a:gd name="connsiteY3119" fmla="*/ 247225 h 1934496"/>
              <a:gd name="connsiteX3120" fmla="*/ 1779142 w 9922465"/>
              <a:gd name="connsiteY3120" fmla="*/ 247225 h 1934496"/>
              <a:gd name="connsiteX3121" fmla="*/ 1834337 w 9922465"/>
              <a:gd name="connsiteY3121" fmla="*/ 302416 h 1934496"/>
              <a:gd name="connsiteX3122" fmla="*/ 1779142 w 9922465"/>
              <a:gd name="connsiteY3122" fmla="*/ 357607 h 1934496"/>
              <a:gd name="connsiteX3123" fmla="*/ 1723951 w 9922465"/>
              <a:gd name="connsiteY3123" fmla="*/ 302416 h 1934496"/>
              <a:gd name="connsiteX3124" fmla="*/ 1779142 w 9922465"/>
              <a:gd name="connsiteY3124" fmla="*/ 247225 h 1934496"/>
              <a:gd name="connsiteX3125" fmla="*/ 1645508 w 9922465"/>
              <a:gd name="connsiteY3125" fmla="*/ 247225 h 1934496"/>
              <a:gd name="connsiteX3126" fmla="*/ 1700702 w 9922465"/>
              <a:gd name="connsiteY3126" fmla="*/ 302416 h 1934496"/>
              <a:gd name="connsiteX3127" fmla="*/ 1645508 w 9922465"/>
              <a:gd name="connsiteY3127" fmla="*/ 357607 h 1934496"/>
              <a:gd name="connsiteX3128" fmla="*/ 1590313 w 9922465"/>
              <a:gd name="connsiteY3128" fmla="*/ 302416 h 1934496"/>
              <a:gd name="connsiteX3129" fmla="*/ 1645508 w 9922465"/>
              <a:gd name="connsiteY3129" fmla="*/ 247225 h 1934496"/>
              <a:gd name="connsiteX3130" fmla="*/ 1515217 w 9922465"/>
              <a:gd name="connsiteY3130" fmla="*/ 247225 h 1934496"/>
              <a:gd name="connsiteX3131" fmla="*/ 1570405 w 9922465"/>
              <a:gd name="connsiteY3131" fmla="*/ 302416 h 1934496"/>
              <a:gd name="connsiteX3132" fmla="*/ 1515217 w 9922465"/>
              <a:gd name="connsiteY3132" fmla="*/ 357607 h 1934496"/>
              <a:gd name="connsiteX3133" fmla="*/ 1460020 w 9922465"/>
              <a:gd name="connsiteY3133" fmla="*/ 302416 h 1934496"/>
              <a:gd name="connsiteX3134" fmla="*/ 1515217 w 9922465"/>
              <a:gd name="connsiteY3134" fmla="*/ 247225 h 1934496"/>
              <a:gd name="connsiteX3135" fmla="*/ 1381573 w 9922465"/>
              <a:gd name="connsiteY3135" fmla="*/ 247225 h 1934496"/>
              <a:gd name="connsiteX3136" fmla="*/ 1436767 w 9922465"/>
              <a:gd name="connsiteY3136" fmla="*/ 302416 h 1934496"/>
              <a:gd name="connsiteX3137" fmla="*/ 1381573 w 9922465"/>
              <a:gd name="connsiteY3137" fmla="*/ 357607 h 1934496"/>
              <a:gd name="connsiteX3138" fmla="*/ 1326384 w 9922465"/>
              <a:gd name="connsiteY3138" fmla="*/ 302416 h 1934496"/>
              <a:gd name="connsiteX3139" fmla="*/ 1381573 w 9922465"/>
              <a:gd name="connsiteY3139" fmla="*/ 247225 h 1934496"/>
              <a:gd name="connsiteX3140" fmla="*/ 7481898 w 9922465"/>
              <a:gd name="connsiteY3140" fmla="*/ 120271 h 1934496"/>
              <a:gd name="connsiteX3141" fmla="*/ 7537090 w 9922465"/>
              <a:gd name="connsiteY3141" fmla="*/ 175462 h 1934496"/>
              <a:gd name="connsiteX3142" fmla="*/ 7481898 w 9922465"/>
              <a:gd name="connsiteY3142" fmla="*/ 230653 h 1934496"/>
              <a:gd name="connsiteX3143" fmla="*/ 7426706 w 9922465"/>
              <a:gd name="connsiteY3143" fmla="*/ 175462 h 1934496"/>
              <a:gd name="connsiteX3144" fmla="*/ 7481898 w 9922465"/>
              <a:gd name="connsiteY3144" fmla="*/ 120271 h 1934496"/>
              <a:gd name="connsiteX3145" fmla="*/ 7341580 w 9922465"/>
              <a:gd name="connsiteY3145" fmla="*/ 120271 h 1934496"/>
              <a:gd name="connsiteX3146" fmla="*/ 7396772 w 9922465"/>
              <a:gd name="connsiteY3146" fmla="*/ 175462 h 1934496"/>
              <a:gd name="connsiteX3147" fmla="*/ 7341580 w 9922465"/>
              <a:gd name="connsiteY3147" fmla="*/ 230653 h 1934496"/>
              <a:gd name="connsiteX3148" fmla="*/ 7286388 w 9922465"/>
              <a:gd name="connsiteY3148" fmla="*/ 175462 h 1934496"/>
              <a:gd name="connsiteX3149" fmla="*/ 7341580 w 9922465"/>
              <a:gd name="connsiteY3149" fmla="*/ 120271 h 1934496"/>
              <a:gd name="connsiteX3150" fmla="*/ 7211288 w 9922465"/>
              <a:gd name="connsiteY3150" fmla="*/ 120271 h 1934496"/>
              <a:gd name="connsiteX3151" fmla="*/ 7266480 w 9922465"/>
              <a:gd name="connsiteY3151" fmla="*/ 175462 h 1934496"/>
              <a:gd name="connsiteX3152" fmla="*/ 7211288 w 9922465"/>
              <a:gd name="connsiteY3152" fmla="*/ 230653 h 1934496"/>
              <a:gd name="connsiteX3153" fmla="*/ 7156096 w 9922465"/>
              <a:gd name="connsiteY3153" fmla="*/ 175462 h 1934496"/>
              <a:gd name="connsiteX3154" fmla="*/ 7211288 w 9922465"/>
              <a:gd name="connsiteY3154" fmla="*/ 120271 h 1934496"/>
              <a:gd name="connsiteX3155" fmla="*/ 5223474 w 9922465"/>
              <a:gd name="connsiteY3155" fmla="*/ 120271 h 1934496"/>
              <a:gd name="connsiteX3156" fmla="*/ 5278666 w 9922465"/>
              <a:gd name="connsiteY3156" fmla="*/ 175462 h 1934496"/>
              <a:gd name="connsiteX3157" fmla="*/ 5223474 w 9922465"/>
              <a:gd name="connsiteY3157" fmla="*/ 230653 h 1934496"/>
              <a:gd name="connsiteX3158" fmla="*/ 5168282 w 9922465"/>
              <a:gd name="connsiteY3158" fmla="*/ 175462 h 1934496"/>
              <a:gd name="connsiteX3159" fmla="*/ 5223474 w 9922465"/>
              <a:gd name="connsiteY3159" fmla="*/ 120271 h 1934496"/>
              <a:gd name="connsiteX3160" fmla="*/ 5093178 w 9922465"/>
              <a:gd name="connsiteY3160" fmla="*/ 120271 h 1934496"/>
              <a:gd name="connsiteX3161" fmla="*/ 5148370 w 9922465"/>
              <a:gd name="connsiteY3161" fmla="*/ 175462 h 1934496"/>
              <a:gd name="connsiteX3162" fmla="*/ 5093178 w 9922465"/>
              <a:gd name="connsiteY3162" fmla="*/ 230653 h 1934496"/>
              <a:gd name="connsiteX3163" fmla="*/ 5037986 w 9922465"/>
              <a:gd name="connsiteY3163" fmla="*/ 175462 h 1934496"/>
              <a:gd name="connsiteX3164" fmla="*/ 5093178 w 9922465"/>
              <a:gd name="connsiteY3164" fmla="*/ 120271 h 1934496"/>
              <a:gd name="connsiteX3165" fmla="*/ 4161077 w 9922465"/>
              <a:gd name="connsiteY3165" fmla="*/ 120271 h 1934496"/>
              <a:gd name="connsiteX3166" fmla="*/ 4216269 w 9922465"/>
              <a:gd name="connsiteY3166" fmla="*/ 175462 h 1934496"/>
              <a:gd name="connsiteX3167" fmla="*/ 4161077 w 9922465"/>
              <a:gd name="connsiteY3167" fmla="*/ 230653 h 1934496"/>
              <a:gd name="connsiteX3168" fmla="*/ 4105885 w 9922465"/>
              <a:gd name="connsiteY3168" fmla="*/ 175462 h 1934496"/>
              <a:gd name="connsiteX3169" fmla="*/ 4161077 w 9922465"/>
              <a:gd name="connsiteY3169" fmla="*/ 120271 h 1934496"/>
              <a:gd name="connsiteX3170" fmla="*/ 4030786 w 9922465"/>
              <a:gd name="connsiteY3170" fmla="*/ 120271 h 1934496"/>
              <a:gd name="connsiteX3171" fmla="*/ 4085978 w 9922465"/>
              <a:gd name="connsiteY3171" fmla="*/ 175462 h 1934496"/>
              <a:gd name="connsiteX3172" fmla="*/ 4030786 w 9922465"/>
              <a:gd name="connsiteY3172" fmla="*/ 230653 h 1934496"/>
              <a:gd name="connsiteX3173" fmla="*/ 3975594 w 9922465"/>
              <a:gd name="connsiteY3173" fmla="*/ 175462 h 1934496"/>
              <a:gd name="connsiteX3174" fmla="*/ 4030786 w 9922465"/>
              <a:gd name="connsiteY3174" fmla="*/ 120271 h 1934496"/>
              <a:gd name="connsiteX3175" fmla="*/ 3897148 w 9922465"/>
              <a:gd name="connsiteY3175" fmla="*/ 120271 h 1934496"/>
              <a:gd name="connsiteX3176" fmla="*/ 3952340 w 9922465"/>
              <a:gd name="connsiteY3176" fmla="*/ 175462 h 1934496"/>
              <a:gd name="connsiteX3177" fmla="*/ 3897148 w 9922465"/>
              <a:gd name="connsiteY3177" fmla="*/ 230653 h 1934496"/>
              <a:gd name="connsiteX3178" fmla="*/ 3841956 w 9922465"/>
              <a:gd name="connsiteY3178" fmla="*/ 175462 h 1934496"/>
              <a:gd name="connsiteX3179" fmla="*/ 3897148 w 9922465"/>
              <a:gd name="connsiteY3179" fmla="*/ 120271 h 1934496"/>
              <a:gd name="connsiteX3180" fmla="*/ 3763514 w 9922465"/>
              <a:gd name="connsiteY3180" fmla="*/ 120271 h 1934496"/>
              <a:gd name="connsiteX3181" fmla="*/ 3818706 w 9922465"/>
              <a:gd name="connsiteY3181" fmla="*/ 175462 h 1934496"/>
              <a:gd name="connsiteX3182" fmla="*/ 3763514 w 9922465"/>
              <a:gd name="connsiteY3182" fmla="*/ 230653 h 1934496"/>
              <a:gd name="connsiteX3183" fmla="*/ 3708322 w 9922465"/>
              <a:gd name="connsiteY3183" fmla="*/ 175462 h 1934496"/>
              <a:gd name="connsiteX3184" fmla="*/ 3763514 w 9922465"/>
              <a:gd name="connsiteY3184" fmla="*/ 120271 h 1934496"/>
              <a:gd name="connsiteX3185" fmla="*/ 3633221 w 9922465"/>
              <a:gd name="connsiteY3185" fmla="*/ 120271 h 1934496"/>
              <a:gd name="connsiteX3186" fmla="*/ 3688413 w 9922465"/>
              <a:gd name="connsiteY3186" fmla="*/ 175462 h 1934496"/>
              <a:gd name="connsiteX3187" fmla="*/ 3633221 w 9922465"/>
              <a:gd name="connsiteY3187" fmla="*/ 230653 h 1934496"/>
              <a:gd name="connsiteX3188" fmla="*/ 3578029 w 9922465"/>
              <a:gd name="connsiteY3188" fmla="*/ 175462 h 1934496"/>
              <a:gd name="connsiteX3189" fmla="*/ 3633221 w 9922465"/>
              <a:gd name="connsiteY3189" fmla="*/ 120271 h 1934496"/>
              <a:gd name="connsiteX3190" fmla="*/ 3499589 w 9922465"/>
              <a:gd name="connsiteY3190" fmla="*/ 120271 h 1934496"/>
              <a:gd name="connsiteX3191" fmla="*/ 3554781 w 9922465"/>
              <a:gd name="connsiteY3191" fmla="*/ 175462 h 1934496"/>
              <a:gd name="connsiteX3192" fmla="*/ 3499589 w 9922465"/>
              <a:gd name="connsiteY3192" fmla="*/ 230653 h 1934496"/>
              <a:gd name="connsiteX3193" fmla="*/ 3444397 w 9922465"/>
              <a:gd name="connsiteY3193" fmla="*/ 175462 h 1934496"/>
              <a:gd name="connsiteX3194" fmla="*/ 3499589 w 9922465"/>
              <a:gd name="connsiteY3194" fmla="*/ 120271 h 1934496"/>
              <a:gd name="connsiteX3195" fmla="*/ 3369293 w 9922465"/>
              <a:gd name="connsiteY3195" fmla="*/ 120271 h 1934496"/>
              <a:gd name="connsiteX3196" fmla="*/ 3424485 w 9922465"/>
              <a:gd name="connsiteY3196" fmla="*/ 175462 h 1934496"/>
              <a:gd name="connsiteX3197" fmla="*/ 3369293 w 9922465"/>
              <a:gd name="connsiteY3197" fmla="*/ 230653 h 1934496"/>
              <a:gd name="connsiteX3198" fmla="*/ 3314101 w 9922465"/>
              <a:gd name="connsiteY3198" fmla="*/ 175462 h 1934496"/>
              <a:gd name="connsiteX3199" fmla="*/ 3369293 w 9922465"/>
              <a:gd name="connsiteY3199" fmla="*/ 120271 h 1934496"/>
              <a:gd name="connsiteX3200" fmla="*/ 3235657 w 9922465"/>
              <a:gd name="connsiteY3200" fmla="*/ 120271 h 1934496"/>
              <a:gd name="connsiteX3201" fmla="*/ 3290849 w 9922465"/>
              <a:gd name="connsiteY3201" fmla="*/ 175462 h 1934496"/>
              <a:gd name="connsiteX3202" fmla="*/ 3235657 w 9922465"/>
              <a:gd name="connsiteY3202" fmla="*/ 230653 h 1934496"/>
              <a:gd name="connsiteX3203" fmla="*/ 3180465 w 9922465"/>
              <a:gd name="connsiteY3203" fmla="*/ 175462 h 1934496"/>
              <a:gd name="connsiteX3204" fmla="*/ 3235657 w 9922465"/>
              <a:gd name="connsiteY3204" fmla="*/ 120271 h 1934496"/>
              <a:gd name="connsiteX3205" fmla="*/ 3098682 w 9922465"/>
              <a:gd name="connsiteY3205" fmla="*/ 120271 h 1934496"/>
              <a:gd name="connsiteX3206" fmla="*/ 3153874 w 9922465"/>
              <a:gd name="connsiteY3206" fmla="*/ 175462 h 1934496"/>
              <a:gd name="connsiteX3207" fmla="*/ 3098682 w 9922465"/>
              <a:gd name="connsiteY3207" fmla="*/ 230653 h 1934496"/>
              <a:gd name="connsiteX3208" fmla="*/ 3043490 w 9922465"/>
              <a:gd name="connsiteY3208" fmla="*/ 175462 h 1934496"/>
              <a:gd name="connsiteX3209" fmla="*/ 3098682 w 9922465"/>
              <a:gd name="connsiteY3209" fmla="*/ 120271 h 1934496"/>
              <a:gd name="connsiteX3210" fmla="*/ 2971729 w 9922465"/>
              <a:gd name="connsiteY3210" fmla="*/ 120271 h 1934496"/>
              <a:gd name="connsiteX3211" fmla="*/ 3026921 w 9922465"/>
              <a:gd name="connsiteY3211" fmla="*/ 175462 h 1934496"/>
              <a:gd name="connsiteX3212" fmla="*/ 2971729 w 9922465"/>
              <a:gd name="connsiteY3212" fmla="*/ 230653 h 1934496"/>
              <a:gd name="connsiteX3213" fmla="*/ 2916537 w 9922465"/>
              <a:gd name="connsiteY3213" fmla="*/ 175462 h 1934496"/>
              <a:gd name="connsiteX3214" fmla="*/ 2971729 w 9922465"/>
              <a:gd name="connsiteY3214" fmla="*/ 120271 h 1934496"/>
              <a:gd name="connsiteX3215" fmla="*/ 2707903 w 9922465"/>
              <a:gd name="connsiteY3215" fmla="*/ 120271 h 1934496"/>
              <a:gd name="connsiteX3216" fmla="*/ 2763100 w 9922465"/>
              <a:gd name="connsiteY3216" fmla="*/ 175462 h 1934496"/>
              <a:gd name="connsiteX3217" fmla="*/ 2707903 w 9922465"/>
              <a:gd name="connsiteY3217" fmla="*/ 230653 h 1934496"/>
              <a:gd name="connsiteX3218" fmla="*/ 2652715 w 9922465"/>
              <a:gd name="connsiteY3218" fmla="*/ 175462 h 1934496"/>
              <a:gd name="connsiteX3219" fmla="*/ 2707903 w 9922465"/>
              <a:gd name="connsiteY3219" fmla="*/ 120271 h 1934496"/>
              <a:gd name="connsiteX3220" fmla="*/ 2570933 w 9922465"/>
              <a:gd name="connsiteY3220" fmla="*/ 120271 h 1934496"/>
              <a:gd name="connsiteX3221" fmla="*/ 2626123 w 9922465"/>
              <a:gd name="connsiteY3221" fmla="*/ 175462 h 1934496"/>
              <a:gd name="connsiteX3222" fmla="*/ 2570933 w 9922465"/>
              <a:gd name="connsiteY3222" fmla="*/ 230653 h 1934496"/>
              <a:gd name="connsiteX3223" fmla="*/ 2515738 w 9922465"/>
              <a:gd name="connsiteY3223" fmla="*/ 175462 h 1934496"/>
              <a:gd name="connsiteX3224" fmla="*/ 2570933 w 9922465"/>
              <a:gd name="connsiteY3224" fmla="*/ 120271 h 1934496"/>
              <a:gd name="connsiteX3225" fmla="*/ 2437297 w 9922465"/>
              <a:gd name="connsiteY3225" fmla="*/ 120271 h 1934496"/>
              <a:gd name="connsiteX3226" fmla="*/ 2492487 w 9922465"/>
              <a:gd name="connsiteY3226" fmla="*/ 175462 h 1934496"/>
              <a:gd name="connsiteX3227" fmla="*/ 2437297 w 9922465"/>
              <a:gd name="connsiteY3227" fmla="*/ 230653 h 1934496"/>
              <a:gd name="connsiteX3228" fmla="*/ 2382108 w 9922465"/>
              <a:gd name="connsiteY3228" fmla="*/ 175462 h 1934496"/>
              <a:gd name="connsiteX3229" fmla="*/ 2437297 w 9922465"/>
              <a:gd name="connsiteY3229" fmla="*/ 120271 h 1934496"/>
              <a:gd name="connsiteX3230" fmla="*/ 2303666 w 9922465"/>
              <a:gd name="connsiteY3230" fmla="*/ 120271 h 1934496"/>
              <a:gd name="connsiteX3231" fmla="*/ 2358856 w 9922465"/>
              <a:gd name="connsiteY3231" fmla="*/ 175462 h 1934496"/>
              <a:gd name="connsiteX3232" fmla="*/ 2303666 w 9922465"/>
              <a:gd name="connsiteY3232" fmla="*/ 230653 h 1934496"/>
              <a:gd name="connsiteX3233" fmla="*/ 2248473 w 9922465"/>
              <a:gd name="connsiteY3233" fmla="*/ 175462 h 1934496"/>
              <a:gd name="connsiteX3234" fmla="*/ 2303666 w 9922465"/>
              <a:gd name="connsiteY3234" fmla="*/ 120271 h 1934496"/>
              <a:gd name="connsiteX3235" fmla="*/ 2173372 w 9922465"/>
              <a:gd name="connsiteY3235" fmla="*/ 120271 h 1934496"/>
              <a:gd name="connsiteX3236" fmla="*/ 2228566 w 9922465"/>
              <a:gd name="connsiteY3236" fmla="*/ 175462 h 1934496"/>
              <a:gd name="connsiteX3237" fmla="*/ 2173372 w 9922465"/>
              <a:gd name="connsiteY3237" fmla="*/ 230653 h 1934496"/>
              <a:gd name="connsiteX3238" fmla="*/ 2118180 w 9922465"/>
              <a:gd name="connsiteY3238" fmla="*/ 175462 h 1934496"/>
              <a:gd name="connsiteX3239" fmla="*/ 2173372 w 9922465"/>
              <a:gd name="connsiteY3239" fmla="*/ 120271 h 1934496"/>
              <a:gd name="connsiteX3240" fmla="*/ 7341580 w 9922465"/>
              <a:gd name="connsiteY3240" fmla="*/ 0 h 1934496"/>
              <a:gd name="connsiteX3241" fmla="*/ 7396772 w 9922465"/>
              <a:gd name="connsiteY3241" fmla="*/ 55191 h 1934496"/>
              <a:gd name="connsiteX3242" fmla="*/ 7341580 w 9922465"/>
              <a:gd name="connsiteY3242" fmla="*/ 110382 h 1934496"/>
              <a:gd name="connsiteX3243" fmla="*/ 7286388 w 9922465"/>
              <a:gd name="connsiteY3243" fmla="*/ 55191 h 1934496"/>
              <a:gd name="connsiteX3244" fmla="*/ 7341580 w 9922465"/>
              <a:gd name="connsiteY3244" fmla="*/ 0 h 1934496"/>
              <a:gd name="connsiteX3245" fmla="*/ 4294713 w 9922465"/>
              <a:gd name="connsiteY3245" fmla="*/ 0 h 1934496"/>
              <a:gd name="connsiteX3246" fmla="*/ 4349905 w 9922465"/>
              <a:gd name="connsiteY3246" fmla="*/ 55191 h 1934496"/>
              <a:gd name="connsiteX3247" fmla="*/ 4294713 w 9922465"/>
              <a:gd name="connsiteY3247" fmla="*/ 110382 h 1934496"/>
              <a:gd name="connsiteX3248" fmla="*/ 4239521 w 9922465"/>
              <a:gd name="connsiteY3248" fmla="*/ 55191 h 1934496"/>
              <a:gd name="connsiteX3249" fmla="*/ 4294713 w 9922465"/>
              <a:gd name="connsiteY3249" fmla="*/ 0 h 1934496"/>
              <a:gd name="connsiteX3250" fmla="*/ 4161077 w 9922465"/>
              <a:gd name="connsiteY3250" fmla="*/ 0 h 1934496"/>
              <a:gd name="connsiteX3251" fmla="*/ 4216269 w 9922465"/>
              <a:gd name="connsiteY3251" fmla="*/ 55191 h 1934496"/>
              <a:gd name="connsiteX3252" fmla="*/ 4161077 w 9922465"/>
              <a:gd name="connsiteY3252" fmla="*/ 110382 h 1934496"/>
              <a:gd name="connsiteX3253" fmla="*/ 4105885 w 9922465"/>
              <a:gd name="connsiteY3253" fmla="*/ 55191 h 1934496"/>
              <a:gd name="connsiteX3254" fmla="*/ 4161077 w 9922465"/>
              <a:gd name="connsiteY3254" fmla="*/ 0 h 1934496"/>
              <a:gd name="connsiteX3255" fmla="*/ 4030786 w 9922465"/>
              <a:gd name="connsiteY3255" fmla="*/ 0 h 1934496"/>
              <a:gd name="connsiteX3256" fmla="*/ 4085978 w 9922465"/>
              <a:gd name="connsiteY3256" fmla="*/ 55191 h 1934496"/>
              <a:gd name="connsiteX3257" fmla="*/ 4030786 w 9922465"/>
              <a:gd name="connsiteY3257" fmla="*/ 110382 h 1934496"/>
              <a:gd name="connsiteX3258" fmla="*/ 3975594 w 9922465"/>
              <a:gd name="connsiteY3258" fmla="*/ 55191 h 1934496"/>
              <a:gd name="connsiteX3259" fmla="*/ 4030786 w 9922465"/>
              <a:gd name="connsiteY3259" fmla="*/ 0 h 1934496"/>
              <a:gd name="connsiteX3260" fmla="*/ 3897148 w 9922465"/>
              <a:gd name="connsiteY3260" fmla="*/ 0 h 1934496"/>
              <a:gd name="connsiteX3261" fmla="*/ 3952340 w 9922465"/>
              <a:gd name="connsiteY3261" fmla="*/ 55191 h 1934496"/>
              <a:gd name="connsiteX3262" fmla="*/ 3897148 w 9922465"/>
              <a:gd name="connsiteY3262" fmla="*/ 110382 h 1934496"/>
              <a:gd name="connsiteX3263" fmla="*/ 3841956 w 9922465"/>
              <a:gd name="connsiteY3263" fmla="*/ 55191 h 1934496"/>
              <a:gd name="connsiteX3264" fmla="*/ 3897148 w 9922465"/>
              <a:gd name="connsiteY3264" fmla="*/ 0 h 1934496"/>
              <a:gd name="connsiteX3265" fmla="*/ 3763514 w 9922465"/>
              <a:gd name="connsiteY3265" fmla="*/ 0 h 1934496"/>
              <a:gd name="connsiteX3266" fmla="*/ 3818706 w 9922465"/>
              <a:gd name="connsiteY3266" fmla="*/ 55191 h 1934496"/>
              <a:gd name="connsiteX3267" fmla="*/ 3763514 w 9922465"/>
              <a:gd name="connsiteY3267" fmla="*/ 110382 h 1934496"/>
              <a:gd name="connsiteX3268" fmla="*/ 3708322 w 9922465"/>
              <a:gd name="connsiteY3268" fmla="*/ 55191 h 1934496"/>
              <a:gd name="connsiteX3269" fmla="*/ 3763514 w 9922465"/>
              <a:gd name="connsiteY3269" fmla="*/ 0 h 1934496"/>
              <a:gd name="connsiteX3270" fmla="*/ 3633221 w 9922465"/>
              <a:gd name="connsiteY3270" fmla="*/ 0 h 1934496"/>
              <a:gd name="connsiteX3271" fmla="*/ 3688413 w 9922465"/>
              <a:gd name="connsiteY3271" fmla="*/ 55191 h 1934496"/>
              <a:gd name="connsiteX3272" fmla="*/ 3633221 w 9922465"/>
              <a:gd name="connsiteY3272" fmla="*/ 110382 h 1934496"/>
              <a:gd name="connsiteX3273" fmla="*/ 3578029 w 9922465"/>
              <a:gd name="connsiteY3273" fmla="*/ 55191 h 1934496"/>
              <a:gd name="connsiteX3274" fmla="*/ 3633221 w 9922465"/>
              <a:gd name="connsiteY3274" fmla="*/ 0 h 1934496"/>
              <a:gd name="connsiteX3275" fmla="*/ 3499589 w 9922465"/>
              <a:gd name="connsiteY3275" fmla="*/ 0 h 1934496"/>
              <a:gd name="connsiteX3276" fmla="*/ 3554781 w 9922465"/>
              <a:gd name="connsiteY3276" fmla="*/ 55191 h 1934496"/>
              <a:gd name="connsiteX3277" fmla="*/ 3499589 w 9922465"/>
              <a:gd name="connsiteY3277" fmla="*/ 110382 h 1934496"/>
              <a:gd name="connsiteX3278" fmla="*/ 3444397 w 9922465"/>
              <a:gd name="connsiteY3278" fmla="*/ 55191 h 1934496"/>
              <a:gd name="connsiteX3279" fmla="*/ 3499589 w 9922465"/>
              <a:gd name="connsiteY3279" fmla="*/ 0 h 1934496"/>
              <a:gd name="connsiteX3280" fmla="*/ 3369293 w 9922465"/>
              <a:gd name="connsiteY3280" fmla="*/ 0 h 1934496"/>
              <a:gd name="connsiteX3281" fmla="*/ 3424485 w 9922465"/>
              <a:gd name="connsiteY3281" fmla="*/ 55191 h 1934496"/>
              <a:gd name="connsiteX3282" fmla="*/ 3369293 w 9922465"/>
              <a:gd name="connsiteY3282" fmla="*/ 110382 h 1934496"/>
              <a:gd name="connsiteX3283" fmla="*/ 3314101 w 9922465"/>
              <a:gd name="connsiteY3283" fmla="*/ 55191 h 1934496"/>
              <a:gd name="connsiteX3284" fmla="*/ 3369293 w 9922465"/>
              <a:gd name="connsiteY3284" fmla="*/ 0 h 1934496"/>
              <a:gd name="connsiteX3285" fmla="*/ 3235657 w 9922465"/>
              <a:gd name="connsiteY3285" fmla="*/ 0 h 1934496"/>
              <a:gd name="connsiteX3286" fmla="*/ 3290849 w 9922465"/>
              <a:gd name="connsiteY3286" fmla="*/ 55191 h 1934496"/>
              <a:gd name="connsiteX3287" fmla="*/ 3235657 w 9922465"/>
              <a:gd name="connsiteY3287" fmla="*/ 110382 h 1934496"/>
              <a:gd name="connsiteX3288" fmla="*/ 3180465 w 9922465"/>
              <a:gd name="connsiteY3288" fmla="*/ 55191 h 1934496"/>
              <a:gd name="connsiteX3289" fmla="*/ 3235657 w 9922465"/>
              <a:gd name="connsiteY3289" fmla="*/ 0 h 1934496"/>
              <a:gd name="connsiteX3290" fmla="*/ 2834862 w 9922465"/>
              <a:gd name="connsiteY3290" fmla="*/ 0 h 1934496"/>
              <a:gd name="connsiteX3291" fmla="*/ 2890052 w 9922465"/>
              <a:gd name="connsiteY3291" fmla="*/ 55191 h 1934496"/>
              <a:gd name="connsiteX3292" fmla="*/ 2834862 w 9922465"/>
              <a:gd name="connsiteY3292" fmla="*/ 110382 h 1934496"/>
              <a:gd name="connsiteX3293" fmla="*/ 2779671 w 9922465"/>
              <a:gd name="connsiteY3293" fmla="*/ 55191 h 1934496"/>
              <a:gd name="connsiteX3294" fmla="*/ 2834862 w 9922465"/>
              <a:gd name="connsiteY3294" fmla="*/ 0 h 1934496"/>
              <a:gd name="connsiteX3295" fmla="*/ 2707903 w 9922465"/>
              <a:gd name="connsiteY3295" fmla="*/ 0 h 1934496"/>
              <a:gd name="connsiteX3296" fmla="*/ 2763100 w 9922465"/>
              <a:gd name="connsiteY3296" fmla="*/ 55191 h 1934496"/>
              <a:gd name="connsiteX3297" fmla="*/ 2707903 w 9922465"/>
              <a:gd name="connsiteY3297" fmla="*/ 110382 h 1934496"/>
              <a:gd name="connsiteX3298" fmla="*/ 2652715 w 9922465"/>
              <a:gd name="connsiteY3298" fmla="*/ 55191 h 1934496"/>
              <a:gd name="connsiteX3299" fmla="*/ 2707903 w 9922465"/>
              <a:gd name="connsiteY3299" fmla="*/ 0 h 1934496"/>
              <a:gd name="connsiteX3300" fmla="*/ 2570933 w 9922465"/>
              <a:gd name="connsiteY3300" fmla="*/ 0 h 1934496"/>
              <a:gd name="connsiteX3301" fmla="*/ 2626123 w 9922465"/>
              <a:gd name="connsiteY3301" fmla="*/ 55191 h 1934496"/>
              <a:gd name="connsiteX3302" fmla="*/ 2570933 w 9922465"/>
              <a:gd name="connsiteY3302" fmla="*/ 110382 h 1934496"/>
              <a:gd name="connsiteX3303" fmla="*/ 2515738 w 9922465"/>
              <a:gd name="connsiteY3303" fmla="*/ 55191 h 1934496"/>
              <a:gd name="connsiteX3304" fmla="*/ 2570933 w 9922465"/>
              <a:gd name="connsiteY3304" fmla="*/ 0 h 1934496"/>
              <a:gd name="connsiteX3305" fmla="*/ 2437297 w 9922465"/>
              <a:gd name="connsiteY3305" fmla="*/ 0 h 1934496"/>
              <a:gd name="connsiteX3306" fmla="*/ 2492487 w 9922465"/>
              <a:gd name="connsiteY3306" fmla="*/ 55191 h 1934496"/>
              <a:gd name="connsiteX3307" fmla="*/ 2437297 w 9922465"/>
              <a:gd name="connsiteY3307" fmla="*/ 110382 h 1934496"/>
              <a:gd name="connsiteX3308" fmla="*/ 2382108 w 9922465"/>
              <a:gd name="connsiteY3308" fmla="*/ 55191 h 1934496"/>
              <a:gd name="connsiteX3309" fmla="*/ 2437297 w 9922465"/>
              <a:gd name="connsiteY3309" fmla="*/ 0 h 1934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Lst>
            <a:rect l="l" t="t" r="r" b="b"/>
            <a:pathLst>
              <a:path w="9922465" h="1934496">
                <a:moveTo>
                  <a:pt x="8407318" y="1824114"/>
                </a:moveTo>
                <a:cubicBezTo>
                  <a:pt x="8437800" y="1824114"/>
                  <a:pt x="8462510" y="1848824"/>
                  <a:pt x="8462510" y="1879305"/>
                </a:cubicBezTo>
                <a:cubicBezTo>
                  <a:pt x="8462510" y="1909786"/>
                  <a:pt x="8437800" y="1934496"/>
                  <a:pt x="8407318" y="1934496"/>
                </a:cubicBezTo>
                <a:cubicBezTo>
                  <a:pt x="8376836" y="1934496"/>
                  <a:pt x="8352126" y="1909786"/>
                  <a:pt x="8352126" y="1879305"/>
                </a:cubicBezTo>
                <a:cubicBezTo>
                  <a:pt x="8352126" y="1848824"/>
                  <a:pt x="8376836" y="1824114"/>
                  <a:pt x="8407318" y="1824114"/>
                </a:cubicBezTo>
                <a:close/>
                <a:moveTo>
                  <a:pt x="8273682" y="1824114"/>
                </a:moveTo>
                <a:cubicBezTo>
                  <a:pt x="8304164" y="1824114"/>
                  <a:pt x="8328874" y="1848824"/>
                  <a:pt x="8328874" y="1879305"/>
                </a:cubicBezTo>
                <a:cubicBezTo>
                  <a:pt x="8328874" y="1909786"/>
                  <a:pt x="8304164" y="1934496"/>
                  <a:pt x="8273682" y="1934496"/>
                </a:cubicBezTo>
                <a:cubicBezTo>
                  <a:pt x="8243200" y="1934496"/>
                  <a:pt x="8218490" y="1909786"/>
                  <a:pt x="8218490" y="1879305"/>
                </a:cubicBezTo>
                <a:cubicBezTo>
                  <a:pt x="8218490" y="1848824"/>
                  <a:pt x="8243200" y="1824114"/>
                  <a:pt x="8273682" y="1824114"/>
                </a:cubicBezTo>
                <a:close/>
                <a:moveTo>
                  <a:pt x="8143386" y="1824114"/>
                </a:moveTo>
                <a:cubicBezTo>
                  <a:pt x="8173868" y="1824114"/>
                  <a:pt x="8198578" y="1848824"/>
                  <a:pt x="8198578" y="1879305"/>
                </a:cubicBezTo>
                <a:cubicBezTo>
                  <a:pt x="8198578" y="1909786"/>
                  <a:pt x="8173868" y="1934496"/>
                  <a:pt x="8143386" y="1934496"/>
                </a:cubicBezTo>
                <a:cubicBezTo>
                  <a:pt x="8112904" y="1934496"/>
                  <a:pt x="8088194" y="1909786"/>
                  <a:pt x="8088194" y="1879305"/>
                </a:cubicBezTo>
                <a:cubicBezTo>
                  <a:pt x="8088194" y="1848824"/>
                  <a:pt x="8112904" y="1824114"/>
                  <a:pt x="8143386" y="1824114"/>
                </a:cubicBezTo>
                <a:close/>
                <a:moveTo>
                  <a:pt x="8009752" y="1824114"/>
                </a:moveTo>
                <a:cubicBezTo>
                  <a:pt x="8040234" y="1824114"/>
                  <a:pt x="8064944" y="1848824"/>
                  <a:pt x="8064944" y="1879305"/>
                </a:cubicBezTo>
                <a:cubicBezTo>
                  <a:pt x="8064944" y="1909786"/>
                  <a:pt x="8040234" y="1934496"/>
                  <a:pt x="8009752" y="1934496"/>
                </a:cubicBezTo>
                <a:cubicBezTo>
                  <a:pt x="7979270" y="1934496"/>
                  <a:pt x="7954560" y="1909786"/>
                  <a:pt x="7954560" y="1879305"/>
                </a:cubicBezTo>
                <a:cubicBezTo>
                  <a:pt x="7954560" y="1848824"/>
                  <a:pt x="7979270" y="1824114"/>
                  <a:pt x="8009752" y="1824114"/>
                </a:cubicBezTo>
                <a:close/>
                <a:moveTo>
                  <a:pt x="7876117" y="1824114"/>
                </a:moveTo>
                <a:cubicBezTo>
                  <a:pt x="7906599" y="1824114"/>
                  <a:pt x="7931309" y="1848824"/>
                  <a:pt x="7931309" y="1879305"/>
                </a:cubicBezTo>
                <a:cubicBezTo>
                  <a:pt x="7931309" y="1909786"/>
                  <a:pt x="7906599" y="1934496"/>
                  <a:pt x="7876117" y="1934496"/>
                </a:cubicBezTo>
                <a:cubicBezTo>
                  <a:pt x="7845635" y="1934496"/>
                  <a:pt x="7820925" y="1909786"/>
                  <a:pt x="7820925" y="1879305"/>
                </a:cubicBezTo>
                <a:cubicBezTo>
                  <a:pt x="7820925" y="1848824"/>
                  <a:pt x="7845635" y="1824114"/>
                  <a:pt x="7876117" y="1824114"/>
                </a:cubicBezTo>
                <a:close/>
                <a:moveTo>
                  <a:pt x="7745824" y="1824114"/>
                </a:moveTo>
                <a:cubicBezTo>
                  <a:pt x="7776306" y="1824114"/>
                  <a:pt x="7801016" y="1848824"/>
                  <a:pt x="7801016" y="1879305"/>
                </a:cubicBezTo>
                <a:cubicBezTo>
                  <a:pt x="7801016" y="1909786"/>
                  <a:pt x="7776306" y="1934496"/>
                  <a:pt x="7745824" y="1934496"/>
                </a:cubicBezTo>
                <a:cubicBezTo>
                  <a:pt x="7715342" y="1934496"/>
                  <a:pt x="7690632" y="1909786"/>
                  <a:pt x="7690632" y="1879305"/>
                </a:cubicBezTo>
                <a:cubicBezTo>
                  <a:pt x="7690632" y="1848824"/>
                  <a:pt x="7715342" y="1824114"/>
                  <a:pt x="7745824" y="1824114"/>
                </a:cubicBezTo>
                <a:close/>
                <a:moveTo>
                  <a:pt x="7608849" y="1824114"/>
                </a:moveTo>
                <a:cubicBezTo>
                  <a:pt x="7639331" y="1824114"/>
                  <a:pt x="7664041" y="1848824"/>
                  <a:pt x="7664041" y="1879305"/>
                </a:cubicBezTo>
                <a:cubicBezTo>
                  <a:pt x="7664041" y="1909786"/>
                  <a:pt x="7639331" y="1934496"/>
                  <a:pt x="7608849" y="1934496"/>
                </a:cubicBezTo>
                <a:cubicBezTo>
                  <a:pt x="7578367" y="1934496"/>
                  <a:pt x="7553657" y="1909786"/>
                  <a:pt x="7553657" y="1879305"/>
                </a:cubicBezTo>
                <a:cubicBezTo>
                  <a:pt x="7553657" y="1848824"/>
                  <a:pt x="7578367" y="1824114"/>
                  <a:pt x="7608849" y="1824114"/>
                </a:cubicBezTo>
                <a:close/>
                <a:moveTo>
                  <a:pt x="7481895" y="1824114"/>
                </a:moveTo>
                <a:cubicBezTo>
                  <a:pt x="7512377" y="1824114"/>
                  <a:pt x="7537087" y="1848824"/>
                  <a:pt x="7537087" y="1879305"/>
                </a:cubicBezTo>
                <a:cubicBezTo>
                  <a:pt x="7537087" y="1909786"/>
                  <a:pt x="7512377" y="1934496"/>
                  <a:pt x="7481895" y="1934496"/>
                </a:cubicBezTo>
                <a:cubicBezTo>
                  <a:pt x="7451413" y="1934496"/>
                  <a:pt x="7426703" y="1909786"/>
                  <a:pt x="7426703" y="1879305"/>
                </a:cubicBezTo>
                <a:cubicBezTo>
                  <a:pt x="7426703" y="1848824"/>
                  <a:pt x="7451413" y="1824114"/>
                  <a:pt x="7481895" y="1824114"/>
                </a:cubicBezTo>
                <a:close/>
                <a:moveTo>
                  <a:pt x="7341579" y="1824114"/>
                </a:moveTo>
                <a:cubicBezTo>
                  <a:pt x="7372061" y="1824114"/>
                  <a:pt x="7396771" y="1848824"/>
                  <a:pt x="7396771" y="1879305"/>
                </a:cubicBezTo>
                <a:cubicBezTo>
                  <a:pt x="7396771" y="1909786"/>
                  <a:pt x="7372061" y="1934496"/>
                  <a:pt x="7341579" y="1934496"/>
                </a:cubicBezTo>
                <a:cubicBezTo>
                  <a:pt x="7311097" y="1934496"/>
                  <a:pt x="7286387" y="1909786"/>
                  <a:pt x="7286387" y="1879305"/>
                </a:cubicBezTo>
                <a:cubicBezTo>
                  <a:pt x="7286387" y="1848824"/>
                  <a:pt x="7311097" y="1824114"/>
                  <a:pt x="7341579" y="1824114"/>
                </a:cubicBezTo>
                <a:close/>
                <a:moveTo>
                  <a:pt x="7211286" y="1824114"/>
                </a:moveTo>
                <a:cubicBezTo>
                  <a:pt x="7241768" y="1824114"/>
                  <a:pt x="7266478" y="1848824"/>
                  <a:pt x="7266478" y="1879305"/>
                </a:cubicBezTo>
                <a:cubicBezTo>
                  <a:pt x="7266478" y="1909786"/>
                  <a:pt x="7241768" y="1934496"/>
                  <a:pt x="7211286" y="1934496"/>
                </a:cubicBezTo>
                <a:cubicBezTo>
                  <a:pt x="7180804" y="1934496"/>
                  <a:pt x="7156094" y="1909786"/>
                  <a:pt x="7156094" y="1879305"/>
                </a:cubicBezTo>
                <a:cubicBezTo>
                  <a:pt x="7156094" y="1848824"/>
                  <a:pt x="7180804" y="1824114"/>
                  <a:pt x="7211286" y="1824114"/>
                </a:cubicBezTo>
                <a:close/>
                <a:moveTo>
                  <a:pt x="7080993" y="1824114"/>
                </a:moveTo>
                <a:cubicBezTo>
                  <a:pt x="7111475" y="1824114"/>
                  <a:pt x="7136185" y="1848824"/>
                  <a:pt x="7136185" y="1879305"/>
                </a:cubicBezTo>
                <a:cubicBezTo>
                  <a:pt x="7136185" y="1909786"/>
                  <a:pt x="7111475" y="1934496"/>
                  <a:pt x="7080993" y="1934496"/>
                </a:cubicBezTo>
                <a:cubicBezTo>
                  <a:pt x="7050511" y="1934496"/>
                  <a:pt x="7025801" y="1909786"/>
                  <a:pt x="7025801" y="1879305"/>
                </a:cubicBezTo>
                <a:cubicBezTo>
                  <a:pt x="7025801" y="1848824"/>
                  <a:pt x="7050511" y="1824114"/>
                  <a:pt x="7080993" y="1824114"/>
                </a:cubicBezTo>
                <a:close/>
                <a:moveTo>
                  <a:pt x="6947357" y="1824114"/>
                </a:moveTo>
                <a:cubicBezTo>
                  <a:pt x="6977839" y="1824114"/>
                  <a:pt x="7002549" y="1848824"/>
                  <a:pt x="7002549" y="1879305"/>
                </a:cubicBezTo>
                <a:cubicBezTo>
                  <a:pt x="7002549" y="1909786"/>
                  <a:pt x="6977839" y="1934496"/>
                  <a:pt x="6947357" y="1934496"/>
                </a:cubicBezTo>
                <a:cubicBezTo>
                  <a:pt x="6916875" y="1934496"/>
                  <a:pt x="6892165" y="1909786"/>
                  <a:pt x="6892165" y="1879305"/>
                </a:cubicBezTo>
                <a:cubicBezTo>
                  <a:pt x="6892165" y="1848824"/>
                  <a:pt x="6916875" y="1824114"/>
                  <a:pt x="6947357" y="1824114"/>
                </a:cubicBezTo>
                <a:close/>
                <a:moveTo>
                  <a:pt x="6817063" y="1824114"/>
                </a:moveTo>
                <a:cubicBezTo>
                  <a:pt x="6847545" y="1824114"/>
                  <a:pt x="6872255" y="1848824"/>
                  <a:pt x="6872255" y="1879305"/>
                </a:cubicBezTo>
                <a:cubicBezTo>
                  <a:pt x="6872255" y="1909786"/>
                  <a:pt x="6847545" y="1934496"/>
                  <a:pt x="6817063" y="1934496"/>
                </a:cubicBezTo>
                <a:cubicBezTo>
                  <a:pt x="6786581" y="1934496"/>
                  <a:pt x="6761871" y="1909786"/>
                  <a:pt x="6761871" y="1879305"/>
                </a:cubicBezTo>
                <a:cubicBezTo>
                  <a:pt x="6761871" y="1848824"/>
                  <a:pt x="6786581" y="1824114"/>
                  <a:pt x="6817063" y="1824114"/>
                </a:cubicBezTo>
                <a:close/>
                <a:moveTo>
                  <a:pt x="6683431" y="1824114"/>
                </a:moveTo>
                <a:cubicBezTo>
                  <a:pt x="6713913" y="1824114"/>
                  <a:pt x="6738623" y="1848824"/>
                  <a:pt x="6738623" y="1879305"/>
                </a:cubicBezTo>
                <a:cubicBezTo>
                  <a:pt x="6738623" y="1909786"/>
                  <a:pt x="6713913" y="1934496"/>
                  <a:pt x="6683431" y="1934496"/>
                </a:cubicBezTo>
                <a:cubicBezTo>
                  <a:pt x="6652949" y="1934496"/>
                  <a:pt x="6628239" y="1909786"/>
                  <a:pt x="6628239" y="1879305"/>
                </a:cubicBezTo>
                <a:cubicBezTo>
                  <a:pt x="6628239" y="1848824"/>
                  <a:pt x="6652949" y="1824114"/>
                  <a:pt x="6683431" y="1824114"/>
                </a:cubicBezTo>
                <a:close/>
                <a:moveTo>
                  <a:pt x="6553137" y="1824114"/>
                </a:moveTo>
                <a:cubicBezTo>
                  <a:pt x="6583619" y="1824114"/>
                  <a:pt x="6608329" y="1848824"/>
                  <a:pt x="6608329" y="1879305"/>
                </a:cubicBezTo>
                <a:cubicBezTo>
                  <a:pt x="6608329" y="1909786"/>
                  <a:pt x="6583619" y="1934496"/>
                  <a:pt x="6553137" y="1934496"/>
                </a:cubicBezTo>
                <a:cubicBezTo>
                  <a:pt x="6522655" y="1934496"/>
                  <a:pt x="6497945" y="1909786"/>
                  <a:pt x="6497945" y="1879305"/>
                </a:cubicBezTo>
                <a:cubicBezTo>
                  <a:pt x="6497945" y="1848824"/>
                  <a:pt x="6522655" y="1824114"/>
                  <a:pt x="6553137" y="1824114"/>
                </a:cubicBezTo>
                <a:close/>
                <a:moveTo>
                  <a:pt x="6289207" y="1824114"/>
                </a:moveTo>
                <a:cubicBezTo>
                  <a:pt x="6319689" y="1824114"/>
                  <a:pt x="6344399" y="1848824"/>
                  <a:pt x="6344399" y="1879305"/>
                </a:cubicBezTo>
                <a:cubicBezTo>
                  <a:pt x="6344399" y="1909786"/>
                  <a:pt x="6319689" y="1934496"/>
                  <a:pt x="6289207" y="1934496"/>
                </a:cubicBezTo>
                <a:cubicBezTo>
                  <a:pt x="6258725" y="1934496"/>
                  <a:pt x="6234015" y="1909786"/>
                  <a:pt x="6234015" y="1879305"/>
                </a:cubicBezTo>
                <a:cubicBezTo>
                  <a:pt x="6234015" y="1848824"/>
                  <a:pt x="6258725" y="1824114"/>
                  <a:pt x="6289207" y="1824114"/>
                </a:cubicBezTo>
                <a:close/>
                <a:moveTo>
                  <a:pt x="6155572" y="1824114"/>
                </a:moveTo>
                <a:cubicBezTo>
                  <a:pt x="6186054" y="1824114"/>
                  <a:pt x="6210764" y="1848824"/>
                  <a:pt x="6210764" y="1879305"/>
                </a:cubicBezTo>
                <a:cubicBezTo>
                  <a:pt x="6210764" y="1909786"/>
                  <a:pt x="6186054" y="1934496"/>
                  <a:pt x="6155572" y="1934496"/>
                </a:cubicBezTo>
                <a:cubicBezTo>
                  <a:pt x="6125090" y="1934496"/>
                  <a:pt x="6100380" y="1909786"/>
                  <a:pt x="6100380" y="1879305"/>
                </a:cubicBezTo>
                <a:cubicBezTo>
                  <a:pt x="6100380" y="1848824"/>
                  <a:pt x="6125090" y="1824114"/>
                  <a:pt x="6155572" y="1824114"/>
                </a:cubicBezTo>
                <a:close/>
                <a:moveTo>
                  <a:pt x="6021938" y="1824114"/>
                </a:moveTo>
                <a:cubicBezTo>
                  <a:pt x="6052420" y="1824114"/>
                  <a:pt x="6077130" y="1848824"/>
                  <a:pt x="6077130" y="1879305"/>
                </a:cubicBezTo>
                <a:cubicBezTo>
                  <a:pt x="6077130" y="1909786"/>
                  <a:pt x="6052420" y="1934496"/>
                  <a:pt x="6021938" y="1934496"/>
                </a:cubicBezTo>
                <a:cubicBezTo>
                  <a:pt x="5991456" y="1934496"/>
                  <a:pt x="5966746" y="1909786"/>
                  <a:pt x="5966746" y="1879305"/>
                </a:cubicBezTo>
                <a:cubicBezTo>
                  <a:pt x="5966746" y="1848824"/>
                  <a:pt x="5991456" y="1824114"/>
                  <a:pt x="6021938" y="1824114"/>
                </a:cubicBezTo>
                <a:close/>
                <a:moveTo>
                  <a:pt x="5884964" y="1824114"/>
                </a:moveTo>
                <a:cubicBezTo>
                  <a:pt x="5915446" y="1824114"/>
                  <a:pt x="5940156" y="1848824"/>
                  <a:pt x="5940156" y="1879305"/>
                </a:cubicBezTo>
                <a:cubicBezTo>
                  <a:pt x="5940156" y="1909786"/>
                  <a:pt x="5915446" y="1934496"/>
                  <a:pt x="5884964" y="1934496"/>
                </a:cubicBezTo>
                <a:cubicBezTo>
                  <a:pt x="5854482" y="1934496"/>
                  <a:pt x="5829772" y="1909786"/>
                  <a:pt x="5829772" y="1879305"/>
                </a:cubicBezTo>
                <a:cubicBezTo>
                  <a:pt x="5829772" y="1848824"/>
                  <a:pt x="5854482" y="1824114"/>
                  <a:pt x="5884964" y="1824114"/>
                </a:cubicBezTo>
                <a:close/>
                <a:moveTo>
                  <a:pt x="5754670" y="1824114"/>
                </a:moveTo>
                <a:cubicBezTo>
                  <a:pt x="5785152" y="1824114"/>
                  <a:pt x="5809862" y="1848824"/>
                  <a:pt x="5809862" y="1879305"/>
                </a:cubicBezTo>
                <a:cubicBezTo>
                  <a:pt x="5809862" y="1909786"/>
                  <a:pt x="5785152" y="1934496"/>
                  <a:pt x="5754670" y="1934496"/>
                </a:cubicBezTo>
                <a:cubicBezTo>
                  <a:pt x="5724188" y="1934496"/>
                  <a:pt x="5699478" y="1909786"/>
                  <a:pt x="5699478" y="1879305"/>
                </a:cubicBezTo>
                <a:cubicBezTo>
                  <a:pt x="5699478" y="1848824"/>
                  <a:pt x="5724188" y="1824114"/>
                  <a:pt x="5754670" y="1824114"/>
                </a:cubicBezTo>
                <a:close/>
                <a:moveTo>
                  <a:pt x="5487399" y="1824114"/>
                </a:moveTo>
                <a:cubicBezTo>
                  <a:pt x="5517881" y="1824114"/>
                  <a:pt x="5542591" y="1848824"/>
                  <a:pt x="5542591" y="1879305"/>
                </a:cubicBezTo>
                <a:cubicBezTo>
                  <a:pt x="5542591" y="1909786"/>
                  <a:pt x="5517881" y="1934496"/>
                  <a:pt x="5487399" y="1934496"/>
                </a:cubicBezTo>
                <a:cubicBezTo>
                  <a:pt x="5456917" y="1934496"/>
                  <a:pt x="5432207" y="1909786"/>
                  <a:pt x="5432207" y="1879305"/>
                </a:cubicBezTo>
                <a:cubicBezTo>
                  <a:pt x="5432207" y="1848824"/>
                  <a:pt x="5456917" y="1824114"/>
                  <a:pt x="5487399" y="1824114"/>
                </a:cubicBezTo>
                <a:close/>
                <a:moveTo>
                  <a:pt x="5357105" y="1824114"/>
                </a:moveTo>
                <a:cubicBezTo>
                  <a:pt x="5387587" y="1824114"/>
                  <a:pt x="5412297" y="1848824"/>
                  <a:pt x="5412297" y="1879305"/>
                </a:cubicBezTo>
                <a:cubicBezTo>
                  <a:pt x="5412297" y="1909786"/>
                  <a:pt x="5387587" y="1934496"/>
                  <a:pt x="5357105" y="1934496"/>
                </a:cubicBezTo>
                <a:cubicBezTo>
                  <a:pt x="5326623" y="1934496"/>
                  <a:pt x="5301913" y="1909786"/>
                  <a:pt x="5301913" y="1879305"/>
                </a:cubicBezTo>
                <a:cubicBezTo>
                  <a:pt x="5301913" y="1848824"/>
                  <a:pt x="5326623" y="1824114"/>
                  <a:pt x="5357105" y="1824114"/>
                </a:cubicBezTo>
                <a:close/>
                <a:moveTo>
                  <a:pt x="5223473" y="1824114"/>
                </a:moveTo>
                <a:cubicBezTo>
                  <a:pt x="5253955" y="1824114"/>
                  <a:pt x="5278665" y="1848824"/>
                  <a:pt x="5278665" y="1879305"/>
                </a:cubicBezTo>
                <a:cubicBezTo>
                  <a:pt x="5278665" y="1909786"/>
                  <a:pt x="5253955" y="1934496"/>
                  <a:pt x="5223473" y="1934496"/>
                </a:cubicBezTo>
                <a:cubicBezTo>
                  <a:pt x="5192991" y="1934496"/>
                  <a:pt x="5168281" y="1909786"/>
                  <a:pt x="5168281" y="1879305"/>
                </a:cubicBezTo>
                <a:cubicBezTo>
                  <a:pt x="5168281" y="1848824"/>
                  <a:pt x="5192991" y="1824114"/>
                  <a:pt x="5223473" y="1824114"/>
                </a:cubicBezTo>
                <a:close/>
                <a:moveTo>
                  <a:pt x="5093178" y="1824114"/>
                </a:moveTo>
                <a:cubicBezTo>
                  <a:pt x="5123660" y="1824114"/>
                  <a:pt x="5148370" y="1848824"/>
                  <a:pt x="5148370" y="1879305"/>
                </a:cubicBezTo>
                <a:cubicBezTo>
                  <a:pt x="5148370" y="1909786"/>
                  <a:pt x="5123660" y="1934496"/>
                  <a:pt x="5093178" y="1934496"/>
                </a:cubicBezTo>
                <a:cubicBezTo>
                  <a:pt x="5062696" y="1934496"/>
                  <a:pt x="5037986" y="1909786"/>
                  <a:pt x="5037986" y="1879305"/>
                </a:cubicBezTo>
                <a:cubicBezTo>
                  <a:pt x="5037986" y="1848824"/>
                  <a:pt x="5062696" y="1824114"/>
                  <a:pt x="5093178" y="1824114"/>
                </a:cubicBezTo>
                <a:close/>
                <a:moveTo>
                  <a:pt x="4959543" y="1824114"/>
                </a:moveTo>
                <a:cubicBezTo>
                  <a:pt x="4990025" y="1824114"/>
                  <a:pt x="5014735" y="1848824"/>
                  <a:pt x="5014735" y="1879305"/>
                </a:cubicBezTo>
                <a:cubicBezTo>
                  <a:pt x="5014735" y="1909786"/>
                  <a:pt x="4990025" y="1934496"/>
                  <a:pt x="4959543" y="1934496"/>
                </a:cubicBezTo>
                <a:cubicBezTo>
                  <a:pt x="4929061" y="1934496"/>
                  <a:pt x="4904351" y="1909786"/>
                  <a:pt x="4904351" y="1879305"/>
                </a:cubicBezTo>
                <a:cubicBezTo>
                  <a:pt x="4904351" y="1848824"/>
                  <a:pt x="4929061" y="1824114"/>
                  <a:pt x="4959543" y="1824114"/>
                </a:cubicBezTo>
                <a:close/>
                <a:moveTo>
                  <a:pt x="4829250" y="1824114"/>
                </a:moveTo>
                <a:cubicBezTo>
                  <a:pt x="4859732" y="1824114"/>
                  <a:pt x="4884442" y="1848824"/>
                  <a:pt x="4884442" y="1879305"/>
                </a:cubicBezTo>
                <a:cubicBezTo>
                  <a:pt x="4884442" y="1909786"/>
                  <a:pt x="4859732" y="1934496"/>
                  <a:pt x="4829250" y="1934496"/>
                </a:cubicBezTo>
                <a:cubicBezTo>
                  <a:pt x="4798768" y="1934496"/>
                  <a:pt x="4774058" y="1909786"/>
                  <a:pt x="4774058" y="1879305"/>
                </a:cubicBezTo>
                <a:cubicBezTo>
                  <a:pt x="4774058" y="1848824"/>
                  <a:pt x="4798768" y="1824114"/>
                  <a:pt x="4829250" y="1824114"/>
                </a:cubicBezTo>
                <a:close/>
                <a:moveTo>
                  <a:pt x="4695613" y="1824114"/>
                </a:moveTo>
                <a:cubicBezTo>
                  <a:pt x="4726095" y="1824114"/>
                  <a:pt x="4750805" y="1848824"/>
                  <a:pt x="4750805" y="1879305"/>
                </a:cubicBezTo>
                <a:cubicBezTo>
                  <a:pt x="4750805" y="1909786"/>
                  <a:pt x="4726095" y="1934496"/>
                  <a:pt x="4695613" y="1934496"/>
                </a:cubicBezTo>
                <a:cubicBezTo>
                  <a:pt x="4665131" y="1934496"/>
                  <a:pt x="4640421" y="1909786"/>
                  <a:pt x="4640421" y="1879305"/>
                </a:cubicBezTo>
                <a:cubicBezTo>
                  <a:pt x="4640421" y="1848824"/>
                  <a:pt x="4665131" y="1824114"/>
                  <a:pt x="4695613" y="1824114"/>
                </a:cubicBezTo>
                <a:close/>
                <a:moveTo>
                  <a:pt x="2834762" y="1824114"/>
                </a:moveTo>
                <a:cubicBezTo>
                  <a:pt x="2865244" y="1824114"/>
                  <a:pt x="2889954" y="1848824"/>
                  <a:pt x="2889954" y="1879305"/>
                </a:cubicBezTo>
                <a:cubicBezTo>
                  <a:pt x="2889954" y="1909786"/>
                  <a:pt x="2865244" y="1934496"/>
                  <a:pt x="2834762" y="1934496"/>
                </a:cubicBezTo>
                <a:cubicBezTo>
                  <a:pt x="2804280" y="1934496"/>
                  <a:pt x="2779570" y="1909786"/>
                  <a:pt x="2779570" y="1879305"/>
                </a:cubicBezTo>
                <a:cubicBezTo>
                  <a:pt x="2779570" y="1848824"/>
                  <a:pt x="2804280" y="1824114"/>
                  <a:pt x="2834762" y="1824114"/>
                </a:cubicBezTo>
                <a:close/>
                <a:moveTo>
                  <a:pt x="2707807" y="1824114"/>
                </a:moveTo>
                <a:cubicBezTo>
                  <a:pt x="2738289" y="1824114"/>
                  <a:pt x="2762999" y="1848824"/>
                  <a:pt x="2762999" y="1879305"/>
                </a:cubicBezTo>
                <a:cubicBezTo>
                  <a:pt x="2762999" y="1909786"/>
                  <a:pt x="2738289" y="1934496"/>
                  <a:pt x="2707807" y="1934496"/>
                </a:cubicBezTo>
                <a:cubicBezTo>
                  <a:pt x="2677325" y="1934496"/>
                  <a:pt x="2652615" y="1909786"/>
                  <a:pt x="2652615" y="1879305"/>
                </a:cubicBezTo>
                <a:cubicBezTo>
                  <a:pt x="2652615" y="1848824"/>
                  <a:pt x="2677325" y="1824114"/>
                  <a:pt x="2707807" y="1824114"/>
                </a:cubicBezTo>
                <a:close/>
                <a:moveTo>
                  <a:pt x="2570834" y="1824114"/>
                </a:moveTo>
                <a:cubicBezTo>
                  <a:pt x="2601315" y="1824114"/>
                  <a:pt x="2626025" y="1848824"/>
                  <a:pt x="2626025" y="1879305"/>
                </a:cubicBezTo>
                <a:cubicBezTo>
                  <a:pt x="2626025" y="1909786"/>
                  <a:pt x="2601315" y="1934496"/>
                  <a:pt x="2570834" y="1934496"/>
                </a:cubicBezTo>
                <a:cubicBezTo>
                  <a:pt x="2540351" y="1934496"/>
                  <a:pt x="2515641" y="1909786"/>
                  <a:pt x="2515641" y="1879305"/>
                </a:cubicBezTo>
                <a:cubicBezTo>
                  <a:pt x="2515641" y="1848824"/>
                  <a:pt x="2540351" y="1824114"/>
                  <a:pt x="2570834" y="1824114"/>
                </a:cubicBezTo>
                <a:close/>
                <a:moveTo>
                  <a:pt x="2437196" y="1824114"/>
                </a:moveTo>
                <a:cubicBezTo>
                  <a:pt x="2467679" y="1824114"/>
                  <a:pt x="2492389" y="1848824"/>
                  <a:pt x="2492389" y="1879305"/>
                </a:cubicBezTo>
                <a:cubicBezTo>
                  <a:pt x="2492389" y="1909786"/>
                  <a:pt x="2467679" y="1934496"/>
                  <a:pt x="2437196" y="1934496"/>
                </a:cubicBezTo>
                <a:cubicBezTo>
                  <a:pt x="2406715" y="1934496"/>
                  <a:pt x="2382005" y="1909786"/>
                  <a:pt x="2382005" y="1879305"/>
                </a:cubicBezTo>
                <a:cubicBezTo>
                  <a:pt x="2382005" y="1848824"/>
                  <a:pt x="2406715" y="1824114"/>
                  <a:pt x="2437196" y="1824114"/>
                </a:cubicBezTo>
                <a:close/>
                <a:moveTo>
                  <a:pt x="2303564" y="1824114"/>
                </a:moveTo>
                <a:cubicBezTo>
                  <a:pt x="2334046" y="1824114"/>
                  <a:pt x="2358756" y="1848824"/>
                  <a:pt x="2358756" y="1879305"/>
                </a:cubicBezTo>
                <a:cubicBezTo>
                  <a:pt x="2358756" y="1909786"/>
                  <a:pt x="2334046" y="1934496"/>
                  <a:pt x="2303564" y="1934496"/>
                </a:cubicBezTo>
                <a:cubicBezTo>
                  <a:pt x="2273082" y="1934496"/>
                  <a:pt x="2248372" y="1909786"/>
                  <a:pt x="2248372" y="1879305"/>
                </a:cubicBezTo>
                <a:cubicBezTo>
                  <a:pt x="2248372" y="1848824"/>
                  <a:pt x="2273082" y="1824114"/>
                  <a:pt x="2303564" y="1824114"/>
                </a:cubicBezTo>
                <a:close/>
                <a:moveTo>
                  <a:pt x="2173271" y="1824114"/>
                </a:moveTo>
                <a:cubicBezTo>
                  <a:pt x="2203753" y="1824114"/>
                  <a:pt x="2228463" y="1848824"/>
                  <a:pt x="2228463" y="1879305"/>
                </a:cubicBezTo>
                <a:cubicBezTo>
                  <a:pt x="2228463" y="1909786"/>
                  <a:pt x="2203753" y="1934496"/>
                  <a:pt x="2173271" y="1934496"/>
                </a:cubicBezTo>
                <a:cubicBezTo>
                  <a:pt x="2142789" y="1934496"/>
                  <a:pt x="2118079" y="1909786"/>
                  <a:pt x="2118079" y="1879305"/>
                </a:cubicBezTo>
                <a:cubicBezTo>
                  <a:pt x="2118079" y="1848824"/>
                  <a:pt x="2142789" y="1824114"/>
                  <a:pt x="2173271" y="1824114"/>
                </a:cubicBezTo>
                <a:close/>
                <a:moveTo>
                  <a:pt x="2039637" y="1824114"/>
                </a:moveTo>
                <a:cubicBezTo>
                  <a:pt x="2070119" y="1824114"/>
                  <a:pt x="2094830" y="1848824"/>
                  <a:pt x="2094830" y="1879305"/>
                </a:cubicBezTo>
                <a:cubicBezTo>
                  <a:pt x="2094830" y="1909786"/>
                  <a:pt x="2070119" y="1934496"/>
                  <a:pt x="2039637" y="1934496"/>
                </a:cubicBezTo>
                <a:cubicBezTo>
                  <a:pt x="2009155" y="1934496"/>
                  <a:pt x="1984445" y="1909786"/>
                  <a:pt x="1984445" y="1879305"/>
                </a:cubicBezTo>
                <a:cubicBezTo>
                  <a:pt x="1984445" y="1848824"/>
                  <a:pt x="2009155" y="1824114"/>
                  <a:pt x="2039637" y="1824114"/>
                </a:cubicBezTo>
                <a:close/>
                <a:moveTo>
                  <a:pt x="1909341" y="1824114"/>
                </a:moveTo>
                <a:cubicBezTo>
                  <a:pt x="1939823" y="1824114"/>
                  <a:pt x="1964533" y="1848824"/>
                  <a:pt x="1964533" y="1879305"/>
                </a:cubicBezTo>
                <a:cubicBezTo>
                  <a:pt x="1964533" y="1909786"/>
                  <a:pt x="1939823" y="1934496"/>
                  <a:pt x="1909341" y="1934496"/>
                </a:cubicBezTo>
                <a:cubicBezTo>
                  <a:pt x="1878859" y="1934496"/>
                  <a:pt x="1854149" y="1909786"/>
                  <a:pt x="1854149" y="1879305"/>
                </a:cubicBezTo>
                <a:cubicBezTo>
                  <a:pt x="1854149" y="1848824"/>
                  <a:pt x="1878859" y="1824114"/>
                  <a:pt x="1909341" y="1824114"/>
                </a:cubicBezTo>
                <a:close/>
                <a:moveTo>
                  <a:pt x="1779049" y="1824114"/>
                </a:moveTo>
                <a:cubicBezTo>
                  <a:pt x="1809531" y="1824114"/>
                  <a:pt x="1834241" y="1848824"/>
                  <a:pt x="1834241" y="1879305"/>
                </a:cubicBezTo>
                <a:cubicBezTo>
                  <a:pt x="1834241" y="1909786"/>
                  <a:pt x="1809531" y="1934496"/>
                  <a:pt x="1779049" y="1934496"/>
                </a:cubicBezTo>
                <a:cubicBezTo>
                  <a:pt x="1748566" y="1934496"/>
                  <a:pt x="1723856" y="1909786"/>
                  <a:pt x="1723856" y="1879305"/>
                </a:cubicBezTo>
                <a:cubicBezTo>
                  <a:pt x="1723856" y="1848824"/>
                  <a:pt x="1748566" y="1824114"/>
                  <a:pt x="1779049" y="1824114"/>
                </a:cubicBezTo>
                <a:close/>
                <a:moveTo>
                  <a:pt x="1645413" y="1824114"/>
                </a:moveTo>
                <a:cubicBezTo>
                  <a:pt x="1675895" y="1824114"/>
                  <a:pt x="1700604" y="1848824"/>
                  <a:pt x="1700604" y="1879305"/>
                </a:cubicBezTo>
                <a:cubicBezTo>
                  <a:pt x="1700604" y="1909786"/>
                  <a:pt x="1675895" y="1934496"/>
                  <a:pt x="1645413" y="1934496"/>
                </a:cubicBezTo>
                <a:cubicBezTo>
                  <a:pt x="1614930" y="1934496"/>
                  <a:pt x="1590220" y="1909786"/>
                  <a:pt x="1590220" y="1879305"/>
                </a:cubicBezTo>
                <a:cubicBezTo>
                  <a:pt x="1590220" y="1848824"/>
                  <a:pt x="1614930" y="1824114"/>
                  <a:pt x="1645413" y="1824114"/>
                </a:cubicBezTo>
                <a:close/>
                <a:moveTo>
                  <a:pt x="1515120" y="1824114"/>
                </a:moveTo>
                <a:cubicBezTo>
                  <a:pt x="1545602" y="1824114"/>
                  <a:pt x="1570311" y="1848824"/>
                  <a:pt x="1570311" y="1879305"/>
                </a:cubicBezTo>
                <a:cubicBezTo>
                  <a:pt x="1570311" y="1909786"/>
                  <a:pt x="1545602" y="1934496"/>
                  <a:pt x="1515120" y="1934496"/>
                </a:cubicBezTo>
                <a:cubicBezTo>
                  <a:pt x="1484638" y="1934496"/>
                  <a:pt x="1459927" y="1909786"/>
                  <a:pt x="1459927" y="1879305"/>
                </a:cubicBezTo>
                <a:cubicBezTo>
                  <a:pt x="1459927" y="1848824"/>
                  <a:pt x="1484638" y="1824114"/>
                  <a:pt x="1515120" y="1824114"/>
                </a:cubicBezTo>
                <a:close/>
                <a:moveTo>
                  <a:pt x="1381486" y="1824114"/>
                </a:moveTo>
                <a:cubicBezTo>
                  <a:pt x="1411968" y="1824114"/>
                  <a:pt x="1436678" y="1848824"/>
                  <a:pt x="1436678" y="1879305"/>
                </a:cubicBezTo>
                <a:cubicBezTo>
                  <a:pt x="1436678" y="1909786"/>
                  <a:pt x="1411968" y="1934496"/>
                  <a:pt x="1381486" y="1934496"/>
                </a:cubicBezTo>
                <a:cubicBezTo>
                  <a:pt x="1351005" y="1934496"/>
                  <a:pt x="1326294" y="1909786"/>
                  <a:pt x="1326294" y="1879305"/>
                </a:cubicBezTo>
                <a:cubicBezTo>
                  <a:pt x="1326294" y="1848824"/>
                  <a:pt x="1351005" y="1824114"/>
                  <a:pt x="1381486" y="1824114"/>
                </a:cubicBezTo>
                <a:close/>
                <a:moveTo>
                  <a:pt x="1251193" y="1824114"/>
                </a:moveTo>
                <a:cubicBezTo>
                  <a:pt x="1281674" y="1824114"/>
                  <a:pt x="1306386" y="1848824"/>
                  <a:pt x="1306386" y="1879305"/>
                </a:cubicBezTo>
                <a:cubicBezTo>
                  <a:pt x="1306386" y="1909786"/>
                  <a:pt x="1281674" y="1934496"/>
                  <a:pt x="1251193" y="1934496"/>
                </a:cubicBezTo>
                <a:cubicBezTo>
                  <a:pt x="1220711" y="1934496"/>
                  <a:pt x="1196001" y="1909786"/>
                  <a:pt x="1196001" y="1879305"/>
                </a:cubicBezTo>
                <a:cubicBezTo>
                  <a:pt x="1196001" y="1848824"/>
                  <a:pt x="1220711" y="1824114"/>
                  <a:pt x="1251193" y="1824114"/>
                </a:cubicBezTo>
                <a:close/>
                <a:moveTo>
                  <a:pt x="4565336" y="1824106"/>
                </a:moveTo>
                <a:cubicBezTo>
                  <a:pt x="4595818" y="1824106"/>
                  <a:pt x="4620528" y="1848816"/>
                  <a:pt x="4620528" y="1879297"/>
                </a:cubicBezTo>
                <a:cubicBezTo>
                  <a:pt x="4620528" y="1909778"/>
                  <a:pt x="4595818" y="1934488"/>
                  <a:pt x="4565336" y="1934488"/>
                </a:cubicBezTo>
                <a:cubicBezTo>
                  <a:pt x="4534854" y="1934488"/>
                  <a:pt x="4510144" y="1909778"/>
                  <a:pt x="4510144" y="1879297"/>
                </a:cubicBezTo>
                <a:cubicBezTo>
                  <a:pt x="4510144" y="1848816"/>
                  <a:pt x="4534854" y="1824106"/>
                  <a:pt x="4565336" y="1824106"/>
                </a:cubicBezTo>
                <a:close/>
                <a:moveTo>
                  <a:pt x="4431689" y="1824098"/>
                </a:moveTo>
                <a:cubicBezTo>
                  <a:pt x="4462171" y="1824098"/>
                  <a:pt x="4486881" y="1848808"/>
                  <a:pt x="4486881" y="1879289"/>
                </a:cubicBezTo>
                <a:cubicBezTo>
                  <a:pt x="4486881" y="1909770"/>
                  <a:pt x="4462171" y="1934480"/>
                  <a:pt x="4431689" y="1934480"/>
                </a:cubicBezTo>
                <a:cubicBezTo>
                  <a:pt x="4401207" y="1934480"/>
                  <a:pt x="4376497" y="1909770"/>
                  <a:pt x="4376497" y="1879289"/>
                </a:cubicBezTo>
                <a:cubicBezTo>
                  <a:pt x="4376497" y="1848808"/>
                  <a:pt x="4401207" y="1824098"/>
                  <a:pt x="4431689" y="1824098"/>
                </a:cubicBezTo>
                <a:close/>
                <a:moveTo>
                  <a:pt x="8801537" y="1707182"/>
                </a:moveTo>
                <a:cubicBezTo>
                  <a:pt x="8832019" y="1707182"/>
                  <a:pt x="8856729" y="1731892"/>
                  <a:pt x="8856729" y="1762373"/>
                </a:cubicBezTo>
                <a:cubicBezTo>
                  <a:pt x="8856729" y="1792854"/>
                  <a:pt x="8832019" y="1817564"/>
                  <a:pt x="8801537" y="1817564"/>
                </a:cubicBezTo>
                <a:cubicBezTo>
                  <a:pt x="8771055" y="1817564"/>
                  <a:pt x="8746345" y="1792854"/>
                  <a:pt x="8746345" y="1762373"/>
                </a:cubicBezTo>
                <a:cubicBezTo>
                  <a:pt x="8746345" y="1731892"/>
                  <a:pt x="8771055" y="1707182"/>
                  <a:pt x="8801537" y="1707182"/>
                </a:cubicBezTo>
                <a:close/>
                <a:moveTo>
                  <a:pt x="8671243" y="1707182"/>
                </a:moveTo>
                <a:cubicBezTo>
                  <a:pt x="8701725" y="1707182"/>
                  <a:pt x="8726435" y="1731892"/>
                  <a:pt x="8726435" y="1762373"/>
                </a:cubicBezTo>
                <a:cubicBezTo>
                  <a:pt x="8726435" y="1792854"/>
                  <a:pt x="8701725" y="1817564"/>
                  <a:pt x="8671243" y="1817564"/>
                </a:cubicBezTo>
                <a:cubicBezTo>
                  <a:pt x="8640761" y="1817564"/>
                  <a:pt x="8616051" y="1792854"/>
                  <a:pt x="8616051" y="1762373"/>
                </a:cubicBezTo>
                <a:cubicBezTo>
                  <a:pt x="8616051" y="1731892"/>
                  <a:pt x="8640761" y="1707182"/>
                  <a:pt x="8671243" y="1707182"/>
                </a:cubicBezTo>
                <a:close/>
                <a:moveTo>
                  <a:pt x="8537609" y="1707182"/>
                </a:moveTo>
                <a:cubicBezTo>
                  <a:pt x="8568091" y="1707182"/>
                  <a:pt x="8592801" y="1731892"/>
                  <a:pt x="8592801" y="1762373"/>
                </a:cubicBezTo>
                <a:cubicBezTo>
                  <a:pt x="8592801" y="1792854"/>
                  <a:pt x="8568091" y="1817564"/>
                  <a:pt x="8537609" y="1817564"/>
                </a:cubicBezTo>
                <a:cubicBezTo>
                  <a:pt x="8507127" y="1817564"/>
                  <a:pt x="8482417" y="1792854"/>
                  <a:pt x="8482417" y="1762373"/>
                </a:cubicBezTo>
                <a:cubicBezTo>
                  <a:pt x="8482417" y="1731892"/>
                  <a:pt x="8507127" y="1707182"/>
                  <a:pt x="8537609" y="1707182"/>
                </a:cubicBezTo>
                <a:close/>
                <a:moveTo>
                  <a:pt x="8407318" y="1707182"/>
                </a:moveTo>
                <a:cubicBezTo>
                  <a:pt x="8437800" y="1707182"/>
                  <a:pt x="8462510" y="1731892"/>
                  <a:pt x="8462510" y="1762373"/>
                </a:cubicBezTo>
                <a:cubicBezTo>
                  <a:pt x="8462510" y="1792854"/>
                  <a:pt x="8437800" y="1817564"/>
                  <a:pt x="8407318" y="1817564"/>
                </a:cubicBezTo>
                <a:cubicBezTo>
                  <a:pt x="8376836" y="1817564"/>
                  <a:pt x="8352126" y="1792854"/>
                  <a:pt x="8352126" y="1762373"/>
                </a:cubicBezTo>
                <a:cubicBezTo>
                  <a:pt x="8352126" y="1731892"/>
                  <a:pt x="8376836" y="1707182"/>
                  <a:pt x="8407318" y="1707182"/>
                </a:cubicBezTo>
                <a:close/>
                <a:moveTo>
                  <a:pt x="8273682" y="1707182"/>
                </a:moveTo>
                <a:cubicBezTo>
                  <a:pt x="8304164" y="1707182"/>
                  <a:pt x="8328874" y="1731892"/>
                  <a:pt x="8328874" y="1762373"/>
                </a:cubicBezTo>
                <a:cubicBezTo>
                  <a:pt x="8328874" y="1792854"/>
                  <a:pt x="8304164" y="1817564"/>
                  <a:pt x="8273682" y="1817564"/>
                </a:cubicBezTo>
                <a:cubicBezTo>
                  <a:pt x="8243200" y="1817564"/>
                  <a:pt x="8218490" y="1792854"/>
                  <a:pt x="8218490" y="1762373"/>
                </a:cubicBezTo>
                <a:cubicBezTo>
                  <a:pt x="8218490" y="1731892"/>
                  <a:pt x="8243200" y="1707182"/>
                  <a:pt x="8273682" y="1707182"/>
                </a:cubicBezTo>
                <a:close/>
                <a:moveTo>
                  <a:pt x="8143386" y="1707182"/>
                </a:moveTo>
                <a:cubicBezTo>
                  <a:pt x="8173868" y="1707182"/>
                  <a:pt x="8198578" y="1731892"/>
                  <a:pt x="8198578" y="1762373"/>
                </a:cubicBezTo>
                <a:cubicBezTo>
                  <a:pt x="8198578" y="1792854"/>
                  <a:pt x="8173868" y="1817564"/>
                  <a:pt x="8143386" y="1817564"/>
                </a:cubicBezTo>
                <a:cubicBezTo>
                  <a:pt x="8112904" y="1817564"/>
                  <a:pt x="8088194" y="1792854"/>
                  <a:pt x="8088194" y="1762373"/>
                </a:cubicBezTo>
                <a:cubicBezTo>
                  <a:pt x="8088194" y="1731892"/>
                  <a:pt x="8112904" y="1707182"/>
                  <a:pt x="8143386" y="1707182"/>
                </a:cubicBezTo>
                <a:close/>
                <a:moveTo>
                  <a:pt x="8009752" y="1707182"/>
                </a:moveTo>
                <a:cubicBezTo>
                  <a:pt x="8040234" y="1707182"/>
                  <a:pt x="8064944" y="1731892"/>
                  <a:pt x="8064944" y="1762373"/>
                </a:cubicBezTo>
                <a:cubicBezTo>
                  <a:pt x="8064944" y="1792854"/>
                  <a:pt x="8040234" y="1817564"/>
                  <a:pt x="8009752" y="1817564"/>
                </a:cubicBezTo>
                <a:cubicBezTo>
                  <a:pt x="7979270" y="1817564"/>
                  <a:pt x="7954560" y="1792854"/>
                  <a:pt x="7954560" y="1762373"/>
                </a:cubicBezTo>
                <a:cubicBezTo>
                  <a:pt x="7954560" y="1731892"/>
                  <a:pt x="7979270" y="1707182"/>
                  <a:pt x="8009752" y="1707182"/>
                </a:cubicBezTo>
                <a:close/>
                <a:moveTo>
                  <a:pt x="7876117" y="1707182"/>
                </a:moveTo>
                <a:cubicBezTo>
                  <a:pt x="7906599" y="1707182"/>
                  <a:pt x="7931309" y="1731892"/>
                  <a:pt x="7931309" y="1762373"/>
                </a:cubicBezTo>
                <a:cubicBezTo>
                  <a:pt x="7931309" y="1792854"/>
                  <a:pt x="7906599" y="1817564"/>
                  <a:pt x="7876117" y="1817564"/>
                </a:cubicBezTo>
                <a:cubicBezTo>
                  <a:pt x="7845635" y="1817564"/>
                  <a:pt x="7820925" y="1792854"/>
                  <a:pt x="7820925" y="1762373"/>
                </a:cubicBezTo>
                <a:cubicBezTo>
                  <a:pt x="7820925" y="1731892"/>
                  <a:pt x="7845635" y="1707182"/>
                  <a:pt x="7876117" y="1707182"/>
                </a:cubicBezTo>
                <a:close/>
                <a:moveTo>
                  <a:pt x="7745824" y="1707182"/>
                </a:moveTo>
                <a:cubicBezTo>
                  <a:pt x="7776306" y="1707182"/>
                  <a:pt x="7801016" y="1731892"/>
                  <a:pt x="7801016" y="1762373"/>
                </a:cubicBezTo>
                <a:cubicBezTo>
                  <a:pt x="7801016" y="1792854"/>
                  <a:pt x="7776306" y="1817564"/>
                  <a:pt x="7745824" y="1817564"/>
                </a:cubicBezTo>
                <a:cubicBezTo>
                  <a:pt x="7715342" y="1817564"/>
                  <a:pt x="7690632" y="1792854"/>
                  <a:pt x="7690632" y="1762373"/>
                </a:cubicBezTo>
                <a:cubicBezTo>
                  <a:pt x="7690632" y="1731892"/>
                  <a:pt x="7715342" y="1707182"/>
                  <a:pt x="7745824" y="1707182"/>
                </a:cubicBezTo>
                <a:close/>
                <a:moveTo>
                  <a:pt x="7608849" y="1707182"/>
                </a:moveTo>
                <a:cubicBezTo>
                  <a:pt x="7639331" y="1707182"/>
                  <a:pt x="7664041" y="1731892"/>
                  <a:pt x="7664041" y="1762373"/>
                </a:cubicBezTo>
                <a:cubicBezTo>
                  <a:pt x="7664041" y="1792854"/>
                  <a:pt x="7639331" y="1817564"/>
                  <a:pt x="7608849" y="1817564"/>
                </a:cubicBezTo>
                <a:cubicBezTo>
                  <a:pt x="7578367" y="1817564"/>
                  <a:pt x="7553657" y="1792854"/>
                  <a:pt x="7553657" y="1762373"/>
                </a:cubicBezTo>
                <a:cubicBezTo>
                  <a:pt x="7553657" y="1731892"/>
                  <a:pt x="7578367" y="1707182"/>
                  <a:pt x="7608849" y="1707182"/>
                </a:cubicBezTo>
                <a:close/>
                <a:moveTo>
                  <a:pt x="7481895" y="1707182"/>
                </a:moveTo>
                <a:cubicBezTo>
                  <a:pt x="7512377" y="1707182"/>
                  <a:pt x="7537087" y="1731892"/>
                  <a:pt x="7537087" y="1762373"/>
                </a:cubicBezTo>
                <a:cubicBezTo>
                  <a:pt x="7537087" y="1792854"/>
                  <a:pt x="7512377" y="1817564"/>
                  <a:pt x="7481895" y="1817564"/>
                </a:cubicBezTo>
                <a:cubicBezTo>
                  <a:pt x="7451413" y="1817564"/>
                  <a:pt x="7426703" y="1792854"/>
                  <a:pt x="7426703" y="1762373"/>
                </a:cubicBezTo>
                <a:cubicBezTo>
                  <a:pt x="7426703" y="1731892"/>
                  <a:pt x="7451413" y="1707182"/>
                  <a:pt x="7481895" y="1707182"/>
                </a:cubicBezTo>
                <a:close/>
                <a:moveTo>
                  <a:pt x="7341579" y="1707182"/>
                </a:moveTo>
                <a:cubicBezTo>
                  <a:pt x="7372061" y="1707182"/>
                  <a:pt x="7396771" y="1731892"/>
                  <a:pt x="7396771" y="1762373"/>
                </a:cubicBezTo>
                <a:cubicBezTo>
                  <a:pt x="7396771" y="1792854"/>
                  <a:pt x="7372061" y="1817564"/>
                  <a:pt x="7341579" y="1817564"/>
                </a:cubicBezTo>
                <a:cubicBezTo>
                  <a:pt x="7311097" y="1817564"/>
                  <a:pt x="7286387" y="1792854"/>
                  <a:pt x="7286387" y="1762373"/>
                </a:cubicBezTo>
                <a:cubicBezTo>
                  <a:pt x="7286387" y="1731892"/>
                  <a:pt x="7311097" y="1707182"/>
                  <a:pt x="7341579" y="1707182"/>
                </a:cubicBezTo>
                <a:close/>
                <a:moveTo>
                  <a:pt x="7211286" y="1707182"/>
                </a:moveTo>
                <a:cubicBezTo>
                  <a:pt x="7241768" y="1707182"/>
                  <a:pt x="7266478" y="1731892"/>
                  <a:pt x="7266478" y="1762373"/>
                </a:cubicBezTo>
                <a:cubicBezTo>
                  <a:pt x="7266478" y="1792854"/>
                  <a:pt x="7241768" y="1817564"/>
                  <a:pt x="7211286" y="1817564"/>
                </a:cubicBezTo>
                <a:cubicBezTo>
                  <a:pt x="7180804" y="1817564"/>
                  <a:pt x="7156094" y="1792854"/>
                  <a:pt x="7156094" y="1762373"/>
                </a:cubicBezTo>
                <a:cubicBezTo>
                  <a:pt x="7156094" y="1731892"/>
                  <a:pt x="7180804" y="1707182"/>
                  <a:pt x="7211286" y="1707182"/>
                </a:cubicBezTo>
                <a:close/>
                <a:moveTo>
                  <a:pt x="7080993" y="1707182"/>
                </a:moveTo>
                <a:cubicBezTo>
                  <a:pt x="7111475" y="1707182"/>
                  <a:pt x="7136185" y="1731892"/>
                  <a:pt x="7136185" y="1762373"/>
                </a:cubicBezTo>
                <a:cubicBezTo>
                  <a:pt x="7136185" y="1792854"/>
                  <a:pt x="7111475" y="1817564"/>
                  <a:pt x="7080993" y="1817564"/>
                </a:cubicBezTo>
                <a:cubicBezTo>
                  <a:pt x="7050511" y="1817564"/>
                  <a:pt x="7025801" y="1792854"/>
                  <a:pt x="7025801" y="1762373"/>
                </a:cubicBezTo>
                <a:cubicBezTo>
                  <a:pt x="7025801" y="1731892"/>
                  <a:pt x="7050511" y="1707182"/>
                  <a:pt x="7080993" y="1707182"/>
                </a:cubicBezTo>
                <a:close/>
                <a:moveTo>
                  <a:pt x="6947357" y="1707182"/>
                </a:moveTo>
                <a:cubicBezTo>
                  <a:pt x="6977839" y="1707182"/>
                  <a:pt x="7002549" y="1731892"/>
                  <a:pt x="7002549" y="1762373"/>
                </a:cubicBezTo>
                <a:cubicBezTo>
                  <a:pt x="7002549" y="1792854"/>
                  <a:pt x="6977839" y="1817564"/>
                  <a:pt x="6947357" y="1817564"/>
                </a:cubicBezTo>
                <a:cubicBezTo>
                  <a:pt x="6916875" y="1817564"/>
                  <a:pt x="6892165" y="1792854"/>
                  <a:pt x="6892165" y="1762373"/>
                </a:cubicBezTo>
                <a:cubicBezTo>
                  <a:pt x="6892165" y="1731892"/>
                  <a:pt x="6916875" y="1707182"/>
                  <a:pt x="6947357" y="1707182"/>
                </a:cubicBezTo>
                <a:close/>
                <a:moveTo>
                  <a:pt x="6817063" y="1707182"/>
                </a:moveTo>
                <a:cubicBezTo>
                  <a:pt x="6847545" y="1707182"/>
                  <a:pt x="6872255" y="1731892"/>
                  <a:pt x="6872255" y="1762373"/>
                </a:cubicBezTo>
                <a:cubicBezTo>
                  <a:pt x="6872255" y="1792854"/>
                  <a:pt x="6847545" y="1817564"/>
                  <a:pt x="6817063" y="1817564"/>
                </a:cubicBezTo>
                <a:cubicBezTo>
                  <a:pt x="6786581" y="1817564"/>
                  <a:pt x="6761871" y="1792854"/>
                  <a:pt x="6761871" y="1762373"/>
                </a:cubicBezTo>
                <a:cubicBezTo>
                  <a:pt x="6761871" y="1731892"/>
                  <a:pt x="6786581" y="1707182"/>
                  <a:pt x="6817063" y="1707182"/>
                </a:cubicBezTo>
                <a:close/>
                <a:moveTo>
                  <a:pt x="6683431" y="1707182"/>
                </a:moveTo>
                <a:cubicBezTo>
                  <a:pt x="6713913" y="1707182"/>
                  <a:pt x="6738623" y="1731892"/>
                  <a:pt x="6738623" y="1762373"/>
                </a:cubicBezTo>
                <a:cubicBezTo>
                  <a:pt x="6738623" y="1792854"/>
                  <a:pt x="6713913" y="1817564"/>
                  <a:pt x="6683431" y="1817564"/>
                </a:cubicBezTo>
                <a:cubicBezTo>
                  <a:pt x="6652949" y="1817564"/>
                  <a:pt x="6628239" y="1792854"/>
                  <a:pt x="6628239" y="1762373"/>
                </a:cubicBezTo>
                <a:cubicBezTo>
                  <a:pt x="6628239" y="1731892"/>
                  <a:pt x="6652949" y="1707182"/>
                  <a:pt x="6683431" y="1707182"/>
                </a:cubicBezTo>
                <a:close/>
                <a:moveTo>
                  <a:pt x="6553137" y="1707182"/>
                </a:moveTo>
                <a:cubicBezTo>
                  <a:pt x="6583619" y="1707182"/>
                  <a:pt x="6608329" y="1731892"/>
                  <a:pt x="6608329" y="1762373"/>
                </a:cubicBezTo>
                <a:cubicBezTo>
                  <a:pt x="6608329" y="1792854"/>
                  <a:pt x="6583619" y="1817564"/>
                  <a:pt x="6553137" y="1817564"/>
                </a:cubicBezTo>
                <a:cubicBezTo>
                  <a:pt x="6522655" y="1817564"/>
                  <a:pt x="6497945" y="1792854"/>
                  <a:pt x="6497945" y="1762373"/>
                </a:cubicBezTo>
                <a:cubicBezTo>
                  <a:pt x="6497945" y="1731892"/>
                  <a:pt x="6522655" y="1707182"/>
                  <a:pt x="6553137" y="1707182"/>
                </a:cubicBezTo>
                <a:close/>
                <a:moveTo>
                  <a:pt x="6419502" y="1707182"/>
                </a:moveTo>
                <a:cubicBezTo>
                  <a:pt x="6449984" y="1707182"/>
                  <a:pt x="6474694" y="1731892"/>
                  <a:pt x="6474694" y="1762373"/>
                </a:cubicBezTo>
                <a:cubicBezTo>
                  <a:pt x="6474694" y="1792854"/>
                  <a:pt x="6449984" y="1817564"/>
                  <a:pt x="6419502" y="1817564"/>
                </a:cubicBezTo>
                <a:cubicBezTo>
                  <a:pt x="6389020" y="1817564"/>
                  <a:pt x="6364310" y="1792854"/>
                  <a:pt x="6364310" y="1762373"/>
                </a:cubicBezTo>
                <a:cubicBezTo>
                  <a:pt x="6364310" y="1731892"/>
                  <a:pt x="6389020" y="1707182"/>
                  <a:pt x="6419502" y="1707182"/>
                </a:cubicBezTo>
                <a:close/>
                <a:moveTo>
                  <a:pt x="6289207" y="1707182"/>
                </a:moveTo>
                <a:cubicBezTo>
                  <a:pt x="6319689" y="1707182"/>
                  <a:pt x="6344399" y="1731892"/>
                  <a:pt x="6344399" y="1762373"/>
                </a:cubicBezTo>
                <a:cubicBezTo>
                  <a:pt x="6344399" y="1792854"/>
                  <a:pt x="6319689" y="1817564"/>
                  <a:pt x="6289207" y="1817564"/>
                </a:cubicBezTo>
                <a:cubicBezTo>
                  <a:pt x="6258725" y="1817564"/>
                  <a:pt x="6234015" y="1792854"/>
                  <a:pt x="6234015" y="1762373"/>
                </a:cubicBezTo>
                <a:cubicBezTo>
                  <a:pt x="6234015" y="1731892"/>
                  <a:pt x="6258725" y="1707182"/>
                  <a:pt x="6289207" y="1707182"/>
                </a:cubicBezTo>
                <a:close/>
                <a:moveTo>
                  <a:pt x="6155572" y="1707182"/>
                </a:moveTo>
                <a:cubicBezTo>
                  <a:pt x="6186054" y="1707182"/>
                  <a:pt x="6210764" y="1731892"/>
                  <a:pt x="6210764" y="1762373"/>
                </a:cubicBezTo>
                <a:cubicBezTo>
                  <a:pt x="6210764" y="1792854"/>
                  <a:pt x="6186054" y="1817564"/>
                  <a:pt x="6155572" y="1817564"/>
                </a:cubicBezTo>
                <a:cubicBezTo>
                  <a:pt x="6125090" y="1817564"/>
                  <a:pt x="6100380" y="1792854"/>
                  <a:pt x="6100380" y="1762373"/>
                </a:cubicBezTo>
                <a:cubicBezTo>
                  <a:pt x="6100380" y="1731892"/>
                  <a:pt x="6125090" y="1707182"/>
                  <a:pt x="6155572" y="1707182"/>
                </a:cubicBezTo>
                <a:close/>
                <a:moveTo>
                  <a:pt x="6021938" y="1707182"/>
                </a:moveTo>
                <a:cubicBezTo>
                  <a:pt x="6052420" y="1707182"/>
                  <a:pt x="6077130" y="1731892"/>
                  <a:pt x="6077130" y="1762373"/>
                </a:cubicBezTo>
                <a:cubicBezTo>
                  <a:pt x="6077130" y="1792854"/>
                  <a:pt x="6052420" y="1817564"/>
                  <a:pt x="6021938" y="1817564"/>
                </a:cubicBezTo>
                <a:cubicBezTo>
                  <a:pt x="5991456" y="1817564"/>
                  <a:pt x="5966746" y="1792854"/>
                  <a:pt x="5966746" y="1762373"/>
                </a:cubicBezTo>
                <a:cubicBezTo>
                  <a:pt x="5966746" y="1731892"/>
                  <a:pt x="5991456" y="1707182"/>
                  <a:pt x="6021938" y="1707182"/>
                </a:cubicBezTo>
                <a:close/>
                <a:moveTo>
                  <a:pt x="5884964" y="1707182"/>
                </a:moveTo>
                <a:cubicBezTo>
                  <a:pt x="5915446" y="1707182"/>
                  <a:pt x="5940156" y="1731892"/>
                  <a:pt x="5940156" y="1762373"/>
                </a:cubicBezTo>
                <a:cubicBezTo>
                  <a:pt x="5940156" y="1792854"/>
                  <a:pt x="5915446" y="1817564"/>
                  <a:pt x="5884964" y="1817564"/>
                </a:cubicBezTo>
                <a:cubicBezTo>
                  <a:pt x="5854482" y="1817564"/>
                  <a:pt x="5829772" y="1792854"/>
                  <a:pt x="5829772" y="1762373"/>
                </a:cubicBezTo>
                <a:cubicBezTo>
                  <a:pt x="5829772" y="1731892"/>
                  <a:pt x="5854482" y="1707182"/>
                  <a:pt x="5884964" y="1707182"/>
                </a:cubicBezTo>
                <a:close/>
                <a:moveTo>
                  <a:pt x="5754670" y="1707182"/>
                </a:moveTo>
                <a:cubicBezTo>
                  <a:pt x="5785152" y="1707182"/>
                  <a:pt x="5809862" y="1731892"/>
                  <a:pt x="5809862" y="1762373"/>
                </a:cubicBezTo>
                <a:cubicBezTo>
                  <a:pt x="5809862" y="1792854"/>
                  <a:pt x="5785152" y="1817564"/>
                  <a:pt x="5754670" y="1817564"/>
                </a:cubicBezTo>
                <a:cubicBezTo>
                  <a:pt x="5724188" y="1817564"/>
                  <a:pt x="5699478" y="1792854"/>
                  <a:pt x="5699478" y="1762373"/>
                </a:cubicBezTo>
                <a:cubicBezTo>
                  <a:pt x="5699478" y="1731892"/>
                  <a:pt x="5724188" y="1707182"/>
                  <a:pt x="5754670" y="1707182"/>
                </a:cubicBezTo>
                <a:close/>
                <a:moveTo>
                  <a:pt x="5621035" y="1707182"/>
                </a:moveTo>
                <a:cubicBezTo>
                  <a:pt x="5651517" y="1707182"/>
                  <a:pt x="5676227" y="1731892"/>
                  <a:pt x="5676227" y="1762373"/>
                </a:cubicBezTo>
                <a:cubicBezTo>
                  <a:pt x="5676227" y="1792854"/>
                  <a:pt x="5651517" y="1817564"/>
                  <a:pt x="5621035" y="1817564"/>
                </a:cubicBezTo>
                <a:cubicBezTo>
                  <a:pt x="5590553" y="1817564"/>
                  <a:pt x="5565843" y="1792854"/>
                  <a:pt x="5565843" y="1762373"/>
                </a:cubicBezTo>
                <a:cubicBezTo>
                  <a:pt x="5565843" y="1731892"/>
                  <a:pt x="5590553" y="1707182"/>
                  <a:pt x="5621035" y="1707182"/>
                </a:cubicBezTo>
                <a:close/>
                <a:moveTo>
                  <a:pt x="5487399" y="1707182"/>
                </a:moveTo>
                <a:cubicBezTo>
                  <a:pt x="5517881" y="1707182"/>
                  <a:pt x="5542591" y="1731892"/>
                  <a:pt x="5542591" y="1762373"/>
                </a:cubicBezTo>
                <a:cubicBezTo>
                  <a:pt x="5542591" y="1792854"/>
                  <a:pt x="5517881" y="1817564"/>
                  <a:pt x="5487399" y="1817564"/>
                </a:cubicBezTo>
                <a:cubicBezTo>
                  <a:pt x="5456917" y="1817564"/>
                  <a:pt x="5432207" y="1792854"/>
                  <a:pt x="5432207" y="1762373"/>
                </a:cubicBezTo>
                <a:cubicBezTo>
                  <a:pt x="5432207" y="1731892"/>
                  <a:pt x="5456917" y="1707182"/>
                  <a:pt x="5487399" y="1707182"/>
                </a:cubicBezTo>
                <a:close/>
                <a:moveTo>
                  <a:pt x="5357105" y="1707182"/>
                </a:moveTo>
                <a:cubicBezTo>
                  <a:pt x="5387587" y="1707182"/>
                  <a:pt x="5412297" y="1731892"/>
                  <a:pt x="5412297" y="1762373"/>
                </a:cubicBezTo>
                <a:cubicBezTo>
                  <a:pt x="5412297" y="1792854"/>
                  <a:pt x="5387587" y="1817564"/>
                  <a:pt x="5357105" y="1817564"/>
                </a:cubicBezTo>
                <a:cubicBezTo>
                  <a:pt x="5326623" y="1817564"/>
                  <a:pt x="5301913" y="1792854"/>
                  <a:pt x="5301913" y="1762373"/>
                </a:cubicBezTo>
                <a:cubicBezTo>
                  <a:pt x="5301913" y="1731892"/>
                  <a:pt x="5326623" y="1707182"/>
                  <a:pt x="5357105" y="1707182"/>
                </a:cubicBezTo>
                <a:close/>
                <a:moveTo>
                  <a:pt x="5223473" y="1707182"/>
                </a:moveTo>
                <a:cubicBezTo>
                  <a:pt x="5253955" y="1707182"/>
                  <a:pt x="5278665" y="1731892"/>
                  <a:pt x="5278665" y="1762373"/>
                </a:cubicBezTo>
                <a:cubicBezTo>
                  <a:pt x="5278665" y="1792854"/>
                  <a:pt x="5253955" y="1817564"/>
                  <a:pt x="5223473" y="1817564"/>
                </a:cubicBezTo>
                <a:cubicBezTo>
                  <a:pt x="5192991" y="1817564"/>
                  <a:pt x="5168281" y="1792854"/>
                  <a:pt x="5168281" y="1762373"/>
                </a:cubicBezTo>
                <a:cubicBezTo>
                  <a:pt x="5168281" y="1731892"/>
                  <a:pt x="5192991" y="1707182"/>
                  <a:pt x="5223473" y="1707182"/>
                </a:cubicBezTo>
                <a:close/>
                <a:moveTo>
                  <a:pt x="5093178" y="1707182"/>
                </a:moveTo>
                <a:cubicBezTo>
                  <a:pt x="5123660" y="1707182"/>
                  <a:pt x="5148370" y="1731892"/>
                  <a:pt x="5148370" y="1762373"/>
                </a:cubicBezTo>
                <a:cubicBezTo>
                  <a:pt x="5148370" y="1792854"/>
                  <a:pt x="5123660" y="1817564"/>
                  <a:pt x="5093178" y="1817564"/>
                </a:cubicBezTo>
                <a:cubicBezTo>
                  <a:pt x="5062696" y="1817564"/>
                  <a:pt x="5037986" y="1792854"/>
                  <a:pt x="5037986" y="1762373"/>
                </a:cubicBezTo>
                <a:cubicBezTo>
                  <a:pt x="5037986" y="1731892"/>
                  <a:pt x="5062696" y="1707182"/>
                  <a:pt x="5093178" y="1707182"/>
                </a:cubicBezTo>
                <a:close/>
                <a:moveTo>
                  <a:pt x="4959543" y="1707182"/>
                </a:moveTo>
                <a:cubicBezTo>
                  <a:pt x="4990025" y="1707182"/>
                  <a:pt x="5014735" y="1731892"/>
                  <a:pt x="5014735" y="1762373"/>
                </a:cubicBezTo>
                <a:cubicBezTo>
                  <a:pt x="5014735" y="1792854"/>
                  <a:pt x="4990025" y="1817564"/>
                  <a:pt x="4959543" y="1817564"/>
                </a:cubicBezTo>
                <a:cubicBezTo>
                  <a:pt x="4929061" y="1817564"/>
                  <a:pt x="4904351" y="1792854"/>
                  <a:pt x="4904351" y="1762373"/>
                </a:cubicBezTo>
                <a:cubicBezTo>
                  <a:pt x="4904351" y="1731892"/>
                  <a:pt x="4929061" y="1707182"/>
                  <a:pt x="4959543" y="1707182"/>
                </a:cubicBezTo>
                <a:close/>
                <a:moveTo>
                  <a:pt x="4829251" y="1707182"/>
                </a:moveTo>
                <a:cubicBezTo>
                  <a:pt x="4859733" y="1707182"/>
                  <a:pt x="4884443" y="1731892"/>
                  <a:pt x="4884443" y="1762373"/>
                </a:cubicBezTo>
                <a:cubicBezTo>
                  <a:pt x="4884443" y="1792854"/>
                  <a:pt x="4859733" y="1817564"/>
                  <a:pt x="4829251" y="1817564"/>
                </a:cubicBezTo>
                <a:cubicBezTo>
                  <a:pt x="4798769" y="1817564"/>
                  <a:pt x="4774059" y="1792854"/>
                  <a:pt x="4774059" y="1762373"/>
                </a:cubicBezTo>
                <a:cubicBezTo>
                  <a:pt x="4774059" y="1731892"/>
                  <a:pt x="4798769" y="1707182"/>
                  <a:pt x="4829251" y="1707182"/>
                </a:cubicBezTo>
                <a:close/>
                <a:moveTo>
                  <a:pt x="4695613" y="1707182"/>
                </a:moveTo>
                <a:cubicBezTo>
                  <a:pt x="4726095" y="1707182"/>
                  <a:pt x="4750805" y="1731892"/>
                  <a:pt x="4750805" y="1762373"/>
                </a:cubicBezTo>
                <a:cubicBezTo>
                  <a:pt x="4750805" y="1792854"/>
                  <a:pt x="4726095" y="1817564"/>
                  <a:pt x="4695613" y="1817564"/>
                </a:cubicBezTo>
                <a:cubicBezTo>
                  <a:pt x="4665131" y="1817564"/>
                  <a:pt x="4640421" y="1792854"/>
                  <a:pt x="4640421" y="1762373"/>
                </a:cubicBezTo>
                <a:cubicBezTo>
                  <a:pt x="4640421" y="1731892"/>
                  <a:pt x="4665131" y="1707182"/>
                  <a:pt x="4695613" y="1707182"/>
                </a:cubicBezTo>
                <a:close/>
                <a:moveTo>
                  <a:pt x="3098681" y="1707182"/>
                </a:moveTo>
                <a:cubicBezTo>
                  <a:pt x="3129163" y="1707182"/>
                  <a:pt x="3153873" y="1731892"/>
                  <a:pt x="3153873" y="1762373"/>
                </a:cubicBezTo>
                <a:cubicBezTo>
                  <a:pt x="3153873" y="1792854"/>
                  <a:pt x="3129163" y="1817564"/>
                  <a:pt x="3098681" y="1817564"/>
                </a:cubicBezTo>
                <a:cubicBezTo>
                  <a:pt x="3068199" y="1817564"/>
                  <a:pt x="3043489" y="1792854"/>
                  <a:pt x="3043489" y="1762373"/>
                </a:cubicBezTo>
                <a:cubicBezTo>
                  <a:pt x="3043489" y="1731892"/>
                  <a:pt x="3068199" y="1707182"/>
                  <a:pt x="3098681" y="1707182"/>
                </a:cubicBezTo>
                <a:close/>
                <a:moveTo>
                  <a:pt x="2971729" y="1707182"/>
                </a:moveTo>
                <a:cubicBezTo>
                  <a:pt x="3002211" y="1707182"/>
                  <a:pt x="3026921" y="1731892"/>
                  <a:pt x="3026921" y="1762373"/>
                </a:cubicBezTo>
                <a:cubicBezTo>
                  <a:pt x="3026921" y="1792854"/>
                  <a:pt x="3002211" y="1817564"/>
                  <a:pt x="2971729" y="1817564"/>
                </a:cubicBezTo>
                <a:cubicBezTo>
                  <a:pt x="2941247" y="1817564"/>
                  <a:pt x="2916537" y="1792854"/>
                  <a:pt x="2916537" y="1762373"/>
                </a:cubicBezTo>
                <a:cubicBezTo>
                  <a:pt x="2916537" y="1731892"/>
                  <a:pt x="2941247" y="1707182"/>
                  <a:pt x="2971729" y="1707182"/>
                </a:cubicBezTo>
                <a:close/>
                <a:moveTo>
                  <a:pt x="2834772" y="1707182"/>
                </a:moveTo>
                <a:cubicBezTo>
                  <a:pt x="2865254" y="1707182"/>
                  <a:pt x="2889964" y="1731892"/>
                  <a:pt x="2889964" y="1762373"/>
                </a:cubicBezTo>
                <a:cubicBezTo>
                  <a:pt x="2889964" y="1792854"/>
                  <a:pt x="2865254" y="1817564"/>
                  <a:pt x="2834772" y="1817564"/>
                </a:cubicBezTo>
                <a:cubicBezTo>
                  <a:pt x="2804290" y="1817564"/>
                  <a:pt x="2779580" y="1792854"/>
                  <a:pt x="2779580" y="1762373"/>
                </a:cubicBezTo>
                <a:cubicBezTo>
                  <a:pt x="2779580" y="1731892"/>
                  <a:pt x="2804290" y="1707182"/>
                  <a:pt x="2834772" y="1707182"/>
                </a:cubicBezTo>
                <a:close/>
                <a:moveTo>
                  <a:pt x="2707817" y="1707182"/>
                </a:moveTo>
                <a:cubicBezTo>
                  <a:pt x="2738299" y="1707182"/>
                  <a:pt x="2763009" y="1731892"/>
                  <a:pt x="2763009" y="1762373"/>
                </a:cubicBezTo>
                <a:cubicBezTo>
                  <a:pt x="2763009" y="1792854"/>
                  <a:pt x="2738299" y="1817564"/>
                  <a:pt x="2707817" y="1817564"/>
                </a:cubicBezTo>
                <a:cubicBezTo>
                  <a:pt x="2677336" y="1817564"/>
                  <a:pt x="2652625" y="1792854"/>
                  <a:pt x="2652625" y="1762373"/>
                </a:cubicBezTo>
                <a:cubicBezTo>
                  <a:pt x="2652625" y="1731892"/>
                  <a:pt x="2677336" y="1707182"/>
                  <a:pt x="2707817" y="1707182"/>
                </a:cubicBezTo>
                <a:close/>
                <a:moveTo>
                  <a:pt x="2570843" y="1707182"/>
                </a:moveTo>
                <a:cubicBezTo>
                  <a:pt x="2601326" y="1707182"/>
                  <a:pt x="2626036" y="1731892"/>
                  <a:pt x="2626036" y="1762373"/>
                </a:cubicBezTo>
                <a:cubicBezTo>
                  <a:pt x="2626036" y="1792854"/>
                  <a:pt x="2601326" y="1817564"/>
                  <a:pt x="2570843" y="1817564"/>
                </a:cubicBezTo>
                <a:cubicBezTo>
                  <a:pt x="2540362" y="1817564"/>
                  <a:pt x="2515651" y="1792854"/>
                  <a:pt x="2515651" y="1762373"/>
                </a:cubicBezTo>
                <a:cubicBezTo>
                  <a:pt x="2515651" y="1731892"/>
                  <a:pt x="2540362" y="1707182"/>
                  <a:pt x="2570843" y="1707182"/>
                </a:cubicBezTo>
                <a:close/>
                <a:moveTo>
                  <a:pt x="2437207" y="1707182"/>
                </a:moveTo>
                <a:cubicBezTo>
                  <a:pt x="2467689" y="1707182"/>
                  <a:pt x="2492398" y="1731892"/>
                  <a:pt x="2492398" y="1762373"/>
                </a:cubicBezTo>
                <a:cubicBezTo>
                  <a:pt x="2492398" y="1792854"/>
                  <a:pt x="2467689" y="1817564"/>
                  <a:pt x="2437207" y="1817564"/>
                </a:cubicBezTo>
                <a:cubicBezTo>
                  <a:pt x="2406725" y="1817564"/>
                  <a:pt x="2382015" y="1792854"/>
                  <a:pt x="2382015" y="1762373"/>
                </a:cubicBezTo>
                <a:cubicBezTo>
                  <a:pt x="2382015" y="1731892"/>
                  <a:pt x="2406725" y="1707182"/>
                  <a:pt x="2437207" y="1707182"/>
                </a:cubicBezTo>
                <a:close/>
                <a:moveTo>
                  <a:pt x="2303575" y="1707182"/>
                </a:moveTo>
                <a:cubicBezTo>
                  <a:pt x="2334057" y="1707182"/>
                  <a:pt x="2358767" y="1731892"/>
                  <a:pt x="2358767" y="1762373"/>
                </a:cubicBezTo>
                <a:cubicBezTo>
                  <a:pt x="2358767" y="1792854"/>
                  <a:pt x="2334057" y="1817564"/>
                  <a:pt x="2303575" y="1817564"/>
                </a:cubicBezTo>
                <a:cubicBezTo>
                  <a:pt x="2273093" y="1817564"/>
                  <a:pt x="2248383" y="1792854"/>
                  <a:pt x="2248383" y="1762373"/>
                </a:cubicBezTo>
                <a:cubicBezTo>
                  <a:pt x="2248383" y="1731892"/>
                  <a:pt x="2273093" y="1707182"/>
                  <a:pt x="2303575" y="1707182"/>
                </a:cubicBezTo>
                <a:close/>
                <a:moveTo>
                  <a:pt x="2173282" y="1707182"/>
                </a:moveTo>
                <a:cubicBezTo>
                  <a:pt x="2203764" y="1707182"/>
                  <a:pt x="2228474" y="1731892"/>
                  <a:pt x="2228474" y="1762373"/>
                </a:cubicBezTo>
                <a:cubicBezTo>
                  <a:pt x="2228474" y="1792854"/>
                  <a:pt x="2203764" y="1817564"/>
                  <a:pt x="2173282" y="1817564"/>
                </a:cubicBezTo>
                <a:cubicBezTo>
                  <a:pt x="2142800" y="1817564"/>
                  <a:pt x="2118090" y="1792854"/>
                  <a:pt x="2118090" y="1762373"/>
                </a:cubicBezTo>
                <a:cubicBezTo>
                  <a:pt x="2118090" y="1731892"/>
                  <a:pt x="2142800" y="1707182"/>
                  <a:pt x="2173282" y="1707182"/>
                </a:cubicBezTo>
                <a:close/>
                <a:moveTo>
                  <a:pt x="2039648" y="1707182"/>
                </a:moveTo>
                <a:cubicBezTo>
                  <a:pt x="2070129" y="1707182"/>
                  <a:pt x="2094840" y="1731892"/>
                  <a:pt x="2094840" y="1762373"/>
                </a:cubicBezTo>
                <a:cubicBezTo>
                  <a:pt x="2094840" y="1792854"/>
                  <a:pt x="2070129" y="1817564"/>
                  <a:pt x="2039648" y="1817564"/>
                </a:cubicBezTo>
                <a:cubicBezTo>
                  <a:pt x="2009165" y="1817564"/>
                  <a:pt x="1984455" y="1792854"/>
                  <a:pt x="1984455" y="1762373"/>
                </a:cubicBezTo>
                <a:cubicBezTo>
                  <a:pt x="1984455" y="1731892"/>
                  <a:pt x="2009165" y="1707182"/>
                  <a:pt x="2039648" y="1707182"/>
                </a:cubicBezTo>
                <a:close/>
                <a:moveTo>
                  <a:pt x="1909353" y="1707182"/>
                </a:moveTo>
                <a:cubicBezTo>
                  <a:pt x="1939835" y="1707182"/>
                  <a:pt x="1964545" y="1731892"/>
                  <a:pt x="1964545" y="1762373"/>
                </a:cubicBezTo>
                <a:cubicBezTo>
                  <a:pt x="1964545" y="1792854"/>
                  <a:pt x="1939835" y="1817564"/>
                  <a:pt x="1909353" y="1817564"/>
                </a:cubicBezTo>
                <a:cubicBezTo>
                  <a:pt x="1878870" y="1817564"/>
                  <a:pt x="1854161" y="1792854"/>
                  <a:pt x="1854161" y="1762373"/>
                </a:cubicBezTo>
                <a:cubicBezTo>
                  <a:pt x="1854161" y="1731892"/>
                  <a:pt x="1878870" y="1707182"/>
                  <a:pt x="1909353" y="1707182"/>
                </a:cubicBezTo>
                <a:close/>
                <a:moveTo>
                  <a:pt x="1779058" y="1707182"/>
                </a:moveTo>
                <a:cubicBezTo>
                  <a:pt x="1809540" y="1707182"/>
                  <a:pt x="1834251" y="1731892"/>
                  <a:pt x="1834251" y="1762373"/>
                </a:cubicBezTo>
                <a:cubicBezTo>
                  <a:pt x="1834251" y="1792854"/>
                  <a:pt x="1809540" y="1817564"/>
                  <a:pt x="1779058" y="1817564"/>
                </a:cubicBezTo>
                <a:cubicBezTo>
                  <a:pt x="1748577" y="1817564"/>
                  <a:pt x="1723867" y="1792854"/>
                  <a:pt x="1723867" y="1762373"/>
                </a:cubicBezTo>
                <a:cubicBezTo>
                  <a:pt x="1723867" y="1731892"/>
                  <a:pt x="1748577" y="1707182"/>
                  <a:pt x="1779058" y="1707182"/>
                </a:cubicBezTo>
                <a:close/>
                <a:moveTo>
                  <a:pt x="1645422" y="1707182"/>
                </a:moveTo>
                <a:cubicBezTo>
                  <a:pt x="1675906" y="1707182"/>
                  <a:pt x="1700617" y="1731892"/>
                  <a:pt x="1700617" y="1762373"/>
                </a:cubicBezTo>
                <a:cubicBezTo>
                  <a:pt x="1700617" y="1792854"/>
                  <a:pt x="1675906" y="1817564"/>
                  <a:pt x="1645422" y="1817564"/>
                </a:cubicBezTo>
                <a:cubicBezTo>
                  <a:pt x="1614940" y="1817564"/>
                  <a:pt x="1590230" y="1792854"/>
                  <a:pt x="1590230" y="1762373"/>
                </a:cubicBezTo>
                <a:cubicBezTo>
                  <a:pt x="1590230" y="1731892"/>
                  <a:pt x="1614940" y="1707182"/>
                  <a:pt x="1645422" y="1707182"/>
                </a:cubicBezTo>
                <a:close/>
                <a:moveTo>
                  <a:pt x="1515130" y="1707182"/>
                </a:moveTo>
                <a:cubicBezTo>
                  <a:pt x="1545612" y="1707182"/>
                  <a:pt x="1570322" y="1731892"/>
                  <a:pt x="1570322" y="1762373"/>
                </a:cubicBezTo>
                <a:cubicBezTo>
                  <a:pt x="1570322" y="1792854"/>
                  <a:pt x="1545612" y="1817564"/>
                  <a:pt x="1515130" y="1817564"/>
                </a:cubicBezTo>
                <a:cubicBezTo>
                  <a:pt x="1484648" y="1817564"/>
                  <a:pt x="1459938" y="1792854"/>
                  <a:pt x="1459938" y="1762373"/>
                </a:cubicBezTo>
                <a:cubicBezTo>
                  <a:pt x="1459938" y="1731892"/>
                  <a:pt x="1484648" y="1707182"/>
                  <a:pt x="1515130" y="1707182"/>
                </a:cubicBezTo>
                <a:close/>
                <a:moveTo>
                  <a:pt x="1381494" y="1707182"/>
                </a:moveTo>
                <a:cubicBezTo>
                  <a:pt x="1411978" y="1707182"/>
                  <a:pt x="1436688" y="1731892"/>
                  <a:pt x="1436688" y="1762373"/>
                </a:cubicBezTo>
                <a:cubicBezTo>
                  <a:pt x="1436688" y="1792854"/>
                  <a:pt x="1411978" y="1817564"/>
                  <a:pt x="1381494" y="1817564"/>
                </a:cubicBezTo>
                <a:cubicBezTo>
                  <a:pt x="1351014" y="1817564"/>
                  <a:pt x="1326303" y="1792854"/>
                  <a:pt x="1326303" y="1762373"/>
                </a:cubicBezTo>
                <a:cubicBezTo>
                  <a:pt x="1326303" y="1731892"/>
                  <a:pt x="1351014" y="1707182"/>
                  <a:pt x="1381494" y="1707182"/>
                </a:cubicBezTo>
                <a:close/>
                <a:moveTo>
                  <a:pt x="1251201" y="1707182"/>
                </a:moveTo>
                <a:cubicBezTo>
                  <a:pt x="1281685" y="1707182"/>
                  <a:pt x="1306393" y="1731892"/>
                  <a:pt x="1306393" y="1762373"/>
                </a:cubicBezTo>
                <a:cubicBezTo>
                  <a:pt x="1306393" y="1792854"/>
                  <a:pt x="1281685" y="1817564"/>
                  <a:pt x="1251201" y="1817564"/>
                </a:cubicBezTo>
                <a:cubicBezTo>
                  <a:pt x="1220721" y="1817564"/>
                  <a:pt x="1196010" y="1792854"/>
                  <a:pt x="1196010" y="1762373"/>
                </a:cubicBezTo>
                <a:cubicBezTo>
                  <a:pt x="1196010" y="1731892"/>
                  <a:pt x="1220721" y="1707182"/>
                  <a:pt x="1251201" y="1707182"/>
                </a:cubicBezTo>
                <a:close/>
                <a:moveTo>
                  <a:pt x="1909361" y="1580232"/>
                </a:moveTo>
                <a:cubicBezTo>
                  <a:pt x="1939843" y="1580232"/>
                  <a:pt x="1964554" y="1604942"/>
                  <a:pt x="1964554" y="1635423"/>
                </a:cubicBezTo>
                <a:cubicBezTo>
                  <a:pt x="1964554" y="1665904"/>
                  <a:pt x="1939843" y="1690614"/>
                  <a:pt x="1909361" y="1690614"/>
                </a:cubicBezTo>
                <a:cubicBezTo>
                  <a:pt x="1878879" y="1690614"/>
                  <a:pt x="1854168" y="1665904"/>
                  <a:pt x="1854168" y="1635423"/>
                </a:cubicBezTo>
                <a:cubicBezTo>
                  <a:pt x="1854168" y="1604942"/>
                  <a:pt x="1878879" y="1580232"/>
                  <a:pt x="1909361" y="1580232"/>
                </a:cubicBezTo>
                <a:close/>
                <a:moveTo>
                  <a:pt x="1779065" y="1580232"/>
                </a:moveTo>
                <a:cubicBezTo>
                  <a:pt x="1809547" y="1580232"/>
                  <a:pt x="1834257" y="1604942"/>
                  <a:pt x="1834257" y="1635423"/>
                </a:cubicBezTo>
                <a:cubicBezTo>
                  <a:pt x="1834257" y="1665904"/>
                  <a:pt x="1809547" y="1690614"/>
                  <a:pt x="1779065" y="1690614"/>
                </a:cubicBezTo>
                <a:cubicBezTo>
                  <a:pt x="1748583" y="1690614"/>
                  <a:pt x="1723872" y="1665904"/>
                  <a:pt x="1723872" y="1635423"/>
                </a:cubicBezTo>
                <a:cubicBezTo>
                  <a:pt x="1723872" y="1604942"/>
                  <a:pt x="1748583" y="1580232"/>
                  <a:pt x="1779065" y="1580232"/>
                </a:cubicBezTo>
                <a:close/>
                <a:moveTo>
                  <a:pt x="1645431" y="1580232"/>
                </a:moveTo>
                <a:cubicBezTo>
                  <a:pt x="1675914" y="1580232"/>
                  <a:pt x="1700623" y="1604942"/>
                  <a:pt x="1700623" y="1635423"/>
                </a:cubicBezTo>
                <a:cubicBezTo>
                  <a:pt x="1700623" y="1665904"/>
                  <a:pt x="1675914" y="1690614"/>
                  <a:pt x="1645431" y="1690614"/>
                </a:cubicBezTo>
                <a:cubicBezTo>
                  <a:pt x="1614950" y="1690614"/>
                  <a:pt x="1590238" y="1665904"/>
                  <a:pt x="1590238" y="1635423"/>
                </a:cubicBezTo>
                <a:cubicBezTo>
                  <a:pt x="1590238" y="1604942"/>
                  <a:pt x="1614950" y="1580232"/>
                  <a:pt x="1645431" y="1580232"/>
                </a:cubicBezTo>
                <a:close/>
                <a:moveTo>
                  <a:pt x="1515140" y="1580232"/>
                </a:moveTo>
                <a:cubicBezTo>
                  <a:pt x="1545619" y="1580232"/>
                  <a:pt x="1570329" y="1604942"/>
                  <a:pt x="1570329" y="1635423"/>
                </a:cubicBezTo>
                <a:cubicBezTo>
                  <a:pt x="1570329" y="1665904"/>
                  <a:pt x="1545619" y="1690614"/>
                  <a:pt x="1515140" y="1690614"/>
                </a:cubicBezTo>
                <a:cubicBezTo>
                  <a:pt x="1484656" y="1690614"/>
                  <a:pt x="1459945" y="1665904"/>
                  <a:pt x="1459945" y="1635423"/>
                </a:cubicBezTo>
                <a:cubicBezTo>
                  <a:pt x="1459945" y="1604942"/>
                  <a:pt x="1484656" y="1580232"/>
                  <a:pt x="1515140" y="1580232"/>
                </a:cubicBezTo>
                <a:close/>
                <a:moveTo>
                  <a:pt x="1381504" y="1580232"/>
                </a:moveTo>
                <a:cubicBezTo>
                  <a:pt x="1411984" y="1580232"/>
                  <a:pt x="1436697" y="1604942"/>
                  <a:pt x="1436697" y="1635423"/>
                </a:cubicBezTo>
                <a:cubicBezTo>
                  <a:pt x="1436697" y="1665904"/>
                  <a:pt x="1411984" y="1690614"/>
                  <a:pt x="1381504" y="1690614"/>
                </a:cubicBezTo>
                <a:cubicBezTo>
                  <a:pt x="1351022" y="1690614"/>
                  <a:pt x="1326312" y="1665904"/>
                  <a:pt x="1326312" y="1635423"/>
                </a:cubicBezTo>
                <a:cubicBezTo>
                  <a:pt x="1326312" y="1604942"/>
                  <a:pt x="1351022" y="1580232"/>
                  <a:pt x="1381504" y="1580232"/>
                </a:cubicBezTo>
                <a:close/>
                <a:moveTo>
                  <a:pt x="1251210" y="1580232"/>
                </a:moveTo>
                <a:cubicBezTo>
                  <a:pt x="1281690" y="1580232"/>
                  <a:pt x="1306401" y="1604942"/>
                  <a:pt x="1306401" y="1635423"/>
                </a:cubicBezTo>
                <a:cubicBezTo>
                  <a:pt x="1306401" y="1665904"/>
                  <a:pt x="1281690" y="1690614"/>
                  <a:pt x="1251210" y="1690614"/>
                </a:cubicBezTo>
                <a:cubicBezTo>
                  <a:pt x="1220727" y="1690614"/>
                  <a:pt x="1196016" y="1665904"/>
                  <a:pt x="1196016" y="1635423"/>
                </a:cubicBezTo>
                <a:cubicBezTo>
                  <a:pt x="1196016" y="1604942"/>
                  <a:pt x="1220727" y="1580232"/>
                  <a:pt x="1251210" y="1580232"/>
                </a:cubicBezTo>
                <a:close/>
                <a:moveTo>
                  <a:pt x="9068806" y="1580228"/>
                </a:moveTo>
                <a:cubicBezTo>
                  <a:pt x="9099288" y="1580228"/>
                  <a:pt x="9123998" y="1604938"/>
                  <a:pt x="9123998" y="1635419"/>
                </a:cubicBezTo>
                <a:cubicBezTo>
                  <a:pt x="9123998" y="1665900"/>
                  <a:pt x="9099288" y="1690610"/>
                  <a:pt x="9068806" y="1690610"/>
                </a:cubicBezTo>
                <a:cubicBezTo>
                  <a:pt x="9038324" y="1690610"/>
                  <a:pt x="9013614" y="1665900"/>
                  <a:pt x="9013614" y="1635419"/>
                </a:cubicBezTo>
                <a:cubicBezTo>
                  <a:pt x="9013614" y="1604938"/>
                  <a:pt x="9038324" y="1580228"/>
                  <a:pt x="9068806" y="1580228"/>
                </a:cubicBezTo>
                <a:close/>
                <a:moveTo>
                  <a:pt x="8671243" y="1580228"/>
                </a:moveTo>
                <a:cubicBezTo>
                  <a:pt x="8701725" y="1580228"/>
                  <a:pt x="8726435" y="1604938"/>
                  <a:pt x="8726435" y="1635419"/>
                </a:cubicBezTo>
                <a:cubicBezTo>
                  <a:pt x="8726435" y="1665900"/>
                  <a:pt x="8701725" y="1690610"/>
                  <a:pt x="8671243" y="1690610"/>
                </a:cubicBezTo>
                <a:cubicBezTo>
                  <a:pt x="8640761" y="1690610"/>
                  <a:pt x="8616051" y="1665900"/>
                  <a:pt x="8616051" y="1635419"/>
                </a:cubicBezTo>
                <a:cubicBezTo>
                  <a:pt x="8616051" y="1604938"/>
                  <a:pt x="8640761" y="1580228"/>
                  <a:pt x="8671243" y="1580228"/>
                </a:cubicBezTo>
                <a:close/>
                <a:moveTo>
                  <a:pt x="8537609" y="1580228"/>
                </a:moveTo>
                <a:cubicBezTo>
                  <a:pt x="8568091" y="1580228"/>
                  <a:pt x="8592801" y="1604938"/>
                  <a:pt x="8592801" y="1635419"/>
                </a:cubicBezTo>
                <a:cubicBezTo>
                  <a:pt x="8592801" y="1665900"/>
                  <a:pt x="8568091" y="1690610"/>
                  <a:pt x="8537609" y="1690610"/>
                </a:cubicBezTo>
                <a:cubicBezTo>
                  <a:pt x="8507127" y="1690610"/>
                  <a:pt x="8482417" y="1665900"/>
                  <a:pt x="8482417" y="1635419"/>
                </a:cubicBezTo>
                <a:cubicBezTo>
                  <a:pt x="8482417" y="1604938"/>
                  <a:pt x="8507127" y="1580228"/>
                  <a:pt x="8537609" y="1580228"/>
                </a:cubicBezTo>
                <a:close/>
                <a:moveTo>
                  <a:pt x="8407318" y="1580228"/>
                </a:moveTo>
                <a:cubicBezTo>
                  <a:pt x="8437800" y="1580228"/>
                  <a:pt x="8462510" y="1604938"/>
                  <a:pt x="8462510" y="1635419"/>
                </a:cubicBezTo>
                <a:cubicBezTo>
                  <a:pt x="8462510" y="1665900"/>
                  <a:pt x="8437800" y="1690610"/>
                  <a:pt x="8407318" y="1690610"/>
                </a:cubicBezTo>
                <a:cubicBezTo>
                  <a:pt x="8376836" y="1690610"/>
                  <a:pt x="8352126" y="1665900"/>
                  <a:pt x="8352126" y="1635419"/>
                </a:cubicBezTo>
                <a:cubicBezTo>
                  <a:pt x="8352126" y="1604938"/>
                  <a:pt x="8376836" y="1580228"/>
                  <a:pt x="8407318" y="1580228"/>
                </a:cubicBezTo>
                <a:close/>
                <a:moveTo>
                  <a:pt x="8273682" y="1580228"/>
                </a:moveTo>
                <a:cubicBezTo>
                  <a:pt x="8304164" y="1580228"/>
                  <a:pt x="8328874" y="1604938"/>
                  <a:pt x="8328874" y="1635419"/>
                </a:cubicBezTo>
                <a:cubicBezTo>
                  <a:pt x="8328874" y="1665900"/>
                  <a:pt x="8304164" y="1690610"/>
                  <a:pt x="8273682" y="1690610"/>
                </a:cubicBezTo>
                <a:cubicBezTo>
                  <a:pt x="8243200" y="1690610"/>
                  <a:pt x="8218490" y="1665900"/>
                  <a:pt x="8218490" y="1635419"/>
                </a:cubicBezTo>
                <a:cubicBezTo>
                  <a:pt x="8218490" y="1604938"/>
                  <a:pt x="8243200" y="1580228"/>
                  <a:pt x="8273682" y="1580228"/>
                </a:cubicBezTo>
                <a:close/>
                <a:moveTo>
                  <a:pt x="8143386" y="1580228"/>
                </a:moveTo>
                <a:cubicBezTo>
                  <a:pt x="8173868" y="1580228"/>
                  <a:pt x="8198578" y="1604938"/>
                  <a:pt x="8198578" y="1635419"/>
                </a:cubicBezTo>
                <a:cubicBezTo>
                  <a:pt x="8198578" y="1665900"/>
                  <a:pt x="8173868" y="1690610"/>
                  <a:pt x="8143386" y="1690610"/>
                </a:cubicBezTo>
                <a:cubicBezTo>
                  <a:pt x="8112904" y="1690610"/>
                  <a:pt x="8088194" y="1665900"/>
                  <a:pt x="8088194" y="1635419"/>
                </a:cubicBezTo>
                <a:cubicBezTo>
                  <a:pt x="8088194" y="1604938"/>
                  <a:pt x="8112904" y="1580228"/>
                  <a:pt x="8143386" y="1580228"/>
                </a:cubicBezTo>
                <a:close/>
                <a:moveTo>
                  <a:pt x="8009752" y="1580228"/>
                </a:moveTo>
                <a:cubicBezTo>
                  <a:pt x="8040234" y="1580228"/>
                  <a:pt x="8064944" y="1604938"/>
                  <a:pt x="8064944" y="1635419"/>
                </a:cubicBezTo>
                <a:cubicBezTo>
                  <a:pt x="8064944" y="1665900"/>
                  <a:pt x="8040234" y="1690610"/>
                  <a:pt x="8009752" y="1690610"/>
                </a:cubicBezTo>
                <a:cubicBezTo>
                  <a:pt x="7979270" y="1690610"/>
                  <a:pt x="7954560" y="1665900"/>
                  <a:pt x="7954560" y="1635419"/>
                </a:cubicBezTo>
                <a:cubicBezTo>
                  <a:pt x="7954560" y="1604938"/>
                  <a:pt x="7979270" y="1580228"/>
                  <a:pt x="8009752" y="1580228"/>
                </a:cubicBezTo>
                <a:close/>
                <a:moveTo>
                  <a:pt x="7876117" y="1580228"/>
                </a:moveTo>
                <a:cubicBezTo>
                  <a:pt x="7906599" y="1580228"/>
                  <a:pt x="7931309" y="1604938"/>
                  <a:pt x="7931309" y="1635419"/>
                </a:cubicBezTo>
                <a:cubicBezTo>
                  <a:pt x="7931309" y="1665900"/>
                  <a:pt x="7906599" y="1690610"/>
                  <a:pt x="7876117" y="1690610"/>
                </a:cubicBezTo>
                <a:cubicBezTo>
                  <a:pt x="7845635" y="1690610"/>
                  <a:pt x="7820925" y="1665900"/>
                  <a:pt x="7820925" y="1635419"/>
                </a:cubicBezTo>
                <a:cubicBezTo>
                  <a:pt x="7820925" y="1604938"/>
                  <a:pt x="7845635" y="1580228"/>
                  <a:pt x="7876117" y="1580228"/>
                </a:cubicBezTo>
                <a:close/>
                <a:moveTo>
                  <a:pt x="7745824" y="1580228"/>
                </a:moveTo>
                <a:cubicBezTo>
                  <a:pt x="7776306" y="1580228"/>
                  <a:pt x="7801016" y="1604938"/>
                  <a:pt x="7801016" y="1635419"/>
                </a:cubicBezTo>
                <a:cubicBezTo>
                  <a:pt x="7801016" y="1665900"/>
                  <a:pt x="7776306" y="1690610"/>
                  <a:pt x="7745824" y="1690610"/>
                </a:cubicBezTo>
                <a:cubicBezTo>
                  <a:pt x="7715342" y="1690610"/>
                  <a:pt x="7690632" y="1665900"/>
                  <a:pt x="7690632" y="1635419"/>
                </a:cubicBezTo>
                <a:cubicBezTo>
                  <a:pt x="7690632" y="1604938"/>
                  <a:pt x="7715342" y="1580228"/>
                  <a:pt x="7745824" y="1580228"/>
                </a:cubicBezTo>
                <a:close/>
                <a:moveTo>
                  <a:pt x="7608849" y="1580228"/>
                </a:moveTo>
                <a:cubicBezTo>
                  <a:pt x="7639331" y="1580228"/>
                  <a:pt x="7664041" y="1604938"/>
                  <a:pt x="7664041" y="1635419"/>
                </a:cubicBezTo>
                <a:cubicBezTo>
                  <a:pt x="7664041" y="1665900"/>
                  <a:pt x="7639331" y="1690610"/>
                  <a:pt x="7608849" y="1690610"/>
                </a:cubicBezTo>
                <a:cubicBezTo>
                  <a:pt x="7578367" y="1690610"/>
                  <a:pt x="7553657" y="1665900"/>
                  <a:pt x="7553657" y="1635419"/>
                </a:cubicBezTo>
                <a:cubicBezTo>
                  <a:pt x="7553657" y="1604938"/>
                  <a:pt x="7578367" y="1580228"/>
                  <a:pt x="7608849" y="1580228"/>
                </a:cubicBezTo>
                <a:close/>
                <a:moveTo>
                  <a:pt x="7481895" y="1580228"/>
                </a:moveTo>
                <a:cubicBezTo>
                  <a:pt x="7512377" y="1580228"/>
                  <a:pt x="7537087" y="1604938"/>
                  <a:pt x="7537087" y="1635419"/>
                </a:cubicBezTo>
                <a:cubicBezTo>
                  <a:pt x="7537087" y="1665900"/>
                  <a:pt x="7512377" y="1690610"/>
                  <a:pt x="7481895" y="1690610"/>
                </a:cubicBezTo>
                <a:cubicBezTo>
                  <a:pt x="7451413" y="1690610"/>
                  <a:pt x="7426703" y="1665900"/>
                  <a:pt x="7426703" y="1635419"/>
                </a:cubicBezTo>
                <a:cubicBezTo>
                  <a:pt x="7426703" y="1604938"/>
                  <a:pt x="7451413" y="1580228"/>
                  <a:pt x="7481895" y="1580228"/>
                </a:cubicBezTo>
                <a:close/>
                <a:moveTo>
                  <a:pt x="7341579" y="1580228"/>
                </a:moveTo>
                <a:cubicBezTo>
                  <a:pt x="7372061" y="1580228"/>
                  <a:pt x="7396771" y="1604938"/>
                  <a:pt x="7396771" y="1635419"/>
                </a:cubicBezTo>
                <a:cubicBezTo>
                  <a:pt x="7396771" y="1665900"/>
                  <a:pt x="7372061" y="1690610"/>
                  <a:pt x="7341579" y="1690610"/>
                </a:cubicBezTo>
                <a:cubicBezTo>
                  <a:pt x="7311097" y="1690610"/>
                  <a:pt x="7286387" y="1665900"/>
                  <a:pt x="7286387" y="1635419"/>
                </a:cubicBezTo>
                <a:cubicBezTo>
                  <a:pt x="7286387" y="1604938"/>
                  <a:pt x="7311097" y="1580228"/>
                  <a:pt x="7341579" y="1580228"/>
                </a:cubicBezTo>
                <a:close/>
                <a:moveTo>
                  <a:pt x="7211286" y="1580228"/>
                </a:moveTo>
                <a:cubicBezTo>
                  <a:pt x="7241768" y="1580228"/>
                  <a:pt x="7266478" y="1604938"/>
                  <a:pt x="7266478" y="1635419"/>
                </a:cubicBezTo>
                <a:cubicBezTo>
                  <a:pt x="7266478" y="1665900"/>
                  <a:pt x="7241768" y="1690610"/>
                  <a:pt x="7211286" y="1690610"/>
                </a:cubicBezTo>
                <a:cubicBezTo>
                  <a:pt x="7180804" y="1690610"/>
                  <a:pt x="7156094" y="1665900"/>
                  <a:pt x="7156094" y="1635419"/>
                </a:cubicBezTo>
                <a:cubicBezTo>
                  <a:pt x="7156094" y="1604938"/>
                  <a:pt x="7180804" y="1580228"/>
                  <a:pt x="7211286" y="1580228"/>
                </a:cubicBezTo>
                <a:close/>
                <a:moveTo>
                  <a:pt x="7080993" y="1580228"/>
                </a:moveTo>
                <a:cubicBezTo>
                  <a:pt x="7111475" y="1580228"/>
                  <a:pt x="7136185" y="1604938"/>
                  <a:pt x="7136185" y="1635419"/>
                </a:cubicBezTo>
                <a:cubicBezTo>
                  <a:pt x="7136185" y="1665900"/>
                  <a:pt x="7111475" y="1690610"/>
                  <a:pt x="7080993" y="1690610"/>
                </a:cubicBezTo>
                <a:cubicBezTo>
                  <a:pt x="7050511" y="1690610"/>
                  <a:pt x="7025801" y="1665900"/>
                  <a:pt x="7025801" y="1635419"/>
                </a:cubicBezTo>
                <a:cubicBezTo>
                  <a:pt x="7025801" y="1604938"/>
                  <a:pt x="7050511" y="1580228"/>
                  <a:pt x="7080993" y="1580228"/>
                </a:cubicBezTo>
                <a:close/>
                <a:moveTo>
                  <a:pt x="6947357" y="1580228"/>
                </a:moveTo>
                <a:cubicBezTo>
                  <a:pt x="6977839" y="1580228"/>
                  <a:pt x="7002549" y="1604938"/>
                  <a:pt x="7002549" y="1635419"/>
                </a:cubicBezTo>
                <a:cubicBezTo>
                  <a:pt x="7002549" y="1665900"/>
                  <a:pt x="6977839" y="1690610"/>
                  <a:pt x="6947357" y="1690610"/>
                </a:cubicBezTo>
                <a:cubicBezTo>
                  <a:pt x="6916875" y="1690610"/>
                  <a:pt x="6892165" y="1665900"/>
                  <a:pt x="6892165" y="1635419"/>
                </a:cubicBezTo>
                <a:cubicBezTo>
                  <a:pt x="6892165" y="1604938"/>
                  <a:pt x="6916875" y="1580228"/>
                  <a:pt x="6947357" y="1580228"/>
                </a:cubicBezTo>
                <a:close/>
                <a:moveTo>
                  <a:pt x="6817063" y="1580228"/>
                </a:moveTo>
                <a:cubicBezTo>
                  <a:pt x="6847545" y="1580228"/>
                  <a:pt x="6872255" y="1604938"/>
                  <a:pt x="6872255" y="1635419"/>
                </a:cubicBezTo>
                <a:cubicBezTo>
                  <a:pt x="6872255" y="1665900"/>
                  <a:pt x="6847545" y="1690610"/>
                  <a:pt x="6817063" y="1690610"/>
                </a:cubicBezTo>
                <a:cubicBezTo>
                  <a:pt x="6786581" y="1690610"/>
                  <a:pt x="6761871" y="1665900"/>
                  <a:pt x="6761871" y="1635419"/>
                </a:cubicBezTo>
                <a:cubicBezTo>
                  <a:pt x="6761871" y="1604938"/>
                  <a:pt x="6786581" y="1580228"/>
                  <a:pt x="6817063" y="1580228"/>
                </a:cubicBezTo>
                <a:close/>
                <a:moveTo>
                  <a:pt x="6683431" y="1580228"/>
                </a:moveTo>
                <a:cubicBezTo>
                  <a:pt x="6713913" y="1580228"/>
                  <a:pt x="6738623" y="1604938"/>
                  <a:pt x="6738623" y="1635419"/>
                </a:cubicBezTo>
                <a:cubicBezTo>
                  <a:pt x="6738623" y="1665900"/>
                  <a:pt x="6713913" y="1690610"/>
                  <a:pt x="6683431" y="1690610"/>
                </a:cubicBezTo>
                <a:cubicBezTo>
                  <a:pt x="6652949" y="1690610"/>
                  <a:pt x="6628239" y="1665900"/>
                  <a:pt x="6628239" y="1635419"/>
                </a:cubicBezTo>
                <a:cubicBezTo>
                  <a:pt x="6628239" y="1604938"/>
                  <a:pt x="6652949" y="1580228"/>
                  <a:pt x="6683431" y="1580228"/>
                </a:cubicBezTo>
                <a:close/>
                <a:moveTo>
                  <a:pt x="6553137" y="1580228"/>
                </a:moveTo>
                <a:cubicBezTo>
                  <a:pt x="6583619" y="1580228"/>
                  <a:pt x="6608329" y="1604938"/>
                  <a:pt x="6608329" y="1635419"/>
                </a:cubicBezTo>
                <a:cubicBezTo>
                  <a:pt x="6608329" y="1665900"/>
                  <a:pt x="6583619" y="1690610"/>
                  <a:pt x="6553137" y="1690610"/>
                </a:cubicBezTo>
                <a:cubicBezTo>
                  <a:pt x="6522655" y="1690610"/>
                  <a:pt x="6497945" y="1665900"/>
                  <a:pt x="6497945" y="1635419"/>
                </a:cubicBezTo>
                <a:cubicBezTo>
                  <a:pt x="6497945" y="1604938"/>
                  <a:pt x="6522655" y="1580228"/>
                  <a:pt x="6553137" y="1580228"/>
                </a:cubicBezTo>
                <a:close/>
                <a:moveTo>
                  <a:pt x="6419502" y="1580228"/>
                </a:moveTo>
                <a:cubicBezTo>
                  <a:pt x="6449984" y="1580228"/>
                  <a:pt x="6474694" y="1604938"/>
                  <a:pt x="6474694" y="1635419"/>
                </a:cubicBezTo>
                <a:cubicBezTo>
                  <a:pt x="6474694" y="1665900"/>
                  <a:pt x="6449984" y="1690610"/>
                  <a:pt x="6419502" y="1690610"/>
                </a:cubicBezTo>
                <a:cubicBezTo>
                  <a:pt x="6389020" y="1690610"/>
                  <a:pt x="6364310" y="1665900"/>
                  <a:pt x="6364310" y="1635419"/>
                </a:cubicBezTo>
                <a:cubicBezTo>
                  <a:pt x="6364310" y="1604938"/>
                  <a:pt x="6389020" y="1580228"/>
                  <a:pt x="6419502" y="1580228"/>
                </a:cubicBezTo>
                <a:close/>
                <a:moveTo>
                  <a:pt x="6289208" y="1580228"/>
                </a:moveTo>
                <a:cubicBezTo>
                  <a:pt x="6319690" y="1580228"/>
                  <a:pt x="6344400" y="1604938"/>
                  <a:pt x="6344400" y="1635419"/>
                </a:cubicBezTo>
                <a:cubicBezTo>
                  <a:pt x="6344400" y="1665900"/>
                  <a:pt x="6319690" y="1690610"/>
                  <a:pt x="6289208" y="1690610"/>
                </a:cubicBezTo>
                <a:cubicBezTo>
                  <a:pt x="6258726" y="1690610"/>
                  <a:pt x="6234016" y="1665900"/>
                  <a:pt x="6234016" y="1635419"/>
                </a:cubicBezTo>
                <a:cubicBezTo>
                  <a:pt x="6234016" y="1604938"/>
                  <a:pt x="6258726" y="1580228"/>
                  <a:pt x="6289208" y="1580228"/>
                </a:cubicBezTo>
                <a:close/>
                <a:moveTo>
                  <a:pt x="6155572" y="1580228"/>
                </a:moveTo>
                <a:cubicBezTo>
                  <a:pt x="6186054" y="1580228"/>
                  <a:pt x="6210764" y="1604938"/>
                  <a:pt x="6210764" y="1635419"/>
                </a:cubicBezTo>
                <a:cubicBezTo>
                  <a:pt x="6210764" y="1665900"/>
                  <a:pt x="6186054" y="1690610"/>
                  <a:pt x="6155572" y="1690610"/>
                </a:cubicBezTo>
                <a:cubicBezTo>
                  <a:pt x="6125090" y="1690610"/>
                  <a:pt x="6100380" y="1665900"/>
                  <a:pt x="6100380" y="1635419"/>
                </a:cubicBezTo>
                <a:cubicBezTo>
                  <a:pt x="6100380" y="1604938"/>
                  <a:pt x="6125090" y="1580228"/>
                  <a:pt x="6155572" y="1580228"/>
                </a:cubicBezTo>
                <a:close/>
                <a:moveTo>
                  <a:pt x="6021938" y="1580228"/>
                </a:moveTo>
                <a:cubicBezTo>
                  <a:pt x="6052420" y="1580228"/>
                  <a:pt x="6077130" y="1604938"/>
                  <a:pt x="6077130" y="1635419"/>
                </a:cubicBezTo>
                <a:cubicBezTo>
                  <a:pt x="6077130" y="1665900"/>
                  <a:pt x="6052420" y="1690610"/>
                  <a:pt x="6021938" y="1690610"/>
                </a:cubicBezTo>
                <a:cubicBezTo>
                  <a:pt x="5991456" y="1690610"/>
                  <a:pt x="5966746" y="1665900"/>
                  <a:pt x="5966746" y="1635419"/>
                </a:cubicBezTo>
                <a:cubicBezTo>
                  <a:pt x="5966746" y="1604938"/>
                  <a:pt x="5991456" y="1580228"/>
                  <a:pt x="6021938" y="1580228"/>
                </a:cubicBezTo>
                <a:close/>
                <a:moveTo>
                  <a:pt x="5884964" y="1580228"/>
                </a:moveTo>
                <a:cubicBezTo>
                  <a:pt x="5915446" y="1580228"/>
                  <a:pt x="5940156" y="1604938"/>
                  <a:pt x="5940156" y="1635419"/>
                </a:cubicBezTo>
                <a:cubicBezTo>
                  <a:pt x="5940156" y="1665900"/>
                  <a:pt x="5915446" y="1690610"/>
                  <a:pt x="5884964" y="1690610"/>
                </a:cubicBezTo>
                <a:cubicBezTo>
                  <a:pt x="5854482" y="1690610"/>
                  <a:pt x="5829772" y="1665900"/>
                  <a:pt x="5829772" y="1635419"/>
                </a:cubicBezTo>
                <a:cubicBezTo>
                  <a:pt x="5829772" y="1604938"/>
                  <a:pt x="5854482" y="1580228"/>
                  <a:pt x="5884964" y="1580228"/>
                </a:cubicBezTo>
                <a:close/>
                <a:moveTo>
                  <a:pt x="5754670" y="1580228"/>
                </a:moveTo>
                <a:cubicBezTo>
                  <a:pt x="5785152" y="1580228"/>
                  <a:pt x="5809862" y="1604938"/>
                  <a:pt x="5809862" y="1635419"/>
                </a:cubicBezTo>
                <a:cubicBezTo>
                  <a:pt x="5809862" y="1665900"/>
                  <a:pt x="5785152" y="1690610"/>
                  <a:pt x="5754670" y="1690610"/>
                </a:cubicBezTo>
                <a:cubicBezTo>
                  <a:pt x="5724188" y="1690610"/>
                  <a:pt x="5699478" y="1665900"/>
                  <a:pt x="5699478" y="1635419"/>
                </a:cubicBezTo>
                <a:cubicBezTo>
                  <a:pt x="5699478" y="1604938"/>
                  <a:pt x="5724188" y="1580228"/>
                  <a:pt x="5754670" y="1580228"/>
                </a:cubicBezTo>
                <a:close/>
                <a:moveTo>
                  <a:pt x="5621035" y="1580228"/>
                </a:moveTo>
                <a:cubicBezTo>
                  <a:pt x="5651517" y="1580228"/>
                  <a:pt x="5676227" y="1604938"/>
                  <a:pt x="5676227" y="1635419"/>
                </a:cubicBezTo>
                <a:cubicBezTo>
                  <a:pt x="5676227" y="1665900"/>
                  <a:pt x="5651517" y="1690610"/>
                  <a:pt x="5621035" y="1690610"/>
                </a:cubicBezTo>
                <a:cubicBezTo>
                  <a:pt x="5590553" y="1690610"/>
                  <a:pt x="5565843" y="1665900"/>
                  <a:pt x="5565843" y="1635419"/>
                </a:cubicBezTo>
                <a:cubicBezTo>
                  <a:pt x="5565843" y="1604938"/>
                  <a:pt x="5590553" y="1580228"/>
                  <a:pt x="5621035" y="1580228"/>
                </a:cubicBezTo>
                <a:close/>
                <a:moveTo>
                  <a:pt x="5357105" y="1580228"/>
                </a:moveTo>
                <a:cubicBezTo>
                  <a:pt x="5387587" y="1580228"/>
                  <a:pt x="5412297" y="1604938"/>
                  <a:pt x="5412297" y="1635419"/>
                </a:cubicBezTo>
                <a:cubicBezTo>
                  <a:pt x="5412297" y="1665900"/>
                  <a:pt x="5387587" y="1690610"/>
                  <a:pt x="5357105" y="1690610"/>
                </a:cubicBezTo>
                <a:cubicBezTo>
                  <a:pt x="5326623" y="1690610"/>
                  <a:pt x="5301913" y="1665900"/>
                  <a:pt x="5301913" y="1635419"/>
                </a:cubicBezTo>
                <a:cubicBezTo>
                  <a:pt x="5301913" y="1604938"/>
                  <a:pt x="5326623" y="1580228"/>
                  <a:pt x="5357105" y="1580228"/>
                </a:cubicBezTo>
                <a:close/>
                <a:moveTo>
                  <a:pt x="5223473" y="1580228"/>
                </a:moveTo>
                <a:cubicBezTo>
                  <a:pt x="5253955" y="1580228"/>
                  <a:pt x="5278665" y="1604938"/>
                  <a:pt x="5278665" y="1635419"/>
                </a:cubicBezTo>
                <a:cubicBezTo>
                  <a:pt x="5278665" y="1665900"/>
                  <a:pt x="5253955" y="1690610"/>
                  <a:pt x="5223473" y="1690610"/>
                </a:cubicBezTo>
                <a:cubicBezTo>
                  <a:pt x="5192991" y="1690610"/>
                  <a:pt x="5168281" y="1665900"/>
                  <a:pt x="5168281" y="1635419"/>
                </a:cubicBezTo>
                <a:cubicBezTo>
                  <a:pt x="5168281" y="1604938"/>
                  <a:pt x="5192991" y="1580228"/>
                  <a:pt x="5223473" y="1580228"/>
                </a:cubicBezTo>
                <a:close/>
                <a:moveTo>
                  <a:pt x="5093178" y="1580228"/>
                </a:moveTo>
                <a:cubicBezTo>
                  <a:pt x="5123660" y="1580228"/>
                  <a:pt x="5148370" y="1604938"/>
                  <a:pt x="5148370" y="1635419"/>
                </a:cubicBezTo>
                <a:cubicBezTo>
                  <a:pt x="5148370" y="1665900"/>
                  <a:pt x="5123660" y="1690610"/>
                  <a:pt x="5093178" y="1690610"/>
                </a:cubicBezTo>
                <a:cubicBezTo>
                  <a:pt x="5062696" y="1690610"/>
                  <a:pt x="5037986" y="1665900"/>
                  <a:pt x="5037986" y="1635419"/>
                </a:cubicBezTo>
                <a:cubicBezTo>
                  <a:pt x="5037986" y="1604938"/>
                  <a:pt x="5062696" y="1580228"/>
                  <a:pt x="5093178" y="1580228"/>
                </a:cubicBezTo>
                <a:close/>
                <a:moveTo>
                  <a:pt x="4959543" y="1580228"/>
                </a:moveTo>
                <a:cubicBezTo>
                  <a:pt x="4990025" y="1580228"/>
                  <a:pt x="5014735" y="1604938"/>
                  <a:pt x="5014735" y="1635419"/>
                </a:cubicBezTo>
                <a:cubicBezTo>
                  <a:pt x="5014735" y="1665900"/>
                  <a:pt x="4990025" y="1690610"/>
                  <a:pt x="4959543" y="1690610"/>
                </a:cubicBezTo>
                <a:cubicBezTo>
                  <a:pt x="4929061" y="1690610"/>
                  <a:pt x="4904351" y="1665900"/>
                  <a:pt x="4904351" y="1635419"/>
                </a:cubicBezTo>
                <a:cubicBezTo>
                  <a:pt x="4904351" y="1604938"/>
                  <a:pt x="4929061" y="1580228"/>
                  <a:pt x="4959543" y="1580228"/>
                </a:cubicBezTo>
                <a:close/>
                <a:moveTo>
                  <a:pt x="4829251" y="1580228"/>
                </a:moveTo>
                <a:cubicBezTo>
                  <a:pt x="4859733" y="1580228"/>
                  <a:pt x="4884443" y="1604938"/>
                  <a:pt x="4884443" y="1635419"/>
                </a:cubicBezTo>
                <a:cubicBezTo>
                  <a:pt x="4884443" y="1665900"/>
                  <a:pt x="4859733" y="1690610"/>
                  <a:pt x="4829251" y="1690610"/>
                </a:cubicBezTo>
                <a:cubicBezTo>
                  <a:pt x="4798769" y="1690610"/>
                  <a:pt x="4774059" y="1665900"/>
                  <a:pt x="4774059" y="1635419"/>
                </a:cubicBezTo>
                <a:cubicBezTo>
                  <a:pt x="4774059" y="1604938"/>
                  <a:pt x="4798769" y="1580228"/>
                  <a:pt x="4829251" y="1580228"/>
                </a:cubicBezTo>
                <a:close/>
                <a:moveTo>
                  <a:pt x="4695613" y="1580228"/>
                </a:moveTo>
                <a:cubicBezTo>
                  <a:pt x="4726095" y="1580228"/>
                  <a:pt x="4750805" y="1604938"/>
                  <a:pt x="4750805" y="1635419"/>
                </a:cubicBezTo>
                <a:cubicBezTo>
                  <a:pt x="4750805" y="1665900"/>
                  <a:pt x="4726095" y="1690610"/>
                  <a:pt x="4695613" y="1690610"/>
                </a:cubicBezTo>
                <a:cubicBezTo>
                  <a:pt x="4665131" y="1690610"/>
                  <a:pt x="4640421" y="1665900"/>
                  <a:pt x="4640421" y="1635419"/>
                </a:cubicBezTo>
                <a:cubicBezTo>
                  <a:pt x="4640421" y="1604938"/>
                  <a:pt x="4665131" y="1580228"/>
                  <a:pt x="4695613" y="1580228"/>
                </a:cubicBezTo>
                <a:close/>
                <a:moveTo>
                  <a:pt x="4565322" y="1580228"/>
                </a:moveTo>
                <a:cubicBezTo>
                  <a:pt x="4595804" y="1580228"/>
                  <a:pt x="4620514" y="1604938"/>
                  <a:pt x="4620514" y="1635419"/>
                </a:cubicBezTo>
                <a:cubicBezTo>
                  <a:pt x="4620514" y="1665900"/>
                  <a:pt x="4595804" y="1690610"/>
                  <a:pt x="4565322" y="1690610"/>
                </a:cubicBezTo>
                <a:cubicBezTo>
                  <a:pt x="4534840" y="1690610"/>
                  <a:pt x="4510130" y="1665900"/>
                  <a:pt x="4510130" y="1635419"/>
                </a:cubicBezTo>
                <a:cubicBezTo>
                  <a:pt x="4510130" y="1604938"/>
                  <a:pt x="4534840" y="1580228"/>
                  <a:pt x="4565322" y="1580228"/>
                </a:cubicBezTo>
                <a:close/>
                <a:moveTo>
                  <a:pt x="3098681" y="1580228"/>
                </a:moveTo>
                <a:cubicBezTo>
                  <a:pt x="3129163" y="1580228"/>
                  <a:pt x="3153873" y="1604938"/>
                  <a:pt x="3153873" y="1635419"/>
                </a:cubicBezTo>
                <a:cubicBezTo>
                  <a:pt x="3153873" y="1665900"/>
                  <a:pt x="3129163" y="1690610"/>
                  <a:pt x="3098681" y="1690610"/>
                </a:cubicBezTo>
                <a:cubicBezTo>
                  <a:pt x="3068199" y="1690610"/>
                  <a:pt x="3043489" y="1665900"/>
                  <a:pt x="3043489" y="1635419"/>
                </a:cubicBezTo>
                <a:cubicBezTo>
                  <a:pt x="3043489" y="1604938"/>
                  <a:pt x="3068199" y="1580228"/>
                  <a:pt x="3098681" y="1580228"/>
                </a:cubicBezTo>
                <a:close/>
                <a:moveTo>
                  <a:pt x="2971729" y="1580228"/>
                </a:moveTo>
                <a:cubicBezTo>
                  <a:pt x="3002211" y="1580228"/>
                  <a:pt x="3026921" y="1604938"/>
                  <a:pt x="3026921" y="1635419"/>
                </a:cubicBezTo>
                <a:cubicBezTo>
                  <a:pt x="3026921" y="1665900"/>
                  <a:pt x="3002211" y="1690610"/>
                  <a:pt x="2971729" y="1690610"/>
                </a:cubicBezTo>
                <a:cubicBezTo>
                  <a:pt x="2941247" y="1690610"/>
                  <a:pt x="2916537" y="1665900"/>
                  <a:pt x="2916537" y="1635419"/>
                </a:cubicBezTo>
                <a:cubicBezTo>
                  <a:pt x="2916537" y="1604938"/>
                  <a:pt x="2941247" y="1580228"/>
                  <a:pt x="2971729" y="1580228"/>
                </a:cubicBezTo>
                <a:close/>
                <a:moveTo>
                  <a:pt x="2834783" y="1580228"/>
                </a:moveTo>
                <a:cubicBezTo>
                  <a:pt x="2865264" y="1580228"/>
                  <a:pt x="2889974" y="1604938"/>
                  <a:pt x="2889974" y="1635419"/>
                </a:cubicBezTo>
                <a:cubicBezTo>
                  <a:pt x="2889974" y="1665900"/>
                  <a:pt x="2865264" y="1690610"/>
                  <a:pt x="2834783" y="1690610"/>
                </a:cubicBezTo>
                <a:cubicBezTo>
                  <a:pt x="2804300" y="1690610"/>
                  <a:pt x="2779590" y="1665900"/>
                  <a:pt x="2779590" y="1635419"/>
                </a:cubicBezTo>
                <a:cubicBezTo>
                  <a:pt x="2779590" y="1604938"/>
                  <a:pt x="2804300" y="1580228"/>
                  <a:pt x="2834783" y="1580228"/>
                </a:cubicBezTo>
                <a:close/>
                <a:moveTo>
                  <a:pt x="2707828" y="1580228"/>
                </a:moveTo>
                <a:cubicBezTo>
                  <a:pt x="2738310" y="1580228"/>
                  <a:pt x="2763021" y="1604938"/>
                  <a:pt x="2763021" y="1635419"/>
                </a:cubicBezTo>
                <a:cubicBezTo>
                  <a:pt x="2763021" y="1665900"/>
                  <a:pt x="2738310" y="1690610"/>
                  <a:pt x="2707828" y="1690610"/>
                </a:cubicBezTo>
                <a:cubicBezTo>
                  <a:pt x="2677345" y="1690610"/>
                  <a:pt x="2652636" y="1665900"/>
                  <a:pt x="2652636" y="1635419"/>
                </a:cubicBezTo>
                <a:cubicBezTo>
                  <a:pt x="2652636" y="1604938"/>
                  <a:pt x="2677345" y="1580228"/>
                  <a:pt x="2707828" y="1580228"/>
                </a:cubicBezTo>
                <a:close/>
                <a:moveTo>
                  <a:pt x="2570854" y="1580228"/>
                </a:moveTo>
                <a:cubicBezTo>
                  <a:pt x="2601336" y="1580228"/>
                  <a:pt x="2626046" y="1604938"/>
                  <a:pt x="2626046" y="1635419"/>
                </a:cubicBezTo>
                <a:cubicBezTo>
                  <a:pt x="2626046" y="1665900"/>
                  <a:pt x="2601336" y="1690610"/>
                  <a:pt x="2570854" y="1690610"/>
                </a:cubicBezTo>
                <a:cubicBezTo>
                  <a:pt x="2540372" y="1690610"/>
                  <a:pt x="2515662" y="1665900"/>
                  <a:pt x="2515662" y="1635419"/>
                </a:cubicBezTo>
                <a:cubicBezTo>
                  <a:pt x="2515662" y="1604938"/>
                  <a:pt x="2540372" y="1580228"/>
                  <a:pt x="2570854" y="1580228"/>
                </a:cubicBezTo>
                <a:close/>
                <a:moveTo>
                  <a:pt x="2437218" y="1580228"/>
                </a:moveTo>
                <a:cubicBezTo>
                  <a:pt x="2467700" y="1580228"/>
                  <a:pt x="2492409" y="1604938"/>
                  <a:pt x="2492409" y="1635419"/>
                </a:cubicBezTo>
                <a:cubicBezTo>
                  <a:pt x="2492409" y="1665900"/>
                  <a:pt x="2467700" y="1690610"/>
                  <a:pt x="2437218" y="1690610"/>
                </a:cubicBezTo>
                <a:cubicBezTo>
                  <a:pt x="2406736" y="1690610"/>
                  <a:pt x="2382026" y="1665900"/>
                  <a:pt x="2382026" y="1635419"/>
                </a:cubicBezTo>
                <a:cubicBezTo>
                  <a:pt x="2382026" y="1604938"/>
                  <a:pt x="2406736" y="1580228"/>
                  <a:pt x="2437218" y="1580228"/>
                </a:cubicBezTo>
                <a:close/>
                <a:moveTo>
                  <a:pt x="2303586" y="1580228"/>
                </a:moveTo>
                <a:cubicBezTo>
                  <a:pt x="2334067" y="1580228"/>
                  <a:pt x="2358778" y="1604938"/>
                  <a:pt x="2358778" y="1635419"/>
                </a:cubicBezTo>
                <a:cubicBezTo>
                  <a:pt x="2358778" y="1665900"/>
                  <a:pt x="2334067" y="1690610"/>
                  <a:pt x="2303586" y="1690610"/>
                </a:cubicBezTo>
                <a:cubicBezTo>
                  <a:pt x="2273104" y="1690610"/>
                  <a:pt x="2248394" y="1665900"/>
                  <a:pt x="2248394" y="1635419"/>
                </a:cubicBezTo>
                <a:cubicBezTo>
                  <a:pt x="2248394" y="1604938"/>
                  <a:pt x="2273104" y="1580228"/>
                  <a:pt x="2303586" y="1580228"/>
                </a:cubicBezTo>
                <a:close/>
                <a:moveTo>
                  <a:pt x="2173293" y="1580228"/>
                </a:moveTo>
                <a:cubicBezTo>
                  <a:pt x="2203775" y="1580228"/>
                  <a:pt x="2228486" y="1604938"/>
                  <a:pt x="2228486" y="1635419"/>
                </a:cubicBezTo>
                <a:cubicBezTo>
                  <a:pt x="2228486" y="1665900"/>
                  <a:pt x="2203775" y="1690610"/>
                  <a:pt x="2173293" y="1690610"/>
                </a:cubicBezTo>
                <a:cubicBezTo>
                  <a:pt x="2142811" y="1690610"/>
                  <a:pt x="2118101" y="1665900"/>
                  <a:pt x="2118101" y="1635419"/>
                </a:cubicBezTo>
                <a:cubicBezTo>
                  <a:pt x="2118101" y="1604938"/>
                  <a:pt x="2142811" y="1580228"/>
                  <a:pt x="2173293" y="1580228"/>
                </a:cubicBezTo>
                <a:close/>
                <a:moveTo>
                  <a:pt x="2039658" y="1580228"/>
                </a:moveTo>
                <a:cubicBezTo>
                  <a:pt x="2070140" y="1580228"/>
                  <a:pt x="2094851" y="1604938"/>
                  <a:pt x="2094851" y="1635419"/>
                </a:cubicBezTo>
                <a:cubicBezTo>
                  <a:pt x="2094851" y="1665900"/>
                  <a:pt x="2070140" y="1690610"/>
                  <a:pt x="2039658" y="1690610"/>
                </a:cubicBezTo>
                <a:cubicBezTo>
                  <a:pt x="2009176" y="1690610"/>
                  <a:pt x="1984465" y="1665900"/>
                  <a:pt x="1984465" y="1635419"/>
                </a:cubicBezTo>
                <a:cubicBezTo>
                  <a:pt x="1984465" y="1604938"/>
                  <a:pt x="2009176" y="1580228"/>
                  <a:pt x="2039658" y="1580228"/>
                </a:cubicBezTo>
                <a:close/>
                <a:moveTo>
                  <a:pt x="9068807" y="1459958"/>
                </a:moveTo>
                <a:cubicBezTo>
                  <a:pt x="9099289" y="1459958"/>
                  <a:pt x="9123999" y="1484668"/>
                  <a:pt x="9123999" y="1515149"/>
                </a:cubicBezTo>
                <a:cubicBezTo>
                  <a:pt x="9123999" y="1545630"/>
                  <a:pt x="9099289" y="1570340"/>
                  <a:pt x="9068807" y="1570340"/>
                </a:cubicBezTo>
                <a:cubicBezTo>
                  <a:pt x="9038325" y="1570340"/>
                  <a:pt x="9013615" y="1545630"/>
                  <a:pt x="9013615" y="1515149"/>
                </a:cubicBezTo>
                <a:cubicBezTo>
                  <a:pt x="9013615" y="1484668"/>
                  <a:pt x="9038325" y="1459958"/>
                  <a:pt x="9068807" y="1459958"/>
                </a:cubicBezTo>
                <a:close/>
                <a:moveTo>
                  <a:pt x="8671244" y="1459958"/>
                </a:moveTo>
                <a:cubicBezTo>
                  <a:pt x="8701726" y="1459958"/>
                  <a:pt x="8726436" y="1484668"/>
                  <a:pt x="8726436" y="1515149"/>
                </a:cubicBezTo>
                <a:cubicBezTo>
                  <a:pt x="8726436" y="1545630"/>
                  <a:pt x="8701726" y="1570340"/>
                  <a:pt x="8671244" y="1570340"/>
                </a:cubicBezTo>
                <a:cubicBezTo>
                  <a:pt x="8640762" y="1570340"/>
                  <a:pt x="8616052" y="1545630"/>
                  <a:pt x="8616052" y="1515149"/>
                </a:cubicBezTo>
                <a:cubicBezTo>
                  <a:pt x="8616052" y="1484668"/>
                  <a:pt x="8640762" y="1459958"/>
                  <a:pt x="8671244" y="1459958"/>
                </a:cubicBezTo>
                <a:close/>
                <a:moveTo>
                  <a:pt x="8537612" y="1459958"/>
                </a:moveTo>
                <a:cubicBezTo>
                  <a:pt x="8568094" y="1459958"/>
                  <a:pt x="8592804" y="1484668"/>
                  <a:pt x="8592804" y="1515149"/>
                </a:cubicBezTo>
                <a:cubicBezTo>
                  <a:pt x="8592804" y="1545630"/>
                  <a:pt x="8568094" y="1570340"/>
                  <a:pt x="8537612" y="1570340"/>
                </a:cubicBezTo>
                <a:cubicBezTo>
                  <a:pt x="8507130" y="1570340"/>
                  <a:pt x="8482420" y="1545630"/>
                  <a:pt x="8482420" y="1515149"/>
                </a:cubicBezTo>
                <a:cubicBezTo>
                  <a:pt x="8482420" y="1484668"/>
                  <a:pt x="8507130" y="1459958"/>
                  <a:pt x="8537612" y="1459958"/>
                </a:cubicBezTo>
                <a:close/>
                <a:moveTo>
                  <a:pt x="8407316" y="1459958"/>
                </a:moveTo>
                <a:cubicBezTo>
                  <a:pt x="8437798" y="1459958"/>
                  <a:pt x="8462508" y="1484668"/>
                  <a:pt x="8462508" y="1515149"/>
                </a:cubicBezTo>
                <a:cubicBezTo>
                  <a:pt x="8462508" y="1545630"/>
                  <a:pt x="8437798" y="1570340"/>
                  <a:pt x="8407316" y="1570340"/>
                </a:cubicBezTo>
                <a:cubicBezTo>
                  <a:pt x="8376834" y="1570340"/>
                  <a:pt x="8352124" y="1545630"/>
                  <a:pt x="8352124" y="1515149"/>
                </a:cubicBezTo>
                <a:cubicBezTo>
                  <a:pt x="8352124" y="1484668"/>
                  <a:pt x="8376834" y="1459958"/>
                  <a:pt x="8407316" y="1459958"/>
                </a:cubicBezTo>
                <a:close/>
                <a:moveTo>
                  <a:pt x="8273682" y="1459958"/>
                </a:moveTo>
                <a:cubicBezTo>
                  <a:pt x="8304164" y="1459958"/>
                  <a:pt x="8328874" y="1484668"/>
                  <a:pt x="8328874" y="1515149"/>
                </a:cubicBezTo>
                <a:cubicBezTo>
                  <a:pt x="8328874" y="1545630"/>
                  <a:pt x="8304164" y="1570340"/>
                  <a:pt x="8273682" y="1570340"/>
                </a:cubicBezTo>
                <a:cubicBezTo>
                  <a:pt x="8243200" y="1570340"/>
                  <a:pt x="8218490" y="1545630"/>
                  <a:pt x="8218490" y="1515149"/>
                </a:cubicBezTo>
                <a:cubicBezTo>
                  <a:pt x="8218490" y="1484668"/>
                  <a:pt x="8243200" y="1459958"/>
                  <a:pt x="8273682" y="1459958"/>
                </a:cubicBezTo>
                <a:close/>
                <a:moveTo>
                  <a:pt x="8143388" y="1459958"/>
                </a:moveTo>
                <a:cubicBezTo>
                  <a:pt x="8173870" y="1459958"/>
                  <a:pt x="8198580" y="1484668"/>
                  <a:pt x="8198580" y="1515149"/>
                </a:cubicBezTo>
                <a:cubicBezTo>
                  <a:pt x="8198580" y="1545630"/>
                  <a:pt x="8173870" y="1570340"/>
                  <a:pt x="8143388" y="1570340"/>
                </a:cubicBezTo>
                <a:cubicBezTo>
                  <a:pt x="8112906" y="1570340"/>
                  <a:pt x="8088196" y="1545630"/>
                  <a:pt x="8088196" y="1515149"/>
                </a:cubicBezTo>
                <a:cubicBezTo>
                  <a:pt x="8088196" y="1484668"/>
                  <a:pt x="8112906" y="1459958"/>
                  <a:pt x="8143388" y="1459958"/>
                </a:cubicBezTo>
                <a:close/>
                <a:moveTo>
                  <a:pt x="8009753" y="1459958"/>
                </a:moveTo>
                <a:cubicBezTo>
                  <a:pt x="8040235" y="1459958"/>
                  <a:pt x="8064945" y="1484668"/>
                  <a:pt x="8064945" y="1515149"/>
                </a:cubicBezTo>
                <a:cubicBezTo>
                  <a:pt x="8064945" y="1545630"/>
                  <a:pt x="8040235" y="1570340"/>
                  <a:pt x="8009753" y="1570340"/>
                </a:cubicBezTo>
                <a:cubicBezTo>
                  <a:pt x="7979271" y="1570340"/>
                  <a:pt x="7954561" y="1545630"/>
                  <a:pt x="7954561" y="1515149"/>
                </a:cubicBezTo>
                <a:cubicBezTo>
                  <a:pt x="7954561" y="1484668"/>
                  <a:pt x="7979271" y="1459958"/>
                  <a:pt x="8009753" y="1459958"/>
                </a:cubicBezTo>
                <a:close/>
                <a:moveTo>
                  <a:pt x="7876118" y="1459958"/>
                </a:moveTo>
                <a:cubicBezTo>
                  <a:pt x="7906600" y="1459958"/>
                  <a:pt x="7931310" y="1484668"/>
                  <a:pt x="7931310" y="1515149"/>
                </a:cubicBezTo>
                <a:cubicBezTo>
                  <a:pt x="7931310" y="1545630"/>
                  <a:pt x="7906600" y="1570340"/>
                  <a:pt x="7876118" y="1570340"/>
                </a:cubicBezTo>
                <a:cubicBezTo>
                  <a:pt x="7845636" y="1570340"/>
                  <a:pt x="7820926" y="1545630"/>
                  <a:pt x="7820926" y="1515149"/>
                </a:cubicBezTo>
                <a:cubicBezTo>
                  <a:pt x="7820926" y="1484668"/>
                  <a:pt x="7845636" y="1459958"/>
                  <a:pt x="7876118" y="1459958"/>
                </a:cubicBezTo>
                <a:close/>
                <a:moveTo>
                  <a:pt x="7745823" y="1459958"/>
                </a:moveTo>
                <a:cubicBezTo>
                  <a:pt x="7776305" y="1459958"/>
                  <a:pt x="7801015" y="1484668"/>
                  <a:pt x="7801015" y="1515149"/>
                </a:cubicBezTo>
                <a:cubicBezTo>
                  <a:pt x="7801015" y="1545630"/>
                  <a:pt x="7776305" y="1570340"/>
                  <a:pt x="7745823" y="1570340"/>
                </a:cubicBezTo>
                <a:cubicBezTo>
                  <a:pt x="7715341" y="1570340"/>
                  <a:pt x="7690631" y="1545630"/>
                  <a:pt x="7690631" y="1515149"/>
                </a:cubicBezTo>
                <a:cubicBezTo>
                  <a:pt x="7690631" y="1484668"/>
                  <a:pt x="7715341" y="1459958"/>
                  <a:pt x="7745823" y="1459958"/>
                </a:cubicBezTo>
                <a:close/>
                <a:moveTo>
                  <a:pt x="7608849" y="1459958"/>
                </a:moveTo>
                <a:cubicBezTo>
                  <a:pt x="7639331" y="1459958"/>
                  <a:pt x="7664041" y="1484668"/>
                  <a:pt x="7664041" y="1515149"/>
                </a:cubicBezTo>
                <a:cubicBezTo>
                  <a:pt x="7664041" y="1545630"/>
                  <a:pt x="7639331" y="1570340"/>
                  <a:pt x="7608849" y="1570340"/>
                </a:cubicBezTo>
                <a:cubicBezTo>
                  <a:pt x="7578367" y="1570340"/>
                  <a:pt x="7553657" y="1545630"/>
                  <a:pt x="7553657" y="1515149"/>
                </a:cubicBezTo>
                <a:cubicBezTo>
                  <a:pt x="7553657" y="1484668"/>
                  <a:pt x="7578367" y="1459958"/>
                  <a:pt x="7608849" y="1459958"/>
                </a:cubicBezTo>
                <a:close/>
                <a:moveTo>
                  <a:pt x="7481897" y="1459958"/>
                </a:moveTo>
                <a:cubicBezTo>
                  <a:pt x="7512379" y="1459958"/>
                  <a:pt x="7537089" y="1484668"/>
                  <a:pt x="7537089" y="1515149"/>
                </a:cubicBezTo>
                <a:cubicBezTo>
                  <a:pt x="7537089" y="1545630"/>
                  <a:pt x="7512379" y="1570340"/>
                  <a:pt x="7481897" y="1570340"/>
                </a:cubicBezTo>
                <a:cubicBezTo>
                  <a:pt x="7451415" y="1570340"/>
                  <a:pt x="7426705" y="1545630"/>
                  <a:pt x="7426705" y="1515149"/>
                </a:cubicBezTo>
                <a:cubicBezTo>
                  <a:pt x="7426705" y="1484668"/>
                  <a:pt x="7451415" y="1459958"/>
                  <a:pt x="7481897" y="1459958"/>
                </a:cubicBezTo>
                <a:close/>
                <a:moveTo>
                  <a:pt x="7341579" y="1459958"/>
                </a:moveTo>
                <a:cubicBezTo>
                  <a:pt x="7372061" y="1459958"/>
                  <a:pt x="7396771" y="1484668"/>
                  <a:pt x="7396771" y="1515149"/>
                </a:cubicBezTo>
                <a:cubicBezTo>
                  <a:pt x="7396771" y="1545630"/>
                  <a:pt x="7372061" y="1570340"/>
                  <a:pt x="7341579" y="1570340"/>
                </a:cubicBezTo>
                <a:cubicBezTo>
                  <a:pt x="7311097" y="1570340"/>
                  <a:pt x="7286387" y="1545630"/>
                  <a:pt x="7286387" y="1515149"/>
                </a:cubicBezTo>
                <a:cubicBezTo>
                  <a:pt x="7286387" y="1484668"/>
                  <a:pt x="7311097" y="1459958"/>
                  <a:pt x="7341579" y="1459958"/>
                </a:cubicBezTo>
                <a:close/>
                <a:moveTo>
                  <a:pt x="7211286" y="1459958"/>
                </a:moveTo>
                <a:cubicBezTo>
                  <a:pt x="7241768" y="1459958"/>
                  <a:pt x="7266478" y="1484668"/>
                  <a:pt x="7266478" y="1515149"/>
                </a:cubicBezTo>
                <a:cubicBezTo>
                  <a:pt x="7266478" y="1545630"/>
                  <a:pt x="7241768" y="1570340"/>
                  <a:pt x="7211286" y="1570340"/>
                </a:cubicBezTo>
                <a:cubicBezTo>
                  <a:pt x="7180804" y="1570340"/>
                  <a:pt x="7156094" y="1545630"/>
                  <a:pt x="7156094" y="1515149"/>
                </a:cubicBezTo>
                <a:cubicBezTo>
                  <a:pt x="7156094" y="1484668"/>
                  <a:pt x="7180804" y="1459958"/>
                  <a:pt x="7211286" y="1459958"/>
                </a:cubicBezTo>
                <a:close/>
                <a:moveTo>
                  <a:pt x="7080993" y="1459958"/>
                </a:moveTo>
                <a:cubicBezTo>
                  <a:pt x="7111475" y="1459958"/>
                  <a:pt x="7136185" y="1484668"/>
                  <a:pt x="7136185" y="1515149"/>
                </a:cubicBezTo>
                <a:cubicBezTo>
                  <a:pt x="7136185" y="1545630"/>
                  <a:pt x="7111475" y="1570340"/>
                  <a:pt x="7080993" y="1570340"/>
                </a:cubicBezTo>
                <a:cubicBezTo>
                  <a:pt x="7050511" y="1570340"/>
                  <a:pt x="7025801" y="1545630"/>
                  <a:pt x="7025801" y="1515149"/>
                </a:cubicBezTo>
                <a:cubicBezTo>
                  <a:pt x="7025801" y="1484668"/>
                  <a:pt x="7050511" y="1459958"/>
                  <a:pt x="7080993" y="1459958"/>
                </a:cubicBezTo>
                <a:close/>
                <a:moveTo>
                  <a:pt x="6947357" y="1459958"/>
                </a:moveTo>
                <a:cubicBezTo>
                  <a:pt x="6977839" y="1459958"/>
                  <a:pt x="7002549" y="1484668"/>
                  <a:pt x="7002549" y="1515149"/>
                </a:cubicBezTo>
                <a:cubicBezTo>
                  <a:pt x="7002549" y="1545630"/>
                  <a:pt x="6977839" y="1570340"/>
                  <a:pt x="6947357" y="1570340"/>
                </a:cubicBezTo>
                <a:cubicBezTo>
                  <a:pt x="6916875" y="1570340"/>
                  <a:pt x="6892165" y="1545630"/>
                  <a:pt x="6892165" y="1515149"/>
                </a:cubicBezTo>
                <a:cubicBezTo>
                  <a:pt x="6892165" y="1484668"/>
                  <a:pt x="6916875" y="1459958"/>
                  <a:pt x="6947357" y="1459958"/>
                </a:cubicBezTo>
                <a:close/>
                <a:moveTo>
                  <a:pt x="6817064" y="1459958"/>
                </a:moveTo>
                <a:cubicBezTo>
                  <a:pt x="6847546" y="1459958"/>
                  <a:pt x="6872256" y="1484668"/>
                  <a:pt x="6872256" y="1515149"/>
                </a:cubicBezTo>
                <a:cubicBezTo>
                  <a:pt x="6872256" y="1545630"/>
                  <a:pt x="6847546" y="1570340"/>
                  <a:pt x="6817064" y="1570340"/>
                </a:cubicBezTo>
                <a:cubicBezTo>
                  <a:pt x="6786582" y="1570340"/>
                  <a:pt x="6761872" y="1545630"/>
                  <a:pt x="6761872" y="1515149"/>
                </a:cubicBezTo>
                <a:cubicBezTo>
                  <a:pt x="6761872" y="1484668"/>
                  <a:pt x="6786582" y="1459958"/>
                  <a:pt x="6817064" y="1459958"/>
                </a:cubicBezTo>
                <a:close/>
                <a:moveTo>
                  <a:pt x="6683431" y="1459958"/>
                </a:moveTo>
                <a:cubicBezTo>
                  <a:pt x="6713913" y="1459958"/>
                  <a:pt x="6738623" y="1484668"/>
                  <a:pt x="6738623" y="1515149"/>
                </a:cubicBezTo>
                <a:cubicBezTo>
                  <a:pt x="6738623" y="1545630"/>
                  <a:pt x="6713913" y="1570340"/>
                  <a:pt x="6683431" y="1570340"/>
                </a:cubicBezTo>
                <a:cubicBezTo>
                  <a:pt x="6652949" y="1570340"/>
                  <a:pt x="6628239" y="1545630"/>
                  <a:pt x="6628239" y="1515149"/>
                </a:cubicBezTo>
                <a:cubicBezTo>
                  <a:pt x="6628239" y="1484668"/>
                  <a:pt x="6652949" y="1459958"/>
                  <a:pt x="6683431" y="1459958"/>
                </a:cubicBezTo>
                <a:close/>
                <a:moveTo>
                  <a:pt x="6553137" y="1459958"/>
                </a:moveTo>
                <a:cubicBezTo>
                  <a:pt x="6583619" y="1459958"/>
                  <a:pt x="6608329" y="1484668"/>
                  <a:pt x="6608329" y="1515149"/>
                </a:cubicBezTo>
                <a:cubicBezTo>
                  <a:pt x="6608329" y="1545630"/>
                  <a:pt x="6583619" y="1570340"/>
                  <a:pt x="6553137" y="1570340"/>
                </a:cubicBezTo>
                <a:cubicBezTo>
                  <a:pt x="6522655" y="1570340"/>
                  <a:pt x="6497945" y="1545630"/>
                  <a:pt x="6497945" y="1515149"/>
                </a:cubicBezTo>
                <a:cubicBezTo>
                  <a:pt x="6497945" y="1484668"/>
                  <a:pt x="6522655" y="1459958"/>
                  <a:pt x="6553137" y="1459958"/>
                </a:cubicBezTo>
                <a:close/>
                <a:moveTo>
                  <a:pt x="6419502" y="1459958"/>
                </a:moveTo>
                <a:cubicBezTo>
                  <a:pt x="6449984" y="1459958"/>
                  <a:pt x="6474694" y="1484668"/>
                  <a:pt x="6474694" y="1515149"/>
                </a:cubicBezTo>
                <a:cubicBezTo>
                  <a:pt x="6474694" y="1545630"/>
                  <a:pt x="6449984" y="1570340"/>
                  <a:pt x="6419502" y="1570340"/>
                </a:cubicBezTo>
                <a:cubicBezTo>
                  <a:pt x="6389020" y="1570340"/>
                  <a:pt x="6364310" y="1545630"/>
                  <a:pt x="6364310" y="1515149"/>
                </a:cubicBezTo>
                <a:cubicBezTo>
                  <a:pt x="6364310" y="1484668"/>
                  <a:pt x="6389020" y="1459958"/>
                  <a:pt x="6419502" y="1459958"/>
                </a:cubicBezTo>
                <a:close/>
                <a:moveTo>
                  <a:pt x="6289207" y="1459958"/>
                </a:moveTo>
                <a:cubicBezTo>
                  <a:pt x="6319689" y="1459958"/>
                  <a:pt x="6344399" y="1484668"/>
                  <a:pt x="6344399" y="1515149"/>
                </a:cubicBezTo>
                <a:cubicBezTo>
                  <a:pt x="6344399" y="1545630"/>
                  <a:pt x="6319689" y="1570340"/>
                  <a:pt x="6289207" y="1570340"/>
                </a:cubicBezTo>
                <a:cubicBezTo>
                  <a:pt x="6258725" y="1570340"/>
                  <a:pt x="6234015" y="1545630"/>
                  <a:pt x="6234015" y="1515149"/>
                </a:cubicBezTo>
                <a:cubicBezTo>
                  <a:pt x="6234015" y="1484668"/>
                  <a:pt x="6258725" y="1459958"/>
                  <a:pt x="6289207" y="1459958"/>
                </a:cubicBezTo>
                <a:close/>
                <a:moveTo>
                  <a:pt x="6155573" y="1459958"/>
                </a:moveTo>
                <a:cubicBezTo>
                  <a:pt x="6186055" y="1459958"/>
                  <a:pt x="6210765" y="1484668"/>
                  <a:pt x="6210765" y="1515149"/>
                </a:cubicBezTo>
                <a:cubicBezTo>
                  <a:pt x="6210765" y="1545630"/>
                  <a:pt x="6186055" y="1570340"/>
                  <a:pt x="6155573" y="1570340"/>
                </a:cubicBezTo>
                <a:cubicBezTo>
                  <a:pt x="6125091" y="1570340"/>
                  <a:pt x="6100381" y="1545630"/>
                  <a:pt x="6100381" y="1515149"/>
                </a:cubicBezTo>
                <a:cubicBezTo>
                  <a:pt x="6100381" y="1484668"/>
                  <a:pt x="6125091" y="1459958"/>
                  <a:pt x="6155573" y="1459958"/>
                </a:cubicBezTo>
                <a:close/>
                <a:moveTo>
                  <a:pt x="6021939" y="1459958"/>
                </a:moveTo>
                <a:cubicBezTo>
                  <a:pt x="6052421" y="1459958"/>
                  <a:pt x="6077131" y="1484668"/>
                  <a:pt x="6077131" y="1515149"/>
                </a:cubicBezTo>
                <a:cubicBezTo>
                  <a:pt x="6077131" y="1545630"/>
                  <a:pt x="6052421" y="1570340"/>
                  <a:pt x="6021939" y="1570340"/>
                </a:cubicBezTo>
                <a:cubicBezTo>
                  <a:pt x="5991457" y="1570340"/>
                  <a:pt x="5966747" y="1545630"/>
                  <a:pt x="5966747" y="1515149"/>
                </a:cubicBezTo>
                <a:cubicBezTo>
                  <a:pt x="5966747" y="1484668"/>
                  <a:pt x="5991457" y="1459958"/>
                  <a:pt x="6021939" y="1459958"/>
                </a:cubicBezTo>
                <a:close/>
                <a:moveTo>
                  <a:pt x="5884964" y="1459958"/>
                </a:moveTo>
                <a:cubicBezTo>
                  <a:pt x="5915446" y="1459958"/>
                  <a:pt x="5940156" y="1484668"/>
                  <a:pt x="5940156" y="1515149"/>
                </a:cubicBezTo>
                <a:cubicBezTo>
                  <a:pt x="5940156" y="1545630"/>
                  <a:pt x="5915446" y="1570340"/>
                  <a:pt x="5884964" y="1570340"/>
                </a:cubicBezTo>
                <a:cubicBezTo>
                  <a:pt x="5854482" y="1570340"/>
                  <a:pt x="5829772" y="1545630"/>
                  <a:pt x="5829772" y="1515149"/>
                </a:cubicBezTo>
                <a:cubicBezTo>
                  <a:pt x="5829772" y="1484668"/>
                  <a:pt x="5854482" y="1459958"/>
                  <a:pt x="5884964" y="1459958"/>
                </a:cubicBezTo>
                <a:close/>
                <a:moveTo>
                  <a:pt x="5754668" y="1459958"/>
                </a:moveTo>
                <a:cubicBezTo>
                  <a:pt x="5785150" y="1459958"/>
                  <a:pt x="5809860" y="1484668"/>
                  <a:pt x="5809860" y="1515149"/>
                </a:cubicBezTo>
                <a:cubicBezTo>
                  <a:pt x="5809860" y="1545630"/>
                  <a:pt x="5785150" y="1570340"/>
                  <a:pt x="5754668" y="1570340"/>
                </a:cubicBezTo>
                <a:cubicBezTo>
                  <a:pt x="5724186" y="1570340"/>
                  <a:pt x="5699476" y="1545630"/>
                  <a:pt x="5699476" y="1515149"/>
                </a:cubicBezTo>
                <a:cubicBezTo>
                  <a:pt x="5699476" y="1484668"/>
                  <a:pt x="5724186" y="1459958"/>
                  <a:pt x="5754668" y="1459958"/>
                </a:cubicBezTo>
                <a:close/>
                <a:moveTo>
                  <a:pt x="5621034" y="1459958"/>
                </a:moveTo>
                <a:cubicBezTo>
                  <a:pt x="5651516" y="1459958"/>
                  <a:pt x="5676226" y="1484668"/>
                  <a:pt x="5676226" y="1515149"/>
                </a:cubicBezTo>
                <a:cubicBezTo>
                  <a:pt x="5676226" y="1545630"/>
                  <a:pt x="5651516" y="1570340"/>
                  <a:pt x="5621034" y="1570340"/>
                </a:cubicBezTo>
                <a:cubicBezTo>
                  <a:pt x="5590552" y="1570340"/>
                  <a:pt x="5565842" y="1545630"/>
                  <a:pt x="5565842" y="1515149"/>
                </a:cubicBezTo>
                <a:cubicBezTo>
                  <a:pt x="5565842" y="1484668"/>
                  <a:pt x="5590552" y="1459958"/>
                  <a:pt x="5621034" y="1459958"/>
                </a:cubicBezTo>
                <a:close/>
                <a:moveTo>
                  <a:pt x="5487399" y="1459958"/>
                </a:moveTo>
                <a:cubicBezTo>
                  <a:pt x="5517881" y="1459958"/>
                  <a:pt x="5542591" y="1484668"/>
                  <a:pt x="5542591" y="1515149"/>
                </a:cubicBezTo>
                <a:cubicBezTo>
                  <a:pt x="5542591" y="1545630"/>
                  <a:pt x="5517881" y="1570340"/>
                  <a:pt x="5487399" y="1570340"/>
                </a:cubicBezTo>
                <a:cubicBezTo>
                  <a:pt x="5456917" y="1570340"/>
                  <a:pt x="5432207" y="1545630"/>
                  <a:pt x="5432207" y="1515149"/>
                </a:cubicBezTo>
                <a:cubicBezTo>
                  <a:pt x="5432207" y="1484668"/>
                  <a:pt x="5456917" y="1459958"/>
                  <a:pt x="5487399" y="1459958"/>
                </a:cubicBezTo>
                <a:close/>
                <a:moveTo>
                  <a:pt x="5357106" y="1459958"/>
                </a:moveTo>
                <a:cubicBezTo>
                  <a:pt x="5387588" y="1459958"/>
                  <a:pt x="5412298" y="1484668"/>
                  <a:pt x="5412298" y="1515149"/>
                </a:cubicBezTo>
                <a:cubicBezTo>
                  <a:pt x="5412298" y="1545630"/>
                  <a:pt x="5387588" y="1570340"/>
                  <a:pt x="5357106" y="1570340"/>
                </a:cubicBezTo>
                <a:cubicBezTo>
                  <a:pt x="5326624" y="1570340"/>
                  <a:pt x="5301914" y="1545630"/>
                  <a:pt x="5301914" y="1515149"/>
                </a:cubicBezTo>
                <a:cubicBezTo>
                  <a:pt x="5301914" y="1484668"/>
                  <a:pt x="5326624" y="1459958"/>
                  <a:pt x="5357106" y="1459958"/>
                </a:cubicBezTo>
                <a:close/>
                <a:moveTo>
                  <a:pt x="5223473" y="1459958"/>
                </a:moveTo>
                <a:cubicBezTo>
                  <a:pt x="5253955" y="1459958"/>
                  <a:pt x="5278665" y="1484668"/>
                  <a:pt x="5278665" y="1515149"/>
                </a:cubicBezTo>
                <a:cubicBezTo>
                  <a:pt x="5278665" y="1545630"/>
                  <a:pt x="5253955" y="1570340"/>
                  <a:pt x="5223473" y="1570340"/>
                </a:cubicBezTo>
                <a:cubicBezTo>
                  <a:pt x="5192991" y="1570340"/>
                  <a:pt x="5168281" y="1545630"/>
                  <a:pt x="5168281" y="1515149"/>
                </a:cubicBezTo>
                <a:cubicBezTo>
                  <a:pt x="5168281" y="1484668"/>
                  <a:pt x="5192991" y="1459958"/>
                  <a:pt x="5223473" y="1459958"/>
                </a:cubicBezTo>
                <a:close/>
                <a:moveTo>
                  <a:pt x="5093178" y="1459958"/>
                </a:moveTo>
                <a:cubicBezTo>
                  <a:pt x="5123660" y="1459958"/>
                  <a:pt x="5148370" y="1484668"/>
                  <a:pt x="5148370" y="1515149"/>
                </a:cubicBezTo>
                <a:cubicBezTo>
                  <a:pt x="5148370" y="1545630"/>
                  <a:pt x="5123660" y="1570340"/>
                  <a:pt x="5093178" y="1570340"/>
                </a:cubicBezTo>
                <a:cubicBezTo>
                  <a:pt x="5062696" y="1570340"/>
                  <a:pt x="5037986" y="1545630"/>
                  <a:pt x="5037986" y="1515149"/>
                </a:cubicBezTo>
                <a:cubicBezTo>
                  <a:pt x="5037986" y="1484668"/>
                  <a:pt x="5062696" y="1459958"/>
                  <a:pt x="5093178" y="1459958"/>
                </a:cubicBezTo>
                <a:close/>
                <a:moveTo>
                  <a:pt x="4959542" y="1459958"/>
                </a:moveTo>
                <a:cubicBezTo>
                  <a:pt x="4990024" y="1459958"/>
                  <a:pt x="5014734" y="1484668"/>
                  <a:pt x="5014734" y="1515149"/>
                </a:cubicBezTo>
                <a:cubicBezTo>
                  <a:pt x="5014734" y="1545630"/>
                  <a:pt x="4990024" y="1570340"/>
                  <a:pt x="4959542" y="1570340"/>
                </a:cubicBezTo>
                <a:cubicBezTo>
                  <a:pt x="4929060" y="1570340"/>
                  <a:pt x="4904350" y="1545630"/>
                  <a:pt x="4904350" y="1515149"/>
                </a:cubicBezTo>
                <a:cubicBezTo>
                  <a:pt x="4904350" y="1484668"/>
                  <a:pt x="4929060" y="1459958"/>
                  <a:pt x="4959542" y="1459958"/>
                </a:cubicBezTo>
                <a:close/>
                <a:moveTo>
                  <a:pt x="4829250" y="1459958"/>
                </a:moveTo>
                <a:cubicBezTo>
                  <a:pt x="4859732" y="1459958"/>
                  <a:pt x="4884442" y="1484668"/>
                  <a:pt x="4884442" y="1515149"/>
                </a:cubicBezTo>
                <a:cubicBezTo>
                  <a:pt x="4884442" y="1545630"/>
                  <a:pt x="4859732" y="1570340"/>
                  <a:pt x="4829250" y="1570340"/>
                </a:cubicBezTo>
                <a:cubicBezTo>
                  <a:pt x="4798768" y="1570340"/>
                  <a:pt x="4774058" y="1545630"/>
                  <a:pt x="4774058" y="1515149"/>
                </a:cubicBezTo>
                <a:cubicBezTo>
                  <a:pt x="4774058" y="1484668"/>
                  <a:pt x="4798768" y="1459958"/>
                  <a:pt x="4829250" y="1459958"/>
                </a:cubicBezTo>
                <a:close/>
                <a:moveTo>
                  <a:pt x="4695614" y="1459958"/>
                </a:moveTo>
                <a:cubicBezTo>
                  <a:pt x="4726096" y="1459958"/>
                  <a:pt x="4750806" y="1484668"/>
                  <a:pt x="4750806" y="1515149"/>
                </a:cubicBezTo>
                <a:cubicBezTo>
                  <a:pt x="4750806" y="1545630"/>
                  <a:pt x="4726096" y="1570340"/>
                  <a:pt x="4695614" y="1570340"/>
                </a:cubicBezTo>
                <a:cubicBezTo>
                  <a:pt x="4665132" y="1570340"/>
                  <a:pt x="4640422" y="1545630"/>
                  <a:pt x="4640422" y="1515149"/>
                </a:cubicBezTo>
                <a:cubicBezTo>
                  <a:pt x="4640422" y="1484668"/>
                  <a:pt x="4665132" y="1459958"/>
                  <a:pt x="4695614" y="1459958"/>
                </a:cubicBezTo>
                <a:close/>
                <a:moveTo>
                  <a:pt x="4565322" y="1459958"/>
                </a:moveTo>
                <a:cubicBezTo>
                  <a:pt x="4595804" y="1459958"/>
                  <a:pt x="4620514" y="1484668"/>
                  <a:pt x="4620514" y="1515149"/>
                </a:cubicBezTo>
                <a:cubicBezTo>
                  <a:pt x="4620514" y="1545630"/>
                  <a:pt x="4595804" y="1570340"/>
                  <a:pt x="4565322" y="1570340"/>
                </a:cubicBezTo>
                <a:cubicBezTo>
                  <a:pt x="4534840" y="1570340"/>
                  <a:pt x="4510130" y="1545630"/>
                  <a:pt x="4510130" y="1515149"/>
                </a:cubicBezTo>
                <a:cubicBezTo>
                  <a:pt x="4510130" y="1484668"/>
                  <a:pt x="4534840" y="1459958"/>
                  <a:pt x="4565322" y="1459958"/>
                </a:cubicBezTo>
                <a:close/>
                <a:moveTo>
                  <a:pt x="4431687" y="1459958"/>
                </a:moveTo>
                <a:cubicBezTo>
                  <a:pt x="4462169" y="1459958"/>
                  <a:pt x="4486879" y="1484668"/>
                  <a:pt x="4486879" y="1515149"/>
                </a:cubicBezTo>
                <a:cubicBezTo>
                  <a:pt x="4486879" y="1545630"/>
                  <a:pt x="4462169" y="1570340"/>
                  <a:pt x="4431687" y="1570340"/>
                </a:cubicBezTo>
                <a:cubicBezTo>
                  <a:pt x="4401205" y="1570340"/>
                  <a:pt x="4376495" y="1545630"/>
                  <a:pt x="4376495" y="1515149"/>
                </a:cubicBezTo>
                <a:cubicBezTo>
                  <a:pt x="4376495" y="1484668"/>
                  <a:pt x="4401205" y="1459958"/>
                  <a:pt x="4431687" y="1459958"/>
                </a:cubicBezTo>
                <a:close/>
                <a:moveTo>
                  <a:pt x="3098681" y="1459958"/>
                </a:moveTo>
                <a:cubicBezTo>
                  <a:pt x="3129163" y="1459958"/>
                  <a:pt x="3153873" y="1484668"/>
                  <a:pt x="3153873" y="1515149"/>
                </a:cubicBezTo>
                <a:cubicBezTo>
                  <a:pt x="3153873" y="1545630"/>
                  <a:pt x="3129163" y="1570340"/>
                  <a:pt x="3098681" y="1570340"/>
                </a:cubicBezTo>
                <a:cubicBezTo>
                  <a:pt x="3068199" y="1570340"/>
                  <a:pt x="3043489" y="1545630"/>
                  <a:pt x="3043489" y="1515149"/>
                </a:cubicBezTo>
                <a:cubicBezTo>
                  <a:pt x="3043489" y="1484668"/>
                  <a:pt x="3068199" y="1459958"/>
                  <a:pt x="3098681" y="1459958"/>
                </a:cubicBezTo>
                <a:close/>
                <a:moveTo>
                  <a:pt x="2971729" y="1459958"/>
                </a:moveTo>
                <a:cubicBezTo>
                  <a:pt x="3002211" y="1459958"/>
                  <a:pt x="3026921" y="1484668"/>
                  <a:pt x="3026921" y="1515149"/>
                </a:cubicBezTo>
                <a:cubicBezTo>
                  <a:pt x="3026921" y="1545630"/>
                  <a:pt x="3002211" y="1570340"/>
                  <a:pt x="2971729" y="1570340"/>
                </a:cubicBezTo>
                <a:cubicBezTo>
                  <a:pt x="2941247" y="1570340"/>
                  <a:pt x="2916537" y="1545630"/>
                  <a:pt x="2916537" y="1515149"/>
                </a:cubicBezTo>
                <a:cubicBezTo>
                  <a:pt x="2916537" y="1484668"/>
                  <a:pt x="2941247" y="1459958"/>
                  <a:pt x="2971729" y="1459958"/>
                </a:cubicBezTo>
                <a:close/>
                <a:moveTo>
                  <a:pt x="2834792" y="1459958"/>
                </a:moveTo>
                <a:cubicBezTo>
                  <a:pt x="2865274" y="1459958"/>
                  <a:pt x="2889984" y="1484668"/>
                  <a:pt x="2889984" y="1515149"/>
                </a:cubicBezTo>
                <a:cubicBezTo>
                  <a:pt x="2889984" y="1545630"/>
                  <a:pt x="2865274" y="1570340"/>
                  <a:pt x="2834792" y="1570340"/>
                </a:cubicBezTo>
                <a:cubicBezTo>
                  <a:pt x="2804310" y="1570340"/>
                  <a:pt x="2779600" y="1545630"/>
                  <a:pt x="2779600" y="1515149"/>
                </a:cubicBezTo>
                <a:cubicBezTo>
                  <a:pt x="2779600" y="1484668"/>
                  <a:pt x="2804310" y="1459958"/>
                  <a:pt x="2834792" y="1459958"/>
                </a:cubicBezTo>
                <a:close/>
                <a:moveTo>
                  <a:pt x="2707839" y="1459958"/>
                </a:moveTo>
                <a:cubicBezTo>
                  <a:pt x="2738320" y="1459958"/>
                  <a:pt x="2763031" y="1484668"/>
                  <a:pt x="2763031" y="1515149"/>
                </a:cubicBezTo>
                <a:cubicBezTo>
                  <a:pt x="2763031" y="1545630"/>
                  <a:pt x="2738320" y="1570340"/>
                  <a:pt x="2707839" y="1570340"/>
                </a:cubicBezTo>
                <a:cubicBezTo>
                  <a:pt x="2677357" y="1570340"/>
                  <a:pt x="2652646" y="1545630"/>
                  <a:pt x="2652646" y="1515149"/>
                </a:cubicBezTo>
                <a:cubicBezTo>
                  <a:pt x="2652646" y="1484668"/>
                  <a:pt x="2677357" y="1459958"/>
                  <a:pt x="2707839" y="1459958"/>
                </a:cubicBezTo>
                <a:close/>
                <a:moveTo>
                  <a:pt x="2570864" y="1459958"/>
                </a:moveTo>
                <a:cubicBezTo>
                  <a:pt x="2601346" y="1459958"/>
                  <a:pt x="2626056" y="1484668"/>
                  <a:pt x="2626056" y="1515149"/>
                </a:cubicBezTo>
                <a:cubicBezTo>
                  <a:pt x="2626056" y="1545630"/>
                  <a:pt x="2601346" y="1570340"/>
                  <a:pt x="2570864" y="1570340"/>
                </a:cubicBezTo>
                <a:cubicBezTo>
                  <a:pt x="2540381" y="1570340"/>
                  <a:pt x="2515671" y="1545630"/>
                  <a:pt x="2515671" y="1515149"/>
                </a:cubicBezTo>
                <a:cubicBezTo>
                  <a:pt x="2515671" y="1484668"/>
                  <a:pt x="2540381" y="1459958"/>
                  <a:pt x="2570864" y="1459958"/>
                </a:cubicBezTo>
                <a:close/>
                <a:moveTo>
                  <a:pt x="2437228" y="1459958"/>
                </a:moveTo>
                <a:cubicBezTo>
                  <a:pt x="2467711" y="1459958"/>
                  <a:pt x="2492419" y="1484668"/>
                  <a:pt x="2492419" y="1515149"/>
                </a:cubicBezTo>
                <a:cubicBezTo>
                  <a:pt x="2492419" y="1545630"/>
                  <a:pt x="2467711" y="1570340"/>
                  <a:pt x="2437228" y="1570340"/>
                </a:cubicBezTo>
                <a:cubicBezTo>
                  <a:pt x="2406748" y="1570340"/>
                  <a:pt x="2382037" y="1545630"/>
                  <a:pt x="2382037" y="1515149"/>
                </a:cubicBezTo>
                <a:cubicBezTo>
                  <a:pt x="2382037" y="1484668"/>
                  <a:pt x="2406748" y="1459958"/>
                  <a:pt x="2437228" y="1459958"/>
                </a:cubicBezTo>
                <a:close/>
                <a:moveTo>
                  <a:pt x="2303596" y="1459958"/>
                </a:moveTo>
                <a:cubicBezTo>
                  <a:pt x="2334078" y="1459958"/>
                  <a:pt x="2358787" y="1484668"/>
                  <a:pt x="2358787" y="1515149"/>
                </a:cubicBezTo>
                <a:cubicBezTo>
                  <a:pt x="2358787" y="1545630"/>
                  <a:pt x="2334078" y="1570340"/>
                  <a:pt x="2303596" y="1570340"/>
                </a:cubicBezTo>
                <a:cubicBezTo>
                  <a:pt x="2273113" y="1570340"/>
                  <a:pt x="2248404" y="1545630"/>
                  <a:pt x="2248404" y="1515149"/>
                </a:cubicBezTo>
                <a:cubicBezTo>
                  <a:pt x="2248404" y="1484668"/>
                  <a:pt x="2273113" y="1459958"/>
                  <a:pt x="2303596" y="1459958"/>
                </a:cubicBezTo>
                <a:close/>
                <a:moveTo>
                  <a:pt x="2173305" y="1459958"/>
                </a:moveTo>
                <a:cubicBezTo>
                  <a:pt x="2203787" y="1459958"/>
                  <a:pt x="2228497" y="1484668"/>
                  <a:pt x="2228497" y="1515149"/>
                </a:cubicBezTo>
                <a:cubicBezTo>
                  <a:pt x="2228497" y="1545630"/>
                  <a:pt x="2203787" y="1570340"/>
                  <a:pt x="2173305" y="1570340"/>
                </a:cubicBezTo>
                <a:cubicBezTo>
                  <a:pt x="2142822" y="1570340"/>
                  <a:pt x="2118111" y="1545630"/>
                  <a:pt x="2118111" y="1515149"/>
                </a:cubicBezTo>
                <a:cubicBezTo>
                  <a:pt x="2118111" y="1484668"/>
                  <a:pt x="2142822" y="1459958"/>
                  <a:pt x="2173305" y="1459958"/>
                </a:cubicBezTo>
                <a:close/>
                <a:moveTo>
                  <a:pt x="2039668" y="1459958"/>
                </a:moveTo>
                <a:cubicBezTo>
                  <a:pt x="2070150" y="1459958"/>
                  <a:pt x="2094860" y="1484668"/>
                  <a:pt x="2094860" y="1515149"/>
                </a:cubicBezTo>
                <a:cubicBezTo>
                  <a:pt x="2094860" y="1545630"/>
                  <a:pt x="2070150" y="1570340"/>
                  <a:pt x="2039668" y="1570340"/>
                </a:cubicBezTo>
                <a:cubicBezTo>
                  <a:pt x="2009185" y="1570340"/>
                  <a:pt x="1984475" y="1545630"/>
                  <a:pt x="1984475" y="1515149"/>
                </a:cubicBezTo>
                <a:cubicBezTo>
                  <a:pt x="1984475" y="1484668"/>
                  <a:pt x="2009185" y="1459958"/>
                  <a:pt x="2039668" y="1459958"/>
                </a:cubicBezTo>
                <a:close/>
                <a:moveTo>
                  <a:pt x="1909371" y="1459958"/>
                </a:moveTo>
                <a:cubicBezTo>
                  <a:pt x="1939853" y="1459958"/>
                  <a:pt x="1964564" y="1484668"/>
                  <a:pt x="1964564" y="1515149"/>
                </a:cubicBezTo>
                <a:cubicBezTo>
                  <a:pt x="1964564" y="1545630"/>
                  <a:pt x="1939853" y="1570340"/>
                  <a:pt x="1909371" y="1570340"/>
                </a:cubicBezTo>
                <a:cubicBezTo>
                  <a:pt x="1878889" y="1570340"/>
                  <a:pt x="1854178" y="1545630"/>
                  <a:pt x="1854178" y="1515149"/>
                </a:cubicBezTo>
                <a:cubicBezTo>
                  <a:pt x="1854178" y="1484668"/>
                  <a:pt x="1878889" y="1459958"/>
                  <a:pt x="1909371" y="1459958"/>
                </a:cubicBezTo>
                <a:close/>
                <a:moveTo>
                  <a:pt x="1779076" y="1459958"/>
                </a:moveTo>
                <a:cubicBezTo>
                  <a:pt x="1809559" y="1459958"/>
                  <a:pt x="1834269" y="1484668"/>
                  <a:pt x="1834269" y="1515149"/>
                </a:cubicBezTo>
                <a:cubicBezTo>
                  <a:pt x="1834269" y="1545630"/>
                  <a:pt x="1809559" y="1570340"/>
                  <a:pt x="1779076" y="1570340"/>
                </a:cubicBezTo>
                <a:cubicBezTo>
                  <a:pt x="1748595" y="1570340"/>
                  <a:pt x="1723884" y="1545630"/>
                  <a:pt x="1723884" y="1515149"/>
                </a:cubicBezTo>
                <a:cubicBezTo>
                  <a:pt x="1723884" y="1484668"/>
                  <a:pt x="1748595" y="1459958"/>
                  <a:pt x="1779076" y="1459958"/>
                </a:cubicBezTo>
                <a:close/>
                <a:moveTo>
                  <a:pt x="1645440" y="1459958"/>
                </a:moveTo>
                <a:cubicBezTo>
                  <a:pt x="1675922" y="1459958"/>
                  <a:pt x="1700637" y="1484668"/>
                  <a:pt x="1700637" y="1515149"/>
                </a:cubicBezTo>
                <a:cubicBezTo>
                  <a:pt x="1700637" y="1545630"/>
                  <a:pt x="1675922" y="1570340"/>
                  <a:pt x="1645440" y="1570340"/>
                </a:cubicBezTo>
                <a:cubicBezTo>
                  <a:pt x="1614959" y="1570340"/>
                  <a:pt x="1590248" y="1545630"/>
                  <a:pt x="1590248" y="1515149"/>
                </a:cubicBezTo>
                <a:cubicBezTo>
                  <a:pt x="1590248" y="1484668"/>
                  <a:pt x="1614959" y="1459958"/>
                  <a:pt x="1645440" y="1459958"/>
                </a:cubicBezTo>
                <a:close/>
                <a:moveTo>
                  <a:pt x="1515149" y="1459958"/>
                </a:moveTo>
                <a:cubicBezTo>
                  <a:pt x="1545630" y="1459958"/>
                  <a:pt x="1570338" y="1484668"/>
                  <a:pt x="1570338" y="1515149"/>
                </a:cubicBezTo>
                <a:cubicBezTo>
                  <a:pt x="1570338" y="1545630"/>
                  <a:pt x="1545630" y="1570340"/>
                  <a:pt x="1515149" y="1570340"/>
                </a:cubicBezTo>
                <a:cubicBezTo>
                  <a:pt x="1484666" y="1570340"/>
                  <a:pt x="1459956" y="1545630"/>
                  <a:pt x="1459956" y="1515149"/>
                </a:cubicBezTo>
                <a:cubicBezTo>
                  <a:pt x="1459956" y="1484668"/>
                  <a:pt x="1484666" y="1459958"/>
                  <a:pt x="1515149" y="1459958"/>
                </a:cubicBezTo>
                <a:close/>
                <a:moveTo>
                  <a:pt x="1381511" y="1459958"/>
                </a:moveTo>
                <a:cubicBezTo>
                  <a:pt x="1411994" y="1459958"/>
                  <a:pt x="1436705" y="1484668"/>
                  <a:pt x="1436705" y="1515149"/>
                </a:cubicBezTo>
                <a:cubicBezTo>
                  <a:pt x="1436705" y="1545630"/>
                  <a:pt x="1411994" y="1570340"/>
                  <a:pt x="1381511" y="1570340"/>
                </a:cubicBezTo>
                <a:cubicBezTo>
                  <a:pt x="1351035" y="1570340"/>
                  <a:pt x="1326322" y="1545630"/>
                  <a:pt x="1326322" y="1515149"/>
                </a:cubicBezTo>
                <a:cubicBezTo>
                  <a:pt x="1326322" y="1484668"/>
                  <a:pt x="1351035" y="1459958"/>
                  <a:pt x="1381511" y="1459958"/>
                </a:cubicBezTo>
                <a:close/>
                <a:moveTo>
                  <a:pt x="1251220" y="1459958"/>
                </a:moveTo>
                <a:cubicBezTo>
                  <a:pt x="1281702" y="1459958"/>
                  <a:pt x="1306413" y="1484668"/>
                  <a:pt x="1306413" y="1515149"/>
                </a:cubicBezTo>
                <a:cubicBezTo>
                  <a:pt x="1306413" y="1545630"/>
                  <a:pt x="1281702" y="1570340"/>
                  <a:pt x="1251220" y="1570340"/>
                </a:cubicBezTo>
                <a:cubicBezTo>
                  <a:pt x="1220737" y="1570340"/>
                  <a:pt x="1196028" y="1545630"/>
                  <a:pt x="1196028" y="1515149"/>
                </a:cubicBezTo>
                <a:cubicBezTo>
                  <a:pt x="1196028" y="1484668"/>
                  <a:pt x="1220737" y="1459958"/>
                  <a:pt x="1251220" y="1459958"/>
                </a:cubicBezTo>
                <a:close/>
                <a:moveTo>
                  <a:pt x="1117583" y="1459958"/>
                </a:moveTo>
                <a:cubicBezTo>
                  <a:pt x="1148066" y="1459958"/>
                  <a:pt x="1172776" y="1484668"/>
                  <a:pt x="1172776" y="1515149"/>
                </a:cubicBezTo>
                <a:cubicBezTo>
                  <a:pt x="1172776" y="1545630"/>
                  <a:pt x="1148066" y="1570340"/>
                  <a:pt x="1117583" y="1570340"/>
                </a:cubicBezTo>
                <a:cubicBezTo>
                  <a:pt x="1087101" y="1570340"/>
                  <a:pt x="1062390" y="1545630"/>
                  <a:pt x="1062390" y="1515149"/>
                </a:cubicBezTo>
                <a:cubicBezTo>
                  <a:pt x="1062390" y="1484668"/>
                  <a:pt x="1087101" y="1459958"/>
                  <a:pt x="1117583" y="1459958"/>
                </a:cubicBezTo>
                <a:close/>
                <a:moveTo>
                  <a:pt x="980607" y="1459958"/>
                </a:moveTo>
                <a:cubicBezTo>
                  <a:pt x="1011090" y="1459958"/>
                  <a:pt x="1035800" y="1484668"/>
                  <a:pt x="1035800" y="1515149"/>
                </a:cubicBezTo>
                <a:cubicBezTo>
                  <a:pt x="1035800" y="1545630"/>
                  <a:pt x="1011090" y="1570340"/>
                  <a:pt x="980607" y="1570340"/>
                </a:cubicBezTo>
                <a:cubicBezTo>
                  <a:pt x="950125" y="1570340"/>
                  <a:pt x="925415" y="1545630"/>
                  <a:pt x="925415" y="1515149"/>
                </a:cubicBezTo>
                <a:cubicBezTo>
                  <a:pt x="925415" y="1484668"/>
                  <a:pt x="950125" y="1459958"/>
                  <a:pt x="980607" y="1459958"/>
                </a:cubicBezTo>
                <a:close/>
                <a:moveTo>
                  <a:pt x="7608849" y="1336350"/>
                </a:moveTo>
                <a:cubicBezTo>
                  <a:pt x="7639331" y="1336350"/>
                  <a:pt x="7664041" y="1361060"/>
                  <a:pt x="7664041" y="1391541"/>
                </a:cubicBezTo>
                <a:cubicBezTo>
                  <a:pt x="7664041" y="1422022"/>
                  <a:pt x="7639331" y="1446732"/>
                  <a:pt x="7608849" y="1446732"/>
                </a:cubicBezTo>
                <a:cubicBezTo>
                  <a:pt x="7578367" y="1446732"/>
                  <a:pt x="7553657" y="1422022"/>
                  <a:pt x="7553657" y="1391541"/>
                </a:cubicBezTo>
                <a:cubicBezTo>
                  <a:pt x="7553657" y="1361060"/>
                  <a:pt x="7578367" y="1336350"/>
                  <a:pt x="7608849" y="1336350"/>
                </a:cubicBezTo>
                <a:close/>
                <a:moveTo>
                  <a:pt x="7481897" y="1336350"/>
                </a:moveTo>
                <a:cubicBezTo>
                  <a:pt x="7512379" y="1336350"/>
                  <a:pt x="7537089" y="1361060"/>
                  <a:pt x="7537089" y="1391541"/>
                </a:cubicBezTo>
                <a:cubicBezTo>
                  <a:pt x="7537089" y="1422022"/>
                  <a:pt x="7512379" y="1446732"/>
                  <a:pt x="7481897" y="1446732"/>
                </a:cubicBezTo>
                <a:cubicBezTo>
                  <a:pt x="7451415" y="1446732"/>
                  <a:pt x="7426705" y="1422022"/>
                  <a:pt x="7426705" y="1391541"/>
                </a:cubicBezTo>
                <a:cubicBezTo>
                  <a:pt x="7426705" y="1361060"/>
                  <a:pt x="7451415" y="1336350"/>
                  <a:pt x="7481897" y="1336350"/>
                </a:cubicBezTo>
                <a:close/>
                <a:moveTo>
                  <a:pt x="7341579" y="1336350"/>
                </a:moveTo>
                <a:cubicBezTo>
                  <a:pt x="7372061" y="1336350"/>
                  <a:pt x="7396771" y="1361060"/>
                  <a:pt x="7396771" y="1391541"/>
                </a:cubicBezTo>
                <a:cubicBezTo>
                  <a:pt x="7396771" y="1422022"/>
                  <a:pt x="7372061" y="1446732"/>
                  <a:pt x="7341579" y="1446732"/>
                </a:cubicBezTo>
                <a:cubicBezTo>
                  <a:pt x="7311097" y="1446732"/>
                  <a:pt x="7286387" y="1422022"/>
                  <a:pt x="7286387" y="1391541"/>
                </a:cubicBezTo>
                <a:cubicBezTo>
                  <a:pt x="7286387" y="1361060"/>
                  <a:pt x="7311097" y="1336350"/>
                  <a:pt x="7341579" y="1336350"/>
                </a:cubicBezTo>
                <a:close/>
                <a:moveTo>
                  <a:pt x="7211286" y="1336350"/>
                </a:moveTo>
                <a:cubicBezTo>
                  <a:pt x="7241768" y="1336350"/>
                  <a:pt x="7266478" y="1361060"/>
                  <a:pt x="7266478" y="1391541"/>
                </a:cubicBezTo>
                <a:cubicBezTo>
                  <a:pt x="7266478" y="1422022"/>
                  <a:pt x="7241768" y="1446732"/>
                  <a:pt x="7211286" y="1446732"/>
                </a:cubicBezTo>
                <a:cubicBezTo>
                  <a:pt x="7180804" y="1446732"/>
                  <a:pt x="7156094" y="1422022"/>
                  <a:pt x="7156094" y="1391541"/>
                </a:cubicBezTo>
                <a:cubicBezTo>
                  <a:pt x="7156094" y="1361060"/>
                  <a:pt x="7180804" y="1336350"/>
                  <a:pt x="7211286" y="1336350"/>
                </a:cubicBezTo>
                <a:close/>
                <a:moveTo>
                  <a:pt x="7080993" y="1336350"/>
                </a:moveTo>
                <a:cubicBezTo>
                  <a:pt x="7111475" y="1336350"/>
                  <a:pt x="7136185" y="1361060"/>
                  <a:pt x="7136185" y="1391541"/>
                </a:cubicBezTo>
                <a:cubicBezTo>
                  <a:pt x="7136185" y="1422022"/>
                  <a:pt x="7111475" y="1446732"/>
                  <a:pt x="7080993" y="1446732"/>
                </a:cubicBezTo>
                <a:cubicBezTo>
                  <a:pt x="7050511" y="1446732"/>
                  <a:pt x="7025801" y="1422022"/>
                  <a:pt x="7025801" y="1391541"/>
                </a:cubicBezTo>
                <a:cubicBezTo>
                  <a:pt x="7025801" y="1361060"/>
                  <a:pt x="7050511" y="1336350"/>
                  <a:pt x="7080993" y="1336350"/>
                </a:cubicBezTo>
                <a:close/>
                <a:moveTo>
                  <a:pt x="6947357" y="1336350"/>
                </a:moveTo>
                <a:cubicBezTo>
                  <a:pt x="6977839" y="1336350"/>
                  <a:pt x="7002549" y="1361060"/>
                  <a:pt x="7002549" y="1391541"/>
                </a:cubicBezTo>
                <a:cubicBezTo>
                  <a:pt x="7002549" y="1422022"/>
                  <a:pt x="6977839" y="1446732"/>
                  <a:pt x="6947357" y="1446732"/>
                </a:cubicBezTo>
                <a:cubicBezTo>
                  <a:pt x="6916875" y="1446732"/>
                  <a:pt x="6892165" y="1422022"/>
                  <a:pt x="6892165" y="1391541"/>
                </a:cubicBezTo>
                <a:cubicBezTo>
                  <a:pt x="6892165" y="1361060"/>
                  <a:pt x="6916875" y="1336350"/>
                  <a:pt x="6947357" y="1336350"/>
                </a:cubicBezTo>
                <a:close/>
                <a:moveTo>
                  <a:pt x="6817064" y="1336350"/>
                </a:moveTo>
                <a:cubicBezTo>
                  <a:pt x="6847546" y="1336350"/>
                  <a:pt x="6872256" y="1361060"/>
                  <a:pt x="6872256" y="1391541"/>
                </a:cubicBezTo>
                <a:cubicBezTo>
                  <a:pt x="6872256" y="1422022"/>
                  <a:pt x="6847546" y="1446732"/>
                  <a:pt x="6817064" y="1446732"/>
                </a:cubicBezTo>
                <a:cubicBezTo>
                  <a:pt x="6786582" y="1446732"/>
                  <a:pt x="6761872" y="1422022"/>
                  <a:pt x="6761872" y="1391541"/>
                </a:cubicBezTo>
                <a:cubicBezTo>
                  <a:pt x="6761872" y="1361060"/>
                  <a:pt x="6786582" y="1336350"/>
                  <a:pt x="6817064" y="1336350"/>
                </a:cubicBezTo>
                <a:close/>
                <a:moveTo>
                  <a:pt x="6683431" y="1336350"/>
                </a:moveTo>
                <a:cubicBezTo>
                  <a:pt x="6713913" y="1336350"/>
                  <a:pt x="6738623" y="1361060"/>
                  <a:pt x="6738623" y="1391541"/>
                </a:cubicBezTo>
                <a:cubicBezTo>
                  <a:pt x="6738623" y="1422022"/>
                  <a:pt x="6713913" y="1446732"/>
                  <a:pt x="6683431" y="1446732"/>
                </a:cubicBezTo>
                <a:cubicBezTo>
                  <a:pt x="6652949" y="1446732"/>
                  <a:pt x="6628239" y="1422022"/>
                  <a:pt x="6628239" y="1391541"/>
                </a:cubicBezTo>
                <a:cubicBezTo>
                  <a:pt x="6628239" y="1361060"/>
                  <a:pt x="6652949" y="1336350"/>
                  <a:pt x="6683431" y="1336350"/>
                </a:cubicBezTo>
                <a:close/>
                <a:moveTo>
                  <a:pt x="6553137" y="1336350"/>
                </a:moveTo>
                <a:cubicBezTo>
                  <a:pt x="6583619" y="1336350"/>
                  <a:pt x="6608329" y="1361060"/>
                  <a:pt x="6608329" y="1391541"/>
                </a:cubicBezTo>
                <a:cubicBezTo>
                  <a:pt x="6608329" y="1422022"/>
                  <a:pt x="6583619" y="1446732"/>
                  <a:pt x="6553137" y="1446732"/>
                </a:cubicBezTo>
                <a:cubicBezTo>
                  <a:pt x="6522655" y="1446732"/>
                  <a:pt x="6497945" y="1422022"/>
                  <a:pt x="6497945" y="1391541"/>
                </a:cubicBezTo>
                <a:cubicBezTo>
                  <a:pt x="6497945" y="1361060"/>
                  <a:pt x="6522655" y="1336350"/>
                  <a:pt x="6553137" y="1336350"/>
                </a:cubicBezTo>
                <a:close/>
                <a:moveTo>
                  <a:pt x="6419502" y="1336350"/>
                </a:moveTo>
                <a:cubicBezTo>
                  <a:pt x="6449984" y="1336350"/>
                  <a:pt x="6474694" y="1361060"/>
                  <a:pt x="6474694" y="1391541"/>
                </a:cubicBezTo>
                <a:cubicBezTo>
                  <a:pt x="6474694" y="1422022"/>
                  <a:pt x="6449984" y="1446732"/>
                  <a:pt x="6419502" y="1446732"/>
                </a:cubicBezTo>
                <a:cubicBezTo>
                  <a:pt x="6389020" y="1446732"/>
                  <a:pt x="6364310" y="1422022"/>
                  <a:pt x="6364310" y="1391541"/>
                </a:cubicBezTo>
                <a:cubicBezTo>
                  <a:pt x="6364310" y="1361060"/>
                  <a:pt x="6389020" y="1336350"/>
                  <a:pt x="6419502" y="1336350"/>
                </a:cubicBezTo>
                <a:close/>
                <a:moveTo>
                  <a:pt x="6289207" y="1336350"/>
                </a:moveTo>
                <a:cubicBezTo>
                  <a:pt x="6319689" y="1336350"/>
                  <a:pt x="6344399" y="1361060"/>
                  <a:pt x="6344399" y="1391541"/>
                </a:cubicBezTo>
                <a:cubicBezTo>
                  <a:pt x="6344399" y="1422022"/>
                  <a:pt x="6319689" y="1446732"/>
                  <a:pt x="6289207" y="1446732"/>
                </a:cubicBezTo>
                <a:cubicBezTo>
                  <a:pt x="6258725" y="1446732"/>
                  <a:pt x="6234015" y="1422022"/>
                  <a:pt x="6234015" y="1391541"/>
                </a:cubicBezTo>
                <a:cubicBezTo>
                  <a:pt x="6234015" y="1361060"/>
                  <a:pt x="6258725" y="1336350"/>
                  <a:pt x="6289207" y="1336350"/>
                </a:cubicBezTo>
                <a:close/>
                <a:moveTo>
                  <a:pt x="6155573" y="1336350"/>
                </a:moveTo>
                <a:cubicBezTo>
                  <a:pt x="6186055" y="1336350"/>
                  <a:pt x="6210765" y="1361060"/>
                  <a:pt x="6210765" y="1391541"/>
                </a:cubicBezTo>
                <a:cubicBezTo>
                  <a:pt x="6210765" y="1422022"/>
                  <a:pt x="6186055" y="1446732"/>
                  <a:pt x="6155573" y="1446732"/>
                </a:cubicBezTo>
                <a:cubicBezTo>
                  <a:pt x="6125091" y="1446732"/>
                  <a:pt x="6100381" y="1422022"/>
                  <a:pt x="6100381" y="1391541"/>
                </a:cubicBezTo>
                <a:cubicBezTo>
                  <a:pt x="6100381" y="1361060"/>
                  <a:pt x="6125091" y="1336350"/>
                  <a:pt x="6155573" y="1336350"/>
                </a:cubicBezTo>
                <a:close/>
                <a:moveTo>
                  <a:pt x="6021939" y="1336350"/>
                </a:moveTo>
                <a:cubicBezTo>
                  <a:pt x="6052421" y="1336350"/>
                  <a:pt x="6077131" y="1361060"/>
                  <a:pt x="6077131" y="1391541"/>
                </a:cubicBezTo>
                <a:cubicBezTo>
                  <a:pt x="6077131" y="1422022"/>
                  <a:pt x="6052421" y="1446732"/>
                  <a:pt x="6021939" y="1446732"/>
                </a:cubicBezTo>
                <a:cubicBezTo>
                  <a:pt x="5991457" y="1446732"/>
                  <a:pt x="5966747" y="1422022"/>
                  <a:pt x="5966747" y="1391541"/>
                </a:cubicBezTo>
                <a:cubicBezTo>
                  <a:pt x="5966747" y="1361060"/>
                  <a:pt x="5991457" y="1336350"/>
                  <a:pt x="6021939" y="1336350"/>
                </a:cubicBezTo>
                <a:close/>
                <a:moveTo>
                  <a:pt x="5884964" y="1336350"/>
                </a:moveTo>
                <a:cubicBezTo>
                  <a:pt x="5915446" y="1336350"/>
                  <a:pt x="5940156" y="1361060"/>
                  <a:pt x="5940156" y="1391541"/>
                </a:cubicBezTo>
                <a:cubicBezTo>
                  <a:pt x="5940156" y="1422022"/>
                  <a:pt x="5915446" y="1446732"/>
                  <a:pt x="5884964" y="1446732"/>
                </a:cubicBezTo>
                <a:cubicBezTo>
                  <a:pt x="5854482" y="1446732"/>
                  <a:pt x="5829772" y="1422022"/>
                  <a:pt x="5829772" y="1391541"/>
                </a:cubicBezTo>
                <a:cubicBezTo>
                  <a:pt x="5829772" y="1361060"/>
                  <a:pt x="5854482" y="1336350"/>
                  <a:pt x="5884964" y="1336350"/>
                </a:cubicBezTo>
                <a:close/>
                <a:moveTo>
                  <a:pt x="5754668" y="1336350"/>
                </a:moveTo>
                <a:cubicBezTo>
                  <a:pt x="5785150" y="1336350"/>
                  <a:pt x="5809860" y="1361060"/>
                  <a:pt x="5809860" y="1391541"/>
                </a:cubicBezTo>
                <a:cubicBezTo>
                  <a:pt x="5809860" y="1422022"/>
                  <a:pt x="5785150" y="1446732"/>
                  <a:pt x="5754668" y="1446732"/>
                </a:cubicBezTo>
                <a:cubicBezTo>
                  <a:pt x="5724186" y="1446732"/>
                  <a:pt x="5699476" y="1422022"/>
                  <a:pt x="5699476" y="1391541"/>
                </a:cubicBezTo>
                <a:cubicBezTo>
                  <a:pt x="5699476" y="1361060"/>
                  <a:pt x="5724186" y="1336350"/>
                  <a:pt x="5754668" y="1336350"/>
                </a:cubicBezTo>
                <a:close/>
                <a:moveTo>
                  <a:pt x="5621035" y="1336350"/>
                </a:moveTo>
                <a:cubicBezTo>
                  <a:pt x="5651517" y="1336350"/>
                  <a:pt x="5676227" y="1361060"/>
                  <a:pt x="5676227" y="1391541"/>
                </a:cubicBezTo>
                <a:cubicBezTo>
                  <a:pt x="5676227" y="1422022"/>
                  <a:pt x="5651517" y="1446732"/>
                  <a:pt x="5621035" y="1446732"/>
                </a:cubicBezTo>
                <a:cubicBezTo>
                  <a:pt x="5590553" y="1446732"/>
                  <a:pt x="5565843" y="1422022"/>
                  <a:pt x="5565843" y="1391541"/>
                </a:cubicBezTo>
                <a:cubicBezTo>
                  <a:pt x="5565843" y="1361060"/>
                  <a:pt x="5590553" y="1336350"/>
                  <a:pt x="5621035" y="1336350"/>
                </a:cubicBezTo>
                <a:close/>
                <a:moveTo>
                  <a:pt x="5487399" y="1336350"/>
                </a:moveTo>
                <a:cubicBezTo>
                  <a:pt x="5517881" y="1336350"/>
                  <a:pt x="5542591" y="1361060"/>
                  <a:pt x="5542591" y="1391541"/>
                </a:cubicBezTo>
                <a:cubicBezTo>
                  <a:pt x="5542591" y="1422022"/>
                  <a:pt x="5517881" y="1446732"/>
                  <a:pt x="5487399" y="1446732"/>
                </a:cubicBezTo>
                <a:cubicBezTo>
                  <a:pt x="5456917" y="1446732"/>
                  <a:pt x="5432207" y="1422022"/>
                  <a:pt x="5432207" y="1391541"/>
                </a:cubicBezTo>
                <a:cubicBezTo>
                  <a:pt x="5432207" y="1361060"/>
                  <a:pt x="5456917" y="1336350"/>
                  <a:pt x="5487399" y="1336350"/>
                </a:cubicBezTo>
                <a:close/>
                <a:moveTo>
                  <a:pt x="5357106" y="1336350"/>
                </a:moveTo>
                <a:cubicBezTo>
                  <a:pt x="5387588" y="1336350"/>
                  <a:pt x="5412298" y="1361060"/>
                  <a:pt x="5412298" y="1391541"/>
                </a:cubicBezTo>
                <a:cubicBezTo>
                  <a:pt x="5412298" y="1422022"/>
                  <a:pt x="5387588" y="1446732"/>
                  <a:pt x="5357106" y="1446732"/>
                </a:cubicBezTo>
                <a:cubicBezTo>
                  <a:pt x="5326624" y="1446732"/>
                  <a:pt x="5301914" y="1422022"/>
                  <a:pt x="5301914" y="1391541"/>
                </a:cubicBezTo>
                <a:cubicBezTo>
                  <a:pt x="5301914" y="1361060"/>
                  <a:pt x="5326624" y="1336350"/>
                  <a:pt x="5357106" y="1336350"/>
                </a:cubicBezTo>
                <a:close/>
                <a:moveTo>
                  <a:pt x="4959543" y="1336350"/>
                </a:moveTo>
                <a:cubicBezTo>
                  <a:pt x="4990025" y="1336350"/>
                  <a:pt x="5014735" y="1361060"/>
                  <a:pt x="5014735" y="1391541"/>
                </a:cubicBezTo>
                <a:cubicBezTo>
                  <a:pt x="5014735" y="1422022"/>
                  <a:pt x="4990025" y="1446732"/>
                  <a:pt x="4959543" y="1446732"/>
                </a:cubicBezTo>
                <a:cubicBezTo>
                  <a:pt x="4929061" y="1446732"/>
                  <a:pt x="4904351" y="1422022"/>
                  <a:pt x="4904351" y="1391541"/>
                </a:cubicBezTo>
                <a:cubicBezTo>
                  <a:pt x="4904351" y="1361060"/>
                  <a:pt x="4929061" y="1336350"/>
                  <a:pt x="4959543" y="1336350"/>
                </a:cubicBezTo>
                <a:close/>
                <a:moveTo>
                  <a:pt x="4565322" y="1336350"/>
                </a:moveTo>
                <a:cubicBezTo>
                  <a:pt x="4595804" y="1336350"/>
                  <a:pt x="4620514" y="1361060"/>
                  <a:pt x="4620514" y="1391541"/>
                </a:cubicBezTo>
                <a:cubicBezTo>
                  <a:pt x="4620514" y="1422022"/>
                  <a:pt x="4595804" y="1446732"/>
                  <a:pt x="4565322" y="1446732"/>
                </a:cubicBezTo>
                <a:cubicBezTo>
                  <a:pt x="4534840" y="1446732"/>
                  <a:pt x="4510130" y="1422022"/>
                  <a:pt x="4510130" y="1391541"/>
                </a:cubicBezTo>
                <a:cubicBezTo>
                  <a:pt x="4510130" y="1361060"/>
                  <a:pt x="4534840" y="1336350"/>
                  <a:pt x="4565322" y="1336350"/>
                </a:cubicBezTo>
                <a:close/>
                <a:moveTo>
                  <a:pt x="2971729" y="1336350"/>
                </a:moveTo>
                <a:cubicBezTo>
                  <a:pt x="3002211" y="1336350"/>
                  <a:pt x="3026921" y="1361060"/>
                  <a:pt x="3026921" y="1391541"/>
                </a:cubicBezTo>
                <a:cubicBezTo>
                  <a:pt x="3026921" y="1422022"/>
                  <a:pt x="3002211" y="1446732"/>
                  <a:pt x="2971729" y="1446732"/>
                </a:cubicBezTo>
                <a:cubicBezTo>
                  <a:pt x="2941247" y="1446732"/>
                  <a:pt x="2916537" y="1422022"/>
                  <a:pt x="2916537" y="1391541"/>
                </a:cubicBezTo>
                <a:cubicBezTo>
                  <a:pt x="2916537" y="1361060"/>
                  <a:pt x="2941247" y="1336350"/>
                  <a:pt x="2971729" y="1336350"/>
                </a:cubicBezTo>
                <a:close/>
                <a:moveTo>
                  <a:pt x="2834801" y="1336350"/>
                </a:moveTo>
                <a:cubicBezTo>
                  <a:pt x="2865283" y="1336350"/>
                  <a:pt x="2889994" y="1361060"/>
                  <a:pt x="2889994" y="1391541"/>
                </a:cubicBezTo>
                <a:cubicBezTo>
                  <a:pt x="2889994" y="1422022"/>
                  <a:pt x="2865283" y="1446732"/>
                  <a:pt x="2834801" y="1446732"/>
                </a:cubicBezTo>
                <a:cubicBezTo>
                  <a:pt x="2804320" y="1446732"/>
                  <a:pt x="2779610" y="1422022"/>
                  <a:pt x="2779610" y="1391541"/>
                </a:cubicBezTo>
                <a:cubicBezTo>
                  <a:pt x="2779610" y="1361060"/>
                  <a:pt x="2804320" y="1336350"/>
                  <a:pt x="2834801" y="1336350"/>
                </a:cubicBezTo>
                <a:close/>
                <a:moveTo>
                  <a:pt x="2707848" y="1336350"/>
                </a:moveTo>
                <a:cubicBezTo>
                  <a:pt x="2738330" y="1336350"/>
                  <a:pt x="2763042" y="1361060"/>
                  <a:pt x="2763042" y="1391541"/>
                </a:cubicBezTo>
                <a:cubicBezTo>
                  <a:pt x="2763042" y="1422022"/>
                  <a:pt x="2738330" y="1446732"/>
                  <a:pt x="2707848" y="1446732"/>
                </a:cubicBezTo>
                <a:cubicBezTo>
                  <a:pt x="2677367" y="1446732"/>
                  <a:pt x="2652656" y="1422022"/>
                  <a:pt x="2652656" y="1391541"/>
                </a:cubicBezTo>
                <a:cubicBezTo>
                  <a:pt x="2652656" y="1361060"/>
                  <a:pt x="2677367" y="1336350"/>
                  <a:pt x="2707848" y="1336350"/>
                </a:cubicBezTo>
                <a:close/>
                <a:moveTo>
                  <a:pt x="2570875" y="1336350"/>
                </a:moveTo>
                <a:cubicBezTo>
                  <a:pt x="2601357" y="1336350"/>
                  <a:pt x="2626067" y="1361060"/>
                  <a:pt x="2626067" y="1391541"/>
                </a:cubicBezTo>
                <a:cubicBezTo>
                  <a:pt x="2626067" y="1422022"/>
                  <a:pt x="2601357" y="1446732"/>
                  <a:pt x="2570875" y="1446732"/>
                </a:cubicBezTo>
                <a:cubicBezTo>
                  <a:pt x="2540392" y="1446732"/>
                  <a:pt x="2515683" y="1422022"/>
                  <a:pt x="2515683" y="1391541"/>
                </a:cubicBezTo>
                <a:cubicBezTo>
                  <a:pt x="2515683" y="1361060"/>
                  <a:pt x="2540392" y="1336350"/>
                  <a:pt x="2570875" y="1336350"/>
                </a:cubicBezTo>
                <a:close/>
                <a:moveTo>
                  <a:pt x="2173314" y="1336350"/>
                </a:moveTo>
                <a:cubicBezTo>
                  <a:pt x="2203797" y="1336350"/>
                  <a:pt x="2228507" y="1361060"/>
                  <a:pt x="2228507" y="1391541"/>
                </a:cubicBezTo>
                <a:cubicBezTo>
                  <a:pt x="2228507" y="1422022"/>
                  <a:pt x="2203797" y="1446732"/>
                  <a:pt x="2173314" y="1446732"/>
                </a:cubicBezTo>
                <a:cubicBezTo>
                  <a:pt x="2142832" y="1446732"/>
                  <a:pt x="2118122" y="1422022"/>
                  <a:pt x="2118122" y="1391541"/>
                </a:cubicBezTo>
                <a:cubicBezTo>
                  <a:pt x="2118122" y="1361060"/>
                  <a:pt x="2142832" y="1336350"/>
                  <a:pt x="2173314" y="1336350"/>
                </a:cubicBezTo>
                <a:close/>
                <a:moveTo>
                  <a:pt x="2039678" y="1336350"/>
                </a:moveTo>
                <a:cubicBezTo>
                  <a:pt x="2070160" y="1336350"/>
                  <a:pt x="2094870" y="1361060"/>
                  <a:pt x="2094870" y="1391541"/>
                </a:cubicBezTo>
                <a:cubicBezTo>
                  <a:pt x="2094870" y="1422022"/>
                  <a:pt x="2070160" y="1446732"/>
                  <a:pt x="2039678" y="1446732"/>
                </a:cubicBezTo>
                <a:cubicBezTo>
                  <a:pt x="2009195" y="1446732"/>
                  <a:pt x="1984484" y="1422022"/>
                  <a:pt x="1984484" y="1391541"/>
                </a:cubicBezTo>
                <a:cubicBezTo>
                  <a:pt x="1984484" y="1361060"/>
                  <a:pt x="2009195" y="1336350"/>
                  <a:pt x="2039678" y="1336350"/>
                </a:cubicBezTo>
                <a:close/>
                <a:moveTo>
                  <a:pt x="1909381" y="1336350"/>
                </a:moveTo>
                <a:cubicBezTo>
                  <a:pt x="1939864" y="1336350"/>
                  <a:pt x="1964575" y="1361060"/>
                  <a:pt x="1964575" y="1391541"/>
                </a:cubicBezTo>
                <a:cubicBezTo>
                  <a:pt x="1964575" y="1422022"/>
                  <a:pt x="1939864" y="1446732"/>
                  <a:pt x="1909381" y="1446732"/>
                </a:cubicBezTo>
                <a:cubicBezTo>
                  <a:pt x="1878899" y="1446732"/>
                  <a:pt x="1854188" y="1422022"/>
                  <a:pt x="1854188" y="1391541"/>
                </a:cubicBezTo>
                <a:cubicBezTo>
                  <a:pt x="1854188" y="1361060"/>
                  <a:pt x="1878899" y="1336350"/>
                  <a:pt x="1909381" y="1336350"/>
                </a:cubicBezTo>
                <a:close/>
                <a:moveTo>
                  <a:pt x="1779086" y="1336350"/>
                </a:moveTo>
                <a:cubicBezTo>
                  <a:pt x="1809568" y="1336350"/>
                  <a:pt x="1834278" y="1361060"/>
                  <a:pt x="1834278" y="1391541"/>
                </a:cubicBezTo>
                <a:cubicBezTo>
                  <a:pt x="1834278" y="1422022"/>
                  <a:pt x="1809568" y="1446732"/>
                  <a:pt x="1779086" y="1446732"/>
                </a:cubicBezTo>
                <a:cubicBezTo>
                  <a:pt x="1748603" y="1446732"/>
                  <a:pt x="1723892" y="1422022"/>
                  <a:pt x="1723892" y="1391541"/>
                </a:cubicBezTo>
                <a:cubicBezTo>
                  <a:pt x="1723892" y="1361060"/>
                  <a:pt x="1748603" y="1336350"/>
                  <a:pt x="1779086" y="1336350"/>
                </a:cubicBezTo>
                <a:close/>
                <a:moveTo>
                  <a:pt x="1645448" y="1336350"/>
                </a:moveTo>
                <a:cubicBezTo>
                  <a:pt x="1675933" y="1336350"/>
                  <a:pt x="1700644" y="1361060"/>
                  <a:pt x="1700644" y="1391541"/>
                </a:cubicBezTo>
                <a:cubicBezTo>
                  <a:pt x="1700644" y="1422022"/>
                  <a:pt x="1675933" y="1446732"/>
                  <a:pt x="1645448" y="1446732"/>
                </a:cubicBezTo>
                <a:cubicBezTo>
                  <a:pt x="1614967" y="1446732"/>
                  <a:pt x="1590256" y="1422022"/>
                  <a:pt x="1590256" y="1391541"/>
                </a:cubicBezTo>
                <a:cubicBezTo>
                  <a:pt x="1590256" y="1361060"/>
                  <a:pt x="1614967" y="1336350"/>
                  <a:pt x="1645448" y="1336350"/>
                </a:cubicBezTo>
                <a:close/>
                <a:moveTo>
                  <a:pt x="1515160" y="1336350"/>
                </a:moveTo>
                <a:cubicBezTo>
                  <a:pt x="1545636" y="1336350"/>
                  <a:pt x="1570346" y="1361060"/>
                  <a:pt x="1570346" y="1391541"/>
                </a:cubicBezTo>
                <a:cubicBezTo>
                  <a:pt x="1570346" y="1422022"/>
                  <a:pt x="1545636" y="1446732"/>
                  <a:pt x="1515160" y="1446732"/>
                </a:cubicBezTo>
                <a:cubicBezTo>
                  <a:pt x="1484676" y="1446732"/>
                  <a:pt x="1459963" y="1422022"/>
                  <a:pt x="1459963" y="1391541"/>
                </a:cubicBezTo>
                <a:cubicBezTo>
                  <a:pt x="1459963" y="1361060"/>
                  <a:pt x="1484676" y="1336350"/>
                  <a:pt x="1515160" y="1336350"/>
                </a:cubicBezTo>
                <a:close/>
                <a:moveTo>
                  <a:pt x="1381522" y="1336350"/>
                </a:moveTo>
                <a:cubicBezTo>
                  <a:pt x="1412004" y="1336350"/>
                  <a:pt x="1436714" y="1361060"/>
                  <a:pt x="1436714" y="1391541"/>
                </a:cubicBezTo>
                <a:cubicBezTo>
                  <a:pt x="1436714" y="1422022"/>
                  <a:pt x="1412004" y="1446732"/>
                  <a:pt x="1381522" y="1446732"/>
                </a:cubicBezTo>
                <a:cubicBezTo>
                  <a:pt x="1351043" y="1446732"/>
                  <a:pt x="1326330" y="1422022"/>
                  <a:pt x="1326330" y="1391541"/>
                </a:cubicBezTo>
                <a:cubicBezTo>
                  <a:pt x="1326330" y="1361060"/>
                  <a:pt x="1351043" y="1336350"/>
                  <a:pt x="1381522" y="1336350"/>
                </a:cubicBezTo>
                <a:close/>
                <a:moveTo>
                  <a:pt x="1251229" y="1336350"/>
                </a:moveTo>
                <a:cubicBezTo>
                  <a:pt x="1281711" y="1336350"/>
                  <a:pt x="1306421" y="1361060"/>
                  <a:pt x="1306421" y="1391541"/>
                </a:cubicBezTo>
                <a:cubicBezTo>
                  <a:pt x="1306421" y="1422022"/>
                  <a:pt x="1281711" y="1446732"/>
                  <a:pt x="1251229" y="1446732"/>
                </a:cubicBezTo>
                <a:cubicBezTo>
                  <a:pt x="1220747" y="1446732"/>
                  <a:pt x="1196037" y="1422022"/>
                  <a:pt x="1196037" y="1391541"/>
                </a:cubicBezTo>
                <a:cubicBezTo>
                  <a:pt x="1196037" y="1361060"/>
                  <a:pt x="1220747" y="1336350"/>
                  <a:pt x="1251229" y="1336350"/>
                </a:cubicBezTo>
                <a:close/>
                <a:moveTo>
                  <a:pt x="1117592" y="1336350"/>
                </a:moveTo>
                <a:cubicBezTo>
                  <a:pt x="1148075" y="1336350"/>
                  <a:pt x="1172785" y="1361060"/>
                  <a:pt x="1172785" y="1391541"/>
                </a:cubicBezTo>
                <a:cubicBezTo>
                  <a:pt x="1172785" y="1422022"/>
                  <a:pt x="1148075" y="1446732"/>
                  <a:pt x="1117592" y="1446732"/>
                </a:cubicBezTo>
                <a:cubicBezTo>
                  <a:pt x="1087110" y="1446732"/>
                  <a:pt x="1062400" y="1422022"/>
                  <a:pt x="1062400" y="1391541"/>
                </a:cubicBezTo>
                <a:cubicBezTo>
                  <a:pt x="1062400" y="1361060"/>
                  <a:pt x="1087110" y="1336350"/>
                  <a:pt x="1117592" y="1336350"/>
                </a:cubicBezTo>
                <a:close/>
                <a:moveTo>
                  <a:pt x="980615" y="1336350"/>
                </a:moveTo>
                <a:cubicBezTo>
                  <a:pt x="1011098" y="1336350"/>
                  <a:pt x="1035808" y="1361060"/>
                  <a:pt x="1035808" y="1391541"/>
                </a:cubicBezTo>
                <a:cubicBezTo>
                  <a:pt x="1035808" y="1422022"/>
                  <a:pt x="1011098" y="1446732"/>
                  <a:pt x="980615" y="1446732"/>
                </a:cubicBezTo>
                <a:cubicBezTo>
                  <a:pt x="950133" y="1446732"/>
                  <a:pt x="925422" y="1422022"/>
                  <a:pt x="925422" y="1391541"/>
                </a:cubicBezTo>
                <a:cubicBezTo>
                  <a:pt x="925422" y="1361060"/>
                  <a:pt x="950133" y="1336350"/>
                  <a:pt x="980615" y="1336350"/>
                </a:cubicBezTo>
                <a:close/>
                <a:moveTo>
                  <a:pt x="9199101" y="1336348"/>
                </a:moveTo>
                <a:cubicBezTo>
                  <a:pt x="9229583" y="1336348"/>
                  <a:pt x="9254293" y="1361058"/>
                  <a:pt x="9254293" y="1391539"/>
                </a:cubicBezTo>
                <a:cubicBezTo>
                  <a:pt x="9254293" y="1422020"/>
                  <a:pt x="9229583" y="1446730"/>
                  <a:pt x="9199101" y="1446730"/>
                </a:cubicBezTo>
                <a:cubicBezTo>
                  <a:pt x="9168619" y="1446730"/>
                  <a:pt x="9143909" y="1422020"/>
                  <a:pt x="9143909" y="1391539"/>
                </a:cubicBezTo>
                <a:cubicBezTo>
                  <a:pt x="9143909" y="1361058"/>
                  <a:pt x="9168619" y="1336348"/>
                  <a:pt x="9199101" y="1336348"/>
                </a:cubicBezTo>
                <a:close/>
                <a:moveTo>
                  <a:pt x="9068807" y="1336348"/>
                </a:moveTo>
                <a:cubicBezTo>
                  <a:pt x="9099289" y="1336348"/>
                  <a:pt x="9123999" y="1361058"/>
                  <a:pt x="9123999" y="1391539"/>
                </a:cubicBezTo>
                <a:cubicBezTo>
                  <a:pt x="9123999" y="1422020"/>
                  <a:pt x="9099289" y="1446730"/>
                  <a:pt x="9068807" y="1446730"/>
                </a:cubicBezTo>
                <a:cubicBezTo>
                  <a:pt x="9038325" y="1446730"/>
                  <a:pt x="9013615" y="1422020"/>
                  <a:pt x="9013615" y="1391539"/>
                </a:cubicBezTo>
                <a:cubicBezTo>
                  <a:pt x="9013615" y="1361058"/>
                  <a:pt x="9038325" y="1336348"/>
                  <a:pt x="9068807" y="1336348"/>
                </a:cubicBezTo>
                <a:close/>
                <a:moveTo>
                  <a:pt x="8407316" y="1336348"/>
                </a:moveTo>
                <a:cubicBezTo>
                  <a:pt x="8437798" y="1336348"/>
                  <a:pt x="8462508" y="1361058"/>
                  <a:pt x="8462508" y="1391539"/>
                </a:cubicBezTo>
                <a:cubicBezTo>
                  <a:pt x="8462508" y="1422020"/>
                  <a:pt x="8437798" y="1446730"/>
                  <a:pt x="8407316" y="1446730"/>
                </a:cubicBezTo>
                <a:cubicBezTo>
                  <a:pt x="8376834" y="1446730"/>
                  <a:pt x="8352124" y="1422020"/>
                  <a:pt x="8352124" y="1391539"/>
                </a:cubicBezTo>
                <a:cubicBezTo>
                  <a:pt x="8352124" y="1361058"/>
                  <a:pt x="8376834" y="1336348"/>
                  <a:pt x="8407316" y="1336348"/>
                </a:cubicBezTo>
                <a:close/>
                <a:moveTo>
                  <a:pt x="8273682" y="1336348"/>
                </a:moveTo>
                <a:cubicBezTo>
                  <a:pt x="8304164" y="1336348"/>
                  <a:pt x="8328874" y="1361058"/>
                  <a:pt x="8328874" y="1391539"/>
                </a:cubicBezTo>
                <a:cubicBezTo>
                  <a:pt x="8328874" y="1422020"/>
                  <a:pt x="8304164" y="1446730"/>
                  <a:pt x="8273682" y="1446730"/>
                </a:cubicBezTo>
                <a:cubicBezTo>
                  <a:pt x="8243200" y="1446730"/>
                  <a:pt x="8218490" y="1422020"/>
                  <a:pt x="8218490" y="1391539"/>
                </a:cubicBezTo>
                <a:cubicBezTo>
                  <a:pt x="8218490" y="1361058"/>
                  <a:pt x="8243200" y="1336348"/>
                  <a:pt x="8273682" y="1336348"/>
                </a:cubicBezTo>
                <a:close/>
                <a:moveTo>
                  <a:pt x="8143388" y="1336348"/>
                </a:moveTo>
                <a:cubicBezTo>
                  <a:pt x="8173870" y="1336348"/>
                  <a:pt x="8198580" y="1361058"/>
                  <a:pt x="8198580" y="1391539"/>
                </a:cubicBezTo>
                <a:cubicBezTo>
                  <a:pt x="8198580" y="1422020"/>
                  <a:pt x="8173870" y="1446730"/>
                  <a:pt x="8143388" y="1446730"/>
                </a:cubicBezTo>
                <a:cubicBezTo>
                  <a:pt x="8112906" y="1446730"/>
                  <a:pt x="8088196" y="1422020"/>
                  <a:pt x="8088196" y="1391539"/>
                </a:cubicBezTo>
                <a:cubicBezTo>
                  <a:pt x="8088196" y="1361058"/>
                  <a:pt x="8112906" y="1336348"/>
                  <a:pt x="8143388" y="1336348"/>
                </a:cubicBezTo>
                <a:close/>
                <a:moveTo>
                  <a:pt x="8009753" y="1336348"/>
                </a:moveTo>
                <a:cubicBezTo>
                  <a:pt x="8040235" y="1336348"/>
                  <a:pt x="8064945" y="1361058"/>
                  <a:pt x="8064945" y="1391539"/>
                </a:cubicBezTo>
                <a:cubicBezTo>
                  <a:pt x="8064945" y="1422020"/>
                  <a:pt x="8040235" y="1446730"/>
                  <a:pt x="8009753" y="1446730"/>
                </a:cubicBezTo>
                <a:cubicBezTo>
                  <a:pt x="7979271" y="1446730"/>
                  <a:pt x="7954561" y="1422020"/>
                  <a:pt x="7954561" y="1391539"/>
                </a:cubicBezTo>
                <a:cubicBezTo>
                  <a:pt x="7954561" y="1361058"/>
                  <a:pt x="7979271" y="1336348"/>
                  <a:pt x="8009753" y="1336348"/>
                </a:cubicBezTo>
                <a:close/>
                <a:moveTo>
                  <a:pt x="7876118" y="1336348"/>
                </a:moveTo>
                <a:cubicBezTo>
                  <a:pt x="7906600" y="1336348"/>
                  <a:pt x="7931310" y="1361058"/>
                  <a:pt x="7931310" y="1391539"/>
                </a:cubicBezTo>
                <a:cubicBezTo>
                  <a:pt x="7931310" y="1422020"/>
                  <a:pt x="7906600" y="1446730"/>
                  <a:pt x="7876118" y="1446730"/>
                </a:cubicBezTo>
                <a:cubicBezTo>
                  <a:pt x="7845636" y="1446730"/>
                  <a:pt x="7820926" y="1422020"/>
                  <a:pt x="7820926" y="1391539"/>
                </a:cubicBezTo>
                <a:cubicBezTo>
                  <a:pt x="7820926" y="1361058"/>
                  <a:pt x="7845636" y="1336348"/>
                  <a:pt x="7876118" y="1336348"/>
                </a:cubicBezTo>
                <a:close/>
                <a:moveTo>
                  <a:pt x="7745823" y="1336348"/>
                </a:moveTo>
                <a:cubicBezTo>
                  <a:pt x="7776305" y="1336348"/>
                  <a:pt x="7801015" y="1361058"/>
                  <a:pt x="7801015" y="1391539"/>
                </a:cubicBezTo>
                <a:cubicBezTo>
                  <a:pt x="7801015" y="1422020"/>
                  <a:pt x="7776305" y="1446730"/>
                  <a:pt x="7745823" y="1446730"/>
                </a:cubicBezTo>
                <a:cubicBezTo>
                  <a:pt x="7715341" y="1446730"/>
                  <a:pt x="7690631" y="1422020"/>
                  <a:pt x="7690631" y="1391539"/>
                </a:cubicBezTo>
                <a:cubicBezTo>
                  <a:pt x="7690631" y="1361058"/>
                  <a:pt x="7715341" y="1336348"/>
                  <a:pt x="7745823" y="1336348"/>
                </a:cubicBezTo>
                <a:close/>
                <a:moveTo>
                  <a:pt x="185475" y="1336348"/>
                </a:moveTo>
                <a:cubicBezTo>
                  <a:pt x="215957" y="1336348"/>
                  <a:pt x="240666" y="1361058"/>
                  <a:pt x="240666" y="1391539"/>
                </a:cubicBezTo>
                <a:cubicBezTo>
                  <a:pt x="240666" y="1422020"/>
                  <a:pt x="215957" y="1446730"/>
                  <a:pt x="185475" y="1446730"/>
                </a:cubicBezTo>
                <a:cubicBezTo>
                  <a:pt x="154994" y="1446730"/>
                  <a:pt x="130283" y="1422020"/>
                  <a:pt x="130283" y="1391539"/>
                </a:cubicBezTo>
                <a:cubicBezTo>
                  <a:pt x="130283" y="1361058"/>
                  <a:pt x="154994" y="1336348"/>
                  <a:pt x="185475" y="1336348"/>
                </a:cubicBezTo>
                <a:close/>
                <a:moveTo>
                  <a:pt x="9199101" y="1219421"/>
                </a:moveTo>
                <a:cubicBezTo>
                  <a:pt x="9229583" y="1219421"/>
                  <a:pt x="9254293" y="1244131"/>
                  <a:pt x="9254293" y="1274612"/>
                </a:cubicBezTo>
                <a:cubicBezTo>
                  <a:pt x="9254293" y="1305093"/>
                  <a:pt x="9229583" y="1329803"/>
                  <a:pt x="9199101" y="1329803"/>
                </a:cubicBezTo>
                <a:cubicBezTo>
                  <a:pt x="9168619" y="1329803"/>
                  <a:pt x="9143909" y="1305093"/>
                  <a:pt x="9143909" y="1274612"/>
                </a:cubicBezTo>
                <a:cubicBezTo>
                  <a:pt x="9143909" y="1244131"/>
                  <a:pt x="9168619" y="1219421"/>
                  <a:pt x="9199101" y="1219421"/>
                </a:cubicBezTo>
                <a:close/>
                <a:moveTo>
                  <a:pt x="9068807" y="1219421"/>
                </a:moveTo>
                <a:cubicBezTo>
                  <a:pt x="9099289" y="1219421"/>
                  <a:pt x="9123999" y="1244131"/>
                  <a:pt x="9123999" y="1274612"/>
                </a:cubicBezTo>
                <a:cubicBezTo>
                  <a:pt x="9123999" y="1305093"/>
                  <a:pt x="9099289" y="1329803"/>
                  <a:pt x="9068807" y="1329803"/>
                </a:cubicBezTo>
                <a:cubicBezTo>
                  <a:pt x="9038325" y="1329803"/>
                  <a:pt x="9013615" y="1305093"/>
                  <a:pt x="9013615" y="1274612"/>
                </a:cubicBezTo>
                <a:cubicBezTo>
                  <a:pt x="9013615" y="1244131"/>
                  <a:pt x="9038325" y="1219421"/>
                  <a:pt x="9068807" y="1219421"/>
                </a:cubicBezTo>
                <a:close/>
                <a:moveTo>
                  <a:pt x="8537612" y="1219421"/>
                </a:moveTo>
                <a:cubicBezTo>
                  <a:pt x="8568094" y="1219421"/>
                  <a:pt x="8592804" y="1244131"/>
                  <a:pt x="8592804" y="1274612"/>
                </a:cubicBezTo>
                <a:cubicBezTo>
                  <a:pt x="8592804" y="1305093"/>
                  <a:pt x="8568094" y="1329803"/>
                  <a:pt x="8537612" y="1329803"/>
                </a:cubicBezTo>
                <a:cubicBezTo>
                  <a:pt x="8507130" y="1329803"/>
                  <a:pt x="8482420" y="1305093"/>
                  <a:pt x="8482420" y="1274612"/>
                </a:cubicBezTo>
                <a:cubicBezTo>
                  <a:pt x="8482420" y="1244131"/>
                  <a:pt x="8507130" y="1219421"/>
                  <a:pt x="8537612" y="1219421"/>
                </a:cubicBezTo>
                <a:close/>
                <a:moveTo>
                  <a:pt x="8407316" y="1219421"/>
                </a:moveTo>
                <a:cubicBezTo>
                  <a:pt x="8437798" y="1219421"/>
                  <a:pt x="8462508" y="1244131"/>
                  <a:pt x="8462508" y="1274612"/>
                </a:cubicBezTo>
                <a:cubicBezTo>
                  <a:pt x="8462508" y="1305093"/>
                  <a:pt x="8437798" y="1329803"/>
                  <a:pt x="8407316" y="1329803"/>
                </a:cubicBezTo>
                <a:cubicBezTo>
                  <a:pt x="8376834" y="1329803"/>
                  <a:pt x="8352124" y="1305093"/>
                  <a:pt x="8352124" y="1274612"/>
                </a:cubicBezTo>
                <a:cubicBezTo>
                  <a:pt x="8352124" y="1244131"/>
                  <a:pt x="8376834" y="1219421"/>
                  <a:pt x="8407316" y="1219421"/>
                </a:cubicBezTo>
                <a:close/>
                <a:moveTo>
                  <a:pt x="8273682" y="1219421"/>
                </a:moveTo>
                <a:cubicBezTo>
                  <a:pt x="8304164" y="1219421"/>
                  <a:pt x="8328874" y="1244131"/>
                  <a:pt x="8328874" y="1274612"/>
                </a:cubicBezTo>
                <a:cubicBezTo>
                  <a:pt x="8328874" y="1305093"/>
                  <a:pt x="8304164" y="1329803"/>
                  <a:pt x="8273682" y="1329803"/>
                </a:cubicBezTo>
                <a:cubicBezTo>
                  <a:pt x="8243200" y="1329803"/>
                  <a:pt x="8218490" y="1305093"/>
                  <a:pt x="8218490" y="1274612"/>
                </a:cubicBezTo>
                <a:cubicBezTo>
                  <a:pt x="8218490" y="1244131"/>
                  <a:pt x="8243200" y="1219421"/>
                  <a:pt x="8273682" y="1219421"/>
                </a:cubicBezTo>
                <a:close/>
                <a:moveTo>
                  <a:pt x="8143388" y="1219421"/>
                </a:moveTo>
                <a:cubicBezTo>
                  <a:pt x="8173870" y="1219421"/>
                  <a:pt x="8198580" y="1244131"/>
                  <a:pt x="8198580" y="1274612"/>
                </a:cubicBezTo>
                <a:cubicBezTo>
                  <a:pt x="8198580" y="1305093"/>
                  <a:pt x="8173870" y="1329803"/>
                  <a:pt x="8143388" y="1329803"/>
                </a:cubicBezTo>
                <a:cubicBezTo>
                  <a:pt x="8112906" y="1329803"/>
                  <a:pt x="8088196" y="1305093"/>
                  <a:pt x="8088196" y="1274612"/>
                </a:cubicBezTo>
                <a:cubicBezTo>
                  <a:pt x="8088196" y="1244131"/>
                  <a:pt x="8112906" y="1219421"/>
                  <a:pt x="8143388" y="1219421"/>
                </a:cubicBezTo>
                <a:close/>
                <a:moveTo>
                  <a:pt x="8009753" y="1219421"/>
                </a:moveTo>
                <a:cubicBezTo>
                  <a:pt x="8040235" y="1219421"/>
                  <a:pt x="8064945" y="1244131"/>
                  <a:pt x="8064945" y="1274612"/>
                </a:cubicBezTo>
                <a:cubicBezTo>
                  <a:pt x="8064945" y="1305093"/>
                  <a:pt x="8040235" y="1329803"/>
                  <a:pt x="8009753" y="1329803"/>
                </a:cubicBezTo>
                <a:cubicBezTo>
                  <a:pt x="7979271" y="1329803"/>
                  <a:pt x="7954561" y="1305093"/>
                  <a:pt x="7954561" y="1274612"/>
                </a:cubicBezTo>
                <a:cubicBezTo>
                  <a:pt x="7954561" y="1244131"/>
                  <a:pt x="7979271" y="1219421"/>
                  <a:pt x="8009753" y="1219421"/>
                </a:cubicBezTo>
                <a:close/>
                <a:moveTo>
                  <a:pt x="7876118" y="1219421"/>
                </a:moveTo>
                <a:cubicBezTo>
                  <a:pt x="7906600" y="1219421"/>
                  <a:pt x="7931310" y="1244131"/>
                  <a:pt x="7931310" y="1274612"/>
                </a:cubicBezTo>
                <a:cubicBezTo>
                  <a:pt x="7931310" y="1305093"/>
                  <a:pt x="7906600" y="1329803"/>
                  <a:pt x="7876118" y="1329803"/>
                </a:cubicBezTo>
                <a:cubicBezTo>
                  <a:pt x="7845636" y="1329803"/>
                  <a:pt x="7820926" y="1305093"/>
                  <a:pt x="7820926" y="1274612"/>
                </a:cubicBezTo>
                <a:cubicBezTo>
                  <a:pt x="7820926" y="1244131"/>
                  <a:pt x="7845636" y="1219421"/>
                  <a:pt x="7876118" y="1219421"/>
                </a:cubicBezTo>
                <a:close/>
                <a:moveTo>
                  <a:pt x="7745823" y="1219421"/>
                </a:moveTo>
                <a:cubicBezTo>
                  <a:pt x="7776305" y="1219421"/>
                  <a:pt x="7801015" y="1244131"/>
                  <a:pt x="7801015" y="1274612"/>
                </a:cubicBezTo>
                <a:cubicBezTo>
                  <a:pt x="7801015" y="1305093"/>
                  <a:pt x="7776305" y="1329803"/>
                  <a:pt x="7745823" y="1329803"/>
                </a:cubicBezTo>
                <a:cubicBezTo>
                  <a:pt x="7715341" y="1329803"/>
                  <a:pt x="7690631" y="1305093"/>
                  <a:pt x="7690631" y="1274612"/>
                </a:cubicBezTo>
                <a:cubicBezTo>
                  <a:pt x="7690631" y="1244131"/>
                  <a:pt x="7715341" y="1219421"/>
                  <a:pt x="7745823" y="1219421"/>
                </a:cubicBezTo>
                <a:close/>
                <a:moveTo>
                  <a:pt x="7608849" y="1219421"/>
                </a:moveTo>
                <a:cubicBezTo>
                  <a:pt x="7639331" y="1219421"/>
                  <a:pt x="7664041" y="1244131"/>
                  <a:pt x="7664041" y="1274612"/>
                </a:cubicBezTo>
                <a:cubicBezTo>
                  <a:pt x="7664041" y="1305093"/>
                  <a:pt x="7639331" y="1329803"/>
                  <a:pt x="7608849" y="1329803"/>
                </a:cubicBezTo>
                <a:cubicBezTo>
                  <a:pt x="7578367" y="1329803"/>
                  <a:pt x="7553657" y="1305093"/>
                  <a:pt x="7553657" y="1274612"/>
                </a:cubicBezTo>
                <a:cubicBezTo>
                  <a:pt x="7553657" y="1244131"/>
                  <a:pt x="7578367" y="1219421"/>
                  <a:pt x="7608849" y="1219421"/>
                </a:cubicBezTo>
                <a:close/>
                <a:moveTo>
                  <a:pt x="7481897" y="1219421"/>
                </a:moveTo>
                <a:cubicBezTo>
                  <a:pt x="7512379" y="1219421"/>
                  <a:pt x="7537089" y="1244131"/>
                  <a:pt x="7537089" y="1274612"/>
                </a:cubicBezTo>
                <a:cubicBezTo>
                  <a:pt x="7537089" y="1305093"/>
                  <a:pt x="7512379" y="1329803"/>
                  <a:pt x="7481897" y="1329803"/>
                </a:cubicBezTo>
                <a:cubicBezTo>
                  <a:pt x="7451415" y="1329803"/>
                  <a:pt x="7426705" y="1305093"/>
                  <a:pt x="7426705" y="1274612"/>
                </a:cubicBezTo>
                <a:cubicBezTo>
                  <a:pt x="7426705" y="1244131"/>
                  <a:pt x="7451415" y="1219421"/>
                  <a:pt x="7481897" y="1219421"/>
                </a:cubicBezTo>
                <a:close/>
                <a:moveTo>
                  <a:pt x="7341579" y="1219421"/>
                </a:moveTo>
                <a:cubicBezTo>
                  <a:pt x="7372061" y="1219421"/>
                  <a:pt x="7396771" y="1244131"/>
                  <a:pt x="7396771" y="1274612"/>
                </a:cubicBezTo>
                <a:cubicBezTo>
                  <a:pt x="7396771" y="1305093"/>
                  <a:pt x="7372061" y="1329803"/>
                  <a:pt x="7341579" y="1329803"/>
                </a:cubicBezTo>
                <a:cubicBezTo>
                  <a:pt x="7311097" y="1329803"/>
                  <a:pt x="7286387" y="1305093"/>
                  <a:pt x="7286387" y="1274612"/>
                </a:cubicBezTo>
                <a:cubicBezTo>
                  <a:pt x="7286387" y="1244131"/>
                  <a:pt x="7311097" y="1219421"/>
                  <a:pt x="7341579" y="1219421"/>
                </a:cubicBezTo>
                <a:close/>
                <a:moveTo>
                  <a:pt x="7211286" y="1219421"/>
                </a:moveTo>
                <a:cubicBezTo>
                  <a:pt x="7241768" y="1219421"/>
                  <a:pt x="7266478" y="1244131"/>
                  <a:pt x="7266478" y="1274612"/>
                </a:cubicBezTo>
                <a:cubicBezTo>
                  <a:pt x="7266478" y="1305093"/>
                  <a:pt x="7241768" y="1329803"/>
                  <a:pt x="7211286" y="1329803"/>
                </a:cubicBezTo>
                <a:cubicBezTo>
                  <a:pt x="7180804" y="1329803"/>
                  <a:pt x="7156094" y="1305093"/>
                  <a:pt x="7156094" y="1274612"/>
                </a:cubicBezTo>
                <a:cubicBezTo>
                  <a:pt x="7156094" y="1244131"/>
                  <a:pt x="7180804" y="1219421"/>
                  <a:pt x="7211286" y="1219421"/>
                </a:cubicBezTo>
                <a:close/>
                <a:moveTo>
                  <a:pt x="7080993" y="1219421"/>
                </a:moveTo>
                <a:cubicBezTo>
                  <a:pt x="7111475" y="1219421"/>
                  <a:pt x="7136185" y="1244131"/>
                  <a:pt x="7136185" y="1274612"/>
                </a:cubicBezTo>
                <a:cubicBezTo>
                  <a:pt x="7136185" y="1305093"/>
                  <a:pt x="7111475" y="1329803"/>
                  <a:pt x="7080993" y="1329803"/>
                </a:cubicBezTo>
                <a:cubicBezTo>
                  <a:pt x="7050511" y="1329803"/>
                  <a:pt x="7025801" y="1305093"/>
                  <a:pt x="7025801" y="1274612"/>
                </a:cubicBezTo>
                <a:cubicBezTo>
                  <a:pt x="7025801" y="1244131"/>
                  <a:pt x="7050511" y="1219421"/>
                  <a:pt x="7080993" y="1219421"/>
                </a:cubicBezTo>
                <a:close/>
                <a:moveTo>
                  <a:pt x="6947357" y="1219421"/>
                </a:moveTo>
                <a:cubicBezTo>
                  <a:pt x="6977839" y="1219421"/>
                  <a:pt x="7002549" y="1244131"/>
                  <a:pt x="7002549" y="1274612"/>
                </a:cubicBezTo>
                <a:cubicBezTo>
                  <a:pt x="7002549" y="1305093"/>
                  <a:pt x="6977839" y="1329803"/>
                  <a:pt x="6947357" y="1329803"/>
                </a:cubicBezTo>
                <a:cubicBezTo>
                  <a:pt x="6916875" y="1329803"/>
                  <a:pt x="6892165" y="1305093"/>
                  <a:pt x="6892165" y="1274612"/>
                </a:cubicBezTo>
                <a:cubicBezTo>
                  <a:pt x="6892165" y="1244131"/>
                  <a:pt x="6916875" y="1219421"/>
                  <a:pt x="6947357" y="1219421"/>
                </a:cubicBezTo>
                <a:close/>
                <a:moveTo>
                  <a:pt x="6817064" y="1219421"/>
                </a:moveTo>
                <a:cubicBezTo>
                  <a:pt x="6847546" y="1219421"/>
                  <a:pt x="6872256" y="1244131"/>
                  <a:pt x="6872256" y="1274612"/>
                </a:cubicBezTo>
                <a:cubicBezTo>
                  <a:pt x="6872256" y="1305093"/>
                  <a:pt x="6847546" y="1329803"/>
                  <a:pt x="6817064" y="1329803"/>
                </a:cubicBezTo>
                <a:cubicBezTo>
                  <a:pt x="6786582" y="1329803"/>
                  <a:pt x="6761872" y="1305093"/>
                  <a:pt x="6761872" y="1274612"/>
                </a:cubicBezTo>
                <a:cubicBezTo>
                  <a:pt x="6761872" y="1244131"/>
                  <a:pt x="6786582" y="1219421"/>
                  <a:pt x="6817064" y="1219421"/>
                </a:cubicBezTo>
                <a:close/>
                <a:moveTo>
                  <a:pt x="6683431" y="1219421"/>
                </a:moveTo>
                <a:cubicBezTo>
                  <a:pt x="6713913" y="1219421"/>
                  <a:pt x="6738623" y="1244131"/>
                  <a:pt x="6738623" y="1274612"/>
                </a:cubicBezTo>
                <a:cubicBezTo>
                  <a:pt x="6738623" y="1305093"/>
                  <a:pt x="6713913" y="1329803"/>
                  <a:pt x="6683431" y="1329803"/>
                </a:cubicBezTo>
                <a:cubicBezTo>
                  <a:pt x="6652949" y="1329803"/>
                  <a:pt x="6628239" y="1305093"/>
                  <a:pt x="6628239" y="1274612"/>
                </a:cubicBezTo>
                <a:cubicBezTo>
                  <a:pt x="6628239" y="1244131"/>
                  <a:pt x="6652949" y="1219421"/>
                  <a:pt x="6683431" y="1219421"/>
                </a:cubicBezTo>
                <a:close/>
                <a:moveTo>
                  <a:pt x="6553137" y="1219421"/>
                </a:moveTo>
                <a:cubicBezTo>
                  <a:pt x="6583619" y="1219421"/>
                  <a:pt x="6608329" y="1244131"/>
                  <a:pt x="6608329" y="1274612"/>
                </a:cubicBezTo>
                <a:cubicBezTo>
                  <a:pt x="6608329" y="1305093"/>
                  <a:pt x="6583619" y="1329803"/>
                  <a:pt x="6553137" y="1329803"/>
                </a:cubicBezTo>
                <a:cubicBezTo>
                  <a:pt x="6522655" y="1329803"/>
                  <a:pt x="6497945" y="1305093"/>
                  <a:pt x="6497945" y="1274612"/>
                </a:cubicBezTo>
                <a:cubicBezTo>
                  <a:pt x="6497945" y="1244131"/>
                  <a:pt x="6522655" y="1219421"/>
                  <a:pt x="6553137" y="1219421"/>
                </a:cubicBezTo>
                <a:close/>
                <a:moveTo>
                  <a:pt x="6419502" y="1219421"/>
                </a:moveTo>
                <a:cubicBezTo>
                  <a:pt x="6449984" y="1219421"/>
                  <a:pt x="6474694" y="1244131"/>
                  <a:pt x="6474694" y="1274612"/>
                </a:cubicBezTo>
                <a:cubicBezTo>
                  <a:pt x="6474694" y="1305093"/>
                  <a:pt x="6449984" y="1329803"/>
                  <a:pt x="6419502" y="1329803"/>
                </a:cubicBezTo>
                <a:cubicBezTo>
                  <a:pt x="6389020" y="1329803"/>
                  <a:pt x="6364310" y="1305093"/>
                  <a:pt x="6364310" y="1274612"/>
                </a:cubicBezTo>
                <a:cubicBezTo>
                  <a:pt x="6364310" y="1244131"/>
                  <a:pt x="6389020" y="1219421"/>
                  <a:pt x="6419502" y="1219421"/>
                </a:cubicBezTo>
                <a:close/>
                <a:moveTo>
                  <a:pt x="6289207" y="1219421"/>
                </a:moveTo>
                <a:cubicBezTo>
                  <a:pt x="6319689" y="1219421"/>
                  <a:pt x="6344399" y="1244131"/>
                  <a:pt x="6344399" y="1274612"/>
                </a:cubicBezTo>
                <a:cubicBezTo>
                  <a:pt x="6344399" y="1305093"/>
                  <a:pt x="6319689" y="1329803"/>
                  <a:pt x="6289207" y="1329803"/>
                </a:cubicBezTo>
                <a:cubicBezTo>
                  <a:pt x="6258725" y="1329803"/>
                  <a:pt x="6234015" y="1305093"/>
                  <a:pt x="6234015" y="1274612"/>
                </a:cubicBezTo>
                <a:cubicBezTo>
                  <a:pt x="6234015" y="1244131"/>
                  <a:pt x="6258725" y="1219421"/>
                  <a:pt x="6289207" y="1219421"/>
                </a:cubicBezTo>
                <a:close/>
                <a:moveTo>
                  <a:pt x="6155573" y="1219421"/>
                </a:moveTo>
                <a:cubicBezTo>
                  <a:pt x="6186055" y="1219421"/>
                  <a:pt x="6210765" y="1244131"/>
                  <a:pt x="6210765" y="1274612"/>
                </a:cubicBezTo>
                <a:cubicBezTo>
                  <a:pt x="6210765" y="1305093"/>
                  <a:pt x="6186055" y="1329803"/>
                  <a:pt x="6155573" y="1329803"/>
                </a:cubicBezTo>
                <a:cubicBezTo>
                  <a:pt x="6125091" y="1329803"/>
                  <a:pt x="6100381" y="1305093"/>
                  <a:pt x="6100381" y="1274612"/>
                </a:cubicBezTo>
                <a:cubicBezTo>
                  <a:pt x="6100381" y="1244131"/>
                  <a:pt x="6125091" y="1219421"/>
                  <a:pt x="6155573" y="1219421"/>
                </a:cubicBezTo>
                <a:close/>
                <a:moveTo>
                  <a:pt x="6021939" y="1219421"/>
                </a:moveTo>
                <a:cubicBezTo>
                  <a:pt x="6052421" y="1219421"/>
                  <a:pt x="6077131" y="1244131"/>
                  <a:pt x="6077131" y="1274612"/>
                </a:cubicBezTo>
                <a:cubicBezTo>
                  <a:pt x="6077131" y="1305093"/>
                  <a:pt x="6052421" y="1329803"/>
                  <a:pt x="6021939" y="1329803"/>
                </a:cubicBezTo>
                <a:cubicBezTo>
                  <a:pt x="5991457" y="1329803"/>
                  <a:pt x="5966747" y="1305093"/>
                  <a:pt x="5966747" y="1274612"/>
                </a:cubicBezTo>
                <a:cubicBezTo>
                  <a:pt x="5966747" y="1244131"/>
                  <a:pt x="5991457" y="1219421"/>
                  <a:pt x="6021939" y="1219421"/>
                </a:cubicBezTo>
                <a:close/>
                <a:moveTo>
                  <a:pt x="5884964" y="1219421"/>
                </a:moveTo>
                <a:cubicBezTo>
                  <a:pt x="5915446" y="1219421"/>
                  <a:pt x="5940156" y="1244131"/>
                  <a:pt x="5940156" y="1274612"/>
                </a:cubicBezTo>
                <a:cubicBezTo>
                  <a:pt x="5940156" y="1305093"/>
                  <a:pt x="5915446" y="1329803"/>
                  <a:pt x="5884964" y="1329803"/>
                </a:cubicBezTo>
                <a:cubicBezTo>
                  <a:pt x="5854482" y="1329803"/>
                  <a:pt x="5829772" y="1305093"/>
                  <a:pt x="5829772" y="1274612"/>
                </a:cubicBezTo>
                <a:cubicBezTo>
                  <a:pt x="5829772" y="1244131"/>
                  <a:pt x="5854482" y="1219421"/>
                  <a:pt x="5884964" y="1219421"/>
                </a:cubicBezTo>
                <a:close/>
                <a:moveTo>
                  <a:pt x="5754668" y="1219421"/>
                </a:moveTo>
                <a:cubicBezTo>
                  <a:pt x="5785150" y="1219421"/>
                  <a:pt x="5809860" y="1244131"/>
                  <a:pt x="5809860" y="1274612"/>
                </a:cubicBezTo>
                <a:cubicBezTo>
                  <a:pt x="5809860" y="1305093"/>
                  <a:pt x="5785150" y="1329803"/>
                  <a:pt x="5754668" y="1329803"/>
                </a:cubicBezTo>
                <a:cubicBezTo>
                  <a:pt x="5724186" y="1329803"/>
                  <a:pt x="5699476" y="1305093"/>
                  <a:pt x="5699476" y="1274612"/>
                </a:cubicBezTo>
                <a:cubicBezTo>
                  <a:pt x="5699476" y="1244131"/>
                  <a:pt x="5724186" y="1219421"/>
                  <a:pt x="5754668" y="1219421"/>
                </a:cubicBezTo>
                <a:close/>
                <a:moveTo>
                  <a:pt x="5621034" y="1219421"/>
                </a:moveTo>
                <a:cubicBezTo>
                  <a:pt x="5651516" y="1219421"/>
                  <a:pt x="5676226" y="1244131"/>
                  <a:pt x="5676226" y="1274612"/>
                </a:cubicBezTo>
                <a:cubicBezTo>
                  <a:pt x="5676226" y="1305093"/>
                  <a:pt x="5651516" y="1329803"/>
                  <a:pt x="5621034" y="1329803"/>
                </a:cubicBezTo>
                <a:cubicBezTo>
                  <a:pt x="5590552" y="1329803"/>
                  <a:pt x="5565842" y="1305093"/>
                  <a:pt x="5565842" y="1274612"/>
                </a:cubicBezTo>
                <a:cubicBezTo>
                  <a:pt x="5565842" y="1244131"/>
                  <a:pt x="5590552" y="1219421"/>
                  <a:pt x="5621034" y="1219421"/>
                </a:cubicBezTo>
                <a:close/>
                <a:moveTo>
                  <a:pt x="5487399" y="1219421"/>
                </a:moveTo>
                <a:cubicBezTo>
                  <a:pt x="5517881" y="1219421"/>
                  <a:pt x="5542591" y="1244131"/>
                  <a:pt x="5542591" y="1274612"/>
                </a:cubicBezTo>
                <a:cubicBezTo>
                  <a:pt x="5542591" y="1305093"/>
                  <a:pt x="5517881" y="1329803"/>
                  <a:pt x="5487399" y="1329803"/>
                </a:cubicBezTo>
                <a:cubicBezTo>
                  <a:pt x="5456917" y="1329803"/>
                  <a:pt x="5432207" y="1305093"/>
                  <a:pt x="5432207" y="1274612"/>
                </a:cubicBezTo>
                <a:cubicBezTo>
                  <a:pt x="5432207" y="1244131"/>
                  <a:pt x="5456917" y="1219421"/>
                  <a:pt x="5487399" y="1219421"/>
                </a:cubicBezTo>
                <a:close/>
                <a:moveTo>
                  <a:pt x="5357106" y="1219421"/>
                </a:moveTo>
                <a:cubicBezTo>
                  <a:pt x="5387588" y="1219421"/>
                  <a:pt x="5412298" y="1244131"/>
                  <a:pt x="5412298" y="1274612"/>
                </a:cubicBezTo>
                <a:cubicBezTo>
                  <a:pt x="5412298" y="1305093"/>
                  <a:pt x="5387588" y="1329803"/>
                  <a:pt x="5357106" y="1329803"/>
                </a:cubicBezTo>
                <a:cubicBezTo>
                  <a:pt x="5326624" y="1329803"/>
                  <a:pt x="5301914" y="1305093"/>
                  <a:pt x="5301914" y="1274612"/>
                </a:cubicBezTo>
                <a:cubicBezTo>
                  <a:pt x="5301914" y="1244131"/>
                  <a:pt x="5326624" y="1219421"/>
                  <a:pt x="5357106" y="1219421"/>
                </a:cubicBezTo>
                <a:close/>
                <a:moveTo>
                  <a:pt x="5093178" y="1219421"/>
                </a:moveTo>
                <a:cubicBezTo>
                  <a:pt x="5123660" y="1219421"/>
                  <a:pt x="5148370" y="1244131"/>
                  <a:pt x="5148370" y="1274612"/>
                </a:cubicBezTo>
                <a:cubicBezTo>
                  <a:pt x="5148370" y="1305093"/>
                  <a:pt x="5123660" y="1329803"/>
                  <a:pt x="5093178" y="1329803"/>
                </a:cubicBezTo>
                <a:cubicBezTo>
                  <a:pt x="5062696" y="1329803"/>
                  <a:pt x="5037986" y="1305093"/>
                  <a:pt x="5037986" y="1274612"/>
                </a:cubicBezTo>
                <a:cubicBezTo>
                  <a:pt x="5037986" y="1244131"/>
                  <a:pt x="5062696" y="1219421"/>
                  <a:pt x="5093178" y="1219421"/>
                </a:cubicBezTo>
                <a:close/>
                <a:moveTo>
                  <a:pt x="4959542" y="1219421"/>
                </a:moveTo>
                <a:cubicBezTo>
                  <a:pt x="4990024" y="1219421"/>
                  <a:pt x="5014734" y="1244131"/>
                  <a:pt x="5014734" y="1274612"/>
                </a:cubicBezTo>
                <a:cubicBezTo>
                  <a:pt x="5014734" y="1305093"/>
                  <a:pt x="4990024" y="1329803"/>
                  <a:pt x="4959542" y="1329803"/>
                </a:cubicBezTo>
                <a:cubicBezTo>
                  <a:pt x="4929060" y="1329803"/>
                  <a:pt x="4904350" y="1305093"/>
                  <a:pt x="4904350" y="1274612"/>
                </a:cubicBezTo>
                <a:cubicBezTo>
                  <a:pt x="4904350" y="1244131"/>
                  <a:pt x="4929060" y="1219421"/>
                  <a:pt x="4959542" y="1219421"/>
                </a:cubicBezTo>
                <a:close/>
                <a:moveTo>
                  <a:pt x="4829250" y="1219421"/>
                </a:moveTo>
                <a:cubicBezTo>
                  <a:pt x="4859732" y="1219421"/>
                  <a:pt x="4884442" y="1244131"/>
                  <a:pt x="4884442" y="1274612"/>
                </a:cubicBezTo>
                <a:cubicBezTo>
                  <a:pt x="4884442" y="1305093"/>
                  <a:pt x="4859732" y="1329803"/>
                  <a:pt x="4829250" y="1329803"/>
                </a:cubicBezTo>
                <a:cubicBezTo>
                  <a:pt x="4798768" y="1329803"/>
                  <a:pt x="4774058" y="1305093"/>
                  <a:pt x="4774058" y="1274612"/>
                </a:cubicBezTo>
                <a:cubicBezTo>
                  <a:pt x="4774058" y="1244131"/>
                  <a:pt x="4798768" y="1219421"/>
                  <a:pt x="4829250" y="1219421"/>
                </a:cubicBezTo>
                <a:close/>
                <a:moveTo>
                  <a:pt x="319111" y="1219421"/>
                </a:moveTo>
                <a:cubicBezTo>
                  <a:pt x="349594" y="1219421"/>
                  <a:pt x="374305" y="1244131"/>
                  <a:pt x="374305" y="1274612"/>
                </a:cubicBezTo>
                <a:cubicBezTo>
                  <a:pt x="374305" y="1305093"/>
                  <a:pt x="349594" y="1329803"/>
                  <a:pt x="319111" y="1329803"/>
                </a:cubicBezTo>
                <a:cubicBezTo>
                  <a:pt x="288629" y="1329803"/>
                  <a:pt x="263920" y="1305093"/>
                  <a:pt x="263920" y="1274612"/>
                </a:cubicBezTo>
                <a:cubicBezTo>
                  <a:pt x="263920" y="1244131"/>
                  <a:pt x="288629" y="1219421"/>
                  <a:pt x="319111" y="1219421"/>
                </a:cubicBezTo>
                <a:close/>
                <a:moveTo>
                  <a:pt x="185480" y="1219421"/>
                </a:moveTo>
                <a:cubicBezTo>
                  <a:pt x="215961" y="1219421"/>
                  <a:pt x="240671" y="1244131"/>
                  <a:pt x="240671" y="1274612"/>
                </a:cubicBezTo>
                <a:cubicBezTo>
                  <a:pt x="240671" y="1305093"/>
                  <a:pt x="215961" y="1329803"/>
                  <a:pt x="185480" y="1329803"/>
                </a:cubicBezTo>
                <a:cubicBezTo>
                  <a:pt x="154998" y="1329803"/>
                  <a:pt x="130288" y="1305093"/>
                  <a:pt x="130288" y="1274612"/>
                </a:cubicBezTo>
                <a:cubicBezTo>
                  <a:pt x="130288" y="1244131"/>
                  <a:pt x="154998" y="1219421"/>
                  <a:pt x="185480" y="1219421"/>
                </a:cubicBezTo>
                <a:close/>
                <a:moveTo>
                  <a:pt x="449407" y="1219419"/>
                </a:moveTo>
                <a:cubicBezTo>
                  <a:pt x="479889" y="1219419"/>
                  <a:pt x="504600" y="1244129"/>
                  <a:pt x="504600" y="1274610"/>
                </a:cubicBezTo>
                <a:cubicBezTo>
                  <a:pt x="504600" y="1305091"/>
                  <a:pt x="479889" y="1329801"/>
                  <a:pt x="449407" y="1329801"/>
                </a:cubicBezTo>
                <a:cubicBezTo>
                  <a:pt x="418924" y="1329801"/>
                  <a:pt x="394214" y="1305091"/>
                  <a:pt x="394214" y="1274610"/>
                </a:cubicBezTo>
                <a:cubicBezTo>
                  <a:pt x="394214" y="1244129"/>
                  <a:pt x="418924" y="1219419"/>
                  <a:pt x="449407" y="1219419"/>
                </a:cubicBezTo>
                <a:close/>
                <a:moveTo>
                  <a:pt x="4565322" y="1219417"/>
                </a:moveTo>
                <a:cubicBezTo>
                  <a:pt x="4595804" y="1219417"/>
                  <a:pt x="4620514" y="1244127"/>
                  <a:pt x="4620514" y="1274608"/>
                </a:cubicBezTo>
                <a:cubicBezTo>
                  <a:pt x="4620514" y="1305089"/>
                  <a:pt x="4595804" y="1329799"/>
                  <a:pt x="4565322" y="1329799"/>
                </a:cubicBezTo>
                <a:cubicBezTo>
                  <a:pt x="4534840" y="1329799"/>
                  <a:pt x="4510130" y="1305089"/>
                  <a:pt x="4510130" y="1274608"/>
                </a:cubicBezTo>
                <a:cubicBezTo>
                  <a:pt x="4510130" y="1244127"/>
                  <a:pt x="4534840" y="1219417"/>
                  <a:pt x="4565322" y="1219417"/>
                </a:cubicBezTo>
                <a:close/>
                <a:moveTo>
                  <a:pt x="2834811" y="1219417"/>
                </a:moveTo>
                <a:cubicBezTo>
                  <a:pt x="2865293" y="1219417"/>
                  <a:pt x="2890003" y="1244127"/>
                  <a:pt x="2890003" y="1274608"/>
                </a:cubicBezTo>
                <a:cubicBezTo>
                  <a:pt x="2890003" y="1305089"/>
                  <a:pt x="2865293" y="1329799"/>
                  <a:pt x="2834811" y="1329799"/>
                </a:cubicBezTo>
                <a:cubicBezTo>
                  <a:pt x="2804329" y="1329799"/>
                  <a:pt x="2779620" y="1305089"/>
                  <a:pt x="2779620" y="1274608"/>
                </a:cubicBezTo>
                <a:cubicBezTo>
                  <a:pt x="2779620" y="1244127"/>
                  <a:pt x="2804329" y="1219417"/>
                  <a:pt x="2834811" y="1219417"/>
                </a:cubicBezTo>
                <a:close/>
                <a:moveTo>
                  <a:pt x="2707858" y="1219417"/>
                </a:moveTo>
                <a:cubicBezTo>
                  <a:pt x="2738341" y="1219417"/>
                  <a:pt x="2763052" y="1244127"/>
                  <a:pt x="2763052" y="1274608"/>
                </a:cubicBezTo>
                <a:cubicBezTo>
                  <a:pt x="2763052" y="1305089"/>
                  <a:pt x="2738341" y="1329799"/>
                  <a:pt x="2707858" y="1329799"/>
                </a:cubicBezTo>
                <a:cubicBezTo>
                  <a:pt x="2677377" y="1329799"/>
                  <a:pt x="2652667" y="1305089"/>
                  <a:pt x="2652667" y="1274608"/>
                </a:cubicBezTo>
                <a:cubicBezTo>
                  <a:pt x="2652667" y="1244127"/>
                  <a:pt x="2677377" y="1219417"/>
                  <a:pt x="2707858" y="1219417"/>
                </a:cubicBezTo>
                <a:close/>
                <a:moveTo>
                  <a:pt x="2570885" y="1219417"/>
                </a:moveTo>
                <a:cubicBezTo>
                  <a:pt x="2601367" y="1219417"/>
                  <a:pt x="2626075" y="1244127"/>
                  <a:pt x="2626075" y="1274608"/>
                </a:cubicBezTo>
                <a:cubicBezTo>
                  <a:pt x="2626075" y="1305089"/>
                  <a:pt x="2601367" y="1329799"/>
                  <a:pt x="2570885" y="1329799"/>
                </a:cubicBezTo>
                <a:cubicBezTo>
                  <a:pt x="2540401" y="1329799"/>
                  <a:pt x="2515692" y="1305089"/>
                  <a:pt x="2515692" y="1274608"/>
                </a:cubicBezTo>
                <a:cubicBezTo>
                  <a:pt x="2515692" y="1244127"/>
                  <a:pt x="2540401" y="1219417"/>
                  <a:pt x="2570885" y="1219417"/>
                </a:cubicBezTo>
                <a:close/>
                <a:moveTo>
                  <a:pt x="2039686" y="1219417"/>
                </a:moveTo>
                <a:cubicBezTo>
                  <a:pt x="2070169" y="1219417"/>
                  <a:pt x="2094880" y="1244127"/>
                  <a:pt x="2094880" y="1274608"/>
                </a:cubicBezTo>
                <a:cubicBezTo>
                  <a:pt x="2094880" y="1305089"/>
                  <a:pt x="2070169" y="1329799"/>
                  <a:pt x="2039686" y="1329799"/>
                </a:cubicBezTo>
                <a:cubicBezTo>
                  <a:pt x="2009204" y="1329799"/>
                  <a:pt x="1984493" y="1305089"/>
                  <a:pt x="1984493" y="1274608"/>
                </a:cubicBezTo>
                <a:cubicBezTo>
                  <a:pt x="1984493" y="1244127"/>
                  <a:pt x="2009204" y="1219417"/>
                  <a:pt x="2039686" y="1219417"/>
                </a:cubicBezTo>
                <a:close/>
                <a:moveTo>
                  <a:pt x="1909390" y="1219417"/>
                </a:moveTo>
                <a:cubicBezTo>
                  <a:pt x="1939873" y="1219417"/>
                  <a:pt x="1964583" y="1244127"/>
                  <a:pt x="1964583" y="1274608"/>
                </a:cubicBezTo>
                <a:cubicBezTo>
                  <a:pt x="1964583" y="1305089"/>
                  <a:pt x="1939873" y="1329799"/>
                  <a:pt x="1909390" y="1329799"/>
                </a:cubicBezTo>
                <a:cubicBezTo>
                  <a:pt x="1878908" y="1329799"/>
                  <a:pt x="1854197" y="1305089"/>
                  <a:pt x="1854197" y="1274608"/>
                </a:cubicBezTo>
                <a:cubicBezTo>
                  <a:pt x="1854197" y="1244127"/>
                  <a:pt x="1878908" y="1219417"/>
                  <a:pt x="1909390" y="1219417"/>
                </a:cubicBezTo>
                <a:close/>
                <a:moveTo>
                  <a:pt x="1779095" y="1219417"/>
                </a:moveTo>
                <a:cubicBezTo>
                  <a:pt x="1809577" y="1219417"/>
                  <a:pt x="1834287" y="1244127"/>
                  <a:pt x="1834287" y="1274608"/>
                </a:cubicBezTo>
                <a:cubicBezTo>
                  <a:pt x="1834287" y="1305089"/>
                  <a:pt x="1809577" y="1329799"/>
                  <a:pt x="1779095" y="1329799"/>
                </a:cubicBezTo>
                <a:cubicBezTo>
                  <a:pt x="1748613" y="1329799"/>
                  <a:pt x="1723902" y="1305089"/>
                  <a:pt x="1723902" y="1274608"/>
                </a:cubicBezTo>
                <a:cubicBezTo>
                  <a:pt x="1723902" y="1244127"/>
                  <a:pt x="1748613" y="1219417"/>
                  <a:pt x="1779095" y="1219417"/>
                </a:cubicBezTo>
                <a:close/>
                <a:moveTo>
                  <a:pt x="1645457" y="1219417"/>
                </a:moveTo>
                <a:cubicBezTo>
                  <a:pt x="1675941" y="1219417"/>
                  <a:pt x="1700655" y="1244127"/>
                  <a:pt x="1700655" y="1274608"/>
                </a:cubicBezTo>
                <a:cubicBezTo>
                  <a:pt x="1700655" y="1305089"/>
                  <a:pt x="1675941" y="1329799"/>
                  <a:pt x="1645457" y="1329799"/>
                </a:cubicBezTo>
                <a:cubicBezTo>
                  <a:pt x="1614977" y="1329799"/>
                  <a:pt x="1590265" y="1305089"/>
                  <a:pt x="1590265" y="1274608"/>
                </a:cubicBezTo>
                <a:cubicBezTo>
                  <a:pt x="1590265" y="1244127"/>
                  <a:pt x="1614977" y="1219417"/>
                  <a:pt x="1645457" y="1219417"/>
                </a:cubicBezTo>
                <a:close/>
                <a:moveTo>
                  <a:pt x="1515168" y="1219417"/>
                </a:moveTo>
                <a:cubicBezTo>
                  <a:pt x="1545647" y="1219417"/>
                  <a:pt x="1570354" y="1244127"/>
                  <a:pt x="1570354" y="1274608"/>
                </a:cubicBezTo>
                <a:cubicBezTo>
                  <a:pt x="1570354" y="1305089"/>
                  <a:pt x="1545647" y="1329799"/>
                  <a:pt x="1515168" y="1329799"/>
                </a:cubicBezTo>
                <a:cubicBezTo>
                  <a:pt x="1484683" y="1329799"/>
                  <a:pt x="1459973" y="1305089"/>
                  <a:pt x="1459973" y="1274608"/>
                </a:cubicBezTo>
                <a:cubicBezTo>
                  <a:pt x="1459973" y="1244127"/>
                  <a:pt x="1484683" y="1219417"/>
                  <a:pt x="1515168" y="1219417"/>
                </a:cubicBezTo>
                <a:close/>
                <a:moveTo>
                  <a:pt x="1381528" y="1219417"/>
                </a:moveTo>
                <a:cubicBezTo>
                  <a:pt x="1412011" y="1219417"/>
                  <a:pt x="1436723" y="1244127"/>
                  <a:pt x="1436723" y="1274608"/>
                </a:cubicBezTo>
                <a:cubicBezTo>
                  <a:pt x="1436723" y="1305089"/>
                  <a:pt x="1412011" y="1329799"/>
                  <a:pt x="1381528" y="1329799"/>
                </a:cubicBezTo>
                <a:cubicBezTo>
                  <a:pt x="1351052" y="1329799"/>
                  <a:pt x="1326339" y="1305089"/>
                  <a:pt x="1326339" y="1274608"/>
                </a:cubicBezTo>
                <a:cubicBezTo>
                  <a:pt x="1326339" y="1244127"/>
                  <a:pt x="1351052" y="1219417"/>
                  <a:pt x="1381528" y="1219417"/>
                </a:cubicBezTo>
                <a:close/>
                <a:moveTo>
                  <a:pt x="1251239" y="1219417"/>
                </a:moveTo>
                <a:cubicBezTo>
                  <a:pt x="1281721" y="1219417"/>
                  <a:pt x="1306431" y="1244127"/>
                  <a:pt x="1306431" y="1274608"/>
                </a:cubicBezTo>
                <a:cubicBezTo>
                  <a:pt x="1306431" y="1305089"/>
                  <a:pt x="1281721" y="1329799"/>
                  <a:pt x="1251239" y="1329799"/>
                </a:cubicBezTo>
                <a:cubicBezTo>
                  <a:pt x="1220756" y="1329799"/>
                  <a:pt x="1196046" y="1305089"/>
                  <a:pt x="1196046" y="1274608"/>
                </a:cubicBezTo>
                <a:cubicBezTo>
                  <a:pt x="1196046" y="1244127"/>
                  <a:pt x="1220756" y="1219417"/>
                  <a:pt x="1251239" y="1219417"/>
                </a:cubicBezTo>
                <a:close/>
                <a:moveTo>
                  <a:pt x="1117601" y="1219417"/>
                </a:moveTo>
                <a:cubicBezTo>
                  <a:pt x="1148084" y="1219417"/>
                  <a:pt x="1172794" y="1244127"/>
                  <a:pt x="1172794" y="1274608"/>
                </a:cubicBezTo>
                <a:cubicBezTo>
                  <a:pt x="1172794" y="1305089"/>
                  <a:pt x="1148084" y="1329799"/>
                  <a:pt x="1117601" y="1329799"/>
                </a:cubicBezTo>
                <a:cubicBezTo>
                  <a:pt x="1087119" y="1329799"/>
                  <a:pt x="1062408" y="1305089"/>
                  <a:pt x="1062408" y="1274608"/>
                </a:cubicBezTo>
                <a:cubicBezTo>
                  <a:pt x="1062408" y="1244127"/>
                  <a:pt x="1087119" y="1219417"/>
                  <a:pt x="1117601" y="1219417"/>
                </a:cubicBezTo>
                <a:close/>
                <a:moveTo>
                  <a:pt x="980622" y="1219417"/>
                </a:moveTo>
                <a:cubicBezTo>
                  <a:pt x="1011105" y="1219417"/>
                  <a:pt x="1035816" y="1244127"/>
                  <a:pt x="1035816" y="1274608"/>
                </a:cubicBezTo>
                <a:cubicBezTo>
                  <a:pt x="1035816" y="1305089"/>
                  <a:pt x="1011105" y="1329799"/>
                  <a:pt x="980622" y="1329799"/>
                </a:cubicBezTo>
                <a:cubicBezTo>
                  <a:pt x="950140" y="1329799"/>
                  <a:pt x="925429" y="1305089"/>
                  <a:pt x="925429" y="1274608"/>
                </a:cubicBezTo>
                <a:cubicBezTo>
                  <a:pt x="925429" y="1244127"/>
                  <a:pt x="950140" y="1219417"/>
                  <a:pt x="980622" y="1219417"/>
                </a:cubicBezTo>
                <a:close/>
                <a:moveTo>
                  <a:pt x="9469710" y="1099147"/>
                </a:moveTo>
                <a:cubicBezTo>
                  <a:pt x="9500192" y="1099147"/>
                  <a:pt x="9524902" y="1123857"/>
                  <a:pt x="9524902" y="1154338"/>
                </a:cubicBezTo>
                <a:cubicBezTo>
                  <a:pt x="9524902" y="1184819"/>
                  <a:pt x="9500192" y="1209529"/>
                  <a:pt x="9469710" y="1209529"/>
                </a:cubicBezTo>
                <a:cubicBezTo>
                  <a:pt x="9439228" y="1209529"/>
                  <a:pt x="9414518" y="1184819"/>
                  <a:pt x="9414518" y="1154338"/>
                </a:cubicBezTo>
                <a:cubicBezTo>
                  <a:pt x="9414518" y="1123857"/>
                  <a:pt x="9439228" y="1099147"/>
                  <a:pt x="9469710" y="1099147"/>
                </a:cubicBezTo>
                <a:close/>
                <a:moveTo>
                  <a:pt x="9336075" y="1099147"/>
                </a:moveTo>
                <a:cubicBezTo>
                  <a:pt x="9366557" y="1099147"/>
                  <a:pt x="9391267" y="1123857"/>
                  <a:pt x="9391267" y="1154338"/>
                </a:cubicBezTo>
                <a:cubicBezTo>
                  <a:pt x="9391267" y="1184819"/>
                  <a:pt x="9366557" y="1209529"/>
                  <a:pt x="9336075" y="1209529"/>
                </a:cubicBezTo>
                <a:cubicBezTo>
                  <a:pt x="9305593" y="1209529"/>
                  <a:pt x="9280883" y="1184819"/>
                  <a:pt x="9280883" y="1154338"/>
                </a:cubicBezTo>
                <a:cubicBezTo>
                  <a:pt x="9280883" y="1123857"/>
                  <a:pt x="9305593" y="1099147"/>
                  <a:pt x="9336075" y="1099147"/>
                </a:cubicBezTo>
                <a:close/>
                <a:moveTo>
                  <a:pt x="9199100" y="1099147"/>
                </a:moveTo>
                <a:cubicBezTo>
                  <a:pt x="9229582" y="1099147"/>
                  <a:pt x="9254292" y="1123857"/>
                  <a:pt x="9254292" y="1154338"/>
                </a:cubicBezTo>
                <a:cubicBezTo>
                  <a:pt x="9254292" y="1184819"/>
                  <a:pt x="9229582" y="1209529"/>
                  <a:pt x="9199100" y="1209529"/>
                </a:cubicBezTo>
                <a:cubicBezTo>
                  <a:pt x="9168618" y="1209529"/>
                  <a:pt x="9143908" y="1184819"/>
                  <a:pt x="9143908" y="1154338"/>
                </a:cubicBezTo>
                <a:cubicBezTo>
                  <a:pt x="9143908" y="1123857"/>
                  <a:pt x="9168618" y="1099147"/>
                  <a:pt x="9199100" y="1099147"/>
                </a:cubicBezTo>
                <a:close/>
                <a:moveTo>
                  <a:pt x="9068805" y="1099147"/>
                </a:moveTo>
                <a:cubicBezTo>
                  <a:pt x="9099287" y="1099147"/>
                  <a:pt x="9123997" y="1123857"/>
                  <a:pt x="9123997" y="1154338"/>
                </a:cubicBezTo>
                <a:cubicBezTo>
                  <a:pt x="9123997" y="1184819"/>
                  <a:pt x="9099287" y="1209529"/>
                  <a:pt x="9068805" y="1209529"/>
                </a:cubicBezTo>
                <a:cubicBezTo>
                  <a:pt x="9038323" y="1209529"/>
                  <a:pt x="9013613" y="1184819"/>
                  <a:pt x="9013613" y="1154338"/>
                </a:cubicBezTo>
                <a:cubicBezTo>
                  <a:pt x="9013613" y="1123857"/>
                  <a:pt x="9038323" y="1099147"/>
                  <a:pt x="9068805" y="1099147"/>
                </a:cubicBezTo>
                <a:close/>
                <a:moveTo>
                  <a:pt x="8935170" y="1099147"/>
                </a:moveTo>
                <a:cubicBezTo>
                  <a:pt x="8965652" y="1099147"/>
                  <a:pt x="8990362" y="1123857"/>
                  <a:pt x="8990362" y="1154338"/>
                </a:cubicBezTo>
                <a:cubicBezTo>
                  <a:pt x="8990362" y="1184819"/>
                  <a:pt x="8965652" y="1209529"/>
                  <a:pt x="8935170" y="1209529"/>
                </a:cubicBezTo>
                <a:cubicBezTo>
                  <a:pt x="8904688" y="1209529"/>
                  <a:pt x="8879978" y="1184819"/>
                  <a:pt x="8879978" y="1154338"/>
                </a:cubicBezTo>
                <a:cubicBezTo>
                  <a:pt x="8879978" y="1123857"/>
                  <a:pt x="8904688" y="1099147"/>
                  <a:pt x="8935170" y="1099147"/>
                </a:cubicBezTo>
                <a:close/>
                <a:moveTo>
                  <a:pt x="8801536" y="1099147"/>
                </a:moveTo>
                <a:cubicBezTo>
                  <a:pt x="8832018" y="1099147"/>
                  <a:pt x="8856728" y="1123857"/>
                  <a:pt x="8856728" y="1154338"/>
                </a:cubicBezTo>
                <a:cubicBezTo>
                  <a:pt x="8856728" y="1184819"/>
                  <a:pt x="8832018" y="1209529"/>
                  <a:pt x="8801536" y="1209529"/>
                </a:cubicBezTo>
                <a:cubicBezTo>
                  <a:pt x="8771054" y="1209529"/>
                  <a:pt x="8746344" y="1184819"/>
                  <a:pt x="8746344" y="1154338"/>
                </a:cubicBezTo>
                <a:cubicBezTo>
                  <a:pt x="8746344" y="1123857"/>
                  <a:pt x="8771054" y="1099147"/>
                  <a:pt x="8801536" y="1099147"/>
                </a:cubicBezTo>
                <a:close/>
                <a:moveTo>
                  <a:pt x="8671243" y="1099147"/>
                </a:moveTo>
                <a:cubicBezTo>
                  <a:pt x="8701725" y="1099147"/>
                  <a:pt x="8726435" y="1123857"/>
                  <a:pt x="8726435" y="1154338"/>
                </a:cubicBezTo>
                <a:cubicBezTo>
                  <a:pt x="8726435" y="1184819"/>
                  <a:pt x="8701725" y="1209529"/>
                  <a:pt x="8671243" y="1209529"/>
                </a:cubicBezTo>
                <a:cubicBezTo>
                  <a:pt x="8640761" y="1209529"/>
                  <a:pt x="8616051" y="1184819"/>
                  <a:pt x="8616051" y="1154338"/>
                </a:cubicBezTo>
                <a:cubicBezTo>
                  <a:pt x="8616051" y="1123857"/>
                  <a:pt x="8640761" y="1099147"/>
                  <a:pt x="8671243" y="1099147"/>
                </a:cubicBezTo>
                <a:close/>
                <a:moveTo>
                  <a:pt x="8537609" y="1099147"/>
                </a:moveTo>
                <a:cubicBezTo>
                  <a:pt x="8568091" y="1099147"/>
                  <a:pt x="8592801" y="1123857"/>
                  <a:pt x="8592801" y="1154338"/>
                </a:cubicBezTo>
                <a:cubicBezTo>
                  <a:pt x="8592801" y="1184819"/>
                  <a:pt x="8568091" y="1209529"/>
                  <a:pt x="8537609" y="1209529"/>
                </a:cubicBezTo>
                <a:cubicBezTo>
                  <a:pt x="8507127" y="1209529"/>
                  <a:pt x="8482417" y="1184819"/>
                  <a:pt x="8482417" y="1154338"/>
                </a:cubicBezTo>
                <a:cubicBezTo>
                  <a:pt x="8482417" y="1123857"/>
                  <a:pt x="8507127" y="1099147"/>
                  <a:pt x="8537609" y="1099147"/>
                </a:cubicBezTo>
                <a:close/>
                <a:moveTo>
                  <a:pt x="8407315" y="1099147"/>
                </a:moveTo>
                <a:cubicBezTo>
                  <a:pt x="8437797" y="1099147"/>
                  <a:pt x="8462507" y="1123857"/>
                  <a:pt x="8462507" y="1154338"/>
                </a:cubicBezTo>
                <a:cubicBezTo>
                  <a:pt x="8462507" y="1184819"/>
                  <a:pt x="8437797" y="1209529"/>
                  <a:pt x="8407315" y="1209529"/>
                </a:cubicBezTo>
                <a:cubicBezTo>
                  <a:pt x="8376833" y="1209529"/>
                  <a:pt x="8352123" y="1184819"/>
                  <a:pt x="8352123" y="1154338"/>
                </a:cubicBezTo>
                <a:cubicBezTo>
                  <a:pt x="8352123" y="1123857"/>
                  <a:pt x="8376833" y="1099147"/>
                  <a:pt x="8407315" y="1099147"/>
                </a:cubicBezTo>
                <a:close/>
                <a:moveTo>
                  <a:pt x="8273681" y="1099147"/>
                </a:moveTo>
                <a:cubicBezTo>
                  <a:pt x="8304163" y="1099147"/>
                  <a:pt x="8328873" y="1123857"/>
                  <a:pt x="8328873" y="1154338"/>
                </a:cubicBezTo>
                <a:cubicBezTo>
                  <a:pt x="8328873" y="1184819"/>
                  <a:pt x="8304163" y="1209529"/>
                  <a:pt x="8273681" y="1209529"/>
                </a:cubicBezTo>
                <a:cubicBezTo>
                  <a:pt x="8243199" y="1209529"/>
                  <a:pt x="8218489" y="1184819"/>
                  <a:pt x="8218489" y="1154338"/>
                </a:cubicBezTo>
                <a:cubicBezTo>
                  <a:pt x="8218489" y="1123857"/>
                  <a:pt x="8243199" y="1099147"/>
                  <a:pt x="8273681" y="1099147"/>
                </a:cubicBezTo>
                <a:close/>
                <a:moveTo>
                  <a:pt x="8143386" y="1099147"/>
                </a:moveTo>
                <a:cubicBezTo>
                  <a:pt x="8173868" y="1099147"/>
                  <a:pt x="8198578" y="1123857"/>
                  <a:pt x="8198578" y="1154338"/>
                </a:cubicBezTo>
                <a:cubicBezTo>
                  <a:pt x="8198578" y="1184819"/>
                  <a:pt x="8173868" y="1209529"/>
                  <a:pt x="8143386" y="1209529"/>
                </a:cubicBezTo>
                <a:cubicBezTo>
                  <a:pt x="8112904" y="1209529"/>
                  <a:pt x="8088194" y="1184819"/>
                  <a:pt x="8088194" y="1154338"/>
                </a:cubicBezTo>
                <a:cubicBezTo>
                  <a:pt x="8088194" y="1123857"/>
                  <a:pt x="8112904" y="1099147"/>
                  <a:pt x="8143386" y="1099147"/>
                </a:cubicBezTo>
                <a:close/>
                <a:moveTo>
                  <a:pt x="8009752" y="1099147"/>
                </a:moveTo>
                <a:cubicBezTo>
                  <a:pt x="8040234" y="1099147"/>
                  <a:pt x="8064944" y="1123857"/>
                  <a:pt x="8064944" y="1154338"/>
                </a:cubicBezTo>
                <a:cubicBezTo>
                  <a:pt x="8064944" y="1184819"/>
                  <a:pt x="8040234" y="1209529"/>
                  <a:pt x="8009752" y="1209529"/>
                </a:cubicBezTo>
                <a:cubicBezTo>
                  <a:pt x="7979270" y="1209529"/>
                  <a:pt x="7954560" y="1184819"/>
                  <a:pt x="7954560" y="1154338"/>
                </a:cubicBezTo>
                <a:cubicBezTo>
                  <a:pt x="7954560" y="1123857"/>
                  <a:pt x="7979270" y="1099147"/>
                  <a:pt x="8009752" y="1099147"/>
                </a:cubicBezTo>
                <a:close/>
                <a:moveTo>
                  <a:pt x="7876117" y="1099147"/>
                </a:moveTo>
                <a:cubicBezTo>
                  <a:pt x="7906599" y="1099147"/>
                  <a:pt x="7931309" y="1123857"/>
                  <a:pt x="7931309" y="1154338"/>
                </a:cubicBezTo>
                <a:cubicBezTo>
                  <a:pt x="7931309" y="1184819"/>
                  <a:pt x="7906599" y="1209529"/>
                  <a:pt x="7876117" y="1209529"/>
                </a:cubicBezTo>
                <a:cubicBezTo>
                  <a:pt x="7845635" y="1209529"/>
                  <a:pt x="7820925" y="1184819"/>
                  <a:pt x="7820925" y="1154338"/>
                </a:cubicBezTo>
                <a:cubicBezTo>
                  <a:pt x="7820925" y="1123857"/>
                  <a:pt x="7845635" y="1099147"/>
                  <a:pt x="7876117" y="1099147"/>
                </a:cubicBezTo>
                <a:close/>
                <a:moveTo>
                  <a:pt x="7745822" y="1099147"/>
                </a:moveTo>
                <a:cubicBezTo>
                  <a:pt x="7776304" y="1099147"/>
                  <a:pt x="7801014" y="1123857"/>
                  <a:pt x="7801014" y="1154338"/>
                </a:cubicBezTo>
                <a:cubicBezTo>
                  <a:pt x="7801014" y="1184819"/>
                  <a:pt x="7776304" y="1209529"/>
                  <a:pt x="7745822" y="1209529"/>
                </a:cubicBezTo>
                <a:cubicBezTo>
                  <a:pt x="7715340" y="1209529"/>
                  <a:pt x="7690630" y="1184819"/>
                  <a:pt x="7690630" y="1154338"/>
                </a:cubicBezTo>
                <a:cubicBezTo>
                  <a:pt x="7690630" y="1123857"/>
                  <a:pt x="7715340" y="1099147"/>
                  <a:pt x="7745822" y="1099147"/>
                </a:cubicBezTo>
                <a:close/>
                <a:moveTo>
                  <a:pt x="7608847" y="1099147"/>
                </a:moveTo>
                <a:cubicBezTo>
                  <a:pt x="7639329" y="1099147"/>
                  <a:pt x="7664039" y="1123857"/>
                  <a:pt x="7664039" y="1154338"/>
                </a:cubicBezTo>
                <a:cubicBezTo>
                  <a:pt x="7664039" y="1184819"/>
                  <a:pt x="7639329" y="1209529"/>
                  <a:pt x="7608847" y="1209529"/>
                </a:cubicBezTo>
                <a:cubicBezTo>
                  <a:pt x="7578365" y="1209529"/>
                  <a:pt x="7553655" y="1184819"/>
                  <a:pt x="7553655" y="1154338"/>
                </a:cubicBezTo>
                <a:cubicBezTo>
                  <a:pt x="7553655" y="1123857"/>
                  <a:pt x="7578365" y="1099147"/>
                  <a:pt x="7608847" y="1099147"/>
                </a:cubicBezTo>
                <a:close/>
                <a:moveTo>
                  <a:pt x="7481895" y="1099147"/>
                </a:moveTo>
                <a:cubicBezTo>
                  <a:pt x="7512377" y="1099147"/>
                  <a:pt x="7537087" y="1123857"/>
                  <a:pt x="7537087" y="1154338"/>
                </a:cubicBezTo>
                <a:cubicBezTo>
                  <a:pt x="7537087" y="1184819"/>
                  <a:pt x="7512377" y="1209529"/>
                  <a:pt x="7481895" y="1209529"/>
                </a:cubicBezTo>
                <a:cubicBezTo>
                  <a:pt x="7451413" y="1209529"/>
                  <a:pt x="7426703" y="1184819"/>
                  <a:pt x="7426703" y="1154338"/>
                </a:cubicBezTo>
                <a:cubicBezTo>
                  <a:pt x="7426703" y="1123857"/>
                  <a:pt x="7451413" y="1099147"/>
                  <a:pt x="7481895" y="1099147"/>
                </a:cubicBezTo>
                <a:close/>
                <a:moveTo>
                  <a:pt x="7341578" y="1099147"/>
                </a:moveTo>
                <a:cubicBezTo>
                  <a:pt x="7372060" y="1099147"/>
                  <a:pt x="7396770" y="1123857"/>
                  <a:pt x="7396770" y="1154338"/>
                </a:cubicBezTo>
                <a:cubicBezTo>
                  <a:pt x="7396770" y="1184819"/>
                  <a:pt x="7372060" y="1209529"/>
                  <a:pt x="7341578" y="1209529"/>
                </a:cubicBezTo>
                <a:cubicBezTo>
                  <a:pt x="7311096" y="1209529"/>
                  <a:pt x="7286386" y="1184819"/>
                  <a:pt x="7286386" y="1154338"/>
                </a:cubicBezTo>
                <a:cubicBezTo>
                  <a:pt x="7286386" y="1123857"/>
                  <a:pt x="7311096" y="1099147"/>
                  <a:pt x="7341578" y="1099147"/>
                </a:cubicBezTo>
                <a:close/>
                <a:moveTo>
                  <a:pt x="7211285" y="1099147"/>
                </a:moveTo>
                <a:cubicBezTo>
                  <a:pt x="7241767" y="1099147"/>
                  <a:pt x="7266477" y="1123857"/>
                  <a:pt x="7266477" y="1154338"/>
                </a:cubicBezTo>
                <a:cubicBezTo>
                  <a:pt x="7266477" y="1184819"/>
                  <a:pt x="7241767" y="1209529"/>
                  <a:pt x="7211285" y="1209529"/>
                </a:cubicBezTo>
                <a:cubicBezTo>
                  <a:pt x="7180803" y="1209529"/>
                  <a:pt x="7156093" y="1184819"/>
                  <a:pt x="7156093" y="1154338"/>
                </a:cubicBezTo>
                <a:cubicBezTo>
                  <a:pt x="7156093" y="1123857"/>
                  <a:pt x="7180803" y="1099147"/>
                  <a:pt x="7211285" y="1099147"/>
                </a:cubicBezTo>
                <a:close/>
                <a:moveTo>
                  <a:pt x="7080991" y="1099147"/>
                </a:moveTo>
                <a:cubicBezTo>
                  <a:pt x="7111473" y="1099147"/>
                  <a:pt x="7136183" y="1123857"/>
                  <a:pt x="7136183" y="1154338"/>
                </a:cubicBezTo>
                <a:cubicBezTo>
                  <a:pt x="7136183" y="1184819"/>
                  <a:pt x="7111473" y="1209529"/>
                  <a:pt x="7080991" y="1209529"/>
                </a:cubicBezTo>
                <a:cubicBezTo>
                  <a:pt x="7050509" y="1209529"/>
                  <a:pt x="7025799" y="1184819"/>
                  <a:pt x="7025799" y="1154338"/>
                </a:cubicBezTo>
                <a:cubicBezTo>
                  <a:pt x="7025799" y="1123857"/>
                  <a:pt x="7050509" y="1099147"/>
                  <a:pt x="7080991" y="1099147"/>
                </a:cubicBezTo>
                <a:close/>
                <a:moveTo>
                  <a:pt x="6947356" y="1099147"/>
                </a:moveTo>
                <a:cubicBezTo>
                  <a:pt x="6977838" y="1099147"/>
                  <a:pt x="7002548" y="1123857"/>
                  <a:pt x="7002548" y="1154338"/>
                </a:cubicBezTo>
                <a:cubicBezTo>
                  <a:pt x="7002548" y="1184819"/>
                  <a:pt x="6977838" y="1209529"/>
                  <a:pt x="6947356" y="1209529"/>
                </a:cubicBezTo>
                <a:cubicBezTo>
                  <a:pt x="6916874" y="1209529"/>
                  <a:pt x="6892164" y="1184819"/>
                  <a:pt x="6892164" y="1154338"/>
                </a:cubicBezTo>
                <a:cubicBezTo>
                  <a:pt x="6892164" y="1123857"/>
                  <a:pt x="6916874" y="1099147"/>
                  <a:pt x="6947356" y="1099147"/>
                </a:cubicBezTo>
                <a:close/>
                <a:moveTo>
                  <a:pt x="6817063" y="1099147"/>
                </a:moveTo>
                <a:cubicBezTo>
                  <a:pt x="6847545" y="1099147"/>
                  <a:pt x="6872255" y="1123857"/>
                  <a:pt x="6872255" y="1154338"/>
                </a:cubicBezTo>
                <a:cubicBezTo>
                  <a:pt x="6872255" y="1184819"/>
                  <a:pt x="6847545" y="1209529"/>
                  <a:pt x="6817063" y="1209529"/>
                </a:cubicBezTo>
                <a:cubicBezTo>
                  <a:pt x="6786581" y="1209529"/>
                  <a:pt x="6761871" y="1184819"/>
                  <a:pt x="6761871" y="1154338"/>
                </a:cubicBezTo>
                <a:cubicBezTo>
                  <a:pt x="6761871" y="1123857"/>
                  <a:pt x="6786581" y="1099147"/>
                  <a:pt x="6817063" y="1099147"/>
                </a:cubicBezTo>
                <a:close/>
                <a:moveTo>
                  <a:pt x="6683430" y="1099147"/>
                </a:moveTo>
                <a:cubicBezTo>
                  <a:pt x="6713912" y="1099147"/>
                  <a:pt x="6738622" y="1123857"/>
                  <a:pt x="6738622" y="1154338"/>
                </a:cubicBezTo>
                <a:cubicBezTo>
                  <a:pt x="6738622" y="1184819"/>
                  <a:pt x="6713912" y="1209529"/>
                  <a:pt x="6683430" y="1209529"/>
                </a:cubicBezTo>
                <a:cubicBezTo>
                  <a:pt x="6652948" y="1209529"/>
                  <a:pt x="6628238" y="1184819"/>
                  <a:pt x="6628238" y="1154338"/>
                </a:cubicBezTo>
                <a:cubicBezTo>
                  <a:pt x="6628238" y="1123857"/>
                  <a:pt x="6652948" y="1099147"/>
                  <a:pt x="6683430" y="1099147"/>
                </a:cubicBezTo>
                <a:close/>
                <a:moveTo>
                  <a:pt x="6553135" y="1099147"/>
                </a:moveTo>
                <a:cubicBezTo>
                  <a:pt x="6583617" y="1099147"/>
                  <a:pt x="6608327" y="1123857"/>
                  <a:pt x="6608327" y="1154338"/>
                </a:cubicBezTo>
                <a:cubicBezTo>
                  <a:pt x="6608327" y="1184819"/>
                  <a:pt x="6583617" y="1209529"/>
                  <a:pt x="6553135" y="1209529"/>
                </a:cubicBezTo>
                <a:cubicBezTo>
                  <a:pt x="6522653" y="1209529"/>
                  <a:pt x="6497943" y="1184819"/>
                  <a:pt x="6497943" y="1154338"/>
                </a:cubicBezTo>
                <a:cubicBezTo>
                  <a:pt x="6497943" y="1123857"/>
                  <a:pt x="6522653" y="1099147"/>
                  <a:pt x="6553135" y="1099147"/>
                </a:cubicBezTo>
                <a:close/>
                <a:moveTo>
                  <a:pt x="6419501" y="1099147"/>
                </a:moveTo>
                <a:cubicBezTo>
                  <a:pt x="6449983" y="1099147"/>
                  <a:pt x="6474693" y="1123857"/>
                  <a:pt x="6474693" y="1154338"/>
                </a:cubicBezTo>
                <a:cubicBezTo>
                  <a:pt x="6474693" y="1184819"/>
                  <a:pt x="6449983" y="1209529"/>
                  <a:pt x="6419501" y="1209529"/>
                </a:cubicBezTo>
                <a:cubicBezTo>
                  <a:pt x="6389019" y="1209529"/>
                  <a:pt x="6364309" y="1184819"/>
                  <a:pt x="6364309" y="1154338"/>
                </a:cubicBezTo>
                <a:cubicBezTo>
                  <a:pt x="6364309" y="1123857"/>
                  <a:pt x="6389019" y="1099147"/>
                  <a:pt x="6419501" y="1099147"/>
                </a:cubicBezTo>
                <a:close/>
                <a:moveTo>
                  <a:pt x="6289206" y="1099147"/>
                </a:moveTo>
                <a:cubicBezTo>
                  <a:pt x="6319688" y="1099147"/>
                  <a:pt x="6344398" y="1123857"/>
                  <a:pt x="6344398" y="1154338"/>
                </a:cubicBezTo>
                <a:cubicBezTo>
                  <a:pt x="6344398" y="1184819"/>
                  <a:pt x="6319688" y="1209529"/>
                  <a:pt x="6289206" y="1209529"/>
                </a:cubicBezTo>
                <a:cubicBezTo>
                  <a:pt x="6258724" y="1209529"/>
                  <a:pt x="6234014" y="1184819"/>
                  <a:pt x="6234014" y="1154338"/>
                </a:cubicBezTo>
                <a:cubicBezTo>
                  <a:pt x="6234014" y="1123857"/>
                  <a:pt x="6258724" y="1099147"/>
                  <a:pt x="6289206" y="1099147"/>
                </a:cubicBezTo>
                <a:close/>
                <a:moveTo>
                  <a:pt x="6155571" y="1099147"/>
                </a:moveTo>
                <a:cubicBezTo>
                  <a:pt x="6186053" y="1099147"/>
                  <a:pt x="6210763" y="1123857"/>
                  <a:pt x="6210763" y="1154338"/>
                </a:cubicBezTo>
                <a:cubicBezTo>
                  <a:pt x="6210763" y="1184819"/>
                  <a:pt x="6186053" y="1209529"/>
                  <a:pt x="6155571" y="1209529"/>
                </a:cubicBezTo>
                <a:cubicBezTo>
                  <a:pt x="6125089" y="1209529"/>
                  <a:pt x="6100379" y="1184819"/>
                  <a:pt x="6100379" y="1154338"/>
                </a:cubicBezTo>
                <a:cubicBezTo>
                  <a:pt x="6100379" y="1123857"/>
                  <a:pt x="6125089" y="1099147"/>
                  <a:pt x="6155571" y="1099147"/>
                </a:cubicBezTo>
                <a:close/>
                <a:moveTo>
                  <a:pt x="6021938" y="1099147"/>
                </a:moveTo>
                <a:cubicBezTo>
                  <a:pt x="6052420" y="1099147"/>
                  <a:pt x="6077130" y="1123857"/>
                  <a:pt x="6077130" y="1154338"/>
                </a:cubicBezTo>
                <a:cubicBezTo>
                  <a:pt x="6077130" y="1184819"/>
                  <a:pt x="6052420" y="1209529"/>
                  <a:pt x="6021938" y="1209529"/>
                </a:cubicBezTo>
                <a:cubicBezTo>
                  <a:pt x="5991456" y="1209529"/>
                  <a:pt x="5966746" y="1184819"/>
                  <a:pt x="5966746" y="1154338"/>
                </a:cubicBezTo>
                <a:cubicBezTo>
                  <a:pt x="5966746" y="1123857"/>
                  <a:pt x="5991456" y="1099147"/>
                  <a:pt x="6021938" y="1099147"/>
                </a:cubicBezTo>
                <a:close/>
                <a:moveTo>
                  <a:pt x="5884963" y="1099147"/>
                </a:moveTo>
                <a:cubicBezTo>
                  <a:pt x="5915445" y="1099147"/>
                  <a:pt x="5940155" y="1123857"/>
                  <a:pt x="5940155" y="1154338"/>
                </a:cubicBezTo>
                <a:cubicBezTo>
                  <a:pt x="5940155" y="1184819"/>
                  <a:pt x="5915445" y="1209529"/>
                  <a:pt x="5884963" y="1209529"/>
                </a:cubicBezTo>
                <a:cubicBezTo>
                  <a:pt x="5854481" y="1209529"/>
                  <a:pt x="5829771" y="1184819"/>
                  <a:pt x="5829771" y="1154338"/>
                </a:cubicBezTo>
                <a:cubicBezTo>
                  <a:pt x="5829771" y="1123857"/>
                  <a:pt x="5854481" y="1099147"/>
                  <a:pt x="5884963" y="1099147"/>
                </a:cubicBezTo>
                <a:close/>
                <a:moveTo>
                  <a:pt x="5754668" y="1099147"/>
                </a:moveTo>
                <a:cubicBezTo>
                  <a:pt x="5785150" y="1099147"/>
                  <a:pt x="5809860" y="1123857"/>
                  <a:pt x="5809860" y="1154338"/>
                </a:cubicBezTo>
                <a:cubicBezTo>
                  <a:pt x="5809860" y="1184819"/>
                  <a:pt x="5785150" y="1209529"/>
                  <a:pt x="5754668" y="1209529"/>
                </a:cubicBezTo>
                <a:cubicBezTo>
                  <a:pt x="5724186" y="1209529"/>
                  <a:pt x="5699476" y="1184819"/>
                  <a:pt x="5699476" y="1154338"/>
                </a:cubicBezTo>
                <a:cubicBezTo>
                  <a:pt x="5699476" y="1123857"/>
                  <a:pt x="5724186" y="1099147"/>
                  <a:pt x="5754668" y="1099147"/>
                </a:cubicBezTo>
                <a:close/>
                <a:moveTo>
                  <a:pt x="5621031" y="1099147"/>
                </a:moveTo>
                <a:cubicBezTo>
                  <a:pt x="5651513" y="1099147"/>
                  <a:pt x="5676223" y="1123857"/>
                  <a:pt x="5676223" y="1154338"/>
                </a:cubicBezTo>
                <a:cubicBezTo>
                  <a:pt x="5676223" y="1184819"/>
                  <a:pt x="5651513" y="1209529"/>
                  <a:pt x="5621031" y="1209529"/>
                </a:cubicBezTo>
                <a:cubicBezTo>
                  <a:pt x="5590549" y="1209529"/>
                  <a:pt x="5565839" y="1184819"/>
                  <a:pt x="5565839" y="1154338"/>
                </a:cubicBezTo>
                <a:cubicBezTo>
                  <a:pt x="5565839" y="1123857"/>
                  <a:pt x="5590549" y="1099147"/>
                  <a:pt x="5621031" y="1099147"/>
                </a:cubicBezTo>
                <a:close/>
                <a:moveTo>
                  <a:pt x="5487398" y="1099147"/>
                </a:moveTo>
                <a:cubicBezTo>
                  <a:pt x="5517880" y="1099147"/>
                  <a:pt x="5542590" y="1123857"/>
                  <a:pt x="5542590" y="1154338"/>
                </a:cubicBezTo>
                <a:cubicBezTo>
                  <a:pt x="5542590" y="1184819"/>
                  <a:pt x="5517880" y="1209529"/>
                  <a:pt x="5487398" y="1209529"/>
                </a:cubicBezTo>
                <a:cubicBezTo>
                  <a:pt x="5456916" y="1209529"/>
                  <a:pt x="5432206" y="1184819"/>
                  <a:pt x="5432206" y="1154338"/>
                </a:cubicBezTo>
                <a:cubicBezTo>
                  <a:pt x="5432206" y="1123857"/>
                  <a:pt x="5456916" y="1099147"/>
                  <a:pt x="5487398" y="1099147"/>
                </a:cubicBezTo>
                <a:close/>
                <a:moveTo>
                  <a:pt x="5357105" y="1099147"/>
                </a:moveTo>
                <a:cubicBezTo>
                  <a:pt x="5387587" y="1099147"/>
                  <a:pt x="5412297" y="1123857"/>
                  <a:pt x="5412297" y="1154338"/>
                </a:cubicBezTo>
                <a:cubicBezTo>
                  <a:pt x="5412297" y="1184819"/>
                  <a:pt x="5387587" y="1209529"/>
                  <a:pt x="5357105" y="1209529"/>
                </a:cubicBezTo>
                <a:cubicBezTo>
                  <a:pt x="5326623" y="1209529"/>
                  <a:pt x="5301913" y="1184819"/>
                  <a:pt x="5301913" y="1154338"/>
                </a:cubicBezTo>
                <a:cubicBezTo>
                  <a:pt x="5301913" y="1123857"/>
                  <a:pt x="5326623" y="1099147"/>
                  <a:pt x="5357105" y="1099147"/>
                </a:cubicBezTo>
                <a:close/>
                <a:moveTo>
                  <a:pt x="5093176" y="1099147"/>
                </a:moveTo>
                <a:cubicBezTo>
                  <a:pt x="5123658" y="1099147"/>
                  <a:pt x="5148368" y="1123857"/>
                  <a:pt x="5148368" y="1154338"/>
                </a:cubicBezTo>
                <a:cubicBezTo>
                  <a:pt x="5148368" y="1184819"/>
                  <a:pt x="5123658" y="1209529"/>
                  <a:pt x="5093176" y="1209529"/>
                </a:cubicBezTo>
                <a:cubicBezTo>
                  <a:pt x="5062694" y="1209529"/>
                  <a:pt x="5037984" y="1184819"/>
                  <a:pt x="5037984" y="1154338"/>
                </a:cubicBezTo>
                <a:cubicBezTo>
                  <a:pt x="5037984" y="1123857"/>
                  <a:pt x="5062694" y="1099147"/>
                  <a:pt x="5093176" y="1099147"/>
                </a:cubicBezTo>
                <a:close/>
                <a:moveTo>
                  <a:pt x="4959540" y="1099147"/>
                </a:moveTo>
                <a:cubicBezTo>
                  <a:pt x="4990022" y="1099147"/>
                  <a:pt x="5014732" y="1123857"/>
                  <a:pt x="5014732" y="1154338"/>
                </a:cubicBezTo>
                <a:cubicBezTo>
                  <a:pt x="5014732" y="1184819"/>
                  <a:pt x="4990022" y="1209529"/>
                  <a:pt x="4959540" y="1209529"/>
                </a:cubicBezTo>
                <a:cubicBezTo>
                  <a:pt x="4929058" y="1209529"/>
                  <a:pt x="4904348" y="1184819"/>
                  <a:pt x="4904348" y="1154338"/>
                </a:cubicBezTo>
                <a:cubicBezTo>
                  <a:pt x="4904348" y="1123857"/>
                  <a:pt x="4929058" y="1099147"/>
                  <a:pt x="4959540" y="1099147"/>
                </a:cubicBezTo>
                <a:close/>
                <a:moveTo>
                  <a:pt x="4829246" y="1099147"/>
                </a:moveTo>
                <a:cubicBezTo>
                  <a:pt x="4859728" y="1099147"/>
                  <a:pt x="4884438" y="1123857"/>
                  <a:pt x="4884438" y="1154338"/>
                </a:cubicBezTo>
                <a:cubicBezTo>
                  <a:pt x="4884438" y="1184819"/>
                  <a:pt x="4859728" y="1209529"/>
                  <a:pt x="4829246" y="1209529"/>
                </a:cubicBezTo>
                <a:cubicBezTo>
                  <a:pt x="4798764" y="1209529"/>
                  <a:pt x="4774054" y="1184819"/>
                  <a:pt x="4774054" y="1154338"/>
                </a:cubicBezTo>
                <a:cubicBezTo>
                  <a:pt x="4774054" y="1123857"/>
                  <a:pt x="4798764" y="1099147"/>
                  <a:pt x="4829246" y="1099147"/>
                </a:cubicBezTo>
                <a:close/>
                <a:moveTo>
                  <a:pt x="319117" y="1099147"/>
                </a:moveTo>
                <a:cubicBezTo>
                  <a:pt x="349600" y="1099147"/>
                  <a:pt x="374310" y="1123857"/>
                  <a:pt x="374310" y="1154338"/>
                </a:cubicBezTo>
                <a:cubicBezTo>
                  <a:pt x="374310" y="1184819"/>
                  <a:pt x="349600" y="1209529"/>
                  <a:pt x="319117" y="1209529"/>
                </a:cubicBezTo>
                <a:cubicBezTo>
                  <a:pt x="288635" y="1209529"/>
                  <a:pt x="263926" y="1184819"/>
                  <a:pt x="263926" y="1154338"/>
                </a:cubicBezTo>
                <a:cubicBezTo>
                  <a:pt x="263926" y="1123857"/>
                  <a:pt x="288635" y="1099147"/>
                  <a:pt x="319117" y="1099147"/>
                </a:cubicBezTo>
                <a:close/>
                <a:moveTo>
                  <a:pt x="185484" y="1099147"/>
                </a:moveTo>
                <a:cubicBezTo>
                  <a:pt x="215966" y="1099147"/>
                  <a:pt x="240675" y="1123857"/>
                  <a:pt x="240675" y="1154338"/>
                </a:cubicBezTo>
                <a:cubicBezTo>
                  <a:pt x="240675" y="1184819"/>
                  <a:pt x="215966" y="1209529"/>
                  <a:pt x="185484" y="1209529"/>
                </a:cubicBezTo>
                <a:cubicBezTo>
                  <a:pt x="155003" y="1209529"/>
                  <a:pt x="130292" y="1184819"/>
                  <a:pt x="130292" y="1154338"/>
                </a:cubicBezTo>
                <a:cubicBezTo>
                  <a:pt x="130292" y="1123857"/>
                  <a:pt x="155003" y="1099147"/>
                  <a:pt x="185484" y="1099147"/>
                </a:cubicBezTo>
                <a:close/>
                <a:moveTo>
                  <a:pt x="55190" y="1099147"/>
                </a:moveTo>
                <a:cubicBezTo>
                  <a:pt x="85672" y="1099147"/>
                  <a:pt x="110381" y="1123857"/>
                  <a:pt x="110381" y="1154338"/>
                </a:cubicBezTo>
                <a:cubicBezTo>
                  <a:pt x="110381" y="1184819"/>
                  <a:pt x="85672" y="1209529"/>
                  <a:pt x="55190" y="1209529"/>
                </a:cubicBezTo>
                <a:cubicBezTo>
                  <a:pt x="24708" y="1209529"/>
                  <a:pt x="0" y="1184819"/>
                  <a:pt x="0" y="1154338"/>
                </a:cubicBezTo>
                <a:cubicBezTo>
                  <a:pt x="0" y="1123857"/>
                  <a:pt x="24708" y="1099147"/>
                  <a:pt x="55190" y="1099147"/>
                </a:cubicBezTo>
                <a:close/>
                <a:moveTo>
                  <a:pt x="3499584" y="1099146"/>
                </a:moveTo>
                <a:cubicBezTo>
                  <a:pt x="3530066" y="1099146"/>
                  <a:pt x="3554776" y="1123856"/>
                  <a:pt x="3554776" y="1154337"/>
                </a:cubicBezTo>
                <a:cubicBezTo>
                  <a:pt x="3554776" y="1184818"/>
                  <a:pt x="3530066" y="1209528"/>
                  <a:pt x="3499584" y="1209528"/>
                </a:cubicBezTo>
                <a:cubicBezTo>
                  <a:pt x="3469102" y="1209528"/>
                  <a:pt x="3444392" y="1184818"/>
                  <a:pt x="3444392" y="1154337"/>
                </a:cubicBezTo>
                <a:cubicBezTo>
                  <a:pt x="3444392" y="1123856"/>
                  <a:pt x="3469102" y="1099146"/>
                  <a:pt x="3499584" y="1099146"/>
                </a:cubicBezTo>
                <a:close/>
                <a:moveTo>
                  <a:pt x="2570894" y="1099146"/>
                </a:moveTo>
                <a:cubicBezTo>
                  <a:pt x="2601377" y="1099146"/>
                  <a:pt x="2626086" y="1123856"/>
                  <a:pt x="2626086" y="1154337"/>
                </a:cubicBezTo>
                <a:cubicBezTo>
                  <a:pt x="2626086" y="1184818"/>
                  <a:pt x="2601377" y="1209528"/>
                  <a:pt x="2570894" y="1209528"/>
                </a:cubicBezTo>
                <a:cubicBezTo>
                  <a:pt x="2540412" y="1209528"/>
                  <a:pt x="2515701" y="1184818"/>
                  <a:pt x="2515701" y="1154337"/>
                </a:cubicBezTo>
                <a:cubicBezTo>
                  <a:pt x="2515701" y="1123856"/>
                  <a:pt x="2540412" y="1099146"/>
                  <a:pt x="2570894" y="1099146"/>
                </a:cubicBezTo>
                <a:close/>
                <a:moveTo>
                  <a:pt x="2039698" y="1099146"/>
                </a:moveTo>
                <a:cubicBezTo>
                  <a:pt x="2070180" y="1099146"/>
                  <a:pt x="2094891" y="1123856"/>
                  <a:pt x="2094891" y="1154337"/>
                </a:cubicBezTo>
                <a:cubicBezTo>
                  <a:pt x="2094891" y="1184818"/>
                  <a:pt x="2070180" y="1209528"/>
                  <a:pt x="2039698" y="1209528"/>
                </a:cubicBezTo>
                <a:cubicBezTo>
                  <a:pt x="2009214" y="1209528"/>
                  <a:pt x="1984505" y="1184818"/>
                  <a:pt x="1984505" y="1154337"/>
                </a:cubicBezTo>
                <a:cubicBezTo>
                  <a:pt x="1984505" y="1123856"/>
                  <a:pt x="2009214" y="1099146"/>
                  <a:pt x="2039698" y="1099146"/>
                </a:cubicBezTo>
                <a:close/>
                <a:moveTo>
                  <a:pt x="1909401" y="1099146"/>
                </a:moveTo>
                <a:cubicBezTo>
                  <a:pt x="1939883" y="1099146"/>
                  <a:pt x="1964592" y="1123856"/>
                  <a:pt x="1964592" y="1154337"/>
                </a:cubicBezTo>
                <a:cubicBezTo>
                  <a:pt x="1964592" y="1184818"/>
                  <a:pt x="1939883" y="1209528"/>
                  <a:pt x="1909401" y="1209528"/>
                </a:cubicBezTo>
                <a:cubicBezTo>
                  <a:pt x="1878917" y="1209528"/>
                  <a:pt x="1854207" y="1184818"/>
                  <a:pt x="1854207" y="1154337"/>
                </a:cubicBezTo>
                <a:cubicBezTo>
                  <a:pt x="1854207" y="1123856"/>
                  <a:pt x="1878917" y="1099146"/>
                  <a:pt x="1909401" y="1099146"/>
                </a:cubicBezTo>
                <a:close/>
                <a:moveTo>
                  <a:pt x="1779104" y="1099146"/>
                </a:moveTo>
                <a:cubicBezTo>
                  <a:pt x="1809585" y="1099146"/>
                  <a:pt x="1834296" y="1123856"/>
                  <a:pt x="1834296" y="1154337"/>
                </a:cubicBezTo>
                <a:cubicBezTo>
                  <a:pt x="1834296" y="1184818"/>
                  <a:pt x="1809585" y="1209528"/>
                  <a:pt x="1779104" y="1209528"/>
                </a:cubicBezTo>
                <a:cubicBezTo>
                  <a:pt x="1748623" y="1209528"/>
                  <a:pt x="1723910" y="1184818"/>
                  <a:pt x="1723910" y="1154337"/>
                </a:cubicBezTo>
                <a:cubicBezTo>
                  <a:pt x="1723910" y="1123856"/>
                  <a:pt x="1748623" y="1099146"/>
                  <a:pt x="1779104" y="1099146"/>
                </a:cubicBezTo>
                <a:close/>
                <a:moveTo>
                  <a:pt x="1645469" y="1099146"/>
                </a:moveTo>
                <a:cubicBezTo>
                  <a:pt x="1675950" y="1099146"/>
                  <a:pt x="1700664" y="1123856"/>
                  <a:pt x="1700664" y="1154337"/>
                </a:cubicBezTo>
                <a:cubicBezTo>
                  <a:pt x="1700664" y="1184818"/>
                  <a:pt x="1675950" y="1209528"/>
                  <a:pt x="1645469" y="1209528"/>
                </a:cubicBezTo>
                <a:cubicBezTo>
                  <a:pt x="1614986" y="1209528"/>
                  <a:pt x="1590275" y="1184818"/>
                  <a:pt x="1590275" y="1154337"/>
                </a:cubicBezTo>
                <a:cubicBezTo>
                  <a:pt x="1590275" y="1123856"/>
                  <a:pt x="1614986" y="1099146"/>
                  <a:pt x="1645469" y="1099146"/>
                </a:cubicBezTo>
                <a:close/>
                <a:moveTo>
                  <a:pt x="1515179" y="1099146"/>
                </a:moveTo>
                <a:cubicBezTo>
                  <a:pt x="1545657" y="1099146"/>
                  <a:pt x="1570364" y="1123856"/>
                  <a:pt x="1570364" y="1154337"/>
                </a:cubicBezTo>
                <a:cubicBezTo>
                  <a:pt x="1570364" y="1184818"/>
                  <a:pt x="1545657" y="1209528"/>
                  <a:pt x="1515179" y="1209528"/>
                </a:cubicBezTo>
                <a:cubicBezTo>
                  <a:pt x="1484695" y="1209528"/>
                  <a:pt x="1459982" y="1184818"/>
                  <a:pt x="1459982" y="1154337"/>
                </a:cubicBezTo>
                <a:cubicBezTo>
                  <a:pt x="1459982" y="1123856"/>
                  <a:pt x="1484695" y="1099146"/>
                  <a:pt x="1515179" y="1099146"/>
                </a:cubicBezTo>
                <a:close/>
                <a:moveTo>
                  <a:pt x="1381539" y="1099146"/>
                </a:moveTo>
                <a:cubicBezTo>
                  <a:pt x="1412022" y="1099146"/>
                  <a:pt x="1436731" y="1123856"/>
                  <a:pt x="1436731" y="1154337"/>
                </a:cubicBezTo>
                <a:cubicBezTo>
                  <a:pt x="1436731" y="1184818"/>
                  <a:pt x="1412022" y="1209528"/>
                  <a:pt x="1381539" y="1209528"/>
                </a:cubicBezTo>
                <a:cubicBezTo>
                  <a:pt x="1351062" y="1209528"/>
                  <a:pt x="1326349" y="1184818"/>
                  <a:pt x="1326349" y="1154337"/>
                </a:cubicBezTo>
                <a:cubicBezTo>
                  <a:pt x="1326349" y="1123856"/>
                  <a:pt x="1351062" y="1099146"/>
                  <a:pt x="1381539" y="1099146"/>
                </a:cubicBezTo>
                <a:close/>
                <a:moveTo>
                  <a:pt x="1251245" y="1099146"/>
                </a:moveTo>
                <a:cubicBezTo>
                  <a:pt x="1281728" y="1099146"/>
                  <a:pt x="1306439" y="1123856"/>
                  <a:pt x="1306439" y="1154337"/>
                </a:cubicBezTo>
                <a:cubicBezTo>
                  <a:pt x="1306439" y="1184818"/>
                  <a:pt x="1281728" y="1209528"/>
                  <a:pt x="1251245" y="1209528"/>
                </a:cubicBezTo>
                <a:cubicBezTo>
                  <a:pt x="1220763" y="1209528"/>
                  <a:pt x="1196054" y="1184818"/>
                  <a:pt x="1196054" y="1154337"/>
                </a:cubicBezTo>
                <a:cubicBezTo>
                  <a:pt x="1196054" y="1123856"/>
                  <a:pt x="1220763" y="1099146"/>
                  <a:pt x="1251245" y="1099146"/>
                </a:cubicBezTo>
                <a:close/>
                <a:moveTo>
                  <a:pt x="1117610" y="1099146"/>
                </a:moveTo>
                <a:cubicBezTo>
                  <a:pt x="1148093" y="1099146"/>
                  <a:pt x="1172803" y="1123856"/>
                  <a:pt x="1172803" y="1154337"/>
                </a:cubicBezTo>
                <a:cubicBezTo>
                  <a:pt x="1172803" y="1184818"/>
                  <a:pt x="1148093" y="1209528"/>
                  <a:pt x="1117610" y="1209528"/>
                </a:cubicBezTo>
                <a:cubicBezTo>
                  <a:pt x="1087127" y="1209528"/>
                  <a:pt x="1062416" y="1184818"/>
                  <a:pt x="1062416" y="1154337"/>
                </a:cubicBezTo>
                <a:cubicBezTo>
                  <a:pt x="1062416" y="1123856"/>
                  <a:pt x="1087127" y="1099146"/>
                  <a:pt x="1117610" y="1099146"/>
                </a:cubicBezTo>
                <a:close/>
                <a:moveTo>
                  <a:pt x="980631" y="1099146"/>
                </a:moveTo>
                <a:cubicBezTo>
                  <a:pt x="1011115" y="1099146"/>
                  <a:pt x="1035825" y="1123856"/>
                  <a:pt x="1035825" y="1154337"/>
                </a:cubicBezTo>
                <a:cubicBezTo>
                  <a:pt x="1035825" y="1184818"/>
                  <a:pt x="1011115" y="1209528"/>
                  <a:pt x="980631" y="1209528"/>
                </a:cubicBezTo>
                <a:cubicBezTo>
                  <a:pt x="950149" y="1209528"/>
                  <a:pt x="925438" y="1184818"/>
                  <a:pt x="925438" y="1154337"/>
                </a:cubicBezTo>
                <a:cubicBezTo>
                  <a:pt x="925438" y="1123856"/>
                  <a:pt x="950149" y="1099146"/>
                  <a:pt x="980631" y="1099146"/>
                </a:cubicBezTo>
                <a:close/>
                <a:moveTo>
                  <a:pt x="846993" y="1099146"/>
                </a:moveTo>
                <a:cubicBezTo>
                  <a:pt x="877476" y="1099146"/>
                  <a:pt x="902186" y="1123856"/>
                  <a:pt x="902186" y="1154337"/>
                </a:cubicBezTo>
                <a:cubicBezTo>
                  <a:pt x="902186" y="1184818"/>
                  <a:pt x="877476" y="1209528"/>
                  <a:pt x="846993" y="1209528"/>
                </a:cubicBezTo>
                <a:cubicBezTo>
                  <a:pt x="816511" y="1209528"/>
                  <a:pt x="791796" y="1184818"/>
                  <a:pt x="791796" y="1154337"/>
                </a:cubicBezTo>
                <a:cubicBezTo>
                  <a:pt x="791796" y="1123856"/>
                  <a:pt x="816511" y="1099146"/>
                  <a:pt x="846993" y="1099146"/>
                </a:cubicBezTo>
                <a:close/>
                <a:moveTo>
                  <a:pt x="716690" y="1099146"/>
                </a:moveTo>
                <a:cubicBezTo>
                  <a:pt x="747176" y="1099146"/>
                  <a:pt x="771886" y="1123856"/>
                  <a:pt x="771886" y="1154337"/>
                </a:cubicBezTo>
                <a:cubicBezTo>
                  <a:pt x="771886" y="1184818"/>
                  <a:pt x="747176" y="1209528"/>
                  <a:pt x="716690" y="1209528"/>
                </a:cubicBezTo>
                <a:cubicBezTo>
                  <a:pt x="686211" y="1209528"/>
                  <a:pt x="661502" y="1184818"/>
                  <a:pt x="661502" y="1154337"/>
                </a:cubicBezTo>
                <a:cubicBezTo>
                  <a:pt x="661502" y="1123856"/>
                  <a:pt x="686211" y="1099146"/>
                  <a:pt x="716690" y="1099146"/>
                </a:cubicBezTo>
                <a:close/>
                <a:moveTo>
                  <a:pt x="583057" y="1099146"/>
                </a:moveTo>
                <a:cubicBezTo>
                  <a:pt x="613540" y="1099146"/>
                  <a:pt x="638250" y="1123856"/>
                  <a:pt x="638250" y="1154337"/>
                </a:cubicBezTo>
                <a:cubicBezTo>
                  <a:pt x="638250" y="1184818"/>
                  <a:pt x="613540" y="1209528"/>
                  <a:pt x="583057" y="1209528"/>
                </a:cubicBezTo>
                <a:cubicBezTo>
                  <a:pt x="552573" y="1209528"/>
                  <a:pt x="527863" y="1184818"/>
                  <a:pt x="527863" y="1154337"/>
                </a:cubicBezTo>
                <a:cubicBezTo>
                  <a:pt x="527863" y="1123856"/>
                  <a:pt x="552573" y="1099146"/>
                  <a:pt x="583057" y="1099146"/>
                </a:cubicBezTo>
                <a:close/>
                <a:moveTo>
                  <a:pt x="449413" y="1099146"/>
                </a:moveTo>
                <a:cubicBezTo>
                  <a:pt x="479896" y="1099146"/>
                  <a:pt x="504606" y="1123856"/>
                  <a:pt x="504606" y="1154337"/>
                </a:cubicBezTo>
                <a:cubicBezTo>
                  <a:pt x="504606" y="1184818"/>
                  <a:pt x="479896" y="1209528"/>
                  <a:pt x="449413" y="1209528"/>
                </a:cubicBezTo>
                <a:cubicBezTo>
                  <a:pt x="418931" y="1209528"/>
                  <a:pt x="394220" y="1184818"/>
                  <a:pt x="394220" y="1154337"/>
                </a:cubicBezTo>
                <a:cubicBezTo>
                  <a:pt x="394220" y="1123856"/>
                  <a:pt x="418931" y="1099146"/>
                  <a:pt x="449413" y="1099146"/>
                </a:cubicBezTo>
                <a:close/>
                <a:moveTo>
                  <a:pt x="9603343" y="975533"/>
                </a:moveTo>
                <a:cubicBezTo>
                  <a:pt x="9633825" y="975533"/>
                  <a:pt x="9658535" y="1000243"/>
                  <a:pt x="9658535" y="1030724"/>
                </a:cubicBezTo>
                <a:cubicBezTo>
                  <a:pt x="9658535" y="1061205"/>
                  <a:pt x="9633825" y="1085915"/>
                  <a:pt x="9603343" y="1085915"/>
                </a:cubicBezTo>
                <a:cubicBezTo>
                  <a:pt x="9572861" y="1085915"/>
                  <a:pt x="9548151" y="1061205"/>
                  <a:pt x="9548151" y="1030724"/>
                </a:cubicBezTo>
                <a:cubicBezTo>
                  <a:pt x="9548151" y="1000243"/>
                  <a:pt x="9572861" y="975533"/>
                  <a:pt x="9603343" y="975533"/>
                </a:cubicBezTo>
                <a:close/>
                <a:moveTo>
                  <a:pt x="9469708" y="975533"/>
                </a:moveTo>
                <a:cubicBezTo>
                  <a:pt x="9500190" y="975533"/>
                  <a:pt x="9524900" y="1000243"/>
                  <a:pt x="9524900" y="1030724"/>
                </a:cubicBezTo>
                <a:cubicBezTo>
                  <a:pt x="9524900" y="1061205"/>
                  <a:pt x="9500190" y="1085915"/>
                  <a:pt x="9469708" y="1085915"/>
                </a:cubicBezTo>
                <a:cubicBezTo>
                  <a:pt x="9439226" y="1085915"/>
                  <a:pt x="9414516" y="1061205"/>
                  <a:pt x="9414516" y="1030724"/>
                </a:cubicBezTo>
                <a:cubicBezTo>
                  <a:pt x="9414516" y="1000243"/>
                  <a:pt x="9439226" y="975533"/>
                  <a:pt x="9469708" y="975533"/>
                </a:cubicBezTo>
                <a:close/>
                <a:moveTo>
                  <a:pt x="8935170" y="975533"/>
                </a:moveTo>
                <a:cubicBezTo>
                  <a:pt x="8965652" y="975533"/>
                  <a:pt x="8990362" y="1000243"/>
                  <a:pt x="8990362" y="1030724"/>
                </a:cubicBezTo>
                <a:cubicBezTo>
                  <a:pt x="8990362" y="1061205"/>
                  <a:pt x="8965652" y="1085915"/>
                  <a:pt x="8935170" y="1085915"/>
                </a:cubicBezTo>
                <a:cubicBezTo>
                  <a:pt x="8904688" y="1085915"/>
                  <a:pt x="8879978" y="1061205"/>
                  <a:pt x="8879978" y="1030724"/>
                </a:cubicBezTo>
                <a:cubicBezTo>
                  <a:pt x="8879978" y="1000243"/>
                  <a:pt x="8904688" y="975533"/>
                  <a:pt x="8935170" y="975533"/>
                </a:cubicBezTo>
                <a:close/>
                <a:moveTo>
                  <a:pt x="8407315" y="975533"/>
                </a:moveTo>
                <a:cubicBezTo>
                  <a:pt x="8437797" y="975533"/>
                  <a:pt x="8462507" y="1000243"/>
                  <a:pt x="8462507" y="1030724"/>
                </a:cubicBezTo>
                <a:cubicBezTo>
                  <a:pt x="8462507" y="1061205"/>
                  <a:pt x="8437797" y="1085915"/>
                  <a:pt x="8407315" y="1085915"/>
                </a:cubicBezTo>
                <a:cubicBezTo>
                  <a:pt x="8376833" y="1085915"/>
                  <a:pt x="8352123" y="1061205"/>
                  <a:pt x="8352123" y="1030724"/>
                </a:cubicBezTo>
                <a:cubicBezTo>
                  <a:pt x="8352123" y="1000243"/>
                  <a:pt x="8376833" y="975533"/>
                  <a:pt x="8407315" y="975533"/>
                </a:cubicBezTo>
                <a:close/>
                <a:moveTo>
                  <a:pt x="7876116" y="975533"/>
                </a:moveTo>
                <a:cubicBezTo>
                  <a:pt x="7906598" y="975533"/>
                  <a:pt x="7931308" y="1000243"/>
                  <a:pt x="7931308" y="1030724"/>
                </a:cubicBezTo>
                <a:cubicBezTo>
                  <a:pt x="7931308" y="1061205"/>
                  <a:pt x="7906598" y="1085915"/>
                  <a:pt x="7876116" y="1085915"/>
                </a:cubicBezTo>
                <a:cubicBezTo>
                  <a:pt x="7845634" y="1085915"/>
                  <a:pt x="7820924" y="1061205"/>
                  <a:pt x="7820924" y="1030724"/>
                </a:cubicBezTo>
                <a:cubicBezTo>
                  <a:pt x="7820924" y="1000243"/>
                  <a:pt x="7845634" y="975533"/>
                  <a:pt x="7876116" y="975533"/>
                </a:cubicBezTo>
                <a:close/>
                <a:moveTo>
                  <a:pt x="7745822" y="975533"/>
                </a:moveTo>
                <a:cubicBezTo>
                  <a:pt x="7776304" y="975533"/>
                  <a:pt x="7801014" y="1000243"/>
                  <a:pt x="7801014" y="1030724"/>
                </a:cubicBezTo>
                <a:cubicBezTo>
                  <a:pt x="7801014" y="1061205"/>
                  <a:pt x="7776304" y="1085915"/>
                  <a:pt x="7745822" y="1085915"/>
                </a:cubicBezTo>
                <a:cubicBezTo>
                  <a:pt x="7715340" y="1085915"/>
                  <a:pt x="7690630" y="1061205"/>
                  <a:pt x="7690630" y="1030724"/>
                </a:cubicBezTo>
                <a:cubicBezTo>
                  <a:pt x="7690630" y="1000243"/>
                  <a:pt x="7715340" y="975533"/>
                  <a:pt x="7745822" y="975533"/>
                </a:cubicBezTo>
                <a:close/>
                <a:moveTo>
                  <a:pt x="7481894" y="975533"/>
                </a:moveTo>
                <a:cubicBezTo>
                  <a:pt x="7512376" y="975533"/>
                  <a:pt x="7537086" y="1000243"/>
                  <a:pt x="7537086" y="1030724"/>
                </a:cubicBezTo>
                <a:cubicBezTo>
                  <a:pt x="7537086" y="1061205"/>
                  <a:pt x="7512376" y="1085915"/>
                  <a:pt x="7481894" y="1085915"/>
                </a:cubicBezTo>
                <a:cubicBezTo>
                  <a:pt x="7451412" y="1085915"/>
                  <a:pt x="7426702" y="1061205"/>
                  <a:pt x="7426702" y="1030724"/>
                </a:cubicBezTo>
                <a:cubicBezTo>
                  <a:pt x="7426702" y="1000243"/>
                  <a:pt x="7451412" y="975533"/>
                  <a:pt x="7481894" y="975533"/>
                </a:cubicBezTo>
                <a:close/>
                <a:moveTo>
                  <a:pt x="7341578" y="975533"/>
                </a:moveTo>
                <a:cubicBezTo>
                  <a:pt x="7372060" y="975533"/>
                  <a:pt x="7396770" y="1000243"/>
                  <a:pt x="7396770" y="1030724"/>
                </a:cubicBezTo>
                <a:cubicBezTo>
                  <a:pt x="7396770" y="1061205"/>
                  <a:pt x="7372060" y="1085915"/>
                  <a:pt x="7341578" y="1085915"/>
                </a:cubicBezTo>
                <a:cubicBezTo>
                  <a:pt x="7311096" y="1085915"/>
                  <a:pt x="7286386" y="1061205"/>
                  <a:pt x="7286386" y="1030724"/>
                </a:cubicBezTo>
                <a:cubicBezTo>
                  <a:pt x="7286386" y="1000243"/>
                  <a:pt x="7311096" y="975533"/>
                  <a:pt x="7341578" y="975533"/>
                </a:cubicBezTo>
                <a:close/>
                <a:moveTo>
                  <a:pt x="7211285" y="975533"/>
                </a:moveTo>
                <a:cubicBezTo>
                  <a:pt x="7241767" y="975533"/>
                  <a:pt x="7266477" y="1000243"/>
                  <a:pt x="7266477" y="1030724"/>
                </a:cubicBezTo>
                <a:cubicBezTo>
                  <a:pt x="7266477" y="1061205"/>
                  <a:pt x="7241767" y="1085915"/>
                  <a:pt x="7211285" y="1085915"/>
                </a:cubicBezTo>
                <a:cubicBezTo>
                  <a:pt x="7180803" y="1085915"/>
                  <a:pt x="7156093" y="1061205"/>
                  <a:pt x="7156093" y="1030724"/>
                </a:cubicBezTo>
                <a:cubicBezTo>
                  <a:pt x="7156093" y="1000243"/>
                  <a:pt x="7180803" y="975533"/>
                  <a:pt x="7211285" y="975533"/>
                </a:cubicBezTo>
                <a:close/>
                <a:moveTo>
                  <a:pt x="6947356" y="975533"/>
                </a:moveTo>
                <a:cubicBezTo>
                  <a:pt x="6977838" y="975533"/>
                  <a:pt x="7002548" y="1000243"/>
                  <a:pt x="7002548" y="1030724"/>
                </a:cubicBezTo>
                <a:cubicBezTo>
                  <a:pt x="7002548" y="1061205"/>
                  <a:pt x="6977838" y="1085915"/>
                  <a:pt x="6947356" y="1085915"/>
                </a:cubicBezTo>
                <a:cubicBezTo>
                  <a:pt x="6916874" y="1085915"/>
                  <a:pt x="6892164" y="1061205"/>
                  <a:pt x="6892164" y="1030724"/>
                </a:cubicBezTo>
                <a:cubicBezTo>
                  <a:pt x="6892164" y="1000243"/>
                  <a:pt x="6916874" y="975533"/>
                  <a:pt x="6947356" y="975533"/>
                </a:cubicBezTo>
                <a:close/>
                <a:moveTo>
                  <a:pt x="6817063" y="975533"/>
                </a:moveTo>
                <a:cubicBezTo>
                  <a:pt x="6847545" y="975533"/>
                  <a:pt x="6872255" y="1000243"/>
                  <a:pt x="6872255" y="1030724"/>
                </a:cubicBezTo>
                <a:cubicBezTo>
                  <a:pt x="6872255" y="1061205"/>
                  <a:pt x="6847545" y="1085915"/>
                  <a:pt x="6817063" y="1085915"/>
                </a:cubicBezTo>
                <a:cubicBezTo>
                  <a:pt x="6786581" y="1085915"/>
                  <a:pt x="6761871" y="1061205"/>
                  <a:pt x="6761871" y="1030724"/>
                </a:cubicBezTo>
                <a:cubicBezTo>
                  <a:pt x="6761871" y="1000243"/>
                  <a:pt x="6786581" y="975533"/>
                  <a:pt x="6817063" y="975533"/>
                </a:cubicBezTo>
                <a:close/>
                <a:moveTo>
                  <a:pt x="6683430" y="975533"/>
                </a:moveTo>
                <a:cubicBezTo>
                  <a:pt x="6713912" y="975533"/>
                  <a:pt x="6738622" y="1000243"/>
                  <a:pt x="6738622" y="1030724"/>
                </a:cubicBezTo>
                <a:cubicBezTo>
                  <a:pt x="6738622" y="1061205"/>
                  <a:pt x="6713912" y="1085915"/>
                  <a:pt x="6683430" y="1085915"/>
                </a:cubicBezTo>
                <a:cubicBezTo>
                  <a:pt x="6652948" y="1085915"/>
                  <a:pt x="6628238" y="1061205"/>
                  <a:pt x="6628238" y="1030724"/>
                </a:cubicBezTo>
                <a:cubicBezTo>
                  <a:pt x="6628238" y="1000243"/>
                  <a:pt x="6652948" y="975533"/>
                  <a:pt x="6683430" y="975533"/>
                </a:cubicBezTo>
                <a:close/>
                <a:moveTo>
                  <a:pt x="6289206" y="975533"/>
                </a:moveTo>
                <a:cubicBezTo>
                  <a:pt x="6319688" y="975533"/>
                  <a:pt x="6344398" y="1000243"/>
                  <a:pt x="6344398" y="1030724"/>
                </a:cubicBezTo>
                <a:cubicBezTo>
                  <a:pt x="6344398" y="1061205"/>
                  <a:pt x="6319688" y="1085915"/>
                  <a:pt x="6289206" y="1085915"/>
                </a:cubicBezTo>
                <a:cubicBezTo>
                  <a:pt x="6258724" y="1085915"/>
                  <a:pt x="6234014" y="1061205"/>
                  <a:pt x="6234014" y="1030724"/>
                </a:cubicBezTo>
                <a:cubicBezTo>
                  <a:pt x="6234014" y="1000243"/>
                  <a:pt x="6258724" y="975533"/>
                  <a:pt x="6289206" y="975533"/>
                </a:cubicBezTo>
                <a:close/>
                <a:moveTo>
                  <a:pt x="5754667" y="975533"/>
                </a:moveTo>
                <a:cubicBezTo>
                  <a:pt x="5785149" y="975533"/>
                  <a:pt x="5809859" y="1000243"/>
                  <a:pt x="5809859" y="1030724"/>
                </a:cubicBezTo>
                <a:cubicBezTo>
                  <a:pt x="5809859" y="1061205"/>
                  <a:pt x="5785149" y="1085915"/>
                  <a:pt x="5754667" y="1085915"/>
                </a:cubicBezTo>
                <a:cubicBezTo>
                  <a:pt x="5724185" y="1085915"/>
                  <a:pt x="5699475" y="1061205"/>
                  <a:pt x="5699475" y="1030724"/>
                </a:cubicBezTo>
                <a:cubicBezTo>
                  <a:pt x="5699475" y="1000243"/>
                  <a:pt x="5724185" y="975533"/>
                  <a:pt x="5754667" y="975533"/>
                </a:cubicBezTo>
                <a:close/>
                <a:moveTo>
                  <a:pt x="5487398" y="975533"/>
                </a:moveTo>
                <a:cubicBezTo>
                  <a:pt x="5517880" y="975533"/>
                  <a:pt x="5542590" y="1000243"/>
                  <a:pt x="5542590" y="1030724"/>
                </a:cubicBezTo>
                <a:cubicBezTo>
                  <a:pt x="5542590" y="1061205"/>
                  <a:pt x="5517880" y="1085915"/>
                  <a:pt x="5487398" y="1085915"/>
                </a:cubicBezTo>
                <a:cubicBezTo>
                  <a:pt x="5456916" y="1085915"/>
                  <a:pt x="5432206" y="1061205"/>
                  <a:pt x="5432206" y="1030724"/>
                </a:cubicBezTo>
                <a:cubicBezTo>
                  <a:pt x="5432206" y="1000243"/>
                  <a:pt x="5456916" y="975533"/>
                  <a:pt x="5487398" y="975533"/>
                </a:cubicBezTo>
                <a:close/>
                <a:moveTo>
                  <a:pt x="5357105" y="975533"/>
                </a:moveTo>
                <a:cubicBezTo>
                  <a:pt x="5387587" y="975533"/>
                  <a:pt x="5412297" y="1000243"/>
                  <a:pt x="5412297" y="1030724"/>
                </a:cubicBezTo>
                <a:cubicBezTo>
                  <a:pt x="5412297" y="1061205"/>
                  <a:pt x="5387587" y="1085915"/>
                  <a:pt x="5357105" y="1085915"/>
                </a:cubicBezTo>
                <a:cubicBezTo>
                  <a:pt x="5326623" y="1085915"/>
                  <a:pt x="5301913" y="1061205"/>
                  <a:pt x="5301913" y="1030724"/>
                </a:cubicBezTo>
                <a:cubicBezTo>
                  <a:pt x="5301913" y="1000243"/>
                  <a:pt x="5326623" y="975533"/>
                  <a:pt x="5357105" y="975533"/>
                </a:cubicBezTo>
                <a:close/>
                <a:moveTo>
                  <a:pt x="5093176" y="975533"/>
                </a:moveTo>
                <a:cubicBezTo>
                  <a:pt x="5123658" y="975533"/>
                  <a:pt x="5148368" y="1000243"/>
                  <a:pt x="5148368" y="1030724"/>
                </a:cubicBezTo>
                <a:cubicBezTo>
                  <a:pt x="5148368" y="1061205"/>
                  <a:pt x="5123658" y="1085915"/>
                  <a:pt x="5093176" y="1085915"/>
                </a:cubicBezTo>
                <a:cubicBezTo>
                  <a:pt x="5062694" y="1085915"/>
                  <a:pt x="5037984" y="1061205"/>
                  <a:pt x="5037984" y="1030724"/>
                </a:cubicBezTo>
                <a:cubicBezTo>
                  <a:pt x="5037984" y="1000243"/>
                  <a:pt x="5062694" y="975533"/>
                  <a:pt x="5093176" y="975533"/>
                </a:cubicBezTo>
                <a:close/>
                <a:moveTo>
                  <a:pt x="4959540" y="975533"/>
                </a:moveTo>
                <a:cubicBezTo>
                  <a:pt x="4990022" y="975533"/>
                  <a:pt x="5014732" y="1000243"/>
                  <a:pt x="5014732" y="1030724"/>
                </a:cubicBezTo>
                <a:cubicBezTo>
                  <a:pt x="5014732" y="1061205"/>
                  <a:pt x="4990022" y="1085915"/>
                  <a:pt x="4959540" y="1085915"/>
                </a:cubicBezTo>
                <a:cubicBezTo>
                  <a:pt x="4929058" y="1085915"/>
                  <a:pt x="4904348" y="1061205"/>
                  <a:pt x="4904348" y="1030724"/>
                </a:cubicBezTo>
                <a:cubicBezTo>
                  <a:pt x="4904348" y="1000243"/>
                  <a:pt x="4929058" y="975533"/>
                  <a:pt x="4959540" y="975533"/>
                </a:cubicBezTo>
                <a:close/>
                <a:moveTo>
                  <a:pt x="4161075" y="975533"/>
                </a:moveTo>
                <a:cubicBezTo>
                  <a:pt x="4191557" y="975533"/>
                  <a:pt x="4216267" y="1000243"/>
                  <a:pt x="4216267" y="1030724"/>
                </a:cubicBezTo>
                <a:cubicBezTo>
                  <a:pt x="4216267" y="1061205"/>
                  <a:pt x="4191557" y="1085915"/>
                  <a:pt x="4161075" y="1085915"/>
                </a:cubicBezTo>
                <a:cubicBezTo>
                  <a:pt x="4130593" y="1085915"/>
                  <a:pt x="4105883" y="1061205"/>
                  <a:pt x="4105883" y="1030724"/>
                </a:cubicBezTo>
                <a:cubicBezTo>
                  <a:pt x="4105883" y="1000243"/>
                  <a:pt x="4130593" y="975533"/>
                  <a:pt x="4161075" y="975533"/>
                </a:cubicBezTo>
                <a:close/>
                <a:moveTo>
                  <a:pt x="4030782" y="975533"/>
                </a:moveTo>
                <a:cubicBezTo>
                  <a:pt x="4061264" y="975533"/>
                  <a:pt x="4085974" y="1000243"/>
                  <a:pt x="4085974" y="1030724"/>
                </a:cubicBezTo>
                <a:cubicBezTo>
                  <a:pt x="4085974" y="1061205"/>
                  <a:pt x="4061264" y="1085915"/>
                  <a:pt x="4030782" y="1085915"/>
                </a:cubicBezTo>
                <a:cubicBezTo>
                  <a:pt x="4000300" y="1085915"/>
                  <a:pt x="3975590" y="1061205"/>
                  <a:pt x="3975590" y="1030724"/>
                </a:cubicBezTo>
                <a:cubicBezTo>
                  <a:pt x="3975590" y="1000243"/>
                  <a:pt x="4000300" y="975533"/>
                  <a:pt x="4030782" y="975533"/>
                </a:cubicBezTo>
                <a:close/>
                <a:moveTo>
                  <a:pt x="3369290" y="975533"/>
                </a:moveTo>
                <a:cubicBezTo>
                  <a:pt x="3399772" y="975533"/>
                  <a:pt x="3424482" y="1000243"/>
                  <a:pt x="3424482" y="1030724"/>
                </a:cubicBezTo>
                <a:cubicBezTo>
                  <a:pt x="3424482" y="1061205"/>
                  <a:pt x="3399772" y="1085915"/>
                  <a:pt x="3369290" y="1085915"/>
                </a:cubicBezTo>
                <a:cubicBezTo>
                  <a:pt x="3338808" y="1085915"/>
                  <a:pt x="3314098" y="1061205"/>
                  <a:pt x="3314098" y="1030724"/>
                </a:cubicBezTo>
                <a:cubicBezTo>
                  <a:pt x="3314098" y="1000243"/>
                  <a:pt x="3338808" y="975533"/>
                  <a:pt x="3369290" y="975533"/>
                </a:cubicBezTo>
                <a:close/>
                <a:moveTo>
                  <a:pt x="2707880" y="975533"/>
                </a:moveTo>
                <a:cubicBezTo>
                  <a:pt x="2738363" y="975533"/>
                  <a:pt x="2763074" y="1000243"/>
                  <a:pt x="2763074" y="1030724"/>
                </a:cubicBezTo>
                <a:cubicBezTo>
                  <a:pt x="2763074" y="1061205"/>
                  <a:pt x="2738363" y="1085915"/>
                  <a:pt x="2707880" y="1085915"/>
                </a:cubicBezTo>
                <a:cubicBezTo>
                  <a:pt x="2677401" y="1085915"/>
                  <a:pt x="2652689" y="1061205"/>
                  <a:pt x="2652689" y="1030724"/>
                </a:cubicBezTo>
                <a:cubicBezTo>
                  <a:pt x="2652689" y="1000243"/>
                  <a:pt x="2677401" y="975533"/>
                  <a:pt x="2707880" y="975533"/>
                </a:cubicBezTo>
                <a:close/>
                <a:moveTo>
                  <a:pt x="2173347" y="975533"/>
                </a:moveTo>
                <a:cubicBezTo>
                  <a:pt x="2203830" y="975533"/>
                  <a:pt x="2228540" y="1000243"/>
                  <a:pt x="2228540" y="1030724"/>
                </a:cubicBezTo>
                <a:cubicBezTo>
                  <a:pt x="2228540" y="1061205"/>
                  <a:pt x="2203830" y="1085915"/>
                  <a:pt x="2173347" y="1085915"/>
                </a:cubicBezTo>
                <a:cubicBezTo>
                  <a:pt x="2142865" y="1085915"/>
                  <a:pt x="2118154" y="1061205"/>
                  <a:pt x="2118154" y="1030724"/>
                </a:cubicBezTo>
                <a:cubicBezTo>
                  <a:pt x="2118154" y="1000243"/>
                  <a:pt x="2142865" y="975533"/>
                  <a:pt x="2173347" y="975533"/>
                </a:cubicBezTo>
                <a:close/>
                <a:moveTo>
                  <a:pt x="1251258" y="975533"/>
                </a:moveTo>
                <a:cubicBezTo>
                  <a:pt x="1281740" y="975533"/>
                  <a:pt x="1306450" y="1000243"/>
                  <a:pt x="1306450" y="1030724"/>
                </a:cubicBezTo>
                <a:cubicBezTo>
                  <a:pt x="1306450" y="1061205"/>
                  <a:pt x="1281740" y="1085915"/>
                  <a:pt x="1251258" y="1085915"/>
                </a:cubicBezTo>
                <a:cubicBezTo>
                  <a:pt x="1220775" y="1085915"/>
                  <a:pt x="1196066" y="1061205"/>
                  <a:pt x="1196066" y="1030724"/>
                </a:cubicBezTo>
                <a:cubicBezTo>
                  <a:pt x="1196066" y="1000243"/>
                  <a:pt x="1220775" y="975533"/>
                  <a:pt x="1251258" y="975533"/>
                </a:cubicBezTo>
                <a:close/>
                <a:moveTo>
                  <a:pt x="847001" y="975533"/>
                </a:moveTo>
                <a:cubicBezTo>
                  <a:pt x="877484" y="975533"/>
                  <a:pt x="902196" y="1000243"/>
                  <a:pt x="902196" y="1030724"/>
                </a:cubicBezTo>
                <a:cubicBezTo>
                  <a:pt x="902196" y="1061205"/>
                  <a:pt x="877484" y="1085915"/>
                  <a:pt x="847001" y="1085915"/>
                </a:cubicBezTo>
                <a:cubicBezTo>
                  <a:pt x="816519" y="1085915"/>
                  <a:pt x="791804" y="1061205"/>
                  <a:pt x="791804" y="1030724"/>
                </a:cubicBezTo>
                <a:cubicBezTo>
                  <a:pt x="791804" y="1000243"/>
                  <a:pt x="816519" y="975533"/>
                  <a:pt x="847001" y="975533"/>
                </a:cubicBezTo>
                <a:close/>
                <a:moveTo>
                  <a:pt x="9336074" y="975532"/>
                </a:moveTo>
                <a:cubicBezTo>
                  <a:pt x="9366556" y="975532"/>
                  <a:pt x="9391266" y="1000242"/>
                  <a:pt x="9391266" y="1030723"/>
                </a:cubicBezTo>
                <a:cubicBezTo>
                  <a:pt x="9391266" y="1061204"/>
                  <a:pt x="9366556" y="1085914"/>
                  <a:pt x="9336074" y="1085914"/>
                </a:cubicBezTo>
                <a:cubicBezTo>
                  <a:pt x="9305592" y="1085914"/>
                  <a:pt x="9280882" y="1061204"/>
                  <a:pt x="9280882" y="1030723"/>
                </a:cubicBezTo>
                <a:cubicBezTo>
                  <a:pt x="9280882" y="1000242"/>
                  <a:pt x="9305592" y="975532"/>
                  <a:pt x="9336074" y="975532"/>
                </a:cubicBezTo>
                <a:close/>
                <a:moveTo>
                  <a:pt x="9199098" y="975532"/>
                </a:moveTo>
                <a:cubicBezTo>
                  <a:pt x="9229580" y="975532"/>
                  <a:pt x="9254290" y="1000242"/>
                  <a:pt x="9254290" y="1030723"/>
                </a:cubicBezTo>
                <a:cubicBezTo>
                  <a:pt x="9254290" y="1061204"/>
                  <a:pt x="9229580" y="1085914"/>
                  <a:pt x="9199098" y="1085914"/>
                </a:cubicBezTo>
                <a:cubicBezTo>
                  <a:pt x="9168616" y="1085914"/>
                  <a:pt x="9143906" y="1061204"/>
                  <a:pt x="9143906" y="1030723"/>
                </a:cubicBezTo>
                <a:cubicBezTo>
                  <a:pt x="9143906" y="1000242"/>
                  <a:pt x="9168616" y="975532"/>
                  <a:pt x="9199098" y="975532"/>
                </a:cubicBezTo>
                <a:close/>
                <a:moveTo>
                  <a:pt x="9068805" y="975532"/>
                </a:moveTo>
                <a:cubicBezTo>
                  <a:pt x="9099287" y="975532"/>
                  <a:pt x="9123997" y="1000242"/>
                  <a:pt x="9123997" y="1030723"/>
                </a:cubicBezTo>
                <a:cubicBezTo>
                  <a:pt x="9123997" y="1061204"/>
                  <a:pt x="9099287" y="1085914"/>
                  <a:pt x="9068805" y="1085914"/>
                </a:cubicBezTo>
                <a:cubicBezTo>
                  <a:pt x="9038323" y="1085914"/>
                  <a:pt x="9013613" y="1061204"/>
                  <a:pt x="9013613" y="1030723"/>
                </a:cubicBezTo>
                <a:cubicBezTo>
                  <a:pt x="9013613" y="1000242"/>
                  <a:pt x="9038323" y="975532"/>
                  <a:pt x="9068805" y="975532"/>
                </a:cubicBezTo>
                <a:close/>
                <a:moveTo>
                  <a:pt x="8801536" y="975532"/>
                </a:moveTo>
                <a:cubicBezTo>
                  <a:pt x="8832018" y="975532"/>
                  <a:pt x="8856728" y="1000242"/>
                  <a:pt x="8856728" y="1030723"/>
                </a:cubicBezTo>
                <a:cubicBezTo>
                  <a:pt x="8856728" y="1061204"/>
                  <a:pt x="8832018" y="1085914"/>
                  <a:pt x="8801536" y="1085914"/>
                </a:cubicBezTo>
                <a:cubicBezTo>
                  <a:pt x="8771054" y="1085914"/>
                  <a:pt x="8746344" y="1061204"/>
                  <a:pt x="8746344" y="1030723"/>
                </a:cubicBezTo>
                <a:cubicBezTo>
                  <a:pt x="8746344" y="1000242"/>
                  <a:pt x="8771054" y="975532"/>
                  <a:pt x="8801536" y="975532"/>
                </a:cubicBezTo>
                <a:close/>
                <a:moveTo>
                  <a:pt x="8671243" y="975532"/>
                </a:moveTo>
                <a:cubicBezTo>
                  <a:pt x="8701725" y="975532"/>
                  <a:pt x="8726435" y="1000242"/>
                  <a:pt x="8726435" y="1030723"/>
                </a:cubicBezTo>
                <a:cubicBezTo>
                  <a:pt x="8726435" y="1061204"/>
                  <a:pt x="8701725" y="1085914"/>
                  <a:pt x="8671243" y="1085914"/>
                </a:cubicBezTo>
                <a:cubicBezTo>
                  <a:pt x="8640761" y="1085914"/>
                  <a:pt x="8616051" y="1061204"/>
                  <a:pt x="8616051" y="1030723"/>
                </a:cubicBezTo>
                <a:cubicBezTo>
                  <a:pt x="8616051" y="1000242"/>
                  <a:pt x="8640761" y="975532"/>
                  <a:pt x="8671243" y="975532"/>
                </a:cubicBezTo>
                <a:close/>
                <a:moveTo>
                  <a:pt x="8537608" y="975532"/>
                </a:moveTo>
                <a:cubicBezTo>
                  <a:pt x="8568090" y="975532"/>
                  <a:pt x="8592800" y="1000242"/>
                  <a:pt x="8592800" y="1030723"/>
                </a:cubicBezTo>
                <a:cubicBezTo>
                  <a:pt x="8592800" y="1061204"/>
                  <a:pt x="8568090" y="1085914"/>
                  <a:pt x="8537608" y="1085914"/>
                </a:cubicBezTo>
                <a:cubicBezTo>
                  <a:pt x="8507126" y="1085914"/>
                  <a:pt x="8482416" y="1061204"/>
                  <a:pt x="8482416" y="1030723"/>
                </a:cubicBezTo>
                <a:cubicBezTo>
                  <a:pt x="8482416" y="1000242"/>
                  <a:pt x="8507126" y="975532"/>
                  <a:pt x="8537608" y="975532"/>
                </a:cubicBezTo>
                <a:close/>
                <a:moveTo>
                  <a:pt x="8273681" y="975532"/>
                </a:moveTo>
                <a:cubicBezTo>
                  <a:pt x="8304163" y="975532"/>
                  <a:pt x="8328873" y="1000242"/>
                  <a:pt x="8328873" y="1030723"/>
                </a:cubicBezTo>
                <a:cubicBezTo>
                  <a:pt x="8328873" y="1061204"/>
                  <a:pt x="8304163" y="1085914"/>
                  <a:pt x="8273681" y="1085914"/>
                </a:cubicBezTo>
                <a:cubicBezTo>
                  <a:pt x="8243199" y="1085914"/>
                  <a:pt x="8218489" y="1061204"/>
                  <a:pt x="8218489" y="1030723"/>
                </a:cubicBezTo>
                <a:cubicBezTo>
                  <a:pt x="8218489" y="1000242"/>
                  <a:pt x="8243199" y="975532"/>
                  <a:pt x="8273681" y="975532"/>
                </a:cubicBezTo>
                <a:close/>
                <a:moveTo>
                  <a:pt x="8143385" y="975532"/>
                </a:moveTo>
                <a:cubicBezTo>
                  <a:pt x="8173867" y="975532"/>
                  <a:pt x="8198577" y="1000242"/>
                  <a:pt x="8198577" y="1030723"/>
                </a:cubicBezTo>
                <a:cubicBezTo>
                  <a:pt x="8198577" y="1061204"/>
                  <a:pt x="8173867" y="1085914"/>
                  <a:pt x="8143385" y="1085914"/>
                </a:cubicBezTo>
                <a:cubicBezTo>
                  <a:pt x="8112903" y="1085914"/>
                  <a:pt x="8088193" y="1061204"/>
                  <a:pt x="8088193" y="1030723"/>
                </a:cubicBezTo>
                <a:cubicBezTo>
                  <a:pt x="8088193" y="1000242"/>
                  <a:pt x="8112903" y="975532"/>
                  <a:pt x="8143385" y="975532"/>
                </a:cubicBezTo>
                <a:close/>
                <a:moveTo>
                  <a:pt x="8009751" y="975532"/>
                </a:moveTo>
                <a:cubicBezTo>
                  <a:pt x="8040233" y="975532"/>
                  <a:pt x="8064943" y="1000242"/>
                  <a:pt x="8064943" y="1030723"/>
                </a:cubicBezTo>
                <a:cubicBezTo>
                  <a:pt x="8064943" y="1061204"/>
                  <a:pt x="8040233" y="1085914"/>
                  <a:pt x="8009751" y="1085914"/>
                </a:cubicBezTo>
                <a:cubicBezTo>
                  <a:pt x="7979269" y="1085914"/>
                  <a:pt x="7954559" y="1061204"/>
                  <a:pt x="7954559" y="1030723"/>
                </a:cubicBezTo>
                <a:cubicBezTo>
                  <a:pt x="7954559" y="1000242"/>
                  <a:pt x="7979269" y="975532"/>
                  <a:pt x="8009751" y="975532"/>
                </a:cubicBezTo>
                <a:close/>
                <a:moveTo>
                  <a:pt x="7608847" y="975532"/>
                </a:moveTo>
                <a:cubicBezTo>
                  <a:pt x="7639329" y="975532"/>
                  <a:pt x="7664039" y="1000242"/>
                  <a:pt x="7664039" y="1030723"/>
                </a:cubicBezTo>
                <a:cubicBezTo>
                  <a:pt x="7664039" y="1061204"/>
                  <a:pt x="7639329" y="1085914"/>
                  <a:pt x="7608847" y="1085914"/>
                </a:cubicBezTo>
                <a:cubicBezTo>
                  <a:pt x="7578365" y="1085914"/>
                  <a:pt x="7553655" y="1061204"/>
                  <a:pt x="7553655" y="1030723"/>
                </a:cubicBezTo>
                <a:cubicBezTo>
                  <a:pt x="7553655" y="1000242"/>
                  <a:pt x="7578365" y="975532"/>
                  <a:pt x="7608847" y="975532"/>
                </a:cubicBezTo>
                <a:close/>
                <a:moveTo>
                  <a:pt x="7080991" y="975532"/>
                </a:moveTo>
                <a:cubicBezTo>
                  <a:pt x="7111473" y="975532"/>
                  <a:pt x="7136183" y="1000242"/>
                  <a:pt x="7136183" y="1030723"/>
                </a:cubicBezTo>
                <a:cubicBezTo>
                  <a:pt x="7136183" y="1061204"/>
                  <a:pt x="7111473" y="1085914"/>
                  <a:pt x="7080991" y="1085914"/>
                </a:cubicBezTo>
                <a:cubicBezTo>
                  <a:pt x="7050509" y="1085914"/>
                  <a:pt x="7025799" y="1061204"/>
                  <a:pt x="7025799" y="1030723"/>
                </a:cubicBezTo>
                <a:cubicBezTo>
                  <a:pt x="7025799" y="1000242"/>
                  <a:pt x="7050509" y="975532"/>
                  <a:pt x="7080991" y="975532"/>
                </a:cubicBezTo>
                <a:close/>
                <a:moveTo>
                  <a:pt x="6553135" y="975532"/>
                </a:moveTo>
                <a:cubicBezTo>
                  <a:pt x="6583617" y="975532"/>
                  <a:pt x="6608327" y="1000242"/>
                  <a:pt x="6608327" y="1030723"/>
                </a:cubicBezTo>
                <a:cubicBezTo>
                  <a:pt x="6608327" y="1061204"/>
                  <a:pt x="6583617" y="1085914"/>
                  <a:pt x="6553135" y="1085914"/>
                </a:cubicBezTo>
                <a:cubicBezTo>
                  <a:pt x="6522653" y="1085914"/>
                  <a:pt x="6497943" y="1061204"/>
                  <a:pt x="6497943" y="1030723"/>
                </a:cubicBezTo>
                <a:cubicBezTo>
                  <a:pt x="6497943" y="1000242"/>
                  <a:pt x="6522653" y="975532"/>
                  <a:pt x="6553135" y="975532"/>
                </a:cubicBezTo>
                <a:close/>
                <a:moveTo>
                  <a:pt x="6419501" y="975532"/>
                </a:moveTo>
                <a:cubicBezTo>
                  <a:pt x="6449983" y="975532"/>
                  <a:pt x="6474693" y="1000242"/>
                  <a:pt x="6474693" y="1030723"/>
                </a:cubicBezTo>
                <a:cubicBezTo>
                  <a:pt x="6474693" y="1061204"/>
                  <a:pt x="6449983" y="1085914"/>
                  <a:pt x="6419501" y="1085914"/>
                </a:cubicBezTo>
                <a:cubicBezTo>
                  <a:pt x="6389019" y="1085914"/>
                  <a:pt x="6364309" y="1061204"/>
                  <a:pt x="6364309" y="1030723"/>
                </a:cubicBezTo>
                <a:cubicBezTo>
                  <a:pt x="6364309" y="1000242"/>
                  <a:pt x="6389019" y="975532"/>
                  <a:pt x="6419501" y="975532"/>
                </a:cubicBezTo>
                <a:close/>
                <a:moveTo>
                  <a:pt x="6155571" y="975532"/>
                </a:moveTo>
                <a:cubicBezTo>
                  <a:pt x="6186053" y="975532"/>
                  <a:pt x="6210763" y="1000242"/>
                  <a:pt x="6210763" y="1030723"/>
                </a:cubicBezTo>
                <a:cubicBezTo>
                  <a:pt x="6210763" y="1061204"/>
                  <a:pt x="6186053" y="1085914"/>
                  <a:pt x="6155571" y="1085914"/>
                </a:cubicBezTo>
                <a:cubicBezTo>
                  <a:pt x="6125089" y="1085914"/>
                  <a:pt x="6100379" y="1061204"/>
                  <a:pt x="6100379" y="1030723"/>
                </a:cubicBezTo>
                <a:cubicBezTo>
                  <a:pt x="6100379" y="1000242"/>
                  <a:pt x="6125089" y="975532"/>
                  <a:pt x="6155571" y="975532"/>
                </a:cubicBezTo>
                <a:close/>
                <a:moveTo>
                  <a:pt x="6021936" y="975532"/>
                </a:moveTo>
                <a:cubicBezTo>
                  <a:pt x="6052418" y="975532"/>
                  <a:pt x="6077128" y="1000242"/>
                  <a:pt x="6077128" y="1030723"/>
                </a:cubicBezTo>
                <a:cubicBezTo>
                  <a:pt x="6077128" y="1061204"/>
                  <a:pt x="6052418" y="1085914"/>
                  <a:pt x="6021936" y="1085914"/>
                </a:cubicBezTo>
                <a:cubicBezTo>
                  <a:pt x="5991454" y="1085914"/>
                  <a:pt x="5966744" y="1061204"/>
                  <a:pt x="5966744" y="1030723"/>
                </a:cubicBezTo>
                <a:cubicBezTo>
                  <a:pt x="5966744" y="1000242"/>
                  <a:pt x="5991454" y="975532"/>
                  <a:pt x="6021936" y="975532"/>
                </a:cubicBezTo>
                <a:close/>
                <a:moveTo>
                  <a:pt x="5884963" y="975532"/>
                </a:moveTo>
                <a:cubicBezTo>
                  <a:pt x="5915445" y="975532"/>
                  <a:pt x="5940155" y="1000242"/>
                  <a:pt x="5940155" y="1030723"/>
                </a:cubicBezTo>
                <a:cubicBezTo>
                  <a:pt x="5940155" y="1061204"/>
                  <a:pt x="5915445" y="1085914"/>
                  <a:pt x="5884963" y="1085914"/>
                </a:cubicBezTo>
                <a:cubicBezTo>
                  <a:pt x="5854481" y="1085914"/>
                  <a:pt x="5829771" y="1061204"/>
                  <a:pt x="5829771" y="1030723"/>
                </a:cubicBezTo>
                <a:cubicBezTo>
                  <a:pt x="5829771" y="1000242"/>
                  <a:pt x="5854481" y="975532"/>
                  <a:pt x="5884963" y="975532"/>
                </a:cubicBezTo>
                <a:close/>
                <a:moveTo>
                  <a:pt x="5621031" y="975532"/>
                </a:moveTo>
                <a:cubicBezTo>
                  <a:pt x="5651513" y="975532"/>
                  <a:pt x="5676223" y="1000242"/>
                  <a:pt x="5676223" y="1030723"/>
                </a:cubicBezTo>
                <a:cubicBezTo>
                  <a:pt x="5676223" y="1061204"/>
                  <a:pt x="5651513" y="1085914"/>
                  <a:pt x="5621031" y="1085914"/>
                </a:cubicBezTo>
                <a:cubicBezTo>
                  <a:pt x="5590549" y="1085914"/>
                  <a:pt x="5565839" y="1061204"/>
                  <a:pt x="5565839" y="1030723"/>
                </a:cubicBezTo>
                <a:cubicBezTo>
                  <a:pt x="5565839" y="1000242"/>
                  <a:pt x="5590549" y="975532"/>
                  <a:pt x="5621031" y="975532"/>
                </a:cubicBezTo>
                <a:close/>
                <a:moveTo>
                  <a:pt x="5223472" y="975532"/>
                </a:moveTo>
                <a:cubicBezTo>
                  <a:pt x="5253954" y="975532"/>
                  <a:pt x="5278664" y="1000242"/>
                  <a:pt x="5278664" y="1030723"/>
                </a:cubicBezTo>
                <a:cubicBezTo>
                  <a:pt x="5278664" y="1061204"/>
                  <a:pt x="5253954" y="1085914"/>
                  <a:pt x="5223472" y="1085914"/>
                </a:cubicBezTo>
                <a:cubicBezTo>
                  <a:pt x="5192990" y="1085914"/>
                  <a:pt x="5168280" y="1061204"/>
                  <a:pt x="5168280" y="1030723"/>
                </a:cubicBezTo>
                <a:cubicBezTo>
                  <a:pt x="5168280" y="1000242"/>
                  <a:pt x="5192990" y="975532"/>
                  <a:pt x="5223472" y="975532"/>
                </a:cubicBezTo>
                <a:close/>
                <a:moveTo>
                  <a:pt x="4294710" y="975532"/>
                </a:moveTo>
                <a:cubicBezTo>
                  <a:pt x="4325192" y="975532"/>
                  <a:pt x="4349902" y="1000242"/>
                  <a:pt x="4349902" y="1030723"/>
                </a:cubicBezTo>
                <a:cubicBezTo>
                  <a:pt x="4349902" y="1061204"/>
                  <a:pt x="4325192" y="1085914"/>
                  <a:pt x="4294710" y="1085914"/>
                </a:cubicBezTo>
                <a:cubicBezTo>
                  <a:pt x="4264228" y="1085914"/>
                  <a:pt x="4239518" y="1061204"/>
                  <a:pt x="4239518" y="1030723"/>
                </a:cubicBezTo>
                <a:cubicBezTo>
                  <a:pt x="4239518" y="1000242"/>
                  <a:pt x="4264228" y="975532"/>
                  <a:pt x="4294710" y="975532"/>
                </a:cubicBezTo>
                <a:close/>
                <a:moveTo>
                  <a:pt x="3499584" y="975532"/>
                </a:moveTo>
                <a:cubicBezTo>
                  <a:pt x="3530066" y="975532"/>
                  <a:pt x="3554776" y="1000242"/>
                  <a:pt x="3554776" y="1030723"/>
                </a:cubicBezTo>
                <a:cubicBezTo>
                  <a:pt x="3554776" y="1061204"/>
                  <a:pt x="3530066" y="1085914"/>
                  <a:pt x="3499584" y="1085914"/>
                </a:cubicBezTo>
                <a:cubicBezTo>
                  <a:pt x="3469102" y="1085914"/>
                  <a:pt x="3444392" y="1061204"/>
                  <a:pt x="3444392" y="1030723"/>
                </a:cubicBezTo>
                <a:cubicBezTo>
                  <a:pt x="3444392" y="1000242"/>
                  <a:pt x="3469102" y="975532"/>
                  <a:pt x="3499584" y="975532"/>
                </a:cubicBezTo>
                <a:close/>
                <a:moveTo>
                  <a:pt x="2834836" y="975532"/>
                </a:moveTo>
                <a:cubicBezTo>
                  <a:pt x="2865318" y="975532"/>
                  <a:pt x="2890028" y="1000242"/>
                  <a:pt x="2890028" y="1030723"/>
                </a:cubicBezTo>
                <a:cubicBezTo>
                  <a:pt x="2890028" y="1061204"/>
                  <a:pt x="2865318" y="1085914"/>
                  <a:pt x="2834836" y="1085914"/>
                </a:cubicBezTo>
                <a:cubicBezTo>
                  <a:pt x="2804354" y="1085914"/>
                  <a:pt x="2779643" y="1061204"/>
                  <a:pt x="2779643" y="1030723"/>
                </a:cubicBezTo>
                <a:cubicBezTo>
                  <a:pt x="2779643" y="1000242"/>
                  <a:pt x="2804354" y="975532"/>
                  <a:pt x="2834836" y="975532"/>
                </a:cubicBezTo>
                <a:close/>
                <a:moveTo>
                  <a:pt x="2303639" y="975532"/>
                </a:moveTo>
                <a:cubicBezTo>
                  <a:pt x="2334120" y="975532"/>
                  <a:pt x="2358830" y="1000242"/>
                  <a:pt x="2358830" y="1030723"/>
                </a:cubicBezTo>
                <a:cubicBezTo>
                  <a:pt x="2358830" y="1061204"/>
                  <a:pt x="2334120" y="1085914"/>
                  <a:pt x="2303639" y="1085914"/>
                </a:cubicBezTo>
                <a:cubicBezTo>
                  <a:pt x="2273157" y="1085914"/>
                  <a:pt x="2248448" y="1061204"/>
                  <a:pt x="2248448" y="1030723"/>
                </a:cubicBezTo>
                <a:cubicBezTo>
                  <a:pt x="2248448" y="1000242"/>
                  <a:pt x="2273157" y="975532"/>
                  <a:pt x="2303639" y="975532"/>
                </a:cubicBezTo>
                <a:close/>
                <a:moveTo>
                  <a:pt x="2039712" y="975532"/>
                </a:moveTo>
                <a:cubicBezTo>
                  <a:pt x="2070195" y="975532"/>
                  <a:pt x="2094905" y="1000242"/>
                  <a:pt x="2094905" y="1030723"/>
                </a:cubicBezTo>
                <a:cubicBezTo>
                  <a:pt x="2094905" y="1061204"/>
                  <a:pt x="2070195" y="1085914"/>
                  <a:pt x="2039712" y="1085914"/>
                </a:cubicBezTo>
                <a:cubicBezTo>
                  <a:pt x="2009228" y="1085914"/>
                  <a:pt x="1984518" y="1061204"/>
                  <a:pt x="1984518" y="1030723"/>
                </a:cubicBezTo>
                <a:cubicBezTo>
                  <a:pt x="1984518" y="1000242"/>
                  <a:pt x="2009228" y="975532"/>
                  <a:pt x="2039712" y="975532"/>
                </a:cubicBezTo>
                <a:close/>
                <a:moveTo>
                  <a:pt x="1909414" y="975532"/>
                </a:moveTo>
                <a:cubicBezTo>
                  <a:pt x="1939897" y="975532"/>
                  <a:pt x="1964607" y="1000242"/>
                  <a:pt x="1964607" y="1030723"/>
                </a:cubicBezTo>
                <a:cubicBezTo>
                  <a:pt x="1964607" y="1061204"/>
                  <a:pt x="1939897" y="1085914"/>
                  <a:pt x="1909414" y="1085914"/>
                </a:cubicBezTo>
                <a:cubicBezTo>
                  <a:pt x="1878931" y="1085914"/>
                  <a:pt x="1854220" y="1061204"/>
                  <a:pt x="1854220" y="1030723"/>
                </a:cubicBezTo>
                <a:cubicBezTo>
                  <a:pt x="1854220" y="1000242"/>
                  <a:pt x="1878931" y="975532"/>
                  <a:pt x="1909414" y="975532"/>
                </a:cubicBezTo>
                <a:close/>
                <a:moveTo>
                  <a:pt x="1779117" y="975532"/>
                </a:moveTo>
                <a:cubicBezTo>
                  <a:pt x="1809599" y="975532"/>
                  <a:pt x="1834310" y="1000242"/>
                  <a:pt x="1834310" y="1030723"/>
                </a:cubicBezTo>
                <a:cubicBezTo>
                  <a:pt x="1834310" y="1061204"/>
                  <a:pt x="1809599" y="1085914"/>
                  <a:pt x="1779117" y="1085914"/>
                </a:cubicBezTo>
                <a:cubicBezTo>
                  <a:pt x="1748635" y="1085914"/>
                  <a:pt x="1723923" y="1061204"/>
                  <a:pt x="1723923" y="1030723"/>
                </a:cubicBezTo>
                <a:cubicBezTo>
                  <a:pt x="1723923" y="1000242"/>
                  <a:pt x="1748635" y="975532"/>
                  <a:pt x="1779117" y="975532"/>
                </a:cubicBezTo>
                <a:close/>
                <a:moveTo>
                  <a:pt x="1645480" y="975532"/>
                </a:moveTo>
                <a:cubicBezTo>
                  <a:pt x="1675963" y="975532"/>
                  <a:pt x="1700679" y="1000242"/>
                  <a:pt x="1700679" y="1030723"/>
                </a:cubicBezTo>
                <a:cubicBezTo>
                  <a:pt x="1700679" y="1061204"/>
                  <a:pt x="1675963" y="1085914"/>
                  <a:pt x="1645480" y="1085914"/>
                </a:cubicBezTo>
                <a:cubicBezTo>
                  <a:pt x="1615000" y="1085914"/>
                  <a:pt x="1590287" y="1061204"/>
                  <a:pt x="1590287" y="1030723"/>
                </a:cubicBezTo>
                <a:cubicBezTo>
                  <a:pt x="1590287" y="1000242"/>
                  <a:pt x="1615000" y="975532"/>
                  <a:pt x="1645480" y="975532"/>
                </a:cubicBezTo>
                <a:close/>
                <a:moveTo>
                  <a:pt x="1515189" y="975532"/>
                </a:moveTo>
                <a:cubicBezTo>
                  <a:pt x="1545668" y="975532"/>
                  <a:pt x="1570378" y="1000242"/>
                  <a:pt x="1570378" y="1030723"/>
                </a:cubicBezTo>
                <a:cubicBezTo>
                  <a:pt x="1570378" y="1061204"/>
                  <a:pt x="1545668" y="1085914"/>
                  <a:pt x="1515189" y="1085914"/>
                </a:cubicBezTo>
                <a:cubicBezTo>
                  <a:pt x="1484708" y="1085914"/>
                  <a:pt x="1459995" y="1061204"/>
                  <a:pt x="1459995" y="1030723"/>
                </a:cubicBezTo>
                <a:cubicBezTo>
                  <a:pt x="1459995" y="1000242"/>
                  <a:pt x="1484708" y="975532"/>
                  <a:pt x="1515189" y="975532"/>
                </a:cubicBezTo>
                <a:close/>
                <a:moveTo>
                  <a:pt x="1381549" y="975532"/>
                </a:moveTo>
                <a:cubicBezTo>
                  <a:pt x="1412033" y="975532"/>
                  <a:pt x="1436744" y="1000242"/>
                  <a:pt x="1436744" y="1030723"/>
                </a:cubicBezTo>
                <a:cubicBezTo>
                  <a:pt x="1436744" y="1061204"/>
                  <a:pt x="1412033" y="1085914"/>
                  <a:pt x="1381549" y="1085914"/>
                </a:cubicBezTo>
                <a:cubicBezTo>
                  <a:pt x="1351074" y="1085914"/>
                  <a:pt x="1326361" y="1061204"/>
                  <a:pt x="1326361" y="1030723"/>
                </a:cubicBezTo>
                <a:cubicBezTo>
                  <a:pt x="1326361" y="1000242"/>
                  <a:pt x="1351074" y="975532"/>
                  <a:pt x="1381549" y="975532"/>
                </a:cubicBezTo>
                <a:close/>
                <a:moveTo>
                  <a:pt x="1117621" y="975532"/>
                </a:moveTo>
                <a:cubicBezTo>
                  <a:pt x="1148103" y="975532"/>
                  <a:pt x="1172814" y="1000242"/>
                  <a:pt x="1172814" y="1030723"/>
                </a:cubicBezTo>
                <a:cubicBezTo>
                  <a:pt x="1172814" y="1061204"/>
                  <a:pt x="1148103" y="1085914"/>
                  <a:pt x="1117621" y="1085914"/>
                </a:cubicBezTo>
                <a:cubicBezTo>
                  <a:pt x="1087137" y="1085914"/>
                  <a:pt x="1062427" y="1061204"/>
                  <a:pt x="1062427" y="1030723"/>
                </a:cubicBezTo>
                <a:cubicBezTo>
                  <a:pt x="1062427" y="1000242"/>
                  <a:pt x="1087137" y="975532"/>
                  <a:pt x="1117621" y="975532"/>
                </a:cubicBezTo>
                <a:close/>
                <a:moveTo>
                  <a:pt x="980643" y="975532"/>
                </a:moveTo>
                <a:cubicBezTo>
                  <a:pt x="1011125" y="975532"/>
                  <a:pt x="1035836" y="1000242"/>
                  <a:pt x="1035836" y="1030723"/>
                </a:cubicBezTo>
                <a:cubicBezTo>
                  <a:pt x="1035836" y="1061204"/>
                  <a:pt x="1011125" y="1085914"/>
                  <a:pt x="980643" y="1085914"/>
                </a:cubicBezTo>
                <a:cubicBezTo>
                  <a:pt x="950159" y="1085914"/>
                  <a:pt x="925449" y="1061204"/>
                  <a:pt x="925449" y="1030723"/>
                </a:cubicBezTo>
                <a:cubicBezTo>
                  <a:pt x="925449" y="1000242"/>
                  <a:pt x="950159" y="975532"/>
                  <a:pt x="980643" y="975532"/>
                </a:cubicBezTo>
                <a:close/>
                <a:moveTo>
                  <a:pt x="716703" y="975532"/>
                </a:moveTo>
                <a:cubicBezTo>
                  <a:pt x="747185" y="975532"/>
                  <a:pt x="771897" y="1000242"/>
                  <a:pt x="771897" y="1030723"/>
                </a:cubicBezTo>
                <a:cubicBezTo>
                  <a:pt x="771897" y="1061204"/>
                  <a:pt x="747185" y="1085914"/>
                  <a:pt x="716703" y="1085914"/>
                </a:cubicBezTo>
                <a:cubicBezTo>
                  <a:pt x="686222" y="1085914"/>
                  <a:pt x="661511" y="1061204"/>
                  <a:pt x="661511" y="1030723"/>
                </a:cubicBezTo>
                <a:cubicBezTo>
                  <a:pt x="661511" y="1000242"/>
                  <a:pt x="686222" y="975532"/>
                  <a:pt x="716703" y="975532"/>
                </a:cubicBezTo>
                <a:close/>
                <a:moveTo>
                  <a:pt x="583065" y="975532"/>
                </a:moveTo>
                <a:cubicBezTo>
                  <a:pt x="613549" y="975532"/>
                  <a:pt x="638258" y="1000242"/>
                  <a:pt x="638258" y="1030723"/>
                </a:cubicBezTo>
                <a:cubicBezTo>
                  <a:pt x="638258" y="1061204"/>
                  <a:pt x="613549" y="1085914"/>
                  <a:pt x="583065" y="1085914"/>
                </a:cubicBezTo>
                <a:cubicBezTo>
                  <a:pt x="552583" y="1085914"/>
                  <a:pt x="527871" y="1061204"/>
                  <a:pt x="527871" y="1030723"/>
                </a:cubicBezTo>
                <a:cubicBezTo>
                  <a:pt x="527871" y="1000242"/>
                  <a:pt x="552583" y="975532"/>
                  <a:pt x="583065" y="975532"/>
                </a:cubicBezTo>
                <a:close/>
                <a:moveTo>
                  <a:pt x="449419" y="975532"/>
                </a:moveTo>
                <a:cubicBezTo>
                  <a:pt x="479902" y="975532"/>
                  <a:pt x="504612" y="1000242"/>
                  <a:pt x="504612" y="1030723"/>
                </a:cubicBezTo>
                <a:cubicBezTo>
                  <a:pt x="504612" y="1061204"/>
                  <a:pt x="479902" y="1085914"/>
                  <a:pt x="449419" y="1085914"/>
                </a:cubicBezTo>
                <a:cubicBezTo>
                  <a:pt x="418936" y="1085914"/>
                  <a:pt x="394227" y="1061204"/>
                  <a:pt x="394227" y="1030723"/>
                </a:cubicBezTo>
                <a:cubicBezTo>
                  <a:pt x="394227" y="1000242"/>
                  <a:pt x="418936" y="975532"/>
                  <a:pt x="449419" y="975532"/>
                </a:cubicBezTo>
                <a:close/>
                <a:moveTo>
                  <a:pt x="319124" y="975532"/>
                </a:moveTo>
                <a:cubicBezTo>
                  <a:pt x="349606" y="975532"/>
                  <a:pt x="374317" y="1000242"/>
                  <a:pt x="374317" y="1030723"/>
                </a:cubicBezTo>
                <a:cubicBezTo>
                  <a:pt x="374317" y="1061204"/>
                  <a:pt x="349606" y="1085914"/>
                  <a:pt x="319124" y="1085914"/>
                </a:cubicBezTo>
                <a:cubicBezTo>
                  <a:pt x="288640" y="1085914"/>
                  <a:pt x="263931" y="1061204"/>
                  <a:pt x="263931" y="1030723"/>
                </a:cubicBezTo>
                <a:cubicBezTo>
                  <a:pt x="263931" y="1000242"/>
                  <a:pt x="288640" y="975532"/>
                  <a:pt x="319124" y="975532"/>
                </a:cubicBezTo>
                <a:close/>
                <a:moveTo>
                  <a:pt x="185492" y="975532"/>
                </a:moveTo>
                <a:cubicBezTo>
                  <a:pt x="215972" y="975532"/>
                  <a:pt x="240682" y="1000242"/>
                  <a:pt x="240682" y="1030723"/>
                </a:cubicBezTo>
                <a:cubicBezTo>
                  <a:pt x="240682" y="1061204"/>
                  <a:pt x="215972" y="1085914"/>
                  <a:pt x="185492" y="1085914"/>
                </a:cubicBezTo>
                <a:cubicBezTo>
                  <a:pt x="155010" y="1085914"/>
                  <a:pt x="130299" y="1061204"/>
                  <a:pt x="130299" y="1030723"/>
                </a:cubicBezTo>
                <a:cubicBezTo>
                  <a:pt x="130299" y="1000242"/>
                  <a:pt x="155010" y="975532"/>
                  <a:pt x="185492" y="975532"/>
                </a:cubicBezTo>
                <a:close/>
                <a:moveTo>
                  <a:pt x="55197" y="975532"/>
                </a:moveTo>
                <a:cubicBezTo>
                  <a:pt x="85679" y="975532"/>
                  <a:pt x="110388" y="1000242"/>
                  <a:pt x="110388" y="1030723"/>
                </a:cubicBezTo>
                <a:cubicBezTo>
                  <a:pt x="110388" y="1061204"/>
                  <a:pt x="85679" y="1085914"/>
                  <a:pt x="55197" y="1085914"/>
                </a:cubicBezTo>
                <a:cubicBezTo>
                  <a:pt x="24715" y="1085914"/>
                  <a:pt x="7" y="1061204"/>
                  <a:pt x="7" y="1030723"/>
                </a:cubicBezTo>
                <a:cubicBezTo>
                  <a:pt x="7" y="1000242"/>
                  <a:pt x="24715" y="975532"/>
                  <a:pt x="55197" y="975532"/>
                </a:cubicBezTo>
                <a:close/>
                <a:moveTo>
                  <a:pt x="9469710" y="855263"/>
                </a:moveTo>
                <a:cubicBezTo>
                  <a:pt x="9500192" y="855263"/>
                  <a:pt x="9524902" y="879973"/>
                  <a:pt x="9524902" y="910454"/>
                </a:cubicBezTo>
                <a:cubicBezTo>
                  <a:pt x="9524902" y="940935"/>
                  <a:pt x="9500192" y="965645"/>
                  <a:pt x="9469710" y="965645"/>
                </a:cubicBezTo>
                <a:cubicBezTo>
                  <a:pt x="9439228" y="965645"/>
                  <a:pt x="9414518" y="940935"/>
                  <a:pt x="9414518" y="910454"/>
                </a:cubicBezTo>
                <a:cubicBezTo>
                  <a:pt x="9414518" y="879973"/>
                  <a:pt x="9439228" y="855263"/>
                  <a:pt x="9469710" y="855263"/>
                </a:cubicBezTo>
                <a:close/>
                <a:moveTo>
                  <a:pt x="9336075" y="855263"/>
                </a:moveTo>
                <a:cubicBezTo>
                  <a:pt x="9366557" y="855263"/>
                  <a:pt x="9391267" y="879973"/>
                  <a:pt x="9391267" y="910454"/>
                </a:cubicBezTo>
                <a:cubicBezTo>
                  <a:pt x="9391267" y="940935"/>
                  <a:pt x="9366557" y="965645"/>
                  <a:pt x="9336075" y="965645"/>
                </a:cubicBezTo>
                <a:cubicBezTo>
                  <a:pt x="9305593" y="965645"/>
                  <a:pt x="9280883" y="940935"/>
                  <a:pt x="9280883" y="910454"/>
                </a:cubicBezTo>
                <a:cubicBezTo>
                  <a:pt x="9280883" y="879973"/>
                  <a:pt x="9305593" y="855263"/>
                  <a:pt x="9336075" y="855263"/>
                </a:cubicBezTo>
                <a:close/>
                <a:moveTo>
                  <a:pt x="9199100" y="855263"/>
                </a:moveTo>
                <a:cubicBezTo>
                  <a:pt x="9229582" y="855263"/>
                  <a:pt x="9254292" y="879973"/>
                  <a:pt x="9254292" y="910454"/>
                </a:cubicBezTo>
                <a:cubicBezTo>
                  <a:pt x="9254292" y="940935"/>
                  <a:pt x="9229582" y="965645"/>
                  <a:pt x="9199100" y="965645"/>
                </a:cubicBezTo>
                <a:cubicBezTo>
                  <a:pt x="9168618" y="965645"/>
                  <a:pt x="9143908" y="940935"/>
                  <a:pt x="9143908" y="910454"/>
                </a:cubicBezTo>
                <a:cubicBezTo>
                  <a:pt x="9143908" y="879973"/>
                  <a:pt x="9168618" y="855263"/>
                  <a:pt x="9199100" y="855263"/>
                </a:cubicBezTo>
                <a:close/>
                <a:moveTo>
                  <a:pt x="9068806" y="855263"/>
                </a:moveTo>
                <a:cubicBezTo>
                  <a:pt x="9099288" y="855263"/>
                  <a:pt x="9123998" y="879973"/>
                  <a:pt x="9123998" y="910454"/>
                </a:cubicBezTo>
                <a:cubicBezTo>
                  <a:pt x="9123998" y="940935"/>
                  <a:pt x="9099288" y="965645"/>
                  <a:pt x="9068806" y="965645"/>
                </a:cubicBezTo>
                <a:cubicBezTo>
                  <a:pt x="9038324" y="965645"/>
                  <a:pt x="9013614" y="940935"/>
                  <a:pt x="9013614" y="910454"/>
                </a:cubicBezTo>
                <a:cubicBezTo>
                  <a:pt x="9013614" y="879973"/>
                  <a:pt x="9038324" y="855263"/>
                  <a:pt x="9068806" y="855263"/>
                </a:cubicBezTo>
                <a:close/>
                <a:moveTo>
                  <a:pt x="8935170" y="855263"/>
                </a:moveTo>
                <a:cubicBezTo>
                  <a:pt x="8965652" y="855263"/>
                  <a:pt x="8990362" y="879973"/>
                  <a:pt x="8990362" y="910454"/>
                </a:cubicBezTo>
                <a:cubicBezTo>
                  <a:pt x="8990362" y="940935"/>
                  <a:pt x="8965652" y="965645"/>
                  <a:pt x="8935170" y="965645"/>
                </a:cubicBezTo>
                <a:cubicBezTo>
                  <a:pt x="8904688" y="965645"/>
                  <a:pt x="8879978" y="940935"/>
                  <a:pt x="8879978" y="910454"/>
                </a:cubicBezTo>
                <a:cubicBezTo>
                  <a:pt x="8879978" y="879973"/>
                  <a:pt x="8904688" y="855263"/>
                  <a:pt x="8935170" y="855263"/>
                </a:cubicBezTo>
                <a:close/>
                <a:moveTo>
                  <a:pt x="8801536" y="855263"/>
                </a:moveTo>
                <a:cubicBezTo>
                  <a:pt x="8832018" y="855263"/>
                  <a:pt x="8856728" y="879973"/>
                  <a:pt x="8856728" y="910454"/>
                </a:cubicBezTo>
                <a:cubicBezTo>
                  <a:pt x="8856728" y="940935"/>
                  <a:pt x="8832018" y="965645"/>
                  <a:pt x="8801536" y="965645"/>
                </a:cubicBezTo>
                <a:cubicBezTo>
                  <a:pt x="8771054" y="965645"/>
                  <a:pt x="8746344" y="940935"/>
                  <a:pt x="8746344" y="910454"/>
                </a:cubicBezTo>
                <a:cubicBezTo>
                  <a:pt x="8746344" y="879973"/>
                  <a:pt x="8771054" y="855263"/>
                  <a:pt x="8801536" y="855263"/>
                </a:cubicBezTo>
                <a:close/>
                <a:moveTo>
                  <a:pt x="8671243" y="855263"/>
                </a:moveTo>
                <a:cubicBezTo>
                  <a:pt x="8701725" y="855263"/>
                  <a:pt x="8726435" y="879973"/>
                  <a:pt x="8726435" y="910454"/>
                </a:cubicBezTo>
                <a:cubicBezTo>
                  <a:pt x="8726435" y="940935"/>
                  <a:pt x="8701725" y="965645"/>
                  <a:pt x="8671243" y="965645"/>
                </a:cubicBezTo>
                <a:cubicBezTo>
                  <a:pt x="8640761" y="965645"/>
                  <a:pt x="8616051" y="940935"/>
                  <a:pt x="8616051" y="910454"/>
                </a:cubicBezTo>
                <a:cubicBezTo>
                  <a:pt x="8616051" y="879973"/>
                  <a:pt x="8640761" y="855263"/>
                  <a:pt x="8671243" y="855263"/>
                </a:cubicBezTo>
                <a:close/>
                <a:moveTo>
                  <a:pt x="8537609" y="855263"/>
                </a:moveTo>
                <a:cubicBezTo>
                  <a:pt x="8568091" y="855263"/>
                  <a:pt x="8592801" y="879973"/>
                  <a:pt x="8592801" y="910454"/>
                </a:cubicBezTo>
                <a:cubicBezTo>
                  <a:pt x="8592801" y="940935"/>
                  <a:pt x="8568091" y="965645"/>
                  <a:pt x="8537609" y="965645"/>
                </a:cubicBezTo>
                <a:cubicBezTo>
                  <a:pt x="8507127" y="965645"/>
                  <a:pt x="8482417" y="940935"/>
                  <a:pt x="8482417" y="910454"/>
                </a:cubicBezTo>
                <a:cubicBezTo>
                  <a:pt x="8482417" y="879973"/>
                  <a:pt x="8507127" y="855263"/>
                  <a:pt x="8537609" y="855263"/>
                </a:cubicBezTo>
                <a:close/>
                <a:moveTo>
                  <a:pt x="8407315" y="855263"/>
                </a:moveTo>
                <a:cubicBezTo>
                  <a:pt x="8437797" y="855263"/>
                  <a:pt x="8462507" y="879973"/>
                  <a:pt x="8462507" y="910454"/>
                </a:cubicBezTo>
                <a:cubicBezTo>
                  <a:pt x="8462507" y="940935"/>
                  <a:pt x="8437797" y="965645"/>
                  <a:pt x="8407315" y="965645"/>
                </a:cubicBezTo>
                <a:cubicBezTo>
                  <a:pt x="8376833" y="965645"/>
                  <a:pt x="8352123" y="940935"/>
                  <a:pt x="8352123" y="910454"/>
                </a:cubicBezTo>
                <a:cubicBezTo>
                  <a:pt x="8352123" y="879973"/>
                  <a:pt x="8376833" y="855263"/>
                  <a:pt x="8407315" y="855263"/>
                </a:cubicBezTo>
                <a:close/>
                <a:moveTo>
                  <a:pt x="8273681" y="855263"/>
                </a:moveTo>
                <a:cubicBezTo>
                  <a:pt x="8304163" y="855263"/>
                  <a:pt x="8328873" y="879973"/>
                  <a:pt x="8328873" y="910454"/>
                </a:cubicBezTo>
                <a:cubicBezTo>
                  <a:pt x="8328873" y="940935"/>
                  <a:pt x="8304163" y="965645"/>
                  <a:pt x="8273681" y="965645"/>
                </a:cubicBezTo>
                <a:cubicBezTo>
                  <a:pt x="8243199" y="965645"/>
                  <a:pt x="8218489" y="940935"/>
                  <a:pt x="8218489" y="910454"/>
                </a:cubicBezTo>
                <a:cubicBezTo>
                  <a:pt x="8218489" y="879973"/>
                  <a:pt x="8243199" y="855263"/>
                  <a:pt x="8273681" y="855263"/>
                </a:cubicBezTo>
                <a:close/>
                <a:moveTo>
                  <a:pt x="8143386" y="855263"/>
                </a:moveTo>
                <a:cubicBezTo>
                  <a:pt x="8173868" y="855263"/>
                  <a:pt x="8198578" y="879973"/>
                  <a:pt x="8198578" y="910454"/>
                </a:cubicBezTo>
                <a:cubicBezTo>
                  <a:pt x="8198578" y="940935"/>
                  <a:pt x="8173868" y="965645"/>
                  <a:pt x="8143386" y="965645"/>
                </a:cubicBezTo>
                <a:cubicBezTo>
                  <a:pt x="8112904" y="965645"/>
                  <a:pt x="8088194" y="940935"/>
                  <a:pt x="8088194" y="910454"/>
                </a:cubicBezTo>
                <a:cubicBezTo>
                  <a:pt x="8088194" y="879973"/>
                  <a:pt x="8112904" y="855263"/>
                  <a:pt x="8143386" y="855263"/>
                </a:cubicBezTo>
                <a:close/>
                <a:moveTo>
                  <a:pt x="8009752" y="855263"/>
                </a:moveTo>
                <a:cubicBezTo>
                  <a:pt x="8040234" y="855263"/>
                  <a:pt x="8064944" y="879973"/>
                  <a:pt x="8064944" y="910454"/>
                </a:cubicBezTo>
                <a:cubicBezTo>
                  <a:pt x="8064944" y="940935"/>
                  <a:pt x="8040234" y="965645"/>
                  <a:pt x="8009752" y="965645"/>
                </a:cubicBezTo>
                <a:cubicBezTo>
                  <a:pt x="7979270" y="965645"/>
                  <a:pt x="7954560" y="940935"/>
                  <a:pt x="7954560" y="910454"/>
                </a:cubicBezTo>
                <a:cubicBezTo>
                  <a:pt x="7954560" y="879973"/>
                  <a:pt x="7979270" y="855263"/>
                  <a:pt x="8009752" y="855263"/>
                </a:cubicBezTo>
                <a:close/>
                <a:moveTo>
                  <a:pt x="7876117" y="855263"/>
                </a:moveTo>
                <a:cubicBezTo>
                  <a:pt x="7906599" y="855263"/>
                  <a:pt x="7931309" y="879973"/>
                  <a:pt x="7931309" y="910454"/>
                </a:cubicBezTo>
                <a:cubicBezTo>
                  <a:pt x="7931309" y="940935"/>
                  <a:pt x="7906599" y="965645"/>
                  <a:pt x="7876117" y="965645"/>
                </a:cubicBezTo>
                <a:cubicBezTo>
                  <a:pt x="7845635" y="965645"/>
                  <a:pt x="7820925" y="940935"/>
                  <a:pt x="7820925" y="910454"/>
                </a:cubicBezTo>
                <a:cubicBezTo>
                  <a:pt x="7820925" y="879973"/>
                  <a:pt x="7845635" y="855263"/>
                  <a:pt x="7876117" y="855263"/>
                </a:cubicBezTo>
                <a:close/>
                <a:moveTo>
                  <a:pt x="7745822" y="855263"/>
                </a:moveTo>
                <a:cubicBezTo>
                  <a:pt x="7776304" y="855263"/>
                  <a:pt x="7801014" y="879973"/>
                  <a:pt x="7801014" y="910454"/>
                </a:cubicBezTo>
                <a:cubicBezTo>
                  <a:pt x="7801014" y="940935"/>
                  <a:pt x="7776304" y="965645"/>
                  <a:pt x="7745822" y="965645"/>
                </a:cubicBezTo>
                <a:cubicBezTo>
                  <a:pt x="7715340" y="965645"/>
                  <a:pt x="7690630" y="940935"/>
                  <a:pt x="7690630" y="910454"/>
                </a:cubicBezTo>
                <a:cubicBezTo>
                  <a:pt x="7690630" y="879973"/>
                  <a:pt x="7715340" y="855263"/>
                  <a:pt x="7745822" y="855263"/>
                </a:cubicBezTo>
                <a:close/>
                <a:moveTo>
                  <a:pt x="7608849" y="855263"/>
                </a:moveTo>
                <a:cubicBezTo>
                  <a:pt x="7639331" y="855263"/>
                  <a:pt x="7664041" y="879973"/>
                  <a:pt x="7664041" y="910454"/>
                </a:cubicBezTo>
                <a:cubicBezTo>
                  <a:pt x="7664041" y="940935"/>
                  <a:pt x="7639331" y="965645"/>
                  <a:pt x="7608849" y="965645"/>
                </a:cubicBezTo>
                <a:cubicBezTo>
                  <a:pt x="7578367" y="965645"/>
                  <a:pt x="7553657" y="940935"/>
                  <a:pt x="7553657" y="910454"/>
                </a:cubicBezTo>
                <a:cubicBezTo>
                  <a:pt x="7553657" y="879973"/>
                  <a:pt x="7578367" y="855263"/>
                  <a:pt x="7608849" y="855263"/>
                </a:cubicBezTo>
                <a:close/>
                <a:moveTo>
                  <a:pt x="7481895" y="855263"/>
                </a:moveTo>
                <a:cubicBezTo>
                  <a:pt x="7512377" y="855263"/>
                  <a:pt x="7537087" y="879973"/>
                  <a:pt x="7537087" y="910454"/>
                </a:cubicBezTo>
                <a:cubicBezTo>
                  <a:pt x="7537087" y="940935"/>
                  <a:pt x="7512377" y="965645"/>
                  <a:pt x="7481895" y="965645"/>
                </a:cubicBezTo>
                <a:cubicBezTo>
                  <a:pt x="7451413" y="965645"/>
                  <a:pt x="7426703" y="940935"/>
                  <a:pt x="7426703" y="910454"/>
                </a:cubicBezTo>
                <a:cubicBezTo>
                  <a:pt x="7426703" y="879973"/>
                  <a:pt x="7451413" y="855263"/>
                  <a:pt x="7481895" y="855263"/>
                </a:cubicBezTo>
                <a:close/>
                <a:moveTo>
                  <a:pt x="7341578" y="855263"/>
                </a:moveTo>
                <a:cubicBezTo>
                  <a:pt x="7372060" y="855263"/>
                  <a:pt x="7396770" y="879973"/>
                  <a:pt x="7396770" y="910454"/>
                </a:cubicBezTo>
                <a:cubicBezTo>
                  <a:pt x="7396770" y="940935"/>
                  <a:pt x="7372060" y="965645"/>
                  <a:pt x="7341578" y="965645"/>
                </a:cubicBezTo>
                <a:cubicBezTo>
                  <a:pt x="7311096" y="965645"/>
                  <a:pt x="7286386" y="940935"/>
                  <a:pt x="7286386" y="910454"/>
                </a:cubicBezTo>
                <a:cubicBezTo>
                  <a:pt x="7286386" y="879973"/>
                  <a:pt x="7311096" y="855263"/>
                  <a:pt x="7341578" y="855263"/>
                </a:cubicBezTo>
                <a:close/>
                <a:moveTo>
                  <a:pt x="7211285" y="855263"/>
                </a:moveTo>
                <a:cubicBezTo>
                  <a:pt x="7241767" y="855263"/>
                  <a:pt x="7266477" y="879973"/>
                  <a:pt x="7266477" y="910454"/>
                </a:cubicBezTo>
                <a:cubicBezTo>
                  <a:pt x="7266477" y="940935"/>
                  <a:pt x="7241767" y="965645"/>
                  <a:pt x="7211285" y="965645"/>
                </a:cubicBezTo>
                <a:cubicBezTo>
                  <a:pt x="7180803" y="965645"/>
                  <a:pt x="7156093" y="940935"/>
                  <a:pt x="7156093" y="910454"/>
                </a:cubicBezTo>
                <a:cubicBezTo>
                  <a:pt x="7156093" y="879973"/>
                  <a:pt x="7180803" y="855263"/>
                  <a:pt x="7211285" y="855263"/>
                </a:cubicBezTo>
                <a:close/>
                <a:moveTo>
                  <a:pt x="7080993" y="855263"/>
                </a:moveTo>
                <a:cubicBezTo>
                  <a:pt x="7111475" y="855263"/>
                  <a:pt x="7136185" y="879973"/>
                  <a:pt x="7136185" y="910454"/>
                </a:cubicBezTo>
                <a:cubicBezTo>
                  <a:pt x="7136185" y="940935"/>
                  <a:pt x="7111475" y="965645"/>
                  <a:pt x="7080993" y="965645"/>
                </a:cubicBezTo>
                <a:cubicBezTo>
                  <a:pt x="7050511" y="965645"/>
                  <a:pt x="7025801" y="940935"/>
                  <a:pt x="7025801" y="910454"/>
                </a:cubicBezTo>
                <a:cubicBezTo>
                  <a:pt x="7025801" y="879973"/>
                  <a:pt x="7050511" y="855263"/>
                  <a:pt x="7080993" y="855263"/>
                </a:cubicBezTo>
                <a:close/>
                <a:moveTo>
                  <a:pt x="6947357" y="855263"/>
                </a:moveTo>
                <a:cubicBezTo>
                  <a:pt x="6977839" y="855263"/>
                  <a:pt x="7002549" y="879973"/>
                  <a:pt x="7002549" y="910454"/>
                </a:cubicBezTo>
                <a:cubicBezTo>
                  <a:pt x="7002549" y="940935"/>
                  <a:pt x="6977839" y="965645"/>
                  <a:pt x="6947357" y="965645"/>
                </a:cubicBezTo>
                <a:cubicBezTo>
                  <a:pt x="6916875" y="965645"/>
                  <a:pt x="6892165" y="940935"/>
                  <a:pt x="6892165" y="910454"/>
                </a:cubicBezTo>
                <a:cubicBezTo>
                  <a:pt x="6892165" y="879973"/>
                  <a:pt x="6916875" y="855263"/>
                  <a:pt x="6947357" y="855263"/>
                </a:cubicBezTo>
                <a:close/>
                <a:moveTo>
                  <a:pt x="6817063" y="855263"/>
                </a:moveTo>
                <a:cubicBezTo>
                  <a:pt x="6847545" y="855263"/>
                  <a:pt x="6872255" y="879973"/>
                  <a:pt x="6872255" y="910454"/>
                </a:cubicBezTo>
                <a:cubicBezTo>
                  <a:pt x="6872255" y="940935"/>
                  <a:pt x="6847545" y="965645"/>
                  <a:pt x="6817063" y="965645"/>
                </a:cubicBezTo>
                <a:cubicBezTo>
                  <a:pt x="6786581" y="965645"/>
                  <a:pt x="6761871" y="940935"/>
                  <a:pt x="6761871" y="910454"/>
                </a:cubicBezTo>
                <a:cubicBezTo>
                  <a:pt x="6761871" y="879973"/>
                  <a:pt x="6786581" y="855263"/>
                  <a:pt x="6817063" y="855263"/>
                </a:cubicBezTo>
                <a:close/>
                <a:moveTo>
                  <a:pt x="6683430" y="855263"/>
                </a:moveTo>
                <a:cubicBezTo>
                  <a:pt x="6713912" y="855263"/>
                  <a:pt x="6738622" y="879973"/>
                  <a:pt x="6738622" y="910454"/>
                </a:cubicBezTo>
                <a:cubicBezTo>
                  <a:pt x="6738622" y="940935"/>
                  <a:pt x="6713912" y="965645"/>
                  <a:pt x="6683430" y="965645"/>
                </a:cubicBezTo>
                <a:cubicBezTo>
                  <a:pt x="6652948" y="965645"/>
                  <a:pt x="6628238" y="940935"/>
                  <a:pt x="6628238" y="910454"/>
                </a:cubicBezTo>
                <a:cubicBezTo>
                  <a:pt x="6628238" y="879973"/>
                  <a:pt x="6652948" y="855263"/>
                  <a:pt x="6683430" y="855263"/>
                </a:cubicBezTo>
                <a:close/>
                <a:moveTo>
                  <a:pt x="6553135" y="855263"/>
                </a:moveTo>
                <a:cubicBezTo>
                  <a:pt x="6583617" y="855263"/>
                  <a:pt x="6608327" y="879973"/>
                  <a:pt x="6608327" y="910454"/>
                </a:cubicBezTo>
                <a:cubicBezTo>
                  <a:pt x="6608327" y="940935"/>
                  <a:pt x="6583617" y="965645"/>
                  <a:pt x="6553135" y="965645"/>
                </a:cubicBezTo>
                <a:cubicBezTo>
                  <a:pt x="6522653" y="965645"/>
                  <a:pt x="6497943" y="940935"/>
                  <a:pt x="6497943" y="910454"/>
                </a:cubicBezTo>
                <a:cubicBezTo>
                  <a:pt x="6497943" y="879973"/>
                  <a:pt x="6522653" y="855263"/>
                  <a:pt x="6553135" y="855263"/>
                </a:cubicBezTo>
                <a:close/>
                <a:moveTo>
                  <a:pt x="6419502" y="855263"/>
                </a:moveTo>
                <a:cubicBezTo>
                  <a:pt x="6449984" y="855263"/>
                  <a:pt x="6474694" y="879973"/>
                  <a:pt x="6474694" y="910454"/>
                </a:cubicBezTo>
                <a:cubicBezTo>
                  <a:pt x="6474694" y="940935"/>
                  <a:pt x="6449984" y="965645"/>
                  <a:pt x="6419502" y="965645"/>
                </a:cubicBezTo>
                <a:cubicBezTo>
                  <a:pt x="6389020" y="965645"/>
                  <a:pt x="6364310" y="940935"/>
                  <a:pt x="6364310" y="910454"/>
                </a:cubicBezTo>
                <a:cubicBezTo>
                  <a:pt x="6364310" y="879973"/>
                  <a:pt x="6389020" y="855263"/>
                  <a:pt x="6419502" y="855263"/>
                </a:cubicBezTo>
                <a:close/>
                <a:moveTo>
                  <a:pt x="6289206" y="855263"/>
                </a:moveTo>
                <a:cubicBezTo>
                  <a:pt x="6319688" y="855263"/>
                  <a:pt x="6344398" y="879973"/>
                  <a:pt x="6344398" y="910454"/>
                </a:cubicBezTo>
                <a:cubicBezTo>
                  <a:pt x="6344398" y="940935"/>
                  <a:pt x="6319688" y="965645"/>
                  <a:pt x="6289206" y="965645"/>
                </a:cubicBezTo>
                <a:cubicBezTo>
                  <a:pt x="6258724" y="965645"/>
                  <a:pt x="6234014" y="940935"/>
                  <a:pt x="6234014" y="910454"/>
                </a:cubicBezTo>
                <a:cubicBezTo>
                  <a:pt x="6234014" y="879973"/>
                  <a:pt x="6258724" y="855263"/>
                  <a:pt x="6289206" y="855263"/>
                </a:cubicBezTo>
                <a:close/>
                <a:moveTo>
                  <a:pt x="6155571" y="855263"/>
                </a:moveTo>
                <a:cubicBezTo>
                  <a:pt x="6186053" y="855263"/>
                  <a:pt x="6210763" y="879973"/>
                  <a:pt x="6210763" y="910454"/>
                </a:cubicBezTo>
                <a:cubicBezTo>
                  <a:pt x="6210763" y="940935"/>
                  <a:pt x="6186053" y="965645"/>
                  <a:pt x="6155571" y="965645"/>
                </a:cubicBezTo>
                <a:cubicBezTo>
                  <a:pt x="6125089" y="965645"/>
                  <a:pt x="6100379" y="940935"/>
                  <a:pt x="6100379" y="910454"/>
                </a:cubicBezTo>
                <a:cubicBezTo>
                  <a:pt x="6100379" y="879973"/>
                  <a:pt x="6125089" y="855263"/>
                  <a:pt x="6155571" y="855263"/>
                </a:cubicBezTo>
                <a:close/>
                <a:moveTo>
                  <a:pt x="6021938" y="855263"/>
                </a:moveTo>
                <a:cubicBezTo>
                  <a:pt x="6052420" y="855263"/>
                  <a:pt x="6077130" y="879973"/>
                  <a:pt x="6077130" y="910454"/>
                </a:cubicBezTo>
                <a:cubicBezTo>
                  <a:pt x="6077130" y="940935"/>
                  <a:pt x="6052420" y="965645"/>
                  <a:pt x="6021938" y="965645"/>
                </a:cubicBezTo>
                <a:cubicBezTo>
                  <a:pt x="5991456" y="965645"/>
                  <a:pt x="5966746" y="940935"/>
                  <a:pt x="5966746" y="910454"/>
                </a:cubicBezTo>
                <a:cubicBezTo>
                  <a:pt x="5966746" y="879973"/>
                  <a:pt x="5991456" y="855263"/>
                  <a:pt x="6021938" y="855263"/>
                </a:cubicBezTo>
                <a:close/>
                <a:moveTo>
                  <a:pt x="5884961" y="855263"/>
                </a:moveTo>
                <a:cubicBezTo>
                  <a:pt x="5915443" y="855263"/>
                  <a:pt x="5940153" y="879973"/>
                  <a:pt x="5940153" y="910454"/>
                </a:cubicBezTo>
                <a:cubicBezTo>
                  <a:pt x="5940153" y="940935"/>
                  <a:pt x="5915443" y="965645"/>
                  <a:pt x="5884961" y="965645"/>
                </a:cubicBezTo>
                <a:cubicBezTo>
                  <a:pt x="5854479" y="965645"/>
                  <a:pt x="5829769" y="940935"/>
                  <a:pt x="5829769" y="910454"/>
                </a:cubicBezTo>
                <a:cubicBezTo>
                  <a:pt x="5829769" y="879973"/>
                  <a:pt x="5854479" y="855263"/>
                  <a:pt x="5884961" y="855263"/>
                </a:cubicBezTo>
                <a:close/>
                <a:moveTo>
                  <a:pt x="5754668" y="855263"/>
                </a:moveTo>
                <a:cubicBezTo>
                  <a:pt x="5785150" y="855263"/>
                  <a:pt x="5809860" y="879973"/>
                  <a:pt x="5809860" y="910454"/>
                </a:cubicBezTo>
                <a:cubicBezTo>
                  <a:pt x="5809860" y="940935"/>
                  <a:pt x="5785150" y="965645"/>
                  <a:pt x="5754668" y="965645"/>
                </a:cubicBezTo>
                <a:cubicBezTo>
                  <a:pt x="5724186" y="965645"/>
                  <a:pt x="5699476" y="940935"/>
                  <a:pt x="5699476" y="910454"/>
                </a:cubicBezTo>
                <a:cubicBezTo>
                  <a:pt x="5699476" y="879973"/>
                  <a:pt x="5724186" y="855263"/>
                  <a:pt x="5754668" y="855263"/>
                </a:cubicBezTo>
                <a:close/>
                <a:moveTo>
                  <a:pt x="5621034" y="855263"/>
                </a:moveTo>
                <a:cubicBezTo>
                  <a:pt x="5651516" y="855263"/>
                  <a:pt x="5676226" y="879973"/>
                  <a:pt x="5676226" y="910454"/>
                </a:cubicBezTo>
                <a:cubicBezTo>
                  <a:pt x="5676226" y="940935"/>
                  <a:pt x="5651516" y="965645"/>
                  <a:pt x="5621034" y="965645"/>
                </a:cubicBezTo>
                <a:cubicBezTo>
                  <a:pt x="5590552" y="965645"/>
                  <a:pt x="5565842" y="940935"/>
                  <a:pt x="5565842" y="910454"/>
                </a:cubicBezTo>
                <a:cubicBezTo>
                  <a:pt x="5565842" y="879973"/>
                  <a:pt x="5590552" y="855263"/>
                  <a:pt x="5621034" y="855263"/>
                </a:cubicBezTo>
                <a:close/>
                <a:moveTo>
                  <a:pt x="5487399" y="855263"/>
                </a:moveTo>
                <a:cubicBezTo>
                  <a:pt x="5517881" y="855263"/>
                  <a:pt x="5542591" y="879973"/>
                  <a:pt x="5542591" y="910454"/>
                </a:cubicBezTo>
                <a:cubicBezTo>
                  <a:pt x="5542591" y="940935"/>
                  <a:pt x="5517881" y="965645"/>
                  <a:pt x="5487399" y="965645"/>
                </a:cubicBezTo>
                <a:cubicBezTo>
                  <a:pt x="5456917" y="965645"/>
                  <a:pt x="5432207" y="940935"/>
                  <a:pt x="5432207" y="910454"/>
                </a:cubicBezTo>
                <a:cubicBezTo>
                  <a:pt x="5432207" y="879973"/>
                  <a:pt x="5456917" y="855263"/>
                  <a:pt x="5487399" y="855263"/>
                </a:cubicBezTo>
                <a:close/>
                <a:moveTo>
                  <a:pt x="5357105" y="855263"/>
                </a:moveTo>
                <a:cubicBezTo>
                  <a:pt x="5387587" y="855263"/>
                  <a:pt x="5412297" y="879973"/>
                  <a:pt x="5412297" y="910454"/>
                </a:cubicBezTo>
                <a:cubicBezTo>
                  <a:pt x="5412297" y="940935"/>
                  <a:pt x="5387587" y="965645"/>
                  <a:pt x="5357105" y="965645"/>
                </a:cubicBezTo>
                <a:cubicBezTo>
                  <a:pt x="5326623" y="965645"/>
                  <a:pt x="5301913" y="940935"/>
                  <a:pt x="5301913" y="910454"/>
                </a:cubicBezTo>
                <a:cubicBezTo>
                  <a:pt x="5301913" y="879973"/>
                  <a:pt x="5326623" y="855263"/>
                  <a:pt x="5357105" y="855263"/>
                </a:cubicBezTo>
                <a:close/>
                <a:moveTo>
                  <a:pt x="5223472" y="855263"/>
                </a:moveTo>
                <a:cubicBezTo>
                  <a:pt x="5253954" y="855263"/>
                  <a:pt x="5278664" y="879973"/>
                  <a:pt x="5278664" y="910454"/>
                </a:cubicBezTo>
                <a:cubicBezTo>
                  <a:pt x="5278664" y="940935"/>
                  <a:pt x="5253954" y="965645"/>
                  <a:pt x="5223472" y="965645"/>
                </a:cubicBezTo>
                <a:cubicBezTo>
                  <a:pt x="5192990" y="965645"/>
                  <a:pt x="5168280" y="940935"/>
                  <a:pt x="5168280" y="910454"/>
                </a:cubicBezTo>
                <a:cubicBezTo>
                  <a:pt x="5168280" y="879973"/>
                  <a:pt x="5192990" y="855263"/>
                  <a:pt x="5223472" y="855263"/>
                </a:cubicBezTo>
                <a:close/>
                <a:moveTo>
                  <a:pt x="5093178" y="855263"/>
                </a:moveTo>
                <a:cubicBezTo>
                  <a:pt x="5123660" y="855263"/>
                  <a:pt x="5148370" y="879973"/>
                  <a:pt x="5148370" y="910454"/>
                </a:cubicBezTo>
                <a:cubicBezTo>
                  <a:pt x="5148370" y="940935"/>
                  <a:pt x="5123660" y="965645"/>
                  <a:pt x="5093178" y="965645"/>
                </a:cubicBezTo>
                <a:cubicBezTo>
                  <a:pt x="5062696" y="965645"/>
                  <a:pt x="5037986" y="940935"/>
                  <a:pt x="5037986" y="910454"/>
                </a:cubicBezTo>
                <a:cubicBezTo>
                  <a:pt x="5037986" y="879973"/>
                  <a:pt x="5062696" y="855263"/>
                  <a:pt x="5093178" y="855263"/>
                </a:cubicBezTo>
                <a:close/>
                <a:moveTo>
                  <a:pt x="4161076" y="855263"/>
                </a:moveTo>
                <a:cubicBezTo>
                  <a:pt x="4191558" y="855263"/>
                  <a:pt x="4216268" y="879973"/>
                  <a:pt x="4216268" y="910454"/>
                </a:cubicBezTo>
                <a:cubicBezTo>
                  <a:pt x="4216268" y="940935"/>
                  <a:pt x="4191558" y="965645"/>
                  <a:pt x="4161076" y="965645"/>
                </a:cubicBezTo>
                <a:cubicBezTo>
                  <a:pt x="4130594" y="965645"/>
                  <a:pt x="4105884" y="940935"/>
                  <a:pt x="4105884" y="910454"/>
                </a:cubicBezTo>
                <a:cubicBezTo>
                  <a:pt x="4105884" y="879973"/>
                  <a:pt x="4130594" y="855263"/>
                  <a:pt x="4161076" y="855263"/>
                </a:cubicBezTo>
                <a:close/>
                <a:moveTo>
                  <a:pt x="3633218" y="855263"/>
                </a:moveTo>
                <a:cubicBezTo>
                  <a:pt x="3663700" y="855263"/>
                  <a:pt x="3688410" y="879973"/>
                  <a:pt x="3688410" y="910454"/>
                </a:cubicBezTo>
                <a:cubicBezTo>
                  <a:pt x="3688410" y="940935"/>
                  <a:pt x="3663700" y="965645"/>
                  <a:pt x="3633218" y="965645"/>
                </a:cubicBezTo>
                <a:cubicBezTo>
                  <a:pt x="3602736" y="965645"/>
                  <a:pt x="3578026" y="940935"/>
                  <a:pt x="3578026" y="910454"/>
                </a:cubicBezTo>
                <a:cubicBezTo>
                  <a:pt x="3578026" y="879973"/>
                  <a:pt x="3602736" y="855263"/>
                  <a:pt x="3633218" y="855263"/>
                </a:cubicBezTo>
                <a:close/>
                <a:moveTo>
                  <a:pt x="3499586" y="855263"/>
                </a:moveTo>
                <a:cubicBezTo>
                  <a:pt x="3530068" y="855263"/>
                  <a:pt x="3554778" y="879973"/>
                  <a:pt x="3554778" y="910454"/>
                </a:cubicBezTo>
                <a:cubicBezTo>
                  <a:pt x="3554778" y="940935"/>
                  <a:pt x="3530068" y="965645"/>
                  <a:pt x="3499586" y="965645"/>
                </a:cubicBezTo>
                <a:cubicBezTo>
                  <a:pt x="3469104" y="965645"/>
                  <a:pt x="3444394" y="940935"/>
                  <a:pt x="3444394" y="910454"/>
                </a:cubicBezTo>
                <a:cubicBezTo>
                  <a:pt x="3444394" y="879973"/>
                  <a:pt x="3469104" y="855263"/>
                  <a:pt x="3499586" y="855263"/>
                </a:cubicBezTo>
                <a:close/>
                <a:moveTo>
                  <a:pt x="3369290" y="855263"/>
                </a:moveTo>
                <a:cubicBezTo>
                  <a:pt x="3399772" y="855263"/>
                  <a:pt x="3424482" y="879973"/>
                  <a:pt x="3424482" y="910454"/>
                </a:cubicBezTo>
                <a:cubicBezTo>
                  <a:pt x="3424482" y="940935"/>
                  <a:pt x="3399772" y="965645"/>
                  <a:pt x="3369290" y="965645"/>
                </a:cubicBezTo>
                <a:cubicBezTo>
                  <a:pt x="3338808" y="965645"/>
                  <a:pt x="3314098" y="940935"/>
                  <a:pt x="3314098" y="910454"/>
                </a:cubicBezTo>
                <a:cubicBezTo>
                  <a:pt x="3314098" y="879973"/>
                  <a:pt x="3338808" y="855263"/>
                  <a:pt x="3369290" y="855263"/>
                </a:cubicBezTo>
                <a:close/>
                <a:moveTo>
                  <a:pt x="2834849" y="855263"/>
                </a:moveTo>
                <a:cubicBezTo>
                  <a:pt x="2865329" y="855263"/>
                  <a:pt x="2890040" y="879973"/>
                  <a:pt x="2890040" y="910454"/>
                </a:cubicBezTo>
                <a:cubicBezTo>
                  <a:pt x="2890040" y="940935"/>
                  <a:pt x="2865329" y="965645"/>
                  <a:pt x="2834849" y="965645"/>
                </a:cubicBezTo>
                <a:cubicBezTo>
                  <a:pt x="2804367" y="965645"/>
                  <a:pt x="2779655" y="940935"/>
                  <a:pt x="2779655" y="910454"/>
                </a:cubicBezTo>
                <a:cubicBezTo>
                  <a:pt x="2779655" y="879973"/>
                  <a:pt x="2804367" y="855263"/>
                  <a:pt x="2834849" y="855263"/>
                </a:cubicBezTo>
                <a:close/>
                <a:moveTo>
                  <a:pt x="2707895" y="855263"/>
                </a:moveTo>
                <a:cubicBezTo>
                  <a:pt x="2738377" y="855263"/>
                  <a:pt x="2763087" y="879973"/>
                  <a:pt x="2763087" y="910454"/>
                </a:cubicBezTo>
                <a:cubicBezTo>
                  <a:pt x="2763087" y="940935"/>
                  <a:pt x="2738377" y="965645"/>
                  <a:pt x="2707895" y="965645"/>
                </a:cubicBezTo>
                <a:cubicBezTo>
                  <a:pt x="2677411" y="965645"/>
                  <a:pt x="2652702" y="940935"/>
                  <a:pt x="2652702" y="910454"/>
                </a:cubicBezTo>
                <a:cubicBezTo>
                  <a:pt x="2652702" y="879973"/>
                  <a:pt x="2677411" y="855263"/>
                  <a:pt x="2707895" y="855263"/>
                </a:cubicBezTo>
                <a:close/>
                <a:moveTo>
                  <a:pt x="2570919" y="855263"/>
                </a:moveTo>
                <a:cubicBezTo>
                  <a:pt x="2601400" y="855263"/>
                  <a:pt x="2626110" y="879973"/>
                  <a:pt x="2626110" y="910454"/>
                </a:cubicBezTo>
                <a:cubicBezTo>
                  <a:pt x="2626110" y="940935"/>
                  <a:pt x="2601400" y="965645"/>
                  <a:pt x="2570919" y="965645"/>
                </a:cubicBezTo>
                <a:cubicBezTo>
                  <a:pt x="2540436" y="965645"/>
                  <a:pt x="2515724" y="940935"/>
                  <a:pt x="2515724" y="910454"/>
                </a:cubicBezTo>
                <a:cubicBezTo>
                  <a:pt x="2515724" y="879973"/>
                  <a:pt x="2540436" y="855263"/>
                  <a:pt x="2570919" y="855263"/>
                </a:cubicBezTo>
                <a:close/>
                <a:moveTo>
                  <a:pt x="2303651" y="855263"/>
                </a:moveTo>
                <a:cubicBezTo>
                  <a:pt x="2334134" y="855263"/>
                  <a:pt x="2358843" y="879973"/>
                  <a:pt x="2358843" y="910454"/>
                </a:cubicBezTo>
                <a:cubicBezTo>
                  <a:pt x="2358843" y="940935"/>
                  <a:pt x="2334134" y="965645"/>
                  <a:pt x="2303651" y="965645"/>
                </a:cubicBezTo>
                <a:cubicBezTo>
                  <a:pt x="2273169" y="965645"/>
                  <a:pt x="2248461" y="940935"/>
                  <a:pt x="2248461" y="910454"/>
                </a:cubicBezTo>
                <a:cubicBezTo>
                  <a:pt x="2248461" y="879973"/>
                  <a:pt x="2273169" y="855263"/>
                  <a:pt x="2303651" y="855263"/>
                </a:cubicBezTo>
                <a:close/>
                <a:moveTo>
                  <a:pt x="2173362" y="855263"/>
                </a:moveTo>
                <a:cubicBezTo>
                  <a:pt x="2203845" y="855263"/>
                  <a:pt x="2228554" y="879973"/>
                  <a:pt x="2228554" y="910454"/>
                </a:cubicBezTo>
                <a:cubicBezTo>
                  <a:pt x="2228554" y="940935"/>
                  <a:pt x="2203845" y="965645"/>
                  <a:pt x="2173362" y="965645"/>
                </a:cubicBezTo>
                <a:cubicBezTo>
                  <a:pt x="2142879" y="965645"/>
                  <a:pt x="2118170" y="940935"/>
                  <a:pt x="2118170" y="910454"/>
                </a:cubicBezTo>
                <a:cubicBezTo>
                  <a:pt x="2118170" y="879973"/>
                  <a:pt x="2142879" y="855263"/>
                  <a:pt x="2173362" y="855263"/>
                </a:cubicBezTo>
                <a:close/>
                <a:moveTo>
                  <a:pt x="2039725" y="855263"/>
                </a:moveTo>
                <a:cubicBezTo>
                  <a:pt x="2070208" y="855263"/>
                  <a:pt x="2094919" y="879973"/>
                  <a:pt x="2094919" y="910454"/>
                </a:cubicBezTo>
                <a:cubicBezTo>
                  <a:pt x="2094919" y="940935"/>
                  <a:pt x="2070208" y="965645"/>
                  <a:pt x="2039725" y="965645"/>
                </a:cubicBezTo>
                <a:cubicBezTo>
                  <a:pt x="2009244" y="965645"/>
                  <a:pt x="1984533" y="940935"/>
                  <a:pt x="1984533" y="910454"/>
                </a:cubicBezTo>
                <a:cubicBezTo>
                  <a:pt x="1984533" y="879973"/>
                  <a:pt x="2009244" y="855263"/>
                  <a:pt x="2039725" y="855263"/>
                </a:cubicBezTo>
                <a:close/>
                <a:moveTo>
                  <a:pt x="1909428" y="855263"/>
                </a:moveTo>
                <a:cubicBezTo>
                  <a:pt x="1939911" y="855263"/>
                  <a:pt x="1964620" y="879973"/>
                  <a:pt x="1964620" y="910454"/>
                </a:cubicBezTo>
                <a:cubicBezTo>
                  <a:pt x="1964620" y="940935"/>
                  <a:pt x="1939911" y="965645"/>
                  <a:pt x="1909428" y="965645"/>
                </a:cubicBezTo>
                <a:cubicBezTo>
                  <a:pt x="1878945" y="965645"/>
                  <a:pt x="1854234" y="940935"/>
                  <a:pt x="1854234" y="910454"/>
                </a:cubicBezTo>
                <a:cubicBezTo>
                  <a:pt x="1854234" y="879973"/>
                  <a:pt x="1878945" y="855263"/>
                  <a:pt x="1909428" y="855263"/>
                </a:cubicBezTo>
                <a:close/>
                <a:moveTo>
                  <a:pt x="1779130" y="855263"/>
                </a:moveTo>
                <a:cubicBezTo>
                  <a:pt x="1809614" y="855263"/>
                  <a:pt x="1834324" y="879973"/>
                  <a:pt x="1834324" y="910454"/>
                </a:cubicBezTo>
                <a:cubicBezTo>
                  <a:pt x="1834324" y="940935"/>
                  <a:pt x="1809614" y="965645"/>
                  <a:pt x="1779130" y="965645"/>
                </a:cubicBezTo>
                <a:cubicBezTo>
                  <a:pt x="1748649" y="965645"/>
                  <a:pt x="1723937" y="940935"/>
                  <a:pt x="1723937" y="910454"/>
                </a:cubicBezTo>
                <a:cubicBezTo>
                  <a:pt x="1723937" y="879973"/>
                  <a:pt x="1748649" y="855263"/>
                  <a:pt x="1779130" y="855263"/>
                </a:cubicBezTo>
                <a:close/>
                <a:moveTo>
                  <a:pt x="1645495" y="855263"/>
                </a:moveTo>
                <a:cubicBezTo>
                  <a:pt x="1675980" y="855263"/>
                  <a:pt x="1700693" y="879973"/>
                  <a:pt x="1700693" y="910454"/>
                </a:cubicBezTo>
                <a:cubicBezTo>
                  <a:pt x="1700693" y="940935"/>
                  <a:pt x="1675980" y="965645"/>
                  <a:pt x="1645495" y="965645"/>
                </a:cubicBezTo>
                <a:cubicBezTo>
                  <a:pt x="1615015" y="965645"/>
                  <a:pt x="1590303" y="940935"/>
                  <a:pt x="1590303" y="910454"/>
                </a:cubicBezTo>
                <a:cubicBezTo>
                  <a:pt x="1590303" y="879973"/>
                  <a:pt x="1615015" y="855263"/>
                  <a:pt x="1645495" y="855263"/>
                </a:cubicBezTo>
                <a:close/>
                <a:moveTo>
                  <a:pt x="1515206" y="855263"/>
                </a:moveTo>
                <a:cubicBezTo>
                  <a:pt x="1545685" y="855263"/>
                  <a:pt x="1570391" y="879973"/>
                  <a:pt x="1570391" y="910454"/>
                </a:cubicBezTo>
                <a:cubicBezTo>
                  <a:pt x="1570391" y="940935"/>
                  <a:pt x="1545685" y="965645"/>
                  <a:pt x="1515206" y="965645"/>
                </a:cubicBezTo>
                <a:cubicBezTo>
                  <a:pt x="1484723" y="965645"/>
                  <a:pt x="1460009" y="940935"/>
                  <a:pt x="1460009" y="910454"/>
                </a:cubicBezTo>
                <a:cubicBezTo>
                  <a:pt x="1460009" y="879973"/>
                  <a:pt x="1484723" y="855263"/>
                  <a:pt x="1515206" y="855263"/>
                </a:cubicBezTo>
                <a:close/>
                <a:moveTo>
                  <a:pt x="1381566" y="855263"/>
                </a:moveTo>
                <a:cubicBezTo>
                  <a:pt x="1412046" y="855263"/>
                  <a:pt x="1436758" y="879973"/>
                  <a:pt x="1436758" y="910454"/>
                </a:cubicBezTo>
                <a:cubicBezTo>
                  <a:pt x="1436758" y="940935"/>
                  <a:pt x="1412046" y="965645"/>
                  <a:pt x="1381566" y="965645"/>
                </a:cubicBezTo>
                <a:cubicBezTo>
                  <a:pt x="1351086" y="965645"/>
                  <a:pt x="1326375" y="940935"/>
                  <a:pt x="1326375" y="910454"/>
                </a:cubicBezTo>
                <a:cubicBezTo>
                  <a:pt x="1326375" y="879973"/>
                  <a:pt x="1351086" y="855263"/>
                  <a:pt x="1381566" y="855263"/>
                </a:cubicBezTo>
                <a:close/>
                <a:moveTo>
                  <a:pt x="1251271" y="855263"/>
                </a:moveTo>
                <a:cubicBezTo>
                  <a:pt x="1281752" y="855263"/>
                  <a:pt x="1306464" y="879973"/>
                  <a:pt x="1306464" y="910454"/>
                </a:cubicBezTo>
                <a:cubicBezTo>
                  <a:pt x="1306464" y="940935"/>
                  <a:pt x="1281752" y="965645"/>
                  <a:pt x="1251271" y="965645"/>
                </a:cubicBezTo>
                <a:cubicBezTo>
                  <a:pt x="1220788" y="965645"/>
                  <a:pt x="1196078" y="940935"/>
                  <a:pt x="1196078" y="910454"/>
                </a:cubicBezTo>
                <a:cubicBezTo>
                  <a:pt x="1196078" y="879973"/>
                  <a:pt x="1220788" y="855263"/>
                  <a:pt x="1251271" y="855263"/>
                </a:cubicBezTo>
                <a:close/>
                <a:moveTo>
                  <a:pt x="1117634" y="855263"/>
                </a:moveTo>
                <a:cubicBezTo>
                  <a:pt x="1148117" y="855263"/>
                  <a:pt x="1172828" y="879973"/>
                  <a:pt x="1172828" y="910454"/>
                </a:cubicBezTo>
                <a:cubicBezTo>
                  <a:pt x="1172828" y="940935"/>
                  <a:pt x="1148117" y="965645"/>
                  <a:pt x="1117634" y="965645"/>
                </a:cubicBezTo>
                <a:cubicBezTo>
                  <a:pt x="1087150" y="965645"/>
                  <a:pt x="1062440" y="940935"/>
                  <a:pt x="1062440" y="910454"/>
                </a:cubicBezTo>
                <a:cubicBezTo>
                  <a:pt x="1062440" y="879973"/>
                  <a:pt x="1087150" y="855263"/>
                  <a:pt x="1117634" y="855263"/>
                </a:cubicBezTo>
                <a:close/>
                <a:moveTo>
                  <a:pt x="980654" y="855263"/>
                </a:moveTo>
                <a:cubicBezTo>
                  <a:pt x="1011137" y="855263"/>
                  <a:pt x="1035848" y="879973"/>
                  <a:pt x="1035848" y="910454"/>
                </a:cubicBezTo>
                <a:cubicBezTo>
                  <a:pt x="1035848" y="940935"/>
                  <a:pt x="1011137" y="965645"/>
                  <a:pt x="980654" y="965645"/>
                </a:cubicBezTo>
                <a:cubicBezTo>
                  <a:pt x="950172" y="965645"/>
                  <a:pt x="925460" y="940935"/>
                  <a:pt x="925460" y="910454"/>
                </a:cubicBezTo>
                <a:cubicBezTo>
                  <a:pt x="925460" y="879973"/>
                  <a:pt x="950172" y="855263"/>
                  <a:pt x="980654" y="855263"/>
                </a:cubicBezTo>
                <a:close/>
                <a:moveTo>
                  <a:pt x="847016" y="855263"/>
                </a:moveTo>
                <a:cubicBezTo>
                  <a:pt x="877497" y="855263"/>
                  <a:pt x="902209" y="879973"/>
                  <a:pt x="902209" y="910454"/>
                </a:cubicBezTo>
                <a:cubicBezTo>
                  <a:pt x="902209" y="940935"/>
                  <a:pt x="877497" y="965645"/>
                  <a:pt x="847016" y="965645"/>
                </a:cubicBezTo>
                <a:cubicBezTo>
                  <a:pt x="816533" y="965645"/>
                  <a:pt x="791816" y="940935"/>
                  <a:pt x="791816" y="910454"/>
                </a:cubicBezTo>
                <a:cubicBezTo>
                  <a:pt x="791816" y="879973"/>
                  <a:pt x="816533" y="855263"/>
                  <a:pt x="847016" y="855263"/>
                </a:cubicBezTo>
                <a:close/>
                <a:moveTo>
                  <a:pt x="716709" y="855263"/>
                </a:moveTo>
                <a:cubicBezTo>
                  <a:pt x="747196" y="855263"/>
                  <a:pt x="771907" y="879973"/>
                  <a:pt x="771907" y="910454"/>
                </a:cubicBezTo>
                <a:cubicBezTo>
                  <a:pt x="771907" y="940935"/>
                  <a:pt x="747196" y="965645"/>
                  <a:pt x="716709" y="965645"/>
                </a:cubicBezTo>
                <a:cubicBezTo>
                  <a:pt x="686233" y="965645"/>
                  <a:pt x="661522" y="940935"/>
                  <a:pt x="661522" y="910454"/>
                </a:cubicBezTo>
                <a:cubicBezTo>
                  <a:pt x="661522" y="879973"/>
                  <a:pt x="686233" y="855263"/>
                  <a:pt x="716709" y="855263"/>
                </a:cubicBezTo>
                <a:close/>
                <a:moveTo>
                  <a:pt x="583074" y="855263"/>
                </a:moveTo>
                <a:cubicBezTo>
                  <a:pt x="613557" y="855263"/>
                  <a:pt x="638268" y="879973"/>
                  <a:pt x="638268" y="910454"/>
                </a:cubicBezTo>
                <a:cubicBezTo>
                  <a:pt x="638268" y="940935"/>
                  <a:pt x="613557" y="965645"/>
                  <a:pt x="583074" y="965645"/>
                </a:cubicBezTo>
                <a:cubicBezTo>
                  <a:pt x="552591" y="965645"/>
                  <a:pt x="527881" y="940935"/>
                  <a:pt x="527881" y="910454"/>
                </a:cubicBezTo>
                <a:cubicBezTo>
                  <a:pt x="527881" y="879973"/>
                  <a:pt x="552591" y="855263"/>
                  <a:pt x="583074" y="855263"/>
                </a:cubicBezTo>
                <a:close/>
                <a:moveTo>
                  <a:pt x="9867273" y="855260"/>
                </a:moveTo>
                <a:cubicBezTo>
                  <a:pt x="9897755" y="855260"/>
                  <a:pt x="9922465" y="879970"/>
                  <a:pt x="9922465" y="910451"/>
                </a:cubicBezTo>
                <a:cubicBezTo>
                  <a:pt x="9922465" y="940932"/>
                  <a:pt x="9897755" y="965642"/>
                  <a:pt x="9867273" y="965642"/>
                </a:cubicBezTo>
                <a:cubicBezTo>
                  <a:pt x="9836791" y="965642"/>
                  <a:pt x="9812081" y="940932"/>
                  <a:pt x="9812081" y="910451"/>
                </a:cubicBezTo>
                <a:cubicBezTo>
                  <a:pt x="9812081" y="879970"/>
                  <a:pt x="9836791" y="855260"/>
                  <a:pt x="9867273" y="855260"/>
                </a:cubicBezTo>
                <a:close/>
                <a:moveTo>
                  <a:pt x="9733637" y="855260"/>
                </a:moveTo>
                <a:cubicBezTo>
                  <a:pt x="9764119" y="855260"/>
                  <a:pt x="9788829" y="879970"/>
                  <a:pt x="9788829" y="910451"/>
                </a:cubicBezTo>
                <a:cubicBezTo>
                  <a:pt x="9788829" y="940932"/>
                  <a:pt x="9764119" y="965642"/>
                  <a:pt x="9733637" y="965642"/>
                </a:cubicBezTo>
                <a:cubicBezTo>
                  <a:pt x="9703155" y="965642"/>
                  <a:pt x="9678445" y="940932"/>
                  <a:pt x="9678445" y="910451"/>
                </a:cubicBezTo>
                <a:cubicBezTo>
                  <a:pt x="9678445" y="879970"/>
                  <a:pt x="9703155" y="855260"/>
                  <a:pt x="9733637" y="855260"/>
                </a:cubicBezTo>
                <a:close/>
                <a:moveTo>
                  <a:pt x="9603343" y="855260"/>
                </a:moveTo>
                <a:cubicBezTo>
                  <a:pt x="9633825" y="855260"/>
                  <a:pt x="9658535" y="879970"/>
                  <a:pt x="9658535" y="910451"/>
                </a:cubicBezTo>
                <a:cubicBezTo>
                  <a:pt x="9658535" y="940932"/>
                  <a:pt x="9633825" y="965642"/>
                  <a:pt x="9603343" y="965642"/>
                </a:cubicBezTo>
                <a:cubicBezTo>
                  <a:pt x="9572861" y="965642"/>
                  <a:pt x="9548151" y="940932"/>
                  <a:pt x="9548151" y="910451"/>
                </a:cubicBezTo>
                <a:cubicBezTo>
                  <a:pt x="9548151" y="879970"/>
                  <a:pt x="9572861" y="855260"/>
                  <a:pt x="9603343" y="855260"/>
                </a:cubicBezTo>
                <a:close/>
                <a:moveTo>
                  <a:pt x="449429" y="855260"/>
                </a:moveTo>
                <a:cubicBezTo>
                  <a:pt x="479910" y="855260"/>
                  <a:pt x="504621" y="879970"/>
                  <a:pt x="504621" y="910451"/>
                </a:cubicBezTo>
                <a:cubicBezTo>
                  <a:pt x="504621" y="940932"/>
                  <a:pt x="479910" y="965642"/>
                  <a:pt x="449429" y="965642"/>
                </a:cubicBezTo>
                <a:cubicBezTo>
                  <a:pt x="418945" y="965642"/>
                  <a:pt x="394234" y="940932"/>
                  <a:pt x="394234" y="910451"/>
                </a:cubicBezTo>
                <a:cubicBezTo>
                  <a:pt x="394234" y="879970"/>
                  <a:pt x="418945" y="855260"/>
                  <a:pt x="449429" y="855260"/>
                </a:cubicBezTo>
                <a:close/>
                <a:moveTo>
                  <a:pt x="319132" y="855260"/>
                </a:moveTo>
                <a:cubicBezTo>
                  <a:pt x="349615" y="855260"/>
                  <a:pt x="374326" y="879970"/>
                  <a:pt x="374326" y="910451"/>
                </a:cubicBezTo>
                <a:cubicBezTo>
                  <a:pt x="374326" y="940932"/>
                  <a:pt x="349615" y="965642"/>
                  <a:pt x="319132" y="965642"/>
                </a:cubicBezTo>
                <a:cubicBezTo>
                  <a:pt x="288649" y="965642"/>
                  <a:pt x="263940" y="940932"/>
                  <a:pt x="263940" y="910451"/>
                </a:cubicBezTo>
                <a:cubicBezTo>
                  <a:pt x="263940" y="879970"/>
                  <a:pt x="288649" y="855260"/>
                  <a:pt x="319132" y="855260"/>
                </a:cubicBezTo>
                <a:close/>
                <a:moveTo>
                  <a:pt x="185499" y="855260"/>
                </a:moveTo>
                <a:cubicBezTo>
                  <a:pt x="215981" y="855260"/>
                  <a:pt x="240690" y="879970"/>
                  <a:pt x="240690" y="910451"/>
                </a:cubicBezTo>
                <a:cubicBezTo>
                  <a:pt x="240690" y="940932"/>
                  <a:pt x="215981" y="965642"/>
                  <a:pt x="185499" y="965642"/>
                </a:cubicBezTo>
                <a:cubicBezTo>
                  <a:pt x="155018" y="965642"/>
                  <a:pt x="130308" y="940932"/>
                  <a:pt x="130308" y="910451"/>
                </a:cubicBezTo>
                <a:cubicBezTo>
                  <a:pt x="130308" y="879970"/>
                  <a:pt x="155018" y="855260"/>
                  <a:pt x="185499" y="855260"/>
                </a:cubicBezTo>
                <a:close/>
                <a:moveTo>
                  <a:pt x="9733637" y="724970"/>
                </a:moveTo>
                <a:cubicBezTo>
                  <a:pt x="9764119" y="724970"/>
                  <a:pt x="9788829" y="749680"/>
                  <a:pt x="9788829" y="780161"/>
                </a:cubicBezTo>
                <a:cubicBezTo>
                  <a:pt x="9788829" y="810642"/>
                  <a:pt x="9764119" y="835352"/>
                  <a:pt x="9733637" y="835352"/>
                </a:cubicBezTo>
                <a:cubicBezTo>
                  <a:pt x="9703155" y="835352"/>
                  <a:pt x="9678445" y="810642"/>
                  <a:pt x="9678445" y="780161"/>
                </a:cubicBezTo>
                <a:cubicBezTo>
                  <a:pt x="9678445" y="749680"/>
                  <a:pt x="9703155" y="724970"/>
                  <a:pt x="9733637" y="724970"/>
                </a:cubicBezTo>
                <a:close/>
                <a:moveTo>
                  <a:pt x="9603344" y="724970"/>
                </a:moveTo>
                <a:cubicBezTo>
                  <a:pt x="9633826" y="724970"/>
                  <a:pt x="9658536" y="749680"/>
                  <a:pt x="9658536" y="780161"/>
                </a:cubicBezTo>
                <a:cubicBezTo>
                  <a:pt x="9658536" y="810642"/>
                  <a:pt x="9633826" y="835352"/>
                  <a:pt x="9603344" y="835352"/>
                </a:cubicBezTo>
                <a:cubicBezTo>
                  <a:pt x="9572862" y="835352"/>
                  <a:pt x="9548152" y="810642"/>
                  <a:pt x="9548152" y="780161"/>
                </a:cubicBezTo>
                <a:cubicBezTo>
                  <a:pt x="9548152" y="749680"/>
                  <a:pt x="9572862" y="724970"/>
                  <a:pt x="9603344" y="724970"/>
                </a:cubicBezTo>
                <a:close/>
                <a:moveTo>
                  <a:pt x="9469710" y="724970"/>
                </a:moveTo>
                <a:cubicBezTo>
                  <a:pt x="9500192" y="724970"/>
                  <a:pt x="9524902" y="749680"/>
                  <a:pt x="9524902" y="780161"/>
                </a:cubicBezTo>
                <a:cubicBezTo>
                  <a:pt x="9524902" y="810642"/>
                  <a:pt x="9500192" y="835352"/>
                  <a:pt x="9469710" y="835352"/>
                </a:cubicBezTo>
                <a:cubicBezTo>
                  <a:pt x="9439228" y="835352"/>
                  <a:pt x="9414518" y="810642"/>
                  <a:pt x="9414518" y="780161"/>
                </a:cubicBezTo>
                <a:cubicBezTo>
                  <a:pt x="9414518" y="749680"/>
                  <a:pt x="9439228" y="724970"/>
                  <a:pt x="9469710" y="724970"/>
                </a:cubicBezTo>
                <a:close/>
                <a:moveTo>
                  <a:pt x="9336075" y="724970"/>
                </a:moveTo>
                <a:cubicBezTo>
                  <a:pt x="9366557" y="724970"/>
                  <a:pt x="9391267" y="749680"/>
                  <a:pt x="9391267" y="780161"/>
                </a:cubicBezTo>
                <a:cubicBezTo>
                  <a:pt x="9391267" y="810642"/>
                  <a:pt x="9366557" y="835352"/>
                  <a:pt x="9336075" y="835352"/>
                </a:cubicBezTo>
                <a:cubicBezTo>
                  <a:pt x="9305593" y="835352"/>
                  <a:pt x="9280883" y="810642"/>
                  <a:pt x="9280883" y="780161"/>
                </a:cubicBezTo>
                <a:cubicBezTo>
                  <a:pt x="9280883" y="749680"/>
                  <a:pt x="9305593" y="724970"/>
                  <a:pt x="9336075" y="724970"/>
                </a:cubicBezTo>
                <a:close/>
                <a:moveTo>
                  <a:pt x="9199100" y="724970"/>
                </a:moveTo>
                <a:cubicBezTo>
                  <a:pt x="9229582" y="724970"/>
                  <a:pt x="9254292" y="749680"/>
                  <a:pt x="9254292" y="780161"/>
                </a:cubicBezTo>
                <a:cubicBezTo>
                  <a:pt x="9254292" y="810642"/>
                  <a:pt x="9229582" y="835352"/>
                  <a:pt x="9199100" y="835352"/>
                </a:cubicBezTo>
                <a:cubicBezTo>
                  <a:pt x="9168618" y="835352"/>
                  <a:pt x="9143908" y="810642"/>
                  <a:pt x="9143908" y="780161"/>
                </a:cubicBezTo>
                <a:cubicBezTo>
                  <a:pt x="9143908" y="749680"/>
                  <a:pt x="9168618" y="724970"/>
                  <a:pt x="9199100" y="724970"/>
                </a:cubicBezTo>
                <a:close/>
                <a:moveTo>
                  <a:pt x="9068806" y="724970"/>
                </a:moveTo>
                <a:cubicBezTo>
                  <a:pt x="9099288" y="724970"/>
                  <a:pt x="9123998" y="749680"/>
                  <a:pt x="9123998" y="780161"/>
                </a:cubicBezTo>
                <a:cubicBezTo>
                  <a:pt x="9123998" y="810642"/>
                  <a:pt x="9099288" y="835352"/>
                  <a:pt x="9068806" y="835352"/>
                </a:cubicBezTo>
                <a:cubicBezTo>
                  <a:pt x="9038324" y="835352"/>
                  <a:pt x="9013614" y="810642"/>
                  <a:pt x="9013614" y="780161"/>
                </a:cubicBezTo>
                <a:cubicBezTo>
                  <a:pt x="9013614" y="749680"/>
                  <a:pt x="9038324" y="724970"/>
                  <a:pt x="9068806" y="724970"/>
                </a:cubicBezTo>
                <a:close/>
                <a:moveTo>
                  <a:pt x="8935170" y="724970"/>
                </a:moveTo>
                <a:cubicBezTo>
                  <a:pt x="8965652" y="724970"/>
                  <a:pt x="8990362" y="749680"/>
                  <a:pt x="8990362" y="780161"/>
                </a:cubicBezTo>
                <a:cubicBezTo>
                  <a:pt x="8990362" y="810642"/>
                  <a:pt x="8965652" y="835352"/>
                  <a:pt x="8935170" y="835352"/>
                </a:cubicBezTo>
                <a:cubicBezTo>
                  <a:pt x="8904688" y="835352"/>
                  <a:pt x="8879978" y="810642"/>
                  <a:pt x="8879978" y="780161"/>
                </a:cubicBezTo>
                <a:cubicBezTo>
                  <a:pt x="8879978" y="749680"/>
                  <a:pt x="8904688" y="724970"/>
                  <a:pt x="8935170" y="724970"/>
                </a:cubicBezTo>
                <a:close/>
                <a:moveTo>
                  <a:pt x="8801536" y="724970"/>
                </a:moveTo>
                <a:cubicBezTo>
                  <a:pt x="8832018" y="724970"/>
                  <a:pt x="8856728" y="749680"/>
                  <a:pt x="8856728" y="780161"/>
                </a:cubicBezTo>
                <a:cubicBezTo>
                  <a:pt x="8856728" y="810642"/>
                  <a:pt x="8832018" y="835352"/>
                  <a:pt x="8801536" y="835352"/>
                </a:cubicBezTo>
                <a:cubicBezTo>
                  <a:pt x="8771054" y="835352"/>
                  <a:pt x="8746344" y="810642"/>
                  <a:pt x="8746344" y="780161"/>
                </a:cubicBezTo>
                <a:cubicBezTo>
                  <a:pt x="8746344" y="749680"/>
                  <a:pt x="8771054" y="724970"/>
                  <a:pt x="8801536" y="724970"/>
                </a:cubicBezTo>
                <a:close/>
                <a:moveTo>
                  <a:pt x="8671243" y="724970"/>
                </a:moveTo>
                <a:cubicBezTo>
                  <a:pt x="8701725" y="724970"/>
                  <a:pt x="8726435" y="749680"/>
                  <a:pt x="8726435" y="780161"/>
                </a:cubicBezTo>
                <a:cubicBezTo>
                  <a:pt x="8726435" y="810642"/>
                  <a:pt x="8701725" y="835352"/>
                  <a:pt x="8671243" y="835352"/>
                </a:cubicBezTo>
                <a:cubicBezTo>
                  <a:pt x="8640761" y="835352"/>
                  <a:pt x="8616051" y="810642"/>
                  <a:pt x="8616051" y="780161"/>
                </a:cubicBezTo>
                <a:cubicBezTo>
                  <a:pt x="8616051" y="749680"/>
                  <a:pt x="8640761" y="724970"/>
                  <a:pt x="8671243" y="724970"/>
                </a:cubicBezTo>
                <a:close/>
                <a:moveTo>
                  <a:pt x="8537609" y="724970"/>
                </a:moveTo>
                <a:cubicBezTo>
                  <a:pt x="8568091" y="724970"/>
                  <a:pt x="8592801" y="749680"/>
                  <a:pt x="8592801" y="780161"/>
                </a:cubicBezTo>
                <a:cubicBezTo>
                  <a:pt x="8592801" y="810642"/>
                  <a:pt x="8568091" y="835352"/>
                  <a:pt x="8537609" y="835352"/>
                </a:cubicBezTo>
                <a:cubicBezTo>
                  <a:pt x="8507127" y="835352"/>
                  <a:pt x="8482417" y="810642"/>
                  <a:pt x="8482417" y="780161"/>
                </a:cubicBezTo>
                <a:cubicBezTo>
                  <a:pt x="8482417" y="749680"/>
                  <a:pt x="8507127" y="724970"/>
                  <a:pt x="8537609" y="724970"/>
                </a:cubicBezTo>
                <a:close/>
                <a:moveTo>
                  <a:pt x="8407318" y="724970"/>
                </a:moveTo>
                <a:cubicBezTo>
                  <a:pt x="8437800" y="724970"/>
                  <a:pt x="8462510" y="749680"/>
                  <a:pt x="8462510" y="780161"/>
                </a:cubicBezTo>
                <a:cubicBezTo>
                  <a:pt x="8462510" y="810642"/>
                  <a:pt x="8437800" y="835352"/>
                  <a:pt x="8407318" y="835352"/>
                </a:cubicBezTo>
                <a:cubicBezTo>
                  <a:pt x="8376836" y="835352"/>
                  <a:pt x="8352126" y="810642"/>
                  <a:pt x="8352126" y="780161"/>
                </a:cubicBezTo>
                <a:cubicBezTo>
                  <a:pt x="8352126" y="749680"/>
                  <a:pt x="8376836" y="724970"/>
                  <a:pt x="8407318" y="724970"/>
                </a:cubicBezTo>
                <a:close/>
                <a:moveTo>
                  <a:pt x="8273682" y="724970"/>
                </a:moveTo>
                <a:cubicBezTo>
                  <a:pt x="8304164" y="724970"/>
                  <a:pt x="8328874" y="749680"/>
                  <a:pt x="8328874" y="780161"/>
                </a:cubicBezTo>
                <a:cubicBezTo>
                  <a:pt x="8328874" y="810642"/>
                  <a:pt x="8304164" y="835352"/>
                  <a:pt x="8273682" y="835352"/>
                </a:cubicBezTo>
                <a:cubicBezTo>
                  <a:pt x="8243200" y="835352"/>
                  <a:pt x="8218490" y="810642"/>
                  <a:pt x="8218490" y="780161"/>
                </a:cubicBezTo>
                <a:cubicBezTo>
                  <a:pt x="8218490" y="749680"/>
                  <a:pt x="8243200" y="724970"/>
                  <a:pt x="8273682" y="724970"/>
                </a:cubicBezTo>
                <a:close/>
                <a:moveTo>
                  <a:pt x="8143386" y="724970"/>
                </a:moveTo>
                <a:cubicBezTo>
                  <a:pt x="8173868" y="724970"/>
                  <a:pt x="8198578" y="749680"/>
                  <a:pt x="8198578" y="780161"/>
                </a:cubicBezTo>
                <a:cubicBezTo>
                  <a:pt x="8198578" y="810642"/>
                  <a:pt x="8173868" y="835352"/>
                  <a:pt x="8143386" y="835352"/>
                </a:cubicBezTo>
                <a:cubicBezTo>
                  <a:pt x="8112904" y="835352"/>
                  <a:pt x="8088194" y="810642"/>
                  <a:pt x="8088194" y="780161"/>
                </a:cubicBezTo>
                <a:cubicBezTo>
                  <a:pt x="8088194" y="749680"/>
                  <a:pt x="8112904" y="724970"/>
                  <a:pt x="8143386" y="724970"/>
                </a:cubicBezTo>
                <a:close/>
                <a:moveTo>
                  <a:pt x="8009753" y="724970"/>
                </a:moveTo>
                <a:cubicBezTo>
                  <a:pt x="8040235" y="724970"/>
                  <a:pt x="8064945" y="749680"/>
                  <a:pt x="8064945" y="780161"/>
                </a:cubicBezTo>
                <a:cubicBezTo>
                  <a:pt x="8064945" y="810642"/>
                  <a:pt x="8040235" y="835352"/>
                  <a:pt x="8009753" y="835352"/>
                </a:cubicBezTo>
                <a:cubicBezTo>
                  <a:pt x="7979271" y="835352"/>
                  <a:pt x="7954561" y="810642"/>
                  <a:pt x="7954561" y="780161"/>
                </a:cubicBezTo>
                <a:cubicBezTo>
                  <a:pt x="7954561" y="749680"/>
                  <a:pt x="7979271" y="724970"/>
                  <a:pt x="8009753" y="724970"/>
                </a:cubicBezTo>
                <a:close/>
                <a:moveTo>
                  <a:pt x="7876118" y="724970"/>
                </a:moveTo>
                <a:cubicBezTo>
                  <a:pt x="7906600" y="724970"/>
                  <a:pt x="7931310" y="749680"/>
                  <a:pt x="7931310" y="780161"/>
                </a:cubicBezTo>
                <a:cubicBezTo>
                  <a:pt x="7931310" y="810642"/>
                  <a:pt x="7906600" y="835352"/>
                  <a:pt x="7876118" y="835352"/>
                </a:cubicBezTo>
                <a:cubicBezTo>
                  <a:pt x="7845636" y="835352"/>
                  <a:pt x="7820926" y="810642"/>
                  <a:pt x="7820926" y="780161"/>
                </a:cubicBezTo>
                <a:cubicBezTo>
                  <a:pt x="7820926" y="749680"/>
                  <a:pt x="7845636" y="724970"/>
                  <a:pt x="7876118" y="724970"/>
                </a:cubicBezTo>
                <a:close/>
                <a:moveTo>
                  <a:pt x="7745824" y="724970"/>
                </a:moveTo>
                <a:cubicBezTo>
                  <a:pt x="7776306" y="724970"/>
                  <a:pt x="7801016" y="749680"/>
                  <a:pt x="7801016" y="780161"/>
                </a:cubicBezTo>
                <a:cubicBezTo>
                  <a:pt x="7801016" y="810642"/>
                  <a:pt x="7776306" y="835352"/>
                  <a:pt x="7745824" y="835352"/>
                </a:cubicBezTo>
                <a:cubicBezTo>
                  <a:pt x="7715342" y="835352"/>
                  <a:pt x="7690632" y="810642"/>
                  <a:pt x="7690632" y="780161"/>
                </a:cubicBezTo>
                <a:cubicBezTo>
                  <a:pt x="7690632" y="749680"/>
                  <a:pt x="7715342" y="724970"/>
                  <a:pt x="7745824" y="724970"/>
                </a:cubicBezTo>
                <a:close/>
                <a:moveTo>
                  <a:pt x="7608850" y="724970"/>
                </a:moveTo>
                <a:cubicBezTo>
                  <a:pt x="7639332" y="724970"/>
                  <a:pt x="7664042" y="749680"/>
                  <a:pt x="7664042" y="780161"/>
                </a:cubicBezTo>
                <a:cubicBezTo>
                  <a:pt x="7664042" y="810642"/>
                  <a:pt x="7639332" y="835352"/>
                  <a:pt x="7608850" y="835352"/>
                </a:cubicBezTo>
                <a:cubicBezTo>
                  <a:pt x="7578368" y="835352"/>
                  <a:pt x="7553658" y="810642"/>
                  <a:pt x="7553658" y="780161"/>
                </a:cubicBezTo>
                <a:cubicBezTo>
                  <a:pt x="7553658" y="749680"/>
                  <a:pt x="7578368" y="724970"/>
                  <a:pt x="7608850" y="724970"/>
                </a:cubicBezTo>
                <a:close/>
                <a:moveTo>
                  <a:pt x="7481895" y="724970"/>
                </a:moveTo>
                <a:cubicBezTo>
                  <a:pt x="7512377" y="724970"/>
                  <a:pt x="7537087" y="749680"/>
                  <a:pt x="7537087" y="780161"/>
                </a:cubicBezTo>
                <a:cubicBezTo>
                  <a:pt x="7537087" y="810642"/>
                  <a:pt x="7512377" y="835352"/>
                  <a:pt x="7481895" y="835352"/>
                </a:cubicBezTo>
                <a:cubicBezTo>
                  <a:pt x="7451413" y="835352"/>
                  <a:pt x="7426703" y="810642"/>
                  <a:pt x="7426703" y="780161"/>
                </a:cubicBezTo>
                <a:cubicBezTo>
                  <a:pt x="7426703" y="749680"/>
                  <a:pt x="7451413" y="724970"/>
                  <a:pt x="7481895" y="724970"/>
                </a:cubicBezTo>
                <a:close/>
                <a:moveTo>
                  <a:pt x="7341579" y="724970"/>
                </a:moveTo>
                <a:cubicBezTo>
                  <a:pt x="7372061" y="724970"/>
                  <a:pt x="7396771" y="749680"/>
                  <a:pt x="7396771" y="780161"/>
                </a:cubicBezTo>
                <a:cubicBezTo>
                  <a:pt x="7396771" y="810642"/>
                  <a:pt x="7372061" y="835352"/>
                  <a:pt x="7341579" y="835352"/>
                </a:cubicBezTo>
                <a:cubicBezTo>
                  <a:pt x="7311097" y="835352"/>
                  <a:pt x="7286387" y="810642"/>
                  <a:pt x="7286387" y="780161"/>
                </a:cubicBezTo>
                <a:cubicBezTo>
                  <a:pt x="7286387" y="749680"/>
                  <a:pt x="7311097" y="724970"/>
                  <a:pt x="7341579" y="724970"/>
                </a:cubicBezTo>
                <a:close/>
                <a:moveTo>
                  <a:pt x="7211286" y="724970"/>
                </a:moveTo>
                <a:cubicBezTo>
                  <a:pt x="7241768" y="724970"/>
                  <a:pt x="7266478" y="749680"/>
                  <a:pt x="7266478" y="780161"/>
                </a:cubicBezTo>
                <a:cubicBezTo>
                  <a:pt x="7266478" y="810642"/>
                  <a:pt x="7241768" y="835352"/>
                  <a:pt x="7211286" y="835352"/>
                </a:cubicBezTo>
                <a:cubicBezTo>
                  <a:pt x="7180804" y="835352"/>
                  <a:pt x="7156094" y="810642"/>
                  <a:pt x="7156094" y="780161"/>
                </a:cubicBezTo>
                <a:cubicBezTo>
                  <a:pt x="7156094" y="749680"/>
                  <a:pt x="7180804" y="724970"/>
                  <a:pt x="7211286" y="724970"/>
                </a:cubicBezTo>
                <a:close/>
                <a:moveTo>
                  <a:pt x="7080994" y="724970"/>
                </a:moveTo>
                <a:cubicBezTo>
                  <a:pt x="7111476" y="724970"/>
                  <a:pt x="7136186" y="749680"/>
                  <a:pt x="7136186" y="780161"/>
                </a:cubicBezTo>
                <a:cubicBezTo>
                  <a:pt x="7136186" y="810642"/>
                  <a:pt x="7111476" y="835352"/>
                  <a:pt x="7080994" y="835352"/>
                </a:cubicBezTo>
                <a:cubicBezTo>
                  <a:pt x="7050512" y="835352"/>
                  <a:pt x="7025802" y="810642"/>
                  <a:pt x="7025802" y="780161"/>
                </a:cubicBezTo>
                <a:cubicBezTo>
                  <a:pt x="7025802" y="749680"/>
                  <a:pt x="7050512" y="724970"/>
                  <a:pt x="7080994" y="724970"/>
                </a:cubicBezTo>
                <a:close/>
                <a:moveTo>
                  <a:pt x="6947358" y="724970"/>
                </a:moveTo>
                <a:cubicBezTo>
                  <a:pt x="6977840" y="724970"/>
                  <a:pt x="7002550" y="749680"/>
                  <a:pt x="7002550" y="780161"/>
                </a:cubicBezTo>
                <a:cubicBezTo>
                  <a:pt x="7002550" y="810642"/>
                  <a:pt x="6977840" y="835352"/>
                  <a:pt x="6947358" y="835352"/>
                </a:cubicBezTo>
                <a:cubicBezTo>
                  <a:pt x="6916876" y="835352"/>
                  <a:pt x="6892166" y="810642"/>
                  <a:pt x="6892166" y="780161"/>
                </a:cubicBezTo>
                <a:cubicBezTo>
                  <a:pt x="6892166" y="749680"/>
                  <a:pt x="6916876" y="724970"/>
                  <a:pt x="6947358" y="724970"/>
                </a:cubicBezTo>
                <a:close/>
                <a:moveTo>
                  <a:pt x="6817064" y="724970"/>
                </a:moveTo>
                <a:cubicBezTo>
                  <a:pt x="6847546" y="724970"/>
                  <a:pt x="6872256" y="749680"/>
                  <a:pt x="6872256" y="780161"/>
                </a:cubicBezTo>
                <a:cubicBezTo>
                  <a:pt x="6872256" y="810642"/>
                  <a:pt x="6847546" y="835352"/>
                  <a:pt x="6817064" y="835352"/>
                </a:cubicBezTo>
                <a:cubicBezTo>
                  <a:pt x="6786582" y="835352"/>
                  <a:pt x="6761872" y="810642"/>
                  <a:pt x="6761872" y="780161"/>
                </a:cubicBezTo>
                <a:cubicBezTo>
                  <a:pt x="6761872" y="749680"/>
                  <a:pt x="6786582" y="724970"/>
                  <a:pt x="6817064" y="724970"/>
                </a:cubicBezTo>
                <a:close/>
                <a:moveTo>
                  <a:pt x="6683431" y="724970"/>
                </a:moveTo>
                <a:cubicBezTo>
                  <a:pt x="6713913" y="724970"/>
                  <a:pt x="6738623" y="749680"/>
                  <a:pt x="6738623" y="780161"/>
                </a:cubicBezTo>
                <a:cubicBezTo>
                  <a:pt x="6738623" y="810642"/>
                  <a:pt x="6713913" y="835352"/>
                  <a:pt x="6683431" y="835352"/>
                </a:cubicBezTo>
                <a:cubicBezTo>
                  <a:pt x="6652949" y="835352"/>
                  <a:pt x="6628239" y="810642"/>
                  <a:pt x="6628239" y="780161"/>
                </a:cubicBezTo>
                <a:cubicBezTo>
                  <a:pt x="6628239" y="749680"/>
                  <a:pt x="6652949" y="724970"/>
                  <a:pt x="6683431" y="724970"/>
                </a:cubicBezTo>
                <a:close/>
                <a:moveTo>
                  <a:pt x="6553137" y="724970"/>
                </a:moveTo>
                <a:cubicBezTo>
                  <a:pt x="6583619" y="724970"/>
                  <a:pt x="6608329" y="749680"/>
                  <a:pt x="6608329" y="780161"/>
                </a:cubicBezTo>
                <a:cubicBezTo>
                  <a:pt x="6608329" y="810642"/>
                  <a:pt x="6583619" y="835352"/>
                  <a:pt x="6553137" y="835352"/>
                </a:cubicBezTo>
                <a:cubicBezTo>
                  <a:pt x="6522655" y="835352"/>
                  <a:pt x="6497945" y="810642"/>
                  <a:pt x="6497945" y="780161"/>
                </a:cubicBezTo>
                <a:cubicBezTo>
                  <a:pt x="6497945" y="749680"/>
                  <a:pt x="6522655" y="724970"/>
                  <a:pt x="6553137" y="724970"/>
                </a:cubicBezTo>
                <a:close/>
                <a:moveTo>
                  <a:pt x="6419503" y="724970"/>
                </a:moveTo>
                <a:cubicBezTo>
                  <a:pt x="6449985" y="724970"/>
                  <a:pt x="6474695" y="749680"/>
                  <a:pt x="6474695" y="780161"/>
                </a:cubicBezTo>
                <a:cubicBezTo>
                  <a:pt x="6474695" y="810642"/>
                  <a:pt x="6449985" y="835352"/>
                  <a:pt x="6419503" y="835352"/>
                </a:cubicBezTo>
                <a:cubicBezTo>
                  <a:pt x="6389021" y="835352"/>
                  <a:pt x="6364311" y="810642"/>
                  <a:pt x="6364311" y="780161"/>
                </a:cubicBezTo>
                <a:cubicBezTo>
                  <a:pt x="6364311" y="749680"/>
                  <a:pt x="6389021" y="724970"/>
                  <a:pt x="6419503" y="724970"/>
                </a:cubicBezTo>
                <a:close/>
                <a:moveTo>
                  <a:pt x="6289207" y="724970"/>
                </a:moveTo>
                <a:cubicBezTo>
                  <a:pt x="6319689" y="724970"/>
                  <a:pt x="6344399" y="749680"/>
                  <a:pt x="6344399" y="780161"/>
                </a:cubicBezTo>
                <a:cubicBezTo>
                  <a:pt x="6344399" y="810642"/>
                  <a:pt x="6319689" y="835352"/>
                  <a:pt x="6289207" y="835352"/>
                </a:cubicBezTo>
                <a:cubicBezTo>
                  <a:pt x="6258725" y="835352"/>
                  <a:pt x="6234015" y="810642"/>
                  <a:pt x="6234015" y="780161"/>
                </a:cubicBezTo>
                <a:cubicBezTo>
                  <a:pt x="6234015" y="749680"/>
                  <a:pt x="6258725" y="724970"/>
                  <a:pt x="6289207" y="724970"/>
                </a:cubicBezTo>
                <a:close/>
                <a:moveTo>
                  <a:pt x="6155573" y="724970"/>
                </a:moveTo>
                <a:cubicBezTo>
                  <a:pt x="6186055" y="724970"/>
                  <a:pt x="6210765" y="749680"/>
                  <a:pt x="6210765" y="780161"/>
                </a:cubicBezTo>
                <a:cubicBezTo>
                  <a:pt x="6210765" y="810642"/>
                  <a:pt x="6186055" y="835352"/>
                  <a:pt x="6155573" y="835352"/>
                </a:cubicBezTo>
                <a:cubicBezTo>
                  <a:pt x="6125091" y="835352"/>
                  <a:pt x="6100381" y="810642"/>
                  <a:pt x="6100381" y="780161"/>
                </a:cubicBezTo>
                <a:cubicBezTo>
                  <a:pt x="6100381" y="749680"/>
                  <a:pt x="6125091" y="724970"/>
                  <a:pt x="6155573" y="724970"/>
                </a:cubicBezTo>
                <a:close/>
                <a:moveTo>
                  <a:pt x="5621035" y="724970"/>
                </a:moveTo>
                <a:cubicBezTo>
                  <a:pt x="5651517" y="724970"/>
                  <a:pt x="5676227" y="749680"/>
                  <a:pt x="5676227" y="780161"/>
                </a:cubicBezTo>
                <a:cubicBezTo>
                  <a:pt x="5676227" y="810642"/>
                  <a:pt x="5651517" y="835352"/>
                  <a:pt x="5621035" y="835352"/>
                </a:cubicBezTo>
                <a:cubicBezTo>
                  <a:pt x="5590553" y="835352"/>
                  <a:pt x="5565843" y="810642"/>
                  <a:pt x="5565843" y="780161"/>
                </a:cubicBezTo>
                <a:cubicBezTo>
                  <a:pt x="5565843" y="749680"/>
                  <a:pt x="5590553" y="724970"/>
                  <a:pt x="5621035" y="724970"/>
                </a:cubicBezTo>
                <a:close/>
                <a:moveTo>
                  <a:pt x="5487399" y="724970"/>
                </a:moveTo>
                <a:cubicBezTo>
                  <a:pt x="5517881" y="724970"/>
                  <a:pt x="5542591" y="749680"/>
                  <a:pt x="5542591" y="780161"/>
                </a:cubicBezTo>
                <a:cubicBezTo>
                  <a:pt x="5542591" y="810642"/>
                  <a:pt x="5517881" y="835352"/>
                  <a:pt x="5487399" y="835352"/>
                </a:cubicBezTo>
                <a:cubicBezTo>
                  <a:pt x="5456917" y="835352"/>
                  <a:pt x="5432207" y="810642"/>
                  <a:pt x="5432207" y="780161"/>
                </a:cubicBezTo>
                <a:cubicBezTo>
                  <a:pt x="5432207" y="749680"/>
                  <a:pt x="5456917" y="724970"/>
                  <a:pt x="5487399" y="724970"/>
                </a:cubicBezTo>
                <a:close/>
                <a:moveTo>
                  <a:pt x="5357106" y="724970"/>
                </a:moveTo>
                <a:cubicBezTo>
                  <a:pt x="5387588" y="724970"/>
                  <a:pt x="5412298" y="749680"/>
                  <a:pt x="5412298" y="780161"/>
                </a:cubicBezTo>
                <a:cubicBezTo>
                  <a:pt x="5412298" y="810642"/>
                  <a:pt x="5387588" y="835352"/>
                  <a:pt x="5357106" y="835352"/>
                </a:cubicBezTo>
                <a:cubicBezTo>
                  <a:pt x="5326624" y="835352"/>
                  <a:pt x="5301914" y="810642"/>
                  <a:pt x="5301914" y="780161"/>
                </a:cubicBezTo>
                <a:cubicBezTo>
                  <a:pt x="5301914" y="749680"/>
                  <a:pt x="5326624" y="724970"/>
                  <a:pt x="5357106" y="724970"/>
                </a:cubicBezTo>
                <a:close/>
                <a:moveTo>
                  <a:pt x="5223473" y="724970"/>
                </a:moveTo>
                <a:cubicBezTo>
                  <a:pt x="5253955" y="724970"/>
                  <a:pt x="5278665" y="749680"/>
                  <a:pt x="5278665" y="780161"/>
                </a:cubicBezTo>
                <a:cubicBezTo>
                  <a:pt x="5278665" y="810642"/>
                  <a:pt x="5253955" y="835352"/>
                  <a:pt x="5223473" y="835352"/>
                </a:cubicBezTo>
                <a:cubicBezTo>
                  <a:pt x="5192991" y="835352"/>
                  <a:pt x="5168281" y="810642"/>
                  <a:pt x="5168281" y="780161"/>
                </a:cubicBezTo>
                <a:cubicBezTo>
                  <a:pt x="5168281" y="749680"/>
                  <a:pt x="5192991" y="724970"/>
                  <a:pt x="5223473" y="724970"/>
                </a:cubicBezTo>
                <a:close/>
                <a:moveTo>
                  <a:pt x="5093178" y="724970"/>
                </a:moveTo>
                <a:cubicBezTo>
                  <a:pt x="5123660" y="724970"/>
                  <a:pt x="5148370" y="749680"/>
                  <a:pt x="5148370" y="780161"/>
                </a:cubicBezTo>
                <a:cubicBezTo>
                  <a:pt x="5148370" y="810642"/>
                  <a:pt x="5123660" y="835352"/>
                  <a:pt x="5093178" y="835352"/>
                </a:cubicBezTo>
                <a:cubicBezTo>
                  <a:pt x="5062696" y="835352"/>
                  <a:pt x="5037986" y="810642"/>
                  <a:pt x="5037986" y="780161"/>
                </a:cubicBezTo>
                <a:cubicBezTo>
                  <a:pt x="5037986" y="749680"/>
                  <a:pt x="5062696" y="724970"/>
                  <a:pt x="5093178" y="724970"/>
                </a:cubicBezTo>
                <a:close/>
                <a:moveTo>
                  <a:pt x="3897148" y="724970"/>
                </a:moveTo>
                <a:cubicBezTo>
                  <a:pt x="3927630" y="724970"/>
                  <a:pt x="3952340" y="749680"/>
                  <a:pt x="3952340" y="780161"/>
                </a:cubicBezTo>
                <a:cubicBezTo>
                  <a:pt x="3952340" y="810642"/>
                  <a:pt x="3927630" y="835352"/>
                  <a:pt x="3897148" y="835352"/>
                </a:cubicBezTo>
                <a:cubicBezTo>
                  <a:pt x="3866666" y="835352"/>
                  <a:pt x="3841956" y="810642"/>
                  <a:pt x="3841956" y="780161"/>
                </a:cubicBezTo>
                <a:cubicBezTo>
                  <a:pt x="3841956" y="749680"/>
                  <a:pt x="3866666" y="724970"/>
                  <a:pt x="3897148" y="724970"/>
                </a:cubicBezTo>
                <a:close/>
                <a:moveTo>
                  <a:pt x="3763514" y="724970"/>
                </a:moveTo>
                <a:cubicBezTo>
                  <a:pt x="3793996" y="724970"/>
                  <a:pt x="3818706" y="749680"/>
                  <a:pt x="3818706" y="780161"/>
                </a:cubicBezTo>
                <a:cubicBezTo>
                  <a:pt x="3818706" y="810642"/>
                  <a:pt x="3793996" y="835352"/>
                  <a:pt x="3763514" y="835352"/>
                </a:cubicBezTo>
                <a:cubicBezTo>
                  <a:pt x="3733032" y="835352"/>
                  <a:pt x="3708322" y="810642"/>
                  <a:pt x="3708322" y="780161"/>
                </a:cubicBezTo>
                <a:cubicBezTo>
                  <a:pt x="3708322" y="749680"/>
                  <a:pt x="3733032" y="724970"/>
                  <a:pt x="3763514" y="724970"/>
                </a:cubicBezTo>
                <a:close/>
                <a:moveTo>
                  <a:pt x="3633221" y="724970"/>
                </a:moveTo>
                <a:cubicBezTo>
                  <a:pt x="3663703" y="724970"/>
                  <a:pt x="3688413" y="749680"/>
                  <a:pt x="3688413" y="780161"/>
                </a:cubicBezTo>
                <a:cubicBezTo>
                  <a:pt x="3688413" y="810642"/>
                  <a:pt x="3663703" y="835352"/>
                  <a:pt x="3633221" y="835352"/>
                </a:cubicBezTo>
                <a:cubicBezTo>
                  <a:pt x="3602739" y="835352"/>
                  <a:pt x="3578029" y="810642"/>
                  <a:pt x="3578029" y="780161"/>
                </a:cubicBezTo>
                <a:cubicBezTo>
                  <a:pt x="3578029" y="749680"/>
                  <a:pt x="3602739" y="724970"/>
                  <a:pt x="3633221" y="724970"/>
                </a:cubicBezTo>
                <a:close/>
                <a:moveTo>
                  <a:pt x="3499586" y="724970"/>
                </a:moveTo>
                <a:cubicBezTo>
                  <a:pt x="3530068" y="724970"/>
                  <a:pt x="3554778" y="749680"/>
                  <a:pt x="3554778" y="780161"/>
                </a:cubicBezTo>
                <a:cubicBezTo>
                  <a:pt x="3554778" y="810642"/>
                  <a:pt x="3530068" y="835352"/>
                  <a:pt x="3499586" y="835352"/>
                </a:cubicBezTo>
                <a:cubicBezTo>
                  <a:pt x="3469104" y="835352"/>
                  <a:pt x="3444394" y="810642"/>
                  <a:pt x="3444394" y="780161"/>
                </a:cubicBezTo>
                <a:cubicBezTo>
                  <a:pt x="3444394" y="749680"/>
                  <a:pt x="3469104" y="724970"/>
                  <a:pt x="3499586" y="724970"/>
                </a:cubicBezTo>
                <a:close/>
                <a:moveTo>
                  <a:pt x="3369292" y="724970"/>
                </a:moveTo>
                <a:cubicBezTo>
                  <a:pt x="3399774" y="724970"/>
                  <a:pt x="3424484" y="749680"/>
                  <a:pt x="3424484" y="780161"/>
                </a:cubicBezTo>
                <a:cubicBezTo>
                  <a:pt x="3424484" y="810642"/>
                  <a:pt x="3399774" y="835352"/>
                  <a:pt x="3369292" y="835352"/>
                </a:cubicBezTo>
                <a:cubicBezTo>
                  <a:pt x="3338810" y="835352"/>
                  <a:pt x="3314100" y="810642"/>
                  <a:pt x="3314100" y="780161"/>
                </a:cubicBezTo>
                <a:cubicBezTo>
                  <a:pt x="3314100" y="749680"/>
                  <a:pt x="3338810" y="724970"/>
                  <a:pt x="3369292" y="724970"/>
                </a:cubicBezTo>
                <a:close/>
                <a:moveTo>
                  <a:pt x="2834856" y="724970"/>
                </a:moveTo>
                <a:cubicBezTo>
                  <a:pt x="2865340" y="724970"/>
                  <a:pt x="2890049" y="749680"/>
                  <a:pt x="2890049" y="780161"/>
                </a:cubicBezTo>
                <a:cubicBezTo>
                  <a:pt x="2890049" y="810642"/>
                  <a:pt x="2865340" y="835352"/>
                  <a:pt x="2834856" y="835352"/>
                </a:cubicBezTo>
                <a:cubicBezTo>
                  <a:pt x="2804376" y="835352"/>
                  <a:pt x="2779665" y="810642"/>
                  <a:pt x="2779665" y="780161"/>
                </a:cubicBezTo>
                <a:cubicBezTo>
                  <a:pt x="2779665" y="749680"/>
                  <a:pt x="2804376" y="724970"/>
                  <a:pt x="2834856" y="724970"/>
                </a:cubicBezTo>
                <a:close/>
                <a:moveTo>
                  <a:pt x="2707901" y="724970"/>
                </a:moveTo>
                <a:cubicBezTo>
                  <a:pt x="2738385" y="724970"/>
                  <a:pt x="2763094" y="749680"/>
                  <a:pt x="2763094" y="780161"/>
                </a:cubicBezTo>
                <a:cubicBezTo>
                  <a:pt x="2763094" y="810642"/>
                  <a:pt x="2738385" y="835352"/>
                  <a:pt x="2707901" y="835352"/>
                </a:cubicBezTo>
                <a:cubicBezTo>
                  <a:pt x="2677420" y="835352"/>
                  <a:pt x="2652711" y="810642"/>
                  <a:pt x="2652711" y="780161"/>
                </a:cubicBezTo>
                <a:cubicBezTo>
                  <a:pt x="2652711" y="749680"/>
                  <a:pt x="2677420" y="724970"/>
                  <a:pt x="2707901" y="724970"/>
                </a:cubicBezTo>
                <a:close/>
                <a:moveTo>
                  <a:pt x="2570929" y="724970"/>
                </a:moveTo>
                <a:cubicBezTo>
                  <a:pt x="2601412" y="724970"/>
                  <a:pt x="2626122" y="749680"/>
                  <a:pt x="2626122" y="780161"/>
                </a:cubicBezTo>
                <a:cubicBezTo>
                  <a:pt x="2626122" y="810642"/>
                  <a:pt x="2601412" y="835352"/>
                  <a:pt x="2570929" y="835352"/>
                </a:cubicBezTo>
                <a:cubicBezTo>
                  <a:pt x="2540446" y="835352"/>
                  <a:pt x="2515735" y="810642"/>
                  <a:pt x="2515735" y="780161"/>
                </a:cubicBezTo>
                <a:cubicBezTo>
                  <a:pt x="2515735" y="749680"/>
                  <a:pt x="2540446" y="724970"/>
                  <a:pt x="2570929" y="724970"/>
                </a:cubicBezTo>
                <a:close/>
                <a:moveTo>
                  <a:pt x="2437294" y="724970"/>
                </a:moveTo>
                <a:cubicBezTo>
                  <a:pt x="2467777" y="724970"/>
                  <a:pt x="2492487" y="749680"/>
                  <a:pt x="2492487" y="780161"/>
                </a:cubicBezTo>
                <a:cubicBezTo>
                  <a:pt x="2492487" y="810642"/>
                  <a:pt x="2467777" y="835352"/>
                  <a:pt x="2437294" y="835352"/>
                </a:cubicBezTo>
                <a:cubicBezTo>
                  <a:pt x="2406815" y="835352"/>
                  <a:pt x="2382104" y="810642"/>
                  <a:pt x="2382104" y="780161"/>
                </a:cubicBezTo>
                <a:cubicBezTo>
                  <a:pt x="2382104" y="749680"/>
                  <a:pt x="2406815" y="724970"/>
                  <a:pt x="2437294" y="724970"/>
                </a:cubicBezTo>
                <a:close/>
                <a:moveTo>
                  <a:pt x="2303662" y="724970"/>
                </a:moveTo>
                <a:cubicBezTo>
                  <a:pt x="2334145" y="724970"/>
                  <a:pt x="2358853" y="749680"/>
                  <a:pt x="2358853" y="780161"/>
                </a:cubicBezTo>
                <a:cubicBezTo>
                  <a:pt x="2358853" y="810642"/>
                  <a:pt x="2334145" y="835352"/>
                  <a:pt x="2303662" y="835352"/>
                </a:cubicBezTo>
                <a:cubicBezTo>
                  <a:pt x="2273180" y="835352"/>
                  <a:pt x="2248471" y="810642"/>
                  <a:pt x="2248471" y="780161"/>
                </a:cubicBezTo>
                <a:cubicBezTo>
                  <a:pt x="2248471" y="749680"/>
                  <a:pt x="2273180" y="724970"/>
                  <a:pt x="2303662" y="724970"/>
                </a:cubicBezTo>
                <a:close/>
                <a:moveTo>
                  <a:pt x="2173371" y="724970"/>
                </a:moveTo>
                <a:cubicBezTo>
                  <a:pt x="2203851" y="724970"/>
                  <a:pt x="2228562" y="749680"/>
                  <a:pt x="2228562" y="780161"/>
                </a:cubicBezTo>
                <a:cubicBezTo>
                  <a:pt x="2228562" y="810642"/>
                  <a:pt x="2203851" y="835352"/>
                  <a:pt x="2173371" y="835352"/>
                </a:cubicBezTo>
                <a:cubicBezTo>
                  <a:pt x="2142888" y="835352"/>
                  <a:pt x="2118177" y="810642"/>
                  <a:pt x="2118177" y="780161"/>
                </a:cubicBezTo>
                <a:cubicBezTo>
                  <a:pt x="2118177" y="749680"/>
                  <a:pt x="2142888" y="724970"/>
                  <a:pt x="2173371" y="724970"/>
                </a:cubicBezTo>
                <a:close/>
                <a:moveTo>
                  <a:pt x="2039733" y="724970"/>
                </a:moveTo>
                <a:cubicBezTo>
                  <a:pt x="2070216" y="724970"/>
                  <a:pt x="2094927" y="749680"/>
                  <a:pt x="2094927" y="780161"/>
                </a:cubicBezTo>
                <a:cubicBezTo>
                  <a:pt x="2094927" y="810642"/>
                  <a:pt x="2070216" y="835352"/>
                  <a:pt x="2039733" y="835352"/>
                </a:cubicBezTo>
                <a:cubicBezTo>
                  <a:pt x="2009252" y="835352"/>
                  <a:pt x="1984539" y="810642"/>
                  <a:pt x="1984539" y="780161"/>
                </a:cubicBezTo>
                <a:cubicBezTo>
                  <a:pt x="1984539" y="749680"/>
                  <a:pt x="2009252" y="724970"/>
                  <a:pt x="2039733" y="724970"/>
                </a:cubicBezTo>
                <a:close/>
                <a:moveTo>
                  <a:pt x="1909436" y="724970"/>
                </a:moveTo>
                <a:cubicBezTo>
                  <a:pt x="1939919" y="724970"/>
                  <a:pt x="1964630" y="749680"/>
                  <a:pt x="1964630" y="780161"/>
                </a:cubicBezTo>
                <a:cubicBezTo>
                  <a:pt x="1964630" y="810642"/>
                  <a:pt x="1939919" y="835352"/>
                  <a:pt x="1909436" y="835352"/>
                </a:cubicBezTo>
                <a:cubicBezTo>
                  <a:pt x="1878955" y="835352"/>
                  <a:pt x="1854243" y="810642"/>
                  <a:pt x="1854243" y="780161"/>
                </a:cubicBezTo>
                <a:cubicBezTo>
                  <a:pt x="1854243" y="749680"/>
                  <a:pt x="1878955" y="724970"/>
                  <a:pt x="1909436" y="724970"/>
                </a:cubicBezTo>
                <a:close/>
                <a:moveTo>
                  <a:pt x="1779142" y="724970"/>
                </a:moveTo>
                <a:cubicBezTo>
                  <a:pt x="1809623" y="724970"/>
                  <a:pt x="1834335" y="749680"/>
                  <a:pt x="1834335" y="780161"/>
                </a:cubicBezTo>
                <a:cubicBezTo>
                  <a:pt x="1834335" y="810642"/>
                  <a:pt x="1809623" y="835352"/>
                  <a:pt x="1779142" y="835352"/>
                </a:cubicBezTo>
                <a:cubicBezTo>
                  <a:pt x="1748660" y="835352"/>
                  <a:pt x="1723947" y="810642"/>
                  <a:pt x="1723947" y="780161"/>
                </a:cubicBezTo>
                <a:cubicBezTo>
                  <a:pt x="1723947" y="749680"/>
                  <a:pt x="1748660" y="724970"/>
                  <a:pt x="1779142" y="724970"/>
                </a:cubicBezTo>
                <a:close/>
                <a:moveTo>
                  <a:pt x="1645501" y="724970"/>
                </a:moveTo>
                <a:cubicBezTo>
                  <a:pt x="1675988" y="724970"/>
                  <a:pt x="1700699" y="749680"/>
                  <a:pt x="1700699" y="780161"/>
                </a:cubicBezTo>
                <a:cubicBezTo>
                  <a:pt x="1700699" y="810642"/>
                  <a:pt x="1675988" y="835352"/>
                  <a:pt x="1645501" y="835352"/>
                </a:cubicBezTo>
                <a:cubicBezTo>
                  <a:pt x="1615024" y="835352"/>
                  <a:pt x="1590310" y="810642"/>
                  <a:pt x="1590310" y="780161"/>
                </a:cubicBezTo>
                <a:cubicBezTo>
                  <a:pt x="1590310" y="749680"/>
                  <a:pt x="1615024" y="724970"/>
                  <a:pt x="1645501" y="724970"/>
                </a:cubicBezTo>
                <a:close/>
                <a:moveTo>
                  <a:pt x="1515213" y="724970"/>
                </a:moveTo>
                <a:cubicBezTo>
                  <a:pt x="1545692" y="724970"/>
                  <a:pt x="1570399" y="749680"/>
                  <a:pt x="1570399" y="780161"/>
                </a:cubicBezTo>
                <a:cubicBezTo>
                  <a:pt x="1570399" y="810642"/>
                  <a:pt x="1545692" y="835352"/>
                  <a:pt x="1515213" y="835352"/>
                </a:cubicBezTo>
                <a:cubicBezTo>
                  <a:pt x="1484730" y="835352"/>
                  <a:pt x="1460016" y="810642"/>
                  <a:pt x="1460016" y="780161"/>
                </a:cubicBezTo>
                <a:cubicBezTo>
                  <a:pt x="1460016" y="749680"/>
                  <a:pt x="1484730" y="724970"/>
                  <a:pt x="1515213" y="724970"/>
                </a:cubicBezTo>
                <a:close/>
                <a:moveTo>
                  <a:pt x="1381573" y="724970"/>
                </a:moveTo>
                <a:cubicBezTo>
                  <a:pt x="1412052" y="724970"/>
                  <a:pt x="1436767" y="749680"/>
                  <a:pt x="1436767" y="780161"/>
                </a:cubicBezTo>
                <a:cubicBezTo>
                  <a:pt x="1436767" y="810642"/>
                  <a:pt x="1412052" y="835352"/>
                  <a:pt x="1381573" y="835352"/>
                </a:cubicBezTo>
                <a:cubicBezTo>
                  <a:pt x="1351096" y="835352"/>
                  <a:pt x="1326381" y="810642"/>
                  <a:pt x="1326381" y="780161"/>
                </a:cubicBezTo>
                <a:cubicBezTo>
                  <a:pt x="1326381" y="749680"/>
                  <a:pt x="1351096" y="724970"/>
                  <a:pt x="1381573" y="724970"/>
                </a:cubicBezTo>
                <a:close/>
                <a:moveTo>
                  <a:pt x="1251282" y="724970"/>
                </a:moveTo>
                <a:cubicBezTo>
                  <a:pt x="1281764" y="724970"/>
                  <a:pt x="1306475" y="749680"/>
                  <a:pt x="1306475" y="780161"/>
                </a:cubicBezTo>
                <a:cubicBezTo>
                  <a:pt x="1306475" y="810642"/>
                  <a:pt x="1281764" y="835352"/>
                  <a:pt x="1251282" y="835352"/>
                </a:cubicBezTo>
                <a:cubicBezTo>
                  <a:pt x="1220800" y="835352"/>
                  <a:pt x="1196089" y="810642"/>
                  <a:pt x="1196089" y="780161"/>
                </a:cubicBezTo>
                <a:cubicBezTo>
                  <a:pt x="1196089" y="749680"/>
                  <a:pt x="1220800" y="724970"/>
                  <a:pt x="1251282" y="724970"/>
                </a:cubicBezTo>
                <a:close/>
                <a:moveTo>
                  <a:pt x="1117642" y="724970"/>
                </a:moveTo>
                <a:cubicBezTo>
                  <a:pt x="1148126" y="724970"/>
                  <a:pt x="1172836" y="749680"/>
                  <a:pt x="1172836" y="780161"/>
                </a:cubicBezTo>
                <a:cubicBezTo>
                  <a:pt x="1172836" y="810642"/>
                  <a:pt x="1148126" y="835352"/>
                  <a:pt x="1117642" y="835352"/>
                </a:cubicBezTo>
                <a:cubicBezTo>
                  <a:pt x="1087161" y="835352"/>
                  <a:pt x="1062448" y="810642"/>
                  <a:pt x="1062448" y="780161"/>
                </a:cubicBezTo>
                <a:cubicBezTo>
                  <a:pt x="1062448" y="749680"/>
                  <a:pt x="1087161" y="724970"/>
                  <a:pt x="1117642" y="724970"/>
                </a:cubicBezTo>
                <a:close/>
                <a:moveTo>
                  <a:pt x="980664" y="724970"/>
                </a:moveTo>
                <a:cubicBezTo>
                  <a:pt x="1011146" y="724970"/>
                  <a:pt x="1035857" y="749680"/>
                  <a:pt x="1035857" y="780161"/>
                </a:cubicBezTo>
                <a:cubicBezTo>
                  <a:pt x="1035857" y="810642"/>
                  <a:pt x="1011146" y="835352"/>
                  <a:pt x="980664" y="835352"/>
                </a:cubicBezTo>
                <a:cubicBezTo>
                  <a:pt x="950180" y="835352"/>
                  <a:pt x="925471" y="810642"/>
                  <a:pt x="925471" y="780161"/>
                </a:cubicBezTo>
                <a:cubicBezTo>
                  <a:pt x="925471" y="749680"/>
                  <a:pt x="950180" y="724970"/>
                  <a:pt x="980664" y="724970"/>
                </a:cubicBezTo>
                <a:close/>
                <a:moveTo>
                  <a:pt x="847022" y="724970"/>
                </a:moveTo>
                <a:cubicBezTo>
                  <a:pt x="877506" y="724970"/>
                  <a:pt x="902217" y="749680"/>
                  <a:pt x="902217" y="780161"/>
                </a:cubicBezTo>
                <a:cubicBezTo>
                  <a:pt x="902217" y="810642"/>
                  <a:pt x="877506" y="835352"/>
                  <a:pt x="847022" y="835352"/>
                </a:cubicBezTo>
                <a:cubicBezTo>
                  <a:pt x="816540" y="835352"/>
                  <a:pt x="791823" y="810642"/>
                  <a:pt x="791823" y="780161"/>
                </a:cubicBezTo>
                <a:cubicBezTo>
                  <a:pt x="791823" y="749680"/>
                  <a:pt x="816540" y="724970"/>
                  <a:pt x="847022" y="724970"/>
                </a:cubicBezTo>
                <a:close/>
                <a:moveTo>
                  <a:pt x="716722" y="724970"/>
                </a:moveTo>
                <a:cubicBezTo>
                  <a:pt x="747204" y="724970"/>
                  <a:pt x="771916" y="749680"/>
                  <a:pt x="771916" y="780161"/>
                </a:cubicBezTo>
                <a:cubicBezTo>
                  <a:pt x="771916" y="810642"/>
                  <a:pt x="747204" y="835352"/>
                  <a:pt x="716722" y="835352"/>
                </a:cubicBezTo>
                <a:cubicBezTo>
                  <a:pt x="686240" y="835352"/>
                  <a:pt x="661530" y="810642"/>
                  <a:pt x="661530" y="780161"/>
                </a:cubicBezTo>
                <a:cubicBezTo>
                  <a:pt x="661530" y="749680"/>
                  <a:pt x="686240" y="724970"/>
                  <a:pt x="716722" y="724970"/>
                </a:cubicBezTo>
                <a:close/>
                <a:moveTo>
                  <a:pt x="583085" y="724970"/>
                </a:moveTo>
                <a:cubicBezTo>
                  <a:pt x="613567" y="724970"/>
                  <a:pt x="638278" y="749680"/>
                  <a:pt x="638278" y="780161"/>
                </a:cubicBezTo>
                <a:cubicBezTo>
                  <a:pt x="638278" y="810642"/>
                  <a:pt x="613567" y="835352"/>
                  <a:pt x="583085" y="835352"/>
                </a:cubicBezTo>
                <a:cubicBezTo>
                  <a:pt x="552602" y="835352"/>
                  <a:pt x="527891" y="810642"/>
                  <a:pt x="527891" y="780161"/>
                </a:cubicBezTo>
                <a:cubicBezTo>
                  <a:pt x="527891" y="749680"/>
                  <a:pt x="552602" y="724970"/>
                  <a:pt x="583085" y="724970"/>
                </a:cubicBezTo>
                <a:close/>
                <a:moveTo>
                  <a:pt x="449437" y="724970"/>
                </a:moveTo>
                <a:cubicBezTo>
                  <a:pt x="479919" y="724970"/>
                  <a:pt x="504629" y="749680"/>
                  <a:pt x="504629" y="780161"/>
                </a:cubicBezTo>
                <a:cubicBezTo>
                  <a:pt x="504629" y="810642"/>
                  <a:pt x="479919" y="835352"/>
                  <a:pt x="449437" y="835352"/>
                </a:cubicBezTo>
                <a:cubicBezTo>
                  <a:pt x="418954" y="835352"/>
                  <a:pt x="394244" y="810642"/>
                  <a:pt x="394244" y="780161"/>
                </a:cubicBezTo>
                <a:cubicBezTo>
                  <a:pt x="394244" y="749680"/>
                  <a:pt x="418954" y="724970"/>
                  <a:pt x="449437" y="724970"/>
                </a:cubicBezTo>
                <a:close/>
                <a:moveTo>
                  <a:pt x="319140" y="724970"/>
                </a:moveTo>
                <a:cubicBezTo>
                  <a:pt x="349624" y="724970"/>
                  <a:pt x="374334" y="749680"/>
                  <a:pt x="374334" y="780161"/>
                </a:cubicBezTo>
                <a:cubicBezTo>
                  <a:pt x="374334" y="810642"/>
                  <a:pt x="349624" y="835352"/>
                  <a:pt x="319140" y="835352"/>
                </a:cubicBezTo>
                <a:cubicBezTo>
                  <a:pt x="288658" y="835352"/>
                  <a:pt x="263948" y="810642"/>
                  <a:pt x="263948" y="780161"/>
                </a:cubicBezTo>
                <a:cubicBezTo>
                  <a:pt x="263948" y="749680"/>
                  <a:pt x="288658" y="724970"/>
                  <a:pt x="319140" y="724970"/>
                </a:cubicBezTo>
                <a:close/>
                <a:moveTo>
                  <a:pt x="185509" y="724970"/>
                </a:moveTo>
                <a:cubicBezTo>
                  <a:pt x="215993" y="724970"/>
                  <a:pt x="240701" y="749680"/>
                  <a:pt x="240701" y="780161"/>
                </a:cubicBezTo>
                <a:cubicBezTo>
                  <a:pt x="240701" y="810642"/>
                  <a:pt x="215993" y="835352"/>
                  <a:pt x="185509" y="835352"/>
                </a:cubicBezTo>
                <a:cubicBezTo>
                  <a:pt x="155029" y="835352"/>
                  <a:pt x="130319" y="810642"/>
                  <a:pt x="130319" y="780161"/>
                </a:cubicBezTo>
                <a:cubicBezTo>
                  <a:pt x="130319" y="749680"/>
                  <a:pt x="155029" y="724970"/>
                  <a:pt x="185509" y="724970"/>
                </a:cubicBezTo>
                <a:close/>
                <a:moveTo>
                  <a:pt x="8801538" y="608039"/>
                </a:moveTo>
                <a:cubicBezTo>
                  <a:pt x="8832020" y="608039"/>
                  <a:pt x="8856730" y="632749"/>
                  <a:pt x="8856730" y="663230"/>
                </a:cubicBezTo>
                <a:cubicBezTo>
                  <a:pt x="8856730" y="693711"/>
                  <a:pt x="8832020" y="718421"/>
                  <a:pt x="8801538" y="718421"/>
                </a:cubicBezTo>
                <a:cubicBezTo>
                  <a:pt x="8771056" y="718421"/>
                  <a:pt x="8746346" y="693711"/>
                  <a:pt x="8746346" y="663230"/>
                </a:cubicBezTo>
                <a:cubicBezTo>
                  <a:pt x="8746346" y="632749"/>
                  <a:pt x="8771056" y="608039"/>
                  <a:pt x="8801538" y="608039"/>
                </a:cubicBezTo>
                <a:close/>
                <a:moveTo>
                  <a:pt x="8671244" y="608039"/>
                </a:moveTo>
                <a:cubicBezTo>
                  <a:pt x="8701726" y="608039"/>
                  <a:pt x="8726436" y="632749"/>
                  <a:pt x="8726436" y="663230"/>
                </a:cubicBezTo>
                <a:cubicBezTo>
                  <a:pt x="8726436" y="693711"/>
                  <a:pt x="8701726" y="718421"/>
                  <a:pt x="8671244" y="718421"/>
                </a:cubicBezTo>
                <a:cubicBezTo>
                  <a:pt x="8640762" y="718421"/>
                  <a:pt x="8616052" y="693711"/>
                  <a:pt x="8616052" y="663230"/>
                </a:cubicBezTo>
                <a:cubicBezTo>
                  <a:pt x="8616052" y="632749"/>
                  <a:pt x="8640762" y="608039"/>
                  <a:pt x="8671244" y="608039"/>
                </a:cubicBezTo>
                <a:close/>
                <a:moveTo>
                  <a:pt x="8537609" y="608039"/>
                </a:moveTo>
                <a:cubicBezTo>
                  <a:pt x="8568091" y="608039"/>
                  <a:pt x="8592801" y="632749"/>
                  <a:pt x="8592801" y="663230"/>
                </a:cubicBezTo>
                <a:cubicBezTo>
                  <a:pt x="8592801" y="693711"/>
                  <a:pt x="8568091" y="718421"/>
                  <a:pt x="8537609" y="718421"/>
                </a:cubicBezTo>
                <a:cubicBezTo>
                  <a:pt x="8507127" y="718421"/>
                  <a:pt x="8482417" y="693711"/>
                  <a:pt x="8482417" y="663230"/>
                </a:cubicBezTo>
                <a:cubicBezTo>
                  <a:pt x="8482417" y="632749"/>
                  <a:pt x="8507127" y="608039"/>
                  <a:pt x="8537609" y="608039"/>
                </a:cubicBezTo>
                <a:close/>
                <a:moveTo>
                  <a:pt x="8407318" y="608039"/>
                </a:moveTo>
                <a:cubicBezTo>
                  <a:pt x="8437800" y="608039"/>
                  <a:pt x="8462510" y="632749"/>
                  <a:pt x="8462510" y="663230"/>
                </a:cubicBezTo>
                <a:cubicBezTo>
                  <a:pt x="8462510" y="693711"/>
                  <a:pt x="8437800" y="718421"/>
                  <a:pt x="8407318" y="718421"/>
                </a:cubicBezTo>
                <a:cubicBezTo>
                  <a:pt x="8376836" y="718421"/>
                  <a:pt x="8352126" y="693711"/>
                  <a:pt x="8352126" y="663230"/>
                </a:cubicBezTo>
                <a:cubicBezTo>
                  <a:pt x="8352126" y="632749"/>
                  <a:pt x="8376836" y="608039"/>
                  <a:pt x="8407318" y="608039"/>
                </a:cubicBezTo>
                <a:close/>
                <a:moveTo>
                  <a:pt x="8273682" y="608039"/>
                </a:moveTo>
                <a:cubicBezTo>
                  <a:pt x="8304164" y="608039"/>
                  <a:pt x="8328874" y="632749"/>
                  <a:pt x="8328874" y="663230"/>
                </a:cubicBezTo>
                <a:cubicBezTo>
                  <a:pt x="8328874" y="693711"/>
                  <a:pt x="8304164" y="718421"/>
                  <a:pt x="8273682" y="718421"/>
                </a:cubicBezTo>
                <a:cubicBezTo>
                  <a:pt x="8243200" y="718421"/>
                  <a:pt x="8218490" y="693711"/>
                  <a:pt x="8218490" y="663230"/>
                </a:cubicBezTo>
                <a:cubicBezTo>
                  <a:pt x="8218490" y="632749"/>
                  <a:pt x="8243200" y="608039"/>
                  <a:pt x="8273682" y="608039"/>
                </a:cubicBezTo>
                <a:close/>
                <a:moveTo>
                  <a:pt x="8143386" y="608039"/>
                </a:moveTo>
                <a:cubicBezTo>
                  <a:pt x="8173868" y="608039"/>
                  <a:pt x="8198578" y="632749"/>
                  <a:pt x="8198578" y="663230"/>
                </a:cubicBezTo>
                <a:cubicBezTo>
                  <a:pt x="8198578" y="693711"/>
                  <a:pt x="8173868" y="718421"/>
                  <a:pt x="8143386" y="718421"/>
                </a:cubicBezTo>
                <a:cubicBezTo>
                  <a:pt x="8112904" y="718421"/>
                  <a:pt x="8088194" y="693711"/>
                  <a:pt x="8088194" y="663230"/>
                </a:cubicBezTo>
                <a:cubicBezTo>
                  <a:pt x="8088194" y="632749"/>
                  <a:pt x="8112904" y="608039"/>
                  <a:pt x="8143386" y="608039"/>
                </a:cubicBezTo>
                <a:close/>
                <a:moveTo>
                  <a:pt x="8009753" y="608039"/>
                </a:moveTo>
                <a:cubicBezTo>
                  <a:pt x="8040235" y="608039"/>
                  <a:pt x="8064945" y="632749"/>
                  <a:pt x="8064945" y="663230"/>
                </a:cubicBezTo>
                <a:cubicBezTo>
                  <a:pt x="8064945" y="693711"/>
                  <a:pt x="8040235" y="718421"/>
                  <a:pt x="8009753" y="718421"/>
                </a:cubicBezTo>
                <a:cubicBezTo>
                  <a:pt x="7979271" y="718421"/>
                  <a:pt x="7954561" y="693711"/>
                  <a:pt x="7954561" y="663230"/>
                </a:cubicBezTo>
                <a:cubicBezTo>
                  <a:pt x="7954561" y="632749"/>
                  <a:pt x="7979271" y="608039"/>
                  <a:pt x="8009753" y="608039"/>
                </a:cubicBezTo>
                <a:close/>
                <a:moveTo>
                  <a:pt x="7876118" y="608039"/>
                </a:moveTo>
                <a:cubicBezTo>
                  <a:pt x="7906600" y="608039"/>
                  <a:pt x="7931310" y="632749"/>
                  <a:pt x="7931310" y="663230"/>
                </a:cubicBezTo>
                <a:cubicBezTo>
                  <a:pt x="7931310" y="693711"/>
                  <a:pt x="7906600" y="718421"/>
                  <a:pt x="7876118" y="718421"/>
                </a:cubicBezTo>
                <a:cubicBezTo>
                  <a:pt x="7845636" y="718421"/>
                  <a:pt x="7820926" y="693711"/>
                  <a:pt x="7820926" y="663230"/>
                </a:cubicBezTo>
                <a:cubicBezTo>
                  <a:pt x="7820926" y="632749"/>
                  <a:pt x="7845636" y="608039"/>
                  <a:pt x="7876118" y="608039"/>
                </a:cubicBezTo>
                <a:close/>
                <a:moveTo>
                  <a:pt x="7745824" y="608039"/>
                </a:moveTo>
                <a:cubicBezTo>
                  <a:pt x="7776306" y="608039"/>
                  <a:pt x="7801016" y="632749"/>
                  <a:pt x="7801016" y="663230"/>
                </a:cubicBezTo>
                <a:cubicBezTo>
                  <a:pt x="7801016" y="693711"/>
                  <a:pt x="7776306" y="718421"/>
                  <a:pt x="7745824" y="718421"/>
                </a:cubicBezTo>
                <a:cubicBezTo>
                  <a:pt x="7715342" y="718421"/>
                  <a:pt x="7690632" y="693711"/>
                  <a:pt x="7690632" y="663230"/>
                </a:cubicBezTo>
                <a:cubicBezTo>
                  <a:pt x="7690632" y="632749"/>
                  <a:pt x="7715342" y="608039"/>
                  <a:pt x="7745824" y="608039"/>
                </a:cubicBezTo>
                <a:close/>
                <a:moveTo>
                  <a:pt x="7608850" y="608039"/>
                </a:moveTo>
                <a:cubicBezTo>
                  <a:pt x="7639332" y="608039"/>
                  <a:pt x="7664042" y="632749"/>
                  <a:pt x="7664042" y="663230"/>
                </a:cubicBezTo>
                <a:cubicBezTo>
                  <a:pt x="7664042" y="693711"/>
                  <a:pt x="7639332" y="718421"/>
                  <a:pt x="7608850" y="718421"/>
                </a:cubicBezTo>
                <a:cubicBezTo>
                  <a:pt x="7578368" y="718421"/>
                  <a:pt x="7553658" y="693711"/>
                  <a:pt x="7553658" y="663230"/>
                </a:cubicBezTo>
                <a:cubicBezTo>
                  <a:pt x="7553658" y="632749"/>
                  <a:pt x="7578368" y="608039"/>
                  <a:pt x="7608850" y="608039"/>
                </a:cubicBezTo>
                <a:close/>
                <a:moveTo>
                  <a:pt x="7481895" y="608039"/>
                </a:moveTo>
                <a:cubicBezTo>
                  <a:pt x="7512377" y="608039"/>
                  <a:pt x="7537087" y="632749"/>
                  <a:pt x="7537087" y="663230"/>
                </a:cubicBezTo>
                <a:cubicBezTo>
                  <a:pt x="7537087" y="693711"/>
                  <a:pt x="7512377" y="718421"/>
                  <a:pt x="7481895" y="718421"/>
                </a:cubicBezTo>
                <a:cubicBezTo>
                  <a:pt x="7451413" y="718421"/>
                  <a:pt x="7426703" y="693711"/>
                  <a:pt x="7426703" y="663230"/>
                </a:cubicBezTo>
                <a:cubicBezTo>
                  <a:pt x="7426703" y="632749"/>
                  <a:pt x="7451413" y="608039"/>
                  <a:pt x="7481895" y="608039"/>
                </a:cubicBezTo>
                <a:close/>
                <a:moveTo>
                  <a:pt x="7341579" y="608039"/>
                </a:moveTo>
                <a:cubicBezTo>
                  <a:pt x="7372061" y="608039"/>
                  <a:pt x="7396771" y="632749"/>
                  <a:pt x="7396771" y="663230"/>
                </a:cubicBezTo>
                <a:cubicBezTo>
                  <a:pt x="7396771" y="693711"/>
                  <a:pt x="7372061" y="718421"/>
                  <a:pt x="7341579" y="718421"/>
                </a:cubicBezTo>
                <a:cubicBezTo>
                  <a:pt x="7311097" y="718421"/>
                  <a:pt x="7286387" y="693711"/>
                  <a:pt x="7286387" y="663230"/>
                </a:cubicBezTo>
                <a:cubicBezTo>
                  <a:pt x="7286387" y="632749"/>
                  <a:pt x="7311097" y="608039"/>
                  <a:pt x="7341579" y="608039"/>
                </a:cubicBezTo>
                <a:close/>
                <a:moveTo>
                  <a:pt x="7211286" y="608039"/>
                </a:moveTo>
                <a:cubicBezTo>
                  <a:pt x="7241768" y="608039"/>
                  <a:pt x="7266478" y="632749"/>
                  <a:pt x="7266478" y="663230"/>
                </a:cubicBezTo>
                <a:cubicBezTo>
                  <a:pt x="7266478" y="693711"/>
                  <a:pt x="7241768" y="718421"/>
                  <a:pt x="7211286" y="718421"/>
                </a:cubicBezTo>
                <a:cubicBezTo>
                  <a:pt x="7180804" y="718421"/>
                  <a:pt x="7156094" y="693711"/>
                  <a:pt x="7156094" y="663230"/>
                </a:cubicBezTo>
                <a:cubicBezTo>
                  <a:pt x="7156094" y="632749"/>
                  <a:pt x="7180804" y="608039"/>
                  <a:pt x="7211286" y="608039"/>
                </a:cubicBezTo>
                <a:close/>
                <a:moveTo>
                  <a:pt x="7080994" y="608039"/>
                </a:moveTo>
                <a:cubicBezTo>
                  <a:pt x="7111476" y="608039"/>
                  <a:pt x="7136186" y="632749"/>
                  <a:pt x="7136186" y="663230"/>
                </a:cubicBezTo>
                <a:cubicBezTo>
                  <a:pt x="7136186" y="693711"/>
                  <a:pt x="7111476" y="718421"/>
                  <a:pt x="7080994" y="718421"/>
                </a:cubicBezTo>
                <a:cubicBezTo>
                  <a:pt x="7050512" y="718421"/>
                  <a:pt x="7025802" y="693711"/>
                  <a:pt x="7025802" y="663230"/>
                </a:cubicBezTo>
                <a:cubicBezTo>
                  <a:pt x="7025802" y="632749"/>
                  <a:pt x="7050512" y="608039"/>
                  <a:pt x="7080994" y="608039"/>
                </a:cubicBezTo>
                <a:close/>
                <a:moveTo>
                  <a:pt x="6947358" y="608039"/>
                </a:moveTo>
                <a:cubicBezTo>
                  <a:pt x="6977840" y="608039"/>
                  <a:pt x="7002550" y="632749"/>
                  <a:pt x="7002550" y="663230"/>
                </a:cubicBezTo>
                <a:cubicBezTo>
                  <a:pt x="7002550" y="693711"/>
                  <a:pt x="6977840" y="718421"/>
                  <a:pt x="6947358" y="718421"/>
                </a:cubicBezTo>
                <a:cubicBezTo>
                  <a:pt x="6916876" y="718421"/>
                  <a:pt x="6892166" y="693711"/>
                  <a:pt x="6892166" y="663230"/>
                </a:cubicBezTo>
                <a:cubicBezTo>
                  <a:pt x="6892166" y="632749"/>
                  <a:pt x="6916876" y="608039"/>
                  <a:pt x="6947358" y="608039"/>
                </a:cubicBezTo>
                <a:close/>
                <a:moveTo>
                  <a:pt x="6817064" y="608039"/>
                </a:moveTo>
                <a:cubicBezTo>
                  <a:pt x="6847546" y="608039"/>
                  <a:pt x="6872256" y="632749"/>
                  <a:pt x="6872256" y="663230"/>
                </a:cubicBezTo>
                <a:cubicBezTo>
                  <a:pt x="6872256" y="693711"/>
                  <a:pt x="6847546" y="718421"/>
                  <a:pt x="6817064" y="718421"/>
                </a:cubicBezTo>
                <a:cubicBezTo>
                  <a:pt x="6786582" y="718421"/>
                  <a:pt x="6761872" y="693711"/>
                  <a:pt x="6761872" y="663230"/>
                </a:cubicBezTo>
                <a:cubicBezTo>
                  <a:pt x="6761872" y="632749"/>
                  <a:pt x="6786582" y="608039"/>
                  <a:pt x="6817064" y="608039"/>
                </a:cubicBezTo>
                <a:close/>
                <a:moveTo>
                  <a:pt x="6683431" y="608039"/>
                </a:moveTo>
                <a:cubicBezTo>
                  <a:pt x="6713913" y="608039"/>
                  <a:pt x="6738623" y="632749"/>
                  <a:pt x="6738623" y="663230"/>
                </a:cubicBezTo>
                <a:cubicBezTo>
                  <a:pt x="6738623" y="693711"/>
                  <a:pt x="6713913" y="718421"/>
                  <a:pt x="6683431" y="718421"/>
                </a:cubicBezTo>
                <a:cubicBezTo>
                  <a:pt x="6652949" y="718421"/>
                  <a:pt x="6628239" y="693711"/>
                  <a:pt x="6628239" y="663230"/>
                </a:cubicBezTo>
                <a:cubicBezTo>
                  <a:pt x="6628239" y="632749"/>
                  <a:pt x="6652949" y="608039"/>
                  <a:pt x="6683431" y="608039"/>
                </a:cubicBezTo>
                <a:close/>
                <a:moveTo>
                  <a:pt x="6155573" y="608039"/>
                </a:moveTo>
                <a:cubicBezTo>
                  <a:pt x="6186055" y="608039"/>
                  <a:pt x="6210765" y="632749"/>
                  <a:pt x="6210765" y="663230"/>
                </a:cubicBezTo>
                <a:cubicBezTo>
                  <a:pt x="6210765" y="693711"/>
                  <a:pt x="6186055" y="718421"/>
                  <a:pt x="6155573" y="718421"/>
                </a:cubicBezTo>
                <a:cubicBezTo>
                  <a:pt x="6125091" y="718421"/>
                  <a:pt x="6100381" y="693711"/>
                  <a:pt x="6100381" y="663230"/>
                </a:cubicBezTo>
                <a:cubicBezTo>
                  <a:pt x="6100381" y="632749"/>
                  <a:pt x="6125091" y="608039"/>
                  <a:pt x="6155573" y="608039"/>
                </a:cubicBezTo>
                <a:close/>
                <a:moveTo>
                  <a:pt x="5487399" y="608039"/>
                </a:moveTo>
                <a:cubicBezTo>
                  <a:pt x="5517881" y="608039"/>
                  <a:pt x="5542591" y="632749"/>
                  <a:pt x="5542591" y="663230"/>
                </a:cubicBezTo>
                <a:cubicBezTo>
                  <a:pt x="5542591" y="693711"/>
                  <a:pt x="5517881" y="718421"/>
                  <a:pt x="5487399" y="718421"/>
                </a:cubicBezTo>
                <a:cubicBezTo>
                  <a:pt x="5456917" y="718421"/>
                  <a:pt x="5432207" y="693711"/>
                  <a:pt x="5432207" y="663230"/>
                </a:cubicBezTo>
                <a:cubicBezTo>
                  <a:pt x="5432207" y="632749"/>
                  <a:pt x="5456917" y="608039"/>
                  <a:pt x="5487399" y="608039"/>
                </a:cubicBezTo>
                <a:close/>
                <a:moveTo>
                  <a:pt x="5357106" y="608039"/>
                </a:moveTo>
                <a:cubicBezTo>
                  <a:pt x="5387588" y="608039"/>
                  <a:pt x="5412298" y="632749"/>
                  <a:pt x="5412298" y="663230"/>
                </a:cubicBezTo>
                <a:cubicBezTo>
                  <a:pt x="5412298" y="693711"/>
                  <a:pt x="5387588" y="718421"/>
                  <a:pt x="5357106" y="718421"/>
                </a:cubicBezTo>
                <a:cubicBezTo>
                  <a:pt x="5326624" y="718421"/>
                  <a:pt x="5301914" y="693711"/>
                  <a:pt x="5301914" y="663230"/>
                </a:cubicBezTo>
                <a:cubicBezTo>
                  <a:pt x="5301914" y="632749"/>
                  <a:pt x="5326624" y="608039"/>
                  <a:pt x="5357106" y="608039"/>
                </a:cubicBezTo>
                <a:close/>
                <a:moveTo>
                  <a:pt x="5223473" y="608038"/>
                </a:moveTo>
                <a:cubicBezTo>
                  <a:pt x="5253955" y="608038"/>
                  <a:pt x="5278665" y="632748"/>
                  <a:pt x="5278665" y="663229"/>
                </a:cubicBezTo>
                <a:cubicBezTo>
                  <a:pt x="5278665" y="693710"/>
                  <a:pt x="5253955" y="718420"/>
                  <a:pt x="5223473" y="718420"/>
                </a:cubicBezTo>
                <a:cubicBezTo>
                  <a:pt x="5192991" y="718420"/>
                  <a:pt x="5168281" y="693710"/>
                  <a:pt x="5168281" y="663229"/>
                </a:cubicBezTo>
                <a:cubicBezTo>
                  <a:pt x="5168281" y="632748"/>
                  <a:pt x="5192991" y="608038"/>
                  <a:pt x="5223473" y="608038"/>
                </a:cubicBezTo>
                <a:close/>
                <a:moveTo>
                  <a:pt x="4030786" y="608038"/>
                </a:moveTo>
                <a:cubicBezTo>
                  <a:pt x="4061268" y="608038"/>
                  <a:pt x="4085978" y="632748"/>
                  <a:pt x="4085978" y="663229"/>
                </a:cubicBezTo>
                <a:cubicBezTo>
                  <a:pt x="4085978" y="693710"/>
                  <a:pt x="4061268" y="718420"/>
                  <a:pt x="4030786" y="718420"/>
                </a:cubicBezTo>
                <a:cubicBezTo>
                  <a:pt x="4000304" y="718420"/>
                  <a:pt x="3975594" y="693710"/>
                  <a:pt x="3975594" y="663229"/>
                </a:cubicBezTo>
                <a:cubicBezTo>
                  <a:pt x="3975594" y="632748"/>
                  <a:pt x="4000304" y="608038"/>
                  <a:pt x="4030786" y="608038"/>
                </a:cubicBezTo>
                <a:close/>
                <a:moveTo>
                  <a:pt x="3897148" y="608038"/>
                </a:moveTo>
                <a:cubicBezTo>
                  <a:pt x="3927630" y="608038"/>
                  <a:pt x="3952340" y="632748"/>
                  <a:pt x="3952340" y="663229"/>
                </a:cubicBezTo>
                <a:cubicBezTo>
                  <a:pt x="3952340" y="693710"/>
                  <a:pt x="3927630" y="718420"/>
                  <a:pt x="3897148" y="718420"/>
                </a:cubicBezTo>
                <a:cubicBezTo>
                  <a:pt x="3866666" y="718420"/>
                  <a:pt x="3841956" y="693710"/>
                  <a:pt x="3841956" y="663229"/>
                </a:cubicBezTo>
                <a:cubicBezTo>
                  <a:pt x="3841956" y="632748"/>
                  <a:pt x="3866666" y="608038"/>
                  <a:pt x="3897148" y="608038"/>
                </a:cubicBezTo>
                <a:close/>
                <a:moveTo>
                  <a:pt x="3763514" y="608038"/>
                </a:moveTo>
                <a:cubicBezTo>
                  <a:pt x="3793996" y="608038"/>
                  <a:pt x="3818706" y="632748"/>
                  <a:pt x="3818706" y="663229"/>
                </a:cubicBezTo>
                <a:cubicBezTo>
                  <a:pt x="3818706" y="693710"/>
                  <a:pt x="3793996" y="718420"/>
                  <a:pt x="3763514" y="718420"/>
                </a:cubicBezTo>
                <a:cubicBezTo>
                  <a:pt x="3733032" y="718420"/>
                  <a:pt x="3708322" y="693710"/>
                  <a:pt x="3708322" y="663229"/>
                </a:cubicBezTo>
                <a:cubicBezTo>
                  <a:pt x="3708322" y="632748"/>
                  <a:pt x="3733032" y="608038"/>
                  <a:pt x="3763514" y="608038"/>
                </a:cubicBezTo>
                <a:close/>
                <a:moveTo>
                  <a:pt x="3633221" y="608038"/>
                </a:moveTo>
                <a:cubicBezTo>
                  <a:pt x="3663703" y="608038"/>
                  <a:pt x="3688413" y="632748"/>
                  <a:pt x="3688413" y="663229"/>
                </a:cubicBezTo>
                <a:cubicBezTo>
                  <a:pt x="3688413" y="693710"/>
                  <a:pt x="3663703" y="718420"/>
                  <a:pt x="3633221" y="718420"/>
                </a:cubicBezTo>
                <a:cubicBezTo>
                  <a:pt x="3602739" y="718420"/>
                  <a:pt x="3578029" y="693710"/>
                  <a:pt x="3578029" y="663229"/>
                </a:cubicBezTo>
                <a:cubicBezTo>
                  <a:pt x="3578029" y="632748"/>
                  <a:pt x="3602739" y="608038"/>
                  <a:pt x="3633221" y="608038"/>
                </a:cubicBezTo>
                <a:close/>
                <a:moveTo>
                  <a:pt x="3499589" y="608038"/>
                </a:moveTo>
                <a:cubicBezTo>
                  <a:pt x="3530071" y="608038"/>
                  <a:pt x="3554781" y="632748"/>
                  <a:pt x="3554781" y="663229"/>
                </a:cubicBezTo>
                <a:cubicBezTo>
                  <a:pt x="3554781" y="693710"/>
                  <a:pt x="3530071" y="718420"/>
                  <a:pt x="3499589" y="718420"/>
                </a:cubicBezTo>
                <a:cubicBezTo>
                  <a:pt x="3469107" y="718420"/>
                  <a:pt x="3444397" y="693710"/>
                  <a:pt x="3444397" y="663229"/>
                </a:cubicBezTo>
                <a:cubicBezTo>
                  <a:pt x="3444397" y="632748"/>
                  <a:pt x="3469107" y="608038"/>
                  <a:pt x="3499589" y="608038"/>
                </a:cubicBezTo>
                <a:close/>
                <a:moveTo>
                  <a:pt x="3369292" y="608038"/>
                </a:moveTo>
                <a:cubicBezTo>
                  <a:pt x="3399774" y="608038"/>
                  <a:pt x="3424484" y="632748"/>
                  <a:pt x="3424484" y="663229"/>
                </a:cubicBezTo>
                <a:cubicBezTo>
                  <a:pt x="3424484" y="693710"/>
                  <a:pt x="3399774" y="718420"/>
                  <a:pt x="3369292" y="718420"/>
                </a:cubicBezTo>
                <a:cubicBezTo>
                  <a:pt x="3338810" y="718420"/>
                  <a:pt x="3314100" y="693710"/>
                  <a:pt x="3314100" y="663229"/>
                </a:cubicBezTo>
                <a:cubicBezTo>
                  <a:pt x="3314100" y="632748"/>
                  <a:pt x="3338810" y="608038"/>
                  <a:pt x="3369292" y="608038"/>
                </a:cubicBezTo>
                <a:close/>
                <a:moveTo>
                  <a:pt x="3235657" y="608038"/>
                </a:moveTo>
                <a:cubicBezTo>
                  <a:pt x="3266139" y="608038"/>
                  <a:pt x="3290849" y="632748"/>
                  <a:pt x="3290849" y="663229"/>
                </a:cubicBezTo>
                <a:cubicBezTo>
                  <a:pt x="3290849" y="693710"/>
                  <a:pt x="3266139" y="718420"/>
                  <a:pt x="3235657" y="718420"/>
                </a:cubicBezTo>
                <a:cubicBezTo>
                  <a:pt x="3205175" y="718420"/>
                  <a:pt x="3180465" y="693710"/>
                  <a:pt x="3180465" y="663229"/>
                </a:cubicBezTo>
                <a:cubicBezTo>
                  <a:pt x="3180465" y="632748"/>
                  <a:pt x="3205175" y="608038"/>
                  <a:pt x="3235657" y="608038"/>
                </a:cubicBezTo>
                <a:close/>
                <a:moveTo>
                  <a:pt x="2570932" y="608038"/>
                </a:moveTo>
                <a:cubicBezTo>
                  <a:pt x="2601414" y="608038"/>
                  <a:pt x="2626123" y="632748"/>
                  <a:pt x="2626123" y="663229"/>
                </a:cubicBezTo>
                <a:cubicBezTo>
                  <a:pt x="2626123" y="693710"/>
                  <a:pt x="2601414" y="718420"/>
                  <a:pt x="2570932" y="718420"/>
                </a:cubicBezTo>
                <a:cubicBezTo>
                  <a:pt x="2540449" y="718420"/>
                  <a:pt x="2515738" y="693710"/>
                  <a:pt x="2515738" y="663229"/>
                </a:cubicBezTo>
                <a:cubicBezTo>
                  <a:pt x="2515738" y="632748"/>
                  <a:pt x="2540449" y="608038"/>
                  <a:pt x="2570932" y="608038"/>
                </a:cubicBezTo>
                <a:close/>
                <a:moveTo>
                  <a:pt x="2437297" y="608038"/>
                </a:moveTo>
                <a:cubicBezTo>
                  <a:pt x="2467779" y="608038"/>
                  <a:pt x="2492487" y="632748"/>
                  <a:pt x="2492487" y="663229"/>
                </a:cubicBezTo>
                <a:cubicBezTo>
                  <a:pt x="2492487" y="693710"/>
                  <a:pt x="2467779" y="718420"/>
                  <a:pt x="2437297" y="718420"/>
                </a:cubicBezTo>
                <a:cubicBezTo>
                  <a:pt x="2406818" y="718420"/>
                  <a:pt x="2382108" y="693710"/>
                  <a:pt x="2382108" y="663229"/>
                </a:cubicBezTo>
                <a:cubicBezTo>
                  <a:pt x="2382108" y="632748"/>
                  <a:pt x="2406818" y="608038"/>
                  <a:pt x="2437297" y="608038"/>
                </a:cubicBezTo>
                <a:close/>
                <a:moveTo>
                  <a:pt x="2303664" y="608038"/>
                </a:moveTo>
                <a:cubicBezTo>
                  <a:pt x="2334145" y="608038"/>
                  <a:pt x="2358856" y="632748"/>
                  <a:pt x="2358856" y="663229"/>
                </a:cubicBezTo>
                <a:cubicBezTo>
                  <a:pt x="2358856" y="693710"/>
                  <a:pt x="2334145" y="718420"/>
                  <a:pt x="2303664" y="718420"/>
                </a:cubicBezTo>
                <a:cubicBezTo>
                  <a:pt x="2273182" y="718420"/>
                  <a:pt x="2248473" y="693710"/>
                  <a:pt x="2248473" y="663229"/>
                </a:cubicBezTo>
                <a:cubicBezTo>
                  <a:pt x="2248473" y="632748"/>
                  <a:pt x="2273182" y="608038"/>
                  <a:pt x="2303664" y="608038"/>
                </a:cubicBezTo>
                <a:close/>
                <a:moveTo>
                  <a:pt x="2173372" y="608038"/>
                </a:moveTo>
                <a:cubicBezTo>
                  <a:pt x="2203854" y="608038"/>
                  <a:pt x="2228565" y="632748"/>
                  <a:pt x="2228565" y="663229"/>
                </a:cubicBezTo>
                <a:cubicBezTo>
                  <a:pt x="2228565" y="693710"/>
                  <a:pt x="2203854" y="718420"/>
                  <a:pt x="2173372" y="718420"/>
                </a:cubicBezTo>
                <a:cubicBezTo>
                  <a:pt x="2142889" y="718420"/>
                  <a:pt x="2118180" y="693710"/>
                  <a:pt x="2118180" y="663229"/>
                </a:cubicBezTo>
                <a:cubicBezTo>
                  <a:pt x="2118180" y="632748"/>
                  <a:pt x="2142889" y="608038"/>
                  <a:pt x="2173372" y="608038"/>
                </a:cubicBezTo>
                <a:close/>
                <a:moveTo>
                  <a:pt x="2039736" y="608038"/>
                </a:moveTo>
                <a:cubicBezTo>
                  <a:pt x="2070218" y="608038"/>
                  <a:pt x="2094930" y="632748"/>
                  <a:pt x="2094930" y="663229"/>
                </a:cubicBezTo>
                <a:cubicBezTo>
                  <a:pt x="2094930" y="693710"/>
                  <a:pt x="2070218" y="718420"/>
                  <a:pt x="2039736" y="718420"/>
                </a:cubicBezTo>
                <a:cubicBezTo>
                  <a:pt x="2009254" y="718420"/>
                  <a:pt x="1984543" y="693710"/>
                  <a:pt x="1984543" y="663229"/>
                </a:cubicBezTo>
                <a:cubicBezTo>
                  <a:pt x="1984543" y="632748"/>
                  <a:pt x="2009254" y="608038"/>
                  <a:pt x="2039736" y="608038"/>
                </a:cubicBezTo>
                <a:close/>
                <a:moveTo>
                  <a:pt x="1909437" y="608038"/>
                </a:moveTo>
                <a:cubicBezTo>
                  <a:pt x="1939921" y="608038"/>
                  <a:pt x="1964630" y="632748"/>
                  <a:pt x="1964630" y="663229"/>
                </a:cubicBezTo>
                <a:cubicBezTo>
                  <a:pt x="1964630" y="693710"/>
                  <a:pt x="1939921" y="718420"/>
                  <a:pt x="1909437" y="718420"/>
                </a:cubicBezTo>
                <a:cubicBezTo>
                  <a:pt x="1878955" y="718420"/>
                  <a:pt x="1854244" y="693710"/>
                  <a:pt x="1854244" y="663229"/>
                </a:cubicBezTo>
                <a:cubicBezTo>
                  <a:pt x="1854244" y="632748"/>
                  <a:pt x="1878955" y="608038"/>
                  <a:pt x="1909437" y="608038"/>
                </a:cubicBezTo>
                <a:close/>
                <a:moveTo>
                  <a:pt x="1779142" y="608038"/>
                </a:moveTo>
                <a:cubicBezTo>
                  <a:pt x="1809626" y="608038"/>
                  <a:pt x="1834335" y="632748"/>
                  <a:pt x="1834335" y="663229"/>
                </a:cubicBezTo>
                <a:cubicBezTo>
                  <a:pt x="1834335" y="693710"/>
                  <a:pt x="1809626" y="718420"/>
                  <a:pt x="1779142" y="718420"/>
                </a:cubicBezTo>
                <a:cubicBezTo>
                  <a:pt x="1748663" y="718420"/>
                  <a:pt x="1723950" y="693710"/>
                  <a:pt x="1723950" y="663229"/>
                </a:cubicBezTo>
                <a:cubicBezTo>
                  <a:pt x="1723950" y="632748"/>
                  <a:pt x="1748663" y="608038"/>
                  <a:pt x="1779142" y="608038"/>
                </a:cubicBezTo>
                <a:close/>
                <a:moveTo>
                  <a:pt x="1645508" y="608038"/>
                </a:moveTo>
                <a:cubicBezTo>
                  <a:pt x="1675988" y="608038"/>
                  <a:pt x="1700702" y="632748"/>
                  <a:pt x="1700702" y="663229"/>
                </a:cubicBezTo>
                <a:cubicBezTo>
                  <a:pt x="1700702" y="693710"/>
                  <a:pt x="1675988" y="718420"/>
                  <a:pt x="1645508" y="718420"/>
                </a:cubicBezTo>
                <a:cubicBezTo>
                  <a:pt x="1615024" y="718420"/>
                  <a:pt x="1590311" y="693710"/>
                  <a:pt x="1590311" y="663229"/>
                </a:cubicBezTo>
                <a:cubicBezTo>
                  <a:pt x="1590311" y="632748"/>
                  <a:pt x="1615024" y="608038"/>
                  <a:pt x="1645508" y="608038"/>
                </a:cubicBezTo>
                <a:close/>
                <a:moveTo>
                  <a:pt x="1515217" y="608038"/>
                </a:moveTo>
                <a:cubicBezTo>
                  <a:pt x="1545695" y="608038"/>
                  <a:pt x="1570402" y="632748"/>
                  <a:pt x="1570402" y="663229"/>
                </a:cubicBezTo>
                <a:cubicBezTo>
                  <a:pt x="1570402" y="693710"/>
                  <a:pt x="1545695" y="718420"/>
                  <a:pt x="1515217" y="718420"/>
                </a:cubicBezTo>
                <a:cubicBezTo>
                  <a:pt x="1484732" y="718420"/>
                  <a:pt x="1460020" y="693710"/>
                  <a:pt x="1460020" y="663229"/>
                </a:cubicBezTo>
                <a:cubicBezTo>
                  <a:pt x="1460020" y="632748"/>
                  <a:pt x="1484732" y="608038"/>
                  <a:pt x="1515217" y="608038"/>
                </a:cubicBezTo>
                <a:close/>
                <a:moveTo>
                  <a:pt x="1381573" y="608038"/>
                </a:moveTo>
                <a:cubicBezTo>
                  <a:pt x="1412057" y="608038"/>
                  <a:pt x="1436767" y="632748"/>
                  <a:pt x="1436767" y="663229"/>
                </a:cubicBezTo>
                <a:cubicBezTo>
                  <a:pt x="1436767" y="693710"/>
                  <a:pt x="1412057" y="718420"/>
                  <a:pt x="1381573" y="718420"/>
                </a:cubicBezTo>
                <a:cubicBezTo>
                  <a:pt x="1351097" y="718420"/>
                  <a:pt x="1326384" y="693710"/>
                  <a:pt x="1326384" y="663229"/>
                </a:cubicBezTo>
                <a:cubicBezTo>
                  <a:pt x="1326384" y="632748"/>
                  <a:pt x="1351097" y="608038"/>
                  <a:pt x="1381573" y="608038"/>
                </a:cubicBezTo>
                <a:close/>
                <a:moveTo>
                  <a:pt x="1251282" y="608038"/>
                </a:moveTo>
                <a:cubicBezTo>
                  <a:pt x="1281766" y="608038"/>
                  <a:pt x="1306476" y="632748"/>
                  <a:pt x="1306476" y="663229"/>
                </a:cubicBezTo>
                <a:cubicBezTo>
                  <a:pt x="1306476" y="693710"/>
                  <a:pt x="1281766" y="718420"/>
                  <a:pt x="1251282" y="718420"/>
                </a:cubicBezTo>
                <a:cubicBezTo>
                  <a:pt x="1220801" y="718420"/>
                  <a:pt x="1196089" y="693710"/>
                  <a:pt x="1196089" y="663229"/>
                </a:cubicBezTo>
                <a:cubicBezTo>
                  <a:pt x="1196089" y="632748"/>
                  <a:pt x="1220801" y="608038"/>
                  <a:pt x="1251282" y="608038"/>
                </a:cubicBezTo>
                <a:close/>
                <a:moveTo>
                  <a:pt x="8143386" y="494447"/>
                </a:moveTo>
                <a:cubicBezTo>
                  <a:pt x="8173868" y="494447"/>
                  <a:pt x="8198578" y="519157"/>
                  <a:pt x="8198578" y="549638"/>
                </a:cubicBezTo>
                <a:cubicBezTo>
                  <a:pt x="8198578" y="580119"/>
                  <a:pt x="8173868" y="604829"/>
                  <a:pt x="8143386" y="604829"/>
                </a:cubicBezTo>
                <a:cubicBezTo>
                  <a:pt x="8112904" y="604829"/>
                  <a:pt x="8088194" y="580119"/>
                  <a:pt x="8088194" y="549638"/>
                </a:cubicBezTo>
                <a:cubicBezTo>
                  <a:pt x="8088194" y="519157"/>
                  <a:pt x="8112904" y="494447"/>
                  <a:pt x="8143386" y="494447"/>
                </a:cubicBezTo>
                <a:close/>
                <a:moveTo>
                  <a:pt x="8009753" y="494447"/>
                </a:moveTo>
                <a:cubicBezTo>
                  <a:pt x="8040235" y="494447"/>
                  <a:pt x="8064945" y="519157"/>
                  <a:pt x="8064945" y="549638"/>
                </a:cubicBezTo>
                <a:cubicBezTo>
                  <a:pt x="8064945" y="580119"/>
                  <a:pt x="8040235" y="604829"/>
                  <a:pt x="8009753" y="604829"/>
                </a:cubicBezTo>
                <a:cubicBezTo>
                  <a:pt x="7979271" y="604829"/>
                  <a:pt x="7954561" y="580119"/>
                  <a:pt x="7954561" y="549638"/>
                </a:cubicBezTo>
                <a:cubicBezTo>
                  <a:pt x="7954561" y="519157"/>
                  <a:pt x="7979271" y="494447"/>
                  <a:pt x="8009753" y="494447"/>
                </a:cubicBezTo>
                <a:close/>
                <a:moveTo>
                  <a:pt x="7876118" y="494447"/>
                </a:moveTo>
                <a:cubicBezTo>
                  <a:pt x="7906600" y="494447"/>
                  <a:pt x="7931310" y="519157"/>
                  <a:pt x="7931310" y="549638"/>
                </a:cubicBezTo>
                <a:cubicBezTo>
                  <a:pt x="7931310" y="580119"/>
                  <a:pt x="7906600" y="604829"/>
                  <a:pt x="7876118" y="604829"/>
                </a:cubicBezTo>
                <a:cubicBezTo>
                  <a:pt x="7845636" y="604829"/>
                  <a:pt x="7820926" y="580119"/>
                  <a:pt x="7820926" y="549638"/>
                </a:cubicBezTo>
                <a:cubicBezTo>
                  <a:pt x="7820926" y="519157"/>
                  <a:pt x="7845636" y="494447"/>
                  <a:pt x="7876118" y="494447"/>
                </a:cubicBezTo>
                <a:close/>
                <a:moveTo>
                  <a:pt x="7745824" y="494447"/>
                </a:moveTo>
                <a:cubicBezTo>
                  <a:pt x="7776306" y="494447"/>
                  <a:pt x="7801016" y="519157"/>
                  <a:pt x="7801016" y="549638"/>
                </a:cubicBezTo>
                <a:cubicBezTo>
                  <a:pt x="7801016" y="580119"/>
                  <a:pt x="7776306" y="604829"/>
                  <a:pt x="7745824" y="604829"/>
                </a:cubicBezTo>
                <a:cubicBezTo>
                  <a:pt x="7715342" y="604829"/>
                  <a:pt x="7690632" y="580119"/>
                  <a:pt x="7690632" y="549638"/>
                </a:cubicBezTo>
                <a:cubicBezTo>
                  <a:pt x="7690632" y="519157"/>
                  <a:pt x="7715342" y="494447"/>
                  <a:pt x="7745824" y="494447"/>
                </a:cubicBezTo>
                <a:close/>
                <a:moveTo>
                  <a:pt x="7608850" y="494447"/>
                </a:moveTo>
                <a:cubicBezTo>
                  <a:pt x="7639332" y="494447"/>
                  <a:pt x="7664042" y="519157"/>
                  <a:pt x="7664042" y="549638"/>
                </a:cubicBezTo>
                <a:cubicBezTo>
                  <a:pt x="7664042" y="580119"/>
                  <a:pt x="7639332" y="604829"/>
                  <a:pt x="7608850" y="604829"/>
                </a:cubicBezTo>
                <a:cubicBezTo>
                  <a:pt x="7578368" y="604829"/>
                  <a:pt x="7553658" y="580119"/>
                  <a:pt x="7553658" y="549638"/>
                </a:cubicBezTo>
                <a:cubicBezTo>
                  <a:pt x="7553658" y="519157"/>
                  <a:pt x="7578368" y="494447"/>
                  <a:pt x="7608850" y="494447"/>
                </a:cubicBezTo>
                <a:close/>
                <a:moveTo>
                  <a:pt x="7481895" y="494447"/>
                </a:moveTo>
                <a:cubicBezTo>
                  <a:pt x="7512377" y="494447"/>
                  <a:pt x="7537087" y="519157"/>
                  <a:pt x="7537087" y="549638"/>
                </a:cubicBezTo>
                <a:cubicBezTo>
                  <a:pt x="7537087" y="580119"/>
                  <a:pt x="7512377" y="604829"/>
                  <a:pt x="7481895" y="604829"/>
                </a:cubicBezTo>
                <a:cubicBezTo>
                  <a:pt x="7451413" y="604829"/>
                  <a:pt x="7426703" y="580119"/>
                  <a:pt x="7426703" y="549638"/>
                </a:cubicBezTo>
                <a:cubicBezTo>
                  <a:pt x="7426703" y="519157"/>
                  <a:pt x="7451413" y="494447"/>
                  <a:pt x="7481895" y="494447"/>
                </a:cubicBezTo>
                <a:close/>
                <a:moveTo>
                  <a:pt x="7341580" y="494447"/>
                </a:moveTo>
                <a:cubicBezTo>
                  <a:pt x="7372062" y="494447"/>
                  <a:pt x="7396772" y="519157"/>
                  <a:pt x="7396772" y="549638"/>
                </a:cubicBezTo>
                <a:cubicBezTo>
                  <a:pt x="7396772" y="580119"/>
                  <a:pt x="7372062" y="604829"/>
                  <a:pt x="7341580" y="604829"/>
                </a:cubicBezTo>
                <a:cubicBezTo>
                  <a:pt x="7311098" y="604829"/>
                  <a:pt x="7286388" y="580119"/>
                  <a:pt x="7286388" y="549638"/>
                </a:cubicBezTo>
                <a:cubicBezTo>
                  <a:pt x="7286388" y="519157"/>
                  <a:pt x="7311098" y="494447"/>
                  <a:pt x="7341580" y="494447"/>
                </a:cubicBezTo>
                <a:close/>
                <a:moveTo>
                  <a:pt x="7211286" y="494447"/>
                </a:moveTo>
                <a:cubicBezTo>
                  <a:pt x="7241768" y="494447"/>
                  <a:pt x="7266478" y="519157"/>
                  <a:pt x="7266478" y="549638"/>
                </a:cubicBezTo>
                <a:cubicBezTo>
                  <a:pt x="7266478" y="580119"/>
                  <a:pt x="7241768" y="604829"/>
                  <a:pt x="7211286" y="604829"/>
                </a:cubicBezTo>
                <a:cubicBezTo>
                  <a:pt x="7180804" y="604829"/>
                  <a:pt x="7156094" y="580119"/>
                  <a:pt x="7156094" y="549638"/>
                </a:cubicBezTo>
                <a:cubicBezTo>
                  <a:pt x="7156094" y="519157"/>
                  <a:pt x="7180804" y="494447"/>
                  <a:pt x="7211286" y="494447"/>
                </a:cubicBezTo>
                <a:close/>
                <a:moveTo>
                  <a:pt x="7080994" y="494447"/>
                </a:moveTo>
                <a:cubicBezTo>
                  <a:pt x="7111476" y="494447"/>
                  <a:pt x="7136186" y="519157"/>
                  <a:pt x="7136186" y="549638"/>
                </a:cubicBezTo>
                <a:cubicBezTo>
                  <a:pt x="7136186" y="580119"/>
                  <a:pt x="7111476" y="604829"/>
                  <a:pt x="7080994" y="604829"/>
                </a:cubicBezTo>
                <a:cubicBezTo>
                  <a:pt x="7050512" y="604829"/>
                  <a:pt x="7025802" y="580119"/>
                  <a:pt x="7025802" y="549638"/>
                </a:cubicBezTo>
                <a:cubicBezTo>
                  <a:pt x="7025802" y="519157"/>
                  <a:pt x="7050512" y="494447"/>
                  <a:pt x="7080994" y="494447"/>
                </a:cubicBezTo>
                <a:close/>
                <a:moveTo>
                  <a:pt x="6947358" y="494447"/>
                </a:moveTo>
                <a:cubicBezTo>
                  <a:pt x="6977840" y="494447"/>
                  <a:pt x="7002550" y="519157"/>
                  <a:pt x="7002550" y="549638"/>
                </a:cubicBezTo>
                <a:cubicBezTo>
                  <a:pt x="7002550" y="580119"/>
                  <a:pt x="6977840" y="604829"/>
                  <a:pt x="6947358" y="604829"/>
                </a:cubicBezTo>
                <a:cubicBezTo>
                  <a:pt x="6916876" y="604829"/>
                  <a:pt x="6892166" y="580119"/>
                  <a:pt x="6892166" y="549638"/>
                </a:cubicBezTo>
                <a:cubicBezTo>
                  <a:pt x="6892166" y="519157"/>
                  <a:pt x="6916876" y="494447"/>
                  <a:pt x="6947358" y="494447"/>
                </a:cubicBezTo>
                <a:close/>
                <a:moveTo>
                  <a:pt x="6289207" y="494447"/>
                </a:moveTo>
                <a:cubicBezTo>
                  <a:pt x="6319689" y="494447"/>
                  <a:pt x="6344399" y="519157"/>
                  <a:pt x="6344399" y="549638"/>
                </a:cubicBezTo>
                <a:cubicBezTo>
                  <a:pt x="6344399" y="580119"/>
                  <a:pt x="6319689" y="604829"/>
                  <a:pt x="6289207" y="604829"/>
                </a:cubicBezTo>
                <a:cubicBezTo>
                  <a:pt x="6258725" y="604829"/>
                  <a:pt x="6234015" y="580119"/>
                  <a:pt x="6234015" y="549638"/>
                </a:cubicBezTo>
                <a:cubicBezTo>
                  <a:pt x="6234015" y="519157"/>
                  <a:pt x="6258725" y="494447"/>
                  <a:pt x="6289207" y="494447"/>
                </a:cubicBezTo>
                <a:close/>
                <a:moveTo>
                  <a:pt x="4030786" y="494447"/>
                </a:moveTo>
                <a:cubicBezTo>
                  <a:pt x="4061268" y="494447"/>
                  <a:pt x="4085978" y="519157"/>
                  <a:pt x="4085978" y="549638"/>
                </a:cubicBezTo>
                <a:cubicBezTo>
                  <a:pt x="4085978" y="580119"/>
                  <a:pt x="4061268" y="604829"/>
                  <a:pt x="4030786" y="604829"/>
                </a:cubicBezTo>
                <a:cubicBezTo>
                  <a:pt x="4000304" y="604829"/>
                  <a:pt x="3975594" y="580119"/>
                  <a:pt x="3975594" y="549638"/>
                </a:cubicBezTo>
                <a:cubicBezTo>
                  <a:pt x="3975594" y="519157"/>
                  <a:pt x="4000304" y="494447"/>
                  <a:pt x="4030786" y="494447"/>
                </a:cubicBezTo>
                <a:close/>
                <a:moveTo>
                  <a:pt x="3897148" y="494447"/>
                </a:moveTo>
                <a:cubicBezTo>
                  <a:pt x="3927630" y="494447"/>
                  <a:pt x="3952340" y="519157"/>
                  <a:pt x="3952340" y="549638"/>
                </a:cubicBezTo>
                <a:cubicBezTo>
                  <a:pt x="3952340" y="580119"/>
                  <a:pt x="3927630" y="604829"/>
                  <a:pt x="3897148" y="604829"/>
                </a:cubicBezTo>
                <a:cubicBezTo>
                  <a:pt x="3866666" y="604829"/>
                  <a:pt x="3841956" y="580119"/>
                  <a:pt x="3841956" y="549638"/>
                </a:cubicBezTo>
                <a:cubicBezTo>
                  <a:pt x="3841956" y="519157"/>
                  <a:pt x="3866666" y="494447"/>
                  <a:pt x="3897148" y="494447"/>
                </a:cubicBezTo>
                <a:close/>
                <a:moveTo>
                  <a:pt x="3763514" y="494447"/>
                </a:moveTo>
                <a:cubicBezTo>
                  <a:pt x="3793996" y="494447"/>
                  <a:pt x="3818706" y="519157"/>
                  <a:pt x="3818706" y="549638"/>
                </a:cubicBezTo>
                <a:cubicBezTo>
                  <a:pt x="3818706" y="580119"/>
                  <a:pt x="3793996" y="604829"/>
                  <a:pt x="3763514" y="604829"/>
                </a:cubicBezTo>
                <a:cubicBezTo>
                  <a:pt x="3733032" y="604829"/>
                  <a:pt x="3708322" y="580119"/>
                  <a:pt x="3708322" y="549638"/>
                </a:cubicBezTo>
                <a:cubicBezTo>
                  <a:pt x="3708322" y="519157"/>
                  <a:pt x="3733032" y="494447"/>
                  <a:pt x="3763514" y="494447"/>
                </a:cubicBezTo>
                <a:close/>
                <a:moveTo>
                  <a:pt x="3633221" y="494447"/>
                </a:moveTo>
                <a:cubicBezTo>
                  <a:pt x="3663703" y="494447"/>
                  <a:pt x="3688413" y="519157"/>
                  <a:pt x="3688413" y="549638"/>
                </a:cubicBezTo>
                <a:cubicBezTo>
                  <a:pt x="3688413" y="580119"/>
                  <a:pt x="3663703" y="604829"/>
                  <a:pt x="3633221" y="604829"/>
                </a:cubicBezTo>
                <a:cubicBezTo>
                  <a:pt x="3602739" y="604829"/>
                  <a:pt x="3578029" y="580119"/>
                  <a:pt x="3578029" y="549638"/>
                </a:cubicBezTo>
                <a:cubicBezTo>
                  <a:pt x="3578029" y="519157"/>
                  <a:pt x="3602739" y="494447"/>
                  <a:pt x="3633221" y="494447"/>
                </a:cubicBezTo>
                <a:close/>
                <a:moveTo>
                  <a:pt x="3499589" y="494447"/>
                </a:moveTo>
                <a:cubicBezTo>
                  <a:pt x="3530071" y="494447"/>
                  <a:pt x="3554781" y="519157"/>
                  <a:pt x="3554781" y="549638"/>
                </a:cubicBezTo>
                <a:cubicBezTo>
                  <a:pt x="3554781" y="580119"/>
                  <a:pt x="3530071" y="604829"/>
                  <a:pt x="3499589" y="604829"/>
                </a:cubicBezTo>
                <a:cubicBezTo>
                  <a:pt x="3469107" y="604829"/>
                  <a:pt x="3444397" y="580119"/>
                  <a:pt x="3444397" y="549638"/>
                </a:cubicBezTo>
                <a:cubicBezTo>
                  <a:pt x="3444397" y="519157"/>
                  <a:pt x="3469107" y="494447"/>
                  <a:pt x="3499589" y="494447"/>
                </a:cubicBezTo>
                <a:close/>
                <a:moveTo>
                  <a:pt x="3369292" y="494447"/>
                </a:moveTo>
                <a:cubicBezTo>
                  <a:pt x="3399774" y="494447"/>
                  <a:pt x="3424484" y="519157"/>
                  <a:pt x="3424484" y="549638"/>
                </a:cubicBezTo>
                <a:cubicBezTo>
                  <a:pt x="3424484" y="580119"/>
                  <a:pt x="3399774" y="604829"/>
                  <a:pt x="3369292" y="604829"/>
                </a:cubicBezTo>
                <a:cubicBezTo>
                  <a:pt x="3338810" y="604829"/>
                  <a:pt x="3314100" y="580119"/>
                  <a:pt x="3314100" y="549638"/>
                </a:cubicBezTo>
                <a:cubicBezTo>
                  <a:pt x="3314100" y="519157"/>
                  <a:pt x="3338810" y="494447"/>
                  <a:pt x="3369292" y="494447"/>
                </a:cubicBezTo>
                <a:close/>
                <a:moveTo>
                  <a:pt x="3235657" y="494447"/>
                </a:moveTo>
                <a:cubicBezTo>
                  <a:pt x="3266139" y="494447"/>
                  <a:pt x="3290849" y="519157"/>
                  <a:pt x="3290849" y="549638"/>
                </a:cubicBezTo>
                <a:cubicBezTo>
                  <a:pt x="3290849" y="580119"/>
                  <a:pt x="3266139" y="604829"/>
                  <a:pt x="3235657" y="604829"/>
                </a:cubicBezTo>
                <a:cubicBezTo>
                  <a:pt x="3205175" y="604829"/>
                  <a:pt x="3180465" y="580119"/>
                  <a:pt x="3180465" y="549638"/>
                </a:cubicBezTo>
                <a:cubicBezTo>
                  <a:pt x="3180465" y="519157"/>
                  <a:pt x="3205175" y="494447"/>
                  <a:pt x="3235657" y="494447"/>
                </a:cubicBezTo>
                <a:close/>
                <a:moveTo>
                  <a:pt x="2437297" y="494447"/>
                </a:moveTo>
                <a:cubicBezTo>
                  <a:pt x="2467779" y="494447"/>
                  <a:pt x="2492487" y="519157"/>
                  <a:pt x="2492487" y="549638"/>
                </a:cubicBezTo>
                <a:cubicBezTo>
                  <a:pt x="2492487" y="580119"/>
                  <a:pt x="2467779" y="604829"/>
                  <a:pt x="2437297" y="604829"/>
                </a:cubicBezTo>
                <a:cubicBezTo>
                  <a:pt x="2406818" y="604829"/>
                  <a:pt x="2382108" y="580119"/>
                  <a:pt x="2382108" y="549638"/>
                </a:cubicBezTo>
                <a:cubicBezTo>
                  <a:pt x="2382108" y="519157"/>
                  <a:pt x="2406818" y="494447"/>
                  <a:pt x="2437297" y="494447"/>
                </a:cubicBezTo>
                <a:close/>
                <a:moveTo>
                  <a:pt x="2303664" y="494447"/>
                </a:moveTo>
                <a:cubicBezTo>
                  <a:pt x="2334145" y="494447"/>
                  <a:pt x="2358856" y="519157"/>
                  <a:pt x="2358856" y="549638"/>
                </a:cubicBezTo>
                <a:cubicBezTo>
                  <a:pt x="2358856" y="580119"/>
                  <a:pt x="2334145" y="604829"/>
                  <a:pt x="2303664" y="604829"/>
                </a:cubicBezTo>
                <a:cubicBezTo>
                  <a:pt x="2273182" y="604829"/>
                  <a:pt x="2248473" y="580119"/>
                  <a:pt x="2248473" y="549638"/>
                </a:cubicBezTo>
                <a:cubicBezTo>
                  <a:pt x="2248473" y="519157"/>
                  <a:pt x="2273182" y="494447"/>
                  <a:pt x="2303664" y="494447"/>
                </a:cubicBezTo>
                <a:close/>
                <a:moveTo>
                  <a:pt x="2173372" y="494447"/>
                </a:moveTo>
                <a:cubicBezTo>
                  <a:pt x="2203854" y="494447"/>
                  <a:pt x="2228565" y="519157"/>
                  <a:pt x="2228565" y="549638"/>
                </a:cubicBezTo>
                <a:cubicBezTo>
                  <a:pt x="2228565" y="580119"/>
                  <a:pt x="2203854" y="604829"/>
                  <a:pt x="2173372" y="604829"/>
                </a:cubicBezTo>
                <a:cubicBezTo>
                  <a:pt x="2142889" y="604829"/>
                  <a:pt x="2118180" y="580119"/>
                  <a:pt x="2118180" y="549638"/>
                </a:cubicBezTo>
                <a:cubicBezTo>
                  <a:pt x="2118180" y="519157"/>
                  <a:pt x="2142889" y="494447"/>
                  <a:pt x="2173372" y="494447"/>
                </a:cubicBezTo>
                <a:close/>
                <a:moveTo>
                  <a:pt x="2039736" y="494447"/>
                </a:moveTo>
                <a:cubicBezTo>
                  <a:pt x="2070218" y="494447"/>
                  <a:pt x="2094930" y="519157"/>
                  <a:pt x="2094930" y="549638"/>
                </a:cubicBezTo>
                <a:cubicBezTo>
                  <a:pt x="2094930" y="580119"/>
                  <a:pt x="2070218" y="604829"/>
                  <a:pt x="2039736" y="604829"/>
                </a:cubicBezTo>
                <a:cubicBezTo>
                  <a:pt x="2009254" y="604829"/>
                  <a:pt x="1984543" y="580119"/>
                  <a:pt x="1984543" y="549638"/>
                </a:cubicBezTo>
                <a:cubicBezTo>
                  <a:pt x="1984543" y="519157"/>
                  <a:pt x="2009254" y="494447"/>
                  <a:pt x="2039736" y="494447"/>
                </a:cubicBezTo>
                <a:close/>
                <a:moveTo>
                  <a:pt x="1909437" y="494447"/>
                </a:moveTo>
                <a:cubicBezTo>
                  <a:pt x="1939921" y="494447"/>
                  <a:pt x="1964630" y="519157"/>
                  <a:pt x="1964630" y="549638"/>
                </a:cubicBezTo>
                <a:cubicBezTo>
                  <a:pt x="1964630" y="580119"/>
                  <a:pt x="1939921" y="604829"/>
                  <a:pt x="1909437" y="604829"/>
                </a:cubicBezTo>
                <a:cubicBezTo>
                  <a:pt x="1878955" y="604829"/>
                  <a:pt x="1854244" y="580119"/>
                  <a:pt x="1854244" y="549638"/>
                </a:cubicBezTo>
                <a:cubicBezTo>
                  <a:pt x="1854244" y="519157"/>
                  <a:pt x="1878955" y="494447"/>
                  <a:pt x="1909437" y="494447"/>
                </a:cubicBezTo>
                <a:close/>
                <a:moveTo>
                  <a:pt x="1779142" y="494447"/>
                </a:moveTo>
                <a:cubicBezTo>
                  <a:pt x="1809626" y="494447"/>
                  <a:pt x="1834335" y="519157"/>
                  <a:pt x="1834335" y="549638"/>
                </a:cubicBezTo>
                <a:cubicBezTo>
                  <a:pt x="1834335" y="580119"/>
                  <a:pt x="1809626" y="604829"/>
                  <a:pt x="1779142" y="604829"/>
                </a:cubicBezTo>
                <a:cubicBezTo>
                  <a:pt x="1748663" y="604829"/>
                  <a:pt x="1723950" y="580119"/>
                  <a:pt x="1723950" y="549638"/>
                </a:cubicBezTo>
                <a:cubicBezTo>
                  <a:pt x="1723950" y="519157"/>
                  <a:pt x="1748663" y="494447"/>
                  <a:pt x="1779142" y="494447"/>
                </a:cubicBezTo>
                <a:close/>
                <a:moveTo>
                  <a:pt x="1645508" y="494447"/>
                </a:moveTo>
                <a:cubicBezTo>
                  <a:pt x="1675988" y="494447"/>
                  <a:pt x="1700702" y="519157"/>
                  <a:pt x="1700702" y="549638"/>
                </a:cubicBezTo>
                <a:cubicBezTo>
                  <a:pt x="1700702" y="580119"/>
                  <a:pt x="1675988" y="604829"/>
                  <a:pt x="1645508" y="604829"/>
                </a:cubicBezTo>
                <a:cubicBezTo>
                  <a:pt x="1615024" y="604829"/>
                  <a:pt x="1590311" y="580119"/>
                  <a:pt x="1590311" y="549638"/>
                </a:cubicBezTo>
                <a:cubicBezTo>
                  <a:pt x="1590311" y="519157"/>
                  <a:pt x="1615024" y="494447"/>
                  <a:pt x="1645508" y="494447"/>
                </a:cubicBezTo>
                <a:close/>
                <a:moveTo>
                  <a:pt x="1515217" y="494447"/>
                </a:moveTo>
                <a:cubicBezTo>
                  <a:pt x="1545695" y="494447"/>
                  <a:pt x="1570402" y="519157"/>
                  <a:pt x="1570402" y="549638"/>
                </a:cubicBezTo>
                <a:cubicBezTo>
                  <a:pt x="1570402" y="580119"/>
                  <a:pt x="1545695" y="604829"/>
                  <a:pt x="1515217" y="604829"/>
                </a:cubicBezTo>
                <a:cubicBezTo>
                  <a:pt x="1484732" y="604829"/>
                  <a:pt x="1460020" y="580119"/>
                  <a:pt x="1460020" y="549638"/>
                </a:cubicBezTo>
                <a:cubicBezTo>
                  <a:pt x="1460020" y="519157"/>
                  <a:pt x="1484732" y="494447"/>
                  <a:pt x="1515217" y="494447"/>
                </a:cubicBezTo>
                <a:close/>
                <a:moveTo>
                  <a:pt x="1381573" y="494447"/>
                </a:moveTo>
                <a:cubicBezTo>
                  <a:pt x="1412057" y="494447"/>
                  <a:pt x="1436767" y="519157"/>
                  <a:pt x="1436767" y="549638"/>
                </a:cubicBezTo>
                <a:cubicBezTo>
                  <a:pt x="1436767" y="580119"/>
                  <a:pt x="1412057" y="604829"/>
                  <a:pt x="1381573" y="604829"/>
                </a:cubicBezTo>
                <a:cubicBezTo>
                  <a:pt x="1351097" y="604829"/>
                  <a:pt x="1326384" y="580119"/>
                  <a:pt x="1326384" y="549638"/>
                </a:cubicBezTo>
                <a:cubicBezTo>
                  <a:pt x="1326384" y="519157"/>
                  <a:pt x="1351097" y="494447"/>
                  <a:pt x="1381573" y="494447"/>
                </a:cubicBezTo>
                <a:close/>
                <a:moveTo>
                  <a:pt x="1251282" y="494447"/>
                </a:moveTo>
                <a:cubicBezTo>
                  <a:pt x="1281766" y="494447"/>
                  <a:pt x="1306476" y="519157"/>
                  <a:pt x="1306476" y="549638"/>
                </a:cubicBezTo>
                <a:cubicBezTo>
                  <a:pt x="1306476" y="580119"/>
                  <a:pt x="1281766" y="604829"/>
                  <a:pt x="1251282" y="604829"/>
                </a:cubicBezTo>
                <a:cubicBezTo>
                  <a:pt x="1220801" y="604829"/>
                  <a:pt x="1196089" y="580119"/>
                  <a:pt x="1196089" y="549638"/>
                </a:cubicBezTo>
                <a:cubicBezTo>
                  <a:pt x="1196089" y="519157"/>
                  <a:pt x="1220801" y="494447"/>
                  <a:pt x="1251282" y="494447"/>
                </a:cubicBezTo>
                <a:close/>
                <a:moveTo>
                  <a:pt x="8801538" y="364154"/>
                </a:moveTo>
                <a:cubicBezTo>
                  <a:pt x="8832020" y="364154"/>
                  <a:pt x="8856730" y="388864"/>
                  <a:pt x="8856730" y="419345"/>
                </a:cubicBezTo>
                <a:cubicBezTo>
                  <a:pt x="8856730" y="449826"/>
                  <a:pt x="8832020" y="474536"/>
                  <a:pt x="8801538" y="474536"/>
                </a:cubicBezTo>
                <a:cubicBezTo>
                  <a:pt x="8771056" y="474536"/>
                  <a:pt x="8746346" y="449826"/>
                  <a:pt x="8746346" y="419345"/>
                </a:cubicBezTo>
                <a:cubicBezTo>
                  <a:pt x="8746346" y="388864"/>
                  <a:pt x="8771056" y="364154"/>
                  <a:pt x="8801538" y="364154"/>
                </a:cubicBezTo>
                <a:close/>
                <a:moveTo>
                  <a:pt x="8671244" y="364154"/>
                </a:moveTo>
                <a:cubicBezTo>
                  <a:pt x="8701726" y="364154"/>
                  <a:pt x="8726436" y="388864"/>
                  <a:pt x="8726436" y="419345"/>
                </a:cubicBezTo>
                <a:cubicBezTo>
                  <a:pt x="8726436" y="449826"/>
                  <a:pt x="8701726" y="474536"/>
                  <a:pt x="8671244" y="474536"/>
                </a:cubicBezTo>
                <a:cubicBezTo>
                  <a:pt x="8640762" y="474536"/>
                  <a:pt x="8616052" y="449826"/>
                  <a:pt x="8616052" y="419345"/>
                </a:cubicBezTo>
                <a:cubicBezTo>
                  <a:pt x="8616052" y="388864"/>
                  <a:pt x="8640762" y="364154"/>
                  <a:pt x="8671244" y="364154"/>
                </a:cubicBezTo>
                <a:close/>
                <a:moveTo>
                  <a:pt x="8537609" y="364154"/>
                </a:moveTo>
                <a:cubicBezTo>
                  <a:pt x="8568091" y="364154"/>
                  <a:pt x="8592801" y="388864"/>
                  <a:pt x="8592801" y="419345"/>
                </a:cubicBezTo>
                <a:cubicBezTo>
                  <a:pt x="8592801" y="449826"/>
                  <a:pt x="8568091" y="474536"/>
                  <a:pt x="8537609" y="474536"/>
                </a:cubicBezTo>
                <a:cubicBezTo>
                  <a:pt x="8507127" y="474536"/>
                  <a:pt x="8482417" y="449826"/>
                  <a:pt x="8482417" y="419345"/>
                </a:cubicBezTo>
                <a:cubicBezTo>
                  <a:pt x="8482417" y="388864"/>
                  <a:pt x="8507127" y="364154"/>
                  <a:pt x="8537609" y="364154"/>
                </a:cubicBezTo>
                <a:close/>
                <a:moveTo>
                  <a:pt x="7745824" y="364154"/>
                </a:moveTo>
                <a:cubicBezTo>
                  <a:pt x="7776306" y="364154"/>
                  <a:pt x="7801016" y="388864"/>
                  <a:pt x="7801016" y="419345"/>
                </a:cubicBezTo>
                <a:cubicBezTo>
                  <a:pt x="7801016" y="449826"/>
                  <a:pt x="7776306" y="474536"/>
                  <a:pt x="7745824" y="474536"/>
                </a:cubicBezTo>
                <a:cubicBezTo>
                  <a:pt x="7715342" y="474536"/>
                  <a:pt x="7690632" y="449826"/>
                  <a:pt x="7690632" y="419345"/>
                </a:cubicBezTo>
                <a:cubicBezTo>
                  <a:pt x="7690632" y="388864"/>
                  <a:pt x="7715342" y="364154"/>
                  <a:pt x="7745824" y="364154"/>
                </a:cubicBezTo>
                <a:close/>
                <a:moveTo>
                  <a:pt x="7608850" y="364154"/>
                </a:moveTo>
                <a:cubicBezTo>
                  <a:pt x="7639332" y="364154"/>
                  <a:pt x="7664042" y="388864"/>
                  <a:pt x="7664042" y="419345"/>
                </a:cubicBezTo>
                <a:cubicBezTo>
                  <a:pt x="7664042" y="449826"/>
                  <a:pt x="7639332" y="474536"/>
                  <a:pt x="7608850" y="474536"/>
                </a:cubicBezTo>
                <a:cubicBezTo>
                  <a:pt x="7578368" y="474536"/>
                  <a:pt x="7553658" y="449826"/>
                  <a:pt x="7553658" y="419345"/>
                </a:cubicBezTo>
                <a:cubicBezTo>
                  <a:pt x="7553658" y="388864"/>
                  <a:pt x="7578368" y="364154"/>
                  <a:pt x="7608850" y="364154"/>
                </a:cubicBezTo>
                <a:close/>
                <a:moveTo>
                  <a:pt x="7481895" y="364154"/>
                </a:moveTo>
                <a:cubicBezTo>
                  <a:pt x="7512377" y="364154"/>
                  <a:pt x="7537087" y="388864"/>
                  <a:pt x="7537087" y="419345"/>
                </a:cubicBezTo>
                <a:cubicBezTo>
                  <a:pt x="7537087" y="449826"/>
                  <a:pt x="7512377" y="474536"/>
                  <a:pt x="7481895" y="474536"/>
                </a:cubicBezTo>
                <a:cubicBezTo>
                  <a:pt x="7451413" y="474536"/>
                  <a:pt x="7426703" y="449826"/>
                  <a:pt x="7426703" y="419345"/>
                </a:cubicBezTo>
                <a:cubicBezTo>
                  <a:pt x="7426703" y="388864"/>
                  <a:pt x="7451413" y="364154"/>
                  <a:pt x="7481895" y="364154"/>
                </a:cubicBezTo>
                <a:close/>
                <a:moveTo>
                  <a:pt x="7341580" y="364154"/>
                </a:moveTo>
                <a:cubicBezTo>
                  <a:pt x="7372062" y="364154"/>
                  <a:pt x="7396772" y="388864"/>
                  <a:pt x="7396772" y="419345"/>
                </a:cubicBezTo>
                <a:cubicBezTo>
                  <a:pt x="7396772" y="449826"/>
                  <a:pt x="7372062" y="474536"/>
                  <a:pt x="7341580" y="474536"/>
                </a:cubicBezTo>
                <a:cubicBezTo>
                  <a:pt x="7311098" y="474536"/>
                  <a:pt x="7286388" y="449826"/>
                  <a:pt x="7286388" y="419345"/>
                </a:cubicBezTo>
                <a:cubicBezTo>
                  <a:pt x="7286388" y="388864"/>
                  <a:pt x="7311098" y="364154"/>
                  <a:pt x="7341580" y="364154"/>
                </a:cubicBezTo>
                <a:close/>
                <a:moveTo>
                  <a:pt x="6553137" y="364154"/>
                </a:moveTo>
                <a:cubicBezTo>
                  <a:pt x="6583619" y="364154"/>
                  <a:pt x="6608329" y="388864"/>
                  <a:pt x="6608329" y="419345"/>
                </a:cubicBezTo>
                <a:cubicBezTo>
                  <a:pt x="6608329" y="449826"/>
                  <a:pt x="6583619" y="474536"/>
                  <a:pt x="6553137" y="474536"/>
                </a:cubicBezTo>
                <a:cubicBezTo>
                  <a:pt x="6522655" y="474536"/>
                  <a:pt x="6497945" y="449826"/>
                  <a:pt x="6497945" y="419345"/>
                </a:cubicBezTo>
                <a:cubicBezTo>
                  <a:pt x="6497945" y="388864"/>
                  <a:pt x="6522655" y="364154"/>
                  <a:pt x="6553137" y="364154"/>
                </a:cubicBezTo>
                <a:close/>
                <a:moveTo>
                  <a:pt x="6419503" y="364154"/>
                </a:moveTo>
                <a:cubicBezTo>
                  <a:pt x="6449985" y="364154"/>
                  <a:pt x="6474695" y="388864"/>
                  <a:pt x="6474695" y="419345"/>
                </a:cubicBezTo>
                <a:cubicBezTo>
                  <a:pt x="6474695" y="449826"/>
                  <a:pt x="6449985" y="474536"/>
                  <a:pt x="6419503" y="474536"/>
                </a:cubicBezTo>
                <a:cubicBezTo>
                  <a:pt x="6389021" y="474536"/>
                  <a:pt x="6364311" y="449826"/>
                  <a:pt x="6364311" y="419345"/>
                </a:cubicBezTo>
                <a:cubicBezTo>
                  <a:pt x="6364311" y="388864"/>
                  <a:pt x="6389021" y="364154"/>
                  <a:pt x="6419503" y="364154"/>
                </a:cubicBezTo>
                <a:close/>
                <a:moveTo>
                  <a:pt x="4030786" y="364154"/>
                </a:moveTo>
                <a:cubicBezTo>
                  <a:pt x="4061268" y="364154"/>
                  <a:pt x="4085978" y="388864"/>
                  <a:pt x="4085978" y="419345"/>
                </a:cubicBezTo>
                <a:cubicBezTo>
                  <a:pt x="4085978" y="449826"/>
                  <a:pt x="4061268" y="474536"/>
                  <a:pt x="4030786" y="474536"/>
                </a:cubicBezTo>
                <a:cubicBezTo>
                  <a:pt x="4000304" y="474536"/>
                  <a:pt x="3975594" y="449826"/>
                  <a:pt x="3975594" y="419345"/>
                </a:cubicBezTo>
                <a:cubicBezTo>
                  <a:pt x="3975594" y="388864"/>
                  <a:pt x="4000304" y="364154"/>
                  <a:pt x="4030786" y="364154"/>
                </a:cubicBezTo>
                <a:close/>
                <a:moveTo>
                  <a:pt x="3897148" y="364154"/>
                </a:moveTo>
                <a:cubicBezTo>
                  <a:pt x="3927630" y="364154"/>
                  <a:pt x="3952340" y="388864"/>
                  <a:pt x="3952340" y="419345"/>
                </a:cubicBezTo>
                <a:cubicBezTo>
                  <a:pt x="3952340" y="449826"/>
                  <a:pt x="3927630" y="474536"/>
                  <a:pt x="3897148" y="474536"/>
                </a:cubicBezTo>
                <a:cubicBezTo>
                  <a:pt x="3866666" y="474536"/>
                  <a:pt x="3841956" y="449826"/>
                  <a:pt x="3841956" y="419345"/>
                </a:cubicBezTo>
                <a:cubicBezTo>
                  <a:pt x="3841956" y="388864"/>
                  <a:pt x="3866666" y="364154"/>
                  <a:pt x="3897148" y="364154"/>
                </a:cubicBezTo>
                <a:close/>
                <a:moveTo>
                  <a:pt x="3763514" y="364154"/>
                </a:moveTo>
                <a:cubicBezTo>
                  <a:pt x="3793996" y="364154"/>
                  <a:pt x="3818706" y="388864"/>
                  <a:pt x="3818706" y="419345"/>
                </a:cubicBezTo>
                <a:cubicBezTo>
                  <a:pt x="3818706" y="449826"/>
                  <a:pt x="3793996" y="474536"/>
                  <a:pt x="3763514" y="474536"/>
                </a:cubicBezTo>
                <a:cubicBezTo>
                  <a:pt x="3733032" y="474536"/>
                  <a:pt x="3708322" y="449826"/>
                  <a:pt x="3708322" y="419345"/>
                </a:cubicBezTo>
                <a:cubicBezTo>
                  <a:pt x="3708322" y="388864"/>
                  <a:pt x="3733032" y="364154"/>
                  <a:pt x="3763514" y="364154"/>
                </a:cubicBezTo>
                <a:close/>
                <a:moveTo>
                  <a:pt x="3633221" y="364154"/>
                </a:moveTo>
                <a:cubicBezTo>
                  <a:pt x="3663703" y="364154"/>
                  <a:pt x="3688413" y="388864"/>
                  <a:pt x="3688413" y="419345"/>
                </a:cubicBezTo>
                <a:cubicBezTo>
                  <a:pt x="3688413" y="449826"/>
                  <a:pt x="3663703" y="474536"/>
                  <a:pt x="3633221" y="474536"/>
                </a:cubicBezTo>
                <a:cubicBezTo>
                  <a:pt x="3602739" y="474536"/>
                  <a:pt x="3578029" y="449826"/>
                  <a:pt x="3578029" y="419345"/>
                </a:cubicBezTo>
                <a:cubicBezTo>
                  <a:pt x="3578029" y="388864"/>
                  <a:pt x="3602739" y="364154"/>
                  <a:pt x="3633221" y="364154"/>
                </a:cubicBezTo>
                <a:close/>
                <a:moveTo>
                  <a:pt x="3499589" y="364154"/>
                </a:moveTo>
                <a:cubicBezTo>
                  <a:pt x="3530071" y="364154"/>
                  <a:pt x="3554781" y="388864"/>
                  <a:pt x="3554781" y="419345"/>
                </a:cubicBezTo>
                <a:cubicBezTo>
                  <a:pt x="3554781" y="449826"/>
                  <a:pt x="3530071" y="474536"/>
                  <a:pt x="3499589" y="474536"/>
                </a:cubicBezTo>
                <a:cubicBezTo>
                  <a:pt x="3469107" y="474536"/>
                  <a:pt x="3444397" y="449826"/>
                  <a:pt x="3444397" y="419345"/>
                </a:cubicBezTo>
                <a:cubicBezTo>
                  <a:pt x="3444397" y="388864"/>
                  <a:pt x="3469107" y="364154"/>
                  <a:pt x="3499589" y="364154"/>
                </a:cubicBezTo>
                <a:close/>
                <a:moveTo>
                  <a:pt x="3369292" y="364154"/>
                </a:moveTo>
                <a:cubicBezTo>
                  <a:pt x="3399774" y="364154"/>
                  <a:pt x="3424484" y="388864"/>
                  <a:pt x="3424484" y="419345"/>
                </a:cubicBezTo>
                <a:cubicBezTo>
                  <a:pt x="3424484" y="449826"/>
                  <a:pt x="3399774" y="474536"/>
                  <a:pt x="3369292" y="474536"/>
                </a:cubicBezTo>
                <a:cubicBezTo>
                  <a:pt x="3338810" y="474536"/>
                  <a:pt x="3314100" y="449826"/>
                  <a:pt x="3314100" y="419345"/>
                </a:cubicBezTo>
                <a:cubicBezTo>
                  <a:pt x="3314100" y="388864"/>
                  <a:pt x="3338810" y="364154"/>
                  <a:pt x="3369292" y="364154"/>
                </a:cubicBezTo>
                <a:close/>
                <a:moveTo>
                  <a:pt x="3235657" y="364154"/>
                </a:moveTo>
                <a:cubicBezTo>
                  <a:pt x="3266139" y="364154"/>
                  <a:pt x="3290849" y="388864"/>
                  <a:pt x="3290849" y="419345"/>
                </a:cubicBezTo>
                <a:cubicBezTo>
                  <a:pt x="3290849" y="449826"/>
                  <a:pt x="3266139" y="474536"/>
                  <a:pt x="3235657" y="474536"/>
                </a:cubicBezTo>
                <a:cubicBezTo>
                  <a:pt x="3205175" y="474536"/>
                  <a:pt x="3180465" y="449826"/>
                  <a:pt x="3180465" y="419345"/>
                </a:cubicBezTo>
                <a:cubicBezTo>
                  <a:pt x="3180465" y="388864"/>
                  <a:pt x="3205175" y="364154"/>
                  <a:pt x="3235657" y="364154"/>
                </a:cubicBezTo>
                <a:close/>
                <a:moveTo>
                  <a:pt x="3098681" y="364154"/>
                </a:moveTo>
                <a:cubicBezTo>
                  <a:pt x="3129163" y="364154"/>
                  <a:pt x="3153873" y="388864"/>
                  <a:pt x="3153873" y="419345"/>
                </a:cubicBezTo>
                <a:cubicBezTo>
                  <a:pt x="3153873" y="449826"/>
                  <a:pt x="3129163" y="474536"/>
                  <a:pt x="3098681" y="474536"/>
                </a:cubicBezTo>
                <a:cubicBezTo>
                  <a:pt x="3068199" y="474536"/>
                  <a:pt x="3043489" y="449826"/>
                  <a:pt x="3043489" y="419345"/>
                </a:cubicBezTo>
                <a:cubicBezTo>
                  <a:pt x="3043489" y="388864"/>
                  <a:pt x="3068199" y="364154"/>
                  <a:pt x="3098681" y="364154"/>
                </a:cubicBezTo>
                <a:close/>
                <a:moveTo>
                  <a:pt x="2971729" y="364154"/>
                </a:moveTo>
                <a:cubicBezTo>
                  <a:pt x="3002211" y="364154"/>
                  <a:pt x="3026921" y="388864"/>
                  <a:pt x="3026921" y="419345"/>
                </a:cubicBezTo>
                <a:cubicBezTo>
                  <a:pt x="3026921" y="449826"/>
                  <a:pt x="3002211" y="474536"/>
                  <a:pt x="2971729" y="474536"/>
                </a:cubicBezTo>
                <a:cubicBezTo>
                  <a:pt x="2941247" y="474536"/>
                  <a:pt x="2916537" y="449826"/>
                  <a:pt x="2916537" y="419345"/>
                </a:cubicBezTo>
                <a:cubicBezTo>
                  <a:pt x="2916537" y="388864"/>
                  <a:pt x="2941247" y="364154"/>
                  <a:pt x="2971729" y="364154"/>
                </a:cubicBezTo>
                <a:close/>
                <a:moveTo>
                  <a:pt x="2834862" y="364154"/>
                </a:moveTo>
                <a:cubicBezTo>
                  <a:pt x="2865342" y="364154"/>
                  <a:pt x="2890052" y="388864"/>
                  <a:pt x="2890052" y="419345"/>
                </a:cubicBezTo>
                <a:cubicBezTo>
                  <a:pt x="2890052" y="449826"/>
                  <a:pt x="2865342" y="474536"/>
                  <a:pt x="2834862" y="474536"/>
                </a:cubicBezTo>
                <a:cubicBezTo>
                  <a:pt x="2804379" y="474536"/>
                  <a:pt x="2779671" y="449826"/>
                  <a:pt x="2779671" y="419345"/>
                </a:cubicBezTo>
                <a:cubicBezTo>
                  <a:pt x="2779671" y="388864"/>
                  <a:pt x="2804379" y="364154"/>
                  <a:pt x="2834862" y="364154"/>
                </a:cubicBezTo>
                <a:close/>
                <a:moveTo>
                  <a:pt x="2437297" y="364154"/>
                </a:moveTo>
                <a:cubicBezTo>
                  <a:pt x="2467781" y="364154"/>
                  <a:pt x="2492487" y="388864"/>
                  <a:pt x="2492487" y="419345"/>
                </a:cubicBezTo>
                <a:cubicBezTo>
                  <a:pt x="2492487" y="449826"/>
                  <a:pt x="2467781" y="474536"/>
                  <a:pt x="2437297" y="474536"/>
                </a:cubicBezTo>
                <a:cubicBezTo>
                  <a:pt x="2406818" y="474536"/>
                  <a:pt x="2382108" y="449826"/>
                  <a:pt x="2382108" y="419345"/>
                </a:cubicBezTo>
                <a:cubicBezTo>
                  <a:pt x="2382108" y="388864"/>
                  <a:pt x="2406818" y="364154"/>
                  <a:pt x="2437297" y="364154"/>
                </a:cubicBezTo>
                <a:close/>
                <a:moveTo>
                  <a:pt x="2303664" y="364154"/>
                </a:moveTo>
                <a:cubicBezTo>
                  <a:pt x="2334146" y="364154"/>
                  <a:pt x="2358856" y="388864"/>
                  <a:pt x="2358856" y="419345"/>
                </a:cubicBezTo>
                <a:cubicBezTo>
                  <a:pt x="2358856" y="449826"/>
                  <a:pt x="2334146" y="474536"/>
                  <a:pt x="2303664" y="474536"/>
                </a:cubicBezTo>
                <a:cubicBezTo>
                  <a:pt x="2273184" y="474536"/>
                  <a:pt x="2248473" y="449826"/>
                  <a:pt x="2248473" y="419345"/>
                </a:cubicBezTo>
                <a:cubicBezTo>
                  <a:pt x="2248473" y="388864"/>
                  <a:pt x="2273184" y="364154"/>
                  <a:pt x="2303664" y="364154"/>
                </a:cubicBezTo>
                <a:close/>
                <a:moveTo>
                  <a:pt x="2173372" y="364154"/>
                </a:moveTo>
                <a:cubicBezTo>
                  <a:pt x="2203854" y="364154"/>
                  <a:pt x="2228565" y="388864"/>
                  <a:pt x="2228565" y="419345"/>
                </a:cubicBezTo>
                <a:cubicBezTo>
                  <a:pt x="2228565" y="449826"/>
                  <a:pt x="2203854" y="474536"/>
                  <a:pt x="2173372" y="474536"/>
                </a:cubicBezTo>
                <a:cubicBezTo>
                  <a:pt x="2142892" y="474536"/>
                  <a:pt x="2118180" y="449826"/>
                  <a:pt x="2118180" y="419345"/>
                </a:cubicBezTo>
                <a:cubicBezTo>
                  <a:pt x="2118180" y="388864"/>
                  <a:pt x="2142892" y="364154"/>
                  <a:pt x="2173372" y="364154"/>
                </a:cubicBezTo>
                <a:close/>
                <a:moveTo>
                  <a:pt x="2039736" y="364154"/>
                </a:moveTo>
                <a:cubicBezTo>
                  <a:pt x="2070218" y="364154"/>
                  <a:pt x="2094930" y="388864"/>
                  <a:pt x="2094930" y="419345"/>
                </a:cubicBezTo>
                <a:cubicBezTo>
                  <a:pt x="2094930" y="449826"/>
                  <a:pt x="2070218" y="474536"/>
                  <a:pt x="2039736" y="474536"/>
                </a:cubicBezTo>
                <a:cubicBezTo>
                  <a:pt x="2009254" y="474536"/>
                  <a:pt x="1984543" y="449826"/>
                  <a:pt x="1984543" y="419345"/>
                </a:cubicBezTo>
                <a:cubicBezTo>
                  <a:pt x="1984543" y="388864"/>
                  <a:pt x="2009254" y="364154"/>
                  <a:pt x="2039736" y="364154"/>
                </a:cubicBezTo>
                <a:close/>
                <a:moveTo>
                  <a:pt x="1909440" y="364154"/>
                </a:moveTo>
                <a:cubicBezTo>
                  <a:pt x="1939922" y="364154"/>
                  <a:pt x="1964634" y="388864"/>
                  <a:pt x="1964634" y="419345"/>
                </a:cubicBezTo>
                <a:cubicBezTo>
                  <a:pt x="1964634" y="449826"/>
                  <a:pt x="1939922" y="474536"/>
                  <a:pt x="1909440" y="474536"/>
                </a:cubicBezTo>
                <a:cubicBezTo>
                  <a:pt x="1878957" y="474536"/>
                  <a:pt x="1854246" y="449826"/>
                  <a:pt x="1854246" y="419345"/>
                </a:cubicBezTo>
                <a:cubicBezTo>
                  <a:pt x="1854246" y="388864"/>
                  <a:pt x="1878957" y="364154"/>
                  <a:pt x="1909440" y="364154"/>
                </a:cubicBezTo>
                <a:close/>
                <a:moveTo>
                  <a:pt x="1779142" y="364154"/>
                </a:moveTo>
                <a:cubicBezTo>
                  <a:pt x="1809626" y="364154"/>
                  <a:pt x="1834337" y="388864"/>
                  <a:pt x="1834337" y="419345"/>
                </a:cubicBezTo>
                <a:cubicBezTo>
                  <a:pt x="1834337" y="449826"/>
                  <a:pt x="1809626" y="474536"/>
                  <a:pt x="1779142" y="474536"/>
                </a:cubicBezTo>
                <a:cubicBezTo>
                  <a:pt x="1748663" y="474536"/>
                  <a:pt x="1723951" y="449826"/>
                  <a:pt x="1723951" y="419345"/>
                </a:cubicBezTo>
                <a:cubicBezTo>
                  <a:pt x="1723951" y="388864"/>
                  <a:pt x="1748663" y="364154"/>
                  <a:pt x="1779142" y="364154"/>
                </a:cubicBezTo>
                <a:close/>
                <a:moveTo>
                  <a:pt x="1645508" y="364154"/>
                </a:moveTo>
                <a:cubicBezTo>
                  <a:pt x="1675988" y="364154"/>
                  <a:pt x="1700702" y="388864"/>
                  <a:pt x="1700702" y="419345"/>
                </a:cubicBezTo>
                <a:cubicBezTo>
                  <a:pt x="1700702" y="449826"/>
                  <a:pt x="1675988" y="474536"/>
                  <a:pt x="1645508" y="474536"/>
                </a:cubicBezTo>
                <a:cubicBezTo>
                  <a:pt x="1615024" y="474536"/>
                  <a:pt x="1590313" y="449826"/>
                  <a:pt x="1590313" y="419345"/>
                </a:cubicBezTo>
                <a:cubicBezTo>
                  <a:pt x="1590313" y="388864"/>
                  <a:pt x="1615024" y="364154"/>
                  <a:pt x="1645508" y="364154"/>
                </a:cubicBezTo>
                <a:close/>
                <a:moveTo>
                  <a:pt x="1515217" y="364154"/>
                </a:moveTo>
                <a:cubicBezTo>
                  <a:pt x="1545695" y="364154"/>
                  <a:pt x="1570405" y="388864"/>
                  <a:pt x="1570405" y="419345"/>
                </a:cubicBezTo>
                <a:cubicBezTo>
                  <a:pt x="1570405" y="449826"/>
                  <a:pt x="1545695" y="474536"/>
                  <a:pt x="1515217" y="474536"/>
                </a:cubicBezTo>
                <a:cubicBezTo>
                  <a:pt x="1484732" y="474536"/>
                  <a:pt x="1460020" y="449826"/>
                  <a:pt x="1460020" y="419345"/>
                </a:cubicBezTo>
                <a:cubicBezTo>
                  <a:pt x="1460020" y="388864"/>
                  <a:pt x="1484732" y="364154"/>
                  <a:pt x="1515217" y="364154"/>
                </a:cubicBezTo>
                <a:close/>
                <a:moveTo>
                  <a:pt x="1381573" y="364154"/>
                </a:moveTo>
                <a:cubicBezTo>
                  <a:pt x="1412060" y="364154"/>
                  <a:pt x="1436767" y="388864"/>
                  <a:pt x="1436767" y="419345"/>
                </a:cubicBezTo>
                <a:cubicBezTo>
                  <a:pt x="1436767" y="449826"/>
                  <a:pt x="1412060" y="474536"/>
                  <a:pt x="1381573" y="474536"/>
                </a:cubicBezTo>
                <a:cubicBezTo>
                  <a:pt x="1351097" y="474536"/>
                  <a:pt x="1326384" y="449826"/>
                  <a:pt x="1326384" y="419345"/>
                </a:cubicBezTo>
                <a:cubicBezTo>
                  <a:pt x="1326384" y="388864"/>
                  <a:pt x="1351097" y="364154"/>
                  <a:pt x="1381573" y="364154"/>
                </a:cubicBezTo>
                <a:close/>
                <a:moveTo>
                  <a:pt x="1251283" y="364154"/>
                </a:moveTo>
                <a:cubicBezTo>
                  <a:pt x="1281766" y="364154"/>
                  <a:pt x="1306476" y="388864"/>
                  <a:pt x="1306476" y="419345"/>
                </a:cubicBezTo>
                <a:cubicBezTo>
                  <a:pt x="1306476" y="449826"/>
                  <a:pt x="1281766" y="474536"/>
                  <a:pt x="1251283" y="474536"/>
                </a:cubicBezTo>
                <a:cubicBezTo>
                  <a:pt x="1220801" y="474536"/>
                  <a:pt x="1196091" y="449826"/>
                  <a:pt x="1196091" y="419345"/>
                </a:cubicBezTo>
                <a:cubicBezTo>
                  <a:pt x="1196091" y="388864"/>
                  <a:pt x="1220801" y="364154"/>
                  <a:pt x="1251283" y="364154"/>
                </a:cubicBezTo>
                <a:close/>
                <a:moveTo>
                  <a:pt x="7608850" y="247225"/>
                </a:moveTo>
                <a:cubicBezTo>
                  <a:pt x="7639332" y="247225"/>
                  <a:pt x="7664042" y="271935"/>
                  <a:pt x="7664042" y="302416"/>
                </a:cubicBezTo>
                <a:cubicBezTo>
                  <a:pt x="7664042" y="332897"/>
                  <a:pt x="7639332" y="357607"/>
                  <a:pt x="7608850" y="357607"/>
                </a:cubicBezTo>
                <a:cubicBezTo>
                  <a:pt x="7578368" y="357607"/>
                  <a:pt x="7553658" y="332897"/>
                  <a:pt x="7553658" y="302416"/>
                </a:cubicBezTo>
                <a:cubicBezTo>
                  <a:pt x="7553658" y="271935"/>
                  <a:pt x="7578368" y="247225"/>
                  <a:pt x="7608850" y="247225"/>
                </a:cubicBezTo>
                <a:close/>
                <a:moveTo>
                  <a:pt x="7481898" y="247225"/>
                </a:moveTo>
                <a:cubicBezTo>
                  <a:pt x="7512380" y="247225"/>
                  <a:pt x="7537090" y="271935"/>
                  <a:pt x="7537090" y="302416"/>
                </a:cubicBezTo>
                <a:cubicBezTo>
                  <a:pt x="7537090" y="332897"/>
                  <a:pt x="7512380" y="357607"/>
                  <a:pt x="7481898" y="357607"/>
                </a:cubicBezTo>
                <a:cubicBezTo>
                  <a:pt x="7451416" y="357607"/>
                  <a:pt x="7426706" y="332897"/>
                  <a:pt x="7426706" y="302416"/>
                </a:cubicBezTo>
                <a:cubicBezTo>
                  <a:pt x="7426706" y="271935"/>
                  <a:pt x="7451416" y="247225"/>
                  <a:pt x="7481898" y="247225"/>
                </a:cubicBezTo>
                <a:close/>
                <a:moveTo>
                  <a:pt x="5093178" y="247225"/>
                </a:moveTo>
                <a:cubicBezTo>
                  <a:pt x="5123660" y="247225"/>
                  <a:pt x="5148370" y="271935"/>
                  <a:pt x="5148370" y="302416"/>
                </a:cubicBezTo>
                <a:cubicBezTo>
                  <a:pt x="5148370" y="332897"/>
                  <a:pt x="5123660" y="357607"/>
                  <a:pt x="5093178" y="357607"/>
                </a:cubicBezTo>
                <a:cubicBezTo>
                  <a:pt x="5062696" y="357607"/>
                  <a:pt x="5037986" y="332897"/>
                  <a:pt x="5037986" y="302416"/>
                </a:cubicBezTo>
                <a:cubicBezTo>
                  <a:pt x="5037986" y="271935"/>
                  <a:pt x="5062696" y="247225"/>
                  <a:pt x="5093178" y="247225"/>
                </a:cubicBezTo>
                <a:close/>
                <a:moveTo>
                  <a:pt x="4030786" y="247225"/>
                </a:moveTo>
                <a:cubicBezTo>
                  <a:pt x="4061268" y="247225"/>
                  <a:pt x="4085978" y="271935"/>
                  <a:pt x="4085978" y="302416"/>
                </a:cubicBezTo>
                <a:cubicBezTo>
                  <a:pt x="4085978" y="332897"/>
                  <a:pt x="4061268" y="357607"/>
                  <a:pt x="4030786" y="357607"/>
                </a:cubicBezTo>
                <a:cubicBezTo>
                  <a:pt x="4000304" y="357607"/>
                  <a:pt x="3975594" y="332897"/>
                  <a:pt x="3975594" y="302416"/>
                </a:cubicBezTo>
                <a:cubicBezTo>
                  <a:pt x="3975594" y="271935"/>
                  <a:pt x="4000304" y="247225"/>
                  <a:pt x="4030786" y="247225"/>
                </a:cubicBezTo>
                <a:close/>
                <a:moveTo>
                  <a:pt x="3897148" y="247225"/>
                </a:moveTo>
                <a:cubicBezTo>
                  <a:pt x="3927630" y="247225"/>
                  <a:pt x="3952340" y="271935"/>
                  <a:pt x="3952340" y="302416"/>
                </a:cubicBezTo>
                <a:cubicBezTo>
                  <a:pt x="3952340" y="332897"/>
                  <a:pt x="3927630" y="357607"/>
                  <a:pt x="3897148" y="357607"/>
                </a:cubicBezTo>
                <a:cubicBezTo>
                  <a:pt x="3866666" y="357607"/>
                  <a:pt x="3841956" y="332897"/>
                  <a:pt x="3841956" y="302416"/>
                </a:cubicBezTo>
                <a:cubicBezTo>
                  <a:pt x="3841956" y="271935"/>
                  <a:pt x="3866666" y="247225"/>
                  <a:pt x="3897148" y="247225"/>
                </a:cubicBezTo>
                <a:close/>
                <a:moveTo>
                  <a:pt x="3763514" y="247225"/>
                </a:moveTo>
                <a:cubicBezTo>
                  <a:pt x="3793996" y="247225"/>
                  <a:pt x="3818706" y="271935"/>
                  <a:pt x="3818706" y="302416"/>
                </a:cubicBezTo>
                <a:cubicBezTo>
                  <a:pt x="3818706" y="332897"/>
                  <a:pt x="3793996" y="357607"/>
                  <a:pt x="3763514" y="357607"/>
                </a:cubicBezTo>
                <a:cubicBezTo>
                  <a:pt x="3733032" y="357607"/>
                  <a:pt x="3708322" y="332897"/>
                  <a:pt x="3708322" y="302416"/>
                </a:cubicBezTo>
                <a:cubicBezTo>
                  <a:pt x="3708322" y="271935"/>
                  <a:pt x="3733032" y="247225"/>
                  <a:pt x="3763514" y="247225"/>
                </a:cubicBezTo>
                <a:close/>
                <a:moveTo>
                  <a:pt x="3633221" y="247225"/>
                </a:moveTo>
                <a:cubicBezTo>
                  <a:pt x="3663703" y="247225"/>
                  <a:pt x="3688413" y="271935"/>
                  <a:pt x="3688413" y="302416"/>
                </a:cubicBezTo>
                <a:cubicBezTo>
                  <a:pt x="3688413" y="332897"/>
                  <a:pt x="3663703" y="357607"/>
                  <a:pt x="3633221" y="357607"/>
                </a:cubicBezTo>
                <a:cubicBezTo>
                  <a:pt x="3602739" y="357607"/>
                  <a:pt x="3578029" y="332897"/>
                  <a:pt x="3578029" y="302416"/>
                </a:cubicBezTo>
                <a:cubicBezTo>
                  <a:pt x="3578029" y="271935"/>
                  <a:pt x="3602739" y="247225"/>
                  <a:pt x="3633221" y="247225"/>
                </a:cubicBezTo>
                <a:close/>
                <a:moveTo>
                  <a:pt x="3499589" y="247225"/>
                </a:moveTo>
                <a:cubicBezTo>
                  <a:pt x="3530071" y="247225"/>
                  <a:pt x="3554781" y="271935"/>
                  <a:pt x="3554781" y="302416"/>
                </a:cubicBezTo>
                <a:cubicBezTo>
                  <a:pt x="3554781" y="332897"/>
                  <a:pt x="3530071" y="357607"/>
                  <a:pt x="3499589" y="357607"/>
                </a:cubicBezTo>
                <a:cubicBezTo>
                  <a:pt x="3469107" y="357607"/>
                  <a:pt x="3444397" y="332897"/>
                  <a:pt x="3444397" y="302416"/>
                </a:cubicBezTo>
                <a:cubicBezTo>
                  <a:pt x="3444397" y="271935"/>
                  <a:pt x="3469107" y="247225"/>
                  <a:pt x="3499589" y="247225"/>
                </a:cubicBezTo>
                <a:close/>
                <a:moveTo>
                  <a:pt x="3369293" y="247225"/>
                </a:moveTo>
                <a:cubicBezTo>
                  <a:pt x="3399775" y="247225"/>
                  <a:pt x="3424485" y="271935"/>
                  <a:pt x="3424485" y="302416"/>
                </a:cubicBezTo>
                <a:cubicBezTo>
                  <a:pt x="3424485" y="332897"/>
                  <a:pt x="3399775" y="357607"/>
                  <a:pt x="3369293" y="357607"/>
                </a:cubicBezTo>
                <a:cubicBezTo>
                  <a:pt x="3338811" y="357607"/>
                  <a:pt x="3314101" y="332897"/>
                  <a:pt x="3314101" y="302416"/>
                </a:cubicBezTo>
                <a:cubicBezTo>
                  <a:pt x="3314101" y="271935"/>
                  <a:pt x="3338811" y="247225"/>
                  <a:pt x="3369293" y="247225"/>
                </a:cubicBezTo>
                <a:close/>
                <a:moveTo>
                  <a:pt x="3235657" y="247225"/>
                </a:moveTo>
                <a:cubicBezTo>
                  <a:pt x="3266139" y="247225"/>
                  <a:pt x="3290849" y="271935"/>
                  <a:pt x="3290849" y="302416"/>
                </a:cubicBezTo>
                <a:cubicBezTo>
                  <a:pt x="3290849" y="332897"/>
                  <a:pt x="3266139" y="357607"/>
                  <a:pt x="3235657" y="357607"/>
                </a:cubicBezTo>
                <a:cubicBezTo>
                  <a:pt x="3205175" y="357607"/>
                  <a:pt x="3180465" y="332897"/>
                  <a:pt x="3180465" y="302416"/>
                </a:cubicBezTo>
                <a:cubicBezTo>
                  <a:pt x="3180465" y="271935"/>
                  <a:pt x="3205175" y="247225"/>
                  <a:pt x="3235657" y="247225"/>
                </a:cubicBezTo>
                <a:close/>
                <a:moveTo>
                  <a:pt x="3098682" y="247225"/>
                </a:moveTo>
                <a:cubicBezTo>
                  <a:pt x="3129164" y="247225"/>
                  <a:pt x="3153874" y="271935"/>
                  <a:pt x="3153874" y="302416"/>
                </a:cubicBezTo>
                <a:cubicBezTo>
                  <a:pt x="3153874" y="332897"/>
                  <a:pt x="3129164" y="357607"/>
                  <a:pt x="3098682" y="357607"/>
                </a:cubicBezTo>
                <a:cubicBezTo>
                  <a:pt x="3068200" y="357607"/>
                  <a:pt x="3043490" y="332897"/>
                  <a:pt x="3043490" y="302416"/>
                </a:cubicBezTo>
                <a:cubicBezTo>
                  <a:pt x="3043490" y="271935"/>
                  <a:pt x="3068200" y="247225"/>
                  <a:pt x="3098682" y="247225"/>
                </a:cubicBezTo>
                <a:close/>
                <a:moveTo>
                  <a:pt x="2971729" y="247225"/>
                </a:moveTo>
                <a:cubicBezTo>
                  <a:pt x="3002211" y="247225"/>
                  <a:pt x="3026921" y="271935"/>
                  <a:pt x="3026921" y="302416"/>
                </a:cubicBezTo>
                <a:cubicBezTo>
                  <a:pt x="3026921" y="332897"/>
                  <a:pt x="3002211" y="357607"/>
                  <a:pt x="2971729" y="357607"/>
                </a:cubicBezTo>
                <a:cubicBezTo>
                  <a:pt x="2941247" y="357607"/>
                  <a:pt x="2916537" y="332897"/>
                  <a:pt x="2916537" y="302416"/>
                </a:cubicBezTo>
                <a:cubicBezTo>
                  <a:pt x="2916537" y="271935"/>
                  <a:pt x="2941247" y="247225"/>
                  <a:pt x="2971729" y="247225"/>
                </a:cubicBezTo>
                <a:close/>
                <a:moveTo>
                  <a:pt x="2834862" y="247225"/>
                </a:moveTo>
                <a:cubicBezTo>
                  <a:pt x="2865342" y="247225"/>
                  <a:pt x="2890052" y="271935"/>
                  <a:pt x="2890052" y="302416"/>
                </a:cubicBezTo>
                <a:cubicBezTo>
                  <a:pt x="2890052" y="332897"/>
                  <a:pt x="2865342" y="357607"/>
                  <a:pt x="2834862" y="357607"/>
                </a:cubicBezTo>
                <a:cubicBezTo>
                  <a:pt x="2804379" y="357607"/>
                  <a:pt x="2779671" y="332897"/>
                  <a:pt x="2779671" y="302416"/>
                </a:cubicBezTo>
                <a:cubicBezTo>
                  <a:pt x="2779671" y="271935"/>
                  <a:pt x="2804379" y="247225"/>
                  <a:pt x="2834862" y="247225"/>
                </a:cubicBezTo>
                <a:close/>
                <a:moveTo>
                  <a:pt x="2570933" y="247225"/>
                </a:moveTo>
                <a:cubicBezTo>
                  <a:pt x="2601414" y="247225"/>
                  <a:pt x="2626123" y="271935"/>
                  <a:pt x="2626123" y="302416"/>
                </a:cubicBezTo>
                <a:cubicBezTo>
                  <a:pt x="2626123" y="332897"/>
                  <a:pt x="2601414" y="357607"/>
                  <a:pt x="2570933" y="357607"/>
                </a:cubicBezTo>
                <a:cubicBezTo>
                  <a:pt x="2540449" y="357607"/>
                  <a:pt x="2515738" y="332897"/>
                  <a:pt x="2515738" y="302416"/>
                </a:cubicBezTo>
                <a:cubicBezTo>
                  <a:pt x="2515738" y="271935"/>
                  <a:pt x="2540449" y="247225"/>
                  <a:pt x="2570933" y="247225"/>
                </a:cubicBezTo>
                <a:close/>
                <a:moveTo>
                  <a:pt x="2437297" y="247225"/>
                </a:moveTo>
                <a:cubicBezTo>
                  <a:pt x="2467781" y="247225"/>
                  <a:pt x="2492487" y="271935"/>
                  <a:pt x="2492487" y="302416"/>
                </a:cubicBezTo>
                <a:cubicBezTo>
                  <a:pt x="2492487" y="332897"/>
                  <a:pt x="2467781" y="357607"/>
                  <a:pt x="2437297" y="357607"/>
                </a:cubicBezTo>
                <a:cubicBezTo>
                  <a:pt x="2406818" y="357607"/>
                  <a:pt x="2382108" y="332897"/>
                  <a:pt x="2382108" y="302416"/>
                </a:cubicBezTo>
                <a:cubicBezTo>
                  <a:pt x="2382108" y="271935"/>
                  <a:pt x="2406818" y="247225"/>
                  <a:pt x="2437297" y="247225"/>
                </a:cubicBezTo>
                <a:close/>
                <a:moveTo>
                  <a:pt x="2303666" y="247225"/>
                </a:moveTo>
                <a:cubicBezTo>
                  <a:pt x="2334146" y="247225"/>
                  <a:pt x="2358856" y="271935"/>
                  <a:pt x="2358856" y="302416"/>
                </a:cubicBezTo>
                <a:cubicBezTo>
                  <a:pt x="2358856" y="332897"/>
                  <a:pt x="2334146" y="357607"/>
                  <a:pt x="2303666" y="357607"/>
                </a:cubicBezTo>
                <a:cubicBezTo>
                  <a:pt x="2273184" y="357607"/>
                  <a:pt x="2248473" y="332897"/>
                  <a:pt x="2248473" y="302416"/>
                </a:cubicBezTo>
                <a:cubicBezTo>
                  <a:pt x="2248473" y="271935"/>
                  <a:pt x="2273184" y="247225"/>
                  <a:pt x="2303666" y="247225"/>
                </a:cubicBezTo>
                <a:close/>
                <a:moveTo>
                  <a:pt x="2173372" y="247225"/>
                </a:moveTo>
                <a:cubicBezTo>
                  <a:pt x="2203857" y="247225"/>
                  <a:pt x="2228566" y="271935"/>
                  <a:pt x="2228566" y="302416"/>
                </a:cubicBezTo>
                <a:cubicBezTo>
                  <a:pt x="2228566" y="332897"/>
                  <a:pt x="2203857" y="357607"/>
                  <a:pt x="2173372" y="357607"/>
                </a:cubicBezTo>
                <a:cubicBezTo>
                  <a:pt x="2142892" y="357607"/>
                  <a:pt x="2118180" y="332897"/>
                  <a:pt x="2118180" y="302416"/>
                </a:cubicBezTo>
                <a:cubicBezTo>
                  <a:pt x="2118180" y="271935"/>
                  <a:pt x="2142892" y="247225"/>
                  <a:pt x="2173372" y="247225"/>
                </a:cubicBezTo>
                <a:close/>
                <a:moveTo>
                  <a:pt x="1909440" y="247225"/>
                </a:moveTo>
                <a:cubicBezTo>
                  <a:pt x="1939922" y="247225"/>
                  <a:pt x="1964634" y="271935"/>
                  <a:pt x="1964634" y="302416"/>
                </a:cubicBezTo>
                <a:cubicBezTo>
                  <a:pt x="1964634" y="332897"/>
                  <a:pt x="1939922" y="357607"/>
                  <a:pt x="1909440" y="357607"/>
                </a:cubicBezTo>
                <a:cubicBezTo>
                  <a:pt x="1878957" y="357607"/>
                  <a:pt x="1854246" y="332897"/>
                  <a:pt x="1854246" y="302416"/>
                </a:cubicBezTo>
                <a:cubicBezTo>
                  <a:pt x="1854246" y="271935"/>
                  <a:pt x="1878957" y="247225"/>
                  <a:pt x="1909440" y="247225"/>
                </a:cubicBezTo>
                <a:close/>
                <a:moveTo>
                  <a:pt x="1779142" y="247225"/>
                </a:moveTo>
                <a:cubicBezTo>
                  <a:pt x="1809626" y="247225"/>
                  <a:pt x="1834337" y="271935"/>
                  <a:pt x="1834337" y="302416"/>
                </a:cubicBezTo>
                <a:cubicBezTo>
                  <a:pt x="1834337" y="332897"/>
                  <a:pt x="1809626" y="357607"/>
                  <a:pt x="1779142" y="357607"/>
                </a:cubicBezTo>
                <a:cubicBezTo>
                  <a:pt x="1748663" y="357607"/>
                  <a:pt x="1723951" y="332897"/>
                  <a:pt x="1723951" y="302416"/>
                </a:cubicBezTo>
                <a:cubicBezTo>
                  <a:pt x="1723951" y="271935"/>
                  <a:pt x="1748663" y="247225"/>
                  <a:pt x="1779142" y="247225"/>
                </a:cubicBezTo>
                <a:close/>
                <a:moveTo>
                  <a:pt x="1645508" y="247225"/>
                </a:moveTo>
                <a:cubicBezTo>
                  <a:pt x="1675988" y="247225"/>
                  <a:pt x="1700702" y="271935"/>
                  <a:pt x="1700702" y="302416"/>
                </a:cubicBezTo>
                <a:cubicBezTo>
                  <a:pt x="1700702" y="332897"/>
                  <a:pt x="1675988" y="357607"/>
                  <a:pt x="1645508" y="357607"/>
                </a:cubicBezTo>
                <a:cubicBezTo>
                  <a:pt x="1615027" y="357607"/>
                  <a:pt x="1590313" y="332897"/>
                  <a:pt x="1590313" y="302416"/>
                </a:cubicBezTo>
                <a:cubicBezTo>
                  <a:pt x="1590313" y="271935"/>
                  <a:pt x="1615027" y="247225"/>
                  <a:pt x="1645508" y="247225"/>
                </a:cubicBezTo>
                <a:close/>
                <a:moveTo>
                  <a:pt x="1515217" y="247225"/>
                </a:moveTo>
                <a:cubicBezTo>
                  <a:pt x="1545695" y="247225"/>
                  <a:pt x="1570405" y="271935"/>
                  <a:pt x="1570405" y="302416"/>
                </a:cubicBezTo>
                <a:cubicBezTo>
                  <a:pt x="1570405" y="332897"/>
                  <a:pt x="1545695" y="357607"/>
                  <a:pt x="1515217" y="357607"/>
                </a:cubicBezTo>
                <a:cubicBezTo>
                  <a:pt x="1484732" y="357607"/>
                  <a:pt x="1460020" y="332897"/>
                  <a:pt x="1460020" y="302416"/>
                </a:cubicBezTo>
                <a:cubicBezTo>
                  <a:pt x="1460020" y="271935"/>
                  <a:pt x="1484732" y="247225"/>
                  <a:pt x="1515217" y="247225"/>
                </a:cubicBezTo>
                <a:close/>
                <a:moveTo>
                  <a:pt x="1381573" y="247225"/>
                </a:moveTo>
                <a:cubicBezTo>
                  <a:pt x="1412060" y="247225"/>
                  <a:pt x="1436767" y="271935"/>
                  <a:pt x="1436767" y="302416"/>
                </a:cubicBezTo>
                <a:cubicBezTo>
                  <a:pt x="1436767" y="332897"/>
                  <a:pt x="1412060" y="357607"/>
                  <a:pt x="1381573" y="357607"/>
                </a:cubicBezTo>
                <a:cubicBezTo>
                  <a:pt x="1351097" y="357607"/>
                  <a:pt x="1326384" y="332897"/>
                  <a:pt x="1326384" y="302416"/>
                </a:cubicBezTo>
                <a:cubicBezTo>
                  <a:pt x="1326384" y="271935"/>
                  <a:pt x="1351097" y="247225"/>
                  <a:pt x="1381573" y="247225"/>
                </a:cubicBezTo>
                <a:close/>
                <a:moveTo>
                  <a:pt x="7481898" y="120271"/>
                </a:moveTo>
                <a:cubicBezTo>
                  <a:pt x="7512380" y="120271"/>
                  <a:pt x="7537090" y="144981"/>
                  <a:pt x="7537090" y="175462"/>
                </a:cubicBezTo>
                <a:cubicBezTo>
                  <a:pt x="7537090" y="205943"/>
                  <a:pt x="7512380" y="230653"/>
                  <a:pt x="7481898" y="230653"/>
                </a:cubicBezTo>
                <a:cubicBezTo>
                  <a:pt x="7451416" y="230653"/>
                  <a:pt x="7426706" y="205943"/>
                  <a:pt x="7426706" y="175462"/>
                </a:cubicBezTo>
                <a:cubicBezTo>
                  <a:pt x="7426706" y="144981"/>
                  <a:pt x="7451416" y="120271"/>
                  <a:pt x="7481898" y="120271"/>
                </a:cubicBezTo>
                <a:close/>
                <a:moveTo>
                  <a:pt x="7341580" y="120271"/>
                </a:moveTo>
                <a:cubicBezTo>
                  <a:pt x="7372062" y="120271"/>
                  <a:pt x="7396772" y="144981"/>
                  <a:pt x="7396772" y="175462"/>
                </a:cubicBezTo>
                <a:cubicBezTo>
                  <a:pt x="7396772" y="205943"/>
                  <a:pt x="7372062" y="230653"/>
                  <a:pt x="7341580" y="230653"/>
                </a:cubicBezTo>
                <a:cubicBezTo>
                  <a:pt x="7311098" y="230653"/>
                  <a:pt x="7286388" y="205943"/>
                  <a:pt x="7286388" y="175462"/>
                </a:cubicBezTo>
                <a:cubicBezTo>
                  <a:pt x="7286388" y="144981"/>
                  <a:pt x="7311098" y="120271"/>
                  <a:pt x="7341580" y="120271"/>
                </a:cubicBezTo>
                <a:close/>
                <a:moveTo>
                  <a:pt x="7211288" y="120271"/>
                </a:moveTo>
                <a:cubicBezTo>
                  <a:pt x="7241770" y="120271"/>
                  <a:pt x="7266480" y="144981"/>
                  <a:pt x="7266480" y="175462"/>
                </a:cubicBezTo>
                <a:cubicBezTo>
                  <a:pt x="7266480" y="205943"/>
                  <a:pt x="7241770" y="230653"/>
                  <a:pt x="7211288" y="230653"/>
                </a:cubicBezTo>
                <a:cubicBezTo>
                  <a:pt x="7180806" y="230653"/>
                  <a:pt x="7156096" y="205943"/>
                  <a:pt x="7156096" y="175462"/>
                </a:cubicBezTo>
                <a:cubicBezTo>
                  <a:pt x="7156096" y="144981"/>
                  <a:pt x="7180806" y="120271"/>
                  <a:pt x="7211288" y="120271"/>
                </a:cubicBezTo>
                <a:close/>
                <a:moveTo>
                  <a:pt x="5223474" y="120271"/>
                </a:moveTo>
                <a:cubicBezTo>
                  <a:pt x="5253956" y="120271"/>
                  <a:pt x="5278666" y="144981"/>
                  <a:pt x="5278666" y="175462"/>
                </a:cubicBezTo>
                <a:cubicBezTo>
                  <a:pt x="5278666" y="205943"/>
                  <a:pt x="5253956" y="230653"/>
                  <a:pt x="5223474" y="230653"/>
                </a:cubicBezTo>
                <a:cubicBezTo>
                  <a:pt x="5192992" y="230653"/>
                  <a:pt x="5168282" y="205943"/>
                  <a:pt x="5168282" y="175462"/>
                </a:cubicBezTo>
                <a:cubicBezTo>
                  <a:pt x="5168282" y="144981"/>
                  <a:pt x="5192992" y="120271"/>
                  <a:pt x="5223474" y="120271"/>
                </a:cubicBezTo>
                <a:close/>
                <a:moveTo>
                  <a:pt x="5093178" y="120271"/>
                </a:moveTo>
                <a:cubicBezTo>
                  <a:pt x="5123660" y="120271"/>
                  <a:pt x="5148370" y="144981"/>
                  <a:pt x="5148370" y="175462"/>
                </a:cubicBezTo>
                <a:cubicBezTo>
                  <a:pt x="5148370" y="205943"/>
                  <a:pt x="5123660" y="230653"/>
                  <a:pt x="5093178" y="230653"/>
                </a:cubicBezTo>
                <a:cubicBezTo>
                  <a:pt x="5062696" y="230653"/>
                  <a:pt x="5037986" y="205943"/>
                  <a:pt x="5037986" y="175462"/>
                </a:cubicBezTo>
                <a:cubicBezTo>
                  <a:pt x="5037986" y="144981"/>
                  <a:pt x="5062696" y="120271"/>
                  <a:pt x="5093178" y="120271"/>
                </a:cubicBezTo>
                <a:close/>
                <a:moveTo>
                  <a:pt x="4161077" y="120271"/>
                </a:moveTo>
                <a:cubicBezTo>
                  <a:pt x="4191559" y="120271"/>
                  <a:pt x="4216269" y="144981"/>
                  <a:pt x="4216269" y="175462"/>
                </a:cubicBezTo>
                <a:cubicBezTo>
                  <a:pt x="4216269" y="205943"/>
                  <a:pt x="4191559" y="230653"/>
                  <a:pt x="4161077" y="230653"/>
                </a:cubicBezTo>
                <a:cubicBezTo>
                  <a:pt x="4130595" y="230653"/>
                  <a:pt x="4105885" y="205943"/>
                  <a:pt x="4105885" y="175462"/>
                </a:cubicBezTo>
                <a:cubicBezTo>
                  <a:pt x="4105885" y="144981"/>
                  <a:pt x="4130595" y="120271"/>
                  <a:pt x="4161077" y="120271"/>
                </a:cubicBezTo>
                <a:close/>
                <a:moveTo>
                  <a:pt x="4030786" y="120271"/>
                </a:moveTo>
                <a:cubicBezTo>
                  <a:pt x="4061268" y="120271"/>
                  <a:pt x="4085978" y="144981"/>
                  <a:pt x="4085978" y="175462"/>
                </a:cubicBezTo>
                <a:cubicBezTo>
                  <a:pt x="4085978" y="205943"/>
                  <a:pt x="4061268" y="230653"/>
                  <a:pt x="4030786" y="230653"/>
                </a:cubicBezTo>
                <a:cubicBezTo>
                  <a:pt x="4000304" y="230653"/>
                  <a:pt x="3975594" y="205943"/>
                  <a:pt x="3975594" y="175462"/>
                </a:cubicBezTo>
                <a:cubicBezTo>
                  <a:pt x="3975594" y="144981"/>
                  <a:pt x="4000304" y="120271"/>
                  <a:pt x="4030786" y="120271"/>
                </a:cubicBezTo>
                <a:close/>
                <a:moveTo>
                  <a:pt x="3897148" y="120271"/>
                </a:moveTo>
                <a:cubicBezTo>
                  <a:pt x="3927630" y="120271"/>
                  <a:pt x="3952340" y="144981"/>
                  <a:pt x="3952340" y="175462"/>
                </a:cubicBezTo>
                <a:cubicBezTo>
                  <a:pt x="3952340" y="205943"/>
                  <a:pt x="3927630" y="230653"/>
                  <a:pt x="3897148" y="230653"/>
                </a:cubicBezTo>
                <a:cubicBezTo>
                  <a:pt x="3866666" y="230653"/>
                  <a:pt x="3841956" y="205943"/>
                  <a:pt x="3841956" y="175462"/>
                </a:cubicBezTo>
                <a:cubicBezTo>
                  <a:pt x="3841956" y="144981"/>
                  <a:pt x="3866666" y="120271"/>
                  <a:pt x="3897148" y="120271"/>
                </a:cubicBezTo>
                <a:close/>
                <a:moveTo>
                  <a:pt x="3763514" y="120271"/>
                </a:moveTo>
                <a:cubicBezTo>
                  <a:pt x="3793996" y="120271"/>
                  <a:pt x="3818706" y="144981"/>
                  <a:pt x="3818706" y="175462"/>
                </a:cubicBezTo>
                <a:cubicBezTo>
                  <a:pt x="3818706" y="205943"/>
                  <a:pt x="3793996" y="230653"/>
                  <a:pt x="3763514" y="230653"/>
                </a:cubicBezTo>
                <a:cubicBezTo>
                  <a:pt x="3733032" y="230653"/>
                  <a:pt x="3708322" y="205943"/>
                  <a:pt x="3708322" y="175462"/>
                </a:cubicBezTo>
                <a:cubicBezTo>
                  <a:pt x="3708322" y="144981"/>
                  <a:pt x="3733032" y="120271"/>
                  <a:pt x="3763514" y="120271"/>
                </a:cubicBezTo>
                <a:close/>
                <a:moveTo>
                  <a:pt x="3633221" y="120271"/>
                </a:moveTo>
                <a:cubicBezTo>
                  <a:pt x="3663703" y="120271"/>
                  <a:pt x="3688413" y="144981"/>
                  <a:pt x="3688413" y="175462"/>
                </a:cubicBezTo>
                <a:cubicBezTo>
                  <a:pt x="3688413" y="205943"/>
                  <a:pt x="3663703" y="230653"/>
                  <a:pt x="3633221" y="230653"/>
                </a:cubicBezTo>
                <a:cubicBezTo>
                  <a:pt x="3602739" y="230653"/>
                  <a:pt x="3578029" y="205943"/>
                  <a:pt x="3578029" y="175462"/>
                </a:cubicBezTo>
                <a:cubicBezTo>
                  <a:pt x="3578029" y="144981"/>
                  <a:pt x="3602739" y="120271"/>
                  <a:pt x="3633221" y="120271"/>
                </a:cubicBezTo>
                <a:close/>
                <a:moveTo>
                  <a:pt x="3499589" y="120271"/>
                </a:moveTo>
                <a:cubicBezTo>
                  <a:pt x="3530071" y="120271"/>
                  <a:pt x="3554781" y="144981"/>
                  <a:pt x="3554781" y="175462"/>
                </a:cubicBezTo>
                <a:cubicBezTo>
                  <a:pt x="3554781" y="205943"/>
                  <a:pt x="3530071" y="230653"/>
                  <a:pt x="3499589" y="230653"/>
                </a:cubicBezTo>
                <a:cubicBezTo>
                  <a:pt x="3469107" y="230653"/>
                  <a:pt x="3444397" y="205943"/>
                  <a:pt x="3444397" y="175462"/>
                </a:cubicBezTo>
                <a:cubicBezTo>
                  <a:pt x="3444397" y="144981"/>
                  <a:pt x="3469107" y="120271"/>
                  <a:pt x="3499589" y="120271"/>
                </a:cubicBezTo>
                <a:close/>
                <a:moveTo>
                  <a:pt x="3369293" y="120271"/>
                </a:moveTo>
                <a:cubicBezTo>
                  <a:pt x="3399775" y="120271"/>
                  <a:pt x="3424485" y="144981"/>
                  <a:pt x="3424485" y="175462"/>
                </a:cubicBezTo>
                <a:cubicBezTo>
                  <a:pt x="3424485" y="205943"/>
                  <a:pt x="3399775" y="230653"/>
                  <a:pt x="3369293" y="230653"/>
                </a:cubicBezTo>
                <a:cubicBezTo>
                  <a:pt x="3338811" y="230653"/>
                  <a:pt x="3314101" y="205943"/>
                  <a:pt x="3314101" y="175462"/>
                </a:cubicBezTo>
                <a:cubicBezTo>
                  <a:pt x="3314101" y="144981"/>
                  <a:pt x="3338811" y="120271"/>
                  <a:pt x="3369293" y="120271"/>
                </a:cubicBezTo>
                <a:close/>
                <a:moveTo>
                  <a:pt x="3235657" y="120271"/>
                </a:moveTo>
                <a:cubicBezTo>
                  <a:pt x="3266139" y="120271"/>
                  <a:pt x="3290849" y="144981"/>
                  <a:pt x="3290849" y="175462"/>
                </a:cubicBezTo>
                <a:cubicBezTo>
                  <a:pt x="3290849" y="205943"/>
                  <a:pt x="3266139" y="230653"/>
                  <a:pt x="3235657" y="230653"/>
                </a:cubicBezTo>
                <a:cubicBezTo>
                  <a:pt x="3205175" y="230653"/>
                  <a:pt x="3180465" y="205943"/>
                  <a:pt x="3180465" y="175462"/>
                </a:cubicBezTo>
                <a:cubicBezTo>
                  <a:pt x="3180465" y="144981"/>
                  <a:pt x="3205175" y="120271"/>
                  <a:pt x="3235657" y="120271"/>
                </a:cubicBezTo>
                <a:close/>
                <a:moveTo>
                  <a:pt x="3098682" y="120271"/>
                </a:moveTo>
                <a:cubicBezTo>
                  <a:pt x="3129164" y="120271"/>
                  <a:pt x="3153874" y="144981"/>
                  <a:pt x="3153874" y="175462"/>
                </a:cubicBezTo>
                <a:cubicBezTo>
                  <a:pt x="3153874" y="205943"/>
                  <a:pt x="3129164" y="230653"/>
                  <a:pt x="3098682" y="230653"/>
                </a:cubicBezTo>
                <a:cubicBezTo>
                  <a:pt x="3068200" y="230653"/>
                  <a:pt x="3043490" y="205943"/>
                  <a:pt x="3043490" y="175462"/>
                </a:cubicBezTo>
                <a:cubicBezTo>
                  <a:pt x="3043490" y="144981"/>
                  <a:pt x="3068200" y="120271"/>
                  <a:pt x="3098682" y="120271"/>
                </a:cubicBezTo>
                <a:close/>
                <a:moveTo>
                  <a:pt x="2971729" y="120271"/>
                </a:moveTo>
                <a:cubicBezTo>
                  <a:pt x="3002211" y="120271"/>
                  <a:pt x="3026921" y="144981"/>
                  <a:pt x="3026921" y="175462"/>
                </a:cubicBezTo>
                <a:cubicBezTo>
                  <a:pt x="3026921" y="205943"/>
                  <a:pt x="3002211" y="230653"/>
                  <a:pt x="2971729" y="230653"/>
                </a:cubicBezTo>
                <a:cubicBezTo>
                  <a:pt x="2941247" y="230653"/>
                  <a:pt x="2916537" y="205943"/>
                  <a:pt x="2916537" y="175462"/>
                </a:cubicBezTo>
                <a:cubicBezTo>
                  <a:pt x="2916537" y="144981"/>
                  <a:pt x="2941247" y="120271"/>
                  <a:pt x="2971729" y="120271"/>
                </a:cubicBezTo>
                <a:close/>
                <a:moveTo>
                  <a:pt x="2707903" y="120271"/>
                </a:moveTo>
                <a:cubicBezTo>
                  <a:pt x="2738390" y="120271"/>
                  <a:pt x="2763100" y="144981"/>
                  <a:pt x="2763100" y="175462"/>
                </a:cubicBezTo>
                <a:cubicBezTo>
                  <a:pt x="2763100" y="205943"/>
                  <a:pt x="2738390" y="230653"/>
                  <a:pt x="2707903" y="230653"/>
                </a:cubicBezTo>
                <a:cubicBezTo>
                  <a:pt x="2677427" y="230653"/>
                  <a:pt x="2652715" y="205943"/>
                  <a:pt x="2652715" y="175462"/>
                </a:cubicBezTo>
                <a:cubicBezTo>
                  <a:pt x="2652715" y="144981"/>
                  <a:pt x="2677427" y="120271"/>
                  <a:pt x="2707903" y="120271"/>
                </a:cubicBezTo>
                <a:close/>
                <a:moveTo>
                  <a:pt x="2570933" y="120271"/>
                </a:moveTo>
                <a:cubicBezTo>
                  <a:pt x="2601414" y="120271"/>
                  <a:pt x="2626123" y="144981"/>
                  <a:pt x="2626123" y="175462"/>
                </a:cubicBezTo>
                <a:cubicBezTo>
                  <a:pt x="2626123" y="205943"/>
                  <a:pt x="2601414" y="230653"/>
                  <a:pt x="2570933" y="230653"/>
                </a:cubicBezTo>
                <a:cubicBezTo>
                  <a:pt x="2540449" y="230653"/>
                  <a:pt x="2515738" y="205943"/>
                  <a:pt x="2515738" y="175462"/>
                </a:cubicBezTo>
                <a:cubicBezTo>
                  <a:pt x="2515738" y="144981"/>
                  <a:pt x="2540449" y="120271"/>
                  <a:pt x="2570933" y="120271"/>
                </a:cubicBezTo>
                <a:close/>
                <a:moveTo>
                  <a:pt x="2437297" y="120271"/>
                </a:moveTo>
                <a:cubicBezTo>
                  <a:pt x="2467781" y="120271"/>
                  <a:pt x="2492487" y="144981"/>
                  <a:pt x="2492487" y="175462"/>
                </a:cubicBezTo>
                <a:cubicBezTo>
                  <a:pt x="2492487" y="205943"/>
                  <a:pt x="2467781" y="230653"/>
                  <a:pt x="2437297" y="230653"/>
                </a:cubicBezTo>
                <a:cubicBezTo>
                  <a:pt x="2406818" y="230653"/>
                  <a:pt x="2382108" y="205943"/>
                  <a:pt x="2382108" y="175462"/>
                </a:cubicBezTo>
                <a:cubicBezTo>
                  <a:pt x="2382108" y="144981"/>
                  <a:pt x="2406818" y="120271"/>
                  <a:pt x="2437297" y="120271"/>
                </a:cubicBezTo>
                <a:close/>
                <a:moveTo>
                  <a:pt x="2303666" y="120271"/>
                </a:moveTo>
                <a:cubicBezTo>
                  <a:pt x="2334146" y="120271"/>
                  <a:pt x="2358856" y="144981"/>
                  <a:pt x="2358856" y="175462"/>
                </a:cubicBezTo>
                <a:cubicBezTo>
                  <a:pt x="2358856" y="205943"/>
                  <a:pt x="2334146" y="230653"/>
                  <a:pt x="2303666" y="230653"/>
                </a:cubicBezTo>
                <a:cubicBezTo>
                  <a:pt x="2273184" y="230653"/>
                  <a:pt x="2248473" y="205943"/>
                  <a:pt x="2248473" y="175462"/>
                </a:cubicBezTo>
                <a:cubicBezTo>
                  <a:pt x="2248473" y="144981"/>
                  <a:pt x="2273184" y="120271"/>
                  <a:pt x="2303666" y="120271"/>
                </a:cubicBezTo>
                <a:close/>
                <a:moveTo>
                  <a:pt x="2173372" y="120271"/>
                </a:moveTo>
                <a:cubicBezTo>
                  <a:pt x="2203857" y="120271"/>
                  <a:pt x="2228566" y="144981"/>
                  <a:pt x="2228566" y="175462"/>
                </a:cubicBezTo>
                <a:cubicBezTo>
                  <a:pt x="2228566" y="205943"/>
                  <a:pt x="2203857" y="230653"/>
                  <a:pt x="2173372" y="230653"/>
                </a:cubicBezTo>
                <a:cubicBezTo>
                  <a:pt x="2142892" y="230653"/>
                  <a:pt x="2118180" y="205943"/>
                  <a:pt x="2118180" y="175462"/>
                </a:cubicBezTo>
                <a:cubicBezTo>
                  <a:pt x="2118180" y="144981"/>
                  <a:pt x="2142892" y="120271"/>
                  <a:pt x="2173372" y="120271"/>
                </a:cubicBezTo>
                <a:close/>
                <a:moveTo>
                  <a:pt x="7341580" y="0"/>
                </a:moveTo>
                <a:cubicBezTo>
                  <a:pt x="7372062" y="0"/>
                  <a:pt x="7396772" y="24710"/>
                  <a:pt x="7396772" y="55191"/>
                </a:cubicBezTo>
                <a:cubicBezTo>
                  <a:pt x="7396772" y="85672"/>
                  <a:pt x="7372062" y="110382"/>
                  <a:pt x="7341580" y="110382"/>
                </a:cubicBezTo>
                <a:cubicBezTo>
                  <a:pt x="7311098" y="110382"/>
                  <a:pt x="7286388" y="85672"/>
                  <a:pt x="7286388" y="55191"/>
                </a:cubicBezTo>
                <a:cubicBezTo>
                  <a:pt x="7286388" y="24710"/>
                  <a:pt x="7311098" y="0"/>
                  <a:pt x="7341580" y="0"/>
                </a:cubicBezTo>
                <a:close/>
                <a:moveTo>
                  <a:pt x="4294713" y="0"/>
                </a:moveTo>
                <a:cubicBezTo>
                  <a:pt x="4325195" y="0"/>
                  <a:pt x="4349905" y="24710"/>
                  <a:pt x="4349905" y="55191"/>
                </a:cubicBezTo>
                <a:cubicBezTo>
                  <a:pt x="4349905" y="85672"/>
                  <a:pt x="4325195" y="110382"/>
                  <a:pt x="4294713" y="110382"/>
                </a:cubicBezTo>
                <a:cubicBezTo>
                  <a:pt x="4264231" y="110382"/>
                  <a:pt x="4239521" y="85672"/>
                  <a:pt x="4239521" y="55191"/>
                </a:cubicBezTo>
                <a:cubicBezTo>
                  <a:pt x="4239521" y="24710"/>
                  <a:pt x="4264231" y="0"/>
                  <a:pt x="4294713" y="0"/>
                </a:cubicBezTo>
                <a:close/>
                <a:moveTo>
                  <a:pt x="4161077" y="0"/>
                </a:moveTo>
                <a:cubicBezTo>
                  <a:pt x="4191559" y="0"/>
                  <a:pt x="4216269" y="24710"/>
                  <a:pt x="4216269" y="55191"/>
                </a:cubicBezTo>
                <a:cubicBezTo>
                  <a:pt x="4216269" y="85672"/>
                  <a:pt x="4191559" y="110382"/>
                  <a:pt x="4161077" y="110382"/>
                </a:cubicBezTo>
                <a:cubicBezTo>
                  <a:pt x="4130595" y="110382"/>
                  <a:pt x="4105885" y="85672"/>
                  <a:pt x="4105885" y="55191"/>
                </a:cubicBezTo>
                <a:cubicBezTo>
                  <a:pt x="4105885" y="24710"/>
                  <a:pt x="4130595" y="0"/>
                  <a:pt x="4161077" y="0"/>
                </a:cubicBezTo>
                <a:close/>
                <a:moveTo>
                  <a:pt x="4030786" y="0"/>
                </a:moveTo>
                <a:cubicBezTo>
                  <a:pt x="4061268" y="0"/>
                  <a:pt x="4085978" y="24710"/>
                  <a:pt x="4085978" y="55191"/>
                </a:cubicBezTo>
                <a:cubicBezTo>
                  <a:pt x="4085978" y="85672"/>
                  <a:pt x="4061268" y="110382"/>
                  <a:pt x="4030786" y="110382"/>
                </a:cubicBezTo>
                <a:cubicBezTo>
                  <a:pt x="4000304" y="110382"/>
                  <a:pt x="3975594" y="85672"/>
                  <a:pt x="3975594" y="55191"/>
                </a:cubicBezTo>
                <a:cubicBezTo>
                  <a:pt x="3975594" y="24710"/>
                  <a:pt x="4000304" y="0"/>
                  <a:pt x="4030786" y="0"/>
                </a:cubicBezTo>
                <a:close/>
                <a:moveTo>
                  <a:pt x="3897148" y="0"/>
                </a:moveTo>
                <a:cubicBezTo>
                  <a:pt x="3927630" y="0"/>
                  <a:pt x="3952340" y="24710"/>
                  <a:pt x="3952340" y="55191"/>
                </a:cubicBezTo>
                <a:cubicBezTo>
                  <a:pt x="3952340" y="85672"/>
                  <a:pt x="3927630" y="110382"/>
                  <a:pt x="3897148" y="110382"/>
                </a:cubicBezTo>
                <a:cubicBezTo>
                  <a:pt x="3866666" y="110382"/>
                  <a:pt x="3841956" y="85672"/>
                  <a:pt x="3841956" y="55191"/>
                </a:cubicBezTo>
                <a:cubicBezTo>
                  <a:pt x="3841956" y="24710"/>
                  <a:pt x="3866666" y="0"/>
                  <a:pt x="3897148" y="0"/>
                </a:cubicBezTo>
                <a:close/>
                <a:moveTo>
                  <a:pt x="3763514" y="0"/>
                </a:moveTo>
                <a:cubicBezTo>
                  <a:pt x="3793996" y="0"/>
                  <a:pt x="3818706" y="24710"/>
                  <a:pt x="3818706" y="55191"/>
                </a:cubicBezTo>
                <a:cubicBezTo>
                  <a:pt x="3818706" y="85672"/>
                  <a:pt x="3793996" y="110382"/>
                  <a:pt x="3763514" y="110382"/>
                </a:cubicBezTo>
                <a:cubicBezTo>
                  <a:pt x="3733032" y="110382"/>
                  <a:pt x="3708322" y="85672"/>
                  <a:pt x="3708322" y="55191"/>
                </a:cubicBezTo>
                <a:cubicBezTo>
                  <a:pt x="3708322" y="24710"/>
                  <a:pt x="3733032" y="0"/>
                  <a:pt x="3763514" y="0"/>
                </a:cubicBezTo>
                <a:close/>
                <a:moveTo>
                  <a:pt x="3633221" y="0"/>
                </a:moveTo>
                <a:cubicBezTo>
                  <a:pt x="3663703" y="0"/>
                  <a:pt x="3688413" y="24710"/>
                  <a:pt x="3688413" y="55191"/>
                </a:cubicBezTo>
                <a:cubicBezTo>
                  <a:pt x="3688413" y="85672"/>
                  <a:pt x="3663703" y="110382"/>
                  <a:pt x="3633221" y="110382"/>
                </a:cubicBezTo>
                <a:cubicBezTo>
                  <a:pt x="3602739" y="110382"/>
                  <a:pt x="3578029" y="85672"/>
                  <a:pt x="3578029" y="55191"/>
                </a:cubicBezTo>
                <a:cubicBezTo>
                  <a:pt x="3578029" y="24710"/>
                  <a:pt x="3602739" y="0"/>
                  <a:pt x="3633221" y="0"/>
                </a:cubicBezTo>
                <a:close/>
                <a:moveTo>
                  <a:pt x="3499589" y="0"/>
                </a:moveTo>
                <a:cubicBezTo>
                  <a:pt x="3530071" y="0"/>
                  <a:pt x="3554781" y="24710"/>
                  <a:pt x="3554781" y="55191"/>
                </a:cubicBezTo>
                <a:cubicBezTo>
                  <a:pt x="3554781" y="85672"/>
                  <a:pt x="3530071" y="110382"/>
                  <a:pt x="3499589" y="110382"/>
                </a:cubicBezTo>
                <a:cubicBezTo>
                  <a:pt x="3469107" y="110382"/>
                  <a:pt x="3444397" y="85672"/>
                  <a:pt x="3444397" y="55191"/>
                </a:cubicBezTo>
                <a:cubicBezTo>
                  <a:pt x="3444397" y="24710"/>
                  <a:pt x="3469107" y="0"/>
                  <a:pt x="3499589" y="0"/>
                </a:cubicBezTo>
                <a:close/>
                <a:moveTo>
                  <a:pt x="3369293" y="0"/>
                </a:moveTo>
                <a:cubicBezTo>
                  <a:pt x="3399775" y="0"/>
                  <a:pt x="3424485" y="24710"/>
                  <a:pt x="3424485" y="55191"/>
                </a:cubicBezTo>
                <a:cubicBezTo>
                  <a:pt x="3424485" y="85672"/>
                  <a:pt x="3399775" y="110382"/>
                  <a:pt x="3369293" y="110382"/>
                </a:cubicBezTo>
                <a:cubicBezTo>
                  <a:pt x="3338811" y="110382"/>
                  <a:pt x="3314101" y="85672"/>
                  <a:pt x="3314101" y="55191"/>
                </a:cubicBezTo>
                <a:cubicBezTo>
                  <a:pt x="3314101" y="24710"/>
                  <a:pt x="3338811" y="0"/>
                  <a:pt x="3369293" y="0"/>
                </a:cubicBezTo>
                <a:close/>
                <a:moveTo>
                  <a:pt x="3235657" y="0"/>
                </a:moveTo>
                <a:cubicBezTo>
                  <a:pt x="3266139" y="0"/>
                  <a:pt x="3290849" y="24710"/>
                  <a:pt x="3290849" y="55191"/>
                </a:cubicBezTo>
                <a:cubicBezTo>
                  <a:pt x="3290849" y="85672"/>
                  <a:pt x="3266139" y="110382"/>
                  <a:pt x="3235657" y="110382"/>
                </a:cubicBezTo>
                <a:cubicBezTo>
                  <a:pt x="3205175" y="110382"/>
                  <a:pt x="3180465" y="85672"/>
                  <a:pt x="3180465" y="55191"/>
                </a:cubicBezTo>
                <a:cubicBezTo>
                  <a:pt x="3180465" y="24710"/>
                  <a:pt x="3205175" y="0"/>
                  <a:pt x="3235657" y="0"/>
                </a:cubicBezTo>
                <a:close/>
                <a:moveTo>
                  <a:pt x="2834862" y="0"/>
                </a:moveTo>
                <a:cubicBezTo>
                  <a:pt x="2865342" y="0"/>
                  <a:pt x="2890052" y="24710"/>
                  <a:pt x="2890052" y="55191"/>
                </a:cubicBezTo>
                <a:cubicBezTo>
                  <a:pt x="2890052" y="85672"/>
                  <a:pt x="2865342" y="110382"/>
                  <a:pt x="2834862" y="110382"/>
                </a:cubicBezTo>
                <a:cubicBezTo>
                  <a:pt x="2804379" y="110382"/>
                  <a:pt x="2779671" y="85672"/>
                  <a:pt x="2779671" y="55191"/>
                </a:cubicBezTo>
                <a:cubicBezTo>
                  <a:pt x="2779671" y="24710"/>
                  <a:pt x="2804379" y="0"/>
                  <a:pt x="2834862" y="0"/>
                </a:cubicBezTo>
                <a:close/>
                <a:moveTo>
                  <a:pt x="2707903" y="0"/>
                </a:moveTo>
                <a:cubicBezTo>
                  <a:pt x="2738390" y="0"/>
                  <a:pt x="2763100" y="24710"/>
                  <a:pt x="2763100" y="55191"/>
                </a:cubicBezTo>
                <a:cubicBezTo>
                  <a:pt x="2763100" y="85672"/>
                  <a:pt x="2738390" y="110382"/>
                  <a:pt x="2707903" y="110382"/>
                </a:cubicBezTo>
                <a:cubicBezTo>
                  <a:pt x="2677427" y="110382"/>
                  <a:pt x="2652715" y="85672"/>
                  <a:pt x="2652715" y="55191"/>
                </a:cubicBezTo>
                <a:cubicBezTo>
                  <a:pt x="2652715" y="24710"/>
                  <a:pt x="2677427" y="0"/>
                  <a:pt x="2707903" y="0"/>
                </a:cubicBezTo>
                <a:close/>
                <a:moveTo>
                  <a:pt x="2570933" y="0"/>
                </a:moveTo>
                <a:cubicBezTo>
                  <a:pt x="2601414" y="0"/>
                  <a:pt x="2626123" y="24710"/>
                  <a:pt x="2626123" y="55191"/>
                </a:cubicBezTo>
                <a:cubicBezTo>
                  <a:pt x="2626123" y="85672"/>
                  <a:pt x="2601414" y="110382"/>
                  <a:pt x="2570933" y="110382"/>
                </a:cubicBezTo>
                <a:cubicBezTo>
                  <a:pt x="2540449" y="110382"/>
                  <a:pt x="2515738" y="85672"/>
                  <a:pt x="2515738" y="55191"/>
                </a:cubicBezTo>
                <a:cubicBezTo>
                  <a:pt x="2515738" y="24710"/>
                  <a:pt x="2540449" y="0"/>
                  <a:pt x="2570933" y="0"/>
                </a:cubicBezTo>
                <a:close/>
                <a:moveTo>
                  <a:pt x="2437297" y="0"/>
                </a:moveTo>
                <a:cubicBezTo>
                  <a:pt x="2467781" y="0"/>
                  <a:pt x="2492487" y="24710"/>
                  <a:pt x="2492487" y="55191"/>
                </a:cubicBezTo>
                <a:cubicBezTo>
                  <a:pt x="2492487" y="85672"/>
                  <a:pt x="2467781" y="110382"/>
                  <a:pt x="2437297" y="110382"/>
                </a:cubicBezTo>
                <a:cubicBezTo>
                  <a:pt x="2406818" y="110382"/>
                  <a:pt x="2382108" y="85672"/>
                  <a:pt x="2382108" y="55191"/>
                </a:cubicBezTo>
                <a:cubicBezTo>
                  <a:pt x="2382108" y="24710"/>
                  <a:pt x="2406818" y="0"/>
                  <a:pt x="2437297"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dirty="0">
              <a:solidFill>
                <a:srgbClr val="505050"/>
              </a:solidFill>
              <a:latin typeface="Segoe UI"/>
            </a:endParaRPr>
          </a:p>
        </p:txBody>
      </p:sp>
      <p:sp>
        <p:nvSpPr>
          <p:cNvPr id="828" name="Freeform: Shape 827"/>
          <p:cNvSpPr/>
          <p:nvPr/>
        </p:nvSpPr>
        <p:spPr>
          <a:xfrm>
            <a:off x="826830" y="3476730"/>
            <a:ext cx="669864" cy="309672"/>
          </a:xfrm>
          <a:custGeom>
            <a:avLst/>
            <a:gdLst>
              <a:gd name="connsiteX0" fmla="*/ 333618 w 531187"/>
              <a:gd name="connsiteY0" fmla="*/ 682320 h 835576"/>
              <a:gd name="connsiteX1" fmla="*/ 303480 w 531187"/>
              <a:gd name="connsiteY1" fmla="*/ 696608 h 835576"/>
              <a:gd name="connsiteX2" fmla="*/ 292318 w 531187"/>
              <a:gd name="connsiteY2" fmla="*/ 734224 h 835576"/>
              <a:gd name="connsiteX3" fmla="*/ 303480 w 531187"/>
              <a:gd name="connsiteY3" fmla="*/ 771840 h 835576"/>
              <a:gd name="connsiteX4" fmla="*/ 332725 w 531187"/>
              <a:gd name="connsiteY4" fmla="*/ 785681 h 835576"/>
              <a:gd name="connsiteX5" fmla="*/ 362305 w 531187"/>
              <a:gd name="connsiteY5" fmla="*/ 772287 h 835576"/>
              <a:gd name="connsiteX6" fmla="*/ 373243 w 531187"/>
              <a:gd name="connsiteY6" fmla="*/ 734894 h 835576"/>
              <a:gd name="connsiteX7" fmla="*/ 362639 w 531187"/>
              <a:gd name="connsiteY7" fmla="*/ 696161 h 835576"/>
              <a:gd name="connsiteX8" fmla="*/ 333618 w 531187"/>
              <a:gd name="connsiteY8" fmla="*/ 682320 h 835576"/>
              <a:gd name="connsiteX9" fmla="*/ 435863 w 531187"/>
              <a:gd name="connsiteY9" fmla="*/ 653968 h 835576"/>
              <a:gd name="connsiteX10" fmla="*/ 471917 w 531187"/>
              <a:gd name="connsiteY10" fmla="*/ 653968 h 835576"/>
              <a:gd name="connsiteX11" fmla="*/ 471917 w 531187"/>
              <a:gd name="connsiteY11" fmla="*/ 784788 h 835576"/>
              <a:gd name="connsiteX12" fmla="*/ 531187 w 531187"/>
              <a:gd name="connsiteY12" fmla="*/ 784788 h 835576"/>
              <a:gd name="connsiteX13" fmla="*/ 531187 w 531187"/>
              <a:gd name="connsiteY13" fmla="*/ 814033 h 835576"/>
              <a:gd name="connsiteX14" fmla="*/ 435863 w 531187"/>
              <a:gd name="connsiteY14" fmla="*/ 814033 h 835576"/>
              <a:gd name="connsiteX15" fmla="*/ 435863 w 531187"/>
              <a:gd name="connsiteY15" fmla="*/ 653968 h 835576"/>
              <a:gd name="connsiteX16" fmla="*/ 334623 w 531187"/>
              <a:gd name="connsiteY16" fmla="*/ 651290 h 835576"/>
              <a:gd name="connsiteX17" fmla="*/ 389987 w 531187"/>
              <a:gd name="connsiteY17" fmla="*/ 673725 h 835576"/>
              <a:gd name="connsiteX18" fmla="*/ 411195 w 531187"/>
              <a:gd name="connsiteY18" fmla="*/ 732885 h 835576"/>
              <a:gd name="connsiteX19" fmla="*/ 389205 w 531187"/>
              <a:gd name="connsiteY19" fmla="*/ 793718 h 835576"/>
              <a:gd name="connsiteX20" fmla="*/ 387754 w 531187"/>
              <a:gd name="connsiteY20" fmla="*/ 795225 h 835576"/>
              <a:gd name="connsiteX21" fmla="*/ 386303 w 531187"/>
              <a:gd name="connsiteY21" fmla="*/ 796620 h 835576"/>
              <a:gd name="connsiteX22" fmla="*/ 426822 w 531187"/>
              <a:gd name="connsiteY22" fmla="*/ 835576 h 835576"/>
              <a:gd name="connsiteX23" fmla="*/ 376369 w 531187"/>
              <a:gd name="connsiteY23" fmla="*/ 835576 h 835576"/>
              <a:gd name="connsiteX24" fmla="*/ 355161 w 531187"/>
              <a:gd name="connsiteY24" fmla="*/ 814033 h 835576"/>
              <a:gd name="connsiteX25" fmla="*/ 332055 w 531187"/>
              <a:gd name="connsiteY25" fmla="*/ 816824 h 835576"/>
              <a:gd name="connsiteX26" fmla="*/ 276021 w 531187"/>
              <a:gd name="connsiteY26" fmla="*/ 794499 h 835576"/>
              <a:gd name="connsiteX27" fmla="*/ 254367 w 531187"/>
              <a:gd name="connsiteY27" fmla="*/ 736122 h 835576"/>
              <a:gd name="connsiteX28" fmla="*/ 276356 w 531187"/>
              <a:gd name="connsiteY28" fmla="*/ 674730 h 835576"/>
              <a:gd name="connsiteX29" fmla="*/ 334623 w 531187"/>
              <a:gd name="connsiteY29" fmla="*/ 651290 h 835576"/>
              <a:gd name="connsiteX30" fmla="*/ 195394 w 531187"/>
              <a:gd name="connsiteY30" fmla="*/ 651290 h 835576"/>
              <a:gd name="connsiteX31" fmla="*/ 217551 w 531187"/>
              <a:gd name="connsiteY31" fmla="*/ 652796 h 835576"/>
              <a:gd name="connsiteX32" fmla="*/ 235354 w 531187"/>
              <a:gd name="connsiteY32" fmla="*/ 657429 h 835576"/>
              <a:gd name="connsiteX33" fmla="*/ 235354 w 531187"/>
              <a:gd name="connsiteY33" fmla="*/ 690803 h 835576"/>
              <a:gd name="connsiteX34" fmla="*/ 226592 w 531187"/>
              <a:gd name="connsiteY34" fmla="*/ 685892 h 835576"/>
              <a:gd name="connsiteX35" fmla="*/ 216825 w 531187"/>
              <a:gd name="connsiteY35" fmla="*/ 682376 h 835576"/>
              <a:gd name="connsiteX36" fmla="*/ 206835 w 531187"/>
              <a:gd name="connsiteY36" fmla="*/ 680311 h 835576"/>
              <a:gd name="connsiteX37" fmla="*/ 197403 w 531187"/>
              <a:gd name="connsiteY37" fmla="*/ 679641 h 835576"/>
              <a:gd name="connsiteX38" fmla="*/ 186241 w 531187"/>
              <a:gd name="connsiteY38" fmla="*/ 680813 h 835576"/>
              <a:gd name="connsiteX39" fmla="*/ 177758 w 531187"/>
              <a:gd name="connsiteY39" fmla="*/ 684106 h 835576"/>
              <a:gd name="connsiteX40" fmla="*/ 172400 w 531187"/>
              <a:gd name="connsiteY40" fmla="*/ 689185 h 835576"/>
              <a:gd name="connsiteX41" fmla="*/ 170502 w 531187"/>
              <a:gd name="connsiteY41" fmla="*/ 695826 h 835576"/>
              <a:gd name="connsiteX42" fmla="*/ 172623 w 531187"/>
              <a:gd name="connsiteY42" fmla="*/ 703026 h 835576"/>
              <a:gd name="connsiteX43" fmla="*/ 178651 w 531187"/>
              <a:gd name="connsiteY43" fmla="*/ 709053 h 835576"/>
              <a:gd name="connsiteX44" fmla="*/ 188138 w 531187"/>
              <a:gd name="connsiteY44" fmla="*/ 714635 h 835576"/>
              <a:gd name="connsiteX45" fmla="*/ 200752 w 531187"/>
              <a:gd name="connsiteY45" fmla="*/ 720271 h 835576"/>
              <a:gd name="connsiteX46" fmla="*/ 217997 w 531187"/>
              <a:gd name="connsiteY46" fmla="*/ 728810 h 835576"/>
              <a:gd name="connsiteX47" fmla="*/ 231113 w 531187"/>
              <a:gd name="connsiteY47" fmla="*/ 739024 h 835576"/>
              <a:gd name="connsiteX48" fmla="*/ 239484 w 531187"/>
              <a:gd name="connsiteY48" fmla="*/ 752028 h 835576"/>
              <a:gd name="connsiteX49" fmla="*/ 242386 w 531187"/>
              <a:gd name="connsiteY49" fmla="*/ 769050 h 835576"/>
              <a:gd name="connsiteX50" fmla="*/ 237308 w 531187"/>
              <a:gd name="connsiteY50" fmla="*/ 791541 h 835576"/>
              <a:gd name="connsiteX51" fmla="*/ 223522 w 531187"/>
              <a:gd name="connsiteY51" fmla="*/ 806275 h 835576"/>
              <a:gd name="connsiteX52" fmla="*/ 203263 w 531187"/>
              <a:gd name="connsiteY52" fmla="*/ 814368 h 835576"/>
              <a:gd name="connsiteX53" fmla="*/ 178874 w 531187"/>
              <a:gd name="connsiteY53" fmla="*/ 816824 h 835576"/>
              <a:gd name="connsiteX54" fmla="*/ 153815 w 531187"/>
              <a:gd name="connsiteY54" fmla="*/ 814591 h 835576"/>
              <a:gd name="connsiteX55" fmla="*/ 133221 w 531187"/>
              <a:gd name="connsiteY55" fmla="*/ 807894 h 835576"/>
              <a:gd name="connsiteX56" fmla="*/ 133221 w 531187"/>
              <a:gd name="connsiteY56" fmla="*/ 772175 h 835576"/>
              <a:gd name="connsiteX57" fmla="*/ 154317 w 531187"/>
              <a:gd name="connsiteY57" fmla="*/ 784398 h 835576"/>
              <a:gd name="connsiteX58" fmla="*/ 177311 w 531187"/>
              <a:gd name="connsiteY58" fmla="*/ 788472 h 835576"/>
              <a:gd name="connsiteX59" fmla="*/ 189199 w 531187"/>
              <a:gd name="connsiteY59" fmla="*/ 787244 h 835576"/>
              <a:gd name="connsiteX60" fmla="*/ 197682 w 531187"/>
              <a:gd name="connsiteY60" fmla="*/ 783840 h 835576"/>
              <a:gd name="connsiteX61" fmla="*/ 202761 w 531187"/>
              <a:gd name="connsiteY61" fmla="*/ 778705 h 835576"/>
              <a:gd name="connsiteX62" fmla="*/ 204435 w 531187"/>
              <a:gd name="connsiteY62" fmla="*/ 772287 h 835576"/>
              <a:gd name="connsiteX63" fmla="*/ 201756 w 531187"/>
              <a:gd name="connsiteY63" fmla="*/ 763915 h 835576"/>
              <a:gd name="connsiteX64" fmla="*/ 194445 w 531187"/>
              <a:gd name="connsiteY64" fmla="*/ 757106 h 835576"/>
              <a:gd name="connsiteX65" fmla="*/ 183450 w 531187"/>
              <a:gd name="connsiteY65" fmla="*/ 751079 h 835576"/>
              <a:gd name="connsiteX66" fmla="*/ 169721 w 531187"/>
              <a:gd name="connsiteY66" fmla="*/ 745163 h 835576"/>
              <a:gd name="connsiteX67" fmla="*/ 141760 w 531187"/>
              <a:gd name="connsiteY67" fmla="*/ 726076 h 835576"/>
              <a:gd name="connsiteX68" fmla="*/ 132551 w 531187"/>
              <a:gd name="connsiteY68" fmla="*/ 698840 h 835576"/>
              <a:gd name="connsiteX69" fmla="*/ 137574 w 531187"/>
              <a:gd name="connsiteY69" fmla="*/ 677353 h 835576"/>
              <a:gd name="connsiteX70" fmla="*/ 151248 w 531187"/>
              <a:gd name="connsiteY70" fmla="*/ 662563 h 835576"/>
              <a:gd name="connsiteX71" fmla="*/ 171284 w 531187"/>
              <a:gd name="connsiteY71" fmla="*/ 654024 h 835576"/>
              <a:gd name="connsiteX72" fmla="*/ 195394 w 531187"/>
              <a:gd name="connsiteY72" fmla="*/ 651290 h 835576"/>
              <a:gd name="connsiteX73" fmla="*/ 0 w 531187"/>
              <a:gd name="connsiteY73" fmla="*/ 0 h 835576"/>
              <a:gd name="connsiteX74" fmla="*/ 248557 w 531187"/>
              <a:gd name="connsiteY74" fmla="*/ 591457 h 835576"/>
              <a:gd name="connsiteX75" fmla="*/ 0 w 531187"/>
              <a:gd name="connsiteY75" fmla="*/ 0 h 835576"/>
              <a:gd name="connsiteX0" fmla="*/ 201067 w 398636"/>
              <a:gd name="connsiteY0" fmla="*/ 31030 h 184286"/>
              <a:gd name="connsiteX1" fmla="*/ 170929 w 398636"/>
              <a:gd name="connsiteY1" fmla="*/ 45318 h 184286"/>
              <a:gd name="connsiteX2" fmla="*/ 159767 w 398636"/>
              <a:gd name="connsiteY2" fmla="*/ 82934 h 184286"/>
              <a:gd name="connsiteX3" fmla="*/ 170929 w 398636"/>
              <a:gd name="connsiteY3" fmla="*/ 120550 h 184286"/>
              <a:gd name="connsiteX4" fmla="*/ 200174 w 398636"/>
              <a:gd name="connsiteY4" fmla="*/ 134391 h 184286"/>
              <a:gd name="connsiteX5" fmla="*/ 229754 w 398636"/>
              <a:gd name="connsiteY5" fmla="*/ 120997 h 184286"/>
              <a:gd name="connsiteX6" fmla="*/ 240692 w 398636"/>
              <a:gd name="connsiteY6" fmla="*/ 83604 h 184286"/>
              <a:gd name="connsiteX7" fmla="*/ 230088 w 398636"/>
              <a:gd name="connsiteY7" fmla="*/ 44871 h 184286"/>
              <a:gd name="connsiteX8" fmla="*/ 201067 w 398636"/>
              <a:gd name="connsiteY8" fmla="*/ 31030 h 184286"/>
              <a:gd name="connsiteX9" fmla="*/ 303312 w 398636"/>
              <a:gd name="connsiteY9" fmla="*/ 2678 h 184286"/>
              <a:gd name="connsiteX10" fmla="*/ 339366 w 398636"/>
              <a:gd name="connsiteY10" fmla="*/ 2678 h 184286"/>
              <a:gd name="connsiteX11" fmla="*/ 339366 w 398636"/>
              <a:gd name="connsiteY11" fmla="*/ 133498 h 184286"/>
              <a:gd name="connsiteX12" fmla="*/ 398636 w 398636"/>
              <a:gd name="connsiteY12" fmla="*/ 133498 h 184286"/>
              <a:gd name="connsiteX13" fmla="*/ 398636 w 398636"/>
              <a:gd name="connsiteY13" fmla="*/ 162743 h 184286"/>
              <a:gd name="connsiteX14" fmla="*/ 303312 w 398636"/>
              <a:gd name="connsiteY14" fmla="*/ 162743 h 184286"/>
              <a:gd name="connsiteX15" fmla="*/ 303312 w 398636"/>
              <a:gd name="connsiteY15" fmla="*/ 2678 h 184286"/>
              <a:gd name="connsiteX16" fmla="*/ 202072 w 398636"/>
              <a:gd name="connsiteY16" fmla="*/ 0 h 184286"/>
              <a:gd name="connsiteX17" fmla="*/ 257436 w 398636"/>
              <a:gd name="connsiteY17" fmla="*/ 22435 h 184286"/>
              <a:gd name="connsiteX18" fmla="*/ 278644 w 398636"/>
              <a:gd name="connsiteY18" fmla="*/ 81595 h 184286"/>
              <a:gd name="connsiteX19" fmla="*/ 256654 w 398636"/>
              <a:gd name="connsiteY19" fmla="*/ 142428 h 184286"/>
              <a:gd name="connsiteX20" fmla="*/ 255203 w 398636"/>
              <a:gd name="connsiteY20" fmla="*/ 143935 h 184286"/>
              <a:gd name="connsiteX21" fmla="*/ 253752 w 398636"/>
              <a:gd name="connsiteY21" fmla="*/ 145330 h 184286"/>
              <a:gd name="connsiteX22" fmla="*/ 294271 w 398636"/>
              <a:gd name="connsiteY22" fmla="*/ 184286 h 184286"/>
              <a:gd name="connsiteX23" fmla="*/ 243818 w 398636"/>
              <a:gd name="connsiteY23" fmla="*/ 184286 h 184286"/>
              <a:gd name="connsiteX24" fmla="*/ 222610 w 398636"/>
              <a:gd name="connsiteY24" fmla="*/ 162743 h 184286"/>
              <a:gd name="connsiteX25" fmla="*/ 199504 w 398636"/>
              <a:gd name="connsiteY25" fmla="*/ 165534 h 184286"/>
              <a:gd name="connsiteX26" fmla="*/ 143470 w 398636"/>
              <a:gd name="connsiteY26" fmla="*/ 143209 h 184286"/>
              <a:gd name="connsiteX27" fmla="*/ 121816 w 398636"/>
              <a:gd name="connsiteY27" fmla="*/ 84832 h 184286"/>
              <a:gd name="connsiteX28" fmla="*/ 143805 w 398636"/>
              <a:gd name="connsiteY28" fmla="*/ 23440 h 184286"/>
              <a:gd name="connsiteX29" fmla="*/ 202072 w 398636"/>
              <a:gd name="connsiteY29" fmla="*/ 0 h 184286"/>
              <a:gd name="connsiteX30" fmla="*/ 62843 w 398636"/>
              <a:gd name="connsiteY30" fmla="*/ 0 h 184286"/>
              <a:gd name="connsiteX31" fmla="*/ 85000 w 398636"/>
              <a:gd name="connsiteY31" fmla="*/ 1506 h 184286"/>
              <a:gd name="connsiteX32" fmla="*/ 102803 w 398636"/>
              <a:gd name="connsiteY32" fmla="*/ 6139 h 184286"/>
              <a:gd name="connsiteX33" fmla="*/ 102803 w 398636"/>
              <a:gd name="connsiteY33" fmla="*/ 39513 h 184286"/>
              <a:gd name="connsiteX34" fmla="*/ 94041 w 398636"/>
              <a:gd name="connsiteY34" fmla="*/ 34602 h 184286"/>
              <a:gd name="connsiteX35" fmla="*/ 84274 w 398636"/>
              <a:gd name="connsiteY35" fmla="*/ 31086 h 184286"/>
              <a:gd name="connsiteX36" fmla="*/ 74284 w 398636"/>
              <a:gd name="connsiteY36" fmla="*/ 29021 h 184286"/>
              <a:gd name="connsiteX37" fmla="*/ 64852 w 398636"/>
              <a:gd name="connsiteY37" fmla="*/ 28351 h 184286"/>
              <a:gd name="connsiteX38" fmla="*/ 53690 w 398636"/>
              <a:gd name="connsiteY38" fmla="*/ 29523 h 184286"/>
              <a:gd name="connsiteX39" fmla="*/ 45207 w 398636"/>
              <a:gd name="connsiteY39" fmla="*/ 32816 h 184286"/>
              <a:gd name="connsiteX40" fmla="*/ 39849 w 398636"/>
              <a:gd name="connsiteY40" fmla="*/ 37895 h 184286"/>
              <a:gd name="connsiteX41" fmla="*/ 37951 w 398636"/>
              <a:gd name="connsiteY41" fmla="*/ 44536 h 184286"/>
              <a:gd name="connsiteX42" fmla="*/ 40072 w 398636"/>
              <a:gd name="connsiteY42" fmla="*/ 51736 h 184286"/>
              <a:gd name="connsiteX43" fmla="*/ 46100 w 398636"/>
              <a:gd name="connsiteY43" fmla="*/ 57763 h 184286"/>
              <a:gd name="connsiteX44" fmla="*/ 55587 w 398636"/>
              <a:gd name="connsiteY44" fmla="*/ 63345 h 184286"/>
              <a:gd name="connsiteX45" fmla="*/ 68201 w 398636"/>
              <a:gd name="connsiteY45" fmla="*/ 68981 h 184286"/>
              <a:gd name="connsiteX46" fmla="*/ 85446 w 398636"/>
              <a:gd name="connsiteY46" fmla="*/ 77520 h 184286"/>
              <a:gd name="connsiteX47" fmla="*/ 98562 w 398636"/>
              <a:gd name="connsiteY47" fmla="*/ 87734 h 184286"/>
              <a:gd name="connsiteX48" fmla="*/ 106933 w 398636"/>
              <a:gd name="connsiteY48" fmla="*/ 100738 h 184286"/>
              <a:gd name="connsiteX49" fmla="*/ 109835 w 398636"/>
              <a:gd name="connsiteY49" fmla="*/ 117760 h 184286"/>
              <a:gd name="connsiteX50" fmla="*/ 104757 w 398636"/>
              <a:gd name="connsiteY50" fmla="*/ 140251 h 184286"/>
              <a:gd name="connsiteX51" fmla="*/ 90971 w 398636"/>
              <a:gd name="connsiteY51" fmla="*/ 154985 h 184286"/>
              <a:gd name="connsiteX52" fmla="*/ 70712 w 398636"/>
              <a:gd name="connsiteY52" fmla="*/ 163078 h 184286"/>
              <a:gd name="connsiteX53" fmla="*/ 46323 w 398636"/>
              <a:gd name="connsiteY53" fmla="*/ 165534 h 184286"/>
              <a:gd name="connsiteX54" fmla="*/ 21264 w 398636"/>
              <a:gd name="connsiteY54" fmla="*/ 163301 h 184286"/>
              <a:gd name="connsiteX55" fmla="*/ 670 w 398636"/>
              <a:gd name="connsiteY55" fmla="*/ 156604 h 184286"/>
              <a:gd name="connsiteX56" fmla="*/ 670 w 398636"/>
              <a:gd name="connsiteY56" fmla="*/ 120885 h 184286"/>
              <a:gd name="connsiteX57" fmla="*/ 21766 w 398636"/>
              <a:gd name="connsiteY57" fmla="*/ 133108 h 184286"/>
              <a:gd name="connsiteX58" fmla="*/ 44760 w 398636"/>
              <a:gd name="connsiteY58" fmla="*/ 137182 h 184286"/>
              <a:gd name="connsiteX59" fmla="*/ 56648 w 398636"/>
              <a:gd name="connsiteY59" fmla="*/ 135954 h 184286"/>
              <a:gd name="connsiteX60" fmla="*/ 65131 w 398636"/>
              <a:gd name="connsiteY60" fmla="*/ 132550 h 184286"/>
              <a:gd name="connsiteX61" fmla="*/ 70210 w 398636"/>
              <a:gd name="connsiteY61" fmla="*/ 127415 h 184286"/>
              <a:gd name="connsiteX62" fmla="*/ 71884 w 398636"/>
              <a:gd name="connsiteY62" fmla="*/ 120997 h 184286"/>
              <a:gd name="connsiteX63" fmla="*/ 69205 w 398636"/>
              <a:gd name="connsiteY63" fmla="*/ 112625 h 184286"/>
              <a:gd name="connsiteX64" fmla="*/ 61894 w 398636"/>
              <a:gd name="connsiteY64" fmla="*/ 105816 h 184286"/>
              <a:gd name="connsiteX65" fmla="*/ 50899 w 398636"/>
              <a:gd name="connsiteY65" fmla="*/ 99789 h 184286"/>
              <a:gd name="connsiteX66" fmla="*/ 37170 w 398636"/>
              <a:gd name="connsiteY66" fmla="*/ 93873 h 184286"/>
              <a:gd name="connsiteX67" fmla="*/ 9209 w 398636"/>
              <a:gd name="connsiteY67" fmla="*/ 74786 h 184286"/>
              <a:gd name="connsiteX68" fmla="*/ 0 w 398636"/>
              <a:gd name="connsiteY68" fmla="*/ 47550 h 184286"/>
              <a:gd name="connsiteX69" fmla="*/ 5023 w 398636"/>
              <a:gd name="connsiteY69" fmla="*/ 26063 h 184286"/>
              <a:gd name="connsiteX70" fmla="*/ 18697 w 398636"/>
              <a:gd name="connsiteY70" fmla="*/ 11273 h 184286"/>
              <a:gd name="connsiteX71" fmla="*/ 38733 w 398636"/>
              <a:gd name="connsiteY71" fmla="*/ 2734 h 184286"/>
              <a:gd name="connsiteX72" fmla="*/ 62843 w 398636"/>
              <a:gd name="connsiteY72" fmla="*/ 0 h 18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8636" h="184286">
                <a:moveTo>
                  <a:pt x="201067" y="31030"/>
                </a:moveTo>
                <a:cubicBezTo>
                  <a:pt x="188491" y="31030"/>
                  <a:pt x="178445" y="35793"/>
                  <a:pt x="170929" y="45318"/>
                </a:cubicBezTo>
                <a:cubicBezTo>
                  <a:pt x="163488" y="54768"/>
                  <a:pt x="159767" y="67307"/>
                  <a:pt x="159767" y="82934"/>
                </a:cubicBezTo>
                <a:cubicBezTo>
                  <a:pt x="159767" y="98784"/>
                  <a:pt x="163488" y="111323"/>
                  <a:pt x="170929" y="120550"/>
                </a:cubicBezTo>
                <a:cubicBezTo>
                  <a:pt x="178371" y="129778"/>
                  <a:pt x="188119" y="134391"/>
                  <a:pt x="200174" y="134391"/>
                </a:cubicBezTo>
                <a:cubicBezTo>
                  <a:pt x="212601" y="134391"/>
                  <a:pt x="222461" y="129927"/>
                  <a:pt x="229754" y="120997"/>
                </a:cubicBezTo>
                <a:cubicBezTo>
                  <a:pt x="237046" y="111918"/>
                  <a:pt x="240692" y="99454"/>
                  <a:pt x="240692" y="83604"/>
                </a:cubicBezTo>
                <a:cubicBezTo>
                  <a:pt x="240692" y="67084"/>
                  <a:pt x="237158" y="54173"/>
                  <a:pt x="230088" y="44871"/>
                </a:cubicBezTo>
                <a:cubicBezTo>
                  <a:pt x="223094" y="35644"/>
                  <a:pt x="213420" y="31030"/>
                  <a:pt x="201067" y="31030"/>
                </a:cubicBezTo>
                <a:close/>
                <a:moveTo>
                  <a:pt x="303312" y="2678"/>
                </a:moveTo>
                <a:lnTo>
                  <a:pt x="339366" y="2678"/>
                </a:lnTo>
                <a:lnTo>
                  <a:pt x="339366" y="133498"/>
                </a:lnTo>
                <a:lnTo>
                  <a:pt x="398636" y="133498"/>
                </a:lnTo>
                <a:lnTo>
                  <a:pt x="398636" y="162743"/>
                </a:lnTo>
                <a:lnTo>
                  <a:pt x="303312" y="162743"/>
                </a:lnTo>
                <a:lnTo>
                  <a:pt x="303312" y="2678"/>
                </a:lnTo>
                <a:close/>
                <a:moveTo>
                  <a:pt x="202072" y="0"/>
                </a:moveTo>
                <a:cubicBezTo>
                  <a:pt x="224917" y="0"/>
                  <a:pt x="243371" y="7478"/>
                  <a:pt x="257436" y="22435"/>
                </a:cubicBezTo>
                <a:cubicBezTo>
                  <a:pt x="271574" y="37318"/>
                  <a:pt x="278644" y="57038"/>
                  <a:pt x="278644" y="81595"/>
                </a:cubicBezTo>
                <a:cubicBezTo>
                  <a:pt x="278644" y="106672"/>
                  <a:pt x="271314" y="126950"/>
                  <a:pt x="256654" y="142428"/>
                </a:cubicBezTo>
                <a:cubicBezTo>
                  <a:pt x="256133" y="142949"/>
                  <a:pt x="255650" y="143451"/>
                  <a:pt x="255203" y="143935"/>
                </a:cubicBezTo>
                <a:cubicBezTo>
                  <a:pt x="254757" y="144419"/>
                  <a:pt x="254273" y="144884"/>
                  <a:pt x="253752" y="145330"/>
                </a:cubicBezTo>
                <a:lnTo>
                  <a:pt x="294271" y="184286"/>
                </a:lnTo>
                <a:lnTo>
                  <a:pt x="243818" y="184286"/>
                </a:lnTo>
                <a:lnTo>
                  <a:pt x="222610" y="162743"/>
                </a:lnTo>
                <a:cubicBezTo>
                  <a:pt x="215615" y="164603"/>
                  <a:pt x="207913" y="165534"/>
                  <a:pt x="199504" y="165534"/>
                </a:cubicBezTo>
                <a:cubicBezTo>
                  <a:pt x="176585" y="165534"/>
                  <a:pt x="157907" y="158092"/>
                  <a:pt x="143470" y="143209"/>
                </a:cubicBezTo>
                <a:cubicBezTo>
                  <a:pt x="129034" y="128178"/>
                  <a:pt x="121816" y="108719"/>
                  <a:pt x="121816" y="84832"/>
                </a:cubicBezTo>
                <a:cubicBezTo>
                  <a:pt x="121816" y="59605"/>
                  <a:pt x="129146" y="39141"/>
                  <a:pt x="143805" y="23440"/>
                </a:cubicBezTo>
                <a:cubicBezTo>
                  <a:pt x="158391" y="7813"/>
                  <a:pt x="177813" y="0"/>
                  <a:pt x="202072" y="0"/>
                </a:cubicBezTo>
                <a:close/>
                <a:moveTo>
                  <a:pt x="62843" y="0"/>
                </a:moveTo>
                <a:cubicBezTo>
                  <a:pt x="71177" y="0"/>
                  <a:pt x="78563" y="502"/>
                  <a:pt x="85000" y="1506"/>
                </a:cubicBezTo>
                <a:cubicBezTo>
                  <a:pt x="91436" y="2511"/>
                  <a:pt x="97371" y="4055"/>
                  <a:pt x="102803" y="6139"/>
                </a:cubicBezTo>
                <a:lnTo>
                  <a:pt x="102803" y="39513"/>
                </a:lnTo>
                <a:cubicBezTo>
                  <a:pt x="100124" y="37653"/>
                  <a:pt x="97204" y="36016"/>
                  <a:pt x="94041" y="34602"/>
                </a:cubicBezTo>
                <a:cubicBezTo>
                  <a:pt x="90878" y="33188"/>
                  <a:pt x="87623" y="32016"/>
                  <a:pt x="84274" y="31086"/>
                </a:cubicBezTo>
                <a:cubicBezTo>
                  <a:pt x="80925" y="30156"/>
                  <a:pt x="77595" y="29468"/>
                  <a:pt x="74284" y="29021"/>
                </a:cubicBezTo>
                <a:cubicBezTo>
                  <a:pt x="70973" y="28575"/>
                  <a:pt x="67829" y="28351"/>
                  <a:pt x="64852" y="28351"/>
                </a:cubicBezTo>
                <a:cubicBezTo>
                  <a:pt x="60759" y="28351"/>
                  <a:pt x="57039" y="28742"/>
                  <a:pt x="53690" y="29523"/>
                </a:cubicBezTo>
                <a:cubicBezTo>
                  <a:pt x="50341" y="30305"/>
                  <a:pt x="47514" y="31402"/>
                  <a:pt x="45207" y="32816"/>
                </a:cubicBezTo>
                <a:cubicBezTo>
                  <a:pt x="42900" y="34230"/>
                  <a:pt x="41114" y="35923"/>
                  <a:pt x="39849" y="37895"/>
                </a:cubicBezTo>
                <a:cubicBezTo>
                  <a:pt x="38584" y="39867"/>
                  <a:pt x="37951" y="42081"/>
                  <a:pt x="37951" y="44536"/>
                </a:cubicBezTo>
                <a:cubicBezTo>
                  <a:pt x="37951" y="47215"/>
                  <a:pt x="38658" y="49615"/>
                  <a:pt x="40072" y="51736"/>
                </a:cubicBezTo>
                <a:cubicBezTo>
                  <a:pt x="41486" y="53857"/>
                  <a:pt x="43495" y="55866"/>
                  <a:pt x="46100" y="57763"/>
                </a:cubicBezTo>
                <a:cubicBezTo>
                  <a:pt x="48704" y="59661"/>
                  <a:pt x="51867" y="61521"/>
                  <a:pt x="55587" y="63345"/>
                </a:cubicBezTo>
                <a:cubicBezTo>
                  <a:pt x="59308" y="65168"/>
                  <a:pt x="63513" y="67047"/>
                  <a:pt x="68201" y="68981"/>
                </a:cubicBezTo>
                <a:cubicBezTo>
                  <a:pt x="74600" y="71660"/>
                  <a:pt x="80349" y="74507"/>
                  <a:pt x="85446" y="77520"/>
                </a:cubicBezTo>
                <a:cubicBezTo>
                  <a:pt x="90543" y="80534"/>
                  <a:pt x="94915" y="83939"/>
                  <a:pt x="98562" y="87734"/>
                </a:cubicBezTo>
                <a:cubicBezTo>
                  <a:pt x="102208" y="91529"/>
                  <a:pt x="104998" y="95863"/>
                  <a:pt x="106933" y="100738"/>
                </a:cubicBezTo>
                <a:cubicBezTo>
                  <a:pt x="108868" y="105612"/>
                  <a:pt x="109835" y="111286"/>
                  <a:pt x="109835" y="117760"/>
                </a:cubicBezTo>
                <a:cubicBezTo>
                  <a:pt x="109835" y="126690"/>
                  <a:pt x="108142" y="134187"/>
                  <a:pt x="104757" y="140251"/>
                </a:cubicBezTo>
                <a:cubicBezTo>
                  <a:pt x="101371" y="146316"/>
                  <a:pt x="96776" y="151228"/>
                  <a:pt x="90971" y="154985"/>
                </a:cubicBezTo>
                <a:cubicBezTo>
                  <a:pt x="85167" y="158743"/>
                  <a:pt x="78414" y="161441"/>
                  <a:pt x="70712" y="163078"/>
                </a:cubicBezTo>
                <a:cubicBezTo>
                  <a:pt x="63010" y="164715"/>
                  <a:pt x="54881" y="165534"/>
                  <a:pt x="46323" y="165534"/>
                </a:cubicBezTo>
                <a:cubicBezTo>
                  <a:pt x="37542" y="165534"/>
                  <a:pt x="29189" y="164790"/>
                  <a:pt x="21264" y="163301"/>
                </a:cubicBezTo>
                <a:cubicBezTo>
                  <a:pt x="13339" y="161813"/>
                  <a:pt x="6474" y="159581"/>
                  <a:pt x="670" y="156604"/>
                </a:cubicBezTo>
                <a:lnTo>
                  <a:pt x="670" y="120885"/>
                </a:lnTo>
                <a:cubicBezTo>
                  <a:pt x="7144" y="126317"/>
                  <a:pt x="14176" y="130392"/>
                  <a:pt x="21766" y="133108"/>
                </a:cubicBezTo>
                <a:cubicBezTo>
                  <a:pt x="29357" y="135824"/>
                  <a:pt x="37021" y="137182"/>
                  <a:pt x="44760" y="137182"/>
                </a:cubicBezTo>
                <a:cubicBezTo>
                  <a:pt x="49299" y="137182"/>
                  <a:pt x="53262" y="136773"/>
                  <a:pt x="56648" y="135954"/>
                </a:cubicBezTo>
                <a:cubicBezTo>
                  <a:pt x="60034" y="135136"/>
                  <a:pt x="62861" y="134001"/>
                  <a:pt x="65131" y="132550"/>
                </a:cubicBezTo>
                <a:cubicBezTo>
                  <a:pt x="67401" y="131099"/>
                  <a:pt x="69094" y="129387"/>
                  <a:pt x="70210" y="127415"/>
                </a:cubicBezTo>
                <a:cubicBezTo>
                  <a:pt x="71326" y="125443"/>
                  <a:pt x="71884" y="123304"/>
                  <a:pt x="71884" y="120997"/>
                </a:cubicBezTo>
                <a:cubicBezTo>
                  <a:pt x="71884" y="117871"/>
                  <a:pt x="70991" y="115081"/>
                  <a:pt x="69205" y="112625"/>
                </a:cubicBezTo>
                <a:cubicBezTo>
                  <a:pt x="67419" y="110170"/>
                  <a:pt x="64982" y="107900"/>
                  <a:pt x="61894" y="105816"/>
                </a:cubicBezTo>
                <a:cubicBezTo>
                  <a:pt x="58806" y="103733"/>
                  <a:pt x="55141" y="101724"/>
                  <a:pt x="50899" y="99789"/>
                </a:cubicBezTo>
                <a:cubicBezTo>
                  <a:pt x="46658" y="97854"/>
                  <a:pt x="42081" y="95882"/>
                  <a:pt x="37170" y="93873"/>
                </a:cubicBezTo>
                <a:cubicBezTo>
                  <a:pt x="24668" y="88664"/>
                  <a:pt x="15348" y="82302"/>
                  <a:pt x="9209" y="74786"/>
                </a:cubicBezTo>
                <a:cubicBezTo>
                  <a:pt x="3070" y="67270"/>
                  <a:pt x="0" y="58191"/>
                  <a:pt x="0" y="47550"/>
                </a:cubicBezTo>
                <a:cubicBezTo>
                  <a:pt x="0" y="39216"/>
                  <a:pt x="1674" y="32053"/>
                  <a:pt x="5023" y="26063"/>
                </a:cubicBezTo>
                <a:cubicBezTo>
                  <a:pt x="8372" y="20073"/>
                  <a:pt x="12930" y="15143"/>
                  <a:pt x="18697" y="11273"/>
                </a:cubicBezTo>
                <a:cubicBezTo>
                  <a:pt x="24464" y="7404"/>
                  <a:pt x="31142" y="4557"/>
                  <a:pt x="38733" y="2734"/>
                </a:cubicBezTo>
                <a:cubicBezTo>
                  <a:pt x="46323" y="911"/>
                  <a:pt x="54360" y="0"/>
                  <a:pt x="62843"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latin typeface="Segoe UI"/>
            </a:endParaRPr>
          </a:p>
        </p:txBody>
      </p:sp>
      <p:pic>
        <p:nvPicPr>
          <p:cNvPr id="829" name="Picture 2" descr="https://c2.staticflickr.com/4/3701/19224697601_d03ecccf71_o.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3945" r="13945"/>
          <a:stretch/>
        </p:blipFill>
        <p:spPr bwMode="auto">
          <a:xfrm>
            <a:off x="10600822" y="2989319"/>
            <a:ext cx="554112" cy="768430"/>
          </a:xfrm>
          <a:prstGeom prst="rect">
            <a:avLst/>
          </a:prstGeom>
          <a:noFill/>
          <a:extLst>
            <a:ext uri="{909E8E84-426E-40DD-AFC4-6F175D3DCCD1}">
              <a14:hiddenFill xmlns:a14="http://schemas.microsoft.com/office/drawing/2010/main">
                <a:solidFill>
                  <a:srgbClr val="FFFFFF"/>
                </a:solidFill>
              </a14:hiddenFill>
            </a:ext>
          </a:extLst>
        </p:spPr>
      </p:pic>
      <p:pic>
        <p:nvPicPr>
          <p:cNvPr id="839" name="Picture 838" descr="https://upload.wikimedia.org/wikipedia/en/thumb/5/54/Gremlin_%28programming_language%29.png/383px-Gremlin_%28programming_language%29.png"/>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6472333" y="2521114"/>
            <a:ext cx="1560030" cy="606906"/>
          </a:xfrm>
          <a:prstGeom prst="rect">
            <a:avLst/>
          </a:prstGeom>
          <a:extLst>
            <a:ext uri="{909E8E84-426E-40DD-AFC4-6F175D3DCCD1}">
              <a14:hiddenFill xmlns:a14="http://schemas.microsoft.com/office/drawing/2010/main">
                <a:solidFill>
                  <a:srgbClr val="FFFFFF"/>
                </a:solidFill>
              </a14:hiddenFill>
            </a:ext>
          </a:extLst>
        </p:spPr>
      </p:pic>
      <p:pic>
        <p:nvPicPr>
          <p:cNvPr id="840" name="Picture 4" descr="File:MongoDB-Logo.sv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101065" y="2899504"/>
            <a:ext cx="1564327" cy="424476"/>
          </a:xfrm>
          <a:prstGeom prst="rect">
            <a:avLst/>
          </a:prstGeom>
          <a:noFill/>
          <a:extLst>
            <a:ext uri="{909E8E84-426E-40DD-AFC4-6F175D3DCCD1}">
              <a14:hiddenFill xmlns:a14="http://schemas.microsoft.com/office/drawing/2010/main">
                <a:solidFill>
                  <a:srgbClr val="FFFFFF"/>
                </a:solidFill>
              </a14:hiddenFill>
            </a:ext>
          </a:extLst>
        </p:spPr>
      </p:pic>
      <p:grpSp>
        <p:nvGrpSpPr>
          <p:cNvPr id="865" name="Group 864"/>
          <p:cNvGrpSpPr/>
          <p:nvPr/>
        </p:nvGrpSpPr>
        <p:grpSpPr>
          <a:xfrm>
            <a:off x="8764941" y="3950037"/>
            <a:ext cx="586303" cy="377163"/>
            <a:chOff x="7117181" y="5146654"/>
            <a:chExt cx="663064" cy="426544"/>
          </a:xfrm>
          <a:solidFill>
            <a:srgbClr val="59B4D9"/>
          </a:solidFill>
        </p:grpSpPr>
        <p:sp>
          <p:nvSpPr>
            <p:cNvPr id="866" name="Oval 865"/>
            <p:cNvSpPr/>
            <p:nvPr/>
          </p:nvSpPr>
          <p:spPr bwMode="auto">
            <a:xfrm rot="715722">
              <a:off x="7117181" y="5146654"/>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7" name="Oval 866"/>
            <p:cNvSpPr/>
            <p:nvPr/>
          </p:nvSpPr>
          <p:spPr bwMode="auto">
            <a:xfrm>
              <a:off x="7476127" y="5224668"/>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8" name="Oval 867"/>
            <p:cNvSpPr/>
            <p:nvPr/>
          </p:nvSpPr>
          <p:spPr bwMode="auto">
            <a:xfrm>
              <a:off x="7296654"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9" name="Oval 868"/>
            <p:cNvSpPr/>
            <p:nvPr/>
          </p:nvSpPr>
          <p:spPr bwMode="auto">
            <a:xfrm>
              <a:off x="7655599"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870" name="Straight Connector 869"/>
            <p:cNvCxnSpPr>
              <a:cxnSpLocks/>
            </p:cNvCxnSpPr>
            <p:nvPr/>
          </p:nvCxnSpPr>
          <p:spPr>
            <a:xfrm>
              <a:off x="7240481" y="5221859"/>
              <a:ext cx="235646" cy="65132"/>
            </a:xfrm>
            <a:prstGeom prst="line">
              <a:avLst/>
            </a:prstGeom>
            <a:grpFill/>
            <a:ln w="12700" cap="flat" cmpd="sng" algn="ctr">
              <a:solidFill>
                <a:schemeClr val="tx2"/>
              </a:solidFill>
              <a:prstDash val="sysDot"/>
              <a:miter lim="800000"/>
              <a:headEnd type="none"/>
              <a:tailEnd type="none"/>
            </a:ln>
            <a:effectLst/>
          </p:spPr>
        </p:cxnSp>
        <p:cxnSp>
          <p:nvCxnSpPr>
            <p:cNvPr id="871" name="Straight Connector 870"/>
            <p:cNvCxnSpPr>
              <a:cxnSpLocks/>
            </p:cNvCxnSpPr>
            <p:nvPr/>
          </p:nvCxnSpPr>
          <p:spPr>
            <a:xfrm>
              <a:off x="7421300" y="5510875"/>
              <a:ext cx="234299" cy="0"/>
            </a:xfrm>
            <a:prstGeom prst="line">
              <a:avLst/>
            </a:prstGeom>
            <a:grpFill/>
            <a:ln w="12700" cap="flat" cmpd="sng" algn="ctr">
              <a:solidFill>
                <a:schemeClr val="tx2"/>
              </a:solidFill>
              <a:prstDash val="sysDot"/>
              <a:miter lim="800000"/>
              <a:headEnd type="none"/>
              <a:tailEnd type="none"/>
            </a:ln>
            <a:effectLst/>
          </p:spPr>
        </p:cxnSp>
        <p:cxnSp>
          <p:nvCxnSpPr>
            <p:cNvPr id="872" name="Straight Connector 871"/>
            <p:cNvCxnSpPr>
              <a:cxnSpLocks/>
            </p:cNvCxnSpPr>
            <p:nvPr/>
          </p:nvCxnSpPr>
          <p:spPr>
            <a:xfrm>
              <a:off x="7582519" y="5331060"/>
              <a:ext cx="91334" cy="135746"/>
            </a:xfrm>
            <a:prstGeom prst="line">
              <a:avLst/>
            </a:prstGeom>
            <a:grpFill/>
            <a:ln w="12700" cap="flat" cmpd="sng" algn="ctr">
              <a:solidFill>
                <a:schemeClr val="tx2"/>
              </a:solidFill>
              <a:prstDash val="sysDot"/>
              <a:miter lim="800000"/>
              <a:headEnd type="none"/>
              <a:tailEnd type="none"/>
            </a:ln>
            <a:effectLst/>
          </p:spPr>
        </p:cxnSp>
        <p:cxnSp>
          <p:nvCxnSpPr>
            <p:cNvPr id="873" name="Straight Connector 872"/>
            <p:cNvCxnSpPr>
              <a:cxnSpLocks/>
            </p:cNvCxnSpPr>
            <p:nvPr/>
          </p:nvCxnSpPr>
          <p:spPr>
            <a:xfrm flipV="1">
              <a:off x="7403046" y="5331060"/>
              <a:ext cx="91335" cy="135746"/>
            </a:xfrm>
            <a:prstGeom prst="line">
              <a:avLst/>
            </a:prstGeom>
            <a:grpFill/>
            <a:ln w="12700" cap="flat" cmpd="sng" algn="ctr">
              <a:solidFill>
                <a:schemeClr val="tx2"/>
              </a:solidFill>
              <a:prstDash val="sysDot"/>
              <a:miter lim="800000"/>
              <a:headEnd type="none"/>
              <a:tailEnd type="none"/>
            </a:ln>
            <a:effectLst/>
          </p:spPr>
        </p:cxnSp>
      </p:grpSp>
      <p:grpSp>
        <p:nvGrpSpPr>
          <p:cNvPr id="874" name="Group 873"/>
          <p:cNvGrpSpPr/>
          <p:nvPr/>
        </p:nvGrpSpPr>
        <p:grpSpPr>
          <a:xfrm>
            <a:off x="6876015" y="3656510"/>
            <a:ext cx="499208" cy="473323"/>
            <a:chOff x="7128988" y="4166153"/>
            <a:chExt cx="604908" cy="573541"/>
          </a:xfrm>
        </p:grpSpPr>
        <p:cxnSp>
          <p:nvCxnSpPr>
            <p:cNvPr id="875" name="Straight Connector 874"/>
            <p:cNvCxnSpPr>
              <a:cxnSpLocks/>
            </p:cNvCxnSpPr>
            <p:nvPr/>
          </p:nvCxnSpPr>
          <p:spPr>
            <a:xfrm>
              <a:off x="7128988" y="4451736"/>
              <a:ext cx="238107" cy="72556"/>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6" name="Straight Connector 875"/>
            <p:cNvCxnSpPr>
              <a:cxnSpLocks/>
            </p:cNvCxnSpPr>
            <p:nvPr/>
          </p:nvCxnSpPr>
          <p:spPr>
            <a:xfrm flipV="1">
              <a:off x="7128988" y="4379180"/>
              <a:ext cx="233873" cy="72556"/>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77" name="Oval 876"/>
            <p:cNvSpPr/>
            <p:nvPr/>
          </p:nvSpPr>
          <p:spPr bwMode="auto">
            <a:xfrm>
              <a:off x="7128988" y="4383154"/>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78" name="Straight Connector 877"/>
            <p:cNvCxnSpPr>
              <a:cxnSpLocks/>
            </p:cNvCxnSpPr>
            <p:nvPr/>
          </p:nvCxnSpPr>
          <p:spPr>
            <a:xfrm>
              <a:off x="7367095" y="4524292"/>
              <a:ext cx="241432" cy="108368"/>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9" name="Straight Connector 878"/>
            <p:cNvCxnSpPr>
              <a:cxnSpLocks/>
            </p:cNvCxnSpPr>
            <p:nvPr/>
          </p:nvCxnSpPr>
          <p:spPr>
            <a:xfrm>
              <a:off x="7367095" y="4524292"/>
              <a:ext cx="229638" cy="1361"/>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0" name="Oval 879"/>
            <p:cNvSpPr/>
            <p:nvPr/>
          </p:nvSpPr>
          <p:spPr bwMode="auto">
            <a:xfrm rot="20946206">
              <a:off x="7596733" y="460253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1" name="Oval 880"/>
            <p:cNvSpPr/>
            <p:nvPr/>
          </p:nvSpPr>
          <p:spPr bwMode="auto">
            <a:xfrm>
              <a:off x="7596733" y="445707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82" name="Straight Connector 881"/>
            <p:cNvCxnSpPr>
              <a:cxnSpLocks/>
            </p:cNvCxnSpPr>
            <p:nvPr/>
          </p:nvCxnSpPr>
          <p:spPr>
            <a:xfrm>
              <a:off x="7362861" y="4379181"/>
              <a:ext cx="233872" cy="1013"/>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3" name="Oval 882"/>
            <p:cNvSpPr/>
            <p:nvPr/>
          </p:nvSpPr>
          <p:spPr bwMode="auto">
            <a:xfrm>
              <a:off x="7367095" y="4455710"/>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84" name="Straight Connector 883"/>
            <p:cNvCxnSpPr>
              <a:cxnSpLocks/>
            </p:cNvCxnSpPr>
            <p:nvPr/>
          </p:nvCxnSpPr>
          <p:spPr>
            <a:xfrm flipV="1">
              <a:off x="7362861" y="4277619"/>
              <a:ext cx="248934" cy="101562"/>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5" name="Oval 884"/>
            <p:cNvSpPr/>
            <p:nvPr/>
          </p:nvSpPr>
          <p:spPr bwMode="auto">
            <a:xfrm>
              <a:off x="7362861" y="4310599"/>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6" name="Oval 885"/>
            <p:cNvSpPr/>
            <p:nvPr/>
          </p:nvSpPr>
          <p:spPr bwMode="auto">
            <a:xfrm>
              <a:off x="7596733" y="4311612"/>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7" name="Oval 886"/>
            <p:cNvSpPr/>
            <p:nvPr/>
          </p:nvSpPr>
          <p:spPr bwMode="auto">
            <a:xfrm rot="377738">
              <a:off x="7596733" y="4166153"/>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grpSp>
      <p:sp>
        <p:nvSpPr>
          <p:cNvPr id="889" name="TextBox 888"/>
          <p:cNvSpPr txBox="1"/>
          <p:nvPr/>
        </p:nvSpPr>
        <p:spPr>
          <a:xfrm>
            <a:off x="4367177" y="4063639"/>
            <a:ext cx="996428"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Column-family</a:t>
            </a:r>
          </a:p>
        </p:txBody>
      </p:sp>
      <p:sp>
        <p:nvSpPr>
          <p:cNvPr id="890" name="TextBox 889"/>
          <p:cNvSpPr txBox="1"/>
          <p:nvPr/>
        </p:nvSpPr>
        <p:spPr>
          <a:xfrm>
            <a:off x="6832290" y="4138630"/>
            <a:ext cx="727122"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Document</a:t>
            </a:r>
          </a:p>
        </p:txBody>
      </p:sp>
      <p:sp>
        <p:nvSpPr>
          <p:cNvPr id="891" name="TextBox 890"/>
          <p:cNvSpPr txBox="1"/>
          <p:nvPr/>
        </p:nvSpPr>
        <p:spPr>
          <a:xfrm>
            <a:off x="8931096" y="4426926"/>
            <a:ext cx="467436"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Graph</a:t>
            </a:r>
          </a:p>
        </p:txBody>
      </p:sp>
      <p:sp>
        <p:nvSpPr>
          <p:cNvPr id="893" name="TextBox 892"/>
          <p:cNvSpPr txBox="1"/>
          <p:nvPr/>
        </p:nvSpPr>
        <p:spPr>
          <a:xfrm>
            <a:off x="819605" y="5509878"/>
            <a:ext cx="2021708"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Turnkey global distribution</a:t>
            </a:r>
          </a:p>
        </p:txBody>
      </p:sp>
      <p:sp>
        <p:nvSpPr>
          <p:cNvPr id="894" name="TextBox 893"/>
          <p:cNvSpPr txBox="1"/>
          <p:nvPr/>
        </p:nvSpPr>
        <p:spPr>
          <a:xfrm>
            <a:off x="2665537" y="4952921"/>
            <a:ext cx="1858201" cy="461665"/>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Elastic scale out </a:t>
            </a:r>
          </a:p>
          <a:p>
            <a:pPr algn="ctr" defTabSz="857124">
              <a:defRPr/>
            </a:pPr>
            <a:r>
              <a:rPr lang="en-US" sz="1200" kern="0" dirty="0">
                <a:solidFill>
                  <a:srgbClr val="002050"/>
                </a:solidFill>
                <a:latin typeface="Segoe UI"/>
                <a:cs typeface="Segoe UI Light" panose="020B0502040204020203" pitchFamily="34" charset="0"/>
              </a:rPr>
              <a:t>of storage &amp; throughput</a:t>
            </a:r>
          </a:p>
        </p:txBody>
      </p:sp>
      <p:sp>
        <p:nvSpPr>
          <p:cNvPr id="895" name="TextBox 894"/>
          <p:cNvSpPr txBox="1"/>
          <p:nvPr/>
        </p:nvSpPr>
        <p:spPr>
          <a:xfrm>
            <a:off x="4395442" y="4830534"/>
            <a:ext cx="3222357"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Guaranteed low latency at the 99</a:t>
            </a:r>
            <a:r>
              <a:rPr lang="en-US" sz="1200" kern="0" baseline="30000" dirty="0">
                <a:solidFill>
                  <a:srgbClr val="002050"/>
                </a:solidFill>
                <a:latin typeface="Segoe UI"/>
                <a:cs typeface="Segoe UI Light" panose="020B0502040204020203" pitchFamily="34" charset="0"/>
              </a:rPr>
              <a:t>th</a:t>
            </a:r>
            <a:r>
              <a:rPr lang="en-US" sz="1200" kern="0" dirty="0">
                <a:solidFill>
                  <a:srgbClr val="002050"/>
                </a:solidFill>
                <a:latin typeface="Segoe UI"/>
                <a:cs typeface="Segoe UI Light" panose="020B0502040204020203" pitchFamily="34" charset="0"/>
              </a:rPr>
              <a:t> percentile</a:t>
            </a:r>
          </a:p>
        </p:txBody>
      </p:sp>
      <p:sp>
        <p:nvSpPr>
          <p:cNvPr id="896" name="TextBox 895"/>
          <p:cNvSpPr txBox="1"/>
          <p:nvPr/>
        </p:nvSpPr>
        <p:spPr>
          <a:xfrm>
            <a:off x="9784424" y="5509878"/>
            <a:ext cx="1595309"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Comprehensive SLAs</a:t>
            </a:r>
          </a:p>
        </p:txBody>
      </p:sp>
      <p:sp>
        <p:nvSpPr>
          <p:cNvPr id="897" name="TextBox 896"/>
          <p:cNvSpPr txBox="1"/>
          <p:nvPr/>
        </p:nvSpPr>
        <p:spPr>
          <a:xfrm>
            <a:off x="7239920" y="5081896"/>
            <a:ext cx="2691764"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Five well-defined consistency models</a:t>
            </a:r>
          </a:p>
        </p:txBody>
      </p:sp>
      <p:grpSp>
        <p:nvGrpSpPr>
          <p:cNvPr id="905" name="Group 3"/>
          <p:cNvGrpSpPr/>
          <p:nvPr/>
        </p:nvGrpSpPr>
        <p:grpSpPr>
          <a:xfrm>
            <a:off x="2155722" y="6201962"/>
            <a:ext cx="752902" cy="752901"/>
            <a:chOff x="-4594157" y="2516834"/>
            <a:chExt cx="1070585" cy="1070585"/>
          </a:xfrm>
        </p:grpSpPr>
        <p:sp>
          <p:nvSpPr>
            <p:cNvPr id="90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07" name="Group 5"/>
            <p:cNvGrpSpPr/>
            <p:nvPr/>
          </p:nvGrpSpPr>
          <p:grpSpPr>
            <a:xfrm>
              <a:off x="-4594157" y="2516834"/>
              <a:ext cx="1070585" cy="1070585"/>
              <a:chOff x="10232415" y="2527090"/>
              <a:chExt cx="1070585" cy="1070585"/>
            </a:xfrm>
          </p:grpSpPr>
          <p:sp>
            <p:nvSpPr>
              <p:cNvPr id="908" name="Oval 6"/>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09" name="Graphic 90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0" name="Group 14"/>
          <p:cNvGrpSpPr/>
          <p:nvPr/>
        </p:nvGrpSpPr>
        <p:grpSpPr>
          <a:xfrm>
            <a:off x="7205301" y="6323443"/>
            <a:ext cx="752902" cy="752901"/>
            <a:chOff x="-4594157" y="2516834"/>
            <a:chExt cx="1070585" cy="1070585"/>
          </a:xfrm>
        </p:grpSpPr>
        <p:sp>
          <p:nvSpPr>
            <p:cNvPr id="91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12" name="Group 16"/>
            <p:cNvGrpSpPr/>
            <p:nvPr/>
          </p:nvGrpSpPr>
          <p:grpSpPr>
            <a:xfrm>
              <a:off x="-4594157" y="2516834"/>
              <a:ext cx="1070585" cy="1070585"/>
              <a:chOff x="10232415" y="2527090"/>
              <a:chExt cx="1070585" cy="1070585"/>
            </a:xfrm>
          </p:grpSpPr>
          <p:sp>
            <p:nvSpPr>
              <p:cNvPr id="913" name="Oval 1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14" name="Graphic 91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5" name="Group 24"/>
          <p:cNvGrpSpPr/>
          <p:nvPr/>
        </p:nvGrpSpPr>
        <p:grpSpPr>
          <a:xfrm>
            <a:off x="6130269" y="5962859"/>
            <a:ext cx="752902" cy="752901"/>
            <a:chOff x="-4594157" y="2516834"/>
            <a:chExt cx="1070585" cy="1070585"/>
          </a:xfrm>
        </p:grpSpPr>
        <p:sp>
          <p:nvSpPr>
            <p:cNvPr id="91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17" name="Group 26"/>
            <p:cNvGrpSpPr/>
            <p:nvPr/>
          </p:nvGrpSpPr>
          <p:grpSpPr>
            <a:xfrm>
              <a:off x="-4594157" y="2516834"/>
              <a:ext cx="1070585" cy="1070585"/>
              <a:chOff x="10232415" y="2527090"/>
              <a:chExt cx="1070585" cy="1070585"/>
            </a:xfrm>
          </p:grpSpPr>
          <p:sp>
            <p:nvSpPr>
              <p:cNvPr id="918" name="Oval 2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19" name="Graphic 91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20" name="Group 900"/>
          <p:cNvGrpSpPr/>
          <p:nvPr/>
        </p:nvGrpSpPr>
        <p:grpSpPr>
          <a:xfrm>
            <a:off x="9313584" y="5962859"/>
            <a:ext cx="752902" cy="752901"/>
            <a:chOff x="-4594157" y="2516834"/>
            <a:chExt cx="1070585" cy="1070585"/>
          </a:xfrm>
        </p:grpSpPr>
        <p:sp>
          <p:nvSpPr>
            <p:cNvPr id="92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22" name="Group 902"/>
            <p:cNvGrpSpPr/>
            <p:nvPr/>
          </p:nvGrpSpPr>
          <p:grpSpPr>
            <a:xfrm>
              <a:off x="-4594157" y="2516834"/>
              <a:ext cx="1070585" cy="1070585"/>
              <a:chOff x="10232415" y="2527090"/>
              <a:chExt cx="1070585" cy="1070585"/>
            </a:xfrm>
          </p:grpSpPr>
          <p:sp>
            <p:nvSpPr>
              <p:cNvPr id="923" name="Oval 903"/>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24" name="Graphic 92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sp>
        <p:nvSpPr>
          <p:cNvPr id="9" name="Freeform: Shape 8"/>
          <p:cNvSpPr/>
          <p:nvPr/>
        </p:nvSpPr>
        <p:spPr>
          <a:xfrm>
            <a:off x="-7257" y="4536008"/>
            <a:ext cx="12199257" cy="1037701"/>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928" name="Freeform: Shape 927"/>
          <p:cNvSpPr/>
          <p:nvPr/>
        </p:nvSpPr>
        <p:spPr>
          <a:xfrm>
            <a:off x="-7257" y="3439656"/>
            <a:ext cx="12199257" cy="1020029"/>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grpSp>
        <p:nvGrpSpPr>
          <p:cNvPr id="4" name="Group 3">
            <a:extLst>
              <a:ext uri="{FF2B5EF4-FFF2-40B4-BE49-F238E27FC236}">
                <a16:creationId xmlns:a16="http://schemas.microsoft.com/office/drawing/2014/main" id="{E0621680-1DBB-4F22-8DD6-446815431D2E}"/>
              </a:ext>
            </a:extLst>
          </p:cNvPr>
          <p:cNvGrpSpPr/>
          <p:nvPr/>
        </p:nvGrpSpPr>
        <p:grpSpPr>
          <a:xfrm>
            <a:off x="4118503" y="2556321"/>
            <a:ext cx="1897954" cy="623188"/>
            <a:chOff x="5645189" y="2644649"/>
            <a:chExt cx="1897954" cy="623188"/>
          </a:xfrm>
        </p:grpSpPr>
        <p:sp>
          <p:nvSpPr>
            <p:cNvPr id="830" name="Freeform: Shape 28"/>
            <p:cNvSpPr/>
            <p:nvPr/>
          </p:nvSpPr>
          <p:spPr>
            <a:xfrm>
              <a:off x="5645189" y="2644649"/>
              <a:ext cx="722852" cy="623188"/>
            </a:xfrm>
            <a:custGeom>
              <a:avLst/>
              <a:gdLst>
                <a:gd name="connsiteX0" fmla="*/ 4283739 w 6912012"/>
                <a:gd name="connsiteY0" fmla="*/ 3558282 h 5959009"/>
                <a:gd name="connsiteX1" fmla="*/ 4283739 w 6912012"/>
                <a:gd name="connsiteY1" fmla="*/ 4359666 h 5959009"/>
                <a:gd name="connsiteX2" fmla="*/ 5085123 w 6912012"/>
                <a:gd name="connsiteY2" fmla="*/ 4359666 h 5959009"/>
                <a:gd name="connsiteX3" fmla="*/ 5085123 w 6912012"/>
                <a:gd name="connsiteY3" fmla="*/ 3558282 h 5959009"/>
                <a:gd name="connsiteX4" fmla="*/ 3285434 w 6912012"/>
                <a:gd name="connsiteY4" fmla="*/ 3558282 h 5959009"/>
                <a:gd name="connsiteX5" fmla="*/ 3285434 w 6912012"/>
                <a:gd name="connsiteY5" fmla="*/ 4359666 h 5959009"/>
                <a:gd name="connsiteX6" fmla="*/ 4086818 w 6912012"/>
                <a:gd name="connsiteY6" fmla="*/ 4359666 h 5959009"/>
                <a:gd name="connsiteX7" fmla="*/ 4086818 w 6912012"/>
                <a:gd name="connsiteY7" fmla="*/ 3558282 h 5959009"/>
                <a:gd name="connsiteX8" fmla="*/ 2287129 w 6912012"/>
                <a:gd name="connsiteY8" fmla="*/ 3558282 h 5959009"/>
                <a:gd name="connsiteX9" fmla="*/ 2287129 w 6912012"/>
                <a:gd name="connsiteY9" fmla="*/ 4359666 h 5959009"/>
                <a:gd name="connsiteX10" fmla="*/ 3088513 w 6912012"/>
                <a:gd name="connsiteY10" fmla="*/ 4359666 h 5959009"/>
                <a:gd name="connsiteX11" fmla="*/ 3088513 w 6912012"/>
                <a:gd name="connsiteY11" fmla="*/ 3558282 h 5959009"/>
                <a:gd name="connsiteX12" fmla="*/ 4283739 w 6912012"/>
                <a:gd name="connsiteY12" fmla="*/ 2561689 h 5959009"/>
                <a:gd name="connsiteX13" fmla="*/ 4283739 w 6912012"/>
                <a:gd name="connsiteY13" fmla="*/ 3363073 h 5959009"/>
                <a:gd name="connsiteX14" fmla="*/ 5085123 w 6912012"/>
                <a:gd name="connsiteY14" fmla="*/ 3363073 h 5959009"/>
                <a:gd name="connsiteX15" fmla="*/ 5085123 w 6912012"/>
                <a:gd name="connsiteY15" fmla="*/ 2561689 h 5959009"/>
                <a:gd name="connsiteX16" fmla="*/ 3285434 w 6912012"/>
                <a:gd name="connsiteY16" fmla="*/ 2561689 h 5959009"/>
                <a:gd name="connsiteX17" fmla="*/ 3285434 w 6912012"/>
                <a:gd name="connsiteY17" fmla="*/ 3363073 h 5959009"/>
                <a:gd name="connsiteX18" fmla="*/ 4086818 w 6912012"/>
                <a:gd name="connsiteY18" fmla="*/ 3363073 h 5959009"/>
                <a:gd name="connsiteX19" fmla="*/ 4086818 w 6912012"/>
                <a:gd name="connsiteY19" fmla="*/ 2561689 h 5959009"/>
                <a:gd name="connsiteX20" fmla="*/ 2287129 w 6912012"/>
                <a:gd name="connsiteY20" fmla="*/ 2561689 h 5959009"/>
                <a:gd name="connsiteX21" fmla="*/ 2287129 w 6912012"/>
                <a:gd name="connsiteY21" fmla="*/ 3363073 h 5959009"/>
                <a:gd name="connsiteX22" fmla="*/ 3088513 w 6912012"/>
                <a:gd name="connsiteY22" fmla="*/ 3363073 h 5959009"/>
                <a:gd name="connsiteX23" fmla="*/ 3088513 w 6912012"/>
                <a:gd name="connsiteY23" fmla="*/ 2561689 h 5959009"/>
                <a:gd name="connsiteX24" fmla="*/ 4283739 w 6912012"/>
                <a:gd name="connsiteY24" fmla="*/ 1565096 h 5959009"/>
                <a:gd name="connsiteX25" fmla="*/ 4283739 w 6912012"/>
                <a:gd name="connsiteY25" fmla="*/ 2366480 h 5959009"/>
                <a:gd name="connsiteX26" fmla="*/ 5085123 w 6912012"/>
                <a:gd name="connsiteY26" fmla="*/ 2366480 h 5959009"/>
                <a:gd name="connsiteX27" fmla="*/ 5085123 w 6912012"/>
                <a:gd name="connsiteY27" fmla="*/ 1565096 h 5959009"/>
                <a:gd name="connsiteX28" fmla="*/ 3285434 w 6912012"/>
                <a:gd name="connsiteY28" fmla="*/ 1565096 h 5959009"/>
                <a:gd name="connsiteX29" fmla="*/ 3285434 w 6912012"/>
                <a:gd name="connsiteY29" fmla="*/ 2366480 h 5959009"/>
                <a:gd name="connsiteX30" fmla="*/ 4086818 w 6912012"/>
                <a:gd name="connsiteY30" fmla="*/ 2366480 h 5959009"/>
                <a:gd name="connsiteX31" fmla="*/ 4086818 w 6912012"/>
                <a:gd name="connsiteY31" fmla="*/ 1565096 h 5959009"/>
                <a:gd name="connsiteX32" fmla="*/ 2287129 w 6912012"/>
                <a:gd name="connsiteY32" fmla="*/ 1565096 h 5959009"/>
                <a:gd name="connsiteX33" fmla="*/ 2287129 w 6912012"/>
                <a:gd name="connsiteY33" fmla="*/ 2366480 h 5959009"/>
                <a:gd name="connsiteX34" fmla="*/ 3088513 w 6912012"/>
                <a:gd name="connsiteY34" fmla="*/ 2366480 h 5959009"/>
                <a:gd name="connsiteX35" fmla="*/ 3088513 w 6912012"/>
                <a:gd name="connsiteY35" fmla="*/ 1565096 h 5959009"/>
                <a:gd name="connsiteX36" fmla="*/ 1826890 w 6912012"/>
                <a:gd name="connsiteY36" fmla="*/ 1539635 h 5959009"/>
                <a:gd name="connsiteX37" fmla="*/ 1826890 w 6912012"/>
                <a:gd name="connsiteY37" fmla="*/ 4787206 h 5959009"/>
                <a:gd name="connsiteX38" fmla="*/ 5085123 w 6912012"/>
                <a:gd name="connsiteY38" fmla="*/ 4787206 h 5959009"/>
                <a:gd name="connsiteX39" fmla="*/ 5085123 w 6912012"/>
                <a:gd name="connsiteY39" fmla="*/ 4567677 h 5959009"/>
                <a:gd name="connsiteX40" fmla="*/ 2046419 w 6912012"/>
                <a:gd name="connsiteY40" fmla="*/ 4567677 h 5959009"/>
                <a:gd name="connsiteX41" fmla="*/ 2046419 w 6912012"/>
                <a:gd name="connsiteY41" fmla="*/ 1539635 h 5959009"/>
                <a:gd name="connsiteX42" fmla="*/ 1743189 w 6912012"/>
                <a:gd name="connsiteY42" fmla="*/ 0 h 5959009"/>
                <a:gd name="connsiteX43" fmla="*/ 5168823 w 6912012"/>
                <a:gd name="connsiteY43" fmla="*/ 0 h 5959009"/>
                <a:gd name="connsiteX44" fmla="*/ 6912012 w 6912012"/>
                <a:gd name="connsiteY44" fmla="*/ 2979505 h 5959009"/>
                <a:gd name="connsiteX45" fmla="*/ 5168823 w 6912012"/>
                <a:gd name="connsiteY45" fmla="*/ 5959009 h 5959009"/>
                <a:gd name="connsiteX46" fmla="*/ 1743189 w 6912012"/>
                <a:gd name="connsiteY46" fmla="*/ 5959009 h 5959009"/>
                <a:gd name="connsiteX47" fmla="*/ 0 w 6912012"/>
                <a:gd name="connsiteY47" fmla="*/ 2979505 h 5959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912012" h="5959009">
                  <a:moveTo>
                    <a:pt x="4283739" y="3558282"/>
                  </a:moveTo>
                  <a:lnTo>
                    <a:pt x="4283739" y="4359666"/>
                  </a:lnTo>
                  <a:lnTo>
                    <a:pt x="5085123" y="4359666"/>
                  </a:lnTo>
                  <a:lnTo>
                    <a:pt x="5085123" y="3558282"/>
                  </a:lnTo>
                  <a:close/>
                  <a:moveTo>
                    <a:pt x="3285434" y="3558282"/>
                  </a:moveTo>
                  <a:lnTo>
                    <a:pt x="3285434" y="4359666"/>
                  </a:lnTo>
                  <a:lnTo>
                    <a:pt x="4086818" y="4359666"/>
                  </a:lnTo>
                  <a:lnTo>
                    <a:pt x="4086818" y="3558282"/>
                  </a:lnTo>
                  <a:close/>
                  <a:moveTo>
                    <a:pt x="2287129" y="3558282"/>
                  </a:moveTo>
                  <a:lnTo>
                    <a:pt x="2287129" y="4359666"/>
                  </a:lnTo>
                  <a:lnTo>
                    <a:pt x="3088513" y="4359666"/>
                  </a:lnTo>
                  <a:lnTo>
                    <a:pt x="3088513" y="3558282"/>
                  </a:lnTo>
                  <a:close/>
                  <a:moveTo>
                    <a:pt x="4283739" y="2561689"/>
                  </a:moveTo>
                  <a:lnTo>
                    <a:pt x="4283739" y="3363073"/>
                  </a:lnTo>
                  <a:lnTo>
                    <a:pt x="5085123" y="3363073"/>
                  </a:lnTo>
                  <a:lnTo>
                    <a:pt x="5085123" y="2561689"/>
                  </a:lnTo>
                  <a:close/>
                  <a:moveTo>
                    <a:pt x="3285434" y="2561689"/>
                  </a:moveTo>
                  <a:lnTo>
                    <a:pt x="3285434" y="3363073"/>
                  </a:lnTo>
                  <a:lnTo>
                    <a:pt x="4086818" y="3363073"/>
                  </a:lnTo>
                  <a:lnTo>
                    <a:pt x="4086818" y="2561689"/>
                  </a:lnTo>
                  <a:close/>
                  <a:moveTo>
                    <a:pt x="2287129" y="2561689"/>
                  </a:moveTo>
                  <a:lnTo>
                    <a:pt x="2287129" y="3363073"/>
                  </a:lnTo>
                  <a:lnTo>
                    <a:pt x="3088513" y="3363073"/>
                  </a:lnTo>
                  <a:lnTo>
                    <a:pt x="3088513" y="2561689"/>
                  </a:lnTo>
                  <a:close/>
                  <a:moveTo>
                    <a:pt x="4283739" y="1565096"/>
                  </a:moveTo>
                  <a:lnTo>
                    <a:pt x="4283739" y="2366480"/>
                  </a:lnTo>
                  <a:lnTo>
                    <a:pt x="5085123" y="2366480"/>
                  </a:lnTo>
                  <a:lnTo>
                    <a:pt x="5085123" y="1565096"/>
                  </a:lnTo>
                  <a:close/>
                  <a:moveTo>
                    <a:pt x="3285434" y="1565096"/>
                  </a:moveTo>
                  <a:lnTo>
                    <a:pt x="3285434" y="2366480"/>
                  </a:lnTo>
                  <a:lnTo>
                    <a:pt x="4086818" y="2366480"/>
                  </a:lnTo>
                  <a:lnTo>
                    <a:pt x="4086818" y="1565096"/>
                  </a:lnTo>
                  <a:close/>
                  <a:moveTo>
                    <a:pt x="2287129" y="1565096"/>
                  </a:moveTo>
                  <a:lnTo>
                    <a:pt x="2287129" y="2366480"/>
                  </a:lnTo>
                  <a:lnTo>
                    <a:pt x="3088513" y="2366480"/>
                  </a:lnTo>
                  <a:lnTo>
                    <a:pt x="3088513" y="1565096"/>
                  </a:lnTo>
                  <a:close/>
                  <a:moveTo>
                    <a:pt x="1826890" y="1539635"/>
                  </a:moveTo>
                  <a:lnTo>
                    <a:pt x="1826890" y="4787206"/>
                  </a:lnTo>
                  <a:lnTo>
                    <a:pt x="5085123" y="4787206"/>
                  </a:lnTo>
                  <a:lnTo>
                    <a:pt x="5085123" y="4567677"/>
                  </a:lnTo>
                  <a:lnTo>
                    <a:pt x="2046419" y="4567677"/>
                  </a:lnTo>
                  <a:lnTo>
                    <a:pt x="2046419" y="1539635"/>
                  </a:lnTo>
                  <a:close/>
                  <a:moveTo>
                    <a:pt x="1743189" y="0"/>
                  </a:moveTo>
                  <a:lnTo>
                    <a:pt x="5168823" y="0"/>
                  </a:lnTo>
                  <a:lnTo>
                    <a:pt x="6912012" y="2979505"/>
                  </a:lnTo>
                  <a:lnTo>
                    <a:pt x="5168823" y="5959009"/>
                  </a:lnTo>
                  <a:lnTo>
                    <a:pt x="1743189" y="5959009"/>
                  </a:lnTo>
                  <a:lnTo>
                    <a:pt x="0" y="297950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latin typeface="Segoe UI"/>
              </a:endParaRPr>
            </a:p>
          </p:txBody>
        </p:sp>
        <p:sp>
          <p:nvSpPr>
            <p:cNvPr id="3" name="TextBox 2"/>
            <p:cNvSpPr txBox="1"/>
            <p:nvPr/>
          </p:nvSpPr>
          <p:spPr>
            <a:xfrm>
              <a:off x="6430723" y="2787717"/>
              <a:ext cx="1112420" cy="369332"/>
            </a:xfrm>
            <a:prstGeom prst="rect">
              <a:avLst/>
            </a:prstGeom>
            <a:noFill/>
          </p:spPr>
          <p:txBody>
            <a:bodyPr wrap="none" rtlCol="0">
              <a:spAutoFit/>
            </a:bodyPr>
            <a:lstStyle/>
            <a:p>
              <a:r>
                <a:rPr lang="en-US" dirty="0">
                  <a:solidFill>
                    <a:srgbClr val="000000"/>
                  </a:solidFill>
                  <a:latin typeface="Segoe UI"/>
                </a:rPr>
                <a:t>Table API</a:t>
              </a:r>
            </a:p>
          </p:txBody>
        </p:sp>
      </p:grpSp>
      <p:grpSp>
        <p:nvGrpSpPr>
          <p:cNvPr id="93" name="Group 92"/>
          <p:cNvGrpSpPr/>
          <p:nvPr/>
        </p:nvGrpSpPr>
        <p:grpSpPr>
          <a:xfrm>
            <a:off x="4468630" y="3829867"/>
            <a:ext cx="648960" cy="124646"/>
            <a:chOff x="4937947" y="5178778"/>
            <a:chExt cx="733930" cy="124646"/>
          </a:xfrm>
        </p:grpSpPr>
        <p:cxnSp>
          <p:nvCxnSpPr>
            <p:cNvPr id="94" name="Straight Connector 93"/>
            <p:cNvCxnSpPr>
              <a:cxnSpLocks/>
            </p:cNvCxnSpPr>
            <p:nvPr/>
          </p:nvCxnSpPr>
          <p:spPr>
            <a:xfrm>
              <a:off x="5062593" y="5241101"/>
              <a:ext cx="187117" cy="0"/>
            </a:xfrm>
            <a:prstGeom prst="line">
              <a:avLst/>
            </a:prstGeom>
            <a:noFill/>
            <a:ln w="12700" cap="flat" cmpd="sng" algn="ctr">
              <a:solidFill>
                <a:schemeClr val="tx2"/>
              </a:solidFill>
              <a:prstDash val="sysDot"/>
              <a:miter lim="800000"/>
              <a:headEnd type="none"/>
              <a:tailEnd type="none"/>
            </a:ln>
            <a:effectLst/>
          </p:spPr>
        </p:cxnSp>
        <p:sp>
          <p:nvSpPr>
            <p:cNvPr id="95" name="Oval 94"/>
            <p:cNvSpPr/>
            <p:nvPr/>
          </p:nvSpPr>
          <p:spPr bwMode="auto">
            <a:xfrm>
              <a:off x="4937947" y="5178778"/>
              <a:ext cx="124646" cy="124646"/>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6" name="Oval 95"/>
            <p:cNvSpPr/>
            <p:nvPr/>
          </p:nvSpPr>
          <p:spPr bwMode="auto">
            <a:xfrm>
              <a:off x="5249710"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7" name="Oval 96"/>
            <p:cNvSpPr/>
            <p:nvPr/>
          </p:nvSpPr>
          <p:spPr bwMode="auto">
            <a:xfrm>
              <a:off x="5404122"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8" name="Oval 97"/>
            <p:cNvSpPr/>
            <p:nvPr/>
          </p:nvSpPr>
          <p:spPr bwMode="auto">
            <a:xfrm>
              <a:off x="5558535"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grpSp>
        <p:nvGrpSpPr>
          <p:cNvPr id="118" name="Group 117"/>
          <p:cNvGrpSpPr/>
          <p:nvPr/>
        </p:nvGrpSpPr>
        <p:grpSpPr>
          <a:xfrm>
            <a:off x="2522203" y="3918617"/>
            <a:ext cx="723819" cy="774671"/>
            <a:chOff x="4511512" y="6316301"/>
            <a:chExt cx="668502" cy="1610561"/>
          </a:xfrm>
        </p:grpSpPr>
        <p:grpSp>
          <p:nvGrpSpPr>
            <p:cNvPr id="119" name="Group 118"/>
            <p:cNvGrpSpPr/>
            <p:nvPr/>
          </p:nvGrpSpPr>
          <p:grpSpPr>
            <a:xfrm>
              <a:off x="4511512" y="6316301"/>
              <a:ext cx="617679" cy="892977"/>
              <a:chOff x="4066669" y="5178779"/>
              <a:chExt cx="1357897" cy="892977"/>
            </a:xfrm>
          </p:grpSpPr>
          <p:cxnSp>
            <p:nvCxnSpPr>
              <p:cNvPr id="121" name="Straight Connector 120"/>
              <p:cNvCxnSpPr>
                <a:cxnSpLocks/>
              </p:cNvCxnSpPr>
              <p:nvPr/>
            </p:nvCxnSpPr>
            <p:spPr>
              <a:xfrm>
                <a:off x="4308965" y="5299925"/>
                <a:ext cx="895279" cy="0"/>
              </a:xfrm>
              <a:prstGeom prst="line">
                <a:avLst/>
              </a:prstGeom>
              <a:noFill/>
              <a:ln w="12700" cap="flat" cmpd="sng" algn="ctr">
                <a:solidFill>
                  <a:schemeClr val="tx2"/>
                </a:solidFill>
                <a:prstDash val="sysDot"/>
                <a:miter lim="800000"/>
                <a:headEnd type="none"/>
                <a:tailEnd type="none"/>
              </a:ln>
              <a:effectLst/>
            </p:spPr>
          </p:cxnSp>
          <p:sp>
            <p:nvSpPr>
              <p:cNvPr id="122" name="Oval 121"/>
              <p:cNvSpPr/>
              <p:nvPr/>
            </p:nvSpPr>
            <p:spPr bwMode="auto">
              <a:xfrm>
                <a:off x="4066669" y="517877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3" name="Oval 122"/>
              <p:cNvSpPr/>
              <p:nvPr/>
            </p:nvSpPr>
            <p:spPr bwMode="auto">
              <a:xfrm>
                <a:off x="5204244" y="5189764"/>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124" name="Straight Connector 123"/>
              <p:cNvCxnSpPr>
                <a:cxnSpLocks/>
              </p:cNvCxnSpPr>
              <p:nvPr/>
            </p:nvCxnSpPr>
            <p:spPr>
              <a:xfrm>
                <a:off x="4308965" y="5620439"/>
                <a:ext cx="895279" cy="0"/>
              </a:xfrm>
              <a:prstGeom prst="line">
                <a:avLst/>
              </a:prstGeom>
              <a:noFill/>
              <a:ln w="12700" cap="flat" cmpd="sng" algn="ctr">
                <a:solidFill>
                  <a:schemeClr val="tx2"/>
                </a:solidFill>
                <a:prstDash val="sysDot"/>
                <a:miter lim="800000"/>
                <a:headEnd type="none"/>
                <a:tailEnd type="none"/>
              </a:ln>
              <a:effectLst/>
            </p:spPr>
          </p:cxnSp>
          <p:sp>
            <p:nvSpPr>
              <p:cNvPr id="125" name="Oval 124"/>
              <p:cNvSpPr/>
              <p:nvPr/>
            </p:nvSpPr>
            <p:spPr bwMode="auto">
              <a:xfrm>
                <a:off x="4066669" y="5499293"/>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6" name="Oval 125"/>
              <p:cNvSpPr/>
              <p:nvPr/>
            </p:nvSpPr>
            <p:spPr bwMode="auto">
              <a:xfrm>
                <a:off x="5204244" y="5510278"/>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127" name="Straight Connector 126"/>
              <p:cNvCxnSpPr>
                <a:cxnSpLocks/>
              </p:cNvCxnSpPr>
              <p:nvPr/>
            </p:nvCxnSpPr>
            <p:spPr>
              <a:xfrm>
                <a:off x="4308965" y="5950606"/>
                <a:ext cx="895279" cy="0"/>
              </a:xfrm>
              <a:prstGeom prst="line">
                <a:avLst/>
              </a:prstGeom>
              <a:noFill/>
              <a:ln w="12700" cap="flat" cmpd="sng" algn="ctr">
                <a:solidFill>
                  <a:schemeClr val="tx2"/>
                </a:solidFill>
                <a:prstDash val="sysDot"/>
                <a:miter lim="800000"/>
                <a:headEnd type="none"/>
                <a:tailEnd type="none"/>
              </a:ln>
              <a:effectLst/>
            </p:spPr>
          </p:cxnSp>
          <p:sp>
            <p:nvSpPr>
              <p:cNvPr id="128" name="Oval 127"/>
              <p:cNvSpPr/>
              <p:nvPr/>
            </p:nvSpPr>
            <p:spPr bwMode="auto">
              <a:xfrm>
                <a:off x="4066669" y="582945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9" name="Oval 128"/>
              <p:cNvSpPr/>
              <p:nvPr/>
            </p:nvSpPr>
            <p:spPr bwMode="auto">
              <a:xfrm>
                <a:off x="5204244" y="5840445"/>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sp>
          <p:nvSpPr>
            <p:cNvPr id="120" name="TextBox 119"/>
            <p:cNvSpPr txBox="1"/>
            <p:nvPr/>
          </p:nvSpPr>
          <p:spPr>
            <a:xfrm>
              <a:off x="4538071" y="7398964"/>
              <a:ext cx="641943" cy="527898"/>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Key-value</a:t>
              </a:r>
            </a:p>
          </p:txBody>
        </p:sp>
      </p:grpSp>
      <p:sp>
        <p:nvSpPr>
          <p:cNvPr id="84" name="Title 10"/>
          <p:cNvSpPr>
            <a:spLocks noGrp="1"/>
          </p:cNvSpPr>
          <p:nvPr>
            <p:ph type="title"/>
          </p:nvPr>
        </p:nvSpPr>
        <p:spPr>
          <a:xfrm>
            <a:off x="185254" y="296723"/>
            <a:ext cx="11642721" cy="917575"/>
          </a:xfrm>
        </p:spPr>
        <p:txBody>
          <a:bodyPr>
            <a:noAutofit/>
          </a:bodyPr>
          <a:lstStyle/>
          <a:p>
            <a:pPr algn="ctr"/>
            <a:r>
              <a:rPr lang="en-US" dirty="0">
                <a:solidFill>
                  <a:schemeClr val="bg1"/>
                </a:solidFill>
              </a:rPr>
              <a:t>Azure Cosmos DB</a:t>
            </a:r>
            <a:br>
              <a:rPr lang="en-US" dirty="0">
                <a:solidFill>
                  <a:schemeClr val="bg1"/>
                </a:solidFill>
              </a:rPr>
            </a:br>
            <a:r>
              <a:rPr lang="en-US" sz="2400" dirty="0">
                <a:solidFill>
                  <a:schemeClr val="bg1"/>
                </a:solidFill>
              </a:rPr>
              <a:t>A globally distributed, massively scalable, multi-model database service</a:t>
            </a:r>
          </a:p>
        </p:txBody>
      </p:sp>
      <p:sp>
        <p:nvSpPr>
          <p:cNvPr id="88" name="Freeform: Shape 87"/>
          <p:cNvSpPr/>
          <p:nvPr/>
        </p:nvSpPr>
        <p:spPr>
          <a:xfrm rot="21199444">
            <a:off x="4339766" y="4597929"/>
            <a:ext cx="3292954" cy="705523"/>
          </a:xfrm>
          <a:custGeom>
            <a:avLst/>
            <a:gdLst>
              <a:gd name="connsiteX0" fmla="*/ 1630787 w 2383222"/>
              <a:gd name="connsiteY0" fmla="*/ 285598 h 956663"/>
              <a:gd name="connsiteX1" fmla="*/ 1278090 w 2383222"/>
              <a:gd name="connsiteY1" fmla="*/ 11278 h 956663"/>
              <a:gd name="connsiteX2" fmla="*/ 233061 w 2383222"/>
              <a:gd name="connsiteY2" fmla="*/ 102718 h 956663"/>
              <a:gd name="connsiteX3" fmla="*/ 69775 w 2383222"/>
              <a:gd name="connsiteY3" fmla="*/ 553386 h 956663"/>
              <a:gd name="connsiteX4" fmla="*/ 1140930 w 2383222"/>
              <a:gd name="connsiteY4" fmla="*/ 938741 h 956663"/>
              <a:gd name="connsiteX5" fmla="*/ 2310055 w 2383222"/>
              <a:gd name="connsiteY5" fmla="*/ 840769 h 956663"/>
              <a:gd name="connsiteX6" fmla="*/ 2205553 w 2383222"/>
              <a:gd name="connsiteY6" fmla="*/ 383569 h 956663"/>
              <a:gd name="connsiteX7" fmla="*/ 1754884 w 2383222"/>
              <a:gd name="connsiteY7" fmla="*/ 141906 h 956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83222" h="956663">
                <a:moveTo>
                  <a:pt x="1630787" y="285598"/>
                </a:moveTo>
                <a:cubicBezTo>
                  <a:pt x="1570915" y="163678"/>
                  <a:pt x="1511044" y="41758"/>
                  <a:pt x="1278090" y="11278"/>
                </a:cubicBezTo>
                <a:cubicBezTo>
                  <a:pt x="1045136" y="-19202"/>
                  <a:pt x="434447" y="12367"/>
                  <a:pt x="233061" y="102718"/>
                </a:cubicBezTo>
                <a:cubicBezTo>
                  <a:pt x="31675" y="193069"/>
                  <a:pt x="-81536" y="414049"/>
                  <a:pt x="69775" y="553386"/>
                </a:cubicBezTo>
                <a:cubicBezTo>
                  <a:pt x="221086" y="692723"/>
                  <a:pt x="767550" y="890844"/>
                  <a:pt x="1140930" y="938741"/>
                </a:cubicBezTo>
                <a:cubicBezTo>
                  <a:pt x="1514310" y="986638"/>
                  <a:pt x="2132618" y="933298"/>
                  <a:pt x="2310055" y="840769"/>
                </a:cubicBezTo>
                <a:cubicBezTo>
                  <a:pt x="2487492" y="748240"/>
                  <a:pt x="2298081" y="500046"/>
                  <a:pt x="2205553" y="383569"/>
                </a:cubicBezTo>
                <a:cubicBezTo>
                  <a:pt x="2113025" y="267092"/>
                  <a:pt x="1933954" y="204499"/>
                  <a:pt x="1754884" y="141906"/>
                </a:cubicBezTo>
              </a:path>
            </a:pathLst>
          </a:custGeom>
          <a:no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9" name="Picture 2" descr="Image result for cassandra logo">
            <a:extLst>
              <a:ext uri="{FF2B5EF4-FFF2-40B4-BE49-F238E27FC236}">
                <a16:creationId xmlns:a16="http://schemas.microsoft.com/office/drawing/2014/main" id="{27D3CCCE-E802-46DD-9889-EE05B0CBA71E}"/>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655984" y="2606871"/>
            <a:ext cx="1202369" cy="8062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952368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81598" y="1157260"/>
            <a:ext cx="11653523" cy="4278480"/>
          </a:xfrm>
        </p:spPr>
        <p:txBody>
          <a:bodyPr/>
          <a:lstStyle/>
          <a:p>
            <a:r>
              <a:rPr lang="en-US" sz="2745" dirty="0">
                <a:solidFill>
                  <a:schemeClr val="bg1"/>
                </a:solidFill>
              </a:rPr>
              <a:t>Reads and writes served from </a:t>
            </a:r>
            <a:r>
              <a:rPr lang="en-US" sz="2745" u="sng" dirty="0">
                <a:solidFill>
                  <a:schemeClr val="bg1"/>
                </a:solidFill>
              </a:rPr>
              <a:t>local region</a:t>
            </a:r>
          </a:p>
          <a:p>
            <a:r>
              <a:rPr lang="en-US" sz="2745" dirty="0">
                <a:solidFill>
                  <a:schemeClr val="bg1"/>
                </a:solidFill>
              </a:rPr>
              <a:t>Guaranteed millisecond latency </a:t>
            </a:r>
            <a:r>
              <a:rPr lang="en-US" sz="2745" u="sng" dirty="0">
                <a:solidFill>
                  <a:schemeClr val="bg1"/>
                </a:solidFill>
              </a:rPr>
              <a:t>worldwide</a:t>
            </a:r>
          </a:p>
          <a:p>
            <a:r>
              <a:rPr lang="en-US" sz="2745" dirty="0">
                <a:solidFill>
                  <a:schemeClr val="bg1"/>
                </a:solidFill>
              </a:rPr>
              <a:t>Write optimized, latch-free database engine</a:t>
            </a:r>
          </a:p>
          <a:p>
            <a:r>
              <a:rPr lang="en-US" sz="2745" u="sng" dirty="0">
                <a:solidFill>
                  <a:srgbClr val="92D050"/>
                </a:solidFill>
                <a:latin typeface="Segoe UI Light" panose="020B0502040204020203" pitchFamily="34" charset="0"/>
                <a:cs typeface="Segoe UI Light" panose="020B0502040204020203" pitchFamily="34" charset="0"/>
              </a:rPr>
              <a:t>Automatically indexed SSD storage</a:t>
            </a:r>
            <a:endParaRPr lang="en-US" sz="2745" dirty="0">
              <a:solidFill>
                <a:schemeClr val="bg1"/>
              </a:solidFill>
            </a:endParaRPr>
          </a:p>
          <a:p>
            <a:pPr lvl="0"/>
            <a:r>
              <a:rPr lang="en-US" sz="1961" dirty="0">
                <a:solidFill>
                  <a:srgbClr val="00B0F0"/>
                </a:solidFill>
                <a:latin typeface="Segoe UI Light" panose="020B0502040204020203" pitchFamily="34" charset="0"/>
                <a:cs typeface="Segoe UI Light" panose="020B0502040204020203" pitchFamily="34" charset="0"/>
              </a:rPr>
              <a:t>Synchronous and automatic indexing at sustained ingestion rates</a:t>
            </a:r>
          </a:p>
          <a:p>
            <a:pPr lvl="1"/>
            <a:r>
              <a:rPr lang="en-US" sz="1568" dirty="0">
                <a:solidFill>
                  <a:schemeClr val="bg1"/>
                </a:solidFill>
                <a:latin typeface="Segoe UI Light" panose="020B0502040204020203" pitchFamily="34" charset="0"/>
                <a:cs typeface="Segoe UI Light" panose="020B0502040204020203" pitchFamily="34" charset="0"/>
              </a:rPr>
              <a:t>No schema or index management needed</a:t>
            </a:r>
          </a:p>
          <a:p>
            <a:pPr lvl="1"/>
            <a:r>
              <a:rPr lang="en-US" sz="1568" dirty="0">
                <a:solidFill>
                  <a:schemeClr val="bg1"/>
                </a:solidFill>
                <a:latin typeface="Segoe UI Light" panose="020B0502040204020203" pitchFamily="34" charset="0"/>
                <a:cs typeface="Segoe UI Light" panose="020B0502040204020203" pitchFamily="34" charset="0"/>
              </a:rPr>
              <a:t>No schema versioning needed</a:t>
            </a:r>
          </a:p>
          <a:p>
            <a:pPr lvl="1"/>
            <a:r>
              <a:rPr lang="en-US" sz="1568" dirty="0">
                <a:solidFill>
                  <a:schemeClr val="bg1"/>
                </a:solidFill>
                <a:latin typeface="Segoe UI Light" panose="020B0502040204020203" pitchFamily="34" charset="0"/>
                <a:cs typeface="Segoe UI Light" panose="020B0502040204020203" pitchFamily="34" charset="0"/>
              </a:rPr>
              <a:t>No schema migration needed</a:t>
            </a:r>
          </a:p>
          <a:p>
            <a:pPr lvl="1"/>
            <a:r>
              <a:rPr lang="en-US" sz="1568" dirty="0">
                <a:solidFill>
                  <a:schemeClr val="bg1"/>
                </a:solidFill>
                <a:latin typeface="Segoe UI Light" panose="020B0502040204020203" pitchFamily="34" charset="0"/>
                <a:cs typeface="Segoe UI Light" panose="020B0502040204020203" pitchFamily="34" charset="0"/>
              </a:rPr>
              <a:t>All of this is highly relevant for rapidly evolving apps </a:t>
            </a:r>
          </a:p>
          <a:p>
            <a:pPr marL="224097" lvl="1" indent="0">
              <a:buNone/>
            </a:pPr>
            <a:r>
              <a:rPr lang="en-US" sz="1568" dirty="0">
                <a:solidFill>
                  <a:schemeClr val="bg1"/>
                </a:solidFill>
                <a:latin typeface="Segoe UI Light" panose="020B0502040204020203" pitchFamily="34" charset="0"/>
                <a:cs typeface="Segoe UI Light" panose="020B0502040204020203" pitchFamily="34" charset="0"/>
              </a:rPr>
              <a:t>    in a globally distributed setup</a:t>
            </a:r>
          </a:p>
          <a:p>
            <a:endParaRPr lang="en-US" sz="1176" dirty="0">
              <a:solidFill>
                <a:schemeClr val="bg1"/>
              </a:solidFill>
            </a:endParaRPr>
          </a:p>
          <a:p>
            <a:endParaRPr lang="en-US" sz="2745" dirty="0">
              <a:solidFill>
                <a:schemeClr val="bg1"/>
              </a:solidFill>
            </a:endParaRPr>
          </a:p>
        </p:txBody>
      </p:sp>
      <p:sp>
        <p:nvSpPr>
          <p:cNvPr id="17" name="Title 16"/>
          <p:cNvSpPr>
            <a:spLocks noGrp="1"/>
          </p:cNvSpPr>
          <p:nvPr>
            <p:ph type="title"/>
          </p:nvPr>
        </p:nvSpPr>
        <p:spPr>
          <a:xfrm>
            <a:off x="266922" y="437800"/>
            <a:ext cx="11655840" cy="899537"/>
          </a:xfrm>
        </p:spPr>
        <p:txBody>
          <a:bodyPr/>
          <a:lstStyle/>
          <a:p>
            <a:r>
              <a:rPr lang="en-US" dirty="0">
                <a:solidFill>
                  <a:schemeClr val="bg1"/>
                </a:solidFill>
              </a:rPr>
              <a:t>Guaranteed Low Latency</a:t>
            </a:r>
          </a:p>
        </p:txBody>
      </p:sp>
      <p:grpSp>
        <p:nvGrpSpPr>
          <p:cNvPr id="2" name="Group 1"/>
          <p:cNvGrpSpPr/>
          <p:nvPr/>
        </p:nvGrpSpPr>
        <p:grpSpPr>
          <a:xfrm>
            <a:off x="3438505" y="3655299"/>
            <a:ext cx="8258211" cy="2705845"/>
            <a:chOff x="6445826" y="4259262"/>
            <a:chExt cx="5710516" cy="1871080"/>
          </a:xfrm>
        </p:grpSpPr>
        <p:sp>
          <p:nvSpPr>
            <p:cNvPr id="13" name="Rectangle 12">
              <a:extLst/>
            </p:cNvPr>
            <p:cNvSpPr/>
            <p:nvPr/>
          </p:nvSpPr>
          <p:spPr bwMode="auto">
            <a:xfrm>
              <a:off x="8382202" y="4259262"/>
              <a:ext cx="1837764" cy="574654"/>
            </a:xfrm>
            <a:prstGeom prst="rect">
              <a:avLst/>
            </a:prstGeom>
            <a:solidFill>
              <a:srgbClr val="92D050"/>
            </a:solidFill>
            <a:ln w="9525" cap="flat" cmpd="sng" algn="ctr">
              <a:solidFill>
                <a:srgbClr val="442359"/>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961" kern="0" dirty="0">
                  <a:solidFill>
                    <a:srgbClr val="000000"/>
                  </a:solidFill>
                  <a:latin typeface="Segoe UI Light"/>
                </a:rPr>
                <a:t>Reads (1KB)</a:t>
              </a:r>
            </a:p>
          </p:txBody>
        </p:sp>
        <p:sp>
          <p:nvSpPr>
            <p:cNvPr id="14" name="Rectangle 13">
              <a:extLst/>
            </p:cNvPr>
            <p:cNvSpPr/>
            <p:nvPr/>
          </p:nvSpPr>
          <p:spPr bwMode="auto">
            <a:xfrm>
              <a:off x="10318578" y="4259262"/>
              <a:ext cx="1837764" cy="574654"/>
            </a:xfrm>
            <a:prstGeom prst="rect">
              <a:avLst/>
            </a:prstGeom>
            <a:solidFill>
              <a:schemeClr val="accent5"/>
            </a:solidFill>
            <a:ln w="9525" cap="flat" cmpd="sng" algn="ctr">
              <a:solidFill>
                <a:srgbClr val="442359"/>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961" kern="0" dirty="0">
                  <a:solidFill>
                    <a:srgbClr val="000000"/>
                  </a:solidFill>
                  <a:latin typeface="Segoe UI Light"/>
                </a:rPr>
                <a:t>Indexed writes (1KB)</a:t>
              </a:r>
            </a:p>
          </p:txBody>
        </p:sp>
        <p:sp>
          <p:nvSpPr>
            <p:cNvPr id="15" name="Rectangle 14">
              <a:extLst/>
            </p:cNvPr>
            <p:cNvSpPr/>
            <p:nvPr/>
          </p:nvSpPr>
          <p:spPr bwMode="auto">
            <a:xfrm>
              <a:off x="6445826" y="4907475"/>
              <a:ext cx="1837764" cy="574654"/>
            </a:xfrm>
            <a:prstGeom prst="rect">
              <a:avLst/>
            </a:prstGeom>
            <a:solidFill>
              <a:srgbClr val="7030A0"/>
            </a:solidFill>
            <a:ln w="9525" cap="flat" cmpd="sng" algn="ctr">
              <a:solidFill>
                <a:srgbClr val="442359"/>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961" kern="0" dirty="0">
                  <a:gradFill>
                    <a:gsLst>
                      <a:gs pos="0">
                        <a:srgbClr val="FFFFFF"/>
                      </a:gs>
                      <a:gs pos="100000">
                        <a:srgbClr val="FFFFFF"/>
                      </a:gs>
                    </a:gsLst>
                    <a:lin ang="5400000" scaled="0"/>
                  </a:gradFill>
                  <a:latin typeface="Segoe UI Light"/>
                </a:rPr>
                <a:t>50th</a:t>
              </a:r>
            </a:p>
          </p:txBody>
        </p:sp>
        <p:sp>
          <p:nvSpPr>
            <p:cNvPr id="16" name="Rectangle 15">
              <a:extLst/>
            </p:cNvPr>
            <p:cNvSpPr/>
            <p:nvPr/>
          </p:nvSpPr>
          <p:spPr bwMode="auto">
            <a:xfrm>
              <a:off x="6445826" y="5555688"/>
              <a:ext cx="1837764" cy="574654"/>
            </a:xfrm>
            <a:prstGeom prst="rect">
              <a:avLst/>
            </a:prstGeom>
            <a:solidFill>
              <a:srgbClr val="FF0066"/>
            </a:solidFill>
            <a:ln w="9525" cap="flat" cmpd="sng" algn="ctr">
              <a:solidFill>
                <a:srgbClr val="442359"/>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961" kern="0" dirty="0">
                  <a:gradFill>
                    <a:gsLst>
                      <a:gs pos="0">
                        <a:srgbClr val="FFFFFF"/>
                      </a:gs>
                      <a:gs pos="100000">
                        <a:srgbClr val="FFFFFF"/>
                      </a:gs>
                    </a:gsLst>
                    <a:lin ang="5400000" scaled="0"/>
                  </a:gradFill>
                  <a:latin typeface="Segoe UI Light"/>
                </a:rPr>
                <a:t>99th</a:t>
              </a:r>
            </a:p>
          </p:txBody>
        </p:sp>
        <p:sp>
          <p:nvSpPr>
            <p:cNvPr id="18" name="Rectangle 17">
              <a:extLst/>
            </p:cNvPr>
            <p:cNvSpPr/>
            <p:nvPr/>
          </p:nvSpPr>
          <p:spPr bwMode="auto">
            <a:xfrm>
              <a:off x="8382202" y="4907475"/>
              <a:ext cx="1837764" cy="574654"/>
            </a:xfrm>
            <a:prstGeom prst="rect">
              <a:avLst/>
            </a:prstGeom>
            <a:solidFill>
              <a:srgbClr val="0078C9"/>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961" kern="0" dirty="0">
                  <a:gradFill>
                    <a:gsLst>
                      <a:gs pos="0">
                        <a:srgbClr val="FFFFFF"/>
                      </a:gs>
                      <a:gs pos="100000">
                        <a:srgbClr val="FFFFFF"/>
                      </a:gs>
                    </a:gsLst>
                    <a:lin ang="5400000" scaled="0"/>
                  </a:gradFill>
                  <a:latin typeface="Segoe UI Light"/>
                </a:rPr>
                <a:t>&lt;2ms</a:t>
              </a:r>
            </a:p>
          </p:txBody>
        </p:sp>
        <p:sp>
          <p:nvSpPr>
            <p:cNvPr id="19" name="Rectangle 18">
              <a:extLst/>
            </p:cNvPr>
            <p:cNvSpPr/>
            <p:nvPr/>
          </p:nvSpPr>
          <p:spPr bwMode="auto">
            <a:xfrm>
              <a:off x="8382202" y="5555688"/>
              <a:ext cx="1837764" cy="574654"/>
            </a:xfrm>
            <a:prstGeom prst="rect">
              <a:avLst/>
            </a:prstGeom>
            <a:solidFill>
              <a:srgbClr val="0078C9"/>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961" kern="0" dirty="0">
                  <a:gradFill>
                    <a:gsLst>
                      <a:gs pos="0">
                        <a:srgbClr val="FFFFFF"/>
                      </a:gs>
                      <a:gs pos="100000">
                        <a:srgbClr val="FFFFFF"/>
                      </a:gs>
                    </a:gsLst>
                    <a:lin ang="5400000" scaled="0"/>
                  </a:gradFill>
                  <a:latin typeface="Segoe UI Light"/>
                </a:rPr>
                <a:t>&lt;10ms</a:t>
              </a:r>
            </a:p>
          </p:txBody>
        </p:sp>
        <p:sp>
          <p:nvSpPr>
            <p:cNvPr id="20" name="Rectangle 19">
              <a:extLst/>
            </p:cNvPr>
            <p:cNvSpPr/>
            <p:nvPr/>
          </p:nvSpPr>
          <p:spPr bwMode="auto">
            <a:xfrm>
              <a:off x="10318578" y="4907475"/>
              <a:ext cx="1837764" cy="574654"/>
            </a:xfrm>
            <a:prstGeom prst="rect">
              <a:avLst/>
            </a:prstGeom>
            <a:solidFill>
              <a:srgbClr val="0078C9"/>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961" kern="0" dirty="0">
                  <a:gradFill>
                    <a:gsLst>
                      <a:gs pos="0">
                        <a:srgbClr val="FFFFFF"/>
                      </a:gs>
                      <a:gs pos="100000">
                        <a:srgbClr val="FFFFFF"/>
                      </a:gs>
                    </a:gsLst>
                    <a:lin ang="5400000" scaled="0"/>
                  </a:gradFill>
                  <a:latin typeface="Segoe UI Light"/>
                </a:rPr>
                <a:t>&lt;6ms</a:t>
              </a:r>
            </a:p>
          </p:txBody>
        </p:sp>
        <p:sp>
          <p:nvSpPr>
            <p:cNvPr id="21" name="Rectangle 20">
              <a:extLst/>
            </p:cNvPr>
            <p:cNvSpPr/>
            <p:nvPr/>
          </p:nvSpPr>
          <p:spPr bwMode="auto">
            <a:xfrm>
              <a:off x="10318578" y="5555688"/>
              <a:ext cx="1837764" cy="574654"/>
            </a:xfrm>
            <a:prstGeom prst="rect">
              <a:avLst/>
            </a:prstGeom>
            <a:solidFill>
              <a:srgbClr val="0078C9"/>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1961" kern="0" dirty="0">
                  <a:gradFill>
                    <a:gsLst>
                      <a:gs pos="0">
                        <a:srgbClr val="FFFFFF"/>
                      </a:gs>
                      <a:gs pos="100000">
                        <a:srgbClr val="FFFFFF"/>
                      </a:gs>
                    </a:gsLst>
                    <a:lin ang="5400000" scaled="0"/>
                  </a:gradFill>
                  <a:latin typeface="Segoe UI Light"/>
                </a:rPr>
                <a:t>&lt;10ms</a:t>
              </a:r>
            </a:p>
          </p:txBody>
        </p:sp>
      </p:grpSp>
      <p:grpSp>
        <p:nvGrpSpPr>
          <p:cNvPr id="23" name="Group 22"/>
          <p:cNvGrpSpPr/>
          <p:nvPr/>
        </p:nvGrpSpPr>
        <p:grpSpPr>
          <a:xfrm>
            <a:off x="281598" y="4778132"/>
            <a:ext cx="3123319" cy="1806030"/>
            <a:chOff x="1601897" y="2394705"/>
            <a:chExt cx="3185948" cy="1842245"/>
          </a:xfrm>
        </p:grpSpPr>
        <p:cxnSp>
          <p:nvCxnSpPr>
            <p:cNvPr id="24" name="Straight Connector 23"/>
            <p:cNvCxnSpPr/>
            <p:nvPr/>
          </p:nvCxnSpPr>
          <p:spPr>
            <a:xfrm>
              <a:off x="1601897" y="2394705"/>
              <a:ext cx="0" cy="1545680"/>
            </a:xfrm>
            <a:prstGeom prst="line">
              <a:avLst/>
            </a:prstGeom>
            <a:ln w="12700">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1601897" y="3940385"/>
              <a:ext cx="3083709" cy="0"/>
            </a:xfrm>
            <a:prstGeom prst="line">
              <a:avLst/>
            </a:prstGeom>
            <a:ln w="12700">
              <a:solidFill>
                <a:srgbClr val="0B8172"/>
              </a:solidFill>
            </a:ln>
          </p:spPr>
          <p:style>
            <a:lnRef idx="1">
              <a:schemeClr val="accent1"/>
            </a:lnRef>
            <a:fillRef idx="0">
              <a:schemeClr val="accent1"/>
            </a:fillRef>
            <a:effectRef idx="0">
              <a:schemeClr val="accent1"/>
            </a:effectRef>
            <a:fontRef idx="minor">
              <a:schemeClr val="tx1"/>
            </a:fontRef>
          </p:style>
        </p:cxnSp>
        <p:sp>
          <p:nvSpPr>
            <p:cNvPr id="26" name="Freeform: Shape 25"/>
            <p:cNvSpPr/>
            <p:nvPr/>
          </p:nvSpPr>
          <p:spPr>
            <a:xfrm>
              <a:off x="1840357" y="2699233"/>
              <a:ext cx="2573607" cy="1241152"/>
            </a:xfrm>
            <a:custGeom>
              <a:avLst/>
              <a:gdLst>
                <a:gd name="connsiteX0" fmla="*/ 0 w 6028267"/>
                <a:gd name="connsiteY0" fmla="*/ 2907202 h 2907202"/>
                <a:gd name="connsiteX1" fmla="*/ 835378 w 6028267"/>
                <a:gd name="connsiteY1" fmla="*/ 2523379 h 2907202"/>
                <a:gd name="connsiteX2" fmla="*/ 1710267 w 6028267"/>
                <a:gd name="connsiteY2" fmla="*/ 1795246 h 2907202"/>
                <a:gd name="connsiteX3" fmla="*/ 2489200 w 6028267"/>
                <a:gd name="connsiteY3" fmla="*/ 254313 h 2907202"/>
                <a:gd name="connsiteX4" fmla="*/ 2963334 w 6028267"/>
                <a:gd name="connsiteY4" fmla="*/ 17246 h 2907202"/>
                <a:gd name="connsiteX5" fmla="*/ 3341511 w 6028267"/>
                <a:gd name="connsiteY5" fmla="*/ 423646 h 2907202"/>
                <a:gd name="connsiteX6" fmla="*/ 3877734 w 6028267"/>
                <a:gd name="connsiteY6" fmla="*/ 1586402 h 2907202"/>
                <a:gd name="connsiteX7" fmla="*/ 4284134 w 6028267"/>
                <a:gd name="connsiteY7" fmla="*/ 2167779 h 2907202"/>
                <a:gd name="connsiteX8" fmla="*/ 5068711 w 6028267"/>
                <a:gd name="connsiteY8" fmla="*/ 2658846 h 2907202"/>
                <a:gd name="connsiteX9" fmla="*/ 6028267 w 6028267"/>
                <a:gd name="connsiteY9" fmla="*/ 2895913 h 290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28267" h="2907202">
                  <a:moveTo>
                    <a:pt x="0" y="2907202"/>
                  </a:moveTo>
                  <a:cubicBezTo>
                    <a:pt x="275167" y="2807953"/>
                    <a:pt x="550334" y="2708705"/>
                    <a:pt x="835378" y="2523379"/>
                  </a:cubicBezTo>
                  <a:cubicBezTo>
                    <a:pt x="1120422" y="2338053"/>
                    <a:pt x="1434630" y="2173424"/>
                    <a:pt x="1710267" y="1795246"/>
                  </a:cubicBezTo>
                  <a:cubicBezTo>
                    <a:pt x="1985904" y="1417068"/>
                    <a:pt x="2280356" y="550646"/>
                    <a:pt x="2489200" y="254313"/>
                  </a:cubicBezTo>
                  <a:cubicBezTo>
                    <a:pt x="2698044" y="-42020"/>
                    <a:pt x="2821282" y="-10976"/>
                    <a:pt x="2963334" y="17246"/>
                  </a:cubicBezTo>
                  <a:cubicBezTo>
                    <a:pt x="3105386" y="45468"/>
                    <a:pt x="3189111" y="162120"/>
                    <a:pt x="3341511" y="423646"/>
                  </a:cubicBezTo>
                  <a:cubicBezTo>
                    <a:pt x="3493911" y="685172"/>
                    <a:pt x="3720630" y="1295713"/>
                    <a:pt x="3877734" y="1586402"/>
                  </a:cubicBezTo>
                  <a:cubicBezTo>
                    <a:pt x="4034838" y="1877091"/>
                    <a:pt x="4085638" y="1989038"/>
                    <a:pt x="4284134" y="2167779"/>
                  </a:cubicBezTo>
                  <a:cubicBezTo>
                    <a:pt x="4482630" y="2346520"/>
                    <a:pt x="4778022" y="2537490"/>
                    <a:pt x="5068711" y="2658846"/>
                  </a:cubicBezTo>
                  <a:cubicBezTo>
                    <a:pt x="5359400" y="2780202"/>
                    <a:pt x="5693833" y="2838057"/>
                    <a:pt x="6028267" y="2895913"/>
                  </a:cubicBezTo>
                </a:path>
              </a:pathLst>
            </a:custGeom>
            <a:noFill/>
            <a:ln w="9525">
              <a:solidFill>
                <a:srgbClr val="0B81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dirty="0">
                <a:solidFill>
                  <a:srgbClr val="FFFFFF"/>
                </a:solidFill>
                <a:latin typeface="Segoe UI Semilight"/>
              </a:endParaRPr>
            </a:p>
          </p:txBody>
        </p:sp>
        <p:cxnSp>
          <p:nvCxnSpPr>
            <p:cNvPr id="27" name="Straight Connector 26"/>
            <p:cNvCxnSpPr/>
            <p:nvPr/>
          </p:nvCxnSpPr>
          <p:spPr>
            <a:xfrm>
              <a:off x="3050994" y="2642294"/>
              <a:ext cx="0" cy="1298091"/>
            </a:xfrm>
            <a:prstGeom prst="line">
              <a:avLst/>
            </a:prstGeom>
            <a:ln w="9525">
              <a:solidFill>
                <a:srgbClr val="0B8172"/>
              </a:solidFill>
              <a:prstDash val="dash"/>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1863992" y="2406324"/>
              <a:ext cx="930063" cy="400110"/>
            </a:xfrm>
            <a:prstGeom prst="rect">
              <a:avLst/>
            </a:prstGeom>
            <a:noFill/>
          </p:spPr>
          <p:txBody>
            <a:bodyPr wrap="none" rtlCol="0">
              <a:spAutoFit/>
            </a:bodyPr>
            <a:lstStyle/>
            <a:p>
              <a:pPr defTabSz="914367"/>
              <a:r>
                <a:rPr lang="en-US" sz="980" dirty="0">
                  <a:solidFill>
                    <a:srgbClr val="FFFFFF"/>
                  </a:solidFill>
                  <a:latin typeface="Segoe UI Light" panose="020B0502040204020203" pitchFamily="34" charset="0"/>
                  <a:cs typeface="Segoe UI Light" panose="020B0502040204020203" pitchFamily="34" charset="0"/>
                </a:rPr>
                <a:t>Read &lt; 2 ms </a:t>
              </a:r>
            </a:p>
            <a:p>
              <a:pPr defTabSz="914367"/>
              <a:r>
                <a:rPr lang="en-US" sz="980" dirty="0">
                  <a:solidFill>
                    <a:srgbClr val="FFFFFF"/>
                  </a:solidFill>
                  <a:latin typeface="Segoe UI Light" panose="020B0502040204020203" pitchFamily="34" charset="0"/>
                  <a:cs typeface="Segoe UI Light" panose="020B0502040204020203" pitchFamily="34" charset="0"/>
                </a:rPr>
                <a:t>Writes &lt; 6 ms</a:t>
              </a:r>
            </a:p>
          </p:txBody>
        </p:sp>
        <p:cxnSp>
          <p:nvCxnSpPr>
            <p:cNvPr id="29" name="Straight Connector 28"/>
            <p:cNvCxnSpPr/>
            <p:nvPr/>
          </p:nvCxnSpPr>
          <p:spPr>
            <a:xfrm flipH="1">
              <a:off x="2732290" y="2691269"/>
              <a:ext cx="31870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3993038" y="3734191"/>
              <a:ext cx="0" cy="206194"/>
            </a:xfrm>
            <a:prstGeom prst="line">
              <a:avLst/>
            </a:prstGeom>
            <a:ln w="9525">
              <a:solidFill>
                <a:srgbClr val="0B8172"/>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V="1">
              <a:off x="3993038" y="3585612"/>
              <a:ext cx="0" cy="155917"/>
            </a:xfrm>
            <a:prstGeom prst="line">
              <a:avLst/>
            </a:prstGeom>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811296" y="3119754"/>
              <a:ext cx="976549" cy="400110"/>
            </a:xfrm>
            <a:prstGeom prst="rect">
              <a:avLst/>
            </a:prstGeom>
            <a:noFill/>
          </p:spPr>
          <p:txBody>
            <a:bodyPr wrap="none" rtlCol="0">
              <a:spAutoFit/>
            </a:bodyPr>
            <a:lstStyle/>
            <a:p>
              <a:pPr defTabSz="914367"/>
              <a:r>
                <a:rPr lang="en-US" sz="980" dirty="0">
                  <a:solidFill>
                    <a:srgbClr val="FFFFFF"/>
                  </a:solidFill>
                  <a:latin typeface="Segoe UI Light" panose="020B0502040204020203" pitchFamily="34" charset="0"/>
                  <a:cs typeface="Segoe UI Light" panose="020B0502040204020203" pitchFamily="34" charset="0"/>
                </a:rPr>
                <a:t>Read &lt; 10 ms </a:t>
              </a:r>
            </a:p>
            <a:p>
              <a:pPr defTabSz="914367"/>
              <a:r>
                <a:rPr lang="en-US" sz="980" dirty="0">
                  <a:solidFill>
                    <a:srgbClr val="FFFFFF"/>
                  </a:solidFill>
                  <a:latin typeface="Segoe UI Light" panose="020B0502040204020203" pitchFamily="34" charset="0"/>
                  <a:cs typeface="Segoe UI Light" panose="020B0502040204020203" pitchFamily="34" charset="0"/>
                </a:rPr>
                <a:t>Writes &lt; 10 ms</a:t>
              </a:r>
            </a:p>
          </p:txBody>
        </p:sp>
        <p:sp>
          <p:nvSpPr>
            <p:cNvPr id="33" name="Oval 32"/>
            <p:cNvSpPr/>
            <p:nvPr/>
          </p:nvSpPr>
          <p:spPr>
            <a:xfrm>
              <a:off x="3025639" y="2664488"/>
              <a:ext cx="53563" cy="53563"/>
            </a:xfrm>
            <a:prstGeom prst="ellipse">
              <a:avLst/>
            </a:prstGeom>
            <a:solidFill>
              <a:srgbClr val="0B81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dirty="0">
                <a:solidFill>
                  <a:srgbClr val="FFFFFF"/>
                </a:solidFill>
                <a:latin typeface="Segoe UI Semilight"/>
              </a:endParaRPr>
            </a:p>
          </p:txBody>
        </p:sp>
        <p:sp>
          <p:nvSpPr>
            <p:cNvPr id="34" name="Oval 33"/>
            <p:cNvSpPr/>
            <p:nvPr/>
          </p:nvSpPr>
          <p:spPr>
            <a:xfrm>
              <a:off x="3968614" y="3797963"/>
              <a:ext cx="53563" cy="53563"/>
            </a:xfrm>
            <a:prstGeom prst="ellipse">
              <a:avLst/>
            </a:prstGeom>
            <a:solidFill>
              <a:srgbClr val="0B81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dirty="0">
                <a:solidFill>
                  <a:srgbClr val="FFFFFF"/>
                </a:solidFill>
                <a:latin typeface="Segoe UI Semilight"/>
              </a:endParaRPr>
            </a:p>
          </p:txBody>
        </p:sp>
        <p:sp>
          <p:nvSpPr>
            <p:cNvPr id="35" name="TextBox 34"/>
            <p:cNvSpPr txBox="1"/>
            <p:nvPr/>
          </p:nvSpPr>
          <p:spPr>
            <a:xfrm>
              <a:off x="3813626" y="3990729"/>
              <a:ext cx="417102" cy="246221"/>
            </a:xfrm>
            <a:prstGeom prst="rect">
              <a:avLst/>
            </a:prstGeom>
            <a:noFill/>
          </p:spPr>
          <p:txBody>
            <a:bodyPr wrap="none" rtlCol="0">
              <a:spAutoFit/>
            </a:bodyPr>
            <a:lstStyle/>
            <a:p>
              <a:pPr defTabSz="914367"/>
              <a:r>
                <a:rPr lang="en-US" sz="980" dirty="0">
                  <a:solidFill>
                    <a:srgbClr val="0B8172"/>
                  </a:solidFill>
                  <a:latin typeface="Segoe UI Light" panose="020B0502040204020203" pitchFamily="34" charset="0"/>
                  <a:cs typeface="Segoe UI Light" panose="020B0502040204020203" pitchFamily="34" charset="0"/>
                </a:rPr>
                <a:t>99%</a:t>
              </a:r>
            </a:p>
          </p:txBody>
        </p:sp>
        <p:sp>
          <p:nvSpPr>
            <p:cNvPr id="36" name="TextBox 35"/>
            <p:cNvSpPr txBox="1"/>
            <p:nvPr/>
          </p:nvSpPr>
          <p:spPr>
            <a:xfrm>
              <a:off x="2859817" y="3990729"/>
              <a:ext cx="417102" cy="246221"/>
            </a:xfrm>
            <a:prstGeom prst="rect">
              <a:avLst/>
            </a:prstGeom>
            <a:noFill/>
          </p:spPr>
          <p:txBody>
            <a:bodyPr wrap="none" rtlCol="0">
              <a:spAutoFit/>
            </a:bodyPr>
            <a:lstStyle/>
            <a:p>
              <a:pPr defTabSz="914367"/>
              <a:r>
                <a:rPr lang="en-US" sz="980" dirty="0">
                  <a:solidFill>
                    <a:srgbClr val="0B8172"/>
                  </a:solidFill>
                  <a:latin typeface="Segoe UI Light" panose="020B0502040204020203" pitchFamily="34" charset="0"/>
                  <a:cs typeface="Segoe UI Light" panose="020B0502040204020203" pitchFamily="34" charset="0"/>
                </a:rPr>
                <a:t>50%</a:t>
              </a:r>
            </a:p>
          </p:txBody>
        </p:sp>
      </p:grpSp>
    </p:spTree>
    <p:extLst>
      <p:ext uri="{BB962C8B-B14F-4D97-AF65-F5344CB8AC3E}">
        <p14:creationId xmlns:p14="http://schemas.microsoft.com/office/powerpoint/2010/main" val="28429228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104.png"/>
          <p:cNvPicPr>
            <a:picLocks noChangeAspect="1"/>
          </p:cNvPicPr>
          <p:nvPr/>
        </p:nvPicPr>
        <p:blipFill>
          <a:blip r:embed="rId3">
            <a:extLst/>
          </a:blip>
          <a:stretch>
            <a:fillRect/>
          </a:stretch>
        </p:blipFill>
        <p:spPr>
          <a:xfrm>
            <a:off x="3686567" y="1456119"/>
            <a:ext cx="4818871" cy="3200660"/>
          </a:xfrm>
          <a:prstGeom prst="rect">
            <a:avLst/>
          </a:prstGeom>
          <a:ln w="12700">
            <a:miter lim="400000"/>
          </a:ln>
        </p:spPr>
      </p:pic>
      <p:pic>
        <p:nvPicPr>
          <p:cNvPr id="7" name="image105.png"/>
          <p:cNvPicPr>
            <a:picLocks noChangeAspect="1"/>
          </p:cNvPicPr>
          <p:nvPr/>
        </p:nvPicPr>
        <p:blipFill>
          <a:blip r:embed="rId4">
            <a:extLst/>
          </a:blip>
          <a:stretch>
            <a:fillRect/>
          </a:stretch>
        </p:blipFill>
        <p:spPr>
          <a:xfrm>
            <a:off x="2707935" y="4098914"/>
            <a:ext cx="6776130" cy="1760167"/>
          </a:xfrm>
          <a:prstGeom prst="rect">
            <a:avLst/>
          </a:prstGeom>
          <a:ln>
            <a:solidFill>
              <a:srgbClr val="FF0000"/>
            </a:solidFill>
          </a:ln>
        </p:spPr>
      </p:pic>
      <p:pic>
        <p:nvPicPr>
          <p:cNvPr id="8" name="image106.png"/>
          <p:cNvPicPr>
            <a:picLocks noChangeAspect="1"/>
          </p:cNvPicPr>
          <p:nvPr/>
        </p:nvPicPr>
        <p:blipFill>
          <a:blip r:embed="rId5">
            <a:extLst/>
          </a:blip>
          <a:stretch>
            <a:fillRect/>
          </a:stretch>
        </p:blipFill>
        <p:spPr>
          <a:xfrm>
            <a:off x="3639470" y="2753048"/>
            <a:ext cx="444438" cy="431740"/>
          </a:xfrm>
          <a:prstGeom prst="rect">
            <a:avLst/>
          </a:prstGeom>
          <a:ln w="19050">
            <a:solidFill>
              <a:srgbClr val="FF0000"/>
            </a:solidFill>
          </a:ln>
        </p:spPr>
      </p:pic>
      <p:sp>
        <p:nvSpPr>
          <p:cNvPr id="10" name="Shape 1692"/>
          <p:cNvSpPr/>
          <p:nvPr/>
        </p:nvSpPr>
        <p:spPr>
          <a:xfrm>
            <a:off x="4131005" y="2968917"/>
            <a:ext cx="3778998" cy="40534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10800" y="0"/>
                  <a:pt x="21600" y="10800"/>
                  <a:pt x="21600" y="21600"/>
                </a:cubicBezTo>
              </a:path>
            </a:pathLst>
          </a:custGeom>
          <a:ln w="12700">
            <a:solidFill>
              <a:srgbClr val="FF0000"/>
            </a:solidFill>
            <a:prstDash val="sysDash"/>
            <a:miter/>
            <a:tailEnd type="triangle"/>
          </a:ln>
        </p:spPr>
        <p:txBody>
          <a:bodyPr lIns="45712" rIns="45712"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9pPr>
          </a:lstStyle>
          <a:p>
            <a:pPr defTabSz="448193"/>
            <a:endParaRPr>
              <a:latin typeface="Segoe UI"/>
            </a:endParaRPr>
          </a:p>
        </p:txBody>
      </p:sp>
      <p:sp>
        <p:nvSpPr>
          <p:cNvPr id="11" name="Shape 1693"/>
          <p:cNvSpPr/>
          <p:nvPr/>
        </p:nvSpPr>
        <p:spPr>
          <a:xfrm rot="10800000">
            <a:off x="3861688" y="3184788"/>
            <a:ext cx="3870540" cy="37994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10800" y="0"/>
                  <a:pt x="21600" y="10800"/>
                  <a:pt x="21600" y="21600"/>
                </a:cubicBezTo>
              </a:path>
            </a:pathLst>
          </a:custGeom>
          <a:ln w="12700">
            <a:solidFill>
              <a:srgbClr val="FF0000"/>
            </a:solidFill>
            <a:prstDash val="sysDash"/>
            <a:miter/>
            <a:tailEnd type="triangle"/>
          </a:ln>
        </p:spPr>
        <p:txBody>
          <a:bodyPr lIns="45712" rIns="45712"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9pPr>
          </a:lstStyle>
          <a:p>
            <a:pPr defTabSz="448193"/>
            <a:endParaRPr>
              <a:latin typeface="Segoe UI"/>
            </a:endParaRPr>
          </a:p>
        </p:txBody>
      </p:sp>
      <p:pic>
        <p:nvPicPr>
          <p:cNvPr id="12" name="Picture 11"/>
          <p:cNvPicPr>
            <a:picLocks noChangeAspect="1"/>
          </p:cNvPicPr>
          <p:nvPr/>
        </p:nvPicPr>
        <p:blipFill>
          <a:blip r:embed="rId6"/>
          <a:stretch>
            <a:fillRect/>
          </a:stretch>
        </p:blipFill>
        <p:spPr>
          <a:xfrm>
            <a:off x="7746575" y="3374261"/>
            <a:ext cx="432743" cy="432743"/>
          </a:xfrm>
          <a:prstGeom prst="rect">
            <a:avLst/>
          </a:prstGeom>
          <a:solidFill>
            <a:schemeClr val="tx1"/>
          </a:solidFill>
          <a:ln w="19050">
            <a:solidFill>
              <a:schemeClr val="accent6"/>
            </a:solidFill>
          </a:ln>
        </p:spPr>
      </p:pic>
      <p:sp>
        <p:nvSpPr>
          <p:cNvPr id="9" name="Rectangle 22"/>
          <p:cNvSpPr>
            <a:spLocks noChangeArrowheads="1"/>
          </p:cNvSpPr>
          <p:nvPr/>
        </p:nvSpPr>
        <p:spPr bwMode="auto">
          <a:xfrm>
            <a:off x="2194044" y="558145"/>
            <a:ext cx="7698736" cy="721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defTabSz="1142804" fontAlgn="base">
              <a:spcBef>
                <a:spcPct val="0"/>
              </a:spcBef>
              <a:spcAft>
                <a:spcPct val="0"/>
              </a:spcAft>
            </a:pPr>
            <a:r>
              <a:rPr lang="en-US" sz="4687" kern="0" dirty="0">
                <a:solidFill>
                  <a:srgbClr val="FFFFFF"/>
                </a:solidFill>
                <a:latin typeface="Segoe UI Light" panose="020B0502040204020203" pitchFamily="34" charset="0"/>
                <a:cs typeface="Segoe UI Light" panose="020B0502040204020203" pitchFamily="34" charset="0"/>
              </a:rPr>
              <a:t>Customer Application Example</a:t>
            </a:r>
            <a:endParaRPr lang="en-US" sz="4687" kern="0" dirty="0">
              <a:solidFill>
                <a:srgbClr val="00B0F0"/>
              </a:solidFill>
              <a:latin typeface="Segoe UI Light" panose="020B0502040204020203" pitchFamily="34" charset="0"/>
              <a:cs typeface="Segoe UI Light" panose="020B0502040204020203" pitchFamily="34" charset="0"/>
            </a:endParaRPr>
          </a:p>
        </p:txBody>
      </p:sp>
      <p:sp>
        <p:nvSpPr>
          <p:cNvPr id="2" name="Rectangle 1">
            <a:extLst>
              <a:ext uri="{FF2B5EF4-FFF2-40B4-BE49-F238E27FC236}">
                <a16:creationId xmlns:a16="http://schemas.microsoft.com/office/drawing/2014/main" id="{70B169D5-D22E-44AB-BBCB-6FC63D0F04AF}"/>
              </a:ext>
            </a:extLst>
          </p:cNvPr>
          <p:cNvSpPr/>
          <p:nvPr/>
        </p:nvSpPr>
        <p:spPr bwMode="auto">
          <a:xfrm>
            <a:off x="2707935" y="4478862"/>
            <a:ext cx="1956080" cy="1380219"/>
          </a:xfrm>
          <a:prstGeom prst="rect">
            <a:avLst/>
          </a:prstGeom>
          <a:noFill/>
          <a:ln w="381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2516753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104.png"/>
          <p:cNvPicPr>
            <a:picLocks noChangeAspect="1"/>
          </p:cNvPicPr>
          <p:nvPr/>
        </p:nvPicPr>
        <p:blipFill>
          <a:blip r:embed="rId3">
            <a:extLst/>
          </a:blip>
          <a:stretch>
            <a:fillRect/>
          </a:stretch>
        </p:blipFill>
        <p:spPr>
          <a:xfrm>
            <a:off x="3488933" y="1680059"/>
            <a:ext cx="4818871" cy="3200660"/>
          </a:xfrm>
          <a:prstGeom prst="rect">
            <a:avLst/>
          </a:prstGeom>
          <a:ln w="12700">
            <a:miter lim="400000"/>
          </a:ln>
        </p:spPr>
      </p:pic>
      <p:pic>
        <p:nvPicPr>
          <p:cNvPr id="5" name="image106.png"/>
          <p:cNvPicPr>
            <a:picLocks noChangeAspect="1"/>
          </p:cNvPicPr>
          <p:nvPr/>
        </p:nvPicPr>
        <p:blipFill>
          <a:blip r:embed="rId4">
            <a:extLst/>
          </a:blip>
          <a:stretch>
            <a:fillRect/>
          </a:stretch>
        </p:blipFill>
        <p:spPr>
          <a:xfrm>
            <a:off x="3441836" y="2976988"/>
            <a:ext cx="444438" cy="431740"/>
          </a:xfrm>
          <a:prstGeom prst="rect">
            <a:avLst/>
          </a:prstGeom>
          <a:ln w="19050">
            <a:solidFill>
              <a:srgbClr val="FF0000"/>
            </a:solidFill>
          </a:ln>
        </p:spPr>
      </p:pic>
      <p:sp>
        <p:nvSpPr>
          <p:cNvPr id="7" name="Shape 1704"/>
          <p:cNvSpPr/>
          <p:nvPr/>
        </p:nvSpPr>
        <p:spPr>
          <a:xfrm>
            <a:off x="3895798" y="2970079"/>
            <a:ext cx="95466" cy="6500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7200" y="14400"/>
                  <a:pt x="14400" y="7200"/>
                  <a:pt x="21600" y="0"/>
                </a:cubicBezTo>
              </a:path>
            </a:pathLst>
          </a:custGeom>
          <a:ln w="12700">
            <a:solidFill>
              <a:srgbClr val="FF0000"/>
            </a:solidFill>
            <a:prstDash val="sysDash"/>
            <a:miter/>
            <a:tailEnd type="triangle"/>
          </a:ln>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9pPr>
          </a:lstStyle>
          <a:p>
            <a:pPr defTabSz="448193"/>
            <a:endParaRPr>
              <a:latin typeface="Segoe UI"/>
            </a:endParaRPr>
          </a:p>
        </p:txBody>
      </p:sp>
      <p:sp>
        <p:nvSpPr>
          <p:cNvPr id="8" name="Shape 1705"/>
          <p:cNvSpPr/>
          <p:nvPr/>
        </p:nvSpPr>
        <p:spPr>
          <a:xfrm>
            <a:off x="3895798" y="2970079"/>
            <a:ext cx="95466" cy="65005"/>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14400" y="7200"/>
                  <a:pt x="7200" y="14400"/>
                  <a:pt x="0" y="21600"/>
                </a:cubicBezTo>
              </a:path>
            </a:pathLst>
          </a:custGeom>
          <a:ln w="12700">
            <a:solidFill>
              <a:srgbClr val="FF0000"/>
            </a:solidFill>
            <a:prstDash val="sysDash"/>
            <a:miter/>
            <a:tailEnd type="triangle"/>
          </a:ln>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Segoe UI"/>
              </a:defRPr>
            </a:lvl9pPr>
          </a:lstStyle>
          <a:p>
            <a:pPr defTabSz="448193"/>
            <a:endParaRPr>
              <a:latin typeface="Segoe UI"/>
            </a:endParaRPr>
          </a:p>
        </p:txBody>
      </p:sp>
      <p:pic>
        <p:nvPicPr>
          <p:cNvPr id="9" name="image109.png"/>
          <p:cNvPicPr>
            <a:picLocks noChangeAspect="1"/>
          </p:cNvPicPr>
          <p:nvPr/>
        </p:nvPicPr>
        <p:blipFill>
          <a:blip r:embed="rId5">
            <a:extLst/>
          </a:blip>
          <a:stretch>
            <a:fillRect/>
          </a:stretch>
        </p:blipFill>
        <p:spPr>
          <a:xfrm>
            <a:off x="2510301" y="4329919"/>
            <a:ext cx="6776130" cy="1796465"/>
          </a:xfrm>
          <a:prstGeom prst="rect">
            <a:avLst/>
          </a:prstGeom>
          <a:ln>
            <a:solidFill>
              <a:srgbClr val="FF0000"/>
            </a:solidFill>
          </a:ln>
        </p:spPr>
      </p:pic>
      <p:pic>
        <p:nvPicPr>
          <p:cNvPr id="10" name="Picture 9"/>
          <p:cNvPicPr>
            <a:picLocks noChangeAspect="1"/>
          </p:cNvPicPr>
          <p:nvPr/>
        </p:nvPicPr>
        <p:blipFill>
          <a:blip r:embed="rId6"/>
          <a:stretch>
            <a:fillRect/>
          </a:stretch>
        </p:blipFill>
        <p:spPr>
          <a:xfrm>
            <a:off x="3991264" y="2537336"/>
            <a:ext cx="432743" cy="432743"/>
          </a:xfrm>
          <a:prstGeom prst="rect">
            <a:avLst/>
          </a:prstGeom>
          <a:solidFill>
            <a:schemeClr val="tx1"/>
          </a:solidFill>
          <a:ln w="19050">
            <a:solidFill>
              <a:schemeClr val="accent6"/>
            </a:solidFill>
          </a:ln>
        </p:spPr>
      </p:pic>
      <p:sp>
        <p:nvSpPr>
          <p:cNvPr id="11" name="Rectangle 22"/>
          <p:cNvSpPr>
            <a:spLocks noChangeArrowheads="1"/>
          </p:cNvSpPr>
          <p:nvPr/>
        </p:nvSpPr>
        <p:spPr bwMode="auto">
          <a:xfrm>
            <a:off x="1972518" y="683884"/>
            <a:ext cx="7698736" cy="721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defTabSz="1142804" fontAlgn="base">
              <a:spcBef>
                <a:spcPct val="0"/>
              </a:spcBef>
              <a:spcAft>
                <a:spcPct val="0"/>
              </a:spcAft>
            </a:pPr>
            <a:r>
              <a:rPr lang="en-US" sz="4687" kern="0" dirty="0">
                <a:solidFill>
                  <a:srgbClr val="FFFFFF"/>
                </a:solidFill>
                <a:latin typeface="Segoe UI Light" panose="020B0502040204020203" pitchFamily="34" charset="0"/>
                <a:cs typeface="Segoe UI Light" panose="020B0502040204020203" pitchFamily="34" charset="0"/>
              </a:rPr>
              <a:t>Customer Application Example</a:t>
            </a:r>
          </a:p>
        </p:txBody>
      </p:sp>
      <p:sp>
        <p:nvSpPr>
          <p:cNvPr id="12" name="Rectangle 11">
            <a:extLst>
              <a:ext uri="{FF2B5EF4-FFF2-40B4-BE49-F238E27FC236}">
                <a16:creationId xmlns:a16="http://schemas.microsoft.com/office/drawing/2014/main" id="{B5C0FECC-1CBC-4356-A424-3458CA646592}"/>
              </a:ext>
            </a:extLst>
          </p:cNvPr>
          <p:cNvSpPr/>
          <p:nvPr/>
        </p:nvSpPr>
        <p:spPr bwMode="auto">
          <a:xfrm>
            <a:off x="2510893" y="4514644"/>
            <a:ext cx="1865575" cy="1611740"/>
          </a:xfrm>
          <a:prstGeom prst="rect">
            <a:avLst/>
          </a:prstGeom>
          <a:noFill/>
          <a:ln w="381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9137764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Oval 1"/>
          <p:cNvSpPr/>
          <p:nvPr/>
        </p:nvSpPr>
        <p:spPr>
          <a:xfrm>
            <a:off x="-953066" y="1772051"/>
            <a:ext cx="14166669" cy="795528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Freeform: Shape 99"/>
          <p:cNvSpPr/>
          <p:nvPr/>
        </p:nvSpPr>
        <p:spPr>
          <a:xfrm>
            <a:off x="35631" y="5341026"/>
            <a:ext cx="12189302" cy="1745574"/>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15361" h="1745574">
                <a:moveTo>
                  <a:pt x="5907680" y="0"/>
                </a:moveTo>
                <a:cubicBezTo>
                  <a:pt x="8502236" y="0"/>
                  <a:pt x="10736988" y="686989"/>
                  <a:pt x="11747164" y="1675322"/>
                </a:cubicBezTo>
                <a:lnTo>
                  <a:pt x="11815361" y="1745574"/>
                </a:lnTo>
                <a:lnTo>
                  <a:pt x="0" y="1745574"/>
                </a:lnTo>
                <a:lnTo>
                  <a:pt x="68197" y="1675322"/>
                </a:lnTo>
                <a:cubicBezTo>
                  <a:pt x="1078372" y="686989"/>
                  <a:pt x="3313125" y="0"/>
                  <a:pt x="5907680" y="0"/>
                </a:cubicBezTo>
                <a:close/>
              </a:path>
            </a:pathLst>
          </a:cu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925" name="Freeform: Shape 924"/>
          <p:cNvSpPr>
            <a:spLocks/>
          </p:cNvSpPr>
          <p:nvPr/>
        </p:nvSpPr>
        <p:spPr bwMode="auto">
          <a:xfrm>
            <a:off x="1281629" y="5592603"/>
            <a:ext cx="9922465" cy="1934496"/>
          </a:xfrm>
          <a:custGeom>
            <a:avLst/>
            <a:gdLst>
              <a:gd name="connsiteX0" fmla="*/ 8407318 w 9922465"/>
              <a:gd name="connsiteY0" fmla="*/ 1824114 h 1934496"/>
              <a:gd name="connsiteX1" fmla="*/ 8462510 w 9922465"/>
              <a:gd name="connsiteY1" fmla="*/ 1879305 h 1934496"/>
              <a:gd name="connsiteX2" fmla="*/ 8407318 w 9922465"/>
              <a:gd name="connsiteY2" fmla="*/ 1934496 h 1934496"/>
              <a:gd name="connsiteX3" fmla="*/ 8352126 w 9922465"/>
              <a:gd name="connsiteY3" fmla="*/ 1879305 h 1934496"/>
              <a:gd name="connsiteX4" fmla="*/ 8407318 w 9922465"/>
              <a:gd name="connsiteY4" fmla="*/ 1824114 h 1934496"/>
              <a:gd name="connsiteX5" fmla="*/ 8273682 w 9922465"/>
              <a:gd name="connsiteY5" fmla="*/ 1824114 h 1934496"/>
              <a:gd name="connsiteX6" fmla="*/ 8328874 w 9922465"/>
              <a:gd name="connsiteY6" fmla="*/ 1879305 h 1934496"/>
              <a:gd name="connsiteX7" fmla="*/ 8273682 w 9922465"/>
              <a:gd name="connsiteY7" fmla="*/ 1934496 h 1934496"/>
              <a:gd name="connsiteX8" fmla="*/ 8218490 w 9922465"/>
              <a:gd name="connsiteY8" fmla="*/ 1879305 h 1934496"/>
              <a:gd name="connsiteX9" fmla="*/ 8273682 w 9922465"/>
              <a:gd name="connsiteY9" fmla="*/ 1824114 h 1934496"/>
              <a:gd name="connsiteX10" fmla="*/ 8143386 w 9922465"/>
              <a:gd name="connsiteY10" fmla="*/ 1824114 h 1934496"/>
              <a:gd name="connsiteX11" fmla="*/ 8198578 w 9922465"/>
              <a:gd name="connsiteY11" fmla="*/ 1879305 h 1934496"/>
              <a:gd name="connsiteX12" fmla="*/ 8143386 w 9922465"/>
              <a:gd name="connsiteY12" fmla="*/ 1934496 h 1934496"/>
              <a:gd name="connsiteX13" fmla="*/ 8088194 w 9922465"/>
              <a:gd name="connsiteY13" fmla="*/ 1879305 h 1934496"/>
              <a:gd name="connsiteX14" fmla="*/ 8143386 w 9922465"/>
              <a:gd name="connsiteY14" fmla="*/ 1824114 h 1934496"/>
              <a:gd name="connsiteX15" fmla="*/ 8009752 w 9922465"/>
              <a:gd name="connsiteY15" fmla="*/ 1824114 h 1934496"/>
              <a:gd name="connsiteX16" fmla="*/ 8064944 w 9922465"/>
              <a:gd name="connsiteY16" fmla="*/ 1879305 h 1934496"/>
              <a:gd name="connsiteX17" fmla="*/ 8009752 w 9922465"/>
              <a:gd name="connsiteY17" fmla="*/ 1934496 h 1934496"/>
              <a:gd name="connsiteX18" fmla="*/ 7954560 w 9922465"/>
              <a:gd name="connsiteY18" fmla="*/ 1879305 h 1934496"/>
              <a:gd name="connsiteX19" fmla="*/ 8009752 w 9922465"/>
              <a:gd name="connsiteY19" fmla="*/ 1824114 h 1934496"/>
              <a:gd name="connsiteX20" fmla="*/ 7876117 w 9922465"/>
              <a:gd name="connsiteY20" fmla="*/ 1824114 h 1934496"/>
              <a:gd name="connsiteX21" fmla="*/ 7931309 w 9922465"/>
              <a:gd name="connsiteY21" fmla="*/ 1879305 h 1934496"/>
              <a:gd name="connsiteX22" fmla="*/ 7876117 w 9922465"/>
              <a:gd name="connsiteY22" fmla="*/ 1934496 h 1934496"/>
              <a:gd name="connsiteX23" fmla="*/ 7820925 w 9922465"/>
              <a:gd name="connsiteY23" fmla="*/ 1879305 h 1934496"/>
              <a:gd name="connsiteX24" fmla="*/ 7876117 w 9922465"/>
              <a:gd name="connsiteY24" fmla="*/ 1824114 h 1934496"/>
              <a:gd name="connsiteX25" fmla="*/ 7745824 w 9922465"/>
              <a:gd name="connsiteY25" fmla="*/ 1824114 h 1934496"/>
              <a:gd name="connsiteX26" fmla="*/ 7801016 w 9922465"/>
              <a:gd name="connsiteY26" fmla="*/ 1879305 h 1934496"/>
              <a:gd name="connsiteX27" fmla="*/ 7745824 w 9922465"/>
              <a:gd name="connsiteY27" fmla="*/ 1934496 h 1934496"/>
              <a:gd name="connsiteX28" fmla="*/ 7690632 w 9922465"/>
              <a:gd name="connsiteY28" fmla="*/ 1879305 h 1934496"/>
              <a:gd name="connsiteX29" fmla="*/ 7745824 w 9922465"/>
              <a:gd name="connsiteY29" fmla="*/ 1824114 h 1934496"/>
              <a:gd name="connsiteX30" fmla="*/ 7608849 w 9922465"/>
              <a:gd name="connsiteY30" fmla="*/ 1824114 h 1934496"/>
              <a:gd name="connsiteX31" fmla="*/ 7664041 w 9922465"/>
              <a:gd name="connsiteY31" fmla="*/ 1879305 h 1934496"/>
              <a:gd name="connsiteX32" fmla="*/ 7608849 w 9922465"/>
              <a:gd name="connsiteY32" fmla="*/ 1934496 h 1934496"/>
              <a:gd name="connsiteX33" fmla="*/ 7553657 w 9922465"/>
              <a:gd name="connsiteY33" fmla="*/ 1879305 h 1934496"/>
              <a:gd name="connsiteX34" fmla="*/ 7608849 w 9922465"/>
              <a:gd name="connsiteY34" fmla="*/ 1824114 h 1934496"/>
              <a:gd name="connsiteX35" fmla="*/ 7481895 w 9922465"/>
              <a:gd name="connsiteY35" fmla="*/ 1824114 h 1934496"/>
              <a:gd name="connsiteX36" fmla="*/ 7537087 w 9922465"/>
              <a:gd name="connsiteY36" fmla="*/ 1879305 h 1934496"/>
              <a:gd name="connsiteX37" fmla="*/ 7481895 w 9922465"/>
              <a:gd name="connsiteY37" fmla="*/ 1934496 h 1934496"/>
              <a:gd name="connsiteX38" fmla="*/ 7426703 w 9922465"/>
              <a:gd name="connsiteY38" fmla="*/ 1879305 h 1934496"/>
              <a:gd name="connsiteX39" fmla="*/ 7481895 w 9922465"/>
              <a:gd name="connsiteY39" fmla="*/ 1824114 h 1934496"/>
              <a:gd name="connsiteX40" fmla="*/ 7341579 w 9922465"/>
              <a:gd name="connsiteY40" fmla="*/ 1824114 h 1934496"/>
              <a:gd name="connsiteX41" fmla="*/ 7396771 w 9922465"/>
              <a:gd name="connsiteY41" fmla="*/ 1879305 h 1934496"/>
              <a:gd name="connsiteX42" fmla="*/ 7341579 w 9922465"/>
              <a:gd name="connsiteY42" fmla="*/ 1934496 h 1934496"/>
              <a:gd name="connsiteX43" fmla="*/ 7286387 w 9922465"/>
              <a:gd name="connsiteY43" fmla="*/ 1879305 h 1934496"/>
              <a:gd name="connsiteX44" fmla="*/ 7341579 w 9922465"/>
              <a:gd name="connsiteY44" fmla="*/ 1824114 h 1934496"/>
              <a:gd name="connsiteX45" fmla="*/ 7211286 w 9922465"/>
              <a:gd name="connsiteY45" fmla="*/ 1824114 h 1934496"/>
              <a:gd name="connsiteX46" fmla="*/ 7266478 w 9922465"/>
              <a:gd name="connsiteY46" fmla="*/ 1879305 h 1934496"/>
              <a:gd name="connsiteX47" fmla="*/ 7211286 w 9922465"/>
              <a:gd name="connsiteY47" fmla="*/ 1934496 h 1934496"/>
              <a:gd name="connsiteX48" fmla="*/ 7156094 w 9922465"/>
              <a:gd name="connsiteY48" fmla="*/ 1879305 h 1934496"/>
              <a:gd name="connsiteX49" fmla="*/ 7211286 w 9922465"/>
              <a:gd name="connsiteY49" fmla="*/ 1824114 h 1934496"/>
              <a:gd name="connsiteX50" fmla="*/ 7080993 w 9922465"/>
              <a:gd name="connsiteY50" fmla="*/ 1824114 h 1934496"/>
              <a:gd name="connsiteX51" fmla="*/ 7136185 w 9922465"/>
              <a:gd name="connsiteY51" fmla="*/ 1879305 h 1934496"/>
              <a:gd name="connsiteX52" fmla="*/ 7080993 w 9922465"/>
              <a:gd name="connsiteY52" fmla="*/ 1934496 h 1934496"/>
              <a:gd name="connsiteX53" fmla="*/ 7025801 w 9922465"/>
              <a:gd name="connsiteY53" fmla="*/ 1879305 h 1934496"/>
              <a:gd name="connsiteX54" fmla="*/ 7080993 w 9922465"/>
              <a:gd name="connsiteY54" fmla="*/ 1824114 h 1934496"/>
              <a:gd name="connsiteX55" fmla="*/ 6947357 w 9922465"/>
              <a:gd name="connsiteY55" fmla="*/ 1824114 h 1934496"/>
              <a:gd name="connsiteX56" fmla="*/ 7002549 w 9922465"/>
              <a:gd name="connsiteY56" fmla="*/ 1879305 h 1934496"/>
              <a:gd name="connsiteX57" fmla="*/ 6947357 w 9922465"/>
              <a:gd name="connsiteY57" fmla="*/ 1934496 h 1934496"/>
              <a:gd name="connsiteX58" fmla="*/ 6892165 w 9922465"/>
              <a:gd name="connsiteY58" fmla="*/ 1879305 h 1934496"/>
              <a:gd name="connsiteX59" fmla="*/ 6947357 w 9922465"/>
              <a:gd name="connsiteY59" fmla="*/ 1824114 h 1934496"/>
              <a:gd name="connsiteX60" fmla="*/ 6817063 w 9922465"/>
              <a:gd name="connsiteY60" fmla="*/ 1824114 h 1934496"/>
              <a:gd name="connsiteX61" fmla="*/ 6872255 w 9922465"/>
              <a:gd name="connsiteY61" fmla="*/ 1879305 h 1934496"/>
              <a:gd name="connsiteX62" fmla="*/ 6817063 w 9922465"/>
              <a:gd name="connsiteY62" fmla="*/ 1934496 h 1934496"/>
              <a:gd name="connsiteX63" fmla="*/ 6761871 w 9922465"/>
              <a:gd name="connsiteY63" fmla="*/ 1879305 h 1934496"/>
              <a:gd name="connsiteX64" fmla="*/ 6817063 w 9922465"/>
              <a:gd name="connsiteY64" fmla="*/ 1824114 h 1934496"/>
              <a:gd name="connsiteX65" fmla="*/ 6683431 w 9922465"/>
              <a:gd name="connsiteY65" fmla="*/ 1824114 h 1934496"/>
              <a:gd name="connsiteX66" fmla="*/ 6738623 w 9922465"/>
              <a:gd name="connsiteY66" fmla="*/ 1879305 h 1934496"/>
              <a:gd name="connsiteX67" fmla="*/ 6683431 w 9922465"/>
              <a:gd name="connsiteY67" fmla="*/ 1934496 h 1934496"/>
              <a:gd name="connsiteX68" fmla="*/ 6628239 w 9922465"/>
              <a:gd name="connsiteY68" fmla="*/ 1879305 h 1934496"/>
              <a:gd name="connsiteX69" fmla="*/ 6683431 w 9922465"/>
              <a:gd name="connsiteY69" fmla="*/ 1824114 h 1934496"/>
              <a:gd name="connsiteX70" fmla="*/ 6553137 w 9922465"/>
              <a:gd name="connsiteY70" fmla="*/ 1824114 h 1934496"/>
              <a:gd name="connsiteX71" fmla="*/ 6608329 w 9922465"/>
              <a:gd name="connsiteY71" fmla="*/ 1879305 h 1934496"/>
              <a:gd name="connsiteX72" fmla="*/ 6553137 w 9922465"/>
              <a:gd name="connsiteY72" fmla="*/ 1934496 h 1934496"/>
              <a:gd name="connsiteX73" fmla="*/ 6497945 w 9922465"/>
              <a:gd name="connsiteY73" fmla="*/ 1879305 h 1934496"/>
              <a:gd name="connsiteX74" fmla="*/ 6553137 w 9922465"/>
              <a:gd name="connsiteY74" fmla="*/ 1824114 h 1934496"/>
              <a:gd name="connsiteX75" fmla="*/ 6289207 w 9922465"/>
              <a:gd name="connsiteY75" fmla="*/ 1824114 h 1934496"/>
              <a:gd name="connsiteX76" fmla="*/ 6344399 w 9922465"/>
              <a:gd name="connsiteY76" fmla="*/ 1879305 h 1934496"/>
              <a:gd name="connsiteX77" fmla="*/ 6289207 w 9922465"/>
              <a:gd name="connsiteY77" fmla="*/ 1934496 h 1934496"/>
              <a:gd name="connsiteX78" fmla="*/ 6234015 w 9922465"/>
              <a:gd name="connsiteY78" fmla="*/ 1879305 h 1934496"/>
              <a:gd name="connsiteX79" fmla="*/ 6289207 w 9922465"/>
              <a:gd name="connsiteY79" fmla="*/ 1824114 h 1934496"/>
              <a:gd name="connsiteX80" fmla="*/ 6155572 w 9922465"/>
              <a:gd name="connsiteY80" fmla="*/ 1824114 h 1934496"/>
              <a:gd name="connsiteX81" fmla="*/ 6210764 w 9922465"/>
              <a:gd name="connsiteY81" fmla="*/ 1879305 h 1934496"/>
              <a:gd name="connsiteX82" fmla="*/ 6155572 w 9922465"/>
              <a:gd name="connsiteY82" fmla="*/ 1934496 h 1934496"/>
              <a:gd name="connsiteX83" fmla="*/ 6100380 w 9922465"/>
              <a:gd name="connsiteY83" fmla="*/ 1879305 h 1934496"/>
              <a:gd name="connsiteX84" fmla="*/ 6155572 w 9922465"/>
              <a:gd name="connsiteY84" fmla="*/ 1824114 h 1934496"/>
              <a:gd name="connsiteX85" fmla="*/ 6021938 w 9922465"/>
              <a:gd name="connsiteY85" fmla="*/ 1824114 h 1934496"/>
              <a:gd name="connsiteX86" fmla="*/ 6077130 w 9922465"/>
              <a:gd name="connsiteY86" fmla="*/ 1879305 h 1934496"/>
              <a:gd name="connsiteX87" fmla="*/ 6021938 w 9922465"/>
              <a:gd name="connsiteY87" fmla="*/ 1934496 h 1934496"/>
              <a:gd name="connsiteX88" fmla="*/ 5966746 w 9922465"/>
              <a:gd name="connsiteY88" fmla="*/ 1879305 h 1934496"/>
              <a:gd name="connsiteX89" fmla="*/ 6021938 w 9922465"/>
              <a:gd name="connsiteY89" fmla="*/ 1824114 h 1934496"/>
              <a:gd name="connsiteX90" fmla="*/ 5884964 w 9922465"/>
              <a:gd name="connsiteY90" fmla="*/ 1824114 h 1934496"/>
              <a:gd name="connsiteX91" fmla="*/ 5940156 w 9922465"/>
              <a:gd name="connsiteY91" fmla="*/ 1879305 h 1934496"/>
              <a:gd name="connsiteX92" fmla="*/ 5884964 w 9922465"/>
              <a:gd name="connsiteY92" fmla="*/ 1934496 h 1934496"/>
              <a:gd name="connsiteX93" fmla="*/ 5829772 w 9922465"/>
              <a:gd name="connsiteY93" fmla="*/ 1879305 h 1934496"/>
              <a:gd name="connsiteX94" fmla="*/ 5884964 w 9922465"/>
              <a:gd name="connsiteY94" fmla="*/ 1824114 h 1934496"/>
              <a:gd name="connsiteX95" fmla="*/ 5754670 w 9922465"/>
              <a:gd name="connsiteY95" fmla="*/ 1824114 h 1934496"/>
              <a:gd name="connsiteX96" fmla="*/ 5809862 w 9922465"/>
              <a:gd name="connsiteY96" fmla="*/ 1879305 h 1934496"/>
              <a:gd name="connsiteX97" fmla="*/ 5754670 w 9922465"/>
              <a:gd name="connsiteY97" fmla="*/ 1934496 h 1934496"/>
              <a:gd name="connsiteX98" fmla="*/ 5699478 w 9922465"/>
              <a:gd name="connsiteY98" fmla="*/ 1879305 h 1934496"/>
              <a:gd name="connsiteX99" fmla="*/ 5754670 w 9922465"/>
              <a:gd name="connsiteY99" fmla="*/ 1824114 h 1934496"/>
              <a:gd name="connsiteX100" fmla="*/ 5487399 w 9922465"/>
              <a:gd name="connsiteY100" fmla="*/ 1824114 h 1934496"/>
              <a:gd name="connsiteX101" fmla="*/ 5542591 w 9922465"/>
              <a:gd name="connsiteY101" fmla="*/ 1879305 h 1934496"/>
              <a:gd name="connsiteX102" fmla="*/ 5487399 w 9922465"/>
              <a:gd name="connsiteY102" fmla="*/ 1934496 h 1934496"/>
              <a:gd name="connsiteX103" fmla="*/ 5432207 w 9922465"/>
              <a:gd name="connsiteY103" fmla="*/ 1879305 h 1934496"/>
              <a:gd name="connsiteX104" fmla="*/ 5487399 w 9922465"/>
              <a:gd name="connsiteY104" fmla="*/ 1824114 h 1934496"/>
              <a:gd name="connsiteX105" fmla="*/ 5357105 w 9922465"/>
              <a:gd name="connsiteY105" fmla="*/ 1824114 h 1934496"/>
              <a:gd name="connsiteX106" fmla="*/ 5412297 w 9922465"/>
              <a:gd name="connsiteY106" fmla="*/ 1879305 h 1934496"/>
              <a:gd name="connsiteX107" fmla="*/ 5357105 w 9922465"/>
              <a:gd name="connsiteY107" fmla="*/ 1934496 h 1934496"/>
              <a:gd name="connsiteX108" fmla="*/ 5301913 w 9922465"/>
              <a:gd name="connsiteY108" fmla="*/ 1879305 h 1934496"/>
              <a:gd name="connsiteX109" fmla="*/ 5357105 w 9922465"/>
              <a:gd name="connsiteY109" fmla="*/ 1824114 h 1934496"/>
              <a:gd name="connsiteX110" fmla="*/ 5223473 w 9922465"/>
              <a:gd name="connsiteY110" fmla="*/ 1824114 h 1934496"/>
              <a:gd name="connsiteX111" fmla="*/ 5278665 w 9922465"/>
              <a:gd name="connsiteY111" fmla="*/ 1879305 h 1934496"/>
              <a:gd name="connsiteX112" fmla="*/ 5223473 w 9922465"/>
              <a:gd name="connsiteY112" fmla="*/ 1934496 h 1934496"/>
              <a:gd name="connsiteX113" fmla="*/ 5168281 w 9922465"/>
              <a:gd name="connsiteY113" fmla="*/ 1879305 h 1934496"/>
              <a:gd name="connsiteX114" fmla="*/ 5223473 w 9922465"/>
              <a:gd name="connsiteY114" fmla="*/ 1824114 h 1934496"/>
              <a:gd name="connsiteX115" fmla="*/ 5093178 w 9922465"/>
              <a:gd name="connsiteY115" fmla="*/ 1824114 h 1934496"/>
              <a:gd name="connsiteX116" fmla="*/ 5148370 w 9922465"/>
              <a:gd name="connsiteY116" fmla="*/ 1879305 h 1934496"/>
              <a:gd name="connsiteX117" fmla="*/ 5093178 w 9922465"/>
              <a:gd name="connsiteY117" fmla="*/ 1934496 h 1934496"/>
              <a:gd name="connsiteX118" fmla="*/ 5037986 w 9922465"/>
              <a:gd name="connsiteY118" fmla="*/ 1879305 h 1934496"/>
              <a:gd name="connsiteX119" fmla="*/ 5093178 w 9922465"/>
              <a:gd name="connsiteY119" fmla="*/ 1824114 h 1934496"/>
              <a:gd name="connsiteX120" fmla="*/ 4959543 w 9922465"/>
              <a:gd name="connsiteY120" fmla="*/ 1824114 h 1934496"/>
              <a:gd name="connsiteX121" fmla="*/ 5014735 w 9922465"/>
              <a:gd name="connsiteY121" fmla="*/ 1879305 h 1934496"/>
              <a:gd name="connsiteX122" fmla="*/ 4959543 w 9922465"/>
              <a:gd name="connsiteY122" fmla="*/ 1934496 h 1934496"/>
              <a:gd name="connsiteX123" fmla="*/ 4904351 w 9922465"/>
              <a:gd name="connsiteY123" fmla="*/ 1879305 h 1934496"/>
              <a:gd name="connsiteX124" fmla="*/ 4959543 w 9922465"/>
              <a:gd name="connsiteY124" fmla="*/ 1824114 h 1934496"/>
              <a:gd name="connsiteX125" fmla="*/ 4829250 w 9922465"/>
              <a:gd name="connsiteY125" fmla="*/ 1824114 h 1934496"/>
              <a:gd name="connsiteX126" fmla="*/ 4884442 w 9922465"/>
              <a:gd name="connsiteY126" fmla="*/ 1879305 h 1934496"/>
              <a:gd name="connsiteX127" fmla="*/ 4829250 w 9922465"/>
              <a:gd name="connsiteY127" fmla="*/ 1934496 h 1934496"/>
              <a:gd name="connsiteX128" fmla="*/ 4774058 w 9922465"/>
              <a:gd name="connsiteY128" fmla="*/ 1879305 h 1934496"/>
              <a:gd name="connsiteX129" fmla="*/ 4829250 w 9922465"/>
              <a:gd name="connsiteY129" fmla="*/ 1824114 h 1934496"/>
              <a:gd name="connsiteX130" fmla="*/ 4695613 w 9922465"/>
              <a:gd name="connsiteY130" fmla="*/ 1824114 h 1934496"/>
              <a:gd name="connsiteX131" fmla="*/ 4750805 w 9922465"/>
              <a:gd name="connsiteY131" fmla="*/ 1879305 h 1934496"/>
              <a:gd name="connsiteX132" fmla="*/ 4695613 w 9922465"/>
              <a:gd name="connsiteY132" fmla="*/ 1934496 h 1934496"/>
              <a:gd name="connsiteX133" fmla="*/ 4640421 w 9922465"/>
              <a:gd name="connsiteY133" fmla="*/ 1879305 h 1934496"/>
              <a:gd name="connsiteX134" fmla="*/ 4695613 w 9922465"/>
              <a:gd name="connsiteY134" fmla="*/ 1824114 h 1934496"/>
              <a:gd name="connsiteX135" fmla="*/ 2834762 w 9922465"/>
              <a:gd name="connsiteY135" fmla="*/ 1824114 h 1934496"/>
              <a:gd name="connsiteX136" fmla="*/ 2889954 w 9922465"/>
              <a:gd name="connsiteY136" fmla="*/ 1879305 h 1934496"/>
              <a:gd name="connsiteX137" fmla="*/ 2834762 w 9922465"/>
              <a:gd name="connsiteY137" fmla="*/ 1934496 h 1934496"/>
              <a:gd name="connsiteX138" fmla="*/ 2779570 w 9922465"/>
              <a:gd name="connsiteY138" fmla="*/ 1879305 h 1934496"/>
              <a:gd name="connsiteX139" fmla="*/ 2834762 w 9922465"/>
              <a:gd name="connsiteY139" fmla="*/ 1824114 h 1934496"/>
              <a:gd name="connsiteX140" fmla="*/ 2707807 w 9922465"/>
              <a:gd name="connsiteY140" fmla="*/ 1824114 h 1934496"/>
              <a:gd name="connsiteX141" fmla="*/ 2762999 w 9922465"/>
              <a:gd name="connsiteY141" fmla="*/ 1879305 h 1934496"/>
              <a:gd name="connsiteX142" fmla="*/ 2707807 w 9922465"/>
              <a:gd name="connsiteY142" fmla="*/ 1934496 h 1934496"/>
              <a:gd name="connsiteX143" fmla="*/ 2652615 w 9922465"/>
              <a:gd name="connsiteY143" fmla="*/ 1879305 h 1934496"/>
              <a:gd name="connsiteX144" fmla="*/ 2707807 w 9922465"/>
              <a:gd name="connsiteY144" fmla="*/ 1824114 h 1934496"/>
              <a:gd name="connsiteX145" fmla="*/ 2570834 w 9922465"/>
              <a:gd name="connsiteY145" fmla="*/ 1824114 h 1934496"/>
              <a:gd name="connsiteX146" fmla="*/ 2626025 w 9922465"/>
              <a:gd name="connsiteY146" fmla="*/ 1879305 h 1934496"/>
              <a:gd name="connsiteX147" fmla="*/ 2570834 w 9922465"/>
              <a:gd name="connsiteY147" fmla="*/ 1934496 h 1934496"/>
              <a:gd name="connsiteX148" fmla="*/ 2515641 w 9922465"/>
              <a:gd name="connsiteY148" fmla="*/ 1879305 h 1934496"/>
              <a:gd name="connsiteX149" fmla="*/ 2570834 w 9922465"/>
              <a:gd name="connsiteY149" fmla="*/ 1824114 h 1934496"/>
              <a:gd name="connsiteX150" fmla="*/ 2437196 w 9922465"/>
              <a:gd name="connsiteY150" fmla="*/ 1824114 h 1934496"/>
              <a:gd name="connsiteX151" fmla="*/ 2492389 w 9922465"/>
              <a:gd name="connsiteY151" fmla="*/ 1879305 h 1934496"/>
              <a:gd name="connsiteX152" fmla="*/ 2437196 w 9922465"/>
              <a:gd name="connsiteY152" fmla="*/ 1934496 h 1934496"/>
              <a:gd name="connsiteX153" fmla="*/ 2382005 w 9922465"/>
              <a:gd name="connsiteY153" fmla="*/ 1879305 h 1934496"/>
              <a:gd name="connsiteX154" fmla="*/ 2437196 w 9922465"/>
              <a:gd name="connsiteY154" fmla="*/ 1824114 h 1934496"/>
              <a:gd name="connsiteX155" fmla="*/ 2303564 w 9922465"/>
              <a:gd name="connsiteY155" fmla="*/ 1824114 h 1934496"/>
              <a:gd name="connsiteX156" fmla="*/ 2358756 w 9922465"/>
              <a:gd name="connsiteY156" fmla="*/ 1879305 h 1934496"/>
              <a:gd name="connsiteX157" fmla="*/ 2303564 w 9922465"/>
              <a:gd name="connsiteY157" fmla="*/ 1934496 h 1934496"/>
              <a:gd name="connsiteX158" fmla="*/ 2248372 w 9922465"/>
              <a:gd name="connsiteY158" fmla="*/ 1879305 h 1934496"/>
              <a:gd name="connsiteX159" fmla="*/ 2303564 w 9922465"/>
              <a:gd name="connsiteY159" fmla="*/ 1824114 h 1934496"/>
              <a:gd name="connsiteX160" fmla="*/ 2173271 w 9922465"/>
              <a:gd name="connsiteY160" fmla="*/ 1824114 h 1934496"/>
              <a:gd name="connsiteX161" fmla="*/ 2228463 w 9922465"/>
              <a:gd name="connsiteY161" fmla="*/ 1879305 h 1934496"/>
              <a:gd name="connsiteX162" fmla="*/ 2173271 w 9922465"/>
              <a:gd name="connsiteY162" fmla="*/ 1934496 h 1934496"/>
              <a:gd name="connsiteX163" fmla="*/ 2118079 w 9922465"/>
              <a:gd name="connsiteY163" fmla="*/ 1879305 h 1934496"/>
              <a:gd name="connsiteX164" fmla="*/ 2173271 w 9922465"/>
              <a:gd name="connsiteY164" fmla="*/ 1824114 h 1934496"/>
              <a:gd name="connsiteX165" fmla="*/ 2039637 w 9922465"/>
              <a:gd name="connsiteY165" fmla="*/ 1824114 h 1934496"/>
              <a:gd name="connsiteX166" fmla="*/ 2094830 w 9922465"/>
              <a:gd name="connsiteY166" fmla="*/ 1879305 h 1934496"/>
              <a:gd name="connsiteX167" fmla="*/ 2039637 w 9922465"/>
              <a:gd name="connsiteY167" fmla="*/ 1934496 h 1934496"/>
              <a:gd name="connsiteX168" fmla="*/ 1984445 w 9922465"/>
              <a:gd name="connsiteY168" fmla="*/ 1879305 h 1934496"/>
              <a:gd name="connsiteX169" fmla="*/ 2039637 w 9922465"/>
              <a:gd name="connsiteY169" fmla="*/ 1824114 h 1934496"/>
              <a:gd name="connsiteX170" fmla="*/ 1909341 w 9922465"/>
              <a:gd name="connsiteY170" fmla="*/ 1824114 h 1934496"/>
              <a:gd name="connsiteX171" fmla="*/ 1964533 w 9922465"/>
              <a:gd name="connsiteY171" fmla="*/ 1879305 h 1934496"/>
              <a:gd name="connsiteX172" fmla="*/ 1909341 w 9922465"/>
              <a:gd name="connsiteY172" fmla="*/ 1934496 h 1934496"/>
              <a:gd name="connsiteX173" fmla="*/ 1854149 w 9922465"/>
              <a:gd name="connsiteY173" fmla="*/ 1879305 h 1934496"/>
              <a:gd name="connsiteX174" fmla="*/ 1909341 w 9922465"/>
              <a:gd name="connsiteY174" fmla="*/ 1824114 h 1934496"/>
              <a:gd name="connsiteX175" fmla="*/ 1779049 w 9922465"/>
              <a:gd name="connsiteY175" fmla="*/ 1824114 h 1934496"/>
              <a:gd name="connsiteX176" fmla="*/ 1834241 w 9922465"/>
              <a:gd name="connsiteY176" fmla="*/ 1879305 h 1934496"/>
              <a:gd name="connsiteX177" fmla="*/ 1779049 w 9922465"/>
              <a:gd name="connsiteY177" fmla="*/ 1934496 h 1934496"/>
              <a:gd name="connsiteX178" fmla="*/ 1723856 w 9922465"/>
              <a:gd name="connsiteY178" fmla="*/ 1879305 h 1934496"/>
              <a:gd name="connsiteX179" fmla="*/ 1779049 w 9922465"/>
              <a:gd name="connsiteY179" fmla="*/ 1824114 h 1934496"/>
              <a:gd name="connsiteX180" fmla="*/ 1645413 w 9922465"/>
              <a:gd name="connsiteY180" fmla="*/ 1824114 h 1934496"/>
              <a:gd name="connsiteX181" fmla="*/ 1700604 w 9922465"/>
              <a:gd name="connsiteY181" fmla="*/ 1879305 h 1934496"/>
              <a:gd name="connsiteX182" fmla="*/ 1645413 w 9922465"/>
              <a:gd name="connsiteY182" fmla="*/ 1934496 h 1934496"/>
              <a:gd name="connsiteX183" fmla="*/ 1590220 w 9922465"/>
              <a:gd name="connsiteY183" fmla="*/ 1879305 h 1934496"/>
              <a:gd name="connsiteX184" fmla="*/ 1645413 w 9922465"/>
              <a:gd name="connsiteY184" fmla="*/ 1824114 h 1934496"/>
              <a:gd name="connsiteX185" fmla="*/ 1515120 w 9922465"/>
              <a:gd name="connsiteY185" fmla="*/ 1824114 h 1934496"/>
              <a:gd name="connsiteX186" fmla="*/ 1570311 w 9922465"/>
              <a:gd name="connsiteY186" fmla="*/ 1879305 h 1934496"/>
              <a:gd name="connsiteX187" fmla="*/ 1515120 w 9922465"/>
              <a:gd name="connsiteY187" fmla="*/ 1934496 h 1934496"/>
              <a:gd name="connsiteX188" fmla="*/ 1459927 w 9922465"/>
              <a:gd name="connsiteY188" fmla="*/ 1879305 h 1934496"/>
              <a:gd name="connsiteX189" fmla="*/ 1515120 w 9922465"/>
              <a:gd name="connsiteY189" fmla="*/ 1824114 h 1934496"/>
              <a:gd name="connsiteX190" fmla="*/ 1381486 w 9922465"/>
              <a:gd name="connsiteY190" fmla="*/ 1824114 h 1934496"/>
              <a:gd name="connsiteX191" fmla="*/ 1436678 w 9922465"/>
              <a:gd name="connsiteY191" fmla="*/ 1879305 h 1934496"/>
              <a:gd name="connsiteX192" fmla="*/ 1381486 w 9922465"/>
              <a:gd name="connsiteY192" fmla="*/ 1934496 h 1934496"/>
              <a:gd name="connsiteX193" fmla="*/ 1326294 w 9922465"/>
              <a:gd name="connsiteY193" fmla="*/ 1879305 h 1934496"/>
              <a:gd name="connsiteX194" fmla="*/ 1381486 w 9922465"/>
              <a:gd name="connsiteY194" fmla="*/ 1824114 h 1934496"/>
              <a:gd name="connsiteX195" fmla="*/ 1251193 w 9922465"/>
              <a:gd name="connsiteY195" fmla="*/ 1824114 h 1934496"/>
              <a:gd name="connsiteX196" fmla="*/ 1306386 w 9922465"/>
              <a:gd name="connsiteY196" fmla="*/ 1879305 h 1934496"/>
              <a:gd name="connsiteX197" fmla="*/ 1251193 w 9922465"/>
              <a:gd name="connsiteY197" fmla="*/ 1934496 h 1934496"/>
              <a:gd name="connsiteX198" fmla="*/ 1196001 w 9922465"/>
              <a:gd name="connsiteY198" fmla="*/ 1879305 h 1934496"/>
              <a:gd name="connsiteX199" fmla="*/ 1251193 w 9922465"/>
              <a:gd name="connsiteY199" fmla="*/ 1824114 h 1934496"/>
              <a:gd name="connsiteX200" fmla="*/ 4565336 w 9922465"/>
              <a:gd name="connsiteY200" fmla="*/ 1824106 h 1934496"/>
              <a:gd name="connsiteX201" fmla="*/ 4620528 w 9922465"/>
              <a:gd name="connsiteY201" fmla="*/ 1879297 h 1934496"/>
              <a:gd name="connsiteX202" fmla="*/ 4565336 w 9922465"/>
              <a:gd name="connsiteY202" fmla="*/ 1934488 h 1934496"/>
              <a:gd name="connsiteX203" fmla="*/ 4510144 w 9922465"/>
              <a:gd name="connsiteY203" fmla="*/ 1879297 h 1934496"/>
              <a:gd name="connsiteX204" fmla="*/ 4565336 w 9922465"/>
              <a:gd name="connsiteY204" fmla="*/ 1824106 h 1934496"/>
              <a:gd name="connsiteX205" fmla="*/ 4431689 w 9922465"/>
              <a:gd name="connsiteY205" fmla="*/ 1824098 h 1934496"/>
              <a:gd name="connsiteX206" fmla="*/ 4486881 w 9922465"/>
              <a:gd name="connsiteY206" fmla="*/ 1879289 h 1934496"/>
              <a:gd name="connsiteX207" fmla="*/ 4431689 w 9922465"/>
              <a:gd name="connsiteY207" fmla="*/ 1934480 h 1934496"/>
              <a:gd name="connsiteX208" fmla="*/ 4376497 w 9922465"/>
              <a:gd name="connsiteY208" fmla="*/ 1879289 h 1934496"/>
              <a:gd name="connsiteX209" fmla="*/ 4431689 w 9922465"/>
              <a:gd name="connsiteY209" fmla="*/ 1824098 h 1934496"/>
              <a:gd name="connsiteX210" fmla="*/ 8801537 w 9922465"/>
              <a:gd name="connsiteY210" fmla="*/ 1707182 h 1934496"/>
              <a:gd name="connsiteX211" fmla="*/ 8856729 w 9922465"/>
              <a:gd name="connsiteY211" fmla="*/ 1762373 h 1934496"/>
              <a:gd name="connsiteX212" fmla="*/ 8801537 w 9922465"/>
              <a:gd name="connsiteY212" fmla="*/ 1817564 h 1934496"/>
              <a:gd name="connsiteX213" fmla="*/ 8746345 w 9922465"/>
              <a:gd name="connsiteY213" fmla="*/ 1762373 h 1934496"/>
              <a:gd name="connsiteX214" fmla="*/ 8801537 w 9922465"/>
              <a:gd name="connsiteY214" fmla="*/ 1707182 h 1934496"/>
              <a:gd name="connsiteX215" fmla="*/ 8671243 w 9922465"/>
              <a:gd name="connsiteY215" fmla="*/ 1707182 h 1934496"/>
              <a:gd name="connsiteX216" fmla="*/ 8726435 w 9922465"/>
              <a:gd name="connsiteY216" fmla="*/ 1762373 h 1934496"/>
              <a:gd name="connsiteX217" fmla="*/ 8671243 w 9922465"/>
              <a:gd name="connsiteY217" fmla="*/ 1817564 h 1934496"/>
              <a:gd name="connsiteX218" fmla="*/ 8616051 w 9922465"/>
              <a:gd name="connsiteY218" fmla="*/ 1762373 h 1934496"/>
              <a:gd name="connsiteX219" fmla="*/ 8671243 w 9922465"/>
              <a:gd name="connsiteY219" fmla="*/ 1707182 h 1934496"/>
              <a:gd name="connsiteX220" fmla="*/ 8537609 w 9922465"/>
              <a:gd name="connsiteY220" fmla="*/ 1707182 h 1934496"/>
              <a:gd name="connsiteX221" fmla="*/ 8592801 w 9922465"/>
              <a:gd name="connsiteY221" fmla="*/ 1762373 h 1934496"/>
              <a:gd name="connsiteX222" fmla="*/ 8537609 w 9922465"/>
              <a:gd name="connsiteY222" fmla="*/ 1817564 h 1934496"/>
              <a:gd name="connsiteX223" fmla="*/ 8482417 w 9922465"/>
              <a:gd name="connsiteY223" fmla="*/ 1762373 h 1934496"/>
              <a:gd name="connsiteX224" fmla="*/ 8537609 w 9922465"/>
              <a:gd name="connsiteY224" fmla="*/ 1707182 h 1934496"/>
              <a:gd name="connsiteX225" fmla="*/ 8407318 w 9922465"/>
              <a:gd name="connsiteY225" fmla="*/ 1707182 h 1934496"/>
              <a:gd name="connsiteX226" fmla="*/ 8462510 w 9922465"/>
              <a:gd name="connsiteY226" fmla="*/ 1762373 h 1934496"/>
              <a:gd name="connsiteX227" fmla="*/ 8407318 w 9922465"/>
              <a:gd name="connsiteY227" fmla="*/ 1817564 h 1934496"/>
              <a:gd name="connsiteX228" fmla="*/ 8352126 w 9922465"/>
              <a:gd name="connsiteY228" fmla="*/ 1762373 h 1934496"/>
              <a:gd name="connsiteX229" fmla="*/ 8407318 w 9922465"/>
              <a:gd name="connsiteY229" fmla="*/ 1707182 h 1934496"/>
              <a:gd name="connsiteX230" fmla="*/ 8273682 w 9922465"/>
              <a:gd name="connsiteY230" fmla="*/ 1707182 h 1934496"/>
              <a:gd name="connsiteX231" fmla="*/ 8328874 w 9922465"/>
              <a:gd name="connsiteY231" fmla="*/ 1762373 h 1934496"/>
              <a:gd name="connsiteX232" fmla="*/ 8273682 w 9922465"/>
              <a:gd name="connsiteY232" fmla="*/ 1817564 h 1934496"/>
              <a:gd name="connsiteX233" fmla="*/ 8218490 w 9922465"/>
              <a:gd name="connsiteY233" fmla="*/ 1762373 h 1934496"/>
              <a:gd name="connsiteX234" fmla="*/ 8273682 w 9922465"/>
              <a:gd name="connsiteY234" fmla="*/ 1707182 h 1934496"/>
              <a:gd name="connsiteX235" fmla="*/ 8143386 w 9922465"/>
              <a:gd name="connsiteY235" fmla="*/ 1707182 h 1934496"/>
              <a:gd name="connsiteX236" fmla="*/ 8198578 w 9922465"/>
              <a:gd name="connsiteY236" fmla="*/ 1762373 h 1934496"/>
              <a:gd name="connsiteX237" fmla="*/ 8143386 w 9922465"/>
              <a:gd name="connsiteY237" fmla="*/ 1817564 h 1934496"/>
              <a:gd name="connsiteX238" fmla="*/ 8088194 w 9922465"/>
              <a:gd name="connsiteY238" fmla="*/ 1762373 h 1934496"/>
              <a:gd name="connsiteX239" fmla="*/ 8143386 w 9922465"/>
              <a:gd name="connsiteY239" fmla="*/ 1707182 h 1934496"/>
              <a:gd name="connsiteX240" fmla="*/ 8009752 w 9922465"/>
              <a:gd name="connsiteY240" fmla="*/ 1707182 h 1934496"/>
              <a:gd name="connsiteX241" fmla="*/ 8064944 w 9922465"/>
              <a:gd name="connsiteY241" fmla="*/ 1762373 h 1934496"/>
              <a:gd name="connsiteX242" fmla="*/ 8009752 w 9922465"/>
              <a:gd name="connsiteY242" fmla="*/ 1817564 h 1934496"/>
              <a:gd name="connsiteX243" fmla="*/ 7954560 w 9922465"/>
              <a:gd name="connsiteY243" fmla="*/ 1762373 h 1934496"/>
              <a:gd name="connsiteX244" fmla="*/ 8009752 w 9922465"/>
              <a:gd name="connsiteY244" fmla="*/ 1707182 h 1934496"/>
              <a:gd name="connsiteX245" fmla="*/ 7876117 w 9922465"/>
              <a:gd name="connsiteY245" fmla="*/ 1707182 h 1934496"/>
              <a:gd name="connsiteX246" fmla="*/ 7931309 w 9922465"/>
              <a:gd name="connsiteY246" fmla="*/ 1762373 h 1934496"/>
              <a:gd name="connsiteX247" fmla="*/ 7876117 w 9922465"/>
              <a:gd name="connsiteY247" fmla="*/ 1817564 h 1934496"/>
              <a:gd name="connsiteX248" fmla="*/ 7820925 w 9922465"/>
              <a:gd name="connsiteY248" fmla="*/ 1762373 h 1934496"/>
              <a:gd name="connsiteX249" fmla="*/ 7876117 w 9922465"/>
              <a:gd name="connsiteY249" fmla="*/ 1707182 h 1934496"/>
              <a:gd name="connsiteX250" fmla="*/ 7745824 w 9922465"/>
              <a:gd name="connsiteY250" fmla="*/ 1707182 h 1934496"/>
              <a:gd name="connsiteX251" fmla="*/ 7801016 w 9922465"/>
              <a:gd name="connsiteY251" fmla="*/ 1762373 h 1934496"/>
              <a:gd name="connsiteX252" fmla="*/ 7745824 w 9922465"/>
              <a:gd name="connsiteY252" fmla="*/ 1817564 h 1934496"/>
              <a:gd name="connsiteX253" fmla="*/ 7690632 w 9922465"/>
              <a:gd name="connsiteY253" fmla="*/ 1762373 h 1934496"/>
              <a:gd name="connsiteX254" fmla="*/ 7745824 w 9922465"/>
              <a:gd name="connsiteY254" fmla="*/ 1707182 h 1934496"/>
              <a:gd name="connsiteX255" fmla="*/ 7608849 w 9922465"/>
              <a:gd name="connsiteY255" fmla="*/ 1707182 h 1934496"/>
              <a:gd name="connsiteX256" fmla="*/ 7664041 w 9922465"/>
              <a:gd name="connsiteY256" fmla="*/ 1762373 h 1934496"/>
              <a:gd name="connsiteX257" fmla="*/ 7608849 w 9922465"/>
              <a:gd name="connsiteY257" fmla="*/ 1817564 h 1934496"/>
              <a:gd name="connsiteX258" fmla="*/ 7553657 w 9922465"/>
              <a:gd name="connsiteY258" fmla="*/ 1762373 h 1934496"/>
              <a:gd name="connsiteX259" fmla="*/ 7608849 w 9922465"/>
              <a:gd name="connsiteY259" fmla="*/ 1707182 h 1934496"/>
              <a:gd name="connsiteX260" fmla="*/ 7481895 w 9922465"/>
              <a:gd name="connsiteY260" fmla="*/ 1707182 h 1934496"/>
              <a:gd name="connsiteX261" fmla="*/ 7537087 w 9922465"/>
              <a:gd name="connsiteY261" fmla="*/ 1762373 h 1934496"/>
              <a:gd name="connsiteX262" fmla="*/ 7481895 w 9922465"/>
              <a:gd name="connsiteY262" fmla="*/ 1817564 h 1934496"/>
              <a:gd name="connsiteX263" fmla="*/ 7426703 w 9922465"/>
              <a:gd name="connsiteY263" fmla="*/ 1762373 h 1934496"/>
              <a:gd name="connsiteX264" fmla="*/ 7481895 w 9922465"/>
              <a:gd name="connsiteY264" fmla="*/ 1707182 h 1934496"/>
              <a:gd name="connsiteX265" fmla="*/ 7341579 w 9922465"/>
              <a:gd name="connsiteY265" fmla="*/ 1707182 h 1934496"/>
              <a:gd name="connsiteX266" fmla="*/ 7396771 w 9922465"/>
              <a:gd name="connsiteY266" fmla="*/ 1762373 h 1934496"/>
              <a:gd name="connsiteX267" fmla="*/ 7341579 w 9922465"/>
              <a:gd name="connsiteY267" fmla="*/ 1817564 h 1934496"/>
              <a:gd name="connsiteX268" fmla="*/ 7286387 w 9922465"/>
              <a:gd name="connsiteY268" fmla="*/ 1762373 h 1934496"/>
              <a:gd name="connsiteX269" fmla="*/ 7341579 w 9922465"/>
              <a:gd name="connsiteY269" fmla="*/ 1707182 h 1934496"/>
              <a:gd name="connsiteX270" fmla="*/ 7211286 w 9922465"/>
              <a:gd name="connsiteY270" fmla="*/ 1707182 h 1934496"/>
              <a:gd name="connsiteX271" fmla="*/ 7266478 w 9922465"/>
              <a:gd name="connsiteY271" fmla="*/ 1762373 h 1934496"/>
              <a:gd name="connsiteX272" fmla="*/ 7211286 w 9922465"/>
              <a:gd name="connsiteY272" fmla="*/ 1817564 h 1934496"/>
              <a:gd name="connsiteX273" fmla="*/ 7156094 w 9922465"/>
              <a:gd name="connsiteY273" fmla="*/ 1762373 h 1934496"/>
              <a:gd name="connsiteX274" fmla="*/ 7211286 w 9922465"/>
              <a:gd name="connsiteY274" fmla="*/ 1707182 h 1934496"/>
              <a:gd name="connsiteX275" fmla="*/ 7080993 w 9922465"/>
              <a:gd name="connsiteY275" fmla="*/ 1707182 h 1934496"/>
              <a:gd name="connsiteX276" fmla="*/ 7136185 w 9922465"/>
              <a:gd name="connsiteY276" fmla="*/ 1762373 h 1934496"/>
              <a:gd name="connsiteX277" fmla="*/ 7080993 w 9922465"/>
              <a:gd name="connsiteY277" fmla="*/ 1817564 h 1934496"/>
              <a:gd name="connsiteX278" fmla="*/ 7025801 w 9922465"/>
              <a:gd name="connsiteY278" fmla="*/ 1762373 h 1934496"/>
              <a:gd name="connsiteX279" fmla="*/ 7080993 w 9922465"/>
              <a:gd name="connsiteY279" fmla="*/ 1707182 h 1934496"/>
              <a:gd name="connsiteX280" fmla="*/ 6947357 w 9922465"/>
              <a:gd name="connsiteY280" fmla="*/ 1707182 h 1934496"/>
              <a:gd name="connsiteX281" fmla="*/ 7002549 w 9922465"/>
              <a:gd name="connsiteY281" fmla="*/ 1762373 h 1934496"/>
              <a:gd name="connsiteX282" fmla="*/ 6947357 w 9922465"/>
              <a:gd name="connsiteY282" fmla="*/ 1817564 h 1934496"/>
              <a:gd name="connsiteX283" fmla="*/ 6892165 w 9922465"/>
              <a:gd name="connsiteY283" fmla="*/ 1762373 h 1934496"/>
              <a:gd name="connsiteX284" fmla="*/ 6947357 w 9922465"/>
              <a:gd name="connsiteY284" fmla="*/ 1707182 h 1934496"/>
              <a:gd name="connsiteX285" fmla="*/ 6817063 w 9922465"/>
              <a:gd name="connsiteY285" fmla="*/ 1707182 h 1934496"/>
              <a:gd name="connsiteX286" fmla="*/ 6872255 w 9922465"/>
              <a:gd name="connsiteY286" fmla="*/ 1762373 h 1934496"/>
              <a:gd name="connsiteX287" fmla="*/ 6817063 w 9922465"/>
              <a:gd name="connsiteY287" fmla="*/ 1817564 h 1934496"/>
              <a:gd name="connsiteX288" fmla="*/ 6761871 w 9922465"/>
              <a:gd name="connsiteY288" fmla="*/ 1762373 h 1934496"/>
              <a:gd name="connsiteX289" fmla="*/ 6817063 w 9922465"/>
              <a:gd name="connsiteY289" fmla="*/ 1707182 h 1934496"/>
              <a:gd name="connsiteX290" fmla="*/ 6683431 w 9922465"/>
              <a:gd name="connsiteY290" fmla="*/ 1707182 h 1934496"/>
              <a:gd name="connsiteX291" fmla="*/ 6738623 w 9922465"/>
              <a:gd name="connsiteY291" fmla="*/ 1762373 h 1934496"/>
              <a:gd name="connsiteX292" fmla="*/ 6683431 w 9922465"/>
              <a:gd name="connsiteY292" fmla="*/ 1817564 h 1934496"/>
              <a:gd name="connsiteX293" fmla="*/ 6628239 w 9922465"/>
              <a:gd name="connsiteY293" fmla="*/ 1762373 h 1934496"/>
              <a:gd name="connsiteX294" fmla="*/ 6683431 w 9922465"/>
              <a:gd name="connsiteY294" fmla="*/ 1707182 h 1934496"/>
              <a:gd name="connsiteX295" fmla="*/ 6553137 w 9922465"/>
              <a:gd name="connsiteY295" fmla="*/ 1707182 h 1934496"/>
              <a:gd name="connsiteX296" fmla="*/ 6608329 w 9922465"/>
              <a:gd name="connsiteY296" fmla="*/ 1762373 h 1934496"/>
              <a:gd name="connsiteX297" fmla="*/ 6553137 w 9922465"/>
              <a:gd name="connsiteY297" fmla="*/ 1817564 h 1934496"/>
              <a:gd name="connsiteX298" fmla="*/ 6497945 w 9922465"/>
              <a:gd name="connsiteY298" fmla="*/ 1762373 h 1934496"/>
              <a:gd name="connsiteX299" fmla="*/ 6553137 w 9922465"/>
              <a:gd name="connsiteY299" fmla="*/ 1707182 h 1934496"/>
              <a:gd name="connsiteX300" fmla="*/ 6419502 w 9922465"/>
              <a:gd name="connsiteY300" fmla="*/ 1707182 h 1934496"/>
              <a:gd name="connsiteX301" fmla="*/ 6474694 w 9922465"/>
              <a:gd name="connsiteY301" fmla="*/ 1762373 h 1934496"/>
              <a:gd name="connsiteX302" fmla="*/ 6419502 w 9922465"/>
              <a:gd name="connsiteY302" fmla="*/ 1817564 h 1934496"/>
              <a:gd name="connsiteX303" fmla="*/ 6364310 w 9922465"/>
              <a:gd name="connsiteY303" fmla="*/ 1762373 h 1934496"/>
              <a:gd name="connsiteX304" fmla="*/ 6419502 w 9922465"/>
              <a:gd name="connsiteY304" fmla="*/ 1707182 h 1934496"/>
              <a:gd name="connsiteX305" fmla="*/ 6289207 w 9922465"/>
              <a:gd name="connsiteY305" fmla="*/ 1707182 h 1934496"/>
              <a:gd name="connsiteX306" fmla="*/ 6344399 w 9922465"/>
              <a:gd name="connsiteY306" fmla="*/ 1762373 h 1934496"/>
              <a:gd name="connsiteX307" fmla="*/ 6289207 w 9922465"/>
              <a:gd name="connsiteY307" fmla="*/ 1817564 h 1934496"/>
              <a:gd name="connsiteX308" fmla="*/ 6234015 w 9922465"/>
              <a:gd name="connsiteY308" fmla="*/ 1762373 h 1934496"/>
              <a:gd name="connsiteX309" fmla="*/ 6289207 w 9922465"/>
              <a:gd name="connsiteY309" fmla="*/ 1707182 h 1934496"/>
              <a:gd name="connsiteX310" fmla="*/ 6155572 w 9922465"/>
              <a:gd name="connsiteY310" fmla="*/ 1707182 h 1934496"/>
              <a:gd name="connsiteX311" fmla="*/ 6210764 w 9922465"/>
              <a:gd name="connsiteY311" fmla="*/ 1762373 h 1934496"/>
              <a:gd name="connsiteX312" fmla="*/ 6155572 w 9922465"/>
              <a:gd name="connsiteY312" fmla="*/ 1817564 h 1934496"/>
              <a:gd name="connsiteX313" fmla="*/ 6100380 w 9922465"/>
              <a:gd name="connsiteY313" fmla="*/ 1762373 h 1934496"/>
              <a:gd name="connsiteX314" fmla="*/ 6155572 w 9922465"/>
              <a:gd name="connsiteY314" fmla="*/ 1707182 h 1934496"/>
              <a:gd name="connsiteX315" fmla="*/ 6021938 w 9922465"/>
              <a:gd name="connsiteY315" fmla="*/ 1707182 h 1934496"/>
              <a:gd name="connsiteX316" fmla="*/ 6077130 w 9922465"/>
              <a:gd name="connsiteY316" fmla="*/ 1762373 h 1934496"/>
              <a:gd name="connsiteX317" fmla="*/ 6021938 w 9922465"/>
              <a:gd name="connsiteY317" fmla="*/ 1817564 h 1934496"/>
              <a:gd name="connsiteX318" fmla="*/ 5966746 w 9922465"/>
              <a:gd name="connsiteY318" fmla="*/ 1762373 h 1934496"/>
              <a:gd name="connsiteX319" fmla="*/ 6021938 w 9922465"/>
              <a:gd name="connsiteY319" fmla="*/ 1707182 h 1934496"/>
              <a:gd name="connsiteX320" fmla="*/ 5884964 w 9922465"/>
              <a:gd name="connsiteY320" fmla="*/ 1707182 h 1934496"/>
              <a:gd name="connsiteX321" fmla="*/ 5940156 w 9922465"/>
              <a:gd name="connsiteY321" fmla="*/ 1762373 h 1934496"/>
              <a:gd name="connsiteX322" fmla="*/ 5884964 w 9922465"/>
              <a:gd name="connsiteY322" fmla="*/ 1817564 h 1934496"/>
              <a:gd name="connsiteX323" fmla="*/ 5829772 w 9922465"/>
              <a:gd name="connsiteY323" fmla="*/ 1762373 h 1934496"/>
              <a:gd name="connsiteX324" fmla="*/ 5884964 w 9922465"/>
              <a:gd name="connsiteY324" fmla="*/ 1707182 h 1934496"/>
              <a:gd name="connsiteX325" fmla="*/ 5754670 w 9922465"/>
              <a:gd name="connsiteY325" fmla="*/ 1707182 h 1934496"/>
              <a:gd name="connsiteX326" fmla="*/ 5809862 w 9922465"/>
              <a:gd name="connsiteY326" fmla="*/ 1762373 h 1934496"/>
              <a:gd name="connsiteX327" fmla="*/ 5754670 w 9922465"/>
              <a:gd name="connsiteY327" fmla="*/ 1817564 h 1934496"/>
              <a:gd name="connsiteX328" fmla="*/ 5699478 w 9922465"/>
              <a:gd name="connsiteY328" fmla="*/ 1762373 h 1934496"/>
              <a:gd name="connsiteX329" fmla="*/ 5754670 w 9922465"/>
              <a:gd name="connsiteY329" fmla="*/ 1707182 h 1934496"/>
              <a:gd name="connsiteX330" fmla="*/ 5621035 w 9922465"/>
              <a:gd name="connsiteY330" fmla="*/ 1707182 h 1934496"/>
              <a:gd name="connsiteX331" fmla="*/ 5676227 w 9922465"/>
              <a:gd name="connsiteY331" fmla="*/ 1762373 h 1934496"/>
              <a:gd name="connsiteX332" fmla="*/ 5621035 w 9922465"/>
              <a:gd name="connsiteY332" fmla="*/ 1817564 h 1934496"/>
              <a:gd name="connsiteX333" fmla="*/ 5565843 w 9922465"/>
              <a:gd name="connsiteY333" fmla="*/ 1762373 h 1934496"/>
              <a:gd name="connsiteX334" fmla="*/ 5621035 w 9922465"/>
              <a:gd name="connsiteY334" fmla="*/ 1707182 h 1934496"/>
              <a:gd name="connsiteX335" fmla="*/ 5487399 w 9922465"/>
              <a:gd name="connsiteY335" fmla="*/ 1707182 h 1934496"/>
              <a:gd name="connsiteX336" fmla="*/ 5542591 w 9922465"/>
              <a:gd name="connsiteY336" fmla="*/ 1762373 h 1934496"/>
              <a:gd name="connsiteX337" fmla="*/ 5487399 w 9922465"/>
              <a:gd name="connsiteY337" fmla="*/ 1817564 h 1934496"/>
              <a:gd name="connsiteX338" fmla="*/ 5432207 w 9922465"/>
              <a:gd name="connsiteY338" fmla="*/ 1762373 h 1934496"/>
              <a:gd name="connsiteX339" fmla="*/ 5487399 w 9922465"/>
              <a:gd name="connsiteY339" fmla="*/ 1707182 h 1934496"/>
              <a:gd name="connsiteX340" fmla="*/ 5357105 w 9922465"/>
              <a:gd name="connsiteY340" fmla="*/ 1707182 h 1934496"/>
              <a:gd name="connsiteX341" fmla="*/ 5412297 w 9922465"/>
              <a:gd name="connsiteY341" fmla="*/ 1762373 h 1934496"/>
              <a:gd name="connsiteX342" fmla="*/ 5357105 w 9922465"/>
              <a:gd name="connsiteY342" fmla="*/ 1817564 h 1934496"/>
              <a:gd name="connsiteX343" fmla="*/ 5301913 w 9922465"/>
              <a:gd name="connsiteY343" fmla="*/ 1762373 h 1934496"/>
              <a:gd name="connsiteX344" fmla="*/ 5357105 w 9922465"/>
              <a:gd name="connsiteY344" fmla="*/ 1707182 h 1934496"/>
              <a:gd name="connsiteX345" fmla="*/ 5223473 w 9922465"/>
              <a:gd name="connsiteY345" fmla="*/ 1707182 h 1934496"/>
              <a:gd name="connsiteX346" fmla="*/ 5278665 w 9922465"/>
              <a:gd name="connsiteY346" fmla="*/ 1762373 h 1934496"/>
              <a:gd name="connsiteX347" fmla="*/ 5223473 w 9922465"/>
              <a:gd name="connsiteY347" fmla="*/ 1817564 h 1934496"/>
              <a:gd name="connsiteX348" fmla="*/ 5168281 w 9922465"/>
              <a:gd name="connsiteY348" fmla="*/ 1762373 h 1934496"/>
              <a:gd name="connsiteX349" fmla="*/ 5223473 w 9922465"/>
              <a:gd name="connsiteY349" fmla="*/ 1707182 h 1934496"/>
              <a:gd name="connsiteX350" fmla="*/ 5093178 w 9922465"/>
              <a:gd name="connsiteY350" fmla="*/ 1707182 h 1934496"/>
              <a:gd name="connsiteX351" fmla="*/ 5148370 w 9922465"/>
              <a:gd name="connsiteY351" fmla="*/ 1762373 h 1934496"/>
              <a:gd name="connsiteX352" fmla="*/ 5093178 w 9922465"/>
              <a:gd name="connsiteY352" fmla="*/ 1817564 h 1934496"/>
              <a:gd name="connsiteX353" fmla="*/ 5037986 w 9922465"/>
              <a:gd name="connsiteY353" fmla="*/ 1762373 h 1934496"/>
              <a:gd name="connsiteX354" fmla="*/ 5093178 w 9922465"/>
              <a:gd name="connsiteY354" fmla="*/ 1707182 h 1934496"/>
              <a:gd name="connsiteX355" fmla="*/ 4959543 w 9922465"/>
              <a:gd name="connsiteY355" fmla="*/ 1707182 h 1934496"/>
              <a:gd name="connsiteX356" fmla="*/ 5014735 w 9922465"/>
              <a:gd name="connsiteY356" fmla="*/ 1762373 h 1934496"/>
              <a:gd name="connsiteX357" fmla="*/ 4959543 w 9922465"/>
              <a:gd name="connsiteY357" fmla="*/ 1817564 h 1934496"/>
              <a:gd name="connsiteX358" fmla="*/ 4904351 w 9922465"/>
              <a:gd name="connsiteY358" fmla="*/ 1762373 h 1934496"/>
              <a:gd name="connsiteX359" fmla="*/ 4959543 w 9922465"/>
              <a:gd name="connsiteY359" fmla="*/ 1707182 h 1934496"/>
              <a:gd name="connsiteX360" fmla="*/ 4829251 w 9922465"/>
              <a:gd name="connsiteY360" fmla="*/ 1707182 h 1934496"/>
              <a:gd name="connsiteX361" fmla="*/ 4884443 w 9922465"/>
              <a:gd name="connsiteY361" fmla="*/ 1762373 h 1934496"/>
              <a:gd name="connsiteX362" fmla="*/ 4829251 w 9922465"/>
              <a:gd name="connsiteY362" fmla="*/ 1817564 h 1934496"/>
              <a:gd name="connsiteX363" fmla="*/ 4774059 w 9922465"/>
              <a:gd name="connsiteY363" fmla="*/ 1762373 h 1934496"/>
              <a:gd name="connsiteX364" fmla="*/ 4829251 w 9922465"/>
              <a:gd name="connsiteY364" fmla="*/ 1707182 h 1934496"/>
              <a:gd name="connsiteX365" fmla="*/ 4695613 w 9922465"/>
              <a:gd name="connsiteY365" fmla="*/ 1707182 h 1934496"/>
              <a:gd name="connsiteX366" fmla="*/ 4750805 w 9922465"/>
              <a:gd name="connsiteY366" fmla="*/ 1762373 h 1934496"/>
              <a:gd name="connsiteX367" fmla="*/ 4695613 w 9922465"/>
              <a:gd name="connsiteY367" fmla="*/ 1817564 h 1934496"/>
              <a:gd name="connsiteX368" fmla="*/ 4640421 w 9922465"/>
              <a:gd name="connsiteY368" fmla="*/ 1762373 h 1934496"/>
              <a:gd name="connsiteX369" fmla="*/ 4695613 w 9922465"/>
              <a:gd name="connsiteY369" fmla="*/ 1707182 h 1934496"/>
              <a:gd name="connsiteX370" fmla="*/ 3098681 w 9922465"/>
              <a:gd name="connsiteY370" fmla="*/ 1707182 h 1934496"/>
              <a:gd name="connsiteX371" fmla="*/ 3153873 w 9922465"/>
              <a:gd name="connsiteY371" fmla="*/ 1762373 h 1934496"/>
              <a:gd name="connsiteX372" fmla="*/ 3098681 w 9922465"/>
              <a:gd name="connsiteY372" fmla="*/ 1817564 h 1934496"/>
              <a:gd name="connsiteX373" fmla="*/ 3043489 w 9922465"/>
              <a:gd name="connsiteY373" fmla="*/ 1762373 h 1934496"/>
              <a:gd name="connsiteX374" fmla="*/ 3098681 w 9922465"/>
              <a:gd name="connsiteY374" fmla="*/ 1707182 h 1934496"/>
              <a:gd name="connsiteX375" fmla="*/ 2971729 w 9922465"/>
              <a:gd name="connsiteY375" fmla="*/ 1707182 h 1934496"/>
              <a:gd name="connsiteX376" fmla="*/ 3026921 w 9922465"/>
              <a:gd name="connsiteY376" fmla="*/ 1762373 h 1934496"/>
              <a:gd name="connsiteX377" fmla="*/ 2971729 w 9922465"/>
              <a:gd name="connsiteY377" fmla="*/ 1817564 h 1934496"/>
              <a:gd name="connsiteX378" fmla="*/ 2916537 w 9922465"/>
              <a:gd name="connsiteY378" fmla="*/ 1762373 h 1934496"/>
              <a:gd name="connsiteX379" fmla="*/ 2971729 w 9922465"/>
              <a:gd name="connsiteY379" fmla="*/ 1707182 h 1934496"/>
              <a:gd name="connsiteX380" fmla="*/ 2834772 w 9922465"/>
              <a:gd name="connsiteY380" fmla="*/ 1707182 h 1934496"/>
              <a:gd name="connsiteX381" fmla="*/ 2889964 w 9922465"/>
              <a:gd name="connsiteY381" fmla="*/ 1762373 h 1934496"/>
              <a:gd name="connsiteX382" fmla="*/ 2834772 w 9922465"/>
              <a:gd name="connsiteY382" fmla="*/ 1817564 h 1934496"/>
              <a:gd name="connsiteX383" fmla="*/ 2779580 w 9922465"/>
              <a:gd name="connsiteY383" fmla="*/ 1762373 h 1934496"/>
              <a:gd name="connsiteX384" fmla="*/ 2834772 w 9922465"/>
              <a:gd name="connsiteY384" fmla="*/ 1707182 h 1934496"/>
              <a:gd name="connsiteX385" fmla="*/ 2707817 w 9922465"/>
              <a:gd name="connsiteY385" fmla="*/ 1707182 h 1934496"/>
              <a:gd name="connsiteX386" fmla="*/ 2763009 w 9922465"/>
              <a:gd name="connsiteY386" fmla="*/ 1762373 h 1934496"/>
              <a:gd name="connsiteX387" fmla="*/ 2707817 w 9922465"/>
              <a:gd name="connsiteY387" fmla="*/ 1817564 h 1934496"/>
              <a:gd name="connsiteX388" fmla="*/ 2652625 w 9922465"/>
              <a:gd name="connsiteY388" fmla="*/ 1762373 h 1934496"/>
              <a:gd name="connsiteX389" fmla="*/ 2707817 w 9922465"/>
              <a:gd name="connsiteY389" fmla="*/ 1707182 h 1934496"/>
              <a:gd name="connsiteX390" fmla="*/ 2570843 w 9922465"/>
              <a:gd name="connsiteY390" fmla="*/ 1707182 h 1934496"/>
              <a:gd name="connsiteX391" fmla="*/ 2626036 w 9922465"/>
              <a:gd name="connsiteY391" fmla="*/ 1762373 h 1934496"/>
              <a:gd name="connsiteX392" fmla="*/ 2570843 w 9922465"/>
              <a:gd name="connsiteY392" fmla="*/ 1817564 h 1934496"/>
              <a:gd name="connsiteX393" fmla="*/ 2515651 w 9922465"/>
              <a:gd name="connsiteY393" fmla="*/ 1762373 h 1934496"/>
              <a:gd name="connsiteX394" fmla="*/ 2570843 w 9922465"/>
              <a:gd name="connsiteY394" fmla="*/ 1707182 h 1934496"/>
              <a:gd name="connsiteX395" fmla="*/ 2437207 w 9922465"/>
              <a:gd name="connsiteY395" fmla="*/ 1707182 h 1934496"/>
              <a:gd name="connsiteX396" fmla="*/ 2492398 w 9922465"/>
              <a:gd name="connsiteY396" fmla="*/ 1762373 h 1934496"/>
              <a:gd name="connsiteX397" fmla="*/ 2437207 w 9922465"/>
              <a:gd name="connsiteY397" fmla="*/ 1817564 h 1934496"/>
              <a:gd name="connsiteX398" fmla="*/ 2382015 w 9922465"/>
              <a:gd name="connsiteY398" fmla="*/ 1762373 h 1934496"/>
              <a:gd name="connsiteX399" fmla="*/ 2437207 w 9922465"/>
              <a:gd name="connsiteY399" fmla="*/ 1707182 h 1934496"/>
              <a:gd name="connsiteX400" fmla="*/ 2303575 w 9922465"/>
              <a:gd name="connsiteY400" fmla="*/ 1707182 h 1934496"/>
              <a:gd name="connsiteX401" fmla="*/ 2358767 w 9922465"/>
              <a:gd name="connsiteY401" fmla="*/ 1762373 h 1934496"/>
              <a:gd name="connsiteX402" fmla="*/ 2303575 w 9922465"/>
              <a:gd name="connsiteY402" fmla="*/ 1817564 h 1934496"/>
              <a:gd name="connsiteX403" fmla="*/ 2248383 w 9922465"/>
              <a:gd name="connsiteY403" fmla="*/ 1762373 h 1934496"/>
              <a:gd name="connsiteX404" fmla="*/ 2303575 w 9922465"/>
              <a:gd name="connsiteY404" fmla="*/ 1707182 h 1934496"/>
              <a:gd name="connsiteX405" fmla="*/ 2173282 w 9922465"/>
              <a:gd name="connsiteY405" fmla="*/ 1707182 h 1934496"/>
              <a:gd name="connsiteX406" fmla="*/ 2228474 w 9922465"/>
              <a:gd name="connsiteY406" fmla="*/ 1762373 h 1934496"/>
              <a:gd name="connsiteX407" fmla="*/ 2173282 w 9922465"/>
              <a:gd name="connsiteY407" fmla="*/ 1817564 h 1934496"/>
              <a:gd name="connsiteX408" fmla="*/ 2118090 w 9922465"/>
              <a:gd name="connsiteY408" fmla="*/ 1762373 h 1934496"/>
              <a:gd name="connsiteX409" fmla="*/ 2173282 w 9922465"/>
              <a:gd name="connsiteY409" fmla="*/ 1707182 h 1934496"/>
              <a:gd name="connsiteX410" fmla="*/ 2039648 w 9922465"/>
              <a:gd name="connsiteY410" fmla="*/ 1707182 h 1934496"/>
              <a:gd name="connsiteX411" fmla="*/ 2094840 w 9922465"/>
              <a:gd name="connsiteY411" fmla="*/ 1762373 h 1934496"/>
              <a:gd name="connsiteX412" fmla="*/ 2039648 w 9922465"/>
              <a:gd name="connsiteY412" fmla="*/ 1817564 h 1934496"/>
              <a:gd name="connsiteX413" fmla="*/ 1984455 w 9922465"/>
              <a:gd name="connsiteY413" fmla="*/ 1762373 h 1934496"/>
              <a:gd name="connsiteX414" fmla="*/ 2039648 w 9922465"/>
              <a:gd name="connsiteY414" fmla="*/ 1707182 h 1934496"/>
              <a:gd name="connsiteX415" fmla="*/ 1909353 w 9922465"/>
              <a:gd name="connsiteY415" fmla="*/ 1707182 h 1934496"/>
              <a:gd name="connsiteX416" fmla="*/ 1964545 w 9922465"/>
              <a:gd name="connsiteY416" fmla="*/ 1762373 h 1934496"/>
              <a:gd name="connsiteX417" fmla="*/ 1909353 w 9922465"/>
              <a:gd name="connsiteY417" fmla="*/ 1817564 h 1934496"/>
              <a:gd name="connsiteX418" fmla="*/ 1854161 w 9922465"/>
              <a:gd name="connsiteY418" fmla="*/ 1762373 h 1934496"/>
              <a:gd name="connsiteX419" fmla="*/ 1909353 w 9922465"/>
              <a:gd name="connsiteY419" fmla="*/ 1707182 h 1934496"/>
              <a:gd name="connsiteX420" fmla="*/ 1779058 w 9922465"/>
              <a:gd name="connsiteY420" fmla="*/ 1707182 h 1934496"/>
              <a:gd name="connsiteX421" fmla="*/ 1834251 w 9922465"/>
              <a:gd name="connsiteY421" fmla="*/ 1762373 h 1934496"/>
              <a:gd name="connsiteX422" fmla="*/ 1779058 w 9922465"/>
              <a:gd name="connsiteY422" fmla="*/ 1817564 h 1934496"/>
              <a:gd name="connsiteX423" fmla="*/ 1723867 w 9922465"/>
              <a:gd name="connsiteY423" fmla="*/ 1762373 h 1934496"/>
              <a:gd name="connsiteX424" fmla="*/ 1779058 w 9922465"/>
              <a:gd name="connsiteY424" fmla="*/ 1707182 h 1934496"/>
              <a:gd name="connsiteX425" fmla="*/ 1645422 w 9922465"/>
              <a:gd name="connsiteY425" fmla="*/ 1707182 h 1934496"/>
              <a:gd name="connsiteX426" fmla="*/ 1700617 w 9922465"/>
              <a:gd name="connsiteY426" fmla="*/ 1762373 h 1934496"/>
              <a:gd name="connsiteX427" fmla="*/ 1645422 w 9922465"/>
              <a:gd name="connsiteY427" fmla="*/ 1817564 h 1934496"/>
              <a:gd name="connsiteX428" fmla="*/ 1590230 w 9922465"/>
              <a:gd name="connsiteY428" fmla="*/ 1762373 h 1934496"/>
              <a:gd name="connsiteX429" fmla="*/ 1645422 w 9922465"/>
              <a:gd name="connsiteY429" fmla="*/ 1707182 h 1934496"/>
              <a:gd name="connsiteX430" fmla="*/ 1515130 w 9922465"/>
              <a:gd name="connsiteY430" fmla="*/ 1707182 h 1934496"/>
              <a:gd name="connsiteX431" fmla="*/ 1570322 w 9922465"/>
              <a:gd name="connsiteY431" fmla="*/ 1762373 h 1934496"/>
              <a:gd name="connsiteX432" fmla="*/ 1515130 w 9922465"/>
              <a:gd name="connsiteY432" fmla="*/ 1817564 h 1934496"/>
              <a:gd name="connsiteX433" fmla="*/ 1459938 w 9922465"/>
              <a:gd name="connsiteY433" fmla="*/ 1762373 h 1934496"/>
              <a:gd name="connsiteX434" fmla="*/ 1515130 w 9922465"/>
              <a:gd name="connsiteY434" fmla="*/ 1707182 h 1934496"/>
              <a:gd name="connsiteX435" fmla="*/ 1381494 w 9922465"/>
              <a:gd name="connsiteY435" fmla="*/ 1707182 h 1934496"/>
              <a:gd name="connsiteX436" fmla="*/ 1436688 w 9922465"/>
              <a:gd name="connsiteY436" fmla="*/ 1762373 h 1934496"/>
              <a:gd name="connsiteX437" fmla="*/ 1381494 w 9922465"/>
              <a:gd name="connsiteY437" fmla="*/ 1817564 h 1934496"/>
              <a:gd name="connsiteX438" fmla="*/ 1326303 w 9922465"/>
              <a:gd name="connsiteY438" fmla="*/ 1762373 h 1934496"/>
              <a:gd name="connsiteX439" fmla="*/ 1381494 w 9922465"/>
              <a:gd name="connsiteY439" fmla="*/ 1707182 h 1934496"/>
              <a:gd name="connsiteX440" fmla="*/ 1251201 w 9922465"/>
              <a:gd name="connsiteY440" fmla="*/ 1707182 h 1934496"/>
              <a:gd name="connsiteX441" fmla="*/ 1306393 w 9922465"/>
              <a:gd name="connsiteY441" fmla="*/ 1762373 h 1934496"/>
              <a:gd name="connsiteX442" fmla="*/ 1251201 w 9922465"/>
              <a:gd name="connsiteY442" fmla="*/ 1817564 h 1934496"/>
              <a:gd name="connsiteX443" fmla="*/ 1196010 w 9922465"/>
              <a:gd name="connsiteY443" fmla="*/ 1762373 h 1934496"/>
              <a:gd name="connsiteX444" fmla="*/ 1251201 w 9922465"/>
              <a:gd name="connsiteY444" fmla="*/ 1707182 h 1934496"/>
              <a:gd name="connsiteX445" fmla="*/ 1909361 w 9922465"/>
              <a:gd name="connsiteY445" fmla="*/ 1580232 h 1934496"/>
              <a:gd name="connsiteX446" fmla="*/ 1964554 w 9922465"/>
              <a:gd name="connsiteY446" fmla="*/ 1635423 h 1934496"/>
              <a:gd name="connsiteX447" fmla="*/ 1909361 w 9922465"/>
              <a:gd name="connsiteY447" fmla="*/ 1690614 h 1934496"/>
              <a:gd name="connsiteX448" fmla="*/ 1854168 w 9922465"/>
              <a:gd name="connsiteY448" fmla="*/ 1635423 h 1934496"/>
              <a:gd name="connsiteX449" fmla="*/ 1909361 w 9922465"/>
              <a:gd name="connsiteY449" fmla="*/ 1580232 h 1934496"/>
              <a:gd name="connsiteX450" fmla="*/ 1779065 w 9922465"/>
              <a:gd name="connsiteY450" fmla="*/ 1580232 h 1934496"/>
              <a:gd name="connsiteX451" fmla="*/ 1834257 w 9922465"/>
              <a:gd name="connsiteY451" fmla="*/ 1635423 h 1934496"/>
              <a:gd name="connsiteX452" fmla="*/ 1779065 w 9922465"/>
              <a:gd name="connsiteY452" fmla="*/ 1690614 h 1934496"/>
              <a:gd name="connsiteX453" fmla="*/ 1723872 w 9922465"/>
              <a:gd name="connsiteY453" fmla="*/ 1635423 h 1934496"/>
              <a:gd name="connsiteX454" fmla="*/ 1779065 w 9922465"/>
              <a:gd name="connsiteY454" fmla="*/ 1580232 h 1934496"/>
              <a:gd name="connsiteX455" fmla="*/ 1645431 w 9922465"/>
              <a:gd name="connsiteY455" fmla="*/ 1580232 h 1934496"/>
              <a:gd name="connsiteX456" fmla="*/ 1700623 w 9922465"/>
              <a:gd name="connsiteY456" fmla="*/ 1635423 h 1934496"/>
              <a:gd name="connsiteX457" fmla="*/ 1645431 w 9922465"/>
              <a:gd name="connsiteY457" fmla="*/ 1690614 h 1934496"/>
              <a:gd name="connsiteX458" fmla="*/ 1590238 w 9922465"/>
              <a:gd name="connsiteY458" fmla="*/ 1635423 h 1934496"/>
              <a:gd name="connsiteX459" fmla="*/ 1645431 w 9922465"/>
              <a:gd name="connsiteY459" fmla="*/ 1580232 h 1934496"/>
              <a:gd name="connsiteX460" fmla="*/ 1515140 w 9922465"/>
              <a:gd name="connsiteY460" fmla="*/ 1580232 h 1934496"/>
              <a:gd name="connsiteX461" fmla="*/ 1570329 w 9922465"/>
              <a:gd name="connsiteY461" fmla="*/ 1635423 h 1934496"/>
              <a:gd name="connsiteX462" fmla="*/ 1515140 w 9922465"/>
              <a:gd name="connsiteY462" fmla="*/ 1690614 h 1934496"/>
              <a:gd name="connsiteX463" fmla="*/ 1459945 w 9922465"/>
              <a:gd name="connsiteY463" fmla="*/ 1635423 h 1934496"/>
              <a:gd name="connsiteX464" fmla="*/ 1515140 w 9922465"/>
              <a:gd name="connsiteY464" fmla="*/ 1580232 h 1934496"/>
              <a:gd name="connsiteX465" fmla="*/ 1381504 w 9922465"/>
              <a:gd name="connsiteY465" fmla="*/ 1580232 h 1934496"/>
              <a:gd name="connsiteX466" fmla="*/ 1436697 w 9922465"/>
              <a:gd name="connsiteY466" fmla="*/ 1635423 h 1934496"/>
              <a:gd name="connsiteX467" fmla="*/ 1381504 w 9922465"/>
              <a:gd name="connsiteY467" fmla="*/ 1690614 h 1934496"/>
              <a:gd name="connsiteX468" fmla="*/ 1326312 w 9922465"/>
              <a:gd name="connsiteY468" fmla="*/ 1635423 h 1934496"/>
              <a:gd name="connsiteX469" fmla="*/ 1381504 w 9922465"/>
              <a:gd name="connsiteY469" fmla="*/ 1580232 h 1934496"/>
              <a:gd name="connsiteX470" fmla="*/ 1251210 w 9922465"/>
              <a:gd name="connsiteY470" fmla="*/ 1580232 h 1934496"/>
              <a:gd name="connsiteX471" fmla="*/ 1306401 w 9922465"/>
              <a:gd name="connsiteY471" fmla="*/ 1635423 h 1934496"/>
              <a:gd name="connsiteX472" fmla="*/ 1251210 w 9922465"/>
              <a:gd name="connsiteY472" fmla="*/ 1690614 h 1934496"/>
              <a:gd name="connsiteX473" fmla="*/ 1196016 w 9922465"/>
              <a:gd name="connsiteY473" fmla="*/ 1635423 h 1934496"/>
              <a:gd name="connsiteX474" fmla="*/ 1251210 w 9922465"/>
              <a:gd name="connsiteY474" fmla="*/ 1580232 h 1934496"/>
              <a:gd name="connsiteX475" fmla="*/ 9068806 w 9922465"/>
              <a:gd name="connsiteY475" fmla="*/ 1580228 h 1934496"/>
              <a:gd name="connsiteX476" fmla="*/ 9123998 w 9922465"/>
              <a:gd name="connsiteY476" fmla="*/ 1635419 h 1934496"/>
              <a:gd name="connsiteX477" fmla="*/ 9068806 w 9922465"/>
              <a:gd name="connsiteY477" fmla="*/ 1690610 h 1934496"/>
              <a:gd name="connsiteX478" fmla="*/ 9013614 w 9922465"/>
              <a:gd name="connsiteY478" fmla="*/ 1635419 h 1934496"/>
              <a:gd name="connsiteX479" fmla="*/ 9068806 w 9922465"/>
              <a:gd name="connsiteY479" fmla="*/ 1580228 h 1934496"/>
              <a:gd name="connsiteX480" fmla="*/ 8671243 w 9922465"/>
              <a:gd name="connsiteY480" fmla="*/ 1580228 h 1934496"/>
              <a:gd name="connsiteX481" fmla="*/ 8726435 w 9922465"/>
              <a:gd name="connsiteY481" fmla="*/ 1635419 h 1934496"/>
              <a:gd name="connsiteX482" fmla="*/ 8671243 w 9922465"/>
              <a:gd name="connsiteY482" fmla="*/ 1690610 h 1934496"/>
              <a:gd name="connsiteX483" fmla="*/ 8616051 w 9922465"/>
              <a:gd name="connsiteY483" fmla="*/ 1635419 h 1934496"/>
              <a:gd name="connsiteX484" fmla="*/ 8671243 w 9922465"/>
              <a:gd name="connsiteY484" fmla="*/ 1580228 h 1934496"/>
              <a:gd name="connsiteX485" fmla="*/ 8537609 w 9922465"/>
              <a:gd name="connsiteY485" fmla="*/ 1580228 h 1934496"/>
              <a:gd name="connsiteX486" fmla="*/ 8592801 w 9922465"/>
              <a:gd name="connsiteY486" fmla="*/ 1635419 h 1934496"/>
              <a:gd name="connsiteX487" fmla="*/ 8537609 w 9922465"/>
              <a:gd name="connsiteY487" fmla="*/ 1690610 h 1934496"/>
              <a:gd name="connsiteX488" fmla="*/ 8482417 w 9922465"/>
              <a:gd name="connsiteY488" fmla="*/ 1635419 h 1934496"/>
              <a:gd name="connsiteX489" fmla="*/ 8537609 w 9922465"/>
              <a:gd name="connsiteY489" fmla="*/ 1580228 h 1934496"/>
              <a:gd name="connsiteX490" fmla="*/ 8407318 w 9922465"/>
              <a:gd name="connsiteY490" fmla="*/ 1580228 h 1934496"/>
              <a:gd name="connsiteX491" fmla="*/ 8462510 w 9922465"/>
              <a:gd name="connsiteY491" fmla="*/ 1635419 h 1934496"/>
              <a:gd name="connsiteX492" fmla="*/ 8407318 w 9922465"/>
              <a:gd name="connsiteY492" fmla="*/ 1690610 h 1934496"/>
              <a:gd name="connsiteX493" fmla="*/ 8352126 w 9922465"/>
              <a:gd name="connsiteY493" fmla="*/ 1635419 h 1934496"/>
              <a:gd name="connsiteX494" fmla="*/ 8407318 w 9922465"/>
              <a:gd name="connsiteY494" fmla="*/ 1580228 h 1934496"/>
              <a:gd name="connsiteX495" fmla="*/ 8273682 w 9922465"/>
              <a:gd name="connsiteY495" fmla="*/ 1580228 h 1934496"/>
              <a:gd name="connsiteX496" fmla="*/ 8328874 w 9922465"/>
              <a:gd name="connsiteY496" fmla="*/ 1635419 h 1934496"/>
              <a:gd name="connsiteX497" fmla="*/ 8273682 w 9922465"/>
              <a:gd name="connsiteY497" fmla="*/ 1690610 h 1934496"/>
              <a:gd name="connsiteX498" fmla="*/ 8218490 w 9922465"/>
              <a:gd name="connsiteY498" fmla="*/ 1635419 h 1934496"/>
              <a:gd name="connsiteX499" fmla="*/ 8273682 w 9922465"/>
              <a:gd name="connsiteY499" fmla="*/ 1580228 h 1934496"/>
              <a:gd name="connsiteX500" fmla="*/ 8143386 w 9922465"/>
              <a:gd name="connsiteY500" fmla="*/ 1580228 h 1934496"/>
              <a:gd name="connsiteX501" fmla="*/ 8198578 w 9922465"/>
              <a:gd name="connsiteY501" fmla="*/ 1635419 h 1934496"/>
              <a:gd name="connsiteX502" fmla="*/ 8143386 w 9922465"/>
              <a:gd name="connsiteY502" fmla="*/ 1690610 h 1934496"/>
              <a:gd name="connsiteX503" fmla="*/ 8088194 w 9922465"/>
              <a:gd name="connsiteY503" fmla="*/ 1635419 h 1934496"/>
              <a:gd name="connsiteX504" fmla="*/ 8143386 w 9922465"/>
              <a:gd name="connsiteY504" fmla="*/ 1580228 h 1934496"/>
              <a:gd name="connsiteX505" fmla="*/ 8009752 w 9922465"/>
              <a:gd name="connsiteY505" fmla="*/ 1580228 h 1934496"/>
              <a:gd name="connsiteX506" fmla="*/ 8064944 w 9922465"/>
              <a:gd name="connsiteY506" fmla="*/ 1635419 h 1934496"/>
              <a:gd name="connsiteX507" fmla="*/ 8009752 w 9922465"/>
              <a:gd name="connsiteY507" fmla="*/ 1690610 h 1934496"/>
              <a:gd name="connsiteX508" fmla="*/ 7954560 w 9922465"/>
              <a:gd name="connsiteY508" fmla="*/ 1635419 h 1934496"/>
              <a:gd name="connsiteX509" fmla="*/ 8009752 w 9922465"/>
              <a:gd name="connsiteY509" fmla="*/ 1580228 h 1934496"/>
              <a:gd name="connsiteX510" fmla="*/ 7876117 w 9922465"/>
              <a:gd name="connsiteY510" fmla="*/ 1580228 h 1934496"/>
              <a:gd name="connsiteX511" fmla="*/ 7931309 w 9922465"/>
              <a:gd name="connsiteY511" fmla="*/ 1635419 h 1934496"/>
              <a:gd name="connsiteX512" fmla="*/ 7876117 w 9922465"/>
              <a:gd name="connsiteY512" fmla="*/ 1690610 h 1934496"/>
              <a:gd name="connsiteX513" fmla="*/ 7820925 w 9922465"/>
              <a:gd name="connsiteY513" fmla="*/ 1635419 h 1934496"/>
              <a:gd name="connsiteX514" fmla="*/ 7876117 w 9922465"/>
              <a:gd name="connsiteY514" fmla="*/ 1580228 h 1934496"/>
              <a:gd name="connsiteX515" fmla="*/ 7745824 w 9922465"/>
              <a:gd name="connsiteY515" fmla="*/ 1580228 h 1934496"/>
              <a:gd name="connsiteX516" fmla="*/ 7801016 w 9922465"/>
              <a:gd name="connsiteY516" fmla="*/ 1635419 h 1934496"/>
              <a:gd name="connsiteX517" fmla="*/ 7745824 w 9922465"/>
              <a:gd name="connsiteY517" fmla="*/ 1690610 h 1934496"/>
              <a:gd name="connsiteX518" fmla="*/ 7690632 w 9922465"/>
              <a:gd name="connsiteY518" fmla="*/ 1635419 h 1934496"/>
              <a:gd name="connsiteX519" fmla="*/ 7745824 w 9922465"/>
              <a:gd name="connsiteY519" fmla="*/ 1580228 h 1934496"/>
              <a:gd name="connsiteX520" fmla="*/ 7608849 w 9922465"/>
              <a:gd name="connsiteY520" fmla="*/ 1580228 h 1934496"/>
              <a:gd name="connsiteX521" fmla="*/ 7664041 w 9922465"/>
              <a:gd name="connsiteY521" fmla="*/ 1635419 h 1934496"/>
              <a:gd name="connsiteX522" fmla="*/ 7608849 w 9922465"/>
              <a:gd name="connsiteY522" fmla="*/ 1690610 h 1934496"/>
              <a:gd name="connsiteX523" fmla="*/ 7553657 w 9922465"/>
              <a:gd name="connsiteY523" fmla="*/ 1635419 h 1934496"/>
              <a:gd name="connsiteX524" fmla="*/ 7608849 w 9922465"/>
              <a:gd name="connsiteY524" fmla="*/ 1580228 h 1934496"/>
              <a:gd name="connsiteX525" fmla="*/ 7481895 w 9922465"/>
              <a:gd name="connsiteY525" fmla="*/ 1580228 h 1934496"/>
              <a:gd name="connsiteX526" fmla="*/ 7537087 w 9922465"/>
              <a:gd name="connsiteY526" fmla="*/ 1635419 h 1934496"/>
              <a:gd name="connsiteX527" fmla="*/ 7481895 w 9922465"/>
              <a:gd name="connsiteY527" fmla="*/ 1690610 h 1934496"/>
              <a:gd name="connsiteX528" fmla="*/ 7426703 w 9922465"/>
              <a:gd name="connsiteY528" fmla="*/ 1635419 h 1934496"/>
              <a:gd name="connsiteX529" fmla="*/ 7481895 w 9922465"/>
              <a:gd name="connsiteY529" fmla="*/ 1580228 h 1934496"/>
              <a:gd name="connsiteX530" fmla="*/ 7341579 w 9922465"/>
              <a:gd name="connsiteY530" fmla="*/ 1580228 h 1934496"/>
              <a:gd name="connsiteX531" fmla="*/ 7396771 w 9922465"/>
              <a:gd name="connsiteY531" fmla="*/ 1635419 h 1934496"/>
              <a:gd name="connsiteX532" fmla="*/ 7341579 w 9922465"/>
              <a:gd name="connsiteY532" fmla="*/ 1690610 h 1934496"/>
              <a:gd name="connsiteX533" fmla="*/ 7286387 w 9922465"/>
              <a:gd name="connsiteY533" fmla="*/ 1635419 h 1934496"/>
              <a:gd name="connsiteX534" fmla="*/ 7341579 w 9922465"/>
              <a:gd name="connsiteY534" fmla="*/ 1580228 h 1934496"/>
              <a:gd name="connsiteX535" fmla="*/ 7211286 w 9922465"/>
              <a:gd name="connsiteY535" fmla="*/ 1580228 h 1934496"/>
              <a:gd name="connsiteX536" fmla="*/ 7266478 w 9922465"/>
              <a:gd name="connsiteY536" fmla="*/ 1635419 h 1934496"/>
              <a:gd name="connsiteX537" fmla="*/ 7211286 w 9922465"/>
              <a:gd name="connsiteY537" fmla="*/ 1690610 h 1934496"/>
              <a:gd name="connsiteX538" fmla="*/ 7156094 w 9922465"/>
              <a:gd name="connsiteY538" fmla="*/ 1635419 h 1934496"/>
              <a:gd name="connsiteX539" fmla="*/ 7211286 w 9922465"/>
              <a:gd name="connsiteY539" fmla="*/ 1580228 h 1934496"/>
              <a:gd name="connsiteX540" fmla="*/ 7080993 w 9922465"/>
              <a:gd name="connsiteY540" fmla="*/ 1580228 h 1934496"/>
              <a:gd name="connsiteX541" fmla="*/ 7136185 w 9922465"/>
              <a:gd name="connsiteY541" fmla="*/ 1635419 h 1934496"/>
              <a:gd name="connsiteX542" fmla="*/ 7080993 w 9922465"/>
              <a:gd name="connsiteY542" fmla="*/ 1690610 h 1934496"/>
              <a:gd name="connsiteX543" fmla="*/ 7025801 w 9922465"/>
              <a:gd name="connsiteY543" fmla="*/ 1635419 h 1934496"/>
              <a:gd name="connsiteX544" fmla="*/ 7080993 w 9922465"/>
              <a:gd name="connsiteY544" fmla="*/ 1580228 h 1934496"/>
              <a:gd name="connsiteX545" fmla="*/ 6947357 w 9922465"/>
              <a:gd name="connsiteY545" fmla="*/ 1580228 h 1934496"/>
              <a:gd name="connsiteX546" fmla="*/ 7002549 w 9922465"/>
              <a:gd name="connsiteY546" fmla="*/ 1635419 h 1934496"/>
              <a:gd name="connsiteX547" fmla="*/ 6947357 w 9922465"/>
              <a:gd name="connsiteY547" fmla="*/ 1690610 h 1934496"/>
              <a:gd name="connsiteX548" fmla="*/ 6892165 w 9922465"/>
              <a:gd name="connsiteY548" fmla="*/ 1635419 h 1934496"/>
              <a:gd name="connsiteX549" fmla="*/ 6947357 w 9922465"/>
              <a:gd name="connsiteY549" fmla="*/ 1580228 h 1934496"/>
              <a:gd name="connsiteX550" fmla="*/ 6817063 w 9922465"/>
              <a:gd name="connsiteY550" fmla="*/ 1580228 h 1934496"/>
              <a:gd name="connsiteX551" fmla="*/ 6872255 w 9922465"/>
              <a:gd name="connsiteY551" fmla="*/ 1635419 h 1934496"/>
              <a:gd name="connsiteX552" fmla="*/ 6817063 w 9922465"/>
              <a:gd name="connsiteY552" fmla="*/ 1690610 h 1934496"/>
              <a:gd name="connsiteX553" fmla="*/ 6761871 w 9922465"/>
              <a:gd name="connsiteY553" fmla="*/ 1635419 h 1934496"/>
              <a:gd name="connsiteX554" fmla="*/ 6817063 w 9922465"/>
              <a:gd name="connsiteY554" fmla="*/ 1580228 h 1934496"/>
              <a:gd name="connsiteX555" fmla="*/ 6683431 w 9922465"/>
              <a:gd name="connsiteY555" fmla="*/ 1580228 h 1934496"/>
              <a:gd name="connsiteX556" fmla="*/ 6738623 w 9922465"/>
              <a:gd name="connsiteY556" fmla="*/ 1635419 h 1934496"/>
              <a:gd name="connsiteX557" fmla="*/ 6683431 w 9922465"/>
              <a:gd name="connsiteY557" fmla="*/ 1690610 h 1934496"/>
              <a:gd name="connsiteX558" fmla="*/ 6628239 w 9922465"/>
              <a:gd name="connsiteY558" fmla="*/ 1635419 h 1934496"/>
              <a:gd name="connsiteX559" fmla="*/ 6683431 w 9922465"/>
              <a:gd name="connsiteY559" fmla="*/ 1580228 h 1934496"/>
              <a:gd name="connsiteX560" fmla="*/ 6553137 w 9922465"/>
              <a:gd name="connsiteY560" fmla="*/ 1580228 h 1934496"/>
              <a:gd name="connsiteX561" fmla="*/ 6608329 w 9922465"/>
              <a:gd name="connsiteY561" fmla="*/ 1635419 h 1934496"/>
              <a:gd name="connsiteX562" fmla="*/ 6553137 w 9922465"/>
              <a:gd name="connsiteY562" fmla="*/ 1690610 h 1934496"/>
              <a:gd name="connsiteX563" fmla="*/ 6497945 w 9922465"/>
              <a:gd name="connsiteY563" fmla="*/ 1635419 h 1934496"/>
              <a:gd name="connsiteX564" fmla="*/ 6553137 w 9922465"/>
              <a:gd name="connsiteY564" fmla="*/ 1580228 h 1934496"/>
              <a:gd name="connsiteX565" fmla="*/ 6419502 w 9922465"/>
              <a:gd name="connsiteY565" fmla="*/ 1580228 h 1934496"/>
              <a:gd name="connsiteX566" fmla="*/ 6474694 w 9922465"/>
              <a:gd name="connsiteY566" fmla="*/ 1635419 h 1934496"/>
              <a:gd name="connsiteX567" fmla="*/ 6419502 w 9922465"/>
              <a:gd name="connsiteY567" fmla="*/ 1690610 h 1934496"/>
              <a:gd name="connsiteX568" fmla="*/ 6364310 w 9922465"/>
              <a:gd name="connsiteY568" fmla="*/ 1635419 h 1934496"/>
              <a:gd name="connsiteX569" fmla="*/ 6419502 w 9922465"/>
              <a:gd name="connsiteY569" fmla="*/ 1580228 h 1934496"/>
              <a:gd name="connsiteX570" fmla="*/ 6289208 w 9922465"/>
              <a:gd name="connsiteY570" fmla="*/ 1580228 h 1934496"/>
              <a:gd name="connsiteX571" fmla="*/ 6344400 w 9922465"/>
              <a:gd name="connsiteY571" fmla="*/ 1635419 h 1934496"/>
              <a:gd name="connsiteX572" fmla="*/ 6289208 w 9922465"/>
              <a:gd name="connsiteY572" fmla="*/ 1690610 h 1934496"/>
              <a:gd name="connsiteX573" fmla="*/ 6234016 w 9922465"/>
              <a:gd name="connsiteY573" fmla="*/ 1635419 h 1934496"/>
              <a:gd name="connsiteX574" fmla="*/ 6289208 w 9922465"/>
              <a:gd name="connsiteY574" fmla="*/ 1580228 h 1934496"/>
              <a:gd name="connsiteX575" fmla="*/ 6155572 w 9922465"/>
              <a:gd name="connsiteY575" fmla="*/ 1580228 h 1934496"/>
              <a:gd name="connsiteX576" fmla="*/ 6210764 w 9922465"/>
              <a:gd name="connsiteY576" fmla="*/ 1635419 h 1934496"/>
              <a:gd name="connsiteX577" fmla="*/ 6155572 w 9922465"/>
              <a:gd name="connsiteY577" fmla="*/ 1690610 h 1934496"/>
              <a:gd name="connsiteX578" fmla="*/ 6100380 w 9922465"/>
              <a:gd name="connsiteY578" fmla="*/ 1635419 h 1934496"/>
              <a:gd name="connsiteX579" fmla="*/ 6155572 w 9922465"/>
              <a:gd name="connsiteY579" fmla="*/ 1580228 h 1934496"/>
              <a:gd name="connsiteX580" fmla="*/ 6021938 w 9922465"/>
              <a:gd name="connsiteY580" fmla="*/ 1580228 h 1934496"/>
              <a:gd name="connsiteX581" fmla="*/ 6077130 w 9922465"/>
              <a:gd name="connsiteY581" fmla="*/ 1635419 h 1934496"/>
              <a:gd name="connsiteX582" fmla="*/ 6021938 w 9922465"/>
              <a:gd name="connsiteY582" fmla="*/ 1690610 h 1934496"/>
              <a:gd name="connsiteX583" fmla="*/ 5966746 w 9922465"/>
              <a:gd name="connsiteY583" fmla="*/ 1635419 h 1934496"/>
              <a:gd name="connsiteX584" fmla="*/ 6021938 w 9922465"/>
              <a:gd name="connsiteY584" fmla="*/ 1580228 h 1934496"/>
              <a:gd name="connsiteX585" fmla="*/ 5884964 w 9922465"/>
              <a:gd name="connsiteY585" fmla="*/ 1580228 h 1934496"/>
              <a:gd name="connsiteX586" fmla="*/ 5940156 w 9922465"/>
              <a:gd name="connsiteY586" fmla="*/ 1635419 h 1934496"/>
              <a:gd name="connsiteX587" fmla="*/ 5884964 w 9922465"/>
              <a:gd name="connsiteY587" fmla="*/ 1690610 h 1934496"/>
              <a:gd name="connsiteX588" fmla="*/ 5829772 w 9922465"/>
              <a:gd name="connsiteY588" fmla="*/ 1635419 h 1934496"/>
              <a:gd name="connsiteX589" fmla="*/ 5884964 w 9922465"/>
              <a:gd name="connsiteY589" fmla="*/ 1580228 h 1934496"/>
              <a:gd name="connsiteX590" fmla="*/ 5754670 w 9922465"/>
              <a:gd name="connsiteY590" fmla="*/ 1580228 h 1934496"/>
              <a:gd name="connsiteX591" fmla="*/ 5809862 w 9922465"/>
              <a:gd name="connsiteY591" fmla="*/ 1635419 h 1934496"/>
              <a:gd name="connsiteX592" fmla="*/ 5754670 w 9922465"/>
              <a:gd name="connsiteY592" fmla="*/ 1690610 h 1934496"/>
              <a:gd name="connsiteX593" fmla="*/ 5699478 w 9922465"/>
              <a:gd name="connsiteY593" fmla="*/ 1635419 h 1934496"/>
              <a:gd name="connsiteX594" fmla="*/ 5754670 w 9922465"/>
              <a:gd name="connsiteY594" fmla="*/ 1580228 h 1934496"/>
              <a:gd name="connsiteX595" fmla="*/ 5621035 w 9922465"/>
              <a:gd name="connsiteY595" fmla="*/ 1580228 h 1934496"/>
              <a:gd name="connsiteX596" fmla="*/ 5676227 w 9922465"/>
              <a:gd name="connsiteY596" fmla="*/ 1635419 h 1934496"/>
              <a:gd name="connsiteX597" fmla="*/ 5621035 w 9922465"/>
              <a:gd name="connsiteY597" fmla="*/ 1690610 h 1934496"/>
              <a:gd name="connsiteX598" fmla="*/ 5565843 w 9922465"/>
              <a:gd name="connsiteY598" fmla="*/ 1635419 h 1934496"/>
              <a:gd name="connsiteX599" fmla="*/ 5621035 w 9922465"/>
              <a:gd name="connsiteY599" fmla="*/ 1580228 h 1934496"/>
              <a:gd name="connsiteX600" fmla="*/ 5357105 w 9922465"/>
              <a:gd name="connsiteY600" fmla="*/ 1580228 h 1934496"/>
              <a:gd name="connsiteX601" fmla="*/ 5412297 w 9922465"/>
              <a:gd name="connsiteY601" fmla="*/ 1635419 h 1934496"/>
              <a:gd name="connsiteX602" fmla="*/ 5357105 w 9922465"/>
              <a:gd name="connsiteY602" fmla="*/ 1690610 h 1934496"/>
              <a:gd name="connsiteX603" fmla="*/ 5301913 w 9922465"/>
              <a:gd name="connsiteY603" fmla="*/ 1635419 h 1934496"/>
              <a:gd name="connsiteX604" fmla="*/ 5357105 w 9922465"/>
              <a:gd name="connsiteY604" fmla="*/ 1580228 h 1934496"/>
              <a:gd name="connsiteX605" fmla="*/ 5223473 w 9922465"/>
              <a:gd name="connsiteY605" fmla="*/ 1580228 h 1934496"/>
              <a:gd name="connsiteX606" fmla="*/ 5278665 w 9922465"/>
              <a:gd name="connsiteY606" fmla="*/ 1635419 h 1934496"/>
              <a:gd name="connsiteX607" fmla="*/ 5223473 w 9922465"/>
              <a:gd name="connsiteY607" fmla="*/ 1690610 h 1934496"/>
              <a:gd name="connsiteX608" fmla="*/ 5168281 w 9922465"/>
              <a:gd name="connsiteY608" fmla="*/ 1635419 h 1934496"/>
              <a:gd name="connsiteX609" fmla="*/ 5223473 w 9922465"/>
              <a:gd name="connsiteY609" fmla="*/ 1580228 h 1934496"/>
              <a:gd name="connsiteX610" fmla="*/ 5093178 w 9922465"/>
              <a:gd name="connsiteY610" fmla="*/ 1580228 h 1934496"/>
              <a:gd name="connsiteX611" fmla="*/ 5148370 w 9922465"/>
              <a:gd name="connsiteY611" fmla="*/ 1635419 h 1934496"/>
              <a:gd name="connsiteX612" fmla="*/ 5093178 w 9922465"/>
              <a:gd name="connsiteY612" fmla="*/ 1690610 h 1934496"/>
              <a:gd name="connsiteX613" fmla="*/ 5037986 w 9922465"/>
              <a:gd name="connsiteY613" fmla="*/ 1635419 h 1934496"/>
              <a:gd name="connsiteX614" fmla="*/ 5093178 w 9922465"/>
              <a:gd name="connsiteY614" fmla="*/ 1580228 h 1934496"/>
              <a:gd name="connsiteX615" fmla="*/ 4959543 w 9922465"/>
              <a:gd name="connsiteY615" fmla="*/ 1580228 h 1934496"/>
              <a:gd name="connsiteX616" fmla="*/ 5014735 w 9922465"/>
              <a:gd name="connsiteY616" fmla="*/ 1635419 h 1934496"/>
              <a:gd name="connsiteX617" fmla="*/ 4959543 w 9922465"/>
              <a:gd name="connsiteY617" fmla="*/ 1690610 h 1934496"/>
              <a:gd name="connsiteX618" fmla="*/ 4904351 w 9922465"/>
              <a:gd name="connsiteY618" fmla="*/ 1635419 h 1934496"/>
              <a:gd name="connsiteX619" fmla="*/ 4959543 w 9922465"/>
              <a:gd name="connsiteY619" fmla="*/ 1580228 h 1934496"/>
              <a:gd name="connsiteX620" fmla="*/ 4829251 w 9922465"/>
              <a:gd name="connsiteY620" fmla="*/ 1580228 h 1934496"/>
              <a:gd name="connsiteX621" fmla="*/ 4884443 w 9922465"/>
              <a:gd name="connsiteY621" fmla="*/ 1635419 h 1934496"/>
              <a:gd name="connsiteX622" fmla="*/ 4829251 w 9922465"/>
              <a:gd name="connsiteY622" fmla="*/ 1690610 h 1934496"/>
              <a:gd name="connsiteX623" fmla="*/ 4774059 w 9922465"/>
              <a:gd name="connsiteY623" fmla="*/ 1635419 h 1934496"/>
              <a:gd name="connsiteX624" fmla="*/ 4829251 w 9922465"/>
              <a:gd name="connsiteY624" fmla="*/ 1580228 h 1934496"/>
              <a:gd name="connsiteX625" fmla="*/ 4695613 w 9922465"/>
              <a:gd name="connsiteY625" fmla="*/ 1580228 h 1934496"/>
              <a:gd name="connsiteX626" fmla="*/ 4750805 w 9922465"/>
              <a:gd name="connsiteY626" fmla="*/ 1635419 h 1934496"/>
              <a:gd name="connsiteX627" fmla="*/ 4695613 w 9922465"/>
              <a:gd name="connsiteY627" fmla="*/ 1690610 h 1934496"/>
              <a:gd name="connsiteX628" fmla="*/ 4640421 w 9922465"/>
              <a:gd name="connsiteY628" fmla="*/ 1635419 h 1934496"/>
              <a:gd name="connsiteX629" fmla="*/ 4695613 w 9922465"/>
              <a:gd name="connsiteY629" fmla="*/ 1580228 h 1934496"/>
              <a:gd name="connsiteX630" fmla="*/ 4565322 w 9922465"/>
              <a:gd name="connsiteY630" fmla="*/ 1580228 h 1934496"/>
              <a:gd name="connsiteX631" fmla="*/ 4620514 w 9922465"/>
              <a:gd name="connsiteY631" fmla="*/ 1635419 h 1934496"/>
              <a:gd name="connsiteX632" fmla="*/ 4565322 w 9922465"/>
              <a:gd name="connsiteY632" fmla="*/ 1690610 h 1934496"/>
              <a:gd name="connsiteX633" fmla="*/ 4510130 w 9922465"/>
              <a:gd name="connsiteY633" fmla="*/ 1635419 h 1934496"/>
              <a:gd name="connsiteX634" fmla="*/ 4565322 w 9922465"/>
              <a:gd name="connsiteY634" fmla="*/ 1580228 h 1934496"/>
              <a:gd name="connsiteX635" fmla="*/ 3098681 w 9922465"/>
              <a:gd name="connsiteY635" fmla="*/ 1580228 h 1934496"/>
              <a:gd name="connsiteX636" fmla="*/ 3153873 w 9922465"/>
              <a:gd name="connsiteY636" fmla="*/ 1635419 h 1934496"/>
              <a:gd name="connsiteX637" fmla="*/ 3098681 w 9922465"/>
              <a:gd name="connsiteY637" fmla="*/ 1690610 h 1934496"/>
              <a:gd name="connsiteX638" fmla="*/ 3043489 w 9922465"/>
              <a:gd name="connsiteY638" fmla="*/ 1635419 h 1934496"/>
              <a:gd name="connsiteX639" fmla="*/ 3098681 w 9922465"/>
              <a:gd name="connsiteY639" fmla="*/ 1580228 h 1934496"/>
              <a:gd name="connsiteX640" fmla="*/ 2971729 w 9922465"/>
              <a:gd name="connsiteY640" fmla="*/ 1580228 h 1934496"/>
              <a:gd name="connsiteX641" fmla="*/ 3026921 w 9922465"/>
              <a:gd name="connsiteY641" fmla="*/ 1635419 h 1934496"/>
              <a:gd name="connsiteX642" fmla="*/ 2971729 w 9922465"/>
              <a:gd name="connsiteY642" fmla="*/ 1690610 h 1934496"/>
              <a:gd name="connsiteX643" fmla="*/ 2916537 w 9922465"/>
              <a:gd name="connsiteY643" fmla="*/ 1635419 h 1934496"/>
              <a:gd name="connsiteX644" fmla="*/ 2971729 w 9922465"/>
              <a:gd name="connsiteY644" fmla="*/ 1580228 h 1934496"/>
              <a:gd name="connsiteX645" fmla="*/ 2834783 w 9922465"/>
              <a:gd name="connsiteY645" fmla="*/ 1580228 h 1934496"/>
              <a:gd name="connsiteX646" fmla="*/ 2889974 w 9922465"/>
              <a:gd name="connsiteY646" fmla="*/ 1635419 h 1934496"/>
              <a:gd name="connsiteX647" fmla="*/ 2834783 w 9922465"/>
              <a:gd name="connsiteY647" fmla="*/ 1690610 h 1934496"/>
              <a:gd name="connsiteX648" fmla="*/ 2779590 w 9922465"/>
              <a:gd name="connsiteY648" fmla="*/ 1635419 h 1934496"/>
              <a:gd name="connsiteX649" fmla="*/ 2834783 w 9922465"/>
              <a:gd name="connsiteY649" fmla="*/ 1580228 h 1934496"/>
              <a:gd name="connsiteX650" fmla="*/ 2707828 w 9922465"/>
              <a:gd name="connsiteY650" fmla="*/ 1580228 h 1934496"/>
              <a:gd name="connsiteX651" fmla="*/ 2763021 w 9922465"/>
              <a:gd name="connsiteY651" fmla="*/ 1635419 h 1934496"/>
              <a:gd name="connsiteX652" fmla="*/ 2707828 w 9922465"/>
              <a:gd name="connsiteY652" fmla="*/ 1690610 h 1934496"/>
              <a:gd name="connsiteX653" fmla="*/ 2652636 w 9922465"/>
              <a:gd name="connsiteY653" fmla="*/ 1635419 h 1934496"/>
              <a:gd name="connsiteX654" fmla="*/ 2707828 w 9922465"/>
              <a:gd name="connsiteY654" fmla="*/ 1580228 h 1934496"/>
              <a:gd name="connsiteX655" fmla="*/ 2570854 w 9922465"/>
              <a:gd name="connsiteY655" fmla="*/ 1580228 h 1934496"/>
              <a:gd name="connsiteX656" fmla="*/ 2626046 w 9922465"/>
              <a:gd name="connsiteY656" fmla="*/ 1635419 h 1934496"/>
              <a:gd name="connsiteX657" fmla="*/ 2570854 w 9922465"/>
              <a:gd name="connsiteY657" fmla="*/ 1690610 h 1934496"/>
              <a:gd name="connsiteX658" fmla="*/ 2515662 w 9922465"/>
              <a:gd name="connsiteY658" fmla="*/ 1635419 h 1934496"/>
              <a:gd name="connsiteX659" fmla="*/ 2570854 w 9922465"/>
              <a:gd name="connsiteY659" fmla="*/ 1580228 h 1934496"/>
              <a:gd name="connsiteX660" fmla="*/ 2437218 w 9922465"/>
              <a:gd name="connsiteY660" fmla="*/ 1580228 h 1934496"/>
              <a:gd name="connsiteX661" fmla="*/ 2492409 w 9922465"/>
              <a:gd name="connsiteY661" fmla="*/ 1635419 h 1934496"/>
              <a:gd name="connsiteX662" fmla="*/ 2437218 w 9922465"/>
              <a:gd name="connsiteY662" fmla="*/ 1690610 h 1934496"/>
              <a:gd name="connsiteX663" fmla="*/ 2382026 w 9922465"/>
              <a:gd name="connsiteY663" fmla="*/ 1635419 h 1934496"/>
              <a:gd name="connsiteX664" fmla="*/ 2437218 w 9922465"/>
              <a:gd name="connsiteY664" fmla="*/ 1580228 h 1934496"/>
              <a:gd name="connsiteX665" fmla="*/ 2303586 w 9922465"/>
              <a:gd name="connsiteY665" fmla="*/ 1580228 h 1934496"/>
              <a:gd name="connsiteX666" fmla="*/ 2358778 w 9922465"/>
              <a:gd name="connsiteY666" fmla="*/ 1635419 h 1934496"/>
              <a:gd name="connsiteX667" fmla="*/ 2303586 w 9922465"/>
              <a:gd name="connsiteY667" fmla="*/ 1690610 h 1934496"/>
              <a:gd name="connsiteX668" fmla="*/ 2248394 w 9922465"/>
              <a:gd name="connsiteY668" fmla="*/ 1635419 h 1934496"/>
              <a:gd name="connsiteX669" fmla="*/ 2303586 w 9922465"/>
              <a:gd name="connsiteY669" fmla="*/ 1580228 h 1934496"/>
              <a:gd name="connsiteX670" fmla="*/ 2173293 w 9922465"/>
              <a:gd name="connsiteY670" fmla="*/ 1580228 h 1934496"/>
              <a:gd name="connsiteX671" fmla="*/ 2228486 w 9922465"/>
              <a:gd name="connsiteY671" fmla="*/ 1635419 h 1934496"/>
              <a:gd name="connsiteX672" fmla="*/ 2173293 w 9922465"/>
              <a:gd name="connsiteY672" fmla="*/ 1690610 h 1934496"/>
              <a:gd name="connsiteX673" fmla="*/ 2118101 w 9922465"/>
              <a:gd name="connsiteY673" fmla="*/ 1635419 h 1934496"/>
              <a:gd name="connsiteX674" fmla="*/ 2173293 w 9922465"/>
              <a:gd name="connsiteY674" fmla="*/ 1580228 h 1934496"/>
              <a:gd name="connsiteX675" fmla="*/ 2039658 w 9922465"/>
              <a:gd name="connsiteY675" fmla="*/ 1580228 h 1934496"/>
              <a:gd name="connsiteX676" fmla="*/ 2094851 w 9922465"/>
              <a:gd name="connsiteY676" fmla="*/ 1635419 h 1934496"/>
              <a:gd name="connsiteX677" fmla="*/ 2039658 w 9922465"/>
              <a:gd name="connsiteY677" fmla="*/ 1690610 h 1934496"/>
              <a:gd name="connsiteX678" fmla="*/ 1984465 w 9922465"/>
              <a:gd name="connsiteY678" fmla="*/ 1635419 h 1934496"/>
              <a:gd name="connsiteX679" fmla="*/ 2039658 w 9922465"/>
              <a:gd name="connsiteY679" fmla="*/ 1580228 h 1934496"/>
              <a:gd name="connsiteX680" fmla="*/ 9068807 w 9922465"/>
              <a:gd name="connsiteY680" fmla="*/ 1459958 h 1934496"/>
              <a:gd name="connsiteX681" fmla="*/ 9123999 w 9922465"/>
              <a:gd name="connsiteY681" fmla="*/ 1515149 h 1934496"/>
              <a:gd name="connsiteX682" fmla="*/ 9068807 w 9922465"/>
              <a:gd name="connsiteY682" fmla="*/ 1570340 h 1934496"/>
              <a:gd name="connsiteX683" fmla="*/ 9013615 w 9922465"/>
              <a:gd name="connsiteY683" fmla="*/ 1515149 h 1934496"/>
              <a:gd name="connsiteX684" fmla="*/ 9068807 w 9922465"/>
              <a:gd name="connsiteY684" fmla="*/ 1459958 h 1934496"/>
              <a:gd name="connsiteX685" fmla="*/ 8671244 w 9922465"/>
              <a:gd name="connsiteY685" fmla="*/ 1459958 h 1934496"/>
              <a:gd name="connsiteX686" fmla="*/ 8726436 w 9922465"/>
              <a:gd name="connsiteY686" fmla="*/ 1515149 h 1934496"/>
              <a:gd name="connsiteX687" fmla="*/ 8671244 w 9922465"/>
              <a:gd name="connsiteY687" fmla="*/ 1570340 h 1934496"/>
              <a:gd name="connsiteX688" fmla="*/ 8616052 w 9922465"/>
              <a:gd name="connsiteY688" fmla="*/ 1515149 h 1934496"/>
              <a:gd name="connsiteX689" fmla="*/ 8671244 w 9922465"/>
              <a:gd name="connsiteY689" fmla="*/ 1459958 h 1934496"/>
              <a:gd name="connsiteX690" fmla="*/ 8537612 w 9922465"/>
              <a:gd name="connsiteY690" fmla="*/ 1459958 h 1934496"/>
              <a:gd name="connsiteX691" fmla="*/ 8592804 w 9922465"/>
              <a:gd name="connsiteY691" fmla="*/ 1515149 h 1934496"/>
              <a:gd name="connsiteX692" fmla="*/ 8537612 w 9922465"/>
              <a:gd name="connsiteY692" fmla="*/ 1570340 h 1934496"/>
              <a:gd name="connsiteX693" fmla="*/ 8482420 w 9922465"/>
              <a:gd name="connsiteY693" fmla="*/ 1515149 h 1934496"/>
              <a:gd name="connsiteX694" fmla="*/ 8537612 w 9922465"/>
              <a:gd name="connsiteY694" fmla="*/ 1459958 h 1934496"/>
              <a:gd name="connsiteX695" fmla="*/ 8407316 w 9922465"/>
              <a:gd name="connsiteY695" fmla="*/ 1459958 h 1934496"/>
              <a:gd name="connsiteX696" fmla="*/ 8462508 w 9922465"/>
              <a:gd name="connsiteY696" fmla="*/ 1515149 h 1934496"/>
              <a:gd name="connsiteX697" fmla="*/ 8407316 w 9922465"/>
              <a:gd name="connsiteY697" fmla="*/ 1570340 h 1934496"/>
              <a:gd name="connsiteX698" fmla="*/ 8352124 w 9922465"/>
              <a:gd name="connsiteY698" fmla="*/ 1515149 h 1934496"/>
              <a:gd name="connsiteX699" fmla="*/ 8407316 w 9922465"/>
              <a:gd name="connsiteY699" fmla="*/ 1459958 h 1934496"/>
              <a:gd name="connsiteX700" fmla="*/ 8273682 w 9922465"/>
              <a:gd name="connsiteY700" fmla="*/ 1459958 h 1934496"/>
              <a:gd name="connsiteX701" fmla="*/ 8328874 w 9922465"/>
              <a:gd name="connsiteY701" fmla="*/ 1515149 h 1934496"/>
              <a:gd name="connsiteX702" fmla="*/ 8273682 w 9922465"/>
              <a:gd name="connsiteY702" fmla="*/ 1570340 h 1934496"/>
              <a:gd name="connsiteX703" fmla="*/ 8218490 w 9922465"/>
              <a:gd name="connsiteY703" fmla="*/ 1515149 h 1934496"/>
              <a:gd name="connsiteX704" fmla="*/ 8273682 w 9922465"/>
              <a:gd name="connsiteY704" fmla="*/ 1459958 h 1934496"/>
              <a:gd name="connsiteX705" fmla="*/ 8143388 w 9922465"/>
              <a:gd name="connsiteY705" fmla="*/ 1459958 h 1934496"/>
              <a:gd name="connsiteX706" fmla="*/ 8198580 w 9922465"/>
              <a:gd name="connsiteY706" fmla="*/ 1515149 h 1934496"/>
              <a:gd name="connsiteX707" fmla="*/ 8143388 w 9922465"/>
              <a:gd name="connsiteY707" fmla="*/ 1570340 h 1934496"/>
              <a:gd name="connsiteX708" fmla="*/ 8088196 w 9922465"/>
              <a:gd name="connsiteY708" fmla="*/ 1515149 h 1934496"/>
              <a:gd name="connsiteX709" fmla="*/ 8143388 w 9922465"/>
              <a:gd name="connsiteY709" fmla="*/ 1459958 h 1934496"/>
              <a:gd name="connsiteX710" fmla="*/ 8009753 w 9922465"/>
              <a:gd name="connsiteY710" fmla="*/ 1459958 h 1934496"/>
              <a:gd name="connsiteX711" fmla="*/ 8064945 w 9922465"/>
              <a:gd name="connsiteY711" fmla="*/ 1515149 h 1934496"/>
              <a:gd name="connsiteX712" fmla="*/ 8009753 w 9922465"/>
              <a:gd name="connsiteY712" fmla="*/ 1570340 h 1934496"/>
              <a:gd name="connsiteX713" fmla="*/ 7954561 w 9922465"/>
              <a:gd name="connsiteY713" fmla="*/ 1515149 h 1934496"/>
              <a:gd name="connsiteX714" fmla="*/ 8009753 w 9922465"/>
              <a:gd name="connsiteY714" fmla="*/ 1459958 h 1934496"/>
              <a:gd name="connsiteX715" fmla="*/ 7876118 w 9922465"/>
              <a:gd name="connsiteY715" fmla="*/ 1459958 h 1934496"/>
              <a:gd name="connsiteX716" fmla="*/ 7931310 w 9922465"/>
              <a:gd name="connsiteY716" fmla="*/ 1515149 h 1934496"/>
              <a:gd name="connsiteX717" fmla="*/ 7876118 w 9922465"/>
              <a:gd name="connsiteY717" fmla="*/ 1570340 h 1934496"/>
              <a:gd name="connsiteX718" fmla="*/ 7820926 w 9922465"/>
              <a:gd name="connsiteY718" fmla="*/ 1515149 h 1934496"/>
              <a:gd name="connsiteX719" fmla="*/ 7876118 w 9922465"/>
              <a:gd name="connsiteY719" fmla="*/ 1459958 h 1934496"/>
              <a:gd name="connsiteX720" fmla="*/ 7745823 w 9922465"/>
              <a:gd name="connsiteY720" fmla="*/ 1459958 h 1934496"/>
              <a:gd name="connsiteX721" fmla="*/ 7801015 w 9922465"/>
              <a:gd name="connsiteY721" fmla="*/ 1515149 h 1934496"/>
              <a:gd name="connsiteX722" fmla="*/ 7745823 w 9922465"/>
              <a:gd name="connsiteY722" fmla="*/ 1570340 h 1934496"/>
              <a:gd name="connsiteX723" fmla="*/ 7690631 w 9922465"/>
              <a:gd name="connsiteY723" fmla="*/ 1515149 h 1934496"/>
              <a:gd name="connsiteX724" fmla="*/ 7745823 w 9922465"/>
              <a:gd name="connsiteY724" fmla="*/ 1459958 h 1934496"/>
              <a:gd name="connsiteX725" fmla="*/ 7608849 w 9922465"/>
              <a:gd name="connsiteY725" fmla="*/ 1459958 h 1934496"/>
              <a:gd name="connsiteX726" fmla="*/ 7664041 w 9922465"/>
              <a:gd name="connsiteY726" fmla="*/ 1515149 h 1934496"/>
              <a:gd name="connsiteX727" fmla="*/ 7608849 w 9922465"/>
              <a:gd name="connsiteY727" fmla="*/ 1570340 h 1934496"/>
              <a:gd name="connsiteX728" fmla="*/ 7553657 w 9922465"/>
              <a:gd name="connsiteY728" fmla="*/ 1515149 h 1934496"/>
              <a:gd name="connsiteX729" fmla="*/ 7608849 w 9922465"/>
              <a:gd name="connsiteY729" fmla="*/ 1459958 h 1934496"/>
              <a:gd name="connsiteX730" fmla="*/ 7481897 w 9922465"/>
              <a:gd name="connsiteY730" fmla="*/ 1459958 h 1934496"/>
              <a:gd name="connsiteX731" fmla="*/ 7537089 w 9922465"/>
              <a:gd name="connsiteY731" fmla="*/ 1515149 h 1934496"/>
              <a:gd name="connsiteX732" fmla="*/ 7481897 w 9922465"/>
              <a:gd name="connsiteY732" fmla="*/ 1570340 h 1934496"/>
              <a:gd name="connsiteX733" fmla="*/ 7426705 w 9922465"/>
              <a:gd name="connsiteY733" fmla="*/ 1515149 h 1934496"/>
              <a:gd name="connsiteX734" fmla="*/ 7481897 w 9922465"/>
              <a:gd name="connsiteY734" fmla="*/ 1459958 h 1934496"/>
              <a:gd name="connsiteX735" fmla="*/ 7341579 w 9922465"/>
              <a:gd name="connsiteY735" fmla="*/ 1459958 h 1934496"/>
              <a:gd name="connsiteX736" fmla="*/ 7396771 w 9922465"/>
              <a:gd name="connsiteY736" fmla="*/ 1515149 h 1934496"/>
              <a:gd name="connsiteX737" fmla="*/ 7341579 w 9922465"/>
              <a:gd name="connsiteY737" fmla="*/ 1570340 h 1934496"/>
              <a:gd name="connsiteX738" fmla="*/ 7286387 w 9922465"/>
              <a:gd name="connsiteY738" fmla="*/ 1515149 h 1934496"/>
              <a:gd name="connsiteX739" fmla="*/ 7341579 w 9922465"/>
              <a:gd name="connsiteY739" fmla="*/ 1459958 h 1934496"/>
              <a:gd name="connsiteX740" fmla="*/ 7211286 w 9922465"/>
              <a:gd name="connsiteY740" fmla="*/ 1459958 h 1934496"/>
              <a:gd name="connsiteX741" fmla="*/ 7266478 w 9922465"/>
              <a:gd name="connsiteY741" fmla="*/ 1515149 h 1934496"/>
              <a:gd name="connsiteX742" fmla="*/ 7211286 w 9922465"/>
              <a:gd name="connsiteY742" fmla="*/ 1570340 h 1934496"/>
              <a:gd name="connsiteX743" fmla="*/ 7156094 w 9922465"/>
              <a:gd name="connsiteY743" fmla="*/ 1515149 h 1934496"/>
              <a:gd name="connsiteX744" fmla="*/ 7211286 w 9922465"/>
              <a:gd name="connsiteY744" fmla="*/ 1459958 h 1934496"/>
              <a:gd name="connsiteX745" fmla="*/ 7080993 w 9922465"/>
              <a:gd name="connsiteY745" fmla="*/ 1459958 h 1934496"/>
              <a:gd name="connsiteX746" fmla="*/ 7136185 w 9922465"/>
              <a:gd name="connsiteY746" fmla="*/ 1515149 h 1934496"/>
              <a:gd name="connsiteX747" fmla="*/ 7080993 w 9922465"/>
              <a:gd name="connsiteY747" fmla="*/ 1570340 h 1934496"/>
              <a:gd name="connsiteX748" fmla="*/ 7025801 w 9922465"/>
              <a:gd name="connsiteY748" fmla="*/ 1515149 h 1934496"/>
              <a:gd name="connsiteX749" fmla="*/ 7080993 w 9922465"/>
              <a:gd name="connsiteY749" fmla="*/ 1459958 h 1934496"/>
              <a:gd name="connsiteX750" fmla="*/ 6947357 w 9922465"/>
              <a:gd name="connsiteY750" fmla="*/ 1459958 h 1934496"/>
              <a:gd name="connsiteX751" fmla="*/ 7002549 w 9922465"/>
              <a:gd name="connsiteY751" fmla="*/ 1515149 h 1934496"/>
              <a:gd name="connsiteX752" fmla="*/ 6947357 w 9922465"/>
              <a:gd name="connsiteY752" fmla="*/ 1570340 h 1934496"/>
              <a:gd name="connsiteX753" fmla="*/ 6892165 w 9922465"/>
              <a:gd name="connsiteY753" fmla="*/ 1515149 h 1934496"/>
              <a:gd name="connsiteX754" fmla="*/ 6947357 w 9922465"/>
              <a:gd name="connsiteY754" fmla="*/ 1459958 h 1934496"/>
              <a:gd name="connsiteX755" fmla="*/ 6817064 w 9922465"/>
              <a:gd name="connsiteY755" fmla="*/ 1459958 h 1934496"/>
              <a:gd name="connsiteX756" fmla="*/ 6872256 w 9922465"/>
              <a:gd name="connsiteY756" fmla="*/ 1515149 h 1934496"/>
              <a:gd name="connsiteX757" fmla="*/ 6817064 w 9922465"/>
              <a:gd name="connsiteY757" fmla="*/ 1570340 h 1934496"/>
              <a:gd name="connsiteX758" fmla="*/ 6761872 w 9922465"/>
              <a:gd name="connsiteY758" fmla="*/ 1515149 h 1934496"/>
              <a:gd name="connsiteX759" fmla="*/ 6817064 w 9922465"/>
              <a:gd name="connsiteY759" fmla="*/ 1459958 h 1934496"/>
              <a:gd name="connsiteX760" fmla="*/ 6683431 w 9922465"/>
              <a:gd name="connsiteY760" fmla="*/ 1459958 h 1934496"/>
              <a:gd name="connsiteX761" fmla="*/ 6738623 w 9922465"/>
              <a:gd name="connsiteY761" fmla="*/ 1515149 h 1934496"/>
              <a:gd name="connsiteX762" fmla="*/ 6683431 w 9922465"/>
              <a:gd name="connsiteY762" fmla="*/ 1570340 h 1934496"/>
              <a:gd name="connsiteX763" fmla="*/ 6628239 w 9922465"/>
              <a:gd name="connsiteY763" fmla="*/ 1515149 h 1934496"/>
              <a:gd name="connsiteX764" fmla="*/ 6683431 w 9922465"/>
              <a:gd name="connsiteY764" fmla="*/ 1459958 h 1934496"/>
              <a:gd name="connsiteX765" fmla="*/ 6553137 w 9922465"/>
              <a:gd name="connsiteY765" fmla="*/ 1459958 h 1934496"/>
              <a:gd name="connsiteX766" fmla="*/ 6608329 w 9922465"/>
              <a:gd name="connsiteY766" fmla="*/ 1515149 h 1934496"/>
              <a:gd name="connsiteX767" fmla="*/ 6553137 w 9922465"/>
              <a:gd name="connsiteY767" fmla="*/ 1570340 h 1934496"/>
              <a:gd name="connsiteX768" fmla="*/ 6497945 w 9922465"/>
              <a:gd name="connsiteY768" fmla="*/ 1515149 h 1934496"/>
              <a:gd name="connsiteX769" fmla="*/ 6553137 w 9922465"/>
              <a:gd name="connsiteY769" fmla="*/ 1459958 h 1934496"/>
              <a:gd name="connsiteX770" fmla="*/ 6419502 w 9922465"/>
              <a:gd name="connsiteY770" fmla="*/ 1459958 h 1934496"/>
              <a:gd name="connsiteX771" fmla="*/ 6474694 w 9922465"/>
              <a:gd name="connsiteY771" fmla="*/ 1515149 h 1934496"/>
              <a:gd name="connsiteX772" fmla="*/ 6419502 w 9922465"/>
              <a:gd name="connsiteY772" fmla="*/ 1570340 h 1934496"/>
              <a:gd name="connsiteX773" fmla="*/ 6364310 w 9922465"/>
              <a:gd name="connsiteY773" fmla="*/ 1515149 h 1934496"/>
              <a:gd name="connsiteX774" fmla="*/ 6419502 w 9922465"/>
              <a:gd name="connsiteY774" fmla="*/ 1459958 h 1934496"/>
              <a:gd name="connsiteX775" fmla="*/ 6289207 w 9922465"/>
              <a:gd name="connsiteY775" fmla="*/ 1459958 h 1934496"/>
              <a:gd name="connsiteX776" fmla="*/ 6344399 w 9922465"/>
              <a:gd name="connsiteY776" fmla="*/ 1515149 h 1934496"/>
              <a:gd name="connsiteX777" fmla="*/ 6289207 w 9922465"/>
              <a:gd name="connsiteY777" fmla="*/ 1570340 h 1934496"/>
              <a:gd name="connsiteX778" fmla="*/ 6234015 w 9922465"/>
              <a:gd name="connsiteY778" fmla="*/ 1515149 h 1934496"/>
              <a:gd name="connsiteX779" fmla="*/ 6289207 w 9922465"/>
              <a:gd name="connsiteY779" fmla="*/ 1459958 h 1934496"/>
              <a:gd name="connsiteX780" fmla="*/ 6155573 w 9922465"/>
              <a:gd name="connsiteY780" fmla="*/ 1459958 h 1934496"/>
              <a:gd name="connsiteX781" fmla="*/ 6210765 w 9922465"/>
              <a:gd name="connsiteY781" fmla="*/ 1515149 h 1934496"/>
              <a:gd name="connsiteX782" fmla="*/ 6155573 w 9922465"/>
              <a:gd name="connsiteY782" fmla="*/ 1570340 h 1934496"/>
              <a:gd name="connsiteX783" fmla="*/ 6100381 w 9922465"/>
              <a:gd name="connsiteY783" fmla="*/ 1515149 h 1934496"/>
              <a:gd name="connsiteX784" fmla="*/ 6155573 w 9922465"/>
              <a:gd name="connsiteY784" fmla="*/ 1459958 h 1934496"/>
              <a:gd name="connsiteX785" fmla="*/ 6021939 w 9922465"/>
              <a:gd name="connsiteY785" fmla="*/ 1459958 h 1934496"/>
              <a:gd name="connsiteX786" fmla="*/ 6077131 w 9922465"/>
              <a:gd name="connsiteY786" fmla="*/ 1515149 h 1934496"/>
              <a:gd name="connsiteX787" fmla="*/ 6021939 w 9922465"/>
              <a:gd name="connsiteY787" fmla="*/ 1570340 h 1934496"/>
              <a:gd name="connsiteX788" fmla="*/ 5966747 w 9922465"/>
              <a:gd name="connsiteY788" fmla="*/ 1515149 h 1934496"/>
              <a:gd name="connsiteX789" fmla="*/ 6021939 w 9922465"/>
              <a:gd name="connsiteY789" fmla="*/ 1459958 h 1934496"/>
              <a:gd name="connsiteX790" fmla="*/ 5884964 w 9922465"/>
              <a:gd name="connsiteY790" fmla="*/ 1459958 h 1934496"/>
              <a:gd name="connsiteX791" fmla="*/ 5940156 w 9922465"/>
              <a:gd name="connsiteY791" fmla="*/ 1515149 h 1934496"/>
              <a:gd name="connsiteX792" fmla="*/ 5884964 w 9922465"/>
              <a:gd name="connsiteY792" fmla="*/ 1570340 h 1934496"/>
              <a:gd name="connsiteX793" fmla="*/ 5829772 w 9922465"/>
              <a:gd name="connsiteY793" fmla="*/ 1515149 h 1934496"/>
              <a:gd name="connsiteX794" fmla="*/ 5884964 w 9922465"/>
              <a:gd name="connsiteY794" fmla="*/ 1459958 h 1934496"/>
              <a:gd name="connsiteX795" fmla="*/ 5754668 w 9922465"/>
              <a:gd name="connsiteY795" fmla="*/ 1459958 h 1934496"/>
              <a:gd name="connsiteX796" fmla="*/ 5809860 w 9922465"/>
              <a:gd name="connsiteY796" fmla="*/ 1515149 h 1934496"/>
              <a:gd name="connsiteX797" fmla="*/ 5754668 w 9922465"/>
              <a:gd name="connsiteY797" fmla="*/ 1570340 h 1934496"/>
              <a:gd name="connsiteX798" fmla="*/ 5699476 w 9922465"/>
              <a:gd name="connsiteY798" fmla="*/ 1515149 h 1934496"/>
              <a:gd name="connsiteX799" fmla="*/ 5754668 w 9922465"/>
              <a:gd name="connsiteY799" fmla="*/ 1459958 h 1934496"/>
              <a:gd name="connsiteX800" fmla="*/ 5621034 w 9922465"/>
              <a:gd name="connsiteY800" fmla="*/ 1459958 h 1934496"/>
              <a:gd name="connsiteX801" fmla="*/ 5676226 w 9922465"/>
              <a:gd name="connsiteY801" fmla="*/ 1515149 h 1934496"/>
              <a:gd name="connsiteX802" fmla="*/ 5621034 w 9922465"/>
              <a:gd name="connsiteY802" fmla="*/ 1570340 h 1934496"/>
              <a:gd name="connsiteX803" fmla="*/ 5565842 w 9922465"/>
              <a:gd name="connsiteY803" fmla="*/ 1515149 h 1934496"/>
              <a:gd name="connsiteX804" fmla="*/ 5621034 w 9922465"/>
              <a:gd name="connsiteY804" fmla="*/ 1459958 h 1934496"/>
              <a:gd name="connsiteX805" fmla="*/ 5487399 w 9922465"/>
              <a:gd name="connsiteY805" fmla="*/ 1459958 h 1934496"/>
              <a:gd name="connsiteX806" fmla="*/ 5542591 w 9922465"/>
              <a:gd name="connsiteY806" fmla="*/ 1515149 h 1934496"/>
              <a:gd name="connsiteX807" fmla="*/ 5487399 w 9922465"/>
              <a:gd name="connsiteY807" fmla="*/ 1570340 h 1934496"/>
              <a:gd name="connsiteX808" fmla="*/ 5432207 w 9922465"/>
              <a:gd name="connsiteY808" fmla="*/ 1515149 h 1934496"/>
              <a:gd name="connsiteX809" fmla="*/ 5487399 w 9922465"/>
              <a:gd name="connsiteY809" fmla="*/ 1459958 h 1934496"/>
              <a:gd name="connsiteX810" fmla="*/ 5357106 w 9922465"/>
              <a:gd name="connsiteY810" fmla="*/ 1459958 h 1934496"/>
              <a:gd name="connsiteX811" fmla="*/ 5412298 w 9922465"/>
              <a:gd name="connsiteY811" fmla="*/ 1515149 h 1934496"/>
              <a:gd name="connsiteX812" fmla="*/ 5357106 w 9922465"/>
              <a:gd name="connsiteY812" fmla="*/ 1570340 h 1934496"/>
              <a:gd name="connsiteX813" fmla="*/ 5301914 w 9922465"/>
              <a:gd name="connsiteY813" fmla="*/ 1515149 h 1934496"/>
              <a:gd name="connsiteX814" fmla="*/ 5357106 w 9922465"/>
              <a:gd name="connsiteY814" fmla="*/ 1459958 h 1934496"/>
              <a:gd name="connsiteX815" fmla="*/ 5223473 w 9922465"/>
              <a:gd name="connsiteY815" fmla="*/ 1459958 h 1934496"/>
              <a:gd name="connsiteX816" fmla="*/ 5278665 w 9922465"/>
              <a:gd name="connsiteY816" fmla="*/ 1515149 h 1934496"/>
              <a:gd name="connsiteX817" fmla="*/ 5223473 w 9922465"/>
              <a:gd name="connsiteY817" fmla="*/ 1570340 h 1934496"/>
              <a:gd name="connsiteX818" fmla="*/ 5168281 w 9922465"/>
              <a:gd name="connsiteY818" fmla="*/ 1515149 h 1934496"/>
              <a:gd name="connsiteX819" fmla="*/ 5223473 w 9922465"/>
              <a:gd name="connsiteY819" fmla="*/ 1459958 h 1934496"/>
              <a:gd name="connsiteX820" fmla="*/ 5093178 w 9922465"/>
              <a:gd name="connsiteY820" fmla="*/ 1459958 h 1934496"/>
              <a:gd name="connsiteX821" fmla="*/ 5148370 w 9922465"/>
              <a:gd name="connsiteY821" fmla="*/ 1515149 h 1934496"/>
              <a:gd name="connsiteX822" fmla="*/ 5093178 w 9922465"/>
              <a:gd name="connsiteY822" fmla="*/ 1570340 h 1934496"/>
              <a:gd name="connsiteX823" fmla="*/ 5037986 w 9922465"/>
              <a:gd name="connsiteY823" fmla="*/ 1515149 h 1934496"/>
              <a:gd name="connsiteX824" fmla="*/ 5093178 w 9922465"/>
              <a:gd name="connsiteY824" fmla="*/ 1459958 h 1934496"/>
              <a:gd name="connsiteX825" fmla="*/ 4959542 w 9922465"/>
              <a:gd name="connsiteY825" fmla="*/ 1459958 h 1934496"/>
              <a:gd name="connsiteX826" fmla="*/ 5014734 w 9922465"/>
              <a:gd name="connsiteY826" fmla="*/ 1515149 h 1934496"/>
              <a:gd name="connsiteX827" fmla="*/ 4959542 w 9922465"/>
              <a:gd name="connsiteY827" fmla="*/ 1570340 h 1934496"/>
              <a:gd name="connsiteX828" fmla="*/ 4904350 w 9922465"/>
              <a:gd name="connsiteY828" fmla="*/ 1515149 h 1934496"/>
              <a:gd name="connsiteX829" fmla="*/ 4959542 w 9922465"/>
              <a:gd name="connsiteY829" fmla="*/ 1459958 h 1934496"/>
              <a:gd name="connsiteX830" fmla="*/ 4829250 w 9922465"/>
              <a:gd name="connsiteY830" fmla="*/ 1459958 h 1934496"/>
              <a:gd name="connsiteX831" fmla="*/ 4884442 w 9922465"/>
              <a:gd name="connsiteY831" fmla="*/ 1515149 h 1934496"/>
              <a:gd name="connsiteX832" fmla="*/ 4829250 w 9922465"/>
              <a:gd name="connsiteY832" fmla="*/ 1570340 h 1934496"/>
              <a:gd name="connsiteX833" fmla="*/ 4774058 w 9922465"/>
              <a:gd name="connsiteY833" fmla="*/ 1515149 h 1934496"/>
              <a:gd name="connsiteX834" fmla="*/ 4829250 w 9922465"/>
              <a:gd name="connsiteY834" fmla="*/ 1459958 h 1934496"/>
              <a:gd name="connsiteX835" fmla="*/ 4695614 w 9922465"/>
              <a:gd name="connsiteY835" fmla="*/ 1459958 h 1934496"/>
              <a:gd name="connsiteX836" fmla="*/ 4750806 w 9922465"/>
              <a:gd name="connsiteY836" fmla="*/ 1515149 h 1934496"/>
              <a:gd name="connsiteX837" fmla="*/ 4695614 w 9922465"/>
              <a:gd name="connsiteY837" fmla="*/ 1570340 h 1934496"/>
              <a:gd name="connsiteX838" fmla="*/ 4640422 w 9922465"/>
              <a:gd name="connsiteY838" fmla="*/ 1515149 h 1934496"/>
              <a:gd name="connsiteX839" fmla="*/ 4695614 w 9922465"/>
              <a:gd name="connsiteY839" fmla="*/ 1459958 h 1934496"/>
              <a:gd name="connsiteX840" fmla="*/ 4565322 w 9922465"/>
              <a:gd name="connsiteY840" fmla="*/ 1459958 h 1934496"/>
              <a:gd name="connsiteX841" fmla="*/ 4620514 w 9922465"/>
              <a:gd name="connsiteY841" fmla="*/ 1515149 h 1934496"/>
              <a:gd name="connsiteX842" fmla="*/ 4565322 w 9922465"/>
              <a:gd name="connsiteY842" fmla="*/ 1570340 h 1934496"/>
              <a:gd name="connsiteX843" fmla="*/ 4510130 w 9922465"/>
              <a:gd name="connsiteY843" fmla="*/ 1515149 h 1934496"/>
              <a:gd name="connsiteX844" fmla="*/ 4565322 w 9922465"/>
              <a:gd name="connsiteY844" fmla="*/ 1459958 h 1934496"/>
              <a:gd name="connsiteX845" fmla="*/ 4431687 w 9922465"/>
              <a:gd name="connsiteY845" fmla="*/ 1459958 h 1934496"/>
              <a:gd name="connsiteX846" fmla="*/ 4486879 w 9922465"/>
              <a:gd name="connsiteY846" fmla="*/ 1515149 h 1934496"/>
              <a:gd name="connsiteX847" fmla="*/ 4431687 w 9922465"/>
              <a:gd name="connsiteY847" fmla="*/ 1570340 h 1934496"/>
              <a:gd name="connsiteX848" fmla="*/ 4376495 w 9922465"/>
              <a:gd name="connsiteY848" fmla="*/ 1515149 h 1934496"/>
              <a:gd name="connsiteX849" fmla="*/ 4431687 w 9922465"/>
              <a:gd name="connsiteY849" fmla="*/ 1459958 h 1934496"/>
              <a:gd name="connsiteX850" fmla="*/ 3098681 w 9922465"/>
              <a:gd name="connsiteY850" fmla="*/ 1459958 h 1934496"/>
              <a:gd name="connsiteX851" fmla="*/ 3153873 w 9922465"/>
              <a:gd name="connsiteY851" fmla="*/ 1515149 h 1934496"/>
              <a:gd name="connsiteX852" fmla="*/ 3098681 w 9922465"/>
              <a:gd name="connsiteY852" fmla="*/ 1570340 h 1934496"/>
              <a:gd name="connsiteX853" fmla="*/ 3043489 w 9922465"/>
              <a:gd name="connsiteY853" fmla="*/ 1515149 h 1934496"/>
              <a:gd name="connsiteX854" fmla="*/ 3098681 w 9922465"/>
              <a:gd name="connsiteY854" fmla="*/ 1459958 h 1934496"/>
              <a:gd name="connsiteX855" fmla="*/ 2971729 w 9922465"/>
              <a:gd name="connsiteY855" fmla="*/ 1459958 h 1934496"/>
              <a:gd name="connsiteX856" fmla="*/ 3026921 w 9922465"/>
              <a:gd name="connsiteY856" fmla="*/ 1515149 h 1934496"/>
              <a:gd name="connsiteX857" fmla="*/ 2971729 w 9922465"/>
              <a:gd name="connsiteY857" fmla="*/ 1570340 h 1934496"/>
              <a:gd name="connsiteX858" fmla="*/ 2916537 w 9922465"/>
              <a:gd name="connsiteY858" fmla="*/ 1515149 h 1934496"/>
              <a:gd name="connsiteX859" fmla="*/ 2971729 w 9922465"/>
              <a:gd name="connsiteY859" fmla="*/ 1459958 h 1934496"/>
              <a:gd name="connsiteX860" fmla="*/ 2834792 w 9922465"/>
              <a:gd name="connsiteY860" fmla="*/ 1459958 h 1934496"/>
              <a:gd name="connsiteX861" fmla="*/ 2889984 w 9922465"/>
              <a:gd name="connsiteY861" fmla="*/ 1515149 h 1934496"/>
              <a:gd name="connsiteX862" fmla="*/ 2834792 w 9922465"/>
              <a:gd name="connsiteY862" fmla="*/ 1570340 h 1934496"/>
              <a:gd name="connsiteX863" fmla="*/ 2779600 w 9922465"/>
              <a:gd name="connsiteY863" fmla="*/ 1515149 h 1934496"/>
              <a:gd name="connsiteX864" fmla="*/ 2834792 w 9922465"/>
              <a:gd name="connsiteY864" fmla="*/ 1459958 h 1934496"/>
              <a:gd name="connsiteX865" fmla="*/ 2707839 w 9922465"/>
              <a:gd name="connsiteY865" fmla="*/ 1459958 h 1934496"/>
              <a:gd name="connsiteX866" fmla="*/ 2763031 w 9922465"/>
              <a:gd name="connsiteY866" fmla="*/ 1515149 h 1934496"/>
              <a:gd name="connsiteX867" fmla="*/ 2707839 w 9922465"/>
              <a:gd name="connsiteY867" fmla="*/ 1570340 h 1934496"/>
              <a:gd name="connsiteX868" fmla="*/ 2652646 w 9922465"/>
              <a:gd name="connsiteY868" fmla="*/ 1515149 h 1934496"/>
              <a:gd name="connsiteX869" fmla="*/ 2707839 w 9922465"/>
              <a:gd name="connsiteY869" fmla="*/ 1459958 h 1934496"/>
              <a:gd name="connsiteX870" fmla="*/ 2570864 w 9922465"/>
              <a:gd name="connsiteY870" fmla="*/ 1459958 h 1934496"/>
              <a:gd name="connsiteX871" fmla="*/ 2626056 w 9922465"/>
              <a:gd name="connsiteY871" fmla="*/ 1515149 h 1934496"/>
              <a:gd name="connsiteX872" fmla="*/ 2570864 w 9922465"/>
              <a:gd name="connsiteY872" fmla="*/ 1570340 h 1934496"/>
              <a:gd name="connsiteX873" fmla="*/ 2515671 w 9922465"/>
              <a:gd name="connsiteY873" fmla="*/ 1515149 h 1934496"/>
              <a:gd name="connsiteX874" fmla="*/ 2570864 w 9922465"/>
              <a:gd name="connsiteY874" fmla="*/ 1459958 h 1934496"/>
              <a:gd name="connsiteX875" fmla="*/ 2437228 w 9922465"/>
              <a:gd name="connsiteY875" fmla="*/ 1459958 h 1934496"/>
              <a:gd name="connsiteX876" fmla="*/ 2492419 w 9922465"/>
              <a:gd name="connsiteY876" fmla="*/ 1515149 h 1934496"/>
              <a:gd name="connsiteX877" fmla="*/ 2437228 w 9922465"/>
              <a:gd name="connsiteY877" fmla="*/ 1570340 h 1934496"/>
              <a:gd name="connsiteX878" fmla="*/ 2382037 w 9922465"/>
              <a:gd name="connsiteY878" fmla="*/ 1515149 h 1934496"/>
              <a:gd name="connsiteX879" fmla="*/ 2437228 w 9922465"/>
              <a:gd name="connsiteY879" fmla="*/ 1459958 h 1934496"/>
              <a:gd name="connsiteX880" fmla="*/ 2303596 w 9922465"/>
              <a:gd name="connsiteY880" fmla="*/ 1459958 h 1934496"/>
              <a:gd name="connsiteX881" fmla="*/ 2358787 w 9922465"/>
              <a:gd name="connsiteY881" fmla="*/ 1515149 h 1934496"/>
              <a:gd name="connsiteX882" fmla="*/ 2303596 w 9922465"/>
              <a:gd name="connsiteY882" fmla="*/ 1570340 h 1934496"/>
              <a:gd name="connsiteX883" fmla="*/ 2248404 w 9922465"/>
              <a:gd name="connsiteY883" fmla="*/ 1515149 h 1934496"/>
              <a:gd name="connsiteX884" fmla="*/ 2303596 w 9922465"/>
              <a:gd name="connsiteY884" fmla="*/ 1459958 h 1934496"/>
              <a:gd name="connsiteX885" fmla="*/ 2173305 w 9922465"/>
              <a:gd name="connsiteY885" fmla="*/ 1459958 h 1934496"/>
              <a:gd name="connsiteX886" fmla="*/ 2228497 w 9922465"/>
              <a:gd name="connsiteY886" fmla="*/ 1515149 h 1934496"/>
              <a:gd name="connsiteX887" fmla="*/ 2173305 w 9922465"/>
              <a:gd name="connsiteY887" fmla="*/ 1570340 h 1934496"/>
              <a:gd name="connsiteX888" fmla="*/ 2118111 w 9922465"/>
              <a:gd name="connsiteY888" fmla="*/ 1515149 h 1934496"/>
              <a:gd name="connsiteX889" fmla="*/ 2173305 w 9922465"/>
              <a:gd name="connsiteY889" fmla="*/ 1459958 h 1934496"/>
              <a:gd name="connsiteX890" fmla="*/ 2039668 w 9922465"/>
              <a:gd name="connsiteY890" fmla="*/ 1459958 h 1934496"/>
              <a:gd name="connsiteX891" fmla="*/ 2094860 w 9922465"/>
              <a:gd name="connsiteY891" fmla="*/ 1515149 h 1934496"/>
              <a:gd name="connsiteX892" fmla="*/ 2039668 w 9922465"/>
              <a:gd name="connsiteY892" fmla="*/ 1570340 h 1934496"/>
              <a:gd name="connsiteX893" fmla="*/ 1984475 w 9922465"/>
              <a:gd name="connsiteY893" fmla="*/ 1515149 h 1934496"/>
              <a:gd name="connsiteX894" fmla="*/ 2039668 w 9922465"/>
              <a:gd name="connsiteY894" fmla="*/ 1459958 h 1934496"/>
              <a:gd name="connsiteX895" fmla="*/ 1909371 w 9922465"/>
              <a:gd name="connsiteY895" fmla="*/ 1459958 h 1934496"/>
              <a:gd name="connsiteX896" fmla="*/ 1964564 w 9922465"/>
              <a:gd name="connsiteY896" fmla="*/ 1515149 h 1934496"/>
              <a:gd name="connsiteX897" fmla="*/ 1909371 w 9922465"/>
              <a:gd name="connsiteY897" fmla="*/ 1570340 h 1934496"/>
              <a:gd name="connsiteX898" fmla="*/ 1854178 w 9922465"/>
              <a:gd name="connsiteY898" fmla="*/ 1515149 h 1934496"/>
              <a:gd name="connsiteX899" fmla="*/ 1909371 w 9922465"/>
              <a:gd name="connsiteY899" fmla="*/ 1459958 h 1934496"/>
              <a:gd name="connsiteX900" fmla="*/ 1779076 w 9922465"/>
              <a:gd name="connsiteY900" fmla="*/ 1459958 h 1934496"/>
              <a:gd name="connsiteX901" fmla="*/ 1834269 w 9922465"/>
              <a:gd name="connsiteY901" fmla="*/ 1515149 h 1934496"/>
              <a:gd name="connsiteX902" fmla="*/ 1779076 w 9922465"/>
              <a:gd name="connsiteY902" fmla="*/ 1570340 h 1934496"/>
              <a:gd name="connsiteX903" fmla="*/ 1723884 w 9922465"/>
              <a:gd name="connsiteY903" fmla="*/ 1515149 h 1934496"/>
              <a:gd name="connsiteX904" fmla="*/ 1779076 w 9922465"/>
              <a:gd name="connsiteY904" fmla="*/ 1459958 h 1934496"/>
              <a:gd name="connsiteX905" fmla="*/ 1645440 w 9922465"/>
              <a:gd name="connsiteY905" fmla="*/ 1459958 h 1934496"/>
              <a:gd name="connsiteX906" fmla="*/ 1700637 w 9922465"/>
              <a:gd name="connsiteY906" fmla="*/ 1515149 h 1934496"/>
              <a:gd name="connsiteX907" fmla="*/ 1645440 w 9922465"/>
              <a:gd name="connsiteY907" fmla="*/ 1570340 h 1934496"/>
              <a:gd name="connsiteX908" fmla="*/ 1590248 w 9922465"/>
              <a:gd name="connsiteY908" fmla="*/ 1515149 h 1934496"/>
              <a:gd name="connsiteX909" fmla="*/ 1645440 w 9922465"/>
              <a:gd name="connsiteY909" fmla="*/ 1459958 h 1934496"/>
              <a:gd name="connsiteX910" fmla="*/ 1515149 w 9922465"/>
              <a:gd name="connsiteY910" fmla="*/ 1459958 h 1934496"/>
              <a:gd name="connsiteX911" fmla="*/ 1570338 w 9922465"/>
              <a:gd name="connsiteY911" fmla="*/ 1515149 h 1934496"/>
              <a:gd name="connsiteX912" fmla="*/ 1515149 w 9922465"/>
              <a:gd name="connsiteY912" fmla="*/ 1570340 h 1934496"/>
              <a:gd name="connsiteX913" fmla="*/ 1459956 w 9922465"/>
              <a:gd name="connsiteY913" fmla="*/ 1515149 h 1934496"/>
              <a:gd name="connsiteX914" fmla="*/ 1515149 w 9922465"/>
              <a:gd name="connsiteY914" fmla="*/ 1459958 h 1934496"/>
              <a:gd name="connsiteX915" fmla="*/ 1381511 w 9922465"/>
              <a:gd name="connsiteY915" fmla="*/ 1459958 h 1934496"/>
              <a:gd name="connsiteX916" fmla="*/ 1436705 w 9922465"/>
              <a:gd name="connsiteY916" fmla="*/ 1515149 h 1934496"/>
              <a:gd name="connsiteX917" fmla="*/ 1381511 w 9922465"/>
              <a:gd name="connsiteY917" fmla="*/ 1570340 h 1934496"/>
              <a:gd name="connsiteX918" fmla="*/ 1326322 w 9922465"/>
              <a:gd name="connsiteY918" fmla="*/ 1515149 h 1934496"/>
              <a:gd name="connsiteX919" fmla="*/ 1381511 w 9922465"/>
              <a:gd name="connsiteY919" fmla="*/ 1459958 h 1934496"/>
              <a:gd name="connsiteX920" fmla="*/ 1251220 w 9922465"/>
              <a:gd name="connsiteY920" fmla="*/ 1459958 h 1934496"/>
              <a:gd name="connsiteX921" fmla="*/ 1306413 w 9922465"/>
              <a:gd name="connsiteY921" fmla="*/ 1515149 h 1934496"/>
              <a:gd name="connsiteX922" fmla="*/ 1251220 w 9922465"/>
              <a:gd name="connsiteY922" fmla="*/ 1570340 h 1934496"/>
              <a:gd name="connsiteX923" fmla="*/ 1196028 w 9922465"/>
              <a:gd name="connsiteY923" fmla="*/ 1515149 h 1934496"/>
              <a:gd name="connsiteX924" fmla="*/ 1251220 w 9922465"/>
              <a:gd name="connsiteY924" fmla="*/ 1459958 h 1934496"/>
              <a:gd name="connsiteX925" fmla="*/ 1117583 w 9922465"/>
              <a:gd name="connsiteY925" fmla="*/ 1459958 h 1934496"/>
              <a:gd name="connsiteX926" fmla="*/ 1172776 w 9922465"/>
              <a:gd name="connsiteY926" fmla="*/ 1515149 h 1934496"/>
              <a:gd name="connsiteX927" fmla="*/ 1117583 w 9922465"/>
              <a:gd name="connsiteY927" fmla="*/ 1570340 h 1934496"/>
              <a:gd name="connsiteX928" fmla="*/ 1062390 w 9922465"/>
              <a:gd name="connsiteY928" fmla="*/ 1515149 h 1934496"/>
              <a:gd name="connsiteX929" fmla="*/ 1117583 w 9922465"/>
              <a:gd name="connsiteY929" fmla="*/ 1459958 h 1934496"/>
              <a:gd name="connsiteX930" fmla="*/ 980607 w 9922465"/>
              <a:gd name="connsiteY930" fmla="*/ 1459958 h 1934496"/>
              <a:gd name="connsiteX931" fmla="*/ 1035800 w 9922465"/>
              <a:gd name="connsiteY931" fmla="*/ 1515149 h 1934496"/>
              <a:gd name="connsiteX932" fmla="*/ 980607 w 9922465"/>
              <a:gd name="connsiteY932" fmla="*/ 1570340 h 1934496"/>
              <a:gd name="connsiteX933" fmla="*/ 925415 w 9922465"/>
              <a:gd name="connsiteY933" fmla="*/ 1515149 h 1934496"/>
              <a:gd name="connsiteX934" fmla="*/ 980607 w 9922465"/>
              <a:gd name="connsiteY934" fmla="*/ 1459958 h 1934496"/>
              <a:gd name="connsiteX935" fmla="*/ 7608849 w 9922465"/>
              <a:gd name="connsiteY935" fmla="*/ 1336350 h 1934496"/>
              <a:gd name="connsiteX936" fmla="*/ 7664041 w 9922465"/>
              <a:gd name="connsiteY936" fmla="*/ 1391541 h 1934496"/>
              <a:gd name="connsiteX937" fmla="*/ 7608849 w 9922465"/>
              <a:gd name="connsiteY937" fmla="*/ 1446732 h 1934496"/>
              <a:gd name="connsiteX938" fmla="*/ 7553657 w 9922465"/>
              <a:gd name="connsiteY938" fmla="*/ 1391541 h 1934496"/>
              <a:gd name="connsiteX939" fmla="*/ 7608849 w 9922465"/>
              <a:gd name="connsiteY939" fmla="*/ 1336350 h 1934496"/>
              <a:gd name="connsiteX940" fmla="*/ 7481897 w 9922465"/>
              <a:gd name="connsiteY940" fmla="*/ 1336350 h 1934496"/>
              <a:gd name="connsiteX941" fmla="*/ 7537089 w 9922465"/>
              <a:gd name="connsiteY941" fmla="*/ 1391541 h 1934496"/>
              <a:gd name="connsiteX942" fmla="*/ 7481897 w 9922465"/>
              <a:gd name="connsiteY942" fmla="*/ 1446732 h 1934496"/>
              <a:gd name="connsiteX943" fmla="*/ 7426705 w 9922465"/>
              <a:gd name="connsiteY943" fmla="*/ 1391541 h 1934496"/>
              <a:gd name="connsiteX944" fmla="*/ 7481897 w 9922465"/>
              <a:gd name="connsiteY944" fmla="*/ 1336350 h 1934496"/>
              <a:gd name="connsiteX945" fmla="*/ 7341579 w 9922465"/>
              <a:gd name="connsiteY945" fmla="*/ 1336350 h 1934496"/>
              <a:gd name="connsiteX946" fmla="*/ 7396771 w 9922465"/>
              <a:gd name="connsiteY946" fmla="*/ 1391541 h 1934496"/>
              <a:gd name="connsiteX947" fmla="*/ 7341579 w 9922465"/>
              <a:gd name="connsiteY947" fmla="*/ 1446732 h 1934496"/>
              <a:gd name="connsiteX948" fmla="*/ 7286387 w 9922465"/>
              <a:gd name="connsiteY948" fmla="*/ 1391541 h 1934496"/>
              <a:gd name="connsiteX949" fmla="*/ 7341579 w 9922465"/>
              <a:gd name="connsiteY949" fmla="*/ 1336350 h 1934496"/>
              <a:gd name="connsiteX950" fmla="*/ 7211286 w 9922465"/>
              <a:gd name="connsiteY950" fmla="*/ 1336350 h 1934496"/>
              <a:gd name="connsiteX951" fmla="*/ 7266478 w 9922465"/>
              <a:gd name="connsiteY951" fmla="*/ 1391541 h 1934496"/>
              <a:gd name="connsiteX952" fmla="*/ 7211286 w 9922465"/>
              <a:gd name="connsiteY952" fmla="*/ 1446732 h 1934496"/>
              <a:gd name="connsiteX953" fmla="*/ 7156094 w 9922465"/>
              <a:gd name="connsiteY953" fmla="*/ 1391541 h 1934496"/>
              <a:gd name="connsiteX954" fmla="*/ 7211286 w 9922465"/>
              <a:gd name="connsiteY954" fmla="*/ 1336350 h 1934496"/>
              <a:gd name="connsiteX955" fmla="*/ 7080993 w 9922465"/>
              <a:gd name="connsiteY955" fmla="*/ 1336350 h 1934496"/>
              <a:gd name="connsiteX956" fmla="*/ 7136185 w 9922465"/>
              <a:gd name="connsiteY956" fmla="*/ 1391541 h 1934496"/>
              <a:gd name="connsiteX957" fmla="*/ 7080993 w 9922465"/>
              <a:gd name="connsiteY957" fmla="*/ 1446732 h 1934496"/>
              <a:gd name="connsiteX958" fmla="*/ 7025801 w 9922465"/>
              <a:gd name="connsiteY958" fmla="*/ 1391541 h 1934496"/>
              <a:gd name="connsiteX959" fmla="*/ 7080993 w 9922465"/>
              <a:gd name="connsiteY959" fmla="*/ 1336350 h 1934496"/>
              <a:gd name="connsiteX960" fmla="*/ 6947357 w 9922465"/>
              <a:gd name="connsiteY960" fmla="*/ 1336350 h 1934496"/>
              <a:gd name="connsiteX961" fmla="*/ 7002549 w 9922465"/>
              <a:gd name="connsiteY961" fmla="*/ 1391541 h 1934496"/>
              <a:gd name="connsiteX962" fmla="*/ 6947357 w 9922465"/>
              <a:gd name="connsiteY962" fmla="*/ 1446732 h 1934496"/>
              <a:gd name="connsiteX963" fmla="*/ 6892165 w 9922465"/>
              <a:gd name="connsiteY963" fmla="*/ 1391541 h 1934496"/>
              <a:gd name="connsiteX964" fmla="*/ 6947357 w 9922465"/>
              <a:gd name="connsiteY964" fmla="*/ 1336350 h 1934496"/>
              <a:gd name="connsiteX965" fmla="*/ 6817064 w 9922465"/>
              <a:gd name="connsiteY965" fmla="*/ 1336350 h 1934496"/>
              <a:gd name="connsiteX966" fmla="*/ 6872256 w 9922465"/>
              <a:gd name="connsiteY966" fmla="*/ 1391541 h 1934496"/>
              <a:gd name="connsiteX967" fmla="*/ 6817064 w 9922465"/>
              <a:gd name="connsiteY967" fmla="*/ 1446732 h 1934496"/>
              <a:gd name="connsiteX968" fmla="*/ 6761872 w 9922465"/>
              <a:gd name="connsiteY968" fmla="*/ 1391541 h 1934496"/>
              <a:gd name="connsiteX969" fmla="*/ 6817064 w 9922465"/>
              <a:gd name="connsiteY969" fmla="*/ 1336350 h 1934496"/>
              <a:gd name="connsiteX970" fmla="*/ 6683431 w 9922465"/>
              <a:gd name="connsiteY970" fmla="*/ 1336350 h 1934496"/>
              <a:gd name="connsiteX971" fmla="*/ 6738623 w 9922465"/>
              <a:gd name="connsiteY971" fmla="*/ 1391541 h 1934496"/>
              <a:gd name="connsiteX972" fmla="*/ 6683431 w 9922465"/>
              <a:gd name="connsiteY972" fmla="*/ 1446732 h 1934496"/>
              <a:gd name="connsiteX973" fmla="*/ 6628239 w 9922465"/>
              <a:gd name="connsiteY973" fmla="*/ 1391541 h 1934496"/>
              <a:gd name="connsiteX974" fmla="*/ 6683431 w 9922465"/>
              <a:gd name="connsiteY974" fmla="*/ 1336350 h 1934496"/>
              <a:gd name="connsiteX975" fmla="*/ 6553137 w 9922465"/>
              <a:gd name="connsiteY975" fmla="*/ 1336350 h 1934496"/>
              <a:gd name="connsiteX976" fmla="*/ 6608329 w 9922465"/>
              <a:gd name="connsiteY976" fmla="*/ 1391541 h 1934496"/>
              <a:gd name="connsiteX977" fmla="*/ 6553137 w 9922465"/>
              <a:gd name="connsiteY977" fmla="*/ 1446732 h 1934496"/>
              <a:gd name="connsiteX978" fmla="*/ 6497945 w 9922465"/>
              <a:gd name="connsiteY978" fmla="*/ 1391541 h 1934496"/>
              <a:gd name="connsiteX979" fmla="*/ 6553137 w 9922465"/>
              <a:gd name="connsiteY979" fmla="*/ 1336350 h 1934496"/>
              <a:gd name="connsiteX980" fmla="*/ 6419502 w 9922465"/>
              <a:gd name="connsiteY980" fmla="*/ 1336350 h 1934496"/>
              <a:gd name="connsiteX981" fmla="*/ 6474694 w 9922465"/>
              <a:gd name="connsiteY981" fmla="*/ 1391541 h 1934496"/>
              <a:gd name="connsiteX982" fmla="*/ 6419502 w 9922465"/>
              <a:gd name="connsiteY982" fmla="*/ 1446732 h 1934496"/>
              <a:gd name="connsiteX983" fmla="*/ 6364310 w 9922465"/>
              <a:gd name="connsiteY983" fmla="*/ 1391541 h 1934496"/>
              <a:gd name="connsiteX984" fmla="*/ 6419502 w 9922465"/>
              <a:gd name="connsiteY984" fmla="*/ 1336350 h 1934496"/>
              <a:gd name="connsiteX985" fmla="*/ 6289207 w 9922465"/>
              <a:gd name="connsiteY985" fmla="*/ 1336350 h 1934496"/>
              <a:gd name="connsiteX986" fmla="*/ 6344399 w 9922465"/>
              <a:gd name="connsiteY986" fmla="*/ 1391541 h 1934496"/>
              <a:gd name="connsiteX987" fmla="*/ 6289207 w 9922465"/>
              <a:gd name="connsiteY987" fmla="*/ 1446732 h 1934496"/>
              <a:gd name="connsiteX988" fmla="*/ 6234015 w 9922465"/>
              <a:gd name="connsiteY988" fmla="*/ 1391541 h 1934496"/>
              <a:gd name="connsiteX989" fmla="*/ 6289207 w 9922465"/>
              <a:gd name="connsiteY989" fmla="*/ 1336350 h 1934496"/>
              <a:gd name="connsiteX990" fmla="*/ 6155573 w 9922465"/>
              <a:gd name="connsiteY990" fmla="*/ 1336350 h 1934496"/>
              <a:gd name="connsiteX991" fmla="*/ 6210765 w 9922465"/>
              <a:gd name="connsiteY991" fmla="*/ 1391541 h 1934496"/>
              <a:gd name="connsiteX992" fmla="*/ 6155573 w 9922465"/>
              <a:gd name="connsiteY992" fmla="*/ 1446732 h 1934496"/>
              <a:gd name="connsiteX993" fmla="*/ 6100381 w 9922465"/>
              <a:gd name="connsiteY993" fmla="*/ 1391541 h 1934496"/>
              <a:gd name="connsiteX994" fmla="*/ 6155573 w 9922465"/>
              <a:gd name="connsiteY994" fmla="*/ 1336350 h 1934496"/>
              <a:gd name="connsiteX995" fmla="*/ 6021939 w 9922465"/>
              <a:gd name="connsiteY995" fmla="*/ 1336350 h 1934496"/>
              <a:gd name="connsiteX996" fmla="*/ 6077131 w 9922465"/>
              <a:gd name="connsiteY996" fmla="*/ 1391541 h 1934496"/>
              <a:gd name="connsiteX997" fmla="*/ 6021939 w 9922465"/>
              <a:gd name="connsiteY997" fmla="*/ 1446732 h 1934496"/>
              <a:gd name="connsiteX998" fmla="*/ 5966747 w 9922465"/>
              <a:gd name="connsiteY998" fmla="*/ 1391541 h 1934496"/>
              <a:gd name="connsiteX999" fmla="*/ 6021939 w 9922465"/>
              <a:gd name="connsiteY999" fmla="*/ 1336350 h 1934496"/>
              <a:gd name="connsiteX1000" fmla="*/ 5884964 w 9922465"/>
              <a:gd name="connsiteY1000" fmla="*/ 1336350 h 1934496"/>
              <a:gd name="connsiteX1001" fmla="*/ 5940156 w 9922465"/>
              <a:gd name="connsiteY1001" fmla="*/ 1391541 h 1934496"/>
              <a:gd name="connsiteX1002" fmla="*/ 5884964 w 9922465"/>
              <a:gd name="connsiteY1002" fmla="*/ 1446732 h 1934496"/>
              <a:gd name="connsiteX1003" fmla="*/ 5829772 w 9922465"/>
              <a:gd name="connsiteY1003" fmla="*/ 1391541 h 1934496"/>
              <a:gd name="connsiteX1004" fmla="*/ 5884964 w 9922465"/>
              <a:gd name="connsiteY1004" fmla="*/ 1336350 h 1934496"/>
              <a:gd name="connsiteX1005" fmla="*/ 5754668 w 9922465"/>
              <a:gd name="connsiteY1005" fmla="*/ 1336350 h 1934496"/>
              <a:gd name="connsiteX1006" fmla="*/ 5809860 w 9922465"/>
              <a:gd name="connsiteY1006" fmla="*/ 1391541 h 1934496"/>
              <a:gd name="connsiteX1007" fmla="*/ 5754668 w 9922465"/>
              <a:gd name="connsiteY1007" fmla="*/ 1446732 h 1934496"/>
              <a:gd name="connsiteX1008" fmla="*/ 5699476 w 9922465"/>
              <a:gd name="connsiteY1008" fmla="*/ 1391541 h 1934496"/>
              <a:gd name="connsiteX1009" fmla="*/ 5754668 w 9922465"/>
              <a:gd name="connsiteY1009" fmla="*/ 1336350 h 1934496"/>
              <a:gd name="connsiteX1010" fmla="*/ 5621035 w 9922465"/>
              <a:gd name="connsiteY1010" fmla="*/ 1336350 h 1934496"/>
              <a:gd name="connsiteX1011" fmla="*/ 5676227 w 9922465"/>
              <a:gd name="connsiteY1011" fmla="*/ 1391541 h 1934496"/>
              <a:gd name="connsiteX1012" fmla="*/ 5621035 w 9922465"/>
              <a:gd name="connsiteY1012" fmla="*/ 1446732 h 1934496"/>
              <a:gd name="connsiteX1013" fmla="*/ 5565843 w 9922465"/>
              <a:gd name="connsiteY1013" fmla="*/ 1391541 h 1934496"/>
              <a:gd name="connsiteX1014" fmla="*/ 5621035 w 9922465"/>
              <a:gd name="connsiteY1014" fmla="*/ 1336350 h 1934496"/>
              <a:gd name="connsiteX1015" fmla="*/ 5487399 w 9922465"/>
              <a:gd name="connsiteY1015" fmla="*/ 1336350 h 1934496"/>
              <a:gd name="connsiteX1016" fmla="*/ 5542591 w 9922465"/>
              <a:gd name="connsiteY1016" fmla="*/ 1391541 h 1934496"/>
              <a:gd name="connsiteX1017" fmla="*/ 5487399 w 9922465"/>
              <a:gd name="connsiteY1017" fmla="*/ 1446732 h 1934496"/>
              <a:gd name="connsiteX1018" fmla="*/ 5432207 w 9922465"/>
              <a:gd name="connsiteY1018" fmla="*/ 1391541 h 1934496"/>
              <a:gd name="connsiteX1019" fmla="*/ 5487399 w 9922465"/>
              <a:gd name="connsiteY1019" fmla="*/ 1336350 h 1934496"/>
              <a:gd name="connsiteX1020" fmla="*/ 5357106 w 9922465"/>
              <a:gd name="connsiteY1020" fmla="*/ 1336350 h 1934496"/>
              <a:gd name="connsiteX1021" fmla="*/ 5412298 w 9922465"/>
              <a:gd name="connsiteY1021" fmla="*/ 1391541 h 1934496"/>
              <a:gd name="connsiteX1022" fmla="*/ 5357106 w 9922465"/>
              <a:gd name="connsiteY1022" fmla="*/ 1446732 h 1934496"/>
              <a:gd name="connsiteX1023" fmla="*/ 5301914 w 9922465"/>
              <a:gd name="connsiteY1023" fmla="*/ 1391541 h 1934496"/>
              <a:gd name="connsiteX1024" fmla="*/ 5357106 w 9922465"/>
              <a:gd name="connsiteY1024" fmla="*/ 1336350 h 1934496"/>
              <a:gd name="connsiteX1025" fmla="*/ 4959543 w 9922465"/>
              <a:gd name="connsiteY1025" fmla="*/ 1336350 h 1934496"/>
              <a:gd name="connsiteX1026" fmla="*/ 5014735 w 9922465"/>
              <a:gd name="connsiteY1026" fmla="*/ 1391541 h 1934496"/>
              <a:gd name="connsiteX1027" fmla="*/ 4959543 w 9922465"/>
              <a:gd name="connsiteY1027" fmla="*/ 1446732 h 1934496"/>
              <a:gd name="connsiteX1028" fmla="*/ 4904351 w 9922465"/>
              <a:gd name="connsiteY1028" fmla="*/ 1391541 h 1934496"/>
              <a:gd name="connsiteX1029" fmla="*/ 4959543 w 9922465"/>
              <a:gd name="connsiteY1029" fmla="*/ 1336350 h 1934496"/>
              <a:gd name="connsiteX1030" fmla="*/ 4565322 w 9922465"/>
              <a:gd name="connsiteY1030" fmla="*/ 1336350 h 1934496"/>
              <a:gd name="connsiteX1031" fmla="*/ 4620514 w 9922465"/>
              <a:gd name="connsiteY1031" fmla="*/ 1391541 h 1934496"/>
              <a:gd name="connsiteX1032" fmla="*/ 4565322 w 9922465"/>
              <a:gd name="connsiteY1032" fmla="*/ 1446732 h 1934496"/>
              <a:gd name="connsiteX1033" fmla="*/ 4510130 w 9922465"/>
              <a:gd name="connsiteY1033" fmla="*/ 1391541 h 1934496"/>
              <a:gd name="connsiteX1034" fmla="*/ 4565322 w 9922465"/>
              <a:gd name="connsiteY1034" fmla="*/ 1336350 h 1934496"/>
              <a:gd name="connsiteX1035" fmla="*/ 2971729 w 9922465"/>
              <a:gd name="connsiteY1035" fmla="*/ 1336350 h 1934496"/>
              <a:gd name="connsiteX1036" fmla="*/ 3026921 w 9922465"/>
              <a:gd name="connsiteY1036" fmla="*/ 1391541 h 1934496"/>
              <a:gd name="connsiteX1037" fmla="*/ 2971729 w 9922465"/>
              <a:gd name="connsiteY1037" fmla="*/ 1446732 h 1934496"/>
              <a:gd name="connsiteX1038" fmla="*/ 2916537 w 9922465"/>
              <a:gd name="connsiteY1038" fmla="*/ 1391541 h 1934496"/>
              <a:gd name="connsiteX1039" fmla="*/ 2971729 w 9922465"/>
              <a:gd name="connsiteY1039" fmla="*/ 1336350 h 1934496"/>
              <a:gd name="connsiteX1040" fmla="*/ 2834801 w 9922465"/>
              <a:gd name="connsiteY1040" fmla="*/ 1336350 h 1934496"/>
              <a:gd name="connsiteX1041" fmla="*/ 2889994 w 9922465"/>
              <a:gd name="connsiteY1041" fmla="*/ 1391541 h 1934496"/>
              <a:gd name="connsiteX1042" fmla="*/ 2834801 w 9922465"/>
              <a:gd name="connsiteY1042" fmla="*/ 1446732 h 1934496"/>
              <a:gd name="connsiteX1043" fmla="*/ 2779610 w 9922465"/>
              <a:gd name="connsiteY1043" fmla="*/ 1391541 h 1934496"/>
              <a:gd name="connsiteX1044" fmla="*/ 2834801 w 9922465"/>
              <a:gd name="connsiteY1044" fmla="*/ 1336350 h 1934496"/>
              <a:gd name="connsiteX1045" fmla="*/ 2707848 w 9922465"/>
              <a:gd name="connsiteY1045" fmla="*/ 1336350 h 1934496"/>
              <a:gd name="connsiteX1046" fmla="*/ 2763042 w 9922465"/>
              <a:gd name="connsiteY1046" fmla="*/ 1391541 h 1934496"/>
              <a:gd name="connsiteX1047" fmla="*/ 2707848 w 9922465"/>
              <a:gd name="connsiteY1047" fmla="*/ 1446732 h 1934496"/>
              <a:gd name="connsiteX1048" fmla="*/ 2652656 w 9922465"/>
              <a:gd name="connsiteY1048" fmla="*/ 1391541 h 1934496"/>
              <a:gd name="connsiteX1049" fmla="*/ 2707848 w 9922465"/>
              <a:gd name="connsiteY1049" fmla="*/ 1336350 h 1934496"/>
              <a:gd name="connsiteX1050" fmla="*/ 2570875 w 9922465"/>
              <a:gd name="connsiteY1050" fmla="*/ 1336350 h 1934496"/>
              <a:gd name="connsiteX1051" fmla="*/ 2626067 w 9922465"/>
              <a:gd name="connsiteY1051" fmla="*/ 1391541 h 1934496"/>
              <a:gd name="connsiteX1052" fmla="*/ 2570875 w 9922465"/>
              <a:gd name="connsiteY1052" fmla="*/ 1446732 h 1934496"/>
              <a:gd name="connsiteX1053" fmla="*/ 2515683 w 9922465"/>
              <a:gd name="connsiteY1053" fmla="*/ 1391541 h 1934496"/>
              <a:gd name="connsiteX1054" fmla="*/ 2570875 w 9922465"/>
              <a:gd name="connsiteY1054" fmla="*/ 1336350 h 1934496"/>
              <a:gd name="connsiteX1055" fmla="*/ 2173314 w 9922465"/>
              <a:gd name="connsiteY1055" fmla="*/ 1336350 h 1934496"/>
              <a:gd name="connsiteX1056" fmla="*/ 2228507 w 9922465"/>
              <a:gd name="connsiteY1056" fmla="*/ 1391541 h 1934496"/>
              <a:gd name="connsiteX1057" fmla="*/ 2173314 w 9922465"/>
              <a:gd name="connsiteY1057" fmla="*/ 1446732 h 1934496"/>
              <a:gd name="connsiteX1058" fmla="*/ 2118122 w 9922465"/>
              <a:gd name="connsiteY1058" fmla="*/ 1391541 h 1934496"/>
              <a:gd name="connsiteX1059" fmla="*/ 2173314 w 9922465"/>
              <a:gd name="connsiteY1059" fmla="*/ 1336350 h 1934496"/>
              <a:gd name="connsiteX1060" fmla="*/ 2039678 w 9922465"/>
              <a:gd name="connsiteY1060" fmla="*/ 1336350 h 1934496"/>
              <a:gd name="connsiteX1061" fmla="*/ 2094870 w 9922465"/>
              <a:gd name="connsiteY1061" fmla="*/ 1391541 h 1934496"/>
              <a:gd name="connsiteX1062" fmla="*/ 2039678 w 9922465"/>
              <a:gd name="connsiteY1062" fmla="*/ 1446732 h 1934496"/>
              <a:gd name="connsiteX1063" fmla="*/ 1984484 w 9922465"/>
              <a:gd name="connsiteY1063" fmla="*/ 1391541 h 1934496"/>
              <a:gd name="connsiteX1064" fmla="*/ 2039678 w 9922465"/>
              <a:gd name="connsiteY1064" fmla="*/ 1336350 h 1934496"/>
              <a:gd name="connsiteX1065" fmla="*/ 1909381 w 9922465"/>
              <a:gd name="connsiteY1065" fmla="*/ 1336350 h 1934496"/>
              <a:gd name="connsiteX1066" fmla="*/ 1964575 w 9922465"/>
              <a:gd name="connsiteY1066" fmla="*/ 1391541 h 1934496"/>
              <a:gd name="connsiteX1067" fmla="*/ 1909381 w 9922465"/>
              <a:gd name="connsiteY1067" fmla="*/ 1446732 h 1934496"/>
              <a:gd name="connsiteX1068" fmla="*/ 1854188 w 9922465"/>
              <a:gd name="connsiteY1068" fmla="*/ 1391541 h 1934496"/>
              <a:gd name="connsiteX1069" fmla="*/ 1909381 w 9922465"/>
              <a:gd name="connsiteY1069" fmla="*/ 1336350 h 1934496"/>
              <a:gd name="connsiteX1070" fmla="*/ 1779086 w 9922465"/>
              <a:gd name="connsiteY1070" fmla="*/ 1336350 h 1934496"/>
              <a:gd name="connsiteX1071" fmla="*/ 1834278 w 9922465"/>
              <a:gd name="connsiteY1071" fmla="*/ 1391541 h 1934496"/>
              <a:gd name="connsiteX1072" fmla="*/ 1779086 w 9922465"/>
              <a:gd name="connsiteY1072" fmla="*/ 1446732 h 1934496"/>
              <a:gd name="connsiteX1073" fmla="*/ 1723892 w 9922465"/>
              <a:gd name="connsiteY1073" fmla="*/ 1391541 h 1934496"/>
              <a:gd name="connsiteX1074" fmla="*/ 1779086 w 9922465"/>
              <a:gd name="connsiteY1074" fmla="*/ 1336350 h 1934496"/>
              <a:gd name="connsiteX1075" fmla="*/ 1645448 w 9922465"/>
              <a:gd name="connsiteY1075" fmla="*/ 1336350 h 1934496"/>
              <a:gd name="connsiteX1076" fmla="*/ 1700644 w 9922465"/>
              <a:gd name="connsiteY1076" fmla="*/ 1391541 h 1934496"/>
              <a:gd name="connsiteX1077" fmla="*/ 1645448 w 9922465"/>
              <a:gd name="connsiteY1077" fmla="*/ 1446732 h 1934496"/>
              <a:gd name="connsiteX1078" fmla="*/ 1590256 w 9922465"/>
              <a:gd name="connsiteY1078" fmla="*/ 1391541 h 1934496"/>
              <a:gd name="connsiteX1079" fmla="*/ 1645448 w 9922465"/>
              <a:gd name="connsiteY1079" fmla="*/ 1336350 h 1934496"/>
              <a:gd name="connsiteX1080" fmla="*/ 1515160 w 9922465"/>
              <a:gd name="connsiteY1080" fmla="*/ 1336350 h 1934496"/>
              <a:gd name="connsiteX1081" fmla="*/ 1570346 w 9922465"/>
              <a:gd name="connsiteY1081" fmla="*/ 1391541 h 1934496"/>
              <a:gd name="connsiteX1082" fmla="*/ 1515160 w 9922465"/>
              <a:gd name="connsiteY1082" fmla="*/ 1446732 h 1934496"/>
              <a:gd name="connsiteX1083" fmla="*/ 1459963 w 9922465"/>
              <a:gd name="connsiteY1083" fmla="*/ 1391541 h 1934496"/>
              <a:gd name="connsiteX1084" fmla="*/ 1515160 w 9922465"/>
              <a:gd name="connsiteY1084" fmla="*/ 1336350 h 1934496"/>
              <a:gd name="connsiteX1085" fmla="*/ 1381522 w 9922465"/>
              <a:gd name="connsiteY1085" fmla="*/ 1336350 h 1934496"/>
              <a:gd name="connsiteX1086" fmla="*/ 1436714 w 9922465"/>
              <a:gd name="connsiteY1086" fmla="*/ 1391541 h 1934496"/>
              <a:gd name="connsiteX1087" fmla="*/ 1381522 w 9922465"/>
              <a:gd name="connsiteY1087" fmla="*/ 1446732 h 1934496"/>
              <a:gd name="connsiteX1088" fmla="*/ 1326330 w 9922465"/>
              <a:gd name="connsiteY1088" fmla="*/ 1391541 h 1934496"/>
              <a:gd name="connsiteX1089" fmla="*/ 1381522 w 9922465"/>
              <a:gd name="connsiteY1089" fmla="*/ 1336350 h 1934496"/>
              <a:gd name="connsiteX1090" fmla="*/ 1251229 w 9922465"/>
              <a:gd name="connsiteY1090" fmla="*/ 1336350 h 1934496"/>
              <a:gd name="connsiteX1091" fmla="*/ 1306421 w 9922465"/>
              <a:gd name="connsiteY1091" fmla="*/ 1391541 h 1934496"/>
              <a:gd name="connsiteX1092" fmla="*/ 1251229 w 9922465"/>
              <a:gd name="connsiteY1092" fmla="*/ 1446732 h 1934496"/>
              <a:gd name="connsiteX1093" fmla="*/ 1196037 w 9922465"/>
              <a:gd name="connsiteY1093" fmla="*/ 1391541 h 1934496"/>
              <a:gd name="connsiteX1094" fmla="*/ 1251229 w 9922465"/>
              <a:gd name="connsiteY1094" fmla="*/ 1336350 h 1934496"/>
              <a:gd name="connsiteX1095" fmla="*/ 1117592 w 9922465"/>
              <a:gd name="connsiteY1095" fmla="*/ 1336350 h 1934496"/>
              <a:gd name="connsiteX1096" fmla="*/ 1172785 w 9922465"/>
              <a:gd name="connsiteY1096" fmla="*/ 1391541 h 1934496"/>
              <a:gd name="connsiteX1097" fmla="*/ 1117592 w 9922465"/>
              <a:gd name="connsiteY1097" fmla="*/ 1446732 h 1934496"/>
              <a:gd name="connsiteX1098" fmla="*/ 1062400 w 9922465"/>
              <a:gd name="connsiteY1098" fmla="*/ 1391541 h 1934496"/>
              <a:gd name="connsiteX1099" fmla="*/ 1117592 w 9922465"/>
              <a:gd name="connsiteY1099" fmla="*/ 1336350 h 1934496"/>
              <a:gd name="connsiteX1100" fmla="*/ 980615 w 9922465"/>
              <a:gd name="connsiteY1100" fmla="*/ 1336350 h 1934496"/>
              <a:gd name="connsiteX1101" fmla="*/ 1035808 w 9922465"/>
              <a:gd name="connsiteY1101" fmla="*/ 1391541 h 1934496"/>
              <a:gd name="connsiteX1102" fmla="*/ 980615 w 9922465"/>
              <a:gd name="connsiteY1102" fmla="*/ 1446732 h 1934496"/>
              <a:gd name="connsiteX1103" fmla="*/ 925422 w 9922465"/>
              <a:gd name="connsiteY1103" fmla="*/ 1391541 h 1934496"/>
              <a:gd name="connsiteX1104" fmla="*/ 980615 w 9922465"/>
              <a:gd name="connsiteY1104" fmla="*/ 1336350 h 1934496"/>
              <a:gd name="connsiteX1105" fmla="*/ 9199101 w 9922465"/>
              <a:gd name="connsiteY1105" fmla="*/ 1336348 h 1934496"/>
              <a:gd name="connsiteX1106" fmla="*/ 9254293 w 9922465"/>
              <a:gd name="connsiteY1106" fmla="*/ 1391539 h 1934496"/>
              <a:gd name="connsiteX1107" fmla="*/ 9199101 w 9922465"/>
              <a:gd name="connsiteY1107" fmla="*/ 1446730 h 1934496"/>
              <a:gd name="connsiteX1108" fmla="*/ 9143909 w 9922465"/>
              <a:gd name="connsiteY1108" fmla="*/ 1391539 h 1934496"/>
              <a:gd name="connsiteX1109" fmla="*/ 9199101 w 9922465"/>
              <a:gd name="connsiteY1109" fmla="*/ 1336348 h 1934496"/>
              <a:gd name="connsiteX1110" fmla="*/ 9068807 w 9922465"/>
              <a:gd name="connsiteY1110" fmla="*/ 1336348 h 1934496"/>
              <a:gd name="connsiteX1111" fmla="*/ 9123999 w 9922465"/>
              <a:gd name="connsiteY1111" fmla="*/ 1391539 h 1934496"/>
              <a:gd name="connsiteX1112" fmla="*/ 9068807 w 9922465"/>
              <a:gd name="connsiteY1112" fmla="*/ 1446730 h 1934496"/>
              <a:gd name="connsiteX1113" fmla="*/ 9013615 w 9922465"/>
              <a:gd name="connsiteY1113" fmla="*/ 1391539 h 1934496"/>
              <a:gd name="connsiteX1114" fmla="*/ 9068807 w 9922465"/>
              <a:gd name="connsiteY1114" fmla="*/ 1336348 h 1934496"/>
              <a:gd name="connsiteX1115" fmla="*/ 8407316 w 9922465"/>
              <a:gd name="connsiteY1115" fmla="*/ 1336348 h 1934496"/>
              <a:gd name="connsiteX1116" fmla="*/ 8462508 w 9922465"/>
              <a:gd name="connsiteY1116" fmla="*/ 1391539 h 1934496"/>
              <a:gd name="connsiteX1117" fmla="*/ 8407316 w 9922465"/>
              <a:gd name="connsiteY1117" fmla="*/ 1446730 h 1934496"/>
              <a:gd name="connsiteX1118" fmla="*/ 8352124 w 9922465"/>
              <a:gd name="connsiteY1118" fmla="*/ 1391539 h 1934496"/>
              <a:gd name="connsiteX1119" fmla="*/ 8407316 w 9922465"/>
              <a:gd name="connsiteY1119" fmla="*/ 1336348 h 1934496"/>
              <a:gd name="connsiteX1120" fmla="*/ 8273682 w 9922465"/>
              <a:gd name="connsiteY1120" fmla="*/ 1336348 h 1934496"/>
              <a:gd name="connsiteX1121" fmla="*/ 8328874 w 9922465"/>
              <a:gd name="connsiteY1121" fmla="*/ 1391539 h 1934496"/>
              <a:gd name="connsiteX1122" fmla="*/ 8273682 w 9922465"/>
              <a:gd name="connsiteY1122" fmla="*/ 1446730 h 1934496"/>
              <a:gd name="connsiteX1123" fmla="*/ 8218490 w 9922465"/>
              <a:gd name="connsiteY1123" fmla="*/ 1391539 h 1934496"/>
              <a:gd name="connsiteX1124" fmla="*/ 8273682 w 9922465"/>
              <a:gd name="connsiteY1124" fmla="*/ 1336348 h 1934496"/>
              <a:gd name="connsiteX1125" fmla="*/ 8143388 w 9922465"/>
              <a:gd name="connsiteY1125" fmla="*/ 1336348 h 1934496"/>
              <a:gd name="connsiteX1126" fmla="*/ 8198580 w 9922465"/>
              <a:gd name="connsiteY1126" fmla="*/ 1391539 h 1934496"/>
              <a:gd name="connsiteX1127" fmla="*/ 8143388 w 9922465"/>
              <a:gd name="connsiteY1127" fmla="*/ 1446730 h 1934496"/>
              <a:gd name="connsiteX1128" fmla="*/ 8088196 w 9922465"/>
              <a:gd name="connsiteY1128" fmla="*/ 1391539 h 1934496"/>
              <a:gd name="connsiteX1129" fmla="*/ 8143388 w 9922465"/>
              <a:gd name="connsiteY1129" fmla="*/ 1336348 h 1934496"/>
              <a:gd name="connsiteX1130" fmla="*/ 8009753 w 9922465"/>
              <a:gd name="connsiteY1130" fmla="*/ 1336348 h 1934496"/>
              <a:gd name="connsiteX1131" fmla="*/ 8064945 w 9922465"/>
              <a:gd name="connsiteY1131" fmla="*/ 1391539 h 1934496"/>
              <a:gd name="connsiteX1132" fmla="*/ 8009753 w 9922465"/>
              <a:gd name="connsiteY1132" fmla="*/ 1446730 h 1934496"/>
              <a:gd name="connsiteX1133" fmla="*/ 7954561 w 9922465"/>
              <a:gd name="connsiteY1133" fmla="*/ 1391539 h 1934496"/>
              <a:gd name="connsiteX1134" fmla="*/ 8009753 w 9922465"/>
              <a:gd name="connsiteY1134" fmla="*/ 1336348 h 1934496"/>
              <a:gd name="connsiteX1135" fmla="*/ 7876118 w 9922465"/>
              <a:gd name="connsiteY1135" fmla="*/ 1336348 h 1934496"/>
              <a:gd name="connsiteX1136" fmla="*/ 7931310 w 9922465"/>
              <a:gd name="connsiteY1136" fmla="*/ 1391539 h 1934496"/>
              <a:gd name="connsiteX1137" fmla="*/ 7876118 w 9922465"/>
              <a:gd name="connsiteY1137" fmla="*/ 1446730 h 1934496"/>
              <a:gd name="connsiteX1138" fmla="*/ 7820926 w 9922465"/>
              <a:gd name="connsiteY1138" fmla="*/ 1391539 h 1934496"/>
              <a:gd name="connsiteX1139" fmla="*/ 7876118 w 9922465"/>
              <a:gd name="connsiteY1139" fmla="*/ 1336348 h 1934496"/>
              <a:gd name="connsiteX1140" fmla="*/ 7745823 w 9922465"/>
              <a:gd name="connsiteY1140" fmla="*/ 1336348 h 1934496"/>
              <a:gd name="connsiteX1141" fmla="*/ 7801015 w 9922465"/>
              <a:gd name="connsiteY1141" fmla="*/ 1391539 h 1934496"/>
              <a:gd name="connsiteX1142" fmla="*/ 7745823 w 9922465"/>
              <a:gd name="connsiteY1142" fmla="*/ 1446730 h 1934496"/>
              <a:gd name="connsiteX1143" fmla="*/ 7690631 w 9922465"/>
              <a:gd name="connsiteY1143" fmla="*/ 1391539 h 1934496"/>
              <a:gd name="connsiteX1144" fmla="*/ 7745823 w 9922465"/>
              <a:gd name="connsiteY1144" fmla="*/ 1336348 h 1934496"/>
              <a:gd name="connsiteX1145" fmla="*/ 185475 w 9922465"/>
              <a:gd name="connsiteY1145" fmla="*/ 1336348 h 1934496"/>
              <a:gd name="connsiteX1146" fmla="*/ 240666 w 9922465"/>
              <a:gd name="connsiteY1146" fmla="*/ 1391539 h 1934496"/>
              <a:gd name="connsiteX1147" fmla="*/ 185475 w 9922465"/>
              <a:gd name="connsiteY1147" fmla="*/ 1446730 h 1934496"/>
              <a:gd name="connsiteX1148" fmla="*/ 130283 w 9922465"/>
              <a:gd name="connsiteY1148" fmla="*/ 1391539 h 1934496"/>
              <a:gd name="connsiteX1149" fmla="*/ 185475 w 9922465"/>
              <a:gd name="connsiteY1149" fmla="*/ 1336348 h 1934496"/>
              <a:gd name="connsiteX1150" fmla="*/ 9199101 w 9922465"/>
              <a:gd name="connsiteY1150" fmla="*/ 1219421 h 1934496"/>
              <a:gd name="connsiteX1151" fmla="*/ 9254293 w 9922465"/>
              <a:gd name="connsiteY1151" fmla="*/ 1274612 h 1934496"/>
              <a:gd name="connsiteX1152" fmla="*/ 9199101 w 9922465"/>
              <a:gd name="connsiteY1152" fmla="*/ 1329803 h 1934496"/>
              <a:gd name="connsiteX1153" fmla="*/ 9143909 w 9922465"/>
              <a:gd name="connsiteY1153" fmla="*/ 1274612 h 1934496"/>
              <a:gd name="connsiteX1154" fmla="*/ 9199101 w 9922465"/>
              <a:gd name="connsiteY1154" fmla="*/ 1219421 h 1934496"/>
              <a:gd name="connsiteX1155" fmla="*/ 9068807 w 9922465"/>
              <a:gd name="connsiteY1155" fmla="*/ 1219421 h 1934496"/>
              <a:gd name="connsiteX1156" fmla="*/ 9123999 w 9922465"/>
              <a:gd name="connsiteY1156" fmla="*/ 1274612 h 1934496"/>
              <a:gd name="connsiteX1157" fmla="*/ 9068807 w 9922465"/>
              <a:gd name="connsiteY1157" fmla="*/ 1329803 h 1934496"/>
              <a:gd name="connsiteX1158" fmla="*/ 9013615 w 9922465"/>
              <a:gd name="connsiteY1158" fmla="*/ 1274612 h 1934496"/>
              <a:gd name="connsiteX1159" fmla="*/ 9068807 w 9922465"/>
              <a:gd name="connsiteY1159" fmla="*/ 1219421 h 1934496"/>
              <a:gd name="connsiteX1160" fmla="*/ 8537612 w 9922465"/>
              <a:gd name="connsiteY1160" fmla="*/ 1219421 h 1934496"/>
              <a:gd name="connsiteX1161" fmla="*/ 8592804 w 9922465"/>
              <a:gd name="connsiteY1161" fmla="*/ 1274612 h 1934496"/>
              <a:gd name="connsiteX1162" fmla="*/ 8537612 w 9922465"/>
              <a:gd name="connsiteY1162" fmla="*/ 1329803 h 1934496"/>
              <a:gd name="connsiteX1163" fmla="*/ 8482420 w 9922465"/>
              <a:gd name="connsiteY1163" fmla="*/ 1274612 h 1934496"/>
              <a:gd name="connsiteX1164" fmla="*/ 8537612 w 9922465"/>
              <a:gd name="connsiteY1164" fmla="*/ 1219421 h 1934496"/>
              <a:gd name="connsiteX1165" fmla="*/ 8407316 w 9922465"/>
              <a:gd name="connsiteY1165" fmla="*/ 1219421 h 1934496"/>
              <a:gd name="connsiteX1166" fmla="*/ 8462508 w 9922465"/>
              <a:gd name="connsiteY1166" fmla="*/ 1274612 h 1934496"/>
              <a:gd name="connsiteX1167" fmla="*/ 8407316 w 9922465"/>
              <a:gd name="connsiteY1167" fmla="*/ 1329803 h 1934496"/>
              <a:gd name="connsiteX1168" fmla="*/ 8352124 w 9922465"/>
              <a:gd name="connsiteY1168" fmla="*/ 1274612 h 1934496"/>
              <a:gd name="connsiteX1169" fmla="*/ 8407316 w 9922465"/>
              <a:gd name="connsiteY1169" fmla="*/ 1219421 h 1934496"/>
              <a:gd name="connsiteX1170" fmla="*/ 8273682 w 9922465"/>
              <a:gd name="connsiteY1170" fmla="*/ 1219421 h 1934496"/>
              <a:gd name="connsiteX1171" fmla="*/ 8328874 w 9922465"/>
              <a:gd name="connsiteY1171" fmla="*/ 1274612 h 1934496"/>
              <a:gd name="connsiteX1172" fmla="*/ 8273682 w 9922465"/>
              <a:gd name="connsiteY1172" fmla="*/ 1329803 h 1934496"/>
              <a:gd name="connsiteX1173" fmla="*/ 8218490 w 9922465"/>
              <a:gd name="connsiteY1173" fmla="*/ 1274612 h 1934496"/>
              <a:gd name="connsiteX1174" fmla="*/ 8273682 w 9922465"/>
              <a:gd name="connsiteY1174" fmla="*/ 1219421 h 1934496"/>
              <a:gd name="connsiteX1175" fmla="*/ 8143388 w 9922465"/>
              <a:gd name="connsiteY1175" fmla="*/ 1219421 h 1934496"/>
              <a:gd name="connsiteX1176" fmla="*/ 8198580 w 9922465"/>
              <a:gd name="connsiteY1176" fmla="*/ 1274612 h 1934496"/>
              <a:gd name="connsiteX1177" fmla="*/ 8143388 w 9922465"/>
              <a:gd name="connsiteY1177" fmla="*/ 1329803 h 1934496"/>
              <a:gd name="connsiteX1178" fmla="*/ 8088196 w 9922465"/>
              <a:gd name="connsiteY1178" fmla="*/ 1274612 h 1934496"/>
              <a:gd name="connsiteX1179" fmla="*/ 8143388 w 9922465"/>
              <a:gd name="connsiteY1179" fmla="*/ 1219421 h 1934496"/>
              <a:gd name="connsiteX1180" fmla="*/ 8009753 w 9922465"/>
              <a:gd name="connsiteY1180" fmla="*/ 1219421 h 1934496"/>
              <a:gd name="connsiteX1181" fmla="*/ 8064945 w 9922465"/>
              <a:gd name="connsiteY1181" fmla="*/ 1274612 h 1934496"/>
              <a:gd name="connsiteX1182" fmla="*/ 8009753 w 9922465"/>
              <a:gd name="connsiteY1182" fmla="*/ 1329803 h 1934496"/>
              <a:gd name="connsiteX1183" fmla="*/ 7954561 w 9922465"/>
              <a:gd name="connsiteY1183" fmla="*/ 1274612 h 1934496"/>
              <a:gd name="connsiteX1184" fmla="*/ 8009753 w 9922465"/>
              <a:gd name="connsiteY1184" fmla="*/ 1219421 h 1934496"/>
              <a:gd name="connsiteX1185" fmla="*/ 7876118 w 9922465"/>
              <a:gd name="connsiteY1185" fmla="*/ 1219421 h 1934496"/>
              <a:gd name="connsiteX1186" fmla="*/ 7931310 w 9922465"/>
              <a:gd name="connsiteY1186" fmla="*/ 1274612 h 1934496"/>
              <a:gd name="connsiteX1187" fmla="*/ 7876118 w 9922465"/>
              <a:gd name="connsiteY1187" fmla="*/ 1329803 h 1934496"/>
              <a:gd name="connsiteX1188" fmla="*/ 7820926 w 9922465"/>
              <a:gd name="connsiteY1188" fmla="*/ 1274612 h 1934496"/>
              <a:gd name="connsiteX1189" fmla="*/ 7876118 w 9922465"/>
              <a:gd name="connsiteY1189" fmla="*/ 1219421 h 1934496"/>
              <a:gd name="connsiteX1190" fmla="*/ 7745823 w 9922465"/>
              <a:gd name="connsiteY1190" fmla="*/ 1219421 h 1934496"/>
              <a:gd name="connsiteX1191" fmla="*/ 7801015 w 9922465"/>
              <a:gd name="connsiteY1191" fmla="*/ 1274612 h 1934496"/>
              <a:gd name="connsiteX1192" fmla="*/ 7745823 w 9922465"/>
              <a:gd name="connsiteY1192" fmla="*/ 1329803 h 1934496"/>
              <a:gd name="connsiteX1193" fmla="*/ 7690631 w 9922465"/>
              <a:gd name="connsiteY1193" fmla="*/ 1274612 h 1934496"/>
              <a:gd name="connsiteX1194" fmla="*/ 7745823 w 9922465"/>
              <a:gd name="connsiteY1194" fmla="*/ 1219421 h 1934496"/>
              <a:gd name="connsiteX1195" fmla="*/ 7608849 w 9922465"/>
              <a:gd name="connsiteY1195" fmla="*/ 1219421 h 1934496"/>
              <a:gd name="connsiteX1196" fmla="*/ 7664041 w 9922465"/>
              <a:gd name="connsiteY1196" fmla="*/ 1274612 h 1934496"/>
              <a:gd name="connsiteX1197" fmla="*/ 7608849 w 9922465"/>
              <a:gd name="connsiteY1197" fmla="*/ 1329803 h 1934496"/>
              <a:gd name="connsiteX1198" fmla="*/ 7553657 w 9922465"/>
              <a:gd name="connsiteY1198" fmla="*/ 1274612 h 1934496"/>
              <a:gd name="connsiteX1199" fmla="*/ 7608849 w 9922465"/>
              <a:gd name="connsiteY1199" fmla="*/ 1219421 h 1934496"/>
              <a:gd name="connsiteX1200" fmla="*/ 7481897 w 9922465"/>
              <a:gd name="connsiteY1200" fmla="*/ 1219421 h 1934496"/>
              <a:gd name="connsiteX1201" fmla="*/ 7537089 w 9922465"/>
              <a:gd name="connsiteY1201" fmla="*/ 1274612 h 1934496"/>
              <a:gd name="connsiteX1202" fmla="*/ 7481897 w 9922465"/>
              <a:gd name="connsiteY1202" fmla="*/ 1329803 h 1934496"/>
              <a:gd name="connsiteX1203" fmla="*/ 7426705 w 9922465"/>
              <a:gd name="connsiteY1203" fmla="*/ 1274612 h 1934496"/>
              <a:gd name="connsiteX1204" fmla="*/ 7481897 w 9922465"/>
              <a:gd name="connsiteY1204" fmla="*/ 1219421 h 1934496"/>
              <a:gd name="connsiteX1205" fmla="*/ 7341579 w 9922465"/>
              <a:gd name="connsiteY1205" fmla="*/ 1219421 h 1934496"/>
              <a:gd name="connsiteX1206" fmla="*/ 7396771 w 9922465"/>
              <a:gd name="connsiteY1206" fmla="*/ 1274612 h 1934496"/>
              <a:gd name="connsiteX1207" fmla="*/ 7341579 w 9922465"/>
              <a:gd name="connsiteY1207" fmla="*/ 1329803 h 1934496"/>
              <a:gd name="connsiteX1208" fmla="*/ 7286387 w 9922465"/>
              <a:gd name="connsiteY1208" fmla="*/ 1274612 h 1934496"/>
              <a:gd name="connsiteX1209" fmla="*/ 7341579 w 9922465"/>
              <a:gd name="connsiteY1209" fmla="*/ 1219421 h 1934496"/>
              <a:gd name="connsiteX1210" fmla="*/ 7211286 w 9922465"/>
              <a:gd name="connsiteY1210" fmla="*/ 1219421 h 1934496"/>
              <a:gd name="connsiteX1211" fmla="*/ 7266478 w 9922465"/>
              <a:gd name="connsiteY1211" fmla="*/ 1274612 h 1934496"/>
              <a:gd name="connsiteX1212" fmla="*/ 7211286 w 9922465"/>
              <a:gd name="connsiteY1212" fmla="*/ 1329803 h 1934496"/>
              <a:gd name="connsiteX1213" fmla="*/ 7156094 w 9922465"/>
              <a:gd name="connsiteY1213" fmla="*/ 1274612 h 1934496"/>
              <a:gd name="connsiteX1214" fmla="*/ 7211286 w 9922465"/>
              <a:gd name="connsiteY1214" fmla="*/ 1219421 h 1934496"/>
              <a:gd name="connsiteX1215" fmla="*/ 7080993 w 9922465"/>
              <a:gd name="connsiteY1215" fmla="*/ 1219421 h 1934496"/>
              <a:gd name="connsiteX1216" fmla="*/ 7136185 w 9922465"/>
              <a:gd name="connsiteY1216" fmla="*/ 1274612 h 1934496"/>
              <a:gd name="connsiteX1217" fmla="*/ 7080993 w 9922465"/>
              <a:gd name="connsiteY1217" fmla="*/ 1329803 h 1934496"/>
              <a:gd name="connsiteX1218" fmla="*/ 7025801 w 9922465"/>
              <a:gd name="connsiteY1218" fmla="*/ 1274612 h 1934496"/>
              <a:gd name="connsiteX1219" fmla="*/ 7080993 w 9922465"/>
              <a:gd name="connsiteY1219" fmla="*/ 1219421 h 1934496"/>
              <a:gd name="connsiteX1220" fmla="*/ 6947357 w 9922465"/>
              <a:gd name="connsiteY1220" fmla="*/ 1219421 h 1934496"/>
              <a:gd name="connsiteX1221" fmla="*/ 7002549 w 9922465"/>
              <a:gd name="connsiteY1221" fmla="*/ 1274612 h 1934496"/>
              <a:gd name="connsiteX1222" fmla="*/ 6947357 w 9922465"/>
              <a:gd name="connsiteY1222" fmla="*/ 1329803 h 1934496"/>
              <a:gd name="connsiteX1223" fmla="*/ 6892165 w 9922465"/>
              <a:gd name="connsiteY1223" fmla="*/ 1274612 h 1934496"/>
              <a:gd name="connsiteX1224" fmla="*/ 6947357 w 9922465"/>
              <a:gd name="connsiteY1224" fmla="*/ 1219421 h 1934496"/>
              <a:gd name="connsiteX1225" fmla="*/ 6817064 w 9922465"/>
              <a:gd name="connsiteY1225" fmla="*/ 1219421 h 1934496"/>
              <a:gd name="connsiteX1226" fmla="*/ 6872256 w 9922465"/>
              <a:gd name="connsiteY1226" fmla="*/ 1274612 h 1934496"/>
              <a:gd name="connsiteX1227" fmla="*/ 6817064 w 9922465"/>
              <a:gd name="connsiteY1227" fmla="*/ 1329803 h 1934496"/>
              <a:gd name="connsiteX1228" fmla="*/ 6761872 w 9922465"/>
              <a:gd name="connsiteY1228" fmla="*/ 1274612 h 1934496"/>
              <a:gd name="connsiteX1229" fmla="*/ 6817064 w 9922465"/>
              <a:gd name="connsiteY1229" fmla="*/ 1219421 h 1934496"/>
              <a:gd name="connsiteX1230" fmla="*/ 6683431 w 9922465"/>
              <a:gd name="connsiteY1230" fmla="*/ 1219421 h 1934496"/>
              <a:gd name="connsiteX1231" fmla="*/ 6738623 w 9922465"/>
              <a:gd name="connsiteY1231" fmla="*/ 1274612 h 1934496"/>
              <a:gd name="connsiteX1232" fmla="*/ 6683431 w 9922465"/>
              <a:gd name="connsiteY1232" fmla="*/ 1329803 h 1934496"/>
              <a:gd name="connsiteX1233" fmla="*/ 6628239 w 9922465"/>
              <a:gd name="connsiteY1233" fmla="*/ 1274612 h 1934496"/>
              <a:gd name="connsiteX1234" fmla="*/ 6683431 w 9922465"/>
              <a:gd name="connsiteY1234" fmla="*/ 1219421 h 1934496"/>
              <a:gd name="connsiteX1235" fmla="*/ 6553137 w 9922465"/>
              <a:gd name="connsiteY1235" fmla="*/ 1219421 h 1934496"/>
              <a:gd name="connsiteX1236" fmla="*/ 6608329 w 9922465"/>
              <a:gd name="connsiteY1236" fmla="*/ 1274612 h 1934496"/>
              <a:gd name="connsiteX1237" fmla="*/ 6553137 w 9922465"/>
              <a:gd name="connsiteY1237" fmla="*/ 1329803 h 1934496"/>
              <a:gd name="connsiteX1238" fmla="*/ 6497945 w 9922465"/>
              <a:gd name="connsiteY1238" fmla="*/ 1274612 h 1934496"/>
              <a:gd name="connsiteX1239" fmla="*/ 6553137 w 9922465"/>
              <a:gd name="connsiteY1239" fmla="*/ 1219421 h 1934496"/>
              <a:gd name="connsiteX1240" fmla="*/ 6419502 w 9922465"/>
              <a:gd name="connsiteY1240" fmla="*/ 1219421 h 1934496"/>
              <a:gd name="connsiteX1241" fmla="*/ 6474694 w 9922465"/>
              <a:gd name="connsiteY1241" fmla="*/ 1274612 h 1934496"/>
              <a:gd name="connsiteX1242" fmla="*/ 6419502 w 9922465"/>
              <a:gd name="connsiteY1242" fmla="*/ 1329803 h 1934496"/>
              <a:gd name="connsiteX1243" fmla="*/ 6364310 w 9922465"/>
              <a:gd name="connsiteY1243" fmla="*/ 1274612 h 1934496"/>
              <a:gd name="connsiteX1244" fmla="*/ 6419502 w 9922465"/>
              <a:gd name="connsiteY1244" fmla="*/ 1219421 h 1934496"/>
              <a:gd name="connsiteX1245" fmla="*/ 6289207 w 9922465"/>
              <a:gd name="connsiteY1245" fmla="*/ 1219421 h 1934496"/>
              <a:gd name="connsiteX1246" fmla="*/ 6344399 w 9922465"/>
              <a:gd name="connsiteY1246" fmla="*/ 1274612 h 1934496"/>
              <a:gd name="connsiteX1247" fmla="*/ 6289207 w 9922465"/>
              <a:gd name="connsiteY1247" fmla="*/ 1329803 h 1934496"/>
              <a:gd name="connsiteX1248" fmla="*/ 6234015 w 9922465"/>
              <a:gd name="connsiteY1248" fmla="*/ 1274612 h 1934496"/>
              <a:gd name="connsiteX1249" fmla="*/ 6289207 w 9922465"/>
              <a:gd name="connsiteY1249" fmla="*/ 1219421 h 1934496"/>
              <a:gd name="connsiteX1250" fmla="*/ 6155573 w 9922465"/>
              <a:gd name="connsiteY1250" fmla="*/ 1219421 h 1934496"/>
              <a:gd name="connsiteX1251" fmla="*/ 6210765 w 9922465"/>
              <a:gd name="connsiteY1251" fmla="*/ 1274612 h 1934496"/>
              <a:gd name="connsiteX1252" fmla="*/ 6155573 w 9922465"/>
              <a:gd name="connsiteY1252" fmla="*/ 1329803 h 1934496"/>
              <a:gd name="connsiteX1253" fmla="*/ 6100381 w 9922465"/>
              <a:gd name="connsiteY1253" fmla="*/ 1274612 h 1934496"/>
              <a:gd name="connsiteX1254" fmla="*/ 6155573 w 9922465"/>
              <a:gd name="connsiteY1254" fmla="*/ 1219421 h 1934496"/>
              <a:gd name="connsiteX1255" fmla="*/ 6021939 w 9922465"/>
              <a:gd name="connsiteY1255" fmla="*/ 1219421 h 1934496"/>
              <a:gd name="connsiteX1256" fmla="*/ 6077131 w 9922465"/>
              <a:gd name="connsiteY1256" fmla="*/ 1274612 h 1934496"/>
              <a:gd name="connsiteX1257" fmla="*/ 6021939 w 9922465"/>
              <a:gd name="connsiteY1257" fmla="*/ 1329803 h 1934496"/>
              <a:gd name="connsiteX1258" fmla="*/ 5966747 w 9922465"/>
              <a:gd name="connsiteY1258" fmla="*/ 1274612 h 1934496"/>
              <a:gd name="connsiteX1259" fmla="*/ 6021939 w 9922465"/>
              <a:gd name="connsiteY1259" fmla="*/ 1219421 h 1934496"/>
              <a:gd name="connsiteX1260" fmla="*/ 5884964 w 9922465"/>
              <a:gd name="connsiteY1260" fmla="*/ 1219421 h 1934496"/>
              <a:gd name="connsiteX1261" fmla="*/ 5940156 w 9922465"/>
              <a:gd name="connsiteY1261" fmla="*/ 1274612 h 1934496"/>
              <a:gd name="connsiteX1262" fmla="*/ 5884964 w 9922465"/>
              <a:gd name="connsiteY1262" fmla="*/ 1329803 h 1934496"/>
              <a:gd name="connsiteX1263" fmla="*/ 5829772 w 9922465"/>
              <a:gd name="connsiteY1263" fmla="*/ 1274612 h 1934496"/>
              <a:gd name="connsiteX1264" fmla="*/ 5884964 w 9922465"/>
              <a:gd name="connsiteY1264" fmla="*/ 1219421 h 1934496"/>
              <a:gd name="connsiteX1265" fmla="*/ 5754668 w 9922465"/>
              <a:gd name="connsiteY1265" fmla="*/ 1219421 h 1934496"/>
              <a:gd name="connsiteX1266" fmla="*/ 5809860 w 9922465"/>
              <a:gd name="connsiteY1266" fmla="*/ 1274612 h 1934496"/>
              <a:gd name="connsiteX1267" fmla="*/ 5754668 w 9922465"/>
              <a:gd name="connsiteY1267" fmla="*/ 1329803 h 1934496"/>
              <a:gd name="connsiteX1268" fmla="*/ 5699476 w 9922465"/>
              <a:gd name="connsiteY1268" fmla="*/ 1274612 h 1934496"/>
              <a:gd name="connsiteX1269" fmla="*/ 5754668 w 9922465"/>
              <a:gd name="connsiteY1269" fmla="*/ 1219421 h 1934496"/>
              <a:gd name="connsiteX1270" fmla="*/ 5621034 w 9922465"/>
              <a:gd name="connsiteY1270" fmla="*/ 1219421 h 1934496"/>
              <a:gd name="connsiteX1271" fmla="*/ 5676226 w 9922465"/>
              <a:gd name="connsiteY1271" fmla="*/ 1274612 h 1934496"/>
              <a:gd name="connsiteX1272" fmla="*/ 5621034 w 9922465"/>
              <a:gd name="connsiteY1272" fmla="*/ 1329803 h 1934496"/>
              <a:gd name="connsiteX1273" fmla="*/ 5565842 w 9922465"/>
              <a:gd name="connsiteY1273" fmla="*/ 1274612 h 1934496"/>
              <a:gd name="connsiteX1274" fmla="*/ 5621034 w 9922465"/>
              <a:gd name="connsiteY1274" fmla="*/ 1219421 h 1934496"/>
              <a:gd name="connsiteX1275" fmla="*/ 5487399 w 9922465"/>
              <a:gd name="connsiteY1275" fmla="*/ 1219421 h 1934496"/>
              <a:gd name="connsiteX1276" fmla="*/ 5542591 w 9922465"/>
              <a:gd name="connsiteY1276" fmla="*/ 1274612 h 1934496"/>
              <a:gd name="connsiteX1277" fmla="*/ 5487399 w 9922465"/>
              <a:gd name="connsiteY1277" fmla="*/ 1329803 h 1934496"/>
              <a:gd name="connsiteX1278" fmla="*/ 5432207 w 9922465"/>
              <a:gd name="connsiteY1278" fmla="*/ 1274612 h 1934496"/>
              <a:gd name="connsiteX1279" fmla="*/ 5487399 w 9922465"/>
              <a:gd name="connsiteY1279" fmla="*/ 1219421 h 1934496"/>
              <a:gd name="connsiteX1280" fmla="*/ 5357106 w 9922465"/>
              <a:gd name="connsiteY1280" fmla="*/ 1219421 h 1934496"/>
              <a:gd name="connsiteX1281" fmla="*/ 5412298 w 9922465"/>
              <a:gd name="connsiteY1281" fmla="*/ 1274612 h 1934496"/>
              <a:gd name="connsiteX1282" fmla="*/ 5357106 w 9922465"/>
              <a:gd name="connsiteY1282" fmla="*/ 1329803 h 1934496"/>
              <a:gd name="connsiteX1283" fmla="*/ 5301914 w 9922465"/>
              <a:gd name="connsiteY1283" fmla="*/ 1274612 h 1934496"/>
              <a:gd name="connsiteX1284" fmla="*/ 5357106 w 9922465"/>
              <a:gd name="connsiteY1284" fmla="*/ 1219421 h 1934496"/>
              <a:gd name="connsiteX1285" fmla="*/ 5093178 w 9922465"/>
              <a:gd name="connsiteY1285" fmla="*/ 1219421 h 1934496"/>
              <a:gd name="connsiteX1286" fmla="*/ 5148370 w 9922465"/>
              <a:gd name="connsiteY1286" fmla="*/ 1274612 h 1934496"/>
              <a:gd name="connsiteX1287" fmla="*/ 5093178 w 9922465"/>
              <a:gd name="connsiteY1287" fmla="*/ 1329803 h 1934496"/>
              <a:gd name="connsiteX1288" fmla="*/ 5037986 w 9922465"/>
              <a:gd name="connsiteY1288" fmla="*/ 1274612 h 1934496"/>
              <a:gd name="connsiteX1289" fmla="*/ 5093178 w 9922465"/>
              <a:gd name="connsiteY1289" fmla="*/ 1219421 h 1934496"/>
              <a:gd name="connsiteX1290" fmla="*/ 4959542 w 9922465"/>
              <a:gd name="connsiteY1290" fmla="*/ 1219421 h 1934496"/>
              <a:gd name="connsiteX1291" fmla="*/ 5014734 w 9922465"/>
              <a:gd name="connsiteY1291" fmla="*/ 1274612 h 1934496"/>
              <a:gd name="connsiteX1292" fmla="*/ 4959542 w 9922465"/>
              <a:gd name="connsiteY1292" fmla="*/ 1329803 h 1934496"/>
              <a:gd name="connsiteX1293" fmla="*/ 4904350 w 9922465"/>
              <a:gd name="connsiteY1293" fmla="*/ 1274612 h 1934496"/>
              <a:gd name="connsiteX1294" fmla="*/ 4959542 w 9922465"/>
              <a:gd name="connsiteY1294" fmla="*/ 1219421 h 1934496"/>
              <a:gd name="connsiteX1295" fmla="*/ 4829250 w 9922465"/>
              <a:gd name="connsiteY1295" fmla="*/ 1219421 h 1934496"/>
              <a:gd name="connsiteX1296" fmla="*/ 4884442 w 9922465"/>
              <a:gd name="connsiteY1296" fmla="*/ 1274612 h 1934496"/>
              <a:gd name="connsiteX1297" fmla="*/ 4829250 w 9922465"/>
              <a:gd name="connsiteY1297" fmla="*/ 1329803 h 1934496"/>
              <a:gd name="connsiteX1298" fmla="*/ 4774058 w 9922465"/>
              <a:gd name="connsiteY1298" fmla="*/ 1274612 h 1934496"/>
              <a:gd name="connsiteX1299" fmla="*/ 4829250 w 9922465"/>
              <a:gd name="connsiteY1299" fmla="*/ 1219421 h 1934496"/>
              <a:gd name="connsiteX1300" fmla="*/ 319111 w 9922465"/>
              <a:gd name="connsiteY1300" fmla="*/ 1219421 h 1934496"/>
              <a:gd name="connsiteX1301" fmla="*/ 374305 w 9922465"/>
              <a:gd name="connsiteY1301" fmla="*/ 1274612 h 1934496"/>
              <a:gd name="connsiteX1302" fmla="*/ 319111 w 9922465"/>
              <a:gd name="connsiteY1302" fmla="*/ 1329803 h 1934496"/>
              <a:gd name="connsiteX1303" fmla="*/ 263920 w 9922465"/>
              <a:gd name="connsiteY1303" fmla="*/ 1274612 h 1934496"/>
              <a:gd name="connsiteX1304" fmla="*/ 319111 w 9922465"/>
              <a:gd name="connsiteY1304" fmla="*/ 1219421 h 1934496"/>
              <a:gd name="connsiteX1305" fmla="*/ 185480 w 9922465"/>
              <a:gd name="connsiteY1305" fmla="*/ 1219421 h 1934496"/>
              <a:gd name="connsiteX1306" fmla="*/ 240671 w 9922465"/>
              <a:gd name="connsiteY1306" fmla="*/ 1274612 h 1934496"/>
              <a:gd name="connsiteX1307" fmla="*/ 185480 w 9922465"/>
              <a:gd name="connsiteY1307" fmla="*/ 1329803 h 1934496"/>
              <a:gd name="connsiteX1308" fmla="*/ 130288 w 9922465"/>
              <a:gd name="connsiteY1308" fmla="*/ 1274612 h 1934496"/>
              <a:gd name="connsiteX1309" fmla="*/ 185480 w 9922465"/>
              <a:gd name="connsiteY1309" fmla="*/ 1219421 h 1934496"/>
              <a:gd name="connsiteX1310" fmla="*/ 449407 w 9922465"/>
              <a:gd name="connsiteY1310" fmla="*/ 1219419 h 1934496"/>
              <a:gd name="connsiteX1311" fmla="*/ 504600 w 9922465"/>
              <a:gd name="connsiteY1311" fmla="*/ 1274610 h 1934496"/>
              <a:gd name="connsiteX1312" fmla="*/ 449407 w 9922465"/>
              <a:gd name="connsiteY1312" fmla="*/ 1329801 h 1934496"/>
              <a:gd name="connsiteX1313" fmla="*/ 394214 w 9922465"/>
              <a:gd name="connsiteY1313" fmla="*/ 1274610 h 1934496"/>
              <a:gd name="connsiteX1314" fmla="*/ 449407 w 9922465"/>
              <a:gd name="connsiteY1314" fmla="*/ 1219419 h 1934496"/>
              <a:gd name="connsiteX1315" fmla="*/ 4565322 w 9922465"/>
              <a:gd name="connsiteY1315" fmla="*/ 1219417 h 1934496"/>
              <a:gd name="connsiteX1316" fmla="*/ 4620514 w 9922465"/>
              <a:gd name="connsiteY1316" fmla="*/ 1274608 h 1934496"/>
              <a:gd name="connsiteX1317" fmla="*/ 4565322 w 9922465"/>
              <a:gd name="connsiteY1317" fmla="*/ 1329799 h 1934496"/>
              <a:gd name="connsiteX1318" fmla="*/ 4510130 w 9922465"/>
              <a:gd name="connsiteY1318" fmla="*/ 1274608 h 1934496"/>
              <a:gd name="connsiteX1319" fmla="*/ 4565322 w 9922465"/>
              <a:gd name="connsiteY1319" fmla="*/ 1219417 h 1934496"/>
              <a:gd name="connsiteX1320" fmla="*/ 2834811 w 9922465"/>
              <a:gd name="connsiteY1320" fmla="*/ 1219417 h 1934496"/>
              <a:gd name="connsiteX1321" fmla="*/ 2890003 w 9922465"/>
              <a:gd name="connsiteY1321" fmla="*/ 1274608 h 1934496"/>
              <a:gd name="connsiteX1322" fmla="*/ 2834811 w 9922465"/>
              <a:gd name="connsiteY1322" fmla="*/ 1329799 h 1934496"/>
              <a:gd name="connsiteX1323" fmla="*/ 2779620 w 9922465"/>
              <a:gd name="connsiteY1323" fmla="*/ 1274608 h 1934496"/>
              <a:gd name="connsiteX1324" fmla="*/ 2834811 w 9922465"/>
              <a:gd name="connsiteY1324" fmla="*/ 1219417 h 1934496"/>
              <a:gd name="connsiteX1325" fmla="*/ 2707858 w 9922465"/>
              <a:gd name="connsiteY1325" fmla="*/ 1219417 h 1934496"/>
              <a:gd name="connsiteX1326" fmla="*/ 2763052 w 9922465"/>
              <a:gd name="connsiteY1326" fmla="*/ 1274608 h 1934496"/>
              <a:gd name="connsiteX1327" fmla="*/ 2707858 w 9922465"/>
              <a:gd name="connsiteY1327" fmla="*/ 1329799 h 1934496"/>
              <a:gd name="connsiteX1328" fmla="*/ 2652667 w 9922465"/>
              <a:gd name="connsiteY1328" fmla="*/ 1274608 h 1934496"/>
              <a:gd name="connsiteX1329" fmla="*/ 2707858 w 9922465"/>
              <a:gd name="connsiteY1329" fmla="*/ 1219417 h 1934496"/>
              <a:gd name="connsiteX1330" fmla="*/ 2570885 w 9922465"/>
              <a:gd name="connsiteY1330" fmla="*/ 1219417 h 1934496"/>
              <a:gd name="connsiteX1331" fmla="*/ 2626075 w 9922465"/>
              <a:gd name="connsiteY1331" fmla="*/ 1274608 h 1934496"/>
              <a:gd name="connsiteX1332" fmla="*/ 2570885 w 9922465"/>
              <a:gd name="connsiteY1332" fmla="*/ 1329799 h 1934496"/>
              <a:gd name="connsiteX1333" fmla="*/ 2515692 w 9922465"/>
              <a:gd name="connsiteY1333" fmla="*/ 1274608 h 1934496"/>
              <a:gd name="connsiteX1334" fmla="*/ 2570885 w 9922465"/>
              <a:gd name="connsiteY1334" fmla="*/ 1219417 h 1934496"/>
              <a:gd name="connsiteX1335" fmla="*/ 2039686 w 9922465"/>
              <a:gd name="connsiteY1335" fmla="*/ 1219417 h 1934496"/>
              <a:gd name="connsiteX1336" fmla="*/ 2094880 w 9922465"/>
              <a:gd name="connsiteY1336" fmla="*/ 1274608 h 1934496"/>
              <a:gd name="connsiteX1337" fmla="*/ 2039686 w 9922465"/>
              <a:gd name="connsiteY1337" fmla="*/ 1329799 h 1934496"/>
              <a:gd name="connsiteX1338" fmla="*/ 1984493 w 9922465"/>
              <a:gd name="connsiteY1338" fmla="*/ 1274608 h 1934496"/>
              <a:gd name="connsiteX1339" fmla="*/ 2039686 w 9922465"/>
              <a:gd name="connsiteY1339" fmla="*/ 1219417 h 1934496"/>
              <a:gd name="connsiteX1340" fmla="*/ 1909390 w 9922465"/>
              <a:gd name="connsiteY1340" fmla="*/ 1219417 h 1934496"/>
              <a:gd name="connsiteX1341" fmla="*/ 1964583 w 9922465"/>
              <a:gd name="connsiteY1341" fmla="*/ 1274608 h 1934496"/>
              <a:gd name="connsiteX1342" fmla="*/ 1909390 w 9922465"/>
              <a:gd name="connsiteY1342" fmla="*/ 1329799 h 1934496"/>
              <a:gd name="connsiteX1343" fmla="*/ 1854197 w 9922465"/>
              <a:gd name="connsiteY1343" fmla="*/ 1274608 h 1934496"/>
              <a:gd name="connsiteX1344" fmla="*/ 1909390 w 9922465"/>
              <a:gd name="connsiteY1344" fmla="*/ 1219417 h 1934496"/>
              <a:gd name="connsiteX1345" fmla="*/ 1779095 w 9922465"/>
              <a:gd name="connsiteY1345" fmla="*/ 1219417 h 1934496"/>
              <a:gd name="connsiteX1346" fmla="*/ 1834287 w 9922465"/>
              <a:gd name="connsiteY1346" fmla="*/ 1274608 h 1934496"/>
              <a:gd name="connsiteX1347" fmla="*/ 1779095 w 9922465"/>
              <a:gd name="connsiteY1347" fmla="*/ 1329799 h 1934496"/>
              <a:gd name="connsiteX1348" fmla="*/ 1723902 w 9922465"/>
              <a:gd name="connsiteY1348" fmla="*/ 1274608 h 1934496"/>
              <a:gd name="connsiteX1349" fmla="*/ 1779095 w 9922465"/>
              <a:gd name="connsiteY1349" fmla="*/ 1219417 h 1934496"/>
              <a:gd name="connsiteX1350" fmla="*/ 1645457 w 9922465"/>
              <a:gd name="connsiteY1350" fmla="*/ 1219417 h 1934496"/>
              <a:gd name="connsiteX1351" fmla="*/ 1700655 w 9922465"/>
              <a:gd name="connsiteY1351" fmla="*/ 1274608 h 1934496"/>
              <a:gd name="connsiteX1352" fmla="*/ 1645457 w 9922465"/>
              <a:gd name="connsiteY1352" fmla="*/ 1329799 h 1934496"/>
              <a:gd name="connsiteX1353" fmla="*/ 1590265 w 9922465"/>
              <a:gd name="connsiteY1353" fmla="*/ 1274608 h 1934496"/>
              <a:gd name="connsiteX1354" fmla="*/ 1645457 w 9922465"/>
              <a:gd name="connsiteY1354" fmla="*/ 1219417 h 1934496"/>
              <a:gd name="connsiteX1355" fmla="*/ 1515168 w 9922465"/>
              <a:gd name="connsiteY1355" fmla="*/ 1219417 h 1934496"/>
              <a:gd name="connsiteX1356" fmla="*/ 1570354 w 9922465"/>
              <a:gd name="connsiteY1356" fmla="*/ 1274608 h 1934496"/>
              <a:gd name="connsiteX1357" fmla="*/ 1515168 w 9922465"/>
              <a:gd name="connsiteY1357" fmla="*/ 1329799 h 1934496"/>
              <a:gd name="connsiteX1358" fmla="*/ 1459973 w 9922465"/>
              <a:gd name="connsiteY1358" fmla="*/ 1274608 h 1934496"/>
              <a:gd name="connsiteX1359" fmla="*/ 1515168 w 9922465"/>
              <a:gd name="connsiteY1359" fmla="*/ 1219417 h 1934496"/>
              <a:gd name="connsiteX1360" fmla="*/ 1381528 w 9922465"/>
              <a:gd name="connsiteY1360" fmla="*/ 1219417 h 1934496"/>
              <a:gd name="connsiteX1361" fmla="*/ 1436723 w 9922465"/>
              <a:gd name="connsiteY1361" fmla="*/ 1274608 h 1934496"/>
              <a:gd name="connsiteX1362" fmla="*/ 1381528 w 9922465"/>
              <a:gd name="connsiteY1362" fmla="*/ 1329799 h 1934496"/>
              <a:gd name="connsiteX1363" fmla="*/ 1326339 w 9922465"/>
              <a:gd name="connsiteY1363" fmla="*/ 1274608 h 1934496"/>
              <a:gd name="connsiteX1364" fmla="*/ 1381528 w 9922465"/>
              <a:gd name="connsiteY1364" fmla="*/ 1219417 h 1934496"/>
              <a:gd name="connsiteX1365" fmla="*/ 1251239 w 9922465"/>
              <a:gd name="connsiteY1365" fmla="*/ 1219417 h 1934496"/>
              <a:gd name="connsiteX1366" fmla="*/ 1306431 w 9922465"/>
              <a:gd name="connsiteY1366" fmla="*/ 1274608 h 1934496"/>
              <a:gd name="connsiteX1367" fmla="*/ 1251239 w 9922465"/>
              <a:gd name="connsiteY1367" fmla="*/ 1329799 h 1934496"/>
              <a:gd name="connsiteX1368" fmla="*/ 1196046 w 9922465"/>
              <a:gd name="connsiteY1368" fmla="*/ 1274608 h 1934496"/>
              <a:gd name="connsiteX1369" fmla="*/ 1251239 w 9922465"/>
              <a:gd name="connsiteY1369" fmla="*/ 1219417 h 1934496"/>
              <a:gd name="connsiteX1370" fmla="*/ 1117601 w 9922465"/>
              <a:gd name="connsiteY1370" fmla="*/ 1219417 h 1934496"/>
              <a:gd name="connsiteX1371" fmla="*/ 1172794 w 9922465"/>
              <a:gd name="connsiteY1371" fmla="*/ 1274608 h 1934496"/>
              <a:gd name="connsiteX1372" fmla="*/ 1117601 w 9922465"/>
              <a:gd name="connsiteY1372" fmla="*/ 1329799 h 1934496"/>
              <a:gd name="connsiteX1373" fmla="*/ 1062408 w 9922465"/>
              <a:gd name="connsiteY1373" fmla="*/ 1274608 h 1934496"/>
              <a:gd name="connsiteX1374" fmla="*/ 1117601 w 9922465"/>
              <a:gd name="connsiteY1374" fmla="*/ 1219417 h 1934496"/>
              <a:gd name="connsiteX1375" fmla="*/ 980622 w 9922465"/>
              <a:gd name="connsiteY1375" fmla="*/ 1219417 h 1934496"/>
              <a:gd name="connsiteX1376" fmla="*/ 1035816 w 9922465"/>
              <a:gd name="connsiteY1376" fmla="*/ 1274608 h 1934496"/>
              <a:gd name="connsiteX1377" fmla="*/ 980622 w 9922465"/>
              <a:gd name="connsiteY1377" fmla="*/ 1329799 h 1934496"/>
              <a:gd name="connsiteX1378" fmla="*/ 925429 w 9922465"/>
              <a:gd name="connsiteY1378" fmla="*/ 1274608 h 1934496"/>
              <a:gd name="connsiteX1379" fmla="*/ 980622 w 9922465"/>
              <a:gd name="connsiteY1379" fmla="*/ 1219417 h 1934496"/>
              <a:gd name="connsiteX1380" fmla="*/ 9469710 w 9922465"/>
              <a:gd name="connsiteY1380" fmla="*/ 1099147 h 1934496"/>
              <a:gd name="connsiteX1381" fmla="*/ 9524902 w 9922465"/>
              <a:gd name="connsiteY1381" fmla="*/ 1154338 h 1934496"/>
              <a:gd name="connsiteX1382" fmla="*/ 9469710 w 9922465"/>
              <a:gd name="connsiteY1382" fmla="*/ 1209529 h 1934496"/>
              <a:gd name="connsiteX1383" fmla="*/ 9414518 w 9922465"/>
              <a:gd name="connsiteY1383" fmla="*/ 1154338 h 1934496"/>
              <a:gd name="connsiteX1384" fmla="*/ 9469710 w 9922465"/>
              <a:gd name="connsiteY1384" fmla="*/ 1099147 h 1934496"/>
              <a:gd name="connsiteX1385" fmla="*/ 9336075 w 9922465"/>
              <a:gd name="connsiteY1385" fmla="*/ 1099147 h 1934496"/>
              <a:gd name="connsiteX1386" fmla="*/ 9391267 w 9922465"/>
              <a:gd name="connsiteY1386" fmla="*/ 1154338 h 1934496"/>
              <a:gd name="connsiteX1387" fmla="*/ 9336075 w 9922465"/>
              <a:gd name="connsiteY1387" fmla="*/ 1209529 h 1934496"/>
              <a:gd name="connsiteX1388" fmla="*/ 9280883 w 9922465"/>
              <a:gd name="connsiteY1388" fmla="*/ 1154338 h 1934496"/>
              <a:gd name="connsiteX1389" fmla="*/ 9336075 w 9922465"/>
              <a:gd name="connsiteY1389" fmla="*/ 1099147 h 1934496"/>
              <a:gd name="connsiteX1390" fmla="*/ 9199100 w 9922465"/>
              <a:gd name="connsiteY1390" fmla="*/ 1099147 h 1934496"/>
              <a:gd name="connsiteX1391" fmla="*/ 9254292 w 9922465"/>
              <a:gd name="connsiteY1391" fmla="*/ 1154338 h 1934496"/>
              <a:gd name="connsiteX1392" fmla="*/ 9199100 w 9922465"/>
              <a:gd name="connsiteY1392" fmla="*/ 1209529 h 1934496"/>
              <a:gd name="connsiteX1393" fmla="*/ 9143908 w 9922465"/>
              <a:gd name="connsiteY1393" fmla="*/ 1154338 h 1934496"/>
              <a:gd name="connsiteX1394" fmla="*/ 9199100 w 9922465"/>
              <a:gd name="connsiteY1394" fmla="*/ 1099147 h 1934496"/>
              <a:gd name="connsiteX1395" fmla="*/ 9068805 w 9922465"/>
              <a:gd name="connsiteY1395" fmla="*/ 1099147 h 1934496"/>
              <a:gd name="connsiteX1396" fmla="*/ 9123997 w 9922465"/>
              <a:gd name="connsiteY1396" fmla="*/ 1154338 h 1934496"/>
              <a:gd name="connsiteX1397" fmla="*/ 9068805 w 9922465"/>
              <a:gd name="connsiteY1397" fmla="*/ 1209529 h 1934496"/>
              <a:gd name="connsiteX1398" fmla="*/ 9013613 w 9922465"/>
              <a:gd name="connsiteY1398" fmla="*/ 1154338 h 1934496"/>
              <a:gd name="connsiteX1399" fmla="*/ 9068805 w 9922465"/>
              <a:gd name="connsiteY1399" fmla="*/ 1099147 h 1934496"/>
              <a:gd name="connsiteX1400" fmla="*/ 8935170 w 9922465"/>
              <a:gd name="connsiteY1400" fmla="*/ 1099147 h 1934496"/>
              <a:gd name="connsiteX1401" fmla="*/ 8990362 w 9922465"/>
              <a:gd name="connsiteY1401" fmla="*/ 1154338 h 1934496"/>
              <a:gd name="connsiteX1402" fmla="*/ 8935170 w 9922465"/>
              <a:gd name="connsiteY1402" fmla="*/ 1209529 h 1934496"/>
              <a:gd name="connsiteX1403" fmla="*/ 8879978 w 9922465"/>
              <a:gd name="connsiteY1403" fmla="*/ 1154338 h 1934496"/>
              <a:gd name="connsiteX1404" fmla="*/ 8935170 w 9922465"/>
              <a:gd name="connsiteY1404" fmla="*/ 1099147 h 1934496"/>
              <a:gd name="connsiteX1405" fmla="*/ 8801536 w 9922465"/>
              <a:gd name="connsiteY1405" fmla="*/ 1099147 h 1934496"/>
              <a:gd name="connsiteX1406" fmla="*/ 8856728 w 9922465"/>
              <a:gd name="connsiteY1406" fmla="*/ 1154338 h 1934496"/>
              <a:gd name="connsiteX1407" fmla="*/ 8801536 w 9922465"/>
              <a:gd name="connsiteY1407" fmla="*/ 1209529 h 1934496"/>
              <a:gd name="connsiteX1408" fmla="*/ 8746344 w 9922465"/>
              <a:gd name="connsiteY1408" fmla="*/ 1154338 h 1934496"/>
              <a:gd name="connsiteX1409" fmla="*/ 8801536 w 9922465"/>
              <a:gd name="connsiteY1409" fmla="*/ 1099147 h 1934496"/>
              <a:gd name="connsiteX1410" fmla="*/ 8671243 w 9922465"/>
              <a:gd name="connsiteY1410" fmla="*/ 1099147 h 1934496"/>
              <a:gd name="connsiteX1411" fmla="*/ 8726435 w 9922465"/>
              <a:gd name="connsiteY1411" fmla="*/ 1154338 h 1934496"/>
              <a:gd name="connsiteX1412" fmla="*/ 8671243 w 9922465"/>
              <a:gd name="connsiteY1412" fmla="*/ 1209529 h 1934496"/>
              <a:gd name="connsiteX1413" fmla="*/ 8616051 w 9922465"/>
              <a:gd name="connsiteY1413" fmla="*/ 1154338 h 1934496"/>
              <a:gd name="connsiteX1414" fmla="*/ 8671243 w 9922465"/>
              <a:gd name="connsiteY1414" fmla="*/ 1099147 h 1934496"/>
              <a:gd name="connsiteX1415" fmla="*/ 8537609 w 9922465"/>
              <a:gd name="connsiteY1415" fmla="*/ 1099147 h 1934496"/>
              <a:gd name="connsiteX1416" fmla="*/ 8592801 w 9922465"/>
              <a:gd name="connsiteY1416" fmla="*/ 1154338 h 1934496"/>
              <a:gd name="connsiteX1417" fmla="*/ 8537609 w 9922465"/>
              <a:gd name="connsiteY1417" fmla="*/ 1209529 h 1934496"/>
              <a:gd name="connsiteX1418" fmla="*/ 8482417 w 9922465"/>
              <a:gd name="connsiteY1418" fmla="*/ 1154338 h 1934496"/>
              <a:gd name="connsiteX1419" fmla="*/ 8537609 w 9922465"/>
              <a:gd name="connsiteY1419" fmla="*/ 1099147 h 1934496"/>
              <a:gd name="connsiteX1420" fmla="*/ 8407315 w 9922465"/>
              <a:gd name="connsiteY1420" fmla="*/ 1099147 h 1934496"/>
              <a:gd name="connsiteX1421" fmla="*/ 8462507 w 9922465"/>
              <a:gd name="connsiteY1421" fmla="*/ 1154338 h 1934496"/>
              <a:gd name="connsiteX1422" fmla="*/ 8407315 w 9922465"/>
              <a:gd name="connsiteY1422" fmla="*/ 1209529 h 1934496"/>
              <a:gd name="connsiteX1423" fmla="*/ 8352123 w 9922465"/>
              <a:gd name="connsiteY1423" fmla="*/ 1154338 h 1934496"/>
              <a:gd name="connsiteX1424" fmla="*/ 8407315 w 9922465"/>
              <a:gd name="connsiteY1424" fmla="*/ 1099147 h 1934496"/>
              <a:gd name="connsiteX1425" fmla="*/ 8273681 w 9922465"/>
              <a:gd name="connsiteY1425" fmla="*/ 1099147 h 1934496"/>
              <a:gd name="connsiteX1426" fmla="*/ 8328873 w 9922465"/>
              <a:gd name="connsiteY1426" fmla="*/ 1154338 h 1934496"/>
              <a:gd name="connsiteX1427" fmla="*/ 8273681 w 9922465"/>
              <a:gd name="connsiteY1427" fmla="*/ 1209529 h 1934496"/>
              <a:gd name="connsiteX1428" fmla="*/ 8218489 w 9922465"/>
              <a:gd name="connsiteY1428" fmla="*/ 1154338 h 1934496"/>
              <a:gd name="connsiteX1429" fmla="*/ 8273681 w 9922465"/>
              <a:gd name="connsiteY1429" fmla="*/ 1099147 h 1934496"/>
              <a:gd name="connsiteX1430" fmla="*/ 8143386 w 9922465"/>
              <a:gd name="connsiteY1430" fmla="*/ 1099147 h 1934496"/>
              <a:gd name="connsiteX1431" fmla="*/ 8198578 w 9922465"/>
              <a:gd name="connsiteY1431" fmla="*/ 1154338 h 1934496"/>
              <a:gd name="connsiteX1432" fmla="*/ 8143386 w 9922465"/>
              <a:gd name="connsiteY1432" fmla="*/ 1209529 h 1934496"/>
              <a:gd name="connsiteX1433" fmla="*/ 8088194 w 9922465"/>
              <a:gd name="connsiteY1433" fmla="*/ 1154338 h 1934496"/>
              <a:gd name="connsiteX1434" fmla="*/ 8143386 w 9922465"/>
              <a:gd name="connsiteY1434" fmla="*/ 1099147 h 1934496"/>
              <a:gd name="connsiteX1435" fmla="*/ 8009752 w 9922465"/>
              <a:gd name="connsiteY1435" fmla="*/ 1099147 h 1934496"/>
              <a:gd name="connsiteX1436" fmla="*/ 8064944 w 9922465"/>
              <a:gd name="connsiteY1436" fmla="*/ 1154338 h 1934496"/>
              <a:gd name="connsiteX1437" fmla="*/ 8009752 w 9922465"/>
              <a:gd name="connsiteY1437" fmla="*/ 1209529 h 1934496"/>
              <a:gd name="connsiteX1438" fmla="*/ 7954560 w 9922465"/>
              <a:gd name="connsiteY1438" fmla="*/ 1154338 h 1934496"/>
              <a:gd name="connsiteX1439" fmla="*/ 8009752 w 9922465"/>
              <a:gd name="connsiteY1439" fmla="*/ 1099147 h 1934496"/>
              <a:gd name="connsiteX1440" fmla="*/ 7876117 w 9922465"/>
              <a:gd name="connsiteY1440" fmla="*/ 1099147 h 1934496"/>
              <a:gd name="connsiteX1441" fmla="*/ 7931309 w 9922465"/>
              <a:gd name="connsiteY1441" fmla="*/ 1154338 h 1934496"/>
              <a:gd name="connsiteX1442" fmla="*/ 7876117 w 9922465"/>
              <a:gd name="connsiteY1442" fmla="*/ 1209529 h 1934496"/>
              <a:gd name="connsiteX1443" fmla="*/ 7820925 w 9922465"/>
              <a:gd name="connsiteY1443" fmla="*/ 1154338 h 1934496"/>
              <a:gd name="connsiteX1444" fmla="*/ 7876117 w 9922465"/>
              <a:gd name="connsiteY1444" fmla="*/ 1099147 h 1934496"/>
              <a:gd name="connsiteX1445" fmla="*/ 7745822 w 9922465"/>
              <a:gd name="connsiteY1445" fmla="*/ 1099147 h 1934496"/>
              <a:gd name="connsiteX1446" fmla="*/ 7801014 w 9922465"/>
              <a:gd name="connsiteY1446" fmla="*/ 1154338 h 1934496"/>
              <a:gd name="connsiteX1447" fmla="*/ 7745822 w 9922465"/>
              <a:gd name="connsiteY1447" fmla="*/ 1209529 h 1934496"/>
              <a:gd name="connsiteX1448" fmla="*/ 7690630 w 9922465"/>
              <a:gd name="connsiteY1448" fmla="*/ 1154338 h 1934496"/>
              <a:gd name="connsiteX1449" fmla="*/ 7745822 w 9922465"/>
              <a:gd name="connsiteY1449" fmla="*/ 1099147 h 1934496"/>
              <a:gd name="connsiteX1450" fmla="*/ 7608847 w 9922465"/>
              <a:gd name="connsiteY1450" fmla="*/ 1099147 h 1934496"/>
              <a:gd name="connsiteX1451" fmla="*/ 7664039 w 9922465"/>
              <a:gd name="connsiteY1451" fmla="*/ 1154338 h 1934496"/>
              <a:gd name="connsiteX1452" fmla="*/ 7608847 w 9922465"/>
              <a:gd name="connsiteY1452" fmla="*/ 1209529 h 1934496"/>
              <a:gd name="connsiteX1453" fmla="*/ 7553655 w 9922465"/>
              <a:gd name="connsiteY1453" fmla="*/ 1154338 h 1934496"/>
              <a:gd name="connsiteX1454" fmla="*/ 7608847 w 9922465"/>
              <a:gd name="connsiteY1454" fmla="*/ 1099147 h 1934496"/>
              <a:gd name="connsiteX1455" fmla="*/ 7481895 w 9922465"/>
              <a:gd name="connsiteY1455" fmla="*/ 1099147 h 1934496"/>
              <a:gd name="connsiteX1456" fmla="*/ 7537087 w 9922465"/>
              <a:gd name="connsiteY1456" fmla="*/ 1154338 h 1934496"/>
              <a:gd name="connsiteX1457" fmla="*/ 7481895 w 9922465"/>
              <a:gd name="connsiteY1457" fmla="*/ 1209529 h 1934496"/>
              <a:gd name="connsiteX1458" fmla="*/ 7426703 w 9922465"/>
              <a:gd name="connsiteY1458" fmla="*/ 1154338 h 1934496"/>
              <a:gd name="connsiteX1459" fmla="*/ 7481895 w 9922465"/>
              <a:gd name="connsiteY1459" fmla="*/ 1099147 h 1934496"/>
              <a:gd name="connsiteX1460" fmla="*/ 7341578 w 9922465"/>
              <a:gd name="connsiteY1460" fmla="*/ 1099147 h 1934496"/>
              <a:gd name="connsiteX1461" fmla="*/ 7396770 w 9922465"/>
              <a:gd name="connsiteY1461" fmla="*/ 1154338 h 1934496"/>
              <a:gd name="connsiteX1462" fmla="*/ 7341578 w 9922465"/>
              <a:gd name="connsiteY1462" fmla="*/ 1209529 h 1934496"/>
              <a:gd name="connsiteX1463" fmla="*/ 7286386 w 9922465"/>
              <a:gd name="connsiteY1463" fmla="*/ 1154338 h 1934496"/>
              <a:gd name="connsiteX1464" fmla="*/ 7341578 w 9922465"/>
              <a:gd name="connsiteY1464" fmla="*/ 1099147 h 1934496"/>
              <a:gd name="connsiteX1465" fmla="*/ 7211285 w 9922465"/>
              <a:gd name="connsiteY1465" fmla="*/ 1099147 h 1934496"/>
              <a:gd name="connsiteX1466" fmla="*/ 7266477 w 9922465"/>
              <a:gd name="connsiteY1466" fmla="*/ 1154338 h 1934496"/>
              <a:gd name="connsiteX1467" fmla="*/ 7211285 w 9922465"/>
              <a:gd name="connsiteY1467" fmla="*/ 1209529 h 1934496"/>
              <a:gd name="connsiteX1468" fmla="*/ 7156093 w 9922465"/>
              <a:gd name="connsiteY1468" fmla="*/ 1154338 h 1934496"/>
              <a:gd name="connsiteX1469" fmla="*/ 7211285 w 9922465"/>
              <a:gd name="connsiteY1469" fmla="*/ 1099147 h 1934496"/>
              <a:gd name="connsiteX1470" fmla="*/ 7080991 w 9922465"/>
              <a:gd name="connsiteY1470" fmla="*/ 1099147 h 1934496"/>
              <a:gd name="connsiteX1471" fmla="*/ 7136183 w 9922465"/>
              <a:gd name="connsiteY1471" fmla="*/ 1154338 h 1934496"/>
              <a:gd name="connsiteX1472" fmla="*/ 7080991 w 9922465"/>
              <a:gd name="connsiteY1472" fmla="*/ 1209529 h 1934496"/>
              <a:gd name="connsiteX1473" fmla="*/ 7025799 w 9922465"/>
              <a:gd name="connsiteY1473" fmla="*/ 1154338 h 1934496"/>
              <a:gd name="connsiteX1474" fmla="*/ 7080991 w 9922465"/>
              <a:gd name="connsiteY1474" fmla="*/ 1099147 h 1934496"/>
              <a:gd name="connsiteX1475" fmla="*/ 6947356 w 9922465"/>
              <a:gd name="connsiteY1475" fmla="*/ 1099147 h 1934496"/>
              <a:gd name="connsiteX1476" fmla="*/ 7002548 w 9922465"/>
              <a:gd name="connsiteY1476" fmla="*/ 1154338 h 1934496"/>
              <a:gd name="connsiteX1477" fmla="*/ 6947356 w 9922465"/>
              <a:gd name="connsiteY1477" fmla="*/ 1209529 h 1934496"/>
              <a:gd name="connsiteX1478" fmla="*/ 6892164 w 9922465"/>
              <a:gd name="connsiteY1478" fmla="*/ 1154338 h 1934496"/>
              <a:gd name="connsiteX1479" fmla="*/ 6947356 w 9922465"/>
              <a:gd name="connsiteY1479" fmla="*/ 1099147 h 1934496"/>
              <a:gd name="connsiteX1480" fmla="*/ 6817063 w 9922465"/>
              <a:gd name="connsiteY1480" fmla="*/ 1099147 h 1934496"/>
              <a:gd name="connsiteX1481" fmla="*/ 6872255 w 9922465"/>
              <a:gd name="connsiteY1481" fmla="*/ 1154338 h 1934496"/>
              <a:gd name="connsiteX1482" fmla="*/ 6817063 w 9922465"/>
              <a:gd name="connsiteY1482" fmla="*/ 1209529 h 1934496"/>
              <a:gd name="connsiteX1483" fmla="*/ 6761871 w 9922465"/>
              <a:gd name="connsiteY1483" fmla="*/ 1154338 h 1934496"/>
              <a:gd name="connsiteX1484" fmla="*/ 6817063 w 9922465"/>
              <a:gd name="connsiteY1484" fmla="*/ 1099147 h 1934496"/>
              <a:gd name="connsiteX1485" fmla="*/ 6683430 w 9922465"/>
              <a:gd name="connsiteY1485" fmla="*/ 1099147 h 1934496"/>
              <a:gd name="connsiteX1486" fmla="*/ 6738622 w 9922465"/>
              <a:gd name="connsiteY1486" fmla="*/ 1154338 h 1934496"/>
              <a:gd name="connsiteX1487" fmla="*/ 6683430 w 9922465"/>
              <a:gd name="connsiteY1487" fmla="*/ 1209529 h 1934496"/>
              <a:gd name="connsiteX1488" fmla="*/ 6628238 w 9922465"/>
              <a:gd name="connsiteY1488" fmla="*/ 1154338 h 1934496"/>
              <a:gd name="connsiteX1489" fmla="*/ 6683430 w 9922465"/>
              <a:gd name="connsiteY1489" fmla="*/ 1099147 h 1934496"/>
              <a:gd name="connsiteX1490" fmla="*/ 6553135 w 9922465"/>
              <a:gd name="connsiteY1490" fmla="*/ 1099147 h 1934496"/>
              <a:gd name="connsiteX1491" fmla="*/ 6608327 w 9922465"/>
              <a:gd name="connsiteY1491" fmla="*/ 1154338 h 1934496"/>
              <a:gd name="connsiteX1492" fmla="*/ 6553135 w 9922465"/>
              <a:gd name="connsiteY1492" fmla="*/ 1209529 h 1934496"/>
              <a:gd name="connsiteX1493" fmla="*/ 6497943 w 9922465"/>
              <a:gd name="connsiteY1493" fmla="*/ 1154338 h 1934496"/>
              <a:gd name="connsiteX1494" fmla="*/ 6553135 w 9922465"/>
              <a:gd name="connsiteY1494" fmla="*/ 1099147 h 1934496"/>
              <a:gd name="connsiteX1495" fmla="*/ 6419501 w 9922465"/>
              <a:gd name="connsiteY1495" fmla="*/ 1099147 h 1934496"/>
              <a:gd name="connsiteX1496" fmla="*/ 6474693 w 9922465"/>
              <a:gd name="connsiteY1496" fmla="*/ 1154338 h 1934496"/>
              <a:gd name="connsiteX1497" fmla="*/ 6419501 w 9922465"/>
              <a:gd name="connsiteY1497" fmla="*/ 1209529 h 1934496"/>
              <a:gd name="connsiteX1498" fmla="*/ 6364309 w 9922465"/>
              <a:gd name="connsiteY1498" fmla="*/ 1154338 h 1934496"/>
              <a:gd name="connsiteX1499" fmla="*/ 6419501 w 9922465"/>
              <a:gd name="connsiteY1499" fmla="*/ 1099147 h 1934496"/>
              <a:gd name="connsiteX1500" fmla="*/ 6289206 w 9922465"/>
              <a:gd name="connsiteY1500" fmla="*/ 1099147 h 1934496"/>
              <a:gd name="connsiteX1501" fmla="*/ 6344398 w 9922465"/>
              <a:gd name="connsiteY1501" fmla="*/ 1154338 h 1934496"/>
              <a:gd name="connsiteX1502" fmla="*/ 6289206 w 9922465"/>
              <a:gd name="connsiteY1502" fmla="*/ 1209529 h 1934496"/>
              <a:gd name="connsiteX1503" fmla="*/ 6234014 w 9922465"/>
              <a:gd name="connsiteY1503" fmla="*/ 1154338 h 1934496"/>
              <a:gd name="connsiteX1504" fmla="*/ 6289206 w 9922465"/>
              <a:gd name="connsiteY1504" fmla="*/ 1099147 h 1934496"/>
              <a:gd name="connsiteX1505" fmla="*/ 6155571 w 9922465"/>
              <a:gd name="connsiteY1505" fmla="*/ 1099147 h 1934496"/>
              <a:gd name="connsiteX1506" fmla="*/ 6210763 w 9922465"/>
              <a:gd name="connsiteY1506" fmla="*/ 1154338 h 1934496"/>
              <a:gd name="connsiteX1507" fmla="*/ 6155571 w 9922465"/>
              <a:gd name="connsiteY1507" fmla="*/ 1209529 h 1934496"/>
              <a:gd name="connsiteX1508" fmla="*/ 6100379 w 9922465"/>
              <a:gd name="connsiteY1508" fmla="*/ 1154338 h 1934496"/>
              <a:gd name="connsiteX1509" fmla="*/ 6155571 w 9922465"/>
              <a:gd name="connsiteY1509" fmla="*/ 1099147 h 1934496"/>
              <a:gd name="connsiteX1510" fmla="*/ 6021938 w 9922465"/>
              <a:gd name="connsiteY1510" fmla="*/ 1099147 h 1934496"/>
              <a:gd name="connsiteX1511" fmla="*/ 6077130 w 9922465"/>
              <a:gd name="connsiteY1511" fmla="*/ 1154338 h 1934496"/>
              <a:gd name="connsiteX1512" fmla="*/ 6021938 w 9922465"/>
              <a:gd name="connsiteY1512" fmla="*/ 1209529 h 1934496"/>
              <a:gd name="connsiteX1513" fmla="*/ 5966746 w 9922465"/>
              <a:gd name="connsiteY1513" fmla="*/ 1154338 h 1934496"/>
              <a:gd name="connsiteX1514" fmla="*/ 6021938 w 9922465"/>
              <a:gd name="connsiteY1514" fmla="*/ 1099147 h 1934496"/>
              <a:gd name="connsiteX1515" fmla="*/ 5884963 w 9922465"/>
              <a:gd name="connsiteY1515" fmla="*/ 1099147 h 1934496"/>
              <a:gd name="connsiteX1516" fmla="*/ 5940155 w 9922465"/>
              <a:gd name="connsiteY1516" fmla="*/ 1154338 h 1934496"/>
              <a:gd name="connsiteX1517" fmla="*/ 5884963 w 9922465"/>
              <a:gd name="connsiteY1517" fmla="*/ 1209529 h 1934496"/>
              <a:gd name="connsiteX1518" fmla="*/ 5829771 w 9922465"/>
              <a:gd name="connsiteY1518" fmla="*/ 1154338 h 1934496"/>
              <a:gd name="connsiteX1519" fmla="*/ 5884963 w 9922465"/>
              <a:gd name="connsiteY1519" fmla="*/ 1099147 h 1934496"/>
              <a:gd name="connsiteX1520" fmla="*/ 5754668 w 9922465"/>
              <a:gd name="connsiteY1520" fmla="*/ 1099147 h 1934496"/>
              <a:gd name="connsiteX1521" fmla="*/ 5809860 w 9922465"/>
              <a:gd name="connsiteY1521" fmla="*/ 1154338 h 1934496"/>
              <a:gd name="connsiteX1522" fmla="*/ 5754668 w 9922465"/>
              <a:gd name="connsiteY1522" fmla="*/ 1209529 h 1934496"/>
              <a:gd name="connsiteX1523" fmla="*/ 5699476 w 9922465"/>
              <a:gd name="connsiteY1523" fmla="*/ 1154338 h 1934496"/>
              <a:gd name="connsiteX1524" fmla="*/ 5754668 w 9922465"/>
              <a:gd name="connsiteY1524" fmla="*/ 1099147 h 1934496"/>
              <a:gd name="connsiteX1525" fmla="*/ 5621031 w 9922465"/>
              <a:gd name="connsiteY1525" fmla="*/ 1099147 h 1934496"/>
              <a:gd name="connsiteX1526" fmla="*/ 5676223 w 9922465"/>
              <a:gd name="connsiteY1526" fmla="*/ 1154338 h 1934496"/>
              <a:gd name="connsiteX1527" fmla="*/ 5621031 w 9922465"/>
              <a:gd name="connsiteY1527" fmla="*/ 1209529 h 1934496"/>
              <a:gd name="connsiteX1528" fmla="*/ 5565839 w 9922465"/>
              <a:gd name="connsiteY1528" fmla="*/ 1154338 h 1934496"/>
              <a:gd name="connsiteX1529" fmla="*/ 5621031 w 9922465"/>
              <a:gd name="connsiteY1529" fmla="*/ 1099147 h 1934496"/>
              <a:gd name="connsiteX1530" fmla="*/ 5487398 w 9922465"/>
              <a:gd name="connsiteY1530" fmla="*/ 1099147 h 1934496"/>
              <a:gd name="connsiteX1531" fmla="*/ 5542590 w 9922465"/>
              <a:gd name="connsiteY1531" fmla="*/ 1154338 h 1934496"/>
              <a:gd name="connsiteX1532" fmla="*/ 5487398 w 9922465"/>
              <a:gd name="connsiteY1532" fmla="*/ 1209529 h 1934496"/>
              <a:gd name="connsiteX1533" fmla="*/ 5432206 w 9922465"/>
              <a:gd name="connsiteY1533" fmla="*/ 1154338 h 1934496"/>
              <a:gd name="connsiteX1534" fmla="*/ 5487398 w 9922465"/>
              <a:gd name="connsiteY1534" fmla="*/ 1099147 h 1934496"/>
              <a:gd name="connsiteX1535" fmla="*/ 5357105 w 9922465"/>
              <a:gd name="connsiteY1535" fmla="*/ 1099147 h 1934496"/>
              <a:gd name="connsiteX1536" fmla="*/ 5412297 w 9922465"/>
              <a:gd name="connsiteY1536" fmla="*/ 1154338 h 1934496"/>
              <a:gd name="connsiteX1537" fmla="*/ 5357105 w 9922465"/>
              <a:gd name="connsiteY1537" fmla="*/ 1209529 h 1934496"/>
              <a:gd name="connsiteX1538" fmla="*/ 5301913 w 9922465"/>
              <a:gd name="connsiteY1538" fmla="*/ 1154338 h 1934496"/>
              <a:gd name="connsiteX1539" fmla="*/ 5357105 w 9922465"/>
              <a:gd name="connsiteY1539" fmla="*/ 1099147 h 1934496"/>
              <a:gd name="connsiteX1540" fmla="*/ 5093176 w 9922465"/>
              <a:gd name="connsiteY1540" fmla="*/ 1099147 h 1934496"/>
              <a:gd name="connsiteX1541" fmla="*/ 5148368 w 9922465"/>
              <a:gd name="connsiteY1541" fmla="*/ 1154338 h 1934496"/>
              <a:gd name="connsiteX1542" fmla="*/ 5093176 w 9922465"/>
              <a:gd name="connsiteY1542" fmla="*/ 1209529 h 1934496"/>
              <a:gd name="connsiteX1543" fmla="*/ 5037984 w 9922465"/>
              <a:gd name="connsiteY1543" fmla="*/ 1154338 h 1934496"/>
              <a:gd name="connsiteX1544" fmla="*/ 5093176 w 9922465"/>
              <a:gd name="connsiteY1544" fmla="*/ 1099147 h 1934496"/>
              <a:gd name="connsiteX1545" fmla="*/ 4959540 w 9922465"/>
              <a:gd name="connsiteY1545" fmla="*/ 1099147 h 1934496"/>
              <a:gd name="connsiteX1546" fmla="*/ 5014732 w 9922465"/>
              <a:gd name="connsiteY1546" fmla="*/ 1154338 h 1934496"/>
              <a:gd name="connsiteX1547" fmla="*/ 4959540 w 9922465"/>
              <a:gd name="connsiteY1547" fmla="*/ 1209529 h 1934496"/>
              <a:gd name="connsiteX1548" fmla="*/ 4904348 w 9922465"/>
              <a:gd name="connsiteY1548" fmla="*/ 1154338 h 1934496"/>
              <a:gd name="connsiteX1549" fmla="*/ 4959540 w 9922465"/>
              <a:gd name="connsiteY1549" fmla="*/ 1099147 h 1934496"/>
              <a:gd name="connsiteX1550" fmla="*/ 4829246 w 9922465"/>
              <a:gd name="connsiteY1550" fmla="*/ 1099147 h 1934496"/>
              <a:gd name="connsiteX1551" fmla="*/ 4884438 w 9922465"/>
              <a:gd name="connsiteY1551" fmla="*/ 1154338 h 1934496"/>
              <a:gd name="connsiteX1552" fmla="*/ 4829246 w 9922465"/>
              <a:gd name="connsiteY1552" fmla="*/ 1209529 h 1934496"/>
              <a:gd name="connsiteX1553" fmla="*/ 4774054 w 9922465"/>
              <a:gd name="connsiteY1553" fmla="*/ 1154338 h 1934496"/>
              <a:gd name="connsiteX1554" fmla="*/ 4829246 w 9922465"/>
              <a:gd name="connsiteY1554" fmla="*/ 1099147 h 1934496"/>
              <a:gd name="connsiteX1555" fmla="*/ 319117 w 9922465"/>
              <a:gd name="connsiteY1555" fmla="*/ 1099147 h 1934496"/>
              <a:gd name="connsiteX1556" fmla="*/ 374310 w 9922465"/>
              <a:gd name="connsiteY1556" fmla="*/ 1154338 h 1934496"/>
              <a:gd name="connsiteX1557" fmla="*/ 319117 w 9922465"/>
              <a:gd name="connsiteY1557" fmla="*/ 1209529 h 1934496"/>
              <a:gd name="connsiteX1558" fmla="*/ 263926 w 9922465"/>
              <a:gd name="connsiteY1558" fmla="*/ 1154338 h 1934496"/>
              <a:gd name="connsiteX1559" fmla="*/ 319117 w 9922465"/>
              <a:gd name="connsiteY1559" fmla="*/ 1099147 h 1934496"/>
              <a:gd name="connsiteX1560" fmla="*/ 185484 w 9922465"/>
              <a:gd name="connsiteY1560" fmla="*/ 1099147 h 1934496"/>
              <a:gd name="connsiteX1561" fmla="*/ 240675 w 9922465"/>
              <a:gd name="connsiteY1561" fmla="*/ 1154338 h 1934496"/>
              <a:gd name="connsiteX1562" fmla="*/ 185484 w 9922465"/>
              <a:gd name="connsiteY1562" fmla="*/ 1209529 h 1934496"/>
              <a:gd name="connsiteX1563" fmla="*/ 130292 w 9922465"/>
              <a:gd name="connsiteY1563" fmla="*/ 1154338 h 1934496"/>
              <a:gd name="connsiteX1564" fmla="*/ 185484 w 9922465"/>
              <a:gd name="connsiteY1564" fmla="*/ 1099147 h 1934496"/>
              <a:gd name="connsiteX1565" fmla="*/ 55190 w 9922465"/>
              <a:gd name="connsiteY1565" fmla="*/ 1099147 h 1934496"/>
              <a:gd name="connsiteX1566" fmla="*/ 110381 w 9922465"/>
              <a:gd name="connsiteY1566" fmla="*/ 1154338 h 1934496"/>
              <a:gd name="connsiteX1567" fmla="*/ 55190 w 9922465"/>
              <a:gd name="connsiteY1567" fmla="*/ 1209529 h 1934496"/>
              <a:gd name="connsiteX1568" fmla="*/ 0 w 9922465"/>
              <a:gd name="connsiteY1568" fmla="*/ 1154338 h 1934496"/>
              <a:gd name="connsiteX1569" fmla="*/ 55190 w 9922465"/>
              <a:gd name="connsiteY1569" fmla="*/ 1099147 h 1934496"/>
              <a:gd name="connsiteX1570" fmla="*/ 3499584 w 9922465"/>
              <a:gd name="connsiteY1570" fmla="*/ 1099146 h 1934496"/>
              <a:gd name="connsiteX1571" fmla="*/ 3554776 w 9922465"/>
              <a:gd name="connsiteY1571" fmla="*/ 1154337 h 1934496"/>
              <a:gd name="connsiteX1572" fmla="*/ 3499584 w 9922465"/>
              <a:gd name="connsiteY1572" fmla="*/ 1209528 h 1934496"/>
              <a:gd name="connsiteX1573" fmla="*/ 3444392 w 9922465"/>
              <a:gd name="connsiteY1573" fmla="*/ 1154337 h 1934496"/>
              <a:gd name="connsiteX1574" fmla="*/ 3499584 w 9922465"/>
              <a:gd name="connsiteY1574" fmla="*/ 1099146 h 1934496"/>
              <a:gd name="connsiteX1575" fmla="*/ 2570894 w 9922465"/>
              <a:gd name="connsiteY1575" fmla="*/ 1099146 h 1934496"/>
              <a:gd name="connsiteX1576" fmla="*/ 2626086 w 9922465"/>
              <a:gd name="connsiteY1576" fmla="*/ 1154337 h 1934496"/>
              <a:gd name="connsiteX1577" fmla="*/ 2570894 w 9922465"/>
              <a:gd name="connsiteY1577" fmla="*/ 1209528 h 1934496"/>
              <a:gd name="connsiteX1578" fmla="*/ 2515701 w 9922465"/>
              <a:gd name="connsiteY1578" fmla="*/ 1154337 h 1934496"/>
              <a:gd name="connsiteX1579" fmla="*/ 2570894 w 9922465"/>
              <a:gd name="connsiteY1579" fmla="*/ 1099146 h 1934496"/>
              <a:gd name="connsiteX1580" fmla="*/ 2039698 w 9922465"/>
              <a:gd name="connsiteY1580" fmla="*/ 1099146 h 1934496"/>
              <a:gd name="connsiteX1581" fmla="*/ 2094891 w 9922465"/>
              <a:gd name="connsiteY1581" fmla="*/ 1154337 h 1934496"/>
              <a:gd name="connsiteX1582" fmla="*/ 2039698 w 9922465"/>
              <a:gd name="connsiteY1582" fmla="*/ 1209528 h 1934496"/>
              <a:gd name="connsiteX1583" fmla="*/ 1984505 w 9922465"/>
              <a:gd name="connsiteY1583" fmla="*/ 1154337 h 1934496"/>
              <a:gd name="connsiteX1584" fmla="*/ 2039698 w 9922465"/>
              <a:gd name="connsiteY1584" fmla="*/ 1099146 h 1934496"/>
              <a:gd name="connsiteX1585" fmla="*/ 1909401 w 9922465"/>
              <a:gd name="connsiteY1585" fmla="*/ 1099146 h 1934496"/>
              <a:gd name="connsiteX1586" fmla="*/ 1964592 w 9922465"/>
              <a:gd name="connsiteY1586" fmla="*/ 1154337 h 1934496"/>
              <a:gd name="connsiteX1587" fmla="*/ 1909401 w 9922465"/>
              <a:gd name="connsiteY1587" fmla="*/ 1209528 h 1934496"/>
              <a:gd name="connsiteX1588" fmla="*/ 1854207 w 9922465"/>
              <a:gd name="connsiteY1588" fmla="*/ 1154337 h 1934496"/>
              <a:gd name="connsiteX1589" fmla="*/ 1909401 w 9922465"/>
              <a:gd name="connsiteY1589" fmla="*/ 1099146 h 1934496"/>
              <a:gd name="connsiteX1590" fmla="*/ 1779104 w 9922465"/>
              <a:gd name="connsiteY1590" fmla="*/ 1099146 h 1934496"/>
              <a:gd name="connsiteX1591" fmla="*/ 1834296 w 9922465"/>
              <a:gd name="connsiteY1591" fmla="*/ 1154337 h 1934496"/>
              <a:gd name="connsiteX1592" fmla="*/ 1779104 w 9922465"/>
              <a:gd name="connsiteY1592" fmla="*/ 1209528 h 1934496"/>
              <a:gd name="connsiteX1593" fmla="*/ 1723910 w 9922465"/>
              <a:gd name="connsiteY1593" fmla="*/ 1154337 h 1934496"/>
              <a:gd name="connsiteX1594" fmla="*/ 1779104 w 9922465"/>
              <a:gd name="connsiteY1594" fmla="*/ 1099146 h 1934496"/>
              <a:gd name="connsiteX1595" fmla="*/ 1645469 w 9922465"/>
              <a:gd name="connsiteY1595" fmla="*/ 1099146 h 1934496"/>
              <a:gd name="connsiteX1596" fmla="*/ 1700664 w 9922465"/>
              <a:gd name="connsiteY1596" fmla="*/ 1154337 h 1934496"/>
              <a:gd name="connsiteX1597" fmla="*/ 1645469 w 9922465"/>
              <a:gd name="connsiteY1597" fmla="*/ 1209528 h 1934496"/>
              <a:gd name="connsiteX1598" fmla="*/ 1590275 w 9922465"/>
              <a:gd name="connsiteY1598" fmla="*/ 1154337 h 1934496"/>
              <a:gd name="connsiteX1599" fmla="*/ 1645469 w 9922465"/>
              <a:gd name="connsiteY1599" fmla="*/ 1099146 h 1934496"/>
              <a:gd name="connsiteX1600" fmla="*/ 1515179 w 9922465"/>
              <a:gd name="connsiteY1600" fmla="*/ 1099146 h 1934496"/>
              <a:gd name="connsiteX1601" fmla="*/ 1570364 w 9922465"/>
              <a:gd name="connsiteY1601" fmla="*/ 1154337 h 1934496"/>
              <a:gd name="connsiteX1602" fmla="*/ 1515179 w 9922465"/>
              <a:gd name="connsiteY1602" fmla="*/ 1209528 h 1934496"/>
              <a:gd name="connsiteX1603" fmla="*/ 1459982 w 9922465"/>
              <a:gd name="connsiteY1603" fmla="*/ 1154337 h 1934496"/>
              <a:gd name="connsiteX1604" fmla="*/ 1515179 w 9922465"/>
              <a:gd name="connsiteY1604" fmla="*/ 1099146 h 1934496"/>
              <a:gd name="connsiteX1605" fmla="*/ 1381539 w 9922465"/>
              <a:gd name="connsiteY1605" fmla="*/ 1099146 h 1934496"/>
              <a:gd name="connsiteX1606" fmla="*/ 1436731 w 9922465"/>
              <a:gd name="connsiteY1606" fmla="*/ 1154337 h 1934496"/>
              <a:gd name="connsiteX1607" fmla="*/ 1381539 w 9922465"/>
              <a:gd name="connsiteY1607" fmla="*/ 1209528 h 1934496"/>
              <a:gd name="connsiteX1608" fmla="*/ 1326349 w 9922465"/>
              <a:gd name="connsiteY1608" fmla="*/ 1154337 h 1934496"/>
              <a:gd name="connsiteX1609" fmla="*/ 1381539 w 9922465"/>
              <a:gd name="connsiteY1609" fmla="*/ 1099146 h 1934496"/>
              <a:gd name="connsiteX1610" fmla="*/ 1251245 w 9922465"/>
              <a:gd name="connsiteY1610" fmla="*/ 1099146 h 1934496"/>
              <a:gd name="connsiteX1611" fmla="*/ 1306439 w 9922465"/>
              <a:gd name="connsiteY1611" fmla="*/ 1154337 h 1934496"/>
              <a:gd name="connsiteX1612" fmla="*/ 1251245 w 9922465"/>
              <a:gd name="connsiteY1612" fmla="*/ 1209528 h 1934496"/>
              <a:gd name="connsiteX1613" fmla="*/ 1196054 w 9922465"/>
              <a:gd name="connsiteY1613" fmla="*/ 1154337 h 1934496"/>
              <a:gd name="connsiteX1614" fmla="*/ 1251245 w 9922465"/>
              <a:gd name="connsiteY1614" fmla="*/ 1099146 h 1934496"/>
              <a:gd name="connsiteX1615" fmla="*/ 1117610 w 9922465"/>
              <a:gd name="connsiteY1615" fmla="*/ 1099146 h 1934496"/>
              <a:gd name="connsiteX1616" fmla="*/ 1172803 w 9922465"/>
              <a:gd name="connsiteY1616" fmla="*/ 1154337 h 1934496"/>
              <a:gd name="connsiteX1617" fmla="*/ 1117610 w 9922465"/>
              <a:gd name="connsiteY1617" fmla="*/ 1209528 h 1934496"/>
              <a:gd name="connsiteX1618" fmla="*/ 1062416 w 9922465"/>
              <a:gd name="connsiteY1618" fmla="*/ 1154337 h 1934496"/>
              <a:gd name="connsiteX1619" fmla="*/ 1117610 w 9922465"/>
              <a:gd name="connsiteY1619" fmla="*/ 1099146 h 1934496"/>
              <a:gd name="connsiteX1620" fmla="*/ 980631 w 9922465"/>
              <a:gd name="connsiteY1620" fmla="*/ 1099146 h 1934496"/>
              <a:gd name="connsiteX1621" fmla="*/ 1035825 w 9922465"/>
              <a:gd name="connsiteY1621" fmla="*/ 1154337 h 1934496"/>
              <a:gd name="connsiteX1622" fmla="*/ 980631 w 9922465"/>
              <a:gd name="connsiteY1622" fmla="*/ 1209528 h 1934496"/>
              <a:gd name="connsiteX1623" fmla="*/ 925438 w 9922465"/>
              <a:gd name="connsiteY1623" fmla="*/ 1154337 h 1934496"/>
              <a:gd name="connsiteX1624" fmla="*/ 980631 w 9922465"/>
              <a:gd name="connsiteY1624" fmla="*/ 1099146 h 1934496"/>
              <a:gd name="connsiteX1625" fmla="*/ 846993 w 9922465"/>
              <a:gd name="connsiteY1625" fmla="*/ 1099146 h 1934496"/>
              <a:gd name="connsiteX1626" fmla="*/ 902186 w 9922465"/>
              <a:gd name="connsiteY1626" fmla="*/ 1154337 h 1934496"/>
              <a:gd name="connsiteX1627" fmla="*/ 846993 w 9922465"/>
              <a:gd name="connsiteY1627" fmla="*/ 1209528 h 1934496"/>
              <a:gd name="connsiteX1628" fmla="*/ 791796 w 9922465"/>
              <a:gd name="connsiteY1628" fmla="*/ 1154337 h 1934496"/>
              <a:gd name="connsiteX1629" fmla="*/ 846993 w 9922465"/>
              <a:gd name="connsiteY1629" fmla="*/ 1099146 h 1934496"/>
              <a:gd name="connsiteX1630" fmla="*/ 716690 w 9922465"/>
              <a:gd name="connsiteY1630" fmla="*/ 1099146 h 1934496"/>
              <a:gd name="connsiteX1631" fmla="*/ 771886 w 9922465"/>
              <a:gd name="connsiteY1631" fmla="*/ 1154337 h 1934496"/>
              <a:gd name="connsiteX1632" fmla="*/ 716690 w 9922465"/>
              <a:gd name="connsiteY1632" fmla="*/ 1209528 h 1934496"/>
              <a:gd name="connsiteX1633" fmla="*/ 661502 w 9922465"/>
              <a:gd name="connsiteY1633" fmla="*/ 1154337 h 1934496"/>
              <a:gd name="connsiteX1634" fmla="*/ 716690 w 9922465"/>
              <a:gd name="connsiteY1634" fmla="*/ 1099146 h 1934496"/>
              <a:gd name="connsiteX1635" fmla="*/ 583057 w 9922465"/>
              <a:gd name="connsiteY1635" fmla="*/ 1099146 h 1934496"/>
              <a:gd name="connsiteX1636" fmla="*/ 638250 w 9922465"/>
              <a:gd name="connsiteY1636" fmla="*/ 1154337 h 1934496"/>
              <a:gd name="connsiteX1637" fmla="*/ 583057 w 9922465"/>
              <a:gd name="connsiteY1637" fmla="*/ 1209528 h 1934496"/>
              <a:gd name="connsiteX1638" fmla="*/ 527863 w 9922465"/>
              <a:gd name="connsiteY1638" fmla="*/ 1154337 h 1934496"/>
              <a:gd name="connsiteX1639" fmla="*/ 583057 w 9922465"/>
              <a:gd name="connsiteY1639" fmla="*/ 1099146 h 1934496"/>
              <a:gd name="connsiteX1640" fmla="*/ 449413 w 9922465"/>
              <a:gd name="connsiteY1640" fmla="*/ 1099146 h 1934496"/>
              <a:gd name="connsiteX1641" fmla="*/ 504606 w 9922465"/>
              <a:gd name="connsiteY1641" fmla="*/ 1154337 h 1934496"/>
              <a:gd name="connsiteX1642" fmla="*/ 449413 w 9922465"/>
              <a:gd name="connsiteY1642" fmla="*/ 1209528 h 1934496"/>
              <a:gd name="connsiteX1643" fmla="*/ 394220 w 9922465"/>
              <a:gd name="connsiteY1643" fmla="*/ 1154337 h 1934496"/>
              <a:gd name="connsiteX1644" fmla="*/ 449413 w 9922465"/>
              <a:gd name="connsiteY1644" fmla="*/ 1099146 h 1934496"/>
              <a:gd name="connsiteX1645" fmla="*/ 9603343 w 9922465"/>
              <a:gd name="connsiteY1645" fmla="*/ 975533 h 1934496"/>
              <a:gd name="connsiteX1646" fmla="*/ 9658535 w 9922465"/>
              <a:gd name="connsiteY1646" fmla="*/ 1030724 h 1934496"/>
              <a:gd name="connsiteX1647" fmla="*/ 9603343 w 9922465"/>
              <a:gd name="connsiteY1647" fmla="*/ 1085915 h 1934496"/>
              <a:gd name="connsiteX1648" fmla="*/ 9548151 w 9922465"/>
              <a:gd name="connsiteY1648" fmla="*/ 1030724 h 1934496"/>
              <a:gd name="connsiteX1649" fmla="*/ 9603343 w 9922465"/>
              <a:gd name="connsiteY1649" fmla="*/ 975533 h 1934496"/>
              <a:gd name="connsiteX1650" fmla="*/ 9469708 w 9922465"/>
              <a:gd name="connsiteY1650" fmla="*/ 975533 h 1934496"/>
              <a:gd name="connsiteX1651" fmla="*/ 9524900 w 9922465"/>
              <a:gd name="connsiteY1651" fmla="*/ 1030724 h 1934496"/>
              <a:gd name="connsiteX1652" fmla="*/ 9469708 w 9922465"/>
              <a:gd name="connsiteY1652" fmla="*/ 1085915 h 1934496"/>
              <a:gd name="connsiteX1653" fmla="*/ 9414516 w 9922465"/>
              <a:gd name="connsiteY1653" fmla="*/ 1030724 h 1934496"/>
              <a:gd name="connsiteX1654" fmla="*/ 9469708 w 9922465"/>
              <a:gd name="connsiteY1654" fmla="*/ 975533 h 1934496"/>
              <a:gd name="connsiteX1655" fmla="*/ 8935170 w 9922465"/>
              <a:gd name="connsiteY1655" fmla="*/ 975533 h 1934496"/>
              <a:gd name="connsiteX1656" fmla="*/ 8990362 w 9922465"/>
              <a:gd name="connsiteY1656" fmla="*/ 1030724 h 1934496"/>
              <a:gd name="connsiteX1657" fmla="*/ 8935170 w 9922465"/>
              <a:gd name="connsiteY1657" fmla="*/ 1085915 h 1934496"/>
              <a:gd name="connsiteX1658" fmla="*/ 8879978 w 9922465"/>
              <a:gd name="connsiteY1658" fmla="*/ 1030724 h 1934496"/>
              <a:gd name="connsiteX1659" fmla="*/ 8935170 w 9922465"/>
              <a:gd name="connsiteY1659" fmla="*/ 975533 h 1934496"/>
              <a:gd name="connsiteX1660" fmla="*/ 8407315 w 9922465"/>
              <a:gd name="connsiteY1660" fmla="*/ 975533 h 1934496"/>
              <a:gd name="connsiteX1661" fmla="*/ 8462507 w 9922465"/>
              <a:gd name="connsiteY1661" fmla="*/ 1030724 h 1934496"/>
              <a:gd name="connsiteX1662" fmla="*/ 8407315 w 9922465"/>
              <a:gd name="connsiteY1662" fmla="*/ 1085915 h 1934496"/>
              <a:gd name="connsiteX1663" fmla="*/ 8352123 w 9922465"/>
              <a:gd name="connsiteY1663" fmla="*/ 1030724 h 1934496"/>
              <a:gd name="connsiteX1664" fmla="*/ 8407315 w 9922465"/>
              <a:gd name="connsiteY1664" fmla="*/ 975533 h 1934496"/>
              <a:gd name="connsiteX1665" fmla="*/ 7876116 w 9922465"/>
              <a:gd name="connsiteY1665" fmla="*/ 975533 h 1934496"/>
              <a:gd name="connsiteX1666" fmla="*/ 7931308 w 9922465"/>
              <a:gd name="connsiteY1666" fmla="*/ 1030724 h 1934496"/>
              <a:gd name="connsiteX1667" fmla="*/ 7876116 w 9922465"/>
              <a:gd name="connsiteY1667" fmla="*/ 1085915 h 1934496"/>
              <a:gd name="connsiteX1668" fmla="*/ 7820924 w 9922465"/>
              <a:gd name="connsiteY1668" fmla="*/ 1030724 h 1934496"/>
              <a:gd name="connsiteX1669" fmla="*/ 7876116 w 9922465"/>
              <a:gd name="connsiteY1669" fmla="*/ 975533 h 1934496"/>
              <a:gd name="connsiteX1670" fmla="*/ 7745822 w 9922465"/>
              <a:gd name="connsiteY1670" fmla="*/ 975533 h 1934496"/>
              <a:gd name="connsiteX1671" fmla="*/ 7801014 w 9922465"/>
              <a:gd name="connsiteY1671" fmla="*/ 1030724 h 1934496"/>
              <a:gd name="connsiteX1672" fmla="*/ 7745822 w 9922465"/>
              <a:gd name="connsiteY1672" fmla="*/ 1085915 h 1934496"/>
              <a:gd name="connsiteX1673" fmla="*/ 7690630 w 9922465"/>
              <a:gd name="connsiteY1673" fmla="*/ 1030724 h 1934496"/>
              <a:gd name="connsiteX1674" fmla="*/ 7745822 w 9922465"/>
              <a:gd name="connsiteY1674" fmla="*/ 975533 h 1934496"/>
              <a:gd name="connsiteX1675" fmla="*/ 7481894 w 9922465"/>
              <a:gd name="connsiteY1675" fmla="*/ 975533 h 1934496"/>
              <a:gd name="connsiteX1676" fmla="*/ 7537086 w 9922465"/>
              <a:gd name="connsiteY1676" fmla="*/ 1030724 h 1934496"/>
              <a:gd name="connsiteX1677" fmla="*/ 7481894 w 9922465"/>
              <a:gd name="connsiteY1677" fmla="*/ 1085915 h 1934496"/>
              <a:gd name="connsiteX1678" fmla="*/ 7426702 w 9922465"/>
              <a:gd name="connsiteY1678" fmla="*/ 1030724 h 1934496"/>
              <a:gd name="connsiteX1679" fmla="*/ 7481894 w 9922465"/>
              <a:gd name="connsiteY1679" fmla="*/ 975533 h 1934496"/>
              <a:gd name="connsiteX1680" fmla="*/ 7341578 w 9922465"/>
              <a:gd name="connsiteY1680" fmla="*/ 975533 h 1934496"/>
              <a:gd name="connsiteX1681" fmla="*/ 7396770 w 9922465"/>
              <a:gd name="connsiteY1681" fmla="*/ 1030724 h 1934496"/>
              <a:gd name="connsiteX1682" fmla="*/ 7341578 w 9922465"/>
              <a:gd name="connsiteY1682" fmla="*/ 1085915 h 1934496"/>
              <a:gd name="connsiteX1683" fmla="*/ 7286386 w 9922465"/>
              <a:gd name="connsiteY1683" fmla="*/ 1030724 h 1934496"/>
              <a:gd name="connsiteX1684" fmla="*/ 7341578 w 9922465"/>
              <a:gd name="connsiteY1684" fmla="*/ 975533 h 1934496"/>
              <a:gd name="connsiteX1685" fmla="*/ 7211285 w 9922465"/>
              <a:gd name="connsiteY1685" fmla="*/ 975533 h 1934496"/>
              <a:gd name="connsiteX1686" fmla="*/ 7266477 w 9922465"/>
              <a:gd name="connsiteY1686" fmla="*/ 1030724 h 1934496"/>
              <a:gd name="connsiteX1687" fmla="*/ 7211285 w 9922465"/>
              <a:gd name="connsiteY1687" fmla="*/ 1085915 h 1934496"/>
              <a:gd name="connsiteX1688" fmla="*/ 7156093 w 9922465"/>
              <a:gd name="connsiteY1688" fmla="*/ 1030724 h 1934496"/>
              <a:gd name="connsiteX1689" fmla="*/ 7211285 w 9922465"/>
              <a:gd name="connsiteY1689" fmla="*/ 975533 h 1934496"/>
              <a:gd name="connsiteX1690" fmla="*/ 6947356 w 9922465"/>
              <a:gd name="connsiteY1690" fmla="*/ 975533 h 1934496"/>
              <a:gd name="connsiteX1691" fmla="*/ 7002548 w 9922465"/>
              <a:gd name="connsiteY1691" fmla="*/ 1030724 h 1934496"/>
              <a:gd name="connsiteX1692" fmla="*/ 6947356 w 9922465"/>
              <a:gd name="connsiteY1692" fmla="*/ 1085915 h 1934496"/>
              <a:gd name="connsiteX1693" fmla="*/ 6892164 w 9922465"/>
              <a:gd name="connsiteY1693" fmla="*/ 1030724 h 1934496"/>
              <a:gd name="connsiteX1694" fmla="*/ 6947356 w 9922465"/>
              <a:gd name="connsiteY1694" fmla="*/ 975533 h 1934496"/>
              <a:gd name="connsiteX1695" fmla="*/ 6817063 w 9922465"/>
              <a:gd name="connsiteY1695" fmla="*/ 975533 h 1934496"/>
              <a:gd name="connsiteX1696" fmla="*/ 6872255 w 9922465"/>
              <a:gd name="connsiteY1696" fmla="*/ 1030724 h 1934496"/>
              <a:gd name="connsiteX1697" fmla="*/ 6817063 w 9922465"/>
              <a:gd name="connsiteY1697" fmla="*/ 1085915 h 1934496"/>
              <a:gd name="connsiteX1698" fmla="*/ 6761871 w 9922465"/>
              <a:gd name="connsiteY1698" fmla="*/ 1030724 h 1934496"/>
              <a:gd name="connsiteX1699" fmla="*/ 6817063 w 9922465"/>
              <a:gd name="connsiteY1699" fmla="*/ 975533 h 1934496"/>
              <a:gd name="connsiteX1700" fmla="*/ 6683430 w 9922465"/>
              <a:gd name="connsiteY1700" fmla="*/ 975533 h 1934496"/>
              <a:gd name="connsiteX1701" fmla="*/ 6738622 w 9922465"/>
              <a:gd name="connsiteY1701" fmla="*/ 1030724 h 1934496"/>
              <a:gd name="connsiteX1702" fmla="*/ 6683430 w 9922465"/>
              <a:gd name="connsiteY1702" fmla="*/ 1085915 h 1934496"/>
              <a:gd name="connsiteX1703" fmla="*/ 6628238 w 9922465"/>
              <a:gd name="connsiteY1703" fmla="*/ 1030724 h 1934496"/>
              <a:gd name="connsiteX1704" fmla="*/ 6683430 w 9922465"/>
              <a:gd name="connsiteY1704" fmla="*/ 975533 h 1934496"/>
              <a:gd name="connsiteX1705" fmla="*/ 6289206 w 9922465"/>
              <a:gd name="connsiteY1705" fmla="*/ 975533 h 1934496"/>
              <a:gd name="connsiteX1706" fmla="*/ 6344398 w 9922465"/>
              <a:gd name="connsiteY1706" fmla="*/ 1030724 h 1934496"/>
              <a:gd name="connsiteX1707" fmla="*/ 6289206 w 9922465"/>
              <a:gd name="connsiteY1707" fmla="*/ 1085915 h 1934496"/>
              <a:gd name="connsiteX1708" fmla="*/ 6234014 w 9922465"/>
              <a:gd name="connsiteY1708" fmla="*/ 1030724 h 1934496"/>
              <a:gd name="connsiteX1709" fmla="*/ 6289206 w 9922465"/>
              <a:gd name="connsiteY1709" fmla="*/ 975533 h 1934496"/>
              <a:gd name="connsiteX1710" fmla="*/ 5754667 w 9922465"/>
              <a:gd name="connsiteY1710" fmla="*/ 975533 h 1934496"/>
              <a:gd name="connsiteX1711" fmla="*/ 5809859 w 9922465"/>
              <a:gd name="connsiteY1711" fmla="*/ 1030724 h 1934496"/>
              <a:gd name="connsiteX1712" fmla="*/ 5754667 w 9922465"/>
              <a:gd name="connsiteY1712" fmla="*/ 1085915 h 1934496"/>
              <a:gd name="connsiteX1713" fmla="*/ 5699475 w 9922465"/>
              <a:gd name="connsiteY1713" fmla="*/ 1030724 h 1934496"/>
              <a:gd name="connsiteX1714" fmla="*/ 5754667 w 9922465"/>
              <a:gd name="connsiteY1714" fmla="*/ 975533 h 1934496"/>
              <a:gd name="connsiteX1715" fmla="*/ 5487398 w 9922465"/>
              <a:gd name="connsiteY1715" fmla="*/ 975533 h 1934496"/>
              <a:gd name="connsiteX1716" fmla="*/ 5542590 w 9922465"/>
              <a:gd name="connsiteY1716" fmla="*/ 1030724 h 1934496"/>
              <a:gd name="connsiteX1717" fmla="*/ 5487398 w 9922465"/>
              <a:gd name="connsiteY1717" fmla="*/ 1085915 h 1934496"/>
              <a:gd name="connsiteX1718" fmla="*/ 5432206 w 9922465"/>
              <a:gd name="connsiteY1718" fmla="*/ 1030724 h 1934496"/>
              <a:gd name="connsiteX1719" fmla="*/ 5487398 w 9922465"/>
              <a:gd name="connsiteY1719" fmla="*/ 975533 h 1934496"/>
              <a:gd name="connsiteX1720" fmla="*/ 5357105 w 9922465"/>
              <a:gd name="connsiteY1720" fmla="*/ 975533 h 1934496"/>
              <a:gd name="connsiteX1721" fmla="*/ 5412297 w 9922465"/>
              <a:gd name="connsiteY1721" fmla="*/ 1030724 h 1934496"/>
              <a:gd name="connsiteX1722" fmla="*/ 5357105 w 9922465"/>
              <a:gd name="connsiteY1722" fmla="*/ 1085915 h 1934496"/>
              <a:gd name="connsiteX1723" fmla="*/ 5301913 w 9922465"/>
              <a:gd name="connsiteY1723" fmla="*/ 1030724 h 1934496"/>
              <a:gd name="connsiteX1724" fmla="*/ 5357105 w 9922465"/>
              <a:gd name="connsiteY1724" fmla="*/ 975533 h 1934496"/>
              <a:gd name="connsiteX1725" fmla="*/ 5093176 w 9922465"/>
              <a:gd name="connsiteY1725" fmla="*/ 975533 h 1934496"/>
              <a:gd name="connsiteX1726" fmla="*/ 5148368 w 9922465"/>
              <a:gd name="connsiteY1726" fmla="*/ 1030724 h 1934496"/>
              <a:gd name="connsiteX1727" fmla="*/ 5093176 w 9922465"/>
              <a:gd name="connsiteY1727" fmla="*/ 1085915 h 1934496"/>
              <a:gd name="connsiteX1728" fmla="*/ 5037984 w 9922465"/>
              <a:gd name="connsiteY1728" fmla="*/ 1030724 h 1934496"/>
              <a:gd name="connsiteX1729" fmla="*/ 5093176 w 9922465"/>
              <a:gd name="connsiteY1729" fmla="*/ 975533 h 1934496"/>
              <a:gd name="connsiteX1730" fmla="*/ 4959540 w 9922465"/>
              <a:gd name="connsiteY1730" fmla="*/ 975533 h 1934496"/>
              <a:gd name="connsiteX1731" fmla="*/ 5014732 w 9922465"/>
              <a:gd name="connsiteY1731" fmla="*/ 1030724 h 1934496"/>
              <a:gd name="connsiteX1732" fmla="*/ 4959540 w 9922465"/>
              <a:gd name="connsiteY1732" fmla="*/ 1085915 h 1934496"/>
              <a:gd name="connsiteX1733" fmla="*/ 4904348 w 9922465"/>
              <a:gd name="connsiteY1733" fmla="*/ 1030724 h 1934496"/>
              <a:gd name="connsiteX1734" fmla="*/ 4959540 w 9922465"/>
              <a:gd name="connsiteY1734" fmla="*/ 975533 h 1934496"/>
              <a:gd name="connsiteX1735" fmla="*/ 4161075 w 9922465"/>
              <a:gd name="connsiteY1735" fmla="*/ 975533 h 1934496"/>
              <a:gd name="connsiteX1736" fmla="*/ 4216267 w 9922465"/>
              <a:gd name="connsiteY1736" fmla="*/ 1030724 h 1934496"/>
              <a:gd name="connsiteX1737" fmla="*/ 4161075 w 9922465"/>
              <a:gd name="connsiteY1737" fmla="*/ 1085915 h 1934496"/>
              <a:gd name="connsiteX1738" fmla="*/ 4105883 w 9922465"/>
              <a:gd name="connsiteY1738" fmla="*/ 1030724 h 1934496"/>
              <a:gd name="connsiteX1739" fmla="*/ 4161075 w 9922465"/>
              <a:gd name="connsiteY1739" fmla="*/ 975533 h 1934496"/>
              <a:gd name="connsiteX1740" fmla="*/ 4030782 w 9922465"/>
              <a:gd name="connsiteY1740" fmla="*/ 975533 h 1934496"/>
              <a:gd name="connsiteX1741" fmla="*/ 4085974 w 9922465"/>
              <a:gd name="connsiteY1741" fmla="*/ 1030724 h 1934496"/>
              <a:gd name="connsiteX1742" fmla="*/ 4030782 w 9922465"/>
              <a:gd name="connsiteY1742" fmla="*/ 1085915 h 1934496"/>
              <a:gd name="connsiteX1743" fmla="*/ 3975590 w 9922465"/>
              <a:gd name="connsiteY1743" fmla="*/ 1030724 h 1934496"/>
              <a:gd name="connsiteX1744" fmla="*/ 4030782 w 9922465"/>
              <a:gd name="connsiteY1744" fmla="*/ 975533 h 1934496"/>
              <a:gd name="connsiteX1745" fmla="*/ 3369290 w 9922465"/>
              <a:gd name="connsiteY1745" fmla="*/ 975533 h 1934496"/>
              <a:gd name="connsiteX1746" fmla="*/ 3424482 w 9922465"/>
              <a:gd name="connsiteY1746" fmla="*/ 1030724 h 1934496"/>
              <a:gd name="connsiteX1747" fmla="*/ 3369290 w 9922465"/>
              <a:gd name="connsiteY1747" fmla="*/ 1085915 h 1934496"/>
              <a:gd name="connsiteX1748" fmla="*/ 3314098 w 9922465"/>
              <a:gd name="connsiteY1748" fmla="*/ 1030724 h 1934496"/>
              <a:gd name="connsiteX1749" fmla="*/ 3369290 w 9922465"/>
              <a:gd name="connsiteY1749" fmla="*/ 975533 h 1934496"/>
              <a:gd name="connsiteX1750" fmla="*/ 2707880 w 9922465"/>
              <a:gd name="connsiteY1750" fmla="*/ 975533 h 1934496"/>
              <a:gd name="connsiteX1751" fmla="*/ 2763074 w 9922465"/>
              <a:gd name="connsiteY1751" fmla="*/ 1030724 h 1934496"/>
              <a:gd name="connsiteX1752" fmla="*/ 2707880 w 9922465"/>
              <a:gd name="connsiteY1752" fmla="*/ 1085915 h 1934496"/>
              <a:gd name="connsiteX1753" fmla="*/ 2652689 w 9922465"/>
              <a:gd name="connsiteY1753" fmla="*/ 1030724 h 1934496"/>
              <a:gd name="connsiteX1754" fmla="*/ 2707880 w 9922465"/>
              <a:gd name="connsiteY1754" fmla="*/ 975533 h 1934496"/>
              <a:gd name="connsiteX1755" fmla="*/ 2173347 w 9922465"/>
              <a:gd name="connsiteY1755" fmla="*/ 975533 h 1934496"/>
              <a:gd name="connsiteX1756" fmla="*/ 2228540 w 9922465"/>
              <a:gd name="connsiteY1756" fmla="*/ 1030724 h 1934496"/>
              <a:gd name="connsiteX1757" fmla="*/ 2173347 w 9922465"/>
              <a:gd name="connsiteY1757" fmla="*/ 1085915 h 1934496"/>
              <a:gd name="connsiteX1758" fmla="*/ 2118154 w 9922465"/>
              <a:gd name="connsiteY1758" fmla="*/ 1030724 h 1934496"/>
              <a:gd name="connsiteX1759" fmla="*/ 2173347 w 9922465"/>
              <a:gd name="connsiteY1759" fmla="*/ 975533 h 1934496"/>
              <a:gd name="connsiteX1760" fmla="*/ 1251258 w 9922465"/>
              <a:gd name="connsiteY1760" fmla="*/ 975533 h 1934496"/>
              <a:gd name="connsiteX1761" fmla="*/ 1306450 w 9922465"/>
              <a:gd name="connsiteY1761" fmla="*/ 1030724 h 1934496"/>
              <a:gd name="connsiteX1762" fmla="*/ 1251258 w 9922465"/>
              <a:gd name="connsiteY1762" fmla="*/ 1085915 h 1934496"/>
              <a:gd name="connsiteX1763" fmla="*/ 1196066 w 9922465"/>
              <a:gd name="connsiteY1763" fmla="*/ 1030724 h 1934496"/>
              <a:gd name="connsiteX1764" fmla="*/ 1251258 w 9922465"/>
              <a:gd name="connsiteY1764" fmla="*/ 975533 h 1934496"/>
              <a:gd name="connsiteX1765" fmla="*/ 847001 w 9922465"/>
              <a:gd name="connsiteY1765" fmla="*/ 975533 h 1934496"/>
              <a:gd name="connsiteX1766" fmla="*/ 902196 w 9922465"/>
              <a:gd name="connsiteY1766" fmla="*/ 1030724 h 1934496"/>
              <a:gd name="connsiteX1767" fmla="*/ 847001 w 9922465"/>
              <a:gd name="connsiteY1767" fmla="*/ 1085915 h 1934496"/>
              <a:gd name="connsiteX1768" fmla="*/ 791804 w 9922465"/>
              <a:gd name="connsiteY1768" fmla="*/ 1030724 h 1934496"/>
              <a:gd name="connsiteX1769" fmla="*/ 847001 w 9922465"/>
              <a:gd name="connsiteY1769" fmla="*/ 975533 h 1934496"/>
              <a:gd name="connsiteX1770" fmla="*/ 9336074 w 9922465"/>
              <a:gd name="connsiteY1770" fmla="*/ 975532 h 1934496"/>
              <a:gd name="connsiteX1771" fmla="*/ 9391266 w 9922465"/>
              <a:gd name="connsiteY1771" fmla="*/ 1030723 h 1934496"/>
              <a:gd name="connsiteX1772" fmla="*/ 9336074 w 9922465"/>
              <a:gd name="connsiteY1772" fmla="*/ 1085914 h 1934496"/>
              <a:gd name="connsiteX1773" fmla="*/ 9280882 w 9922465"/>
              <a:gd name="connsiteY1773" fmla="*/ 1030723 h 1934496"/>
              <a:gd name="connsiteX1774" fmla="*/ 9336074 w 9922465"/>
              <a:gd name="connsiteY1774" fmla="*/ 975532 h 1934496"/>
              <a:gd name="connsiteX1775" fmla="*/ 9199098 w 9922465"/>
              <a:gd name="connsiteY1775" fmla="*/ 975532 h 1934496"/>
              <a:gd name="connsiteX1776" fmla="*/ 9254290 w 9922465"/>
              <a:gd name="connsiteY1776" fmla="*/ 1030723 h 1934496"/>
              <a:gd name="connsiteX1777" fmla="*/ 9199098 w 9922465"/>
              <a:gd name="connsiteY1777" fmla="*/ 1085914 h 1934496"/>
              <a:gd name="connsiteX1778" fmla="*/ 9143906 w 9922465"/>
              <a:gd name="connsiteY1778" fmla="*/ 1030723 h 1934496"/>
              <a:gd name="connsiteX1779" fmla="*/ 9199098 w 9922465"/>
              <a:gd name="connsiteY1779" fmla="*/ 975532 h 1934496"/>
              <a:gd name="connsiteX1780" fmla="*/ 9068805 w 9922465"/>
              <a:gd name="connsiteY1780" fmla="*/ 975532 h 1934496"/>
              <a:gd name="connsiteX1781" fmla="*/ 9123997 w 9922465"/>
              <a:gd name="connsiteY1781" fmla="*/ 1030723 h 1934496"/>
              <a:gd name="connsiteX1782" fmla="*/ 9068805 w 9922465"/>
              <a:gd name="connsiteY1782" fmla="*/ 1085914 h 1934496"/>
              <a:gd name="connsiteX1783" fmla="*/ 9013613 w 9922465"/>
              <a:gd name="connsiteY1783" fmla="*/ 1030723 h 1934496"/>
              <a:gd name="connsiteX1784" fmla="*/ 9068805 w 9922465"/>
              <a:gd name="connsiteY1784" fmla="*/ 975532 h 1934496"/>
              <a:gd name="connsiteX1785" fmla="*/ 8801536 w 9922465"/>
              <a:gd name="connsiteY1785" fmla="*/ 975532 h 1934496"/>
              <a:gd name="connsiteX1786" fmla="*/ 8856728 w 9922465"/>
              <a:gd name="connsiteY1786" fmla="*/ 1030723 h 1934496"/>
              <a:gd name="connsiteX1787" fmla="*/ 8801536 w 9922465"/>
              <a:gd name="connsiteY1787" fmla="*/ 1085914 h 1934496"/>
              <a:gd name="connsiteX1788" fmla="*/ 8746344 w 9922465"/>
              <a:gd name="connsiteY1788" fmla="*/ 1030723 h 1934496"/>
              <a:gd name="connsiteX1789" fmla="*/ 8801536 w 9922465"/>
              <a:gd name="connsiteY1789" fmla="*/ 975532 h 1934496"/>
              <a:gd name="connsiteX1790" fmla="*/ 8671243 w 9922465"/>
              <a:gd name="connsiteY1790" fmla="*/ 975532 h 1934496"/>
              <a:gd name="connsiteX1791" fmla="*/ 8726435 w 9922465"/>
              <a:gd name="connsiteY1791" fmla="*/ 1030723 h 1934496"/>
              <a:gd name="connsiteX1792" fmla="*/ 8671243 w 9922465"/>
              <a:gd name="connsiteY1792" fmla="*/ 1085914 h 1934496"/>
              <a:gd name="connsiteX1793" fmla="*/ 8616051 w 9922465"/>
              <a:gd name="connsiteY1793" fmla="*/ 1030723 h 1934496"/>
              <a:gd name="connsiteX1794" fmla="*/ 8671243 w 9922465"/>
              <a:gd name="connsiteY1794" fmla="*/ 975532 h 1934496"/>
              <a:gd name="connsiteX1795" fmla="*/ 8537608 w 9922465"/>
              <a:gd name="connsiteY1795" fmla="*/ 975532 h 1934496"/>
              <a:gd name="connsiteX1796" fmla="*/ 8592800 w 9922465"/>
              <a:gd name="connsiteY1796" fmla="*/ 1030723 h 1934496"/>
              <a:gd name="connsiteX1797" fmla="*/ 8537608 w 9922465"/>
              <a:gd name="connsiteY1797" fmla="*/ 1085914 h 1934496"/>
              <a:gd name="connsiteX1798" fmla="*/ 8482416 w 9922465"/>
              <a:gd name="connsiteY1798" fmla="*/ 1030723 h 1934496"/>
              <a:gd name="connsiteX1799" fmla="*/ 8537608 w 9922465"/>
              <a:gd name="connsiteY1799" fmla="*/ 975532 h 1934496"/>
              <a:gd name="connsiteX1800" fmla="*/ 8273681 w 9922465"/>
              <a:gd name="connsiteY1800" fmla="*/ 975532 h 1934496"/>
              <a:gd name="connsiteX1801" fmla="*/ 8328873 w 9922465"/>
              <a:gd name="connsiteY1801" fmla="*/ 1030723 h 1934496"/>
              <a:gd name="connsiteX1802" fmla="*/ 8273681 w 9922465"/>
              <a:gd name="connsiteY1802" fmla="*/ 1085914 h 1934496"/>
              <a:gd name="connsiteX1803" fmla="*/ 8218489 w 9922465"/>
              <a:gd name="connsiteY1803" fmla="*/ 1030723 h 1934496"/>
              <a:gd name="connsiteX1804" fmla="*/ 8273681 w 9922465"/>
              <a:gd name="connsiteY1804" fmla="*/ 975532 h 1934496"/>
              <a:gd name="connsiteX1805" fmla="*/ 8143385 w 9922465"/>
              <a:gd name="connsiteY1805" fmla="*/ 975532 h 1934496"/>
              <a:gd name="connsiteX1806" fmla="*/ 8198577 w 9922465"/>
              <a:gd name="connsiteY1806" fmla="*/ 1030723 h 1934496"/>
              <a:gd name="connsiteX1807" fmla="*/ 8143385 w 9922465"/>
              <a:gd name="connsiteY1807" fmla="*/ 1085914 h 1934496"/>
              <a:gd name="connsiteX1808" fmla="*/ 8088193 w 9922465"/>
              <a:gd name="connsiteY1808" fmla="*/ 1030723 h 1934496"/>
              <a:gd name="connsiteX1809" fmla="*/ 8143385 w 9922465"/>
              <a:gd name="connsiteY1809" fmla="*/ 975532 h 1934496"/>
              <a:gd name="connsiteX1810" fmla="*/ 8009751 w 9922465"/>
              <a:gd name="connsiteY1810" fmla="*/ 975532 h 1934496"/>
              <a:gd name="connsiteX1811" fmla="*/ 8064943 w 9922465"/>
              <a:gd name="connsiteY1811" fmla="*/ 1030723 h 1934496"/>
              <a:gd name="connsiteX1812" fmla="*/ 8009751 w 9922465"/>
              <a:gd name="connsiteY1812" fmla="*/ 1085914 h 1934496"/>
              <a:gd name="connsiteX1813" fmla="*/ 7954559 w 9922465"/>
              <a:gd name="connsiteY1813" fmla="*/ 1030723 h 1934496"/>
              <a:gd name="connsiteX1814" fmla="*/ 8009751 w 9922465"/>
              <a:gd name="connsiteY1814" fmla="*/ 975532 h 1934496"/>
              <a:gd name="connsiteX1815" fmla="*/ 7608847 w 9922465"/>
              <a:gd name="connsiteY1815" fmla="*/ 975532 h 1934496"/>
              <a:gd name="connsiteX1816" fmla="*/ 7664039 w 9922465"/>
              <a:gd name="connsiteY1816" fmla="*/ 1030723 h 1934496"/>
              <a:gd name="connsiteX1817" fmla="*/ 7608847 w 9922465"/>
              <a:gd name="connsiteY1817" fmla="*/ 1085914 h 1934496"/>
              <a:gd name="connsiteX1818" fmla="*/ 7553655 w 9922465"/>
              <a:gd name="connsiteY1818" fmla="*/ 1030723 h 1934496"/>
              <a:gd name="connsiteX1819" fmla="*/ 7608847 w 9922465"/>
              <a:gd name="connsiteY1819" fmla="*/ 975532 h 1934496"/>
              <a:gd name="connsiteX1820" fmla="*/ 7080991 w 9922465"/>
              <a:gd name="connsiteY1820" fmla="*/ 975532 h 1934496"/>
              <a:gd name="connsiteX1821" fmla="*/ 7136183 w 9922465"/>
              <a:gd name="connsiteY1821" fmla="*/ 1030723 h 1934496"/>
              <a:gd name="connsiteX1822" fmla="*/ 7080991 w 9922465"/>
              <a:gd name="connsiteY1822" fmla="*/ 1085914 h 1934496"/>
              <a:gd name="connsiteX1823" fmla="*/ 7025799 w 9922465"/>
              <a:gd name="connsiteY1823" fmla="*/ 1030723 h 1934496"/>
              <a:gd name="connsiteX1824" fmla="*/ 7080991 w 9922465"/>
              <a:gd name="connsiteY1824" fmla="*/ 975532 h 1934496"/>
              <a:gd name="connsiteX1825" fmla="*/ 6553135 w 9922465"/>
              <a:gd name="connsiteY1825" fmla="*/ 975532 h 1934496"/>
              <a:gd name="connsiteX1826" fmla="*/ 6608327 w 9922465"/>
              <a:gd name="connsiteY1826" fmla="*/ 1030723 h 1934496"/>
              <a:gd name="connsiteX1827" fmla="*/ 6553135 w 9922465"/>
              <a:gd name="connsiteY1827" fmla="*/ 1085914 h 1934496"/>
              <a:gd name="connsiteX1828" fmla="*/ 6497943 w 9922465"/>
              <a:gd name="connsiteY1828" fmla="*/ 1030723 h 1934496"/>
              <a:gd name="connsiteX1829" fmla="*/ 6553135 w 9922465"/>
              <a:gd name="connsiteY1829" fmla="*/ 975532 h 1934496"/>
              <a:gd name="connsiteX1830" fmla="*/ 6419501 w 9922465"/>
              <a:gd name="connsiteY1830" fmla="*/ 975532 h 1934496"/>
              <a:gd name="connsiteX1831" fmla="*/ 6474693 w 9922465"/>
              <a:gd name="connsiteY1831" fmla="*/ 1030723 h 1934496"/>
              <a:gd name="connsiteX1832" fmla="*/ 6419501 w 9922465"/>
              <a:gd name="connsiteY1832" fmla="*/ 1085914 h 1934496"/>
              <a:gd name="connsiteX1833" fmla="*/ 6364309 w 9922465"/>
              <a:gd name="connsiteY1833" fmla="*/ 1030723 h 1934496"/>
              <a:gd name="connsiteX1834" fmla="*/ 6419501 w 9922465"/>
              <a:gd name="connsiteY1834" fmla="*/ 975532 h 1934496"/>
              <a:gd name="connsiteX1835" fmla="*/ 6155571 w 9922465"/>
              <a:gd name="connsiteY1835" fmla="*/ 975532 h 1934496"/>
              <a:gd name="connsiteX1836" fmla="*/ 6210763 w 9922465"/>
              <a:gd name="connsiteY1836" fmla="*/ 1030723 h 1934496"/>
              <a:gd name="connsiteX1837" fmla="*/ 6155571 w 9922465"/>
              <a:gd name="connsiteY1837" fmla="*/ 1085914 h 1934496"/>
              <a:gd name="connsiteX1838" fmla="*/ 6100379 w 9922465"/>
              <a:gd name="connsiteY1838" fmla="*/ 1030723 h 1934496"/>
              <a:gd name="connsiteX1839" fmla="*/ 6155571 w 9922465"/>
              <a:gd name="connsiteY1839" fmla="*/ 975532 h 1934496"/>
              <a:gd name="connsiteX1840" fmla="*/ 6021936 w 9922465"/>
              <a:gd name="connsiteY1840" fmla="*/ 975532 h 1934496"/>
              <a:gd name="connsiteX1841" fmla="*/ 6077128 w 9922465"/>
              <a:gd name="connsiteY1841" fmla="*/ 1030723 h 1934496"/>
              <a:gd name="connsiteX1842" fmla="*/ 6021936 w 9922465"/>
              <a:gd name="connsiteY1842" fmla="*/ 1085914 h 1934496"/>
              <a:gd name="connsiteX1843" fmla="*/ 5966744 w 9922465"/>
              <a:gd name="connsiteY1843" fmla="*/ 1030723 h 1934496"/>
              <a:gd name="connsiteX1844" fmla="*/ 6021936 w 9922465"/>
              <a:gd name="connsiteY1844" fmla="*/ 975532 h 1934496"/>
              <a:gd name="connsiteX1845" fmla="*/ 5884963 w 9922465"/>
              <a:gd name="connsiteY1845" fmla="*/ 975532 h 1934496"/>
              <a:gd name="connsiteX1846" fmla="*/ 5940155 w 9922465"/>
              <a:gd name="connsiteY1846" fmla="*/ 1030723 h 1934496"/>
              <a:gd name="connsiteX1847" fmla="*/ 5884963 w 9922465"/>
              <a:gd name="connsiteY1847" fmla="*/ 1085914 h 1934496"/>
              <a:gd name="connsiteX1848" fmla="*/ 5829771 w 9922465"/>
              <a:gd name="connsiteY1848" fmla="*/ 1030723 h 1934496"/>
              <a:gd name="connsiteX1849" fmla="*/ 5884963 w 9922465"/>
              <a:gd name="connsiteY1849" fmla="*/ 975532 h 1934496"/>
              <a:gd name="connsiteX1850" fmla="*/ 5621031 w 9922465"/>
              <a:gd name="connsiteY1850" fmla="*/ 975532 h 1934496"/>
              <a:gd name="connsiteX1851" fmla="*/ 5676223 w 9922465"/>
              <a:gd name="connsiteY1851" fmla="*/ 1030723 h 1934496"/>
              <a:gd name="connsiteX1852" fmla="*/ 5621031 w 9922465"/>
              <a:gd name="connsiteY1852" fmla="*/ 1085914 h 1934496"/>
              <a:gd name="connsiteX1853" fmla="*/ 5565839 w 9922465"/>
              <a:gd name="connsiteY1853" fmla="*/ 1030723 h 1934496"/>
              <a:gd name="connsiteX1854" fmla="*/ 5621031 w 9922465"/>
              <a:gd name="connsiteY1854" fmla="*/ 975532 h 1934496"/>
              <a:gd name="connsiteX1855" fmla="*/ 5223472 w 9922465"/>
              <a:gd name="connsiteY1855" fmla="*/ 975532 h 1934496"/>
              <a:gd name="connsiteX1856" fmla="*/ 5278664 w 9922465"/>
              <a:gd name="connsiteY1856" fmla="*/ 1030723 h 1934496"/>
              <a:gd name="connsiteX1857" fmla="*/ 5223472 w 9922465"/>
              <a:gd name="connsiteY1857" fmla="*/ 1085914 h 1934496"/>
              <a:gd name="connsiteX1858" fmla="*/ 5168280 w 9922465"/>
              <a:gd name="connsiteY1858" fmla="*/ 1030723 h 1934496"/>
              <a:gd name="connsiteX1859" fmla="*/ 5223472 w 9922465"/>
              <a:gd name="connsiteY1859" fmla="*/ 975532 h 1934496"/>
              <a:gd name="connsiteX1860" fmla="*/ 4294710 w 9922465"/>
              <a:gd name="connsiteY1860" fmla="*/ 975532 h 1934496"/>
              <a:gd name="connsiteX1861" fmla="*/ 4349902 w 9922465"/>
              <a:gd name="connsiteY1861" fmla="*/ 1030723 h 1934496"/>
              <a:gd name="connsiteX1862" fmla="*/ 4294710 w 9922465"/>
              <a:gd name="connsiteY1862" fmla="*/ 1085914 h 1934496"/>
              <a:gd name="connsiteX1863" fmla="*/ 4239518 w 9922465"/>
              <a:gd name="connsiteY1863" fmla="*/ 1030723 h 1934496"/>
              <a:gd name="connsiteX1864" fmla="*/ 4294710 w 9922465"/>
              <a:gd name="connsiteY1864" fmla="*/ 975532 h 1934496"/>
              <a:gd name="connsiteX1865" fmla="*/ 3499584 w 9922465"/>
              <a:gd name="connsiteY1865" fmla="*/ 975532 h 1934496"/>
              <a:gd name="connsiteX1866" fmla="*/ 3554776 w 9922465"/>
              <a:gd name="connsiteY1866" fmla="*/ 1030723 h 1934496"/>
              <a:gd name="connsiteX1867" fmla="*/ 3499584 w 9922465"/>
              <a:gd name="connsiteY1867" fmla="*/ 1085914 h 1934496"/>
              <a:gd name="connsiteX1868" fmla="*/ 3444392 w 9922465"/>
              <a:gd name="connsiteY1868" fmla="*/ 1030723 h 1934496"/>
              <a:gd name="connsiteX1869" fmla="*/ 3499584 w 9922465"/>
              <a:gd name="connsiteY1869" fmla="*/ 975532 h 1934496"/>
              <a:gd name="connsiteX1870" fmla="*/ 2834836 w 9922465"/>
              <a:gd name="connsiteY1870" fmla="*/ 975532 h 1934496"/>
              <a:gd name="connsiteX1871" fmla="*/ 2890028 w 9922465"/>
              <a:gd name="connsiteY1871" fmla="*/ 1030723 h 1934496"/>
              <a:gd name="connsiteX1872" fmla="*/ 2834836 w 9922465"/>
              <a:gd name="connsiteY1872" fmla="*/ 1085914 h 1934496"/>
              <a:gd name="connsiteX1873" fmla="*/ 2779643 w 9922465"/>
              <a:gd name="connsiteY1873" fmla="*/ 1030723 h 1934496"/>
              <a:gd name="connsiteX1874" fmla="*/ 2834836 w 9922465"/>
              <a:gd name="connsiteY1874" fmla="*/ 975532 h 1934496"/>
              <a:gd name="connsiteX1875" fmla="*/ 2303639 w 9922465"/>
              <a:gd name="connsiteY1875" fmla="*/ 975532 h 1934496"/>
              <a:gd name="connsiteX1876" fmla="*/ 2358830 w 9922465"/>
              <a:gd name="connsiteY1876" fmla="*/ 1030723 h 1934496"/>
              <a:gd name="connsiteX1877" fmla="*/ 2303639 w 9922465"/>
              <a:gd name="connsiteY1877" fmla="*/ 1085914 h 1934496"/>
              <a:gd name="connsiteX1878" fmla="*/ 2248448 w 9922465"/>
              <a:gd name="connsiteY1878" fmla="*/ 1030723 h 1934496"/>
              <a:gd name="connsiteX1879" fmla="*/ 2303639 w 9922465"/>
              <a:gd name="connsiteY1879" fmla="*/ 975532 h 1934496"/>
              <a:gd name="connsiteX1880" fmla="*/ 2039712 w 9922465"/>
              <a:gd name="connsiteY1880" fmla="*/ 975532 h 1934496"/>
              <a:gd name="connsiteX1881" fmla="*/ 2094905 w 9922465"/>
              <a:gd name="connsiteY1881" fmla="*/ 1030723 h 1934496"/>
              <a:gd name="connsiteX1882" fmla="*/ 2039712 w 9922465"/>
              <a:gd name="connsiteY1882" fmla="*/ 1085914 h 1934496"/>
              <a:gd name="connsiteX1883" fmla="*/ 1984518 w 9922465"/>
              <a:gd name="connsiteY1883" fmla="*/ 1030723 h 1934496"/>
              <a:gd name="connsiteX1884" fmla="*/ 2039712 w 9922465"/>
              <a:gd name="connsiteY1884" fmla="*/ 975532 h 1934496"/>
              <a:gd name="connsiteX1885" fmla="*/ 1909414 w 9922465"/>
              <a:gd name="connsiteY1885" fmla="*/ 975532 h 1934496"/>
              <a:gd name="connsiteX1886" fmla="*/ 1964607 w 9922465"/>
              <a:gd name="connsiteY1886" fmla="*/ 1030723 h 1934496"/>
              <a:gd name="connsiteX1887" fmla="*/ 1909414 w 9922465"/>
              <a:gd name="connsiteY1887" fmla="*/ 1085914 h 1934496"/>
              <a:gd name="connsiteX1888" fmla="*/ 1854220 w 9922465"/>
              <a:gd name="connsiteY1888" fmla="*/ 1030723 h 1934496"/>
              <a:gd name="connsiteX1889" fmla="*/ 1909414 w 9922465"/>
              <a:gd name="connsiteY1889" fmla="*/ 975532 h 1934496"/>
              <a:gd name="connsiteX1890" fmla="*/ 1779117 w 9922465"/>
              <a:gd name="connsiteY1890" fmla="*/ 975532 h 1934496"/>
              <a:gd name="connsiteX1891" fmla="*/ 1834310 w 9922465"/>
              <a:gd name="connsiteY1891" fmla="*/ 1030723 h 1934496"/>
              <a:gd name="connsiteX1892" fmla="*/ 1779117 w 9922465"/>
              <a:gd name="connsiteY1892" fmla="*/ 1085914 h 1934496"/>
              <a:gd name="connsiteX1893" fmla="*/ 1723923 w 9922465"/>
              <a:gd name="connsiteY1893" fmla="*/ 1030723 h 1934496"/>
              <a:gd name="connsiteX1894" fmla="*/ 1779117 w 9922465"/>
              <a:gd name="connsiteY1894" fmla="*/ 975532 h 1934496"/>
              <a:gd name="connsiteX1895" fmla="*/ 1645480 w 9922465"/>
              <a:gd name="connsiteY1895" fmla="*/ 975532 h 1934496"/>
              <a:gd name="connsiteX1896" fmla="*/ 1700679 w 9922465"/>
              <a:gd name="connsiteY1896" fmla="*/ 1030723 h 1934496"/>
              <a:gd name="connsiteX1897" fmla="*/ 1645480 w 9922465"/>
              <a:gd name="connsiteY1897" fmla="*/ 1085914 h 1934496"/>
              <a:gd name="connsiteX1898" fmla="*/ 1590287 w 9922465"/>
              <a:gd name="connsiteY1898" fmla="*/ 1030723 h 1934496"/>
              <a:gd name="connsiteX1899" fmla="*/ 1645480 w 9922465"/>
              <a:gd name="connsiteY1899" fmla="*/ 975532 h 1934496"/>
              <a:gd name="connsiteX1900" fmla="*/ 1515189 w 9922465"/>
              <a:gd name="connsiteY1900" fmla="*/ 975532 h 1934496"/>
              <a:gd name="connsiteX1901" fmla="*/ 1570378 w 9922465"/>
              <a:gd name="connsiteY1901" fmla="*/ 1030723 h 1934496"/>
              <a:gd name="connsiteX1902" fmla="*/ 1515189 w 9922465"/>
              <a:gd name="connsiteY1902" fmla="*/ 1085914 h 1934496"/>
              <a:gd name="connsiteX1903" fmla="*/ 1459995 w 9922465"/>
              <a:gd name="connsiteY1903" fmla="*/ 1030723 h 1934496"/>
              <a:gd name="connsiteX1904" fmla="*/ 1515189 w 9922465"/>
              <a:gd name="connsiteY1904" fmla="*/ 975532 h 1934496"/>
              <a:gd name="connsiteX1905" fmla="*/ 1381549 w 9922465"/>
              <a:gd name="connsiteY1905" fmla="*/ 975532 h 1934496"/>
              <a:gd name="connsiteX1906" fmla="*/ 1436744 w 9922465"/>
              <a:gd name="connsiteY1906" fmla="*/ 1030723 h 1934496"/>
              <a:gd name="connsiteX1907" fmla="*/ 1381549 w 9922465"/>
              <a:gd name="connsiteY1907" fmla="*/ 1085914 h 1934496"/>
              <a:gd name="connsiteX1908" fmla="*/ 1326361 w 9922465"/>
              <a:gd name="connsiteY1908" fmla="*/ 1030723 h 1934496"/>
              <a:gd name="connsiteX1909" fmla="*/ 1381549 w 9922465"/>
              <a:gd name="connsiteY1909" fmla="*/ 975532 h 1934496"/>
              <a:gd name="connsiteX1910" fmla="*/ 1117621 w 9922465"/>
              <a:gd name="connsiteY1910" fmla="*/ 975532 h 1934496"/>
              <a:gd name="connsiteX1911" fmla="*/ 1172814 w 9922465"/>
              <a:gd name="connsiteY1911" fmla="*/ 1030723 h 1934496"/>
              <a:gd name="connsiteX1912" fmla="*/ 1117621 w 9922465"/>
              <a:gd name="connsiteY1912" fmla="*/ 1085914 h 1934496"/>
              <a:gd name="connsiteX1913" fmla="*/ 1062427 w 9922465"/>
              <a:gd name="connsiteY1913" fmla="*/ 1030723 h 1934496"/>
              <a:gd name="connsiteX1914" fmla="*/ 1117621 w 9922465"/>
              <a:gd name="connsiteY1914" fmla="*/ 975532 h 1934496"/>
              <a:gd name="connsiteX1915" fmla="*/ 980643 w 9922465"/>
              <a:gd name="connsiteY1915" fmla="*/ 975532 h 1934496"/>
              <a:gd name="connsiteX1916" fmla="*/ 1035836 w 9922465"/>
              <a:gd name="connsiteY1916" fmla="*/ 1030723 h 1934496"/>
              <a:gd name="connsiteX1917" fmla="*/ 980643 w 9922465"/>
              <a:gd name="connsiteY1917" fmla="*/ 1085914 h 1934496"/>
              <a:gd name="connsiteX1918" fmla="*/ 925449 w 9922465"/>
              <a:gd name="connsiteY1918" fmla="*/ 1030723 h 1934496"/>
              <a:gd name="connsiteX1919" fmla="*/ 980643 w 9922465"/>
              <a:gd name="connsiteY1919" fmla="*/ 975532 h 1934496"/>
              <a:gd name="connsiteX1920" fmla="*/ 716703 w 9922465"/>
              <a:gd name="connsiteY1920" fmla="*/ 975532 h 1934496"/>
              <a:gd name="connsiteX1921" fmla="*/ 771897 w 9922465"/>
              <a:gd name="connsiteY1921" fmla="*/ 1030723 h 1934496"/>
              <a:gd name="connsiteX1922" fmla="*/ 716703 w 9922465"/>
              <a:gd name="connsiteY1922" fmla="*/ 1085914 h 1934496"/>
              <a:gd name="connsiteX1923" fmla="*/ 661511 w 9922465"/>
              <a:gd name="connsiteY1923" fmla="*/ 1030723 h 1934496"/>
              <a:gd name="connsiteX1924" fmla="*/ 716703 w 9922465"/>
              <a:gd name="connsiteY1924" fmla="*/ 975532 h 1934496"/>
              <a:gd name="connsiteX1925" fmla="*/ 583065 w 9922465"/>
              <a:gd name="connsiteY1925" fmla="*/ 975532 h 1934496"/>
              <a:gd name="connsiteX1926" fmla="*/ 638258 w 9922465"/>
              <a:gd name="connsiteY1926" fmla="*/ 1030723 h 1934496"/>
              <a:gd name="connsiteX1927" fmla="*/ 583065 w 9922465"/>
              <a:gd name="connsiteY1927" fmla="*/ 1085914 h 1934496"/>
              <a:gd name="connsiteX1928" fmla="*/ 527871 w 9922465"/>
              <a:gd name="connsiteY1928" fmla="*/ 1030723 h 1934496"/>
              <a:gd name="connsiteX1929" fmla="*/ 583065 w 9922465"/>
              <a:gd name="connsiteY1929" fmla="*/ 975532 h 1934496"/>
              <a:gd name="connsiteX1930" fmla="*/ 449419 w 9922465"/>
              <a:gd name="connsiteY1930" fmla="*/ 975532 h 1934496"/>
              <a:gd name="connsiteX1931" fmla="*/ 504612 w 9922465"/>
              <a:gd name="connsiteY1931" fmla="*/ 1030723 h 1934496"/>
              <a:gd name="connsiteX1932" fmla="*/ 449419 w 9922465"/>
              <a:gd name="connsiteY1932" fmla="*/ 1085914 h 1934496"/>
              <a:gd name="connsiteX1933" fmla="*/ 394227 w 9922465"/>
              <a:gd name="connsiteY1933" fmla="*/ 1030723 h 1934496"/>
              <a:gd name="connsiteX1934" fmla="*/ 449419 w 9922465"/>
              <a:gd name="connsiteY1934" fmla="*/ 975532 h 1934496"/>
              <a:gd name="connsiteX1935" fmla="*/ 319124 w 9922465"/>
              <a:gd name="connsiteY1935" fmla="*/ 975532 h 1934496"/>
              <a:gd name="connsiteX1936" fmla="*/ 374317 w 9922465"/>
              <a:gd name="connsiteY1936" fmla="*/ 1030723 h 1934496"/>
              <a:gd name="connsiteX1937" fmla="*/ 319124 w 9922465"/>
              <a:gd name="connsiteY1937" fmla="*/ 1085914 h 1934496"/>
              <a:gd name="connsiteX1938" fmla="*/ 263931 w 9922465"/>
              <a:gd name="connsiteY1938" fmla="*/ 1030723 h 1934496"/>
              <a:gd name="connsiteX1939" fmla="*/ 319124 w 9922465"/>
              <a:gd name="connsiteY1939" fmla="*/ 975532 h 1934496"/>
              <a:gd name="connsiteX1940" fmla="*/ 185492 w 9922465"/>
              <a:gd name="connsiteY1940" fmla="*/ 975532 h 1934496"/>
              <a:gd name="connsiteX1941" fmla="*/ 240682 w 9922465"/>
              <a:gd name="connsiteY1941" fmla="*/ 1030723 h 1934496"/>
              <a:gd name="connsiteX1942" fmla="*/ 185492 w 9922465"/>
              <a:gd name="connsiteY1942" fmla="*/ 1085914 h 1934496"/>
              <a:gd name="connsiteX1943" fmla="*/ 130299 w 9922465"/>
              <a:gd name="connsiteY1943" fmla="*/ 1030723 h 1934496"/>
              <a:gd name="connsiteX1944" fmla="*/ 185492 w 9922465"/>
              <a:gd name="connsiteY1944" fmla="*/ 975532 h 1934496"/>
              <a:gd name="connsiteX1945" fmla="*/ 55197 w 9922465"/>
              <a:gd name="connsiteY1945" fmla="*/ 975532 h 1934496"/>
              <a:gd name="connsiteX1946" fmla="*/ 110388 w 9922465"/>
              <a:gd name="connsiteY1946" fmla="*/ 1030723 h 1934496"/>
              <a:gd name="connsiteX1947" fmla="*/ 55197 w 9922465"/>
              <a:gd name="connsiteY1947" fmla="*/ 1085914 h 1934496"/>
              <a:gd name="connsiteX1948" fmla="*/ 7 w 9922465"/>
              <a:gd name="connsiteY1948" fmla="*/ 1030723 h 1934496"/>
              <a:gd name="connsiteX1949" fmla="*/ 55197 w 9922465"/>
              <a:gd name="connsiteY1949" fmla="*/ 975532 h 1934496"/>
              <a:gd name="connsiteX1950" fmla="*/ 9469710 w 9922465"/>
              <a:gd name="connsiteY1950" fmla="*/ 855263 h 1934496"/>
              <a:gd name="connsiteX1951" fmla="*/ 9524902 w 9922465"/>
              <a:gd name="connsiteY1951" fmla="*/ 910454 h 1934496"/>
              <a:gd name="connsiteX1952" fmla="*/ 9469710 w 9922465"/>
              <a:gd name="connsiteY1952" fmla="*/ 965645 h 1934496"/>
              <a:gd name="connsiteX1953" fmla="*/ 9414518 w 9922465"/>
              <a:gd name="connsiteY1953" fmla="*/ 910454 h 1934496"/>
              <a:gd name="connsiteX1954" fmla="*/ 9469710 w 9922465"/>
              <a:gd name="connsiteY1954" fmla="*/ 855263 h 1934496"/>
              <a:gd name="connsiteX1955" fmla="*/ 9336075 w 9922465"/>
              <a:gd name="connsiteY1955" fmla="*/ 855263 h 1934496"/>
              <a:gd name="connsiteX1956" fmla="*/ 9391267 w 9922465"/>
              <a:gd name="connsiteY1956" fmla="*/ 910454 h 1934496"/>
              <a:gd name="connsiteX1957" fmla="*/ 9336075 w 9922465"/>
              <a:gd name="connsiteY1957" fmla="*/ 965645 h 1934496"/>
              <a:gd name="connsiteX1958" fmla="*/ 9280883 w 9922465"/>
              <a:gd name="connsiteY1958" fmla="*/ 910454 h 1934496"/>
              <a:gd name="connsiteX1959" fmla="*/ 9336075 w 9922465"/>
              <a:gd name="connsiteY1959" fmla="*/ 855263 h 1934496"/>
              <a:gd name="connsiteX1960" fmla="*/ 9199100 w 9922465"/>
              <a:gd name="connsiteY1960" fmla="*/ 855263 h 1934496"/>
              <a:gd name="connsiteX1961" fmla="*/ 9254292 w 9922465"/>
              <a:gd name="connsiteY1961" fmla="*/ 910454 h 1934496"/>
              <a:gd name="connsiteX1962" fmla="*/ 9199100 w 9922465"/>
              <a:gd name="connsiteY1962" fmla="*/ 965645 h 1934496"/>
              <a:gd name="connsiteX1963" fmla="*/ 9143908 w 9922465"/>
              <a:gd name="connsiteY1963" fmla="*/ 910454 h 1934496"/>
              <a:gd name="connsiteX1964" fmla="*/ 9199100 w 9922465"/>
              <a:gd name="connsiteY1964" fmla="*/ 855263 h 1934496"/>
              <a:gd name="connsiteX1965" fmla="*/ 9068806 w 9922465"/>
              <a:gd name="connsiteY1965" fmla="*/ 855263 h 1934496"/>
              <a:gd name="connsiteX1966" fmla="*/ 9123998 w 9922465"/>
              <a:gd name="connsiteY1966" fmla="*/ 910454 h 1934496"/>
              <a:gd name="connsiteX1967" fmla="*/ 9068806 w 9922465"/>
              <a:gd name="connsiteY1967" fmla="*/ 965645 h 1934496"/>
              <a:gd name="connsiteX1968" fmla="*/ 9013614 w 9922465"/>
              <a:gd name="connsiteY1968" fmla="*/ 910454 h 1934496"/>
              <a:gd name="connsiteX1969" fmla="*/ 9068806 w 9922465"/>
              <a:gd name="connsiteY1969" fmla="*/ 855263 h 1934496"/>
              <a:gd name="connsiteX1970" fmla="*/ 8935170 w 9922465"/>
              <a:gd name="connsiteY1970" fmla="*/ 855263 h 1934496"/>
              <a:gd name="connsiteX1971" fmla="*/ 8990362 w 9922465"/>
              <a:gd name="connsiteY1971" fmla="*/ 910454 h 1934496"/>
              <a:gd name="connsiteX1972" fmla="*/ 8935170 w 9922465"/>
              <a:gd name="connsiteY1972" fmla="*/ 965645 h 1934496"/>
              <a:gd name="connsiteX1973" fmla="*/ 8879978 w 9922465"/>
              <a:gd name="connsiteY1973" fmla="*/ 910454 h 1934496"/>
              <a:gd name="connsiteX1974" fmla="*/ 8935170 w 9922465"/>
              <a:gd name="connsiteY1974" fmla="*/ 855263 h 1934496"/>
              <a:gd name="connsiteX1975" fmla="*/ 8801536 w 9922465"/>
              <a:gd name="connsiteY1975" fmla="*/ 855263 h 1934496"/>
              <a:gd name="connsiteX1976" fmla="*/ 8856728 w 9922465"/>
              <a:gd name="connsiteY1976" fmla="*/ 910454 h 1934496"/>
              <a:gd name="connsiteX1977" fmla="*/ 8801536 w 9922465"/>
              <a:gd name="connsiteY1977" fmla="*/ 965645 h 1934496"/>
              <a:gd name="connsiteX1978" fmla="*/ 8746344 w 9922465"/>
              <a:gd name="connsiteY1978" fmla="*/ 910454 h 1934496"/>
              <a:gd name="connsiteX1979" fmla="*/ 8801536 w 9922465"/>
              <a:gd name="connsiteY1979" fmla="*/ 855263 h 1934496"/>
              <a:gd name="connsiteX1980" fmla="*/ 8671243 w 9922465"/>
              <a:gd name="connsiteY1980" fmla="*/ 855263 h 1934496"/>
              <a:gd name="connsiteX1981" fmla="*/ 8726435 w 9922465"/>
              <a:gd name="connsiteY1981" fmla="*/ 910454 h 1934496"/>
              <a:gd name="connsiteX1982" fmla="*/ 8671243 w 9922465"/>
              <a:gd name="connsiteY1982" fmla="*/ 965645 h 1934496"/>
              <a:gd name="connsiteX1983" fmla="*/ 8616051 w 9922465"/>
              <a:gd name="connsiteY1983" fmla="*/ 910454 h 1934496"/>
              <a:gd name="connsiteX1984" fmla="*/ 8671243 w 9922465"/>
              <a:gd name="connsiteY1984" fmla="*/ 855263 h 1934496"/>
              <a:gd name="connsiteX1985" fmla="*/ 8537609 w 9922465"/>
              <a:gd name="connsiteY1985" fmla="*/ 855263 h 1934496"/>
              <a:gd name="connsiteX1986" fmla="*/ 8592801 w 9922465"/>
              <a:gd name="connsiteY1986" fmla="*/ 910454 h 1934496"/>
              <a:gd name="connsiteX1987" fmla="*/ 8537609 w 9922465"/>
              <a:gd name="connsiteY1987" fmla="*/ 965645 h 1934496"/>
              <a:gd name="connsiteX1988" fmla="*/ 8482417 w 9922465"/>
              <a:gd name="connsiteY1988" fmla="*/ 910454 h 1934496"/>
              <a:gd name="connsiteX1989" fmla="*/ 8537609 w 9922465"/>
              <a:gd name="connsiteY1989" fmla="*/ 855263 h 1934496"/>
              <a:gd name="connsiteX1990" fmla="*/ 8407315 w 9922465"/>
              <a:gd name="connsiteY1990" fmla="*/ 855263 h 1934496"/>
              <a:gd name="connsiteX1991" fmla="*/ 8462507 w 9922465"/>
              <a:gd name="connsiteY1991" fmla="*/ 910454 h 1934496"/>
              <a:gd name="connsiteX1992" fmla="*/ 8407315 w 9922465"/>
              <a:gd name="connsiteY1992" fmla="*/ 965645 h 1934496"/>
              <a:gd name="connsiteX1993" fmla="*/ 8352123 w 9922465"/>
              <a:gd name="connsiteY1993" fmla="*/ 910454 h 1934496"/>
              <a:gd name="connsiteX1994" fmla="*/ 8407315 w 9922465"/>
              <a:gd name="connsiteY1994" fmla="*/ 855263 h 1934496"/>
              <a:gd name="connsiteX1995" fmla="*/ 8273681 w 9922465"/>
              <a:gd name="connsiteY1995" fmla="*/ 855263 h 1934496"/>
              <a:gd name="connsiteX1996" fmla="*/ 8328873 w 9922465"/>
              <a:gd name="connsiteY1996" fmla="*/ 910454 h 1934496"/>
              <a:gd name="connsiteX1997" fmla="*/ 8273681 w 9922465"/>
              <a:gd name="connsiteY1997" fmla="*/ 965645 h 1934496"/>
              <a:gd name="connsiteX1998" fmla="*/ 8218489 w 9922465"/>
              <a:gd name="connsiteY1998" fmla="*/ 910454 h 1934496"/>
              <a:gd name="connsiteX1999" fmla="*/ 8273681 w 9922465"/>
              <a:gd name="connsiteY1999" fmla="*/ 855263 h 1934496"/>
              <a:gd name="connsiteX2000" fmla="*/ 8143386 w 9922465"/>
              <a:gd name="connsiteY2000" fmla="*/ 855263 h 1934496"/>
              <a:gd name="connsiteX2001" fmla="*/ 8198578 w 9922465"/>
              <a:gd name="connsiteY2001" fmla="*/ 910454 h 1934496"/>
              <a:gd name="connsiteX2002" fmla="*/ 8143386 w 9922465"/>
              <a:gd name="connsiteY2002" fmla="*/ 965645 h 1934496"/>
              <a:gd name="connsiteX2003" fmla="*/ 8088194 w 9922465"/>
              <a:gd name="connsiteY2003" fmla="*/ 910454 h 1934496"/>
              <a:gd name="connsiteX2004" fmla="*/ 8143386 w 9922465"/>
              <a:gd name="connsiteY2004" fmla="*/ 855263 h 1934496"/>
              <a:gd name="connsiteX2005" fmla="*/ 8009752 w 9922465"/>
              <a:gd name="connsiteY2005" fmla="*/ 855263 h 1934496"/>
              <a:gd name="connsiteX2006" fmla="*/ 8064944 w 9922465"/>
              <a:gd name="connsiteY2006" fmla="*/ 910454 h 1934496"/>
              <a:gd name="connsiteX2007" fmla="*/ 8009752 w 9922465"/>
              <a:gd name="connsiteY2007" fmla="*/ 965645 h 1934496"/>
              <a:gd name="connsiteX2008" fmla="*/ 7954560 w 9922465"/>
              <a:gd name="connsiteY2008" fmla="*/ 910454 h 1934496"/>
              <a:gd name="connsiteX2009" fmla="*/ 8009752 w 9922465"/>
              <a:gd name="connsiteY2009" fmla="*/ 855263 h 1934496"/>
              <a:gd name="connsiteX2010" fmla="*/ 7876117 w 9922465"/>
              <a:gd name="connsiteY2010" fmla="*/ 855263 h 1934496"/>
              <a:gd name="connsiteX2011" fmla="*/ 7931309 w 9922465"/>
              <a:gd name="connsiteY2011" fmla="*/ 910454 h 1934496"/>
              <a:gd name="connsiteX2012" fmla="*/ 7876117 w 9922465"/>
              <a:gd name="connsiteY2012" fmla="*/ 965645 h 1934496"/>
              <a:gd name="connsiteX2013" fmla="*/ 7820925 w 9922465"/>
              <a:gd name="connsiteY2013" fmla="*/ 910454 h 1934496"/>
              <a:gd name="connsiteX2014" fmla="*/ 7876117 w 9922465"/>
              <a:gd name="connsiteY2014" fmla="*/ 855263 h 1934496"/>
              <a:gd name="connsiteX2015" fmla="*/ 7745822 w 9922465"/>
              <a:gd name="connsiteY2015" fmla="*/ 855263 h 1934496"/>
              <a:gd name="connsiteX2016" fmla="*/ 7801014 w 9922465"/>
              <a:gd name="connsiteY2016" fmla="*/ 910454 h 1934496"/>
              <a:gd name="connsiteX2017" fmla="*/ 7745822 w 9922465"/>
              <a:gd name="connsiteY2017" fmla="*/ 965645 h 1934496"/>
              <a:gd name="connsiteX2018" fmla="*/ 7690630 w 9922465"/>
              <a:gd name="connsiteY2018" fmla="*/ 910454 h 1934496"/>
              <a:gd name="connsiteX2019" fmla="*/ 7745822 w 9922465"/>
              <a:gd name="connsiteY2019" fmla="*/ 855263 h 1934496"/>
              <a:gd name="connsiteX2020" fmla="*/ 7608849 w 9922465"/>
              <a:gd name="connsiteY2020" fmla="*/ 855263 h 1934496"/>
              <a:gd name="connsiteX2021" fmla="*/ 7664041 w 9922465"/>
              <a:gd name="connsiteY2021" fmla="*/ 910454 h 1934496"/>
              <a:gd name="connsiteX2022" fmla="*/ 7608849 w 9922465"/>
              <a:gd name="connsiteY2022" fmla="*/ 965645 h 1934496"/>
              <a:gd name="connsiteX2023" fmla="*/ 7553657 w 9922465"/>
              <a:gd name="connsiteY2023" fmla="*/ 910454 h 1934496"/>
              <a:gd name="connsiteX2024" fmla="*/ 7608849 w 9922465"/>
              <a:gd name="connsiteY2024" fmla="*/ 855263 h 1934496"/>
              <a:gd name="connsiteX2025" fmla="*/ 7481895 w 9922465"/>
              <a:gd name="connsiteY2025" fmla="*/ 855263 h 1934496"/>
              <a:gd name="connsiteX2026" fmla="*/ 7537087 w 9922465"/>
              <a:gd name="connsiteY2026" fmla="*/ 910454 h 1934496"/>
              <a:gd name="connsiteX2027" fmla="*/ 7481895 w 9922465"/>
              <a:gd name="connsiteY2027" fmla="*/ 965645 h 1934496"/>
              <a:gd name="connsiteX2028" fmla="*/ 7426703 w 9922465"/>
              <a:gd name="connsiteY2028" fmla="*/ 910454 h 1934496"/>
              <a:gd name="connsiteX2029" fmla="*/ 7481895 w 9922465"/>
              <a:gd name="connsiteY2029" fmla="*/ 855263 h 1934496"/>
              <a:gd name="connsiteX2030" fmla="*/ 7341578 w 9922465"/>
              <a:gd name="connsiteY2030" fmla="*/ 855263 h 1934496"/>
              <a:gd name="connsiteX2031" fmla="*/ 7396770 w 9922465"/>
              <a:gd name="connsiteY2031" fmla="*/ 910454 h 1934496"/>
              <a:gd name="connsiteX2032" fmla="*/ 7341578 w 9922465"/>
              <a:gd name="connsiteY2032" fmla="*/ 965645 h 1934496"/>
              <a:gd name="connsiteX2033" fmla="*/ 7286386 w 9922465"/>
              <a:gd name="connsiteY2033" fmla="*/ 910454 h 1934496"/>
              <a:gd name="connsiteX2034" fmla="*/ 7341578 w 9922465"/>
              <a:gd name="connsiteY2034" fmla="*/ 855263 h 1934496"/>
              <a:gd name="connsiteX2035" fmla="*/ 7211285 w 9922465"/>
              <a:gd name="connsiteY2035" fmla="*/ 855263 h 1934496"/>
              <a:gd name="connsiteX2036" fmla="*/ 7266477 w 9922465"/>
              <a:gd name="connsiteY2036" fmla="*/ 910454 h 1934496"/>
              <a:gd name="connsiteX2037" fmla="*/ 7211285 w 9922465"/>
              <a:gd name="connsiteY2037" fmla="*/ 965645 h 1934496"/>
              <a:gd name="connsiteX2038" fmla="*/ 7156093 w 9922465"/>
              <a:gd name="connsiteY2038" fmla="*/ 910454 h 1934496"/>
              <a:gd name="connsiteX2039" fmla="*/ 7211285 w 9922465"/>
              <a:gd name="connsiteY2039" fmla="*/ 855263 h 1934496"/>
              <a:gd name="connsiteX2040" fmla="*/ 7080993 w 9922465"/>
              <a:gd name="connsiteY2040" fmla="*/ 855263 h 1934496"/>
              <a:gd name="connsiteX2041" fmla="*/ 7136185 w 9922465"/>
              <a:gd name="connsiteY2041" fmla="*/ 910454 h 1934496"/>
              <a:gd name="connsiteX2042" fmla="*/ 7080993 w 9922465"/>
              <a:gd name="connsiteY2042" fmla="*/ 965645 h 1934496"/>
              <a:gd name="connsiteX2043" fmla="*/ 7025801 w 9922465"/>
              <a:gd name="connsiteY2043" fmla="*/ 910454 h 1934496"/>
              <a:gd name="connsiteX2044" fmla="*/ 7080993 w 9922465"/>
              <a:gd name="connsiteY2044" fmla="*/ 855263 h 1934496"/>
              <a:gd name="connsiteX2045" fmla="*/ 6947357 w 9922465"/>
              <a:gd name="connsiteY2045" fmla="*/ 855263 h 1934496"/>
              <a:gd name="connsiteX2046" fmla="*/ 7002549 w 9922465"/>
              <a:gd name="connsiteY2046" fmla="*/ 910454 h 1934496"/>
              <a:gd name="connsiteX2047" fmla="*/ 6947357 w 9922465"/>
              <a:gd name="connsiteY2047" fmla="*/ 965645 h 1934496"/>
              <a:gd name="connsiteX2048" fmla="*/ 6892165 w 9922465"/>
              <a:gd name="connsiteY2048" fmla="*/ 910454 h 1934496"/>
              <a:gd name="connsiteX2049" fmla="*/ 6947357 w 9922465"/>
              <a:gd name="connsiteY2049" fmla="*/ 855263 h 1934496"/>
              <a:gd name="connsiteX2050" fmla="*/ 6817063 w 9922465"/>
              <a:gd name="connsiteY2050" fmla="*/ 855263 h 1934496"/>
              <a:gd name="connsiteX2051" fmla="*/ 6872255 w 9922465"/>
              <a:gd name="connsiteY2051" fmla="*/ 910454 h 1934496"/>
              <a:gd name="connsiteX2052" fmla="*/ 6817063 w 9922465"/>
              <a:gd name="connsiteY2052" fmla="*/ 965645 h 1934496"/>
              <a:gd name="connsiteX2053" fmla="*/ 6761871 w 9922465"/>
              <a:gd name="connsiteY2053" fmla="*/ 910454 h 1934496"/>
              <a:gd name="connsiteX2054" fmla="*/ 6817063 w 9922465"/>
              <a:gd name="connsiteY2054" fmla="*/ 855263 h 1934496"/>
              <a:gd name="connsiteX2055" fmla="*/ 6683430 w 9922465"/>
              <a:gd name="connsiteY2055" fmla="*/ 855263 h 1934496"/>
              <a:gd name="connsiteX2056" fmla="*/ 6738622 w 9922465"/>
              <a:gd name="connsiteY2056" fmla="*/ 910454 h 1934496"/>
              <a:gd name="connsiteX2057" fmla="*/ 6683430 w 9922465"/>
              <a:gd name="connsiteY2057" fmla="*/ 965645 h 1934496"/>
              <a:gd name="connsiteX2058" fmla="*/ 6628238 w 9922465"/>
              <a:gd name="connsiteY2058" fmla="*/ 910454 h 1934496"/>
              <a:gd name="connsiteX2059" fmla="*/ 6683430 w 9922465"/>
              <a:gd name="connsiteY2059" fmla="*/ 855263 h 1934496"/>
              <a:gd name="connsiteX2060" fmla="*/ 6553135 w 9922465"/>
              <a:gd name="connsiteY2060" fmla="*/ 855263 h 1934496"/>
              <a:gd name="connsiteX2061" fmla="*/ 6608327 w 9922465"/>
              <a:gd name="connsiteY2061" fmla="*/ 910454 h 1934496"/>
              <a:gd name="connsiteX2062" fmla="*/ 6553135 w 9922465"/>
              <a:gd name="connsiteY2062" fmla="*/ 965645 h 1934496"/>
              <a:gd name="connsiteX2063" fmla="*/ 6497943 w 9922465"/>
              <a:gd name="connsiteY2063" fmla="*/ 910454 h 1934496"/>
              <a:gd name="connsiteX2064" fmla="*/ 6553135 w 9922465"/>
              <a:gd name="connsiteY2064" fmla="*/ 855263 h 1934496"/>
              <a:gd name="connsiteX2065" fmla="*/ 6419502 w 9922465"/>
              <a:gd name="connsiteY2065" fmla="*/ 855263 h 1934496"/>
              <a:gd name="connsiteX2066" fmla="*/ 6474694 w 9922465"/>
              <a:gd name="connsiteY2066" fmla="*/ 910454 h 1934496"/>
              <a:gd name="connsiteX2067" fmla="*/ 6419502 w 9922465"/>
              <a:gd name="connsiteY2067" fmla="*/ 965645 h 1934496"/>
              <a:gd name="connsiteX2068" fmla="*/ 6364310 w 9922465"/>
              <a:gd name="connsiteY2068" fmla="*/ 910454 h 1934496"/>
              <a:gd name="connsiteX2069" fmla="*/ 6419502 w 9922465"/>
              <a:gd name="connsiteY2069" fmla="*/ 855263 h 1934496"/>
              <a:gd name="connsiteX2070" fmla="*/ 6289206 w 9922465"/>
              <a:gd name="connsiteY2070" fmla="*/ 855263 h 1934496"/>
              <a:gd name="connsiteX2071" fmla="*/ 6344398 w 9922465"/>
              <a:gd name="connsiteY2071" fmla="*/ 910454 h 1934496"/>
              <a:gd name="connsiteX2072" fmla="*/ 6289206 w 9922465"/>
              <a:gd name="connsiteY2072" fmla="*/ 965645 h 1934496"/>
              <a:gd name="connsiteX2073" fmla="*/ 6234014 w 9922465"/>
              <a:gd name="connsiteY2073" fmla="*/ 910454 h 1934496"/>
              <a:gd name="connsiteX2074" fmla="*/ 6289206 w 9922465"/>
              <a:gd name="connsiteY2074" fmla="*/ 855263 h 1934496"/>
              <a:gd name="connsiteX2075" fmla="*/ 6155571 w 9922465"/>
              <a:gd name="connsiteY2075" fmla="*/ 855263 h 1934496"/>
              <a:gd name="connsiteX2076" fmla="*/ 6210763 w 9922465"/>
              <a:gd name="connsiteY2076" fmla="*/ 910454 h 1934496"/>
              <a:gd name="connsiteX2077" fmla="*/ 6155571 w 9922465"/>
              <a:gd name="connsiteY2077" fmla="*/ 965645 h 1934496"/>
              <a:gd name="connsiteX2078" fmla="*/ 6100379 w 9922465"/>
              <a:gd name="connsiteY2078" fmla="*/ 910454 h 1934496"/>
              <a:gd name="connsiteX2079" fmla="*/ 6155571 w 9922465"/>
              <a:gd name="connsiteY2079" fmla="*/ 855263 h 1934496"/>
              <a:gd name="connsiteX2080" fmla="*/ 6021938 w 9922465"/>
              <a:gd name="connsiteY2080" fmla="*/ 855263 h 1934496"/>
              <a:gd name="connsiteX2081" fmla="*/ 6077130 w 9922465"/>
              <a:gd name="connsiteY2081" fmla="*/ 910454 h 1934496"/>
              <a:gd name="connsiteX2082" fmla="*/ 6021938 w 9922465"/>
              <a:gd name="connsiteY2082" fmla="*/ 965645 h 1934496"/>
              <a:gd name="connsiteX2083" fmla="*/ 5966746 w 9922465"/>
              <a:gd name="connsiteY2083" fmla="*/ 910454 h 1934496"/>
              <a:gd name="connsiteX2084" fmla="*/ 6021938 w 9922465"/>
              <a:gd name="connsiteY2084" fmla="*/ 855263 h 1934496"/>
              <a:gd name="connsiteX2085" fmla="*/ 5884961 w 9922465"/>
              <a:gd name="connsiteY2085" fmla="*/ 855263 h 1934496"/>
              <a:gd name="connsiteX2086" fmla="*/ 5940153 w 9922465"/>
              <a:gd name="connsiteY2086" fmla="*/ 910454 h 1934496"/>
              <a:gd name="connsiteX2087" fmla="*/ 5884961 w 9922465"/>
              <a:gd name="connsiteY2087" fmla="*/ 965645 h 1934496"/>
              <a:gd name="connsiteX2088" fmla="*/ 5829769 w 9922465"/>
              <a:gd name="connsiteY2088" fmla="*/ 910454 h 1934496"/>
              <a:gd name="connsiteX2089" fmla="*/ 5884961 w 9922465"/>
              <a:gd name="connsiteY2089" fmla="*/ 855263 h 1934496"/>
              <a:gd name="connsiteX2090" fmla="*/ 5754668 w 9922465"/>
              <a:gd name="connsiteY2090" fmla="*/ 855263 h 1934496"/>
              <a:gd name="connsiteX2091" fmla="*/ 5809860 w 9922465"/>
              <a:gd name="connsiteY2091" fmla="*/ 910454 h 1934496"/>
              <a:gd name="connsiteX2092" fmla="*/ 5754668 w 9922465"/>
              <a:gd name="connsiteY2092" fmla="*/ 965645 h 1934496"/>
              <a:gd name="connsiteX2093" fmla="*/ 5699476 w 9922465"/>
              <a:gd name="connsiteY2093" fmla="*/ 910454 h 1934496"/>
              <a:gd name="connsiteX2094" fmla="*/ 5754668 w 9922465"/>
              <a:gd name="connsiteY2094" fmla="*/ 855263 h 1934496"/>
              <a:gd name="connsiteX2095" fmla="*/ 5621034 w 9922465"/>
              <a:gd name="connsiteY2095" fmla="*/ 855263 h 1934496"/>
              <a:gd name="connsiteX2096" fmla="*/ 5676226 w 9922465"/>
              <a:gd name="connsiteY2096" fmla="*/ 910454 h 1934496"/>
              <a:gd name="connsiteX2097" fmla="*/ 5621034 w 9922465"/>
              <a:gd name="connsiteY2097" fmla="*/ 965645 h 1934496"/>
              <a:gd name="connsiteX2098" fmla="*/ 5565842 w 9922465"/>
              <a:gd name="connsiteY2098" fmla="*/ 910454 h 1934496"/>
              <a:gd name="connsiteX2099" fmla="*/ 5621034 w 9922465"/>
              <a:gd name="connsiteY2099" fmla="*/ 855263 h 1934496"/>
              <a:gd name="connsiteX2100" fmla="*/ 5487399 w 9922465"/>
              <a:gd name="connsiteY2100" fmla="*/ 855263 h 1934496"/>
              <a:gd name="connsiteX2101" fmla="*/ 5542591 w 9922465"/>
              <a:gd name="connsiteY2101" fmla="*/ 910454 h 1934496"/>
              <a:gd name="connsiteX2102" fmla="*/ 5487399 w 9922465"/>
              <a:gd name="connsiteY2102" fmla="*/ 965645 h 1934496"/>
              <a:gd name="connsiteX2103" fmla="*/ 5432207 w 9922465"/>
              <a:gd name="connsiteY2103" fmla="*/ 910454 h 1934496"/>
              <a:gd name="connsiteX2104" fmla="*/ 5487399 w 9922465"/>
              <a:gd name="connsiteY2104" fmla="*/ 855263 h 1934496"/>
              <a:gd name="connsiteX2105" fmla="*/ 5357105 w 9922465"/>
              <a:gd name="connsiteY2105" fmla="*/ 855263 h 1934496"/>
              <a:gd name="connsiteX2106" fmla="*/ 5412297 w 9922465"/>
              <a:gd name="connsiteY2106" fmla="*/ 910454 h 1934496"/>
              <a:gd name="connsiteX2107" fmla="*/ 5357105 w 9922465"/>
              <a:gd name="connsiteY2107" fmla="*/ 965645 h 1934496"/>
              <a:gd name="connsiteX2108" fmla="*/ 5301913 w 9922465"/>
              <a:gd name="connsiteY2108" fmla="*/ 910454 h 1934496"/>
              <a:gd name="connsiteX2109" fmla="*/ 5357105 w 9922465"/>
              <a:gd name="connsiteY2109" fmla="*/ 855263 h 1934496"/>
              <a:gd name="connsiteX2110" fmla="*/ 5223472 w 9922465"/>
              <a:gd name="connsiteY2110" fmla="*/ 855263 h 1934496"/>
              <a:gd name="connsiteX2111" fmla="*/ 5278664 w 9922465"/>
              <a:gd name="connsiteY2111" fmla="*/ 910454 h 1934496"/>
              <a:gd name="connsiteX2112" fmla="*/ 5223472 w 9922465"/>
              <a:gd name="connsiteY2112" fmla="*/ 965645 h 1934496"/>
              <a:gd name="connsiteX2113" fmla="*/ 5168280 w 9922465"/>
              <a:gd name="connsiteY2113" fmla="*/ 910454 h 1934496"/>
              <a:gd name="connsiteX2114" fmla="*/ 5223472 w 9922465"/>
              <a:gd name="connsiteY2114" fmla="*/ 855263 h 1934496"/>
              <a:gd name="connsiteX2115" fmla="*/ 5093178 w 9922465"/>
              <a:gd name="connsiteY2115" fmla="*/ 855263 h 1934496"/>
              <a:gd name="connsiteX2116" fmla="*/ 5148370 w 9922465"/>
              <a:gd name="connsiteY2116" fmla="*/ 910454 h 1934496"/>
              <a:gd name="connsiteX2117" fmla="*/ 5093178 w 9922465"/>
              <a:gd name="connsiteY2117" fmla="*/ 965645 h 1934496"/>
              <a:gd name="connsiteX2118" fmla="*/ 5037986 w 9922465"/>
              <a:gd name="connsiteY2118" fmla="*/ 910454 h 1934496"/>
              <a:gd name="connsiteX2119" fmla="*/ 5093178 w 9922465"/>
              <a:gd name="connsiteY2119" fmla="*/ 855263 h 1934496"/>
              <a:gd name="connsiteX2120" fmla="*/ 4161076 w 9922465"/>
              <a:gd name="connsiteY2120" fmla="*/ 855263 h 1934496"/>
              <a:gd name="connsiteX2121" fmla="*/ 4216268 w 9922465"/>
              <a:gd name="connsiteY2121" fmla="*/ 910454 h 1934496"/>
              <a:gd name="connsiteX2122" fmla="*/ 4161076 w 9922465"/>
              <a:gd name="connsiteY2122" fmla="*/ 965645 h 1934496"/>
              <a:gd name="connsiteX2123" fmla="*/ 4105884 w 9922465"/>
              <a:gd name="connsiteY2123" fmla="*/ 910454 h 1934496"/>
              <a:gd name="connsiteX2124" fmla="*/ 4161076 w 9922465"/>
              <a:gd name="connsiteY2124" fmla="*/ 855263 h 1934496"/>
              <a:gd name="connsiteX2125" fmla="*/ 3633218 w 9922465"/>
              <a:gd name="connsiteY2125" fmla="*/ 855263 h 1934496"/>
              <a:gd name="connsiteX2126" fmla="*/ 3688410 w 9922465"/>
              <a:gd name="connsiteY2126" fmla="*/ 910454 h 1934496"/>
              <a:gd name="connsiteX2127" fmla="*/ 3633218 w 9922465"/>
              <a:gd name="connsiteY2127" fmla="*/ 965645 h 1934496"/>
              <a:gd name="connsiteX2128" fmla="*/ 3578026 w 9922465"/>
              <a:gd name="connsiteY2128" fmla="*/ 910454 h 1934496"/>
              <a:gd name="connsiteX2129" fmla="*/ 3633218 w 9922465"/>
              <a:gd name="connsiteY2129" fmla="*/ 855263 h 1934496"/>
              <a:gd name="connsiteX2130" fmla="*/ 3499586 w 9922465"/>
              <a:gd name="connsiteY2130" fmla="*/ 855263 h 1934496"/>
              <a:gd name="connsiteX2131" fmla="*/ 3554778 w 9922465"/>
              <a:gd name="connsiteY2131" fmla="*/ 910454 h 1934496"/>
              <a:gd name="connsiteX2132" fmla="*/ 3499586 w 9922465"/>
              <a:gd name="connsiteY2132" fmla="*/ 965645 h 1934496"/>
              <a:gd name="connsiteX2133" fmla="*/ 3444394 w 9922465"/>
              <a:gd name="connsiteY2133" fmla="*/ 910454 h 1934496"/>
              <a:gd name="connsiteX2134" fmla="*/ 3499586 w 9922465"/>
              <a:gd name="connsiteY2134" fmla="*/ 855263 h 1934496"/>
              <a:gd name="connsiteX2135" fmla="*/ 3369290 w 9922465"/>
              <a:gd name="connsiteY2135" fmla="*/ 855263 h 1934496"/>
              <a:gd name="connsiteX2136" fmla="*/ 3424482 w 9922465"/>
              <a:gd name="connsiteY2136" fmla="*/ 910454 h 1934496"/>
              <a:gd name="connsiteX2137" fmla="*/ 3369290 w 9922465"/>
              <a:gd name="connsiteY2137" fmla="*/ 965645 h 1934496"/>
              <a:gd name="connsiteX2138" fmla="*/ 3314098 w 9922465"/>
              <a:gd name="connsiteY2138" fmla="*/ 910454 h 1934496"/>
              <a:gd name="connsiteX2139" fmla="*/ 3369290 w 9922465"/>
              <a:gd name="connsiteY2139" fmla="*/ 855263 h 1934496"/>
              <a:gd name="connsiteX2140" fmla="*/ 2834849 w 9922465"/>
              <a:gd name="connsiteY2140" fmla="*/ 855263 h 1934496"/>
              <a:gd name="connsiteX2141" fmla="*/ 2890040 w 9922465"/>
              <a:gd name="connsiteY2141" fmla="*/ 910454 h 1934496"/>
              <a:gd name="connsiteX2142" fmla="*/ 2834849 w 9922465"/>
              <a:gd name="connsiteY2142" fmla="*/ 965645 h 1934496"/>
              <a:gd name="connsiteX2143" fmla="*/ 2779655 w 9922465"/>
              <a:gd name="connsiteY2143" fmla="*/ 910454 h 1934496"/>
              <a:gd name="connsiteX2144" fmla="*/ 2834849 w 9922465"/>
              <a:gd name="connsiteY2144" fmla="*/ 855263 h 1934496"/>
              <a:gd name="connsiteX2145" fmla="*/ 2707895 w 9922465"/>
              <a:gd name="connsiteY2145" fmla="*/ 855263 h 1934496"/>
              <a:gd name="connsiteX2146" fmla="*/ 2763087 w 9922465"/>
              <a:gd name="connsiteY2146" fmla="*/ 910454 h 1934496"/>
              <a:gd name="connsiteX2147" fmla="*/ 2707895 w 9922465"/>
              <a:gd name="connsiteY2147" fmla="*/ 965645 h 1934496"/>
              <a:gd name="connsiteX2148" fmla="*/ 2652702 w 9922465"/>
              <a:gd name="connsiteY2148" fmla="*/ 910454 h 1934496"/>
              <a:gd name="connsiteX2149" fmla="*/ 2707895 w 9922465"/>
              <a:gd name="connsiteY2149" fmla="*/ 855263 h 1934496"/>
              <a:gd name="connsiteX2150" fmla="*/ 2570919 w 9922465"/>
              <a:gd name="connsiteY2150" fmla="*/ 855263 h 1934496"/>
              <a:gd name="connsiteX2151" fmla="*/ 2626110 w 9922465"/>
              <a:gd name="connsiteY2151" fmla="*/ 910454 h 1934496"/>
              <a:gd name="connsiteX2152" fmla="*/ 2570919 w 9922465"/>
              <a:gd name="connsiteY2152" fmla="*/ 965645 h 1934496"/>
              <a:gd name="connsiteX2153" fmla="*/ 2515724 w 9922465"/>
              <a:gd name="connsiteY2153" fmla="*/ 910454 h 1934496"/>
              <a:gd name="connsiteX2154" fmla="*/ 2570919 w 9922465"/>
              <a:gd name="connsiteY2154" fmla="*/ 855263 h 1934496"/>
              <a:gd name="connsiteX2155" fmla="*/ 2303651 w 9922465"/>
              <a:gd name="connsiteY2155" fmla="*/ 855263 h 1934496"/>
              <a:gd name="connsiteX2156" fmla="*/ 2358843 w 9922465"/>
              <a:gd name="connsiteY2156" fmla="*/ 910454 h 1934496"/>
              <a:gd name="connsiteX2157" fmla="*/ 2303651 w 9922465"/>
              <a:gd name="connsiteY2157" fmla="*/ 965645 h 1934496"/>
              <a:gd name="connsiteX2158" fmla="*/ 2248461 w 9922465"/>
              <a:gd name="connsiteY2158" fmla="*/ 910454 h 1934496"/>
              <a:gd name="connsiteX2159" fmla="*/ 2303651 w 9922465"/>
              <a:gd name="connsiteY2159" fmla="*/ 855263 h 1934496"/>
              <a:gd name="connsiteX2160" fmla="*/ 2173362 w 9922465"/>
              <a:gd name="connsiteY2160" fmla="*/ 855263 h 1934496"/>
              <a:gd name="connsiteX2161" fmla="*/ 2228554 w 9922465"/>
              <a:gd name="connsiteY2161" fmla="*/ 910454 h 1934496"/>
              <a:gd name="connsiteX2162" fmla="*/ 2173362 w 9922465"/>
              <a:gd name="connsiteY2162" fmla="*/ 965645 h 1934496"/>
              <a:gd name="connsiteX2163" fmla="*/ 2118170 w 9922465"/>
              <a:gd name="connsiteY2163" fmla="*/ 910454 h 1934496"/>
              <a:gd name="connsiteX2164" fmla="*/ 2173362 w 9922465"/>
              <a:gd name="connsiteY2164" fmla="*/ 855263 h 1934496"/>
              <a:gd name="connsiteX2165" fmla="*/ 2039725 w 9922465"/>
              <a:gd name="connsiteY2165" fmla="*/ 855263 h 1934496"/>
              <a:gd name="connsiteX2166" fmla="*/ 2094919 w 9922465"/>
              <a:gd name="connsiteY2166" fmla="*/ 910454 h 1934496"/>
              <a:gd name="connsiteX2167" fmla="*/ 2039725 w 9922465"/>
              <a:gd name="connsiteY2167" fmla="*/ 965645 h 1934496"/>
              <a:gd name="connsiteX2168" fmla="*/ 1984533 w 9922465"/>
              <a:gd name="connsiteY2168" fmla="*/ 910454 h 1934496"/>
              <a:gd name="connsiteX2169" fmla="*/ 2039725 w 9922465"/>
              <a:gd name="connsiteY2169" fmla="*/ 855263 h 1934496"/>
              <a:gd name="connsiteX2170" fmla="*/ 1909428 w 9922465"/>
              <a:gd name="connsiteY2170" fmla="*/ 855263 h 1934496"/>
              <a:gd name="connsiteX2171" fmla="*/ 1964620 w 9922465"/>
              <a:gd name="connsiteY2171" fmla="*/ 910454 h 1934496"/>
              <a:gd name="connsiteX2172" fmla="*/ 1909428 w 9922465"/>
              <a:gd name="connsiteY2172" fmla="*/ 965645 h 1934496"/>
              <a:gd name="connsiteX2173" fmla="*/ 1854234 w 9922465"/>
              <a:gd name="connsiteY2173" fmla="*/ 910454 h 1934496"/>
              <a:gd name="connsiteX2174" fmla="*/ 1909428 w 9922465"/>
              <a:gd name="connsiteY2174" fmla="*/ 855263 h 1934496"/>
              <a:gd name="connsiteX2175" fmla="*/ 1779130 w 9922465"/>
              <a:gd name="connsiteY2175" fmla="*/ 855263 h 1934496"/>
              <a:gd name="connsiteX2176" fmla="*/ 1834324 w 9922465"/>
              <a:gd name="connsiteY2176" fmla="*/ 910454 h 1934496"/>
              <a:gd name="connsiteX2177" fmla="*/ 1779130 w 9922465"/>
              <a:gd name="connsiteY2177" fmla="*/ 965645 h 1934496"/>
              <a:gd name="connsiteX2178" fmla="*/ 1723937 w 9922465"/>
              <a:gd name="connsiteY2178" fmla="*/ 910454 h 1934496"/>
              <a:gd name="connsiteX2179" fmla="*/ 1779130 w 9922465"/>
              <a:gd name="connsiteY2179" fmla="*/ 855263 h 1934496"/>
              <a:gd name="connsiteX2180" fmla="*/ 1645495 w 9922465"/>
              <a:gd name="connsiteY2180" fmla="*/ 855263 h 1934496"/>
              <a:gd name="connsiteX2181" fmla="*/ 1700693 w 9922465"/>
              <a:gd name="connsiteY2181" fmla="*/ 910454 h 1934496"/>
              <a:gd name="connsiteX2182" fmla="*/ 1645495 w 9922465"/>
              <a:gd name="connsiteY2182" fmla="*/ 965645 h 1934496"/>
              <a:gd name="connsiteX2183" fmla="*/ 1590303 w 9922465"/>
              <a:gd name="connsiteY2183" fmla="*/ 910454 h 1934496"/>
              <a:gd name="connsiteX2184" fmla="*/ 1645495 w 9922465"/>
              <a:gd name="connsiteY2184" fmla="*/ 855263 h 1934496"/>
              <a:gd name="connsiteX2185" fmla="*/ 1515206 w 9922465"/>
              <a:gd name="connsiteY2185" fmla="*/ 855263 h 1934496"/>
              <a:gd name="connsiteX2186" fmla="*/ 1570391 w 9922465"/>
              <a:gd name="connsiteY2186" fmla="*/ 910454 h 1934496"/>
              <a:gd name="connsiteX2187" fmla="*/ 1515206 w 9922465"/>
              <a:gd name="connsiteY2187" fmla="*/ 965645 h 1934496"/>
              <a:gd name="connsiteX2188" fmla="*/ 1460009 w 9922465"/>
              <a:gd name="connsiteY2188" fmla="*/ 910454 h 1934496"/>
              <a:gd name="connsiteX2189" fmla="*/ 1515206 w 9922465"/>
              <a:gd name="connsiteY2189" fmla="*/ 855263 h 1934496"/>
              <a:gd name="connsiteX2190" fmla="*/ 1381566 w 9922465"/>
              <a:gd name="connsiteY2190" fmla="*/ 855263 h 1934496"/>
              <a:gd name="connsiteX2191" fmla="*/ 1436758 w 9922465"/>
              <a:gd name="connsiteY2191" fmla="*/ 910454 h 1934496"/>
              <a:gd name="connsiteX2192" fmla="*/ 1381566 w 9922465"/>
              <a:gd name="connsiteY2192" fmla="*/ 965645 h 1934496"/>
              <a:gd name="connsiteX2193" fmla="*/ 1326375 w 9922465"/>
              <a:gd name="connsiteY2193" fmla="*/ 910454 h 1934496"/>
              <a:gd name="connsiteX2194" fmla="*/ 1381566 w 9922465"/>
              <a:gd name="connsiteY2194" fmla="*/ 855263 h 1934496"/>
              <a:gd name="connsiteX2195" fmla="*/ 1251271 w 9922465"/>
              <a:gd name="connsiteY2195" fmla="*/ 855263 h 1934496"/>
              <a:gd name="connsiteX2196" fmla="*/ 1306464 w 9922465"/>
              <a:gd name="connsiteY2196" fmla="*/ 910454 h 1934496"/>
              <a:gd name="connsiteX2197" fmla="*/ 1251271 w 9922465"/>
              <a:gd name="connsiteY2197" fmla="*/ 965645 h 1934496"/>
              <a:gd name="connsiteX2198" fmla="*/ 1196078 w 9922465"/>
              <a:gd name="connsiteY2198" fmla="*/ 910454 h 1934496"/>
              <a:gd name="connsiteX2199" fmla="*/ 1251271 w 9922465"/>
              <a:gd name="connsiteY2199" fmla="*/ 855263 h 1934496"/>
              <a:gd name="connsiteX2200" fmla="*/ 1117634 w 9922465"/>
              <a:gd name="connsiteY2200" fmla="*/ 855263 h 1934496"/>
              <a:gd name="connsiteX2201" fmla="*/ 1172828 w 9922465"/>
              <a:gd name="connsiteY2201" fmla="*/ 910454 h 1934496"/>
              <a:gd name="connsiteX2202" fmla="*/ 1117634 w 9922465"/>
              <a:gd name="connsiteY2202" fmla="*/ 965645 h 1934496"/>
              <a:gd name="connsiteX2203" fmla="*/ 1062440 w 9922465"/>
              <a:gd name="connsiteY2203" fmla="*/ 910454 h 1934496"/>
              <a:gd name="connsiteX2204" fmla="*/ 1117634 w 9922465"/>
              <a:gd name="connsiteY2204" fmla="*/ 855263 h 1934496"/>
              <a:gd name="connsiteX2205" fmla="*/ 980654 w 9922465"/>
              <a:gd name="connsiteY2205" fmla="*/ 855263 h 1934496"/>
              <a:gd name="connsiteX2206" fmla="*/ 1035848 w 9922465"/>
              <a:gd name="connsiteY2206" fmla="*/ 910454 h 1934496"/>
              <a:gd name="connsiteX2207" fmla="*/ 980654 w 9922465"/>
              <a:gd name="connsiteY2207" fmla="*/ 965645 h 1934496"/>
              <a:gd name="connsiteX2208" fmla="*/ 925460 w 9922465"/>
              <a:gd name="connsiteY2208" fmla="*/ 910454 h 1934496"/>
              <a:gd name="connsiteX2209" fmla="*/ 980654 w 9922465"/>
              <a:gd name="connsiteY2209" fmla="*/ 855263 h 1934496"/>
              <a:gd name="connsiteX2210" fmla="*/ 847016 w 9922465"/>
              <a:gd name="connsiteY2210" fmla="*/ 855263 h 1934496"/>
              <a:gd name="connsiteX2211" fmla="*/ 902209 w 9922465"/>
              <a:gd name="connsiteY2211" fmla="*/ 910454 h 1934496"/>
              <a:gd name="connsiteX2212" fmla="*/ 847016 w 9922465"/>
              <a:gd name="connsiteY2212" fmla="*/ 965645 h 1934496"/>
              <a:gd name="connsiteX2213" fmla="*/ 791816 w 9922465"/>
              <a:gd name="connsiteY2213" fmla="*/ 910454 h 1934496"/>
              <a:gd name="connsiteX2214" fmla="*/ 847016 w 9922465"/>
              <a:gd name="connsiteY2214" fmla="*/ 855263 h 1934496"/>
              <a:gd name="connsiteX2215" fmla="*/ 716709 w 9922465"/>
              <a:gd name="connsiteY2215" fmla="*/ 855263 h 1934496"/>
              <a:gd name="connsiteX2216" fmla="*/ 771907 w 9922465"/>
              <a:gd name="connsiteY2216" fmla="*/ 910454 h 1934496"/>
              <a:gd name="connsiteX2217" fmla="*/ 716709 w 9922465"/>
              <a:gd name="connsiteY2217" fmla="*/ 965645 h 1934496"/>
              <a:gd name="connsiteX2218" fmla="*/ 661522 w 9922465"/>
              <a:gd name="connsiteY2218" fmla="*/ 910454 h 1934496"/>
              <a:gd name="connsiteX2219" fmla="*/ 716709 w 9922465"/>
              <a:gd name="connsiteY2219" fmla="*/ 855263 h 1934496"/>
              <a:gd name="connsiteX2220" fmla="*/ 583074 w 9922465"/>
              <a:gd name="connsiteY2220" fmla="*/ 855263 h 1934496"/>
              <a:gd name="connsiteX2221" fmla="*/ 638268 w 9922465"/>
              <a:gd name="connsiteY2221" fmla="*/ 910454 h 1934496"/>
              <a:gd name="connsiteX2222" fmla="*/ 583074 w 9922465"/>
              <a:gd name="connsiteY2222" fmla="*/ 965645 h 1934496"/>
              <a:gd name="connsiteX2223" fmla="*/ 527881 w 9922465"/>
              <a:gd name="connsiteY2223" fmla="*/ 910454 h 1934496"/>
              <a:gd name="connsiteX2224" fmla="*/ 583074 w 9922465"/>
              <a:gd name="connsiteY2224" fmla="*/ 855263 h 1934496"/>
              <a:gd name="connsiteX2225" fmla="*/ 9867273 w 9922465"/>
              <a:gd name="connsiteY2225" fmla="*/ 855260 h 1934496"/>
              <a:gd name="connsiteX2226" fmla="*/ 9922465 w 9922465"/>
              <a:gd name="connsiteY2226" fmla="*/ 910451 h 1934496"/>
              <a:gd name="connsiteX2227" fmla="*/ 9867273 w 9922465"/>
              <a:gd name="connsiteY2227" fmla="*/ 965642 h 1934496"/>
              <a:gd name="connsiteX2228" fmla="*/ 9812081 w 9922465"/>
              <a:gd name="connsiteY2228" fmla="*/ 910451 h 1934496"/>
              <a:gd name="connsiteX2229" fmla="*/ 9867273 w 9922465"/>
              <a:gd name="connsiteY2229" fmla="*/ 855260 h 1934496"/>
              <a:gd name="connsiteX2230" fmla="*/ 9733637 w 9922465"/>
              <a:gd name="connsiteY2230" fmla="*/ 855260 h 1934496"/>
              <a:gd name="connsiteX2231" fmla="*/ 9788829 w 9922465"/>
              <a:gd name="connsiteY2231" fmla="*/ 910451 h 1934496"/>
              <a:gd name="connsiteX2232" fmla="*/ 9733637 w 9922465"/>
              <a:gd name="connsiteY2232" fmla="*/ 965642 h 1934496"/>
              <a:gd name="connsiteX2233" fmla="*/ 9678445 w 9922465"/>
              <a:gd name="connsiteY2233" fmla="*/ 910451 h 1934496"/>
              <a:gd name="connsiteX2234" fmla="*/ 9733637 w 9922465"/>
              <a:gd name="connsiteY2234" fmla="*/ 855260 h 1934496"/>
              <a:gd name="connsiteX2235" fmla="*/ 9603343 w 9922465"/>
              <a:gd name="connsiteY2235" fmla="*/ 855260 h 1934496"/>
              <a:gd name="connsiteX2236" fmla="*/ 9658535 w 9922465"/>
              <a:gd name="connsiteY2236" fmla="*/ 910451 h 1934496"/>
              <a:gd name="connsiteX2237" fmla="*/ 9603343 w 9922465"/>
              <a:gd name="connsiteY2237" fmla="*/ 965642 h 1934496"/>
              <a:gd name="connsiteX2238" fmla="*/ 9548151 w 9922465"/>
              <a:gd name="connsiteY2238" fmla="*/ 910451 h 1934496"/>
              <a:gd name="connsiteX2239" fmla="*/ 9603343 w 9922465"/>
              <a:gd name="connsiteY2239" fmla="*/ 855260 h 1934496"/>
              <a:gd name="connsiteX2240" fmla="*/ 449429 w 9922465"/>
              <a:gd name="connsiteY2240" fmla="*/ 855260 h 1934496"/>
              <a:gd name="connsiteX2241" fmla="*/ 504621 w 9922465"/>
              <a:gd name="connsiteY2241" fmla="*/ 910451 h 1934496"/>
              <a:gd name="connsiteX2242" fmla="*/ 449429 w 9922465"/>
              <a:gd name="connsiteY2242" fmla="*/ 965642 h 1934496"/>
              <a:gd name="connsiteX2243" fmla="*/ 394234 w 9922465"/>
              <a:gd name="connsiteY2243" fmla="*/ 910451 h 1934496"/>
              <a:gd name="connsiteX2244" fmla="*/ 449429 w 9922465"/>
              <a:gd name="connsiteY2244" fmla="*/ 855260 h 1934496"/>
              <a:gd name="connsiteX2245" fmla="*/ 319132 w 9922465"/>
              <a:gd name="connsiteY2245" fmla="*/ 855260 h 1934496"/>
              <a:gd name="connsiteX2246" fmla="*/ 374326 w 9922465"/>
              <a:gd name="connsiteY2246" fmla="*/ 910451 h 1934496"/>
              <a:gd name="connsiteX2247" fmla="*/ 319132 w 9922465"/>
              <a:gd name="connsiteY2247" fmla="*/ 965642 h 1934496"/>
              <a:gd name="connsiteX2248" fmla="*/ 263940 w 9922465"/>
              <a:gd name="connsiteY2248" fmla="*/ 910451 h 1934496"/>
              <a:gd name="connsiteX2249" fmla="*/ 319132 w 9922465"/>
              <a:gd name="connsiteY2249" fmla="*/ 855260 h 1934496"/>
              <a:gd name="connsiteX2250" fmla="*/ 185499 w 9922465"/>
              <a:gd name="connsiteY2250" fmla="*/ 855260 h 1934496"/>
              <a:gd name="connsiteX2251" fmla="*/ 240690 w 9922465"/>
              <a:gd name="connsiteY2251" fmla="*/ 910451 h 1934496"/>
              <a:gd name="connsiteX2252" fmla="*/ 185499 w 9922465"/>
              <a:gd name="connsiteY2252" fmla="*/ 965642 h 1934496"/>
              <a:gd name="connsiteX2253" fmla="*/ 130308 w 9922465"/>
              <a:gd name="connsiteY2253" fmla="*/ 910451 h 1934496"/>
              <a:gd name="connsiteX2254" fmla="*/ 185499 w 9922465"/>
              <a:gd name="connsiteY2254" fmla="*/ 855260 h 1934496"/>
              <a:gd name="connsiteX2255" fmla="*/ 9733637 w 9922465"/>
              <a:gd name="connsiteY2255" fmla="*/ 724970 h 1934496"/>
              <a:gd name="connsiteX2256" fmla="*/ 9788829 w 9922465"/>
              <a:gd name="connsiteY2256" fmla="*/ 780161 h 1934496"/>
              <a:gd name="connsiteX2257" fmla="*/ 9733637 w 9922465"/>
              <a:gd name="connsiteY2257" fmla="*/ 835352 h 1934496"/>
              <a:gd name="connsiteX2258" fmla="*/ 9678445 w 9922465"/>
              <a:gd name="connsiteY2258" fmla="*/ 780161 h 1934496"/>
              <a:gd name="connsiteX2259" fmla="*/ 9733637 w 9922465"/>
              <a:gd name="connsiteY2259" fmla="*/ 724970 h 1934496"/>
              <a:gd name="connsiteX2260" fmla="*/ 9603344 w 9922465"/>
              <a:gd name="connsiteY2260" fmla="*/ 724970 h 1934496"/>
              <a:gd name="connsiteX2261" fmla="*/ 9658536 w 9922465"/>
              <a:gd name="connsiteY2261" fmla="*/ 780161 h 1934496"/>
              <a:gd name="connsiteX2262" fmla="*/ 9603344 w 9922465"/>
              <a:gd name="connsiteY2262" fmla="*/ 835352 h 1934496"/>
              <a:gd name="connsiteX2263" fmla="*/ 9548152 w 9922465"/>
              <a:gd name="connsiteY2263" fmla="*/ 780161 h 1934496"/>
              <a:gd name="connsiteX2264" fmla="*/ 9603344 w 9922465"/>
              <a:gd name="connsiteY2264" fmla="*/ 724970 h 1934496"/>
              <a:gd name="connsiteX2265" fmla="*/ 9469710 w 9922465"/>
              <a:gd name="connsiteY2265" fmla="*/ 724970 h 1934496"/>
              <a:gd name="connsiteX2266" fmla="*/ 9524902 w 9922465"/>
              <a:gd name="connsiteY2266" fmla="*/ 780161 h 1934496"/>
              <a:gd name="connsiteX2267" fmla="*/ 9469710 w 9922465"/>
              <a:gd name="connsiteY2267" fmla="*/ 835352 h 1934496"/>
              <a:gd name="connsiteX2268" fmla="*/ 9414518 w 9922465"/>
              <a:gd name="connsiteY2268" fmla="*/ 780161 h 1934496"/>
              <a:gd name="connsiteX2269" fmla="*/ 9469710 w 9922465"/>
              <a:gd name="connsiteY2269" fmla="*/ 724970 h 1934496"/>
              <a:gd name="connsiteX2270" fmla="*/ 9336075 w 9922465"/>
              <a:gd name="connsiteY2270" fmla="*/ 724970 h 1934496"/>
              <a:gd name="connsiteX2271" fmla="*/ 9391267 w 9922465"/>
              <a:gd name="connsiteY2271" fmla="*/ 780161 h 1934496"/>
              <a:gd name="connsiteX2272" fmla="*/ 9336075 w 9922465"/>
              <a:gd name="connsiteY2272" fmla="*/ 835352 h 1934496"/>
              <a:gd name="connsiteX2273" fmla="*/ 9280883 w 9922465"/>
              <a:gd name="connsiteY2273" fmla="*/ 780161 h 1934496"/>
              <a:gd name="connsiteX2274" fmla="*/ 9336075 w 9922465"/>
              <a:gd name="connsiteY2274" fmla="*/ 724970 h 1934496"/>
              <a:gd name="connsiteX2275" fmla="*/ 9199100 w 9922465"/>
              <a:gd name="connsiteY2275" fmla="*/ 724970 h 1934496"/>
              <a:gd name="connsiteX2276" fmla="*/ 9254292 w 9922465"/>
              <a:gd name="connsiteY2276" fmla="*/ 780161 h 1934496"/>
              <a:gd name="connsiteX2277" fmla="*/ 9199100 w 9922465"/>
              <a:gd name="connsiteY2277" fmla="*/ 835352 h 1934496"/>
              <a:gd name="connsiteX2278" fmla="*/ 9143908 w 9922465"/>
              <a:gd name="connsiteY2278" fmla="*/ 780161 h 1934496"/>
              <a:gd name="connsiteX2279" fmla="*/ 9199100 w 9922465"/>
              <a:gd name="connsiteY2279" fmla="*/ 724970 h 1934496"/>
              <a:gd name="connsiteX2280" fmla="*/ 9068806 w 9922465"/>
              <a:gd name="connsiteY2280" fmla="*/ 724970 h 1934496"/>
              <a:gd name="connsiteX2281" fmla="*/ 9123998 w 9922465"/>
              <a:gd name="connsiteY2281" fmla="*/ 780161 h 1934496"/>
              <a:gd name="connsiteX2282" fmla="*/ 9068806 w 9922465"/>
              <a:gd name="connsiteY2282" fmla="*/ 835352 h 1934496"/>
              <a:gd name="connsiteX2283" fmla="*/ 9013614 w 9922465"/>
              <a:gd name="connsiteY2283" fmla="*/ 780161 h 1934496"/>
              <a:gd name="connsiteX2284" fmla="*/ 9068806 w 9922465"/>
              <a:gd name="connsiteY2284" fmla="*/ 724970 h 1934496"/>
              <a:gd name="connsiteX2285" fmla="*/ 8935170 w 9922465"/>
              <a:gd name="connsiteY2285" fmla="*/ 724970 h 1934496"/>
              <a:gd name="connsiteX2286" fmla="*/ 8990362 w 9922465"/>
              <a:gd name="connsiteY2286" fmla="*/ 780161 h 1934496"/>
              <a:gd name="connsiteX2287" fmla="*/ 8935170 w 9922465"/>
              <a:gd name="connsiteY2287" fmla="*/ 835352 h 1934496"/>
              <a:gd name="connsiteX2288" fmla="*/ 8879978 w 9922465"/>
              <a:gd name="connsiteY2288" fmla="*/ 780161 h 1934496"/>
              <a:gd name="connsiteX2289" fmla="*/ 8935170 w 9922465"/>
              <a:gd name="connsiteY2289" fmla="*/ 724970 h 1934496"/>
              <a:gd name="connsiteX2290" fmla="*/ 8801536 w 9922465"/>
              <a:gd name="connsiteY2290" fmla="*/ 724970 h 1934496"/>
              <a:gd name="connsiteX2291" fmla="*/ 8856728 w 9922465"/>
              <a:gd name="connsiteY2291" fmla="*/ 780161 h 1934496"/>
              <a:gd name="connsiteX2292" fmla="*/ 8801536 w 9922465"/>
              <a:gd name="connsiteY2292" fmla="*/ 835352 h 1934496"/>
              <a:gd name="connsiteX2293" fmla="*/ 8746344 w 9922465"/>
              <a:gd name="connsiteY2293" fmla="*/ 780161 h 1934496"/>
              <a:gd name="connsiteX2294" fmla="*/ 8801536 w 9922465"/>
              <a:gd name="connsiteY2294" fmla="*/ 724970 h 1934496"/>
              <a:gd name="connsiteX2295" fmla="*/ 8671243 w 9922465"/>
              <a:gd name="connsiteY2295" fmla="*/ 724970 h 1934496"/>
              <a:gd name="connsiteX2296" fmla="*/ 8726435 w 9922465"/>
              <a:gd name="connsiteY2296" fmla="*/ 780161 h 1934496"/>
              <a:gd name="connsiteX2297" fmla="*/ 8671243 w 9922465"/>
              <a:gd name="connsiteY2297" fmla="*/ 835352 h 1934496"/>
              <a:gd name="connsiteX2298" fmla="*/ 8616051 w 9922465"/>
              <a:gd name="connsiteY2298" fmla="*/ 780161 h 1934496"/>
              <a:gd name="connsiteX2299" fmla="*/ 8671243 w 9922465"/>
              <a:gd name="connsiteY2299" fmla="*/ 724970 h 1934496"/>
              <a:gd name="connsiteX2300" fmla="*/ 8537609 w 9922465"/>
              <a:gd name="connsiteY2300" fmla="*/ 724970 h 1934496"/>
              <a:gd name="connsiteX2301" fmla="*/ 8592801 w 9922465"/>
              <a:gd name="connsiteY2301" fmla="*/ 780161 h 1934496"/>
              <a:gd name="connsiteX2302" fmla="*/ 8537609 w 9922465"/>
              <a:gd name="connsiteY2302" fmla="*/ 835352 h 1934496"/>
              <a:gd name="connsiteX2303" fmla="*/ 8482417 w 9922465"/>
              <a:gd name="connsiteY2303" fmla="*/ 780161 h 1934496"/>
              <a:gd name="connsiteX2304" fmla="*/ 8537609 w 9922465"/>
              <a:gd name="connsiteY2304" fmla="*/ 724970 h 1934496"/>
              <a:gd name="connsiteX2305" fmla="*/ 8407318 w 9922465"/>
              <a:gd name="connsiteY2305" fmla="*/ 724970 h 1934496"/>
              <a:gd name="connsiteX2306" fmla="*/ 8462510 w 9922465"/>
              <a:gd name="connsiteY2306" fmla="*/ 780161 h 1934496"/>
              <a:gd name="connsiteX2307" fmla="*/ 8407318 w 9922465"/>
              <a:gd name="connsiteY2307" fmla="*/ 835352 h 1934496"/>
              <a:gd name="connsiteX2308" fmla="*/ 8352126 w 9922465"/>
              <a:gd name="connsiteY2308" fmla="*/ 780161 h 1934496"/>
              <a:gd name="connsiteX2309" fmla="*/ 8407318 w 9922465"/>
              <a:gd name="connsiteY2309" fmla="*/ 724970 h 1934496"/>
              <a:gd name="connsiteX2310" fmla="*/ 8273682 w 9922465"/>
              <a:gd name="connsiteY2310" fmla="*/ 724970 h 1934496"/>
              <a:gd name="connsiteX2311" fmla="*/ 8328874 w 9922465"/>
              <a:gd name="connsiteY2311" fmla="*/ 780161 h 1934496"/>
              <a:gd name="connsiteX2312" fmla="*/ 8273682 w 9922465"/>
              <a:gd name="connsiteY2312" fmla="*/ 835352 h 1934496"/>
              <a:gd name="connsiteX2313" fmla="*/ 8218490 w 9922465"/>
              <a:gd name="connsiteY2313" fmla="*/ 780161 h 1934496"/>
              <a:gd name="connsiteX2314" fmla="*/ 8273682 w 9922465"/>
              <a:gd name="connsiteY2314" fmla="*/ 724970 h 1934496"/>
              <a:gd name="connsiteX2315" fmla="*/ 8143386 w 9922465"/>
              <a:gd name="connsiteY2315" fmla="*/ 724970 h 1934496"/>
              <a:gd name="connsiteX2316" fmla="*/ 8198578 w 9922465"/>
              <a:gd name="connsiteY2316" fmla="*/ 780161 h 1934496"/>
              <a:gd name="connsiteX2317" fmla="*/ 8143386 w 9922465"/>
              <a:gd name="connsiteY2317" fmla="*/ 835352 h 1934496"/>
              <a:gd name="connsiteX2318" fmla="*/ 8088194 w 9922465"/>
              <a:gd name="connsiteY2318" fmla="*/ 780161 h 1934496"/>
              <a:gd name="connsiteX2319" fmla="*/ 8143386 w 9922465"/>
              <a:gd name="connsiteY2319" fmla="*/ 724970 h 1934496"/>
              <a:gd name="connsiteX2320" fmla="*/ 8009753 w 9922465"/>
              <a:gd name="connsiteY2320" fmla="*/ 724970 h 1934496"/>
              <a:gd name="connsiteX2321" fmla="*/ 8064945 w 9922465"/>
              <a:gd name="connsiteY2321" fmla="*/ 780161 h 1934496"/>
              <a:gd name="connsiteX2322" fmla="*/ 8009753 w 9922465"/>
              <a:gd name="connsiteY2322" fmla="*/ 835352 h 1934496"/>
              <a:gd name="connsiteX2323" fmla="*/ 7954561 w 9922465"/>
              <a:gd name="connsiteY2323" fmla="*/ 780161 h 1934496"/>
              <a:gd name="connsiteX2324" fmla="*/ 8009753 w 9922465"/>
              <a:gd name="connsiteY2324" fmla="*/ 724970 h 1934496"/>
              <a:gd name="connsiteX2325" fmla="*/ 7876118 w 9922465"/>
              <a:gd name="connsiteY2325" fmla="*/ 724970 h 1934496"/>
              <a:gd name="connsiteX2326" fmla="*/ 7931310 w 9922465"/>
              <a:gd name="connsiteY2326" fmla="*/ 780161 h 1934496"/>
              <a:gd name="connsiteX2327" fmla="*/ 7876118 w 9922465"/>
              <a:gd name="connsiteY2327" fmla="*/ 835352 h 1934496"/>
              <a:gd name="connsiteX2328" fmla="*/ 7820926 w 9922465"/>
              <a:gd name="connsiteY2328" fmla="*/ 780161 h 1934496"/>
              <a:gd name="connsiteX2329" fmla="*/ 7876118 w 9922465"/>
              <a:gd name="connsiteY2329" fmla="*/ 724970 h 1934496"/>
              <a:gd name="connsiteX2330" fmla="*/ 7745824 w 9922465"/>
              <a:gd name="connsiteY2330" fmla="*/ 724970 h 1934496"/>
              <a:gd name="connsiteX2331" fmla="*/ 7801016 w 9922465"/>
              <a:gd name="connsiteY2331" fmla="*/ 780161 h 1934496"/>
              <a:gd name="connsiteX2332" fmla="*/ 7745824 w 9922465"/>
              <a:gd name="connsiteY2332" fmla="*/ 835352 h 1934496"/>
              <a:gd name="connsiteX2333" fmla="*/ 7690632 w 9922465"/>
              <a:gd name="connsiteY2333" fmla="*/ 780161 h 1934496"/>
              <a:gd name="connsiteX2334" fmla="*/ 7745824 w 9922465"/>
              <a:gd name="connsiteY2334" fmla="*/ 724970 h 1934496"/>
              <a:gd name="connsiteX2335" fmla="*/ 7608850 w 9922465"/>
              <a:gd name="connsiteY2335" fmla="*/ 724970 h 1934496"/>
              <a:gd name="connsiteX2336" fmla="*/ 7664042 w 9922465"/>
              <a:gd name="connsiteY2336" fmla="*/ 780161 h 1934496"/>
              <a:gd name="connsiteX2337" fmla="*/ 7608850 w 9922465"/>
              <a:gd name="connsiteY2337" fmla="*/ 835352 h 1934496"/>
              <a:gd name="connsiteX2338" fmla="*/ 7553658 w 9922465"/>
              <a:gd name="connsiteY2338" fmla="*/ 780161 h 1934496"/>
              <a:gd name="connsiteX2339" fmla="*/ 7608850 w 9922465"/>
              <a:gd name="connsiteY2339" fmla="*/ 724970 h 1934496"/>
              <a:gd name="connsiteX2340" fmla="*/ 7481895 w 9922465"/>
              <a:gd name="connsiteY2340" fmla="*/ 724970 h 1934496"/>
              <a:gd name="connsiteX2341" fmla="*/ 7537087 w 9922465"/>
              <a:gd name="connsiteY2341" fmla="*/ 780161 h 1934496"/>
              <a:gd name="connsiteX2342" fmla="*/ 7481895 w 9922465"/>
              <a:gd name="connsiteY2342" fmla="*/ 835352 h 1934496"/>
              <a:gd name="connsiteX2343" fmla="*/ 7426703 w 9922465"/>
              <a:gd name="connsiteY2343" fmla="*/ 780161 h 1934496"/>
              <a:gd name="connsiteX2344" fmla="*/ 7481895 w 9922465"/>
              <a:gd name="connsiteY2344" fmla="*/ 724970 h 1934496"/>
              <a:gd name="connsiteX2345" fmla="*/ 7341579 w 9922465"/>
              <a:gd name="connsiteY2345" fmla="*/ 724970 h 1934496"/>
              <a:gd name="connsiteX2346" fmla="*/ 7396771 w 9922465"/>
              <a:gd name="connsiteY2346" fmla="*/ 780161 h 1934496"/>
              <a:gd name="connsiteX2347" fmla="*/ 7341579 w 9922465"/>
              <a:gd name="connsiteY2347" fmla="*/ 835352 h 1934496"/>
              <a:gd name="connsiteX2348" fmla="*/ 7286387 w 9922465"/>
              <a:gd name="connsiteY2348" fmla="*/ 780161 h 1934496"/>
              <a:gd name="connsiteX2349" fmla="*/ 7341579 w 9922465"/>
              <a:gd name="connsiteY2349" fmla="*/ 724970 h 1934496"/>
              <a:gd name="connsiteX2350" fmla="*/ 7211286 w 9922465"/>
              <a:gd name="connsiteY2350" fmla="*/ 724970 h 1934496"/>
              <a:gd name="connsiteX2351" fmla="*/ 7266478 w 9922465"/>
              <a:gd name="connsiteY2351" fmla="*/ 780161 h 1934496"/>
              <a:gd name="connsiteX2352" fmla="*/ 7211286 w 9922465"/>
              <a:gd name="connsiteY2352" fmla="*/ 835352 h 1934496"/>
              <a:gd name="connsiteX2353" fmla="*/ 7156094 w 9922465"/>
              <a:gd name="connsiteY2353" fmla="*/ 780161 h 1934496"/>
              <a:gd name="connsiteX2354" fmla="*/ 7211286 w 9922465"/>
              <a:gd name="connsiteY2354" fmla="*/ 724970 h 1934496"/>
              <a:gd name="connsiteX2355" fmla="*/ 7080994 w 9922465"/>
              <a:gd name="connsiteY2355" fmla="*/ 724970 h 1934496"/>
              <a:gd name="connsiteX2356" fmla="*/ 7136186 w 9922465"/>
              <a:gd name="connsiteY2356" fmla="*/ 780161 h 1934496"/>
              <a:gd name="connsiteX2357" fmla="*/ 7080994 w 9922465"/>
              <a:gd name="connsiteY2357" fmla="*/ 835352 h 1934496"/>
              <a:gd name="connsiteX2358" fmla="*/ 7025802 w 9922465"/>
              <a:gd name="connsiteY2358" fmla="*/ 780161 h 1934496"/>
              <a:gd name="connsiteX2359" fmla="*/ 7080994 w 9922465"/>
              <a:gd name="connsiteY2359" fmla="*/ 724970 h 1934496"/>
              <a:gd name="connsiteX2360" fmla="*/ 6947358 w 9922465"/>
              <a:gd name="connsiteY2360" fmla="*/ 724970 h 1934496"/>
              <a:gd name="connsiteX2361" fmla="*/ 7002550 w 9922465"/>
              <a:gd name="connsiteY2361" fmla="*/ 780161 h 1934496"/>
              <a:gd name="connsiteX2362" fmla="*/ 6947358 w 9922465"/>
              <a:gd name="connsiteY2362" fmla="*/ 835352 h 1934496"/>
              <a:gd name="connsiteX2363" fmla="*/ 6892166 w 9922465"/>
              <a:gd name="connsiteY2363" fmla="*/ 780161 h 1934496"/>
              <a:gd name="connsiteX2364" fmla="*/ 6947358 w 9922465"/>
              <a:gd name="connsiteY2364" fmla="*/ 724970 h 1934496"/>
              <a:gd name="connsiteX2365" fmla="*/ 6817064 w 9922465"/>
              <a:gd name="connsiteY2365" fmla="*/ 724970 h 1934496"/>
              <a:gd name="connsiteX2366" fmla="*/ 6872256 w 9922465"/>
              <a:gd name="connsiteY2366" fmla="*/ 780161 h 1934496"/>
              <a:gd name="connsiteX2367" fmla="*/ 6817064 w 9922465"/>
              <a:gd name="connsiteY2367" fmla="*/ 835352 h 1934496"/>
              <a:gd name="connsiteX2368" fmla="*/ 6761872 w 9922465"/>
              <a:gd name="connsiteY2368" fmla="*/ 780161 h 1934496"/>
              <a:gd name="connsiteX2369" fmla="*/ 6817064 w 9922465"/>
              <a:gd name="connsiteY2369" fmla="*/ 724970 h 1934496"/>
              <a:gd name="connsiteX2370" fmla="*/ 6683431 w 9922465"/>
              <a:gd name="connsiteY2370" fmla="*/ 724970 h 1934496"/>
              <a:gd name="connsiteX2371" fmla="*/ 6738623 w 9922465"/>
              <a:gd name="connsiteY2371" fmla="*/ 780161 h 1934496"/>
              <a:gd name="connsiteX2372" fmla="*/ 6683431 w 9922465"/>
              <a:gd name="connsiteY2372" fmla="*/ 835352 h 1934496"/>
              <a:gd name="connsiteX2373" fmla="*/ 6628239 w 9922465"/>
              <a:gd name="connsiteY2373" fmla="*/ 780161 h 1934496"/>
              <a:gd name="connsiteX2374" fmla="*/ 6683431 w 9922465"/>
              <a:gd name="connsiteY2374" fmla="*/ 724970 h 1934496"/>
              <a:gd name="connsiteX2375" fmla="*/ 6553137 w 9922465"/>
              <a:gd name="connsiteY2375" fmla="*/ 724970 h 1934496"/>
              <a:gd name="connsiteX2376" fmla="*/ 6608329 w 9922465"/>
              <a:gd name="connsiteY2376" fmla="*/ 780161 h 1934496"/>
              <a:gd name="connsiteX2377" fmla="*/ 6553137 w 9922465"/>
              <a:gd name="connsiteY2377" fmla="*/ 835352 h 1934496"/>
              <a:gd name="connsiteX2378" fmla="*/ 6497945 w 9922465"/>
              <a:gd name="connsiteY2378" fmla="*/ 780161 h 1934496"/>
              <a:gd name="connsiteX2379" fmla="*/ 6553137 w 9922465"/>
              <a:gd name="connsiteY2379" fmla="*/ 724970 h 1934496"/>
              <a:gd name="connsiteX2380" fmla="*/ 6419503 w 9922465"/>
              <a:gd name="connsiteY2380" fmla="*/ 724970 h 1934496"/>
              <a:gd name="connsiteX2381" fmla="*/ 6474695 w 9922465"/>
              <a:gd name="connsiteY2381" fmla="*/ 780161 h 1934496"/>
              <a:gd name="connsiteX2382" fmla="*/ 6419503 w 9922465"/>
              <a:gd name="connsiteY2382" fmla="*/ 835352 h 1934496"/>
              <a:gd name="connsiteX2383" fmla="*/ 6364311 w 9922465"/>
              <a:gd name="connsiteY2383" fmla="*/ 780161 h 1934496"/>
              <a:gd name="connsiteX2384" fmla="*/ 6419503 w 9922465"/>
              <a:gd name="connsiteY2384" fmla="*/ 724970 h 1934496"/>
              <a:gd name="connsiteX2385" fmla="*/ 6289207 w 9922465"/>
              <a:gd name="connsiteY2385" fmla="*/ 724970 h 1934496"/>
              <a:gd name="connsiteX2386" fmla="*/ 6344399 w 9922465"/>
              <a:gd name="connsiteY2386" fmla="*/ 780161 h 1934496"/>
              <a:gd name="connsiteX2387" fmla="*/ 6289207 w 9922465"/>
              <a:gd name="connsiteY2387" fmla="*/ 835352 h 1934496"/>
              <a:gd name="connsiteX2388" fmla="*/ 6234015 w 9922465"/>
              <a:gd name="connsiteY2388" fmla="*/ 780161 h 1934496"/>
              <a:gd name="connsiteX2389" fmla="*/ 6289207 w 9922465"/>
              <a:gd name="connsiteY2389" fmla="*/ 724970 h 1934496"/>
              <a:gd name="connsiteX2390" fmla="*/ 6155573 w 9922465"/>
              <a:gd name="connsiteY2390" fmla="*/ 724970 h 1934496"/>
              <a:gd name="connsiteX2391" fmla="*/ 6210765 w 9922465"/>
              <a:gd name="connsiteY2391" fmla="*/ 780161 h 1934496"/>
              <a:gd name="connsiteX2392" fmla="*/ 6155573 w 9922465"/>
              <a:gd name="connsiteY2392" fmla="*/ 835352 h 1934496"/>
              <a:gd name="connsiteX2393" fmla="*/ 6100381 w 9922465"/>
              <a:gd name="connsiteY2393" fmla="*/ 780161 h 1934496"/>
              <a:gd name="connsiteX2394" fmla="*/ 6155573 w 9922465"/>
              <a:gd name="connsiteY2394" fmla="*/ 724970 h 1934496"/>
              <a:gd name="connsiteX2395" fmla="*/ 5621035 w 9922465"/>
              <a:gd name="connsiteY2395" fmla="*/ 724970 h 1934496"/>
              <a:gd name="connsiteX2396" fmla="*/ 5676227 w 9922465"/>
              <a:gd name="connsiteY2396" fmla="*/ 780161 h 1934496"/>
              <a:gd name="connsiteX2397" fmla="*/ 5621035 w 9922465"/>
              <a:gd name="connsiteY2397" fmla="*/ 835352 h 1934496"/>
              <a:gd name="connsiteX2398" fmla="*/ 5565843 w 9922465"/>
              <a:gd name="connsiteY2398" fmla="*/ 780161 h 1934496"/>
              <a:gd name="connsiteX2399" fmla="*/ 5621035 w 9922465"/>
              <a:gd name="connsiteY2399" fmla="*/ 724970 h 1934496"/>
              <a:gd name="connsiteX2400" fmla="*/ 5487399 w 9922465"/>
              <a:gd name="connsiteY2400" fmla="*/ 724970 h 1934496"/>
              <a:gd name="connsiteX2401" fmla="*/ 5542591 w 9922465"/>
              <a:gd name="connsiteY2401" fmla="*/ 780161 h 1934496"/>
              <a:gd name="connsiteX2402" fmla="*/ 5487399 w 9922465"/>
              <a:gd name="connsiteY2402" fmla="*/ 835352 h 1934496"/>
              <a:gd name="connsiteX2403" fmla="*/ 5432207 w 9922465"/>
              <a:gd name="connsiteY2403" fmla="*/ 780161 h 1934496"/>
              <a:gd name="connsiteX2404" fmla="*/ 5487399 w 9922465"/>
              <a:gd name="connsiteY2404" fmla="*/ 724970 h 1934496"/>
              <a:gd name="connsiteX2405" fmla="*/ 5357106 w 9922465"/>
              <a:gd name="connsiteY2405" fmla="*/ 724970 h 1934496"/>
              <a:gd name="connsiteX2406" fmla="*/ 5412298 w 9922465"/>
              <a:gd name="connsiteY2406" fmla="*/ 780161 h 1934496"/>
              <a:gd name="connsiteX2407" fmla="*/ 5357106 w 9922465"/>
              <a:gd name="connsiteY2407" fmla="*/ 835352 h 1934496"/>
              <a:gd name="connsiteX2408" fmla="*/ 5301914 w 9922465"/>
              <a:gd name="connsiteY2408" fmla="*/ 780161 h 1934496"/>
              <a:gd name="connsiteX2409" fmla="*/ 5357106 w 9922465"/>
              <a:gd name="connsiteY2409" fmla="*/ 724970 h 1934496"/>
              <a:gd name="connsiteX2410" fmla="*/ 5223473 w 9922465"/>
              <a:gd name="connsiteY2410" fmla="*/ 724970 h 1934496"/>
              <a:gd name="connsiteX2411" fmla="*/ 5278665 w 9922465"/>
              <a:gd name="connsiteY2411" fmla="*/ 780161 h 1934496"/>
              <a:gd name="connsiteX2412" fmla="*/ 5223473 w 9922465"/>
              <a:gd name="connsiteY2412" fmla="*/ 835352 h 1934496"/>
              <a:gd name="connsiteX2413" fmla="*/ 5168281 w 9922465"/>
              <a:gd name="connsiteY2413" fmla="*/ 780161 h 1934496"/>
              <a:gd name="connsiteX2414" fmla="*/ 5223473 w 9922465"/>
              <a:gd name="connsiteY2414" fmla="*/ 724970 h 1934496"/>
              <a:gd name="connsiteX2415" fmla="*/ 5093178 w 9922465"/>
              <a:gd name="connsiteY2415" fmla="*/ 724970 h 1934496"/>
              <a:gd name="connsiteX2416" fmla="*/ 5148370 w 9922465"/>
              <a:gd name="connsiteY2416" fmla="*/ 780161 h 1934496"/>
              <a:gd name="connsiteX2417" fmla="*/ 5093178 w 9922465"/>
              <a:gd name="connsiteY2417" fmla="*/ 835352 h 1934496"/>
              <a:gd name="connsiteX2418" fmla="*/ 5037986 w 9922465"/>
              <a:gd name="connsiteY2418" fmla="*/ 780161 h 1934496"/>
              <a:gd name="connsiteX2419" fmla="*/ 5093178 w 9922465"/>
              <a:gd name="connsiteY2419" fmla="*/ 724970 h 1934496"/>
              <a:gd name="connsiteX2420" fmla="*/ 3897148 w 9922465"/>
              <a:gd name="connsiteY2420" fmla="*/ 724970 h 1934496"/>
              <a:gd name="connsiteX2421" fmla="*/ 3952340 w 9922465"/>
              <a:gd name="connsiteY2421" fmla="*/ 780161 h 1934496"/>
              <a:gd name="connsiteX2422" fmla="*/ 3897148 w 9922465"/>
              <a:gd name="connsiteY2422" fmla="*/ 835352 h 1934496"/>
              <a:gd name="connsiteX2423" fmla="*/ 3841956 w 9922465"/>
              <a:gd name="connsiteY2423" fmla="*/ 780161 h 1934496"/>
              <a:gd name="connsiteX2424" fmla="*/ 3897148 w 9922465"/>
              <a:gd name="connsiteY2424" fmla="*/ 724970 h 1934496"/>
              <a:gd name="connsiteX2425" fmla="*/ 3763514 w 9922465"/>
              <a:gd name="connsiteY2425" fmla="*/ 724970 h 1934496"/>
              <a:gd name="connsiteX2426" fmla="*/ 3818706 w 9922465"/>
              <a:gd name="connsiteY2426" fmla="*/ 780161 h 1934496"/>
              <a:gd name="connsiteX2427" fmla="*/ 3763514 w 9922465"/>
              <a:gd name="connsiteY2427" fmla="*/ 835352 h 1934496"/>
              <a:gd name="connsiteX2428" fmla="*/ 3708322 w 9922465"/>
              <a:gd name="connsiteY2428" fmla="*/ 780161 h 1934496"/>
              <a:gd name="connsiteX2429" fmla="*/ 3763514 w 9922465"/>
              <a:gd name="connsiteY2429" fmla="*/ 724970 h 1934496"/>
              <a:gd name="connsiteX2430" fmla="*/ 3633221 w 9922465"/>
              <a:gd name="connsiteY2430" fmla="*/ 724970 h 1934496"/>
              <a:gd name="connsiteX2431" fmla="*/ 3688413 w 9922465"/>
              <a:gd name="connsiteY2431" fmla="*/ 780161 h 1934496"/>
              <a:gd name="connsiteX2432" fmla="*/ 3633221 w 9922465"/>
              <a:gd name="connsiteY2432" fmla="*/ 835352 h 1934496"/>
              <a:gd name="connsiteX2433" fmla="*/ 3578029 w 9922465"/>
              <a:gd name="connsiteY2433" fmla="*/ 780161 h 1934496"/>
              <a:gd name="connsiteX2434" fmla="*/ 3633221 w 9922465"/>
              <a:gd name="connsiteY2434" fmla="*/ 724970 h 1934496"/>
              <a:gd name="connsiteX2435" fmla="*/ 3499586 w 9922465"/>
              <a:gd name="connsiteY2435" fmla="*/ 724970 h 1934496"/>
              <a:gd name="connsiteX2436" fmla="*/ 3554778 w 9922465"/>
              <a:gd name="connsiteY2436" fmla="*/ 780161 h 1934496"/>
              <a:gd name="connsiteX2437" fmla="*/ 3499586 w 9922465"/>
              <a:gd name="connsiteY2437" fmla="*/ 835352 h 1934496"/>
              <a:gd name="connsiteX2438" fmla="*/ 3444394 w 9922465"/>
              <a:gd name="connsiteY2438" fmla="*/ 780161 h 1934496"/>
              <a:gd name="connsiteX2439" fmla="*/ 3499586 w 9922465"/>
              <a:gd name="connsiteY2439" fmla="*/ 724970 h 1934496"/>
              <a:gd name="connsiteX2440" fmla="*/ 3369292 w 9922465"/>
              <a:gd name="connsiteY2440" fmla="*/ 724970 h 1934496"/>
              <a:gd name="connsiteX2441" fmla="*/ 3424484 w 9922465"/>
              <a:gd name="connsiteY2441" fmla="*/ 780161 h 1934496"/>
              <a:gd name="connsiteX2442" fmla="*/ 3369292 w 9922465"/>
              <a:gd name="connsiteY2442" fmla="*/ 835352 h 1934496"/>
              <a:gd name="connsiteX2443" fmla="*/ 3314100 w 9922465"/>
              <a:gd name="connsiteY2443" fmla="*/ 780161 h 1934496"/>
              <a:gd name="connsiteX2444" fmla="*/ 3369292 w 9922465"/>
              <a:gd name="connsiteY2444" fmla="*/ 724970 h 1934496"/>
              <a:gd name="connsiteX2445" fmla="*/ 2834856 w 9922465"/>
              <a:gd name="connsiteY2445" fmla="*/ 724970 h 1934496"/>
              <a:gd name="connsiteX2446" fmla="*/ 2890049 w 9922465"/>
              <a:gd name="connsiteY2446" fmla="*/ 780161 h 1934496"/>
              <a:gd name="connsiteX2447" fmla="*/ 2834856 w 9922465"/>
              <a:gd name="connsiteY2447" fmla="*/ 835352 h 1934496"/>
              <a:gd name="connsiteX2448" fmla="*/ 2779665 w 9922465"/>
              <a:gd name="connsiteY2448" fmla="*/ 780161 h 1934496"/>
              <a:gd name="connsiteX2449" fmla="*/ 2834856 w 9922465"/>
              <a:gd name="connsiteY2449" fmla="*/ 724970 h 1934496"/>
              <a:gd name="connsiteX2450" fmla="*/ 2707901 w 9922465"/>
              <a:gd name="connsiteY2450" fmla="*/ 724970 h 1934496"/>
              <a:gd name="connsiteX2451" fmla="*/ 2763094 w 9922465"/>
              <a:gd name="connsiteY2451" fmla="*/ 780161 h 1934496"/>
              <a:gd name="connsiteX2452" fmla="*/ 2707901 w 9922465"/>
              <a:gd name="connsiteY2452" fmla="*/ 835352 h 1934496"/>
              <a:gd name="connsiteX2453" fmla="*/ 2652711 w 9922465"/>
              <a:gd name="connsiteY2453" fmla="*/ 780161 h 1934496"/>
              <a:gd name="connsiteX2454" fmla="*/ 2707901 w 9922465"/>
              <a:gd name="connsiteY2454" fmla="*/ 724970 h 1934496"/>
              <a:gd name="connsiteX2455" fmla="*/ 2570929 w 9922465"/>
              <a:gd name="connsiteY2455" fmla="*/ 724970 h 1934496"/>
              <a:gd name="connsiteX2456" fmla="*/ 2626122 w 9922465"/>
              <a:gd name="connsiteY2456" fmla="*/ 780161 h 1934496"/>
              <a:gd name="connsiteX2457" fmla="*/ 2570929 w 9922465"/>
              <a:gd name="connsiteY2457" fmla="*/ 835352 h 1934496"/>
              <a:gd name="connsiteX2458" fmla="*/ 2515735 w 9922465"/>
              <a:gd name="connsiteY2458" fmla="*/ 780161 h 1934496"/>
              <a:gd name="connsiteX2459" fmla="*/ 2570929 w 9922465"/>
              <a:gd name="connsiteY2459" fmla="*/ 724970 h 1934496"/>
              <a:gd name="connsiteX2460" fmla="*/ 2437294 w 9922465"/>
              <a:gd name="connsiteY2460" fmla="*/ 724970 h 1934496"/>
              <a:gd name="connsiteX2461" fmla="*/ 2492487 w 9922465"/>
              <a:gd name="connsiteY2461" fmla="*/ 780161 h 1934496"/>
              <a:gd name="connsiteX2462" fmla="*/ 2437294 w 9922465"/>
              <a:gd name="connsiteY2462" fmla="*/ 835352 h 1934496"/>
              <a:gd name="connsiteX2463" fmla="*/ 2382104 w 9922465"/>
              <a:gd name="connsiteY2463" fmla="*/ 780161 h 1934496"/>
              <a:gd name="connsiteX2464" fmla="*/ 2437294 w 9922465"/>
              <a:gd name="connsiteY2464" fmla="*/ 724970 h 1934496"/>
              <a:gd name="connsiteX2465" fmla="*/ 2303662 w 9922465"/>
              <a:gd name="connsiteY2465" fmla="*/ 724970 h 1934496"/>
              <a:gd name="connsiteX2466" fmla="*/ 2358853 w 9922465"/>
              <a:gd name="connsiteY2466" fmla="*/ 780161 h 1934496"/>
              <a:gd name="connsiteX2467" fmla="*/ 2303662 w 9922465"/>
              <a:gd name="connsiteY2467" fmla="*/ 835352 h 1934496"/>
              <a:gd name="connsiteX2468" fmla="*/ 2248471 w 9922465"/>
              <a:gd name="connsiteY2468" fmla="*/ 780161 h 1934496"/>
              <a:gd name="connsiteX2469" fmla="*/ 2303662 w 9922465"/>
              <a:gd name="connsiteY2469" fmla="*/ 724970 h 1934496"/>
              <a:gd name="connsiteX2470" fmla="*/ 2173371 w 9922465"/>
              <a:gd name="connsiteY2470" fmla="*/ 724970 h 1934496"/>
              <a:gd name="connsiteX2471" fmla="*/ 2228562 w 9922465"/>
              <a:gd name="connsiteY2471" fmla="*/ 780161 h 1934496"/>
              <a:gd name="connsiteX2472" fmla="*/ 2173371 w 9922465"/>
              <a:gd name="connsiteY2472" fmla="*/ 835352 h 1934496"/>
              <a:gd name="connsiteX2473" fmla="*/ 2118177 w 9922465"/>
              <a:gd name="connsiteY2473" fmla="*/ 780161 h 1934496"/>
              <a:gd name="connsiteX2474" fmla="*/ 2173371 w 9922465"/>
              <a:gd name="connsiteY2474" fmla="*/ 724970 h 1934496"/>
              <a:gd name="connsiteX2475" fmla="*/ 2039733 w 9922465"/>
              <a:gd name="connsiteY2475" fmla="*/ 724970 h 1934496"/>
              <a:gd name="connsiteX2476" fmla="*/ 2094927 w 9922465"/>
              <a:gd name="connsiteY2476" fmla="*/ 780161 h 1934496"/>
              <a:gd name="connsiteX2477" fmla="*/ 2039733 w 9922465"/>
              <a:gd name="connsiteY2477" fmla="*/ 835352 h 1934496"/>
              <a:gd name="connsiteX2478" fmla="*/ 1984539 w 9922465"/>
              <a:gd name="connsiteY2478" fmla="*/ 780161 h 1934496"/>
              <a:gd name="connsiteX2479" fmla="*/ 2039733 w 9922465"/>
              <a:gd name="connsiteY2479" fmla="*/ 724970 h 1934496"/>
              <a:gd name="connsiteX2480" fmla="*/ 1909436 w 9922465"/>
              <a:gd name="connsiteY2480" fmla="*/ 724970 h 1934496"/>
              <a:gd name="connsiteX2481" fmla="*/ 1964630 w 9922465"/>
              <a:gd name="connsiteY2481" fmla="*/ 780161 h 1934496"/>
              <a:gd name="connsiteX2482" fmla="*/ 1909436 w 9922465"/>
              <a:gd name="connsiteY2482" fmla="*/ 835352 h 1934496"/>
              <a:gd name="connsiteX2483" fmla="*/ 1854243 w 9922465"/>
              <a:gd name="connsiteY2483" fmla="*/ 780161 h 1934496"/>
              <a:gd name="connsiteX2484" fmla="*/ 1909436 w 9922465"/>
              <a:gd name="connsiteY2484" fmla="*/ 724970 h 1934496"/>
              <a:gd name="connsiteX2485" fmla="*/ 1779142 w 9922465"/>
              <a:gd name="connsiteY2485" fmla="*/ 724970 h 1934496"/>
              <a:gd name="connsiteX2486" fmla="*/ 1834335 w 9922465"/>
              <a:gd name="connsiteY2486" fmla="*/ 780161 h 1934496"/>
              <a:gd name="connsiteX2487" fmla="*/ 1779142 w 9922465"/>
              <a:gd name="connsiteY2487" fmla="*/ 835352 h 1934496"/>
              <a:gd name="connsiteX2488" fmla="*/ 1723947 w 9922465"/>
              <a:gd name="connsiteY2488" fmla="*/ 780161 h 1934496"/>
              <a:gd name="connsiteX2489" fmla="*/ 1779142 w 9922465"/>
              <a:gd name="connsiteY2489" fmla="*/ 724970 h 1934496"/>
              <a:gd name="connsiteX2490" fmla="*/ 1645501 w 9922465"/>
              <a:gd name="connsiteY2490" fmla="*/ 724970 h 1934496"/>
              <a:gd name="connsiteX2491" fmla="*/ 1700699 w 9922465"/>
              <a:gd name="connsiteY2491" fmla="*/ 780161 h 1934496"/>
              <a:gd name="connsiteX2492" fmla="*/ 1645501 w 9922465"/>
              <a:gd name="connsiteY2492" fmla="*/ 835352 h 1934496"/>
              <a:gd name="connsiteX2493" fmla="*/ 1590310 w 9922465"/>
              <a:gd name="connsiteY2493" fmla="*/ 780161 h 1934496"/>
              <a:gd name="connsiteX2494" fmla="*/ 1645501 w 9922465"/>
              <a:gd name="connsiteY2494" fmla="*/ 724970 h 1934496"/>
              <a:gd name="connsiteX2495" fmla="*/ 1515213 w 9922465"/>
              <a:gd name="connsiteY2495" fmla="*/ 724970 h 1934496"/>
              <a:gd name="connsiteX2496" fmla="*/ 1570399 w 9922465"/>
              <a:gd name="connsiteY2496" fmla="*/ 780161 h 1934496"/>
              <a:gd name="connsiteX2497" fmla="*/ 1515213 w 9922465"/>
              <a:gd name="connsiteY2497" fmla="*/ 835352 h 1934496"/>
              <a:gd name="connsiteX2498" fmla="*/ 1460016 w 9922465"/>
              <a:gd name="connsiteY2498" fmla="*/ 780161 h 1934496"/>
              <a:gd name="connsiteX2499" fmla="*/ 1515213 w 9922465"/>
              <a:gd name="connsiteY2499" fmla="*/ 724970 h 1934496"/>
              <a:gd name="connsiteX2500" fmla="*/ 1381573 w 9922465"/>
              <a:gd name="connsiteY2500" fmla="*/ 724970 h 1934496"/>
              <a:gd name="connsiteX2501" fmla="*/ 1436767 w 9922465"/>
              <a:gd name="connsiteY2501" fmla="*/ 780161 h 1934496"/>
              <a:gd name="connsiteX2502" fmla="*/ 1381573 w 9922465"/>
              <a:gd name="connsiteY2502" fmla="*/ 835352 h 1934496"/>
              <a:gd name="connsiteX2503" fmla="*/ 1326381 w 9922465"/>
              <a:gd name="connsiteY2503" fmla="*/ 780161 h 1934496"/>
              <a:gd name="connsiteX2504" fmla="*/ 1381573 w 9922465"/>
              <a:gd name="connsiteY2504" fmla="*/ 724970 h 1934496"/>
              <a:gd name="connsiteX2505" fmla="*/ 1251282 w 9922465"/>
              <a:gd name="connsiteY2505" fmla="*/ 724970 h 1934496"/>
              <a:gd name="connsiteX2506" fmla="*/ 1306475 w 9922465"/>
              <a:gd name="connsiteY2506" fmla="*/ 780161 h 1934496"/>
              <a:gd name="connsiteX2507" fmla="*/ 1251282 w 9922465"/>
              <a:gd name="connsiteY2507" fmla="*/ 835352 h 1934496"/>
              <a:gd name="connsiteX2508" fmla="*/ 1196089 w 9922465"/>
              <a:gd name="connsiteY2508" fmla="*/ 780161 h 1934496"/>
              <a:gd name="connsiteX2509" fmla="*/ 1251282 w 9922465"/>
              <a:gd name="connsiteY2509" fmla="*/ 724970 h 1934496"/>
              <a:gd name="connsiteX2510" fmla="*/ 1117642 w 9922465"/>
              <a:gd name="connsiteY2510" fmla="*/ 724970 h 1934496"/>
              <a:gd name="connsiteX2511" fmla="*/ 1172836 w 9922465"/>
              <a:gd name="connsiteY2511" fmla="*/ 780161 h 1934496"/>
              <a:gd name="connsiteX2512" fmla="*/ 1117642 w 9922465"/>
              <a:gd name="connsiteY2512" fmla="*/ 835352 h 1934496"/>
              <a:gd name="connsiteX2513" fmla="*/ 1062448 w 9922465"/>
              <a:gd name="connsiteY2513" fmla="*/ 780161 h 1934496"/>
              <a:gd name="connsiteX2514" fmla="*/ 1117642 w 9922465"/>
              <a:gd name="connsiteY2514" fmla="*/ 724970 h 1934496"/>
              <a:gd name="connsiteX2515" fmla="*/ 980664 w 9922465"/>
              <a:gd name="connsiteY2515" fmla="*/ 724970 h 1934496"/>
              <a:gd name="connsiteX2516" fmla="*/ 1035857 w 9922465"/>
              <a:gd name="connsiteY2516" fmla="*/ 780161 h 1934496"/>
              <a:gd name="connsiteX2517" fmla="*/ 980664 w 9922465"/>
              <a:gd name="connsiteY2517" fmla="*/ 835352 h 1934496"/>
              <a:gd name="connsiteX2518" fmla="*/ 925471 w 9922465"/>
              <a:gd name="connsiteY2518" fmla="*/ 780161 h 1934496"/>
              <a:gd name="connsiteX2519" fmla="*/ 980664 w 9922465"/>
              <a:gd name="connsiteY2519" fmla="*/ 724970 h 1934496"/>
              <a:gd name="connsiteX2520" fmla="*/ 847022 w 9922465"/>
              <a:gd name="connsiteY2520" fmla="*/ 724970 h 1934496"/>
              <a:gd name="connsiteX2521" fmla="*/ 902217 w 9922465"/>
              <a:gd name="connsiteY2521" fmla="*/ 780161 h 1934496"/>
              <a:gd name="connsiteX2522" fmla="*/ 847022 w 9922465"/>
              <a:gd name="connsiteY2522" fmla="*/ 835352 h 1934496"/>
              <a:gd name="connsiteX2523" fmla="*/ 791823 w 9922465"/>
              <a:gd name="connsiteY2523" fmla="*/ 780161 h 1934496"/>
              <a:gd name="connsiteX2524" fmla="*/ 847022 w 9922465"/>
              <a:gd name="connsiteY2524" fmla="*/ 724970 h 1934496"/>
              <a:gd name="connsiteX2525" fmla="*/ 716722 w 9922465"/>
              <a:gd name="connsiteY2525" fmla="*/ 724970 h 1934496"/>
              <a:gd name="connsiteX2526" fmla="*/ 771916 w 9922465"/>
              <a:gd name="connsiteY2526" fmla="*/ 780161 h 1934496"/>
              <a:gd name="connsiteX2527" fmla="*/ 716722 w 9922465"/>
              <a:gd name="connsiteY2527" fmla="*/ 835352 h 1934496"/>
              <a:gd name="connsiteX2528" fmla="*/ 661530 w 9922465"/>
              <a:gd name="connsiteY2528" fmla="*/ 780161 h 1934496"/>
              <a:gd name="connsiteX2529" fmla="*/ 716722 w 9922465"/>
              <a:gd name="connsiteY2529" fmla="*/ 724970 h 1934496"/>
              <a:gd name="connsiteX2530" fmla="*/ 583085 w 9922465"/>
              <a:gd name="connsiteY2530" fmla="*/ 724970 h 1934496"/>
              <a:gd name="connsiteX2531" fmla="*/ 638278 w 9922465"/>
              <a:gd name="connsiteY2531" fmla="*/ 780161 h 1934496"/>
              <a:gd name="connsiteX2532" fmla="*/ 583085 w 9922465"/>
              <a:gd name="connsiteY2532" fmla="*/ 835352 h 1934496"/>
              <a:gd name="connsiteX2533" fmla="*/ 527891 w 9922465"/>
              <a:gd name="connsiteY2533" fmla="*/ 780161 h 1934496"/>
              <a:gd name="connsiteX2534" fmla="*/ 583085 w 9922465"/>
              <a:gd name="connsiteY2534" fmla="*/ 724970 h 1934496"/>
              <a:gd name="connsiteX2535" fmla="*/ 449437 w 9922465"/>
              <a:gd name="connsiteY2535" fmla="*/ 724970 h 1934496"/>
              <a:gd name="connsiteX2536" fmla="*/ 504629 w 9922465"/>
              <a:gd name="connsiteY2536" fmla="*/ 780161 h 1934496"/>
              <a:gd name="connsiteX2537" fmla="*/ 449437 w 9922465"/>
              <a:gd name="connsiteY2537" fmla="*/ 835352 h 1934496"/>
              <a:gd name="connsiteX2538" fmla="*/ 394244 w 9922465"/>
              <a:gd name="connsiteY2538" fmla="*/ 780161 h 1934496"/>
              <a:gd name="connsiteX2539" fmla="*/ 449437 w 9922465"/>
              <a:gd name="connsiteY2539" fmla="*/ 724970 h 1934496"/>
              <a:gd name="connsiteX2540" fmla="*/ 319140 w 9922465"/>
              <a:gd name="connsiteY2540" fmla="*/ 724970 h 1934496"/>
              <a:gd name="connsiteX2541" fmla="*/ 374334 w 9922465"/>
              <a:gd name="connsiteY2541" fmla="*/ 780161 h 1934496"/>
              <a:gd name="connsiteX2542" fmla="*/ 319140 w 9922465"/>
              <a:gd name="connsiteY2542" fmla="*/ 835352 h 1934496"/>
              <a:gd name="connsiteX2543" fmla="*/ 263948 w 9922465"/>
              <a:gd name="connsiteY2543" fmla="*/ 780161 h 1934496"/>
              <a:gd name="connsiteX2544" fmla="*/ 319140 w 9922465"/>
              <a:gd name="connsiteY2544" fmla="*/ 724970 h 1934496"/>
              <a:gd name="connsiteX2545" fmla="*/ 185509 w 9922465"/>
              <a:gd name="connsiteY2545" fmla="*/ 724970 h 1934496"/>
              <a:gd name="connsiteX2546" fmla="*/ 240701 w 9922465"/>
              <a:gd name="connsiteY2546" fmla="*/ 780161 h 1934496"/>
              <a:gd name="connsiteX2547" fmla="*/ 185509 w 9922465"/>
              <a:gd name="connsiteY2547" fmla="*/ 835352 h 1934496"/>
              <a:gd name="connsiteX2548" fmla="*/ 130319 w 9922465"/>
              <a:gd name="connsiteY2548" fmla="*/ 780161 h 1934496"/>
              <a:gd name="connsiteX2549" fmla="*/ 185509 w 9922465"/>
              <a:gd name="connsiteY2549" fmla="*/ 724970 h 1934496"/>
              <a:gd name="connsiteX2550" fmla="*/ 8801538 w 9922465"/>
              <a:gd name="connsiteY2550" fmla="*/ 608039 h 1934496"/>
              <a:gd name="connsiteX2551" fmla="*/ 8856730 w 9922465"/>
              <a:gd name="connsiteY2551" fmla="*/ 663230 h 1934496"/>
              <a:gd name="connsiteX2552" fmla="*/ 8801538 w 9922465"/>
              <a:gd name="connsiteY2552" fmla="*/ 718421 h 1934496"/>
              <a:gd name="connsiteX2553" fmla="*/ 8746346 w 9922465"/>
              <a:gd name="connsiteY2553" fmla="*/ 663230 h 1934496"/>
              <a:gd name="connsiteX2554" fmla="*/ 8801538 w 9922465"/>
              <a:gd name="connsiteY2554" fmla="*/ 608039 h 1934496"/>
              <a:gd name="connsiteX2555" fmla="*/ 8671244 w 9922465"/>
              <a:gd name="connsiteY2555" fmla="*/ 608039 h 1934496"/>
              <a:gd name="connsiteX2556" fmla="*/ 8726436 w 9922465"/>
              <a:gd name="connsiteY2556" fmla="*/ 663230 h 1934496"/>
              <a:gd name="connsiteX2557" fmla="*/ 8671244 w 9922465"/>
              <a:gd name="connsiteY2557" fmla="*/ 718421 h 1934496"/>
              <a:gd name="connsiteX2558" fmla="*/ 8616052 w 9922465"/>
              <a:gd name="connsiteY2558" fmla="*/ 663230 h 1934496"/>
              <a:gd name="connsiteX2559" fmla="*/ 8671244 w 9922465"/>
              <a:gd name="connsiteY2559" fmla="*/ 608039 h 1934496"/>
              <a:gd name="connsiteX2560" fmla="*/ 8537609 w 9922465"/>
              <a:gd name="connsiteY2560" fmla="*/ 608039 h 1934496"/>
              <a:gd name="connsiteX2561" fmla="*/ 8592801 w 9922465"/>
              <a:gd name="connsiteY2561" fmla="*/ 663230 h 1934496"/>
              <a:gd name="connsiteX2562" fmla="*/ 8537609 w 9922465"/>
              <a:gd name="connsiteY2562" fmla="*/ 718421 h 1934496"/>
              <a:gd name="connsiteX2563" fmla="*/ 8482417 w 9922465"/>
              <a:gd name="connsiteY2563" fmla="*/ 663230 h 1934496"/>
              <a:gd name="connsiteX2564" fmla="*/ 8537609 w 9922465"/>
              <a:gd name="connsiteY2564" fmla="*/ 608039 h 1934496"/>
              <a:gd name="connsiteX2565" fmla="*/ 8407318 w 9922465"/>
              <a:gd name="connsiteY2565" fmla="*/ 608039 h 1934496"/>
              <a:gd name="connsiteX2566" fmla="*/ 8462510 w 9922465"/>
              <a:gd name="connsiteY2566" fmla="*/ 663230 h 1934496"/>
              <a:gd name="connsiteX2567" fmla="*/ 8407318 w 9922465"/>
              <a:gd name="connsiteY2567" fmla="*/ 718421 h 1934496"/>
              <a:gd name="connsiteX2568" fmla="*/ 8352126 w 9922465"/>
              <a:gd name="connsiteY2568" fmla="*/ 663230 h 1934496"/>
              <a:gd name="connsiteX2569" fmla="*/ 8407318 w 9922465"/>
              <a:gd name="connsiteY2569" fmla="*/ 608039 h 1934496"/>
              <a:gd name="connsiteX2570" fmla="*/ 8273682 w 9922465"/>
              <a:gd name="connsiteY2570" fmla="*/ 608039 h 1934496"/>
              <a:gd name="connsiteX2571" fmla="*/ 8328874 w 9922465"/>
              <a:gd name="connsiteY2571" fmla="*/ 663230 h 1934496"/>
              <a:gd name="connsiteX2572" fmla="*/ 8273682 w 9922465"/>
              <a:gd name="connsiteY2572" fmla="*/ 718421 h 1934496"/>
              <a:gd name="connsiteX2573" fmla="*/ 8218490 w 9922465"/>
              <a:gd name="connsiteY2573" fmla="*/ 663230 h 1934496"/>
              <a:gd name="connsiteX2574" fmla="*/ 8273682 w 9922465"/>
              <a:gd name="connsiteY2574" fmla="*/ 608039 h 1934496"/>
              <a:gd name="connsiteX2575" fmla="*/ 8143386 w 9922465"/>
              <a:gd name="connsiteY2575" fmla="*/ 608039 h 1934496"/>
              <a:gd name="connsiteX2576" fmla="*/ 8198578 w 9922465"/>
              <a:gd name="connsiteY2576" fmla="*/ 663230 h 1934496"/>
              <a:gd name="connsiteX2577" fmla="*/ 8143386 w 9922465"/>
              <a:gd name="connsiteY2577" fmla="*/ 718421 h 1934496"/>
              <a:gd name="connsiteX2578" fmla="*/ 8088194 w 9922465"/>
              <a:gd name="connsiteY2578" fmla="*/ 663230 h 1934496"/>
              <a:gd name="connsiteX2579" fmla="*/ 8143386 w 9922465"/>
              <a:gd name="connsiteY2579" fmla="*/ 608039 h 1934496"/>
              <a:gd name="connsiteX2580" fmla="*/ 8009753 w 9922465"/>
              <a:gd name="connsiteY2580" fmla="*/ 608039 h 1934496"/>
              <a:gd name="connsiteX2581" fmla="*/ 8064945 w 9922465"/>
              <a:gd name="connsiteY2581" fmla="*/ 663230 h 1934496"/>
              <a:gd name="connsiteX2582" fmla="*/ 8009753 w 9922465"/>
              <a:gd name="connsiteY2582" fmla="*/ 718421 h 1934496"/>
              <a:gd name="connsiteX2583" fmla="*/ 7954561 w 9922465"/>
              <a:gd name="connsiteY2583" fmla="*/ 663230 h 1934496"/>
              <a:gd name="connsiteX2584" fmla="*/ 8009753 w 9922465"/>
              <a:gd name="connsiteY2584" fmla="*/ 608039 h 1934496"/>
              <a:gd name="connsiteX2585" fmla="*/ 7876118 w 9922465"/>
              <a:gd name="connsiteY2585" fmla="*/ 608039 h 1934496"/>
              <a:gd name="connsiteX2586" fmla="*/ 7931310 w 9922465"/>
              <a:gd name="connsiteY2586" fmla="*/ 663230 h 1934496"/>
              <a:gd name="connsiteX2587" fmla="*/ 7876118 w 9922465"/>
              <a:gd name="connsiteY2587" fmla="*/ 718421 h 1934496"/>
              <a:gd name="connsiteX2588" fmla="*/ 7820926 w 9922465"/>
              <a:gd name="connsiteY2588" fmla="*/ 663230 h 1934496"/>
              <a:gd name="connsiteX2589" fmla="*/ 7876118 w 9922465"/>
              <a:gd name="connsiteY2589" fmla="*/ 608039 h 1934496"/>
              <a:gd name="connsiteX2590" fmla="*/ 7745824 w 9922465"/>
              <a:gd name="connsiteY2590" fmla="*/ 608039 h 1934496"/>
              <a:gd name="connsiteX2591" fmla="*/ 7801016 w 9922465"/>
              <a:gd name="connsiteY2591" fmla="*/ 663230 h 1934496"/>
              <a:gd name="connsiteX2592" fmla="*/ 7745824 w 9922465"/>
              <a:gd name="connsiteY2592" fmla="*/ 718421 h 1934496"/>
              <a:gd name="connsiteX2593" fmla="*/ 7690632 w 9922465"/>
              <a:gd name="connsiteY2593" fmla="*/ 663230 h 1934496"/>
              <a:gd name="connsiteX2594" fmla="*/ 7745824 w 9922465"/>
              <a:gd name="connsiteY2594" fmla="*/ 608039 h 1934496"/>
              <a:gd name="connsiteX2595" fmla="*/ 7608850 w 9922465"/>
              <a:gd name="connsiteY2595" fmla="*/ 608039 h 1934496"/>
              <a:gd name="connsiteX2596" fmla="*/ 7664042 w 9922465"/>
              <a:gd name="connsiteY2596" fmla="*/ 663230 h 1934496"/>
              <a:gd name="connsiteX2597" fmla="*/ 7608850 w 9922465"/>
              <a:gd name="connsiteY2597" fmla="*/ 718421 h 1934496"/>
              <a:gd name="connsiteX2598" fmla="*/ 7553658 w 9922465"/>
              <a:gd name="connsiteY2598" fmla="*/ 663230 h 1934496"/>
              <a:gd name="connsiteX2599" fmla="*/ 7608850 w 9922465"/>
              <a:gd name="connsiteY2599" fmla="*/ 608039 h 1934496"/>
              <a:gd name="connsiteX2600" fmla="*/ 7481895 w 9922465"/>
              <a:gd name="connsiteY2600" fmla="*/ 608039 h 1934496"/>
              <a:gd name="connsiteX2601" fmla="*/ 7537087 w 9922465"/>
              <a:gd name="connsiteY2601" fmla="*/ 663230 h 1934496"/>
              <a:gd name="connsiteX2602" fmla="*/ 7481895 w 9922465"/>
              <a:gd name="connsiteY2602" fmla="*/ 718421 h 1934496"/>
              <a:gd name="connsiteX2603" fmla="*/ 7426703 w 9922465"/>
              <a:gd name="connsiteY2603" fmla="*/ 663230 h 1934496"/>
              <a:gd name="connsiteX2604" fmla="*/ 7481895 w 9922465"/>
              <a:gd name="connsiteY2604" fmla="*/ 608039 h 1934496"/>
              <a:gd name="connsiteX2605" fmla="*/ 7341579 w 9922465"/>
              <a:gd name="connsiteY2605" fmla="*/ 608039 h 1934496"/>
              <a:gd name="connsiteX2606" fmla="*/ 7396771 w 9922465"/>
              <a:gd name="connsiteY2606" fmla="*/ 663230 h 1934496"/>
              <a:gd name="connsiteX2607" fmla="*/ 7341579 w 9922465"/>
              <a:gd name="connsiteY2607" fmla="*/ 718421 h 1934496"/>
              <a:gd name="connsiteX2608" fmla="*/ 7286387 w 9922465"/>
              <a:gd name="connsiteY2608" fmla="*/ 663230 h 1934496"/>
              <a:gd name="connsiteX2609" fmla="*/ 7341579 w 9922465"/>
              <a:gd name="connsiteY2609" fmla="*/ 608039 h 1934496"/>
              <a:gd name="connsiteX2610" fmla="*/ 7211286 w 9922465"/>
              <a:gd name="connsiteY2610" fmla="*/ 608039 h 1934496"/>
              <a:gd name="connsiteX2611" fmla="*/ 7266478 w 9922465"/>
              <a:gd name="connsiteY2611" fmla="*/ 663230 h 1934496"/>
              <a:gd name="connsiteX2612" fmla="*/ 7211286 w 9922465"/>
              <a:gd name="connsiteY2612" fmla="*/ 718421 h 1934496"/>
              <a:gd name="connsiteX2613" fmla="*/ 7156094 w 9922465"/>
              <a:gd name="connsiteY2613" fmla="*/ 663230 h 1934496"/>
              <a:gd name="connsiteX2614" fmla="*/ 7211286 w 9922465"/>
              <a:gd name="connsiteY2614" fmla="*/ 608039 h 1934496"/>
              <a:gd name="connsiteX2615" fmla="*/ 7080994 w 9922465"/>
              <a:gd name="connsiteY2615" fmla="*/ 608039 h 1934496"/>
              <a:gd name="connsiteX2616" fmla="*/ 7136186 w 9922465"/>
              <a:gd name="connsiteY2616" fmla="*/ 663230 h 1934496"/>
              <a:gd name="connsiteX2617" fmla="*/ 7080994 w 9922465"/>
              <a:gd name="connsiteY2617" fmla="*/ 718421 h 1934496"/>
              <a:gd name="connsiteX2618" fmla="*/ 7025802 w 9922465"/>
              <a:gd name="connsiteY2618" fmla="*/ 663230 h 1934496"/>
              <a:gd name="connsiteX2619" fmla="*/ 7080994 w 9922465"/>
              <a:gd name="connsiteY2619" fmla="*/ 608039 h 1934496"/>
              <a:gd name="connsiteX2620" fmla="*/ 6947358 w 9922465"/>
              <a:gd name="connsiteY2620" fmla="*/ 608039 h 1934496"/>
              <a:gd name="connsiteX2621" fmla="*/ 7002550 w 9922465"/>
              <a:gd name="connsiteY2621" fmla="*/ 663230 h 1934496"/>
              <a:gd name="connsiteX2622" fmla="*/ 6947358 w 9922465"/>
              <a:gd name="connsiteY2622" fmla="*/ 718421 h 1934496"/>
              <a:gd name="connsiteX2623" fmla="*/ 6892166 w 9922465"/>
              <a:gd name="connsiteY2623" fmla="*/ 663230 h 1934496"/>
              <a:gd name="connsiteX2624" fmla="*/ 6947358 w 9922465"/>
              <a:gd name="connsiteY2624" fmla="*/ 608039 h 1934496"/>
              <a:gd name="connsiteX2625" fmla="*/ 6817064 w 9922465"/>
              <a:gd name="connsiteY2625" fmla="*/ 608039 h 1934496"/>
              <a:gd name="connsiteX2626" fmla="*/ 6872256 w 9922465"/>
              <a:gd name="connsiteY2626" fmla="*/ 663230 h 1934496"/>
              <a:gd name="connsiteX2627" fmla="*/ 6817064 w 9922465"/>
              <a:gd name="connsiteY2627" fmla="*/ 718421 h 1934496"/>
              <a:gd name="connsiteX2628" fmla="*/ 6761872 w 9922465"/>
              <a:gd name="connsiteY2628" fmla="*/ 663230 h 1934496"/>
              <a:gd name="connsiteX2629" fmla="*/ 6817064 w 9922465"/>
              <a:gd name="connsiteY2629" fmla="*/ 608039 h 1934496"/>
              <a:gd name="connsiteX2630" fmla="*/ 6683431 w 9922465"/>
              <a:gd name="connsiteY2630" fmla="*/ 608039 h 1934496"/>
              <a:gd name="connsiteX2631" fmla="*/ 6738623 w 9922465"/>
              <a:gd name="connsiteY2631" fmla="*/ 663230 h 1934496"/>
              <a:gd name="connsiteX2632" fmla="*/ 6683431 w 9922465"/>
              <a:gd name="connsiteY2632" fmla="*/ 718421 h 1934496"/>
              <a:gd name="connsiteX2633" fmla="*/ 6628239 w 9922465"/>
              <a:gd name="connsiteY2633" fmla="*/ 663230 h 1934496"/>
              <a:gd name="connsiteX2634" fmla="*/ 6683431 w 9922465"/>
              <a:gd name="connsiteY2634" fmla="*/ 608039 h 1934496"/>
              <a:gd name="connsiteX2635" fmla="*/ 6155573 w 9922465"/>
              <a:gd name="connsiteY2635" fmla="*/ 608039 h 1934496"/>
              <a:gd name="connsiteX2636" fmla="*/ 6210765 w 9922465"/>
              <a:gd name="connsiteY2636" fmla="*/ 663230 h 1934496"/>
              <a:gd name="connsiteX2637" fmla="*/ 6155573 w 9922465"/>
              <a:gd name="connsiteY2637" fmla="*/ 718421 h 1934496"/>
              <a:gd name="connsiteX2638" fmla="*/ 6100381 w 9922465"/>
              <a:gd name="connsiteY2638" fmla="*/ 663230 h 1934496"/>
              <a:gd name="connsiteX2639" fmla="*/ 6155573 w 9922465"/>
              <a:gd name="connsiteY2639" fmla="*/ 608039 h 1934496"/>
              <a:gd name="connsiteX2640" fmla="*/ 5487399 w 9922465"/>
              <a:gd name="connsiteY2640" fmla="*/ 608039 h 1934496"/>
              <a:gd name="connsiteX2641" fmla="*/ 5542591 w 9922465"/>
              <a:gd name="connsiteY2641" fmla="*/ 663230 h 1934496"/>
              <a:gd name="connsiteX2642" fmla="*/ 5487399 w 9922465"/>
              <a:gd name="connsiteY2642" fmla="*/ 718421 h 1934496"/>
              <a:gd name="connsiteX2643" fmla="*/ 5432207 w 9922465"/>
              <a:gd name="connsiteY2643" fmla="*/ 663230 h 1934496"/>
              <a:gd name="connsiteX2644" fmla="*/ 5487399 w 9922465"/>
              <a:gd name="connsiteY2644" fmla="*/ 608039 h 1934496"/>
              <a:gd name="connsiteX2645" fmla="*/ 5357106 w 9922465"/>
              <a:gd name="connsiteY2645" fmla="*/ 608039 h 1934496"/>
              <a:gd name="connsiteX2646" fmla="*/ 5412298 w 9922465"/>
              <a:gd name="connsiteY2646" fmla="*/ 663230 h 1934496"/>
              <a:gd name="connsiteX2647" fmla="*/ 5357106 w 9922465"/>
              <a:gd name="connsiteY2647" fmla="*/ 718421 h 1934496"/>
              <a:gd name="connsiteX2648" fmla="*/ 5301914 w 9922465"/>
              <a:gd name="connsiteY2648" fmla="*/ 663230 h 1934496"/>
              <a:gd name="connsiteX2649" fmla="*/ 5357106 w 9922465"/>
              <a:gd name="connsiteY2649" fmla="*/ 608039 h 1934496"/>
              <a:gd name="connsiteX2650" fmla="*/ 5223473 w 9922465"/>
              <a:gd name="connsiteY2650" fmla="*/ 608038 h 1934496"/>
              <a:gd name="connsiteX2651" fmla="*/ 5278665 w 9922465"/>
              <a:gd name="connsiteY2651" fmla="*/ 663229 h 1934496"/>
              <a:gd name="connsiteX2652" fmla="*/ 5223473 w 9922465"/>
              <a:gd name="connsiteY2652" fmla="*/ 718420 h 1934496"/>
              <a:gd name="connsiteX2653" fmla="*/ 5168281 w 9922465"/>
              <a:gd name="connsiteY2653" fmla="*/ 663229 h 1934496"/>
              <a:gd name="connsiteX2654" fmla="*/ 5223473 w 9922465"/>
              <a:gd name="connsiteY2654" fmla="*/ 608038 h 1934496"/>
              <a:gd name="connsiteX2655" fmla="*/ 4030786 w 9922465"/>
              <a:gd name="connsiteY2655" fmla="*/ 608038 h 1934496"/>
              <a:gd name="connsiteX2656" fmla="*/ 4085978 w 9922465"/>
              <a:gd name="connsiteY2656" fmla="*/ 663229 h 1934496"/>
              <a:gd name="connsiteX2657" fmla="*/ 4030786 w 9922465"/>
              <a:gd name="connsiteY2657" fmla="*/ 718420 h 1934496"/>
              <a:gd name="connsiteX2658" fmla="*/ 3975594 w 9922465"/>
              <a:gd name="connsiteY2658" fmla="*/ 663229 h 1934496"/>
              <a:gd name="connsiteX2659" fmla="*/ 4030786 w 9922465"/>
              <a:gd name="connsiteY2659" fmla="*/ 608038 h 1934496"/>
              <a:gd name="connsiteX2660" fmla="*/ 3897148 w 9922465"/>
              <a:gd name="connsiteY2660" fmla="*/ 608038 h 1934496"/>
              <a:gd name="connsiteX2661" fmla="*/ 3952340 w 9922465"/>
              <a:gd name="connsiteY2661" fmla="*/ 663229 h 1934496"/>
              <a:gd name="connsiteX2662" fmla="*/ 3897148 w 9922465"/>
              <a:gd name="connsiteY2662" fmla="*/ 718420 h 1934496"/>
              <a:gd name="connsiteX2663" fmla="*/ 3841956 w 9922465"/>
              <a:gd name="connsiteY2663" fmla="*/ 663229 h 1934496"/>
              <a:gd name="connsiteX2664" fmla="*/ 3897148 w 9922465"/>
              <a:gd name="connsiteY2664" fmla="*/ 608038 h 1934496"/>
              <a:gd name="connsiteX2665" fmla="*/ 3763514 w 9922465"/>
              <a:gd name="connsiteY2665" fmla="*/ 608038 h 1934496"/>
              <a:gd name="connsiteX2666" fmla="*/ 3818706 w 9922465"/>
              <a:gd name="connsiteY2666" fmla="*/ 663229 h 1934496"/>
              <a:gd name="connsiteX2667" fmla="*/ 3763514 w 9922465"/>
              <a:gd name="connsiteY2667" fmla="*/ 718420 h 1934496"/>
              <a:gd name="connsiteX2668" fmla="*/ 3708322 w 9922465"/>
              <a:gd name="connsiteY2668" fmla="*/ 663229 h 1934496"/>
              <a:gd name="connsiteX2669" fmla="*/ 3763514 w 9922465"/>
              <a:gd name="connsiteY2669" fmla="*/ 608038 h 1934496"/>
              <a:gd name="connsiteX2670" fmla="*/ 3633221 w 9922465"/>
              <a:gd name="connsiteY2670" fmla="*/ 608038 h 1934496"/>
              <a:gd name="connsiteX2671" fmla="*/ 3688413 w 9922465"/>
              <a:gd name="connsiteY2671" fmla="*/ 663229 h 1934496"/>
              <a:gd name="connsiteX2672" fmla="*/ 3633221 w 9922465"/>
              <a:gd name="connsiteY2672" fmla="*/ 718420 h 1934496"/>
              <a:gd name="connsiteX2673" fmla="*/ 3578029 w 9922465"/>
              <a:gd name="connsiteY2673" fmla="*/ 663229 h 1934496"/>
              <a:gd name="connsiteX2674" fmla="*/ 3633221 w 9922465"/>
              <a:gd name="connsiteY2674" fmla="*/ 608038 h 1934496"/>
              <a:gd name="connsiteX2675" fmla="*/ 3499589 w 9922465"/>
              <a:gd name="connsiteY2675" fmla="*/ 608038 h 1934496"/>
              <a:gd name="connsiteX2676" fmla="*/ 3554781 w 9922465"/>
              <a:gd name="connsiteY2676" fmla="*/ 663229 h 1934496"/>
              <a:gd name="connsiteX2677" fmla="*/ 3499589 w 9922465"/>
              <a:gd name="connsiteY2677" fmla="*/ 718420 h 1934496"/>
              <a:gd name="connsiteX2678" fmla="*/ 3444397 w 9922465"/>
              <a:gd name="connsiteY2678" fmla="*/ 663229 h 1934496"/>
              <a:gd name="connsiteX2679" fmla="*/ 3499589 w 9922465"/>
              <a:gd name="connsiteY2679" fmla="*/ 608038 h 1934496"/>
              <a:gd name="connsiteX2680" fmla="*/ 3369292 w 9922465"/>
              <a:gd name="connsiteY2680" fmla="*/ 608038 h 1934496"/>
              <a:gd name="connsiteX2681" fmla="*/ 3424484 w 9922465"/>
              <a:gd name="connsiteY2681" fmla="*/ 663229 h 1934496"/>
              <a:gd name="connsiteX2682" fmla="*/ 3369292 w 9922465"/>
              <a:gd name="connsiteY2682" fmla="*/ 718420 h 1934496"/>
              <a:gd name="connsiteX2683" fmla="*/ 3314100 w 9922465"/>
              <a:gd name="connsiteY2683" fmla="*/ 663229 h 1934496"/>
              <a:gd name="connsiteX2684" fmla="*/ 3369292 w 9922465"/>
              <a:gd name="connsiteY2684" fmla="*/ 608038 h 1934496"/>
              <a:gd name="connsiteX2685" fmla="*/ 3235657 w 9922465"/>
              <a:gd name="connsiteY2685" fmla="*/ 608038 h 1934496"/>
              <a:gd name="connsiteX2686" fmla="*/ 3290849 w 9922465"/>
              <a:gd name="connsiteY2686" fmla="*/ 663229 h 1934496"/>
              <a:gd name="connsiteX2687" fmla="*/ 3235657 w 9922465"/>
              <a:gd name="connsiteY2687" fmla="*/ 718420 h 1934496"/>
              <a:gd name="connsiteX2688" fmla="*/ 3180465 w 9922465"/>
              <a:gd name="connsiteY2688" fmla="*/ 663229 h 1934496"/>
              <a:gd name="connsiteX2689" fmla="*/ 3235657 w 9922465"/>
              <a:gd name="connsiteY2689" fmla="*/ 608038 h 1934496"/>
              <a:gd name="connsiteX2690" fmla="*/ 2570932 w 9922465"/>
              <a:gd name="connsiteY2690" fmla="*/ 608038 h 1934496"/>
              <a:gd name="connsiteX2691" fmla="*/ 2626123 w 9922465"/>
              <a:gd name="connsiteY2691" fmla="*/ 663229 h 1934496"/>
              <a:gd name="connsiteX2692" fmla="*/ 2570932 w 9922465"/>
              <a:gd name="connsiteY2692" fmla="*/ 718420 h 1934496"/>
              <a:gd name="connsiteX2693" fmla="*/ 2515738 w 9922465"/>
              <a:gd name="connsiteY2693" fmla="*/ 663229 h 1934496"/>
              <a:gd name="connsiteX2694" fmla="*/ 2570932 w 9922465"/>
              <a:gd name="connsiteY2694" fmla="*/ 608038 h 1934496"/>
              <a:gd name="connsiteX2695" fmla="*/ 2437297 w 9922465"/>
              <a:gd name="connsiteY2695" fmla="*/ 608038 h 1934496"/>
              <a:gd name="connsiteX2696" fmla="*/ 2492487 w 9922465"/>
              <a:gd name="connsiteY2696" fmla="*/ 663229 h 1934496"/>
              <a:gd name="connsiteX2697" fmla="*/ 2437297 w 9922465"/>
              <a:gd name="connsiteY2697" fmla="*/ 718420 h 1934496"/>
              <a:gd name="connsiteX2698" fmla="*/ 2382108 w 9922465"/>
              <a:gd name="connsiteY2698" fmla="*/ 663229 h 1934496"/>
              <a:gd name="connsiteX2699" fmla="*/ 2437297 w 9922465"/>
              <a:gd name="connsiteY2699" fmla="*/ 608038 h 1934496"/>
              <a:gd name="connsiteX2700" fmla="*/ 2303664 w 9922465"/>
              <a:gd name="connsiteY2700" fmla="*/ 608038 h 1934496"/>
              <a:gd name="connsiteX2701" fmla="*/ 2358856 w 9922465"/>
              <a:gd name="connsiteY2701" fmla="*/ 663229 h 1934496"/>
              <a:gd name="connsiteX2702" fmla="*/ 2303664 w 9922465"/>
              <a:gd name="connsiteY2702" fmla="*/ 718420 h 1934496"/>
              <a:gd name="connsiteX2703" fmla="*/ 2248473 w 9922465"/>
              <a:gd name="connsiteY2703" fmla="*/ 663229 h 1934496"/>
              <a:gd name="connsiteX2704" fmla="*/ 2303664 w 9922465"/>
              <a:gd name="connsiteY2704" fmla="*/ 608038 h 1934496"/>
              <a:gd name="connsiteX2705" fmla="*/ 2173372 w 9922465"/>
              <a:gd name="connsiteY2705" fmla="*/ 608038 h 1934496"/>
              <a:gd name="connsiteX2706" fmla="*/ 2228565 w 9922465"/>
              <a:gd name="connsiteY2706" fmla="*/ 663229 h 1934496"/>
              <a:gd name="connsiteX2707" fmla="*/ 2173372 w 9922465"/>
              <a:gd name="connsiteY2707" fmla="*/ 718420 h 1934496"/>
              <a:gd name="connsiteX2708" fmla="*/ 2118180 w 9922465"/>
              <a:gd name="connsiteY2708" fmla="*/ 663229 h 1934496"/>
              <a:gd name="connsiteX2709" fmla="*/ 2173372 w 9922465"/>
              <a:gd name="connsiteY2709" fmla="*/ 608038 h 1934496"/>
              <a:gd name="connsiteX2710" fmla="*/ 2039736 w 9922465"/>
              <a:gd name="connsiteY2710" fmla="*/ 608038 h 1934496"/>
              <a:gd name="connsiteX2711" fmla="*/ 2094930 w 9922465"/>
              <a:gd name="connsiteY2711" fmla="*/ 663229 h 1934496"/>
              <a:gd name="connsiteX2712" fmla="*/ 2039736 w 9922465"/>
              <a:gd name="connsiteY2712" fmla="*/ 718420 h 1934496"/>
              <a:gd name="connsiteX2713" fmla="*/ 1984543 w 9922465"/>
              <a:gd name="connsiteY2713" fmla="*/ 663229 h 1934496"/>
              <a:gd name="connsiteX2714" fmla="*/ 2039736 w 9922465"/>
              <a:gd name="connsiteY2714" fmla="*/ 608038 h 1934496"/>
              <a:gd name="connsiteX2715" fmla="*/ 1909437 w 9922465"/>
              <a:gd name="connsiteY2715" fmla="*/ 608038 h 1934496"/>
              <a:gd name="connsiteX2716" fmla="*/ 1964630 w 9922465"/>
              <a:gd name="connsiteY2716" fmla="*/ 663229 h 1934496"/>
              <a:gd name="connsiteX2717" fmla="*/ 1909437 w 9922465"/>
              <a:gd name="connsiteY2717" fmla="*/ 718420 h 1934496"/>
              <a:gd name="connsiteX2718" fmla="*/ 1854244 w 9922465"/>
              <a:gd name="connsiteY2718" fmla="*/ 663229 h 1934496"/>
              <a:gd name="connsiteX2719" fmla="*/ 1909437 w 9922465"/>
              <a:gd name="connsiteY2719" fmla="*/ 608038 h 1934496"/>
              <a:gd name="connsiteX2720" fmla="*/ 1779142 w 9922465"/>
              <a:gd name="connsiteY2720" fmla="*/ 608038 h 1934496"/>
              <a:gd name="connsiteX2721" fmla="*/ 1834335 w 9922465"/>
              <a:gd name="connsiteY2721" fmla="*/ 663229 h 1934496"/>
              <a:gd name="connsiteX2722" fmla="*/ 1779142 w 9922465"/>
              <a:gd name="connsiteY2722" fmla="*/ 718420 h 1934496"/>
              <a:gd name="connsiteX2723" fmla="*/ 1723950 w 9922465"/>
              <a:gd name="connsiteY2723" fmla="*/ 663229 h 1934496"/>
              <a:gd name="connsiteX2724" fmla="*/ 1779142 w 9922465"/>
              <a:gd name="connsiteY2724" fmla="*/ 608038 h 1934496"/>
              <a:gd name="connsiteX2725" fmla="*/ 1645508 w 9922465"/>
              <a:gd name="connsiteY2725" fmla="*/ 608038 h 1934496"/>
              <a:gd name="connsiteX2726" fmla="*/ 1700702 w 9922465"/>
              <a:gd name="connsiteY2726" fmla="*/ 663229 h 1934496"/>
              <a:gd name="connsiteX2727" fmla="*/ 1645508 w 9922465"/>
              <a:gd name="connsiteY2727" fmla="*/ 718420 h 1934496"/>
              <a:gd name="connsiteX2728" fmla="*/ 1590311 w 9922465"/>
              <a:gd name="connsiteY2728" fmla="*/ 663229 h 1934496"/>
              <a:gd name="connsiteX2729" fmla="*/ 1645508 w 9922465"/>
              <a:gd name="connsiteY2729" fmla="*/ 608038 h 1934496"/>
              <a:gd name="connsiteX2730" fmla="*/ 1515217 w 9922465"/>
              <a:gd name="connsiteY2730" fmla="*/ 608038 h 1934496"/>
              <a:gd name="connsiteX2731" fmla="*/ 1570402 w 9922465"/>
              <a:gd name="connsiteY2731" fmla="*/ 663229 h 1934496"/>
              <a:gd name="connsiteX2732" fmla="*/ 1515217 w 9922465"/>
              <a:gd name="connsiteY2732" fmla="*/ 718420 h 1934496"/>
              <a:gd name="connsiteX2733" fmla="*/ 1460020 w 9922465"/>
              <a:gd name="connsiteY2733" fmla="*/ 663229 h 1934496"/>
              <a:gd name="connsiteX2734" fmla="*/ 1515217 w 9922465"/>
              <a:gd name="connsiteY2734" fmla="*/ 608038 h 1934496"/>
              <a:gd name="connsiteX2735" fmla="*/ 1381573 w 9922465"/>
              <a:gd name="connsiteY2735" fmla="*/ 608038 h 1934496"/>
              <a:gd name="connsiteX2736" fmla="*/ 1436767 w 9922465"/>
              <a:gd name="connsiteY2736" fmla="*/ 663229 h 1934496"/>
              <a:gd name="connsiteX2737" fmla="*/ 1381573 w 9922465"/>
              <a:gd name="connsiteY2737" fmla="*/ 718420 h 1934496"/>
              <a:gd name="connsiteX2738" fmla="*/ 1326384 w 9922465"/>
              <a:gd name="connsiteY2738" fmla="*/ 663229 h 1934496"/>
              <a:gd name="connsiteX2739" fmla="*/ 1381573 w 9922465"/>
              <a:gd name="connsiteY2739" fmla="*/ 608038 h 1934496"/>
              <a:gd name="connsiteX2740" fmla="*/ 1251282 w 9922465"/>
              <a:gd name="connsiteY2740" fmla="*/ 608038 h 1934496"/>
              <a:gd name="connsiteX2741" fmla="*/ 1306476 w 9922465"/>
              <a:gd name="connsiteY2741" fmla="*/ 663229 h 1934496"/>
              <a:gd name="connsiteX2742" fmla="*/ 1251282 w 9922465"/>
              <a:gd name="connsiteY2742" fmla="*/ 718420 h 1934496"/>
              <a:gd name="connsiteX2743" fmla="*/ 1196089 w 9922465"/>
              <a:gd name="connsiteY2743" fmla="*/ 663229 h 1934496"/>
              <a:gd name="connsiteX2744" fmla="*/ 1251282 w 9922465"/>
              <a:gd name="connsiteY2744" fmla="*/ 608038 h 1934496"/>
              <a:gd name="connsiteX2745" fmla="*/ 8143386 w 9922465"/>
              <a:gd name="connsiteY2745" fmla="*/ 494447 h 1934496"/>
              <a:gd name="connsiteX2746" fmla="*/ 8198578 w 9922465"/>
              <a:gd name="connsiteY2746" fmla="*/ 549638 h 1934496"/>
              <a:gd name="connsiteX2747" fmla="*/ 8143386 w 9922465"/>
              <a:gd name="connsiteY2747" fmla="*/ 604829 h 1934496"/>
              <a:gd name="connsiteX2748" fmla="*/ 8088194 w 9922465"/>
              <a:gd name="connsiteY2748" fmla="*/ 549638 h 1934496"/>
              <a:gd name="connsiteX2749" fmla="*/ 8143386 w 9922465"/>
              <a:gd name="connsiteY2749" fmla="*/ 494447 h 1934496"/>
              <a:gd name="connsiteX2750" fmla="*/ 8009753 w 9922465"/>
              <a:gd name="connsiteY2750" fmla="*/ 494447 h 1934496"/>
              <a:gd name="connsiteX2751" fmla="*/ 8064945 w 9922465"/>
              <a:gd name="connsiteY2751" fmla="*/ 549638 h 1934496"/>
              <a:gd name="connsiteX2752" fmla="*/ 8009753 w 9922465"/>
              <a:gd name="connsiteY2752" fmla="*/ 604829 h 1934496"/>
              <a:gd name="connsiteX2753" fmla="*/ 7954561 w 9922465"/>
              <a:gd name="connsiteY2753" fmla="*/ 549638 h 1934496"/>
              <a:gd name="connsiteX2754" fmla="*/ 8009753 w 9922465"/>
              <a:gd name="connsiteY2754" fmla="*/ 494447 h 1934496"/>
              <a:gd name="connsiteX2755" fmla="*/ 7876118 w 9922465"/>
              <a:gd name="connsiteY2755" fmla="*/ 494447 h 1934496"/>
              <a:gd name="connsiteX2756" fmla="*/ 7931310 w 9922465"/>
              <a:gd name="connsiteY2756" fmla="*/ 549638 h 1934496"/>
              <a:gd name="connsiteX2757" fmla="*/ 7876118 w 9922465"/>
              <a:gd name="connsiteY2757" fmla="*/ 604829 h 1934496"/>
              <a:gd name="connsiteX2758" fmla="*/ 7820926 w 9922465"/>
              <a:gd name="connsiteY2758" fmla="*/ 549638 h 1934496"/>
              <a:gd name="connsiteX2759" fmla="*/ 7876118 w 9922465"/>
              <a:gd name="connsiteY2759" fmla="*/ 494447 h 1934496"/>
              <a:gd name="connsiteX2760" fmla="*/ 7745824 w 9922465"/>
              <a:gd name="connsiteY2760" fmla="*/ 494447 h 1934496"/>
              <a:gd name="connsiteX2761" fmla="*/ 7801016 w 9922465"/>
              <a:gd name="connsiteY2761" fmla="*/ 549638 h 1934496"/>
              <a:gd name="connsiteX2762" fmla="*/ 7745824 w 9922465"/>
              <a:gd name="connsiteY2762" fmla="*/ 604829 h 1934496"/>
              <a:gd name="connsiteX2763" fmla="*/ 7690632 w 9922465"/>
              <a:gd name="connsiteY2763" fmla="*/ 549638 h 1934496"/>
              <a:gd name="connsiteX2764" fmla="*/ 7745824 w 9922465"/>
              <a:gd name="connsiteY2764" fmla="*/ 494447 h 1934496"/>
              <a:gd name="connsiteX2765" fmla="*/ 7608850 w 9922465"/>
              <a:gd name="connsiteY2765" fmla="*/ 494447 h 1934496"/>
              <a:gd name="connsiteX2766" fmla="*/ 7664042 w 9922465"/>
              <a:gd name="connsiteY2766" fmla="*/ 549638 h 1934496"/>
              <a:gd name="connsiteX2767" fmla="*/ 7608850 w 9922465"/>
              <a:gd name="connsiteY2767" fmla="*/ 604829 h 1934496"/>
              <a:gd name="connsiteX2768" fmla="*/ 7553658 w 9922465"/>
              <a:gd name="connsiteY2768" fmla="*/ 549638 h 1934496"/>
              <a:gd name="connsiteX2769" fmla="*/ 7608850 w 9922465"/>
              <a:gd name="connsiteY2769" fmla="*/ 494447 h 1934496"/>
              <a:gd name="connsiteX2770" fmla="*/ 7481895 w 9922465"/>
              <a:gd name="connsiteY2770" fmla="*/ 494447 h 1934496"/>
              <a:gd name="connsiteX2771" fmla="*/ 7537087 w 9922465"/>
              <a:gd name="connsiteY2771" fmla="*/ 549638 h 1934496"/>
              <a:gd name="connsiteX2772" fmla="*/ 7481895 w 9922465"/>
              <a:gd name="connsiteY2772" fmla="*/ 604829 h 1934496"/>
              <a:gd name="connsiteX2773" fmla="*/ 7426703 w 9922465"/>
              <a:gd name="connsiteY2773" fmla="*/ 549638 h 1934496"/>
              <a:gd name="connsiteX2774" fmla="*/ 7481895 w 9922465"/>
              <a:gd name="connsiteY2774" fmla="*/ 494447 h 1934496"/>
              <a:gd name="connsiteX2775" fmla="*/ 7341580 w 9922465"/>
              <a:gd name="connsiteY2775" fmla="*/ 494447 h 1934496"/>
              <a:gd name="connsiteX2776" fmla="*/ 7396772 w 9922465"/>
              <a:gd name="connsiteY2776" fmla="*/ 549638 h 1934496"/>
              <a:gd name="connsiteX2777" fmla="*/ 7341580 w 9922465"/>
              <a:gd name="connsiteY2777" fmla="*/ 604829 h 1934496"/>
              <a:gd name="connsiteX2778" fmla="*/ 7286388 w 9922465"/>
              <a:gd name="connsiteY2778" fmla="*/ 549638 h 1934496"/>
              <a:gd name="connsiteX2779" fmla="*/ 7341580 w 9922465"/>
              <a:gd name="connsiteY2779" fmla="*/ 494447 h 1934496"/>
              <a:gd name="connsiteX2780" fmla="*/ 7211286 w 9922465"/>
              <a:gd name="connsiteY2780" fmla="*/ 494447 h 1934496"/>
              <a:gd name="connsiteX2781" fmla="*/ 7266478 w 9922465"/>
              <a:gd name="connsiteY2781" fmla="*/ 549638 h 1934496"/>
              <a:gd name="connsiteX2782" fmla="*/ 7211286 w 9922465"/>
              <a:gd name="connsiteY2782" fmla="*/ 604829 h 1934496"/>
              <a:gd name="connsiteX2783" fmla="*/ 7156094 w 9922465"/>
              <a:gd name="connsiteY2783" fmla="*/ 549638 h 1934496"/>
              <a:gd name="connsiteX2784" fmla="*/ 7211286 w 9922465"/>
              <a:gd name="connsiteY2784" fmla="*/ 494447 h 1934496"/>
              <a:gd name="connsiteX2785" fmla="*/ 7080994 w 9922465"/>
              <a:gd name="connsiteY2785" fmla="*/ 494447 h 1934496"/>
              <a:gd name="connsiteX2786" fmla="*/ 7136186 w 9922465"/>
              <a:gd name="connsiteY2786" fmla="*/ 549638 h 1934496"/>
              <a:gd name="connsiteX2787" fmla="*/ 7080994 w 9922465"/>
              <a:gd name="connsiteY2787" fmla="*/ 604829 h 1934496"/>
              <a:gd name="connsiteX2788" fmla="*/ 7025802 w 9922465"/>
              <a:gd name="connsiteY2788" fmla="*/ 549638 h 1934496"/>
              <a:gd name="connsiteX2789" fmla="*/ 7080994 w 9922465"/>
              <a:gd name="connsiteY2789" fmla="*/ 494447 h 1934496"/>
              <a:gd name="connsiteX2790" fmla="*/ 6947358 w 9922465"/>
              <a:gd name="connsiteY2790" fmla="*/ 494447 h 1934496"/>
              <a:gd name="connsiteX2791" fmla="*/ 7002550 w 9922465"/>
              <a:gd name="connsiteY2791" fmla="*/ 549638 h 1934496"/>
              <a:gd name="connsiteX2792" fmla="*/ 6947358 w 9922465"/>
              <a:gd name="connsiteY2792" fmla="*/ 604829 h 1934496"/>
              <a:gd name="connsiteX2793" fmla="*/ 6892166 w 9922465"/>
              <a:gd name="connsiteY2793" fmla="*/ 549638 h 1934496"/>
              <a:gd name="connsiteX2794" fmla="*/ 6947358 w 9922465"/>
              <a:gd name="connsiteY2794" fmla="*/ 494447 h 1934496"/>
              <a:gd name="connsiteX2795" fmla="*/ 6289207 w 9922465"/>
              <a:gd name="connsiteY2795" fmla="*/ 494447 h 1934496"/>
              <a:gd name="connsiteX2796" fmla="*/ 6344399 w 9922465"/>
              <a:gd name="connsiteY2796" fmla="*/ 549638 h 1934496"/>
              <a:gd name="connsiteX2797" fmla="*/ 6289207 w 9922465"/>
              <a:gd name="connsiteY2797" fmla="*/ 604829 h 1934496"/>
              <a:gd name="connsiteX2798" fmla="*/ 6234015 w 9922465"/>
              <a:gd name="connsiteY2798" fmla="*/ 549638 h 1934496"/>
              <a:gd name="connsiteX2799" fmla="*/ 6289207 w 9922465"/>
              <a:gd name="connsiteY2799" fmla="*/ 494447 h 1934496"/>
              <a:gd name="connsiteX2800" fmla="*/ 4030786 w 9922465"/>
              <a:gd name="connsiteY2800" fmla="*/ 494447 h 1934496"/>
              <a:gd name="connsiteX2801" fmla="*/ 4085978 w 9922465"/>
              <a:gd name="connsiteY2801" fmla="*/ 549638 h 1934496"/>
              <a:gd name="connsiteX2802" fmla="*/ 4030786 w 9922465"/>
              <a:gd name="connsiteY2802" fmla="*/ 604829 h 1934496"/>
              <a:gd name="connsiteX2803" fmla="*/ 3975594 w 9922465"/>
              <a:gd name="connsiteY2803" fmla="*/ 549638 h 1934496"/>
              <a:gd name="connsiteX2804" fmla="*/ 4030786 w 9922465"/>
              <a:gd name="connsiteY2804" fmla="*/ 494447 h 1934496"/>
              <a:gd name="connsiteX2805" fmla="*/ 3897148 w 9922465"/>
              <a:gd name="connsiteY2805" fmla="*/ 494447 h 1934496"/>
              <a:gd name="connsiteX2806" fmla="*/ 3952340 w 9922465"/>
              <a:gd name="connsiteY2806" fmla="*/ 549638 h 1934496"/>
              <a:gd name="connsiteX2807" fmla="*/ 3897148 w 9922465"/>
              <a:gd name="connsiteY2807" fmla="*/ 604829 h 1934496"/>
              <a:gd name="connsiteX2808" fmla="*/ 3841956 w 9922465"/>
              <a:gd name="connsiteY2808" fmla="*/ 549638 h 1934496"/>
              <a:gd name="connsiteX2809" fmla="*/ 3897148 w 9922465"/>
              <a:gd name="connsiteY2809" fmla="*/ 494447 h 1934496"/>
              <a:gd name="connsiteX2810" fmla="*/ 3763514 w 9922465"/>
              <a:gd name="connsiteY2810" fmla="*/ 494447 h 1934496"/>
              <a:gd name="connsiteX2811" fmla="*/ 3818706 w 9922465"/>
              <a:gd name="connsiteY2811" fmla="*/ 549638 h 1934496"/>
              <a:gd name="connsiteX2812" fmla="*/ 3763514 w 9922465"/>
              <a:gd name="connsiteY2812" fmla="*/ 604829 h 1934496"/>
              <a:gd name="connsiteX2813" fmla="*/ 3708322 w 9922465"/>
              <a:gd name="connsiteY2813" fmla="*/ 549638 h 1934496"/>
              <a:gd name="connsiteX2814" fmla="*/ 3763514 w 9922465"/>
              <a:gd name="connsiteY2814" fmla="*/ 494447 h 1934496"/>
              <a:gd name="connsiteX2815" fmla="*/ 3633221 w 9922465"/>
              <a:gd name="connsiteY2815" fmla="*/ 494447 h 1934496"/>
              <a:gd name="connsiteX2816" fmla="*/ 3688413 w 9922465"/>
              <a:gd name="connsiteY2816" fmla="*/ 549638 h 1934496"/>
              <a:gd name="connsiteX2817" fmla="*/ 3633221 w 9922465"/>
              <a:gd name="connsiteY2817" fmla="*/ 604829 h 1934496"/>
              <a:gd name="connsiteX2818" fmla="*/ 3578029 w 9922465"/>
              <a:gd name="connsiteY2818" fmla="*/ 549638 h 1934496"/>
              <a:gd name="connsiteX2819" fmla="*/ 3633221 w 9922465"/>
              <a:gd name="connsiteY2819" fmla="*/ 494447 h 1934496"/>
              <a:gd name="connsiteX2820" fmla="*/ 3499589 w 9922465"/>
              <a:gd name="connsiteY2820" fmla="*/ 494447 h 1934496"/>
              <a:gd name="connsiteX2821" fmla="*/ 3554781 w 9922465"/>
              <a:gd name="connsiteY2821" fmla="*/ 549638 h 1934496"/>
              <a:gd name="connsiteX2822" fmla="*/ 3499589 w 9922465"/>
              <a:gd name="connsiteY2822" fmla="*/ 604829 h 1934496"/>
              <a:gd name="connsiteX2823" fmla="*/ 3444397 w 9922465"/>
              <a:gd name="connsiteY2823" fmla="*/ 549638 h 1934496"/>
              <a:gd name="connsiteX2824" fmla="*/ 3499589 w 9922465"/>
              <a:gd name="connsiteY2824" fmla="*/ 494447 h 1934496"/>
              <a:gd name="connsiteX2825" fmla="*/ 3369292 w 9922465"/>
              <a:gd name="connsiteY2825" fmla="*/ 494447 h 1934496"/>
              <a:gd name="connsiteX2826" fmla="*/ 3424484 w 9922465"/>
              <a:gd name="connsiteY2826" fmla="*/ 549638 h 1934496"/>
              <a:gd name="connsiteX2827" fmla="*/ 3369292 w 9922465"/>
              <a:gd name="connsiteY2827" fmla="*/ 604829 h 1934496"/>
              <a:gd name="connsiteX2828" fmla="*/ 3314100 w 9922465"/>
              <a:gd name="connsiteY2828" fmla="*/ 549638 h 1934496"/>
              <a:gd name="connsiteX2829" fmla="*/ 3369292 w 9922465"/>
              <a:gd name="connsiteY2829" fmla="*/ 494447 h 1934496"/>
              <a:gd name="connsiteX2830" fmla="*/ 3235657 w 9922465"/>
              <a:gd name="connsiteY2830" fmla="*/ 494447 h 1934496"/>
              <a:gd name="connsiteX2831" fmla="*/ 3290849 w 9922465"/>
              <a:gd name="connsiteY2831" fmla="*/ 549638 h 1934496"/>
              <a:gd name="connsiteX2832" fmla="*/ 3235657 w 9922465"/>
              <a:gd name="connsiteY2832" fmla="*/ 604829 h 1934496"/>
              <a:gd name="connsiteX2833" fmla="*/ 3180465 w 9922465"/>
              <a:gd name="connsiteY2833" fmla="*/ 549638 h 1934496"/>
              <a:gd name="connsiteX2834" fmla="*/ 3235657 w 9922465"/>
              <a:gd name="connsiteY2834" fmla="*/ 494447 h 1934496"/>
              <a:gd name="connsiteX2835" fmla="*/ 2437297 w 9922465"/>
              <a:gd name="connsiteY2835" fmla="*/ 494447 h 1934496"/>
              <a:gd name="connsiteX2836" fmla="*/ 2492487 w 9922465"/>
              <a:gd name="connsiteY2836" fmla="*/ 549638 h 1934496"/>
              <a:gd name="connsiteX2837" fmla="*/ 2437297 w 9922465"/>
              <a:gd name="connsiteY2837" fmla="*/ 604829 h 1934496"/>
              <a:gd name="connsiteX2838" fmla="*/ 2382108 w 9922465"/>
              <a:gd name="connsiteY2838" fmla="*/ 549638 h 1934496"/>
              <a:gd name="connsiteX2839" fmla="*/ 2437297 w 9922465"/>
              <a:gd name="connsiteY2839" fmla="*/ 494447 h 1934496"/>
              <a:gd name="connsiteX2840" fmla="*/ 2303664 w 9922465"/>
              <a:gd name="connsiteY2840" fmla="*/ 494447 h 1934496"/>
              <a:gd name="connsiteX2841" fmla="*/ 2358856 w 9922465"/>
              <a:gd name="connsiteY2841" fmla="*/ 549638 h 1934496"/>
              <a:gd name="connsiteX2842" fmla="*/ 2303664 w 9922465"/>
              <a:gd name="connsiteY2842" fmla="*/ 604829 h 1934496"/>
              <a:gd name="connsiteX2843" fmla="*/ 2248473 w 9922465"/>
              <a:gd name="connsiteY2843" fmla="*/ 549638 h 1934496"/>
              <a:gd name="connsiteX2844" fmla="*/ 2303664 w 9922465"/>
              <a:gd name="connsiteY2844" fmla="*/ 494447 h 1934496"/>
              <a:gd name="connsiteX2845" fmla="*/ 2173372 w 9922465"/>
              <a:gd name="connsiteY2845" fmla="*/ 494447 h 1934496"/>
              <a:gd name="connsiteX2846" fmla="*/ 2228565 w 9922465"/>
              <a:gd name="connsiteY2846" fmla="*/ 549638 h 1934496"/>
              <a:gd name="connsiteX2847" fmla="*/ 2173372 w 9922465"/>
              <a:gd name="connsiteY2847" fmla="*/ 604829 h 1934496"/>
              <a:gd name="connsiteX2848" fmla="*/ 2118180 w 9922465"/>
              <a:gd name="connsiteY2848" fmla="*/ 549638 h 1934496"/>
              <a:gd name="connsiteX2849" fmla="*/ 2173372 w 9922465"/>
              <a:gd name="connsiteY2849" fmla="*/ 494447 h 1934496"/>
              <a:gd name="connsiteX2850" fmla="*/ 2039736 w 9922465"/>
              <a:gd name="connsiteY2850" fmla="*/ 494447 h 1934496"/>
              <a:gd name="connsiteX2851" fmla="*/ 2094930 w 9922465"/>
              <a:gd name="connsiteY2851" fmla="*/ 549638 h 1934496"/>
              <a:gd name="connsiteX2852" fmla="*/ 2039736 w 9922465"/>
              <a:gd name="connsiteY2852" fmla="*/ 604829 h 1934496"/>
              <a:gd name="connsiteX2853" fmla="*/ 1984543 w 9922465"/>
              <a:gd name="connsiteY2853" fmla="*/ 549638 h 1934496"/>
              <a:gd name="connsiteX2854" fmla="*/ 2039736 w 9922465"/>
              <a:gd name="connsiteY2854" fmla="*/ 494447 h 1934496"/>
              <a:gd name="connsiteX2855" fmla="*/ 1909437 w 9922465"/>
              <a:gd name="connsiteY2855" fmla="*/ 494447 h 1934496"/>
              <a:gd name="connsiteX2856" fmla="*/ 1964630 w 9922465"/>
              <a:gd name="connsiteY2856" fmla="*/ 549638 h 1934496"/>
              <a:gd name="connsiteX2857" fmla="*/ 1909437 w 9922465"/>
              <a:gd name="connsiteY2857" fmla="*/ 604829 h 1934496"/>
              <a:gd name="connsiteX2858" fmla="*/ 1854244 w 9922465"/>
              <a:gd name="connsiteY2858" fmla="*/ 549638 h 1934496"/>
              <a:gd name="connsiteX2859" fmla="*/ 1909437 w 9922465"/>
              <a:gd name="connsiteY2859" fmla="*/ 494447 h 1934496"/>
              <a:gd name="connsiteX2860" fmla="*/ 1779142 w 9922465"/>
              <a:gd name="connsiteY2860" fmla="*/ 494447 h 1934496"/>
              <a:gd name="connsiteX2861" fmla="*/ 1834335 w 9922465"/>
              <a:gd name="connsiteY2861" fmla="*/ 549638 h 1934496"/>
              <a:gd name="connsiteX2862" fmla="*/ 1779142 w 9922465"/>
              <a:gd name="connsiteY2862" fmla="*/ 604829 h 1934496"/>
              <a:gd name="connsiteX2863" fmla="*/ 1723950 w 9922465"/>
              <a:gd name="connsiteY2863" fmla="*/ 549638 h 1934496"/>
              <a:gd name="connsiteX2864" fmla="*/ 1779142 w 9922465"/>
              <a:gd name="connsiteY2864" fmla="*/ 494447 h 1934496"/>
              <a:gd name="connsiteX2865" fmla="*/ 1645508 w 9922465"/>
              <a:gd name="connsiteY2865" fmla="*/ 494447 h 1934496"/>
              <a:gd name="connsiteX2866" fmla="*/ 1700702 w 9922465"/>
              <a:gd name="connsiteY2866" fmla="*/ 549638 h 1934496"/>
              <a:gd name="connsiteX2867" fmla="*/ 1645508 w 9922465"/>
              <a:gd name="connsiteY2867" fmla="*/ 604829 h 1934496"/>
              <a:gd name="connsiteX2868" fmla="*/ 1590311 w 9922465"/>
              <a:gd name="connsiteY2868" fmla="*/ 549638 h 1934496"/>
              <a:gd name="connsiteX2869" fmla="*/ 1645508 w 9922465"/>
              <a:gd name="connsiteY2869" fmla="*/ 494447 h 1934496"/>
              <a:gd name="connsiteX2870" fmla="*/ 1515217 w 9922465"/>
              <a:gd name="connsiteY2870" fmla="*/ 494447 h 1934496"/>
              <a:gd name="connsiteX2871" fmla="*/ 1570402 w 9922465"/>
              <a:gd name="connsiteY2871" fmla="*/ 549638 h 1934496"/>
              <a:gd name="connsiteX2872" fmla="*/ 1515217 w 9922465"/>
              <a:gd name="connsiteY2872" fmla="*/ 604829 h 1934496"/>
              <a:gd name="connsiteX2873" fmla="*/ 1460020 w 9922465"/>
              <a:gd name="connsiteY2873" fmla="*/ 549638 h 1934496"/>
              <a:gd name="connsiteX2874" fmla="*/ 1515217 w 9922465"/>
              <a:gd name="connsiteY2874" fmla="*/ 494447 h 1934496"/>
              <a:gd name="connsiteX2875" fmla="*/ 1381573 w 9922465"/>
              <a:gd name="connsiteY2875" fmla="*/ 494447 h 1934496"/>
              <a:gd name="connsiteX2876" fmla="*/ 1436767 w 9922465"/>
              <a:gd name="connsiteY2876" fmla="*/ 549638 h 1934496"/>
              <a:gd name="connsiteX2877" fmla="*/ 1381573 w 9922465"/>
              <a:gd name="connsiteY2877" fmla="*/ 604829 h 1934496"/>
              <a:gd name="connsiteX2878" fmla="*/ 1326384 w 9922465"/>
              <a:gd name="connsiteY2878" fmla="*/ 549638 h 1934496"/>
              <a:gd name="connsiteX2879" fmla="*/ 1381573 w 9922465"/>
              <a:gd name="connsiteY2879" fmla="*/ 494447 h 1934496"/>
              <a:gd name="connsiteX2880" fmla="*/ 1251282 w 9922465"/>
              <a:gd name="connsiteY2880" fmla="*/ 494447 h 1934496"/>
              <a:gd name="connsiteX2881" fmla="*/ 1306476 w 9922465"/>
              <a:gd name="connsiteY2881" fmla="*/ 549638 h 1934496"/>
              <a:gd name="connsiteX2882" fmla="*/ 1251282 w 9922465"/>
              <a:gd name="connsiteY2882" fmla="*/ 604829 h 1934496"/>
              <a:gd name="connsiteX2883" fmla="*/ 1196089 w 9922465"/>
              <a:gd name="connsiteY2883" fmla="*/ 549638 h 1934496"/>
              <a:gd name="connsiteX2884" fmla="*/ 1251282 w 9922465"/>
              <a:gd name="connsiteY2884" fmla="*/ 494447 h 1934496"/>
              <a:gd name="connsiteX2885" fmla="*/ 8801538 w 9922465"/>
              <a:gd name="connsiteY2885" fmla="*/ 364154 h 1934496"/>
              <a:gd name="connsiteX2886" fmla="*/ 8856730 w 9922465"/>
              <a:gd name="connsiteY2886" fmla="*/ 419345 h 1934496"/>
              <a:gd name="connsiteX2887" fmla="*/ 8801538 w 9922465"/>
              <a:gd name="connsiteY2887" fmla="*/ 474536 h 1934496"/>
              <a:gd name="connsiteX2888" fmla="*/ 8746346 w 9922465"/>
              <a:gd name="connsiteY2888" fmla="*/ 419345 h 1934496"/>
              <a:gd name="connsiteX2889" fmla="*/ 8801538 w 9922465"/>
              <a:gd name="connsiteY2889" fmla="*/ 364154 h 1934496"/>
              <a:gd name="connsiteX2890" fmla="*/ 8671244 w 9922465"/>
              <a:gd name="connsiteY2890" fmla="*/ 364154 h 1934496"/>
              <a:gd name="connsiteX2891" fmla="*/ 8726436 w 9922465"/>
              <a:gd name="connsiteY2891" fmla="*/ 419345 h 1934496"/>
              <a:gd name="connsiteX2892" fmla="*/ 8671244 w 9922465"/>
              <a:gd name="connsiteY2892" fmla="*/ 474536 h 1934496"/>
              <a:gd name="connsiteX2893" fmla="*/ 8616052 w 9922465"/>
              <a:gd name="connsiteY2893" fmla="*/ 419345 h 1934496"/>
              <a:gd name="connsiteX2894" fmla="*/ 8671244 w 9922465"/>
              <a:gd name="connsiteY2894" fmla="*/ 364154 h 1934496"/>
              <a:gd name="connsiteX2895" fmla="*/ 8537609 w 9922465"/>
              <a:gd name="connsiteY2895" fmla="*/ 364154 h 1934496"/>
              <a:gd name="connsiteX2896" fmla="*/ 8592801 w 9922465"/>
              <a:gd name="connsiteY2896" fmla="*/ 419345 h 1934496"/>
              <a:gd name="connsiteX2897" fmla="*/ 8537609 w 9922465"/>
              <a:gd name="connsiteY2897" fmla="*/ 474536 h 1934496"/>
              <a:gd name="connsiteX2898" fmla="*/ 8482417 w 9922465"/>
              <a:gd name="connsiteY2898" fmla="*/ 419345 h 1934496"/>
              <a:gd name="connsiteX2899" fmla="*/ 8537609 w 9922465"/>
              <a:gd name="connsiteY2899" fmla="*/ 364154 h 1934496"/>
              <a:gd name="connsiteX2900" fmla="*/ 7745824 w 9922465"/>
              <a:gd name="connsiteY2900" fmla="*/ 364154 h 1934496"/>
              <a:gd name="connsiteX2901" fmla="*/ 7801016 w 9922465"/>
              <a:gd name="connsiteY2901" fmla="*/ 419345 h 1934496"/>
              <a:gd name="connsiteX2902" fmla="*/ 7745824 w 9922465"/>
              <a:gd name="connsiteY2902" fmla="*/ 474536 h 1934496"/>
              <a:gd name="connsiteX2903" fmla="*/ 7690632 w 9922465"/>
              <a:gd name="connsiteY2903" fmla="*/ 419345 h 1934496"/>
              <a:gd name="connsiteX2904" fmla="*/ 7745824 w 9922465"/>
              <a:gd name="connsiteY2904" fmla="*/ 364154 h 1934496"/>
              <a:gd name="connsiteX2905" fmla="*/ 7608850 w 9922465"/>
              <a:gd name="connsiteY2905" fmla="*/ 364154 h 1934496"/>
              <a:gd name="connsiteX2906" fmla="*/ 7664042 w 9922465"/>
              <a:gd name="connsiteY2906" fmla="*/ 419345 h 1934496"/>
              <a:gd name="connsiteX2907" fmla="*/ 7608850 w 9922465"/>
              <a:gd name="connsiteY2907" fmla="*/ 474536 h 1934496"/>
              <a:gd name="connsiteX2908" fmla="*/ 7553658 w 9922465"/>
              <a:gd name="connsiteY2908" fmla="*/ 419345 h 1934496"/>
              <a:gd name="connsiteX2909" fmla="*/ 7608850 w 9922465"/>
              <a:gd name="connsiteY2909" fmla="*/ 364154 h 1934496"/>
              <a:gd name="connsiteX2910" fmla="*/ 7481895 w 9922465"/>
              <a:gd name="connsiteY2910" fmla="*/ 364154 h 1934496"/>
              <a:gd name="connsiteX2911" fmla="*/ 7537087 w 9922465"/>
              <a:gd name="connsiteY2911" fmla="*/ 419345 h 1934496"/>
              <a:gd name="connsiteX2912" fmla="*/ 7481895 w 9922465"/>
              <a:gd name="connsiteY2912" fmla="*/ 474536 h 1934496"/>
              <a:gd name="connsiteX2913" fmla="*/ 7426703 w 9922465"/>
              <a:gd name="connsiteY2913" fmla="*/ 419345 h 1934496"/>
              <a:gd name="connsiteX2914" fmla="*/ 7481895 w 9922465"/>
              <a:gd name="connsiteY2914" fmla="*/ 364154 h 1934496"/>
              <a:gd name="connsiteX2915" fmla="*/ 7341580 w 9922465"/>
              <a:gd name="connsiteY2915" fmla="*/ 364154 h 1934496"/>
              <a:gd name="connsiteX2916" fmla="*/ 7396772 w 9922465"/>
              <a:gd name="connsiteY2916" fmla="*/ 419345 h 1934496"/>
              <a:gd name="connsiteX2917" fmla="*/ 7341580 w 9922465"/>
              <a:gd name="connsiteY2917" fmla="*/ 474536 h 1934496"/>
              <a:gd name="connsiteX2918" fmla="*/ 7286388 w 9922465"/>
              <a:gd name="connsiteY2918" fmla="*/ 419345 h 1934496"/>
              <a:gd name="connsiteX2919" fmla="*/ 7341580 w 9922465"/>
              <a:gd name="connsiteY2919" fmla="*/ 364154 h 1934496"/>
              <a:gd name="connsiteX2920" fmla="*/ 6553137 w 9922465"/>
              <a:gd name="connsiteY2920" fmla="*/ 364154 h 1934496"/>
              <a:gd name="connsiteX2921" fmla="*/ 6608329 w 9922465"/>
              <a:gd name="connsiteY2921" fmla="*/ 419345 h 1934496"/>
              <a:gd name="connsiteX2922" fmla="*/ 6553137 w 9922465"/>
              <a:gd name="connsiteY2922" fmla="*/ 474536 h 1934496"/>
              <a:gd name="connsiteX2923" fmla="*/ 6497945 w 9922465"/>
              <a:gd name="connsiteY2923" fmla="*/ 419345 h 1934496"/>
              <a:gd name="connsiteX2924" fmla="*/ 6553137 w 9922465"/>
              <a:gd name="connsiteY2924" fmla="*/ 364154 h 1934496"/>
              <a:gd name="connsiteX2925" fmla="*/ 6419503 w 9922465"/>
              <a:gd name="connsiteY2925" fmla="*/ 364154 h 1934496"/>
              <a:gd name="connsiteX2926" fmla="*/ 6474695 w 9922465"/>
              <a:gd name="connsiteY2926" fmla="*/ 419345 h 1934496"/>
              <a:gd name="connsiteX2927" fmla="*/ 6419503 w 9922465"/>
              <a:gd name="connsiteY2927" fmla="*/ 474536 h 1934496"/>
              <a:gd name="connsiteX2928" fmla="*/ 6364311 w 9922465"/>
              <a:gd name="connsiteY2928" fmla="*/ 419345 h 1934496"/>
              <a:gd name="connsiteX2929" fmla="*/ 6419503 w 9922465"/>
              <a:gd name="connsiteY2929" fmla="*/ 364154 h 1934496"/>
              <a:gd name="connsiteX2930" fmla="*/ 4030786 w 9922465"/>
              <a:gd name="connsiteY2930" fmla="*/ 364154 h 1934496"/>
              <a:gd name="connsiteX2931" fmla="*/ 4085978 w 9922465"/>
              <a:gd name="connsiteY2931" fmla="*/ 419345 h 1934496"/>
              <a:gd name="connsiteX2932" fmla="*/ 4030786 w 9922465"/>
              <a:gd name="connsiteY2932" fmla="*/ 474536 h 1934496"/>
              <a:gd name="connsiteX2933" fmla="*/ 3975594 w 9922465"/>
              <a:gd name="connsiteY2933" fmla="*/ 419345 h 1934496"/>
              <a:gd name="connsiteX2934" fmla="*/ 4030786 w 9922465"/>
              <a:gd name="connsiteY2934" fmla="*/ 364154 h 1934496"/>
              <a:gd name="connsiteX2935" fmla="*/ 3897148 w 9922465"/>
              <a:gd name="connsiteY2935" fmla="*/ 364154 h 1934496"/>
              <a:gd name="connsiteX2936" fmla="*/ 3952340 w 9922465"/>
              <a:gd name="connsiteY2936" fmla="*/ 419345 h 1934496"/>
              <a:gd name="connsiteX2937" fmla="*/ 3897148 w 9922465"/>
              <a:gd name="connsiteY2937" fmla="*/ 474536 h 1934496"/>
              <a:gd name="connsiteX2938" fmla="*/ 3841956 w 9922465"/>
              <a:gd name="connsiteY2938" fmla="*/ 419345 h 1934496"/>
              <a:gd name="connsiteX2939" fmla="*/ 3897148 w 9922465"/>
              <a:gd name="connsiteY2939" fmla="*/ 364154 h 1934496"/>
              <a:gd name="connsiteX2940" fmla="*/ 3763514 w 9922465"/>
              <a:gd name="connsiteY2940" fmla="*/ 364154 h 1934496"/>
              <a:gd name="connsiteX2941" fmla="*/ 3818706 w 9922465"/>
              <a:gd name="connsiteY2941" fmla="*/ 419345 h 1934496"/>
              <a:gd name="connsiteX2942" fmla="*/ 3763514 w 9922465"/>
              <a:gd name="connsiteY2942" fmla="*/ 474536 h 1934496"/>
              <a:gd name="connsiteX2943" fmla="*/ 3708322 w 9922465"/>
              <a:gd name="connsiteY2943" fmla="*/ 419345 h 1934496"/>
              <a:gd name="connsiteX2944" fmla="*/ 3763514 w 9922465"/>
              <a:gd name="connsiteY2944" fmla="*/ 364154 h 1934496"/>
              <a:gd name="connsiteX2945" fmla="*/ 3633221 w 9922465"/>
              <a:gd name="connsiteY2945" fmla="*/ 364154 h 1934496"/>
              <a:gd name="connsiteX2946" fmla="*/ 3688413 w 9922465"/>
              <a:gd name="connsiteY2946" fmla="*/ 419345 h 1934496"/>
              <a:gd name="connsiteX2947" fmla="*/ 3633221 w 9922465"/>
              <a:gd name="connsiteY2947" fmla="*/ 474536 h 1934496"/>
              <a:gd name="connsiteX2948" fmla="*/ 3578029 w 9922465"/>
              <a:gd name="connsiteY2948" fmla="*/ 419345 h 1934496"/>
              <a:gd name="connsiteX2949" fmla="*/ 3633221 w 9922465"/>
              <a:gd name="connsiteY2949" fmla="*/ 364154 h 1934496"/>
              <a:gd name="connsiteX2950" fmla="*/ 3499589 w 9922465"/>
              <a:gd name="connsiteY2950" fmla="*/ 364154 h 1934496"/>
              <a:gd name="connsiteX2951" fmla="*/ 3554781 w 9922465"/>
              <a:gd name="connsiteY2951" fmla="*/ 419345 h 1934496"/>
              <a:gd name="connsiteX2952" fmla="*/ 3499589 w 9922465"/>
              <a:gd name="connsiteY2952" fmla="*/ 474536 h 1934496"/>
              <a:gd name="connsiteX2953" fmla="*/ 3444397 w 9922465"/>
              <a:gd name="connsiteY2953" fmla="*/ 419345 h 1934496"/>
              <a:gd name="connsiteX2954" fmla="*/ 3499589 w 9922465"/>
              <a:gd name="connsiteY2954" fmla="*/ 364154 h 1934496"/>
              <a:gd name="connsiteX2955" fmla="*/ 3369292 w 9922465"/>
              <a:gd name="connsiteY2955" fmla="*/ 364154 h 1934496"/>
              <a:gd name="connsiteX2956" fmla="*/ 3424484 w 9922465"/>
              <a:gd name="connsiteY2956" fmla="*/ 419345 h 1934496"/>
              <a:gd name="connsiteX2957" fmla="*/ 3369292 w 9922465"/>
              <a:gd name="connsiteY2957" fmla="*/ 474536 h 1934496"/>
              <a:gd name="connsiteX2958" fmla="*/ 3314100 w 9922465"/>
              <a:gd name="connsiteY2958" fmla="*/ 419345 h 1934496"/>
              <a:gd name="connsiteX2959" fmla="*/ 3369292 w 9922465"/>
              <a:gd name="connsiteY2959" fmla="*/ 364154 h 1934496"/>
              <a:gd name="connsiteX2960" fmla="*/ 3235657 w 9922465"/>
              <a:gd name="connsiteY2960" fmla="*/ 364154 h 1934496"/>
              <a:gd name="connsiteX2961" fmla="*/ 3290849 w 9922465"/>
              <a:gd name="connsiteY2961" fmla="*/ 419345 h 1934496"/>
              <a:gd name="connsiteX2962" fmla="*/ 3235657 w 9922465"/>
              <a:gd name="connsiteY2962" fmla="*/ 474536 h 1934496"/>
              <a:gd name="connsiteX2963" fmla="*/ 3180465 w 9922465"/>
              <a:gd name="connsiteY2963" fmla="*/ 419345 h 1934496"/>
              <a:gd name="connsiteX2964" fmla="*/ 3235657 w 9922465"/>
              <a:gd name="connsiteY2964" fmla="*/ 364154 h 1934496"/>
              <a:gd name="connsiteX2965" fmla="*/ 3098681 w 9922465"/>
              <a:gd name="connsiteY2965" fmla="*/ 364154 h 1934496"/>
              <a:gd name="connsiteX2966" fmla="*/ 3153873 w 9922465"/>
              <a:gd name="connsiteY2966" fmla="*/ 419345 h 1934496"/>
              <a:gd name="connsiteX2967" fmla="*/ 3098681 w 9922465"/>
              <a:gd name="connsiteY2967" fmla="*/ 474536 h 1934496"/>
              <a:gd name="connsiteX2968" fmla="*/ 3043489 w 9922465"/>
              <a:gd name="connsiteY2968" fmla="*/ 419345 h 1934496"/>
              <a:gd name="connsiteX2969" fmla="*/ 3098681 w 9922465"/>
              <a:gd name="connsiteY2969" fmla="*/ 364154 h 1934496"/>
              <a:gd name="connsiteX2970" fmla="*/ 2971729 w 9922465"/>
              <a:gd name="connsiteY2970" fmla="*/ 364154 h 1934496"/>
              <a:gd name="connsiteX2971" fmla="*/ 3026921 w 9922465"/>
              <a:gd name="connsiteY2971" fmla="*/ 419345 h 1934496"/>
              <a:gd name="connsiteX2972" fmla="*/ 2971729 w 9922465"/>
              <a:gd name="connsiteY2972" fmla="*/ 474536 h 1934496"/>
              <a:gd name="connsiteX2973" fmla="*/ 2916537 w 9922465"/>
              <a:gd name="connsiteY2973" fmla="*/ 419345 h 1934496"/>
              <a:gd name="connsiteX2974" fmla="*/ 2971729 w 9922465"/>
              <a:gd name="connsiteY2974" fmla="*/ 364154 h 1934496"/>
              <a:gd name="connsiteX2975" fmla="*/ 2834862 w 9922465"/>
              <a:gd name="connsiteY2975" fmla="*/ 364154 h 1934496"/>
              <a:gd name="connsiteX2976" fmla="*/ 2890052 w 9922465"/>
              <a:gd name="connsiteY2976" fmla="*/ 419345 h 1934496"/>
              <a:gd name="connsiteX2977" fmla="*/ 2834862 w 9922465"/>
              <a:gd name="connsiteY2977" fmla="*/ 474536 h 1934496"/>
              <a:gd name="connsiteX2978" fmla="*/ 2779671 w 9922465"/>
              <a:gd name="connsiteY2978" fmla="*/ 419345 h 1934496"/>
              <a:gd name="connsiteX2979" fmla="*/ 2834862 w 9922465"/>
              <a:gd name="connsiteY2979" fmla="*/ 364154 h 1934496"/>
              <a:gd name="connsiteX2980" fmla="*/ 2437297 w 9922465"/>
              <a:gd name="connsiteY2980" fmla="*/ 364154 h 1934496"/>
              <a:gd name="connsiteX2981" fmla="*/ 2492487 w 9922465"/>
              <a:gd name="connsiteY2981" fmla="*/ 419345 h 1934496"/>
              <a:gd name="connsiteX2982" fmla="*/ 2437297 w 9922465"/>
              <a:gd name="connsiteY2982" fmla="*/ 474536 h 1934496"/>
              <a:gd name="connsiteX2983" fmla="*/ 2382108 w 9922465"/>
              <a:gd name="connsiteY2983" fmla="*/ 419345 h 1934496"/>
              <a:gd name="connsiteX2984" fmla="*/ 2437297 w 9922465"/>
              <a:gd name="connsiteY2984" fmla="*/ 364154 h 1934496"/>
              <a:gd name="connsiteX2985" fmla="*/ 2303664 w 9922465"/>
              <a:gd name="connsiteY2985" fmla="*/ 364154 h 1934496"/>
              <a:gd name="connsiteX2986" fmla="*/ 2358856 w 9922465"/>
              <a:gd name="connsiteY2986" fmla="*/ 419345 h 1934496"/>
              <a:gd name="connsiteX2987" fmla="*/ 2303664 w 9922465"/>
              <a:gd name="connsiteY2987" fmla="*/ 474536 h 1934496"/>
              <a:gd name="connsiteX2988" fmla="*/ 2248473 w 9922465"/>
              <a:gd name="connsiteY2988" fmla="*/ 419345 h 1934496"/>
              <a:gd name="connsiteX2989" fmla="*/ 2303664 w 9922465"/>
              <a:gd name="connsiteY2989" fmla="*/ 364154 h 1934496"/>
              <a:gd name="connsiteX2990" fmla="*/ 2173372 w 9922465"/>
              <a:gd name="connsiteY2990" fmla="*/ 364154 h 1934496"/>
              <a:gd name="connsiteX2991" fmla="*/ 2228565 w 9922465"/>
              <a:gd name="connsiteY2991" fmla="*/ 419345 h 1934496"/>
              <a:gd name="connsiteX2992" fmla="*/ 2173372 w 9922465"/>
              <a:gd name="connsiteY2992" fmla="*/ 474536 h 1934496"/>
              <a:gd name="connsiteX2993" fmla="*/ 2118180 w 9922465"/>
              <a:gd name="connsiteY2993" fmla="*/ 419345 h 1934496"/>
              <a:gd name="connsiteX2994" fmla="*/ 2173372 w 9922465"/>
              <a:gd name="connsiteY2994" fmla="*/ 364154 h 1934496"/>
              <a:gd name="connsiteX2995" fmla="*/ 2039736 w 9922465"/>
              <a:gd name="connsiteY2995" fmla="*/ 364154 h 1934496"/>
              <a:gd name="connsiteX2996" fmla="*/ 2094930 w 9922465"/>
              <a:gd name="connsiteY2996" fmla="*/ 419345 h 1934496"/>
              <a:gd name="connsiteX2997" fmla="*/ 2039736 w 9922465"/>
              <a:gd name="connsiteY2997" fmla="*/ 474536 h 1934496"/>
              <a:gd name="connsiteX2998" fmla="*/ 1984543 w 9922465"/>
              <a:gd name="connsiteY2998" fmla="*/ 419345 h 1934496"/>
              <a:gd name="connsiteX2999" fmla="*/ 2039736 w 9922465"/>
              <a:gd name="connsiteY2999" fmla="*/ 364154 h 1934496"/>
              <a:gd name="connsiteX3000" fmla="*/ 1909440 w 9922465"/>
              <a:gd name="connsiteY3000" fmla="*/ 364154 h 1934496"/>
              <a:gd name="connsiteX3001" fmla="*/ 1964634 w 9922465"/>
              <a:gd name="connsiteY3001" fmla="*/ 419345 h 1934496"/>
              <a:gd name="connsiteX3002" fmla="*/ 1909440 w 9922465"/>
              <a:gd name="connsiteY3002" fmla="*/ 474536 h 1934496"/>
              <a:gd name="connsiteX3003" fmla="*/ 1854246 w 9922465"/>
              <a:gd name="connsiteY3003" fmla="*/ 419345 h 1934496"/>
              <a:gd name="connsiteX3004" fmla="*/ 1909440 w 9922465"/>
              <a:gd name="connsiteY3004" fmla="*/ 364154 h 1934496"/>
              <a:gd name="connsiteX3005" fmla="*/ 1779142 w 9922465"/>
              <a:gd name="connsiteY3005" fmla="*/ 364154 h 1934496"/>
              <a:gd name="connsiteX3006" fmla="*/ 1834337 w 9922465"/>
              <a:gd name="connsiteY3006" fmla="*/ 419345 h 1934496"/>
              <a:gd name="connsiteX3007" fmla="*/ 1779142 w 9922465"/>
              <a:gd name="connsiteY3007" fmla="*/ 474536 h 1934496"/>
              <a:gd name="connsiteX3008" fmla="*/ 1723951 w 9922465"/>
              <a:gd name="connsiteY3008" fmla="*/ 419345 h 1934496"/>
              <a:gd name="connsiteX3009" fmla="*/ 1779142 w 9922465"/>
              <a:gd name="connsiteY3009" fmla="*/ 364154 h 1934496"/>
              <a:gd name="connsiteX3010" fmla="*/ 1645508 w 9922465"/>
              <a:gd name="connsiteY3010" fmla="*/ 364154 h 1934496"/>
              <a:gd name="connsiteX3011" fmla="*/ 1700702 w 9922465"/>
              <a:gd name="connsiteY3011" fmla="*/ 419345 h 1934496"/>
              <a:gd name="connsiteX3012" fmla="*/ 1645508 w 9922465"/>
              <a:gd name="connsiteY3012" fmla="*/ 474536 h 1934496"/>
              <a:gd name="connsiteX3013" fmla="*/ 1590313 w 9922465"/>
              <a:gd name="connsiteY3013" fmla="*/ 419345 h 1934496"/>
              <a:gd name="connsiteX3014" fmla="*/ 1645508 w 9922465"/>
              <a:gd name="connsiteY3014" fmla="*/ 364154 h 1934496"/>
              <a:gd name="connsiteX3015" fmla="*/ 1515217 w 9922465"/>
              <a:gd name="connsiteY3015" fmla="*/ 364154 h 1934496"/>
              <a:gd name="connsiteX3016" fmla="*/ 1570405 w 9922465"/>
              <a:gd name="connsiteY3016" fmla="*/ 419345 h 1934496"/>
              <a:gd name="connsiteX3017" fmla="*/ 1515217 w 9922465"/>
              <a:gd name="connsiteY3017" fmla="*/ 474536 h 1934496"/>
              <a:gd name="connsiteX3018" fmla="*/ 1460020 w 9922465"/>
              <a:gd name="connsiteY3018" fmla="*/ 419345 h 1934496"/>
              <a:gd name="connsiteX3019" fmla="*/ 1515217 w 9922465"/>
              <a:gd name="connsiteY3019" fmla="*/ 364154 h 1934496"/>
              <a:gd name="connsiteX3020" fmla="*/ 1381573 w 9922465"/>
              <a:gd name="connsiteY3020" fmla="*/ 364154 h 1934496"/>
              <a:gd name="connsiteX3021" fmla="*/ 1436767 w 9922465"/>
              <a:gd name="connsiteY3021" fmla="*/ 419345 h 1934496"/>
              <a:gd name="connsiteX3022" fmla="*/ 1381573 w 9922465"/>
              <a:gd name="connsiteY3022" fmla="*/ 474536 h 1934496"/>
              <a:gd name="connsiteX3023" fmla="*/ 1326384 w 9922465"/>
              <a:gd name="connsiteY3023" fmla="*/ 419345 h 1934496"/>
              <a:gd name="connsiteX3024" fmla="*/ 1381573 w 9922465"/>
              <a:gd name="connsiteY3024" fmla="*/ 364154 h 1934496"/>
              <a:gd name="connsiteX3025" fmla="*/ 1251283 w 9922465"/>
              <a:gd name="connsiteY3025" fmla="*/ 364154 h 1934496"/>
              <a:gd name="connsiteX3026" fmla="*/ 1306476 w 9922465"/>
              <a:gd name="connsiteY3026" fmla="*/ 419345 h 1934496"/>
              <a:gd name="connsiteX3027" fmla="*/ 1251283 w 9922465"/>
              <a:gd name="connsiteY3027" fmla="*/ 474536 h 1934496"/>
              <a:gd name="connsiteX3028" fmla="*/ 1196091 w 9922465"/>
              <a:gd name="connsiteY3028" fmla="*/ 419345 h 1934496"/>
              <a:gd name="connsiteX3029" fmla="*/ 1251283 w 9922465"/>
              <a:gd name="connsiteY3029" fmla="*/ 364154 h 1934496"/>
              <a:gd name="connsiteX3030" fmla="*/ 7608850 w 9922465"/>
              <a:gd name="connsiteY3030" fmla="*/ 247225 h 1934496"/>
              <a:gd name="connsiteX3031" fmla="*/ 7664042 w 9922465"/>
              <a:gd name="connsiteY3031" fmla="*/ 302416 h 1934496"/>
              <a:gd name="connsiteX3032" fmla="*/ 7608850 w 9922465"/>
              <a:gd name="connsiteY3032" fmla="*/ 357607 h 1934496"/>
              <a:gd name="connsiteX3033" fmla="*/ 7553658 w 9922465"/>
              <a:gd name="connsiteY3033" fmla="*/ 302416 h 1934496"/>
              <a:gd name="connsiteX3034" fmla="*/ 7608850 w 9922465"/>
              <a:gd name="connsiteY3034" fmla="*/ 247225 h 1934496"/>
              <a:gd name="connsiteX3035" fmla="*/ 7481898 w 9922465"/>
              <a:gd name="connsiteY3035" fmla="*/ 247225 h 1934496"/>
              <a:gd name="connsiteX3036" fmla="*/ 7537090 w 9922465"/>
              <a:gd name="connsiteY3036" fmla="*/ 302416 h 1934496"/>
              <a:gd name="connsiteX3037" fmla="*/ 7481898 w 9922465"/>
              <a:gd name="connsiteY3037" fmla="*/ 357607 h 1934496"/>
              <a:gd name="connsiteX3038" fmla="*/ 7426706 w 9922465"/>
              <a:gd name="connsiteY3038" fmla="*/ 302416 h 1934496"/>
              <a:gd name="connsiteX3039" fmla="*/ 7481898 w 9922465"/>
              <a:gd name="connsiteY3039" fmla="*/ 247225 h 1934496"/>
              <a:gd name="connsiteX3040" fmla="*/ 5093178 w 9922465"/>
              <a:gd name="connsiteY3040" fmla="*/ 247225 h 1934496"/>
              <a:gd name="connsiteX3041" fmla="*/ 5148370 w 9922465"/>
              <a:gd name="connsiteY3041" fmla="*/ 302416 h 1934496"/>
              <a:gd name="connsiteX3042" fmla="*/ 5093178 w 9922465"/>
              <a:gd name="connsiteY3042" fmla="*/ 357607 h 1934496"/>
              <a:gd name="connsiteX3043" fmla="*/ 5037986 w 9922465"/>
              <a:gd name="connsiteY3043" fmla="*/ 302416 h 1934496"/>
              <a:gd name="connsiteX3044" fmla="*/ 5093178 w 9922465"/>
              <a:gd name="connsiteY3044" fmla="*/ 247225 h 1934496"/>
              <a:gd name="connsiteX3045" fmla="*/ 4030786 w 9922465"/>
              <a:gd name="connsiteY3045" fmla="*/ 247225 h 1934496"/>
              <a:gd name="connsiteX3046" fmla="*/ 4085978 w 9922465"/>
              <a:gd name="connsiteY3046" fmla="*/ 302416 h 1934496"/>
              <a:gd name="connsiteX3047" fmla="*/ 4030786 w 9922465"/>
              <a:gd name="connsiteY3047" fmla="*/ 357607 h 1934496"/>
              <a:gd name="connsiteX3048" fmla="*/ 3975594 w 9922465"/>
              <a:gd name="connsiteY3048" fmla="*/ 302416 h 1934496"/>
              <a:gd name="connsiteX3049" fmla="*/ 4030786 w 9922465"/>
              <a:gd name="connsiteY3049" fmla="*/ 247225 h 1934496"/>
              <a:gd name="connsiteX3050" fmla="*/ 3897148 w 9922465"/>
              <a:gd name="connsiteY3050" fmla="*/ 247225 h 1934496"/>
              <a:gd name="connsiteX3051" fmla="*/ 3952340 w 9922465"/>
              <a:gd name="connsiteY3051" fmla="*/ 302416 h 1934496"/>
              <a:gd name="connsiteX3052" fmla="*/ 3897148 w 9922465"/>
              <a:gd name="connsiteY3052" fmla="*/ 357607 h 1934496"/>
              <a:gd name="connsiteX3053" fmla="*/ 3841956 w 9922465"/>
              <a:gd name="connsiteY3053" fmla="*/ 302416 h 1934496"/>
              <a:gd name="connsiteX3054" fmla="*/ 3897148 w 9922465"/>
              <a:gd name="connsiteY3054" fmla="*/ 247225 h 1934496"/>
              <a:gd name="connsiteX3055" fmla="*/ 3763514 w 9922465"/>
              <a:gd name="connsiteY3055" fmla="*/ 247225 h 1934496"/>
              <a:gd name="connsiteX3056" fmla="*/ 3818706 w 9922465"/>
              <a:gd name="connsiteY3056" fmla="*/ 302416 h 1934496"/>
              <a:gd name="connsiteX3057" fmla="*/ 3763514 w 9922465"/>
              <a:gd name="connsiteY3057" fmla="*/ 357607 h 1934496"/>
              <a:gd name="connsiteX3058" fmla="*/ 3708322 w 9922465"/>
              <a:gd name="connsiteY3058" fmla="*/ 302416 h 1934496"/>
              <a:gd name="connsiteX3059" fmla="*/ 3763514 w 9922465"/>
              <a:gd name="connsiteY3059" fmla="*/ 247225 h 1934496"/>
              <a:gd name="connsiteX3060" fmla="*/ 3633221 w 9922465"/>
              <a:gd name="connsiteY3060" fmla="*/ 247225 h 1934496"/>
              <a:gd name="connsiteX3061" fmla="*/ 3688413 w 9922465"/>
              <a:gd name="connsiteY3061" fmla="*/ 302416 h 1934496"/>
              <a:gd name="connsiteX3062" fmla="*/ 3633221 w 9922465"/>
              <a:gd name="connsiteY3062" fmla="*/ 357607 h 1934496"/>
              <a:gd name="connsiteX3063" fmla="*/ 3578029 w 9922465"/>
              <a:gd name="connsiteY3063" fmla="*/ 302416 h 1934496"/>
              <a:gd name="connsiteX3064" fmla="*/ 3633221 w 9922465"/>
              <a:gd name="connsiteY3064" fmla="*/ 247225 h 1934496"/>
              <a:gd name="connsiteX3065" fmla="*/ 3499589 w 9922465"/>
              <a:gd name="connsiteY3065" fmla="*/ 247225 h 1934496"/>
              <a:gd name="connsiteX3066" fmla="*/ 3554781 w 9922465"/>
              <a:gd name="connsiteY3066" fmla="*/ 302416 h 1934496"/>
              <a:gd name="connsiteX3067" fmla="*/ 3499589 w 9922465"/>
              <a:gd name="connsiteY3067" fmla="*/ 357607 h 1934496"/>
              <a:gd name="connsiteX3068" fmla="*/ 3444397 w 9922465"/>
              <a:gd name="connsiteY3068" fmla="*/ 302416 h 1934496"/>
              <a:gd name="connsiteX3069" fmla="*/ 3499589 w 9922465"/>
              <a:gd name="connsiteY3069" fmla="*/ 247225 h 1934496"/>
              <a:gd name="connsiteX3070" fmla="*/ 3369293 w 9922465"/>
              <a:gd name="connsiteY3070" fmla="*/ 247225 h 1934496"/>
              <a:gd name="connsiteX3071" fmla="*/ 3424485 w 9922465"/>
              <a:gd name="connsiteY3071" fmla="*/ 302416 h 1934496"/>
              <a:gd name="connsiteX3072" fmla="*/ 3369293 w 9922465"/>
              <a:gd name="connsiteY3072" fmla="*/ 357607 h 1934496"/>
              <a:gd name="connsiteX3073" fmla="*/ 3314101 w 9922465"/>
              <a:gd name="connsiteY3073" fmla="*/ 302416 h 1934496"/>
              <a:gd name="connsiteX3074" fmla="*/ 3369293 w 9922465"/>
              <a:gd name="connsiteY3074" fmla="*/ 247225 h 1934496"/>
              <a:gd name="connsiteX3075" fmla="*/ 3235657 w 9922465"/>
              <a:gd name="connsiteY3075" fmla="*/ 247225 h 1934496"/>
              <a:gd name="connsiteX3076" fmla="*/ 3290849 w 9922465"/>
              <a:gd name="connsiteY3076" fmla="*/ 302416 h 1934496"/>
              <a:gd name="connsiteX3077" fmla="*/ 3235657 w 9922465"/>
              <a:gd name="connsiteY3077" fmla="*/ 357607 h 1934496"/>
              <a:gd name="connsiteX3078" fmla="*/ 3180465 w 9922465"/>
              <a:gd name="connsiteY3078" fmla="*/ 302416 h 1934496"/>
              <a:gd name="connsiteX3079" fmla="*/ 3235657 w 9922465"/>
              <a:gd name="connsiteY3079" fmla="*/ 247225 h 1934496"/>
              <a:gd name="connsiteX3080" fmla="*/ 3098682 w 9922465"/>
              <a:gd name="connsiteY3080" fmla="*/ 247225 h 1934496"/>
              <a:gd name="connsiteX3081" fmla="*/ 3153874 w 9922465"/>
              <a:gd name="connsiteY3081" fmla="*/ 302416 h 1934496"/>
              <a:gd name="connsiteX3082" fmla="*/ 3098682 w 9922465"/>
              <a:gd name="connsiteY3082" fmla="*/ 357607 h 1934496"/>
              <a:gd name="connsiteX3083" fmla="*/ 3043490 w 9922465"/>
              <a:gd name="connsiteY3083" fmla="*/ 302416 h 1934496"/>
              <a:gd name="connsiteX3084" fmla="*/ 3098682 w 9922465"/>
              <a:gd name="connsiteY3084" fmla="*/ 247225 h 1934496"/>
              <a:gd name="connsiteX3085" fmla="*/ 2971729 w 9922465"/>
              <a:gd name="connsiteY3085" fmla="*/ 247225 h 1934496"/>
              <a:gd name="connsiteX3086" fmla="*/ 3026921 w 9922465"/>
              <a:gd name="connsiteY3086" fmla="*/ 302416 h 1934496"/>
              <a:gd name="connsiteX3087" fmla="*/ 2971729 w 9922465"/>
              <a:gd name="connsiteY3087" fmla="*/ 357607 h 1934496"/>
              <a:gd name="connsiteX3088" fmla="*/ 2916537 w 9922465"/>
              <a:gd name="connsiteY3088" fmla="*/ 302416 h 1934496"/>
              <a:gd name="connsiteX3089" fmla="*/ 2971729 w 9922465"/>
              <a:gd name="connsiteY3089" fmla="*/ 247225 h 1934496"/>
              <a:gd name="connsiteX3090" fmla="*/ 2834862 w 9922465"/>
              <a:gd name="connsiteY3090" fmla="*/ 247225 h 1934496"/>
              <a:gd name="connsiteX3091" fmla="*/ 2890052 w 9922465"/>
              <a:gd name="connsiteY3091" fmla="*/ 302416 h 1934496"/>
              <a:gd name="connsiteX3092" fmla="*/ 2834862 w 9922465"/>
              <a:gd name="connsiteY3092" fmla="*/ 357607 h 1934496"/>
              <a:gd name="connsiteX3093" fmla="*/ 2779671 w 9922465"/>
              <a:gd name="connsiteY3093" fmla="*/ 302416 h 1934496"/>
              <a:gd name="connsiteX3094" fmla="*/ 2834862 w 9922465"/>
              <a:gd name="connsiteY3094" fmla="*/ 247225 h 1934496"/>
              <a:gd name="connsiteX3095" fmla="*/ 2570933 w 9922465"/>
              <a:gd name="connsiteY3095" fmla="*/ 247225 h 1934496"/>
              <a:gd name="connsiteX3096" fmla="*/ 2626123 w 9922465"/>
              <a:gd name="connsiteY3096" fmla="*/ 302416 h 1934496"/>
              <a:gd name="connsiteX3097" fmla="*/ 2570933 w 9922465"/>
              <a:gd name="connsiteY3097" fmla="*/ 357607 h 1934496"/>
              <a:gd name="connsiteX3098" fmla="*/ 2515738 w 9922465"/>
              <a:gd name="connsiteY3098" fmla="*/ 302416 h 1934496"/>
              <a:gd name="connsiteX3099" fmla="*/ 2570933 w 9922465"/>
              <a:gd name="connsiteY3099" fmla="*/ 247225 h 1934496"/>
              <a:gd name="connsiteX3100" fmla="*/ 2437297 w 9922465"/>
              <a:gd name="connsiteY3100" fmla="*/ 247225 h 1934496"/>
              <a:gd name="connsiteX3101" fmla="*/ 2492487 w 9922465"/>
              <a:gd name="connsiteY3101" fmla="*/ 302416 h 1934496"/>
              <a:gd name="connsiteX3102" fmla="*/ 2437297 w 9922465"/>
              <a:gd name="connsiteY3102" fmla="*/ 357607 h 1934496"/>
              <a:gd name="connsiteX3103" fmla="*/ 2382108 w 9922465"/>
              <a:gd name="connsiteY3103" fmla="*/ 302416 h 1934496"/>
              <a:gd name="connsiteX3104" fmla="*/ 2437297 w 9922465"/>
              <a:gd name="connsiteY3104" fmla="*/ 247225 h 1934496"/>
              <a:gd name="connsiteX3105" fmla="*/ 2303666 w 9922465"/>
              <a:gd name="connsiteY3105" fmla="*/ 247225 h 1934496"/>
              <a:gd name="connsiteX3106" fmla="*/ 2358856 w 9922465"/>
              <a:gd name="connsiteY3106" fmla="*/ 302416 h 1934496"/>
              <a:gd name="connsiteX3107" fmla="*/ 2303666 w 9922465"/>
              <a:gd name="connsiteY3107" fmla="*/ 357607 h 1934496"/>
              <a:gd name="connsiteX3108" fmla="*/ 2248473 w 9922465"/>
              <a:gd name="connsiteY3108" fmla="*/ 302416 h 1934496"/>
              <a:gd name="connsiteX3109" fmla="*/ 2303666 w 9922465"/>
              <a:gd name="connsiteY3109" fmla="*/ 247225 h 1934496"/>
              <a:gd name="connsiteX3110" fmla="*/ 2173372 w 9922465"/>
              <a:gd name="connsiteY3110" fmla="*/ 247225 h 1934496"/>
              <a:gd name="connsiteX3111" fmla="*/ 2228566 w 9922465"/>
              <a:gd name="connsiteY3111" fmla="*/ 302416 h 1934496"/>
              <a:gd name="connsiteX3112" fmla="*/ 2173372 w 9922465"/>
              <a:gd name="connsiteY3112" fmla="*/ 357607 h 1934496"/>
              <a:gd name="connsiteX3113" fmla="*/ 2118180 w 9922465"/>
              <a:gd name="connsiteY3113" fmla="*/ 302416 h 1934496"/>
              <a:gd name="connsiteX3114" fmla="*/ 2173372 w 9922465"/>
              <a:gd name="connsiteY3114" fmla="*/ 247225 h 1934496"/>
              <a:gd name="connsiteX3115" fmla="*/ 1909440 w 9922465"/>
              <a:gd name="connsiteY3115" fmla="*/ 247225 h 1934496"/>
              <a:gd name="connsiteX3116" fmla="*/ 1964634 w 9922465"/>
              <a:gd name="connsiteY3116" fmla="*/ 302416 h 1934496"/>
              <a:gd name="connsiteX3117" fmla="*/ 1909440 w 9922465"/>
              <a:gd name="connsiteY3117" fmla="*/ 357607 h 1934496"/>
              <a:gd name="connsiteX3118" fmla="*/ 1854246 w 9922465"/>
              <a:gd name="connsiteY3118" fmla="*/ 302416 h 1934496"/>
              <a:gd name="connsiteX3119" fmla="*/ 1909440 w 9922465"/>
              <a:gd name="connsiteY3119" fmla="*/ 247225 h 1934496"/>
              <a:gd name="connsiteX3120" fmla="*/ 1779142 w 9922465"/>
              <a:gd name="connsiteY3120" fmla="*/ 247225 h 1934496"/>
              <a:gd name="connsiteX3121" fmla="*/ 1834337 w 9922465"/>
              <a:gd name="connsiteY3121" fmla="*/ 302416 h 1934496"/>
              <a:gd name="connsiteX3122" fmla="*/ 1779142 w 9922465"/>
              <a:gd name="connsiteY3122" fmla="*/ 357607 h 1934496"/>
              <a:gd name="connsiteX3123" fmla="*/ 1723951 w 9922465"/>
              <a:gd name="connsiteY3123" fmla="*/ 302416 h 1934496"/>
              <a:gd name="connsiteX3124" fmla="*/ 1779142 w 9922465"/>
              <a:gd name="connsiteY3124" fmla="*/ 247225 h 1934496"/>
              <a:gd name="connsiteX3125" fmla="*/ 1645508 w 9922465"/>
              <a:gd name="connsiteY3125" fmla="*/ 247225 h 1934496"/>
              <a:gd name="connsiteX3126" fmla="*/ 1700702 w 9922465"/>
              <a:gd name="connsiteY3126" fmla="*/ 302416 h 1934496"/>
              <a:gd name="connsiteX3127" fmla="*/ 1645508 w 9922465"/>
              <a:gd name="connsiteY3127" fmla="*/ 357607 h 1934496"/>
              <a:gd name="connsiteX3128" fmla="*/ 1590313 w 9922465"/>
              <a:gd name="connsiteY3128" fmla="*/ 302416 h 1934496"/>
              <a:gd name="connsiteX3129" fmla="*/ 1645508 w 9922465"/>
              <a:gd name="connsiteY3129" fmla="*/ 247225 h 1934496"/>
              <a:gd name="connsiteX3130" fmla="*/ 1515217 w 9922465"/>
              <a:gd name="connsiteY3130" fmla="*/ 247225 h 1934496"/>
              <a:gd name="connsiteX3131" fmla="*/ 1570405 w 9922465"/>
              <a:gd name="connsiteY3131" fmla="*/ 302416 h 1934496"/>
              <a:gd name="connsiteX3132" fmla="*/ 1515217 w 9922465"/>
              <a:gd name="connsiteY3132" fmla="*/ 357607 h 1934496"/>
              <a:gd name="connsiteX3133" fmla="*/ 1460020 w 9922465"/>
              <a:gd name="connsiteY3133" fmla="*/ 302416 h 1934496"/>
              <a:gd name="connsiteX3134" fmla="*/ 1515217 w 9922465"/>
              <a:gd name="connsiteY3134" fmla="*/ 247225 h 1934496"/>
              <a:gd name="connsiteX3135" fmla="*/ 1381573 w 9922465"/>
              <a:gd name="connsiteY3135" fmla="*/ 247225 h 1934496"/>
              <a:gd name="connsiteX3136" fmla="*/ 1436767 w 9922465"/>
              <a:gd name="connsiteY3136" fmla="*/ 302416 h 1934496"/>
              <a:gd name="connsiteX3137" fmla="*/ 1381573 w 9922465"/>
              <a:gd name="connsiteY3137" fmla="*/ 357607 h 1934496"/>
              <a:gd name="connsiteX3138" fmla="*/ 1326384 w 9922465"/>
              <a:gd name="connsiteY3138" fmla="*/ 302416 h 1934496"/>
              <a:gd name="connsiteX3139" fmla="*/ 1381573 w 9922465"/>
              <a:gd name="connsiteY3139" fmla="*/ 247225 h 1934496"/>
              <a:gd name="connsiteX3140" fmla="*/ 7481898 w 9922465"/>
              <a:gd name="connsiteY3140" fmla="*/ 120271 h 1934496"/>
              <a:gd name="connsiteX3141" fmla="*/ 7537090 w 9922465"/>
              <a:gd name="connsiteY3141" fmla="*/ 175462 h 1934496"/>
              <a:gd name="connsiteX3142" fmla="*/ 7481898 w 9922465"/>
              <a:gd name="connsiteY3142" fmla="*/ 230653 h 1934496"/>
              <a:gd name="connsiteX3143" fmla="*/ 7426706 w 9922465"/>
              <a:gd name="connsiteY3143" fmla="*/ 175462 h 1934496"/>
              <a:gd name="connsiteX3144" fmla="*/ 7481898 w 9922465"/>
              <a:gd name="connsiteY3144" fmla="*/ 120271 h 1934496"/>
              <a:gd name="connsiteX3145" fmla="*/ 7341580 w 9922465"/>
              <a:gd name="connsiteY3145" fmla="*/ 120271 h 1934496"/>
              <a:gd name="connsiteX3146" fmla="*/ 7396772 w 9922465"/>
              <a:gd name="connsiteY3146" fmla="*/ 175462 h 1934496"/>
              <a:gd name="connsiteX3147" fmla="*/ 7341580 w 9922465"/>
              <a:gd name="connsiteY3147" fmla="*/ 230653 h 1934496"/>
              <a:gd name="connsiteX3148" fmla="*/ 7286388 w 9922465"/>
              <a:gd name="connsiteY3148" fmla="*/ 175462 h 1934496"/>
              <a:gd name="connsiteX3149" fmla="*/ 7341580 w 9922465"/>
              <a:gd name="connsiteY3149" fmla="*/ 120271 h 1934496"/>
              <a:gd name="connsiteX3150" fmla="*/ 7211288 w 9922465"/>
              <a:gd name="connsiteY3150" fmla="*/ 120271 h 1934496"/>
              <a:gd name="connsiteX3151" fmla="*/ 7266480 w 9922465"/>
              <a:gd name="connsiteY3151" fmla="*/ 175462 h 1934496"/>
              <a:gd name="connsiteX3152" fmla="*/ 7211288 w 9922465"/>
              <a:gd name="connsiteY3152" fmla="*/ 230653 h 1934496"/>
              <a:gd name="connsiteX3153" fmla="*/ 7156096 w 9922465"/>
              <a:gd name="connsiteY3153" fmla="*/ 175462 h 1934496"/>
              <a:gd name="connsiteX3154" fmla="*/ 7211288 w 9922465"/>
              <a:gd name="connsiteY3154" fmla="*/ 120271 h 1934496"/>
              <a:gd name="connsiteX3155" fmla="*/ 5223474 w 9922465"/>
              <a:gd name="connsiteY3155" fmla="*/ 120271 h 1934496"/>
              <a:gd name="connsiteX3156" fmla="*/ 5278666 w 9922465"/>
              <a:gd name="connsiteY3156" fmla="*/ 175462 h 1934496"/>
              <a:gd name="connsiteX3157" fmla="*/ 5223474 w 9922465"/>
              <a:gd name="connsiteY3157" fmla="*/ 230653 h 1934496"/>
              <a:gd name="connsiteX3158" fmla="*/ 5168282 w 9922465"/>
              <a:gd name="connsiteY3158" fmla="*/ 175462 h 1934496"/>
              <a:gd name="connsiteX3159" fmla="*/ 5223474 w 9922465"/>
              <a:gd name="connsiteY3159" fmla="*/ 120271 h 1934496"/>
              <a:gd name="connsiteX3160" fmla="*/ 5093178 w 9922465"/>
              <a:gd name="connsiteY3160" fmla="*/ 120271 h 1934496"/>
              <a:gd name="connsiteX3161" fmla="*/ 5148370 w 9922465"/>
              <a:gd name="connsiteY3161" fmla="*/ 175462 h 1934496"/>
              <a:gd name="connsiteX3162" fmla="*/ 5093178 w 9922465"/>
              <a:gd name="connsiteY3162" fmla="*/ 230653 h 1934496"/>
              <a:gd name="connsiteX3163" fmla="*/ 5037986 w 9922465"/>
              <a:gd name="connsiteY3163" fmla="*/ 175462 h 1934496"/>
              <a:gd name="connsiteX3164" fmla="*/ 5093178 w 9922465"/>
              <a:gd name="connsiteY3164" fmla="*/ 120271 h 1934496"/>
              <a:gd name="connsiteX3165" fmla="*/ 4161077 w 9922465"/>
              <a:gd name="connsiteY3165" fmla="*/ 120271 h 1934496"/>
              <a:gd name="connsiteX3166" fmla="*/ 4216269 w 9922465"/>
              <a:gd name="connsiteY3166" fmla="*/ 175462 h 1934496"/>
              <a:gd name="connsiteX3167" fmla="*/ 4161077 w 9922465"/>
              <a:gd name="connsiteY3167" fmla="*/ 230653 h 1934496"/>
              <a:gd name="connsiteX3168" fmla="*/ 4105885 w 9922465"/>
              <a:gd name="connsiteY3168" fmla="*/ 175462 h 1934496"/>
              <a:gd name="connsiteX3169" fmla="*/ 4161077 w 9922465"/>
              <a:gd name="connsiteY3169" fmla="*/ 120271 h 1934496"/>
              <a:gd name="connsiteX3170" fmla="*/ 4030786 w 9922465"/>
              <a:gd name="connsiteY3170" fmla="*/ 120271 h 1934496"/>
              <a:gd name="connsiteX3171" fmla="*/ 4085978 w 9922465"/>
              <a:gd name="connsiteY3171" fmla="*/ 175462 h 1934496"/>
              <a:gd name="connsiteX3172" fmla="*/ 4030786 w 9922465"/>
              <a:gd name="connsiteY3172" fmla="*/ 230653 h 1934496"/>
              <a:gd name="connsiteX3173" fmla="*/ 3975594 w 9922465"/>
              <a:gd name="connsiteY3173" fmla="*/ 175462 h 1934496"/>
              <a:gd name="connsiteX3174" fmla="*/ 4030786 w 9922465"/>
              <a:gd name="connsiteY3174" fmla="*/ 120271 h 1934496"/>
              <a:gd name="connsiteX3175" fmla="*/ 3897148 w 9922465"/>
              <a:gd name="connsiteY3175" fmla="*/ 120271 h 1934496"/>
              <a:gd name="connsiteX3176" fmla="*/ 3952340 w 9922465"/>
              <a:gd name="connsiteY3176" fmla="*/ 175462 h 1934496"/>
              <a:gd name="connsiteX3177" fmla="*/ 3897148 w 9922465"/>
              <a:gd name="connsiteY3177" fmla="*/ 230653 h 1934496"/>
              <a:gd name="connsiteX3178" fmla="*/ 3841956 w 9922465"/>
              <a:gd name="connsiteY3178" fmla="*/ 175462 h 1934496"/>
              <a:gd name="connsiteX3179" fmla="*/ 3897148 w 9922465"/>
              <a:gd name="connsiteY3179" fmla="*/ 120271 h 1934496"/>
              <a:gd name="connsiteX3180" fmla="*/ 3763514 w 9922465"/>
              <a:gd name="connsiteY3180" fmla="*/ 120271 h 1934496"/>
              <a:gd name="connsiteX3181" fmla="*/ 3818706 w 9922465"/>
              <a:gd name="connsiteY3181" fmla="*/ 175462 h 1934496"/>
              <a:gd name="connsiteX3182" fmla="*/ 3763514 w 9922465"/>
              <a:gd name="connsiteY3182" fmla="*/ 230653 h 1934496"/>
              <a:gd name="connsiteX3183" fmla="*/ 3708322 w 9922465"/>
              <a:gd name="connsiteY3183" fmla="*/ 175462 h 1934496"/>
              <a:gd name="connsiteX3184" fmla="*/ 3763514 w 9922465"/>
              <a:gd name="connsiteY3184" fmla="*/ 120271 h 1934496"/>
              <a:gd name="connsiteX3185" fmla="*/ 3633221 w 9922465"/>
              <a:gd name="connsiteY3185" fmla="*/ 120271 h 1934496"/>
              <a:gd name="connsiteX3186" fmla="*/ 3688413 w 9922465"/>
              <a:gd name="connsiteY3186" fmla="*/ 175462 h 1934496"/>
              <a:gd name="connsiteX3187" fmla="*/ 3633221 w 9922465"/>
              <a:gd name="connsiteY3187" fmla="*/ 230653 h 1934496"/>
              <a:gd name="connsiteX3188" fmla="*/ 3578029 w 9922465"/>
              <a:gd name="connsiteY3188" fmla="*/ 175462 h 1934496"/>
              <a:gd name="connsiteX3189" fmla="*/ 3633221 w 9922465"/>
              <a:gd name="connsiteY3189" fmla="*/ 120271 h 1934496"/>
              <a:gd name="connsiteX3190" fmla="*/ 3499589 w 9922465"/>
              <a:gd name="connsiteY3190" fmla="*/ 120271 h 1934496"/>
              <a:gd name="connsiteX3191" fmla="*/ 3554781 w 9922465"/>
              <a:gd name="connsiteY3191" fmla="*/ 175462 h 1934496"/>
              <a:gd name="connsiteX3192" fmla="*/ 3499589 w 9922465"/>
              <a:gd name="connsiteY3192" fmla="*/ 230653 h 1934496"/>
              <a:gd name="connsiteX3193" fmla="*/ 3444397 w 9922465"/>
              <a:gd name="connsiteY3193" fmla="*/ 175462 h 1934496"/>
              <a:gd name="connsiteX3194" fmla="*/ 3499589 w 9922465"/>
              <a:gd name="connsiteY3194" fmla="*/ 120271 h 1934496"/>
              <a:gd name="connsiteX3195" fmla="*/ 3369293 w 9922465"/>
              <a:gd name="connsiteY3195" fmla="*/ 120271 h 1934496"/>
              <a:gd name="connsiteX3196" fmla="*/ 3424485 w 9922465"/>
              <a:gd name="connsiteY3196" fmla="*/ 175462 h 1934496"/>
              <a:gd name="connsiteX3197" fmla="*/ 3369293 w 9922465"/>
              <a:gd name="connsiteY3197" fmla="*/ 230653 h 1934496"/>
              <a:gd name="connsiteX3198" fmla="*/ 3314101 w 9922465"/>
              <a:gd name="connsiteY3198" fmla="*/ 175462 h 1934496"/>
              <a:gd name="connsiteX3199" fmla="*/ 3369293 w 9922465"/>
              <a:gd name="connsiteY3199" fmla="*/ 120271 h 1934496"/>
              <a:gd name="connsiteX3200" fmla="*/ 3235657 w 9922465"/>
              <a:gd name="connsiteY3200" fmla="*/ 120271 h 1934496"/>
              <a:gd name="connsiteX3201" fmla="*/ 3290849 w 9922465"/>
              <a:gd name="connsiteY3201" fmla="*/ 175462 h 1934496"/>
              <a:gd name="connsiteX3202" fmla="*/ 3235657 w 9922465"/>
              <a:gd name="connsiteY3202" fmla="*/ 230653 h 1934496"/>
              <a:gd name="connsiteX3203" fmla="*/ 3180465 w 9922465"/>
              <a:gd name="connsiteY3203" fmla="*/ 175462 h 1934496"/>
              <a:gd name="connsiteX3204" fmla="*/ 3235657 w 9922465"/>
              <a:gd name="connsiteY3204" fmla="*/ 120271 h 1934496"/>
              <a:gd name="connsiteX3205" fmla="*/ 3098682 w 9922465"/>
              <a:gd name="connsiteY3205" fmla="*/ 120271 h 1934496"/>
              <a:gd name="connsiteX3206" fmla="*/ 3153874 w 9922465"/>
              <a:gd name="connsiteY3206" fmla="*/ 175462 h 1934496"/>
              <a:gd name="connsiteX3207" fmla="*/ 3098682 w 9922465"/>
              <a:gd name="connsiteY3207" fmla="*/ 230653 h 1934496"/>
              <a:gd name="connsiteX3208" fmla="*/ 3043490 w 9922465"/>
              <a:gd name="connsiteY3208" fmla="*/ 175462 h 1934496"/>
              <a:gd name="connsiteX3209" fmla="*/ 3098682 w 9922465"/>
              <a:gd name="connsiteY3209" fmla="*/ 120271 h 1934496"/>
              <a:gd name="connsiteX3210" fmla="*/ 2971729 w 9922465"/>
              <a:gd name="connsiteY3210" fmla="*/ 120271 h 1934496"/>
              <a:gd name="connsiteX3211" fmla="*/ 3026921 w 9922465"/>
              <a:gd name="connsiteY3211" fmla="*/ 175462 h 1934496"/>
              <a:gd name="connsiteX3212" fmla="*/ 2971729 w 9922465"/>
              <a:gd name="connsiteY3212" fmla="*/ 230653 h 1934496"/>
              <a:gd name="connsiteX3213" fmla="*/ 2916537 w 9922465"/>
              <a:gd name="connsiteY3213" fmla="*/ 175462 h 1934496"/>
              <a:gd name="connsiteX3214" fmla="*/ 2971729 w 9922465"/>
              <a:gd name="connsiteY3214" fmla="*/ 120271 h 1934496"/>
              <a:gd name="connsiteX3215" fmla="*/ 2707903 w 9922465"/>
              <a:gd name="connsiteY3215" fmla="*/ 120271 h 1934496"/>
              <a:gd name="connsiteX3216" fmla="*/ 2763100 w 9922465"/>
              <a:gd name="connsiteY3216" fmla="*/ 175462 h 1934496"/>
              <a:gd name="connsiteX3217" fmla="*/ 2707903 w 9922465"/>
              <a:gd name="connsiteY3217" fmla="*/ 230653 h 1934496"/>
              <a:gd name="connsiteX3218" fmla="*/ 2652715 w 9922465"/>
              <a:gd name="connsiteY3218" fmla="*/ 175462 h 1934496"/>
              <a:gd name="connsiteX3219" fmla="*/ 2707903 w 9922465"/>
              <a:gd name="connsiteY3219" fmla="*/ 120271 h 1934496"/>
              <a:gd name="connsiteX3220" fmla="*/ 2570933 w 9922465"/>
              <a:gd name="connsiteY3220" fmla="*/ 120271 h 1934496"/>
              <a:gd name="connsiteX3221" fmla="*/ 2626123 w 9922465"/>
              <a:gd name="connsiteY3221" fmla="*/ 175462 h 1934496"/>
              <a:gd name="connsiteX3222" fmla="*/ 2570933 w 9922465"/>
              <a:gd name="connsiteY3222" fmla="*/ 230653 h 1934496"/>
              <a:gd name="connsiteX3223" fmla="*/ 2515738 w 9922465"/>
              <a:gd name="connsiteY3223" fmla="*/ 175462 h 1934496"/>
              <a:gd name="connsiteX3224" fmla="*/ 2570933 w 9922465"/>
              <a:gd name="connsiteY3224" fmla="*/ 120271 h 1934496"/>
              <a:gd name="connsiteX3225" fmla="*/ 2437297 w 9922465"/>
              <a:gd name="connsiteY3225" fmla="*/ 120271 h 1934496"/>
              <a:gd name="connsiteX3226" fmla="*/ 2492487 w 9922465"/>
              <a:gd name="connsiteY3226" fmla="*/ 175462 h 1934496"/>
              <a:gd name="connsiteX3227" fmla="*/ 2437297 w 9922465"/>
              <a:gd name="connsiteY3227" fmla="*/ 230653 h 1934496"/>
              <a:gd name="connsiteX3228" fmla="*/ 2382108 w 9922465"/>
              <a:gd name="connsiteY3228" fmla="*/ 175462 h 1934496"/>
              <a:gd name="connsiteX3229" fmla="*/ 2437297 w 9922465"/>
              <a:gd name="connsiteY3229" fmla="*/ 120271 h 1934496"/>
              <a:gd name="connsiteX3230" fmla="*/ 2303666 w 9922465"/>
              <a:gd name="connsiteY3230" fmla="*/ 120271 h 1934496"/>
              <a:gd name="connsiteX3231" fmla="*/ 2358856 w 9922465"/>
              <a:gd name="connsiteY3231" fmla="*/ 175462 h 1934496"/>
              <a:gd name="connsiteX3232" fmla="*/ 2303666 w 9922465"/>
              <a:gd name="connsiteY3232" fmla="*/ 230653 h 1934496"/>
              <a:gd name="connsiteX3233" fmla="*/ 2248473 w 9922465"/>
              <a:gd name="connsiteY3233" fmla="*/ 175462 h 1934496"/>
              <a:gd name="connsiteX3234" fmla="*/ 2303666 w 9922465"/>
              <a:gd name="connsiteY3234" fmla="*/ 120271 h 1934496"/>
              <a:gd name="connsiteX3235" fmla="*/ 2173372 w 9922465"/>
              <a:gd name="connsiteY3235" fmla="*/ 120271 h 1934496"/>
              <a:gd name="connsiteX3236" fmla="*/ 2228566 w 9922465"/>
              <a:gd name="connsiteY3236" fmla="*/ 175462 h 1934496"/>
              <a:gd name="connsiteX3237" fmla="*/ 2173372 w 9922465"/>
              <a:gd name="connsiteY3237" fmla="*/ 230653 h 1934496"/>
              <a:gd name="connsiteX3238" fmla="*/ 2118180 w 9922465"/>
              <a:gd name="connsiteY3238" fmla="*/ 175462 h 1934496"/>
              <a:gd name="connsiteX3239" fmla="*/ 2173372 w 9922465"/>
              <a:gd name="connsiteY3239" fmla="*/ 120271 h 1934496"/>
              <a:gd name="connsiteX3240" fmla="*/ 7341580 w 9922465"/>
              <a:gd name="connsiteY3240" fmla="*/ 0 h 1934496"/>
              <a:gd name="connsiteX3241" fmla="*/ 7396772 w 9922465"/>
              <a:gd name="connsiteY3241" fmla="*/ 55191 h 1934496"/>
              <a:gd name="connsiteX3242" fmla="*/ 7341580 w 9922465"/>
              <a:gd name="connsiteY3242" fmla="*/ 110382 h 1934496"/>
              <a:gd name="connsiteX3243" fmla="*/ 7286388 w 9922465"/>
              <a:gd name="connsiteY3243" fmla="*/ 55191 h 1934496"/>
              <a:gd name="connsiteX3244" fmla="*/ 7341580 w 9922465"/>
              <a:gd name="connsiteY3244" fmla="*/ 0 h 1934496"/>
              <a:gd name="connsiteX3245" fmla="*/ 4294713 w 9922465"/>
              <a:gd name="connsiteY3245" fmla="*/ 0 h 1934496"/>
              <a:gd name="connsiteX3246" fmla="*/ 4349905 w 9922465"/>
              <a:gd name="connsiteY3246" fmla="*/ 55191 h 1934496"/>
              <a:gd name="connsiteX3247" fmla="*/ 4294713 w 9922465"/>
              <a:gd name="connsiteY3247" fmla="*/ 110382 h 1934496"/>
              <a:gd name="connsiteX3248" fmla="*/ 4239521 w 9922465"/>
              <a:gd name="connsiteY3248" fmla="*/ 55191 h 1934496"/>
              <a:gd name="connsiteX3249" fmla="*/ 4294713 w 9922465"/>
              <a:gd name="connsiteY3249" fmla="*/ 0 h 1934496"/>
              <a:gd name="connsiteX3250" fmla="*/ 4161077 w 9922465"/>
              <a:gd name="connsiteY3250" fmla="*/ 0 h 1934496"/>
              <a:gd name="connsiteX3251" fmla="*/ 4216269 w 9922465"/>
              <a:gd name="connsiteY3251" fmla="*/ 55191 h 1934496"/>
              <a:gd name="connsiteX3252" fmla="*/ 4161077 w 9922465"/>
              <a:gd name="connsiteY3252" fmla="*/ 110382 h 1934496"/>
              <a:gd name="connsiteX3253" fmla="*/ 4105885 w 9922465"/>
              <a:gd name="connsiteY3253" fmla="*/ 55191 h 1934496"/>
              <a:gd name="connsiteX3254" fmla="*/ 4161077 w 9922465"/>
              <a:gd name="connsiteY3254" fmla="*/ 0 h 1934496"/>
              <a:gd name="connsiteX3255" fmla="*/ 4030786 w 9922465"/>
              <a:gd name="connsiteY3255" fmla="*/ 0 h 1934496"/>
              <a:gd name="connsiteX3256" fmla="*/ 4085978 w 9922465"/>
              <a:gd name="connsiteY3256" fmla="*/ 55191 h 1934496"/>
              <a:gd name="connsiteX3257" fmla="*/ 4030786 w 9922465"/>
              <a:gd name="connsiteY3257" fmla="*/ 110382 h 1934496"/>
              <a:gd name="connsiteX3258" fmla="*/ 3975594 w 9922465"/>
              <a:gd name="connsiteY3258" fmla="*/ 55191 h 1934496"/>
              <a:gd name="connsiteX3259" fmla="*/ 4030786 w 9922465"/>
              <a:gd name="connsiteY3259" fmla="*/ 0 h 1934496"/>
              <a:gd name="connsiteX3260" fmla="*/ 3897148 w 9922465"/>
              <a:gd name="connsiteY3260" fmla="*/ 0 h 1934496"/>
              <a:gd name="connsiteX3261" fmla="*/ 3952340 w 9922465"/>
              <a:gd name="connsiteY3261" fmla="*/ 55191 h 1934496"/>
              <a:gd name="connsiteX3262" fmla="*/ 3897148 w 9922465"/>
              <a:gd name="connsiteY3262" fmla="*/ 110382 h 1934496"/>
              <a:gd name="connsiteX3263" fmla="*/ 3841956 w 9922465"/>
              <a:gd name="connsiteY3263" fmla="*/ 55191 h 1934496"/>
              <a:gd name="connsiteX3264" fmla="*/ 3897148 w 9922465"/>
              <a:gd name="connsiteY3264" fmla="*/ 0 h 1934496"/>
              <a:gd name="connsiteX3265" fmla="*/ 3763514 w 9922465"/>
              <a:gd name="connsiteY3265" fmla="*/ 0 h 1934496"/>
              <a:gd name="connsiteX3266" fmla="*/ 3818706 w 9922465"/>
              <a:gd name="connsiteY3266" fmla="*/ 55191 h 1934496"/>
              <a:gd name="connsiteX3267" fmla="*/ 3763514 w 9922465"/>
              <a:gd name="connsiteY3267" fmla="*/ 110382 h 1934496"/>
              <a:gd name="connsiteX3268" fmla="*/ 3708322 w 9922465"/>
              <a:gd name="connsiteY3268" fmla="*/ 55191 h 1934496"/>
              <a:gd name="connsiteX3269" fmla="*/ 3763514 w 9922465"/>
              <a:gd name="connsiteY3269" fmla="*/ 0 h 1934496"/>
              <a:gd name="connsiteX3270" fmla="*/ 3633221 w 9922465"/>
              <a:gd name="connsiteY3270" fmla="*/ 0 h 1934496"/>
              <a:gd name="connsiteX3271" fmla="*/ 3688413 w 9922465"/>
              <a:gd name="connsiteY3271" fmla="*/ 55191 h 1934496"/>
              <a:gd name="connsiteX3272" fmla="*/ 3633221 w 9922465"/>
              <a:gd name="connsiteY3272" fmla="*/ 110382 h 1934496"/>
              <a:gd name="connsiteX3273" fmla="*/ 3578029 w 9922465"/>
              <a:gd name="connsiteY3273" fmla="*/ 55191 h 1934496"/>
              <a:gd name="connsiteX3274" fmla="*/ 3633221 w 9922465"/>
              <a:gd name="connsiteY3274" fmla="*/ 0 h 1934496"/>
              <a:gd name="connsiteX3275" fmla="*/ 3499589 w 9922465"/>
              <a:gd name="connsiteY3275" fmla="*/ 0 h 1934496"/>
              <a:gd name="connsiteX3276" fmla="*/ 3554781 w 9922465"/>
              <a:gd name="connsiteY3276" fmla="*/ 55191 h 1934496"/>
              <a:gd name="connsiteX3277" fmla="*/ 3499589 w 9922465"/>
              <a:gd name="connsiteY3277" fmla="*/ 110382 h 1934496"/>
              <a:gd name="connsiteX3278" fmla="*/ 3444397 w 9922465"/>
              <a:gd name="connsiteY3278" fmla="*/ 55191 h 1934496"/>
              <a:gd name="connsiteX3279" fmla="*/ 3499589 w 9922465"/>
              <a:gd name="connsiteY3279" fmla="*/ 0 h 1934496"/>
              <a:gd name="connsiteX3280" fmla="*/ 3369293 w 9922465"/>
              <a:gd name="connsiteY3280" fmla="*/ 0 h 1934496"/>
              <a:gd name="connsiteX3281" fmla="*/ 3424485 w 9922465"/>
              <a:gd name="connsiteY3281" fmla="*/ 55191 h 1934496"/>
              <a:gd name="connsiteX3282" fmla="*/ 3369293 w 9922465"/>
              <a:gd name="connsiteY3282" fmla="*/ 110382 h 1934496"/>
              <a:gd name="connsiteX3283" fmla="*/ 3314101 w 9922465"/>
              <a:gd name="connsiteY3283" fmla="*/ 55191 h 1934496"/>
              <a:gd name="connsiteX3284" fmla="*/ 3369293 w 9922465"/>
              <a:gd name="connsiteY3284" fmla="*/ 0 h 1934496"/>
              <a:gd name="connsiteX3285" fmla="*/ 3235657 w 9922465"/>
              <a:gd name="connsiteY3285" fmla="*/ 0 h 1934496"/>
              <a:gd name="connsiteX3286" fmla="*/ 3290849 w 9922465"/>
              <a:gd name="connsiteY3286" fmla="*/ 55191 h 1934496"/>
              <a:gd name="connsiteX3287" fmla="*/ 3235657 w 9922465"/>
              <a:gd name="connsiteY3287" fmla="*/ 110382 h 1934496"/>
              <a:gd name="connsiteX3288" fmla="*/ 3180465 w 9922465"/>
              <a:gd name="connsiteY3288" fmla="*/ 55191 h 1934496"/>
              <a:gd name="connsiteX3289" fmla="*/ 3235657 w 9922465"/>
              <a:gd name="connsiteY3289" fmla="*/ 0 h 1934496"/>
              <a:gd name="connsiteX3290" fmla="*/ 2834862 w 9922465"/>
              <a:gd name="connsiteY3290" fmla="*/ 0 h 1934496"/>
              <a:gd name="connsiteX3291" fmla="*/ 2890052 w 9922465"/>
              <a:gd name="connsiteY3291" fmla="*/ 55191 h 1934496"/>
              <a:gd name="connsiteX3292" fmla="*/ 2834862 w 9922465"/>
              <a:gd name="connsiteY3292" fmla="*/ 110382 h 1934496"/>
              <a:gd name="connsiteX3293" fmla="*/ 2779671 w 9922465"/>
              <a:gd name="connsiteY3293" fmla="*/ 55191 h 1934496"/>
              <a:gd name="connsiteX3294" fmla="*/ 2834862 w 9922465"/>
              <a:gd name="connsiteY3294" fmla="*/ 0 h 1934496"/>
              <a:gd name="connsiteX3295" fmla="*/ 2707903 w 9922465"/>
              <a:gd name="connsiteY3295" fmla="*/ 0 h 1934496"/>
              <a:gd name="connsiteX3296" fmla="*/ 2763100 w 9922465"/>
              <a:gd name="connsiteY3296" fmla="*/ 55191 h 1934496"/>
              <a:gd name="connsiteX3297" fmla="*/ 2707903 w 9922465"/>
              <a:gd name="connsiteY3297" fmla="*/ 110382 h 1934496"/>
              <a:gd name="connsiteX3298" fmla="*/ 2652715 w 9922465"/>
              <a:gd name="connsiteY3298" fmla="*/ 55191 h 1934496"/>
              <a:gd name="connsiteX3299" fmla="*/ 2707903 w 9922465"/>
              <a:gd name="connsiteY3299" fmla="*/ 0 h 1934496"/>
              <a:gd name="connsiteX3300" fmla="*/ 2570933 w 9922465"/>
              <a:gd name="connsiteY3300" fmla="*/ 0 h 1934496"/>
              <a:gd name="connsiteX3301" fmla="*/ 2626123 w 9922465"/>
              <a:gd name="connsiteY3301" fmla="*/ 55191 h 1934496"/>
              <a:gd name="connsiteX3302" fmla="*/ 2570933 w 9922465"/>
              <a:gd name="connsiteY3302" fmla="*/ 110382 h 1934496"/>
              <a:gd name="connsiteX3303" fmla="*/ 2515738 w 9922465"/>
              <a:gd name="connsiteY3303" fmla="*/ 55191 h 1934496"/>
              <a:gd name="connsiteX3304" fmla="*/ 2570933 w 9922465"/>
              <a:gd name="connsiteY3304" fmla="*/ 0 h 1934496"/>
              <a:gd name="connsiteX3305" fmla="*/ 2437297 w 9922465"/>
              <a:gd name="connsiteY3305" fmla="*/ 0 h 1934496"/>
              <a:gd name="connsiteX3306" fmla="*/ 2492487 w 9922465"/>
              <a:gd name="connsiteY3306" fmla="*/ 55191 h 1934496"/>
              <a:gd name="connsiteX3307" fmla="*/ 2437297 w 9922465"/>
              <a:gd name="connsiteY3307" fmla="*/ 110382 h 1934496"/>
              <a:gd name="connsiteX3308" fmla="*/ 2382108 w 9922465"/>
              <a:gd name="connsiteY3308" fmla="*/ 55191 h 1934496"/>
              <a:gd name="connsiteX3309" fmla="*/ 2437297 w 9922465"/>
              <a:gd name="connsiteY3309" fmla="*/ 0 h 1934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Lst>
            <a:rect l="l" t="t" r="r" b="b"/>
            <a:pathLst>
              <a:path w="9922465" h="1934496">
                <a:moveTo>
                  <a:pt x="8407318" y="1824114"/>
                </a:moveTo>
                <a:cubicBezTo>
                  <a:pt x="8437800" y="1824114"/>
                  <a:pt x="8462510" y="1848824"/>
                  <a:pt x="8462510" y="1879305"/>
                </a:cubicBezTo>
                <a:cubicBezTo>
                  <a:pt x="8462510" y="1909786"/>
                  <a:pt x="8437800" y="1934496"/>
                  <a:pt x="8407318" y="1934496"/>
                </a:cubicBezTo>
                <a:cubicBezTo>
                  <a:pt x="8376836" y="1934496"/>
                  <a:pt x="8352126" y="1909786"/>
                  <a:pt x="8352126" y="1879305"/>
                </a:cubicBezTo>
                <a:cubicBezTo>
                  <a:pt x="8352126" y="1848824"/>
                  <a:pt x="8376836" y="1824114"/>
                  <a:pt x="8407318" y="1824114"/>
                </a:cubicBezTo>
                <a:close/>
                <a:moveTo>
                  <a:pt x="8273682" y="1824114"/>
                </a:moveTo>
                <a:cubicBezTo>
                  <a:pt x="8304164" y="1824114"/>
                  <a:pt x="8328874" y="1848824"/>
                  <a:pt x="8328874" y="1879305"/>
                </a:cubicBezTo>
                <a:cubicBezTo>
                  <a:pt x="8328874" y="1909786"/>
                  <a:pt x="8304164" y="1934496"/>
                  <a:pt x="8273682" y="1934496"/>
                </a:cubicBezTo>
                <a:cubicBezTo>
                  <a:pt x="8243200" y="1934496"/>
                  <a:pt x="8218490" y="1909786"/>
                  <a:pt x="8218490" y="1879305"/>
                </a:cubicBezTo>
                <a:cubicBezTo>
                  <a:pt x="8218490" y="1848824"/>
                  <a:pt x="8243200" y="1824114"/>
                  <a:pt x="8273682" y="1824114"/>
                </a:cubicBezTo>
                <a:close/>
                <a:moveTo>
                  <a:pt x="8143386" y="1824114"/>
                </a:moveTo>
                <a:cubicBezTo>
                  <a:pt x="8173868" y="1824114"/>
                  <a:pt x="8198578" y="1848824"/>
                  <a:pt x="8198578" y="1879305"/>
                </a:cubicBezTo>
                <a:cubicBezTo>
                  <a:pt x="8198578" y="1909786"/>
                  <a:pt x="8173868" y="1934496"/>
                  <a:pt x="8143386" y="1934496"/>
                </a:cubicBezTo>
                <a:cubicBezTo>
                  <a:pt x="8112904" y="1934496"/>
                  <a:pt x="8088194" y="1909786"/>
                  <a:pt x="8088194" y="1879305"/>
                </a:cubicBezTo>
                <a:cubicBezTo>
                  <a:pt x="8088194" y="1848824"/>
                  <a:pt x="8112904" y="1824114"/>
                  <a:pt x="8143386" y="1824114"/>
                </a:cubicBezTo>
                <a:close/>
                <a:moveTo>
                  <a:pt x="8009752" y="1824114"/>
                </a:moveTo>
                <a:cubicBezTo>
                  <a:pt x="8040234" y="1824114"/>
                  <a:pt x="8064944" y="1848824"/>
                  <a:pt x="8064944" y="1879305"/>
                </a:cubicBezTo>
                <a:cubicBezTo>
                  <a:pt x="8064944" y="1909786"/>
                  <a:pt x="8040234" y="1934496"/>
                  <a:pt x="8009752" y="1934496"/>
                </a:cubicBezTo>
                <a:cubicBezTo>
                  <a:pt x="7979270" y="1934496"/>
                  <a:pt x="7954560" y="1909786"/>
                  <a:pt x="7954560" y="1879305"/>
                </a:cubicBezTo>
                <a:cubicBezTo>
                  <a:pt x="7954560" y="1848824"/>
                  <a:pt x="7979270" y="1824114"/>
                  <a:pt x="8009752" y="1824114"/>
                </a:cubicBezTo>
                <a:close/>
                <a:moveTo>
                  <a:pt x="7876117" y="1824114"/>
                </a:moveTo>
                <a:cubicBezTo>
                  <a:pt x="7906599" y="1824114"/>
                  <a:pt x="7931309" y="1848824"/>
                  <a:pt x="7931309" y="1879305"/>
                </a:cubicBezTo>
                <a:cubicBezTo>
                  <a:pt x="7931309" y="1909786"/>
                  <a:pt x="7906599" y="1934496"/>
                  <a:pt x="7876117" y="1934496"/>
                </a:cubicBezTo>
                <a:cubicBezTo>
                  <a:pt x="7845635" y="1934496"/>
                  <a:pt x="7820925" y="1909786"/>
                  <a:pt x="7820925" y="1879305"/>
                </a:cubicBezTo>
                <a:cubicBezTo>
                  <a:pt x="7820925" y="1848824"/>
                  <a:pt x="7845635" y="1824114"/>
                  <a:pt x="7876117" y="1824114"/>
                </a:cubicBezTo>
                <a:close/>
                <a:moveTo>
                  <a:pt x="7745824" y="1824114"/>
                </a:moveTo>
                <a:cubicBezTo>
                  <a:pt x="7776306" y="1824114"/>
                  <a:pt x="7801016" y="1848824"/>
                  <a:pt x="7801016" y="1879305"/>
                </a:cubicBezTo>
                <a:cubicBezTo>
                  <a:pt x="7801016" y="1909786"/>
                  <a:pt x="7776306" y="1934496"/>
                  <a:pt x="7745824" y="1934496"/>
                </a:cubicBezTo>
                <a:cubicBezTo>
                  <a:pt x="7715342" y="1934496"/>
                  <a:pt x="7690632" y="1909786"/>
                  <a:pt x="7690632" y="1879305"/>
                </a:cubicBezTo>
                <a:cubicBezTo>
                  <a:pt x="7690632" y="1848824"/>
                  <a:pt x="7715342" y="1824114"/>
                  <a:pt x="7745824" y="1824114"/>
                </a:cubicBezTo>
                <a:close/>
                <a:moveTo>
                  <a:pt x="7608849" y="1824114"/>
                </a:moveTo>
                <a:cubicBezTo>
                  <a:pt x="7639331" y="1824114"/>
                  <a:pt x="7664041" y="1848824"/>
                  <a:pt x="7664041" y="1879305"/>
                </a:cubicBezTo>
                <a:cubicBezTo>
                  <a:pt x="7664041" y="1909786"/>
                  <a:pt x="7639331" y="1934496"/>
                  <a:pt x="7608849" y="1934496"/>
                </a:cubicBezTo>
                <a:cubicBezTo>
                  <a:pt x="7578367" y="1934496"/>
                  <a:pt x="7553657" y="1909786"/>
                  <a:pt x="7553657" y="1879305"/>
                </a:cubicBezTo>
                <a:cubicBezTo>
                  <a:pt x="7553657" y="1848824"/>
                  <a:pt x="7578367" y="1824114"/>
                  <a:pt x="7608849" y="1824114"/>
                </a:cubicBezTo>
                <a:close/>
                <a:moveTo>
                  <a:pt x="7481895" y="1824114"/>
                </a:moveTo>
                <a:cubicBezTo>
                  <a:pt x="7512377" y="1824114"/>
                  <a:pt x="7537087" y="1848824"/>
                  <a:pt x="7537087" y="1879305"/>
                </a:cubicBezTo>
                <a:cubicBezTo>
                  <a:pt x="7537087" y="1909786"/>
                  <a:pt x="7512377" y="1934496"/>
                  <a:pt x="7481895" y="1934496"/>
                </a:cubicBezTo>
                <a:cubicBezTo>
                  <a:pt x="7451413" y="1934496"/>
                  <a:pt x="7426703" y="1909786"/>
                  <a:pt x="7426703" y="1879305"/>
                </a:cubicBezTo>
                <a:cubicBezTo>
                  <a:pt x="7426703" y="1848824"/>
                  <a:pt x="7451413" y="1824114"/>
                  <a:pt x="7481895" y="1824114"/>
                </a:cubicBezTo>
                <a:close/>
                <a:moveTo>
                  <a:pt x="7341579" y="1824114"/>
                </a:moveTo>
                <a:cubicBezTo>
                  <a:pt x="7372061" y="1824114"/>
                  <a:pt x="7396771" y="1848824"/>
                  <a:pt x="7396771" y="1879305"/>
                </a:cubicBezTo>
                <a:cubicBezTo>
                  <a:pt x="7396771" y="1909786"/>
                  <a:pt x="7372061" y="1934496"/>
                  <a:pt x="7341579" y="1934496"/>
                </a:cubicBezTo>
                <a:cubicBezTo>
                  <a:pt x="7311097" y="1934496"/>
                  <a:pt x="7286387" y="1909786"/>
                  <a:pt x="7286387" y="1879305"/>
                </a:cubicBezTo>
                <a:cubicBezTo>
                  <a:pt x="7286387" y="1848824"/>
                  <a:pt x="7311097" y="1824114"/>
                  <a:pt x="7341579" y="1824114"/>
                </a:cubicBezTo>
                <a:close/>
                <a:moveTo>
                  <a:pt x="7211286" y="1824114"/>
                </a:moveTo>
                <a:cubicBezTo>
                  <a:pt x="7241768" y="1824114"/>
                  <a:pt x="7266478" y="1848824"/>
                  <a:pt x="7266478" y="1879305"/>
                </a:cubicBezTo>
                <a:cubicBezTo>
                  <a:pt x="7266478" y="1909786"/>
                  <a:pt x="7241768" y="1934496"/>
                  <a:pt x="7211286" y="1934496"/>
                </a:cubicBezTo>
                <a:cubicBezTo>
                  <a:pt x="7180804" y="1934496"/>
                  <a:pt x="7156094" y="1909786"/>
                  <a:pt x="7156094" y="1879305"/>
                </a:cubicBezTo>
                <a:cubicBezTo>
                  <a:pt x="7156094" y="1848824"/>
                  <a:pt x="7180804" y="1824114"/>
                  <a:pt x="7211286" y="1824114"/>
                </a:cubicBezTo>
                <a:close/>
                <a:moveTo>
                  <a:pt x="7080993" y="1824114"/>
                </a:moveTo>
                <a:cubicBezTo>
                  <a:pt x="7111475" y="1824114"/>
                  <a:pt x="7136185" y="1848824"/>
                  <a:pt x="7136185" y="1879305"/>
                </a:cubicBezTo>
                <a:cubicBezTo>
                  <a:pt x="7136185" y="1909786"/>
                  <a:pt x="7111475" y="1934496"/>
                  <a:pt x="7080993" y="1934496"/>
                </a:cubicBezTo>
                <a:cubicBezTo>
                  <a:pt x="7050511" y="1934496"/>
                  <a:pt x="7025801" y="1909786"/>
                  <a:pt x="7025801" y="1879305"/>
                </a:cubicBezTo>
                <a:cubicBezTo>
                  <a:pt x="7025801" y="1848824"/>
                  <a:pt x="7050511" y="1824114"/>
                  <a:pt x="7080993" y="1824114"/>
                </a:cubicBezTo>
                <a:close/>
                <a:moveTo>
                  <a:pt x="6947357" y="1824114"/>
                </a:moveTo>
                <a:cubicBezTo>
                  <a:pt x="6977839" y="1824114"/>
                  <a:pt x="7002549" y="1848824"/>
                  <a:pt x="7002549" y="1879305"/>
                </a:cubicBezTo>
                <a:cubicBezTo>
                  <a:pt x="7002549" y="1909786"/>
                  <a:pt x="6977839" y="1934496"/>
                  <a:pt x="6947357" y="1934496"/>
                </a:cubicBezTo>
                <a:cubicBezTo>
                  <a:pt x="6916875" y="1934496"/>
                  <a:pt x="6892165" y="1909786"/>
                  <a:pt x="6892165" y="1879305"/>
                </a:cubicBezTo>
                <a:cubicBezTo>
                  <a:pt x="6892165" y="1848824"/>
                  <a:pt x="6916875" y="1824114"/>
                  <a:pt x="6947357" y="1824114"/>
                </a:cubicBezTo>
                <a:close/>
                <a:moveTo>
                  <a:pt x="6817063" y="1824114"/>
                </a:moveTo>
                <a:cubicBezTo>
                  <a:pt x="6847545" y="1824114"/>
                  <a:pt x="6872255" y="1848824"/>
                  <a:pt x="6872255" y="1879305"/>
                </a:cubicBezTo>
                <a:cubicBezTo>
                  <a:pt x="6872255" y="1909786"/>
                  <a:pt x="6847545" y="1934496"/>
                  <a:pt x="6817063" y="1934496"/>
                </a:cubicBezTo>
                <a:cubicBezTo>
                  <a:pt x="6786581" y="1934496"/>
                  <a:pt x="6761871" y="1909786"/>
                  <a:pt x="6761871" y="1879305"/>
                </a:cubicBezTo>
                <a:cubicBezTo>
                  <a:pt x="6761871" y="1848824"/>
                  <a:pt x="6786581" y="1824114"/>
                  <a:pt x="6817063" y="1824114"/>
                </a:cubicBezTo>
                <a:close/>
                <a:moveTo>
                  <a:pt x="6683431" y="1824114"/>
                </a:moveTo>
                <a:cubicBezTo>
                  <a:pt x="6713913" y="1824114"/>
                  <a:pt x="6738623" y="1848824"/>
                  <a:pt x="6738623" y="1879305"/>
                </a:cubicBezTo>
                <a:cubicBezTo>
                  <a:pt x="6738623" y="1909786"/>
                  <a:pt x="6713913" y="1934496"/>
                  <a:pt x="6683431" y="1934496"/>
                </a:cubicBezTo>
                <a:cubicBezTo>
                  <a:pt x="6652949" y="1934496"/>
                  <a:pt x="6628239" y="1909786"/>
                  <a:pt x="6628239" y="1879305"/>
                </a:cubicBezTo>
                <a:cubicBezTo>
                  <a:pt x="6628239" y="1848824"/>
                  <a:pt x="6652949" y="1824114"/>
                  <a:pt x="6683431" y="1824114"/>
                </a:cubicBezTo>
                <a:close/>
                <a:moveTo>
                  <a:pt x="6553137" y="1824114"/>
                </a:moveTo>
                <a:cubicBezTo>
                  <a:pt x="6583619" y="1824114"/>
                  <a:pt x="6608329" y="1848824"/>
                  <a:pt x="6608329" y="1879305"/>
                </a:cubicBezTo>
                <a:cubicBezTo>
                  <a:pt x="6608329" y="1909786"/>
                  <a:pt x="6583619" y="1934496"/>
                  <a:pt x="6553137" y="1934496"/>
                </a:cubicBezTo>
                <a:cubicBezTo>
                  <a:pt x="6522655" y="1934496"/>
                  <a:pt x="6497945" y="1909786"/>
                  <a:pt x="6497945" y="1879305"/>
                </a:cubicBezTo>
                <a:cubicBezTo>
                  <a:pt x="6497945" y="1848824"/>
                  <a:pt x="6522655" y="1824114"/>
                  <a:pt x="6553137" y="1824114"/>
                </a:cubicBezTo>
                <a:close/>
                <a:moveTo>
                  <a:pt x="6289207" y="1824114"/>
                </a:moveTo>
                <a:cubicBezTo>
                  <a:pt x="6319689" y="1824114"/>
                  <a:pt x="6344399" y="1848824"/>
                  <a:pt x="6344399" y="1879305"/>
                </a:cubicBezTo>
                <a:cubicBezTo>
                  <a:pt x="6344399" y="1909786"/>
                  <a:pt x="6319689" y="1934496"/>
                  <a:pt x="6289207" y="1934496"/>
                </a:cubicBezTo>
                <a:cubicBezTo>
                  <a:pt x="6258725" y="1934496"/>
                  <a:pt x="6234015" y="1909786"/>
                  <a:pt x="6234015" y="1879305"/>
                </a:cubicBezTo>
                <a:cubicBezTo>
                  <a:pt x="6234015" y="1848824"/>
                  <a:pt x="6258725" y="1824114"/>
                  <a:pt x="6289207" y="1824114"/>
                </a:cubicBezTo>
                <a:close/>
                <a:moveTo>
                  <a:pt x="6155572" y="1824114"/>
                </a:moveTo>
                <a:cubicBezTo>
                  <a:pt x="6186054" y="1824114"/>
                  <a:pt x="6210764" y="1848824"/>
                  <a:pt x="6210764" y="1879305"/>
                </a:cubicBezTo>
                <a:cubicBezTo>
                  <a:pt x="6210764" y="1909786"/>
                  <a:pt x="6186054" y="1934496"/>
                  <a:pt x="6155572" y="1934496"/>
                </a:cubicBezTo>
                <a:cubicBezTo>
                  <a:pt x="6125090" y="1934496"/>
                  <a:pt x="6100380" y="1909786"/>
                  <a:pt x="6100380" y="1879305"/>
                </a:cubicBezTo>
                <a:cubicBezTo>
                  <a:pt x="6100380" y="1848824"/>
                  <a:pt x="6125090" y="1824114"/>
                  <a:pt x="6155572" y="1824114"/>
                </a:cubicBezTo>
                <a:close/>
                <a:moveTo>
                  <a:pt x="6021938" y="1824114"/>
                </a:moveTo>
                <a:cubicBezTo>
                  <a:pt x="6052420" y="1824114"/>
                  <a:pt x="6077130" y="1848824"/>
                  <a:pt x="6077130" y="1879305"/>
                </a:cubicBezTo>
                <a:cubicBezTo>
                  <a:pt x="6077130" y="1909786"/>
                  <a:pt x="6052420" y="1934496"/>
                  <a:pt x="6021938" y="1934496"/>
                </a:cubicBezTo>
                <a:cubicBezTo>
                  <a:pt x="5991456" y="1934496"/>
                  <a:pt x="5966746" y="1909786"/>
                  <a:pt x="5966746" y="1879305"/>
                </a:cubicBezTo>
                <a:cubicBezTo>
                  <a:pt x="5966746" y="1848824"/>
                  <a:pt x="5991456" y="1824114"/>
                  <a:pt x="6021938" y="1824114"/>
                </a:cubicBezTo>
                <a:close/>
                <a:moveTo>
                  <a:pt x="5884964" y="1824114"/>
                </a:moveTo>
                <a:cubicBezTo>
                  <a:pt x="5915446" y="1824114"/>
                  <a:pt x="5940156" y="1848824"/>
                  <a:pt x="5940156" y="1879305"/>
                </a:cubicBezTo>
                <a:cubicBezTo>
                  <a:pt x="5940156" y="1909786"/>
                  <a:pt x="5915446" y="1934496"/>
                  <a:pt x="5884964" y="1934496"/>
                </a:cubicBezTo>
                <a:cubicBezTo>
                  <a:pt x="5854482" y="1934496"/>
                  <a:pt x="5829772" y="1909786"/>
                  <a:pt x="5829772" y="1879305"/>
                </a:cubicBezTo>
                <a:cubicBezTo>
                  <a:pt x="5829772" y="1848824"/>
                  <a:pt x="5854482" y="1824114"/>
                  <a:pt x="5884964" y="1824114"/>
                </a:cubicBezTo>
                <a:close/>
                <a:moveTo>
                  <a:pt x="5754670" y="1824114"/>
                </a:moveTo>
                <a:cubicBezTo>
                  <a:pt x="5785152" y="1824114"/>
                  <a:pt x="5809862" y="1848824"/>
                  <a:pt x="5809862" y="1879305"/>
                </a:cubicBezTo>
                <a:cubicBezTo>
                  <a:pt x="5809862" y="1909786"/>
                  <a:pt x="5785152" y="1934496"/>
                  <a:pt x="5754670" y="1934496"/>
                </a:cubicBezTo>
                <a:cubicBezTo>
                  <a:pt x="5724188" y="1934496"/>
                  <a:pt x="5699478" y="1909786"/>
                  <a:pt x="5699478" y="1879305"/>
                </a:cubicBezTo>
                <a:cubicBezTo>
                  <a:pt x="5699478" y="1848824"/>
                  <a:pt x="5724188" y="1824114"/>
                  <a:pt x="5754670" y="1824114"/>
                </a:cubicBezTo>
                <a:close/>
                <a:moveTo>
                  <a:pt x="5487399" y="1824114"/>
                </a:moveTo>
                <a:cubicBezTo>
                  <a:pt x="5517881" y="1824114"/>
                  <a:pt x="5542591" y="1848824"/>
                  <a:pt x="5542591" y="1879305"/>
                </a:cubicBezTo>
                <a:cubicBezTo>
                  <a:pt x="5542591" y="1909786"/>
                  <a:pt x="5517881" y="1934496"/>
                  <a:pt x="5487399" y="1934496"/>
                </a:cubicBezTo>
                <a:cubicBezTo>
                  <a:pt x="5456917" y="1934496"/>
                  <a:pt x="5432207" y="1909786"/>
                  <a:pt x="5432207" y="1879305"/>
                </a:cubicBezTo>
                <a:cubicBezTo>
                  <a:pt x="5432207" y="1848824"/>
                  <a:pt x="5456917" y="1824114"/>
                  <a:pt x="5487399" y="1824114"/>
                </a:cubicBezTo>
                <a:close/>
                <a:moveTo>
                  <a:pt x="5357105" y="1824114"/>
                </a:moveTo>
                <a:cubicBezTo>
                  <a:pt x="5387587" y="1824114"/>
                  <a:pt x="5412297" y="1848824"/>
                  <a:pt x="5412297" y="1879305"/>
                </a:cubicBezTo>
                <a:cubicBezTo>
                  <a:pt x="5412297" y="1909786"/>
                  <a:pt x="5387587" y="1934496"/>
                  <a:pt x="5357105" y="1934496"/>
                </a:cubicBezTo>
                <a:cubicBezTo>
                  <a:pt x="5326623" y="1934496"/>
                  <a:pt x="5301913" y="1909786"/>
                  <a:pt x="5301913" y="1879305"/>
                </a:cubicBezTo>
                <a:cubicBezTo>
                  <a:pt x="5301913" y="1848824"/>
                  <a:pt x="5326623" y="1824114"/>
                  <a:pt x="5357105" y="1824114"/>
                </a:cubicBezTo>
                <a:close/>
                <a:moveTo>
                  <a:pt x="5223473" y="1824114"/>
                </a:moveTo>
                <a:cubicBezTo>
                  <a:pt x="5253955" y="1824114"/>
                  <a:pt x="5278665" y="1848824"/>
                  <a:pt x="5278665" y="1879305"/>
                </a:cubicBezTo>
                <a:cubicBezTo>
                  <a:pt x="5278665" y="1909786"/>
                  <a:pt x="5253955" y="1934496"/>
                  <a:pt x="5223473" y="1934496"/>
                </a:cubicBezTo>
                <a:cubicBezTo>
                  <a:pt x="5192991" y="1934496"/>
                  <a:pt x="5168281" y="1909786"/>
                  <a:pt x="5168281" y="1879305"/>
                </a:cubicBezTo>
                <a:cubicBezTo>
                  <a:pt x="5168281" y="1848824"/>
                  <a:pt x="5192991" y="1824114"/>
                  <a:pt x="5223473" y="1824114"/>
                </a:cubicBezTo>
                <a:close/>
                <a:moveTo>
                  <a:pt x="5093178" y="1824114"/>
                </a:moveTo>
                <a:cubicBezTo>
                  <a:pt x="5123660" y="1824114"/>
                  <a:pt x="5148370" y="1848824"/>
                  <a:pt x="5148370" y="1879305"/>
                </a:cubicBezTo>
                <a:cubicBezTo>
                  <a:pt x="5148370" y="1909786"/>
                  <a:pt x="5123660" y="1934496"/>
                  <a:pt x="5093178" y="1934496"/>
                </a:cubicBezTo>
                <a:cubicBezTo>
                  <a:pt x="5062696" y="1934496"/>
                  <a:pt x="5037986" y="1909786"/>
                  <a:pt x="5037986" y="1879305"/>
                </a:cubicBezTo>
                <a:cubicBezTo>
                  <a:pt x="5037986" y="1848824"/>
                  <a:pt x="5062696" y="1824114"/>
                  <a:pt x="5093178" y="1824114"/>
                </a:cubicBezTo>
                <a:close/>
                <a:moveTo>
                  <a:pt x="4959543" y="1824114"/>
                </a:moveTo>
                <a:cubicBezTo>
                  <a:pt x="4990025" y="1824114"/>
                  <a:pt x="5014735" y="1848824"/>
                  <a:pt x="5014735" y="1879305"/>
                </a:cubicBezTo>
                <a:cubicBezTo>
                  <a:pt x="5014735" y="1909786"/>
                  <a:pt x="4990025" y="1934496"/>
                  <a:pt x="4959543" y="1934496"/>
                </a:cubicBezTo>
                <a:cubicBezTo>
                  <a:pt x="4929061" y="1934496"/>
                  <a:pt x="4904351" y="1909786"/>
                  <a:pt x="4904351" y="1879305"/>
                </a:cubicBezTo>
                <a:cubicBezTo>
                  <a:pt x="4904351" y="1848824"/>
                  <a:pt x="4929061" y="1824114"/>
                  <a:pt x="4959543" y="1824114"/>
                </a:cubicBezTo>
                <a:close/>
                <a:moveTo>
                  <a:pt x="4829250" y="1824114"/>
                </a:moveTo>
                <a:cubicBezTo>
                  <a:pt x="4859732" y="1824114"/>
                  <a:pt x="4884442" y="1848824"/>
                  <a:pt x="4884442" y="1879305"/>
                </a:cubicBezTo>
                <a:cubicBezTo>
                  <a:pt x="4884442" y="1909786"/>
                  <a:pt x="4859732" y="1934496"/>
                  <a:pt x="4829250" y="1934496"/>
                </a:cubicBezTo>
                <a:cubicBezTo>
                  <a:pt x="4798768" y="1934496"/>
                  <a:pt x="4774058" y="1909786"/>
                  <a:pt x="4774058" y="1879305"/>
                </a:cubicBezTo>
                <a:cubicBezTo>
                  <a:pt x="4774058" y="1848824"/>
                  <a:pt x="4798768" y="1824114"/>
                  <a:pt x="4829250" y="1824114"/>
                </a:cubicBezTo>
                <a:close/>
                <a:moveTo>
                  <a:pt x="4695613" y="1824114"/>
                </a:moveTo>
                <a:cubicBezTo>
                  <a:pt x="4726095" y="1824114"/>
                  <a:pt x="4750805" y="1848824"/>
                  <a:pt x="4750805" y="1879305"/>
                </a:cubicBezTo>
                <a:cubicBezTo>
                  <a:pt x="4750805" y="1909786"/>
                  <a:pt x="4726095" y="1934496"/>
                  <a:pt x="4695613" y="1934496"/>
                </a:cubicBezTo>
                <a:cubicBezTo>
                  <a:pt x="4665131" y="1934496"/>
                  <a:pt x="4640421" y="1909786"/>
                  <a:pt x="4640421" y="1879305"/>
                </a:cubicBezTo>
                <a:cubicBezTo>
                  <a:pt x="4640421" y="1848824"/>
                  <a:pt x="4665131" y="1824114"/>
                  <a:pt x="4695613" y="1824114"/>
                </a:cubicBezTo>
                <a:close/>
                <a:moveTo>
                  <a:pt x="2834762" y="1824114"/>
                </a:moveTo>
                <a:cubicBezTo>
                  <a:pt x="2865244" y="1824114"/>
                  <a:pt x="2889954" y="1848824"/>
                  <a:pt x="2889954" y="1879305"/>
                </a:cubicBezTo>
                <a:cubicBezTo>
                  <a:pt x="2889954" y="1909786"/>
                  <a:pt x="2865244" y="1934496"/>
                  <a:pt x="2834762" y="1934496"/>
                </a:cubicBezTo>
                <a:cubicBezTo>
                  <a:pt x="2804280" y="1934496"/>
                  <a:pt x="2779570" y="1909786"/>
                  <a:pt x="2779570" y="1879305"/>
                </a:cubicBezTo>
                <a:cubicBezTo>
                  <a:pt x="2779570" y="1848824"/>
                  <a:pt x="2804280" y="1824114"/>
                  <a:pt x="2834762" y="1824114"/>
                </a:cubicBezTo>
                <a:close/>
                <a:moveTo>
                  <a:pt x="2707807" y="1824114"/>
                </a:moveTo>
                <a:cubicBezTo>
                  <a:pt x="2738289" y="1824114"/>
                  <a:pt x="2762999" y="1848824"/>
                  <a:pt x="2762999" y="1879305"/>
                </a:cubicBezTo>
                <a:cubicBezTo>
                  <a:pt x="2762999" y="1909786"/>
                  <a:pt x="2738289" y="1934496"/>
                  <a:pt x="2707807" y="1934496"/>
                </a:cubicBezTo>
                <a:cubicBezTo>
                  <a:pt x="2677325" y="1934496"/>
                  <a:pt x="2652615" y="1909786"/>
                  <a:pt x="2652615" y="1879305"/>
                </a:cubicBezTo>
                <a:cubicBezTo>
                  <a:pt x="2652615" y="1848824"/>
                  <a:pt x="2677325" y="1824114"/>
                  <a:pt x="2707807" y="1824114"/>
                </a:cubicBezTo>
                <a:close/>
                <a:moveTo>
                  <a:pt x="2570834" y="1824114"/>
                </a:moveTo>
                <a:cubicBezTo>
                  <a:pt x="2601315" y="1824114"/>
                  <a:pt x="2626025" y="1848824"/>
                  <a:pt x="2626025" y="1879305"/>
                </a:cubicBezTo>
                <a:cubicBezTo>
                  <a:pt x="2626025" y="1909786"/>
                  <a:pt x="2601315" y="1934496"/>
                  <a:pt x="2570834" y="1934496"/>
                </a:cubicBezTo>
                <a:cubicBezTo>
                  <a:pt x="2540351" y="1934496"/>
                  <a:pt x="2515641" y="1909786"/>
                  <a:pt x="2515641" y="1879305"/>
                </a:cubicBezTo>
                <a:cubicBezTo>
                  <a:pt x="2515641" y="1848824"/>
                  <a:pt x="2540351" y="1824114"/>
                  <a:pt x="2570834" y="1824114"/>
                </a:cubicBezTo>
                <a:close/>
                <a:moveTo>
                  <a:pt x="2437196" y="1824114"/>
                </a:moveTo>
                <a:cubicBezTo>
                  <a:pt x="2467679" y="1824114"/>
                  <a:pt x="2492389" y="1848824"/>
                  <a:pt x="2492389" y="1879305"/>
                </a:cubicBezTo>
                <a:cubicBezTo>
                  <a:pt x="2492389" y="1909786"/>
                  <a:pt x="2467679" y="1934496"/>
                  <a:pt x="2437196" y="1934496"/>
                </a:cubicBezTo>
                <a:cubicBezTo>
                  <a:pt x="2406715" y="1934496"/>
                  <a:pt x="2382005" y="1909786"/>
                  <a:pt x="2382005" y="1879305"/>
                </a:cubicBezTo>
                <a:cubicBezTo>
                  <a:pt x="2382005" y="1848824"/>
                  <a:pt x="2406715" y="1824114"/>
                  <a:pt x="2437196" y="1824114"/>
                </a:cubicBezTo>
                <a:close/>
                <a:moveTo>
                  <a:pt x="2303564" y="1824114"/>
                </a:moveTo>
                <a:cubicBezTo>
                  <a:pt x="2334046" y="1824114"/>
                  <a:pt x="2358756" y="1848824"/>
                  <a:pt x="2358756" y="1879305"/>
                </a:cubicBezTo>
                <a:cubicBezTo>
                  <a:pt x="2358756" y="1909786"/>
                  <a:pt x="2334046" y="1934496"/>
                  <a:pt x="2303564" y="1934496"/>
                </a:cubicBezTo>
                <a:cubicBezTo>
                  <a:pt x="2273082" y="1934496"/>
                  <a:pt x="2248372" y="1909786"/>
                  <a:pt x="2248372" y="1879305"/>
                </a:cubicBezTo>
                <a:cubicBezTo>
                  <a:pt x="2248372" y="1848824"/>
                  <a:pt x="2273082" y="1824114"/>
                  <a:pt x="2303564" y="1824114"/>
                </a:cubicBezTo>
                <a:close/>
                <a:moveTo>
                  <a:pt x="2173271" y="1824114"/>
                </a:moveTo>
                <a:cubicBezTo>
                  <a:pt x="2203753" y="1824114"/>
                  <a:pt x="2228463" y="1848824"/>
                  <a:pt x="2228463" y="1879305"/>
                </a:cubicBezTo>
                <a:cubicBezTo>
                  <a:pt x="2228463" y="1909786"/>
                  <a:pt x="2203753" y="1934496"/>
                  <a:pt x="2173271" y="1934496"/>
                </a:cubicBezTo>
                <a:cubicBezTo>
                  <a:pt x="2142789" y="1934496"/>
                  <a:pt x="2118079" y="1909786"/>
                  <a:pt x="2118079" y="1879305"/>
                </a:cubicBezTo>
                <a:cubicBezTo>
                  <a:pt x="2118079" y="1848824"/>
                  <a:pt x="2142789" y="1824114"/>
                  <a:pt x="2173271" y="1824114"/>
                </a:cubicBezTo>
                <a:close/>
                <a:moveTo>
                  <a:pt x="2039637" y="1824114"/>
                </a:moveTo>
                <a:cubicBezTo>
                  <a:pt x="2070119" y="1824114"/>
                  <a:pt x="2094830" y="1848824"/>
                  <a:pt x="2094830" y="1879305"/>
                </a:cubicBezTo>
                <a:cubicBezTo>
                  <a:pt x="2094830" y="1909786"/>
                  <a:pt x="2070119" y="1934496"/>
                  <a:pt x="2039637" y="1934496"/>
                </a:cubicBezTo>
                <a:cubicBezTo>
                  <a:pt x="2009155" y="1934496"/>
                  <a:pt x="1984445" y="1909786"/>
                  <a:pt x="1984445" y="1879305"/>
                </a:cubicBezTo>
                <a:cubicBezTo>
                  <a:pt x="1984445" y="1848824"/>
                  <a:pt x="2009155" y="1824114"/>
                  <a:pt x="2039637" y="1824114"/>
                </a:cubicBezTo>
                <a:close/>
                <a:moveTo>
                  <a:pt x="1909341" y="1824114"/>
                </a:moveTo>
                <a:cubicBezTo>
                  <a:pt x="1939823" y="1824114"/>
                  <a:pt x="1964533" y="1848824"/>
                  <a:pt x="1964533" y="1879305"/>
                </a:cubicBezTo>
                <a:cubicBezTo>
                  <a:pt x="1964533" y="1909786"/>
                  <a:pt x="1939823" y="1934496"/>
                  <a:pt x="1909341" y="1934496"/>
                </a:cubicBezTo>
                <a:cubicBezTo>
                  <a:pt x="1878859" y="1934496"/>
                  <a:pt x="1854149" y="1909786"/>
                  <a:pt x="1854149" y="1879305"/>
                </a:cubicBezTo>
                <a:cubicBezTo>
                  <a:pt x="1854149" y="1848824"/>
                  <a:pt x="1878859" y="1824114"/>
                  <a:pt x="1909341" y="1824114"/>
                </a:cubicBezTo>
                <a:close/>
                <a:moveTo>
                  <a:pt x="1779049" y="1824114"/>
                </a:moveTo>
                <a:cubicBezTo>
                  <a:pt x="1809531" y="1824114"/>
                  <a:pt x="1834241" y="1848824"/>
                  <a:pt x="1834241" y="1879305"/>
                </a:cubicBezTo>
                <a:cubicBezTo>
                  <a:pt x="1834241" y="1909786"/>
                  <a:pt x="1809531" y="1934496"/>
                  <a:pt x="1779049" y="1934496"/>
                </a:cubicBezTo>
                <a:cubicBezTo>
                  <a:pt x="1748566" y="1934496"/>
                  <a:pt x="1723856" y="1909786"/>
                  <a:pt x="1723856" y="1879305"/>
                </a:cubicBezTo>
                <a:cubicBezTo>
                  <a:pt x="1723856" y="1848824"/>
                  <a:pt x="1748566" y="1824114"/>
                  <a:pt x="1779049" y="1824114"/>
                </a:cubicBezTo>
                <a:close/>
                <a:moveTo>
                  <a:pt x="1645413" y="1824114"/>
                </a:moveTo>
                <a:cubicBezTo>
                  <a:pt x="1675895" y="1824114"/>
                  <a:pt x="1700604" y="1848824"/>
                  <a:pt x="1700604" y="1879305"/>
                </a:cubicBezTo>
                <a:cubicBezTo>
                  <a:pt x="1700604" y="1909786"/>
                  <a:pt x="1675895" y="1934496"/>
                  <a:pt x="1645413" y="1934496"/>
                </a:cubicBezTo>
                <a:cubicBezTo>
                  <a:pt x="1614930" y="1934496"/>
                  <a:pt x="1590220" y="1909786"/>
                  <a:pt x="1590220" y="1879305"/>
                </a:cubicBezTo>
                <a:cubicBezTo>
                  <a:pt x="1590220" y="1848824"/>
                  <a:pt x="1614930" y="1824114"/>
                  <a:pt x="1645413" y="1824114"/>
                </a:cubicBezTo>
                <a:close/>
                <a:moveTo>
                  <a:pt x="1515120" y="1824114"/>
                </a:moveTo>
                <a:cubicBezTo>
                  <a:pt x="1545602" y="1824114"/>
                  <a:pt x="1570311" y="1848824"/>
                  <a:pt x="1570311" y="1879305"/>
                </a:cubicBezTo>
                <a:cubicBezTo>
                  <a:pt x="1570311" y="1909786"/>
                  <a:pt x="1545602" y="1934496"/>
                  <a:pt x="1515120" y="1934496"/>
                </a:cubicBezTo>
                <a:cubicBezTo>
                  <a:pt x="1484638" y="1934496"/>
                  <a:pt x="1459927" y="1909786"/>
                  <a:pt x="1459927" y="1879305"/>
                </a:cubicBezTo>
                <a:cubicBezTo>
                  <a:pt x="1459927" y="1848824"/>
                  <a:pt x="1484638" y="1824114"/>
                  <a:pt x="1515120" y="1824114"/>
                </a:cubicBezTo>
                <a:close/>
                <a:moveTo>
                  <a:pt x="1381486" y="1824114"/>
                </a:moveTo>
                <a:cubicBezTo>
                  <a:pt x="1411968" y="1824114"/>
                  <a:pt x="1436678" y="1848824"/>
                  <a:pt x="1436678" y="1879305"/>
                </a:cubicBezTo>
                <a:cubicBezTo>
                  <a:pt x="1436678" y="1909786"/>
                  <a:pt x="1411968" y="1934496"/>
                  <a:pt x="1381486" y="1934496"/>
                </a:cubicBezTo>
                <a:cubicBezTo>
                  <a:pt x="1351005" y="1934496"/>
                  <a:pt x="1326294" y="1909786"/>
                  <a:pt x="1326294" y="1879305"/>
                </a:cubicBezTo>
                <a:cubicBezTo>
                  <a:pt x="1326294" y="1848824"/>
                  <a:pt x="1351005" y="1824114"/>
                  <a:pt x="1381486" y="1824114"/>
                </a:cubicBezTo>
                <a:close/>
                <a:moveTo>
                  <a:pt x="1251193" y="1824114"/>
                </a:moveTo>
                <a:cubicBezTo>
                  <a:pt x="1281674" y="1824114"/>
                  <a:pt x="1306386" y="1848824"/>
                  <a:pt x="1306386" y="1879305"/>
                </a:cubicBezTo>
                <a:cubicBezTo>
                  <a:pt x="1306386" y="1909786"/>
                  <a:pt x="1281674" y="1934496"/>
                  <a:pt x="1251193" y="1934496"/>
                </a:cubicBezTo>
                <a:cubicBezTo>
                  <a:pt x="1220711" y="1934496"/>
                  <a:pt x="1196001" y="1909786"/>
                  <a:pt x="1196001" y="1879305"/>
                </a:cubicBezTo>
                <a:cubicBezTo>
                  <a:pt x="1196001" y="1848824"/>
                  <a:pt x="1220711" y="1824114"/>
                  <a:pt x="1251193" y="1824114"/>
                </a:cubicBezTo>
                <a:close/>
                <a:moveTo>
                  <a:pt x="4565336" y="1824106"/>
                </a:moveTo>
                <a:cubicBezTo>
                  <a:pt x="4595818" y="1824106"/>
                  <a:pt x="4620528" y="1848816"/>
                  <a:pt x="4620528" y="1879297"/>
                </a:cubicBezTo>
                <a:cubicBezTo>
                  <a:pt x="4620528" y="1909778"/>
                  <a:pt x="4595818" y="1934488"/>
                  <a:pt x="4565336" y="1934488"/>
                </a:cubicBezTo>
                <a:cubicBezTo>
                  <a:pt x="4534854" y="1934488"/>
                  <a:pt x="4510144" y="1909778"/>
                  <a:pt x="4510144" y="1879297"/>
                </a:cubicBezTo>
                <a:cubicBezTo>
                  <a:pt x="4510144" y="1848816"/>
                  <a:pt x="4534854" y="1824106"/>
                  <a:pt x="4565336" y="1824106"/>
                </a:cubicBezTo>
                <a:close/>
                <a:moveTo>
                  <a:pt x="4431689" y="1824098"/>
                </a:moveTo>
                <a:cubicBezTo>
                  <a:pt x="4462171" y="1824098"/>
                  <a:pt x="4486881" y="1848808"/>
                  <a:pt x="4486881" y="1879289"/>
                </a:cubicBezTo>
                <a:cubicBezTo>
                  <a:pt x="4486881" y="1909770"/>
                  <a:pt x="4462171" y="1934480"/>
                  <a:pt x="4431689" y="1934480"/>
                </a:cubicBezTo>
                <a:cubicBezTo>
                  <a:pt x="4401207" y="1934480"/>
                  <a:pt x="4376497" y="1909770"/>
                  <a:pt x="4376497" y="1879289"/>
                </a:cubicBezTo>
                <a:cubicBezTo>
                  <a:pt x="4376497" y="1848808"/>
                  <a:pt x="4401207" y="1824098"/>
                  <a:pt x="4431689" y="1824098"/>
                </a:cubicBezTo>
                <a:close/>
                <a:moveTo>
                  <a:pt x="8801537" y="1707182"/>
                </a:moveTo>
                <a:cubicBezTo>
                  <a:pt x="8832019" y="1707182"/>
                  <a:pt x="8856729" y="1731892"/>
                  <a:pt x="8856729" y="1762373"/>
                </a:cubicBezTo>
                <a:cubicBezTo>
                  <a:pt x="8856729" y="1792854"/>
                  <a:pt x="8832019" y="1817564"/>
                  <a:pt x="8801537" y="1817564"/>
                </a:cubicBezTo>
                <a:cubicBezTo>
                  <a:pt x="8771055" y="1817564"/>
                  <a:pt x="8746345" y="1792854"/>
                  <a:pt x="8746345" y="1762373"/>
                </a:cubicBezTo>
                <a:cubicBezTo>
                  <a:pt x="8746345" y="1731892"/>
                  <a:pt x="8771055" y="1707182"/>
                  <a:pt x="8801537" y="1707182"/>
                </a:cubicBezTo>
                <a:close/>
                <a:moveTo>
                  <a:pt x="8671243" y="1707182"/>
                </a:moveTo>
                <a:cubicBezTo>
                  <a:pt x="8701725" y="1707182"/>
                  <a:pt x="8726435" y="1731892"/>
                  <a:pt x="8726435" y="1762373"/>
                </a:cubicBezTo>
                <a:cubicBezTo>
                  <a:pt x="8726435" y="1792854"/>
                  <a:pt x="8701725" y="1817564"/>
                  <a:pt x="8671243" y="1817564"/>
                </a:cubicBezTo>
                <a:cubicBezTo>
                  <a:pt x="8640761" y="1817564"/>
                  <a:pt x="8616051" y="1792854"/>
                  <a:pt x="8616051" y="1762373"/>
                </a:cubicBezTo>
                <a:cubicBezTo>
                  <a:pt x="8616051" y="1731892"/>
                  <a:pt x="8640761" y="1707182"/>
                  <a:pt x="8671243" y="1707182"/>
                </a:cubicBezTo>
                <a:close/>
                <a:moveTo>
                  <a:pt x="8537609" y="1707182"/>
                </a:moveTo>
                <a:cubicBezTo>
                  <a:pt x="8568091" y="1707182"/>
                  <a:pt x="8592801" y="1731892"/>
                  <a:pt x="8592801" y="1762373"/>
                </a:cubicBezTo>
                <a:cubicBezTo>
                  <a:pt x="8592801" y="1792854"/>
                  <a:pt x="8568091" y="1817564"/>
                  <a:pt x="8537609" y="1817564"/>
                </a:cubicBezTo>
                <a:cubicBezTo>
                  <a:pt x="8507127" y="1817564"/>
                  <a:pt x="8482417" y="1792854"/>
                  <a:pt x="8482417" y="1762373"/>
                </a:cubicBezTo>
                <a:cubicBezTo>
                  <a:pt x="8482417" y="1731892"/>
                  <a:pt x="8507127" y="1707182"/>
                  <a:pt x="8537609" y="1707182"/>
                </a:cubicBezTo>
                <a:close/>
                <a:moveTo>
                  <a:pt x="8407318" y="1707182"/>
                </a:moveTo>
                <a:cubicBezTo>
                  <a:pt x="8437800" y="1707182"/>
                  <a:pt x="8462510" y="1731892"/>
                  <a:pt x="8462510" y="1762373"/>
                </a:cubicBezTo>
                <a:cubicBezTo>
                  <a:pt x="8462510" y="1792854"/>
                  <a:pt x="8437800" y="1817564"/>
                  <a:pt x="8407318" y="1817564"/>
                </a:cubicBezTo>
                <a:cubicBezTo>
                  <a:pt x="8376836" y="1817564"/>
                  <a:pt x="8352126" y="1792854"/>
                  <a:pt x="8352126" y="1762373"/>
                </a:cubicBezTo>
                <a:cubicBezTo>
                  <a:pt x="8352126" y="1731892"/>
                  <a:pt x="8376836" y="1707182"/>
                  <a:pt x="8407318" y="1707182"/>
                </a:cubicBezTo>
                <a:close/>
                <a:moveTo>
                  <a:pt x="8273682" y="1707182"/>
                </a:moveTo>
                <a:cubicBezTo>
                  <a:pt x="8304164" y="1707182"/>
                  <a:pt x="8328874" y="1731892"/>
                  <a:pt x="8328874" y="1762373"/>
                </a:cubicBezTo>
                <a:cubicBezTo>
                  <a:pt x="8328874" y="1792854"/>
                  <a:pt x="8304164" y="1817564"/>
                  <a:pt x="8273682" y="1817564"/>
                </a:cubicBezTo>
                <a:cubicBezTo>
                  <a:pt x="8243200" y="1817564"/>
                  <a:pt x="8218490" y="1792854"/>
                  <a:pt x="8218490" y="1762373"/>
                </a:cubicBezTo>
                <a:cubicBezTo>
                  <a:pt x="8218490" y="1731892"/>
                  <a:pt x="8243200" y="1707182"/>
                  <a:pt x="8273682" y="1707182"/>
                </a:cubicBezTo>
                <a:close/>
                <a:moveTo>
                  <a:pt x="8143386" y="1707182"/>
                </a:moveTo>
                <a:cubicBezTo>
                  <a:pt x="8173868" y="1707182"/>
                  <a:pt x="8198578" y="1731892"/>
                  <a:pt x="8198578" y="1762373"/>
                </a:cubicBezTo>
                <a:cubicBezTo>
                  <a:pt x="8198578" y="1792854"/>
                  <a:pt x="8173868" y="1817564"/>
                  <a:pt x="8143386" y="1817564"/>
                </a:cubicBezTo>
                <a:cubicBezTo>
                  <a:pt x="8112904" y="1817564"/>
                  <a:pt x="8088194" y="1792854"/>
                  <a:pt x="8088194" y="1762373"/>
                </a:cubicBezTo>
                <a:cubicBezTo>
                  <a:pt x="8088194" y="1731892"/>
                  <a:pt x="8112904" y="1707182"/>
                  <a:pt x="8143386" y="1707182"/>
                </a:cubicBezTo>
                <a:close/>
                <a:moveTo>
                  <a:pt x="8009752" y="1707182"/>
                </a:moveTo>
                <a:cubicBezTo>
                  <a:pt x="8040234" y="1707182"/>
                  <a:pt x="8064944" y="1731892"/>
                  <a:pt x="8064944" y="1762373"/>
                </a:cubicBezTo>
                <a:cubicBezTo>
                  <a:pt x="8064944" y="1792854"/>
                  <a:pt x="8040234" y="1817564"/>
                  <a:pt x="8009752" y="1817564"/>
                </a:cubicBezTo>
                <a:cubicBezTo>
                  <a:pt x="7979270" y="1817564"/>
                  <a:pt x="7954560" y="1792854"/>
                  <a:pt x="7954560" y="1762373"/>
                </a:cubicBezTo>
                <a:cubicBezTo>
                  <a:pt x="7954560" y="1731892"/>
                  <a:pt x="7979270" y="1707182"/>
                  <a:pt x="8009752" y="1707182"/>
                </a:cubicBezTo>
                <a:close/>
                <a:moveTo>
                  <a:pt x="7876117" y="1707182"/>
                </a:moveTo>
                <a:cubicBezTo>
                  <a:pt x="7906599" y="1707182"/>
                  <a:pt x="7931309" y="1731892"/>
                  <a:pt x="7931309" y="1762373"/>
                </a:cubicBezTo>
                <a:cubicBezTo>
                  <a:pt x="7931309" y="1792854"/>
                  <a:pt x="7906599" y="1817564"/>
                  <a:pt x="7876117" y="1817564"/>
                </a:cubicBezTo>
                <a:cubicBezTo>
                  <a:pt x="7845635" y="1817564"/>
                  <a:pt x="7820925" y="1792854"/>
                  <a:pt x="7820925" y="1762373"/>
                </a:cubicBezTo>
                <a:cubicBezTo>
                  <a:pt x="7820925" y="1731892"/>
                  <a:pt x="7845635" y="1707182"/>
                  <a:pt x="7876117" y="1707182"/>
                </a:cubicBezTo>
                <a:close/>
                <a:moveTo>
                  <a:pt x="7745824" y="1707182"/>
                </a:moveTo>
                <a:cubicBezTo>
                  <a:pt x="7776306" y="1707182"/>
                  <a:pt x="7801016" y="1731892"/>
                  <a:pt x="7801016" y="1762373"/>
                </a:cubicBezTo>
                <a:cubicBezTo>
                  <a:pt x="7801016" y="1792854"/>
                  <a:pt x="7776306" y="1817564"/>
                  <a:pt x="7745824" y="1817564"/>
                </a:cubicBezTo>
                <a:cubicBezTo>
                  <a:pt x="7715342" y="1817564"/>
                  <a:pt x="7690632" y="1792854"/>
                  <a:pt x="7690632" y="1762373"/>
                </a:cubicBezTo>
                <a:cubicBezTo>
                  <a:pt x="7690632" y="1731892"/>
                  <a:pt x="7715342" y="1707182"/>
                  <a:pt x="7745824" y="1707182"/>
                </a:cubicBezTo>
                <a:close/>
                <a:moveTo>
                  <a:pt x="7608849" y="1707182"/>
                </a:moveTo>
                <a:cubicBezTo>
                  <a:pt x="7639331" y="1707182"/>
                  <a:pt x="7664041" y="1731892"/>
                  <a:pt x="7664041" y="1762373"/>
                </a:cubicBezTo>
                <a:cubicBezTo>
                  <a:pt x="7664041" y="1792854"/>
                  <a:pt x="7639331" y="1817564"/>
                  <a:pt x="7608849" y="1817564"/>
                </a:cubicBezTo>
                <a:cubicBezTo>
                  <a:pt x="7578367" y="1817564"/>
                  <a:pt x="7553657" y="1792854"/>
                  <a:pt x="7553657" y="1762373"/>
                </a:cubicBezTo>
                <a:cubicBezTo>
                  <a:pt x="7553657" y="1731892"/>
                  <a:pt x="7578367" y="1707182"/>
                  <a:pt x="7608849" y="1707182"/>
                </a:cubicBezTo>
                <a:close/>
                <a:moveTo>
                  <a:pt x="7481895" y="1707182"/>
                </a:moveTo>
                <a:cubicBezTo>
                  <a:pt x="7512377" y="1707182"/>
                  <a:pt x="7537087" y="1731892"/>
                  <a:pt x="7537087" y="1762373"/>
                </a:cubicBezTo>
                <a:cubicBezTo>
                  <a:pt x="7537087" y="1792854"/>
                  <a:pt x="7512377" y="1817564"/>
                  <a:pt x="7481895" y="1817564"/>
                </a:cubicBezTo>
                <a:cubicBezTo>
                  <a:pt x="7451413" y="1817564"/>
                  <a:pt x="7426703" y="1792854"/>
                  <a:pt x="7426703" y="1762373"/>
                </a:cubicBezTo>
                <a:cubicBezTo>
                  <a:pt x="7426703" y="1731892"/>
                  <a:pt x="7451413" y="1707182"/>
                  <a:pt x="7481895" y="1707182"/>
                </a:cubicBezTo>
                <a:close/>
                <a:moveTo>
                  <a:pt x="7341579" y="1707182"/>
                </a:moveTo>
                <a:cubicBezTo>
                  <a:pt x="7372061" y="1707182"/>
                  <a:pt x="7396771" y="1731892"/>
                  <a:pt x="7396771" y="1762373"/>
                </a:cubicBezTo>
                <a:cubicBezTo>
                  <a:pt x="7396771" y="1792854"/>
                  <a:pt x="7372061" y="1817564"/>
                  <a:pt x="7341579" y="1817564"/>
                </a:cubicBezTo>
                <a:cubicBezTo>
                  <a:pt x="7311097" y="1817564"/>
                  <a:pt x="7286387" y="1792854"/>
                  <a:pt x="7286387" y="1762373"/>
                </a:cubicBezTo>
                <a:cubicBezTo>
                  <a:pt x="7286387" y="1731892"/>
                  <a:pt x="7311097" y="1707182"/>
                  <a:pt x="7341579" y="1707182"/>
                </a:cubicBezTo>
                <a:close/>
                <a:moveTo>
                  <a:pt x="7211286" y="1707182"/>
                </a:moveTo>
                <a:cubicBezTo>
                  <a:pt x="7241768" y="1707182"/>
                  <a:pt x="7266478" y="1731892"/>
                  <a:pt x="7266478" y="1762373"/>
                </a:cubicBezTo>
                <a:cubicBezTo>
                  <a:pt x="7266478" y="1792854"/>
                  <a:pt x="7241768" y="1817564"/>
                  <a:pt x="7211286" y="1817564"/>
                </a:cubicBezTo>
                <a:cubicBezTo>
                  <a:pt x="7180804" y="1817564"/>
                  <a:pt x="7156094" y="1792854"/>
                  <a:pt x="7156094" y="1762373"/>
                </a:cubicBezTo>
                <a:cubicBezTo>
                  <a:pt x="7156094" y="1731892"/>
                  <a:pt x="7180804" y="1707182"/>
                  <a:pt x="7211286" y="1707182"/>
                </a:cubicBezTo>
                <a:close/>
                <a:moveTo>
                  <a:pt x="7080993" y="1707182"/>
                </a:moveTo>
                <a:cubicBezTo>
                  <a:pt x="7111475" y="1707182"/>
                  <a:pt x="7136185" y="1731892"/>
                  <a:pt x="7136185" y="1762373"/>
                </a:cubicBezTo>
                <a:cubicBezTo>
                  <a:pt x="7136185" y="1792854"/>
                  <a:pt x="7111475" y="1817564"/>
                  <a:pt x="7080993" y="1817564"/>
                </a:cubicBezTo>
                <a:cubicBezTo>
                  <a:pt x="7050511" y="1817564"/>
                  <a:pt x="7025801" y="1792854"/>
                  <a:pt x="7025801" y="1762373"/>
                </a:cubicBezTo>
                <a:cubicBezTo>
                  <a:pt x="7025801" y="1731892"/>
                  <a:pt x="7050511" y="1707182"/>
                  <a:pt x="7080993" y="1707182"/>
                </a:cubicBezTo>
                <a:close/>
                <a:moveTo>
                  <a:pt x="6947357" y="1707182"/>
                </a:moveTo>
                <a:cubicBezTo>
                  <a:pt x="6977839" y="1707182"/>
                  <a:pt x="7002549" y="1731892"/>
                  <a:pt x="7002549" y="1762373"/>
                </a:cubicBezTo>
                <a:cubicBezTo>
                  <a:pt x="7002549" y="1792854"/>
                  <a:pt x="6977839" y="1817564"/>
                  <a:pt x="6947357" y="1817564"/>
                </a:cubicBezTo>
                <a:cubicBezTo>
                  <a:pt x="6916875" y="1817564"/>
                  <a:pt x="6892165" y="1792854"/>
                  <a:pt x="6892165" y="1762373"/>
                </a:cubicBezTo>
                <a:cubicBezTo>
                  <a:pt x="6892165" y="1731892"/>
                  <a:pt x="6916875" y="1707182"/>
                  <a:pt x="6947357" y="1707182"/>
                </a:cubicBezTo>
                <a:close/>
                <a:moveTo>
                  <a:pt x="6817063" y="1707182"/>
                </a:moveTo>
                <a:cubicBezTo>
                  <a:pt x="6847545" y="1707182"/>
                  <a:pt x="6872255" y="1731892"/>
                  <a:pt x="6872255" y="1762373"/>
                </a:cubicBezTo>
                <a:cubicBezTo>
                  <a:pt x="6872255" y="1792854"/>
                  <a:pt x="6847545" y="1817564"/>
                  <a:pt x="6817063" y="1817564"/>
                </a:cubicBezTo>
                <a:cubicBezTo>
                  <a:pt x="6786581" y="1817564"/>
                  <a:pt x="6761871" y="1792854"/>
                  <a:pt x="6761871" y="1762373"/>
                </a:cubicBezTo>
                <a:cubicBezTo>
                  <a:pt x="6761871" y="1731892"/>
                  <a:pt x="6786581" y="1707182"/>
                  <a:pt x="6817063" y="1707182"/>
                </a:cubicBezTo>
                <a:close/>
                <a:moveTo>
                  <a:pt x="6683431" y="1707182"/>
                </a:moveTo>
                <a:cubicBezTo>
                  <a:pt x="6713913" y="1707182"/>
                  <a:pt x="6738623" y="1731892"/>
                  <a:pt x="6738623" y="1762373"/>
                </a:cubicBezTo>
                <a:cubicBezTo>
                  <a:pt x="6738623" y="1792854"/>
                  <a:pt x="6713913" y="1817564"/>
                  <a:pt x="6683431" y="1817564"/>
                </a:cubicBezTo>
                <a:cubicBezTo>
                  <a:pt x="6652949" y="1817564"/>
                  <a:pt x="6628239" y="1792854"/>
                  <a:pt x="6628239" y="1762373"/>
                </a:cubicBezTo>
                <a:cubicBezTo>
                  <a:pt x="6628239" y="1731892"/>
                  <a:pt x="6652949" y="1707182"/>
                  <a:pt x="6683431" y="1707182"/>
                </a:cubicBezTo>
                <a:close/>
                <a:moveTo>
                  <a:pt x="6553137" y="1707182"/>
                </a:moveTo>
                <a:cubicBezTo>
                  <a:pt x="6583619" y="1707182"/>
                  <a:pt x="6608329" y="1731892"/>
                  <a:pt x="6608329" y="1762373"/>
                </a:cubicBezTo>
                <a:cubicBezTo>
                  <a:pt x="6608329" y="1792854"/>
                  <a:pt x="6583619" y="1817564"/>
                  <a:pt x="6553137" y="1817564"/>
                </a:cubicBezTo>
                <a:cubicBezTo>
                  <a:pt x="6522655" y="1817564"/>
                  <a:pt x="6497945" y="1792854"/>
                  <a:pt x="6497945" y="1762373"/>
                </a:cubicBezTo>
                <a:cubicBezTo>
                  <a:pt x="6497945" y="1731892"/>
                  <a:pt x="6522655" y="1707182"/>
                  <a:pt x="6553137" y="1707182"/>
                </a:cubicBezTo>
                <a:close/>
                <a:moveTo>
                  <a:pt x="6419502" y="1707182"/>
                </a:moveTo>
                <a:cubicBezTo>
                  <a:pt x="6449984" y="1707182"/>
                  <a:pt x="6474694" y="1731892"/>
                  <a:pt x="6474694" y="1762373"/>
                </a:cubicBezTo>
                <a:cubicBezTo>
                  <a:pt x="6474694" y="1792854"/>
                  <a:pt x="6449984" y="1817564"/>
                  <a:pt x="6419502" y="1817564"/>
                </a:cubicBezTo>
                <a:cubicBezTo>
                  <a:pt x="6389020" y="1817564"/>
                  <a:pt x="6364310" y="1792854"/>
                  <a:pt x="6364310" y="1762373"/>
                </a:cubicBezTo>
                <a:cubicBezTo>
                  <a:pt x="6364310" y="1731892"/>
                  <a:pt x="6389020" y="1707182"/>
                  <a:pt x="6419502" y="1707182"/>
                </a:cubicBezTo>
                <a:close/>
                <a:moveTo>
                  <a:pt x="6289207" y="1707182"/>
                </a:moveTo>
                <a:cubicBezTo>
                  <a:pt x="6319689" y="1707182"/>
                  <a:pt x="6344399" y="1731892"/>
                  <a:pt x="6344399" y="1762373"/>
                </a:cubicBezTo>
                <a:cubicBezTo>
                  <a:pt x="6344399" y="1792854"/>
                  <a:pt x="6319689" y="1817564"/>
                  <a:pt x="6289207" y="1817564"/>
                </a:cubicBezTo>
                <a:cubicBezTo>
                  <a:pt x="6258725" y="1817564"/>
                  <a:pt x="6234015" y="1792854"/>
                  <a:pt x="6234015" y="1762373"/>
                </a:cubicBezTo>
                <a:cubicBezTo>
                  <a:pt x="6234015" y="1731892"/>
                  <a:pt x="6258725" y="1707182"/>
                  <a:pt x="6289207" y="1707182"/>
                </a:cubicBezTo>
                <a:close/>
                <a:moveTo>
                  <a:pt x="6155572" y="1707182"/>
                </a:moveTo>
                <a:cubicBezTo>
                  <a:pt x="6186054" y="1707182"/>
                  <a:pt x="6210764" y="1731892"/>
                  <a:pt x="6210764" y="1762373"/>
                </a:cubicBezTo>
                <a:cubicBezTo>
                  <a:pt x="6210764" y="1792854"/>
                  <a:pt x="6186054" y="1817564"/>
                  <a:pt x="6155572" y="1817564"/>
                </a:cubicBezTo>
                <a:cubicBezTo>
                  <a:pt x="6125090" y="1817564"/>
                  <a:pt x="6100380" y="1792854"/>
                  <a:pt x="6100380" y="1762373"/>
                </a:cubicBezTo>
                <a:cubicBezTo>
                  <a:pt x="6100380" y="1731892"/>
                  <a:pt x="6125090" y="1707182"/>
                  <a:pt x="6155572" y="1707182"/>
                </a:cubicBezTo>
                <a:close/>
                <a:moveTo>
                  <a:pt x="6021938" y="1707182"/>
                </a:moveTo>
                <a:cubicBezTo>
                  <a:pt x="6052420" y="1707182"/>
                  <a:pt x="6077130" y="1731892"/>
                  <a:pt x="6077130" y="1762373"/>
                </a:cubicBezTo>
                <a:cubicBezTo>
                  <a:pt x="6077130" y="1792854"/>
                  <a:pt x="6052420" y="1817564"/>
                  <a:pt x="6021938" y="1817564"/>
                </a:cubicBezTo>
                <a:cubicBezTo>
                  <a:pt x="5991456" y="1817564"/>
                  <a:pt x="5966746" y="1792854"/>
                  <a:pt x="5966746" y="1762373"/>
                </a:cubicBezTo>
                <a:cubicBezTo>
                  <a:pt x="5966746" y="1731892"/>
                  <a:pt x="5991456" y="1707182"/>
                  <a:pt x="6021938" y="1707182"/>
                </a:cubicBezTo>
                <a:close/>
                <a:moveTo>
                  <a:pt x="5884964" y="1707182"/>
                </a:moveTo>
                <a:cubicBezTo>
                  <a:pt x="5915446" y="1707182"/>
                  <a:pt x="5940156" y="1731892"/>
                  <a:pt x="5940156" y="1762373"/>
                </a:cubicBezTo>
                <a:cubicBezTo>
                  <a:pt x="5940156" y="1792854"/>
                  <a:pt x="5915446" y="1817564"/>
                  <a:pt x="5884964" y="1817564"/>
                </a:cubicBezTo>
                <a:cubicBezTo>
                  <a:pt x="5854482" y="1817564"/>
                  <a:pt x="5829772" y="1792854"/>
                  <a:pt x="5829772" y="1762373"/>
                </a:cubicBezTo>
                <a:cubicBezTo>
                  <a:pt x="5829772" y="1731892"/>
                  <a:pt x="5854482" y="1707182"/>
                  <a:pt x="5884964" y="1707182"/>
                </a:cubicBezTo>
                <a:close/>
                <a:moveTo>
                  <a:pt x="5754670" y="1707182"/>
                </a:moveTo>
                <a:cubicBezTo>
                  <a:pt x="5785152" y="1707182"/>
                  <a:pt x="5809862" y="1731892"/>
                  <a:pt x="5809862" y="1762373"/>
                </a:cubicBezTo>
                <a:cubicBezTo>
                  <a:pt x="5809862" y="1792854"/>
                  <a:pt x="5785152" y="1817564"/>
                  <a:pt x="5754670" y="1817564"/>
                </a:cubicBezTo>
                <a:cubicBezTo>
                  <a:pt x="5724188" y="1817564"/>
                  <a:pt x="5699478" y="1792854"/>
                  <a:pt x="5699478" y="1762373"/>
                </a:cubicBezTo>
                <a:cubicBezTo>
                  <a:pt x="5699478" y="1731892"/>
                  <a:pt x="5724188" y="1707182"/>
                  <a:pt x="5754670" y="1707182"/>
                </a:cubicBezTo>
                <a:close/>
                <a:moveTo>
                  <a:pt x="5621035" y="1707182"/>
                </a:moveTo>
                <a:cubicBezTo>
                  <a:pt x="5651517" y="1707182"/>
                  <a:pt x="5676227" y="1731892"/>
                  <a:pt x="5676227" y="1762373"/>
                </a:cubicBezTo>
                <a:cubicBezTo>
                  <a:pt x="5676227" y="1792854"/>
                  <a:pt x="5651517" y="1817564"/>
                  <a:pt x="5621035" y="1817564"/>
                </a:cubicBezTo>
                <a:cubicBezTo>
                  <a:pt x="5590553" y="1817564"/>
                  <a:pt x="5565843" y="1792854"/>
                  <a:pt x="5565843" y="1762373"/>
                </a:cubicBezTo>
                <a:cubicBezTo>
                  <a:pt x="5565843" y="1731892"/>
                  <a:pt x="5590553" y="1707182"/>
                  <a:pt x="5621035" y="1707182"/>
                </a:cubicBezTo>
                <a:close/>
                <a:moveTo>
                  <a:pt x="5487399" y="1707182"/>
                </a:moveTo>
                <a:cubicBezTo>
                  <a:pt x="5517881" y="1707182"/>
                  <a:pt x="5542591" y="1731892"/>
                  <a:pt x="5542591" y="1762373"/>
                </a:cubicBezTo>
                <a:cubicBezTo>
                  <a:pt x="5542591" y="1792854"/>
                  <a:pt x="5517881" y="1817564"/>
                  <a:pt x="5487399" y="1817564"/>
                </a:cubicBezTo>
                <a:cubicBezTo>
                  <a:pt x="5456917" y="1817564"/>
                  <a:pt x="5432207" y="1792854"/>
                  <a:pt x="5432207" y="1762373"/>
                </a:cubicBezTo>
                <a:cubicBezTo>
                  <a:pt x="5432207" y="1731892"/>
                  <a:pt x="5456917" y="1707182"/>
                  <a:pt x="5487399" y="1707182"/>
                </a:cubicBezTo>
                <a:close/>
                <a:moveTo>
                  <a:pt x="5357105" y="1707182"/>
                </a:moveTo>
                <a:cubicBezTo>
                  <a:pt x="5387587" y="1707182"/>
                  <a:pt x="5412297" y="1731892"/>
                  <a:pt x="5412297" y="1762373"/>
                </a:cubicBezTo>
                <a:cubicBezTo>
                  <a:pt x="5412297" y="1792854"/>
                  <a:pt x="5387587" y="1817564"/>
                  <a:pt x="5357105" y="1817564"/>
                </a:cubicBezTo>
                <a:cubicBezTo>
                  <a:pt x="5326623" y="1817564"/>
                  <a:pt x="5301913" y="1792854"/>
                  <a:pt x="5301913" y="1762373"/>
                </a:cubicBezTo>
                <a:cubicBezTo>
                  <a:pt x="5301913" y="1731892"/>
                  <a:pt x="5326623" y="1707182"/>
                  <a:pt x="5357105" y="1707182"/>
                </a:cubicBezTo>
                <a:close/>
                <a:moveTo>
                  <a:pt x="5223473" y="1707182"/>
                </a:moveTo>
                <a:cubicBezTo>
                  <a:pt x="5253955" y="1707182"/>
                  <a:pt x="5278665" y="1731892"/>
                  <a:pt x="5278665" y="1762373"/>
                </a:cubicBezTo>
                <a:cubicBezTo>
                  <a:pt x="5278665" y="1792854"/>
                  <a:pt x="5253955" y="1817564"/>
                  <a:pt x="5223473" y="1817564"/>
                </a:cubicBezTo>
                <a:cubicBezTo>
                  <a:pt x="5192991" y="1817564"/>
                  <a:pt x="5168281" y="1792854"/>
                  <a:pt x="5168281" y="1762373"/>
                </a:cubicBezTo>
                <a:cubicBezTo>
                  <a:pt x="5168281" y="1731892"/>
                  <a:pt x="5192991" y="1707182"/>
                  <a:pt x="5223473" y="1707182"/>
                </a:cubicBezTo>
                <a:close/>
                <a:moveTo>
                  <a:pt x="5093178" y="1707182"/>
                </a:moveTo>
                <a:cubicBezTo>
                  <a:pt x="5123660" y="1707182"/>
                  <a:pt x="5148370" y="1731892"/>
                  <a:pt x="5148370" y="1762373"/>
                </a:cubicBezTo>
                <a:cubicBezTo>
                  <a:pt x="5148370" y="1792854"/>
                  <a:pt x="5123660" y="1817564"/>
                  <a:pt x="5093178" y="1817564"/>
                </a:cubicBezTo>
                <a:cubicBezTo>
                  <a:pt x="5062696" y="1817564"/>
                  <a:pt x="5037986" y="1792854"/>
                  <a:pt x="5037986" y="1762373"/>
                </a:cubicBezTo>
                <a:cubicBezTo>
                  <a:pt x="5037986" y="1731892"/>
                  <a:pt x="5062696" y="1707182"/>
                  <a:pt x="5093178" y="1707182"/>
                </a:cubicBezTo>
                <a:close/>
                <a:moveTo>
                  <a:pt x="4959543" y="1707182"/>
                </a:moveTo>
                <a:cubicBezTo>
                  <a:pt x="4990025" y="1707182"/>
                  <a:pt x="5014735" y="1731892"/>
                  <a:pt x="5014735" y="1762373"/>
                </a:cubicBezTo>
                <a:cubicBezTo>
                  <a:pt x="5014735" y="1792854"/>
                  <a:pt x="4990025" y="1817564"/>
                  <a:pt x="4959543" y="1817564"/>
                </a:cubicBezTo>
                <a:cubicBezTo>
                  <a:pt x="4929061" y="1817564"/>
                  <a:pt x="4904351" y="1792854"/>
                  <a:pt x="4904351" y="1762373"/>
                </a:cubicBezTo>
                <a:cubicBezTo>
                  <a:pt x="4904351" y="1731892"/>
                  <a:pt x="4929061" y="1707182"/>
                  <a:pt x="4959543" y="1707182"/>
                </a:cubicBezTo>
                <a:close/>
                <a:moveTo>
                  <a:pt x="4829251" y="1707182"/>
                </a:moveTo>
                <a:cubicBezTo>
                  <a:pt x="4859733" y="1707182"/>
                  <a:pt x="4884443" y="1731892"/>
                  <a:pt x="4884443" y="1762373"/>
                </a:cubicBezTo>
                <a:cubicBezTo>
                  <a:pt x="4884443" y="1792854"/>
                  <a:pt x="4859733" y="1817564"/>
                  <a:pt x="4829251" y="1817564"/>
                </a:cubicBezTo>
                <a:cubicBezTo>
                  <a:pt x="4798769" y="1817564"/>
                  <a:pt x="4774059" y="1792854"/>
                  <a:pt x="4774059" y="1762373"/>
                </a:cubicBezTo>
                <a:cubicBezTo>
                  <a:pt x="4774059" y="1731892"/>
                  <a:pt x="4798769" y="1707182"/>
                  <a:pt x="4829251" y="1707182"/>
                </a:cubicBezTo>
                <a:close/>
                <a:moveTo>
                  <a:pt x="4695613" y="1707182"/>
                </a:moveTo>
                <a:cubicBezTo>
                  <a:pt x="4726095" y="1707182"/>
                  <a:pt x="4750805" y="1731892"/>
                  <a:pt x="4750805" y="1762373"/>
                </a:cubicBezTo>
                <a:cubicBezTo>
                  <a:pt x="4750805" y="1792854"/>
                  <a:pt x="4726095" y="1817564"/>
                  <a:pt x="4695613" y="1817564"/>
                </a:cubicBezTo>
                <a:cubicBezTo>
                  <a:pt x="4665131" y="1817564"/>
                  <a:pt x="4640421" y="1792854"/>
                  <a:pt x="4640421" y="1762373"/>
                </a:cubicBezTo>
                <a:cubicBezTo>
                  <a:pt x="4640421" y="1731892"/>
                  <a:pt x="4665131" y="1707182"/>
                  <a:pt x="4695613" y="1707182"/>
                </a:cubicBezTo>
                <a:close/>
                <a:moveTo>
                  <a:pt x="3098681" y="1707182"/>
                </a:moveTo>
                <a:cubicBezTo>
                  <a:pt x="3129163" y="1707182"/>
                  <a:pt x="3153873" y="1731892"/>
                  <a:pt x="3153873" y="1762373"/>
                </a:cubicBezTo>
                <a:cubicBezTo>
                  <a:pt x="3153873" y="1792854"/>
                  <a:pt x="3129163" y="1817564"/>
                  <a:pt x="3098681" y="1817564"/>
                </a:cubicBezTo>
                <a:cubicBezTo>
                  <a:pt x="3068199" y="1817564"/>
                  <a:pt x="3043489" y="1792854"/>
                  <a:pt x="3043489" y="1762373"/>
                </a:cubicBezTo>
                <a:cubicBezTo>
                  <a:pt x="3043489" y="1731892"/>
                  <a:pt x="3068199" y="1707182"/>
                  <a:pt x="3098681" y="1707182"/>
                </a:cubicBezTo>
                <a:close/>
                <a:moveTo>
                  <a:pt x="2971729" y="1707182"/>
                </a:moveTo>
                <a:cubicBezTo>
                  <a:pt x="3002211" y="1707182"/>
                  <a:pt x="3026921" y="1731892"/>
                  <a:pt x="3026921" y="1762373"/>
                </a:cubicBezTo>
                <a:cubicBezTo>
                  <a:pt x="3026921" y="1792854"/>
                  <a:pt x="3002211" y="1817564"/>
                  <a:pt x="2971729" y="1817564"/>
                </a:cubicBezTo>
                <a:cubicBezTo>
                  <a:pt x="2941247" y="1817564"/>
                  <a:pt x="2916537" y="1792854"/>
                  <a:pt x="2916537" y="1762373"/>
                </a:cubicBezTo>
                <a:cubicBezTo>
                  <a:pt x="2916537" y="1731892"/>
                  <a:pt x="2941247" y="1707182"/>
                  <a:pt x="2971729" y="1707182"/>
                </a:cubicBezTo>
                <a:close/>
                <a:moveTo>
                  <a:pt x="2834772" y="1707182"/>
                </a:moveTo>
                <a:cubicBezTo>
                  <a:pt x="2865254" y="1707182"/>
                  <a:pt x="2889964" y="1731892"/>
                  <a:pt x="2889964" y="1762373"/>
                </a:cubicBezTo>
                <a:cubicBezTo>
                  <a:pt x="2889964" y="1792854"/>
                  <a:pt x="2865254" y="1817564"/>
                  <a:pt x="2834772" y="1817564"/>
                </a:cubicBezTo>
                <a:cubicBezTo>
                  <a:pt x="2804290" y="1817564"/>
                  <a:pt x="2779580" y="1792854"/>
                  <a:pt x="2779580" y="1762373"/>
                </a:cubicBezTo>
                <a:cubicBezTo>
                  <a:pt x="2779580" y="1731892"/>
                  <a:pt x="2804290" y="1707182"/>
                  <a:pt x="2834772" y="1707182"/>
                </a:cubicBezTo>
                <a:close/>
                <a:moveTo>
                  <a:pt x="2707817" y="1707182"/>
                </a:moveTo>
                <a:cubicBezTo>
                  <a:pt x="2738299" y="1707182"/>
                  <a:pt x="2763009" y="1731892"/>
                  <a:pt x="2763009" y="1762373"/>
                </a:cubicBezTo>
                <a:cubicBezTo>
                  <a:pt x="2763009" y="1792854"/>
                  <a:pt x="2738299" y="1817564"/>
                  <a:pt x="2707817" y="1817564"/>
                </a:cubicBezTo>
                <a:cubicBezTo>
                  <a:pt x="2677336" y="1817564"/>
                  <a:pt x="2652625" y="1792854"/>
                  <a:pt x="2652625" y="1762373"/>
                </a:cubicBezTo>
                <a:cubicBezTo>
                  <a:pt x="2652625" y="1731892"/>
                  <a:pt x="2677336" y="1707182"/>
                  <a:pt x="2707817" y="1707182"/>
                </a:cubicBezTo>
                <a:close/>
                <a:moveTo>
                  <a:pt x="2570843" y="1707182"/>
                </a:moveTo>
                <a:cubicBezTo>
                  <a:pt x="2601326" y="1707182"/>
                  <a:pt x="2626036" y="1731892"/>
                  <a:pt x="2626036" y="1762373"/>
                </a:cubicBezTo>
                <a:cubicBezTo>
                  <a:pt x="2626036" y="1792854"/>
                  <a:pt x="2601326" y="1817564"/>
                  <a:pt x="2570843" y="1817564"/>
                </a:cubicBezTo>
                <a:cubicBezTo>
                  <a:pt x="2540362" y="1817564"/>
                  <a:pt x="2515651" y="1792854"/>
                  <a:pt x="2515651" y="1762373"/>
                </a:cubicBezTo>
                <a:cubicBezTo>
                  <a:pt x="2515651" y="1731892"/>
                  <a:pt x="2540362" y="1707182"/>
                  <a:pt x="2570843" y="1707182"/>
                </a:cubicBezTo>
                <a:close/>
                <a:moveTo>
                  <a:pt x="2437207" y="1707182"/>
                </a:moveTo>
                <a:cubicBezTo>
                  <a:pt x="2467689" y="1707182"/>
                  <a:pt x="2492398" y="1731892"/>
                  <a:pt x="2492398" y="1762373"/>
                </a:cubicBezTo>
                <a:cubicBezTo>
                  <a:pt x="2492398" y="1792854"/>
                  <a:pt x="2467689" y="1817564"/>
                  <a:pt x="2437207" y="1817564"/>
                </a:cubicBezTo>
                <a:cubicBezTo>
                  <a:pt x="2406725" y="1817564"/>
                  <a:pt x="2382015" y="1792854"/>
                  <a:pt x="2382015" y="1762373"/>
                </a:cubicBezTo>
                <a:cubicBezTo>
                  <a:pt x="2382015" y="1731892"/>
                  <a:pt x="2406725" y="1707182"/>
                  <a:pt x="2437207" y="1707182"/>
                </a:cubicBezTo>
                <a:close/>
                <a:moveTo>
                  <a:pt x="2303575" y="1707182"/>
                </a:moveTo>
                <a:cubicBezTo>
                  <a:pt x="2334057" y="1707182"/>
                  <a:pt x="2358767" y="1731892"/>
                  <a:pt x="2358767" y="1762373"/>
                </a:cubicBezTo>
                <a:cubicBezTo>
                  <a:pt x="2358767" y="1792854"/>
                  <a:pt x="2334057" y="1817564"/>
                  <a:pt x="2303575" y="1817564"/>
                </a:cubicBezTo>
                <a:cubicBezTo>
                  <a:pt x="2273093" y="1817564"/>
                  <a:pt x="2248383" y="1792854"/>
                  <a:pt x="2248383" y="1762373"/>
                </a:cubicBezTo>
                <a:cubicBezTo>
                  <a:pt x="2248383" y="1731892"/>
                  <a:pt x="2273093" y="1707182"/>
                  <a:pt x="2303575" y="1707182"/>
                </a:cubicBezTo>
                <a:close/>
                <a:moveTo>
                  <a:pt x="2173282" y="1707182"/>
                </a:moveTo>
                <a:cubicBezTo>
                  <a:pt x="2203764" y="1707182"/>
                  <a:pt x="2228474" y="1731892"/>
                  <a:pt x="2228474" y="1762373"/>
                </a:cubicBezTo>
                <a:cubicBezTo>
                  <a:pt x="2228474" y="1792854"/>
                  <a:pt x="2203764" y="1817564"/>
                  <a:pt x="2173282" y="1817564"/>
                </a:cubicBezTo>
                <a:cubicBezTo>
                  <a:pt x="2142800" y="1817564"/>
                  <a:pt x="2118090" y="1792854"/>
                  <a:pt x="2118090" y="1762373"/>
                </a:cubicBezTo>
                <a:cubicBezTo>
                  <a:pt x="2118090" y="1731892"/>
                  <a:pt x="2142800" y="1707182"/>
                  <a:pt x="2173282" y="1707182"/>
                </a:cubicBezTo>
                <a:close/>
                <a:moveTo>
                  <a:pt x="2039648" y="1707182"/>
                </a:moveTo>
                <a:cubicBezTo>
                  <a:pt x="2070129" y="1707182"/>
                  <a:pt x="2094840" y="1731892"/>
                  <a:pt x="2094840" y="1762373"/>
                </a:cubicBezTo>
                <a:cubicBezTo>
                  <a:pt x="2094840" y="1792854"/>
                  <a:pt x="2070129" y="1817564"/>
                  <a:pt x="2039648" y="1817564"/>
                </a:cubicBezTo>
                <a:cubicBezTo>
                  <a:pt x="2009165" y="1817564"/>
                  <a:pt x="1984455" y="1792854"/>
                  <a:pt x="1984455" y="1762373"/>
                </a:cubicBezTo>
                <a:cubicBezTo>
                  <a:pt x="1984455" y="1731892"/>
                  <a:pt x="2009165" y="1707182"/>
                  <a:pt x="2039648" y="1707182"/>
                </a:cubicBezTo>
                <a:close/>
                <a:moveTo>
                  <a:pt x="1909353" y="1707182"/>
                </a:moveTo>
                <a:cubicBezTo>
                  <a:pt x="1939835" y="1707182"/>
                  <a:pt x="1964545" y="1731892"/>
                  <a:pt x="1964545" y="1762373"/>
                </a:cubicBezTo>
                <a:cubicBezTo>
                  <a:pt x="1964545" y="1792854"/>
                  <a:pt x="1939835" y="1817564"/>
                  <a:pt x="1909353" y="1817564"/>
                </a:cubicBezTo>
                <a:cubicBezTo>
                  <a:pt x="1878870" y="1817564"/>
                  <a:pt x="1854161" y="1792854"/>
                  <a:pt x="1854161" y="1762373"/>
                </a:cubicBezTo>
                <a:cubicBezTo>
                  <a:pt x="1854161" y="1731892"/>
                  <a:pt x="1878870" y="1707182"/>
                  <a:pt x="1909353" y="1707182"/>
                </a:cubicBezTo>
                <a:close/>
                <a:moveTo>
                  <a:pt x="1779058" y="1707182"/>
                </a:moveTo>
                <a:cubicBezTo>
                  <a:pt x="1809540" y="1707182"/>
                  <a:pt x="1834251" y="1731892"/>
                  <a:pt x="1834251" y="1762373"/>
                </a:cubicBezTo>
                <a:cubicBezTo>
                  <a:pt x="1834251" y="1792854"/>
                  <a:pt x="1809540" y="1817564"/>
                  <a:pt x="1779058" y="1817564"/>
                </a:cubicBezTo>
                <a:cubicBezTo>
                  <a:pt x="1748577" y="1817564"/>
                  <a:pt x="1723867" y="1792854"/>
                  <a:pt x="1723867" y="1762373"/>
                </a:cubicBezTo>
                <a:cubicBezTo>
                  <a:pt x="1723867" y="1731892"/>
                  <a:pt x="1748577" y="1707182"/>
                  <a:pt x="1779058" y="1707182"/>
                </a:cubicBezTo>
                <a:close/>
                <a:moveTo>
                  <a:pt x="1645422" y="1707182"/>
                </a:moveTo>
                <a:cubicBezTo>
                  <a:pt x="1675906" y="1707182"/>
                  <a:pt x="1700617" y="1731892"/>
                  <a:pt x="1700617" y="1762373"/>
                </a:cubicBezTo>
                <a:cubicBezTo>
                  <a:pt x="1700617" y="1792854"/>
                  <a:pt x="1675906" y="1817564"/>
                  <a:pt x="1645422" y="1817564"/>
                </a:cubicBezTo>
                <a:cubicBezTo>
                  <a:pt x="1614940" y="1817564"/>
                  <a:pt x="1590230" y="1792854"/>
                  <a:pt x="1590230" y="1762373"/>
                </a:cubicBezTo>
                <a:cubicBezTo>
                  <a:pt x="1590230" y="1731892"/>
                  <a:pt x="1614940" y="1707182"/>
                  <a:pt x="1645422" y="1707182"/>
                </a:cubicBezTo>
                <a:close/>
                <a:moveTo>
                  <a:pt x="1515130" y="1707182"/>
                </a:moveTo>
                <a:cubicBezTo>
                  <a:pt x="1545612" y="1707182"/>
                  <a:pt x="1570322" y="1731892"/>
                  <a:pt x="1570322" y="1762373"/>
                </a:cubicBezTo>
                <a:cubicBezTo>
                  <a:pt x="1570322" y="1792854"/>
                  <a:pt x="1545612" y="1817564"/>
                  <a:pt x="1515130" y="1817564"/>
                </a:cubicBezTo>
                <a:cubicBezTo>
                  <a:pt x="1484648" y="1817564"/>
                  <a:pt x="1459938" y="1792854"/>
                  <a:pt x="1459938" y="1762373"/>
                </a:cubicBezTo>
                <a:cubicBezTo>
                  <a:pt x="1459938" y="1731892"/>
                  <a:pt x="1484648" y="1707182"/>
                  <a:pt x="1515130" y="1707182"/>
                </a:cubicBezTo>
                <a:close/>
                <a:moveTo>
                  <a:pt x="1381494" y="1707182"/>
                </a:moveTo>
                <a:cubicBezTo>
                  <a:pt x="1411978" y="1707182"/>
                  <a:pt x="1436688" y="1731892"/>
                  <a:pt x="1436688" y="1762373"/>
                </a:cubicBezTo>
                <a:cubicBezTo>
                  <a:pt x="1436688" y="1792854"/>
                  <a:pt x="1411978" y="1817564"/>
                  <a:pt x="1381494" y="1817564"/>
                </a:cubicBezTo>
                <a:cubicBezTo>
                  <a:pt x="1351014" y="1817564"/>
                  <a:pt x="1326303" y="1792854"/>
                  <a:pt x="1326303" y="1762373"/>
                </a:cubicBezTo>
                <a:cubicBezTo>
                  <a:pt x="1326303" y="1731892"/>
                  <a:pt x="1351014" y="1707182"/>
                  <a:pt x="1381494" y="1707182"/>
                </a:cubicBezTo>
                <a:close/>
                <a:moveTo>
                  <a:pt x="1251201" y="1707182"/>
                </a:moveTo>
                <a:cubicBezTo>
                  <a:pt x="1281685" y="1707182"/>
                  <a:pt x="1306393" y="1731892"/>
                  <a:pt x="1306393" y="1762373"/>
                </a:cubicBezTo>
                <a:cubicBezTo>
                  <a:pt x="1306393" y="1792854"/>
                  <a:pt x="1281685" y="1817564"/>
                  <a:pt x="1251201" y="1817564"/>
                </a:cubicBezTo>
                <a:cubicBezTo>
                  <a:pt x="1220721" y="1817564"/>
                  <a:pt x="1196010" y="1792854"/>
                  <a:pt x="1196010" y="1762373"/>
                </a:cubicBezTo>
                <a:cubicBezTo>
                  <a:pt x="1196010" y="1731892"/>
                  <a:pt x="1220721" y="1707182"/>
                  <a:pt x="1251201" y="1707182"/>
                </a:cubicBezTo>
                <a:close/>
                <a:moveTo>
                  <a:pt x="1909361" y="1580232"/>
                </a:moveTo>
                <a:cubicBezTo>
                  <a:pt x="1939843" y="1580232"/>
                  <a:pt x="1964554" y="1604942"/>
                  <a:pt x="1964554" y="1635423"/>
                </a:cubicBezTo>
                <a:cubicBezTo>
                  <a:pt x="1964554" y="1665904"/>
                  <a:pt x="1939843" y="1690614"/>
                  <a:pt x="1909361" y="1690614"/>
                </a:cubicBezTo>
                <a:cubicBezTo>
                  <a:pt x="1878879" y="1690614"/>
                  <a:pt x="1854168" y="1665904"/>
                  <a:pt x="1854168" y="1635423"/>
                </a:cubicBezTo>
                <a:cubicBezTo>
                  <a:pt x="1854168" y="1604942"/>
                  <a:pt x="1878879" y="1580232"/>
                  <a:pt x="1909361" y="1580232"/>
                </a:cubicBezTo>
                <a:close/>
                <a:moveTo>
                  <a:pt x="1779065" y="1580232"/>
                </a:moveTo>
                <a:cubicBezTo>
                  <a:pt x="1809547" y="1580232"/>
                  <a:pt x="1834257" y="1604942"/>
                  <a:pt x="1834257" y="1635423"/>
                </a:cubicBezTo>
                <a:cubicBezTo>
                  <a:pt x="1834257" y="1665904"/>
                  <a:pt x="1809547" y="1690614"/>
                  <a:pt x="1779065" y="1690614"/>
                </a:cubicBezTo>
                <a:cubicBezTo>
                  <a:pt x="1748583" y="1690614"/>
                  <a:pt x="1723872" y="1665904"/>
                  <a:pt x="1723872" y="1635423"/>
                </a:cubicBezTo>
                <a:cubicBezTo>
                  <a:pt x="1723872" y="1604942"/>
                  <a:pt x="1748583" y="1580232"/>
                  <a:pt x="1779065" y="1580232"/>
                </a:cubicBezTo>
                <a:close/>
                <a:moveTo>
                  <a:pt x="1645431" y="1580232"/>
                </a:moveTo>
                <a:cubicBezTo>
                  <a:pt x="1675914" y="1580232"/>
                  <a:pt x="1700623" y="1604942"/>
                  <a:pt x="1700623" y="1635423"/>
                </a:cubicBezTo>
                <a:cubicBezTo>
                  <a:pt x="1700623" y="1665904"/>
                  <a:pt x="1675914" y="1690614"/>
                  <a:pt x="1645431" y="1690614"/>
                </a:cubicBezTo>
                <a:cubicBezTo>
                  <a:pt x="1614950" y="1690614"/>
                  <a:pt x="1590238" y="1665904"/>
                  <a:pt x="1590238" y="1635423"/>
                </a:cubicBezTo>
                <a:cubicBezTo>
                  <a:pt x="1590238" y="1604942"/>
                  <a:pt x="1614950" y="1580232"/>
                  <a:pt x="1645431" y="1580232"/>
                </a:cubicBezTo>
                <a:close/>
                <a:moveTo>
                  <a:pt x="1515140" y="1580232"/>
                </a:moveTo>
                <a:cubicBezTo>
                  <a:pt x="1545619" y="1580232"/>
                  <a:pt x="1570329" y="1604942"/>
                  <a:pt x="1570329" y="1635423"/>
                </a:cubicBezTo>
                <a:cubicBezTo>
                  <a:pt x="1570329" y="1665904"/>
                  <a:pt x="1545619" y="1690614"/>
                  <a:pt x="1515140" y="1690614"/>
                </a:cubicBezTo>
                <a:cubicBezTo>
                  <a:pt x="1484656" y="1690614"/>
                  <a:pt x="1459945" y="1665904"/>
                  <a:pt x="1459945" y="1635423"/>
                </a:cubicBezTo>
                <a:cubicBezTo>
                  <a:pt x="1459945" y="1604942"/>
                  <a:pt x="1484656" y="1580232"/>
                  <a:pt x="1515140" y="1580232"/>
                </a:cubicBezTo>
                <a:close/>
                <a:moveTo>
                  <a:pt x="1381504" y="1580232"/>
                </a:moveTo>
                <a:cubicBezTo>
                  <a:pt x="1411984" y="1580232"/>
                  <a:pt x="1436697" y="1604942"/>
                  <a:pt x="1436697" y="1635423"/>
                </a:cubicBezTo>
                <a:cubicBezTo>
                  <a:pt x="1436697" y="1665904"/>
                  <a:pt x="1411984" y="1690614"/>
                  <a:pt x="1381504" y="1690614"/>
                </a:cubicBezTo>
                <a:cubicBezTo>
                  <a:pt x="1351022" y="1690614"/>
                  <a:pt x="1326312" y="1665904"/>
                  <a:pt x="1326312" y="1635423"/>
                </a:cubicBezTo>
                <a:cubicBezTo>
                  <a:pt x="1326312" y="1604942"/>
                  <a:pt x="1351022" y="1580232"/>
                  <a:pt x="1381504" y="1580232"/>
                </a:cubicBezTo>
                <a:close/>
                <a:moveTo>
                  <a:pt x="1251210" y="1580232"/>
                </a:moveTo>
                <a:cubicBezTo>
                  <a:pt x="1281690" y="1580232"/>
                  <a:pt x="1306401" y="1604942"/>
                  <a:pt x="1306401" y="1635423"/>
                </a:cubicBezTo>
                <a:cubicBezTo>
                  <a:pt x="1306401" y="1665904"/>
                  <a:pt x="1281690" y="1690614"/>
                  <a:pt x="1251210" y="1690614"/>
                </a:cubicBezTo>
                <a:cubicBezTo>
                  <a:pt x="1220727" y="1690614"/>
                  <a:pt x="1196016" y="1665904"/>
                  <a:pt x="1196016" y="1635423"/>
                </a:cubicBezTo>
                <a:cubicBezTo>
                  <a:pt x="1196016" y="1604942"/>
                  <a:pt x="1220727" y="1580232"/>
                  <a:pt x="1251210" y="1580232"/>
                </a:cubicBezTo>
                <a:close/>
                <a:moveTo>
                  <a:pt x="9068806" y="1580228"/>
                </a:moveTo>
                <a:cubicBezTo>
                  <a:pt x="9099288" y="1580228"/>
                  <a:pt x="9123998" y="1604938"/>
                  <a:pt x="9123998" y="1635419"/>
                </a:cubicBezTo>
                <a:cubicBezTo>
                  <a:pt x="9123998" y="1665900"/>
                  <a:pt x="9099288" y="1690610"/>
                  <a:pt x="9068806" y="1690610"/>
                </a:cubicBezTo>
                <a:cubicBezTo>
                  <a:pt x="9038324" y="1690610"/>
                  <a:pt x="9013614" y="1665900"/>
                  <a:pt x="9013614" y="1635419"/>
                </a:cubicBezTo>
                <a:cubicBezTo>
                  <a:pt x="9013614" y="1604938"/>
                  <a:pt x="9038324" y="1580228"/>
                  <a:pt x="9068806" y="1580228"/>
                </a:cubicBezTo>
                <a:close/>
                <a:moveTo>
                  <a:pt x="8671243" y="1580228"/>
                </a:moveTo>
                <a:cubicBezTo>
                  <a:pt x="8701725" y="1580228"/>
                  <a:pt x="8726435" y="1604938"/>
                  <a:pt x="8726435" y="1635419"/>
                </a:cubicBezTo>
                <a:cubicBezTo>
                  <a:pt x="8726435" y="1665900"/>
                  <a:pt x="8701725" y="1690610"/>
                  <a:pt x="8671243" y="1690610"/>
                </a:cubicBezTo>
                <a:cubicBezTo>
                  <a:pt x="8640761" y="1690610"/>
                  <a:pt x="8616051" y="1665900"/>
                  <a:pt x="8616051" y="1635419"/>
                </a:cubicBezTo>
                <a:cubicBezTo>
                  <a:pt x="8616051" y="1604938"/>
                  <a:pt x="8640761" y="1580228"/>
                  <a:pt x="8671243" y="1580228"/>
                </a:cubicBezTo>
                <a:close/>
                <a:moveTo>
                  <a:pt x="8537609" y="1580228"/>
                </a:moveTo>
                <a:cubicBezTo>
                  <a:pt x="8568091" y="1580228"/>
                  <a:pt x="8592801" y="1604938"/>
                  <a:pt x="8592801" y="1635419"/>
                </a:cubicBezTo>
                <a:cubicBezTo>
                  <a:pt x="8592801" y="1665900"/>
                  <a:pt x="8568091" y="1690610"/>
                  <a:pt x="8537609" y="1690610"/>
                </a:cubicBezTo>
                <a:cubicBezTo>
                  <a:pt x="8507127" y="1690610"/>
                  <a:pt x="8482417" y="1665900"/>
                  <a:pt x="8482417" y="1635419"/>
                </a:cubicBezTo>
                <a:cubicBezTo>
                  <a:pt x="8482417" y="1604938"/>
                  <a:pt x="8507127" y="1580228"/>
                  <a:pt x="8537609" y="1580228"/>
                </a:cubicBezTo>
                <a:close/>
                <a:moveTo>
                  <a:pt x="8407318" y="1580228"/>
                </a:moveTo>
                <a:cubicBezTo>
                  <a:pt x="8437800" y="1580228"/>
                  <a:pt x="8462510" y="1604938"/>
                  <a:pt x="8462510" y="1635419"/>
                </a:cubicBezTo>
                <a:cubicBezTo>
                  <a:pt x="8462510" y="1665900"/>
                  <a:pt x="8437800" y="1690610"/>
                  <a:pt x="8407318" y="1690610"/>
                </a:cubicBezTo>
                <a:cubicBezTo>
                  <a:pt x="8376836" y="1690610"/>
                  <a:pt x="8352126" y="1665900"/>
                  <a:pt x="8352126" y="1635419"/>
                </a:cubicBezTo>
                <a:cubicBezTo>
                  <a:pt x="8352126" y="1604938"/>
                  <a:pt x="8376836" y="1580228"/>
                  <a:pt x="8407318" y="1580228"/>
                </a:cubicBezTo>
                <a:close/>
                <a:moveTo>
                  <a:pt x="8273682" y="1580228"/>
                </a:moveTo>
                <a:cubicBezTo>
                  <a:pt x="8304164" y="1580228"/>
                  <a:pt x="8328874" y="1604938"/>
                  <a:pt x="8328874" y="1635419"/>
                </a:cubicBezTo>
                <a:cubicBezTo>
                  <a:pt x="8328874" y="1665900"/>
                  <a:pt x="8304164" y="1690610"/>
                  <a:pt x="8273682" y="1690610"/>
                </a:cubicBezTo>
                <a:cubicBezTo>
                  <a:pt x="8243200" y="1690610"/>
                  <a:pt x="8218490" y="1665900"/>
                  <a:pt x="8218490" y="1635419"/>
                </a:cubicBezTo>
                <a:cubicBezTo>
                  <a:pt x="8218490" y="1604938"/>
                  <a:pt x="8243200" y="1580228"/>
                  <a:pt x="8273682" y="1580228"/>
                </a:cubicBezTo>
                <a:close/>
                <a:moveTo>
                  <a:pt x="8143386" y="1580228"/>
                </a:moveTo>
                <a:cubicBezTo>
                  <a:pt x="8173868" y="1580228"/>
                  <a:pt x="8198578" y="1604938"/>
                  <a:pt x="8198578" y="1635419"/>
                </a:cubicBezTo>
                <a:cubicBezTo>
                  <a:pt x="8198578" y="1665900"/>
                  <a:pt x="8173868" y="1690610"/>
                  <a:pt x="8143386" y="1690610"/>
                </a:cubicBezTo>
                <a:cubicBezTo>
                  <a:pt x="8112904" y="1690610"/>
                  <a:pt x="8088194" y="1665900"/>
                  <a:pt x="8088194" y="1635419"/>
                </a:cubicBezTo>
                <a:cubicBezTo>
                  <a:pt x="8088194" y="1604938"/>
                  <a:pt x="8112904" y="1580228"/>
                  <a:pt x="8143386" y="1580228"/>
                </a:cubicBezTo>
                <a:close/>
                <a:moveTo>
                  <a:pt x="8009752" y="1580228"/>
                </a:moveTo>
                <a:cubicBezTo>
                  <a:pt x="8040234" y="1580228"/>
                  <a:pt x="8064944" y="1604938"/>
                  <a:pt x="8064944" y="1635419"/>
                </a:cubicBezTo>
                <a:cubicBezTo>
                  <a:pt x="8064944" y="1665900"/>
                  <a:pt x="8040234" y="1690610"/>
                  <a:pt x="8009752" y="1690610"/>
                </a:cubicBezTo>
                <a:cubicBezTo>
                  <a:pt x="7979270" y="1690610"/>
                  <a:pt x="7954560" y="1665900"/>
                  <a:pt x="7954560" y="1635419"/>
                </a:cubicBezTo>
                <a:cubicBezTo>
                  <a:pt x="7954560" y="1604938"/>
                  <a:pt x="7979270" y="1580228"/>
                  <a:pt x="8009752" y="1580228"/>
                </a:cubicBezTo>
                <a:close/>
                <a:moveTo>
                  <a:pt x="7876117" y="1580228"/>
                </a:moveTo>
                <a:cubicBezTo>
                  <a:pt x="7906599" y="1580228"/>
                  <a:pt x="7931309" y="1604938"/>
                  <a:pt x="7931309" y="1635419"/>
                </a:cubicBezTo>
                <a:cubicBezTo>
                  <a:pt x="7931309" y="1665900"/>
                  <a:pt x="7906599" y="1690610"/>
                  <a:pt x="7876117" y="1690610"/>
                </a:cubicBezTo>
                <a:cubicBezTo>
                  <a:pt x="7845635" y="1690610"/>
                  <a:pt x="7820925" y="1665900"/>
                  <a:pt x="7820925" y="1635419"/>
                </a:cubicBezTo>
                <a:cubicBezTo>
                  <a:pt x="7820925" y="1604938"/>
                  <a:pt x="7845635" y="1580228"/>
                  <a:pt x="7876117" y="1580228"/>
                </a:cubicBezTo>
                <a:close/>
                <a:moveTo>
                  <a:pt x="7745824" y="1580228"/>
                </a:moveTo>
                <a:cubicBezTo>
                  <a:pt x="7776306" y="1580228"/>
                  <a:pt x="7801016" y="1604938"/>
                  <a:pt x="7801016" y="1635419"/>
                </a:cubicBezTo>
                <a:cubicBezTo>
                  <a:pt x="7801016" y="1665900"/>
                  <a:pt x="7776306" y="1690610"/>
                  <a:pt x="7745824" y="1690610"/>
                </a:cubicBezTo>
                <a:cubicBezTo>
                  <a:pt x="7715342" y="1690610"/>
                  <a:pt x="7690632" y="1665900"/>
                  <a:pt x="7690632" y="1635419"/>
                </a:cubicBezTo>
                <a:cubicBezTo>
                  <a:pt x="7690632" y="1604938"/>
                  <a:pt x="7715342" y="1580228"/>
                  <a:pt x="7745824" y="1580228"/>
                </a:cubicBezTo>
                <a:close/>
                <a:moveTo>
                  <a:pt x="7608849" y="1580228"/>
                </a:moveTo>
                <a:cubicBezTo>
                  <a:pt x="7639331" y="1580228"/>
                  <a:pt x="7664041" y="1604938"/>
                  <a:pt x="7664041" y="1635419"/>
                </a:cubicBezTo>
                <a:cubicBezTo>
                  <a:pt x="7664041" y="1665900"/>
                  <a:pt x="7639331" y="1690610"/>
                  <a:pt x="7608849" y="1690610"/>
                </a:cubicBezTo>
                <a:cubicBezTo>
                  <a:pt x="7578367" y="1690610"/>
                  <a:pt x="7553657" y="1665900"/>
                  <a:pt x="7553657" y="1635419"/>
                </a:cubicBezTo>
                <a:cubicBezTo>
                  <a:pt x="7553657" y="1604938"/>
                  <a:pt x="7578367" y="1580228"/>
                  <a:pt x="7608849" y="1580228"/>
                </a:cubicBezTo>
                <a:close/>
                <a:moveTo>
                  <a:pt x="7481895" y="1580228"/>
                </a:moveTo>
                <a:cubicBezTo>
                  <a:pt x="7512377" y="1580228"/>
                  <a:pt x="7537087" y="1604938"/>
                  <a:pt x="7537087" y="1635419"/>
                </a:cubicBezTo>
                <a:cubicBezTo>
                  <a:pt x="7537087" y="1665900"/>
                  <a:pt x="7512377" y="1690610"/>
                  <a:pt x="7481895" y="1690610"/>
                </a:cubicBezTo>
                <a:cubicBezTo>
                  <a:pt x="7451413" y="1690610"/>
                  <a:pt x="7426703" y="1665900"/>
                  <a:pt x="7426703" y="1635419"/>
                </a:cubicBezTo>
                <a:cubicBezTo>
                  <a:pt x="7426703" y="1604938"/>
                  <a:pt x="7451413" y="1580228"/>
                  <a:pt x="7481895" y="1580228"/>
                </a:cubicBezTo>
                <a:close/>
                <a:moveTo>
                  <a:pt x="7341579" y="1580228"/>
                </a:moveTo>
                <a:cubicBezTo>
                  <a:pt x="7372061" y="1580228"/>
                  <a:pt x="7396771" y="1604938"/>
                  <a:pt x="7396771" y="1635419"/>
                </a:cubicBezTo>
                <a:cubicBezTo>
                  <a:pt x="7396771" y="1665900"/>
                  <a:pt x="7372061" y="1690610"/>
                  <a:pt x="7341579" y="1690610"/>
                </a:cubicBezTo>
                <a:cubicBezTo>
                  <a:pt x="7311097" y="1690610"/>
                  <a:pt x="7286387" y="1665900"/>
                  <a:pt x="7286387" y="1635419"/>
                </a:cubicBezTo>
                <a:cubicBezTo>
                  <a:pt x="7286387" y="1604938"/>
                  <a:pt x="7311097" y="1580228"/>
                  <a:pt x="7341579" y="1580228"/>
                </a:cubicBezTo>
                <a:close/>
                <a:moveTo>
                  <a:pt x="7211286" y="1580228"/>
                </a:moveTo>
                <a:cubicBezTo>
                  <a:pt x="7241768" y="1580228"/>
                  <a:pt x="7266478" y="1604938"/>
                  <a:pt x="7266478" y="1635419"/>
                </a:cubicBezTo>
                <a:cubicBezTo>
                  <a:pt x="7266478" y="1665900"/>
                  <a:pt x="7241768" y="1690610"/>
                  <a:pt x="7211286" y="1690610"/>
                </a:cubicBezTo>
                <a:cubicBezTo>
                  <a:pt x="7180804" y="1690610"/>
                  <a:pt x="7156094" y="1665900"/>
                  <a:pt x="7156094" y="1635419"/>
                </a:cubicBezTo>
                <a:cubicBezTo>
                  <a:pt x="7156094" y="1604938"/>
                  <a:pt x="7180804" y="1580228"/>
                  <a:pt x="7211286" y="1580228"/>
                </a:cubicBezTo>
                <a:close/>
                <a:moveTo>
                  <a:pt x="7080993" y="1580228"/>
                </a:moveTo>
                <a:cubicBezTo>
                  <a:pt x="7111475" y="1580228"/>
                  <a:pt x="7136185" y="1604938"/>
                  <a:pt x="7136185" y="1635419"/>
                </a:cubicBezTo>
                <a:cubicBezTo>
                  <a:pt x="7136185" y="1665900"/>
                  <a:pt x="7111475" y="1690610"/>
                  <a:pt x="7080993" y="1690610"/>
                </a:cubicBezTo>
                <a:cubicBezTo>
                  <a:pt x="7050511" y="1690610"/>
                  <a:pt x="7025801" y="1665900"/>
                  <a:pt x="7025801" y="1635419"/>
                </a:cubicBezTo>
                <a:cubicBezTo>
                  <a:pt x="7025801" y="1604938"/>
                  <a:pt x="7050511" y="1580228"/>
                  <a:pt x="7080993" y="1580228"/>
                </a:cubicBezTo>
                <a:close/>
                <a:moveTo>
                  <a:pt x="6947357" y="1580228"/>
                </a:moveTo>
                <a:cubicBezTo>
                  <a:pt x="6977839" y="1580228"/>
                  <a:pt x="7002549" y="1604938"/>
                  <a:pt x="7002549" y="1635419"/>
                </a:cubicBezTo>
                <a:cubicBezTo>
                  <a:pt x="7002549" y="1665900"/>
                  <a:pt x="6977839" y="1690610"/>
                  <a:pt x="6947357" y="1690610"/>
                </a:cubicBezTo>
                <a:cubicBezTo>
                  <a:pt x="6916875" y="1690610"/>
                  <a:pt x="6892165" y="1665900"/>
                  <a:pt x="6892165" y="1635419"/>
                </a:cubicBezTo>
                <a:cubicBezTo>
                  <a:pt x="6892165" y="1604938"/>
                  <a:pt x="6916875" y="1580228"/>
                  <a:pt x="6947357" y="1580228"/>
                </a:cubicBezTo>
                <a:close/>
                <a:moveTo>
                  <a:pt x="6817063" y="1580228"/>
                </a:moveTo>
                <a:cubicBezTo>
                  <a:pt x="6847545" y="1580228"/>
                  <a:pt x="6872255" y="1604938"/>
                  <a:pt x="6872255" y="1635419"/>
                </a:cubicBezTo>
                <a:cubicBezTo>
                  <a:pt x="6872255" y="1665900"/>
                  <a:pt x="6847545" y="1690610"/>
                  <a:pt x="6817063" y="1690610"/>
                </a:cubicBezTo>
                <a:cubicBezTo>
                  <a:pt x="6786581" y="1690610"/>
                  <a:pt x="6761871" y="1665900"/>
                  <a:pt x="6761871" y="1635419"/>
                </a:cubicBezTo>
                <a:cubicBezTo>
                  <a:pt x="6761871" y="1604938"/>
                  <a:pt x="6786581" y="1580228"/>
                  <a:pt x="6817063" y="1580228"/>
                </a:cubicBezTo>
                <a:close/>
                <a:moveTo>
                  <a:pt x="6683431" y="1580228"/>
                </a:moveTo>
                <a:cubicBezTo>
                  <a:pt x="6713913" y="1580228"/>
                  <a:pt x="6738623" y="1604938"/>
                  <a:pt x="6738623" y="1635419"/>
                </a:cubicBezTo>
                <a:cubicBezTo>
                  <a:pt x="6738623" y="1665900"/>
                  <a:pt x="6713913" y="1690610"/>
                  <a:pt x="6683431" y="1690610"/>
                </a:cubicBezTo>
                <a:cubicBezTo>
                  <a:pt x="6652949" y="1690610"/>
                  <a:pt x="6628239" y="1665900"/>
                  <a:pt x="6628239" y="1635419"/>
                </a:cubicBezTo>
                <a:cubicBezTo>
                  <a:pt x="6628239" y="1604938"/>
                  <a:pt x="6652949" y="1580228"/>
                  <a:pt x="6683431" y="1580228"/>
                </a:cubicBezTo>
                <a:close/>
                <a:moveTo>
                  <a:pt x="6553137" y="1580228"/>
                </a:moveTo>
                <a:cubicBezTo>
                  <a:pt x="6583619" y="1580228"/>
                  <a:pt x="6608329" y="1604938"/>
                  <a:pt x="6608329" y="1635419"/>
                </a:cubicBezTo>
                <a:cubicBezTo>
                  <a:pt x="6608329" y="1665900"/>
                  <a:pt x="6583619" y="1690610"/>
                  <a:pt x="6553137" y="1690610"/>
                </a:cubicBezTo>
                <a:cubicBezTo>
                  <a:pt x="6522655" y="1690610"/>
                  <a:pt x="6497945" y="1665900"/>
                  <a:pt x="6497945" y="1635419"/>
                </a:cubicBezTo>
                <a:cubicBezTo>
                  <a:pt x="6497945" y="1604938"/>
                  <a:pt x="6522655" y="1580228"/>
                  <a:pt x="6553137" y="1580228"/>
                </a:cubicBezTo>
                <a:close/>
                <a:moveTo>
                  <a:pt x="6419502" y="1580228"/>
                </a:moveTo>
                <a:cubicBezTo>
                  <a:pt x="6449984" y="1580228"/>
                  <a:pt x="6474694" y="1604938"/>
                  <a:pt x="6474694" y="1635419"/>
                </a:cubicBezTo>
                <a:cubicBezTo>
                  <a:pt x="6474694" y="1665900"/>
                  <a:pt x="6449984" y="1690610"/>
                  <a:pt x="6419502" y="1690610"/>
                </a:cubicBezTo>
                <a:cubicBezTo>
                  <a:pt x="6389020" y="1690610"/>
                  <a:pt x="6364310" y="1665900"/>
                  <a:pt x="6364310" y="1635419"/>
                </a:cubicBezTo>
                <a:cubicBezTo>
                  <a:pt x="6364310" y="1604938"/>
                  <a:pt x="6389020" y="1580228"/>
                  <a:pt x="6419502" y="1580228"/>
                </a:cubicBezTo>
                <a:close/>
                <a:moveTo>
                  <a:pt x="6289208" y="1580228"/>
                </a:moveTo>
                <a:cubicBezTo>
                  <a:pt x="6319690" y="1580228"/>
                  <a:pt x="6344400" y="1604938"/>
                  <a:pt x="6344400" y="1635419"/>
                </a:cubicBezTo>
                <a:cubicBezTo>
                  <a:pt x="6344400" y="1665900"/>
                  <a:pt x="6319690" y="1690610"/>
                  <a:pt x="6289208" y="1690610"/>
                </a:cubicBezTo>
                <a:cubicBezTo>
                  <a:pt x="6258726" y="1690610"/>
                  <a:pt x="6234016" y="1665900"/>
                  <a:pt x="6234016" y="1635419"/>
                </a:cubicBezTo>
                <a:cubicBezTo>
                  <a:pt x="6234016" y="1604938"/>
                  <a:pt x="6258726" y="1580228"/>
                  <a:pt x="6289208" y="1580228"/>
                </a:cubicBezTo>
                <a:close/>
                <a:moveTo>
                  <a:pt x="6155572" y="1580228"/>
                </a:moveTo>
                <a:cubicBezTo>
                  <a:pt x="6186054" y="1580228"/>
                  <a:pt x="6210764" y="1604938"/>
                  <a:pt x="6210764" y="1635419"/>
                </a:cubicBezTo>
                <a:cubicBezTo>
                  <a:pt x="6210764" y="1665900"/>
                  <a:pt x="6186054" y="1690610"/>
                  <a:pt x="6155572" y="1690610"/>
                </a:cubicBezTo>
                <a:cubicBezTo>
                  <a:pt x="6125090" y="1690610"/>
                  <a:pt x="6100380" y="1665900"/>
                  <a:pt x="6100380" y="1635419"/>
                </a:cubicBezTo>
                <a:cubicBezTo>
                  <a:pt x="6100380" y="1604938"/>
                  <a:pt x="6125090" y="1580228"/>
                  <a:pt x="6155572" y="1580228"/>
                </a:cubicBezTo>
                <a:close/>
                <a:moveTo>
                  <a:pt x="6021938" y="1580228"/>
                </a:moveTo>
                <a:cubicBezTo>
                  <a:pt x="6052420" y="1580228"/>
                  <a:pt x="6077130" y="1604938"/>
                  <a:pt x="6077130" y="1635419"/>
                </a:cubicBezTo>
                <a:cubicBezTo>
                  <a:pt x="6077130" y="1665900"/>
                  <a:pt x="6052420" y="1690610"/>
                  <a:pt x="6021938" y="1690610"/>
                </a:cubicBezTo>
                <a:cubicBezTo>
                  <a:pt x="5991456" y="1690610"/>
                  <a:pt x="5966746" y="1665900"/>
                  <a:pt x="5966746" y="1635419"/>
                </a:cubicBezTo>
                <a:cubicBezTo>
                  <a:pt x="5966746" y="1604938"/>
                  <a:pt x="5991456" y="1580228"/>
                  <a:pt x="6021938" y="1580228"/>
                </a:cubicBezTo>
                <a:close/>
                <a:moveTo>
                  <a:pt x="5884964" y="1580228"/>
                </a:moveTo>
                <a:cubicBezTo>
                  <a:pt x="5915446" y="1580228"/>
                  <a:pt x="5940156" y="1604938"/>
                  <a:pt x="5940156" y="1635419"/>
                </a:cubicBezTo>
                <a:cubicBezTo>
                  <a:pt x="5940156" y="1665900"/>
                  <a:pt x="5915446" y="1690610"/>
                  <a:pt x="5884964" y="1690610"/>
                </a:cubicBezTo>
                <a:cubicBezTo>
                  <a:pt x="5854482" y="1690610"/>
                  <a:pt x="5829772" y="1665900"/>
                  <a:pt x="5829772" y="1635419"/>
                </a:cubicBezTo>
                <a:cubicBezTo>
                  <a:pt x="5829772" y="1604938"/>
                  <a:pt x="5854482" y="1580228"/>
                  <a:pt x="5884964" y="1580228"/>
                </a:cubicBezTo>
                <a:close/>
                <a:moveTo>
                  <a:pt x="5754670" y="1580228"/>
                </a:moveTo>
                <a:cubicBezTo>
                  <a:pt x="5785152" y="1580228"/>
                  <a:pt x="5809862" y="1604938"/>
                  <a:pt x="5809862" y="1635419"/>
                </a:cubicBezTo>
                <a:cubicBezTo>
                  <a:pt x="5809862" y="1665900"/>
                  <a:pt x="5785152" y="1690610"/>
                  <a:pt x="5754670" y="1690610"/>
                </a:cubicBezTo>
                <a:cubicBezTo>
                  <a:pt x="5724188" y="1690610"/>
                  <a:pt x="5699478" y="1665900"/>
                  <a:pt x="5699478" y="1635419"/>
                </a:cubicBezTo>
                <a:cubicBezTo>
                  <a:pt x="5699478" y="1604938"/>
                  <a:pt x="5724188" y="1580228"/>
                  <a:pt x="5754670" y="1580228"/>
                </a:cubicBezTo>
                <a:close/>
                <a:moveTo>
                  <a:pt x="5621035" y="1580228"/>
                </a:moveTo>
                <a:cubicBezTo>
                  <a:pt x="5651517" y="1580228"/>
                  <a:pt x="5676227" y="1604938"/>
                  <a:pt x="5676227" y="1635419"/>
                </a:cubicBezTo>
                <a:cubicBezTo>
                  <a:pt x="5676227" y="1665900"/>
                  <a:pt x="5651517" y="1690610"/>
                  <a:pt x="5621035" y="1690610"/>
                </a:cubicBezTo>
                <a:cubicBezTo>
                  <a:pt x="5590553" y="1690610"/>
                  <a:pt x="5565843" y="1665900"/>
                  <a:pt x="5565843" y="1635419"/>
                </a:cubicBezTo>
                <a:cubicBezTo>
                  <a:pt x="5565843" y="1604938"/>
                  <a:pt x="5590553" y="1580228"/>
                  <a:pt x="5621035" y="1580228"/>
                </a:cubicBezTo>
                <a:close/>
                <a:moveTo>
                  <a:pt x="5357105" y="1580228"/>
                </a:moveTo>
                <a:cubicBezTo>
                  <a:pt x="5387587" y="1580228"/>
                  <a:pt x="5412297" y="1604938"/>
                  <a:pt x="5412297" y="1635419"/>
                </a:cubicBezTo>
                <a:cubicBezTo>
                  <a:pt x="5412297" y="1665900"/>
                  <a:pt x="5387587" y="1690610"/>
                  <a:pt x="5357105" y="1690610"/>
                </a:cubicBezTo>
                <a:cubicBezTo>
                  <a:pt x="5326623" y="1690610"/>
                  <a:pt x="5301913" y="1665900"/>
                  <a:pt x="5301913" y="1635419"/>
                </a:cubicBezTo>
                <a:cubicBezTo>
                  <a:pt x="5301913" y="1604938"/>
                  <a:pt x="5326623" y="1580228"/>
                  <a:pt x="5357105" y="1580228"/>
                </a:cubicBezTo>
                <a:close/>
                <a:moveTo>
                  <a:pt x="5223473" y="1580228"/>
                </a:moveTo>
                <a:cubicBezTo>
                  <a:pt x="5253955" y="1580228"/>
                  <a:pt x="5278665" y="1604938"/>
                  <a:pt x="5278665" y="1635419"/>
                </a:cubicBezTo>
                <a:cubicBezTo>
                  <a:pt x="5278665" y="1665900"/>
                  <a:pt x="5253955" y="1690610"/>
                  <a:pt x="5223473" y="1690610"/>
                </a:cubicBezTo>
                <a:cubicBezTo>
                  <a:pt x="5192991" y="1690610"/>
                  <a:pt x="5168281" y="1665900"/>
                  <a:pt x="5168281" y="1635419"/>
                </a:cubicBezTo>
                <a:cubicBezTo>
                  <a:pt x="5168281" y="1604938"/>
                  <a:pt x="5192991" y="1580228"/>
                  <a:pt x="5223473" y="1580228"/>
                </a:cubicBezTo>
                <a:close/>
                <a:moveTo>
                  <a:pt x="5093178" y="1580228"/>
                </a:moveTo>
                <a:cubicBezTo>
                  <a:pt x="5123660" y="1580228"/>
                  <a:pt x="5148370" y="1604938"/>
                  <a:pt x="5148370" y="1635419"/>
                </a:cubicBezTo>
                <a:cubicBezTo>
                  <a:pt x="5148370" y="1665900"/>
                  <a:pt x="5123660" y="1690610"/>
                  <a:pt x="5093178" y="1690610"/>
                </a:cubicBezTo>
                <a:cubicBezTo>
                  <a:pt x="5062696" y="1690610"/>
                  <a:pt x="5037986" y="1665900"/>
                  <a:pt x="5037986" y="1635419"/>
                </a:cubicBezTo>
                <a:cubicBezTo>
                  <a:pt x="5037986" y="1604938"/>
                  <a:pt x="5062696" y="1580228"/>
                  <a:pt x="5093178" y="1580228"/>
                </a:cubicBezTo>
                <a:close/>
                <a:moveTo>
                  <a:pt x="4959543" y="1580228"/>
                </a:moveTo>
                <a:cubicBezTo>
                  <a:pt x="4990025" y="1580228"/>
                  <a:pt x="5014735" y="1604938"/>
                  <a:pt x="5014735" y="1635419"/>
                </a:cubicBezTo>
                <a:cubicBezTo>
                  <a:pt x="5014735" y="1665900"/>
                  <a:pt x="4990025" y="1690610"/>
                  <a:pt x="4959543" y="1690610"/>
                </a:cubicBezTo>
                <a:cubicBezTo>
                  <a:pt x="4929061" y="1690610"/>
                  <a:pt x="4904351" y="1665900"/>
                  <a:pt x="4904351" y="1635419"/>
                </a:cubicBezTo>
                <a:cubicBezTo>
                  <a:pt x="4904351" y="1604938"/>
                  <a:pt x="4929061" y="1580228"/>
                  <a:pt x="4959543" y="1580228"/>
                </a:cubicBezTo>
                <a:close/>
                <a:moveTo>
                  <a:pt x="4829251" y="1580228"/>
                </a:moveTo>
                <a:cubicBezTo>
                  <a:pt x="4859733" y="1580228"/>
                  <a:pt x="4884443" y="1604938"/>
                  <a:pt x="4884443" y="1635419"/>
                </a:cubicBezTo>
                <a:cubicBezTo>
                  <a:pt x="4884443" y="1665900"/>
                  <a:pt x="4859733" y="1690610"/>
                  <a:pt x="4829251" y="1690610"/>
                </a:cubicBezTo>
                <a:cubicBezTo>
                  <a:pt x="4798769" y="1690610"/>
                  <a:pt x="4774059" y="1665900"/>
                  <a:pt x="4774059" y="1635419"/>
                </a:cubicBezTo>
                <a:cubicBezTo>
                  <a:pt x="4774059" y="1604938"/>
                  <a:pt x="4798769" y="1580228"/>
                  <a:pt x="4829251" y="1580228"/>
                </a:cubicBezTo>
                <a:close/>
                <a:moveTo>
                  <a:pt x="4695613" y="1580228"/>
                </a:moveTo>
                <a:cubicBezTo>
                  <a:pt x="4726095" y="1580228"/>
                  <a:pt x="4750805" y="1604938"/>
                  <a:pt x="4750805" y="1635419"/>
                </a:cubicBezTo>
                <a:cubicBezTo>
                  <a:pt x="4750805" y="1665900"/>
                  <a:pt x="4726095" y="1690610"/>
                  <a:pt x="4695613" y="1690610"/>
                </a:cubicBezTo>
                <a:cubicBezTo>
                  <a:pt x="4665131" y="1690610"/>
                  <a:pt x="4640421" y="1665900"/>
                  <a:pt x="4640421" y="1635419"/>
                </a:cubicBezTo>
                <a:cubicBezTo>
                  <a:pt x="4640421" y="1604938"/>
                  <a:pt x="4665131" y="1580228"/>
                  <a:pt x="4695613" y="1580228"/>
                </a:cubicBezTo>
                <a:close/>
                <a:moveTo>
                  <a:pt x="4565322" y="1580228"/>
                </a:moveTo>
                <a:cubicBezTo>
                  <a:pt x="4595804" y="1580228"/>
                  <a:pt x="4620514" y="1604938"/>
                  <a:pt x="4620514" y="1635419"/>
                </a:cubicBezTo>
                <a:cubicBezTo>
                  <a:pt x="4620514" y="1665900"/>
                  <a:pt x="4595804" y="1690610"/>
                  <a:pt x="4565322" y="1690610"/>
                </a:cubicBezTo>
                <a:cubicBezTo>
                  <a:pt x="4534840" y="1690610"/>
                  <a:pt x="4510130" y="1665900"/>
                  <a:pt x="4510130" y="1635419"/>
                </a:cubicBezTo>
                <a:cubicBezTo>
                  <a:pt x="4510130" y="1604938"/>
                  <a:pt x="4534840" y="1580228"/>
                  <a:pt x="4565322" y="1580228"/>
                </a:cubicBezTo>
                <a:close/>
                <a:moveTo>
                  <a:pt x="3098681" y="1580228"/>
                </a:moveTo>
                <a:cubicBezTo>
                  <a:pt x="3129163" y="1580228"/>
                  <a:pt x="3153873" y="1604938"/>
                  <a:pt x="3153873" y="1635419"/>
                </a:cubicBezTo>
                <a:cubicBezTo>
                  <a:pt x="3153873" y="1665900"/>
                  <a:pt x="3129163" y="1690610"/>
                  <a:pt x="3098681" y="1690610"/>
                </a:cubicBezTo>
                <a:cubicBezTo>
                  <a:pt x="3068199" y="1690610"/>
                  <a:pt x="3043489" y="1665900"/>
                  <a:pt x="3043489" y="1635419"/>
                </a:cubicBezTo>
                <a:cubicBezTo>
                  <a:pt x="3043489" y="1604938"/>
                  <a:pt x="3068199" y="1580228"/>
                  <a:pt x="3098681" y="1580228"/>
                </a:cubicBezTo>
                <a:close/>
                <a:moveTo>
                  <a:pt x="2971729" y="1580228"/>
                </a:moveTo>
                <a:cubicBezTo>
                  <a:pt x="3002211" y="1580228"/>
                  <a:pt x="3026921" y="1604938"/>
                  <a:pt x="3026921" y="1635419"/>
                </a:cubicBezTo>
                <a:cubicBezTo>
                  <a:pt x="3026921" y="1665900"/>
                  <a:pt x="3002211" y="1690610"/>
                  <a:pt x="2971729" y="1690610"/>
                </a:cubicBezTo>
                <a:cubicBezTo>
                  <a:pt x="2941247" y="1690610"/>
                  <a:pt x="2916537" y="1665900"/>
                  <a:pt x="2916537" y="1635419"/>
                </a:cubicBezTo>
                <a:cubicBezTo>
                  <a:pt x="2916537" y="1604938"/>
                  <a:pt x="2941247" y="1580228"/>
                  <a:pt x="2971729" y="1580228"/>
                </a:cubicBezTo>
                <a:close/>
                <a:moveTo>
                  <a:pt x="2834783" y="1580228"/>
                </a:moveTo>
                <a:cubicBezTo>
                  <a:pt x="2865264" y="1580228"/>
                  <a:pt x="2889974" y="1604938"/>
                  <a:pt x="2889974" y="1635419"/>
                </a:cubicBezTo>
                <a:cubicBezTo>
                  <a:pt x="2889974" y="1665900"/>
                  <a:pt x="2865264" y="1690610"/>
                  <a:pt x="2834783" y="1690610"/>
                </a:cubicBezTo>
                <a:cubicBezTo>
                  <a:pt x="2804300" y="1690610"/>
                  <a:pt x="2779590" y="1665900"/>
                  <a:pt x="2779590" y="1635419"/>
                </a:cubicBezTo>
                <a:cubicBezTo>
                  <a:pt x="2779590" y="1604938"/>
                  <a:pt x="2804300" y="1580228"/>
                  <a:pt x="2834783" y="1580228"/>
                </a:cubicBezTo>
                <a:close/>
                <a:moveTo>
                  <a:pt x="2707828" y="1580228"/>
                </a:moveTo>
                <a:cubicBezTo>
                  <a:pt x="2738310" y="1580228"/>
                  <a:pt x="2763021" y="1604938"/>
                  <a:pt x="2763021" y="1635419"/>
                </a:cubicBezTo>
                <a:cubicBezTo>
                  <a:pt x="2763021" y="1665900"/>
                  <a:pt x="2738310" y="1690610"/>
                  <a:pt x="2707828" y="1690610"/>
                </a:cubicBezTo>
                <a:cubicBezTo>
                  <a:pt x="2677345" y="1690610"/>
                  <a:pt x="2652636" y="1665900"/>
                  <a:pt x="2652636" y="1635419"/>
                </a:cubicBezTo>
                <a:cubicBezTo>
                  <a:pt x="2652636" y="1604938"/>
                  <a:pt x="2677345" y="1580228"/>
                  <a:pt x="2707828" y="1580228"/>
                </a:cubicBezTo>
                <a:close/>
                <a:moveTo>
                  <a:pt x="2570854" y="1580228"/>
                </a:moveTo>
                <a:cubicBezTo>
                  <a:pt x="2601336" y="1580228"/>
                  <a:pt x="2626046" y="1604938"/>
                  <a:pt x="2626046" y="1635419"/>
                </a:cubicBezTo>
                <a:cubicBezTo>
                  <a:pt x="2626046" y="1665900"/>
                  <a:pt x="2601336" y="1690610"/>
                  <a:pt x="2570854" y="1690610"/>
                </a:cubicBezTo>
                <a:cubicBezTo>
                  <a:pt x="2540372" y="1690610"/>
                  <a:pt x="2515662" y="1665900"/>
                  <a:pt x="2515662" y="1635419"/>
                </a:cubicBezTo>
                <a:cubicBezTo>
                  <a:pt x="2515662" y="1604938"/>
                  <a:pt x="2540372" y="1580228"/>
                  <a:pt x="2570854" y="1580228"/>
                </a:cubicBezTo>
                <a:close/>
                <a:moveTo>
                  <a:pt x="2437218" y="1580228"/>
                </a:moveTo>
                <a:cubicBezTo>
                  <a:pt x="2467700" y="1580228"/>
                  <a:pt x="2492409" y="1604938"/>
                  <a:pt x="2492409" y="1635419"/>
                </a:cubicBezTo>
                <a:cubicBezTo>
                  <a:pt x="2492409" y="1665900"/>
                  <a:pt x="2467700" y="1690610"/>
                  <a:pt x="2437218" y="1690610"/>
                </a:cubicBezTo>
                <a:cubicBezTo>
                  <a:pt x="2406736" y="1690610"/>
                  <a:pt x="2382026" y="1665900"/>
                  <a:pt x="2382026" y="1635419"/>
                </a:cubicBezTo>
                <a:cubicBezTo>
                  <a:pt x="2382026" y="1604938"/>
                  <a:pt x="2406736" y="1580228"/>
                  <a:pt x="2437218" y="1580228"/>
                </a:cubicBezTo>
                <a:close/>
                <a:moveTo>
                  <a:pt x="2303586" y="1580228"/>
                </a:moveTo>
                <a:cubicBezTo>
                  <a:pt x="2334067" y="1580228"/>
                  <a:pt x="2358778" y="1604938"/>
                  <a:pt x="2358778" y="1635419"/>
                </a:cubicBezTo>
                <a:cubicBezTo>
                  <a:pt x="2358778" y="1665900"/>
                  <a:pt x="2334067" y="1690610"/>
                  <a:pt x="2303586" y="1690610"/>
                </a:cubicBezTo>
                <a:cubicBezTo>
                  <a:pt x="2273104" y="1690610"/>
                  <a:pt x="2248394" y="1665900"/>
                  <a:pt x="2248394" y="1635419"/>
                </a:cubicBezTo>
                <a:cubicBezTo>
                  <a:pt x="2248394" y="1604938"/>
                  <a:pt x="2273104" y="1580228"/>
                  <a:pt x="2303586" y="1580228"/>
                </a:cubicBezTo>
                <a:close/>
                <a:moveTo>
                  <a:pt x="2173293" y="1580228"/>
                </a:moveTo>
                <a:cubicBezTo>
                  <a:pt x="2203775" y="1580228"/>
                  <a:pt x="2228486" y="1604938"/>
                  <a:pt x="2228486" y="1635419"/>
                </a:cubicBezTo>
                <a:cubicBezTo>
                  <a:pt x="2228486" y="1665900"/>
                  <a:pt x="2203775" y="1690610"/>
                  <a:pt x="2173293" y="1690610"/>
                </a:cubicBezTo>
                <a:cubicBezTo>
                  <a:pt x="2142811" y="1690610"/>
                  <a:pt x="2118101" y="1665900"/>
                  <a:pt x="2118101" y="1635419"/>
                </a:cubicBezTo>
                <a:cubicBezTo>
                  <a:pt x="2118101" y="1604938"/>
                  <a:pt x="2142811" y="1580228"/>
                  <a:pt x="2173293" y="1580228"/>
                </a:cubicBezTo>
                <a:close/>
                <a:moveTo>
                  <a:pt x="2039658" y="1580228"/>
                </a:moveTo>
                <a:cubicBezTo>
                  <a:pt x="2070140" y="1580228"/>
                  <a:pt x="2094851" y="1604938"/>
                  <a:pt x="2094851" y="1635419"/>
                </a:cubicBezTo>
                <a:cubicBezTo>
                  <a:pt x="2094851" y="1665900"/>
                  <a:pt x="2070140" y="1690610"/>
                  <a:pt x="2039658" y="1690610"/>
                </a:cubicBezTo>
                <a:cubicBezTo>
                  <a:pt x="2009176" y="1690610"/>
                  <a:pt x="1984465" y="1665900"/>
                  <a:pt x="1984465" y="1635419"/>
                </a:cubicBezTo>
                <a:cubicBezTo>
                  <a:pt x="1984465" y="1604938"/>
                  <a:pt x="2009176" y="1580228"/>
                  <a:pt x="2039658" y="1580228"/>
                </a:cubicBezTo>
                <a:close/>
                <a:moveTo>
                  <a:pt x="9068807" y="1459958"/>
                </a:moveTo>
                <a:cubicBezTo>
                  <a:pt x="9099289" y="1459958"/>
                  <a:pt x="9123999" y="1484668"/>
                  <a:pt x="9123999" y="1515149"/>
                </a:cubicBezTo>
                <a:cubicBezTo>
                  <a:pt x="9123999" y="1545630"/>
                  <a:pt x="9099289" y="1570340"/>
                  <a:pt x="9068807" y="1570340"/>
                </a:cubicBezTo>
                <a:cubicBezTo>
                  <a:pt x="9038325" y="1570340"/>
                  <a:pt x="9013615" y="1545630"/>
                  <a:pt x="9013615" y="1515149"/>
                </a:cubicBezTo>
                <a:cubicBezTo>
                  <a:pt x="9013615" y="1484668"/>
                  <a:pt x="9038325" y="1459958"/>
                  <a:pt x="9068807" y="1459958"/>
                </a:cubicBezTo>
                <a:close/>
                <a:moveTo>
                  <a:pt x="8671244" y="1459958"/>
                </a:moveTo>
                <a:cubicBezTo>
                  <a:pt x="8701726" y="1459958"/>
                  <a:pt x="8726436" y="1484668"/>
                  <a:pt x="8726436" y="1515149"/>
                </a:cubicBezTo>
                <a:cubicBezTo>
                  <a:pt x="8726436" y="1545630"/>
                  <a:pt x="8701726" y="1570340"/>
                  <a:pt x="8671244" y="1570340"/>
                </a:cubicBezTo>
                <a:cubicBezTo>
                  <a:pt x="8640762" y="1570340"/>
                  <a:pt x="8616052" y="1545630"/>
                  <a:pt x="8616052" y="1515149"/>
                </a:cubicBezTo>
                <a:cubicBezTo>
                  <a:pt x="8616052" y="1484668"/>
                  <a:pt x="8640762" y="1459958"/>
                  <a:pt x="8671244" y="1459958"/>
                </a:cubicBezTo>
                <a:close/>
                <a:moveTo>
                  <a:pt x="8537612" y="1459958"/>
                </a:moveTo>
                <a:cubicBezTo>
                  <a:pt x="8568094" y="1459958"/>
                  <a:pt x="8592804" y="1484668"/>
                  <a:pt x="8592804" y="1515149"/>
                </a:cubicBezTo>
                <a:cubicBezTo>
                  <a:pt x="8592804" y="1545630"/>
                  <a:pt x="8568094" y="1570340"/>
                  <a:pt x="8537612" y="1570340"/>
                </a:cubicBezTo>
                <a:cubicBezTo>
                  <a:pt x="8507130" y="1570340"/>
                  <a:pt x="8482420" y="1545630"/>
                  <a:pt x="8482420" y="1515149"/>
                </a:cubicBezTo>
                <a:cubicBezTo>
                  <a:pt x="8482420" y="1484668"/>
                  <a:pt x="8507130" y="1459958"/>
                  <a:pt x="8537612" y="1459958"/>
                </a:cubicBezTo>
                <a:close/>
                <a:moveTo>
                  <a:pt x="8407316" y="1459958"/>
                </a:moveTo>
                <a:cubicBezTo>
                  <a:pt x="8437798" y="1459958"/>
                  <a:pt x="8462508" y="1484668"/>
                  <a:pt x="8462508" y="1515149"/>
                </a:cubicBezTo>
                <a:cubicBezTo>
                  <a:pt x="8462508" y="1545630"/>
                  <a:pt x="8437798" y="1570340"/>
                  <a:pt x="8407316" y="1570340"/>
                </a:cubicBezTo>
                <a:cubicBezTo>
                  <a:pt x="8376834" y="1570340"/>
                  <a:pt x="8352124" y="1545630"/>
                  <a:pt x="8352124" y="1515149"/>
                </a:cubicBezTo>
                <a:cubicBezTo>
                  <a:pt x="8352124" y="1484668"/>
                  <a:pt x="8376834" y="1459958"/>
                  <a:pt x="8407316" y="1459958"/>
                </a:cubicBezTo>
                <a:close/>
                <a:moveTo>
                  <a:pt x="8273682" y="1459958"/>
                </a:moveTo>
                <a:cubicBezTo>
                  <a:pt x="8304164" y="1459958"/>
                  <a:pt x="8328874" y="1484668"/>
                  <a:pt x="8328874" y="1515149"/>
                </a:cubicBezTo>
                <a:cubicBezTo>
                  <a:pt x="8328874" y="1545630"/>
                  <a:pt x="8304164" y="1570340"/>
                  <a:pt x="8273682" y="1570340"/>
                </a:cubicBezTo>
                <a:cubicBezTo>
                  <a:pt x="8243200" y="1570340"/>
                  <a:pt x="8218490" y="1545630"/>
                  <a:pt x="8218490" y="1515149"/>
                </a:cubicBezTo>
                <a:cubicBezTo>
                  <a:pt x="8218490" y="1484668"/>
                  <a:pt x="8243200" y="1459958"/>
                  <a:pt x="8273682" y="1459958"/>
                </a:cubicBezTo>
                <a:close/>
                <a:moveTo>
                  <a:pt x="8143388" y="1459958"/>
                </a:moveTo>
                <a:cubicBezTo>
                  <a:pt x="8173870" y="1459958"/>
                  <a:pt x="8198580" y="1484668"/>
                  <a:pt x="8198580" y="1515149"/>
                </a:cubicBezTo>
                <a:cubicBezTo>
                  <a:pt x="8198580" y="1545630"/>
                  <a:pt x="8173870" y="1570340"/>
                  <a:pt x="8143388" y="1570340"/>
                </a:cubicBezTo>
                <a:cubicBezTo>
                  <a:pt x="8112906" y="1570340"/>
                  <a:pt x="8088196" y="1545630"/>
                  <a:pt x="8088196" y="1515149"/>
                </a:cubicBezTo>
                <a:cubicBezTo>
                  <a:pt x="8088196" y="1484668"/>
                  <a:pt x="8112906" y="1459958"/>
                  <a:pt x="8143388" y="1459958"/>
                </a:cubicBezTo>
                <a:close/>
                <a:moveTo>
                  <a:pt x="8009753" y="1459958"/>
                </a:moveTo>
                <a:cubicBezTo>
                  <a:pt x="8040235" y="1459958"/>
                  <a:pt x="8064945" y="1484668"/>
                  <a:pt x="8064945" y="1515149"/>
                </a:cubicBezTo>
                <a:cubicBezTo>
                  <a:pt x="8064945" y="1545630"/>
                  <a:pt x="8040235" y="1570340"/>
                  <a:pt x="8009753" y="1570340"/>
                </a:cubicBezTo>
                <a:cubicBezTo>
                  <a:pt x="7979271" y="1570340"/>
                  <a:pt x="7954561" y="1545630"/>
                  <a:pt x="7954561" y="1515149"/>
                </a:cubicBezTo>
                <a:cubicBezTo>
                  <a:pt x="7954561" y="1484668"/>
                  <a:pt x="7979271" y="1459958"/>
                  <a:pt x="8009753" y="1459958"/>
                </a:cubicBezTo>
                <a:close/>
                <a:moveTo>
                  <a:pt x="7876118" y="1459958"/>
                </a:moveTo>
                <a:cubicBezTo>
                  <a:pt x="7906600" y="1459958"/>
                  <a:pt x="7931310" y="1484668"/>
                  <a:pt x="7931310" y="1515149"/>
                </a:cubicBezTo>
                <a:cubicBezTo>
                  <a:pt x="7931310" y="1545630"/>
                  <a:pt x="7906600" y="1570340"/>
                  <a:pt x="7876118" y="1570340"/>
                </a:cubicBezTo>
                <a:cubicBezTo>
                  <a:pt x="7845636" y="1570340"/>
                  <a:pt x="7820926" y="1545630"/>
                  <a:pt x="7820926" y="1515149"/>
                </a:cubicBezTo>
                <a:cubicBezTo>
                  <a:pt x="7820926" y="1484668"/>
                  <a:pt x="7845636" y="1459958"/>
                  <a:pt x="7876118" y="1459958"/>
                </a:cubicBezTo>
                <a:close/>
                <a:moveTo>
                  <a:pt x="7745823" y="1459958"/>
                </a:moveTo>
                <a:cubicBezTo>
                  <a:pt x="7776305" y="1459958"/>
                  <a:pt x="7801015" y="1484668"/>
                  <a:pt x="7801015" y="1515149"/>
                </a:cubicBezTo>
                <a:cubicBezTo>
                  <a:pt x="7801015" y="1545630"/>
                  <a:pt x="7776305" y="1570340"/>
                  <a:pt x="7745823" y="1570340"/>
                </a:cubicBezTo>
                <a:cubicBezTo>
                  <a:pt x="7715341" y="1570340"/>
                  <a:pt x="7690631" y="1545630"/>
                  <a:pt x="7690631" y="1515149"/>
                </a:cubicBezTo>
                <a:cubicBezTo>
                  <a:pt x="7690631" y="1484668"/>
                  <a:pt x="7715341" y="1459958"/>
                  <a:pt x="7745823" y="1459958"/>
                </a:cubicBezTo>
                <a:close/>
                <a:moveTo>
                  <a:pt x="7608849" y="1459958"/>
                </a:moveTo>
                <a:cubicBezTo>
                  <a:pt x="7639331" y="1459958"/>
                  <a:pt x="7664041" y="1484668"/>
                  <a:pt x="7664041" y="1515149"/>
                </a:cubicBezTo>
                <a:cubicBezTo>
                  <a:pt x="7664041" y="1545630"/>
                  <a:pt x="7639331" y="1570340"/>
                  <a:pt x="7608849" y="1570340"/>
                </a:cubicBezTo>
                <a:cubicBezTo>
                  <a:pt x="7578367" y="1570340"/>
                  <a:pt x="7553657" y="1545630"/>
                  <a:pt x="7553657" y="1515149"/>
                </a:cubicBezTo>
                <a:cubicBezTo>
                  <a:pt x="7553657" y="1484668"/>
                  <a:pt x="7578367" y="1459958"/>
                  <a:pt x="7608849" y="1459958"/>
                </a:cubicBezTo>
                <a:close/>
                <a:moveTo>
                  <a:pt x="7481897" y="1459958"/>
                </a:moveTo>
                <a:cubicBezTo>
                  <a:pt x="7512379" y="1459958"/>
                  <a:pt x="7537089" y="1484668"/>
                  <a:pt x="7537089" y="1515149"/>
                </a:cubicBezTo>
                <a:cubicBezTo>
                  <a:pt x="7537089" y="1545630"/>
                  <a:pt x="7512379" y="1570340"/>
                  <a:pt x="7481897" y="1570340"/>
                </a:cubicBezTo>
                <a:cubicBezTo>
                  <a:pt x="7451415" y="1570340"/>
                  <a:pt x="7426705" y="1545630"/>
                  <a:pt x="7426705" y="1515149"/>
                </a:cubicBezTo>
                <a:cubicBezTo>
                  <a:pt x="7426705" y="1484668"/>
                  <a:pt x="7451415" y="1459958"/>
                  <a:pt x="7481897" y="1459958"/>
                </a:cubicBezTo>
                <a:close/>
                <a:moveTo>
                  <a:pt x="7341579" y="1459958"/>
                </a:moveTo>
                <a:cubicBezTo>
                  <a:pt x="7372061" y="1459958"/>
                  <a:pt x="7396771" y="1484668"/>
                  <a:pt x="7396771" y="1515149"/>
                </a:cubicBezTo>
                <a:cubicBezTo>
                  <a:pt x="7396771" y="1545630"/>
                  <a:pt x="7372061" y="1570340"/>
                  <a:pt x="7341579" y="1570340"/>
                </a:cubicBezTo>
                <a:cubicBezTo>
                  <a:pt x="7311097" y="1570340"/>
                  <a:pt x="7286387" y="1545630"/>
                  <a:pt x="7286387" y="1515149"/>
                </a:cubicBezTo>
                <a:cubicBezTo>
                  <a:pt x="7286387" y="1484668"/>
                  <a:pt x="7311097" y="1459958"/>
                  <a:pt x="7341579" y="1459958"/>
                </a:cubicBezTo>
                <a:close/>
                <a:moveTo>
                  <a:pt x="7211286" y="1459958"/>
                </a:moveTo>
                <a:cubicBezTo>
                  <a:pt x="7241768" y="1459958"/>
                  <a:pt x="7266478" y="1484668"/>
                  <a:pt x="7266478" y="1515149"/>
                </a:cubicBezTo>
                <a:cubicBezTo>
                  <a:pt x="7266478" y="1545630"/>
                  <a:pt x="7241768" y="1570340"/>
                  <a:pt x="7211286" y="1570340"/>
                </a:cubicBezTo>
                <a:cubicBezTo>
                  <a:pt x="7180804" y="1570340"/>
                  <a:pt x="7156094" y="1545630"/>
                  <a:pt x="7156094" y="1515149"/>
                </a:cubicBezTo>
                <a:cubicBezTo>
                  <a:pt x="7156094" y="1484668"/>
                  <a:pt x="7180804" y="1459958"/>
                  <a:pt x="7211286" y="1459958"/>
                </a:cubicBezTo>
                <a:close/>
                <a:moveTo>
                  <a:pt x="7080993" y="1459958"/>
                </a:moveTo>
                <a:cubicBezTo>
                  <a:pt x="7111475" y="1459958"/>
                  <a:pt x="7136185" y="1484668"/>
                  <a:pt x="7136185" y="1515149"/>
                </a:cubicBezTo>
                <a:cubicBezTo>
                  <a:pt x="7136185" y="1545630"/>
                  <a:pt x="7111475" y="1570340"/>
                  <a:pt x="7080993" y="1570340"/>
                </a:cubicBezTo>
                <a:cubicBezTo>
                  <a:pt x="7050511" y="1570340"/>
                  <a:pt x="7025801" y="1545630"/>
                  <a:pt x="7025801" y="1515149"/>
                </a:cubicBezTo>
                <a:cubicBezTo>
                  <a:pt x="7025801" y="1484668"/>
                  <a:pt x="7050511" y="1459958"/>
                  <a:pt x="7080993" y="1459958"/>
                </a:cubicBezTo>
                <a:close/>
                <a:moveTo>
                  <a:pt x="6947357" y="1459958"/>
                </a:moveTo>
                <a:cubicBezTo>
                  <a:pt x="6977839" y="1459958"/>
                  <a:pt x="7002549" y="1484668"/>
                  <a:pt x="7002549" y="1515149"/>
                </a:cubicBezTo>
                <a:cubicBezTo>
                  <a:pt x="7002549" y="1545630"/>
                  <a:pt x="6977839" y="1570340"/>
                  <a:pt x="6947357" y="1570340"/>
                </a:cubicBezTo>
                <a:cubicBezTo>
                  <a:pt x="6916875" y="1570340"/>
                  <a:pt x="6892165" y="1545630"/>
                  <a:pt x="6892165" y="1515149"/>
                </a:cubicBezTo>
                <a:cubicBezTo>
                  <a:pt x="6892165" y="1484668"/>
                  <a:pt x="6916875" y="1459958"/>
                  <a:pt x="6947357" y="1459958"/>
                </a:cubicBezTo>
                <a:close/>
                <a:moveTo>
                  <a:pt x="6817064" y="1459958"/>
                </a:moveTo>
                <a:cubicBezTo>
                  <a:pt x="6847546" y="1459958"/>
                  <a:pt x="6872256" y="1484668"/>
                  <a:pt x="6872256" y="1515149"/>
                </a:cubicBezTo>
                <a:cubicBezTo>
                  <a:pt x="6872256" y="1545630"/>
                  <a:pt x="6847546" y="1570340"/>
                  <a:pt x="6817064" y="1570340"/>
                </a:cubicBezTo>
                <a:cubicBezTo>
                  <a:pt x="6786582" y="1570340"/>
                  <a:pt x="6761872" y="1545630"/>
                  <a:pt x="6761872" y="1515149"/>
                </a:cubicBezTo>
                <a:cubicBezTo>
                  <a:pt x="6761872" y="1484668"/>
                  <a:pt x="6786582" y="1459958"/>
                  <a:pt x="6817064" y="1459958"/>
                </a:cubicBezTo>
                <a:close/>
                <a:moveTo>
                  <a:pt x="6683431" y="1459958"/>
                </a:moveTo>
                <a:cubicBezTo>
                  <a:pt x="6713913" y="1459958"/>
                  <a:pt x="6738623" y="1484668"/>
                  <a:pt x="6738623" y="1515149"/>
                </a:cubicBezTo>
                <a:cubicBezTo>
                  <a:pt x="6738623" y="1545630"/>
                  <a:pt x="6713913" y="1570340"/>
                  <a:pt x="6683431" y="1570340"/>
                </a:cubicBezTo>
                <a:cubicBezTo>
                  <a:pt x="6652949" y="1570340"/>
                  <a:pt x="6628239" y="1545630"/>
                  <a:pt x="6628239" y="1515149"/>
                </a:cubicBezTo>
                <a:cubicBezTo>
                  <a:pt x="6628239" y="1484668"/>
                  <a:pt x="6652949" y="1459958"/>
                  <a:pt x="6683431" y="1459958"/>
                </a:cubicBezTo>
                <a:close/>
                <a:moveTo>
                  <a:pt x="6553137" y="1459958"/>
                </a:moveTo>
                <a:cubicBezTo>
                  <a:pt x="6583619" y="1459958"/>
                  <a:pt x="6608329" y="1484668"/>
                  <a:pt x="6608329" y="1515149"/>
                </a:cubicBezTo>
                <a:cubicBezTo>
                  <a:pt x="6608329" y="1545630"/>
                  <a:pt x="6583619" y="1570340"/>
                  <a:pt x="6553137" y="1570340"/>
                </a:cubicBezTo>
                <a:cubicBezTo>
                  <a:pt x="6522655" y="1570340"/>
                  <a:pt x="6497945" y="1545630"/>
                  <a:pt x="6497945" y="1515149"/>
                </a:cubicBezTo>
                <a:cubicBezTo>
                  <a:pt x="6497945" y="1484668"/>
                  <a:pt x="6522655" y="1459958"/>
                  <a:pt x="6553137" y="1459958"/>
                </a:cubicBezTo>
                <a:close/>
                <a:moveTo>
                  <a:pt x="6419502" y="1459958"/>
                </a:moveTo>
                <a:cubicBezTo>
                  <a:pt x="6449984" y="1459958"/>
                  <a:pt x="6474694" y="1484668"/>
                  <a:pt x="6474694" y="1515149"/>
                </a:cubicBezTo>
                <a:cubicBezTo>
                  <a:pt x="6474694" y="1545630"/>
                  <a:pt x="6449984" y="1570340"/>
                  <a:pt x="6419502" y="1570340"/>
                </a:cubicBezTo>
                <a:cubicBezTo>
                  <a:pt x="6389020" y="1570340"/>
                  <a:pt x="6364310" y="1545630"/>
                  <a:pt x="6364310" y="1515149"/>
                </a:cubicBezTo>
                <a:cubicBezTo>
                  <a:pt x="6364310" y="1484668"/>
                  <a:pt x="6389020" y="1459958"/>
                  <a:pt x="6419502" y="1459958"/>
                </a:cubicBezTo>
                <a:close/>
                <a:moveTo>
                  <a:pt x="6289207" y="1459958"/>
                </a:moveTo>
                <a:cubicBezTo>
                  <a:pt x="6319689" y="1459958"/>
                  <a:pt x="6344399" y="1484668"/>
                  <a:pt x="6344399" y="1515149"/>
                </a:cubicBezTo>
                <a:cubicBezTo>
                  <a:pt x="6344399" y="1545630"/>
                  <a:pt x="6319689" y="1570340"/>
                  <a:pt x="6289207" y="1570340"/>
                </a:cubicBezTo>
                <a:cubicBezTo>
                  <a:pt x="6258725" y="1570340"/>
                  <a:pt x="6234015" y="1545630"/>
                  <a:pt x="6234015" y="1515149"/>
                </a:cubicBezTo>
                <a:cubicBezTo>
                  <a:pt x="6234015" y="1484668"/>
                  <a:pt x="6258725" y="1459958"/>
                  <a:pt x="6289207" y="1459958"/>
                </a:cubicBezTo>
                <a:close/>
                <a:moveTo>
                  <a:pt x="6155573" y="1459958"/>
                </a:moveTo>
                <a:cubicBezTo>
                  <a:pt x="6186055" y="1459958"/>
                  <a:pt x="6210765" y="1484668"/>
                  <a:pt x="6210765" y="1515149"/>
                </a:cubicBezTo>
                <a:cubicBezTo>
                  <a:pt x="6210765" y="1545630"/>
                  <a:pt x="6186055" y="1570340"/>
                  <a:pt x="6155573" y="1570340"/>
                </a:cubicBezTo>
                <a:cubicBezTo>
                  <a:pt x="6125091" y="1570340"/>
                  <a:pt x="6100381" y="1545630"/>
                  <a:pt x="6100381" y="1515149"/>
                </a:cubicBezTo>
                <a:cubicBezTo>
                  <a:pt x="6100381" y="1484668"/>
                  <a:pt x="6125091" y="1459958"/>
                  <a:pt x="6155573" y="1459958"/>
                </a:cubicBezTo>
                <a:close/>
                <a:moveTo>
                  <a:pt x="6021939" y="1459958"/>
                </a:moveTo>
                <a:cubicBezTo>
                  <a:pt x="6052421" y="1459958"/>
                  <a:pt x="6077131" y="1484668"/>
                  <a:pt x="6077131" y="1515149"/>
                </a:cubicBezTo>
                <a:cubicBezTo>
                  <a:pt x="6077131" y="1545630"/>
                  <a:pt x="6052421" y="1570340"/>
                  <a:pt x="6021939" y="1570340"/>
                </a:cubicBezTo>
                <a:cubicBezTo>
                  <a:pt x="5991457" y="1570340"/>
                  <a:pt x="5966747" y="1545630"/>
                  <a:pt x="5966747" y="1515149"/>
                </a:cubicBezTo>
                <a:cubicBezTo>
                  <a:pt x="5966747" y="1484668"/>
                  <a:pt x="5991457" y="1459958"/>
                  <a:pt x="6021939" y="1459958"/>
                </a:cubicBezTo>
                <a:close/>
                <a:moveTo>
                  <a:pt x="5884964" y="1459958"/>
                </a:moveTo>
                <a:cubicBezTo>
                  <a:pt x="5915446" y="1459958"/>
                  <a:pt x="5940156" y="1484668"/>
                  <a:pt x="5940156" y="1515149"/>
                </a:cubicBezTo>
                <a:cubicBezTo>
                  <a:pt x="5940156" y="1545630"/>
                  <a:pt x="5915446" y="1570340"/>
                  <a:pt x="5884964" y="1570340"/>
                </a:cubicBezTo>
                <a:cubicBezTo>
                  <a:pt x="5854482" y="1570340"/>
                  <a:pt x="5829772" y="1545630"/>
                  <a:pt x="5829772" y="1515149"/>
                </a:cubicBezTo>
                <a:cubicBezTo>
                  <a:pt x="5829772" y="1484668"/>
                  <a:pt x="5854482" y="1459958"/>
                  <a:pt x="5884964" y="1459958"/>
                </a:cubicBezTo>
                <a:close/>
                <a:moveTo>
                  <a:pt x="5754668" y="1459958"/>
                </a:moveTo>
                <a:cubicBezTo>
                  <a:pt x="5785150" y="1459958"/>
                  <a:pt x="5809860" y="1484668"/>
                  <a:pt x="5809860" y="1515149"/>
                </a:cubicBezTo>
                <a:cubicBezTo>
                  <a:pt x="5809860" y="1545630"/>
                  <a:pt x="5785150" y="1570340"/>
                  <a:pt x="5754668" y="1570340"/>
                </a:cubicBezTo>
                <a:cubicBezTo>
                  <a:pt x="5724186" y="1570340"/>
                  <a:pt x="5699476" y="1545630"/>
                  <a:pt x="5699476" y="1515149"/>
                </a:cubicBezTo>
                <a:cubicBezTo>
                  <a:pt x="5699476" y="1484668"/>
                  <a:pt x="5724186" y="1459958"/>
                  <a:pt x="5754668" y="1459958"/>
                </a:cubicBezTo>
                <a:close/>
                <a:moveTo>
                  <a:pt x="5621034" y="1459958"/>
                </a:moveTo>
                <a:cubicBezTo>
                  <a:pt x="5651516" y="1459958"/>
                  <a:pt x="5676226" y="1484668"/>
                  <a:pt x="5676226" y="1515149"/>
                </a:cubicBezTo>
                <a:cubicBezTo>
                  <a:pt x="5676226" y="1545630"/>
                  <a:pt x="5651516" y="1570340"/>
                  <a:pt x="5621034" y="1570340"/>
                </a:cubicBezTo>
                <a:cubicBezTo>
                  <a:pt x="5590552" y="1570340"/>
                  <a:pt x="5565842" y="1545630"/>
                  <a:pt x="5565842" y="1515149"/>
                </a:cubicBezTo>
                <a:cubicBezTo>
                  <a:pt x="5565842" y="1484668"/>
                  <a:pt x="5590552" y="1459958"/>
                  <a:pt x="5621034" y="1459958"/>
                </a:cubicBezTo>
                <a:close/>
                <a:moveTo>
                  <a:pt x="5487399" y="1459958"/>
                </a:moveTo>
                <a:cubicBezTo>
                  <a:pt x="5517881" y="1459958"/>
                  <a:pt x="5542591" y="1484668"/>
                  <a:pt x="5542591" y="1515149"/>
                </a:cubicBezTo>
                <a:cubicBezTo>
                  <a:pt x="5542591" y="1545630"/>
                  <a:pt x="5517881" y="1570340"/>
                  <a:pt x="5487399" y="1570340"/>
                </a:cubicBezTo>
                <a:cubicBezTo>
                  <a:pt x="5456917" y="1570340"/>
                  <a:pt x="5432207" y="1545630"/>
                  <a:pt x="5432207" y="1515149"/>
                </a:cubicBezTo>
                <a:cubicBezTo>
                  <a:pt x="5432207" y="1484668"/>
                  <a:pt x="5456917" y="1459958"/>
                  <a:pt x="5487399" y="1459958"/>
                </a:cubicBezTo>
                <a:close/>
                <a:moveTo>
                  <a:pt x="5357106" y="1459958"/>
                </a:moveTo>
                <a:cubicBezTo>
                  <a:pt x="5387588" y="1459958"/>
                  <a:pt x="5412298" y="1484668"/>
                  <a:pt x="5412298" y="1515149"/>
                </a:cubicBezTo>
                <a:cubicBezTo>
                  <a:pt x="5412298" y="1545630"/>
                  <a:pt x="5387588" y="1570340"/>
                  <a:pt x="5357106" y="1570340"/>
                </a:cubicBezTo>
                <a:cubicBezTo>
                  <a:pt x="5326624" y="1570340"/>
                  <a:pt x="5301914" y="1545630"/>
                  <a:pt x="5301914" y="1515149"/>
                </a:cubicBezTo>
                <a:cubicBezTo>
                  <a:pt x="5301914" y="1484668"/>
                  <a:pt x="5326624" y="1459958"/>
                  <a:pt x="5357106" y="1459958"/>
                </a:cubicBezTo>
                <a:close/>
                <a:moveTo>
                  <a:pt x="5223473" y="1459958"/>
                </a:moveTo>
                <a:cubicBezTo>
                  <a:pt x="5253955" y="1459958"/>
                  <a:pt x="5278665" y="1484668"/>
                  <a:pt x="5278665" y="1515149"/>
                </a:cubicBezTo>
                <a:cubicBezTo>
                  <a:pt x="5278665" y="1545630"/>
                  <a:pt x="5253955" y="1570340"/>
                  <a:pt x="5223473" y="1570340"/>
                </a:cubicBezTo>
                <a:cubicBezTo>
                  <a:pt x="5192991" y="1570340"/>
                  <a:pt x="5168281" y="1545630"/>
                  <a:pt x="5168281" y="1515149"/>
                </a:cubicBezTo>
                <a:cubicBezTo>
                  <a:pt x="5168281" y="1484668"/>
                  <a:pt x="5192991" y="1459958"/>
                  <a:pt x="5223473" y="1459958"/>
                </a:cubicBezTo>
                <a:close/>
                <a:moveTo>
                  <a:pt x="5093178" y="1459958"/>
                </a:moveTo>
                <a:cubicBezTo>
                  <a:pt x="5123660" y="1459958"/>
                  <a:pt x="5148370" y="1484668"/>
                  <a:pt x="5148370" y="1515149"/>
                </a:cubicBezTo>
                <a:cubicBezTo>
                  <a:pt x="5148370" y="1545630"/>
                  <a:pt x="5123660" y="1570340"/>
                  <a:pt x="5093178" y="1570340"/>
                </a:cubicBezTo>
                <a:cubicBezTo>
                  <a:pt x="5062696" y="1570340"/>
                  <a:pt x="5037986" y="1545630"/>
                  <a:pt x="5037986" y="1515149"/>
                </a:cubicBezTo>
                <a:cubicBezTo>
                  <a:pt x="5037986" y="1484668"/>
                  <a:pt x="5062696" y="1459958"/>
                  <a:pt x="5093178" y="1459958"/>
                </a:cubicBezTo>
                <a:close/>
                <a:moveTo>
                  <a:pt x="4959542" y="1459958"/>
                </a:moveTo>
                <a:cubicBezTo>
                  <a:pt x="4990024" y="1459958"/>
                  <a:pt x="5014734" y="1484668"/>
                  <a:pt x="5014734" y="1515149"/>
                </a:cubicBezTo>
                <a:cubicBezTo>
                  <a:pt x="5014734" y="1545630"/>
                  <a:pt x="4990024" y="1570340"/>
                  <a:pt x="4959542" y="1570340"/>
                </a:cubicBezTo>
                <a:cubicBezTo>
                  <a:pt x="4929060" y="1570340"/>
                  <a:pt x="4904350" y="1545630"/>
                  <a:pt x="4904350" y="1515149"/>
                </a:cubicBezTo>
                <a:cubicBezTo>
                  <a:pt x="4904350" y="1484668"/>
                  <a:pt x="4929060" y="1459958"/>
                  <a:pt x="4959542" y="1459958"/>
                </a:cubicBezTo>
                <a:close/>
                <a:moveTo>
                  <a:pt x="4829250" y="1459958"/>
                </a:moveTo>
                <a:cubicBezTo>
                  <a:pt x="4859732" y="1459958"/>
                  <a:pt x="4884442" y="1484668"/>
                  <a:pt x="4884442" y="1515149"/>
                </a:cubicBezTo>
                <a:cubicBezTo>
                  <a:pt x="4884442" y="1545630"/>
                  <a:pt x="4859732" y="1570340"/>
                  <a:pt x="4829250" y="1570340"/>
                </a:cubicBezTo>
                <a:cubicBezTo>
                  <a:pt x="4798768" y="1570340"/>
                  <a:pt x="4774058" y="1545630"/>
                  <a:pt x="4774058" y="1515149"/>
                </a:cubicBezTo>
                <a:cubicBezTo>
                  <a:pt x="4774058" y="1484668"/>
                  <a:pt x="4798768" y="1459958"/>
                  <a:pt x="4829250" y="1459958"/>
                </a:cubicBezTo>
                <a:close/>
                <a:moveTo>
                  <a:pt x="4695614" y="1459958"/>
                </a:moveTo>
                <a:cubicBezTo>
                  <a:pt x="4726096" y="1459958"/>
                  <a:pt x="4750806" y="1484668"/>
                  <a:pt x="4750806" y="1515149"/>
                </a:cubicBezTo>
                <a:cubicBezTo>
                  <a:pt x="4750806" y="1545630"/>
                  <a:pt x="4726096" y="1570340"/>
                  <a:pt x="4695614" y="1570340"/>
                </a:cubicBezTo>
                <a:cubicBezTo>
                  <a:pt x="4665132" y="1570340"/>
                  <a:pt x="4640422" y="1545630"/>
                  <a:pt x="4640422" y="1515149"/>
                </a:cubicBezTo>
                <a:cubicBezTo>
                  <a:pt x="4640422" y="1484668"/>
                  <a:pt x="4665132" y="1459958"/>
                  <a:pt x="4695614" y="1459958"/>
                </a:cubicBezTo>
                <a:close/>
                <a:moveTo>
                  <a:pt x="4565322" y="1459958"/>
                </a:moveTo>
                <a:cubicBezTo>
                  <a:pt x="4595804" y="1459958"/>
                  <a:pt x="4620514" y="1484668"/>
                  <a:pt x="4620514" y="1515149"/>
                </a:cubicBezTo>
                <a:cubicBezTo>
                  <a:pt x="4620514" y="1545630"/>
                  <a:pt x="4595804" y="1570340"/>
                  <a:pt x="4565322" y="1570340"/>
                </a:cubicBezTo>
                <a:cubicBezTo>
                  <a:pt x="4534840" y="1570340"/>
                  <a:pt x="4510130" y="1545630"/>
                  <a:pt x="4510130" y="1515149"/>
                </a:cubicBezTo>
                <a:cubicBezTo>
                  <a:pt x="4510130" y="1484668"/>
                  <a:pt x="4534840" y="1459958"/>
                  <a:pt x="4565322" y="1459958"/>
                </a:cubicBezTo>
                <a:close/>
                <a:moveTo>
                  <a:pt x="4431687" y="1459958"/>
                </a:moveTo>
                <a:cubicBezTo>
                  <a:pt x="4462169" y="1459958"/>
                  <a:pt x="4486879" y="1484668"/>
                  <a:pt x="4486879" y="1515149"/>
                </a:cubicBezTo>
                <a:cubicBezTo>
                  <a:pt x="4486879" y="1545630"/>
                  <a:pt x="4462169" y="1570340"/>
                  <a:pt x="4431687" y="1570340"/>
                </a:cubicBezTo>
                <a:cubicBezTo>
                  <a:pt x="4401205" y="1570340"/>
                  <a:pt x="4376495" y="1545630"/>
                  <a:pt x="4376495" y="1515149"/>
                </a:cubicBezTo>
                <a:cubicBezTo>
                  <a:pt x="4376495" y="1484668"/>
                  <a:pt x="4401205" y="1459958"/>
                  <a:pt x="4431687" y="1459958"/>
                </a:cubicBezTo>
                <a:close/>
                <a:moveTo>
                  <a:pt x="3098681" y="1459958"/>
                </a:moveTo>
                <a:cubicBezTo>
                  <a:pt x="3129163" y="1459958"/>
                  <a:pt x="3153873" y="1484668"/>
                  <a:pt x="3153873" y="1515149"/>
                </a:cubicBezTo>
                <a:cubicBezTo>
                  <a:pt x="3153873" y="1545630"/>
                  <a:pt x="3129163" y="1570340"/>
                  <a:pt x="3098681" y="1570340"/>
                </a:cubicBezTo>
                <a:cubicBezTo>
                  <a:pt x="3068199" y="1570340"/>
                  <a:pt x="3043489" y="1545630"/>
                  <a:pt x="3043489" y="1515149"/>
                </a:cubicBezTo>
                <a:cubicBezTo>
                  <a:pt x="3043489" y="1484668"/>
                  <a:pt x="3068199" y="1459958"/>
                  <a:pt x="3098681" y="1459958"/>
                </a:cubicBezTo>
                <a:close/>
                <a:moveTo>
                  <a:pt x="2971729" y="1459958"/>
                </a:moveTo>
                <a:cubicBezTo>
                  <a:pt x="3002211" y="1459958"/>
                  <a:pt x="3026921" y="1484668"/>
                  <a:pt x="3026921" y="1515149"/>
                </a:cubicBezTo>
                <a:cubicBezTo>
                  <a:pt x="3026921" y="1545630"/>
                  <a:pt x="3002211" y="1570340"/>
                  <a:pt x="2971729" y="1570340"/>
                </a:cubicBezTo>
                <a:cubicBezTo>
                  <a:pt x="2941247" y="1570340"/>
                  <a:pt x="2916537" y="1545630"/>
                  <a:pt x="2916537" y="1515149"/>
                </a:cubicBezTo>
                <a:cubicBezTo>
                  <a:pt x="2916537" y="1484668"/>
                  <a:pt x="2941247" y="1459958"/>
                  <a:pt x="2971729" y="1459958"/>
                </a:cubicBezTo>
                <a:close/>
                <a:moveTo>
                  <a:pt x="2834792" y="1459958"/>
                </a:moveTo>
                <a:cubicBezTo>
                  <a:pt x="2865274" y="1459958"/>
                  <a:pt x="2889984" y="1484668"/>
                  <a:pt x="2889984" y="1515149"/>
                </a:cubicBezTo>
                <a:cubicBezTo>
                  <a:pt x="2889984" y="1545630"/>
                  <a:pt x="2865274" y="1570340"/>
                  <a:pt x="2834792" y="1570340"/>
                </a:cubicBezTo>
                <a:cubicBezTo>
                  <a:pt x="2804310" y="1570340"/>
                  <a:pt x="2779600" y="1545630"/>
                  <a:pt x="2779600" y="1515149"/>
                </a:cubicBezTo>
                <a:cubicBezTo>
                  <a:pt x="2779600" y="1484668"/>
                  <a:pt x="2804310" y="1459958"/>
                  <a:pt x="2834792" y="1459958"/>
                </a:cubicBezTo>
                <a:close/>
                <a:moveTo>
                  <a:pt x="2707839" y="1459958"/>
                </a:moveTo>
                <a:cubicBezTo>
                  <a:pt x="2738320" y="1459958"/>
                  <a:pt x="2763031" y="1484668"/>
                  <a:pt x="2763031" y="1515149"/>
                </a:cubicBezTo>
                <a:cubicBezTo>
                  <a:pt x="2763031" y="1545630"/>
                  <a:pt x="2738320" y="1570340"/>
                  <a:pt x="2707839" y="1570340"/>
                </a:cubicBezTo>
                <a:cubicBezTo>
                  <a:pt x="2677357" y="1570340"/>
                  <a:pt x="2652646" y="1545630"/>
                  <a:pt x="2652646" y="1515149"/>
                </a:cubicBezTo>
                <a:cubicBezTo>
                  <a:pt x="2652646" y="1484668"/>
                  <a:pt x="2677357" y="1459958"/>
                  <a:pt x="2707839" y="1459958"/>
                </a:cubicBezTo>
                <a:close/>
                <a:moveTo>
                  <a:pt x="2570864" y="1459958"/>
                </a:moveTo>
                <a:cubicBezTo>
                  <a:pt x="2601346" y="1459958"/>
                  <a:pt x="2626056" y="1484668"/>
                  <a:pt x="2626056" y="1515149"/>
                </a:cubicBezTo>
                <a:cubicBezTo>
                  <a:pt x="2626056" y="1545630"/>
                  <a:pt x="2601346" y="1570340"/>
                  <a:pt x="2570864" y="1570340"/>
                </a:cubicBezTo>
                <a:cubicBezTo>
                  <a:pt x="2540381" y="1570340"/>
                  <a:pt x="2515671" y="1545630"/>
                  <a:pt x="2515671" y="1515149"/>
                </a:cubicBezTo>
                <a:cubicBezTo>
                  <a:pt x="2515671" y="1484668"/>
                  <a:pt x="2540381" y="1459958"/>
                  <a:pt x="2570864" y="1459958"/>
                </a:cubicBezTo>
                <a:close/>
                <a:moveTo>
                  <a:pt x="2437228" y="1459958"/>
                </a:moveTo>
                <a:cubicBezTo>
                  <a:pt x="2467711" y="1459958"/>
                  <a:pt x="2492419" y="1484668"/>
                  <a:pt x="2492419" y="1515149"/>
                </a:cubicBezTo>
                <a:cubicBezTo>
                  <a:pt x="2492419" y="1545630"/>
                  <a:pt x="2467711" y="1570340"/>
                  <a:pt x="2437228" y="1570340"/>
                </a:cubicBezTo>
                <a:cubicBezTo>
                  <a:pt x="2406748" y="1570340"/>
                  <a:pt x="2382037" y="1545630"/>
                  <a:pt x="2382037" y="1515149"/>
                </a:cubicBezTo>
                <a:cubicBezTo>
                  <a:pt x="2382037" y="1484668"/>
                  <a:pt x="2406748" y="1459958"/>
                  <a:pt x="2437228" y="1459958"/>
                </a:cubicBezTo>
                <a:close/>
                <a:moveTo>
                  <a:pt x="2303596" y="1459958"/>
                </a:moveTo>
                <a:cubicBezTo>
                  <a:pt x="2334078" y="1459958"/>
                  <a:pt x="2358787" y="1484668"/>
                  <a:pt x="2358787" y="1515149"/>
                </a:cubicBezTo>
                <a:cubicBezTo>
                  <a:pt x="2358787" y="1545630"/>
                  <a:pt x="2334078" y="1570340"/>
                  <a:pt x="2303596" y="1570340"/>
                </a:cubicBezTo>
                <a:cubicBezTo>
                  <a:pt x="2273113" y="1570340"/>
                  <a:pt x="2248404" y="1545630"/>
                  <a:pt x="2248404" y="1515149"/>
                </a:cubicBezTo>
                <a:cubicBezTo>
                  <a:pt x="2248404" y="1484668"/>
                  <a:pt x="2273113" y="1459958"/>
                  <a:pt x="2303596" y="1459958"/>
                </a:cubicBezTo>
                <a:close/>
                <a:moveTo>
                  <a:pt x="2173305" y="1459958"/>
                </a:moveTo>
                <a:cubicBezTo>
                  <a:pt x="2203787" y="1459958"/>
                  <a:pt x="2228497" y="1484668"/>
                  <a:pt x="2228497" y="1515149"/>
                </a:cubicBezTo>
                <a:cubicBezTo>
                  <a:pt x="2228497" y="1545630"/>
                  <a:pt x="2203787" y="1570340"/>
                  <a:pt x="2173305" y="1570340"/>
                </a:cubicBezTo>
                <a:cubicBezTo>
                  <a:pt x="2142822" y="1570340"/>
                  <a:pt x="2118111" y="1545630"/>
                  <a:pt x="2118111" y="1515149"/>
                </a:cubicBezTo>
                <a:cubicBezTo>
                  <a:pt x="2118111" y="1484668"/>
                  <a:pt x="2142822" y="1459958"/>
                  <a:pt x="2173305" y="1459958"/>
                </a:cubicBezTo>
                <a:close/>
                <a:moveTo>
                  <a:pt x="2039668" y="1459958"/>
                </a:moveTo>
                <a:cubicBezTo>
                  <a:pt x="2070150" y="1459958"/>
                  <a:pt x="2094860" y="1484668"/>
                  <a:pt x="2094860" y="1515149"/>
                </a:cubicBezTo>
                <a:cubicBezTo>
                  <a:pt x="2094860" y="1545630"/>
                  <a:pt x="2070150" y="1570340"/>
                  <a:pt x="2039668" y="1570340"/>
                </a:cubicBezTo>
                <a:cubicBezTo>
                  <a:pt x="2009185" y="1570340"/>
                  <a:pt x="1984475" y="1545630"/>
                  <a:pt x="1984475" y="1515149"/>
                </a:cubicBezTo>
                <a:cubicBezTo>
                  <a:pt x="1984475" y="1484668"/>
                  <a:pt x="2009185" y="1459958"/>
                  <a:pt x="2039668" y="1459958"/>
                </a:cubicBezTo>
                <a:close/>
                <a:moveTo>
                  <a:pt x="1909371" y="1459958"/>
                </a:moveTo>
                <a:cubicBezTo>
                  <a:pt x="1939853" y="1459958"/>
                  <a:pt x="1964564" y="1484668"/>
                  <a:pt x="1964564" y="1515149"/>
                </a:cubicBezTo>
                <a:cubicBezTo>
                  <a:pt x="1964564" y="1545630"/>
                  <a:pt x="1939853" y="1570340"/>
                  <a:pt x="1909371" y="1570340"/>
                </a:cubicBezTo>
                <a:cubicBezTo>
                  <a:pt x="1878889" y="1570340"/>
                  <a:pt x="1854178" y="1545630"/>
                  <a:pt x="1854178" y="1515149"/>
                </a:cubicBezTo>
                <a:cubicBezTo>
                  <a:pt x="1854178" y="1484668"/>
                  <a:pt x="1878889" y="1459958"/>
                  <a:pt x="1909371" y="1459958"/>
                </a:cubicBezTo>
                <a:close/>
                <a:moveTo>
                  <a:pt x="1779076" y="1459958"/>
                </a:moveTo>
                <a:cubicBezTo>
                  <a:pt x="1809559" y="1459958"/>
                  <a:pt x="1834269" y="1484668"/>
                  <a:pt x="1834269" y="1515149"/>
                </a:cubicBezTo>
                <a:cubicBezTo>
                  <a:pt x="1834269" y="1545630"/>
                  <a:pt x="1809559" y="1570340"/>
                  <a:pt x="1779076" y="1570340"/>
                </a:cubicBezTo>
                <a:cubicBezTo>
                  <a:pt x="1748595" y="1570340"/>
                  <a:pt x="1723884" y="1545630"/>
                  <a:pt x="1723884" y="1515149"/>
                </a:cubicBezTo>
                <a:cubicBezTo>
                  <a:pt x="1723884" y="1484668"/>
                  <a:pt x="1748595" y="1459958"/>
                  <a:pt x="1779076" y="1459958"/>
                </a:cubicBezTo>
                <a:close/>
                <a:moveTo>
                  <a:pt x="1645440" y="1459958"/>
                </a:moveTo>
                <a:cubicBezTo>
                  <a:pt x="1675922" y="1459958"/>
                  <a:pt x="1700637" y="1484668"/>
                  <a:pt x="1700637" y="1515149"/>
                </a:cubicBezTo>
                <a:cubicBezTo>
                  <a:pt x="1700637" y="1545630"/>
                  <a:pt x="1675922" y="1570340"/>
                  <a:pt x="1645440" y="1570340"/>
                </a:cubicBezTo>
                <a:cubicBezTo>
                  <a:pt x="1614959" y="1570340"/>
                  <a:pt x="1590248" y="1545630"/>
                  <a:pt x="1590248" y="1515149"/>
                </a:cubicBezTo>
                <a:cubicBezTo>
                  <a:pt x="1590248" y="1484668"/>
                  <a:pt x="1614959" y="1459958"/>
                  <a:pt x="1645440" y="1459958"/>
                </a:cubicBezTo>
                <a:close/>
                <a:moveTo>
                  <a:pt x="1515149" y="1459958"/>
                </a:moveTo>
                <a:cubicBezTo>
                  <a:pt x="1545630" y="1459958"/>
                  <a:pt x="1570338" y="1484668"/>
                  <a:pt x="1570338" y="1515149"/>
                </a:cubicBezTo>
                <a:cubicBezTo>
                  <a:pt x="1570338" y="1545630"/>
                  <a:pt x="1545630" y="1570340"/>
                  <a:pt x="1515149" y="1570340"/>
                </a:cubicBezTo>
                <a:cubicBezTo>
                  <a:pt x="1484666" y="1570340"/>
                  <a:pt x="1459956" y="1545630"/>
                  <a:pt x="1459956" y="1515149"/>
                </a:cubicBezTo>
                <a:cubicBezTo>
                  <a:pt x="1459956" y="1484668"/>
                  <a:pt x="1484666" y="1459958"/>
                  <a:pt x="1515149" y="1459958"/>
                </a:cubicBezTo>
                <a:close/>
                <a:moveTo>
                  <a:pt x="1381511" y="1459958"/>
                </a:moveTo>
                <a:cubicBezTo>
                  <a:pt x="1411994" y="1459958"/>
                  <a:pt x="1436705" y="1484668"/>
                  <a:pt x="1436705" y="1515149"/>
                </a:cubicBezTo>
                <a:cubicBezTo>
                  <a:pt x="1436705" y="1545630"/>
                  <a:pt x="1411994" y="1570340"/>
                  <a:pt x="1381511" y="1570340"/>
                </a:cubicBezTo>
                <a:cubicBezTo>
                  <a:pt x="1351035" y="1570340"/>
                  <a:pt x="1326322" y="1545630"/>
                  <a:pt x="1326322" y="1515149"/>
                </a:cubicBezTo>
                <a:cubicBezTo>
                  <a:pt x="1326322" y="1484668"/>
                  <a:pt x="1351035" y="1459958"/>
                  <a:pt x="1381511" y="1459958"/>
                </a:cubicBezTo>
                <a:close/>
                <a:moveTo>
                  <a:pt x="1251220" y="1459958"/>
                </a:moveTo>
                <a:cubicBezTo>
                  <a:pt x="1281702" y="1459958"/>
                  <a:pt x="1306413" y="1484668"/>
                  <a:pt x="1306413" y="1515149"/>
                </a:cubicBezTo>
                <a:cubicBezTo>
                  <a:pt x="1306413" y="1545630"/>
                  <a:pt x="1281702" y="1570340"/>
                  <a:pt x="1251220" y="1570340"/>
                </a:cubicBezTo>
                <a:cubicBezTo>
                  <a:pt x="1220737" y="1570340"/>
                  <a:pt x="1196028" y="1545630"/>
                  <a:pt x="1196028" y="1515149"/>
                </a:cubicBezTo>
                <a:cubicBezTo>
                  <a:pt x="1196028" y="1484668"/>
                  <a:pt x="1220737" y="1459958"/>
                  <a:pt x="1251220" y="1459958"/>
                </a:cubicBezTo>
                <a:close/>
                <a:moveTo>
                  <a:pt x="1117583" y="1459958"/>
                </a:moveTo>
                <a:cubicBezTo>
                  <a:pt x="1148066" y="1459958"/>
                  <a:pt x="1172776" y="1484668"/>
                  <a:pt x="1172776" y="1515149"/>
                </a:cubicBezTo>
                <a:cubicBezTo>
                  <a:pt x="1172776" y="1545630"/>
                  <a:pt x="1148066" y="1570340"/>
                  <a:pt x="1117583" y="1570340"/>
                </a:cubicBezTo>
                <a:cubicBezTo>
                  <a:pt x="1087101" y="1570340"/>
                  <a:pt x="1062390" y="1545630"/>
                  <a:pt x="1062390" y="1515149"/>
                </a:cubicBezTo>
                <a:cubicBezTo>
                  <a:pt x="1062390" y="1484668"/>
                  <a:pt x="1087101" y="1459958"/>
                  <a:pt x="1117583" y="1459958"/>
                </a:cubicBezTo>
                <a:close/>
                <a:moveTo>
                  <a:pt x="980607" y="1459958"/>
                </a:moveTo>
                <a:cubicBezTo>
                  <a:pt x="1011090" y="1459958"/>
                  <a:pt x="1035800" y="1484668"/>
                  <a:pt x="1035800" y="1515149"/>
                </a:cubicBezTo>
                <a:cubicBezTo>
                  <a:pt x="1035800" y="1545630"/>
                  <a:pt x="1011090" y="1570340"/>
                  <a:pt x="980607" y="1570340"/>
                </a:cubicBezTo>
                <a:cubicBezTo>
                  <a:pt x="950125" y="1570340"/>
                  <a:pt x="925415" y="1545630"/>
                  <a:pt x="925415" y="1515149"/>
                </a:cubicBezTo>
                <a:cubicBezTo>
                  <a:pt x="925415" y="1484668"/>
                  <a:pt x="950125" y="1459958"/>
                  <a:pt x="980607" y="1459958"/>
                </a:cubicBezTo>
                <a:close/>
                <a:moveTo>
                  <a:pt x="7608849" y="1336350"/>
                </a:moveTo>
                <a:cubicBezTo>
                  <a:pt x="7639331" y="1336350"/>
                  <a:pt x="7664041" y="1361060"/>
                  <a:pt x="7664041" y="1391541"/>
                </a:cubicBezTo>
                <a:cubicBezTo>
                  <a:pt x="7664041" y="1422022"/>
                  <a:pt x="7639331" y="1446732"/>
                  <a:pt x="7608849" y="1446732"/>
                </a:cubicBezTo>
                <a:cubicBezTo>
                  <a:pt x="7578367" y="1446732"/>
                  <a:pt x="7553657" y="1422022"/>
                  <a:pt x="7553657" y="1391541"/>
                </a:cubicBezTo>
                <a:cubicBezTo>
                  <a:pt x="7553657" y="1361060"/>
                  <a:pt x="7578367" y="1336350"/>
                  <a:pt x="7608849" y="1336350"/>
                </a:cubicBezTo>
                <a:close/>
                <a:moveTo>
                  <a:pt x="7481897" y="1336350"/>
                </a:moveTo>
                <a:cubicBezTo>
                  <a:pt x="7512379" y="1336350"/>
                  <a:pt x="7537089" y="1361060"/>
                  <a:pt x="7537089" y="1391541"/>
                </a:cubicBezTo>
                <a:cubicBezTo>
                  <a:pt x="7537089" y="1422022"/>
                  <a:pt x="7512379" y="1446732"/>
                  <a:pt x="7481897" y="1446732"/>
                </a:cubicBezTo>
                <a:cubicBezTo>
                  <a:pt x="7451415" y="1446732"/>
                  <a:pt x="7426705" y="1422022"/>
                  <a:pt x="7426705" y="1391541"/>
                </a:cubicBezTo>
                <a:cubicBezTo>
                  <a:pt x="7426705" y="1361060"/>
                  <a:pt x="7451415" y="1336350"/>
                  <a:pt x="7481897" y="1336350"/>
                </a:cubicBezTo>
                <a:close/>
                <a:moveTo>
                  <a:pt x="7341579" y="1336350"/>
                </a:moveTo>
                <a:cubicBezTo>
                  <a:pt x="7372061" y="1336350"/>
                  <a:pt x="7396771" y="1361060"/>
                  <a:pt x="7396771" y="1391541"/>
                </a:cubicBezTo>
                <a:cubicBezTo>
                  <a:pt x="7396771" y="1422022"/>
                  <a:pt x="7372061" y="1446732"/>
                  <a:pt x="7341579" y="1446732"/>
                </a:cubicBezTo>
                <a:cubicBezTo>
                  <a:pt x="7311097" y="1446732"/>
                  <a:pt x="7286387" y="1422022"/>
                  <a:pt x="7286387" y="1391541"/>
                </a:cubicBezTo>
                <a:cubicBezTo>
                  <a:pt x="7286387" y="1361060"/>
                  <a:pt x="7311097" y="1336350"/>
                  <a:pt x="7341579" y="1336350"/>
                </a:cubicBezTo>
                <a:close/>
                <a:moveTo>
                  <a:pt x="7211286" y="1336350"/>
                </a:moveTo>
                <a:cubicBezTo>
                  <a:pt x="7241768" y="1336350"/>
                  <a:pt x="7266478" y="1361060"/>
                  <a:pt x="7266478" y="1391541"/>
                </a:cubicBezTo>
                <a:cubicBezTo>
                  <a:pt x="7266478" y="1422022"/>
                  <a:pt x="7241768" y="1446732"/>
                  <a:pt x="7211286" y="1446732"/>
                </a:cubicBezTo>
                <a:cubicBezTo>
                  <a:pt x="7180804" y="1446732"/>
                  <a:pt x="7156094" y="1422022"/>
                  <a:pt x="7156094" y="1391541"/>
                </a:cubicBezTo>
                <a:cubicBezTo>
                  <a:pt x="7156094" y="1361060"/>
                  <a:pt x="7180804" y="1336350"/>
                  <a:pt x="7211286" y="1336350"/>
                </a:cubicBezTo>
                <a:close/>
                <a:moveTo>
                  <a:pt x="7080993" y="1336350"/>
                </a:moveTo>
                <a:cubicBezTo>
                  <a:pt x="7111475" y="1336350"/>
                  <a:pt x="7136185" y="1361060"/>
                  <a:pt x="7136185" y="1391541"/>
                </a:cubicBezTo>
                <a:cubicBezTo>
                  <a:pt x="7136185" y="1422022"/>
                  <a:pt x="7111475" y="1446732"/>
                  <a:pt x="7080993" y="1446732"/>
                </a:cubicBezTo>
                <a:cubicBezTo>
                  <a:pt x="7050511" y="1446732"/>
                  <a:pt x="7025801" y="1422022"/>
                  <a:pt x="7025801" y="1391541"/>
                </a:cubicBezTo>
                <a:cubicBezTo>
                  <a:pt x="7025801" y="1361060"/>
                  <a:pt x="7050511" y="1336350"/>
                  <a:pt x="7080993" y="1336350"/>
                </a:cubicBezTo>
                <a:close/>
                <a:moveTo>
                  <a:pt x="6947357" y="1336350"/>
                </a:moveTo>
                <a:cubicBezTo>
                  <a:pt x="6977839" y="1336350"/>
                  <a:pt x="7002549" y="1361060"/>
                  <a:pt x="7002549" y="1391541"/>
                </a:cubicBezTo>
                <a:cubicBezTo>
                  <a:pt x="7002549" y="1422022"/>
                  <a:pt x="6977839" y="1446732"/>
                  <a:pt x="6947357" y="1446732"/>
                </a:cubicBezTo>
                <a:cubicBezTo>
                  <a:pt x="6916875" y="1446732"/>
                  <a:pt x="6892165" y="1422022"/>
                  <a:pt x="6892165" y="1391541"/>
                </a:cubicBezTo>
                <a:cubicBezTo>
                  <a:pt x="6892165" y="1361060"/>
                  <a:pt x="6916875" y="1336350"/>
                  <a:pt x="6947357" y="1336350"/>
                </a:cubicBezTo>
                <a:close/>
                <a:moveTo>
                  <a:pt x="6817064" y="1336350"/>
                </a:moveTo>
                <a:cubicBezTo>
                  <a:pt x="6847546" y="1336350"/>
                  <a:pt x="6872256" y="1361060"/>
                  <a:pt x="6872256" y="1391541"/>
                </a:cubicBezTo>
                <a:cubicBezTo>
                  <a:pt x="6872256" y="1422022"/>
                  <a:pt x="6847546" y="1446732"/>
                  <a:pt x="6817064" y="1446732"/>
                </a:cubicBezTo>
                <a:cubicBezTo>
                  <a:pt x="6786582" y="1446732"/>
                  <a:pt x="6761872" y="1422022"/>
                  <a:pt x="6761872" y="1391541"/>
                </a:cubicBezTo>
                <a:cubicBezTo>
                  <a:pt x="6761872" y="1361060"/>
                  <a:pt x="6786582" y="1336350"/>
                  <a:pt x="6817064" y="1336350"/>
                </a:cubicBezTo>
                <a:close/>
                <a:moveTo>
                  <a:pt x="6683431" y="1336350"/>
                </a:moveTo>
                <a:cubicBezTo>
                  <a:pt x="6713913" y="1336350"/>
                  <a:pt x="6738623" y="1361060"/>
                  <a:pt x="6738623" y="1391541"/>
                </a:cubicBezTo>
                <a:cubicBezTo>
                  <a:pt x="6738623" y="1422022"/>
                  <a:pt x="6713913" y="1446732"/>
                  <a:pt x="6683431" y="1446732"/>
                </a:cubicBezTo>
                <a:cubicBezTo>
                  <a:pt x="6652949" y="1446732"/>
                  <a:pt x="6628239" y="1422022"/>
                  <a:pt x="6628239" y="1391541"/>
                </a:cubicBezTo>
                <a:cubicBezTo>
                  <a:pt x="6628239" y="1361060"/>
                  <a:pt x="6652949" y="1336350"/>
                  <a:pt x="6683431" y="1336350"/>
                </a:cubicBezTo>
                <a:close/>
                <a:moveTo>
                  <a:pt x="6553137" y="1336350"/>
                </a:moveTo>
                <a:cubicBezTo>
                  <a:pt x="6583619" y="1336350"/>
                  <a:pt x="6608329" y="1361060"/>
                  <a:pt x="6608329" y="1391541"/>
                </a:cubicBezTo>
                <a:cubicBezTo>
                  <a:pt x="6608329" y="1422022"/>
                  <a:pt x="6583619" y="1446732"/>
                  <a:pt x="6553137" y="1446732"/>
                </a:cubicBezTo>
                <a:cubicBezTo>
                  <a:pt x="6522655" y="1446732"/>
                  <a:pt x="6497945" y="1422022"/>
                  <a:pt x="6497945" y="1391541"/>
                </a:cubicBezTo>
                <a:cubicBezTo>
                  <a:pt x="6497945" y="1361060"/>
                  <a:pt x="6522655" y="1336350"/>
                  <a:pt x="6553137" y="1336350"/>
                </a:cubicBezTo>
                <a:close/>
                <a:moveTo>
                  <a:pt x="6419502" y="1336350"/>
                </a:moveTo>
                <a:cubicBezTo>
                  <a:pt x="6449984" y="1336350"/>
                  <a:pt x="6474694" y="1361060"/>
                  <a:pt x="6474694" y="1391541"/>
                </a:cubicBezTo>
                <a:cubicBezTo>
                  <a:pt x="6474694" y="1422022"/>
                  <a:pt x="6449984" y="1446732"/>
                  <a:pt x="6419502" y="1446732"/>
                </a:cubicBezTo>
                <a:cubicBezTo>
                  <a:pt x="6389020" y="1446732"/>
                  <a:pt x="6364310" y="1422022"/>
                  <a:pt x="6364310" y="1391541"/>
                </a:cubicBezTo>
                <a:cubicBezTo>
                  <a:pt x="6364310" y="1361060"/>
                  <a:pt x="6389020" y="1336350"/>
                  <a:pt x="6419502" y="1336350"/>
                </a:cubicBezTo>
                <a:close/>
                <a:moveTo>
                  <a:pt x="6289207" y="1336350"/>
                </a:moveTo>
                <a:cubicBezTo>
                  <a:pt x="6319689" y="1336350"/>
                  <a:pt x="6344399" y="1361060"/>
                  <a:pt x="6344399" y="1391541"/>
                </a:cubicBezTo>
                <a:cubicBezTo>
                  <a:pt x="6344399" y="1422022"/>
                  <a:pt x="6319689" y="1446732"/>
                  <a:pt x="6289207" y="1446732"/>
                </a:cubicBezTo>
                <a:cubicBezTo>
                  <a:pt x="6258725" y="1446732"/>
                  <a:pt x="6234015" y="1422022"/>
                  <a:pt x="6234015" y="1391541"/>
                </a:cubicBezTo>
                <a:cubicBezTo>
                  <a:pt x="6234015" y="1361060"/>
                  <a:pt x="6258725" y="1336350"/>
                  <a:pt x="6289207" y="1336350"/>
                </a:cubicBezTo>
                <a:close/>
                <a:moveTo>
                  <a:pt x="6155573" y="1336350"/>
                </a:moveTo>
                <a:cubicBezTo>
                  <a:pt x="6186055" y="1336350"/>
                  <a:pt x="6210765" y="1361060"/>
                  <a:pt x="6210765" y="1391541"/>
                </a:cubicBezTo>
                <a:cubicBezTo>
                  <a:pt x="6210765" y="1422022"/>
                  <a:pt x="6186055" y="1446732"/>
                  <a:pt x="6155573" y="1446732"/>
                </a:cubicBezTo>
                <a:cubicBezTo>
                  <a:pt x="6125091" y="1446732"/>
                  <a:pt x="6100381" y="1422022"/>
                  <a:pt x="6100381" y="1391541"/>
                </a:cubicBezTo>
                <a:cubicBezTo>
                  <a:pt x="6100381" y="1361060"/>
                  <a:pt x="6125091" y="1336350"/>
                  <a:pt x="6155573" y="1336350"/>
                </a:cubicBezTo>
                <a:close/>
                <a:moveTo>
                  <a:pt x="6021939" y="1336350"/>
                </a:moveTo>
                <a:cubicBezTo>
                  <a:pt x="6052421" y="1336350"/>
                  <a:pt x="6077131" y="1361060"/>
                  <a:pt x="6077131" y="1391541"/>
                </a:cubicBezTo>
                <a:cubicBezTo>
                  <a:pt x="6077131" y="1422022"/>
                  <a:pt x="6052421" y="1446732"/>
                  <a:pt x="6021939" y="1446732"/>
                </a:cubicBezTo>
                <a:cubicBezTo>
                  <a:pt x="5991457" y="1446732"/>
                  <a:pt x="5966747" y="1422022"/>
                  <a:pt x="5966747" y="1391541"/>
                </a:cubicBezTo>
                <a:cubicBezTo>
                  <a:pt x="5966747" y="1361060"/>
                  <a:pt x="5991457" y="1336350"/>
                  <a:pt x="6021939" y="1336350"/>
                </a:cubicBezTo>
                <a:close/>
                <a:moveTo>
                  <a:pt x="5884964" y="1336350"/>
                </a:moveTo>
                <a:cubicBezTo>
                  <a:pt x="5915446" y="1336350"/>
                  <a:pt x="5940156" y="1361060"/>
                  <a:pt x="5940156" y="1391541"/>
                </a:cubicBezTo>
                <a:cubicBezTo>
                  <a:pt x="5940156" y="1422022"/>
                  <a:pt x="5915446" y="1446732"/>
                  <a:pt x="5884964" y="1446732"/>
                </a:cubicBezTo>
                <a:cubicBezTo>
                  <a:pt x="5854482" y="1446732"/>
                  <a:pt x="5829772" y="1422022"/>
                  <a:pt x="5829772" y="1391541"/>
                </a:cubicBezTo>
                <a:cubicBezTo>
                  <a:pt x="5829772" y="1361060"/>
                  <a:pt x="5854482" y="1336350"/>
                  <a:pt x="5884964" y="1336350"/>
                </a:cubicBezTo>
                <a:close/>
                <a:moveTo>
                  <a:pt x="5754668" y="1336350"/>
                </a:moveTo>
                <a:cubicBezTo>
                  <a:pt x="5785150" y="1336350"/>
                  <a:pt x="5809860" y="1361060"/>
                  <a:pt x="5809860" y="1391541"/>
                </a:cubicBezTo>
                <a:cubicBezTo>
                  <a:pt x="5809860" y="1422022"/>
                  <a:pt x="5785150" y="1446732"/>
                  <a:pt x="5754668" y="1446732"/>
                </a:cubicBezTo>
                <a:cubicBezTo>
                  <a:pt x="5724186" y="1446732"/>
                  <a:pt x="5699476" y="1422022"/>
                  <a:pt x="5699476" y="1391541"/>
                </a:cubicBezTo>
                <a:cubicBezTo>
                  <a:pt x="5699476" y="1361060"/>
                  <a:pt x="5724186" y="1336350"/>
                  <a:pt x="5754668" y="1336350"/>
                </a:cubicBezTo>
                <a:close/>
                <a:moveTo>
                  <a:pt x="5621035" y="1336350"/>
                </a:moveTo>
                <a:cubicBezTo>
                  <a:pt x="5651517" y="1336350"/>
                  <a:pt x="5676227" y="1361060"/>
                  <a:pt x="5676227" y="1391541"/>
                </a:cubicBezTo>
                <a:cubicBezTo>
                  <a:pt x="5676227" y="1422022"/>
                  <a:pt x="5651517" y="1446732"/>
                  <a:pt x="5621035" y="1446732"/>
                </a:cubicBezTo>
                <a:cubicBezTo>
                  <a:pt x="5590553" y="1446732"/>
                  <a:pt x="5565843" y="1422022"/>
                  <a:pt x="5565843" y="1391541"/>
                </a:cubicBezTo>
                <a:cubicBezTo>
                  <a:pt x="5565843" y="1361060"/>
                  <a:pt x="5590553" y="1336350"/>
                  <a:pt x="5621035" y="1336350"/>
                </a:cubicBezTo>
                <a:close/>
                <a:moveTo>
                  <a:pt x="5487399" y="1336350"/>
                </a:moveTo>
                <a:cubicBezTo>
                  <a:pt x="5517881" y="1336350"/>
                  <a:pt x="5542591" y="1361060"/>
                  <a:pt x="5542591" y="1391541"/>
                </a:cubicBezTo>
                <a:cubicBezTo>
                  <a:pt x="5542591" y="1422022"/>
                  <a:pt x="5517881" y="1446732"/>
                  <a:pt x="5487399" y="1446732"/>
                </a:cubicBezTo>
                <a:cubicBezTo>
                  <a:pt x="5456917" y="1446732"/>
                  <a:pt x="5432207" y="1422022"/>
                  <a:pt x="5432207" y="1391541"/>
                </a:cubicBezTo>
                <a:cubicBezTo>
                  <a:pt x="5432207" y="1361060"/>
                  <a:pt x="5456917" y="1336350"/>
                  <a:pt x="5487399" y="1336350"/>
                </a:cubicBezTo>
                <a:close/>
                <a:moveTo>
                  <a:pt x="5357106" y="1336350"/>
                </a:moveTo>
                <a:cubicBezTo>
                  <a:pt x="5387588" y="1336350"/>
                  <a:pt x="5412298" y="1361060"/>
                  <a:pt x="5412298" y="1391541"/>
                </a:cubicBezTo>
                <a:cubicBezTo>
                  <a:pt x="5412298" y="1422022"/>
                  <a:pt x="5387588" y="1446732"/>
                  <a:pt x="5357106" y="1446732"/>
                </a:cubicBezTo>
                <a:cubicBezTo>
                  <a:pt x="5326624" y="1446732"/>
                  <a:pt x="5301914" y="1422022"/>
                  <a:pt x="5301914" y="1391541"/>
                </a:cubicBezTo>
                <a:cubicBezTo>
                  <a:pt x="5301914" y="1361060"/>
                  <a:pt x="5326624" y="1336350"/>
                  <a:pt x="5357106" y="1336350"/>
                </a:cubicBezTo>
                <a:close/>
                <a:moveTo>
                  <a:pt x="4959543" y="1336350"/>
                </a:moveTo>
                <a:cubicBezTo>
                  <a:pt x="4990025" y="1336350"/>
                  <a:pt x="5014735" y="1361060"/>
                  <a:pt x="5014735" y="1391541"/>
                </a:cubicBezTo>
                <a:cubicBezTo>
                  <a:pt x="5014735" y="1422022"/>
                  <a:pt x="4990025" y="1446732"/>
                  <a:pt x="4959543" y="1446732"/>
                </a:cubicBezTo>
                <a:cubicBezTo>
                  <a:pt x="4929061" y="1446732"/>
                  <a:pt x="4904351" y="1422022"/>
                  <a:pt x="4904351" y="1391541"/>
                </a:cubicBezTo>
                <a:cubicBezTo>
                  <a:pt x="4904351" y="1361060"/>
                  <a:pt x="4929061" y="1336350"/>
                  <a:pt x="4959543" y="1336350"/>
                </a:cubicBezTo>
                <a:close/>
                <a:moveTo>
                  <a:pt x="4565322" y="1336350"/>
                </a:moveTo>
                <a:cubicBezTo>
                  <a:pt x="4595804" y="1336350"/>
                  <a:pt x="4620514" y="1361060"/>
                  <a:pt x="4620514" y="1391541"/>
                </a:cubicBezTo>
                <a:cubicBezTo>
                  <a:pt x="4620514" y="1422022"/>
                  <a:pt x="4595804" y="1446732"/>
                  <a:pt x="4565322" y="1446732"/>
                </a:cubicBezTo>
                <a:cubicBezTo>
                  <a:pt x="4534840" y="1446732"/>
                  <a:pt x="4510130" y="1422022"/>
                  <a:pt x="4510130" y="1391541"/>
                </a:cubicBezTo>
                <a:cubicBezTo>
                  <a:pt x="4510130" y="1361060"/>
                  <a:pt x="4534840" y="1336350"/>
                  <a:pt x="4565322" y="1336350"/>
                </a:cubicBezTo>
                <a:close/>
                <a:moveTo>
                  <a:pt x="2971729" y="1336350"/>
                </a:moveTo>
                <a:cubicBezTo>
                  <a:pt x="3002211" y="1336350"/>
                  <a:pt x="3026921" y="1361060"/>
                  <a:pt x="3026921" y="1391541"/>
                </a:cubicBezTo>
                <a:cubicBezTo>
                  <a:pt x="3026921" y="1422022"/>
                  <a:pt x="3002211" y="1446732"/>
                  <a:pt x="2971729" y="1446732"/>
                </a:cubicBezTo>
                <a:cubicBezTo>
                  <a:pt x="2941247" y="1446732"/>
                  <a:pt x="2916537" y="1422022"/>
                  <a:pt x="2916537" y="1391541"/>
                </a:cubicBezTo>
                <a:cubicBezTo>
                  <a:pt x="2916537" y="1361060"/>
                  <a:pt x="2941247" y="1336350"/>
                  <a:pt x="2971729" y="1336350"/>
                </a:cubicBezTo>
                <a:close/>
                <a:moveTo>
                  <a:pt x="2834801" y="1336350"/>
                </a:moveTo>
                <a:cubicBezTo>
                  <a:pt x="2865283" y="1336350"/>
                  <a:pt x="2889994" y="1361060"/>
                  <a:pt x="2889994" y="1391541"/>
                </a:cubicBezTo>
                <a:cubicBezTo>
                  <a:pt x="2889994" y="1422022"/>
                  <a:pt x="2865283" y="1446732"/>
                  <a:pt x="2834801" y="1446732"/>
                </a:cubicBezTo>
                <a:cubicBezTo>
                  <a:pt x="2804320" y="1446732"/>
                  <a:pt x="2779610" y="1422022"/>
                  <a:pt x="2779610" y="1391541"/>
                </a:cubicBezTo>
                <a:cubicBezTo>
                  <a:pt x="2779610" y="1361060"/>
                  <a:pt x="2804320" y="1336350"/>
                  <a:pt x="2834801" y="1336350"/>
                </a:cubicBezTo>
                <a:close/>
                <a:moveTo>
                  <a:pt x="2707848" y="1336350"/>
                </a:moveTo>
                <a:cubicBezTo>
                  <a:pt x="2738330" y="1336350"/>
                  <a:pt x="2763042" y="1361060"/>
                  <a:pt x="2763042" y="1391541"/>
                </a:cubicBezTo>
                <a:cubicBezTo>
                  <a:pt x="2763042" y="1422022"/>
                  <a:pt x="2738330" y="1446732"/>
                  <a:pt x="2707848" y="1446732"/>
                </a:cubicBezTo>
                <a:cubicBezTo>
                  <a:pt x="2677367" y="1446732"/>
                  <a:pt x="2652656" y="1422022"/>
                  <a:pt x="2652656" y="1391541"/>
                </a:cubicBezTo>
                <a:cubicBezTo>
                  <a:pt x="2652656" y="1361060"/>
                  <a:pt x="2677367" y="1336350"/>
                  <a:pt x="2707848" y="1336350"/>
                </a:cubicBezTo>
                <a:close/>
                <a:moveTo>
                  <a:pt x="2570875" y="1336350"/>
                </a:moveTo>
                <a:cubicBezTo>
                  <a:pt x="2601357" y="1336350"/>
                  <a:pt x="2626067" y="1361060"/>
                  <a:pt x="2626067" y="1391541"/>
                </a:cubicBezTo>
                <a:cubicBezTo>
                  <a:pt x="2626067" y="1422022"/>
                  <a:pt x="2601357" y="1446732"/>
                  <a:pt x="2570875" y="1446732"/>
                </a:cubicBezTo>
                <a:cubicBezTo>
                  <a:pt x="2540392" y="1446732"/>
                  <a:pt x="2515683" y="1422022"/>
                  <a:pt x="2515683" y="1391541"/>
                </a:cubicBezTo>
                <a:cubicBezTo>
                  <a:pt x="2515683" y="1361060"/>
                  <a:pt x="2540392" y="1336350"/>
                  <a:pt x="2570875" y="1336350"/>
                </a:cubicBezTo>
                <a:close/>
                <a:moveTo>
                  <a:pt x="2173314" y="1336350"/>
                </a:moveTo>
                <a:cubicBezTo>
                  <a:pt x="2203797" y="1336350"/>
                  <a:pt x="2228507" y="1361060"/>
                  <a:pt x="2228507" y="1391541"/>
                </a:cubicBezTo>
                <a:cubicBezTo>
                  <a:pt x="2228507" y="1422022"/>
                  <a:pt x="2203797" y="1446732"/>
                  <a:pt x="2173314" y="1446732"/>
                </a:cubicBezTo>
                <a:cubicBezTo>
                  <a:pt x="2142832" y="1446732"/>
                  <a:pt x="2118122" y="1422022"/>
                  <a:pt x="2118122" y="1391541"/>
                </a:cubicBezTo>
                <a:cubicBezTo>
                  <a:pt x="2118122" y="1361060"/>
                  <a:pt x="2142832" y="1336350"/>
                  <a:pt x="2173314" y="1336350"/>
                </a:cubicBezTo>
                <a:close/>
                <a:moveTo>
                  <a:pt x="2039678" y="1336350"/>
                </a:moveTo>
                <a:cubicBezTo>
                  <a:pt x="2070160" y="1336350"/>
                  <a:pt x="2094870" y="1361060"/>
                  <a:pt x="2094870" y="1391541"/>
                </a:cubicBezTo>
                <a:cubicBezTo>
                  <a:pt x="2094870" y="1422022"/>
                  <a:pt x="2070160" y="1446732"/>
                  <a:pt x="2039678" y="1446732"/>
                </a:cubicBezTo>
                <a:cubicBezTo>
                  <a:pt x="2009195" y="1446732"/>
                  <a:pt x="1984484" y="1422022"/>
                  <a:pt x="1984484" y="1391541"/>
                </a:cubicBezTo>
                <a:cubicBezTo>
                  <a:pt x="1984484" y="1361060"/>
                  <a:pt x="2009195" y="1336350"/>
                  <a:pt x="2039678" y="1336350"/>
                </a:cubicBezTo>
                <a:close/>
                <a:moveTo>
                  <a:pt x="1909381" y="1336350"/>
                </a:moveTo>
                <a:cubicBezTo>
                  <a:pt x="1939864" y="1336350"/>
                  <a:pt x="1964575" y="1361060"/>
                  <a:pt x="1964575" y="1391541"/>
                </a:cubicBezTo>
                <a:cubicBezTo>
                  <a:pt x="1964575" y="1422022"/>
                  <a:pt x="1939864" y="1446732"/>
                  <a:pt x="1909381" y="1446732"/>
                </a:cubicBezTo>
                <a:cubicBezTo>
                  <a:pt x="1878899" y="1446732"/>
                  <a:pt x="1854188" y="1422022"/>
                  <a:pt x="1854188" y="1391541"/>
                </a:cubicBezTo>
                <a:cubicBezTo>
                  <a:pt x="1854188" y="1361060"/>
                  <a:pt x="1878899" y="1336350"/>
                  <a:pt x="1909381" y="1336350"/>
                </a:cubicBezTo>
                <a:close/>
                <a:moveTo>
                  <a:pt x="1779086" y="1336350"/>
                </a:moveTo>
                <a:cubicBezTo>
                  <a:pt x="1809568" y="1336350"/>
                  <a:pt x="1834278" y="1361060"/>
                  <a:pt x="1834278" y="1391541"/>
                </a:cubicBezTo>
                <a:cubicBezTo>
                  <a:pt x="1834278" y="1422022"/>
                  <a:pt x="1809568" y="1446732"/>
                  <a:pt x="1779086" y="1446732"/>
                </a:cubicBezTo>
                <a:cubicBezTo>
                  <a:pt x="1748603" y="1446732"/>
                  <a:pt x="1723892" y="1422022"/>
                  <a:pt x="1723892" y="1391541"/>
                </a:cubicBezTo>
                <a:cubicBezTo>
                  <a:pt x="1723892" y="1361060"/>
                  <a:pt x="1748603" y="1336350"/>
                  <a:pt x="1779086" y="1336350"/>
                </a:cubicBezTo>
                <a:close/>
                <a:moveTo>
                  <a:pt x="1645448" y="1336350"/>
                </a:moveTo>
                <a:cubicBezTo>
                  <a:pt x="1675933" y="1336350"/>
                  <a:pt x="1700644" y="1361060"/>
                  <a:pt x="1700644" y="1391541"/>
                </a:cubicBezTo>
                <a:cubicBezTo>
                  <a:pt x="1700644" y="1422022"/>
                  <a:pt x="1675933" y="1446732"/>
                  <a:pt x="1645448" y="1446732"/>
                </a:cubicBezTo>
                <a:cubicBezTo>
                  <a:pt x="1614967" y="1446732"/>
                  <a:pt x="1590256" y="1422022"/>
                  <a:pt x="1590256" y="1391541"/>
                </a:cubicBezTo>
                <a:cubicBezTo>
                  <a:pt x="1590256" y="1361060"/>
                  <a:pt x="1614967" y="1336350"/>
                  <a:pt x="1645448" y="1336350"/>
                </a:cubicBezTo>
                <a:close/>
                <a:moveTo>
                  <a:pt x="1515160" y="1336350"/>
                </a:moveTo>
                <a:cubicBezTo>
                  <a:pt x="1545636" y="1336350"/>
                  <a:pt x="1570346" y="1361060"/>
                  <a:pt x="1570346" y="1391541"/>
                </a:cubicBezTo>
                <a:cubicBezTo>
                  <a:pt x="1570346" y="1422022"/>
                  <a:pt x="1545636" y="1446732"/>
                  <a:pt x="1515160" y="1446732"/>
                </a:cubicBezTo>
                <a:cubicBezTo>
                  <a:pt x="1484676" y="1446732"/>
                  <a:pt x="1459963" y="1422022"/>
                  <a:pt x="1459963" y="1391541"/>
                </a:cubicBezTo>
                <a:cubicBezTo>
                  <a:pt x="1459963" y="1361060"/>
                  <a:pt x="1484676" y="1336350"/>
                  <a:pt x="1515160" y="1336350"/>
                </a:cubicBezTo>
                <a:close/>
                <a:moveTo>
                  <a:pt x="1381522" y="1336350"/>
                </a:moveTo>
                <a:cubicBezTo>
                  <a:pt x="1412004" y="1336350"/>
                  <a:pt x="1436714" y="1361060"/>
                  <a:pt x="1436714" y="1391541"/>
                </a:cubicBezTo>
                <a:cubicBezTo>
                  <a:pt x="1436714" y="1422022"/>
                  <a:pt x="1412004" y="1446732"/>
                  <a:pt x="1381522" y="1446732"/>
                </a:cubicBezTo>
                <a:cubicBezTo>
                  <a:pt x="1351043" y="1446732"/>
                  <a:pt x="1326330" y="1422022"/>
                  <a:pt x="1326330" y="1391541"/>
                </a:cubicBezTo>
                <a:cubicBezTo>
                  <a:pt x="1326330" y="1361060"/>
                  <a:pt x="1351043" y="1336350"/>
                  <a:pt x="1381522" y="1336350"/>
                </a:cubicBezTo>
                <a:close/>
                <a:moveTo>
                  <a:pt x="1251229" y="1336350"/>
                </a:moveTo>
                <a:cubicBezTo>
                  <a:pt x="1281711" y="1336350"/>
                  <a:pt x="1306421" y="1361060"/>
                  <a:pt x="1306421" y="1391541"/>
                </a:cubicBezTo>
                <a:cubicBezTo>
                  <a:pt x="1306421" y="1422022"/>
                  <a:pt x="1281711" y="1446732"/>
                  <a:pt x="1251229" y="1446732"/>
                </a:cubicBezTo>
                <a:cubicBezTo>
                  <a:pt x="1220747" y="1446732"/>
                  <a:pt x="1196037" y="1422022"/>
                  <a:pt x="1196037" y="1391541"/>
                </a:cubicBezTo>
                <a:cubicBezTo>
                  <a:pt x="1196037" y="1361060"/>
                  <a:pt x="1220747" y="1336350"/>
                  <a:pt x="1251229" y="1336350"/>
                </a:cubicBezTo>
                <a:close/>
                <a:moveTo>
                  <a:pt x="1117592" y="1336350"/>
                </a:moveTo>
                <a:cubicBezTo>
                  <a:pt x="1148075" y="1336350"/>
                  <a:pt x="1172785" y="1361060"/>
                  <a:pt x="1172785" y="1391541"/>
                </a:cubicBezTo>
                <a:cubicBezTo>
                  <a:pt x="1172785" y="1422022"/>
                  <a:pt x="1148075" y="1446732"/>
                  <a:pt x="1117592" y="1446732"/>
                </a:cubicBezTo>
                <a:cubicBezTo>
                  <a:pt x="1087110" y="1446732"/>
                  <a:pt x="1062400" y="1422022"/>
                  <a:pt x="1062400" y="1391541"/>
                </a:cubicBezTo>
                <a:cubicBezTo>
                  <a:pt x="1062400" y="1361060"/>
                  <a:pt x="1087110" y="1336350"/>
                  <a:pt x="1117592" y="1336350"/>
                </a:cubicBezTo>
                <a:close/>
                <a:moveTo>
                  <a:pt x="980615" y="1336350"/>
                </a:moveTo>
                <a:cubicBezTo>
                  <a:pt x="1011098" y="1336350"/>
                  <a:pt x="1035808" y="1361060"/>
                  <a:pt x="1035808" y="1391541"/>
                </a:cubicBezTo>
                <a:cubicBezTo>
                  <a:pt x="1035808" y="1422022"/>
                  <a:pt x="1011098" y="1446732"/>
                  <a:pt x="980615" y="1446732"/>
                </a:cubicBezTo>
                <a:cubicBezTo>
                  <a:pt x="950133" y="1446732"/>
                  <a:pt x="925422" y="1422022"/>
                  <a:pt x="925422" y="1391541"/>
                </a:cubicBezTo>
                <a:cubicBezTo>
                  <a:pt x="925422" y="1361060"/>
                  <a:pt x="950133" y="1336350"/>
                  <a:pt x="980615" y="1336350"/>
                </a:cubicBezTo>
                <a:close/>
                <a:moveTo>
                  <a:pt x="9199101" y="1336348"/>
                </a:moveTo>
                <a:cubicBezTo>
                  <a:pt x="9229583" y="1336348"/>
                  <a:pt x="9254293" y="1361058"/>
                  <a:pt x="9254293" y="1391539"/>
                </a:cubicBezTo>
                <a:cubicBezTo>
                  <a:pt x="9254293" y="1422020"/>
                  <a:pt x="9229583" y="1446730"/>
                  <a:pt x="9199101" y="1446730"/>
                </a:cubicBezTo>
                <a:cubicBezTo>
                  <a:pt x="9168619" y="1446730"/>
                  <a:pt x="9143909" y="1422020"/>
                  <a:pt x="9143909" y="1391539"/>
                </a:cubicBezTo>
                <a:cubicBezTo>
                  <a:pt x="9143909" y="1361058"/>
                  <a:pt x="9168619" y="1336348"/>
                  <a:pt x="9199101" y="1336348"/>
                </a:cubicBezTo>
                <a:close/>
                <a:moveTo>
                  <a:pt x="9068807" y="1336348"/>
                </a:moveTo>
                <a:cubicBezTo>
                  <a:pt x="9099289" y="1336348"/>
                  <a:pt x="9123999" y="1361058"/>
                  <a:pt x="9123999" y="1391539"/>
                </a:cubicBezTo>
                <a:cubicBezTo>
                  <a:pt x="9123999" y="1422020"/>
                  <a:pt x="9099289" y="1446730"/>
                  <a:pt x="9068807" y="1446730"/>
                </a:cubicBezTo>
                <a:cubicBezTo>
                  <a:pt x="9038325" y="1446730"/>
                  <a:pt x="9013615" y="1422020"/>
                  <a:pt x="9013615" y="1391539"/>
                </a:cubicBezTo>
                <a:cubicBezTo>
                  <a:pt x="9013615" y="1361058"/>
                  <a:pt x="9038325" y="1336348"/>
                  <a:pt x="9068807" y="1336348"/>
                </a:cubicBezTo>
                <a:close/>
                <a:moveTo>
                  <a:pt x="8407316" y="1336348"/>
                </a:moveTo>
                <a:cubicBezTo>
                  <a:pt x="8437798" y="1336348"/>
                  <a:pt x="8462508" y="1361058"/>
                  <a:pt x="8462508" y="1391539"/>
                </a:cubicBezTo>
                <a:cubicBezTo>
                  <a:pt x="8462508" y="1422020"/>
                  <a:pt x="8437798" y="1446730"/>
                  <a:pt x="8407316" y="1446730"/>
                </a:cubicBezTo>
                <a:cubicBezTo>
                  <a:pt x="8376834" y="1446730"/>
                  <a:pt x="8352124" y="1422020"/>
                  <a:pt x="8352124" y="1391539"/>
                </a:cubicBezTo>
                <a:cubicBezTo>
                  <a:pt x="8352124" y="1361058"/>
                  <a:pt x="8376834" y="1336348"/>
                  <a:pt x="8407316" y="1336348"/>
                </a:cubicBezTo>
                <a:close/>
                <a:moveTo>
                  <a:pt x="8273682" y="1336348"/>
                </a:moveTo>
                <a:cubicBezTo>
                  <a:pt x="8304164" y="1336348"/>
                  <a:pt x="8328874" y="1361058"/>
                  <a:pt x="8328874" y="1391539"/>
                </a:cubicBezTo>
                <a:cubicBezTo>
                  <a:pt x="8328874" y="1422020"/>
                  <a:pt x="8304164" y="1446730"/>
                  <a:pt x="8273682" y="1446730"/>
                </a:cubicBezTo>
                <a:cubicBezTo>
                  <a:pt x="8243200" y="1446730"/>
                  <a:pt x="8218490" y="1422020"/>
                  <a:pt x="8218490" y="1391539"/>
                </a:cubicBezTo>
                <a:cubicBezTo>
                  <a:pt x="8218490" y="1361058"/>
                  <a:pt x="8243200" y="1336348"/>
                  <a:pt x="8273682" y="1336348"/>
                </a:cubicBezTo>
                <a:close/>
                <a:moveTo>
                  <a:pt x="8143388" y="1336348"/>
                </a:moveTo>
                <a:cubicBezTo>
                  <a:pt x="8173870" y="1336348"/>
                  <a:pt x="8198580" y="1361058"/>
                  <a:pt x="8198580" y="1391539"/>
                </a:cubicBezTo>
                <a:cubicBezTo>
                  <a:pt x="8198580" y="1422020"/>
                  <a:pt x="8173870" y="1446730"/>
                  <a:pt x="8143388" y="1446730"/>
                </a:cubicBezTo>
                <a:cubicBezTo>
                  <a:pt x="8112906" y="1446730"/>
                  <a:pt x="8088196" y="1422020"/>
                  <a:pt x="8088196" y="1391539"/>
                </a:cubicBezTo>
                <a:cubicBezTo>
                  <a:pt x="8088196" y="1361058"/>
                  <a:pt x="8112906" y="1336348"/>
                  <a:pt x="8143388" y="1336348"/>
                </a:cubicBezTo>
                <a:close/>
                <a:moveTo>
                  <a:pt x="8009753" y="1336348"/>
                </a:moveTo>
                <a:cubicBezTo>
                  <a:pt x="8040235" y="1336348"/>
                  <a:pt x="8064945" y="1361058"/>
                  <a:pt x="8064945" y="1391539"/>
                </a:cubicBezTo>
                <a:cubicBezTo>
                  <a:pt x="8064945" y="1422020"/>
                  <a:pt x="8040235" y="1446730"/>
                  <a:pt x="8009753" y="1446730"/>
                </a:cubicBezTo>
                <a:cubicBezTo>
                  <a:pt x="7979271" y="1446730"/>
                  <a:pt x="7954561" y="1422020"/>
                  <a:pt x="7954561" y="1391539"/>
                </a:cubicBezTo>
                <a:cubicBezTo>
                  <a:pt x="7954561" y="1361058"/>
                  <a:pt x="7979271" y="1336348"/>
                  <a:pt x="8009753" y="1336348"/>
                </a:cubicBezTo>
                <a:close/>
                <a:moveTo>
                  <a:pt x="7876118" y="1336348"/>
                </a:moveTo>
                <a:cubicBezTo>
                  <a:pt x="7906600" y="1336348"/>
                  <a:pt x="7931310" y="1361058"/>
                  <a:pt x="7931310" y="1391539"/>
                </a:cubicBezTo>
                <a:cubicBezTo>
                  <a:pt x="7931310" y="1422020"/>
                  <a:pt x="7906600" y="1446730"/>
                  <a:pt x="7876118" y="1446730"/>
                </a:cubicBezTo>
                <a:cubicBezTo>
                  <a:pt x="7845636" y="1446730"/>
                  <a:pt x="7820926" y="1422020"/>
                  <a:pt x="7820926" y="1391539"/>
                </a:cubicBezTo>
                <a:cubicBezTo>
                  <a:pt x="7820926" y="1361058"/>
                  <a:pt x="7845636" y="1336348"/>
                  <a:pt x="7876118" y="1336348"/>
                </a:cubicBezTo>
                <a:close/>
                <a:moveTo>
                  <a:pt x="7745823" y="1336348"/>
                </a:moveTo>
                <a:cubicBezTo>
                  <a:pt x="7776305" y="1336348"/>
                  <a:pt x="7801015" y="1361058"/>
                  <a:pt x="7801015" y="1391539"/>
                </a:cubicBezTo>
                <a:cubicBezTo>
                  <a:pt x="7801015" y="1422020"/>
                  <a:pt x="7776305" y="1446730"/>
                  <a:pt x="7745823" y="1446730"/>
                </a:cubicBezTo>
                <a:cubicBezTo>
                  <a:pt x="7715341" y="1446730"/>
                  <a:pt x="7690631" y="1422020"/>
                  <a:pt x="7690631" y="1391539"/>
                </a:cubicBezTo>
                <a:cubicBezTo>
                  <a:pt x="7690631" y="1361058"/>
                  <a:pt x="7715341" y="1336348"/>
                  <a:pt x="7745823" y="1336348"/>
                </a:cubicBezTo>
                <a:close/>
                <a:moveTo>
                  <a:pt x="185475" y="1336348"/>
                </a:moveTo>
                <a:cubicBezTo>
                  <a:pt x="215957" y="1336348"/>
                  <a:pt x="240666" y="1361058"/>
                  <a:pt x="240666" y="1391539"/>
                </a:cubicBezTo>
                <a:cubicBezTo>
                  <a:pt x="240666" y="1422020"/>
                  <a:pt x="215957" y="1446730"/>
                  <a:pt x="185475" y="1446730"/>
                </a:cubicBezTo>
                <a:cubicBezTo>
                  <a:pt x="154994" y="1446730"/>
                  <a:pt x="130283" y="1422020"/>
                  <a:pt x="130283" y="1391539"/>
                </a:cubicBezTo>
                <a:cubicBezTo>
                  <a:pt x="130283" y="1361058"/>
                  <a:pt x="154994" y="1336348"/>
                  <a:pt x="185475" y="1336348"/>
                </a:cubicBezTo>
                <a:close/>
                <a:moveTo>
                  <a:pt x="9199101" y="1219421"/>
                </a:moveTo>
                <a:cubicBezTo>
                  <a:pt x="9229583" y="1219421"/>
                  <a:pt x="9254293" y="1244131"/>
                  <a:pt x="9254293" y="1274612"/>
                </a:cubicBezTo>
                <a:cubicBezTo>
                  <a:pt x="9254293" y="1305093"/>
                  <a:pt x="9229583" y="1329803"/>
                  <a:pt x="9199101" y="1329803"/>
                </a:cubicBezTo>
                <a:cubicBezTo>
                  <a:pt x="9168619" y="1329803"/>
                  <a:pt x="9143909" y="1305093"/>
                  <a:pt x="9143909" y="1274612"/>
                </a:cubicBezTo>
                <a:cubicBezTo>
                  <a:pt x="9143909" y="1244131"/>
                  <a:pt x="9168619" y="1219421"/>
                  <a:pt x="9199101" y="1219421"/>
                </a:cubicBezTo>
                <a:close/>
                <a:moveTo>
                  <a:pt x="9068807" y="1219421"/>
                </a:moveTo>
                <a:cubicBezTo>
                  <a:pt x="9099289" y="1219421"/>
                  <a:pt x="9123999" y="1244131"/>
                  <a:pt x="9123999" y="1274612"/>
                </a:cubicBezTo>
                <a:cubicBezTo>
                  <a:pt x="9123999" y="1305093"/>
                  <a:pt x="9099289" y="1329803"/>
                  <a:pt x="9068807" y="1329803"/>
                </a:cubicBezTo>
                <a:cubicBezTo>
                  <a:pt x="9038325" y="1329803"/>
                  <a:pt x="9013615" y="1305093"/>
                  <a:pt x="9013615" y="1274612"/>
                </a:cubicBezTo>
                <a:cubicBezTo>
                  <a:pt x="9013615" y="1244131"/>
                  <a:pt x="9038325" y="1219421"/>
                  <a:pt x="9068807" y="1219421"/>
                </a:cubicBezTo>
                <a:close/>
                <a:moveTo>
                  <a:pt x="8537612" y="1219421"/>
                </a:moveTo>
                <a:cubicBezTo>
                  <a:pt x="8568094" y="1219421"/>
                  <a:pt x="8592804" y="1244131"/>
                  <a:pt x="8592804" y="1274612"/>
                </a:cubicBezTo>
                <a:cubicBezTo>
                  <a:pt x="8592804" y="1305093"/>
                  <a:pt x="8568094" y="1329803"/>
                  <a:pt x="8537612" y="1329803"/>
                </a:cubicBezTo>
                <a:cubicBezTo>
                  <a:pt x="8507130" y="1329803"/>
                  <a:pt x="8482420" y="1305093"/>
                  <a:pt x="8482420" y="1274612"/>
                </a:cubicBezTo>
                <a:cubicBezTo>
                  <a:pt x="8482420" y="1244131"/>
                  <a:pt x="8507130" y="1219421"/>
                  <a:pt x="8537612" y="1219421"/>
                </a:cubicBezTo>
                <a:close/>
                <a:moveTo>
                  <a:pt x="8407316" y="1219421"/>
                </a:moveTo>
                <a:cubicBezTo>
                  <a:pt x="8437798" y="1219421"/>
                  <a:pt x="8462508" y="1244131"/>
                  <a:pt x="8462508" y="1274612"/>
                </a:cubicBezTo>
                <a:cubicBezTo>
                  <a:pt x="8462508" y="1305093"/>
                  <a:pt x="8437798" y="1329803"/>
                  <a:pt x="8407316" y="1329803"/>
                </a:cubicBezTo>
                <a:cubicBezTo>
                  <a:pt x="8376834" y="1329803"/>
                  <a:pt x="8352124" y="1305093"/>
                  <a:pt x="8352124" y="1274612"/>
                </a:cubicBezTo>
                <a:cubicBezTo>
                  <a:pt x="8352124" y="1244131"/>
                  <a:pt x="8376834" y="1219421"/>
                  <a:pt x="8407316" y="1219421"/>
                </a:cubicBezTo>
                <a:close/>
                <a:moveTo>
                  <a:pt x="8273682" y="1219421"/>
                </a:moveTo>
                <a:cubicBezTo>
                  <a:pt x="8304164" y="1219421"/>
                  <a:pt x="8328874" y="1244131"/>
                  <a:pt x="8328874" y="1274612"/>
                </a:cubicBezTo>
                <a:cubicBezTo>
                  <a:pt x="8328874" y="1305093"/>
                  <a:pt x="8304164" y="1329803"/>
                  <a:pt x="8273682" y="1329803"/>
                </a:cubicBezTo>
                <a:cubicBezTo>
                  <a:pt x="8243200" y="1329803"/>
                  <a:pt x="8218490" y="1305093"/>
                  <a:pt x="8218490" y="1274612"/>
                </a:cubicBezTo>
                <a:cubicBezTo>
                  <a:pt x="8218490" y="1244131"/>
                  <a:pt x="8243200" y="1219421"/>
                  <a:pt x="8273682" y="1219421"/>
                </a:cubicBezTo>
                <a:close/>
                <a:moveTo>
                  <a:pt x="8143388" y="1219421"/>
                </a:moveTo>
                <a:cubicBezTo>
                  <a:pt x="8173870" y="1219421"/>
                  <a:pt x="8198580" y="1244131"/>
                  <a:pt x="8198580" y="1274612"/>
                </a:cubicBezTo>
                <a:cubicBezTo>
                  <a:pt x="8198580" y="1305093"/>
                  <a:pt x="8173870" y="1329803"/>
                  <a:pt x="8143388" y="1329803"/>
                </a:cubicBezTo>
                <a:cubicBezTo>
                  <a:pt x="8112906" y="1329803"/>
                  <a:pt x="8088196" y="1305093"/>
                  <a:pt x="8088196" y="1274612"/>
                </a:cubicBezTo>
                <a:cubicBezTo>
                  <a:pt x="8088196" y="1244131"/>
                  <a:pt x="8112906" y="1219421"/>
                  <a:pt x="8143388" y="1219421"/>
                </a:cubicBezTo>
                <a:close/>
                <a:moveTo>
                  <a:pt x="8009753" y="1219421"/>
                </a:moveTo>
                <a:cubicBezTo>
                  <a:pt x="8040235" y="1219421"/>
                  <a:pt x="8064945" y="1244131"/>
                  <a:pt x="8064945" y="1274612"/>
                </a:cubicBezTo>
                <a:cubicBezTo>
                  <a:pt x="8064945" y="1305093"/>
                  <a:pt x="8040235" y="1329803"/>
                  <a:pt x="8009753" y="1329803"/>
                </a:cubicBezTo>
                <a:cubicBezTo>
                  <a:pt x="7979271" y="1329803"/>
                  <a:pt x="7954561" y="1305093"/>
                  <a:pt x="7954561" y="1274612"/>
                </a:cubicBezTo>
                <a:cubicBezTo>
                  <a:pt x="7954561" y="1244131"/>
                  <a:pt x="7979271" y="1219421"/>
                  <a:pt x="8009753" y="1219421"/>
                </a:cubicBezTo>
                <a:close/>
                <a:moveTo>
                  <a:pt x="7876118" y="1219421"/>
                </a:moveTo>
                <a:cubicBezTo>
                  <a:pt x="7906600" y="1219421"/>
                  <a:pt x="7931310" y="1244131"/>
                  <a:pt x="7931310" y="1274612"/>
                </a:cubicBezTo>
                <a:cubicBezTo>
                  <a:pt x="7931310" y="1305093"/>
                  <a:pt x="7906600" y="1329803"/>
                  <a:pt x="7876118" y="1329803"/>
                </a:cubicBezTo>
                <a:cubicBezTo>
                  <a:pt x="7845636" y="1329803"/>
                  <a:pt x="7820926" y="1305093"/>
                  <a:pt x="7820926" y="1274612"/>
                </a:cubicBezTo>
                <a:cubicBezTo>
                  <a:pt x="7820926" y="1244131"/>
                  <a:pt x="7845636" y="1219421"/>
                  <a:pt x="7876118" y="1219421"/>
                </a:cubicBezTo>
                <a:close/>
                <a:moveTo>
                  <a:pt x="7745823" y="1219421"/>
                </a:moveTo>
                <a:cubicBezTo>
                  <a:pt x="7776305" y="1219421"/>
                  <a:pt x="7801015" y="1244131"/>
                  <a:pt x="7801015" y="1274612"/>
                </a:cubicBezTo>
                <a:cubicBezTo>
                  <a:pt x="7801015" y="1305093"/>
                  <a:pt x="7776305" y="1329803"/>
                  <a:pt x="7745823" y="1329803"/>
                </a:cubicBezTo>
                <a:cubicBezTo>
                  <a:pt x="7715341" y="1329803"/>
                  <a:pt x="7690631" y="1305093"/>
                  <a:pt x="7690631" y="1274612"/>
                </a:cubicBezTo>
                <a:cubicBezTo>
                  <a:pt x="7690631" y="1244131"/>
                  <a:pt x="7715341" y="1219421"/>
                  <a:pt x="7745823" y="1219421"/>
                </a:cubicBezTo>
                <a:close/>
                <a:moveTo>
                  <a:pt x="7608849" y="1219421"/>
                </a:moveTo>
                <a:cubicBezTo>
                  <a:pt x="7639331" y="1219421"/>
                  <a:pt x="7664041" y="1244131"/>
                  <a:pt x="7664041" y="1274612"/>
                </a:cubicBezTo>
                <a:cubicBezTo>
                  <a:pt x="7664041" y="1305093"/>
                  <a:pt x="7639331" y="1329803"/>
                  <a:pt x="7608849" y="1329803"/>
                </a:cubicBezTo>
                <a:cubicBezTo>
                  <a:pt x="7578367" y="1329803"/>
                  <a:pt x="7553657" y="1305093"/>
                  <a:pt x="7553657" y="1274612"/>
                </a:cubicBezTo>
                <a:cubicBezTo>
                  <a:pt x="7553657" y="1244131"/>
                  <a:pt x="7578367" y="1219421"/>
                  <a:pt x="7608849" y="1219421"/>
                </a:cubicBezTo>
                <a:close/>
                <a:moveTo>
                  <a:pt x="7481897" y="1219421"/>
                </a:moveTo>
                <a:cubicBezTo>
                  <a:pt x="7512379" y="1219421"/>
                  <a:pt x="7537089" y="1244131"/>
                  <a:pt x="7537089" y="1274612"/>
                </a:cubicBezTo>
                <a:cubicBezTo>
                  <a:pt x="7537089" y="1305093"/>
                  <a:pt x="7512379" y="1329803"/>
                  <a:pt x="7481897" y="1329803"/>
                </a:cubicBezTo>
                <a:cubicBezTo>
                  <a:pt x="7451415" y="1329803"/>
                  <a:pt x="7426705" y="1305093"/>
                  <a:pt x="7426705" y="1274612"/>
                </a:cubicBezTo>
                <a:cubicBezTo>
                  <a:pt x="7426705" y="1244131"/>
                  <a:pt x="7451415" y="1219421"/>
                  <a:pt x="7481897" y="1219421"/>
                </a:cubicBezTo>
                <a:close/>
                <a:moveTo>
                  <a:pt x="7341579" y="1219421"/>
                </a:moveTo>
                <a:cubicBezTo>
                  <a:pt x="7372061" y="1219421"/>
                  <a:pt x="7396771" y="1244131"/>
                  <a:pt x="7396771" y="1274612"/>
                </a:cubicBezTo>
                <a:cubicBezTo>
                  <a:pt x="7396771" y="1305093"/>
                  <a:pt x="7372061" y="1329803"/>
                  <a:pt x="7341579" y="1329803"/>
                </a:cubicBezTo>
                <a:cubicBezTo>
                  <a:pt x="7311097" y="1329803"/>
                  <a:pt x="7286387" y="1305093"/>
                  <a:pt x="7286387" y="1274612"/>
                </a:cubicBezTo>
                <a:cubicBezTo>
                  <a:pt x="7286387" y="1244131"/>
                  <a:pt x="7311097" y="1219421"/>
                  <a:pt x="7341579" y="1219421"/>
                </a:cubicBezTo>
                <a:close/>
                <a:moveTo>
                  <a:pt x="7211286" y="1219421"/>
                </a:moveTo>
                <a:cubicBezTo>
                  <a:pt x="7241768" y="1219421"/>
                  <a:pt x="7266478" y="1244131"/>
                  <a:pt x="7266478" y="1274612"/>
                </a:cubicBezTo>
                <a:cubicBezTo>
                  <a:pt x="7266478" y="1305093"/>
                  <a:pt x="7241768" y="1329803"/>
                  <a:pt x="7211286" y="1329803"/>
                </a:cubicBezTo>
                <a:cubicBezTo>
                  <a:pt x="7180804" y="1329803"/>
                  <a:pt x="7156094" y="1305093"/>
                  <a:pt x="7156094" y="1274612"/>
                </a:cubicBezTo>
                <a:cubicBezTo>
                  <a:pt x="7156094" y="1244131"/>
                  <a:pt x="7180804" y="1219421"/>
                  <a:pt x="7211286" y="1219421"/>
                </a:cubicBezTo>
                <a:close/>
                <a:moveTo>
                  <a:pt x="7080993" y="1219421"/>
                </a:moveTo>
                <a:cubicBezTo>
                  <a:pt x="7111475" y="1219421"/>
                  <a:pt x="7136185" y="1244131"/>
                  <a:pt x="7136185" y="1274612"/>
                </a:cubicBezTo>
                <a:cubicBezTo>
                  <a:pt x="7136185" y="1305093"/>
                  <a:pt x="7111475" y="1329803"/>
                  <a:pt x="7080993" y="1329803"/>
                </a:cubicBezTo>
                <a:cubicBezTo>
                  <a:pt x="7050511" y="1329803"/>
                  <a:pt x="7025801" y="1305093"/>
                  <a:pt x="7025801" y="1274612"/>
                </a:cubicBezTo>
                <a:cubicBezTo>
                  <a:pt x="7025801" y="1244131"/>
                  <a:pt x="7050511" y="1219421"/>
                  <a:pt x="7080993" y="1219421"/>
                </a:cubicBezTo>
                <a:close/>
                <a:moveTo>
                  <a:pt x="6947357" y="1219421"/>
                </a:moveTo>
                <a:cubicBezTo>
                  <a:pt x="6977839" y="1219421"/>
                  <a:pt x="7002549" y="1244131"/>
                  <a:pt x="7002549" y="1274612"/>
                </a:cubicBezTo>
                <a:cubicBezTo>
                  <a:pt x="7002549" y="1305093"/>
                  <a:pt x="6977839" y="1329803"/>
                  <a:pt x="6947357" y="1329803"/>
                </a:cubicBezTo>
                <a:cubicBezTo>
                  <a:pt x="6916875" y="1329803"/>
                  <a:pt x="6892165" y="1305093"/>
                  <a:pt x="6892165" y="1274612"/>
                </a:cubicBezTo>
                <a:cubicBezTo>
                  <a:pt x="6892165" y="1244131"/>
                  <a:pt x="6916875" y="1219421"/>
                  <a:pt x="6947357" y="1219421"/>
                </a:cubicBezTo>
                <a:close/>
                <a:moveTo>
                  <a:pt x="6817064" y="1219421"/>
                </a:moveTo>
                <a:cubicBezTo>
                  <a:pt x="6847546" y="1219421"/>
                  <a:pt x="6872256" y="1244131"/>
                  <a:pt x="6872256" y="1274612"/>
                </a:cubicBezTo>
                <a:cubicBezTo>
                  <a:pt x="6872256" y="1305093"/>
                  <a:pt x="6847546" y="1329803"/>
                  <a:pt x="6817064" y="1329803"/>
                </a:cubicBezTo>
                <a:cubicBezTo>
                  <a:pt x="6786582" y="1329803"/>
                  <a:pt x="6761872" y="1305093"/>
                  <a:pt x="6761872" y="1274612"/>
                </a:cubicBezTo>
                <a:cubicBezTo>
                  <a:pt x="6761872" y="1244131"/>
                  <a:pt x="6786582" y="1219421"/>
                  <a:pt x="6817064" y="1219421"/>
                </a:cubicBezTo>
                <a:close/>
                <a:moveTo>
                  <a:pt x="6683431" y="1219421"/>
                </a:moveTo>
                <a:cubicBezTo>
                  <a:pt x="6713913" y="1219421"/>
                  <a:pt x="6738623" y="1244131"/>
                  <a:pt x="6738623" y="1274612"/>
                </a:cubicBezTo>
                <a:cubicBezTo>
                  <a:pt x="6738623" y="1305093"/>
                  <a:pt x="6713913" y="1329803"/>
                  <a:pt x="6683431" y="1329803"/>
                </a:cubicBezTo>
                <a:cubicBezTo>
                  <a:pt x="6652949" y="1329803"/>
                  <a:pt x="6628239" y="1305093"/>
                  <a:pt x="6628239" y="1274612"/>
                </a:cubicBezTo>
                <a:cubicBezTo>
                  <a:pt x="6628239" y="1244131"/>
                  <a:pt x="6652949" y="1219421"/>
                  <a:pt x="6683431" y="1219421"/>
                </a:cubicBezTo>
                <a:close/>
                <a:moveTo>
                  <a:pt x="6553137" y="1219421"/>
                </a:moveTo>
                <a:cubicBezTo>
                  <a:pt x="6583619" y="1219421"/>
                  <a:pt x="6608329" y="1244131"/>
                  <a:pt x="6608329" y="1274612"/>
                </a:cubicBezTo>
                <a:cubicBezTo>
                  <a:pt x="6608329" y="1305093"/>
                  <a:pt x="6583619" y="1329803"/>
                  <a:pt x="6553137" y="1329803"/>
                </a:cubicBezTo>
                <a:cubicBezTo>
                  <a:pt x="6522655" y="1329803"/>
                  <a:pt x="6497945" y="1305093"/>
                  <a:pt x="6497945" y="1274612"/>
                </a:cubicBezTo>
                <a:cubicBezTo>
                  <a:pt x="6497945" y="1244131"/>
                  <a:pt x="6522655" y="1219421"/>
                  <a:pt x="6553137" y="1219421"/>
                </a:cubicBezTo>
                <a:close/>
                <a:moveTo>
                  <a:pt x="6419502" y="1219421"/>
                </a:moveTo>
                <a:cubicBezTo>
                  <a:pt x="6449984" y="1219421"/>
                  <a:pt x="6474694" y="1244131"/>
                  <a:pt x="6474694" y="1274612"/>
                </a:cubicBezTo>
                <a:cubicBezTo>
                  <a:pt x="6474694" y="1305093"/>
                  <a:pt x="6449984" y="1329803"/>
                  <a:pt x="6419502" y="1329803"/>
                </a:cubicBezTo>
                <a:cubicBezTo>
                  <a:pt x="6389020" y="1329803"/>
                  <a:pt x="6364310" y="1305093"/>
                  <a:pt x="6364310" y="1274612"/>
                </a:cubicBezTo>
                <a:cubicBezTo>
                  <a:pt x="6364310" y="1244131"/>
                  <a:pt x="6389020" y="1219421"/>
                  <a:pt x="6419502" y="1219421"/>
                </a:cubicBezTo>
                <a:close/>
                <a:moveTo>
                  <a:pt x="6289207" y="1219421"/>
                </a:moveTo>
                <a:cubicBezTo>
                  <a:pt x="6319689" y="1219421"/>
                  <a:pt x="6344399" y="1244131"/>
                  <a:pt x="6344399" y="1274612"/>
                </a:cubicBezTo>
                <a:cubicBezTo>
                  <a:pt x="6344399" y="1305093"/>
                  <a:pt x="6319689" y="1329803"/>
                  <a:pt x="6289207" y="1329803"/>
                </a:cubicBezTo>
                <a:cubicBezTo>
                  <a:pt x="6258725" y="1329803"/>
                  <a:pt x="6234015" y="1305093"/>
                  <a:pt x="6234015" y="1274612"/>
                </a:cubicBezTo>
                <a:cubicBezTo>
                  <a:pt x="6234015" y="1244131"/>
                  <a:pt x="6258725" y="1219421"/>
                  <a:pt x="6289207" y="1219421"/>
                </a:cubicBezTo>
                <a:close/>
                <a:moveTo>
                  <a:pt x="6155573" y="1219421"/>
                </a:moveTo>
                <a:cubicBezTo>
                  <a:pt x="6186055" y="1219421"/>
                  <a:pt x="6210765" y="1244131"/>
                  <a:pt x="6210765" y="1274612"/>
                </a:cubicBezTo>
                <a:cubicBezTo>
                  <a:pt x="6210765" y="1305093"/>
                  <a:pt x="6186055" y="1329803"/>
                  <a:pt x="6155573" y="1329803"/>
                </a:cubicBezTo>
                <a:cubicBezTo>
                  <a:pt x="6125091" y="1329803"/>
                  <a:pt x="6100381" y="1305093"/>
                  <a:pt x="6100381" y="1274612"/>
                </a:cubicBezTo>
                <a:cubicBezTo>
                  <a:pt x="6100381" y="1244131"/>
                  <a:pt x="6125091" y="1219421"/>
                  <a:pt x="6155573" y="1219421"/>
                </a:cubicBezTo>
                <a:close/>
                <a:moveTo>
                  <a:pt x="6021939" y="1219421"/>
                </a:moveTo>
                <a:cubicBezTo>
                  <a:pt x="6052421" y="1219421"/>
                  <a:pt x="6077131" y="1244131"/>
                  <a:pt x="6077131" y="1274612"/>
                </a:cubicBezTo>
                <a:cubicBezTo>
                  <a:pt x="6077131" y="1305093"/>
                  <a:pt x="6052421" y="1329803"/>
                  <a:pt x="6021939" y="1329803"/>
                </a:cubicBezTo>
                <a:cubicBezTo>
                  <a:pt x="5991457" y="1329803"/>
                  <a:pt x="5966747" y="1305093"/>
                  <a:pt x="5966747" y="1274612"/>
                </a:cubicBezTo>
                <a:cubicBezTo>
                  <a:pt x="5966747" y="1244131"/>
                  <a:pt x="5991457" y="1219421"/>
                  <a:pt x="6021939" y="1219421"/>
                </a:cubicBezTo>
                <a:close/>
                <a:moveTo>
                  <a:pt x="5884964" y="1219421"/>
                </a:moveTo>
                <a:cubicBezTo>
                  <a:pt x="5915446" y="1219421"/>
                  <a:pt x="5940156" y="1244131"/>
                  <a:pt x="5940156" y="1274612"/>
                </a:cubicBezTo>
                <a:cubicBezTo>
                  <a:pt x="5940156" y="1305093"/>
                  <a:pt x="5915446" y="1329803"/>
                  <a:pt x="5884964" y="1329803"/>
                </a:cubicBezTo>
                <a:cubicBezTo>
                  <a:pt x="5854482" y="1329803"/>
                  <a:pt x="5829772" y="1305093"/>
                  <a:pt x="5829772" y="1274612"/>
                </a:cubicBezTo>
                <a:cubicBezTo>
                  <a:pt x="5829772" y="1244131"/>
                  <a:pt x="5854482" y="1219421"/>
                  <a:pt x="5884964" y="1219421"/>
                </a:cubicBezTo>
                <a:close/>
                <a:moveTo>
                  <a:pt x="5754668" y="1219421"/>
                </a:moveTo>
                <a:cubicBezTo>
                  <a:pt x="5785150" y="1219421"/>
                  <a:pt x="5809860" y="1244131"/>
                  <a:pt x="5809860" y="1274612"/>
                </a:cubicBezTo>
                <a:cubicBezTo>
                  <a:pt x="5809860" y="1305093"/>
                  <a:pt x="5785150" y="1329803"/>
                  <a:pt x="5754668" y="1329803"/>
                </a:cubicBezTo>
                <a:cubicBezTo>
                  <a:pt x="5724186" y="1329803"/>
                  <a:pt x="5699476" y="1305093"/>
                  <a:pt x="5699476" y="1274612"/>
                </a:cubicBezTo>
                <a:cubicBezTo>
                  <a:pt x="5699476" y="1244131"/>
                  <a:pt x="5724186" y="1219421"/>
                  <a:pt x="5754668" y="1219421"/>
                </a:cubicBezTo>
                <a:close/>
                <a:moveTo>
                  <a:pt x="5621034" y="1219421"/>
                </a:moveTo>
                <a:cubicBezTo>
                  <a:pt x="5651516" y="1219421"/>
                  <a:pt x="5676226" y="1244131"/>
                  <a:pt x="5676226" y="1274612"/>
                </a:cubicBezTo>
                <a:cubicBezTo>
                  <a:pt x="5676226" y="1305093"/>
                  <a:pt x="5651516" y="1329803"/>
                  <a:pt x="5621034" y="1329803"/>
                </a:cubicBezTo>
                <a:cubicBezTo>
                  <a:pt x="5590552" y="1329803"/>
                  <a:pt x="5565842" y="1305093"/>
                  <a:pt x="5565842" y="1274612"/>
                </a:cubicBezTo>
                <a:cubicBezTo>
                  <a:pt x="5565842" y="1244131"/>
                  <a:pt x="5590552" y="1219421"/>
                  <a:pt x="5621034" y="1219421"/>
                </a:cubicBezTo>
                <a:close/>
                <a:moveTo>
                  <a:pt x="5487399" y="1219421"/>
                </a:moveTo>
                <a:cubicBezTo>
                  <a:pt x="5517881" y="1219421"/>
                  <a:pt x="5542591" y="1244131"/>
                  <a:pt x="5542591" y="1274612"/>
                </a:cubicBezTo>
                <a:cubicBezTo>
                  <a:pt x="5542591" y="1305093"/>
                  <a:pt x="5517881" y="1329803"/>
                  <a:pt x="5487399" y="1329803"/>
                </a:cubicBezTo>
                <a:cubicBezTo>
                  <a:pt x="5456917" y="1329803"/>
                  <a:pt x="5432207" y="1305093"/>
                  <a:pt x="5432207" y="1274612"/>
                </a:cubicBezTo>
                <a:cubicBezTo>
                  <a:pt x="5432207" y="1244131"/>
                  <a:pt x="5456917" y="1219421"/>
                  <a:pt x="5487399" y="1219421"/>
                </a:cubicBezTo>
                <a:close/>
                <a:moveTo>
                  <a:pt x="5357106" y="1219421"/>
                </a:moveTo>
                <a:cubicBezTo>
                  <a:pt x="5387588" y="1219421"/>
                  <a:pt x="5412298" y="1244131"/>
                  <a:pt x="5412298" y="1274612"/>
                </a:cubicBezTo>
                <a:cubicBezTo>
                  <a:pt x="5412298" y="1305093"/>
                  <a:pt x="5387588" y="1329803"/>
                  <a:pt x="5357106" y="1329803"/>
                </a:cubicBezTo>
                <a:cubicBezTo>
                  <a:pt x="5326624" y="1329803"/>
                  <a:pt x="5301914" y="1305093"/>
                  <a:pt x="5301914" y="1274612"/>
                </a:cubicBezTo>
                <a:cubicBezTo>
                  <a:pt x="5301914" y="1244131"/>
                  <a:pt x="5326624" y="1219421"/>
                  <a:pt x="5357106" y="1219421"/>
                </a:cubicBezTo>
                <a:close/>
                <a:moveTo>
                  <a:pt x="5093178" y="1219421"/>
                </a:moveTo>
                <a:cubicBezTo>
                  <a:pt x="5123660" y="1219421"/>
                  <a:pt x="5148370" y="1244131"/>
                  <a:pt x="5148370" y="1274612"/>
                </a:cubicBezTo>
                <a:cubicBezTo>
                  <a:pt x="5148370" y="1305093"/>
                  <a:pt x="5123660" y="1329803"/>
                  <a:pt x="5093178" y="1329803"/>
                </a:cubicBezTo>
                <a:cubicBezTo>
                  <a:pt x="5062696" y="1329803"/>
                  <a:pt x="5037986" y="1305093"/>
                  <a:pt x="5037986" y="1274612"/>
                </a:cubicBezTo>
                <a:cubicBezTo>
                  <a:pt x="5037986" y="1244131"/>
                  <a:pt x="5062696" y="1219421"/>
                  <a:pt x="5093178" y="1219421"/>
                </a:cubicBezTo>
                <a:close/>
                <a:moveTo>
                  <a:pt x="4959542" y="1219421"/>
                </a:moveTo>
                <a:cubicBezTo>
                  <a:pt x="4990024" y="1219421"/>
                  <a:pt x="5014734" y="1244131"/>
                  <a:pt x="5014734" y="1274612"/>
                </a:cubicBezTo>
                <a:cubicBezTo>
                  <a:pt x="5014734" y="1305093"/>
                  <a:pt x="4990024" y="1329803"/>
                  <a:pt x="4959542" y="1329803"/>
                </a:cubicBezTo>
                <a:cubicBezTo>
                  <a:pt x="4929060" y="1329803"/>
                  <a:pt x="4904350" y="1305093"/>
                  <a:pt x="4904350" y="1274612"/>
                </a:cubicBezTo>
                <a:cubicBezTo>
                  <a:pt x="4904350" y="1244131"/>
                  <a:pt x="4929060" y="1219421"/>
                  <a:pt x="4959542" y="1219421"/>
                </a:cubicBezTo>
                <a:close/>
                <a:moveTo>
                  <a:pt x="4829250" y="1219421"/>
                </a:moveTo>
                <a:cubicBezTo>
                  <a:pt x="4859732" y="1219421"/>
                  <a:pt x="4884442" y="1244131"/>
                  <a:pt x="4884442" y="1274612"/>
                </a:cubicBezTo>
                <a:cubicBezTo>
                  <a:pt x="4884442" y="1305093"/>
                  <a:pt x="4859732" y="1329803"/>
                  <a:pt x="4829250" y="1329803"/>
                </a:cubicBezTo>
                <a:cubicBezTo>
                  <a:pt x="4798768" y="1329803"/>
                  <a:pt x="4774058" y="1305093"/>
                  <a:pt x="4774058" y="1274612"/>
                </a:cubicBezTo>
                <a:cubicBezTo>
                  <a:pt x="4774058" y="1244131"/>
                  <a:pt x="4798768" y="1219421"/>
                  <a:pt x="4829250" y="1219421"/>
                </a:cubicBezTo>
                <a:close/>
                <a:moveTo>
                  <a:pt x="319111" y="1219421"/>
                </a:moveTo>
                <a:cubicBezTo>
                  <a:pt x="349594" y="1219421"/>
                  <a:pt x="374305" y="1244131"/>
                  <a:pt x="374305" y="1274612"/>
                </a:cubicBezTo>
                <a:cubicBezTo>
                  <a:pt x="374305" y="1305093"/>
                  <a:pt x="349594" y="1329803"/>
                  <a:pt x="319111" y="1329803"/>
                </a:cubicBezTo>
                <a:cubicBezTo>
                  <a:pt x="288629" y="1329803"/>
                  <a:pt x="263920" y="1305093"/>
                  <a:pt x="263920" y="1274612"/>
                </a:cubicBezTo>
                <a:cubicBezTo>
                  <a:pt x="263920" y="1244131"/>
                  <a:pt x="288629" y="1219421"/>
                  <a:pt x="319111" y="1219421"/>
                </a:cubicBezTo>
                <a:close/>
                <a:moveTo>
                  <a:pt x="185480" y="1219421"/>
                </a:moveTo>
                <a:cubicBezTo>
                  <a:pt x="215961" y="1219421"/>
                  <a:pt x="240671" y="1244131"/>
                  <a:pt x="240671" y="1274612"/>
                </a:cubicBezTo>
                <a:cubicBezTo>
                  <a:pt x="240671" y="1305093"/>
                  <a:pt x="215961" y="1329803"/>
                  <a:pt x="185480" y="1329803"/>
                </a:cubicBezTo>
                <a:cubicBezTo>
                  <a:pt x="154998" y="1329803"/>
                  <a:pt x="130288" y="1305093"/>
                  <a:pt x="130288" y="1274612"/>
                </a:cubicBezTo>
                <a:cubicBezTo>
                  <a:pt x="130288" y="1244131"/>
                  <a:pt x="154998" y="1219421"/>
                  <a:pt x="185480" y="1219421"/>
                </a:cubicBezTo>
                <a:close/>
                <a:moveTo>
                  <a:pt x="449407" y="1219419"/>
                </a:moveTo>
                <a:cubicBezTo>
                  <a:pt x="479889" y="1219419"/>
                  <a:pt x="504600" y="1244129"/>
                  <a:pt x="504600" y="1274610"/>
                </a:cubicBezTo>
                <a:cubicBezTo>
                  <a:pt x="504600" y="1305091"/>
                  <a:pt x="479889" y="1329801"/>
                  <a:pt x="449407" y="1329801"/>
                </a:cubicBezTo>
                <a:cubicBezTo>
                  <a:pt x="418924" y="1329801"/>
                  <a:pt x="394214" y="1305091"/>
                  <a:pt x="394214" y="1274610"/>
                </a:cubicBezTo>
                <a:cubicBezTo>
                  <a:pt x="394214" y="1244129"/>
                  <a:pt x="418924" y="1219419"/>
                  <a:pt x="449407" y="1219419"/>
                </a:cubicBezTo>
                <a:close/>
                <a:moveTo>
                  <a:pt x="4565322" y="1219417"/>
                </a:moveTo>
                <a:cubicBezTo>
                  <a:pt x="4595804" y="1219417"/>
                  <a:pt x="4620514" y="1244127"/>
                  <a:pt x="4620514" y="1274608"/>
                </a:cubicBezTo>
                <a:cubicBezTo>
                  <a:pt x="4620514" y="1305089"/>
                  <a:pt x="4595804" y="1329799"/>
                  <a:pt x="4565322" y="1329799"/>
                </a:cubicBezTo>
                <a:cubicBezTo>
                  <a:pt x="4534840" y="1329799"/>
                  <a:pt x="4510130" y="1305089"/>
                  <a:pt x="4510130" y="1274608"/>
                </a:cubicBezTo>
                <a:cubicBezTo>
                  <a:pt x="4510130" y="1244127"/>
                  <a:pt x="4534840" y="1219417"/>
                  <a:pt x="4565322" y="1219417"/>
                </a:cubicBezTo>
                <a:close/>
                <a:moveTo>
                  <a:pt x="2834811" y="1219417"/>
                </a:moveTo>
                <a:cubicBezTo>
                  <a:pt x="2865293" y="1219417"/>
                  <a:pt x="2890003" y="1244127"/>
                  <a:pt x="2890003" y="1274608"/>
                </a:cubicBezTo>
                <a:cubicBezTo>
                  <a:pt x="2890003" y="1305089"/>
                  <a:pt x="2865293" y="1329799"/>
                  <a:pt x="2834811" y="1329799"/>
                </a:cubicBezTo>
                <a:cubicBezTo>
                  <a:pt x="2804329" y="1329799"/>
                  <a:pt x="2779620" y="1305089"/>
                  <a:pt x="2779620" y="1274608"/>
                </a:cubicBezTo>
                <a:cubicBezTo>
                  <a:pt x="2779620" y="1244127"/>
                  <a:pt x="2804329" y="1219417"/>
                  <a:pt x="2834811" y="1219417"/>
                </a:cubicBezTo>
                <a:close/>
                <a:moveTo>
                  <a:pt x="2707858" y="1219417"/>
                </a:moveTo>
                <a:cubicBezTo>
                  <a:pt x="2738341" y="1219417"/>
                  <a:pt x="2763052" y="1244127"/>
                  <a:pt x="2763052" y="1274608"/>
                </a:cubicBezTo>
                <a:cubicBezTo>
                  <a:pt x="2763052" y="1305089"/>
                  <a:pt x="2738341" y="1329799"/>
                  <a:pt x="2707858" y="1329799"/>
                </a:cubicBezTo>
                <a:cubicBezTo>
                  <a:pt x="2677377" y="1329799"/>
                  <a:pt x="2652667" y="1305089"/>
                  <a:pt x="2652667" y="1274608"/>
                </a:cubicBezTo>
                <a:cubicBezTo>
                  <a:pt x="2652667" y="1244127"/>
                  <a:pt x="2677377" y="1219417"/>
                  <a:pt x="2707858" y="1219417"/>
                </a:cubicBezTo>
                <a:close/>
                <a:moveTo>
                  <a:pt x="2570885" y="1219417"/>
                </a:moveTo>
                <a:cubicBezTo>
                  <a:pt x="2601367" y="1219417"/>
                  <a:pt x="2626075" y="1244127"/>
                  <a:pt x="2626075" y="1274608"/>
                </a:cubicBezTo>
                <a:cubicBezTo>
                  <a:pt x="2626075" y="1305089"/>
                  <a:pt x="2601367" y="1329799"/>
                  <a:pt x="2570885" y="1329799"/>
                </a:cubicBezTo>
                <a:cubicBezTo>
                  <a:pt x="2540401" y="1329799"/>
                  <a:pt x="2515692" y="1305089"/>
                  <a:pt x="2515692" y="1274608"/>
                </a:cubicBezTo>
                <a:cubicBezTo>
                  <a:pt x="2515692" y="1244127"/>
                  <a:pt x="2540401" y="1219417"/>
                  <a:pt x="2570885" y="1219417"/>
                </a:cubicBezTo>
                <a:close/>
                <a:moveTo>
                  <a:pt x="2039686" y="1219417"/>
                </a:moveTo>
                <a:cubicBezTo>
                  <a:pt x="2070169" y="1219417"/>
                  <a:pt x="2094880" y="1244127"/>
                  <a:pt x="2094880" y="1274608"/>
                </a:cubicBezTo>
                <a:cubicBezTo>
                  <a:pt x="2094880" y="1305089"/>
                  <a:pt x="2070169" y="1329799"/>
                  <a:pt x="2039686" y="1329799"/>
                </a:cubicBezTo>
                <a:cubicBezTo>
                  <a:pt x="2009204" y="1329799"/>
                  <a:pt x="1984493" y="1305089"/>
                  <a:pt x="1984493" y="1274608"/>
                </a:cubicBezTo>
                <a:cubicBezTo>
                  <a:pt x="1984493" y="1244127"/>
                  <a:pt x="2009204" y="1219417"/>
                  <a:pt x="2039686" y="1219417"/>
                </a:cubicBezTo>
                <a:close/>
                <a:moveTo>
                  <a:pt x="1909390" y="1219417"/>
                </a:moveTo>
                <a:cubicBezTo>
                  <a:pt x="1939873" y="1219417"/>
                  <a:pt x="1964583" y="1244127"/>
                  <a:pt x="1964583" y="1274608"/>
                </a:cubicBezTo>
                <a:cubicBezTo>
                  <a:pt x="1964583" y="1305089"/>
                  <a:pt x="1939873" y="1329799"/>
                  <a:pt x="1909390" y="1329799"/>
                </a:cubicBezTo>
                <a:cubicBezTo>
                  <a:pt x="1878908" y="1329799"/>
                  <a:pt x="1854197" y="1305089"/>
                  <a:pt x="1854197" y="1274608"/>
                </a:cubicBezTo>
                <a:cubicBezTo>
                  <a:pt x="1854197" y="1244127"/>
                  <a:pt x="1878908" y="1219417"/>
                  <a:pt x="1909390" y="1219417"/>
                </a:cubicBezTo>
                <a:close/>
                <a:moveTo>
                  <a:pt x="1779095" y="1219417"/>
                </a:moveTo>
                <a:cubicBezTo>
                  <a:pt x="1809577" y="1219417"/>
                  <a:pt x="1834287" y="1244127"/>
                  <a:pt x="1834287" y="1274608"/>
                </a:cubicBezTo>
                <a:cubicBezTo>
                  <a:pt x="1834287" y="1305089"/>
                  <a:pt x="1809577" y="1329799"/>
                  <a:pt x="1779095" y="1329799"/>
                </a:cubicBezTo>
                <a:cubicBezTo>
                  <a:pt x="1748613" y="1329799"/>
                  <a:pt x="1723902" y="1305089"/>
                  <a:pt x="1723902" y="1274608"/>
                </a:cubicBezTo>
                <a:cubicBezTo>
                  <a:pt x="1723902" y="1244127"/>
                  <a:pt x="1748613" y="1219417"/>
                  <a:pt x="1779095" y="1219417"/>
                </a:cubicBezTo>
                <a:close/>
                <a:moveTo>
                  <a:pt x="1645457" y="1219417"/>
                </a:moveTo>
                <a:cubicBezTo>
                  <a:pt x="1675941" y="1219417"/>
                  <a:pt x="1700655" y="1244127"/>
                  <a:pt x="1700655" y="1274608"/>
                </a:cubicBezTo>
                <a:cubicBezTo>
                  <a:pt x="1700655" y="1305089"/>
                  <a:pt x="1675941" y="1329799"/>
                  <a:pt x="1645457" y="1329799"/>
                </a:cubicBezTo>
                <a:cubicBezTo>
                  <a:pt x="1614977" y="1329799"/>
                  <a:pt x="1590265" y="1305089"/>
                  <a:pt x="1590265" y="1274608"/>
                </a:cubicBezTo>
                <a:cubicBezTo>
                  <a:pt x="1590265" y="1244127"/>
                  <a:pt x="1614977" y="1219417"/>
                  <a:pt x="1645457" y="1219417"/>
                </a:cubicBezTo>
                <a:close/>
                <a:moveTo>
                  <a:pt x="1515168" y="1219417"/>
                </a:moveTo>
                <a:cubicBezTo>
                  <a:pt x="1545647" y="1219417"/>
                  <a:pt x="1570354" y="1244127"/>
                  <a:pt x="1570354" y="1274608"/>
                </a:cubicBezTo>
                <a:cubicBezTo>
                  <a:pt x="1570354" y="1305089"/>
                  <a:pt x="1545647" y="1329799"/>
                  <a:pt x="1515168" y="1329799"/>
                </a:cubicBezTo>
                <a:cubicBezTo>
                  <a:pt x="1484683" y="1329799"/>
                  <a:pt x="1459973" y="1305089"/>
                  <a:pt x="1459973" y="1274608"/>
                </a:cubicBezTo>
                <a:cubicBezTo>
                  <a:pt x="1459973" y="1244127"/>
                  <a:pt x="1484683" y="1219417"/>
                  <a:pt x="1515168" y="1219417"/>
                </a:cubicBezTo>
                <a:close/>
                <a:moveTo>
                  <a:pt x="1381528" y="1219417"/>
                </a:moveTo>
                <a:cubicBezTo>
                  <a:pt x="1412011" y="1219417"/>
                  <a:pt x="1436723" y="1244127"/>
                  <a:pt x="1436723" y="1274608"/>
                </a:cubicBezTo>
                <a:cubicBezTo>
                  <a:pt x="1436723" y="1305089"/>
                  <a:pt x="1412011" y="1329799"/>
                  <a:pt x="1381528" y="1329799"/>
                </a:cubicBezTo>
                <a:cubicBezTo>
                  <a:pt x="1351052" y="1329799"/>
                  <a:pt x="1326339" y="1305089"/>
                  <a:pt x="1326339" y="1274608"/>
                </a:cubicBezTo>
                <a:cubicBezTo>
                  <a:pt x="1326339" y="1244127"/>
                  <a:pt x="1351052" y="1219417"/>
                  <a:pt x="1381528" y="1219417"/>
                </a:cubicBezTo>
                <a:close/>
                <a:moveTo>
                  <a:pt x="1251239" y="1219417"/>
                </a:moveTo>
                <a:cubicBezTo>
                  <a:pt x="1281721" y="1219417"/>
                  <a:pt x="1306431" y="1244127"/>
                  <a:pt x="1306431" y="1274608"/>
                </a:cubicBezTo>
                <a:cubicBezTo>
                  <a:pt x="1306431" y="1305089"/>
                  <a:pt x="1281721" y="1329799"/>
                  <a:pt x="1251239" y="1329799"/>
                </a:cubicBezTo>
                <a:cubicBezTo>
                  <a:pt x="1220756" y="1329799"/>
                  <a:pt x="1196046" y="1305089"/>
                  <a:pt x="1196046" y="1274608"/>
                </a:cubicBezTo>
                <a:cubicBezTo>
                  <a:pt x="1196046" y="1244127"/>
                  <a:pt x="1220756" y="1219417"/>
                  <a:pt x="1251239" y="1219417"/>
                </a:cubicBezTo>
                <a:close/>
                <a:moveTo>
                  <a:pt x="1117601" y="1219417"/>
                </a:moveTo>
                <a:cubicBezTo>
                  <a:pt x="1148084" y="1219417"/>
                  <a:pt x="1172794" y="1244127"/>
                  <a:pt x="1172794" y="1274608"/>
                </a:cubicBezTo>
                <a:cubicBezTo>
                  <a:pt x="1172794" y="1305089"/>
                  <a:pt x="1148084" y="1329799"/>
                  <a:pt x="1117601" y="1329799"/>
                </a:cubicBezTo>
                <a:cubicBezTo>
                  <a:pt x="1087119" y="1329799"/>
                  <a:pt x="1062408" y="1305089"/>
                  <a:pt x="1062408" y="1274608"/>
                </a:cubicBezTo>
                <a:cubicBezTo>
                  <a:pt x="1062408" y="1244127"/>
                  <a:pt x="1087119" y="1219417"/>
                  <a:pt x="1117601" y="1219417"/>
                </a:cubicBezTo>
                <a:close/>
                <a:moveTo>
                  <a:pt x="980622" y="1219417"/>
                </a:moveTo>
                <a:cubicBezTo>
                  <a:pt x="1011105" y="1219417"/>
                  <a:pt x="1035816" y="1244127"/>
                  <a:pt x="1035816" y="1274608"/>
                </a:cubicBezTo>
                <a:cubicBezTo>
                  <a:pt x="1035816" y="1305089"/>
                  <a:pt x="1011105" y="1329799"/>
                  <a:pt x="980622" y="1329799"/>
                </a:cubicBezTo>
                <a:cubicBezTo>
                  <a:pt x="950140" y="1329799"/>
                  <a:pt x="925429" y="1305089"/>
                  <a:pt x="925429" y="1274608"/>
                </a:cubicBezTo>
                <a:cubicBezTo>
                  <a:pt x="925429" y="1244127"/>
                  <a:pt x="950140" y="1219417"/>
                  <a:pt x="980622" y="1219417"/>
                </a:cubicBezTo>
                <a:close/>
                <a:moveTo>
                  <a:pt x="9469710" y="1099147"/>
                </a:moveTo>
                <a:cubicBezTo>
                  <a:pt x="9500192" y="1099147"/>
                  <a:pt x="9524902" y="1123857"/>
                  <a:pt x="9524902" y="1154338"/>
                </a:cubicBezTo>
                <a:cubicBezTo>
                  <a:pt x="9524902" y="1184819"/>
                  <a:pt x="9500192" y="1209529"/>
                  <a:pt x="9469710" y="1209529"/>
                </a:cubicBezTo>
                <a:cubicBezTo>
                  <a:pt x="9439228" y="1209529"/>
                  <a:pt x="9414518" y="1184819"/>
                  <a:pt x="9414518" y="1154338"/>
                </a:cubicBezTo>
                <a:cubicBezTo>
                  <a:pt x="9414518" y="1123857"/>
                  <a:pt x="9439228" y="1099147"/>
                  <a:pt x="9469710" y="1099147"/>
                </a:cubicBezTo>
                <a:close/>
                <a:moveTo>
                  <a:pt x="9336075" y="1099147"/>
                </a:moveTo>
                <a:cubicBezTo>
                  <a:pt x="9366557" y="1099147"/>
                  <a:pt x="9391267" y="1123857"/>
                  <a:pt x="9391267" y="1154338"/>
                </a:cubicBezTo>
                <a:cubicBezTo>
                  <a:pt x="9391267" y="1184819"/>
                  <a:pt x="9366557" y="1209529"/>
                  <a:pt x="9336075" y="1209529"/>
                </a:cubicBezTo>
                <a:cubicBezTo>
                  <a:pt x="9305593" y="1209529"/>
                  <a:pt x="9280883" y="1184819"/>
                  <a:pt x="9280883" y="1154338"/>
                </a:cubicBezTo>
                <a:cubicBezTo>
                  <a:pt x="9280883" y="1123857"/>
                  <a:pt x="9305593" y="1099147"/>
                  <a:pt x="9336075" y="1099147"/>
                </a:cubicBezTo>
                <a:close/>
                <a:moveTo>
                  <a:pt x="9199100" y="1099147"/>
                </a:moveTo>
                <a:cubicBezTo>
                  <a:pt x="9229582" y="1099147"/>
                  <a:pt x="9254292" y="1123857"/>
                  <a:pt x="9254292" y="1154338"/>
                </a:cubicBezTo>
                <a:cubicBezTo>
                  <a:pt x="9254292" y="1184819"/>
                  <a:pt x="9229582" y="1209529"/>
                  <a:pt x="9199100" y="1209529"/>
                </a:cubicBezTo>
                <a:cubicBezTo>
                  <a:pt x="9168618" y="1209529"/>
                  <a:pt x="9143908" y="1184819"/>
                  <a:pt x="9143908" y="1154338"/>
                </a:cubicBezTo>
                <a:cubicBezTo>
                  <a:pt x="9143908" y="1123857"/>
                  <a:pt x="9168618" y="1099147"/>
                  <a:pt x="9199100" y="1099147"/>
                </a:cubicBezTo>
                <a:close/>
                <a:moveTo>
                  <a:pt x="9068805" y="1099147"/>
                </a:moveTo>
                <a:cubicBezTo>
                  <a:pt x="9099287" y="1099147"/>
                  <a:pt x="9123997" y="1123857"/>
                  <a:pt x="9123997" y="1154338"/>
                </a:cubicBezTo>
                <a:cubicBezTo>
                  <a:pt x="9123997" y="1184819"/>
                  <a:pt x="9099287" y="1209529"/>
                  <a:pt x="9068805" y="1209529"/>
                </a:cubicBezTo>
                <a:cubicBezTo>
                  <a:pt x="9038323" y="1209529"/>
                  <a:pt x="9013613" y="1184819"/>
                  <a:pt x="9013613" y="1154338"/>
                </a:cubicBezTo>
                <a:cubicBezTo>
                  <a:pt x="9013613" y="1123857"/>
                  <a:pt x="9038323" y="1099147"/>
                  <a:pt x="9068805" y="1099147"/>
                </a:cubicBezTo>
                <a:close/>
                <a:moveTo>
                  <a:pt x="8935170" y="1099147"/>
                </a:moveTo>
                <a:cubicBezTo>
                  <a:pt x="8965652" y="1099147"/>
                  <a:pt x="8990362" y="1123857"/>
                  <a:pt x="8990362" y="1154338"/>
                </a:cubicBezTo>
                <a:cubicBezTo>
                  <a:pt x="8990362" y="1184819"/>
                  <a:pt x="8965652" y="1209529"/>
                  <a:pt x="8935170" y="1209529"/>
                </a:cubicBezTo>
                <a:cubicBezTo>
                  <a:pt x="8904688" y="1209529"/>
                  <a:pt x="8879978" y="1184819"/>
                  <a:pt x="8879978" y="1154338"/>
                </a:cubicBezTo>
                <a:cubicBezTo>
                  <a:pt x="8879978" y="1123857"/>
                  <a:pt x="8904688" y="1099147"/>
                  <a:pt x="8935170" y="1099147"/>
                </a:cubicBezTo>
                <a:close/>
                <a:moveTo>
                  <a:pt x="8801536" y="1099147"/>
                </a:moveTo>
                <a:cubicBezTo>
                  <a:pt x="8832018" y="1099147"/>
                  <a:pt x="8856728" y="1123857"/>
                  <a:pt x="8856728" y="1154338"/>
                </a:cubicBezTo>
                <a:cubicBezTo>
                  <a:pt x="8856728" y="1184819"/>
                  <a:pt x="8832018" y="1209529"/>
                  <a:pt x="8801536" y="1209529"/>
                </a:cubicBezTo>
                <a:cubicBezTo>
                  <a:pt x="8771054" y="1209529"/>
                  <a:pt x="8746344" y="1184819"/>
                  <a:pt x="8746344" y="1154338"/>
                </a:cubicBezTo>
                <a:cubicBezTo>
                  <a:pt x="8746344" y="1123857"/>
                  <a:pt x="8771054" y="1099147"/>
                  <a:pt x="8801536" y="1099147"/>
                </a:cubicBezTo>
                <a:close/>
                <a:moveTo>
                  <a:pt x="8671243" y="1099147"/>
                </a:moveTo>
                <a:cubicBezTo>
                  <a:pt x="8701725" y="1099147"/>
                  <a:pt x="8726435" y="1123857"/>
                  <a:pt x="8726435" y="1154338"/>
                </a:cubicBezTo>
                <a:cubicBezTo>
                  <a:pt x="8726435" y="1184819"/>
                  <a:pt x="8701725" y="1209529"/>
                  <a:pt x="8671243" y="1209529"/>
                </a:cubicBezTo>
                <a:cubicBezTo>
                  <a:pt x="8640761" y="1209529"/>
                  <a:pt x="8616051" y="1184819"/>
                  <a:pt x="8616051" y="1154338"/>
                </a:cubicBezTo>
                <a:cubicBezTo>
                  <a:pt x="8616051" y="1123857"/>
                  <a:pt x="8640761" y="1099147"/>
                  <a:pt x="8671243" y="1099147"/>
                </a:cubicBezTo>
                <a:close/>
                <a:moveTo>
                  <a:pt x="8537609" y="1099147"/>
                </a:moveTo>
                <a:cubicBezTo>
                  <a:pt x="8568091" y="1099147"/>
                  <a:pt x="8592801" y="1123857"/>
                  <a:pt x="8592801" y="1154338"/>
                </a:cubicBezTo>
                <a:cubicBezTo>
                  <a:pt x="8592801" y="1184819"/>
                  <a:pt x="8568091" y="1209529"/>
                  <a:pt x="8537609" y="1209529"/>
                </a:cubicBezTo>
                <a:cubicBezTo>
                  <a:pt x="8507127" y="1209529"/>
                  <a:pt x="8482417" y="1184819"/>
                  <a:pt x="8482417" y="1154338"/>
                </a:cubicBezTo>
                <a:cubicBezTo>
                  <a:pt x="8482417" y="1123857"/>
                  <a:pt x="8507127" y="1099147"/>
                  <a:pt x="8537609" y="1099147"/>
                </a:cubicBezTo>
                <a:close/>
                <a:moveTo>
                  <a:pt x="8407315" y="1099147"/>
                </a:moveTo>
                <a:cubicBezTo>
                  <a:pt x="8437797" y="1099147"/>
                  <a:pt x="8462507" y="1123857"/>
                  <a:pt x="8462507" y="1154338"/>
                </a:cubicBezTo>
                <a:cubicBezTo>
                  <a:pt x="8462507" y="1184819"/>
                  <a:pt x="8437797" y="1209529"/>
                  <a:pt x="8407315" y="1209529"/>
                </a:cubicBezTo>
                <a:cubicBezTo>
                  <a:pt x="8376833" y="1209529"/>
                  <a:pt x="8352123" y="1184819"/>
                  <a:pt x="8352123" y="1154338"/>
                </a:cubicBezTo>
                <a:cubicBezTo>
                  <a:pt x="8352123" y="1123857"/>
                  <a:pt x="8376833" y="1099147"/>
                  <a:pt x="8407315" y="1099147"/>
                </a:cubicBezTo>
                <a:close/>
                <a:moveTo>
                  <a:pt x="8273681" y="1099147"/>
                </a:moveTo>
                <a:cubicBezTo>
                  <a:pt x="8304163" y="1099147"/>
                  <a:pt x="8328873" y="1123857"/>
                  <a:pt x="8328873" y="1154338"/>
                </a:cubicBezTo>
                <a:cubicBezTo>
                  <a:pt x="8328873" y="1184819"/>
                  <a:pt x="8304163" y="1209529"/>
                  <a:pt x="8273681" y="1209529"/>
                </a:cubicBezTo>
                <a:cubicBezTo>
                  <a:pt x="8243199" y="1209529"/>
                  <a:pt x="8218489" y="1184819"/>
                  <a:pt x="8218489" y="1154338"/>
                </a:cubicBezTo>
                <a:cubicBezTo>
                  <a:pt x="8218489" y="1123857"/>
                  <a:pt x="8243199" y="1099147"/>
                  <a:pt x="8273681" y="1099147"/>
                </a:cubicBezTo>
                <a:close/>
                <a:moveTo>
                  <a:pt x="8143386" y="1099147"/>
                </a:moveTo>
                <a:cubicBezTo>
                  <a:pt x="8173868" y="1099147"/>
                  <a:pt x="8198578" y="1123857"/>
                  <a:pt x="8198578" y="1154338"/>
                </a:cubicBezTo>
                <a:cubicBezTo>
                  <a:pt x="8198578" y="1184819"/>
                  <a:pt x="8173868" y="1209529"/>
                  <a:pt x="8143386" y="1209529"/>
                </a:cubicBezTo>
                <a:cubicBezTo>
                  <a:pt x="8112904" y="1209529"/>
                  <a:pt x="8088194" y="1184819"/>
                  <a:pt x="8088194" y="1154338"/>
                </a:cubicBezTo>
                <a:cubicBezTo>
                  <a:pt x="8088194" y="1123857"/>
                  <a:pt x="8112904" y="1099147"/>
                  <a:pt x="8143386" y="1099147"/>
                </a:cubicBezTo>
                <a:close/>
                <a:moveTo>
                  <a:pt x="8009752" y="1099147"/>
                </a:moveTo>
                <a:cubicBezTo>
                  <a:pt x="8040234" y="1099147"/>
                  <a:pt x="8064944" y="1123857"/>
                  <a:pt x="8064944" y="1154338"/>
                </a:cubicBezTo>
                <a:cubicBezTo>
                  <a:pt x="8064944" y="1184819"/>
                  <a:pt x="8040234" y="1209529"/>
                  <a:pt x="8009752" y="1209529"/>
                </a:cubicBezTo>
                <a:cubicBezTo>
                  <a:pt x="7979270" y="1209529"/>
                  <a:pt x="7954560" y="1184819"/>
                  <a:pt x="7954560" y="1154338"/>
                </a:cubicBezTo>
                <a:cubicBezTo>
                  <a:pt x="7954560" y="1123857"/>
                  <a:pt x="7979270" y="1099147"/>
                  <a:pt x="8009752" y="1099147"/>
                </a:cubicBezTo>
                <a:close/>
                <a:moveTo>
                  <a:pt x="7876117" y="1099147"/>
                </a:moveTo>
                <a:cubicBezTo>
                  <a:pt x="7906599" y="1099147"/>
                  <a:pt x="7931309" y="1123857"/>
                  <a:pt x="7931309" y="1154338"/>
                </a:cubicBezTo>
                <a:cubicBezTo>
                  <a:pt x="7931309" y="1184819"/>
                  <a:pt x="7906599" y="1209529"/>
                  <a:pt x="7876117" y="1209529"/>
                </a:cubicBezTo>
                <a:cubicBezTo>
                  <a:pt x="7845635" y="1209529"/>
                  <a:pt x="7820925" y="1184819"/>
                  <a:pt x="7820925" y="1154338"/>
                </a:cubicBezTo>
                <a:cubicBezTo>
                  <a:pt x="7820925" y="1123857"/>
                  <a:pt x="7845635" y="1099147"/>
                  <a:pt x="7876117" y="1099147"/>
                </a:cubicBezTo>
                <a:close/>
                <a:moveTo>
                  <a:pt x="7745822" y="1099147"/>
                </a:moveTo>
                <a:cubicBezTo>
                  <a:pt x="7776304" y="1099147"/>
                  <a:pt x="7801014" y="1123857"/>
                  <a:pt x="7801014" y="1154338"/>
                </a:cubicBezTo>
                <a:cubicBezTo>
                  <a:pt x="7801014" y="1184819"/>
                  <a:pt x="7776304" y="1209529"/>
                  <a:pt x="7745822" y="1209529"/>
                </a:cubicBezTo>
                <a:cubicBezTo>
                  <a:pt x="7715340" y="1209529"/>
                  <a:pt x="7690630" y="1184819"/>
                  <a:pt x="7690630" y="1154338"/>
                </a:cubicBezTo>
                <a:cubicBezTo>
                  <a:pt x="7690630" y="1123857"/>
                  <a:pt x="7715340" y="1099147"/>
                  <a:pt x="7745822" y="1099147"/>
                </a:cubicBezTo>
                <a:close/>
                <a:moveTo>
                  <a:pt x="7608847" y="1099147"/>
                </a:moveTo>
                <a:cubicBezTo>
                  <a:pt x="7639329" y="1099147"/>
                  <a:pt x="7664039" y="1123857"/>
                  <a:pt x="7664039" y="1154338"/>
                </a:cubicBezTo>
                <a:cubicBezTo>
                  <a:pt x="7664039" y="1184819"/>
                  <a:pt x="7639329" y="1209529"/>
                  <a:pt x="7608847" y="1209529"/>
                </a:cubicBezTo>
                <a:cubicBezTo>
                  <a:pt x="7578365" y="1209529"/>
                  <a:pt x="7553655" y="1184819"/>
                  <a:pt x="7553655" y="1154338"/>
                </a:cubicBezTo>
                <a:cubicBezTo>
                  <a:pt x="7553655" y="1123857"/>
                  <a:pt x="7578365" y="1099147"/>
                  <a:pt x="7608847" y="1099147"/>
                </a:cubicBezTo>
                <a:close/>
                <a:moveTo>
                  <a:pt x="7481895" y="1099147"/>
                </a:moveTo>
                <a:cubicBezTo>
                  <a:pt x="7512377" y="1099147"/>
                  <a:pt x="7537087" y="1123857"/>
                  <a:pt x="7537087" y="1154338"/>
                </a:cubicBezTo>
                <a:cubicBezTo>
                  <a:pt x="7537087" y="1184819"/>
                  <a:pt x="7512377" y="1209529"/>
                  <a:pt x="7481895" y="1209529"/>
                </a:cubicBezTo>
                <a:cubicBezTo>
                  <a:pt x="7451413" y="1209529"/>
                  <a:pt x="7426703" y="1184819"/>
                  <a:pt x="7426703" y="1154338"/>
                </a:cubicBezTo>
                <a:cubicBezTo>
                  <a:pt x="7426703" y="1123857"/>
                  <a:pt x="7451413" y="1099147"/>
                  <a:pt x="7481895" y="1099147"/>
                </a:cubicBezTo>
                <a:close/>
                <a:moveTo>
                  <a:pt x="7341578" y="1099147"/>
                </a:moveTo>
                <a:cubicBezTo>
                  <a:pt x="7372060" y="1099147"/>
                  <a:pt x="7396770" y="1123857"/>
                  <a:pt x="7396770" y="1154338"/>
                </a:cubicBezTo>
                <a:cubicBezTo>
                  <a:pt x="7396770" y="1184819"/>
                  <a:pt x="7372060" y="1209529"/>
                  <a:pt x="7341578" y="1209529"/>
                </a:cubicBezTo>
                <a:cubicBezTo>
                  <a:pt x="7311096" y="1209529"/>
                  <a:pt x="7286386" y="1184819"/>
                  <a:pt x="7286386" y="1154338"/>
                </a:cubicBezTo>
                <a:cubicBezTo>
                  <a:pt x="7286386" y="1123857"/>
                  <a:pt x="7311096" y="1099147"/>
                  <a:pt x="7341578" y="1099147"/>
                </a:cubicBezTo>
                <a:close/>
                <a:moveTo>
                  <a:pt x="7211285" y="1099147"/>
                </a:moveTo>
                <a:cubicBezTo>
                  <a:pt x="7241767" y="1099147"/>
                  <a:pt x="7266477" y="1123857"/>
                  <a:pt x="7266477" y="1154338"/>
                </a:cubicBezTo>
                <a:cubicBezTo>
                  <a:pt x="7266477" y="1184819"/>
                  <a:pt x="7241767" y="1209529"/>
                  <a:pt x="7211285" y="1209529"/>
                </a:cubicBezTo>
                <a:cubicBezTo>
                  <a:pt x="7180803" y="1209529"/>
                  <a:pt x="7156093" y="1184819"/>
                  <a:pt x="7156093" y="1154338"/>
                </a:cubicBezTo>
                <a:cubicBezTo>
                  <a:pt x="7156093" y="1123857"/>
                  <a:pt x="7180803" y="1099147"/>
                  <a:pt x="7211285" y="1099147"/>
                </a:cubicBezTo>
                <a:close/>
                <a:moveTo>
                  <a:pt x="7080991" y="1099147"/>
                </a:moveTo>
                <a:cubicBezTo>
                  <a:pt x="7111473" y="1099147"/>
                  <a:pt x="7136183" y="1123857"/>
                  <a:pt x="7136183" y="1154338"/>
                </a:cubicBezTo>
                <a:cubicBezTo>
                  <a:pt x="7136183" y="1184819"/>
                  <a:pt x="7111473" y="1209529"/>
                  <a:pt x="7080991" y="1209529"/>
                </a:cubicBezTo>
                <a:cubicBezTo>
                  <a:pt x="7050509" y="1209529"/>
                  <a:pt x="7025799" y="1184819"/>
                  <a:pt x="7025799" y="1154338"/>
                </a:cubicBezTo>
                <a:cubicBezTo>
                  <a:pt x="7025799" y="1123857"/>
                  <a:pt x="7050509" y="1099147"/>
                  <a:pt x="7080991" y="1099147"/>
                </a:cubicBezTo>
                <a:close/>
                <a:moveTo>
                  <a:pt x="6947356" y="1099147"/>
                </a:moveTo>
                <a:cubicBezTo>
                  <a:pt x="6977838" y="1099147"/>
                  <a:pt x="7002548" y="1123857"/>
                  <a:pt x="7002548" y="1154338"/>
                </a:cubicBezTo>
                <a:cubicBezTo>
                  <a:pt x="7002548" y="1184819"/>
                  <a:pt x="6977838" y="1209529"/>
                  <a:pt x="6947356" y="1209529"/>
                </a:cubicBezTo>
                <a:cubicBezTo>
                  <a:pt x="6916874" y="1209529"/>
                  <a:pt x="6892164" y="1184819"/>
                  <a:pt x="6892164" y="1154338"/>
                </a:cubicBezTo>
                <a:cubicBezTo>
                  <a:pt x="6892164" y="1123857"/>
                  <a:pt x="6916874" y="1099147"/>
                  <a:pt x="6947356" y="1099147"/>
                </a:cubicBezTo>
                <a:close/>
                <a:moveTo>
                  <a:pt x="6817063" y="1099147"/>
                </a:moveTo>
                <a:cubicBezTo>
                  <a:pt x="6847545" y="1099147"/>
                  <a:pt x="6872255" y="1123857"/>
                  <a:pt x="6872255" y="1154338"/>
                </a:cubicBezTo>
                <a:cubicBezTo>
                  <a:pt x="6872255" y="1184819"/>
                  <a:pt x="6847545" y="1209529"/>
                  <a:pt x="6817063" y="1209529"/>
                </a:cubicBezTo>
                <a:cubicBezTo>
                  <a:pt x="6786581" y="1209529"/>
                  <a:pt x="6761871" y="1184819"/>
                  <a:pt x="6761871" y="1154338"/>
                </a:cubicBezTo>
                <a:cubicBezTo>
                  <a:pt x="6761871" y="1123857"/>
                  <a:pt x="6786581" y="1099147"/>
                  <a:pt x="6817063" y="1099147"/>
                </a:cubicBezTo>
                <a:close/>
                <a:moveTo>
                  <a:pt x="6683430" y="1099147"/>
                </a:moveTo>
                <a:cubicBezTo>
                  <a:pt x="6713912" y="1099147"/>
                  <a:pt x="6738622" y="1123857"/>
                  <a:pt x="6738622" y="1154338"/>
                </a:cubicBezTo>
                <a:cubicBezTo>
                  <a:pt x="6738622" y="1184819"/>
                  <a:pt x="6713912" y="1209529"/>
                  <a:pt x="6683430" y="1209529"/>
                </a:cubicBezTo>
                <a:cubicBezTo>
                  <a:pt x="6652948" y="1209529"/>
                  <a:pt x="6628238" y="1184819"/>
                  <a:pt x="6628238" y="1154338"/>
                </a:cubicBezTo>
                <a:cubicBezTo>
                  <a:pt x="6628238" y="1123857"/>
                  <a:pt x="6652948" y="1099147"/>
                  <a:pt x="6683430" y="1099147"/>
                </a:cubicBezTo>
                <a:close/>
                <a:moveTo>
                  <a:pt x="6553135" y="1099147"/>
                </a:moveTo>
                <a:cubicBezTo>
                  <a:pt x="6583617" y="1099147"/>
                  <a:pt x="6608327" y="1123857"/>
                  <a:pt x="6608327" y="1154338"/>
                </a:cubicBezTo>
                <a:cubicBezTo>
                  <a:pt x="6608327" y="1184819"/>
                  <a:pt x="6583617" y="1209529"/>
                  <a:pt x="6553135" y="1209529"/>
                </a:cubicBezTo>
                <a:cubicBezTo>
                  <a:pt x="6522653" y="1209529"/>
                  <a:pt x="6497943" y="1184819"/>
                  <a:pt x="6497943" y="1154338"/>
                </a:cubicBezTo>
                <a:cubicBezTo>
                  <a:pt x="6497943" y="1123857"/>
                  <a:pt x="6522653" y="1099147"/>
                  <a:pt x="6553135" y="1099147"/>
                </a:cubicBezTo>
                <a:close/>
                <a:moveTo>
                  <a:pt x="6419501" y="1099147"/>
                </a:moveTo>
                <a:cubicBezTo>
                  <a:pt x="6449983" y="1099147"/>
                  <a:pt x="6474693" y="1123857"/>
                  <a:pt x="6474693" y="1154338"/>
                </a:cubicBezTo>
                <a:cubicBezTo>
                  <a:pt x="6474693" y="1184819"/>
                  <a:pt x="6449983" y="1209529"/>
                  <a:pt x="6419501" y="1209529"/>
                </a:cubicBezTo>
                <a:cubicBezTo>
                  <a:pt x="6389019" y="1209529"/>
                  <a:pt x="6364309" y="1184819"/>
                  <a:pt x="6364309" y="1154338"/>
                </a:cubicBezTo>
                <a:cubicBezTo>
                  <a:pt x="6364309" y="1123857"/>
                  <a:pt x="6389019" y="1099147"/>
                  <a:pt x="6419501" y="1099147"/>
                </a:cubicBezTo>
                <a:close/>
                <a:moveTo>
                  <a:pt x="6289206" y="1099147"/>
                </a:moveTo>
                <a:cubicBezTo>
                  <a:pt x="6319688" y="1099147"/>
                  <a:pt x="6344398" y="1123857"/>
                  <a:pt x="6344398" y="1154338"/>
                </a:cubicBezTo>
                <a:cubicBezTo>
                  <a:pt x="6344398" y="1184819"/>
                  <a:pt x="6319688" y="1209529"/>
                  <a:pt x="6289206" y="1209529"/>
                </a:cubicBezTo>
                <a:cubicBezTo>
                  <a:pt x="6258724" y="1209529"/>
                  <a:pt x="6234014" y="1184819"/>
                  <a:pt x="6234014" y="1154338"/>
                </a:cubicBezTo>
                <a:cubicBezTo>
                  <a:pt x="6234014" y="1123857"/>
                  <a:pt x="6258724" y="1099147"/>
                  <a:pt x="6289206" y="1099147"/>
                </a:cubicBezTo>
                <a:close/>
                <a:moveTo>
                  <a:pt x="6155571" y="1099147"/>
                </a:moveTo>
                <a:cubicBezTo>
                  <a:pt x="6186053" y="1099147"/>
                  <a:pt x="6210763" y="1123857"/>
                  <a:pt x="6210763" y="1154338"/>
                </a:cubicBezTo>
                <a:cubicBezTo>
                  <a:pt x="6210763" y="1184819"/>
                  <a:pt x="6186053" y="1209529"/>
                  <a:pt x="6155571" y="1209529"/>
                </a:cubicBezTo>
                <a:cubicBezTo>
                  <a:pt x="6125089" y="1209529"/>
                  <a:pt x="6100379" y="1184819"/>
                  <a:pt x="6100379" y="1154338"/>
                </a:cubicBezTo>
                <a:cubicBezTo>
                  <a:pt x="6100379" y="1123857"/>
                  <a:pt x="6125089" y="1099147"/>
                  <a:pt x="6155571" y="1099147"/>
                </a:cubicBezTo>
                <a:close/>
                <a:moveTo>
                  <a:pt x="6021938" y="1099147"/>
                </a:moveTo>
                <a:cubicBezTo>
                  <a:pt x="6052420" y="1099147"/>
                  <a:pt x="6077130" y="1123857"/>
                  <a:pt x="6077130" y="1154338"/>
                </a:cubicBezTo>
                <a:cubicBezTo>
                  <a:pt x="6077130" y="1184819"/>
                  <a:pt x="6052420" y="1209529"/>
                  <a:pt x="6021938" y="1209529"/>
                </a:cubicBezTo>
                <a:cubicBezTo>
                  <a:pt x="5991456" y="1209529"/>
                  <a:pt x="5966746" y="1184819"/>
                  <a:pt x="5966746" y="1154338"/>
                </a:cubicBezTo>
                <a:cubicBezTo>
                  <a:pt x="5966746" y="1123857"/>
                  <a:pt x="5991456" y="1099147"/>
                  <a:pt x="6021938" y="1099147"/>
                </a:cubicBezTo>
                <a:close/>
                <a:moveTo>
                  <a:pt x="5884963" y="1099147"/>
                </a:moveTo>
                <a:cubicBezTo>
                  <a:pt x="5915445" y="1099147"/>
                  <a:pt x="5940155" y="1123857"/>
                  <a:pt x="5940155" y="1154338"/>
                </a:cubicBezTo>
                <a:cubicBezTo>
                  <a:pt x="5940155" y="1184819"/>
                  <a:pt x="5915445" y="1209529"/>
                  <a:pt x="5884963" y="1209529"/>
                </a:cubicBezTo>
                <a:cubicBezTo>
                  <a:pt x="5854481" y="1209529"/>
                  <a:pt x="5829771" y="1184819"/>
                  <a:pt x="5829771" y="1154338"/>
                </a:cubicBezTo>
                <a:cubicBezTo>
                  <a:pt x="5829771" y="1123857"/>
                  <a:pt x="5854481" y="1099147"/>
                  <a:pt x="5884963" y="1099147"/>
                </a:cubicBezTo>
                <a:close/>
                <a:moveTo>
                  <a:pt x="5754668" y="1099147"/>
                </a:moveTo>
                <a:cubicBezTo>
                  <a:pt x="5785150" y="1099147"/>
                  <a:pt x="5809860" y="1123857"/>
                  <a:pt x="5809860" y="1154338"/>
                </a:cubicBezTo>
                <a:cubicBezTo>
                  <a:pt x="5809860" y="1184819"/>
                  <a:pt x="5785150" y="1209529"/>
                  <a:pt x="5754668" y="1209529"/>
                </a:cubicBezTo>
                <a:cubicBezTo>
                  <a:pt x="5724186" y="1209529"/>
                  <a:pt x="5699476" y="1184819"/>
                  <a:pt x="5699476" y="1154338"/>
                </a:cubicBezTo>
                <a:cubicBezTo>
                  <a:pt x="5699476" y="1123857"/>
                  <a:pt x="5724186" y="1099147"/>
                  <a:pt x="5754668" y="1099147"/>
                </a:cubicBezTo>
                <a:close/>
                <a:moveTo>
                  <a:pt x="5621031" y="1099147"/>
                </a:moveTo>
                <a:cubicBezTo>
                  <a:pt x="5651513" y="1099147"/>
                  <a:pt x="5676223" y="1123857"/>
                  <a:pt x="5676223" y="1154338"/>
                </a:cubicBezTo>
                <a:cubicBezTo>
                  <a:pt x="5676223" y="1184819"/>
                  <a:pt x="5651513" y="1209529"/>
                  <a:pt x="5621031" y="1209529"/>
                </a:cubicBezTo>
                <a:cubicBezTo>
                  <a:pt x="5590549" y="1209529"/>
                  <a:pt x="5565839" y="1184819"/>
                  <a:pt x="5565839" y="1154338"/>
                </a:cubicBezTo>
                <a:cubicBezTo>
                  <a:pt x="5565839" y="1123857"/>
                  <a:pt x="5590549" y="1099147"/>
                  <a:pt x="5621031" y="1099147"/>
                </a:cubicBezTo>
                <a:close/>
                <a:moveTo>
                  <a:pt x="5487398" y="1099147"/>
                </a:moveTo>
                <a:cubicBezTo>
                  <a:pt x="5517880" y="1099147"/>
                  <a:pt x="5542590" y="1123857"/>
                  <a:pt x="5542590" y="1154338"/>
                </a:cubicBezTo>
                <a:cubicBezTo>
                  <a:pt x="5542590" y="1184819"/>
                  <a:pt x="5517880" y="1209529"/>
                  <a:pt x="5487398" y="1209529"/>
                </a:cubicBezTo>
                <a:cubicBezTo>
                  <a:pt x="5456916" y="1209529"/>
                  <a:pt x="5432206" y="1184819"/>
                  <a:pt x="5432206" y="1154338"/>
                </a:cubicBezTo>
                <a:cubicBezTo>
                  <a:pt x="5432206" y="1123857"/>
                  <a:pt x="5456916" y="1099147"/>
                  <a:pt x="5487398" y="1099147"/>
                </a:cubicBezTo>
                <a:close/>
                <a:moveTo>
                  <a:pt x="5357105" y="1099147"/>
                </a:moveTo>
                <a:cubicBezTo>
                  <a:pt x="5387587" y="1099147"/>
                  <a:pt x="5412297" y="1123857"/>
                  <a:pt x="5412297" y="1154338"/>
                </a:cubicBezTo>
                <a:cubicBezTo>
                  <a:pt x="5412297" y="1184819"/>
                  <a:pt x="5387587" y="1209529"/>
                  <a:pt x="5357105" y="1209529"/>
                </a:cubicBezTo>
                <a:cubicBezTo>
                  <a:pt x="5326623" y="1209529"/>
                  <a:pt x="5301913" y="1184819"/>
                  <a:pt x="5301913" y="1154338"/>
                </a:cubicBezTo>
                <a:cubicBezTo>
                  <a:pt x="5301913" y="1123857"/>
                  <a:pt x="5326623" y="1099147"/>
                  <a:pt x="5357105" y="1099147"/>
                </a:cubicBezTo>
                <a:close/>
                <a:moveTo>
                  <a:pt x="5093176" y="1099147"/>
                </a:moveTo>
                <a:cubicBezTo>
                  <a:pt x="5123658" y="1099147"/>
                  <a:pt x="5148368" y="1123857"/>
                  <a:pt x="5148368" y="1154338"/>
                </a:cubicBezTo>
                <a:cubicBezTo>
                  <a:pt x="5148368" y="1184819"/>
                  <a:pt x="5123658" y="1209529"/>
                  <a:pt x="5093176" y="1209529"/>
                </a:cubicBezTo>
                <a:cubicBezTo>
                  <a:pt x="5062694" y="1209529"/>
                  <a:pt x="5037984" y="1184819"/>
                  <a:pt x="5037984" y="1154338"/>
                </a:cubicBezTo>
                <a:cubicBezTo>
                  <a:pt x="5037984" y="1123857"/>
                  <a:pt x="5062694" y="1099147"/>
                  <a:pt x="5093176" y="1099147"/>
                </a:cubicBezTo>
                <a:close/>
                <a:moveTo>
                  <a:pt x="4959540" y="1099147"/>
                </a:moveTo>
                <a:cubicBezTo>
                  <a:pt x="4990022" y="1099147"/>
                  <a:pt x="5014732" y="1123857"/>
                  <a:pt x="5014732" y="1154338"/>
                </a:cubicBezTo>
                <a:cubicBezTo>
                  <a:pt x="5014732" y="1184819"/>
                  <a:pt x="4990022" y="1209529"/>
                  <a:pt x="4959540" y="1209529"/>
                </a:cubicBezTo>
                <a:cubicBezTo>
                  <a:pt x="4929058" y="1209529"/>
                  <a:pt x="4904348" y="1184819"/>
                  <a:pt x="4904348" y="1154338"/>
                </a:cubicBezTo>
                <a:cubicBezTo>
                  <a:pt x="4904348" y="1123857"/>
                  <a:pt x="4929058" y="1099147"/>
                  <a:pt x="4959540" y="1099147"/>
                </a:cubicBezTo>
                <a:close/>
                <a:moveTo>
                  <a:pt x="4829246" y="1099147"/>
                </a:moveTo>
                <a:cubicBezTo>
                  <a:pt x="4859728" y="1099147"/>
                  <a:pt x="4884438" y="1123857"/>
                  <a:pt x="4884438" y="1154338"/>
                </a:cubicBezTo>
                <a:cubicBezTo>
                  <a:pt x="4884438" y="1184819"/>
                  <a:pt x="4859728" y="1209529"/>
                  <a:pt x="4829246" y="1209529"/>
                </a:cubicBezTo>
                <a:cubicBezTo>
                  <a:pt x="4798764" y="1209529"/>
                  <a:pt x="4774054" y="1184819"/>
                  <a:pt x="4774054" y="1154338"/>
                </a:cubicBezTo>
                <a:cubicBezTo>
                  <a:pt x="4774054" y="1123857"/>
                  <a:pt x="4798764" y="1099147"/>
                  <a:pt x="4829246" y="1099147"/>
                </a:cubicBezTo>
                <a:close/>
                <a:moveTo>
                  <a:pt x="319117" y="1099147"/>
                </a:moveTo>
                <a:cubicBezTo>
                  <a:pt x="349600" y="1099147"/>
                  <a:pt x="374310" y="1123857"/>
                  <a:pt x="374310" y="1154338"/>
                </a:cubicBezTo>
                <a:cubicBezTo>
                  <a:pt x="374310" y="1184819"/>
                  <a:pt x="349600" y="1209529"/>
                  <a:pt x="319117" y="1209529"/>
                </a:cubicBezTo>
                <a:cubicBezTo>
                  <a:pt x="288635" y="1209529"/>
                  <a:pt x="263926" y="1184819"/>
                  <a:pt x="263926" y="1154338"/>
                </a:cubicBezTo>
                <a:cubicBezTo>
                  <a:pt x="263926" y="1123857"/>
                  <a:pt x="288635" y="1099147"/>
                  <a:pt x="319117" y="1099147"/>
                </a:cubicBezTo>
                <a:close/>
                <a:moveTo>
                  <a:pt x="185484" y="1099147"/>
                </a:moveTo>
                <a:cubicBezTo>
                  <a:pt x="215966" y="1099147"/>
                  <a:pt x="240675" y="1123857"/>
                  <a:pt x="240675" y="1154338"/>
                </a:cubicBezTo>
                <a:cubicBezTo>
                  <a:pt x="240675" y="1184819"/>
                  <a:pt x="215966" y="1209529"/>
                  <a:pt x="185484" y="1209529"/>
                </a:cubicBezTo>
                <a:cubicBezTo>
                  <a:pt x="155003" y="1209529"/>
                  <a:pt x="130292" y="1184819"/>
                  <a:pt x="130292" y="1154338"/>
                </a:cubicBezTo>
                <a:cubicBezTo>
                  <a:pt x="130292" y="1123857"/>
                  <a:pt x="155003" y="1099147"/>
                  <a:pt x="185484" y="1099147"/>
                </a:cubicBezTo>
                <a:close/>
                <a:moveTo>
                  <a:pt x="55190" y="1099147"/>
                </a:moveTo>
                <a:cubicBezTo>
                  <a:pt x="85672" y="1099147"/>
                  <a:pt x="110381" y="1123857"/>
                  <a:pt x="110381" y="1154338"/>
                </a:cubicBezTo>
                <a:cubicBezTo>
                  <a:pt x="110381" y="1184819"/>
                  <a:pt x="85672" y="1209529"/>
                  <a:pt x="55190" y="1209529"/>
                </a:cubicBezTo>
                <a:cubicBezTo>
                  <a:pt x="24708" y="1209529"/>
                  <a:pt x="0" y="1184819"/>
                  <a:pt x="0" y="1154338"/>
                </a:cubicBezTo>
                <a:cubicBezTo>
                  <a:pt x="0" y="1123857"/>
                  <a:pt x="24708" y="1099147"/>
                  <a:pt x="55190" y="1099147"/>
                </a:cubicBezTo>
                <a:close/>
                <a:moveTo>
                  <a:pt x="3499584" y="1099146"/>
                </a:moveTo>
                <a:cubicBezTo>
                  <a:pt x="3530066" y="1099146"/>
                  <a:pt x="3554776" y="1123856"/>
                  <a:pt x="3554776" y="1154337"/>
                </a:cubicBezTo>
                <a:cubicBezTo>
                  <a:pt x="3554776" y="1184818"/>
                  <a:pt x="3530066" y="1209528"/>
                  <a:pt x="3499584" y="1209528"/>
                </a:cubicBezTo>
                <a:cubicBezTo>
                  <a:pt x="3469102" y="1209528"/>
                  <a:pt x="3444392" y="1184818"/>
                  <a:pt x="3444392" y="1154337"/>
                </a:cubicBezTo>
                <a:cubicBezTo>
                  <a:pt x="3444392" y="1123856"/>
                  <a:pt x="3469102" y="1099146"/>
                  <a:pt x="3499584" y="1099146"/>
                </a:cubicBezTo>
                <a:close/>
                <a:moveTo>
                  <a:pt x="2570894" y="1099146"/>
                </a:moveTo>
                <a:cubicBezTo>
                  <a:pt x="2601377" y="1099146"/>
                  <a:pt x="2626086" y="1123856"/>
                  <a:pt x="2626086" y="1154337"/>
                </a:cubicBezTo>
                <a:cubicBezTo>
                  <a:pt x="2626086" y="1184818"/>
                  <a:pt x="2601377" y="1209528"/>
                  <a:pt x="2570894" y="1209528"/>
                </a:cubicBezTo>
                <a:cubicBezTo>
                  <a:pt x="2540412" y="1209528"/>
                  <a:pt x="2515701" y="1184818"/>
                  <a:pt x="2515701" y="1154337"/>
                </a:cubicBezTo>
                <a:cubicBezTo>
                  <a:pt x="2515701" y="1123856"/>
                  <a:pt x="2540412" y="1099146"/>
                  <a:pt x="2570894" y="1099146"/>
                </a:cubicBezTo>
                <a:close/>
                <a:moveTo>
                  <a:pt x="2039698" y="1099146"/>
                </a:moveTo>
                <a:cubicBezTo>
                  <a:pt x="2070180" y="1099146"/>
                  <a:pt x="2094891" y="1123856"/>
                  <a:pt x="2094891" y="1154337"/>
                </a:cubicBezTo>
                <a:cubicBezTo>
                  <a:pt x="2094891" y="1184818"/>
                  <a:pt x="2070180" y="1209528"/>
                  <a:pt x="2039698" y="1209528"/>
                </a:cubicBezTo>
                <a:cubicBezTo>
                  <a:pt x="2009214" y="1209528"/>
                  <a:pt x="1984505" y="1184818"/>
                  <a:pt x="1984505" y="1154337"/>
                </a:cubicBezTo>
                <a:cubicBezTo>
                  <a:pt x="1984505" y="1123856"/>
                  <a:pt x="2009214" y="1099146"/>
                  <a:pt x="2039698" y="1099146"/>
                </a:cubicBezTo>
                <a:close/>
                <a:moveTo>
                  <a:pt x="1909401" y="1099146"/>
                </a:moveTo>
                <a:cubicBezTo>
                  <a:pt x="1939883" y="1099146"/>
                  <a:pt x="1964592" y="1123856"/>
                  <a:pt x="1964592" y="1154337"/>
                </a:cubicBezTo>
                <a:cubicBezTo>
                  <a:pt x="1964592" y="1184818"/>
                  <a:pt x="1939883" y="1209528"/>
                  <a:pt x="1909401" y="1209528"/>
                </a:cubicBezTo>
                <a:cubicBezTo>
                  <a:pt x="1878917" y="1209528"/>
                  <a:pt x="1854207" y="1184818"/>
                  <a:pt x="1854207" y="1154337"/>
                </a:cubicBezTo>
                <a:cubicBezTo>
                  <a:pt x="1854207" y="1123856"/>
                  <a:pt x="1878917" y="1099146"/>
                  <a:pt x="1909401" y="1099146"/>
                </a:cubicBezTo>
                <a:close/>
                <a:moveTo>
                  <a:pt x="1779104" y="1099146"/>
                </a:moveTo>
                <a:cubicBezTo>
                  <a:pt x="1809585" y="1099146"/>
                  <a:pt x="1834296" y="1123856"/>
                  <a:pt x="1834296" y="1154337"/>
                </a:cubicBezTo>
                <a:cubicBezTo>
                  <a:pt x="1834296" y="1184818"/>
                  <a:pt x="1809585" y="1209528"/>
                  <a:pt x="1779104" y="1209528"/>
                </a:cubicBezTo>
                <a:cubicBezTo>
                  <a:pt x="1748623" y="1209528"/>
                  <a:pt x="1723910" y="1184818"/>
                  <a:pt x="1723910" y="1154337"/>
                </a:cubicBezTo>
                <a:cubicBezTo>
                  <a:pt x="1723910" y="1123856"/>
                  <a:pt x="1748623" y="1099146"/>
                  <a:pt x="1779104" y="1099146"/>
                </a:cubicBezTo>
                <a:close/>
                <a:moveTo>
                  <a:pt x="1645469" y="1099146"/>
                </a:moveTo>
                <a:cubicBezTo>
                  <a:pt x="1675950" y="1099146"/>
                  <a:pt x="1700664" y="1123856"/>
                  <a:pt x="1700664" y="1154337"/>
                </a:cubicBezTo>
                <a:cubicBezTo>
                  <a:pt x="1700664" y="1184818"/>
                  <a:pt x="1675950" y="1209528"/>
                  <a:pt x="1645469" y="1209528"/>
                </a:cubicBezTo>
                <a:cubicBezTo>
                  <a:pt x="1614986" y="1209528"/>
                  <a:pt x="1590275" y="1184818"/>
                  <a:pt x="1590275" y="1154337"/>
                </a:cubicBezTo>
                <a:cubicBezTo>
                  <a:pt x="1590275" y="1123856"/>
                  <a:pt x="1614986" y="1099146"/>
                  <a:pt x="1645469" y="1099146"/>
                </a:cubicBezTo>
                <a:close/>
                <a:moveTo>
                  <a:pt x="1515179" y="1099146"/>
                </a:moveTo>
                <a:cubicBezTo>
                  <a:pt x="1545657" y="1099146"/>
                  <a:pt x="1570364" y="1123856"/>
                  <a:pt x="1570364" y="1154337"/>
                </a:cubicBezTo>
                <a:cubicBezTo>
                  <a:pt x="1570364" y="1184818"/>
                  <a:pt x="1545657" y="1209528"/>
                  <a:pt x="1515179" y="1209528"/>
                </a:cubicBezTo>
                <a:cubicBezTo>
                  <a:pt x="1484695" y="1209528"/>
                  <a:pt x="1459982" y="1184818"/>
                  <a:pt x="1459982" y="1154337"/>
                </a:cubicBezTo>
                <a:cubicBezTo>
                  <a:pt x="1459982" y="1123856"/>
                  <a:pt x="1484695" y="1099146"/>
                  <a:pt x="1515179" y="1099146"/>
                </a:cubicBezTo>
                <a:close/>
                <a:moveTo>
                  <a:pt x="1381539" y="1099146"/>
                </a:moveTo>
                <a:cubicBezTo>
                  <a:pt x="1412022" y="1099146"/>
                  <a:pt x="1436731" y="1123856"/>
                  <a:pt x="1436731" y="1154337"/>
                </a:cubicBezTo>
                <a:cubicBezTo>
                  <a:pt x="1436731" y="1184818"/>
                  <a:pt x="1412022" y="1209528"/>
                  <a:pt x="1381539" y="1209528"/>
                </a:cubicBezTo>
                <a:cubicBezTo>
                  <a:pt x="1351062" y="1209528"/>
                  <a:pt x="1326349" y="1184818"/>
                  <a:pt x="1326349" y="1154337"/>
                </a:cubicBezTo>
                <a:cubicBezTo>
                  <a:pt x="1326349" y="1123856"/>
                  <a:pt x="1351062" y="1099146"/>
                  <a:pt x="1381539" y="1099146"/>
                </a:cubicBezTo>
                <a:close/>
                <a:moveTo>
                  <a:pt x="1251245" y="1099146"/>
                </a:moveTo>
                <a:cubicBezTo>
                  <a:pt x="1281728" y="1099146"/>
                  <a:pt x="1306439" y="1123856"/>
                  <a:pt x="1306439" y="1154337"/>
                </a:cubicBezTo>
                <a:cubicBezTo>
                  <a:pt x="1306439" y="1184818"/>
                  <a:pt x="1281728" y="1209528"/>
                  <a:pt x="1251245" y="1209528"/>
                </a:cubicBezTo>
                <a:cubicBezTo>
                  <a:pt x="1220763" y="1209528"/>
                  <a:pt x="1196054" y="1184818"/>
                  <a:pt x="1196054" y="1154337"/>
                </a:cubicBezTo>
                <a:cubicBezTo>
                  <a:pt x="1196054" y="1123856"/>
                  <a:pt x="1220763" y="1099146"/>
                  <a:pt x="1251245" y="1099146"/>
                </a:cubicBezTo>
                <a:close/>
                <a:moveTo>
                  <a:pt x="1117610" y="1099146"/>
                </a:moveTo>
                <a:cubicBezTo>
                  <a:pt x="1148093" y="1099146"/>
                  <a:pt x="1172803" y="1123856"/>
                  <a:pt x="1172803" y="1154337"/>
                </a:cubicBezTo>
                <a:cubicBezTo>
                  <a:pt x="1172803" y="1184818"/>
                  <a:pt x="1148093" y="1209528"/>
                  <a:pt x="1117610" y="1209528"/>
                </a:cubicBezTo>
                <a:cubicBezTo>
                  <a:pt x="1087127" y="1209528"/>
                  <a:pt x="1062416" y="1184818"/>
                  <a:pt x="1062416" y="1154337"/>
                </a:cubicBezTo>
                <a:cubicBezTo>
                  <a:pt x="1062416" y="1123856"/>
                  <a:pt x="1087127" y="1099146"/>
                  <a:pt x="1117610" y="1099146"/>
                </a:cubicBezTo>
                <a:close/>
                <a:moveTo>
                  <a:pt x="980631" y="1099146"/>
                </a:moveTo>
                <a:cubicBezTo>
                  <a:pt x="1011115" y="1099146"/>
                  <a:pt x="1035825" y="1123856"/>
                  <a:pt x="1035825" y="1154337"/>
                </a:cubicBezTo>
                <a:cubicBezTo>
                  <a:pt x="1035825" y="1184818"/>
                  <a:pt x="1011115" y="1209528"/>
                  <a:pt x="980631" y="1209528"/>
                </a:cubicBezTo>
                <a:cubicBezTo>
                  <a:pt x="950149" y="1209528"/>
                  <a:pt x="925438" y="1184818"/>
                  <a:pt x="925438" y="1154337"/>
                </a:cubicBezTo>
                <a:cubicBezTo>
                  <a:pt x="925438" y="1123856"/>
                  <a:pt x="950149" y="1099146"/>
                  <a:pt x="980631" y="1099146"/>
                </a:cubicBezTo>
                <a:close/>
                <a:moveTo>
                  <a:pt x="846993" y="1099146"/>
                </a:moveTo>
                <a:cubicBezTo>
                  <a:pt x="877476" y="1099146"/>
                  <a:pt x="902186" y="1123856"/>
                  <a:pt x="902186" y="1154337"/>
                </a:cubicBezTo>
                <a:cubicBezTo>
                  <a:pt x="902186" y="1184818"/>
                  <a:pt x="877476" y="1209528"/>
                  <a:pt x="846993" y="1209528"/>
                </a:cubicBezTo>
                <a:cubicBezTo>
                  <a:pt x="816511" y="1209528"/>
                  <a:pt x="791796" y="1184818"/>
                  <a:pt x="791796" y="1154337"/>
                </a:cubicBezTo>
                <a:cubicBezTo>
                  <a:pt x="791796" y="1123856"/>
                  <a:pt x="816511" y="1099146"/>
                  <a:pt x="846993" y="1099146"/>
                </a:cubicBezTo>
                <a:close/>
                <a:moveTo>
                  <a:pt x="716690" y="1099146"/>
                </a:moveTo>
                <a:cubicBezTo>
                  <a:pt x="747176" y="1099146"/>
                  <a:pt x="771886" y="1123856"/>
                  <a:pt x="771886" y="1154337"/>
                </a:cubicBezTo>
                <a:cubicBezTo>
                  <a:pt x="771886" y="1184818"/>
                  <a:pt x="747176" y="1209528"/>
                  <a:pt x="716690" y="1209528"/>
                </a:cubicBezTo>
                <a:cubicBezTo>
                  <a:pt x="686211" y="1209528"/>
                  <a:pt x="661502" y="1184818"/>
                  <a:pt x="661502" y="1154337"/>
                </a:cubicBezTo>
                <a:cubicBezTo>
                  <a:pt x="661502" y="1123856"/>
                  <a:pt x="686211" y="1099146"/>
                  <a:pt x="716690" y="1099146"/>
                </a:cubicBezTo>
                <a:close/>
                <a:moveTo>
                  <a:pt x="583057" y="1099146"/>
                </a:moveTo>
                <a:cubicBezTo>
                  <a:pt x="613540" y="1099146"/>
                  <a:pt x="638250" y="1123856"/>
                  <a:pt x="638250" y="1154337"/>
                </a:cubicBezTo>
                <a:cubicBezTo>
                  <a:pt x="638250" y="1184818"/>
                  <a:pt x="613540" y="1209528"/>
                  <a:pt x="583057" y="1209528"/>
                </a:cubicBezTo>
                <a:cubicBezTo>
                  <a:pt x="552573" y="1209528"/>
                  <a:pt x="527863" y="1184818"/>
                  <a:pt x="527863" y="1154337"/>
                </a:cubicBezTo>
                <a:cubicBezTo>
                  <a:pt x="527863" y="1123856"/>
                  <a:pt x="552573" y="1099146"/>
                  <a:pt x="583057" y="1099146"/>
                </a:cubicBezTo>
                <a:close/>
                <a:moveTo>
                  <a:pt x="449413" y="1099146"/>
                </a:moveTo>
                <a:cubicBezTo>
                  <a:pt x="479896" y="1099146"/>
                  <a:pt x="504606" y="1123856"/>
                  <a:pt x="504606" y="1154337"/>
                </a:cubicBezTo>
                <a:cubicBezTo>
                  <a:pt x="504606" y="1184818"/>
                  <a:pt x="479896" y="1209528"/>
                  <a:pt x="449413" y="1209528"/>
                </a:cubicBezTo>
                <a:cubicBezTo>
                  <a:pt x="418931" y="1209528"/>
                  <a:pt x="394220" y="1184818"/>
                  <a:pt x="394220" y="1154337"/>
                </a:cubicBezTo>
                <a:cubicBezTo>
                  <a:pt x="394220" y="1123856"/>
                  <a:pt x="418931" y="1099146"/>
                  <a:pt x="449413" y="1099146"/>
                </a:cubicBezTo>
                <a:close/>
                <a:moveTo>
                  <a:pt x="9603343" y="975533"/>
                </a:moveTo>
                <a:cubicBezTo>
                  <a:pt x="9633825" y="975533"/>
                  <a:pt x="9658535" y="1000243"/>
                  <a:pt x="9658535" y="1030724"/>
                </a:cubicBezTo>
                <a:cubicBezTo>
                  <a:pt x="9658535" y="1061205"/>
                  <a:pt x="9633825" y="1085915"/>
                  <a:pt x="9603343" y="1085915"/>
                </a:cubicBezTo>
                <a:cubicBezTo>
                  <a:pt x="9572861" y="1085915"/>
                  <a:pt x="9548151" y="1061205"/>
                  <a:pt x="9548151" y="1030724"/>
                </a:cubicBezTo>
                <a:cubicBezTo>
                  <a:pt x="9548151" y="1000243"/>
                  <a:pt x="9572861" y="975533"/>
                  <a:pt x="9603343" y="975533"/>
                </a:cubicBezTo>
                <a:close/>
                <a:moveTo>
                  <a:pt x="9469708" y="975533"/>
                </a:moveTo>
                <a:cubicBezTo>
                  <a:pt x="9500190" y="975533"/>
                  <a:pt x="9524900" y="1000243"/>
                  <a:pt x="9524900" y="1030724"/>
                </a:cubicBezTo>
                <a:cubicBezTo>
                  <a:pt x="9524900" y="1061205"/>
                  <a:pt x="9500190" y="1085915"/>
                  <a:pt x="9469708" y="1085915"/>
                </a:cubicBezTo>
                <a:cubicBezTo>
                  <a:pt x="9439226" y="1085915"/>
                  <a:pt x="9414516" y="1061205"/>
                  <a:pt x="9414516" y="1030724"/>
                </a:cubicBezTo>
                <a:cubicBezTo>
                  <a:pt x="9414516" y="1000243"/>
                  <a:pt x="9439226" y="975533"/>
                  <a:pt x="9469708" y="975533"/>
                </a:cubicBezTo>
                <a:close/>
                <a:moveTo>
                  <a:pt x="8935170" y="975533"/>
                </a:moveTo>
                <a:cubicBezTo>
                  <a:pt x="8965652" y="975533"/>
                  <a:pt x="8990362" y="1000243"/>
                  <a:pt x="8990362" y="1030724"/>
                </a:cubicBezTo>
                <a:cubicBezTo>
                  <a:pt x="8990362" y="1061205"/>
                  <a:pt x="8965652" y="1085915"/>
                  <a:pt x="8935170" y="1085915"/>
                </a:cubicBezTo>
                <a:cubicBezTo>
                  <a:pt x="8904688" y="1085915"/>
                  <a:pt x="8879978" y="1061205"/>
                  <a:pt x="8879978" y="1030724"/>
                </a:cubicBezTo>
                <a:cubicBezTo>
                  <a:pt x="8879978" y="1000243"/>
                  <a:pt x="8904688" y="975533"/>
                  <a:pt x="8935170" y="975533"/>
                </a:cubicBezTo>
                <a:close/>
                <a:moveTo>
                  <a:pt x="8407315" y="975533"/>
                </a:moveTo>
                <a:cubicBezTo>
                  <a:pt x="8437797" y="975533"/>
                  <a:pt x="8462507" y="1000243"/>
                  <a:pt x="8462507" y="1030724"/>
                </a:cubicBezTo>
                <a:cubicBezTo>
                  <a:pt x="8462507" y="1061205"/>
                  <a:pt x="8437797" y="1085915"/>
                  <a:pt x="8407315" y="1085915"/>
                </a:cubicBezTo>
                <a:cubicBezTo>
                  <a:pt x="8376833" y="1085915"/>
                  <a:pt x="8352123" y="1061205"/>
                  <a:pt x="8352123" y="1030724"/>
                </a:cubicBezTo>
                <a:cubicBezTo>
                  <a:pt x="8352123" y="1000243"/>
                  <a:pt x="8376833" y="975533"/>
                  <a:pt x="8407315" y="975533"/>
                </a:cubicBezTo>
                <a:close/>
                <a:moveTo>
                  <a:pt x="7876116" y="975533"/>
                </a:moveTo>
                <a:cubicBezTo>
                  <a:pt x="7906598" y="975533"/>
                  <a:pt x="7931308" y="1000243"/>
                  <a:pt x="7931308" y="1030724"/>
                </a:cubicBezTo>
                <a:cubicBezTo>
                  <a:pt x="7931308" y="1061205"/>
                  <a:pt x="7906598" y="1085915"/>
                  <a:pt x="7876116" y="1085915"/>
                </a:cubicBezTo>
                <a:cubicBezTo>
                  <a:pt x="7845634" y="1085915"/>
                  <a:pt x="7820924" y="1061205"/>
                  <a:pt x="7820924" y="1030724"/>
                </a:cubicBezTo>
                <a:cubicBezTo>
                  <a:pt x="7820924" y="1000243"/>
                  <a:pt x="7845634" y="975533"/>
                  <a:pt x="7876116" y="975533"/>
                </a:cubicBezTo>
                <a:close/>
                <a:moveTo>
                  <a:pt x="7745822" y="975533"/>
                </a:moveTo>
                <a:cubicBezTo>
                  <a:pt x="7776304" y="975533"/>
                  <a:pt x="7801014" y="1000243"/>
                  <a:pt x="7801014" y="1030724"/>
                </a:cubicBezTo>
                <a:cubicBezTo>
                  <a:pt x="7801014" y="1061205"/>
                  <a:pt x="7776304" y="1085915"/>
                  <a:pt x="7745822" y="1085915"/>
                </a:cubicBezTo>
                <a:cubicBezTo>
                  <a:pt x="7715340" y="1085915"/>
                  <a:pt x="7690630" y="1061205"/>
                  <a:pt x="7690630" y="1030724"/>
                </a:cubicBezTo>
                <a:cubicBezTo>
                  <a:pt x="7690630" y="1000243"/>
                  <a:pt x="7715340" y="975533"/>
                  <a:pt x="7745822" y="975533"/>
                </a:cubicBezTo>
                <a:close/>
                <a:moveTo>
                  <a:pt x="7481894" y="975533"/>
                </a:moveTo>
                <a:cubicBezTo>
                  <a:pt x="7512376" y="975533"/>
                  <a:pt x="7537086" y="1000243"/>
                  <a:pt x="7537086" y="1030724"/>
                </a:cubicBezTo>
                <a:cubicBezTo>
                  <a:pt x="7537086" y="1061205"/>
                  <a:pt x="7512376" y="1085915"/>
                  <a:pt x="7481894" y="1085915"/>
                </a:cubicBezTo>
                <a:cubicBezTo>
                  <a:pt x="7451412" y="1085915"/>
                  <a:pt x="7426702" y="1061205"/>
                  <a:pt x="7426702" y="1030724"/>
                </a:cubicBezTo>
                <a:cubicBezTo>
                  <a:pt x="7426702" y="1000243"/>
                  <a:pt x="7451412" y="975533"/>
                  <a:pt x="7481894" y="975533"/>
                </a:cubicBezTo>
                <a:close/>
                <a:moveTo>
                  <a:pt x="7341578" y="975533"/>
                </a:moveTo>
                <a:cubicBezTo>
                  <a:pt x="7372060" y="975533"/>
                  <a:pt x="7396770" y="1000243"/>
                  <a:pt x="7396770" y="1030724"/>
                </a:cubicBezTo>
                <a:cubicBezTo>
                  <a:pt x="7396770" y="1061205"/>
                  <a:pt x="7372060" y="1085915"/>
                  <a:pt x="7341578" y="1085915"/>
                </a:cubicBezTo>
                <a:cubicBezTo>
                  <a:pt x="7311096" y="1085915"/>
                  <a:pt x="7286386" y="1061205"/>
                  <a:pt x="7286386" y="1030724"/>
                </a:cubicBezTo>
                <a:cubicBezTo>
                  <a:pt x="7286386" y="1000243"/>
                  <a:pt x="7311096" y="975533"/>
                  <a:pt x="7341578" y="975533"/>
                </a:cubicBezTo>
                <a:close/>
                <a:moveTo>
                  <a:pt x="7211285" y="975533"/>
                </a:moveTo>
                <a:cubicBezTo>
                  <a:pt x="7241767" y="975533"/>
                  <a:pt x="7266477" y="1000243"/>
                  <a:pt x="7266477" y="1030724"/>
                </a:cubicBezTo>
                <a:cubicBezTo>
                  <a:pt x="7266477" y="1061205"/>
                  <a:pt x="7241767" y="1085915"/>
                  <a:pt x="7211285" y="1085915"/>
                </a:cubicBezTo>
                <a:cubicBezTo>
                  <a:pt x="7180803" y="1085915"/>
                  <a:pt x="7156093" y="1061205"/>
                  <a:pt x="7156093" y="1030724"/>
                </a:cubicBezTo>
                <a:cubicBezTo>
                  <a:pt x="7156093" y="1000243"/>
                  <a:pt x="7180803" y="975533"/>
                  <a:pt x="7211285" y="975533"/>
                </a:cubicBezTo>
                <a:close/>
                <a:moveTo>
                  <a:pt x="6947356" y="975533"/>
                </a:moveTo>
                <a:cubicBezTo>
                  <a:pt x="6977838" y="975533"/>
                  <a:pt x="7002548" y="1000243"/>
                  <a:pt x="7002548" y="1030724"/>
                </a:cubicBezTo>
                <a:cubicBezTo>
                  <a:pt x="7002548" y="1061205"/>
                  <a:pt x="6977838" y="1085915"/>
                  <a:pt x="6947356" y="1085915"/>
                </a:cubicBezTo>
                <a:cubicBezTo>
                  <a:pt x="6916874" y="1085915"/>
                  <a:pt x="6892164" y="1061205"/>
                  <a:pt x="6892164" y="1030724"/>
                </a:cubicBezTo>
                <a:cubicBezTo>
                  <a:pt x="6892164" y="1000243"/>
                  <a:pt x="6916874" y="975533"/>
                  <a:pt x="6947356" y="975533"/>
                </a:cubicBezTo>
                <a:close/>
                <a:moveTo>
                  <a:pt x="6817063" y="975533"/>
                </a:moveTo>
                <a:cubicBezTo>
                  <a:pt x="6847545" y="975533"/>
                  <a:pt x="6872255" y="1000243"/>
                  <a:pt x="6872255" y="1030724"/>
                </a:cubicBezTo>
                <a:cubicBezTo>
                  <a:pt x="6872255" y="1061205"/>
                  <a:pt x="6847545" y="1085915"/>
                  <a:pt x="6817063" y="1085915"/>
                </a:cubicBezTo>
                <a:cubicBezTo>
                  <a:pt x="6786581" y="1085915"/>
                  <a:pt x="6761871" y="1061205"/>
                  <a:pt x="6761871" y="1030724"/>
                </a:cubicBezTo>
                <a:cubicBezTo>
                  <a:pt x="6761871" y="1000243"/>
                  <a:pt x="6786581" y="975533"/>
                  <a:pt x="6817063" y="975533"/>
                </a:cubicBezTo>
                <a:close/>
                <a:moveTo>
                  <a:pt x="6683430" y="975533"/>
                </a:moveTo>
                <a:cubicBezTo>
                  <a:pt x="6713912" y="975533"/>
                  <a:pt x="6738622" y="1000243"/>
                  <a:pt x="6738622" y="1030724"/>
                </a:cubicBezTo>
                <a:cubicBezTo>
                  <a:pt x="6738622" y="1061205"/>
                  <a:pt x="6713912" y="1085915"/>
                  <a:pt x="6683430" y="1085915"/>
                </a:cubicBezTo>
                <a:cubicBezTo>
                  <a:pt x="6652948" y="1085915"/>
                  <a:pt x="6628238" y="1061205"/>
                  <a:pt x="6628238" y="1030724"/>
                </a:cubicBezTo>
                <a:cubicBezTo>
                  <a:pt x="6628238" y="1000243"/>
                  <a:pt x="6652948" y="975533"/>
                  <a:pt x="6683430" y="975533"/>
                </a:cubicBezTo>
                <a:close/>
                <a:moveTo>
                  <a:pt x="6289206" y="975533"/>
                </a:moveTo>
                <a:cubicBezTo>
                  <a:pt x="6319688" y="975533"/>
                  <a:pt x="6344398" y="1000243"/>
                  <a:pt x="6344398" y="1030724"/>
                </a:cubicBezTo>
                <a:cubicBezTo>
                  <a:pt x="6344398" y="1061205"/>
                  <a:pt x="6319688" y="1085915"/>
                  <a:pt x="6289206" y="1085915"/>
                </a:cubicBezTo>
                <a:cubicBezTo>
                  <a:pt x="6258724" y="1085915"/>
                  <a:pt x="6234014" y="1061205"/>
                  <a:pt x="6234014" y="1030724"/>
                </a:cubicBezTo>
                <a:cubicBezTo>
                  <a:pt x="6234014" y="1000243"/>
                  <a:pt x="6258724" y="975533"/>
                  <a:pt x="6289206" y="975533"/>
                </a:cubicBezTo>
                <a:close/>
                <a:moveTo>
                  <a:pt x="5754667" y="975533"/>
                </a:moveTo>
                <a:cubicBezTo>
                  <a:pt x="5785149" y="975533"/>
                  <a:pt x="5809859" y="1000243"/>
                  <a:pt x="5809859" y="1030724"/>
                </a:cubicBezTo>
                <a:cubicBezTo>
                  <a:pt x="5809859" y="1061205"/>
                  <a:pt x="5785149" y="1085915"/>
                  <a:pt x="5754667" y="1085915"/>
                </a:cubicBezTo>
                <a:cubicBezTo>
                  <a:pt x="5724185" y="1085915"/>
                  <a:pt x="5699475" y="1061205"/>
                  <a:pt x="5699475" y="1030724"/>
                </a:cubicBezTo>
                <a:cubicBezTo>
                  <a:pt x="5699475" y="1000243"/>
                  <a:pt x="5724185" y="975533"/>
                  <a:pt x="5754667" y="975533"/>
                </a:cubicBezTo>
                <a:close/>
                <a:moveTo>
                  <a:pt x="5487398" y="975533"/>
                </a:moveTo>
                <a:cubicBezTo>
                  <a:pt x="5517880" y="975533"/>
                  <a:pt x="5542590" y="1000243"/>
                  <a:pt x="5542590" y="1030724"/>
                </a:cubicBezTo>
                <a:cubicBezTo>
                  <a:pt x="5542590" y="1061205"/>
                  <a:pt x="5517880" y="1085915"/>
                  <a:pt x="5487398" y="1085915"/>
                </a:cubicBezTo>
                <a:cubicBezTo>
                  <a:pt x="5456916" y="1085915"/>
                  <a:pt x="5432206" y="1061205"/>
                  <a:pt x="5432206" y="1030724"/>
                </a:cubicBezTo>
                <a:cubicBezTo>
                  <a:pt x="5432206" y="1000243"/>
                  <a:pt x="5456916" y="975533"/>
                  <a:pt x="5487398" y="975533"/>
                </a:cubicBezTo>
                <a:close/>
                <a:moveTo>
                  <a:pt x="5357105" y="975533"/>
                </a:moveTo>
                <a:cubicBezTo>
                  <a:pt x="5387587" y="975533"/>
                  <a:pt x="5412297" y="1000243"/>
                  <a:pt x="5412297" y="1030724"/>
                </a:cubicBezTo>
                <a:cubicBezTo>
                  <a:pt x="5412297" y="1061205"/>
                  <a:pt x="5387587" y="1085915"/>
                  <a:pt x="5357105" y="1085915"/>
                </a:cubicBezTo>
                <a:cubicBezTo>
                  <a:pt x="5326623" y="1085915"/>
                  <a:pt x="5301913" y="1061205"/>
                  <a:pt x="5301913" y="1030724"/>
                </a:cubicBezTo>
                <a:cubicBezTo>
                  <a:pt x="5301913" y="1000243"/>
                  <a:pt x="5326623" y="975533"/>
                  <a:pt x="5357105" y="975533"/>
                </a:cubicBezTo>
                <a:close/>
                <a:moveTo>
                  <a:pt x="5093176" y="975533"/>
                </a:moveTo>
                <a:cubicBezTo>
                  <a:pt x="5123658" y="975533"/>
                  <a:pt x="5148368" y="1000243"/>
                  <a:pt x="5148368" y="1030724"/>
                </a:cubicBezTo>
                <a:cubicBezTo>
                  <a:pt x="5148368" y="1061205"/>
                  <a:pt x="5123658" y="1085915"/>
                  <a:pt x="5093176" y="1085915"/>
                </a:cubicBezTo>
                <a:cubicBezTo>
                  <a:pt x="5062694" y="1085915"/>
                  <a:pt x="5037984" y="1061205"/>
                  <a:pt x="5037984" y="1030724"/>
                </a:cubicBezTo>
                <a:cubicBezTo>
                  <a:pt x="5037984" y="1000243"/>
                  <a:pt x="5062694" y="975533"/>
                  <a:pt x="5093176" y="975533"/>
                </a:cubicBezTo>
                <a:close/>
                <a:moveTo>
                  <a:pt x="4959540" y="975533"/>
                </a:moveTo>
                <a:cubicBezTo>
                  <a:pt x="4990022" y="975533"/>
                  <a:pt x="5014732" y="1000243"/>
                  <a:pt x="5014732" y="1030724"/>
                </a:cubicBezTo>
                <a:cubicBezTo>
                  <a:pt x="5014732" y="1061205"/>
                  <a:pt x="4990022" y="1085915"/>
                  <a:pt x="4959540" y="1085915"/>
                </a:cubicBezTo>
                <a:cubicBezTo>
                  <a:pt x="4929058" y="1085915"/>
                  <a:pt x="4904348" y="1061205"/>
                  <a:pt x="4904348" y="1030724"/>
                </a:cubicBezTo>
                <a:cubicBezTo>
                  <a:pt x="4904348" y="1000243"/>
                  <a:pt x="4929058" y="975533"/>
                  <a:pt x="4959540" y="975533"/>
                </a:cubicBezTo>
                <a:close/>
                <a:moveTo>
                  <a:pt x="4161075" y="975533"/>
                </a:moveTo>
                <a:cubicBezTo>
                  <a:pt x="4191557" y="975533"/>
                  <a:pt x="4216267" y="1000243"/>
                  <a:pt x="4216267" y="1030724"/>
                </a:cubicBezTo>
                <a:cubicBezTo>
                  <a:pt x="4216267" y="1061205"/>
                  <a:pt x="4191557" y="1085915"/>
                  <a:pt x="4161075" y="1085915"/>
                </a:cubicBezTo>
                <a:cubicBezTo>
                  <a:pt x="4130593" y="1085915"/>
                  <a:pt x="4105883" y="1061205"/>
                  <a:pt x="4105883" y="1030724"/>
                </a:cubicBezTo>
                <a:cubicBezTo>
                  <a:pt x="4105883" y="1000243"/>
                  <a:pt x="4130593" y="975533"/>
                  <a:pt x="4161075" y="975533"/>
                </a:cubicBezTo>
                <a:close/>
                <a:moveTo>
                  <a:pt x="4030782" y="975533"/>
                </a:moveTo>
                <a:cubicBezTo>
                  <a:pt x="4061264" y="975533"/>
                  <a:pt x="4085974" y="1000243"/>
                  <a:pt x="4085974" y="1030724"/>
                </a:cubicBezTo>
                <a:cubicBezTo>
                  <a:pt x="4085974" y="1061205"/>
                  <a:pt x="4061264" y="1085915"/>
                  <a:pt x="4030782" y="1085915"/>
                </a:cubicBezTo>
                <a:cubicBezTo>
                  <a:pt x="4000300" y="1085915"/>
                  <a:pt x="3975590" y="1061205"/>
                  <a:pt x="3975590" y="1030724"/>
                </a:cubicBezTo>
                <a:cubicBezTo>
                  <a:pt x="3975590" y="1000243"/>
                  <a:pt x="4000300" y="975533"/>
                  <a:pt x="4030782" y="975533"/>
                </a:cubicBezTo>
                <a:close/>
                <a:moveTo>
                  <a:pt x="3369290" y="975533"/>
                </a:moveTo>
                <a:cubicBezTo>
                  <a:pt x="3399772" y="975533"/>
                  <a:pt x="3424482" y="1000243"/>
                  <a:pt x="3424482" y="1030724"/>
                </a:cubicBezTo>
                <a:cubicBezTo>
                  <a:pt x="3424482" y="1061205"/>
                  <a:pt x="3399772" y="1085915"/>
                  <a:pt x="3369290" y="1085915"/>
                </a:cubicBezTo>
                <a:cubicBezTo>
                  <a:pt x="3338808" y="1085915"/>
                  <a:pt x="3314098" y="1061205"/>
                  <a:pt x="3314098" y="1030724"/>
                </a:cubicBezTo>
                <a:cubicBezTo>
                  <a:pt x="3314098" y="1000243"/>
                  <a:pt x="3338808" y="975533"/>
                  <a:pt x="3369290" y="975533"/>
                </a:cubicBezTo>
                <a:close/>
                <a:moveTo>
                  <a:pt x="2707880" y="975533"/>
                </a:moveTo>
                <a:cubicBezTo>
                  <a:pt x="2738363" y="975533"/>
                  <a:pt x="2763074" y="1000243"/>
                  <a:pt x="2763074" y="1030724"/>
                </a:cubicBezTo>
                <a:cubicBezTo>
                  <a:pt x="2763074" y="1061205"/>
                  <a:pt x="2738363" y="1085915"/>
                  <a:pt x="2707880" y="1085915"/>
                </a:cubicBezTo>
                <a:cubicBezTo>
                  <a:pt x="2677401" y="1085915"/>
                  <a:pt x="2652689" y="1061205"/>
                  <a:pt x="2652689" y="1030724"/>
                </a:cubicBezTo>
                <a:cubicBezTo>
                  <a:pt x="2652689" y="1000243"/>
                  <a:pt x="2677401" y="975533"/>
                  <a:pt x="2707880" y="975533"/>
                </a:cubicBezTo>
                <a:close/>
                <a:moveTo>
                  <a:pt x="2173347" y="975533"/>
                </a:moveTo>
                <a:cubicBezTo>
                  <a:pt x="2203830" y="975533"/>
                  <a:pt x="2228540" y="1000243"/>
                  <a:pt x="2228540" y="1030724"/>
                </a:cubicBezTo>
                <a:cubicBezTo>
                  <a:pt x="2228540" y="1061205"/>
                  <a:pt x="2203830" y="1085915"/>
                  <a:pt x="2173347" y="1085915"/>
                </a:cubicBezTo>
                <a:cubicBezTo>
                  <a:pt x="2142865" y="1085915"/>
                  <a:pt x="2118154" y="1061205"/>
                  <a:pt x="2118154" y="1030724"/>
                </a:cubicBezTo>
                <a:cubicBezTo>
                  <a:pt x="2118154" y="1000243"/>
                  <a:pt x="2142865" y="975533"/>
                  <a:pt x="2173347" y="975533"/>
                </a:cubicBezTo>
                <a:close/>
                <a:moveTo>
                  <a:pt x="1251258" y="975533"/>
                </a:moveTo>
                <a:cubicBezTo>
                  <a:pt x="1281740" y="975533"/>
                  <a:pt x="1306450" y="1000243"/>
                  <a:pt x="1306450" y="1030724"/>
                </a:cubicBezTo>
                <a:cubicBezTo>
                  <a:pt x="1306450" y="1061205"/>
                  <a:pt x="1281740" y="1085915"/>
                  <a:pt x="1251258" y="1085915"/>
                </a:cubicBezTo>
                <a:cubicBezTo>
                  <a:pt x="1220775" y="1085915"/>
                  <a:pt x="1196066" y="1061205"/>
                  <a:pt x="1196066" y="1030724"/>
                </a:cubicBezTo>
                <a:cubicBezTo>
                  <a:pt x="1196066" y="1000243"/>
                  <a:pt x="1220775" y="975533"/>
                  <a:pt x="1251258" y="975533"/>
                </a:cubicBezTo>
                <a:close/>
                <a:moveTo>
                  <a:pt x="847001" y="975533"/>
                </a:moveTo>
                <a:cubicBezTo>
                  <a:pt x="877484" y="975533"/>
                  <a:pt x="902196" y="1000243"/>
                  <a:pt x="902196" y="1030724"/>
                </a:cubicBezTo>
                <a:cubicBezTo>
                  <a:pt x="902196" y="1061205"/>
                  <a:pt x="877484" y="1085915"/>
                  <a:pt x="847001" y="1085915"/>
                </a:cubicBezTo>
                <a:cubicBezTo>
                  <a:pt x="816519" y="1085915"/>
                  <a:pt x="791804" y="1061205"/>
                  <a:pt x="791804" y="1030724"/>
                </a:cubicBezTo>
                <a:cubicBezTo>
                  <a:pt x="791804" y="1000243"/>
                  <a:pt x="816519" y="975533"/>
                  <a:pt x="847001" y="975533"/>
                </a:cubicBezTo>
                <a:close/>
                <a:moveTo>
                  <a:pt x="9336074" y="975532"/>
                </a:moveTo>
                <a:cubicBezTo>
                  <a:pt x="9366556" y="975532"/>
                  <a:pt x="9391266" y="1000242"/>
                  <a:pt x="9391266" y="1030723"/>
                </a:cubicBezTo>
                <a:cubicBezTo>
                  <a:pt x="9391266" y="1061204"/>
                  <a:pt x="9366556" y="1085914"/>
                  <a:pt x="9336074" y="1085914"/>
                </a:cubicBezTo>
                <a:cubicBezTo>
                  <a:pt x="9305592" y="1085914"/>
                  <a:pt x="9280882" y="1061204"/>
                  <a:pt x="9280882" y="1030723"/>
                </a:cubicBezTo>
                <a:cubicBezTo>
                  <a:pt x="9280882" y="1000242"/>
                  <a:pt x="9305592" y="975532"/>
                  <a:pt x="9336074" y="975532"/>
                </a:cubicBezTo>
                <a:close/>
                <a:moveTo>
                  <a:pt x="9199098" y="975532"/>
                </a:moveTo>
                <a:cubicBezTo>
                  <a:pt x="9229580" y="975532"/>
                  <a:pt x="9254290" y="1000242"/>
                  <a:pt x="9254290" y="1030723"/>
                </a:cubicBezTo>
                <a:cubicBezTo>
                  <a:pt x="9254290" y="1061204"/>
                  <a:pt x="9229580" y="1085914"/>
                  <a:pt x="9199098" y="1085914"/>
                </a:cubicBezTo>
                <a:cubicBezTo>
                  <a:pt x="9168616" y="1085914"/>
                  <a:pt x="9143906" y="1061204"/>
                  <a:pt x="9143906" y="1030723"/>
                </a:cubicBezTo>
                <a:cubicBezTo>
                  <a:pt x="9143906" y="1000242"/>
                  <a:pt x="9168616" y="975532"/>
                  <a:pt x="9199098" y="975532"/>
                </a:cubicBezTo>
                <a:close/>
                <a:moveTo>
                  <a:pt x="9068805" y="975532"/>
                </a:moveTo>
                <a:cubicBezTo>
                  <a:pt x="9099287" y="975532"/>
                  <a:pt x="9123997" y="1000242"/>
                  <a:pt x="9123997" y="1030723"/>
                </a:cubicBezTo>
                <a:cubicBezTo>
                  <a:pt x="9123997" y="1061204"/>
                  <a:pt x="9099287" y="1085914"/>
                  <a:pt x="9068805" y="1085914"/>
                </a:cubicBezTo>
                <a:cubicBezTo>
                  <a:pt x="9038323" y="1085914"/>
                  <a:pt x="9013613" y="1061204"/>
                  <a:pt x="9013613" y="1030723"/>
                </a:cubicBezTo>
                <a:cubicBezTo>
                  <a:pt x="9013613" y="1000242"/>
                  <a:pt x="9038323" y="975532"/>
                  <a:pt x="9068805" y="975532"/>
                </a:cubicBezTo>
                <a:close/>
                <a:moveTo>
                  <a:pt x="8801536" y="975532"/>
                </a:moveTo>
                <a:cubicBezTo>
                  <a:pt x="8832018" y="975532"/>
                  <a:pt x="8856728" y="1000242"/>
                  <a:pt x="8856728" y="1030723"/>
                </a:cubicBezTo>
                <a:cubicBezTo>
                  <a:pt x="8856728" y="1061204"/>
                  <a:pt x="8832018" y="1085914"/>
                  <a:pt x="8801536" y="1085914"/>
                </a:cubicBezTo>
                <a:cubicBezTo>
                  <a:pt x="8771054" y="1085914"/>
                  <a:pt x="8746344" y="1061204"/>
                  <a:pt x="8746344" y="1030723"/>
                </a:cubicBezTo>
                <a:cubicBezTo>
                  <a:pt x="8746344" y="1000242"/>
                  <a:pt x="8771054" y="975532"/>
                  <a:pt x="8801536" y="975532"/>
                </a:cubicBezTo>
                <a:close/>
                <a:moveTo>
                  <a:pt x="8671243" y="975532"/>
                </a:moveTo>
                <a:cubicBezTo>
                  <a:pt x="8701725" y="975532"/>
                  <a:pt x="8726435" y="1000242"/>
                  <a:pt x="8726435" y="1030723"/>
                </a:cubicBezTo>
                <a:cubicBezTo>
                  <a:pt x="8726435" y="1061204"/>
                  <a:pt x="8701725" y="1085914"/>
                  <a:pt x="8671243" y="1085914"/>
                </a:cubicBezTo>
                <a:cubicBezTo>
                  <a:pt x="8640761" y="1085914"/>
                  <a:pt x="8616051" y="1061204"/>
                  <a:pt x="8616051" y="1030723"/>
                </a:cubicBezTo>
                <a:cubicBezTo>
                  <a:pt x="8616051" y="1000242"/>
                  <a:pt x="8640761" y="975532"/>
                  <a:pt x="8671243" y="975532"/>
                </a:cubicBezTo>
                <a:close/>
                <a:moveTo>
                  <a:pt x="8537608" y="975532"/>
                </a:moveTo>
                <a:cubicBezTo>
                  <a:pt x="8568090" y="975532"/>
                  <a:pt x="8592800" y="1000242"/>
                  <a:pt x="8592800" y="1030723"/>
                </a:cubicBezTo>
                <a:cubicBezTo>
                  <a:pt x="8592800" y="1061204"/>
                  <a:pt x="8568090" y="1085914"/>
                  <a:pt x="8537608" y="1085914"/>
                </a:cubicBezTo>
                <a:cubicBezTo>
                  <a:pt x="8507126" y="1085914"/>
                  <a:pt x="8482416" y="1061204"/>
                  <a:pt x="8482416" y="1030723"/>
                </a:cubicBezTo>
                <a:cubicBezTo>
                  <a:pt x="8482416" y="1000242"/>
                  <a:pt x="8507126" y="975532"/>
                  <a:pt x="8537608" y="975532"/>
                </a:cubicBezTo>
                <a:close/>
                <a:moveTo>
                  <a:pt x="8273681" y="975532"/>
                </a:moveTo>
                <a:cubicBezTo>
                  <a:pt x="8304163" y="975532"/>
                  <a:pt x="8328873" y="1000242"/>
                  <a:pt x="8328873" y="1030723"/>
                </a:cubicBezTo>
                <a:cubicBezTo>
                  <a:pt x="8328873" y="1061204"/>
                  <a:pt x="8304163" y="1085914"/>
                  <a:pt x="8273681" y="1085914"/>
                </a:cubicBezTo>
                <a:cubicBezTo>
                  <a:pt x="8243199" y="1085914"/>
                  <a:pt x="8218489" y="1061204"/>
                  <a:pt x="8218489" y="1030723"/>
                </a:cubicBezTo>
                <a:cubicBezTo>
                  <a:pt x="8218489" y="1000242"/>
                  <a:pt x="8243199" y="975532"/>
                  <a:pt x="8273681" y="975532"/>
                </a:cubicBezTo>
                <a:close/>
                <a:moveTo>
                  <a:pt x="8143385" y="975532"/>
                </a:moveTo>
                <a:cubicBezTo>
                  <a:pt x="8173867" y="975532"/>
                  <a:pt x="8198577" y="1000242"/>
                  <a:pt x="8198577" y="1030723"/>
                </a:cubicBezTo>
                <a:cubicBezTo>
                  <a:pt x="8198577" y="1061204"/>
                  <a:pt x="8173867" y="1085914"/>
                  <a:pt x="8143385" y="1085914"/>
                </a:cubicBezTo>
                <a:cubicBezTo>
                  <a:pt x="8112903" y="1085914"/>
                  <a:pt x="8088193" y="1061204"/>
                  <a:pt x="8088193" y="1030723"/>
                </a:cubicBezTo>
                <a:cubicBezTo>
                  <a:pt x="8088193" y="1000242"/>
                  <a:pt x="8112903" y="975532"/>
                  <a:pt x="8143385" y="975532"/>
                </a:cubicBezTo>
                <a:close/>
                <a:moveTo>
                  <a:pt x="8009751" y="975532"/>
                </a:moveTo>
                <a:cubicBezTo>
                  <a:pt x="8040233" y="975532"/>
                  <a:pt x="8064943" y="1000242"/>
                  <a:pt x="8064943" y="1030723"/>
                </a:cubicBezTo>
                <a:cubicBezTo>
                  <a:pt x="8064943" y="1061204"/>
                  <a:pt x="8040233" y="1085914"/>
                  <a:pt x="8009751" y="1085914"/>
                </a:cubicBezTo>
                <a:cubicBezTo>
                  <a:pt x="7979269" y="1085914"/>
                  <a:pt x="7954559" y="1061204"/>
                  <a:pt x="7954559" y="1030723"/>
                </a:cubicBezTo>
                <a:cubicBezTo>
                  <a:pt x="7954559" y="1000242"/>
                  <a:pt x="7979269" y="975532"/>
                  <a:pt x="8009751" y="975532"/>
                </a:cubicBezTo>
                <a:close/>
                <a:moveTo>
                  <a:pt x="7608847" y="975532"/>
                </a:moveTo>
                <a:cubicBezTo>
                  <a:pt x="7639329" y="975532"/>
                  <a:pt x="7664039" y="1000242"/>
                  <a:pt x="7664039" y="1030723"/>
                </a:cubicBezTo>
                <a:cubicBezTo>
                  <a:pt x="7664039" y="1061204"/>
                  <a:pt x="7639329" y="1085914"/>
                  <a:pt x="7608847" y="1085914"/>
                </a:cubicBezTo>
                <a:cubicBezTo>
                  <a:pt x="7578365" y="1085914"/>
                  <a:pt x="7553655" y="1061204"/>
                  <a:pt x="7553655" y="1030723"/>
                </a:cubicBezTo>
                <a:cubicBezTo>
                  <a:pt x="7553655" y="1000242"/>
                  <a:pt x="7578365" y="975532"/>
                  <a:pt x="7608847" y="975532"/>
                </a:cubicBezTo>
                <a:close/>
                <a:moveTo>
                  <a:pt x="7080991" y="975532"/>
                </a:moveTo>
                <a:cubicBezTo>
                  <a:pt x="7111473" y="975532"/>
                  <a:pt x="7136183" y="1000242"/>
                  <a:pt x="7136183" y="1030723"/>
                </a:cubicBezTo>
                <a:cubicBezTo>
                  <a:pt x="7136183" y="1061204"/>
                  <a:pt x="7111473" y="1085914"/>
                  <a:pt x="7080991" y="1085914"/>
                </a:cubicBezTo>
                <a:cubicBezTo>
                  <a:pt x="7050509" y="1085914"/>
                  <a:pt x="7025799" y="1061204"/>
                  <a:pt x="7025799" y="1030723"/>
                </a:cubicBezTo>
                <a:cubicBezTo>
                  <a:pt x="7025799" y="1000242"/>
                  <a:pt x="7050509" y="975532"/>
                  <a:pt x="7080991" y="975532"/>
                </a:cubicBezTo>
                <a:close/>
                <a:moveTo>
                  <a:pt x="6553135" y="975532"/>
                </a:moveTo>
                <a:cubicBezTo>
                  <a:pt x="6583617" y="975532"/>
                  <a:pt x="6608327" y="1000242"/>
                  <a:pt x="6608327" y="1030723"/>
                </a:cubicBezTo>
                <a:cubicBezTo>
                  <a:pt x="6608327" y="1061204"/>
                  <a:pt x="6583617" y="1085914"/>
                  <a:pt x="6553135" y="1085914"/>
                </a:cubicBezTo>
                <a:cubicBezTo>
                  <a:pt x="6522653" y="1085914"/>
                  <a:pt x="6497943" y="1061204"/>
                  <a:pt x="6497943" y="1030723"/>
                </a:cubicBezTo>
                <a:cubicBezTo>
                  <a:pt x="6497943" y="1000242"/>
                  <a:pt x="6522653" y="975532"/>
                  <a:pt x="6553135" y="975532"/>
                </a:cubicBezTo>
                <a:close/>
                <a:moveTo>
                  <a:pt x="6419501" y="975532"/>
                </a:moveTo>
                <a:cubicBezTo>
                  <a:pt x="6449983" y="975532"/>
                  <a:pt x="6474693" y="1000242"/>
                  <a:pt x="6474693" y="1030723"/>
                </a:cubicBezTo>
                <a:cubicBezTo>
                  <a:pt x="6474693" y="1061204"/>
                  <a:pt x="6449983" y="1085914"/>
                  <a:pt x="6419501" y="1085914"/>
                </a:cubicBezTo>
                <a:cubicBezTo>
                  <a:pt x="6389019" y="1085914"/>
                  <a:pt x="6364309" y="1061204"/>
                  <a:pt x="6364309" y="1030723"/>
                </a:cubicBezTo>
                <a:cubicBezTo>
                  <a:pt x="6364309" y="1000242"/>
                  <a:pt x="6389019" y="975532"/>
                  <a:pt x="6419501" y="975532"/>
                </a:cubicBezTo>
                <a:close/>
                <a:moveTo>
                  <a:pt x="6155571" y="975532"/>
                </a:moveTo>
                <a:cubicBezTo>
                  <a:pt x="6186053" y="975532"/>
                  <a:pt x="6210763" y="1000242"/>
                  <a:pt x="6210763" y="1030723"/>
                </a:cubicBezTo>
                <a:cubicBezTo>
                  <a:pt x="6210763" y="1061204"/>
                  <a:pt x="6186053" y="1085914"/>
                  <a:pt x="6155571" y="1085914"/>
                </a:cubicBezTo>
                <a:cubicBezTo>
                  <a:pt x="6125089" y="1085914"/>
                  <a:pt x="6100379" y="1061204"/>
                  <a:pt x="6100379" y="1030723"/>
                </a:cubicBezTo>
                <a:cubicBezTo>
                  <a:pt x="6100379" y="1000242"/>
                  <a:pt x="6125089" y="975532"/>
                  <a:pt x="6155571" y="975532"/>
                </a:cubicBezTo>
                <a:close/>
                <a:moveTo>
                  <a:pt x="6021936" y="975532"/>
                </a:moveTo>
                <a:cubicBezTo>
                  <a:pt x="6052418" y="975532"/>
                  <a:pt x="6077128" y="1000242"/>
                  <a:pt x="6077128" y="1030723"/>
                </a:cubicBezTo>
                <a:cubicBezTo>
                  <a:pt x="6077128" y="1061204"/>
                  <a:pt x="6052418" y="1085914"/>
                  <a:pt x="6021936" y="1085914"/>
                </a:cubicBezTo>
                <a:cubicBezTo>
                  <a:pt x="5991454" y="1085914"/>
                  <a:pt x="5966744" y="1061204"/>
                  <a:pt x="5966744" y="1030723"/>
                </a:cubicBezTo>
                <a:cubicBezTo>
                  <a:pt x="5966744" y="1000242"/>
                  <a:pt x="5991454" y="975532"/>
                  <a:pt x="6021936" y="975532"/>
                </a:cubicBezTo>
                <a:close/>
                <a:moveTo>
                  <a:pt x="5884963" y="975532"/>
                </a:moveTo>
                <a:cubicBezTo>
                  <a:pt x="5915445" y="975532"/>
                  <a:pt x="5940155" y="1000242"/>
                  <a:pt x="5940155" y="1030723"/>
                </a:cubicBezTo>
                <a:cubicBezTo>
                  <a:pt x="5940155" y="1061204"/>
                  <a:pt x="5915445" y="1085914"/>
                  <a:pt x="5884963" y="1085914"/>
                </a:cubicBezTo>
                <a:cubicBezTo>
                  <a:pt x="5854481" y="1085914"/>
                  <a:pt x="5829771" y="1061204"/>
                  <a:pt x="5829771" y="1030723"/>
                </a:cubicBezTo>
                <a:cubicBezTo>
                  <a:pt x="5829771" y="1000242"/>
                  <a:pt x="5854481" y="975532"/>
                  <a:pt x="5884963" y="975532"/>
                </a:cubicBezTo>
                <a:close/>
                <a:moveTo>
                  <a:pt x="5621031" y="975532"/>
                </a:moveTo>
                <a:cubicBezTo>
                  <a:pt x="5651513" y="975532"/>
                  <a:pt x="5676223" y="1000242"/>
                  <a:pt x="5676223" y="1030723"/>
                </a:cubicBezTo>
                <a:cubicBezTo>
                  <a:pt x="5676223" y="1061204"/>
                  <a:pt x="5651513" y="1085914"/>
                  <a:pt x="5621031" y="1085914"/>
                </a:cubicBezTo>
                <a:cubicBezTo>
                  <a:pt x="5590549" y="1085914"/>
                  <a:pt x="5565839" y="1061204"/>
                  <a:pt x="5565839" y="1030723"/>
                </a:cubicBezTo>
                <a:cubicBezTo>
                  <a:pt x="5565839" y="1000242"/>
                  <a:pt x="5590549" y="975532"/>
                  <a:pt x="5621031" y="975532"/>
                </a:cubicBezTo>
                <a:close/>
                <a:moveTo>
                  <a:pt x="5223472" y="975532"/>
                </a:moveTo>
                <a:cubicBezTo>
                  <a:pt x="5253954" y="975532"/>
                  <a:pt x="5278664" y="1000242"/>
                  <a:pt x="5278664" y="1030723"/>
                </a:cubicBezTo>
                <a:cubicBezTo>
                  <a:pt x="5278664" y="1061204"/>
                  <a:pt x="5253954" y="1085914"/>
                  <a:pt x="5223472" y="1085914"/>
                </a:cubicBezTo>
                <a:cubicBezTo>
                  <a:pt x="5192990" y="1085914"/>
                  <a:pt x="5168280" y="1061204"/>
                  <a:pt x="5168280" y="1030723"/>
                </a:cubicBezTo>
                <a:cubicBezTo>
                  <a:pt x="5168280" y="1000242"/>
                  <a:pt x="5192990" y="975532"/>
                  <a:pt x="5223472" y="975532"/>
                </a:cubicBezTo>
                <a:close/>
                <a:moveTo>
                  <a:pt x="4294710" y="975532"/>
                </a:moveTo>
                <a:cubicBezTo>
                  <a:pt x="4325192" y="975532"/>
                  <a:pt x="4349902" y="1000242"/>
                  <a:pt x="4349902" y="1030723"/>
                </a:cubicBezTo>
                <a:cubicBezTo>
                  <a:pt x="4349902" y="1061204"/>
                  <a:pt x="4325192" y="1085914"/>
                  <a:pt x="4294710" y="1085914"/>
                </a:cubicBezTo>
                <a:cubicBezTo>
                  <a:pt x="4264228" y="1085914"/>
                  <a:pt x="4239518" y="1061204"/>
                  <a:pt x="4239518" y="1030723"/>
                </a:cubicBezTo>
                <a:cubicBezTo>
                  <a:pt x="4239518" y="1000242"/>
                  <a:pt x="4264228" y="975532"/>
                  <a:pt x="4294710" y="975532"/>
                </a:cubicBezTo>
                <a:close/>
                <a:moveTo>
                  <a:pt x="3499584" y="975532"/>
                </a:moveTo>
                <a:cubicBezTo>
                  <a:pt x="3530066" y="975532"/>
                  <a:pt x="3554776" y="1000242"/>
                  <a:pt x="3554776" y="1030723"/>
                </a:cubicBezTo>
                <a:cubicBezTo>
                  <a:pt x="3554776" y="1061204"/>
                  <a:pt x="3530066" y="1085914"/>
                  <a:pt x="3499584" y="1085914"/>
                </a:cubicBezTo>
                <a:cubicBezTo>
                  <a:pt x="3469102" y="1085914"/>
                  <a:pt x="3444392" y="1061204"/>
                  <a:pt x="3444392" y="1030723"/>
                </a:cubicBezTo>
                <a:cubicBezTo>
                  <a:pt x="3444392" y="1000242"/>
                  <a:pt x="3469102" y="975532"/>
                  <a:pt x="3499584" y="975532"/>
                </a:cubicBezTo>
                <a:close/>
                <a:moveTo>
                  <a:pt x="2834836" y="975532"/>
                </a:moveTo>
                <a:cubicBezTo>
                  <a:pt x="2865318" y="975532"/>
                  <a:pt x="2890028" y="1000242"/>
                  <a:pt x="2890028" y="1030723"/>
                </a:cubicBezTo>
                <a:cubicBezTo>
                  <a:pt x="2890028" y="1061204"/>
                  <a:pt x="2865318" y="1085914"/>
                  <a:pt x="2834836" y="1085914"/>
                </a:cubicBezTo>
                <a:cubicBezTo>
                  <a:pt x="2804354" y="1085914"/>
                  <a:pt x="2779643" y="1061204"/>
                  <a:pt x="2779643" y="1030723"/>
                </a:cubicBezTo>
                <a:cubicBezTo>
                  <a:pt x="2779643" y="1000242"/>
                  <a:pt x="2804354" y="975532"/>
                  <a:pt x="2834836" y="975532"/>
                </a:cubicBezTo>
                <a:close/>
                <a:moveTo>
                  <a:pt x="2303639" y="975532"/>
                </a:moveTo>
                <a:cubicBezTo>
                  <a:pt x="2334120" y="975532"/>
                  <a:pt x="2358830" y="1000242"/>
                  <a:pt x="2358830" y="1030723"/>
                </a:cubicBezTo>
                <a:cubicBezTo>
                  <a:pt x="2358830" y="1061204"/>
                  <a:pt x="2334120" y="1085914"/>
                  <a:pt x="2303639" y="1085914"/>
                </a:cubicBezTo>
                <a:cubicBezTo>
                  <a:pt x="2273157" y="1085914"/>
                  <a:pt x="2248448" y="1061204"/>
                  <a:pt x="2248448" y="1030723"/>
                </a:cubicBezTo>
                <a:cubicBezTo>
                  <a:pt x="2248448" y="1000242"/>
                  <a:pt x="2273157" y="975532"/>
                  <a:pt x="2303639" y="975532"/>
                </a:cubicBezTo>
                <a:close/>
                <a:moveTo>
                  <a:pt x="2039712" y="975532"/>
                </a:moveTo>
                <a:cubicBezTo>
                  <a:pt x="2070195" y="975532"/>
                  <a:pt x="2094905" y="1000242"/>
                  <a:pt x="2094905" y="1030723"/>
                </a:cubicBezTo>
                <a:cubicBezTo>
                  <a:pt x="2094905" y="1061204"/>
                  <a:pt x="2070195" y="1085914"/>
                  <a:pt x="2039712" y="1085914"/>
                </a:cubicBezTo>
                <a:cubicBezTo>
                  <a:pt x="2009228" y="1085914"/>
                  <a:pt x="1984518" y="1061204"/>
                  <a:pt x="1984518" y="1030723"/>
                </a:cubicBezTo>
                <a:cubicBezTo>
                  <a:pt x="1984518" y="1000242"/>
                  <a:pt x="2009228" y="975532"/>
                  <a:pt x="2039712" y="975532"/>
                </a:cubicBezTo>
                <a:close/>
                <a:moveTo>
                  <a:pt x="1909414" y="975532"/>
                </a:moveTo>
                <a:cubicBezTo>
                  <a:pt x="1939897" y="975532"/>
                  <a:pt x="1964607" y="1000242"/>
                  <a:pt x="1964607" y="1030723"/>
                </a:cubicBezTo>
                <a:cubicBezTo>
                  <a:pt x="1964607" y="1061204"/>
                  <a:pt x="1939897" y="1085914"/>
                  <a:pt x="1909414" y="1085914"/>
                </a:cubicBezTo>
                <a:cubicBezTo>
                  <a:pt x="1878931" y="1085914"/>
                  <a:pt x="1854220" y="1061204"/>
                  <a:pt x="1854220" y="1030723"/>
                </a:cubicBezTo>
                <a:cubicBezTo>
                  <a:pt x="1854220" y="1000242"/>
                  <a:pt x="1878931" y="975532"/>
                  <a:pt x="1909414" y="975532"/>
                </a:cubicBezTo>
                <a:close/>
                <a:moveTo>
                  <a:pt x="1779117" y="975532"/>
                </a:moveTo>
                <a:cubicBezTo>
                  <a:pt x="1809599" y="975532"/>
                  <a:pt x="1834310" y="1000242"/>
                  <a:pt x="1834310" y="1030723"/>
                </a:cubicBezTo>
                <a:cubicBezTo>
                  <a:pt x="1834310" y="1061204"/>
                  <a:pt x="1809599" y="1085914"/>
                  <a:pt x="1779117" y="1085914"/>
                </a:cubicBezTo>
                <a:cubicBezTo>
                  <a:pt x="1748635" y="1085914"/>
                  <a:pt x="1723923" y="1061204"/>
                  <a:pt x="1723923" y="1030723"/>
                </a:cubicBezTo>
                <a:cubicBezTo>
                  <a:pt x="1723923" y="1000242"/>
                  <a:pt x="1748635" y="975532"/>
                  <a:pt x="1779117" y="975532"/>
                </a:cubicBezTo>
                <a:close/>
                <a:moveTo>
                  <a:pt x="1645480" y="975532"/>
                </a:moveTo>
                <a:cubicBezTo>
                  <a:pt x="1675963" y="975532"/>
                  <a:pt x="1700679" y="1000242"/>
                  <a:pt x="1700679" y="1030723"/>
                </a:cubicBezTo>
                <a:cubicBezTo>
                  <a:pt x="1700679" y="1061204"/>
                  <a:pt x="1675963" y="1085914"/>
                  <a:pt x="1645480" y="1085914"/>
                </a:cubicBezTo>
                <a:cubicBezTo>
                  <a:pt x="1615000" y="1085914"/>
                  <a:pt x="1590287" y="1061204"/>
                  <a:pt x="1590287" y="1030723"/>
                </a:cubicBezTo>
                <a:cubicBezTo>
                  <a:pt x="1590287" y="1000242"/>
                  <a:pt x="1615000" y="975532"/>
                  <a:pt x="1645480" y="975532"/>
                </a:cubicBezTo>
                <a:close/>
                <a:moveTo>
                  <a:pt x="1515189" y="975532"/>
                </a:moveTo>
                <a:cubicBezTo>
                  <a:pt x="1545668" y="975532"/>
                  <a:pt x="1570378" y="1000242"/>
                  <a:pt x="1570378" y="1030723"/>
                </a:cubicBezTo>
                <a:cubicBezTo>
                  <a:pt x="1570378" y="1061204"/>
                  <a:pt x="1545668" y="1085914"/>
                  <a:pt x="1515189" y="1085914"/>
                </a:cubicBezTo>
                <a:cubicBezTo>
                  <a:pt x="1484708" y="1085914"/>
                  <a:pt x="1459995" y="1061204"/>
                  <a:pt x="1459995" y="1030723"/>
                </a:cubicBezTo>
                <a:cubicBezTo>
                  <a:pt x="1459995" y="1000242"/>
                  <a:pt x="1484708" y="975532"/>
                  <a:pt x="1515189" y="975532"/>
                </a:cubicBezTo>
                <a:close/>
                <a:moveTo>
                  <a:pt x="1381549" y="975532"/>
                </a:moveTo>
                <a:cubicBezTo>
                  <a:pt x="1412033" y="975532"/>
                  <a:pt x="1436744" y="1000242"/>
                  <a:pt x="1436744" y="1030723"/>
                </a:cubicBezTo>
                <a:cubicBezTo>
                  <a:pt x="1436744" y="1061204"/>
                  <a:pt x="1412033" y="1085914"/>
                  <a:pt x="1381549" y="1085914"/>
                </a:cubicBezTo>
                <a:cubicBezTo>
                  <a:pt x="1351074" y="1085914"/>
                  <a:pt x="1326361" y="1061204"/>
                  <a:pt x="1326361" y="1030723"/>
                </a:cubicBezTo>
                <a:cubicBezTo>
                  <a:pt x="1326361" y="1000242"/>
                  <a:pt x="1351074" y="975532"/>
                  <a:pt x="1381549" y="975532"/>
                </a:cubicBezTo>
                <a:close/>
                <a:moveTo>
                  <a:pt x="1117621" y="975532"/>
                </a:moveTo>
                <a:cubicBezTo>
                  <a:pt x="1148103" y="975532"/>
                  <a:pt x="1172814" y="1000242"/>
                  <a:pt x="1172814" y="1030723"/>
                </a:cubicBezTo>
                <a:cubicBezTo>
                  <a:pt x="1172814" y="1061204"/>
                  <a:pt x="1148103" y="1085914"/>
                  <a:pt x="1117621" y="1085914"/>
                </a:cubicBezTo>
                <a:cubicBezTo>
                  <a:pt x="1087137" y="1085914"/>
                  <a:pt x="1062427" y="1061204"/>
                  <a:pt x="1062427" y="1030723"/>
                </a:cubicBezTo>
                <a:cubicBezTo>
                  <a:pt x="1062427" y="1000242"/>
                  <a:pt x="1087137" y="975532"/>
                  <a:pt x="1117621" y="975532"/>
                </a:cubicBezTo>
                <a:close/>
                <a:moveTo>
                  <a:pt x="980643" y="975532"/>
                </a:moveTo>
                <a:cubicBezTo>
                  <a:pt x="1011125" y="975532"/>
                  <a:pt x="1035836" y="1000242"/>
                  <a:pt x="1035836" y="1030723"/>
                </a:cubicBezTo>
                <a:cubicBezTo>
                  <a:pt x="1035836" y="1061204"/>
                  <a:pt x="1011125" y="1085914"/>
                  <a:pt x="980643" y="1085914"/>
                </a:cubicBezTo>
                <a:cubicBezTo>
                  <a:pt x="950159" y="1085914"/>
                  <a:pt x="925449" y="1061204"/>
                  <a:pt x="925449" y="1030723"/>
                </a:cubicBezTo>
                <a:cubicBezTo>
                  <a:pt x="925449" y="1000242"/>
                  <a:pt x="950159" y="975532"/>
                  <a:pt x="980643" y="975532"/>
                </a:cubicBezTo>
                <a:close/>
                <a:moveTo>
                  <a:pt x="716703" y="975532"/>
                </a:moveTo>
                <a:cubicBezTo>
                  <a:pt x="747185" y="975532"/>
                  <a:pt x="771897" y="1000242"/>
                  <a:pt x="771897" y="1030723"/>
                </a:cubicBezTo>
                <a:cubicBezTo>
                  <a:pt x="771897" y="1061204"/>
                  <a:pt x="747185" y="1085914"/>
                  <a:pt x="716703" y="1085914"/>
                </a:cubicBezTo>
                <a:cubicBezTo>
                  <a:pt x="686222" y="1085914"/>
                  <a:pt x="661511" y="1061204"/>
                  <a:pt x="661511" y="1030723"/>
                </a:cubicBezTo>
                <a:cubicBezTo>
                  <a:pt x="661511" y="1000242"/>
                  <a:pt x="686222" y="975532"/>
                  <a:pt x="716703" y="975532"/>
                </a:cubicBezTo>
                <a:close/>
                <a:moveTo>
                  <a:pt x="583065" y="975532"/>
                </a:moveTo>
                <a:cubicBezTo>
                  <a:pt x="613549" y="975532"/>
                  <a:pt x="638258" y="1000242"/>
                  <a:pt x="638258" y="1030723"/>
                </a:cubicBezTo>
                <a:cubicBezTo>
                  <a:pt x="638258" y="1061204"/>
                  <a:pt x="613549" y="1085914"/>
                  <a:pt x="583065" y="1085914"/>
                </a:cubicBezTo>
                <a:cubicBezTo>
                  <a:pt x="552583" y="1085914"/>
                  <a:pt x="527871" y="1061204"/>
                  <a:pt x="527871" y="1030723"/>
                </a:cubicBezTo>
                <a:cubicBezTo>
                  <a:pt x="527871" y="1000242"/>
                  <a:pt x="552583" y="975532"/>
                  <a:pt x="583065" y="975532"/>
                </a:cubicBezTo>
                <a:close/>
                <a:moveTo>
                  <a:pt x="449419" y="975532"/>
                </a:moveTo>
                <a:cubicBezTo>
                  <a:pt x="479902" y="975532"/>
                  <a:pt x="504612" y="1000242"/>
                  <a:pt x="504612" y="1030723"/>
                </a:cubicBezTo>
                <a:cubicBezTo>
                  <a:pt x="504612" y="1061204"/>
                  <a:pt x="479902" y="1085914"/>
                  <a:pt x="449419" y="1085914"/>
                </a:cubicBezTo>
                <a:cubicBezTo>
                  <a:pt x="418936" y="1085914"/>
                  <a:pt x="394227" y="1061204"/>
                  <a:pt x="394227" y="1030723"/>
                </a:cubicBezTo>
                <a:cubicBezTo>
                  <a:pt x="394227" y="1000242"/>
                  <a:pt x="418936" y="975532"/>
                  <a:pt x="449419" y="975532"/>
                </a:cubicBezTo>
                <a:close/>
                <a:moveTo>
                  <a:pt x="319124" y="975532"/>
                </a:moveTo>
                <a:cubicBezTo>
                  <a:pt x="349606" y="975532"/>
                  <a:pt x="374317" y="1000242"/>
                  <a:pt x="374317" y="1030723"/>
                </a:cubicBezTo>
                <a:cubicBezTo>
                  <a:pt x="374317" y="1061204"/>
                  <a:pt x="349606" y="1085914"/>
                  <a:pt x="319124" y="1085914"/>
                </a:cubicBezTo>
                <a:cubicBezTo>
                  <a:pt x="288640" y="1085914"/>
                  <a:pt x="263931" y="1061204"/>
                  <a:pt x="263931" y="1030723"/>
                </a:cubicBezTo>
                <a:cubicBezTo>
                  <a:pt x="263931" y="1000242"/>
                  <a:pt x="288640" y="975532"/>
                  <a:pt x="319124" y="975532"/>
                </a:cubicBezTo>
                <a:close/>
                <a:moveTo>
                  <a:pt x="185492" y="975532"/>
                </a:moveTo>
                <a:cubicBezTo>
                  <a:pt x="215972" y="975532"/>
                  <a:pt x="240682" y="1000242"/>
                  <a:pt x="240682" y="1030723"/>
                </a:cubicBezTo>
                <a:cubicBezTo>
                  <a:pt x="240682" y="1061204"/>
                  <a:pt x="215972" y="1085914"/>
                  <a:pt x="185492" y="1085914"/>
                </a:cubicBezTo>
                <a:cubicBezTo>
                  <a:pt x="155010" y="1085914"/>
                  <a:pt x="130299" y="1061204"/>
                  <a:pt x="130299" y="1030723"/>
                </a:cubicBezTo>
                <a:cubicBezTo>
                  <a:pt x="130299" y="1000242"/>
                  <a:pt x="155010" y="975532"/>
                  <a:pt x="185492" y="975532"/>
                </a:cubicBezTo>
                <a:close/>
                <a:moveTo>
                  <a:pt x="55197" y="975532"/>
                </a:moveTo>
                <a:cubicBezTo>
                  <a:pt x="85679" y="975532"/>
                  <a:pt x="110388" y="1000242"/>
                  <a:pt x="110388" y="1030723"/>
                </a:cubicBezTo>
                <a:cubicBezTo>
                  <a:pt x="110388" y="1061204"/>
                  <a:pt x="85679" y="1085914"/>
                  <a:pt x="55197" y="1085914"/>
                </a:cubicBezTo>
                <a:cubicBezTo>
                  <a:pt x="24715" y="1085914"/>
                  <a:pt x="7" y="1061204"/>
                  <a:pt x="7" y="1030723"/>
                </a:cubicBezTo>
                <a:cubicBezTo>
                  <a:pt x="7" y="1000242"/>
                  <a:pt x="24715" y="975532"/>
                  <a:pt x="55197" y="975532"/>
                </a:cubicBezTo>
                <a:close/>
                <a:moveTo>
                  <a:pt x="9469710" y="855263"/>
                </a:moveTo>
                <a:cubicBezTo>
                  <a:pt x="9500192" y="855263"/>
                  <a:pt x="9524902" y="879973"/>
                  <a:pt x="9524902" y="910454"/>
                </a:cubicBezTo>
                <a:cubicBezTo>
                  <a:pt x="9524902" y="940935"/>
                  <a:pt x="9500192" y="965645"/>
                  <a:pt x="9469710" y="965645"/>
                </a:cubicBezTo>
                <a:cubicBezTo>
                  <a:pt x="9439228" y="965645"/>
                  <a:pt x="9414518" y="940935"/>
                  <a:pt x="9414518" y="910454"/>
                </a:cubicBezTo>
                <a:cubicBezTo>
                  <a:pt x="9414518" y="879973"/>
                  <a:pt x="9439228" y="855263"/>
                  <a:pt x="9469710" y="855263"/>
                </a:cubicBezTo>
                <a:close/>
                <a:moveTo>
                  <a:pt x="9336075" y="855263"/>
                </a:moveTo>
                <a:cubicBezTo>
                  <a:pt x="9366557" y="855263"/>
                  <a:pt x="9391267" y="879973"/>
                  <a:pt x="9391267" y="910454"/>
                </a:cubicBezTo>
                <a:cubicBezTo>
                  <a:pt x="9391267" y="940935"/>
                  <a:pt x="9366557" y="965645"/>
                  <a:pt x="9336075" y="965645"/>
                </a:cubicBezTo>
                <a:cubicBezTo>
                  <a:pt x="9305593" y="965645"/>
                  <a:pt x="9280883" y="940935"/>
                  <a:pt x="9280883" y="910454"/>
                </a:cubicBezTo>
                <a:cubicBezTo>
                  <a:pt x="9280883" y="879973"/>
                  <a:pt x="9305593" y="855263"/>
                  <a:pt x="9336075" y="855263"/>
                </a:cubicBezTo>
                <a:close/>
                <a:moveTo>
                  <a:pt x="9199100" y="855263"/>
                </a:moveTo>
                <a:cubicBezTo>
                  <a:pt x="9229582" y="855263"/>
                  <a:pt x="9254292" y="879973"/>
                  <a:pt x="9254292" y="910454"/>
                </a:cubicBezTo>
                <a:cubicBezTo>
                  <a:pt x="9254292" y="940935"/>
                  <a:pt x="9229582" y="965645"/>
                  <a:pt x="9199100" y="965645"/>
                </a:cubicBezTo>
                <a:cubicBezTo>
                  <a:pt x="9168618" y="965645"/>
                  <a:pt x="9143908" y="940935"/>
                  <a:pt x="9143908" y="910454"/>
                </a:cubicBezTo>
                <a:cubicBezTo>
                  <a:pt x="9143908" y="879973"/>
                  <a:pt x="9168618" y="855263"/>
                  <a:pt x="9199100" y="855263"/>
                </a:cubicBezTo>
                <a:close/>
                <a:moveTo>
                  <a:pt x="9068806" y="855263"/>
                </a:moveTo>
                <a:cubicBezTo>
                  <a:pt x="9099288" y="855263"/>
                  <a:pt x="9123998" y="879973"/>
                  <a:pt x="9123998" y="910454"/>
                </a:cubicBezTo>
                <a:cubicBezTo>
                  <a:pt x="9123998" y="940935"/>
                  <a:pt x="9099288" y="965645"/>
                  <a:pt x="9068806" y="965645"/>
                </a:cubicBezTo>
                <a:cubicBezTo>
                  <a:pt x="9038324" y="965645"/>
                  <a:pt x="9013614" y="940935"/>
                  <a:pt x="9013614" y="910454"/>
                </a:cubicBezTo>
                <a:cubicBezTo>
                  <a:pt x="9013614" y="879973"/>
                  <a:pt x="9038324" y="855263"/>
                  <a:pt x="9068806" y="855263"/>
                </a:cubicBezTo>
                <a:close/>
                <a:moveTo>
                  <a:pt x="8935170" y="855263"/>
                </a:moveTo>
                <a:cubicBezTo>
                  <a:pt x="8965652" y="855263"/>
                  <a:pt x="8990362" y="879973"/>
                  <a:pt x="8990362" y="910454"/>
                </a:cubicBezTo>
                <a:cubicBezTo>
                  <a:pt x="8990362" y="940935"/>
                  <a:pt x="8965652" y="965645"/>
                  <a:pt x="8935170" y="965645"/>
                </a:cubicBezTo>
                <a:cubicBezTo>
                  <a:pt x="8904688" y="965645"/>
                  <a:pt x="8879978" y="940935"/>
                  <a:pt x="8879978" y="910454"/>
                </a:cubicBezTo>
                <a:cubicBezTo>
                  <a:pt x="8879978" y="879973"/>
                  <a:pt x="8904688" y="855263"/>
                  <a:pt x="8935170" y="855263"/>
                </a:cubicBezTo>
                <a:close/>
                <a:moveTo>
                  <a:pt x="8801536" y="855263"/>
                </a:moveTo>
                <a:cubicBezTo>
                  <a:pt x="8832018" y="855263"/>
                  <a:pt x="8856728" y="879973"/>
                  <a:pt x="8856728" y="910454"/>
                </a:cubicBezTo>
                <a:cubicBezTo>
                  <a:pt x="8856728" y="940935"/>
                  <a:pt x="8832018" y="965645"/>
                  <a:pt x="8801536" y="965645"/>
                </a:cubicBezTo>
                <a:cubicBezTo>
                  <a:pt x="8771054" y="965645"/>
                  <a:pt x="8746344" y="940935"/>
                  <a:pt x="8746344" y="910454"/>
                </a:cubicBezTo>
                <a:cubicBezTo>
                  <a:pt x="8746344" y="879973"/>
                  <a:pt x="8771054" y="855263"/>
                  <a:pt x="8801536" y="855263"/>
                </a:cubicBezTo>
                <a:close/>
                <a:moveTo>
                  <a:pt x="8671243" y="855263"/>
                </a:moveTo>
                <a:cubicBezTo>
                  <a:pt x="8701725" y="855263"/>
                  <a:pt x="8726435" y="879973"/>
                  <a:pt x="8726435" y="910454"/>
                </a:cubicBezTo>
                <a:cubicBezTo>
                  <a:pt x="8726435" y="940935"/>
                  <a:pt x="8701725" y="965645"/>
                  <a:pt x="8671243" y="965645"/>
                </a:cubicBezTo>
                <a:cubicBezTo>
                  <a:pt x="8640761" y="965645"/>
                  <a:pt x="8616051" y="940935"/>
                  <a:pt x="8616051" y="910454"/>
                </a:cubicBezTo>
                <a:cubicBezTo>
                  <a:pt x="8616051" y="879973"/>
                  <a:pt x="8640761" y="855263"/>
                  <a:pt x="8671243" y="855263"/>
                </a:cubicBezTo>
                <a:close/>
                <a:moveTo>
                  <a:pt x="8537609" y="855263"/>
                </a:moveTo>
                <a:cubicBezTo>
                  <a:pt x="8568091" y="855263"/>
                  <a:pt x="8592801" y="879973"/>
                  <a:pt x="8592801" y="910454"/>
                </a:cubicBezTo>
                <a:cubicBezTo>
                  <a:pt x="8592801" y="940935"/>
                  <a:pt x="8568091" y="965645"/>
                  <a:pt x="8537609" y="965645"/>
                </a:cubicBezTo>
                <a:cubicBezTo>
                  <a:pt x="8507127" y="965645"/>
                  <a:pt x="8482417" y="940935"/>
                  <a:pt x="8482417" y="910454"/>
                </a:cubicBezTo>
                <a:cubicBezTo>
                  <a:pt x="8482417" y="879973"/>
                  <a:pt x="8507127" y="855263"/>
                  <a:pt x="8537609" y="855263"/>
                </a:cubicBezTo>
                <a:close/>
                <a:moveTo>
                  <a:pt x="8407315" y="855263"/>
                </a:moveTo>
                <a:cubicBezTo>
                  <a:pt x="8437797" y="855263"/>
                  <a:pt x="8462507" y="879973"/>
                  <a:pt x="8462507" y="910454"/>
                </a:cubicBezTo>
                <a:cubicBezTo>
                  <a:pt x="8462507" y="940935"/>
                  <a:pt x="8437797" y="965645"/>
                  <a:pt x="8407315" y="965645"/>
                </a:cubicBezTo>
                <a:cubicBezTo>
                  <a:pt x="8376833" y="965645"/>
                  <a:pt x="8352123" y="940935"/>
                  <a:pt x="8352123" y="910454"/>
                </a:cubicBezTo>
                <a:cubicBezTo>
                  <a:pt x="8352123" y="879973"/>
                  <a:pt x="8376833" y="855263"/>
                  <a:pt x="8407315" y="855263"/>
                </a:cubicBezTo>
                <a:close/>
                <a:moveTo>
                  <a:pt x="8273681" y="855263"/>
                </a:moveTo>
                <a:cubicBezTo>
                  <a:pt x="8304163" y="855263"/>
                  <a:pt x="8328873" y="879973"/>
                  <a:pt x="8328873" y="910454"/>
                </a:cubicBezTo>
                <a:cubicBezTo>
                  <a:pt x="8328873" y="940935"/>
                  <a:pt x="8304163" y="965645"/>
                  <a:pt x="8273681" y="965645"/>
                </a:cubicBezTo>
                <a:cubicBezTo>
                  <a:pt x="8243199" y="965645"/>
                  <a:pt x="8218489" y="940935"/>
                  <a:pt x="8218489" y="910454"/>
                </a:cubicBezTo>
                <a:cubicBezTo>
                  <a:pt x="8218489" y="879973"/>
                  <a:pt x="8243199" y="855263"/>
                  <a:pt x="8273681" y="855263"/>
                </a:cubicBezTo>
                <a:close/>
                <a:moveTo>
                  <a:pt x="8143386" y="855263"/>
                </a:moveTo>
                <a:cubicBezTo>
                  <a:pt x="8173868" y="855263"/>
                  <a:pt x="8198578" y="879973"/>
                  <a:pt x="8198578" y="910454"/>
                </a:cubicBezTo>
                <a:cubicBezTo>
                  <a:pt x="8198578" y="940935"/>
                  <a:pt x="8173868" y="965645"/>
                  <a:pt x="8143386" y="965645"/>
                </a:cubicBezTo>
                <a:cubicBezTo>
                  <a:pt x="8112904" y="965645"/>
                  <a:pt x="8088194" y="940935"/>
                  <a:pt x="8088194" y="910454"/>
                </a:cubicBezTo>
                <a:cubicBezTo>
                  <a:pt x="8088194" y="879973"/>
                  <a:pt x="8112904" y="855263"/>
                  <a:pt x="8143386" y="855263"/>
                </a:cubicBezTo>
                <a:close/>
                <a:moveTo>
                  <a:pt x="8009752" y="855263"/>
                </a:moveTo>
                <a:cubicBezTo>
                  <a:pt x="8040234" y="855263"/>
                  <a:pt x="8064944" y="879973"/>
                  <a:pt x="8064944" y="910454"/>
                </a:cubicBezTo>
                <a:cubicBezTo>
                  <a:pt x="8064944" y="940935"/>
                  <a:pt x="8040234" y="965645"/>
                  <a:pt x="8009752" y="965645"/>
                </a:cubicBezTo>
                <a:cubicBezTo>
                  <a:pt x="7979270" y="965645"/>
                  <a:pt x="7954560" y="940935"/>
                  <a:pt x="7954560" y="910454"/>
                </a:cubicBezTo>
                <a:cubicBezTo>
                  <a:pt x="7954560" y="879973"/>
                  <a:pt x="7979270" y="855263"/>
                  <a:pt x="8009752" y="855263"/>
                </a:cubicBezTo>
                <a:close/>
                <a:moveTo>
                  <a:pt x="7876117" y="855263"/>
                </a:moveTo>
                <a:cubicBezTo>
                  <a:pt x="7906599" y="855263"/>
                  <a:pt x="7931309" y="879973"/>
                  <a:pt x="7931309" y="910454"/>
                </a:cubicBezTo>
                <a:cubicBezTo>
                  <a:pt x="7931309" y="940935"/>
                  <a:pt x="7906599" y="965645"/>
                  <a:pt x="7876117" y="965645"/>
                </a:cubicBezTo>
                <a:cubicBezTo>
                  <a:pt x="7845635" y="965645"/>
                  <a:pt x="7820925" y="940935"/>
                  <a:pt x="7820925" y="910454"/>
                </a:cubicBezTo>
                <a:cubicBezTo>
                  <a:pt x="7820925" y="879973"/>
                  <a:pt x="7845635" y="855263"/>
                  <a:pt x="7876117" y="855263"/>
                </a:cubicBezTo>
                <a:close/>
                <a:moveTo>
                  <a:pt x="7745822" y="855263"/>
                </a:moveTo>
                <a:cubicBezTo>
                  <a:pt x="7776304" y="855263"/>
                  <a:pt x="7801014" y="879973"/>
                  <a:pt x="7801014" y="910454"/>
                </a:cubicBezTo>
                <a:cubicBezTo>
                  <a:pt x="7801014" y="940935"/>
                  <a:pt x="7776304" y="965645"/>
                  <a:pt x="7745822" y="965645"/>
                </a:cubicBezTo>
                <a:cubicBezTo>
                  <a:pt x="7715340" y="965645"/>
                  <a:pt x="7690630" y="940935"/>
                  <a:pt x="7690630" y="910454"/>
                </a:cubicBezTo>
                <a:cubicBezTo>
                  <a:pt x="7690630" y="879973"/>
                  <a:pt x="7715340" y="855263"/>
                  <a:pt x="7745822" y="855263"/>
                </a:cubicBezTo>
                <a:close/>
                <a:moveTo>
                  <a:pt x="7608849" y="855263"/>
                </a:moveTo>
                <a:cubicBezTo>
                  <a:pt x="7639331" y="855263"/>
                  <a:pt x="7664041" y="879973"/>
                  <a:pt x="7664041" y="910454"/>
                </a:cubicBezTo>
                <a:cubicBezTo>
                  <a:pt x="7664041" y="940935"/>
                  <a:pt x="7639331" y="965645"/>
                  <a:pt x="7608849" y="965645"/>
                </a:cubicBezTo>
                <a:cubicBezTo>
                  <a:pt x="7578367" y="965645"/>
                  <a:pt x="7553657" y="940935"/>
                  <a:pt x="7553657" y="910454"/>
                </a:cubicBezTo>
                <a:cubicBezTo>
                  <a:pt x="7553657" y="879973"/>
                  <a:pt x="7578367" y="855263"/>
                  <a:pt x="7608849" y="855263"/>
                </a:cubicBezTo>
                <a:close/>
                <a:moveTo>
                  <a:pt x="7481895" y="855263"/>
                </a:moveTo>
                <a:cubicBezTo>
                  <a:pt x="7512377" y="855263"/>
                  <a:pt x="7537087" y="879973"/>
                  <a:pt x="7537087" y="910454"/>
                </a:cubicBezTo>
                <a:cubicBezTo>
                  <a:pt x="7537087" y="940935"/>
                  <a:pt x="7512377" y="965645"/>
                  <a:pt x="7481895" y="965645"/>
                </a:cubicBezTo>
                <a:cubicBezTo>
                  <a:pt x="7451413" y="965645"/>
                  <a:pt x="7426703" y="940935"/>
                  <a:pt x="7426703" y="910454"/>
                </a:cubicBezTo>
                <a:cubicBezTo>
                  <a:pt x="7426703" y="879973"/>
                  <a:pt x="7451413" y="855263"/>
                  <a:pt x="7481895" y="855263"/>
                </a:cubicBezTo>
                <a:close/>
                <a:moveTo>
                  <a:pt x="7341578" y="855263"/>
                </a:moveTo>
                <a:cubicBezTo>
                  <a:pt x="7372060" y="855263"/>
                  <a:pt x="7396770" y="879973"/>
                  <a:pt x="7396770" y="910454"/>
                </a:cubicBezTo>
                <a:cubicBezTo>
                  <a:pt x="7396770" y="940935"/>
                  <a:pt x="7372060" y="965645"/>
                  <a:pt x="7341578" y="965645"/>
                </a:cubicBezTo>
                <a:cubicBezTo>
                  <a:pt x="7311096" y="965645"/>
                  <a:pt x="7286386" y="940935"/>
                  <a:pt x="7286386" y="910454"/>
                </a:cubicBezTo>
                <a:cubicBezTo>
                  <a:pt x="7286386" y="879973"/>
                  <a:pt x="7311096" y="855263"/>
                  <a:pt x="7341578" y="855263"/>
                </a:cubicBezTo>
                <a:close/>
                <a:moveTo>
                  <a:pt x="7211285" y="855263"/>
                </a:moveTo>
                <a:cubicBezTo>
                  <a:pt x="7241767" y="855263"/>
                  <a:pt x="7266477" y="879973"/>
                  <a:pt x="7266477" y="910454"/>
                </a:cubicBezTo>
                <a:cubicBezTo>
                  <a:pt x="7266477" y="940935"/>
                  <a:pt x="7241767" y="965645"/>
                  <a:pt x="7211285" y="965645"/>
                </a:cubicBezTo>
                <a:cubicBezTo>
                  <a:pt x="7180803" y="965645"/>
                  <a:pt x="7156093" y="940935"/>
                  <a:pt x="7156093" y="910454"/>
                </a:cubicBezTo>
                <a:cubicBezTo>
                  <a:pt x="7156093" y="879973"/>
                  <a:pt x="7180803" y="855263"/>
                  <a:pt x="7211285" y="855263"/>
                </a:cubicBezTo>
                <a:close/>
                <a:moveTo>
                  <a:pt x="7080993" y="855263"/>
                </a:moveTo>
                <a:cubicBezTo>
                  <a:pt x="7111475" y="855263"/>
                  <a:pt x="7136185" y="879973"/>
                  <a:pt x="7136185" y="910454"/>
                </a:cubicBezTo>
                <a:cubicBezTo>
                  <a:pt x="7136185" y="940935"/>
                  <a:pt x="7111475" y="965645"/>
                  <a:pt x="7080993" y="965645"/>
                </a:cubicBezTo>
                <a:cubicBezTo>
                  <a:pt x="7050511" y="965645"/>
                  <a:pt x="7025801" y="940935"/>
                  <a:pt x="7025801" y="910454"/>
                </a:cubicBezTo>
                <a:cubicBezTo>
                  <a:pt x="7025801" y="879973"/>
                  <a:pt x="7050511" y="855263"/>
                  <a:pt x="7080993" y="855263"/>
                </a:cubicBezTo>
                <a:close/>
                <a:moveTo>
                  <a:pt x="6947357" y="855263"/>
                </a:moveTo>
                <a:cubicBezTo>
                  <a:pt x="6977839" y="855263"/>
                  <a:pt x="7002549" y="879973"/>
                  <a:pt x="7002549" y="910454"/>
                </a:cubicBezTo>
                <a:cubicBezTo>
                  <a:pt x="7002549" y="940935"/>
                  <a:pt x="6977839" y="965645"/>
                  <a:pt x="6947357" y="965645"/>
                </a:cubicBezTo>
                <a:cubicBezTo>
                  <a:pt x="6916875" y="965645"/>
                  <a:pt x="6892165" y="940935"/>
                  <a:pt x="6892165" y="910454"/>
                </a:cubicBezTo>
                <a:cubicBezTo>
                  <a:pt x="6892165" y="879973"/>
                  <a:pt x="6916875" y="855263"/>
                  <a:pt x="6947357" y="855263"/>
                </a:cubicBezTo>
                <a:close/>
                <a:moveTo>
                  <a:pt x="6817063" y="855263"/>
                </a:moveTo>
                <a:cubicBezTo>
                  <a:pt x="6847545" y="855263"/>
                  <a:pt x="6872255" y="879973"/>
                  <a:pt x="6872255" y="910454"/>
                </a:cubicBezTo>
                <a:cubicBezTo>
                  <a:pt x="6872255" y="940935"/>
                  <a:pt x="6847545" y="965645"/>
                  <a:pt x="6817063" y="965645"/>
                </a:cubicBezTo>
                <a:cubicBezTo>
                  <a:pt x="6786581" y="965645"/>
                  <a:pt x="6761871" y="940935"/>
                  <a:pt x="6761871" y="910454"/>
                </a:cubicBezTo>
                <a:cubicBezTo>
                  <a:pt x="6761871" y="879973"/>
                  <a:pt x="6786581" y="855263"/>
                  <a:pt x="6817063" y="855263"/>
                </a:cubicBezTo>
                <a:close/>
                <a:moveTo>
                  <a:pt x="6683430" y="855263"/>
                </a:moveTo>
                <a:cubicBezTo>
                  <a:pt x="6713912" y="855263"/>
                  <a:pt x="6738622" y="879973"/>
                  <a:pt x="6738622" y="910454"/>
                </a:cubicBezTo>
                <a:cubicBezTo>
                  <a:pt x="6738622" y="940935"/>
                  <a:pt x="6713912" y="965645"/>
                  <a:pt x="6683430" y="965645"/>
                </a:cubicBezTo>
                <a:cubicBezTo>
                  <a:pt x="6652948" y="965645"/>
                  <a:pt x="6628238" y="940935"/>
                  <a:pt x="6628238" y="910454"/>
                </a:cubicBezTo>
                <a:cubicBezTo>
                  <a:pt x="6628238" y="879973"/>
                  <a:pt x="6652948" y="855263"/>
                  <a:pt x="6683430" y="855263"/>
                </a:cubicBezTo>
                <a:close/>
                <a:moveTo>
                  <a:pt x="6553135" y="855263"/>
                </a:moveTo>
                <a:cubicBezTo>
                  <a:pt x="6583617" y="855263"/>
                  <a:pt x="6608327" y="879973"/>
                  <a:pt x="6608327" y="910454"/>
                </a:cubicBezTo>
                <a:cubicBezTo>
                  <a:pt x="6608327" y="940935"/>
                  <a:pt x="6583617" y="965645"/>
                  <a:pt x="6553135" y="965645"/>
                </a:cubicBezTo>
                <a:cubicBezTo>
                  <a:pt x="6522653" y="965645"/>
                  <a:pt x="6497943" y="940935"/>
                  <a:pt x="6497943" y="910454"/>
                </a:cubicBezTo>
                <a:cubicBezTo>
                  <a:pt x="6497943" y="879973"/>
                  <a:pt x="6522653" y="855263"/>
                  <a:pt x="6553135" y="855263"/>
                </a:cubicBezTo>
                <a:close/>
                <a:moveTo>
                  <a:pt x="6419502" y="855263"/>
                </a:moveTo>
                <a:cubicBezTo>
                  <a:pt x="6449984" y="855263"/>
                  <a:pt x="6474694" y="879973"/>
                  <a:pt x="6474694" y="910454"/>
                </a:cubicBezTo>
                <a:cubicBezTo>
                  <a:pt x="6474694" y="940935"/>
                  <a:pt x="6449984" y="965645"/>
                  <a:pt x="6419502" y="965645"/>
                </a:cubicBezTo>
                <a:cubicBezTo>
                  <a:pt x="6389020" y="965645"/>
                  <a:pt x="6364310" y="940935"/>
                  <a:pt x="6364310" y="910454"/>
                </a:cubicBezTo>
                <a:cubicBezTo>
                  <a:pt x="6364310" y="879973"/>
                  <a:pt x="6389020" y="855263"/>
                  <a:pt x="6419502" y="855263"/>
                </a:cubicBezTo>
                <a:close/>
                <a:moveTo>
                  <a:pt x="6289206" y="855263"/>
                </a:moveTo>
                <a:cubicBezTo>
                  <a:pt x="6319688" y="855263"/>
                  <a:pt x="6344398" y="879973"/>
                  <a:pt x="6344398" y="910454"/>
                </a:cubicBezTo>
                <a:cubicBezTo>
                  <a:pt x="6344398" y="940935"/>
                  <a:pt x="6319688" y="965645"/>
                  <a:pt x="6289206" y="965645"/>
                </a:cubicBezTo>
                <a:cubicBezTo>
                  <a:pt x="6258724" y="965645"/>
                  <a:pt x="6234014" y="940935"/>
                  <a:pt x="6234014" y="910454"/>
                </a:cubicBezTo>
                <a:cubicBezTo>
                  <a:pt x="6234014" y="879973"/>
                  <a:pt x="6258724" y="855263"/>
                  <a:pt x="6289206" y="855263"/>
                </a:cubicBezTo>
                <a:close/>
                <a:moveTo>
                  <a:pt x="6155571" y="855263"/>
                </a:moveTo>
                <a:cubicBezTo>
                  <a:pt x="6186053" y="855263"/>
                  <a:pt x="6210763" y="879973"/>
                  <a:pt x="6210763" y="910454"/>
                </a:cubicBezTo>
                <a:cubicBezTo>
                  <a:pt x="6210763" y="940935"/>
                  <a:pt x="6186053" y="965645"/>
                  <a:pt x="6155571" y="965645"/>
                </a:cubicBezTo>
                <a:cubicBezTo>
                  <a:pt x="6125089" y="965645"/>
                  <a:pt x="6100379" y="940935"/>
                  <a:pt x="6100379" y="910454"/>
                </a:cubicBezTo>
                <a:cubicBezTo>
                  <a:pt x="6100379" y="879973"/>
                  <a:pt x="6125089" y="855263"/>
                  <a:pt x="6155571" y="855263"/>
                </a:cubicBezTo>
                <a:close/>
                <a:moveTo>
                  <a:pt x="6021938" y="855263"/>
                </a:moveTo>
                <a:cubicBezTo>
                  <a:pt x="6052420" y="855263"/>
                  <a:pt x="6077130" y="879973"/>
                  <a:pt x="6077130" y="910454"/>
                </a:cubicBezTo>
                <a:cubicBezTo>
                  <a:pt x="6077130" y="940935"/>
                  <a:pt x="6052420" y="965645"/>
                  <a:pt x="6021938" y="965645"/>
                </a:cubicBezTo>
                <a:cubicBezTo>
                  <a:pt x="5991456" y="965645"/>
                  <a:pt x="5966746" y="940935"/>
                  <a:pt x="5966746" y="910454"/>
                </a:cubicBezTo>
                <a:cubicBezTo>
                  <a:pt x="5966746" y="879973"/>
                  <a:pt x="5991456" y="855263"/>
                  <a:pt x="6021938" y="855263"/>
                </a:cubicBezTo>
                <a:close/>
                <a:moveTo>
                  <a:pt x="5884961" y="855263"/>
                </a:moveTo>
                <a:cubicBezTo>
                  <a:pt x="5915443" y="855263"/>
                  <a:pt x="5940153" y="879973"/>
                  <a:pt x="5940153" y="910454"/>
                </a:cubicBezTo>
                <a:cubicBezTo>
                  <a:pt x="5940153" y="940935"/>
                  <a:pt x="5915443" y="965645"/>
                  <a:pt x="5884961" y="965645"/>
                </a:cubicBezTo>
                <a:cubicBezTo>
                  <a:pt x="5854479" y="965645"/>
                  <a:pt x="5829769" y="940935"/>
                  <a:pt x="5829769" y="910454"/>
                </a:cubicBezTo>
                <a:cubicBezTo>
                  <a:pt x="5829769" y="879973"/>
                  <a:pt x="5854479" y="855263"/>
                  <a:pt x="5884961" y="855263"/>
                </a:cubicBezTo>
                <a:close/>
                <a:moveTo>
                  <a:pt x="5754668" y="855263"/>
                </a:moveTo>
                <a:cubicBezTo>
                  <a:pt x="5785150" y="855263"/>
                  <a:pt x="5809860" y="879973"/>
                  <a:pt x="5809860" y="910454"/>
                </a:cubicBezTo>
                <a:cubicBezTo>
                  <a:pt x="5809860" y="940935"/>
                  <a:pt x="5785150" y="965645"/>
                  <a:pt x="5754668" y="965645"/>
                </a:cubicBezTo>
                <a:cubicBezTo>
                  <a:pt x="5724186" y="965645"/>
                  <a:pt x="5699476" y="940935"/>
                  <a:pt x="5699476" y="910454"/>
                </a:cubicBezTo>
                <a:cubicBezTo>
                  <a:pt x="5699476" y="879973"/>
                  <a:pt x="5724186" y="855263"/>
                  <a:pt x="5754668" y="855263"/>
                </a:cubicBezTo>
                <a:close/>
                <a:moveTo>
                  <a:pt x="5621034" y="855263"/>
                </a:moveTo>
                <a:cubicBezTo>
                  <a:pt x="5651516" y="855263"/>
                  <a:pt x="5676226" y="879973"/>
                  <a:pt x="5676226" y="910454"/>
                </a:cubicBezTo>
                <a:cubicBezTo>
                  <a:pt x="5676226" y="940935"/>
                  <a:pt x="5651516" y="965645"/>
                  <a:pt x="5621034" y="965645"/>
                </a:cubicBezTo>
                <a:cubicBezTo>
                  <a:pt x="5590552" y="965645"/>
                  <a:pt x="5565842" y="940935"/>
                  <a:pt x="5565842" y="910454"/>
                </a:cubicBezTo>
                <a:cubicBezTo>
                  <a:pt x="5565842" y="879973"/>
                  <a:pt x="5590552" y="855263"/>
                  <a:pt x="5621034" y="855263"/>
                </a:cubicBezTo>
                <a:close/>
                <a:moveTo>
                  <a:pt x="5487399" y="855263"/>
                </a:moveTo>
                <a:cubicBezTo>
                  <a:pt x="5517881" y="855263"/>
                  <a:pt x="5542591" y="879973"/>
                  <a:pt x="5542591" y="910454"/>
                </a:cubicBezTo>
                <a:cubicBezTo>
                  <a:pt x="5542591" y="940935"/>
                  <a:pt x="5517881" y="965645"/>
                  <a:pt x="5487399" y="965645"/>
                </a:cubicBezTo>
                <a:cubicBezTo>
                  <a:pt x="5456917" y="965645"/>
                  <a:pt x="5432207" y="940935"/>
                  <a:pt x="5432207" y="910454"/>
                </a:cubicBezTo>
                <a:cubicBezTo>
                  <a:pt x="5432207" y="879973"/>
                  <a:pt x="5456917" y="855263"/>
                  <a:pt x="5487399" y="855263"/>
                </a:cubicBezTo>
                <a:close/>
                <a:moveTo>
                  <a:pt x="5357105" y="855263"/>
                </a:moveTo>
                <a:cubicBezTo>
                  <a:pt x="5387587" y="855263"/>
                  <a:pt x="5412297" y="879973"/>
                  <a:pt x="5412297" y="910454"/>
                </a:cubicBezTo>
                <a:cubicBezTo>
                  <a:pt x="5412297" y="940935"/>
                  <a:pt x="5387587" y="965645"/>
                  <a:pt x="5357105" y="965645"/>
                </a:cubicBezTo>
                <a:cubicBezTo>
                  <a:pt x="5326623" y="965645"/>
                  <a:pt x="5301913" y="940935"/>
                  <a:pt x="5301913" y="910454"/>
                </a:cubicBezTo>
                <a:cubicBezTo>
                  <a:pt x="5301913" y="879973"/>
                  <a:pt x="5326623" y="855263"/>
                  <a:pt x="5357105" y="855263"/>
                </a:cubicBezTo>
                <a:close/>
                <a:moveTo>
                  <a:pt x="5223472" y="855263"/>
                </a:moveTo>
                <a:cubicBezTo>
                  <a:pt x="5253954" y="855263"/>
                  <a:pt x="5278664" y="879973"/>
                  <a:pt x="5278664" y="910454"/>
                </a:cubicBezTo>
                <a:cubicBezTo>
                  <a:pt x="5278664" y="940935"/>
                  <a:pt x="5253954" y="965645"/>
                  <a:pt x="5223472" y="965645"/>
                </a:cubicBezTo>
                <a:cubicBezTo>
                  <a:pt x="5192990" y="965645"/>
                  <a:pt x="5168280" y="940935"/>
                  <a:pt x="5168280" y="910454"/>
                </a:cubicBezTo>
                <a:cubicBezTo>
                  <a:pt x="5168280" y="879973"/>
                  <a:pt x="5192990" y="855263"/>
                  <a:pt x="5223472" y="855263"/>
                </a:cubicBezTo>
                <a:close/>
                <a:moveTo>
                  <a:pt x="5093178" y="855263"/>
                </a:moveTo>
                <a:cubicBezTo>
                  <a:pt x="5123660" y="855263"/>
                  <a:pt x="5148370" y="879973"/>
                  <a:pt x="5148370" y="910454"/>
                </a:cubicBezTo>
                <a:cubicBezTo>
                  <a:pt x="5148370" y="940935"/>
                  <a:pt x="5123660" y="965645"/>
                  <a:pt x="5093178" y="965645"/>
                </a:cubicBezTo>
                <a:cubicBezTo>
                  <a:pt x="5062696" y="965645"/>
                  <a:pt x="5037986" y="940935"/>
                  <a:pt x="5037986" y="910454"/>
                </a:cubicBezTo>
                <a:cubicBezTo>
                  <a:pt x="5037986" y="879973"/>
                  <a:pt x="5062696" y="855263"/>
                  <a:pt x="5093178" y="855263"/>
                </a:cubicBezTo>
                <a:close/>
                <a:moveTo>
                  <a:pt x="4161076" y="855263"/>
                </a:moveTo>
                <a:cubicBezTo>
                  <a:pt x="4191558" y="855263"/>
                  <a:pt x="4216268" y="879973"/>
                  <a:pt x="4216268" y="910454"/>
                </a:cubicBezTo>
                <a:cubicBezTo>
                  <a:pt x="4216268" y="940935"/>
                  <a:pt x="4191558" y="965645"/>
                  <a:pt x="4161076" y="965645"/>
                </a:cubicBezTo>
                <a:cubicBezTo>
                  <a:pt x="4130594" y="965645"/>
                  <a:pt x="4105884" y="940935"/>
                  <a:pt x="4105884" y="910454"/>
                </a:cubicBezTo>
                <a:cubicBezTo>
                  <a:pt x="4105884" y="879973"/>
                  <a:pt x="4130594" y="855263"/>
                  <a:pt x="4161076" y="855263"/>
                </a:cubicBezTo>
                <a:close/>
                <a:moveTo>
                  <a:pt x="3633218" y="855263"/>
                </a:moveTo>
                <a:cubicBezTo>
                  <a:pt x="3663700" y="855263"/>
                  <a:pt x="3688410" y="879973"/>
                  <a:pt x="3688410" y="910454"/>
                </a:cubicBezTo>
                <a:cubicBezTo>
                  <a:pt x="3688410" y="940935"/>
                  <a:pt x="3663700" y="965645"/>
                  <a:pt x="3633218" y="965645"/>
                </a:cubicBezTo>
                <a:cubicBezTo>
                  <a:pt x="3602736" y="965645"/>
                  <a:pt x="3578026" y="940935"/>
                  <a:pt x="3578026" y="910454"/>
                </a:cubicBezTo>
                <a:cubicBezTo>
                  <a:pt x="3578026" y="879973"/>
                  <a:pt x="3602736" y="855263"/>
                  <a:pt x="3633218" y="855263"/>
                </a:cubicBezTo>
                <a:close/>
                <a:moveTo>
                  <a:pt x="3499586" y="855263"/>
                </a:moveTo>
                <a:cubicBezTo>
                  <a:pt x="3530068" y="855263"/>
                  <a:pt x="3554778" y="879973"/>
                  <a:pt x="3554778" y="910454"/>
                </a:cubicBezTo>
                <a:cubicBezTo>
                  <a:pt x="3554778" y="940935"/>
                  <a:pt x="3530068" y="965645"/>
                  <a:pt x="3499586" y="965645"/>
                </a:cubicBezTo>
                <a:cubicBezTo>
                  <a:pt x="3469104" y="965645"/>
                  <a:pt x="3444394" y="940935"/>
                  <a:pt x="3444394" y="910454"/>
                </a:cubicBezTo>
                <a:cubicBezTo>
                  <a:pt x="3444394" y="879973"/>
                  <a:pt x="3469104" y="855263"/>
                  <a:pt x="3499586" y="855263"/>
                </a:cubicBezTo>
                <a:close/>
                <a:moveTo>
                  <a:pt x="3369290" y="855263"/>
                </a:moveTo>
                <a:cubicBezTo>
                  <a:pt x="3399772" y="855263"/>
                  <a:pt x="3424482" y="879973"/>
                  <a:pt x="3424482" y="910454"/>
                </a:cubicBezTo>
                <a:cubicBezTo>
                  <a:pt x="3424482" y="940935"/>
                  <a:pt x="3399772" y="965645"/>
                  <a:pt x="3369290" y="965645"/>
                </a:cubicBezTo>
                <a:cubicBezTo>
                  <a:pt x="3338808" y="965645"/>
                  <a:pt x="3314098" y="940935"/>
                  <a:pt x="3314098" y="910454"/>
                </a:cubicBezTo>
                <a:cubicBezTo>
                  <a:pt x="3314098" y="879973"/>
                  <a:pt x="3338808" y="855263"/>
                  <a:pt x="3369290" y="855263"/>
                </a:cubicBezTo>
                <a:close/>
                <a:moveTo>
                  <a:pt x="2834849" y="855263"/>
                </a:moveTo>
                <a:cubicBezTo>
                  <a:pt x="2865329" y="855263"/>
                  <a:pt x="2890040" y="879973"/>
                  <a:pt x="2890040" y="910454"/>
                </a:cubicBezTo>
                <a:cubicBezTo>
                  <a:pt x="2890040" y="940935"/>
                  <a:pt x="2865329" y="965645"/>
                  <a:pt x="2834849" y="965645"/>
                </a:cubicBezTo>
                <a:cubicBezTo>
                  <a:pt x="2804367" y="965645"/>
                  <a:pt x="2779655" y="940935"/>
                  <a:pt x="2779655" y="910454"/>
                </a:cubicBezTo>
                <a:cubicBezTo>
                  <a:pt x="2779655" y="879973"/>
                  <a:pt x="2804367" y="855263"/>
                  <a:pt x="2834849" y="855263"/>
                </a:cubicBezTo>
                <a:close/>
                <a:moveTo>
                  <a:pt x="2707895" y="855263"/>
                </a:moveTo>
                <a:cubicBezTo>
                  <a:pt x="2738377" y="855263"/>
                  <a:pt x="2763087" y="879973"/>
                  <a:pt x="2763087" y="910454"/>
                </a:cubicBezTo>
                <a:cubicBezTo>
                  <a:pt x="2763087" y="940935"/>
                  <a:pt x="2738377" y="965645"/>
                  <a:pt x="2707895" y="965645"/>
                </a:cubicBezTo>
                <a:cubicBezTo>
                  <a:pt x="2677411" y="965645"/>
                  <a:pt x="2652702" y="940935"/>
                  <a:pt x="2652702" y="910454"/>
                </a:cubicBezTo>
                <a:cubicBezTo>
                  <a:pt x="2652702" y="879973"/>
                  <a:pt x="2677411" y="855263"/>
                  <a:pt x="2707895" y="855263"/>
                </a:cubicBezTo>
                <a:close/>
                <a:moveTo>
                  <a:pt x="2570919" y="855263"/>
                </a:moveTo>
                <a:cubicBezTo>
                  <a:pt x="2601400" y="855263"/>
                  <a:pt x="2626110" y="879973"/>
                  <a:pt x="2626110" y="910454"/>
                </a:cubicBezTo>
                <a:cubicBezTo>
                  <a:pt x="2626110" y="940935"/>
                  <a:pt x="2601400" y="965645"/>
                  <a:pt x="2570919" y="965645"/>
                </a:cubicBezTo>
                <a:cubicBezTo>
                  <a:pt x="2540436" y="965645"/>
                  <a:pt x="2515724" y="940935"/>
                  <a:pt x="2515724" y="910454"/>
                </a:cubicBezTo>
                <a:cubicBezTo>
                  <a:pt x="2515724" y="879973"/>
                  <a:pt x="2540436" y="855263"/>
                  <a:pt x="2570919" y="855263"/>
                </a:cubicBezTo>
                <a:close/>
                <a:moveTo>
                  <a:pt x="2303651" y="855263"/>
                </a:moveTo>
                <a:cubicBezTo>
                  <a:pt x="2334134" y="855263"/>
                  <a:pt x="2358843" y="879973"/>
                  <a:pt x="2358843" y="910454"/>
                </a:cubicBezTo>
                <a:cubicBezTo>
                  <a:pt x="2358843" y="940935"/>
                  <a:pt x="2334134" y="965645"/>
                  <a:pt x="2303651" y="965645"/>
                </a:cubicBezTo>
                <a:cubicBezTo>
                  <a:pt x="2273169" y="965645"/>
                  <a:pt x="2248461" y="940935"/>
                  <a:pt x="2248461" y="910454"/>
                </a:cubicBezTo>
                <a:cubicBezTo>
                  <a:pt x="2248461" y="879973"/>
                  <a:pt x="2273169" y="855263"/>
                  <a:pt x="2303651" y="855263"/>
                </a:cubicBezTo>
                <a:close/>
                <a:moveTo>
                  <a:pt x="2173362" y="855263"/>
                </a:moveTo>
                <a:cubicBezTo>
                  <a:pt x="2203845" y="855263"/>
                  <a:pt x="2228554" y="879973"/>
                  <a:pt x="2228554" y="910454"/>
                </a:cubicBezTo>
                <a:cubicBezTo>
                  <a:pt x="2228554" y="940935"/>
                  <a:pt x="2203845" y="965645"/>
                  <a:pt x="2173362" y="965645"/>
                </a:cubicBezTo>
                <a:cubicBezTo>
                  <a:pt x="2142879" y="965645"/>
                  <a:pt x="2118170" y="940935"/>
                  <a:pt x="2118170" y="910454"/>
                </a:cubicBezTo>
                <a:cubicBezTo>
                  <a:pt x="2118170" y="879973"/>
                  <a:pt x="2142879" y="855263"/>
                  <a:pt x="2173362" y="855263"/>
                </a:cubicBezTo>
                <a:close/>
                <a:moveTo>
                  <a:pt x="2039725" y="855263"/>
                </a:moveTo>
                <a:cubicBezTo>
                  <a:pt x="2070208" y="855263"/>
                  <a:pt x="2094919" y="879973"/>
                  <a:pt x="2094919" y="910454"/>
                </a:cubicBezTo>
                <a:cubicBezTo>
                  <a:pt x="2094919" y="940935"/>
                  <a:pt x="2070208" y="965645"/>
                  <a:pt x="2039725" y="965645"/>
                </a:cubicBezTo>
                <a:cubicBezTo>
                  <a:pt x="2009244" y="965645"/>
                  <a:pt x="1984533" y="940935"/>
                  <a:pt x="1984533" y="910454"/>
                </a:cubicBezTo>
                <a:cubicBezTo>
                  <a:pt x="1984533" y="879973"/>
                  <a:pt x="2009244" y="855263"/>
                  <a:pt x="2039725" y="855263"/>
                </a:cubicBezTo>
                <a:close/>
                <a:moveTo>
                  <a:pt x="1909428" y="855263"/>
                </a:moveTo>
                <a:cubicBezTo>
                  <a:pt x="1939911" y="855263"/>
                  <a:pt x="1964620" y="879973"/>
                  <a:pt x="1964620" y="910454"/>
                </a:cubicBezTo>
                <a:cubicBezTo>
                  <a:pt x="1964620" y="940935"/>
                  <a:pt x="1939911" y="965645"/>
                  <a:pt x="1909428" y="965645"/>
                </a:cubicBezTo>
                <a:cubicBezTo>
                  <a:pt x="1878945" y="965645"/>
                  <a:pt x="1854234" y="940935"/>
                  <a:pt x="1854234" y="910454"/>
                </a:cubicBezTo>
                <a:cubicBezTo>
                  <a:pt x="1854234" y="879973"/>
                  <a:pt x="1878945" y="855263"/>
                  <a:pt x="1909428" y="855263"/>
                </a:cubicBezTo>
                <a:close/>
                <a:moveTo>
                  <a:pt x="1779130" y="855263"/>
                </a:moveTo>
                <a:cubicBezTo>
                  <a:pt x="1809614" y="855263"/>
                  <a:pt x="1834324" y="879973"/>
                  <a:pt x="1834324" y="910454"/>
                </a:cubicBezTo>
                <a:cubicBezTo>
                  <a:pt x="1834324" y="940935"/>
                  <a:pt x="1809614" y="965645"/>
                  <a:pt x="1779130" y="965645"/>
                </a:cubicBezTo>
                <a:cubicBezTo>
                  <a:pt x="1748649" y="965645"/>
                  <a:pt x="1723937" y="940935"/>
                  <a:pt x="1723937" y="910454"/>
                </a:cubicBezTo>
                <a:cubicBezTo>
                  <a:pt x="1723937" y="879973"/>
                  <a:pt x="1748649" y="855263"/>
                  <a:pt x="1779130" y="855263"/>
                </a:cubicBezTo>
                <a:close/>
                <a:moveTo>
                  <a:pt x="1645495" y="855263"/>
                </a:moveTo>
                <a:cubicBezTo>
                  <a:pt x="1675980" y="855263"/>
                  <a:pt x="1700693" y="879973"/>
                  <a:pt x="1700693" y="910454"/>
                </a:cubicBezTo>
                <a:cubicBezTo>
                  <a:pt x="1700693" y="940935"/>
                  <a:pt x="1675980" y="965645"/>
                  <a:pt x="1645495" y="965645"/>
                </a:cubicBezTo>
                <a:cubicBezTo>
                  <a:pt x="1615015" y="965645"/>
                  <a:pt x="1590303" y="940935"/>
                  <a:pt x="1590303" y="910454"/>
                </a:cubicBezTo>
                <a:cubicBezTo>
                  <a:pt x="1590303" y="879973"/>
                  <a:pt x="1615015" y="855263"/>
                  <a:pt x="1645495" y="855263"/>
                </a:cubicBezTo>
                <a:close/>
                <a:moveTo>
                  <a:pt x="1515206" y="855263"/>
                </a:moveTo>
                <a:cubicBezTo>
                  <a:pt x="1545685" y="855263"/>
                  <a:pt x="1570391" y="879973"/>
                  <a:pt x="1570391" y="910454"/>
                </a:cubicBezTo>
                <a:cubicBezTo>
                  <a:pt x="1570391" y="940935"/>
                  <a:pt x="1545685" y="965645"/>
                  <a:pt x="1515206" y="965645"/>
                </a:cubicBezTo>
                <a:cubicBezTo>
                  <a:pt x="1484723" y="965645"/>
                  <a:pt x="1460009" y="940935"/>
                  <a:pt x="1460009" y="910454"/>
                </a:cubicBezTo>
                <a:cubicBezTo>
                  <a:pt x="1460009" y="879973"/>
                  <a:pt x="1484723" y="855263"/>
                  <a:pt x="1515206" y="855263"/>
                </a:cubicBezTo>
                <a:close/>
                <a:moveTo>
                  <a:pt x="1381566" y="855263"/>
                </a:moveTo>
                <a:cubicBezTo>
                  <a:pt x="1412046" y="855263"/>
                  <a:pt x="1436758" y="879973"/>
                  <a:pt x="1436758" y="910454"/>
                </a:cubicBezTo>
                <a:cubicBezTo>
                  <a:pt x="1436758" y="940935"/>
                  <a:pt x="1412046" y="965645"/>
                  <a:pt x="1381566" y="965645"/>
                </a:cubicBezTo>
                <a:cubicBezTo>
                  <a:pt x="1351086" y="965645"/>
                  <a:pt x="1326375" y="940935"/>
                  <a:pt x="1326375" y="910454"/>
                </a:cubicBezTo>
                <a:cubicBezTo>
                  <a:pt x="1326375" y="879973"/>
                  <a:pt x="1351086" y="855263"/>
                  <a:pt x="1381566" y="855263"/>
                </a:cubicBezTo>
                <a:close/>
                <a:moveTo>
                  <a:pt x="1251271" y="855263"/>
                </a:moveTo>
                <a:cubicBezTo>
                  <a:pt x="1281752" y="855263"/>
                  <a:pt x="1306464" y="879973"/>
                  <a:pt x="1306464" y="910454"/>
                </a:cubicBezTo>
                <a:cubicBezTo>
                  <a:pt x="1306464" y="940935"/>
                  <a:pt x="1281752" y="965645"/>
                  <a:pt x="1251271" y="965645"/>
                </a:cubicBezTo>
                <a:cubicBezTo>
                  <a:pt x="1220788" y="965645"/>
                  <a:pt x="1196078" y="940935"/>
                  <a:pt x="1196078" y="910454"/>
                </a:cubicBezTo>
                <a:cubicBezTo>
                  <a:pt x="1196078" y="879973"/>
                  <a:pt x="1220788" y="855263"/>
                  <a:pt x="1251271" y="855263"/>
                </a:cubicBezTo>
                <a:close/>
                <a:moveTo>
                  <a:pt x="1117634" y="855263"/>
                </a:moveTo>
                <a:cubicBezTo>
                  <a:pt x="1148117" y="855263"/>
                  <a:pt x="1172828" y="879973"/>
                  <a:pt x="1172828" y="910454"/>
                </a:cubicBezTo>
                <a:cubicBezTo>
                  <a:pt x="1172828" y="940935"/>
                  <a:pt x="1148117" y="965645"/>
                  <a:pt x="1117634" y="965645"/>
                </a:cubicBezTo>
                <a:cubicBezTo>
                  <a:pt x="1087150" y="965645"/>
                  <a:pt x="1062440" y="940935"/>
                  <a:pt x="1062440" y="910454"/>
                </a:cubicBezTo>
                <a:cubicBezTo>
                  <a:pt x="1062440" y="879973"/>
                  <a:pt x="1087150" y="855263"/>
                  <a:pt x="1117634" y="855263"/>
                </a:cubicBezTo>
                <a:close/>
                <a:moveTo>
                  <a:pt x="980654" y="855263"/>
                </a:moveTo>
                <a:cubicBezTo>
                  <a:pt x="1011137" y="855263"/>
                  <a:pt x="1035848" y="879973"/>
                  <a:pt x="1035848" y="910454"/>
                </a:cubicBezTo>
                <a:cubicBezTo>
                  <a:pt x="1035848" y="940935"/>
                  <a:pt x="1011137" y="965645"/>
                  <a:pt x="980654" y="965645"/>
                </a:cubicBezTo>
                <a:cubicBezTo>
                  <a:pt x="950172" y="965645"/>
                  <a:pt x="925460" y="940935"/>
                  <a:pt x="925460" y="910454"/>
                </a:cubicBezTo>
                <a:cubicBezTo>
                  <a:pt x="925460" y="879973"/>
                  <a:pt x="950172" y="855263"/>
                  <a:pt x="980654" y="855263"/>
                </a:cubicBezTo>
                <a:close/>
                <a:moveTo>
                  <a:pt x="847016" y="855263"/>
                </a:moveTo>
                <a:cubicBezTo>
                  <a:pt x="877497" y="855263"/>
                  <a:pt x="902209" y="879973"/>
                  <a:pt x="902209" y="910454"/>
                </a:cubicBezTo>
                <a:cubicBezTo>
                  <a:pt x="902209" y="940935"/>
                  <a:pt x="877497" y="965645"/>
                  <a:pt x="847016" y="965645"/>
                </a:cubicBezTo>
                <a:cubicBezTo>
                  <a:pt x="816533" y="965645"/>
                  <a:pt x="791816" y="940935"/>
                  <a:pt x="791816" y="910454"/>
                </a:cubicBezTo>
                <a:cubicBezTo>
                  <a:pt x="791816" y="879973"/>
                  <a:pt x="816533" y="855263"/>
                  <a:pt x="847016" y="855263"/>
                </a:cubicBezTo>
                <a:close/>
                <a:moveTo>
                  <a:pt x="716709" y="855263"/>
                </a:moveTo>
                <a:cubicBezTo>
                  <a:pt x="747196" y="855263"/>
                  <a:pt x="771907" y="879973"/>
                  <a:pt x="771907" y="910454"/>
                </a:cubicBezTo>
                <a:cubicBezTo>
                  <a:pt x="771907" y="940935"/>
                  <a:pt x="747196" y="965645"/>
                  <a:pt x="716709" y="965645"/>
                </a:cubicBezTo>
                <a:cubicBezTo>
                  <a:pt x="686233" y="965645"/>
                  <a:pt x="661522" y="940935"/>
                  <a:pt x="661522" y="910454"/>
                </a:cubicBezTo>
                <a:cubicBezTo>
                  <a:pt x="661522" y="879973"/>
                  <a:pt x="686233" y="855263"/>
                  <a:pt x="716709" y="855263"/>
                </a:cubicBezTo>
                <a:close/>
                <a:moveTo>
                  <a:pt x="583074" y="855263"/>
                </a:moveTo>
                <a:cubicBezTo>
                  <a:pt x="613557" y="855263"/>
                  <a:pt x="638268" y="879973"/>
                  <a:pt x="638268" y="910454"/>
                </a:cubicBezTo>
                <a:cubicBezTo>
                  <a:pt x="638268" y="940935"/>
                  <a:pt x="613557" y="965645"/>
                  <a:pt x="583074" y="965645"/>
                </a:cubicBezTo>
                <a:cubicBezTo>
                  <a:pt x="552591" y="965645"/>
                  <a:pt x="527881" y="940935"/>
                  <a:pt x="527881" y="910454"/>
                </a:cubicBezTo>
                <a:cubicBezTo>
                  <a:pt x="527881" y="879973"/>
                  <a:pt x="552591" y="855263"/>
                  <a:pt x="583074" y="855263"/>
                </a:cubicBezTo>
                <a:close/>
                <a:moveTo>
                  <a:pt x="9867273" y="855260"/>
                </a:moveTo>
                <a:cubicBezTo>
                  <a:pt x="9897755" y="855260"/>
                  <a:pt x="9922465" y="879970"/>
                  <a:pt x="9922465" y="910451"/>
                </a:cubicBezTo>
                <a:cubicBezTo>
                  <a:pt x="9922465" y="940932"/>
                  <a:pt x="9897755" y="965642"/>
                  <a:pt x="9867273" y="965642"/>
                </a:cubicBezTo>
                <a:cubicBezTo>
                  <a:pt x="9836791" y="965642"/>
                  <a:pt x="9812081" y="940932"/>
                  <a:pt x="9812081" y="910451"/>
                </a:cubicBezTo>
                <a:cubicBezTo>
                  <a:pt x="9812081" y="879970"/>
                  <a:pt x="9836791" y="855260"/>
                  <a:pt x="9867273" y="855260"/>
                </a:cubicBezTo>
                <a:close/>
                <a:moveTo>
                  <a:pt x="9733637" y="855260"/>
                </a:moveTo>
                <a:cubicBezTo>
                  <a:pt x="9764119" y="855260"/>
                  <a:pt x="9788829" y="879970"/>
                  <a:pt x="9788829" y="910451"/>
                </a:cubicBezTo>
                <a:cubicBezTo>
                  <a:pt x="9788829" y="940932"/>
                  <a:pt x="9764119" y="965642"/>
                  <a:pt x="9733637" y="965642"/>
                </a:cubicBezTo>
                <a:cubicBezTo>
                  <a:pt x="9703155" y="965642"/>
                  <a:pt x="9678445" y="940932"/>
                  <a:pt x="9678445" y="910451"/>
                </a:cubicBezTo>
                <a:cubicBezTo>
                  <a:pt x="9678445" y="879970"/>
                  <a:pt x="9703155" y="855260"/>
                  <a:pt x="9733637" y="855260"/>
                </a:cubicBezTo>
                <a:close/>
                <a:moveTo>
                  <a:pt x="9603343" y="855260"/>
                </a:moveTo>
                <a:cubicBezTo>
                  <a:pt x="9633825" y="855260"/>
                  <a:pt x="9658535" y="879970"/>
                  <a:pt x="9658535" y="910451"/>
                </a:cubicBezTo>
                <a:cubicBezTo>
                  <a:pt x="9658535" y="940932"/>
                  <a:pt x="9633825" y="965642"/>
                  <a:pt x="9603343" y="965642"/>
                </a:cubicBezTo>
                <a:cubicBezTo>
                  <a:pt x="9572861" y="965642"/>
                  <a:pt x="9548151" y="940932"/>
                  <a:pt x="9548151" y="910451"/>
                </a:cubicBezTo>
                <a:cubicBezTo>
                  <a:pt x="9548151" y="879970"/>
                  <a:pt x="9572861" y="855260"/>
                  <a:pt x="9603343" y="855260"/>
                </a:cubicBezTo>
                <a:close/>
                <a:moveTo>
                  <a:pt x="449429" y="855260"/>
                </a:moveTo>
                <a:cubicBezTo>
                  <a:pt x="479910" y="855260"/>
                  <a:pt x="504621" y="879970"/>
                  <a:pt x="504621" y="910451"/>
                </a:cubicBezTo>
                <a:cubicBezTo>
                  <a:pt x="504621" y="940932"/>
                  <a:pt x="479910" y="965642"/>
                  <a:pt x="449429" y="965642"/>
                </a:cubicBezTo>
                <a:cubicBezTo>
                  <a:pt x="418945" y="965642"/>
                  <a:pt x="394234" y="940932"/>
                  <a:pt x="394234" y="910451"/>
                </a:cubicBezTo>
                <a:cubicBezTo>
                  <a:pt x="394234" y="879970"/>
                  <a:pt x="418945" y="855260"/>
                  <a:pt x="449429" y="855260"/>
                </a:cubicBezTo>
                <a:close/>
                <a:moveTo>
                  <a:pt x="319132" y="855260"/>
                </a:moveTo>
                <a:cubicBezTo>
                  <a:pt x="349615" y="855260"/>
                  <a:pt x="374326" y="879970"/>
                  <a:pt x="374326" y="910451"/>
                </a:cubicBezTo>
                <a:cubicBezTo>
                  <a:pt x="374326" y="940932"/>
                  <a:pt x="349615" y="965642"/>
                  <a:pt x="319132" y="965642"/>
                </a:cubicBezTo>
                <a:cubicBezTo>
                  <a:pt x="288649" y="965642"/>
                  <a:pt x="263940" y="940932"/>
                  <a:pt x="263940" y="910451"/>
                </a:cubicBezTo>
                <a:cubicBezTo>
                  <a:pt x="263940" y="879970"/>
                  <a:pt x="288649" y="855260"/>
                  <a:pt x="319132" y="855260"/>
                </a:cubicBezTo>
                <a:close/>
                <a:moveTo>
                  <a:pt x="185499" y="855260"/>
                </a:moveTo>
                <a:cubicBezTo>
                  <a:pt x="215981" y="855260"/>
                  <a:pt x="240690" y="879970"/>
                  <a:pt x="240690" y="910451"/>
                </a:cubicBezTo>
                <a:cubicBezTo>
                  <a:pt x="240690" y="940932"/>
                  <a:pt x="215981" y="965642"/>
                  <a:pt x="185499" y="965642"/>
                </a:cubicBezTo>
                <a:cubicBezTo>
                  <a:pt x="155018" y="965642"/>
                  <a:pt x="130308" y="940932"/>
                  <a:pt x="130308" y="910451"/>
                </a:cubicBezTo>
                <a:cubicBezTo>
                  <a:pt x="130308" y="879970"/>
                  <a:pt x="155018" y="855260"/>
                  <a:pt x="185499" y="855260"/>
                </a:cubicBezTo>
                <a:close/>
                <a:moveTo>
                  <a:pt x="9733637" y="724970"/>
                </a:moveTo>
                <a:cubicBezTo>
                  <a:pt x="9764119" y="724970"/>
                  <a:pt x="9788829" y="749680"/>
                  <a:pt x="9788829" y="780161"/>
                </a:cubicBezTo>
                <a:cubicBezTo>
                  <a:pt x="9788829" y="810642"/>
                  <a:pt x="9764119" y="835352"/>
                  <a:pt x="9733637" y="835352"/>
                </a:cubicBezTo>
                <a:cubicBezTo>
                  <a:pt x="9703155" y="835352"/>
                  <a:pt x="9678445" y="810642"/>
                  <a:pt x="9678445" y="780161"/>
                </a:cubicBezTo>
                <a:cubicBezTo>
                  <a:pt x="9678445" y="749680"/>
                  <a:pt x="9703155" y="724970"/>
                  <a:pt x="9733637" y="724970"/>
                </a:cubicBezTo>
                <a:close/>
                <a:moveTo>
                  <a:pt x="9603344" y="724970"/>
                </a:moveTo>
                <a:cubicBezTo>
                  <a:pt x="9633826" y="724970"/>
                  <a:pt x="9658536" y="749680"/>
                  <a:pt x="9658536" y="780161"/>
                </a:cubicBezTo>
                <a:cubicBezTo>
                  <a:pt x="9658536" y="810642"/>
                  <a:pt x="9633826" y="835352"/>
                  <a:pt x="9603344" y="835352"/>
                </a:cubicBezTo>
                <a:cubicBezTo>
                  <a:pt x="9572862" y="835352"/>
                  <a:pt x="9548152" y="810642"/>
                  <a:pt x="9548152" y="780161"/>
                </a:cubicBezTo>
                <a:cubicBezTo>
                  <a:pt x="9548152" y="749680"/>
                  <a:pt x="9572862" y="724970"/>
                  <a:pt x="9603344" y="724970"/>
                </a:cubicBezTo>
                <a:close/>
                <a:moveTo>
                  <a:pt x="9469710" y="724970"/>
                </a:moveTo>
                <a:cubicBezTo>
                  <a:pt x="9500192" y="724970"/>
                  <a:pt x="9524902" y="749680"/>
                  <a:pt x="9524902" y="780161"/>
                </a:cubicBezTo>
                <a:cubicBezTo>
                  <a:pt x="9524902" y="810642"/>
                  <a:pt x="9500192" y="835352"/>
                  <a:pt x="9469710" y="835352"/>
                </a:cubicBezTo>
                <a:cubicBezTo>
                  <a:pt x="9439228" y="835352"/>
                  <a:pt x="9414518" y="810642"/>
                  <a:pt x="9414518" y="780161"/>
                </a:cubicBezTo>
                <a:cubicBezTo>
                  <a:pt x="9414518" y="749680"/>
                  <a:pt x="9439228" y="724970"/>
                  <a:pt x="9469710" y="724970"/>
                </a:cubicBezTo>
                <a:close/>
                <a:moveTo>
                  <a:pt x="9336075" y="724970"/>
                </a:moveTo>
                <a:cubicBezTo>
                  <a:pt x="9366557" y="724970"/>
                  <a:pt x="9391267" y="749680"/>
                  <a:pt x="9391267" y="780161"/>
                </a:cubicBezTo>
                <a:cubicBezTo>
                  <a:pt x="9391267" y="810642"/>
                  <a:pt x="9366557" y="835352"/>
                  <a:pt x="9336075" y="835352"/>
                </a:cubicBezTo>
                <a:cubicBezTo>
                  <a:pt x="9305593" y="835352"/>
                  <a:pt x="9280883" y="810642"/>
                  <a:pt x="9280883" y="780161"/>
                </a:cubicBezTo>
                <a:cubicBezTo>
                  <a:pt x="9280883" y="749680"/>
                  <a:pt x="9305593" y="724970"/>
                  <a:pt x="9336075" y="724970"/>
                </a:cubicBezTo>
                <a:close/>
                <a:moveTo>
                  <a:pt x="9199100" y="724970"/>
                </a:moveTo>
                <a:cubicBezTo>
                  <a:pt x="9229582" y="724970"/>
                  <a:pt x="9254292" y="749680"/>
                  <a:pt x="9254292" y="780161"/>
                </a:cubicBezTo>
                <a:cubicBezTo>
                  <a:pt x="9254292" y="810642"/>
                  <a:pt x="9229582" y="835352"/>
                  <a:pt x="9199100" y="835352"/>
                </a:cubicBezTo>
                <a:cubicBezTo>
                  <a:pt x="9168618" y="835352"/>
                  <a:pt x="9143908" y="810642"/>
                  <a:pt x="9143908" y="780161"/>
                </a:cubicBezTo>
                <a:cubicBezTo>
                  <a:pt x="9143908" y="749680"/>
                  <a:pt x="9168618" y="724970"/>
                  <a:pt x="9199100" y="724970"/>
                </a:cubicBezTo>
                <a:close/>
                <a:moveTo>
                  <a:pt x="9068806" y="724970"/>
                </a:moveTo>
                <a:cubicBezTo>
                  <a:pt x="9099288" y="724970"/>
                  <a:pt x="9123998" y="749680"/>
                  <a:pt x="9123998" y="780161"/>
                </a:cubicBezTo>
                <a:cubicBezTo>
                  <a:pt x="9123998" y="810642"/>
                  <a:pt x="9099288" y="835352"/>
                  <a:pt x="9068806" y="835352"/>
                </a:cubicBezTo>
                <a:cubicBezTo>
                  <a:pt x="9038324" y="835352"/>
                  <a:pt x="9013614" y="810642"/>
                  <a:pt x="9013614" y="780161"/>
                </a:cubicBezTo>
                <a:cubicBezTo>
                  <a:pt x="9013614" y="749680"/>
                  <a:pt x="9038324" y="724970"/>
                  <a:pt x="9068806" y="724970"/>
                </a:cubicBezTo>
                <a:close/>
                <a:moveTo>
                  <a:pt x="8935170" y="724970"/>
                </a:moveTo>
                <a:cubicBezTo>
                  <a:pt x="8965652" y="724970"/>
                  <a:pt x="8990362" y="749680"/>
                  <a:pt x="8990362" y="780161"/>
                </a:cubicBezTo>
                <a:cubicBezTo>
                  <a:pt x="8990362" y="810642"/>
                  <a:pt x="8965652" y="835352"/>
                  <a:pt x="8935170" y="835352"/>
                </a:cubicBezTo>
                <a:cubicBezTo>
                  <a:pt x="8904688" y="835352"/>
                  <a:pt x="8879978" y="810642"/>
                  <a:pt x="8879978" y="780161"/>
                </a:cubicBezTo>
                <a:cubicBezTo>
                  <a:pt x="8879978" y="749680"/>
                  <a:pt x="8904688" y="724970"/>
                  <a:pt x="8935170" y="724970"/>
                </a:cubicBezTo>
                <a:close/>
                <a:moveTo>
                  <a:pt x="8801536" y="724970"/>
                </a:moveTo>
                <a:cubicBezTo>
                  <a:pt x="8832018" y="724970"/>
                  <a:pt x="8856728" y="749680"/>
                  <a:pt x="8856728" y="780161"/>
                </a:cubicBezTo>
                <a:cubicBezTo>
                  <a:pt x="8856728" y="810642"/>
                  <a:pt x="8832018" y="835352"/>
                  <a:pt x="8801536" y="835352"/>
                </a:cubicBezTo>
                <a:cubicBezTo>
                  <a:pt x="8771054" y="835352"/>
                  <a:pt x="8746344" y="810642"/>
                  <a:pt x="8746344" y="780161"/>
                </a:cubicBezTo>
                <a:cubicBezTo>
                  <a:pt x="8746344" y="749680"/>
                  <a:pt x="8771054" y="724970"/>
                  <a:pt x="8801536" y="724970"/>
                </a:cubicBezTo>
                <a:close/>
                <a:moveTo>
                  <a:pt x="8671243" y="724970"/>
                </a:moveTo>
                <a:cubicBezTo>
                  <a:pt x="8701725" y="724970"/>
                  <a:pt x="8726435" y="749680"/>
                  <a:pt x="8726435" y="780161"/>
                </a:cubicBezTo>
                <a:cubicBezTo>
                  <a:pt x="8726435" y="810642"/>
                  <a:pt x="8701725" y="835352"/>
                  <a:pt x="8671243" y="835352"/>
                </a:cubicBezTo>
                <a:cubicBezTo>
                  <a:pt x="8640761" y="835352"/>
                  <a:pt x="8616051" y="810642"/>
                  <a:pt x="8616051" y="780161"/>
                </a:cubicBezTo>
                <a:cubicBezTo>
                  <a:pt x="8616051" y="749680"/>
                  <a:pt x="8640761" y="724970"/>
                  <a:pt x="8671243" y="724970"/>
                </a:cubicBezTo>
                <a:close/>
                <a:moveTo>
                  <a:pt x="8537609" y="724970"/>
                </a:moveTo>
                <a:cubicBezTo>
                  <a:pt x="8568091" y="724970"/>
                  <a:pt x="8592801" y="749680"/>
                  <a:pt x="8592801" y="780161"/>
                </a:cubicBezTo>
                <a:cubicBezTo>
                  <a:pt x="8592801" y="810642"/>
                  <a:pt x="8568091" y="835352"/>
                  <a:pt x="8537609" y="835352"/>
                </a:cubicBezTo>
                <a:cubicBezTo>
                  <a:pt x="8507127" y="835352"/>
                  <a:pt x="8482417" y="810642"/>
                  <a:pt x="8482417" y="780161"/>
                </a:cubicBezTo>
                <a:cubicBezTo>
                  <a:pt x="8482417" y="749680"/>
                  <a:pt x="8507127" y="724970"/>
                  <a:pt x="8537609" y="724970"/>
                </a:cubicBezTo>
                <a:close/>
                <a:moveTo>
                  <a:pt x="8407318" y="724970"/>
                </a:moveTo>
                <a:cubicBezTo>
                  <a:pt x="8437800" y="724970"/>
                  <a:pt x="8462510" y="749680"/>
                  <a:pt x="8462510" y="780161"/>
                </a:cubicBezTo>
                <a:cubicBezTo>
                  <a:pt x="8462510" y="810642"/>
                  <a:pt x="8437800" y="835352"/>
                  <a:pt x="8407318" y="835352"/>
                </a:cubicBezTo>
                <a:cubicBezTo>
                  <a:pt x="8376836" y="835352"/>
                  <a:pt x="8352126" y="810642"/>
                  <a:pt x="8352126" y="780161"/>
                </a:cubicBezTo>
                <a:cubicBezTo>
                  <a:pt x="8352126" y="749680"/>
                  <a:pt x="8376836" y="724970"/>
                  <a:pt x="8407318" y="724970"/>
                </a:cubicBezTo>
                <a:close/>
                <a:moveTo>
                  <a:pt x="8273682" y="724970"/>
                </a:moveTo>
                <a:cubicBezTo>
                  <a:pt x="8304164" y="724970"/>
                  <a:pt x="8328874" y="749680"/>
                  <a:pt x="8328874" y="780161"/>
                </a:cubicBezTo>
                <a:cubicBezTo>
                  <a:pt x="8328874" y="810642"/>
                  <a:pt x="8304164" y="835352"/>
                  <a:pt x="8273682" y="835352"/>
                </a:cubicBezTo>
                <a:cubicBezTo>
                  <a:pt x="8243200" y="835352"/>
                  <a:pt x="8218490" y="810642"/>
                  <a:pt x="8218490" y="780161"/>
                </a:cubicBezTo>
                <a:cubicBezTo>
                  <a:pt x="8218490" y="749680"/>
                  <a:pt x="8243200" y="724970"/>
                  <a:pt x="8273682" y="724970"/>
                </a:cubicBezTo>
                <a:close/>
                <a:moveTo>
                  <a:pt x="8143386" y="724970"/>
                </a:moveTo>
                <a:cubicBezTo>
                  <a:pt x="8173868" y="724970"/>
                  <a:pt x="8198578" y="749680"/>
                  <a:pt x="8198578" y="780161"/>
                </a:cubicBezTo>
                <a:cubicBezTo>
                  <a:pt x="8198578" y="810642"/>
                  <a:pt x="8173868" y="835352"/>
                  <a:pt x="8143386" y="835352"/>
                </a:cubicBezTo>
                <a:cubicBezTo>
                  <a:pt x="8112904" y="835352"/>
                  <a:pt x="8088194" y="810642"/>
                  <a:pt x="8088194" y="780161"/>
                </a:cubicBezTo>
                <a:cubicBezTo>
                  <a:pt x="8088194" y="749680"/>
                  <a:pt x="8112904" y="724970"/>
                  <a:pt x="8143386" y="724970"/>
                </a:cubicBezTo>
                <a:close/>
                <a:moveTo>
                  <a:pt x="8009753" y="724970"/>
                </a:moveTo>
                <a:cubicBezTo>
                  <a:pt x="8040235" y="724970"/>
                  <a:pt x="8064945" y="749680"/>
                  <a:pt x="8064945" y="780161"/>
                </a:cubicBezTo>
                <a:cubicBezTo>
                  <a:pt x="8064945" y="810642"/>
                  <a:pt x="8040235" y="835352"/>
                  <a:pt x="8009753" y="835352"/>
                </a:cubicBezTo>
                <a:cubicBezTo>
                  <a:pt x="7979271" y="835352"/>
                  <a:pt x="7954561" y="810642"/>
                  <a:pt x="7954561" y="780161"/>
                </a:cubicBezTo>
                <a:cubicBezTo>
                  <a:pt x="7954561" y="749680"/>
                  <a:pt x="7979271" y="724970"/>
                  <a:pt x="8009753" y="724970"/>
                </a:cubicBezTo>
                <a:close/>
                <a:moveTo>
                  <a:pt x="7876118" y="724970"/>
                </a:moveTo>
                <a:cubicBezTo>
                  <a:pt x="7906600" y="724970"/>
                  <a:pt x="7931310" y="749680"/>
                  <a:pt x="7931310" y="780161"/>
                </a:cubicBezTo>
                <a:cubicBezTo>
                  <a:pt x="7931310" y="810642"/>
                  <a:pt x="7906600" y="835352"/>
                  <a:pt x="7876118" y="835352"/>
                </a:cubicBezTo>
                <a:cubicBezTo>
                  <a:pt x="7845636" y="835352"/>
                  <a:pt x="7820926" y="810642"/>
                  <a:pt x="7820926" y="780161"/>
                </a:cubicBezTo>
                <a:cubicBezTo>
                  <a:pt x="7820926" y="749680"/>
                  <a:pt x="7845636" y="724970"/>
                  <a:pt x="7876118" y="724970"/>
                </a:cubicBezTo>
                <a:close/>
                <a:moveTo>
                  <a:pt x="7745824" y="724970"/>
                </a:moveTo>
                <a:cubicBezTo>
                  <a:pt x="7776306" y="724970"/>
                  <a:pt x="7801016" y="749680"/>
                  <a:pt x="7801016" y="780161"/>
                </a:cubicBezTo>
                <a:cubicBezTo>
                  <a:pt x="7801016" y="810642"/>
                  <a:pt x="7776306" y="835352"/>
                  <a:pt x="7745824" y="835352"/>
                </a:cubicBezTo>
                <a:cubicBezTo>
                  <a:pt x="7715342" y="835352"/>
                  <a:pt x="7690632" y="810642"/>
                  <a:pt x="7690632" y="780161"/>
                </a:cubicBezTo>
                <a:cubicBezTo>
                  <a:pt x="7690632" y="749680"/>
                  <a:pt x="7715342" y="724970"/>
                  <a:pt x="7745824" y="724970"/>
                </a:cubicBezTo>
                <a:close/>
                <a:moveTo>
                  <a:pt x="7608850" y="724970"/>
                </a:moveTo>
                <a:cubicBezTo>
                  <a:pt x="7639332" y="724970"/>
                  <a:pt x="7664042" y="749680"/>
                  <a:pt x="7664042" y="780161"/>
                </a:cubicBezTo>
                <a:cubicBezTo>
                  <a:pt x="7664042" y="810642"/>
                  <a:pt x="7639332" y="835352"/>
                  <a:pt x="7608850" y="835352"/>
                </a:cubicBezTo>
                <a:cubicBezTo>
                  <a:pt x="7578368" y="835352"/>
                  <a:pt x="7553658" y="810642"/>
                  <a:pt x="7553658" y="780161"/>
                </a:cubicBezTo>
                <a:cubicBezTo>
                  <a:pt x="7553658" y="749680"/>
                  <a:pt x="7578368" y="724970"/>
                  <a:pt x="7608850" y="724970"/>
                </a:cubicBezTo>
                <a:close/>
                <a:moveTo>
                  <a:pt x="7481895" y="724970"/>
                </a:moveTo>
                <a:cubicBezTo>
                  <a:pt x="7512377" y="724970"/>
                  <a:pt x="7537087" y="749680"/>
                  <a:pt x="7537087" y="780161"/>
                </a:cubicBezTo>
                <a:cubicBezTo>
                  <a:pt x="7537087" y="810642"/>
                  <a:pt x="7512377" y="835352"/>
                  <a:pt x="7481895" y="835352"/>
                </a:cubicBezTo>
                <a:cubicBezTo>
                  <a:pt x="7451413" y="835352"/>
                  <a:pt x="7426703" y="810642"/>
                  <a:pt x="7426703" y="780161"/>
                </a:cubicBezTo>
                <a:cubicBezTo>
                  <a:pt x="7426703" y="749680"/>
                  <a:pt x="7451413" y="724970"/>
                  <a:pt x="7481895" y="724970"/>
                </a:cubicBezTo>
                <a:close/>
                <a:moveTo>
                  <a:pt x="7341579" y="724970"/>
                </a:moveTo>
                <a:cubicBezTo>
                  <a:pt x="7372061" y="724970"/>
                  <a:pt x="7396771" y="749680"/>
                  <a:pt x="7396771" y="780161"/>
                </a:cubicBezTo>
                <a:cubicBezTo>
                  <a:pt x="7396771" y="810642"/>
                  <a:pt x="7372061" y="835352"/>
                  <a:pt x="7341579" y="835352"/>
                </a:cubicBezTo>
                <a:cubicBezTo>
                  <a:pt x="7311097" y="835352"/>
                  <a:pt x="7286387" y="810642"/>
                  <a:pt x="7286387" y="780161"/>
                </a:cubicBezTo>
                <a:cubicBezTo>
                  <a:pt x="7286387" y="749680"/>
                  <a:pt x="7311097" y="724970"/>
                  <a:pt x="7341579" y="724970"/>
                </a:cubicBezTo>
                <a:close/>
                <a:moveTo>
                  <a:pt x="7211286" y="724970"/>
                </a:moveTo>
                <a:cubicBezTo>
                  <a:pt x="7241768" y="724970"/>
                  <a:pt x="7266478" y="749680"/>
                  <a:pt x="7266478" y="780161"/>
                </a:cubicBezTo>
                <a:cubicBezTo>
                  <a:pt x="7266478" y="810642"/>
                  <a:pt x="7241768" y="835352"/>
                  <a:pt x="7211286" y="835352"/>
                </a:cubicBezTo>
                <a:cubicBezTo>
                  <a:pt x="7180804" y="835352"/>
                  <a:pt x="7156094" y="810642"/>
                  <a:pt x="7156094" y="780161"/>
                </a:cubicBezTo>
                <a:cubicBezTo>
                  <a:pt x="7156094" y="749680"/>
                  <a:pt x="7180804" y="724970"/>
                  <a:pt x="7211286" y="724970"/>
                </a:cubicBezTo>
                <a:close/>
                <a:moveTo>
                  <a:pt x="7080994" y="724970"/>
                </a:moveTo>
                <a:cubicBezTo>
                  <a:pt x="7111476" y="724970"/>
                  <a:pt x="7136186" y="749680"/>
                  <a:pt x="7136186" y="780161"/>
                </a:cubicBezTo>
                <a:cubicBezTo>
                  <a:pt x="7136186" y="810642"/>
                  <a:pt x="7111476" y="835352"/>
                  <a:pt x="7080994" y="835352"/>
                </a:cubicBezTo>
                <a:cubicBezTo>
                  <a:pt x="7050512" y="835352"/>
                  <a:pt x="7025802" y="810642"/>
                  <a:pt x="7025802" y="780161"/>
                </a:cubicBezTo>
                <a:cubicBezTo>
                  <a:pt x="7025802" y="749680"/>
                  <a:pt x="7050512" y="724970"/>
                  <a:pt x="7080994" y="724970"/>
                </a:cubicBezTo>
                <a:close/>
                <a:moveTo>
                  <a:pt x="6947358" y="724970"/>
                </a:moveTo>
                <a:cubicBezTo>
                  <a:pt x="6977840" y="724970"/>
                  <a:pt x="7002550" y="749680"/>
                  <a:pt x="7002550" y="780161"/>
                </a:cubicBezTo>
                <a:cubicBezTo>
                  <a:pt x="7002550" y="810642"/>
                  <a:pt x="6977840" y="835352"/>
                  <a:pt x="6947358" y="835352"/>
                </a:cubicBezTo>
                <a:cubicBezTo>
                  <a:pt x="6916876" y="835352"/>
                  <a:pt x="6892166" y="810642"/>
                  <a:pt x="6892166" y="780161"/>
                </a:cubicBezTo>
                <a:cubicBezTo>
                  <a:pt x="6892166" y="749680"/>
                  <a:pt x="6916876" y="724970"/>
                  <a:pt x="6947358" y="724970"/>
                </a:cubicBezTo>
                <a:close/>
                <a:moveTo>
                  <a:pt x="6817064" y="724970"/>
                </a:moveTo>
                <a:cubicBezTo>
                  <a:pt x="6847546" y="724970"/>
                  <a:pt x="6872256" y="749680"/>
                  <a:pt x="6872256" y="780161"/>
                </a:cubicBezTo>
                <a:cubicBezTo>
                  <a:pt x="6872256" y="810642"/>
                  <a:pt x="6847546" y="835352"/>
                  <a:pt x="6817064" y="835352"/>
                </a:cubicBezTo>
                <a:cubicBezTo>
                  <a:pt x="6786582" y="835352"/>
                  <a:pt x="6761872" y="810642"/>
                  <a:pt x="6761872" y="780161"/>
                </a:cubicBezTo>
                <a:cubicBezTo>
                  <a:pt x="6761872" y="749680"/>
                  <a:pt x="6786582" y="724970"/>
                  <a:pt x="6817064" y="724970"/>
                </a:cubicBezTo>
                <a:close/>
                <a:moveTo>
                  <a:pt x="6683431" y="724970"/>
                </a:moveTo>
                <a:cubicBezTo>
                  <a:pt x="6713913" y="724970"/>
                  <a:pt x="6738623" y="749680"/>
                  <a:pt x="6738623" y="780161"/>
                </a:cubicBezTo>
                <a:cubicBezTo>
                  <a:pt x="6738623" y="810642"/>
                  <a:pt x="6713913" y="835352"/>
                  <a:pt x="6683431" y="835352"/>
                </a:cubicBezTo>
                <a:cubicBezTo>
                  <a:pt x="6652949" y="835352"/>
                  <a:pt x="6628239" y="810642"/>
                  <a:pt x="6628239" y="780161"/>
                </a:cubicBezTo>
                <a:cubicBezTo>
                  <a:pt x="6628239" y="749680"/>
                  <a:pt x="6652949" y="724970"/>
                  <a:pt x="6683431" y="724970"/>
                </a:cubicBezTo>
                <a:close/>
                <a:moveTo>
                  <a:pt x="6553137" y="724970"/>
                </a:moveTo>
                <a:cubicBezTo>
                  <a:pt x="6583619" y="724970"/>
                  <a:pt x="6608329" y="749680"/>
                  <a:pt x="6608329" y="780161"/>
                </a:cubicBezTo>
                <a:cubicBezTo>
                  <a:pt x="6608329" y="810642"/>
                  <a:pt x="6583619" y="835352"/>
                  <a:pt x="6553137" y="835352"/>
                </a:cubicBezTo>
                <a:cubicBezTo>
                  <a:pt x="6522655" y="835352"/>
                  <a:pt x="6497945" y="810642"/>
                  <a:pt x="6497945" y="780161"/>
                </a:cubicBezTo>
                <a:cubicBezTo>
                  <a:pt x="6497945" y="749680"/>
                  <a:pt x="6522655" y="724970"/>
                  <a:pt x="6553137" y="724970"/>
                </a:cubicBezTo>
                <a:close/>
                <a:moveTo>
                  <a:pt x="6419503" y="724970"/>
                </a:moveTo>
                <a:cubicBezTo>
                  <a:pt x="6449985" y="724970"/>
                  <a:pt x="6474695" y="749680"/>
                  <a:pt x="6474695" y="780161"/>
                </a:cubicBezTo>
                <a:cubicBezTo>
                  <a:pt x="6474695" y="810642"/>
                  <a:pt x="6449985" y="835352"/>
                  <a:pt x="6419503" y="835352"/>
                </a:cubicBezTo>
                <a:cubicBezTo>
                  <a:pt x="6389021" y="835352"/>
                  <a:pt x="6364311" y="810642"/>
                  <a:pt x="6364311" y="780161"/>
                </a:cubicBezTo>
                <a:cubicBezTo>
                  <a:pt x="6364311" y="749680"/>
                  <a:pt x="6389021" y="724970"/>
                  <a:pt x="6419503" y="724970"/>
                </a:cubicBezTo>
                <a:close/>
                <a:moveTo>
                  <a:pt x="6289207" y="724970"/>
                </a:moveTo>
                <a:cubicBezTo>
                  <a:pt x="6319689" y="724970"/>
                  <a:pt x="6344399" y="749680"/>
                  <a:pt x="6344399" y="780161"/>
                </a:cubicBezTo>
                <a:cubicBezTo>
                  <a:pt x="6344399" y="810642"/>
                  <a:pt x="6319689" y="835352"/>
                  <a:pt x="6289207" y="835352"/>
                </a:cubicBezTo>
                <a:cubicBezTo>
                  <a:pt x="6258725" y="835352"/>
                  <a:pt x="6234015" y="810642"/>
                  <a:pt x="6234015" y="780161"/>
                </a:cubicBezTo>
                <a:cubicBezTo>
                  <a:pt x="6234015" y="749680"/>
                  <a:pt x="6258725" y="724970"/>
                  <a:pt x="6289207" y="724970"/>
                </a:cubicBezTo>
                <a:close/>
                <a:moveTo>
                  <a:pt x="6155573" y="724970"/>
                </a:moveTo>
                <a:cubicBezTo>
                  <a:pt x="6186055" y="724970"/>
                  <a:pt x="6210765" y="749680"/>
                  <a:pt x="6210765" y="780161"/>
                </a:cubicBezTo>
                <a:cubicBezTo>
                  <a:pt x="6210765" y="810642"/>
                  <a:pt x="6186055" y="835352"/>
                  <a:pt x="6155573" y="835352"/>
                </a:cubicBezTo>
                <a:cubicBezTo>
                  <a:pt x="6125091" y="835352"/>
                  <a:pt x="6100381" y="810642"/>
                  <a:pt x="6100381" y="780161"/>
                </a:cubicBezTo>
                <a:cubicBezTo>
                  <a:pt x="6100381" y="749680"/>
                  <a:pt x="6125091" y="724970"/>
                  <a:pt x="6155573" y="724970"/>
                </a:cubicBezTo>
                <a:close/>
                <a:moveTo>
                  <a:pt x="5621035" y="724970"/>
                </a:moveTo>
                <a:cubicBezTo>
                  <a:pt x="5651517" y="724970"/>
                  <a:pt x="5676227" y="749680"/>
                  <a:pt x="5676227" y="780161"/>
                </a:cubicBezTo>
                <a:cubicBezTo>
                  <a:pt x="5676227" y="810642"/>
                  <a:pt x="5651517" y="835352"/>
                  <a:pt x="5621035" y="835352"/>
                </a:cubicBezTo>
                <a:cubicBezTo>
                  <a:pt x="5590553" y="835352"/>
                  <a:pt x="5565843" y="810642"/>
                  <a:pt x="5565843" y="780161"/>
                </a:cubicBezTo>
                <a:cubicBezTo>
                  <a:pt x="5565843" y="749680"/>
                  <a:pt x="5590553" y="724970"/>
                  <a:pt x="5621035" y="724970"/>
                </a:cubicBezTo>
                <a:close/>
                <a:moveTo>
                  <a:pt x="5487399" y="724970"/>
                </a:moveTo>
                <a:cubicBezTo>
                  <a:pt x="5517881" y="724970"/>
                  <a:pt x="5542591" y="749680"/>
                  <a:pt x="5542591" y="780161"/>
                </a:cubicBezTo>
                <a:cubicBezTo>
                  <a:pt x="5542591" y="810642"/>
                  <a:pt x="5517881" y="835352"/>
                  <a:pt x="5487399" y="835352"/>
                </a:cubicBezTo>
                <a:cubicBezTo>
                  <a:pt x="5456917" y="835352"/>
                  <a:pt x="5432207" y="810642"/>
                  <a:pt x="5432207" y="780161"/>
                </a:cubicBezTo>
                <a:cubicBezTo>
                  <a:pt x="5432207" y="749680"/>
                  <a:pt x="5456917" y="724970"/>
                  <a:pt x="5487399" y="724970"/>
                </a:cubicBezTo>
                <a:close/>
                <a:moveTo>
                  <a:pt x="5357106" y="724970"/>
                </a:moveTo>
                <a:cubicBezTo>
                  <a:pt x="5387588" y="724970"/>
                  <a:pt x="5412298" y="749680"/>
                  <a:pt x="5412298" y="780161"/>
                </a:cubicBezTo>
                <a:cubicBezTo>
                  <a:pt x="5412298" y="810642"/>
                  <a:pt x="5387588" y="835352"/>
                  <a:pt x="5357106" y="835352"/>
                </a:cubicBezTo>
                <a:cubicBezTo>
                  <a:pt x="5326624" y="835352"/>
                  <a:pt x="5301914" y="810642"/>
                  <a:pt x="5301914" y="780161"/>
                </a:cubicBezTo>
                <a:cubicBezTo>
                  <a:pt x="5301914" y="749680"/>
                  <a:pt x="5326624" y="724970"/>
                  <a:pt x="5357106" y="724970"/>
                </a:cubicBezTo>
                <a:close/>
                <a:moveTo>
                  <a:pt x="5223473" y="724970"/>
                </a:moveTo>
                <a:cubicBezTo>
                  <a:pt x="5253955" y="724970"/>
                  <a:pt x="5278665" y="749680"/>
                  <a:pt x="5278665" y="780161"/>
                </a:cubicBezTo>
                <a:cubicBezTo>
                  <a:pt x="5278665" y="810642"/>
                  <a:pt x="5253955" y="835352"/>
                  <a:pt x="5223473" y="835352"/>
                </a:cubicBezTo>
                <a:cubicBezTo>
                  <a:pt x="5192991" y="835352"/>
                  <a:pt x="5168281" y="810642"/>
                  <a:pt x="5168281" y="780161"/>
                </a:cubicBezTo>
                <a:cubicBezTo>
                  <a:pt x="5168281" y="749680"/>
                  <a:pt x="5192991" y="724970"/>
                  <a:pt x="5223473" y="724970"/>
                </a:cubicBezTo>
                <a:close/>
                <a:moveTo>
                  <a:pt x="5093178" y="724970"/>
                </a:moveTo>
                <a:cubicBezTo>
                  <a:pt x="5123660" y="724970"/>
                  <a:pt x="5148370" y="749680"/>
                  <a:pt x="5148370" y="780161"/>
                </a:cubicBezTo>
                <a:cubicBezTo>
                  <a:pt x="5148370" y="810642"/>
                  <a:pt x="5123660" y="835352"/>
                  <a:pt x="5093178" y="835352"/>
                </a:cubicBezTo>
                <a:cubicBezTo>
                  <a:pt x="5062696" y="835352"/>
                  <a:pt x="5037986" y="810642"/>
                  <a:pt x="5037986" y="780161"/>
                </a:cubicBezTo>
                <a:cubicBezTo>
                  <a:pt x="5037986" y="749680"/>
                  <a:pt x="5062696" y="724970"/>
                  <a:pt x="5093178" y="724970"/>
                </a:cubicBezTo>
                <a:close/>
                <a:moveTo>
                  <a:pt x="3897148" y="724970"/>
                </a:moveTo>
                <a:cubicBezTo>
                  <a:pt x="3927630" y="724970"/>
                  <a:pt x="3952340" y="749680"/>
                  <a:pt x="3952340" y="780161"/>
                </a:cubicBezTo>
                <a:cubicBezTo>
                  <a:pt x="3952340" y="810642"/>
                  <a:pt x="3927630" y="835352"/>
                  <a:pt x="3897148" y="835352"/>
                </a:cubicBezTo>
                <a:cubicBezTo>
                  <a:pt x="3866666" y="835352"/>
                  <a:pt x="3841956" y="810642"/>
                  <a:pt x="3841956" y="780161"/>
                </a:cubicBezTo>
                <a:cubicBezTo>
                  <a:pt x="3841956" y="749680"/>
                  <a:pt x="3866666" y="724970"/>
                  <a:pt x="3897148" y="724970"/>
                </a:cubicBezTo>
                <a:close/>
                <a:moveTo>
                  <a:pt x="3763514" y="724970"/>
                </a:moveTo>
                <a:cubicBezTo>
                  <a:pt x="3793996" y="724970"/>
                  <a:pt x="3818706" y="749680"/>
                  <a:pt x="3818706" y="780161"/>
                </a:cubicBezTo>
                <a:cubicBezTo>
                  <a:pt x="3818706" y="810642"/>
                  <a:pt x="3793996" y="835352"/>
                  <a:pt x="3763514" y="835352"/>
                </a:cubicBezTo>
                <a:cubicBezTo>
                  <a:pt x="3733032" y="835352"/>
                  <a:pt x="3708322" y="810642"/>
                  <a:pt x="3708322" y="780161"/>
                </a:cubicBezTo>
                <a:cubicBezTo>
                  <a:pt x="3708322" y="749680"/>
                  <a:pt x="3733032" y="724970"/>
                  <a:pt x="3763514" y="724970"/>
                </a:cubicBezTo>
                <a:close/>
                <a:moveTo>
                  <a:pt x="3633221" y="724970"/>
                </a:moveTo>
                <a:cubicBezTo>
                  <a:pt x="3663703" y="724970"/>
                  <a:pt x="3688413" y="749680"/>
                  <a:pt x="3688413" y="780161"/>
                </a:cubicBezTo>
                <a:cubicBezTo>
                  <a:pt x="3688413" y="810642"/>
                  <a:pt x="3663703" y="835352"/>
                  <a:pt x="3633221" y="835352"/>
                </a:cubicBezTo>
                <a:cubicBezTo>
                  <a:pt x="3602739" y="835352"/>
                  <a:pt x="3578029" y="810642"/>
                  <a:pt x="3578029" y="780161"/>
                </a:cubicBezTo>
                <a:cubicBezTo>
                  <a:pt x="3578029" y="749680"/>
                  <a:pt x="3602739" y="724970"/>
                  <a:pt x="3633221" y="724970"/>
                </a:cubicBezTo>
                <a:close/>
                <a:moveTo>
                  <a:pt x="3499586" y="724970"/>
                </a:moveTo>
                <a:cubicBezTo>
                  <a:pt x="3530068" y="724970"/>
                  <a:pt x="3554778" y="749680"/>
                  <a:pt x="3554778" y="780161"/>
                </a:cubicBezTo>
                <a:cubicBezTo>
                  <a:pt x="3554778" y="810642"/>
                  <a:pt x="3530068" y="835352"/>
                  <a:pt x="3499586" y="835352"/>
                </a:cubicBezTo>
                <a:cubicBezTo>
                  <a:pt x="3469104" y="835352"/>
                  <a:pt x="3444394" y="810642"/>
                  <a:pt x="3444394" y="780161"/>
                </a:cubicBezTo>
                <a:cubicBezTo>
                  <a:pt x="3444394" y="749680"/>
                  <a:pt x="3469104" y="724970"/>
                  <a:pt x="3499586" y="724970"/>
                </a:cubicBezTo>
                <a:close/>
                <a:moveTo>
                  <a:pt x="3369292" y="724970"/>
                </a:moveTo>
                <a:cubicBezTo>
                  <a:pt x="3399774" y="724970"/>
                  <a:pt x="3424484" y="749680"/>
                  <a:pt x="3424484" y="780161"/>
                </a:cubicBezTo>
                <a:cubicBezTo>
                  <a:pt x="3424484" y="810642"/>
                  <a:pt x="3399774" y="835352"/>
                  <a:pt x="3369292" y="835352"/>
                </a:cubicBezTo>
                <a:cubicBezTo>
                  <a:pt x="3338810" y="835352"/>
                  <a:pt x="3314100" y="810642"/>
                  <a:pt x="3314100" y="780161"/>
                </a:cubicBezTo>
                <a:cubicBezTo>
                  <a:pt x="3314100" y="749680"/>
                  <a:pt x="3338810" y="724970"/>
                  <a:pt x="3369292" y="724970"/>
                </a:cubicBezTo>
                <a:close/>
                <a:moveTo>
                  <a:pt x="2834856" y="724970"/>
                </a:moveTo>
                <a:cubicBezTo>
                  <a:pt x="2865340" y="724970"/>
                  <a:pt x="2890049" y="749680"/>
                  <a:pt x="2890049" y="780161"/>
                </a:cubicBezTo>
                <a:cubicBezTo>
                  <a:pt x="2890049" y="810642"/>
                  <a:pt x="2865340" y="835352"/>
                  <a:pt x="2834856" y="835352"/>
                </a:cubicBezTo>
                <a:cubicBezTo>
                  <a:pt x="2804376" y="835352"/>
                  <a:pt x="2779665" y="810642"/>
                  <a:pt x="2779665" y="780161"/>
                </a:cubicBezTo>
                <a:cubicBezTo>
                  <a:pt x="2779665" y="749680"/>
                  <a:pt x="2804376" y="724970"/>
                  <a:pt x="2834856" y="724970"/>
                </a:cubicBezTo>
                <a:close/>
                <a:moveTo>
                  <a:pt x="2707901" y="724970"/>
                </a:moveTo>
                <a:cubicBezTo>
                  <a:pt x="2738385" y="724970"/>
                  <a:pt x="2763094" y="749680"/>
                  <a:pt x="2763094" y="780161"/>
                </a:cubicBezTo>
                <a:cubicBezTo>
                  <a:pt x="2763094" y="810642"/>
                  <a:pt x="2738385" y="835352"/>
                  <a:pt x="2707901" y="835352"/>
                </a:cubicBezTo>
                <a:cubicBezTo>
                  <a:pt x="2677420" y="835352"/>
                  <a:pt x="2652711" y="810642"/>
                  <a:pt x="2652711" y="780161"/>
                </a:cubicBezTo>
                <a:cubicBezTo>
                  <a:pt x="2652711" y="749680"/>
                  <a:pt x="2677420" y="724970"/>
                  <a:pt x="2707901" y="724970"/>
                </a:cubicBezTo>
                <a:close/>
                <a:moveTo>
                  <a:pt x="2570929" y="724970"/>
                </a:moveTo>
                <a:cubicBezTo>
                  <a:pt x="2601412" y="724970"/>
                  <a:pt x="2626122" y="749680"/>
                  <a:pt x="2626122" y="780161"/>
                </a:cubicBezTo>
                <a:cubicBezTo>
                  <a:pt x="2626122" y="810642"/>
                  <a:pt x="2601412" y="835352"/>
                  <a:pt x="2570929" y="835352"/>
                </a:cubicBezTo>
                <a:cubicBezTo>
                  <a:pt x="2540446" y="835352"/>
                  <a:pt x="2515735" y="810642"/>
                  <a:pt x="2515735" y="780161"/>
                </a:cubicBezTo>
                <a:cubicBezTo>
                  <a:pt x="2515735" y="749680"/>
                  <a:pt x="2540446" y="724970"/>
                  <a:pt x="2570929" y="724970"/>
                </a:cubicBezTo>
                <a:close/>
                <a:moveTo>
                  <a:pt x="2437294" y="724970"/>
                </a:moveTo>
                <a:cubicBezTo>
                  <a:pt x="2467777" y="724970"/>
                  <a:pt x="2492487" y="749680"/>
                  <a:pt x="2492487" y="780161"/>
                </a:cubicBezTo>
                <a:cubicBezTo>
                  <a:pt x="2492487" y="810642"/>
                  <a:pt x="2467777" y="835352"/>
                  <a:pt x="2437294" y="835352"/>
                </a:cubicBezTo>
                <a:cubicBezTo>
                  <a:pt x="2406815" y="835352"/>
                  <a:pt x="2382104" y="810642"/>
                  <a:pt x="2382104" y="780161"/>
                </a:cubicBezTo>
                <a:cubicBezTo>
                  <a:pt x="2382104" y="749680"/>
                  <a:pt x="2406815" y="724970"/>
                  <a:pt x="2437294" y="724970"/>
                </a:cubicBezTo>
                <a:close/>
                <a:moveTo>
                  <a:pt x="2303662" y="724970"/>
                </a:moveTo>
                <a:cubicBezTo>
                  <a:pt x="2334145" y="724970"/>
                  <a:pt x="2358853" y="749680"/>
                  <a:pt x="2358853" y="780161"/>
                </a:cubicBezTo>
                <a:cubicBezTo>
                  <a:pt x="2358853" y="810642"/>
                  <a:pt x="2334145" y="835352"/>
                  <a:pt x="2303662" y="835352"/>
                </a:cubicBezTo>
                <a:cubicBezTo>
                  <a:pt x="2273180" y="835352"/>
                  <a:pt x="2248471" y="810642"/>
                  <a:pt x="2248471" y="780161"/>
                </a:cubicBezTo>
                <a:cubicBezTo>
                  <a:pt x="2248471" y="749680"/>
                  <a:pt x="2273180" y="724970"/>
                  <a:pt x="2303662" y="724970"/>
                </a:cubicBezTo>
                <a:close/>
                <a:moveTo>
                  <a:pt x="2173371" y="724970"/>
                </a:moveTo>
                <a:cubicBezTo>
                  <a:pt x="2203851" y="724970"/>
                  <a:pt x="2228562" y="749680"/>
                  <a:pt x="2228562" y="780161"/>
                </a:cubicBezTo>
                <a:cubicBezTo>
                  <a:pt x="2228562" y="810642"/>
                  <a:pt x="2203851" y="835352"/>
                  <a:pt x="2173371" y="835352"/>
                </a:cubicBezTo>
                <a:cubicBezTo>
                  <a:pt x="2142888" y="835352"/>
                  <a:pt x="2118177" y="810642"/>
                  <a:pt x="2118177" y="780161"/>
                </a:cubicBezTo>
                <a:cubicBezTo>
                  <a:pt x="2118177" y="749680"/>
                  <a:pt x="2142888" y="724970"/>
                  <a:pt x="2173371" y="724970"/>
                </a:cubicBezTo>
                <a:close/>
                <a:moveTo>
                  <a:pt x="2039733" y="724970"/>
                </a:moveTo>
                <a:cubicBezTo>
                  <a:pt x="2070216" y="724970"/>
                  <a:pt x="2094927" y="749680"/>
                  <a:pt x="2094927" y="780161"/>
                </a:cubicBezTo>
                <a:cubicBezTo>
                  <a:pt x="2094927" y="810642"/>
                  <a:pt x="2070216" y="835352"/>
                  <a:pt x="2039733" y="835352"/>
                </a:cubicBezTo>
                <a:cubicBezTo>
                  <a:pt x="2009252" y="835352"/>
                  <a:pt x="1984539" y="810642"/>
                  <a:pt x="1984539" y="780161"/>
                </a:cubicBezTo>
                <a:cubicBezTo>
                  <a:pt x="1984539" y="749680"/>
                  <a:pt x="2009252" y="724970"/>
                  <a:pt x="2039733" y="724970"/>
                </a:cubicBezTo>
                <a:close/>
                <a:moveTo>
                  <a:pt x="1909436" y="724970"/>
                </a:moveTo>
                <a:cubicBezTo>
                  <a:pt x="1939919" y="724970"/>
                  <a:pt x="1964630" y="749680"/>
                  <a:pt x="1964630" y="780161"/>
                </a:cubicBezTo>
                <a:cubicBezTo>
                  <a:pt x="1964630" y="810642"/>
                  <a:pt x="1939919" y="835352"/>
                  <a:pt x="1909436" y="835352"/>
                </a:cubicBezTo>
                <a:cubicBezTo>
                  <a:pt x="1878955" y="835352"/>
                  <a:pt x="1854243" y="810642"/>
                  <a:pt x="1854243" y="780161"/>
                </a:cubicBezTo>
                <a:cubicBezTo>
                  <a:pt x="1854243" y="749680"/>
                  <a:pt x="1878955" y="724970"/>
                  <a:pt x="1909436" y="724970"/>
                </a:cubicBezTo>
                <a:close/>
                <a:moveTo>
                  <a:pt x="1779142" y="724970"/>
                </a:moveTo>
                <a:cubicBezTo>
                  <a:pt x="1809623" y="724970"/>
                  <a:pt x="1834335" y="749680"/>
                  <a:pt x="1834335" y="780161"/>
                </a:cubicBezTo>
                <a:cubicBezTo>
                  <a:pt x="1834335" y="810642"/>
                  <a:pt x="1809623" y="835352"/>
                  <a:pt x="1779142" y="835352"/>
                </a:cubicBezTo>
                <a:cubicBezTo>
                  <a:pt x="1748660" y="835352"/>
                  <a:pt x="1723947" y="810642"/>
                  <a:pt x="1723947" y="780161"/>
                </a:cubicBezTo>
                <a:cubicBezTo>
                  <a:pt x="1723947" y="749680"/>
                  <a:pt x="1748660" y="724970"/>
                  <a:pt x="1779142" y="724970"/>
                </a:cubicBezTo>
                <a:close/>
                <a:moveTo>
                  <a:pt x="1645501" y="724970"/>
                </a:moveTo>
                <a:cubicBezTo>
                  <a:pt x="1675988" y="724970"/>
                  <a:pt x="1700699" y="749680"/>
                  <a:pt x="1700699" y="780161"/>
                </a:cubicBezTo>
                <a:cubicBezTo>
                  <a:pt x="1700699" y="810642"/>
                  <a:pt x="1675988" y="835352"/>
                  <a:pt x="1645501" y="835352"/>
                </a:cubicBezTo>
                <a:cubicBezTo>
                  <a:pt x="1615024" y="835352"/>
                  <a:pt x="1590310" y="810642"/>
                  <a:pt x="1590310" y="780161"/>
                </a:cubicBezTo>
                <a:cubicBezTo>
                  <a:pt x="1590310" y="749680"/>
                  <a:pt x="1615024" y="724970"/>
                  <a:pt x="1645501" y="724970"/>
                </a:cubicBezTo>
                <a:close/>
                <a:moveTo>
                  <a:pt x="1515213" y="724970"/>
                </a:moveTo>
                <a:cubicBezTo>
                  <a:pt x="1545692" y="724970"/>
                  <a:pt x="1570399" y="749680"/>
                  <a:pt x="1570399" y="780161"/>
                </a:cubicBezTo>
                <a:cubicBezTo>
                  <a:pt x="1570399" y="810642"/>
                  <a:pt x="1545692" y="835352"/>
                  <a:pt x="1515213" y="835352"/>
                </a:cubicBezTo>
                <a:cubicBezTo>
                  <a:pt x="1484730" y="835352"/>
                  <a:pt x="1460016" y="810642"/>
                  <a:pt x="1460016" y="780161"/>
                </a:cubicBezTo>
                <a:cubicBezTo>
                  <a:pt x="1460016" y="749680"/>
                  <a:pt x="1484730" y="724970"/>
                  <a:pt x="1515213" y="724970"/>
                </a:cubicBezTo>
                <a:close/>
                <a:moveTo>
                  <a:pt x="1381573" y="724970"/>
                </a:moveTo>
                <a:cubicBezTo>
                  <a:pt x="1412052" y="724970"/>
                  <a:pt x="1436767" y="749680"/>
                  <a:pt x="1436767" y="780161"/>
                </a:cubicBezTo>
                <a:cubicBezTo>
                  <a:pt x="1436767" y="810642"/>
                  <a:pt x="1412052" y="835352"/>
                  <a:pt x="1381573" y="835352"/>
                </a:cubicBezTo>
                <a:cubicBezTo>
                  <a:pt x="1351096" y="835352"/>
                  <a:pt x="1326381" y="810642"/>
                  <a:pt x="1326381" y="780161"/>
                </a:cubicBezTo>
                <a:cubicBezTo>
                  <a:pt x="1326381" y="749680"/>
                  <a:pt x="1351096" y="724970"/>
                  <a:pt x="1381573" y="724970"/>
                </a:cubicBezTo>
                <a:close/>
                <a:moveTo>
                  <a:pt x="1251282" y="724970"/>
                </a:moveTo>
                <a:cubicBezTo>
                  <a:pt x="1281764" y="724970"/>
                  <a:pt x="1306475" y="749680"/>
                  <a:pt x="1306475" y="780161"/>
                </a:cubicBezTo>
                <a:cubicBezTo>
                  <a:pt x="1306475" y="810642"/>
                  <a:pt x="1281764" y="835352"/>
                  <a:pt x="1251282" y="835352"/>
                </a:cubicBezTo>
                <a:cubicBezTo>
                  <a:pt x="1220800" y="835352"/>
                  <a:pt x="1196089" y="810642"/>
                  <a:pt x="1196089" y="780161"/>
                </a:cubicBezTo>
                <a:cubicBezTo>
                  <a:pt x="1196089" y="749680"/>
                  <a:pt x="1220800" y="724970"/>
                  <a:pt x="1251282" y="724970"/>
                </a:cubicBezTo>
                <a:close/>
                <a:moveTo>
                  <a:pt x="1117642" y="724970"/>
                </a:moveTo>
                <a:cubicBezTo>
                  <a:pt x="1148126" y="724970"/>
                  <a:pt x="1172836" y="749680"/>
                  <a:pt x="1172836" y="780161"/>
                </a:cubicBezTo>
                <a:cubicBezTo>
                  <a:pt x="1172836" y="810642"/>
                  <a:pt x="1148126" y="835352"/>
                  <a:pt x="1117642" y="835352"/>
                </a:cubicBezTo>
                <a:cubicBezTo>
                  <a:pt x="1087161" y="835352"/>
                  <a:pt x="1062448" y="810642"/>
                  <a:pt x="1062448" y="780161"/>
                </a:cubicBezTo>
                <a:cubicBezTo>
                  <a:pt x="1062448" y="749680"/>
                  <a:pt x="1087161" y="724970"/>
                  <a:pt x="1117642" y="724970"/>
                </a:cubicBezTo>
                <a:close/>
                <a:moveTo>
                  <a:pt x="980664" y="724970"/>
                </a:moveTo>
                <a:cubicBezTo>
                  <a:pt x="1011146" y="724970"/>
                  <a:pt x="1035857" y="749680"/>
                  <a:pt x="1035857" y="780161"/>
                </a:cubicBezTo>
                <a:cubicBezTo>
                  <a:pt x="1035857" y="810642"/>
                  <a:pt x="1011146" y="835352"/>
                  <a:pt x="980664" y="835352"/>
                </a:cubicBezTo>
                <a:cubicBezTo>
                  <a:pt x="950180" y="835352"/>
                  <a:pt x="925471" y="810642"/>
                  <a:pt x="925471" y="780161"/>
                </a:cubicBezTo>
                <a:cubicBezTo>
                  <a:pt x="925471" y="749680"/>
                  <a:pt x="950180" y="724970"/>
                  <a:pt x="980664" y="724970"/>
                </a:cubicBezTo>
                <a:close/>
                <a:moveTo>
                  <a:pt x="847022" y="724970"/>
                </a:moveTo>
                <a:cubicBezTo>
                  <a:pt x="877506" y="724970"/>
                  <a:pt x="902217" y="749680"/>
                  <a:pt x="902217" y="780161"/>
                </a:cubicBezTo>
                <a:cubicBezTo>
                  <a:pt x="902217" y="810642"/>
                  <a:pt x="877506" y="835352"/>
                  <a:pt x="847022" y="835352"/>
                </a:cubicBezTo>
                <a:cubicBezTo>
                  <a:pt x="816540" y="835352"/>
                  <a:pt x="791823" y="810642"/>
                  <a:pt x="791823" y="780161"/>
                </a:cubicBezTo>
                <a:cubicBezTo>
                  <a:pt x="791823" y="749680"/>
                  <a:pt x="816540" y="724970"/>
                  <a:pt x="847022" y="724970"/>
                </a:cubicBezTo>
                <a:close/>
                <a:moveTo>
                  <a:pt x="716722" y="724970"/>
                </a:moveTo>
                <a:cubicBezTo>
                  <a:pt x="747204" y="724970"/>
                  <a:pt x="771916" y="749680"/>
                  <a:pt x="771916" y="780161"/>
                </a:cubicBezTo>
                <a:cubicBezTo>
                  <a:pt x="771916" y="810642"/>
                  <a:pt x="747204" y="835352"/>
                  <a:pt x="716722" y="835352"/>
                </a:cubicBezTo>
                <a:cubicBezTo>
                  <a:pt x="686240" y="835352"/>
                  <a:pt x="661530" y="810642"/>
                  <a:pt x="661530" y="780161"/>
                </a:cubicBezTo>
                <a:cubicBezTo>
                  <a:pt x="661530" y="749680"/>
                  <a:pt x="686240" y="724970"/>
                  <a:pt x="716722" y="724970"/>
                </a:cubicBezTo>
                <a:close/>
                <a:moveTo>
                  <a:pt x="583085" y="724970"/>
                </a:moveTo>
                <a:cubicBezTo>
                  <a:pt x="613567" y="724970"/>
                  <a:pt x="638278" y="749680"/>
                  <a:pt x="638278" y="780161"/>
                </a:cubicBezTo>
                <a:cubicBezTo>
                  <a:pt x="638278" y="810642"/>
                  <a:pt x="613567" y="835352"/>
                  <a:pt x="583085" y="835352"/>
                </a:cubicBezTo>
                <a:cubicBezTo>
                  <a:pt x="552602" y="835352"/>
                  <a:pt x="527891" y="810642"/>
                  <a:pt x="527891" y="780161"/>
                </a:cubicBezTo>
                <a:cubicBezTo>
                  <a:pt x="527891" y="749680"/>
                  <a:pt x="552602" y="724970"/>
                  <a:pt x="583085" y="724970"/>
                </a:cubicBezTo>
                <a:close/>
                <a:moveTo>
                  <a:pt x="449437" y="724970"/>
                </a:moveTo>
                <a:cubicBezTo>
                  <a:pt x="479919" y="724970"/>
                  <a:pt x="504629" y="749680"/>
                  <a:pt x="504629" y="780161"/>
                </a:cubicBezTo>
                <a:cubicBezTo>
                  <a:pt x="504629" y="810642"/>
                  <a:pt x="479919" y="835352"/>
                  <a:pt x="449437" y="835352"/>
                </a:cubicBezTo>
                <a:cubicBezTo>
                  <a:pt x="418954" y="835352"/>
                  <a:pt x="394244" y="810642"/>
                  <a:pt x="394244" y="780161"/>
                </a:cubicBezTo>
                <a:cubicBezTo>
                  <a:pt x="394244" y="749680"/>
                  <a:pt x="418954" y="724970"/>
                  <a:pt x="449437" y="724970"/>
                </a:cubicBezTo>
                <a:close/>
                <a:moveTo>
                  <a:pt x="319140" y="724970"/>
                </a:moveTo>
                <a:cubicBezTo>
                  <a:pt x="349624" y="724970"/>
                  <a:pt x="374334" y="749680"/>
                  <a:pt x="374334" y="780161"/>
                </a:cubicBezTo>
                <a:cubicBezTo>
                  <a:pt x="374334" y="810642"/>
                  <a:pt x="349624" y="835352"/>
                  <a:pt x="319140" y="835352"/>
                </a:cubicBezTo>
                <a:cubicBezTo>
                  <a:pt x="288658" y="835352"/>
                  <a:pt x="263948" y="810642"/>
                  <a:pt x="263948" y="780161"/>
                </a:cubicBezTo>
                <a:cubicBezTo>
                  <a:pt x="263948" y="749680"/>
                  <a:pt x="288658" y="724970"/>
                  <a:pt x="319140" y="724970"/>
                </a:cubicBezTo>
                <a:close/>
                <a:moveTo>
                  <a:pt x="185509" y="724970"/>
                </a:moveTo>
                <a:cubicBezTo>
                  <a:pt x="215993" y="724970"/>
                  <a:pt x="240701" y="749680"/>
                  <a:pt x="240701" y="780161"/>
                </a:cubicBezTo>
                <a:cubicBezTo>
                  <a:pt x="240701" y="810642"/>
                  <a:pt x="215993" y="835352"/>
                  <a:pt x="185509" y="835352"/>
                </a:cubicBezTo>
                <a:cubicBezTo>
                  <a:pt x="155029" y="835352"/>
                  <a:pt x="130319" y="810642"/>
                  <a:pt x="130319" y="780161"/>
                </a:cubicBezTo>
                <a:cubicBezTo>
                  <a:pt x="130319" y="749680"/>
                  <a:pt x="155029" y="724970"/>
                  <a:pt x="185509" y="724970"/>
                </a:cubicBezTo>
                <a:close/>
                <a:moveTo>
                  <a:pt x="8801538" y="608039"/>
                </a:moveTo>
                <a:cubicBezTo>
                  <a:pt x="8832020" y="608039"/>
                  <a:pt x="8856730" y="632749"/>
                  <a:pt x="8856730" y="663230"/>
                </a:cubicBezTo>
                <a:cubicBezTo>
                  <a:pt x="8856730" y="693711"/>
                  <a:pt x="8832020" y="718421"/>
                  <a:pt x="8801538" y="718421"/>
                </a:cubicBezTo>
                <a:cubicBezTo>
                  <a:pt x="8771056" y="718421"/>
                  <a:pt x="8746346" y="693711"/>
                  <a:pt x="8746346" y="663230"/>
                </a:cubicBezTo>
                <a:cubicBezTo>
                  <a:pt x="8746346" y="632749"/>
                  <a:pt x="8771056" y="608039"/>
                  <a:pt x="8801538" y="608039"/>
                </a:cubicBezTo>
                <a:close/>
                <a:moveTo>
                  <a:pt x="8671244" y="608039"/>
                </a:moveTo>
                <a:cubicBezTo>
                  <a:pt x="8701726" y="608039"/>
                  <a:pt x="8726436" y="632749"/>
                  <a:pt x="8726436" y="663230"/>
                </a:cubicBezTo>
                <a:cubicBezTo>
                  <a:pt x="8726436" y="693711"/>
                  <a:pt x="8701726" y="718421"/>
                  <a:pt x="8671244" y="718421"/>
                </a:cubicBezTo>
                <a:cubicBezTo>
                  <a:pt x="8640762" y="718421"/>
                  <a:pt x="8616052" y="693711"/>
                  <a:pt x="8616052" y="663230"/>
                </a:cubicBezTo>
                <a:cubicBezTo>
                  <a:pt x="8616052" y="632749"/>
                  <a:pt x="8640762" y="608039"/>
                  <a:pt x="8671244" y="608039"/>
                </a:cubicBezTo>
                <a:close/>
                <a:moveTo>
                  <a:pt x="8537609" y="608039"/>
                </a:moveTo>
                <a:cubicBezTo>
                  <a:pt x="8568091" y="608039"/>
                  <a:pt x="8592801" y="632749"/>
                  <a:pt x="8592801" y="663230"/>
                </a:cubicBezTo>
                <a:cubicBezTo>
                  <a:pt x="8592801" y="693711"/>
                  <a:pt x="8568091" y="718421"/>
                  <a:pt x="8537609" y="718421"/>
                </a:cubicBezTo>
                <a:cubicBezTo>
                  <a:pt x="8507127" y="718421"/>
                  <a:pt x="8482417" y="693711"/>
                  <a:pt x="8482417" y="663230"/>
                </a:cubicBezTo>
                <a:cubicBezTo>
                  <a:pt x="8482417" y="632749"/>
                  <a:pt x="8507127" y="608039"/>
                  <a:pt x="8537609" y="608039"/>
                </a:cubicBezTo>
                <a:close/>
                <a:moveTo>
                  <a:pt x="8407318" y="608039"/>
                </a:moveTo>
                <a:cubicBezTo>
                  <a:pt x="8437800" y="608039"/>
                  <a:pt x="8462510" y="632749"/>
                  <a:pt x="8462510" y="663230"/>
                </a:cubicBezTo>
                <a:cubicBezTo>
                  <a:pt x="8462510" y="693711"/>
                  <a:pt x="8437800" y="718421"/>
                  <a:pt x="8407318" y="718421"/>
                </a:cubicBezTo>
                <a:cubicBezTo>
                  <a:pt x="8376836" y="718421"/>
                  <a:pt x="8352126" y="693711"/>
                  <a:pt x="8352126" y="663230"/>
                </a:cubicBezTo>
                <a:cubicBezTo>
                  <a:pt x="8352126" y="632749"/>
                  <a:pt x="8376836" y="608039"/>
                  <a:pt x="8407318" y="608039"/>
                </a:cubicBezTo>
                <a:close/>
                <a:moveTo>
                  <a:pt x="8273682" y="608039"/>
                </a:moveTo>
                <a:cubicBezTo>
                  <a:pt x="8304164" y="608039"/>
                  <a:pt x="8328874" y="632749"/>
                  <a:pt x="8328874" y="663230"/>
                </a:cubicBezTo>
                <a:cubicBezTo>
                  <a:pt x="8328874" y="693711"/>
                  <a:pt x="8304164" y="718421"/>
                  <a:pt x="8273682" y="718421"/>
                </a:cubicBezTo>
                <a:cubicBezTo>
                  <a:pt x="8243200" y="718421"/>
                  <a:pt x="8218490" y="693711"/>
                  <a:pt x="8218490" y="663230"/>
                </a:cubicBezTo>
                <a:cubicBezTo>
                  <a:pt x="8218490" y="632749"/>
                  <a:pt x="8243200" y="608039"/>
                  <a:pt x="8273682" y="608039"/>
                </a:cubicBezTo>
                <a:close/>
                <a:moveTo>
                  <a:pt x="8143386" y="608039"/>
                </a:moveTo>
                <a:cubicBezTo>
                  <a:pt x="8173868" y="608039"/>
                  <a:pt x="8198578" y="632749"/>
                  <a:pt x="8198578" y="663230"/>
                </a:cubicBezTo>
                <a:cubicBezTo>
                  <a:pt x="8198578" y="693711"/>
                  <a:pt x="8173868" y="718421"/>
                  <a:pt x="8143386" y="718421"/>
                </a:cubicBezTo>
                <a:cubicBezTo>
                  <a:pt x="8112904" y="718421"/>
                  <a:pt x="8088194" y="693711"/>
                  <a:pt x="8088194" y="663230"/>
                </a:cubicBezTo>
                <a:cubicBezTo>
                  <a:pt x="8088194" y="632749"/>
                  <a:pt x="8112904" y="608039"/>
                  <a:pt x="8143386" y="608039"/>
                </a:cubicBezTo>
                <a:close/>
                <a:moveTo>
                  <a:pt x="8009753" y="608039"/>
                </a:moveTo>
                <a:cubicBezTo>
                  <a:pt x="8040235" y="608039"/>
                  <a:pt x="8064945" y="632749"/>
                  <a:pt x="8064945" y="663230"/>
                </a:cubicBezTo>
                <a:cubicBezTo>
                  <a:pt x="8064945" y="693711"/>
                  <a:pt x="8040235" y="718421"/>
                  <a:pt x="8009753" y="718421"/>
                </a:cubicBezTo>
                <a:cubicBezTo>
                  <a:pt x="7979271" y="718421"/>
                  <a:pt x="7954561" y="693711"/>
                  <a:pt x="7954561" y="663230"/>
                </a:cubicBezTo>
                <a:cubicBezTo>
                  <a:pt x="7954561" y="632749"/>
                  <a:pt x="7979271" y="608039"/>
                  <a:pt x="8009753" y="608039"/>
                </a:cubicBezTo>
                <a:close/>
                <a:moveTo>
                  <a:pt x="7876118" y="608039"/>
                </a:moveTo>
                <a:cubicBezTo>
                  <a:pt x="7906600" y="608039"/>
                  <a:pt x="7931310" y="632749"/>
                  <a:pt x="7931310" y="663230"/>
                </a:cubicBezTo>
                <a:cubicBezTo>
                  <a:pt x="7931310" y="693711"/>
                  <a:pt x="7906600" y="718421"/>
                  <a:pt x="7876118" y="718421"/>
                </a:cubicBezTo>
                <a:cubicBezTo>
                  <a:pt x="7845636" y="718421"/>
                  <a:pt x="7820926" y="693711"/>
                  <a:pt x="7820926" y="663230"/>
                </a:cubicBezTo>
                <a:cubicBezTo>
                  <a:pt x="7820926" y="632749"/>
                  <a:pt x="7845636" y="608039"/>
                  <a:pt x="7876118" y="608039"/>
                </a:cubicBezTo>
                <a:close/>
                <a:moveTo>
                  <a:pt x="7745824" y="608039"/>
                </a:moveTo>
                <a:cubicBezTo>
                  <a:pt x="7776306" y="608039"/>
                  <a:pt x="7801016" y="632749"/>
                  <a:pt x="7801016" y="663230"/>
                </a:cubicBezTo>
                <a:cubicBezTo>
                  <a:pt x="7801016" y="693711"/>
                  <a:pt x="7776306" y="718421"/>
                  <a:pt x="7745824" y="718421"/>
                </a:cubicBezTo>
                <a:cubicBezTo>
                  <a:pt x="7715342" y="718421"/>
                  <a:pt x="7690632" y="693711"/>
                  <a:pt x="7690632" y="663230"/>
                </a:cubicBezTo>
                <a:cubicBezTo>
                  <a:pt x="7690632" y="632749"/>
                  <a:pt x="7715342" y="608039"/>
                  <a:pt x="7745824" y="608039"/>
                </a:cubicBezTo>
                <a:close/>
                <a:moveTo>
                  <a:pt x="7608850" y="608039"/>
                </a:moveTo>
                <a:cubicBezTo>
                  <a:pt x="7639332" y="608039"/>
                  <a:pt x="7664042" y="632749"/>
                  <a:pt x="7664042" y="663230"/>
                </a:cubicBezTo>
                <a:cubicBezTo>
                  <a:pt x="7664042" y="693711"/>
                  <a:pt x="7639332" y="718421"/>
                  <a:pt x="7608850" y="718421"/>
                </a:cubicBezTo>
                <a:cubicBezTo>
                  <a:pt x="7578368" y="718421"/>
                  <a:pt x="7553658" y="693711"/>
                  <a:pt x="7553658" y="663230"/>
                </a:cubicBezTo>
                <a:cubicBezTo>
                  <a:pt x="7553658" y="632749"/>
                  <a:pt x="7578368" y="608039"/>
                  <a:pt x="7608850" y="608039"/>
                </a:cubicBezTo>
                <a:close/>
                <a:moveTo>
                  <a:pt x="7481895" y="608039"/>
                </a:moveTo>
                <a:cubicBezTo>
                  <a:pt x="7512377" y="608039"/>
                  <a:pt x="7537087" y="632749"/>
                  <a:pt x="7537087" y="663230"/>
                </a:cubicBezTo>
                <a:cubicBezTo>
                  <a:pt x="7537087" y="693711"/>
                  <a:pt x="7512377" y="718421"/>
                  <a:pt x="7481895" y="718421"/>
                </a:cubicBezTo>
                <a:cubicBezTo>
                  <a:pt x="7451413" y="718421"/>
                  <a:pt x="7426703" y="693711"/>
                  <a:pt x="7426703" y="663230"/>
                </a:cubicBezTo>
                <a:cubicBezTo>
                  <a:pt x="7426703" y="632749"/>
                  <a:pt x="7451413" y="608039"/>
                  <a:pt x="7481895" y="608039"/>
                </a:cubicBezTo>
                <a:close/>
                <a:moveTo>
                  <a:pt x="7341579" y="608039"/>
                </a:moveTo>
                <a:cubicBezTo>
                  <a:pt x="7372061" y="608039"/>
                  <a:pt x="7396771" y="632749"/>
                  <a:pt x="7396771" y="663230"/>
                </a:cubicBezTo>
                <a:cubicBezTo>
                  <a:pt x="7396771" y="693711"/>
                  <a:pt x="7372061" y="718421"/>
                  <a:pt x="7341579" y="718421"/>
                </a:cubicBezTo>
                <a:cubicBezTo>
                  <a:pt x="7311097" y="718421"/>
                  <a:pt x="7286387" y="693711"/>
                  <a:pt x="7286387" y="663230"/>
                </a:cubicBezTo>
                <a:cubicBezTo>
                  <a:pt x="7286387" y="632749"/>
                  <a:pt x="7311097" y="608039"/>
                  <a:pt x="7341579" y="608039"/>
                </a:cubicBezTo>
                <a:close/>
                <a:moveTo>
                  <a:pt x="7211286" y="608039"/>
                </a:moveTo>
                <a:cubicBezTo>
                  <a:pt x="7241768" y="608039"/>
                  <a:pt x="7266478" y="632749"/>
                  <a:pt x="7266478" y="663230"/>
                </a:cubicBezTo>
                <a:cubicBezTo>
                  <a:pt x="7266478" y="693711"/>
                  <a:pt x="7241768" y="718421"/>
                  <a:pt x="7211286" y="718421"/>
                </a:cubicBezTo>
                <a:cubicBezTo>
                  <a:pt x="7180804" y="718421"/>
                  <a:pt x="7156094" y="693711"/>
                  <a:pt x="7156094" y="663230"/>
                </a:cubicBezTo>
                <a:cubicBezTo>
                  <a:pt x="7156094" y="632749"/>
                  <a:pt x="7180804" y="608039"/>
                  <a:pt x="7211286" y="608039"/>
                </a:cubicBezTo>
                <a:close/>
                <a:moveTo>
                  <a:pt x="7080994" y="608039"/>
                </a:moveTo>
                <a:cubicBezTo>
                  <a:pt x="7111476" y="608039"/>
                  <a:pt x="7136186" y="632749"/>
                  <a:pt x="7136186" y="663230"/>
                </a:cubicBezTo>
                <a:cubicBezTo>
                  <a:pt x="7136186" y="693711"/>
                  <a:pt x="7111476" y="718421"/>
                  <a:pt x="7080994" y="718421"/>
                </a:cubicBezTo>
                <a:cubicBezTo>
                  <a:pt x="7050512" y="718421"/>
                  <a:pt x="7025802" y="693711"/>
                  <a:pt x="7025802" y="663230"/>
                </a:cubicBezTo>
                <a:cubicBezTo>
                  <a:pt x="7025802" y="632749"/>
                  <a:pt x="7050512" y="608039"/>
                  <a:pt x="7080994" y="608039"/>
                </a:cubicBezTo>
                <a:close/>
                <a:moveTo>
                  <a:pt x="6947358" y="608039"/>
                </a:moveTo>
                <a:cubicBezTo>
                  <a:pt x="6977840" y="608039"/>
                  <a:pt x="7002550" y="632749"/>
                  <a:pt x="7002550" y="663230"/>
                </a:cubicBezTo>
                <a:cubicBezTo>
                  <a:pt x="7002550" y="693711"/>
                  <a:pt x="6977840" y="718421"/>
                  <a:pt x="6947358" y="718421"/>
                </a:cubicBezTo>
                <a:cubicBezTo>
                  <a:pt x="6916876" y="718421"/>
                  <a:pt x="6892166" y="693711"/>
                  <a:pt x="6892166" y="663230"/>
                </a:cubicBezTo>
                <a:cubicBezTo>
                  <a:pt x="6892166" y="632749"/>
                  <a:pt x="6916876" y="608039"/>
                  <a:pt x="6947358" y="608039"/>
                </a:cubicBezTo>
                <a:close/>
                <a:moveTo>
                  <a:pt x="6817064" y="608039"/>
                </a:moveTo>
                <a:cubicBezTo>
                  <a:pt x="6847546" y="608039"/>
                  <a:pt x="6872256" y="632749"/>
                  <a:pt x="6872256" y="663230"/>
                </a:cubicBezTo>
                <a:cubicBezTo>
                  <a:pt x="6872256" y="693711"/>
                  <a:pt x="6847546" y="718421"/>
                  <a:pt x="6817064" y="718421"/>
                </a:cubicBezTo>
                <a:cubicBezTo>
                  <a:pt x="6786582" y="718421"/>
                  <a:pt x="6761872" y="693711"/>
                  <a:pt x="6761872" y="663230"/>
                </a:cubicBezTo>
                <a:cubicBezTo>
                  <a:pt x="6761872" y="632749"/>
                  <a:pt x="6786582" y="608039"/>
                  <a:pt x="6817064" y="608039"/>
                </a:cubicBezTo>
                <a:close/>
                <a:moveTo>
                  <a:pt x="6683431" y="608039"/>
                </a:moveTo>
                <a:cubicBezTo>
                  <a:pt x="6713913" y="608039"/>
                  <a:pt x="6738623" y="632749"/>
                  <a:pt x="6738623" y="663230"/>
                </a:cubicBezTo>
                <a:cubicBezTo>
                  <a:pt x="6738623" y="693711"/>
                  <a:pt x="6713913" y="718421"/>
                  <a:pt x="6683431" y="718421"/>
                </a:cubicBezTo>
                <a:cubicBezTo>
                  <a:pt x="6652949" y="718421"/>
                  <a:pt x="6628239" y="693711"/>
                  <a:pt x="6628239" y="663230"/>
                </a:cubicBezTo>
                <a:cubicBezTo>
                  <a:pt x="6628239" y="632749"/>
                  <a:pt x="6652949" y="608039"/>
                  <a:pt x="6683431" y="608039"/>
                </a:cubicBezTo>
                <a:close/>
                <a:moveTo>
                  <a:pt x="6155573" y="608039"/>
                </a:moveTo>
                <a:cubicBezTo>
                  <a:pt x="6186055" y="608039"/>
                  <a:pt x="6210765" y="632749"/>
                  <a:pt x="6210765" y="663230"/>
                </a:cubicBezTo>
                <a:cubicBezTo>
                  <a:pt x="6210765" y="693711"/>
                  <a:pt x="6186055" y="718421"/>
                  <a:pt x="6155573" y="718421"/>
                </a:cubicBezTo>
                <a:cubicBezTo>
                  <a:pt x="6125091" y="718421"/>
                  <a:pt x="6100381" y="693711"/>
                  <a:pt x="6100381" y="663230"/>
                </a:cubicBezTo>
                <a:cubicBezTo>
                  <a:pt x="6100381" y="632749"/>
                  <a:pt x="6125091" y="608039"/>
                  <a:pt x="6155573" y="608039"/>
                </a:cubicBezTo>
                <a:close/>
                <a:moveTo>
                  <a:pt x="5487399" y="608039"/>
                </a:moveTo>
                <a:cubicBezTo>
                  <a:pt x="5517881" y="608039"/>
                  <a:pt x="5542591" y="632749"/>
                  <a:pt x="5542591" y="663230"/>
                </a:cubicBezTo>
                <a:cubicBezTo>
                  <a:pt x="5542591" y="693711"/>
                  <a:pt x="5517881" y="718421"/>
                  <a:pt x="5487399" y="718421"/>
                </a:cubicBezTo>
                <a:cubicBezTo>
                  <a:pt x="5456917" y="718421"/>
                  <a:pt x="5432207" y="693711"/>
                  <a:pt x="5432207" y="663230"/>
                </a:cubicBezTo>
                <a:cubicBezTo>
                  <a:pt x="5432207" y="632749"/>
                  <a:pt x="5456917" y="608039"/>
                  <a:pt x="5487399" y="608039"/>
                </a:cubicBezTo>
                <a:close/>
                <a:moveTo>
                  <a:pt x="5357106" y="608039"/>
                </a:moveTo>
                <a:cubicBezTo>
                  <a:pt x="5387588" y="608039"/>
                  <a:pt x="5412298" y="632749"/>
                  <a:pt x="5412298" y="663230"/>
                </a:cubicBezTo>
                <a:cubicBezTo>
                  <a:pt x="5412298" y="693711"/>
                  <a:pt x="5387588" y="718421"/>
                  <a:pt x="5357106" y="718421"/>
                </a:cubicBezTo>
                <a:cubicBezTo>
                  <a:pt x="5326624" y="718421"/>
                  <a:pt x="5301914" y="693711"/>
                  <a:pt x="5301914" y="663230"/>
                </a:cubicBezTo>
                <a:cubicBezTo>
                  <a:pt x="5301914" y="632749"/>
                  <a:pt x="5326624" y="608039"/>
                  <a:pt x="5357106" y="608039"/>
                </a:cubicBezTo>
                <a:close/>
                <a:moveTo>
                  <a:pt x="5223473" y="608038"/>
                </a:moveTo>
                <a:cubicBezTo>
                  <a:pt x="5253955" y="608038"/>
                  <a:pt x="5278665" y="632748"/>
                  <a:pt x="5278665" y="663229"/>
                </a:cubicBezTo>
                <a:cubicBezTo>
                  <a:pt x="5278665" y="693710"/>
                  <a:pt x="5253955" y="718420"/>
                  <a:pt x="5223473" y="718420"/>
                </a:cubicBezTo>
                <a:cubicBezTo>
                  <a:pt x="5192991" y="718420"/>
                  <a:pt x="5168281" y="693710"/>
                  <a:pt x="5168281" y="663229"/>
                </a:cubicBezTo>
                <a:cubicBezTo>
                  <a:pt x="5168281" y="632748"/>
                  <a:pt x="5192991" y="608038"/>
                  <a:pt x="5223473" y="608038"/>
                </a:cubicBezTo>
                <a:close/>
                <a:moveTo>
                  <a:pt x="4030786" y="608038"/>
                </a:moveTo>
                <a:cubicBezTo>
                  <a:pt x="4061268" y="608038"/>
                  <a:pt x="4085978" y="632748"/>
                  <a:pt x="4085978" y="663229"/>
                </a:cubicBezTo>
                <a:cubicBezTo>
                  <a:pt x="4085978" y="693710"/>
                  <a:pt x="4061268" y="718420"/>
                  <a:pt x="4030786" y="718420"/>
                </a:cubicBezTo>
                <a:cubicBezTo>
                  <a:pt x="4000304" y="718420"/>
                  <a:pt x="3975594" y="693710"/>
                  <a:pt x="3975594" y="663229"/>
                </a:cubicBezTo>
                <a:cubicBezTo>
                  <a:pt x="3975594" y="632748"/>
                  <a:pt x="4000304" y="608038"/>
                  <a:pt x="4030786" y="608038"/>
                </a:cubicBezTo>
                <a:close/>
                <a:moveTo>
                  <a:pt x="3897148" y="608038"/>
                </a:moveTo>
                <a:cubicBezTo>
                  <a:pt x="3927630" y="608038"/>
                  <a:pt x="3952340" y="632748"/>
                  <a:pt x="3952340" y="663229"/>
                </a:cubicBezTo>
                <a:cubicBezTo>
                  <a:pt x="3952340" y="693710"/>
                  <a:pt x="3927630" y="718420"/>
                  <a:pt x="3897148" y="718420"/>
                </a:cubicBezTo>
                <a:cubicBezTo>
                  <a:pt x="3866666" y="718420"/>
                  <a:pt x="3841956" y="693710"/>
                  <a:pt x="3841956" y="663229"/>
                </a:cubicBezTo>
                <a:cubicBezTo>
                  <a:pt x="3841956" y="632748"/>
                  <a:pt x="3866666" y="608038"/>
                  <a:pt x="3897148" y="608038"/>
                </a:cubicBezTo>
                <a:close/>
                <a:moveTo>
                  <a:pt x="3763514" y="608038"/>
                </a:moveTo>
                <a:cubicBezTo>
                  <a:pt x="3793996" y="608038"/>
                  <a:pt x="3818706" y="632748"/>
                  <a:pt x="3818706" y="663229"/>
                </a:cubicBezTo>
                <a:cubicBezTo>
                  <a:pt x="3818706" y="693710"/>
                  <a:pt x="3793996" y="718420"/>
                  <a:pt x="3763514" y="718420"/>
                </a:cubicBezTo>
                <a:cubicBezTo>
                  <a:pt x="3733032" y="718420"/>
                  <a:pt x="3708322" y="693710"/>
                  <a:pt x="3708322" y="663229"/>
                </a:cubicBezTo>
                <a:cubicBezTo>
                  <a:pt x="3708322" y="632748"/>
                  <a:pt x="3733032" y="608038"/>
                  <a:pt x="3763514" y="608038"/>
                </a:cubicBezTo>
                <a:close/>
                <a:moveTo>
                  <a:pt x="3633221" y="608038"/>
                </a:moveTo>
                <a:cubicBezTo>
                  <a:pt x="3663703" y="608038"/>
                  <a:pt x="3688413" y="632748"/>
                  <a:pt x="3688413" y="663229"/>
                </a:cubicBezTo>
                <a:cubicBezTo>
                  <a:pt x="3688413" y="693710"/>
                  <a:pt x="3663703" y="718420"/>
                  <a:pt x="3633221" y="718420"/>
                </a:cubicBezTo>
                <a:cubicBezTo>
                  <a:pt x="3602739" y="718420"/>
                  <a:pt x="3578029" y="693710"/>
                  <a:pt x="3578029" y="663229"/>
                </a:cubicBezTo>
                <a:cubicBezTo>
                  <a:pt x="3578029" y="632748"/>
                  <a:pt x="3602739" y="608038"/>
                  <a:pt x="3633221" y="608038"/>
                </a:cubicBezTo>
                <a:close/>
                <a:moveTo>
                  <a:pt x="3499589" y="608038"/>
                </a:moveTo>
                <a:cubicBezTo>
                  <a:pt x="3530071" y="608038"/>
                  <a:pt x="3554781" y="632748"/>
                  <a:pt x="3554781" y="663229"/>
                </a:cubicBezTo>
                <a:cubicBezTo>
                  <a:pt x="3554781" y="693710"/>
                  <a:pt x="3530071" y="718420"/>
                  <a:pt x="3499589" y="718420"/>
                </a:cubicBezTo>
                <a:cubicBezTo>
                  <a:pt x="3469107" y="718420"/>
                  <a:pt x="3444397" y="693710"/>
                  <a:pt x="3444397" y="663229"/>
                </a:cubicBezTo>
                <a:cubicBezTo>
                  <a:pt x="3444397" y="632748"/>
                  <a:pt x="3469107" y="608038"/>
                  <a:pt x="3499589" y="608038"/>
                </a:cubicBezTo>
                <a:close/>
                <a:moveTo>
                  <a:pt x="3369292" y="608038"/>
                </a:moveTo>
                <a:cubicBezTo>
                  <a:pt x="3399774" y="608038"/>
                  <a:pt x="3424484" y="632748"/>
                  <a:pt x="3424484" y="663229"/>
                </a:cubicBezTo>
                <a:cubicBezTo>
                  <a:pt x="3424484" y="693710"/>
                  <a:pt x="3399774" y="718420"/>
                  <a:pt x="3369292" y="718420"/>
                </a:cubicBezTo>
                <a:cubicBezTo>
                  <a:pt x="3338810" y="718420"/>
                  <a:pt x="3314100" y="693710"/>
                  <a:pt x="3314100" y="663229"/>
                </a:cubicBezTo>
                <a:cubicBezTo>
                  <a:pt x="3314100" y="632748"/>
                  <a:pt x="3338810" y="608038"/>
                  <a:pt x="3369292" y="608038"/>
                </a:cubicBezTo>
                <a:close/>
                <a:moveTo>
                  <a:pt x="3235657" y="608038"/>
                </a:moveTo>
                <a:cubicBezTo>
                  <a:pt x="3266139" y="608038"/>
                  <a:pt x="3290849" y="632748"/>
                  <a:pt x="3290849" y="663229"/>
                </a:cubicBezTo>
                <a:cubicBezTo>
                  <a:pt x="3290849" y="693710"/>
                  <a:pt x="3266139" y="718420"/>
                  <a:pt x="3235657" y="718420"/>
                </a:cubicBezTo>
                <a:cubicBezTo>
                  <a:pt x="3205175" y="718420"/>
                  <a:pt x="3180465" y="693710"/>
                  <a:pt x="3180465" y="663229"/>
                </a:cubicBezTo>
                <a:cubicBezTo>
                  <a:pt x="3180465" y="632748"/>
                  <a:pt x="3205175" y="608038"/>
                  <a:pt x="3235657" y="608038"/>
                </a:cubicBezTo>
                <a:close/>
                <a:moveTo>
                  <a:pt x="2570932" y="608038"/>
                </a:moveTo>
                <a:cubicBezTo>
                  <a:pt x="2601414" y="608038"/>
                  <a:pt x="2626123" y="632748"/>
                  <a:pt x="2626123" y="663229"/>
                </a:cubicBezTo>
                <a:cubicBezTo>
                  <a:pt x="2626123" y="693710"/>
                  <a:pt x="2601414" y="718420"/>
                  <a:pt x="2570932" y="718420"/>
                </a:cubicBezTo>
                <a:cubicBezTo>
                  <a:pt x="2540449" y="718420"/>
                  <a:pt x="2515738" y="693710"/>
                  <a:pt x="2515738" y="663229"/>
                </a:cubicBezTo>
                <a:cubicBezTo>
                  <a:pt x="2515738" y="632748"/>
                  <a:pt x="2540449" y="608038"/>
                  <a:pt x="2570932" y="608038"/>
                </a:cubicBezTo>
                <a:close/>
                <a:moveTo>
                  <a:pt x="2437297" y="608038"/>
                </a:moveTo>
                <a:cubicBezTo>
                  <a:pt x="2467779" y="608038"/>
                  <a:pt x="2492487" y="632748"/>
                  <a:pt x="2492487" y="663229"/>
                </a:cubicBezTo>
                <a:cubicBezTo>
                  <a:pt x="2492487" y="693710"/>
                  <a:pt x="2467779" y="718420"/>
                  <a:pt x="2437297" y="718420"/>
                </a:cubicBezTo>
                <a:cubicBezTo>
                  <a:pt x="2406818" y="718420"/>
                  <a:pt x="2382108" y="693710"/>
                  <a:pt x="2382108" y="663229"/>
                </a:cubicBezTo>
                <a:cubicBezTo>
                  <a:pt x="2382108" y="632748"/>
                  <a:pt x="2406818" y="608038"/>
                  <a:pt x="2437297" y="608038"/>
                </a:cubicBezTo>
                <a:close/>
                <a:moveTo>
                  <a:pt x="2303664" y="608038"/>
                </a:moveTo>
                <a:cubicBezTo>
                  <a:pt x="2334145" y="608038"/>
                  <a:pt x="2358856" y="632748"/>
                  <a:pt x="2358856" y="663229"/>
                </a:cubicBezTo>
                <a:cubicBezTo>
                  <a:pt x="2358856" y="693710"/>
                  <a:pt x="2334145" y="718420"/>
                  <a:pt x="2303664" y="718420"/>
                </a:cubicBezTo>
                <a:cubicBezTo>
                  <a:pt x="2273182" y="718420"/>
                  <a:pt x="2248473" y="693710"/>
                  <a:pt x="2248473" y="663229"/>
                </a:cubicBezTo>
                <a:cubicBezTo>
                  <a:pt x="2248473" y="632748"/>
                  <a:pt x="2273182" y="608038"/>
                  <a:pt x="2303664" y="608038"/>
                </a:cubicBezTo>
                <a:close/>
                <a:moveTo>
                  <a:pt x="2173372" y="608038"/>
                </a:moveTo>
                <a:cubicBezTo>
                  <a:pt x="2203854" y="608038"/>
                  <a:pt x="2228565" y="632748"/>
                  <a:pt x="2228565" y="663229"/>
                </a:cubicBezTo>
                <a:cubicBezTo>
                  <a:pt x="2228565" y="693710"/>
                  <a:pt x="2203854" y="718420"/>
                  <a:pt x="2173372" y="718420"/>
                </a:cubicBezTo>
                <a:cubicBezTo>
                  <a:pt x="2142889" y="718420"/>
                  <a:pt x="2118180" y="693710"/>
                  <a:pt x="2118180" y="663229"/>
                </a:cubicBezTo>
                <a:cubicBezTo>
                  <a:pt x="2118180" y="632748"/>
                  <a:pt x="2142889" y="608038"/>
                  <a:pt x="2173372" y="608038"/>
                </a:cubicBezTo>
                <a:close/>
                <a:moveTo>
                  <a:pt x="2039736" y="608038"/>
                </a:moveTo>
                <a:cubicBezTo>
                  <a:pt x="2070218" y="608038"/>
                  <a:pt x="2094930" y="632748"/>
                  <a:pt x="2094930" y="663229"/>
                </a:cubicBezTo>
                <a:cubicBezTo>
                  <a:pt x="2094930" y="693710"/>
                  <a:pt x="2070218" y="718420"/>
                  <a:pt x="2039736" y="718420"/>
                </a:cubicBezTo>
                <a:cubicBezTo>
                  <a:pt x="2009254" y="718420"/>
                  <a:pt x="1984543" y="693710"/>
                  <a:pt x="1984543" y="663229"/>
                </a:cubicBezTo>
                <a:cubicBezTo>
                  <a:pt x="1984543" y="632748"/>
                  <a:pt x="2009254" y="608038"/>
                  <a:pt x="2039736" y="608038"/>
                </a:cubicBezTo>
                <a:close/>
                <a:moveTo>
                  <a:pt x="1909437" y="608038"/>
                </a:moveTo>
                <a:cubicBezTo>
                  <a:pt x="1939921" y="608038"/>
                  <a:pt x="1964630" y="632748"/>
                  <a:pt x="1964630" y="663229"/>
                </a:cubicBezTo>
                <a:cubicBezTo>
                  <a:pt x="1964630" y="693710"/>
                  <a:pt x="1939921" y="718420"/>
                  <a:pt x="1909437" y="718420"/>
                </a:cubicBezTo>
                <a:cubicBezTo>
                  <a:pt x="1878955" y="718420"/>
                  <a:pt x="1854244" y="693710"/>
                  <a:pt x="1854244" y="663229"/>
                </a:cubicBezTo>
                <a:cubicBezTo>
                  <a:pt x="1854244" y="632748"/>
                  <a:pt x="1878955" y="608038"/>
                  <a:pt x="1909437" y="608038"/>
                </a:cubicBezTo>
                <a:close/>
                <a:moveTo>
                  <a:pt x="1779142" y="608038"/>
                </a:moveTo>
                <a:cubicBezTo>
                  <a:pt x="1809626" y="608038"/>
                  <a:pt x="1834335" y="632748"/>
                  <a:pt x="1834335" y="663229"/>
                </a:cubicBezTo>
                <a:cubicBezTo>
                  <a:pt x="1834335" y="693710"/>
                  <a:pt x="1809626" y="718420"/>
                  <a:pt x="1779142" y="718420"/>
                </a:cubicBezTo>
                <a:cubicBezTo>
                  <a:pt x="1748663" y="718420"/>
                  <a:pt x="1723950" y="693710"/>
                  <a:pt x="1723950" y="663229"/>
                </a:cubicBezTo>
                <a:cubicBezTo>
                  <a:pt x="1723950" y="632748"/>
                  <a:pt x="1748663" y="608038"/>
                  <a:pt x="1779142" y="608038"/>
                </a:cubicBezTo>
                <a:close/>
                <a:moveTo>
                  <a:pt x="1645508" y="608038"/>
                </a:moveTo>
                <a:cubicBezTo>
                  <a:pt x="1675988" y="608038"/>
                  <a:pt x="1700702" y="632748"/>
                  <a:pt x="1700702" y="663229"/>
                </a:cubicBezTo>
                <a:cubicBezTo>
                  <a:pt x="1700702" y="693710"/>
                  <a:pt x="1675988" y="718420"/>
                  <a:pt x="1645508" y="718420"/>
                </a:cubicBezTo>
                <a:cubicBezTo>
                  <a:pt x="1615024" y="718420"/>
                  <a:pt x="1590311" y="693710"/>
                  <a:pt x="1590311" y="663229"/>
                </a:cubicBezTo>
                <a:cubicBezTo>
                  <a:pt x="1590311" y="632748"/>
                  <a:pt x="1615024" y="608038"/>
                  <a:pt x="1645508" y="608038"/>
                </a:cubicBezTo>
                <a:close/>
                <a:moveTo>
                  <a:pt x="1515217" y="608038"/>
                </a:moveTo>
                <a:cubicBezTo>
                  <a:pt x="1545695" y="608038"/>
                  <a:pt x="1570402" y="632748"/>
                  <a:pt x="1570402" y="663229"/>
                </a:cubicBezTo>
                <a:cubicBezTo>
                  <a:pt x="1570402" y="693710"/>
                  <a:pt x="1545695" y="718420"/>
                  <a:pt x="1515217" y="718420"/>
                </a:cubicBezTo>
                <a:cubicBezTo>
                  <a:pt x="1484732" y="718420"/>
                  <a:pt x="1460020" y="693710"/>
                  <a:pt x="1460020" y="663229"/>
                </a:cubicBezTo>
                <a:cubicBezTo>
                  <a:pt x="1460020" y="632748"/>
                  <a:pt x="1484732" y="608038"/>
                  <a:pt x="1515217" y="608038"/>
                </a:cubicBezTo>
                <a:close/>
                <a:moveTo>
                  <a:pt x="1381573" y="608038"/>
                </a:moveTo>
                <a:cubicBezTo>
                  <a:pt x="1412057" y="608038"/>
                  <a:pt x="1436767" y="632748"/>
                  <a:pt x="1436767" y="663229"/>
                </a:cubicBezTo>
                <a:cubicBezTo>
                  <a:pt x="1436767" y="693710"/>
                  <a:pt x="1412057" y="718420"/>
                  <a:pt x="1381573" y="718420"/>
                </a:cubicBezTo>
                <a:cubicBezTo>
                  <a:pt x="1351097" y="718420"/>
                  <a:pt x="1326384" y="693710"/>
                  <a:pt x="1326384" y="663229"/>
                </a:cubicBezTo>
                <a:cubicBezTo>
                  <a:pt x="1326384" y="632748"/>
                  <a:pt x="1351097" y="608038"/>
                  <a:pt x="1381573" y="608038"/>
                </a:cubicBezTo>
                <a:close/>
                <a:moveTo>
                  <a:pt x="1251282" y="608038"/>
                </a:moveTo>
                <a:cubicBezTo>
                  <a:pt x="1281766" y="608038"/>
                  <a:pt x="1306476" y="632748"/>
                  <a:pt x="1306476" y="663229"/>
                </a:cubicBezTo>
                <a:cubicBezTo>
                  <a:pt x="1306476" y="693710"/>
                  <a:pt x="1281766" y="718420"/>
                  <a:pt x="1251282" y="718420"/>
                </a:cubicBezTo>
                <a:cubicBezTo>
                  <a:pt x="1220801" y="718420"/>
                  <a:pt x="1196089" y="693710"/>
                  <a:pt x="1196089" y="663229"/>
                </a:cubicBezTo>
                <a:cubicBezTo>
                  <a:pt x="1196089" y="632748"/>
                  <a:pt x="1220801" y="608038"/>
                  <a:pt x="1251282" y="608038"/>
                </a:cubicBezTo>
                <a:close/>
                <a:moveTo>
                  <a:pt x="8143386" y="494447"/>
                </a:moveTo>
                <a:cubicBezTo>
                  <a:pt x="8173868" y="494447"/>
                  <a:pt x="8198578" y="519157"/>
                  <a:pt x="8198578" y="549638"/>
                </a:cubicBezTo>
                <a:cubicBezTo>
                  <a:pt x="8198578" y="580119"/>
                  <a:pt x="8173868" y="604829"/>
                  <a:pt x="8143386" y="604829"/>
                </a:cubicBezTo>
                <a:cubicBezTo>
                  <a:pt x="8112904" y="604829"/>
                  <a:pt x="8088194" y="580119"/>
                  <a:pt x="8088194" y="549638"/>
                </a:cubicBezTo>
                <a:cubicBezTo>
                  <a:pt x="8088194" y="519157"/>
                  <a:pt x="8112904" y="494447"/>
                  <a:pt x="8143386" y="494447"/>
                </a:cubicBezTo>
                <a:close/>
                <a:moveTo>
                  <a:pt x="8009753" y="494447"/>
                </a:moveTo>
                <a:cubicBezTo>
                  <a:pt x="8040235" y="494447"/>
                  <a:pt x="8064945" y="519157"/>
                  <a:pt x="8064945" y="549638"/>
                </a:cubicBezTo>
                <a:cubicBezTo>
                  <a:pt x="8064945" y="580119"/>
                  <a:pt x="8040235" y="604829"/>
                  <a:pt x="8009753" y="604829"/>
                </a:cubicBezTo>
                <a:cubicBezTo>
                  <a:pt x="7979271" y="604829"/>
                  <a:pt x="7954561" y="580119"/>
                  <a:pt x="7954561" y="549638"/>
                </a:cubicBezTo>
                <a:cubicBezTo>
                  <a:pt x="7954561" y="519157"/>
                  <a:pt x="7979271" y="494447"/>
                  <a:pt x="8009753" y="494447"/>
                </a:cubicBezTo>
                <a:close/>
                <a:moveTo>
                  <a:pt x="7876118" y="494447"/>
                </a:moveTo>
                <a:cubicBezTo>
                  <a:pt x="7906600" y="494447"/>
                  <a:pt x="7931310" y="519157"/>
                  <a:pt x="7931310" y="549638"/>
                </a:cubicBezTo>
                <a:cubicBezTo>
                  <a:pt x="7931310" y="580119"/>
                  <a:pt x="7906600" y="604829"/>
                  <a:pt x="7876118" y="604829"/>
                </a:cubicBezTo>
                <a:cubicBezTo>
                  <a:pt x="7845636" y="604829"/>
                  <a:pt x="7820926" y="580119"/>
                  <a:pt x="7820926" y="549638"/>
                </a:cubicBezTo>
                <a:cubicBezTo>
                  <a:pt x="7820926" y="519157"/>
                  <a:pt x="7845636" y="494447"/>
                  <a:pt x="7876118" y="494447"/>
                </a:cubicBezTo>
                <a:close/>
                <a:moveTo>
                  <a:pt x="7745824" y="494447"/>
                </a:moveTo>
                <a:cubicBezTo>
                  <a:pt x="7776306" y="494447"/>
                  <a:pt x="7801016" y="519157"/>
                  <a:pt x="7801016" y="549638"/>
                </a:cubicBezTo>
                <a:cubicBezTo>
                  <a:pt x="7801016" y="580119"/>
                  <a:pt x="7776306" y="604829"/>
                  <a:pt x="7745824" y="604829"/>
                </a:cubicBezTo>
                <a:cubicBezTo>
                  <a:pt x="7715342" y="604829"/>
                  <a:pt x="7690632" y="580119"/>
                  <a:pt x="7690632" y="549638"/>
                </a:cubicBezTo>
                <a:cubicBezTo>
                  <a:pt x="7690632" y="519157"/>
                  <a:pt x="7715342" y="494447"/>
                  <a:pt x="7745824" y="494447"/>
                </a:cubicBezTo>
                <a:close/>
                <a:moveTo>
                  <a:pt x="7608850" y="494447"/>
                </a:moveTo>
                <a:cubicBezTo>
                  <a:pt x="7639332" y="494447"/>
                  <a:pt x="7664042" y="519157"/>
                  <a:pt x="7664042" y="549638"/>
                </a:cubicBezTo>
                <a:cubicBezTo>
                  <a:pt x="7664042" y="580119"/>
                  <a:pt x="7639332" y="604829"/>
                  <a:pt x="7608850" y="604829"/>
                </a:cubicBezTo>
                <a:cubicBezTo>
                  <a:pt x="7578368" y="604829"/>
                  <a:pt x="7553658" y="580119"/>
                  <a:pt x="7553658" y="549638"/>
                </a:cubicBezTo>
                <a:cubicBezTo>
                  <a:pt x="7553658" y="519157"/>
                  <a:pt x="7578368" y="494447"/>
                  <a:pt x="7608850" y="494447"/>
                </a:cubicBezTo>
                <a:close/>
                <a:moveTo>
                  <a:pt x="7481895" y="494447"/>
                </a:moveTo>
                <a:cubicBezTo>
                  <a:pt x="7512377" y="494447"/>
                  <a:pt x="7537087" y="519157"/>
                  <a:pt x="7537087" y="549638"/>
                </a:cubicBezTo>
                <a:cubicBezTo>
                  <a:pt x="7537087" y="580119"/>
                  <a:pt x="7512377" y="604829"/>
                  <a:pt x="7481895" y="604829"/>
                </a:cubicBezTo>
                <a:cubicBezTo>
                  <a:pt x="7451413" y="604829"/>
                  <a:pt x="7426703" y="580119"/>
                  <a:pt x="7426703" y="549638"/>
                </a:cubicBezTo>
                <a:cubicBezTo>
                  <a:pt x="7426703" y="519157"/>
                  <a:pt x="7451413" y="494447"/>
                  <a:pt x="7481895" y="494447"/>
                </a:cubicBezTo>
                <a:close/>
                <a:moveTo>
                  <a:pt x="7341580" y="494447"/>
                </a:moveTo>
                <a:cubicBezTo>
                  <a:pt x="7372062" y="494447"/>
                  <a:pt x="7396772" y="519157"/>
                  <a:pt x="7396772" y="549638"/>
                </a:cubicBezTo>
                <a:cubicBezTo>
                  <a:pt x="7396772" y="580119"/>
                  <a:pt x="7372062" y="604829"/>
                  <a:pt x="7341580" y="604829"/>
                </a:cubicBezTo>
                <a:cubicBezTo>
                  <a:pt x="7311098" y="604829"/>
                  <a:pt x="7286388" y="580119"/>
                  <a:pt x="7286388" y="549638"/>
                </a:cubicBezTo>
                <a:cubicBezTo>
                  <a:pt x="7286388" y="519157"/>
                  <a:pt x="7311098" y="494447"/>
                  <a:pt x="7341580" y="494447"/>
                </a:cubicBezTo>
                <a:close/>
                <a:moveTo>
                  <a:pt x="7211286" y="494447"/>
                </a:moveTo>
                <a:cubicBezTo>
                  <a:pt x="7241768" y="494447"/>
                  <a:pt x="7266478" y="519157"/>
                  <a:pt x="7266478" y="549638"/>
                </a:cubicBezTo>
                <a:cubicBezTo>
                  <a:pt x="7266478" y="580119"/>
                  <a:pt x="7241768" y="604829"/>
                  <a:pt x="7211286" y="604829"/>
                </a:cubicBezTo>
                <a:cubicBezTo>
                  <a:pt x="7180804" y="604829"/>
                  <a:pt x="7156094" y="580119"/>
                  <a:pt x="7156094" y="549638"/>
                </a:cubicBezTo>
                <a:cubicBezTo>
                  <a:pt x="7156094" y="519157"/>
                  <a:pt x="7180804" y="494447"/>
                  <a:pt x="7211286" y="494447"/>
                </a:cubicBezTo>
                <a:close/>
                <a:moveTo>
                  <a:pt x="7080994" y="494447"/>
                </a:moveTo>
                <a:cubicBezTo>
                  <a:pt x="7111476" y="494447"/>
                  <a:pt x="7136186" y="519157"/>
                  <a:pt x="7136186" y="549638"/>
                </a:cubicBezTo>
                <a:cubicBezTo>
                  <a:pt x="7136186" y="580119"/>
                  <a:pt x="7111476" y="604829"/>
                  <a:pt x="7080994" y="604829"/>
                </a:cubicBezTo>
                <a:cubicBezTo>
                  <a:pt x="7050512" y="604829"/>
                  <a:pt x="7025802" y="580119"/>
                  <a:pt x="7025802" y="549638"/>
                </a:cubicBezTo>
                <a:cubicBezTo>
                  <a:pt x="7025802" y="519157"/>
                  <a:pt x="7050512" y="494447"/>
                  <a:pt x="7080994" y="494447"/>
                </a:cubicBezTo>
                <a:close/>
                <a:moveTo>
                  <a:pt x="6947358" y="494447"/>
                </a:moveTo>
                <a:cubicBezTo>
                  <a:pt x="6977840" y="494447"/>
                  <a:pt x="7002550" y="519157"/>
                  <a:pt x="7002550" y="549638"/>
                </a:cubicBezTo>
                <a:cubicBezTo>
                  <a:pt x="7002550" y="580119"/>
                  <a:pt x="6977840" y="604829"/>
                  <a:pt x="6947358" y="604829"/>
                </a:cubicBezTo>
                <a:cubicBezTo>
                  <a:pt x="6916876" y="604829"/>
                  <a:pt x="6892166" y="580119"/>
                  <a:pt x="6892166" y="549638"/>
                </a:cubicBezTo>
                <a:cubicBezTo>
                  <a:pt x="6892166" y="519157"/>
                  <a:pt x="6916876" y="494447"/>
                  <a:pt x="6947358" y="494447"/>
                </a:cubicBezTo>
                <a:close/>
                <a:moveTo>
                  <a:pt x="6289207" y="494447"/>
                </a:moveTo>
                <a:cubicBezTo>
                  <a:pt x="6319689" y="494447"/>
                  <a:pt x="6344399" y="519157"/>
                  <a:pt x="6344399" y="549638"/>
                </a:cubicBezTo>
                <a:cubicBezTo>
                  <a:pt x="6344399" y="580119"/>
                  <a:pt x="6319689" y="604829"/>
                  <a:pt x="6289207" y="604829"/>
                </a:cubicBezTo>
                <a:cubicBezTo>
                  <a:pt x="6258725" y="604829"/>
                  <a:pt x="6234015" y="580119"/>
                  <a:pt x="6234015" y="549638"/>
                </a:cubicBezTo>
                <a:cubicBezTo>
                  <a:pt x="6234015" y="519157"/>
                  <a:pt x="6258725" y="494447"/>
                  <a:pt x="6289207" y="494447"/>
                </a:cubicBezTo>
                <a:close/>
                <a:moveTo>
                  <a:pt x="4030786" y="494447"/>
                </a:moveTo>
                <a:cubicBezTo>
                  <a:pt x="4061268" y="494447"/>
                  <a:pt x="4085978" y="519157"/>
                  <a:pt x="4085978" y="549638"/>
                </a:cubicBezTo>
                <a:cubicBezTo>
                  <a:pt x="4085978" y="580119"/>
                  <a:pt x="4061268" y="604829"/>
                  <a:pt x="4030786" y="604829"/>
                </a:cubicBezTo>
                <a:cubicBezTo>
                  <a:pt x="4000304" y="604829"/>
                  <a:pt x="3975594" y="580119"/>
                  <a:pt x="3975594" y="549638"/>
                </a:cubicBezTo>
                <a:cubicBezTo>
                  <a:pt x="3975594" y="519157"/>
                  <a:pt x="4000304" y="494447"/>
                  <a:pt x="4030786" y="494447"/>
                </a:cubicBezTo>
                <a:close/>
                <a:moveTo>
                  <a:pt x="3897148" y="494447"/>
                </a:moveTo>
                <a:cubicBezTo>
                  <a:pt x="3927630" y="494447"/>
                  <a:pt x="3952340" y="519157"/>
                  <a:pt x="3952340" y="549638"/>
                </a:cubicBezTo>
                <a:cubicBezTo>
                  <a:pt x="3952340" y="580119"/>
                  <a:pt x="3927630" y="604829"/>
                  <a:pt x="3897148" y="604829"/>
                </a:cubicBezTo>
                <a:cubicBezTo>
                  <a:pt x="3866666" y="604829"/>
                  <a:pt x="3841956" y="580119"/>
                  <a:pt x="3841956" y="549638"/>
                </a:cubicBezTo>
                <a:cubicBezTo>
                  <a:pt x="3841956" y="519157"/>
                  <a:pt x="3866666" y="494447"/>
                  <a:pt x="3897148" y="494447"/>
                </a:cubicBezTo>
                <a:close/>
                <a:moveTo>
                  <a:pt x="3763514" y="494447"/>
                </a:moveTo>
                <a:cubicBezTo>
                  <a:pt x="3793996" y="494447"/>
                  <a:pt x="3818706" y="519157"/>
                  <a:pt x="3818706" y="549638"/>
                </a:cubicBezTo>
                <a:cubicBezTo>
                  <a:pt x="3818706" y="580119"/>
                  <a:pt x="3793996" y="604829"/>
                  <a:pt x="3763514" y="604829"/>
                </a:cubicBezTo>
                <a:cubicBezTo>
                  <a:pt x="3733032" y="604829"/>
                  <a:pt x="3708322" y="580119"/>
                  <a:pt x="3708322" y="549638"/>
                </a:cubicBezTo>
                <a:cubicBezTo>
                  <a:pt x="3708322" y="519157"/>
                  <a:pt x="3733032" y="494447"/>
                  <a:pt x="3763514" y="494447"/>
                </a:cubicBezTo>
                <a:close/>
                <a:moveTo>
                  <a:pt x="3633221" y="494447"/>
                </a:moveTo>
                <a:cubicBezTo>
                  <a:pt x="3663703" y="494447"/>
                  <a:pt x="3688413" y="519157"/>
                  <a:pt x="3688413" y="549638"/>
                </a:cubicBezTo>
                <a:cubicBezTo>
                  <a:pt x="3688413" y="580119"/>
                  <a:pt x="3663703" y="604829"/>
                  <a:pt x="3633221" y="604829"/>
                </a:cubicBezTo>
                <a:cubicBezTo>
                  <a:pt x="3602739" y="604829"/>
                  <a:pt x="3578029" y="580119"/>
                  <a:pt x="3578029" y="549638"/>
                </a:cubicBezTo>
                <a:cubicBezTo>
                  <a:pt x="3578029" y="519157"/>
                  <a:pt x="3602739" y="494447"/>
                  <a:pt x="3633221" y="494447"/>
                </a:cubicBezTo>
                <a:close/>
                <a:moveTo>
                  <a:pt x="3499589" y="494447"/>
                </a:moveTo>
                <a:cubicBezTo>
                  <a:pt x="3530071" y="494447"/>
                  <a:pt x="3554781" y="519157"/>
                  <a:pt x="3554781" y="549638"/>
                </a:cubicBezTo>
                <a:cubicBezTo>
                  <a:pt x="3554781" y="580119"/>
                  <a:pt x="3530071" y="604829"/>
                  <a:pt x="3499589" y="604829"/>
                </a:cubicBezTo>
                <a:cubicBezTo>
                  <a:pt x="3469107" y="604829"/>
                  <a:pt x="3444397" y="580119"/>
                  <a:pt x="3444397" y="549638"/>
                </a:cubicBezTo>
                <a:cubicBezTo>
                  <a:pt x="3444397" y="519157"/>
                  <a:pt x="3469107" y="494447"/>
                  <a:pt x="3499589" y="494447"/>
                </a:cubicBezTo>
                <a:close/>
                <a:moveTo>
                  <a:pt x="3369292" y="494447"/>
                </a:moveTo>
                <a:cubicBezTo>
                  <a:pt x="3399774" y="494447"/>
                  <a:pt x="3424484" y="519157"/>
                  <a:pt x="3424484" y="549638"/>
                </a:cubicBezTo>
                <a:cubicBezTo>
                  <a:pt x="3424484" y="580119"/>
                  <a:pt x="3399774" y="604829"/>
                  <a:pt x="3369292" y="604829"/>
                </a:cubicBezTo>
                <a:cubicBezTo>
                  <a:pt x="3338810" y="604829"/>
                  <a:pt x="3314100" y="580119"/>
                  <a:pt x="3314100" y="549638"/>
                </a:cubicBezTo>
                <a:cubicBezTo>
                  <a:pt x="3314100" y="519157"/>
                  <a:pt x="3338810" y="494447"/>
                  <a:pt x="3369292" y="494447"/>
                </a:cubicBezTo>
                <a:close/>
                <a:moveTo>
                  <a:pt x="3235657" y="494447"/>
                </a:moveTo>
                <a:cubicBezTo>
                  <a:pt x="3266139" y="494447"/>
                  <a:pt x="3290849" y="519157"/>
                  <a:pt x="3290849" y="549638"/>
                </a:cubicBezTo>
                <a:cubicBezTo>
                  <a:pt x="3290849" y="580119"/>
                  <a:pt x="3266139" y="604829"/>
                  <a:pt x="3235657" y="604829"/>
                </a:cubicBezTo>
                <a:cubicBezTo>
                  <a:pt x="3205175" y="604829"/>
                  <a:pt x="3180465" y="580119"/>
                  <a:pt x="3180465" y="549638"/>
                </a:cubicBezTo>
                <a:cubicBezTo>
                  <a:pt x="3180465" y="519157"/>
                  <a:pt x="3205175" y="494447"/>
                  <a:pt x="3235657" y="494447"/>
                </a:cubicBezTo>
                <a:close/>
                <a:moveTo>
                  <a:pt x="2437297" y="494447"/>
                </a:moveTo>
                <a:cubicBezTo>
                  <a:pt x="2467779" y="494447"/>
                  <a:pt x="2492487" y="519157"/>
                  <a:pt x="2492487" y="549638"/>
                </a:cubicBezTo>
                <a:cubicBezTo>
                  <a:pt x="2492487" y="580119"/>
                  <a:pt x="2467779" y="604829"/>
                  <a:pt x="2437297" y="604829"/>
                </a:cubicBezTo>
                <a:cubicBezTo>
                  <a:pt x="2406818" y="604829"/>
                  <a:pt x="2382108" y="580119"/>
                  <a:pt x="2382108" y="549638"/>
                </a:cubicBezTo>
                <a:cubicBezTo>
                  <a:pt x="2382108" y="519157"/>
                  <a:pt x="2406818" y="494447"/>
                  <a:pt x="2437297" y="494447"/>
                </a:cubicBezTo>
                <a:close/>
                <a:moveTo>
                  <a:pt x="2303664" y="494447"/>
                </a:moveTo>
                <a:cubicBezTo>
                  <a:pt x="2334145" y="494447"/>
                  <a:pt x="2358856" y="519157"/>
                  <a:pt x="2358856" y="549638"/>
                </a:cubicBezTo>
                <a:cubicBezTo>
                  <a:pt x="2358856" y="580119"/>
                  <a:pt x="2334145" y="604829"/>
                  <a:pt x="2303664" y="604829"/>
                </a:cubicBezTo>
                <a:cubicBezTo>
                  <a:pt x="2273182" y="604829"/>
                  <a:pt x="2248473" y="580119"/>
                  <a:pt x="2248473" y="549638"/>
                </a:cubicBezTo>
                <a:cubicBezTo>
                  <a:pt x="2248473" y="519157"/>
                  <a:pt x="2273182" y="494447"/>
                  <a:pt x="2303664" y="494447"/>
                </a:cubicBezTo>
                <a:close/>
                <a:moveTo>
                  <a:pt x="2173372" y="494447"/>
                </a:moveTo>
                <a:cubicBezTo>
                  <a:pt x="2203854" y="494447"/>
                  <a:pt x="2228565" y="519157"/>
                  <a:pt x="2228565" y="549638"/>
                </a:cubicBezTo>
                <a:cubicBezTo>
                  <a:pt x="2228565" y="580119"/>
                  <a:pt x="2203854" y="604829"/>
                  <a:pt x="2173372" y="604829"/>
                </a:cubicBezTo>
                <a:cubicBezTo>
                  <a:pt x="2142889" y="604829"/>
                  <a:pt x="2118180" y="580119"/>
                  <a:pt x="2118180" y="549638"/>
                </a:cubicBezTo>
                <a:cubicBezTo>
                  <a:pt x="2118180" y="519157"/>
                  <a:pt x="2142889" y="494447"/>
                  <a:pt x="2173372" y="494447"/>
                </a:cubicBezTo>
                <a:close/>
                <a:moveTo>
                  <a:pt x="2039736" y="494447"/>
                </a:moveTo>
                <a:cubicBezTo>
                  <a:pt x="2070218" y="494447"/>
                  <a:pt x="2094930" y="519157"/>
                  <a:pt x="2094930" y="549638"/>
                </a:cubicBezTo>
                <a:cubicBezTo>
                  <a:pt x="2094930" y="580119"/>
                  <a:pt x="2070218" y="604829"/>
                  <a:pt x="2039736" y="604829"/>
                </a:cubicBezTo>
                <a:cubicBezTo>
                  <a:pt x="2009254" y="604829"/>
                  <a:pt x="1984543" y="580119"/>
                  <a:pt x="1984543" y="549638"/>
                </a:cubicBezTo>
                <a:cubicBezTo>
                  <a:pt x="1984543" y="519157"/>
                  <a:pt x="2009254" y="494447"/>
                  <a:pt x="2039736" y="494447"/>
                </a:cubicBezTo>
                <a:close/>
                <a:moveTo>
                  <a:pt x="1909437" y="494447"/>
                </a:moveTo>
                <a:cubicBezTo>
                  <a:pt x="1939921" y="494447"/>
                  <a:pt x="1964630" y="519157"/>
                  <a:pt x="1964630" y="549638"/>
                </a:cubicBezTo>
                <a:cubicBezTo>
                  <a:pt x="1964630" y="580119"/>
                  <a:pt x="1939921" y="604829"/>
                  <a:pt x="1909437" y="604829"/>
                </a:cubicBezTo>
                <a:cubicBezTo>
                  <a:pt x="1878955" y="604829"/>
                  <a:pt x="1854244" y="580119"/>
                  <a:pt x="1854244" y="549638"/>
                </a:cubicBezTo>
                <a:cubicBezTo>
                  <a:pt x="1854244" y="519157"/>
                  <a:pt x="1878955" y="494447"/>
                  <a:pt x="1909437" y="494447"/>
                </a:cubicBezTo>
                <a:close/>
                <a:moveTo>
                  <a:pt x="1779142" y="494447"/>
                </a:moveTo>
                <a:cubicBezTo>
                  <a:pt x="1809626" y="494447"/>
                  <a:pt x="1834335" y="519157"/>
                  <a:pt x="1834335" y="549638"/>
                </a:cubicBezTo>
                <a:cubicBezTo>
                  <a:pt x="1834335" y="580119"/>
                  <a:pt x="1809626" y="604829"/>
                  <a:pt x="1779142" y="604829"/>
                </a:cubicBezTo>
                <a:cubicBezTo>
                  <a:pt x="1748663" y="604829"/>
                  <a:pt x="1723950" y="580119"/>
                  <a:pt x="1723950" y="549638"/>
                </a:cubicBezTo>
                <a:cubicBezTo>
                  <a:pt x="1723950" y="519157"/>
                  <a:pt x="1748663" y="494447"/>
                  <a:pt x="1779142" y="494447"/>
                </a:cubicBezTo>
                <a:close/>
                <a:moveTo>
                  <a:pt x="1645508" y="494447"/>
                </a:moveTo>
                <a:cubicBezTo>
                  <a:pt x="1675988" y="494447"/>
                  <a:pt x="1700702" y="519157"/>
                  <a:pt x="1700702" y="549638"/>
                </a:cubicBezTo>
                <a:cubicBezTo>
                  <a:pt x="1700702" y="580119"/>
                  <a:pt x="1675988" y="604829"/>
                  <a:pt x="1645508" y="604829"/>
                </a:cubicBezTo>
                <a:cubicBezTo>
                  <a:pt x="1615024" y="604829"/>
                  <a:pt x="1590311" y="580119"/>
                  <a:pt x="1590311" y="549638"/>
                </a:cubicBezTo>
                <a:cubicBezTo>
                  <a:pt x="1590311" y="519157"/>
                  <a:pt x="1615024" y="494447"/>
                  <a:pt x="1645508" y="494447"/>
                </a:cubicBezTo>
                <a:close/>
                <a:moveTo>
                  <a:pt x="1515217" y="494447"/>
                </a:moveTo>
                <a:cubicBezTo>
                  <a:pt x="1545695" y="494447"/>
                  <a:pt x="1570402" y="519157"/>
                  <a:pt x="1570402" y="549638"/>
                </a:cubicBezTo>
                <a:cubicBezTo>
                  <a:pt x="1570402" y="580119"/>
                  <a:pt x="1545695" y="604829"/>
                  <a:pt x="1515217" y="604829"/>
                </a:cubicBezTo>
                <a:cubicBezTo>
                  <a:pt x="1484732" y="604829"/>
                  <a:pt x="1460020" y="580119"/>
                  <a:pt x="1460020" y="549638"/>
                </a:cubicBezTo>
                <a:cubicBezTo>
                  <a:pt x="1460020" y="519157"/>
                  <a:pt x="1484732" y="494447"/>
                  <a:pt x="1515217" y="494447"/>
                </a:cubicBezTo>
                <a:close/>
                <a:moveTo>
                  <a:pt x="1381573" y="494447"/>
                </a:moveTo>
                <a:cubicBezTo>
                  <a:pt x="1412057" y="494447"/>
                  <a:pt x="1436767" y="519157"/>
                  <a:pt x="1436767" y="549638"/>
                </a:cubicBezTo>
                <a:cubicBezTo>
                  <a:pt x="1436767" y="580119"/>
                  <a:pt x="1412057" y="604829"/>
                  <a:pt x="1381573" y="604829"/>
                </a:cubicBezTo>
                <a:cubicBezTo>
                  <a:pt x="1351097" y="604829"/>
                  <a:pt x="1326384" y="580119"/>
                  <a:pt x="1326384" y="549638"/>
                </a:cubicBezTo>
                <a:cubicBezTo>
                  <a:pt x="1326384" y="519157"/>
                  <a:pt x="1351097" y="494447"/>
                  <a:pt x="1381573" y="494447"/>
                </a:cubicBezTo>
                <a:close/>
                <a:moveTo>
                  <a:pt x="1251282" y="494447"/>
                </a:moveTo>
                <a:cubicBezTo>
                  <a:pt x="1281766" y="494447"/>
                  <a:pt x="1306476" y="519157"/>
                  <a:pt x="1306476" y="549638"/>
                </a:cubicBezTo>
                <a:cubicBezTo>
                  <a:pt x="1306476" y="580119"/>
                  <a:pt x="1281766" y="604829"/>
                  <a:pt x="1251282" y="604829"/>
                </a:cubicBezTo>
                <a:cubicBezTo>
                  <a:pt x="1220801" y="604829"/>
                  <a:pt x="1196089" y="580119"/>
                  <a:pt x="1196089" y="549638"/>
                </a:cubicBezTo>
                <a:cubicBezTo>
                  <a:pt x="1196089" y="519157"/>
                  <a:pt x="1220801" y="494447"/>
                  <a:pt x="1251282" y="494447"/>
                </a:cubicBezTo>
                <a:close/>
                <a:moveTo>
                  <a:pt x="8801538" y="364154"/>
                </a:moveTo>
                <a:cubicBezTo>
                  <a:pt x="8832020" y="364154"/>
                  <a:pt x="8856730" y="388864"/>
                  <a:pt x="8856730" y="419345"/>
                </a:cubicBezTo>
                <a:cubicBezTo>
                  <a:pt x="8856730" y="449826"/>
                  <a:pt x="8832020" y="474536"/>
                  <a:pt x="8801538" y="474536"/>
                </a:cubicBezTo>
                <a:cubicBezTo>
                  <a:pt x="8771056" y="474536"/>
                  <a:pt x="8746346" y="449826"/>
                  <a:pt x="8746346" y="419345"/>
                </a:cubicBezTo>
                <a:cubicBezTo>
                  <a:pt x="8746346" y="388864"/>
                  <a:pt x="8771056" y="364154"/>
                  <a:pt x="8801538" y="364154"/>
                </a:cubicBezTo>
                <a:close/>
                <a:moveTo>
                  <a:pt x="8671244" y="364154"/>
                </a:moveTo>
                <a:cubicBezTo>
                  <a:pt x="8701726" y="364154"/>
                  <a:pt x="8726436" y="388864"/>
                  <a:pt x="8726436" y="419345"/>
                </a:cubicBezTo>
                <a:cubicBezTo>
                  <a:pt x="8726436" y="449826"/>
                  <a:pt x="8701726" y="474536"/>
                  <a:pt x="8671244" y="474536"/>
                </a:cubicBezTo>
                <a:cubicBezTo>
                  <a:pt x="8640762" y="474536"/>
                  <a:pt x="8616052" y="449826"/>
                  <a:pt x="8616052" y="419345"/>
                </a:cubicBezTo>
                <a:cubicBezTo>
                  <a:pt x="8616052" y="388864"/>
                  <a:pt x="8640762" y="364154"/>
                  <a:pt x="8671244" y="364154"/>
                </a:cubicBezTo>
                <a:close/>
                <a:moveTo>
                  <a:pt x="8537609" y="364154"/>
                </a:moveTo>
                <a:cubicBezTo>
                  <a:pt x="8568091" y="364154"/>
                  <a:pt x="8592801" y="388864"/>
                  <a:pt x="8592801" y="419345"/>
                </a:cubicBezTo>
                <a:cubicBezTo>
                  <a:pt x="8592801" y="449826"/>
                  <a:pt x="8568091" y="474536"/>
                  <a:pt x="8537609" y="474536"/>
                </a:cubicBezTo>
                <a:cubicBezTo>
                  <a:pt x="8507127" y="474536"/>
                  <a:pt x="8482417" y="449826"/>
                  <a:pt x="8482417" y="419345"/>
                </a:cubicBezTo>
                <a:cubicBezTo>
                  <a:pt x="8482417" y="388864"/>
                  <a:pt x="8507127" y="364154"/>
                  <a:pt x="8537609" y="364154"/>
                </a:cubicBezTo>
                <a:close/>
                <a:moveTo>
                  <a:pt x="7745824" y="364154"/>
                </a:moveTo>
                <a:cubicBezTo>
                  <a:pt x="7776306" y="364154"/>
                  <a:pt x="7801016" y="388864"/>
                  <a:pt x="7801016" y="419345"/>
                </a:cubicBezTo>
                <a:cubicBezTo>
                  <a:pt x="7801016" y="449826"/>
                  <a:pt x="7776306" y="474536"/>
                  <a:pt x="7745824" y="474536"/>
                </a:cubicBezTo>
                <a:cubicBezTo>
                  <a:pt x="7715342" y="474536"/>
                  <a:pt x="7690632" y="449826"/>
                  <a:pt x="7690632" y="419345"/>
                </a:cubicBezTo>
                <a:cubicBezTo>
                  <a:pt x="7690632" y="388864"/>
                  <a:pt x="7715342" y="364154"/>
                  <a:pt x="7745824" y="364154"/>
                </a:cubicBezTo>
                <a:close/>
                <a:moveTo>
                  <a:pt x="7608850" y="364154"/>
                </a:moveTo>
                <a:cubicBezTo>
                  <a:pt x="7639332" y="364154"/>
                  <a:pt x="7664042" y="388864"/>
                  <a:pt x="7664042" y="419345"/>
                </a:cubicBezTo>
                <a:cubicBezTo>
                  <a:pt x="7664042" y="449826"/>
                  <a:pt x="7639332" y="474536"/>
                  <a:pt x="7608850" y="474536"/>
                </a:cubicBezTo>
                <a:cubicBezTo>
                  <a:pt x="7578368" y="474536"/>
                  <a:pt x="7553658" y="449826"/>
                  <a:pt x="7553658" y="419345"/>
                </a:cubicBezTo>
                <a:cubicBezTo>
                  <a:pt x="7553658" y="388864"/>
                  <a:pt x="7578368" y="364154"/>
                  <a:pt x="7608850" y="364154"/>
                </a:cubicBezTo>
                <a:close/>
                <a:moveTo>
                  <a:pt x="7481895" y="364154"/>
                </a:moveTo>
                <a:cubicBezTo>
                  <a:pt x="7512377" y="364154"/>
                  <a:pt x="7537087" y="388864"/>
                  <a:pt x="7537087" y="419345"/>
                </a:cubicBezTo>
                <a:cubicBezTo>
                  <a:pt x="7537087" y="449826"/>
                  <a:pt x="7512377" y="474536"/>
                  <a:pt x="7481895" y="474536"/>
                </a:cubicBezTo>
                <a:cubicBezTo>
                  <a:pt x="7451413" y="474536"/>
                  <a:pt x="7426703" y="449826"/>
                  <a:pt x="7426703" y="419345"/>
                </a:cubicBezTo>
                <a:cubicBezTo>
                  <a:pt x="7426703" y="388864"/>
                  <a:pt x="7451413" y="364154"/>
                  <a:pt x="7481895" y="364154"/>
                </a:cubicBezTo>
                <a:close/>
                <a:moveTo>
                  <a:pt x="7341580" y="364154"/>
                </a:moveTo>
                <a:cubicBezTo>
                  <a:pt x="7372062" y="364154"/>
                  <a:pt x="7396772" y="388864"/>
                  <a:pt x="7396772" y="419345"/>
                </a:cubicBezTo>
                <a:cubicBezTo>
                  <a:pt x="7396772" y="449826"/>
                  <a:pt x="7372062" y="474536"/>
                  <a:pt x="7341580" y="474536"/>
                </a:cubicBezTo>
                <a:cubicBezTo>
                  <a:pt x="7311098" y="474536"/>
                  <a:pt x="7286388" y="449826"/>
                  <a:pt x="7286388" y="419345"/>
                </a:cubicBezTo>
                <a:cubicBezTo>
                  <a:pt x="7286388" y="388864"/>
                  <a:pt x="7311098" y="364154"/>
                  <a:pt x="7341580" y="364154"/>
                </a:cubicBezTo>
                <a:close/>
                <a:moveTo>
                  <a:pt x="6553137" y="364154"/>
                </a:moveTo>
                <a:cubicBezTo>
                  <a:pt x="6583619" y="364154"/>
                  <a:pt x="6608329" y="388864"/>
                  <a:pt x="6608329" y="419345"/>
                </a:cubicBezTo>
                <a:cubicBezTo>
                  <a:pt x="6608329" y="449826"/>
                  <a:pt x="6583619" y="474536"/>
                  <a:pt x="6553137" y="474536"/>
                </a:cubicBezTo>
                <a:cubicBezTo>
                  <a:pt x="6522655" y="474536"/>
                  <a:pt x="6497945" y="449826"/>
                  <a:pt x="6497945" y="419345"/>
                </a:cubicBezTo>
                <a:cubicBezTo>
                  <a:pt x="6497945" y="388864"/>
                  <a:pt x="6522655" y="364154"/>
                  <a:pt x="6553137" y="364154"/>
                </a:cubicBezTo>
                <a:close/>
                <a:moveTo>
                  <a:pt x="6419503" y="364154"/>
                </a:moveTo>
                <a:cubicBezTo>
                  <a:pt x="6449985" y="364154"/>
                  <a:pt x="6474695" y="388864"/>
                  <a:pt x="6474695" y="419345"/>
                </a:cubicBezTo>
                <a:cubicBezTo>
                  <a:pt x="6474695" y="449826"/>
                  <a:pt x="6449985" y="474536"/>
                  <a:pt x="6419503" y="474536"/>
                </a:cubicBezTo>
                <a:cubicBezTo>
                  <a:pt x="6389021" y="474536"/>
                  <a:pt x="6364311" y="449826"/>
                  <a:pt x="6364311" y="419345"/>
                </a:cubicBezTo>
                <a:cubicBezTo>
                  <a:pt x="6364311" y="388864"/>
                  <a:pt x="6389021" y="364154"/>
                  <a:pt x="6419503" y="364154"/>
                </a:cubicBezTo>
                <a:close/>
                <a:moveTo>
                  <a:pt x="4030786" y="364154"/>
                </a:moveTo>
                <a:cubicBezTo>
                  <a:pt x="4061268" y="364154"/>
                  <a:pt x="4085978" y="388864"/>
                  <a:pt x="4085978" y="419345"/>
                </a:cubicBezTo>
                <a:cubicBezTo>
                  <a:pt x="4085978" y="449826"/>
                  <a:pt x="4061268" y="474536"/>
                  <a:pt x="4030786" y="474536"/>
                </a:cubicBezTo>
                <a:cubicBezTo>
                  <a:pt x="4000304" y="474536"/>
                  <a:pt x="3975594" y="449826"/>
                  <a:pt x="3975594" y="419345"/>
                </a:cubicBezTo>
                <a:cubicBezTo>
                  <a:pt x="3975594" y="388864"/>
                  <a:pt x="4000304" y="364154"/>
                  <a:pt x="4030786" y="364154"/>
                </a:cubicBezTo>
                <a:close/>
                <a:moveTo>
                  <a:pt x="3897148" y="364154"/>
                </a:moveTo>
                <a:cubicBezTo>
                  <a:pt x="3927630" y="364154"/>
                  <a:pt x="3952340" y="388864"/>
                  <a:pt x="3952340" y="419345"/>
                </a:cubicBezTo>
                <a:cubicBezTo>
                  <a:pt x="3952340" y="449826"/>
                  <a:pt x="3927630" y="474536"/>
                  <a:pt x="3897148" y="474536"/>
                </a:cubicBezTo>
                <a:cubicBezTo>
                  <a:pt x="3866666" y="474536"/>
                  <a:pt x="3841956" y="449826"/>
                  <a:pt x="3841956" y="419345"/>
                </a:cubicBezTo>
                <a:cubicBezTo>
                  <a:pt x="3841956" y="388864"/>
                  <a:pt x="3866666" y="364154"/>
                  <a:pt x="3897148" y="364154"/>
                </a:cubicBezTo>
                <a:close/>
                <a:moveTo>
                  <a:pt x="3763514" y="364154"/>
                </a:moveTo>
                <a:cubicBezTo>
                  <a:pt x="3793996" y="364154"/>
                  <a:pt x="3818706" y="388864"/>
                  <a:pt x="3818706" y="419345"/>
                </a:cubicBezTo>
                <a:cubicBezTo>
                  <a:pt x="3818706" y="449826"/>
                  <a:pt x="3793996" y="474536"/>
                  <a:pt x="3763514" y="474536"/>
                </a:cubicBezTo>
                <a:cubicBezTo>
                  <a:pt x="3733032" y="474536"/>
                  <a:pt x="3708322" y="449826"/>
                  <a:pt x="3708322" y="419345"/>
                </a:cubicBezTo>
                <a:cubicBezTo>
                  <a:pt x="3708322" y="388864"/>
                  <a:pt x="3733032" y="364154"/>
                  <a:pt x="3763514" y="364154"/>
                </a:cubicBezTo>
                <a:close/>
                <a:moveTo>
                  <a:pt x="3633221" y="364154"/>
                </a:moveTo>
                <a:cubicBezTo>
                  <a:pt x="3663703" y="364154"/>
                  <a:pt x="3688413" y="388864"/>
                  <a:pt x="3688413" y="419345"/>
                </a:cubicBezTo>
                <a:cubicBezTo>
                  <a:pt x="3688413" y="449826"/>
                  <a:pt x="3663703" y="474536"/>
                  <a:pt x="3633221" y="474536"/>
                </a:cubicBezTo>
                <a:cubicBezTo>
                  <a:pt x="3602739" y="474536"/>
                  <a:pt x="3578029" y="449826"/>
                  <a:pt x="3578029" y="419345"/>
                </a:cubicBezTo>
                <a:cubicBezTo>
                  <a:pt x="3578029" y="388864"/>
                  <a:pt x="3602739" y="364154"/>
                  <a:pt x="3633221" y="364154"/>
                </a:cubicBezTo>
                <a:close/>
                <a:moveTo>
                  <a:pt x="3499589" y="364154"/>
                </a:moveTo>
                <a:cubicBezTo>
                  <a:pt x="3530071" y="364154"/>
                  <a:pt x="3554781" y="388864"/>
                  <a:pt x="3554781" y="419345"/>
                </a:cubicBezTo>
                <a:cubicBezTo>
                  <a:pt x="3554781" y="449826"/>
                  <a:pt x="3530071" y="474536"/>
                  <a:pt x="3499589" y="474536"/>
                </a:cubicBezTo>
                <a:cubicBezTo>
                  <a:pt x="3469107" y="474536"/>
                  <a:pt x="3444397" y="449826"/>
                  <a:pt x="3444397" y="419345"/>
                </a:cubicBezTo>
                <a:cubicBezTo>
                  <a:pt x="3444397" y="388864"/>
                  <a:pt x="3469107" y="364154"/>
                  <a:pt x="3499589" y="364154"/>
                </a:cubicBezTo>
                <a:close/>
                <a:moveTo>
                  <a:pt x="3369292" y="364154"/>
                </a:moveTo>
                <a:cubicBezTo>
                  <a:pt x="3399774" y="364154"/>
                  <a:pt x="3424484" y="388864"/>
                  <a:pt x="3424484" y="419345"/>
                </a:cubicBezTo>
                <a:cubicBezTo>
                  <a:pt x="3424484" y="449826"/>
                  <a:pt x="3399774" y="474536"/>
                  <a:pt x="3369292" y="474536"/>
                </a:cubicBezTo>
                <a:cubicBezTo>
                  <a:pt x="3338810" y="474536"/>
                  <a:pt x="3314100" y="449826"/>
                  <a:pt x="3314100" y="419345"/>
                </a:cubicBezTo>
                <a:cubicBezTo>
                  <a:pt x="3314100" y="388864"/>
                  <a:pt x="3338810" y="364154"/>
                  <a:pt x="3369292" y="364154"/>
                </a:cubicBezTo>
                <a:close/>
                <a:moveTo>
                  <a:pt x="3235657" y="364154"/>
                </a:moveTo>
                <a:cubicBezTo>
                  <a:pt x="3266139" y="364154"/>
                  <a:pt x="3290849" y="388864"/>
                  <a:pt x="3290849" y="419345"/>
                </a:cubicBezTo>
                <a:cubicBezTo>
                  <a:pt x="3290849" y="449826"/>
                  <a:pt x="3266139" y="474536"/>
                  <a:pt x="3235657" y="474536"/>
                </a:cubicBezTo>
                <a:cubicBezTo>
                  <a:pt x="3205175" y="474536"/>
                  <a:pt x="3180465" y="449826"/>
                  <a:pt x="3180465" y="419345"/>
                </a:cubicBezTo>
                <a:cubicBezTo>
                  <a:pt x="3180465" y="388864"/>
                  <a:pt x="3205175" y="364154"/>
                  <a:pt x="3235657" y="364154"/>
                </a:cubicBezTo>
                <a:close/>
                <a:moveTo>
                  <a:pt x="3098681" y="364154"/>
                </a:moveTo>
                <a:cubicBezTo>
                  <a:pt x="3129163" y="364154"/>
                  <a:pt x="3153873" y="388864"/>
                  <a:pt x="3153873" y="419345"/>
                </a:cubicBezTo>
                <a:cubicBezTo>
                  <a:pt x="3153873" y="449826"/>
                  <a:pt x="3129163" y="474536"/>
                  <a:pt x="3098681" y="474536"/>
                </a:cubicBezTo>
                <a:cubicBezTo>
                  <a:pt x="3068199" y="474536"/>
                  <a:pt x="3043489" y="449826"/>
                  <a:pt x="3043489" y="419345"/>
                </a:cubicBezTo>
                <a:cubicBezTo>
                  <a:pt x="3043489" y="388864"/>
                  <a:pt x="3068199" y="364154"/>
                  <a:pt x="3098681" y="364154"/>
                </a:cubicBezTo>
                <a:close/>
                <a:moveTo>
                  <a:pt x="2971729" y="364154"/>
                </a:moveTo>
                <a:cubicBezTo>
                  <a:pt x="3002211" y="364154"/>
                  <a:pt x="3026921" y="388864"/>
                  <a:pt x="3026921" y="419345"/>
                </a:cubicBezTo>
                <a:cubicBezTo>
                  <a:pt x="3026921" y="449826"/>
                  <a:pt x="3002211" y="474536"/>
                  <a:pt x="2971729" y="474536"/>
                </a:cubicBezTo>
                <a:cubicBezTo>
                  <a:pt x="2941247" y="474536"/>
                  <a:pt x="2916537" y="449826"/>
                  <a:pt x="2916537" y="419345"/>
                </a:cubicBezTo>
                <a:cubicBezTo>
                  <a:pt x="2916537" y="388864"/>
                  <a:pt x="2941247" y="364154"/>
                  <a:pt x="2971729" y="364154"/>
                </a:cubicBezTo>
                <a:close/>
                <a:moveTo>
                  <a:pt x="2834862" y="364154"/>
                </a:moveTo>
                <a:cubicBezTo>
                  <a:pt x="2865342" y="364154"/>
                  <a:pt x="2890052" y="388864"/>
                  <a:pt x="2890052" y="419345"/>
                </a:cubicBezTo>
                <a:cubicBezTo>
                  <a:pt x="2890052" y="449826"/>
                  <a:pt x="2865342" y="474536"/>
                  <a:pt x="2834862" y="474536"/>
                </a:cubicBezTo>
                <a:cubicBezTo>
                  <a:pt x="2804379" y="474536"/>
                  <a:pt x="2779671" y="449826"/>
                  <a:pt x="2779671" y="419345"/>
                </a:cubicBezTo>
                <a:cubicBezTo>
                  <a:pt x="2779671" y="388864"/>
                  <a:pt x="2804379" y="364154"/>
                  <a:pt x="2834862" y="364154"/>
                </a:cubicBezTo>
                <a:close/>
                <a:moveTo>
                  <a:pt x="2437297" y="364154"/>
                </a:moveTo>
                <a:cubicBezTo>
                  <a:pt x="2467781" y="364154"/>
                  <a:pt x="2492487" y="388864"/>
                  <a:pt x="2492487" y="419345"/>
                </a:cubicBezTo>
                <a:cubicBezTo>
                  <a:pt x="2492487" y="449826"/>
                  <a:pt x="2467781" y="474536"/>
                  <a:pt x="2437297" y="474536"/>
                </a:cubicBezTo>
                <a:cubicBezTo>
                  <a:pt x="2406818" y="474536"/>
                  <a:pt x="2382108" y="449826"/>
                  <a:pt x="2382108" y="419345"/>
                </a:cubicBezTo>
                <a:cubicBezTo>
                  <a:pt x="2382108" y="388864"/>
                  <a:pt x="2406818" y="364154"/>
                  <a:pt x="2437297" y="364154"/>
                </a:cubicBezTo>
                <a:close/>
                <a:moveTo>
                  <a:pt x="2303664" y="364154"/>
                </a:moveTo>
                <a:cubicBezTo>
                  <a:pt x="2334146" y="364154"/>
                  <a:pt x="2358856" y="388864"/>
                  <a:pt x="2358856" y="419345"/>
                </a:cubicBezTo>
                <a:cubicBezTo>
                  <a:pt x="2358856" y="449826"/>
                  <a:pt x="2334146" y="474536"/>
                  <a:pt x="2303664" y="474536"/>
                </a:cubicBezTo>
                <a:cubicBezTo>
                  <a:pt x="2273184" y="474536"/>
                  <a:pt x="2248473" y="449826"/>
                  <a:pt x="2248473" y="419345"/>
                </a:cubicBezTo>
                <a:cubicBezTo>
                  <a:pt x="2248473" y="388864"/>
                  <a:pt x="2273184" y="364154"/>
                  <a:pt x="2303664" y="364154"/>
                </a:cubicBezTo>
                <a:close/>
                <a:moveTo>
                  <a:pt x="2173372" y="364154"/>
                </a:moveTo>
                <a:cubicBezTo>
                  <a:pt x="2203854" y="364154"/>
                  <a:pt x="2228565" y="388864"/>
                  <a:pt x="2228565" y="419345"/>
                </a:cubicBezTo>
                <a:cubicBezTo>
                  <a:pt x="2228565" y="449826"/>
                  <a:pt x="2203854" y="474536"/>
                  <a:pt x="2173372" y="474536"/>
                </a:cubicBezTo>
                <a:cubicBezTo>
                  <a:pt x="2142892" y="474536"/>
                  <a:pt x="2118180" y="449826"/>
                  <a:pt x="2118180" y="419345"/>
                </a:cubicBezTo>
                <a:cubicBezTo>
                  <a:pt x="2118180" y="388864"/>
                  <a:pt x="2142892" y="364154"/>
                  <a:pt x="2173372" y="364154"/>
                </a:cubicBezTo>
                <a:close/>
                <a:moveTo>
                  <a:pt x="2039736" y="364154"/>
                </a:moveTo>
                <a:cubicBezTo>
                  <a:pt x="2070218" y="364154"/>
                  <a:pt x="2094930" y="388864"/>
                  <a:pt x="2094930" y="419345"/>
                </a:cubicBezTo>
                <a:cubicBezTo>
                  <a:pt x="2094930" y="449826"/>
                  <a:pt x="2070218" y="474536"/>
                  <a:pt x="2039736" y="474536"/>
                </a:cubicBezTo>
                <a:cubicBezTo>
                  <a:pt x="2009254" y="474536"/>
                  <a:pt x="1984543" y="449826"/>
                  <a:pt x="1984543" y="419345"/>
                </a:cubicBezTo>
                <a:cubicBezTo>
                  <a:pt x="1984543" y="388864"/>
                  <a:pt x="2009254" y="364154"/>
                  <a:pt x="2039736" y="364154"/>
                </a:cubicBezTo>
                <a:close/>
                <a:moveTo>
                  <a:pt x="1909440" y="364154"/>
                </a:moveTo>
                <a:cubicBezTo>
                  <a:pt x="1939922" y="364154"/>
                  <a:pt x="1964634" y="388864"/>
                  <a:pt x="1964634" y="419345"/>
                </a:cubicBezTo>
                <a:cubicBezTo>
                  <a:pt x="1964634" y="449826"/>
                  <a:pt x="1939922" y="474536"/>
                  <a:pt x="1909440" y="474536"/>
                </a:cubicBezTo>
                <a:cubicBezTo>
                  <a:pt x="1878957" y="474536"/>
                  <a:pt x="1854246" y="449826"/>
                  <a:pt x="1854246" y="419345"/>
                </a:cubicBezTo>
                <a:cubicBezTo>
                  <a:pt x="1854246" y="388864"/>
                  <a:pt x="1878957" y="364154"/>
                  <a:pt x="1909440" y="364154"/>
                </a:cubicBezTo>
                <a:close/>
                <a:moveTo>
                  <a:pt x="1779142" y="364154"/>
                </a:moveTo>
                <a:cubicBezTo>
                  <a:pt x="1809626" y="364154"/>
                  <a:pt x="1834337" y="388864"/>
                  <a:pt x="1834337" y="419345"/>
                </a:cubicBezTo>
                <a:cubicBezTo>
                  <a:pt x="1834337" y="449826"/>
                  <a:pt x="1809626" y="474536"/>
                  <a:pt x="1779142" y="474536"/>
                </a:cubicBezTo>
                <a:cubicBezTo>
                  <a:pt x="1748663" y="474536"/>
                  <a:pt x="1723951" y="449826"/>
                  <a:pt x="1723951" y="419345"/>
                </a:cubicBezTo>
                <a:cubicBezTo>
                  <a:pt x="1723951" y="388864"/>
                  <a:pt x="1748663" y="364154"/>
                  <a:pt x="1779142" y="364154"/>
                </a:cubicBezTo>
                <a:close/>
                <a:moveTo>
                  <a:pt x="1645508" y="364154"/>
                </a:moveTo>
                <a:cubicBezTo>
                  <a:pt x="1675988" y="364154"/>
                  <a:pt x="1700702" y="388864"/>
                  <a:pt x="1700702" y="419345"/>
                </a:cubicBezTo>
                <a:cubicBezTo>
                  <a:pt x="1700702" y="449826"/>
                  <a:pt x="1675988" y="474536"/>
                  <a:pt x="1645508" y="474536"/>
                </a:cubicBezTo>
                <a:cubicBezTo>
                  <a:pt x="1615024" y="474536"/>
                  <a:pt x="1590313" y="449826"/>
                  <a:pt x="1590313" y="419345"/>
                </a:cubicBezTo>
                <a:cubicBezTo>
                  <a:pt x="1590313" y="388864"/>
                  <a:pt x="1615024" y="364154"/>
                  <a:pt x="1645508" y="364154"/>
                </a:cubicBezTo>
                <a:close/>
                <a:moveTo>
                  <a:pt x="1515217" y="364154"/>
                </a:moveTo>
                <a:cubicBezTo>
                  <a:pt x="1545695" y="364154"/>
                  <a:pt x="1570405" y="388864"/>
                  <a:pt x="1570405" y="419345"/>
                </a:cubicBezTo>
                <a:cubicBezTo>
                  <a:pt x="1570405" y="449826"/>
                  <a:pt x="1545695" y="474536"/>
                  <a:pt x="1515217" y="474536"/>
                </a:cubicBezTo>
                <a:cubicBezTo>
                  <a:pt x="1484732" y="474536"/>
                  <a:pt x="1460020" y="449826"/>
                  <a:pt x="1460020" y="419345"/>
                </a:cubicBezTo>
                <a:cubicBezTo>
                  <a:pt x="1460020" y="388864"/>
                  <a:pt x="1484732" y="364154"/>
                  <a:pt x="1515217" y="364154"/>
                </a:cubicBezTo>
                <a:close/>
                <a:moveTo>
                  <a:pt x="1381573" y="364154"/>
                </a:moveTo>
                <a:cubicBezTo>
                  <a:pt x="1412060" y="364154"/>
                  <a:pt x="1436767" y="388864"/>
                  <a:pt x="1436767" y="419345"/>
                </a:cubicBezTo>
                <a:cubicBezTo>
                  <a:pt x="1436767" y="449826"/>
                  <a:pt x="1412060" y="474536"/>
                  <a:pt x="1381573" y="474536"/>
                </a:cubicBezTo>
                <a:cubicBezTo>
                  <a:pt x="1351097" y="474536"/>
                  <a:pt x="1326384" y="449826"/>
                  <a:pt x="1326384" y="419345"/>
                </a:cubicBezTo>
                <a:cubicBezTo>
                  <a:pt x="1326384" y="388864"/>
                  <a:pt x="1351097" y="364154"/>
                  <a:pt x="1381573" y="364154"/>
                </a:cubicBezTo>
                <a:close/>
                <a:moveTo>
                  <a:pt x="1251283" y="364154"/>
                </a:moveTo>
                <a:cubicBezTo>
                  <a:pt x="1281766" y="364154"/>
                  <a:pt x="1306476" y="388864"/>
                  <a:pt x="1306476" y="419345"/>
                </a:cubicBezTo>
                <a:cubicBezTo>
                  <a:pt x="1306476" y="449826"/>
                  <a:pt x="1281766" y="474536"/>
                  <a:pt x="1251283" y="474536"/>
                </a:cubicBezTo>
                <a:cubicBezTo>
                  <a:pt x="1220801" y="474536"/>
                  <a:pt x="1196091" y="449826"/>
                  <a:pt x="1196091" y="419345"/>
                </a:cubicBezTo>
                <a:cubicBezTo>
                  <a:pt x="1196091" y="388864"/>
                  <a:pt x="1220801" y="364154"/>
                  <a:pt x="1251283" y="364154"/>
                </a:cubicBezTo>
                <a:close/>
                <a:moveTo>
                  <a:pt x="7608850" y="247225"/>
                </a:moveTo>
                <a:cubicBezTo>
                  <a:pt x="7639332" y="247225"/>
                  <a:pt x="7664042" y="271935"/>
                  <a:pt x="7664042" y="302416"/>
                </a:cubicBezTo>
                <a:cubicBezTo>
                  <a:pt x="7664042" y="332897"/>
                  <a:pt x="7639332" y="357607"/>
                  <a:pt x="7608850" y="357607"/>
                </a:cubicBezTo>
                <a:cubicBezTo>
                  <a:pt x="7578368" y="357607"/>
                  <a:pt x="7553658" y="332897"/>
                  <a:pt x="7553658" y="302416"/>
                </a:cubicBezTo>
                <a:cubicBezTo>
                  <a:pt x="7553658" y="271935"/>
                  <a:pt x="7578368" y="247225"/>
                  <a:pt x="7608850" y="247225"/>
                </a:cubicBezTo>
                <a:close/>
                <a:moveTo>
                  <a:pt x="7481898" y="247225"/>
                </a:moveTo>
                <a:cubicBezTo>
                  <a:pt x="7512380" y="247225"/>
                  <a:pt x="7537090" y="271935"/>
                  <a:pt x="7537090" y="302416"/>
                </a:cubicBezTo>
                <a:cubicBezTo>
                  <a:pt x="7537090" y="332897"/>
                  <a:pt x="7512380" y="357607"/>
                  <a:pt x="7481898" y="357607"/>
                </a:cubicBezTo>
                <a:cubicBezTo>
                  <a:pt x="7451416" y="357607"/>
                  <a:pt x="7426706" y="332897"/>
                  <a:pt x="7426706" y="302416"/>
                </a:cubicBezTo>
                <a:cubicBezTo>
                  <a:pt x="7426706" y="271935"/>
                  <a:pt x="7451416" y="247225"/>
                  <a:pt x="7481898" y="247225"/>
                </a:cubicBezTo>
                <a:close/>
                <a:moveTo>
                  <a:pt x="5093178" y="247225"/>
                </a:moveTo>
                <a:cubicBezTo>
                  <a:pt x="5123660" y="247225"/>
                  <a:pt x="5148370" y="271935"/>
                  <a:pt x="5148370" y="302416"/>
                </a:cubicBezTo>
                <a:cubicBezTo>
                  <a:pt x="5148370" y="332897"/>
                  <a:pt x="5123660" y="357607"/>
                  <a:pt x="5093178" y="357607"/>
                </a:cubicBezTo>
                <a:cubicBezTo>
                  <a:pt x="5062696" y="357607"/>
                  <a:pt x="5037986" y="332897"/>
                  <a:pt x="5037986" y="302416"/>
                </a:cubicBezTo>
                <a:cubicBezTo>
                  <a:pt x="5037986" y="271935"/>
                  <a:pt x="5062696" y="247225"/>
                  <a:pt x="5093178" y="247225"/>
                </a:cubicBezTo>
                <a:close/>
                <a:moveTo>
                  <a:pt x="4030786" y="247225"/>
                </a:moveTo>
                <a:cubicBezTo>
                  <a:pt x="4061268" y="247225"/>
                  <a:pt x="4085978" y="271935"/>
                  <a:pt x="4085978" y="302416"/>
                </a:cubicBezTo>
                <a:cubicBezTo>
                  <a:pt x="4085978" y="332897"/>
                  <a:pt x="4061268" y="357607"/>
                  <a:pt x="4030786" y="357607"/>
                </a:cubicBezTo>
                <a:cubicBezTo>
                  <a:pt x="4000304" y="357607"/>
                  <a:pt x="3975594" y="332897"/>
                  <a:pt x="3975594" y="302416"/>
                </a:cubicBezTo>
                <a:cubicBezTo>
                  <a:pt x="3975594" y="271935"/>
                  <a:pt x="4000304" y="247225"/>
                  <a:pt x="4030786" y="247225"/>
                </a:cubicBezTo>
                <a:close/>
                <a:moveTo>
                  <a:pt x="3897148" y="247225"/>
                </a:moveTo>
                <a:cubicBezTo>
                  <a:pt x="3927630" y="247225"/>
                  <a:pt x="3952340" y="271935"/>
                  <a:pt x="3952340" y="302416"/>
                </a:cubicBezTo>
                <a:cubicBezTo>
                  <a:pt x="3952340" y="332897"/>
                  <a:pt x="3927630" y="357607"/>
                  <a:pt x="3897148" y="357607"/>
                </a:cubicBezTo>
                <a:cubicBezTo>
                  <a:pt x="3866666" y="357607"/>
                  <a:pt x="3841956" y="332897"/>
                  <a:pt x="3841956" y="302416"/>
                </a:cubicBezTo>
                <a:cubicBezTo>
                  <a:pt x="3841956" y="271935"/>
                  <a:pt x="3866666" y="247225"/>
                  <a:pt x="3897148" y="247225"/>
                </a:cubicBezTo>
                <a:close/>
                <a:moveTo>
                  <a:pt x="3763514" y="247225"/>
                </a:moveTo>
                <a:cubicBezTo>
                  <a:pt x="3793996" y="247225"/>
                  <a:pt x="3818706" y="271935"/>
                  <a:pt x="3818706" y="302416"/>
                </a:cubicBezTo>
                <a:cubicBezTo>
                  <a:pt x="3818706" y="332897"/>
                  <a:pt x="3793996" y="357607"/>
                  <a:pt x="3763514" y="357607"/>
                </a:cubicBezTo>
                <a:cubicBezTo>
                  <a:pt x="3733032" y="357607"/>
                  <a:pt x="3708322" y="332897"/>
                  <a:pt x="3708322" y="302416"/>
                </a:cubicBezTo>
                <a:cubicBezTo>
                  <a:pt x="3708322" y="271935"/>
                  <a:pt x="3733032" y="247225"/>
                  <a:pt x="3763514" y="247225"/>
                </a:cubicBezTo>
                <a:close/>
                <a:moveTo>
                  <a:pt x="3633221" y="247225"/>
                </a:moveTo>
                <a:cubicBezTo>
                  <a:pt x="3663703" y="247225"/>
                  <a:pt x="3688413" y="271935"/>
                  <a:pt x="3688413" y="302416"/>
                </a:cubicBezTo>
                <a:cubicBezTo>
                  <a:pt x="3688413" y="332897"/>
                  <a:pt x="3663703" y="357607"/>
                  <a:pt x="3633221" y="357607"/>
                </a:cubicBezTo>
                <a:cubicBezTo>
                  <a:pt x="3602739" y="357607"/>
                  <a:pt x="3578029" y="332897"/>
                  <a:pt x="3578029" y="302416"/>
                </a:cubicBezTo>
                <a:cubicBezTo>
                  <a:pt x="3578029" y="271935"/>
                  <a:pt x="3602739" y="247225"/>
                  <a:pt x="3633221" y="247225"/>
                </a:cubicBezTo>
                <a:close/>
                <a:moveTo>
                  <a:pt x="3499589" y="247225"/>
                </a:moveTo>
                <a:cubicBezTo>
                  <a:pt x="3530071" y="247225"/>
                  <a:pt x="3554781" y="271935"/>
                  <a:pt x="3554781" y="302416"/>
                </a:cubicBezTo>
                <a:cubicBezTo>
                  <a:pt x="3554781" y="332897"/>
                  <a:pt x="3530071" y="357607"/>
                  <a:pt x="3499589" y="357607"/>
                </a:cubicBezTo>
                <a:cubicBezTo>
                  <a:pt x="3469107" y="357607"/>
                  <a:pt x="3444397" y="332897"/>
                  <a:pt x="3444397" y="302416"/>
                </a:cubicBezTo>
                <a:cubicBezTo>
                  <a:pt x="3444397" y="271935"/>
                  <a:pt x="3469107" y="247225"/>
                  <a:pt x="3499589" y="247225"/>
                </a:cubicBezTo>
                <a:close/>
                <a:moveTo>
                  <a:pt x="3369293" y="247225"/>
                </a:moveTo>
                <a:cubicBezTo>
                  <a:pt x="3399775" y="247225"/>
                  <a:pt x="3424485" y="271935"/>
                  <a:pt x="3424485" y="302416"/>
                </a:cubicBezTo>
                <a:cubicBezTo>
                  <a:pt x="3424485" y="332897"/>
                  <a:pt x="3399775" y="357607"/>
                  <a:pt x="3369293" y="357607"/>
                </a:cubicBezTo>
                <a:cubicBezTo>
                  <a:pt x="3338811" y="357607"/>
                  <a:pt x="3314101" y="332897"/>
                  <a:pt x="3314101" y="302416"/>
                </a:cubicBezTo>
                <a:cubicBezTo>
                  <a:pt x="3314101" y="271935"/>
                  <a:pt x="3338811" y="247225"/>
                  <a:pt x="3369293" y="247225"/>
                </a:cubicBezTo>
                <a:close/>
                <a:moveTo>
                  <a:pt x="3235657" y="247225"/>
                </a:moveTo>
                <a:cubicBezTo>
                  <a:pt x="3266139" y="247225"/>
                  <a:pt x="3290849" y="271935"/>
                  <a:pt x="3290849" y="302416"/>
                </a:cubicBezTo>
                <a:cubicBezTo>
                  <a:pt x="3290849" y="332897"/>
                  <a:pt x="3266139" y="357607"/>
                  <a:pt x="3235657" y="357607"/>
                </a:cubicBezTo>
                <a:cubicBezTo>
                  <a:pt x="3205175" y="357607"/>
                  <a:pt x="3180465" y="332897"/>
                  <a:pt x="3180465" y="302416"/>
                </a:cubicBezTo>
                <a:cubicBezTo>
                  <a:pt x="3180465" y="271935"/>
                  <a:pt x="3205175" y="247225"/>
                  <a:pt x="3235657" y="247225"/>
                </a:cubicBezTo>
                <a:close/>
                <a:moveTo>
                  <a:pt x="3098682" y="247225"/>
                </a:moveTo>
                <a:cubicBezTo>
                  <a:pt x="3129164" y="247225"/>
                  <a:pt x="3153874" y="271935"/>
                  <a:pt x="3153874" y="302416"/>
                </a:cubicBezTo>
                <a:cubicBezTo>
                  <a:pt x="3153874" y="332897"/>
                  <a:pt x="3129164" y="357607"/>
                  <a:pt x="3098682" y="357607"/>
                </a:cubicBezTo>
                <a:cubicBezTo>
                  <a:pt x="3068200" y="357607"/>
                  <a:pt x="3043490" y="332897"/>
                  <a:pt x="3043490" y="302416"/>
                </a:cubicBezTo>
                <a:cubicBezTo>
                  <a:pt x="3043490" y="271935"/>
                  <a:pt x="3068200" y="247225"/>
                  <a:pt x="3098682" y="247225"/>
                </a:cubicBezTo>
                <a:close/>
                <a:moveTo>
                  <a:pt x="2971729" y="247225"/>
                </a:moveTo>
                <a:cubicBezTo>
                  <a:pt x="3002211" y="247225"/>
                  <a:pt x="3026921" y="271935"/>
                  <a:pt x="3026921" y="302416"/>
                </a:cubicBezTo>
                <a:cubicBezTo>
                  <a:pt x="3026921" y="332897"/>
                  <a:pt x="3002211" y="357607"/>
                  <a:pt x="2971729" y="357607"/>
                </a:cubicBezTo>
                <a:cubicBezTo>
                  <a:pt x="2941247" y="357607"/>
                  <a:pt x="2916537" y="332897"/>
                  <a:pt x="2916537" y="302416"/>
                </a:cubicBezTo>
                <a:cubicBezTo>
                  <a:pt x="2916537" y="271935"/>
                  <a:pt x="2941247" y="247225"/>
                  <a:pt x="2971729" y="247225"/>
                </a:cubicBezTo>
                <a:close/>
                <a:moveTo>
                  <a:pt x="2834862" y="247225"/>
                </a:moveTo>
                <a:cubicBezTo>
                  <a:pt x="2865342" y="247225"/>
                  <a:pt x="2890052" y="271935"/>
                  <a:pt x="2890052" y="302416"/>
                </a:cubicBezTo>
                <a:cubicBezTo>
                  <a:pt x="2890052" y="332897"/>
                  <a:pt x="2865342" y="357607"/>
                  <a:pt x="2834862" y="357607"/>
                </a:cubicBezTo>
                <a:cubicBezTo>
                  <a:pt x="2804379" y="357607"/>
                  <a:pt x="2779671" y="332897"/>
                  <a:pt x="2779671" y="302416"/>
                </a:cubicBezTo>
                <a:cubicBezTo>
                  <a:pt x="2779671" y="271935"/>
                  <a:pt x="2804379" y="247225"/>
                  <a:pt x="2834862" y="247225"/>
                </a:cubicBezTo>
                <a:close/>
                <a:moveTo>
                  <a:pt x="2570933" y="247225"/>
                </a:moveTo>
                <a:cubicBezTo>
                  <a:pt x="2601414" y="247225"/>
                  <a:pt x="2626123" y="271935"/>
                  <a:pt x="2626123" y="302416"/>
                </a:cubicBezTo>
                <a:cubicBezTo>
                  <a:pt x="2626123" y="332897"/>
                  <a:pt x="2601414" y="357607"/>
                  <a:pt x="2570933" y="357607"/>
                </a:cubicBezTo>
                <a:cubicBezTo>
                  <a:pt x="2540449" y="357607"/>
                  <a:pt x="2515738" y="332897"/>
                  <a:pt x="2515738" y="302416"/>
                </a:cubicBezTo>
                <a:cubicBezTo>
                  <a:pt x="2515738" y="271935"/>
                  <a:pt x="2540449" y="247225"/>
                  <a:pt x="2570933" y="247225"/>
                </a:cubicBezTo>
                <a:close/>
                <a:moveTo>
                  <a:pt x="2437297" y="247225"/>
                </a:moveTo>
                <a:cubicBezTo>
                  <a:pt x="2467781" y="247225"/>
                  <a:pt x="2492487" y="271935"/>
                  <a:pt x="2492487" y="302416"/>
                </a:cubicBezTo>
                <a:cubicBezTo>
                  <a:pt x="2492487" y="332897"/>
                  <a:pt x="2467781" y="357607"/>
                  <a:pt x="2437297" y="357607"/>
                </a:cubicBezTo>
                <a:cubicBezTo>
                  <a:pt x="2406818" y="357607"/>
                  <a:pt x="2382108" y="332897"/>
                  <a:pt x="2382108" y="302416"/>
                </a:cubicBezTo>
                <a:cubicBezTo>
                  <a:pt x="2382108" y="271935"/>
                  <a:pt x="2406818" y="247225"/>
                  <a:pt x="2437297" y="247225"/>
                </a:cubicBezTo>
                <a:close/>
                <a:moveTo>
                  <a:pt x="2303666" y="247225"/>
                </a:moveTo>
                <a:cubicBezTo>
                  <a:pt x="2334146" y="247225"/>
                  <a:pt x="2358856" y="271935"/>
                  <a:pt x="2358856" y="302416"/>
                </a:cubicBezTo>
                <a:cubicBezTo>
                  <a:pt x="2358856" y="332897"/>
                  <a:pt x="2334146" y="357607"/>
                  <a:pt x="2303666" y="357607"/>
                </a:cubicBezTo>
                <a:cubicBezTo>
                  <a:pt x="2273184" y="357607"/>
                  <a:pt x="2248473" y="332897"/>
                  <a:pt x="2248473" y="302416"/>
                </a:cubicBezTo>
                <a:cubicBezTo>
                  <a:pt x="2248473" y="271935"/>
                  <a:pt x="2273184" y="247225"/>
                  <a:pt x="2303666" y="247225"/>
                </a:cubicBezTo>
                <a:close/>
                <a:moveTo>
                  <a:pt x="2173372" y="247225"/>
                </a:moveTo>
                <a:cubicBezTo>
                  <a:pt x="2203857" y="247225"/>
                  <a:pt x="2228566" y="271935"/>
                  <a:pt x="2228566" y="302416"/>
                </a:cubicBezTo>
                <a:cubicBezTo>
                  <a:pt x="2228566" y="332897"/>
                  <a:pt x="2203857" y="357607"/>
                  <a:pt x="2173372" y="357607"/>
                </a:cubicBezTo>
                <a:cubicBezTo>
                  <a:pt x="2142892" y="357607"/>
                  <a:pt x="2118180" y="332897"/>
                  <a:pt x="2118180" y="302416"/>
                </a:cubicBezTo>
                <a:cubicBezTo>
                  <a:pt x="2118180" y="271935"/>
                  <a:pt x="2142892" y="247225"/>
                  <a:pt x="2173372" y="247225"/>
                </a:cubicBezTo>
                <a:close/>
                <a:moveTo>
                  <a:pt x="1909440" y="247225"/>
                </a:moveTo>
                <a:cubicBezTo>
                  <a:pt x="1939922" y="247225"/>
                  <a:pt x="1964634" y="271935"/>
                  <a:pt x="1964634" y="302416"/>
                </a:cubicBezTo>
                <a:cubicBezTo>
                  <a:pt x="1964634" y="332897"/>
                  <a:pt x="1939922" y="357607"/>
                  <a:pt x="1909440" y="357607"/>
                </a:cubicBezTo>
                <a:cubicBezTo>
                  <a:pt x="1878957" y="357607"/>
                  <a:pt x="1854246" y="332897"/>
                  <a:pt x="1854246" y="302416"/>
                </a:cubicBezTo>
                <a:cubicBezTo>
                  <a:pt x="1854246" y="271935"/>
                  <a:pt x="1878957" y="247225"/>
                  <a:pt x="1909440" y="247225"/>
                </a:cubicBezTo>
                <a:close/>
                <a:moveTo>
                  <a:pt x="1779142" y="247225"/>
                </a:moveTo>
                <a:cubicBezTo>
                  <a:pt x="1809626" y="247225"/>
                  <a:pt x="1834337" y="271935"/>
                  <a:pt x="1834337" y="302416"/>
                </a:cubicBezTo>
                <a:cubicBezTo>
                  <a:pt x="1834337" y="332897"/>
                  <a:pt x="1809626" y="357607"/>
                  <a:pt x="1779142" y="357607"/>
                </a:cubicBezTo>
                <a:cubicBezTo>
                  <a:pt x="1748663" y="357607"/>
                  <a:pt x="1723951" y="332897"/>
                  <a:pt x="1723951" y="302416"/>
                </a:cubicBezTo>
                <a:cubicBezTo>
                  <a:pt x="1723951" y="271935"/>
                  <a:pt x="1748663" y="247225"/>
                  <a:pt x="1779142" y="247225"/>
                </a:cubicBezTo>
                <a:close/>
                <a:moveTo>
                  <a:pt x="1645508" y="247225"/>
                </a:moveTo>
                <a:cubicBezTo>
                  <a:pt x="1675988" y="247225"/>
                  <a:pt x="1700702" y="271935"/>
                  <a:pt x="1700702" y="302416"/>
                </a:cubicBezTo>
                <a:cubicBezTo>
                  <a:pt x="1700702" y="332897"/>
                  <a:pt x="1675988" y="357607"/>
                  <a:pt x="1645508" y="357607"/>
                </a:cubicBezTo>
                <a:cubicBezTo>
                  <a:pt x="1615027" y="357607"/>
                  <a:pt x="1590313" y="332897"/>
                  <a:pt x="1590313" y="302416"/>
                </a:cubicBezTo>
                <a:cubicBezTo>
                  <a:pt x="1590313" y="271935"/>
                  <a:pt x="1615027" y="247225"/>
                  <a:pt x="1645508" y="247225"/>
                </a:cubicBezTo>
                <a:close/>
                <a:moveTo>
                  <a:pt x="1515217" y="247225"/>
                </a:moveTo>
                <a:cubicBezTo>
                  <a:pt x="1545695" y="247225"/>
                  <a:pt x="1570405" y="271935"/>
                  <a:pt x="1570405" y="302416"/>
                </a:cubicBezTo>
                <a:cubicBezTo>
                  <a:pt x="1570405" y="332897"/>
                  <a:pt x="1545695" y="357607"/>
                  <a:pt x="1515217" y="357607"/>
                </a:cubicBezTo>
                <a:cubicBezTo>
                  <a:pt x="1484732" y="357607"/>
                  <a:pt x="1460020" y="332897"/>
                  <a:pt x="1460020" y="302416"/>
                </a:cubicBezTo>
                <a:cubicBezTo>
                  <a:pt x="1460020" y="271935"/>
                  <a:pt x="1484732" y="247225"/>
                  <a:pt x="1515217" y="247225"/>
                </a:cubicBezTo>
                <a:close/>
                <a:moveTo>
                  <a:pt x="1381573" y="247225"/>
                </a:moveTo>
                <a:cubicBezTo>
                  <a:pt x="1412060" y="247225"/>
                  <a:pt x="1436767" y="271935"/>
                  <a:pt x="1436767" y="302416"/>
                </a:cubicBezTo>
                <a:cubicBezTo>
                  <a:pt x="1436767" y="332897"/>
                  <a:pt x="1412060" y="357607"/>
                  <a:pt x="1381573" y="357607"/>
                </a:cubicBezTo>
                <a:cubicBezTo>
                  <a:pt x="1351097" y="357607"/>
                  <a:pt x="1326384" y="332897"/>
                  <a:pt x="1326384" y="302416"/>
                </a:cubicBezTo>
                <a:cubicBezTo>
                  <a:pt x="1326384" y="271935"/>
                  <a:pt x="1351097" y="247225"/>
                  <a:pt x="1381573" y="247225"/>
                </a:cubicBezTo>
                <a:close/>
                <a:moveTo>
                  <a:pt x="7481898" y="120271"/>
                </a:moveTo>
                <a:cubicBezTo>
                  <a:pt x="7512380" y="120271"/>
                  <a:pt x="7537090" y="144981"/>
                  <a:pt x="7537090" y="175462"/>
                </a:cubicBezTo>
                <a:cubicBezTo>
                  <a:pt x="7537090" y="205943"/>
                  <a:pt x="7512380" y="230653"/>
                  <a:pt x="7481898" y="230653"/>
                </a:cubicBezTo>
                <a:cubicBezTo>
                  <a:pt x="7451416" y="230653"/>
                  <a:pt x="7426706" y="205943"/>
                  <a:pt x="7426706" y="175462"/>
                </a:cubicBezTo>
                <a:cubicBezTo>
                  <a:pt x="7426706" y="144981"/>
                  <a:pt x="7451416" y="120271"/>
                  <a:pt x="7481898" y="120271"/>
                </a:cubicBezTo>
                <a:close/>
                <a:moveTo>
                  <a:pt x="7341580" y="120271"/>
                </a:moveTo>
                <a:cubicBezTo>
                  <a:pt x="7372062" y="120271"/>
                  <a:pt x="7396772" y="144981"/>
                  <a:pt x="7396772" y="175462"/>
                </a:cubicBezTo>
                <a:cubicBezTo>
                  <a:pt x="7396772" y="205943"/>
                  <a:pt x="7372062" y="230653"/>
                  <a:pt x="7341580" y="230653"/>
                </a:cubicBezTo>
                <a:cubicBezTo>
                  <a:pt x="7311098" y="230653"/>
                  <a:pt x="7286388" y="205943"/>
                  <a:pt x="7286388" y="175462"/>
                </a:cubicBezTo>
                <a:cubicBezTo>
                  <a:pt x="7286388" y="144981"/>
                  <a:pt x="7311098" y="120271"/>
                  <a:pt x="7341580" y="120271"/>
                </a:cubicBezTo>
                <a:close/>
                <a:moveTo>
                  <a:pt x="7211288" y="120271"/>
                </a:moveTo>
                <a:cubicBezTo>
                  <a:pt x="7241770" y="120271"/>
                  <a:pt x="7266480" y="144981"/>
                  <a:pt x="7266480" y="175462"/>
                </a:cubicBezTo>
                <a:cubicBezTo>
                  <a:pt x="7266480" y="205943"/>
                  <a:pt x="7241770" y="230653"/>
                  <a:pt x="7211288" y="230653"/>
                </a:cubicBezTo>
                <a:cubicBezTo>
                  <a:pt x="7180806" y="230653"/>
                  <a:pt x="7156096" y="205943"/>
                  <a:pt x="7156096" y="175462"/>
                </a:cubicBezTo>
                <a:cubicBezTo>
                  <a:pt x="7156096" y="144981"/>
                  <a:pt x="7180806" y="120271"/>
                  <a:pt x="7211288" y="120271"/>
                </a:cubicBezTo>
                <a:close/>
                <a:moveTo>
                  <a:pt x="5223474" y="120271"/>
                </a:moveTo>
                <a:cubicBezTo>
                  <a:pt x="5253956" y="120271"/>
                  <a:pt x="5278666" y="144981"/>
                  <a:pt x="5278666" y="175462"/>
                </a:cubicBezTo>
                <a:cubicBezTo>
                  <a:pt x="5278666" y="205943"/>
                  <a:pt x="5253956" y="230653"/>
                  <a:pt x="5223474" y="230653"/>
                </a:cubicBezTo>
                <a:cubicBezTo>
                  <a:pt x="5192992" y="230653"/>
                  <a:pt x="5168282" y="205943"/>
                  <a:pt x="5168282" y="175462"/>
                </a:cubicBezTo>
                <a:cubicBezTo>
                  <a:pt x="5168282" y="144981"/>
                  <a:pt x="5192992" y="120271"/>
                  <a:pt x="5223474" y="120271"/>
                </a:cubicBezTo>
                <a:close/>
                <a:moveTo>
                  <a:pt x="5093178" y="120271"/>
                </a:moveTo>
                <a:cubicBezTo>
                  <a:pt x="5123660" y="120271"/>
                  <a:pt x="5148370" y="144981"/>
                  <a:pt x="5148370" y="175462"/>
                </a:cubicBezTo>
                <a:cubicBezTo>
                  <a:pt x="5148370" y="205943"/>
                  <a:pt x="5123660" y="230653"/>
                  <a:pt x="5093178" y="230653"/>
                </a:cubicBezTo>
                <a:cubicBezTo>
                  <a:pt x="5062696" y="230653"/>
                  <a:pt x="5037986" y="205943"/>
                  <a:pt x="5037986" y="175462"/>
                </a:cubicBezTo>
                <a:cubicBezTo>
                  <a:pt x="5037986" y="144981"/>
                  <a:pt x="5062696" y="120271"/>
                  <a:pt x="5093178" y="120271"/>
                </a:cubicBezTo>
                <a:close/>
                <a:moveTo>
                  <a:pt x="4161077" y="120271"/>
                </a:moveTo>
                <a:cubicBezTo>
                  <a:pt x="4191559" y="120271"/>
                  <a:pt x="4216269" y="144981"/>
                  <a:pt x="4216269" y="175462"/>
                </a:cubicBezTo>
                <a:cubicBezTo>
                  <a:pt x="4216269" y="205943"/>
                  <a:pt x="4191559" y="230653"/>
                  <a:pt x="4161077" y="230653"/>
                </a:cubicBezTo>
                <a:cubicBezTo>
                  <a:pt x="4130595" y="230653"/>
                  <a:pt x="4105885" y="205943"/>
                  <a:pt x="4105885" y="175462"/>
                </a:cubicBezTo>
                <a:cubicBezTo>
                  <a:pt x="4105885" y="144981"/>
                  <a:pt x="4130595" y="120271"/>
                  <a:pt x="4161077" y="120271"/>
                </a:cubicBezTo>
                <a:close/>
                <a:moveTo>
                  <a:pt x="4030786" y="120271"/>
                </a:moveTo>
                <a:cubicBezTo>
                  <a:pt x="4061268" y="120271"/>
                  <a:pt x="4085978" y="144981"/>
                  <a:pt x="4085978" y="175462"/>
                </a:cubicBezTo>
                <a:cubicBezTo>
                  <a:pt x="4085978" y="205943"/>
                  <a:pt x="4061268" y="230653"/>
                  <a:pt x="4030786" y="230653"/>
                </a:cubicBezTo>
                <a:cubicBezTo>
                  <a:pt x="4000304" y="230653"/>
                  <a:pt x="3975594" y="205943"/>
                  <a:pt x="3975594" y="175462"/>
                </a:cubicBezTo>
                <a:cubicBezTo>
                  <a:pt x="3975594" y="144981"/>
                  <a:pt x="4000304" y="120271"/>
                  <a:pt x="4030786" y="120271"/>
                </a:cubicBezTo>
                <a:close/>
                <a:moveTo>
                  <a:pt x="3897148" y="120271"/>
                </a:moveTo>
                <a:cubicBezTo>
                  <a:pt x="3927630" y="120271"/>
                  <a:pt x="3952340" y="144981"/>
                  <a:pt x="3952340" y="175462"/>
                </a:cubicBezTo>
                <a:cubicBezTo>
                  <a:pt x="3952340" y="205943"/>
                  <a:pt x="3927630" y="230653"/>
                  <a:pt x="3897148" y="230653"/>
                </a:cubicBezTo>
                <a:cubicBezTo>
                  <a:pt x="3866666" y="230653"/>
                  <a:pt x="3841956" y="205943"/>
                  <a:pt x="3841956" y="175462"/>
                </a:cubicBezTo>
                <a:cubicBezTo>
                  <a:pt x="3841956" y="144981"/>
                  <a:pt x="3866666" y="120271"/>
                  <a:pt x="3897148" y="120271"/>
                </a:cubicBezTo>
                <a:close/>
                <a:moveTo>
                  <a:pt x="3763514" y="120271"/>
                </a:moveTo>
                <a:cubicBezTo>
                  <a:pt x="3793996" y="120271"/>
                  <a:pt x="3818706" y="144981"/>
                  <a:pt x="3818706" y="175462"/>
                </a:cubicBezTo>
                <a:cubicBezTo>
                  <a:pt x="3818706" y="205943"/>
                  <a:pt x="3793996" y="230653"/>
                  <a:pt x="3763514" y="230653"/>
                </a:cubicBezTo>
                <a:cubicBezTo>
                  <a:pt x="3733032" y="230653"/>
                  <a:pt x="3708322" y="205943"/>
                  <a:pt x="3708322" y="175462"/>
                </a:cubicBezTo>
                <a:cubicBezTo>
                  <a:pt x="3708322" y="144981"/>
                  <a:pt x="3733032" y="120271"/>
                  <a:pt x="3763514" y="120271"/>
                </a:cubicBezTo>
                <a:close/>
                <a:moveTo>
                  <a:pt x="3633221" y="120271"/>
                </a:moveTo>
                <a:cubicBezTo>
                  <a:pt x="3663703" y="120271"/>
                  <a:pt x="3688413" y="144981"/>
                  <a:pt x="3688413" y="175462"/>
                </a:cubicBezTo>
                <a:cubicBezTo>
                  <a:pt x="3688413" y="205943"/>
                  <a:pt x="3663703" y="230653"/>
                  <a:pt x="3633221" y="230653"/>
                </a:cubicBezTo>
                <a:cubicBezTo>
                  <a:pt x="3602739" y="230653"/>
                  <a:pt x="3578029" y="205943"/>
                  <a:pt x="3578029" y="175462"/>
                </a:cubicBezTo>
                <a:cubicBezTo>
                  <a:pt x="3578029" y="144981"/>
                  <a:pt x="3602739" y="120271"/>
                  <a:pt x="3633221" y="120271"/>
                </a:cubicBezTo>
                <a:close/>
                <a:moveTo>
                  <a:pt x="3499589" y="120271"/>
                </a:moveTo>
                <a:cubicBezTo>
                  <a:pt x="3530071" y="120271"/>
                  <a:pt x="3554781" y="144981"/>
                  <a:pt x="3554781" y="175462"/>
                </a:cubicBezTo>
                <a:cubicBezTo>
                  <a:pt x="3554781" y="205943"/>
                  <a:pt x="3530071" y="230653"/>
                  <a:pt x="3499589" y="230653"/>
                </a:cubicBezTo>
                <a:cubicBezTo>
                  <a:pt x="3469107" y="230653"/>
                  <a:pt x="3444397" y="205943"/>
                  <a:pt x="3444397" y="175462"/>
                </a:cubicBezTo>
                <a:cubicBezTo>
                  <a:pt x="3444397" y="144981"/>
                  <a:pt x="3469107" y="120271"/>
                  <a:pt x="3499589" y="120271"/>
                </a:cubicBezTo>
                <a:close/>
                <a:moveTo>
                  <a:pt x="3369293" y="120271"/>
                </a:moveTo>
                <a:cubicBezTo>
                  <a:pt x="3399775" y="120271"/>
                  <a:pt x="3424485" y="144981"/>
                  <a:pt x="3424485" y="175462"/>
                </a:cubicBezTo>
                <a:cubicBezTo>
                  <a:pt x="3424485" y="205943"/>
                  <a:pt x="3399775" y="230653"/>
                  <a:pt x="3369293" y="230653"/>
                </a:cubicBezTo>
                <a:cubicBezTo>
                  <a:pt x="3338811" y="230653"/>
                  <a:pt x="3314101" y="205943"/>
                  <a:pt x="3314101" y="175462"/>
                </a:cubicBezTo>
                <a:cubicBezTo>
                  <a:pt x="3314101" y="144981"/>
                  <a:pt x="3338811" y="120271"/>
                  <a:pt x="3369293" y="120271"/>
                </a:cubicBezTo>
                <a:close/>
                <a:moveTo>
                  <a:pt x="3235657" y="120271"/>
                </a:moveTo>
                <a:cubicBezTo>
                  <a:pt x="3266139" y="120271"/>
                  <a:pt x="3290849" y="144981"/>
                  <a:pt x="3290849" y="175462"/>
                </a:cubicBezTo>
                <a:cubicBezTo>
                  <a:pt x="3290849" y="205943"/>
                  <a:pt x="3266139" y="230653"/>
                  <a:pt x="3235657" y="230653"/>
                </a:cubicBezTo>
                <a:cubicBezTo>
                  <a:pt x="3205175" y="230653"/>
                  <a:pt x="3180465" y="205943"/>
                  <a:pt x="3180465" y="175462"/>
                </a:cubicBezTo>
                <a:cubicBezTo>
                  <a:pt x="3180465" y="144981"/>
                  <a:pt x="3205175" y="120271"/>
                  <a:pt x="3235657" y="120271"/>
                </a:cubicBezTo>
                <a:close/>
                <a:moveTo>
                  <a:pt x="3098682" y="120271"/>
                </a:moveTo>
                <a:cubicBezTo>
                  <a:pt x="3129164" y="120271"/>
                  <a:pt x="3153874" y="144981"/>
                  <a:pt x="3153874" y="175462"/>
                </a:cubicBezTo>
                <a:cubicBezTo>
                  <a:pt x="3153874" y="205943"/>
                  <a:pt x="3129164" y="230653"/>
                  <a:pt x="3098682" y="230653"/>
                </a:cubicBezTo>
                <a:cubicBezTo>
                  <a:pt x="3068200" y="230653"/>
                  <a:pt x="3043490" y="205943"/>
                  <a:pt x="3043490" y="175462"/>
                </a:cubicBezTo>
                <a:cubicBezTo>
                  <a:pt x="3043490" y="144981"/>
                  <a:pt x="3068200" y="120271"/>
                  <a:pt x="3098682" y="120271"/>
                </a:cubicBezTo>
                <a:close/>
                <a:moveTo>
                  <a:pt x="2971729" y="120271"/>
                </a:moveTo>
                <a:cubicBezTo>
                  <a:pt x="3002211" y="120271"/>
                  <a:pt x="3026921" y="144981"/>
                  <a:pt x="3026921" y="175462"/>
                </a:cubicBezTo>
                <a:cubicBezTo>
                  <a:pt x="3026921" y="205943"/>
                  <a:pt x="3002211" y="230653"/>
                  <a:pt x="2971729" y="230653"/>
                </a:cubicBezTo>
                <a:cubicBezTo>
                  <a:pt x="2941247" y="230653"/>
                  <a:pt x="2916537" y="205943"/>
                  <a:pt x="2916537" y="175462"/>
                </a:cubicBezTo>
                <a:cubicBezTo>
                  <a:pt x="2916537" y="144981"/>
                  <a:pt x="2941247" y="120271"/>
                  <a:pt x="2971729" y="120271"/>
                </a:cubicBezTo>
                <a:close/>
                <a:moveTo>
                  <a:pt x="2707903" y="120271"/>
                </a:moveTo>
                <a:cubicBezTo>
                  <a:pt x="2738390" y="120271"/>
                  <a:pt x="2763100" y="144981"/>
                  <a:pt x="2763100" y="175462"/>
                </a:cubicBezTo>
                <a:cubicBezTo>
                  <a:pt x="2763100" y="205943"/>
                  <a:pt x="2738390" y="230653"/>
                  <a:pt x="2707903" y="230653"/>
                </a:cubicBezTo>
                <a:cubicBezTo>
                  <a:pt x="2677427" y="230653"/>
                  <a:pt x="2652715" y="205943"/>
                  <a:pt x="2652715" y="175462"/>
                </a:cubicBezTo>
                <a:cubicBezTo>
                  <a:pt x="2652715" y="144981"/>
                  <a:pt x="2677427" y="120271"/>
                  <a:pt x="2707903" y="120271"/>
                </a:cubicBezTo>
                <a:close/>
                <a:moveTo>
                  <a:pt x="2570933" y="120271"/>
                </a:moveTo>
                <a:cubicBezTo>
                  <a:pt x="2601414" y="120271"/>
                  <a:pt x="2626123" y="144981"/>
                  <a:pt x="2626123" y="175462"/>
                </a:cubicBezTo>
                <a:cubicBezTo>
                  <a:pt x="2626123" y="205943"/>
                  <a:pt x="2601414" y="230653"/>
                  <a:pt x="2570933" y="230653"/>
                </a:cubicBezTo>
                <a:cubicBezTo>
                  <a:pt x="2540449" y="230653"/>
                  <a:pt x="2515738" y="205943"/>
                  <a:pt x="2515738" y="175462"/>
                </a:cubicBezTo>
                <a:cubicBezTo>
                  <a:pt x="2515738" y="144981"/>
                  <a:pt x="2540449" y="120271"/>
                  <a:pt x="2570933" y="120271"/>
                </a:cubicBezTo>
                <a:close/>
                <a:moveTo>
                  <a:pt x="2437297" y="120271"/>
                </a:moveTo>
                <a:cubicBezTo>
                  <a:pt x="2467781" y="120271"/>
                  <a:pt x="2492487" y="144981"/>
                  <a:pt x="2492487" y="175462"/>
                </a:cubicBezTo>
                <a:cubicBezTo>
                  <a:pt x="2492487" y="205943"/>
                  <a:pt x="2467781" y="230653"/>
                  <a:pt x="2437297" y="230653"/>
                </a:cubicBezTo>
                <a:cubicBezTo>
                  <a:pt x="2406818" y="230653"/>
                  <a:pt x="2382108" y="205943"/>
                  <a:pt x="2382108" y="175462"/>
                </a:cubicBezTo>
                <a:cubicBezTo>
                  <a:pt x="2382108" y="144981"/>
                  <a:pt x="2406818" y="120271"/>
                  <a:pt x="2437297" y="120271"/>
                </a:cubicBezTo>
                <a:close/>
                <a:moveTo>
                  <a:pt x="2303666" y="120271"/>
                </a:moveTo>
                <a:cubicBezTo>
                  <a:pt x="2334146" y="120271"/>
                  <a:pt x="2358856" y="144981"/>
                  <a:pt x="2358856" y="175462"/>
                </a:cubicBezTo>
                <a:cubicBezTo>
                  <a:pt x="2358856" y="205943"/>
                  <a:pt x="2334146" y="230653"/>
                  <a:pt x="2303666" y="230653"/>
                </a:cubicBezTo>
                <a:cubicBezTo>
                  <a:pt x="2273184" y="230653"/>
                  <a:pt x="2248473" y="205943"/>
                  <a:pt x="2248473" y="175462"/>
                </a:cubicBezTo>
                <a:cubicBezTo>
                  <a:pt x="2248473" y="144981"/>
                  <a:pt x="2273184" y="120271"/>
                  <a:pt x="2303666" y="120271"/>
                </a:cubicBezTo>
                <a:close/>
                <a:moveTo>
                  <a:pt x="2173372" y="120271"/>
                </a:moveTo>
                <a:cubicBezTo>
                  <a:pt x="2203857" y="120271"/>
                  <a:pt x="2228566" y="144981"/>
                  <a:pt x="2228566" y="175462"/>
                </a:cubicBezTo>
                <a:cubicBezTo>
                  <a:pt x="2228566" y="205943"/>
                  <a:pt x="2203857" y="230653"/>
                  <a:pt x="2173372" y="230653"/>
                </a:cubicBezTo>
                <a:cubicBezTo>
                  <a:pt x="2142892" y="230653"/>
                  <a:pt x="2118180" y="205943"/>
                  <a:pt x="2118180" y="175462"/>
                </a:cubicBezTo>
                <a:cubicBezTo>
                  <a:pt x="2118180" y="144981"/>
                  <a:pt x="2142892" y="120271"/>
                  <a:pt x="2173372" y="120271"/>
                </a:cubicBezTo>
                <a:close/>
                <a:moveTo>
                  <a:pt x="7341580" y="0"/>
                </a:moveTo>
                <a:cubicBezTo>
                  <a:pt x="7372062" y="0"/>
                  <a:pt x="7396772" y="24710"/>
                  <a:pt x="7396772" y="55191"/>
                </a:cubicBezTo>
                <a:cubicBezTo>
                  <a:pt x="7396772" y="85672"/>
                  <a:pt x="7372062" y="110382"/>
                  <a:pt x="7341580" y="110382"/>
                </a:cubicBezTo>
                <a:cubicBezTo>
                  <a:pt x="7311098" y="110382"/>
                  <a:pt x="7286388" y="85672"/>
                  <a:pt x="7286388" y="55191"/>
                </a:cubicBezTo>
                <a:cubicBezTo>
                  <a:pt x="7286388" y="24710"/>
                  <a:pt x="7311098" y="0"/>
                  <a:pt x="7341580" y="0"/>
                </a:cubicBezTo>
                <a:close/>
                <a:moveTo>
                  <a:pt x="4294713" y="0"/>
                </a:moveTo>
                <a:cubicBezTo>
                  <a:pt x="4325195" y="0"/>
                  <a:pt x="4349905" y="24710"/>
                  <a:pt x="4349905" y="55191"/>
                </a:cubicBezTo>
                <a:cubicBezTo>
                  <a:pt x="4349905" y="85672"/>
                  <a:pt x="4325195" y="110382"/>
                  <a:pt x="4294713" y="110382"/>
                </a:cubicBezTo>
                <a:cubicBezTo>
                  <a:pt x="4264231" y="110382"/>
                  <a:pt x="4239521" y="85672"/>
                  <a:pt x="4239521" y="55191"/>
                </a:cubicBezTo>
                <a:cubicBezTo>
                  <a:pt x="4239521" y="24710"/>
                  <a:pt x="4264231" y="0"/>
                  <a:pt x="4294713" y="0"/>
                </a:cubicBezTo>
                <a:close/>
                <a:moveTo>
                  <a:pt x="4161077" y="0"/>
                </a:moveTo>
                <a:cubicBezTo>
                  <a:pt x="4191559" y="0"/>
                  <a:pt x="4216269" y="24710"/>
                  <a:pt x="4216269" y="55191"/>
                </a:cubicBezTo>
                <a:cubicBezTo>
                  <a:pt x="4216269" y="85672"/>
                  <a:pt x="4191559" y="110382"/>
                  <a:pt x="4161077" y="110382"/>
                </a:cubicBezTo>
                <a:cubicBezTo>
                  <a:pt x="4130595" y="110382"/>
                  <a:pt x="4105885" y="85672"/>
                  <a:pt x="4105885" y="55191"/>
                </a:cubicBezTo>
                <a:cubicBezTo>
                  <a:pt x="4105885" y="24710"/>
                  <a:pt x="4130595" y="0"/>
                  <a:pt x="4161077" y="0"/>
                </a:cubicBezTo>
                <a:close/>
                <a:moveTo>
                  <a:pt x="4030786" y="0"/>
                </a:moveTo>
                <a:cubicBezTo>
                  <a:pt x="4061268" y="0"/>
                  <a:pt x="4085978" y="24710"/>
                  <a:pt x="4085978" y="55191"/>
                </a:cubicBezTo>
                <a:cubicBezTo>
                  <a:pt x="4085978" y="85672"/>
                  <a:pt x="4061268" y="110382"/>
                  <a:pt x="4030786" y="110382"/>
                </a:cubicBezTo>
                <a:cubicBezTo>
                  <a:pt x="4000304" y="110382"/>
                  <a:pt x="3975594" y="85672"/>
                  <a:pt x="3975594" y="55191"/>
                </a:cubicBezTo>
                <a:cubicBezTo>
                  <a:pt x="3975594" y="24710"/>
                  <a:pt x="4000304" y="0"/>
                  <a:pt x="4030786" y="0"/>
                </a:cubicBezTo>
                <a:close/>
                <a:moveTo>
                  <a:pt x="3897148" y="0"/>
                </a:moveTo>
                <a:cubicBezTo>
                  <a:pt x="3927630" y="0"/>
                  <a:pt x="3952340" y="24710"/>
                  <a:pt x="3952340" y="55191"/>
                </a:cubicBezTo>
                <a:cubicBezTo>
                  <a:pt x="3952340" y="85672"/>
                  <a:pt x="3927630" y="110382"/>
                  <a:pt x="3897148" y="110382"/>
                </a:cubicBezTo>
                <a:cubicBezTo>
                  <a:pt x="3866666" y="110382"/>
                  <a:pt x="3841956" y="85672"/>
                  <a:pt x="3841956" y="55191"/>
                </a:cubicBezTo>
                <a:cubicBezTo>
                  <a:pt x="3841956" y="24710"/>
                  <a:pt x="3866666" y="0"/>
                  <a:pt x="3897148" y="0"/>
                </a:cubicBezTo>
                <a:close/>
                <a:moveTo>
                  <a:pt x="3763514" y="0"/>
                </a:moveTo>
                <a:cubicBezTo>
                  <a:pt x="3793996" y="0"/>
                  <a:pt x="3818706" y="24710"/>
                  <a:pt x="3818706" y="55191"/>
                </a:cubicBezTo>
                <a:cubicBezTo>
                  <a:pt x="3818706" y="85672"/>
                  <a:pt x="3793996" y="110382"/>
                  <a:pt x="3763514" y="110382"/>
                </a:cubicBezTo>
                <a:cubicBezTo>
                  <a:pt x="3733032" y="110382"/>
                  <a:pt x="3708322" y="85672"/>
                  <a:pt x="3708322" y="55191"/>
                </a:cubicBezTo>
                <a:cubicBezTo>
                  <a:pt x="3708322" y="24710"/>
                  <a:pt x="3733032" y="0"/>
                  <a:pt x="3763514" y="0"/>
                </a:cubicBezTo>
                <a:close/>
                <a:moveTo>
                  <a:pt x="3633221" y="0"/>
                </a:moveTo>
                <a:cubicBezTo>
                  <a:pt x="3663703" y="0"/>
                  <a:pt x="3688413" y="24710"/>
                  <a:pt x="3688413" y="55191"/>
                </a:cubicBezTo>
                <a:cubicBezTo>
                  <a:pt x="3688413" y="85672"/>
                  <a:pt x="3663703" y="110382"/>
                  <a:pt x="3633221" y="110382"/>
                </a:cubicBezTo>
                <a:cubicBezTo>
                  <a:pt x="3602739" y="110382"/>
                  <a:pt x="3578029" y="85672"/>
                  <a:pt x="3578029" y="55191"/>
                </a:cubicBezTo>
                <a:cubicBezTo>
                  <a:pt x="3578029" y="24710"/>
                  <a:pt x="3602739" y="0"/>
                  <a:pt x="3633221" y="0"/>
                </a:cubicBezTo>
                <a:close/>
                <a:moveTo>
                  <a:pt x="3499589" y="0"/>
                </a:moveTo>
                <a:cubicBezTo>
                  <a:pt x="3530071" y="0"/>
                  <a:pt x="3554781" y="24710"/>
                  <a:pt x="3554781" y="55191"/>
                </a:cubicBezTo>
                <a:cubicBezTo>
                  <a:pt x="3554781" y="85672"/>
                  <a:pt x="3530071" y="110382"/>
                  <a:pt x="3499589" y="110382"/>
                </a:cubicBezTo>
                <a:cubicBezTo>
                  <a:pt x="3469107" y="110382"/>
                  <a:pt x="3444397" y="85672"/>
                  <a:pt x="3444397" y="55191"/>
                </a:cubicBezTo>
                <a:cubicBezTo>
                  <a:pt x="3444397" y="24710"/>
                  <a:pt x="3469107" y="0"/>
                  <a:pt x="3499589" y="0"/>
                </a:cubicBezTo>
                <a:close/>
                <a:moveTo>
                  <a:pt x="3369293" y="0"/>
                </a:moveTo>
                <a:cubicBezTo>
                  <a:pt x="3399775" y="0"/>
                  <a:pt x="3424485" y="24710"/>
                  <a:pt x="3424485" y="55191"/>
                </a:cubicBezTo>
                <a:cubicBezTo>
                  <a:pt x="3424485" y="85672"/>
                  <a:pt x="3399775" y="110382"/>
                  <a:pt x="3369293" y="110382"/>
                </a:cubicBezTo>
                <a:cubicBezTo>
                  <a:pt x="3338811" y="110382"/>
                  <a:pt x="3314101" y="85672"/>
                  <a:pt x="3314101" y="55191"/>
                </a:cubicBezTo>
                <a:cubicBezTo>
                  <a:pt x="3314101" y="24710"/>
                  <a:pt x="3338811" y="0"/>
                  <a:pt x="3369293" y="0"/>
                </a:cubicBezTo>
                <a:close/>
                <a:moveTo>
                  <a:pt x="3235657" y="0"/>
                </a:moveTo>
                <a:cubicBezTo>
                  <a:pt x="3266139" y="0"/>
                  <a:pt x="3290849" y="24710"/>
                  <a:pt x="3290849" y="55191"/>
                </a:cubicBezTo>
                <a:cubicBezTo>
                  <a:pt x="3290849" y="85672"/>
                  <a:pt x="3266139" y="110382"/>
                  <a:pt x="3235657" y="110382"/>
                </a:cubicBezTo>
                <a:cubicBezTo>
                  <a:pt x="3205175" y="110382"/>
                  <a:pt x="3180465" y="85672"/>
                  <a:pt x="3180465" y="55191"/>
                </a:cubicBezTo>
                <a:cubicBezTo>
                  <a:pt x="3180465" y="24710"/>
                  <a:pt x="3205175" y="0"/>
                  <a:pt x="3235657" y="0"/>
                </a:cubicBezTo>
                <a:close/>
                <a:moveTo>
                  <a:pt x="2834862" y="0"/>
                </a:moveTo>
                <a:cubicBezTo>
                  <a:pt x="2865342" y="0"/>
                  <a:pt x="2890052" y="24710"/>
                  <a:pt x="2890052" y="55191"/>
                </a:cubicBezTo>
                <a:cubicBezTo>
                  <a:pt x="2890052" y="85672"/>
                  <a:pt x="2865342" y="110382"/>
                  <a:pt x="2834862" y="110382"/>
                </a:cubicBezTo>
                <a:cubicBezTo>
                  <a:pt x="2804379" y="110382"/>
                  <a:pt x="2779671" y="85672"/>
                  <a:pt x="2779671" y="55191"/>
                </a:cubicBezTo>
                <a:cubicBezTo>
                  <a:pt x="2779671" y="24710"/>
                  <a:pt x="2804379" y="0"/>
                  <a:pt x="2834862" y="0"/>
                </a:cubicBezTo>
                <a:close/>
                <a:moveTo>
                  <a:pt x="2707903" y="0"/>
                </a:moveTo>
                <a:cubicBezTo>
                  <a:pt x="2738390" y="0"/>
                  <a:pt x="2763100" y="24710"/>
                  <a:pt x="2763100" y="55191"/>
                </a:cubicBezTo>
                <a:cubicBezTo>
                  <a:pt x="2763100" y="85672"/>
                  <a:pt x="2738390" y="110382"/>
                  <a:pt x="2707903" y="110382"/>
                </a:cubicBezTo>
                <a:cubicBezTo>
                  <a:pt x="2677427" y="110382"/>
                  <a:pt x="2652715" y="85672"/>
                  <a:pt x="2652715" y="55191"/>
                </a:cubicBezTo>
                <a:cubicBezTo>
                  <a:pt x="2652715" y="24710"/>
                  <a:pt x="2677427" y="0"/>
                  <a:pt x="2707903" y="0"/>
                </a:cubicBezTo>
                <a:close/>
                <a:moveTo>
                  <a:pt x="2570933" y="0"/>
                </a:moveTo>
                <a:cubicBezTo>
                  <a:pt x="2601414" y="0"/>
                  <a:pt x="2626123" y="24710"/>
                  <a:pt x="2626123" y="55191"/>
                </a:cubicBezTo>
                <a:cubicBezTo>
                  <a:pt x="2626123" y="85672"/>
                  <a:pt x="2601414" y="110382"/>
                  <a:pt x="2570933" y="110382"/>
                </a:cubicBezTo>
                <a:cubicBezTo>
                  <a:pt x="2540449" y="110382"/>
                  <a:pt x="2515738" y="85672"/>
                  <a:pt x="2515738" y="55191"/>
                </a:cubicBezTo>
                <a:cubicBezTo>
                  <a:pt x="2515738" y="24710"/>
                  <a:pt x="2540449" y="0"/>
                  <a:pt x="2570933" y="0"/>
                </a:cubicBezTo>
                <a:close/>
                <a:moveTo>
                  <a:pt x="2437297" y="0"/>
                </a:moveTo>
                <a:cubicBezTo>
                  <a:pt x="2467781" y="0"/>
                  <a:pt x="2492487" y="24710"/>
                  <a:pt x="2492487" y="55191"/>
                </a:cubicBezTo>
                <a:cubicBezTo>
                  <a:pt x="2492487" y="85672"/>
                  <a:pt x="2467781" y="110382"/>
                  <a:pt x="2437297" y="110382"/>
                </a:cubicBezTo>
                <a:cubicBezTo>
                  <a:pt x="2406818" y="110382"/>
                  <a:pt x="2382108" y="85672"/>
                  <a:pt x="2382108" y="55191"/>
                </a:cubicBezTo>
                <a:cubicBezTo>
                  <a:pt x="2382108" y="24710"/>
                  <a:pt x="2406818" y="0"/>
                  <a:pt x="2437297"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dirty="0">
              <a:solidFill>
                <a:srgbClr val="505050"/>
              </a:solidFill>
              <a:latin typeface="Segoe UI"/>
            </a:endParaRPr>
          </a:p>
        </p:txBody>
      </p:sp>
      <p:pic>
        <p:nvPicPr>
          <p:cNvPr id="829" name="Picture 2" descr="https://c2.staticflickr.com/4/3701/19224697601_d03ecccf71_o.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3945" r="13945"/>
          <a:stretch/>
        </p:blipFill>
        <p:spPr bwMode="auto">
          <a:xfrm>
            <a:off x="10478184" y="3016793"/>
            <a:ext cx="554112" cy="768430"/>
          </a:xfrm>
          <a:prstGeom prst="rect">
            <a:avLst/>
          </a:prstGeom>
          <a:noFill/>
          <a:extLst>
            <a:ext uri="{909E8E84-426E-40DD-AFC4-6F175D3DCCD1}">
              <a14:hiddenFill xmlns:a14="http://schemas.microsoft.com/office/drawing/2010/main">
                <a:solidFill>
                  <a:srgbClr val="FFFFFF"/>
                </a:solidFill>
              </a14:hiddenFill>
            </a:ext>
          </a:extLst>
        </p:spPr>
      </p:pic>
      <p:pic>
        <p:nvPicPr>
          <p:cNvPr id="839" name="Picture 838" descr="https://upload.wikimedia.org/wikipedia/en/thumb/5/54/Gremlin_%28programming_language%29.png/383px-Gremlin_%28programming_language%29.png"/>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6345605" y="2545874"/>
            <a:ext cx="1560030" cy="606906"/>
          </a:xfrm>
          <a:prstGeom prst="rect">
            <a:avLst/>
          </a:prstGeom>
          <a:extLst>
            <a:ext uri="{909E8E84-426E-40DD-AFC4-6F175D3DCCD1}">
              <a14:hiddenFill xmlns:a14="http://schemas.microsoft.com/office/drawing/2010/main">
                <a:solidFill>
                  <a:srgbClr val="FFFFFF"/>
                </a:solidFill>
              </a14:hiddenFill>
            </a:ext>
          </a:extLst>
        </p:spPr>
      </p:pic>
      <p:pic>
        <p:nvPicPr>
          <p:cNvPr id="840" name="Picture 4" descr="File:MongoDB-Logo.sv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85319" y="2951722"/>
            <a:ext cx="1564327" cy="424476"/>
          </a:xfrm>
          <a:prstGeom prst="rect">
            <a:avLst/>
          </a:prstGeom>
          <a:noFill/>
          <a:extLst>
            <a:ext uri="{909E8E84-426E-40DD-AFC4-6F175D3DCCD1}">
              <a14:hiddenFill xmlns:a14="http://schemas.microsoft.com/office/drawing/2010/main">
                <a:solidFill>
                  <a:srgbClr val="FFFFFF"/>
                </a:solidFill>
              </a14:hiddenFill>
            </a:ext>
          </a:extLst>
        </p:spPr>
      </p:pic>
      <p:grpSp>
        <p:nvGrpSpPr>
          <p:cNvPr id="865" name="Group 864"/>
          <p:cNvGrpSpPr/>
          <p:nvPr/>
        </p:nvGrpSpPr>
        <p:grpSpPr>
          <a:xfrm>
            <a:off x="8764941" y="3950037"/>
            <a:ext cx="586303" cy="377163"/>
            <a:chOff x="7117181" y="5146654"/>
            <a:chExt cx="663064" cy="426544"/>
          </a:xfrm>
          <a:solidFill>
            <a:srgbClr val="59B4D9"/>
          </a:solidFill>
        </p:grpSpPr>
        <p:sp>
          <p:nvSpPr>
            <p:cNvPr id="866" name="Oval 865"/>
            <p:cNvSpPr/>
            <p:nvPr/>
          </p:nvSpPr>
          <p:spPr bwMode="auto">
            <a:xfrm rot="715722">
              <a:off x="7117181" y="5146654"/>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7" name="Oval 866"/>
            <p:cNvSpPr/>
            <p:nvPr/>
          </p:nvSpPr>
          <p:spPr bwMode="auto">
            <a:xfrm>
              <a:off x="7476127" y="5224668"/>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8" name="Oval 867"/>
            <p:cNvSpPr/>
            <p:nvPr/>
          </p:nvSpPr>
          <p:spPr bwMode="auto">
            <a:xfrm>
              <a:off x="7296654"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9" name="Oval 868"/>
            <p:cNvSpPr/>
            <p:nvPr/>
          </p:nvSpPr>
          <p:spPr bwMode="auto">
            <a:xfrm>
              <a:off x="7655599"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870" name="Straight Connector 869"/>
            <p:cNvCxnSpPr>
              <a:cxnSpLocks/>
            </p:cNvCxnSpPr>
            <p:nvPr/>
          </p:nvCxnSpPr>
          <p:spPr>
            <a:xfrm>
              <a:off x="7240481" y="5221859"/>
              <a:ext cx="235646" cy="65132"/>
            </a:xfrm>
            <a:prstGeom prst="line">
              <a:avLst/>
            </a:prstGeom>
            <a:grpFill/>
            <a:ln w="12700" cap="flat" cmpd="sng" algn="ctr">
              <a:solidFill>
                <a:schemeClr val="tx2"/>
              </a:solidFill>
              <a:prstDash val="sysDot"/>
              <a:miter lim="800000"/>
              <a:headEnd type="none"/>
              <a:tailEnd type="none"/>
            </a:ln>
            <a:effectLst/>
          </p:spPr>
        </p:cxnSp>
        <p:cxnSp>
          <p:nvCxnSpPr>
            <p:cNvPr id="871" name="Straight Connector 870"/>
            <p:cNvCxnSpPr>
              <a:cxnSpLocks/>
            </p:cNvCxnSpPr>
            <p:nvPr/>
          </p:nvCxnSpPr>
          <p:spPr>
            <a:xfrm>
              <a:off x="7421300" y="5510875"/>
              <a:ext cx="234299" cy="0"/>
            </a:xfrm>
            <a:prstGeom prst="line">
              <a:avLst/>
            </a:prstGeom>
            <a:grpFill/>
            <a:ln w="12700" cap="flat" cmpd="sng" algn="ctr">
              <a:solidFill>
                <a:schemeClr val="tx2"/>
              </a:solidFill>
              <a:prstDash val="sysDot"/>
              <a:miter lim="800000"/>
              <a:headEnd type="none"/>
              <a:tailEnd type="none"/>
            </a:ln>
            <a:effectLst/>
          </p:spPr>
        </p:cxnSp>
        <p:cxnSp>
          <p:nvCxnSpPr>
            <p:cNvPr id="872" name="Straight Connector 871"/>
            <p:cNvCxnSpPr>
              <a:cxnSpLocks/>
            </p:cNvCxnSpPr>
            <p:nvPr/>
          </p:nvCxnSpPr>
          <p:spPr>
            <a:xfrm>
              <a:off x="7582519" y="5331060"/>
              <a:ext cx="91334" cy="135746"/>
            </a:xfrm>
            <a:prstGeom prst="line">
              <a:avLst/>
            </a:prstGeom>
            <a:grpFill/>
            <a:ln w="12700" cap="flat" cmpd="sng" algn="ctr">
              <a:solidFill>
                <a:schemeClr val="tx2"/>
              </a:solidFill>
              <a:prstDash val="sysDot"/>
              <a:miter lim="800000"/>
              <a:headEnd type="none"/>
              <a:tailEnd type="none"/>
            </a:ln>
            <a:effectLst/>
          </p:spPr>
        </p:cxnSp>
        <p:cxnSp>
          <p:nvCxnSpPr>
            <p:cNvPr id="873" name="Straight Connector 872"/>
            <p:cNvCxnSpPr>
              <a:cxnSpLocks/>
            </p:cNvCxnSpPr>
            <p:nvPr/>
          </p:nvCxnSpPr>
          <p:spPr>
            <a:xfrm flipV="1">
              <a:off x="7403046" y="5331060"/>
              <a:ext cx="91335" cy="135746"/>
            </a:xfrm>
            <a:prstGeom prst="line">
              <a:avLst/>
            </a:prstGeom>
            <a:grpFill/>
            <a:ln w="12700" cap="flat" cmpd="sng" algn="ctr">
              <a:solidFill>
                <a:schemeClr val="tx2"/>
              </a:solidFill>
              <a:prstDash val="sysDot"/>
              <a:miter lim="800000"/>
              <a:headEnd type="none"/>
              <a:tailEnd type="none"/>
            </a:ln>
            <a:effectLst/>
          </p:spPr>
        </p:cxnSp>
      </p:grpSp>
      <p:grpSp>
        <p:nvGrpSpPr>
          <p:cNvPr id="874" name="Group 873"/>
          <p:cNvGrpSpPr/>
          <p:nvPr/>
        </p:nvGrpSpPr>
        <p:grpSpPr>
          <a:xfrm>
            <a:off x="6876015" y="3656510"/>
            <a:ext cx="499208" cy="473323"/>
            <a:chOff x="7128988" y="4166153"/>
            <a:chExt cx="604908" cy="573541"/>
          </a:xfrm>
        </p:grpSpPr>
        <p:cxnSp>
          <p:nvCxnSpPr>
            <p:cNvPr id="875" name="Straight Connector 874"/>
            <p:cNvCxnSpPr>
              <a:cxnSpLocks/>
            </p:cNvCxnSpPr>
            <p:nvPr/>
          </p:nvCxnSpPr>
          <p:spPr>
            <a:xfrm>
              <a:off x="7128988" y="4451736"/>
              <a:ext cx="238107" cy="72556"/>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6" name="Straight Connector 875"/>
            <p:cNvCxnSpPr>
              <a:cxnSpLocks/>
            </p:cNvCxnSpPr>
            <p:nvPr/>
          </p:nvCxnSpPr>
          <p:spPr>
            <a:xfrm flipV="1">
              <a:off x="7128988" y="4379180"/>
              <a:ext cx="233873" cy="72556"/>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77" name="Oval 876"/>
            <p:cNvSpPr/>
            <p:nvPr/>
          </p:nvSpPr>
          <p:spPr bwMode="auto">
            <a:xfrm>
              <a:off x="7128988" y="4383154"/>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78" name="Straight Connector 877"/>
            <p:cNvCxnSpPr>
              <a:cxnSpLocks/>
            </p:cNvCxnSpPr>
            <p:nvPr/>
          </p:nvCxnSpPr>
          <p:spPr>
            <a:xfrm>
              <a:off x="7367095" y="4524292"/>
              <a:ext cx="241432" cy="108368"/>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9" name="Straight Connector 878"/>
            <p:cNvCxnSpPr>
              <a:cxnSpLocks/>
            </p:cNvCxnSpPr>
            <p:nvPr/>
          </p:nvCxnSpPr>
          <p:spPr>
            <a:xfrm>
              <a:off x="7367095" y="4524292"/>
              <a:ext cx="229638" cy="1361"/>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0" name="Oval 879"/>
            <p:cNvSpPr/>
            <p:nvPr/>
          </p:nvSpPr>
          <p:spPr bwMode="auto">
            <a:xfrm rot="20946206">
              <a:off x="7596733" y="460253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1" name="Oval 880"/>
            <p:cNvSpPr/>
            <p:nvPr/>
          </p:nvSpPr>
          <p:spPr bwMode="auto">
            <a:xfrm>
              <a:off x="7596733" y="445707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82" name="Straight Connector 881"/>
            <p:cNvCxnSpPr>
              <a:cxnSpLocks/>
            </p:cNvCxnSpPr>
            <p:nvPr/>
          </p:nvCxnSpPr>
          <p:spPr>
            <a:xfrm>
              <a:off x="7362861" y="4379181"/>
              <a:ext cx="233872" cy="1013"/>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3" name="Oval 882"/>
            <p:cNvSpPr/>
            <p:nvPr/>
          </p:nvSpPr>
          <p:spPr bwMode="auto">
            <a:xfrm>
              <a:off x="7367095" y="4455710"/>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84" name="Straight Connector 883"/>
            <p:cNvCxnSpPr>
              <a:cxnSpLocks/>
            </p:cNvCxnSpPr>
            <p:nvPr/>
          </p:nvCxnSpPr>
          <p:spPr>
            <a:xfrm flipV="1">
              <a:off x="7362861" y="4277619"/>
              <a:ext cx="248934" cy="101562"/>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5" name="Oval 884"/>
            <p:cNvSpPr/>
            <p:nvPr/>
          </p:nvSpPr>
          <p:spPr bwMode="auto">
            <a:xfrm>
              <a:off x="7362861" y="4310599"/>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6" name="Oval 885"/>
            <p:cNvSpPr/>
            <p:nvPr/>
          </p:nvSpPr>
          <p:spPr bwMode="auto">
            <a:xfrm>
              <a:off x="7596733" y="4311612"/>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7" name="Oval 886"/>
            <p:cNvSpPr/>
            <p:nvPr/>
          </p:nvSpPr>
          <p:spPr bwMode="auto">
            <a:xfrm rot="377738">
              <a:off x="7596733" y="4166153"/>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grpSp>
      <p:sp>
        <p:nvSpPr>
          <p:cNvPr id="889" name="TextBox 888"/>
          <p:cNvSpPr txBox="1"/>
          <p:nvPr/>
        </p:nvSpPr>
        <p:spPr>
          <a:xfrm>
            <a:off x="4367177" y="4063639"/>
            <a:ext cx="996428"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Column-family</a:t>
            </a:r>
          </a:p>
        </p:txBody>
      </p:sp>
      <p:sp>
        <p:nvSpPr>
          <p:cNvPr id="890" name="TextBox 889"/>
          <p:cNvSpPr txBox="1"/>
          <p:nvPr/>
        </p:nvSpPr>
        <p:spPr>
          <a:xfrm>
            <a:off x="6832290" y="4138630"/>
            <a:ext cx="727122"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Document</a:t>
            </a:r>
          </a:p>
        </p:txBody>
      </p:sp>
      <p:sp>
        <p:nvSpPr>
          <p:cNvPr id="891" name="TextBox 890"/>
          <p:cNvSpPr txBox="1"/>
          <p:nvPr/>
        </p:nvSpPr>
        <p:spPr>
          <a:xfrm>
            <a:off x="8931096" y="4426926"/>
            <a:ext cx="467436"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Graph</a:t>
            </a:r>
          </a:p>
        </p:txBody>
      </p:sp>
      <p:sp>
        <p:nvSpPr>
          <p:cNvPr id="893" name="TextBox 892"/>
          <p:cNvSpPr txBox="1"/>
          <p:nvPr/>
        </p:nvSpPr>
        <p:spPr>
          <a:xfrm>
            <a:off x="819605" y="5509878"/>
            <a:ext cx="2021708"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Turnkey global distribution</a:t>
            </a:r>
          </a:p>
        </p:txBody>
      </p:sp>
      <p:sp>
        <p:nvSpPr>
          <p:cNvPr id="894" name="TextBox 893"/>
          <p:cNvSpPr txBox="1"/>
          <p:nvPr/>
        </p:nvSpPr>
        <p:spPr>
          <a:xfrm>
            <a:off x="2665537" y="4952921"/>
            <a:ext cx="1858201" cy="461665"/>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Elastic scale out </a:t>
            </a:r>
          </a:p>
          <a:p>
            <a:pPr algn="ctr" defTabSz="857124">
              <a:defRPr/>
            </a:pPr>
            <a:r>
              <a:rPr lang="en-US" sz="1200" kern="0" dirty="0">
                <a:solidFill>
                  <a:srgbClr val="002050"/>
                </a:solidFill>
                <a:latin typeface="Segoe UI"/>
                <a:cs typeface="Segoe UI Light" panose="020B0502040204020203" pitchFamily="34" charset="0"/>
              </a:rPr>
              <a:t>of storage &amp; throughput</a:t>
            </a:r>
          </a:p>
        </p:txBody>
      </p:sp>
      <p:sp>
        <p:nvSpPr>
          <p:cNvPr id="895" name="TextBox 894"/>
          <p:cNvSpPr txBox="1"/>
          <p:nvPr/>
        </p:nvSpPr>
        <p:spPr>
          <a:xfrm>
            <a:off x="4395442" y="4830534"/>
            <a:ext cx="3222357"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Guaranteed low latency at the 99</a:t>
            </a:r>
            <a:r>
              <a:rPr lang="en-US" sz="1200" kern="0" baseline="30000" dirty="0">
                <a:solidFill>
                  <a:srgbClr val="002050"/>
                </a:solidFill>
                <a:latin typeface="Segoe UI"/>
                <a:cs typeface="Segoe UI Light" panose="020B0502040204020203" pitchFamily="34" charset="0"/>
              </a:rPr>
              <a:t>th</a:t>
            </a:r>
            <a:r>
              <a:rPr lang="en-US" sz="1200" kern="0" dirty="0">
                <a:solidFill>
                  <a:srgbClr val="002050"/>
                </a:solidFill>
                <a:latin typeface="Segoe UI"/>
                <a:cs typeface="Segoe UI Light" panose="020B0502040204020203" pitchFamily="34" charset="0"/>
              </a:rPr>
              <a:t> percentile</a:t>
            </a:r>
          </a:p>
        </p:txBody>
      </p:sp>
      <p:sp>
        <p:nvSpPr>
          <p:cNvPr id="896" name="TextBox 895"/>
          <p:cNvSpPr txBox="1"/>
          <p:nvPr/>
        </p:nvSpPr>
        <p:spPr>
          <a:xfrm>
            <a:off x="9784424" y="5509878"/>
            <a:ext cx="1595309"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Comprehensive SLAs</a:t>
            </a:r>
          </a:p>
        </p:txBody>
      </p:sp>
      <p:sp>
        <p:nvSpPr>
          <p:cNvPr id="897" name="TextBox 896"/>
          <p:cNvSpPr txBox="1"/>
          <p:nvPr/>
        </p:nvSpPr>
        <p:spPr>
          <a:xfrm>
            <a:off x="7239920" y="5081896"/>
            <a:ext cx="2691764"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Five well-defined consistency models</a:t>
            </a:r>
          </a:p>
        </p:txBody>
      </p:sp>
      <p:grpSp>
        <p:nvGrpSpPr>
          <p:cNvPr id="905" name="Group 3"/>
          <p:cNvGrpSpPr/>
          <p:nvPr/>
        </p:nvGrpSpPr>
        <p:grpSpPr>
          <a:xfrm>
            <a:off x="2155722" y="6201962"/>
            <a:ext cx="752902" cy="752901"/>
            <a:chOff x="-4594157" y="2516834"/>
            <a:chExt cx="1070585" cy="1070585"/>
          </a:xfrm>
        </p:grpSpPr>
        <p:sp>
          <p:nvSpPr>
            <p:cNvPr id="90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07" name="Group 5"/>
            <p:cNvGrpSpPr/>
            <p:nvPr/>
          </p:nvGrpSpPr>
          <p:grpSpPr>
            <a:xfrm>
              <a:off x="-4594157" y="2516834"/>
              <a:ext cx="1070585" cy="1070585"/>
              <a:chOff x="10232415" y="2527090"/>
              <a:chExt cx="1070585" cy="1070585"/>
            </a:xfrm>
          </p:grpSpPr>
          <p:sp>
            <p:nvSpPr>
              <p:cNvPr id="908" name="Oval 6"/>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09" name="Graphic 90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0" name="Group 14"/>
          <p:cNvGrpSpPr/>
          <p:nvPr/>
        </p:nvGrpSpPr>
        <p:grpSpPr>
          <a:xfrm>
            <a:off x="7205301" y="6323443"/>
            <a:ext cx="752902" cy="752901"/>
            <a:chOff x="-4594157" y="2516834"/>
            <a:chExt cx="1070585" cy="1070585"/>
          </a:xfrm>
        </p:grpSpPr>
        <p:sp>
          <p:nvSpPr>
            <p:cNvPr id="91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12" name="Group 16"/>
            <p:cNvGrpSpPr/>
            <p:nvPr/>
          </p:nvGrpSpPr>
          <p:grpSpPr>
            <a:xfrm>
              <a:off x="-4594157" y="2516834"/>
              <a:ext cx="1070585" cy="1070585"/>
              <a:chOff x="10232415" y="2527090"/>
              <a:chExt cx="1070585" cy="1070585"/>
            </a:xfrm>
          </p:grpSpPr>
          <p:sp>
            <p:nvSpPr>
              <p:cNvPr id="913" name="Oval 1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14" name="Graphic 91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5" name="Group 24"/>
          <p:cNvGrpSpPr/>
          <p:nvPr/>
        </p:nvGrpSpPr>
        <p:grpSpPr>
          <a:xfrm>
            <a:off x="6130269" y="5962859"/>
            <a:ext cx="752902" cy="752901"/>
            <a:chOff x="-4594157" y="2516834"/>
            <a:chExt cx="1070585" cy="1070585"/>
          </a:xfrm>
        </p:grpSpPr>
        <p:sp>
          <p:nvSpPr>
            <p:cNvPr id="91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17" name="Group 26"/>
            <p:cNvGrpSpPr/>
            <p:nvPr/>
          </p:nvGrpSpPr>
          <p:grpSpPr>
            <a:xfrm>
              <a:off x="-4594157" y="2516834"/>
              <a:ext cx="1070585" cy="1070585"/>
              <a:chOff x="10232415" y="2527090"/>
              <a:chExt cx="1070585" cy="1070585"/>
            </a:xfrm>
          </p:grpSpPr>
          <p:sp>
            <p:nvSpPr>
              <p:cNvPr id="918" name="Oval 2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19" name="Graphic 91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20" name="Group 900"/>
          <p:cNvGrpSpPr/>
          <p:nvPr/>
        </p:nvGrpSpPr>
        <p:grpSpPr>
          <a:xfrm>
            <a:off x="9313584" y="5962859"/>
            <a:ext cx="752902" cy="752901"/>
            <a:chOff x="-4594157" y="2516834"/>
            <a:chExt cx="1070585" cy="1070585"/>
          </a:xfrm>
        </p:grpSpPr>
        <p:sp>
          <p:nvSpPr>
            <p:cNvPr id="92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22" name="Group 902"/>
            <p:cNvGrpSpPr/>
            <p:nvPr/>
          </p:nvGrpSpPr>
          <p:grpSpPr>
            <a:xfrm>
              <a:off x="-4594157" y="2516834"/>
              <a:ext cx="1070585" cy="1070585"/>
              <a:chOff x="10232415" y="2527090"/>
              <a:chExt cx="1070585" cy="1070585"/>
            </a:xfrm>
          </p:grpSpPr>
          <p:sp>
            <p:nvSpPr>
              <p:cNvPr id="923" name="Oval 903"/>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24" name="Graphic 92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sp>
        <p:nvSpPr>
          <p:cNvPr id="9" name="Freeform: Shape 8"/>
          <p:cNvSpPr/>
          <p:nvPr/>
        </p:nvSpPr>
        <p:spPr>
          <a:xfrm>
            <a:off x="-7257" y="4536008"/>
            <a:ext cx="12199257" cy="1037701"/>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928" name="Freeform: Shape 927"/>
          <p:cNvSpPr/>
          <p:nvPr/>
        </p:nvSpPr>
        <p:spPr>
          <a:xfrm>
            <a:off x="-7257" y="3439656"/>
            <a:ext cx="12199257" cy="1020029"/>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grpSp>
        <p:nvGrpSpPr>
          <p:cNvPr id="93" name="Group 92"/>
          <p:cNvGrpSpPr/>
          <p:nvPr/>
        </p:nvGrpSpPr>
        <p:grpSpPr>
          <a:xfrm>
            <a:off x="4468630" y="3829867"/>
            <a:ext cx="648960" cy="124646"/>
            <a:chOff x="4937947" y="5178778"/>
            <a:chExt cx="733930" cy="124646"/>
          </a:xfrm>
        </p:grpSpPr>
        <p:cxnSp>
          <p:nvCxnSpPr>
            <p:cNvPr id="94" name="Straight Connector 93"/>
            <p:cNvCxnSpPr>
              <a:cxnSpLocks/>
            </p:cNvCxnSpPr>
            <p:nvPr/>
          </p:nvCxnSpPr>
          <p:spPr>
            <a:xfrm>
              <a:off x="5062593" y="5241101"/>
              <a:ext cx="187117" cy="0"/>
            </a:xfrm>
            <a:prstGeom prst="line">
              <a:avLst/>
            </a:prstGeom>
            <a:noFill/>
            <a:ln w="12700" cap="flat" cmpd="sng" algn="ctr">
              <a:solidFill>
                <a:schemeClr val="tx2"/>
              </a:solidFill>
              <a:prstDash val="sysDot"/>
              <a:miter lim="800000"/>
              <a:headEnd type="none"/>
              <a:tailEnd type="none"/>
            </a:ln>
            <a:effectLst/>
          </p:spPr>
        </p:cxnSp>
        <p:sp>
          <p:nvSpPr>
            <p:cNvPr id="95" name="Oval 94"/>
            <p:cNvSpPr/>
            <p:nvPr/>
          </p:nvSpPr>
          <p:spPr bwMode="auto">
            <a:xfrm>
              <a:off x="4937947" y="5178778"/>
              <a:ext cx="124646" cy="124646"/>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6" name="Oval 95"/>
            <p:cNvSpPr/>
            <p:nvPr/>
          </p:nvSpPr>
          <p:spPr bwMode="auto">
            <a:xfrm>
              <a:off x="5249710"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7" name="Oval 96"/>
            <p:cNvSpPr/>
            <p:nvPr/>
          </p:nvSpPr>
          <p:spPr bwMode="auto">
            <a:xfrm>
              <a:off x="5404122"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8" name="Oval 97"/>
            <p:cNvSpPr/>
            <p:nvPr/>
          </p:nvSpPr>
          <p:spPr bwMode="auto">
            <a:xfrm>
              <a:off x="5558535"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grpSp>
        <p:nvGrpSpPr>
          <p:cNvPr id="118" name="Group 117"/>
          <p:cNvGrpSpPr/>
          <p:nvPr/>
        </p:nvGrpSpPr>
        <p:grpSpPr>
          <a:xfrm>
            <a:off x="2522203" y="3918617"/>
            <a:ext cx="723819" cy="774671"/>
            <a:chOff x="4511512" y="6316301"/>
            <a:chExt cx="668502" cy="1610561"/>
          </a:xfrm>
        </p:grpSpPr>
        <p:grpSp>
          <p:nvGrpSpPr>
            <p:cNvPr id="119" name="Group 118"/>
            <p:cNvGrpSpPr/>
            <p:nvPr/>
          </p:nvGrpSpPr>
          <p:grpSpPr>
            <a:xfrm>
              <a:off x="4511512" y="6316301"/>
              <a:ext cx="617679" cy="892977"/>
              <a:chOff x="4066669" y="5178779"/>
              <a:chExt cx="1357897" cy="892977"/>
            </a:xfrm>
          </p:grpSpPr>
          <p:cxnSp>
            <p:nvCxnSpPr>
              <p:cNvPr id="121" name="Straight Connector 120"/>
              <p:cNvCxnSpPr>
                <a:cxnSpLocks/>
              </p:cNvCxnSpPr>
              <p:nvPr/>
            </p:nvCxnSpPr>
            <p:spPr>
              <a:xfrm>
                <a:off x="4308965" y="5299925"/>
                <a:ext cx="895279" cy="0"/>
              </a:xfrm>
              <a:prstGeom prst="line">
                <a:avLst/>
              </a:prstGeom>
              <a:noFill/>
              <a:ln w="12700" cap="flat" cmpd="sng" algn="ctr">
                <a:solidFill>
                  <a:schemeClr val="tx2"/>
                </a:solidFill>
                <a:prstDash val="sysDot"/>
                <a:miter lim="800000"/>
                <a:headEnd type="none"/>
                <a:tailEnd type="none"/>
              </a:ln>
              <a:effectLst/>
            </p:spPr>
          </p:cxnSp>
          <p:sp>
            <p:nvSpPr>
              <p:cNvPr id="122" name="Oval 121"/>
              <p:cNvSpPr/>
              <p:nvPr/>
            </p:nvSpPr>
            <p:spPr bwMode="auto">
              <a:xfrm>
                <a:off x="4066669" y="517877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3" name="Oval 122"/>
              <p:cNvSpPr/>
              <p:nvPr/>
            </p:nvSpPr>
            <p:spPr bwMode="auto">
              <a:xfrm>
                <a:off x="5204244" y="5189764"/>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124" name="Straight Connector 123"/>
              <p:cNvCxnSpPr>
                <a:cxnSpLocks/>
              </p:cNvCxnSpPr>
              <p:nvPr/>
            </p:nvCxnSpPr>
            <p:spPr>
              <a:xfrm>
                <a:off x="4308965" y="5620439"/>
                <a:ext cx="895279" cy="0"/>
              </a:xfrm>
              <a:prstGeom prst="line">
                <a:avLst/>
              </a:prstGeom>
              <a:noFill/>
              <a:ln w="12700" cap="flat" cmpd="sng" algn="ctr">
                <a:solidFill>
                  <a:schemeClr val="tx2"/>
                </a:solidFill>
                <a:prstDash val="sysDot"/>
                <a:miter lim="800000"/>
                <a:headEnd type="none"/>
                <a:tailEnd type="none"/>
              </a:ln>
              <a:effectLst/>
            </p:spPr>
          </p:cxnSp>
          <p:sp>
            <p:nvSpPr>
              <p:cNvPr id="125" name="Oval 124"/>
              <p:cNvSpPr/>
              <p:nvPr/>
            </p:nvSpPr>
            <p:spPr bwMode="auto">
              <a:xfrm>
                <a:off x="4066669" y="5499293"/>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6" name="Oval 125"/>
              <p:cNvSpPr/>
              <p:nvPr/>
            </p:nvSpPr>
            <p:spPr bwMode="auto">
              <a:xfrm>
                <a:off x="5204244" y="5510278"/>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127" name="Straight Connector 126"/>
              <p:cNvCxnSpPr>
                <a:cxnSpLocks/>
              </p:cNvCxnSpPr>
              <p:nvPr/>
            </p:nvCxnSpPr>
            <p:spPr>
              <a:xfrm>
                <a:off x="4308965" y="5950606"/>
                <a:ext cx="895279" cy="0"/>
              </a:xfrm>
              <a:prstGeom prst="line">
                <a:avLst/>
              </a:prstGeom>
              <a:noFill/>
              <a:ln w="12700" cap="flat" cmpd="sng" algn="ctr">
                <a:solidFill>
                  <a:schemeClr val="tx2"/>
                </a:solidFill>
                <a:prstDash val="sysDot"/>
                <a:miter lim="800000"/>
                <a:headEnd type="none"/>
                <a:tailEnd type="none"/>
              </a:ln>
              <a:effectLst/>
            </p:spPr>
          </p:cxnSp>
          <p:sp>
            <p:nvSpPr>
              <p:cNvPr id="128" name="Oval 127"/>
              <p:cNvSpPr/>
              <p:nvPr/>
            </p:nvSpPr>
            <p:spPr bwMode="auto">
              <a:xfrm>
                <a:off x="4066669" y="582945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9" name="Oval 128"/>
              <p:cNvSpPr/>
              <p:nvPr/>
            </p:nvSpPr>
            <p:spPr bwMode="auto">
              <a:xfrm>
                <a:off x="5204244" y="5840445"/>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sp>
          <p:nvSpPr>
            <p:cNvPr id="120" name="TextBox 119"/>
            <p:cNvSpPr txBox="1"/>
            <p:nvPr/>
          </p:nvSpPr>
          <p:spPr>
            <a:xfrm>
              <a:off x="4538071" y="7398964"/>
              <a:ext cx="641943" cy="527898"/>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Key-value</a:t>
              </a:r>
            </a:p>
          </p:txBody>
        </p:sp>
      </p:grpSp>
      <p:sp>
        <p:nvSpPr>
          <p:cNvPr id="84" name="Title 10"/>
          <p:cNvSpPr>
            <a:spLocks noGrp="1"/>
          </p:cNvSpPr>
          <p:nvPr>
            <p:ph type="title"/>
          </p:nvPr>
        </p:nvSpPr>
        <p:spPr>
          <a:xfrm>
            <a:off x="185254" y="296723"/>
            <a:ext cx="11642721" cy="917575"/>
          </a:xfrm>
        </p:spPr>
        <p:txBody>
          <a:bodyPr>
            <a:noAutofit/>
          </a:bodyPr>
          <a:lstStyle/>
          <a:p>
            <a:pPr algn="ctr"/>
            <a:r>
              <a:rPr lang="en-US" dirty="0">
                <a:solidFill>
                  <a:schemeClr val="bg1"/>
                </a:solidFill>
              </a:rPr>
              <a:t>Azure Cosmos DB</a:t>
            </a:r>
            <a:br>
              <a:rPr lang="en-US" dirty="0">
                <a:solidFill>
                  <a:schemeClr val="bg1"/>
                </a:solidFill>
              </a:rPr>
            </a:br>
            <a:r>
              <a:rPr lang="en-US" sz="2400" dirty="0">
                <a:solidFill>
                  <a:schemeClr val="bg1"/>
                </a:solidFill>
              </a:rPr>
              <a:t>A globally distributed, massively scalable, multi-model database service</a:t>
            </a:r>
          </a:p>
        </p:txBody>
      </p:sp>
      <p:sp>
        <p:nvSpPr>
          <p:cNvPr id="82" name="Freeform: Shape 81">
            <a:extLst>
              <a:ext uri="{FF2B5EF4-FFF2-40B4-BE49-F238E27FC236}">
                <a16:creationId xmlns:a16="http://schemas.microsoft.com/office/drawing/2014/main" id="{E3BC5004-545A-408F-A807-CC56FD5B1E43}"/>
              </a:ext>
            </a:extLst>
          </p:cNvPr>
          <p:cNvSpPr/>
          <p:nvPr/>
        </p:nvSpPr>
        <p:spPr>
          <a:xfrm>
            <a:off x="715797" y="3520195"/>
            <a:ext cx="669864" cy="309672"/>
          </a:xfrm>
          <a:custGeom>
            <a:avLst/>
            <a:gdLst>
              <a:gd name="connsiteX0" fmla="*/ 333618 w 531187"/>
              <a:gd name="connsiteY0" fmla="*/ 682320 h 835576"/>
              <a:gd name="connsiteX1" fmla="*/ 303480 w 531187"/>
              <a:gd name="connsiteY1" fmla="*/ 696608 h 835576"/>
              <a:gd name="connsiteX2" fmla="*/ 292318 w 531187"/>
              <a:gd name="connsiteY2" fmla="*/ 734224 h 835576"/>
              <a:gd name="connsiteX3" fmla="*/ 303480 w 531187"/>
              <a:gd name="connsiteY3" fmla="*/ 771840 h 835576"/>
              <a:gd name="connsiteX4" fmla="*/ 332725 w 531187"/>
              <a:gd name="connsiteY4" fmla="*/ 785681 h 835576"/>
              <a:gd name="connsiteX5" fmla="*/ 362305 w 531187"/>
              <a:gd name="connsiteY5" fmla="*/ 772287 h 835576"/>
              <a:gd name="connsiteX6" fmla="*/ 373243 w 531187"/>
              <a:gd name="connsiteY6" fmla="*/ 734894 h 835576"/>
              <a:gd name="connsiteX7" fmla="*/ 362639 w 531187"/>
              <a:gd name="connsiteY7" fmla="*/ 696161 h 835576"/>
              <a:gd name="connsiteX8" fmla="*/ 333618 w 531187"/>
              <a:gd name="connsiteY8" fmla="*/ 682320 h 835576"/>
              <a:gd name="connsiteX9" fmla="*/ 435863 w 531187"/>
              <a:gd name="connsiteY9" fmla="*/ 653968 h 835576"/>
              <a:gd name="connsiteX10" fmla="*/ 471917 w 531187"/>
              <a:gd name="connsiteY10" fmla="*/ 653968 h 835576"/>
              <a:gd name="connsiteX11" fmla="*/ 471917 w 531187"/>
              <a:gd name="connsiteY11" fmla="*/ 784788 h 835576"/>
              <a:gd name="connsiteX12" fmla="*/ 531187 w 531187"/>
              <a:gd name="connsiteY12" fmla="*/ 784788 h 835576"/>
              <a:gd name="connsiteX13" fmla="*/ 531187 w 531187"/>
              <a:gd name="connsiteY13" fmla="*/ 814033 h 835576"/>
              <a:gd name="connsiteX14" fmla="*/ 435863 w 531187"/>
              <a:gd name="connsiteY14" fmla="*/ 814033 h 835576"/>
              <a:gd name="connsiteX15" fmla="*/ 435863 w 531187"/>
              <a:gd name="connsiteY15" fmla="*/ 653968 h 835576"/>
              <a:gd name="connsiteX16" fmla="*/ 334623 w 531187"/>
              <a:gd name="connsiteY16" fmla="*/ 651290 h 835576"/>
              <a:gd name="connsiteX17" fmla="*/ 389987 w 531187"/>
              <a:gd name="connsiteY17" fmla="*/ 673725 h 835576"/>
              <a:gd name="connsiteX18" fmla="*/ 411195 w 531187"/>
              <a:gd name="connsiteY18" fmla="*/ 732885 h 835576"/>
              <a:gd name="connsiteX19" fmla="*/ 389205 w 531187"/>
              <a:gd name="connsiteY19" fmla="*/ 793718 h 835576"/>
              <a:gd name="connsiteX20" fmla="*/ 387754 w 531187"/>
              <a:gd name="connsiteY20" fmla="*/ 795225 h 835576"/>
              <a:gd name="connsiteX21" fmla="*/ 386303 w 531187"/>
              <a:gd name="connsiteY21" fmla="*/ 796620 h 835576"/>
              <a:gd name="connsiteX22" fmla="*/ 426822 w 531187"/>
              <a:gd name="connsiteY22" fmla="*/ 835576 h 835576"/>
              <a:gd name="connsiteX23" fmla="*/ 376369 w 531187"/>
              <a:gd name="connsiteY23" fmla="*/ 835576 h 835576"/>
              <a:gd name="connsiteX24" fmla="*/ 355161 w 531187"/>
              <a:gd name="connsiteY24" fmla="*/ 814033 h 835576"/>
              <a:gd name="connsiteX25" fmla="*/ 332055 w 531187"/>
              <a:gd name="connsiteY25" fmla="*/ 816824 h 835576"/>
              <a:gd name="connsiteX26" fmla="*/ 276021 w 531187"/>
              <a:gd name="connsiteY26" fmla="*/ 794499 h 835576"/>
              <a:gd name="connsiteX27" fmla="*/ 254367 w 531187"/>
              <a:gd name="connsiteY27" fmla="*/ 736122 h 835576"/>
              <a:gd name="connsiteX28" fmla="*/ 276356 w 531187"/>
              <a:gd name="connsiteY28" fmla="*/ 674730 h 835576"/>
              <a:gd name="connsiteX29" fmla="*/ 334623 w 531187"/>
              <a:gd name="connsiteY29" fmla="*/ 651290 h 835576"/>
              <a:gd name="connsiteX30" fmla="*/ 195394 w 531187"/>
              <a:gd name="connsiteY30" fmla="*/ 651290 h 835576"/>
              <a:gd name="connsiteX31" fmla="*/ 217551 w 531187"/>
              <a:gd name="connsiteY31" fmla="*/ 652796 h 835576"/>
              <a:gd name="connsiteX32" fmla="*/ 235354 w 531187"/>
              <a:gd name="connsiteY32" fmla="*/ 657429 h 835576"/>
              <a:gd name="connsiteX33" fmla="*/ 235354 w 531187"/>
              <a:gd name="connsiteY33" fmla="*/ 690803 h 835576"/>
              <a:gd name="connsiteX34" fmla="*/ 226592 w 531187"/>
              <a:gd name="connsiteY34" fmla="*/ 685892 h 835576"/>
              <a:gd name="connsiteX35" fmla="*/ 216825 w 531187"/>
              <a:gd name="connsiteY35" fmla="*/ 682376 h 835576"/>
              <a:gd name="connsiteX36" fmla="*/ 206835 w 531187"/>
              <a:gd name="connsiteY36" fmla="*/ 680311 h 835576"/>
              <a:gd name="connsiteX37" fmla="*/ 197403 w 531187"/>
              <a:gd name="connsiteY37" fmla="*/ 679641 h 835576"/>
              <a:gd name="connsiteX38" fmla="*/ 186241 w 531187"/>
              <a:gd name="connsiteY38" fmla="*/ 680813 h 835576"/>
              <a:gd name="connsiteX39" fmla="*/ 177758 w 531187"/>
              <a:gd name="connsiteY39" fmla="*/ 684106 h 835576"/>
              <a:gd name="connsiteX40" fmla="*/ 172400 w 531187"/>
              <a:gd name="connsiteY40" fmla="*/ 689185 h 835576"/>
              <a:gd name="connsiteX41" fmla="*/ 170502 w 531187"/>
              <a:gd name="connsiteY41" fmla="*/ 695826 h 835576"/>
              <a:gd name="connsiteX42" fmla="*/ 172623 w 531187"/>
              <a:gd name="connsiteY42" fmla="*/ 703026 h 835576"/>
              <a:gd name="connsiteX43" fmla="*/ 178651 w 531187"/>
              <a:gd name="connsiteY43" fmla="*/ 709053 h 835576"/>
              <a:gd name="connsiteX44" fmla="*/ 188138 w 531187"/>
              <a:gd name="connsiteY44" fmla="*/ 714635 h 835576"/>
              <a:gd name="connsiteX45" fmla="*/ 200752 w 531187"/>
              <a:gd name="connsiteY45" fmla="*/ 720271 h 835576"/>
              <a:gd name="connsiteX46" fmla="*/ 217997 w 531187"/>
              <a:gd name="connsiteY46" fmla="*/ 728810 h 835576"/>
              <a:gd name="connsiteX47" fmla="*/ 231113 w 531187"/>
              <a:gd name="connsiteY47" fmla="*/ 739024 h 835576"/>
              <a:gd name="connsiteX48" fmla="*/ 239484 w 531187"/>
              <a:gd name="connsiteY48" fmla="*/ 752028 h 835576"/>
              <a:gd name="connsiteX49" fmla="*/ 242386 w 531187"/>
              <a:gd name="connsiteY49" fmla="*/ 769050 h 835576"/>
              <a:gd name="connsiteX50" fmla="*/ 237308 w 531187"/>
              <a:gd name="connsiteY50" fmla="*/ 791541 h 835576"/>
              <a:gd name="connsiteX51" fmla="*/ 223522 w 531187"/>
              <a:gd name="connsiteY51" fmla="*/ 806275 h 835576"/>
              <a:gd name="connsiteX52" fmla="*/ 203263 w 531187"/>
              <a:gd name="connsiteY52" fmla="*/ 814368 h 835576"/>
              <a:gd name="connsiteX53" fmla="*/ 178874 w 531187"/>
              <a:gd name="connsiteY53" fmla="*/ 816824 h 835576"/>
              <a:gd name="connsiteX54" fmla="*/ 153815 w 531187"/>
              <a:gd name="connsiteY54" fmla="*/ 814591 h 835576"/>
              <a:gd name="connsiteX55" fmla="*/ 133221 w 531187"/>
              <a:gd name="connsiteY55" fmla="*/ 807894 h 835576"/>
              <a:gd name="connsiteX56" fmla="*/ 133221 w 531187"/>
              <a:gd name="connsiteY56" fmla="*/ 772175 h 835576"/>
              <a:gd name="connsiteX57" fmla="*/ 154317 w 531187"/>
              <a:gd name="connsiteY57" fmla="*/ 784398 h 835576"/>
              <a:gd name="connsiteX58" fmla="*/ 177311 w 531187"/>
              <a:gd name="connsiteY58" fmla="*/ 788472 h 835576"/>
              <a:gd name="connsiteX59" fmla="*/ 189199 w 531187"/>
              <a:gd name="connsiteY59" fmla="*/ 787244 h 835576"/>
              <a:gd name="connsiteX60" fmla="*/ 197682 w 531187"/>
              <a:gd name="connsiteY60" fmla="*/ 783840 h 835576"/>
              <a:gd name="connsiteX61" fmla="*/ 202761 w 531187"/>
              <a:gd name="connsiteY61" fmla="*/ 778705 h 835576"/>
              <a:gd name="connsiteX62" fmla="*/ 204435 w 531187"/>
              <a:gd name="connsiteY62" fmla="*/ 772287 h 835576"/>
              <a:gd name="connsiteX63" fmla="*/ 201756 w 531187"/>
              <a:gd name="connsiteY63" fmla="*/ 763915 h 835576"/>
              <a:gd name="connsiteX64" fmla="*/ 194445 w 531187"/>
              <a:gd name="connsiteY64" fmla="*/ 757106 h 835576"/>
              <a:gd name="connsiteX65" fmla="*/ 183450 w 531187"/>
              <a:gd name="connsiteY65" fmla="*/ 751079 h 835576"/>
              <a:gd name="connsiteX66" fmla="*/ 169721 w 531187"/>
              <a:gd name="connsiteY66" fmla="*/ 745163 h 835576"/>
              <a:gd name="connsiteX67" fmla="*/ 141760 w 531187"/>
              <a:gd name="connsiteY67" fmla="*/ 726076 h 835576"/>
              <a:gd name="connsiteX68" fmla="*/ 132551 w 531187"/>
              <a:gd name="connsiteY68" fmla="*/ 698840 h 835576"/>
              <a:gd name="connsiteX69" fmla="*/ 137574 w 531187"/>
              <a:gd name="connsiteY69" fmla="*/ 677353 h 835576"/>
              <a:gd name="connsiteX70" fmla="*/ 151248 w 531187"/>
              <a:gd name="connsiteY70" fmla="*/ 662563 h 835576"/>
              <a:gd name="connsiteX71" fmla="*/ 171284 w 531187"/>
              <a:gd name="connsiteY71" fmla="*/ 654024 h 835576"/>
              <a:gd name="connsiteX72" fmla="*/ 195394 w 531187"/>
              <a:gd name="connsiteY72" fmla="*/ 651290 h 835576"/>
              <a:gd name="connsiteX73" fmla="*/ 0 w 531187"/>
              <a:gd name="connsiteY73" fmla="*/ 0 h 835576"/>
              <a:gd name="connsiteX74" fmla="*/ 248557 w 531187"/>
              <a:gd name="connsiteY74" fmla="*/ 591457 h 835576"/>
              <a:gd name="connsiteX75" fmla="*/ 0 w 531187"/>
              <a:gd name="connsiteY75" fmla="*/ 0 h 835576"/>
              <a:gd name="connsiteX0" fmla="*/ 201067 w 398636"/>
              <a:gd name="connsiteY0" fmla="*/ 31030 h 184286"/>
              <a:gd name="connsiteX1" fmla="*/ 170929 w 398636"/>
              <a:gd name="connsiteY1" fmla="*/ 45318 h 184286"/>
              <a:gd name="connsiteX2" fmla="*/ 159767 w 398636"/>
              <a:gd name="connsiteY2" fmla="*/ 82934 h 184286"/>
              <a:gd name="connsiteX3" fmla="*/ 170929 w 398636"/>
              <a:gd name="connsiteY3" fmla="*/ 120550 h 184286"/>
              <a:gd name="connsiteX4" fmla="*/ 200174 w 398636"/>
              <a:gd name="connsiteY4" fmla="*/ 134391 h 184286"/>
              <a:gd name="connsiteX5" fmla="*/ 229754 w 398636"/>
              <a:gd name="connsiteY5" fmla="*/ 120997 h 184286"/>
              <a:gd name="connsiteX6" fmla="*/ 240692 w 398636"/>
              <a:gd name="connsiteY6" fmla="*/ 83604 h 184286"/>
              <a:gd name="connsiteX7" fmla="*/ 230088 w 398636"/>
              <a:gd name="connsiteY7" fmla="*/ 44871 h 184286"/>
              <a:gd name="connsiteX8" fmla="*/ 201067 w 398636"/>
              <a:gd name="connsiteY8" fmla="*/ 31030 h 184286"/>
              <a:gd name="connsiteX9" fmla="*/ 303312 w 398636"/>
              <a:gd name="connsiteY9" fmla="*/ 2678 h 184286"/>
              <a:gd name="connsiteX10" fmla="*/ 339366 w 398636"/>
              <a:gd name="connsiteY10" fmla="*/ 2678 h 184286"/>
              <a:gd name="connsiteX11" fmla="*/ 339366 w 398636"/>
              <a:gd name="connsiteY11" fmla="*/ 133498 h 184286"/>
              <a:gd name="connsiteX12" fmla="*/ 398636 w 398636"/>
              <a:gd name="connsiteY12" fmla="*/ 133498 h 184286"/>
              <a:gd name="connsiteX13" fmla="*/ 398636 w 398636"/>
              <a:gd name="connsiteY13" fmla="*/ 162743 h 184286"/>
              <a:gd name="connsiteX14" fmla="*/ 303312 w 398636"/>
              <a:gd name="connsiteY14" fmla="*/ 162743 h 184286"/>
              <a:gd name="connsiteX15" fmla="*/ 303312 w 398636"/>
              <a:gd name="connsiteY15" fmla="*/ 2678 h 184286"/>
              <a:gd name="connsiteX16" fmla="*/ 202072 w 398636"/>
              <a:gd name="connsiteY16" fmla="*/ 0 h 184286"/>
              <a:gd name="connsiteX17" fmla="*/ 257436 w 398636"/>
              <a:gd name="connsiteY17" fmla="*/ 22435 h 184286"/>
              <a:gd name="connsiteX18" fmla="*/ 278644 w 398636"/>
              <a:gd name="connsiteY18" fmla="*/ 81595 h 184286"/>
              <a:gd name="connsiteX19" fmla="*/ 256654 w 398636"/>
              <a:gd name="connsiteY19" fmla="*/ 142428 h 184286"/>
              <a:gd name="connsiteX20" fmla="*/ 255203 w 398636"/>
              <a:gd name="connsiteY20" fmla="*/ 143935 h 184286"/>
              <a:gd name="connsiteX21" fmla="*/ 253752 w 398636"/>
              <a:gd name="connsiteY21" fmla="*/ 145330 h 184286"/>
              <a:gd name="connsiteX22" fmla="*/ 294271 w 398636"/>
              <a:gd name="connsiteY22" fmla="*/ 184286 h 184286"/>
              <a:gd name="connsiteX23" fmla="*/ 243818 w 398636"/>
              <a:gd name="connsiteY23" fmla="*/ 184286 h 184286"/>
              <a:gd name="connsiteX24" fmla="*/ 222610 w 398636"/>
              <a:gd name="connsiteY24" fmla="*/ 162743 h 184286"/>
              <a:gd name="connsiteX25" fmla="*/ 199504 w 398636"/>
              <a:gd name="connsiteY25" fmla="*/ 165534 h 184286"/>
              <a:gd name="connsiteX26" fmla="*/ 143470 w 398636"/>
              <a:gd name="connsiteY26" fmla="*/ 143209 h 184286"/>
              <a:gd name="connsiteX27" fmla="*/ 121816 w 398636"/>
              <a:gd name="connsiteY27" fmla="*/ 84832 h 184286"/>
              <a:gd name="connsiteX28" fmla="*/ 143805 w 398636"/>
              <a:gd name="connsiteY28" fmla="*/ 23440 h 184286"/>
              <a:gd name="connsiteX29" fmla="*/ 202072 w 398636"/>
              <a:gd name="connsiteY29" fmla="*/ 0 h 184286"/>
              <a:gd name="connsiteX30" fmla="*/ 62843 w 398636"/>
              <a:gd name="connsiteY30" fmla="*/ 0 h 184286"/>
              <a:gd name="connsiteX31" fmla="*/ 85000 w 398636"/>
              <a:gd name="connsiteY31" fmla="*/ 1506 h 184286"/>
              <a:gd name="connsiteX32" fmla="*/ 102803 w 398636"/>
              <a:gd name="connsiteY32" fmla="*/ 6139 h 184286"/>
              <a:gd name="connsiteX33" fmla="*/ 102803 w 398636"/>
              <a:gd name="connsiteY33" fmla="*/ 39513 h 184286"/>
              <a:gd name="connsiteX34" fmla="*/ 94041 w 398636"/>
              <a:gd name="connsiteY34" fmla="*/ 34602 h 184286"/>
              <a:gd name="connsiteX35" fmla="*/ 84274 w 398636"/>
              <a:gd name="connsiteY35" fmla="*/ 31086 h 184286"/>
              <a:gd name="connsiteX36" fmla="*/ 74284 w 398636"/>
              <a:gd name="connsiteY36" fmla="*/ 29021 h 184286"/>
              <a:gd name="connsiteX37" fmla="*/ 64852 w 398636"/>
              <a:gd name="connsiteY37" fmla="*/ 28351 h 184286"/>
              <a:gd name="connsiteX38" fmla="*/ 53690 w 398636"/>
              <a:gd name="connsiteY38" fmla="*/ 29523 h 184286"/>
              <a:gd name="connsiteX39" fmla="*/ 45207 w 398636"/>
              <a:gd name="connsiteY39" fmla="*/ 32816 h 184286"/>
              <a:gd name="connsiteX40" fmla="*/ 39849 w 398636"/>
              <a:gd name="connsiteY40" fmla="*/ 37895 h 184286"/>
              <a:gd name="connsiteX41" fmla="*/ 37951 w 398636"/>
              <a:gd name="connsiteY41" fmla="*/ 44536 h 184286"/>
              <a:gd name="connsiteX42" fmla="*/ 40072 w 398636"/>
              <a:gd name="connsiteY42" fmla="*/ 51736 h 184286"/>
              <a:gd name="connsiteX43" fmla="*/ 46100 w 398636"/>
              <a:gd name="connsiteY43" fmla="*/ 57763 h 184286"/>
              <a:gd name="connsiteX44" fmla="*/ 55587 w 398636"/>
              <a:gd name="connsiteY44" fmla="*/ 63345 h 184286"/>
              <a:gd name="connsiteX45" fmla="*/ 68201 w 398636"/>
              <a:gd name="connsiteY45" fmla="*/ 68981 h 184286"/>
              <a:gd name="connsiteX46" fmla="*/ 85446 w 398636"/>
              <a:gd name="connsiteY46" fmla="*/ 77520 h 184286"/>
              <a:gd name="connsiteX47" fmla="*/ 98562 w 398636"/>
              <a:gd name="connsiteY47" fmla="*/ 87734 h 184286"/>
              <a:gd name="connsiteX48" fmla="*/ 106933 w 398636"/>
              <a:gd name="connsiteY48" fmla="*/ 100738 h 184286"/>
              <a:gd name="connsiteX49" fmla="*/ 109835 w 398636"/>
              <a:gd name="connsiteY49" fmla="*/ 117760 h 184286"/>
              <a:gd name="connsiteX50" fmla="*/ 104757 w 398636"/>
              <a:gd name="connsiteY50" fmla="*/ 140251 h 184286"/>
              <a:gd name="connsiteX51" fmla="*/ 90971 w 398636"/>
              <a:gd name="connsiteY51" fmla="*/ 154985 h 184286"/>
              <a:gd name="connsiteX52" fmla="*/ 70712 w 398636"/>
              <a:gd name="connsiteY52" fmla="*/ 163078 h 184286"/>
              <a:gd name="connsiteX53" fmla="*/ 46323 w 398636"/>
              <a:gd name="connsiteY53" fmla="*/ 165534 h 184286"/>
              <a:gd name="connsiteX54" fmla="*/ 21264 w 398636"/>
              <a:gd name="connsiteY54" fmla="*/ 163301 h 184286"/>
              <a:gd name="connsiteX55" fmla="*/ 670 w 398636"/>
              <a:gd name="connsiteY55" fmla="*/ 156604 h 184286"/>
              <a:gd name="connsiteX56" fmla="*/ 670 w 398636"/>
              <a:gd name="connsiteY56" fmla="*/ 120885 h 184286"/>
              <a:gd name="connsiteX57" fmla="*/ 21766 w 398636"/>
              <a:gd name="connsiteY57" fmla="*/ 133108 h 184286"/>
              <a:gd name="connsiteX58" fmla="*/ 44760 w 398636"/>
              <a:gd name="connsiteY58" fmla="*/ 137182 h 184286"/>
              <a:gd name="connsiteX59" fmla="*/ 56648 w 398636"/>
              <a:gd name="connsiteY59" fmla="*/ 135954 h 184286"/>
              <a:gd name="connsiteX60" fmla="*/ 65131 w 398636"/>
              <a:gd name="connsiteY60" fmla="*/ 132550 h 184286"/>
              <a:gd name="connsiteX61" fmla="*/ 70210 w 398636"/>
              <a:gd name="connsiteY61" fmla="*/ 127415 h 184286"/>
              <a:gd name="connsiteX62" fmla="*/ 71884 w 398636"/>
              <a:gd name="connsiteY62" fmla="*/ 120997 h 184286"/>
              <a:gd name="connsiteX63" fmla="*/ 69205 w 398636"/>
              <a:gd name="connsiteY63" fmla="*/ 112625 h 184286"/>
              <a:gd name="connsiteX64" fmla="*/ 61894 w 398636"/>
              <a:gd name="connsiteY64" fmla="*/ 105816 h 184286"/>
              <a:gd name="connsiteX65" fmla="*/ 50899 w 398636"/>
              <a:gd name="connsiteY65" fmla="*/ 99789 h 184286"/>
              <a:gd name="connsiteX66" fmla="*/ 37170 w 398636"/>
              <a:gd name="connsiteY66" fmla="*/ 93873 h 184286"/>
              <a:gd name="connsiteX67" fmla="*/ 9209 w 398636"/>
              <a:gd name="connsiteY67" fmla="*/ 74786 h 184286"/>
              <a:gd name="connsiteX68" fmla="*/ 0 w 398636"/>
              <a:gd name="connsiteY68" fmla="*/ 47550 h 184286"/>
              <a:gd name="connsiteX69" fmla="*/ 5023 w 398636"/>
              <a:gd name="connsiteY69" fmla="*/ 26063 h 184286"/>
              <a:gd name="connsiteX70" fmla="*/ 18697 w 398636"/>
              <a:gd name="connsiteY70" fmla="*/ 11273 h 184286"/>
              <a:gd name="connsiteX71" fmla="*/ 38733 w 398636"/>
              <a:gd name="connsiteY71" fmla="*/ 2734 h 184286"/>
              <a:gd name="connsiteX72" fmla="*/ 62843 w 398636"/>
              <a:gd name="connsiteY72" fmla="*/ 0 h 18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8636" h="184286">
                <a:moveTo>
                  <a:pt x="201067" y="31030"/>
                </a:moveTo>
                <a:cubicBezTo>
                  <a:pt x="188491" y="31030"/>
                  <a:pt x="178445" y="35793"/>
                  <a:pt x="170929" y="45318"/>
                </a:cubicBezTo>
                <a:cubicBezTo>
                  <a:pt x="163488" y="54768"/>
                  <a:pt x="159767" y="67307"/>
                  <a:pt x="159767" y="82934"/>
                </a:cubicBezTo>
                <a:cubicBezTo>
                  <a:pt x="159767" y="98784"/>
                  <a:pt x="163488" y="111323"/>
                  <a:pt x="170929" y="120550"/>
                </a:cubicBezTo>
                <a:cubicBezTo>
                  <a:pt x="178371" y="129778"/>
                  <a:pt x="188119" y="134391"/>
                  <a:pt x="200174" y="134391"/>
                </a:cubicBezTo>
                <a:cubicBezTo>
                  <a:pt x="212601" y="134391"/>
                  <a:pt x="222461" y="129927"/>
                  <a:pt x="229754" y="120997"/>
                </a:cubicBezTo>
                <a:cubicBezTo>
                  <a:pt x="237046" y="111918"/>
                  <a:pt x="240692" y="99454"/>
                  <a:pt x="240692" y="83604"/>
                </a:cubicBezTo>
                <a:cubicBezTo>
                  <a:pt x="240692" y="67084"/>
                  <a:pt x="237158" y="54173"/>
                  <a:pt x="230088" y="44871"/>
                </a:cubicBezTo>
                <a:cubicBezTo>
                  <a:pt x="223094" y="35644"/>
                  <a:pt x="213420" y="31030"/>
                  <a:pt x="201067" y="31030"/>
                </a:cubicBezTo>
                <a:close/>
                <a:moveTo>
                  <a:pt x="303312" y="2678"/>
                </a:moveTo>
                <a:lnTo>
                  <a:pt x="339366" y="2678"/>
                </a:lnTo>
                <a:lnTo>
                  <a:pt x="339366" y="133498"/>
                </a:lnTo>
                <a:lnTo>
                  <a:pt x="398636" y="133498"/>
                </a:lnTo>
                <a:lnTo>
                  <a:pt x="398636" y="162743"/>
                </a:lnTo>
                <a:lnTo>
                  <a:pt x="303312" y="162743"/>
                </a:lnTo>
                <a:lnTo>
                  <a:pt x="303312" y="2678"/>
                </a:lnTo>
                <a:close/>
                <a:moveTo>
                  <a:pt x="202072" y="0"/>
                </a:moveTo>
                <a:cubicBezTo>
                  <a:pt x="224917" y="0"/>
                  <a:pt x="243371" y="7478"/>
                  <a:pt x="257436" y="22435"/>
                </a:cubicBezTo>
                <a:cubicBezTo>
                  <a:pt x="271574" y="37318"/>
                  <a:pt x="278644" y="57038"/>
                  <a:pt x="278644" y="81595"/>
                </a:cubicBezTo>
                <a:cubicBezTo>
                  <a:pt x="278644" y="106672"/>
                  <a:pt x="271314" y="126950"/>
                  <a:pt x="256654" y="142428"/>
                </a:cubicBezTo>
                <a:cubicBezTo>
                  <a:pt x="256133" y="142949"/>
                  <a:pt x="255650" y="143451"/>
                  <a:pt x="255203" y="143935"/>
                </a:cubicBezTo>
                <a:cubicBezTo>
                  <a:pt x="254757" y="144419"/>
                  <a:pt x="254273" y="144884"/>
                  <a:pt x="253752" y="145330"/>
                </a:cubicBezTo>
                <a:lnTo>
                  <a:pt x="294271" y="184286"/>
                </a:lnTo>
                <a:lnTo>
                  <a:pt x="243818" y="184286"/>
                </a:lnTo>
                <a:lnTo>
                  <a:pt x="222610" y="162743"/>
                </a:lnTo>
                <a:cubicBezTo>
                  <a:pt x="215615" y="164603"/>
                  <a:pt x="207913" y="165534"/>
                  <a:pt x="199504" y="165534"/>
                </a:cubicBezTo>
                <a:cubicBezTo>
                  <a:pt x="176585" y="165534"/>
                  <a:pt x="157907" y="158092"/>
                  <a:pt x="143470" y="143209"/>
                </a:cubicBezTo>
                <a:cubicBezTo>
                  <a:pt x="129034" y="128178"/>
                  <a:pt x="121816" y="108719"/>
                  <a:pt x="121816" y="84832"/>
                </a:cubicBezTo>
                <a:cubicBezTo>
                  <a:pt x="121816" y="59605"/>
                  <a:pt x="129146" y="39141"/>
                  <a:pt x="143805" y="23440"/>
                </a:cubicBezTo>
                <a:cubicBezTo>
                  <a:pt x="158391" y="7813"/>
                  <a:pt x="177813" y="0"/>
                  <a:pt x="202072" y="0"/>
                </a:cubicBezTo>
                <a:close/>
                <a:moveTo>
                  <a:pt x="62843" y="0"/>
                </a:moveTo>
                <a:cubicBezTo>
                  <a:pt x="71177" y="0"/>
                  <a:pt x="78563" y="502"/>
                  <a:pt x="85000" y="1506"/>
                </a:cubicBezTo>
                <a:cubicBezTo>
                  <a:pt x="91436" y="2511"/>
                  <a:pt x="97371" y="4055"/>
                  <a:pt x="102803" y="6139"/>
                </a:cubicBezTo>
                <a:lnTo>
                  <a:pt x="102803" y="39513"/>
                </a:lnTo>
                <a:cubicBezTo>
                  <a:pt x="100124" y="37653"/>
                  <a:pt x="97204" y="36016"/>
                  <a:pt x="94041" y="34602"/>
                </a:cubicBezTo>
                <a:cubicBezTo>
                  <a:pt x="90878" y="33188"/>
                  <a:pt x="87623" y="32016"/>
                  <a:pt x="84274" y="31086"/>
                </a:cubicBezTo>
                <a:cubicBezTo>
                  <a:pt x="80925" y="30156"/>
                  <a:pt x="77595" y="29468"/>
                  <a:pt x="74284" y="29021"/>
                </a:cubicBezTo>
                <a:cubicBezTo>
                  <a:pt x="70973" y="28575"/>
                  <a:pt x="67829" y="28351"/>
                  <a:pt x="64852" y="28351"/>
                </a:cubicBezTo>
                <a:cubicBezTo>
                  <a:pt x="60759" y="28351"/>
                  <a:pt x="57039" y="28742"/>
                  <a:pt x="53690" y="29523"/>
                </a:cubicBezTo>
                <a:cubicBezTo>
                  <a:pt x="50341" y="30305"/>
                  <a:pt x="47514" y="31402"/>
                  <a:pt x="45207" y="32816"/>
                </a:cubicBezTo>
                <a:cubicBezTo>
                  <a:pt x="42900" y="34230"/>
                  <a:pt x="41114" y="35923"/>
                  <a:pt x="39849" y="37895"/>
                </a:cubicBezTo>
                <a:cubicBezTo>
                  <a:pt x="38584" y="39867"/>
                  <a:pt x="37951" y="42081"/>
                  <a:pt x="37951" y="44536"/>
                </a:cubicBezTo>
                <a:cubicBezTo>
                  <a:pt x="37951" y="47215"/>
                  <a:pt x="38658" y="49615"/>
                  <a:pt x="40072" y="51736"/>
                </a:cubicBezTo>
                <a:cubicBezTo>
                  <a:pt x="41486" y="53857"/>
                  <a:pt x="43495" y="55866"/>
                  <a:pt x="46100" y="57763"/>
                </a:cubicBezTo>
                <a:cubicBezTo>
                  <a:pt x="48704" y="59661"/>
                  <a:pt x="51867" y="61521"/>
                  <a:pt x="55587" y="63345"/>
                </a:cubicBezTo>
                <a:cubicBezTo>
                  <a:pt x="59308" y="65168"/>
                  <a:pt x="63513" y="67047"/>
                  <a:pt x="68201" y="68981"/>
                </a:cubicBezTo>
                <a:cubicBezTo>
                  <a:pt x="74600" y="71660"/>
                  <a:pt x="80349" y="74507"/>
                  <a:pt x="85446" y="77520"/>
                </a:cubicBezTo>
                <a:cubicBezTo>
                  <a:pt x="90543" y="80534"/>
                  <a:pt x="94915" y="83939"/>
                  <a:pt x="98562" y="87734"/>
                </a:cubicBezTo>
                <a:cubicBezTo>
                  <a:pt x="102208" y="91529"/>
                  <a:pt x="104998" y="95863"/>
                  <a:pt x="106933" y="100738"/>
                </a:cubicBezTo>
                <a:cubicBezTo>
                  <a:pt x="108868" y="105612"/>
                  <a:pt x="109835" y="111286"/>
                  <a:pt x="109835" y="117760"/>
                </a:cubicBezTo>
                <a:cubicBezTo>
                  <a:pt x="109835" y="126690"/>
                  <a:pt x="108142" y="134187"/>
                  <a:pt x="104757" y="140251"/>
                </a:cubicBezTo>
                <a:cubicBezTo>
                  <a:pt x="101371" y="146316"/>
                  <a:pt x="96776" y="151228"/>
                  <a:pt x="90971" y="154985"/>
                </a:cubicBezTo>
                <a:cubicBezTo>
                  <a:pt x="85167" y="158743"/>
                  <a:pt x="78414" y="161441"/>
                  <a:pt x="70712" y="163078"/>
                </a:cubicBezTo>
                <a:cubicBezTo>
                  <a:pt x="63010" y="164715"/>
                  <a:pt x="54881" y="165534"/>
                  <a:pt x="46323" y="165534"/>
                </a:cubicBezTo>
                <a:cubicBezTo>
                  <a:pt x="37542" y="165534"/>
                  <a:pt x="29189" y="164790"/>
                  <a:pt x="21264" y="163301"/>
                </a:cubicBezTo>
                <a:cubicBezTo>
                  <a:pt x="13339" y="161813"/>
                  <a:pt x="6474" y="159581"/>
                  <a:pt x="670" y="156604"/>
                </a:cubicBezTo>
                <a:lnTo>
                  <a:pt x="670" y="120885"/>
                </a:lnTo>
                <a:cubicBezTo>
                  <a:pt x="7144" y="126317"/>
                  <a:pt x="14176" y="130392"/>
                  <a:pt x="21766" y="133108"/>
                </a:cubicBezTo>
                <a:cubicBezTo>
                  <a:pt x="29357" y="135824"/>
                  <a:pt x="37021" y="137182"/>
                  <a:pt x="44760" y="137182"/>
                </a:cubicBezTo>
                <a:cubicBezTo>
                  <a:pt x="49299" y="137182"/>
                  <a:pt x="53262" y="136773"/>
                  <a:pt x="56648" y="135954"/>
                </a:cubicBezTo>
                <a:cubicBezTo>
                  <a:pt x="60034" y="135136"/>
                  <a:pt x="62861" y="134001"/>
                  <a:pt x="65131" y="132550"/>
                </a:cubicBezTo>
                <a:cubicBezTo>
                  <a:pt x="67401" y="131099"/>
                  <a:pt x="69094" y="129387"/>
                  <a:pt x="70210" y="127415"/>
                </a:cubicBezTo>
                <a:cubicBezTo>
                  <a:pt x="71326" y="125443"/>
                  <a:pt x="71884" y="123304"/>
                  <a:pt x="71884" y="120997"/>
                </a:cubicBezTo>
                <a:cubicBezTo>
                  <a:pt x="71884" y="117871"/>
                  <a:pt x="70991" y="115081"/>
                  <a:pt x="69205" y="112625"/>
                </a:cubicBezTo>
                <a:cubicBezTo>
                  <a:pt x="67419" y="110170"/>
                  <a:pt x="64982" y="107900"/>
                  <a:pt x="61894" y="105816"/>
                </a:cubicBezTo>
                <a:cubicBezTo>
                  <a:pt x="58806" y="103733"/>
                  <a:pt x="55141" y="101724"/>
                  <a:pt x="50899" y="99789"/>
                </a:cubicBezTo>
                <a:cubicBezTo>
                  <a:pt x="46658" y="97854"/>
                  <a:pt x="42081" y="95882"/>
                  <a:pt x="37170" y="93873"/>
                </a:cubicBezTo>
                <a:cubicBezTo>
                  <a:pt x="24668" y="88664"/>
                  <a:pt x="15348" y="82302"/>
                  <a:pt x="9209" y="74786"/>
                </a:cubicBezTo>
                <a:cubicBezTo>
                  <a:pt x="3070" y="67270"/>
                  <a:pt x="0" y="58191"/>
                  <a:pt x="0" y="47550"/>
                </a:cubicBezTo>
                <a:cubicBezTo>
                  <a:pt x="0" y="39216"/>
                  <a:pt x="1674" y="32053"/>
                  <a:pt x="5023" y="26063"/>
                </a:cubicBezTo>
                <a:cubicBezTo>
                  <a:pt x="8372" y="20073"/>
                  <a:pt x="12930" y="15143"/>
                  <a:pt x="18697" y="11273"/>
                </a:cubicBezTo>
                <a:cubicBezTo>
                  <a:pt x="24464" y="7404"/>
                  <a:pt x="31142" y="4557"/>
                  <a:pt x="38733" y="2734"/>
                </a:cubicBezTo>
                <a:cubicBezTo>
                  <a:pt x="46323" y="911"/>
                  <a:pt x="54360" y="0"/>
                  <a:pt x="62843"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latin typeface="Segoe UI"/>
            </a:endParaRPr>
          </a:p>
        </p:txBody>
      </p:sp>
      <p:grpSp>
        <p:nvGrpSpPr>
          <p:cNvPr id="4" name="Group 3">
            <a:extLst>
              <a:ext uri="{FF2B5EF4-FFF2-40B4-BE49-F238E27FC236}">
                <a16:creationId xmlns:a16="http://schemas.microsoft.com/office/drawing/2014/main" id="{3D220A0E-A9D1-4F2F-A3EE-BC39FD7EA92B}"/>
              </a:ext>
            </a:extLst>
          </p:cNvPr>
          <p:cNvGrpSpPr/>
          <p:nvPr/>
        </p:nvGrpSpPr>
        <p:grpSpPr>
          <a:xfrm>
            <a:off x="4023973" y="2576363"/>
            <a:ext cx="1914162" cy="623188"/>
            <a:chOff x="5628981" y="2660292"/>
            <a:chExt cx="1914162" cy="623188"/>
          </a:xfrm>
        </p:grpSpPr>
        <p:sp>
          <p:nvSpPr>
            <p:cNvPr id="3" name="TextBox 2"/>
            <p:cNvSpPr txBox="1"/>
            <p:nvPr/>
          </p:nvSpPr>
          <p:spPr>
            <a:xfrm>
              <a:off x="6430723" y="2787717"/>
              <a:ext cx="1112420" cy="369332"/>
            </a:xfrm>
            <a:prstGeom prst="rect">
              <a:avLst/>
            </a:prstGeom>
            <a:noFill/>
          </p:spPr>
          <p:txBody>
            <a:bodyPr wrap="none" rtlCol="0">
              <a:spAutoFit/>
            </a:bodyPr>
            <a:lstStyle/>
            <a:p>
              <a:r>
                <a:rPr lang="en-US" dirty="0">
                  <a:solidFill>
                    <a:srgbClr val="000000"/>
                  </a:solidFill>
                  <a:latin typeface="Segoe UI"/>
                </a:rPr>
                <a:t>Table API</a:t>
              </a:r>
            </a:p>
          </p:txBody>
        </p:sp>
        <p:sp>
          <p:nvSpPr>
            <p:cNvPr id="85" name="Freeform: Shape 28">
              <a:extLst>
                <a:ext uri="{FF2B5EF4-FFF2-40B4-BE49-F238E27FC236}">
                  <a16:creationId xmlns:a16="http://schemas.microsoft.com/office/drawing/2014/main" id="{7C4CCB38-7A27-4504-966E-819BAF51A976}"/>
                </a:ext>
              </a:extLst>
            </p:cNvPr>
            <p:cNvSpPr/>
            <p:nvPr/>
          </p:nvSpPr>
          <p:spPr>
            <a:xfrm>
              <a:off x="5628981" y="2660292"/>
              <a:ext cx="722852" cy="623188"/>
            </a:xfrm>
            <a:custGeom>
              <a:avLst/>
              <a:gdLst>
                <a:gd name="connsiteX0" fmla="*/ 4283739 w 6912012"/>
                <a:gd name="connsiteY0" fmla="*/ 3558282 h 5959009"/>
                <a:gd name="connsiteX1" fmla="*/ 4283739 w 6912012"/>
                <a:gd name="connsiteY1" fmla="*/ 4359666 h 5959009"/>
                <a:gd name="connsiteX2" fmla="*/ 5085123 w 6912012"/>
                <a:gd name="connsiteY2" fmla="*/ 4359666 h 5959009"/>
                <a:gd name="connsiteX3" fmla="*/ 5085123 w 6912012"/>
                <a:gd name="connsiteY3" fmla="*/ 3558282 h 5959009"/>
                <a:gd name="connsiteX4" fmla="*/ 3285434 w 6912012"/>
                <a:gd name="connsiteY4" fmla="*/ 3558282 h 5959009"/>
                <a:gd name="connsiteX5" fmla="*/ 3285434 w 6912012"/>
                <a:gd name="connsiteY5" fmla="*/ 4359666 h 5959009"/>
                <a:gd name="connsiteX6" fmla="*/ 4086818 w 6912012"/>
                <a:gd name="connsiteY6" fmla="*/ 4359666 h 5959009"/>
                <a:gd name="connsiteX7" fmla="*/ 4086818 w 6912012"/>
                <a:gd name="connsiteY7" fmla="*/ 3558282 h 5959009"/>
                <a:gd name="connsiteX8" fmla="*/ 2287129 w 6912012"/>
                <a:gd name="connsiteY8" fmla="*/ 3558282 h 5959009"/>
                <a:gd name="connsiteX9" fmla="*/ 2287129 w 6912012"/>
                <a:gd name="connsiteY9" fmla="*/ 4359666 h 5959009"/>
                <a:gd name="connsiteX10" fmla="*/ 3088513 w 6912012"/>
                <a:gd name="connsiteY10" fmla="*/ 4359666 h 5959009"/>
                <a:gd name="connsiteX11" fmla="*/ 3088513 w 6912012"/>
                <a:gd name="connsiteY11" fmla="*/ 3558282 h 5959009"/>
                <a:gd name="connsiteX12" fmla="*/ 4283739 w 6912012"/>
                <a:gd name="connsiteY12" fmla="*/ 2561689 h 5959009"/>
                <a:gd name="connsiteX13" fmla="*/ 4283739 w 6912012"/>
                <a:gd name="connsiteY13" fmla="*/ 3363073 h 5959009"/>
                <a:gd name="connsiteX14" fmla="*/ 5085123 w 6912012"/>
                <a:gd name="connsiteY14" fmla="*/ 3363073 h 5959009"/>
                <a:gd name="connsiteX15" fmla="*/ 5085123 w 6912012"/>
                <a:gd name="connsiteY15" fmla="*/ 2561689 h 5959009"/>
                <a:gd name="connsiteX16" fmla="*/ 3285434 w 6912012"/>
                <a:gd name="connsiteY16" fmla="*/ 2561689 h 5959009"/>
                <a:gd name="connsiteX17" fmla="*/ 3285434 w 6912012"/>
                <a:gd name="connsiteY17" fmla="*/ 3363073 h 5959009"/>
                <a:gd name="connsiteX18" fmla="*/ 4086818 w 6912012"/>
                <a:gd name="connsiteY18" fmla="*/ 3363073 h 5959009"/>
                <a:gd name="connsiteX19" fmla="*/ 4086818 w 6912012"/>
                <a:gd name="connsiteY19" fmla="*/ 2561689 h 5959009"/>
                <a:gd name="connsiteX20" fmla="*/ 2287129 w 6912012"/>
                <a:gd name="connsiteY20" fmla="*/ 2561689 h 5959009"/>
                <a:gd name="connsiteX21" fmla="*/ 2287129 w 6912012"/>
                <a:gd name="connsiteY21" fmla="*/ 3363073 h 5959009"/>
                <a:gd name="connsiteX22" fmla="*/ 3088513 w 6912012"/>
                <a:gd name="connsiteY22" fmla="*/ 3363073 h 5959009"/>
                <a:gd name="connsiteX23" fmla="*/ 3088513 w 6912012"/>
                <a:gd name="connsiteY23" fmla="*/ 2561689 h 5959009"/>
                <a:gd name="connsiteX24" fmla="*/ 4283739 w 6912012"/>
                <a:gd name="connsiteY24" fmla="*/ 1565096 h 5959009"/>
                <a:gd name="connsiteX25" fmla="*/ 4283739 w 6912012"/>
                <a:gd name="connsiteY25" fmla="*/ 2366480 h 5959009"/>
                <a:gd name="connsiteX26" fmla="*/ 5085123 w 6912012"/>
                <a:gd name="connsiteY26" fmla="*/ 2366480 h 5959009"/>
                <a:gd name="connsiteX27" fmla="*/ 5085123 w 6912012"/>
                <a:gd name="connsiteY27" fmla="*/ 1565096 h 5959009"/>
                <a:gd name="connsiteX28" fmla="*/ 3285434 w 6912012"/>
                <a:gd name="connsiteY28" fmla="*/ 1565096 h 5959009"/>
                <a:gd name="connsiteX29" fmla="*/ 3285434 w 6912012"/>
                <a:gd name="connsiteY29" fmla="*/ 2366480 h 5959009"/>
                <a:gd name="connsiteX30" fmla="*/ 4086818 w 6912012"/>
                <a:gd name="connsiteY30" fmla="*/ 2366480 h 5959009"/>
                <a:gd name="connsiteX31" fmla="*/ 4086818 w 6912012"/>
                <a:gd name="connsiteY31" fmla="*/ 1565096 h 5959009"/>
                <a:gd name="connsiteX32" fmla="*/ 2287129 w 6912012"/>
                <a:gd name="connsiteY32" fmla="*/ 1565096 h 5959009"/>
                <a:gd name="connsiteX33" fmla="*/ 2287129 w 6912012"/>
                <a:gd name="connsiteY33" fmla="*/ 2366480 h 5959009"/>
                <a:gd name="connsiteX34" fmla="*/ 3088513 w 6912012"/>
                <a:gd name="connsiteY34" fmla="*/ 2366480 h 5959009"/>
                <a:gd name="connsiteX35" fmla="*/ 3088513 w 6912012"/>
                <a:gd name="connsiteY35" fmla="*/ 1565096 h 5959009"/>
                <a:gd name="connsiteX36" fmla="*/ 1826890 w 6912012"/>
                <a:gd name="connsiteY36" fmla="*/ 1539635 h 5959009"/>
                <a:gd name="connsiteX37" fmla="*/ 1826890 w 6912012"/>
                <a:gd name="connsiteY37" fmla="*/ 4787206 h 5959009"/>
                <a:gd name="connsiteX38" fmla="*/ 5085123 w 6912012"/>
                <a:gd name="connsiteY38" fmla="*/ 4787206 h 5959009"/>
                <a:gd name="connsiteX39" fmla="*/ 5085123 w 6912012"/>
                <a:gd name="connsiteY39" fmla="*/ 4567677 h 5959009"/>
                <a:gd name="connsiteX40" fmla="*/ 2046419 w 6912012"/>
                <a:gd name="connsiteY40" fmla="*/ 4567677 h 5959009"/>
                <a:gd name="connsiteX41" fmla="*/ 2046419 w 6912012"/>
                <a:gd name="connsiteY41" fmla="*/ 1539635 h 5959009"/>
                <a:gd name="connsiteX42" fmla="*/ 1743189 w 6912012"/>
                <a:gd name="connsiteY42" fmla="*/ 0 h 5959009"/>
                <a:gd name="connsiteX43" fmla="*/ 5168823 w 6912012"/>
                <a:gd name="connsiteY43" fmla="*/ 0 h 5959009"/>
                <a:gd name="connsiteX44" fmla="*/ 6912012 w 6912012"/>
                <a:gd name="connsiteY44" fmla="*/ 2979505 h 5959009"/>
                <a:gd name="connsiteX45" fmla="*/ 5168823 w 6912012"/>
                <a:gd name="connsiteY45" fmla="*/ 5959009 h 5959009"/>
                <a:gd name="connsiteX46" fmla="*/ 1743189 w 6912012"/>
                <a:gd name="connsiteY46" fmla="*/ 5959009 h 5959009"/>
                <a:gd name="connsiteX47" fmla="*/ 0 w 6912012"/>
                <a:gd name="connsiteY47" fmla="*/ 2979505 h 5959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912012" h="5959009">
                  <a:moveTo>
                    <a:pt x="4283739" y="3558282"/>
                  </a:moveTo>
                  <a:lnTo>
                    <a:pt x="4283739" y="4359666"/>
                  </a:lnTo>
                  <a:lnTo>
                    <a:pt x="5085123" y="4359666"/>
                  </a:lnTo>
                  <a:lnTo>
                    <a:pt x="5085123" y="3558282"/>
                  </a:lnTo>
                  <a:close/>
                  <a:moveTo>
                    <a:pt x="3285434" y="3558282"/>
                  </a:moveTo>
                  <a:lnTo>
                    <a:pt x="3285434" y="4359666"/>
                  </a:lnTo>
                  <a:lnTo>
                    <a:pt x="4086818" y="4359666"/>
                  </a:lnTo>
                  <a:lnTo>
                    <a:pt x="4086818" y="3558282"/>
                  </a:lnTo>
                  <a:close/>
                  <a:moveTo>
                    <a:pt x="2287129" y="3558282"/>
                  </a:moveTo>
                  <a:lnTo>
                    <a:pt x="2287129" y="4359666"/>
                  </a:lnTo>
                  <a:lnTo>
                    <a:pt x="3088513" y="4359666"/>
                  </a:lnTo>
                  <a:lnTo>
                    <a:pt x="3088513" y="3558282"/>
                  </a:lnTo>
                  <a:close/>
                  <a:moveTo>
                    <a:pt x="4283739" y="2561689"/>
                  </a:moveTo>
                  <a:lnTo>
                    <a:pt x="4283739" y="3363073"/>
                  </a:lnTo>
                  <a:lnTo>
                    <a:pt x="5085123" y="3363073"/>
                  </a:lnTo>
                  <a:lnTo>
                    <a:pt x="5085123" y="2561689"/>
                  </a:lnTo>
                  <a:close/>
                  <a:moveTo>
                    <a:pt x="3285434" y="2561689"/>
                  </a:moveTo>
                  <a:lnTo>
                    <a:pt x="3285434" y="3363073"/>
                  </a:lnTo>
                  <a:lnTo>
                    <a:pt x="4086818" y="3363073"/>
                  </a:lnTo>
                  <a:lnTo>
                    <a:pt x="4086818" y="2561689"/>
                  </a:lnTo>
                  <a:close/>
                  <a:moveTo>
                    <a:pt x="2287129" y="2561689"/>
                  </a:moveTo>
                  <a:lnTo>
                    <a:pt x="2287129" y="3363073"/>
                  </a:lnTo>
                  <a:lnTo>
                    <a:pt x="3088513" y="3363073"/>
                  </a:lnTo>
                  <a:lnTo>
                    <a:pt x="3088513" y="2561689"/>
                  </a:lnTo>
                  <a:close/>
                  <a:moveTo>
                    <a:pt x="4283739" y="1565096"/>
                  </a:moveTo>
                  <a:lnTo>
                    <a:pt x="4283739" y="2366480"/>
                  </a:lnTo>
                  <a:lnTo>
                    <a:pt x="5085123" y="2366480"/>
                  </a:lnTo>
                  <a:lnTo>
                    <a:pt x="5085123" y="1565096"/>
                  </a:lnTo>
                  <a:close/>
                  <a:moveTo>
                    <a:pt x="3285434" y="1565096"/>
                  </a:moveTo>
                  <a:lnTo>
                    <a:pt x="3285434" y="2366480"/>
                  </a:lnTo>
                  <a:lnTo>
                    <a:pt x="4086818" y="2366480"/>
                  </a:lnTo>
                  <a:lnTo>
                    <a:pt x="4086818" y="1565096"/>
                  </a:lnTo>
                  <a:close/>
                  <a:moveTo>
                    <a:pt x="2287129" y="1565096"/>
                  </a:moveTo>
                  <a:lnTo>
                    <a:pt x="2287129" y="2366480"/>
                  </a:lnTo>
                  <a:lnTo>
                    <a:pt x="3088513" y="2366480"/>
                  </a:lnTo>
                  <a:lnTo>
                    <a:pt x="3088513" y="1565096"/>
                  </a:lnTo>
                  <a:close/>
                  <a:moveTo>
                    <a:pt x="1826890" y="1539635"/>
                  </a:moveTo>
                  <a:lnTo>
                    <a:pt x="1826890" y="4787206"/>
                  </a:lnTo>
                  <a:lnTo>
                    <a:pt x="5085123" y="4787206"/>
                  </a:lnTo>
                  <a:lnTo>
                    <a:pt x="5085123" y="4567677"/>
                  </a:lnTo>
                  <a:lnTo>
                    <a:pt x="2046419" y="4567677"/>
                  </a:lnTo>
                  <a:lnTo>
                    <a:pt x="2046419" y="1539635"/>
                  </a:lnTo>
                  <a:close/>
                  <a:moveTo>
                    <a:pt x="1743189" y="0"/>
                  </a:moveTo>
                  <a:lnTo>
                    <a:pt x="5168823" y="0"/>
                  </a:lnTo>
                  <a:lnTo>
                    <a:pt x="6912012" y="2979505"/>
                  </a:lnTo>
                  <a:lnTo>
                    <a:pt x="5168823" y="5959009"/>
                  </a:lnTo>
                  <a:lnTo>
                    <a:pt x="1743189" y="5959009"/>
                  </a:lnTo>
                  <a:lnTo>
                    <a:pt x="0" y="297950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latin typeface="Segoe UI"/>
              </a:endParaRPr>
            </a:p>
          </p:txBody>
        </p:sp>
      </p:grpSp>
      <p:sp>
        <p:nvSpPr>
          <p:cNvPr id="88" name="Freeform: Shape 87"/>
          <p:cNvSpPr/>
          <p:nvPr/>
        </p:nvSpPr>
        <p:spPr>
          <a:xfrm rot="21199444">
            <a:off x="6862136" y="4855151"/>
            <a:ext cx="3292954" cy="705523"/>
          </a:xfrm>
          <a:custGeom>
            <a:avLst/>
            <a:gdLst>
              <a:gd name="connsiteX0" fmla="*/ 1630787 w 2383222"/>
              <a:gd name="connsiteY0" fmla="*/ 285598 h 956663"/>
              <a:gd name="connsiteX1" fmla="*/ 1278090 w 2383222"/>
              <a:gd name="connsiteY1" fmla="*/ 11278 h 956663"/>
              <a:gd name="connsiteX2" fmla="*/ 233061 w 2383222"/>
              <a:gd name="connsiteY2" fmla="*/ 102718 h 956663"/>
              <a:gd name="connsiteX3" fmla="*/ 69775 w 2383222"/>
              <a:gd name="connsiteY3" fmla="*/ 553386 h 956663"/>
              <a:gd name="connsiteX4" fmla="*/ 1140930 w 2383222"/>
              <a:gd name="connsiteY4" fmla="*/ 938741 h 956663"/>
              <a:gd name="connsiteX5" fmla="*/ 2310055 w 2383222"/>
              <a:gd name="connsiteY5" fmla="*/ 840769 h 956663"/>
              <a:gd name="connsiteX6" fmla="*/ 2205553 w 2383222"/>
              <a:gd name="connsiteY6" fmla="*/ 383569 h 956663"/>
              <a:gd name="connsiteX7" fmla="*/ 1754884 w 2383222"/>
              <a:gd name="connsiteY7" fmla="*/ 141906 h 956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83222" h="956663">
                <a:moveTo>
                  <a:pt x="1630787" y="285598"/>
                </a:moveTo>
                <a:cubicBezTo>
                  <a:pt x="1570915" y="163678"/>
                  <a:pt x="1511044" y="41758"/>
                  <a:pt x="1278090" y="11278"/>
                </a:cubicBezTo>
                <a:cubicBezTo>
                  <a:pt x="1045136" y="-19202"/>
                  <a:pt x="434447" y="12367"/>
                  <a:pt x="233061" y="102718"/>
                </a:cubicBezTo>
                <a:cubicBezTo>
                  <a:pt x="31675" y="193069"/>
                  <a:pt x="-81536" y="414049"/>
                  <a:pt x="69775" y="553386"/>
                </a:cubicBezTo>
                <a:cubicBezTo>
                  <a:pt x="221086" y="692723"/>
                  <a:pt x="767550" y="890844"/>
                  <a:pt x="1140930" y="938741"/>
                </a:cubicBezTo>
                <a:cubicBezTo>
                  <a:pt x="1514310" y="986638"/>
                  <a:pt x="2132618" y="933298"/>
                  <a:pt x="2310055" y="840769"/>
                </a:cubicBezTo>
                <a:cubicBezTo>
                  <a:pt x="2487492" y="748240"/>
                  <a:pt x="2298081" y="500046"/>
                  <a:pt x="2205553" y="383569"/>
                </a:cubicBezTo>
                <a:cubicBezTo>
                  <a:pt x="2113025" y="267092"/>
                  <a:pt x="1933954" y="204499"/>
                  <a:pt x="1754884" y="141906"/>
                </a:cubicBezTo>
              </a:path>
            </a:pathLst>
          </a:custGeom>
          <a:no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9" name="Picture 2" descr="Image result for cassandra logo">
            <a:extLst>
              <a:ext uri="{FF2B5EF4-FFF2-40B4-BE49-F238E27FC236}">
                <a16:creationId xmlns:a16="http://schemas.microsoft.com/office/drawing/2014/main" id="{384C8BDC-3E3A-4C89-BFFE-5CFDE4CDFF53}"/>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504663" y="2613671"/>
            <a:ext cx="1202369" cy="8062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721641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2" descr="http://counterinception.com/sites/default/files/pictures/MatrixBluePillRedPill.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50865"/>
          <a:stretch/>
        </p:blipFill>
        <p:spPr bwMode="auto">
          <a:xfrm>
            <a:off x="6110006" y="896537"/>
            <a:ext cx="4007136" cy="4726436"/>
          </a:xfrm>
          <a:prstGeom prst="rect">
            <a:avLst/>
          </a:prstGeom>
          <a:noFill/>
          <a:effectLst>
            <a:softEdge rad="317500"/>
          </a:effectLst>
          <a:extLst>
            <a:ext uri="{909E8E84-426E-40DD-AFC4-6F175D3DCCD1}">
              <a14:hiddenFill xmlns:a14="http://schemas.microsoft.com/office/drawing/2010/main">
                <a:solidFill>
                  <a:srgbClr val="FFFFFF"/>
                </a:solidFill>
              </a14:hiddenFill>
            </a:ext>
          </a:extLst>
        </p:spPr>
      </p:pic>
      <p:sp>
        <p:nvSpPr>
          <p:cNvPr id="7" name="Title 1"/>
          <p:cNvSpPr>
            <a:spLocks noGrp="1"/>
          </p:cNvSpPr>
          <p:nvPr>
            <p:ph type="title"/>
          </p:nvPr>
        </p:nvSpPr>
        <p:spPr>
          <a:xfrm>
            <a:off x="1007448" y="370901"/>
            <a:ext cx="10382113" cy="1051270"/>
          </a:xfrm>
        </p:spPr>
        <p:txBody>
          <a:bodyPr/>
          <a:lstStyle/>
          <a:p>
            <a:r>
              <a:rPr lang="en-US" dirty="0">
                <a:latin typeface="Segoe UI Light" panose="020B0502040204020203" pitchFamily="34" charset="0"/>
                <a:cs typeface="Segoe UI Light" panose="020B0502040204020203" pitchFamily="34" charset="0"/>
              </a:rPr>
              <a:t>Programmable Data Consistency </a:t>
            </a:r>
          </a:p>
        </p:txBody>
      </p:sp>
      <p:grpSp>
        <p:nvGrpSpPr>
          <p:cNvPr id="6" name="Group 5"/>
          <p:cNvGrpSpPr/>
          <p:nvPr/>
        </p:nvGrpSpPr>
        <p:grpSpPr>
          <a:xfrm>
            <a:off x="1947809" y="1270340"/>
            <a:ext cx="7232740" cy="4726436"/>
            <a:chOff x="5808559" y="830861"/>
            <a:chExt cx="5186924" cy="3052213"/>
          </a:xfrm>
        </p:grpSpPr>
        <p:pic>
          <p:nvPicPr>
            <p:cNvPr id="8" name="Picture 2" descr="http://counterinception.com/sites/default/files/pictures/MatrixBluePillRedPill.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49135"/>
            <a:stretch/>
          </p:blipFill>
          <p:spPr bwMode="auto">
            <a:xfrm>
              <a:off x="5808559" y="830861"/>
              <a:ext cx="2974855" cy="3052213"/>
            </a:xfrm>
            <a:prstGeom prst="rect">
              <a:avLst/>
            </a:prstGeom>
            <a:noFill/>
            <a:effectLst>
              <a:softEdge rad="317500"/>
            </a:effectLst>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6408557" y="3181328"/>
              <a:ext cx="2167246" cy="546083"/>
            </a:xfrm>
            <a:prstGeom prst="rect">
              <a:avLst/>
            </a:prstGeom>
            <a:noFill/>
          </p:spPr>
          <p:txBody>
            <a:bodyPr wrap="square" rtlCol="0">
              <a:spAutoFit/>
            </a:bodyPr>
            <a:lstStyle/>
            <a:p>
              <a:pPr algn="ctr" defTabSz="896214"/>
              <a:r>
                <a:rPr lang="en-US" sz="2400" kern="0" dirty="0">
                  <a:solidFill>
                    <a:prstClr val="white"/>
                  </a:solidFill>
                  <a:latin typeface="Segoe UI Light" panose="020B0502040204020203" pitchFamily="34" charset="0"/>
                  <a:cs typeface="Segoe UI Light" panose="020B0502040204020203" pitchFamily="34" charset="0"/>
                </a:rPr>
                <a:t>Strong consistency High latency</a:t>
              </a:r>
            </a:p>
          </p:txBody>
        </p:sp>
        <p:sp>
          <p:nvSpPr>
            <p:cNvPr id="11" name="TextBox 10"/>
            <p:cNvSpPr txBox="1"/>
            <p:nvPr/>
          </p:nvSpPr>
          <p:spPr>
            <a:xfrm>
              <a:off x="8939034" y="3181328"/>
              <a:ext cx="2056449" cy="535424"/>
            </a:xfrm>
            <a:prstGeom prst="rect">
              <a:avLst/>
            </a:prstGeom>
            <a:noFill/>
          </p:spPr>
          <p:txBody>
            <a:bodyPr wrap="square" rtlCol="0">
              <a:spAutoFit/>
            </a:bodyPr>
            <a:lstStyle/>
            <a:p>
              <a:pPr algn="ctr" defTabSz="896214"/>
              <a:r>
                <a:rPr lang="en-US" sz="2400" kern="0" dirty="0">
                  <a:solidFill>
                    <a:prstClr val="white"/>
                  </a:solidFill>
                  <a:latin typeface="Segoe UI Light" panose="020B0502040204020203" pitchFamily="34" charset="0"/>
                  <a:cs typeface="Segoe UI Light" panose="020B0502040204020203" pitchFamily="34" charset="0"/>
                </a:rPr>
                <a:t>Eventual consistency, Low latency</a:t>
              </a:r>
            </a:p>
          </p:txBody>
        </p:sp>
      </p:grpSp>
      <p:sp>
        <p:nvSpPr>
          <p:cNvPr id="9" name="Title 1"/>
          <p:cNvSpPr txBox="1">
            <a:spLocks/>
          </p:cNvSpPr>
          <p:nvPr/>
        </p:nvSpPr>
        <p:spPr>
          <a:xfrm>
            <a:off x="2471051" y="6199915"/>
            <a:ext cx="6670905" cy="644991"/>
          </a:xfrm>
          <a:prstGeom prst="rect">
            <a:avLst/>
          </a:prstGeom>
        </p:spPr>
        <p:txBody>
          <a:bodyPr vert="horz" wrap="square" lIns="143407" tIns="89630" rIns="143407" bIns="89630" rtlCol="0" anchor="t">
            <a:noAutofit/>
          </a:bodyPr>
          <a:lstStyle>
            <a:lvl1pPr marL="282575" indent="-282575" algn="l" defTabSz="932742" rtl="0" eaLnBrk="1" latinLnBrk="0" hangingPunct="1">
              <a:lnSpc>
                <a:spcPct val="90000"/>
              </a:lnSpc>
              <a:spcBef>
                <a:spcPct val="0"/>
              </a:spcBef>
              <a:buNone/>
              <a:tabLst>
                <a:tab pos="282575" algn="l"/>
              </a:tabLst>
              <a:defRPr lang="en-US" sz="6000" b="0" kern="1200" cap="none" spc="-102"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76954" indent="-276954" algn="ctr" defTabSz="914192">
              <a:tabLst>
                <a:tab pos="276954" algn="l"/>
              </a:tabLst>
            </a:pPr>
            <a:r>
              <a:rPr lang="en-US" sz="3921" i="1" spc="-100" dirty="0">
                <a:gradFill>
                  <a:gsLst>
                    <a:gs pos="1250">
                      <a:prstClr val="white"/>
                    </a:gs>
                    <a:gs pos="100000">
                      <a:prstClr val="white"/>
                    </a:gs>
                  </a:gsLst>
                  <a:lin ang="5400000" scaled="0"/>
                </a:gradFill>
                <a:latin typeface="Calibri Light" panose="020F0302020204030204"/>
              </a:rPr>
              <a:t>  Choice for most distributed apps</a:t>
            </a:r>
            <a:endParaRPr lang="en-US" sz="3921" i="1" spc="-100" dirty="0">
              <a:solidFill>
                <a:srgbClr val="FF0000"/>
              </a:solidFill>
              <a:latin typeface="Calibri Light" panose="020F0302020204030204"/>
            </a:endParaRPr>
          </a:p>
        </p:txBody>
      </p:sp>
      <p:sp>
        <p:nvSpPr>
          <p:cNvPr id="2" name="Right Brace 1"/>
          <p:cNvSpPr/>
          <p:nvPr/>
        </p:nvSpPr>
        <p:spPr>
          <a:xfrm rot="5400000">
            <a:off x="5869810" y="2670990"/>
            <a:ext cx="291724" cy="6462428"/>
          </a:xfrm>
          <a:prstGeom prst="rightBrace">
            <a:avLst>
              <a:gd name="adj1" fmla="val 135678"/>
              <a:gd name="adj2"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a:solidFill>
                <a:prstClr val="white"/>
              </a:solidFill>
              <a:latin typeface="Calibri" panose="020F0502020204030204"/>
            </a:endParaRPr>
          </a:p>
        </p:txBody>
      </p:sp>
    </p:spTree>
    <p:extLst>
      <p:ext uri="{BB962C8B-B14F-4D97-AF65-F5344CB8AC3E}">
        <p14:creationId xmlns:p14="http://schemas.microsoft.com/office/powerpoint/2010/main" val="2302276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381003" y="447747"/>
            <a:ext cx="11429999" cy="781460"/>
          </a:xfrm>
          <a:prstGeom prst="rect">
            <a:avLst/>
          </a:prstGeom>
          <a:solidFill>
            <a:schemeClr val="bg1">
              <a:alpha val="77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0984" rIns="0" bIns="40984" numCol="1" rtlCol="0" anchor="ctr" anchorCtr="0" compatLnSpc="1">
            <a:prstTxWarp prst="textNoShape">
              <a:avLst/>
            </a:prstTxWarp>
          </a:bodyPr>
          <a:lstStyle/>
          <a:p>
            <a:pPr algn="ctr" defTabSz="819450" fontAlgn="base">
              <a:spcBef>
                <a:spcPct val="0"/>
              </a:spcBef>
              <a:spcAft>
                <a:spcPct val="0"/>
              </a:spcAft>
            </a:pPr>
            <a:endParaRPr lang="en-US" sz="3500" dirty="0">
              <a:solidFill>
                <a:prstClr val="black"/>
              </a:solidFill>
              <a:latin typeface="Segoe UI Black" panose="020B0A02040204020203" pitchFamily="34" charset="0"/>
              <a:ea typeface="Segoe UI Black" panose="020B0A02040204020203" pitchFamily="34" charset="0"/>
              <a:cs typeface="Segoe UI Black" panose="020B0A02040204020203" pitchFamily="34" charset="0"/>
              <a:sym typeface="Segoe UI"/>
            </a:endParaRPr>
          </a:p>
        </p:txBody>
      </p:sp>
      <p:sp>
        <p:nvSpPr>
          <p:cNvPr id="6" name="Title 5"/>
          <p:cNvSpPr>
            <a:spLocks noGrp="1"/>
          </p:cNvSpPr>
          <p:nvPr>
            <p:ph type="title"/>
          </p:nvPr>
        </p:nvSpPr>
        <p:spPr>
          <a:xfrm>
            <a:off x="493346" y="315358"/>
            <a:ext cx="11065244" cy="913849"/>
          </a:xfrm>
        </p:spPr>
        <p:txBody>
          <a:bodyPr>
            <a:noAutofit/>
          </a:bodyPr>
          <a:lstStyle/>
          <a:p>
            <a:pPr algn="l"/>
            <a:r>
              <a:rPr lang="en-US" sz="4000" dirty="0">
                <a:latin typeface="Segoe UI Light" panose="020B0502040204020203" pitchFamily="34" charset="0"/>
                <a:ea typeface="Segoe UI Black" panose="020B0A02040204020203" pitchFamily="34" charset="0"/>
                <a:cs typeface="Segoe UI Light" panose="020B0502040204020203" pitchFamily="34" charset="0"/>
              </a:rPr>
              <a:t>The wild west of consistency models…</a:t>
            </a:r>
          </a:p>
        </p:txBody>
      </p:sp>
      <p:pic>
        <p:nvPicPr>
          <p:cNvPr id="7" name="Picture 2" descr="https://pbs.twimg.com/media/CgUIyYSXIAAerb2.jpg:lar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4024" y="1253038"/>
            <a:ext cx="10543885" cy="5642625"/>
          </a:xfrm>
          <a:prstGeom prst="rect">
            <a:avLst/>
          </a:prstGeom>
          <a:noFill/>
          <a:extLst/>
        </p:spPr>
      </p:pic>
    </p:spTree>
    <p:extLst>
      <p:ext uri="{BB962C8B-B14F-4D97-AF65-F5344CB8AC3E}">
        <p14:creationId xmlns:p14="http://schemas.microsoft.com/office/powerpoint/2010/main" val="59317011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1" name="Title 10"/>
          <p:cNvSpPr>
            <a:spLocks noGrp="1"/>
          </p:cNvSpPr>
          <p:nvPr>
            <p:ph type="title"/>
          </p:nvPr>
        </p:nvSpPr>
        <p:spPr>
          <a:xfrm>
            <a:off x="335655" y="818922"/>
            <a:ext cx="11642721" cy="917445"/>
          </a:xfrm>
        </p:spPr>
        <p:txBody>
          <a:bodyPr>
            <a:noAutofit/>
          </a:bodyPr>
          <a:lstStyle/>
          <a:p>
            <a:pPr algn="ctr"/>
            <a:r>
              <a:rPr lang="en-US" sz="5882" dirty="0">
                <a:solidFill>
                  <a:schemeClr val="bg1"/>
                </a:solidFill>
                <a:latin typeface="Segoe UI Light" panose="020B0502040204020203" pitchFamily="34" charset="0"/>
                <a:cs typeface="Segoe UI Light" panose="020B0502040204020203" pitchFamily="34" charset="0"/>
              </a:rPr>
              <a:t>Choices of Consistency</a:t>
            </a:r>
            <a:br>
              <a:rPr lang="en-US" sz="5882" dirty="0">
                <a:solidFill>
                  <a:schemeClr val="bg1"/>
                </a:solidFill>
                <a:latin typeface="Segoe UI Light" panose="020B0502040204020203" pitchFamily="34" charset="0"/>
                <a:cs typeface="Segoe UI Light" panose="020B0502040204020203" pitchFamily="34" charset="0"/>
              </a:rPr>
            </a:br>
            <a:endParaRPr lang="en-US" sz="5882" dirty="0">
              <a:solidFill>
                <a:schemeClr val="bg1"/>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479657" y="5528619"/>
            <a:ext cx="11498719" cy="467676"/>
          </a:xfrm>
          <a:prstGeom prst="rect">
            <a:avLst/>
          </a:prstGeom>
          <a:noFill/>
        </p:spPr>
        <p:txBody>
          <a:bodyPr wrap="square" rtlCol="0">
            <a:spAutoFit/>
          </a:bodyPr>
          <a:lstStyle/>
          <a:p>
            <a:pPr algn="ctr" defTabSz="914225"/>
            <a:r>
              <a:rPr lang="en-US" sz="2451" b="1" kern="0" dirty="0">
                <a:solidFill>
                  <a:srgbClr val="3999C6"/>
                </a:solidFill>
                <a:latin typeface="Segoe UI Light" panose="020B0502040204020203" pitchFamily="34" charset="0"/>
                <a:ea typeface="Segoe UI Semibold" charset="0"/>
                <a:cs typeface="Segoe UI Light" panose="020B0502040204020203" pitchFamily="34" charset="0"/>
              </a:rPr>
              <a:t>Choose from five defined consistency levels for low latency and high availability</a:t>
            </a:r>
          </a:p>
        </p:txBody>
      </p:sp>
      <p:sp>
        <p:nvSpPr>
          <p:cNvPr id="32" name="Rectangle 31"/>
          <p:cNvSpPr/>
          <p:nvPr/>
        </p:nvSpPr>
        <p:spPr>
          <a:xfrm>
            <a:off x="3179915" y="3657600"/>
            <a:ext cx="618772" cy="618772"/>
          </a:xfrm>
          <a:prstGeom prst="rect">
            <a:avLst/>
          </a:prstGeom>
          <a:solidFill>
            <a:srgbClr val="3999C6"/>
          </a:solidFill>
          <a:ln w="19050" cap="flat" cmpd="sng" algn="ctr">
            <a:solidFill>
              <a:schemeClr val="bg1"/>
            </a:solidFill>
            <a:prstDash val="solid"/>
            <a:miter lim="800000"/>
          </a:ln>
          <a:effectLst/>
        </p:spPr>
        <p:txBody>
          <a:bodyPr rtlCol="0" anchor="ctr"/>
          <a:lstStyle/>
          <a:p>
            <a:pPr algn="ctr" defTabSz="914225">
              <a:defRPr/>
            </a:pPr>
            <a:endParaRPr lang="en-US" kern="0" dirty="0">
              <a:solidFill>
                <a:srgbClr val="FFFFFF"/>
              </a:solidFill>
              <a:latin typeface="Calibri" panose="020F0502020204030204"/>
              <a:ea typeface=""/>
              <a:cs typeface=""/>
            </a:endParaRPr>
          </a:p>
        </p:txBody>
      </p:sp>
      <p:sp>
        <p:nvSpPr>
          <p:cNvPr id="36" name="Oval 35"/>
          <p:cNvSpPr/>
          <p:nvPr/>
        </p:nvSpPr>
        <p:spPr>
          <a:xfrm>
            <a:off x="8393316" y="3657600"/>
            <a:ext cx="618772" cy="618772"/>
          </a:xfrm>
          <a:prstGeom prst="ellipse">
            <a:avLst/>
          </a:prstGeom>
          <a:solidFill>
            <a:srgbClr val="D7EDF7"/>
          </a:solidFill>
          <a:ln w="19050" cap="flat" cmpd="sng" algn="ctr">
            <a:solidFill>
              <a:schemeClr val="bg1"/>
            </a:solidFill>
            <a:prstDash val="solid"/>
            <a:miter lim="800000"/>
          </a:ln>
          <a:effectLst/>
        </p:spPr>
        <p:txBody>
          <a:bodyPr rtlCol="0" anchor="ctr"/>
          <a:lstStyle/>
          <a:p>
            <a:pPr algn="ctr" defTabSz="914225">
              <a:defRPr/>
            </a:pPr>
            <a:endParaRPr lang="en-US" kern="0" dirty="0">
              <a:solidFill>
                <a:srgbClr val="FFFFFF"/>
              </a:solidFill>
              <a:latin typeface="Calibri" panose="020F0502020204030204"/>
              <a:ea typeface=""/>
              <a:cs typeface=""/>
            </a:endParaRPr>
          </a:p>
        </p:txBody>
      </p:sp>
      <p:sp>
        <p:nvSpPr>
          <p:cNvPr id="37" name="TextBox 36"/>
          <p:cNvSpPr txBox="1"/>
          <p:nvPr/>
        </p:nvSpPr>
        <p:spPr>
          <a:xfrm>
            <a:off x="3257699" y="4326586"/>
            <a:ext cx="463202" cy="280678"/>
          </a:xfrm>
          <a:prstGeom prst="rect">
            <a:avLst/>
          </a:prstGeom>
          <a:noFill/>
        </p:spPr>
        <p:txBody>
          <a:bodyPr wrap="none" lIns="0" rIns="0" rtlCol="0">
            <a:spAutoFit/>
          </a:bodyPr>
          <a:lstStyle/>
          <a:p>
            <a:pPr algn="ctr" defTabSz="914225"/>
            <a:r>
              <a:rPr lang="en-US" sz="1200" kern="0" dirty="0">
                <a:solidFill>
                  <a:srgbClr val="FFFFFF"/>
                </a:solidFill>
                <a:latin typeface="Segoe UI" charset="0"/>
                <a:ea typeface="Segoe UI" charset="0"/>
                <a:cs typeface="Segoe UI" charset="0"/>
              </a:rPr>
              <a:t>Strong</a:t>
            </a:r>
          </a:p>
        </p:txBody>
      </p:sp>
      <p:grpSp>
        <p:nvGrpSpPr>
          <p:cNvPr id="3" name="Group 2"/>
          <p:cNvGrpSpPr/>
          <p:nvPr/>
        </p:nvGrpSpPr>
        <p:grpSpPr>
          <a:xfrm>
            <a:off x="4153944" y="3657602"/>
            <a:ext cx="3811267" cy="945888"/>
            <a:chOff x="4237239" y="3497262"/>
            <a:chExt cx="3887691" cy="964855"/>
          </a:xfrm>
        </p:grpSpPr>
        <p:sp>
          <p:nvSpPr>
            <p:cNvPr id="33" name="Rectangle: Rounded Corners 94"/>
            <p:cNvSpPr/>
            <p:nvPr/>
          </p:nvSpPr>
          <p:spPr>
            <a:xfrm>
              <a:off x="4573163" y="3497262"/>
              <a:ext cx="631180" cy="631180"/>
            </a:xfrm>
            <a:prstGeom prst="roundRect">
              <a:avLst/>
            </a:prstGeom>
            <a:solidFill>
              <a:srgbClr val="3999C6">
                <a:alpha val="75000"/>
              </a:srgbClr>
            </a:solidFill>
            <a:ln w="19050" cap="flat" cmpd="sng" algn="ctr">
              <a:solidFill>
                <a:schemeClr val="bg1"/>
              </a:solidFill>
              <a:prstDash val="solid"/>
              <a:miter lim="800000"/>
            </a:ln>
            <a:effectLst/>
          </p:spPr>
          <p:txBody>
            <a:bodyPr rtlCol="0" anchor="ctr"/>
            <a:lstStyle/>
            <a:p>
              <a:pPr algn="ctr" defTabSz="914225">
                <a:defRPr/>
              </a:pPr>
              <a:endParaRPr lang="en-US" kern="0" dirty="0">
                <a:solidFill>
                  <a:srgbClr val="FFFFFF"/>
                </a:solidFill>
                <a:latin typeface="Calibri" panose="020F0502020204030204"/>
                <a:ea typeface=""/>
                <a:cs typeface=""/>
              </a:endParaRPr>
            </a:p>
          </p:txBody>
        </p:sp>
        <p:sp>
          <p:nvSpPr>
            <p:cNvPr id="34" name="Rectangle: Rounded Corners 95"/>
            <p:cNvSpPr/>
            <p:nvPr/>
          </p:nvSpPr>
          <p:spPr>
            <a:xfrm>
              <a:off x="5902648" y="3497262"/>
              <a:ext cx="631180" cy="631180"/>
            </a:xfrm>
            <a:prstGeom prst="roundRect">
              <a:avLst>
                <a:gd name="adj" fmla="val 32189"/>
              </a:avLst>
            </a:prstGeom>
            <a:solidFill>
              <a:srgbClr val="3999C6">
                <a:alpha val="50000"/>
              </a:srgbClr>
            </a:solidFill>
            <a:ln w="19050" cap="flat" cmpd="sng" algn="ctr">
              <a:solidFill>
                <a:schemeClr val="bg1"/>
              </a:solidFill>
              <a:prstDash val="solid"/>
              <a:miter lim="800000"/>
            </a:ln>
            <a:effectLst/>
          </p:spPr>
          <p:txBody>
            <a:bodyPr rtlCol="0" anchor="ctr"/>
            <a:lstStyle/>
            <a:p>
              <a:pPr algn="ctr" defTabSz="914225">
                <a:defRPr/>
              </a:pPr>
              <a:endParaRPr lang="en-US" kern="0" dirty="0">
                <a:solidFill>
                  <a:srgbClr val="FFFFFF"/>
                </a:solidFill>
                <a:latin typeface="Calibri" panose="020F0502020204030204"/>
                <a:ea typeface=""/>
                <a:cs typeface=""/>
              </a:endParaRPr>
            </a:p>
          </p:txBody>
        </p:sp>
        <p:sp>
          <p:nvSpPr>
            <p:cNvPr id="35" name="Rectangle: Rounded Corners 96"/>
            <p:cNvSpPr/>
            <p:nvPr/>
          </p:nvSpPr>
          <p:spPr>
            <a:xfrm>
              <a:off x="7232133" y="3497262"/>
              <a:ext cx="631180" cy="631180"/>
            </a:xfrm>
            <a:prstGeom prst="roundRect">
              <a:avLst>
                <a:gd name="adj" fmla="val 42704"/>
              </a:avLst>
            </a:prstGeom>
            <a:solidFill>
              <a:srgbClr val="3999C6">
                <a:alpha val="25000"/>
              </a:srgbClr>
            </a:solidFill>
            <a:ln w="19050" cap="flat" cmpd="sng" algn="ctr">
              <a:solidFill>
                <a:schemeClr val="bg1"/>
              </a:solidFill>
              <a:prstDash val="solid"/>
              <a:miter lim="800000"/>
            </a:ln>
            <a:effectLst/>
          </p:spPr>
          <p:txBody>
            <a:bodyPr rtlCol="0" anchor="ctr"/>
            <a:lstStyle/>
            <a:p>
              <a:pPr algn="ctr" defTabSz="914225">
                <a:defRPr/>
              </a:pPr>
              <a:endParaRPr lang="en-US" kern="0" dirty="0">
                <a:solidFill>
                  <a:srgbClr val="FFFFFF"/>
                </a:solidFill>
                <a:latin typeface="Calibri" panose="020F0502020204030204"/>
                <a:ea typeface=""/>
                <a:cs typeface=""/>
              </a:endParaRPr>
            </a:p>
          </p:txBody>
        </p:sp>
        <p:sp>
          <p:nvSpPr>
            <p:cNvPr id="38" name="TextBox 37"/>
            <p:cNvSpPr txBox="1"/>
            <p:nvPr/>
          </p:nvSpPr>
          <p:spPr>
            <a:xfrm>
              <a:off x="4237239" y="4174583"/>
              <a:ext cx="1303028" cy="286306"/>
            </a:xfrm>
            <a:prstGeom prst="rect">
              <a:avLst/>
            </a:prstGeom>
            <a:noFill/>
          </p:spPr>
          <p:txBody>
            <a:bodyPr wrap="none" lIns="0" rIns="0" rtlCol="0">
              <a:spAutoFit/>
            </a:bodyPr>
            <a:lstStyle/>
            <a:p>
              <a:pPr algn="ctr" defTabSz="914225"/>
              <a:r>
                <a:rPr lang="en-US" sz="1200" kern="0" dirty="0">
                  <a:solidFill>
                    <a:srgbClr val="FFFFFF"/>
                  </a:solidFill>
                  <a:latin typeface="Segoe UI" charset="0"/>
                  <a:ea typeface="Segoe UI" charset="0"/>
                  <a:cs typeface="Segoe UI" charset="0"/>
                </a:rPr>
                <a:t>Bounded-stateless</a:t>
              </a:r>
            </a:p>
          </p:txBody>
        </p:sp>
        <p:sp>
          <p:nvSpPr>
            <p:cNvPr id="39" name="TextBox 38"/>
            <p:cNvSpPr txBox="1"/>
            <p:nvPr/>
          </p:nvSpPr>
          <p:spPr>
            <a:xfrm>
              <a:off x="5959884" y="4163508"/>
              <a:ext cx="516706" cy="282553"/>
            </a:xfrm>
            <a:prstGeom prst="rect">
              <a:avLst/>
            </a:prstGeom>
            <a:noFill/>
          </p:spPr>
          <p:txBody>
            <a:bodyPr wrap="none" lIns="0" rIns="0" rtlCol="0">
              <a:spAutoFit/>
            </a:bodyPr>
            <a:lstStyle/>
            <a:p>
              <a:pPr algn="ctr" defTabSz="914225"/>
              <a:r>
                <a:rPr lang="en-US" sz="1200" kern="0" dirty="0">
                  <a:solidFill>
                    <a:srgbClr val="FFFFFF"/>
                  </a:solidFill>
                  <a:latin typeface="Segoe UI" charset="0"/>
                  <a:ea typeface="Segoe UI" charset="0"/>
                  <a:cs typeface="Segoe UI" charset="0"/>
                </a:rPr>
                <a:t>Session</a:t>
              </a:r>
            </a:p>
          </p:txBody>
        </p:sp>
        <p:sp>
          <p:nvSpPr>
            <p:cNvPr id="40" name="TextBox 39"/>
            <p:cNvSpPr txBox="1"/>
            <p:nvPr/>
          </p:nvSpPr>
          <p:spPr>
            <a:xfrm>
              <a:off x="6970517" y="4179564"/>
              <a:ext cx="1154413" cy="282553"/>
            </a:xfrm>
            <a:prstGeom prst="rect">
              <a:avLst/>
            </a:prstGeom>
            <a:noFill/>
          </p:spPr>
          <p:txBody>
            <a:bodyPr wrap="none" lIns="0" rIns="0" rtlCol="0">
              <a:spAutoFit/>
            </a:bodyPr>
            <a:lstStyle/>
            <a:p>
              <a:pPr algn="ctr" defTabSz="914225"/>
              <a:r>
                <a:rPr lang="en-US" sz="1200" kern="0" dirty="0">
                  <a:solidFill>
                    <a:srgbClr val="FFFFFF"/>
                  </a:solidFill>
                  <a:latin typeface="Segoe UI" charset="0"/>
                  <a:ea typeface="Segoe UI" charset="0"/>
                  <a:cs typeface="Segoe UI" charset="0"/>
                </a:rPr>
                <a:t>Consistent prefix</a:t>
              </a:r>
            </a:p>
          </p:txBody>
        </p:sp>
      </p:grpSp>
      <p:sp>
        <p:nvSpPr>
          <p:cNvPr id="41" name="TextBox 40"/>
          <p:cNvSpPr txBox="1"/>
          <p:nvPr/>
        </p:nvSpPr>
        <p:spPr>
          <a:xfrm>
            <a:off x="8415766" y="4321607"/>
            <a:ext cx="573875" cy="276999"/>
          </a:xfrm>
          <a:prstGeom prst="rect">
            <a:avLst/>
          </a:prstGeom>
          <a:noFill/>
        </p:spPr>
        <p:txBody>
          <a:bodyPr wrap="none" lIns="0" rIns="0" rtlCol="0">
            <a:spAutoFit/>
          </a:bodyPr>
          <a:lstStyle/>
          <a:p>
            <a:pPr algn="ctr" defTabSz="914225"/>
            <a:r>
              <a:rPr lang="en-US" sz="1200" kern="0" dirty="0">
                <a:solidFill>
                  <a:srgbClr val="FFFFFF"/>
                </a:solidFill>
                <a:latin typeface="Segoe UI" charset="0"/>
                <a:ea typeface="Segoe UI" charset="0"/>
                <a:cs typeface="Segoe UI" charset="0"/>
              </a:rPr>
              <a:t>Eventual</a:t>
            </a:r>
          </a:p>
        </p:txBody>
      </p:sp>
      <p:grpSp>
        <p:nvGrpSpPr>
          <p:cNvPr id="7" name="Group 6"/>
          <p:cNvGrpSpPr/>
          <p:nvPr/>
        </p:nvGrpSpPr>
        <p:grpSpPr>
          <a:xfrm>
            <a:off x="3179913" y="4716343"/>
            <a:ext cx="5832175" cy="266031"/>
            <a:chOff x="5630520" y="4762806"/>
            <a:chExt cx="5833002" cy="266068"/>
          </a:xfrm>
        </p:grpSpPr>
        <p:sp>
          <p:nvSpPr>
            <p:cNvPr id="31" name="Rectangle 30"/>
            <p:cNvSpPr/>
            <p:nvPr/>
          </p:nvSpPr>
          <p:spPr>
            <a:xfrm rot="10800000" flipV="1">
              <a:off x="5630520" y="4869455"/>
              <a:ext cx="5833002" cy="527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kern="0">
                <a:solidFill>
                  <a:srgbClr val="FFFFFF"/>
                </a:solidFill>
                <a:latin typeface="Segoe UI"/>
              </a:endParaRPr>
            </a:p>
          </p:txBody>
        </p:sp>
        <p:sp>
          <p:nvSpPr>
            <p:cNvPr id="42" name="Rectangle: Rounded Corners 95"/>
            <p:cNvSpPr/>
            <p:nvPr/>
          </p:nvSpPr>
          <p:spPr>
            <a:xfrm>
              <a:off x="8413987" y="4762806"/>
              <a:ext cx="266068" cy="266068"/>
            </a:xfrm>
            <a:prstGeom prst="roundRect">
              <a:avLst>
                <a:gd name="adj" fmla="val 32189"/>
              </a:avLst>
            </a:prstGeom>
            <a:solidFill>
              <a:schemeClr val="accent2"/>
            </a:solidFill>
            <a:ln w="19050" cap="flat" cmpd="sng" algn="ctr">
              <a:solidFill>
                <a:schemeClr val="bg1"/>
              </a:solidFill>
              <a:prstDash val="solid"/>
              <a:miter lim="800000"/>
            </a:ln>
            <a:effectLst/>
          </p:spPr>
          <p:txBody>
            <a:bodyPr rtlCol="0" anchor="ctr"/>
            <a:lstStyle/>
            <a:p>
              <a:pPr algn="ctr" defTabSz="914225">
                <a:defRPr/>
              </a:pPr>
              <a:endParaRPr lang="en-US" kern="0" dirty="0">
                <a:solidFill>
                  <a:srgbClr val="FFFFFF"/>
                </a:solidFill>
                <a:latin typeface="Calibri" panose="020F0502020204030204"/>
                <a:ea typeface=""/>
                <a:cs typeface=""/>
              </a:endParaRPr>
            </a:p>
          </p:txBody>
        </p:sp>
      </p:grpSp>
      <p:pic>
        <p:nvPicPr>
          <p:cNvPr id="22" name="Picture 2" descr="http://counterinception.com/sites/default/files/pictures/MatrixBluePillRedPill.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50865"/>
          <a:stretch/>
        </p:blipFill>
        <p:spPr bwMode="auto">
          <a:xfrm>
            <a:off x="7913986" y="3036692"/>
            <a:ext cx="1577433" cy="1860589"/>
          </a:xfrm>
          <a:prstGeom prst="rect">
            <a:avLst/>
          </a:prstGeom>
          <a:noFill/>
          <a:effectLst>
            <a:softEdge rad="317500"/>
          </a:effectLst>
          <a:extLst>
            <a:ext uri="{909E8E84-426E-40DD-AFC4-6F175D3DCCD1}">
              <a14:hiddenFill xmlns:a14="http://schemas.microsoft.com/office/drawing/2010/main">
                <a:solidFill>
                  <a:srgbClr val="FFFFFF"/>
                </a:solidFill>
              </a14:hiddenFill>
            </a:ext>
          </a:extLst>
        </p:spPr>
      </p:pic>
      <p:pic>
        <p:nvPicPr>
          <p:cNvPr id="23" name="Picture 2" descr="http://counterinception.com/sites/default/files/pictures/MatrixBluePillRedPill.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49135"/>
          <a:stretch/>
        </p:blipFill>
        <p:spPr bwMode="auto">
          <a:xfrm>
            <a:off x="2572309" y="3209388"/>
            <a:ext cx="1589794" cy="1871019"/>
          </a:xfrm>
          <a:prstGeom prst="rect">
            <a:avLst/>
          </a:prstGeom>
          <a:noFill/>
          <a:effectLst>
            <a:softEdge rad="317500"/>
          </a:effectLst>
          <a:extLst>
            <a:ext uri="{909E8E84-426E-40DD-AFC4-6F175D3DCCD1}">
              <a14:hiddenFill xmlns:a14="http://schemas.microsoft.com/office/drawing/2010/main">
                <a:solidFill>
                  <a:srgbClr val="FFFFFF"/>
                </a:solidFill>
              </a14:hiddenFill>
            </a:ext>
          </a:extLst>
        </p:spPr>
      </p:pic>
      <p:grpSp>
        <p:nvGrpSpPr>
          <p:cNvPr id="2" name="Group 1"/>
          <p:cNvGrpSpPr/>
          <p:nvPr/>
        </p:nvGrpSpPr>
        <p:grpSpPr>
          <a:xfrm>
            <a:off x="2062088" y="2318765"/>
            <a:ext cx="8889546" cy="1185189"/>
            <a:chOff x="2103437" y="2131581"/>
            <a:chExt cx="9067800" cy="1208954"/>
          </a:xfrm>
        </p:grpSpPr>
        <p:sp>
          <p:nvSpPr>
            <p:cNvPr id="24" name="Right Brace 23"/>
            <p:cNvSpPr/>
            <p:nvPr/>
          </p:nvSpPr>
          <p:spPr>
            <a:xfrm rot="16200000">
              <a:off x="5941517" y="1090353"/>
              <a:ext cx="435205" cy="4065159"/>
            </a:xfrm>
            <a:prstGeom prst="rightBrace">
              <a:avLst>
                <a:gd name="adj1" fmla="val 135678"/>
                <a:gd name="adj2" fmla="val 50000"/>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a:solidFill>
                  <a:srgbClr val="000000"/>
                </a:solidFill>
                <a:latin typeface="Segoe UI"/>
              </a:endParaRPr>
            </a:p>
          </p:txBody>
        </p:sp>
        <p:sp>
          <p:nvSpPr>
            <p:cNvPr id="25" name="TextBox 24">
              <a:extLst/>
            </p:cNvPr>
            <p:cNvSpPr txBox="1"/>
            <p:nvPr/>
          </p:nvSpPr>
          <p:spPr>
            <a:xfrm>
              <a:off x="2103437" y="2131581"/>
              <a:ext cx="9067800" cy="627864"/>
            </a:xfrm>
            <a:prstGeom prst="rect">
              <a:avLst/>
            </a:prstGeom>
            <a:noFill/>
          </p:spPr>
          <p:txBody>
            <a:bodyPr wrap="square" lIns="179285" tIns="143428" rIns="179285" bIns="143428" rtlCol="0">
              <a:spAutoFit/>
            </a:bodyPr>
            <a:lstStyle/>
            <a:p>
              <a:pPr defTabSz="914367">
                <a:lnSpc>
                  <a:spcPct val="90000"/>
                </a:lnSpc>
                <a:spcAft>
                  <a:spcPts val="588"/>
                </a:spcAft>
              </a:pPr>
              <a:r>
                <a:rPr lang="en-US" sz="2353" u="sng" dirty="0">
                  <a:solidFill>
                    <a:srgbClr val="FFFFFF"/>
                  </a:solidFill>
                  <a:latin typeface="Segoe UI Light" panose="020B0502040204020203" pitchFamily="34" charset="0"/>
                  <a:cs typeface="Segoe UI Light" panose="020B0502040204020203" pitchFamily="34" charset="0"/>
                </a:rPr>
                <a:t>Most</a:t>
              </a:r>
              <a:r>
                <a:rPr lang="en-US" sz="2353" dirty="0">
                  <a:solidFill>
                    <a:srgbClr val="FFFFFF"/>
                  </a:solidFill>
                  <a:latin typeface="Segoe UI Light" panose="020B0502040204020203" pitchFamily="34" charset="0"/>
                  <a:cs typeface="Segoe UI Light" panose="020B0502040204020203" pitchFamily="34" charset="0"/>
                </a:rPr>
                <a:t> real-life applications do </a:t>
              </a:r>
              <a:r>
                <a:rPr lang="en-US" sz="2353" u="sng" dirty="0">
                  <a:solidFill>
                    <a:srgbClr val="FFFFFF"/>
                  </a:solidFill>
                  <a:latin typeface="Segoe UI Light" panose="020B0502040204020203" pitchFamily="34" charset="0"/>
                  <a:cs typeface="Segoe UI Light" panose="020B0502040204020203" pitchFamily="34" charset="0"/>
                </a:rPr>
                <a:t>not</a:t>
              </a:r>
              <a:r>
                <a:rPr lang="en-US" sz="2353" dirty="0">
                  <a:solidFill>
                    <a:srgbClr val="FFFFFF"/>
                  </a:solidFill>
                  <a:latin typeface="Segoe UI Light" panose="020B0502040204020203" pitchFamily="34" charset="0"/>
                  <a:cs typeface="Segoe UI Light" panose="020B0502040204020203" pitchFamily="34" charset="0"/>
                </a:rPr>
                <a:t> fall into these two extremes</a:t>
              </a:r>
            </a:p>
          </p:txBody>
        </p:sp>
      </p:grpSp>
    </p:spTree>
    <p:extLst>
      <p:ext uri="{BB962C8B-B14F-4D97-AF65-F5344CB8AC3E}">
        <p14:creationId xmlns:p14="http://schemas.microsoft.com/office/powerpoint/2010/main" val="32319650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xit" presetSubtype="0" fill="hold" nodeType="withEffect">
                                  <p:stCondLst>
                                    <p:cond delay="0"/>
                                  </p:stCondLst>
                                  <p:childTnLst>
                                    <p:animEffect transition="out" filter="fade">
                                      <p:cBhvr>
                                        <p:cTn id="9" dur="500"/>
                                        <p:tgtEl>
                                          <p:spTgt spid="23"/>
                                        </p:tgtEl>
                                      </p:cBhvr>
                                    </p:animEffect>
                                    <p:set>
                                      <p:cBhvr>
                                        <p:cTn id="10" dur="1" fill="hold">
                                          <p:stCondLst>
                                            <p:cond delay="499"/>
                                          </p:stCondLst>
                                        </p:cTn>
                                        <p:tgtEl>
                                          <p:spTgt spid="23"/>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22"/>
                                        </p:tgtEl>
                                      </p:cBhvr>
                                    </p:animEffect>
                                    <p:set>
                                      <p:cBhvr>
                                        <p:cTn id="13" dur="1" fill="hold">
                                          <p:stCondLst>
                                            <p:cond delay="499"/>
                                          </p:stCondLst>
                                        </p:cTn>
                                        <p:tgtEl>
                                          <p:spTgt spid="22"/>
                                        </p:tgtEl>
                                        <p:attrNameLst>
                                          <p:attrName>style.visibility</p:attrName>
                                        </p:attrNameLst>
                                      </p:cBhvr>
                                      <p:to>
                                        <p:strVal val="hidden"/>
                                      </p:to>
                                    </p:set>
                                  </p:childTnLst>
                                </p:cTn>
                              </p:par>
                              <p:par>
                                <p:cTn id="14" presetID="10" presetClass="entr" presetSubtype="0" fill="hold" grpId="0" nodeType="withEffect">
                                  <p:stCondLst>
                                    <p:cond delay="0"/>
                                  </p:stCondLst>
                                  <p:childTnLst>
                                    <p:set>
                                      <p:cBhvr>
                                        <p:cTn id="15" dur="1" fill="hold">
                                          <p:stCondLst>
                                            <p:cond delay="0"/>
                                          </p:stCondLst>
                                        </p:cTn>
                                        <p:tgtEl>
                                          <p:spTgt spid="30"/>
                                        </p:tgtEl>
                                        <p:attrNameLst>
                                          <p:attrName>style.visibility</p:attrName>
                                        </p:attrNameLst>
                                      </p:cBhvr>
                                      <p:to>
                                        <p:strVal val="visible"/>
                                      </p:to>
                                    </p:set>
                                    <p:animEffect transition="in" filter="fade">
                                      <p:cBhvr>
                                        <p:cTn id="16" dur="500"/>
                                        <p:tgtEl>
                                          <p:spTgt spid="30"/>
                                        </p:tgtEl>
                                      </p:cBhvr>
                                    </p:animEffect>
                                  </p:childTnLst>
                                </p:cTn>
                              </p:par>
                              <p:par>
                                <p:cTn id="17" presetID="10" presetClass="exit" presetSubtype="0" fill="hold" nodeType="withEffect">
                                  <p:stCondLst>
                                    <p:cond delay="0"/>
                                  </p:stCondLst>
                                  <p:childTnLst>
                                    <p:animEffect transition="out" filter="fade">
                                      <p:cBhvr>
                                        <p:cTn id="18" dur="500"/>
                                        <p:tgtEl>
                                          <p:spTgt spid="2"/>
                                        </p:tgtEl>
                                      </p:cBhvr>
                                    </p:animEffect>
                                    <p:set>
                                      <p:cBhvr>
                                        <p:cTn id="19"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1" name="Title 10"/>
          <p:cNvSpPr>
            <a:spLocks noGrp="1"/>
          </p:cNvSpPr>
          <p:nvPr>
            <p:ph type="title"/>
          </p:nvPr>
        </p:nvSpPr>
        <p:spPr>
          <a:xfrm>
            <a:off x="335655" y="818922"/>
            <a:ext cx="11642721" cy="917445"/>
          </a:xfrm>
        </p:spPr>
        <p:txBody>
          <a:bodyPr>
            <a:noAutofit/>
          </a:bodyPr>
          <a:lstStyle/>
          <a:p>
            <a:pPr algn="ctr"/>
            <a:r>
              <a:rPr lang="en-US" sz="5882" dirty="0">
                <a:solidFill>
                  <a:schemeClr val="bg1"/>
                </a:solidFill>
                <a:latin typeface="Segoe UI Light" panose="020B0502040204020203" pitchFamily="34" charset="0"/>
                <a:cs typeface="Segoe UI Light" panose="020B0502040204020203" pitchFamily="34" charset="0"/>
              </a:rPr>
              <a:t>Choices of Consistency</a:t>
            </a:r>
            <a:br>
              <a:rPr lang="en-US" sz="5882" dirty="0">
                <a:solidFill>
                  <a:schemeClr val="bg1"/>
                </a:solidFill>
                <a:latin typeface="Segoe UI Light" panose="020B0502040204020203" pitchFamily="34" charset="0"/>
                <a:cs typeface="Segoe UI Light" panose="020B0502040204020203" pitchFamily="34" charset="0"/>
              </a:rPr>
            </a:br>
            <a:endParaRPr lang="en-US" sz="5882" dirty="0">
              <a:solidFill>
                <a:schemeClr val="bg1"/>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479657" y="5528619"/>
            <a:ext cx="11498719" cy="467676"/>
          </a:xfrm>
          <a:prstGeom prst="rect">
            <a:avLst/>
          </a:prstGeom>
          <a:noFill/>
        </p:spPr>
        <p:txBody>
          <a:bodyPr wrap="square" rtlCol="0">
            <a:spAutoFit/>
          </a:bodyPr>
          <a:lstStyle/>
          <a:p>
            <a:pPr algn="ctr" defTabSz="914225"/>
            <a:r>
              <a:rPr lang="en-US" sz="2451" b="1" kern="0" dirty="0">
                <a:solidFill>
                  <a:srgbClr val="3999C6"/>
                </a:solidFill>
                <a:latin typeface="Segoe UI Light" panose="020B0502040204020203" pitchFamily="34" charset="0"/>
                <a:ea typeface="Segoe UI Semibold" charset="0"/>
                <a:cs typeface="Segoe UI Light" panose="020B0502040204020203" pitchFamily="34" charset="0"/>
              </a:rPr>
              <a:t>5 well-defined consistency levels for low latency and high availability</a:t>
            </a:r>
          </a:p>
        </p:txBody>
      </p:sp>
      <p:graphicFrame>
        <p:nvGraphicFramePr>
          <p:cNvPr id="26" name="Content Placeholder 3"/>
          <p:cNvGraphicFramePr>
            <a:graphicFrameLocks/>
          </p:cNvGraphicFramePr>
          <p:nvPr>
            <p:extLst>
              <p:ext uri="{D42A27DB-BD31-4B8C-83A1-F6EECF244321}">
                <p14:modId xmlns:p14="http://schemas.microsoft.com/office/powerpoint/2010/main" val="1369267813"/>
              </p:ext>
            </p:extLst>
          </p:nvPr>
        </p:nvGraphicFramePr>
        <p:xfrm>
          <a:off x="1688578" y="2014155"/>
          <a:ext cx="8590738" cy="3448279"/>
        </p:xfrm>
        <a:graphic>
          <a:graphicData uri="http://schemas.openxmlformats.org/drawingml/2006/table">
            <a:tbl>
              <a:tblPr firstRow="1" firstCol="1" bandRow="1">
                <a:tableStyleId>{5C22544A-7EE6-4342-B048-85BDC9FD1C3A}</a:tableStyleId>
              </a:tblPr>
              <a:tblGrid>
                <a:gridCol w="3186947">
                  <a:extLst>
                    <a:ext uri="{9D8B030D-6E8A-4147-A177-3AD203B41FA5}">
                      <a16:colId xmlns:a16="http://schemas.microsoft.com/office/drawing/2014/main" val="1687792423"/>
                    </a:ext>
                  </a:extLst>
                </a:gridCol>
                <a:gridCol w="5403791">
                  <a:extLst>
                    <a:ext uri="{9D8B030D-6E8A-4147-A177-3AD203B41FA5}">
                      <a16:colId xmlns:a16="http://schemas.microsoft.com/office/drawing/2014/main" val="3438374988"/>
                    </a:ext>
                  </a:extLst>
                </a:gridCol>
              </a:tblGrid>
              <a:tr h="388860">
                <a:tc>
                  <a:txBody>
                    <a:bodyPr/>
                    <a:lstStyle/>
                    <a:p>
                      <a:pPr marL="0" marR="0" algn="l">
                        <a:spcBef>
                          <a:spcPts val="0"/>
                        </a:spcBef>
                        <a:spcAft>
                          <a:spcPts val="0"/>
                        </a:spcAft>
                      </a:pPr>
                      <a:r>
                        <a:rPr lang="en-US" sz="2000">
                          <a:solidFill>
                            <a:schemeClr val="tx1"/>
                          </a:solidFill>
                          <a:effectLst/>
                          <a:latin typeface="Segoe UI Light" panose="020B0502040204020203" pitchFamily="34" charset="0"/>
                          <a:cs typeface="Segoe UI Light" panose="020B0502040204020203" pitchFamily="34" charset="0"/>
                        </a:rPr>
                        <a:t>Consistency Level</a:t>
                      </a:r>
                      <a:endParaRPr lang="en-US" sz="2000">
                        <a:solidFill>
                          <a:schemeClr val="tx1"/>
                        </a:solidFill>
                        <a:effectLst/>
                        <a:latin typeface="Segoe UI Light" panose="020B0502040204020203" pitchFamily="34" charset="0"/>
                        <a:ea typeface="Times New Roman" panose="02020603050405020304" pitchFamily="18" charset="0"/>
                        <a:cs typeface="Segoe UI Light" panose="020B0502040204020203" pitchFamily="34" charset="0"/>
                      </a:endParaRPr>
                    </a:p>
                  </a:txBody>
                  <a:tcPr marL="67232" marR="67232" marT="0" marB="0"/>
                </a:tc>
                <a:tc>
                  <a:txBody>
                    <a:bodyPr/>
                    <a:lstStyle/>
                    <a:p>
                      <a:pPr marL="0" marR="0" algn="l">
                        <a:spcBef>
                          <a:spcPts val="0"/>
                        </a:spcBef>
                        <a:spcAft>
                          <a:spcPts val="0"/>
                        </a:spcAft>
                      </a:pPr>
                      <a:r>
                        <a:rPr lang="en-US" sz="2000" dirty="0">
                          <a:solidFill>
                            <a:schemeClr val="tx1"/>
                          </a:solidFill>
                          <a:effectLst/>
                          <a:latin typeface="Segoe UI Light" panose="020B0502040204020203" pitchFamily="34" charset="0"/>
                          <a:cs typeface="Segoe UI Light" panose="020B0502040204020203" pitchFamily="34" charset="0"/>
                        </a:rPr>
                        <a:t>Guarantees</a:t>
                      </a:r>
                      <a:endParaRPr lang="en-US" sz="2000" dirty="0">
                        <a:solidFill>
                          <a:schemeClr val="tx1"/>
                        </a:solidFill>
                        <a:effectLst/>
                        <a:latin typeface="Segoe UI Light" panose="020B0502040204020203" pitchFamily="34" charset="0"/>
                        <a:ea typeface="Times New Roman" panose="02020603050405020304" pitchFamily="18" charset="0"/>
                        <a:cs typeface="Segoe UI Light" panose="020B0502040204020203" pitchFamily="34" charset="0"/>
                      </a:endParaRPr>
                    </a:p>
                  </a:txBody>
                  <a:tcPr marL="67232" marR="67232" marT="0" marB="0"/>
                </a:tc>
                <a:extLst>
                  <a:ext uri="{0D108BD9-81ED-4DB2-BD59-A6C34878D82A}">
                    <a16:rowId xmlns:a16="http://schemas.microsoft.com/office/drawing/2014/main" val="1771381989"/>
                  </a:ext>
                </a:extLst>
              </a:tr>
              <a:tr h="349974">
                <a:tc>
                  <a:txBody>
                    <a:bodyPr/>
                    <a:lstStyle/>
                    <a:p>
                      <a:pPr marL="0" marR="0" algn="l">
                        <a:spcBef>
                          <a:spcPts val="0"/>
                        </a:spcBef>
                        <a:spcAft>
                          <a:spcPts val="0"/>
                        </a:spcAft>
                      </a:pPr>
                      <a:r>
                        <a:rPr lang="en-US" sz="1800">
                          <a:effectLst/>
                          <a:latin typeface="Segoe UI Light" panose="020B0502040204020203" pitchFamily="34" charset="0"/>
                          <a:cs typeface="Segoe UI Light" panose="020B0502040204020203" pitchFamily="34" charset="0"/>
                        </a:rPr>
                        <a:t>Strong</a:t>
                      </a:r>
                      <a:endParaRPr lang="en-US" sz="2000">
                        <a:effectLst/>
                        <a:latin typeface="Segoe UI Light" panose="020B0502040204020203" pitchFamily="34" charset="0"/>
                        <a:ea typeface="Times New Roman" panose="02020603050405020304" pitchFamily="18" charset="0"/>
                        <a:cs typeface="Segoe UI Light" panose="020B0502040204020203" pitchFamily="34" charset="0"/>
                      </a:endParaRPr>
                    </a:p>
                  </a:txBody>
                  <a:tcPr marL="67232" marR="67232" marT="0" marB="0" anchor="ctr"/>
                </a:tc>
                <a:tc>
                  <a:txBody>
                    <a:bodyPr/>
                    <a:lstStyle/>
                    <a:p>
                      <a:pPr marL="0" marR="0" algn="l">
                        <a:spcBef>
                          <a:spcPts val="0"/>
                        </a:spcBef>
                        <a:spcAft>
                          <a:spcPts val="0"/>
                        </a:spcAft>
                      </a:pPr>
                      <a:r>
                        <a:rPr lang="en-US" sz="1800">
                          <a:effectLst/>
                          <a:latin typeface="Segoe UI Light" panose="020B0502040204020203" pitchFamily="34" charset="0"/>
                          <a:cs typeface="Segoe UI Light" panose="020B0502040204020203" pitchFamily="34" charset="0"/>
                        </a:rPr>
                        <a:t>Linearizability</a:t>
                      </a:r>
                      <a:endParaRPr lang="en-US" sz="2000">
                        <a:effectLst/>
                        <a:latin typeface="Segoe UI Light" panose="020B0502040204020203" pitchFamily="34" charset="0"/>
                        <a:ea typeface="Times New Roman" panose="02020603050405020304" pitchFamily="18" charset="0"/>
                        <a:cs typeface="Segoe UI Light" panose="020B0502040204020203" pitchFamily="34" charset="0"/>
                      </a:endParaRPr>
                    </a:p>
                  </a:txBody>
                  <a:tcPr marL="67232" marR="67232" marT="0" marB="0" anchor="ctr"/>
                </a:tc>
                <a:extLst>
                  <a:ext uri="{0D108BD9-81ED-4DB2-BD59-A6C34878D82A}">
                    <a16:rowId xmlns:a16="http://schemas.microsoft.com/office/drawing/2014/main" val="799332757"/>
                  </a:ext>
                </a:extLst>
              </a:tr>
              <a:tr h="699949">
                <a:tc>
                  <a:txBody>
                    <a:bodyPr/>
                    <a:lstStyle/>
                    <a:p>
                      <a:pPr marL="0" marR="0" algn="l">
                        <a:spcBef>
                          <a:spcPts val="0"/>
                        </a:spcBef>
                        <a:spcAft>
                          <a:spcPts val="0"/>
                        </a:spcAft>
                      </a:pPr>
                      <a:r>
                        <a:rPr lang="en-US" sz="1800">
                          <a:effectLst/>
                          <a:latin typeface="Segoe UI Light" panose="020B0502040204020203" pitchFamily="34" charset="0"/>
                          <a:cs typeface="Segoe UI Light" panose="020B0502040204020203" pitchFamily="34" charset="0"/>
                        </a:rPr>
                        <a:t>Bounded Staleness</a:t>
                      </a:r>
                      <a:endParaRPr lang="en-US" sz="2000">
                        <a:effectLst/>
                        <a:latin typeface="Segoe UI Light" panose="020B0502040204020203" pitchFamily="34" charset="0"/>
                        <a:ea typeface="Times New Roman" panose="02020603050405020304" pitchFamily="18" charset="0"/>
                        <a:cs typeface="Segoe UI Light" panose="020B0502040204020203" pitchFamily="34" charset="0"/>
                      </a:endParaRPr>
                    </a:p>
                  </a:txBody>
                  <a:tcPr marL="67232" marR="67232" marT="0" marB="0" anchor="ctr"/>
                </a:tc>
                <a:tc>
                  <a:txBody>
                    <a:bodyPr/>
                    <a:lstStyle/>
                    <a:p>
                      <a:pPr marL="0" marR="0" algn="l">
                        <a:spcBef>
                          <a:spcPts val="0"/>
                        </a:spcBef>
                        <a:spcAft>
                          <a:spcPts val="0"/>
                        </a:spcAft>
                      </a:pPr>
                      <a:r>
                        <a:rPr lang="en-US" sz="1800" dirty="0">
                          <a:effectLst/>
                          <a:latin typeface="Segoe UI Light" panose="020B0502040204020203" pitchFamily="34" charset="0"/>
                          <a:cs typeface="Segoe UI Light" panose="020B0502040204020203" pitchFamily="34" charset="0"/>
                        </a:rPr>
                        <a:t>Reads lag behind writes by </a:t>
                      </a:r>
                      <a:r>
                        <a:rPr lang="en-US" sz="1800" b="1" i="1" dirty="0">
                          <a:effectLst/>
                          <a:latin typeface="Segoe UI Light" panose="020B0502040204020203" pitchFamily="34" charset="0"/>
                          <a:cs typeface="Segoe UI Light" panose="020B0502040204020203" pitchFamily="34" charset="0"/>
                        </a:rPr>
                        <a:t>k</a:t>
                      </a:r>
                      <a:r>
                        <a:rPr lang="en-US" sz="1800" dirty="0">
                          <a:effectLst/>
                          <a:latin typeface="Segoe UI Light" panose="020B0502040204020203" pitchFamily="34" charset="0"/>
                          <a:cs typeface="Segoe UI Light" panose="020B0502040204020203" pitchFamily="34" charset="0"/>
                        </a:rPr>
                        <a:t> prefixes or </a:t>
                      </a:r>
                      <a:r>
                        <a:rPr lang="en-US" sz="1800" b="1" i="1" dirty="0">
                          <a:effectLst/>
                          <a:latin typeface="Segoe UI Light" panose="020B0502040204020203" pitchFamily="34" charset="0"/>
                          <a:cs typeface="Segoe UI Light" panose="020B0502040204020203" pitchFamily="34" charset="0"/>
                        </a:rPr>
                        <a:t>t</a:t>
                      </a:r>
                      <a:r>
                        <a:rPr lang="en-US" sz="1800" dirty="0">
                          <a:effectLst/>
                          <a:latin typeface="Segoe UI Light" panose="020B0502040204020203" pitchFamily="34" charset="0"/>
                          <a:cs typeface="Segoe UI Light" panose="020B0502040204020203" pitchFamily="34" charset="0"/>
                        </a:rPr>
                        <a:t> interval</a:t>
                      </a:r>
                      <a:endParaRPr lang="en-US" sz="2000" dirty="0">
                        <a:effectLst/>
                        <a:latin typeface="Segoe UI Light" panose="020B0502040204020203" pitchFamily="34" charset="0"/>
                        <a:ea typeface="Times New Roman" panose="02020603050405020304" pitchFamily="18" charset="0"/>
                        <a:cs typeface="Segoe UI Light" panose="020B0502040204020203" pitchFamily="34" charset="0"/>
                      </a:endParaRPr>
                    </a:p>
                  </a:txBody>
                  <a:tcPr marL="67232" marR="67232" marT="0" marB="0" anchor="ctr"/>
                </a:tc>
                <a:extLst>
                  <a:ext uri="{0D108BD9-81ED-4DB2-BD59-A6C34878D82A}">
                    <a16:rowId xmlns:a16="http://schemas.microsoft.com/office/drawing/2014/main" val="2383133586"/>
                  </a:ext>
                </a:extLst>
              </a:tr>
              <a:tr h="1049922">
                <a:tc>
                  <a:txBody>
                    <a:bodyPr/>
                    <a:lstStyle/>
                    <a:p>
                      <a:pPr marL="0" marR="0" algn="l">
                        <a:spcBef>
                          <a:spcPts val="0"/>
                        </a:spcBef>
                        <a:spcAft>
                          <a:spcPts val="0"/>
                        </a:spcAft>
                      </a:pPr>
                      <a:r>
                        <a:rPr lang="en-US" sz="1800" dirty="0">
                          <a:effectLst/>
                          <a:latin typeface="Segoe UI Light" panose="020B0502040204020203" pitchFamily="34" charset="0"/>
                          <a:cs typeface="Segoe UI Light" panose="020B0502040204020203" pitchFamily="34" charset="0"/>
                        </a:rPr>
                        <a:t>Session</a:t>
                      </a:r>
                      <a:endParaRPr lang="en-US" sz="2000" dirty="0">
                        <a:effectLst/>
                        <a:latin typeface="Segoe UI Light" panose="020B0502040204020203" pitchFamily="34" charset="0"/>
                        <a:ea typeface="Times New Roman" panose="02020603050405020304" pitchFamily="18" charset="0"/>
                        <a:cs typeface="Segoe UI Light" panose="020B0502040204020203" pitchFamily="34" charset="0"/>
                      </a:endParaRPr>
                    </a:p>
                  </a:txBody>
                  <a:tcPr marL="67232" marR="67232" marT="0" marB="0" anchor="ctr"/>
                </a:tc>
                <a:tc>
                  <a:txBody>
                    <a:bodyPr/>
                    <a:lstStyle/>
                    <a:p>
                      <a:pPr marL="0" marR="0" algn="l">
                        <a:spcBef>
                          <a:spcPts val="0"/>
                        </a:spcBef>
                        <a:spcAft>
                          <a:spcPts val="0"/>
                        </a:spcAft>
                      </a:pPr>
                      <a:r>
                        <a:rPr lang="en-US" sz="1800" dirty="0">
                          <a:effectLst/>
                          <a:latin typeface="Segoe UI Light" panose="020B0502040204020203" pitchFamily="34" charset="0"/>
                          <a:cs typeface="Segoe UI Light" panose="020B0502040204020203" pitchFamily="34" charset="0"/>
                        </a:rPr>
                        <a:t>Monotonic reads, monotonic writes, read-your-writes, write-follows-reads</a:t>
                      </a:r>
                      <a:endParaRPr lang="en-US" sz="2000" dirty="0">
                        <a:effectLst/>
                        <a:latin typeface="Segoe UI Light" panose="020B0502040204020203" pitchFamily="34" charset="0"/>
                        <a:ea typeface="Times New Roman" panose="02020603050405020304" pitchFamily="18" charset="0"/>
                        <a:cs typeface="Segoe UI Light" panose="020B0502040204020203" pitchFamily="34" charset="0"/>
                      </a:endParaRPr>
                    </a:p>
                  </a:txBody>
                  <a:tcPr marL="67232" marR="67232" marT="0" marB="0" anchor="ctr"/>
                </a:tc>
                <a:extLst>
                  <a:ext uri="{0D108BD9-81ED-4DB2-BD59-A6C34878D82A}">
                    <a16:rowId xmlns:a16="http://schemas.microsoft.com/office/drawing/2014/main" val="2274419257"/>
                  </a:ext>
                </a:extLst>
              </a:tr>
              <a:tr h="597617">
                <a:tc>
                  <a:txBody>
                    <a:bodyPr/>
                    <a:lstStyle/>
                    <a:p>
                      <a:pPr marL="0" marR="0" algn="l">
                        <a:spcBef>
                          <a:spcPts val="0"/>
                        </a:spcBef>
                        <a:spcAft>
                          <a:spcPts val="0"/>
                        </a:spcAft>
                      </a:pPr>
                      <a:r>
                        <a:rPr lang="en-US" sz="1800" dirty="0">
                          <a:effectLst/>
                          <a:latin typeface="Segoe UI Light" panose="020B0502040204020203" pitchFamily="34" charset="0"/>
                          <a:ea typeface="Times New Roman" panose="02020603050405020304" pitchFamily="18" charset="0"/>
                          <a:cs typeface="Segoe UI Light" panose="020B0502040204020203" pitchFamily="34" charset="0"/>
                        </a:rPr>
                        <a:t>Consistent Prefix</a:t>
                      </a:r>
                    </a:p>
                  </a:txBody>
                  <a:tcPr marL="67232" marR="67232" marT="0" marB="0" anchor="ctr"/>
                </a:tc>
                <a:tc>
                  <a:txBody>
                    <a:bodyPr/>
                    <a:lstStyle/>
                    <a:p>
                      <a:pPr marL="0" marR="0" algn="l">
                        <a:spcBef>
                          <a:spcPts val="0"/>
                        </a:spcBef>
                        <a:spcAft>
                          <a:spcPts val="0"/>
                        </a:spcAft>
                      </a:pPr>
                      <a:r>
                        <a:rPr lang="en-US" sz="2000" dirty="0">
                          <a:effectLst/>
                          <a:latin typeface="Segoe UI Light" panose="020B0502040204020203" pitchFamily="34" charset="0"/>
                          <a:ea typeface="Times New Roman" panose="02020603050405020304" pitchFamily="18" charset="0"/>
                          <a:cs typeface="Segoe UI Light" panose="020B0502040204020203" pitchFamily="34" charset="0"/>
                        </a:rPr>
                        <a:t>Updates returned are some prefix of all the updates, with no gaps</a:t>
                      </a:r>
                    </a:p>
                  </a:txBody>
                  <a:tcPr marL="67232" marR="67232" marT="0" marB="0" anchor="ctr"/>
                </a:tc>
                <a:extLst>
                  <a:ext uri="{0D108BD9-81ED-4DB2-BD59-A6C34878D82A}">
                    <a16:rowId xmlns:a16="http://schemas.microsoft.com/office/drawing/2014/main" val="1142740960"/>
                  </a:ext>
                </a:extLst>
              </a:tr>
              <a:tr h="349974">
                <a:tc>
                  <a:txBody>
                    <a:bodyPr/>
                    <a:lstStyle/>
                    <a:p>
                      <a:pPr marL="0" marR="0" algn="l">
                        <a:spcBef>
                          <a:spcPts val="0"/>
                        </a:spcBef>
                        <a:spcAft>
                          <a:spcPts val="0"/>
                        </a:spcAft>
                      </a:pPr>
                      <a:r>
                        <a:rPr lang="en-US" sz="1800" dirty="0">
                          <a:effectLst/>
                          <a:latin typeface="Segoe UI Light" panose="020B0502040204020203" pitchFamily="34" charset="0"/>
                          <a:cs typeface="Segoe UI Light" panose="020B0502040204020203" pitchFamily="34" charset="0"/>
                        </a:rPr>
                        <a:t>Eventual</a:t>
                      </a:r>
                      <a:endParaRPr lang="en-US" sz="2000" dirty="0">
                        <a:effectLst/>
                        <a:latin typeface="Segoe UI Light" panose="020B0502040204020203" pitchFamily="34" charset="0"/>
                        <a:ea typeface="Times New Roman" panose="02020603050405020304" pitchFamily="18" charset="0"/>
                        <a:cs typeface="Segoe UI Light" panose="020B0502040204020203" pitchFamily="34" charset="0"/>
                      </a:endParaRPr>
                    </a:p>
                  </a:txBody>
                  <a:tcPr marL="67232" marR="67232" marT="0" marB="0" anchor="ctr"/>
                </a:tc>
                <a:tc>
                  <a:txBody>
                    <a:bodyPr/>
                    <a:lstStyle/>
                    <a:p>
                      <a:pPr marL="0" marR="0" algn="l">
                        <a:spcBef>
                          <a:spcPts val="0"/>
                        </a:spcBef>
                        <a:spcAft>
                          <a:spcPts val="0"/>
                        </a:spcAft>
                      </a:pPr>
                      <a:r>
                        <a:rPr lang="en-US" sz="1800" dirty="0">
                          <a:effectLst/>
                          <a:latin typeface="Segoe UI Light" panose="020B0502040204020203" pitchFamily="34" charset="0"/>
                          <a:cs typeface="Segoe UI Light" panose="020B0502040204020203" pitchFamily="34" charset="0"/>
                        </a:rPr>
                        <a:t>Eventually</a:t>
                      </a:r>
                      <a:r>
                        <a:rPr lang="en-US" sz="1800" baseline="0" dirty="0">
                          <a:effectLst/>
                          <a:latin typeface="Segoe UI Light" panose="020B0502040204020203" pitchFamily="34" charset="0"/>
                          <a:cs typeface="Segoe UI Light" panose="020B0502040204020203" pitchFamily="34" charset="0"/>
                        </a:rPr>
                        <a:t> consistent</a:t>
                      </a:r>
                      <a:endParaRPr lang="en-US" sz="2000" dirty="0">
                        <a:effectLst/>
                        <a:latin typeface="Segoe UI Light" panose="020B0502040204020203" pitchFamily="34" charset="0"/>
                        <a:ea typeface="Times New Roman" panose="02020603050405020304" pitchFamily="18" charset="0"/>
                        <a:cs typeface="Segoe UI Light" panose="020B0502040204020203" pitchFamily="34" charset="0"/>
                      </a:endParaRPr>
                    </a:p>
                  </a:txBody>
                  <a:tcPr marL="67232" marR="67232" marT="0" marB="0" anchor="ctr"/>
                </a:tc>
                <a:extLst>
                  <a:ext uri="{0D108BD9-81ED-4DB2-BD59-A6C34878D82A}">
                    <a16:rowId xmlns:a16="http://schemas.microsoft.com/office/drawing/2014/main" val="500512421"/>
                  </a:ext>
                </a:extLst>
              </a:tr>
            </a:tbl>
          </a:graphicData>
        </a:graphic>
      </p:graphicFrame>
    </p:spTree>
    <p:extLst>
      <p:ext uri="{BB962C8B-B14F-4D97-AF65-F5344CB8AC3E}">
        <p14:creationId xmlns:p14="http://schemas.microsoft.com/office/powerpoint/2010/main" val="254071537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1" name="Title 10"/>
          <p:cNvSpPr>
            <a:spLocks noGrp="1"/>
          </p:cNvSpPr>
          <p:nvPr>
            <p:ph type="title"/>
          </p:nvPr>
        </p:nvSpPr>
        <p:spPr>
          <a:xfrm>
            <a:off x="198121" y="116489"/>
            <a:ext cx="11157279" cy="1099293"/>
          </a:xfrm>
        </p:spPr>
        <p:txBody>
          <a:bodyPr>
            <a:noAutofit/>
          </a:bodyPr>
          <a:lstStyle/>
          <a:p>
            <a:pPr algn="ctr"/>
            <a:r>
              <a:rPr lang="en-US" dirty="0">
                <a:solidFill>
                  <a:schemeClr val="bg1"/>
                </a:solidFill>
                <a:latin typeface="Segoe UI Light" panose="020B0502040204020203" pitchFamily="34" charset="0"/>
                <a:cs typeface="Segoe UI Light" panose="020B0502040204020203" pitchFamily="34" charset="0"/>
              </a:rPr>
              <a:t>Insights from production workloads</a:t>
            </a:r>
          </a:p>
        </p:txBody>
      </p:sp>
      <p:graphicFrame>
        <p:nvGraphicFramePr>
          <p:cNvPr id="6" name="Chart 5"/>
          <p:cNvGraphicFramePr>
            <a:graphicFrameLocks/>
          </p:cNvGraphicFramePr>
          <p:nvPr>
            <p:extLst>
              <p:ext uri="{D42A27DB-BD31-4B8C-83A1-F6EECF244321}">
                <p14:modId xmlns:p14="http://schemas.microsoft.com/office/powerpoint/2010/main" val="533045329"/>
              </p:ext>
            </p:extLst>
          </p:nvPr>
        </p:nvGraphicFramePr>
        <p:xfrm>
          <a:off x="453739" y="1747157"/>
          <a:ext cx="5602655" cy="315149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p:cNvGraphicFramePr>
            <a:graphicFrameLocks/>
          </p:cNvGraphicFramePr>
          <p:nvPr>
            <p:extLst>
              <p:ext uri="{D42A27DB-BD31-4B8C-83A1-F6EECF244321}">
                <p14:modId xmlns:p14="http://schemas.microsoft.com/office/powerpoint/2010/main" val="1964404117"/>
              </p:ext>
            </p:extLst>
          </p:nvPr>
        </p:nvGraphicFramePr>
        <p:xfrm>
          <a:off x="6250442" y="1747157"/>
          <a:ext cx="5392555" cy="3151493"/>
        </p:xfrm>
        <a:graphic>
          <a:graphicData uri="http://schemas.openxmlformats.org/drawingml/2006/chart">
            <c:chart xmlns:c="http://schemas.openxmlformats.org/drawingml/2006/chart" xmlns:r="http://schemas.openxmlformats.org/officeDocument/2006/relationships" r:id="rId4"/>
          </a:graphicData>
        </a:graphic>
      </p:graphicFrame>
      <p:sp>
        <p:nvSpPr>
          <p:cNvPr id="3" name="TextBox 2"/>
          <p:cNvSpPr txBox="1"/>
          <p:nvPr/>
        </p:nvSpPr>
        <p:spPr>
          <a:xfrm>
            <a:off x="820574" y="4950305"/>
            <a:ext cx="4868985" cy="400110"/>
          </a:xfrm>
          <a:prstGeom prst="rect">
            <a:avLst/>
          </a:prstGeom>
          <a:noFill/>
        </p:spPr>
        <p:txBody>
          <a:bodyPr wrap="square" rtlCol="0">
            <a:spAutoFit/>
          </a:bodyPr>
          <a:lstStyle/>
          <a:p>
            <a:pPr defTabSz="857116"/>
            <a:r>
              <a:rPr lang="en-US" sz="2000" dirty="0">
                <a:solidFill>
                  <a:prstClr val="white"/>
                </a:solidFill>
                <a:latin typeface="Calibri Light" panose="020F0302020204030204"/>
                <a:sym typeface="Segoe UI"/>
              </a:rPr>
              <a:t>Consistency distribution among customers</a:t>
            </a:r>
          </a:p>
        </p:txBody>
      </p:sp>
      <p:sp>
        <p:nvSpPr>
          <p:cNvPr id="10" name="TextBox 9"/>
          <p:cNvSpPr txBox="1"/>
          <p:nvPr/>
        </p:nvSpPr>
        <p:spPr>
          <a:xfrm>
            <a:off x="7150479" y="4966830"/>
            <a:ext cx="3512055" cy="400110"/>
          </a:xfrm>
          <a:prstGeom prst="rect">
            <a:avLst/>
          </a:prstGeom>
          <a:noFill/>
        </p:spPr>
        <p:txBody>
          <a:bodyPr wrap="square" rtlCol="0">
            <a:spAutoFit/>
          </a:bodyPr>
          <a:lstStyle/>
          <a:p>
            <a:pPr defTabSz="857116"/>
            <a:r>
              <a:rPr lang="en-US" sz="2000" dirty="0">
                <a:solidFill>
                  <a:prstClr val="white"/>
                </a:solidFill>
                <a:latin typeface="Calibri Light" panose="020F0302020204030204"/>
                <a:sym typeface="Segoe UI"/>
              </a:rPr>
              <a:t>Consistency vs. Throughput</a:t>
            </a:r>
          </a:p>
        </p:txBody>
      </p:sp>
      <p:sp>
        <p:nvSpPr>
          <p:cNvPr id="7" name="Text Placeholder 1">
            <a:extLst>
              <a:ext uri="{FF2B5EF4-FFF2-40B4-BE49-F238E27FC236}">
                <a16:creationId xmlns:a16="http://schemas.microsoft.com/office/drawing/2014/main" id="{F91003BF-6F7A-4AF6-85C9-75B6F4E91140}"/>
              </a:ext>
            </a:extLst>
          </p:cNvPr>
          <p:cNvSpPr txBox="1">
            <a:spLocks/>
          </p:cNvSpPr>
          <p:nvPr/>
        </p:nvSpPr>
        <p:spPr>
          <a:xfrm>
            <a:off x="26069" y="5430025"/>
            <a:ext cx="10972800" cy="1761636"/>
          </a:xfrm>
          <a:prstGeom prst="rect">
            <a:avLst/>
          </a:prstGeom>
        </p:spPr>
        <p:txBody>
          <a:bodyPr/>
          <a:lstStyle>
            <a:lvl1pPr marL="214300" indent="-214300" algn="l" defTabSz="857199" rtl="0" eaLnBrk="1" latinLnBrk="0" hangingPunct="1">
              <a:lnSpc>
                <a:spcPct val="90000"/>
              </a:lnSpc>
              <a:spcBef>
                <a:spcPts val="937"/>
              </a:spcBef>
              <a:buFont typeface="Arial" panose="020B0604020202020204" pitchFamily="34" charset="0"/>
              <a:buChar char="•"/>
              <a:defRPr sz="2625" kern="1200">
                <a:solidFill>
                  <a:schemeClr val="tx1"/>
                </a:solidFill>
                <a:latin typeface="+mn-lt"/>
                <a:ea typeface="+mn-ea"/>
                <a:cs typeface="+mn-cs"/>
              </a:defRPr>
            </a:lvl1pPr>
            <a:lvl2pPr marL="642899" indent="-214300" algn="l" defTabSz="857199" rtl="0" eaLnBrk="1" latinLnBrk="0" hangingPunct="1">
              <a:lnSpc>
                <a:spcPct val="90000"/>
              </a:lnSpc>
              <a:spcBef>
                <a:spcPts val="469"/>
              </a:spcBef>
              <a:buFont typeface="Arial" panose="020B0604020202020204" pitchFamily="34" charset="0"/>
              <a:buChar char="•"/>
              <a:defRPr sz="2249" kern="1200">
                <a:solidFill>
                  <a:schemeClr val="tx1"/>
                </a:solidFill>
                <a:latin typeface="+mn-lt"/>
                <a:ea typeface="+mn-ea"/>
                <a:cs typeface="+mn-cs"/>
              </a:defRPr>
            </a:lvl2pPr>
            <a:lvl3pPr marL="1071497" indent="-214300" algn="l" defTabSz="857199" rtl="0" eaLnBrk="1" latinLnBrk="0" hangingPunct="1">
              <a:lnSpc>
                <a:spcPct val="90000"/>
              </a:lnSpc>
              <a:spcBef>
                <a:spcPts val="469"/>
              </a:spcBef>
              <a:buFont typeface="Arial" panose="020B0604020202020204" pitchFamily="34" charset="0"/>
              <a:buChar char="•"/>
              <a:defRPr sz="1875" kern="1200">
                <a:solidFill>
                  <a:schemeClr val="tx1"/>
                </a:solidFill>
                <a:latin typeface="+mn-lt"/>
                <a:ea typeface="+mn-ea"/>
                <a:cs typeface="+mn-cs"/>
              </a:defRPr>
            </a:lvl3pPr>
            <a:lvl4pPr marL="1500097"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4pPr>
            <a:lvl5pPr marL="1928696"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5pPr>
            <a:lvl6pPr marL="2357294"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6pPr>
            <a:lvl7pPr marL="2785894"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7pPr>
            <a:lvl8pPr marL="3214493"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8pPr>
            <a:lvl9pPr marL="3643092" indent="-214300" algn="l" defTabSz="857199"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9pPr>
          </a:lstStyle>
          <a:p>
            <a:pPr lvl="1">
              <a:lnSpc>
                <a:spcPct val="100000"/>
              </a:lnSpc>
              <a:spcBef>
                <a:spcPts val="0"/>
              </a:spcBef>
              <a:spcAft>
                <a:spcPts val="1766"/>
              </a:spcAft>
            </a:pPr>
            <a:r>
              <a:rPr lang="en-US" sz="2416">
                <a:solidFill>
                  <a:schemeClr val="bg1"/>
                </a:solidFill>
              </a:rPr>
              <a:t>Research in distributed consistency is not rooted in real world scenarios</a:t>
            </a:r>
          </a:p>
          <a:p>
            <a:pPr lvl="1">
              <a:lnSpc>
                <a:spcPct val="100000"/>
              </a:lnSpc>
              <a:spcBef>
                <a:spcPts val="0"/>
              </a:spcBef>
              <a:spcAft>
                <a:spcPts val="1766"/>
              </a:spcAft>
            </a:pPr>
            <a:r>
              <a:rPr lang="en-US" sz="2416">
                <a:solidFill>
                  <a:schemeClr val="bg1"/>
                </a:solidFill>
              </a:rPr>
              <a:t>There is a market for programmable consistency</a:t>
            </a:r>
          </a:p>
          <a:p>
            <a:pPr lvl="1">
              <a:lnSpc>
                <a:spcPct val="100000"/>
              </a:lnSpc>
              <a:spcBef>
                <a:spcPts val="0"/>
              </a:spcBef>
              <a:spcAft>
                <a:spcPts val="1766"/>
              </a:spcAft>
            </a:pPr>
            <a:r>
              <a:rPr lang="en-US" sz="2416">
                <a:solidFill>
                  <a:schemeClr val="bg1"/>
                </a:solidFill>
              </a:rPr>
              <a:t>Tradeoffs between consistency and throughput can be monetized</a:t>
            </a:r>
            <a:endParaRPr lang="en-US" sz="2416" dirty="0">
              <a:solidFill>
                <a:schemeClr val="bg1"/>
              </a:solidFill>
            </a:endParaRPr>
          </a:p>
        </p:txBody>
      </p:sp>
      <p:sp>
        <p:nvSpPr>
          <p:cNvPr id="9" name="Title 16">
            <a:extLst>
              <a:ext uri="{FF2B5EF4-FFF2-40B4-BE49-F238E27FC236}">
                <a16:creationId xmlns:a16="http://schemas.microsoft.com/office/drawing/2014/main" id="{E342E943-4399-47A6-A985-61253C2EB549}"/>
              </a:ext>
            </a:extLst>
          </p:cNvPr>
          <p:cNvSpPr txBox="1">
            <a:spLocks/>
          </p:cNvSpPr>
          <p:nvPr/>
        </p:nvSpPr>
        <p:spPr>
          <a:xfrm>
            <a:off x="4985467" y="770978"/>
            <a:ext cx="7648823" cy="710491"/>
          </a:xfrm>
          <a:prstGeom prst="rect">
            <a:avLst/>
          </a:prstGeom>
        </p:spPr>
        <p:txBody>
          <a:bodyPr vert="horz" lIns="91440" tIns="45720" rIns="91440" bIns="45720" rtlCol="0" anchor="t" anchorCtr="0">
            <a:normAutofit/>
          </a:bodyPr>
          <a:lstStyle>
            <a:lvl1pPr algn="l" defTabSz="857199" rtl="0" eaLnBrk="1" latinLnBrk="0" hangingPunct="1">
              <a:lnSpc>
                <a:spcPct val="90000"/>
              </a:lnSpc>
              <a:spcBef>
                <a:spcPct val="0"/>
              </a:spcBef>
              <a:buNone/>
              <a:defRPr sz="5063" b="0" i="0" kern="1200">
                <a:solidFill>
                  <a:schemeClr val="tx1"/>
                </a:solidFill>
                <a:latin typeface="Segoe UI Semilight" panose="020B0402040204020203" pitchFamily="34" charset="0"/>
                <a:ea typeface="+mj-ea"/>
                <a:cs typeface="Segoe UI Semilight" panose="020B0402040204020203" pitchFamily="34" charset="0"/>
              </a:defRPr>
            </a:lvl1pPr>
          </a:lstStyle>
          <a:p>
            <a:r>
              <a:rPr lang="en-US" sz="3200">
                <a:solidFill>
                  <a:schemeClr val="accent1"/>
                </a:solidFill>
              </a:rPr>
              <a:t>Offering consistency for a price</a:t>
            </a:r>
            <a:endParaRPr lang="en-US" sz="3200" dirty="0">
              <a:solidFill>
                <a:schemeClr val="accent1"/>
              </a:solidFill>
            </a:endParaRPr>
          </a:p>
        </p:txBody>
      </p:sp>
    </p:spTree>
    <p:extLst>
      <p:ext uri="{BB962C8B-B14F-4D97-AF65-F5344CB8AC3E}">
        <p14:creationId xmlns:p14="http://schemas.microsoft.com/office/powerpoint/2010/main" val="18687258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xEl>
                                              <p:pRg st="0" end="0"/>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xEl>
                                              <p:pRg st="1" end="1"/>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p:bldAsOne/>
      </p:bldGraphic>
      <p:bldP spid="10" grpId="0"/>
      <p:bldP spid="7"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2" descr="Image result for checkmark">
            <a:extLst>
              <a:ext uri="{FF2B5EF4-FFF2-40B4-BE49-F238E27FC236}">
                <a16:creationId xmlns:a16="http://schemas.microsoft.com/office/drawing/2014/main" id="{9A0DBACF-5E3B-4DF2-80FA-89B8BA92F2D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0098" y="1482325"/>
            <a:ext cx="502028" cy="493323"/>
          </a:xfrm>
          <a:prstGeom prst="rect">
            <a:avLst/>
          </a:prstGeom>
          <a:noFill/>
          <a:extLst>
            <a:ext uri="{909E8E84-426E-40DD-AFC4-6F175D3DCCD1}">
              <a14:hiddenFill xmlns:a14="http://schemas.microsoft.com/office/drawing/2010/main">
                <a:solidFill>
                  <a:srgbClr val="FFFFFF"/>
                </a:solidFill>
              </a14:hiddenFill>
            </a:ext>
          </a:extLst>
        </p:spPr>
      </p:pic>
      <p:pic>
        <p:nvPicPr>
          <p:cNvPr id="311" name="Picture 2" descr="Image result for checkmark">
            <a:extLst>
              <a:ext uri="{FF2B5EF4-FFF2-40B4-BE49-F238E27FC236}">
                <a16:creationId xmlns:a16="http://schemas.microsoft.com/office/drawing/2014/main" id="{5D6F66EF-2176-4EB4-BD79-7159073A476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3947" y="2007727"/>
            <a:ext cx="502028" cy="493323"/>
          </a:xfrm>
          <a:prstGeom prst="rect">
            <a:avLst/>
          </a:prstGeom>
          <a:noFill/>
          <a:extLst>
            <a:ext uri="{909E8E84-426E-40DD-AFC4-6F175D3DCCD1}">
              <a14:hiddenFill xmlns:a14="http://schemas.microsoft.com/office/drawing/2010/main">
                <a:solidFill>
                  <a:srgbClr val="FFFFFF"/>
                </a:solidFill>
              </a14:hiddenFill>
            </a:ext>
          </a:extLst>
        </p:spPr>
      </p:pic>
      <p:pic>
        <p:nvPicPr>
          <p:cNvPr id="312" name="Picture 2" descr="Image result for checkmark">
            <a:extLst>
              <a:ext uri="{FF2B5EF4-FFF2-40B4-BE49-F238E27FC236}">
                <a16:creationId xmlns:a16="http://schemas.microsoft.com/office/drawing/2014/main" id="{D47F453B-3FA8-475F-9999-6F46F6E7257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1067" y="2548955"/>
            <a:ext cx="502028" cy="493323"/>
          </a:xfrm>
          <a:prstGeom prst="rect">
            <a:avLst/>
          </a:prstGeom>
          <a:noFill/>
          <a:extLst>
            <a:ext uri="{909E8E84-426E-40DD-AFC4-6F175D3DCCD1}">
              <a14:hiddenFill xmlns:a14="http://schemas.microsoft.com/office/drawing/2010/main">
                <a:solidFill>
                  <a:srgbClr val="FFFFFF"/>
                </a:solidFill>
              </a14:hiddenFill>
            </a:ext>
          </a:extLst>
        </p:spPr>
      </p:pic>
      <p:pic>
        <p:nvPicPr>
          <p:cNvPr id="313" name="Picture 2" descr="Image result for checkmark">
            <a:extLst>
              <a:ext uri="{FF2B5EF4-FFF2-40B4-BE49-F238E27FC236}">
                <a16:creationId xmlns:a16="http://schemas.microsoft.com/office/drawing/2014/main" id="{5D89DDDB-EDDC-4364-939F-E4B224A00C7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9273" y="3055011"/>
            <a:ext cx="502028" cy="493323"/>
          </a:xfrm>
          <a:prstGeom prst="rect">
            <a:avLst/>
          </a:prstGeom>
          <a:noFill/>
          <a:extLst>
            <a:ext uri="{909E8E84-426E-40DD-AFC4-6F175D3DCCD1}">
              <a14:hiddenFill xmlns:a14="http://schemas.microsoft.com/office/drawing/2010/main">
                <a:solidFill>
                  <a:srgbClr val="FFFFFF"/>
                </a:solidFill>
              </a14:hiddenFill>
            </a:ext>
          </a:extLst>
        </p:spPr>
      </p:pic>
      <p:pic>
        <p:nvPicPr>
          <p:cNvPr id="314" name="Picture 2" descr="Image result for checkmark">
            <a:extLst>
              <a:ext uri="{FF2B5EF4-FFF2-40B4-BE49-F238E27FC236}">
                <a16:creationId xmlns:a16="http://schemas.microsoft.com/office/drawing/2014/main" id="{91523A03-BAC1-44FB-B78B-44BE1B867CD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3677" y="3607519"/>
            <a:ext cx="502028" cy="493323"/>
          </a:xfrm>
          <a:prstGeom prst="rect">
            <a:avLst/>
          </a:prstGeom>
          <a:noFill/>
          <a:extLst>
            <a:ext uri="{909E8E84-426E-40DD-AFC4-6F175D3DCCD1}">
              <a14:hiddenFill xmlns:a14="http://schemas.microsoft.com/office/drawing/2010/main">
                <a:solidFill>
                  <a:srgbClr val="FFFFFF"/>
                </a:solidFill>
              </a14:hiddenFill>
            </a:ext>
          </a:extLst>
        </p:spPr>
      </p:pic>
      <p:pic>
        <p:nvPicPr>
          <p:cNvPr id="315" name="Picture 2" descr="Image result for checkmark">
            <a:extLst>
              <a:ext uri="{FF2B5EF4-FFF2-40B4-BE49-F238E27FC236}">
                <a16:creationId xmlns:a16="http://schemas.microsoft.com/office/drawing/2014/main" id="{1422AEF6-F005-4762-BC80-3F666134FD0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3675" y="4207820"/>
            <a:ext cx="502028" cy="493323"/>
          </a:xfrm>
          <a:prstGeom prst="rect">
            <a:avLst/>
          </a:prstGeom>
          <a:noFill/>
          <a:extLst>
            <a:ext uri="{909E8E84-426E-40DD-AFC4-6F175D3DCCD1}">
              <a14:hiddenFill xmlns:a14="http://schemas.microsoft.com/office/drawing/2010/main">
                <a:solidFill>
                  <a:srgbClr val="FFFFFF"/>
                </a:solidFill>
              </a14:hiddenFill>
            </a:ext>
          </a:extLst>
        </p:spPr>
      </p:pic>
      <p:pic>
        <p:nvPicPr>
          <p:cNvPr id="316" name="Picture 2" descr="Image result for checkmark">
            <a:extLst>
              <a:ext uri="{FF2B5EF4-FFF2-40B4-BE49-F238E27FC236}">
                <a16:creationId xmlns:a16="http://schemas.microsoft.com/office/drawing/2014/main" id="{1DB7F71B-E597-4654-A33D-ED1146CE7DF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7774" y="4712369"/>
            <a:ext cx="502028" cy="493323"/>
          </a:xfrm>
          <a:prstGeom prst="rect">
            <a:avLst/>
          </a:prstGeom>
          <a:noFill/>
          <a:extLst>
            <a:ext uri="{909E8E84-426E-40DD-AFC4-6F175D3DCCD1}">
              <a14:hiddenFill xmlns:a14="http://schemas.microsoft.com/office/drawing/2010/main">
                <a:solidFill>
                  <a:srgbClr val="FFFFFF"/>
                </a:solidFill>
              </a14:hiddenFill>
            </a:ext>
          </a:extLst>
        </p:spPr>
      </p:pic>
      <p:pic>
        <p:nvPicPr>
          <p:cNvPr id="317" name="Picture 2" descr="Image result for checkmark">
            <a:extLst>
              <a:ext uri="{FF2B5EF4-FFF2-40B4-BE49-F238E27FC236}">
                <a16:creationId xmlns:a16="http://schemas.microsoft.com/office/drawing/2014/main" id="{E13A93B4-167F-404E-BFE5-B1271DE4AF1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4109" y="5351175"/>
            <a:ext cx="502028" cy="493323"/>
          </a:xfrm>
          <a:prstGeom prst="rect">
            <a:avLst/>
          </a:prstGeom>
          <a:noFill/>
          <a:extLst>
            <a:ext uri="{909E8E84-426E-40DD-AFC4-6F175D3DCCD1}">
              <a14:hiddenFill xmlns:a14="http://schemas.microsoft.com/office/drawing/2010/main">
                <a:solidFill>
                  <a:srgbClr val="FFFFFF"/>
                </a:solidFill>
              </a14:hiddenFill>
            </a:ext>
          </a:extLst>
        </p:spPr>
      </p:pic>
      <p:pic>
        <p:nvPicPr>
          <p:cNvPr id="318" name="Picture 2" descr="Image result for checkmark">
            <a:extLst>
              <a:ext uri="{FF2B5EF4-FFF2-40B4-BE49-F238E27FC236}">
                <a16:creationId xmlns:a16="http://schemas.microsoft.com/office/drawing/2014/main" id="{6F39ADB5-C9BF-4121-A186-289F71FFAD6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61607" y="6001781"/>
            <a:ext cx="502028" cy="493323"/>
          </a:xfrm>
          <a:prstGeom prst="rect">
            <a:avLst/>
          </a:prstGeom>
          <a:noFill/>
          <a:extLst>
            <a:ext uri="{909E8E84-426E-40DD-AFC4-6F175D3DCCD1}">
              <a14:hiddenFill xmlns:a14="http://schemas.microsoft.com/office/drawing/2010/main">
                <a:solidFill>
                  <a:srgbClr val="FFFFFF"/>
                </a:solidFill>
              </a14:hiddenFill>
            </a:ext>
          </a:extLst>
        </p:spPr>
      </p:pic>
      <p:grpSp>
        <p:nvGrpSpPr>
          <p:cNvPr id="498" name="그룹 374">
            <a:extLst>
              <a:ext uri="{FF2B5EF4-FFF2-40B4-BE49-F238E27FC236}">
                <a16:creationId xmlns:a16="http://schemas.microsoft.com/office/drawing/2014/main" id="{56FBDCF7-3428-4692-8033-A584519976EA}"/>
              </a:ext>
            </a:extLst>
          </p:cNvPr>
          <p:cNvGrpSpPr/>
          <p:nvPr/>
        </p:nvGrpSpPr>
        <p:grpSpPr>
          <a:xfrm>
            <a:off x="8662201" y="1542681"/>
            <a:ext cx="681105" cy="594159"/>
            <a:chOff x="3459207" y="4846674"/>
            <a:chExt cx="373065" cy="325441"/>
          </a:xfrm>
        </p:grpSpPr>
        <p:sp>
          <p:nvSpPr>
            <p:cNvPr id="499" name="Freeform 908">
              <a:extLst>
                <a:ext uri="{FF2B5EF4-FFF2-40B4-BE49-F238E27FC236}">
                  <a16:creationId xmlns:a16="http://schemas.microsoft.com/office/drawing/2014/main" id="{78F87EC5-95C8-45FF-A6F3-CC336F3B27AA}"/>
                </a:ext>
              </a:extLst>
            </p:cNvPr>
            <p:cNvSpPr>
              <a:spLocks/>
            </p:cNvSpPr>
            <p:nvPr/>
          </p:nvSpPr>
          <p:spPr bwMode="auto">
            <a:xfrm>
              <a:off x="3525882" y="5059401"/>
              <a:ext cx="49213" cy="47625"/>
            </a:xfrm>
            <a:custGeom>
              <a:avLst/>
              <a:gdLst>
                <a:gd name="T0" fmla="*/ 79 w 157"/>
                <a:gd name="T1" fmla="*/ 123 h 149"/>
                <a:gd name="T2" fmla="*/ 126 w 157"/>
                <a:gd name="T3" fmla="*/ 149 h 149"/>
                <a:gd name="T4" fmla="*/ 118 w 157"/>
                <a:gd name="T5" fmla="*/ 95 h 149"/>
                <a:gd name="T6" fmla="*/ 157 w 157"/>
                <a:gd name="T7" fmla="*/ 56 h 149"/>
                <a:gd name="T8" fmla="*/ 102 w 157"/>
                <a:gd name="T9" fmla="*/ 49 h 149"/>
                <a:gd name="T10" fmla="*/ 79 w 157"/>
                <a:gd name="T11" fmla="*/ 0 h 149"/>
                <a:gd name="T12" fmla="*/ 54 w 157"/>
                <a:gd name="T13" fmla="*/ 49 h 149"/>
                <a:gd name="T14" fmla="*/ 0 w 157"/>
                <a:gd name="T15" fmla="*/ 56 h 149"/>
                <a:gd name="T16" fmla="*/ 39 w 157"/>
                <a:gd name="T17" fmla="*/ 95 h 149"/>
                <a:gd name="T18" fmla="*/ 30 w 157"/>
                <a:gd name="T19" fmla="*/ 149 h 149"/>
                <a:gd name="T20" fmla="*/ 79 w 157"/>
                <a:gd name="T21" fmla="*/ 12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149">
                  <a:moveTo>
                    <a:pt x="79" y="123"/>
                  </a:moveTo>
                  <a:lnTo>
                    <a:pt x="126" y="149"/>
                  </a:lnTo>
                  <a:lnTo>
                    <a:pt x="118" y="95"/>
                  </a:lnTo>
                  <a:lnTo>
                    <a:pt x="157" y="56"/>
                  </a:lnTo>
                  <a:lnTo>
                    <a:pt x="102" y="49"/>
                  </a:lnTo>
                  <a:lnTo>
                    <a:pt x="79" y="0"/>
                  </a:lnTo>
                  <a:lnTo>
                    <a:pt x="54" y="49"/>
                  </a:lnTo>
                  <a:lnTo>
                    <a:pt x="0" y="56"/>
                  </a:lnTo>
                  <a:lnTo>
                    <a:pt x="39" y="95"/>
                  </a:lnTo>
                  <a:lnTo>
                    <a:pt x="30" y="149"/>
                  </a:lnTo>
                  <a:lnTo>
                    <a:pt x="79" y="123"/>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00" name="Freeform 909">
              <a:extLst>
                <a:ext uri="{FF2B5EF4-FFF2-40B4-BE49-F238E27FC236}">
                  <a16:creationId xmlns:a16="http://schemas.microsoft.com/office/drawing/2014/main" id="{FD00E50F-D90A-44E2-8972-DF67ACFE40AE}"/>
                </a:ext>
              </a:extLst>
            </p:cNvPr>
            <p:cNvSpPr>
              <a:spLocks/>
            </p:cNvSpPr>
            <p:nvPr/>
          </p:nvSpPr>
          <p:spPr bwMode="auto">
            <a:xfrm>
              <a:off x="3698921" y="4846674"/>
              <a:ext cx="38100" cy="36513"/>
            </a:xfrm>
            <a:custGeom>
              <a:avLst/>
              <a:gdLst>
                <a:gd name="T0" fmla="*/ 61 w 121"/>
                <a:gd name="T1" fmla="*/ 95 h 114"/>
                <a:gd name="T2" fmla="*/ 98 w 121"/>
                <a:gd name="T3" fmla="*/ 114 h 114"/>
                <a:gd name="T4" fmla="*/ 91 w 121"/>
                <a:gd name="T5" fmla="*/ 73 h 114"/>
                <a:gd name="T6" fmla="*/ 121 w 121"/>
                <a:gd name="T7" fmla="*/ 44 h 114"/>
                <a:gd name="T8" fmla="*/ 80 w 121"/>
                <a:gd name="T9" fmla="*/ 38 h 114"/>
                <a:gd name="T10" fmla="*/ 61 w 121"/>
                <a:gd name="T11" fmla="*/ 0 h 114"/>
                <a:gd name="T12" fmla="*/ 42 w 121"/>
                <a:gd name="T13" fmla="*/ 38 h 114"/>
                <a:gd name="T14" fmla="*/ 0 w 121"/>
                <a:gd name="T15" fmla="*/ 44 h 114"/>
                <a:gd name="T16" fmla="*/ 31 w 121"/>
                <a:gd name="T17" fmla="*/ 73 h 114"/>
                <a:gd name="T18" fmla="*/ 24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1" y="73"/>
                  </a:lnTo>
                  <a:lnTo>
                    <a:pt x="121" y="44"/>
                  </a:lnTo>
                  <a:lnTo>
                    <a:pt x="80" y="38"/>
                  </a:lnTo>
                  <a:lnTo>
                    <a:pt x="61" y="0"/>
                  </a:lnTo>
                  <a:lnTo>
                    <a:pt x="42" y="38"/>
                  </a:lnTo>
                  <a:lnTo>
                    <a:pt x="0" y="44"/>
                  </a:lnTo>
                  <a:lnTo>
                    <a:pt x="31" y="73"/>
                  </a:lnTo>
                  <a:lnTo>
                    <a:pt x="24" y="114"/>
                  </a:lnTo>
                  <a:lnTo>
                    <a:pt x="61" y="95"/>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01" name="Freeform 910">
              <a:extLst>
                <a:ext uri="{FF2B5EF4-FFF2-40B4-BE49-F238E27FC236}">
                  <a16:creationId xmlns:a16="http://schemas.microsoft.com/office/drawing/2014/main" id="{A1158E9B-341B-4C74-BD66-63BA46C93A33}"/>
                </a:ext>
              </a:extLst>
            </p:cNvPr>
            <p:cNvSpPr>
              <a:spLocks/>
            </p:cNvSpPr>
            <p:nvPr/>
          </p:nvSpPr>
          <p:spPr bwMode="auto">
            <a:xfrm>
              <a:off x="3665583" y="5135602"/>
              <a:ext cx="38100" cy="36513"/>
            </a:xfrm>
            <a:custGeom>
              <a:avLst/>
              <a:gdLst>
                <a:gd name="T0" fmla="*/ 60 w 120"/>
                <a:gd name="T1" fmla="*/ 95 h 114"/>
                <a:gd name="T2" fmla="*/ 98 w 120"/>
                <a:gd name="T3" fmla="*/ 114 h 114"/>
                <a:gd name="T4" fmla="*/ 91 w 120"/>
                <a:gd name="T5" fmla="*/ 73 h 114"/>
                <a:gd name="T6" fmla="*/ 120 w 120"/>
                <a:gd name="T7" fmla="*/ 43 h 114"/>
                <a:gd name="T8" fmla="*/ 78 w 120"/>
                <a:gd name="T9" fmla="*/ 37 h 114"/>
                <a:gd name="T10" fmla="*/ 60 w 120"/>
                <a:gd name="T11" fmla="*/ 0 h 114"/>
                <a:gd name="T12" fmla="*/ 42 w 120"/>
                <a:gd name="T13" fmla="*/ 37 h 114"/>
                <a:gd name="T14" fmla="*/ 0 w 120"/>
                <a:gd name="T15" fmla="*/ 43 h 114"/>
                <a:gd name="T16" fmla="*/ 31 w 120"/>
                <a:gd name="T17" fmla="*/ 73 h 114"/>
                <a:gd name="T18" fmla="*/ 24 w 120"/>
                <a:gd name="T19" fmla="*/ 114 h 114"/>
                <a:gd name="T20" fmla="*/ 60 w 120"/>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 h="114">
                  <a:moveTo>
                    <a:pt x="60" y="95"/>
                  </a:moveTo>
                  <a:lnTo>
                    <a:pt x="98" y="114"/>
                  </a:lnTo>
                  <a:lnTo>
                    <a:pt x="91" y="73"/>
                  </a:lnTo>
                  <a:lnTo>
                    <a:pt x="120" y="43"/>
                  </a:lnTo>
                  <a:lnTo>
                    <a:pt x="78" y="37"/>
                  </a:lnTo>
                  <a:lnTo>
                    <a:pt x="60" y="0"/>
                  </a:lnTo>
                  <a:lnTo>
                    <a:pt x="42" y="37"/>
                  </a:lnTo>
                  <a:lnTo>
                    <a:pt x="0" y="43"/>
                  </a:lnTo>
                  <a:lnTo>
                    <a:pt x="31" y="73"/>
                  </a:lnTo>
                  <a:lnTo>
                    <a:pt x="24" y="114"/>
                  </a:lnTo>
                  <a:lnTo>
                    <a:pt x="60"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02" name="Freeform 911">
              <a:extLst>
                <a:ext uri="{FF2B5EF4-FFF2-40B4-BE49-F238E27FC236}">
                  <a16:creationId xmlns:a16="http://schemas.microsoft.com/office/drawing/2014/main" id="{9B93B29D-2DF7-4FD7-8B7D-6C460D63BD7A}"/>
                </a:ext>
              </a:extLst>
            </p:cNvPr>
            <p:cNvSpPr>
              <a:spLocks/>
            </p:cNvSpPr>
            <p:nvPr/>
          </p:nvSpPr>
          <p:spPr bwMode="auto">
            <a:xfrm>
              <a:off x="3459207" y="4980026"/>
              <a:ext cx="38100" cy="36513"/>
            </a:xfrm>
            <a:custGeom>
              <a:avLst/>
              <a:gdLst>
                <a:gd name="T0" fmla="*/ 61 w 121"/>
                <a:gd name="T1" fmla="*/ 95 h 114"/>
                <a:gd name="T2" fmla="*/ 98 w 121"/>
                <a:gd name="T3" fmla="*/ 114 h 114"/>
                <a:gd name="T4" fmla="*/ 90 w 121"/>
                <a:gd name="T5" fmla="*/ 73 h 114"/>
                <a:gd name="T6" fmla="*/ 121 w 121"/>
                <a:gd name="T7" fmla="*/ 44 h 114"/>
                <a:gd name="T8" fmla="*/ 79 w 121"/>
                <a:gd name="T9" fmla="*/ 38 h 114"/>
                <a:gd name="T10" fmla="*/ 61 w 121"/>
                <a:gd name="T11" fmla="*/ 0 h 114"/>
                <a:gd name="T12" fmla="*/ 41 w 121"/>
                <a:gd name="T13" fmla="*/ 38 h 114"/>
                <a:gd name="T14" fmla="*/ 0 w 121"/>
                <a:gd name="T15" fmla="*/ 44 h 114"/>
                <a:gd name="T16" fmla="*/ 31 w 121"/>
                <a:gd name="T17" fmla="*/ 73 h 114"/>
                <a:gd name="T18" fmla="*/ 23 w 121"/>
                <a:gd name="T19" fmla="*/ 114 h 114"/>
                <a:gd name="T20" fmla="*/ 61 w 121"/>
                <a:gd name="T21"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4">
                  <a:moveTo>
                    <a:pt x="61" y="95"/>
                  </a:moveTo>
                  <a:lnTo>
                    <a:pt x="98" y="114"/>
                  </a:lnTo>
                  <a:lnTo>
                    <a:pt x="90" y="73"/>
                  </a:lnTo>
                  <a:lnTo>
                    <a:pt x="121" y="44"/>
                  </a:lnTo>
                  <a:lnTo>
                    <a:pt x="79" y="38"/>
                  </a:lnTo>
                  <a:lnTo>
                    <a:pt x="61" y="0"/>
                  </a:lnTo>
                  <a:lnTo>
                    <a:pt x="41" y="38"/>
                  </a:lnTo>
                  <a:lnTo>
                    <a:pt x="0" y="44"/>
                  </a:lnTo>
                  <a:lnTo>
                    <a:pt x="31" y="73"/>
                  </a:lnTo>
                  <a:lnTo>
                    <a:pt x="23" y="114"/>
                  </a:lnTo>
                  <a:lnTo>
                    <a:pt x="61"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03" name="Freeform 912">
              <a:extLst>
                <a:ext uri="{FF2B5EF4-FFF2-40B4-BE49-F238E27FC236}">
                  <a16:creationId xmlns:a16="http://schemas.microsoft.com/office/drawing/2014/main" id="{80DD621B-BC99-4BA5-9947-AC20CD8D6598}"/>
                </a:ext>
              </a:extLst>
            </p:cNvPr>
            <p:cNvSpPr>
              <a:spLocks/>
            </p:cNvSpPr>
            <p:nvPr/>
          </p:nvSpPr>
          <p:spPr bwMode="auto">
            <a:xfrm>
              <a:off x="3575095" y="4935575"/>
              <a:ext cx="128588" cy="127001"/>
            </a:xfrm>
            <a:custGeom>
              <a:avLst/>
              <a:gdLst>
                <a:gd name="T0" fmla="*/ 272 w 401"/>
                <a:gd name="T1" fmla="*/ 130 h 402"/>
                <a:gd name="T2" fmla="*/ 401 w 401"/>
                <a:gd name="T3" fmla="*/ 201 h 402"/>
                <a:gd name="T4" fmla="*/ 272 w 401"/>
                <a:gd name="T5" fmla="*/ 272 h 402"/>
                <a:gd name="T6" fmla="*/ 201 w 401"/>
                <a:gd name="T7" fmla="*/ 402 h 402"/>
                <a:gd name="T8" fmla="*/ 129 w 401"/>
                <a:gd name="T9" fmla="*/ 272 h 402"/>
                <a:gd name="T10" fmla="*/ 0 w 401"/>
                <a:gd name="T11" fmla="*/ 201 h 402"/>
                <a:gd name="T12" fmla="*/ 129 w 401"/>
                <a:gd name="T13" fmla="*/ 130 h 402"/>
                <a:gd name="T14" fmla="*/ 201 w 401"/>
                <a:gd name="T15" fmla="*/ 0 h 402"/>
                <a:gd name="T16" fmla="*/ 272 w 401"/>
                <a:gd name="T17" fmla="*/ 13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1" h="402">
                  <a:moveTo>
                    <a:pt x="272" y="130"/>
                  </a:moveTo>
                  <a:lnTo>
                    <a:pt x="401" y="201"/>
                  </a:lnTo>
                  <a:lnTo>
                    <a:pt x="272" y="272"/>
                  </a:lnTo>
                  <a:lnTo>
                    <a:pt x="201" y="402"/>
                  </a:lnTo>
                  <a:lnTo>
                    <a:pt x="129" y="272"/>
                  </a:lnTo>
                  <a:lnTo>
                    <a:pt x="0" y="201"/>
                  </a:lnTo>
                  <a:lnTo>
                    <a:pt x="129" y="130"/>
                  </a:lnTo>
                  <a:lnTo>
                    <a:pt x="201" y="0"/>
                  </a:lnTo>
                  <a:lnTo>
                    <a:pt x="272"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04" name="Freeform 913">
              <a:extLst>
                <a:ext uri="{FF2B5EF4-FFF2-40B4-BE49-F238E27FC236}">
                  <a16:creationId xmlns:a16="http://schemas.microsoft.com/office/drawing/2014/main" id="{934F164B-0A8A-4A7C-A308-E71D4F5B2869}"/>
                </a:ext>
              </a:extLst>
            </p:cNvPr>
            <p:cNvSpPr>
              <a:spLocks/>
            </p:cNvSpPr>
            <p:nvPr/>
          </p:nvSpPr>
          <p:spPr bwMode="auto">
            <a:xfrm>
              <a:off x="3771947" y="4975263"/>
              <a:ext cx="60325" cy="58738"/>
            </a:xfrm>
            <a:custGeom>
              <a:avLst/>
              <a:gdLst>
                <a:gd name="T0" fmla="*/ 126 w 186"/>
                <a:gd name="T1" fmla="*/ 59 h 185"/>
                <a:gd name="T2" fmla="*/ 186 w 186"/>
                <a:gd name="T3" fmla="*/ 92 h 185"/>
                <a:gd name="T4" fmla="*/ 126 w 186"/>
                <a:gd name="T5" fmla="*/ 125 h 185"/>
                <a:gd name="T6" fmla="*/ 93 w 186"/>
                <a:gd name="T7" fmla="*/ 185 h 185"/>
                <a:gd name="T8" fmla="*/ 60 w 186"/>
                <a:gd name="T9" fmla="*/ 125 h 185"/>
                <a:gd name="T10" fmla="*/ 0 w 186"/>
                <a:gd name="T11" fmla="*/ 92 h 185"/>
                <a:gd name="T12" fmla="*/ 60 w 186"/>
                <a:gd name="T13" fmla="*/ 59 h 185"/>
                <a:gd name="T14" fmla="*/ 93 w 186"/>
                <a:gd name="T15" fmla="*/ 0 h 185"/>
                <a:gd name="T16" fmla="*/ 126 w 186"/>
                <a:gd name="T17" fmla="*/ 59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85">
                  <a:moveTo>
                    <a:pt x="126" y="59"/>
                  </a:moveTo>
                  <a:lnTo>
                    <a:pt x="186" y="92"/>
                  </a:lnTo>
                  <a:lnTo>
                    <a:pt x="126" y="125"/>
                  </a:lnTo>
                  <a:lnTo>
                    <a:pt x="93" y="185"/>
                  </a:lnTo>
                  <a:lnTo>
                    <a:pt x="60" y="125"/>
                  </a:lnTo>
                  <a:lnTo>
                    <a:pt x="0" y="92"/>
                  </a:lnTo>
                  <a:lnTo>
                    <a:pt x="60" y="59"/>
                  </a:lnTo>
                  <a:lnTo>
                    <a:pt x="93" y="0"/>
                  </a:lnTo>
                  <a:lnTo>
                    <a:pt x="126" y="59"/>
                  </a:lnTo>
                  <a:close/>
                </a:path>
              </a:pathLst>
            </a:custGeom>
            <a:solidFill>
              <a:srgbClr val="F8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05" name="Freeform 914">
              <a:extLst>
                <a:ext uri="{FF2B5EF4-FFF2-40B4-BE49-F238E27FC236}">
                  <a16:creationId xmlns:a16="http://schemas.microsoft.com/office/drawing/2014/main" id="{5B1E3769-C160-47A6-B70B-8AEF7FF5599B}"/>
                </a:ext>
              </a:extLst>
            </p:cNvPr>
            <p:cNvSpPr>
              <a:spLocks/>
            </p:cNvSpPr>
            <p:nvPr/>
          </p:nvSpPr>
          <p:spPr bwMode="auto">
            <a:xfrm>
              <a:off x="3517945" y="4902237"/>
              <a:ext cx="39688" cy="39688"/>
            </a:xfrm>
            <a:custGeom>
              <a:avLst/>
              <a:gdLst>
                <a:gd name="T0" fmla="*/ 84 w 125"/>
                <a:gd name="T1" fmla="*/ 40 h 124"/>
                <a:gd name="T2" fmla="*/ 125 w 125"/>
                <a:gd name="T3" fmla="*/ 62 h 124"/>
                <a:gd name="T4" fmla="*/ 84 w 125"/>
                <a:gd name="T5" fmla="*/ 84 h 124"/>
                <a:gd name="T6" fmla="*/ 63 w 125"/>
                <a:gd name="T7" fmla="*/ 124 h 124"/>
                <a:gd name="T8" fmla="*/ 41 w 125"/>
                <a:gd name="T9" fmla="*/ 84 h 124"/>
                <a:gd name="T10" fmla="*/ 0 w 125"/>
                <a:gd name="T11" fmla="*/ 62 h 124"/>
                <a:gd name="T12" fmla="*/ 41 w 125"/>
                <a:gd name="T13" fmla="*/ 40 h 124"/>
                <a:gd name="T14" fmla="*/ 63 w 125"/>
                <a:gd name="T15" fmla="*/ 0 h 124"/>
                <a:gd name="T16" fmla="*/ 84 w 125"/>
                <a:gd name="T17" fmla="*/ 4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124">
                  <a:moveTo>
                    <a:pt x="84" y="40"/>
                  </a:moveTo>
                  <a:lnTo>
                    <a:pt x="125" y="62"/>
                  </a:lnTo>
                  <a:lnTo>
                    <a:pt x="84" y="84"/>
                  </a:lnTo>
                  <a:lnTo>
                    <a:pt x="63" y="124"/>
                  </a:lnTo>
                  <a:lnTo>
                    <a:pt x="41" y="84"/>
                  </a:lnTo>
                  <a:lnTo>
                    <a:pt x="0" y="62"/>
                  </a:lnTo>
                  <a:lnTo>
                    <a:pt x="41" y="40"/>
                  </a:lnTo>
                  <a:lnTo>
                    <a:pt x="63" y="0"/>
                  </a:lnTo>
                  <a:lnTo>
                    <a:pt x="84"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06" name="Freeform 915">
              <a:extLst>
                <a:ext uri="{FF2B5EF4-FFF2-40B4-BE49-F238E27FC236}">
                  <a16:creationId xmlns:a16="http://schemas.microsoft.com/office/drawing/2014/main" id="{E07D2F83-8BE7-4665-9845-13091C3592F8}"/>
                </a:ext>
              </a:extLst>
            </p:cNvPr>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07" name="Freeform 916">
              <a:extLst>
                <a:ext uri="{FF2B5EF4-FFF2-40B4-BE49-F238E27FC236}">
                  <a16:creationId xmlns:a16="http://schemas.microsoft.com/office/drawing/2014/main" id="{3E480450-AE1E-4D3A-965E-EFE4B622EE75}"/>
                </a:ext>
              </a:extLst>
            </p:cNvPr>
            <p:cNvSpPr>
              <a:spLocks/>
            </p:cNvSpPr>
            <p:nvPr/>
          </p:nvSpPr>
          <p:spPr bwMode="auto">
            <a:xfrm>
              <a:off x="3717971" y="4929225"/>
              <a:ext cx="19050" cy="20638"/>
            </a:xfrm>
            <a:custGeom>
              <a:avLst/>
              <a:gdLst>
                <a:gd name="T0" fmla="*/ 30 w 62"/>
                <a:gd name="T1" fmla="*/ 0 h 62"/>
                <a:gd name="T2" fmla="*/ 19 w 62"/>
                <a:gd name="T3" fmla="*/ 20 h 62"/>
                <a:gd name="T4" fmla="*/ 0 w 62"/>
                <a:gd name="T5" fmla="*/ 31 h 62"/>
                <a:gd name="T6" fmla="*/ 19 w 62"/>
                <a:gd name="T7" fmla="*/ 42 h 62"/>
                <a:gd name="T8" fmla="*/ 30 w 62"/>
                <a:gd name="T9" fmla="*/ 62 h 62"/>
                <a:gd name="T10" fmla="*/ 41 w 62"/>
                <a:gd name="T11" fmla="*/ 42 h 62"/>
                <a:gd name="T12" fmla="*/ 62 w 62"/>
                <a:gd name="T13" fmla="*/ 31 h 62"/>
                <a:gd name="T14" fmla="*/ 41 w 62"/>
                <a:gd name="T15" fmla="*/ 20 h 62"/>
                <a:gd name="T16" fmla="*/ 30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0" y="0"/>
                  </a:moveTo>
                  <a:lnTo>
                    <a:pt x="19" y="20"/>
                  </a:lnTo>
                  <a:lnTo>
                    <a:pt x="0" y="31"/>
                  </a:lnTo>
                  <a:lnTo>
                    <a:pt x="19" y="42"/>
                  </a:lnTo>
                  <a:lnTo>
                    <a:pt x="30" y="62"/>
                  </a:lnTo>
                  <a:lnTo>
                    <a:pt x="41" y="42"/>
                  </a:lnTo>
                  <a:lnTo>
                    <a:pt x="62" y="31"/>
                  </a:lnTo>
                  <a:lnTo>
                    <a:pt x="41" y="20"/>
                  </a:lnTo>
                  <a:lnTo>
                    <a:pt x="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08" name="Freeform 917">
              <a:extLst>
                <a:ext uri="{FF2B5EF4-FFF2-40B4-BE49-F238E27FC236}">
                  <a16:creationId xmlns:a16="http://schemas.microsoft.com/office/drawing/2014/main" id="{76AE5C34-5E9A-4B17-81B6-0FD1BC769E0F}"/>
                </a:ext>
              </a:extLst>
            </p:cNvPr>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09" name="Freeform 918">
              <a:extLst>
                <a:ext uri="{FF2B5EF4-FFF2-40B4-BE49-F238E27FC236}">
                  <a16:creationId xmlns:a16="http://schemas.microsoft.com/office/drawing/2014/main" id="{0B8928F6-DFA6-4D59-8975-72BFF17303EC}"/>
                </a:ext>
              </a:extLst>
            </p:cNvPr>
            <p:cNvSpPr>
              <a:spLocks/>
            </p:cNvSpPr>
            <p:nvPr/>
          </p:nvSpPr>
          <p:spPr bwMode="auto">
            <a:xfrm>
              <a:off x="3706859" y="5107027"/>
              <a:ext cx="20638" cy="19050"/>
            </a:xfrm>
            <a:custGeom>
              <a:avLst/>
              <a:gdLst>
                <a:gd name="T0" fmla="*/ 32 w 62"/>
                <a:gd name="T1" fmla="*/ 0 h 62"/>
                <a:gd name="T2" fmla="*/ 21 w 62"/>
                <a:gd name="T3" fmla="*/ 20 h 62"/>
                <a:gd name="T4" fmla="*/ 0 w 62"/>
                <a:gd name="T5" fmla="*/ 32 h 62"/>
                <a:gd name="T6" fmla="*/ 21 w 62"/>
                <a:gd name="T7" fmla="*/ 43 h 62"/>
                <a:gd name="T8" fmla="*/ 32 w 62"/>
                <a:gd name="T9" fmla="*/ 62 h 62"/>
                <a:gd name="T10" fmla="*/ 43 w 62"/>
                <a:gd name="T11" fmla="*/ 43 h 62"/>
                <a:gd name="T12" fmla="*/ 62 w 62"/>
                <a:gd name="T13" fmla="*/ 32 h 62"/>
                <a:gd name="T14" fmla="*/ 43 w 62"/>
                <a:gd name="T15" fmla="*/ 20 h 62"/>
                <a:gd name="T16" fmla="*/ 32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2" y="0"/>
                  </a:moveTo>
                  <a:lnTo>
                    <a:pt x="21" y="20"/>
                  </a:lnTo>
                  <a:lnTo>
                    <a:pt x="0" y="32"/>
                  </a:lnTo>
                  <a:lnTo>
                    <a:pt x="21" y="43"/>
                  </a:lnTo>
                  <a:lnTo>
                    <a:pt x="32" y="62"/>
                  </a:lnTo>
                  <a:lnTo>
                    <a:pt x="43" y="43"/>
                  </a:lnTo>
                  <a:lnTo>
                    <a:pt x="62" y="32"/>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10" name="Freeform 919">
              <a:extLst>
                <a:ext uri="{FF2B5EF4-FFF2-40B4-BE49-F238E27FC236}">
                  <a16:creationId xmlns:a16="http://schemas.microsoft.com/office/drawing/2014/main" id="{E94D2306-8F37-4E5A-AE7D-D672765D435C}"/>
                </a:ext>
              </a:extLst>
            </p:cNvPr>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83" name="Freeform 920">
              <a:extLst>
                <a:ext uri="{FF2B5EF4-FFF2-40B4-BE49-F238E27FC236}">
                  <a16:creationId xmlns:a16="http://schemas.microsoft.com/office/drawing/2014/main" id="{052E5D78-602D-4135-86DD-DCFF85EFAC5C}"/>
                </a:ext>
              </a:extLst>
            </p:cNvPr>
            <p:cNvSpPr>
              <a:spLocks/>
            </p:cNvSpPr>
            <p:nvPr/>
          </p:nvSpPr>
          <p:spPr bwMode="auto">
            <a:xfrm>
              <a:off x="3722734" y="5072102"/>
              <a:ext cx="19050" cy="20638"/>
            </a:xfrm>
            <a:custGeom>
              <a:avLst/>
              <a:gdLst>
                <a:gd name="T0" fmla="*/ 31 w 62"/>
                <a:gd name="T1" fmla="*/ 0 h 62"/>
                <a:gd name="T2" fmla="*/ 20 w 62"/>
                <a:gd name="T3" fmla="*/ 21 h 62"/>
                <a:gd name="T4" fmla="*/ 0 w 62"/>
                <a:gd name="T5" fmla="*/ 32 h 62"/>
                <a:gd name="T6" fmla="*/ 20 w 62"/>
                <a:gd name="T7" fmla="*/ 43 h 62"/>
                <a:gd name="T8" fmla="*/ 31 w 62"/>
                <a:gd name="T9" fmla="*/ 62 h 62"/>
                <a:gd name="T10" fmla="*/ 41 w 62"/>
                <a:gd name="T11" fmla="*/ 43 h 62"/>
                <a:gd name="T12" fmla="*/ 62 w 62"/>
                <a:gd name="T13" fmla="*/ 32 h 62"/>
                <a:gd name="T14" fmla="*/ 41 w 62"/>
                <a:gd name="T15" fmla="*/ 21 h 62"/>
                <a:gd name="T16" fmla="*/ 31 w 6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2">
                  <a:moveTo>
                    <a:pt x="31" y="0"/>
                  </a:moveTo>
                  <a:lnTo>
                    <a:pt x="20" y="21"/>
                  </a:lnTo>
                  <a:lnTo>
                    <a:pt x="0" y="32"/>
                  </a:lnTo>
                  <a:lnTo>
                    <a:pt x="20" y="43"/>
                  </a:lnTo>
                  <a:lnTo>
                    <a:pt x="31" y="62"/>
                  </a:lnTo>
                  <a:lnTo>
                    <a:pt x="41" y="43"/>
                  </a:lnTo>
                  <a:lnTo>
                    <a:pt x="62" y="32"/>
                  </a:lnTo>
                  <a:lnTo>
                    <a:pt x="41"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84" name="Freeform 921">
              <a:extLst>
                <a:ext uri="{FF2B5EF4-FFF2-40B4-BE49-F238E27FC236}">
                  <a16:creationId xmlns:a16="http://schemas.microsoft.com/office/drawing/2014/main" id="{29B70D3A-409D-42E2-ABE1-35B0A6E7DD22}"/>
                </a:ext>
              </a:extLst>
            </p:cNvPr>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85" name="Freeform 922">
              <a:extLst>
                <a:ext uri="{FF2B5EF4-FFF2-40B4-BE49-F238E27FC236}">
                  <a16:creationId xmlns:a16="http://schemas.microsoft.com/office/drawing/2014/main" id="{A6AA8EDE-022D-4A03-A1B8-F1AB82FC2EC1}"/>
                </a:ext>
              </a:extLst>
            </p:cNvPr>
            <p:cNvSpPr>
              <a:spLocks/>
            </p:cNvSpPr>
            <p:nvPr/>
          </p:nvSpPr>
          <p:spPr bwMode="auto">
            <a:xfrm>
              <a:off x="3517945" y="4854612"/>
              <a:ext cx="20638" cy="19050"/>
            </a:xfrm>
            <a:custGeom>
              <a:avLst/>
              <a:gdLst>
                <a:gd name="T0" fmla="*/ 31 w 63"/>
                <a:gd name="T1" fmla="*/ 0 h 63"/>
                <a:gd name="T2" fmla="*/ 20 w 63"/>
                <a:gd name="T3" fmla="*/ 21 h 63"/>
                <a:gd name="T4" fmla="*/ 0 w 63"/>
                <a:gd name="T5" fmla="*/ 32 h 63"/>
                <a:gd name="T6" fmla="*/ 20 w 63"/>
                <a:gd name="T7" fmla="*/ 43 h 63"/>
                <a:gd name="T8" fmla="*/ 31 w 63"/>
                <a:gd name="T9" fmla="*/ 63 h 63"/>
                <a:gd name="T10" fmla="*/ 42 w 63"/>
                <a:gd name="T11" fmla="*/ 43 h 63"/>
                <a:gd name="T12" fmla="*/ 63 w 63"/>
                <a:gd name="T13" fmla="*/ 32 h 63"/>
                <a:gd name="T14" fmla="*/ 42 w 63"/>
                <a:gd name="T15" fmla="*/ 21 h 63"/>
                <a:gd name="T16" fmla="*/ 31 w 63"/>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31" y="0"/>
                  </a:moveTo>
                  <a:lnTo>
                    <a:pt x="20" y="21"/>
                  </a:lnTo>
                  <a:lnTo>
                    <a:pt x="0" y="32"/>
                  </a:lnTo>
                  <a:lnTo>
                    <a:pt x="20" y="43"/>
                  </a:lnTo>
                  <a:lnTo>
                    <a:pt x="31" y="63"/>
                  </a:lnTo>
                  <a:lnTo>
                    <a:pt x="42" y="43"/>
                  </a:lnTo>
                  <a:lnTo>
                    <a:pt x="63"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86" name="Freeform 923">
              <a:extLst>
                <a:ext uri="{FF2B5EF4-FFF2-40B4-BE49-F238E27FC236}">
                  <a16:creationId xmlns:a16="http://schemas.microsoft.com/office/drawing/2014/main" id="{05003CEA-F28A-4A38-8583-085E45D58DEF}"/>
                </a:ext>
              </a:extLst>
            </p:cNvPr>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87" name="Freeform 924">
              <a:extLst>
                <a:ext uri="{FF2B5EF4-FFF2-40B4-BE49-F238E27FC236}">
                  <a16:creationId xmlns:a16="http://schemas.microsoft.com/office/drawing/2014/main" id="{65D64934-EFC9-453A-84B0-8A2D42B53600}"/>
                </a:ext>
              </a:extLst>
            </p:cNvPr>
            <p:cNvSpPr>
              <a:spLocks/>
            </p:cNvSpPr>
            <p:nvPr/>
          </p:nvSpPr>
          <p:spPr bwMode="auto">
            <a:xfrm>
              <a:off x="3617958" y="5095914"/>
              <a:ext cx="19050" cy="20638"/>
            </a:xfrm>
            <a:custGeom>
              <a:avLst/>
              <a:gdLst>
                <a:gd name="T0" fmla="*/ 31 w 62"/>
                <a:gd name="T1" fmla="*/ 0 h 64"/>
                <a:gd name="T2" fmla="*/ 20 w 62"/>
                <a:gd name="T3" fmla="*/ 21 h 64"/>
                <a:gd name="T4" fmla="*/ 0 w 62"/>
                <a:gd name="T5" fmla="*/ 32 h 64"/>
                <a:gd name="T6" fmla="*/ 20 w 62"/>
                <a:gd name="T7" fmla="*/ 43 h 64"/>
                <a:gd name="T8" fmla="*/ 31 w 62"/>
                <a:gd name="T9" fmla="*/ 64 h 64"/>
                <a:gd name="T10" fmla="*/ 42 w 62"/>
                <a:gd name="T11" fmla="*/ 43 h 64"/>
                <a:gd name="T12" fmla="*/ 62 w 62"/>
                <a:gd name="T13" fmla="*/ 32 h 64"/>
                <a:gd name="T14" fmla="*/ 42 w 62"/>
                <a:gd name="T15" fmla="*/ 21 h 64"/>
                <a:gd name="T16" fmla="*/ 31 w 62"/>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4">
                  <a:moveTo>
                    <a:pt x="31" y="0"/>
                  </a:moveTo>
                  <a:lnTo>
                    <a:pt x="20" y="21"/>
                  </a:lnTo>
                  <a:lnTo>
                    <a:pt x="0" y="32"/>
                  </a:lnTo>
                  <a:lnTo>
                    <a:pt x="20" y="43"/>
                  </a:lnTo>
                  <a:lnTo>
                    <a:pt x="31" y="64"/>
                  </a:lnTo>
                  <a:lnTo>
                    <a:pt x="42" y="43"/>
                  </a:lnTo>
                  <a:lnTo>
                    <a:pt x="62" y="32"/>
                  </a:lnTo>
                  <a:lnTo>
                    <a:pt x="42" y="21"/>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88" name="Freeform 925">
              <a:extLst>
                <a:ext uri="{FF2B5EF4-FFF2-40B4-BE49-F238E27FC236}">
                  <a16:creationId xmlns:a16="http://schemas.microsoft.com/office/drawing/2014/main" id="{2F5D9483-9A03-49F1-AEA0-16E2DDCADC84}"/>
                </a:ext>
              </a:extLst>
            </p:cNvPr>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close/>
                </a:path>
              </a:pathLst>
            </a:custGeom>
            <a:solidFill>
              <a:srgbClr val="5E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89" name="Freeform 926">
              <a:extLst>
                <a:ext uri="{FF2B5EF4-FFF2-40B4-BE49-F238E27FC236}">
                  <a16:creationId xmlns:a16="http://schemas.microsoft.com/office/drawing/2014/main" id="{E87F1F66-0D1F-4794-9F9B-42A49150C1E1}"/>
                </a:ext>
              </a:extLst>
            </p:cNvPr>
            <p:cNvSpPr>
              <a:spLocks/>
            </p:cNvSpPr>
            <p:nvPr/>
          </p:nvSpPr>
          <p:spPr bwMode="auto">
            <a:xfrm>
              <a:off x="3592558" y="4864137"/>
              <a:ext cx="19050" cy="20638"/>
            </a:xfrm>
            <a:custGeom>
              <a:avLst/>
              <a:gdLst>
                <a:gd name="T0" fmla="*/ 32 w 63"/>
                <a:gd name="T1" fmla="*/ 0 h 62"/>
                <a:gd name="T2" fmla="*/ 21 w 63"/>
                <a:gd name="T3" fmla="*/ 20 h 62"/>
                <a:gd name="T4" fmla="*/ 0 w 63"/>
                <a:gd name="T5" fmla="*/ 31 h 62"/>
                <a:gd name="T6" fmla="*/ 21 w 63"/>
                <a:gd name="T7" fmla="*/ 42 h 62"/>
                <a:gd name="T8" fmla="*/ 32 w 63"/>
                <a:gd name="T9" fmla="*/ 62 h 62"/>
                <a:gd name="T10" fmla="*/ 43 w 63"/>
                <a:gd name="T11" fmla="*/ 42 h 62"/>
                <a:gd name="T12" fmla="*/ 63 w 63"/>
                <a:gd name="T13" fmla="*/ 31 h 62"/>
                <a:gd name="T14" fmla="*/ 43 w 63"/>
                <a:gd name="T15" fmla="*/ 20 h 62"/>
                <a:gd name="T16" fmla="*/ 32 w 6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32" y="0"/>
                  </a:moveTo>
                  <a:lnTo>
                    <a:pt x="21" y="20"/>
                  </a:lnTo>
                  <a:lnTo>
                    <a:pt x="0" y="31"/>
                  </a:lnTo>
                  <a:lnTo>
                    <a:pt x="21" y="42"/>
                  </a:lnTo>
                  <a:lnTo>
                    <a:pt x="32" y="62"/>
                  </a:lnTo>
                  <a:lnTo>
                    <a:pt x="43" y="42"/>
                  </a:lnTo>
                  <a:lnTo>
                    <a:pt x="63" y="31"/>
                  </a:lnTo>
                  <a:lnTo>
                    <a:pt x="43"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grpSp>
      <p:grpSp>
        <p:nvGrpSpPr>
          <p:cNvPr id="590" name="그룹 394">
            <a:extLst>
              <a:ext uri="{FF2B5EF4-FFF2-40B4-BE49-F238E27FC236}">
                <a16:creationId xmlns:a16="http://schemas.microsoft.com/office/drawing/2014/main" id="{E6115409-5CF6-448A-8E39-3E396C465CC7}"/>
              </a:ext>
            </a:extLst>
          </p:cNvPr>
          <p:cNvGrpSpPr/>
          <p:nvPr/>
        </p:nvGrpSpPr>
        <p:grpSpPr>
          <a:xfrm rot="3600000">
            <a:off x="8068231" y="5897843"/>
            <a:ext cx="560920" cy="480488"/>
            <a:chOff x="2630525" y="2335225"/>
            <a:chExt cx="420690" cy="360366"/>
          </a:xfrm>
        </p:grpSpPr>
        <p:sp>
          <p:nvSpPr>
            <p:cNvPr id="591" name="Freeform 426">
              <a:extLst>
                <a:ext uri="{FF2B5EF4-FFF2-40B4-BE49-F238E27FC236}">
                  <a16:creationId xmlns:a16="http://schemas.microsoft.com/office/drawing/2014/main" id="{4315A4A2-7672-4A1B-9001-42A6B6E16B6F}"/>
                </a:ext>
              </a:extLst>
            </p:cNvPr>
            <p:cNvSpPr>
              <a:spLocks/>
            </p:cNvSpPr>
            <p:nvPr/>
          </p:nvSpPr>
          <p:spPr bwMode="auto">
            <a:xfrm>
              <a:off x="2813089" y="2532077"/>
              <a:ext cx="55563" cy="7938"/>
            </a:xfrm>
            <a:custGeom>
              <a:avLst/>
              <a:gdLst>
                <a:gd name="T0" fmla="*/ 22 w 177"/>
                <a:gd name="T1" fmla="*/ 22 h 22"/>
                <a:gd name="T2" fmla="*/ 155 w 177"/>
                <a:gd name="T3" fmla="*/ 22 h 22"/>
                <a:gd name="T4" fmla="*/ 155 w 177"/>
                <a:gd name="T5" fmla="*/ 22 h 22"/>
                <a:gd name="T6" fmla="*/ 160 w 177"/>
                <a:gd name="T7" fmla="*/ 21 h 22"/>
                <a:gd name="T8" fmla="*/ 163 w 177"/>
                <a:gd name="T9" fmla="*/ 20 h 22"/>
                <a:gd name="T10" fmla="*/ 167 w 177"/>
                <a:gd name="T11" fmla="*/ 17 h 22"/>
                <a:gd name="T12" fmla="*/ 171 w 177"/>
                <a:gd name="T13" fmla="*/ 15 h 22"/>
                <a:gd name="T14" fmla="*/ 173 w 177"/>
                <a:gd name="T15" fmla="*/ 13 h 22"/>
                <a:gd name="T16" fmla="*/ 175 w 177"/>
                <a:gd name="T17" fmla="*/ 9 h 22"/>
                <a:gd name="T18" fmla="*/ 177 w 177"/>
                <a:gd name="T19" fmla="*/ 4 h 22"/>
                <a:gd name="T20" fmla="*/ 177 w 177"/>
                <a:gd name="T21" fmla="*/ 0 h 22"/>
                <a:gd name="T22" fmla="*/ 0 w 177"/>
                <a:gd name="T23" fmla="*/ 0 h 22"/>
                <a:gd name="T24" fmla="*/ 0 w 177"/>
                <a:gd name="T25" fmla="*/ 0 h 22"/>
                <a:gd name="T26" fmla="*/ 0 w 177"/>
                <a:gd name="T27" fmla="*/ 4 h 22"/>
                <a:gd name="T28" fmla="*/ 1 w 177"/>
                <a:gd name="T29" fmla="*/ 9 h 22"/>
                <a:gd name="T30" fmla="*/ 4 w 177"/>
                <a:gd name="T31" fmla="*/ 13 h 22"/>
                <a:gd name="T32" fmla="*/ 6 w 177"/>
                <a:gd name="T33" fmla="*/ 15 h 22"/>
                <a:gd name="T34" fmla="*/ 10 w 177"/>
                <a:gd name="T35" fmla="*/ 17 h 22"/>
                <a:gd name="T36" fmla="*/ 13 w 177"/>
                <a:gd name="T37" fmla="*/ 20 h 22"/>
                <a:gd name="T38" fmla="*/ 17 w 177"/>
                <a:gd name="T39" fmla="*/ 21 h 22"/>
                <a:gd name="T40" fmla="*/ 22 w 177"/>
                <a:gd name="T41" fmla="*/ 22 h 22"/>
                <a:gd name="T42" fmla="*/ 22 w 177"/>
                <a:gd name="T4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7" h="22">
                  <a:moveTo>
                    <a:pt x="22" y="22"/>
                  </a:moveTo>
                  <a:lnTo>
                    <a:pt x="155" y="22"/>
                  </a:lnTo>
                  <a:lnTo>
                    <a:pt x="155" y="22"/>
                  </a:lnTo>
                  <a:lnTo>
                    <a:pt x="160" y="21"/>
                  </a:lnTo>
                  <a:lnTo>
                    <a:pt x="163" y="20"/>
                  </a:lnTo>
                  <a:lnTo>
                    <a:pt x="167" y="17"/>
                  </a:lnTo>
                  <a:lnTo>
                    <a:pt x="171" y="15"/>
                  </a:lnTo>
                  <a:lnTo>
                    <a:pt x="173" y="13"/>
                  </a:lnTo>
                  <a:lnTo>
                    <a:pt x="175" y="9"/>
                  </a:lnTo>
                  <a:lnTo>
                    <a:pt x="177" y="4"/>
                  </a:lnTo>
                  <a:lnTo>
                    <a:pt x="177" y="0"/>
                  </a:lnTo>
                  <a:lnTo>
                    <a:pt x="0" y="0"/>
                  </a:lnTo>
                  <a:lnTo>
                    <a:pt x="0" y="0"/>
                  </a:lnTo>
                  <a:lnTo>
                    <a:pt x="0" y="4"/>
                  </a:lnTo>
                  <a:lnTo>
                    <a:pt x="1" y="9"/>
                  </a:lnTo>
                  <a:lnTo>
                    <a:pt x="4" y="13"/>
                  </a:lnTo>
                  <a:lnTo>
                    <a:pt x="6" y="15"/>
                  </a:lnTo>
                  <a:lnTo>
                    <a:pt x="10" y="17"/>
                  </a:lnTo>
                  <a:lnTo>
                    <a:pt x="13" y="20"/>
                  </a:lnTo>
                  <a:lnTo>
                    <a:pt x="17" y="21"/>
                  </a:lnTo>
                  <a:lnTo>
                    <a:pt x="22" y="22"/>
                  </a:lnTo>
                  <a:lnTo>
                    <a:pt x="22" y="22"/>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92" name="Freeform 427">
              <a:extLst>
                <a:ext uri="{FF2B5EF4-FFF2-40B4-BE49-F238E27FC236}">
                  <a16:creationId xmlns:a16="http://schemas.microsoft.com/office/drawing/2014/main" id="{470BFCB7-85C1-4EA4-A723-8C5017B12791}"/>
                </a:ext>
              </a:extLst>
            </p:cNvPr>
            <p:cNvSpPr>
              <a:spLocks/>
            </p:cNvSpPr>
            <p:nvPr/>
          </p:nvSpPr>
          <p:spPr bwMode="auto">
            <a:xfrm>
              <a:off x="2813089" y="2525727"/>
              <a:ext cx="55563" cy="6350"/>
            </a:xfrm>
            <a:custGeom>
              <a:avLst/>
              <a:gdLst>
                <a:gd name="T0" fmla="*/ 177 w 177"/>
                <a:gd name="T1" fmla="*/ 22 h 22"/>
                <a:gd name="T2" fmla="*/ 177 w 177"/>
                <a:gd name="T3" fmla="*/ 22 h 22"/>
                <a:gd name="T4" fmla="*/ 177 w 177"/>
                <a:gd name="T5" fmla="*/ 17 h 22"/>
                <a:gd name="T6" fmla="*/ 175 w 177"/>
                <a:gd name="T7" fmla="*/ 14 h 22"/>
                <a:gd name="T8" fmla="*/ 173 w 177"/>
                <a:gd name="T9" fmla="*/ 9 h 22"/>
                <a:gd name="T10" fmla="*/ 171 w 177"/>
                <a:gd name="T11" fmla="*/ 7 h 22"/>
                <a:gd name="T12" fmla="*/ 167 w 177"/>
                <a:gd name="T13" fmla="*/ 4 h 22"/>
                <a:gd name="T14" fmla="*/ 163 w 177"/>
                <a:gd name="T15" fmla="*/ 2 h 22"/>
                <a:gd name="T16" fmla="*/ 160 w 177"/>
                <a:gd name="T17" fmla="*/ 0 h 22"/>
                <a:gd name="T18" fmla="*/ 155 w 177"/>
                <a:gd name="T19" fmla="*/ 0 h 22"/>
                <a:gd name="T20" fmla="*/ 22 w 177"/>
                <a:gd name="T21" fmla="*/ 0 h 22"/>
                <a:gd name="T22" fmla="*/ 22 w 177"/>
                <a:gd name="T23" fmla="*/ 0 h 22"/>
                <a:gd name="T24" fmla="*/ 17 w 177"/>
                <a:gd name="T25" fmla="*/ 0 h 22"/>
                <a:gd name="T26" fmla="*/ 13 w 177"/>
                <a:gd name="T27" fmla="*/ 2 h 22"/>
                <a:gd name="T28" fmla="*/ 10 w 177"/>
                <a:gd name="T29" fmla="*/ 4 h 22"/>
                <a:gd name="T30" fmla="*/ 6 w 177"/>
                <a:gd name="T31" fmla="*/ 7 h 22"/>
                <a:gd name="T32" fmla="*/ 4 w 177"/>
                <a:gd name="T33" fmla="*/ 9 h 22"/>
                <a:gd name="T34" fmla="*/ 1 w 177"/>
                <a:gd name="T35" fmla="*/ 14 h 22"/>
                <a:gd name="T36" fmla="*/ 0 w 177"/>
                <a:gd name="T37" fmla="*/ 17 h 22"/>
                <a:gd name="T38" fmla="*/ 0 w 177"/>
                <a:gd name="T39" fmla="*/ 22 h 22"/>
                <a:gd name="T40" fmla="*/ 177 w 177"/>
                <a:gd name="T4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7" h="22">
                  <a:moveTo>
                    <a:pt x="177" y="22"/>
                  </a:moveTo>
                  <a:lnTo>
                    <a:pt x="177" y="22"/>
                  </a:lnTo>
                  <a:lnTo>
                    <a:pt x="177" y="17"/>
                  </a:lnTo>
                  <a:lnTo>
                    <a:pt x="175" y="14"/>
                  </a:lnTo>
                  <a:lnTo>
                    <a:pt x="173" y="9"/>
                  </a:lnTo>
                  <a:lnTo>
                    <a:pt x="171" y="7"/>
                  </a:lnTo>
                  <a:lnTo>
                    <a:pt x="167" y="4"/>
                  </a:lnTo>
                  <a:lnTo>
                    <a:pt x="163" y="2"/>
                  </a:lnTo>
                  <a:lnTo>
                    <a:pt x="160" y="0"/>
                  </a:lnTo>
                  <a:lnTo>
                    <a:pt x="155" y="0"/>
                  </a:lnTo>
                  <a:lnTo>
                    <a:pt x="22" y="0"/>
                  </a:lnTo>
                  <a:lnTo>
                    <a:pt x="22" y="0"/>
                  </a:lnTo>
                  <a:lnTo>
                    <a:pt x="17" y="0"/>
                  </a:lnTo>
                  <a:lnTo>
                    <a:pt x="13" y="2"/>
                  </a:lnTo>
                  <a:lnTo>
                    <a:pt x="10" y="4"/>
                  </a:lnTo>
                  <a:lnTo>
                    <a:pt x="6" y="7"/>
                  </a:lnTo>
                  <a:lnTo>
                    <a:pt x="4" y="9"/>
                  </a:lnTo>
                  <a:lnTo>
                    <a:pt x="1" y="14"/>
                  </a:lnTo>
                  <a:lnTo>
                    <a:pt x="0" y="17"/>
                  </a:lnTo>
                  <a:lnTo>
                    <a:pt x="0" y="22"/>
                  </a:lnTo>
                  <a:lnTo>
                    <a:pt x="177" y="22"/>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93" name="Freeform 428">
              <a:extLst>
                <a:ext uri="{FF2B5EF4-FFF2-40B4-BE49-F238E27FC236}">
                  <a16:creationId xmlns:a16="http://schemas.microsoft.com/office/drawing/2014/main" id="{F9ED9FCD-424F-447E-A368-8BBB3C755B7E}"/>
                </a:ext>
              </a:extLst>
            </p:cNvPr>
            <p:cNvSpPr>
              <a:spLocks/>
            </p:cNvSpPr>
            <p:nvPr/>
          </p:nvSpPr>
          <p:spPr bwMode="auto">
            <a:xfrm>
              <a:off x="2822614" y="2673366"/>
              <a:ext cx="17463" cy="22225"/>
            </a:xfrm>
            <a:custGeom>
              <a:avLst/>
              <a:gdLst>
                <a:gd name="T0" fmla="*/ 56 w 56"/>
                <a:gd name="T1" fmla="*/ 73 h 73"/>
                <a:gd name="T2" fmla="*/ 56 w 56"/>
                <a:gd name="T3" fmla="*/ 17 h 73"/>
                <a:gd name="T4" fmla="*/ 56 w 56"/>
                <a:gd name="T5" fmla="*/ 0 h 73"/>
                <a:gd name="T6" fmla="*/ 0 w 56"/>
                <a:gd name="T7" fmla="*/ 0 h 73"/>
                <a:gd name="T8" fmla="*/ 0 w 56"/>
                <a:gd name="T9" fmla="*/ 17 h 73"/>
                <a:gd name="T10" fmla="*/ 0 w 56"/>
                <a:gd name="T11" fmla="*/ 17 h 73"/>
                <a:gd name="T12" fmla="*/ 1 w 56"/>
                <a:gd name="T13" fmla="*/ 28 h 73"/>
                <a:gd name="T14" fmla="*/ 3 w 56"/>
                <a:gd name="T15" fmla="*/ 39 h 73"/>
                <a:gd name="T16" fmla="*/ 9 w 56"/>
                <a:gd name="T17" fmla="*/ 48 h 73"/>
                <a:gd name="T18" fmla="*/ 15 w 56"/>
                <a:gd name="T19" fmla="*/ 57 h 73"/>
                <a:gd name="T20" fmla="*/ 24 w 56"/>
                <a:gd name="T21" fmla="*/ 63 h 73"/>
                <a:gd name="T22" fmla="*/ 34 w 56"/>
                <a:gd name="T23" fmla="*/ 69 h 73"/>
                <a:gd name="T24" fmla="*/ 45 w 56"/>
                <a:gd name="T25" fmla="*/ 73 h 73"/>
                <a:gd name="T26" fmla="*/ 56 w 56"/>
                <a:gd name="T27" fmla="*/ 73 h 73"/>
                <a:gd name="T28" fmla="*/ 56 w 56"/>
                <a:gd name="T29"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73">
                  <a:moveTo>
                    <a:pt x="56" y="73"/>
                  </a:moveTo>
                  <a:lnTo>
                    <a:pt x="56" y="17"/>
                  </a:lnTo>
                  <a:lnTo>
                    <a:pt x="56" y="0"/>
                  </a:lnTo>
                  <a:lnTo>
                    <a:pt x="0" y="0"/>
                  </a:lnTo>
                  <a:lnTo>
                    <a:pt x="0" y="17"/>
                  </a:lnTo>
                  <a:lnTo>
                    <a:pt x="0" y="17"/>
                  </a:lnTo>
                  <a:lnTo>
                    <a:pt x="1" y="28"/>
                  </a:lnTo>
                  <a:lnTo>
                    <a:pt x="3" y="39"/>
                  </a:lnTo>
                  <a:lnTo>
                    <a:pt x="9" y="48"/>
                  </a:lnTo>
                  <a:lnTo>
                    <a:pt x="15" y="57"/>
                  </a:lnTo>
                  <a:lnTo>
                    <a:pt x="24" y="63"/>
                  </a:lnTo>
                  <a:lnTo>
                    <a:pt x="34" y="69"/>
                  </a:lnTo>
                  <a:lnTo>
                    <a:pt x="45" y="73"/>
                  </a:lnTo>
                  <a:lnTo>
                    <a:pt x="56" y="73"/>
                  </a:lnTo>
                  <a:lnTo>
                    <a:pt x="56" y="73"/>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94" name="Freeform 429">
              <a:extLst>
                <a:ext uri="{FF2B5EF4-FFF2-40B4-BE49-F238E27FC236}">
                  <a16:creationId xmlns:a16="http://schemas.microsoft.com/office/drawing/2014/main" id="{1CB5C8BD-0557-4DAE-AED2-8FC301E3BA8C}"/>
                </a:ext>
              </a:extLst>
            </p:cNvPr>
            <p:cNvSpPr>
              <a:spLocks/>
            </p:cNvSpPr>
            <p:nvPr/>
          </p:nvSpPr>
          <p:spPr bwMode="auto">
            <a:xfrm>
              <a:off x="2840077" y="2673366"/>
              <a:ext cx="19050" cy="22225"/>
            </a:xfrm>
            <a:custGeom>
              <a:avLst/>
              <a:gdLst>
                <a:gd name="T0" fmla="*/ 57 w 57"/>
                <a:gd name="T1" fmla="*/ 17 h 73"/>
                <a:gd name="T2" fmla="*/ 57 w 57"/>
                <a:gd name="T3" fmla="*/ 0 h 73"/>
                <a:gd name="T4" fmla="*/ 0 w 57"/>
                <a:gd name="T5" fmla="*/ 0 h 73"/>
                <a:gd name="T6" fmla="*/ 0 w 57"/>
                <a:gd name="T7" fmla="*/ 17 h 73"/>
                <a:gd name="T8" fmla="*/ 0 w 57"/>
                <a:gd name="T9" fmla="*/ 73 h 73"/>
                <a:gd name="T10" fmla="*/ 0 w 57"/>
                <a:gd name="T11" fmla="*/ 73 h 73"/>
                <a:gd name="T12" fmla="*/ 12 w 57"/>
                <a:gd name="T13" fmla="*/ 73 h 73"/>
                <a:gd name="T14" fmla="*/ 23 w 57"/>
                <a:gd name="T15" fmla="*/ 69 h 73"/>
                <a:gd name="T16" fmla="*/ 33 w 57"/>
                <a:gd name="T17" fmla="*/ 63 h 73"/>
                <a:gd name="T18" fmla="*/ 41 w 57"/>
                <a:gd name="T19" fmla="*/ 57 h 73"/>
                <a:gd name="T20" fmla="*/ 47 w 57"/>
                <a:gd name="T21" fmla="*/ 48 h 73"/>
                <a:gd name="T22" fmla="*/ 53 w 57"/>
                <a:gd name="T23" fmla="*/ 39 h 73"/>
                <a:gd name="T24" fmla="*/ 56 w 57"/>
                <a:gd name="T25" fmla="*/ 28 h 73"/>
                <a:gd name="T26" fmla="*/ 57 w 57"/>
                <a:gd name="T27" fmla="*/ 17 h 73"/>
                <a:gd name="T28" fmla="*/ 57 w 57"/>
                <a:gd name="T29" fmla="*/ 1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 h="73">
                  <a:moveTo>
                    <a:pt x="57" y="17"/>
                  </a:moveTo>
                  <a:lnTo>
                    <a:pt x="57" y="0"/>
                  </a:lnTo>
                  <a:lnTo>
                    <a:pt x="0" y="0"/>
                  </a:lnTo>
                  <a:lnTo>
                    <a:pt x="0" y="17"/>
                  </a:lnTo>
                  <a:lnTo>
                    <a:pt x="0" y="73"/>
                  </a:lnTo>
                  <a:lnTo>
                    <a:pt x="0" y="73"/>
                  </a:lnTo>
                  <a:lnTo>
                    <a:pt x="12" y="73"/>
                  </a:lnTo>
                  <a:lnTo>
                    <a:pt x="23" y="69"/>
                  </a:lnTo>
                  <a:lnTo>
                    <a:pt x="33" y="63"/>
                  </a:lnTo>
                  <a:lnTo>
                    <a:pt x="41" y="57"/>
                  </a:lnTo>
                  <a:lnTo>
                    <a:pt x="47" y="48"/>
                  </a:lnTo>
                  <a:lnTo>
                    <a:pt x="53" y="39"/>
                  </a:lnTo>
                  <a:lnTo>
                    <a:pt x="56" y="28"/>
                  </a:lnTo>
                  <a:lnTo>
                    <a:pt x="57" y="17"/>
                  </a:lnTo>
                  <a:lnTo>
                    <a:pt x="57" y="17"/>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95" name="Freeform 430">
              <a:extLst>
                <a:ext uri="{FF2B5EF4-FFF2-40B4-BE49-F238E27FC236}">
                  <a16:creationId xmlns:a16="http://schemas.microsoft.com/office/drawing/2014/main" id="{B55B3F33-2674-4118-A356-2AA4811FA930}"/>
                </a:ext>
              </a:extLst>
            </p:cNvPr>
            <p:cNvSpPr>
              <a:spLocks/>
            </p:cNvSpPr>
            <p:nvPr/>
          </p:nvSpPr>
          <p:spPr bwMode="auto">
            <a:xfrm>
              <a:off x="2840077" y="2627328"/>
              <a:ext cx="31750" cy="46038"/>
            </a:xfrm>
            <a:custGeom>
              <a:avLst/>
              <a:gdLst>
                <a:gd name="T0" fmla="*/ 56 w 96"/>
                <a:gd name="T1" fmla="*/ 142 h 142"/>
                <a:gd name="T2" fmla="*/ 56 w 96"/>
                <a:gd name="T3" fmla="*/ 142 h 142"/>
                <a:gd name="T4" fmla="*/ 64 w 96"/>
                <a:gd name="T5" fmla="*/ 140 h 142"/>
                <a:gd name="T6" fmla="*/ 72 w 96"/>
                <a:gd name="T7" fmla="*/ 138 h 142"/>
                <a:gd name="T8" fmla="*/ 78 w 96"/>
                <a:gd name="T9" fmla="*/ 134 h 142"/>
                <a:gd name="T10" fmla="*/ 84 w 96"/>
                <a:gd name="T11" fmla="*/ 129 h 142"/>
                <a:gd name="T12" fmla="*/ 89 w 96"/>
                <a:gd name="T13" fmla="*/ 123 h 142"/>
                <a:gd name="T14" fmla="*/ 92 w 96"/>
                <a:gd name="T15" fmla="*/ 116 h 142"/>
                <a:gd name="T16" fmla="*/ 95 w 96"/>
                <a:gd name="T17" fmla="*/ 109 h 142"/>
                <a:gd name="T18" fmla="*/ 96 w 96"/>
                <a:gd name="T19" fmla="*/ 101 h 142"/>
                <a:gd name="T20" fmla="*/ 96 w 96"/>
                <a:gd name="T21" fmla="*/ 0 h 142"/>
                <a:gd name="T22" fmla="*/ 0 w 96"/>
                <a:gd name="T23" fmla="*/ 0 h 142"/>
                <a:gd name="T24" fmla="*/ 0 w 96"/>
                <a:gd name="T25" fmla="*/ 71 h 142"/>
                <a:gd name="T26" fmla="*/ 0 w 96"/>
                <a:gd name="T27" fmla="*/ 142 h 142"/>
                <a:gd name="T28" fmla="*/ 56 w 96"/>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142">
                  <a:moveTo>
                    <a:pt x="56" y="142"/>
                  </a:moveTo>
                  <a:lnTo>
                    <a:pt x="56" y="142"/>
                  </a:lnTo>
                  <a:lnTo>
                    <a:pt x="64" y="140"/>
                  </a:lnTo>
                  <a:lnTo>
                    <a:pt x="72" y="138"/>
                  </a:lnTo>
                  <a:lnTo>
                    <a:pt x="78" y="134"/>
                  </a:lnTo>
                  <a:lnTo>
                    <a:pt x="84" y="129"/>
                  </a:lnTo>
                  <a:lnTo>
                    <a:pt x="89" y="123"/>
                  </a:lnTo>
                  <a:lnTo>
                    <a:pt x="92" y="116"/>
                  </a:lnTo>
                  <a:lnTo>
                    <a:pt x="95" y="109"/>
                  </a:lnTo>
                  <a:lnTo>
                    <a:pt x="96" y="101"/>
                  </a:lnTo>
                  <a:lnTo>
                    <a:pt x="96" y="0"/>
                  </a:lnTo>
                  <a:lnTo>
                    <a:pt x="0" y="0"/>
                  </a:lnTo>
                  <a:lnTo>
                    <a:pt x="0" y="71"/>
                  </a:lnTo>
                  <a:lnTo>
                    <a:pt x="0" y="142"/>
                  </a:lnTo>
                  <a:lnTo>
                    <a:pt x="56" y="142"/>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96" name="Freeform 431">
              <a:extLst>
                <a:ext uri="{FF2B5EF4-FFF2-40B4-BE49-F238E27FC236}">
                  <a16:creationId xmlns:a16="http://schemas.microsoft.com/office/drawing/2014/main" id="{23CB66E4-3B1B-4791-A81C-0DFF30D0D85E}"/>
                </a:ext>
              </a:extLst>
            </p:cNvPr>
            <p:cNvSpPr>
              <a:spLocks/>
            </p:cNvSpPr>
            <p:nvPr/>
          </p:nvSpPr>
          <p:spPr bwMode="auto">
            <a:xfrm>
              <a:off x="2809914" y="2627328"/>
              <a:ext cx="30163" cy="46038"/>
            </a:xfrm>
            <a:custGeom>
              <a:avLst/>
              <a:gdLst>
                <a:gd name="T0" fmla="*/ 40 w 95"/>
                <a:gd name="T1" fmla="*/ 142 h 142"/>
                <a:gd name="T2" fmla="*/ 40 w 95"/>
                <a:gd name="T3" fmla="*/ 142 h 142"/>
                <a:gd name="T4" fmla="*/ 31 w 95"/>
                <a:gd name="T5" fmla="*/ 140 h 142"/>
                <a:gd name="T6" fmla="*/ 24 w 95"/>
                <a:gd name="T7" fmla="*/ 138 h 142"/>
                <a:gd name="T8" fmla="*/ 18 w 95"/>
                <a:gd name="T9" fmla="*/ 134 h 142"/>
                <a:gd name="T10" fmla="*/ 12 w 95"/>
                <a:gd name="T11" fmla="*/ 129 h 142"/>
                <a:gd name="T12" fmla="*/ 7 w 95"/>
                <a:gd name="T13" fmla="*/ 123 h 142"/>
                <a:gd name="T14" fmla="*/ 3 w 95"/>
                <a:gd name="T15" fmla="*/ 116 h 142"/>
                <a:gd name="T16" fmla="*/ 1 w 95"/>
                <a:gd name="T17" fmla="*/ 109 h 142"/>
                <a:gd name="T18" fmla="*/ 0 w 95"/>
                <a:gd name="T19" fmla="*/ 101 h 142"/>
                <a:gd name="T20" fmla="*/ 0 w 95"/>
                <a:gd name="T21" fmla="*/ 0 h 142"/>
                <a:gd name="T22" fmla="*/ 95 w 95"/>
                <a:gd name="T23" fmla="*/ 0 h 142"/>
                <a:gd name="T24" fmla="*/ 95 w 95"/>
                <a:gd name="T25" fmla="*/ 71 h 142"/>
                <a:gd name="T26" fmla="*/ 95 w 95"/>
                <a:gd name="T27" fmla="*/ 142 h 142"/>
                <a:gd name="T28" fmla="*/ 40 w 95"/>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2">
                  <a:moveTo>
                    <a:pt x="40" y="142"/>
                  </a:moveTo>
                  <a:lnTo>
                    <a:pt x="40" y="142"/>
                  </a:lnTo>
                  <a:lnTo>
                    <a:pt x="31" y="140"/>
                  </a:lnTo>
                  <a:lnTo>
                    <a:pt x="24" y="138"/>
                  </a:lnTo>
                  <a:lnTo>
                    <a:pt x="18" y="134"/>
                  </a:lnTo>
                  <a:lnTo>
                    <a:pt x="12" y="129"/>
                  </a:lnTo>
                  <a:lnTo>
                    <a:pt x="7" y="123"/>
                  </a:lnTo>
                  <a:lnTo>
                    <a:pt x="3" y="116"/>
                  </a:lnTo>
                  <a:lnTo>
                    <a:pt x="1" y="109"/>
                  </a:lnTo>
                  <a:lnTo>
                    <a:pt x="0" y="101"/>
                  </a:lnTo>
                  <a:lnTo>
                    <a:pt x="0" y="0"/>
                  </a:lnTo>
                  <a:lnTo>
                    <a:pt x="95" y="0"/>
                  </a:lnTo>
                  <a:lnTo>
                    <a:pt x="95" y="71"/>
                  </a:lnTo>
                  <a:lnTo>
                    <a:pt x="95" y="142"/>
                  </a:lnTo>
                  <a:lnTo>
                    <a:pt x="40" y="1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97" name="Freeform 432">
              <a:extLst>
                <a:ext uri="{FF2B5EF4-FFF2-40B4-BE49-F238E27FC236}">
                  <a16:creationId xmlns:a16="http://schemas.microsoft.com/office/drawing/2014/main" id="{5E60EFA1-2A7D-4AA0-9A91-7337E60B2E27}"/>
                </a:ext>
              </a:extLst>
            </p:cNvPr>
            <p:cNvSpPr>
              <a:spLocks/>
            </p:cNvSpPr>
            <p:nvPr/>
          </p:nvSpPr>
          <p:spPr bwMode="auto">
            <a:xfrm>
              <a:off x="2800389" y="2573353"/>
              <a:ext cx="39688" cy="60326"/>
            </a:xfrm>
            <a:custGeom>
              <a:avLst/>
              <a:gdLst>
                <a:gd name="T0" fmla="*/ 53 w 127"/>
                <a:gd name="T1" fmla="*/ 0 h 190"/>
                <a:gd name="T2" fmla="*/ 53 w 127"/>
                <a:gd name="T3" fmla="*/ 0 h 190"/>
                <a:gd name="T4" fmla="*/ 43 w 127"/>
                <a:gd name="T5" fmla="*/ 1 h 190"/>
                <a:gd name="T6" fmla="*/ 33 w 127"/>
                <a:gd name="T7" fmla="*/ 5 h 190"/>
                <a:gd name="T8" fmla="*/ 23 w 127"/>
                <a:gd name="T9" fmla="*/ 10 h 190"/>
                <a:gd name="T10" fmla="*/ 16 w 127"/>
                <a:gd name="T11" fmla="*/ 16 h 190"/>
                <a:gd name="T12" fmla="*/ 8 w 127"/>
                <a:gd name="T13" fmla="*/ 25 h 190"/>
                <a:gd name="T14" fmla="*/ 4 w 127"/>
                <a:gd name="T15" fmla="*/ 34 h 190"/>
                <a:gd name="T16" fmla="*/ 1 w 127"/>
                <a:gd name="T17" fmla="*/ 44 h 190"/>
                <a:gd name="T18" fmla="*/ 0 w 127"/>
                <a:gd name="T19" fmla="*/ 55 h 190"/>
                <a:gd name="T20" fmla="*/ 0 w 127"/>
                <a:gd name="T21" fmla="*/ 190 h 190"/>
                <a:gd name="T22" fmla="*/ 127 w 127"/>
                <a:gd name="T23" fmla="*/ 190 h 190"/>
                <a:gd name="T24" fmla="*/ 127 w 127"/>
                <a:gd name="T25" fmla="*/ 95 h 190"/>
                <a:gd name="T26" fmla="*/ 127 w 127"/>
                <a:gd name="T27" fmla="*/ 0 h 190"/>
                <a:gd name="T28" fmla="*/ 53 w 127"/>
                <a:gd name="T29"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7" h="190">
                  <a:moveTo>
                    <a:pt x="53" y="0"/>
                  </a:moveTo>
                  <a:lnTo>
                    <a:pt x="53" y="0"/>
                  </a:lnTo>
                  <a:lnTo>
                    <a:pt x="43" y="1"/>
                  </a:lnTo>
                  <a:lnTo>
                    <a:pt x="33" y="5"/>
                  </a:lnTo>
                  <a:lnTo>
                    <a:pt x="23" y="10"/>
                  </a:lnTo>
                  <a:lnTo>
                    <a:pt x="16" y="16"/>
                  </a:lnTo>
                  <a:lnTo>
                    <a:pt x="8" y="25"/>
                  </a:lnTo>
                  <a:lnTo>
                    <a:pt x="4" y="34"/>
                  </a:lnTo>
                  <a:lnTo>
                    <a:pt x="1" y="44"/>
                  </a:lnTo>
                  <a:lnTo>
                    <a:pt x="0" y="55"/>
                  </a:lnTo>
                  <a:lnTo>
                    <a:pt x="0" y="190"/>
                  </a:lnTo>
                  <a:lnTo>
                    <a:pt x="127" y="190"/>
                  </a:lnTo>
                  <a:lnTo>
                    <a:pt x="127" y="95"/>
                  </a:lnTo>
                  <a:lnTo>
                    <a:pt x="127" y="0"/>
                  </a:lnTo>
                  <a:lnTo>
                    <a:pt x="5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98" name="Freeform 433">
              <a:extLst>
                <a:ext uri="{FF2B5EF4-FFF2-40B4-BE49-F238E27FC236}">
                  <a16:creationId xmlns:a16="http://schemas.microsoft.com/office/drawing/2014/main" id="{78093904-EF20-4BDB-9E3D-DB848E258B28}"/>
                </a:ext>
              </a:extLst>
            </p:cNvPr>
            <p:cNvSpPr>
              <a:spLocks/>
            </p:cNvSpPr>
            <p:nvPr/>
          </p:nvSpPr>
          <p:spPr bwMode="auto">
            <a:xfrm>
              <a:off x="2840077" y="2573353"/>
              <a:ext cx="41275" cy="60326"/>
            </a:xfrm>
            <a:custGeom>
              <a:avLst/>
              <a:gdLst>
                <a:gd name="T0" fmla="*/ 74 w 128"/>
                <a:gd name="T1" fmla="*/ 0 h 190"/>
                <a:gd name="T2" fmla="*/ 74 w 128"/>
                <a:gd name="T3" fmla="*/ 0 h 190"/>
                <a:gd name="T4" fmla="*/ 85 w 128"/>
                <a:gd name="T5" fmla="*/ 1 h 190"/>
                <a:gd name="T6" fmla="*/ 95 w 128"/>
                <a:gd name="T7" fmla="*/ 5 h 190"/>
                <a:gd name="T8" fmla="*/ 104 w 128"/>
                <a:gd name="T9" fmla="*/ 10 h 190"/>
                <a:gd name="T10" fmla="*/ 112 w 128"/>
                <a:gd name="T11" fmla="*/ 16 h 190"/>
                <a:gd name="T12" fmla="*/ 119 w 128"/>
                <a:gd name="T13" fmla="*/ 25 h 190"/>
                <a:gd name="T14" fmla="*/ 124 w 128"/>
                <a:gd name="T15" fmla="*/ 34 h 190"/>
                <a:gd name="T16" fmla="*/ 126 w 128"/>
                <a:gd name="T17" fmla="*/ 44 h 190"/>
                <a:gd name="T18" fmla="*/ 128 w 128"/>
                <a:gd name="T19" fmla="*/ 55 h 190"/>
                <a:gd name="T20" fmla="*/ 128 w 128"/>
                <a:gd name="T21" fmla="*/ 190 h 190"/>
                <a:gd name="T22" fmla="*/ 0 w 128"/>
                <a:gd name="T23" fmla="*/ 190 h 190"/>
                <a:gd name="T24" fmla="*/ 0 w 128"/>
                <a:gd name="T25" fmla="*/ 95 h 190"/>
                <a:gd name="T26" fmla="*/ 0 w 128"/>
                <a:gd name="T27" fmla="*/ 0 h 190"/>
                <a:gd name="T28" fmla="*/ 74 w 128"/>
                <a:gd name="T29"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90">
                  <a:moveTo>
                    <a:pt x="74" y="0"/>
                  </a:moveTo>
                  <a:lnTo>
                    <a:pt x="74" y="0"/>
                  </a:lnTo>
                  <a:lnTo>
                    <a:pt x="85" y="1"/>
                  </a:lnTo>
                  <a:lnTo>
                    <a:pt x="95" y="5"/>
                  </a:lnTo>
                  <a:lnTo>
                    <a:pt x="104" y="10"/>
                  </a:lnTo>
                  <a:lnTo>
                    <a:pt x="112" y="16"/>
                  </a:lnTo>
                  <a:lnTo>
                    <a:pt x="119" y="25"/>
                  </a:lnTo>
                  <a:lnTo>
                    <a:pt x="124" y="34"/>
                  </a:lnTo>
                  <a:lnTo>
                    <a:pt x="126" y="44"/>
                  </a:lnTo>
                  <a:lnTo>
                    <a:pt x="128" y="55"/>
                  </a:lnTo>
                  <a:lnTo>
                    <a:pt x="128" y="190"/>
                  </a:lnTo>
                  <a:lnTo>
                    <a:pt x="0" y="190"/>
                  </a:lnTo>
                  <a:lnTo>
                    <a:pt x="0" y="95"/>
                  </a:lnTo>
                  <a:lnTo>
                    <a:pt x="0" y="0"/>
                  </a:lnTo>
                  <a:lnTo>
                    <a:pt x="74"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599" name="Freeform 434">
              <a:extLst>
                <a:ext uri="{FF2B5EF4-FFF2-40B4-BE49-F238E27FC236}">
                  <a16:creationId xmlns:a16="http://schemas.microsoft.com/office/drawing/2014/main" id="{C91252E5-5BBB-4C48-BF96-24566795DC7B}"/>
                </a:ext>
              </a:extLst>
            </p:cNvPr>
            <p:cNvSpPr>
              <a:spLocks/>
            </p:cNvSpPr>
            <p:nvPr/>
          </p:nvSpPr>
          <p:spPr bwMode="auto">
            <a:xfrm>
              <a:off x="2840077" y="2627328"/>
              <a:ext cx="49213" cy="28575"/>
            </a:xfrm>
            <a:custGeom>
              <a:avLst/>
              <a:gdLst>
                <a:gd name="T0" fmla="*/ 0 w 152"/>
                <a:gd name="T1" fmla="*/ 0 h 90"/>
                <a:gd name="T2" fmla="*/ 0 w 152"/>
                <a:gd name="T3" fmla="*/ 37 h 90"/>
                <a:gd name="T4" fmla="*/ 0 w 152"/>
                <a:gd name="T5" fmla="*/ 37 h 90"/>
                <a:gd name="T6" fmla="*/ 19 w 152"/>
                <a:gd name="T7" fmla="*/ 38 h 90"/>
                <a:gd name="T8" fmla="*/ 35 w 152"/>
                <a:gd name="T9" fmla="*/ 40 h 90"/>
                <a:gd name="T10" fmla="*/ 50 w 152"/>
                <a:gd name="T11" fmla="*/ 45 h 90"/>
                <a:gd name="T12" fmla="*/ 62 w 152"/>
                <a:gd name="T13" fmla="*/ 50 h 90"/>
                <a:gd name="T14" fmla="*/ 73 w 152"/>
                <a:gd name="T15" fmla="*/ 56 h 90"/>
                <a:gd name="T16" fmla="*/ 83 w 152"/>
                <a:gd name="T17" fmla="*/ 64 h 90"/>
                <a:gd name="T18" fmla="*/ 92 w 152"/>
                <a:gd name="T19" fmla="*/ 71 h 90"/>
                <a:gd name="T20" fmla="*/ 100 w 152"/>
                <a:gd name="T21" fmla="*/ 78 h 90"/>
                <a:gd name="T22" fmla="*/ 100 w 152"/>
                <a:gd name="T23" fmla="*/ 78 h 90"/>
                <a:gd name="T24" fmla="*/ 106 w 152"/>
                <a:gd name="T25" fmla="*/ 83 h 90"/>
                <a:gd name="T26" fmla="*/ 112 w 152"/>
                <a:gd name="T27" fmla="*/ 87 h 90"/>
                <a:gd name="T28" fmla="*/ 119 w 152"/>
                <a:gd name="T29" fmla="*/ 89 h 90"/>
                <a:gd name="T30" fmla="*/ 125 w 152"/>
                <a:gd name="T31" fmla="*/ 90 h 90"/>
                <a:gd name="T32" fmla="*/ 133 w 152"/>
                <a:gd name="T33" fmla="*/ 89 h 90"/>
                <a:gd name="T34" fmla="*/ 140 w 152"/>
                <a:gd name="T35" fmla="*/ 88 h 90"/>
                <a:gd name="T36" fmla="*/ 146 w 152"/>
                <a:gd name="T37" fmla="*/ 84 h 90"/>
                <a:gd name="T38" fmla="*/ 152 w 152"/>
                <a:gd name="T39" fmla="*/ 81 h 90"/>
                <a:gd name="T40" fmla="*/ 152 w 152"/>
                <a:gd name="T41" fmla="*/ 81 h 90"/>
                <a:gd name="T42" fmla="*/ 126 w 152"/>
                <a:gd name="T43" fmla="*/ 53 h 90"/>
                <a:gd name="T44" fmla="*/ 126 w 152"/>
                <a:gd name="T45" fmla="*/ 53 h 90"/>
                <a:gd name="T46" fmla="*/ 115 w 152"/>
                <a:gd name="T47" fmla="*/ 42 h 90"/>
                <a:gd name="T48" fmla="*/ 104 w 152"/>
                <a:gd name="T49" fmla="*/ 32 h 90"/>
                <a:gd name="T50" fmla="*/ 91 w 152"/>
                <a:gd name="T51" fmla="*/ 23 h 90"/>
                <a:gd name="T52" fmla="*/ 76 w 152"/>
                <a:gd name="T53" fmla="*/ 15 h 90"/>
                <a:gd name="T54" fmla="*/ 61 w 152"/>
                <a:gd name="T55" fmla="*/ 9 h 90"/>
                <a:gd name="T56" fmla="*/ 42 w 152"/>
                <a:gd name="T57" fmla="*/ 4 h 90"/>
                <a:gd name="T58" fmla="*/ 23 w 152"/>
                <a:gd name="T59" fmla="*/ 0 h 90"/>
                <a:gd name="T60" fmla="*/ 0 w 152"/>
                <a:gd name="T61" fmla="*/ 0 h 90"/>
                <a:gd name="T62" fmla="*/ 0 w 152"/>
                <a:gd name="T6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90">
                  <a:moveTo>
                    <a:pt x="0" y="0"/>
                  </a:moveTo>
                  <a:lnTo>
                    <a:pt x="0" y="37"/>
                  </a:lnTo>
                  <a:lnTo>
                    <a:pt x="0" y="37"/>
                  </a:lnTo>
                  <a:lnTo>
                    <a:pt x="19" y="38"/>
                  </a:lnTo>
                  <a:lnTo>
                    <a:pt x="35" y="40"/>
                  </a:lnTo>
                  <a:lnTo>
                    <a:pt x="50" y="45"/>
                  </a:lnTo>
                  <a:lnTo>
                    <a:pt x="62" y="50"/>
                  </a:lnTo>
                  <a:lnTo>
                    <a:pt x="73" y="56"/>
                  </a:lnTo>
                  <a:lnTo>
                    <a:pt x="83" y="64"/>
                  </a:lnTo>
                  <a:lnTo>
                    <a:pt x="92" y="71"/>
                  </a:lnTo>
                  <a:lnTo>
                    <a:pt x="100" y="78"/>
                  </a:lnTo>
                  <a:lnTo>
                    <a:pt x="100" y="78"/>
                  </a:lnTo>
                  <a:lnTo>
                    <a:pt x="106" y="83"/>
                  </a:lnTo>
                  <a:lnTo>
                    <a:pt x="112" y="87"/>
                  </a:lnTo>
                  <a:lnTo>
                    <a:pt x="119" y="89"/>
                  </a:lnTo>
                  <a:lnTo>
                    <a:pt x="125" y="90"/>
                  </a:lnTo>
                  <a:lnTo>
                    <a:pt x="133" y="89"/>
                  </a:lnTo>
                  <a:lnTo>
                    <a:pt x="140" y="88"/>
                  </a:lnTo>
                  <a:lnTo>
                    <a:pt x="146" y="84"/>
                  </a:lnTo>
                  <a:lnTo>
                    <a:pt x="152" y="81"/>
                  </a:lnTo>
                  <a:lnTo>
                    <a:pt x="152" y="81"/>
                  </a:lnTo>
                  <a:lnTo>
                    <a:pt x="126" y="53"/>
                  </a:lnTo>
                  <a:lnTo>
                    <a:pt x="126" y="53"/>
                  </a:lnTo>
                  <a:lnTo>
                    <a:pt x="115" y="42"/>
                  </a:lnTo>
                  <a:lnTo>
                    <a:pt x="104" y="32"/>
                  </a:lnTo>
                  <a:lnTo>
                    <a:pt x="91" y="23"/>
                  </a:lnTo>
                  <a:lnTo>
                    <a:pt x="76" y="15"/>
                  </a:lnTo>
                  <a:lnTo>
                    <a:pt x="61" y="9"/>
                  </a:lnTo>
                  <a:lnTo>
                    <a:pt x="42" y="4"/>
                  </a:lnTo>
                  <a:lnTo>
                    <a:pt x="23" y="0"/>
                  </a:lnTo>
                  <a:lnTo>
                    <a:pt x="0" y="0"/>
                  </a:lnTo>
                  <a:lnTo>
                    <a:pt x="0" y="0"/>
                  </a:lnTo>
                  <a:close/>
                </a:path>
              </a:pathLst>
            </a:custGeom>
            <a:solidFill>
              <a:srgbClr val="7F2D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00" name="Freeform 435">
              <a:extLst>
                <a:ext uri="{FF2B5EF4-FFF2-40B4-BE49-F238E27FC236}">
                  <a16:creationId xmlns:a16="http://schemas.microsoft.com/office/drawing/2014/main" id="{10884BCD-55C7-42FD-BE8D-64C5E0CD326B}"/>
                </a:ext>
              </a:extLst>
            </p:cNvPr>
            <p:cNvSpPr>
              <a:spLocks/>
            </p:cNvSpPr>
            <p:nvPr/>
          </p:nvSpPr>
          <p:spPr bwMode="auto">
            <a:xfrm>
              <a:off x="2840077" y="2616216"/>
              <a:ext cx="52388" cy="38100"/>
            </a:xfrm>
            <a:custGeom>
              <a:avLst/>
              <a:gdLst>
                <a:gd name="T0" fmla="*/ 0 w 164"/>
                <a:gd name="T1" fmla="*/ 38 h 119"/>
                <a:gd name="T2" fmla="*/ 0 w 164"/>
                <a:gd name="T3" fmla="*/ 38 h 119"/>
                <a:gd name="T4" fmla="*/ 23 w 164"/>
                <a:gd name="T5" fmla="*/ 38 h 119"/>
                <a:gd name="T6" fmla="*/ 42 w 164"/>
                <a:gd name="T7" fmla="*/ 42 h 119"/>
                <a:gd name="T8" fmla="*/ 61 w 164"/>
                <a:gd name="T9" fmla="*/ 47 h 119"/>
                <a:gd name="T10" fmla="*/ 76 w 164"/>
                <a:gd name="T11" fmla="*/ 53 h 119"/>
                <a:gd name="T12" fmla="*/ 91 w 164"/>
                <a:gd name="T13" fmla="*/ 61 h 119"/>
                <a:gd name="T14" fmla="*/ 104 w 164"/>
                <a:gd name="T15" fmla="*/ 70 h 119"/>
                <a:gd name="T16" fmla="*/ 115 w 164"/>
                <a:gd name="T17" fmla="*/ 80 h 119"/>
                <a:gd name="T18" fmla="*/ 126 w 164"/>
                <a:gd name="T19" fmla="*/ 91 h 119"/>
                <a:gd name="T20" fmla="*/ 126 w 164"/>
                <a:gd name="T21" fmla="*/ 91 h 119"/>
                <a:gd name="T22" fmla="*/ 152 w 164"/>
                <a:gd name="T23" fmla="*/ 119 h 119"/>
                <a:gd name="T24" fmla="*/ 153 w 164"/>
                <a:gd name="T25" fmla="*/ 118 h 119"/>
                <a:gd name="T26" fmla="*/ 153 w 164"/>
                <a:gd name="T27" fmla="*/ 118 h 119"/>
                <a:gd name="T28" fmla="*/ 158 w 164"/>
                <a:gd name="T29" fmla="*/ 111 h 119"/>
                <a:gd name="T30" fmla="*/ 162 w 164"/>
                <a:gd name="T31" fmla="*/ 105 h 119"/>
                <a:gd name="T32" fmla="*/ 164 w 164"/>
                <a:gd name="T33" fmla="*/ 98 h 119"/>
                <a:gd name="T34" fmla="*/ 164 w 164"/>
                <a:gd name="T35" fmla="*/ 91 h 119"/>
                <a:gd name="T36" fmla="*/ 164 w 164"/>
                <a:gd name="T37" fmla="*/ 91 h 119"/>
                <a:gd name="T38" fmla="*/ 164 w 164"/>
                <a:gd name="T39" fmla="*/ 83 h 119"/>
                <a:gd name="T40" fmla="*/ 162 w 164"/>
                <a:gd name="T41" fmla="*/ 77 h 119"/>
                <a:gd name="T42" fmla="*/ 158 w 164"/>
                <a:gd name="T43" fmla="*/ 70 h 119"/>
                <a:gd name="T44" fmla="*/ 154 w 164"/>
                <a:gd name="T45" fmla="*/ 65 h 119"/>
                <a:gd name="T46" fmla="*/ 154 w 164"/>
                <a:gd name="T47" fmla="*/ 65 h 119"/>
                <a:gd name="T48" fmla="*/ 144 w 164"/>
                <a:gd name="T49" fmla="*/ 54 h 119"/>
                <a:gd name="T50" fmla="*/ 130 w 164"/>
                <a:gd name="T51" fmla="*/ 43 h 119"/>
                <a:gd name="T52" fmla="*/ 115 w 164"/>
                <a:gd name="T53" fmla="*/ 32 h 119"/>
                <a:gd name="T54" fmla="*/ 98 w 164"/>
                <a:gd name="T55" fmla="*/ 22 h 119"/>
                <a:gd name="T56" fmla="*/ 78 w 164"/>
                <a:gd name="T57" fmla="*/ 13 h 119"/>
                <a:gd name="T58" fmla="*/ 67 w 164"/>
                <a:gd name="T59" fmla="*/ 9 h 119"/>
                <a:gd name="T60" fmla="*/ 56 w 164"/>
                <a:gd name="T61" fmla="*/ 7 h 119"/>
                <a:gd name="T62" fmla="*/ 42 w 164"/>
                <a:gd name="T63" fmla="*/ 4 h 119"/>
                <a:gd name="T64" fmla="*/ 29 w 164"/>
                <a:gd name="T65" fmla="*/ 2 h 119"/>
                <a:gd name="T66" fmla="*/ 15 w 164"/>
                <a:gd name="T67" fmla="*/ 0 h 119"/>
                <a:gd name="T68" fmla="*/ 0 w 164"/>
                <a:gd name="T69" fmla="*/ 0 h 119"/>
                <a:gd name="T70" fmla="*/ 0 w 164"/>
                <a:gd name="T71" fmla="*/ 3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119">
                  <a:moveTo>
                    <a:pt x="0" y="38"/>
                  </a:moveTo>
                  <a:lnTo>
                    <a:pt x="0" y="38"/>
                  </a:lnTo>
                  <a:lnTo>
                    <a:pt x="23" y="38"/>
                  </a:lnTo>
                  <a:lnTo>
                    <a:pt x="42" y="42"/>
                  </a:lnTo>
                  <a:lnTo>
                    <a:pt x="61" y="47"/>
                  </a:lnTo>
                  <a:lnTo>
                    <a:pt x="76" y="53"/>
                  </a:lnTo>
                  <a:lnTo>
                    <a:pt x="91" y="61"/>
                  </a:lnTo>
                  <a:lnTo>
                    <a:pt x="104" y="70"/>
                  </a:lnTo>
                  <a:lnTo>
                    <a:pt x="115" y="80"/>
                  </a:lnTo>
                  <a:lnTo>
                    <a:pt x="126" y="91"/>
                  </a:lnTo>
                  <a:lnTo>
                    <a:pt x="126" y="91"/>
                  </a:lnTo>
                  <a:lnTo>
                    <a:pt x="152" y="119"/>
                  </a:lnTo>
                  <a:lnTo>
                    <a:pt x="153" y="118"/>
                  </a:lnTo>
                  <a:lnTo>
                    <a:pt x="153" y="118"/>
                  </a:lnTo>
                  <a:lnTo>
                    <a:pt x="158" y="111"/>
                  </a:lnTo>
                  <a:lnTo>
                    <a:pt x="162" y="105"/>
                  </a:lnTo>
                  <a:lnTo>
                    <a:pt x="164" y="98"/>
                  </a:lnTo>
                  <a:lnTo>
                    <a:pt x="164" y="91"/>
                  </a:lnTo>
                  <a:lnTo>
                    <a:pt x="164" y="91"/>
                  </a:lnTo>
                  <a:lnTo>
                    <a:pt x="164" y="83"/>
                  </a:lnTo>
                  <a:lnTo>
                    <a:pt x="162" y="77"/>
                  </a:lnTo>
                  <a:lnTo>
                    <a:pt x="158" y="70"/>
                  </a:lnTo>
                  <a:lnTo>
                    <a:pt x="154" y="65"/>
                  </a:lnTo>
                  <a:lnTo>
                    <a:pt x="154" y="65"/>
                  </a:lnTo>
                  <a:lnTo>
                    <a:pt x="144" y="54"/>
                  </a:lnTo>
                  <a:lnTo>
                    <a:pt x="130" y="43"/>
                  </a:lnTo>
                  <a:lnTo>
                    <a:pt x="115" y="32"/>
                  </a:lnTo>
                  <a:lnTo>
                    <a:pt x="98" y="22"/>
                  </a:lnTo>
                  <a:lnTo>
                    <a:pt x="78" y="13"/>
                  </a:lnTo>
                  <a:lnTo>
                    <a:pt x="67" y="9"/>
                  </a:lnTo>
                  <a:lnTo>
                    <a:pt x="56" y="7"/>
                  </a:lnTo>
                  <a:lnTo>
                    <a:pt x="42" y="4"/>
                  </a:lnTo>
                  <a:lnTo>
                    <a:pt x="29" y="2"/>
                  </a:lnTo>
                  <a:lnTo>
                    <a:pt x="15" y="0"/>
                  </a:lnTo>
                  <a:lnTo>
                    <a:pt x="0" y="0"/>
                  </a:lnTo>
                  <a:lnTo>
                    <a:pt x="0" y="38"/>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01" name="Freeform 436">
              <a:extLst>
                <a:ext uri="{FF2B5EF4-FFF2-40B4-BE49-F238E27FC236}">
                  <a16:creationId xmlns:a16="http://schemas.microsoft.com/office/drawing/2014/main" id="{7E35F835-3DF9-4ED8-BA91-B65E2ED6B4F0}"/>
                </a:ext>
              </a:extLst>
            </p:cNvPr>
            <p:cNvSpPr>
              <a:spLocks/>
            </p:cNvSpPr>
            <p:nvPr/>
          </p:nvSpPr>
          <p:spPr bwMode="auto">
            <a:xfrm>
              <a:off x="2792451" y="2627328"/>
              <a:ext cx="47625" cy="28575"/>
            </a:xfrm>
            <a:custGeom>
              <a:avLst/>
              <a:gdLst>
                <a:gd name="T0" fmla="*/ 152 w 152"/>
                <a:gd name="T1" fmla="*/ 0 h 90"/>
                <a:gd name="T2" fmla="*/ 152 w 152"/>
                <a:gd name="T3" fmla="*/ 37 h 90"/>
                <a:gd name="T4" fmla="*/ 152 w 152"/>
                <a:gd name="T5" fmla="*/ 37 h 90"/>
                <a:gd name="T6" fmla="*/ 133 w 152"/>
                <a:gd name="T7" fmla="*/ 38 h 90"/>
                <a:gd name="T8" fmla="*/ 118 w 152"/>
                <a:gd name="T9" fmla="*/ 40 h 90"/>
                <a:gd name="T10" fmla="*/ 103 w 152"/>
                <a:gd name="T11" fmla="*/ 45 h 90"/>
                <a:gd name="T12" fmla="*/ 91 w 152"/>
                <a:gd name="T13" fmla="*/ 50 h 90"/>
                <a:gd name="T14" fmla="*/ 80 w 152"/>
                <a:gd name="T15" fmla="*/ 56 h 90"/>
                <a:gd name="T16" fmla="*/ 70 w 152"/>
                <a:gd name="T17" fmla="*/ 64 h 90"/>
                <a:gd name="T18" fmla="*/ 60 w 152"/>
                <a:gd name="T19" fmla="*/ 71 h 90"/>
                <a:gd name="T20" fmla="*/ 53 w 152"/>
                <a:gd name="T21" fmla="*/ 78 h 90"/>
                <a:gd name="T22" fmla="*/ 53 w 152"/>
                <a:gd name="T23" fmla="*/ 78 h 90"/>
                <a:gd name="T24" fmla="*/ 47 w 152"/>
                <a:gd name="T25" fmla="*/ 83 h 90"/>
                <a:gd name="T26" fmla="*/ 41 w 152"/>
                <a:gd name="T27" fmla="*/ 87 h 90"/>
                <a:gd name="T28" fmla="*/ 33 w 152"/>
                <a:gd name="T29" fmla="*/ 89 h 90"/>
                <a:gd name="T30" fmla="*/ 27 w 152"/>
                <a:gd name="T31" fmla="*/ 90 h 90"/>
                <a:gd name="T32" fmla="*/ 20 w 152"/>
                <a:gd name="T33" fmla="*/ 89 h 90"/>
                <a:gd name="T34" fmla="*/ 13 w 152"/>
                <a:gd name="T35" fmla="*/ 88 h 90"/>
                <a:gd name="T36" fmla="*/ 7 w 152"/>
                <a:gd name="T37" fmla="*/ 84 h 90"/>
                <a:gd name="T38" fmla="*/ 0 w 152"/>
                <a:gd name="T39" fmla="*/ 81 h 90"/>
                <a:gd name="T40" fmla="*/ 0 w 152"/>
                <a:gd name="T41" fmla="*/ 81 h 90"/>
                <a:gd name="T42" fmla="*/ 26 w 152"/>
                <a:gd name="T43" fmla="*/ 53 h 90"/>
                <a:gd name="T44" fmla="*/ 26 w 152"/>
                <a:gd name="T45" fmla="*/ 53 h 90"/>
                <a:gd name="T46" fmla="*/ 37 w 152"/>
                <a:gd name="T47" fmla="*/ 42 h 90"/>
                <a:gd name="T48" fmla="*/ 48 w 152"/>
                <a:gd name="T49" fmla="*/ 32 h 90"/>
                <a:gd name="T50" fmla="*/ 61 w 152"/>
                <a:gd name="T51" fmla="*/ 23 h 90"/>
                <a:gd name="T52" fmla="*/ 76 w 152"/>
                <a:gd name="T53" fmla="*/ 15 h 90"/>
                <a:gd name="T54" fmla="*/ 92 w 152"/>
                <a:gd name="T55" fmla="*/ 9 h 90"/>
                <a:gd name="T56" fmla="*/ 110 w 152"/>
                <a:gd name="T57" fmla="*/ 4 h 90"/>
                <a:gd name="T58" fmla="*/ 130 w 152"/>
                <a:gd name="T59" fmla="*/ 0 h 90"/>
                <a:gd name="T60" fmla="*/ 152 w 152"/>
                <a:gd name="T61" fmla="*/ 0 h 90"/>
                <a:gd name="T62" fmla="*/ 152 w 152"/>
                <a:gd name="T6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90">
                  <a:moveTo>
                    <a:pt x="152" y="0"/>
                  </a:moveTo>
                  <a:lnTo>
                    <a:pt x="152" y="37"/>
                  </a:lnTo>
                  <a:lnTo>
                    <a:pt x="152" y="37"/>
                  </a:lnTo>
                  <a:lnTo>
                    <a:pt x="133" y="38"/>
                  </a:lnTo>
                  <a:lnTo>
                    <a:pt x="118" y="40"/>
                  </a:lnTo>
                  <a:lnTo>
                    <a:pt x="103" y="45"/>
                  </a:lnTo>
                  <a:lnTo>
                    <a:pt x="91" y="50"/>
                  </a:lnTo>
                  <a:lnTo>
                    <a:pt x="80" y="56"/>
                  </a:lnTo>
                  <a:lnTo>
                    <a:pt x="70" y="64"/>
                  </a:lnTo>
                  <a:lnTo>
                    <a:pt x="60" y="71"/>
                  </a:lnTo>
                  <a:lnTo>
                    <a:pt x="53" y="78"/>
                  </a:lnTo>
                  <a:lnTo>
                    <a:pt x="53" y="78"/>
                  </a:lnTo>
                  <a:lnTo>
                    <a:pt x="47" y="83"/>
                  </a:lnTo>
                  <a:lnTo>
                    <a:pt x="41" y="87"/>
                  </a:lnTo>
                  <a:lnTo>
                    <a:pt x="33" y="89"/>
                  </a:lnTo>
                  <a:lnTo>
                    <a:pt x="27" y="90"/>
                  </a:lnTo>
                  <a:lnTo>
                    <a:pt x="20" y="89"/>
                  </a:lnTo>
                  <a:lnTo>
                    <a:pt x="13" y="88"/>
                  </a:lnTo>
                  <a:lnTo>
                    <a:pt x="7" y="84"/>
                  </a:lnTo>
                  <a:lnTo>
                    <a:pt x="0" y="81"/>
                  </a:lnTo>
                  <a:lnTo>
                    <a:pt x="0" y="81"/>
                  </a:lnTo>
                  <a:lnTo>
                    <a:pt x="26" y="53"/>
                  </a:lnTo>
                  <a:lnTo>
                    <a:pt x="26" y="53"/>
                  </a:lnTo>
                  <a:lnTo>
                    <a:pt x="37" y="42"/>
                  </a:lnTo>
                  <a:lnTo>
                    <a:pt x="48" y="32"/>
                  </a:lnTo>
                  <a:lnTo>
                    <a:pt x="61" y="23"/>
                  </a:lnTo>
                  <a:lnTo>
                    <a:pt x="76" y="15"/>
                  </a:lnTo>
                  <a:lnTo>
                    <a:pt x="92" y="9"/>
                  </a:lnTo>
                  <a:lnTo>
                    <a:pt x="110" y="4"/>
                  </a:lnTo>
                  <a:lnTo>
                    <a:pt x="130" y="0"/>
                  </a:lnTo>
                  <a:lnTo>
                    <a:pt x="152" y="0"/>
                  </a:lnTo>
                  <a:lnTo>
                    <a:pt x="152" y="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02" name="Freeform 437">
              <a:extLst>
                <a:ext uri="{FF2B5EF4-FFF2-40B4-BE49-F238E27FC236}">
                  <a16:creationId xmlns:a16="http://schemas.microsoft.com/office/drawing/2014/main" id="{814D5182-5496-4DCA-B34A-D19BC0C5463C}"/>
                </a:ext>
              </a:extLst>
            </p:cNvPr>
            <p:cNvSpPr>
              <a:spLocks/>
            </p:cNvSpPr>
            <p:nvPr/>
          </p:nvSpPr>
          <p:spPr bwMode="auto">
            <a:xfrm>
              <a:off x="2789276" y="2616216"/>
              <a:ext cx="50800" cy="38100"/>
            </a:xfrm>
            <a:custGeom>
              <a:avLst/>
              <a:gdLst>
                <a:gd name="T0" fmla="*/ 164 w 164"/>
                <a:gd name="T1" fmla="*/ 38 h 119"/>
                <a:gd name="T2" fmla="*/ 164 w 164"/>
                <a:gd name="T3" fmla="*/ 38 h 119"/>
                <a:gd name="T4" fmla="*/ 142 w 164"/>
                <a:gd name="T5" fmla="*/ 38 h 119"/>
                <a:gd name="T6" fmla="*/ 122 w 164"/>
                <a:gd name="T7" fmla="*/ 42 h 119"/>
                <a:gd name="T8" fmla="*/ 104 w 164"/>
                <a:gd name="T9" fmla="*/ 47 h 119"/>
                <a:gd name="T10" fmla="*/ 88 w 164"/>
                <a:gd name="T11" fmla="*/ 53 h 119"/>
                <a:gd name="T12" fmla="*/ 73 w 164"/>
                <a:gd name="T13" fmla="*/ 61 h 119"/>
                <a:gd name="T14" fmla="*/ 60 w 164"/>
                <a:gd name="T15" fmla="*/ 70 h 119"/>
                <a:gd name="T16" fmla="*/ 49 w 164"/>
                <a:gd name="T17" fmla="*/ 80 h 119"/>
                <a:gd name="T18" fmla="*/ 38 w 164"/>
                <a:gd name="T19" fmla="*/ 91 h 119"/>
                <a:gd name="T20" fmla="*/ 38 w 164"/>
                <a:gd name="T21" fmla="*/ 91 h 119"/>
                <a:gd name="T22" fmla="*/ 12 w 164"/>
                <a:gd name="T23" fmla="*/ 119 h 119"/>
                <a:gd name="T24" fmla="*/ 11 w 164"/>
                <a:gd name="T25" fmla="*/ 118 h 119"/>
                <a:gd name="T26" fmla="*/ 11 w 164"/>
                <a:gd name="T27" fmla="*/ 118 h 119"/>
                <a:gd name="T28" fmla="*/ 6 w 164"/>
                <a:gd name="T29" fmla="*/ 111 h 119"/>
                <a:gd name="T30" fmla="*/ 3 w 164"/>
                <a:gd name="T31" fmla="*/ 105 h 119"/>
                <a:gd name="T32" fmla="*/ 0 w 164"/>
                <a:gd name="T33" fmla="*/ 98 h 119"/>
                <a:gd name="T34" fmla="*/ 0 w 164"/>
                <a:gd name="T35" fmla="*/ 91 h 119"/>
                <a:gd name="T36" fmla="*/ 0 w 164"/>
                <a:gd name="T37" fmla="*/ 91 h 119"/>
                <a:gd name="T38" fmla="*/ 0 w 164"/>
                <a:gd name="T39" fmla="*/ 83 h 119"/>
                <a:gd name="T40" fmla="*/ 3 w 164"/>
                <a:gd name="T41" fmla="*/ 77 h 119"/>
                <a:gd name="T42" fmla="*/ 6 w 164"/>
                <a:gd name="T43" fmla="*/ 70 h 119"/>
                <a:gd name="T44" fmla="*/ 10 w 164"/>
                <a:gd name="T45" fmla="*/ 65 h 119"/>
                <a:gd name="T46" fmla="*/ 10 w 164"/>
                <a:gd name="T47" fmla="*/ 65 h 119"/>
                <a:gd name="T48" fmla="*/ 21 w 164"/>
                <a:gd name="T49" fmla="*/ 54 h 119"/>
                <a:gd name="T50" fmla="*/ 34 w 164"/>
                <a:gd name="T51" fmla="*/ 43 h 119"/>
                <a:gd name="T52" fmla="*/ 49 w 164"/>
                <a:gd name="T53" fmla="*/ 32 h 119"/>
                <a:gd name="T54" fmla="*/ 66 w 164"/>
                <a:gd name="T55" fmla="*/ 22 h 119"/>
                <a:gd name="T56" fmla="*/ 87 w 164"/>
                <a:gd name="T57" fmla="*/ 13 h 119"/>
                <a:gd name="T58" fmla="*/ 98 w 164"/>
                <a:gd name="T59" fmla="*/ 9 h 119"/>
                <a:gd name="T60" fmla="*/ 109 w 164"/>
                <a:gd name="T61" fmla="*/ 7 h 119"/>
                <a:gd name="T62" fmla="*/ 122 w 164"/>
                <a:gd name="T63" fmla="*/ 4 h 119"/>
                <a:gd name="T64" fmla="*/ 136 w 164"/>
                <a:gd name="T65" fmla="*/ 2 h 119"/>
                <a:gd name="T66" fmla="*/ 149 w 164"/>
                <a:gd name="T67" fmla="*/ 0 h 119"/>
                <a:gd name="T68" fmla="*/ 164 w 164"/>
                <a:gd name="T69" fmla="*/ 0 h 119"/>
                <a:gd name="T70" fmla="*/ 164 w 164"/>
                <a:gd name="T71" fmla="*/ 3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119">
                  <a:moveTo>
                    <a:pt x="164" y="38"/>
                  </a:moveTo>
                  <a:lnTo>
                    <a:pt x="164" y="38"/>
                  </a:lnTo>
                  <a:lnTo>
                    <a:pt x="142" y="38"/>
                  </a:lnTo>
                  <a:lnTo>
                    <a:pt x="122" y="42"/>
                  </a:lnTo>
                  <a:lnTo>
                    <a:pt x="104" y="47"/>
                  </a:lnTo>
                  <a:lnTo>
                    <a:pt x="88" y="53"/>
                  </a:lnTo>
                  <a:lnTo>
                    <a:pt x="73" y="61"/>
                  </a:lnTo>
                  <a:lnTo>
                    <a:pt x="60" y="70"/>
                  </a:lnTo>
                  <a:lnTo>
                    <a:pt x="49" y="80"/>
                  </a:lnTo>
                  <a:lnTo>
                    <a:pt x="38" y="91"/>
                  </a:lnTo>
                  <a:lnTo>
                    <a:pt x="38" y="91"/>
                  </a:lnTo>
                  <a:lnTo>
                    <a:pt x="12" y="119"/>
                  </a:lnTo>
                  <a:lnTo>
                    <a:pt x="11" y="118"/>
                  </a:lnTo>
                  <a:lnTo>
                    <a:pt x="11" y="118"/>
                  </a:lnTo>
                  <a:lnTo>
                    <a:pt x="6" y="111"/>
                  </a:lnTo>
                  <a:lnTo>
                    <a:pt x="3" y="105"/>
                  </a:lnTo>
                  <a:lnTo>
                    <a:pt x="0" y="98"/>
                  </a:lnTo>
                  <a:lnTo>
                    <a:pt x="0" y="91"/>
                  </a:lnTo>
                  <a:lnTo>
                    <a:pt x="0" y="91"/>
                  </a:lnTo>
                  <a:lnTo>
                    <a:pt x="0" y="83"/>
                  </a:lnTo>
                  <a:lnTo>
                    <a:pt x="3" y="77"/>
                  </a:lnTo>
                  <a:lnTo>
                    <a:pt x="6" y="70"/>
                  </a:lnTo>
                  <a:lnTo>
                    <a:pt x="10" y="65"/>
                  </a:lnTo>
                  <a:lnTo>
                    <a:pt x="10" y="65"/>
                  </a:lnTo>
                  <a:lnTo>
                    <a:pt x="21" y="54"/>
                  </a:lnTo>
                  <a:lnTo>
                    <a:pt x="34" y="43"/>
                  </a:lnTo>
                  <a:lnTo>
                    <a:pt x="49" y="32"/>
                  </a:lnTo>
                  <a:lnTo>
                    <a:pt x="66" y="22"/>
                  </a:lnTo>
                  <a:lnTo>
                    <a:pt x="87" y="13"/>
                  </a:lnTo>
                  <a:lnTo>
                    <a:pt x="98" y="9"/>
                  </a:lnTo>
                  <a:lnTo>
                    <a:pt x="109" y="7"/>
                  </a:lnTo>
                  <a:lnTo>
                    <a:pt x="122" y="4"/>
                  </a:lnTo>
                  <a:lnTo>
                    <a:pt x="136" y="2"/>
                  </a:lnTo>
                  <a:lnTo>
                    <a:pt x="149" y="0"/>
                  </a:lnTo>
                  <a:lnTo>
                    <a:pt x="164" y="0"/>
                  </a:lnTo>
                  <a:lnTo>
                    <a:pt x="164" y="38"/>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03" name="Rectangle 438">
              <a:extLst>
                <a:ext uri="{FF2B5EF4-FFF2-40B4-BE49-F238E27FC236}">
                  <a16:creationId xmlns:a16="http://schemas.microsoft.com/office/drawing/2014/main" id="{F0439DF4-537A-434D-850D-74F16AE3E108}"/>
                </a:ext>
              </a:extLst>
            </p:cNvPr>
            <p:cNvSpPr>
              <a:spLocks noChangeArrowheads="1"/>
            </p:cNvSpPr>
            <p:nvPr/>
          </p:nvSpPr>
          <p:spPr bwMode="auto">
            <a:xfrm>
              <a:off x="2821026" y="2540015"/>
              <a:ext cx="19050" cy="33338"/>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04" name="Rectangle 439">
              <a:extLst>
                <a:ext uri="{FF2B5EF4-FFF2-40B4-BE49-F238E27FC236}">
                  <a16:creationId xmlns:a16="http://schemas.microsoft.com/office/drawing/2014/main" id="{8B5FF32B-931A-4FF4-9515-177C04CA92B6}"/>
                </a:ext>
              </a:extLst>
            </p:cNvPr>
            <p:cNvSpPr>
              <a:spLocks noChangeArrowheads="1"/>
            </p:cNvSpPr>
            <p:nvPr/>
          </p:nvSpPr>
          <p:spPr bwMode="auto">
            <a:xfrm>
              <a:off x="2840077" y="2540015"/>
              <a:ext cx="20638" cy="33338"/>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05" name="Freeform 440">
              <a:extLst>
                <a:ext uri="{FF2B5EF4-FFF2-40B4-BE49-F238E27FC236}">
                  <a16:creationId xmlns:a16="http://schemas.microsoft.com/office/drawing/2014/main" id="{219B9E24-9E16-4F81-AA55-BEE554F36D89}"/>
                </a:ext>
              </a:extLst>
            </p:cNvPr>
            <p:cNvSpPr>
              <a:spLocks/>
            </p:cNvSpPr>
            <p:nvPr/>
          </p:nvSpPr>
          <p:spPr bwMode="auto">
            <a:xfrm>
              <a:off x="2813089" y="2492389"/>
              <a:ext cx="55563" cy="6350"/>
            </a:xfrm>
            <a:custGeom>
              <a:avLst/>
              <a:gdLst>
                <a:gd name="T0" fmla="*/ 155 w 177"/>
                <a:gd name="T1" fmla="*/ 0 h 22"/>
                <a:gd name="T2" fmla="*/ 22 w 177"/>
                <a:gd name="T3" fmla="*/ 0 h 22"/>
                <a:gd name="T4" fmla="*/ 22 w 177"/>
                <a:gd name="T5" fmla="*/ 0 h 22"/>
                <a:gd name="T6" fmla="*/ 17 w 177"/>
                <a:gd name="T7" fmla="*/ 2 h 22"/>
                <a:gd name="T8" fmla="*/ 13 w 177"/>
                <a:gd name="T9" fmla="*/ 3 h 22"/>
                <a:gd name="T10" fmla="*/ 10 w 177"/>
                <a:gd name="T11" fmla="*/ 4 h 22"/>
                <a:gd name="T12" fmla="*/ 6 w 177"/>
                <a:gd name="T13" fmla="*/ 6 h 22"/>
                <a:gd name="T14" fmla="*/ 4 w 177"/>
                <a:gd name="T15" fmla="*/ 10 h 22"/>
                <a:gd name="T16" fmla="*/ 1 w 177"/>
                <a:gd name="T17" fmla="*/ 14 h 22"/>
                <a:gd name="T18" fmla="*/ 0 w 177"/>
                <a:gd name="T19" fmla="*/ 19 h 22"/>
                <a:gd name="T20" fmla="*/ 0 w 177"/>
                <a:gd name="T21" fmla="*/ 22 h 22"/>
                <a:gd name="T22" fmla="*/ 177 w 177"/>
                <a:gd name="T23" fmla="*/ 22 h 22"/>
                <a:gd name="T24" fmla="*/ 177 w 177"/>
                <a:gd name="T25" fmla="*/ 22 h 22"/>
                <a:gd name="T26" fmla="*/ 177 w 177"/>
                <a:gd name="T27" fmla="*/ 19 h 22"/>
                <a:gd name="T28" fmla="*/ 175 w 177"/>
                <a:gd name="T29" fmla="*/ 14 h 22"/>
                <a:gd name="T30" fmla="*/ 173 w 177"/>
                <a:gd name="T31" fmla="*/ 10 h 22"/>
                <a:gd name="T32" fmla="*/ 171 w 177"/>
                <a:gd name="T33" fmla="*/ 6 h 22"/>
                <a:gd name="T34" fmla="*/ 167 w 177"/>
                <a:gd name="T35" fmla="*/ 4 h 22"/>
                <a:gd name="T36" fmla="*/ 163 w 177"/>
                <a:gd name="T37" fmla="*/ 3 h 22"/>
                <a:gd name="T38" fmla="*/ 160 w 177"/>
                <a:gd name="T39" fmla="*/ 2 h 22"/>
                <a:gd name="T40" fmla="*/ 155 w 177"/>
                <a:gd name="T41" fmla="*/ 0 h 22"/>
                <a:gd name="T42" fmla="*/ 155 w 177"/>
                <a:gd name="T4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7" h="22">
                  <a:moveTo>
                    <a:pt x="155" y="0"/>
                  </a:moveTo>
                  <a:lnTo>
                    <a:pt x="22" y="0"/>
                  </a:lnTo>
                  <a:lnTo>
                    <a:pt x="22" y="0"/>
                  </a:lnTo>
                  <a:lnTo>
                    <a:pt x="17" y="2"/>
                  </a:lnTo>
                  <a:lnTo>
                    <a:pt x="13" y="3"/>
                  </a:lnTo>
                  <a:lnTo>
                    <a:pt x="10" y="4"/>
                  </a:lnTo>
                  <a:lnTo>
                    <a:pt x="6" y="6"/>
                  </a:lnTo>
                  <a:lnTo>
                    <a:pt x="4" y="10"/>
                  </a:lnTo>
                  <a:lnTo>
                    <a:pt x="1" y="14"/>
                  </a:lnTo>
                  <a:lnTo>
                    <a:pt x="0" y="19"/>
                  </a:lnTo>
                  <a:lnTo>
                    <a:pt x="0" y="22"/>
                  </a:lnTo>
                  <a:lnTo>
                    <a:pt x="177" y="22"/>
                  </a:lnTo>
                  <a:lnTo>
                    <a:pt x="177" y="22"/>
                  </a:lnTo>
                  <a:lnTo>
                    <a:pt x="177" y="19"/>
                  </a:lnTo>
                  <a:lnTo>
                    <a:pt x="175" y="14"/>
                  </a:lnTo>
                  <a:lnTo>
                    <a:pt x="173" y="10"/>
                  </a:lnTo>
                  <a:lnTo>
                    <a:pt x="171" y="6"/>
                  </a:lnTo>
                  <a:lnTo>
                    <a:pt x="167" y="4"/>
                  </a:lnTo>
                  <a:lnTo>
                    <a:pt x="163" y="3"/>
                  </a:lnTo>
                  <a:lnTo>
                    <a:pt x="160" y="2"/>
                  </a:lnTo>
                  <a:lnTo>
                    <a:pt x="155" y="0"/>
                  </a:lnTo>
                  <a:lnTo>
                    <a:pt x="155" y="0"/>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06" name="Freeform 441">
              <a:extLst>
                <a:ext uri="{FF2B5EF4-FFF2-40B4-BE49-F238E27FC236}">
                  <a16:creationId xmlns:a16="http://schemas.microsoft.com/office/drawing/2014/main" id="{324611F0-3092-4DBB-BB2C-511D9B7FD6E3}"/>
                </a:ext>
              </a:extLst>
            </p:cNvPr>
            <p:cNvSpPr>
              <a:spLocks/>
            </p:cNvSpPr>
            <p:nvPr/>
          </p:nvSpPr>
          <p:spPr bwMode="auto">
            <a:xfrm>
              <a:off x="2813089" y="2498739"/>
              <a:ext cx="55563" cy="7938"/>
            </a:xfrm>
            <a:custGeom>
              <a:avLst/>
              <a:gdLst>
                <a:gd name="T0" fmla="*/ 0 w 177"/>
                <a:gd name="T1" fmla="*/ 0 h 22"/>
                <a:gd name="T2" fmla="*/ 0 w 177"/>
                <a:gd name="T3" fmla="*/ 0 h 22"/>
                <a:gd name="T4" fmla="*/ 0 w 177"/>
                <a:gd name="T5" fmla="*/ 5 h 22"/>
                <a:gd name="T6" fmla="*/ 1 w 177"/>
                <a:gd name="T7" fmla="*/ 9 h 22"/>
                <a:gd name="T8" fmla="*/ 4 w 177"/>
                <a:gd name="T9" fmla="*/ 12 h 22"/>
                <a:gd name="T10" fmla="*/ 6 w 177"/>
                <a:gd name="T11" fmla="*/ 16 h 22"/>
                <a:gd name="T12" fmla="*/ 10 w 177"/>
                <a:gd name="T13" fmla="*/ 19 h 22"/>
                <a:gd name="T14" fmla="*/ 13 w 177"/>
                <a:gd name="T15" fmla="*/ 21 h 22"/>
                <a:gd name="T16" fmla="*/ 17 w 177"/>
                <a:gd name="T17" fmla="*/ 22 h 22"/>
                <a:gd name="T18" fmla="*/ 22 w 177"/>
                <a:gd name="T19" fmla="*/ 22 h 22"/>
                <a:gd name="T20" fmla="*/ 155 w 177"/>
                <a:gd name="T21" fmla="*/ 22 h 22"/>
                <a:gd name="T22" fmla="*/ 155 w 177"/>
                <a:gd name="T23" fmla="*/ 22 h 22"/>
                <a:gd name="T24" fmla="*/ 160 w 177"/>
                <a:gd name="T25" fmla="*/ 22 h 22"/>
                <a:gd name="T26" fmla="*/ 163 w 177"/>
                <a:gd name="T27" fmla="*/ 21 h 22"/>
                <a:gd name="T28" fmla="*/ 167 w 177"/>
                <a:gd name="T29" fmla="*/ 19 h 22"/>
                <a:gd name="T30" fmla="*/ 171 w 177"/>
                <a:gd name="T31" fmla="*/ 16 h 22"/>
                <a:gd name="T32" fmla="*/ 173 w 177"/>
                <a:gd name="T33" fmla="*/ 12 h 22"/>
                <a:gd name="T34" fmla="*/ 175 w 177"/>
                <a:gd name="T35" fmla="*/ 9 h 22"/>
                <a:gd name="T36" fmla="*/ 177 w 177"/>
                <a:gd name="T37" fmla="*/ 5 h 22"/>
                <a:gd name="T38" fmla="*/ 177 w 177"/>
                <a:gd name="T39" fmla="*/ 0 h 22"/>
                <a:gd name="T40" fmla="*/ 0 w 177"/>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7" h="22">
                  <a:moveTo>
                    <a:pt x="0" y="0"/>
                  </a:moveTo>
                  <a:lnTo>
                    <a:pt x="0" y="0"/>
                  </a:lnTo>
                  <a:lnTo>
                    <a:pt x="0" y="5"/>
                  </a:lnTo>
                  <a:lnTo>
                    <a:pt x="1" y="9"/>
                  </a:lnTo>
                  <a:lnTo>
                    <a:pt x="4" y="12"/>
                  </a:lnTo>
                  <a:lnTo>
                    <a:pt x="6" y="16"/>
                  </a:lnTo>
                  <a:lnTo>
                    <a:pt x="10" y="19"/>
                  </a:lnTo>
                  <a:lnTo>
                    <a:pt x="13" y="21"/>
                  </a:lnTo>
                  <a:lnTo>
                    <a:pt x="17" y="22"/>
                  </a:lnTo>
                  <a:lnTo>
                    <a:pt x="22" y="22"/>
                  </a:lnTo>
                  <a:lnTo>
                    <a:pt x="155" y="22"/>
                  </a:lnTo>
                  <a:lnTo>
                    <a:pt x="155" y="22"/>
                  </a:lnTo>
                  <a:lnTo>
                    <a:pt x="160" y="22"/>
                  </a:lnTo>
                  <a:lnTo>
                    <a:pt x="163" y="21"/>
                  </a:lnTo>
                  <a:lnTo>
                    <a:pt x="167" y="19"/>
                  </a:lnTo>
                  <a:lnTo>
                    <a:pt x="171" y="16"/>
                  </a:lnTo>
                  <a:lnTo>
                    <a:pt x="173" y="12"/>
                  </a:lnTo>
                  <a:lnTo>
                    <a:pt x="175" y="9"/>
                  </a:lnTo>
                  <a:lnTo>
                    <a:pt x="177" y="5"/>
                  </a:lnTo>
                  <a:lnTo>
                    <a:pt x="177" y="0"/>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07" name="Freeform 442">
              <a:extLst>
                <a:ext uri="{FF2B5EF4-FFF2-40B4-BE49-F238E27FC236}">
                  <a16:creationId xmlns:a16="http://schemas.microsoft.com/office/drawing/2014/main" id="{4F1B1F1C-2E45-420F-9040-9F52AE65A330}"/>
                </a:ext>
              </a:extLst>
            </p:cNvPr>
            <p:cNvSpPr>
              <a:spLocks/>
            </p:cNvSpPr>
            <p:nvPr/>
          </p:nvSpPr>
          <p:spPr bwMode="auto">
            <a:xfrm>
              <a:off x="2840077" y="2335225"/>
              <a:ext cx="19050" cy="23813"/>
            </a:xfrm>
            <a:custGeom>
              <a:avLst/>
              <a:gdLst>
                <a:gd name="T0" fmla="*/ 0 w 57"/>
                <a:gd name="T1" fmla="*/ 0 h 74"/>
                <a:gd name="T2" fmla="*/ 0 w 57"/>
                <a:gd name="T3" fmla="*/ 57 h 74"/>
                <a:gd name="T4" fmla="*/ 0 w 57"/>
                <a:gd name="T5" fmla="*/ 74 h 74"/>
                <a:gd name="T6" fmla="*/ 57 w 57"/>
                <a:gd name="T7" fmla="*/ 74 h 74"/>
                <a:gd name="T8" fmla="*/ 57 w 57"/>
                <a:gd name="T9" fmla="*/ 57 h 74"/>
                <a:gd name="T10" fmla="*/ 57 w 57"/>
                <a:gd name="T11" fmla="*/ 57 h 74"/>
                <a:gd name="T12" fmla="*/ 56 w 57"/>
                <a:gd name="T13" fmla="*/ 46 h 74"/>
                <a:gd name="T14" fmla="*/ 53 w 57"/>
                <a:gd name="T15" fmla="*/ 35 h 74"/>
                <a:gd name="T16" fmla="*/ 47 w 57"/>
                <a:gd name="T17" fmla="*/ 25 h 74"/>
                <a:gd name="T18" fmla="*/ 41 w 57"/>
                <a:gd name="T19" fmla="*/ 17 h 74"/>
                <a:gd name="T20" fmla="*/ 33 w 57"/>
                <a:gd name="T21" fmla="*/ 9 h 74"/>
                <a:gd name="T22" fmla="*/ 23 w 57"/>
                <a:gd name="T23" fmla="*/ 5 h 74"/>
                <a:gd name="T24" fmla="*/ 12 w 57"/>
                <a:gd name="T25" fmla="*/ 1 h 74"/>
                <a:gd name="T26" fmla="*/ 0 w 57"/>
                <a:gd name="T27" fmla="*/ 0 h 74"/>
                <a:gd name="T28" fmla="*/ 0 w 57"/>
                <a:gd name="T29"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 h="74">
                  <a:moveTo>
                    <a:pt x="0" y="0"/>
                  </a:moveTo>
                  <a:lnTo>
                    <a:pt x="0" y="57"/>
                  </a:lnTo>
                  <a:lnTo>
                    <a:pt x="0" y="74"/>
                  </a:lnTo>
                  <a:lnTo>
                    <a:pt x="57" y="74"/>
                  </a:lnTo>
                  <a:lnTo>
                    <a:pt x="57" y="57"/>
                  </a:lnTo>
                  <a:lnTo>
                    <a:pt x="57" y="57"/>
                  </a:lnTo>
                  <a:lnTo>
                    <a:pt x="56" y="46"/>
                  </a:lnTo>
                  <a:lnTo>
                    <a:pt x="53" y="35"/>
                  </a:lnTo>
                  <a:lnTo>
                    <a:pt x="47" y="25"/>
                  </a:lnTo>
                  <a:lnTo>
                    <a:pt x="41" y="17"/>
                  </a:lnTo>
                  <a:lnTo>
                    <a:pt x="33" y="9"/>
                  </a:lnTo>
                  <a:lnTo>
                    <a:pt x="23" y="5"/>
                  </a:lnTo>
                  <a:lnTo>
                    <a:pt x="12" y="1"/>
                  </a:lnTo>
                  <a:lnTo>
                    <a:pt x="0" y="0"/>
                  </a:lnTo>
                  <a:lnTo>
                    <a:pt x="0" y="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08" name="Freeform 443">
              <a:extLst>
                <a:ext uri="{FF2B5EF4-FFF2-40B4-BE49-F238E27FC236}">
                  <a16:creationId xmlns:a16="http://schemas.microsoft.com/office/drawing/2014/main" id="{A9D66293-2F78-4816-B50B-80240B5307F3}"/>
                </a:ext>
              </a:extLst>
            </p:cNvPr>
            <p:cNvSpPr>
              <a:spLocks/>
            </p:cNvSpPr>
            <p:nvPr/>
          </p:nvSpPr>
          <p:spPr bwMode="auto">
            <a:xfrm>
              <a:off x="2822614" y="2335225"/>
              <a:ext cx="17463" cy="23813"/>
            </a:xfrm>
            <a:custGeom>
              <a:avLst/>
              <a:gdLst>
                <a:gd name="T0" fmla="*/ 0 w 56"/>
                <a:gd name="T1" fmla="*/ 57 h 74"/>
                <a:gd name="T2" fmla="*/ 0 w 56"/>
                <a:gd name="T3" fmla="*/ 74 h 74"/>
                <a:gd name="T4" fmla="*/ 56 w 56"/>
                <a:gd name="T5" fmla="*/ 74 h 74"/>
                <a:gd name="T6" fmla="*/ 56 w 56"/>
                <a:gd name="T7" fmla="*/ 57 h 74"/>
                <a:gd name="T8" fmla="*/ 56 w 56"/>
                <a:gd name="T9" fmla="*/ 0 h 74"/>
                <a:gd name="T10" fmla="*/ 56 w 56"/>
                <a:gd name="T11" fmla="*/ 0 h 74"/>
                <a:gd name="T12" fmla="*/ 45 w 56"/>
                <a:gd name="T13" fmla="*/ 1 h 74"/>
                <a:gd name="T14" fmla="*/ 34 w 56"/>
                <a:gd name="T15" fmla="*/ 5 h 74"/>
                <a:gd name="T16" fmla="*/ 24 w 56"/>
                <a:gd name="T17" fmla="*/ 9 h 74"/>
                <a:gd name="T18" fmla="*/ 15 w 56"/>
                <a:gd name="T19" fmla="*/ 17 h 74"/>
                <a:gd name="T20" fmla="*/ 9 w 56"/>
                <a:gd name="T21" fmla="*/ 25 h 74"/>
                <a:gd name="T22" fmla="*/ 3 w 56"/>
                <a:gd name="T23" fmla="*/ 35 h 74"/>
                <a:gd name="T24" fmla="*/ 1 w 56"/>
                <a:gd name="T25" fmla="*/ 46 h 74"/>
                <a:gd name="T26" fmla="*/ 0 w 56"/>
                <a:gd name="T27" fmla="*/ 57 h 74"/>
                <a:gd name="T28" fmla="*/ 0 w 56"/>
                <a:gd name="T29" fmla="*/ 5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74">
                  <a:moveTo>
                    <a:pt x="0" y="57"/>
                  </a:moveTo>
                  <a:lnTo>
                    <a:pt x="0" y="74"/>
                  </a:lnTo>
                  <a:lnTo>
                    <a:pt x="56" y="74"/>
                  </a:lnTo>
                  <a:lnTo>
                    <a:pt x="56" y="57"/>
                  </a:lnTo>
                  <a:lnTo>
                    <a:pt x="56" y="0"/>
                  </a:lnTo>
                  <a:lnTo>
                    <a:pt x="56" y="0"/>
                  </a:lnTo>
                  <a:lnTo>
                    <a:pt x="45" y="1"/>
                  </a:lnTo>
                  <a:lnTo>
                    <a:pt x="34" y="5"/>
                  </a:lnTo>
                  <a:lnTo>
                    <a:pt x="24" y="9"/>
                  </a:lnTo>
                  <a:lnTo>
                    <a:pt x="15" y="17"/>
                  </a:lnTo>
                  <a:lnTo>
                    <a:pt x="9" y="25"/>
                  </a:lnTo>
                  <a:lnTo>
                    <a:pt x="3" y="35"/>
                  </a:lnTo>
                  <a:lnTo>
                    <a:pt x="1" y="46"/>
                  </a:lnTo>
                  <a:lnTo>
                    <a:pt x="0" y="57"/>
                  </a:lnTo>
                  <a:lnTo>
                    <a:pt x="0" y="57"/>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09" name="Freeform 444">
              <a:extLst>
                <a:ext uri="{FF2B5EF4-FFF2-40B4-BE49-F238E27FC236}">
                  <a16:creationId xmlns:a16="http://schemas.microsoft.com/office/drawing/2014/main" id="{CB133C33-8B72-4BC7-A278-55682FABD66D}"/>
                </a:ext>
              </a:extLst>
            </p:cNvPr>
            <p:cNvSpPr>
              <a:spLocks/>
            </p:cNvSpPr>
            <p:nvPr/>
          </p:nvSpPr>
          <p:spPr bwMode="auto">
            <a:xfrm>
              <a:off x="2809914" y="2359038"/>
              <a:ext cx="30163" cy="44450"/>
            </a:xfrm>
            <a:custGeom>
              <a:avLst/>
              <a:gdLst>
                <a:gd name="T0" fmla="*/ 40 w 95"/>
                <a:gd name="T1" fmla="*/ 0 h 141"/>
                <a:gd name="T2" fmla="*/ 40 w 95"/>
                <a:gd name="T3" fmla="*/ 0 h 141"/>
                <a:gd name="T4" fmla="*/ 31 w 95"/>
                <a:gd name="T5" fmla="*/ 1 h 141"/>
                <a:gd name="T6" fmla="*/ 24 w 95"/>
                <a:gd name="T7" fmla="*/ 4 h 141"/>
                <a:gd name="T8" fmla="*/ 18 w 95"/>
                <a:gd name="T9" fmla="*/ 7 h 141"/>
                <a:gd name="T10" fmla="*/ 12 w 95"/>
                <a:gd name="T11" fmla="*/ 12 h 141"/>
                <a:gd name="T12" fmla="*/ 7 w 95"/>
                <a:gd name="T13" fmla="*/ 18 h 141"/>
                <a:gd name="T14" fmla="*/ 3 w 95"/>
                <a:gd name="T15" fmla="*/ 24 h 141"/>
                <a:gd name="T16" fmla="*/ 1 w 95"/>
                <a:gd name="T17" fmla="*/ 32 h 141"/>
                <a:gd name="T18" fmla="*/ 0 w 95"/>
                <a:gd name="T19" fmla="*/ 40 h 141"/>
                <a:gd name="T20" fmla="*/ 0 w 95"/>
                <a:gd name="T21" fmla="*/ 141 h 141"/>
                <a:gd name="T22" fmla="*/ 95 w 95"/>
                <a:gd name="T23" fmla="*/ 141 h 141"/>
                <a:gd name="T24" fmla="*/ 95 w 95"/>
                <a:gd name="T25" fmla="*/ 71 h 141"/>
                <a:gd name="T26" fmla="*/ 95 w 95"/>
                <a:gd name="T27" fmla="*/ 0 h 141"/>
                <a:gd name="T28" fmla="*/ 40 w 95"/>
                <a:gd name="T2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41">
                  <a:moveTo>
                    <a:pt x="40" y="0"/>
                  </a:moveTo>
                  <a:lnTo>
                    <a:pt x="40" y="0"/>
                  </a:lnTo>
                  <a:lnTo>
                    <a:pt x="31" y="1"/>
                  </a:lnTo>
                  <a:lnTo>
                    <a:pt x="24" y="4"/>
                  </a:lnTo>
                  <a:lnTo>
                    <a:pt x="18" y="7"/>
                  </a:lnTo>
                  <a:lnTo>
                    <a:pt x="12" y="12"/>
                  </a:lnTo>
                  <a:lnTo>
                    <a:pt x="7" y="18"/>
                  </a:lnTo>
                  <a:lnTo>
                    <a:pt x="3" y="24"/>
                  </a:lnTo>
                  <a:lnTo>
                    <a:pt x="1" y="32"/>
                  </a:lnTo>
                  <a:lnTo>
                    <a:pt x="0" y="40"/>
                  </a:lnTo>
                  <a:lnTo>
                    <a:pt x="0" y="141"/>
                  </a:lnTo>
                  <a:lnTo>
                    <a:pt x="95" y="141"/>
                  </a:lnTo>
                  <a:lnTo>
                    <a:pt x="95" y="71"/>
                  </a:lnTo>
                  <a:lnTo>
                    <a:pt x="95" y="0"/>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10" name="Freeform 445">
              <a:extLst>
                <a:ext uri="{FF2B5EF4-FFF2-40B4-BE49-F238E27FC236}">
                  <a16:creationId xmlns:a16="http://schemas.microsoft.com/office/drawing/2014/main" id="{18BF2D44-6664-46AB-BF62-D47E2910C7A5}"/>
                </a:ext>
              </a:extLst>
            </p:cNvPr>
            <p:cNvSpPr>
              <a:spLocks/>
            </p:cNvSpPr>
            <p:nvPr/>
          </p:nvSpPr>
          <p:spPr bwMode="auto">
            <a:xfrm>
              <a:off x="2840077" y="2359038"/>
              <a:ext cx="31750" cy="44450"/>
            </a:xfrm>
            <a:custGeom>
              <a:avLst/>
              <a:gdLst>
                <a:gd name="T0" fmla="*/ 56 w 96"/>
                <a:gd name="T1" fmla="*/ 0 h 141"/>
                <a:gd name="T2" fmla="*/ 56 w 96"/>
                <a:gd name="T3" fmla="*/ 0 h 141"/>
                <a:gd name="T4" fmla="*/ 64 w 96"/>
                <a:gd name="T5" fmla="*/ 1 h 141"/>
                <a:gd name="T6" fmla="*/ 72 w 96"/>
                <a:gd name="T7" fmla="*/ 4 h 141"/>
                <a:gd name="T8" fmla="*/ 78 w 96"/>
                <a:gd name="T9" fmla="*/ 7 h 141"/>
                <a:gd name="T10" fmla="*/ 84 w 96"/>
                <a:gd name="T11" fmla="*/ 12 h 141"/>
                <a:gd name="T12" fmla="*/ 89 w 96"/>
                <a:gd name="T13" fmla="*/ 18 h 141"/>
                <a:gd name="T14" fmla="*/ 92 w 96"/>
                <a:gd name="T15" fmla="*/ 24 h 141"/>
                <a:gd name="T16" fmla="*/ 95 w 96"/>
                <a:gd name="T17" fmla="*/ 32 h 141"/>
                <a:gd name="T18" fmla="*/ 96 w 96"/>
                <a:gd name="T19" fmla="*/ 40 h 141"/>
                <a:gd name="T20" fmla="*/ 96 w 96"/>
                <a:gd name="T21" fmla="*/ 141 h 141"/>
                <a:gd name="T22" fmla="*/ 0 w 96"/>
                <a:gd name="T23" fmla="*/ 141 h 141"/>
                <a:gd name="T24" fmla="*/ 0 w 96"/>
                <a:gd name="T25" fmla="*/ 71 h 141"/>
                <a:gd name="T26" fmla="*/ 0 w 96"/>
                <a:gd name="T27" fmla="*/ 0 h 141"/>
                <a:gd name="T28" fmla="*/ 56 w 96"/>
                <a:gd name="T2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141">
                  <a:moveTo>
                    <a:pt x="56" y="0"/>
                  </a:moveTo>
                  <a:lnTo>
                    <a:pt x="56" y="0"/>
                  </a:lnTo>
                  <a:lnTo>
                    <a:pt x="64" y="1"/>
                  </a:lnTo>
                  <a:lnTo>
                    <a:pt x="72" y="4"/>
                  </a:lnTo>
                  <a:lnTo>
                    <a:pt x="78" y="7"/>
                  </a:lnTo>
                  <a:lnTo>
                    <a:pt x="84" y="12"/>
                  </a:lnTo>
                  <a:lnTo>
                    <a:pt x="89" y="18"/>
                  </a:lnTo>
                  <a:lnTo>
                    <a:pt x="92" y="24"/>
                  </a:lnTo>
                  <a:lnTo>
                    <a:pt x="95" y="32"/>
                  </a:lnTo>
                  <a:lnTo>
                    <a:pt x="96" y="40"/>
                  </a:lnTo>
                  <a:lnTo>
                    <a:pt x="96" y="141"/>
                  </a:lnTo>
                  <a:lnTo>
                    <a:pt x="0" y="141"/>
                  </a:lnTo>
                  <a:lnTo>
                    <a:pt x="0" y="71"/>
                  </a:lnTo>
                  <a:lnTo>
                    <a:pt x="0" y="0"/>
                  </a:lnTo>
                  <a:lnTo>
                    <a:pt x="56"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11" name="Freeform 446">
              <a:extLst>
                <a:ext uri="{FF2B5EF4-FFF2-40B4-BE49-F238E27FC236}">
                  <a16:creationId xmlns:a16="http://schemas.microsoft.com/office/drawing/2014/main" id="{F1E37340-2DC0-4E2D-8A00-275103BC4F6E}"/>
                </a:ext>
              </a:extLst>
            </p:cNvPr>
            <p:cNvSpPr>
              <a:spLocks/>
            </p:cNvSpPr>
            <p:nvPr/>
          </p:nvSpPr>
          <p:spPr bwMode="auto">
            <a:xfrm>
              <a:off x="2840077" y="2398726"/>
              <a:ext cx="41275" cy="60326"/>
            </a:xfrm>
            <a:custGeom>
              <a:avLst/>
              <a:gdLst>
                <a:gd name="T0" fmla="*/ 74 w 128"/>
                <a:gd name="T1" fmla="*/ 189 h 189"/>
                <a:gd name="T2" fmla="*/ 74 w 128"/>
                <a:gd name="T3" fmla="*/ 189 h 189"/>
                <a:gd name="T4" fmla="*/ 85 w 128"/>
                <a:gd name="T5" fmla="*/ 188 h 189"/>
                <a:gd name="T6" fmla="*/ 95 w 128"/>
                <a:gd name="T7" fmla="*/ 186 h 189"/>
                <a:gd name="T8" fmla="*/ 104 w 128"/>
                <a:gd name="T9" fmla="*/ 181 h 189"/>
                <a:gd name="T10" fmla="*/ 112 w 128"/>
                <a:gd name="T11" fmla="*/ 173 h 189"/>
                <a:gd name="T12" fmla="*/ 119 w 128"/>
                <a:gd name="T13" fmla="*/ 166 h 189"/>
                <a:gd name="T14" fmla="*/ 124 w 128"/>
                <a:gd name="T15" fmla="*/ 156 h 189"/>
                <a:gd name="T16" fmla="*/ 126 w 128"/>
                <a:gd name="T17" fmla="*/ 147 h 189"/>
                <a:gd name="T18" fmla="*/ 128 w 128"/>
                <a:gd name="T19" fmla="*/ 136 h 189"/>
                <a:gd name="T20" fmla="*/ 128 w 128"/>
                <a:gd name="T21" fmla="*/ 0 h 189"/>
                <a:gd name="T22" fmla="*/ 0 w 128"/>
                <a:gd name="T23" fmla="*/ 0 h 189"/>
                <a:gd name="T24" fmla="*/ 0 w 128"/>
                <a:gd name="T25" fmla="*/ 95 h 189"/>
                <a:gd name="T26" fmla="*/ 0 w 128"/>
                <a:gd name="T27" fmla="*/ 189 h 189"/>
                <a:gd name="T28" fmla="*/ 74 w 128"/>
                <a:gd name="T29"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89">
                  <a:moveTo>
                    <a:pt x="74" y="189"/>
                  </a:moveTo>
                  <a:lnTo>
                    <a:pt x="74" y="189"/>
                  </a:lnTo>
                  <a:lnTo>
                    <a:pt x="85" y="188"/>
                  </a:lnTo>
                  <a:lnTo>
                    <a:pt x="95" y="186"/>
                  </a:lnTo>
                  <a:lnTo>
                    <a:pt x="104" y="181"/>
                  </a:lnTo>
                  <a:lnTo>
                    <a:pt x="112" y="173"/>
                  </a:lnTo>
                  <a:lnTo>
                    <a:pt x="119" y="166"/>
                  </a:lnTo>
                  <a:lnTo>
                    <a:pt x="124" y="156"/>
                  </a:lnTo>
                  <a:lnTo>
                    <a:pt x="126" y="147"/>
                  </a:lnTo>
                  <a:lnTo>
                    <a:pt x="128" y="136"/>
                  </a:lnTo>
                  <a:lnTo>
                    <a:pt x="128" y="0"/>
                  </a:lnTo>
                  <a:lnTo>
                    <a:pt x="0" y="0"/>
                  </a:lnTo>
                  <a:lnTo>
                    <a:pt x="0" y="95"/>
                  </a:lnTo>
                  <a:lnTo>
                    <a:pt x="0" y="189"/>
                  </a:lnTo>
                  <a:lnTo>
                    <a:pt x="74" y="189"/>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12" name="Freeform 447">
              <a:extLst>
                <a:ext uri="{FF2B5EF4-FFF2-40B4-BE49-F238E27FC236}">
                  <a16:creationId xmlns:a16="http://schemas.microsoft.com/office/drawing/2014/main" id="{7C985E95-140F-4594-98FB-3BE13FD4AB6B}"/>
                </a:ext>
              </a:extLst>
            </p:cNvPr>
            <p:cNvSpPr>
              <a:spLocks/>
            </p:cNvSpPr>
            <p:nvPr/>
          </p:nvSpPr>
          <p:spPr bwMode="auto">
            <a:xfrm>
              <a:off x="2800389" y="2398726"/>
              <a:ext cx="39688" cy="60326"/>
            </a:xfrm>
            <a:custGeom>
              <a:avLst/>
              <a:gdLst>
                <a:gd name="T0" fmla="*/ 53 w 127"/>
                <a:gd name="T1" fmla="*/ 189 h 189"/>
                <a:gd name="T2" fmla="*/ 53 w 127"/>
                <a:gd name="T3" fmla="*/ 189 h 189"/>
                <a:gd name="T4" fmla="*/ 43 w 127"/>
                <a:gd name="T5" fmla="*/ 188 h 189"/>
                <a:gd name="T6" fmla="*/ 33 w 127"/>
                <a:gd name="T7" fmla="*/ 186 h 189"/>
                <a:gd name="T8" fmla="*/ 23 w 127"/>
                <a:gd name="T9" fmla="*/ 181 h 189"/>
                <a:gd name="T10" fmla="*/ 16 w 127"/>
                <a:gd name="T11" fmla="*/ 173 h 189"/>
                <a:gd name="T12" fmla="*/ 8 w 127"/>
                <a:gd name="T13" fmla="*/ 166 h 189"/>
                <a:gd name="T14" fmla="*/ 4 w 127"/>
                <a:gd name="T15" fmla="*/ 156 h 189"/>
                <a:gd name="T16" fmla="*/ 1 w 127"/>
                <a:gd name="T17" fmla="*/ 147 h 189"/>
                <a:gd name="T18" fmla="*/ 0 w 127"/>
                <a:gd name="T19" fmla="*/ 136 h 189"/>
                <a:gd name="T20" fmla="*/ 0 w 127"/>
                <a:gd name="T21" fmla="*/ 0 h 189"/>
                <a:gd name="T22" fmla="*/ 127 w 127"/>
                <a:gd name="T23" fmla="*/ 0 h 189"/>
                <a:gd name="T24" fmla="*/ 127 w 127"/>
                <a:gd name="T25" fmla="*/ 95 h 189"/>
                <a:gd name="T26" fmla="*/ 127 w 127"/>
                <a:gd name="T27" fmla="*/ 189 h 189"/>
                <a:gd name="T28" fmla="*/ 53 w 127"/>
                <a:gd name="T29"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7" h="189">
                  <a:moveTo>
                    <a:pt x="53" y="189"/>
                  </a:moveTo>
                  <a:lnTo>
                    <a:pt x="53" y="189"/>
                  </a:lnTo>
                  <a:lnTo>
                    <a:pt x="43" y="188"/>
                  </a:lnTo>
                  <a:lnTo>
                    <a:pt x="33" y="186"/>
                  </a:lnTo>
                  <a:lnTo>
                    <a:pt x="23" y="181"/>
                  </a:lnTo>
                  <a:lnTo>
                    <a:pt x="16" y="173"/>
                  </a:lnTo>
                  <a:lnTo>
                    <a:pt x="8" y="166"/>
                  </a:lnTo>
                  <a:lnTo>
                    <a:pt x="4" y="156"/>
                  </a:lnTo>
                  <a:lnTo>
                    <a:pt x="1" y="147"/>
                  </a:lnTo>
                  <a:lnTo>
                    <a:pt x="0" y="136"/>
                  </a:lnTo>
                  <a:lnTo>
                    <a:pt x="0" y="0"/>
                  </a:lnTo>
                  <a:lnTo>
                    <a:pt x="127" y="0"/>
                  </a:lnTo>
                  <a:lnTo>
                    <a:pt x="127" y="95"/>
                  </a:lnTo>
                  <a:lnTo>
                    <a:pt x="127" y="189"/>
                  </a:lnTo>
                  <a:lnTo>
                    <a:pt x="53" y="1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13" name="Freeform 448">
              <a:extLst>
                <a:ext uri="{FF2B5EF4-FFF2-40B4-BE49-F238E27FC236}">
                  <a16:creationId xmlns:a16="http://schemas.microsoft.com/office/drawing/2014/main" id="{4FEEEAC9-5E2A-427A-B010-C938193C36F5}"/>
                </a:ext>
              </a:extLst>
            </p:cNvPr>
            <p:cNvSpPr>
              <a:spLocks/>
            </p:cNvSpPr>
            <p:nvPr/>
          </p:nvSpPr>
          <p:spPr bwMode="auto">
            <a:xfrm>
              <a:off x="2792451" y="2374913"/>
              <a:ext cx="47625" cy="28575"/>
            </a:xfrm>
            <a:custGeom>
              <a:avLst/>
              <a:gdLst>
                <a:gd name="T0" fmla="*/ 152 w 152"/>
                <a:gd name="T1" fmla="*/ 90 h 90"/>
                <a:gd name="T2" fmla="*/ 152 w 152"/>
                <a:gd name="T3" fmla="*/ 53 h 90"/>
                <a:gd name="T4" fmla="*/ 152 w 152"/>
                <a:gd name="T5" fmla="*/ 53 h 90"/>
                <a:gd name="T6" fmla="*/ 133 w 152"/>
                <a:gd name="T7" fmla="*/ 53 h 90"/>
                <a:gd name="T8" fmla="*/ 118 w 152"/>
                <a:gd name="T9" fmla="*/ 49 h 90"/>
                <a:gd name="T10" fmla="*/ 103 w 152"/>
                <a:gd name="T11" fmla="*/ 45 h 90"/>
                <a:gd name="T12" fmla="*/ 91 w 152"/>
                <a:gd name="T13" fmla="*/ 40 h 90"/>
                <a:gd name="T14" fmla="*/ 80 w 152"/>
                <a:gd name="T15" fmla="*/ 34 h 90"/>
                <a:gd name="T16" fmla="*/ 70 w 152"/>
                <a:gd name="T17" fmla="*/ 27 h 90"/>
                <a:gd name="T18" fmla="*/ 60 w 152"/>
                <a:gd name="T19" fmla="*/ 20 h 90"/>
                <a:gd name="T20" fmla="*/ 53 w 152"/>
                <a:gd name="T21" fmla="*/ 11 h 90"/>
                <a:gd name="T22" fmla="*/ 53 w 152"/>
                <a:gd name="T23" fmla="*/ 11 h 90"/>
                <a:gd name="T24" fmla="*/ 47 w 152"/>
                <a:gd name="T25" fmla="*/ 6 h 90"/>
                <a:gd name="T26" fmla="*/ 41 w 152"/>
                <a:gd name="T27" fmla="*/ 3 h 90"/>
                <a:gd name="T28" fmla="*/ 33 w 152"/>
                <a:gd name="T29" fmla="*/ 1 h 90"/>
                <a:gd name="T30" fmla="*/ 27 w 152"/>
                <a:gd name="T31" fmla="*/ 0 h 90"/>
                <a:gd name="T32" fmla="*/ 20 w 152"/>
                <a:gd name="T33" fmla="*/ 0 h 90"/>
                <a:gd name="T34" fmla="*/ 13 w 152"/>
                <a:gd name="T35" fmla="*/ 3 h 90"/>
                <a:gd name="T36" fmla="*/ 7 w 152"/>
                <a:gd name="T37" fmla="*/ 5 h 90"/>
                <a:gd name="T38" fmla="*/ 0 w 152"/>
                <a:gd name="T39" fmla="*/ 10 h 90"/>
                <a:gd name="T40" fmla="*/ 0 w 152"/>
                <a:gd name="T41" fmla="*/ 10 h 90"/>
                <a:gd name="T42" fmla="*/ 26 w 152"/>
                <a:gd name="T43" fmla="*/ 38 h 90"/>
                <a:gd name="T44" fmla="*/ 26 w 152"/>
                <a:gd name="T45" fmla="*/ 38 h 90"/>
                <a:gd name="T46" fmla="*/ 37 w 152"/>
                <a:gd name="T47" fmla="*/ 49 h 90"/>
                <a:gd name="T48" fmla="*/ 48 w 152"/>
                <a:gd name="T49" fmla="*/ 59 h 90"/>
                <a:gd name="T50" fmla="*/ 61 w 152"/>
                <a:gd name="T51" fmla="*/ 67 h 90"/>
                <a:gd name="T52" fmla="*/ 76 w 152"/>
                <a:gd name="T53" fmla="*/ 76 h 90"/>
                <a:gd name="T54" fmla="*/ 92 w 152"/>
                <a:gd name="T55" fmla="*/ 82 h 90"/>
                <a:gd name="T56" fmla="*/ 110 w 152"/>
                <a:gd name="T57" fmla="*/ 87 h 90"/>
                <a:gd name="T58" fmla="*/ 130 w 152"/>
                <a:gd name="T59" fmla="*/ 89 h 90"/>
                <a:gd name="T60" fmla="*/ 152 w 152"/>
                <a:gd name="T61" fmla="*/ 90 h 90"/>
                <a:gd name="T62" fmla="*/ 152 w 152"/>
                <a:gd name="T63"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90">
                  <a:moveTo>
                    <a:pt x="152" y="90"/>
                  </a:moveTo>
                  <a:lnTo>
                    <a:pt x="152" y="53"/>
                  </a:lnTo>
                  <a:lnTo>
                    <a:pt x="152" y="53"/>
                  </a:lnTo>
                  <a:lnTo>
                    <a:pt x="133" y="53"/>
                  </a:lnTo>
                  <a:lnTo>
                    <a:pt x="118" y="49"/>
                  </a:lnTo>
                  <a:lnTo>
                    <a:pt x="103" y="45"/>
                  </a:lnTo>
                  <a:lnTo>
                    <a:pt x="91" y="40"/>
                  </a:lnTo>
                  <a:lnTo>
                    <a:pt x="80" y="34"/>
                  </a:lnTo>
                  <a:lnTo>
                    <a:pt x="70" y="27"/>
                  </a:lnTo>
                  <a:lnTo>
                    <a:pt x="60" y="20"/>
                  </a:lnTo>
                  <a:lnTo>
                    <a:pt x="53" y="11"/>
                  </a:lnTo>
                  <a:lnTo>
                    <a:pt x="53" y="11"/>
                  </a:lnTo>
                  <a:lnTo>
                    <a:pt x="47" y="6"/>
                  </a:lnTo>
                  <a:lnTo>
                    <a:pt x="41" y="3"/>
                  </a:lnTo>
                  <a:lnTo>
                    <a:pt x="33" y="1"/>
                  </a:lnTo>
                  <a:lnTo>
                    <a:pt x="27" y="0"/>
                  </a:lnTo>
                  <a:lnTo>
                    <a:pt x="20" y="0"/>
                  </a:lnTo>
                  <a:lnTo>
                    <a:pt x="13" y="3"/>
                  </a:lnTo>
                  <a:lnTo>
                    <a:pt x="7" y="5"/>
                  </a:lnTo>
                  <a:lnTo>
                    <a:pt x="0" y="10"/>
                  </a:lnTo>
                  <a:lnTo>
                    <a:pt x="0" y="10"/>
                  </a:lnTo>
                  <a:lnTo>
                    <a:pt x="26" y="38"/>
                  </a:lnTo>
                  <a:lnTo>
                    <a:pt x="26" y="38"/>
                  </a:lnTo>
                  <a:lnTo>
                    <a:pt x="37" y="49"/>
                  </a:lnTo>
                  <a:lnTo>
                    <a:pt x="48" y="59"/>
                  </a:lnTo>
                  <a:lnTo>
                    <a:pt x="61" y="67"/>
                  </a:lnTo>
                  <a:lnTo>
                    <a:pt x="76" y="76"/>
                  </a:lnTo>
                  <a:lnTo>
                    <a:pt x="92" y="82"/>
                  </a:lnTo>
                  <a:lnTo>
                    <a:pt x="110" y="87"/>
                  </a:lnTo>
                  <a:lnTo>
                    <a:pt x="130" y="89"/>
                  </a:lnTo>
                  <a:lnTo>
                    <a:pt x="152" y="90"/>
                  </a:lnTo>
                  <a:lnTo>
                    <a:pt x="152" y="90"/>
                  </a:lnTo>
                  <a:close/>
                </a:path>
              </a:pathLst>
            </a:custGeom>
            <a:solidFill>
              <a:srgbClr val="EF4F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14" name="Freeform 449">
              <a:extLst>
                <a:ext uri="{FF2B5EF4-FFF2-40B4-BE49-F238E27FC236}">
                  <a16:creationId xmlns:a16="http://schemas.microsoft.com/office/drawing/2014/main" id="{D851B533-CB40-499A-BF73-7A4EE942D095}"/>
                </a:ext>
              </a:extLst>
            </p:cNvPr>
            <p:cNvSpPr>
              <a:spLocks/>
            </p:cNvSpPr>
            <p:nvPr/>
          </p:nvSpPr>
          <p:spPr bwMode="auto">
            <a:xfrm>
              <a:off x="2789276" y="2378088"/>
              <a:ext cx="50800" cy="38100"/>
            </a:xfrm>
            <a:custGeom>
              <a:avLst/>
              <a:gdLst>
                <a:gd name="T0" fmla="*/ 164 w 164"/>
                <a:gd name="T1" fmla="*/ 80 h 118"/>
                <a:gd name="T2" fmla="*/ 164 w 164"/>
                <a:gd name="T3" fmla="*/ 80 h 118"/>
                <a:gd name="T4" fmla="*/ 142 w 164"/>
                <a:gd name="T5" fmla="*/ 79 h 118"/>
                <a:gd name="T6" fmla="*/ 122 w 164"/>
                <a:gd name="T7" fmla="*/ 77 h 118"/>
                <a:gd name="T8" fmla="*/ 104 w 164"/>
                <a:gd name="T9" fmla="*/ 72 h 118"/>
                <a:gd name="T10" fmla="*/ 88 w 164"/>
                <a:gd name="T11" fmla="*/ 66 h 118"/>
                <a:gd name="T12" fmla="*/ 73 w 164"/>
                <a:gd name="T13" fmla="*/ 57 h 118"/>
                <a:gd name="T14" fmla="*/ 60 w 164"/>
                <a:gd name="T15" fmla="*/ 49 h 118"/>
                <a:gd name="T16" fmla="*/ 49 w 164"/>
                <a:gd name="T17" fmla="*/ 39 h 118"/>
                <a:gd name="T18" fmla="*/ 38 w 164"/>
                <a:gd name="T19" fmla="*/ 28 h 118"/>
                <a:gd name="T20" fmla="*/ 38 w 164"/>
                <a:gd name="T21" fmla="*/ 28 h 118"/>
                <a:gd name="T22" fmla="*/ 12 w 164"/>
                <a:gd name="T23" fmla="*/ 0 h 118"/>
                <a:gd name="T24" fmla="*/ 11 w 164"/>
                <a:gd name="T25" fmla="*/ 1 h 118"/>
                <a:gd name="T26" fmla="*/ 11 w 164"/>
                <a:gd name="T27" fmla="*/ 1 h 118"/>
                <a:gd name="T28" fmla="*/ 6 w 164"/>
                <a:gd name="T29" fmla="*/ 6 h 118"/>
                <a:gd name="T30" fmla="*/ 3 w 164"/>
                <a:gd name="T31" fmla="*/ 13 h 118"/>
                <a:gd name="T32" fmla="*/ 0 w 164"/>
                <a:gd name="T33" fmla="*/ 21 h 118"/>
                <a:gd name="T34" fmla="*/ 0 w 164"/>
                <a:gd name="T35" fmla="*/ 28 h 118"/>
                <a:gd name="T36" fmla="*/ 0 w 164"/>
                <a:gd name="T37" fmla="*/ 28 h 118"/>
                <a:gd name="T38" fmla="*/ 0 w 164"/>
                <a:gd name="T39" fmla="*/ 35 h 118"/>
                <a:gd name="T40" fmla="*/ 3 w 164"/>
                <a:gd name="T41" fmla="*/ 41 h 118"/>
                <a:gd name="T42" fmla="*/ 6 w 164"/>
                <a:gd name="T43" fmla="*/ 47 h 118"/>
                <a:gd name="T44" fmla="*/ 10 w 164"/>
                <a:gd name="T45" fmla="*/ 54 h 118"/>
                <a:gd name="T46" fmla="*/ 10 w 164"/>
                <a:gd name="T47" fmla="*/ 54 h 118"/>
                <a:gd name="T48" fmla="*/ 21 w 164"/>
                <a:gd name="T49" fmla="*/ 65 h 118"/>
                <a:gd name="T50" fmla="*/ 34 w 164"/>
                <a:gd name="T51" fmla="*/ 76 h 118"/>
                <a:gd name="T52" fmla="*/ 49 w 164"/>
                <a:gd name="T53" fmla="*/ 87 h 118"/>
                <a:gd name="T54" fmla="*/ 66 w 164"/>
                <a:gd name="T55" fmla="*/ 96 h 118"/>
                <a:gd name="T56" fmla="*/ 87 w 164"/>
                <a:gd name="T57" fmla="*/ 105 h 118"/>
                <a:gd name="T58" fmla="*/ 98 w 164"/>
                <a:gd name="T59" fmla="*/ 108 h 118"/>
                <a:gd name="T60" fmla="*/ 109 w 164"/>
                <a:gd name="T61" fmla="*/ 112 h 118"/>
                <a:gd name="T62" fmla="*/ 122 w 164"/>
                <a:gd name="T63" fmla="*/ 115 h 118"/>
                <a:gd name="T64" fmla="*/ 136 w 164"/>
                <a:gd name="T65" fmla="*/ 117 h 118"/>
                <a:gd name="T66" fmla="*/ 149 w 164"/>
                <a:gd name="T67" fmla="*/ 118 h 118"/>
                <a:gd name="T68" fmla="*/ 164 w 164"/>
                <a:gd name="T69" fmla="*/ 118 h 118"/>
                <a:gd name="T70" fmla="*/ 164 w 164"/>
                <a:gd name="T71" fmla="*/ 8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118">
                  <a:moveTo>
                    <a:pt x="164" y="80"/>
                  </a:moveTo>
                  <a:lnTo>
                    <a:pt x="164" y="80"/>
                  </a:lnTo>
                  <a:lnTo>
                    <a:pt x="142" y="79"/>
                  </a:lnTo>
                  <a:lnTo>
                    <a:pt x="122" y="77"/>
                  </a:lnTo>
                  <a:lnTo>
                    <a:pt x="104" y="72"/>
                  </a:lnTo>
                  <a:lnTo>
                    <a:pt x="88" y="66"/>
                  </a:lnTo>
                  <a:lnTo>
                    <a:pt x="73" y="57"/>
                  </a:lnTo>
                  <a:lnTo>
                    <a:pt x="60" y="49"/>
                  </a:lnTo>
                  <a:lnTo>
                    <a:pt x="49" y="39"/>
                  </a:lnTo>
                  <a:lnTo>
                    <a:pt x="38" y="28"/>
                  </a:lnTo>
                  <a:lnTo>
                    <a:pt x="38" y="28"/>
                  </a:lnTo>
                  <a:lnTo>
                    <a:pt x="12" y="0"/>
                  </a:lnTo>
                  <a:lnTo>
                    <a:pt x="11" y="1"/>
                  </a:lnTo>
                  <a:lnTo>
                    <a:pt x="11" y="1"/>
                  </a:lnTo>
                  <a:lnTo>
                    <a:pt x="6" y="6"/>
                  </a:lnTo>
                  <a:lnTo>
                    <a:pt x="3" y="13"/>
                  </a:lnTo>
                  <a:lnTo>
                    <a:pt x="0" y="21"/>
                  </a:lnTo>
                  <a:lnTo>
                    <a:pt x="0" y="28"/>
                  </a:lnTo>
                  <a:lnTo>
                    <a:pt x="0" y="28"/>
                  </a:lnTo>
                  <a:lnTo>
                    <a:pt x="0" y="35"/>
                  </a:lnTo>
                  <a:lnTo>
                    <a:pt x="3" y="41"/>
                  </a:lnTo>
                  <a:lnTo>
                    <a:pt x="6" y="47"/>
                  </a:lnTo>
                  <a:lnTo>
                    <a:pt x="10" y="54"/>
                  </a:lnTo>
                  <a:lnTo>
                    <a:pt x="10" y="54"/>
                  </a:lnTo>
                  <a:lnTo>
                    <a:pt x="21" y="65"/>
                  </a:lnTo>
                  <a:lnTo>
                    <a:pt x="34" y="76"/>
                  </a:lnTo>
                  <a:lnTo>
                    <a:pt x="49" y="87"/>
                  </a:lnTo>
                  <a:lnTo>
                    <a:pt x="66" y="96"/>
                  </a:lnTo>
                  <a:lnTo>
                    <a:pt x="87" y="105"/>
                  </a:lnTo>
                  <a:lnTo>
                    <a:pt x="98" y="108"/>
                  </a:lnTo>
                  <a:lnTo>
                    <a:pt x="109" y="112"/>
                  </a:lnTo>
                  <a:lnTo>
                    <a:pt x="122" y="115"/>
                  </a:lnTo>
                  <a:lnTo>
                    <a:pt x="136" y="117"/>
                  </a:lnTo>
                  <a:lnTo>
                    <a:pt x="149" y="118"/>
                  </a:lnTo>
                  <a:lnTo>
                    <a:pt x="164" y="118"/>
                  </a:lnTo>
                  <a:lnTo>
                    <a:pt x="164" y="8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15" name="Freeform 450">
              <a:extLst>
                <a:ext uri="{FF2B5EF4-FFF2-40B4-BE49-F238E27FC236}">
                  <a16:creationId xmlns:a16="http://schemas.microsoft.com/office/drawing/2014/main" id="{B3B068AB-5E49-4938-9CF7-A2667171B4B6}"/>
                </a:ext>
              </a:extLst>
            </p:cNvPr>
            <p:cNvSpPr>
              <a:spLocks/>
            </p:cNvSpPr>
            <p:nvPr/>
          </p:nvSpPr>
          <p:spPr bwMode="auto">
            <a:xfrm>
              <a:off x="2840077" y="2374913"/>
              <a:ext cx="49213" cy="28575"/>
            </a:xfrm>
            <a:custGeom>
              <a:avLst/>
              <a:gdLst>
                <a:gd name="T0" fmla="*/ 0 w 152"/>
                <a:gd name="T1" fmla="*/ 90 h 90"/>
                <a:gd name="T2" fmla="*/ 0 w 152"/>
                <a:gd name="T3" fmla="*/ 53 h 90"/>
                <a:gd name="T4" fmla="*/ 0 w 152"/>
                <a:gd name="T5" fmla="*/ 53 h 90"/>
                <a:gd name="T6" fmla="*/ 19 w 152"/>
                <a:gd name="T7" fmla="*/ 53 h 90"/>
                <a:gd name="T8" fmla="*/ 35 w 152"/>
                <a:gd name="T9" fmla="*/ 49 h 90"/>
                <a:gd name="T10" fmla="*/ 50 w 152"/>
                <a:gd name="T11" fmla="*/ 45 h 90"/>
                <a:gd name="T12" fmla="*/ 62 w 152"/>
                <a:gd name="T13" fmla="*/ 40 h 90"/>
                <a:gd name="T14" fmla="*/ 73 w 152"/>
                <a:gd name="T15" fmla="*/ 34 h 90"/>
                <a:gd name="T16" fmla="*/ 83 w 152"/>
                <a:gd name="T17" fmla="*/ 27 h 90"/>
                <a:gd name="T18" fmla="*/ 92 w 152"/>
                <a:gd name="T19" fmla="*/ 20 h 90"/>
                <a:gd name="T20" fmla="*/ 100 w 152"/>
                <a:gd name="T21" fmla="*/ 11 h 90"/>
                <a:gd name="T22" fmla="*/ 100 w 152"/>
                <a:gd name="T23" fmla="*/ 11 h 90"/>
                <a:gd name="T24" fmla="*/ 106 w 152"/>
                <a:gd name="T25" fmla="*/ 6 h 90"/>
                <a:gd name="T26" fmla="*/ 112 w 152"/>
                <a:gd name="T27" fmla="*/ 3 h 90"/>
                <a:gd name="T28" fmla="*/ 119 w 152"/>
                <a:gd name="T29" fmla="*/ 1 h 90"/>
                <a:gd name="T30" fmla="*/ 125 w 152"/>
                <a:gd name="T31" fmla="*/ 0 h 90"/>
                <a:gd name="T32" fmla="*/ 133 w 152"/>
                <a:gd name="T33" fmla="*/ 0 h 90"/>
                <a:gd name="T34" fmla="*/ 140 w 152"/>
                <a:gd name="T35" fmla="*/ 3 h 90"/>
                <a:gd name="T36" fmla="*/ 146 w 152"/>
                <a:gd name="T37" fmla="*/ 5 h 90"/>
                <a:gd name="T38" fmla="*/ 152 w 152"/>
                <a:gd name="T39" fmla="*/ 10 h 90"/>
                <a:gd name="T40" fmla="*/ 152 w 152"/>
                <a:gd name="T41" fmla="*/ 10 h 90"/>
                <a:gd name="T42" fmla="*/ 126 w 152"/>
                <a:gd name="T43" fmla="*/ 38 h 90"/>
                <a:gd name="T44" fmla="*/ 126 w 152"/>
                <a:gd name="T45" fmla="*/ 38 h 90"/>
                <a:gd name="T46" fmla="*/ 115 w 152"/>
                <a:gd name="T47" fmla="*/ 49 h 90"/>
                <a:gd name="T48" fmla="*/ 104 w 152"/>
                <a:gd name="T49" fmla="*/ 59 h 90"/>
                <a:gd name="T50" fmla="*/ 91 w 152"/>
                <a:gd name="T51" fmla="*/ 67 h 90"/>
                <a:gd name="T52" fmla="*/ 76 w 152"/>
                <a:gd name="T53" fmla="*/ 76 h 90"/>
                <a:gd name="T54" fmla="*/ 61 w 152"/>
                <a:gd name="T55" fmla="*/ 82 h 90"/>
                <a:gd name="T56" fmla="*/ 42 w 152"/>
                <a:gd name="T57" fmla="*/ 87 h 90"/>
                <a:gd name="T58" fmla="*/ 23 w 152"/>
                <a:gd name="T59" fmla="*/ 89 h 90"/>
                <a:gd name="T60" fmla="*/ 0 w 152"/>
                <a:gd name="T61" fmla="*/ 90 h 90"/>
                <a:gd name="T62" fmla="*/ 0 w 152"/>
                <a:gd name="T63"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90">
                  <a:moveTo>
                    <a:pt x="0" y="90"/>
                  </a:moveTo>
                  <a:lnTo>
                    <a:pt x="0" y="53"/>
                  </a:lnTo>
                  <a:lnTo>
                    <a:pt x="0" y="53"/>
                  </a:lnTo>
                  <a:lnTo>
                    <a:pt x="19" y="53"/>
                  </a:lnTo>
                  <a:lnTo>
                    <a:pt x="35" y="49"/>
                  </a:lnTo>
                  <a:lnTo>
                    <a:pt x="50" y="45"/>
                  </a:lnTo>
                  <a:lnTo>
                    <a:pt x="62" y="40"/>
                  </a:lnTo>
                  <a:lnTo>
                    <a:pt x="73" y="34"/>
                  </a:lnTo>
                  <a:lnTo>
                    <a:pt x="83" y="27"/>
                  </a:lnTo>
                  <a:lnTo>
                    <a:pt x="92" y="20"/>
                  </a:lnTo>
                  <a:lnTo>
                    <a:pt x="100" y="11"/>
                  </a:lnTo>
                  <a:lnTo>
                    <a:pt x="100" y="11"/>
                  </a:lnTo>
                  <a:lnTo>
                    <a:pt x="106" y="6"/>
                  </a:lnTo>
                  <a:lnTo>
                    <a:pt x="112" y="3"/>
                  </a:lnTo>
                  <a:lnTo>
                    <a:pt x="119" y="1"/>
                  </a:lnTo>
                  <a:lnTo>
                    <a:pt x="125" y="0"/>
                  </a:lnTo>
                  <a:lnTo>
                    <a:pt x="133" y="0"/>
                  </a:lnTo>
                  <a:lnTo>
                    <a:pt x="140" y="3"/>
                  </a:lnTo>
                  <a:lnTo>
                    <a:pt x="146" y="5"/>
                  </a:lnTo>
                  <a:lnTo>
                    <a:pt x="152" y="10"/>
                  </a:lnTo>
                  <a:lnTo>
                    <a:pt x="152" y="10"/>
                  </a:lnTo>
                  <a:lnTo>
                    <a:pt x="126" y="38"/>
                  </a:lnTo>
                  <a:lnTo>
                    <a:pt x="126" y="38"/>
                  </a:lnTo>
                  <a:lnTo>
                    <a:pt x="115" y="49"/>
                  </a:lnTo>
                  <a:lnTo>
                    <a:pt x="104" y="59"/>
                  </a:lnTo>
                  <a:lnTo>
                    <a:pt x="91" y="67"/>
                  </a:lnTo>
                  <a:lnTo>
                    <a:pt x="76" y="76"/>
                  </a:lnTo>
                  <a:lnTo>
                    <a:pt x="61" y="82"/>
                  </a:lnTo>
                  <a:lnTo>
                    <a:pt x="42" y="87"/>
                  </a:lnTo>
                  <a:lnTo>
                    <a:pt x="23" y="89"/>
                  </a:lnTo>
                  <a:lnTo>
                    <a:pt x="0" y="90"/>
                  </a:lnTo>
                  <a:lnTo>
                    <a:pt x="0" y="90"/>
                  </a:lnTo>
                  <a:close/>
                </a:path>
              </a:pathLst>
            </a:custGeom>
            <a:solidFill>
              <a:srgbClr val="A7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16" name="Freeform 451">
              <a:extLst>
                <a:ext uri="{FF2B5EF4-FFF2-40B4-BE49-F238E27FC236}">
                  <a16:creationId xmlns:a16="http://schemas.microsoft.com/office/drawing/2014/main" id="{64DA5793-86CF-4A31-A078-75796D1E3058}"/>
                </a:ext>
              </a:extLst>
            </p:cNvPr>
            <p:cNvSpPr>
              <a:spLocks/>
            </p:cNvSpPr>
            <p:nvPr/>
          </p:nvSpPr>
          <p:spPr bwMode="auto">
            <a:xfrm>
              <a:off x="2840077" y="2378088"/>
              <a:ext cx="52388" cy="38100"/>
            </a:xfrm>
            <a:custGeom>
              <a:avLst/>
              <a:gdLst>
                <a:gd name="T0" fmla="*/ 0 w 164"/>
                <a:gd name="T1" fmla="*/ 80 h 118"/>
                <a:gd name="T2" fmla="*/ 0 w 164"/>
                <a:gd name="T3" fmla="*/ 80 h 118"/>
                <a:gd name="T4" fmla="*/ 23 w 164"/>
                <a:gd name="T5" fmla="*/ 79 h 118"/>
                <a:gd name="T6" fmla="*/ 42 w 164"/>
                <a:gd name="T7" fmla="*/ 77 h 118"/>
                <a:gd name="T8" fmla="*/ 61 w 164"/>
                <a:gd name="T9" fmla="*/ 72 h 118"/>
                <a:gd name="T10" fmla="*/ 76 w 164"/>
                <a:gd name="T11" fmla="*/ 66 h 118"/>
                <a:gd name="T12" fmla="*/ 91 w 164"/>
                <a:gd name="T13" fmla="*/ 57 h 118"/>
                <a:gd name="T14" fmla="*/ 104 w 164"/>
                <a:gd name="T15" fmla="*/ 49 h 118"/>
                <a:gd name="T16" fmla="*/ 115 w 164"/>
                <a:gd name="T17" fmla="*/ 39 h 118"/>
                <a:gd name="T18" fmla="*/ 126 w 164"/>
                <a:gd name="T19" fmla="*/ 28 h 118"/>
                <a:gd name="T20" fmla="*/ 126 w 164"/>
                <a:gd name="T21" fmla="*/ 28 h 118"/>
                <a:gd name="T22" fmla="*/ 152 w 164"/>
                <a:gd name="T23" fmla="*/ 0 h 118"/>
                <a:gd name="T24" fmla="*/ 153 w 164"/>
                <a:gd name="T25" fmla="*/ 1 h 118"/>
                <a:gd name="T26" fmla="*/ 153 w 164"/>
                <a:gd name="T27" fmla="*/ 1 h 118"/>
                <a:gd name="T28" fmla="*/ 158 w 164"/>
                <a:gd name="T29" fmla="*/ 6 h 118"/>
                <a:gd name="T30" fmla="*/ 162 w 164"/>
                <a:gd name="T31" fmla="*/ 13 h 118"/>
                <a:gd name="T32" fmla="*/ 164 w 164"/>
                <a:gd name="T33" fmla="*/ 21 h 118"/>
                <a:gd name="T34" fmla="*/ 164 w 164"/>
                <a:gd name="T35" fmla="*/ 28 h 118"/>
                <a:gd name="T36" fmla="*/ 164 w 164"/>
                <a:gd name="T37" fmla="*/ 28 h 118"/>
                <a:gd name="T38" fmla="*/ 164 w 164"/>
                <a:gd name="T39" fmla="*/ 35 h 118"/>
                <a:gd name="T40" fmla="*/ 162 w 164"/>
                <a:gd name="T41" fmla="*/ 41 h 118"/>
                <a:gd name="T42" fmla="*/ 158 w 164"/>
                <a:gd name="T43" fmla="*/ 47 h 118"/>
                <a:gd name="T44" fmla="*/ 154 w 164"/>
                <a:gd name="T45" fmla="*/ 54 h 118"/>
                <a:gd name="T46" fmla="*/ 154 w 164"/>
                <a:gd name="T47" fmla="*/ 54 h 118"/>
                <a:gd name="T48" fmla="*/ 144 w 164"/>
                <a:gd name="T49" fmla="*/ 65 h 118"/>
                <a:gd name="T50" fmla="*/ 130 w 164"/>
                <a:gd name="T51" fmla="*/ 76 h 118"/>
                <a:gd name="T52" fmla="*/ 115 w 164"/>
                <a:gd name="T53" fmla="*/ 87 h 118"/>
                <a:gd name="T54" fmla="*/ 98 w 164"/>
                <a:gd name="T55" fmla="*/ 96 h 118"/>
                <a:gd name="T56" fmla="*/ 78 w 164"/>
                <a:gd name="T57" fmla="*/ 105 h 118"/>
                <a:gd name="T58" fmla="*/ 67 w 164"/>
                <a:gd name="T59" fmla="*/ 108 h 118"/>
                <a:gd name="T60" fmla="*/ 56 w 164"/>
                <a:gd name="T61" fmla="*/ 112 h 118"/>
                <a:gd name="T62" fmla="*/ 42 w 164"/>
                <a:gd name="T63" fmla="*/ 115 h 118"/>
                <a:gd name="T64" fmla="*/ 29 w 164"/>
                <a:gd name="T65" fmla="*/ 117 h 118"/>
                <a:gd name="T66" fmla="*/ 15 w 164"/>
                <a:gd name="T67" fmla="*/ 118 h 118"/>
                <a:gd name="T68" fmla="*/ 0 w 164"/>
                <a:gd name="T69" fmla="*/ 118 h 118"/>
                <a:gd name="T70" fmla="*/ 0 w 164"/>
                <a:gd name="T71" fmla="*/ 8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118">
                  <a:moveTo>
                    <a:pt x="0" y="80"/>
                  </a:moveTo>
                  <a:lnTo>
                    <a:pt x="0" y="80"/>
                  </a:lnTo>
                  <a:lnTo>
                    <a:pt x="23" y="79"/>
                  </a:lnTo>
                  <a:lnTo>
                    <a:pt x="42" y="77"/>
                  </a:lnTo>
                  <a:lnTo>
                    <a:pt x="61" y="72"/>
                  </a:lnTo>
                  <a:lnTo>
                    <a:pt x="76" y="66"/>
                  </a:lnTo>
                  <a:lnTo>
                    <a:pt x="91" y="57"/>
                  </a:lnTo>
                  <a:lnTo>
                    <a:pt x="104" y="49"/>
                  </a:lnTo>
                  <a:lnTo>
                    <a:pt x="115" y="39"/>
                  </a:lnTo>
                  <a:lnTo>
                    <a:pt x="126" y="28"/>
                  </a:lnTo>
                  <a:lnTo>
                    <a:pt x="126" y="28"/>
                  </a:lnTo>
                  <a:lnTo>
                    <a:pt x="152" y="0"/>
                  </a:lnTo>
                  <a:lnTo>
                    <a:pt x="153" y="1"/>
                  </a:lnTo>
                  <a:lnTo>
                    <a:pt x="153" y="1"/>
                  </a:lnTo>
                  <a:lnTo>
                    <a:pt x="158" y="6"/>
                  </a:lnTo>
                  <a:lnTo>
                    <a:pt x="162" y="13"/>
                  </a:lnTo>
                  <a:lnTo>
                    <a:pt x="164" y="21"/>
                  </a:lnTo>
                  <a:lnTo>
                    <a:pt x="164" y="28"/>
                  </a:lnTo>
                  <a:lnTo>
                    <a:pt x="164" y="28"/>
                  </a:lnTo>
                  <a:lnTo>
                    <a:pt x="164" y="35"/>
                  </a:lnTo>
                  <a:lnTo>
                    <a:pt x="162" y="41"/>
                  </a:lnTo>
                  <a:lnTo>
                    <a:pt x="158" y="47"/>
                  </a:lnTo>
                  <a:lnTo>
                    <a:pt x="154" y="54"/>
                  </a:lnTo>
                  <a:lnTo>
                    <a:pt x="154" y="54"/>
                  </a:lnTo>
                  <a:lnTo>
                    <a:pt x="144" y="65"/>
                  </a:lnTo>
                  <a:lnTo>
                    <a:pt x="130" y="76"/>
                  </a:lnTo>
                  <a:lnTo>
                    <a:pt x="115" y="87"/>
                  </a:lnTo>
                  <a:lnTo>
                    <a:pt x="98" y="96"/>
                  </a:lnTo>
                  <a:lnTo>
                    <a:pt x="78" y="105"/>
                  </a:lnTo>
                  <a:lnTo>
                    <a:pt x="67" y="108"/>
                  </a:lnTo>
                  <a:lnTo>
                    <a:pt x="56" y="112"/>
                  </a:lnTo>
                  <a:lnTo>
                    <a:pt x="42" y="115"/>
                  </a:lnTo>
                  <a:lnTo>
                    <a:pt x="29" y="117"/>
                  </a:lnTo>
                  <a:lnTo>
                    <a:pt x="15" y="118"/>
                  </a:lnTo>
                  <a:lnTo>
                    <a:pt x="0" y="118"/>
                  </a:lnTo>
                  <a:lnTo>
                    <a:pt x="0" y="80"/>
                  </a:lnTo>
                  <a:close/>
                </a:path>
              </a:pathLst>
            </a:custGeom>
            <a:solidFill>
              <a:srgbClr val="7F2D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17" name="Rectangle 452">
              <a:extLst>
                <a:ext uri="{FF2B5EF4-FFF2-40B4-BE49-F238E27FC236}">
                  <a16:creationId xmlns:a16="http://schemas.microsoft.com/office/drawing/2014/main" id="{01A7073D-2EC7-40DC-B906-E5110A86C098}"/>
                </a:ext>
              </a:extLst>
            </p:cNvPr>
            <p:cNvSpPr>
              <a:spLocks noChangeArrowheads="1"/>
            </p:cNvSpPr>
            <p:nvPr/>
          </p:nvSpPr>
          <p:spPr bwMode="auto">
            <a:xfrm>
              <a:off x="2840077" y="2459052"/>
              <a:ext cx="20638" cy="33338"/>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18" name="Rectangle 453">
              <a:extLst>
                <a:ext uri="{FF2B5EF4-FFF2-40B4-BE49-F238E27FC236}">
                  <a16:creationId xmlns:a16="http://schemas.microsoft.com/office/drawing/2014/main" id="{7489E601-CB98-428A-8F5B-958C11401F7C}"/>
                </a:ext>
              </a:extLst>
            </p:cNvPr>
            <p:cNvSpPr>
              <a:spLocks noChangeArrowheads="1"/>
            </p:cNvSpPr>
            <p:nvPr/>
          </p:nvSpPr>
          <p:spPr bwMode="auto">
            <a:xfrm>
              <a:off x="2821026" y="2459052"/>
              <a:ext cx="19050" cy="33338"/>
            </a:xfrm>
            <a:prstGeom prst="rect">
              <a:avLst/>
            </a:prstGeom>
            <a:solidFill>
              <a:srgbClr val="EF4F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19" name="Rectangle 454">
              <a:extLst>
                <a:ext uri="{FF2B5EF4-FFF2-40B4-BE49-F238E27FC236}">
                  <a16:creationId xmlns:a16="http://schemas.microsoft.com/office/drawing/2014/main" id="{B53441AC-057D-4B5F-A177-7F26FE3CE797}"/>
                </a:ext>
              </a:extLst>
            </p:cNvPr>
            <p:cNvSpPr>
              <a:spLocks noChangeArrowheads="1"/>
            </p:cNvSpPr>
            <p:nvPr/>
          </p:nvSpPr>
          <p:spPr bwMode="auto">
            <a:xfrm>
              <a:off x="2821026" y="2506677"/>
              <a:ext cx="19050" cy="190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20" name="Rectangle 455">
              <a:extLst>
                <a:ext uri="{FF2B5EF4-FFF2-40B4-BE49-F238E27FC236}">
                  <a16:creationId xmlns:a16="http://schemas.microsoft.com/office/drawing/2014/main" id="{E4CE6272-607F-4303-8B56-B563C89A43A4}"/>
                </a:ext>
              </a:extLst>
            </p:cNvPr>
            <p:cNvSpPr>
              <a:spLocks noChangeArrowheads="1"/>
            </p:cNvSpPr>
            <p:nvPr/>
          </p:nvSpPr>
          <p:spPr bwMode="auto">
            <a:xfrm>
              <a:off x="2840077" y="2506677"/>
              <a:ext cx="20638" cy="19050"/>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21" name="Freeform 456">
              <a:extLst>
                <a:ext uri="{FF2B5EF4-FFF2-40B4-BE49-F238E27FC236}">
                  <a16:creationId xmlns:a16="http://schemas.microsoft.com/office/drawing/2014/main" id="{FEA16A4C-7ACF-415F-90C0-1F49158E1A0A}"/>
                </a:ext>
              </a:extLst>
            </p:cNvPr>
            <p:cNvSpPr>
              <a:spLocks/>
            </p:cNvSpPr>
            <p:nvPr/>
          </p:nvSpPr>
          <p:spPr bwMode="auto">
            <a:xfrm>
              <a:off x="2892464" y="2459052"/>
              <a:ext cx="158751" cy="114301"/>
            </a:xfrm>
            <a:custGeom>
              <a:avLst/>
              <a:gdLst>
                <a:gd name="T0" fmla="*/ 476 w 499"/>
                <a:gd name="T1" fmla="*/ 0 h 361"/>
                <a:gd name="T2" fmla="*/ 476 w 499"/>
                <a:gd name="T3" fmla="*/ 0 h 361"/>
                <a:gd name="T4" fmla="*/ 481 w 499"/>
                <a:gd name="T5" fmla="*/ 2 h 361"/>
                <a:gd name="T6" fmla="*/ 486 w 499"/>
                <a:gd name="T7" fmla="*/ 3 h 361"/>
                <a:gd name="T8" fmla="*/ 489 w 499"/>
                <a:gd name="T9" fmla="*/ 5 h 361"/>
                <a:gd name="T10" fmla="*/ 493 w 499"/>
                <a:gd name="T11" fmla="*/ 8 h 361"/>
                <a:gd name="T12" fmla="*/ 495 w 499"/>
                <a:gd name="T13" fmla="*/ 11 h 361"/>
                <a:gd name="T14" fmla="*/ 498 w 499"/>
                <a:gd name="T15" fmla="*/ 15 h 361"/>
                <a:gd name="T16" fmla="*/ 499 w 499"/>
                <a:gd name="T17" fmla="*/ 20 h 361"/>
                <a:gd name="T18" fmla="*/ 499 w 499"/>
                <a:gd name="T19" fmla="*/ 25 h 361"/>
                <a:gd name="T20" fmla="*/ 499 w 499"/>
                <a:gd name="T21" fmla="*/ 338 h 361"/>
                <a:gd name="T22" fmla="*/ 499 w 499"/>
                <a:gd name="T23" fmla="*/ 338 h 361"/>
                <a:gd name="T24" fmla="*/ 499 w 499"/>
                <a:gd name="T25" fmla="*/ 343 h 361"/>
                <a:gd name="T26" fmla="*/ 498 w 499"/>
                <a:gd name="T27" fmla="*/ 348 h 361"/>
                <a:gd name="T28" fmla="*/ 495 w 499"/>
                <a:gd name="T29" fmla="*/ 351 h 361"/>
                <a:gd name="T30" fmla="*/ 493 w 499"/>
                <a:gd name="T31" fmla="*/ 355 h 361"/>
                <a:gd name="T32" fmla="*/ 489 w 499"/>
                <a:gd name="T33" fmla="*/ 357 h 361"/>
                <a:gd name="T34" fmla="*/ 486 w 499"/>
                <a:gd name="T35" fmla="*/ 360 h 361"/>
                <a:gd name="T36" fmla="*/ 481 w 499"/>
                <a:gd name="T37" fmla="*/ 361 h 361"/>
                <a:gd name="T38" fmla="*/ 476 w 499"/>
                <a:gd name="T39" fmla="*/ 361 h 361"/>
                <a:gd name="T40" fmla="*/ 24 w 499"/>
                <a:gd name="T41" fmla="*/ 361 h 361"/>
                <a:gd name="T42" fmla="*/ 24 w 499"/>
                <a:gd name="T43" fmla="*/ 361 h 361"/>
                <a:gd name="T44" fmla="*/ 19 w 499"/>
                <a:gd name="T45" fmla="*/ 361 h 361"/>
                <a:gd name="T46" fmla="*/ 15 w 499"/>
                <a:gd name="T47" fmla="*/ 360 h 361"/>
                <a:gd name="T48" fmla="*/ 10 w 499"/>
                <a:gd name="T49" fmla="*/ 357 h 361"/>
                <a:gd name="T50" fmla="*/ 8 w 499"/>
                <a:gd name="T51" fmla="*/ 355 h 361"/>
                <a:gd name="T52" fmla="*/ 4 w 499"/>
                <a:gd name="T53" fmla="*/ 351 h 361"/>
                <a:gd name="T54" fmla="*/ 2 w 499"/>
                <a:gd name="T55" fmla="*/ 348 h 361"/>
                <a:gd name="T56" fmla="*/ 0 w 499"/>
                <a:gd name="T57" fmla="*/ 343 h 361"/>
                <a:gd name="T58" fmla="*/ 0 w 499"/>
                <a:gd name="T59" fmla="*/ 338 h 361"/>
                <a:gd name="T60" fmla="*/ 0 w 499"/>
                <a:gd name="T61" fmla="*/ 25 h 361"/>
                <a:gd name="T62" fmla="*/ 0 w 499"/>
                <a:gd name="T63" fmla="*/ 25 h 361"/>
                <a:gd name="T64" fmla="*/ 0 w 499"/>
                <a:gd name="T65" fmla="*/ 20 h 361"/>
                <a:gd name="T66" fmla="*/ 2 w 499"/>
                <a:gd name="T67" fmla="*/ 15 h 361"/>
                <a:gd name="T68" fmla="*/ 4 w 499"/>
                <a:gd name="T69" fmla="*/ 11 h 361"/>
                <a:gd name="T70" fmla="*/ 8 w 499"/>
                <a:gd name="T71" fmla="*/ 8 h 361"/>
                <a:gd name="T72" fmla="*/ 10 w 499"/>
                <a:gd name="T73" fmla="*/ 5 h 361"/>
                <a:gd name="T74" fmla="*/ 15 w 499"/>
                <a:gd name="T75" fmla="*/ 3 h 361"/>
                <a:gd name="T76" fmla="*/ 19 w 499"/>
                <a:gd name="T77" fmla="*/ 2 h 361"/>
                <a:gd name="T78" fmla="*/ 24 w 499"/>
                <a:gd name="T79" fmla="*/ 0 h 361"/>
                <a:gd name="T80" fmla="*/ 476 w 499"/>
                <a:gd name="T81" fmla="*/ 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9" h="361">
                  <a:moveTo>
                    <a:pt x="476" y="0"/>
                  </a:moveTo>
                  <a:lnTo>
                    <a:pt x="476" y="0"/>
                  </a:lnTo>
                  <a:lnTo>
                    <a:pt x="481" y="2"/>
                  </a:lnTo>
                  <a:lnTo>
                    <a:pt x="486" y="3"/>
                  </a:lnTo>
                  <a:lnTo>
                    <a:pt x="489" y="5"/>
                  </a:lnTo>
                  <a:lnTo>
                    <a:pt x="493" y="8"/>
                  </a:lnTo>
                  <a:lnTo>
                    <a:pt x="495" y="11"/>
                  </a:lnTo>
                  <a:lnTo>
                    <a:pt x="498" y="15"/>
                  </a:lnTo>
                  <a:lnTo>
                    <a:pt x="499" y="20"/>
                  </a:lnTo>
                  <a:lnTo>
                    <a:pt x="499" y="25"/>
                  </a:lnTo>
                  <a:lnTo>
                    <a:pt x="499" y="338"/>
                  </a:lnTo>
                  <a:lnTo>
                    <a:pt x="499" y="338"/>
                  </a:lnTo>
                  <a:lnTo>
                    <a:pt x="499" y="343"/>
                  </a:lnTo>
                  <a:lnTo>
                    <a:pt x="498" y="348"/>
                  </a:lnTo>
                  <a:lnTo>
                    <a:pt x="495" y="351"/>
                  </a:lnTo>
                  <a:lnTo>
                    <a:pt x="493" y="355"/>
                  </a:lnTo>
                  <a:lnTo>
                    <a:pt x="489" y="357"/>
                  </a:lnTo>
                  <a:lnTo>
                    <a:pt x="486" y="360"/>
                  </a:lnTo>
                  <a:lnTo>
                    <a:pt x="481" y="361"/>
                  </a:lnTo>
                  <a:lnTo>
                    <a:pt x="476" y="361"/>
                  </a:lnTo>
                  <a:lnTo>
                    <a:pt x="24" y="361"/>
                  </a:lnTo>
                  <a:lnTo>
                    <a:pt x="24" y="361"/>
                  </a:lnTo>
                  <a:lnTo>
                    <a:pt x="19" y="361"/>
                  </a:lnTo>
                  <a:lnTo>
                    <a:pt x="15" y="360"/>
                  </a:lnTo>
                  <a:lnTo>
                    <a:pt x="10" y="357"/>
                  </a:lnTo>
                  <a:lnTo>
                    <a:pt x="8" y="355"/>
                  </a:lnTo>
                  <a:lnTo>
                    <a:pt x="4" y="351"/>
                  </a:lnTo>
                  <a:lnTo>
                    <a:pt x="2" y="348"/>
                  </a:lnTo>
                  <a:lnTo>
                    <a:pt x="0" y="343"/>
                  </a:lnTo>
                  <a:lnTo>
                    <a:pt x="0" y="338"/>
                  </a:lnTo>
                  <a:lnTo>
                    <a:pt x="0" y="25"/>
                  </a:lnTo>
                  <a:lnTo>
                    <a:pt x="0" y="25"/>
                  </a:lnTo>
                  <a:lnTo>
                    <a:pt x="0" y="20"/>
                  </a:lnTo>
                  <a:lnTo>
                    <a:pt x="2" y="15"/>
                  </a:lnTo>
                  <a:lnTo>
                    <a:pt x="4" y="11"/>
                  </a:lnTo>
                  <a:lnTo>
                    <a:pt x="8" y="8"/>
                  </a:lnTo>
                  <a:lnTo>
                    <a:pt x="10" y="5"/>
                  </a:lnTo>
                  <a:lnTo>
                    <a:pt x="15" y="3"/>
                  </a:lnTo>
                  <a:lnTo>
                    <a:pt x="19" y="2"/>
                  </a:lnTo>
                  <a:lnTo>
                    <a:pt x="24" y="0"/>
                  </a:lnTo>
                  <a:lnTo>
                    <a:pt x="4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22" name="Rectangle 457">
              <a:extLst>
                <a:ext uri="{FF2B5EF4-FFF2-40B4-BE49-F238E27FC236}">
                  <a16:creationId xmlns:a16="http://schemas.microsoft.com/office/drawing/2014/main" id="{18336C93-83E2-457B-BF6D-B45768B017E4}"/>
                </a:ext>
              </a:extLst>
            </p:cNvPr>
            <p:cNvSpPr>
              <a:spLocks noChangeArrowheads="1"/>
            </p:cNvSpPr>
            <p:nvPr/>
          </p:nvSpPr>
          <p:spPr bwMode="auto">
            <a:xfrm>
              <a:off x="2900402"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23" name="Rectangle 458">
              <a:extLst>
                <a:ext uri="{FF2B5EF4-FFF2-40B4-BE49-F238E27FC236}">
                  <a16:creationId xmlns:a16="http://schemas.microsoft.com/office/drawing/2014/main" id="{A53E3B61-D277-4590-9CFE-5415018AE553}"/>
                </a:ext>
              </a:extLst>
            </p:cNvPr>
            <p:cNvSpPr>
              <a:spLocks noChangeArrowheads="1"/>
            </p:cNvSpPr>
            <p:nvPr/>
          </p:nvSpPr>
          <p:spPr bwMode="auto">
            <a:xfrm>
              <a:off x="2900402"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24" name="Rectangle 459">
              <a:extLst>
                <a:ext uri="{FF2B5EF4-FFF2-40B4-BE49-F238E27FC236}">
                  <a16:creationId xmlns:a16="http://schemas.microsoft.com/office/drawing/2014/main" id="{FB04E9B7-B9BC-4F0F-B3B5-EA7D47DA6D57}"/>
                </a:ext>
              </a:extLst>
            </p:cNvPr>
            <p:cNvSpPr>
              <a:spLocks noChangeArrowheads="1"/>
            </p:cNvSpPr>
            <p:nvPr/>
          </p:nvSpPr>
          <p:spPr bwMode="auto">
            <a:xfrm>
              <a:off x="2900402"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25" name="Rectangle 460">
              <a:extLst>
                <a:ext uri="{FF2B5EF4-FFF2-40B4-BE49-F238E27FC236}">
                  <a16:creationId xmlns:a16="http://schemas.microsoft.com/office/drawing/2014/main" id="{07A9FF2E-4AB0-461E-8012-254361EB4A78}"/>
                </a:ext>
              </a:extLst>
            </p:cNvPr>
            <p:cNvSpPr>
              <a:spLocks noChangeArrowheads="1"/>
            </p:cNvSpPr>
            <p:nvPr/>
          </p:nvSpPr>
          <p:spPr bwMode="auto">
            <a:xfrm>
              <a:off x="2938502"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26" name="Rectangle 461">
              <a:extLst>
                <a:ext uri="{FF2B5EF4-FFF2-40B4-BE49-F238E27FC236}">
                  <a16:creationId xmlns:a16="http://schemas.microsoft.com/office/drawing/2014/main" id="{5B27AE28-AC26-4BF1-AFCB-97CB76F865A3}"/>
                </a:ext>
              </a:extLst>
            </p:cNvPr>
            <p:cNvSpPr>
              <a:spLocks noChangeArrowheads="1"/>
            </p:cNvSpPr>
            <p:nvPr/>
          </p:nvSpPr>
          <p:spPr bwMode="auto">
            <a:xfrm>
              <a:off x="2938502"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27" name="Rectangle 462">
              <a:extLst>
                <a:ext uri="{FF2B5EF4-FFF2-40B4-BE49-F238E27FC236}">
                  <a16:creationId xmlns:a16="http://schemas.microsoft.com/office/drawing/2014/main" id="{D26B58C5-D63F-465D-998C-0CE1C13D3F4B}"/>
                </a:ext>
              </a:extLst>
            </p:cNvPr>
            <p:cNvSpPr>
              <a:spLocks noChangeArrowheads="1"/>
            </p:cNvSpPr>
            <p:nvPr/>
          </p:nvSpPr>
          <p:spPr bwMode="auto">
            <a:xfrm>
              <a:off x="2938502"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28" name="Rectangle 463">
              <a:extLst>
                <a:ext uri="{FF2B5EF4-FFF2-40B4-BE49-F238E27FC236}">
                  <a16:creationId xmlns:a16="http://schemas.microsoft.com/office/drawing/2014/main" id="{B57DC3CA-E5EA-46F4-902E-0A8530CBA534}"/>
                </a:ext>
              </a:extLst>
            </p:cNvPr>
            <p:cNvSpPr>
              <a:spLocks noChangeArrowheads="1"/>
            </p:cNvSpPr>
            <p:nvPr/>
          </p:nvSpPr>
          <p:spPr bwMode="auto">
            <a:xfrm>
              <a:off x="2975015"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29" name="Rectangle 464">
              <a:extLst>
                <a:ext uri="{FF2B5EF4-FFF2-40B4-BE49-F238E27FC236}">
                  <a16:creationId xmlns:a16="http://schemas.microsoft.com/office/drawing/2014/main" id="{6F4D0906-3BED-40B1-B342-392CA792C297}"/>
                </a:ext>
              </a:extLst>
            </p:cNvPr>
            <p:cNvSpPr>
              <a:spLocks noChangeArrowheads="1"/>
            </p:cNvSpPr>
            <p:nvPr/>
          </p:nvSpPr>
          <p:spPr bwMode="auto">
            <a:xfrm>
              <a:off x="2975015"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30" name="Rectangle 465">
              <a:extLst>
                <a:ext uri="{FF2B5EF4-FFF2-40B4-BE49-F238E27FC236}">
                  <a16:creationId xmlns:a16="http://schemas.microsoft.com/office/drawing/2014/main" id="{DE8F22BB-0891-41B5-9740-682E9882DFD2}"/>
                </a:ext>
              </a:extLst>
            </p:cNvPr>
            <p:cNvSpPr>
              <a:spLocks noChangeArrowheads="1"/>
            </p:cNvSpPr>
            <p:nvPr/>
          </p:nvSpPr>
          <p:spPr bwMode="auto">
            <a:xfrm>
              <a:off x="2975015"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31" name="Rectangle 466">
              <a:extLst>
                <a:ext uri="{FF2B5EF4-FFF2-40B4-BE49-F238E27FC236}">
                  <a16:creationId xmlns:a16="http://schemas.microsoft.com/office/drawing/2014/main" id="{02F71FF5-10A7-469B-9F99-95E99E7E0BCD}"/>
                </a:ext>
              </a:extLst>
            </p:cNvPr>
            <p:cNvSpPr>
              <a:spLocks noChangeArrowheads="1"/>
            </p:cNvSpPr>
            <p:nvPr/>
          </p:nvSpPr>
          <p:spPr bwMode="auto">
            <a:xfrm>
              <a:off x="3013115"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32" name="Rectangle 467">
              <a:extLst>
                <a:ext uri="{FF2B5EF4-FFF2-40B4-BE49-F238E27FC236}">
                  <a16:creationId xmlns:a16="http://schemas.microsoft.com/office/drawing/2014/main" id="{EDD4361B-3F47-4D49-98E2-B95F11C3CAD1}"/>
                </a:ext>
              </a:extLst>
            </p:cNvPr>
            <p:cNvSpPr>
              <a:spLocks noChangeArrowheads="1"/>
            </p:cNvSpPr>
            <p:nvPr/>
          </p:nvSpPr>
          <p:spPr bwMode="auto">
            <a:xfrm>
              <a:off x="3013115"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33" name="Rectangle 468">
              <a:extLst>
                <a:ext uri="{FF2B5EF4-FFF2-40B4-BE49-F238E27FC236}">
                  <a16:creationId xmlns:a16="http://schemas.microsoft.com/office/drawing/2014/main" id="{5815335E-7F2F-4D4E-A2E2-DEC2F196F388}"/>
                </a:ext>
              </a:extLst>
            </p:cNvPr>
            <p:cNvSpPr>
              <a:spLocks noChangeArrowheads="1"/>
            </p:cNvSpPr>
            <p:nvPr/>
          </p:nvSpPr>
          <p:spPr bwMode="auto">
            <a:xfrm>
              <a:off x="3013115"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34" name="Rectangle 469">
              <a:extLst>
                <a:ext uri="{FF2B5EF4-FFF2-40B4-BE49-F238E27FC236}">
                  <a16:creationId xmlns:a16="http://schemas.microsoft.com/office/drawing/2014/main" id="{8D1F3BF0-7C85-4A99-BEA0-2CFF566FE4E4}"/>
                </a:ext>
              </a:extLst>
            </p:cNvPr>
            <p:cNvSpPr>
              <a:spLocks noChangeArrowheads="1"/>
            </p:cNvSpPr>
            <p:nvPr/>
          </p:nvSpPr>
          <p:spPr bwMode="auto">
            <a:xfrm>
              <a:off x="2860714" y="2547952"/>
              <a:ext cx="31750" cy="7938"/>
            </a:xfrm>
            <a:prstGeom prst="rect">
              <a:avLst/>
            </a:prstGeom>
            <a:solidFill>
              <a:srgbClr val="7F2D2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35" name="Rectangle 470">
              <a:extLst>
                <a:ext uri="{FF2B5EF4-FFF2-40B4-BE49-F238E27FC236}">
                  <a16:creationId xmlns:a16="http://schemas.microsoft.com/office/drawing/2014/main" id="{49BD0E5F-7D4D-4043-9AD5-4BA30D259D4A}"/>
                </a:ext>
              </a:extLst>
            </p:cNvPr>
            <p:cNvSpPr>
              <a:spLocks noChangeArrowheads="1"/>
            </p:cNvSpPr>
            <p:nvPr/>
          </p:nvSpPr>
          <p:spPr bwMode="auto">
            <a:xfrm>
              <a:off x="2860714" y="2474927"/>
              <a:ext cx="31750" cy="9525"/>
            </a:xfrm>
            <a:prstGeom prst="rect">
              <a:avLst/>
            </a:prstGeom>
            <a:solidFill>
              <a:srgbClr val="7F2D2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36" name="Freeform 471">
              <a:extLst>
                <a:ext uri="{FF2B5EF4-FFF2-40B4-BE49-F238E27FC236}">
                  <a16:creationId xmlns:a16="http://schemas.microsoft.com/office/drawing/2014/main" id="{D8FF23C2-BE69-4547-BC4E-9710FE19B833}"/>
                </a:ext>
              </a:extLst>
            </p:cNvPr>
            <p:cNvSpPr>
              <a:spLocks/>
            </p:cNvSpPr>
            <p:nvPr/>
          </p:nvSpPr>
          <p:spPr bwMode="auto">
            <a:xfrm>
              <a:off x="2630525" y="2459052"/>
              <a:ext cx="157164" cy="114301"/>
            </a:xfrm>
            <a:custGeom>
              <a:avLst/>
              <a:gdLst>
                <a:gd name="T0" fmla="*/ 24 w 499"/>
                <a:gd name="T1" fmla="*/ 361 h 361"/>
                <a:gd name="T2" fmla="*/ 24 w 499"/>
                <a:gd name="T3" fmla="*/ 361 h 361"/>
                <a:gd name="T4" fmla="*/ 19 w 499"/>
                <a:gd name="T5" fmla="*/ 361 h 361"/>
                <a:gd name="T6" fmla="*/ 14 w 499"/>
                <a:gd name="T7" fmla="*/ 360 h 361"/>
                <a:gd name="T8" fmla="*/ 10 w 499"/>
                <a:gd name="T9" fmla="*/ 357 h 361"/>
                <a:gd name="T10" fmla="*/ 7 w 499"/>
                <a:gd name="T11" fmla="*/ 355 h 361"/>
                <a:gd name="T12" fmla="*/ 4 w 499"/>
                <a:gd name="T13" fmla="*/ 351 h 361"/>
                <a:gd name="T14" fmla="*/ 2 w 499"/>
                <a:gd name="T15" fmla="*/ 348 h 361"/>
                <a:gd name="T16" fmla="*/ 0 w 499"/>
                <a:gd name="T17" fmla="*/ 343 h 361"/>
                <a:gd name="T18" fmla="*/ 0 w 499"/>
                <a:gd name="T19" fmla="*/ 338 h 361"/>
                <a:gd name="T20" fmla="*/ 0 w 499"/>
                <a:gd name="T21" fmla="*/ 25 h 361"/>
                <a:gd name="T22" fmla="*/ 0 w 499"/>
                <a:gd name="T23" fmla="*/ 25 h 361"/>
                <a:gd name="T24" fmla="*/ 0 w 499"/>
                <a:gd name="T25" fmla="*/ 20 h 361"/>
                <a:gd name="T26" fmla="*/ 2 w 499"/>
                <a:gd name="T27" fmla="*/ 15 h 361"/>
                <a:gd name="T28" fmla="*/ 4 w 499"/>
                <a:gd name="T29" fmla="*/ 11 h 361"/>
                <a:gd name="T30" fmla="*/ 7 w 499"/>
                <a:gd name="T31" fmla="*/ 8 h 361"/>
                <a:gd name="T32" fmla="*/ 10 w 499"/>
                <a:gd name="T33" fmla="*/ 5 h 361"/>
                <a:gd name="T34" fmla="*/ 14 w 499"/>
                <a:gd name="T35" fmla="*/ 3 h 361"/>
                <a:gd name="T36" fmla="*/ 19 w 499"/>
                <a:gd name="T37" fmla="*/ 2 h 361"/>
                <a:gd name="T38" fmla="*/ 24 w 499"/>
                <a:gd name="T39" fmla="*/ 0 h 361"/>
                <a:gd name="T40" fmla="*/ 476 w 499"/>
                <a:gd name="T41" fmla="*/ 0 h 361"/>
                <a:gd name="T42" fmla="*/ 476 w 499"/>
                <a:gd name="T43" fmla="*/ 0 h 361"/>
                <a:gd name="T44" fmla="*/ 481 w 499"/>
                <a:gd name="T45" fmla="*/ 2 h 361"/>
                <a:gd name="T46" fmla="*/ 484 w 499"/>
                <a:gd name="T47" fmla="*/ 3 h 361"/>
                <a:gd name="T48" fmla="*/ 489 w 499"/>
                <a:gd name="T49" fmla="*/ 5 h 361"/>
                <a:gd name="T50" fmla="*/ 492 w 499"/>
                <a:gd name="T51" fmla="*/ 8 h 361"/>
                <a:gd name="T52" fmla="*/ 495 w 499"/>
                <a:gd name="T53" fmla="*/ 11 h 361"/>
                <a:gd name="T54" fmla="*/ 498 w 499"/>
                <a:gd name="T55" fmla="*/ 15 h 361"/>
                <a:gd name="T56" fmla="*/ 499 w 499"/>
                <a:gd name="T57" fmla="*/ 20 h 361"/>
                <a:gd name="T58" fmla="*/ 499 w 499"/>
                <a:gd name="T59" fmla="*/ 25 h 361"/>
                <a:gd name="T60" fmla="*/ 499 w 499"/>
                <a:gd name="T61" fmla="*/ 338 h 361"/>
                <a:gd name="T62" fmla="*/ 499 w 499"/>
                <a:gd name="T63" fmla="*/ 338 h 361"/>
                <a:gd name="T64" fmla="*/ 499 w 499"/>
                <a:gd name="T65" fmla="*/ 343 h 361"/>
                <a:gd name="T66" fmla="*/ 498 w 499"/>
                <a:gd name="T67" fmla="*/ 348 h 361"/>
                <a:gd name="T68" fmla="*/ 495 w 499"/>
                <a:gd name="T69" fmla="*/ 351 h 361"/>
                <a:gd name="T70" fmla="*/ 492 w 499"/>
                <a:gd name="T71" fmla="*/ 355 h 361"/>
                <a:gd name="T72" fmla="*/ 489 w 499"/>
                <a:gd name="T73" fmla="*/ 357 h 361"/>
                <a:gd name="T74" fmla="*/ 484 w 499"/>
                <a:gd name="T75" fmla="*/ 360 h 361"/>
                <a:gd name="T76" fmla="*/ 481 w 499"/>
                <a:gd name="T77" fmla="*/ 361 h 361"/>
                <a:gd name="T78" fmla="*/ 476 w 499"/>
                <a:gd name="T79" fmla="*/ 361 h 361"/>
                <a:gd name="T80" fmla="*/ 24 w 499"/>
                <a:gd name="T81"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9" h="361">
                  <a:moveTo>
                    <a:pt x="24" y="361"/>
                  </a:moveTo>
                  <a:lnTo>
                    <a:pt x="24" y="361"/>
                  </a:lnTo>
                  <a:lnTo>
                    <a:pt x="19" y="361"/>
                  </a:lnTo>
                  <a:lnTo>
                    <a:pt x="14" y="360"/>
                  </a:lnTo>
                  <a:lnTo>
                    <a:pt x="10" y="357"/>
                  </a:lnTo>
                  <a:lnTo>
                    <a:pt x="7" y="355"/>
                  </a:lnTo>
                  <a:lnTo>
                    <a:pt x="4" y="351"/>
                  </a:lnTo>
                  <a:lnTo>
                    <a:pt x="2" y="348"/>
                  </a:lnTo>
                  <a:lnTo>
                    <a:pt x="0" y="343"/>
                  </a:lnTo>
                  <a:lnTo>
                    <a:pt x="0" y="338"/>
                  </a:lnTo>
                  <a:lnTo>
                    <a:pt x="0" y="25"/>
                  </a:lnTo>
                  <a:lnTo>
                    <a:pt x="0" y="25"/>
                  </a:lnTo>
                  <a:lnTo>
                    <a:pt x="0" y="20"/>
                  </a:lnTo>
                  <a:lnTo>
                    <a:pt x="2" y="15"/>
                  </a:lnTo>
                  <a:lnTo>
                    <a:pt x="4" y="11"/>
                  </a:lnTo>
                  <a:lnTo>
                    <a:pt x="7" y="8"/>
                  </a:lnTo>
                  <a:lnTo>
                    <a:pt x="10" y="5"/>
                  </a:lnTo>
                  <a:lnTo>
                    <a:pt x="14" y="3"/>
                  </a:lnTo>
                  <a:lnTo>
                    <a:pt x="19" y="2"/>
                  </a:lnTo>
                  <a:lnTo>
                    <a:pt x="24" y="0"/>
                  </a:lnTo>
                  <a:lnTo>
                    <a:pt x="476" y="0"/>
                  </a:lnTo>
                  <a:lnTo>
                    <a:pt x="476" y="0"/>
                  </a:lnTo>
                  <a:lnTo>
                    <a:pt x="481" y="2"/>
                  </a:lnTo>
                  <a:lnTo>
                    <a:pt x="484" y="3"/>
                  </a:lnTo>
                  <a:lnTo>
                    <a:pt x="489" y="5"/>
                  </a:lnTo>
                  <a:lnTo>
                    <a:pt x="492" y="8"/>
                  </a:lnTo>
                  <a:lnTo>
                    <a:pt x="495" y="11"/>
                  </a:lnTo>
                  <a:lnTo>
                    <a:pt x="498" y="15"/>
                  </a:lnTo>
                  <a:lnTo>
                    <a:pt x="499" y="20"/>
                  </a:lnTo>
                  <a:lnTo>
                    <a:pt x="499" y="25"/>
                  </a:lnTo>
                  <a:lnTo>
                    <a:pt x="499" y="338"/>
                  </a:lnTo>
                  <a:lnTo>
                    <a:pt x="499" y="338"/>
                  </a:lnTo>
                  <a:lnTo>
                    <a:pt x="499" y="343"/>
                  </a:lnTo>
                  <a:lnTo>
                    <a:pt x="498" y="348"/>
                  </a:lnTo>
                  <a:lnTo>
                    <a:pt x="495" y="351"/>
                  </a:lnTo>
                  <a:lnTo>
                    <a:pt x="492" y="355"/>
                  </a:lnTo>
                  <a:lnTo>
                    <a:pt x="489" y="357"/>
                  </a:lnTo>
                  <a:lnTo>
                    <a:pt x="484" y="360"/>
                  </a:lnTo>
                  <a:lnTo>
                    <a:pt x="481" y="361"/>
                  </a:lnTo>
                  <a:lnTo>
                    <a:pt x="476" y="361"/>
                  </a:lnTo>
                  <a:lnTo>
                    <a:pt x="24" y="3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37" name="Rectangle 472">
              <a:extLst>
                <a:ext uri="{FF2B5EF4-FFF2-40B4-BE49-F238E27FC236}">
                  <a16:creationId xmlns:a16="http://schemas.microsoft.com/office/drawing/2014/main" id="{76E359CC-15F1-49CA-91CE-F60B674C868E}"/>
                </a:ext>
              </a:extLst>
            </p:cNvPr>
            <p:cNvSpPr>
              <a:spLocks noChangeArrowheads="1"/>
            </p:cNvSpPr>
            <p:nvPr/>
          </p:nvSpPr>
          <p:spPr bwMode="auto">
            <a:xfrm>
              <a:off x="2749588"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38" name="Rectangle 473">
              <a:extLst>
                <a:ext uri="{FF2B5EF4-FFF2-40B4-BE49-F238E27FC236}">
                  <a16:creationId xmlns:a16="http://schemas.microsoft.com/office/drawing/2014/main" id="{9AAF711F-69DA-4452-9807-507AC5DA2549}"/>
                </a:ext>
              </a:extLst>
            </p:cNvPr>
            <p:cNvSpPr>
              <a:spLocks noChangeArrowheads="1"/>
            </p:cNvSpPr>
            <p:nvPr/>
          </p:nvSpPr>
          <p:spPr bwMode="auto">
            <a:xfrm>
              <a:off x="2749588"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39" name="Rectangle 474">
              <a:extLst>
                <a:ext uri="{FF2B5EF4-FFF2-40B4-BE49-F238E27FC236}">
                  <a16:creationId xmlns:a16="http://schemas.microsoft.com/office/drawing/2014/main" id="{1F092017-9141-4EEE-AD66-E797A32A086B}"/>
                </a:ext>
              </a:extLst>
            </p:cNvPr>
            <p:cNvSpPr>
              <a:spLocks noChangeArrowheads="1"/>
            </p:cNvSpPr>
            <p:nvPr/>
          </p:nvSpPr>
          <p:spPr bwMode="auto">
            <a:xfrm>
              <a:off x="2749588"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40" name="Rectangle 475">
              <a:extLst>
                <a:ext uri="{FF2B5EF4-FFF2-40B4-BE49-F238E27FC236}">
                  <a16:creationId xmlns:a16="http://schemas.microsoft.com/office/drawing/2014/main" id="{9A705CCB-2051-46E6-8C90-8EF4AD9A6E80}"/>
                </a:ext>
              </a:extLst>
            </p:cNvPr>
            <p:cNvSpPr>
              <a:spLocks noChangeArrowheads="1"/>
            </p:cNvSpPr>
            <p:nvPr/>
          </p:nvSpPr>
          <p:spPr bwMode="auto">
            <a:xfrm>
              <a:off x="2711488"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41" name="Rectangle 476">
              <a:extLst>
                <a:ext uri="{FF2B5EF4-FFF2-40B4-BE49-F238E27FC236}">
                  <a16:creationId xmlns:a16="http://schemas.microsoft.com/office/drawing/2014/main" id="{99397C38-15E4-4D0E-A296-8E0349159B2A}"/>
                </a:ext>
              </a:extLst>
            </p:cNvPr>
            <p:cNvSpPr>
              <a:spLocks noChangeArrowheads="1"/>
            </p:cNvSpPr>
            <p:nvPr/>
          </p:nvSpPr>
          <p:spPr bwMode="auto">
            <a:xfrm>
              <a:off x="2711488"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42" name="Rectangle 477">
              <a:extLst>
                <a:ext uri="{FF2B5EF4-FFF2-40B4-BE49-F238E27FC236}">
                  <a16:creationId xmlns:a16="http://schemas.microsoft.com/office/drawing/2014/main" id="{489E7C6C-C233-4D11-869A-FB6FBABDD273}"/>
                </a:ext>
              </a:extLst>
            </p:cNvPr>
            <p:cNvSpPr>
              <a:spLocks noChangeArrowheads="1"/>
            </p:cNvSpPr>
            <p:nvPr/>
          </p:nvSpPr>
          <p:spPr bwMode="auto">
            <a:xfrm>
              <a:off x="2711488"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43" name="Rectangle 478">
              <a:extLst>
                <a:ext uri="{FF2B5EF4-FFF2-40B4-BE49-F238E27FC236}">
                  <a16:creationId xmlns:a16="http://schemas.microsoft.com/office/drawing/2014/main" id="{ADFBD34D-EF42-4FD4-B2AA-D742C5BD0E1E}"/>
                </a:ext>
              </a:extLst>
            </p:cNvPr>
            <p:cNvSpPr>
              <a:spLocks noChangeArrowheads="1"/>
            </p:cNvSpPr>
            <p:nvPr/>
          </p:nvSpPr>
          <p:spPr bwMode="auto">
            <a:xfrm>
              <a:off x="2674975" y="2465402"/>
              <a:ext cx="30163"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44" name="Rectangle 479">
              <a:extLst>
                <a:ext uri="{FF2B5EF4-FFF2-40B4-BE49-F238E27FC236}">
                  <a16:creationId xmlns:a16="http://schemas.microsoft.com/office/drawing/2014/main" id="{38135310-358F-4307-AAB7-C37E3C6C7A3C}"/>
                </a:ext>
              </a:extLst>
            </p:cNvPr>
            <p:cNvSpPr>
              <a:spLocks noChangeArrowheads="1"/>
            </p:cNvSpPr>
            <p:nvPr/>
          </p:nvSpPr>
          <p:spPr bwMode="auto">
            <a:xfrm>
              <a:off x="2674975" y="2500327"/>
              <a:ext cx="30163"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45" name="Rectangle 480">
              <a:extLst>
                <a:ext uri="{FF2B5EF4-FFF2-40B4-BE49-F238E27FC236}">
                  <a16:creationId xmlns:a16="http://schemas.microsoft.com/office/drawing/2014/main" id="{89BB36AB-9805-47CC-9958-8C1B09603AAC}"/>
                </a:ext>
              </a:extLst>
            </p:cNvPr>
            <p:cNvSpPr>
              <a:spLocks noChangeArrowheads="1"/>
            </p:cNvSpPr>
            <p:nvPr/>
          </p:nvSpPr>
          <p:spPr bwMode="auto">
            <a:xfrm>
              <a:off x="2674975" y="2535252"/>
              <a:ext cx="30163"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46" name="Rectangle 481">
              <a:extLst>
                <a:ext uri="{FF2B5EF4-FFF2-40B4-BE49-F238E27FC236}">
                  <a16:creationId xmlns:a16="http://schemas.microsoft.com/office/drawing/2014/main" id="{CC0F6934-C72D-4DBB-8FA0-4475ED4836D0}"/>
                </a:ext>
              </a:extLst>
            </p:cNvPr>
            <p:cNvSpPr>
              <a:spLocks noChangeArrowheads="1"/>
            </p:cNvSpPr>
            <p:nvPr/>
          </p:nvSpPr>
          <p:spPr bwMode="auto">
            <a:xfrm>
              <a:off x="2636875" y="2465402"/>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47" name="Rectangle 482">
              <a:extLst>
                <a:ext uri="{FF2B5EF4-FFF2-40B4-BE49-F238E27FC236}">
                  <a16:creationId xmlns:a16="http://schemas.microsoft.com/office/drawing/2014/main" id="{F3C9BB75-ADDB-4FE0-A292-A2128ABA2634}"/>
                </a:ext>
              </a:extLst>
            </p:cNvPr>
            <p:cNvSpPr>
              <a:spLocks noChangeArrowheads="1"/>
            </p:cNvSpPr>
            <p:nvPr/>
          </p:nvSpPr>
          <p:spPr bwMode="auto">
            <a:xfrm>
              <a:off x="2636875" y="2500327"/>
              <a:ext cx="31750" cy="31750"/>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48" name="Rectangle 483">
              <a:extLst>
                <a:ext uri="{FF2B5EF4-FFF2-40B4-BE49-F238E27FC236}">
                  <a16:creationId xmlns:a16="http://schemas.microsoft.com/office/drawing/2014/main" id="{BA680FCE-D461-413D-AE3E-7FB4E2B9DE01}"/>
                </a:ext>
              </a:extLst>
            </p:cNvPr>
            <p:cNvSpPr>
              <a:spLocks noChangeArrowheads="1"/>
            </p:cNvSpPr>
            <p:nvPr/>
          </p:nvSpPr>
          <p:spPr bwMode="auto">
            <a:xfrm>
              <a:off x="2636875" y="2535252"/>
              <a:ext cx="31750" cy="30163"/>
            </a:xfrm>
            <a:prstGeom prst="rect">
              <a:avLst/>
            </a:prstGeom>
            <a:solidFill>
              <a:srgbClr val="57A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49" name="Rectangle 484">
              <a:extLst>
                <a:ext uri="{FF2B5EF4-FFF2-40B4-BE49-F238E27FC236}">
                  <a16:creationId xmlns:a16="http://schemas.microsoft.com/office/drawing/2014/main" id="{D8F22AB4-09A7-4F9E-ACA0-446B76B9B13F}"/>
                </a:ext>
              </a:extLst>
            </p:cNvPr>
            <p:cNvSpPr>
              <a:spLocks noChangeArrowheads="1"/>
            </p:cNvSpPr>
            <p:nvPr/>
          </p:nvSpPr>
          <p:spPr bwMode="auto">
            <a:xfrm>
              <a:off x="2787689" y="2474927"/>
              <a:ext cx="33338" cy="9525"/>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650" name="Rectangle 485">
              <a:extLst>
                <a:ext uri="{FF2B5EF4-FFF2-40B4-BE49-F238E27FC236}">
                  <a16:creationId xmlns:a16="http://schemas.microsoft.com/office/drawing/2014/main" id="{20BA87AF-D93D-42C9-BDFB-102FABE7474E}"/>
                </a:ext>
              </a:extLst>
            </p:cNvPr>
            <p:cNvSpPr>
              <a:spLocks noChangeArrowheads="1"/>
            </p:cNvSpPr>
            <p:nvPr/>
          </p:nvSpPr>
          <p:spPr bwMode="auto">
            <a:xfrm>
              <a:off x="2787689" y="2547952"/>
              <a:ext cx="33338" cy="7938"/>
            </a:xfrm>
            <a:prstGeom prst="rect">
              <a:avLst/>
            </a:prstGeom>
            <a:solidFill>
              <a:srgbClr val="A739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grpSp>
      <p:grpSp>
        <p:nvGrpSpPr>
          <p:cNvPr id="651" name="그룹 18">
            <a:extLst>
              <a:ext uri="{FF2B5EF4-FFF2-40B4-BE49-F238E27FC236}">
                <a16:creationId xmlns:a16="http://schemas.microsoft.com/office/drawing/2014/main" id="{5CA6E9F2-8554-4CAD-86A9-014957607773}"/>
              </a:ext>
            </a:extLst>
          </p:cNvPr>
          <p:cNvGrpSpPr/>
          <p:nvPr/>
        </p:nvGrpSpPr>
        <p:grpSpPr>
          <a:xfrm>
            <a:off x="8202931" y="2461453"/>
            <a:ext cx="3167696" cy="3092375"/>
            <a:chOff x="989350" y="1450141"/>
            <a:chExt cx="3342807" cy="3342807"/>
          </a:xfrm>
        </p:grpSpPr>
        <p:grpSp>
          <p:nvGrpSpPr>
            <p:cNvPr id="652" name="그룹 246">
              <a:extLst>
                <a:ext uri="{FF2B5EF4-FFF2-40B4-BE49-F238E27FC236}">
                  <a16:creationId xmlns:a16="http://schemas.microsoft.com/office/drawing/2014/main" id="{D50F3A37-03B4-4DDD-9386-2E4C80BEE831}"/>
                </a:ext>
              </a:extLst>
            </p:cNvPr>
            <p:cNvGrpSpPr/>
            <p:nvPr/>
          </p:nvGrpSpPr>
          <p:grpSpPr>
            <a:xfrm>
              <a:off x="989350" y="1450141"/>
              <a:ext cx="3342807" cy="3342807"/>
              <a:chOff x="2682875" y="301625"/>
              <a:chExt cx="1027113" cy="1027113"/>
            </a:xfrm>
          </p:grpSpPr>
          <p:sp>
            <p:nvSpPr>
              <p:cNvPr id="770" name="Freeform 322">
                <a:extLst>
                  <a:ext uri="{FF2B5EF4-FFF2-40B4-BE49-F238E27FC236}">
                    <a16:creationId xmlns:a16="http://schemas.microsoft.com/office/drawing/2014/main" id="{3E48DD10-FC56-4B2F-B06F-2D06ACCE0B8B}"/>
                  </a:ext>
                </a:extLst>
              </p:cNvPr>
              <p:cNvSpPr>
                <a:spLocks/>
              </p:cNvSpPr>
              <p:nvPr/>
            </p:nvSpPr>
            <p:spPr bwMode="auto">
              <a:xfrm>
                <a:off x="2682875" y="301625"/>
                <a:ext cx="1027113" cy="1027113"/>
              </a:xfrm>
              <a:custGeom>
                <a:avLst/>
                <a:gdLst>
                  <a:gd name="T0" fmla="*/ 4521 w 4526"/>
                  <a:gd name="T1" fmla="*/ 2129 h 4526"/>
                  <a:gd name="T2" fmla="*/ 4519 w 4526"/>
                  <a:gd name="T3" fmla="*/ 2097 h 4526"/>
                  <a:gd name="T4" fmla="*/ 4516 w 4526"/>
                  <a:gd name="T5" fmla="*/ 2057 h 4526"/>
                  <a:gd name="T6" fmla="*/ 4511 w 4526"/>
                  <a:gd name="T7" fmla="*/ 2002 h 4526"/>
                  <a:gd name="T8" fmla="*/ 4504 w 4526"/>
                  <a:gd name="T9" fmla="*/ 1948 h 4526"/>
                  <a:gd name="T10" fmla="*/ 4496 w 4526"/>
                  <a:gd name="T11" fmla="*/ 1895 h 4526"/>
                  <a:gd name="T12" fmla="*/ 4489 w 4526"/>
                  <a:gd name="T13" fmla="*/ 1856 h 4526"/>
                  <a:gd name="T14" fmla="*/ 4478 w 4526"/>
                  <a:gd name="T15" fmla="*/ 1802 h 4526"/>
                  <a:gd name="T16" fmla="*/ 4469 w 4526"/>
                  <a:gd name="T17" fmla="*/ 1762 h 4526"/>
                  <a:gd name="T18" fmla="*/ 4454 w 4526"/>
                  <a:gd name="T19" fmla="*/ 1701 h 4526"/>
                  <a:gd name="T20" fmla="*/ 4444 w 4526"/>
                  <a:gd name="T21" fmla="*/ 1659 h 4526"/>
                  <a:gd name="T22" fmla="*/ 4429 w 4526"/>
                  <a:gd name="T23" fmla="*/ 1609 h 4526"/>
                  <a:gd name="T24" fmla="*/ 4417 w 4526"/>
                  <a:gd name="T25" fmla="*/ 1572 h 4526"/>
                  <a:gd name="T26" fmla="*/ 4401 w 4526"/>
                  <a:gd name="T27" fmla="*/ 1522 h 4526"/>
                  <a:gd name="T28" fmla="*/ 4387 w 4526"/>
                  <a:gd name="T29" fmla="*/ 1482 h 4526"/>
                  <a:gd name="T30" fmla="*/ 4353 w 4526"/>
                  <a:gd name="T31" fmla="*/ 1394 h 4526"/>
                  <a:gd name="T32" fmla="*/ 4339 w 4526"/>
                  <a:gd name="T33" fmla="*/ 1363 h 4526"/>
                  <a:gd name="T34" fmla="*/ 4318 w 4526"/>
                  <a:gd name="T35" fmla="*/ 1316 h 4526"/>
                  <a:gd name="T36" fmla="*/ 4300 w 4526"/>
                  <a:gd name="T37" fmla="*/ 1277 h 4526"/>
                  <a:gd name="T38" fmla="*/ 4259 w 4526"/>
                  <a:gd name="T39" fmla="*/ 1196 h 4526"/>
                  <a:gd name="T40" fmla="*/ 4216 w 4526"/>
                  <a:gd name="T41" fmla="*/ 1120 h 4526"/>
                  <a:gd name="T42" fmla="*/ 4192 w 4526"/>
                  <a:gd name="T43" fmla="*/ 1081 h 4526"/>
                  <a:gd name="T44" fmla="*/ 4165 w 4526"/>
                  <a:gd name="T45" fmla="*/ 1038 h 4526"/>
                  <a:gd name="T46" fmla="*/ 3959 w 4526"/>
                  <a:gd name="T47" fmla="*/ 766 h 4526"/>
                  <a:gd name="T48" fmla="*/ 3610 w 4526"/>
                  <a:gd name="T49" fmla="*/ 446 h 4526"/>
                  <a:gd name="T50" fmla="*/ 3199 w 4526"/>
                  <a:gd name="T51" fmla="*/ 203 h 4526"/>
                  <a:gd name="T52" fmla="*/ 2739 w 4526"/>
                  <a:gd name="T53" fmla="*/ 51 h 4526"/>
                  <a:gd name="T54" fmla="*/ 2314 w 4526"/>
                  <a:gd name="T55" fmla="*/ 1 h 4526"/>
                  <a:gd name="T56" fmla="*/ 2197 w 4526"/>
                  <a:gd name="T57" fmla="*/ 1 h 4526"/>
                  <a:gd name="T58" fmla="*/ 1786 w 4526"/>
                  <a:gd name="T59" fmla="*/ 51 h 4526"/>
                  <a:gd name="T60" fmla="*/ 1308 w 4526"/>
                  <a:gd name="T61" fmla="*/ 211 h 4526"/>
                  <a:gd name="T62" fmla="*/ 942 w 4526"/>
                  <a:gd name="T63" fmla="*/ 426 h 4526"/>
                  <a:gd name="T64" fmla="*/ 821 w 4526"/>
                  <a:gd name="T65" fmla="*/ 519 h 4526"/>
                  <a:gd name="T66" fmla="*/ 501 w 4526"/>
                  <a:gd name="T67" fmla="*/ 842 h 4526"/>
                  <a:gd name="T68" fmla="*/ 252 w 4526"/>
                  <a:gd name="T69" fmla="*/ 1225 h 4526"/>
                  <a:gd name="T70" fmla="*/ 83 w 4526"/>
                  <a:gd name="T71" fmla="*/ 1656 h 4526"/>
                  <a:gd name="T72" fmla="*/ 3 w 4526"/>
                  <a:gd name="T73" fmla="*/ 2124 h 4526"/>
                  <a:gd name="T74" fmla="*/ 2 w 4526"/>
                  <a:gd name="T75" fmla="*/ 2369 h 4526"/>
                  <a:gd name="T76" fmla="*/ 47 w 4526"/>
                  <a:gd name="T77" fmla="*/ 2724 h 4526"/>
                  <a:gd name="T78" fmla="*/ 144 w 4526"/>
                  <a:gd name="T79" fmla="*/ 3060 h 4526"/>
                  <a:gd name="T80" fmla="*/ 290 w 4526"/>
                  <a:gd name="T81" fmla="*/ 3374 h 4526"/>
                  <a:gd name="T82" fmla="*/ 481 w 4526"/>
                  <a:gd name="T83" fmla="*/ 3658 h 4526"/>
                  <a:gd name="T84" fmla="*/ 711 w 4526"/>
                  <a:gd name="T85" fmla="*/ 3910 h 4526"/>
                  <a:gd name="T86" fmla="*/ 976 w 4526"/>
                  <a:gd name="T87" fmla="*/ 4125 h 4526"/>
                  <a:gd name="T88" fmla="*/ 1272 w 4526"/>
                  <a:gd name="T89" fmla="*/ 4299 h 4526"/>
                  <a:gd name="T90" fmla="*/ 1596 w 4526"/>
                  <a:gd name="T91" fmla="*/ 4426 h 4526"/>
                  <a:gd name="T92" fmla="*/ 1890 w 4526"/>
                  <a:gd name="T93" fmla="*/ 4496 h 4526"/>
                  <a:gd name="T94" fmla="*/ 2215 w 4526"/>
                  <a:gd name="T95" fmla="*/ 4526 h 4526"/>
                  <a:gd name="T96" fmla="*/ 2491 w 4526"/>
                  <a:gd name="T97" fmla="*/ 4515 h 4526"/>
                  <a:gd name="T98" fmla="*/ 2874 w 4526"/>
                  <a:gd name="T99" fmla="*/ 4443 h 4526"/>
                  <a:gd name="T100" fmla="*/ 3230 w 4526"/>
                  <a:gd name="T101" fmla="*/ 4310 h 4526"/>
                  <a:gd name="T102" fmla="*/ 3556 w 4526"/>
                  <a:gd name="T103" fmla="*/ 4121 h 4526"/>
                  <a:gd name="T104" fmla="*/ 3844 w 4526"/>
                  <a:gd name="T105" fmla="*/ 3881 h 4526"/>
                  <a:gd name="T106" fmla="*/ 4089 w 4526"/>
                  <a:gd name="T107" fmla="*/ 3599 h 4526"/>
                  <a:gd name="T108" fmla="*/ 4285 w 4526"/>
                  <a:gd name="T109" fmla="*/ 3279 h 4526"/>
                  <a:gd name="T110" fmla="*/ 4427 w 4526"/>
                  <a:gd name="T111" fmla="*/ 2926 h 4526"/>
                  <a:gd name="T112" fmla="*/ 4508 w 4526"/>
                  <a:gd name="T113" fmla="*/ 2547 h 4526"/>
                  <a:gd name="T114" fmla="*/ 4524 w 4526"/>
                  <a:gd name="T115" fmla="*/ 2205 h 4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26" h="4526">
                    <a:moveTo>
                      <a:pt x="4522" y="2147"/>
                    </a:moveTo>
                    <a:lnTo>
                      <a:pt x="4522" y="2146"/>
                    </a:lnTo>
                    <a:lnTo>
                      <a:pt x="4522" y="2146"/>
                    </a:lnTo>
                    <a:lnTo>
                      <a:pt x="4522" y="2134"/>
                    </a:lnTo>
                    <a:lnTo>
                      <a:pt x="4522" y="2134"/>
                    </a:lnTo>
                    <a:lnTo>
                      <a:pt x="4521" y="2129"/>
                    </a:lnTo>
                    <a:lnTo>
                      <a:pt x="4521" y="2129"/>
                    </a:lnTo>
                    <a:lnTo>
                      <a:pt x="4521" y="2120"/>
                    </a:lnTo>
                    <a:lnTo>
                      <a:pt x="4521" y="2120"/>
                    </a:lnTo>
                    <a:lnTo>
                      <a:pt x="4520" y="2113"/>
                    </a:lnTo>
                    <a:lnTo>
                      <a:pt x="4520" y="2113"/>
                    </a:lnTo>
                    <a:lnTo>
                      <a:pt x="4520" y="2111"/>
                    </a:lnTo>
                    <a:lnTo>
                      <a:pt x="4520" y="2111"/>
                    </a:lnTo>
                    <a:lnTo>
                      <a:pt x="4519" y="2097"/>
                    </a:lnTo>
                    <a:lnTo>
                      <a:pt x="4519" y="2097"/>
                    </a:lnTo>
                    <a:lnTo>
                      <a:pt x="4519" y="2084"/>
                    </a:lnTo>
                    <a:lnTo>
                      <a:pt x="4519" y="2084"/>
                    </a:lnTo>
                    <a:lnTo>
                      <a:pt x="4518" y="2069"/>
                    </a:lnTo>
                    <a:lnTo>
                      <a:pt x="4518" y="2069"/>
                    </a:lnTo>
                    <a:lnTo>
                      <a:pt x="4516" y="2057"/>
                    </a:lnTo>
                    <a:lnTo>
                      <a:pt x="4516" y="2057"/>
                    </a:lnTo>
                    <a:lnTo>
                      <a:pt x="4514" y="2040"/>
                    </a:lnTo>
                    <a:lnTo>
                      <a:pt x="4514" y="2040"/>
                    </a:lnTo>
                    <a:lnTo>
                      <a:pt x="4513" y="2030"/>
                    </a:lnTo>
                    <a:lnTo>
                      <a:pt x="4513" y="2030"/>
                    </a:lnTo>
                    <a:lnTo>
                      <a:pt x="4512" y="2012"/>
                    </a:lnTo>
                    <a:lnTo>
                      <a:pt x="4512" y="2012"/>
                    </a:lnTo>
                    <a:lnTo>
                      <a:pt x="4511" y="2002"/>
                    </a:lnTo>
                    <a:lnTo>
                      <a:pt x="4511" y="2002"/>
                    </a:lnTo>
                    <a:lnTo>
                      <a:pt x="4507" y="1976"/>
                    </a:lnTo>
                    <a:lnTo>
                      <a:pt x="4507" y="1976"/>
                    </a:lnTo>
                    <a:lnTo>
                      <a:pt x="4506" y="1969"/>
                    </a:lnTo>
                    <a:lnTo>
                      <a:pt x="4506" y="1969"/>
                    </a:lnTo>
                    <a:lnTo>
                      <a:pt x="4504" y="1948"/>
                    </a:lnTo>
                    <a:lnTo>
                      <a:pt x="4504" y="1948"/>
                    </a:lnTo>
                    <a:lnTo>
                      <a:pt x="4503" y="1938"/>
                    </a:lnTo>
                    <a:lnTo>
                      <a:pt x="4503" y="1938"/>
                    </a:lnTo>
                    <a:lnTo>
                      <a:pt x="4500" y="1922"/>
                    </a:lnTo>
                    <a:lnTo>
                      <a:pt x="4500" y="1922"/>
                    </a:lnTo>
                    <a:lnTo>
                      <a:pt x="4498" y="1910"/>
                    </a:lnTo>
                    <a:lnTo>
                      <a:pt x="4498" y="1910"/>
                    </a:lnTo>
                    <a:lnTo>
                      <a:pt x="4496" y="1895"/>
                    </a:lnTo>
                    <a:lnTo>
                      <a:pt x="4496" y="1895"/>
                    </a:lnTo>
                    <a:lnTo>
                      <a:pt x="4493" y="1883"/>
                    </a:lnTo>
                    <a:lnTo>
                      <a:pt x="4493" y="1883"/>
                    </a:lnTo>
                    <a:lnTo>
                      <a:pt x="4491" y="1868"/>
                    </a:lnTo>
                    <a:lnTo>
                      <a:pt x="4491" y="1868"/>
                    </a:lnTo>
                    <a:lnTo>
                      <a:pt x="4489" y="1856"/>
                    </a:lnTo>
                    <a:lnTo>
                      <a:pt x="4489" y="1856"/>
                    </a:lnTo>
                    <a:lnTo>
                      <a:pt x="4486" y="1841"/>
                    </a:lnTo>
                    <a:lnTo>
                      <a:pt x="4486" y="1841"/>
                    </a:lnTo>
                    <a:lnTo>
                      <a:pt x="4484" y="1829"/>
                    </a:lnTo>
                    <a:lnTo>
                      <a:pt x="4484" y="1829"/>
                    </a:lnTo>
                    <a:lnTo>
                      <a:pt x="4481" y="1815"/>
                    </a:lnTo>
                    <a:lnTo>
                      <a:pt x="4481" y="1815"/>
                    </a:lnTo>
                    <a:lnTo>
                      <a:pt x="4478" y="1802"/>
                    </a:lnTo>
                    <a:lnTo>
                      <a:pt x="4478" y="1802"/>
                    </a:lnTo>
                    <a:lnTo>
                      <a:pt x="4475" y="1788"/>
                    </a:lnTo>
                    <a:lnTo>
                      <a:pt x="4475" y="1788"/>
                    </a:lnTo>
                    <a:lnTo>
                      <a:pt x="4473" y="1776"/>
                    </a:lnTo>
                    <a:lnTo>
                      <a:pt x="4473" y="1776"/>
                    </a:lnTo>
                    <a:lnTo>
                      <a:pt x="4469" y="1762"/>
                    </a:lnTo>
                    <a:lnTo>
                      <a:pt x="4469" y="1762"/>
                    </a:lnTo>
                    <a:lnTo>
                      <a:pt x="4467" y="1750"/>
                    </a:lnTo>
                    <a:lnTo>
                      <a:pt x="4467" y="1750"/>
                    </a:lnTo>
                    <a:lnTo>
                      <a:pt x="4463" y="1735"/>
                    </a:lnTo>
                    <a:lnTo>
                      <a:pt x="4463" y="1735"/>
                    </a:lnTo>
                    <a:lnTo>
                      <a:pt x="4461" y="1724"/>
                    </a:lnTo>
                    <a:lnTo>
                      <a:pt x="4461" y="1724"/>
                    </a:lnTo>
                    <a:lnTo>
                      <a:pt x="4454" y="1701"/>
                    </a:lnTo>
                    <a:lnTo>
                      <a:pt x="4454" y="1701"/>
                    </a:lnTo>
                    <a:lnTo>
                      <a:pt x="4451" y="1686"/>
                    </a:lnTo>
                    <a:lnTo>
                      <a:pt x="4451" y="1686"/>
                    </a:lnTo>
                    <a:lnTo>
                      <a:pt x="4447" y="1673"/>
                    </a:lnTo>
                    <a:lnTo>
                      <a:pt x="4447" y="1673"/>
                    </a:lnTo>
                    <a:lnTo>
                      <a:pt x="4444" y="1659"/>
                    </a:lnTo>
                    <a:lnTo>
                      <a:pt x="4444" y="1659"/>
                    </a:lnTo>
                    <a:lnTo>
                      <a:pt x="4440" y="1648"/>
                    </a:lnTo>
                    <a:lnTo>
                      <a:pt x="4440" y="1648"/>
                    </a:lnTo>
                    <a:lnTo>
                      <a:pt x="4437" y="1634"/>
                    </a:lnTo>
                    <a:lnTo>
                      <a:pt x="4437" y="1634"/>
                    </a:lnTo>
                    <a:lnTo>
                      <a:pt x="4434" y="1622"/>
                    </a:lnTo>
                    <a:lnTo>
                      <a:pt x="4434" y="1622"/>
                    </a:lnTo>
                    <a:lnTo>
                      <a:pt x="4429" y="1609"/>
                    </a:lnTo>
                    <a:lnTo>
                      <a:pt x="4429" y="1609"/>
                    </a:lnTo>
                    <a:lnTo>
                      <a:pt x="4425" y="1597"/>
                    </a:lnTo>
                    <a:lnTo>
                      <a:pt x="4425" y="1597"/>
                    </a:lnTo>
                    <a:lnTo>
                      <a:pt x="4421" y="1583"/>
                    </a:lnTo>
                    <a:lnTo>
                      <a:pt x="4421" y="1583"/>
                    </a:lnTo>
                    <a:lnTo>
                      <a:pt x="4417" y="1572"/>
                    </a:lnTo>
                    <a:lnTo>
                      <a:pt x="4417" y="1572"/>
                    </a:lnTo>
                    <a:lnTo>
                      <a:pt x="4413" y="1558"/>
                    </a:lnTo>
                    <a:lnTo>
                      <a:pt x="4413" y="1558"/>
                    </a:lnTo>
                    <a:lnTo>
                      <a:pt x="4409" y="1546"/>
                    </a:lnTo>
                    <a:lnTo>
                      <a:pt x="4409" y="1546"/>
                    </a:lnTo>
                    <a:lnTo>
                      <a:pt x="4405" y="1533"/>
                    </a:lnTo>
                    <a:lnTo>
                      <a:pt x="4405" y="1533"/>
                    </a:lnTo>
                    <a:lnTo>
                      <a:pt x="4401" y="1522"/>
                    </a:lnTo>
                    <a:lnTo>
                      <a:pt x="4401" y="1522"/>
                    </a:lnTo>
                    <a:lnTo>
                      <a:pt x="4396" y="1507"/>
                    </a:lnTo>
                    <a:lnTo>
                      <a:pt x="4396" y="1507"/>
                    </a:lnTo>
                    <a:lnTo>
                      <a:pt x="4392" y="1498"/>
                    </a:lnTo>
                    <a:lnTo>
                      <a:pt x="4392" y="1498"/>
                    </a:lnTo>
                    <a:lnTo>
                      <a:pt x="4387" y="1482"/>
                    </a:lnTo>
                    <a:lnTo>
                      <a:pt x="4387" y="1482"/>
                    </a:lnTo>
                    <a:lnTo>
                      <a:pt x="4384" y="1475"/>
                    </a:lnTo>
                    <a:lnTo>
                      <a:pt x="4384" y="1475"/>
                    </a:lnTo>
                    <a:lnTo>
                      <a:pt x="4362" y="1418"/>
                    </a:lnTo>
                    <a:lnTo>
                      <a:pt x="4362" y="1418"/>
                    </a:lnTo>
                    <a:lnTo>
                      <a:pt x="4360" y="1411"/>
                    </a:lnTo>
                    <a:lnTo>
                      <a:pt x="4360" y="1411"/>
                    </a:lnTo>
                    <a:lnTo>
                      <a:pt x="4353" y="1394"/>
                    </a:lnTo>
                    <a:lnTo>
                      <a:pt x="4353" y="1394"/>
                    </a:lnTo>
                    <a:lnTo>
                      <a:pt x="4349" y="1386"/>
                    </a:lnTo>
                    <a:lnTo>
                      <a:pt x="4349" y="1386"/>
                    </a:lnTo>
                    <a:lnTo>
                      <a:pt x="4343" y="1371"/>
                    </a:lnTo>
                    <a:lnTo>
                      <a:pt x="4343" y="1371"/>
                    </a:lnTo>
                    <a:lnTo>
                      <a:pt x="4339" y="1363"/>
                    </a:lnTo>
                    <a:lnTo>
                      <a:pt x="4339" y="1363"/>
                    </a:lnTo>
                    <a:lnTo>
                      <a:pt x="4332" y="1347"/>
                    </a:lnTo>
                    <a:lnTo>
                      <a:pt x="4332" y="1347"/>
                    </a:lnTo>
                    <a:lnTo>
                      <a:pt x="4329" y="1339"/>
                    </a:lnTo>
                    <a:lnTo>
                      <a:pt x="4329" y="1339"/>
                    </a:lnTo>
                    <a:lnTo>
                      <a:pt x="4322" y="1324"/>
                    </a:lnTo>
                    <a:lnTo>
                      <a:pt x="4322" y="1324"/>
                    </a:lnTo>
                    <a:lnTo>
                      <a:pt x="4318" y="1316"/>
                    </a:lnTo>
                    <a:lnTo>
                      <a:pt x="4318" y="1316"/>
                    </a:lnTo>
                    <a:lnTo>
                      <a:pt x="4310" y="1300"/>
                    </a:lnTo>
                    <a:lnTo>
                      <a:pt x="4310" y="1300"/>
                    </a:lnTo>
                    <a:lnTo>
                      <a:pt x="4307" y="1293"/>
                    </a:lnTo>
                    <a:lnTo>
                      <a:pt x="4307" y="1293"/>
                    </a:lnTo>
                    <a:lnTo>
                      <a:pt x="4300" y="1277"/>
                    </a:lnTo>
                    <a:lnTo>
                      <a:pt x="4300" y="1277"/>
                    </a:lnTo>
                    <a:lnTo>
                      <a:pt x="4297" y="1270"/>
                    </a:lnTo>
                    <a:lnTo>
                      <a:pt x="4297" y="1270"/>
                    </a:lnTo>
                    <a:lnTo>
                      <a:pt x="4288" y="1253"/>
                    </a:lnTo>
                    <a:lnTo>
                      <a:pt x="4288" y="1253"/>
                    </a:lnTo>
                    <a:lnTo>
                      <a:pt x="4286" y="1249"/>
                    </a:lnTo>
                    <a:lnTo>
                      <a:pt x="4286" y="1249"/>
                    </a:lnTo>
                    <a:lnTo>
                      <a:pt x="4259" y="1196"/>
                    </a:lnTo>
                    <a:lnTo>
                      <a:pt x="4230" y="1145"/>
                    </a:lnTo>
                    <a:lnTo>
                      <a:pt x="4230" y="1145"/>
                    </a:lnTo>
                    <a:lnTo>
                      <a:pt x="4229" y="1142"/>
                    </a:lnTo>
                    <a:lnTo>
                      <a:pt x="4229" y="1142"/>
                    </a:lnTo>
                    <a:lnTo>
                      <a:pt x="4218" y="1124"/>
                    </a:lnTo>
                    <a:lnTo>
                      <a:pt x="4218" y="1124"/>
                    </a:lnTo>
                    <a:lnTo>
                      <a:pt x="4216" y="1120"/>
                    </a:lnTo>
                    <a:lnTo>
                      <a:pt x="4216" y="1120"/>
                    </a:lnTo>
                    <a:lnTo>
                      <a:pt x="4206" y="1102"/>
                    </a:lnTo>
                    <a:lnTo>
                      <a:pt x="4206" y="1102"/>
                    </a:lnTo>
                    <a:lnTo>
                      <a:pt x="4203" y="1099"/>
                    </a:lnTo>
                    <a:lnTo>
                      <a:pt x="4203" y="1099"/>
                    </a:lnTo>
                    <a:lnTo>
                      <a:pt x="4192" y="1081"/>
                    </a:lnTo>
                    <a:lnTo>
                      <a:pt x="4192" y="1081"/>
                    </a:lnTo>
                    <a:lnTo>
                      <a:pt x="4189" y="1077"/>
                    </a:lnTo>
                    <a:lnTo>
                      <a:pt x="4189" y="1077"/>
                    </a:lnTo>
                    <a:lnTo>
                      <a:pt x="4179" y="1059"/>
                    </a:lnTo>
                    <a:lnTo>
                      <a:pt x="4179" y="1059"/>
                    </a:lnTo>
                    <a:lnTo>
                      <a:pt x="4177" y="1056"/>
                    </a:lnTo>
                    <a:lnTo>
                      <a:pt x="4177" y="1056"/>
                    </a:lnTo>
                    <a:lnTo>
                      <a:pt x="4165" y="1038"/>
                    </a:lnTo>
                    <a:lnTo>
                      <a:pt x="4164" y="1036"/>
                    </a:lnTo>
                    <a:lnTo>
                      <a:pt x="4164" y="1036"/>
                    </a:lnTo>
                    <a:lnTo>
                      <a:pt x="4127" y="980"/>
                    </a:lnTo>
                    <a:lnTo>
                      <a:pt x="4087" y="925"/>
                    </a:lnTo>
                    <a:lnTo>
                      <a:pt x="4047" y="871"/>
                    </a:lnTo>
                    <a:lnTo>
                      <a:pt x="4004" y="818"/>
                    </a:lnTo>
                    <a:lnTo>
                      <a:pt x="3959" y="766"/>
                    </a:lnTo>
                    <a:lnTo>
                      <a:pt x="3914" y="716"/>
                    </a:lnTo>
                    <a:lnTo>
                      <a:pt x="3867" y="667"/>
                    </a:lnTo>
                    <a:lnTo>
                      <a:pt x="3819" y="620"/>
                    </a:lnTo>
                    <a:lnTo>
                      <a:pt x="3768" y="574"/>
                    </a:lnTo>
                    <a:lnTo>
                      <a:pt x="3717" y="530"/>
                    </a:lnTo>
                    <a:lnTo>
                      <a:pt x="3664" y="487"/>
                    </a:lnTo>
                    <a:lnTo>
                      <a:pt x="3610" y="446"/>
                    </a:lnTo>
                    <a:lnTo>
                      <a:pt x="3555" y="406"/>
                    </a:lnTo>
                    <a:lnTo>
                      <a:pt x="3499" y="368"/>
                    </a:lnTo>
                    <a:lnTo>
                      <a:pt x="3441" y="332"/>
                    </a:lnTo>
                    <a:lnTo>
                      <a:pt x="3382" y="296"/>
                    </a:lnTo>
                    <a:lnTo>
                      <a:pt x="3323" y="264"/>
                    </a:lnTo>
                    <a:lnTo>
                      <a:pt x="3262" y="233"/>
                    </a:lnTo>
                    <a:lnTo>
                      <a:pt x="3199" y="203"/>
                    </a:lnTo>
                    <a:lnTo>
                      <a:pt x="3137" y="175"/>
                    </a:lnTo>
                    <a:lnTo>
                      <a:pt x="3073" y="150"/>
                    </a:lnTo>
                    <a:lnTo>
                      <a:pt x="3008" y="126"/>
                    </a:lnTo>
                    <a:lnTo>
                      <a:pt x="2943" y="104"/>
                    </a:lnTo>
                    <a:lnTo>
                      <a:pt x="2876" y="84"/>
                    </a:lnTo>
                    <a:lnTo>
                      <a:pt x="2808" y="67"/>
                    </a:lnTo>
                    <a:lnTo>
                      <a:pt x="2739" y="51"/>
                    </a:lnTo>
                    <a:lnTo>
                      <a:pt x="2670" y="37"/>
                    </a:lnTo>
                    <a:lnTo>
                      <a:pt x="2601" y="26"/>
                    </a:lnTo>
                    <a:lnTo>
                      <a:pt x="2529" y="16"/>
                    </a:lnTo>
                    <a:lnTo>
                      <a:pt x="2458" y="8"/>
                    </a:lnTo>
                    <a:lnTo>
                      <a:pt x="2387" y="4"/>
                    </a:lnTo>
                    <a:lnTo>
                      <a:pt x="2314" y="1"/>
                    </a:lnTo>
                    <a:lnTo>
                      <a:pt x="2314" y="1"/>
                    </a:lnTo>
                    <a:lnTo>
                      <a:pt x="2311" y="1"/>
                    </a:lnTo>
                    <a:lnTo>
                      <a:pt x="2311" y="1"/>
                    </a:lnTo>
                    <a:lnTo>
                      <a:pt x="2289" y="0"/>
                    </a:lnTo>
                    <a:lnTo>
                      <a:pt x="2289" y="0"/>
                    </a:lnTo>
                    <a:lnTo>
                      <a:pt x="2262" y="0"/>
                    </a:lnTo>
                    <a:lnTo>
                      <a:pt x="2262" y="0"/>
                    </a:lnTo>
                    <a:lnTo>
                      <a:pt x="2197" y="1"/>
                    </a:lnTo>
                    <a:lnTo>
                      <a:pt x="2132" y="4"/>
                    </a:lnTo>
                    <a:lnTo>
                      <a:pt x="2067" y="8"/>
                    </a:lnTo>
                    <a:lnTo>
                      <a:pt x="2003" y="15"/>
                    </a:lnTo>
                    <a:lnTo>
                      <a:pt x="2003" y="15"/>
                    </a:lnTo>
                    <a:lnTo>
                      <a:pt x="1930" y="24"/>
                    </a:lnTo>
                    <a:lnTo>
                      <a:pt x="1857" y="37"/>
                    </a:lnTo>
                    <a:lnTo>
                      <a:pt x="1786" y="51"/>
                    </a:lnTo>
                    <a:lnTo>
                      <a:pt x="1714" y="67"/>
                    </a:lnTo>
                    <a:lnTo>
                      <a:pt x="1644" y="85"/>
                    </a:lnTo>
                    <a:lnTo>
                      <a:pt x="1575" y="107"/>
                    </a:lnTo>
                    <a:lnTo>
                      <a:pt x="1507" y="129"/>
                    </a:lnTo>
                    <a:lnTo>
                      <a:pt x="1439" y="155"/>
                    </a:lnTo>
                    <a:lnTo>
                      <a:pt x="1373" y="182"/>
                    </a:lnTo>
                    <a:lnTo>
                      <a:pt x="1308" y="211"/>
                    </a:lnTo>
                    <a:lnTo>
                      <a:pt x="1245" y="242"/>
                    </a:lnTo>
                    <a:lnTo>
                      <a:pt x="1181" y="275"/>
                    </a:lnTo>
                    <a:lnTo>
                      <a:pt x="1119" y="310"/>
                    </a:lnTo>
                    <a:lnTo>
                      <a:pt x="1059" y="347"/>
                    </a:lnTo>
                    <a:lnTo>
                      <a:pt x="999" y="385"/>
                    </a:lnTo>
                    <a:lnTo>
                      <a:pt x="942" y="426"/>
                    </a:lnTo>
                    <a:lnTo>
                      <a:pt x="942" y="426"/>
                    </a:lnTo>
                    <a:lnTo>
                      <a:pt x="938" y="427"/>
                    </a:lnTo>
                    <a:lnTo>
                      <a:pt x="938" y="427"/>
                    </a:lnTo>
                    <a:lnTo>
                      <a:pt x="924" y="439"/>
                    </a:lnTo>
                    <a:lnTo>
                      <a:pt x="923" y="439"/>
                    </a:lnTo>
                    <a:lnTo>
                      <a:pt x="923" y="439"/>
                    </a:lnTo>
                    <a:lnTo>
                      <a:pt x="872" y="478"/>
                    </a:lnTo>
                    <a:lnTo>
                      <a:pt x="821" y="519"/>
                    </a:lnTo>
                    <a:lnTo>
                      <a:pt x="771" y="561"/>
                    </a:lnTo>
                    <a:lnTo>
                      <a:pt x="723" y="605"/>
                    </a:lnTo>
                    <a:lnTo>
                      <a:pt x="676" y="650"/>
                    </a:lnTo>
                    <a:lnTo>
                      <a:pt x="631" y="696"/>
                    </a:lnTo>
                    <a:lnTo>
                      <a:pt x="586" y="744"/>
                    </a:lnTo>
                    <a:lnTo>
                      <a:pt x="543" y="792"/>
                    </a:lnTo>
                    <a:lnTo>
                      <a:pt x="501" y="842"/>
                    </a:lnTo>
                    <a:lnTo>
                      <a:pt x="462" y="894"/>
                    </a:lnTo>
                    <a:lnTo>
                      <a:pt x="423" y="947"/>
                    </a:lnTo>
                    <a:lnTo>
                      <a:pt x="386" y="1000"/>
                    </a:lnTo>
                    <a:lnTo>
                      <a:pt x="350" y="1055"/>
                    </a:lnTo>
                    <a:lnTo>
                      <a:pt x="315" y="1110"/>
                    </a:lnTo>
                    <a:lnTo>
                      <a:pt x="283" y="1167"/>
                    </a:lnTo>
                    <a:lnTo>
                      <a:pt x="252" y="1225"/>
                    </a:lnTo>
                    <a:lnTo>
                      <a:pt x="222" y="1284"/>
                    </a:lnTo>
                    <a:lnTo>
                      <a:pt x="195" y="1344"/>
                    </a:lnTo>
                    <a:lnTo>
                      <a:pt x="168" y="1404"/>
                    </a:lnTo>
                    <a:lnTo>
                      <a:pt x="144" y="1466"/>
                    </a:lnTo>
                    <a:lnTo>
                      <a:pt x="122" y="1528"/>
                    </a:lnTo>
                    <a:lnTo>
                      <a:pt x="101" y="1591"/>
                    </a:lnTo>
                    <a:lnTo>
                      <a:pt x="83" y="1656"/>
                    </a:lnTo>
                    <a:lnTo>
                      <a:pt x="66" y="1720"/>
                    </a:lnTo>
                    <a:lnTo>
                      <a:pt x="51" y="1786"/>
                    </a:lnTo>
                    <a:lnTo>
                      <a:pt x="37" y="1852"/>
                    </a:lnTo>
                    <a:lnTo>
                      <a:pt x="25" y="1920"/>
                    </a:lnTo>
                    <a:lnTo>
                      <a:pt x="16" y="1986"/>
                    </a:lnTo>
                    <a:lnTo>
                      <a:pt x="9" y="2055"/>
                    </a:lnTo>
                    <a:lnTo>
                      <a:pt x="3" y="2124"/>
                    </a:lnTo>
                    <a:lnTo>
                      <a:pt x="1" y="2194"/>
                    </a:lnTo>
                    <a:lnTo>
                      <a:pt x="0" y="2264"/>
                    </a:lnTo>
                    <a:lnTo>
                      <a:pt x="0" y="2264"/>
                    </a:lnTo>
                    <a:lnTo>
                      <a:pt x="0" y="2264"/>
                    </a:lnTo>
                    <a:lnTo>
                      <a:pt x="0" y="2264"/>
                    </a:lnTo>
                    <a:lnTo>
                      <a:pt x="0" y="2316"/>
                    </a:lnTo>
                    <a:lnTo>
                      <a:pt x="2" y="2369"/>
                    </a:lnTo>
                    <a:lnTo>
                      <a:pt x="5" y="2420"/>
                    </a:lnTo>
                    <a:lnTo>
                      <a:pt x="9" y="2471"/>
                    </a:lnTo>
                    <a:lnTo>
                      <a:pt x="15" y="2523"/>
                    </a:lnTo>
                    <a:lnTo>
                      <a:pt x="21" y="2573"/>
                    </a:lnTo>
                    <a:lnTo>
                      <a:pt x="29" y="2624"/>
                    </a:lnTo>
                    <a:lnTo>
                      <a:pt x="37" y="2675"/>
                    </a:lnTo>
                    <a:lnTo>
                      <a:pt x="47" y="2724"/>
                    </a:lnTo>
                    <a:lnTo>
                      <a:pt x="58" y="2774"/>
                    </a:lnTo>
                    <a:lnTo>
                      <a:pt x="69" y="2822"/>
                    </a:lnTo>
                    <a:lnTo>
                      <a:pt x="83" y="2870"/>
                    </a:lnTo>
                    <a:lnTo>
                      <a:pt x="97" y="2919"/>
                    </a:lnTo>
                    <a:lnTo>
                      <a:pt x="112" y="2967"/>
                    </a:lnTo>
                    <a:lnTo>
                      <a:pt x="128" y="3014"/>
                    </a:lnTo>
                    <a:lnTo>
                      <a:pt x="144" y="3060"/>
                    </a:lnTo>
                    <a:lnTo>
                      <a:pt x="162" y="3107"/>
                    </a:lnTo>
                    <a:lnTo>
                      <a:pt x="181" y="3153"/>
                    </a:lnTo>
                    <a:lnTo>
                      <a:pt x="201" y="3199"/>
                    </a:lnTo>
                    <a:lnTo>
                      <a:pt x="222" y="3242"/>
                    </a:lnTo>
                    <a:lnTo>
                      <a:pt x="244" y="3287"/>
                    </a:lnTo>
                    <a:lnTo>
                      <a:pt x="267" y="3331"/>
                    </a:lnTo>
                    <a:lnTo>
                      <a:pt x="290" y="3374"/>
                    </a:lnTo>
                    <a:lnTo>
                      <a:pt x="315" y="3416"/>
                    </a:lnTo>
                    <a:lnTo>
                      <a:pt x="341" y="3458"/>
                    </a:lnTo>
                    <a:lnTo>
                      <a:pt x="367" y="3499"/>
                    </a:lnTo>
                    <a:lnTo>
                      <a:pt x="394" y="3541"/>
                    </a:lnTo>
                    <a:lnTo>
                      <a:pt x="423" y="3580"/>
                    </a:lnTo>
                    <a:lnTo>
                      <a:pt x="451" y="3620"/>
                    </a:lnTo>
                    <a:lnTo>
                      <a:pt x="481" y="3658"/>
                    </a:lnTo>
                    <a:lnTo>
                      <a:pt x="511" y="3696"/>
                    </a:lnTo>
                    <a:lnTo>
                      <a:pt x="542" y="3734"/>
                    </a:lnTo>
                    <a:lnTo>
                      <a:pt x="574" y="3771"/>
                    </a:lnTo>
                    <a:lnTo>
                      <a:pt x="608" y="3807"/>
                    </a:lnTo>
                    <a:lnTo>
                      <a:pt x="641" y="3842"/>
                    </a:lnTo>
                    <a:lnTo>
                      <a:pt x="676" y="3877"/>
                    </a:lnTo>
                    <a:lnTo>
                      <a:pt x="711" y="3910"/>
                    </a:lnTo>
                    <a:lnTo>
                      <a:pt x="747" y="3944"/>
                    </a:lnTo>
                    <a:lnTo>
                      <a:pt x="783" y="3976"/>
                    </a:lnTo>
                    <a:lnTo>
                      <a:pt x="821" y="4007"/>
                    </a:lnTo>
                    <a:lnTo>
                      <a:pt x="859" y="4038"/>
                    </a:lnTo>
                    <a:lnTo>
                      <a:pt x="897" y="4068"/>
                    </a:lnTo>
                    <a:lnTo>
                      <a:pt x="936" y="4097"/>
                    </a:lnTo>
                    <a:lnTo>
                      <a:pt x="976" y="4125"/>
                    </a:lnTo>
                    <a:lnTo>
                      <a:pt x="1017" y="4153"/>
                    </a:lnTo>
                    <a:lnTo>
                      <a:pt x="1058" y="4180"/>
                    </a:lnTo>
                    <a:lnTo>
                      <a:pt x="1099" y="4205"/>
                    </a:lnTo>
                    <a:lnTo>
                      <a:pt x="1142" y="4230"/>
                    </a:lnTo>
                    <a:lnTo>
                      <a:pt x="1185" y="4253"/>
                    </a:lnTo>
                    <a:lnTo>
                      <a:pt x="1228" y="4276"/>
                    </a:lnTo>
                    <a:lnTo>
                      <a:pt x="1272" y="4299"/>
                    </a:lnTo>
                    <a:lnTo>
                      <a:pt x="1317" y="4320"/>
                    </a:lnTo>
                    <a:lnTo>
                      <a:pt x="1362" y="4340"/>
                    </a:lnTo>
                    <a:lnTo>
                      <a:pt x="1408" y="4359"/>
                    </a:lnTo>
                    <a:lnTo>
                      <a:pt x="1454" y="4378"/>
                    </a:lnTo>
                    <a:lnTo>
                      <a:pt x="1501" y="4395"/>
                    </a:lnTo>
                    <a:lnTo>
                      <a:pt x="1548" y="4411"/>
                    </a:lnTo>
                    <a:lnTo>
                      <a:pt x="1596" y="4426"/>
                    </a:lnTo>
                    <a:lnTo>
                      <a:pt x="1644" y="4441"/>
                    </a:lnTo>
                    <a:lnTo>
                      <a:pt x="1692" y="4454"/>
                    </a:lnTo>
                    <a:lnTo>
                      <a:pt x="1741" y="4466"/>
                    </a:lnTo>
                    <a:lnTo>
                      <a:pt x="1790" y="4477"/>
                    </a:lnTo>
                    <a:lnTo>
                      <a:pt x="1840" y="4487"/>
                    </a:lnTo>
                    <a:lnTo>
                      <a:pt x="1890" y="4496"/>
                    </a:lnTo>
                    <a:lnTo>
                      <a:pt x="1890" y="4496"/>
                    </a:lnTo>
                    <a:lnTo>
                      <a:pt x="1935" y="4503"/>
                    </a:lnTo>
                    <a:lnTo>
                      <a:pt x="1981" y="4509"/>
                    </a:lnTo>
                    <a:lnTo>
                      <a:pt x="2027" y="4515"/>
                    </a:lnTo>
                    <a:lnTo>
                      <a:pt x="2075" y="4518"/>
                    </a:lnTo>
                    <a:lnTo>
                      <a:pt x="2121" y="4522"/>
                    </a:lnTo>
                    <a:lnTo>
                      <a:pt x="2168" y="4524"/>
                    </a:lnTo>
                    <a:lnTo>
                      <a:pt x="2215" y="4526"/>
                    </a:lnTo>
                    <a:lnTo>
                      <a:pt x="2262" y="4526"/>
                    </a:lnTo>
                    <a:lnTo>
                      <a:pt x="2262" y="4526"/>
                    </a:lnTo>
                    <a:lnTo>
                      <a:pt x="2321" y="4525"/>
                    </a:lnTo>
                    <a:lnTo>
                      <a:pt x="2321" y="4525"/>
                    </a:lnTo>
                    <a:lnTo>
                      <a:pt x="2379" y="4524"/>
                    </a:lnTo>
                    <a:lnTo>
                      <a:pt x="2435" y="4519"/>
                    </a:lnTo>
                    <a:lnTo>
                      <a:pt x="2491" y="4515"/>
                    </a:lnTo>
                    <a:lnTo>
                      <a:pt x="2548" y="4509"/>
                    </a:lnTo>
                    <a:lnTo>
                      <a:pt x="2603" y="4501"/>
                    </a:lnTo>
                    <a:lnTo>
                      <a:pt x="2658" y="4492"/>
                    </a:lnTo>
                    <a:lnTo>
                      <a:pt x="2712" y="4481"/>
                    </a:lnTo>
                    <a:lnTo>
                      <a:pt x="2766" y="4470"/>
                    </a:lnTo>
                    <a:lnTo>
                      <a:pt x="2821" y="4457"/>
                    </a:lnTo>
                    <a:lnTo>
                      <a:pt x="2874" y="4443"/>
                    </a:lnTo>
                    <a:lnTo>
                      <a:pt x="2927" y="4427"/>
                    </a:lnTo>
                    <a:lnTo>
                      <a:pt x="2978" y="4411"/>
                    </a:lnTo>
                    <a:lnTo>
                      <a:pt x="3030" y="4393"/>
                    </a:lnTo>
                    <a:lnTo>
                      <a:pt x="3081" y="4374"/>
                    </a:lnTo>
                    <a:lnTo>
                      <a:pt x="3131" y="4353"/>
                    </a:lnTo>
                    <a:lnTo>
                      <a:pt x="3181" y="4332"/>
                    </a:lnTo>
                    <a:lnTo>
                      <a:pt x="3230" y="4310"/>
                    </a:lnTo>
                    <a:lnTo>
                      <a:pt x="3279" y="4285"/>
                    </a:lnTo>
                    <a:lnTo>
                      <a:pt x="3327" y="4261"/>
                    </a:lnTo>
                    <a:lnTo>
                      <a:pt x="3374" y="4235"/>
                    </a:lnTo>
                    <a:lnTo>
                      <a:pt x="3420" y="4208"/>
                    </a:lnTo>
                    <a:lnTo>
                      <a:pt x="3466" y="4180"/>
                    </a:lnTo>
                    <a:lnTo>
                      <a:pt x="3511" y="4151"/>
                    </a:lnTo>
                    <a:lnTo>
                      <a:pt x="3556" y="4121"/>
                    </a:lnTo>
                    <a:lnTo>
                      <a:pt x="3599" y="4090"/>
                    </a:lnTo>
                    <a:lnTo>
                      <a:pt x="3643" y="4058"/>
                    </a:lnTo>
                    <a:lnTo>
                      <a:pt x="3684" y="4024"/>
                    </a:lnTo>
                    <a:lnTo>
                      <a:pt x="3726" y="3990"/>
                    </a:lnTo>
                    <a:lnTo>
                      <a:pt x="3766" y="3955"/>
                    </a:lnTo>
                    <a:lnTo>
                      <a:pt x="3805" y="3919"/>
                    </a:lnTo>
                    <a:lnTo>
                      <a:pt x="3844" y="3881"/>
                    </a:lnTo>
                    <a:lnTo>
                      <a:pt x="3882" y="3845"/>
                    </a:lnTo>
                    <a:lnTo>
                      <a:pt x="3919" y="3805"/>
                    </a:lnTo>
                    <a:lnTo>
                      <a:pt x="3955" y="3766"/>
                    </a:lnTo>
                    <a:lnTo>
                      <a:pt x="3989" y="3726"/>
                    </a:lnTo>
                    <a:lnTo>
                      <a:pt x="4024" y="3684"/>
                    </a:lnTo>
                    <a:lnTo>
                      <a:pt x="4057" y="3642"/>
                    </a:lnTo>
                    <a:lnTo>
                      <a:pt x="4089" y="3599"/>
                    </a:lnTo>
                    <a:lnTo>
                      <a:pt x="4120" y="3556"/>
                    </a:lnTo>
                    <a:lnTo>
                      <a:pt x="4150" y="3512"/>
                    </a:lnTo>
                    <a:lnTo>
                      <a:pt x="4179" y="3467"/>
                    </a:lnTo>
                    <a:lnTo>
                      <a:pt x="4208" y="3421"/>
                    </a:lnTo>
                    <a:lnTo>
                      <a:pt x="4234" y="3374"/>
                    </a:lnTo>
                    <a:lnTo>
                      <a:pt x="4261" y="3326"/>
                    </a:lnTo>
                    <a:lnTo>
                      <a:pt x="4285" y="3279"/>
                    </a:lnTo>
                    <a:lnTo>
                      <a:pt x="4309" y="3231"/>
                    </a:lnTo>
                    <a:lnTo>
                      <a:pt x="4331" y="3181"/>
                    </a:lnTo>
                    <a:lnTo>
                      <a:pt x="4353" y="3132"/>
                    </a:lnTo>
                    <a:lnTo>
                      <a:pt x="4374" y="3081"/>
                    </a:lnTo>
                    <a:lnTo>
                      <a:pt x="4392" y="3029"/>
                    </a:lnTo>
                    <a:lnTo>
                      <a:pt x="4411" y="2979"/>
                    </a:lnTo>
                    <a:lnTo>
                      <a:pt x="4427" y="2926"/>
                    </a:lnTo>
                    <a:lnTo>
                      <a:pt x="4443" y="2874"/>
                    </a:lnTo>
                    <a:lnTo>
                      <a:pt x="4457" y="2820"/>
                    </a:lnTo>
                    <a:lnTo>
                      <a:pt x="4469" y="2767"/>
                    </a:lnTo>
                    <a:lnTo>
                      <a:pt x="4481" y="2713"/>
                    </a:lnTo>
                    <a:lnTo>
                      <a:pt x="4491" y="2658"/>
                    </a:lnTo>
                    <a:lnTo>
                      <a:pt x="4500" y="2602"/>
                    </a:lnTo>
                    <a:lnTo>
                      <a:pt x="4508" y="2547"/>
                    </a:lnTo>
                    <a:lnTo>
                      <a:pt x="4514" y="2491"/>
                    </a:lnTo>
                    <a:lnTo>
                      <a:pt x="4519" y="2434"/>
                    </a:lnTo>
                    <a:lnTo>
                      <a:pt x="4522" y="2378"/>
                    </a:lnTo>
                    <a:lnTo>
                      <a:pt x="4524" y="2321"/>
                    </a:lnTo>
                    <a:lnTo>
                      <a:pt x="4526" y="2264"/>
                    </a:lnTo>
                    <a:lnTo>
                      <a:pt x="4526" y="2264"/>
                    </a:lnTo>
                    <a:lnTo>
                      <a:pt x="4524" y="2205"/>
                    </a:lnTo>
                    <a:lnTo>
                      <a:pt x="4522" y="2147"/>
                    </a:lnTo>
                    <a:lnTo>
                      <a:pt x="4522" y="2147"/>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771" name="Freeform 323">
                <a:extLst>
                  <a:ext uri="{FF2B5EF4-FFF2-40B4-BE49-F238E27FC236}">
                    <a16:creationId xmlns:a16="http://schemas.microsoft.com/office/drawing/2014/main" id="{21D830E8-77AB-49D1-BDC5-8428959AF15E}"/>
                  </a:ext>
                </a:extLst>
              </p:cNvPr>
              <p:cNvSpPr>
                <a:spLocks/>
              </p:cNvSpPr>
              <p:nvPr/>
            </p:nvSpPr>
            <p:spPr bwMode="auto">
              <a:xfrm>
                <a:off x="2682875" y="301625"/>
                <a:ext cx="1027113" cy="1027113"/>
              </a:xfrm>
              <a:custGeom>
                <a:avLst/>
                <a:gdLst>
                  <a:gd name="T0" fmla="*/ 4519 w 4526"/>
                  <a:gd name="T1" fmla="*/ 2438 h 4526"/>
                  <a:gd name="T2" fmla="*/ 4480 w 4526"/>
                  <a:gd name="T3" fmla="*/ 2720 h 4526"/>
                  <a:gd name="T4" fmla="*/ 4407 w 4526"/>
                  <a:gd name="T5" fmla="*/ 2989 h 4526"/>
                  <a:gd name="T6" fmla="*/ 4302 w 4526"/>
                  <a:gd name="T7" fmla="*/ 3245 h 4526"/>
                  <a:gd name="T8" fmla="*/ 4169 w 4526"/>
                  <a:gd name="T9" fmla="*/ 3483 h 4526"/>
                  <a:gd name="T10" fmla="*/ 4009 w 4526"/>
                  <a:gd name="T11" fmla="*/ 3703 h 4526"/>
                  <a:gd name="T12" fmla="*/ 3823 w 4526"/>
                  <a:gd name="T13" fmla="*/ 3901 h 4526"/>
                  <a:gd name="T14" fmla="*/ 3616 w 4526"/>
                  <a:gd name="T15" fmla="*/ 4077 h 4526"/>
                  <a:gd name="T16" fmla="*/ 3389 w 4526"/>
                  <a:gd name="T17" fmla="*/ 4227 h 4526"/>
                  <a:gd name="T18" fmla="*/ 3143 w 4526"/>
                  <a:gd name="T19" fmla="*/ 4349 h 4526"/>
                  <a:gd name="T20" fmla="*/ 2882 w 4526"/>
                  <a:gd name="T21" fmla="*/ 4441 h 4526"/>
                  <a:gd name="T22" fmla="*/ 2608 w 4526"/>
                  <a:gd name="T23" fmla="*/ 4500 h 4526"/>
                  <a:gd name="T24" fmla="*/ 2321 w 4526"/>
                  <a:gd name="T25" fmla="*/ 4525 h 4526"/>
                  <a:gd name="T26" fmla="*/ 2088 w 4526"/>
                  <a:gd name="T27" fmla="*/ 4519 h 4526"/>
                  <a:gd name="T28" fmla="*/ 1806 w 4526"/>
                  <a:gd name="T29" fmla="*/ 4480 h 4526"/>
                  <a:gd name="T30" fmla="*/ 1537 w 4526"/>
                  <a:gd name="T31" fmla="*/ 4408 h 4526"/>
                  <a:gd name="T32" fmla="*/ 1281 w 4526"/>
                  <a:gd name="T33" fmla="*/ 4303 h 4526"/>
                  <a:gd name="T34" fmla="*/ 1043 w 4526"/>
                  <a:gd name="T35" fmla="*/ 4169 h 4526"/>
                  <a:gd name="T36" fmla="*/ 823 w 4526"/>
                  <a:gd name="T37" fmla="*/ 4009 h 4526"/>
                  <a:gd name="T38" fmla="*/ 625 w 4526"/>
                  <a:gd name="T39" fmla="*/ 3825 h 4526"/>
                  <a:gd name="T40" fmla="*/ 449 w 4526"/>
                  <a:gd name="T41" fmla="*/ 3618 h 4526"/>
                  <a:gd name="T42" fmla="*/ 299 w 4526"/>
                  <a:gd name="T43" fmla="*/ 3390 h 4526"/>
                  <a:gd name="T44" fmla="*/ 177 w 4526"/>
                  <a:gd name="T45" fmla="*/ 3145 h 4526"/>
                  <a:gd name="T46" fmla="*/ 85 w 4526"/>
                  <a:gd name="T47" fmla="*/ 2883 h 4526"/>
                  <a:gd name="T48" fmla="*/ 25 w 4526"/>
                  <a:gd name="T49" fmla="*/ 2608 h 4526"/>
                  <a:gd name="T50" fmla="*/ 0 w 4526"/>
                  <a:gd name="T51" fmla="*/ 2321 h 4526"/>
                  <a:gd name="T52" fmla="*/ 7 w 4526"/>
                  <a:gd name="T53" fmla="*/ 2089 h 4526"/>
                  <a:gd name="T54" fmla="*/ 46 w 4526"/>
                  <a:gd name="T55" fmla="*/ 1807 h 4526"/>
                  <a:gd name="T56" fmla="*/ 119 w 4526"/>
                  <a:gd name="T57" fmla="*/ 1537 h 4526"/>
                  <a:gd name="T58" fmla="*/ 223 w 4526"/>
                  <a:gd name="T59" fmla="*/ 1282 h 4526"/>
                  <a:gd name="T60" fmla="*/ 356 w 4526"/>
                  <a:gd name="T61" fmla="*/ 1043 h 4526"/>
                  <a:gd name="T62" fmla="*/ 517 w 4526"/>
                  <a:gd name="T63" fmla="*/ 823 h 4526"/>
                  <a:gd name="T64" fmla="*/ 701 w 4526"/>
                  <a:gd name="T65" fmla="*/ 625 h 4526"/>
                  <a:gd name="T66" fmla="*/ 908 w 4526"/>
                  <a:gd name="T67" fmla="*/ 450 h 4526"/>
                  <a:gd name="T68" fmla="*/ 1136 w 4526"/>
                  <a:gd name="T69" fmla="*/ 300 h 4526"/>
                  <a:gd name="T70" fmla="*/ 1382 w 4526"/>
                  <a:gd name="T71" fmla="*/ 179 h 4526"/>
                  <a:gd name="T72" fmla="*/ 1643 w 4526"/>
                  <a:gd name="T73" fmla="*/ 87 h 4526"/>
                  <a:gd name="T74" fmla="*/ 1918 w 4526"/>
                  <a:gd name="T75" fmla="*/ 27 h 4526"/>
                  <a:gd name="T76" fmla="*/ 2205 w 4526"/>
                  <a:gd name="T77" fmla="*/ 1 h 4526"/>
                  <a:gd name="T78" fmla="*/ 2437 w 4526"/>
                  <a:gd name="T79" fmla="*/ 7 h 4526"/>
                  <a:gd name="T80" fmla="*/ 2718 w 4526"/>
                  <a:gd name="T81" fmla="*/ 46 h 4526"/>
                  <a:gd name="T82" fmla="*/ 2989 w 4526"/>
                  <a:gd name="T83" fmla="*/ 119 h 4526"/>
                  <a:gd name="T84" fmla="*/ 3243 w 4526"/>
                  <a:gd name="T85" fmla="*/ 224 h 4526"/>
                  <a:gd name="T86" fmla="*/ 3483 w 4526"/>
                  <a:gd name="T87" fmla="*/ 357 h 4526"/>
                  <a:gd name="T88" fmla="*/ 3702 w 4526"/>
                  <a:gd name="T89" fmla="*/ 517 h 4526"/>
                  <a:gd name="T90" fmla="*/ 3900 w 4526"/>
                  <a:gd name="T91" fmla="*/ 703 h 4526"/>
                  <a:gd name="T92" fmla="*/ 4075 w 4526"/>
                  <a:gd name="T93" fmla="*/ 910 h 4526"/>
                  <a:gd name="T94" fmla="*/ 4225 w 4526"/>
                  <a:gd name="T95" fmla="*/ 1137 h 4526"/>
                  <a:gd name="T96" fmla="*/ 4347 w 4526"/>
                  <a:gd name="T97" fmla="*/ 1383 h 4526"/>
                  <a:gd name="T98" fmla="*/ 4439 w 4526"/>
                  <a:gd name="T99" fmla="*/ 1644 h 4526"/>
                  <a:gd name="T100" fmla="*/ 4499 w 4526"/>
                  <a:gd name="T101" fmla="*/ 1918 h 4526"/>
                  <a:gd name="T102" fmla="*/ 4524 w 4526"/>
                  <a:gd name="T103" fmla="*/ 2205 h 4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526" h="4526">
                    <a:moveTo>
                      <a:pt x="4526" y="2264"/>
                    </a:moveTo>
                    <a:lnTo>
                      <a:pt x="4526" y="2264"/>
                    </a:lnTo>
                    <a:lnTo>
                      <a:pt x="4524" y="2321"/>
                    </a:lnTo>
                    <a:lnTo>
                      <a:pt x="4522" y="2380"/>
                    </a:lnTo>
                    <a:lnTo>
                      <a:pt x="4519" y="2438"/>
                    </a:lnTo>
                    <a:lnTo>
                      <a:pt x="4514" y="2495"/>
                    </a:lnTo>
                    <a:lnTo>
                      <a:pt x="4507" y="2552"/>
                    </a:lnTo>
                    <a:lnTo>
                      <a:pt x="4499" y="2608"/>
                    </a:lnTo>
                    <a:lnTo>
                      <a:pt x="4490" y="2664"/>
                    </a:lnTo>
                    <a:lnTo>
                      <a:pt x="4480" y="2720"/>
                    </a:lnTo>
                    <a:lnTo>
                      <a:pt x="4467" y="2774"/>
                    </a:lnTo>
                    <a:lnTo>
                      <a:pt x="4454" y="2829"/>
                    </a:lnTo>
                    <a:lnTo>
                      <a:pt x="4439" y="2883"/>
                    </a:lnTo>
                    <a:lnTo>
                      <a:pt x="4423" y="2936"/>
                    </a:lnTo>
                    <a:lnTo>
                      <a:pt x="4407" y="2989"/>
                    </a:lnTo>
                    <a:lnTo>
                      <a:pt x="4389" y="3041"/>
                    </a:lnTo>
                    <a:lnTo>
                      <a:pt x="4368" y="3093"/>
                    </a:lnTo>
                    <a:lnTo>
                      <a:pt x="4347" y="3145"/>
                    </a:lnTo>
                    <a:lnTo>
                      <a:pt x="4325" y="3194"/>
                    </a:lnTo>
                    <a:lnTo>
                      <a:pt x="4302" y="3245"/>
                    </a:lnTo>
                    <a:lnTo>
                      <a:pt x="4278" y="3293"/>
                    </a:lnTo>
                    <a:lnTo>
                      <a:pt x="4253" y="3341"/>
                    </a:lnTo>
                    <a:lnTo>
                      <a:pt x="4225" y="3390"/>
                    </a:lnTo>
                    <a:lnTo>
                      <a:pt x="4198" y="3437"/>
                    </a:lnTo>
                    <a:lnTo>
                      <a:pt x="4169" y="3483"/>
                    </a:lnTo>
                    <a:lnTo>
                      <a:pt x="4139" y="3529"/>
                    </a:lnTo>
                    <a:lnTo>
                      <a:pt x="4108" y="3573"/>
                    </a:lnTo>
                    <a:lnTo>
                      <a:pt x="4075" y="3618"/>
                    </a:lnTo>
                    <a:lnTo>
                      <a:pt x="4043" y="3660"/>
                    </a:lnTo>
                    <a:lnTo>
                      <a:pt x="4009" y="3703"/>
                    </a:lnTo>
                    <a:lnTo>
                      <a:pt x="3974" y="3744"/>
                    </a:lnTo>
                    <a:lnTo>
                      <a:pt x="3937" y="3785"/>
                    </a:lnTo>
                    <a:lnTo>
                      <a:pt x="3900" y="3825"/>
                    </a:lnTo>
                    <a:lnTo>
                      <a:pt x="3863" y="3863"/>
                    </a:lnTo>
                    <a:lnTo>
                      <a:pt x="3823" y="3901"/>
                    </a:lnTo>
                    <a:lnTo>
                      <a:pt x="3784" y="3938"/>
                    </a:lnTo>
                    <a:lnTo>
                      <a:pt x="3744" y="3975"/>
                    </a:lnTo>
                    <a:lnTo>
                      <a:pt x="3702" y="4009"/>
                    </a:lnTo>
                    <a:lnTo>
                      <a:pt x="3660" y="4044"/>
                    </a:lnTo>
                    <a:lnTo>
                      <a:pt x="3616" y="4077"/>
                    </a:lnTo>
                    <a:lnTo>
                      <a:pt x="3572" y="4108"/>
                    </a:lnTo>
                    <a:lnTo>
                      <a:pt x="3527" y="4139"/>
                    </a:lnTo>
                    <a:lnTo>
                      <a:pt x="3483" y="4169"/>
                    </a:lnTo>
                    <a:lnTo>
                      <a:pt x="3435" y="4199"/>
                    </a:lnTo>
                    <a:lnTo>
                      <a:pt x="3389" y="4227"/>
                    </a:lnTo>
                    <a:lnTo>
                      <a:pt x="3341" y="4253"/>
                    </a:lnTo>
                    <a:lnTo>
                      <a:pt x="3293" y="4279"/>
                    </a:lnTo>
                    <a:lnTo>
                      <a:pt x="3243" y="4303"/>
                    </a:lnTo>
                    <a:lnTo>
                      <a:pt x="3194" y="4326"/>
                    </a:lnTo>
                    <a:lnTo>
                      <a:pt x="3143" y="4349"/>
                    </a:lnTo>
                    <a:lnTo>
                      <a:pt x="3092" y="4370"/>
                    </a:lnTo>
                    <a:lnTo>
                      <a:pt x="3040" y="4389"/>
                    </a:lnTo>
                    <a:lnTo>
                      <a:pt x="2989" y="4408"/>
                    </a:lnTo>
                    <a:lnTo>
                      <a:pt x="2936" y="4425"/>
                    </a:lnTo>
                    <a:lnTo>
                      <a:pt x="2882" y="4441"/>
                    </a:lnTo>
                    <a:lnTo>
                      <a:pt x="2829" y="4455"/>
                    </a:lnTo>
                    <a:lnTo>
                      <a:pt x="2773" y="4469"/>
                    </a:lnTo>
                    <a:lnTo>
                      <a:pt x="2718" y="4480"/>
                    </a:lnTo>
                    <a:lnTo>
                      <a:pt x="2663" y="4490"/>
                    </a:lnTo>
                    <a:lnTo>
                      <a:pt x="2608" y="4500"/>
                    </a:lnTo>
                    <a:lnTo>
                      <a:pt x="2551" y="4508"/>
                    </a:lnTo>
                    <a:lnTo>
                      <a:pt x="2494" y="4515"/>
                    </a:lnTo>
                    <a:lnTo>
                      <a:pt x="2437" y="4519"/>
                    </a:lnTo>
                    <a:lnTo>
                      <a:pt x="2379" y="4524"/>
                    </a:lnTo>
                    <a:lnTo>
                      <a:pt x="2321" y="4525"/>
                    </a:lnTo>
                    <a:lnTo>
                      <a:pt x="2262" y="4526"/>
                    </a:lnTo>
                    <a:lnTo>
                      <a:pt x="2262" y="4526"/>
                    </a:lnTo>
                    <a:lnTo>
                      <a:pt x="2205" y="4525"/>
                    </a:lnTo>
                    <a:lnTo>
                      <a:pt x="2146" y="4524"/>
                    </a:lnTo>
                    <a:lnTo>
                      <a:pt x="2088" y="4519"/>
                    </a:lnTo>
                    <a:lnTo>
                      <a:pt x="2031" y="4515"/>
                    </a:lnTo>
                    <a:lnTo>
                      <a:pt x="1974" y="4508"/>
                    </a:lnTo>
                    <a:lnTo>
                      <a:pt x="1918" y="4500"/>
                    </a:lnTo>
                    <a:lnTo>
                      <a:pt x="1862" y="4490"/>
                    </a:lnTo>
                    <a:lnTo>
                      <a:pt x="1806" y="4480"/>
                    </a:lnTo>
                    <a:lnTo>
                      <a:pt x="1751" y="4469"/>
                    </a:lnTo>
                    <a:lnTo>
                      <a:pt x="1697" y="4455"/>
                    </a:lnTo>
                    <a:lnTo>
                      <a:pt x="1643" y="4441"/>
                    </a:lnTo>
                    <a:lnTo>
                      <a:pt x="1590" y="4425"/>
                    </a:lnTo>
                    <a:lnTo>
                      <a:pt x="1537" y="4408"/>
                    </a:lnTo>
                    <a:lnTo>
                      <a:pt x="1485" y="4389"/>
                    </a:lnTo>
                    <a:lnTo>
                      <a:pt x="1433" y="4370"/>
                    </a:lnTo>
                    <a:lnTo>
                      <a:pt x="1382" y="4349"/>
                    </a:lnTo>
                    <a:lnTo>
                      <a:pt x="1331" y="4326"/>
                    </a:lnTo>
                    <a:lnTo>
                      <a:pt x="1281" y="4303"/>
                    </a:lnTo>
                    <a:lnTo>
                      <a:pt x="1233" y="4279"/>
                    </a:lnTo>
                    <a:lnTo>
                      <a:pt x="1184" y="4253"/>
                    </a:lnTo>
                    <a:lnTo>
                      <a:pt x="1136" y="4227"/>
                    </a:lnTo>
                    <a:lnTo>
                      <a:pt x="1089" y="4199"/>
                    </a:lnTo>
                    <a:lnTo>
                      <a:pt x="1043" y="4169"/>
                    </a:lnTo>
                    <a:lnTo>
                      <a:pt x="997" y="4139"/>
                    </a:lnTo>
                    <a:lnTo>
                      <a:pt x="953" y="4108"/>
                    </a:lnTo>
                    <a:lnTo>
                      <a:pt x="908" y="4077"/>
                    </a:lnTo>
                    <a:lnTo>
                      <a:pt x="866" y="4044"/>
                    </a:lnTo>
                    <a:lnTo>
                      <a:pt x="823" y="4009"/>
                    </a:lnTo>
                    <a:lnTo>
                      <a:pt x="782" y="3975"/>
                    </a:lnTo>
                    <a:lnTo>
                      <a:pt x="741" y="3938"/>
                    </a:lnTo>
                    <a:lnTo>
                      <a:pt x="701" y="3901"/>
                    </a:lnTo>
                    <a:lnTo>
                      <a:pt x="663" y="3863"/>
                    </a:lnTo>
                    <a:lnTo>
                      <a:pt x="625" y="3825"/>
                    </a:lnTo>
                    <a:lnTo>
                      <a:pt x="587" y="3785"/>
                    </a:lnTo>
                    <a:lnTo>
                      <a:pt x="551" y="3744"/>
                    </a:lnTo>
                    <a:lnTo>
                      <a:pt x="517" y="3703"/>
                    </a:lnTo>
                    <a:lnTo>
                      <a:pt x="482" y="3660"/>
                    </a:lnTo>
                    <a:lnTo>
                      <a:pt x="449" y="3618"/>
                    </a:lnTo>
                    <a:lnTo>
                      <a:pt x="417" y="3573"/>
                    </a:lnTo>
                    <a:lnTo>
                      <a:pt x="386" y="3529"/>
                    </a:lnTo>
                    <a:lnTo>
                      <a:pt x="356" y="3483"/>
                    </a:lnTo>
                    <a:lnTo>
                      <a:pt x="327" y="3437"/>
                    </a:lnTo>
                    <a:lnTo>
                      <a:pt x="299" y="3390"/>
                    </a:lnTo>
                    <a:lnTo>
                      <a:pt x="273" y="3341"/>
                    </a:lnTo>
                    <a:lnTo>
                      <a:pt x="248" y="3293"/>
                    </a:lnTo>
                    <a:lnTo>
                      <a:pt x="223" y="3245"/>
                    </a:lnTo>
                    <a:lnTo>
                      <a:pt x="199" y="3194"/>
                    </a:lnTo>
                    <a:lnTo>
                      <a:pt x="177" y="3145"/>
                    </a:lnTo>
                    <a:lnTo>
                      <a:pt x="157" y="3093"/>
                    </a:lnTo>
                    <a:lnTo>
                      <a:pt x="137" y="3041"/>
                    </a:lnTo>
                    <a:lnTo>
                      <a:pt x="119" y="2989"/>
                    </a:lnTo>
                    <a:lnTo>
                      <a:pt x="101" y="2936"/>
                    </a:lnTo>
                    <a:lnTo>
                      <a:pt x="85" y="2883"/>
                    </a:lnTo>
                    <a:lnTo>
                      <a:pt x="71" y="2829"/>
                    </a:lnTo>
                    <a:lnTo>
                      <a:pt x="58" y="2774"/>
                    </a:lnTo>
                    <a:lnTo>
                      <a:pt x="46" y="2720"/>
                    </a:lnTo>
                    <a:lnTo>
                      <a:pt x="36" y="2664"/>
                    </a:lnTo>
                    <a:lnTo>
                      <a:pt x="25" y="2608"/>
                    </a:lnTo>
                    <a:lnTo>
                      <a:pt x="18" y="2552"/>
                    </a:lnTo>
                    <a:lnTo>
                      <a:pt x="12" y="2495"/>
                    </a:lnTo>
                    <a:lnTo>
                      <a:pt x="7" y="2438"/>
                    </a:lnTo>
                    <a:lnTo>
                      <a:pt x="2" y="2380"/>
                    </a:lnTo>
                    <a:lnTo>
                      <a:pt x="0" y="2321"/>
                    </a:lnTo>
                    <a:lnTo>
                      <a:pt x="0" y="2264"/>
                    </a:lnTo>
                    <a:lnTo>
                      <a:pt x="0" y="2264"/>
                    </a:lnTo>
                    <a:lnTo>
                      <a:pt x="0" y="2205"/>
                    </a:lnTo>
                    <a:lnTo>
                      <a:pt x="2" y="2146"/>
                    </a:lnTo>
                    <a:lnTo>
                      <a:pt x="7" y="2089"/>
                    </a:lnTo>
                    <a:lnTo>
                      <a:pt x="12" y="2032"/>
                    </a:lnTo>
                    <a:lnTo>
                      <a:pt x="18" y="1975"/>
                    </a:lnTo>
                    <a:lnTo>
                      <a:pt x="25" y="1918"/>
                    </a:lnTo>
                    <a:lnTo>
                      <a:pt x="36" y="1863"/>
                    </a:lnTo>
                    <a:lnTo>
                      <a:pt x="46" y="1807"/>
                    </a:lnTo>
                    <a:lnTo>
                      <a:pt x="58" y="1753"/>
                    </a:lnTo>
                    <a:lnTo>
                      <a:pt x="71" y="1697"/>
                    </a:lnTo>
                    <a:lnTo>
                      <a:pt x="85" y="1644"/>
                    </a:lnTo>
                    <a:lnTo>
                      <a:pt x="101" y="1590"/>
                    </a:lnTo>
                    <a:lnTo>
                      <a:pt x="119" y="1537"/>
                    </a:lnTo>
                    <a:lnTo>
                      <a:pt x="137" y="1485"/>
                    </a:lnTo>
                    <a:lnTo>
                      <a:pt x="157" y="1434"/>
                    </a:lnTo>
                    <a:lnTo>
                      <a:pt x="177" y="1383"/>
                    </a:lnTo>
                    <a:lnTo>
                      <a:pt x="199" y="1332"/>
                    </a:lnTo>
                    <a:lnTo>
                      <a:pt x="223" y="1282"/>
                    </a:lnTo>
                    <a:lnTo>
                      <a:pt x="248" y="1233"/>
                    </a:lnTo>
                    <a:lnTo>
                      <a:pt x="273" y="1185"/>
                    </a:lnTo>
                    <a:lnTo>
                      <a:pt x="299" y="1137"/>
                    </a:lnTo>
                    <a:lnTo>
                      <a:pt x="327" y="1089"/>
                    </a:lnTo>
                    <a:lnTo>
                      <a:pt x="356" y="1043"/>
                    </a:lnTo>
                    <a:lnTo>
                      <a:pt x="386" y="998"/>
                    </a:lnTo>
                    <a:lnTo>
                      <a:pt x="417" y="954"/>
                    </a:lnTo>
                    <a:lnTo>
                      <a:pt x="449" y="910"/>
                    </a:lnTo>
                    <a:lnTo>
                      <a:pt x="482" y="866"/>
                    </a:lnTo>
                    <a:lnTo>
                      <a:pt x="517" y="823"/>
                    </a:lnTo>
                    <a:lnTo>
                      <a:pt x="551" y="782"/>
                    </a:lnTo>
                    <a:lnTo>
                      <a:pt x="587" y="742"/>
                    </a:lnTo>
                    <a:lnTo>
                      <a:pt x="625" y="703"/>
                    </a:lnTo>
                    <a:lnTo>
                      <a:pt x="663" y="663"/>
                    </a:lnTo>
                    <a:lnTo>
                      <a:pt x="701" y="625"/>
                    </a:lnTo>
                    <a:lnTo>
                      <a:pt x="741" y="589"/>
                    </a:lnTo>
                    <a:lnTo>
                      <a:pt x="782" y="552"/>
                    </a:lnTo>
                    <a:lnTo>
                      <a:pt x="823" y="517"/>
                    </a:lnTo>
                    <a:lnTo>
                      <a:pt x="866" y="483"/>
                    </a:lnTo>
                    <a:lnTo>
                      <a:pt x="908" y="450"/>
                    </a:lnTo>
                    <a:lnTo>
                      <a:pt x="953" y="418"/>
                    </a:lnTo>
                    <a:lnTo>
                      <a:pt x="997" y="387"/>
                    </a:lnTo>
                    <a:lnTo>
                      <a:pt x="1043" y="357"/>
                    </a:lnTo>
                    <a:lnTo>
                      <a:pt x="1089" y="328"/>
                    </a:lnTo>
                    <a:lnTo>
                      <a:pt x="1136" y="300"/>
                    </a:lnTo>
                    <a:lnTo>
                      <a:pt x="1184" y="273"/>
                    </a:lnTo>
                    <a:lnTo>
                      <a:pt x="1233" y="248"/>
                    </a:lnTo>
                    <a:lnTo>
                      <a:pt x="1281" y="224"/>
                    </a:lnTo>
                    <a:lnTo>
                      <a:pt x="1331" y="201"/>
                    </a:lnTo>
                    <a:lnTo>
                      <a:pt x="1382" y="179"/>
                    </a:lnTo>
                    <a:lnTo>
                      <a:pt x="1433" y="157"/>
                    </a:lnTo>
                    <a:lnTo>
                      <a:pt x="1485" y="137"/>
                    </a:lnTo>
                    <a:lnTo>
                      <a:pt x="1537" y="119"/>
                    </a:lnTo>
                    <a:lnTo>
                      <a:pt x="1590" y="102"/>
                    </a:lnTo>
                    <a:lnTo>
                      <a:pt x="1643" y="87"/>
                    </a:lnTo>
                    <a:lnTo>
                      <a:pt x="1697" y="72"/>
                    </a:lnTo>
                    <a:lnTo>
                      <a:pt x="1751" y="58"/>
                    </a:lnTo>
                    <a:lnTo>
                      <a:pt x="1806" y="46"/>
                    </a:lnTo>
                    <a:lnTo>
                      <a:pt x="1862" y="36"/>
                    </a:lnTo>
                    <a:lnTo>
                      <a:pt x="1918" y="27"/>
                    </a:lnTo>
                    <a:lnTo>
                      <a:pt x="1974" y="19"/>
                    </a:lnTo>
                    <a:lnTo>
                      <a:pt x="2031" y="12"/>
                    </a:lnTo>
                    <a:lnTo>
                      <a:pt x="2088" y="7"/>
                    </a:lnTo>
                    <a:lnTo>
                      <a:pt x="2146" y="4"/>
                    </a:lnTo>
                    <a:lnTo>
                      <a:pt x="2205" y="1"/>
                    </a:lnTo>
                    <a:lnTo>
                      <a:pt x="2262" y="0"/>
                    </a:lnTo>
                    <a:lnTo>
                      <a:pt x="2262" y="0"/>
                    </a:lnTo>
                    <a:lnTo>
                      <a:pt x="2321" y="1"/>
                    </a:lnTo>
                    <a:lnTo>
                      <a:pt x="2379" y="4"/>
                    </a:lnTo>
                    <a:lnTo>
                      <a:pt x="2437" y="7"/>
                    </a:lnTo>
                    <a:lnTo>
                      <a:pt x="2494" y="12"/>
                    </a:lnTo>
                    <a:lnTo>
                      <a:pt x="2551" y="19"/>
                    </a:lnTo>
                    <a:lnTo>
                      <a:pt x="2608" y="27"/>
                    </a:lnTo>
                    <a:lnTo>
                      <a:pt x="2663" y="36"/>
                    </a:lnTo>
                    <a:lnTo>
                      <a:pt x="2718" y="46"/>
                    </a:lnTo>
                    <a:lnTo>
                      <a:pt x="2773" y="58"/>
                    </a:lnTo>
                    <a:lnTo>
                      <a:pt x="2829" y="72"/>
                    </a:lnTo>
                    <a:lnTo>
                      <a:pt x="2882" y="87"/>
                    </a:lnTo>
                    <a:lnTo>
                      <a:pt x="2936" y="102"/>
                    </a:lnTo>
                    <a:lnTo>
                      <a:pt x="2989" y="119"/>
                    </a:lnTo>
                    <a:lnTo>
                      <a:pt x="3040" y="137"/>
                    </a:lnTo>
                    <a:lnTo>
                      <a:pt x="3092" y="157"/>
                    </a:lnTo>
                    <a:lnTo>
                      <a:pt x="3143" y="179"/>
                    </a:lnTo>
                    <a:lnTo>
                      <a:pt x="3194" y="201"/>
                    </a:lnTo>
                    <a:lnTo>
                      <a:pt x="3243" y="224"/>
                    </a:lnTo>
                    <a:lnTo>
                      <a:pt x="3293" y="248"/>
                    </a:lnTo>
                    <a:lnTo>
                      <a:pt x="3341" y="273"/>
                    </a:lnTo>
                    <a:lnTo>
                      <a:pt x="3389" y="300"/>
                    </a:lnTo>
                    <a:lnTo>
                      <a:pt x="3435" y="328"/>
                    </a:lnTo>
                    <a:lnTo>
                      <a:pt x="3483" y="357"/>
                    </a:lnTo>
                    <a:lnTo>
                      <a:pt x="3527" y="387"/>
                    </a:lnTo>
                    <a:lnTo>
                      <a:pt x="3572" y="418"/>
                    </a:lnTo>
                    <a:lnTo>
                      <a:pt x="3616" y="450"/>
                    </a:lnTo>
                    <a:lnTo>
                      <a:pt x="3660" y="483"/>
                    </a:lnTo>
                    <a:lnTo>
                      <a:pt x="3702" y="517"/>
                    </a:lnTo>
                    <a:lnTo>
                      <a:pt x="3744" y="552"/>
                    </a:lnTo>
                    <a:lnTo>
                      <a:pt x="3784" y="589"/>
                    </a:lnTo>
                    <a:lnTo>
                      <a:pt x="3823" y="625"/>
                    </a:lnTo>
                    <a:lnTo>
                      <a:pt x="3863" y="663"/>
                    </a:lnTo>
                    <a:lnTo>
                      <a:pt x="3900" y="703"/>
                    </a:lnTo>
                    <a:lnTo>
                      <a:pt x="3937" y="742"/>
                    </a:lnTo>
                    <a:lnTo>
                      <a:pt x="3974" y="782"/>
                    </a:lnTo>
                    <a:lnTo>
                      <a:pt x="4009" y="823"/>
                    </a:lnTo>
                    <a:lnTo>
                      <a:pt x="4043" y="866"/>
                    </a:lnTo>
                    <a:lnTo>
                      <a:pt x="4075" y="910"/>
                    </a:lnTo>
                    <a:lnTo>
                      <a:pt x="4108" y="954"/>
                    </a:lnTo>
                    <a:lnTo>
                      <a:pt x="4139" y="998"/>
                    </a:lnTo>
                    <a:lnTo>
                      <a:pt x="4169" y="1043"/>
                    </a:lnTo>
                    <a:lnTo>
                      <a:pt x="4198" y="1089"/>
                    </a:lnTo>
                    <a:lnTo>
                      <a:pt x="4225" y="1137"/>
                    </a:lnTo>
                    <a:lnTo>
                      <a:pt x="4253" y="1185"/>
                    </a:lnTo>
                    <a:lnTo>
                      <a:pt x="4278" y="1233"/>
                    </a:lnTo>
                    <a:lnTo>
                      <a:pt x="4302" y="1282"/>
                    </a:lnTo>
                    <a:lnTo>
                      <a:pt x="4325" y="1332"/>
                    </a:lnTo>
                    <a:lnTo>
                      <a:pt x="4347" y="1383"/>
                    </a:lnTo>
                    <a:lnTo>
                      <a:pt x="4368" y="1434"/>
                    </a:lnTo>
                    <a:lnTo>
                      <a:pt x="4389" y="1485"/>
                    </a:lnTo>
                    <a:lnTo>
                      <a:pt x="4407" y="1537"/>
                    </a:lnTo>
                    <a:lnTo>
                      <a:pt x="4423" y="1590"/>
                    </a:lnTo>
                    <a:lnTo>
                      <a:pt x="4439" y="1644"/>
                    </a:lnTo>
                    <a:lnTo>
                      <a:pt x="4454" y="1697"/>
                    </a:lnTo>
                    <a:lnTo>
                      <a:pt x="4467" y="1753"/>
                    </a:lnTo>
                    <a:lnTo>
                      <a:pt x="4480" y="1807"/>
                    </a:lnTo>
                    <a:lnTo>
                      <a:pt x="4490" y="1863"/>
                    </a:lnTo>
                    <a:lnTo>
                      <a:pt x="4499" y="1918"/>
                    </a:lnTo>
                    <a:lnTo>
                      <a:pt x="4507" y="1975"/>
                    </a:lnTo>
                    <a:lnTo>
                      <a:pt x="4514" y="2032"/>
                    </a:lnTo>
                    <a:lnTo>
                      <a:pt x="4519" y="2089"/>
                    </a:lnTo>
                    <a:lnTo>
                      <a:pt x="4522" y="2146"/>
                    </a:lnTo>
                    <a:lnTo>
                      <a:pt x="4524" y="2205"/>
                    </a:lnTo>
                    <a:lnTo>
                      <a:pt x="4526" y="2264"/>
                    </a:lnTo>
                    <a:lnTo>
                      <a:pt x="4526" y="2264"/>
                    </a:lnTo>
                    <a:close/>
                  </a:path>
                </a:pathLst>
              </a:custGeom>
              <a:solidFill>
                <a:srgbClr val="57A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772" name="Freeform 324">
                <a:extLst>
                  <a:ext uri="{FF2B5EF4-FFF2-40B4-BE49-F238E27FC236}">
                    <a16:creationId xmlns:a16="http://schemas.microsoft.com/office/drawing/2014/main" id="{D5959F16-D650-470D-AD0B-EC3E6872A655}"/>
                  </a:ext>
                </a:extLst>
              </p:cNvPr>
              <p:cNvSpPr>
                <a:spLocks/>
              </p:cNvSpPr>
              <p:nvPr/>
            </p:nvSpPr>
            <p:spPr bwMode="auto">
              <a:xfrm>
                <a:off x="2682875" y="301625"/>
                <a:ext cx="1027113" cy="1027113"/>
              </a:xfrm>
              <a:custGeom>
                <a:avLst/>
                <a:gdLst>
                  <a:gd name="T0" fmla="*/ 4442 w 4526"/>
                  <a:gd name="T1" fmla="*/ 1930 h 4526"/>
                  <a:gd name="T2" fmla="*/ 4377 w 4526"/>
                  <a:gd name="T3" fmla="*/ 2211 h 4526"/>
                  <a:gd name="T4" fmla="*/ 4269 w 4526"/>
                  <a:gd name="T5" fmla="*/ 2471 h 4526"/>
                  <a:gd name="T6" fmla="*/ 4119 w 4526"/>
                  <a:gd name="T7" fmla="*/ 2707 h 4526"/>
                  <a:gd name="T8" fmla="*/ 3934 w 4526"/>
                  <a:gd name="T9" fmla="*/ 2913 h 4526"/>
                  <a:gd name="T10" fmla="*/ 3716 w 4526"/>
                  <a:gd name="T11" fmla="*/ 3087 h 4526"/>
                  <a:gd name="T12" fmla="*/ 3471 w 4526"/>
                  <a:gd name="T13" fmla="*/ 3223 h 4526"/>
                  <a:gd name="T14" fmla="*/ 3204 w 4526"/>
                  <a:gd name="T15" fmla="*/ 3316 h 4526"/>
                  <a:gd name="T16" fmla="*/ 2917 w 4526"/>
                  <a:gd name="T17" fmla="*/ 3363 h 4526"/>
                  <a:gd name="T18" fmla="*/ 2662 w 4526"/>
                  <a:gd name="T19" fmla="*/ 3363 h 4526"/>
                  <a:gd name="T20" fmla="*/ 2373 w 4526"/>
                  <a:gd name="T21" fmla="*/ 3315 h 4526"/>
                  <a:gd name="T22" fmla="*/ 2103 w 4526"/>
                  <a:gd name="T23" fmla="*/ 3221 h 4526"/>
                  <a:gd name="T24" fmla="*/ 1857 w 4526"/>
                  <a:gd name="T25" fmla="*/ 3082 h 4526"/>
                  <a:gd name="T26" fmla="*/ 1639 w 4526"/>
                  <a:gd name="T27" fmla="*/ 2907 h 4526"/>
                  <a:gd name="T28" fmla="*/ 1453 w 4526"/>
                  <a:gd name="T29" fmla="*/ 2698 h 4526"/>
                  <a:gd name="T30" fmla="*/ 1304 w 4526"/>
                  <a:gd name="T31" fmla="*/ 2458 h 4526"/>
                  <a:gd name="T32" fmla="*/ 1196 w 4526"/>
                  <a:gd name="T33" fmla="*/ 2196 h 4526"/>
                  <a:gd name="T34" fmla="*/ 1135 w 4526"/>
                  <a:gd name="T35" fmla="*/ 1911 h 4526"/>
                  <a:gd name="T36" fmla="*/ 1122 w 4526"/>
                  <a:gd name="T37" fmla="*/ 1658 h 4526"/>
                  <a:gd name="T38" fmla="*/ 1152 w 4526"/>
                  <a:gd name="T39" fmla="*/ 1378 h 4526"/>
                  <a:gd name="T40" fmla="*/ 1227 w 4526"/>
                  <a:gd name="T41" fmla="*/ 1115 h 4526"/>
                  <a:gd name="T42" fmla="*/ 1342 w 4526"/>
                  <a:gd name="T43" fmla="*/ 871 h 4526"/>
                  <a:gd name="T44" fmla="*/ 1493 w 4526"/>
                  <a:gd name="T45" fmla="*/ 651 h 4526"/>
                  <a:gd name="T46" fmla="*/ 1677 w 4526"/>
                  <a:gd name="T47" fmla="*/ 457 h 4526"/>
                  <a:gd name="T48" fmla="*/ 1889 w 4526"/>
                  <a:gd name="T49" fmla="*/ 296 h 4526"/>
                  <a:gd name="T50" fmla="*/ 2128 w 4526"/>
                  <a:gd name="T51" fmla="*/ 169 h 4526"/>
                  <a:gd name="T52" fmla="*/ 2385 w 4526"/>
                  <a:gd name="T53" fmla="*/ 82 h 4526"/>
                  <a:gd name="T54" fmla="*/ 2661 w 4526"/>
                  <a:gd name="T55" fmla="*/ 37 h 4526"/>
                  <a:gd name="T56" fmla="*/ 2414 w 4526"/>
                  <a:gd name="T57" fmla="*/ 6 h 4526"/>
                  <a:gd name="T58" fmla="*/ 2088 w 4526"/>
                  <a:gd name="T59" fmla="*/ 7 h 4526"/>
                  <a:gd name="T60" fmla="*/ 1697 w 4526"/>
                  <a:gd name="T61" fmla="*/ 72 h 4526"/>
                  <a:gd name="T62" fmla="*/ 1331 w 4526"/>
                  <a:gd name="T63" fmla="*/ 201 h 4526"/>
                  <a:gd name="T64" fmla="*/ 997 w 4526"/>
                  <a:gd name="T65" fmla="*/ 387 h 4526"/>
                  <a:gd name="T66" fmla="*/ 701 w 4526"/>
                  <a:gd name="T67" fmla="*/ 625 h 4526"/>
                  <a:gd name="T68" fmla="*/ 449 w 4526"/>
                  <a:gd name="T69" fmla="*/ 910 h 4526"/>
                  <a:gd name="T70" fmla="*/ 248 w 4526"/>
                  <a:gd name="T71" fmla="*/ 1233 h 4526"/>
                  <a:gd name="T72" fmla="*/ 101 w 4526"/>
                  <a:gd name="T73" fmla="*/ 1590 h 4526"/>
                  <a:gd name="T74" fmla="*/ 18 w 4526"/>
                  <a:gd name="T75" fmla="*/ 1975 h 4526"/>
                  <a:gd name="T76" fmla="*/ 0 w 4526"/>
                  <a:gd name="T77" fmla="*/ 2321 h 4526"/>
                  <a:gd name="T78" fmla="*/ 46 w 4526"/>
                  <a:gd name="T79" fmla="*/ 2720 h 4526"/>
                  <a:gd name="T80" fmla="*/ 157 w 4526"/>
                  <a:gd name="T81" fmla="*/ 3093 h 4526"/>
                  <a:gd name="T82" fmla="*/ 327 w 4526"/>
                  <a:gd name="T83" fmla="*/ 3437 h 4526"/>
                  <a:gd name="T84" fmla="*/ 551 w 4526"/>
                  <a:gd name="T85" fmla="*/ 3744 h 4526"/>
                  <a:gd name="T86" fmla="*/ 823 w 4526"/>
                  <a:gd name="T87" fmla="*/ 4009 h 4526"/>
                  <a:gd name="T88" fmla="*/ 1136 w 4526"/>
                  <a:gd name="T89" fmla="*/ 4227 h 4526"/>
                  <a:gd name="T90" fmla="*/ 1485 w 4526"/>
                  <a:gd name="T91" fmla="*/ 4389 h 4526"/>
                  <a:gd name="T92" fmla="*/ 1862 w 4526"/>
                  <a:gd name="T93" fmla="*/ 4490 h 4526"/>
                  <a:gd name="T94" fmla="*/ 2262 w 4526"/>
                  <a:gd name="T95" fmla="*/ 4526 h 4526"/>
                  <a:gd name="T96" fmla="*/ 2608 w 4526"/>
                  <a:gd name="T97" fmla="*/ 4500 h 4526"/>
                  <a:gd name="T98" fmla="*/ 2989 w 4526"/>
                  <a:gd name="T99" fmla="*/ 4408 h 4526"/>
                  <a:gd name="T100" fmla="*/ 3341 w 4526"/>
                  <a:gd name="T101" fmla="*/ 4253 h 4526"/>
                  <a:gd name="T102" fmla="*/ 3660 w 4526"/>
                  <a:gd name="T103" fmla="*/ 4044 h 4526"/>
                  <a:gd name="T104" fmla="*/ 3937 w 4526"/>
                  <a:gd name="T105" fmla="*/ 3785 h 4526"/>
                  <a:gd name="T106" fmla="*/ 4169 w 4526"/>
                  <a:gd name="T107" fmla="*/ 3483 h 4526"/>
                  <a:gd name="T108" fmla="*/ 4347 w 4526"/>
                  <a:gd name="T109" fmla="*/ 3145 h 4526"/>
                  <a:gd name="T110" fmla="*/ 4467 w 4526"/>
                  <a:gd name="T111" fmla="*/ 2774 h 4526"/>
                  <a:gd name="T112" fmla="*/ 4522 w 4526"/>
                  <a:gd name="T113" fmla="*/ 2380 h 4526"/>
                  <a:gd name="T114" fmla="*/ 4508 w 4526"/>
                  <a:gd name="T115" fmla="*/ 1983 h 4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26" h="4526">
                    <a:moveTo>
                      <a:pt x="4457" y="1720"/>
                    </a:moveTo>
                    <a:lnTo>
                      <a:pt x="4457" y="1720"/>
                    </a:lnTo>
                    <a:lnTo>
                      <a:pt x="4457" y="1763"/>
                    </a:lnTo>
                    <a:lnTo>
                      <a:pt x="4454" y="1806"/>
                    </a:lnTo>
                    <a:lnTo>
                      <a:pt x="4451" y="1847"/>
                    </a:lnTo>
                    <a:lnTo>
                      <a:pt x="4446" y="1888"/>
                    </a:lnTo>
                    <a:lnTo>
                      <a:pt x="4442" y="1930"/>
                    </a:lnTo>
                    <a:lnTo>
                      <a:pt x="4435" y="1971"/>
                    </a:lnTo>
                    <a:lnTo>
                      <a:pt x="4428" y="2013"/>
                    </a:lnTo>
                    <a:lnTo>
                      <a:pt x="4420" y="2053"/>
                    </a:lnTo>
                    <a:lnTo>
                      <a:pt x="4411" y="2093"/>
                    </a:lnTo>
                    <a:lnTo>
                      <a:pt x="4400" y="2132"/>
                    </a:lnTo>
                    <a:lnTo>
                      <a:pt x="4390" y="2172"/>
                    </a:lnTo>
                    <a:lnTo>
                      <a:pt x="4377" y="2211"/>
                    </a:lnTo>
                    <a:lnTo>
                      <a:pt x="4364" y="2249"/>
                    </a:lnTo>
                    <a:lnTo>
                      <a:pt x="4351" y="2288"/>
                    </a:lnTo>
                    <a:lnTo>
                      <a:pt x="4336" y="2325"/>
                    </a:lnTo>
                    <a:lnTo>
                      <a:pt x="4321" y="2363"/>
                    </a:lnTo>
                    <a:lnTo>
                      <a:pt x="4303" y="2398"/>
                    </a:lnTo>
                    <a:lnTo>
                      <a:pt x="4286" y="2435"/>
                    </a:lnTo>
                    <a:lnTo>
                      <a:pt x="4269" y="2471"/>
                    </a:lnTo>
                    <a:lnTo>
                      <a:pt x="4249" y="2507"/>
                    </a:lnTo>
                    <a:lnTo>
                      <a:pt x="4230" y="2541"/>
                    </a:lnTo>
                    <a:lnTo>
                      <a:pt x="4209" y="2576"/>
                    </a:lnTo>
                    <a:lnTo>
                      <a:pt x="4188" y="2609"/>
                    </a:lnTo>
                    <a:lnTo>
                      <a:pt x="4165" y="2643"/>
                    </a:lnTo>
                    <a:lnTo>
                      <a:pt x="4142" y="2675"/>
                    </a:lnTo>
                    <a:lnTo>
                      <a:pt x="4119" y="2707"/>
                    </a:lnTo>
                    <a:lnTo>
                      <a:pt x="4095" y="2738"/>
                    </a:lnTo>
                    <a:lnTo>
                      <a:pt x="4070" y="2769"/>
                    </a:lnTo>
                    <a:lnTo>
                      <a:pt x="4043" y="2799"/>
                    </a:lnTo>
                    <a:lnTo>
                      <a:pt x="4017" y="2829"/>
                    </a:lnTo>
                    <a:lnTo>
                      <a:pt x="3990" y="2858"/>
                    </a:lnTo>
                    <a:lnTo>
                      <a:pt x="3962" y="2885"/>
                    </a:lnTo>
                    <a:lnTo>
                      <a:pt x="3934" y="2913"/>
                    </a:lnTo>
                    <a:lnTo>
                      <a:pt x="3904" y="2941"/>
                    </a:lnTo>
                    <a:lnTo>
                      <a:pt x="3874" y="2966"/>
                    </a:lnTo>
                    <a:lnTo>
                      <a:pt x="3844" y="2993"/>
                    </a:lnTo>
                    <a:lnTo>
                      <a:pt x="3813" y="3017"/>
                    </a:lnTo>
                    <a:lnTo>
                      <a:pt x="3781" y="3041"/>
                    </a:lnTo>
                    <a:lnTo>
                      <a:pt x="3749" y="3064"/>
                    </a:lnTo>
                    <a:lnTo>
                      <a:pt x="3716" y="3087"/>
                    </a:lnTo>
                    <a:lnTo>
                      <a:pt x="3683" y="3109"/>
                    </a:lnTo>
                    <a:lnTo>
                      <a:pt x="3648" y="3130"/>
                    </a:lnTo>
                    <a:lnTo>
                      <a:pt x="3614" y="3150"/>
                    </a:lnTo>
                    <a:lnTo>
                      <a:pt x="3579" y="3169"/>
                    </a:lnTo>
                    <a:lnTo>
                      <a:pt x="3544" y="3188"/>
                    </a:lnTo>
                    <a:lnTo>
                      <a:pt x="3508" y="3206"/>
                    </a:lnTo>
                    <a:lnTo>
                      <a:pt x="3471" y="3223"/>
                    </a:lnTo>
                    <a:lnTo>
                      <a:pt x="3434" y="3239"/>
                    </a:lnTo>
                    <a:lnTo>
                      <a:pt x="3397" y="3254"/>
                    </a:lnTo>
                    <a:lnTo>
                      <a:pt x="3359" y="3268"/>
                    </a:lnTo>
                    <a:lnTo>
                      <a:pt x="3321" y="3282"/>
                    </a:lnTo>
                    <a:lnTo>
                      <a:pt x="3282" y="3294"/>
                    </a:lnTo>
                    <a:lnTo>
                      <a:pt x="3243" y="3306"/>
                    </a:lnTo>
                    <a:lnTo>
                      <a:pt x="3204" y="3316"/>
                    </a:lnTo>
                    <a:lnTo>
                      <a:pt x="3164" y="3325"/>
                    </a:lnTo>
                    <a:lnTo>
                      <a:pt x="3123" y="3334"/>
                    </a:lnTo>
                    <a:lnTo>
                      <a:pt x="3083" y="3341"/>
                    </a:lnTo>
                    <a:lnTo>
                      <a:pt x="3042" y="3348"/>
                    </a:lnTo>
                    <a:lnTo>
                      <a:pt x="3000" y="3354"/>
                    </a:lnTo>
                    <a:lnTo>
                      <a:pt x="2959" y="3359"/>
                    </a:lnTo>
                    <a:lnTo>
                      <a:pt x="2917" y="3363"/>
                    </a:lnTo>
                    <a:lnTo>
                      <a:pt x="2875" y="3366"/>
                    </a:lnTo>
                    <a:lnTo>
                      <a:pt x="2832" y="3367"/>
                    </a:lnTo>
                    <a:lnTo>
                      <a:pt x="2790" y="3368"/>
                    </a:lnTo>
                    <a:lnTo>
                      <a:pt x="2790" y="3368"/>
                    </a:lnTo>
                    <a:lnTo>
                      <a:pt x="2747" y="3367"/>
                    </a:lnTo>
                    <a:lnTo>
                      <a:pt x="2704" y="3366"/>
                    </a:lnTo>
                    <a:lnTo>
                      <a:pt x="2662" y="3363"/>
                    </a:lnTo>
                    <a:lnTo>
                      <a:pt x="2619" y="3359"/>
                    </a:lnTo>
                    <a:lnTo>
                      <a:pt x="2578" y="3354"/>
                    </a:lnTo>
                    <a:lnTo>
                      <a:pt x="2536" y="3348"/>
                    </a:lnTo>
                    <a:lnTo>
                      <a:pt x="2495" y="3341"/>
                    </a:lnTo>
                    <a:lnTo>
                      <a:pt x="2453" y="3333"/>
                    </a:lnTo>
                    <a:lnTo>
                      <a:pt x="2413" y="3325"/>
                    </a:lnTo>
                    <a:lnTo>
                      <a:pt x="2373" y="3315"/>
                    </a:lnTo>
                    <a:lnTo>
                      <a:pt x="2334" y="3305"/>
                    </a:lnTo>
                    <a:lnTo>
                      <a:pt x="2293" y="3293"/>
                    </a:lnTo>
                    <a:lnTo>
                      <a:pt x="2255" y="3280"/>
                    </a:lnTo>
                    <a:lnTo>
                      <a:pt x="2216" y="3267"/>
                    </a:lnTo>
                    <a:lnTo>
                      <a:pt x="2178" y="3252"/>
                    </a:lnTo>
                    <a:lnTo>
                      <a:pt x="2140" y="3237"/>
                    </a:lnTo>
                    <a:lnTo>
                      <a:pt x="2103" y="3221"/>
                    </a:lnTo>
                    <a:lnTo>
                      <a:pt x="2067" y="3203"/>
                    </a:lnTo>
                    <a:lnTo>
                      <a:pt x="2031" y="3185"/>
                    </a:lnTo>
                    <a:lnTo>
                      <a:pt x="1995" y="3166"/>
                    </a:lnTo>
                    <a:lnTo>
                      <a:pt x="1959" y="3147"/>
                    </a:lnTo>
                    <a:lnTo>
                      <a:pt x="1925" y="3126"/>
                    </a:lnTo>
                    <a:lnTo>
                      <a:pt x="1890" y="3104"/>
                    </a:lnTo>
                    <a:lnTo>
                      <a:pt x="1857" y="3082"/>
                    </a:lnTo>
                    <a:lnTo>
                      <a:pt x="1824" y="3059"/>
                    </a:lnTo>
                    <a:lnTo>
                      <a:pt x="1791" y="3036"/>
                    </a:lnTo>
                    <a:lnTo>
                      <a:pt x="1760" y="3012"/>
                    </a:lnTo>
                    <a:lnTo>
                      <a:pt x="1729" y="2987"/>
                    </a:lnTo>
                    <a:lnTo>
                      <a:pt x="1698" y="2960"/>
                    </a:lnTo>
                    <a:lnTo>
                      <a:pt x="1668" y="2934"/>
                    </a:lnTo>
                    <a:lnTo>
                      <a:pt x="1639" y="2907"/>
                    </a:lnTo>
                    <a:lnTo>
                      <a:pt x="1611" y="2879"/>
                    </a:lnTo>
                    <a:lnTo>
                      <a:pt x="1582" y="2850"/>
                    </a:lnTo>
                    <a:lnTo>
                      <a:pt x="1555" y="2821"/>
                    </a:lnTo>
                    <a:lnTo>
                      <a:pt x="1529" y="2791"/>
                    </a:lnTo>
                    <a:lnTo>
                      <a:pt x="1502" y="2760"/>
                    </a:lnTo>
                    <a:lnTo>
                      <a:pt x="1477" y="2729"/>
                    </a:lnTo>
                    <a:lnTo>
                      <a:pt x="1453" y="2698"/>
                    </a:lnTo>
                    <a:lnTo>
                      <a:pt x="1430" y="2666"/>
                    </a:lnTo>
                    <a:lnTo>
                      <a:pt x="1407" y="2632"/>
                    </a:lnTo>
                    <a:lnTo>
                      <a:pt x="1385" y="2599"/>
                    </a:lnTo>
                    <a:lnTo>
                      <a:pt x="1363" y="2564"/>
                    </a:lnTo>
                    <a:lnTo>
                      <a:pt x="1342" y="2530"/>
                    </a:lnTo>
                    <a:lnTo>
                      <a:pt x="1323" y="2494"/>
                    </a:lnTo>
                    <a:lnTo>
                      <a:pt x="1304" y="2458"/>
                    </a:lnTo>
                    <a:lnTo>
                      <a:pt x="1286" y="2423"/>
                    </a:lnTo>
                    <a:lnTo>
                      <a:pt x="1269" y="2386"/>
                    </a:lnTo>
                    <a:lnTo>
                      <a:pt x="1253" y="2349"/>
                    </a:lnTo>
                    <a:lnTo>
                      <a:pt x="1238" y="2311"/>
                    </a:lnTo>
                    <a:lnTo>
                      <a:pt x="1223" y="2273"/>
                    </a:lnTo>
                    <a:lnTo>
                      <a:pt x="1209" y="2234"/>
                    </a:lnTo>
                    <a:lnTo>
                      <a:pt x="1196" y="2196"/>
                    </a:lnTo>
                    <a:lnTo>
                      <a:pt x="1185" y="2156"/>
                    </a:lnTo>
                    <a:lnTo>
                      <a:pt x="1174" y="2116"/>
                    </a:lnTo>
                    <a:lnTo>
                      <a:pt x="1164" y="2076"/>
                    </a:lnTo>
                    <a:lnTo>
                      <a:pt x="1156" y="2036"/>
                    </a:lnTo>
                    <a:lnTo>
                      <a:pt x="1148" y="1994"/>
                    </a:lnTo>
                    <a:lnTo>
                      <a:pt x="1141" y="1953"/>
                    </a:lnTo>
                    <a:lnTo>
                      <a:pt x="1135" y="1911"/>
                    </a:lnTo>
                    <a:lnTo>
                      <a:pt x="1131" y="1870"/>
                    </a:lnTo>
                    <a:lnTo>
                      <a:pt x="1126" y="1827"/>
                    </a:lnTo>
                    <a:lnTo>
                      <a:pt x="1124" y="1785"/>
                    </a:lnTo>
                    <a:lnTo>
                      <a:pt x="1122" y="1742"/>
                    </a:lnTo>
                    <a:lnTo>
                      <a:pt x="1121" y="1700"/>
                    </a:lnTo>
                    <a:lnTo>
                      <a:pt x="1121" y="1700"/>
                    </a:lnTo>
                    <a:lnTo>
                      <a:pt x="1122" y="1658"/>
                    </a:lnTo>
                    <a:lnTo>
                      <a:pt x="1124" y="1618"/>
                    </a:lnTo>
                    <a:lnTo>
                      <a:pt x="1126" y="1576"/>
                    </a:lnTo>
                    <a:lnTo>
                      <a:pt x="1129" y="1536"/>
                    </a:lnTo>
                    <a:lnTo>
                      <a:pt x="1134" y="1497"/>
                    </a:lnTo>
                    <a:lnTo>
                      <a:pt x="1139" y="1457"/>
                    </a:lnTo>
                    <a:lnTo>
                      <a:pt x="1146" y="1418"/>
                    </a:lnTo>
                    <a:lnTo>
                      <a:pt x="1152" y="1378"/>
                    </a:lnTo>
                    <a:lnTo>
                      <a:pt x="1160" y="1339"/>
                    </a:lnTo>
                    <a:lnTo>
                      <a:pt x="1170" y="1301"/>
                    </a:lnTo>
                    <a:lnTo>
                      <a:pt x="1179" y="1263"/>
                    </a:lnTo>
                    <a:lnTo>
                      <a:pt x="1190" y="1225"/>
                    </a:lnTo>
                    <a:lnTo>
                      <a:pt x="1202" y="1188"/>
                    </a:lnTo>
                    <a:lnTo>
                      <a:pt x="1213" y="1152"/>
                    </a:lnTo>
                    <a:lnTo>
                      <a:pt x="1227" y="1115"/>
                    </a:lnTo>
                    <a:lnTo>
                      <a:pt x="1241" y="1079"/>
                    </a:lnTo>
                    <a:lnTo>
                      <a:pt x="1256" y="1043"/>
                    </a:lnTo>
                    <a:lnTo>
                      <a:pt x="1271" y="1008"/>
                    </a:lnTo>
                    <a:lnTo>
                      <a:pt x="1288" y="973"/>
                    </a:lnTo>
                    <a:lnTo>
                      <a:pt x="1306" y="939"/>
                    </a:lnTo>
                    <a:lnTo>
                      <a:pt x="1323" y="904"/>
                    </a:lnTo>
                    <a:lnTo>
                      <a:pt x="1342" y="871"/>
                    </a:lnTo>
                    <a:lnTo>
                      <a:pt x="1361" y="837"/>
                    </a:lnTo>
                    <a:lnTo>
                      <a:pt x="1382" y="805"/>
                    </a:lnTo>
                    <a:lnTo>
                      <a:pt x="1402" y="773"/>
                    </a:lnTo>
                    <a:lnTo>
                      <a:pt x="1424" y="742"/>
                    </a:lnTo>
                    <a:lnTo>
                      <a:pt x="1446" y="711"/>
                    </a:lnTo>
                    <a:lnTo>
                      <a:pt x="1469" y="681"/>
                    </a:lnTo>
                    <a:lnTo>
                      <a:pt x="1493" y="651"/>
                    </a:lnTo>
                    <a:lnTo>
                      <a:pt x="1517" y="621"/>
                    </a:lnTo>
                    <a:lnTo>
                      <a:pt x="1543" y="592"/>
                    </a:lnTo>
                    <a:lnTo>
                      <a:pt x="1568" y="564"/>
                    </a:lnTo>
                    <a:lnTo>
                      <a:pt x="1595" y="537"/>
                    </a:lnTo>
                    <a:lnTo>
                      <a:pt x="1621" y="509"/>
                    </a:lnTo>
                    <a:lnTo>
                      <a:pt x="1649" y="483"/>
                    </a:lnTo>
                    <a:lnTo>
                      <a:pt x="1677" y="457"/>
                    </a:lnTo>
                    <a:lnTo>
                      <a:pt x="1706" y="432"/>
                    </a:lnTo>
                    <a:lnTo>
                      <a:pt x="1735" y="408"/>
                    </a:lnTo>
                    <a:lnTo>
                      <a:pt x="1765" y="384"/>
                    </a:lnTo>
                    <a:lnTo>
                      <a:pt x="1795" y="361"/>
                    </a:lnTo>
                    <a:lnTo>
                      <a:pt x="1826" y="339"/>
                    </a:lnTo>
                    <a:lnTo>
                      <a:pt x="1858" y="317"/>
                    </a:lnTo>
                    <a:lnTo>
                      <a:pt x="1889" y="296"/>
                    </a:lnTo>
                    <a:lnTo>
                      <a:pt x="1923" y="275"/>
                    </a:lnTo>
                    <a:lnTo>
                      <a:pt x="1955" y="256"/>
                    </a:lnTo>
                    <a:lnTo>
                      <a:pt x="1988" y="237"/>
                    </a:lnTo>
                    <a:lnTo>
                      <a:pt x="2023" y="219"/>
                    </a:lnTo>
                    <a:lnTo>
                      <a:pt x="2057" y="202"/>
                    </a:lnTo>
                    <a:lnTo>
                      <a:pt x="2092" y="186"/>
                    </a:lnTo>
                    <a:lnTo>
                      <a:pt x="2128" y="169"/>
                    </a:lnTo>
                    <a:lnTo>
                      <a:pt x="2163" y="155"/>
                    </a:lnTo>
                    <a:lnTo>
                      <a:pt x="2199" y="141"/>
                    </a:lnTo>
                    <a:lnTo>
                      <a:pt x="2236" y="127"/>
                    </a:lnTo>
                    <a:lnTo>
                      <a:pt x="2273" y="114"/>
                    </a:lnTo>
                    <a:lnTo>
                      <a:pt x="2309" y="103"/>
                    </a:lnTo>
                    <a:lnTo>
                      <a:pt x="2347" y="92"/>
                    </a:lnTo>
                    <a:lnTo>
                      <a:pt x="2385" y="82"/>
                    </a:lnTo>
                    <a:lnTo>
                      <a:pt x="2423" y="73"/>
                    </a:lnTo>
                    <a:lnTo>
                      <a:pt x="2463" y="65"/>
                    </a:lnTo>
                    <a:lnTo>
                      <a:pt x="2502" y="58"/>
                    </a:lnTo>
                    <a:lnTo>
                      <a:pt x="2541" y="51"/>
                    </a:lnTo>
                    <a:lnTo>
                      <a:pt x="2580" y="45"/>
                    </a:lnTo>
                    <a:lnTo>
                      <a:pt x="2620" y="41"/>
                    </a:lnTo>
                    <a:lnTo>
                      <a:pt x="2661" y="37"/>
                    </a:lnTo>
                    <a:lnTo>
                      <a:pt x="2662" y="36"/>
                    </a:lnTo>
                    <a:lnTo>
                      <a:pt x="2662" y="36"/>
                    </a:lnTo>
                    <a:lnTo>
                      <a:pt x="2613" y="28"/>
                    </a:lnTo>
                    <a:lnTo>
                      <a:pt x="2564" y="21"/>
                    </a:lnTo>
                    <a:lnTo>
                      <a:pt x="2514" y="15"/>
                    </a:lnTo>
                    <a:lnTo>
                      <a:pt x="2465" y="9"/>
                    </a:lnTo>
                    <a:lnTo>
                      <a:pt x="2414" y="6"/>
                    </a:lnTo>
                    <a:lnTo>
                      <a:pt x="2365" y="3"/>
                    </a:lnTo>
                    <a:lnTo>
                      <a:pt x="2314" y="1"/>
                    </a:lnTo>
                    <a:lnTo>
                      <a:pt x="2262" y="0"/>
                    </a:lnTo>
                    <a:lnTo>
                      <a:pt x="2262" y="0"/>
                    </a:lnTo>
                    <a:lnTo>
                      <a:pt x="2205" y="1"/>
                    </a:lnTo>
                    <a:lnTo>
                      <a:pt x="2146" y="4"/>
                    </a:lnTo>
                    <a:lnTo>
                      <a:pt x="2088" y="7"/>
                    </a:lnTo>
                    <a:lnTo>
                      <a:pt x="2031" y="12"/>
                    </a:lnTo>
                    <a:lnTo>
                      <a:pt x="1974" y="19"/>
                    </a:lnTo>
                    <a:lnTo>
                      <a:pt x="1918" y="27"/>
                    </a:lnTo>
                    <a:lnTo>
                      <a:pt x="1862" y="36"/>
                    </a:lnTo>
                    <a:lnTo>
                      <a:pt x="1806" y="46"/>
                    </a:lnTo>
                    <a:lnTo>
                      <a:pt x="1751" y="58"/>
                    </a:lnTo>
                    <a:lnTo>
                      <a:pt x="1697" y="72"/>
                    </a:lnTo>
                    <a:lnTo>
                      <a:pt x="1643" y="87"/>
                    </a:lnTo>
                    <a:lnTo>
                      <a:pt x="1590" y="102"/>
                    </a:lnTo>
                    <a:lnTo>
                      <a:pt x="1537" y="119"/>
                    </a:lnTo>
                    <a:lnTo>
                      <a:pt x="1485" y="137"/>
                    </a:lnTo>
                    <a:lnTo>
                      <a:pt x="1433" y="157"/>
                    </a:lnTo>
                    <a:lnTo>
                      <a:pt x="1382" y="179"/>
                    </a:lnTo>
                    <a:lnTo>
                      <a:pt x="1331" y="201"/>
                    </a:lnTo>
                    <a:lnTo>
                      <a:pt x="1281" y="224"/>
                    </a:lnTo>
                    <a:lnTo>
                      <a:pt x="1233" y="248"/>
                    </a:lnTo>
                    <a:lnTo>
                      <a:pt x="1184" y="273"/>
                    </a:lnTo>
                    <a:lnTo>
                      <a:pt x="1136" y="300"/>
                    </a:lnTo>
                    <a:lnTo>
                      <a:pt x="1089" y="328"/>
                    </a:lnTo>
                    <a:lnTo>
                      <a:pt x="1043" y="357"/>
                    </a:lnTo>
                    <a:lnTo>
                      <a:pt x="997" y="387"/>
                    </a:lnTo>
                    <a:lnTo>
                      <a:pt x="953" y="418"/>
                    </a:lnTo>
                    <a:lnTo>
                      <a:pt x="908" y="450"/>
                    </a:lnTo>
                    <a:lnTo>
                      <a:pt x="866" y="483"/>
                    </a:lnTo>
                    <a:lnTo>
                      <a:pt x="823" y="517"/>
                    </a:lnTo>
                    <a:lnTo>
                      <a:pt x="782" y="552"/>
                    </a:lnTo>
                    <a:lnTo>
                      <a:pt x="741" y="589"/>
                    </a:lnTo>
                    <a:lnTo>
                      <a:pt x="701" y="625"/>
                    </a:lnTo>
                    <a:lnTo>
                      <a:pt x="663" y="663"/>
                    </a:lnTo>
                    <a:lnTo>
                      <a:pt x="625" y="701"/>
                    </a:lnTo>
                    <a:lnTo>
                      <a:pt x="587" y="742"/>
                    </a:lnTo>
                    <a:lnTo>
                      <a:pt x="551" y="782"/>
                    </a:lnTo>
                    <a:lnTo>
                      <a:pt x="517" y="823"/>
                    </a:lnTo>
                    <a:lnTo>
                      <a:pt x="482" y="866"/>
                    </a:lnTo>
                    <a:lnTo>
                      <a:pt x="449" y="910"/>
                    </a:lnTo>
                    <a:lnTo>
                      <a:pt x="417" y="954"/>
                    </a:lnTo>
                    <a:lnTo>
                      <a:pt x="386" y="998"/>
                    </a:lnTo>
                    <a:lnTo>
                      <a:pt x="356" y="1043"/>
                    </a:lnTo>
                    <a:lnTo>
                      <a:pt x="327" y="1089"/>
                    </a:lnTo>
                    <a:lnTo>
                      <a:pt x="299" y="1137"/>
                    </a:lnTo>
                    <a:lnTo>
                      <a:pt x="273" y="1185"/>
                    </a:lnTo>
                    <a:lnTo>
                      <a:pt x="248" y="1233"/>
                    </a:lnTo>
                    <a:lnTo>
                      <a:pt x="223" y="1282"/>
                    </a:lnTo>
                    <a:lnTo>
                      <a:pt x="199" y="1332"/>
                    </a:lnTo>
                    <a:lnTo>
                      <a:pt x="177" y="1383"/>
                    </a:lnTo>
                    <a:lnTo>
                      <a:pt x="157" y="1434"/>
                    </a:lnTo>
                    <a:lnTo>
                      <a:pt x="137" y="1485"/>
                    </a:lnTo>
                    <a:lnTo>
                      <a:pt x="119" y="1537"/>
                    </a:lnTo>
                    <a:lnTo>
                      <a:pt x="101" y="1590"/>
                    </a:lnTo>
                    <a:lnTo>
                      <a:pt x="85" y="1643"/>
                    </a:lnTo>
                    <a:lnTo>
                      <a:pt x="71" y="1697"/>
                    </a:lnTo>
                    <a:lnTo>
                      <a:pt x="58" y="1753"/>
                    </a:lnTo>
                    <a:lnTo>
                      <a:pt x="46" y="1807"/>
                    </a:lnTo>
                    <a:lnTo>
                      <a:pt x="36" y="1863"/>
                    </a:lnTo>
                    <a:lnTo>
                      <a:pt x="25" y="1918"/>
                    </a:lnTo>
                    <a:lnTo>
                      <a:pt x="18" y="1975"/>
                    </a:lnTo>
                    <a:lnTo>
                      <a:pt x="12" y="2032"/>
                    </a:lnTo>
                    <a:lnTo>
                      <a:pt x="7" y="2089"/>
                    </a:lnTo>
                    <a:lnTo>
                      <a:pt x="2" y="2146"/>
                    </a:lnTo>
                    <a:lnTo>
                      <a:pt x="0" y="2205"/>
                    </a:lnTo>
                    <a:lnTo>
                      <a:pt x="0" y="2264"/>
                    </a:lnTo>
                    <a:lnTo>
                      <a:pt x="0" y="2264"/>
                    </a:lnTo>
                    <a:lnTo>
                      <a:pt x="0" y="2321"/>
                    </a:lnTo>
                    <a:lnTo>
                      <a:pt x="2" y="2380"/>
                    </a:lnTo>
                    <a:lnTo>
                      <a:pt x="7" y="2438"/>
                    </a:lnTo>
                    <a:lnTo>
                      <a:pt x="12" y="2495"/>
                    </a:lnTo>
                    <a:lnTo>
                      <a:pt x="18" y="2552"/>
                    </a:lnTo>
                    <a:lnTo>
                      <a:pt x="25" y="2608"/>
                    </a:lnTo>
                    <a:lnTo>
                      <a:pt x="36" y="2663"/>
                    </a:lnTo>
                    <a:lnTo>
                      <a:pt x="46" y="2720"/>
                    </a:lnTo>
                    <a:lnTo>
                      <a:pt x="58" y="2774"/>
                    </a:lnTo>
                    <a:lnTo>
                      <a:pt x="71" y="2829"/>
                    </a:lnTo>
                    <a:lnTo>
                      <a:pt x="85" y="2883"/>
                    </a:lnTo>
                    <a:lnTo>
                      <a:pt x="101" y="2936"/>
                    </a:lnTo>
                    <a:lnTo>
                      <a:pt x="119" y="2989"/>
                    </a:lnTo>
                    <a:lnTo>
                      <a:pt x="137" y="3041"/>
                    </a:lnTo>
                    <a:lnTo>
                      <a:pt x="157" y="3093"/>
                    </a:lnTo>
                    <a:lnTo>
                      <a:pt x="177" y="3145"/>
                    </a:lnTo>
                    <a:lnTo>
                      <a:pt x="199" y="3194"/>
                    </a:lnTo>
                    <a:lnTo>
                      <a:pt x="223" y="3245"/>
                    </a:lnTo>
                    <a:lnTo>
                      <a:pt x="248" y="3293"/>
                    </a:lnTo>
                    <a:lnTo>
                      <a:pt x="273" y="3341"/>
                    </a:lnTo>
                    <a:lnTo>
                      <a:pt x="299" y="3390"/>
                    </a:lnTo>
                    <a:lnTo>
                      <a:pt x="327" y="3437"/>
                    </a:lnTo>
                    <a:lnTo>
                      <a:pt x="356" y="3483"/>
                    </a:lnTo>
                    <a:lnTo>
                      <a:pt x="386" y="3529"/>
                    </a:lnTo>
                    <a:lnTo>
                      <a:pt x="417" y="3573"/>
                    </a:lnTo>
                    <a:lnTo>
                      <a:pt x="449" y="3618"/>
                    </a:lnTo>
                    <a:lnTo>
                      <a:pt x="482" y="3660"/>
                    </a:lnTo>
                    <a:lnTo>
                      <a:pt x="517" y="3703"/>
                    </a:lnTo>
                    <a:lnTo>
                      <a:pt x="551" y="3744"/>
                    </a:lnTo>
                    <a:lnTo>
                      <a:pt x="587" y="3785"/>
                    </a:lnTo>
                    <a:lnTo>
                      <a:pt x="625" y="3825"/>
                    </a:lnTo>
                    <a:lnTo>
                      <a:pt x="663" y="3863"/>
                    </a:lnTo>
                    <a:lnTo>
                      <a:pt x="701" y="3901"/>
                    </a:lnTo>
                    <a:lnTo>
                      <a:pt x="741" y="3938"/>
                    </a:lnTo>
                    <a:lnTo>
                      <a:pt x="782" y="3975"/>
                    </a:lnTo>
                    <a:lnTo>
                      <a:pt x="823" y="4009"/>
                    </a:lnTo>
                    <a:lnTo>
                      <a:pt x="866" y="4044"/>
                    </a:lnTo>
                    <a:lnTo>
                      <a:pt x="908" y="4077"/>
                    </a:lnTo>
                    <a:lnTo>
                      <a:pt x="953" y="4108"/>
                    </a:lnTo>
                    <a:lnTo>
                      <a:pt x="997" y="4139"/>
                    </a:lnTo>
                    <a:lnTo>
                      <a:pt x="1043" y="4169"/>
                    </a:lnTo>
                    <a:lnTo>
                      <a:pt x="1089" y="4199"/>
                    </a:lnTo>
                    <a:lnTo>
                      <a:pt x="1136" y="4227"/>
                    </a:lnTo>
                    <a:lnTo>
                      <a:pt x="1184" y="4253"/>
                    </a:lnTo>
                    <a:lnTo>
                      <a:pt x="1233" y="4279"/>
                    </a:lnTo>
                    <a:lnTo>
                      <a:pt x="1281" y="4303"/>
                    </a:lnTo>
                    <a:lnTo>
                      <a:pt x="1331" y="4326"/>
                    </a:lnTo>
                    <a:lnTo>
                      <a:pt x="1382" y="4349"/>
                    </a:lnTo>
                    <a:lnTo>
                      <a:pt x="1433" y="4370"/>
                    </a:lnTo>
                    <a:lnTo>
                      <a:pt x="1485" y="4389"/>
                    </a:lnTo>
                    <a:lnTo>
                      <a:pt x="1537" y="4408"/>
                    </a:lnTo>
                    <a:lnTo>
                      <a:pt x="1590" y="4425"/>
                    </a:lnTo>
                    <a:lnTo>
                      <a:pt x="1643" y="4441"/>
                    </a:lnTo>
                    <a:lnTo>
                      <a:pt x="1697" y="4455"/>
                    </a:lnTo>
                    <a:lnTo>
                      <a:pt x="1751" y="4469"/>
                    </a:lnTo>
                    <a:lnTo>
                      <a:pt x="1806" y="4480"/>
                    </a:lnTo>
                    <a:lnTo>
                      <a:pt x="1862" y="4490"/>
                    </a:lnTo>
                    <a:lnTo>
                      <a:pt x="1918" y="4500"/>
                    </a:lnTo>
                    <a:lnTo>
                      <a:pt x="1974" y="4508"/>
                    </a:lnTo>
                    <a:lnTo>
                      <a:pt x="2031" y="4515"/>
                    </a:lnTo>
                    <a:lnTo>
                      <a:pt x="2088" y="4519"/>
                    </a:lnTo>
                    <a:lnTo>
                      <a:pt x="2146" y="4524"/>
                    </a:lnTo>
                    <a:lnTo>
                      <a:pt x="2205" y="4525"/>
                    </a:lnTo>
                    <a:lnTo>
                      <a:pt x="2262" y="4526"/>
                    </a:lnTo>
                    <a:lnTo>
                      <a:pt x="2262" y="4526"/>
                    </a:lnTo>
                    <a:lnTo>
                      <a:pt x="2321" y="4525"/>
                    </a:lnTo>
                    <a:lnTo>
                      <a:pt x="2379" y="4524"/>
                    </a:lnTo>
                    <a:lnTo>
                      <a:pt x="2437" y="4519"/>
                    </a:lnTo>
                    <a:lnTo>
                      <a:pt x="2494" y="4515"/>
                    </a:lnTo>
                    <a:lnTo>
                      <a:pt x="2551" y="4508"/>
                    </a:lnTo>
                    <a:lnTo>
                      <a:pt x="2608" y="4500"/>
                    </a:lnTo>
                    <a:lnTo>
                      <a:pt x="2663" y="4490"/>
                    </a:lnTo>
                    <a:lnTo>
                      <a:pt x="2718" y="4480"/>
                    </a:lnTo>
                    <a:lnTo>
                      <a:pt x="2773" y="4469"/>
                    </a:lnTo>
                    <a:lnTo>
                      <a:pt x="2829" y="4455"/>
                    </a:lnTo>
                    <a:lnTo>
                      <a:pt x="2882" y="4441"/>
                    </a:lnTo>
                    <a:lnTo>
                      <a:pt x="2936" y="4425"/>
                    </a:lnTo>
                    <a:lnTo>
                      <a:pt x="2989" y="4408"/>
                    </a:lnTo>
                    <a:lnTo>
                      <a:pt x="3040" y="4389"/>
                    </a:lnTo>
                    <a:lnTo>
                      <a:pt x="3092" y="4370"/>
                    </a:lnTo>
                    <a:lnTo>
                      <a:pt x="3143" y="4349"/>
                    </a:lnTo>
                    <a:lnTo>
                      <a:pt x="3194" y="4326"/>
                    </a:lnTo>
                    <a:lnTo>
                      <a:pt x="3243" y="4303"/>
                    </a:lnTo>
                    <a:lnTo>
                      <a:pt x="3293" y="4279"/>
                    </a:lnTo>
                    <a:lnTo>
                      <a:pt x="3341" y="4253"/>
                    </a:lnTo>
                    <a:lnTo>
                      <a:pt x="3389" y="4227"/>
                    </a:lnTo>
                    <a:lnTo>
                      <a:pt x="3437" y="4199"/>
                    </a:lnTo>
                    <a:lnTo>
                      <a:pt x="3483" y="4169"/>
                    </a:lnTo>
                    <a:lnTo>
                      <a:pt x="3527" y="4139"/>
                    </a:lnTo>
                    <a:lnTo>
                      <a:pt x="3572" y="4108"/>
                    </a:lnTo>
                    <a:lnTo>
                      <a:pt x="3616" y="4077"/>
                    </a:lnTo>
                    <a:lnTo>
                      <a:pt x="3660" y="4044"/>
                    </a:lnTo>
                    <a:lnTo>
                      <a:pt x="3702" y="4009"/>
                    </a:lnTo>
                    <a:lnTo>
                      <a:pt x="3744" y="3975"/>
                    </a:lnTo>
                    <a:lnTo>
                      <a:pt x="3784" y="3938"/>
                    </a:lnTo>
                    <a:lnTo>
                      <a:pt x="3823" y="3901"/>
                    </a:lnTo>
                    <a:lnTo>
                      <a:pt x="3863" y="3863"/>
                    </a:lnTo>
                    <a:lnTo>
                      <a:pt x="3900" y="3825"/>
                    </a:lnTo>
                    <a:lnTo>
                      <a:pt x="3937" y="3785"/>
                    </a:lnTo>
                    <a:lnTo>
                      <a:pt x="3974" y="3744"/>
                    </a:lnTo>
                    <a:lnTo>
                      <a:pt x="4009" y="3703"/>
                    </a:lnTo>
                    <a:lnTo>
                      <a:pt x="4043" y="3660"/>
                    </a:lnTo>
                    <a:lnTo>
                      <a:pt x="4075" y="3618"/>
                    </a:lnTo>
                    <a:lnTo>
                      <a:pt x="4108" y="3573"/>
                    </a:lnTo>
                    <a:lnTo>
                      <a:pt x="4139" y="3529"/>
                    </a:lnTo>
                    <a:lnTo>
                      <a:pt x="4169" y="3483"/>
                    </a:lnTo>
                    <a:lnTo>
                      <a:pt x="4198" y="3437"/>
                    </a:lnTo>
                    <a:lnTo>
                      <a:pt x="4225" y="3390"/>
                    </a:lnTo>
                    <a:lnTo>
                      <a:pt x="4253" y="3341"/>
                    </a:lnTo>
                    <a:lnTo>
                      <a:pt x="4278" y="3293"/>
                    </a:lnTo>
                    <a:lnTo>
                      <a:pt x="4302" y="3245"/>
                    </a:lnTo>
                    <a:lnTo>
                      <a:pt x="4325" y="3194"/>
                    </a:lnTo>
                    <a:lnTo>
                      <a:pt x="4347" y="3145"/>
                    </a:lnTo>
                    <a:lnTo>
                      <a:pt x="4368" y="3093"/>
                    </a:lnTo>
                    <a:lnTo>
                      <a:pt x="4389" y="3041"/>
                    </a:lnTo>
                    <a:lnTo>
                      <a:pt x="4407" y="2989"/>
                    </a:lnTo>
                    <a:lnTo>
                      <a:pt x="4423" y="2936"/>
                    </a:lnTo>
                    <a:lnTo>
                      <a:pt x="4439" y="2883"/>
                    </a:lnTo>
                    <a:lnTo>
                      <a:pt x="4454" y="2829"/>
                    </a:lnTo>
                    <a:lnTo>
                      <a:pt x="4467" y="2774"/>
                    </a:lnTo>
                    <a:lnTo>
                      <a:pt x="4480" y="2720"/>
                    </a:lnTo>
                    <a:lnTo>
                      <a:pt x="4490" y="2663"/>
                    </a:lnTo>
                    <a:lnTo>
                      <a:pt x="4499" y="2608"/>
                    </a:lnTo>
                    <a:lnTo>
                      <a:pt x="4507" y="2552"/>
                    </a:lnTo>
                    <a:lnTo>
                      <a:pt x="4514" y="2495"/>
                    </a:lnTo>
                    <a:lnTo>
                      <a:pt x="4519" y="2438"/>
                    </a:lnTo>
                    <a:lnTo>
                      <a:pt x="4522" y="2380"/>
                    </a:lnTo>
                    <a:lnTo>
                      <a:pt x="4524" y="2321"/>
                    </a:lnTo>
                    <a:lnTo>
                      <a:pt x="4526" y="2264"/>
                    </a:lnTo>
                    <a:lnTo>
                      <a:pt x="4526" y="2264"/>
                    </a:lnTo>
                    <a:lnTo>
                      <a:pt x="4524" y="2192"/>
                    </a:lnTo>
                    <a:lnTo>
                      <a:pt x="4521" y="2122"/>
                    </a:lnTo>
                    <a:lnTo>
                      <a:pt x="4515" y="2052"/>
                    </a:lnTo>
                    <a:lnTo>
                      <a:pt x="4508" y="1983"/>
                    </a:lnTo>
                    <a:lnTo>
                      <a:pt x="4498" y="1915"/>
                    </a:lnTo>
                    <a:lnTo>
                      <a:pt x="4486" y="1847"/>
                    </a:lnTo>
                    <a:lnTo>
                      <a:pt x="4474" y="1780"/>
                    </a:lnTo>
                    <a:lnTo>
                      <a:pt x="4458" y="1713"/>
                    </a:lnTo>
                    <a:lnTo>
                      <a:pt x="4457" y="172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773" name="Freeform 325">
                <a:extLst>
                  <a:ext uri="{FF2B5EF4-FFF2-40B4-BE49-F238E27FC236}">
                    <a16:creationId xmlns:a16="http://schemas.microsoft.com/office/drawing/2014/main" id="{85712D36-72F8-47E4-B4E8-4B6FCCD17CAC}"/>
                  </a:ext>
                </a:extLst>
              </p:cNvPr>
              <p:cNvSpPr>
                <a:spLocks/>
              </p:cNvSpPr>
              <p:nvPr/>
            </p:nvSpPr>
            <p:spPr bwMode="auto">
              <a:xfrm>
                <a:off x="2682875" y="301625"/>
                <a:ext cx="1027113" cy="1027113"/>
              </a:xfrm>
              <a:custGeom>
                <a:avLst/>
                <a:gdLst>
                  <a:gd name="T0" fmla="*/ 4442 w 4526"/>
                  <a:gd name="T1" fmla="*/ 1930 h 4526"/>
                  <a:gd name="T2" fmla="*/ 4377 w 4526"/>
                  <a:gd name="T3" fmla="*/ 2211 h 4526"/>
                  <a:gd name="T4" fmla="*/ 4269 w 4526"/>
                  <a:gd name="T5" fmla="*/ 2471 h 4526"/>
                  <a:gd name="T6" fmla="*/ 4119 w 4526"/>
                  <a:gd name="T7" fmla="*/ 2707 h 4526"/>
                  <a:gd name="T8" fmla="*/ 3934 w 4526"/>
                  <a:gd name="T9" fmla="*/ 2913 h 4526"/>
                  <a:gd name="T10" fmla="*/ 3716 w 4526"/>
                  <a:gd name="T11" fmla="*/ 3087 h 4526"/>
                  <a:gd name="T12" fmla="*/ 3471 w 4526"/>
                  <a:gd name="T13" fmla="*/ 3223 h 4526"/>
                  <a:gd name="T14" fmla="*/ 3204 w 4526"/>
                  <a:gd name="T15" fmla="*/ 3316 h 4526"/>
                  <a:gd name="T16" fmla="*/ 2917 w 4526"/>
                  <a:gd name="T17" fmla="*/ 3363 h 4526"/>
                  <a:gd name="T18" fmla="*/ 2662 w 4526"/>
                  <a:gd name="T19" fmla="*/ 3363 h 4526"/>
                  <a:gd name="T20" fmla="*/ 2373 w 4526"/>
                  <a:gd name="T21" fmla="*/ 3315 h 4526"/>
                  <a:gd name="T22" fmla="*/ 2103 w 4526"/>
                  <a:gd name="T23" fmla="*/ 3221 h 4526"/>
                  <a:gd name="T24" fmla="*/ 1857 w 4526"/>
                  <a:gd name="T25" fmla="*/ 3082 h 4526"/>
                  <a:gd name="T26" fmla="*/ 1639 w 4526"/>
                  <a:gd name="T27" fmla="*/ 2907 h 4526"/>
                  <a:gd name="T28" fmla="*/ 1453 w 4526"/>
                  <a:gd name="T29" fmla="*/ 2698 h 4526"/>
                  <a:gd name="T30" fmla="*/ 1304 w 4526"/>
                  <a:gd name="T31" fmla="*/ 2458 h 4526"/>
                  <a:gd name="T32" fmla="*/ 1196 w 4526"/>
                  <a:gd name="T33" fmla="*/ 2196 h 4526"/>
                  <a:gd name="T34" fmla="*/ 1135 w 4526"/>
                  <a:gd name="T35" fmla="*/ 1911 h 4526"/>
                  <a:gd name="T36" fmla="*/ 1122 w 4526"/>
                  <a:gd name="T37" fmla="*/ 1658 h 4526"/>
                  <a:gd name="T38" fmla="*/ 1152 w 4526"/>
                  <a:gd name="T39" fmla="*/ 1378 h 4526"/>
                  <a:gd name="T40" fmla="*/ 1227 w 4526"/>
                  <a:gd name="T41" fmla="*/ 1115 h 4526"/>
                  <a:gd name="T42" fmla="*/ 1342 w 4526"/>
                  <a:gd name="T43" fmla="*/ 871 h 4526"/>
                  <a:gd name="T44" fmla="*/ 1493 w 4526"/>
                  <a:gd name="T45" fmla="*/ 651 h 4526"/>
                  <a:gd name="T46" fmla="*/ 1677 w 4526"/>
                  <a:gd name="T47" fmla="*/ 457 h 4526"/>
                  <a:gd name="T48" fmla="*/ 1889 w 4526"/>
                  <a:gd name="T49" fmla="*/ 296 h 4526"/>
                  <a:gd name="T50" fmla="*/ 2128 w 4526"/>
                  <a:gd name="T51" fmla="*/ 169 h 4526"/>
                  <a:gd name="T52" fmla="*/ 2385 w 4526"/>
                  <a:gd name="T53" fmla="*/ 82 h 4526"/>
                  <a:gd name="T54" fmla="*/ 2661 w 4526"/>
                  <a:gd name="T55" fmla="*/ 37 h 4526"/>
                  <a:gd name="T56" fmla="*/ 2414 w 4526"/>
                  <a:gd name="T57" fmla="*/ 6 h 4526"/>
                  <a:gd name="T58" fmla="*/ 2088 w 4526"/>
                  <a:gd name="T59" fmla="*/ 7 h 4526"/>
                  <a:gd name="T60" fmla="*/ 1697 w 4526"/>
                  <a:gd name="T61" fmla="*/ 72 h 4526"/>
                  <a:gd name="T62" fmla="*/ 1331 w 4526"/>
                  <a:gd name="T63" fmla="*/ 201 h 4526"/>
                  <a:gd name="T64" fmla="*/ 997 w 4526"/>
                  <a:gd name="T65" fmla="*/ 387 h 4526"/>
                  <a:gd name="T66" fmla="*/ 701 w 4526"/>
                  <a:gd name="T67" fmla="*/ 625 h 4526"/>
                  <a:gd name="T68" fmla="*/ 449 w 4526"/>
                  <a:gd name="T69" fmla="*/ 910 h 4526"/>
                  <a:gd name="T70" fmla="*/ 248 w 4526"/>
                  <a:gd name="T71" fmla="*/ 1233 h 4526"/>
                  <a:gd name="T72" fmla="*/ 101 w 4526"/>
                  <a:gd name="T73" fmla="*/ 1590 h 4526"/>
                  <a:gd name="T74" fmla="*/ 18 w 4526"/>
                  <a:gd name="T75" fmla="*/ 1975 h 4526"/>
                  <a:gd name="T76" fmla="*/ 0 w 4526"/>
                  <a:gd name="T77" fmla="*/ 2321 h 4526"/>
                  <a:gd name="T78" fmla="*/ 46 w 4526"/>
                  <a:gd name="T79" fmla="*/ 2720 h 4526"/>
                  <a:gd name="T80" fmla="*/ 157 w 4526"/>
                  <a:gd name="T81" fmla="*/ 3093 h 4526"/>
                  <a:gd name="T82" fmla="*/ 327 w 4526"/>
                  <a:gd name="T83" fmla="*/ 3437 h 4526"/>
                  <a:gd name="T84" fmla="*/ 551 w 4526"/>
                  <a:gd name="T85" fmla="*/ 3744 h 4526"/>
                  <a:gd name="T86" fmla="*/ 823 w 4526"/>
                  <a:gd name="T87" fmla="*/ 4009 h 4526"/>
                  <a:gd name="T88" fmla="*/ 1136 w 4526"/>
                  <a:gd name="T89" fmla="*/ 4227 h 4526"/>
                  <a:gd name="T90" fmla="*/ 1485 w 4526"/>
                  <a:gd name="T91" fmla="*/ 4389 h 4526"/>
                  <a:gd name="T92" fmla="*/ 1862 w 4526"/>
                  <a:gd name="T93" fmla="*/ 4490 h 4526"/>
                  <a:gd name="T94" fmla="*/ 2262 w 4526"/>
                  <a:gd name="T95" fmla="*/ 4526 h 4526"/>
                  <a:gd name="T96" fmla="*/ 2608 w 4526"/>
                  <a:gd name="T97" fmla="*/ 4500 h 4526"/>
                  <a:gd name="T98" fmla="*/ 2989 w 4526"/>
                  <a:gd name="T99" fmla="*/ 4408 h 4526"/>
                  <a:gd name="T100" fmla="*/ 3341 w 4526"/>
                  <a:gd name="T101" fmla="*/ 4253 h 4526"/>
                  <a:gd name="T102" fmla="*/ 3660 w 4526"/>
                  <a:gd name="T103" fmla="*/ 4044 h 4526"/>
                  <a:gd name="T104" fmla="*/ 3937 w 4526"/>
                  <a:gd name="T105" fmla="*/ 3785 h 4526"/>
                  <a:gd name="T106" fmla="*/ 4169 w 4526"/>
                  <a:gd name="T107" fmla="*/ 3483 h 4526"/>
                  <a:gd name="T108" fmla="*/ 4347 w 4526"/>
                  <a:gd name="T109" fmla="*/ 3145 h 4526"/>
                  <a:gd name="T110" fmla="*/ 4467 w 4526"/>
                  <a:gd name="T111" fmla="*/ 2774 h 4526"/>
                  <a:gd name="T112" fmla="*/ 4522 w 4526"/>
                  <a:gd name="T113" fmla="*/ 2380 h 4526"/>
                  <a:gd name="T114" fmla="*/ 4508 w 4526"/>
                  <a:gd name="T115" fmla="*/ 1983 h 4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26" h="4526">
                    <a:moveTo>
                      <a:pt x="4457" y="1720"/>
                    </a:moveTo>
                    <a:lnTo>
                      <a:pt x="4457" y="1720"/>
                    </a:lnTo>
                    <a:lnTo>
                      <a:pt x="4457" y="1763"/>
                    </a:lnTo>
                    <a:lnTo>
                      <a:pt x="4454" y="1806"/>
                    </a:lnTo>
                    <a:lnTo>
                      <a:pt x="4451" y="1847"/>
                    </a:lnTo>
                    <a:lnTo>
                      <a:pt x="4446" y="1888"/>
                    </a:lnTo>
                    <a:lnTo>
                      <a:pt x="4442" y="1930"/>
                    </a:lnTo>
                    <a:lnTo>
                      <a:pt x="4435" y="1971"/>
                    </a:lnTo>
                    <a:lnTo>
                      <a:pt x="4428" y="2013"/>
                    </a:lnTo>
                    <a:lnTo>
                      <a:pt x="4420" y="2053"/>
                    </a:lnTo>
                    <a:lnTo>
                      <a:pt x="4411" y="2093"/>
                    </a:lnTo>
                    <a:lnTo>
                      <a:pt x="4400" y="2132"/>
                    </a:lnTo>
                    <a:lnTo>
                      <a:pt x="4390" y="2172"/>
                    </a:lnTo>
                    <a:lnTo>
                      <a:pt x="4377" y="2211"/>
                    </a:lnTo>
                    <a:lnTo>
                      <a:pt x="4364" y="2249"/>
                    </a:lnTo>
                    <a:lnTo>
                      <a:pt x="4351" y="2288"/>
                    </a:lnTo>
                    <a:lnTo>
                      <a:pt x="4336" y="2325"/>
                    </a:lnTo>
                    <a:lnTo>
                      <a:pt x="4321" y="2363"/>
                    </a:lnTo>
                    <a:lnTo>
                      <a:pt x="4303" y="2398"/>
                    </a:lnTo>
                    <a:lnTo>
                      <a:pt x="4286" y="2435"/>
                    </a:lnTo>
                    <a:lnTo>
                      <a:pt x="4269" y="2471"/>
                    </a:lnTo>
                    <a:lnTo>
                      <a:pt x="4249" y="2507"/>
                    </a:lnTo>
                    <a:lnTo>
                      <a:pt x="4230" y="2541"/>
                    </a:lnTo>
                    <a:lnTo>
                      <a:pt x="4209" y="2576"/>
                    </a:lnTo>
                    <a:lnTo>
                      <a:pt x="4188" y="2609"/>
                    </a:lnTo>
                    <a:lnTo>
                      <a:pt x="4165" y="2643"/>
                    </a:lnTo>
                    <a:lnTo>
                      <a:pt x="4142" y="2675"/>
                    </a:lnTo>
                    <a:lnTo>
                      <a:pt x="4119" y="2707"/>
                    </a:lnTo>
                    <a:lnTo>
                      <a:pt x="4095" y="2738"/>
                    </a:lnTo>
                    <a:lnTo>
                      <a:pt x="4070" y="2769"/>
                    </a:lnTo>
                    <a:lnTo>
                      <a:pt x="4043" y="2799"/>
                    </a:lnTo>
                    <a:lnTo>
                      <a:pt x="4017" y="2829"/>
                    </a:lnTo>
                    <a:lnTo>
                      <a:pt x="3990" y="2858"/>
                    </a:lnTo>
                    <a:lnTo>
                      <a:pt x="3962" y="2885"/>
                    </a:lnTo>
                    <a:lnTo>
                      <a:pt x="3934" y="2913"/>
                    </a:lnTo>
                    <a:lnTo>
                      <a:pt x="3904" y="2941"/>
                    </a:lnTo>
                    <a:lnTo>
                      <a:pt x="3874" y="2966"/>
                    </a:lnTo>
                    <a:lnTo>
                      <a:pt x="3844" y="2993"/>
                    </a:lnTo>
                    <a:lnTo>
                      <a:pt x="3813" y="3017"/>
                    </a:lnTo>
                    <a:lnTo>
                      <a:pt x="3781" y="3041"/>
                    </a:lnTo>
                    <a:lnTo>
                      <a:pt x="3749" y="3064"/>
                    </a:lnTo>
                    <a:lnTo>
                      <a:pt x="3716" y="3087"/>
                    </a:lnTo>
                    <a:lnTo>
                      <a:pt x="3683" y="3109"/>
                    </a:lnTo>
                    <a:lnTo>
                      <a:pt x="3648" y="3130"/>
                    </a:lnTo>
                    <a:lnTo>
                      <a:pt x="3614" y="3150"/>
                    </a:lnTo>
                    <a:lnTo>
                      <a:pt x="3579" y="3169"/>
                    </a:lnTo>
                    <a:lnTo>
                      <a:pt x="3544" y="3188"/>
                    </a:lnTo>
                    <a:lnTo>
                      <a:pt x="3508" y="3206"/>
                    </a:lnTo>
                    <a:lnTo>
                      <a:pt x="3471" y="3223"/>
                    </a:lnTo>
                    <a:lnTo>
                      <a:pt x="3434" y="3239"/>
                    </a:lnTo>
                    <a:lnTo>
                      <a:pt x="3397" y="3254"/>
                    </a:lnTo>
                    <a:lnTo>
                      <a:pt x="3359" y="3268"/>
                    </a:lnTo>
                    <a:lnTo>
                      <a:pt x="3321" y="3282"/>
                    </a:lnTo>
                    <a:lnTo>
                      <a:pt x="3282" y="3294"/>
                    </a:lnTo>
                    <a:lnTo>
                      <a:pt x="3243" y="3306"/>
                    </a:lnTo>
                    <a:lnTo>
                      <a:pt x="3204" y="3316"/>
                    </a:lnTo>
                    <a:lnTo>
                      <a:pt x="3164" y="3325"/>
                    </a:lnTo>
                    <a:lnTo>
                      <a:pt x="3123" y="3334"/>
                    </a:lnTo>
                    <a:lnTo>
                      <a:pt x="3083" y="3341"/>
                    </a:lnTo>
                    <a:lnTo>
                      <a:pt x="3042" y="3348"/>
                    </a:lnTo>
                    <a:lnTo>
                      <a:pt x="3000" y="3354"/>
                    </a:lnTo>
                    <a:lnTo>
                      <a:pt x="2959" y="3359"/>
                    </a:lnTo>
                    <a:lnTo>
                      <a:pt x="2917" y="3363"/>
                    </a:lnTo>
                    <a:lnTo>
                      <a:pt x="2875" y="3366"/>
                    </a:lnTo>
                    <a:lnTo>
                      <a:pt x="2832" y="3367"/>
                    </a:lnTo>
                    <a:lnTo>
                      <a:pt x="2790" y="3368"/>
                    </a:lnTo>
                    <a:lnTo>
                      <a:pt x="2790" y="3368"/>
                    </a:lnTo>
                    <a:lnTo>
                      <a:pt x="2747" y="3367"/>
                    </a:lnTo>
                    <a:lnTo>
                      <a:pt x="2704" y="3366"/>
                    </a:lnTo>
                    <a:lnTo>
                      <a:pt x="2662" y="3363"/>
                    </a:lnTo>
                    <a:lnTo>
                      <a:pt x="2619" y="3359"/>
                    </a:lnTo>
                    <a:lnTo>
                      <a:pt x="2578" y="3354"/>
                    </a:lnTo>
                    <a:lnTo>
                      <a:pt x="2536" y="3348"/>
                    </a:lnTo>
                    <a:lnTo>
                      <a:pt x="2495" y="3341"/>
                    </a:lnTo>
                    <a:lnTo>
                      <a:pt x="2453" y="3333"/>
                    </a:lnTo>
                    <a:lnTo>
                      <a:pt x="2413" y="3325"/>
                    </a:lnTo>
                    <a:lnTo>
                      <a:pt x="2373" y="3315"/>
                    </a:lnTo>
                    <a:lnTo>
                      <a:pt x="2334" y="3305"/>
                    </a:lnTo>
                    <a:lnTo>
                      <a:pt x="2293" y="3293"/>
                    </a:lnTo>
                    <a:lnTo>
                      <a:pt x="2255" y="3280"/>
                    </a:lnTo>
                    <a:lnTo>
                      <a:pt x="2216" y="3267"/>
                    </a:lnTo>
                    <a:lnTo>
                      <a:pt x="2178" y="3252"/>
                    </a:lnTo>
                    <a:lnTo>
                      <a:pt x="2140" y="3237"/>
                    </a:lnTo>
                    <a:lnTo>
                      <a:pt x="2103" y="3221"/>
                    </a:lnTo>
                    <a:lnTo>
                      <a:pt x="2067" y="3203"/>
                    </a:lnTo>
                    <a:lnTo>
                      <a:pt x="2031" y="3185"/>
                    </a:lnTo>
                    <a:lnTo>
                      <a:pt x="1995" y="3166"/>
                    </a:lnTo>
                    <a:lnTo>
                      <a:pt x="1959" y="3147"/>
                    </a:lnTo>
                    <a:lnTo>
                      <a:pt x="1925" y="3126"/>
                    </a:lnTo>
                    <a:lnTo>
                      <a:pt x="1890" y="3104"/>
                    </a:lnTo>
                    <a:lnTo>
                      <a:pt x="1857" y="3082"/>
                    </a:lnTo>
                    <a:lnTo>
                      <a:pt x="1824" y="3059"/>
                    </a:lnTo>
                    <a:lnTo>
                      <a:pt x="1791" y="3036"/>
                    </a:lnTo>
                    <a:lnTo>
                      <a:pt x="1760" y="3012"/>
                    </a:lnTo>
                    <a:lnTo>
                      <a:pt x="1729" y="2987"/>
                    </a:lnTo>
                    <a:lnTo>
                      <a:pt x="1698" y="2960"/>
                    </a:lnTo>
                    <a:lnTo>
                      <a:pt x="1668" y="2934"/>
                    </a:lnTo>
                    <a:lnTo>
                      <a:pt x="1639" y="2907"/>
                    </a:lnTo>
                    <a:lnTo>
                      <a:pt x="1611" y="2879"/>
                    </a:lnTo>
                    <a:lnTo>
                      <a:pt x="1582" y="2850"/>
                    </a:lnTo>
                    <a:lnTo>
                      <a:pt x="1555" y="2821"/>
                    </a:lnTo>
                    <a:lnTo>
                      <a:pt x="1529" y="2791"/>
                    </a:lnTo>
                    <a:lnTo>
                      <a:pt x="1502" y="2760"/>
                    </a:lnTo>
                    <a:lnTo>
                      <a:pt x="1477" y="2729"/>
                    </a:lnTo>
                    <a:lnTo>
                      <a:pt x="1453" y="2698"/>
                    </a:lnTo>
                    <a:lnTo>
                      <a:pt x="1430" y="2666"/>
                    </a:lnTo>
                    <a:lnTo>
                      <a:pt x="1407" y="2632"/>
                    </a:lnTo>
                    <a:lnTo>
                      <a:pt x="1385" y="2599"/>
                    </a:lnTo>
                    <a:lnTo>
                      <a:pt x="1363" y="2564"/>
                    </a:lnTo>
                    <a:lnTo>
                      <a:pt x="1342" y="2530"/>
                    </a:lnTo>
                    <a:lnTo>
                      <a:pt x="1323" y="2494"/>
                    </a:lnTo>
                    <a:lnTo>
                      <a:pt x="1304" y="2458"/>
                    </a:lnTo>
                    <a:lnTo>
                      <a:pt x="1286" y="2423"/>
                    </a:lnTo>
                    <a:lnTo>
                      <a:pt x="1269" y="2386"/>
                    </a:lnTo>
                    <a:lnTo>
                      <a:pt x="1253" y="2349"/>
                    </a:lnTo>
                    <a:lnTo>
                      <a:pt x="1238" y="2311"/>
                    </a:lnTo>
                    <a:lnTo>
                      <a:pt x="1223" y="2273"/>
                    </a:lnTo>
                    <a:lnTo>
                      <a:pt x="1209" y="2234"/>
                    </a:lnTo>
                    <a:lnTo>
                      <a:pt x="1196" y="2196"/>
                    </a:lnTo>
                    <a:lnTo>
                      <a:pt x="1185" y="2156"/>
                    </a:lnTo>
                    <a:lnTo>
                      <a:pt x="1174" y="2116"/>
                    </a:lnTo>
                    <a:lnTo>
                      <a:pt x="1164" y="2076"/>
                    </a:lnTo>
                    <a:lnTo>
                      <a:pt x="1156" y="2036"/>
                    </a:lnTo>
                    <a:lnTo>
                      <a:pt x="1148" y="1994"/>
                    </a:lnTo>
                    <a:lnTo>
                      <a:pt x="1141" y="1953"/>
                    </a:lnTo>
                    <a:lnTo>
                      <a:pt x="1135" y="1911"/>
                    </a:lnTo>
                    <a:lnTo>
                      <a:pt x="1131" y="1870"/>
                    </a:lnTo>
                    <a:lnTo>
                      <a:pt x="1126" y="1827"/>
                    </a:lnTo>
                    <a:lnTo>
                      <a:pt x="1124" y="1785"/>
                    </a:lnTo>
                    <a:lnTo>
                      <a:pt x="1122" y="1742"/>
                    </a:lnTo>
                    <a:lnTo>
                      <a:pt x="1121" y="1700"/>
                    </a:lnTo>
                    <a:lnTo>
                      <a:pt x="1121" y="1700"/>
                    </a:lnTo>
                    <a:lnTo>
                      <a:pt x="1122" y="1658"/>
                    </a:lnTo>
                    <a:lnTo>
                      <a:pt x="1124" y="1618"/>
                    </a:lnTo>
                    <a:lnTo>
                      <a:pt x="1126" y="1576"/>
                    </a:lnTo>
                    <a:lnTo>
                      <a:pt x="1129" y="1536"/>
                    </a:lnTo>
                    <a:lnTo>
                      <a:pt x="1134" y="1497"/>
                    </a:lnTo>
                    <a:lnTo>
                      <a:pt x="1139" y="1457"/>
                    </a:lnTo>
                    <a:lnTo>
                      <a:pt x="1146" y="1418"/>
                    </a:lnTo>
                    <a:lnTo>
                      <a:pt x="1152" y="1378"/>
                    </a:lnTo>
                    <a:lnTo>
                      <a:pt x="1160" y="1339"/>
                    </a:lnTo>
                    <a:lnTo>
                      <a:pt x="1170" y="1301"/>
                    </a:lnTo>
                    <a:lnTo>
                      <a:pt x="1179" y="1263"/>
                    </a:lnTo>
                    <a:lnTo>
                      <a:pt x="1190" y="1225"/>
                    </a:lnTo>
                    <a:lnTo>
                      <a:pt x="1202" y="1188"/>
                    </a:lnTo>
                    <a:lnTo>
                      <a:pt x="1213" y="1152"/>
                    </a:lnTo>
                    <a:lnTo>
                      <a:pt x="1227" y="1115"/>
                    </a:lnTo>
                    <a:lnTo>
                      <a:pt x="1241" y="1079"/>
                    </a:lnTo>
                    <a:lnTo>
                      <a:pt x="1256" y="1043"/>
                    </a:lnTo>
                    <a:lnTo>
                      <a:pt x="1271" y="1008"/>
                    </a:lnTo>
                    <a:lnTo>
                      <a:pt x="1288" y="973"/>
                    </a:lnTo>
                    <a:lnTo>
                      <a:pt x="1306" y="939"/>
                    </a:lnTo>
                    <a:lnTo>
                      <a:pt x="1323" y="904"/>
                    </a:lnTo>
                    <a:lnTo>
                      <a:pt x="1342" y="871"/>
                    </a:lnTo>
                    <a:lnTo>
                      <a:pt x="1361" y="837"/>
                    </a:lnTo>
                    <a:lnTo>
                      <a:pt x="1382" y="805"/>
                    </a:lnTo>
                    <a:lnTo>
                      <a:pt x="1402" y="773"/>
                    </a:lnTo>
                    <a:lnTo>
                      <a:pt x="1424" y="742"/>
                    </a:lnTo>
                    <a:lnTo>
                      <a:pt x="1446" y="711"/>
                    </a:lnTo>
                    <a:lnTo>
                      <a:pt x="1469" y="681"/>
                    </a:lnTo>
                    <a:lnTo>
                      <a:pt x="1493" y="651"/>
                    </a:lnTo>
                    <a:lnTo>
                      <a:pt x="1517" y="621"/>
                    </a:lnTo>
                    <a:lnTo>
                      <a:pt x="1543" y="592"/>
                    </a:lnTo>
                    <a:lnTo>
                      <a:pt x="1568" y="564"/>
                    </a:lnTo>
                    <a:lnTo>
                      <a:pt x="1595" y="537"/>
                    </a:lnTo>
                    <a:lnTo>
                      <a:pt x="1621" y="509"/>
                    </a:lnTo>
                    <a:lnTo>
                      <a:pt x="1649" y="483"/>
                    </a:lnTo>
                    <a:lnTo>
                      <a:pt x="1677" y="457"/>
                    </a:lnTo>
                    <a:lnTo>
                      <a:pt x="1706" y="432"/>
                    </a:lnTo>
                    <a:lnTo>
                      <a:pt x="1735" y="408"/>
                    </a:lnTo>
                    <a:lnTo>
                      <a:pt x="1765" y="384"/>
                    </a:lnTo>
                    <a:lnTo>
                      <a:pt x="1795" y="361"/>
                    </a:lnTo>
                    <a:lnTo>
                      <a:pt x="1826" y="339"/>
                    </a:lnTo>
                    <a:lnTo>
                      <a:pt x="1858" y="317"/>
                    </a:lnTo>
                    <a:lnTo>
                      <a:pt x="1889" y="296"/>
                    </a:lnTo>
                    <a:lnTo>
                      <a:pt x="1923" y="275"/>
                    </a:lnTo>
                    <a:lnTo>
                      <a:pt x="1955" y="256"/>
                    </a:lnTo>
                    <a:lnTo>
                      <a:pt x="1988" y="237"/>
                    </a:lnTo>
                    <a:lnTo>
                      <a:pt x="2023" y="219"/>
                    </a:lnTo>
                    <a:lnTo>
                      <a:pt x="2057" y="202"/>
                    </a:lnTo>
                    <a:lnTo>
                      <a:pt x="2092" y="186"/>
                    </a:lnTo>
                    <a:lnTo>
                      <a:pt x="2128" y="169"/>
                    </a:lnTo>
                    <a:lnTo>
                      <a:pt x="2163" y="155"/>
                    </a:lnTo>
                    <a:lnTo>
                      <a:pt x="2199" y="141"/>
                    </a:lnTo>
                    <a:lnTo>
                      <a:pt x="2236" y="127"/>
                    </a:lnTo>
                    <a:lnTo>
                      <a:pt x="2273" y="114"/>
                    </a:lnTo>
                    <a:lnTo>
                      <a:pt x="2309" y="103"/>
                    </a:lnTo>
                    <a:lnTo>
                      <a:pt x="2347" y="92"/>
                    </a:lnTo>
                    <a:lnTo>
                      <a:pt x="2385" y="82"/>
                    </a:lnTo>
                    <a:lnTo>
                      <a:pt x="2423" y="73"/>
                    </a:lnTo>
                    <a:lnTo>
                      <a:pt x="2463" y="65"/>
                    </a:lnTo>
                    <a:lnTo>
                      <a:pt x="2502" y="58"/>
                    </a:lnTo>
                    <a:lnTo>
                      <a:pt x="2541" y="51"/>
                    </a:lnTo>
                    <a:lnTo>
                      <a:pt x="2580" y="45"/>
                    </a:lnTo>
                    <a:lnTo>
                      <a:pt x="2620" y="41"/>
                    </a:lnTo>
                    <a:lnTo>
                      <a:pt x="2661" y="37"/>
                    </a:lnTo>
                    <a:lnTo>
                      <a:pt x="2662" y="36"/>
                    </a:lnTo>
                    <a:lnTo>
                      <a:pt x="2662" y="36"/>
                    </a:lnTo>
                    <a:lnTo>
                      <a:pt x="2613" y="28"/>
                    </a:lnTo>
                    <a:lnTo>
                      <a:pt x="2564" y="21"/>
                    </a:lnTo>
                    <a:lnTo>
                      <a:pt x="2514" y="15"/>
                    </a:lnTo>
                    <a:lnTo>
                      <a:pt x="2465" y="9"/>
                    </a:lnTo>
                    <a:lnTo>
                      <a:pt x="2414" y="6"/>
                    </a:lnTo>
                    <a:lnTo>
                      <a:pt x="2365" y="3"/>
                    </a:lnTo>
                    <a:lnTo>
                      <a:pt x="2314" y="1"/>
                    </a:lnTo>
                    <a:lnTo>
                      <a:pt x="2262" y="0"/>
                    </a:lnTo>
                    <a:lnTo>
                      <a:pt x="2262" y="0"/>
                    </a:lnTo>
                    <a:lnTo>
                      <a:pt x="2205" y="1"/>
                    </a:lnTo>
                    <a:lnTo>
                      <a:pt x="2146" y="4"/>
                    </a:lnTo>
                    <a:lnTo>
                      <a:pt x="2088" y="7"/>
                    </a:lnTo>
                    <a:lnTo>
                      <a:pt x="2031" y="12"/>
                    </a:lnTo>
                    <a:lnTo>
                      <a:pt x="1974" y="19"/>
                    </a:lnTo>
                    <a:lnTo>
                      <a:pt x="1918" y="27"/>
                    </a:lnTo>
                    <a:lnTo>
                      <a:pt x="1862" y="36"/>
                    </a:lnTo>
                    <a:lnTo>
                      <a:pt x="1806" y="46"/>
                    </a:lnTo>
                    <a:lnTo>
                      <a:pt x="1751" y="58"/>
                    </a:lnTo>
                    <a:lnTo>
                      <a:pt x="1697" y="72"/>
                    </a:lnTo>
                    <a:lnTo>
                      <a:pt x="1643" y="87"/>
                    </a:lnTo>
                    <a:lnTo>
                      <a:pt x="1590" y="102"/>
                    </a:lnTo>
                    <a:lnTo>
                      <a:pt x="1537" y="119"/>
                    </a:lnTo>
                    <a:lnTo>
                      <a:pt x="1485" y="137"/>
                    </a:lnTo>
                    <a:lnTo>
                      <a:pt x="1433" y="157"/>
                    </a:lnTo>
                    <a:lnTo>
                      <a:pt x="1382" y="179"/>
                    </a:lnTo>
                    <a:lnTo>
                      <a:pt x="1331" y="201"/>
                    </a:lnTo>
                    <a:lnTo>
                      <a:pt x="1281" y="224"/>
                    </a:lnTo>
                    <a:lnTo>
                      <a:pt x="1233" y="248"/>
                    </a:lnTo>
                    <a:lnTo>
                      <a:pt x="1184" y="273"/>
                    </a:lnTo>
                    <a:lnTo>
                      <a:pt x="1136" y="300"/>
                    </a:lnTo>
                    <a:lnTo>
                      <a:pt x="1089" y="328"/>
                    </a:lnTo>
                    <a:lnTo>
                      <a:pt x="1043" y="357"/>
                    </a:lnTo>
                    <a:lnTo>
                      <a:pt x="997" y="387"/>
                    </a:lnTo>
                    <a:lnTo>
                      <a:pt x="953" y="418"/>
                    </a:lnTo>
                    <a:lnTo>
                      <a:pt x="908" y="450"/>
                    </a:lnTo>
                    <a:lnTo>
                      <a:pt x="866" y="483"/>
                    </a:lnTo>
                    <a:lnTo>
                      <a:pt x="823" y="517"/>
                    </a:lnTo>
                    <a:lnTo>
                      <a:pt x="782" y="552"/>
                    </a:lnTo>
                    <a:lnTo>
                      <a:pt x="741" y="589"/>
                    </a:lnTo>
                    <a:lnTo>
                      <a:pt x="701" y="625"/>
                    </a:lnTo>
                    <a:lnTo>
                      <a:pt x="663" y="663"/>
                    </a:lnTo>
                    <a:lnTo>
                      <a:pt x="625" y="701"/>
                    </a:lnTo>
                    <a:lnTo>
                      <a:pt x="587" y="742"/>
                    </a:lnTo>
                    <a:lnTo>
                      <a:pt x="551" y="782"/>
                    </a:lnTo>
                    <a:lnTo>
                      <a:pt x="517" y="823"/>
                    </a:lnTo>
                    <a:lnTo>
                      <a:pt x="482" y="866"/>
                    </a:lnTo>
                    <a:lnTo>
                      <a:pt x="449" y="910"/>
                    </a:lnTo>
                    <a:lnTo>
                      <a:pt x="417" y="954"/>
                    </a:lnTo>
                    <a:lnTo>
                      <a:pt x="386" y="998"/>
                    </a:lnTo>
                    <a:lnTo>
                      <a:pt x="356" y="1043"/>
                    </a:lnTo>
                    <a:lnTo>
                      <a:pt x="327" y="1089"/>
                    </a:lnTo>
                    <a:lnTo>
                      <a:pt x="299" y="1137"/>
                    </a:lnTo>
                    <a:lnTo>
                      <a:pt x="273" y="1185"/>
                    </a:lnTo>
                    <a:lnTo>
                      <a:pt x="248" y="1233"/>
                    </a:lnTo>
                    <a:lnTo>
                      <a:pt x="223" y="1282"/>
                    </a:lnTo>
                    <a:lnTo>
                      <a:pt x="199" y="1332"/>
                    </a:lnTo>
                    <a:lnTo>
                      <a:pt x="177" y="1383"/>
                    </a:lnTo>
                    <a:lnTo>
                      <a:pt x="157" y="1434"/>
                    </a:lnTo>
                    <a:lnTo>
                      <a:pt x="137" y="1485"/>
                    </a:lnTo>
                    <a:lnTo>
                      <a:pt x="119" y="1537"/>
                    </a:lnTo>
                    <a:lnTo>
                      <a:pt x="101" y="1590"/>
                    </a:lnTo>
                    <a:lnTo>
                      <a:pt x="85" y="1643"/>
                    </a:lnTo>
                    <a:lnTo>
                      <a:pt x="71" y="1697"/>
                    </a:lnTo>
                    <a:lnTo>
                      <a:pt x="58" y="1753"/>
                    </a:lnTo>
                    <a:lnTo>
                      <a:pt x="46" y="1807"/>
                    </a:lnTo>
                    <a:lnTo>
                      <a:pt x="36" y="1863"/>
                    </a:lnTo>
                    <a:lnTo>
                      <a:pt x="25" y="1918"/>
                    </a:lnTo>
                    <a:lnTo>
                      <a:pt x="18" y="1975"/>
                    </a:lnTo>
                    <a:lnTo>
                      <a:pt x="12" y="2032"/>
                    </a:lnTo>
                    <a:lnTo>
                      <a:pt x="7" y="2089"/>
                    </a:lnTo>
                    <a:lnTo>
                      <a:pt x="2" y="2146"/>
                    </a:lnTo>
                    <a:lnTo>
                      <a:pt x="0" y="2205"/>
                    </a:lnTo>
                    <a:lnTo>
                      <a:pt x="0" y="2264"/>
                    </a:lnTo>
                    <a:lnTo>
                      <a:pt x="0" y="2264"/>
                    </a:lnTo>
                    <a:lnTo>
                      <a:pt x="0" y="2321"/>
                    </a:lnTo>
                    <a:lnTo>
                      <a:pt x="2" y="2380"/>
                    </a:lnTo>
                    <a:lnTo>
                      <a:pt x="7" y="2438"/>
                    </a:lnTo>
                    <a:lnTo>
                      <a:pt x="12" y="2495"/>
                    </a:lnTo>
                    <a:lnTo>
                      <a:pt x="18" y="2552"/>
                    </a:lnTo>
                    <a:lnTo>
                      <a:pt x="25" y="2608"/>
                    </a:lnTo>
                    <a:lnTo>
                      <a:pt x="36" y="2663"/>
                    </a:lnTo>
                    <a:lnTo>
                      <a:pt x="46" y="2720"/>
                    </a:lnTo>
                    <a:lnTo>
                      <a:pt x="58" y="2774"/>
                    </a:lnTo>
                    <a:lnTo>
                      <a:pt x="71" y="2829"/>
                    </a:lnTo>
                    <a:lnTo>
                      <a:pt x="85" y="2883"/>
                    </a:lnTo>
                    <a:lnTo>
                      <a:pt x="101" y="2936"/>
                    </a:lnTo>
                    <a:lnTo>
                      <a:pt x="119" y="2989"/>
                    </a:lnTo>
                    <a:lnTo>
                      <a:pt x="137" y="3041"/>
                    </a:lnTo>
                    <a:lnTo>
                      <a:pt x="157" y="3093"/>
                    </a:lnTo>
                    <a:lnTo>
                      <a:pt x="177" y="3145"/>
                    </a:lnTo>
                    <a:lnTo>
                      <a:pt x="199" y="3194"/>
                    </a:lnTo>
                    <a:lnTo>
                      <a:pt x="223" y="3245"/>
                    </a:lnTo>
                    <a:lnTo>
                      <a:pt x="248" y="3293"/>
                    </a:lnTo>
                    <a:lnTo>
                      <a:pt x="273" y="3341"/>
                    </a:lnTo>
                    <a:lnTo>
                      <a:pt x="299" y="3390"/>
                    </a:lnTo>
                    <a:lnTo>
                      <a:pt x="327" y="3437"/>
                    </a:lnTo>
                    <a:lnTo>
                      <a:pt x="356" y="3483"/>
                    </a:lnTo>
                    <a:lnTo>
                      <a:pt x="386" y="3529"/>
                    </a:lnTo>
                    <a:lnTo>
                      <a:pt x="417" y="3573"/>
                    </a:lnTo>
                    <a:lnTo>
                      <a:pt x="449" y="3618"/>
                    </a:lnTo>
                    <a:lnTo>
                      <a:pt x="482" y="3660"/>
                    </a:lnTo>
                    <a:lnTo>
                      <a:pt x="517" y="3703"/>
                    </a:lnTo>
                    <a:lnTo>
                      <a:pt x="551" y="3744"/>
                    </a:lnTo>
                    <a:lnTo>
                      <a:pt x="587" y="3785"/>
                    </a:lnTo>
                    <a:lnTo>
                      <a:pt x="625" y="3825"/>
                    </a:lnTo>
                    <a:lnTo>
                      <a:pt x="663" y="3863"/>
                    </a:lnTo>
                    <a:lnTo>
                      <a:pt x="701" y="3901"/>
                    </a:lnTo>
                    <a:lnTo>
                      <a:pt x="741" y="3938"/>
                    </a:lnTo>
                    <a:lnTo>
                      <a:pt x="782" y="3975"/>
                    </a:lnTo>
                    <a:lnTo>
                      <a:pt x="823" y="4009"/>
                    </a:lnTo>
                    <a:lnTo>
                      <a:pt x="866" y="4044"/>
                    </a:lnTo>
                    <a:lnTo>
                      <a:pt x="908" y="4077"/>
                    </a:lnTo>
                    <a:lnTo>
                      <a:pt x="953" y="4108"/>
                    </a:lnTo>
                    <a:lnTo>
                      <a:pt x="997" y="4139"/>
                    </a:lnTo>
                    <a:lnTo>
                      <a:pt x="1043" y="4169"/>
                    </a:lnTo>
                    <a:lnTo>
                      <a:pt x="1089" y="4199"/>
                    </a:lnTo>
                    <a:lnTo>
                      <a:pt x="1136" y="4227"/>
                    </a:lnTo>
                    <a:lnTo>
                      <a:pt x="1184" y="4253"/>
                    </a:lnTo>
                    <a:lnTo>
                      <a:pt x="1233" y="4279"/>
                    </a:lnTo>
                    <a:lnTo>
                      <a:pt x="1281" y="4303"/>
                    </a:lnTo>
                    <a:lnTo>
                      <a:pt x="1331" y="4326"/>
                    </a:lnTo>
                    <a:lnTo>
                      <a:pt x="1382" y="4349"/>
                    </a:lnTo>
                    <a:lnTo>
                      <a:pt x="1433" y="4370"/>
                    </a:lnTo>
                    <a:lnTo>
                      <a:pt x="1485" y="4389"/>
                    </a:lnTo>
                    <a:lnTo>
                      <a:pt x="1537" y="4408"/>
                    </a:lnTo>
                    <a:lnTo>
                      <a:pt x="1590" y="4425"/>
                    </a:lnTo>
                    <a:lnTo>
                      <a:pt x="1643" y="4441"/>
                    </a:lnTo>
                    <a:lnTo>
                      <a:pt x="1697" y="4455"/>
                    </a:lnTo>
                    <a:lnTo>
                      <a:pt x="1751" y="4469"/>
                    </a:lnTo>
                    <a:lnTo>
                      <a:pt x="1806" y="4480"/>
                    </a:lnTo>
                    <a:lnTo>
                      <a:pt x="1862" y="4490"/>
                    </a:lnTo>
                    <a:lnTo>
                      <a:pt x="1918" y="4500"/>
                    </a:lnTo>
                    <a:lnTo>
                      <a:pt x="1974" y="4508"/>
                    </a:lnTo>
                    <a:lnTo>
                      <a:pt x="2031" y="4515"/>
                    </a:lnTo>
                    <a:lnTo>
                      <a:pt x="2088" y="4519"/>
                    </a:lnTo>
                    <a:lnTo>
                      <a:pt x="2146" y="4524"/>
                    </a:lnTo>
                    <a:lnTo>
                      <a:pt x="2205" y="4525"/>
                    </a:lnTo>
                    <a:lnTo>
                      <a:pt x="2262" y="4526"/>
                    </a:lnTo>
                    <a:lnTo>
                      <a:pt x="2262" y="4526"/>
                    </a:lnTo>
                    <a:lnTo>
                      <a:pt x="2321" y="4525"/>
                    </a:lnTo>
                    <a:lnTo>
                      <a:pt x="2379" y="4524"/>
                    </a:lnTo>
                    <a:lnTo>
                      <a:pt x="2437" y="4519"/>
                    </a:lnTo>
                    <a:lnTo>
                      <a:pt x="2494" y="4515"/>
                    </a:lnTo>
                    <a:lnTo>
                      <a:pt x="2551" y="4508"/>
                    </a:lnTo>
                    <a:lnTo>
                      <a:pt x="2608" y="4500"/>
                    </a:lnTo>
                    <a:lnTo>
                      <a:pt x="2663" y="4490"/>
                    </a:lnTo>
                    <a:lnTo>
                      <a:pt x="2718" y="4480"/>
                    </a:lnTo>
                    <a:lnTo>
                      <a:pt x="2773" y="4469"/>
                    </a:lnTo>
                    <a:lnTo>
                      <a:pt x="2829" y="4455"/>
                    </a:lnTo>
                    <a:lnTo>
                      <a:pt x="2882" y="4441"/>
                    </a:lnTo>
                    <a:lnTo>
                      <a:pt x="2936" y="4425"/>
                    </a:lnTo>
                    <a:lnTo>
                      <a:pt x="2989" y="4408"/>
                    </a:lnTo>
                    <a:lnTo>
                      <a:pt x="3040" y="4389"/>
                    </a:lnTo>
                    <a:lnTo>
                      <a:pt x="3092" y="4370"/>
                    </a:lnTo>
                    <a:lnTo>
                      <a:pt x="3143" y="4349"/>
                    </a:lnTo>
                    <a:lnTo>
                      <a:pt x="3194" y="4326"/>
                    </a:lnTo>
                    <a:lnTo>
                      <a:pt x="3243" y="4303"/>
                    </a:lnTo>
                    <a:lnTo>
                      <a:pt x="3293" y="4279"/>
                    </a:lnTo>
                    <a:lnTo>
                      <a:pt x="3341" y="4253"/>
                    </a:lnTo>
                    <a:lnTo>
                      <a:pt x="3389" y="4227"/>
                    </a:lnTo>
                    <a:lnTo>
                      <a:pt x="3437" y="4199"/>
                    </a:lnTo>
                    <a:lnTo>
                      <a:pt x="3483" y="4169"/>
                    </a:lnTo>
                    <a:lnTo>
                      <a:pt x="3527" y="4139"/>
                    </a:lnTo>
                    <a:lnTo>
                      <a:pt x="3572" y="4108"/>
                    </a:lnTo>
                    <a:lnTo>
                      <a:pt x="3616" y="4077"/>
                    </a:lnTo>
                    <a:lnTo>
                      <a:pt x="3660" y="4044"/>
                    </a:lnTo>
                    <a:lnTo>
                      <a:pt x="3702" y="4009"/>
                    </a:lnTo>
                    <a:lnTo>
                      <a:pt x="3744" y="3975"/>
                    </a:lnTo>
                    <a:lnTo>
                      <a:pt x="3784" y="3938"/>
                    </a:lnTo>
                    <a:lnTo>
                      <a:pt x="3823" y="3901"/>
                    </a:lnTo>
                    <a:lnTo>
                      <a:pt x="3863" y="3863"/>
                    </a:lnTo>
                    <a:lnTo>
                      <a:pt x="3900" y="3825"/>
                    </a:lnTo>
                    <a:lnTo>
                      <a:pt x="3937" y="3785"/>
                    </a:lnTo>
                    <a:lnTo>
                      <a:pt x="3974" y="3744"/>
                    </a:lnTo>
                    <a:lnTo>
                      <a:pt x="4009" y="3703"/>
                    </a:lnTo>
                    <a:lnTo>
                      <a:pt x="4043" y="3660"/>
                    </a:lnTo>
                    <a:lnTo>
                      <a:pt x="4075" y="3618"/>
                    </a:lnTo>
                    <a:lnTo>
                      <a:pt x="4108" y="3573"/>
                    </a:lnTo>
                    <a:lnTo>
                      <a:pt x="4139" y="3529"/>
                    </a:lnTo>
                    <a:lnTo>
                      <a:pt x="4169" y="3483"/>
                    </a:lnTo>
                    <a:lnTo>
                      <a:pt x="4198" y="3437"/>
                    </a:lnTo>
                    <a:lnTo>
                      <a:pt x="4225" y="3390"/>
                    </a:lnTo>
                    <a:lnTo>
                      <a:pt x="4253" y="3341"/>
                    </a:lnTo>
                    <a:lnTo>
                      <a:pt x="4278" y="3293"/>
                    </a:lnTo>
                    <a:lnTo>
                      <a:pt x="4302" y="3245"/>
                    </a:lnTo>
                    <a:lnTo>
                      <a:pt x="4325" y="3194"/>
                    </a:lnTo>
                    <a:lnTo>
                      <a:pt x="4347" y="3145"/>
                    </a:lnTo>
                    <a:lnTo>
                      <a:pt x="4368" y="3093"/>
                    </a:lnTo>
                    <a:lnTo>
                      <a:pt x="4389" y="3041"/>
                    </a:lnTo>
                    <a:lnTo>
                      <a:pt x="4407" y="2989"/>
                    </a:lnTo>
                    <a:lnTo>
                      <a:pt x="4423" y="2936"/>
                    </a:lnTo>
                    <a:lnTo>
                      <a:pt x="4439" y="2883"/>
                    </a:lnTo>
                    <a:lnTo>
                      <a:pt x="4454" y="2829"/>
                    </a:lnTo>
                    <a:lnTo>
                      <a:pt x="4467" y="2774"/>
                    </a:lnTo>
                    <a:lnTo>
                      <a:pt x="4480" y="2720"/>
                    </a:lnTo>
                    <a:lnTo>
                      <a:pt x="4490" y="2663"/>
                    </a:lnTo>
                    <a:lnTo>
                      <a:pt x="4499" y="2608"/>
                    </a:lnTo>
                    <a:lnTo>
                      <a:pt x="4507" y="2552"/>
                    </a:lnTo>
                    <a:lnTo>
                      <a:pt x="4514" y="2495"/>
                    </a:lnTo>
                    <a:lnTo>
                      <a:pt x="4519" y="2438"/>
                    </a:lnTo>
                    <a:lnTo>
                      <a:pt x="4522" y="2380"/>
                    </a:lnTo>
                    <a:lnTo>
                      <a:pt x="4524" y="2321"/>
                    </a:lnTo>
                    <a:lnTo>
                      <a:pt x="4526" y="2264"/>
                    </a:lnTo>
                    <a:lnTo>
                      <a:pt x="4526" y="2264"/>
                    </a:lnTo>
                    <a:lnTo>
                      <a:pt x="4524" y="2192"/>
                    </a:lnTo>
                    <a:lnTo>
                      <a:pt x="4521" y="2122"/>
                    </a:lnTo>
                    <a:lnTo>
                      <a:pt x="4515" y="2052"/>
                    </a:lnTo>
                    <a:lnTo>
                      <a:pt x="4508" y="1983"/>
                    </a:lnTo>
                    <a:lnTo>
                      <a:pt x="4498" y="1915"/>
                    </a:lnTo>
                    <a:lnTo>
                      <a:pt x="4486" y="1847"/>
                    </a:lnTo>
                    <a:lnTo>
                      <a:pt x="4474" y="1780"/>
                    </a:lnTo>
                    <a:lnTo>
                      <a:pt x="4458" y="1713"/>
                    </a:lnTo>
                    <a:lnTo>
                      <a:pt x="4457" y="1720"/>
                    </a:lnTo>
                    <a:close/>
                  </a:path>
                </a:pathLst>
              </a:custGeom>
              <a:solidFill>
                <a:srgbClr val="3469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774" name="Freeform 326">
                <a:extLst>
                  <a:ext uri="{FF2B5EF4-FFF2-40B4-BE49-F238E27FC236}">
                    <a16:creationId xmlns:a16="http://schemas.microsoft.com/office/drawing/2014/main" id="{4304A720-D0A3-41A2-A819-5AE13244F34B}"/>
                  </a:ext>
                </a:extLst>
              </p:cNvPr>
              <p:cNvSpPr>
                <a:spLocks/>
              </p:cNvSpPr>
              <p:nvPr/>
            </p:nvSpPr>
            <p:spPr bwMode="auto">
              <a:xfrm>
                <a:off x="3603625" y="846138"/>
                <a:ext cx="15875" cy="6350"/>
              </a:xfrm>
              <a:custGeom>
                <a:avLst/>
                <a:gdLst>
                  <a:gd name="T0" fmla="*/ 68 w 68"/>
                  <a:gd name="T1" fmla="*/ 16 h 31"/>
                  <a:gd name="T2" fmla="*/ 68 w 68"/>
                  <a:gd name="T3" fmla="*/ 16 h 31"/>
                  <a:gd name="T4" fmla="*/ 65 w 68"/>
                  <a:gd name="T5" fmla="*/ 12 h 31"/>
                  <a:gd name="T6" fmla="*/ 63 w 68"/>
                  <a:gd name="T7" fmla="*/ 7 h 31"/>
                  <a:gd name="T8" fmla="*/ 58 w 68"/>
                  <a:gd name="T9" fmla="*/ 5 h 31"/>
                  <a:gd name="T10" fmla="*/ 54 w 68"/>
                  <a:gd name="T11" fmla="*/ 3 h 31"/>
                  <a:gd name="T12" fmla="*/ 46 w 68"/>
                  <a:gd name="T13" fmla="*/ 0 h 31"/>
                  <a:gd name="T14" fmla="*/ 38 w 68"/>
                  <a:gd name="T15" fmla="*/ 0 h 31"/>
                  <a:gd name="T16" fmla="*/ 29 w 68"/>
                  <a:gd name="T17" fmla="*/ 3 h 31"/>
                  <a:gd name="T18" fmla="*/ 19 w 68"/>
                  <a:gd name="T19" fmla="*/ 4 h 31"/>
                  <a:gd name="T20" fmla="*/ 10 w 68"/>
                  <a:gd name="T21" fmla="*/ 6 h 31"/>
                  <a:gd name="T22" fmla="*/ 0 w 68"/>
                  <a:gd name="T23" fmla="*/ 7 h 31"/>
                  <a:gd name="T24" fmla="*/ 0 w 68"/>
                  <a:gd name="T25" fmla="*/ 7 h 31"/>
                  <a:gd name="T26" fmla="*/ 8 w 68"/>
                  <a:gd name="T27" fmla="*/ 20 h 31"/>
                  <a:gd name="T28" fmla="*/ 12 w 68"/>
                  <a:gd name="T29" fmla="*/ 24 h 31"/>
                  <a:gd name="T30" fmla="*/ 15 w 68"/>
                  <a:gd name="T31" fmla="*/ 28 h 31"/>
                  <a:gd name="T32" fmla="*/ 19 w 68"/>
                  <a:gd name="T33" fmla="*/ 30 h 31"/>
                  <a:gd name="T34" fmla="*/ 23 w 68"/>
                  <a:gd name="T35" fmla="*/ 31 h 31"/>
                  <a:gd name="T36" fmla="*/ 27 w 68"/>
                  <a:gd name="T37" fmla="*/ 31 h 31"/>
                  <a:gd name="T38" fmla="*/ 30 w 68"/>
                  <a:gd name="T39" fmla="*/ 31 h 31"/>
                  <a:gd name="T40" fmla="*/ 38 w 68"/>
                  <a:gd name="T41" fmla="*/ 29 h 31"/>
                  <a:gd name="T42" fmla="*/ 46 w 68"/>
                  <a:gd name="T43" fmla="*/ 24 h 31"/>
                  <a:gd name="T44" fmla="*/ 57 w 68"/>
                  <a:gd name="T45" fmla="*/ 20 h 31"/>
                  <a:gd name="T46" fmla="*/ 68 w 68"/>
                  <a:gd name="T47" fmla="*/ 16 h 31"/>
                  <a:gd name="T48" fmla="*/ 68 w 68"/>
                  <a:gd name="T49"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31">
                    <a:moveTo>
                      <a:pt x="68" y="16"/>
                    </a:moveTo>
                    <a:lnTo>
                      <a:pt x="68" y="16"/>
                    </a:lnTo>
                    <a:lnTo>
                      <a:pt x="65" y="12"/>
                    </a:lnTo>
                    <a:lnTo>
                      <a:pt x="63" y="7"/>
                    </a:lnTo>
                    <a:lnTo>
                      <a:pt x="58" y="5"/>
                    </a:lnTo>
                    <a:lnTo>
                      <a:pt x="54" y="3"/>
                    </a:lnTo>
                    <a:lnTo>
                      <a:pt x="46" y="0"/>
                    </a:lnTo>
                    <a:lnTo>
                      <a:pt x="38" y="0"/>
                    </a:lnTo>
                    <a:lnTo>
                      <a:pt x="29" y="3"/>
                    </a:lnTo>
                    <a:lnTo>
                      <a:pt x="19" y="4"/>
                    </a:lnTo>
                    <a:lnTo>
                      <a:pt x="10" y="6"/>
                    </a:lnTo>
                    <a:lnTo>
                      <a:pt x="0" y="7"/>
                    </a:lnTo>
                    <a:lnTo>
                      <a:pt x="0" y="7"/>
                    </a:lnTo>
                    <a:lnTo>
                      <a:pt x="8" y="20"/>
                    </a:lnTo>
                    <a:lnTo>
                      <a:pt x="12" y="24"/>
                    </a:lnTo>
                    <a:lnTo>
                      <a:pt x="15" y="28"/>
                    </a:lnTo>
                    <a:lnTo>
                      <a:pt x="19" y="30"/>
                    </a:lnTo>
                    <a:lnTo>
                      <a:pt x="23" y="31"/>
                    </a:lnTo>
                    <a:lnTo>
                      <a:pt x="27" y="31"/>
                    </a:lnTo>
                    <a:lnTo>
                      <a:pt x="30" y="31"/>
                    </a:lnTo>
                    <a:lnTo>
                      <a:pt x="38" y="29"/>
                    </a:lnTo>
                    <a:lnTo>
                      <a:pt x="46" y="24"/>
                    </a:lnTo>
                    <a:lnTo>
                      <a:pt x="57" y="20"/>
                    </a:lnTo>
                    <a:lnTo>
                      <a:pt x="68" y="16"/>
                    </a:lnTo>
                    <a:lnTo>
                      <a:pt x="68"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775" name="Line 327">
                <a:extLst>
                  <a:ext uri="{FF2B5EF4-FFF2-40B4-BE49-F238E27FC236}">
                    <a16:creationId xmlns:a16="http://schemas.microsoft.com/office/drawing/2014/main" id="{0F233B1C-AD48-4C4E-AC6F-337AD387A8EF}"/>
                  </a:ext>
                </a:extLst>
              </p:cNvPr>
              <p:cNvSpPr>
                <a:spLocks noChangeShapeType="1"/>
              </p:cNvSpPr>
              <p:nvPr/>
            </p:nvSpPr>
            <p:spPr bwMode="auto">
              <a:xfrm>
                <a:off x="3375025" y="9144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776" name="Line 328">
                <a:extLst>
                  <a:ext uri="{FF2B5EF4-FFF2-40B4-BE49-F238E27FC236}">
                    <a16:creationId xmlns:a16="http://schemas.microsoft.com/office/drawing/2014/main" id="{9317B3CB-E8DB-4E5E-A575-7A37CF0AE1F4}"/>
                  </a:ext>
                </a:extLst>
              </p:cNvPr>
              <p:cNvSpPr>
                <a:spLocks noChangeShapeType="1"/>
              </p:cNvSpPr>
              <p:nvPr/>
            </p:nvSpPr>
            <p:spPr bwMode="auto">
              <a:xfrm>
                <a:off x="3375025" y="9144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777" name="Line 329">
                <a:extLst>
                  <a:ext uri="{FF2B5EF4-FFF2-40B4-BE49-F238E27FC236}">
                    <a16:creationId xmlns:a16="http://schemas.microsoft.com/office/drawing/2014/main" id="{56DF54DC-7D44-42D7-9580-F7A1750FA7F1}"/>
                  </a:ext>
                </a:extLst>
              </p:cNvPr>
              <p:cNvSpPr>
                <a:spLocks noChangeShapeType="1"/>
              </p:cNvSpPr>
              <p:nvPr/>
            </p:nvSpPr>
            <p:spPr bwMode="auto">
              <a:xfrm>
                <a:off x="3379788" y="90805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15" name="Line 330">
                <a:extLst>
                  <a:ext uri="{FF2B5EF4-FFF2-40B4-BE49-F238E27FC236}">
                    <a16:creationId xmlns:a16="http://schemas.microsoft.com/office/drawing/2014/main" id="{74B04721-C023-454C-8F8F-25C31231D26E}"/>
                  </a:ext>
                </a:extLst>
              </p:cNvPr>
              <p:cNvSpPr>
                <a:spLocks noChangeShapeType="1"/>
              </p:cNvSpPr>
              <p:nvPr/>
            </p:nvSpPr>
            <p:spPr bwMode="auto">
              <a:xfrm>
                <a:off x="3379788" y="90805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16" name="Freeform 331">
                <a:extLst>
                  <a:ext uri="{FF2B5EF4-FFF2-40B4-BE49-F238E27FC236}">
                    <a16:creationId xmlns:a16="http://schemas.microsoft.com/office/drawing/2014/main" id="{E91CF5C0-B1C8-456C-A7E0-49C4193E26F3}"/>
                  </a:ext>
                </a:extLst>
              </p:cNvPr>
              <p:cNvSpPr>
                <a:spLocks/>
              </p:cNvSpPr>
              <p:nvPr/>
            </p:nvSpPr>
            <p:spPr bwMode="auto">
              <a:xfrm>
                <a:off x="3106738" y="365125"/>
                <a:ext cx="211138" cy="204788"/>
              </a:xfrm>
              <a:custGeom>
                <a:avLst/>
                <a:gdLst>
                  <a:gd name="T0" fmla="*/ 725 w 932"/>
                  <a:gd name="T1" fmla="*/ 590 h 905"/>
                  <a:gd name="T2" fmla="*/ 756 w 932"/>
                  <a:gd name="T3" fmla="*/ 561 h 905"/>
                  <a:gd name="T4" fmla="*/ 731 w 932"/>
                  <a:gd name="T5" fmla="*/ 511 h 905"/>
                  <a:gd name="T6" fmla="*/ 674 w 932"/>
                  <a:gd name="T7" fmla="*/ 456 h 905"/>
                  <a:gd name="T8" fmla="*/ 684 w 932"/>
                  <a:gd name="T9" fmla="*/ 438 h 905"/>
                  <a:gd name="T10" fmla="*/ 755 w 932"/>
                  <a:gd name="T11" fmla="*/ 457 h 905"/>
                  <a:gd name="T12" fmla="*/ 791 w 932"/>
                  <a:gd name="T13" fmla="*/ 430 h 905"/>
                  <a:gd name="T14" fmla="*/ 832 w 932"/>
                  <a:gd name="T15" fmla="*/ 323 h 905"/>
                  <a:gd name="T16" fmla="*/ 828 w 932"/>
                  <a:gd name="T17" fmla="*/ 286 h 905"/>
                  <a:gd name="T18" fmla="*/ 795 w 932"/>
                  <a:gd name="T19" fmla="*/ 267 h 905"/>
                  <a:gd name="T20" fmla="*/ 818 w 932"/>
                  <a:gd name="T21" fmla="*/ 228 h 905"/>
                  <a:gd name="T22" fmla="*/ 932 w 932"/>
                  <a:gd name="T23" fmla="*/ 140 h 905"/>
                  <a:gd name="T24" fmla="*/ 862 w 932"/>
                  <a:gd name="T25" fmla="*/ 106 h 905"/>
                  <a:gd name="T26" fmla="*/ 786 w 932"/>
                  <a:gd name="T27" fmla="*/ 130 h 905"/>
                  <a:gd name="T28" fmla="*/ 756 w 932"/>
                  <a:gd name="T29" fmla="*/ 94 h 905"/>
                  <a:gd name="T30" fmla="*/ 725 w 932"/>
                  <a:gd name="T31" fmla="*/ 122 h 905"/>
                  <a:gd name="T32" fmla="*/ 695 w 932"/>
                  <a:gd name="T33" fmla="*/ 103 h 905"/>
                  <a:gd name="T34" fmla="*/ 642 w 932"/>
                  <a:gd name="T35" fmla="*/ 96 h 905"/>
                  <a:gd name="T36" fmla="*/ 722 w 932"/>
                  <a:gd name="T37" fmla="*/ 80 h 905"/>
                  <a:gd name="T38" fmla="*/ 738 w 932"/>
                  <a:gd name="T39" fmla="*/ 38 h 905"/>
                  <a:gd name="T40" fmla="*/ 597 w 932"/>
                  <a:gd name="T41" fmla="*/ 6 h 905"/>
                  <a:gd name="T42" fmla="*/ 540 w 932"/>
                  <a:gd name="T43" fmla="*/ 22 h 905"/>
                  <a:gd name="T44" fmla="*/ 502 w 932"/>
                  <a:gd name="T45" fmla="*/ 24 h 905"/>
                  <a:gd name="T46" fmla="*/ 499 w 932"/>
                  <a:gd name="T47" fmla="*/ 0 h 905"/>
                  <a:gd name="T48" fmla="*/ 441 w 932"/>
                  <a:gd name="T49" fmla="*/ 23 h 905"/>
                  <a:gd name="T50" fmla="*/ 466 w 932"/>
                  <a:gd name="T51" fmla="*/ 62 h 905"/>
                  <a:gd name="T52" fmla="*/ 423 w 932"/>
                  <a:gd name="T53" fmla="*/ 56 h 905"/>
                  <a:gd name="T54" fmla="*/ 360 w 932"/>
                  <a:gd name="T55" fmla="*/ 28 h 905"/>
                  <a:gd name="T56" fmla="*/ 343 w 932"/>
                  <a:gd name="T57" fmla="*/ 64 h 905"/>
                  <a:gd name="T58" fmla="*/ 315 w 932"/>
                  <a:gd name="T59" fmla="*/ 53 h 905"/>
                  <a:gd name="T60" fmla="*/ 296 w 932"/>
                  <a:gd name="T61" fmla="*/ 28 h 905"/>
                  <a:gd name="T62" fmla="*/ 192 w 932"/>
                  <a:gd name="T63" fmla="*/ 30 h 905"/>
                  <a:gd name="T64" fmla="*/ 138 w 932"/>
                  <a:gd name="T65" fmla="*/ 58 h 905"/>
                  <a:gd name="T66" fmla="*/ 103 w 932"/>
                  <a:gd name="T67" fmla="*/ 82 h 905"/>
                  <a:gd name="T68" fmla="*/ 94 w 932"/>
                  <a:gd name="T69" fmla="*/ 117 h 905"/>
                  <a:gd name="T70" fmla="*/ 35 w 932"/>
                  <a:gd name="T71" fmla="*/ 111 h 905"/>
                  <a:gd name="T72" fmla="*/ 12 w 932"/>
                  <a:gd name="T73" fmla="*/ 140 h 905"/>
                  <a:gd name="T74" fmla="*/ 40 w 932"/>
                  <a:gd name="T75" fmla="*/ 167 h 905"/>
                  <a:gd name="T76" fmla="*/ 79 w 932"/>
                  <a:gd name="T77" fmla="*/ 183 h 905"/>
                  <a:gd name="T78" fmla="*/ 21 w 932"/>
                  <a:gd name="T79" fmla="*/ 182 h 905"/>
                  <a:gd name="T80" fmla="*/ 2 w 932"/>
                  <a:gd name="T81" fmla="*/ 198 h 905"/>
                  <a:gd name="T82" fmla="*/ 42 w 932"/>
                  <a:gd name="T83" fmla="*/ 272 h 905"/>
                  <a:gd name="T84" fmla="*/ 97 w 932"/>
                  <a:gd name="T85" fmla="*/ 265 h 905"/>
                  <a:gd name="T86" fmla="*/ 175 w 932"/>
                  <a:gd name="T87" fmla="*/ 326 h 905"/>
                  <a:gd name="T88" fmla="*/ 190 w 932"/>
                  <a:gd name="T89" fmla="*/ 427 h 905"/>
                  <a:gd name="T90" fmla="*/ 221 w 932"/>
                  <a:gd name="T91" fmla="*/ 462 h 905"/>
                  <a:gd name="T92" fmla="*/ 238 w 932"/>
                  <a:gd name="T93" fmla="*/ 490 h 905"/>
                  <a:gd name="T94" fmla="*/ 219 w 932"/>
                  <a:gd name="T95" fmla="*/ 525 h 905"/>
                  <a:gd name="T96" fmla="*/ 191 w 932"/>
                  <a:gd name="T97" fmla="*/ 610 h 905"/>
                  <a:gd name="T98" fmla="*/ 176 w 932"/>
                  <a:gd name="T99" fmla="*/ 692 h 905"/>
                  <a:gd name="T100" fmla="*/ 176 w 932"/>
                  <a:gd name="T101" fmla="*/ 750 h 905"/>
                  <a:gd name="T102" fmla="*/ 191 w 932"/>
                  <a:gd name="T103" fmla="*/ 811 h 905"/>
                  <a:gd name="T104" fmla="*/ 232 w 932"/>
                  <a:gd name="T105" fmla="*/ 857 h 905"/>
                  <a:gd name="T106" fmla="*/ 265 w 932"/>
                  <a:gd name="T107" fmla="*/ 853 h 905"/>
                  <a:gd name="T108" fmla="*/ 300 w 932"/>
                  <a:gd name="T109" fmla="*/ 905 h 905"/>
                  <a:gd name="T110" fmla="*/ 327 w 932"/>
                  <a:gd name="T111" fmla="*/ 882 h 905"/>
                  <a:gd name="T112" fmla="*/ 354 w 932"/>
                  <a:gd name="T113" fmla="*/ 799 h 905"/>
                  <a:gd name="T114" fmla="*/ 428 w 932"/>
                  <a:gd name="T115" fmla="*/ 738 h 905"/>
                  <a:gd name="T116" fmla="*/ 554 w 932"/>
                  <a:gd name="T117" fmla="*/ 643 h 905"/>
                  <a:gd name="T118" fmla="*/ 611 w 932"/>
                  <a:gd name="T119" fmla="*/ 648 h 905"/>
                  <a:gd name="T120" fmla="*/ 680 w 932"/>
                  <a:gd name="T121" fmla="*/ 610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32" h="905">
                    <a:moveTo>
                      <a:pt x="680" y="610"/>
                    </a:moveTo>
                    <a:lnTo>
                      <a:pt x="680" y="610"/>
                    </a:lnTo>
                    <a:lnTo>
                      <a:pt x="687" y="605"/>
                    </a:lnTo>
                    <a:lnTo>
                      <a:pt x="696" y="600"/>
                    </a:lnTo>
                    <a:lnTo>
                      <a:pt x="706" y="597"/>
                    </a:lnTo>
                    <a:lnTo>
                      <a:pt x="716" y="593"/>
                    </a:lnTo>
                    <a:lnTo>
                      <a:pt x="725" y="590"/>
                    </a:lnTo>
                    <a:lnTo>
                      <a:pt x="734" y="586"/>
                    </a:lnTo>
                    <a:lnTo>
                      <a:pt x="742" y="582"/>
                    </a:lnTo>
                    <a:lnTo>
                      <a:pt x="749" y="576"/>
                    </a:lnTo>
                    <a:lnTo>
                      <a:pt x="749" y="576"/>
                    </a:lnTo>
                    <a:lnTo>
                      <a:pt x="753" y="571"/>
                    </a:lnTo>
                    <a:lnTo>
                      <a:pt x="755" y="566"/>
                    </a:lnTo>
                    <a:lnTo>
                      <a:pt x="756" y="561"/>
                    </a:lnTo>
                    <a:lnTo>
                      <a:pt x="757" y="556"/>
                    </a:lnTo>
                    <a:lnTo>
                      <a:pt x="757" y="547"/>
                    </a:lnTo>
                    <a:lnTo>
                      <a:pt x="755" y="539"/>
                    </a:lnTo>
                    <a:lnTo>
                      <a:pt x="750" y="531"/>
                    </a:lnTo>
                    <a:lnTo>
                      <a:pt x="745" y="524"/>
                    </a:lnTo>
                    <a:lnTo>
                      <a:pt x="731" y="511"/>
                    </a:lnTo>
                    <a:lnTo>
                      <a:pt x="731" y="511"/>
                    </a:lnTo>
                    <a:lnTo>
                      <a:pt x="721" y="503"/>
                    </a:lnTo>
                    <a:lnTo>
                      <a:pt x="712" y="498"/>
                    </a:lnTo>
                    <a:lnTo>
                      <a:pt x="697" y="488"/>
                    </a:lnTo>
                    <a:lnTo>
                      <a:pt x="691" y="484"/>
                    </a:lnTo>
                    <a:lnTo>
                      <a:pt x="685" y="477"/>
                    </a:lnTo>
                    <a:lnTo>
                      <a:pt x="679" y="469"/>
                    </a:lnTo>
                    <a:lnTo>
                      <a:pt x="674" y="456"/>
                    </a:lnTo>
                    <a:lnTo>
                      <a:pt x="674" y="456"/>
                    </a:lnTo>
                    <a:lnTo>
                      <a:pt x="673" y="452"/>
                    </a:lnTo>
                    <a:lnTo>
                      <a:pt x="673" y="447"/>
                    </a:lnTo>
                    <a:lnTo>
                      <a:pt x="674" y="444"/>
                    </a:lnTo>
                    <a:lnTo>
                      <a:pt x="677" y="441"/>
                    </a:lnTo>
                    <a:lnTo>
                      <a:pt x="680" y="439"/>
                    </a:lnTo>
                    <a:lnTo>
                      <a:pt x="684" y="438"/>
                    </a:lnTo>
                    <a:lnTo>
                      <a:pt x="694" y="437"/>
                    </a:lnTo>
                    <a:lnTo>
                      <a:pt x="706" y="438"/>
                    </a:lnTo>
                    <a:lnTo>
                      <a:pt x="716" y="440"/>
                    </a:lnTo>
                    <a:lnTo>
                      <a:pt x="725" y="442"/>
                    </a:lnTo>
                    <a:lnTo>
                      <a:pt x="731" y="445"/>
                    </a:lnTo>
                    <a:lnTo>
                      <a:pt x="731" y="445"/>
                    </a:lnTo>
                    <a:lnTo>
                      <a:pt x="755" y="457"/>
                    </a:lnTo>
                    <a:lnTo>
                      <a:pt x="762" y="460"/>
                    </a:lnTo>
                    <a:lnTo>
                      <a:pt x="769" y="460"/>
                    </a:lnTo>
                    <a:lnTo>
                      <a:pt x="775" y="458"/>
                    </a:lnTo>
                    <a:lnTo>
                      <a:pt x="782" y="453"/>
                    </a:lnTo>
                    <a:lnTo>
                      <a:pt x="800" y="434"/>
                    </a:lnTo>
                    <a:lnTo>
                      <a:pt x="800" y="434"/>
                    </a:lnTo>
                    <a:lnTo>
                      <a:pt x="791" y="430"/>
                    </a:lnTo>
                    <a:lnTo>
                      <a:pt x="783" y="424"/>
                    </a:lnTo>
                    <a:lnTo>
                      <a:pt x="773" y="418"/>
                    </a:lnTo>
                    <a:lnTo>
                      <a:pt x="764" y="415"/>
                    </a:lnTo>
                    <a:lnTo>
                      <a:pt x="764" y="415"/>
                    </a:lnTo>
                    <a:lnTo>
                      <a:pt x="829" y="327"/>
                    </a:lnTo>
                    <a:lnTo>
                      <a:pt x="829" y="327"/>
                    </a:lnTo>
                    <a:lnTo>
                      <a:pt x="832" y="323"/>
                    </a:lnTo>
                    <a:lnTo>
                      <a:pt x="833" y="318"/>
                    </a:lnTo>
                    <a:lnTo>
                      <a:pt x="834" y="312"/>
                    </a:lnTo>
                    <a:lnTo>
                      <a:pt x="834" y="307"/>
                    </a:lnTo>
                    <a:lnTo>
                      <a:pt x="834" y="302"/>
                    </a:lnTo>
                    <a:lnTo>
                      <a:pt x="833" y="296"/>
                    </a:lnTo>
                    <a:lnTo>
                      <a:pt x="831" y="290"/>
                    </a:lnTo>
                    <a:lnTo>
                      <a:pt x="828" y="286"/>
                    </a:lnTo>
                    <a:lnTo>
                      <a:pt x="825" y="281"/>
                    </a:lnTo>
                    <a:lnTo>
                      <a:pt x="821" y="278"/>
                    </a:lnTo>
                    <a:lnTo>
                      <a:pt x="816" y="274"/>
                    </a:lnTo>
                    <a:lnTo>
                      <a:pt x="811" y="271"/>
                    </a:lnTo>
                    <a:lnTo>
                      <a:pt x="807" y="269"/>
                    </a:lnTo>
                    <a:lnTo>
                      <a:pt x="801" y="267"/>
                    </a:lnTo>
                    <a:lnTo>
                      <a:pt x="795" y="267"/>
                    </a:lnTo>
                    <a:lnTo>
                      <a:pt x="790" y="269"/>
                    </a:lnTo>
                    <a:lnTo>
                      <a:pt x="790" y="269"/>
                    </a:lnTo>
                    <a:lnTo>
                      <a:pt x="792" y="262"/>
                    </a:lnTo>
                    <a:lnTo>
                      <a:pt x="795" y="254"/>
                    </a:lnTo>
                    <a:lnTo>
                      <a:pt x="801" y="245"/>
                    </a:lnTo>
                    <a:lnTo>
                      <a:pt x="809" y="236"/>
                    </a:lnTo>
                    <a:lnTo>
                      <a:pt x="818" y="228"/>
                    </a:lnTo>
                    <a:lnTo>
                      <a:pt x="829" y="219"/>
                    </a:lnTo>
                    <a:lnTo>
                      <a:pt x="852" y="199"/>
                    </a:lnTo>
                    <a:lnTo>
                      <a:pt x="876" y="182"/>
                    </a:lnTo>
                    <a:lnTo>
                      <a:pt x="899" y="165"/>
                    </a:lnTo>
                    <a:lnTo>
                      <a:pt x="919" y="151"/>
                    </a:lnTo>
                    <a:lnTo>
                      <a:pt x="932" y="140"/>
                    </a:lnTo>
                    <a:lnTo>
                      <a:pt x="932" y="140"/>
                    </a:lnTo>
                    <a:lnTo>
                      <a:pt x="924" y="130"/>
                    </a:lnTo>
                    <a:lnTo>
                      <a:pt x="914" y="123"/>
                    </a:lnTo>
                    <a:lnTo>
                      <a:pt x="905" y="118"/>
                    </a:lnTo>
                    <a:lnTo>
                      <a:pt x="894" y="113"/>
                    </a:lnTo>
                    <a:lnTo>
                      <a:pt x="883" y="110"/>
                    </a:lnTo>
                    <a:lnTo>
                      <a:pt x="872" y="107"/>
                    </a:lnTo>
                    <a:lnTo>
                      <a:pt x="862" y="106"/>
                    </a:lnTo>
                    <a:lnTo>
                      <a:pt x="851" y="106"/>
                    </a:lnTo>
                    <a:lnTo>
                      <a:pt x="839" y="107"/>
                    </a:lnTo>
                    <a:lnTo>
                      <a:pt x="829" y="110"/>
                    </a:lnTo>
                    <a:lnTo>
                      <a:pt x="817" y="113"/>
                    </a:lnTo>
                    <a:lnTo>
                      <a:pt x="807" y="118"/>
                    </a:lnTo>
                    <a:lnTo>
                      <a:pt x="796" y="123"/>
                    </a:lnTo>
                    <a:lnTo>
                      <a:pt x="786" y="130"/>
                    </a:lnTo>
                    <a:lnTo>
                      <a:pt x="777" y="138"/>
                    </a:lnTo>
                    <a:lnTo>
                      <a:pt x="768" y="146"/>
                    </a:lnTo>
                    <a:lnTo>
                      <a:pt x="768" y="146"/>
                    </a:lnTo>
                    <a:lnTo>
                      <a:pt x="787" y="102"/>
                    </a:lnTo>
                    <a:lnTo>
                      <a:pt x="787" y="102"/>
                    </a:lnTo>
                    <a:lnTo>
                      <a:pt x="765" y="96"/>
                    </a:lnTo>
                    <a:lnTo>
                      <a:pt x="756" y="94"/>
                    </a:lnTo>
                    <a:lnTo>
                      <a:pt x="749" y="94"/>
                    </a:lnTo>
                    <a:lnTo>
                      <a:pt x="746" y="95"/>
                    </a:lnTo>
                    <a:lnTo>
                      <a:pt x="742" y="96"/>
                    </a:lnTo>
                    <a:lnTo>
                      <a:pt x="739" y="98"/>
                    </a:lnTo>
                    <a:lnTo>
                      <a:pt x="737" y="102"/>
                    </a:lnTo>
                    <a:lnTo>
                      <a:pt x="731" y="110"/>
                    </a:lnTo>
                    <a:lnTo>
                      <a:pt x="725" y="122"/>
                    </a:lnTo>
                    <a:lnTo>
                      <a:pt x="725" y="122"/>
                    </a:lnTo>
                    <a:lnTo>
                      <a:pt x="722" y="117"/>
                    </a:lnTo>
                    <a:lnTo>
                      <a:pt x="717" y="112"/>
                    </a:lnTo>
                    <a:lnTo>
                      <a:pt x="711" y="108"/>
                    </a:lnTo>
                    <a:lnTo>
                      <a:pt x="707" y="106"/>
                    </a:lnTo>
                    <a:lnTo>
                      <a:pt x="701" y="104"/>
                    </a:lnTo>
                    <a:lnTo>
                      <a:pt x="695" y="103"/>
                    </a:lnTo>
                    <a:lnTo>
                      <a:pt x="684" y="103"/>
                    </a:lnTo>
                    <a:lnTo>
                      <a:pt x="671" y="104"/>
                    </a:lnTo>
                    <a:lnTo>
                      <a:pt x="658" y="105"/>
                    </a:lnTo>
                    <a:lnTo>
                      <a:pt x="633" y="110"/>
                    </a:lnTo>
                    <a:lnTo>
                      <a:pt x="633" y="110"/>
                    </a:lnTo>
                    <a:lnTo>
                      <a:pt x="636" y="102"/>
                    </a:lnTo>
                    <a:lnTo>
                      <a:pt x="642" y="96"/>
                    </a:lnTo>
                    <a:lnTo>
                      <a:pt x="648" y="91"/>
                    </a:lnTo>
                    <a:lnTo>
                      <a:pt x="656" y="87"/>
                    </a:lnTo>
                    <a:lnTo>
                      <a:pt x="665" y="84"/>
                    </a:lnTo>
                    <a:lnTo>
                      <a:pt x="676" y="82"/>
                    </a:lnTo>
                    <a:lnTo>
                      <a:pt x="687" y="81"/>
                    </a:lnTo>
                    <a:lnTo>
                      <a:pt x="697" y="80"/>
                    </a:lnTo>
                    <a:lnTo>
                      <a:pt x="722" y="80"/>
                    </a:lnTo>
                    <a:lnTo>
                      <a:pt x="744" y="81"/>
                    </a:lnTo>
                    <a:lnTo>
                      <a:pt x="764" y="82"/>
                    </a:lnTo>
                    <a:lnTo>
                      <a:pt x="780" y="83"/>
                    </a:lnTo>
                    <a:lnTo>
                      <a:pt x="780" y="83"/>
                    </a:lnTo>
                    <a:lnTo>
                      <a:pt x="765" y="64"/>
                    </a:lnTo>
                    <a:lnTo>
                      <a:pt x="752" y="49"/>
                    </a:lnTo>
                    <a:lnTo>
                      <a:pt x="738" y="38"/>
                    </a:lnTo>
                    <a:lnTo>
                      <a:pt x="724" y="31"/>
                    </a:lnTo>
                    <a:lnTo>
                      <a:pt x="710" y="26"/>
                    </a:lnTo>
                    <a:lnTo>
                      <a:pt x="693" y="21"/>
                    </a:lnTo>
                    <a:lnTo>
                      <a:pt x="647" y="13"/>
                    </a:lnTo>
                    <a:lnTo>
                      <a:pt x="647" y="13"/>
                    </a:lnTo>
                    <a:lnTo>
                      <a:pt x="617" y="7"/>
                    </a:lnTo>
                    <a:lnTo>
                      <a:pt x="597" y="6"/>
                    </a:lnTo>
                    <a:lnTo>
                      <a:pt x="578" y="5"/>
                    </a:lnTo>
                    <a:lnTo>
                      <a:pt x="569" y="6"/>
                    </a:lnTo>
                    <a:lnTo>
                      <a:pt x="560" y="7"/>
                    </a:lnTo>
                    <a:lnTo>
                      <a:pt x="552" y="9"/>
                    </a:lnTo>
                    <a:lnTo>
                      <a:pt x="547" y="13"/>
                    </a:lnTo>
                    <a:lnTo>
                      <a:pt x="542" y="18"/>
                    </a:lnTo>
                    <a:lnTo>
                      <a:pt x="540" y="22"/>
                    </a:lnTo>
                    <a:lnTo>
                      <a:pt x="540" y="29"/>
                    </a:lnTo>
                    <a:lnTo>
                      <a:pt x="542" y="38"/>
                    </a:lnTo>
                    <a:lnTo>
                      <a:pt x="542" y="38"/>
                    </a:lnTo>
                    <a:lnTo>
                      <a:pt x="524" y="34"/>
                    </a:lnTo>
                    <a:lnTo>
                      <a:pt x="516" y="31"/>
                    </a:lnTo>
                    <a:lnTo>
                      <a:pt x="508" y="28"/>
                    </a:lnTo>
                    <a:lnTo>
                      <a:pt x="502" y="24"/>
                    </a:lnTo>
                    <a:lnTo>
                      <a:pt x="499" y="21"/>
                    </a:lnTo>
                    <a:lnTo>
                      <a:pt x="498" y="19"/>
                    </a:lnTo>
                    <a:lnTo>
                      <a:pt x="497" y="15"/>
                    </a:lnTo>
                    <a:lnTo>
                      <a:pt x="497" y="11"/>
                    </a:lnTo>
                    <a:lnTo>
                      <a:pt x="497" y="6"/>
                    </a:lnTo>
                    <a:lnTo>
                      <a:pt x="499" y="0"/>
                    </a:lnTo>
                    <a:lnTo>
                      <a:pt x="499" y="0"/>
                    </a:lnTo>
                    <a:lnTo>
                      <a:pt x="478" y="4"/>
                    </a:lnTo>
                    <a:lnTo>
                      <a:pt x="467" y="6"/>
                    </a:lnTo>
                    <a:lnTo>
                      <a:pt x="458" y="9"/>
                    </a:lnTo>
                    <a:lnTo>
                      <a:pt x="450" y="13"/>
                    </a:lnTo>
                    <a:lnTo>
                      <a:pt x="447" y="16"/>
                    </a:lnTo>
                    <a:lnTo>
                      <a:pt x="444" y="20"/>
                    </a:lnTo>
                    <a:lnTo>
                      <a:pt x="441" y="23"/>
                    </a:lnTo>
                    <a:lnTo>
                      <a:pt x="438" y="29"/>
                    </a:lnTo>
                    <a:lnTo>
                      <a:pt x="437" y="34"/>
                    </a:lnTo>
                    <a:lnTo>
                      <a:pt x="436" y="41"/>
                    </a:lnTo>
                    <a:lnTo>
                      <a:pt x="436" y="41"/>
                    </a:lnTo>
                    <a:lnTo>
                      <a:pt x="474" y="54"/>
                    </a:lnTo>
                    <a:lnTo>
                      <a:pt x="474" y="54"/>
                    </a:lnTo>
                    <a:lnTo>
                      <a:pt x="466" y="62"/>
                    </a:lnTo>
                    <a:lnTo>
                      <a:pt x="459" y="68"/>
                    </a:lnTo>
                    <a:lnTo>
                      <a:pt x="453" y="72"/>
                    </a:lnTo>
                    <a:lnTo>
                      <a:pt x="448" y="73"/>
                    </a:lnTo>
                    <a:lnTo>
                      <a:pt x="442" y="72"/>
                    </a:lnTo>
                    <a:lnTo>
                      <a:pt x="436" y="68"/>
                    </a:lnTo>
                    <a:lnTo>
                      <a:pt x="430" y="62"/>
                    </a:lnTo>
                    <a:lnTo>
                      <a:pt x="423" y="56"/>
                    </a:lnTo>
                    <a:lnTo>
                      <a:pt x="423" y="56"/>
                    </a:lnTo>
                    <a:lnTo>
                      <a:pt x="417" y="49"/>
                    </a:lnTo>
                    <a:lnTo>
                      <a:pt x="410" y="44"/>
                    </a:lnTo>
                    <a:lnTo>
                      <a:pt x="403" y="41"/>
                    </a:lnTo>
                    <a:lnTo>
                      <a:pt x="395" y="37"/>
                    </a:lnTo>
                    <a:lnTo>
                      <a:pt x="379" y="32"/>
                    </a:lnTo>
                    <a:lnTo>
                      <a:pt x="360" y="28"/>
                    </a:lnTo>
                    <a:lnTo>
                      <a:pt x="360" y="28"/>
                    </a:lnTo>
                    <a:lnTo>
                      <a:pt x="360" y="44"/>
                    </a:lnTo>
                    <a:lnTo>
                      <a:pt x="359" y="50"/>
                    </a:lnTo>
                    <a:lnTo>
                      <a:pt x="357" y="56"/>
                    </a:lnTo>
                    <a:lnTo>
                      <a:pt x="353" y="59"/>
                    </a:lnTo>
                    <a:lnTo>
                      <a:pt x="349" y="61"/>
                    </a:lnTo>
                    <a:lnTo>
                      <a:pt x="343" y="64"/>
                    </a:lnTo>
                    <a:lnTo>
                      <a:pt x="336" y="64"/>
                    </a:lnTo>
                    <a:lnTo>
                      <a:pt x="336" y="64"/>
                    </a:lnTo>
                    <a:lnTo>
                      <a:pt x="330" y="64"/>
                    </a:lnTo>
                    <a:lnTo>
                      <a:pt x="326" y="62"/>
                    </a:lnTo>
                    <a:lnTo>
                      <a:pt x="322" y="60"/>
                    </a:lnTo>
                    <a:lnTo>
                      <a:pt x="320" y="58"/>
                    </a:lnTo>
                    <a:lnTo>
                      <a:pt x="315" y="53"/>
                    </a:lnTo>
                    <a:lnTo>
                      <a:pt x="312" y="46"/>
                    </a:lnTo>
                    <a:lnTo>
                      <a:pt x="310" y="41"/>
                    </a:lnTo>
                    <a:lnTo>
                      <a:pt x="307" y="35"/>
                    </a:lnTo>
                    <a:lnTo>
                      <a:pt x="303" y="30"/>
                    </a:lnTo>
                    <a:lnTo>
                      <a:pt x="300" y="28"/>
                    </a:lnTo>
                    <a:lnTo>
                      <a:pt x="296" y="28"/>
                    </a:lnTo>
                    <a:lnTo>
                      <a:pt x="296" y="28"/>
                    </a:lnTo>
                    <a:lnTo>
                      <a:pt x="263" y="22"/>
                    </a:lnTo>
                    <a:lnTo>
                      <a:pt x="244" y="20"/>
                    </a:lnTo>
                    <a:lnTo>
                      <a:pt x="224" y="20"/>
                    </a:lnTo>
                    <a:lnTo>
                      <a:pt x="215" y="21"/>
                    </a:lnTo>
                    <a:lnTo>
                      <a:pt x="206" y="23"/>
                    </a:lnTo>
                    <a:lnTo>
                      <a:pt x="199" y="26"/>
                    </a:lnTo>
                    <a:lnTo>
                      <a:pt x="192" y="30"/>
                    </a:lnTo>
                    <a:lnTo>
                      <a:pt x="186" y="35"/>
                    </a:lnTo>
                    <a:lnTo>
                      <a:pt x="183" y="42"/>
                    </a:lnTo>
                    <a:lnTo>
                      <a:pt x="181" y="51"/>
                    </a:lnTo>
                    <a:lnTo>
                      <a:pt x="181" y="61"/>
                    </a:lnTo>
                    <a:lnTo>
                      <a:pt x="181" y="61"/>
                    </a:lnTo>
                    <a:lnTo>
                      <a:pt x="152" y="58"/>
                    </a:lnTo>
                    <a:lnTo>
                      <a:pt x="138" y="58"/>
                    </a:lnTo>
                    <a:lnTo>
                      <a:pt x="126" y="59"/>
                    </a:lnTo>
                    <a:lnTo>
                      <a:pt x="121" y="60"/>
                    </a:lnTo>
                    <a:lnTo>
                      <a:pt x="116" y="64"/>
                    </a:lnTo>
                    <a:lnTo>
                      <a:pt x="111" y="66"/>
                    </a:lnTo>
                    <a:lnTo>
                      <a:pt x="108" y="70"/>
                    </a:lnTo>
                    <a:lnTo>
                      <a:pt x="106" y="76"/>
                    </a:lnTo>
                    <a:lnTo>
                      <a:pt x="103" y="82"/>
                    </a:lnTo>
                    <a:lnTo>
                      <a:pt x="102" y="89"/>
                    </a:lnTo>
                    <a:lnTo>
                      <a:pt x="102" y="98"/>
                    </a:lnTo>
                    <a:lnTo>
                      <a:pt x="102" y="98"/>
                    </a:lnTo>
                    <a:lnTo>
                      <a:pt x="102" y="104"/>
                    </a:lnTo>
                    <a:lnTo>
                      <a:pt x="100" y="110"/>
                    </a:lnTo>
                    <a:lnTo>
                      <a:pt x="98" y="113"/>
                    </a:lnTo>
                    <a:lnTo>
                      <a:pt x="94" y="117"/>
                    </a:lnTo>
                    <a:lnTo>
                      <a:pt x="90" y="119"/>
                    </a:lnTo>
                    <a:lnTo>
                      <a:pt x="84" y="121"/>
                    </a:lnTo>
                    <a:lnTo>
                      <a:pt x="78" y="122"/>
                    </a:lnTo>
                    <a:lnTo>
                      <a:pt x="72" y="122"/>
                    </a:lnTo>
                    <a:lnTo>
                      <a:pt x="59" y="121"/>
                    </a:lnTo>
                    <a:lnTo>
                      <a:pt x="46" y="117"/>
                    </a:lnTo>
                    <a:lnTo>
                      <a:pt x="35" y="111"/>
                    </a:lnTo>
                    <a:lnTo>
                      <a:pt x="31" y="108"/>
                    </a:lnTo>
                    <a:lnTo>
                      <a:pt x="26" y="104"/>
                    </a:lnTo>
                    <a:lnTo>
                      <a:pt x="26" y="104"/>
                    </a:lnTo>
                    <a:lnTo>
                      <a:pt x="21" y="114"/>
                    </a:lnTo>
                    <a:lnTo>
                      <a:pt x="17" y="123"/>
                    </a:lnTo>
                    <a:lnTo>
                      <a:pt x="14" y="133"/>
                    </a:lnTo>
                    <a:lnTo>
                      <a:pt x="12" y="140"/>
                    </a:lnTo>
                    <a:lnTo>
                      <a:pt x="14" y="145"/>
                    </a:lnTo>
                    <a:lnTo>
                      <a:pt x="15" y="151"/>
                    </a:lnTo>
                    <a:lnTo>
                      <a:pt x="18" y="156"/>
                    </a:lnTo>
                    <a:lnTo>
                      <a:pt x="22" y="160"/>
                    </a:lnTo>
                    <a:lnTo>
                      <a:pt x="27" y="163"/>
                    </a:lnTo>
                    <a:lnTo>
                      <a:pt x="33" y="165"/>
                    </a:lnTo>
                    <a:lnTo>
                      <a:pt x="40" y="167"/>
                    </a:lnTo>
                    <a:lnTo>
                      <a:pt x="48" y="168"/>
                    </a:lnTo>
                    <a:lnTo>
                      <a:pt x="65" y="168"/>
                    </a:lnTo>
                    <a:lnTo>
                      <a:pt x="86" y="167"/>
                    </a:lnTo>
                    <a:lnTo>
                      <a:pt x="86" y="167"/>
                    </a:lnTo>
                    <a:lnTo>
                      <a:pt x="85" y="174"/>
                    </a:lnTo>
                    <a:lnTo>
                      <a:pt x="83" y="180"/>
                    </a:lnTo>
                    <a:lnTo>
                      <a:pt x="79" y="183"/>
                    </a:lnTo>
                    <a:lnTo>
                      <a:pt x="75" y="186"/>
                    </a:lnTo>
                    <a:lnTo>
                      <a:pt x="70" y="186"/>
                    </a:lnTo>
                    <a:lnTo>
                      <a:pt x="63" y="186"/>
                    </a:lnTo>
                    <a:lnTo>
                      <a:pt x="49" y="184"/>
                    </a:lnTo>
                    <a:lnTo>
                      <a:pt x="34" y="182"/>
                    </a:lnTo>
                    <a:lnTo>
                      <a:pt x="27" y="182"/>
                    </a:lnTo>
                    <a:lnTo>
                      <a:pt x="21" y="182"/>
                    </a:lnTo>
                    <a:lnTo>
                      <a:pt x="14" y="183"/>
                    </a:lnTo>
                    <a:lnTo>
                      <a:pt x="9" y="187"/>
                    </a:lnTo>
                    <a:lnTo>
                      <a:pt x="4" y="191"/>
                    </a:lnTo>
                    <a:lnTo>
                      <a:pt x="0" y="197"/>
                    </a:lnTo>
                    <a:lnTo>
                      <a:pt x="0" y="197"/>
                    </a:lnTo>
                    <a:lnTo>
                      <a:pt x="1" y="197"/>
                    </a:lnTo>
                    <a:lnTo>
                      <a:pt x="2" y="198"/>
                    </a:lnTo>
                    <a:lnTo>
                      <a:pt x="4" y="204"/>
                    </a:lnTo>
                    <a:lnTo>
                      <a:pt x="11" y="221"/>
                    </a:lnTo>
                    <a:lnTo>
                      <a:pt x="23" y="250"/>
                    </a:lnTo>
                    <a:lnTo>
                      <a:pt x="23" y="250"/>
                    </a:lnTo>
                    <a:lnTo>
                      <a:pt x="31" y="262"/>
                    </a:lnTo>
                    <a:lnTo>
                      <a:pt x="38" y="269"/>
                    </a:lnTo>
                    <a:lnTo>
                      <a:pt x="42" y="272"/>
                    </a:lnTo>
                    <a:lnTo>
                      <a:pt x="47" y="273"/>
                    </a:lnTo>
                    <a:lnTo>
                      <a:pt x="53" y="272"/>
                    </a:lnTo>
                    <a:lnTo>
                      <a:pt x="59" y="271"/>
                    </a:lnTo>
                    <a:lnTo>
                      <a:pt x="68" y="269"/>
                    </a:lnTo>
                    <a:lnTo>
                      <a:pt x="80" y="266"/>
                    </a:lnTo>
                    <a:lnTo>
                      <a:pt x="80" y="266"/>
                    </a:lnTo>
                    <a:lnTo>
                      <a:pt x="97" y="265"/>
                    </a:lnTo>
                    <a:lnTo>
                      <a:pt x="111" y="266"/>
                    </a:lnTo>
                    <a:lnTo>
                      <a:pt x="125" y="271"/>
                    </a:lnTo>
                    <a:lnTo>
                      <a:pt x="138" y="277"/>
                    </a:lnTo>
                    <a:lnTo>
                      <a:pt x="149" y="286"/>
                    </a:lnTo>
                    <a:lnTo>
                      <a:pt x="160" y="297"/>
                    </a:lnTo>
                    <a:lnTo>
                      <a:pt x="168" y="310"/>
                    </a:lnTo>
                    <a:lnTo>
                      <a:pt x="175" y="326"/>
                    </a:lnTo>
                    <a:lnTo>
                      <a:pt x="175" y="326"/>
                    </a:lnTo>
                    <a:lnTo>
                      <a:pt x="183" y="349"/>
                    </a:lnTo>
                    <a:lnTo>
                      <a:pt x="190" y="368"/>
                    </a:lnTo>
                    <a:lnTo>
                      <a:pt x="193" y="384"/>
                    </a:lnTo>
                    <a:lnTo>
                      <a:pt x="196" y="399"/>
                    </a:lnTo>
                    <a:lnTo>
                      <a:pt x="194" y="412"/>
                    </a:lnTo>
                    <a:lnTo>
                      <a:pt x="190" y="427"/>
                    </a:lnTo>
                    <a:lnTo>
                      <a:pt x="183" y="446"/>
                    </a:lnTo>
                    <a:lnTo>
                      <a:pt x="173" y="468"/>
                    </a:lnTo>
                    <a:lnTo>
                      <a:pt x="173" y="468"/>
                    </a:lnTo>
                    <a:lnTo>
                      <a:pt x="193" y="464"/>
                    </a:lnTo>
                    <a:lnTo>
                      <a:pt x="205" y="462"/>
                    </a:lnTo>
                    <a:lnTo>
                      <a:pt x="216" y="462"/>
                    </a:lnTo>
                    <a:lnTo>
                      <a:pt x="221" y="462"/>
                    </a:lnTo>
                    <a:lnTo>
                      <a:pt x="225" y="464"/>
                    </a:lnTo>
                    <a:lnTo>
                      <a:pt x="230" y="465"/>
                    </a:lnTo>
                    <a:lnTo>
                      <a:pt x="232" y="469"/>
                    </a:lnTo>
                    <a:lnTo>
                      <a:pt x="236" y="472"/>
                    </a:lnTo>
                    <a:lnTo>
                      <a:pt x="237" y="477"/>
                    </a:lnTo>
                    <a:lnTo>
                      <a:pt x="238" y="483"/>
                    </a:lnTo>
                    <a:lnTo>
                      <a:pt x="238" y="490"/>
                    </a:lnTo>
                    <a:lnTo>
                      <a:pt x="238" y="490"/>
                    </a:lnTo>
                    <a:lnTo>
                      <a:pt x="184" y="492"/>
                    </a:lnTo>
                    <a:lnTo>
                      <a:pt x="184" y="492"/>
                    </a:lnTo>
                    <a:lnTo>
                      <a:pt x="198" y="506"/>
                    </a:lnTo>
                    <a:lnTo>
                      <a:pt x="204" y="513"/>
                    </a:lnTo>
                    <a:lnTo>
                      <a:pt x="210" y="520"/>
                    </a:lnTo>
                    <a:lnTo>
                      <a:pt x="219" y="525"/>
                    </a:lnTo>
                    <a:lnTo>
                      <a:pt x="225" y="529"/>
                    </a:lnTo>
                    <a:lnTo>
                      <a:pt x="235" y="532"/>
                    </a:lnTo>
                    <a:lnTo>
                      <a:pt x="245" y="532"/>
                    </a:lnTo>
                    <a:lnTo>
                      <a:pt x="245" y="532"/>
                    </a:lnTo>
                    <a:lnTo>
                      <a:pt x="210" y="578"/>
                    </a:lnTo>
                    <a:lnTo>
                      <a:pt x="197" y="599"/>
                    </a:lnTo>
                    <a:lnTo>
                      <a:pt x="191" y="610"/>
                    </a:lnTo>
                    <a:lnTo>
                      <a:pt x="185" y="621"/>
                    </a:lnTo>
                    <a:lnTo>
                      <a:pt x="181" y="631"/>
                    </a:lnTo>
                    <a:lnTo>
                      <a:pt x="178" y="643"/>
                    </a:lnTo>
                    <a:lnTo>
                      <a:pt x="176" y="654"/>
                    </a:lnTo>
                    <a:lnTo>
                      <a:pt x="175" y="667"/>
                    </a:lnTo>
                    <a:lnTo>
                      <a:pt x="175" y="680"/>
                    </a:lnTo>
                    <a:lnTo>
                      <a:pt x="176" y="692"/>
                    </a:lnTo>
                    <a:lnTo>
                      <a:pt x="178" y="707"/>
                    </a:lnTo>
                    <a:lnTo>
                      <a:pt x="183" y="722"/>
                    </a:lnTo>
                    <a:lnTo>
                      <a:pt x="183" y="722"/>
                    </a:lnTo>
                    <a:lnTo>
                      <a:pt x="184" y="727"/>
                    </a:lnTo>
                    <a:lnTo>
                      <a:pt x="183" y="731"/>
                    </a:lnTo>
                    <a:lnTo>
                      <a:pt x="179" y="741"/>
                    </a:lnTo>
                    <a:lnTo>
                      <a:pt x="176" y="750"/>
                    </a:lnTo>
                    <a:lnTo>
                      <a:pt x="175" y="754"/>
                    </a:lnTo>
                    <a:lnTo>
                      <a:pt x="176" y="759"/>
                    </a:lnTo>
                    <a:lnTo>
                      <a:pt x="176" y="759"/>
                    </a:lnTo>
                    <a:lnTo>
                      <a:pt x="179" y="774"/>
                    </a:lnTo>
                    <a:lnTo>
                      <a:pt x="183" y="789"/>
                    </a:lnTo>
                    <a:lnTo>
                      <a:pt x="187" y="804"/>
                    </a:lnTo>
                    <a:lnTo>
                      <a:pt x="191" y="811"/>
                    </a:lnTo>
                    <a:lnTo>
                      <a:pt x="194" y="817"/>
                    </a:lnTo>
                    <a:lnTo>
                      <a:pt x="194" y="817"/>
                    </a:lnTo>
                    <a:lnTo>
                      <a:pt x="200" y="827"/>
                    </a:lnTo>
                    <a:lnTo>
                      <a:pt x="207" y="836"/>
                    </a:lnTo>
                    <a:lnTo>
                      <a:pt x="215" y="845"/>
                    </a:lnTo>
                    <a:lnTo>
                      <a:pt x="223" y="852"/>
                    </a:lnTo>
                    <a:lnTo>
                      <a:pt x="232" y="857"/>
                    </a:lnTo>
                    <a:lnTo>
                      <a:pt x="237" y="858"/>
                    </a:lnTo>
                    <a:lnTo>
                      <a:pt x="243" y="859"/>
                    </a:lnTo>
                    <a:lnTo>
                      <a:pt x="247" y="859"/>
                    </a:lnTo>
                    <a:lnTo>
                      <a:pt x="253" y="858"/>
                    </a:lnTo>
                    <a:lnTo>
                      <a:pt x="259" y="856"/>
                    </a:lnTo>
                    <a:lnTo>
                      <a:pt x="265" y="853"/>
                    </a:lnTo>
                    <a:lnTo>
                      <a:pt x="265" y="853"/>
                    </a:lnTo>
                    <a:lnTo>
                      <a:pt x="263" y="867"/>
                    </a:lnTo>
                    <a:lnTo>
                      <a:pt x="265" y="878"/>
                    </a:lnTo>
                    <a:lnTo>
                      <a:pt x="268" y="887"/>
                    </a:lnTo>
                    <a:lnTo>
                      <a:pt x="274" y="895"/>
                    </a:lnTo>
                    <a:lnTo>
                      <a:pt x="281" y="899"/>
                    </a:lnTo>
                    <a:lnTo>
                      <a:pt x="290" y="904"/>
                    </a:lnTo>
                    <a:lnTo>
                      <a:pt x="300" y="905"/>
                    </a:lnTo>
                    <a:lnTo>
                      <a:pt x="313" y="905"/>
                    </a:lnTo>
                    <a:lnTo>
                      <a:pt x="313" y="905"/>
                    </a:lnTo>
                    <a:lnTo>
                      <a:pt x="315" y="904"/>
                    </a:lnTo>
                    <a:lnTo>
                      <a:pt x="319" y="902"/>
                    </a:lnTo>
                    <a:lnTo>
                      <a:pt x="321" y="898"/>
                    </a:lnTo>
                    <a:lnTo>
                      <a:pt x="323" y="894"/>
                    </a:lnTo>
                    <a:lnTo>
                      <a:pt x="327" y="882"/>
                    </a:lnTo>
                    <a:lnTo>
                      <a:pt x="330" y="870"/>
                    </a:lnTo>
                    <a:lnTo>
                      <a:pt x="335" y="842"/>
                    </a:lnTo>
                    <a:lnTo>
                      <a:pt x="337" y="832"/>
                    </a:lnTo>
                    <a:lnTo>
                      <a:pt x="341" y="823"/>
                    </a:lnTo>
                    <a:lnTo>
                      <a:pt x="341" y="823"/>
                    </a:lnTo>
                    <a:lnTo>
                      <a:pt x="347" y="811"/>
                    </a:lnTo>
                    <a:lnTo>
                      <a:pt x="354" y="799"/>
                    </a:lnTo>
                    <a:lnTo>
                      <a:pt x="362" y="789"/>
                    </a:lnTo>
                    <a:lnTo>
                      <a:pt x="371" y="780"/>
                    </a:lnTo>
                    <a:lnTo>
                      <a:pt x="379" y="772"/>
                    </a:lnTo>
                    <a:lnTo>
                      <a:pt x="388" y="764"/>
                    </a:lnTo>
                    <a:lnTo>
                      <a:pt x="397" y="757"/>
                    </a:lnTo>
                    <a:lnTo>
                      <a:pt x="407" y="750"/>
                    </a:lnTo>
                    <a:lnTo>
                      <a:pt x="428" y="738"/>
                    </a:lnTo>
                    <a:lnTo>
                      <a:pt x="450" y="728"/>
                    </a:lnTo>
                    <a:lnTo>
                      <a:pt x="498" y="708"/>
                    </a:lnTo>
                    <a:lnTo>
                      <a:pt x="498" y="708"/>
                    </a:lnTo>
                    <a:lnTo>
                      <a:pt x="549" y="646"/>
                    </a:lnTo>
                    <a:lnTo>
                      <a:pt x="549" y="646"/>
                    </a:lnTo>
                    <a:lnTo>
                      <a:pt x="551" y="644"/>
                    </a:lnTo>
                    <a:lnTo>
                      <a:pt x="554" y="643"/>
                    </a:lnTo>
                    <a:lnTo>
                      <a:pt x="559" y="642"/>
                    </a:lnTo>
                    <a:lnTo>
                      <a:pt x="567" y="642"/>
                    </a:lnTo>
                    <a:lnTo>
                      <a:pt x="577" y="643"/>
                    </a:lnTo>
                    <a:lnTo>
                      <a:pt x="595" y="647"/>
                    </a:lnTo>
                    <a:lnTo>
                      <a:pt x="603" y="648"/>
                    </a:lnTo>
                    <a:lnTo>
                      <a:pt x="611" y="648"/>
                    </a:lnTo>
                    <a:lnTo>
                      <a:pt x="611" y="648"/>
                    </a:lnTo>
                    <a:lnTo>
                      <a:pt x="624" y="648"/>
                    </a:lnTo>
                    <a:lnTo>
                      <a:pt x="634" y="646"/>
                    </a:lnTo>
                    <a:lnTo>
                      <a:pt x="642" y="644"/>
                    </a:lnTo>
                    <a:lnTo>
                      <a:pt x="650" y="639"/>
                    </a:lnTo>
                    <a:lnTo>
                      <a:pt x="656" y="635"/>
                    </a:lnTo>
                    <a:lnTo>
                      <a:pt x="663" y="628"/>
                    </a:lnTo>
                    <a:lnTo>
                      <a:pt x="680" y="610"/>
                    </a:lnTo>
                    <a:lnTo>
                      <a:pt x="680" y="6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17" name="Freeform 332">
                <a:extLst>
                  <a:ext uri="{FF2B5EF4-FFF2-40B4-BE49-F238E27FC236}">
                    <a16:creationId xmlns:a16="http://schemas.microsoft.com/office/drawing/2014/main" id="{3DD3EED5-25A9-489B-AC42-A9F28374E1CB}"/>
                  </a:ext>
                </a:extLst>
              </p:cNvPr>
              <p:cNvSpPr>
                <a:spLocks/>
              </p:cNvSpPr>
              <p:nvPr/>
            </p:nvSpPr>
            <p:spPr bwMode="auto">
              <a:xfrm>
                <a:off x="3267075" y="468313"/>
                <a:ext cx="12700" cy="11113"/>
              </a:xfrm>
              <a:custGeom>
                <a:avLst/>
                <a:gdLst>
                  <a:gd name="T0" fmla="*/ 9 w 59"/>
                  <a:gd name="T1" fmla="*/ 29 h 52"/>
                  <a:gd name="T2" fmla="*/ 9 w 59"/>
                  <a:gd name="T3" fmla="*/ 29 h 52"/>
                  <a:gd name="T4" fmla="*/ 57 w 59"/>
                  <a:gd name="T5" fmla="*/ 52 h 52"/>
                  <a:gd name="T6" fmla="*/ 57 w 59"/>
                  <a:gd name="T7" fmla="*/ 52 h 52"/>
                  <a:gd name="T8" fmla="*/ 59 w 59"/>
                  <a:gd name="T9" fmla="*/ 30 h 52"/>
                  <a:gd name="T10" fmla="*/ 59 w 59"/>
                  <a:gd name="T11" fmla="*/ 22 h 52"/>
                  <a:gd name="T12" fmla="*/ 58 w 59"/>
                  <a:gd name="T13" fmla="*/ 16 h 52"/>
                  <a:gd name="T14" fmla="*/ 55 w 59"/>
                  <a:gd name="T15" fmla="*/ 12 h 52"/>
                  <a:gd name="T16" fmla="*/ 51 w 59"/>
                  <a:gd name="T17" fmla="*/ 8 h 52"/>
                  <a:gd name="T18" fmla="*/ 43 w 59"/>
                  <a:gd name="T19" fmla="*/ 5 h 52"/>
                  <a:gd name="T20" fmla="*/ 31 w 59"/>
                  <a:gd name="T21" fmla="*/ 1 h 52"/>
                  <a:gd name="T22" fmla="*/ 31 w 59"/>
                  <a:gd name="T23" fmla="*/ 1 h 52"/>
                  <a:gd name="T24" fmla="*/ 23 w 59"/>
                  <a:gd name="T25" fmla="*/ 0 h 52"/>
                  <a:gd name="T26" fmla="*/ 16 w 59"/>
                  <a:gd name="T27" fmla="*/ 0 h 52"/>
                  <a:gd name="T28" fmla="*/ 9 w 59"/>
                  <a:gd name="T29" fmla="*/ 2 h 52"/>
                  <a:gd name="T30" fmla="*/ 5 w 59"/>
                  <a:gd name="T31" fmla="*/ 5 h 52"/>
                  <a:gd name="T32" fmla="*/ 1 w 59"/>
                  <a:gd name="T33" fmla="*/ 9 h 52"/>
                  <a:gd name="T34" fmla="*/ 0 w 59"/>
                  <a:gd name="T35" fmla="*/ 13 h 52"/>
                  <a:gd name="T36" fmla="*/ 0 w 59"/>
                  <a:gd name="T37" fmla="*/ 15 h 52"/>
                  <a:gd name="T38" fmla="*/ 1 w 59"/>
                  <a:gd name="T39" fmla="*/ 19 h 52"/>
                  <a:gd name="T40" fmla="*/ 4 w 59"/>
                  <a:gd name="T41" fmla="*/ 21 h 52"/>
                  <a:gd name="T42" fmla="*/ 9 w 59"/>
                  <a:gd name="T43" fmla="*/ 29 h 52"/>
                  <a:gd name="T44" fmla="*/ 9 w 59"/>
                  <a:gd name="T45" fmla="*/ 2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 h="52">
                    <a:moveTo>
                      <a:pt x="9" y="29"/>
                    </a:moveTo>
                    <a:lnTo>
                      <a:pt x="9" y="29"/>
                    </a:lnTo>
                    <a:lnTo>
                      <a:pt x="57" y="52"/>
                    </a:lnTo>
                    <a:lnTo>
                      <a:pt x="57" y="52"/>
                    </a:lnTo>
                    <a:lnTo>
                      <a:pt x="59" y="30"/>
                    </a:lnTo>
                    <a:lnTo>
                      <a:pt x="59" y="22"/>
                    </a:lnTo>
                    <a:lnTo>
                      <a:pt x="58" y="16"/>
                    </a:lnTo>
                    <a:lnTo>
                      <a:pt x="55" y="12"/>
                    </a:lnTo>
                    <a:lnTo>
                      <a:pt x="51" y="8"/>
                    </a:lnTo>
                    <a:lnTo>
                      <a:pt x="43" y="5"/>
                    </a:lnTo>
                    <a:lnTo>
                      <a:pt x="31" y="1"/>
                    </a:lnTo>
                    <a:lnTo>
                      <a:pt x="31" y="1"/>
                    </a:lnTo>
                    <a:lnTo>
                      <a:pt x="23" y="0"/>
                    </a:lnTo>
                    <a:lnTo>
                      <a:pt x="16" y="0"/>
                    </a:lnTo>
                    <a:lnTo>
                      <a:pt x="9" y="2"/>
                    </a:lnTo>
                    <a:lnTo>
                      <a:pt x="5" y="5"/>
                    </a:lnTo>
                    <a:lnTo>
                      <a:pt x="1" y="9"/>
                    </a:lnTo>
                    <a:lnTo>
                      <a:pt x="0" y="13"/>
                    </a:lnTo>
                    <a:lnTo>
                      <a:pt x="0" y="15"/>
                    </a:lnTo>
                    <a:lnTo>
                      <a:pt x="1" y="19"/>
                    </a:lnTo>
                    <a:lnTo>
                      <a:pt x="4" y="21"/>
                    </a:lnTo>
                    <a:lnTo>
                      <a:pt x="9" y="29"/>
                    </a:lnTo>
                    <a:lnTo>
                      <a:pt x="9"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18" name="Freeform 333">
                <a:extLst>
                  <a:ext uri="{FF2B5EF4-FFF2-40B4-BE49-F238E27FC236}">
                    <a16:creationId xmlns:a16="http://schemas.microsoft.com/office/drawing/2014/main" id="{D2468418-BFE2-4859-8E7D-2D2835896930}"/>
                  </a:ext>
                </a:extLst>
              </p:cNvPr>
              <p:cNvSpPr>
                <a:spLocks/>
              </p:cNvSpPr>
              <p:nvPr/>
            </p:nvSpPr>
            <p:spPr bwMode="auto">
              <a:xfrm>
                <a:off x="3625850" y="1023938"/>
                <a:ext cx="9525" cy="11113"/>
              </a:xfrm>
              <a:custGeom>
                <a:avLst/>
                <a:gdLst>
                  <a:gd name="T0" fmla="*/ 16 w 42"/>
                  <a:gd name="T1" fmla="*/ 0 h 51"/>
                  <a:gd name="T2" fmla="*/ 16 w 42"/>
                  <a:gd name="T3" fmla="*/ 0 h 51"/>
                  <a:gd name="T4" fmla="*/ 8 w 42"/>
                  <a:gd name="T5" fmla="*/ 10 h 51"/>
                  <a:gd name="T6" fmla="*/ 4 w 42"/>
                  <a:gd name="T7" fmla="*/ 16 h 51"/>
                  <a:gd name="T8" fmla="*/ 0 w 42"/>
                  <a:gd name="T9" fmla="*/ 22 h 51"/>
                  <a:gd name="T10" fmla="*/ 0 w 42"/>
                  <a:gd name="T11" fmla="*/ 22 h 51"/>
                  <a:gd name="T12" fmla="*/ 0 w 42"/>
                  <a:gd name="T13" fmla="*/ 29 h 51"/>
                  <a:gd name="T14" fmla="*/ 1 w 42"/>
                  <a:gd name="T15" fmla="*/ 36 h 51"/>
                  <a:gd name="T16" fmla="*/ 4 w 42"/>
                  <a:gd name="T17" fmla="*/ 51 h 51"/>
                  <a:gd name="T18" fmla="*/ 4 w 42"/>
                  <a:gd name="T19" fmla="*/ 51 h 51"/>
                  <a:gd name="T20" fmla="*/ 42 w 42"/>
                  <a:gd name="T21" fmla="*/ 20 h 51"/>
                  <a:gd name="T22" fmla="*/ 42 w 42"/>
                  <a:gd name="T23" fmla="*/ 20 h 51"/>
                  <a:gd name="T24" fmla="*/ 37 w 42"/>
                  <a:gd name="T25" fmla="*/ 14 h 51"/>
                  <a:gd name="T26" fmla="*/ 30 w 42"/>
                  <a:gd name="T27" fmla="*/ 8 h 51"/>
                  <a:gd name="T28" fmla="*/ 23 w 42"/>
                  <a:gd name="T29" fmla="*/ 4 h 51"/>
                  <a:gd name="T30" fmla="*/ 16 w 42"/>
                  <a:gd name="T31" fmla="*/ 0 h 51"/>
                  <a:gd name="T32" fmla="*/ 16 w 42"/>
                  <a:gd name="T33"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1">
                    <a:moveTo>
                      <a:pt x="16" y="0"/>
                    </a:moveTo>
                    <a:lnTo>
                      <a:pt x="16" y="0"/>
                    </a:lnTo>
                    <a:lnTo>
                      <a:pt x="8" y="10"/>
                    </a:lnTo>
                    <a:lnTo>
                      <a:pt x="4" y="16"/>
                    </a:lnTo>
                    <a:lnTo>
                      <a:pt x="0" y="22"/>
                    </a:lnTo>
                    <a:lnTo>
                      <a:pt x="0" y="22"/>
                    </a:lnTo>
                    <a:lnTo>
                      <a:pt x="0" y="29"/>
                    </a:lnTo>
                    <a:lnTo>
                      <a:pt x="1" y="36"/>
                    </a:lnTo>
                    <a:lnTo>
                      <a:pt x="4" y="51"/>
                    </a:lnTo>
                    <a:lnTo>
                      <a:pt x="4" y="51"/>
                    </a:lnTo>
                    <a:lnTo>
                      <a:pt x="42" y="20"/>
                    </a:lnTo>
                    <a:lnTo>
                      <a:pt x="42" y="20"/>
                    </a:lnTo>
                    <a:lnTo>
                      <a:pt x="37" y="14"/>
                    </a:lnTo>
                    <a:lnTo>
                      <a:pt x="30" y="8"/>
                    </a:lnTo>
                    <a:lnTo>
                      <a:pt x="23" y="4"/>
                    </a:lnTo>
                    <a:lnTo>
                      <a:pt x="16" y="0"/>
                    </a:lnTo>
                    <a:lnTo>
                      <a:pt x="1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19" name="Freeform 334">
                <a:extLst>
                  <a:ext uri="{FF2B5EF4-FFF2-40B4-BE49-F238E27FC236}">
                    <a16:creationId xmlns:a16="http://schemas.microsoft.com/office/drawing/2014/main" id="{D6B3CA8C-BCD7-455A-AD22-9371BEBC1C1F}"/>
                  </a:ext>
                </a:extLst>
              </p:cNvPr>
              <p:cNvSpPr>
                <a:spLocks/>
              </p:cNvSpPr>
              <p:nvPr/>
            </p:nvSpPr>
            <p:spPr bwMode="auto">
              <a:xfrm>
                <a:off x="3613150" y="1030288"/>
                <a:ext cx="11113" cy="6350"/>
              </a:xfrm>
              <a:custGeom>
                <a:avLst/>
                <a:gdLst>
                  <a:gd name="T0" fmla="*/ 3 w 45"/>
                  <a:gd name="T1" fmla="*/ 2 h 30"/>
                  <a:gd name="T2" fmla="*/ 3 w 45"/>
                  <a:gd name="T3" fmla="*/ 2 h 30"/>
                  <a:gd name="T4" fmla="*/ 0 w 45"/>
                  <a:gd name="T5" fmla="*/ 9 h 30"/>
                  <a:gd name="T6" fmla="*/ 0 w 45"/>
                  <a:gd name="T7" fmla="*/ 14 h 30"/>
                  <a:gd name="T8" fmla="*/ 0 w 45"/>
                  <a:gd name="T9" fmla="*/ 18 h 30"/>
                  <a:gd name="T10" fmla="*/ 2 w 45"/>
                  <a:gd name="T11" fmla="*/ 22 h 30"/>
                  <a:gd name="T12" fmla="*/ 3 w 45"/>
                  <a:gd name="T13" fmla="*/ 25 h 30"/>
                  <a:gd name="T14" fmla="*/ 5 w 45"/>
                  <a:gd name="T15" fmla="*/ 27 h 30"/>
                  <a:gd name="T16" fmla="*/ 8 w 45"/>
                  <a:gd name="T17" fmla="*/ 28 h 30"/>
                  <a:gd name="T18" fmla="*/ 12 w 45"/>
                  <a:gd name="T19" fmla="*/ 30 h 30"/>
                  <a:gd name="T20" fmla="*/ 20 w 45"/>
                  <a:gd name="T21" fmla="*/ 30 h 30"/>
                  <a:gd name="T22" fmla="*/ 29 w 45"/>
                  <a:gd name="T23" fmla="*/ 27 h 30"/>
                  <a:gd name="T24" fmla="*/ 37 w 45"/>
                  <a:gd name="T25" fmla="*/ 24 h 30"/>
                  <a:gd name="T26" fmla="*/ 45 w 45"/>
                  <a:gd name="T27" fmla="*/ 18 h 30"/>
                  <a:gd name="T28" fmla="*/ 45 w 45"/>
                  <a:gd name="T29" fmla="*/ 18 h 30"/>
                  <a:gd name="T30" fmla="*/ 42 w 45"/>
                  <a:gd name="T31" fmla="*/ 14 h 30"/>
                  <a:gd name="T32" fmla="*/ 37 w 45"/>
                  <a:gd name="T33" fmla="*/ 9 h 30"/>
                  <a:gd name="T34" fmla="*/ 33 w 45"/>
                  <a:gd name="T35" fmla="*/ 4 h 30"/>
                  <a:gd name="T36" fmla="*/ 27 w 45"/>
                  <a:gd name="T37" fmla="*/ 2 h 30"/>
                  <a:gd name="T38" fmla="*/ 21 w 45"/>
                  <a:gd name="T39" fmla="*/ 1 h 30"/>
                  <a:gd name="T40" fmla="*/ 15 w 45"/>
                  <a:gd name="T41" fmla="*/ 0 h 30"/>
                  <a:gd name="T42" fmla="*/ 10 w 45"/>
                  <a:gd name="T43" fmla="*/ 1 h 30"/>
                  <a:gd name="T44" fmla="*/ 3 w 45"/>
                  <a:gd name="T45" fmla="*/ 2 h 30"/>
                  <a:gd name="T46" fmla="*/ 3 w 45"/>
                  <a:gd name="T47"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 h="30">
                    <a:moveTo>
                      <a:pt x="3" y="2"/>
                    </a:moveTo>
                    <a:lnTo>
                      <a:pt x="3" y="2"/>
                    </a:lnTo>
                    <a:lnTo>
                      <a:pt x="0" y="9"/>
                    </a:lnTo>
                    <a:lnTo>
                      <a:pt x="0" y="14"/>
                    </a:lnTo>
                    <a:lnTo>
                      <a:pt x="0" y="18"/>
                    </a:lnTo>
                    <a:lnTo>
                      <a:pt x="2" y="22"/>
                    </a:lnTo>
                    <a:lnTo>
                      <a:pt x="3" y="25"/>
                    </a:lnTo>
                    <a:lnTo>
                      <a:pt x="5" y="27"/>
                    </a:lnTo>
                    <a:lnTo>
                      <a:pt x="8" y="28"/>
                    </a:lnTo>
                    <a:lnTo>
                      <a:pt x="12" y="30"/>
                    </a:lnTo>
                    <a:lnTo>
                      <a:pt x="20" y="30"/>
                    </a:lnTo>
                    <a:lnTo>
                      <a:pt x="29" y="27"/>
                    </a:lnTo>
                    <a:lnTo>
                      <a:pt x="37" y="24"/>
                    </a:lnTo>
                    <a:lnTo>
                      <a:pt x="45" y="18"/>
                    </a:lnTo>
                    <a:lnTo>
                      <a:pt x="45" y="18"/>
                    </a:lnTo>
                    <a:lnTo>
                      <a:pt x="42" y="14"/>
                    </a:lnTo>
                    <a:lnTo>
                      <a:pt x="37" y="9"/>
                    </a:lnTo>
                    <a:lnTo>
                      <a:pt x="33" y="4"/>
                    </a:lnTo>
                    <a:lnTo>
                      <a:pt x="27" y="2"/>
                    </a:lnTo>
                    <a:lnTo>
                      <a:pt x="21" y="1"/>
                    </a:lnTo>
                    <a:lnTo>
                      <a:pt x="15" y="0"/>
                    </a:lnTo>
                    <a:lnTo>
                      <a:pt x="10" y="1"/>
                    </a:lnTo>
                    <a:lnTo>
                      <a:pt x="3" y="2"/>
                    </a:lnTo>
                    <a:lnTo>
                      <a:pt x="3"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20" name="Freeform 335">
                <a:extLst>
                  <a:ext uri="{FF2B5EF4-FFF2-40B4-BE49-F238E27FC236}">
                    <a16:creationId xmlns:a16="http://schemas.microsoft.com/office/drawing/2014/main" id="{254C9B2A-0570-40A1-9C4E-CB607BC41A39}"/>
                  </a:ext>
                </a:extLst>
              </p:cNvPr>
              <p:cNvSpPr>
                <a:spLocks/>
              </p:cNvSpPr>
              <p:nvPr/>
            </p:nvSpPr>
            <p:spPr bwMode="auto">
              <a:xfrm>
                <a:off x="3557588" y="976313"/>
                <a:ext cx="42863" cy="77788"/>
              </a:xfrm>
              <a:custGeom>
                <a:avLst/>
                <a:gdLst>
                  <a:gd name="T0" fmla="*/ 107 w 189"/>
                  <a:gd name="T1" fmla="*/ 89 h 340"/>
                  <a:gd name="T2" fmla="*/ 100 w 189"/>
                  <a:gd name="T3" fmla="*/ 95 h 340"/>
                  <a:gd name="T4" fmla="*/ 90 w 189"/>
                  <a:gd name="T5" fmla="*/ 97 h 340"/>
                  <a:gd name="T6" fmla="*/ 64 w 189"/>
                  <a:gd name="T7" fmla="*/ 99 h 340"/>
                  <a:gd name="T8" fmla="*/ 45 w 189"/>
                  <a:gd name="T9" fmla="*/ 104 h 340"/>
                  <a:gd name="T10" fmla="*/ 36 w 189"/>
                  <a:gd name="T11" fmla="*/ 109 h 340"/>
                  <a:gd name="T12" fmla="*/ 31 w 189"/>
                  <a:gd name="T13" fmla="*/ 122 h 340"/>
                  <a:gd name="T14" fmla="*/ 30 w 189"/>
                  <a:gd name="T15" fmla="*/ 130 h 340"/>
                  <a:gd name="T16" fmla="*/ 34 w 189"/>
                  <a:gd name="T17" fmla="*/ 198 h 340"/>
                  <a:gd name="T18" fmla="*/ 30 w 189"/>
                  <a:gd name="T19" fmla="*/ 210 h 340"/>
                  <a:gd name="T20" fmla="*/ 21 w 189"/>
                  <a:gd name="T21" fmla="*/ 219 h 340"/>
                  <a:gd name="T22" fmla="*/ 6 w 189"/>
                  <a:gd name="T23" fmla="*/ 234 h 340"/>
                  <a:gd name="T24" fmla="*/ 3 w 189"/>
                  <a:gd name="T25" fmla="*/ 238 h 340"/>
                  <a:gd name="T26" fmla="*/ 0 w 189"/>
                  <a:gd name="T27" fmla="*/ 263 h 340"/>
                  <a:gd name="T28" fmla="*/ 5 w 189"/>
                  <a:gd name="T29" fmla="*/ 294 h 340"/>
                  <a:gd name="T30" fmla="*/ 17 w 189"/>
                  <a:gd name="T31" fmla="*/ 321 h 340"/>
                  <a:gd name="T32" fmla="*/ 26 w 189"/>
                  <a:gd name="T33" fmla="*/ 332 h 340"/>
                  <a:gd name="T34" fmla="*/ 36 w 189"/>
                  <a:gd name="T35" fmla="*/ 337 h 340"/>
                  <a:gd name="T36" fmla="*/ 44 w 189"/>
                  <a:gd name="T37" fmla="*/ 340 h 340"/>
                  <a:gd name="T38" fmla="*/ 59 w 189"/>
                  <a:gd name="T39" fmla="*/ 340 h 340"/>
                  <a:gd name="T40" fmla="*/ 72 w 189"/>
                  <a:gd name="T41" fmla="*/ 336 h 340"/>
                  <a:gd name="T42" fmla="*/ 82 w 189"/>
                  <a:gd name="T43" fmla="*/ 329 h 340"/>
                  <a:gd name="T44" fmla="*/ 91 w 189"/>
                  <a:gd name="T45" fmla="*/ 319 h 340"/>
                  <a:gd name="T46" fmla="*/ 97 w 189"/>
                  <a:gd name="T47" fmla="*/ 308 h 340"/>
                  <a:gd name="T48" fmla="*/ 100 w 189"/>
                  <a:gd name="T49" fmla="*/ 295 h 340"/>
                  <a:gd name="T50" fmla="*/ 100 w 189"/>
                  <a:gd name="T51" fmla="*/ 282 h 340"/>
                  <a:gd name="T52" fmla="*/ 100 w 189"/>
                  <a:gd name="T53" fmla="*/ 276 h 340"/>
                  <a:gd name="T54" fmla="*/ 100 w 189"/>
                  <a:gd name="T55" fmla="*/ 265 h 340"/>
                  <a:gd name="T56" fmla="*/ 105 w 189"/>
                  <a:gd name="T57" fmla="*/ 251 h 340"/>
                  <a:gd name="T58" fmla="*/ 122 w 189"/>
                  <a:gd name="T59" fmla="*/ 221 h 340"/>
                  <a:gd name="T60" fmla="*/ 157 w 189"/>
                  <a:gd name="T61" fmla="*/ 169 h 340"/>
                  <a:gd name="T62" fmla="*/ 164 w 189"/>
                  <a:gd name="T63" fmla="*/ 160 h 340"/>
                  <a:gd name="T64" fmla="*/ 169 w 189"/>
                  <a:gd name="T65" fmla="*/ 149 h 340"/>
                  <a:gd name="T66" fmla="*/ 167 w 189"/>
                  <a:gd name="T67" fmla="*/ 141 h 340"/>
                  <a:gd name="T68" fmla="*/ 164 w 189"/>
                  <a:gd name="T69" fmla="*/ 137 h 340"/>
                  <a:gd name="T70" fmla="*/ 158 w 189"/>
                  <a:gd name="T71" fmla="*/ 128 h 340"/>
                  <a:gd name="T72" fmla="*/ 157 w 189"/>
                  <a:gd name="T73" fmla="*/ 122 h 340"/>
                  <a:gd name="T74" fmla="*/ 160 w 189"/>
                  <a:gd name="T75" fmla="*/ 118 h 340"/>
                  <a:gd name="T76" fmla="*/ 171 w 189"/>
                  <a:gd name="T77" fmla="*/ 113 h 340"/>
                  <a:gd name="T78" fmla="*/ 183 w 189"/>
                  <a:gd name="T79" fmla="*/ 111 h 340"/>
                  <a:gd name="T80" fmla="*/ 186 w 189"/>
                  <a:gd name="T81" fmla="*/ 105 h 340"/>
                  <a:gd name="T82" fmla="*/ 189 w 189"/>
                  <a:gd name="T83" fmla="*/ 92 h 340"/>
                  <a:gd name="T84" fmla="*/ 188 w 189"/>
                  <a:gd name="T85" fmla="*/ 70 h 340"/>
                  <a:gd name="T86" fmla="*/ 181 w 189"/>
                  <a:gd name="T87" fmla="*/ 40 h 340"/>
                  <a:gd name="T88" fmla="*/ 166 w 189"/>
                  <a:gd name="T89" fmla="*/ 0 h 340"/>
                  <a:gd name="T90" fmla="*/ 160 w 189"/>
                  <a:gd name="T91" fmla="*/ 1 h 340"/>
                  <a:gd name="T92" fmla="*/ 151 w 189"/>
                  <a:gd name="T93" fmla="*/ 7 h 340"/>
                  <a:gd name="T94" fmla="*/ 138 w 189"/>
                  <a:gd name="T95" fmla="*/ 23 h 340"/>
                  <a:gd name="T96" fmla="*/ 118 w 189"/>
                  <a:gd name="T97" fmla="*/ 65 h 340"/>
                  <a:gd name="T98" fmla="*/ 107 w 189"/>
                  <a:gd name="T99" fmla="*/ 89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9" h="340">
                    <a:moveTo>
                      <a:pt x="107" y="89"/>
                    </a:moveTo>
                    <a:lnTo>
                      <a:pt x="107" y="89"/>
                    </a:lnTo>
                    <a:lnTo>
                      <a:pt x="104" y="92"/>
                    </a:lnTo>
                    <a:lnTo>
                      <a:pt x="100" y="95"/>
                    </a:lnTo>
                    <a:lnTo>
                      <a:pt x="96" y="96"/>
                    </a:lnTo>
                    <a:lnTo>
                      <a:pt x="90" y="97"/>
                    </a:lnTo>
                    <a:lnTo>
                      <a:pt x="77" y="98"/>
                    </a:lnTo>
                    <a:lnTo>
                      <a:pt x="64" y="99"/>
                    </a:lnTo>
                    <a:lnTo>
                      <a:pt x="51" y="101"/>
                    </a:lnTo>
                    <a:lnTo>
                      <a:pt x="45" y="104"/>
                    </a:lnTo>
                    <a:lnTo>
                      <a:pt x="39" y="106"/>
                    </a:lnTo>
                    <a:lnTo>
                      <a:pt x="36" y="109"/>
                    </a:lnTo>
                    <a:lnTo>
                      <a:pt x="32" y="115"/>
                    </a:lnTo>
                    <a:lnTo>
                      <a:pt x="31" y="122"/>
                    </a:lnTo>
                    <a:lnTo>
                      <a:pt x="30" y="130"/>
                    </a:lnTo>
                    <a:lnTo>
                      <a:pt x="30" y="130"/>
                    </a:lnTo>
                    <a:lnTo>
                      <a:pt x="34" y="198"/>
                    </a:lnTo>
                    <a:lnTo>
                      <a:pt x="34" y="198"/>
                    </a:lnTo>
                    <a:lnTo>
                      <a:pt x="32" y="204"/>
                    </a:lnTo>
                    <a:lnTo>
                      <a:pt x="30" y="210"/>
                    </a:lnTo>
                    <a:lnTo>
                      <a:pt x="26" y="214"/>
                    </a:lnTo>
                    <a:lnTo>
                      <a:pt x="21" y="219"/>
                    </a:lnTo>
                    <a:lnTo>
                      <a:pt x="9" y="228"/>
                    </a:lnTo>
                    <a:lnTo>
                      <a:pt x="6" y="234"/>
                    </a:lnTo>
                    <a:lnTo>
                      <a:pt x="3" y="238"/>
                    </a:lnTo>
                    <a:lnTo>
                      <a:pt x="3" y="238"/>
                    </a:lnTo>
                    <a:lnTo>
                      <a:pt x="0" y="249"/>
                    </a:lnTo>
                    <a:lnTo>
                      <a:pt x="0" y="263"/>
                    </a:lnTo>
                    <a:lnTo>
                      <a:pt x="1" y="278"/>
                    </a:lnTo>
                    <a:lnTo>
                      <a:pt x="5" y="294"/>
                    </a:lnTo>
                    <a:lnTo>
                      <a:pt x="11" y="308"/>
                    </a:lnTo>
                    <a:lnTo>
                      <a:pt x="17" y="321"/>
                    </a:lnTo>
                    <a:lnTo>
                      <a:pt x="21" y="327"/>
                    </a:lnTo>
                    <a:lnTo>
                      <a:pt x="26" y="332"/>
                    </a:lnTo>
                    <a:lnTo>
                      <a:pt x="30" y="335"/>
                    </a:lnTo>
                    <a:lnTo>
                      <a:pt x="36" y="337"/>
                    </a:lnTo>
                    <a:lnTo>
                      <a:pt x="36" y="337"/>
                    </a:lnTo>
                    <a:lnTo>
                      <a:pt x="44" y="340"/>
                    </a:lnTo>
                    <a:lnTo>
                      <a:pt x="52" y="340"/>
                    </a:lnTo>
                    <a:lnTo>
                      <a:pt x="59" y="340"/>
                    </a:lnTo>
                    <a:lnTo>
                      <a:pt x="65" y="339"/>
                    </a:lnTo>
                    <a:lnTo>
                      <a:pt x="72" y="336"/>
                    </a:lnTo>
                    <a:lnTo>
                      <a:pt x="77" y="333"/>
                    </a:lnTo>
                    <a:lnTo>
                      <a:pt x="82" y="329"/>
                    </a:lnTo>
                    <a:lnTo>
                      <a:pt x="87" y="325"/>
                    </a:lnTo>
                    <a:lnTo>
                      <a:pt x="91" y="319"/>
                    </a:lnTo>
                    <a:lnTo>
                      <a:pt x="95" y="313"/>
                    </a:lnTo>
                    <a:lnTo>
                      <a:pt x="97" y="308"/>
                    </a:lnTo>
                    <a:lnTo>
                      <a:pt x="99" y="302"/>
                    </a:lnTo>
                    <a:lnTo>
                      <a:pt x="100" y="295"/>
                    </a:lnTo>
                    <a:lnTo>
                      <a:pt x="102" y="289"/>
                    </a:lnTo>
                    <a:lnTo>
                      <a:pt x="100" y="282"/>
                    </a:lnTo>
                    <a:lnTo>
                      <a:pt x="100" y="276"/>
                    </a:lnTo>
                    <a:lnTo>
                      <a:pt x="100" y="276"/>
                    </a:lnTo>
                    <a:lnTo>
                      <a:pt x="99" y="271"/>
                    </a:lnTo>
                    <a:lnTo>
                      <a:pt x="100" y="265"/>
                    </a:lnTo>
                    <a:lnTo>
                      <a:pt x="103" y="258"/>
                    </a:lnTo>
                    <a:lnTo>
                      <a:pt x="105" y="251"/>
                    </a:lnTo>
                    <a:lnTo>
                      <a:pt x="112" y="236"/>
                    </a:lnTo>
                    <a:lnTo>
                      <a:pt x="122" y="221"/>
                    </a:lnTo>
                    <a:lnTo>
                      <a:pt x="142" y="192"/>
                    </a:lnTo>
                    <a:lnTo>
                      <a:pt x="157" y="169"/>
                    </a:lnTo>
                    <a:lnTo>
                      <a:pt x="157" y="169"/>
                    </a:lnTo>
                    <a:lnTo>
                      <a:pt x="164" y="160"/>
                    </a:lnTo>
                    <a:lnTo>
                      <a:pt x="168" y="152"/>
                    </a:lnTo>
                    <a:lnTo>
                      <a:pt x="169" y="149"/>
                    </a:lnTo>
                    <a:lnTo>
                      <a:pt x="169" y="145"/>
                    </a:lnTo>
                    <a:lnTo>
                      <a:pt x="167" y="141"/>
                    </a:lnTo>
                    <a:lnTo>
                      <a:pt x="164" y="137"/>
                    </a:lnTo>
                    <a:lnTo>
                      <a:pt x="164" y="137"/>
                    </a:lnTo>
                    <a:lnTo>
                      <a:pt x="160" y="133"/>
                    </a:lnTo>
                    <a:lnTo>
                      <a:pt x="158" y="128"/>
                    </a:lnTo>
                    <a:lnTo>
                      <a:pt x="157" y="124"/>
                    </a:lnTo>
                    <a:lnTo>
                      <a:pt x="157" y="122"/>
                    </a:lnTo>
                    <a:lnTo>
                      <a:pt x="158" y="120"/>
                    </a:lnTo>
                    <a:lnTo>
                      <a:pt x="160" y="118"/>
                    </a:lnTo>
                    <a:lnTo>
                      <a:pt x="165" y="114"/>
                    </a:lnTo>
                    <a:lnTo>
                      <a:pt x="171" y="113"/>
                    </a:lnTo>
                    <a:lnTo>
                      <a:pt x="176" y="112"/>
                    </a:lnTo>
                    <a:lnTo>
                      <a:pt x="183" y="111"/>
                    </a:lnTo>
                    <a:lnTo>
                      <a:pt x="183" y="111"/>
                    </a:lnTo>
                    <a:lnTo>
                      <a:pt x="186" y="105"/>
                    </a:lnTo>
                    <a:lnTo>
                      <a:pt x="188" y="99"/>
                    </a:lnTo>
                    <a:lnTo>
                      <a:pt x="189" y="92"/>
                    </a:lnTo>
                    <a:lnTo>
                      <a:pt x="189" y="85"/>
                    </a:lnTo>
                    <a:lnTo>
                      <a:pt x="188" y="70"/>
                    </a:lnTo>
                    <a:lnTo>
                      <a:pt x="184" y="55"/>
                    </a:lnTo>
                    <a:lnTo>
                      <a:pt x="181" y="40"/>
                    </a:lnTo>
                    <a:lnTo>
                      <a:pt x="175" y="25"/>
                    </a:lnTo>
                    <a:lnTo>
                      <a:pt x="166" y="0"/>
                    </a:lnTo>
                    <a:lnTo>
                      <a:pt x="166" y="0"/>
                    </a:lnTo>
                    <a:lnTo>
                      <a:pt x="160" y="1"/>
                    </a:lnTo>
                    <a:lnTo>
                      <a:pt x="156" y="4"/>
                    </a:lnTo>
                    <a:lnTo>
                      <a:pt x="151" y="7"/>
                    </a:lnTo>
                    <a:lnTo>
                      <a:pt x="146" y="12"/>
                    </a:lnTo>
                    <a:lnTo>
                      <a:pt x="138" y="23"/>
                    </a:lnTo>
                    <a:lnTo>
                      <a:pt x="131" y="37"/>
                    </a:lnTo>
                    <a:lnTo>
                      <a:pt x="118" y="65"/>
                    </a:lnTo>
                    <a:lnTo>
                      <a:pt x="112" y="78"/>
                    </a:lnTo>
                    <a:lnTo>
                      <a:pt x="107" y="89"/>
                    </a:lnTo>
                    <a:lnTo>
                      <a:pt x="107" y="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21" name="Freeform 336">
                <a:extLst>
                  <a:ext uri="{FF2B5EF4-FFF2-40B4-BE49-F238E27FC236}">
                    <a16:creationId xmlns:a16="http://schemas.microsoft.com/office/drawing/2014/main" id="{27A1B7A6-A460-42C5-B374-BA5A05A0A507}"/>
                  </a:ext>
                </a:extLst>
              </p:cNvPr>
              <p:cNvSpPr>
                <a:spLocks/>
              </p:cNvSpPr>
              <p:nvPr/>
            </p:nvSpPr>
            <p:spPr bwMode="auto">
              <a:xfrm>
                <a:off x="3565525" y="974725"/>
                <a:ext cx="12700" cy="9525"/>
              </a:xfrm>
              <a:custGeom>
                <a:avLst/>
                <a:gdLst>
                  <a:gd name="T0" fmla="*/ 0 w 58"/>
                  <a:gd name="T1" fmla="*/ 1 h 45"/>
                  <a:gd name="T2" fmla="*/ 0 w 58"/>
                  <a:gd name="T3" fmla="*/ 1 h 45"/>
                  <a:gd name="T4" fmla="*/ 1 w 58"/>
                  <a:gd name="T5" fmla="*/ 7 h 45"/>
                  <a:gd name="T6" fmla="*/ 4 w 58"/>
                  <a:gd name="T7" fmla="*/ 11 h 45"/>
                  <a:gd name="T8" fmla="*/ 11 w 58"/>
                  <a:gd name="T9" fmla="*/ 23 h 45"/>
                  <a:gd name="T10" fmla="*/ 20 w 58"/>
                  <a:gd name="T11" fmla="*/ 32 h 45"/>
                  <a:gd name="T12" fmla="*/ 30 w 58"/>
                  <a:gd name="T13" fmla="*/ 40 h 45"/>
                  <a:gd name="T14" fmla="*/ 36 w 58"/>
                  <a:gd name="T15" fmla="*/ 43 h 45"/>
                  <a:gd name="T16" fmla="*/ 41 w 58"/>
                  <a:gd name="T17" fmla="*/ 45 h 45"/>
                  <a:gd name="T18" fmla="*/ 45 w 58"/>
                  <a:gd name="T19" fmla="*/ 45 h 45"/>
                  <a:gd name="T20" fmla="*/ 50 w 58"/>
                  <a:gd name="T21" fmla="*/ 43 h 45"/>
                  <a:gd name="T22" fmla="*/ 53 w 58"/>
                  <a:gd name="T23" fmla="*/ 40 h 45"/>
                  <a:gd name="T24" fmla="*/ 56 w 58"/>
                  <a:gd name="T25" fmla="*/ 35 h 45"/>
                  <a:gd name="T26" fmla="*/ 57 w 58"/>
                  <a:gd name="T27" fmla="*/ 28 h 45"/>
                  <a:gd name="T28" fmla="*/ 58 w 58"/>
                  <a:gd name="T29" fmla="*/ 19 h 45"/>
                  <a:gd name="T30" fmla="*/ 58 w 58"/>
                  <a:gd name="T31" fmla="*/ 19 h 45"/>
                  <a:gd name="T32" fmla="*/ 51 w 58"/>
                  <a:gd name="T33" fmla="*/ 20 h 45"/>
                  <a:gd name="T34" fmla="*/ 44 w 58"/>
                  <a:gd name="T35" fmla="*/ 20 h 45"/>
                  <a:gd name="T36" fmla="*/ 38 w 58"/>
                  <a:gd name="T37" fmla="*/ 21 h 45"/>
                  <a:gd name="T38" fmla="*/ 31 w 58"/>
                  <a:gd name="T39" fmla="*/ 23 h 45"/>
                  <a:gd name="T40" fmla="*/ 31 w 58"/>
                  <a:gd name="T41" fmla="*/ 23 h 45"/>
                  <a:gd name="T42" fmla="*/ 34 w 58"/>
                  <a:gd name="T43" fmla="*/ 17 h 45"/>
                  <a:gd name="T44" fmla="*/ 36 w 58"/>
                  <a:gd name="T45" fmla="*/ 11 h 45"/>
                  <a:gd name="T46" fmla="*/ 37 w 58"/>
                  <a:gd name="T47" fmla="*/ 5 h 45"/>
                  <a:gd name="T48" fmla="*/ 41 w 58"/>
                  <a:gd name="T49" fmla="*/ 0 h 45"/>
                  <a:gd name="T50" fmla="*/ 41 w 58"/>
                  <a:gd name="T51" fmla="*/ 0 h 45"/>
                  <a:gd name="T52" fmla="*/ 0 w 58"/>
                  <a:gd name="T53" fmla="*/ 1 h 45"/>
                  <a:gd name="T54" fmla="*/ 0 w 58"/>
                  <a:gd name="T55"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8" h="45">
                    <a:moveTo>
                      <a:pt x="0" y="1"/>
                    </a:moveTo>
                    <a:lnTo>
                      <a:pt x="0" y="1"/>
                    </a:lnTo>
                    <a:lnTo>
                      <a:pt x="1" y="7"/>
                    </a:lnTo>
                    <a:lnTo>
                      <a:pt x="4" y="11"/>
                    </a:lnTo>
                    <a:lnTo>
                      <a:pt x="11" y="23"/>
                    </a:lnTo>
                    <a:lnTo>
                      <a:pt x="20" y="32"/>
                    </a:lnTo>
                    <a:lnTo>
                      <a:pt x="30" y="40"/>
                    </a:lnTo>
                    <a:lnTo>
                      <a:pt x="36" y="43"/>
                    </a:lnTo>
                    <a:lnTo>
                      <a:pt x="41" y="45"/>
                    </a:lnTo>
                    <a:lnTo>
                      <a:pt x="45" y="45"/>
                    </a:lnTo>
                    <a:lnTo>
                      <a:pt x="50" y="43"/>
                    </a:lnTo>
                    <a:lnTo>
                      <a:pt x="53" y="40"/>
                    </a:lnTo>
                    <a:lnTo>
                      <a:pt x="56" y="35"/>
                    </a:lnTo>
                    <a:lnTo>
                      <a:pt x="57" y="28"/>
                    </a:lnTo>
                    <a:lnTo>
                      <a:pt x="58" y="19"/>
                    </a:lnTo>
                    <a:lnTo>
                      <a:pt x="58" y="19"/>
                    </a:lnTo>
                    <a:lnTo>
                      <a:pt x="51" y="20"/>
                    </a:lnTo>
                    <a:lnTo>
                      <a:pt x="44" y="20"/>
                    </a:lnTo>
                    <a:lnTo>
                      <a:pt x="38" y="21"/>
                    </a:lnTo>
                    <a:lnTo>
                      <a:pt x="31" y="23"/>
                    </a:lnTo>
                    <a:lnTo>
                      <a:pt x="31" y="23"/>
                    </a:lnTo>
                    <a:lnTo>
                      <a:pt x="34" y="17"/>
                    </a:lnTo>
                    <a:lnTo>
                      <a:pt x="36" y="11"/>
                    </a:lnTo>
                    <a:lnTo>
                      <a:pt x="37" y="5"/>
                    </a:lnTo>
                    <a:lnTo>
                      <a:pt x="41" y="0"/>
                    </a:lnTo>
                    <a:lnTo>
                      <a:pt x="41" y="0"/>
                    </a:lnTo>
                    <a:lnTo>
                      <a:pt x="0" y="1"/>
                    </a:lnTo>
                    <a:lnTo>
                      <a:pt x="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22" name="Freeform 337">
                <a:extLst>
                  <a:ext uri="{FF2B5EF4-FFF2-40B4-BE49-F238E27FC236}">
                    <a16:creationId xmlns:a16="http://schemas.microsoft.com/office/drawing/2014/main" id="{81A9A5D1-8454-4163-945F-352708E6CC3E}"/>
                  </a:ext>
                </a:extLst>
              </p:cNvPr>
              <p:cNvSpPr>
                <a:spLocks/>
              </p:cNvSpPr>
              <p:nvPr/>
            </p:nvSpPr>
            <p:spPr bwMode="auto">
              <a:xfrm>
                <a:off x="3608388" y="950913"/>
                <a:ext cx="7938" cy="7938"/>
              </a:xfrm>
              <a:custGeom>
                <a:avLst/>
                <a:gdLst>
                  <a:gd name="T0" fmla="*/ 36 w 36"/>
                  <a:gd name="T1" fmla="*/ 15 h 31"/>
                  <a:gd name="T2" fmla="*/ 36 w 36"/>
                  <a:gd name="T3" fmla="*/ 15 h 31"/>
                  <a:gd name="T4" fmla="*/ 22 w 36"/>
                  <a:gd name="T5" fmla="*/ 7 h 31"/>
                  <a:gd name="T6" fmla="*/ 14 w 36"/>
                  <a:gd name="T7" fmla="*/ 3 h 31"/>
                  <a:gd name="T8" fmla="*/ 7 w 36"/>
                  <a:gd name="T9" fmla="*/ 0 h 31"/>
                  <a:gd name="T10" fmla="*/ 7 w 36"/>
                  <a:gd name="T11" fmla="*/ 0 h 31"/>
                  <a:gd name="T12" fmla="*/ 4 w 36"/>
                  <a:gd name="T13" fmla="*/ 4 h 31"/>
                  <a:gd name="T14" fmla="*/ 2 w 36"/>
                  <a:gd name="T15" fmla="*/ 8 h 31"/>
                  <a:gd name="T16" fmla="*/ 0 w 36"/>
                  <a:gd name="T17" fmla="*/ 13 h 31"/>
                  <a:gd name="T18" fmla="*/ 0 w 36"/>
                  <a:gd name="T19" fmla="*/ 16 h 31"/>
                  <a:gd name="T20" fmla="*/ 2 w 36"/>
                  <a:gd name="T21" fmla="*/ 20 h 31"/>
                  <a:gd name="T22" fmla="*/ 3 w 36"/>
                  <a:gd name="T23" fmla="*/ 23 h 31"/>
                  <a:gd name="T24" fmla="*/ 5 w 36"/>
                  <a:gd name="T25" fmla="*/ 27 h 31"/>
                  <a:gd name="T26" fmla="*/ 8 w 36"/>
                  <a:gd name="T27" fmla="*/ 29 h 31"/>
                  <a:gd name="T28" fmla="*/ 11 w 36"/>
                  <a:gd name="T29" fmla="*/ 30 h 31"/>
                  <a:gd name="T30" fmla="*/ 14 w 36"/>
                  <a:gd name="T31" fmla="*/ 31 h 31"/>
                  <a:gd name="T32" fmla="*/ 18 w 36"/>
                  <a:gd name="T33" fmla="*/ 31 h 31"/>
                  <a:gd name="T34" fmla="*/ 22 w 36"/>
                  <a:gd name="T35" fmla="*/ 30 h 31"/>
                  <a:gd name="T36" fmla="*/ 26 w 36"/>
                  <a:gd name="T37" fmla="*/ 28 h 31"/>
                  <a:gd name="T38" fmla="*/ 29 w 36"/>
                  <a:gd name="T39" fmla="*/ 26 h 31"/>
                  <a:gd name="T40" fmla="*/ 33 w 36"/>
                  <a:gd name="T41" fmla="*/ 21 h 31"/>
                  <a:gd name="T42" fmla="*/ 36 w 36"/>
                  <a:gd name="T43" fmla="*/ 15 h 31"/>
                  <a:gd name="T44" fmla="*/ 36 w 36"/>
                  <a:gd name="T45"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31">
                    <a:moveTo>
                      <a:pt x="36" y="15"/>
                    </a:moveTo>
                    <a:lnTo>
                      <a:pt x="36" y="15"/>
                    </a:lnTo>
                    <a:lnTo>
                      <a:pt x="22" y="7"/>
                    </a:lnTo>
                    <a:lnTo>
                      <a:pt x="14" y="3"/>
                    </a:lnTo>
                    <a:lnTo>
                      <a:pt x="7" y="0"/>
                    </a:lnTo>
                    <a:lnTo>
                      <a:pt x="7" y="0"/>
                    </a:lnTo>
                    <a:lnTo>
                      <a:pt x="4" y="4"/>
                    </a:lnTo>
                    <a:lnTo>
                      <a:pt x="2" y="8"/>
                    </a:lnTo>
                    <a:lnTo>
                      <a:pt x="0" y="13"/>
                    </a:lnTo>
                    <a:lnTo>
                      <a:pt x="0" y="16"/>
                    </a:lnTo>
                    <a:lnTo>
                      <a:pt x="2" y="20"/>
                    </a:lnTo>
                    <a:lnTo>
                      <a:pt x="3" y="23"/>
                    </a:lnTo>
                    <a:lnTo>
                      <a:pt x="5" y="27"/>
                    </a:lnTo>
                    <a:lnTo>
                      <a:pt x="8" y="29"/>
                    </a:lnTo>
                    <a:lnTo>
                      <a:pt x="11" y="30"/>
                    </a:lnTo>
                    <a:lnTo>
                      <a:pt x="14" y="31"/>
                    </a:lnTo>
                    <a:lnTo>
                      <a:pt x="18" y="31"/>
                    </a:lnTo>
                    <a:lnTo>
                      <a:pt x="22" y="30"/>
                    </a:lnTo>
                    <a:lnTo>
                      <a:pt x="26" y="28"/>
                    </a:lnTo>
                    <a:lnTo>
                      <a:pt x="29" y="26"/>
                    </a:lnTo>
                    <a:lnTo>
                      <a:pt x="33" y="21"/>
                    </a:lnTo>
                    <a:lnTo>
                      <a:pt x="36" y="15"/>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23" name="Freeform 338">
                <a:extLst>
                  <a:ext uri="{FF2B5EF4-FFF2-40B4-BE49-F238E27FC236}">
                    <a16:creationId xmlns:a16="http://schemas.microsoft.com/office/drawing/2014/main" id="{AF821DCC-1155-4C3C-AB25-68F51C85CCE9}"/>
                  </a:ext>
                </a:extLst>
              </p:cNvPr>
              <p:cNvSpPr>
                <a:spLocks/>
              </p:cNvSpPr>
              <p:nvPr/>
            </p:nvSpPr>
            <p:spPr bwMode="auto">
              <a:xfrm>
                <a:off x="3621088" y="935038"/>
                <a:ext cx="9525" cy="9525"/>
              </a:xfrm>
              <a:custGeom>
                <a:avLst/>
                <a:gdLst>
                  <a:gd name="T0" fmla="*/ 40 w 40"/>
                  <a:gd name="T1" fmla="*/ 41 h 44"/>
                  <a:gd name="T2" fmla="*/ 40 w 40"/>
                  <a:gd name="T3" fmla="*/ 41 h 44"/>
                  <a:gd name="T4" fmla="*/ 24 w 40"/>
                  <a:gd name="T5" fmla="*/ 0 h 44"/>
                  <a:gd name="T6" fmla="*/ 24 w 40"/>
                  <a:gd name="T7" fmla="*/ 0 h 44"/>
                  <a:gd name="T8" fmla="*/ 11 w 40"/>
                  <a:gd name="T9" fmla="*/ 8 h 44"/>
                  <a:gd name="T10" fmla="*/ 4 w 40"/>
                  <a:gd name="T11" fmla="*/ 12 h 44"/>
                  <a:gd name="T12" fmla="*/ 0 w 40"/>
                  <a:gd name="T13" fmla="*/ 17 h 44"/>
                  <a:gd name="T14" fmla="*/ 0 w 40"/>
                  <a:gd name="T15" fmla="*/ 17 h 44"/>
                  <a:gd name="T16" fmla="*/ 2 w 40"/>
                  <a:gd name="T17" fmla="*/ 24 h 44"/>
                  <a:gd name="T18" fmla="*/ 5 w 40"/>
                  <a:gd name="T19" fmla="*/ 31 h 44"/>
                  <a:gd name="T20" fmla="*/ 10 w 40"/>
                  <a:gd name="T21" fmla="*/ 35 h 44"/>
                  <a:gd name="T22" fmla="*/ 14 w 40"/>
                  <a:gd name="T23" fmla="*/ 39 h 44"/>
                  <a:gd name="T24" fmla="*/ 20 w 40"/>
                  <a:gd name="T25" fmla="*/ 41 h 44"/>
                  <a:gd name="T26" fmla="*/ 26 w 40"/>
                  <a:gd name="T27" fmla="*/ 44 h 44"/>
                  <a:gd name="T28" fmla="*/ 33 w 40"/>
                  <a:gd name="T29" fmla="*/ 44 h 44"/>
                  <a:gd name="T30" fmla="*/ 40 w 40"/>
                  <a:gd name="T31" fmla="*/ 41 h 44"/>
                  <a:gd name="T32" fmla="*/ 40 w 40"/>
                  <a:gd name="T33" fmla="*/ 4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44">
                    <a:moveTo>
                      <a:pt x="40" y="41"/>
                    </a:moveTo>
                    <a:lnTo>
                      <a:pt x="40" y="41"/>
                    </a:lnTo>
                    <a:lnTo>
                      <a:pt x="24" y="0"/>
                    </a:lnTo>
                    <a:lnTo>
                      <a:pt x="24" y="0"/>
                    </a:lnTo>
                    <a:lnTo>
                      <a:pt x="11" y="8"/>
                    </a:lnTo>
                    <a:lnTo>
                      <a:pt x="4" y="12"/>
                    </a:lnTo>
                    <a:lnTo>
                      <a:pt x="0" y="17"/>
                    </a:lnTo>
                    <a:lnTo>
                      <a:pt x="0" y="17"/>
                    </a:lnTo>
                    <a:lnTo>
                      <a:pt x="2" y="24"/>
                    </a:lnTo>
                    <a:lnTo>
                      <a:pt x="5" y="31"/>
                    </a:lnTo>
                    <a:lnTo>
                      <a:pt x="10" y="35"/>
                    </a:lnTo>
                    <a:lnTo>
                      <a:pt x="14" y="39"/>
                    </a:lnTo>
                    <a:lnTo>
                      <a:pt x="20" y="41"/>
                    </a:lnTo>
                    <a:lnTo>
                      <a:pt x="26" y="44"/>
                    </a:lnTo>
                    <a:lnTo>
                      <a:pt x="33" y="44"/>
                    </a:lnTo>
                    <a:lnTo>
                      <a:pt x="40" y="41"/>
                    </a:lnTo>
                    <a:lnTo>
                      <a:pt x="4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24" name="Freeform 339">
                <a:extLst>
                  <a:ext uri="{FF2B5EF4-FFF2-40B4-BE49-F238E27FC236}">
                    <a16:creationId xmlns:a16="http://schemas.microsoft.com/office/drawing/2014/main" id="{D2433E10-B431-4532-B2F8-E02300739135}"/>
                  </a:ext>
                </a:extLst>
              </p:cNvPr>
              <p:cNvSpPr>
                <a:spLocks/>
              </p:cNvSpPr>
              <p:nvPr/>
            </p:nvSpPr>
            <p:spPr bwMode="auto">
              <a:xfrm>
                <a:off x="3624263" y="944563"/>
                <a:ext cx="7938" cy="7938"/>
              </a:xfrm>
              <a:custGeom>
                <a:avLst/>
                <a:gdLst>
                  <a:gd name="T0" fmla="*/ 29 w 33"/>
                  <a:gd name="T1" fmla="*/ 34 h 34"/>
                  <a:gd name="T2" fmla="*/ 29 w 33"/>
                  <a:gd name="T3" fmla="*/ 34 h 34"/>
                  <a:gd name="T4" fmla="*/ 32 w 33"/>
                  <a:gd name="T5" fmla="*/ 24 h 34"/>
                  <a:gd name="T6" fmla="*/ 33 w 33"/>
                  <a:gd name="T7" fmla="*/ 16 h 34"/>
                  <a:gd name="T8" fmla="*/ 32 w 33"/>
                  <a:gd name="T9" fmla="*/ 10 h 34"/>
                  <a:gd name="T10" fmla="*/ 29 w 33"/>
                  <a:gd name="T11" fmla="*/ 6 h 34"/>
                  <a:gd name="T12" fmla="*/ 27 w 33"/>
                  <a:gd name="T13" fmla="*/ 2 h 34"/>
                  <a:gd name="T14" fmla="*/ 23 w 33"/>
                  <a:gd name="T15" fmla="*/ 0 h 34"/>
                  <a:gd name="T16" fmla="*/ 19 w 33"/>
                  <a:gd name="T17" fmla="*/ 0 h 34"/>
                  <a:gd name="T18" fmla="*/ 14 w 33"/>
                  <a:gd name="T19" fmla="*/ 0 h 34"/>
                  <a:gd name="T20" fmla="*/ 11 w 33"/>
                  <a:gd name="T21" fmla="*/ 2 h 34"/>
                  <a:gd name="T22" fmla="*/ 7 w 33"/>
                  <a:gd name="T23" fmla="*/ 4 h 34"/>
                  <a:gd name="T24" fmla="*/ 4 w 33"/>
                  <a:gd name="T25" fmla="*/ 8 h 34"/>
                  <a:gd name="T26" fmla="*/ 2 w 33"/>
                  <a:gd name="T27" fmla="*/ 11 h 34"/>
                  <a:gd name="T28" fmla="*/ 0 w 33"/>
                  <a:gd name="T29" fmla="*/ 16 h 34"/>
                  <a:gd name="T30" fmla="*/ 2 w 33"/>
                  <a:gd name="T31" fmla="*/ 21 h 34"/>
                  <a:gd name="T32" fmla="*/ 3 w 33"/>
                  <a:gd name="T33" fmla="*/ 25 h 34"/>
                  <a:gd name="T34" fmla="*/ 7 w 33"/>
                  <a:gd name="T35" fmla="*/ 30 h 34"/>
                  <a:gd name="T36" fmla="*/ 7 w 33"/>
                  <a:gd name="T37" fmla="*/ 30 h 34"/>
                  <a:gd name="T38" fmla="*/ 29 w 33"/>
                  <a:gd name="T39" fmla="*/ 34 h 34"/>
                  <a:gd name="T40" fmla="*/ 29 w 33"/>
                  <a:gd name="T4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 h="34">
                    <a:moveTo>
                      <a:pt x="29" y="34"/>
                    </a:moveTo>
                    <a:lnTo>
                      <a:pt x="29" y="34"/>
                    </a:lnTo>
                    <a:lnTo>
                      <a:pt x="32" y="24"/>
                    </a:lnTo>
                    <a:lnTo>
                      <a:pt x="33" y="16"/>
                    </a:lnTo>
                    <a:lnTo>
                      <a:pt x="32" y="10"/>
                    </a:lnTo>
                    <a:lnTo>
                      <a:pt x="29" y="6"/>
                    </a:lnTo>
                    <a:lnTo>
                      <a:pt x="27" y="2"/>
                    </a:lnTo>
                    <a:lnTo>
                      <a:pt x="23" y="0"/>
                    </a:lnTo>
                    <a:lnTo>
                      <a:pt x="19" y="0"/>
                    </a:lnTo>
                    <a:lnTo>
                      <a:pt x="14" y="0"/>
                    </a:lnTo>
                    <a:lnTo>
                      <a:pt x="11" y="2"/>
                    </a:lnTo>
                    <a:lnTo>
                      <a:pt x="7" y="4"/>
                    </a:lnTo>
                    <a:lnTo>
                      <a:pt x="4" y="8"/>
                    </a:lnTo>
                    <a:lnTo>
                      <a:pt x="2" y="11"/>
                    </a:lnTo>
                    <a:lnTo>
                      <a:pt x="0" y="16"/>
                    </a:lnTo>
                    <a:lnTo>
                      <a:pt x="2" y="21"/>
                    </a:lnTo>
                    <a:lnTo>
                      <a:pt x="3" y="25"/>
                    </a:lnTo>
                    <a:lnTo>
                      <a:pt x="7" y="30"/>
                    </a:lnTo>
                    <a:lnTo>
                      <a:pt x="7" y="30"/>
                    </a:lnTo>
                    <a:lnTo>
                      <a:pt x="29" y="34"/>
                    </a:lnTo>
                    <a:lnTo>
                      <a:pt x="29"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25" name="Freeform 340">
                <a:extLst>
                  <a:ext uri="{FF2B5EF4-FFF2-40B4-BE49-F238E27FC236}">
                    <a16:creationId xmlns:a16="http://schemas.microsoft.com/office/drawing/2014/main" id="{1B5BEBB4-F5E4-47A3-9D78-2316ABB2BDA7}"/>
                  </a:ext>
                </a:extLst>
              </p:cNvPr>
              <p:cNvSpPr>
                <a:spLocks/>
              </p:cNvSpPr>
              <p:nvPr/>
            </p:nvSpPr>
            <p:spPr bwMode="auto">
              <a:xfrm>
                <a:off x="3198813" y="701675"/>
                <a:ext cx="7938" cy="6350"/>
              </a:xfrm>
              <a:custGeom>
                <a:avLst/>
                <a:gdLst>
                  <a:gd name="T0" fmla="*/ 0 w 35"/>
                  <a:gd name="T1" fmla="*/ 15 h 34"/>
                  <a:gd name="T2" fmla="*/ 0 w 35"/>
                  <a:gd name="T3" fmla="*/ 15 h 34"/>
                  <a:gd name="T4" fmla="*/ 7 w 35"/>
                  <a:gd name="T5" fmla="*/ 21 h 34"/>
                  <a:gd name="T6" fmla="*/ 16 w 35"/>
                  <a:gd name="T7" fmla="*/ 26 h 34"/>
                  <a:gd name="T8" fmla="*/ 32 w 35"/>
                  <a:gd name="T9" fmla="*/ 34 h 34"/>
                  <a:gd name="T10" fmla="*/ 32 w 35"/>
                  <a:gd name="T11" fmla="*/ 34 h 34"/>
                  <a:gd name="T12" fmla="*/ 34 w 35"/>
                  <a:gd name="T13" fmla="*/ 28 h 34"/>
                  <a:gd name="T14" fmla="*/ 35 w 35"/>
                  <a:gd name="T15" fmla="*/ 23 h 34"/>
                  <a:gd name="T16" fmla="*/ 35 w 35"/>
                  <a:gd name="T17" fmla="*/ 18 h 34"/>
                  <a:gd name="T18" fmla="*/ 35 w 35"/>
                  <a:gd name="T19" fmla="*/ 14 h 34"/>
                  <a:gd name="T20" fmla="*/ 34 w 35"/>
                  <a:gd name="T21" fmla="*/ 10 h 34"/>
                  <a:gd name="T22" fmla="*/ 32 w 35"/>
                  <a:gd name="T23" fmla="*/ 6 h 34"/>
                  <a:gd name="T24" fmla="*/ 30 w 35"/>
                  <a:gd name="T25" fmla="*/ 4 h 34"/>
                  <a:gd name="T26" fmla="*/ 27 w 35"/>
                  <a:gd name="T27" fmla="*/ 1 h 34"/>
                  <a:gd name="T28" fmla="*/ 24 w 35"/>
                  <a:gd name="T29" fmla="*/ 0 h 34"/>
                  <a:gd name="T30" fmla="*/ 20 w 35"/>
                  <a:gd name="T31" fmla="*/ 0 h 34"/>
                  <a:gd name="T32" fmla="*/ 17 w 35"/>
                  <a:gd name="T33" fmla="*/ 0 h 34"/>
                  <a:gd name="T34" fmla="*/ 13 w 35"/>
                  <a:gd name="T35" fmla="*/ 1 h 34"/>
                  <a:gd name="T36" fmla="*/ 10 w 35"/>
                  <a:gd name="T37" fmla="*/ 3 h 34"/>
                  <a:gd name="T38" fmla="*/ 7 w 35"/>
                  <a:gd name="T39" fmla="*/ 6 h 34"/>
                  <a:gd name="T40" fmla="*/ 3 w 35"/>
                  <a:gd name="T41" fmla="*/ 11 h 34"/>
                  <a:gd name="T42" fmla="*/ 0 w 35"/>
                  <a:gd name="T43" fmla="*/ 15 h 34"/>
                  <a:gd name="T44" fmla="*/ 0 w 35"/>
                  <a:gd name="T45"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34">
                    <a:moveTo>
                      <a:pt x="0" y="15"/>
                    </a:moveTo>
                    <a:lnTo>
                      <a:pt x="0" y="15"/>
                    </a:lnTo>
                    <a:lnTo>
                      <a:pt x="7" y="21"/>
                    </a:lnTo>
                    <a:lnTo>
                      <a:pt x="16" y="26"/>
                    </a:lnTo>
                    <a:lnTo>
                      <a:pt x="32" y="34"/>
                    </a:lnTo>
                    <a:lnTo>
                      <a:pt x="32" y="34"/>
                    </a:lnTo>
                    <a:lnTo>
                      <a:pt x="34" y="28"/>
                    </a:lnTo>
                    <a:lnTo>
                      <a:pt x="35" y="23"/>
                    </a:lnTo>
                    <a:lnTo>
                      <a:pt x="35" y="18"/>
                    </a:lnTo>
                    <a:lnTo>
                      <a:pt x="35" y="14"/>
                    </a:lnTo>
                    <a:lnTo>
                      <a:pt x="34" y="10"/>
                    </a:lnTo>
                    <a:lnTo>
                      <a:pt x="32" y="6"/>
                    </a:lnTo>
                    <a:lnTo>
                      <a:pt x="30" y="4"/>
                    </a:lnTo>
                    <a:lnTo>
                      <a:pt x="27" y="1"/>
                    </a:lnTo>
                    <a:lnTo>
                      <a:pt x="24" y="0"/>
                    </a:lnTo>
                    <a:lnTo>
                      <a:pt x="20" y="0"/>
                    </a:lnTo>
                    <a:lnTo>
                      <a:pt x="17" y="0"/>
                    </a:lnTo>
                    <a:lnTo>
                      <a:pt x="13" y="1"/>
                    </a:lnTo>
                    <a:lnTo>
                      <a:pt x="10" y="3"/>
                    </a:lnTo>
                    <a:lnTo>
                      <a:pt x="7" y="6"/>
                    </a:lnTo>
                    <a:lnTo>
                      <a:pt x="3" y="11"/>
                    </a:lnTo>
                    <a:lnTo>
                      <a:pt x="0" y="15"/>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26" name="Freeform 341">
                <a:extLst>
                  <a:ext uri="{FF2B5EF4-FFF2-40B4-BE49-F238E27FC236}">
                    <a16:creationId xmlns:a16="http://schemas.microsoft.com/office/drawing/2014/main" id="{ACC0BB08-9E68-4926-B8F1-CC1165C6EE49}"/>
                  </a:ext>
                </a:extLst>
              </p:cNvPr>
              <p:cNvSpPr>
                <a:spLocks/>
              </p:cNvSpPr>
              <p:nvPr/>
            </p:nvSpPr>
            <p:spPr bwMode="auto">
              <a:xfrm>
                <a:off x="3211513" y="700088"/>
                <a:ext cx="9525" cy="14288"/>
              </a:xfrm>
              <a:custGeom>
                <a:avLst/>
                <a:gdLst>
                  <a:gd name="T0" fmla="*/ 0 w 48"/>
                  <a:gd name="T1" fmla="*/ 12 h 69"/>
                  <a:gd name="T2" fmla="*/ 0 w 48"/>
                  <a:gd name="T3" fmla="*/ 12 h 69"/>
                  <a:gd name="T4" fmla="*/ 8 w 48"/>
                  <a:gd name="T5" fmla="*/ 18 h 69"/>
                  <a:gd name="T6" fmla="*/ 14 w 48"/>
                  <a:gd name="T7" fmla="*/ 21 h 69"/>
                  <a:gd name="T8" fmla="*/ 19 w 48"/>
                  <a:gd name="T9" fmla="*/ 25 h 69"/>
                  <a:gd name="T10" fmla="*/ 27 w 48"/>
                  <a:gd name="T11" fmla="*/ 25 h 69"/>
                  <a:gd name="T12" fmla="*/ 27 w 48"/>
                  <a:gd name="T13" fmla="*/ 25 h 69"/>
                  <a:gd name="T14" fmla="*/ 24 w 48"/>
                  <a:gd name="T15" fmla="*/ 30 h 69"/>
                  <a:gd name="T16" fmla="*/ 22 w 48"/>
                  <a:gd name="T17" fmla="*/ 36 h 69"/>
                  <a:gd name="T18" fmla="*/ 19 w 48"/>
                  <a:gd name="T19" fmla="*/ 43 h 69"/>
                  <a:gd name="T20" fmla="*/ 19 w 48"/>
                  <a:gd name="T21" fmla="*/ 49 h 69"/>
                  <a:gd name="T22" fmla="*/ 21 w 48"/>
                  <a:gd name="T23" fmla="*/ 55 h 69"/>
                  <a:gd name="T24" fmla="*/ 23 w 48"/>
                  <a:gd name="T25" fmla="*/ 59 h 69"/>
                  <a:gd name="T26" fmla="*/ 26 w 48"/>
                  <a:gd name="T27" fmla="*/ 65 h 69"/>
                  <a:gd name="T28" fmla="*/ 31 w 48"/>
                  <a:gd name="T29" fmla="*/ 69 h 69"/>
                  <a:gd name="T30" fmla="*/ 31 w 48"/>
                  <a:gd name="T31" fmla="*/ 69 h 69"/>
                  <a:gd name="T32" fmla="*/ 39 w 48"/>
                  <a:gd name="T33" fmla="*/ 65 h 69"/>
                  <a:gd name="T34" fmla="*/ 45 w 48"/>
                  <a:gd name="T35" fmla="*/ 60 h 69"/>
                  <a:gd name="T36" fmla="*/ 47 w 48"/>
                  <a:gd name="T37" fmla="*/ 55 h 69"/>
                  <a:gd name="T38" fmla="*/ 47 w 48"/>
                  <a:gd name="T39" fmla="*/ 49 h 69"/>
                  <a:gd name="T40" fmla="*/ 45 w 48"/>
                  <a:gd name="T41" fmla="*/ 43 h 69"/>
                  <a:gd name="T42" fmla="*/ 41 w 48"/>
                  <a:gd name="T43" fmla="*/ 36 h 69"/>
                  <a:gd name="T44" fmla="*/ 36 w 48"/>
                  <a:gd name="T45" fmla="*/ 30 h 69"/>
                  <a:gd name="T46" fmla="*/ 30 w 48"/>
                  <a:gd name="T47" fmla="*/ 23 h 69"/>
                  <a:gd name="T48" fmla="*/ 30 w 48"/>
                  <a:gd name="T49" fmla="*/ 23 h 69"/>
                  <a:gd name="T50" fmla="*/ 48 w 48"/>
                  <a:gd name="T51" fmla="*/ 20 h 69"/>
                  <a:gd name="T52" fmla="*/ 48 w 48"/>
                  <a:gd name="T53" fmla="*/ 20 h 69"/>
                  <a:gd name="T54" fmla="*/ 42 w 48"/>
                  <a:gd name="T55" fmla="*/ 13 h 69"/>
                  <a:gd name="T56" fmla="*/ 37 w 48"/>
                  <a:gd name="T57" fmla="*/ 7 h 69"/>
                  <a:gd name="T58" fmla="*/ 31 w 48"/>
                  <a:gd name="T59" fmla="*/ 3 h 69"/>
                  <a:gd name="T60" fmla="*/ 25 w 48"/>
                  <a:gd name="T61" fmla="*/ 0 h 69"/>
                  <a:gd name="T62" fmla="*/ 18 w 48"/>
                  <a:gd name="T63" fmla="*/ 0 h 69"/>
                  <a:gd name="T64" fmla="*/ 13 w 48"/>
                  <a:gd name="T65" fmla="*/ 2 h 69"/>
                  <a:gd name="T66" fmla="*/ 6 w 48"/>
                  <a:gd name="T67" fmla="*/ 6 h 69"/>
                  <a:gd name="T68" fmla="*/ 0 w 48"/>
                  <a:gd name="T69" fmla="*/ 12 h 69"/>
                  <a:gd name="T70" fmla="*/ 0 w 48"/>
                  <a:gd name="T71" fmla="*/ 1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69">
                    <a:moveTo>
                      <a:pt x="0" y="12"/>
                    </a:moveTo>
                    <a:lnTo>
                      <a:pt x="0" y="12"/>
                    </a:lnTo>
                    <a:lnTo>
                      <a:pt x="8" y="18"/>
                    </a:lnTo>
                    <a:lnTo>
                      <a:pt x="14" y="21"/>
                    </a:lnTo>
                    <a:lnTo>
                      <a:pt x="19" y="25"/>
                    </a:lnTo>
                    <a:lnTo>
                      <a:pt x="27" y="25"/>
                    </a:lnTo>
                    <a:lnTo>
                      <a:pt x="27" y="25"/>
                    </a:lnTo>
                    <a:lnTo>
                      <a:pt x="24" y="30"/>
                    </a:lnTo>
                    <a:lnTo>
                      <a:pt x="22" y="36"/>
                    </a:lnTo>
                    <a:lnTo>
                      <a:pt x="19" y="43"/>
                    </a:lnTo>
                    <a:lnTo>
                      <a:pt x="19" y="49"/>
                    </a:lnTo>
                    <a:lnTo>
                      <a:pt x="21" y="55"/>
                    </a:lnTo>
                    <a:lnTo>
                      <a:pt x="23" y="59"/>
                    </a:lnTo>
                    <a:lnTo>
                      <a:pt x="26" y="65"/>
                    </a:lnTo>
                    <a:lnTo>
                      <a:pt x="31" y="69"/>
                    </a:lnTo>
                    <a:lnTo>
                      <a:pt x="31" y="69"/>
                    </a:lnTo>
                    <a:lnTo>
                      <a:pt x="39" y="65"/>
                    </a:lnTo>
                    <a:lnTo>
                      <a:pt x="45" y="60"/>
                    </a:lnTo>
                    <a:lnTo>
                      <a:pt x="47" y="55"/>
                    </a:lnTo>
                    <a:lnTo>
                      <a:pt x="47" y="49"/>
                    </a:lnTo>
                    <a:lnTo>
                      <a:pt x="45" y="43"/>
                    </a:lnTo>
                    <a:lnTo>
                      <a:pt x="41" y="36"/>
                    </a:lnTo>
                    <a:lnTo>
                      <a:pt x="36" y="30"/>
                    </a:lnTo>
                    <a:lnTo>
                      <a:pt x="30" y="23"/>
                    </a:lnTo>
                    <a:lnTo>
                      <a:pt x="30" y="23"/>
                    </a:lnTo>
                    <a:lnTo>
                      <a:pt x="48" y="20"/>
                    </a:lnTo>
                    <a:lnTo>
                      <a:pt x="48" y="20"/>
                    </a:lnTo>
                    <a:lnTo>
                      <a:pt x="42" y="13"/>
                    </a:lnTo>
                    <a:lnTo>
                      <a:pt x="37" y="7"/>
                    </a:lnTo>
                    <a:lnTo>
                      <a:pt x="31" y="3"/>
                    </a:lnTo>
                    <a:lnTo>
                      <a:pt x="25" y="0"/>
                    </a:lnTo>
                    <a:lnTo>
                      <a:pt x="18" y="0"/>
                    </a:lnTo>
                    <a:lnTo>
                      <a:pt x="13" y="2"/>
                    </a:lnTo>
                    <a:lnTo>
                      <a:pt x="6" y="6"/>
                    </a:lnTo>
                    <a:lnTo>
                      <a:pt x="0" y="12"/>
                    </a:ln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27" name="Freeform 342">
                <a:extLst>
                  <a:ext uri="{FF2B5EF4-FFF2-40B4-BE49-F238E27FC236}">
                    <a16:creationId xmlns:a16="http://schemas.microsoft.com/office/drawing/2014/main" id="{D70CC01B-70EC-4DFE-80B1-2949458B2949}"/>
                  </a:ext>
                </a:extLst>
              </p:cNvPr>
              <p:cNvSpPr>
                <a:spLocks/>
              </p:cNvSpPr>
              <p:nvPr/>
            </p:nvSpPr>
            <p:spPr bwMode="auto">
              <a:xfrm>
                <a:off x="3227388" y="714375"/>
                <a:ext cx="9525" cy="4763"/>
              </a:xfrm>
              <a:custGeom>
                <a:avLst/>
                <a:gdLst>
                  <a:gd name="T0" fmla="*/ 43 w 43"/>
                  <a:gd name="T1" fmla="*/ 10 h 26"/>
                  <a:gd name="T2" fmla="*/ 43 w 43"/>
                  <a:gd name="T3" fmla="*/ 10 h 26"/>
                  <a:gd name="T4" fmla="*/ 36 w 43"/>
                  <a:gd name="T5" fmla="*/ 5 h 26"/>
                  <a:gd name="T6" fmla="*/ 29 w 43"/>
                  <a:gd name="T7" fmla="*/ 3 h 26"/>
                  <a:gd name="T8" fmla="*/ 22 w 43"/>
                  <a:gd name="T9" fmla="*/ 1 h 26"/>
                  <a:gd name="T10" fmla="*/ 16 w 43"/>
                  <a:gd name="T11" fmla="*/ 0 h 26"/>
                  <a:gd name="T12" fmla="*/ 12 w 43"/>
                  <a:gd name="T13" fmla="*/ 1 h 26"/>
                  <a:gd name="T14" fmla="*/ 7 w 43"/>
                  <a:gd name="T15" fmla="*/ 4 h 26"/>
                  <a:gd name="T16" fmla="*/ 4 w 43"/>
                  <a:gd name="T17" fmla="*/ 10 h 26"/>
                  <a:gd name="T18" fmla="*/ 0 w 43"/>
                  <a:gd name="T19" fmla="*/ 17 h 26"/>
                  <a:gd name="T20" fmla="*/ 0 w 43"/>
                  <a:gd name="T21" fmla="*/ 17 h 26"/>
                  <a:gd name="T22" fmla="*/ 6 w 43"/>
                  <a:gd name="T23" fmla="*/ 23 h 26"/>
                  <a:gd name="T24" fmla="*/ 10 w 43"/>
                  <a:gd name="T25" fmla="*/ 25 h 26"/>
                  <a:gd name="T26" fmla="*/ 16 w 43"/>
                  <a:gd name="T27" fmla="*/ 26 h 26"/>
                  <a:gd name="T28" fmla="*/ 21 w 43"/>
                  <a:gd name="T29" fmla="*/ 25 h 26"/>
                  <a:gd name="T30" fmla="*/ 27 w 43"/>
                  <a:gd name="T31" fmla="*/ 24 h 26"/>
                  <a:gd name="T32" fmla="*/ 32 w 43"/>
                  <a:gd name="T33" fmla="*/ 20 h 26"/>
                  <a:gd name="T34" fmla="*/ 43 w 43"/>
                  <a:gd name="T35" fmla="*/ 10 h 26"/>
                  <a:gd name="T36" fmla="*/ 43 w 43"/>
                  <a:gd name="T37"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 h="26">
                    <a:moveTo>
                      <a:pt x="43" y="10"/>
                    </a:moveTo>
                    <a:lnTo>
                      <a:pt x="43" y="10"/>
                    </a:lnTo>
                    <a:lnTo>
                      <a:pt x="36" y="5"/>
                    </a:lnTo>
                    <a:lnTo>
                      <a:pt x="29" y="3"/>
                    </a:lnTo>
                    <a:lnTo>
                      <a:pt x="22" y="1"/>
                    </a:lnTo>
                    <a:lnTo>
                      <a:pt x="16" y="0"/>
                    </a:lnTo>
                    <a:lnTo>
                      <a:pt x="12" y="1"/>
                    </a:lnTo>
                    <a:lnTo>
                      <a:pt x="7" y="4"/>
                    </a:lnTo>
                    <a:lnTo>
                      <a:pt x="4" y="10"/>
                    </a:lnTo>
                    <a:lnTo>
                      <a:pt x="0" y="17"/>
                    </a:lnTo>
                    <a:lnTo>
                      <a:pt x="0" y="17"/>
                    </a:lnTo>
                    <a:lnTo>
                      <a:pt x="6" y="23"/>
                    </a:lnTo>
                    <a:lnTo>
                      <a:pt x="10" y="25"/>
                    </a:lnTo>
                    <a:lnTo>
                      <a:pt x="16" y="26"/>
                    </a:lnTo>
                    <a:lnTo>
                      <a:pt x="21" y="25"/>
                    </a:lnTo>
                    <a:lnTo>
                      <a:pt x="27" y="24"/>
                    </a:lnTo>
                    <a:lnTo>
                      <a:pt x="32" y="20"/>
                    </a:lnTo>
                    <a:lnTo>
                      <a:pt x="43" y="10"/>
                    </a:lnTo>
                    <a:lnTo>
                      <a:pt x="43"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28" name="Freeform 343">
                <a:extLst>
                  <a:ext uri="{FF2B5EF4-FFF2-40B4-BE49-F238E27FC236}">
                    <a16:creationId xmlns:a16="http://schemas.microsoft.com/office/drawing/2014/main" id="{9DF019EB-A3C6-48DD-B46C-B1BEBE8F466B}"/>
                  </a:ext>
                </a:extLst>
              </p:cNvPr>
              <p:cNvSpPr>
                <a:spLocks/>
              </p:cNvSpPr>
              <p:nvPr/>
            </p:nvSpPr>
            <p:spPr bwMode="auto">
              <a:xfrm>
                <a:off x="3262313" y="735013"/>
                <a:ext cx="7938" cy="6350"/>
              </a:xfrm>
              <a:custGeom>
                <a:avLst/>
                <a:gdLst>
                  <a:gd name="T0" fmla="*/ 0 w 37"/>
                  <a:gd name="T1" fmla="*/ 19 h 34"/>
                  <a:gd name="T2" fmla="*/ 0 w 37"/>
                  <a:gd name="T3" fmla="*/ 19 h 34"/>
                  <a:gd name="T4" fmla="*/ 3 w 37"/>
                  <a:gd name="T5" fmla="*/ 25 h 34"/>
                  <a:gd name="T6" fmla="*/ 8 w 37"/>
                  <a:gd name="T7" fmla="*/ 29 h 34"/>
                  <a:gd name="T8" fmla="*/ 11 w 37"/>
                  <a:gd name="T9" fmla="*/ 33 h 34"/>
                  <a:gd name="T10" fmla="*/ 16 w 37"/>
                  <a:gd name="T11" fmla="*/ 34 h 34"/>
                  <a:gd name="T12" fmla="*/ 22 w 37"/>
                  <a:gd name="T13" fmla="*/ 34 h 34"/>
                  <a:gd name="T14" fmla="*/ 26 w 37"/>
                  <a:gd name="T15" fmla="*/ 33 h 34"/>
                  <a:gd name="T16" fmla="*/ 32 w 37"/>
                  <a:gd name="T17" fmla="*/ 29 h 34"/>
                  <a:gd name="T18" fmla="*/ 37 w 37"/>
                  <a:gd name="T19" fmla="*/ 25 h 34"/>
                  <a:gd name="T20" fmla="*/ 37 w 37"/>
                  <a:gd name="T21" fmla="*/ 25 h 34"/>
                  <a:gd name="T22" fmla="*/ 33 w 37"/>
                  <a:gd name="T23" fmla="*/ 19 h 34"/>
                  <a:gd name="T24" fmla="*/ 27 w 37"/>
                  <a:gd name="T25" fmla="*/ 11 h 34"/>
                  <a:gd name="T26" fmla="*/ 22 w 37"/>
                  <a:gd name="T27" fmla="*/ 5 h 34"/>
                  <a:gd name="T28" fmla="*/ 16 w 37"/>
                  <a:gd name="T29" fmla="*/ 0 h 34"/>
                  <a:gd name="T30" fmla="*/ 16 w 37"/>
                  <a:gd name="T31" fmla="*/ 0 h 34"/>
                  <a:gd name="T32" fmla="*/ 8 w 37"/>
                  <a:gd name="T33" fmla="*/ 9 h 34"/>
                  <a:gd name="T34" fmla="*/ 3 w 37"/>
                  <a:gd name="T35" fmla="*/ 15 h 34"/>
                  <a:gd name="T36" fmla="*/ 0 w 37"/>
                  <a:gd name="T37" fmla="*/ 19 h 34"/>
                  <a:gd name="T38" fmla="*/ 0 w 37"/>
                  <a:gd name="T39" fmla="*/ 1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 h="34">
                    <a:moveTo>
                      <a:pt x="0" y="19"/>
                    </a:moveTo>
                    <a:lnTo>
                      <a:pt x="0" y="19"/>
                    </a:lnTo>
                    <a:lnTo>
                      <a:pt x="3" y="25"/>
                    </a:lnTo>
                    <a:lnTo>
                      <a:pt x="8" y="29"/>
                    </a:lnTo>
                    <a:lnTo>
                      <a:pt x="11" y="33"/>
                    </a:lnTo>
                    <a:lnTo>
                      <a:pt x="16" y="34"/>
                    </a:lnTo>
                    <a:lnTo>
                      <a:pt x="22" y="34"/>
                    </a:lnTo>
                    <a:lnTo>
                      <a:pt x="26" y="33"/>
                    </a:lnTo>
                    <a:lnTo>
                      <a:pt x="32" y="29"/>
                    </a:lnTo>
                    <a:lnTo>
                      <a:pt x="37" y="25"/>
                    </a:lnTo>
                    <a:lnTo>
                      <a:pt x="37" y="25"/>
                    </a:lnTo>
                    <a:lnTo>
                      <a:pt x="33" y="19"/>
                    </a:lnTo>
                    <a:lnTo>
                      <a:pt x="27" y="11"/>
                    </a:lnTo>
                    <a:lnTo>
                      <a:pt x="22" y="5"/>
                    </a:lnTo>
                    <a:lnTo>
                      <a:pt x="16" y="0"/>
                    </a:lnTo>
                    <a:lnTo>
                      <a:pt x="16" y="0"/>
                    </a:lnTo>
                    <a:lnTo>
                      <a:pt x="8" y="9"/>
                    </a:lnTo>
                    <a:lnTo>
                      <a:pt x="3" y="15"/>
                    </a:lnTo>
                    <a:lnTo>
                      <a:pt x="0" y="19"/>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29" name="Freeform 344">
                <a:extLst>
                  <a:ext uri="{FF2B5EF4-FFF2-40B4-BE49-F238E27FC236}">
                    <a16:creationId xmlns:a16="http://schemas.microsoft.com/office/drawing/2014/main" id="{E17E493B-89D8-4687-94CC-5ADFAAA1B4F7}"/>
                  </a:ext>
                </a:extLst>
              </p:cNvPr>
              <p:cNvSpPr>
                <a:spLocks/>
              </p:cNvSpPr>
              <p:nvPr/>
            </p:nvSpPr>
            <p:spPr bwMode="auto">
              <a:xfrm>
                <a:off x="3273425" y="763588"/>
                <a:ext cx="7938" cy="9525"/>
              </a:xfrm>
              <a:custGeom>
                <a:avLst/>
                <a:gdLst>
                  <a:gd name="T0" fmla="*/ 17 w 36"/>
                  <a:gd name="T1" fmla="*/ 38 h 38"/>
                  <a:gd name="T2" fmla="*/ 17 w 36"/>
                  <a:gd name="T3" fmla="*/ 38 h 38"/>
                  <a:gd name="T4" fmla="*/ 36 w 36"/>
                  <a:gd name="T5" fmla="*/ 0 h 38"/>
                  <a:gd name="T6" fmla="*/ 36 w 36"/>
                  <a:gd name="T7" fmla="*/ 0 h 38"/>
                  <a:gd name="T8" fmla="*/ 0 w 36"/>
                  <a:gd name="T9" fmla="*/ 20 h 38"/>
                  <a:gd name="T10" fmla="*/ 0 w 36"/>
                  <a:gd name="T11" fmla="*/ 20 h 38"/>
                  <a:gd name="T12" fmla="*/ 9 w 36"/>
                  <a:gd name="T13" fmla="*/ 30 h 38"/>
                  <a:gd name="T14" fmla="*/ 12 w 36"/>
                  <a:gd name="T15" fmla="*/ 34 h 38"/>
                  <a:gd name="T16" fmla="*/ 17 w 36"/>
                  <a:gd name="T17" fmla="*/ 38 h 38"/>
                  <a:gd name="T18" fmla="*/ 17 w 36"/>
                  <a:gd name="T1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8">
                    <a:moveTo>
                      <a:pt x="17" y="38"/>
                    </a:moveTo>
                    <a:lnTo>
                      <a:pt x="17" y="38"/>
                    </a:lnTo>
                    <a:lnTo>
                      <a:pt x="36" y="0"/>
                    </a:lnTo>
                    <a:lnTo>
                      <a:pt x="36" y="0"/>
                    </a:lnTo>
                    <a:lnTo>
                      <a:pt x="0" y="20"/>
                    </a:lnTo>
                    <a:lnTo>
                      <a:pt x="0" y="20"/>
                    </a:lnTo>
                    <a:lnTo>
                      <a:pt x="9" y="30"/>
                    </a:lnTo>
                    <a:lnTo>
                      <a:pt x="12" y="34"/>
                    </a:lnTo>
                    <a:lnTo>
                      <a:pt x="17" y="38"/>
                    </a:lnTo>
                    <a:lnTo>
                      <a:pt x="17" y="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30" name="Freeform 345">
                <a:extLst>
                  <a:ext uri="{FF2B5EF4-FFF2-40B4-BE49-F238E27FC236}">
                    <a16:creationId xmlns:a16="http://schemas.microsoft.com/office/drawing/2014/main" id="{21594D5D-42B5-4285-A016-95EADB499D15}"/>
                  </a:ext>
                </a:extLst>
              </p:cNvPr>
              <p:cNvSpPr>
                <a:spLocks/>
              </p:cNvSpPr>
              <p:nvPr/>
            </p:nvSpPr>
            <p:spPr bwMode="auto">
              <a:xfrm>
                <a:off x="3254375" y="763588"/>
                <a:ext cx="15875" cy="9525"/>
              </a:xfrm>
              <a:custGeom>
                <a:avLst/>
                <a:gdLst>
                  <a:gd name="T0" fmla="*/ 34 w 71"/>
                  <a:gd name="T1" fmla="*/ 19 h 41"/>
                  <a:gd name="T2" fmla="*/ 34 w 71"/>
                  <a:gd name="T3" fmla="*/ 19 h 41"/>
                  <a:gd name="T4" fmla="*/ 36 w 71"/>
                  <a:gd name="T5" fmla="*/ 25 h 41"/>
                  <a:gd name="T6" fmla="*/ 40 w 71"/>
                  <a:gd name="T7" fmla="*/ 30 h 41"/>
                  <a:gd name="T8" fmla="*/ 43 w 71"/>
                  <a:gd name="T9" fmla="*/ 35 h 41"/>
                  <a:gd name="T10" fmla="*/ 48 w 71"/>
                  <a:gd name="T11" fmla="*/ 37 h 41"/>
                  <a:gd name="T12" fmla="*/ 52 w 71"/>
                  <a:gd name="T13" fmla="*/ 39 h 41"/>
                  <a:gd name="T14" fmla="*/ 58 w 71"/>
                  <a:gd name="T15" fmla="*/ 41 h 41"/>
                  <a:gd name="T16" fmla="*/ 64 w 71"/>
                  <a:gd name="T17" fmla="*/ 41 h 41"/>
                  <a:gd name="T18" fmla="*/ 71 w 71"/>
                  <a:gd name="T19" fmla="*/ 39 h 41"/>
                  <a:gd name="T20" fmla="*/ 71 w 71"/>
                  <a:gd name="T21" fmla="*/ 39 h 41"/>
                  <a:gd name="T22" fmla="*/ 70 w 71"/>
                  <a:gd name="T23" fmla="*/ 30 h 41"/>
                  <a:gd name="T24" fmla="*/ 68 w 71"/>
                  <a:gd name="T25" fmla="*/ 23 h 41"/>
                  <a:gd name="T26" fmla="*/ 65 w 71"/>
                  <a:gd name="T27" fmla="*/ 18 h 41"/>
                  <a:gd name="T28" fmla="*/ 61 w 71"/>
                  <a:gd name="T29" fmla="*/ 14 h 41"/>
                  <a:gd name="T30" fmla="*/ 56 w 71"/>
                  <a:gd name="T31" fmla="*/ 12 h 41"/>
                  <a:gd name="T32" fmla="*/ 49 w 71"/>
                  <a:gd name="T33" fmla="*/ 13 h 41"/>
                  <a:gd name="T34" fmla="*/ 42 w 71"/>
                  <a:gd name="T35" fmla="*/ 14 h 41"/>
                  <a:gd name="T36" fmla="*/ 34 w 71"/>
                  <a:gd name="T37" fmla="*/ 19 h 41"/>
                  <a:gd name="T38" fmla="*/ 34 w 71"/>
                  <a:gd name="T39" fmla="*/ 19 h 41"/>
                  <a:gd name="T40" fmla="*/ 38 w 71"/>
                  <a:gd name="T41" fmla="*/ 7 h 41"/>
                  <a:gd name="T42" fmla="*/ 38 w 71"/>
                  <a:gd name="T43" fmla="*/ 7 h 41"/>
                  <a:gd name="T44" fmla="*/ 33 w 71"/>
                  <a:gd name="T45" fmla="*/ 4 h 41"/>
                  <a:gd name="T46" fmla="*/ 28 w 71"/>
                  <a:gd name="T47" fmla="*/ 1 h 41"/>
                  <a:gd name="T48" fmla="*/ 22 w 71"/>
                  <a:gd name="T49" fmla="*/ 0 h 41"/>
                  <a:gd name="T50" fmla="*/ 17 w 71"/>
                  <a:gd name="T51" fmla="*/ 1 h 41"/>
                  <a:gd name="T52" fmla="*/ 12 w 71"/>
                  <a:gd name="T53" fmla="*/ 4 h 41"/>
                  <a:gd name="T54" fmla="*/ 7 w 71"/>
                  <a:gd name="T55" fmla="*/ 7 h 41"/>
                  <a:gd name="T56" fmla="*/ 4 w 71"/>
                  <a:gd name="T57" fmla="*/ 11 h 41"/>
                  <a:gd name="T58" fmla="*/ 0 w 71"/>
                  <a:gd name="T59" fmla="*/ 16 h 41"/>
                  <a:gd name="T60" fmla="*/ 0 w 71"/>
                  <a:gd name="T61" fmla="*/ 16 h 41"/>
                  <a:gd name="T62" fmla="*/ 5 w 71"/>
                  <a:gd name="T63" fmla="*/ 22 h 41"/>
                  <a:gd name="T64" fmla="*/ 12 w 71"/>
                  <a:gd name="T65" fmla="*/ 29 h 41"/>
                  <a:gd name="T66" fmla="*/ 19 w 71"/>
                  <a:gd name="T67" fmla="*/ 34 h 41"/>
                  <a:gd name="T68" fmla="*/ 25 w 71"/>
                  <a:gd name="T69" fmla="*/ 38 h 41"/>
                  <a:gd name="T70" fmla="*/ 25 w 71"/>
                  <a:gd name="T71" fmla="*/ 38 h 41"/>
                  <a:gd name="T72" fmla="*/ 34 w 71"/>
                  <a:gd name="T73" fmla="*/ 19 h 41"/>
                  <a:gd name="T74" fmla="*/ 34 w 71"/>
                  <a:gd name="T75" fmla="*/ 1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1" h="41">
                    <a:moveTo>
                      <a:pt x="34" y="19"/>
                    </a:moveTo>
                    <a:lnTo>
                      <a:pt x="34" y="19"/>
                    </a:lnTo>
                    <a:lnTo>
                      <a:pt x="36" y="25"/>
                    </a:lnTo>
                    <a:lnTo>
                      <a:pt x="40" y="30"/>
                    </a:lnTo>
                    <a:lnTo>
                      <a:pt x="43" y="35"/>
                    </a:lnTo>
                    <a:lnTo>
                      <a:pt x="48" y="37"/>
                    </a:lnTo>
                    <a:lnTo>
                      <a:pt x="52" y="39"/>
                    </a:lnTo>
                    <a:lnTo>
                      <a:pt x="58" y="41"/>
                    </a:lnTo>
                    <a:lnTo>
                      <a:pt x="64" y="41"/>
                    </a:lnTo>
                    <a:lnTo>
                      <a:pt x="71" y="39"/>
                    </a:lnTo>
                    <a:lnTo>
                      <a:pt x="71" y="39"/>
                    </a:lnTo>
                    <a:lnTo>
                      <a:pt x="70" y="30"/>
                    </a:lnTo>
                    <a:lnTo>
                      <a:pt x="68" y="23"/>
                    </a:lnTo>
                    <a:lnTo>
                      <a:pt x="65" y="18"/>
                    </a:lnTo>
                    <a:lnTo>
                      <a:pt x="61" y="14"/>
                    </a:lnTo>
                    <a:lnTo>
                      <a:pt x="56" y="12"/>
                    </a:lnTo>
                    <a:lnTo>
                      <a:pt x="49" y="13"/>
                    </a:lnTo>
                    <a:lnTo>
                      <a:pt x="42" y="14"/>
                    </a:lnTo>
                    <a:lnTo>
                      <a:pt x="34" y="19"/>
                    </a:lnTo>
                    <a:lnTo>
                      <a:pt x="34" y="19"/>
                    </a:lnTo>
                    <a:lnTo>
                      <a:pt x="38" y="7"/>
                    </a:lnTo>
                    <a:lnTo>
                      <a:pt x="38" y="7"/>
                    </a:lnTo>
                    <a:lnTo>
                      <a:pt x="33" y="4"/>
                    </a:lnTo>
                    <a:lnTo>
                      <a:pt x="28" y="1"/>
                    </a:lnTo>
                    <a:lnTo>
                      <a:pt x="22" y="0"/>
                    </a:lnTo>
                    <a:lnTo>
                      <a:pt x="17" y="1"/>
                    </a:lnTo>
                    <a:lnTo>
                      <a:pt x="12" y="4"/>
                    </a:lnTo>
                    <a:lnTo>
                      <a:pt x="7" y="7"/>
                    </a:lnTo>
                    <a:lnTo>
                      <a:pt x="4" y="11"/>
                    </a:lnTo>
                    <a:lnTo>
                      <a:pt x="0" y="16"/>
                    </a:lnTo>
                    <a:lnTo>
                      <a:pt x="0" y="16"/>
                    </a:lnTo>
                    <a:lnTo>
                      <a:pt x="5" y="22"/>
                    </a:lnTo>
                    <a:lnTo>
                      <a:pt x="12" y="29"/>
                    </a:lnTo>
                    <a:lnTo>
                      <a:pt x="19" y="34"/>
                    </a:lnTo>
                    <a:lnTo>
                      <a:pt x="25" y="38"/>
                    </a:lnTo>
                    <a:lnTo>
                      <a:pt x="25" y="38"/>
                    </a:lnTo>
                    <a:lnTo>
                      <a:pt x="34" y="19"/>
                    </a:lnTo>
                    <a:lnTo>
                      <a:pt x="34"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31" name="Freeform 346">
                <a:extLst>
                  <a:ext uri="{FF2B5EF4-FFF2-40B4-BE49-F238E27FC236}">
                    <a16:creationId xmlns:a16="http://schemas.microsoft.com/office/drawing/2014/main" id="{D6A1864E-C7BB-4036-8A30-D010E348ED31}"/>
                  </a:ext>
                </a:extLst>
              </p:cNvPr>
              <p:cNvSpPr>
                <a:spLocks/>
              </p:cNvSpPr>
              <p:nvPr/>
            </p:nvSpPr>
            <p:spPr bwMode="auto">
              <a:xfrm>
                <a:off x="3224213" y="831850"/>
                <a:ext cx="9525" cy="4763"/>
              </a:xfrm>
              <a:custGeom>
                <a:avLst/>
                <a:gdLst>
                  <a:gd name="T0" fmla="*/ 42 w 42"/>
                  <a:gd name="T1" fmla="*/ 17 h 25"/>
                  <a:gd name="T2" fmla="*/ 42 w 42"/>
                  <a:gd name="T3" fmla="*/ 17 h 25"/>
                  <a:gd name="T4" fmla="*/ 38 w 42"/>
                  <a:gd name="T5" fmla="*/ 9 h 25"/>
                  <a:gd name="T6" fmla="*/ 34 w 42"/>
                  <a:gd name="T7" fmla="*/ 4 h 25"/>
                  <a:gd name="T8" fmla="*/ 29 w 42"/>
                  <a:gd name="T9" fmla="*/ 1 h 25"/>
                  <a:gd name="T10" fmla="*/ 23 w 42"/>
                  <a:gd name="T11" fmla="*/ 0 h 25"/>
                  <a:gd name="T12" fmla="*/ 19 w 42"/>
                  <a:gd name="T13" fmla="*/ 0 h 25"/>
                  <a:gd name="T14" fmla="*/ 13 w 42"/>
                  <a:gd name="T15" fmla="*/ 2 h 25"/>
                  <a:gd name="T16" fmla="*/ 7 w 42"/>
                  <a:gd name="T17" fmla="*/ 7 h 25"/>
                  <a:gd name="T18" fmla="*/ 0 w 42"/>
                  <a:gd name="T19" fmla="*/ 12 h 25"/>
                  <a:gd name="T20" fmla="*/ 0 w 42"/>
                  <a:gd name="T21" fmla="*/ 12 h 25"/>
                  <a:gd name="T22" fmla="*/ 5 w 42"/>
                  <a:gd name="T23" fmla="*/ 17 h 25"/>
                  <a:gd name="T24" fmla="*/ 9 w 42"/>
                  <a:gd name="T25" fmla="*/ 22 h 25"/>
                  <a:gd name="T26" fmla="*/ 15 w 42"/>
                  <a:gd name="T27" fmla="*/ 24 h 25"/>
                  <a:gd name="T28" fmla="*/ 20 w 42"/>
                  <a:gd name="T29" fmla="*/ 25 h 25"/>
                  <a:gd name="T30" fmla="*/ 26 w 42"/>
                  <a:gd name="T31" fmla="*/ 25 h 25"/>
                  <a:gd name="T32" fmla="*/ 31 w 42"/>
                  <a:gd name="T33" fmla="*/ 24 h 25"/>
                  <a:gd name="T34" fmla="*/ 37 w 42"/>
                  <a:gd name="T35" fmla="*/ 21 h 25"/>
                  <a:gd name="T36" fmla="*/ 42 w 42"/>
                  <a:gd name="T37" fmla="*/ 17 h 25"/>
                  <a:gd name="T38" fmla="*/ 42 w 42"/>
                  <a:gd name="T39"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 h="25">
                    <a:moveTo>
                      <a:pt x="42" y="17"/>
                    </a:moveTo>
                    <a:lnTo>
                      <a:pt x="42" y="17"/>
                    </a:lnTo>
                    <a:lnTo>
                      <a:pt x="38" y="9"/>
                    </a:lnTo>
                    <a:lnTo>
                      <a:pt x="34" y="4"/>
                    </a:lnTo>
                    <a:lnTo>
                      <a:pt x="29" y="1"/>
                    </a:lnTo>
                    <a:lnTo>
                      <a:pt x="23" y="0"/>
                    </a:lnTo>
                    <a:lnTo>
                      <a:pt x="19" y="0"/>
                    </a:lnTo>
                    <a:lnTo>
                      <a:pt x="13" y="2"/>
                    </a:lnTo>
                    <a:lnTo>
                      <a:pt x="7" y="7"/>
                    </a:lnTo>
                    <a:lnTo>
                      <a:pt x="0" y="12"/>
                    </a:lnTo>
                    <a:lnTo>
                      <a:pt x="0" y="12"/>
                    </a:lnTo>
                    <a:lnTo>
                      <a:pt x="5" y="17"/>
                    </a:lnTo>
                    <a:lnTo>
                      <a:pt x="9" y="22"/>
                    </a:lnTo>
                    <a:lnTo>
                      <a:pt x="15" y="24"/>
                    </a:lnTo>
                    <a:lnTo>
                      <a:pt x="20" y="25"/>
                    </a:lnTo>
                    <a:lnTo>
                      <a:pt x="26" y="25"/>
                    </a:lnTo>
                    <a:lnTo>
                      <a:pt x="31" y="24"/>
                    </a:lnTo>
                    <a:lnTo>
                      <a:pt x="37" y="21"/>
                    </a:lnTo>
                    <a:lnTo>
                      <a:pt x="42" y="17"/>
                    </a:lnTo>
                    <a:lnTo>
                      <a:pt x="42"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32" name="Freeform 347">
                <a:extLst>
                  <a:ext uri="{FF2B5EF4-FFF2-40B4-BE49-F238E27FC236}">
                    <a16:creationId xmlns:a16="http://schemas.microsoft.com/office/drawing/2014/main" id="{2ED6DFD0-B725-4F63-B724-6FDDAC9F07B9}"/>
                  </a:ext>
                </a:extLst>
              </p:cNvPr>
              <p:cNvSpPr>
                <a:spLocks/>
              </p:cNvSpPr>
              <p:nvPr/>
            </p:nvSpPr>
            <p:spPr bwMode="auto">
              <a:xfrm>
                <a:off x="3233738" y="835025"/>
                <a:ext cx="9525" cy="7938"/>
              </a:xfrm>
              <a:custGeom>
                <a:avLst/>
                <a:gdLst>
                  <a:gd name="T0" fmla="*/ 0 w 39"/>
                  <a:gd name="T1" fmla="*/ 12 h 31"/>
                  <a:gd name="T2" fmla="*/ 0 w 39"/>
                  <a:gd name="T3" fmla="*/ 12 h 31"/>
                  <a:gd name="T4" fmla="*/ 2 w 39"/>
                  <a:gd name="T5" fmla="*/ 20 h 31"/>
                  <a:gd name="T6" fmla="*/ 6 w 39"/>
                  <a:gd name="T7" fmla="*/ 25 h 31"/>
                  <a:gd name="T8" fmla="*/ 11 w 39"/>
                  <a:gd name="T9" fmla="*/ 29 h 31"/>
                  <a:gd name="T10" fmla="*/ 15 w 39"/>
                  <a:gd name="T11" fmla="*/ 31 h 31"/>
                  <a:gd name="T12" fmla="*/ 21 w 39"/>
                  <a:gd name="T13" fmla="*/ 30 h 31"/>
                  <a:gd name="T14" fmla="*/ 27 w 39"/>
                  <a:gd name="T15" fmla="*/ 29 h 31"/>
                  <a:gd name="T16" fmla="*/ 34 w 39"/>
                  <a:gd name="T17" fmla="*/ 25 h 31"/>
                  <a:gd name="T18" fmla="*/ 39 w 39"/>
                  <a:gd name="T19" fmla="*/ 20 h 31"/>
                  <a:gd name="T20" fmla="*/ 39 w 39"/>
                  <a:gd name="T21" fmla="*/ 20 h 31"/>
                  <a:gd name="T22" fmla="*/ 36 w 39"/>
                  <a:gd name="T23" fmla="*/ 13 h 31"/>
                  <a:gd name="T24" fmla="*/ 31 w 39"/>
                  <a:gd name="T25" fmla="*/ 7 h 31"/>
                  <a:gd name="T26" fmla="*/ 27 w 39"/>
                  <a:gd name="T27" fmla="*/ 4 h 31"/>
                  <a:gd name="T28" fmla="*/ 21 w 39"/>
                  <a:gd name="T29" fmla="*/ 1 h 31"/>
                  <a:gd name="T30" fmla="*/ 16 w 39"/>
                  <a:gd name="T31" fmla="*/ 0 h 31"/>
                  <a:gd name="T32" fmla="*/ 11 w 39"/>
                  <a:gd name="T33" fmla="*/ 2 h 31"/>
                  <a:gd name="T34" fmla="*/ 6 w 39"/>
                  <a:gd name="T35" fmla="*/ 6 h 31"/>
                  <a:gd name="T36" fmla="*/ 0 w 39"/>
                  <a:gd name="T37" fmla="*/ 12 h 31"/>
                  <a:gd name="T38" fmla="*/ 0 w 39"/>
                  <a:gd name="T39" fmla="*/ 1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 h="31">
                    <a:moveTo>
                      <a:pt x="0" y="12"/>
                    </a:moveTo>
                    <a:lnTo>
                      <a:pt x="0" y="12"/>
                    </a:lnTo>
                    <a:lnTo>
                      <a:pt x="2" y="20"/>
                    </a:lnTo>
                    <a:lnTo>
                      <a:pt x="6" y="25"/>
                    </a:lnTo>
                    <a:lnTo>
                      <a:pt x="11" y="29"/>
                    </a:lnTo>
                    <a:lnTo>
                      <a:pt x="15" y="31"/>
                    </a:lnTo>
                    <a:lnTo>
                      <a:pt x="21" y="30"/>
                    </a:lnTo>
                    <a:lnTo>
                      <a:pt x="27" y="29"/>
                    </a:lnTo>
                    <a:lnTo>
                      <a:pt x="34" y="25"/>
                    </a:lnTo>
                    <a:lnTo>
                      <a:pt x="39" y="20"/>
                    </a:lnTo>
                    <a:lnTo>
                      <a:pt x="39" y="20"/>
                    </a:lnTo>
                    <a:lnTo>
                      <a:pt x="36" y="13"/>
                    </a:lnTo>
                    <a:lnTo>
                      <a:pt x="31" y="7"/>
                    </a:lnTo>
                    <a:lnTo>
                      <a:pt x="27" y="4"/>
                    </a:lnTo>
                    <a:lnTo>
                      <a:pt x="21" y="1"/>
                    </a:lnTo>
                    <a:lnTo>
                      <a:pt x="16" y="0"/>
                    </a:lnTo>
                    <a:lnTo>
                      <a:pt x="11" y="2"/>
                    </a:lnTo>
                    <a:lnTo>
                      <a:pt x="6" y="6"/>
                    </a:lnTo>
                    <a:lnTo>
                      <a:pt x="0" y="12"/>
                    </a:ln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33" name="Freeform 348">
                <a:extLst>
                  <a:ext uri="{FF2B5EF4-FFF2-40B4-BE49-F238E27FC236}">
                    <a16:creationId xmlns:a16="http://schemas.microsoft.com/office/drawing/2014/main" id="{F91348E3-5E0F-452F-9B75-23DC94029F4B}"/>
                  </a:ext>
                </a:extLst>
              </p:cNvPr>
              <p:cNvSpPr>
                <a:spLocks/>
              </p:cNvSpPr>
              <p:nvPr/>
            </p:nvSpPr>
            <p:spPr bwMode="auto">
              <a:xfrm>
                <a:off x="3227388" y="839788"/>
                <a:ext cx="9525" cy="7938"/>
              </a:xfrm>
              <a:custGeom>
                <a:avLst/>
                <a:gdLst>
                  <a:gd name="T0" fmla="*/ 0 w 39"/>
                  <a:gd name="T1" fmla="*/ 14 h 37"/>
                  <a:gd name="T2" fmla="*/ 0 w 39"/>
                  <a:gd name="T3" fmla="*/ 14 h 37"/>
                  <a:gd name="T4" fmla="*/ 3 w 39"/>
                  <a:gd name="T5" fmla="*/ 21 h 37"/>
                  <a:gd name="T6" fmla="*/ 7 w 39"/>
                  <a:gd name="T7" fmla="*/ 27 h 37"/>
                  <a:gd name="T8" fmla="*/ 11 w 39"/>
                  <a:gd name="T9" fmla="*/ 32 h 37"/>
                  <a:gd name="T10" fmla="*/ 16 w 39"/>
                  <a:gd name="T11" fmla="*/ 36 h 37"/>
                  <a:gd name="T12" fmla="*/ 22 w 39"/>
                  <a:gd name="T13" fmla="*/ 37 h 37"/>
                  <a:gd name="T14" fmla="*/ 26 w 39"/>
                  <a:gd name="T15" fmla="*/ 37 h 37"/>
                  <a:gd name="T16" fmla="*/ 33 w 39"/>
                  <a:gd name="T17" fmla="*/ 34 h 37"/>
                  <a:gd name="T18" fmla="*/ 39 w 39"/>
                  <a:gd name="T19" fmla="*/ 30 h 37"/>
                  <a:gd name="T20" fmla="*/ 39 w 39"/>
                  <a:gd name="T21" fmla="*/ 30 h 37"/>
                  <a:gd name="T22" fmla="*/ 37 w 39"/>
                  <a:gd name="T23" fmla="*/ 23 h 37"/>
                  <a:gd name="T24" fmla="*/ 32 w 39"/>
                  <a:gd name="T25" fmla="*/ 14 h 37"/>
                  <a:gd name="T26" fmla="*/ 27 w 39"/>
                  <a:gd name="T27" fmla="*/ 7 h 37"/>
                  <a:gd name="T28" fmla="*/ 23 w 39"/>
                  <a:gd name="T29" fmla="*/ 0 h 37"/>
                  <a:gd name="T30" fmla="*/ 23 w 39"/>
                  <a:gd name="T31" fmla="*/ 0 h 37"/>
                  <a:gd name="T32" fmla="*/ 10 w 39"/>
                  <a:gd name="T33" fmla="*/ 7 h 37"/>
                  <a:gd name="T34" fmla="*/ 4 w 39"/>
                  <a:gd name="T35" fmla="*/ 9 h 37"/>
                  <a:gd name="T36" fmla="*/ 0 w 39"/>
                  <a:gd name="T37" fmla="*/ 14 h 37"/>
                  <a:gd name="T38" fmla="*/ 0 w 39"/>
                  <a:gd name="T39" fmla="*/ 1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 h="37">
                    <a:moveTo>
                      <a:pt x="0" y="14"/>
                    </a:moveTo>
                    <a:lnTo>
                      <a:pt x="0" y="14"/>
                    </a:lnTo>
                    <a:lnTo>
                      <a:pt x="3" y="21"/>
                    </a:lnTo>
                    <a:lnTo>
                      <a:pt x="7" y="27"/>
                    </a:lnTo>
                    <a:lnTo>
                      <a:pt x="11" y="32"/>
                    </a:lnTo>
                    <a:lnTo>
                      <a:pt x="16" y="36"/>
                    </a:lnTo>
                    <a:lnTo>
                      <a:pt x="22" y="37"/>
                    </a:lnTo>
                    <a:lnTo>
                      <a:pt x="26" y="37"/>
                    </a:lnTo>
                    <a:lnTo>
                      <a:pt x="33" y="34"/>
                    </a:lnTo>
                    <a:lnTo>
                      <a:pt x="39" y="30"/>
                    </a:lnTo>
                    <a:lnTo>
                      <a:pt x="39" y="30"/>
                    </a:lnTo>
                    <a:lnTo>
                      <a:pt x="37" y="23"/>
                    </a:lnTo>
                    <a:lnTo>
                      <a:pt x="32" y="14"/>
                    </a:lnTo>
                    <a:lnTo>
                      <a:pt x="27" y="7"/>
                    </a:lnTo>
                    <a:lnTo>
                      <a:pt x="23" y="0"/>
                    </a:lnTo>
                    <a:lnTo>
                      <a:pt x="23" y="0"/>
                    </a:lnTo>
                    <a:lnTo>
                      <a:pt x="10" y="7"/>
                    </a:lnTo>
                    <a:lnTo>
                      <a:pt x="4" y="9"/>
                    </a:lnTo>
                    <a:lnTo>
                      <a:pt x="0" y="14"/>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34" name="Freeform 349">
                <a:extLst>
                  <a:ext uri="{FF2B5EF4-FFF2-40B4-BE49-F238E27FC236}">
                    <a16:creationId xmlns:a16="http://schemas.microsoft.com/office/drawing/2014/main" id="{8F619349-0825-4B4B-AD04-173F5B418949}"/>
                  </a:ext>
                </a:extLst>
              </p:cNvPr>
              <p:cNvSpPr>
                <a:spLocks/>
              </p:cNvSpPr>
              <p:nvPr/>
            </p:nvSpPr>
            <p:spPr bwMode="auto">
              <a:xfrm>
                <a:off x="3249613" y="522288"/>
                <a:ext cx="42863" cy="28575"/>
              </a:xfrm>
              <a:custGeom>
                <a:avLst/>
                <a:gdLst>
                  <a:gd name="T0" fmla="*/ 40 w 192"/>
                  <a:gd name="T1" fmla="*/ 104 h 123"/>
                  <a:gd name="T2" fmla="*/ 61 w 192"/>
                  <a:gd name="T3" fmla="*/ 108 h 123"/>
                  <a:gd name="T4" fmla="*/ 91 w 192"/>
                  <a:gd name="T5" fmla="*/ 119 h 123"/>
                  <a:gd name="T6" fmla="*/ 111 w 192"/>
                  <a:gd name="T7" fmla="*/ 123 h 123"/>
                  <a:gd name="T8" fmla="*/ 121 w 192"/>
                  <a:gd name="T9" fmla="*/ 123 h 123"/>
                  <a:gd name="T10" fmla="*/ 143 w 192"/>
                  <a:gd name="T11" fmla="*/ 114 h 123"/>
                  <a:gd name="T12" fmla="*/ 166 w 192"/>
                  <a:gd name="T13" fmla="*/ 97 h 123"/>
                  <a:gd name="T14" fmla="*/ 184 w 192"/>
                  <a:gd name="T15" fmla="*/ 76 h 123"/>
                  <a:gd name="T16" fmla="*/ 191 w 192"/>
                  <a:gd name="T17" fmla="*/ 59 h 123"/>
                  <a:gd name="T18" fmla="*/ 192 w 192"/>
                  <a:gd name="T19" fmla="*/ 54 h 123"/>
                  <a:gd name="T20" fmla="*/ 191 w 192"/>
                  <a:gd name="T21" fmla="*/ 38 h 123"/>
                  <a:gd name="T22" fmla="*/ 188 w 192"/>
                  <a:gd name="T23" fmla="*/ 29 h 123"/>
                  <a:gd name="T24" fmla="*/ 181 w 192"/>
                  <a:gd name="T25" fmla="*/ 21 h 123"/>
                  <a:gd name="T26" fmla="*/ 168 w 192"/>
                  <a:gd name="T27" fmla="*/ 10 h 123"/>
                  <a:gd name="T28" fmla="*/ 154 w 192"/>
                  <a:gd name="T29" fmla="*/ 2 h 123"/>
                  <a:gd name="T30" fmla="*/ 151 w 192"/>
                  <a:gd name="T31" fmla="*/ 3 h 123"/>
                  <a:gd name="T32" fmla="*/ 147 w 192"/>
                  <a:gd name="T33" fmla="*/ 10 h 123"/>
                  <a:gd name="T34" fmla="*/ 141 w 192"/>
                  <a:gd name="T35" fmla="*/ 17 h 123"/>
                  <a:gd name="T36" fmla="*/ 135 w 192"/>
                  <a:gd name="T37" fmla="*/ 18 h 123"/>
                  <a:gd name="T38" fmla="*/ 130 w 192"/>
                  <a:gd name="T39" fmla="*/ 17 h 123"/>
                  <a:gd name="T40" fmla="*/ 122 w 192"/>
                  <a:gd name="T41" fmla="*/ 10 h 123"/>
                  <a:gd name="T42" fmla="*/ 116 w 192"/>
                  <a:gd name="T43" fmla="*/ 7 h 123"/>
                  <a:gd name="T44" fmla="*/ 107 w 192"/>
                  <a:gd name="T45" fmla="*/ 5 h 123"/>
                  <a:gd name="T46" fmla="*/ 100 w 192"/>
                  <a:gd name="T47" fmla="*/ 7 h 123"/>
                  <a:gd name="T48" fmla="*/ 89 w 192"/>
                  <a:gd name="T49" fmla="*/ 13 h 123"/>
                  <a:gd name="T50" fmla="*/ 74 w 192"/>
                  <a:gd name="T51" fmla="*/ 25 h 123"/>
                  <a:gd name="T52" fmla="*/ 65 w 192"/>
                  <a:gd name="T53" fmla="*/ 36 h 123"/>
                  <a:gd name="T54" fmla="*/ 71 w 192"/>
                  <a:gd name="T55" fmla="*/ 15 h 123"/>
                  <a:gd name="T56" fmla="*/ 71 w 192"/>
                  <a:gd name="T57" fmla="*/ 7 h 123"/>
                  <a:gd name="T58" fmla="*/ 68 w 192"/>
                  <a:gd name="T59" fmla="*/ 2 h 123"/>
                  <a:gd name="T60" fmla="*/ 62 w 192"/>
                  <a:gd name="T61" fmla="*/ 0 h 123"/>
                  <a:gd name="T62" fmla="*/ 50 w 192"/>
                  <a:gd name="T63" fmla="*/ 1 h 123"/>
                  <a:gd name="T64" fmla="*/ 30 w 192"/>
                  <a:gd name="T65" fmla="*/ 9 h 123"/>
                  <a:gd name="T66" fmla="*/ 12 w 192"/>
                  <a:gd name="T67" fmla="*/ 21 h 123"/>
                  <a:gd name="T68" fmla="*/ 1 w 192"/>
                  <a:gd name="T69" fmla="*/ 33 h 123"/>
                  <a:gd name="T70" fmla="*/ 0 w 192"/>
                  <a:gd name="T71" fmla="*/ 39 h 123"/>
                  <a:gd name="T72" fmla="*/ 4 w 192"/>
                  <a:gd name="T73" fmla="*/ 43 h 123"/>
                  <a:gd name="T74" fmla="*/ 10 w 192"/>
                  <a:gd name="T75" fmla="*/ 46 h 123"/>
                  <a:gd name="T76" fmla="*/ 23 w 192"/>
                  <a:gd name="T77" fmla="*/ 46 h 123"/>
                  <a:gd name="T78" fmla="*/ 16 w 192"/>
                  <a:gd name="T79" fmla="*/ 58 h 123"/>
                  <a:gd name="T80" fmla="*/ 16 w 192"/>
                  <a:gd name="T81" fmla="*/ 66 h 123"/>
                  <a:gd name="T82" fmla="*/ 20 w 192"/>
                  <a:gd name="T83" fmla="*/ 71 h 123"/>
                  <a:gd name="T84" fmla="*/ 32 w 192"/>
                  <a:gd name="T85" fmla="*/ 78 h 123"/>
                  <a:gd name="T86" fmla="*/ 38 w 192"/>
                  <a:gd name="T87" fmla="*/ 84 h 123"/>
                  <a:gd name="T88" fmla="*/ 42 w 192"/>
                  <a:gd name="T89" fmla="*/ 92 h 123"/>
                  <a:gd name="T90" fmla="*/ 40 w 192"/>
                  <a:gd name="T91" fmla="*/ 10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2" h="123">
                    <a:moveTo>
                      <a:pt x="40" y="104"/>
                    </a:moveTo>
                    <a:lnTo>
                      <a:pt x="40" y="104"/>
                    </a:lnTo>
                    <a:lnTo>
                      <a:pt x="51" y="106"/>
                    </a:lnTo>
                    <a:lnTo>
                      <a:pt x="61" y="108"/>
                    </a:lnTo>
                    <a:lnTo>
                      <a:pt x="81" y="115"/>
                    </a:lnTo>
                    <a:lnTo>
                      <a:pt x="91" y="119"/>
                    </a:lnTo>
                    <a:lnTo>
                      <a:pt x="100" y="122"/>
                    </a:lnTo>
                    <a:lnTo>
                      <a:pt x="111" y="123"/>
                    </a:lnTo>
                    <a:lnTo>
                      <a:pt x="121" y="123"/>
                    </a:lnTo>
                    <a:lnTo>
                      <a:pt x="121" y="123"/>
                    </a:lnTo>
                    <a:lnTo>
                      <a:pt x="131" y="120"/>
                    </a:lnTo>
                    <a:lnTo>
                      <a:pt x="143" y="114"/>
                    </a:lnTo>
                    <a:lnTo>
                      <a:pt x="156" y="107"/>
                    </a:lnTo>
                    <a:lnTo>
                      <a:pt x="166" y="97"/>
                    </a:lnTo>
                    <a:lnTo>
                      <a:pt x="176" y="86"/>
                    </a:lnTo>
                    <a:lnTo>
                      <a:pt x="184" y="76"/>
                    </a:lnTo>
                    <a:lnTo>
                      <a:pt x="190" y="64"/>
                    </a:lnTo>
                    <a:lnTo>
                      <a:pt x="191" y="59"/>
                    </a:lnTo>
                    <a:lnTo>
                      <a:pt x="192" y="54"/>
                    </a:lnTo>
                    <a:lnTo>
                      <a:pt x="192" y="54"/>
                    </a:lnTo>
                    <a:lnTo>
                      <a:pt x="192" y="45"/>
                    </a:lnTo>
                    <a:lnTo>
                      <a:pt x="191" y="38"/>
                    </a:lnTo>
                    <a:lnTo>
                      <a:pt x="190" y="33"/>
                    </a:lnTo>
                    <a:lnTo>
                      <a:pt x="188" y="29"/>
                    </a:lnTo>
                    <a:lnTo>
                      <a:pt x="184" y="24"/>
                    </a:lnTo>
                    <a:lnTo>
                      <a:pt x="181" y="21"/>
                    </a:lnTo>
                    <a:lnTo>
                      <a:pt x="168" y="10"/>
                    </a:lnTo>
                    <a:lnTo>
                      <a:pt x="168" y="10"/>
                    </a:lnTo>
                    <a:lnTo>
                      <a:pt x="159" y="5"/>
                    </a:lnTo>
                    <a:lnTo>
                      <a:pt x="154" y="2"/>
                    </a:lnTo>
                    <a:lnTo>
                      <a:pt x="152" y="2"/>
                    </a:lnTo>
                    <a:lnTo>
                      <a:pt x="151" y="3"/>
                    </a:lnTo>
                    <a:lnTo>
                      <a:pt x="149" y="6"/>
                    </a:lnTo>
                    <a:lnTo>
                      <a:pt x="147" y="10"/>
                    </a:lnTo>
                    <a:lnTo>
                      <a:pt x="145" y="14"/>
                    </a:lnTo>
                    <a:lnTo>
                      <a:pt x="141" y="17"/>
                    </a:lnTo>
                    <a:lnTo>
                      <a:pt x="138" y="18"/>
                    </a:lnTo>
                    <a:lnTo>
                      <a:pt x="135" y="18"/>
                    </a:lnTo>
                    <a:lnTo>
                      <a:pt x="135" y="18"/>
                    </a:lnTo>
                    <a:lnTo>
                      <a:pt x="130" y="17"/>
                    </a:lnTo>
                    <a:lnTo>
                      <a:pt x="127" y="15"/>
                    </a:lnTo>
                    <a:lnTo>
                      <a:pt x="122" y="10"/>
                    </a:lnTo>
                    <a:lnTo>
                      <a:pt x="119" y="8"/>
                    </a:lnTo>
                    <a:lnTo>
                      <a:pt x="116" y="7"/>
                    </a:lnTo>
                    <a:lnTo>
                      <a:pt x="112" y="5"/>
                    </a:lnTo>
                    <a:lnTo>
                      <a:pt x="107" y="5"/>
                    </a:lnTo>
                    <a:lnTo>
                      <a:pt x="107" y="5"/>
                    </a:lnTo>
                    <a:lnTo>
                      <a:pt x="100" y="7"/>
                    </a:lnTo>
                    <a:lnTo>
                      <a:pt x="95" y="9"/>
                    </a:lnTo>
                    <a:lnTo>
                      <a:pt x="89" y="13"/>
                    </a:lnTo>
                    <a:lnTo>
                      <a:pt x="84" y="16"/>
                    </a:lnTo>
                    <a:lnTo>
                      <a:pt x="74" y="25"/>
                    </a:lnTo>
                    <a:lnTo>
                      <a:pt x="65" y="36"/>
                    </a:lnTo>
                    <a:lnTo>
                      <a:pt x="65" y="36"/>
                    </a:lnTo>
                    <a:lnTo>
                      <a:pt x="70" y="21"/>
                    </a:lnTo>
                    <a:lnTo>
                      <a:pt x="71" y="15"/>
                    </a:lnTo>
                    <a:lnTo>
                      <a:pt x="73" y="10"/>
                    </a:lnTo>
                    <a:lnTo>
                      <a:pt x="71" y="7"/>
                    </a:lnTo>
                    <a:lnTo>
                      <a:pt x="70" y="3"/>
                    </a:lnTo>
                    <a:lnTo>
                      <a:pt x="68" y="2"/>
                    </a:lnTo>
                    <a:lnTo>
                      <a:pt x="66" y="0"/>
                    </a:lnTo>
                    <a:lnTo>
                      <a:pt x="62" y="0"/>
                    </a:lnTo>
                    <a:lnTo>
                      <a:pt x="58" y="0"/>
                    </a:lnTo>
                    <a:lnTo>
                      <a:pt x="50" y="1"/>
                    </a:lnTo>
                    <a:lnTo>
                      <a:pt x="39" y="5"/>
                    </a:lnTo>
                    <a:lnTo>
                      <a:pt x="30" y="9"/>
                    </a:lnTo>
                    <a:lnTo>
                      <a:pt x="21" y="15"/>
                    </a:lnTo>
                    <a:lnTo>
                      <a:pt x="12" y="21"/>
                    </a:lnTo>
                    <a:lnTo>
                      <a:pt x="6" y="28"/>
                    </a:lnTo>
                    <a:lnTo>
                      <a:pt x="1" y="33"/>
                    </a:lnTo>
                    <a:lnTo>
                      <a:pt x="0" y="37"/>
                    </a:lnTo>
                    <a:lnTo>
                      <a:pt x="0" y="39"/>
                    </a:lnTo>
                    <a:lnTo>
                      <a:pt x="1" y="41"/>
                    </a:lnTo>
                    <a:lnTo>
                      <a:pt x="4" y="43"/>
                    </a:lnTo>
                    <a:lnTo>
                      <a:pt x="7" y="45"/>
                    </a:lnTo>
                    <a:lnTo>
                      <a:pt x="10" y="46"/>
                    </a:lnTo>
                    <a:lnTo>
                      <a:pt x="23" y="46"/>
                    </a:lnTo>
                    <a:lnTo>
                      <a:pt x="23" y="46"/>
                    </a:lnTo>
                    <a:lnTo>
                      <a:pt x="20" y="53"/>
                    </a:lnTo>
                    <a:lnTo>
                      <a:pt x="16" y="58"/>
                    </a:lnTo>
                    <a:lnTo>
                      <a:pt x="16" y="62"/>
                    </a:lnTo>
                    <a:lnTo>
                      <a:pt x="16" y="66"/>
                    </a:lnTo>
                    <a:lnTo>
                      <a:pt x="17" y="68"/>
                    </a:lnTo>
                    <a:lnTo>
                      <a:pt x="20" y="71"/>
                    </a:lnTo>
                    <a:lnTo>
                      <a:pt x="25" y="75"/>
                    </a:lnTo>
                    <a:lnTo>
                      <a:pt x="32" y="78"/>
                    </a:lnTo>
                    <a:lnTo>
                      <a:pt x="36" y="81"/>
                    </a:lnTo>
                    <a:lnTo>
                      <a:pt x="38" y="84"/>
                    </a:lnTo>
                    <a:lnTo>
                      <a:pt x="40" y="87"/>
                    </a:lnTo>
                    <a:lnTo>
                      <a:pt x="42" y="92"/>
                    </a:lnTo>
                    <a:lnTo>
                      <a:pt x="42" y="98"/>
                    </a:lnTo>
                    <a:lnTo>
                      <a:pt x="40" y="104"/>
                    </a:lnTo>
                    <a:lnTo>
                      <a:pt x="4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35" name="Freeform 350">
                <a:extLst>
                  <a:ext uri="{FF2B5EF4-FFF2-40B4-BE49-F238E27FC236}">
                    <a16:creationId xmlns:a16="http://schemas.microsoft.com/office/drawing/2014/main" id="{00BD9DDB-8C7D-4D72-A6CD-B8BFEA766367}"/>
                  </a:ext>
                </a:extLst>
              </p:cNvPr>
              <p:cNvSpPr>
                <a:spLocks/>
              </p:cNvSpPr>
              <p:nvPr/>
            </p:nvSpPr>
            <p:spPr bwMode="auto">
              <a:xfrm>
                <a:off x="3384550" y="398463"/>
                <a:ext cx="52388" cy="41275"/>
              </a:xfrm>
              <a:custGeom>
                <a:avLst/>
                <a:gdLst>
                  <a:gd name="T0" fmla="*/ 45 w 231"/>
                  <a:gd name="T1" fmla="*/ 122 h 183"/>
                  <a:gd name="T2" fmla="*/ 53 w 231"/>
                  <a:gd name="T3" fmla="*/ 107 h 183"/>
                  <a:gd name="T4" fmla="*/ 62 w 231"/>
                  <a:gd name="T5" fmla="*/ 93 h 183"/>
                  <a:gd name="T6" fmla="*/ 69 w 231"/>
                  <a:gd name="T7" fmla="*/ 99 h 183"/>
                  <a:gd name="T8" fmla="*/ 58 w 231"/>
                  <a:gd name="T9" fmla="*/ 121 h 183"/>
                  <a:gd name="T10" fmla="*/ 55 w 231"/>
                  <a:gd name="T11" fmla="*/ 141 h 183"/>
                  <a:gd name="T12" fmla="*/ 60 w 231"/>
                  <a:gd name="T13" fmla="*/ 162 h 183"/>
                  <a:gd name="T14" fmla="*/ 72 w 231"/>
                  <a:gd name="T15" fmla="*/ 183 h 183"/>
                  <a:gd name="T16" fmla="*/ 96 w 231"/>
                  <a:gd name="T17" fmla="*/ 143 h 183"/>
                  <a:gd name="T18" fmla="*/ 124 w 231"/>
                  <a:gd name="T19" fmla="*/ 105 h 183"/>
                  <a:gd name="T20" fmla="*/ 134 w 231"/>
                  <a:gd name="T21" fmla="*/ 93 h 183"/>
                  <a:gd name="T22" fmla="*/ 140 w 231"/>
                  <a:gd name="T23" fmla="*/ 86 h 183"/>
                  <a:gd name="T24" fmla="*/ 139 w 231"/>
                  <a:gd name="T25" fmla="*/ 79 h 183"/>
                  <a:gd name="T26" fmla="*/ 130 w 231"/>
                  <a:gd name="T27" fmla="*/ 69 h 183"/>
                  <a:gd name="T28" fmla="*/ 115 w 231"/>
                  <a:gd name="T29" fmla="*/ 57 h 183"/>
                  <a:gd name="T30" fmla="*/ 122 w 231"/>
                  <a:gd name="T31" fmla="*/ 57 h 183"/>
                  <a:gd name="T32" fmla="*/ 131 w 231"/>
                  <a:gd name="T33" fmla="*/ 55 h 183"/>
                  <a:gd name="T34" fmla="*/ 146 w 231"/>
                  <a:gd name="T35" fmla="*/ 71 h 183"/>
                  <a:gd name="T36" fmla="*/ 156 w 231"/>
                  <a:gd name="T37" fmla="*/ 77 h 183"/>
                  <a:gd name="T38" fmla="*/ 167 w 231"/>
                  <a:gd name="T39" fmla="*/ 80 h 183"/>
                  <a:gd name="T40" fmla="*/ 183 w 231"/>
                  <a:gd name="T41" fmla="*/ 78 h 183"/>
                  <a:gd name="T42" fmla="*/ 205 w 231"/>
                  <a:gd name="T43" fmla="*/ 68 h 183"/>
                  <a:gd name="T44" fmla="*/ 216 w 231"/>
                  <a:gd name="T45" fmla="*/ 58 h 183"/>
                  <a:gd name="T46" fmla="*/ 228 w 231"/>
                  <a:gd name="T47" fmla="*/ 46 h 183"/>
                  <a:gd name="T48" fmla="*/ 231 w 231"/>
                  <a:gd name="T49" fmla="*/ 33 h 183"/>
                  <a:gd name="T50" fmla="*/ 230 w 231"/>
                  <a:gd name="T51" fmla="*/ 22 h 183"/>
                  <a:gd name="T52" fmla="*/ 223 w 231"/>
                  <a:gd name="T53" fmla="*/ 12 h 183"/>
                  <a:gd name="T54" fmla="*/ 214 w 231"/>
                  <a:gd name="T55" fmla="*/ 7 h 183"/>
                  <a:gd name="T56" fmla="*/ 204 w 231"/>
                  <a:gd name="T57" fmla="*/ 4 h 183"/>
                  <a:gd name="T58" fmla="*/ 193 w 231"/>
                  <a:gd name="T59" fmla="*/ 7 h 183"/>
                  <a:gd name="T60" fmla="*/ 184 w 231"/>
                  <a:gd name="T61" fmla="*/ 15 h 183"/>
                  <a:gd name="T62" fmla="*/ 178 w 231"/>
                  <a:gd name="T63" fmla="*/ 8 h 183"/>
                  <a:gd name="T64" fmla="*/ 168 w 231"/>
                  <a:gd name="T65" fmla="*/ 3 h 183"/>
                  <a:gd name="T66" fmla="*/ 157 w 231"/>
                  <a:gd name="T67" fmla="*/ 6 h 183"/>
                  <a:gd name="T68" fmla="*/ 151 w 231"/>
                  <a:gd name="T69" fmla="*/ 17 h 183"/>
                  <a:gd name="T70" fmla="*/ 148 w 231"/>
                  <a:gd name="T71" fmla="*/ 25 h 183"/>
                  <a:gd name="T72" fmla="*/ 138 w 231"/>
                  <a:gd name="T73" fmla="*/ 9 h 183"/>
                  <a:gd name="T74" fmla="*/ 126 w 231"/>
                  <a:gd name="T75" fmla="*/ 1 h 183"/>
                  <a:gd name="T76" fmla="*/ 117 w 231"/>
                  <a:gd name="T77" fmla="*/ 0 h 183"/>
                  <a:gd name="T78" fmla="*/ 108 w 231"/>
                  <a:gd name="T79" fmla="*/ 4 h 183"/>
                  <a:gd name="T80" fmla="*/ 102 w 231"/>
                  <a:gd name="T81" fmla="*/ 14 h 183"/>
                  <a:gd name="T82" fmla="*/ 98 w 231"/>
                  <a:gd name="T83" fmla="*/ 24 h 183"/>
                  <a:gd name="T84" fmla="*/ 96 w 231"/>
                  <a:gd name="T85" fmla="*/ 35 h 183"/>
                  <a:gd name="T86" fmla="*/ 98 w 231"/>
                  <a:gd name="T87" fmla="*/ 46 h 183"/>
                  <a:gd name="T88" fmla="*/ 90 w 231"/>
                  <a:gd name="T89" fmla="*/ 41 h 183"/>
                  <a:gd name="T90" fmla="*/ 84 w 231"/>
                  <a:gd name="T91" fmla="*/ 42 h 183"/>
                  <a:gd name="T92" fmla="*/ 42 w 231"/>
                  <a:gd name="T93" fmla="*/ 53 h 183"/>
                  <a:gd name="T94" fmla="*/ 4 w 231"/>
                  <a:gd name="T95" fmla="*/ 62 h 183"/>
                  <a:gd name="T96" fmla="*/ 2 w 231"/>
                  <a:gd name="T97" fmla="*/ 62 h 183"/>
                  <a:gd name="T98" fmla="*/ 0 w 231"/>
                  <a:gd name="T99" fmla="*/ 73 h 183"/>
                  <a:gd name="T100" fmla="*/ 1 w 231"/>
                  <a:gd name="T101" fmla="*/ 96 h 183"/>
                  <a:gd name="T102" fmla="*/ 8 w 231"/>
                  <a:gd name="T103" fmla="*/ 111 h 183"/>
                  <a:gd name="T104" fmla="*/ 15 w 231"/>
                  <a:gd name="T105" fmla="*/ 118 h 183"/>
                  <a:gd name="T106" fmla="*/ 25 w 231"/>
                  <a:gd name="T107" fmla="*/ 123 h 183"/>
                  <a:gd name="T108" fmla="*/ 38 w 231"/>
                  <a:gd name="T109" fmla="*/ 123 h 183"/>
                  <a:gd name="T110" fmla="*/ 45 w 231"/>
                  <a:gd name="T111" fmla="*/ 12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1" h="183">
                    <a:moveTo>
                      <a:pt x="45" y="122"/>
                    </a:moveTo>
                    <a:lnTo>
                      <a:pt x="45" y="122"/>
                    </a:lnTo>
                    <a:lnTo>
                      <a:pt x="48" y="115"/>
                    </a:lnTo>
                    <a:lnTo>
                      <a:pt x="53" y="107"/>
                    </a:lnTo>
                    <a:lnTo>
                      <a:pt x="62" y="93"/>
                    </a:lnTo>
                    <a:lnTo>
                      <a:pt x="62" y="93"/>
                    </a:lnTo>
                    <a:lnTo>
                      <a:pt x="69" y="99"/>
                    </a:lnTo>
                    <a:lnTo>
                      <a:pt x="69" y="99"/>
                    </a:lnTo>
                    <a:lnTo>
                      <a:pt x="63" y="109"/>
                    </a:lnTo>
                    <a:lnTo>
                      <a:pt x="58" y="121"/>
                    </a:lnTo>
                    <a:lnTo>
                      <a:pt x="56" y="131"/>
                    </a:lnTo>
                    <a:lnTo>
                      <a:pt x="55" y="141"/>
                    </a:lnTo>
                    <a:lnTo>
                      <a:pt x="56" y="152"/>
                    </a:lnTo>
                    <a:lnTo>
                      <a:pt x="60" y="162"/>
                    </a:lnTo>
                    <a:lnTo>
                      <a:pt x="64" y="172"/>
                    </a:lnTo>
                    <a:lnTo>
                      <a:pt x="72" y="183"/>
                    </a:lnTo>
                    <a:lnTo>
                      <a:pt x="72" y="183"/>
                    </a:lnTo>
                    <a:lnTo>
                      <a:pt x="96" y="143"/>
                    </a:lnTo>
                    <a:lnTo>
                      <a:pt x="109" y="123"/>
                    </a:lnTo>
                    <a:lnTo>
                      <a:pt x="124" y="105"/>
                    </a:lnTo>
                    <a:lnTo>
                      <a:pt x="124" y="105"/>
                    </a:lnTo>
                    <a:lnTo>
                      <a:pt x="134" y="93"/>
                    </a:lnTo>
                    <a:lnTo>
                      <a:pt x="138" y="90"/>
                    </a:lnTo>
                    <a:lnTo>
                      <a:pt x="140" y="86"/>
                    </a:lnTo>
                    <a:lnTo>
                      <a:pt x="140" y="83"/>
                    </a:lnTo>
                    <a:lnTo>
                      <a:pt x="139" y="79"/>
                    </a:lnTo>
                    <a:lnTo>
                      <a:pt x="136" y="75"/>
                    </a:lnTo>
                    <a:lnTo>
                      <a:pt x="130" y="69"/>
                    </a:lnTo>
                    <a:lnTo>
                      <a:pt x="130" y="69"/>
                    </a:lnTo>
                    <a:lnTo>
                      <a:pt x="115" y="57"/>
                    </a:lnTo>
                    <a:lnTo>
                      <a:pt x="115" y="57"/>
                    </a:lnTo>
                    <a:lnTo>
                      <a:pt x="122" y="57"/>
                    </a:lnTo>
                    <a:lnTo>
                      <a:pt x="131" y="55"/>
                    </a:lnTo>
                    <a:lnTo>
                      <a:pt x="131" y="55"/>
                    </a:lnTo>
                    <a:lnTo>
                      <a:pt x="140" y="67"/>
                    </a:lnTo>
                    <a:lnTo>
                      <a:pt x="146" y="71"/>
                    </a:lnTo>
                    <a:lnTo>
                      <a:pt x="151" y="75"/>
                    </a:lnTo>
                    <a:lnTo>
                      <a:pt x="156" y="77"/>
                    </a:lnTo>
                    <a:lnTo>
                      <a:pt x="161" y="79"/>
                    </a:lnTo>
                    <a:lnTo>
                      <a:pt x="167" y="80"/>
                    </a:lnTo>
                    <a:lnTo>
                      <a:pt x="171" y="80"/>
                    </a:lnTo>
                    <a:lnTo>
                      <a:pt x="183" y="78"/>
                    </a:lnTo>
                    <a:lnTo>
                      <a:pt x="193" y="73"/>
                    </a:lnTo>
                    <a:lnTo>
                      <a:pt x="205" y="68"/>
                    </a:lnTo>
                    <a:lnTo>
                      <a:pt x="216" y="58"/>
                    </a:lnTo>
                    <a:lnTo>
                      <a:pt x="216" y="58"/>
                    </a:lnTo>
                    <a:lnTo>
                      <a:pt x="223" y="52"/>
                    </a:lnTo>
                    <a:lnTo>
                      <a:pt x="228" y="46"/>
                    </a:lnTo>
                    <a:lnTo>
                      <a:pt x="230" y="39"/>
                    </a:lnTo>
                    <a:lnTo>
                      <a:pt x="231" y="33"/>
                    </a:lnTo>
                    <a:lnTo>
                      <a:pt x="231" y="27"/>
                    </a:lnTo>
                    <a:lnTo>
                      <a:pt x="230" y="22"/>
                    </a:lnTo>
                    <a:lnTo>
                      <a:pt x="227" y="17"/>
                    </a:lnTo>
                    <a:lnTo>
                      <a:pt x="223" y="12"/>
                    </a:lnTo>
                    <a:lnTo>
                      <a:pt x="219" y="9"/>
                    </a:lnTo>
                    <a:lnTo>
                      <a:pt x="214" y="7"/>
                    </a:lnTo>
                    <a:lnTo>
                      <a:pt x="209" y="4"/>
                    </a:lnTo>
                    <a:lnTo>
                      <a:pt x="204" y="4"/>
                    </a:lnTo>
                    <a:lnTo>
                      <a:pt x="198" y="4"/>
                    </a:lnTo>
                    <a:lnTo>
                      <a:pt x="193" y="7"/>
                    </a:lnTo>
                    <a:lnTo>
                      <a:pt x="187" y="10"/>
                    </a:lnTo>
                    <a:lnTo>
                      <a:pt x="184" y="15"/>
                    </a:lnTo>
                    <a:lnTo>
                      <a:pt x="184" y="15"/>
                    </a:lnTo>
                    <a:lnTo>
                      <a:pt x="178" y="8"/>
                    </a:lnTo>
                    <a:lnTo>
                      <a:pt x="172" y="4"/>
                    </a:lnTo>
                    <a:lnTo>
                      <a:pt x="168" y="3"/>
                    </a:lnTo>
                    <a:lnTo>
                      <a:pt x="162" y="3"/>
                    </a:lnTo>
                    <a:lnTo>
                      <a:pt x="157" y="6"/>
                    </a:lnTo>
                    <a:lnTo>
                      <a:pt x="154" y="10"/>
                    </a:lnTo>
                    <a:lnTo>
                      <a:pt x="151" y="17"/>
                    </a:lnTo>
                    <a:lnTo>
                      <a:pt x="148" y="25"/>
                    </a:lnTo>
                    <a:lnTo>
                      <a:pt x="148" y="25"/>
                    </a:lnTo>
                    <a:lnTo>
                      <a:pt x="143" y="16"/>
                    </a:lnTo>
                    <a:lnTo>
                      <a:pt x="138" y="9"/>
                    </a:lnTo>
                    <a:lnTo>
                      <a:pt x="132" y="4"/>
                    </a:lnTo>
                    <a:lnTo>
                      <a:pt x="126" y="1"/>
                    </a:lnTo>
                    <a:lnTo>
                      <a:pt x="122" y="0"/>
                    </a:lnTo>
                    <a:lnTo>
                      <a:pt x="117" y="0"/>
                    </a:lnTo>
                    <a:lnTo>
                      <a:pt x="113" y="2"/>
                    </a:lnTo>
                    <a:lnTo>
                      <a:pt x="108" y="4"/>
                    </a:lnTo>
                    <a:lnTo>
                      <a:pt x="105" y="9"/>
                    </a:lnTo>
                    <a:lnTo>
                      <a:pt x="102" y="14"/>
                    </a:lnTo>
                    <a:lnTo>
                      <a:pt x="99" y="18"/>
                    </a:lnTo>
                    <a:lnTo>
                      <a:pt x="98" y="24"/>
                    </a:lnTo>
                    <a:lnTo>
                      <a:pt x="96" y="30"/>
                    </a:lnTo>
                    <a:lnTo>
                      <a:pt x="96" y="35"/>
                    </a:lnTo>
                    <a:lnTo>
                      <a:pt x="96" y="41"/>
                    </a:lnTo>
                    <a:lnTo>
                      <a:pt x="98" y="46"/>
                    </a:lnTo>
                    <a:lnTo>
                      <a:pt x="98" y="46"/>
                    </a:lnTo>
                    <a:lnTo>
                      <a:pt x="90" y="41"/>
                    </a:lnTo>
                    <a:lnTo>
                      <a:pt x="90" y="41"/>
                    </a:lnTo>
                    <a:lnTo>
                      <a:pt x="84" y="42"/>
                    </a:lnTo>
                    <a:lnTo>
                      <a:pt x="72" y="45"/>
                    </a:lnTo>
                    <a:lnTo>
                      <a:pt x="42" y="53"/>
                    </a:lnTo>
                    <a:lnTo>
                      <a:pt x="14" y="60"/>
                    </a:lnTo>
                    <a:lnTo>
                      <a:pt x="4" y="62"/>
                    </a:lnTo>
                    <a:lnTo>
                      <a:pt x="2" y="62"/>
                    </a:lnTo>
                    <a:lnTo>
                      <a:pt x="2" y="62"/>
                    </a:lnTo>
                    <a:lnTo>
                      <a:pt x="2" y="62"/>
                    </a:lnTo>
                    <a:lnTo>
                      <a:pt x="0" y="73"/>
                    </a:lnTo>
                    <a:lnTo>
                      <a:pt x="0" y="85"/>
                    </a:lnTo>
                    <a:lnTo>
                      <a:pt x="1" y="96"/>
                    </a:lnTo>
                    <a:lnTo>
                      <a:pt x="4" y="107"/>
                    </a:lnTo>
                    <a:lnTo>
                      <a:pt x="8" y="111"/>
                    </a:lnTo>
                    <a:lnTo>
                      <a:pt x="11" y="115"/>
                    </a:lnTo>
                    <a:lnTo>
                      <a:pt x="15" y="118"/>
                    </a:lnTo>
                    <a:lnTo>
                      <a:pt x="19" y="121"/>
                    </a:lnTo>
                    <a:lnTo>
                      <a:pt x="25" y="123"/>
                    </a:lnTo>
                    <a:lnTo>
                      <a:pt x="31" y="124"/>
                    </a:lnTo>
                    <a:lnTo>
                      <a:pt x="38" y="123"/>
                    </a:lnTo>
                    <a:lnTo>
                      <a:pt x="45" y="122"/>
                    </a:lnTo>
                    <a:lnTo>
                      <a:pt x="45" y="1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36" name="Freeform 351">
                <a:extLst>
                  <a:ext uri="{FF2B5EF4-FFF2-40B4-BE49-F238E27FC236}">
                    <a16:creationId xmlns:a16="http://schemas.microsoft.com/office/drawing/2014/main" id="{59F5866C-DC50-4DA0-AE6A-8941BF0E60C4}"/>
                  </a:ext>
                </a:extLst>
              </p:cNvPr>
              <p:cNvSpPr>
                <a:spLocks/>
              </p:cNvSpPr>
              <p:nvPr/>
            </p:nvSpPr>
            <p:spPr bwMode="auto">
              <a:xfrm>
                <a:off x="3414713" y="420688"/>
                <a:ext cx="14288" cy="12700"/>
              </a:xfrm>
              <a:custGeom>
                <a:avLst/>
                <a:gdLst>
                  <a:gd name="T0" fmla="*/ 16 w 63"/>
                  <a:gd name="T1" fmla="*/ 15 h 53"/>
                  <a:gd name="T2" fmla="*/ 16 w 63"/>
                  <a:gd name="T3" fmla="*/ 15 h 53"/>
                  <a:gd name="T4" fmla="*/ 9 w 63"/>
                  <a:gd name="T5" fmla="*/ 18 h 53"/>
                  <a:gd name="T6" fmla="*/ 5 w 63"/>
                  <a:gd name="T7" fmla="*/ 22 h 53"/>
                  <a:gd name="T8" fmla="*/ 1 w 63"/>
                  <a:gd name="T9" fmla="*/ 26 h 53"/>
                  <a:gd name="T10" fmla="*/ 0 w 63"/>
                  <a:gd name="T11" fmla="*/ 31 h 53"/>
                  <a:gd name="T12" fmla="*/ 0 w 63"/>
                  <a:gd name="T13" fmla="*/ 34 h 53"/>
                  <a:gd name="T14" fmla="*/ 2 w 63"/>
                  <a:gd name="T15" fmla="*/ 39 h 53"/>
                  <a:gd name="T16" fmla="*/ 5 w 63"/>
                  <a:gd name="T17" fmla="*/ 42 h 53"/>
                  <a:gd name="T18" fmla="*/ 8 w 63"/>
                  <a:gd name="T19" fmla="*/ 46 h 53"/>
                  <a:gd name="T20" fmla="*/ 13 w 63"/>
                  <a:gd name="T21" fmla="*/ 48 h 53"/>
                  <a:gd name="T22" fmla="*/ 19 w 63"/>
                  <a:gd name="T23" fmla="*/ 50 h 53"/>
                  <a:gd name="T24" fmla="*/ 24 w 63"/>
                  <a:gd name="T25" fmla="*/ 52 h 53"/>
                  <a:gd name="T26" fmla="*/ 30 w 63"/>
                  <a:gd name="T27" fmla="*/ 53 h 53"/>
                  <a:gd name="T28" fmla="*/ 36 w 63"/>
                  <a:gd name="T29" fmla="*/ 52 h 53"/>
                  <a:gd name="T30" fmla="*/ 43 w 63"/>
                  <a:gd name="T31" fmla="*/ 49 h 53"/>
                  <a:gd name="T32" fmla="*/ 49 w 63"/>
                  <a:gd name="T33" fmla="*/ 47 h 53"/>
                  <a:gd name="T34" fmla="*/ 53 w 63"/>
                  <a:gd name="T35" fmla="*/ 42 h 53"/>
                  <a:gd name="T36" fmla="*/ 53 w 63"/>
                  <a:gd name="T37" fmla="*/ 42 h 53"/>
                  <a:gd name="T38" fmla="*/ 58 w 63"/>
                  <a:gd name="T39" fmla="*/ 37 h 53"/>
                  <a:gd name="T40" fmla="*/ 61 w 63"/>
                  <a:gd name="T41" fmla="*/ 31 h 53"/>
                  <a:gd name="T42" fmla="*/ 62 w 63"/>
                  <a:gd name="T43" fmla="*/ 25 h 53"/>
                  <a:gd name="T44" fmla="*/ 63 w 63"/>
                  <a:gd name="T45" fmla="*/ 19 h 53"/>
                  <a:gd name="T46" fmla="*/ 62 w 63"/>
                  <a:gd name="T47" fmla="*/ 15 h 53"/>
                  <a:gd name="T48" fmla="*/ 60 w 63"/>
                  <a:gd name="T49" fmla="*/ 10 h 53"/>
                  <a:gd name="T50" fmla="*/ 58 w 63"/>
                  <a:gd name="T51" fmla="*/ 7 h 53"/>
                  <a:gd name="T52" fmla="*/ 54 w 63"/>
                  <a:gd name="T53" fmla="*/ 3 h 53"/>
                  <a:gd name="T54" fmla="*/ 50 w 63"/>
                  <a:gd name="T55" fmla="*/ 1 h 53"/>
                  <a:gd name="T56" fmla="*/ 45 w 63"/>
                  <a:gd name="T57" fmla="*/ 0 h 53"/>
                  <a:gd name="T58" fmla="*/ 40 w 63"/>
                  <a:gd name="T59" fmla="*/ 0 h 53"/>
                  <a:gd name="T60" fmla="*/ 36 w 63"/>
                  <a:gd name="T61" fmla="*/ 0 h 53"/>
                  <a:gd name="T62" fmla="*/ 30 w 63"/>
                  <a:gd name="T63" fmla="*/ 1 h 53"/>
                  <a:gd name="T64" fmla="*/ 25 w 63"/>
                  <a:gd name="T65" fmla="*/ 4 h 53"/>
                  <a:gd name="T66" fmla="*/ 21 w 63"/>
                  <a:gd name="T67" fmla="*/ 9 h 53"/>
                  <a:gd name="T68" fmla="*/ 16 w 63"/>
                  <a:gd name="T69" fmla="*/ 15 h 53"/>
                  <a:gd name="T70" fmla="*/ 16 w 63"/>
                  <a:gd name="T71" fmla="*/ 1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 h="53">
                    <a:moveTo>
                      <a:pt x="16" y="15"/>
                    </a:moveTo>
                    <a:lnTo>
                      <a:pt x="16" y="15"/>
                    </a:lnTo>
                    <a:lnTo>
                      <a:pt x="9" y="18"/>
                    </a:lnTo>
                    <a:lnTo>
                      <a:pt x="5" y="22"/>
                    </a:lnTo>
                    <a:lnTo>
                      <a:pt x="1" y="26"/>
                    </a:lnTo>
                    <a:lnTo>
                      <a:pt x="0" y="31"/>
                    </a:lnTo>
                    <a:lnTo>
                      <a:pt x="0" y="34"/>
                    </a:lnTo>
                    <a:lnTo>
                      <a:pt x="2" y="39"/>
                    </a:lnTo>
                    <a:lnTo>
                      <a:pt x="5" y="42"/>
                    </a:lnTo>
                    <a:lnTo>
                      <a:pt x="8" y="46"/>
                    </a:lnTo>
                    <a:lnTo>
                      <a:pt x="13" y="48"/>
                    </a:lnTo>
                    <a:lnTo>
                      <a:pt x="19" y="50"/>
                    </a:lnTo>
                    <a:lnTo>
                      <a:pt x="24" y="52"/>
                    </a:lnTo>
                    <a:lnTo>
                      <a:pt x="30" y="53"/>
                    </a:lnTo>
                    <a:lnTo>
                      <a:pt x="36" y="52"/>
                    </a:lnTo>
                    <a:lnTo>
                      <a:pt x="43" y="49"/>
                    </a:lnTo>
                    <a:lnTo>
                      <a:pt x="49" y="47"/>
                    </a:lnTo>
                    <a:lnTo>
                      <a:pt x="53" y="42"/>
                    </a:lnTo>
                    <a:lnTo>
                      <a:pt x="53" y="42"/>
                    </a:lnTo>
                    <a:lnTo>
                      <a:pt x="58" y="37"/>
                    </a:lnTo>
                    <a:lnTo>
                      <a:pt x="61" y="31"/>
                    </a:lnTo>
                    <a:lnTo>
                      <a:pt x="62" y="25"/>
                    </a:lnTo>
                    <a:lnTo>
                      <a:pt x="63" y="19"/>
                    </a:lnTo>
                    <a:lnTo>
                      <a:pt x="62" y="15"/>
                    </a:lnTo>
                    <a:lnTo>
                      <a:pt x="60" y="10"/>
                    </a:lnTo>
                    <a:lnTo>
                      <a:pt x="58" y="7"/>
                    </a:lnTo>
                    <a:lnTo>
                      <a:pt x="54" y="3"/>
                    </a:lnTo>
                    <a:lnTo>
                      <a:pt x="50" y="1"/>
                    </a:lnTo>
                    <a:lnTo>
                      <a:pt x="45" y="0"/>
                    </a:lnTo>
                    <a:lnTo>
                      <a:pt x="40" y="0"/>
                    </a:lnTo>
                    <a:lnTo>
                      <a:pt x="36" y="0"/>
                    </a:lnTo>
                    <a:lnTo>
                      <a:pt x="30" y="1"/>
                    </a:lnTo>
                    <a:lnTo>
                      <a:pt x="25" y="4"/>
                    </a:lnTo>
                    <a:lnTo>
                      <a:pt x="21" y="9"/>
                    </a:lnTo>
                    <a:lnTo>
                      <a:pt x="16" y="15"/>
                    </a:ln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37" name="Freeform 352">
                <a:extLst>
                  <a:ext uri="{FF2B5EF4-FFF2-40B4-BE49-F238E27FC236}">
                    <a16:creationId xmlns:a16="http://schemas.microsoft.com/office/drawing/2014/main" id="{D25A00A0-13B8-4F73-A5A9-24D2BE0CCE5C}"/>
                  </a:ext>
                </a:extLst>
              </p:cNvPr>
              <p:cNvSpPr>
                <a:spLocks/>
              </p:cNvSpPr>
              <p:nvPr/>
            </p:nvSpPr>
            <p:spPr bwMode="auto">
              <a:xfrm>
                <a:off x="3533775" y="452438"/>
                <a:ext cx="23813" cy="25400"/>
              </a:xfrm>
              <a:custGeom>
                <a:avLst/>
                <a:gdLst>
                  <a:gd name="T0" fmla="*/ 50 w 108"/>
                  <a:gd name="T1" fmla="*/ 91 h 113"/>
                  <a:gd name="T2" fmla="*/ 50 w 108"/>
                  <a:gd name="T3" fmla="*/ 91 h 113"/>
                  <a:gd name="T4" fmla="*/ 54 w 108"/>
                  <a:gd name="T5" fmla="*/ 91 h 113"/>
                  <a:gd name="T6" fmla="*/ 56 w 108"/>
                  <a:gd name="T7" fmla="*/ 92 h 113"/>
                  <a:gd name="T8" fmla="*/ 62 w 108"/>
                  <a:gd name="T9" fmla="*/ 97 h 113"/>
                  <a:gd name="T10" fmla="*/ 76 w 108"/>
                  <a:gd name="T11" fmla="*/ 107 h 113"/>
                  <a:gd name="T12" fmla="*/ 83 w 108"/>
                  <a:gd name="T13" fmla="*/ 112 h 113"/>
                  <a:gd name="T14" fmla="*/ 86 w 108"/>
                  <a:gd name="T15" fmla="*/ 113 h 113"/>
                  <a:gd name="T16" fmla="*/ 90 w 108"/>
                  <a:gd name="T17" fmla="*/ 113 h 113"/>
                  <a:gd name="T18" fmla="*/ 93 w 108"/>
                  <a:gd name="T19" fmla="*/ 113 h 113"/>
                  <a:gd name="T20" fmla="*/ 97 w 108"/>
                  <a:gd name="T21" fmla="*/ 111 h 113"/>
                  <a:gd name="T22" fmla="*/ 99 w 108"/>
                  <a:gd name="T23" fmla="*/ 107 h 113"/>
                  <a:gd name="T24" fmla="*/ 102 w 108"/>
                  <a:gd name="T25" fmla="*/ 103 h 113"/>
                  <a:gd name="T26" fmla="*/ 102 w 108"/>
                  <a:gd name="T27" fmla="*/ 103 h 113"/>
                  <a:gd name="T28" fmla="*/ 107 w 108"/>
                  <a:gd name="T29" fmla="*/ 91 h 113"/>
                  <a:gd name="T30" fmla="*/ 108 w 108"/>
                  <a:gd name="T31" fmla="*/ 88 h 113"/>
                  <a:gd name="T32" fmla="*/ 108 w 108"/>
                  <a:gd name="T33" fmla="*/ 83 h 113"/>
                  <a:gd name="T34" fmla="*/ 107 w 108"/>
                  <a:gd name="T35" fmla="*/ 80 h 113"/>
                  <a:gd name="T36" fmla="*/ 106 w 108"/>
                  <a:gd name="T37" fmla="*/ 77 h 113"/>
                  <a:gd name="T38" fmla="*/ 101 w 108"/>
                  <a:gd name="T39" fmla="*/ 73 h 113"/>
                  <a:gd name="T40" fmla="*/ 95 w 108"/>
                  <a:gd name="T41" fmla="*/ 68 h 113"/>
                  <a:gd name="T42" fmla="*/ 88 w 108"/>
                  <a:gd name="T43" fmla="*/ 62 h 113"/>
                  <a:gd name="T44" fmla="*/ 83 w 108"/>
                  <a:gd name="T45" fmla="*/ 54 h 113"/>
                  <a:gd name="T46" fmla="*/ 80 w 108"/>
                  <a:gd name="T47" fmla="*/ 50 h 113"/>
                  <a:gd name="T48" fmla="*/ 78 w 108"/>
                  <a:gd name="T49" fmla="*/ 45 h 113"/>
                  <a:gd name="T50" fmla="*/ 78 w 108"/>
                  <a:gd name="T51" fmla="*/ 45 h 113"/>
                  <a:gd name="T52" fmla="*/ 75 w 108"/>
                  <a:gd name="T53" fmla="*/ 30 h 113"/>
                  <a:gd name="T54" fmla="*/ 70 w 108"/>
                  <a:gd name="T55" fmla="*/ 20 h 113"/>
                  <a:gd name="T56" fmla="*/ 67 w 108"/>
                  <a:gd name="T57" fmla="*/ 13 h 113"/>
                  <a:gd name="T58" fmla="*/ 62 w 108"/>
                  <a:gd name="T59" fmla="*/ 8 h 113"/>
                  <a:gd name="T60" fmla="*/ 55 w 108"/>
                  <a:gd name="T61" fmla="*/ 5 h 113"/>
                  <a:gd name="T62" fmla="*/ 47 w 108"/>
                  <a:gd name="T63" fmla="*/ 2 h 113"/>
                  <a:gd name="T64" fmla="*/ 21 w 108"/>
                  <a:gd name="T65" fmla="*/ 0 h 113"/>
                  <a:gd name="T66" fmla="*/ 21 w 108"/>
                  <a:gd name="T67" fmla="*/ 0 h 113"/>
                  <a:gd name="T68" fmla="*/ 23 w 108"/>
                  <a:gd name="T69" fmla="*/ 8 h 113"/>
                  <a:gd name="T70" fmla="*/ 24 w 108"/>
                  <a:gd name="T71" fmla="*/ 16 h 113"/>
                  <a:gd name="T72" fmla="*/ 24 w 108"/>
                  <a:gd name="T73" fmla="*/ 23 h 113"/>
                  <a:gd name="T74" fmla="*/ 23 w 108"/>
                  <a:gd name="T75" fmla="*/ 30 h 113"/>
                  <a:gd name="T76" fmla="*/ 21 w 108"/>
                  <a:gd name="T77" fmla="*/ 36 h 113"/>
                  <a:gd name="T78" fmla="*/ 16 w 108"/>
                  <a:gd name="T79" fmla="*/ 40 h 113"/>
                  <a:gd name="T80" fmla="*/ 9 w 108"/>
                  <a:gd name="T81" fmla="*/ 43 h 113"/>
                  <a:gd name="T82" fmla="*/ 1 w 108"/>
                  <a:gd name="T83" fmla="*/ 44 h 113"/>
                  <a:gd name="T84" fmla="*/ 1 w 108"/>
                  <a:gd name="T85" fmla="*/ 44 h 113"/>
                  <a:gd name="T86" fmla="*/ 0 w 108"/>
                  <a:gd name="T87" fmla="*/ 51 h 113"/>
                  <a:gd name="T88" fmla="*/ 0 w 108"/>
                  <a:gd name="T89" fmla="*/ 58 h 113"/>
                  <a:gd name="T90" fmla="*/ 0 w 108"/>
                  <a:gd name="T91" fmla="*/ 62 h 113"/>
                  <a:gd name="T92" fmla="*/ 1 w 108"/>
                  <a:gd name="T93" fmla="*/ 68 h 113"/>
                  <a:gd name="T94" fmla="*/ 3 w 108"/>
                  <a:gd name="T95" fmla="*/ 71 h 113"/>
                  <a:gd name="T96" fmla="*/ 6 w 108"/>
                  <a:gd name="T97" fmla="*/ 76 h 113"/>
                  <a:gd name="T98" fmla="*/ 12 w 108"/>
                  <a:gd name="T99" fmla="*/ 82 h 113"/>
                  <a:gd name="T100" fmla="*/ 21 w 108"/>
                  <a:gd name="T101" fmla="*/ 86 h 113"/>
                  <a:gd name="T102" fmla="*/ 30 w 108"/>
                  <a:gd name="T103" fmla="*/ 89 h 113"/>
                  <a:gd name="T104" fmla="*/ 40 w 108"/>
                  <a:gd name="T105" fmla="*/ 90 h 113"/>
                  <a:gd name="T106" fmla="*/ 50 w 108"/>
                  <a:gd name="T107" fmla="*/ 91 h 113"/>
                  <a:gd name="T108" fmla="*/ 50 w 108"/>
                  <a:gd name="T109" fmla="*/ 9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 h="113">
                    <a:moveTo>
                      <a:pt x="50" y="91"/>
                    </a:moveTo>
                    <a:lnTo>
                      <a:pt x="50" y="91"/>
                    </a:lnTo>
                    <a:lnTo>
                      <a:pt x="54" y="91"/>
                    </a:lnTo>
                    <a:lnTo>
                      <a:pt x="56" y="92"/>
                    </a:lnTo>
                    <a:lnTo>
                      <a:pt x="62" y="97"/>
                    </a:lnTo>
                    <a:lnTo>
                      <a:pt x="76" y="107"/>
                    </a:lnTo>
                    <a:lnTo>
                      <a:pt x="83" y="112"/>
                    </a:lnTo>
                    <a:lnTo>
                      <a:pt x="86" y="113"/>
                    </a:lnTo>
                    <a:lnTo>
                      <a:pt x="90" y="113"/>
                    </a:lnTo>
                    <a:lnTo>
                      <a:pt x="93" y="113"/>
                    </a:lnTo>
                    <a:lnTo>
                      <a:pt x="97" y="111"/>
                    </a:lnTo>
                    <a:lnTo>
                      <a:pt x="99" y="107"/>
                    </a:lnTo>
                    <a:lnTo>
                      <a:pt x="102" y="103"/>
                    </a:lnTo>
                    <a:lnTo>
                      <a:pt x="102" y="103"/>
                    </a:lnTo>
                    <a:lnTo>
                      <a:pt x="107" y="91"/>
                    </a:lnTo>
                    <a:lnTo>
                      <a:pt x="108" y="88"/>
                    </a:lnTo>
                    <a:lnTo>
                      <a:pt x="108" y="83"/>
                    </a:lnTo>
                    <a:lnTo>
                      <a:pt x="107" y="80"/>
                    </a:lnTo>
                    <a:lnTo>
                      <a:pt x="106" y="77"/>
                    </a:lnTo>
                    <a:lnTo>
                      <a:pt x="101" y="73"/>
                    </a:lnTo>
                    <a:lnTo>
                      <a:pt x="95" y="68"/>
                    </a:lnTo>
                    <a:lnTo>
                      <a:pt x="88" y="62"/>
                    </a:lnTo>
                    <a:lnTo>
                      <a:pt x="83" y="54"/>
                    </a:lnTo>
                    <a:lnTo>
                      <a:pt x="80" y="50"/>
                    </a:lnTo>
                    <a:lnTo>
                      <a:pt x="78" y="45"/>
                    </a:lnTo>
                    <a:lnTo>
                      <a:pt x="78" y="45"/>
                    </a:lnTo>
                    <a:lnTo>
                      <a:pt x="75" y="30"/>
                    </a:lnTo>
                    <a:lnTo>
                      <a:pt x="70" y="20"/>
                    </a:lnTo>
                    <a:lnTo>
                      <a:pt x="67" y="13"/>
                    </a:lnTo>
                    <a:lnTo>
                      <a:pt x="62" y="8"/>
                    </a:lnTo>
                    <a:lnTo>
                      <a:pt x="55" y="5"/>
                    </a:lnTo>
                    <a:lnTo>
                      <a:pt x="47" y="2"/>
                    </a:lnTo>
                    <a:lnTo>
                      <a:pt x="21" y="0"/>
                    </a:lnTo>
                    <a:lnTo>
                      <a:pt x="21" y="0"/>
                    </a:lnTo>
                    <a:lnTo>
                      <a:pt x="23" y="8"/>
                    </a:lnTo>
                    <a:lnTo>
                      <a:pt x="24" y="16"/>
                    </a:lnTo>
                    <a:lnTo>
                      <a:pt x="24" y="23"/>
                    </a:lnTo>
                    <a:lnTo>
                      <a:pt x="23" y="30"/>
                    </a:lnTo>
                    <a:lnTo>
                      <a:pt x="21" y="36"/>
                    </a:lnTo>
                    <a:lnTo>
                      <a:pt x="16" y="40"/>
                    </a:lnTo>
                    <a:lnTo>
                      <a:pt x="9" y="43"/>
                    </a:lnTo>
                    <a:lnTo>
                      <a:pt x="1" y="44"/>
                    </a:lnTo>
                    <a:lnTo>
                      <a:pt x="1" y="44"/>
                    </a:lnTo>
                    <a:lnTo>
                      <a:pt x="0" y="51"/>
                    </a:lnTo>
                    <a:lnTo>
                      <a:pt x="0" y="58"/>
                    </a:lnTo>
                    <a:lnTo>
                      <a:pt x="0" y="62"/>
                    </a:lnTo>
                    <a:lnTo>
                      <a:pt x="1" y="68"/>
                    </a:lnTo>
                    <a:lnTo>
                      <a:pt x="3" y="71"/>
                    </a:lnTo>
                    <a:lnTo>
                      <a:pt x="6" y="76"/>
                    </a:lnTo>
                    <a:lnTo>
                      <a:pt x="12" y="82"/>
                    </a:lnTo>
                    <a:lnTo>
                      <a:pt x="21" y="86"/>
                    </a:lnTo>
                    <a:lnTo>
                      <a:pt x="30" y="89"/>
                    </a:lnTo>
                    <a:lnTo>
                      <a:pt x="40" y="90"/>
                    </a:lnTo>
                    <a:lnTo>
                      <a:pt x="50" y="91"/>
                    </a:lnTo>
                    <a:lnTo>
                      <a:pt x="50" y="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38" name="Freeform 353">
                <a:extLst>
                  <a:ext uri="{FF2B5EF4-FFF2-40B4-BE49-F238E27FC236}">
                    <a16:creationId xmlns:a16="http://schemas.microsoft.com/office/drawing/2014/main" id="{6BA0F534-2E7F-40CD-87BE-41E5CEA89027}"/>
                  </a:ext>
                </a:extLst>
              </p:cNvPr>
              <p:cNvSpPr>
                <a:spLocks/>
              </p:cNvSpPr>
              <p:nvPr/>
            </p:nvSpPr>
            <p:spPr bwMode="auto">
              <a:xfrm>
                <a:off x="3494088" y="723900"/>
                <a:ext cx="15875" cy="9525"/>
              </a:xfrm>
              <a:custGeom>
                <a:avLst/>
                <a:gdLst>
                  <a:gd name="T0" fmla="*/ 33 w 69"/>
                  <a:gd name="T1" fmla="*/ 44 h 44"/>
                  <a:gd name="T2" fmla="*/ 33 w 69"/>
                  <a:gd name="T3" fmla="*/ 44 h 44"/>
                  <a:gd name="T4" fmla="*/ 69 w 69"/>
                  <a:gd name="T5" fmla="*/ 10 h 44"/>
                  <a:gd name="T6" fmla="*/ 69 w 69"/>
                  <a:gd name="T7" fmla="*/ 10 h 44"/>
                  <a:gd name="T8" fmla="*/ 66 w 69"/>
                  <a:gd name="T9" fmla="*/ 6 h 44"/>
                  <a:gd name="T10" fmla="*/ 62 w 69"/>
                  <a:gd name="T11" fmla="*/ 4 h 44"/>
                  <a:gd name="T12" fmla="*/ 59 w 69"/>
                  <a:gd name="T13" fmla="*/ 3 h 44"/>
                  <a:gd name="T14" fmla="*/ 55 w 69"/>
                  <a:gd name="T15" fmla="*/ 2 h 44"/>
                  <a:gd name="T16" fmla="*/ 48 w 69"/>
                  <a:gd name="T17" fmla="*/ 0 h 44"/>
                  <a:gd name="T18" fmla="*/ 41 w 69"/>
                  <a:gd name="T19" fmla="*/ 3 h 44"/>
                  <a:gd name="T20" fmla="*/ 25 w 69"/>
                  <a:gd name="T21" fmla="*/ 7 h 44"/>
                  <a:gd name="T22" fmla="*/ 17 w 69"/>
                  <a:gd name="T23" fmla="*/ 11 h 44"/>
                  <a:gd name="T24" fmla="*/ 9 w 69"/>
                  <a:gd name="T25" fmla="*/ 12 h 44"/>
                  <a:gd name="T26" fmla="*/ 9 w 69"/>
                  <a:gd name="T27" fmla="*/ 12 h 44"/>
                  <a:gd name="T28" fmla="*/ 6 w 69"/>
                  <a:gd name="T29" fmla="*/ 12 h 44"/>
                  <a:gd name="T30" fmla="*/ 2 w 69"/>
                  <a:gd name="T31" fmla="*/ 14 h 44"/>
                  <a:gd name="T32" fmla="*/ 1 w 69"/>
                  <a:gd name="T33" fmla="*/ 15 h 44"/>
                  <a:gd name="T34" fmla="*/ 0 w 69"/>
                  <a:gd name="T35" fmla="*/ 18 h 44"/>
                  <a:gd name="T36" fmla="*/ 0 w 69"/>
                  <a:gd name="T37" fmla="*/ 21 h 44"/>
                  <a:gd name="T38" fmla="*/ 0 w 69"/>
                  <a:gd name="T39" fmla="*/ 24 h 44"/>
                  <a:gd name="T40" fmla="*/ 3 w 69"/>
                  <a:gd name="T41" fmla="*/ 30 h 44"/>
                  <a:gd name="T42" fmla="*/ 9 w 69"/>
                  <a:gd name="T43" fmla="*/ 36 h 44"/>
                  <a:gd name="T44" fmla="*/ 16 w 69"/>
                  <a:gd name="T45" fmla="*/ 41 h 44"/>
                  <a:gd name="T46" fmla="*/ 24 w 69"/>
                  <a:gd name="T47" fmla="*/ 44 h 44"/>
                  <a:gd name="T48" fmla="*/ 29 w 69"/>
                  <a:gd name="T49" fmla="*/ 44 h 44"/>
                  <a:gd name="T50" fmla="*/ 33 w 69"/>
                  <a:gd name="T51" fmla="*/ 44 h 44"/>
                  <a:gd name="T52" fmla="*/ 33 w 69"/>
                  <a:gd name="T5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44">
                    <a:moveTo>
                      <a:pt x="33" y="44"/>
                    </a:moveTo>
                    <a:lnTo>
                      <a:pt x="33" y="44"/>
                    </a:lnTo>
                    <a:lnTo>
                      <a:pt x="69" y="10"/>
                    </a:lnTo>
                    <a:lnTo>
                      <a:pt x="69" y="10"/>
                    </a:lnTo>
                    <a:lnTo>
                      <a:pt x="66" y="6"/>
                    </a:lnTo>
                    <a:lnTo>
                      <a:pt x="62" y="4"/>
                    </a:lnTo>
                    <a:lnTo>
                      <a:pt x="59" y="3"/>
                    </a:lnTo>
                    <a:lnTo>
                      <a:pt x="55" y="2"/>
                    </a:lnTo>
                    <a:lnTo>
                      <a:pt x="48" y="0"/>
                    </a:lnTo>
                    <a:lnTo>
                      <a:pt x="41" y="3"/>
                    </a:lnTo>
                    <a:lnTo>
                      <a:pt x="25" y="7"/>
                    </a:lnTo>
                    <a:lnTo>
                      <a:pt x="17" y="11"/>
                    </a:lnTo>
                    <a:lnTo>
                      <a:pt x="9" y="12"/>
                    </a:lnTo>
                    <a:lnTo>
                      <a:pt x="9" y="12"/>
                    </a:lnTo>
                    <a:lnTo>
                      <a:pt x="6" y="12"/>
                    </a:lnTo>
                    <a:lnTo>
                      <a:pt x="2" y="14"/>
                    </a:lnTo>
                    <a:lnTo>
                      <a:pt x="1" y="15"/>
                    </a:lnTo>
                    <a:lnTo>
                      <a:pt x="0" y="18"/>
                    </a:lnTo>
                    <a:lnTo>
                      <a:pt x="0" y="21"/>
                    </a:lnTo>
                    <a:lnTo>
                      <a:pt x="0" y="24"/>
                    </a:lnTo>
                    <a:lnTo>
                      <a:pt x="3" y="30"/>
                    </a:lnTo>
                    <a:lnTo>
                      <a:pt x="9" y="36"/>
                    </a:lnTo>
                    <a:lnTo>
                      <a:pt x="16" y="41"/>
                    </a:lnTo>
                    <a:lnTo>
                      <a:pt x="24" y="44"/>
                    </a:lnTo>
                    <a:lnTo>
                      <a:pt x="29" y="44"/>
                    </a:lnTo>
                    <a:lnTo>
                      <a:pt x="33" y="44"/>
                    </a:lnTo>
                    <a:lnTo>
                      <a:pt x="33"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39" name="Freeform 354">
                <a:extLst>
                  <a:ext uri="{FF2B5EF4-FFF2-40B4-BE49-F238E27FC236}">
                    <a16:creationId xmlns:a16="http://schemas.microsoft.com/office/drawing/2014/main" id="{AE6F2C00-CC48-4F84-AE8D-03D9CC3A591F}"/>
                  </a:ext>
                </a:extLst>
              </p:cNvPr>
              <p:cNvSpPr>
                <a:spLocks/>
              </p:cNvSpPr>
              <p:nvPr/>
            </p:nvSpPr>
            <p:spPr bwMode="auto">
              <a:xfrm>
                <a:off x="3295650" y="576263"/>
                <a:ext cx="58738" cy="65088"/>
              </a:xfrm>
              <a:custGeom>
                <a:avLst/>
                <a:gdLst>
                  <a:gd name="T0" fmla="*/ 116 w 258"/>
                  <a:gd name="T1" fmla="*/ 101 h 285"/>
                  <a:gd name="T2" fmla="*/ 114 w 258"/>
                  <a:gd name="T3" fmla="*/ 121 h 285"/>
                  <a:gd name="T4" fmla="*/ 98 w 258"/>
                  <a:gd name="T5" fmla="*/ 111 h 285"/>
                  <a:gd name="T6" fmla="*/ 74 w 258"/>
                  <a:gd name="T7" fmla="*/ 116 h 285"/>
                  <a:gd name="T8" fmla="*/ 70 w 258"/>
                  <a:gd name="T9" fmla="*/ 116 h 285"/>
                  <a:gd name="T10" fmla="*/ 50 w 258"/>
                  <a:gd name="T11" fmla="*/ 134 h 285"/>
                  <a:gd name="T12" fmla="*/ 26 w 258"/>
                  <a:gd name="T13" fmla="*/ 148 h 285"/>
                  <a:gd name="T14" fmla="*/ 28 w 258"/>
                  <a:gd name="T15" fmla="*/ 166 h 285"/>
                  <a:gd name="T16" fmla="*/ 28 w 258"/>
                  <a:gd name="T17" fmla="*/ 187 h 285"/>
                  <a:gd name="T18" fmla="*/ 5 w 258"/>
                  <a:gd name="T19" fmla="*/ 198 h 285"/>
                  <a:gd name="T20" fmla="*/ 0 w 258"/>
                  <a:gd name="T21" fmla="*/ 203 h 285"/>
                  <a:gd name="T22" fmla="*/ 9 w 258"/>
                  <a:gd name="T23" fmla="*/ 225 h 285"/>
                  <a:gd name="T24" fmla="*/ 29 w 258"/>
                  <a:gd name="T25" fmla="*/ 233 h 285"/>
                  <a:gd name="T26" fmla="*/ 45 w 258"/>
                  <a:gd name="T27" fmla="*/ 231 h 285"/>
                  <a:gd name="T28" fmla="*/ 86 w 258"/>
                  <a:gd name="T29" fmla="*/ 218 h 285"/>
                  <a:gd name="T30" fmla="*/ 105 w 258"/>
                  <a:gd name="T31" fmla="*/ 204 h 285"/>
                  <a:gd name="T32" fmla="*/ 111 w 258"/>
                  <a:gd name="T33" fmla="*/ 192 h 285"/>
                  <a:gd name="T34" fmla="*/ 114 w 258"/>
                  <a:gd name="T35" fmla="*/ 162 h 285"/>
                  <a:gd name="T36" fmla="*/ 121 w 258"/>
                  <a:gd name="T37" fmla="*/ 140 h 285"/>
                  <a:gd name="T38" fmla="*/ 132 w 258"/>
                  <a:gd name="T39" fmla="*/ 134 h 285"/>
                  <a:gd name="T40" fmla="*/ 144 w 258"/>
                  <a:gd name="T41" fmla="*/ 136 h 285"/>
                  <a:gd name="T42" fmla="*/ 154 w 258"/>
                  <a:gd name="T43" fmla="*/ 149 h 285"/>
                  <a:gd name="T44" fmla="*/ 154 w 258"/>
                  <a:gd name="T45" fmla="*/ 171 h 285"/>
                  <a:gd name="T46" fmla="*/ 149 w 258"/>
                  <a:gd name="T47" fmla="*/ 173 h 285"/>
                  <a:gd name="T48" fmla="*/ 135 w 258"/>
                  <a:gd name="T49" fmla="*/ 181 h 285"/>
                  <a:gd name="T50" fmla="*/ 116 w 258"/>
                  <a:gd name="T51" fmla="*/ 217 h 285"/>
                  <a:gd name="T52" fmla="*/ 105 w 258"/>
                  <a:gd name="T53" fmla="*/ 235 h 285"/>
                  <a:gd name="T54" fmla="*/ 132 w 258"/>
                  <a:gd name="T55" fmla="*/ 239 h 285"/>
                  <a:gd name="T56" fmla="*/ 83 w 258"/>
                  <a:gd name="T57" fmla="*/ 272 h 285"/>
                  <a:gd name="T58" fmla="*/ 95 w 258"/>
                  <a:gd name="T59" fmla="*/ 280 h 285"/>
                  <a:gd name="T60" fmla="*/ 112 w 258"/>
                  <a:gd name="T61" fmla="*/ 285 h 285"/>
                  <a:gd name="T62" fmla="*/ 139 w 258"/>
                  <a:gd name="T63" fmla="*/ 278 h 285"/>
                  <a:gd name="T64" fmla="*/ 173 w 258"/>
                  <a:gd name="T65" fmla="*/ 262 h 285"/>
                  <a:gd name="T66" fmla="*/ 195 w 258"/>
                  <a:gd name="T67" fmla="*/ 257 h 285"/>
                  <a:gd name="T68" fmla="*/ 230 w 258"/>
                  <a:gd name="T69" fmla="*/ 258 h 285"/>
                  <a:gd name="T70" fmla="*/ 243 w 258"/>
                  <a:gd name="T71" fmla="*/ 249 h 285"/>
                  <a:gd name="T72" fmla="*/ 251 w 258"/>
                  <a:gd name="T73" fmla="*/ 236 h 285"/>
                  <a:gd name="T74" fmla="*/ 247 w 258"/>
                  <a:gd name="T75" fmla="*/ 225 h 285"/>
                  <a:gd name="T76" fmla="*/ 258 w 258"/>
                  <a:gd name="T77" fmla="*/ 212 h 285"/>
                  <a:gd name="T78" fmla="*/ 254 w 258"/>
                  <a:gd name="T79" fmla="*/ 198 h 285"/>
                  <a:gd name="T80" fmla="*/ 232 w 258"/>
                  <a:gd name="T81" fmla="*/ 179 h 285"/>
                  <a:gd name="T82" fmla="*/ 219 w 258"/>
                  <a:gd name="T83" fmla="*/ 165 h 285"/>
                  <a:gd name="T84" fmla="*/ 193 w 258"/>
                  <a:gd name="T85" fmla="*/ 109 h 285"/>
                  <a:gd name="T86" fmla="*/ 189 w 258"/>
                  <a:gd name="T87" fmla="*/ 96 h 285"/>
                  <a:gd name="T88" fmla="*/ 190 w 258"/>
                  <a:gd name="T89" fmla="*/ 73 h 285"/>
                  <a:gd name="T90" fmla="*/ 190 w 258"/>
                  <a:gd name="T91" fmla="*/ 65 h 285"/>
                  <a:gd name="T92" fmla="*/ 190 w 258"/>
                  <a:gd name="T93" fmla="*/ 49 h 285"/>
                  <a:gd name="T94" fmla="*/ 187 w 258"/>
                  <a:gd name="T95" fmla="*/ 43 h 285"/>
                  <a:gd name="T96" fmla="*/ 167 w 258"/>
                  <a:gd name="T97" fmla="*/ 43 h 285"/>
                  <a:gd name="T98" fmla="*/ 155 w 258"/>
                  <a:gd name="T99" fmla="*/ 40 h 285"/>
                  <a:gd name="T100" fmla="*/ 155 w 258"/>
                  <a:gd name="T101" fmla="*/ 36 h 285"/>
                  <a:gd name="T102" fmla="*/ 167 w 258"/>
                  <a:gd name="T103" fmla="*/ 14 h 285"/>
                  <a:gd name="T104" fmla="*/ 165 w 258"/>
                  <a:gd name="T105" fmla="*/ 6 h 285"/>
                  <a:gd name="T106" fmla="*/ 154 w 258"/>
                  <a:gd name="T107" fmla="*/ 2 h 285"/>
                  <a:gd name="T108" fmla="*/ 140 w 258"/>
                  <a:gd name="T109" fmla="*/ 3 h 285"/>
                  <a:gd name="T110" fmla="*/ 125 w 258"/>
                  <a:gd name="T111" fmla="*/ 17 h 285"/>
                  <a:gd name="T112" fmla="*/ 106 w 258"/>
                  <a:gd name="T113" fmla="*/ 56 h 285"/>
                  <a:gd name="T114" fmla="*/ 96 w 258"/>
                  <a:gd name="T115" fmla="*/ 95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8" h="285">
                    <a:moveTo>
                      <a:pt x="116" y="94"/>
                    </a:moveTo>
                    <a:lnTo>
                      <a:pt x="116" y="94"/>
                    </a:lnTo>
                    <a:lnTo>
                      <a:pt x="116" y="101"/>
                    </a:lnTo>
                    <a:lnTo>
                      <a:pt x="116" y="108"/>
                    </a:lnTo>
                    <a:lnTo>
                      <a:pt x="114" y="121"/>
                    </a:lnTo>
                    <a:lnTo>
                      <a:pt x="114" y="121"/>
                    </a:lnTo>
                    <a:lnTo>
                      <a:pt x="109" y="116"/>
                    </a:lnTo>
                    <a:lnTo>
                      <a:pt x="103" y="112"/>
                    </a:lnTo>
                    <a:lnTo>
                      <a:pt x="98" y="111"/>
                    </a:lnTo>
                    <a:lnTo>
                      <a:pt x="93" y="112"/>
                    </a:lnTo>
                    <a:lnTo>
                      <a:pt x="80" y="114"/>
                    </a:lnTo>
                    <a:lnTo>
                      <a:pt x="74" y="116"/>
                    </a:lnTo>
                    <a:lnTo>
                      <a:pt x="68" y="114"/>
                    </a:lnTo>
                    <a:lnTo>
                      <a:pt x="68" y="114"/>
                    </a:lnTo>
                    <a:lnTo>
                      <a:pt x="70" y="116"/>
                    </a:lnTo>
                    <a:lnTo>
                      <a:pt x="68" y="117"/>
                    </a:lnTo>
                    <a:lnTo>
                      <a:pt x="65" y="121"/>
                    </a:lnTo>
                    <a:lnTo>
                      <a:pt x="50" y="134"/>
                    </a:lnTo>
                    <a:lnTo>
                      <a:pt x="33" y="146"/>
                    </a:lnTo>
                    <a:lnTo>
                      <a:pt x="27" y="148"/>
                    </a:lnTo>
                    <a:lnTo>
                      <a:pt x="26" y="148"/>
                    </a:lnTo>
                    <a:lnTo>
                      <a:pt x="25" y="147"/>
                    </a:lnTo>
                    <a:lnTo>
                      <a:pt x="25" y="147"/>
                    </a:lnTo>
                    <a:lnTo>
                      <a:pt x="28" y="166"/>
                    </a:lnTo>
                    <a:lnTo>
                      <a:pt x="30" y="185"/>
                    </a:lnTo>
                    <a:lnTo>
                      <a:pt x="30" y="185"/>
                    </a:lnTo>
                    <a:lnTo>
                      <a:pt x="28" y="187"/>
                    </a:lnTo>
                    <a:lnTo>
                      <a:pt x="25" y="189"/>
                    </a:lnTo>
                    <a:lnTo>
                      <a:pt x="14" y="194"/>
                    </a:lnTo>
                    <a:lnTo>
                      <a:pt x="5" y="198"/>
                    </a:lnTo>
                    <a:lnTo>
                      <a:pt x="2" y="201"/>
                    </a:lnTo>
                    <a:lnTo>
                      <a:pt x="0" y="203"/>
                    </a:lnTo>
                    <a:lnTo>
                      <a:pt x="0" y="203"/>
                    </a:lnTo>
                    <a:lnTo>
                      <a:pt x="2" y="212"/>
                    </a:lnTo>
                    <a:lnTo>
                      <a:pt x="4" y="219"/>
                    </a:lnTo>
                    <a:lnTo>
                      <a:pt x="9" y="225"/>
                    </a:lnTo>
                    <a:lnTo>
                      <a:pt x="14" y="230"/>
                    </a:lnTo>
                    <a:lnTo>
                      <a:pt x="21" y="232"/>
                    </a:lnTo>
                    <a:lnTo>
                      <a:pt x="29" y="233"/>
                    </a:lnTo>
                    <a:lnTo>
                      <a:pt x="37" y="233"/>
                    </a:lnTo>
                    <a:lnTo>
                      <a:pt x="45" y="231"/>
                    </a:lnTo>
                    <a:lnTo>
                      <a:pt x="45" y="231"/>
                    </a:lnTo>
                    <a:lnTo>
                      <a:pt x="65" y="225"/>
                    </a:lnTo>
                    <a:lnTo>
                      <a:pt x="75" y="221"/>
                    </a:lnTo>
                    <a:lnTo>
                      <a:pt x="86" y="218"/>
                    </a:lnTo>
                    <a:lnTo>
                      <a:pt x="95" y="213"/>
                    </a:lnTo>
                    <a:lnTo>
                      <a:pt x="103" y="208"/>
                    </a:lnTo>
                    <a:lnTo>
                      <a:pt x="105" y="204"/>
                    </a:lnTo>
                    <a:lnTo>
                      <a:pt x="108" y="201"/>
                    </a:lnTo>
                    <a:lnTo>
                      <a:pt x="110" y="196"/>
                    </a:lnTo>
                    <a:lnTo>
                      <a:pt x="111" y="192"/>
                    </a:lnTo>
                    <a:lnTo>
                      <a:pt x="111" y="192"/>
                    </a:lnTo>
                    <a:lnTo>
                      <a:pt x="112" y="179"/>
                    </a:lnTo>
                    <a:lnTo>
                      <a:pt x="114" y="162"/>
                    </a:lnTo>
                    <a:lnTo>
                      <a:pt x="116" y="154"/>
                    </a:lnTo>
                    <a:lnTo>
                      <a:pt x="118" y="146"/>
                    </a:lnTo>
                    <a:lnTo>
                      <a:pt x="121" y="140"/>
                    </a:lnTo>
                    <a:lnTo>
                      <a:pt x="126" y="136"/>
                    </a:lnTo>
                    <a:lnTo>
                      <a:pt x="126" y="136"/>
                    </a:lnTo>
                    <a:lnTo>
                      <a:pt x="132" y="134"/>
                    </a:lnTo>
                    <a:lnTo>
                      <a:pt x="136" y="134"/>
                    </a:lnTo>
                    <a:lnTo>
                      <a:pt x="141" y="134"/>
                    </a:lnTo>
                    <a:lnTo>
                      <a:pt x="144" y="136"/>
                    </a:lnTo>
                    <a:lnTo>
                      <a:pt x="148" y="139"/>
                    </a:lnTo>
                    <a:lnTo>
                      <a:pt x="150" y="141"/>
                    </a:lnTo>
                    <a:lnTo>
                      <a:pt x="154" y="149"/>
                    </a:lnTo>
                    <a:lnTo>
                      <a:pt x="156" y="157"/>
                    </a:lnTo>
                    <a:lnTo>
                      <a:pt x="155" y="165"/>
                    </a:lnTo>
                    <a:lnTo>
                      <a:pt x="154" y="171"/>
                    </a:lnTo>
                    <a:lnTo>
                      <a:pt x="151" y="173"/>
                    </a:lnTo>
                    <a:lnTo>
                      <a:pt x="149" y="173"/>
                    </a:lnTo>
                    <a:lnTo>
                      <a:pt x="149" y="173"/>
                    </a:lnTo>
                    <a:lnTo>
                      <a:pt x="146" y="174"/>
                    </a:lnTo>
                    <a:lnTo>
                      <a:pt x="141" y="177"/>
                    </a:lnTo>
                    <a:lnTo>
                      <a:pt x="135" y="181"/>
                    </a:lnTo>
                    <a:lnTo>
                      <a:pt x="129" y="188"/>
                    </a:lnTo>
                    <a:lnTo>
                      <a:pt x="125" y="197"/>
                    </a:lnTo>
                    <a:lnTo>
                      <a:pt x="116" y="217"/>
                    </a:lnTo>
                    <a:lnTo>
                      <a:pt x="111" y="227"/>
                    </a:lnTo>
                    <a:lnTo>
                      <a:pt x="105" y="235"/>
                    </a:lnTo>
                    <a:lnTo>
                      <a:pt x="105" y="235"/>
                    </a:lnTo>
                    <a:lnTo>
                      <a:pt x="114" y="236"/>
                    </a:lnTo>
                    <a:lnTo>
                      <a:pt x="123" y="238"/>
                    </a:lnTo>
                    <a:lnTo>
                      <a:pt x="132" y="239"/>
                    </a:lnTo>
                    <a:lnTo>
                      <a:pt x="141" y="239"/>
                    </a:lnTo>
                    <a:lnTo>
                      <a:pt x="141" y="239"/>
                    </a:lnTo>
                    <a:lnTo>
                      <a:pt x="83" y="272"/>
                    </a:lnTo>
                    <a:lnTo>
                      <a:pt x="83" y="272"/>
                    </a:lnTo>
                    <a:lnTo>
                      <a:pt x="89" y="277"/>
                    </a:lnTo>
                    <a:lnTo>
                      <a:pt x="95" y="280"/>
                    </a:lnTo>
                    <a:lnTo>
                      <a:pt x="101" y="283"/>
                    </a:lnTo>
                    <a:lnTo>
                      <a:pt x="106" y="284"/>
                    </a:lnTo>
                    <a:lnTo>
                      <a:pt x="112" y="285"/>
                    </a:lnTo>
                    <a:lnTo>
                      <a:pt x="117" y="285"/>
                    </a:lnTo>
                    <a:lnTo>
                      <a:pt x="128" y="283"/>
                    </a:lnTo>
                    <a:lnTo>
                      <a:pt x="139" y="278"/>
                    </a:lnTo>
                    <a:lnTo>
                      <a:pt x="150" y="273"/>
                    </a:lnTo>
                    <a:lnTo>
                      <a:pt x="173" y="262"/>
                    </a:lnTo>
                    <a:lnTo>
                      <a:pt x="173" y="262"/>
                    </a:lnTo>
                    <a:lnTo>
                      <a:pt x="179" y="259"/>
                    </a:lnTo>
                    <a:lnTo>
                      <a:pt x="184" y="258"/>
                    </a:lnTo>
                    <a:lnTo>
                      <a:pt x="195" y="257"/>
                    </a:lnTo>
                    <a:lnTo>
                      <a:pt x="216" y="259"/>
                    </a:lnTo>
                    <a:lnTo>
                      <a:pt x="225" y="259"/>
                    </a:lnTo>
                    <a:lnTo>
                      <a:pt x="230" y="258"/>
                    </a:lnTo>
                    <a:lnTo>
                      <a:pt x="234" y="256"/>
                    </a:lnTo>
                    <a:lnTo>
                      <a:pt x="239" y="253"/>
                    </a:lnTo>
                    <a:lnTo>
                      <a:pt x="243" y="249"/>
                    </a:lnTo>
                    <a:lnTo>
                      <a:pt x="247" y="243"/>
                    </a:lnTo>
                    <a:lnTo>
                      <a:pt x="251" y="236"/>
                    </a:lnTo>
                    <a:lnTo>
                      <a:pt x="251" y="236"/>
                    </a:lnTo>
                    <a:lnTo>
                      <a:pt x="239" y="230"/>
                    </a:lnTo>
                    <a:lnTo>
                      <a:pt x="239" y="230"/>
                    </a:lnTo>
                    <a:lnTo>
                      <a:pt x="247" y="225"/>
                    </a:lnTo>
                    <a:lnTo>
                      <a:pt x="253" y="220"/>
                    </a:lnTo>
                    <a:lnTo>
                      <a:pt x="257" y="217"/>
                    </a:lnTo>
                    <a:lnTo>
                      <a:pt x="258" y="212"/>
                    </a:lnTo>
                    <a:lnTo>
                      <a:pt x="258" y="208"/>
                    </a:lnTo>
                    <a:lnTo>
                      <a:pt x="257" y="203"/>
                    </a:lnTo>
                    <a:lnTo>
                      <a:pt x="254" y="198"/>
                    </a:lnTo>
                    <a:lnTo>
                      <a:pt x="250" y="195"/>
                    </a:lnTo>
                    <a:lnTo>
                      <a:pt x="242" y="186"/>
                    </a:lnTo>
                    <a:lnTo>
                      <a:pt x="232" y="179"/>
                    </a:lnTo>
                    <a:lnTo>
                      <a:pt x="224" y="172"/>
                    </a:lnTo>
                    <a:lnTo>
                      <a:pt x="222" y="169"/>
                    </a:lnTo>
                    <a:lnTo>
                      <a:pt x="219" y="165"/>
                    </a:lnTo>
                    <a:lnTo>
                      <a:pt x="219" y="165"/>
                    </a:lnTo>
                    <a:lnTo>
                      <a:pt x="207" y="137"/>
                    </a:lnTo>
                    <a:lnTo>
                      <a:pt x="193" y="109"/>
                    </a:lnTo>
                    <a:lnTo>
                      <a:pt x="193" y="109"/>
                    </a:lnTo>
                    <a:lnTo>
                      <a:pt x="190" y="103"/>
                    </a:lnTo>
                    <a:lnTo>
                      <a:pt x="189" y="96"/>
                    </a:lnTo>
                    <a:lnTo>
                      <a:pt x="189" y="90"/>
                    </a:lnTo>
                    <a:lnTo>
                      <a:pt x="189" y="84"/>
                    </a:lnTo>
                    <a:lnTo>
                      <a:pt x="190" y="73"/>
                    </a:lnTo>
                    <a:lnTo>
                      <a:pt x="190" y="68"/>
                    </a:lnTo>
                    <a:lnTo>
                      <a:pt x="190" y="65"/>
                    </a:lnTo>
                    <a:lnTo>
                      <a:pt x="190" y="65"/>
                    </a:lnTo>
                    <a:lnTo>
                      <a:pt x="189" y="60"/>
                    </a:lnTo>
                    <a:lnTo>
                      <a:pt x="189" y="56"/>
                    </a:lnTo>
                    <a:lnTo>
                      <a:pt x="190" y="49"/>
                    </a:lnTo>
                    <a:lnTo>
                      <a:pt x="190" y="46"/>
                    </a:lnTo>
                    <a:lnTo>
                      <a:pt x="189" y="44"/>
                    </a:lnTo>
                    <a:lnTo>
                      <a:pt x="187" y="43"/>
                    </a:lnTo>
                    <a:lnTo>
                      <a:pt x="181" y="43"/>
                    </a:lnTo>
                    <a:lnTo>
                      <a:pt x="181" y="43"/>
                    </a:lnTo>
                    <a:lnTo>
                      <a:pt x="167" y="43"/>
                    </a:lnTo>
                    <a:lnTo>
                      <a:pt x="161" y="43"/>
                    </a:lnTo>
                    <a:lnTo>
                      <a:pt x="157" y="42"/>
                    </a:lnTo>
                    <a:lnTo>
                      <a:pt x="155" y="40"/>
                    </a:lnTo>
                    <a:lnTo>
                      <a:pt x="155" y="40"/>
                    </a:lnTo>
                    <a:lnTo>
                      <a:pt x="155" y="38"/>
                    </a:lnTo>
                    <a:lnTo>
                      <a:pt x="155" y="36"/>
                    </a:lnTo>
                    <a:lnTo>
                      <a:pt x="158" y="32"/>
                    </a:lnTo>
                    <a:lnTo>
                      <a:pt x="165" y="20"/>
                    </a:lnTo>
                    <a:lnTo>
                      <a:pt x="167" y="14"/>
                    </a:lnTo>
                    <a:lnTo>
                      <a:pt x="167" y="11"/>
                    </a:lnTo>
                    <a:lnTo>
                      <a:pt x="167" y="8"/>
                    </a:lnTo>
                    <a:lnTo>
                      <a:pt x="165" y="6"/>
                    </a:lnTo>
                    <a:lnTo>
                      <a:pt x="163" y="4"/>
                    </a:lnTo>
                    <a:lnTo>
                      <a:pt x="158" y="3"/>
                    </a:lnTo>
                    <a:lnTo>
                      <a:pt x="154" y="2"/>
                    </a:lnTo>
                    <a:lnTo>
                      <a:pt x="154" y="2"/>
                    </a:lnTo>
                    <a:lnTo>
                      <a:pt x="147" y="0"/>
                    </a:lnTo>
                    <a:lnTo>
                      <a:pt x="140" y="3"/>
                    </a:lnTo>
                    <a:lnTo>
                      <a:pt x="134" y="6"/>
                    </a:lnTo>
                    <a:lnTo>
                      <a:pt x="129" y="11"/>
                    </a:lnTo>
                    <a:lnTo>
                      <a:pt x="125" y="17"/>
                    </a:lnTo>
                    <a:lnTo>
                      <a:pt x="120" y="23"/>
                    </a:lnTo>
                    <a:lnTo>
                      <a:pt x="113" y="38"/>
                    </a:lnTo>
                    <a:lnTo>
                      <a:pt x="106" y="56"/>
                    </a:lnTo>
                    <a:lnTo>
                      <a:pt x="102" y="72"/>
                    </a:lnTo>
                    <a:lnTo>
                      <a:pt x="96" y="95"/>
                    </a:lnTo>
                    <a:lnTo>
                      <a:pt x="96" y="95"/>
                    </a:lnTo>
                    <a:lnTo>
                      <a:pt x="116" y="94"/>
                    </a:lnTo>
                    <a:lnTo>
                      <a:pt x="116" y="9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40" name="Freeform 355">
                <a:extLst>
                  <a:ext uri="{FF2B5EF4-FFF2-40B4-BE49-F238E27FC236}">
                    <a16:creationId xmlns:a16="http://schemas.microsoft.com/office/drawing/2014/main" id="{2C624F21-3411-4B9C-99E0-E260D6AF1053}"/>
                  </a:ext>
                </a:extLst>
              </p:cNvPr>
              <p:cNvSpPr>
                <a:spLocks/>
              </p:cNvSpPr>
              <p:nvPr/>
            </p:nvSpPr>
            <p:spPr bwMode="auto">
              <a:xfrm>
                <a:off x="3435350" y="576263"/>
                <a:ext cx="7938" cy="6350"/>
              </a:xfrm>
              <a:custGeom>
                <a:avLst/>
                <a:gdLst>
                  <a:gd name="T0" fmla="*/ 38 w 38"/>
                  <a:gd name="T1" fmla="*/ 13 h 26"/>
                  <a:gd name="T2" fmla="*/ 38 w 38"/>
                  <a:gd name="T3" fmla="*/ 13 h 26"/>
                  <a:gd name="T4" fmla="*/ 34 w 38"/>
                  <a:gd name="T5" fmla="*/ 8 h 26"/>
                  <a:gd name="T6" fmla="*/ 30 w 38"/>
                  <a:gd name="T7" fmla="*/ 5 h 26"/>
                  <a:gd name="T8" fmla="*/ 24 w 38"/>
                  <a:gd name="T9" fmla="*/ 3 h 26"/>
                  <a:gd name="T10" fmla="*/ 18 w 38"/>
                  <a:gd name="T11" fmla="*/ 0 h 26"/>
                  <a:gd name="T12" fmla="*/ 12 w 38"/>
                  <a:gd name="T13" fmla="*/ 0 h 26"/>
                  <a:gd name="T14" fmla="*/ 8 w 38"/>
                  <a:gd name="T15" fmla="*/ 3 h 26"/>
                  <a:gd name="T16" fmla="*/ 3 w 38"/>
                  <a:gd name="T17" fmla="*/ 6 h 26"/>
                  <a:gd name="T18" fmla="*/ 1 w 38"/>
                  <a:gd name="T19" fmla="*/ 13 h 26"/>
                  <a:gd name="T20" fmla="*/ 1 w 38"/>
                  <a:gd name="T21" fmla="*/ 13 h 26"/>
                  <a:gd name="T22" fmla="*/ 0 w 38"/>
                  <a:gd name="T23" fmla="*/ 17 h 26"/>
                  <a:gd name="T24" fmla="*/ 0 w 38"/>
                  <a:gd name="T25" fmla="*/ 20 h 26"/>
                  <a:gd name="T26" fmla="*/ 1 w 38"/>
                  <a:gd name="T27" fmla="*/ 22 h 26"/>
                  <a:gd name="T28" fmla="*/ 3 w 38"/>
                  <a:gd name="T29" fmla="*/ 23 h 26"/>
                  <a:gd name="T30" fmla="*/ 8 w 38"/>
                  <a:gd name="T31" fmla="*/ 26 h 26"/>
                  <a:gd name="T32" fmla="*/ 15 w 38"/>
                  <a:gd name="T33" fmla="*/ 26 h 26"/>
                  <a:gd name="T34" fmla="*/ 22 w 38"/>
                  <a:gd name="T35" fmla="*/ 25 h 26"/>
                  <a:gd name="T36" fmla="*/ 28 w 38"/>
                  <a:gd name="T37" fmla="*/ 21 h 26"/>
                  <a:gd name="T38" fmla="*/ 34 w 38"/>
                  <a:gd name="T39" fmla="*/ 18 h 26"/>
                  <a:gd name="T40" fmla="*/ 38 w 38"/>
                  <a:gd name="T41" fmla="*/ 13 h 26"/>
                  <a:gd name="T42" fmla="*/ 38 w 38"/>
                  <a:gd name="T43"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 h="26">
                    <a:moveTo>
                      <a:pt x="38" y="13"/>
                    </a:moveTo>
                    <a:lnTo>
                      <a:pt x="38" y="13"/>
                    </a:lnTo>
                    <a:lnTo>
                      <a:pt x="34" y="8"/>
                    </a:lnTo>
                    <a:lnTo>
                      <a:pt x="30" y="5"/>
                    </a:lnTo>
                    <a:lnTo>
                      <a:pt x="24" y="3"/>
                    </a:lnTo>
                    <a:lnTo>
                      <a:pt x="18" y="0"/>
                    </a:lnTo>
                    <a:lnTo>
                      <a:pt x="12" y="0"/>
                    </a:lnTo>
                    <a:lnTo>
                      <a:pt x="8" y="3"/>
                    </a:lnTo>
                    <a:lnTo>
                      <a:pt x="3" y="6"/>
                    </a:lnTo>
                    <a:lnTo>
                      <a:pt x="1" y="13"/>
                    </a:lnTo>
                    <a:lnTo>
                      <a:pt x="1" y="13"/>
                    </a:lnTo>
                    <a:lnTo>
                      <a:pt x="0" y="17"/>
                    </a:lnTo>
                    <a:lnTo>
                      <a:pt x="0" y="20"/>
                    </a:lnTo>
                    <a:lnTo>
                      <a:pt x="1" y="22"/>
                    </a:lnTo>
                    <a:lnTo>
                      <a:pt x="3" y="23"/>
                    </a:lnTo>
                    <a:lnTo>
                      <a:pt x="8" y="26"/>
                    </a:lnTo>
                    <a:lnTo>
                      <a:pt x="15" y="26"/>
                    </a:lnTo>
                    <a:lnTo>
                      <a:pt x="22" y="25"/>
                    </a:lnTo>
                    <a:lnTo>
                      <a:pt x="28" y="21"/>
                    </a:lnTo>
                    <a:lnTo>
                      <a:pt x="34" y="18"/>
                    </a:lnTo>
                    <a:lnTo>
                      <a:pt x="38" y="13"/>
                    </a:lnTo>
                    <a:lnTo>
                      <a:pt x="38"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41" name="Line 356">
                <a:extLst>
                  <a:ext uri="{FF2B5EF4-FFF2-40B4-BE49-F238E27FC236}">
                    <a16:creationId xmlns:a16="http://schemas.microsoft.com/office/drawing/2014/main" id="{EC52F573-8C98-4455-B79A-9F3BC6C10F20}"/>
                  </a:ext>
                </a:extLst>
              </p:cNvPr>
              <p:cNvSpPr>
                <a:spLocks noChangeShapeType="1"/>
              </p:cNvSpPr>
              <p:nvPr/>
            </p:nvSpPr>
            <p:spPr bwMode="auto">
              <a:xfrm>
                <a:off x="3365500" y="70326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42" name="Line 357">
                <a:extLst>
                  <a:ext uri="{FF2B5EF4-FFF2-40B4-BE49-F238E27FC236}">
                    <a16:creationId xmlns:a16="http://schemas.microsoft.com/office/drawing/2014/main" id="{50D6EDE5-31FB-4E14-AB0C-5025793FD3E5}"/>
                  </a:ext>
                </a:extLst>
              </p:cNvPr>
              <p:cNvSpPr>
                <a:spLocks noChangeShapeType="1"/>
              </p:cNvSpPr>
              <p:nvPr/>
            </p:nvSpPr>
            <p:spPr bwMode="auto">
              <a:xfrm>
                <a:off x="3365500" y="70326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43" name="Freeform 358">
                <a:extLst>
                  <a:ext uri="{FF2B5EF4-FFF2-40B4-BE49-F238E27FC236}">
                    <a16:creationId xmlns:a16="http://schemas.microsoft.com/office/drawing/2014/main" id="{B77A709D-B9F8-4E76-8673-BCEE129A5C25}"/>
                  </a:ext>
                </a:extLst>
              </p:cNvPr>
              <p:cNvSpPr>
                <a:spLocks/>
              </p:cNvSpPr>
              <p:nvPr/>
            </p:nvSpPr>
            <p:spPr bwMode="auto">
              <a:xfrm>
                <a:off x="3382963" y="693738"/>
                <a:ext cx="11113" cy="14288"/>
              </a:xfrm>
              <a:custGeom>
                <a:avLst/>
                <a:gdLst>
                  <a:gd name="T0" fmla="*/ 1 w 45"/>
                  <a:gd name="T1" fmla="*/ 65 h 68"/>
                  <a:gd name="T2" fmla="*/ 1 w 45"/>
                  <a:gd name="T3" fmla="*/ 65 h 68"/>
                  <a:gd name="T4" fmla="*/ 7 w 45"/>
                  <a:gd name="T5" fmla="*/ 68 h 68"/>
                  <a:gd name="T6" fmla="*/ 13 w 45"/>
                  <a:gd name="T7" fmla="*/ 68 h 68"/>
                  <a:gd name="T8" fmla="*/ 17 w 45"/>
                  <a:gd name="T9" fmla="*/ 68 h 68"/>
                  <a:gd name="T10" fmla="*/ 23 w 45"/>
                  <a:gd name="T11" fmla="*/ 65 h 68"/>
                  <a:gd name="T12" fmla="*/ 28 w 45"/>
                  <a:gd name="T13" fmla="*/ 63 h 68"/>
                  <a:gd name="T14" fmla="*/ 31 w 45"/>
                  <a:gd name="T15" fmla="*/ 59 h 68"/>
                  <a:gd name="T16" fmla="*/ 36 w 45"/>
                  <a:gd name="T17" fmla="*/ 55 h 68"/>
                  <a:gd name="T18" fmla="*/ 39 w 45"/>
                  <a:gd name="T19" fmla="*/ 50 h 68"/>
                  <a:gd name="T20" fmla="*/ 41 w 45"/>
                  <a:gd name="T21" fmla="*/ 45 h 68"/>
                  <a:gd name="T22" fmla="*/ 44 w 45"/>
                  <a:gd name="T23" fmla="*/ 40 h 68"/>
                  <a:gd name="T24" fmla="*/ 45 w 45"/>
                  <a:gd name="T25" fmla="*/ 34 h 68"/>
                  <a:gd name="T26" fmla="*/ 45 w 45"/>
                  <a:gd name="T27" fmla="*/ 28 h 68"/>
                  <a:gd name="T28" fmla="*/ 45 w 45"/>
                  <a:gd name="T29" fmla="*/ 23 h 68"/>
                  <a:gd name="T30" fmla="*/ 44 w 45"/>
                  <a:gd name="T31" fmla="*/ 18 h 68"/>
                  <a:gd name="T32" fmla="*/ 41 w 45"/>
                  <a:gd name="T33" fmla="*/ 13 h 68"/>
                  <a:gd name="T34" fmla="*/ 38 w 45"/>
                  <a:gd name="T35" fmla="*/ 10 h 68"/>
                  <a:gd name="T36" fmla="*/ 38 w 45"/>
                  <a:gd name="T37" fmla="*/ 10 h 68"/>
                  <a:gd name="T38" fmla="*/ 31 w 45"/>
                  <a:gd name="T39" fmla="*/ 4 h 68"/>
                  <a:gd name="T40" fmla="*/ 25 w 45"/>
                  <a:gd name="T41" fmla="*/ 1 h 68"/>
                  <a:gd name="T42" fmla="*/ 20 w 45"/>
                  <a:gd name="T43" fmla="*/ 0 h 68"/>
                  <a:gd name="T44" fmla="*/ 16 w 45"/>
                  <a:gd name="T45" fmla="*/ 1 h 68"/>
                  <a:gd name="T46" fmla="*/ 12 w 45"/>
                  <a:gd name="T47" fmla="*/ 3 h 68"/>
                  <a:gd name="T48" fmla="*/ 9 w 45"/>
                  <a:gd name="T49" fmla="*/ 8 h 68"/>
                  <a:gd name="T50" fmla="*/ 7 w 45"/>
                  <a:gd name="T51" fmla="*/ 12 h 68"/>
                  <a:gd name="T52" fmla="*/ 5 w 45"/>
                  <a:gd name="T53" fmla="*/ 18 h 68"/>
                  <a:gd name="T54" fmla="*/ 2 w 45"/>
                  <a:gd name="T55" fmla="*/ 32 h 68"/>
                  <a:gd name="T56" fmla="*/ 1 w 45"/>
                  <a:gd name="T57" fmla="*/ 46 h 68"/>
                  <a:gd name="T58" fmla="*/ 0 w 45"/>
                  <a:gd name="T59" fmla="*/ 57 h 68"/>
                  <a:gd name="T60" fmla="*/ 1 w 45"/>
                  <a:gd name="T61" fmla="*/ 65 h 68"/>
                  <a:gd name="T62" fmla="*/ 1 w 45"/>
                  <a:gd name="T63" fmla="*/ 6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68">
                    <a:moveTo>
                      <a:pt x="1" y="65"/>
                    </a:moveTo>
                    <a:lnTo>
                      <a:pt x="1" y="65"/>
                    </a:lnTo>
                    <a:lnTo>
                      <a:pt x="7" y="68"/>
                    </a:lnTo>
                    <a:lnTo>
                      <a:pt x="13" y="68"/>
                    </a:lnTo>
                    <a:lnTo>
                      <a:pt x="17" y="68"/>
                    </a:lnTo>
                    <a:lnTo>
                      <a:pt x="23" y="65"/>
                    </a:lnTo>
                    <a:lnTo>
                      <a:pt x="28" y="63"/>
                    </a:lnTo>
                    <a:lnTo>
                      <a:pt x="31" y="59"/>
                    </a:lnTo>
                    <a:lnTo>
                      <a:pt x="36" y="55"/>
                    </a:lnTo>
                    <a:lnTo>
                      <a:pt x="39" y="50"/>
                    </a:lnTo>
                    <a:lnTo>
                      <a:pt x="41" y="45"/>
                    </a:lnTo>
                    <a:lnTo>
                      <a:pt x="44" y="40"/>
                    </a:lnTo>
                    <a:lnTo>
                      <a:pt x="45" y="34"/>
                    </a:lnTo>
                    <a:lnTo>
                      <a:pt x="45" y="28"/>
                    </a:lnTo>
                    <a:lnTo>
                      <a:pt x="45" y="23"/>
                    </a:lnTo>
                    <a:lnTo>
                      <a:pt x="44" y="18"/>
                    </a:lnTo>
                    <a:lnTo>
                      <a:pt x="41" y="13"/>
                    </a:lnTo>
                    <a:lnTo>
                      <a:pt x="38" y="10"/>
                    </a:lnTo>
                    <a:lnTo>
                      <a:pt x="38" y="10"/>
                    </a:lnTo>
                    <a:lnTo>
                      <a:pt x="31" y="4"/>
                    </a:lnTo>
                    <a:lnTo>
                      <a:pt x="25" y="1"/>
                    </a:lnTo>
                    <a:lnTo>
                      <a:pt x="20" y="0"/>
                    </a:lnTo>
                    <a:lnTo>
                      <a:pt x="16" y="1"/>
                    </a:lnTo>
                    <a:lnTo>
                      <a:pt x="12" y="3"/>
                    </a:lnTo>
                    <a:lnTo>
                      <a:pt x="9" y="8"/>
                    </a:lnTo>
                    <a:lnTo>
                      <a:pt x="7" y="12"/>
                    </a:lnTo>
                    <a:lnTo>
                      <a:pt x="5" y="18"/>
                    </a:lnTo>
                    <a:lnTo>
                      <a:pt x="2" y="32"/>
                    </a:lnTo>
                    <a:lnTo>
                      <a:pt x="1" y="46"/>
                    </a:lnTo>
                    <a:lnTo>
                      <a:pt x="0" y="57"/>
                    </a:lnTo>
                    <a:lnTo>
                      <a:pt x="1" y="65"/>
                    </a:lnTo>
                    <a:lnTo>
                      <a:pt x="1"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44" name="Freeform 359">
                <a:extLst>
                  <a:ext uri="{FF2B5EF4-FFF2-40B4-BE49-F238E27FC236}">
                    <a16:creationId xmlns:a16="http://schemas.microsoft.com/office/drawing/2014/main" id="{3BE866A9-20BB-46C0-965C-CBCFCA19567D}"/>
                  </a:ext>
                </a:extLst>
              </p:cNvPr>
              <p:cNvSpPr>
                <a:spLocks/>
              </p:cNvSpPr>
              <p:nvPr/>
            </p:nvSpPr>
            <p:spPr bwMode="auto">
              <a:xfrm>
                <a:off x="3386138" y="681038"/>
                <a:ext cx="4763" cy="11113"/>
              </a:xfrm>
              <a:custGeom>
                <a:avLst/>
                <a:gdLst>
                  <a:gd name="T0" fmla="*/ 27 w 27"/>
                  <a:gd name="T1" fmla="*/ 26 h 49"/>
                  <a:gd name="T2" fmla="*/ 27 w 27"/>
                  <a:gd name="T3" fmla="*/ 26 h 49"/>
                  <a:gd name="T4" fmla="*/ 27 w 27"/>
                  <a:gd name="T5" fmla="*/ 20 h 49"/>
                  <a:gd name="T6" fmla="*/ 24 w 27"/>
                  <a:gd name="T7" fmla="*/ 13 h 49"/>
                  <a:gd name="T8" fmla="*/ 21 w 27"/>
                  <a:gd name="T9" fmla="*/ 0 h 49"/>
                  <a:gd name="T10" fmla="*/ 21 w 27"/>
                  <a:gd name="T11" fmla="*/ 0 h 49"/>
                  <a:gd name="T12" fmla="*/ 13 w 27"/>
                  <a:gd name="T13" fmla="*/ 7 h 49"/>
                  <a:gd name="T14" fmla="*/ 6 w 27"/>
                  <a:gd name="T15" fmla="*/ 13 h 49"/>
                  <a:gd name="T16" fmla="*/ 2 w 27"/>
                  <a:gd name="T17" fmla="*/ 20 h 49"/>
                  <a:gd name="T18" fmla="*/ 0 w 27"/>
                  <a:gd name="T19" fmla="*/ 25 h 49"/>
                  <a:gd name="T20" fmla="*/ 0 w 27"/>
                  <a:gd name="T21" fmla="*/ 31 h 49"/>
                  <a:gd name="T22" fmla="*/ 0 w 27"/>
                  <a:gd name="T23" fmla="*/ 37 h 49"/>
                  <a:gd name="T24" fmla="*/ 2 w 27"/>
                  <a:gd name="T25" fmla="*/ 41 h 49"/>
                  <a:gd name="T26" fmla="*/ 6 w 27"/>
                  <a:gd name="T27" fmla="*/ 45 h 49"/>
                  <a:gd name="T28" fmla="*/ 9 w 27"/>
                  <a:gd name="T29" fmla="*/ 47 h 49"/>
                  <a:gd name="T30" fmla="*/ 13 w 27"/>
                  <a:gd name="T31" fmla="*/ 49 h 49"/>
                  <a:gd name="T32" fmla="*/ 16 w 27"/>
                  <a:gd name="T33" fmla="*/ 49 h 49"/>
                  <a:gd name="T34" fmla="*/ 21 w 27"/>
                  <a:gd name="T35" fmla="*/ 48 h 49"/>
                  <a:gd name="T36" fmla="*/ 23 w 27"/>
                  <a:gd name="T37" fmla="*/ 45 h 49"/>
                  <a:gd name="T38" fmla="*/ 25 w 27"/>
                  <a:gd name="T39" fmla="*/ 40 h 49"/>
                  <a:gd name="T40" fmla="*/ 27 w 27"/>
                  <a:gd name="T41" fmla="*/ 35 h 49"/>
                  <a:gd name="T42" fmla="*/ 27 w 27"/>
                  <a:gd name="T43" fmla="*/ 26 h 49"/>
                  <a:gd name="T44" fmla="*/ 27 w 27"/>
                  <a:gd name="T45" fmla="*/ 2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49">
                    <a:moveTo>
                      <a:pt x="27" y="26"/>
                    </a:moveTo>
                    <a:lnTo>
                      <a:pt x="27" y="26"/>
                    </a:lnTo>
                    <a:lnTo>
                      <a:pt x="27" y="20"/>
                    </a:lnTo>
                    <a:lnTo>
                      <a:pt x="24" y="13"/>
                    </a:lnTo>
                    <a:lnTo>
                      <a:pt x="21" y="0"/>
                    </a:lnTo>
                    <a:lnTo>
                      <a:pt x="21" y="0"/>
                    </a:lnTo>
                    <a:lnTo>
                      <a:pt x="13" y="7"/>
                    </a:lnTo>
                    <a:lnTo>
                      <a:pt x="6" y="13"/>
                    </a:lnTo>
                    <a:lnTo>
                      <a:pt x="2" y="20"/>
                    </a:lnTo>
                    <a:lnTo>
                      <a:pt x="0" y="25"/>
                    </a:lnTo>
                    <a:lnTo>
                      <a:pt x="0" y="31"/>
                    </a:lnTo>
                    <a:lnTo>
                      <a:pt x="0" y="37"/>
                    </a:lnTo>
                    <a:lnTo>
                      <a:pt x="2" y="41"/>
                    </a:lnTo>
                    <a:lnTo>
                      <a:pt x="6" y="45"/>
                    </a:lnTo>
                    <a:lnTo>
                      <a:pt x="9" y="47"/>
                    </a:lnTo>
                    <a:lnTo>
                      <a:pt x="13" y="49"/>
                    </a:lnTo>
                    <a:lnTo>
                      <a:pt x="16" y="49"/>
                    </a:lnTo>
                    <a:lnTo>
                      <a:pt x="21" y="48"/>
                    </a:lnTo>
                    <a:lnTo>
                      <a:pt x="23" y="45"/>
                    </a:lnTo>
                    <a:lnTo>
                      <a:pt x="25" y="40"/>
                    </a:lnTo>
                    <a:lnTo>
                      <a:pt x="27" y="35"/>
                    </a:lnTo>
                    <a:lnTo>
                      <a:pt x="27" y="26"/>
                    </a:lnTo>
                    <a:lnTo>
                      <a:pt x="27"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45" name="Line 360">
                <a:extLst>
                  <a:ext uri="{FF2B5EF4-FFF2-40B4-BE49-F238E27FC236}">
                    <a16:creationId xmlns:a16="http://schemas.microsoft.com/office/drawing/2014/main" id="{2D8AACF8-1DBE-4DAA-BD02-2246AD835967}"/>
                  </a:ext>
                </a:extLst>
              </p:cNvPr>
              <p:cNvSpPr>
                <a:spLocks noChangeShapeType="1"/>
              </p:cNvSpPr>
              <p:nvPr/>
            </p:nvSpPr>
            <p:spPr bwMode="auto">
              <a:xfrm>
                <a:off x="3398838" y="60642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46" name="Line 361">
                <a:extLst>
                  <a:ext uri="{FF2B5EF4-FFF2-40B4-BE49-F238E27FC236}">
                    <a16:creationId xmlns:a16="http://schemas.microsoft.com/office/drawing/2014/main" id="{4543F590-F1C4-4FF3-9786-20493DA49133}"/>
                  </a:ext>
                </a:extLst>
              </p:cNvPr>
              <p:cNvSpPr>
                <a:spLocks noChangeShapeType="1"/>
              </p:cNvSpPr>
              <p:nvPr/>
            </p:nvSpPr>
            <p:spPr bwMode="auto">
              <a:xfrm>
                <a:off x="3398838" y="60642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47" name="Freeform 362">
                <a:extLst>
                  <a:ext uri="{FF2B5EF4-FFF2-40B4-BE49-F238E27FC236}">
                    <a16:creationId xmlns:a16="http://schemas.microsoft.com/office/drawing/2014/main" id="{C59449C8-75E0-4C4B-8E4E-C8E288B4DF2A}"/>
                  </a:ext>
                </a:extLst>
              </p:cNvPr>
              <p:cNvSpPr>
                <a:spLocks/>
              </p:cNvSpPr>
              <p:nvPr/>
            </p:nvSpPr>
            <p:spPr bwMode="auto">
              <a:xfrm>
                <a:off x="3421063" y="581025"/>
                <a:ext cx="7938" cy="11113"/>
              </a:xfrm>
              <a:custGeom>
                <a:avLst/>
                <a:gdLst>
                  <a:gd name="T0" fmla="*/ 23 w 31"/>
                  <a:gd name="T1" fmla="*/ 0 h 50"/>
                  <a:gd name="T2" fmla="*/ 23 w 31"/>
                  <a:gd name="T3" fmla="*/ 0 h 50"/>
                  <a:gd name="T4" fmla="*/ 15 w 31"/>
                  <a:gd name="T5" fmla="*/ 4 h 50"/>
                  <a:gd name="T6" fmla="*/ 8 w 31"/>
                  <a:gd name="T7" fmla="*/ 9 h 50"/>
                  <a:gd name="T8" fmla="*/ 3 w 31"/>
                  <a:gd name="T9" fmla="*/ 15 h 50"/>
                  <a:gd name="T10" fmla="*/ 1 w 31"/>
                  <a:gd name="T11" fmla="*/ 22 h 50"/>
                  <a:gd name="T12" fmla="*/ 0 w 31"/>
                  <a:gd name="T13" fmla="*/ 27 h 50"/>
                  <a:gd name="T14" fmla="*/ 2 w 31"/>
                  <a:gd name="T15" fmla="*/ 35 h 50"/>
                  <a:gd name="T16" fmla="*/ 6 w 31"/>
                  <a:gd name="T17" fmla="*/ 42 h 50"/>
                  <a:gd name="T18" fmla="*/ 10 w 31"/>
                  <a:gd name="T19" fmla="*/ 50 h 50"/>
                  <a:gd name="T20" fmla="*/ 10 w 31"/>
                  <a:gd name="T21" fmla="*/ 50 h 50"/>
                  <a:gd name="T22" fmla="*/ 18 w 31"/>
                  <a:gd name="T23" fmla="*/ 46 h 50"/>
                  <a:gd name="T24" fmla="*/ 24 w 31"/>
                  <a:gd name="T25" fmla="*/ 40 h 50"/>
                  <a:gd name="T26" fmla="*/ 29 w 31"/>
                  <a:gd name="T27" fmla="*/ 34 h 50"/>
                  <a:gd name="T28" fmla="*/ 31 w 31"/>
                  <a:gd name="T29" fmla="*/ 28 h 50"/>
                  <a:gd name="T30" fmla="*/ 31 w 31"/>
                  <a:gd name="T31" fmla="*/ 22 h 50"/>
                  <a:gd name="T32" fmla="*/ 31 w 31"/>
                  <a:gd name="T33" fmla="*/ 15 h 50"/>
                  <a:gd name="T34" fmla="*/ 28 w 31"/>
                  <a:gd name="T35" fmla="*/ 8 h 50"/>
                  <a:gd name="T36" fmla="*/ 23 w 31"/>
                  <a:gd name="T37" fmla="*/ 0 h 50"/>
                  <a:gd name="T38" fmla="*/ 23 w 31"/>
                  <a:gd name="T3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 h="50">
                    <a:moveTo>
                      <a:pt x="23" y="0"/>
                    </a:moveTo>
                    <a:lnTo>
                      <a:pt x="23" y="0"/>
                    </a:lnTo>
                    <a:lnTo>
                      <a:pt x="15" y="4"/>
                    </a:lnTo>
                    <a:lnTo>
                      <a:pt x="8" y="9"/>
                    </a:lnTo>
                    <a:lnTo>
                      <a:pt x="3" y="15"/>
                    </a:lnTo>
                    <a:lnTo>
                      <a:pt x="1" y="22"/>
                    </a:lnTo>
                    <a:lnTo>
                      <a:pt x="0" y="27"/>
                    </a:lnTo>
                    <a:lnTo>
                      <a:pt x="2" y="35"/>
                    </a:lnTo>
                    <a:lnTo>
                      <a:pt x="6" y="42"/>
                    </a:lnTo>
                    <a:lnTo>
                      <a:pt x="10" y="50"/>
                    </a:lnTo>
                    <a:lnTo>
                      <a:pt x="10" y="50"/>
                    </a:lnTo>
                    <a:lnTo>
                      <a:pt x="18" y="46"/>
                    </a:lnTo>
                    <a:lnTo>
                      <a:pt x="24" y="40"/>
                    </a:lnTo>
                    <a:lnTo>
                      <a:pt x="29" y="34"/>
                    </a:lnTo>
                    <a:lnTo>
                      <a:pt x="31" y="28"/>
                    </a:lnTo>
                    <a:lnTo>
                      <a:pt x="31" y="22"/>
                    </a:lnTo>
                    <a:lnTo>
                      <a:pt x="31" y="15"/>
                    </a:lnTo>
                    <a:lnTo>
                      <a:pt x="28" y="8"/>
                    </a:lnTo>
                    <a:lnTo>
                      <a:pt x="23" y="0"/>
                    </a:lnTo>
                    <a:lnTo>
                      <a:pt x="2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48" name="Freeform 363">
                <a:extLst>
                  <a:ext uri="{FF2B5EF4-FFF2-40B4-BE49-F238E27FC236}">
                    <a16:creationId xmlns:a16="http://schemas.microsoft.com/office/drawing/2014/main" id="{B66ED617-4FAE-4F10-9C38-7D29C5F7A4B4}"/>
                  </a:ext>
                </a:extLst>
              </p:cNvPr>
              <p:cNvSpPr>
                <a:spLocks/>
              </p:cNvSpPr>
              <p:nvPr/>
            </p:nvSpPr>
            <p:spPr bwMode="auto">
              <a:xfrm>
                <a:off x="3402013" y="709613"/>
                <a:ext cx="14288" cy="12700"/>
              </a:xfrm>
              <a:custGeom>
                <a:avLst/>
                <a:gdLst>
                  <a:gd name="T0" fmla="*/ 46 w 63"/>
                  <a:gd name="T1" fmla="*/ 0 h 53"/>
                  <a:gd name="T2" fmla="*/ 46 w 63"/>
                  <a:gd name="T3" fmla="*/ 0 h 53"/>
                  <a:gd name="T4" fmla="*/ 30 w 63"/>
                  <a:gd name="T5" fmla="*/ 3 h 53"/>
                  <a:gd name="T6" fmla="*/ 21 w 63"/>
                  <a:gd name="T7" fmla="*/ 3 h 53"/>
                  <a:gd name="T8" fmla="*/ 13 w 63"/>
                  <a:gd name="T9" fmla="*/ 4 h 53"/>
                  <a:gd name="T10" fmla="*/ 6 w 63"/>
                  <a:gd name="T11" fmla="*/ 7 h 53"/>
                  <a:gd name="T12" fmla="*/ 3 w 63"/>
                  <a:gd name="T13" fmla="*/ 8 h 53"/>
                  <a:gd name="T14" fmla="*/ 1 w 63"/>
                  <a:gd name="T15" fmla="*/ 11 h 53"/>
                  <a:gd name="T16" fmla="*/ 0 w 63"/>
                  <a:gd name="T17" fmla="*/ 14 h 53"/>
                  <a:gd name="T18" fmla="*/ 0 w 63"/>
                  <a:gd name="T19" fmla="*/ 18 h 53"/>
                  <a:gd name="T20" fmla="*/ 1 w 63"/>
                  <a:gd name="T21" fmla="*/ 22 h 53"/>
                  <a:gd name="T22" fmla="*/ 2 w 63"/>
                  <a:gd name="T23" fmla="*/ 27 h 53"/>
                  <a:gd name="T24" fmla="*/ 2 w 63"/>
                  <a:gd name="T25" fmla="*/ 27 h 53"/>
                  <a:gd name="T26" fmla="*/ 6 w 63"/>
                  <a:gd name="T27" fmla="*/ 30 h 53"/>
                  <a:gd name="T28" fmla="*/ 13 w 63"/>
                  <a:gd name="T29" fmla="*/ 35 h 53"/>
                  <a:gd name="T30" fmla="*/ 21 w 63"/>
                  <a:gd name="T31" fmla="*/ 39 h 53"/>
                  <a:gd name="T32" fmla="*/ 30 w 63"/>
                  <a:gd name="T33" fmla="*/ 43 h 53"/>
                  <a:gd name="T34" fmla="*/ 48 w 63"/>
                  <a:gd name="T35" fmla="*/ 50 h 53"/>
                  <a:gd name="T36" fmla="*/ 62 w 63"/>
                  <a:gd name="T37" fmla="*/ 53 h 53"/>
                  <a:gd name="T38" fmla="*/ 62 w 63"/>
                  <a:gd name="T39" fmla="*/ 53 h 53"/>
                  <a:gd name="T40" fmla="*/ 63 w 63"/>
                  <a:gd name="T41" fmla="*/ 37 h 53"/>
                  <a:gd name="T42" fmla="*/ 63 w 63"/>
                  <a:gd name="T43" fmla="*/ 29 h 53"/>
                  <a:gd name="T44" fmla="*/ 63 w 63"/>
                  <a:gd name="T45" fmla="*/ 22 h 53"/>
                  <a:gd name="T46" fmla="*/ 62 w 63"/>
                  <a:gd name="T47" fmla="*/ 15 h 53"/>
                  <a:gd name="T48" fmla="*/ 59 w 63"/>
                  <a:gd name="T49" fmla="*/ 10 h 53"/>
                  <a:gd name="T50" fmla="*/ 54 w 63"/>
                  <a:gd name="T51" fmla="*/ 5 h 53"/>
                  <a:gd name="T52" fmla="*/ 46 w 63"/>
                  <a:gd name="T53" fmla="*/ 0 h 53"/>
                  <a:gd name="T54" fmla="*/ 46 w 63"/>
                  <a:gd name="T55"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3" h="53">
                    <a:moveTo>
                      <a:pt x="46" y="0"/>
                    </a:moveTo>
                    <a:lnTo>
                      <a:pt x="46" y="0"/>
                    </a:lnTo>
                    <a:lnTo>
                      <a:pt x="30" y="3"/>
                    </a:lnTo>
                    <a:lnTo>
                      <a:pt x="21" y="3"/>
                    </a:lnTo>
                    <a:lnTo>
                      <a:pt x="13" y="4"/>
                    </a:lnTo>
                    <a:lnTo>
                      <a:pt x="6" y="7"/>
                    </a:lnTo>
                    <a:lnTo>
                      <a:pt x="3" y="8"/>
                    </a:lnTo>
                    <a:lnTo>
                      <a:pt x="1" y="11"/>
                    </a:lnTo>
                    <a:lnTo>
                      <a:pt x="0" y="14"/>
                    </a:lnTo>
                    <a:lnTo>
                      <a:pt x="0" y="18"/>
                    </a:lnTo>
                    <a:lnTo>
                      <a:pt x="1" y="22"/>
                    </a:lnTo>
                    <a:lnTo>
                      <a:pt x="2" y="27"/>
                    </a:lnTo>
                    <a:lnTo>
                      <a:pt x="2" y="27"/>
                    </a:lnTo>
                    <a:lnTo>
                      <a:pt x="6" y="30"/>
                    </a:lnTo>
                    <a:lnTo>
                      <a:pt x="13" y="35"/>
                    </a:lnTo>
                    <a:lnTo>
                      <a:pt x="21" y="39"/>
                    </a:lnTo>
                    <a:lnTo>
                      <a:pt x="30" y="43"/>
                    </a:lnTo>
                    <a:lnTo>
                      <a:pt x="48" y="50"/>
                    </a:lnTo>
                    <a:lnTo>
                      <a:pt x="62" y="53"/>
                    </a:lnTo>
                    <a:lnTo>
                      <a:pt x="62" y="53"/>
                    </a:lnTo>
                    <a:lnTo>
                      <a:pt x="63" y="37"/>
                    </a:lnTo>
                    <a:lnTo>
                      <a:pt x="63" y="29"/>
                    </a:lnTo>
                    <a:lnTo>
                      <a:pt x="63" y="22"/>
                    </a:lnTo>
                    <a:lnTo>
                      <a:pt x="62" y="15"/>
                    </a:lnTo>
                    <a:lnTo>
                      <a:pt x="59" y="10"/>
                    </a:lnTo>
                    <a:lnTo>
                      <a:pt x="54" y="5"/>
                    </a:lnTo>
                    <a:lnTo>
                      <a:pt x="46" y="0"/>
                    </a:lnTo>
                    <a:lnTo>
                      <a:pt x="4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49" name="Freeform 364">
                <a:extLst>
                  <a:ext uri="{FF2B5EF4-FFF2-40B4-BE49-F238E27FC236}">
                    <a16:creationId xmlns:a16="http://schemas.microsoft.com/office/drawing/2014/main" id="{BA762ACA-BA8A-47A3-820C-B66602577124}"/>
                  </a:ext>
                </a:extLst>
              </p:cNvPr>
              <p:cNvSpPr>
                <a:spLocks/>
              </p:cNvSpPr>
              <p:nvPr/>
            </p:nvSpPr>
            <p:spPr bwMode="auto">
              <a:xfrm>
                <a:off x="3411538" y="723900"/>
                <a:ext cx="6350" cy="7938"/>
              </a:xfrm>
              <a:custGeom>
                <a:avLst/>
                <a:gdLst>
                  <a:gd name="T0" fmla="*/ 1 w 27"/>
                  <a:gd name="T1" fmla="*/ 28 h 32"/>
                  <a:gd name="T2" fmla="*/ 1 w 27"/>
                  <a:gd name="T3" fmla="*/ 28 h 32"/>
                  <a:gd name="T4" fmla="*/ 9 w 27"/>
                  <a:gd name="T5" fmla="*/ 31 h 32"/>
                  <a:gd name="T6" fmla="*/ 15 w 27"/>
                  <a:gd name="T7" fmla="*/ 32 h 32"/>
                  <a:gd name="T8" fmla="*/ 21 w 27"/>
                  <a:gd name="T9" fmla="*/ 32 h 32"/>
                  <a:gd name="T10" fmla="*/ 24 w 27"/>
                  <a:gd name="T11" fmla="*/ 30 h 32"/>
                  <a:gd name="T12" fmla="*/ 26 w 27"/>
                  <a:gd name="T13" fmla="*/ 26 h 32"/>
                  <a:gd name="T14" fmla="*/ 27 w 27"/>
                  <a:gd name="T15" fmla="*/ 22 h 32"/>
                  <a:gd name="T16" fmla="*/ 27 w 27"/>
                  <a:gd name="T17" fmla="*/ 15 h 32"/>
                  <a:gd name="T18" fmla="*/ 24 w 27"/>
                  <a:gd name="T19" fmla="*/ 7 h 32"/>
                  <a:gd name="T20" fmla="*/ 24 w 27"/>
                  <a:gd name="T21" fmla="*/ 7 h 32"/>
                  <a:gd name="T22" fmla="*/ 23 w 27"/>
                  <a:gd name="T23" fmla="*/ 4 h 32"/>
                  <a:gd name="T24" fmla="*/ 22 w 27"/>
                  <a:gd name="T25" fmla="*/ 2 h 32"/>
                  <a:gd name="T26" fmla="*/ 20 w 27"/>
                  <a:gd name="T27" fmla="*/ 1 h 32"/>
                  <a:gd name="T28" fmla="*/ 19 w 27"/>
                  <a:gd name="T29" fmla="*/ 0 h 32"/>
                  <a:gd name="T30" fmla="*/ 14 w 27"/>
                  <a:gd name="T31" fmla="*/ 1 h 32"/>
                  <a:gd name="T32" fmla="*/ 8 w 27"/>
                  <a:gd name="T33" fmla="*/ 3 h 32"/>
                  <a:gd name="T34" fmla="*/ 5 w 27"/>
                  <a:gd name="T35" fmla="*/ 8 h 32"/>
                  <a:gd name="T36" fmla="*/ 1 w 27"/>
                  <a:gd name="T37" fmla="*/ 13 h 32"/>
                  <a:gd name="T38" fmla="*/ 0 w 27"/>
                  <a:gd name="T39" fmla="*/ 20 h 32"/>
                  <a:gd name="T40" fmla="*/ 1 w 27"/>
                  <a:gd name="T41" fmla="*/ 28 h 32"/>
                  <a:gd name="T42" fmla="*/ 1 w 27"/>
                  <a:gd name="T43"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 h="32">
                    <a:moveTo>
                      <a:pt x="1" y="28"/>
                    </a:moveTo>
                    <a:lnTo>
                      <a:pt x="1" y="28"/>
                    </a:lnTo>
                    <a:lnTo>
                      <a:pt x="9" y="31"/>
                    </a:lnTo>
                    <a:lnTo>
                      <a:pt x="15" y="32"/>
                    </a:lnTo>
                    <a:lnTo>
                      <a:pt x="21" y="32"/>
                    </a:lnTo>
                    <a:lnTo>
                      <a:pt x="24" y="30"/>
                    </a:lnTo>
                    <a:lnTo>
                      <a:pt x="26" y="26"/>
                    </a:lnTo>
                    <a:lnTo>
                      <a:pt x="27" y="22"/>
                    </a:lnTo>
                    <a:lnTo>
                      <a:pt x="27" y="15"/>
                    </a:lnTo>
                    <a:lnTo>
                      <a:pt x="24" y="7"/>
                    </a:lnTo>
                    <a:lnTo>
                      <a:pt x="24" y="7"/>
                    </a:lnTo>
                    <a:lnTo>
                      <a:pt x="23" y="4"/>
                    </a:lnTo>
                    <a:lnTo>
                      <a:pt x="22" y="2"/>
                    </a:lnTo>
                    <a:lnTo>
                      <a:pt x="20" y="1"/>
                    </a:lnTo>
                    <a:lnTo>
                      <a:pt x="19" y="0"/>
                    </a:lnTo>
                    <a:lnTo>
                      <a:pt x="14" y="1"/>
                    </a:lnTo>
                    <a:lnTo>
                      <a:pt x="8" y="3"/>
                    </a:lnTo>
                    <a:lnTo>
                      <a:pt x="5" y="8"/>
                    </a:lnTo>
                    <a:lnTo>
                      <a:pt x="1" y="13"/>
                    </a:lnTo>
                    <a:lnTo>
                      <a:pt x="0" y="20"/>
                    </a:lnTo>
                    <a:lnTo>
                      <a:pt x="1" y="28"/>
                    </a:lnTo>
                    <a:lnTo>
                      <a:pt x="1"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50" name="Freeform 365">
                <a:extLst>
                  <a:ext uri="{FF2B5EF4-FFF2-40B4-BE49-F238E27FC236}">
                    <a16:creationId xmlns:a16="http://schemas.microsoft.com/office/drawing/2014/main" id="{2182BBD8-CC59-44AF-BDED-5EDA76F7A53A}"/>
                  </a:ext>
                </a:extLst>
              </p:cNvPr>
              <p:cNvSpPr>
                <a:spLocks/>
              </p:cNvSpPr>
              <p:nvPr/>
            </p:nvSpPr>
            <p:spPr bwMode="auto">
              <a:xfrm>
                <a:off x="3455988" y="725488"/>
                <a:ext cx="15875" cy="6350"/>
              </a:xfrm>
              <a:custGeom>
                <a:avLst/>
                <a:gdLst>
                  <a:gd name="T0" fmla="*/ 60 w 67"/>
                  <a:gd name="T1" fmla="*/ 28 h 28"/>
                  <a:gd name="T2" fmla="*/ 60 w 67"/>
                  <a:gd name="T3" fmla="*/ 28 h 28"/>
                  <a:gd name="T4" fmla="*/ 64 w 67"/>
                  <a:gd name="T5" fmla="*/ 21 h 28"/>
                  <a:gd name="T6" fmla="*/ 67 w 67"/>
                  <a:gd name="T7" fmla="*/ 17 h 28"/>
                  <a:gd name="T8" fmla="*/ 67 w 67"/>
                  <a:gd name="T9" fmla="*/ 12 h 28"/>
                  <a:gd name="T10" fmla="*/ 64 w 67"/>
                  <a:gd name="T11" fmla="*/ 8 h 28"/>
                  <a:gd name="T12" fmla="*/ 61 w 67"/>
                  <a:gd name="T13" fmla="*/ 5 h 28"/>
                  <a:gd name="T14" fmla="*/ 56 w 67"/>
                  <a:gd name="T15" fmla="*/ 3 h 28"/>
                  <a:gd name="T16" fmla="*/ 51 w 67"/>
                  <a:gd name="T17" fmla="*/ 2 h 28"/>
                  <a:gd name="T18" fmla="*/ 45 w 67"/>
                  <a:gd name="T19" fmla="*/ 0 h 28"/>
                  <a:gd name="T20" fmla="*/ 30 w 67"/>
                  <a:gd name="T21" fmla="*/ 0 h 28"/>
                  <a:gd name="T22" fmla="*/ 17 w 67"/>
                  <a:gd name="T23" fmla="*/ 3 h 28"/>
                  <a:gd name="T24" fmla="*/ 10 w 67"/>
                  <a:gd name="T25" fmla="*/ 4 h 28"/>
                  <a:gd name="T26" fmla="*/ 6 w 67"/>
                  <a:gd name="T27" fmla="*/ 6 h 28"/>
                  <a:gd name="T28" fmla="*/ 2 w 67"/>
                  <a:gd name="T29" fmla="*/ 10 h 28"/>
                  <a:gd name="T30" fmla="*/ 0 w 67"/>
                  <a:gd name="T31" fmla="*/ 13 h 28"/>
                  <a:gd name="T32" fmla="*/ 0 w 67"/>
                  <a:gd name="T33" fmla="*/ 13 h 28"/>
                  <a:gd name="T34" fmla="*/ 6 w 67"/>
                  <a:gd name="T35" fmla="*/ 19 h 28"/>
                  <a:gd name="T36" fmla="*/ 13 w 67"/>
                  <a:gd name="T37" fmla="*/ 23 h 28"/>
                  <a:gd name="T38" fmla="*/ 19 w 67"/>
                  <a:gd name="T39" fmla="*/ 27 h 28"/>
                  <a:gd name="T40" fmla="*/ 26 w 67"/>
                  <a:gd name="T41" fmla="*/ 28 h 28"/>
                  <a:gd name="T42" fmla="*/ 34 w 67"/>
                  <a:gd name="T43" fmla="*/ 28 h 28"/>
                  <a:gd name="T44" fmla="*/ 43 w 67"/>
                  <a:gd name="T45" fmla="*/ 28 h 28"/>
                  <a:gd name="T46" fmla="*/ 60 w 67"/>
                  <a:gd name="T47" fmla="*/ 28 h 28"/>
                  <a:gd name="T48" fmla="*/ 60 w 67"/>
                  <a:gd name="T4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7" h="28">
                    <a:moveTo>
                      <a:pt x="60" y="28"/>
                    </a:moveTo>
                    <a:lnTo>
                      <a:pt x="60" y="28"/>
                    </a:lnTo>
                    <a:lnTo>
                      <a:pt x="64" y="21"/>
                    </a:lnTo>
                    <a:lnTo>
                      <a:pt x="67" y="17"/>
                    </a:lnTo>
                    <a:lnTo>
                      <a:pt x="67" y="12"/>
                    </a:lnTo>
                    <a:lnTo>
                      <a:pt x="64" y="8"/>
                    </a:lnTo>
                    <a:lnTo>
                      <a:pt x="61" y="5"/>
                    </a:lnTo>
                    <a:lnTo>
                      <a:pt x="56" y="3"/>
                    </a:lnTo>
                    <a:lnTo>
                      <a:pt x="51" y="2"/>
                    </a:lnTo>
                    <a:lnTo>
                      <a:pt x="45" y="0"/>
                    </a:lnTo>
                    <a:lnTo>
                      <a:pt x="30" y="0"/>
                    </a:lnTo>
                    <a:lnTo>
                      <a:pt x="17" y="3"/>
                    </a:lnTo>
                    <a:lnTo>
                      <a:pt x="10" y="4"/>
                    </a:lnTo>
                    <a:lnTo>
                      <a:pt x="6" y="6"/>
                    </a:lnTo>
                    <a:lnTo>
                      <a:pt x="2" y="10"/>
                    </a:lnTo>
                    <a:lnTo>
                      <a:pt x="0" y="13"/>
                    </a:lnTo>
                    <a:lnTo>
                      <a:pt x="0" y="13"/>
                    </a:lnTo>
                    <a:lnTo>
                      <a:pt x="6" y="19"/>
                    </a:lnTo>
                    <a:lnTo>
                      <a:pt x="13" y="23"/>
                    </a:lnTo>
                    <a:lnTo>
                      <a:pt x="19" y="27"/>
                    </a:lnTo>
                    <a:lnTo>
                      <a:pt x="26" y="28"/>
                    </a:lnTo>
                    <a:lnTo>
                      <a:pt x="34" y="28"/>
                    </a:lnTo>
                    <a:lnTo>
                      <a:pt x="43" y="28"/>
                    </a:lnTo>
                    <a:lnTo>
                      <a:pt x="60" y="28"/>
                    </a:lnTo>
                    <a:lnTo>
                      <a:pt x="60"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51" name="Freeform 366">
                <a:extLst>
                  <a:ext uri="{FF2B5EF4-FFF2-40B4-BE49-F238E27FC236}">
                    <a16:creationId xmlns:a16="http://schemas.microsoft.com/office/drawing/2014/main" id="{1F80CBEB-839C-4CC2-AC9D-3364B8FAF16C}"/>
                  </a:ext>
                </a:extLst>
              </p:cNvPr>
              <p:cNvSpPr>
                <a:spLocks/>
              </p:cNvSpPr>
              <p:nvPr/>
            </p:nvSpPr>
            <p:spPr bwMode="auto">
              <a:xfrm>
                <a:off x="3367088" y="619125"/>
                <a:ext cx="0" cy="1588"/>
              </a:xfrm>
              <a:custGeom>
                <a:avLst/>
                <a:gdLst>
                  <a:gd name="T0" fmla="*/ 0 w 1"/>
                  <a:gd name="T1" fmla="*/ 0 h 3"/>
                  <a:gd name="T2" fmla="*/ 0 w 1"/>
                  <a:gd name="T3" fmla="*/ 0 h 3"/>
                  <a:gd name="T4" fmla="*/ 1 w 1"/>
                  <a:gd name="T5" fmla="*/ 3 h 3"/>
                  <a:gd name="T6" fmla="*/ 1 w 1"/>
                  <a:gd name="T7" fmla="*/ 2 h 3"/>
                  <a:gd name="T8" fmla="*/ 1 w 1"/>
                  <a:gd name="T9" fmla="*/ 2 h 3"/>
                  <a:gd name="T10" fmla="*/ 0 w 1"/>
                  <a:gd name="T11" fmla="*/ 0 h 3"/>
                  <a:gd name="T12" fmla="*/ 0 w 1"/>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1" h="3">
                    <a:moveTo>
                      <a:pt x="0" y="0"/>
                    </a:moveTo>
                    <a:lnTo>
                      <a:pt x="0" y="0"/>
                    </a:lnTo>
                    <a:lnTo>
                      <a:pt x="1" y="3"/>
                    </a:lnTo>
                    <a:lnTo>
                      <a:pt x="1" y="2"/>
                    </a:lnTo>
                    <a:lnTo>
                      <a:pt x="1" y="2"/>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52" name="Freeform 367">
                <a:extLst>
                  <a:ext uri="{FF2B5EF4-FFF2-40B4-BE49-F238E27FC236}">
                    <a16:creationId xmlns:a16="http://schemas.microsoft.com/office/drawing/2014/main" id="{D85B4B5D-E9A3-4B49-B963-1E8774EC6DCE}"/>
                  </a:ext>
                </a:extLst>
              </p:cNvPr>
              <p:cNvSpPr>
                <a:spLocks noEditPoints="1"/>
              </p:cNvSpPr>
              <p:nvPr/>
            </p:nvSpPr>
            <p:spPr bwMode="auto">
              <a:xfrm>
                <a:off x="3257550" y="477838"/>
                <a:ext cx="452438" cy="628650"/>
              </a:xfrm>
              <a:custGeom>
                <a:avLst/>
                <a:gdLst>
                  <a:gd name="T0" fmla="*/ 1204 w 1992"/>
                  <a:gd name="T1" fmla="*/ 85 h 2769"/>
                  <a:gd name="T2" fmla="*/ 1103 w 1992"/>
                  <a:gd name="T3" fmla="*/ 101 h 2769"/>
                  <a:gd name="T4" fmla="*/ 1034 w 1992"/>
                  <a:gd name="T5" fmla="*/ 251 h 2769"/>
                  <a:gd name="T6" fmla="*/ 1003 w 1992"/>
                  <a:gd name="T7" fmla="*/ 179 h 2769"/>
                  <a:gd name="T8" fmla="*/ 908 w 1992"/>
                  <a:gd name="T9" fmla="*/ 70 h 2769"/>
                  <a:gd name="T10" fmla="*/ 783 w 1992"/>
                  <a:gd name="T11" fmla="*/ 37 h 2769"/>
                  <a:gd name="T12" fmla="*/ 593 w 1992"/>
                  <a:gd name="T13" fmla="*/ 223 h 2769"/>
                  <a:gd name="T14" fmla="*/ 488 w 1992"/>
                  <a:gd name="T15" fmla="*/ 321 h 2769"/>
                  <a:gd name="T16" fmla="*/ 596 w 1992"/>
                  <a:gd name="T17" fmla="*/ 465 h 2769"/>
                  <a:gd name="T18" fmla="*/ 705 w 1992"/>
                  <a:gd name="T19" fmla="*/ 474 h 2769"/>
                  <a:gd name="T20" fmla="*/ 755 w 1992"/>
                  <a:gd name="T21" fmla="*/ 273 h 2769"/>
                  <a:gd name="T22" fmla="*/ 762 w 1992"/>
                  <a:gd name="T23" fmla="*/ 354 h 2769"/>
                  <a:gd name="T24" fmla="*/ 848 w 1992"/>
                  <a:gd name="T25" fmla="*/ 405 h 2769"/>
                  <a:gd name="T26" fmla="*/ 777 w 1992"/>
                  <a:gd name="T27" fmla="*/ 482 h 2769"/>
                  <a:gd name="T28" fmla="*/ 667 w 1992"/>
                  <a:gd name="T29" fmla="*/ 594 h 2769"/>
                  <a:gd name="T30" fmla="*/ 584 w 1992"/>
                  <a:gd name="T31" fmla="*/ 470 h 2769"/>
                  <a:gd name="T32" fmla="*/ 488 w 1992"/>
                  <a:gd name="T33" fmla="*/ 638 h 2769"/>
                  <a:gd name="T34" fmla="*/ 297 w 1992"/>
                  <a:gd name="T35" fmla="*/ 739 h 2769"/>
                  <a:gd name="T36" fmla="*/ 214 w 1992"/>
                  <a:gd name="T37" fmla="*/ 885 h 2769"/>
                  <a:gd name="T38" fmla="*/ 342 w 1992"/>
                  <a:gd name="T39" fmla="*/ 1078 h 2769"/>
                  <a:gd name="T40" fmla="*/ 486 w 1992"/>
                  <a:gd name="T41" fmla="*/ 896 h 2769"/>
                  <a:gd name="T42" fmla="*/ 686 w 1992"/>
                  <a:gd name="T43" fmla="*/ 968 h 2769"/>
                  <a:gd name="T44" fmla="*/ 660 w 1992"/>
                  <a:gd name="T45" fmla="*/ 885 h 2769"/>
                  <a:gd name="T46" fmla="*/ 747 w 1992"/>
                  <a:gd name="T47" fmla="*/ 918 h 2769"/>
                  <a:gd name="T48" fmla="*/ 836 w 1992"/>
                  <a:gd name="T49" fmla="*/ 1029 h 2769"/>
                  <a:gd name="T50" fmla="*/ 854 w 1992"/>
                  <a:gd name="T51" fmla="*/ 973 h 2769"/>
                  <a:gd name="T52" fmla="*/ 906 w 1992"/>
                  <a:gd name="T53" fmla="*/ 981 h 2769"/>
                  <a:gd name="T54" fmla="*/ 1022 w 1992"/>
                  <a:gd name="T55" fmla="*/ 1067 h 2769"/>
                  <a:gd name="T56" fmla="*/ 1031 w 1992"/>
                  <a:gd name="T57" fmla="*/ 1179 h 2769"/>
                  <a:gd name="T58" fmla="*/ 800 w 1992"/>
                  <a:gd name="T59" fmla="*/ 1187 h 2769"/>
                  <a:gd name="T60" fmla="*/ 619 w 1992"/>
                  <a:gd name="T61" fmla="*/ 1063 h 2769"/>
                  <a:gd name="T62" fmla="*/ 352 w 1992"/>
                  <a:gd name="T63" fmla="*/ 1102 h 2769"/>
                  <a:gd name="T64" fmla="*/ 151 w 1992"/>
                  <a:gd name="T65" fmla="*/ 1261 h 2769"/>
                  <a:gd name="T66" fmla="*/ 17 w 1992"/>
                  <a:gd name="T67" fmla="*/ 1580 h 2769"/>
                  <a:gd name="T68" fmla="*/ 304 w 1992"/>
                  <a:gd name="T69" fmla="*/ 1821 h 2769"/>
                  <a:gd name="T70" fmla="*/ 585 w 1992"/>
                  <a:gd name="T71" fmla="*/ 1835 h 2769"/>
                  <a:gd name="T72" fmla="*/ 593 w 1992"/>
                  <a:gd name="T73" fmla="*/ 1919 h 2769"/>
                  <a:gd name="T74" fmla="*/ 648 w 1992"/>
                  <a:gd name="T75" fmla="*/ 2259 h 2769"/>
                  <a:gd name="T76" fmla="*/ 761 w 1992"/>
                  <a:gd name="T77" fmla="*/ 2667 h 2769"/>
                  <a:gd name="T78" fmla="*/ 836 w 1992"/>
                  <a:gd name="T79" fmla="*/ 2752 h 2769"/>
                  <a:gd name="T80" fmla="*/ 1106 w 1992"/>
                  <a:gd name="T81" fmla="*/ 2540 h 2769"/>
                  <a:gd name="T82" fmla="*/ 1300 w 1992"/>
                  <a:gd name="T83" fmla="*/ 2290 h 2769"/>
                  <a:gd name="T84" fmla="*/ 1407 w 1992"/>
                  <a:gd name="T85" fmla="*/ 1879 h 2769"/>
                  <a:gd name="T86" fmla="*/ 1345 w 1992"/>
                  <a:gd name="T87" fmla="*/ 1666 h 2769"/>
                  <a:gd name="T88" fmla="*/ 1597 w 1992"/>
                  <a:gd name="T89" fmla="*/ 1544 h 2769"/>
                  <a:gd name="T90" fmla="*/ 1582 w 1992"/>
                  <a:gd name="T91" fmla="*/ 1310 h 2769"/>
                  <a:gd name="T92" fmla="*/ 1472 w 1992"/>
                  <a:gd name="T93" fmla="*/ 1343 h 2769"/>
                  <a:gd name="T94" fmla="*/ 1462 w 1992"/>
                  <a:gd name="T95" fmla="*/ 1262 h 2769"/>
                  <a:gd name="T96" fmla="*/ 1716 w 1992"/>
                  <a:gd name="T97" fmla="*/ 1330 h 2769"/>
                  <a:gd name="T98" fmla="*/ 1914 w 1992"/>
                  <a:gd name="T99" fmla="*/ 1431 h 2769"/>
                  <a:gd name="T100" fmla="*/ 1943 w 1992"/>
                  <a:gd name="T101" fmla="*/ 1024 h 2769"/>
                  <a:gd name="T102" fmla="*/ 1117 w 1992"/>
                  <a:gd name="T103" fmla="*/ 803 h 2769"/>
                  <a:gd name="T104" fmla="*/ 1031 w 1992"/>
                  <a:gd name="T105" fmla="*/ 930 h 2769"/>
                  <a:gd name="T106" fmla="*/ 1015 w 1992"/>
                  <a:gd name="T107" fmla="*/ 798 h 2769"/>
                  <a:gd name="T108" fmla="*/ 1112 w 1992"/>
                  <a:gd name="T109" fmla="*/ 847 h 2769"/>
                  <a:gd name="T110" fmla="*/ 1256 w 1992"/>
                  <a:gd name="T111" fmla="*/ 1565 h 2769"/>
                  <a:gd name="T112" fmla="*/ 1080 w 1992"/>
                  <a:gd name="T113" fmla="*/ 1242 h 2769"/>
                  <a:gd name="T114" fmla="*/ 1236 w 1992"/>
                  <a:gd name="T115" fmla="*/ 1461 h 2769"/>
                  <a:gd name="T116" fmla="*/ 1472 w 1992"/>
                  <a:gd name="T117" fmla="*/ 1033 h 2769"/>
                  <a:gd name="T118" fmla="*/ 1369 w 1992"/>
                  <a:gd name="T119" fmla="*/ 903 h 2769"/>
                  <a:gd name="T120" fmla="*/ 1410 w 1992"/>
                  <a:gd name="T121" fmla="*/ 758 h 2769"/>
                  <a:gd name="T122" fmla="*/ 1479 w 1992"/>
                  <a:gd name="T123" fmla="*/ 897 h 2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92" h="2769">
                    <a:moveTo>
                      <a:pt x="1438" y="6"/>
                    </a:moveTo>
                    <a:lnTo>
                      <a:pt x="1438" y="6"/>
                    </a:lnTo>
                    <a:lnTo>
                      <a:pt x="1401" y="0"/>
                    </a:lnTo>
                    <a:lnTo>
                      <a:pt x="1401" y="0"/>
                    </a:lnTo>
                    <a:lnTo>
                      <a:pt x="1394" y="0"/>
                    </a:lnTo>
                    <a:lnTo>
                      <a:pt x="1392" y="1"/>
                    </a:lnTo>
                    <a:lnTo>
                      <a:pt x="1390" y="2"/>
                    </a:lnTo>
                    <a:lnTo>
                      <a:pt x="1387" y="6"/>
                    </a:lnTo>
                    <a:lnTo>
                      <a:pt x="1386" y="10"/>
                    </a:lnTo>
                    <a:lnTo>
                      <a:pt x="1385" y="22"/>
                    </a:lnTo>
                    <a:lnTo>
                      <a:pt x="1383" y="28"/>
                    </a:lnTo>
                    <a:lnTo>
                      <a:pt x="1378" y="32"/>
                    </a:lnTo>
                    <a:lnTo>
                      <a:pt x="1378" y="32"/>
                    </a:lnTo>
                    <a:lnTo>
                      <a:pt x="1371" y="36"/>
                    </a:lnTo>
                    <a:lnTo>
                      <a:pt x="1363" y="40"/>
                    </a:lnTo>
                    <a:lnTo>
                      <a:pt x="1346" y="46"/>
                    </a:lnTo>
                    <a:lnTo>
                      <a:pt x="1329" y="51"/>
                    </a:lnTo>
                    <a:lnTo>
                      <a:pt x="1311" y="56"/>
                    </a:lnTo>
                    <a:lnTo>
                      <a:pt x="1311" y="56"/>
                    </a:lnTo>
                    <a:lnTo>
                      <a:pt x="1308" y="56"/>
                    </a:lnTo>
                    <a:lnTo>
                      <a:pt x="1305" y="54"/>
                    </a:lnTo>
                    <a:lnTo>
                      <a:pt x="1303" y="51"/>
                    </a:lnTo>
                    <a:lnTo>
                      <a:pt x="1301" y="47"/>
                    </a:lnTo>
                    <a:lnTo>
                      <a:pt x="1297" y="39"/>
                    </a:lnTo>
                    <a:lnTo>
                      <a:pt x="1296" y="38"/>
                    </a:lnTo>
                    <a:lnTo>
                      <a:pt x="1294" y="38"/>
                    </a:lnTo>
                    <a:lnTo>
                      <a:pt x="1294" y="38"/>
                    </a:lnTo>
                    <a:lnTo>
                      <a:pt x="1228" y="74"/>
                    </a:lnTo>
                    <a:lnTo>
                      <a:pt x="1228" y="74"/>
                    </a:lnTo>
                    <a:lnTo>
                      <a:pt x="1218" y="80"/>
                    </a:lnTo>
                    <a:lnTo>
                      <a:pt x="1204" y="85"/>
                    </a:lnTo>
                    <a:lnTo>
                      <a:pt x="1198" y="89"/>
                    </a:lnTo>
                    <a:lnTo>
                      <a:pt x="1193" y="93"/>
                    </a:lnTo>
                    <a:lnTo>
                      <a:pt x="1189" y="98"/>
                    </a:lnTo>
                    <a:lnTo>
                      <a:pt x="1188" y="103"/>
                    </a:lnTo>
                    <a:lnTo>
                      <a:pt x="1188" y="103"/>
                    </a:lnTo>
                    <a:lnTo>
                      <a:pt x="1187" y="118"/>
                    </a:lnTo>
                    <a:lnTo>
                      <a:pt x="1186" y="124"/>
                    </a:lnTo>
                    <a:lnTo>
                      <a:pt x="1185" y="129"/>
                    </a:lnTo>
                    <a:lnTo>
                      <a:pt x="1181" y="134"/>
                    </a:lnTo>
                    <a:lnTo>
                      <a:pt x="1177" y="136"/>
                    </a:lnTo>
                    <a:lnTo>
                      <a:pt x="1170" y="137"/>
                    </a:lnTo>
                    <a:lnTo>
                      <a:pt x="1160" y="137"/>
                    </a:lnTo>
                    <a:lnTo>
                      <a:pt x="1160" y="137"/>
                    </a:lnTo>
                    <a:lnTo>
                      <a:pt x="1165" y="127"/>
                    </a:lnTo>
                    <a:lnTo>
                      <a:pt x="1168" y="118"/>
                    </a:lnTo>
                    <a:lnTo>
                      <a:pt x="1170" y="108"/>
                    </a:lnTo>
                    <a:lnTo>
                      <a:pt x="1168" y="101"/>
                    </a:lnTo>
                    <a:lnTo>
                      <a:pt x="1167" y="94"/>
                    </a:lnTo>
                    <a:lnTo>
                      <a:pt x="1164" y="88"/>
                    </a:lnTo>
                    <a:lnTo>
                      <a:pt x="1159" y="83"/>
                    </a:lnTo>
                    <a:lnTo>
                      <a:pt x="1155" y="78"/>
                    </a:lnTo>
                    <a:lnTo>
                      <a:pt x="1148" y="75"/>
                    </a:lnTo>
                    <a:lnTo>
                      <a:pt x="1141" y="73"/>
                    </a:lnTo>
                    <a:lnTo>
                      <a:pt x="1133" y="71"/>
                    </a:lnTo>
                    <a:lnTo>
                      <a:pt x="1125" y="71"/>
                    </a:lnTo>
                    <a:lnTo>
                      <a:pt x="1117" y="71"/>
                    </a:lnTo>
                    <a:lnTo>
                      <a:pt x="1109" y="74"/>
                    </a:lnTo>
                    <a:lnTo>
                      <a:pt x="1099" y="77"/>
                    </a:lnTo>
                    <a:lnTo>
                      <a:pt x="1091" y="81"/>
                    </a:lnTo>
                    <a:lnTo>
                      <a:pt x="1091" y="81"/>
                    </a:lnTo>
                    <a:lnTo>
                      <a:pt x="1103" y="101"/>
                    </a:lnTo>
                    <a:lnTo>
                      <a:pt x="1116" y="123"/>
                    </a:lnTo>
                    <a:lnTo>
                      <a:pt x="1121" y="135"/>
                    </a:lnTo>
                    <a:lnTo>
                      <a:pt x="1127" y="146"/>
                    </a:lnTo>
                    <a:lnTo>
                      <a:pt x="1129" y="158"/>
                    </a:lnTo>
                    <a:lnTo>
                      <a:pt x="1130" y="168"/>
                    </a:lnTo>
                    <a:lnTo>
                      <a:pt x="1130" y="168"/>
                    </a:lnTo>
                    <a:lnTo>
                      <a:pt x="1127" y="166"/>
                    </a:lnTo>
                    <a:lnTo>
                      <a:pt x="1122" y="165"/>
                    </a:lnTo>
                    <a:lnTo>
                      <a:pt x="1116" y="164"/>
                    </a:lnTo>
                    <a:lnTo>
                      <a:pt x="1107" y="161"/>
                    </a:lnTo>
                    <a:lnTo>
                      <a:pt x="1104" y="159"/>
                    </a:lnTo>
                    <a:lnTo>
                      <a:pt x="1101" y="156"/>
                    </a:lnTo>
                    <a:lnTo>
                      <a:pt x="1101" y="156"/>
                    </a:lnTo>
                    <a:lnTo>
                      <a:pt x="1086" y="169"/>
                    </a:lnTo>
                    <a:lnTo>
                      <a:pt x="1079" y="176"/>
                    </a:lnTo>
                    <a:lnTo>
                      <a:pt x="1072" y="184"/>
                    </a:lnTo>
                    <a:lnTo>
                      <a:pt x="1068" y="191"/>
                    </a:lnTo>
                    <a:lnTo>
                      <a:pt x="1067" y="196"/>
                    </a:lnTo>
                    <a:lnTo>
                      <a:pt x="1067" y="199"/>
                    </a:lnTo>
                    <a:lnTo>
                      <a:pt x="1068" y="204"/>
                    </a:lnTo>
                    <a:lnTo>
                      <a:pt x="1069" y="208"/>
                    </a:lnTo>
                    <a:lnTo>
                      <a:pt x="1073" y="212"/>
                    </a:lnTo>
                    <a:lnTo>
                      <a:pt x="1078" y="217"/>
                    </a:lnTo>
                    <a:lnTo>
                      <a:pt x="1078" y="217"/>
                    </a:lnTo>
                    <a:lnTo>
                      <a:pt x="1008" y="215"/>
                    </a:lnTo>
                    <a:lnTo>
                      <a:pt x="1008" y="215"/>
                    </a:lnTo>
                    <a:lnTo>
                      <a:pt x="1017" y="223"/>
                    </a:lnTo>
                    <a:lnTo>
                      <a:pt x="1026" y="235"/>
                    </a:lnTo>
                    <a:lnTo>
                      <a:pt x="1030" y="241"/>
                    </a:lnTo>
                    <a:lnTo>
                      <a:pt x="1033" y="246"/>
                    </a:lnTo>
                    <a:lnTo>
                      <a:pt x="1034" y="251"/>
                    </a:lnTo>
                    <a:lnTo>
                      <a:pt x="1034" y="255"/>
                    </a:lnTo>
                    <a:lnTo>
                      <a:pt x="1033" y="257"/>
                    </a:lnTo>
                    <a:lnTo>
                      <a:pt x="1033" y="257"/>
                    </a:lnTo>
                    <a:lnTo>
                      <a:pt x="1030" y="258"/>
                    </a:lnTo>
                    <a:lnTo>
                      <a:pt x="1028" y="259"/>
                    </a:lnTo>
                    <a:lnTo>
                      <a:pt x="1021" y="260"/>
                    </a:lnTo>
                    <a:lnTo>
                      <a:pt x="1013" y="259"/>
                    </a:lnTo>
                    <a:lnTo>
                      <a:pt x="1005" y="256"/>
                    </a:lnTo>
                    <a:lnTo>
                      <a:pt x="997" y="252"/>
                    </a:lnTo>
                    <a:lnTo>
                      <a:pt x="989" y="248"/>
                    </a:lnTo>
                    <a:lnTo>
                      <a:pt x="983" y="243"/>
                    </a:lnTo>
                    <a:lnTo>
                      <a:pt x="980" y="241"/>
                    </a:lnTo>
                    <a:lnTo>
                      <a:pt x="980" y="241"/>
                    </a:lnTo>
                    <a:lnTo>
                      <a:pt x="977" y="235"/>
                    </a:lnTo>
                    <a:lnTo>
                      <a:pt x="976" y="228"/>
                    </a:lnTo>
                    <a:lnTo>
                      <a:pt x="976" y="212"/>
                    </a:lnTo>
                    <a:lnTo>
                      <a:pt x="976" y="204"/>
                    </a:lnTo>
                    <a:lnTo>
                      <a:pt x="975" y="197"/>
                    </a:lnTo>
                    <a:lnTo>
                      <a:pt x="973" y="191"/>
                    </a:lnTo>
                    <a:lnTo>
                      <a:pt x="970" y="189"/>
                    </a:lnTo>
                    <a:lnTo>
                      <a:pt x="968" y="188"/>
                    </a:lnTo>
                    <a:lnTo>
                      <a:pt x="968" y="188"/>
                    </a:lnTo>
                    <a:lnTo>
                      <a:pt x="955" y="183"/>
                    </a:lnTo>
                    <a:lnTo>
                      <a:pt x="944" y="180"/>
                    </a:lnTo>
                    <a:lnTo>
                      <a:pt x="939" y="177"/>
                    </a:lnTo>
                    <a:lnTo>
                      <a:pt x="936" y="174"/>
                    </a:lnTo>
                    <a:lnTo>
                      <a:pt x="932" y="169"/>
                    </a:lnTo>
                    <a:lnTo>
                      <a:pt x="930" y="164"/>
                    </a:lnTo>
                    <a:lnTo>
                      <a:pt x="930" y="164"/>
                    </a:lnTo>
                    <a:lnTo>
                      <a:pt x="973" y="173"/>
                    </a:lnTo>
                    <a:lnTo>
                      <a:pt x="1003" y="179"/>
                    </a:lnTo>
                    <a:lnTo>
                      <a:pt x="1018" y="180"/>
                    </a:lnTo>
                    <a:lnTo>
                      <a:pt x="1033" y="181"/>
                    </a:lnTo>
                    <a:lnTo>
                      <a:pt x="1046" y="181"/>
                    </a:lnTo>
                    <a:lnTo>
                      <a:pt x="1059" y="180"/>
                    </a:lnTo>
                    <a:lnTo>
                      <a:pt x="1069" y="176"/>
                    </a:lnTo>
                    <a:lnTo>
                      <a:pt x="1074" y="175"/>
                    </a:lnTo>
                    <a:lnTo>
                      <a:pt x="1078" y="172"/>
                    </a:lnTo>
                    <a:lnTo>
                      <a:pt x="1081" y="169"/>
                    </a:lnTo>
                    <a:lnTo>
                      <a:pt x="1083" y="166"/>
                    </a:lnTo>
                    <a:lnTo>
                      <a:pt x="1084" y="161"/>
                    </a:lnTo>
                    <a:lnTo>
                      <a:pt x="1084" y="157"/>
                    </a:lnTo>
                    <a:lnTo>
                      <a:pt x="1084" y="152"/>
                    </a:lnTo>
                    <a:lnTo>
                      <a:pt x="1083" y="145"/>
                    </a:lnTo>
                    <a:lnTo>
                      <a:pt x="1081" y="139"/>
                    </a:lnTo>
                    <a:lnTo>
                      <a:pt x="1076" y="131"/>
                    </a:lnTo>
                    <a:lnTo>
                      <a:pt x="1076" y="131"/>
                    </a:lnTo>
                    <a:lnTo>
                      <a:pt x="1071" y="122"/>
                    </a:lnTo>
                    <a:lnTo>
                      <a:pt x="1064" y="114"/>
                    </a:lnTo>
                    <a:lnTo>
                      <a:pt x="1055" y="107"/>
                    </a:lnTo>
                    <a:lnTo>
                      <a:pt x="1044" y="100"/>
                    </a:lnTo>
                    <a:lnTo>
                      <a:pt x="1034" y="93"/>
                    </a:lnTo>
                    <a:lnTo>
                      <a:pt x="1022" y="88"/>
                    </a:lnTo>
                    <a:lnTo>
                      <a:pt x="1010" y="83"/>
                    </a:lnTo>
                    <a:lnTo>
                      <a:pt x="997" y="78"/>
                    </a:lnTo>
                    <a:lnTo>
                      <a:pt x="983" y="75"/>
                    </a:lnTo>
                    <a:lnTo>
                      <a:pt x="969" y="73"/>
                    </a:lnTo>
                    <a:lnTo>
                      <a:pt x="957" y="70"/>
                    </a:lnTo>
                    <a:lnTo>
                      <a:pt x="944" y="69"/>
                    </a:lnTo>
                    <a:lnTo>
                      <a:pt x="931" y="69"/>
                    </a:lnTo>
                    <a:lnTo>
                      <a:pt x="919" y="69"/>
                    </a:lnTo>
                    <a:lnTo>
                      <a:pt x="908" y="70"/>
                    </a:lnTo>
                    <a:lnTo>
                      <a:pt x="898" y="73"/>
                    </a:lnTo>
                    <a:lnTo>
                      <a:pt x="898" y="73"/>
                    </a:lnTo>
                    <a:lnTo>
                      <a:pt x="894" y="67"/>
                    </a:lnTo>
                    <a:lnTo>
                      <a:pt x="891" y="59"/>
                    </a:lnTo>
                    <a:lnTo>
                      <a:pt x="889" y="51"/>
                    </a:lnTo>
                    <a:lnTo>
                      <a:pt x="888" y="45"/>
                    </a:lnTo>
                    <a:lnTo>
                      <a:pt x="888" y="45"/>
                    </a:lnTo>
                    <a:lnTo>
                      <a:pt x="892" y="43"/>
                    </a:lnTo>
                    <a:lnTo>
                      <a:pt x="896" y="39"/>
                    </a:lnTo>
                    <a:lnTo>
                      <a:pt x="897" y="37"/>
                    </a:lnTo>
                    <a:lnTo>
                      <a:pt x="898" y="35"/>
                    </a:lnTo>
                    <a:lnTo>
                      <a:pt x="897" y="32"/>
                    </a:lnTo>
                    <a:lnTo>
                      <a:pt x="896" y="30"/>
                    </a:lnTo>
                    <a:lnTo>
                      <a:pt x="890" y="25"/>
                    </a:lnTo>
                    <a:lnTo>
                      <a:pt x="883" y="22"/>
                    </a:lnTo>
                    <a:lnTo>
                      <a:pt x="874" y="20"/>
                    </a:lnTo>
                    <a:lnTo>
                      <a:pt x="863" y="17"/>
                    </a:lnTo>
                    <a:lnTo>
                      <a:pt x="855" y="16"/>
                    </a:lnTo>
                    <a:lnTo>
                      <a:pt x="855" y="16"/>
                    </a:lnTo>
                    <a:lnTo>
                      <a:pt x="833" y="15"/>
                    </a:lnTo>
                    <a:lnTo>
                      <a:pt x="822" y="16"/>
                    </a:lnTo>
                    <a:lnTo>
                      <a:pt x="812" y="17"/>
                    </a:lnTo>
                    <a:lnTo>
                      <a:pt x="802" y="21"/>
                    </a:lnTo>
                    <a:lnTo>
                      <a:pt x="799" y="23"/>
                    </a:lnTo>
                    <a:lnTo>
                      <a:pt x="795" y="27"/>
                    </a:lnTo>
                    <a:lnTo>
                      <a:pt x="792" y="30"/>
                    </a:lnTo>
                    <a:lnTo>
                      <a:pt x="791" y="35"/>
                    </a:lnTo>
                    <a:lnTo>
                      <a:pt x="789" y="39"/>
                    </a:lnTo>
                    <a:lnTo>
                      <a:pt x="789" y="45"/>
                    </a:lnTo>
                    <a:lnTo>
                      <a:pt x="789" y="45"/>
                    </a:lnTo>
                    <a:lnTo>
                      <a:pt x="783" y="37"/>
                    </a:lnTo>
                    <a:lnTo>
                      <a:pt x="779" y="33"/>
                    </a:lnTo>
                    <a:lnTo>
                      <a:pt x="775" y="31"/>
                    </a:lnTo>
                    <a:lnTo>
                      <a:pt x="771" y="30"/>
                    </a:lnTo>
                    <a:lnTo>
                      <a:pt x="767" y="29"/>
                    </a:lnTo>
                    <a:lnTo>
                      <a:pt x="756" y="29"/>
                    </a:lnTo>
                    <a:lnTo>
                      <a:pt x="756" y="29"/>
                    </a:lnTo>
                    <a:lnTo>
                      <a:pt x="748" y="30"/>
                    </a:lnTo>
                    <a:lnTo>
                      <a:pt x="743" y="31"/>
                    </a:lnTo>
                    <a:lnTo>
                      <a:pt x="739" y="35"/>
                    </a:lnTo>
                    <a:lnTo>
                      <a:pt x="737" y="38"/>
                    </a:lnTo>
                    <a:lnTo>
                      <a:pt x="733" y="48"/>
                    </a:lnTo>
                    <a:lnTo>
                      <a:pt x="730" y="61"/>
                    </a:lnTo>
                    <a:lnTo>
                      <a:pt x="730" y="61"/>
                    </a:lnTo>
                    <a:lnTo>
                      <a:pt x="722" y="45"/>
                    </a:lnTo>
                    <a:lnTo>
                      <a:pt x="722" y="45"/>
                    </a:lnTo>
                    <a:lnTo>
                      <a:pt x="655" y="99"/>
                    </a:lnTo>
                    <a:lnTo>
                      <a:pt x="655" y="99"/>
                    </a:lnTo>
                    <a:lnTo>
                      <a:pt x="665" y="111"/>
                    </a:lnTo>
                    <a:lnTo>
                      <a:pt x="665" y="111"/>
                    </a:lnTo>
                    <a:lnTo>
                      <a:pt x="660" y="113"/>
                    </a:lnTo>
                    <a:lnTo>
                      <a:pt x="654" y="116"/>
                    </a:lnTo>
                    <a:lnTo>
                      <a:pt x="648" y="121"/>
                    </a:lnTo>
                    <a:lnTo>
                      <a:pt x="643" y="127"/>
                    </a:lnTo>
                    <a:lnTo>
                      <a:pt x="633" y="141"/>
                    </a:lnTo>
                    <a:lnTo>
                      <a:pt x="625" y="156"/>
                    </a:lnTo>
                    <a:lnTo>
                      <a:pt x="617" y="173"/>
                    </a:lnTo>
                    <a:lnTo>
                      <a:pt x="610" y="189"/>
                    </a:lnTo>
                    <a:lnTo>
                      <a:pt x="600" y="217"/>
                    </a:lnTo>
                    <a:lnTo>
                      <a:pt x="600" y="217"/>
                    </a:lnTo>
                    <a:lnTo>
                      <a:pt x="597" y="220"/>
                    </a:lnTo>
                    <a:lnTo>
                      <a:pt x="593" y="223"/>
                    </a:lnTo>
                    <a:lnTo>
                      <a:pt x="584" y="230"/>
                    </a:lnTo>
                    <a:lnTo>
                      <a:pt x="580" y="235"/>
                    </a:lnTo>
                    <a:lnTo>
                      <a:pt x="580" y="236"/>
                    </a:lnTo>
                    <a:lnTo>
                      <a:pt x="580" y="238"/>
                    </a:lnTo>
                    <a:lnTo>
                      <a:pt x="581" y="241"/>
                    </a:lnTo>
                    <a:lnTo>
                      <a:pt x="584" y="243"/>
                    </a:lnTo>
                    <a:lnTo>
                      <a:pt x="591" y="248"/>
                    </a:lnTo>
                    <a:lnTo>
                      <a:pt x="591" y="248"/>
                    </a:lnTo>
                    <a:lnTo>
                      <a:pt x="596" y="251"/>
                    </a:lnTo>
                    <a:lnTo>
                      <a:pt x="597" y="253"/>
                    </a:lnTo>
                    <a:lnTo>
                      <a:pt x="597" y="255"/>
                    </a:lnTo>
                    <a:lnTo>
                      <a:pt x="597" y="257"/>
                    </a:lnTo>
                    <a:lnTo>
                      <a:pt x="595" y="258"/>
                    </a:lnTo>
                    <a:lnTo>
                      <a:pt x="591" y="259"/>
                    </a:lnTo>
                    <a:lnTo>
                      <a:pt x="584" y="259"/>
                    </a:lnTo>
                    <a:lnTo>
                      <a:pt x="577" y="258"/>
                    </a:lnTo>
                    <a:lnTo>
                      <a:pt x="570" y="253"/>
                    </a:lnTo>
                    <a:lnTo>
                      <a:pt x="566" y="251"/>
                    </a:lnTo>
                    <a:lnTo>
                      <a:pt x="564" y="248"/>
                    </a:lnTo>
                    <a:lnTo>
                      <a:pt x="564" y="248"/>
                    </a:lnTo>
                    <a:lnTo>
                      <a:pt x="541" y="280"/>
                    </a:lnTo>
                    <a:lnTo>
                      <a:pt x="530" y="295"/>
                    </a:lnTo>
                    <a:lnTo>
                      <a:pt x="518" y="307"/>
                    </a:lnTo>
                    <a:lnTo>
                      <a:pt x="518" y="307"/>
                    </a:lnTo>
                    <a:lnTo>
                      <a:pt x="512" y="312"/>
                    </a:lnTo>
                    <a:lnTo>
                      <a:pt x="508" y="313"/>
                    </a:lnTo>
                    <a:lnTo>
                      <a:pt x="503" y="314"/>
                    </a:lnTo>
                    <a:lnTo>
                      <a:pt x="500" y="314"/>
                    </a:lnTo>
                    <a:lnTo>
                      <a:pt x="495" y="316"/>
                    </a:lnTo>
                    <a:lnTo>
                      <a:pt x="492" y="317"/>
                    </a:lnTo>
                    <a:lnTo>
                      <a:pt x="488" y="321"/>
                    </a:lnTo>
                    <a:lnTo>
                      <a:pt x="486" y="329"/>
                    </a:lnTo>
                    <a:lnTo>
                      <a:pt x="486" y="329"/>
                    </a:lnTo>
                    <a:lnTo>
                      <a:pt x="482" y="341"/>
                    </a:lnTo>
                    <a:lnTo>
                      <a:pt x="479" y="350"/>
                    </a:lnTo>
                    <a:lnTo>
                      <a:pt x="478" y="360"/>
                    </a:lnTo>
                    <a:lnTo>
                      <a:pt x="478" y="372"/>
                    </a:lnTo>
                    <a:lnTo>
                      <a:pt x="478" y="372"/>
                    </a:lnTo>
                    <a:lnTo>
                      <a:pt x="480" y="395"/>
                    </a:lnTo>
                    <a:lnTo>
                      <a:pt x="483" y="421"/>
                    </a:lnTo>
                    <a:lnTo>
                      <a:pt x="486" y="434"/>
                    </a:lnTo>
                    <a:lnTo>
                      <a:pt x="490" y="446"/>
                    </a:lnTo>
                    <a:lnTo>
                      <a:pt x="495" y="456"/>
                    </a:lnTo>
                    <a:lnTo>
                      <a:pt x="503" y="465"/>
                    </a:lnTo>
                    <a:lnTo>
                      <a:pt x="503" y="465"/>
                    </a:lnTo>
                    <a:lnTo>
                      <a:pt x="508" y="470"/>
                    </a:lnTo>
                    <a:lnTo>
                      <a:pt x="513" y="473"/>
                    </a:lnTo>
                    <a:lnTo>
                      <a:pt x="519" y="474"/>
                    </a:lnTo>
                    <a:lnTo>
                      <a:pt x="526" y="474"/>
                    </a:lnTo>
                    <a:lnTo>
                      <a:pt x="532" y="473"/>
                    </a:lnTo>
                    <a:lnTo>
                      <a:pt x="538" y="471"/>
                    </a:lnTo>
                    <a:lnTo>
                      <a:pt x="543" y="468"/>
                    </a:lnTo>
                    <a:lnTo>
                      <a:pt x="550" y="463"/>
                    </a:lnTo>
                    <a:lnTo>
                      <a:pt x="561" y="454"/>
                    </a:lnTo>
                    <a:lnTo>
                      <a:pt x="571" y="442"/>
                    </a:lnTo>
                    <a:lnTo>
                      <a:pt x="579" y="432"/>
                    </a:lnTo>
                    <a:lnTo>
                      <a:pt x="586" y="421"/>
                    </a:lnTo>
                    <a:lnTo>
                      <a:pt x="586" y="421"/>
                    </a:lnTo>
                    <a:lnTo>
                      <a:pt x="587" y="435"/>
                    </a:lnTo>
                    <a:lnTo>
                      <a:pt x="589" y="447"/>
                    </a:lnTo>
                    <a:lnTo>
                      <a:pt x="593" y="456"/>
                    </a:lnTo>
                    <a:lnTo>
                      <a:pt x="596" y="465"/>
                    </a:lnTo>
                    <a:lnTo>
                      <a:pt x="602" y="473"/>
                    </a:lnTo>
                    <a:lnTo>
                      <a:pt x="608" y="482"/>
                    </a:lnTo>
                    <a:lnTo>
                      <a:pt x="624" y="504"/>
                    </a:lnTo>
                    <a:lnTo>
                      <a:pt x="624" y="504"/>
                    </a:lnTo>
                    <a:lnTo>
                      <a:pt x="625" y="509"/>
                    </a:lnTo>
                    <a:lnTo>
                      <a:pt x="627" y="516"/>
                    </a:lnTo>
                    <a:lnTo>
                      <a:pt x="629" y="531"/>
                    </a:lnTo>
                    <a:lnTo>
                      <a:pt x="631" y="546"/>
                    </a:lnTo>
                    <a:lnTo>
                      <a:pt x="632" y="552"/>
                    </a:lnTo>
                    <a:lnTo>
                      <a:pt x="635" y="554"/>
                    </a:lnTo>
                    <a:lnTo>
                      <a:pt x="635" y="554"/>
                    </a:lnTo>
                    <a:lnTo>
                      <a:pt x="640" y="557"/>
                    </a:lnTo>
                    <a:lnTo>
                      <a:pt x="643" y="558"/>
                    </a:lnTo>
                    <a:lnTo>
                      <a:pt x="647" y="558"/>
                    </a:lnTo>
                    <a:lnTo>
                      <a:pt x="650" y="557"/>
                    </a:lnTo>
                    <a:lnTo>
                      <a:pt x="653" y="556"/>
                    </a:lnTo>
                    <a:lnTo>
                      <a:pt x="656" y="554"/>
                    </a:lnTo>
                    <a:lnTo>
                      <a:pt x="660" y="549"/>
                    </a:lnTo>
                    <a:lnTo>
                      <a:pt x="668" y="535"/>
                    </a:lnTo>
                    <a:lnTo>
                      <a:pt x="671" y="531"/>
                    </a:lnTo>
                    <a:lnTo>
                      <a:pt x="673" y="529"/>
                    </a:lnTo>
                    <a:lnTo>
                      <a:pt x="677" y="527"/>
                    </a:lnTo>
                    <a:lnTo>
                      <a:pt x="677" y="527"/>
                    </a:lnTo>
                    <a:lnTo>
                      <a:pt x="694" y="520"/>
                    </a:lnTo>
                    <a:lnTo>
                      <a:pt x="699" y="518"/>
                    </a:lnTo>
                    <a:lnTo>
                      <a:pt x="702" y="515"/>
                    </a:lnTo>
                    <a:lnTo>
                      <a:pt x="705" y="510"/>
                    </a:lnTo>
                    <a:lnTo>
                      <a:pt x="705" y="504"/>
                    </a:lnTo>
                    <a:lnTo>
                      <a:pt x="705" y="486"/>
                    </a:lnTo>
                    <a:lnTo>
                      <a:pt x="705" y="486"/>
                    </a:lnTo>
                    <a:lnTo>
                      <a:pt x="705" y="474"/>
                    </a:lnTo>
                    <a:lnTo>
                      <a:pt x="706" y="465"/>
                    </a:lnTo>
                    <a:lnTo>
                      <a:pt x="707" y="459"/>
                    </a:lnTo>
                    <a:lnTo>
                      <a:pt x="709" y="455"/>
                    </a:lnTo>
                    <a:lnTo>
                      <a:pt x="717" y="444"/>
                    </a:lnTo>
                    <a:lnTo>
                      <a:pt x="722" y="439"/>
                    </a:lnTo>
                    <a:lnTo>
                      <a:pt x="729" y="430"/>
                    </a:lnTo>
                    <a:lnTo>
                      <a:pt x="729" y="430"/>
                    </a:lnTo>
                    <a:lnTo>
                      <a:pt x="733" y="420"/>
                    </a:lnTo>
                    <a:lnTo>
                      <a:pt x="737" y="411"/>
                    </a:lnTo>
                    <a:lnTo>
                      <a:pt x="738" y="404"/>
                    </a:lnTo>
                    <a:lnTo>
                      <a:pt x="737" y="397"/>
                    </a:lnTo>
                    <a:lnTo>
                      <a:pt x="734" y="392"/>
                    </a:lnTo>
                    <a:lnTo>
                      <a:pt x="731" y="386"/>
                    </a:lnTo>
                    <a:lnTo>
                      <a:pt x="722" y="375"/>
                    </a:lnTo>
                    <a:lnTo>
                      <a:pt x="713" y="365"/>
                    </a:lnTo>
                    <a:lnTo>
                      <a:pt x="709" y="359"/>
                    </a:lnTo>
                    <a:lnTo>
                      <a:pt x="707" y="352"/>
                    </a:lnTo>
                    <a:lnTo>
                      <a:pt x="706" y="345"/>
                    </a:lnTo>
                    <a:lnTo>
                      <a:pt x="706" y="337"/>
                    </a:lnTo>
                    <a:lnTo>
                      <a:pt x="708" y="328"/>
                    </a:lnTo>
                    <a:lnTo>
                      <a:pt x="714" y="318"/>
                    </a:lnTo>
                    <a:lnTo>
                      <a:pt x="714" y="318"/>
                    </a:lnTo>
                    <a:lnTo>
                      <a:pt x="718" y="312"/>
                    </a:lnTo>
                    <a:lnTo>
                      <a:pt x="722" y="307"/>
                    </a:lnTo>
                    <a:lnTo>
                      <a:pt x="731" y="302"/>
                    </a:lnTo>
                    <a:lnTo>
                      <a:pt x="739" y="296"/>
                    </a:lnTo>
                    <a:lnTo>
                      <a:pt x="744" y="291"/>
                    </a:lnTo>
                    <a:lnTo>
                      <a:pt x="748" y="286"/>
                    </a:lnTo>
                    <a:lnTo>
                      <a:pt x="748" y="286"/>
                    </a:lnTo>
                    <a:lnTo>
                      <a:pt x="752" y="281"/>
                    </a:lnTo>
                    <a:lnTo>
                      <a:pt x="755" y="273"/>
                    </a:lnTo>
                    <a:lnTo>
                      <a:pt x="761" y="256"/>
                    </a:lnTo>
                    <a:lnTo>
                      <a:pt x="767" y="238"/>
                    </a:lnTo>
                    <a:lnTo>
                      <a:pt x="770" y="233"/>
                    </a:lnTo>
                    <a:lnTo>
                      <a:pt x="771" y="230"/>
                    </a:lnTo>
                    <a:lnTo>
                      <a:pt x="771" y="230"/>
                    </a:lnTo>
                    <a:lnTo>
                      <a:pt x="781" y="225"/>
                    </a:lnTo>
                    <a:lnTo>
                      <a:pt x="787" y="220"/>
                    </a:lnTo>
                    <a:lnTo>
                      <a:pt x="795" y="217"/>
                    </a:lnTo>
                    <a:lnTo>
                      <a:pt x="801" y="215"/>
                    </a:lnTo>
                    <a:lnTo>
                      <a:pt x="807" y="214"/>
                    </a:lnTo>
                    <a:lnTo>
                      <a:pt x="812" y="214"/>
                    </a:lnTo>
                    <a:lnTo>
                      <a:pt x="815" y="215"/>
                    </a:lnTo>
                    <a:lnTo>
                      <a:pt x="818" y="217"/>
                    </a:lnTo>
                    <a:lnTo>
                      <a:pt x="820" y="220"/>
                    </a:lnTo>
                    <a:lnTo>
                      <a:pt x="821" y="223"/>
                    </a:lnTo>
                    <a:lnTo>
                      <a:pt x="821" y="228"/>
                    </a:lnTo>
                    <a:lnTo>
                      <a:pt x="820" y="233"/>
                    </a:lnTo>
                    <a:lnTo>
                      <a:pt x="816" y="238"/>
                    </a:lnTo>
                    <a:lnTo>
                      <a:pt x="813" y="245"/>
                    </a:lnTo>
                    <a:lnTo>
                      <a:pt x="807" y="252"/>
                    </a:lnTo>
                    <a:lnTo>
                      <a:pt x="801" y="260"/>
                    </a:lnTo>
                    <a:lnTo>
                      <a:pt x="801" y="260"/>
                    </a:lnTo>
                    <a:lnTo>
                      <a:pt x="792" y="271"/>
                    </a:lnTo>
                    <a:lnTo>
                      <a:pt x="782" y="283"/>
                    </a:lnTo>
                    <a:lnTo>
                      <a:pt x="772" y="298"/>
                    </a:lnTo>
                    <a:lnTo>
                      <a:pt x="764" y="314"/>
                    </a:lnTo>
                    <a:lnTo>
                      <a:pt x="762" y="322"/>
                    </a:lnTo>
                    <a:lnTo>
                      <a:pt x="760" y="331"/>
                    </a:lnTo>
                    <a:lnTo>
                      <a:pt x="760" y="339"/>
                    </a:lnTo>
                    <a:lnTo>
                      <a:pt x="760" y="347"/>
                    </a:lnTo>
                    <a:lnTo>
                      <a:pt x="762" y="354"/>
                    </a:lnTo>
                    <a:lnTo>
                      <a:pt x="766" y="360"/>
                    </a:lnTo>
                    <a:lnTo>
                      <a:pt x="770" y="367"/>
                    </a:lnTo>
                    <a:lnTo>
                      <a:pt x="777" y="374"/>
                    </a:lnTo>
                    <a:lnTo>
                      <a:pt x="777" y="374"/>
                    </a:lnTo>
                    <a:lnTo>
                      <a:pt x="795" y="388"/>
                    </a:lnTo>
                    <a:lnTo>
                      <a:pt x="802" y="393"/>
                    </a:lnTo>
                    <a:lnTo>
                      <a:pt x="809" y="396"/>
                    </a:lnTo>
                    <a:lnTo>
                      <a:pt x="815" y="398"/>
                    </a:lnTo>
                    <a:lnTo>
                      <a:pt x="823" y="397"/>
                    </a:lnTo>
                    <a:lnTo>
                      <a:pt x="831" y="395"/>
                    </a:lnTo>
                    <a:lnTo>
                      <a:pt x="843" y="390"/>
                    </a:lnTo>
                    <a:lnTo>
                      <a:pt x="843" y="390"/>
                    </a:lnTo>
                    <a:lnTo>
                      <a:pt x="859" y="382"/>
                    </a:lnTo>
                    <a:lnTo>
                      <a:pt x="874" y="378"/>
                    </a:lnTo>
                    <a:lnTo>
                      <a:pt x="890" y="374"/>
                    </a:lnTo>
                    <a:lnTo>
                      <a:pt x="907" y="372"/>
                    </a:lnTo>
                    <a:lnTo>
                      <a:pt x="907" y="372"/>
                    </a:lnTo>
                    <a:lnTo>
                      <a:pt x="908" y="382"/>
                    </a:lnTo>
                    <a:lnTo>
                      <a:pt x="909" y="387"/>
                    </a:lnTo>
                    <a:lnTo>
                      <a:pt x="913" y="392"/>
                    </a:lnTo>
                    <a:lnTo>
                      <a:pt x="922" y="400"/>
                    </a:lnTo>
                    <a:lnTo>
                      <a:pt x="922" y="400"/>
                    </a:lnTo>
                    <a:lnTo>
                      <a:pt x="918" y="402"/>
                    </a:lnTo>
                    <a:lnTo>
                      <a:pt x="913" y="403"/>
                    </a:lnTo>
                    <a:lnTo>
                      <a:pt x="903" y="405"/>
                    </a:lnTo>
                    <a:lnTo>
                      <a:pt x="893" y="405"/>
                    </a:lnTo>
                    <a:lnTo>
                      <a:pt x="883" y="404"/>
                    </a:lnTo>
                    <a:lnTo>
                      <a:pt x="873" y="403"/>
                    </a:lnTo>
                    <a:lnTo>
                      <a:pt x="862" y="403"/>
                    </a:lnTo>
                    <a:lnTo>
                      <a:pt x="853" y="404"/>
                    </a:lnTo>
                    <a:lnTo>
                      <a:pt x="848" y="405"/>
                    </a:lnTo>
                    <a:lnTo>
                      <a:pt x="845" y="408"/>
                    </a:lnTo>
                    <a:lnTo>
                      <a:pt x="845" y="408"/>
                    </a:lnTo>
                    <a:lnTo>
                      <a:pt x="836" y="413"/>
                    </a:lnTo>
                    <a:lnTo>
                      <a:pt x="829" y="419"/>
                    </a:lnTo>
                    <a:lnTo>
                      <a:pt x="824" y="424"/>
                    </a:lnTo>
                    <a:lnTo>
                      <a:pt x="822" y="428"/>
                    </a:lnTo>
                    <a:lnTo>
                      <a:pt x="821" y="433"/>
                    </a:lnTo>
                    <a:lnTo>
                      <a:pt x="821" y="436"/>
                    </a:lnTo>
                    <a:lnTo>
                      <a:pt x="823" y="441"/>
                    </a:lnTo>
                    <a:lnTo>
                      <a:pt x="825" y="444"/>
                    </a:lnTo>
                    <a:lnTo>
                      <a:pt x="831" y="454"/>
                    </a:lnTo>
                    <a:lnTo>
                      <a:pt x="837" y="464"/>
                    </a:lnTo>
                    <a:lnTo>
                      <a:pt x="839" y="470"/>
                    </a:lnTo>
                    <a:lnTo>
                      <a:pt x="840" y="477"/>
                    </a:lnTo>
                    <a:lnTo>
                      <a:pt x="840" y="485"/>
                    </a:lnTo>
                    <a:lnTo>
                      <a:pt x="839" y="493"/>
                    </a:lnTo>
                    <a:lnTo>
                      <a:pt x="839" y="493"/>
                    </a:lnTo>
                    <a:lnTo>
                      <a:pt x="825" y="493"/>
                    </a:lnTo>
                    <a:lnTo>
                      <a:pt x="825" y="493"/>
                    </a:lnTo>
                    <a:lnTo>
                      <a:pt x="824" y="487"/>
                    </a:lnTo>
                    <a:lnTo>
                      <a:pt x="823" y="481"/>
                    </a:lnTo>
                    <a:lnTo>
                      <a:pt x="821" y="478"/>
                    </a:lnTo>
                    <a:lnTo>
                      <a:pt x="818" y="474"/>
                    </a:lnTo>
                    <a:lnTo>
                      <a:pt x="814" y="472"/>
                    </a:lnTo>
                    <a:lnTo>
                      <a:pt x="810" y="471"/>
                    </a:lnTo>
                    <a:lnTo>
                      <a:pt x="806" y="470"/>
                    </a:lnTo>
                    <a:lnTo>
                      <a:pt x="801" y="471"/>
                    </a:lnTo>
                    <a:lnTo>
                      <a:pt x="795" y="471"/>
                    </a:lnTo>
                    <a:lnTo>
                      <a:pt x="791" y="473"/>
                    </a:lnTo>
                    <a:lnTo>
                      <a:pt x="782" y="479"/>
                    </a:lnTo>
                    <a:lnTo>
                      <a:pt x="777" y="482"/>
                    </a:lnTo>
                    <a:lnTo>
                      <a:pt x="774" y="487"/>
                    </a:lnTo>
                    <a:lnTo>
                      <a:pt x="770" y="492"/>
                    </a:lnTo>
                    <a:lnTo>
                      <a:pt x="768" y="497"/>
                    </a:lnTo>
                    <a:lnTo>
                      <a:pt x="768" y="497"/>
                    </a:lnTo>
                    <a:lnTo>
                      <a:pt x="767" y="501"/>
                    </a:lnTo>
                    <a:lnTo>
                      <a:pt x="767" y="506"/>
                    </a:lnTo>
                    <a:lnTo>
                      <a:pt x="769" y="516"/>
                    </a:lnTo>
                    <a:lnTo>
                      <a:pt x="772" y="529"/>
                    </a:lnTo>
                    <a:lnTo>
                      <a:pt x="775" y="540"/>
                    </a:lnTo>
                    <a:lnTo>
                      <a:pt x="776" y="546"/>
                    </a:lnTo>
                    <a:lnTo>
                      <a:pt x="776" y="552"/>
                    </a:lnTo>
                    <a:lnTo>
                      <a:pt x="775" y="556"/>
                    </a:lnTo>
                    <a:lnTo>
                      <a:pt x="772" y="561"/>
                    </a:lnTo>
                    <a:lnTo>
                      <a:pt x="769" y="564"/>
                    </a:lnTo>
                    <a:lnTo>
                      <a:pt x="764" y="568"/>
                    </a:lnTo>
                    <a:lnTo>
                      <a:pt x="759" y="569"/>
                    </a:lnTo>
                    <a:lnTo>
                      <a:pt x="751" y="570"/>
                    </a:lnTo>
                    <a:lnTo>
                      <a:pt x="751" y="570"/>
                    </a:lnTo>
                    <a:lnTo>
                      <a:pt x="759" y="553"/>
                    </a:lnTo>
                    <a:lnTo>
                      <a:pt x="759" y="553"/>
                    </a:lnTo>
                    <a:lnTo>
                      <a:pt x="747" y="554"/>
                    </a:lnTo>
                    <a:lnTo>
                      <a:pt x="737" y="556"/>
                    </a:lnTo>
                    <a:lnTo>
                      <a:pt x="715" y="562"/>
                    </a:lnTo>
                    <a:lnTo>
                      <a:pt x="715" y="562"/>
                    </a:lnTo>
                    <a:lnTo>
                      <a:pt x="709" y="564"/>
                    </a:lnTo>
                    <a:lnTo>
                      <a:pt x="703" y="569"/>
                    </a:lnTo>
                    <a:lnTo>
                      <a:pt x="690" y="579"/>
                    </a:lnTo>
                    <a:lnTo>
                      <a:pt x="677" y="588"/>
                    </a:lnTo>
                    <a:lnTo>
                      <a:pt x="671" y="592"/>
                    </a:lnTo>
                    <a:lnTo>
                      <a:pt x="667" y="594"/>
                    </a:lnTo>
                    <a:lnTo>
                      <a:pt x="667" y="594"/>
                    </a:lnTo>
                    <a:lnTo>
                      <a:pt x="662" y="593"/>
                    </a:lnTo>
                    <a:lnTo>
                      <a:pt x="657" y="590"/>
                    </a:lnTo>
                    <a:lnTo>
                      <a:pt x="647" y="582"/>
                    </a:lnTo>
                    <a:lnTo>
                      <a:pt x="642" y="578"/>
                    </a:lnTo>
                    <a:lnTo>
                      <a:pt x="637" y="575"/>
                    </a:lnTo>
                    <a:lnTo>
                      <a:pt x="630" y="573"/>
                    </a:lnTo>
                    <a:lnTo>
                      <a:pt x="626" y="575"/>
                    </a:lnTo>
                    <a:lnTo>
                      <a:pt x="623" y="576"/>
                    </a:lnTo>
                    <a:lnTo>
                      <a:pt x="623" y="576"/>
                    </a:lnTo>
                    <a:lnTo>
                      <a:pt x="611" y="579"/>
                    </a:lnTo>
                    <a:lnTo>
                      <a:pt x="607" y="582"/>
                    </a:lnTo>
                    <a:lnTo>
                      <a:pt x="602" y="582"/>
                    </a:lnTo>
                    <a:lnTo>
                      <a:pt x="597" y="580"/>
                    </a:lnTo>
                    <a:lnTo>
                      <a:pt x="593" y="578"/>
                    </a:lnTo>
                    <a:lnTo>
                      <a:pt x="588" y="575"/>
                    </a:lnTo>
                    <a:lnTo>
                      <a:pt x="584" y="569"/>
                    </a:lnTo>
                    <a:lnTo>
                      <a:pt x="584" y="569"/>
                    </a:lnTo>
                    <a:lnTo>
                      <a:pt x="581" y="564"/>
                    </a:lnTo>
                    <a:lnTo>
                      <a:pt x="580" y="558"/>
                    </a:lnTo>
                    <a:lnTo>
                      <a:pt x="581" y="553"/>
                    </a:lnTo>
                    <a:lnTo>
                      <a:pt x="582" y="547"/>
                    </a:lnTo>
                    <a:lnTo>
                      <a:pt x="587" y="532"/>
                    </a:lnTo>
                    <a:lnTo>
                      <a:pt x="593" y="517"/>
                    </a:lnTo>
                    <a:lnTo>
                      <a:pt x="597" y="503"/>
                    </a:lnTo>
                    <a:lnTo>
                      <a:pt x="599" y="496"/>
                    </a:lnTo>
                    <a:lnTo>
                      <a:pt x="599" y="489"/>
                    </a:lnTo>
                    <a:lnTo>
                      <a:pt x="597" y="484"/>
                    </a:lnTo>
                    <a:lnTo>
                      <a:pt x="594" y="478"/>
                    </a:lnTo>
                    <a:lnTo>
                      <a:pt x="591" y="473"/>
                    </a:lnTo>
                    <a:lnTo>
                      <a:pt x="584" y="470"/>
                    </a:lnTo>
                    <a:lnTo>
                      <a:pt x="584" y="470"/>
                    </a:lnTo>
                    <a:lnTo>
                      <a:pt x="577" y="468"/>
                    </a:lnTo>
                    <a:lnTo>
                      <a:pt x="571" y="468"/>
                    </a:lnTo>
                    <a:lnTo>
                      <a:pt x="565" y="469"/>
                    </a:lnTo>
                    <a:lnTo>
                      <a:pt x="561" y="472"/>
                    </a:lnTo>
                    <a:lnTo>
                      <a:pt x="556" y="476"/>
                    </a:lnTo>
                    <a:lnTo>
                      <a:pt x="551" y="481"/>
                    </a:lnTo>
                    <a:lnTo>
                      <a:pt x="548" y="487"/>
                    </a:lnTo>
                    <a:lnTo>
                      <a:pt x="546" y="494"/>
                    </a:lnTo>
                    <a:lnTo>
                      <a:pt x="541" y="509"/>
                    </a:lnTo>
                    <a:lnTo>
                      <a:pt x="539" y="524"/>
                    </a:lnTo>
                    <a:lnTo>
                      <a:pt x="538" y="538"/>
                    </a:lnTo>
                    <a:lnTo>
                      <a:pt x="539" y="544"/>
                    </a:lnTo>
                    <a:lnTo>
                      <a:pt x="540" y="548"/>
                    </a:lnTo>
                    <a:lnTo>
                      <a:pt x="540" y="548"/>
                    </a:lnTo>
                    <a:lnTo>
                      <a:pt x="546" y="562"/>
                    </a:lnTo>
                    <a:lnTo>
                      <a:pt x="548" y="572"/>
                    </a:lnTo>
                    <a:lnTo>
                      <a:pt x="549" y="579"/>
                    </a:lnTo>
                    <a:lnTo>
                      <a:pt x="547" y="585"/>
                    </a:lnTo>
                    <a:lnTo>
                      <a:pt x="543" y="588"/>
                    </a:lnTo>
                    <a:lnTo>
                      <a:pt x="536" y="592"/>
                    </a:lnTo>
                    <a:lnTo>
                      <a:pt x="518" y="600"/>
                    </a:lnTo>
                    <a:lnTo>
                      <a:pt x="518" y="600"/>
                    </a:lnTo>
                    <a:lnTo>
                      <a:pt x="505" y="607"/>
                    </a:lnTo>
                    <a:lnTo>
                      <a:pt x="495" y="614"/>
                    </a:lnTo>
                    <a:lnTo>
                      <a:pt x="488" y="619"/>
                    </a:lnTo>
                    <a:lnTo>
                      <a:pt x="481" y="625"/>
                    </a:lnTo>
                    <a:lnTo>
                      <a:pt x="481" y="625"/>
                    </a:lnTo>
                    <a:lnTo>
                      <a:pt x="487" y="631"/>
                    </a:lnTo>
                    <a:lnTo>
                      <a:pt x="488" y="633"/>
                    </a:lnTo>
                    <a:lnTo>
                      <a:pt x="488" y="638"/>
                    </a:lnTo>
                    <a:lnTo>
                      <a:pt x="488" y="638"/>
                    </a:lnTo>
                    <a:lnTo>
                      <a:pt x="481" y="626"/>
                    </a:lnTo>
                    <a:lnTo>
                      <a:pt x="481" y="626"/>
                    </a:lnTo>
                    <a:lnTo>
                      <a:pt x="475" y="634"/>
                    </a:lnTo>
                    <a:lnTo>
                      <a:pt x="469" y="643"/>
                    </a:lnTo>
                    <a:lnTo>
                      <a:pt x="462" y="653"/>
                    </a:lnTo>
                    <a:lnTo>
                      <a:pt x="450" y="666"/>
                    </a:lnTo>
                    <a:lnTo>
                      <a:pt x="450" y="666"/>
                    </a:lnTo>
                    <a:lnTo>
                      <a:pt x="440" y="678"/>
                    </a:lnTo>
                    <a:lnTo>
                      <a:pt x="421" y="698"/>
                    </a:lnTo>
                    <a:lnTo>
                      <a:pt x="412" y="707"/>
                    </a:lnTo>
                    <a:lnTo>
                      <a:pt x="402" y="715"/>
                    </a:lnTo>
                    <a:lnTo>
                      <a:pt x="394" y="721"/>
                    </a:lnTo>
                    <a:lnTo>
                      <a:pt x="390" y="722"/>
                    </a:lnTo>
                    <a:lnTo>
                      <a:pt x="388" y="723"/>
                    </a:lnTo>
                    <a:lnTo>
                      <a:pt x="388" y="723"/>
                    </a:lnTo>
                    <a:lnTo>
                      <a:pt x="382" y="722"/>
                    </a:lnTo>
                    <a:lnTo>
                      <a:pt x="378" y="721"/>
                    </a:lnTo>
                    <a:lnTo>
                      <a:pt x="368" y="715"/>
                    </a:lnTo>
                    <a:lnTo>
                      <a:pt x="364" y="714"/>
                    </a:lnTo>
                    <a:lnTo>
                      <a:pt x="360" y="715"/>
                    </a:lnTo>
                    <a:lnTo>
                      <a:pt x="356" y="720"/>
                    </a:lnTo>
                    <a:lnTo>
                      <a:pt x="352" y="727"/>
                    </a:lnTo>
                    <a:lnTo>
                      <a:pt x="352" y="727"/>
                    </a:lnTo>
                    <a:lnTo>
                      <a:pt x="351" y="730"/>
                    </a:lnTo>
                    <a:lnTo>
                      <a:pt x="350" y="733"/>
                    </a:lnTo>
                    <a:lnTo>
                      <a:pt x="344" y="737"/>
                    </a:lnTo>
                    <a:lnTo>
                      <a:pt x="337" y="739"/>
                    </a:lnTo>
                    <a:lnTo>
                      <a:pt x="329" y="740"/>
                    </a:lnTo>
                    <a:lnTo>
                      <a:pt x="312" y="739"/>
                    </a:lnTo>
                    <a:lnTo>
                      <a:pt x="297" y="739"/>
                    </a:lnTo>
                    <a:lnTo>
                      <a:pt x="297" y="739"/>
                    </a:lnTo>
                    <a:lnTo>
                      <a:pt x="297" y="747"/>
                    </a:lnTo>
                    <a:lnTo>
                      <a:pt x="300" y="755"/>
                    </a:lnTo>
                    <a:lnTo>
                      <a:pt x="305" y="762"/>
                    </a:lnTo>
                    <a:lnTo>
                      <a:pt x="312" y="769"/>
                    </a:lnTo>
                    <a:lnTo>
                      <a:pt x="319" y="775"/>
                    </a:lnTo>
                    <a:lnTo>
                      <a:pt x="327" y="781"/>
                    </a:lnTo>
                    <a:lnTo>
                      <a:pt x="345" y="791"/>
                    </a:lnTo>
                    <a:lnTo>
                      <a:pt x="353" y="797"/>
                    </a:lnTo>
                    <a:lnTo>
                      <a:pt x="361" y="803"/>
                    </a:lnTo>
                    <a:lnTo>
                      <a:pt x="368" y="808"/>
                    </a:lnTo>
                    <a:lnTo>
                      <a:pt x="373" y="816"/>
                    </a:lnTo>
                    <a:lnTo>
                      <a:pt x="376" y="823"/>
                    </a:lnTo>
                    <a:lnTo>
                      <a:pt x="376" y="832"/>
                    </a:lnTo>
                    <a:lnTo>
                      <a:pt x="375" y="842"/>
                    </a:lnTo>
                    <a:lnTo>
                      <a:pt x="369" y="853"/>
                    </a:lnTo>
                    <a:lnTo>
                      <a:pt x="369" y="853"/>
                    </a:lnTo>
                    <a:lnTo>
                      <a:pt x="361" y="866"/>
                    </a:lnTo>
                    <a:lnTo>
                      <a:pt x="355" y="875"/>
                    </a:lnTo>
                    <a:lnTo>
                      <a:pt x="348" y="881"/>
                    </a:lnTo>
                    <a:lnTo>
                      <a:pt x="341" y="884"/>
                    </a:lnTo>
                    <a:lnTo>
                      <a:pt x="332" y="885"/>
                    </a:lnTo>
                    <a:lnTo>
                      <a:pt x="322" y="885"/>
                    </a:lnTo>
                    <a:lnTo>
                      <a:pt x="294" y="885"/>
                    </a:lnTo>
                    <a:lnTo>
                      <a:pt x="294" y="885"/>
                    </a:lnTo>
                    <a:lnTo>
                      <a:pt x="275" y="883"/>
                    </a:lnTo>
                    <a:lnTo>
                      <a:pt x="250" y="880"/>
                    </a:lnTo>
                    <a:lnTo>
                      <a:pt x="238" y="879"/>
                    </a:lnTo>
                    <a:lnTo>
                      <a:pt x="228" y="880"/>
                    </a:lnTo>
                    <a:lnTo>
                      <a:pt x="219" y="882"/>
                    </a:lnTo>
                    <a:lnTo>
                      <a:pt x="216" y="883"/>
                    </a:lnTo>
                    <a:lnTo>
                      <a:pt x="214" y="885"/>
                    </a:lnTo>
                    <a:lnTo>
                      <a:pt x="214" y="885"/>
                    </a:lnTo>
                    <a:lnTo>
                      <a:pt x="211" y="895"/>
                    </a:lnTo>
                    <a:lnTo>
                      <a:pt x="208" y="903"/>
                    </a:lnTo>
                    <a:lnTo>
                      <a:pt x="208" y="911"/>
                    </a:lnTo>
                    <a:lnTo>
                      <a:pt x="208" y="919"/>
                    </a:lnTo>
                    <a:lnTo>
                      <a:pt x="208" y="934"/>
                    </a:lnTo>
                    <a:lnTo>
                      <a:pt x="208" y="952"/>
                    </a:lnTo>
                    <a:lnTo>
                      <a:pt x="208" y="952"/>
                    </a:lnTo>
                    <a:lnTo>
                      <a:pt x="207" y="959"/>
                    </a:lnTo>
                    <a:lnTo>
                      <a:pt x="205" y="969"/>
                    </a:lnTo>
                    <a:lnTo>
                      <a:pt x="199" y="991"/>
                    </a:lnTo>
                    <a:lnTo>
                      <a:pt x="193" y="1013"/>
                    </a:lnTo>
                    <a:lnTo>
                      <a:pt x="191" y="1020"/>
                    </a:lnTo>
                    <a:lnTo>
                      <a:pt x="191" y="1025"/>
                    </a:lnTo>
                    <a:lnTo>
                      <a:pt x="191" y="1025"/>
                    </a:lnTo>
                    <a:lnTo>
                      <a:pt x="195" y="1042"/>
                    </a:lnTo>
                    <a:lnTo>
                      <a:pt x="197" y="1055"/>
                    </a:lnTo>
                    <a:lnTo>
                      <a:pt x="199" y="1059"/>
                    </a:lnTo>
                    <a:lnTo>
                      <a:pt x="201" y="1065"/>
                    </a:lnTo>
                    <a:lnTo>
                      <a:pt x="205" y="1070"/>
                    </a:lnTo>
                    <a:lnTo>
                      <a:pt x="211" y="1074"/>
                    </a:lnTo>
                    <a:lnTo>
                      <a:pt x="211" y="1074"/>
                    </a:lnTo>
                    <a:lnTo>
                      <a:pt x="223" y="1077"/>
                    </a:lnTo>
                    <a:lnTo>
                      <a:pt x="249" y="1080"/>
                    </a:lnTo>
                    <a:lnTo>
                      <a:pt x="291" y="1085"/>
                    </a:lnTo>
                    <a:lnTo>
                      <a:pt x="291" y="1085"/>
                    </a:lnTo>
                    <a:lnTo>
                      <a:pt x="303" y="1086"/>
                    </a:lnTo>
                    <a:lnTo>
                      <a:pt x="313" y="1085"/>
                    </a:lnTo>
                    <a:lnTo>
                      <a:pt x="323" y="1083"/>
                    </a:lnTo>
                    <a:lnTo>
                      <a:pt x="333" y="1081"/>
                    </a:lnTo>
                    <a:lnTo>
                      <a:pt x="342" y="1078"/>
                    </a:lnTo>
                    <a:lnTo>
                      <a:pt x="351" y="1074"/>
                    </a:lnTo>
                    <a:lnTo>
                      <a:pt x="359" y="1070"/>
                    </a:lnTo>
                    <a:lnTo>
                      <a:pt x="366" y="1064"/>
                    </a:lnTo>
                    <a:lnTo>
                      <a:pt x="373" y="1058"/>
                    </a:lnTo>
                    <a:lnTo>
                      <a:pt x="380" y="1051"/>
                    </a:lnTo>
                    <a:lnTo>
                      <a:pt x="384" y="1043"/>
                    </a:lnTo>
                    <a:lnTo>
                      <a:pt x="389" y="1035"/>
                    </a:lnTo>
                    <a:lnTo>
                      <a:pt x="393" y="1026"/>
                    </a:lnTo>
                    <a:lnTo>
                      <a:pt x="396" y="1017"/>
                    </a:lnTo>
                    <a:lnTo>
                      <a:pt x="397" y="1006"/>
                    </a:lnTo>
                    <a:lnTo>
                      <a:pt x="398" y="996"/>
                    </a:lnTo>
                    <a:lnTo>
                      <a:pt x="398" y="996"/>
                    </a:lnTo>
                    <a:lnTo>
                      <a:pt x="398" y="991"/>
                    </a:lnTo>
                    <a:lnTo>
                      <a:pt x="401" y="988"/>
                    </a:lnTo>
                    <a:lnTo>
                      <a:pt x="405" y="981"/>
                    </a:lnTo>
                    <a:lnTo>
                      <a:pt x="412" y="974"/>
                    </a:lnTo>
                    <a:lnTo>
                      <a:pt x="421" y="967"/>
                    </a:lnTo>
                    <a:lnTo>
                      <a:pt x="439" y="953"/>
                    </a:lnTo>
                    <a:lnTo>
                      <a:pt x="447" y="948"/>
                    </a:lnTo>
                    <a:lnTo>
                      <a:pt x="452" y="941"/>
                    </a:lnTo>
                    <a:lnTo>
                      <a:pt x="452" y="941"/>
                    </a:lnTo>
                    <a:lnTo>
                      <a:pt x="455" y="935"/>
                    </a:lnTo>
                    <a:lnTo>
                      <a:pt x="458" y="926"/>
                    </a:lnTo>
                    <a:lnTo>
                      <a:pt x="460" y="915"/>
                    </a:lnTo>
                    <a:lnTo>
                      <a:pt x="465" y="906"/>
                    </a:lnTo>
                    <a:lnTo>
                      <a:pt x="467" y="902"/>
                    </a:lnTo>
                    <a:lnTo>
                      <a:pt x="470" y="898"/>
                    </a:lnTo>
                    <a:lnTo>
                      <a:pt x="473" y="896"/>
                    </a:lnTo>
                    <a:lnTo>
                      <a:pt x="477" y="895"/>
                    </a:lnTo>
                    <a:lnTo>
                      <a:pt x="481" y="895"/>
                    </a:lnTo>
                    <a:lnTo>
                      <a:pt x="486" y="896"/>
                    </a:lnTo>
                    <a:lnTo>
                      <a:pt x="490" y="898"/>
                    </a:lnTo>
                    <a:lnTo>
                      <a:pt x="497" y="904"/>
                    </a:lnTo>
                    <a:lnTo>
                      <a:pt x="497" y="904"/>
                    </a:lnTo>
                    <a:lnTo>
                      <a:pt x="502" y="907"/>
                    </a:lnTo>
                    <a:lnTo>
                      <a:pt x="506" y="910"/>
                    </a:lnTo>
                    <a:lnTo>
                      <a:pt x="511" y="911"/>
                    </a:lnTo>
                    <a:lnTo>
                      <a:pt x="515" y="911"/>
                    </a:lnTo>
                    <a:lnTo>
                      <a:pt x="519" y="910"/>
                    </a:lnTo>
                    <a:lnTo>
                      <a:pt x="523" y="908"/>
                    </a:lnTo>
                    <a:lnTo>
                      <a:pt x="530" y="903"/>
                    </a:lnTo>
                    <a:lnTo>
                      <a:pt x="542" y="890"/>
                    </a:lnTo>
                    <a:lnTo>
                      <a:pt x="548" y="885"/>
                    </a:lnTo>
                    <a:lnTo>
                      <a:pt x="550" y="883"/>
                    </a:lnTo>
                    <a:lnTo>
                      <a:pt x="554" y="882"/>
                    </a:lnTo>
                    <a:lnTo>
                      <a:pt x="554" y="882"/>
                    </a:lnTo>
                    <a:lnTo>
                      <a:pt x="565" y="882"/>
                    </a:lnTo>
                    <a:lnTo>
                      <a:pt x="576" y="883"/>
                    </a:lnTo>
                    <a:lnTo>
                      <a:pt x="584" y="887"/>
                    </a:lnTo>
                    <a:lnTo>
                      <a:pt x="591" y="892"/>
                    </a:lnTo>
                    <a:lnTo>
                      <a:pt x="597" y="899"/>
                    </a:lnTo>
                    <a:lnTo>
                      <a:pt x="604" y="907"/>
                    </a:lnTo>
                    <a:lnTo>
                      <a:pt x="618" y="925"/>
                    </a:lnTo>
                    <a:lnTo>
                      <a:pt x="618" y="925"/>
                    </a:lnTo>
                    <a:lnTo>
                      <a:pt x="627" y="935"/>
                    </a:lnTo>
                    <a:lnTo>
                      <a:pt x="635" y="942"/>
                    </a:lnTo>
                    <a:lnTo>
                      <a:pt x="643" y="946"/>
                    </a:lnTo>
                    <a:lnTo>
                      <a:pt x="650" y="950"/>
                    </a:lnTo>
                    <a:lnTo>
                      <a:pt x="667" y="957"/>
                    </a:lnTo>
                    <a:lnTo>
                      <a:pt x="676" y="961"/>
                    </a:lnTo>
                    <a:lnTo>
                      <a:pt x="686" y="968"/>
                    </a:lnTo>
                    <a:lnTo>
                      <a:pt x="686" y="968"/>
                    </a:lnTo>
                    <a:lnTo>
                      <a:pt x="695" y="976"/>
                    </a:lnTo>
                    <a:lnTo>
                      <a:pt x="702" y="984"/>
                    </a:lnTo>
                    <a:lnTo>
                      <a:pt x="707" y="994"/>
                    </a:lnTo>
                    <a:lnTo>
                      <a:pt x="709" y="1003"/>
                    </a:lnTo>
                    <a:lnTo>
                      <a:pt x="711" y="1013"/>
                    </a:lnTo>
                    <a:lnTo>
                      <a:pt x="713" y="1024"/>
                    </a:lnTo>
                    <a:lnTo>
                      <a:pt x="714" y="1047"/>
                    </a:lnTo>
                    <a:lnTo>
                      <a:pt x="714" y="1047"/>
                    </a:lnTo>
                    <a:lnTo>
                      <a:pt x="723" y="1042"/>
                    </a:lnTo>
                    <a:lnTo>
                      <a:pt x="730" y="1037"/>
                    </a:lnTo>
                    <a:lnTo>
                      <a:pt x="737" y="1031"/>
                    </a:lnTo>
                    <a:lnTo>
                      <a:pt x="741" y="1022"/>
                    </a:lnTo>
                    <a:lnTo>
                      <a:pt x="745" y="1014"/>
                    </a:lnTo>
                    <a:lnTo>
                      <a:pt x="746" y="1005"/>
                    </a:lnTo>
                    <a:lnTo>
                      <a:pt x="747" y="996"/>
                    </a:lnTo>
                    <a:lnTo>
                      <a:pt x="746" y="987"/>
                    </a:lnTo>
                    <a:lnTo>
                      <a:pt x="746" y="987"/>
                    </a:lnTo>
                    <a:lnTo>
                      <a:pt x="755" y="986"/>
                    </a:lnTo>
                    <a:lnTo>
                      <a:pt x="762" y="984"/>
                    </a:lnTo>
                    <a:lnTo>
                      <a:pt x="764" y="981"/>
                    </a:lnTo>
                    <a:lnTo>
                      <a:pt x="766" y="978"/>
                    </a:lnTo>
                    <a:lnTo>
                      <a:pt x="763" y="974"/>
                    </a:lnTo>
                    <a:lnTo>
                      <a:pt x="760" y="969"/>
                    </a:lnTo>
                    <a:lnTo>
                      <a:pt x="747" y="958"/>
                    </a:lnTo>
                    <a:lnTo>
                      <a:pt x="731" y="946"/>
                    </a:lnTo>
                    <a:lnTo>
                      <a:pt x="715" y="936"/>
                    </a:lnTo>
                    <a:lnTo>
                      <a:pt x="700" y="926"/>
                    </a:lnTo>
                    <a:lnTo>
                      <a:pt x="692" y="919"/>
                    </a:lnTo>
                    <a:lnTo>
                      <a:pt x="692" y="919"/>
                    </a:lnTo>
                    <a:lnTo>
                      <a:pt x="672" y="899"/>
                    </a:lnTo>
                    <a:lnTo>
                      <a:pt x="660" y="885"/>
                    </a:lnTo>
                    <a:lnTo>
                      <a:pt x="649" y="870"/>
                    </a:lnTo>
                    <a:lnTo>
                      <a:pt x="645" y="864"/>
                    </a:lnTo>
                    <a:lnTo>
                      <a:pt x="641" y="857"/>
                    </a:lnTo>
                    <a:lnTo>
                      <a:pt x="639" y="850"/>
                    </a:lnTo>
                    <a:lnTo>
                      <a:pt x="639" y="844"/>
                    </a:lnTo>
                    <a:lnTo>
                      <a:pt x="640" y="839"/>
                    </a:lnTo>
                    <a:lnTo>
                      <a:pt x="645" y="836"/>
                    </a:lnTo>
                    <a:lnTo>
                      <a:pt x="650" y="834"/>
                    </a:lnTo>
                    <a:lnTo>
                      <a:pt x="660" y="834"/>
                    </a:lnTo>
                    <a:lnTo>
                      <a:pt x="660" y="834"/>
                    </a:lnTo>
                    <a:lnTo>
                      <a:pt x="657" y="841"/>
                    </a:lnTo>
                    <a:lnTo>
                      <a:pt x="656" y="846"/>
                    </a:lnTo>
                    <a:lnTo>
                      <a:pt x="655" y="851"/>
                    </a:lnTo>
                    <a:lnTo>
                      <a:pt x="656" y="854"/>
                    </a:lnTo>
                    <a:lnTo>
                      <a:pt x="657" y="857"/>
                    </a:lnTo>
                    <a:lnTo>
                      <a:pt x="660" y="859"/>
                    </a:lnTo>
                    <a:lnTo>
                      <a:pt x="665" y="861"/>
                    </a:lnTo>
                    <a:lnTo>
                      <a:pt x="672" y="861"/>
                    </a:lnTo>
                    <a:lnTo>
                      <a:pt x="679" y="862"/>
                    </a:lnTo>
                    <a:lnTo>
                      <a:pt x="683" y="864"/>
                    </a:lnTo>
                    <a:lnTo>
                      <a:pt x="685" y="866"/>
                    </a:lnTo>
                    <a:lnTo>
                      <a:pt x="687" y="868"/>
                    </a:lnTo>
                    <a:lnTo>
                      <a:pt x="690" y="870"/>
                    </a:lnTo>
                    <a:lnTo>
                      <a:pt x="690" y="870"/>
                    </a:lnTo>
                    <a:lnTo>
                      <a:pt x="693" y="881"/>
                    </a:lnTo>
                    <a:lnTo>
                      <a:pt x="700" y="890"/>
                    </a:lnTo>
                    <a:lnTo>
                      <a:pt x="709" y="899"/>
                    </a:lnTo>
                    <a:lnTo>
                      <a:pt x="719" y="907"/>
                    </a:lnTo>
                    <a:lnTo>
                      <a:pt x="731" y="913"/>
                    </a:lnTo>
                    <a:lnTo>
                      <a:pt x="741" y="917"/>
                    </a:lnTo>
                    <a:lnTo>
                      <a:pt x="747" y="918"/>
                    </a:lnTo>
                    <a:lnTo>
                      <a:pt x="753" y="918"/>
                    </a:lnTo>
                    <a:lnTo>
                      <a:pt x="757" y="917"/>
                    </a:lnTo>
                    <a:lnTo>
                      <a:pt x="762" y="915"/>
                    </a:lnTo>
                    <a:lnTo>
                      <a:pt x="762" y="915"/>
                    </a:lnTo>
                    <a:lnTo>
                      <a:pt x="770" y="921"/>
                    </a:lnTo>
                    <a:lnTo>
                      <a:pt x="777" y="928"/>
                    </a:lnTo>
                    <a:lnTo>
                      <a:pt x="781" y="933"/>
                    </a:lnTo>
                    <a:lnTo>
                      <a:pt x="782" y="937"/>
                    </a:lnTo>
                    <a:lnTo>
                      <a:pt x="784" y="942"/>
                    </a:lnTo>
                    <a:lnTo>
                      <a:pt x="784" y="949"/>
                    </a:lnTo>
                    <a:lnTo>
                      <a:pt x="784" y="949"/>
                    </a:lnTo>
                    <a:lnTo>
                      <a:pt x="784" y="961"/>
                    </a:lnTo>
                    <a:lnTo>
                      <a:pt x="785" y="968"/>
                    </a:lnTo>
                    <a:lnTo>
                      <a:pt x="786" y="974"/>
                    </a:lnTo>
                    <a:lnTo>
                      <a:pt x="789" y="980"/>
                    </a:lnTo>
                    <a:lnTo>
                      <a:pt x="792" y="984"/>
                    </a:lnTo>
                    <a:lnTo>
                      <a:pt x="797" y="988"/>
                    </a:lnTo>
                    <a:lnTo>
                      <a:pt x="802" y="990"/>
                    </a:lnTo>
                    <a:lnTo>
                      <a:pt x="802" y="990"/>
                    </a:lnTo>
                    <a:lnTo>
                      <a:pt x="802" y="995"/>
                    </a:lnTo>
                    <a:lnTo>
                      <a:pt x="804" y="998"/>
                    </a:lnTo>
                    <a:lnTo>
                      <a:pt x="805" y="1002"/>
                    </a:lnTo>
                    <a:lnTo>
                      <a:pt x="806" y="1005"/>
                    </a:lnTo>
                    <a:lnTo>
                      <a:pt x="812" y="1011"/>
                    </a:lnTo>
                    <a:lnTo>
                      <a:pt x="818" y="1016"/>
                    </a:lnTo>
                    <a:lnTo>
                      <a:pt x="827" y="1019"/>
                    </a:lnTo>
                    <a:lnTo>
                      <a:pt x="835" y="1022"/>
                    </a:lnTo>
                    <a:lnTo>
                      <a:pt x="852" y="1028"/>
                    </a:lnTo>
                    <a:lnTo>
                      <a:pt x="852" y="1028"/>
                    </a:lnTo>
                    <a:lnTo>
                      <a:pt x="843" y="1028"/>
                    </a:lnTo>
                    <a:lnTo>
                      <a:pt x="836" y="1029"/>
                    </a:lnTo>
                    <a:lnTo>
                      <a:pt x="831" y="1032"/>
                    </a:lnTo>
                    <a:lnTo>
                      <a:pt x="828" y="1035"/>
                    </a:lnTo>
                    <a:lnTo>
                      <a:pt x="825" y="1039"/>
                    </a:lnTo>
                    <a:lnTo>
                      <a:pt x="825" y="1043"/>
                    </a:lnTo>
                    <a:lnTo>
                      <a:pt x="827" y="1048"/>
                    </a:lnTo>
                    <a:lnTo>
                      <a:pt x="829" y="1054"/>
                    </a:lnTo>
                    <a:lnTo>
                      <a:pt x="832" y="1058"/>
                    </a:lnTo>
                    <a:lnTo>
                      <a:pt x="836" y="1064"/>
                    </a:lnTo>
                    <a:lnTo>
                      <a:pt x="842" y="1069"/>
                    </a:lnTo>
                    <a:lnTo>
                      <a:pt x="847" y="1072"/>
                    </a:lnTo>
                    <a:lnTo>
                      <a:pt x="853" y="1075"/>
                    </a:lnTo>
                    <a:lnTo>
                      <a:pt x="860" y="1079"/>
                    </a:lnTo>
                    <a:lnTo>
                      <a:pt x="867" y="1081"/>
                    </a:lnTo>
                    <a:lnTo>
                      <a:pt x="874" y="1081"/>
                    </a:lnTo>
                    <a:lnTo>
                      <a:pt x="874" y="1081"/>
                    </a:lnTo>
                    <a:lnTo>
                      <a:pt x="873" y="1077"/>
                    </a:lnTo>
                    <a:lnTo>
                      <a:pt x="873" y="1071"/>
                    </a:lnTo>
                    <a:lnTo>
                      <a:pt x="875" y="1062"/>
                    </a:lnTo>
                    <a:lnTo>
                      <a:pt x="878" y="1054"/>
                    </a:lnTo>
                    <a:lnTo>
                      <a:pt x="882" y="1047"/>
                    </a:lnTo>
                    <a:lnTo>
                      <a:pt x="885" y="1040"/>
                    </a:lnTo>
                    <a:lnTo>
                      <a:pt x="886" y="1033"/>
                    </a:lnTo>
                    <a:lnTo>
                      <a:pt x="886" y="1029"/>
                    </a:lnTo>
                    <a:lnTo>
                      <a:pt x="885" y="1026"/>
                    </a:lnTo>
                    <a:lnTo>
                      <a:pt x="883" y="1022"/>
                    </a:lnTo>
                    <a:lnTo>
                      <a:pt x="881" y="1018"/>
                    </a:lnTo>
                    <a:lnTo>
                      <a:pt x="881" y="1018"/>
                    </a:lnTo>
                    <a:lnTo>
                      <a:pt x="871" y="1006"/>
                    </a:lnTo>
                    <a:lnTo>
                      <a:pt x="860" y="987"/>
                    </a:lnTo>
                    <a:lnTo>
                      <a:pt x="855" y="979"/>
                    </a:lnTo>
                    <a:lnTo>
                      <a:pt x="854" y="973"/>
                    </a:lnTo>
                    <a:lnTo>
                      <a:pt x="854" y="972"/>
                    </a:lnTo>
                    <a:lnTo>
                      <a:pt x="856" y="973"/>
                    </a:lnTo>
                    <a:lnTo>
                      <a:pt x="865" y="979"/>
                    </a:lnTo>
                    <a:lnTo>
                      <a:pt x="865" y="979"/>
                    </a:lnTo>
                    <a:lnTo>
                      <a:pt x="867" y="980"/>
                    </a:lnTo>
                    <a:lnTo>
                      <a:pt x="869" y="980"/>
                    </a:lnTo>
                    <a:lnTo>
                      <a:pt x="875" y="980"/>
                    </a:lnTo>
                    <a:lnTo>
                      <a:pt x="882" y="978"/>
                    </a:lnTo>
                    <a:lnTo>
                      <a:pt x="890" y="974"/>
                    </a:lnTo>
                    <a:lnTo>
                      <a:pt x="906" y="966"/>
                    </a:lnTo>
                    <a:lnTo>
                      <a:pt x="914" y="964"/>
                    </a:lnTo>
                    <a:lnTo>
                      <a:pt x="923" y="963"/>
                    </a:lnTo>
                    <a:lnTo>
                      <a:pt x="923" y="963"/>
                    </a:lnTo>
                    <a:lnTo>
                      <a:pt x="934" y="963"/>
                    </a:lnTo>
                    <a:lnTo>
                      <a:pt x="946" y="959"/>
                    </a:lnTo>
                    <a:lnTo>
                      <a:pt x="958" y="956"/>
                    </a:lnTo>
                    <a:lnTo>
                      <a:pt x="968" y="950"/>
                    </a:lnTo>
                    <a:lnTo>
                      <a:pt x="968" y="950"/>
                    </a:lnTo>
                    <a:lnTo>
                      <a:pt x="967" y="956"/>
                    </a:lnTo>
                    <a:lnTo>
                      <a:pt x="965" y="960"/>
                    </a:lnTo>
                    <a:lnTo>
                      <a:pt x="962" y="963"/>
                    </a:lnTo>
                    <a:lnTo>
                      <a:pt x="959" y="965"/>
                    </a:lnTo>
                    <a:lnTo>
                      <a:pt x="954" y="966"/>
                    </a:lnTo>
                    <a:lnTo>
                      <a:pt x="950" y="967"/>
                    </a:lnTo>
                    <a:lnTo>
                      <a:pt x="941" y="968"/>
                    </a:lnTo>
                    <a:lnTo>
                      <a:pt x="930" y="968"/>
                    </a:lnTo>
                    <a:lnTo>
                      <a:pt x="924" y="969"/>
                    </a:lnTo>
                    <a:lnTo>
                      <a:pt x="920" y="971"/>
                    </a:lnTo>
                    <a:lnTo>
                      <a:pt x="915" y="973"/>
                    </a:lnTo>
                    <a:lnTo>
                      <a:pt x="911" y="976"/>
                    </a:lnTo>
                    <a:lnTo>
                      <a:pt x="906" y="981"/>
                    </a:lnTo>
                    <a:lnTo>
                      <a:pt x="903" y="988"/>
                    </a:lnTo>
                    <a:lnTo>
                      <a:pt x="903" y="988"/>
                    </a:lnTo>
                    <a:lnTo>
                      <a:pt x="904" y="998"/>
                    </a:lnTo>
                    <a:lnTo>
                      <a:pt x="907" y="1018"/>
                    </a:lnTo>
                    <a:lnTo>
                      <a:pt x="912" y="1037"/>
                    </a:lnTo>
                    <a:lnTo>
                      <a:pt x="915" y="1048"/>
                    </a:lnTo>
                    <a:lnTo>
                      <a:pt x="915" y="1048"/>
                    </a:lnTo>
                    <a:lnTo>
                      <a:pt x="927" y="1044"/>
                    </a:lnTo>
                    <a:lnTo>
                      <a:pt x="930" y="1043"/>
                    </a:lnTo>
                    <a:lnTo>
                      <a:pt x="934" y="1044"/>
                    </a:lnTo>
                    <a:lnTo>
                      <a:pt x="935" y="1045"/>
                    </a:lnTo>
                    <a:lnTo>
                      <a:pt x="936" y="1047"/>
                    </a:lnTo>
                    <a:lnTo>
                      <a:pt x="937" y="1052"/>
                    </a:lnTo>
                    <a:lnTo>
                      <a:pt x="936" y="1060"/>
                    </a:lnTo>
                    <a:lnTo>
                      <a:pt x="936" y="1067"/>
                    </a:lnTo>
                    <a:lnTo>
                      <a:pt x="937" y="1072"/>
                    </a:lnTo>
                    <a:lnTo>
                      <a:pt x="938" y="1075"/>
                    </a:lnTo>
                    <a:lnTo>
                      <a:pt x="941" y="1079"/>
                    </a:lnTo>
                    <a:lnTo>
                      <a:pt x="943" y="1082"/>
                    </a:lnTo>
                    <a:lnTo>
                      <a:pt x="943" y="1082"/>
                    </a:lnTo>
                    <a:lnTo>
                      <a:pt x="947" y="1085"/>
                    </a:lnTo>
                    <a:lnTo>
                      <a:pt x="952" y="1087"/>
                    </a:lnTo>
                    <a:lnTo>
                      <a:pt x="964" y="1090"/>
                    </a:lnTo>
                    <a:lnTo>
                      <a:pt x="977" y="1092"/>
                    </a:lnTo>
                    <a:lnTo>
                      <a:pt x="991" y="1089"/>
                    </a:lnTo>
                    <a:lnTo>
                      <a:pt x="1003" y="1086"/>
                    </a:lnTo>
                    <a:lnTo>
                      <a:pt x="1008" y="1083"/>
                    </a:lnTo>
                    <a:lnTo>
                      <a:pt x="1013" y="1080"/>
                    </a:lnTo>
                    <a:lnTo>
                      <a:pt x="1018" y="1077"/>
                    </a:lnTo>
                    <a:lnTo>
                      <a:pt x="1020" y="1073"/>
                    </a:lnTo>
                    <a:lnTo>
                      <a:pt x="1022" y="1067"/>
                    </a:lnTo>
                    <a:lnTo>
                      <a:pt x="1022" y="1063"/>
                    </a:lnTo>
                    <a:lnTo>
                      <a:pt x="1022" y="1063"/>
                    </a:lnTo>
                    <a:lnTo>
                      <a:pt x="1049" y="1073"/>
                    </a:lnTo>
                    <a:lnTo>
                      <a:pt x="1060" y="1077"/>
                    </a:lnTo>
                    <a:lnTo>
                      <a:pt x="1072" y="1079"/>
                    </a:lnTo>
                    <a:lnTo>
                      <a:pt x="1083" y="1080"/>
                    </a:lnTo>
                    <a:lnTo>
                      <a:pt x="1095" y="1078"/>
                    </a:lnTo>
                    <a:lnTo>
                      <a:pt x="1106" y="1073"/>
                    </a:lnTo>
                    <a:lnTo>
                      <a:pt x="1120" y="1065"/>
                    </a:lnTo>
                    <a:lnTo>
                      <a:pt x="1120" y="1065"/>
                    </a:lnTo>
                    <a:lnTo>
                      <a:pt x="1118" y="1079"/>
                    </a:lnTo>
                    <a:lnTo>
                      <a:pt x="1116" y="1097"/>
                    </a:lnTo>
                    <a:lnTo>
                      <a:pt x="1113" y="1117"/>
                    </a:lnTo>
                    <a:lnTo>
                      <a:pt x="1110" y="1138"/>
                    </a:lnTo>
                    <a:lnTo>
                      <a:pt x="1107" y="1148"/>
                    </a:lnTo>
                    <a:lnTo>
                      <a:pt x="1105" y="1157"/>
                    </a:lnTo>
                    <a:lnTo>
                      <a:pt x="1102" y="1166"/>
                    </a:lnTo>
                    <a:lnTo>
                      <a:pt x="1097" y="1173"/>
                    </a:lnTo>
                    <a:lnTo>
                      <a:pt x="1092" y="1180"/>
                    </a:lnTo>
                    <a:lnTo>
                      <a:pt x="1087" y="1185"/>
                    </a:lnTo>
                    <a:lnTo>
                      <a:pt x="1080" y="1187"/>
                    </a:lnTo>
                    <a:lnTo>
                      <a:pt x="1072" y="1188"/>
                    </a:lnTo>
                    <a:lnTo>
                      <a:pt x="1072" y="1188"/>
                    </a:lnTo>
                    <a:lnTo>
                      <a:pt x="1067" y="1188"/>
                    </a:lnTo>
                    <a:lnTo>
                      <a:pt x="1063" y="1187"/>
                    </a:lnTo>
                    <a:lnTo>
                      <a:pt x="1055" y="1184"/>
                    </a:lnTo>
                    <a:lnTo>
                      <a:pt x="1046" y="1179"/>
                    </a:lnTo>
                    <a:lnTo>
                      <a:pt x="1042" y="1178"/>
                    </a:lnTo>
                    <a:lnTo>
                      <a:pt x="1037" y="1178"/>
                    </a:lnTo>
                    <a:lnTo>
                      <a:pt x="1037" y="1178"/>
                    </a:lnTo>
                    <a:lnTo>
                      <a:pt x="1031" y="1179"/>
                    </a:lnTo>
                    <a:lnTo>
                      <a:pt x="1026" y="1180"/>
                    </a:lnTo>
                    <a:lnTo>
                      <a:pt x="1014" y="1187"/>
                    </a:lnTo>
                    <a:lnTo>
                      <a:pt x="1004" y="1193"/>
                    </a:lnTo>
                    <a:lnTo>
                      <a:pt x="997" y="1196"/>
                    </a:lnTo>
                    <a:lnTo>
                      <a:pt x="990" y="1197"/>
                    </a:lnTo>
                    <a:lnTo>
                      <a:pt x="990" y="1197"/>
                    </a:lnTo>
                    <a:lnTo>
                      <a:pt x="981" y="1196"/>
                    </a:lnTo>
                    <a:lnTo>
                      <a:pt x="968" y="1195"/>
                    </a:lnTo>
                    <a:lnTo>
                      <a:pt x="939" y="1192"/>
                    </a:lnTo>
                    <a:lnTo>
                      <a:pt x="909" y="1185"/>
                    </a:lnTo>
                    <a:lnTo>
                      <a:pt x="888" y="1179"/>
                    </a:lnTo>
                    <a:lnTo>
                      <a:pt x="888" y="1179"/>
                    </a:lnTo>
                    <a:lnTo>
                      <a:pt x="882" y="1176"/>
                    </a:lnTo>
                    <a:lnTo>
                      <a:pt x="877" y="1172"/>
                    </a:lnTo>
                    <a:lnTo>
                      <a:pt x="875" y="1169"/>
                    </a:lnTo>
                    <a:lnTo>
                      <a:pt x="873" y="1165"/>
                    </a:lnTo>
                    <a:lnTo>
                      <a:pt x="871" y="1162"/>
                    </a:lnTo>
                    <a:lnTo>
                      <a:pt x="868" y="1158"/>
                    </a:lnTo>
                    <a:lnTo>
                      <a:pt x="862" y="1157"/>
                    </a:lnTo>
                    <a:lnTo>
                      <a:pt x="854" y="1156"/>
                    </a:lnTo>
                    <a:lnTo>
                      <a:pt x="854" y="1156"/>
                    </a:lnTo>
                    <a:lnTo>
                      <a:pt x="837" y="1156"/>
                    </a:lnTo>
                    <a:lnTo>
                      <a:pt x="830" y="1157"/>
                    </a:lnTo>
                    <a:lnTo>
                      <a:pt x="824" y="1158"/>
                    </a:lnTo>
                    <a:lnTo>
                      <a:pt x="820" y="1161"/>
                    </a:lnTo>
                    <a:lnTo>
                      <a:pt x="814" y="1164"/>
                    </a:lnTo>
                    <a:lnTo>
                      <a:pt x="801" y="1174"/>
                    </a:lnTo>
                    <a:lnTo>
                      <a:pt x="801" y="1174"/>
                    </a:lnTo>
                    <a:lnTo>
                      <a:pt x="800" y="1176"/>
                    </a:lnTo>
                    <a:lnTo>
                      <a:pt x="799" y="1179"/>
                    </a:lnTo>
                    <a:lnTo>
                      <a:pt x="800" y="1187"/>
                    </a:lnTo>
                    <a:lnTo>
                      <a:pt x="802" y="1197"/>
                    </a:lnTo>
                    <a:lnTo>
                      <a:pt x="805" y="1209"/>
                    </a:lnTo>
                    <a:lnTo>
                      <a:pt x="805" y="1218"/>
                    </a:lnTo>
                    <a:lnTo>
                      <a:pt x="804" y="1222"/>
                    </a:lnTo>
                    <a:lnTo>
                      <a:pt x="802" y="1224"/>
                    </a:lnTo>
                    <a:lnTo>
                      <a:pt x="799" y="1226"/>
                    </a:lnTo>
                    <a:lnTo>
                      <a:pt x="794" y="1226"/>
                    </a:lnTo>
                    <a:lnTo>
                      <a:pt x="789" y="1225"/>
                    </a:lnTo>
                    <a:lnTo>
                      <a:pt x="782" y="1222"/>
                    </a:lnTo>
                    <a:lnTo>
                      <a:pt x="782" y="1222"/>
                    </a:lnTo>
                    <a:lnTo>
                      <a:pt x="768" y="1215"/>
                    </a:lnTo>
                    <a:lnTo>
                      <a:pt x="755" y="1207"/>
                    </a:lnTo>
                    <a:lnTo>
                      <a:pt x="732" y="1191"/>
                    </a:lnTo>
                    <a:lnTo>
                      <a:pt x="722" y="1182"/>
                    </a:lnTo>
                    <a:lnTo>
                      <a:pt x="710" y="1174"/>
                    </a:lnTo>
                    <a:lnTo>
                      <a:pt x="698" y="1169"/>
                    </a:lnTo>
                    <a:lnTo>
                      <a:pt x="685" y="1164"/>
                    </a:lnTo>
                    <a:lnTo>
                      <a:pt x="685" y="1164"/>
                    </a:lnTo>
                    <a:lnTo>
                      <a:pt x="661" y="1157"/>
                    </a:lnTo>
                    <a:lnTo>
                      <a:pt x="637" y="1150"/>
                    </a:lnTo>
                    <a:lnTo>
                      <a:pt x="637" y="1150"/>
                    </a:lnTo>
                    <a:lnTo>
                      <a:pt x="622" y="1145"/>
                    </a:lnTo>
                    <a:lnTo>
                      <a:pt x="619" y="1142"/>
                    </a:lnTo>
                    <a:lnTo>
                      <a:pt x="618" y="1140"/>
                    </a:lnTo>
                    <a:lnTo>
                      <a:pt x="618" y="1136"/>
                    </a:lnTo>
                    <a:lnTo>
                      <a:pt x="619" y="1132"/>
                    </a:lnTo>
                    <a:lnTo>
                      <a:pt x="620" y="1126"/>
                    </a:lnTo>
                    <a:lnTo>
                      <a:pt x="622" y="1119"/>
                    </a:lnTo>
                    <a:lnTo>
                      <a:pt x="622" y="1119"/>
                    </a:lnTo>
                    <a:lnTo>
                      <a:pt x="620" y="1083"/>
                    </a:lnTo>
                    <a:lnTo>
                      <a:pt x="619" y="1063"/>
                    </a:lnTo>
                    <a:lnTo>
                      <a:pt x="618" y="1056"/>
                    </a:lnTo>
                    <a:lnTo>
                      <a:pt x="617" y="1052"/>
                    </a:lnTo>
                    <a:lnTo>
                      <a:pt x="617" y="1052"/>
                    </a:lnTo>
                    <a:lnTo>
                      <a:pt x="610" y="1049"/>
                    </a:lnTo>
                    <a:lnTo>
                      <a:pt x="604" y="1047"/>
                    </a:lnTo>
                    <a:lnTo>
                      <a:pt x="600" y="1047"/>
                    </a:lnTo>
                    <a:lnTo>
                      <a:pt x="595" y="1047"/>
                    </a:lnTo>
                    <a:lnTo>
                      <a:pt x="585" y="1050"/>
                    </a:lnTo>
                    <a:lnTo>
                      <a:pt x="571" y="1057"/>
                    </a:lnTo>
                    <a:lnTo>
                      <a:pt x="571" y="1057"/>
                    </a:lnTo>
                    <a:lnTo>
                      <a:pt x="563" y="1059"/>
                    </a:lnTo>
                    <a:lnTo>
                      <a:pt x="556" y="1060"/>
                    </a:lnTo>
                    <a:lnTo>
                      <a:pt x="550" y="1059"/>
                    </a:lnTo>
                    <a:lnTo>
                      <a:pt x="546" y="1058"/>
                    </a:lnTo>
                    <a:lnTo>
                      <a:pt x="534" y="1055"/>
                    </a:lnTo>
                    <a:lnTo>
                      <a:pt x="527" y="1052"/>
                    </a:lnTo>
                    <a:lnTo>
                      <a:pt x="519" y="1052"/>
                    </a:lnTo>
                    <a:lnTo>
                      <a:pt x="519" y="1052"/>
                    </a:lnTo>
                    <a:lnTo>
                      <a:pt x="504" y="1052"/>
                    </a:lnTo>
                    <a:lnTo>
                      <a:pt x="488" y="1055"/>
                    </a:lnTo>
                    <a:lnTo>
                      <a:pt x="472" y="1057"/>
                    </a:lnTo>
                    <a:lnTo>
                      <a:pt x="456" y="1060"/>
                    </a:lnTo>
                    <a:lnTo>
                      <a:pt x="424" y="1069"/>
                    </a:lnTo>
                    <a:lnTo>
                      <a:pt x="393" y="1075"/>
                    </a:lnTo>
                    <a:lnTo>
                      <a:pt x="393" y="1075"/>
                    </a:lnTo>
                    <a:lnTo>
                      <a:pt x="387" y="1078"/>
                    </a:lnTo>
                    <a:lnTo>
                      <a:pt x="381" y="1080"/>
                    </a:lnTo>
                    <a:lnTo>
                      <a:pt x="372" y="1088"/>
                    </a:lnTo>
                    <a:lnTo>
                      <a:pt x="363" y="1096"/>
                    </a:lnTo>
                    <a:lnTo>
                      <a:pt x="358" y="1100"/>
                    </a:lnTo>
                    <a:lnTo>
                      <a:pt x="352" y="1102"/>
                    </a:lnTo>
                    <a:lnTo>
                      <a:pt x="352" y="1102"/>
                    </a:lnTo>
                    <a:lnTo>
                      <a:pt x="344" y="1104"/>
                    </a:lnTo>
                    <a:lnTo>
                      <a:pt x="336" y="1104"/>
                    </a:lnTo>
                    <a:lnTo>
                      <a:pt x="318" y="1104"/>
                    </a:lnTo>
                    <a:lnTo>
                      <a:pt x="298" y="1103"/>
                    </a:lnTo>
                    <a:lnTo>
                      <a:pt x="282" y="1102"/>
                    </a:lnTo>
                    <a:lnTo>
                      <a:pt x="282" y="1102"/>
                    </a:lnTo>
                    <a:lnTo>
                      <a:pt x="275" y="1102"/>
                    </a:lnTo>
                    <a:lnTo>
                      <a:pt x="269" y="1103"/>
                    </a:lnTo>
                    <a:lnTo>
                      <a:pt x="264" y="1105"/>
                    </a:lnTo>
                    <a:lnTo>
                      <a:pt x="259" y="1109"/>
                    </a:lnTo>
                    <a:lnTo>
                      <a:pt x="250" y="1116"/>
                    </a:lnTo>
                    <a:lnTo>
                      <a:pt x="242" y="1124"/>
                    </a:lnTo>
                    <a:lnTo>
                      <a:pt x="234" y="1133"/>
                    </a:lnTo>
                    <a:lnTo>
                      <a:pt x="224" y="1143"/>
                    </a:lnTo>
                    <a:lnTo>
                      <a:pt x="214" y="1151"/>
                    </a:lnTo>
                    <a:lnTo>
                      <a:pt x="208" y="1156"/>
                    </a:lnTo>
                    <a:lnTo>
                      <a:pt x="201" y="1159"/>
                    </a:lnTo>
                    <a:lnTo>
                      <a:pt x="201" y="1159"/>
                    </a:lnTo>
                    <a:lnTo>
                      <a:pt x="197" y="1163"/>
                    </a:lnTo>
                    <a:lnTo>
                      <a:pt x="192" y="1166"/>
                    </a:lnTo>
                    <a:lnTo>
                      <a:pt x="189" y="1172"/>
                    </a:lnTo>
                    <a:lnTo>
                      <a:pt x="185" y="1178"/>
                    </a:lnTo>
                    <a:lnTo>
                      <a:pt x="181" y="1193"/>
                    </a:lnTo>
                    <a:lnTo>
                      <a:pt x="177" y="1208"/>
                    </a:lnTo>
                    <a:lnTo>
                      <a:pt x="174" y="1224"/>
                    </a:lnTo>
                    <a:lnTo>
                      <a:pt x="168" y="1239"/>
                    </a:lnTo>
                    <a:lnTo>
                      <a:pt x="165" y="1245"/>
                    </a:lnTo>
                    <a:lnTo>
                      <a:pt x="161" y="1250"/>
                    </a:lnTo>
                    <a:lnTo>
                      <a:pt x="157" y="1256"/>
                    </a:lnTo>
                    <a:lnTo>
                      <a:pt x="151" y="1261"/>
                    </a:lnTo>
                    <a:lnTo>
                      <a:pt x="151" y="1261"/>
                    </a:lnTo>
                    <a:lnTo>
                      <a:pt x="124" y="1277"/>
                    </a:lnTo>
                    <a:lnTo>
                      <a:pt x="114" y="1285"/>
                    </a:lnTo>
                    <a:lnTo>
                      <a:pt x="105" y="1293"/>
                    </a:lnTo>
                    <a:lnTo>
                      <a:pt x="97" y="1301"/>
                    </a:lnTo>
                    <a:lnTo>
                      <a:pt x="89" y="1310"/>
                    </a:lnTo>
                    <a:lnTo>
                      <a:pt x="81" y="1323"/>
                    </a:lnTo>
                    <a:lnTo>
                      <a:pt x="71" y="1337"/>
                    </a:lnTo>
                    <a:lnTo>
                      <a:pt x="71" y="1337"/>
                    </a:lnTo>
                    <a:lnTo>
                      <a:pt x="55" y="1364"/>
                    </a:lnTo>
                    <a:lnTo>
                      <a:pt x="39" y="1395"/>
                    </a:lnTo>
                    <a:lnTo>
                      <a:pt x="30" y="1410"/>
                    </a:lnTo>
                    <a:lnTo>
                      <a:pt x="21" y="1425"/>
                    </a:lnTo>
                    <a:lnTo>
                      <a:pt x="10" y="1438"/>
                    </a:lnTo>
                    <a:lnTo>
                      <a:pt x="0" y="1448"/>
                    </a:lnTo>
                    <a:lnTo>
                      <a:pt x="0" y="1448"/>
                    </a:lnTo>
                    <a:lnTo>
                      <a:pt x="2" y="1451"/>
                    </a:lnTo>
                    <a:lnTo>
                      <a:pt x="0" y="1453"/>
                    </a:lnTo>
                    <a:lnTo>
                      <a:pt x="0" y="1453"/>
                    </a:lnTo>
                    <a:lnTo>
                      <a:pt x="7" y="1458"/>
                    </a:lnTo>
                    <a:lnTo>
                      <a:pt x="13" y="1463"/>
                    </a:lnTo>
                    <a:lnTo>
                      <a:pt x="17" y="1469"/>
                    </a:lnTo>
                    <a:lnTo>
                      <a:pt x="20" y="1477"/>
                    </a:lnTo>
                    <a:lnTo>
                      <a:pt x="22" y="1484"/>
                    </a:lnTo>
                    <a:lnTo>
                      <a:pt x="24" y="1493"/>
                    </a:lnTo>
                    <a:lnTo>
                      <a:pt x="24" y="1511"/>
                    </a:lnTo>
                    <a:lnTo>
                      <a:pt x="23" y="1529"/>
                    </a:lnTo>
                    <a:lnTo>
                      <a:pt x="21" y="1547"/>
                    </a:lnTo>
                    <a:lnTo>
                      <a:pt x="18" y="1565"/>
                    </a:lnTo>
                    <a:lnTo>
                      <a:pt x="17" y="1580"/>
                    </a:lnTo>
                    <a:lnTo>
                      <a:pt x="17" y="1580"/>
                    </a:lnTo>
                    <a:lnTo>
                      <a:pt x="15" y="1596"/>
                    </a:lnTo>
                    <a:lnTo>
                      <a:pt x="15" y="1607"/>
                    </a:lnTo>
                    <a:lnTo>
                      <a:pt x="16" y="1618"/>
                    </a:lnTo>
                    <a:lnTo>
                      <a:pt x="20" y="1633"/>
                    </a:lnTo>
                    <a:lnTo>
                      <a:pt x="20" y="1633"/>
                    </a:lnTo>
                    <a:lnTo>
                      <a:pt x="26" y="1652"/>
                    </a:lnTo>
                    <a:lnTo>
                      <a:pt x="31" y="1666"/>
                    </a:lnTo>
                    <a:lnTo>
                      <a:pt x="36" y="1676"/>
                    </a:lnTo>
                    <a:lnTo>
                      <a:pt x="36" y="1676"/>
                    </a:lnTo>
                    <a:lnTo>
                      <a:pt x="48" y="1701"/>
                    </a:lnTo>
                    <a:lnTo>
                      <a:pt x="63" y="1724"/>
                    </a:lnTo>
                    <a:lnTo>
                      <a:pt x="81" y="1744"/>
                    </a:lnTo>
                    <a:lnTo>
                      <a:pt x="100" y="1765"/>
                    </a:lnTo>
                    <a:lnTo>
                      <a:pt x="100" y="1765"/>
                    </a:lnTo>
                    <a:lnTo>
                      <a:pt x="114" y="1777"/>
                    </a:lnTo>
                    <a:lnTo>
                      <a:pt x="129" y="1788"/>
                    </a:lnTo>
                    <a:lnTo>
                      <a:pt x="161" y="1810"/>
                    </a:lnTo>
                    <a:lnTo>
                      <a:pt x="177" y="1820"/>
                    </a:lnTo>
                    <a:lnTo>
                      <a:pt x="192" y="1832"/>
                    </a:lnTo>
                    <a:lnTo>
                      <a:pt x="206" y="1843"/>
                    </a:lnTo>
                    <a:lnTo>
                      <a:pt x="219" y="1856"/>
                    </a:lnTo>
                    <a:lnTo>
                      <a:pt x="219" y="1856"/>
                    </a:lnTo>
                    <a:lnTo>
                      <a:pt x="237" y="1843"/>
                    </a:lnTo>
                    <a:lnTo>
                      <a:pt x="247" y="1836"/>
                    </a:lnTo>
                    <a:lnTo>
                      <a:pt x="258" y="1830"/>
                    </a:lnTo>
                    <a:lnTo>
                      <a:pt x="268" y="1825"/>
                    </a:lnTo>
                    <a:lnTo>
                      <a:pt x="280" y="1821"/>
                    </a:lnTo>
                    <a:lnTo>
                      <a:pt x="291" y="1820"/>
                    </a:lnTo>
                    <a:lnTo>
                      <a:pt x="298" y="1820"/>
                    </a:lnTo>
                    <a:lnTo>
                      <a:pt x="304" y="1821"/>
                    </a:lnTo>
                    <a:lnTo>
                      <a:pt x="304" y="1821"/>
                    </a:lnTo>
                    <a:lnTo>
                      <a:pt x="334" y="1827"/>
                    </a:lnTo>
                    <a:lnTo>
                      <a:pt x="344" y="1828"/>
                    </a:lnTo>
                    <a:lnTo>
                      <a:pt x="353" y="1828"/>
                    </a:lnTo>
                    <a:lnTo>
                      <a:pt x="363" y="1827"/>
                    </a:lnTo>
                    <a:lnTo>
                      <a:pt x="372" y="1824"/>
                    </a:lnTo>
                    <a:lnTo>
                      <a:pt x="399" y="1812"/>
                    </a:lnTo>
                    <a:lnTo>
                      <a:pt x="399" y="1812"/>
                    </a:lnTo>
                    <a:lnTo>
                      <a:pt x="418" y="1803"/>
                    </a:lnTo>
                    <a:lnTo>
                      <a:pt x="431" y="1798"/>
                    </a:lnTo>
                    <a:lnTo>
                      <a:pt x="443" y="1794"/>
                    </a:lnTo>
                    <a:lnTo>
                      <a:pt x="456" y="1792"/>
                    </a:lnTo>
                    <a:lnTo>
                      <a:pt x="467" y="1790"/>
                    </a:lnTo>
                    <a:lnTo>
                      <a:pt x="473" y="1792"/>
                    </a:lnTo>
                    <a:lnTo>
                      <a:pt x="479" y="1793"/>
                    </a:lnTo>
                    <a:lnTo>
                      <a:pt x="482" y="1796"/>
                    </a:lnTo>
                    <a:lnTo>
                      <a:pt x="487" y="1800"/>
                    </a:lnTo>
                    <a:lnTo>
                      <a:pt x="487" y="1800"/>
                    </a:lnTo>
                    <a:lnTo>
                      <a:pt x="500" y="1813"/>
                    </a:lnTo>
                    <a:lnTo>
                      <a:pt x="511" y="1826"/>
                    </a:lnTo>
                    <a:lnTo>
                      <a:pt x="517" y="1831"/>
                    </a:lnTo>
                    <a:lnTo>
                      <a:pt x="524" y="1835"/>
                    </a:lnTo>
                    <a:lnTo>
                      <a:pt x="532" y="1839"/>
                    </a:lnTo>
                    <a:lnTo>
                      <a:pt x="541" y="1841"/>
                    </a:lnTo>
                    <a:lnTo>
                      <a:pt x="541" y="1841"/>
                    </a:lnTo>
                    <a:lnTo>
                      <a:pt x="548" y="1842"/>
                    </a:lnTo>
                    <a:lnTo>
                      <a:pt x="555" y="1840"/>
                    </a:lnTo>
                    <a:lnTo>
                      <a:pt x="566" y="1834"/>
                    </a:lnTo>
                    <a:lnTo>
                      <a:pt x="572" y="1833"/>
                    </a:lnTo>
                    <a:lnTo>
                      <a:pt x="578" y="1833"/>
                    </a:lnTo>
                    <a:lnTo>
                      <a:pt x="581" y="1834"/>
                    </a:lnTo>
                    <a:lnTo>
                      <a:pt x="585" y="1835"/>
                    </a:lnTo>
                    <a:lnTo>
                      <a:pt x="588" y="1839"/>
                    </a:lnTo>
                    <a:lnTo>
                      <a:pt x="592" y="1842"/>
                    </a:lnTo>
                    <a:lnTo>
                      <a:pt x="592" y="1842"/>
                    </a:lnTo>
                    <a:lnTo>
                      <a:pt x="579" y="1842"/>
                    </a:lnTo>
                    <a:lnTo>
                      <a:pt x="571" y="1845"/>
                    </a:lnTo>
                    <a:lnTo>
                      <a:pt x="565" y="1847"/>
                    </a:lnTo>
                    <a:lnTo>
                      <a:pt x="564" y="1848"/>
                    </a:lnTo>
                    <a:lnTo>
                      <a:pt x="564" y="1850"/>
                    </a:lnTo>
                    <a:lnTo>
                      <a:pt x="564" y="1855"/>
                    </a:lnTo>
                    <a:lnTo>
                      <a:pt x="568" y="1859"/>
                    </a:lnTo>
                    <a:lnTo>
                      <a:pt x="571" y="1864"/>
                    </a:lnTo>
                    <a:lnTo>
                      <a:pt x="577" y="1868"/>
                    </a:lnTo>
                    <a:lnTo>
                      <a:pt x="582" y="1871"/>
                    </a:lnTo>
                    <a:lnTo>
                      <a:pt x="588" y="1873"/>
                    </a:lnTo>
                    <a:lnTo>
                      <a:pt x="593" y="1873"/>
                    </a:lnTo>
                    <a:lnTo>
                      <a:pt x="597" y="1872"/>
                    </a:lnTo>
                    <a:lnTo>
                      <a:pt x="599" y="1871"/>
                    </a:lnTo>
                    <a:lnTo>
                      <a:pt x="600" y="1869"/>
                    </a:lnTo>
                    <a:lnTo>
                      <a:pt x="600" y="1864"/>
                    </a:lnTo>
                    <a:lnTo>
                      <a:pt x="597" y="1855"/>
                    </a:lnTo>
                    <a:lnTo>
                      <a:pt x="593" y="1843"/>
                    </a:lnTo>
                    <a:lnTo>
                      <a:pt x="593" y="1843"/>
                    </a:lnTo>
                    <a:lnTo>
                      <a:pt x="595" y="1847"/>
                    </a:lnTo>
                    <a:lnTo>
                      <a:pt x="599" y="1851"/>
                    </a:lnTo>
                    <a:lnTo>
                      <a:pt x="602" y="1859"/>
                    </a:lnTo>
                    <a:lnTo>
                      <a:pt x="603" y="1870"/>
                    </a:lnTo>
                    <a:lnTo>
                      <a:pt x="603" y="1880"/>
                    </a:lnTo>
                    <a:lnTo>
                      <a:pt x="602" y="1891"/>
                    </a:lnTo>
                    <a:lnTo>
                      <a:pt x="600" y="1901"/>
                    </a:lnTo>
                    <a:lnTo>
                      <a:pt x="596" y="1911"/>
                    </a:lnTo>
                    <a:lnTo>
                      <a:pt x="593" y="1919"/>
                    </a:lnTo>
                    <a:lnTo>
                      <a:pt x="593" y="1919"/>
                    </a:lnTo>
                    <a:lnTo>
                      <a:pt x="585" y="1933"/>
                    </a:lnTo>
                    <a:lnTo>
                      <a:pt x="577" y="1947"/>
                    </a:lnTo>
                    <a:lnTo>
                      <a:pt x="574" y="1953"/>
                    </a:lnTo>
                    <a:lnTo>
                      <a:pt x="573" y="1960"/>
                    </a:lnTo>
                    <a:lnTo>
                      <a:pt x="574" y="1967"/>
                    </a:lnTo>
                    <a:lnTo>
                      <a:pt x="579" y="1972"/>
                    </a:lnTo>
                    <a:lnTo>
                      <a:pt x="579" y="1972"/>
                    </a:lnTo>
                    <a:lnTo>
                      <a:pt x="609" y="2003"/>
                    </a:lnTo>
                    <a:lnTo>
                      <a:pt x="624" y="2020"/>
                    </a:lnTo>
                    <a:lnTo>
                      <a:pt x="637" y="2037"/>
                    </a:lnTo>
                    <a:lnTo>
                      <a:pt x="637" y="2037"/>
                    </a:lnTo>
                    <a:lnTo>
                      <a:pt x="647" y="2051"/>
                    </a:lnTo>
                    <a:lnTo>
                      <a:pt x="656" y="2068"/>
                    </a:lnTo>
                    <a:lnTo>
                      <a:pt x="664" y="2087"/>
                    </a:lnTo>
                    <a:lnTo>
                      <a:pt x="672" y="2107"/>
                    </a:lnTo>
                    <a:lnTo>
                      <a:pt x="679" y="2128"/>
                    </a:lnTo>
                    <a:lnTo>
                      <a:pt x="684" y="2148"/>
                    </a:lnTo>
                    <a:lnTo>
                      <a:pt x="687" y="2169"/>
                    </a:lnTo>
                    <a:lnTo>
                      <a:pt x="687" y="2189"/>
                    </a:lnTo>
                    <a:lnTo>
                      <a:pt x="687" y="2189"/>
                    </a:lnTo>
                    <a:lnTo>
                      <a:pt x="687" y="2198"/>
                    </a:lnTo>
                    <a:lnTo>
                      <a:pt x="685" y="2205"/>
                    </a:lnTo>
                    <a:lnTo>
                      <a:pt x="683" y="2212"/>
                    </a:lnTo>
                    <a:lnTo>
                      <a:pt x="680" y="2218"/>
                    </a:lnTo>
                    <a:lnTo>
                      <a:pt x="671" y="2228"/>
                    </a:lnTo>
                    <a:lnTo>
                      <a:pt x="658" y="2241"/>
                    </a:lnTo>
                    <a:lnTo>
                      <a:pt x="658" y="2241"/>
                    </a:lnTo>
                    <a:lnTo>
                      <a:pt x="654" y="2246"/>
                    </a:lnTo>
                    <a:lnTo>
                      <a:pt x="650" y="2252"/>
                    </a:lnTo>
                    <a:lnTo>
                      <a:pt x="648" y="2259"/>
                    </a:lnTo>
                    <a:lnTo>
                      <a:pt x="647" y="2265"/>
                    </a:lnTo>
                    <a:lnTo>
                      <a:pt x="646" y="2279"/>
                    </a:lnTo>
                    <a:lnTo>
                      <a:pt x="645" y="2294"/>
                    </a:lnTo>
                    <a:lnTo>
                      <a:pt x="645" y="2294"/>
                    </a:lnTo>
                    <a:lnTo>
                      <a:pt x="643" y="2310"/>
                    </a:lnTo>
                    <a:lnTo>
                      <a:pt x="643" y="2325"/>
                    </a:lnTo>
                    <a:lnTo>
                      <a:pt x="643" y="2340"/>
                    </a:lnTo>
                    <a:lnTo>
                      <a:pt x="646" y="2352"/>
                    </a:lnTo>
                    <a:lnTo>
                      <a:pt x="649" y="2366"/>
                    </a:lnTo>
                    <a:lnTo>
                      <a:pt x="654" y="2379"/>
                    </a:lnTo>
                    <a:lnTo>
                      <a:pt x="661" y="2393"/>
                    </a:lnTo>
                    <a:lnTo>
                      <a:pt x="669" y="2406"/>
                    </a:lnTo>
                    <a:lnTo>
                      <a:pt x="669" y="2406"/>
                    </a:lnTo>
                    <a:lnTo>
                      <a:pt x="675" y="2414"/>
                    </a:lnTo>
                    <a:lnTo>
                      <a:pt x="678" y="2421"/>
                    </a:lnTo>
                    <a:lnTo>
                      <a:pt x="680" y="2428"/>
                    </a:lnTo>
                    <a:lnTo>
                      <a:pt x="683" y="2435"/>
                    </a:lnTo>
                    <a:lnTo>
                      <a:pt x="684" y="2447"/>
                    </a:lnTo>
                    <a:lnTo>
                      <a:pt x="684" y="2458"/>
                    </a:lnTo>
                    <a:lnTo>
                      <a:pt x="684" y="2470"/>
                    </a:lnTo>
                    <a:lnTo>
                      <a:pt x="684" y="2481"/>
                    </a:lnTo>
                    <a:lnTo>
                      <a:pt x="685" y="2495"/>
                    </a:lnTo>
                    <a:lnTo>
                      <a:pt x="690" y="2509"/>
                    </a:lnTo>
                    <a:lnTo>
                      <a:pt x="690" y="2509"/>
                    </a:lnTo>
                    <a:lnTo>
                      <a:pt x="716" y="2576"/>
                    </a:lnTo>
                    <a:lnTo>
                      <a:pt x="729" y="2609"/>
                    </a:lnTo>
                    <a:lnTo>
                      <a:pt x="741" y="2642"/>
                    </a:lnTo>
                    <a:lnTo>
                      <a:pt x="741" y="2642"/>
                    </a:lnTo>
                    <a:lnTo>
                      <a:pt x="744" y="2648"/>
                    </a:lnTo>
                    <a:lnTo>
                      <a:pt x="749" y="2654"/>
                    </a:lnTo>
                    <a:lnTo>
                      <a:pt x="761" y="2667"/>
                    </a:lnTo>
                    <a:lnTo>
                      <a:pt x="772" y="2678"/>
                    </a:lnTo>
                    <a:lnTo>
                      <a:pt x="776" y="2683"/>
                    </a:lnTo>
                    <a:lnTo>
                      <a:pt x="778" y="2687"/>
                    </a:lnTo>
                    <a:lnTo>
                      <a:pt x="778" y="2687"/>
                    </a:lnTo>
                    <a:lnTo>
                      <a:pt x="778" y="2692"/>
                    </a:lnTo>
                    <a:lnTo>
                      <a:pt x="778" y="2694"/>
                    </a:lnTo>
                    <a:lnTo>
                      <a:pt x="775" y="2699"/>
                    </a:lnTo>
                    <a:lnTo>
                      <a:pt x="770" y="2703"/>
                    </a:lnTo>
                    <a:lnTo>
                      <a:pt x="767" y="2707"/>
                    </a:lnTo>
                    <a:lnTo>
                      <a:pt x="762" y="2710"/>
                    </a:lnTo>
                    <a:lnTo>
                      <a:pt x="759" y="2715"/>
                    </a:lnTo>
                    <a:lnTo>
                      <a:pt x="759" y="2718"/>
                    </a:lnTo>
                    <a:lnTo>
                      <a:pt x="759" y="2722"/>
                    </a:lnTo>
                    <a:lnTo>
                      <a:pt x="760" y="2725"/>
                    </a:lnTo>
                    <a:lnTo>
                      <a:pt x="761" y="2730"/>
                    </a:lnTo>
                    <a:lnTo>
                      <a:pt x="761" y="2730"/>
                    </a:lnTo>
                    <a:lnTo>
                      <a:pt x="768" y="2745"/>
                    </a:lnTo>
                    <a:lnTo>
                      <a:pt x="771" y="2751"/>
                    </a:lnTo>
                    <a:lnTo>
                      <a:pt x="775" y="2754"/>
                    </a:lnTo>
                    <a:lnTo>
                      <a:pt x="779" y="2758"/>
                    </a:lnTo>
                    <a:lnTo>
                      <a:pt x="784" y="2761"/>
                    </a:lnTo>
                    <a:lnTo>
                      <a:pt x="800" y="2767"/>
                    </a:lnTo>
                    <a:lnTo>
                      <a:pt x="800" y="2767"/>
                    </a:lnTo>
                    <a:lnTo>
                      <a:pt x="805" y="2768"/>
                    </a:lnTo>
                    <a:lnTo>
                      <a:pt x="809" y="2769"/>
                    </a:lnTo>
                    <a:lnTo>
                      <a:pt x="813" y="2769"/>
                    </a:lnTo>
                    <a:lnTo>
                      <a:pt x="816" y="2768"/>
                    </a:lnTo>
                    <a:lnTo>
                      <a:pt x="821" y="2766"/>
                    </a:lnTo>
                    <a:lnTo>
                      <a:pt x="825" y="2761"/>
                    </a:lnTo>
                    <a:lnTo>
                      <a:pt x="830" y="2756"/>
                    </a:lnTo>
                    <a:lnTo>
                      <a:pt x="836" y="2752"/>
                    </a:lnTo>
                    <a:lnTo>
                      <a:pt x="842" y="2748"/>
                    </a:lnTo>
                    <a:lnTo>
                      <a:pt x="845" y="2747"/>
                    </a:lnTo>
                    <a:lnTo>
                      <a:pt x="848" y="2747"/>
                    </a:lnTo>
                    <a:lnTo>
                      <a:pt x="848" y="2747"/>
                    </a:lnTo>
                    <a:lnTo>
                      <a:pt x="882" y="2746"/>
                    </a:lnTo>
                    <a:lnTo>
                      <a:pt x="911" y="2743"/>
                    </a:lnTo>
                    <a:lnTo>
                      <a:pt x="938" y="2739"/>
                    </a:lnTo>
                    <a:lnTo>
                      <a:pt x="968" y="2733"/>
                    </a:lnTo>
                    <a:lnTo>
                      <a:pt x="968" y="2733"/>
                    </a:lnTo>
                    <a:lnTo>
                      <a:pt x="975" y="2732"/>
                    </a:lnTo>
                    <a:lnTo>
                      <a:pt x="982" y="2729"/>
                    </a:lnTo>
                    <a:lnTo>
                      <a:pt x="989" y="2724"/>
                    </a:lnTo>
                    <a:lnTo>
                      <a:pt x="996" y="2718"/>
                    </a:lnTo>
                    <a:lnTo>
                      <a:pt x="1011" y="2705"/>
                    </a:lnTo>
                    <a:lnTo>
                      <a:pt x="1026" y="2690"/>
                    </a:lnTo>
                    <a:lnTo>
                      <a:pt x="1053" y="2656"/>
                    </a:lnTo>
                    <a:lnTo>
                      <a:pt x="1066" y="2642"/>
                    </a:lnTo>
                    <a:lnTo>
                      <a:pt x="1076" y="2631"/>
                    </a:lnTo>
                    <a:lnTo>
                      <a:pt x="1076" y="2631"/>
                    </a:lnTo>
                    <a:lnTo>
                      <a:pt x="1092" y="2616"/>
                    </a:lnTo>
                    <a:lnTo>
                      <a:pt x="1097" y="2611"/>
                    </a:lnTo>
                    <a:lnTo>
                      <a:pt x="1101" y="2608"/>
                    </a:lnTo>
                    <a:lnTo>
                      <a:pt x="1103" y="2603"/>
                    </a:lnTo>
                    <a:lnTo>
                      <a:pt x="1103" y="2597"/>
                    </a:lnTo>
                    <a:lnTo>
                      <a:pt x="1103" y="2597"/>
                    </a:lnTo>
                    <a:lnTo>
                      <a:pt x="1101" y="2571"/>
                    </a:lnTo>
                    <a:lnTo>
                      <a:pt x="1101" y="2556"/>
                    </a:lnTo>
                    <a:lnTo>
                      <a:pt x="1101" y="2549"/>
                    </a:lnTo>
                    <a:lnTo>
                      <a:pt x="1102" y="2546"/>
                    </a:lnTo>
                    <a:lnTo>
                      <a:pt x="1102" y="2546"/>
                    </a:lnTo>
                    <a:lnTo>
                      <a:pt x="1106" y="2540"/>
                    </a:lnTo>
                    <a:lnTo>
                      <a:pt x="1113" y="2536"/>
                    </a:lnTo>
                    <a:lnTo>
                      <a:pt x="1120" y="2533"/>
                    </a:lnTo>
                    <a:lnTo>
                      <a:pt x="1128" y="2530"/>
                    </a:lnTo>
                    <a:lnTo>
                      <a:pt x="1143" y="2524"/>
                    </a:lnTo>
                    <a:lnTo>
                      <a:pt x="1149" y="2519"/>
                    </a:lnTo>
                    <a:lnTo>
                      <a:pt x="1155" y="2515"/>
                    </a:lnTo>
                    <a:lnTo>
                      <a:pt x="1155" y="2515"/>
                    </a:lnTo>
                    <a:lnTo>
                      <a:pt x="1157" y="2509"/>
                    </a:lnTo>
                    <a:lnTo>
                      <a:pt x="1159" y="2501"/>
                    </a:lnTo>
                    <a:lnTo>
                      <a:pt x="1163" y="2485"/>
                    </a:lnTo>
                    <a:lnTo>
                      <a:pt x="1163" y="2467"/>
                    </a:lnTo>
                    <a:lnTo>
                      <a:pt x="1163" y="2452"/>
                    </a:lnTo>
                    <a:lnTo>
                      <a:pt x="1163" y="2452"/>
                    </a:lnTo>
                    <a:lnTo>
                      <a:pt x="1164" y="2431"/>
                    </a:lnTo>
                    <a:lnTo>
                      <a:pt x="1166" y="2412"/>
                    </a:lnTo>
                    <a:lnTo>
                      <a:pt x="1168" y="2405"/>
                    </a:lnTo>
                    <a:lnTo>
                      <a:pt x="1171" y="2398"/>
                    </a:lnTo>
                    <a:lnTo>
                      <a:pt x="1173" y="2393"/>
                    </a:lnTo>
                    <a:lnTo>
                      <a:pt x="1177" y="2387"/>
                    </a:lnTo>
                    <a:lnTo>
                      <a:pt x="1186" y="2376"/>
                    </a:lnTo>
                    <a:lnTo>
                      <a:pt x="1197" y="2366"/>
                    </a:lnTo>
                    <a:lnTo>
                      <a:pt x="1229" y="2340"/>
                    </a:lnTo>
                    <a:lnTo>
                      <a:pt x="1229" y="2340"/>
                    </a:lnTo>
                    <a:lnTo>
                      <a:pt x="1239" y="2334"/>
                    </a:lnTo>
                    <a:lnTo>
                      <a:pt x="1250" y="2327"/>
                    </a:lnTo>
                    <a:lnTo>
                      <a:pt x="1263" y="2320"/>
                    </a:lnTo>
                    <a:lnTo>
                      <a:pt x="1276" y="2313"/>
                    </a:lnTo>
                    <a:lnTo>
                      <a:pt x="1287" y="2305"/>
                    </a:lnTo>
                    <a:lnTo>
                      <a:pt x="1292" y="2300"/>
                    </a:lnTo>
                    <a:lnTo>
                      <a:pt x="1296" y="2295"/>
                    </a:lnTo>
                    <a:lnTo>
                      <a:pt x="1300" y="2290"/>
                    </a:lnTo>
                    <a:lnTo>
                      <a:pt x="1302" y="2284"/>
                    </a:lnTo>
                    <a:lnTo>
                      <a:pt x="1303" y="2277"/>
                    </a:lnTo>
                    <a:lnTo>
                      <a:pt x="1303" y="2270"/>
                    </a:lnTo>
                    <a:lnTo>
                      <a:pt x="1303" y="2270"/>
                    </a:lnTo>
                    <a:lnTo>
                      <a:pt x="1302" y="2247"/>
                    </a:lnTo>
                    <a:lnTo>
                      <a:pt x="1302" y="2221"/>
                    </a:lnTo>
                    <a:lnTo>
                      <a:pt x="1301" y="2208"/>
                    </a:lnTo>
                    <a:lnTo>
                      <a:pt x="1300" y="2197"/>
                    </a:lnTo>
                    <a:lnTo>
                      <a:pt x="1297" y="2185"/>
                    </a:lnTo>
                    <a:lnTo>
                      <a:pt x="1293" y="2176"/>
                    </a:lnTo>
                    <a:lnTo>
                      <a:pt x="1293" y="2176"/>
                    </a:lnTo>
                    <a:lnTo>
                      <a:pt x="1279" y="2148"/>
                    </a:lnTo>
                    <a:lnTo>
                      <a:pt x="1272" y="2133"/>
                    </a:lnTo>
                    <a:lnTo>
                      <a:pt x="1265" y="2119"/>
                    </a:lnTo>
                    <a:lnTo>
                      <a:pt x="1262" y="2104"/>
                    </a:lnTo>
                    <a:lnTo>
                      <a:pt x="1259" y="2089"/>
                    </a:lnTo>
                    <a:lnTo>
                      <a:pt x="1259" y="2081"/>
                    </a:lnTo>
                    <a:lnTo>
                      <a:pt x="1261" y="2072"/>
                    </a:lnTo>
                    <a:lnTo>
                      <a:pt x="1262" y="2064"/>
                    </a:lnTo>
                    <a:lnTo>
                      <a:pt x="1264" y="2056"/>
                    </a:lnTo>
                    <a:lnTo>
                      <a:pt x="1264" y="2056"/>
                    </a:lnTo>
                    <a:lnTo>
                      <a:pt x="1270" y="2044"/>
                    </a:lnTo>
                    <a:lnTo>
                      <a:pt x="1276" y="2031"/>
                    </a:lnTo>
                    <a:lnTo>
                      <a:pt x="1282" y="2020"/>
                    </a:lnTo>
                    <a:lnTo>
                      <a:pt x="1289" y="2007"/>
                    </a:lnTo>
                    <a:lnTo>
                      <a:pt x="1307" y="1985"/>
                    </a:lnTo>
                    <a:lnTo>
                      <a:pt x="1325" y="1963"/>
                    </a:lnTo>
                    <a:lnTo>
                      <a:pt x="1346" y="1941"/>
                    </a:lnTo>
                    <a:lnTo>
                      <a:pt x="1366" y="1920"/>
                    </a:lnTo>
                    <a:lnTo>
                      <a:pt x="1387" y="1900"/>
                    </a:lnTo>
                    <a:lnTo>
                      <a:pt x="1407" y="1879"/>
                    </a:lnTo>
                    <a:lnTo>
                      <a:pt x="1407" y="1879"/>
                    </a:lnTo>
                    <a:lnTo>
                      <a:pt x="1452" y="1831"/>
                    </a:lnTo>
                    <a:lnTo>
                      <a:pt x="1471" y="1808"/>
                    </a:lnTo>
                    <a:lnTo>
                      <a:pt x="1489" y="1783"/>
                    </a:lnTo>
                    <a:lnTo>
                      <a:pt x="1497" y="1771"/>
                    </a:lnTo>
                    <a:lnTo>
                      <a:pt x="1503" y="1757"/>
                    </a:lnTo>
                    <a:lnTo>
                      <a:pt x="1510" y="1744"/>
                    </a:lnTo>
                    <a:lnTo>
                      <a:pt x="1516" y="1729"/>
                    </a:lnTo>
                    <a:lnTo>
                      <a:pt x="1521" y="1714"/>
                    </a:lnTo>
                    <a:lnTo>
                      <a:pt x="1524" y="1698"/>
                    </a:lnTo>
                    <a:lnTo>
                      <a:pt x="1527" y="1682"/>
                    </a:lnTo>
                    <a:lnTo>
                      <a:pt x="1528" y="1665"/>
                    </a:lnTo>
                    <a:lnTo>
                      <a:pt x="1528" y="1665"/>
                    </a:lnTo>
                    <a:lnTo>
                      <a:pt x="1528" y="1661"/>
                    </a:lnTo>
                    <a:lnTo>
                      <a:pt x="1525" y="1659"/>
                    </a:lnTo>
                    <a:lnTo>
                      <a:pt x="1523" y="1658"/>
                    </a:lnTo>
                    <a:lnTo>
                      <a:pt x="1520" y="1657"/>
                    </a:lnTo>
                    <a:lnTo>
                      <a:pt x="1509" y="1658"/>
                    </a:lnTo>
                    <a:lnTo>
                      <a:pt x="1495" y="1660"/>
                    </a:lnTo>
                    <a:lnTo>
                      <a:pt x="1463" y="1670"/>
                    </a:lnTo>
                    <a:lnTo>
                      <a:pt x="1426" y="1680"/>
                    </a:lnTo>
                    <a:lnTo>
                      <a:pt x="1408" y="1684"/>
                    </a:lnTo>
                    <a:lnTo>
                      <a:pt x="1391" y="1687"/>
                    </a:lnTo>
                    <a:lnTo>
                      <a:pt x="1376" y="1688"/>
                    </a:lnTo>
                    <a:lnTo>
                      <a:pt x="1369" y="1687"/>
                    </a:lnTo>
                    <a:lnTo>
                      <a:pt x="1363" y="1686"/>
                    </a:lnTo>
                    <a:lnTo>
                      <a:pt x="1357" y="1683"/>
                    </a:lnTo>
                    <a:lnTo>
                      <a:pt x="1353" y="1681"/>
                    </a:lnTo>
                    <a:lnTo>
                      <a:pt x="1349" y="1676"/>
                    </a:lnTo>
                    <a:lnTo>
                      <a:pt x="1347" y="1672"/>
                    </a:lnTo>
                    <a:lnTo>
                      <a:pt x="1345" y="1666"/>
                    </a:lnTo>
                    <a:lnTo>
                      <a:pt x="1345" y="1659"/>
                    </a:lnTo>
                    <a:lnTo>
                      <a:pt x="1346" y="1651"/>
                    </a:lnTo>
                    <a:lnTo>
                      <a:pt x="1348" y="1641"/>
                    </a:lnTo>
                    <a:lnTo>
                      <a:pt x="1348" y="1641"/>
                    </a:lnTo>
                    <a:lnTo>
                      <a:pt x="1353" y="1644"/>
                    </a:lnTo>
                    <a:lnTo>
                      <a:pt x="1360" y="1645"/>
                    </a:lnTo>
                    <a:lnTo>
                      <a:pt x="1368" y="1645"/>
                    </a:lnTo>
                    <a:lnTo>
                      <a:pt x="1376" y="1644"/>
                    </a:lnTo>
                    <a:lnTo>
                      <a:pt x="1385" y="1642"/>
                    </a:lnTo>
                    <a:lnTo>
                      <a:pt x="1394" y="1638"/>
                    </a:lnTo>
                    <a:lnTo>
                      <a:pt x="1415" y="1630"/>
                    </a:lnTo>
                    <a:lnTo>
                      <a:pt x="1436" y="1621"/>
                    </a:lnTo>
                    <a:lnTo>
                      <a:pt x="1455" y="1612"/>
                    </a:lnTo>
                    <a:lnTo>
                      <a:pt x="1472" y="1603"/>
                    </a:lnTo>
                    <a:lnTo>
                      <a:pt x="1485" y="1597"/>
                    </a:lnTo>
                    <a:lnTo>
                      <a:pt x="1485" y="1597"/>
                    </a:lnTo>
                    <a:lnTo>
                      <a:pt x="1553" y="1569"/>
                    </a:lnTo>
                    <a:lnTo>
                      <a:pt x="1553" y="1569"/>
                    </a:lnTo>
                    <a:lnTo>
                      <a:pt x="1554" y="1568"/>
                    </a:lnTo>
                    <a:lnTo>
                      <a:pt x="1555" y="1565"/>
                    </a:lnTo>
                    <a:lnTo>
                      <a:pt x="1555" y="1558"/>
                    </a:lnTo>
                    <a:lnTo>
                      <a:pt x="1554" y="1550"/>
                    </a:lnTo>
                    <a:lnTo>
                      <a:pt x="1555" y="1547"/>
                    </a:lnTo>
                    <a:lnTo>
                      <a:pt x="1556" y="1546"/>
                    </a:lnTo>
                    <a:lnTo>
                      <a:pt x="1556" y="1546"/>
                    </a:lnTo>
                    <a:lnTo>
                      <a:pt x="1560" y="1544"/>
                    </a:lnTo>
                    <a:lnTo>
                      <a:pt x="1566" y="1544"/>
                    </a:lnTo>
                    <a:lnTo>
                      <a:pt x="1576" y="1545"/>
                    </a:lnTo>
                    <a:lnTo>
                      <a:pt x="1588" y="1546"/>
                    </a:lnTo>
                    <a:lnTo>
                      <a:pt x="1592" y="1546"/>
                    </a:lnTo>
                    <a:lnTo>
                      <a:pt x="1597" y="1544"/>
                    </a:lnTo>
                    <a:lnTo>
                      <a:pt x="1597" y="1544"/>
                    </a:lnTo>
                    <a:lnTo>
                      <a:pt x="1601" y="1542"/>
                    </a:lnTo>
                    <a:lnTo>
                      <a:pt x="1607" y="1536"/>
                    </a:lnTo>
                    <a:lnTo>
                      <a:pt x="1620" y="1522"/>
                    </a:lnTo>
                    <a:lnTo>
                      <a:pt x="1634" y="1503"/>
                    </a:lnTo>
                    <a:lnTo>
                      <a:pt x="1649" y="1482"/>
                    </a:lnTo>
                    <a:lnTo>
                      <a:pt x="1661" y="1459"/>
                    </a:lnTo>
                    <a:lnTo>
                      <a:pt x="1673" y="1438"/>
                    </a:lnTo>
                    <a:lnTo>
                      <a:pt x="1681" y="1421"/>
                    </a:lnTo>
                    <a:lnTo>
                      <a:pt x="1683" y="1414"/>
                    </a:lnTo>
                    <a:lnTo>
                      <a:pt x="1683" y="1408"/>
                    </a:lnTo>
                    <a:lnTo>
                      <a:pt x="1683" y="1408"/>
                    </a:lnTo>
                    <a:lnTo>
                      <a:pt x="1682" y="1400"/>
                    </a:lnTo>
                    <a:lnTo>
                      <a:pt x="1678" y="1392"/>
                    </a:lnTo>
                    <a:lnTo>
                      <a:pt x="1674" y="1386"/>
                    </a:lnTo>
                    <a:lnTo>
                      <a:pt x="1667" y="1381"/>
                    </a:lnTo>
                    <a:lnTo>
                      <a:pt x="1660" y="1376"/>
                    </a:lnTo>
                    <a:lnTo>
                      <a:pt x="1651" y="1371"/>
                    </a:lnTo>
                    <a:lnTo>
                      <a:pt x="1634" y="1362"/>
                    </a:lnTo>
                    <a:lnTo>
                      <a:pt x="1626" y="1359"/>
                    </a:lnTo>
                    <a:lnTo>
                      <a:pt x="1617" y="1353"/>
                    </a:lnTo>
                    <a:lnTo>
                      <a:pt x="1612" y="1348"/>
                    </a:lnTo>
                    <a:lnTo>
                      <a:pt x="1606" y="1341"/>
                    </a:lnTo>
                    <a:lnTo>
                      <a:pt x="1603" y="1334"/>
                    </a:lnTo>
                    <a:lnTo>
                      <a:pt x="1601" y="1325"/>
                    </a:lnTo>
                    <a:lnTo>
                      <a:pt x="1604" y="1316"/>
                    </a:lnTo>
                    <a:lnTo>
                      <a:pt x="1607" y="1303"/>
                    </a:lnTo>
                    <a:lnTo>
                      <a:pt x="1607" y="1303"/>
                    </a:lnTo>
                    <a:lnTo>
                      <a:pt x="1593" y="1307"/>
                    </a:lnTo>
                    <a:lnTo>
                      <a:pt x="1588" y="1308"/>
                    </a:lnTo>
                    <a:lnTo>
                      <a:pt x="1582" y="1310"/>
                    </a:lnTo>
                    <a:lnTo>
                      <a:pt x="1576" y="1314"/>
                    </a:lnTo>
                    <a:lnTo>
                      <a:pt x="1571" y="1317"/>
                    </a:lnTo>
                    <a:lnTo>
                      <a:pt x="1568" y="1322"/>
                    </a:lnTo>
                    <a:lnTo>
                      <a:pt x="1563" y="1328"/>
                    </a:lnTo>
                    <a:lnTo>
                      <a:pt x="1563" y="1328"/>
                    </a:lnTo>
                    <a:lnTo>
                      <a:pt x="1556" y="1337"/>
                    </a:lnTo>
                    <a:lnTo>
                      <a:pt x="1551" y="1344"/>
                    </a:lnTo>
                    <a:lnTo>
                      <a:pt x="1546" y="1348"/>
                    </a:lnTo>
                    <a:lnTo>
                      <a:pt x="1540" y="1352"/>
                    </a:lnTo>
                    <a:lnTo>
                      <a:pt x="1535" y="1354"/>
                    </a:lnTo>
                    <a:lnTo>
                      <a:pt x="1527" y="1355"/>
                    </a:lnTo>
                    <a:lnTo>
                      <a:pt x="1506" y="1355"/>
                    </a:lnTo>
                    <a:lnTo>
                      <a:pt x="1506" y="1355"/>
                    </a:lnTo>
                    <a:lnTo>
                      <a:pt x="1508" y="1343"/>
                    </a:lnTo>
                    <a:lnTo>
                      <a:pt x="1509" y="1330"/>
                    </a:lnTo>
                    <a:lnTo>
                      <a:pt x="1510" y="1323"/>
                    </a:lnTo>
                    <a:lnTo>
                      <a:pt x="1509" y="1317"/>
                    </a:lnTo>
                    <a:lnTo>
                      <a:pt x="1507" y="1311"/>
                    </a:lnTo>
                    <a:lnTo>
                      <a:pt x="1502" y="1308"/>
                    </a:lnTo>
                    <a:lnTo>
                      <a:pt x="1502" y="1308"/>
                    </a:lnTo>
                    <a:lnTo>
                      <a:pt x="1499" y="1306"/>
                    </a:lnTo>
                    <a:lnTo>
                      <a:pt x="1495" y="1303"/>
                    </a:lnTo>
                    <a:lnTo>
                      <a:pt x="1492" y="1303"/>
                    </a:lnTo>
                    <a:lnTo>
                      <a:pt x="1489" y="1305"/>
                    </a:lnTo>
                    <a:lnTo>
                      <a:pt x="1485" y="1306"/>
                    </a:lnTo>
                    <a:lnTo>
                      <a:pt x="1483" y="1307"/>
                    </a:lnTo>
                    <a:lnTo>
                      <a:pt x="1478" y="1313"/>
                    </a:lnTo>
                    <a:lnTo>
                      <a:pt x="1475" y="1320"/>
                    </a:lnTo>
                    <a:lnTo>
                      <a:pt x="1472" y="1328"/>
                    </a:lnTo>
                    <a:lnTo>
                      <a:pt x="1472" y="1336"/>
                    </a:lnTo>
                    <a:lnTo>
                      <a:pt x="1472" y="1343"/>
                    </a:lnTo>
                    <a:lnTo>
                      <a:pt x="1472" y="1343"/>
                    </a:lnTo>
                    <a:lnTo>
                      <a:pt x="1457" y="1324"/>
                    </a:lnTo>
                    <a:lnTo>
                      <a:pt x="1442" y="1306"/>
                    </a:lnTo>
                    <a:lnTo>
                      <a:pt x="1434" y="1295"/>
                    </a:lnTo>
                    <a:lnTo>
                      <a:pt x="1428" y="1285"/>
                    </a:lnTo>
                    <a:lnTo>
                      <a:pt x="1422" y="1276"/>
                    </a:lnTo>
                    <a:lnTo>
                      <a:pt x="1417" y="1265"/>
                    </a:lnTo>
                    <a:lnTo>
                      <a:pt x="1417" y="1265"/>
                    </a:lnTo>
                    <a:lnTo>
                      <a:pt x="1415" y="1258"/>
                    </a:lnTo>
                    <a:lnTo>
                      <a:pt x="1414" y="1249"/>
                    </a:lnTo>
                    <a:lnTo>
                      <a:pt x="1413" y="1240"/>
                    </a:lnTo>
                    <a:lnTo>
                      <a:pt x="1414" y="1231"/>
                    </a:lnTo>
                    <a:lnTo>
                      <a:pt x="1415" y="1226"/>
                    </a:lnTo>
                    <a:lnTo>
                      <a:pt x="1417" y="1223"/>
                    </a:lnTo>
                    <a:lnTo>
                      <a:pt x="1419" y="1219"/>
                    </a:lnTo>
                    <a:lnTo>
                      <a:pt x="1422" y="1217"/>
                    </a:lnTo>
                    <a:lnTo>
                      <a:pt x="1426" y="1216"/>
                    </a:lnTo>
                    <a:lnTo>
                      <a:pt x="1430" y="1216"/>
                    </a:lnTo>
                    <a:lnTo>
                      <a:pt x="1436" y="1217"/>
                    </a:lnTo>
                    <a:lnTo>
                      <a:pt x="1442" y="1219"/>
                    </a:lnTo>
                    <a:lnTo>
                      <a:pt x="1442" y="1219"/>
                    </a:lnTo>
                    <a:lnTo>
                      <a:pt x="1448" y="1223"/>
                    </a:lnTo>
                    <a:lnTo>
                      <a:pt x="1452" y="1226"/>
                    </a:lnTo>
                    <a:lnTo>
                      <a:pt x="1455" y="1230"/>
                    </a:lnTo>
                    <a:lnTo>
                      <a:pt x="1456" y="1233"/>
                    </a:lnTo>
                    <a:lnTo>
                      <a:pt x="1457" y="1237"/>
                    </a:lnTo>
                    <a:lnTo>
                      <a:pt x="1459" y="1241"/>
                    </a:lnTo>
                    <a:lnTo>
                      <a:pt x="1459" y="1253"/>
                    </a:lnTo>
                    <a:lnTo>
                      <a:pt x="1459" y="1253"/>
                    </a:lnTo>
                    <a:lnTo>
                      <a:pt x="1460" y="1257"/>
                    </a:lnTo>
                    <a:lnTo>
                      <a:pt x="1462" y="1262"/>
                    </a:lnTo>
                    <a:lnTo>
                      <a:pt x="1467" y="1265"/>
                    </a:lnTo>
                    <a:lnTo>
                      <a:pt x="1471" y="1269"/>
                    </a:lnTo>
                    <a:lnTo>
                      <a:pt x="1483" y="1275"/>
                    </a:lnTo>
                    <a:lnTo>
                      <a:pt x="1492" y="1280"/>
                    </a:lnTo>
                    <a:lnTo>
                      <a:pt x="1492" y="1280"/>
                    </a:lnTo>
                    <a:lnTo>
                      <a:pt x="1515" y="1294"/>
                    </a:lnTo>
                    <a:lnTo>
                      <a:pt x="1527" y="1300"/>
                    </a:lnTo>
                    <a:lnTo>
                      <a:pt x="1538" y="1306"/>
                    </a:lnTo>
                    <a:lnTo>
                      <a:pt x="1550" y="1308"/>
                    </a:lnTo>
                    <a:lnTo>
                      <a:pt x="1555" y="1308"/>
                    </a:lnTo>
                    <a:lnTo>
                      <a:pt x="1561" y="1308"/>
                    </a:lnTo>
                    <a:lnTo>
                      <a:pt x="1567" y="1307"/>
                    </a:lnTo>
                    <a:lnTo>
                      <a:pt x="1573" y="1305"/>
                    </a:lnTo>
                    <a:lnTo>
                      <a:pt x="1578" y="1301"/>
                    </a:lnTo>
                    <a:lnTo>
                      <a:pt x="1584" y="1296"/>
                    </a:lnTo>
                    <a:lnTo>
                      <a:pt x="1584" y="1296"/>
                    </a:lnTo>
                    <a:lnTo>
                      <a:pt x="1588" y="1293"/>
                    </a:lnTo>
                    <a:lnTo>
                      <a:pt x="1591" y="1292"/>
                    </a:lnTo>
                    <a:lnTo>
                      <a:pt x="1594" y="1292"/>
                    </a:lnTo>
                    <a:lnTo>
                      <a:pt x="1598" y="1292"/>
                    </a:lnTo>
                    <a:lnTo>
                      <a:pt x="1604" y="1296"/>
                    </a:lnTo>
                    <a:lnTo>
                      <a:pt x="1611" y="1301"/>
                    </a:lnTo>
                    <a:lnTo>
                      <a:pt x="1617" y="1308"/>
                    </a:lnTo>
                    <a:lnTo>
                      <a:pt x="1624" y="1315"/>
                    </a:lnTo>
                    <a:lnTo>
                      <a:pt x="1632" y="1320"/>
                    </a:lnTo>
                    <a:lnTo>
                      <a:pt x="1636" y="1322"/>
                    </a:lnTo>
                    <a:lnTo>
                      <a:pt x="1640" y="1323"/>
                    </a:lnTo>
                    <a:lnTo>
                      <a:pt x="1640" y="1323"/>
                    </a:lnTo>
                    <a:lnTo>
                      <a:pt x="1667" y="1326"/>
                    </a:lnTo>
                    <a:lnTo>
                      <a:pt x="1692" y="1329"/>
                    </a:lnTo>
                    <a:lnTo>
                      <a:pt x="1716" y="1330"/>
                    </a:lnTo>
                    <a:lnTo>
                      <a:pt x="1742" y="1330"/>
                    </a:lnTo>
                    <a:lnTo>
                      <a:pt x="1742" y="1330"/>
                    </a:lnTo>
                    <a:lnTo>
                      <a:pt x="1749" y="1329"/>
                    </a:lnTo>
                    <a:lnTo>
                      <a:pt x="1758" y="1326"/>
                    </a:lnTo>
                    <a:lnTo>
                      <a:pt x="1777" y="1323"/>
                    </a:lnTo>
                    <a:lnTo>
                      <a:pt x="1787" y="1321"/>
                    </a:lnTo>
                    <a:lnTo>
                      <a:pt x="1796" y="1321"/>
                    </a:lnTo>
                    <a:lnTo>
                      <a:pt x="1804" y="1323"/>
                    </a:lnTo>
                    <a:lnTo>
                      <a:pt x="1809" y="1324"/>
                    </a:lnTo>
                    <a:lnTo>
                      <a:pt x="1811" y="1326"/>
                    </a:lnTo>
                    <a:lnTo>
                      <a:pt x="1811" y="1326"/>
                    </a:lnTo>
                    <a:lnTo>
                      <a:pt x="1832" y="1346"/>
                    </a:lnTo>
                    <a:lnTo>
                      <a:pt x="1842" y="1355"/>
                    </a:lnTo>
                    <a:lnTo>
                      <a:pt x="1851" y="1362"/>
                    </a:lnTo>
                    <a:lnTo>
                      <a:pt x="1862" y="1368"/>
                    </a:lnTo>
                    <a:lnTo>
                      <a:pt x="1867" y="1370"/>
                    </a:lnTo>
                    <a:lnTo>
                      <a:pt x="1873" y="1371"/>
                    </a:lnTo>
                    <a:lnTo>
                      <a:pt x="1879" y="1372"/>
                    </a:lnTo>
                    <a:lnTo>
                      <a:pt x="1886" y="1372"/>
                    </a:lnTo>
                    <a:lnTo>
                      <a:pt x="1891" y="1371"/>
                    </a:lnTo>
                    <a:lnTo>
                      <a:pt x="1900" y="1369"/>
                    </a:lnTo>
                    <a:lnTo>
                      <a:pt x="1900" y="1369"/>
                    </a:lnTo>
                    <a:lnTo>
                      <a:pt x="1889" y="1379"/>
                    </a:lnTo>
                    <a:lnTo>
                      <a:pt x="1882" y="1384"/>
                    </a:lnTo>
                    <a:lnTo>
                      <a:pt x="1873" y="1389"/>
                    </a:lnTo>
                    <a:lnTo>
                      <a:pt x="1873" y="1389"/>
                    </a:lnTo>
                    <a:lnTo>
                      <a:pt x="1882" y="1402"/>
                    </a:lnTo>
                    <a:lnTo>
                      <a:pt x="1891" y="1415"/>
                    </a:lnTo>
                    <a:lnTo>
                      <a:pt x="1903" y="1424"/>
                    </a:lnTo>
                    <a:lnTo>
                      <a:pt x="1909" y="1429"/>
                    </a:lnTo>
                    <a:lnTo>
                      <a:pt x="1914" y="1431"/>
                    </a:lnTo>
                    <a:lnTo>
                      <a:pt x="1920" y="1432"/>
                    </a:lnTo>
                    <a:lnTo>
                      <a:pt x="1926" y="1433"/>
                    </a:lnTo>
                    <a:lnTo>
                      <a:pt x="1932" y="1432"/>
                    </a:lnTo>
                    <a:lnTo>
                      <a:pt x="1936" y="1430"/>
                    </a:lnTo>
                    <a:lnTo>
                      <a:pt x="1942" y="1425"/>
                    </a:lnTo>
                    <a:lnTo>
                      <a:pt x="1947" y="1420"/>
                    </a:lnTo>
                    <a:lnTo>
                      <a:pt x="1951" y="1412"/>
                    </a:lnTo>
                    <a:lnTo>
                      <a:pt x="1956" y="1402"/>
                    </a:lnTo>
                    <a:lnTo>
                      <a:pt x="1956" y="1402"/>
                    </a:lnTo>
                    <a:lnTo>
                      <a:pt x="1958" y="1397"/>
                    </a:lnTo>
                    <a:lnTo>
                      <a:pt x="1959" y="1395"/>
                    </a:lnTo>
                    <a:lnTo>
                      <a:pt x="1961" y="1395"/>
                    </a:lnTo>
                    <a:lnTo>
                      <a:pt x="1962" y="1398"/>
                    </a:lnTo>
                    <a:lnTo>
                      <a:pt x="1963" y="1408"/>
                    </a:lnTo>
                    <a:lnTo>
                      <a:pt x="1963" y="1423"/>
                    </a:lnTo>
                    <a:lnTo>
                      <a:pt x="1962" y="1457"/>
                    </a:lnTo>
                    <a:lnTo>
                      <a:pt x="1962" y="1474"/>
                    </a:lnTo>
                    <a:lnTo>
                      <a:pt x="1962" y="1474"/>
                    </a:lnTo>
                    <a:lnTo>
                      <a:pt x="1990" y="1535"/>
                    </a:lnTo>
                    <a:lnTo>
                      <a:pt x="1990" y="1535"/>
                    </a:lnTo>
                    <a:lnTo>
                      <a:pt x="1992" y="1489"/>
                    </a:lnTo>
                    <a:lnTo>
                      <a:pt x="1992" y="1489"/>
                    </a:lnTo>
                    <a:lnTo>
                      <a:pt x="1990" y="1436"/>
                    </a:lnTo>
                    <a:lnTo>
                      <a:pt x="1989" y="1383"/>
                    </a:lnTo>
                    <a:lnTo>
                      <a:pt x="1986" y="1330"/>
                    </a:lnTo>
                    <a:lnTo>
                      <a:pt x="1981" y="1278"/>
                    </a:lnTo>
                    <a:lnTo>
                      <a:pt x="1977" y="1226"/>
                    </a:lnTo>
                    <a:lnTo>
                      <a:pt x="1970" y="1174"/>
                    </a:lnTo>
                    <a:lnTo>
                      <a:pt x="1962" y="1124"/>
                    </a:lnTo>
                    <a:lnTo>
                      <a:pt x="1954" y="1073"/>
                    </a:lnTo>
                    <a:lnTo>
                      <a:pt x="1943" y="1024"/>
                    </a:lnTo>
                    <a:lnTo>
                      <a:pt x="1933" y="973"/>
                    </a:lnTo>
                    <a:lnTo>
                      <a:pt x="1920" y="923"/>
                    </a:lnTo>
                    <a:lnTo>
                      <a:pt x="1908" y="875"/>
                    </a:lnTo>
                    <a:lnTo>
                      <a:pt x="1893" y="827"/>
                    </a:lnTo>
                    <a:lnTo>
                      <a:pt x="1878" y="778"/>
                    </a:lnTo>
                    <a:lnTo>
                      <a:pt x="1862" y="730"/>
                    </a:lnTo>
                    <a:lnTo>
                      <a:pt x="1844" y="683"/>
                    </a:lnTo>
                    <a:lnTo>
                      <a:pt x="1826" y="637"/>
                    </a:lnTo>
                    <a:lnTo>
                      <a:pt x="1806" y="591"/>
                    </a:lnTo>
                    <a:lnTo>
                      <a:pt x="1786" y="545"/>
                    </a:lnTo>
                    <a:lnTo>
                      <a:pt x="1765" y="500"/>
                    </a:lnTo>
                    <a:lnTo>
                      <a:pt x="1743" y="455"/>
                    </a:lnTo>
                    <a:lnTo>
                      <a:pt x="1719" y="411"/>
                    </a:lnTo>
                    <a:lnTo>
                      <a:pt x="1695" y="369"/>
                    </a:lnTo>
                    <a:lnTo>
                      <a:pt x="1670" y="325"/>
                    </a:lnTo>
                    <a:lnTo>
                      <a:pt x="1644" y="283"/>
                    </a:lnTo>
                    <a:lnTo>
                      <a:pt x="1617" y="242"/>
                    </a:lnTo>
                    <a:lnTo>
                      <a:pt x="1590" y="200"/>
                    </a:lnTo>
                    <a:lnTo>
                      <a:pt x="1561" y="160"/>
                    </a:lnTo>
                    <a:lnTo>
                      <a:pt x="1531" y="121"/>
                    </a:lnTo>
                    <a:lnTo>
                      <a:pt x="1501" y="82"/>
                    </a:lnTo>
                    <a:lnTo>
                      <a:pt x="1470" y="44"/>
                    </a:lnTo>
                    <a:lnTo>
                      <a:pt x="1438" y="6"/>
                    </a:lnTo>
                    <a:lnTo>
                      <a:pt x="1438" y="6"/>
                    </a:lnTo>
                    <a:close/>
                    <a:moveTo>
                      <a:pt x="1139" y="768"/>
                    </a:moveTo>
                    <a:lnTo>
                      <a:pt x="1139" y="768"/>
                    </a:lnTo>
                    <a:lnTo>
                      <a:pt x="1137" y="774"/>
                    </a:lnTo>
                    <a:lnTo>
                      <a:pt x="1135" y="780"/>
                    </a:lnTo>
                    <a:lnTo>
                      <a:pt x="1132" y="785"/>
                    </a:lnTo>
                    <a:lnTo>
                      <a:pt x="1127" y="791"/>
                    </a:lnTo>
                    <a:lnTo>
                      <a:pt x="1117" y="803"/>
                    </a:lnTo>
                    <a:lnTo>
                      <a:pt x="1113" y="809"/>
                    </a:lnTo>
                    <a:lnTo>
                      <a:pt x="1110" y="816"/>
                    </a:lnTo>
                    <a:lnTo>
                      <a:pt x="1110" y="816"/>
                    </a:lnTo>
                    <a:lnTo>
                      <a:pt x="1110" y="813"/>
                    </a:lnTo>
                    <a:lnTo>
                      <a:pt x="1107" y="809"/>
                    </a:lnTo>
                    <a:lnTo>
                      <a:pt x="1106" y="807"/>
                    </a:lnTo>
                    <a:lnTo>
                      <a:pt x="1104" y="806"/>
                    </a:lnTo>
                    <a:lnTo>
                      <a:pt x="1098" y="804"/>
                    </a:lnTo>
                    <a:lnTo>
                      <a:pt x="1091" y="803"/>
                    </a:lnTo>
                    <a:lnTo>
                      <a:pt x="1086" y="803"/>
                    </a:lnTo>
                    <a:lnTo>
                      <a:pt x="1079" y="801"/>
                    </a:lnTo>
                    <a:lnTo>
                      <a:pt x="1074" y="798"/>
                    </a:lnTo>
                    <a:lnTo>
                      <a:pt x="1072" y="796"/>
                    </a:lnTo>
                    <a:lnTo>
                      <a:pt x="1071" y="793"/>
                    </a:lnTo>
                    <a:lnTo>
                      <a:pt x="1071" y="793"/>
                    </a:lnTo>
                    <a:lnTo>
                      <a:pt x="1081" y="794"/>
                    </a:lnTo>
                    <a:lnTo>
                      <a:pt x="1090" y="794"/>
                    </a:lnTo>
                    <a:lnTo>
                      <a:pt x="1099" y="792"/>
                    </a:lnTo>
                    <a:lnTo>
                      <a:pt x="1107" y="790"/>
                    </a:lnTo>
                    <a:lnTo>
                      <a:pt x="1116" y="786"/>
                    </a:lnTo>
                    <a:lnTo>
                      <a:pt x="1124" y="782"/>
                    </a:lnTo>
                    <a:lnTo>
                      <a:pt x="1130" y="775"/>
                    </a:lnTo>
                    <a:lnTo>
                      <a:pt x="1139" y="768"/>
                    </a:lnTo>
                    <a:lnTo>
                      <a:pt x="1139" y="768"/>
                    </a:lnTo>
                    <a:close/>
                    <a:moveTo>
                      <a:pt x="1097" y="913"/>
                    </a:moveTo>
                    <a:lnTo>
                      <a:pt x="1097" y="913"/>
                    </a:lnTo>
                    <a:lnTo>
                      <a:pt x="1086" y="914"/>
                    </a:lnTo>
                    <a:lnTo>
                      <a:pt x="1075" y="915"/>
                    </a:lnTo>
                    <a:lnTo>
                      <a:pt x="1064" y="919"/>
                    </a:lnTo>
                    <a:lnTo>
                      <a:pt x="1052" y="922"/>
                    </a:lnTo>
                    <a:lnTo>
                      <a:pt x="1031" y="930"/>
                    </a:lnTo>
                    <a:lnTo>
                      <a:pt x="1011" y="937"/>
                    </a:lnTo>
                    <a:lnTo>
                      <a:pt x="1002" y="940"/>
                    </a:lnTo>
                    <a:lnTo>
                      <a:pt x="992" y="941"/>
                    </a:lnTo>
                    <a:lnTo>
                      <a:pt x="984" y="940"/>
                    </a:lnTo>
                    <a:lnTo>
                      <a:pt x="977" y="936"/>
                    </a:lnTo>
                    <a:lnTo>
                      <a:pt x="970" y="932"/>
                    </a:lnTo>
                    <a:lnTo>
                      <a:pt x="964" y="923"/>
                    </a:lnTo>
                    <a:lnTo>
                      <a:pt x="959" y="912"/>
                    </a:lnTo>
                    <a:lnTo>
                      <a:pt x="955" y="897"/>
                    </a:lnTo>
                    <a:lnTo>
                      <a:pt x="955" y="897"/>
                    </a:lnTo>
                    <a:lnTo>
                      <a:pt x="954" y="892"/>
                    </a:lnTo>
                    <a:lnTo>
                      <a:pt x="955" y="888"/>
                    </a:lnTo>
                    <a:lnTo>
                      <a:pt x="957" y="884"/>
                    </a:lnTo>
                    <a:lnTo>
                      <a:pt x="959" y="880"/>
                    </a:lnTo>
                    <a:lnTo>
                      <a:pt x="965" y="873"/>
                    </a:lnTo>
                    <a:lnTo>
                      <a:pt x="972" y="866"/>
                    </a:lnTo>
                    <a:lnTo>
                      <a:pt x="979" y="859"/>
                    </a:lnTo>
                    <a:lnTo>
                      <a:pt x="984" y="852"/>
                    </a:lnTo>
                    <a:lnTo>
                      <a:pt x="987" y="849"/>
                    </a:lnTo>
                    <a:lnTo>
                      <a:pt x="988" y="844"/>
                    </a:lnTo>
                    <a:lnTo>
                      <a:pt x="988" y="841"/>
                    </a:lnTo>
                    <a:lnTo>
                      <a:pt x="987" y="836"/>
                    </a:lnTo>
                    <a:lnTo>
                      <a:pt x="987" y="836"/>
                    </a:lnTo>
                    <a:lnTo>
                      <a:pt x="985" y="831"/>
                    </a:lnTo>
                    <a:lnTo>
                      <a:pt x="985" y="827"/>
                    </a:lnTo>
                    <a:lnTo>
                      <a:pt x="987" y="823"/>
                    </a:lnTo>
                    <a:lnTo>
                      <a:pt x="989" y="819"/>
                    </a:lnTo>
                    <a:lnTo>
                      <a:pt x="993" y="811"/>
                    </a:lnTo>
                    <a:lnTo>
                      <a:pt x="1002" y="804"/>
                    </a:lnTo>
                    <a:lnTo>
                      <a:pt x="1010" y="799"/>
                    </a:lnTo>
                    <a:lnTo>
                      <a:pt x="1015" y="798"/>
                    </a:lnTo>
                    <a:lnTo>
                      <a:pt x="1020" y="797"/>
                    </a:lnTo>
                    <a:lnTo>
                      <a:pt x="1025" y="797"/>
                    </a:lnTo>
                    <a:lnTo>
                      <a:pt x="1029" y="798"/>
                    </a:lnTo>
                    <a:lnTo>
                      <a:pt x="1034" y="800"/>
                    </a:lnTo>
                    <a:lnTo>
                      <a:pt x="1038" y="804"/>
                    </a:lnTo>
                    <a:lnTo>
                      <a:pt x="1038" y="804"/>
                    </a:lnTo>
                    <a:lnTo>
                      <a:pt x="1033" y="809"/>
                    </a:lnTo>
                    <a:lnTo>
                      <a:pt x="1029" y="816"/>
                    </a:lnTo>
                    <a:lnTo>
                      <a:pt x="1028" y="824"/>
                    </a:lnTo>
                    <a:lnTo>
                      <a:pt x="1029" y="832"/>
                    </a:lnTo>
                    <a:lnTo>
                      <a:pt x="1031" y="841"/>
                    </a:lnTo>
                    <a:lnTo>
                      <a:pt x="1035" y="847"/>
                    </a:lnTo>
                    <a:lnTo>
                      <a:pt x="1041" y="854"/>
                    </a:lnTo>
                    <a:lnTo>
                      <a:pt x="1048" y="858"/>
                    </a:lnTo>
                    <a:lnTo>
                      <a:pt x="1048" y="858"/>
                    </a:lnTo>
                    <a:lnTo>
                      <a:pt x="1053" y="860"/>
                    </a:lnTo>
                    <a:lnTo>
                      <a:pt x="1058" y="860"/>
                    </a:lnTo>
                    <a:lnTo>
                      <a:pt x="1063" y="860"/>
                    </a:lnTo>
                    <a:lnTo>
                      <a:pt x="1066" y="859"/>
                    </a:lnTo>
                    <a:lnTo>
                      <a:pt x="1069" y="858"/>
                    </a:lnTo>
                    <a:lnTo>
                      <a:pt x="1073" y="856"/>
                    </a:lnTo>
                    <a:lnTo>
                      <a:pt x="1079" y="850"/>
                    </a:lnTo>
                    <a:lnTo>
                      <a:pt x="1083" y="844"/>
                    </a:lnTo>
                    <a:lnTo>
                      <a:pt x="1089" y="838"/>
                    </a:lnTo>
                    <a:lnTo>
                      <a:pt x="1092" y="836"/>
                    </a:lnTo>
                    <a:lnTo>
                      <a:pt x="1096" y="835"/>
                    </a:lnTo>
                    <a:lnTo>
                      <a:pt x="1101" y="832"/>
                    </a:lnTo>
                    <a:lnTo>
                      <a:pt x="1106" y="832"/>
                    </a:lnTo>
                    <a:lnTo>
                      <a:pt x="1106" y="832"/>
                    </a:lnTo>
                    <a:lnTo>
                      <a:pt x="1109" y="841"/>
                    </a:lnTo>
                    <a:lnTo>
                      <a:pt x="1112" y="847"/>
                    </a:lnTo>
                    <a:lnTo>
                      <a:pt x="1117" y="854"/>
                    </a:lnTo>
                    <a:lnTo>
                      <a:pt x="1121" y="859"/>
                    </a:lnTo>
                    <a:lnTo>
                      <a:pt x="1127" y="864"/>
                    </a:lnTo>
                    <a:lnTo>
                      <a:pt x="1134" y="868"/>
                    </a:lnTo>
                    <a:lnTo>
                      <a:pt x="1148" y="875"/>
                    </a:lnTo>
                    <a:lnTo>
                      <a:pt x="1162" y="882"/>
                    </a:lnTo>
                    <a:lnTo>
                      <a:pt x="1177" y="889"/>
                    </a:lnTo>
                    <a:lnTo>
                      <a:pt x="1183" y="892"/>
                    </a:lnTo>
                    <a:lnTo>
                      <a:pt x="1189" y="898"/>
                    </a:lnTo>
                    <a:lnTo>
                      <a:pt x="1196" y="903"/>
                    </a:lnTo>
                    <a:lnTo>
                      <a:pt x="1201" y="910"/>
                    </a:lnTo>
                    <a:lnTo>
                      <a:pt x="1201" y="910"/>
                    </a:lnTo>
                    <a:lnTo>
                      <a:pt x="1206" y="918"/>
                    </a:lnTo>
                    <a:lnTo>
                      <a:pt x="1209" y="923"/>
                    </a:lnTo>
                    <a:lnTo>
                      <a:pt x="1208" y="927"/>
                    </a:lnTo>
                    <a:lnTo>
                      <a:pt x="1208" y="928"/>
                    </a:lnTo>
                    <a:lnTo>
                      <a:pt x="1203" y="932"/>
                    </a:lnTo>
                    <a:lnTo>
                      <a:pt x="1197" y="934"/>
                    </a:lnTo>
                    <a:lnTo>
                      <a:pt x="1190" y="935"/>
                    </a:lnTo>
                    <a:lnTo>
                      <a:pt x="1181" y="935"/>
                    </a:lnTo>
                    <a:lnTo>
                      <a:pt x="1171" y="934"/>
                    </a:lnTo>
                    <a:lnTo>
                      <a:pt x="1149" y="930"/>
                    </a:lnTo>
                    <a:lnTo>
                      <a:pt x="1127" y="925"/>
                    </a:lnTo>
                    <a:lnTo>
                      <a:pt x="1109" y="919"/>
                    </a:lnTo>
                    <a:lnTo>
                      <a:pt x="1097" y="913"/>
                    </a:lnTo>
                    <a:lnTo>
                      <a:pt x="1097" y="913"/>
                    </a:lnTo>
                    <a:close/>
                    <a:moveTo>
                      <a:pt x="1326" y="1618"/>
                    </a:moveTo>
                    <a:lnTo>
                      <a:pt x="1326" y="1618"/>
                    </a:lnTo>
                    <a:lnTo>
                      <a:pt x="1261" y="1569"/>
                    </a:lnTo>
                    <a:lnTo>
                      <a:pt x="1261" y="1569"/>
                    </a:lnTo>
                    <a:lnTo>
                      <a:pt x="1256" y="1565"/>
                    </a:lnTo>
                    <a:lnTo>
                      <a:pt x="1253" y="1558"/>
                    </a:lnTo>
                    <a:lnTo>
                      <a:pt x="1244" y="1541"/>
                    </a:lnTo>
                    <a:lnTo>
                      <a:pt x="1238" y="1521"/>
                    </a:lnTo>
                    <a:lnTo>
                      <a:pt x="1231" y="1507"/>
                    </a:lnTo>
                    <a:lnTo>
                      <a:pt x="1231" y="1507"/>
                    </a:lnTo>
                    <a:lnTo>
                      <a:pt x="1217" y="1482"/>
                    </a:lnTo>
                    <a:lnTo>
                      <a:pt x="1196" y="1445"/>
                    </a:lnTo>
                    <a:lnTo>
                      <a:pt x="1185" y="1428"/>
                    </a:lnTo>
                    <a:lnTo>
                      <a:pt x="1174" y="1414"/>
                    </a:lnTo>
                    <a:lnTo>
                      <a:pt x="1170" y="1408"/>
                    </a:lnTo>
                    <a:lnTo>
                      <a:pt x="1165" y="1405"/>
                    </a:lnTo>
                    <a:lnTo>
                      <a:pt x="1162" y="1402"/>
                    </a:lnTo>
                    <a:lnTo>
                      <a:pt x="1158" y="1404"/>
                    </a:lnTo>
                    <a:lnTo>
                      <a:pt x="1158" y="1404"/>
                    </a:lnTo>
                    <a:lnTo>
                      <a:pt x="1157" y="1391"/>
                    </a:lnTo>
                    <a:lnTo>
                      <a:pt x="1154" y="1378"/>
                    </a:lnTo>
                    <a:lnTo>
                      <a:pt x="1149" y="1367"/>
                    </a:lnTo>
                    <a:lnTo>
                      <a:pt x="1143" y="1356"/>
                    </a:lnTo>
                    <a:lnTo>
                      <a:pt x="1137" y="1346"/>
                    </a:lnTo>
                    <a:lnTo>
                      <a:pt x="1129" y="1336"/>
                    </a:lnTo>
                    <a:lnTo>
                      <a:pt x="1114" y="1316"/>
                    </a:lnTo>
                    <a:lnTo>
                      <a:pt x="1098" y="1298"/>
                    </a:lnTo>
                    <a:lnTo>
                      <a:pt x="1092" y="1287"/>
                    </a:lnTo>
                    <a:lnTo>
                      <a:pt x="1086" y="1278"/>
                    </a:lnTo>
                    <a:lnTo>
                      <a:pt x="1081" y="1267"/>
                    </a:lnTo>
                    <a:lnTo>
                      <a:pt x="1078" y="1256"/>
                    </a:lnTo>
                    <a:lnTo>
                      <a:pt x="1075" y="1245"/>
                    </a:lnTo>
                    <a:lnTo>
                      <a:pt x="1075" y="1232"/>
                    </a:lnTo>
                    <a:lnTo>
                      <a:pt x="1075" y="1232"/>
                    </a:lnTo>
                    <a:lnTo>
                      <a:pt x="1078" y="1237"/>
                    </a:lnTo>
                    <a:lnTo>
                      <a:pt x="1080" y="1242"/>
                    </a:lnTo>
                    <a:lnTo>
                      <a:pt x="1084" y="1256"/>
                    </a:lnTo>
                    <a:lnTo>
                      <a:pt x="1088" y="1270"/>
                    </a:lnTo>
                    <a:lnTo>
                      <a:pt x="1090" y="1276"/>
                    </a:lnTo>
                    <a:lnTo>
                      <a:pt x="1094" y="1282"/>
                    </a:lnTo>
                    <a:lnTo>
                      <a:pt x="1094" y="1282"/>
                    </a:lnTo>
                    <a:lnTo>
                      <a:pt x="1099" y="1285"/>
                    </a:lnTo>
                    <a:lnTo>
                      <a:pt x="1104" y="1287"/>
                    </a:lnTo>
                    <a:lnTo>
                      <a:pt x="1109" y="1287"/>
                    </a:lnTo>
                    <a:lnTo>
                      <a:pt x="1113" y="1286"/>
                    </a:lnTo>
                    <a:lnTo>
                      <a:pt x="1117" y="1286"/>
                    </a:lnTo>
                    <a:lnTo>
                      <a:pt x="1120" y="1285"/>
                    </a:lnTo>
                    <a:lnTo>
                      <a:pt x="1124" y="1286"/>
                    </a:lnTo>
                    <a:lnTo>
                      <a:pt x="1127" y="1290"/>
                    </a:lnTo>
                    <a:lnTo>
                      <a:pt x="1127" y="1290"/>
                    </a:lnTo>
                    <a:lnTo>
                      <a:pt x="1140" y="1303"/>
                    </a:lnTo>
                    <a:lnTo>
                      <a:pt x="1154" y="1317"/>
                    </a:lnTo>
                    <a:lnTo>
                      <a:pt x="1182" y="1348"/>
                    </a:lnTo>
                    <a:lnTo>
                      <a:pt x="1196" y="1363"/>
                    </a:lnTo>
                    <a:lnTo>
                      <a:pt x="1210" y="1379"/>
                    </a:lnTo>
                    <a:lnTo>
                      <a:pt x="1220" y="1395"/>
                    </a:lnTo>
                    <a:lnTo>
                      <a:pt x="1225" y="1404"/>
                    </a:lnTo>
                    <a:lnTo>
                      <a:pt x="1228" y="1412"/>
                    </a:lnTo>
                    <a:lnTo>
                      <a:pt x="1228" y="1412"/>
                    </a:lnTo>
                    <a:lnTo>
                      <a:pt x="1231" y="1417"/>
                    </a:lnTo>
                    <a:lnTo>
                      <a:pt x="1231" y="1424"/>
                    </a:lnTo>
                    <a:lnTo>
                      <a:pt x="1231" y="1436"/>
                    </a:lnTo>
                    <a:lnTo>
                      <a:pt x="1231" y="1442"/>
                    </a:lnTo>
                    <a:lnTo>
                      <a:pt x="1232" y="1448"/>
                    </a:lnTo>
                    <a:lnTo>
                      <a:pt x="1234" y="1454"/>
                    </a:lnTo>
                    <a:lnTo>
                      <a:pt x="1236" y="1461"/>
                    </a:lnTo>
                    <a:lnTo>
                      <a:pt x="1236" y="1461"/>
                    </a:lnTo>
                    <a:lnTo>
                      <a:pt x="1241" y="1466"/>
                    </a:lnTo>
                    <a:lnTo>
                      <a:pt x="1246" y="1469"/>
                    </a:lnTo>
                    <a:lnTo>
                      <a:pt x="1256" y="1475"/>
                    </a:lnTo>
                    <a:lnTo>
                      <a:pt x="1267" y="1482"/>
                    </a:lnTo>
                    <a:lnTo>
                      <a:pt x="1272" y="1485"/>
                    </a:lnTo>
                    <a:lnTo>
                      <a:pt x="1277" y="1491"/>
                    </a:lnTo>
                    <a:lnTo>
                      <a:pt x="1277" y="1491"/>
                    </a:lnTo>
                    <a:lnTo>
                      <a:pt x="1295" y="1520"/>
                    </a:lnTo>
                    <a:lnTo>
                      <a:pt x="1304" y="1535"/>
                    </a:lnTo>
                    <a:lnTo>
                      <a:pt x="1312" y="1551"/>
                    </a:lnTo>
                    <a:lnTo>
                      <a:pt x="1319" y="1567"/>
                    </a:lnTo>
                    <a:lnTo>
                      <a:pt x="1324" y="1583"/>
                    </a:lnTo>
                    <a:lnTo>
                      <a:pt x="1326" y="1591"/>
                    </a:lnTo>
                    <a:lnTo>
                      <a:pt x="1326" y="1600"/>
                    </a:lnTo>
                    <a:lnTo>
                      <a:pt x="1326" y="1608"/>
                    </a:lnTo>
                    <a:lnTo>
                      <a:pt x="1326" y="1618"/>
                    </a:lnTo>
                    <a:lnTo>
                      <a:pt x="1326" y="1618"/>
                    </a:lnTo>
                    <a:close/>
                    <a:moveTo>
                      <a:pt x="1451" y="964"/>
                    </a:moveTo>
                    <a:lnTo>
                      <a:pt x="1451" y="964"/>
                    </a:lnTo>
                    <a:lnTo>
                      <a:pt x="1453" y="967"/>
                    </a:lnTo>
                    <a:lnTo>
                      <a:pt x="1456" y="971"/>
                    </a:lnTo>
                    <a:lnTo>
                      <a:pt x="1467" y="975"/>
                    </a:lnTo>
                    <a:lnTo>
                      <a:pt x="1477" y="980"/>
                    </a:lnTo>
                    <a:lnTo>
                      <a:pt x="1480" y="983"/>
                    </a:lnTo>
                    <a:lnTo>
                      <a:pt x="1483" y="986"/>
                    </a:lnTo>
                    <a:lnTo>
                      <a:pt x="1483" y="986"/>
                    </a:lnTo>
                    <a:lnTo>
                      <a:pt x="1480" y="993"/>
                    </a:lnTo>
                    <a:lnTo>
                      <a:pt x="1477" y="1010"/>
                    </a:lnTo>
                    <a:lnTo>
                      <a:pt x="1474" y="1026"/>
                    </a:lnTo>
                    <a:lnTo>
                      <a:pt x="1472" y="1033"/>
                    </a:lnTo>
                    <a:lnTo>
                      <a:pt x="1472" y="1033"/>
                    </a:lnTo>
                    <a:lnTo>
                      <a:pt x="1468" y="1036"/>
                    </a:lnTo>
                    <a:lnTo>
                      <a:pt x="1463" y="1039"/>
                    </a:lnTo>
                    <a:lnTo>
                      <a:pt x="1457" y="1039"/>
                    </a:lnTo>
                    <a:lnTo>
                      <a:pt x="1453" y="1039"/>
                    </a:lnTo>
                    <a:lnTo>
                      <a:pt x="1442" y="1036"/>
                    </a:lnTo>
                    <a:lnTo>
                      <a:pt x="1431" y="1032"/>
                    </a:lnTo>
                    <a:lnTo>
                      <a:pt x="1421" y="1026"/>
                    </a:lnTo>
                    <a:lnTo>
                      <a:pt x="1410" y="1019"/>
                    </a:lnTo>
                    <a:lnTo>
                      <a:pt x="1395" y="1007"/>
                    </a:lnTo>
                    <a:lnTo>
                      <a:pt x="1395" y="1007"/>
                    </a:lnTo>
                    <a:lnTo>
                      <a:pt x="1391" y="1004"/>
                    </a:lnTo>
                    <a:lnTo>
                      <a:pt x="1388" y="1001"/>
                    </a:lnTo>
                    <a:lnTo>
                      <a:pt x="1386" y="996"/>
                    </a:lnTo>
                    <a:lnTo>
                      <a:pt x="1385" y="993"/>
                    </a:lnTo>
                    <a:lnTo>
                      <a:pt x="1384" y="983"/>
                    </a:lnTo>
                    <a:lnTo>
                      <a:pt x="1385" y="974"/>
                    </a:lnTo>
                    <a:lnTo>
                      <a:pt x="1387" y="971"/>
                    </a:lnTo>
                    <a:lnTo>
                      <a:pt x="1390" y="967"/>
                    </a:lnTo>
                    <a:lnTo>
                      <a:pt x="1393" y="965"/>
                    </a:lnTo>
                    <a:lnTo>
                      <a:pt x="1396" y="963"/>
                    </a:lnTo>
                    <a:lnTo>
                      <a:pt x="1400" y="961"/>
                    </a:lnTo>
                    <a:lnTo>
                      <a:pt x="1406" y="961"/>
                    </a:lnTo>
                    <a:lnTo>
                      <a:pt x="1410" y="963"/>
                    </a:lnTo>
                    <a:lnTo>
                      <a:pt x="1416" y="965"/>
                    </a:lnTo>
                    <a:lnTo>
                      <a:pt x="1416" y="965"/>
                    </a:lnTo>
                    <a:lnTo>
                      <a:pt x="1415" y="955"/>
                    </a:lnTo>
                    <a:lnTo>
                      <a:pt x="1411" y="945"/>
                    </a:lnTo>
                    <a:lnTo>
                      <a:pt x="1406" y="937"/>
                    </a:lnTo>
                    <a:lnTo>
                      <a:pt x="1400" y="929"/>
                    </a:lnTo>
                    <a:lnTo>
                      <a:pt x="1384" y="915"/>
                    </a:lnTo>
                    <a:lnTo>
                      <a:pt x="1369" y="903"/>
                    </a:lnTo>
                    <a:lnTo>
                      <a:pt x="1369" y="903"/>
                    </a:lnTo>
                    <a:lnTo>
                      <a:pt x="1357" y="891"/>
                    </a:lnTo>
                    <a:lnTo>
                      <a:pt x="1349" y="882"/>
                    </a:lnTo>
                    <a:lnTo>
                      <a:pt x="1346" y="877"/>
                    </a:lnTo>
                    <a:lnTo>
                      <a:pt x="1343" y="872"/>
                    </a:lnTo>
                    <a:lnTo>
                      <a:pt x="1342" y="865"/>
                    </a:lnTo>
                    <a:lnTo>
                      <a:pt x="1342" y="857"/>
                    </a:lnTo>
                    <a:lnTo>
                      <a:pt x="1342" y="857"/>
                    </a:lnTo>
                    <a:lnTo>
                      <a:pt x="1341" y="850"/>
                    </a:lnTo>
                    <a:lnTo>
                      <a:pt x="1339" y="844"/>
                    </a:lnTo>
                    <a:lnTo>
                      <a:pt x="1335" y="839"/>
                    </a:lnTo>
                    <a:lnTo>
                      <a:pt x="1332" y="837"/>
                    </a:lnTo>
                    <a:lnTo>
                      <a:pt x="1325" y="831"/>
                    </a:lnTo>
                    <a:lnTo>
                      <a:pt x="1323" y="829"/>
                    </a:lnTo>
                    <a:lnTo>
                      <a:pt x="1323" y="824"/>
                    </a:lnTo>
                    <a:lnTo>
                      <a:pt x="1323" y="824"/>
                    </a:lnTo>
                    <a:lnTo>
                      <a:pt x="1324" y="816"/>
                    </a:lnTo>
                    <a:lnTo>
                      <a:pt x="1327" y="808"/>
                    </a:lnTo>
                    <a:lnTo>
                      <a:pt x="1331" y="799"/>
                    </a:lnTo>
                    <a:lnTo>
                      <a:pt x="1335" y="791"/>
                    </a:lnTo>
                    <a:lnTo>
                      <a:pt x="1340" y="784"/>
                    </a:lnTo>
                    <a:lnTo>
                      <a:pt x="1347" y="777"/>
                    </a:lnTo>
                    <a:lnTo>
                      <a:pt x="1354" y="773"/>
                    </a:lnTo>
                    <a:lnTo>
                      <a:pt x="1361" y="768"/>
                    </a:lnTo>
                    <a:lnTo>
                      <a:pt x="1361" y="768"/>
                    </a:lnTo>
                    <a:lnTo>
                      <a:pt x="1377" y="761"/>
                    </a:lnTo>
                    <a:lnTo>
                      <a:pt x="1390" y="757"/>
                    </a:lnTo>
                    <a:lnTo>
                      <a:pt x="1400" y="755"/>
                    </a:lnTo>
                    <a:lnTo>
                      <a:pt x="1403" y="755"/>
                    </a:lnTo>
                    <a:lnTo>
                      <a:pt x="1408" y="757"/>
                    </a:lnTo>
                    <a:lnTo>
                      <a:pt x="1410" y="758"/>
                    </a:lnTo>
                    <a:lnTo>
                      <a:pt x="1414" y="761"/>
                    </a:lnTo>
                    <a:lnTo>
                      <a:pt x="1415" y="765"/>
                    </a:lnTo>
                    <a:lnTo>
                      <a:pt x="1417" y="769"/>
                    </a:lnTo>
                    <a:lnTo>
                      <a:pt x="1419" y="781"/>
                    </a:lnTo>
                    <a:lnTo>
                      <a:pt x="1421" y="798"/>
                    </a:lnTo>
                    <a:lnTo>
                      <a:pt x="1421" y="798"/>
                    </a:lnTo>
                    <a:lnTo>
                      <a:pt x="1407" y="798"/>
                    </a:lnTo>
                    <a:lnTo>
                      <a:pt x="1401" y="798"/>
                    </a:lnTo>
                    <a:lnTo>
                      <a:pt x="1396" y="799"/>
                    </a:lnTo>
                    <a:lnTo>
                      <a:pt x="1393" y="801"/>
                    </a:lnTo>
                    <a:lnTo>
                      <a:pt x="1390" y="804"/>
                    </a:lnTo>
                    <a:lnTo>
                      <a:pt x="1388" y="806"/>
                    </a:lnTo>
                    <a:lnTo>
                      <a:pt x="1387" y="809"/>
                    </a:lnTo>
                    <a:lnTo>
                      <a:pt x="1386" y="816"/>
                    </a:lnTo>
                    <a:lnTo>
                      <a:pt x="1388" y="826"/>
                    </a:lnTo>
                    <a:lnTo>
                      <a:pt x="1393" y="835"/>
                    </a:lnTo>
                    <a:lnTo>
                      <a:pt x="1398" y="845"/>
                    </a:lnTo>
                    <a:lnTo>
                      <a:pt x="1411" y="866"/>
                    </a:lnTo>
                    <a:lnTo>
                      <a:pt x="1425" y="885"/>
                    </a:lnTo>
                    <a:lnTo>
                      <a:pt x="1436" y="900"/>
                    </a:lnTo>
                    <a:lnTo>
                      <a:pt x="1439" y="906"/>
                    </a:lnTo>
                    <a:lnTo>
                      <a:pt x="1440" y="910"/>
                    </a:lnTo>
                    <a:lnTo>
                      <a:pt x="1440" y="910"/>
                    </a:lnTo>
                    <a:lnTo>
                      <a:pt x="1447" y="906"/>
                    </a:lnTo>
                    <a:lnTo>
                      <a:pt x="1454" y="902"/>
                    </a:lnTo>
                    <a:lnTo>
                      <a:pt x="1460" y="898"/>
                    </a:lnTo>
                    <a:lnTo>
                      <a:pt x="1467" y="896"/>
                    </a:lnTo>
                    <a:lnTo>
                      <a:pt x="1472" y="895"/>
                    </a:lnTo>
                    <a:lnTo>
                      <a:pt x="1475" y="895"/>
                    </a:lnTo>
                    <a:lnTo>
                      <a:pt x="1477" y="895"/>
                    </a:lnTo>
                    <a:lnTo>
                      <a:pt x="1479" y="897"/>
                    </a:lnTo>
                    <a:lnTo>
                      <a:pt x="1482" y="899"/>
                    </a:lnTo>
                    <a:lnTo>
                      <a:pt x="1486" y="906"/>
                    </a:lnTo>
                    <a:lnTo>
                      <a:pt x="1486" y="906"/>
                    </a:lnTo>
                    <a:lnTo>
                      <a:pt x="1486" y="913"/>
                    </a:lnTo>
                    <a:lnTo>
                      <a:pt x="1485" y="919"/>
                    </a:lnTo>
                    <a:lnTo>
                      <a:pt x="1482" y="922"/>
                    </a:lnTo>
                    <a:lnTo>
                      <a:pt x="1479" y="926"/>
                    </a:lnTo>
                    <a:lnTo>
                      <a:pt x="1476" y="927"/>
                    </a:lnTo>
                    <a:lnTo>
                      <a:pt x="1471" y="928"/>
                    </a:lnTo>
                    <a:lnTo>
                      <a:pt x="1463" y="930"/>
                    </a:lnTo>
                    <a:lnTo>
                      <a:pt x="1455" y="933"/>
                    </a:lnTo>
                    <a:lnTo>
                      <a:pt x="1452" y="935"/>
                    </a:lnTo>
                    <a:lnTo>
                      <a:pt x="1449" y="937"/>
                    </a:lnTo>
                    <a:lnTo>
                      <a:pt x="1448" y="942"/>
                    </a:lnTo>
                    <a:lnTo>
                      <a:pt x="1447" y="948"/>
                    </a:lnTo>
                    <a:lnTo>
                      <a:pt x="1448" y="955"/>
                    </a:lnTo>
                    <a:lnTo>
                      <a:pt x="1451" y="964"/>
                    </a:lnTo>
                    <a:lnTo>
                      <a:pt x="1451" y="9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53" name="Freeform 368">
                <a:extLst>
                  <a:ext uri="{FF2B5EF4-FFF2-40B4-BE49-F238E27FC236}">
                    <a16:creationId xmlns:a16="http://schemas.microsoft.com/office/drawing/2014/main" id="{3CA1E444-2C3B-40C9-97E6-717653975BED}"/>
                  </a:ext>
                </a:extLst>
              </p:cNvPr>
              <p:cNvSpPr>
                <a:spLocks/>
              </p:cNvSpPr>
              <p:nvPr/>
            </p:nvSpPr>
            <p:spPr bwMode="auto">
              <a:xfrm>
                <a:off x="3143250" y="481013"/>
                <a:ext cx="11113" cy="11113"/>
              </a:xfrm>
              <a:custGeom>
                <a:avLst/>
                <a:gdLst>
                  <a:gd name="T0" fmla="*/ 40 w 47"/>
                  <a:gd name="T1" fmla="*/ 51 h 51"/>
                  <a:gd name="T2" fmla="*/ 40 w 47"/>
                  <a:gd name="T3" fmla="*/ 51 h 51"/>
                  <a:gd name="T4" fmla="*/ 45 w 47"/>
                  <a:gd name="T5" fmla="*/ 41 h 51"/>
                  <a:gd name="T6" fmla="*/ 47 w 47"/>
                  <a:gd name="T7" fmla="*/ 30 h 51"/>
                  <a:gd name="T8" fmla="*/ 46 w 47"/>
                  <a:gd name="T9" fmla="*/ 20 h 51"/>
                  <a:gd name="T10" fmla="*/ 43 w 47"/>
                  <a:gd name="T11" fmla="*/ 12 h 51"/>
                  <a:gd name="T12" fmla="*/ 41 w 47"/>
                  <a:gd name="T13" fmla="*/ 9 h 51"/>
                  <a:gd name="T14" fmla="*/ 39 w 47"/>
                  <a:gd name="T15" fmla="*/ 5 h 51"/>
                  <a:gd name="T16" fmla="*/ 35 w 47"/>
                  <a:gd name="T17" fmla="*/ 3 h 51"/>
                  <a:gd name="T18" fmla="*/ 32 w 47"/>
                  <a:gd name="T19" fmla="*/ 0 h 51"/>
                  <a:gd name="T20" fmla="*/ 27 w 47"/>
                  <a:gd name="T21" fmla="*/ 0 h 51"/>
                  <a:gd name="T22" fmla="*/ 23 w 47"/>
                  <a:gd name="T23" fmla="*/ 0 h 51"/>
                  <a:gd name="T24" fmla="*/ 18 w 47"/>
                  <a:gd name="T25" fmla="*/ 2 h 51"/>
                  <a:gd name="T26" fmla="*/ 12 w 47"/>
                  <a:gd name="T27" fmla="*/ 3 h 51"/>
                  <a:gd name="T28" fmla="*/ 12 w 47"/>
                  <a:gd name="T29" fmla="*/ 3 h 51"/>
                  <a:gd name="T30" fmla="*/ 7 w 47"/>
                  <a:gd name="T31" fmla="*/ 6 h 51"/>
                  <a:gd name="T32" fmla="*/ 3 w 47"/>
                  <a:gd name="T33" fmla="*/ 9 h 51"/>
                  <a:gd name="T34" fmla="*/ 1 w 47"/>
                  <a:gd name="T35" fmla="*/ 13 h 51"/>
                  <a:gd name="T36" fmla="*/ 0 w 47"/>
                  <a:gd name="T37" fmla="*/ 17 h 51"/>
                  <a:gd name="T38" fmla="*/ 0 w 47"/>
                  <a:gd name="T39" fmla="*/ 21 h 51"/>
                  <a:gd name="T40" fmla="*/ 1 w 47"/>
                  <a:gd name="T41" fmla="*/ 26 h 51"/>
                  <a:gd name="T42" fmla="*/ 3 w 47"/>
                  <a:gd name="T43" fmla="*/ 29 h 51"/>
                  <a:gd name="T44" fmla="*/ 5 w 47"/>
                  <a:gd name="T45" fmla="*/ 34 h 51"/>
                  <a:gd name="T46" fmla="*/ 12 w 47"/>
                  <a:gd name="T47" fmla="*/ 42 h 51"/>
                  <a:gd name="T48" fmla="*/ 20 w 47"/>
                  <a:gd name="T49" fmla="*/ 48 h 51"/>
                  <a:gd name="T50" fmla="*/ 25 w 47"/>
                  <a:gd name="T51" fmla="*/ 50 h 51"/>
                  <a:gd name="T52" fmla="*/ 30 w 47"/>
                  <a:gd name="T53" fmla="*/ 51 h 51"/>
                  <a:gd name="T54" fmla="*/ 35 w 47"/>
                  <a:gd name="T55" fmla="*/ 51 h 51"/>
                  <a:gd name="T56" fmla="*/ 40 w 47"/>
                  <a:gd name="T57" fmla="*/ 51 h 51"/>
                  <a:gd name="T58" fmla="*/ 40 w 47"/>
                  <a:gd name="T5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7" h="51">
                    <a:moveTo>
                      <a:pt x="40" y="51"/>
                    </a:moveTo>
                    <a:lnTo>
                      <a:pt x="40" y="51"/>
                    </a:lnTo>
                    <a:lnTo>
                      <a:pt x="45" y="41"/>
                    </a:lnTo>
                    <a:lnTo>
                      <a:pt x="47" y="30"/>
                    </a:lnTo>
                    <a:lnTo>
                      <a:pt x="46" y="20"/>
                    </a:lnTo>
                    <a:lnTo>
                      <a:pt x="43" y="12"/>
                    </a:lnTo>
                    <a:lnTo>
                      <a:pt x="41" y="9"/>
                    </a:lnTo>
                    <a:lnTo>
                      <a:pt x="39" y="5"/>
                    </a:lnTo>
                    <a:lnTo>
                      <a:pt x="35" y="3"/>
                    </a:lnTo>
                    <a:lnTo>
                      <a:pt x="32" y="0"/>
                    </a:lnTo>
                    <a:lnTo>
                      <a:pt x="27" y="0"/>
                    </a:lnTo>
                    <a:lnTo>
                      <a:pt x="23" y="0"/>
                    </a:lnTo>
                    <a:lnTo>
                      <a:pt x="18" y="2"/>
                    </a:lnTo>
                    <a:lnTo>
                      <a:pt x="12" y="3"/>
                    </a:lnTo>
                    <a:lnTo>
                      <a:pt x="12" y="3"/>
                    </a:lnTo>
                    <a:lnTo>
                      <a:pt x="7" y="6"/>
                    </a:lnTo>
                    <a:lnTo>
                      <a:pt x="3" y="9"/>
                    </a:lnTo>
                    <a:lnTo>
                      <a:pt x="1" y="13"/>
                    </a:lnTo>
                    <a:lnTo>
                      <a:pt x="0" y="17"/>
                    </a:lnTo>
                    <a:lnTo>
                      <a:pt x="0" y="21"/>
                    </a:lnTo>
                    <a:lnTo>
                      <a:pt x="1" y="26"/>
                    </a:lnTo>
                    <a:lnTo>
                      <a:pt x="3" y="29"/>
                    </a:lnTo>
                    <a:lnTo>
                      <a:pt x="5" y="34"/>
                    </a:lnTo>
                    <a:lnTo>
                      <a:pt x="12" y="42"/>
                    </a:lnTo>
                    <a:lnTo>
                      <a:pt x="20" y="48"/>
                    </a:lnTo>
                    <a:lnTo>
                      <a:pt x="25" y="50"/>
                    </a:lnTo>
                    <a:lnTo>
                      <a:pt x="30" y="51"/>
                    </a:lnTo>
                    <a:lnTo>
                      <a:pt x="35" y="51"/>
                    </a:lnTo>
                    <a:lnTo>
                      <a:pt x="40" y="51"/>
                    </a:lnTo>
                    <a:lnTo>
                      <a:pt x="40" y="51"/>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54" name="Freeform 369">
                <a:extLst>
                  <a:ext uri="{FF2B5EF4-FFF2-40B4-BE49-F238E27FC236}">
                    <a16:creationId xmlns:a16="http://schemas.microsoft.com/office/drawing/2014/main" id="{05399109-F848-456F-8EDC-67A8899FF522}"/>
                  </a:ext>
                </a:extLst>
              </p:cNvPr>
              <p:cNvSpPr>
                <a:spLocks/>
              </p:cNvSpPr>
              <p:nvPr/>
            </p:nvSpPr>
            <p:spPr bwMode="auto">
              <a:xfrm>
                <a:off x="3028950" y="817563"/>
                <a:ext cx="11113" cy="12700"/>
              </a:xfrm>
              <a:custGeom>
                <a:avLst/>
                <a:gdLst>
                  <a:gd name="T0" fmla="*/ 37 w 55"/>
                  <a:gd name="T1" fmla="*/ 53 h 53"/>
                  <a:gd name="T2" fmla="*/ 37 w 55"/>
                  <a:gd name="T3" fmla="*/ 53 h 53"/>
                  <a:gd name="T4" fmla="*/ 46 w 55"/>
                  <a:gd name="T5" fmla="*/ 45 h 53"/>
                  <a:gd name="T6" fmla="*/ 52 w 55"/>
                  <a:gd name="T7" fmla="*/ 42 h 53"/>
                  <a:gd name="T8" fmla="*/ 55 w 55"/>
                  <a:gd name="T9" fmla="*/ 37 h 53"/>
                  <a:gd name="T10" fmla="*/ 55 w 55"/>
                  <a:gd name="T11" fmla="*/ 37 h 53"/>
                  <a:gd name="T12" fmla="*/ 51 w 55"/>
                  <a:gd name="T13" fmla="*/ 29 h 53"/>
                  <a:gd name="T14" fmla="*/ 46 w 55"/>
                  <a:gd name="T15" fmla="*/ 22 h 53"/>
                  <a:gd name="T16" fmla="*/ 36 w 55"/>
                  <a:gd name="T17" fmla="*/ 8 h 53"/>
                  <a:gd name="T18" fmla="*/ 36 w 55"/>
                  <a:gd name="T19" fmla="*/ 8 h 53"/>
                  <a:gd name="T20" fmla="*/ 31 w 55"/>
                  <a:gd name="T21" fmla="*/ 14 h 53"/>
                  <a:gd name="T22" fmla="*/ 31 w 55"/>
                  <a:gd name="T23" fmla="*/ 14 h 53"/>
                  <a:gd name="T24" fmla="*/ 25 w 55"/>
                  <a:gd name="T25" fmla="*/ 7 h 53"/>
                  <a:gd name="T26" fmla="*/ 19 w 55"/>
                  <a:gd name="T27" fmla="*/ 0 h 53"/>
                  <a:gd name="T28" fmla="*/ 19 w 55"/>
                  <a:gd name="T29" fmla="*/ 0 h 53"/>
                  <a:gd name="T30" fmla="*/ 12 w 55"/>
                  <a:gd name="T31" fmla="*/ 2 h 53"/>
                  <a:gd name="T32" fmla="*/ 6 w 55"/>
                  <a:gd name="T33" fmla="*/ 5 h 53"/>
                  <a:gd name="T34" fmla="*/ 2 w 55"/>
                  <a:gd name="T35" fmla="*/ 7 h 53"/>
                  <a:gd name="T36" fmla="*/ 0 w 55"/>
                  <a:gd name="T37" fmla="*/ 10 h 53"/>
                  <a:gd name="T38" fmla="*/ 0 w 55"/>
                  <a:gd name="T39" fmla="*/ 15 h 53"/>
                  <a:gd name="T40" fmla="*/ 1 w 55"/>
                  <a:gd name="T41" fmla="*/ 20 h 53"/>
                  <a:gd name="T42" fmla="*/ 4 w 55"/>
                  <a:gd name="T43" fmla="*/ 24 h 53"/>
                  <a:gd name="T44" fmla="*/ 7 w 55"/>
                  <a:gd name="T45" fmla="*/ 30 h 53"/>
                  <a:gd name="T46" fmla="*/ 7 w 55"/>
                  <a:gd name="T47" fmla="*/ 30 h 53"/>
                  <a:gd name="T48" fmla="*/ 13 w 55"/>
                  <a:gd name="T49" fmla="*/ 28 h 53"/>
                  <a:gd name="T50" fmla="*/ 19 w 55"/>
                  <a:gd name="T51" fmla="*/ 24 h 53"/>
                  <a:gd name="T52" fmla="*/ 30 w 55"/>
                  <a:gd name="T53" fmla="*/ 16 h 53"/>
                  <a:gd name="T54" fmla="*/ 30 w 55"/>
                  <a:gd name="T55" fmla="*/ 16 h 53"/>
                  <a:gd name="T56" fmla="*/ 28 w 55"/>
                  <a:gd name="T57" fmla="*/ 21 h 53"/>
                  <a:gd name="T58" fmla="*/ 25 w 55"/>
                  <a:gd name="T59" fmla="*/ 27 h 53"/>
                  <a:gd name="T60" fmla="*/ 25 w 55"/>
                  <a:gd name="T61" fmla="*/ 31 h 53"/>
                  <a:gd name="T62" fmla="*/ 25 w 55"/>
                  <a:gd name="T63" fmla="*/ 36 h 53"/>
                  <a:gd name="T64" fmla="*/ 27 w 55"/>
                  <a:gd name="T65" fmla="*/ 40 h 53"/>
                  <a:gd name="T66" fmla="*/ 29 w 55"/>
                  <a:gd name="T67" fmla="*/ 44 h 53"/>
                  <a:gd name="T68" fmla="*/ 32 w 55"/>
                  <a:gd name="T69" fmla="*/ 48 h 53"/>
                  <a:gd name="T70" fmla="*/ 37 w 55"/>
                  <a:gd name="T71" fmla="*/ 53 h 53"/>
                  <a:gd name="T72" fmla="*/ 37 w 55"/>
                  <a:gd name="T7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3">
                    <a:moveTo>
                      <a:pt x="37" y="53"/>
                    </a:moveTo>
                    <a:lnTo>
                      <a:pt x="37" y="53"/>
                    </a:lnTo>
                    <a:lnTo>
                      <a:pt x="46" y="45"/>
                    </a:lnTo>
                    <a:lnTo>
                      <a:pt x="52" y="42"/>
                    </a:lnTo>
                    <a:lnTo>
                      <a:pt x="55" y="37"/>
                    </a:lnTo>
                    <a:lnTo>
                      <a:pt x="55" y="37"/>
                    </a:lnTo>
                    <a:lnTo>
                      <a:pt x="51" y="29"/>
                    </a:lnTo>
                    <a:lnTo>
                      <a:pt x="46" y="22"/>
                    </a:lnTo>
                    <a:lnTo>
                      <a:pt x="36" y="8"/>
                    </a:lnTo>
                    <a:lnTo>
                      <a:pt x="36" y="8"/>
                    </a:lnTo>
                    <a:lnTo>
                      <a:pt x="31" y="14"/>
                    </a:lnTo>
                    <a:lnTo>
                      <a:pt x="31" y="14"/>
                    </a:lnTo>
                    <a:lnTo>
                      <a:pt x="25" y="7"/>
                    </a:lnTo>
                    <a:lnTo>
                      <a:pt x="19" y="0"/>
                    </a:lnTo>
                    <a:lnTo>
                      <a:pt x="19" y="0"/>
                    </a:lnTo>
                    <a:lnTo>
                      <a:pt x="12" y="2"/>
                    </a:lnTo>
                    <a:lnTo>
                      <a:pt x="6" y="5"/>
                    </a:lnTo>
                    <a:lnTo>
                      <a:pt x="2" y="7"/>
                    </a:lnTo>
                    <a:lnTo>
                      <a:pt x="0" y="10"/>
                    </a:lnTo>
                    <a:lnTo>
                      <a:pt x="0" y="15"/>
                    </a:lnTo>
                    <a:lnTo>
                      <a:pt x="1" y="20"/>
                    </a:lnTo>
                    <a:lnTo>
                      <a:pt x="4" y="24"/>
                    </a:lnTo>
                    <a:lnTo>
                      <a:pt x="7" y="30"/>
                    </a:lnTo>
                    <a:lnTo>
                      <a:pt x="7" y="30"/>
                    </a:lnTo>
                    <a:lnTo>
                      <a:pt x="13" y="28"/>
                    </a:lnTo>
                    <a:lnTo>
                      <a:pt x="19" y="24"/>
                    </a:lnTo>
                    <a:lnTo>
                      <a:pt x="30" y="16"/>
                    </a:lnTo>
                    <a:lnTo>
                      <a:pt x="30" y="16"/>
                    </a:lnTo>
                    <a:lnTo>
                      <a:pt x="28" y="21"/>
                    </a:lnTo>
                    <a:lnTo>
                      <a:pt x="25" y="27"/>
                    </a:lnTo>
                    <a:lnTo>
                      <a:pt x="25" y="31"/>
                    </a:lnTo>
                    <a:lnTo>
                      <a:pt x="25" y="36"/>
                    </a:lnTo>
                    <a:lnTo>
                      <a:pt x="27" y="40"/>
                    </a:lnTo>
                    <a:lnTo>
                      <a:pt x="29" y="44"/>
                    </a:lnTo>
                    <a:lnTo>
                      <a:pt x="32" y="48"/>
                    </a:lnTo>
                    <a:lnTo>
                      <a:pt x="37" y="53"/>
                    </a:lnTo>
                    <a:lnTo>
                      <a:pt x="37" y="53"/>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55" name="Freeform 370">
                <a:extLst>
                  <a:ext uri="{FF2B5EF4-FFF2-40B4-BE49-F238E27FC236}">
                    <a16:creationId xmlns:a16="http://schemas.microsoft.com/office/drawing/2014/main" id="{02635647-2B4D-4145-A71E-86B48C9DA7D9}"/>
                  </a:ext>
                </a:extLst>
              </p:cNvPr>
              <p:cNvSpPr>
                <a:spLocks/>
              </p:cNvSpPr>
              <p:nvPr/>
            </p:nvSpPr>
            <p:spPr bwMode="auto">
              <a:xfrm>
                <a:off x="3035300" y="830263"/>
                <a:ext cx="11113" cy="25400"/>
              </a:xfrm>
              <a:custGeom>
                <a:avLst/>
                <a:gdLst>
                  <a:gd name="T0" fmla="*/ 27 w 49"/>
                  <a:gd name="T1" fmla="*/ 33 h 115"/>
                  <a:gd name="T2" fmla="*/ 27 w 49"/>
                  <a:gd name="T3" fmla="*/ 33 h 115"/>
                  <a:gd name="T4" fmla="*/ 43 w 49"/>
                  <a:gd name="T5" fmla="*/ 29 h 115"/>
                  <a:gd name="T6" fmla="*/ 43 w 49"/>
                  <a:gd name="T7" fmla="*/ 29 h 115"/>
                  <a:gd name="T8" fmla="*/ 41 w 49"/>
                  <a:gd name="T9" fmla="*/ 22 h 115"/>
                  <a:gd name="T10" fmla="*/ 36 w 49"/>
                  <a:gd name="T11" fmla="*/ 14 h 115"/>
                  <a:gd name="T12" fmla="*/ 32 w 49"/>
                  <a:gd name="T13" fmla="*/ 6 h 115"/>
                  <a:gd name="T14" fmla="*/ 27 w 49"/>
                  <a:gd name="T15" fmla="*/ 0 h 115"/>
                  <a:gd name="T16" fmla="*/ 27 w 49"/>
                  <a:gd name="T17" fmla="*/ 0 h 115"/>
                  <a:gd name="T18" fmla="*/ 24 w 49"/>
                  <a:gd name="T19" fmla="*/ 2 h 115"/>
                  <a:gd name="T20" fmla="*/ 21 w 49"/>
                  <a:gd name="T21" fmla="*/ 4 h 115"/>
                  <a:gd name="T22" fmla="*/ 18 w 49"/>
                  <a:gd name="T23" fmla="*/ 12 h 115"/>
                  <a:gd name="T24" fmla="*/ 16 w 49"/>
                  <a:gd name="T25" fmla="*/ 22 h 115"/>
                  <a:gd name="T26" fmla="*/ 16 w 49"/>
                  <a:gd name="T27" fmla="*/ 31 h 115"/>
                  <a:gd name="T28" fmla="*/ 16 w 49"/>
                  <a:gd name="T29" fmla="*/ 41 h 115"/>
                  <a:gd name="T30" fmla="*/ 18 w 49"/>
                  <a:gd name="T31" fmla="*/ 50 h 115"/>
                  <a:gd name="T32" fmla="*/ 20 w 49"/>
                  <a:gd name="T33" fmla="*/ 58 h 115"/>
                  <a:gd name="T34" fmla="*/ 24 w 49"/>
                  <a:gd name="T35" fmla="*/ 64 h 115"/>
                  <a:gd name="T36" fmla="*/ 24 w 49"/>
                  <a:gd name="T37" fmla="*/ 64 h 115"/>
                  <a:gd name="T38" fmla="*/ 14 w 49"/>
                  <a:gd name="T39" fmla="*/ 71 h 115"/>
                  <a:gd name="T40" fmla="*/ 12 w 49"/>
                  <a:gd name="T41" fmla="*/ 73 h 115"/>
                  <a:gd name="T42" fmla="*/ 12 w 49"/>
                  <a:gd name="T43" fmla="*/ 76 h 115"/>
                  <a:gd name="T44" fmla="*/ 12 w 49"/>
                  <a:gd name="T45" fmla="*/ 79 h 115"/>
                  <a:gd name="T46" fmla="*/ 14 w 49"/>
                  <a:gd name="T47" fmla="*/ 83 h 115"/>
                  <a:gd name="T48" fmla="*/ 19 w 49"/>
                  <a:gd name="T49" fmla="*/ 93 h 115"/>
                  <a:gd name="T50" fmla="*/ 19 w 49"/>
                  <a:gd name="T51" fmla="*/ 93 h 115"/>
                  <a:gd name="T52" fmla="*/ 10 w 49"/>
                  <a:gd name="T53" fmla="*/ 93 h 115"/>
                  <a:gd name="T54" fmla="*/ 4 w 49"/>
                  <a:gd name="T55" fmla="*/ 94 h 115"/>
                  <a:gd name="T56" fmla="*/ 1 w 49"/>
                  <a:gd name="T57" fmla="*/ 96 h 115"/>
                  <a:gd name="T58" fmla="*/ 0 w 49"/>
                  <a:gd name="T59" fmla="*/ 99 h 115"/>
                  <a:gd name="T60" fmla="*/ 0 w 49"/>
                  <a:gd name="T61" fmla="*/ 102 h 115"/>
                  <a:gd name="T62" fmla="*/ 2 w 49"/>
                  <a:gd name="T63" fmla="*/ 105 h 115"/>
                  <a:gd name="T64" fmla="*/ 5 w 49"/>
                  <a:gd name="T65" fmla="*/ 108 h 115"/>
                  <a:gd name="T66" fmla="*/ 9 w 49"/>
                  <a:gd name="T67" fmla="*/ 110 h 115"/>
                  <a:gd name="T68" fmla="*/ 13 w 49"/>
                  <a:gd name="T69" fmla="*/ 113 h 115"/>
                  <a:gd name="T70" fmla="*/ 18 w 49"/>
                  <a:gd name="T71" fmla="*/ 114 h 115"/>
                  <a:gd name="T72" fmla="*/ 21 w 49"/>
                  <a:gd name="T73" fmla="*/ 115 h 115"/>
                  <a:gd name="T74" fmla="*/ 25 w 49"/>
                  <a:gd name="T75" fmla="*/ 114 h 115"/>
                  <a:gd name="T76" fmla="*/ 27 w 49"/>
                  <a:gd name="T77" fmla="*/ 113 h 115"/>
                  <a:gd name="T78" fmla="*/ 28 w 49"/>
                  <a:gd name="T79" fmla="*/ 109 h 115"/>
                  <a:gd name="T80" fmla="*/ 27 w 49"/>
                  <a:gd name="T81" fmla="*/ 103 h 115"/>
                  <a:gd name="T82" fmla="*/ 25 w 49"/>
                  <a:gd name="T83" fmla="*/ 96 h 115"/>
                  <a:gd name="T84" fmla="*/ 25 w 49"/>
                  <a:gd name="T85" fmla="*/ 96 h 115"/>
                  <a:gd name="T86" fmla="*/ 29 w 49"/>
                  <a:gd name="T87" fmla="*/ 94 h 115"/>
                  <a:gd name="T88" fmla="*/ 34 w 49"/>
                  <a:gd name="T89" fmla="*/ 91 h 115"/>
                  <a:gd name="T90" fmla="*/ 40 w 49"/>
                  <a:gd name="T91" fmla="*/ 87 h 115"/>
                  <a:gd name="T92" fmla="*/ 44 w 49"/>
                  <a:gd name="T93" fmla="*/ 85 h 115"/>
                  <a:gd name="T94" fmla="*/ 44 w 49"/>
                  <a:gd name="T95" fmla="*/ 85 h 115"/>
                  <a:gd name="T96" fmla="*/ 41 w 49"/>
                  <a:gd name="T97" fmla="*/ 80 h 115"/>
                  <a:gd name="T98" fmla="*/ 38 w 49"/>
                  <a:gd name="T99" fmla="*/ 76 h 115"/>
                  <a:gd name="T100" fmla="*/ 34 w 49"/>
                  <a:gd name="T101" fmla="*/ 71 h 115"/>
                  <a:gd name="T102" fmla="*/ 31 w 49"/>
                  <a:gd name="T103" fmla="*/ 67 h 115"/>
                  <a:gd name="T104" fmla="*/ 31 w 49"/>
                  <a:gd name="T105" fmla="*/ 67 h 115"/>
                  <a:gd name="T106" fmla="*/ 49 w 49"/>
                  <a:gd name="T107" fmla="*/ 56 h 115"/>
                  <a:gd name="T108" fmla="*/ 49 w 49"/>
                  <a:gd name="T109" fmla="*/ 56 h 115"/>
                  <a:gd name="T110" fmla="*/ 39 w 49"/>
                  <a:gd name="T111" fmla="*/ 44 h 115"/>
                  <a:gd name="T112" fmla="*/ 33 w 49"/>
                  <a:gd name="T113" fmla="*/ 38 h 115"/>
                  <a:gd name="T114" fmla="*/ 27 w 49"/>
                  <a:gd name="T115" fmla="*/ 33 h 115"/>
                  <a:gd name="T116" fmla="*/ 27 w 49"/>
                  <a:gd name="T117" fmla="*/ 3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 h="115">
                    <a:moveTo>
                      <a:pt x="27" y="33"/>
                    </a:moveTo>
                    <a:lnTo>
                      <a:pt x="27" y="33"/>
                    </a:lnTo>
                    <a:lnTo>
                      <a:pt x="43" y="29"/>
                    </a:lnTo>
                    <a:lnTo>
                      <a:pt x="43" y="29"/>
                    </a:lnTo>
                    <a:lnTo>
                      <a:pt x="41" y="22"/>
                    </a:lnTo>
                    <a:lnTo>
                      <a:pt x="36" y="14"/>
                    </a:lnTo>
                    <a:lnTo>
                      <a:pt x="32" y="6"/>
                    </a:lnTo>
                    <a:lnTo>
                      <a:pt x="27" y="0"/>
                    </a:lnTo>
                    <a:lnTo>
                      <a:pt x="27" y="0"/>
                    </a:lnTo>
                    <a:lnTo>
                      <a:pt x="24" y="2"/>
                    </a:lnTo>
                    <a:lnTo>
                      <a:pt x="21" y="4"/>
                    </a:lnTo>
                    <a:lnTo>
                      <a:pt x="18" y="12"/>
                    </a:lnTo>
                    <a:lnTo>
                      <a:pt x="16" y="22"/>
                    </a:lnTo>
                    <a:lnTo>
                      <a:pt x="16" y="31"/>
                    </a:lnTo>
                    <a:lnTo>
                      <a:pt x="16" y="41"/>
                    </a:lnTo>
                    <a:lnTo>
                      <a:pt x="18" y="50"/>
                    </a:lnTo>
                    <a:lnTo>
                      <a:pt x="20" y="58"/>
                    </a:lnTo>
                    <a:lnTo>
                      <a:pt x="24" y="64"/>
                    </a:lnTo>
                    <a:lnTo>
                      <a:pt x="24" y="64"/>
                    </a:lnTo>
                    <a:lnTo>
                      <a:pt x="14" y="71"/>
                    </a:lnTo>
                    <a:lnTo>
                      <a:pt x="12" y="73"/>
                    </a:lnTo>
                    <a:lnTo>
                      <a:pt x="12" y="76"/>
                    </a:lnTo>
                    <a:lnTo>
                      <a:pt x="12" y="79"/>
                    </a:lnTo>
                    <a:lnTo>
                      <a:pt x="14" y="83"/>
                    </a:lnTo>
                    <a:lnTo>
                      <a:pt x="19" y="93"/>
                    </a:lnTo>
                    <a:lnTo>
                      <a:pt x="19" y="93"/>
                    </a:lnTo>
                    <a:lnTo>
                      <a:pt x="10" y="93"/>
                    </a:lnTo>
                    <a:lnTo>
                      <a:pt x="4" y="94"/>
                    </a:lnTo>
                    <a:lnTo>
                      <a:pt x="1" y="96"/>
                    </a:lnTo>
                    <a:lnTo>
                      <a:pt x="0" y="99"/>
                    </a:lnTo>
                    <a:lnTo>
                      <a:pt x="0" y="102"/>
                    </a:lnTo>
                    <a:lnTo>
                      <a:pt x="2" y="105"/>
                    </a:lnTo>
                    <a:lnTo>
                      <a:pt x="5" y="108"/>
                    </a:lnTo>
                    <a:lnTo>
                      <a:pt x="9" y="110"/>
                    </a:lnTo>
                    <a:lnTo>
                      <a:pt x="13" y="113"/>
                    </a:lnTo>
                    <a:lnTo>
                      <a:pt x="18" y="114"/>
                    </a:lnTo>
                    <a:lnTo>
                      <a:pt x="21" y="115"/>
                    </a:lnTo>
                    <a:lnTo>
                      <a:pt x="25" y="114"/>
                    </a:lnTo>
                    <a:lnTo>
                      <a:pt x="27" y="113"/>
                    </a:lnTo>
                    <a:lnTo>
                      <a:pt x="28" y="109"/>
                    </a:lnTo>
                    <a:lnTo>
                      <a:pt x="27" y="103"/>
                    </a:lnTo>
                    <a:lnTo>
                      <a:pt x="25" y="96"/>
                    </a:lnTo>
                    <a:lnTo>
                      <a:pt x="25" y="96"/>
                    </a:lnTo>
                    <a:lnTo>
                      <a:pt x="29" y="94"/>
                    </a:lnTo>
                    <a:lnTo>
                      <a:pt x="34" y="91"/>
                    </a:lnTo>
                    <a:lnTo>
                      <a:pt x="40" y="87"/>
                    </a:lnTo>
                    <a:lnTo>
                      <a:pt x="44" y="85"/>
                    </a:lnTo>
                    <a:lnTo>
                      <a:pt x="44" y="85"/>
                    </a:lnTo>
                    <a:lnTo>
                      <a:pt x="41" y="80"/>
                    </a:lnTo>
                    <a:lnTo>
                      <a:pt x="38" y="76"/>
                    </a:lnTo>
                    <a:lnTo>
                      <a:pt x="34" y="71"/>
                    </a:lnTo>
                    <a:lnTo>
                      <a:pt x="31" y="67"/>
                    </a:lnTo>
                    <a:lnTo>
                      <a:pt x="31" y="67"/>
                    </a:lnTo>
                    <a:lnTo>
                      <a:pt x="49" y="56"/>
                    </a:lnTo>
                    <a:lnTo>
                      <a:pt x="49" y="56"/>
                    </a:lnTo>
                    <a:lnTo>
                      <a:pt x="39" y="44"/>
                    </a:lnTo>
                    <a:lnTo>
                      <a:pt x="33" y="38"/>
                    </a:lnTo>
                    <a:lnTo>
                      <a:pt x="27" y="33"/>
                    </a:lnTo>
                    <a:lnTo>
                      <a:pt x="27" y="33"/>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56" name="Freeform 371">
                <a:extLst>
                  <a:ext uri="{FF2B5EF4-FFF2-40B4-BE49-F238E27FC236}">
                    <a16:creationId xmlns:a16="http://schemas.microsoft.com/office/drawing/2014/main" id="{04938699-0FE7-49FA-B011-18BA8BBDD64B}"/>
                  </a:ext>
                </a:extLst>
              </p:cNvPr>
              <p:cNvSpPr>
                <a:spLocks/>
              </p:cNvSpPr>
              <p:nvPr/>
            </p:nvSpPr>
            <p:spPr bwMode="auto">
              <a:xfrm>
                <a:off x="3036888" y="855663"/>
                <a:ext cx="7938" cy="12700"/>
              </a:xfrm>
              <a:custGeom>
                <a:avLst/>
                <a:gdLst>
                  <a:gd name="T0" fmla="*/ 12 w 35"/>
                  <a:gd name="T1" fmla="*/ 8 h 50"/>
                  <a:gd name="T2" fmla="*/ 12 w 35"/>
                  <a:gd name="T3" fmla="*/ 8 h 50"/>
                  <a:gd name="T4" fmla="*/ 5 w 35"/>
                  <a:gd name="T5" fmla="*/ 13 h 50"/>
                  <a:gd name="T6" fmla="*/ 1 w 35"/>
                  <a:gd name="T7" fmla="*/ 18 h 50"/>
                  <a:gd name="T8" fmla="*/ 0 w 35"/>
                  <a:gd name="T9" fmla="*/ 22 h 50"/>
                  <a:gd name="T10" fmla="*/ 1 w 35"/>
                  <a:gd name="T11" fmla="*/ 28 h 50"/>
                  <a:gd name="T12" fmla="*/ 5 w 35"/>
                  <a:gd name="T13" fmla="*/ 34 h 50"/>
                  <a:gd name="T14" fmla="*/ 9 w 35"/>
                  <a:gd name="T15" fmla="*/ 39 h 50"/>
                  <a:gd name="T16" fmla="*/ 15 w 35"/>
                  <a:gd name="T17" fmla="*/ 45 h 50"/>
                  <a:gd name="T18" fmla="*/ 23 w 35"/>
                  <a:gd name="T19" fmla="*/ 50 h 50"/>
                  <a:gd name="T20" fmla="*/ 23 w 35"/>
                  <a:gd name="T21" fmla="*/ 50 h 50"/>
                  <a:gd name="T22" fmla="*/ 28 w 35"/>
                  <a:gd name="T23" fmla="*/ 42 h 50"/>
                  <a:gd name="T24" fmla="*/ 33 w 35"/>
                  <a:gd name="T25" fmla="*/ 31 h 50"/>
                  <a:gd name="T26" fmla="*/ 35 w 35"/>
                  <a:gd name="T27" fmla="*/ 21 h 50"/>
                  <a:gd name="T28" fmla="*/ 35 w 35"/>
                  <a:gd name="T29" fmla="*/ 12 h 50"/>
                  <a:gd name="T30" fmla="*/ 35 w 35"/>
                  <a:gd name="T31" fmla="*/ 7 h 50"/>
                  <a:gd name="T32" fmla="*/ 34 w 35"/>
                  <a:gd name="T33" fmla="*/ 5 h 50"/>
                  <a:gd name="T34" fmla="*/ 31 w 35"/>
                  <a:gd name="T35" fmla="*/ 2 h 50"/>
                  <a:gd name="T36" fmla="*/ 29 w 35"/>
                  <a:gd name="T37" fmla="*/ 0 h 50"/>
                  <a:gd name="T38" fmla="*/ 26 w 35"/>
                  <a:gd name="T39" fmla="*/ 0 h 50"/>
                  <a:gd name="T40" fmla="*/ 22 w 35"/>
                  <a:gd name="T41" fmla="*/ 2 h 50"/>
                  <a:gd name="T42" fmla="*/ 18 w 35"/>
                  <a:gd name="T43" fmla="*/ 4 h 50"/>
                  <a:gd name="T44" fmla="*/ 12 w 35"/>
                  <a:gd name="T45" fmla="*/ 8 h 50"/>
                  <a:gd name="T46" fmla="*/ 12 w 35"/>
                  <a:gd name="T4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50">
                    <a:moveTo>
                      <a:pt x="12" y="8"/>
                    </a:moveTo>
                    <a:lnTo>
                      <a:pt x="12" y="8"/>
                    </a:lnTo>
                    <a:lnTo>
                      <a:pt x="5" y="13"/>
                    </a:lnTo>
                    <a:lnTo>
                      <a:pt x="1" y="18"/>
                    </a:lnTo>
                    <a:lnTo>
                      <a:pt x="0" y="22"/>
                    </a:lnTo>
                    <a:lnTo>
                      <a:pt x="1" y="28"/>
                    </a:lnTo>
                    <a:lnTo>
                      <a:pt x="5" y="34"/>
                    </a:lnTo>
                    <a:lnTo>
                      <a:pt x="9" y="39"/>
                    </a:lnTo>
                    <a:lnTo>
                      <a:pt x="15" y="45"/>
                    </a:lnTo>
                    <a:lnTo>
                      <a:pt x="23" y="50"/>
                    </a:lnTo>
                    <a:lnTo>
                      <a:pt x="23" y="50"/>
                    </a:lnTo>
                    <a:lnTo>
                      <a:pt x="28" y="42"/>
                    </a:lnTo>
                    <a:lnTo>
                      <a:pt x="33" y="31"/>
                    </a:lnTo>
                    <a:lnTo>
                      <a:pt x="35" y="21"/>
                    </a:lnTo>
                    <a:lnTo>
                      <a:pt x="35" y="12"/>
                    </a:lnTo>
                    <a:lnTo>
                      <a:pt x="35" y="7"/>
                    </a:lnTo>
                    <a:lnTo>
                      <a:pt x="34" y="5"/>
                    </a:lnTo>
                    <a:lnTo>
                      <a:pt x="31" y="2"/>
                    </a:lnTo>
                    <a:lnTo>
                      <a:pt x="29" y="0"/>
                    </a:lnTo>
                    <a:lnTo>
                      <a:pt x="26" y="0"/>
                    </a:lnTo>
                    <a:lnTo>
                      <a:pt x="22" y="2"/>
                    </a:lnTo>
                    <a:lnTo>
                      <a:pt x="18" y="4"/>
                    </a:lnTo>
                    <a:lnTo>
                      <a:pt x="12" y="8"/>
                    </a:lnTo>
                    <a:lnTo>
                      <a:pt x="12" y="8"/>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57" name="Freeform 372">
                <a:extLst>
                  <a:ext uri="{FF2B5EF4-FFF2-40B4-BE49-F238E27FC236}">
                    <a16:creationId xmlns:a16="http://schemas.microsoft.com/office/drawing/2014/main" id="{017784BF-F000-4D62-B629-6047BCEF0338}"/>
                  </a:ext>
                </a:extLst>
              </p:cNvPr>
              <p:cNvSpPr>
                <a:spLocks/>
              </p:cNvSpPr>
              <p:nvPr/>
            </p:nvSpPr>
            <p:spPr bwMode="auto">
              <a:xfrm>
                <a:off x="3011488" y="812800"/>
                <a:ext cx="12700" cy="7938"/>
              </a:xfrm>
              <a:custGeom>
                <a:avLst/>
                <a:gdLst>
                  <a:gd name="T0" fmla="*/ 0 w 53"/>
                  <a:gd name="T1" fmla="*/ 13 h 35"/>
                  <a:gd name="T2" fmla="*/ 0 w 53"/>
                  <a:gd name="T3" fmla="*/ 13 h 35"/>
                  <a:gd name="T4" fmla="*/ 13 w 53"/>
                  <a:gd name="T5" fmla="*/ 29 h 35"/>
                  <a:gd name="T6" fmla="*/ 13 w 53"/>
                  <a:gd name="T7" fmla="*/ 29 h 35"/>
                  <a:gd name="T8" fmla="*/ 23 w 53"/>
                  <a:gd name="T9" fmla="*/ 31 h 35"/>
                  <a:gd name="T10" fmla="*/ 32 w 53"/>
                  <a:gd name="T11" fmla="*/ 32 h 35"/>
                  <a:gd name="T12" fmla="*/ 50 w 53"/>
                  <a:gd name="T13" fmla="*/ 35 h 35"/>
                  <a:gd name="T14" fmla="*/ 50 w 53"/>
                  <a:gd name="T15" fmla="*/ 35 h 35"/>
                  <a:gd name="T16" fmla="*/ 51 w 53"/>
                  <a:gd name="T17" fmla="*/ 28 h 35"/>
                  <a:gd name="T18" fmla="*/ 53 w 53"/>
                  <a:gd name="T19" fmla="*/ 22 h 35"/>
                  <a:gd name="T20" fmla="*/ 51 w 53"/>
                  <a:gd name="T21" fmla="*/ 18 h 35"/>
                  <a:gd name="T22" fmla="*/ 50 w 53"/>
                  <a:gd name="T23" fmla="*/ 13 h 35"/>
                  <a:gd name="T24" fmla="*/ 48 w 53"/>
                  <a:gd name="T25" fmla="*/ 8 h 35"/>
                  <a:gd name="T26" fmla="*/ 46 w 53"/>
                  <a:gd name="T27" fmla="*/ 6 h 35"/>
                  <a:gd name="T28" fmla="*/ 42 w 53"/>
                  <a:gd name="T29" fmla="*/ 4 h 35"/>
                  <a:gd name="T30" fmla="*/ 38 w 53"/>
                  <a:gd name="T31" fmla="*/ 1 h 35"/>
                  <a:gd name="T32" fmla="*/ 33 w 53"/>
                  <a:gd name="T33" fmla="*/ 0 h 35"/>
                  <a:gd name="T34" fmla="*/ 28 w 53"/>
                  <a:gd name="T35" fmla="*/ 0 h 35"/>
                  <a:gd name="T36" fmla="*/ 24 w 53"/>
                  <a:gd name="T37" fmla="*/ 0 h 35"/>
                  <a:gd name="T38" fmla="*/ 19 w 53"/>
                  <a:gd name="T39" fmla="*/ 1 h 35"/>
                  <a:gd name="T40" fmla="*/ 13 w 53"/>
                  <a:gd name="T41" fmla="*/ 4 h 35"/>
                  <a:gd name="T42" fmla="*/ 9 w 53"/>
                  <a:gd name="T43" fmla="*/ 6 h 35"/>
                  <a:gd name="T44" fmla="*/ 4 w 53"/>
                  <a:gd name="T45" fmla="*/ 9 h 35"/>
                  <a:gd name="T46" fmla="*/ 0 w 53"/>
                  <a:gd name="T47" fmla="*/ 13 h 35"/>
                  <a:gd name="T48" fmla="*/ 0 w 53"/>
                  <a:gd name="T49"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35">
                    <a:moveTo>
                      <a:pt x="0" y="13"/>
                    </a:moveTo>
                    <a:lnTo>
                      <a:pt x="0" y="13"/>
                    </a:lnTo>
                    <a:lnTo>
                      <a:pt x="13" y="29"/>
                    </a:lnTo>
                    <a:lnTo>
                      <a:pt x="13" y="29"/>
                    </a:lnTo>
                    <a:lnTo>
                      <a:pt x="23" y="31"/>
                    </a:lnTo>
                    <a:lnTo>
                      <a:pt x="32" y="32"/>
                    </a:lnTo>
                    <a:lnTo>
                      <a:pt x="50" y="35"/>
                    </a:lnTo>
                    <a:lnTo>
                      <a:pt x="50" y="35"/>
                    </a:lnTo>
                    <a:lnTo>
                      <a:pt x="51" y="28"/>
                    </a:lnTo>
                    <a:lnTo>
                      <a:pt x="53" y="22"/>
                    </a:lnTo>
                    <a:lnTo>
                      <a:pt x="51" y="18"/>
                    </a:lnTo>
                    <a:lnTo>
                      <a:pt x="50" y="13"/>
                    </a:lnTo>
                    <a:lnTo>
                      <a:pt x="48" y="8"/>
                    </a:lnTo>
                    <a:lnTo>
                      <a:pt x="46" y="6"/>
                    </a:lnTo>
                    <a:lnTo>
                      <a:pt x="42" y="4"/>
                    </a:lnTo>
                    <a:lnTo>
                      <a:pt x="38" y="1"/>
                    </a:lnTo>
                    <a:lnTo>
                      <a:pt x="33" y="0"/>
                    </a:lnTo>
                    <a:lnTo>
                      <a:pt x="28" y="0"/>
                    </a:lnTo>
                    <a:lnTo>
                      <a:pt x="24" y="0"/>
                    </a:lnTo>
                    <a:lnTo>
                      <a:pt x="19" y="1"/>
                    </a:lnTo>
                    <a:lnTo>
                      <a:pt x="13" y="4"/>
                    </a:lnTo>
                    <a:lnTo>
                      <a:pt x="9" y="6"/>
                    </a:lnTo>
                    <a:lnTo>
                      <a:pt x="4" y="9"/>
                    </a:lnTo>
                    <a:lnTo>
                      <a:pt x="0" y="13"/>
                    </a:lnTo>
                    <a:lnTo>
                      <a:pt x="0" y="13"/>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58" name="Freeform 373">
                <a:extLst>
                  <a:ext uri="{FF2B5EF4-FFF2-40B4-BE49-F238E27FC236}">
                    <a16:creationId xmlns:a16="http://schemas.microsoft.com/office/drawing/2014/main" id="{2576C443-F6BC-4254-B95C-15DA1D2D5A1B}"/>
                  </a:ext>
                </a:extLst>
              </p:cNvPr>
              <p:cNvSpPr>
                <a:spLocks/>
              </p:cNvSpPr>
              <p:nvPr/>
            </p:nvSpPr>
            <p:spPr bwMode="auto">
              <a:xfrm>
                <a:off x="2978150" y="804863"/>
                <a:ext cx="30163" cy="17463"/>
              </a:xfrm>
              <a:custGeom>
                <a:avLst/>
                <a:gdLst>
                  <a:gd name="T0" fmla="*/ 69 w 135"/>
                  <a:gd name="T1" fmla="*/ 80 h 80"/>
                  <a:gd name="T2" fmla="*/ 69 w 135"/>
                  <a:gd name="T3" fmla="*/ 80 h 80"/>
                  <a:gd name="T4" fmla="*/ 75 w 135"/>
                  <a:gd name="T5" fmla="*/ 72 h 80"/>
                  <a:gd name="T6" fmla="*/ 82 w 135"/>
                  <a:gd name="T7" fmla="*/ 66 h 80"/>
                  <a:gd name="T8" fmla="*/ 90 w 135"/>
                  <a:gd name="T9" fmla="*/ 63 h 80"/>
                  <a:gd name="T10" fmla="*/ 98 w 135"/>
                  <a:gd name="T11" fmla="*/ 59 h 80"/>
                  <a:gd name="T12" fmla="*/ 106 w 135"/>
                  <a:gd name="T13" fmla="*/ 59 h 80"/>
                  <a:gd name="T14" fmla="*/ 115 w 135"/>
                  <a:gd name="T15" fmla="*/ 59 h 80"/>
                  <a:gd name="T16" fmla="*/ 125 w 135"/>
                  <a:gd name="T17" fmla="*/ 60 h 80"/>
                  <a:gd name="T18" fmla="*/ 133 w 135"/>
                  <a:gd name="T19" fmla="*/ 64 h 80"/>
                  <a:gd name="T20" fmla="*/ 133 w 135"/>
                  <a:gd name="T21" fmla="*/ 64 h 80"/>
                  <a:gd name="T22" fmla="*/ 135 w 135"/>
                  <a:gd name="T23" fmla="*/ 59 h 80"/>
                  <a:gd name="T24" fmla="*/ 135 w 135"/>
                  <a:gd name="T25" fmla="*/ 56 h 80"/>
                  <a:gd name="T26" fmla="*/ 135 w 135"/>
                  <a:gd name="T27" fmla="*/ 48 h 80"/>
                  <a:gd name="T28" fmla="*/ 131 w 135"/>
                  <a:gd name="T29" fmla="*/ 41 h 80"/>
                  <a:gd name="T30" fmla="*/ 127 w 135"/>
                  <a:gd name="T31" fmla="*/ 33 h 80"/>
                  <a:gd name="T32" fmla="*/ 120 w 135"/>
                  <a:gd name="T33" fmla="*/ 26 h 80"/>
                  <a:gd name="T34" fmla="*/ 111 w 135"/>
                  <a:gd name="T35" fmla="*/ 19 h 80"/>
                  <a:gd name="T36" fmla="*/ 102 w 135"/>
                  <a:gd name="T37" fmla="*/ 13 h 80"/>
                  <a:gd name="T38" fmla="*/ 91 w 135"/>
                  <a:gd name="T39" fmla="*/ 8 h 80"/>
                  <a:gd name="T40" fmla="*/ 80 w 135"/>
                  <a:gd name="T41" fmla="*/ 5 h 80"/>
                  <a:gd name="T42" fmla="*/ 68 w 135"/>
                  <a:gd name="T43" fmla="*/ 2 h 80"/>
                  <a:gd name="T44" fmla="*/ 57 w 135"/>
                  <a:gd name="T45" fmla="*/ 0 h 80"/>
                  <a:gd name="T46" fmla="*/ 46 w 135"/>
                  <a:gd name="T47" fmla="*/ 0 h 80"/>
                  <a:gd name="T48" fmla="*/ 36 w 135"/>
                  <a:gd name="T49" fmla="*/ 3 h 80"/>
                  <a:gd name="T50" fmla="*/ 27 w 135"/>
                  <a:gd name="T51" fmla="*/ 6 h 80"/>
                  <a:gd name="T52" fmla="*/ 19 w 135"/>
                  <a:gd name="T53" fmla="*/ 11 h 80"/>
                  <a:gd name="T54" fmla="*/ 15 w 135"/>
                  <a:gd name="T55" fmla="*/ 14 h 80"/>
                  <a:gd name="T56" fmla="*/ 13 w 135"/>
                  <a:gd name="T57" fmla="*/ 19 h 80"/>
                  <a:gd name="T58" fmla="*/ 13 w 135"/>
                  <a:gd name="T59" fmla="*/ 19 h 80"/>
                  <a:gd name="T60" fmla="*/ 18 w 135"/>
                  <a:gd name="T61" fmla="*/ 21 h 80"/>
                  <a:gd name="T62" fmla="*/ 21 w 135"/>
                  <a:gd name="T63" fmla="*/ 23 h 80"/>
                  <a:gd name="T64" fmla="*/ 26 w 135"/>
                  <a:gd name="T65" fmla="*/ 28 h 80"/>
                  <a:gd name="T66" fmla="*/ 30 w 135"/>
                  <a:gd name="T67" fmla="*/ 34 h 80"/>
                  <a:gd name="T68" fmla="*/ 34 w 135"/>
                  <a:gd name="T69" fmla="*/ 37 h 80"/>
                  <a:gd name="T70" fmla="*/ 34 w 135"/>
                  <a:gd name="T71" fmla="*/ 37 h 80"/>
                  <a:gd name="T72" fmla="*/ 29 w 135"/>
                  <a:gd name="T73" fmla="*/ 36 h 80"/>
                  <a:gd name="T74" fmla="*/ 26 w 135"/>
                  <a:gd name="T75" fmla="*/ 37 h 80"/>
                  <a:gd name="T76" fmla="*/ 16 w 135"/>
                  <a:gd name="T77" fmla="*/ 38 h 80"/>
                  <a:gd name="T78" fmla="*/ 8 w 135"/>
                  <a:gd name="T79" fmla="*/ 40 h 80"/>
                  <a:gd name="T80" fmla="*/ 4 w 135"/>
                  <a:gd name="T81" fmla="*/ 41 h 80"/>
                  <a:gd name="T82" fmla="*/ 0 w 135"/>
                  <a:gd name="T83" fmla="*/ 40 h 80"/>
                  <a:gd name="T84" fmla="*/ 0 w 135"/>
                  <a:gd name="T85" fmla="*/ 40 h 80"/>
                  <a:gd name="T86" fmla="*/ 1 w 135"/>
                  <a:gd name="T87" fmla="*/ 52 h 80"/>
                  <a:gd name="T88" fmla="*/ 3 w 135"/>
                  <a:gd name="T89" fmla="*/ 58 h 80"/>
                  <a:gd name="T90" fmla="*/ 5 w 135"/>
                  <a:gd name="T91" fmla="*/ 64 h 80"/>
                  <a:gd name="T92" fmla="*/ 5 w 135"/>
                  <a:gd name="T93" fmla="*/ 64 h 80"/>
                  <a:gd name="T94" fmla="*/ 8 w 135"/>
                  <a:gd name="T95" fmla="*/ 65 h 80"/>
                  <a:gd name="T96" fmla="*/ 12 w 135"/>
                  <a:gd name="T97" fmla="*/ 66 h 80"/>
                  <a:gd name="T98" fmla="*/ 21 w 135"/>
                  <a:gd name="T99" fmla="*/ 66 h 80"/>
                  <a:gd name="T100" fmla="*/ 39 w 135"/>
                  <a:gd name="T101" fmla="*/ 63 h 80"/>
                  <a:gd name="T102" fmla="*/ 49 w 135"/>
                  <a:gd name="T103" fmla="*/ 63 h 80"/>
                  <a:gd name="T104" fmla="*/ 53 w 135"/>
                  <a:gd name="T105" fmla="*/ 64 h 80"/>
                  <a:gd name="T106" fmla="*/ 58 w 135"/>
                  <a:gd name="T107" fmla="*/ 65 h 80"/>
                  <a:gd name="T108" fmla="*/ 61 w 135"/>
                  <a:gd name="T109" fmla="*/ 67 h 80"/>
                  <a:gd name="T110" fmla="*/ 65 w 135"/>
                  <a:gd name="T111" fmla="*/ 69 h 80"/>
                  <a:gd name="T112" fmla="*/ 67 w 135"/>
                  <a:gd name="T113" fmla="*/ 74 h 80"/>
                  <a:gd name="T114" fmla="*/ 69 w 135"/>
                  <a:gd name="T115" fmla="*/ 80 h 80"/>
                  <a:gd name="T116" fmla="*/ 69 w 135"/>
                  <a:gd name="T1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5" h="80">
                    <a:moveTo>
                      <a:pt x="69" y="80"/>
                    </a:moveTo>
                    <a:lnTo>
                      <a:pt x="69" y="80"/>
                    </a:lnTo>
                    <a:lnTo>
                      <a:pt x="75" y="72"/>
                    </a:lnTo>
                    <a:lnTo>
                      <a:pt x="82" y="66"/>
                    </a:lnTo>
                    <a:lnTo>
                      <a:pt x="90" y="63"/>
                    </a:lnTo>
                    <a:lnTo>
                      <a:pt x="98" y="59"/>
                    </a:lnTo>
                    <a:lnTo>
                      <a:pt x="106" y="59"/>
                    </a:lnTo>
                    <a:lnTo>
                      <a:pt x="115" y="59"/>
                    </a:lnTo>
                    <a:lnTo>
                      <a:pt x="125" y="60"/>
                    </a:lnTo>
                    <a:lnTo>
                      <a:pt x="133" y="64"/>
                    </a:lnTo>
                    <a:lnTo>
                      <a:pt x="133" y="64"/>
                    </a:lnTo>
                    <a:lnTo>
                      <a:pt x="135" y="59"/>
                    </a:lnTo>
                    <a:lnTo>
                      <a:pt x="135" y="56"/>
                    </a:lnTo>
                    <a:lnTo>
                      <a:pt x="135" y="48"/>
                    </a:lnTo>
                    <a:lnTo>
                      <a:pt x="131" y="41"/>
                    </a:lnTo>
                    <a:lnTo>
                      <a:pt x="127" y="33"/>
                    </a:lnTo>
                    <a:lnTo>
                      <a:pt x="120" y="26"/>
                    </a:lnTo>
                    <a:lnTo>
                      <a:pt x="111" y="19"/>
                    </a:lnTo>
                    <a:lnTo>
                      <a:pt x="102" y="13"/>
                    </a:lnTo>
                    <a:lnTo>
                      <a:pt x="91" y="8"/>
                    </a:lnTo>
                    <a:lnTo>
                      <a:pt x="80" y="5"/>
                    </a:lnTo>
                    <a:lnTo>
                      <a:pt x="68" y="2"/>
                    </a:lnTo>
                    <a:lnTo>
                      <a:pt x="57" y="0"/>
                    </a:lnTo>
                    <a:lnTo>
                      <a:pt x="46" y="0"/>
                    </a:lnTo>
                    <a:lnTo>
                      <a:pt x="36" y="3"/>
                    </a:lnTo>
                    <a:lnTo>
                      <a:pt x="27" y="6"/>
                    </a:lnTo>
                    <a:lnTo>
                      <a:pt x="19" y="11"/>
                    </a:lnTo>
                    <a:lnTo>
                      <a:pt x="15" y="14"/>
                    </a:lnTo>
                    <a:lnTo>
                      <a:pt x="13" y="19"/>
                    </a:lnTo>
                    <a:lnTo>
                      <a:pt x="13" y="19"/>
                    </a:lnTo>
                    <a:lnTo>
                      <a:pt x="18" y="21"/>
                    </a:lnTo>
                    <a:lnTo>
                      <a:pt x="21" y="23"/>
                    </a:lnTo>
                    <a:lnTo>
                      <a:pt x="26" y="28"/>
                    </a:lnTo>
                    <a:lnTo>
                      <a:pt x="30" y="34"/>
                    </a:lnTo>
                    <a:lnTo>
                      <a:pt x="34" y="37"/>
                    </a:lnTo>
                    <a:lnTo>
                      <a:pt x="34" y="37"/>
                    </a:lnTo>
                    <a:lnTo>
                      <a:pt x="29" y="36"/>
                    </a:lnTo>
                    <a:lnTo>
                      <a:pt x="26" y="37"/>
                    </a:lnTo>
                    <a:lnTo>
                      <a:pt x="16" y="38"/>
                    </a:lnTo>
                    <a:lnTo>
                      <a:pt x="8" y="40"/>
                    </a:lnTo>
                    <a:lnTo>
                      <a:pt x="4" y="41"/>
                    </a:lnTo>
                    <a:lnTo>
                      <a:pt x="0" y="40"/>
                    </a:lnTo>
                    <a:lnTo>
                      <a:pt x="0" y="40"/>
                    </a:lnTo>
                    <a:lnTo>
                      <a:pt x="1" y="52"/>
                    </a:lnTo>
                    <a:lnTo>
                      <a:pt x="3" y="58"/>
                    </a:lnTo>
                    <a:lnTo>
                      <a:pt x="5" y="64"/>
                    </a:lnTo>
                    <a:lnTo>
                      <a:pt x="5" y="64"/>
                    </a:lnTo>
                    <a:lnTo>
                      <a:pt x="8" y="65"/>
                    </a:lnTo>
                    <a:lnTo>
                      <a:pt x="12" y="66"/>
                    </a:lnTo>
                    <a:lnTo>
                      <a:pt x="21" y="66"/>
                    </a:lnTo>
                    <a:lnTo>
                      <a:pt x="39" y="63"/>
                    </a:lnTo>
                    <a:lnTo>
                      <a:pt x="49" y="63"/>
                    </a:lnTo>
                    <a:lnTo>
                      <a:pt x="53" y="64"/>
                    </a:lnTo>
                    <a:lnTo>
                      <a:pt x="58" y="65"/>
                    </a:lnTo>
                    <a:lnTo>
                      <a:pt x="61" y="67"/>
                    </a:lnTo>
                    <a:lnTo>
                      <a:pt x="65" y="69"/>
                    </a:lnTo>
                    <a:lnTo>
                      <a:pt x="67" y="74"/>
                    </a:lnTo>
                    <a:lnTo>
                      <a:pt x="69" y="80"/>
                    </a:lnTo>
                    <a:lnTo>
                      <a:pt x="69" y="80"/>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59" name="Freeform 374">
                <a:extLst>
                  <a:ext uri="{FF2B5EF4-FFF2-40B4-BE49-F238E27FC236}">
                    <a16:creationId xmlns:a16="http://schemas.microsoft.com/office/drawing/2014/main" id="{84ADC11D-FA4C-4F13-8471-C95CA8550AF8}"/>
                  </a:ext>
                </a:extLst>
              </p:cNvPr>
              <p:cNvSpPr>
                <a:spLocks/>
              </p:cNvSpPr>
              <p:nvPr/>
            </p:nvSpPr>
            <p:spPr bwMode="auto">
              <a:xfrm>
                <a:off x="3076575" y="1217613"/>
                <a:ext cx="14288" cy="9525"/>
              </a:xfrm>
              <a:custGeom>
                <a:avLst/>
                <a:gdLst>
                  <a:gd name="T0" fmla="*/ 28 w 61"/>
                  <a:gd name="T1" fmla="*/ 0 h 43"/>
                  <a:gd name="T2" fmla="*/ 28 w 61"/>
                  <a:gd name="T3" fmla="*/ 0 h 43"/>
                  <a:gd name="T4" fmla="*/ 21 w 61"/>
                  <a:gd name="T5" fmla="*/ 4 h 43"/>
                  <a:gd name="T6" fmla="*/ 14 w 61"/>
                  <a:gd name="T7" fmla="*/ 9 h 43"/>
                  <a:gd name="T8" fmla="*/ 0 w 61"/>
                  <a:gd name="T9" fmla="*/ 19 h 43"/>
                  <a:gd name="T10" fmla="*/ 0 w 61"/>
                  <a:gd name="T11" fmla="*/ 19 h 43"/>
                  <a:gd name="T12" fmla="*/ 5 w 61"/>
                  <a:gd name="T13" fmla="*/ 25 h 43"/>
                  <a:gd name="T14" fmla="*/ 10 w 61"/>
                  <a:gd name="T15" fmla="*/ 32 h 43"/>
                  <a:gd name="T16" fmla="*/ 17 w 61"/>
                  <a:gd name="T17" fmla="*/ 38 h 43"/>
                  <a:gd name="T18" fmla="*/ 23 w 61"/>
                  <a:gd name="T19" fmla="*/ 43 h 43"/>
                  <a:gd name="T20" fmla="*/ 23 w 61"/>
                  <a:gd name="T21" fmla="*/ 43 h 43"/>
                  <a:gd name="T22" fmla="*/ 61 w 61"/>
                  <a:gd name="T23" fmla="*/ 4 h 43"/>
                  <a:gd name="T24" fmla="*/ 61 w 61"/>
                  <a:gd name="T25" fmla="*/ 4 h 43"/>
                  <a:gd name="T26" fmla="*/ 44 w 61"/>
                  <a:gd name="T27" fmla="*/ 2 h 43"/>
                  <a:gd name="T28" fmla="*/ 36 w 61"/>
                  <a:gd name="T29" fmla="*/ 0 h 43"/>
                  <a:gd name="T30" fmla="*/ 28 w 61"/>
                  <a:gd name="T31" fmla="*/ 0 h 43"/>
                  <a:gd name="T32" fmla="*/ 28 w 61"/>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1" h="43">
                    <a:moveTo>
                      <a:pt x="28" y="0"/>
                    </a:moveTo>
                    <a:lnTo>
                      <a:pt x="28" y="0"/>
                    </a:lnTo>
                    <a:lnTo>
                      <a:pt x="21" y="4"/>
                    </a:lnTo>
                    <a:lnTo>
                      <a:pt x="14" y="9"/>
                    </a:lnTo>
                    <a:lnTo>
                      <a:pt x="0" y="19"/>
                    </a:lnTo>
                    <a:lnTo>
                      <a:pt x="0" y="19"/>
                    </a:lnTo>
                    <a:lnTo>
                      <a:pt x="5" y="25"/>
                    </a:lnTo>
                    <a:lnTo>
                      <a:pt x="10" y="32"/>
                    </a:lnTo>
                    <a:lnTo>
                      <a:pt x="17" y="38"/>
                    </a:lnTo>
                    <a:lnTo>
                      <a:pt x="23" y="43"/>
                    </a:lnTo>
                    <a:lnTo>
                      <a:pt x="23" y="43"/>
                    </a:lnTo>
                    <a:lnTo>
                      <a:pt x="61" y="4"/>
                    </a:lnTo>
                    <a:lnTo>
                      <a:pt x="61" y="4"/>
                    </a:lnTo>
                    <a:lnTo>
                      <a:pt x="44" y="2"/>
                    </a:lnTo>
                    <a:lnTo>
                      <a:pt x="36" y="0"/>
                    </a:lnTo>
                    <a:lnTo>
                      <a:pt x="28" y="0"/>
                    </a:lnTo>
                    <a:lnTo>
                      <a:pt x="28" y="0"/>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60" name="Freeform 375">
                <a:extLst>
                  <a:ext uri="{FF2B5EF4-FFF2-40B4-BE49-F238E27FC236}">
                    <a16:creationId xmlns:a16="http://schemas.microsoft.com/office/drawing/2014/main" id="{DBBFC99D-D395-4C2C-B7C8-C37A1B202B92}"/>
                  </a:ext>
                </a:extLst>
              </p:cNvPr>
              <p:cNvSpPr>
                <a:spLocks/>
              </p:cNvSpPr>
              <p:nvPr/>
            </p:nvSpPr>
            <p:spPr bwMode="auto">
              <a:xfrm>
                <a:off x="3086100" y="1214438"/>
                <a:ext cx="12700" cy="14288"/>
              </a:xfrm>
              <a:custGeom>
                <a:avLst/>
                <a:gdLst>
                  <a:gd name="T0" fmla="*/ 20 w 61"/>
                  <a:gd name="T1" fmla="*/ 28 h 61"/>
                  <a:gd name="T2" fmla="*/ 20 w 61"/>
                  <a:gd name="T3" fmla="*/ 28 h 61"/>
                  <a:gd name="T4" fmla="*/ 14 w 61"/>
                  <a:gd name="T5" fmla="*/ 30 h 61"/>
                  <a:gd name="T6" fmla="*/ 9 w 61"/>
                  <a:gd name="T7" fmla="*/ 33 h 61"/>
                  <a:gd name="T8" fmla="*/ 6 w 61"/>
                  <a:gd name="T9" fmla="*/ 37 h 61"/>
                  <a:gd name="T10" fmla="*/ 4 w 61"/>
                  <a:gd name="T11" fmla="*/ 41 h 61"/>
                  <a:gd name="T12" fmla="*/ 1 w 61"/>
                  <a:gd name="T13" fmla="*/ 45 h 61"/>
                  <a:gd name="T14" fmla="*/ 0 w 61"/>
                  <a:gd name="T15" fmla="*/ 51 h 61"/>
                  <a:gd name="T16" fmla="*/ 0 w 61"/>
                  <a:gd name="T17" fmla="*/ 55 h 61"/>
                  <a:gd name="T18" fmla="*/ 1 w 61"/>
                  <a:gd name="T19" fmla="*/ 61 h 61"/>
                  <a:gd name="T20" fmla="*/ 1 w 61"/>
                  <a:gd name="T21" fmla="*/ 61 h 61"/>
                  <a:gd name="T22" fmla="*/ 20 w 61"/>
                  <a:gd name="T23" fmla="*/ 54 h 61"/>
                  <a:gd name="T24" fmla="*/ 36 w 61"/>
                  <a:gd name="T25" fmla="*/ 47 h 61"/>
                  <a:gd name="T26" fmla="*/ 43 w 61"/>
                  <a:gd name="T27" fmla="*/ 43 h 61"/>
                  <a:gd name="T28" fmla="*/ 50 w 61"/>
                  <a:gd name="T29" fmla="*/ 37 h 61"/>
                  <a:gd name="T30" fmla="*/ 56 w 61"/>
                  <a:gd name="T31" fmla="*/ 31 h 61"/>
                  <a:gd name="T32" fmla="*/ 61 w 61"/>
                  <a:gd name="T33" fmla="*/ 22 h 61"/>
                  <a:gd name="T34" fmla="*/ 61 w 61"/>
                  <a:gd name="T35" fmla="*/ 22 h 61"/>
                  <a:gd name="T36" fmla="*/ 54 w 61"/>
                  <a:gd name="T37" fmla="*/ 16 h 61"/>
                  <a:gd name="T38" fmla="*/ 45 w 61"/>
                  <a:gd name="T39" fmla="*/ 9 h 61"/>
                  <a:gd name="T40" fmla="*/ 36 w 61"/>
                  <a:gd name="T41" fmla="*/ 5 h 61"/>
                  <a:gd name="T42" fmla="*/ 28 w 61"/>
                  <a:gd name="T43" fmla="*/ 0 h 61"/>
                  <a:gd name="T44" fmla="*/ 28 w 61"/>
                  <a:gd name="T45" fmla="*/ 0 h 61"/>
                  <a:gd name="T46" fmla="*/ 23 w 61"/>
                  <a:gd name="T47" fmla="*/ 14 h 61"/>
                  <a:gd name="T48" fmla="*/ 21 w 61"/>
                  <a:gd name="T49" fmla="*/ 21 h 61"/>
                  <a:gd name="T50" fmla="*/ 20 w 61"/>
                  <a:gd name="T51" fmla="*/ 28 h 61"/>
                  <a:gd name="T52" fmla="*/ 20 w 61"/>
                  <a:gd name="T53" fmla="*/ 2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61">
                    <a:moveTo>
                      <a:pt x="20" y="28"/>
                    </a:moveTo>
                    <a:lnTo>
                      <a:pt x="20" y="28"/>
                    </a:lnTo>
                    <a:lnTo>
                      <a:pt x="14" y="30"/>
                    </a:lnTo>
                    <a:lnTo>
                      <a:pt x="9" y="33"/>
                    </a:lnTo>
                    <a:lnTo>
                      <a:pt x="6" y="37"/>
                    </a:lnTo>
                    <a:lnTo>
                      <a:pt x="4" y="41"/>
                    </a:lnTo>
                    <a:lnTo>
                      <a:pt x="1" y="45"/>
                    </a:lnTo>
                    <a:lnTo>
                      <a:pt x="0" y="51"/>
                    </a:lnTo>
                    <a:lnTo>
                      <a:pt x="0" y="55"/>
                    </a:lnTo>
                    <a:lnTo>
                      <a:pt x="1" y="61"/>
                    </a:lnTo>
                    <a:lnTo>
                      <a:pt x="1" y="61"/>
                    </a:lnTo>
                    <a:lnTo>
                      <a:pt x="20" y="54"/>
                    </a:lnTo>
                    <a:lnTo>
                      <a:pt x="36" y="47"/>
                    </a:lnTo>
                    <a:lnTo>
                      <a:pt x="43" y="43"/>
                    </a:lnTo>
                    <a:lnTo>
                      <a:pt x="50" y="37"/>
                    </a:lnTo>
                    <a:lnTo>
                      <a:pt x="56" y="31"/>
                    </a:lnTo>
                    <a:lnTo>
                      <a:pt x="61" y="22"/>
                    </a:lnTo>
                    <a:lnTo>
                      <a:pt x="61" y="22"/>
                    </a:lnTo>
                    <a:lnTo>
                      <a:pt x="54" y="16"/>
                    </a:lnTo>
                    <a:lnTo>
                      <a:pt x="45" y="9"/>
                    </a:lnTo>
                    <a:lnTo>
                      <a:pt x="36" y="5"/>
                    </a:lnTo>
                    <a:lnTo>
                      <a:pt x="28" y="0"/>
                    </a:lnTo>
                    <a:lnTo>
                      <a:pt x="28" y="0"/>
                    </a:lnTo>
                    <a:lnTo>
                      <a:pt x="23" y="14"/>
                    </a:lnTo>
                    <a:lnTo>
                      <a:pt x="21" y="21"/>
                    </a:lnTo>
                    <a:lnTo>
                      <a:pt x="20" y="28"/>
                    </a:lnTo>
                    <a:lnTo>
                      <a:pt x="20" y="28"/>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61" name="Freeform 376">
                <a:extLst>
                  <a:ext uri="{FF2B5EF4-FFF2-40B4-BE49-F238E27FC236}">
                    <a16:creationId xmlns:a16="http://schemas.microsoft.com/office/drawing/2014/main" id="{6453C963-04D4-4753-A64B-73833A2F0703}"/>
                  </a:ext>
                </a:extLst>
              </p:cNvPr>
              <p:cNvSpPr>
                <a:spLocks/>
              </p:cNvSpPr>
              <p:nvPr/>
            </p:nvSpPr>
            <p:spPr bwMode="auto">
              <a:xfrm>
                <a:off x="2930525" y="784225"/>
                <a:ext cx="52388" cy="25400"/>
              </a:xfrm>
              <a:custGeom>
                <a:avLst/>
                <a:gdLst>
                  <a:gd name="T0" fmla="*/ 229 w 229"/>
                  <a:gd name="T1" fmla="*/ 78 h 109"/>
                  <a:gd name="T2" fmla="*/ 229 w 229"/>
                  <a:gd name="T3" fmla="*/ 78 h 109"/>
                  <a:gd name="T4" fmla="*/ 196 w 229"/>
                  <a:gd name="T5" fmla="*/ 61 h 109"/>
                  <a:gd name="T6" fmla="*/ 164 w 229"/>
                  <a:gd name="T7" fmla="*/ 44 h 109"/>
                  <a:gd name="T8" fmla="*/ 102 w 229"/>
                  <a:gd name="T9" fmla="*/ 6 h 109"/>
                  <a:gd name="T10" fmla="*/ 102 w 229"/>
                  <a:gd name="T11" fmla="*/ 6 h 109"/>
                  <a:gd name="T12" fmla="*/ 96 w 229"/>
                  <a:gd name="T13" fmla="*/ 3 h 109"/>
                  <a:gd name="T14" fmla="*/ 89 w 229"/>
                  <a:gd name="T15" fmla="*/ 1 h 109"/>
                  <a:gd name="T16" fmla="*/ 81 w 229"/>
                  <a:gd name="T17" fmla="*/ 1 h 109"/>
                  <a:gd name="T18" fmla="*/ 74 w 229"/>
                  <a:gd name="T19" fmla="*/ 0 h 109"/>
                  <a:gd name="T20" fmla="*/ 59 w 229"/>
                  <a:gd name="T21" fmla="*/ 2 h 109"/>
                  <a:gd name="T22" fmla="*/ 46 w 229"/>
                  <a:gd name="T23" fmla="*/ 6 h 109"/>
                  <a:gd name="T24" fmla="*/ 46 w 229"/>
                  <a:gd name="T25" fmla="*/ 6 h 109"/>
                  <a:gd name="T26" fmla="*/ 34 w 229"/>
                  <a:gd name="T27" fmla="*/ 11 h 109"/>
                  <a:gd name="T28" fmla="*/ 13 w 229"/>
                  <a:gd name="T29" fmla="*/ 23 h 109"/>
                  <a:gd name="T30" fmla="*/ 5 w 229"/>
                  <a:gd name="T31" fmla="*/ 29 h 109"/>
                  <a:gd name="T32" fmla="*/ 0 w 229"/>
                  <a:gd name="T33" fmla="*/ 34 h 109"/>
                  <a:gd name="T34" fmla="*/ 0 w 229"/>
                  <a:gd name="T35" fmla="*/ 37 h 109"/>
                  <a:gd name="T36" fmla="*/ 1 w 229"/>
                  <a:gd name="T37" fmla="*/ 38 h 109"/>
                  <a:gd name="T38" fmla="*/ 3 w 229"/>
                  <a:gd name="T39" fmla="*/ 39 h 109"/>
                  <a:gd name="T40" fmla="*/ 8 w 229"/>
                  <a:gd name="T41" fmla="*/ 40 h 109"/>
                  <a:gd name="T42" fmla="*/ 8 w 229"/>
                  <a:gd name="T43" fmla="*/ 40 h 109"/>
                  <a:gd name="T44" fmla="*/ 25 w 229"/>
                  <a:gd name="T45" fmla="*/ 39 h 109"/>
                  <a:gd name="T46" fmla="*/ 41 w 229"/>
                  <a:gd name="T47" fmla="*/ 38 h 109"/>
                  <a:gd name="T48" fmla="*/ 56 w 229"/>
                  <a:gd name="T49" fmla="*/ 38 h 109"/>
                  <a:gd name="T50" fmla="*/ 71 w 229"/>
                  <a:gd name="T51" fmla="*/ 37 h 109"/>
                  <a:gd name="T52" fmla="*/ 86 w 229"/>
                  <a:gd name="T53" fmla="*/ 39 h 109"/>
                  <a:gd name="T54" fmla="*/ 93 w 229"/>
                  <a:gd name="T55" fmla="*/ 40 h 109"/>
                  <a:gd name="T56" fmla="*/ 100 w 229"/>
                  <a:gd name="T57" fmla="*/ 42 h 109"/>
                  <a:gd name="T58" fmla="*/ 107 w 229"/>
                  <a:gd name="T59" fmla="*/ 46 h 109"/>
                  <a:gd name="T60" fmla="*/ 114 w 229"/>
                  <a:gd name="T61" fmla="*/ 49 h 109"/>
                  <a:gd name="T62" fmla="*/ 122 w 229"/>
                  <a:gd name="T63" fmla="*/ 55 h 109"/>
                  <a:gd name="T64" fmla="*/ 128 w 229"/>
                  <a:gd name="T65" fmla="*/ 61 h 109"/>
                  <a:gd name="T66" fmla="*/ 128 w 229"/>
                  <a:gd name="T67" fmla="*/ 61 h 109"/>
                  <a:gd name="T68" fmla="*/ 133 w 229"/>
                  <a:gd name="T69" fmla="*/ 66 h 109"/>
                  <a:gd name="T70" fmla="*/ 135 w 229"/>
                  <a:gd name="T71" fmla="*/ 72 h 109"/>
                  <a:gd name="T72" fmla="*/ 139 w 229"/>
                  <a:gd name="T73" fmla="*/ 86 h 109"/>
                  <a:gd name="T74" fmla="*/ 141 w 229"/>
                  <a:gd name="T75" fmla="*/ 99 h 109"/>
                  <a:gd name="T76" fmla="*/ 143 w 229"/>
                  <a:gd name="T77" fmla="*/ 102 h 109"/>
                  <a:gd name="T78" fmla="*/ 146 w 229"/>
                  <a:gd name="T79" fmla="*/ 105 h 109"/>
                  <a:gd name="T80" fmla="*/ 146 w 229"/>
                  <a:gd name="T81" fmla="*/ 105 h 109"/>
                  <a:gd name="T82" fmla="*/ 163 w 229"/>
                  <a:gd name="T83" fmla="*/ 109 h 109"/>
                  <a:gd name="T84" fmla="*/ 171 w 229"/>
                  <a:gd name="T85" fmla="*/ 109 h 109"/>
                  <a:gd name="T86" fmla="*/ 178 w 229"/>
                  <a:gd name="T87" fmla="*/ 109 h 109"/>
                  <a:gd name="T88" fmla="*/ 185 w 229"/>
                  <a:gd name="T89" fmla="*/ 108 h 109"/>
                  <a:gd name="T90" fmla="*/ 193 w 229"/>
                  <a:gd name="T91" fmla="*/ 106 h 109"/>
                  <a:gd name="T92" fmla="*/ 200 w 229"/>
                  <a:gd name="T93" fmla="*/ 102 h 109"/>
                  <a:gd name="T94" fmla="*/ 209 w 229"/>
                  <a:gd name="T95" fmla="*/ 98 h 109"/>
                  <a:gd name="T96" fmla="*/ 209 w 229"/>
                  <a:gd name="T97" fmla="*/ 98 h 109"/>
                  <a:gd name="T98" fmla="*/ 214 w 229"/>
                  <a:gd name="T99" fmla="*/ 93 h 109"/>
                  <a:gd name="T100" fmla="*/ 219 w 229"/>
                  <a:gd name="T101" fmla="*/ 89 h 109"/>
                  <a:gd name="T102" fmla="*/ 229 w 229"/>
                  <a:gd name="T103" fmla="*/ 78 h 109"/>
                  <a:gd name="T104" fmla="*/ 229 w 229"/>
                  <a:gd name="T105" fmla="*/ 7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9" h="109">
                    <a:moveTo>
                      <a:pt x="229" y="78"/>
                    </a:moveTo>
                    <a:lnTo>
                      <a:pt x="229" y="78"/>
                    </a:lnTo>
                    <a:lnTo>
                      <a:pt x="196" y="61"/>
                    </a:lnTo>
                    <a:lnTo>
                      <a:pt x="164" y="44"/>
                    </a:lnTo>
                    <a:lnTo>
                      <a:pt x="102" y="6"/>
                    </a:lnTo>
                    <a:lnTo>
                      <a:pt x="102" y="6"/>
                    </a:lnTo>
                    <a:lnTo>
                      <a:pt x="96" y="3"/>
                    </a:lnTo>
                    <a:lnTo>
                      <a:pt x="89" y="1"/>
                    </a:lnTo>
                    <a:lnTo>
                      <a:pt x="81" y="1"/>
                    </a:lnTo>
                    <a:lnTo>
                      <a:pt x="74" y="0"/>
                    </a:lnTo>
                    <a:lnTo>
                      <a:pt x="59" y="2"/>
                    </a:lnTo>
                    <a:lnTo>
                      <a:pt x="46" y="6"/>
                    </a:lnTo>
                    <a:lnTo>
                      <a:pt x="46" y="6"/>
                    </a:lnTo>
                    <a:lnTo>
                      <a:pt x="34" y="11"/>
                    </a:lnTo>
                    <a:lnTo>
                      <a:pt x="13" y="23"/>
                    </a:lnTo>
                    <a:lnTo>
                      <a:pt x="5" y="29"/>
                    </a:lnTo>
                    <a:lnTo>
                      <a:pt x="0" y="34"/>
                    </a:lnTo>
                    <a:lnTo>
                      <a:pt x="0" y="37"/>
                    </a:lnTo>
                    <a:lnTo>
                      <a:pt x="1" y="38"/>
                    </a:lnTo>
                    <a:lnTo>
                      <a:pt x="3" y="39"/>
                    </a:lnTo>
                    <a:lnTo>
                      <a:pt x="8" y="40"/>
                    </a:lnTo>
                    <a:lnTo>
                      <a:pt x="8" y="40"/>
                    </a:lnTo>
                    <a:lnTo>
                      <a:pt x="25" y="39"/>
                    </a:lnTo>
                    <a:lnTo>
                      <a:pt x="41" y="38"/>
                    </a:lnTo>
                    <a:lnTo>
                      <a:pt x="56" y="38"/>
                    </a:lnTo>
                    <a:lnTo>
                      <a:pt x="71" y="37"/>
                    </a:lnTo>
                    <a:lnTo>
                      <a:pt x="86" y="39"/>
                    </a:lnTo>
                    <a:lnTo>
                      <a:pt x="93" y="40"/>
                    </a:lnTo>
                    <a:lnTo>
                      <a:pt x="100" y="42"/>
                    </a:lnTo>
                    <a:lnTo>
                      <a:pt x="107" y="46"/>
                    </a:lnTo>
                    <a:lnTo>
                      <a:pt x="114" y="49"/>
                    </a:lnTo>
                    <a:lnTo>
                      <a:pt x="122" y="55"/>
                    </a:lnTo>
                    <a:lnTo>
                      <a:pt x="128" y="61"/>
                    </a:lnTo>
                    <a:lnTo>
                      <a:pt x="128" y="61"/>
                    </a:lnTo>
                    <a:lnTo>
                      <a:pt x="133" y="66"/>
                    </a:lnTo>
                    <a:lnTo>
                      <a:pt x="135" y="72"/>
                    </a:lnTo>
                    <a:lnTo>
                      <a:pt x="139" y="86"/>
                    </a:lnTo>
                    <a:lnTo>
                      <a:pt x="141" y="99"/>
                    </a:lnTo>
                    <a:lnTo>
                      <a:pt x="143" y="102"/>
                    </a:lnTo>
                    <a:lnTo>
                      <a:pt x="146" y="105"/>
                    </a:lnTo>
                    <a:lnTo>
                      <a:pt x="146" y="105"/>
                    </a:lnTo>
                    <a:lnTo>
                      <a:pt x="163" y="109"/>
                    </a:lnTo>
                    <a:lnTo>
                      <a:pt x="171" y="109"/>
                    </a:lnTo>
                    <a:lnTo>
                      <a:pt x="178" y="109"/>
                    </a:lnTo>
                    <a:lnTo>
                      <a:pt x="185" y="108"/>
                    </a:lnTo>
                    <a:lnTo>
                      <a:pt x="193" y="106"/>
                    </a:lnTo>
                    <a:lnTo>
                      <a:pt x="200" y="102"/>
                    </a:lnTo>
                    <a:lnTo>
                      <a:pt x="209" y="98"/>
                    </a:lnTo>
                    <a:lnTo>
                      <a:pt x="209" y="98"/>
                    </a:lnTo>
                    <a:lnTo>
                      <a:pt x="214" y="93"/>
                    </a:lnTo>
                    <a:lnTo>
                      <a:pt x="219" y="89"/>
                    </a:lnTo>
                    <a:lnTo>
                      <a:pt x="229" y="78"/>
                    </a:lnTo>
                    <a:lnTo>
                      <a:pt x="229" y="78"/>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62" name="Freeform 377">
                <a:extLst>
                  <a:ext uri="{FF2B5EF4-FFF2-40B4-BE49-F238E27FC236}">
                    <a16:creationId xmlns:a16="http://schemas.microsoft.com/office/drawing/2014/main" id="{917C7937-490A-4108-8D18-BD81639BCAD6}"/>
                  </a:ext>
                </a:extLst>
              </p:cNvPr>
              <p:cNvSpPr>
                <a:spLocks/>
              </p:cNvSpPr>
              <p:nvPr/>
            </p:nvSpPr>
            <p:spPr bwMode="auto">
              <a:xfrm>
                <a:off x="2962275" y="774700"/>
                <a:ext cx="11113" cy="17463"/>
              </a:xfrm>
              <a:custGeom>
                <a:avLst/>
                <a:gdLst>
                  <a:gd name="T0" fmla="*/ 1 w 47"/>
                  <a:gd name="T1" fmla="*/ 28 h 76"/>
                  <a:gd name="T2" fmla="*/ 1 w 47"/>
                  <a:gd name="T3" fmla="*/ 28 h 76"/>
                  <a:gd name="T4" fmla="*/ 12 w 47"/>
                  <a:gd name="T5" fmla="*/ 39 h 76"/>
                  <a:gd name="T6" fmla="*/ 20 w 47"/>
                  <a:gd name="T7" fmla="*/ 50 h 76"/>
                  <a:gd name="T8" fmla="*/ 28 w 47"/>
                  <a:gd name="T9" fmla="*/ 62 h 76"/>
                  <a:gd name="T10" fmla="*/ 36 w 47"/>
                  <a:gd name="T11" fmla="*/ 76 h 76"/>
                  <a:gd name="T12" fmla="*/ 36 w 47"/>
                  <a:gd name="T13" fmla="*/ 76 h 76"/>
                  <a:gd name="T14" fmla="*/ 40 w 47"/>
                  <a:gd name="T15" fmla="*/ 71 h 76"/>
                  <a:gd name="T16" fmla="*/ 44 w 47"/>
                  <a:gd name="T17" fmla="*/ 65 h 76"/>
                  <a:gd name="T18" fmla="*/ 46 w 47"/>
                  <a:gd name="T19" fmla="*/ 61 h 76"/>
                  <a:gd name="T20" fmla="*/ 47 w 47"/>
                  <a:gd name="T21" fmla="*/ 55 h 76"/>
                  <a:gd name="T22" fmla="*/ 47 w 47"/>
                  <a:gd name="T23" fmla="*/ 49 h 76"/>
                  <a:gd name="T24" fmla="*/ 46 w 47"/>
                  <a:gd name="T25" fmla="*/ 43 h 76"/>
                  <a:gd name="T26" fmla="*/ 44 w 47"/>
                  <a:gd name="T27" fmla="*/ 38 h 76"/>
                  <a:gd name="T28" fmla="*/ 40 w 47"/>
                  <a:gd name="T29" fmla="*/ 32 h 76"/>
                  <a:gd name="T30" fmla="*/ 40 w 47"/>
                  <a:gd name="T31" fmla="*/ 32 h 76"/>
                  <a:gd name="T32" fmla="*/ 23 w 47"/>
                  <a:gd name="T33" fmla="*/ 41 h 76"/>
                  <a:gd name="T34" fmla="*/ 23 w 47"/>
                  <a:gd name="T35" fmla="*/ 41 h 76"/>
                  <a:gd name="T36" fmla="*/ 29 w 47"/>
                  <a:gd name="T37" fmla="*/ 34 h 76"/>
                  <a:gd name="T38" fmla="*/ 31 w 47"/>
                  <a:gd name="T39" fmla="*/ 27 h 76"/>
                  <a:gd name="T40" fmla="*/ 30 w 47"/>
                  <a:gd name="T41" fmla="*/ 22 h 76"/>
                  <a:gd name="T42" fmla="*/ 28 w 47"/>
                  <a:gd name="T43" fmla="*/ 15 h 76"/>
                  <a:gd name="T44" fmla="*/ 23 w 47"/>
                  <a:gd name="T45" fmla="*/ 10 h 76"/>
                  <a:gd name="T46" fmla="*/ 17 w 47"/>
                  <a:gd name="T47" fmla="*/ 5 h 76"/>
                  <a:gd name="T48" fmla="*/ 10 w 47"/>
                  <a:gd name="T49" fmla="*/ 2 h 76"/>
                  <a:gd name="T50" fmla="*/ 2 w 47"/>
                  <a:gd name="T51" fmla="*/ 0 h 76"/>
                  <a:gd name="T52" fmla="*/ 2 w 47"/>
                  <a:gd name="T53" fmla="*/ 0 h 76"/>
                  <a:gd name="T54" fmla="*/ 1 w 47"/>
                  <a:gd name="T55" fmla="*/ 15 h 76"/>
                  <a:gd name="T56" fmla="*/ 0 w 47"/>
                  <a:gd name="T57" fmla="*/ 22 h 76"/>
                  <a:gd name="T58" fmla="*/ 1 w 47"/>
                  <a:gd name="T59" fmla="*/ 28 h 76"/>
                  <a:gd name="T60" fmla="*/ 1 w 47"/>
                  <a:gd name="T61" fmla="*/ 2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7" h="76">
                    <a:moveTo>
                      <a:pt x="1" y="28"/>
                    </a:moveTo>
                    <a:lnTo>
                      <a:pt x="1" y="28"/>
                    </a:lnTo>
                    <a:lnTo>
                      <a:pt x="12" y="39"/>
                    </a:lnTo>
                    <a:lnTo>
                      <a:pt x="20" y="50"/>
                    </a:lnTo>
                    <a:lnTo>
                      <a:pt x="28" y="62"/>
                    </a:lnTo>
                    <a:lnTo>
                      <a:pt x="36" y="76"/>
                    </a:lnTo>
                    <a:lnTo>
                      <a:pt x="36" y="76"/>
                    </a:lnTo>
                    <a:lnTo>
                      <a:pt x="40" y="71"/>
                    </a:lnTo>
                    <a:lnTo>
                      <a:pt x="44" y="65"/>
                    </a:lnTo>
                    <a:lnTo>
                      <a:pt x="46" y="61"/>
                    </a:lnTo>
                    <a:lnTo>
                      <a:pt x="47" y="55"/>
                    </a:lnTo>
                    <a:lnTo>
                      <a:pt x="47" y="49"/>
                    </a:lnTo>
                    <a:lnTo>
                      <a:pt x="46" y="43"/>
                    </a:lnTo>
                    <a:lnTo>
                      <a:pt x="44" y="38"/>
                    </a:lnTo>
                    <a:lnTo>
                      <a:pt x="40" y="32"/>
                    </a:lnTo>
                    <a:lnTo>
                      <a:pt x="40" y="32"/>
                    </a:lnTo>
                    <a:lnTo>
                      <a:pt x="23" y="41"/>
                    </a:lnTo>
                    <a:lnTo>
                      <a:pt x="23" y="41"/>
                    </a:lnTo>
                    <a:lnTo>
                      <a:pt x="29" y="34"/>
                    </a:lnTo>
                    <a:lnTo>
                      <a:pt x="31" y="27"/>
                    </a:lnTo>
                    <a:lnTo>
                      <a:pt x="30" y="22"/>
                    </a:lnTo>
                    <a:lnTo>
                      <a:pt x="28" y="15"/>
                    </a:lnTo>
                    <a:lnTo>
                      <a:pt x="23" y="10"/>
                    </a:lnTo>
                    <a:lnTo>
                      <a:pt x="17" y="5"/>
                    </a:lnTo>
                    <a:lnTo>
                      <a:pt x="10" y="2"/>
                    </a:lnTo>
                    <a:lnTo>
                      <a:pt x="2" y="0"/>
                    </a:lnTo>
                    <a:lnTo>
                      <a:pt x="2" y="0"/>
                    </a:lnTo>
                    <a:lnTo>
                      <a:pt x="1" y="15"/>
                    </a:lnTo>
                    <a:lnTo>
                      <a:pt x="0" y="22"/>
                    </a:lnTo>
                    <a:lnTo>
                      <a:pt x="1" y="28"/>
                    </a:lnTo>
                    <a:lnTo>
                      <a:pt x="1" y="28"/>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63" name="Freeform 378">
                <a:extLst>
                  <a:ext uri="{FF2B5EF4-FFF2-40B4-BE49-F238E27FC236}">
                    <a16:creationId xmlns:a16="http://schemas.microsoft.com/office/drawing/2014/main" id="{E523BC75-B1A0-44D6-8B61-55E0143EE041}"/>
                  </a:ext>
                </a:extLst>
              </p:cNvPr>
              <p:cNvSpPr>
                <a:spLocks/>
              </p:cNvSpPr>
              <p:nvPr/>
            </p:nvSpPr>
            <p:spPr bwMode="auto">
              <a:xfrm>
                <a:off x="2976563" y="784225"/>
                <a:ext cx="6350" cy="9525"/>
              </a:xfrm>
              <a:custGeom>
                <a:avLst/>
                <a:gdLst>
                  <a:gd name="T0" fmla="*/ 0 w 31"/>
                  <a:gd name="T1" fmla="*/ 0 h 39"/>
                  <a:gd name="T2" fmla="*/ 0 w 31"/>
                  <a:gd name="T3" fmla="*/ 0 h 39"/>
                  <a:gd name="T4" fmla="*/ 2 w 31"/>
                  <a:gd name="T5" fmla="*/ 11 h 39"/>
                  <a:gd name="T6" fmla="*/ 6 w 31"/>
                  <a:gd name="T7" fmla="*/ 21 h 39"/>
                  <a:gd name="T8" fmla="*/ 11 w 31"/>
                  <a:gd name="T9" fmla="*/ 31 h 39"/>
                  <a:gd name="T10" fmla="*/ 18 w 31"/>
                  <a:gd name="T11" fmla="*/ 39 h 39"/>
                  <a:gd name="T12" fmla="*/ 18 w 31"/>
                  <a:gd name="T13" fmla="*/ 39 h 39"/>
                  <a:gd name="T14" fmla="*/ 23 w 31"/>
                  <a:gd name="T15" fmla="*/ 36 h 39"/>
                  <a:gd name="T16" fmla="*/ 26 w 31"/>
                  <a:gd name="T17" fmla="*/ 32 h 39"/>
                  <a:gd name="T18" fmla="*/ 29 w 31"/>
                  <a:gd name="T19" fmla="*/ 29 h 39"/>
                  <a:gd name="T20" fmla="*/ 30 w 31"/>
                  <a:gd name="T21" fmla="*/ 25 h 39"/>
                  <a:gd name="T22" fmla="*/ 31 w 31"/>
                  <a:gd name="T23" fmla="*/ 22 h 39"/>
                  <a:gd name="T24" fmla="*/ 31 w 31"/>
                  <a:gd name="T25" fmla="*/ 18 h 39"/>
                  <a:gd name="T26" fmla="*/ 31 w 31"/>
                  <a:gd name="T27" fmla="*/ 15 h 39"/>
                  <a:gd name="T28" fmla="*/ 30 w 31"/>
                  <a:gd name="T29" fmla="*/ 11 h 39"/>
                  <a:gd name="T30" fmla="*/ 25 w 31"/>
                  <a:gd name="T31" fmla="*/ 6 h 39"/>
                  <a:gd name="T32" fmla="*/ 18 w 31"/>
                  <a:gd name="T33" fmla="*/ 1 h 39"/>
                  <a:gd name="T34" fmla="*/ 10 w 31"/>
                  <a:gd name="T35" fmla="*/ 0 h 39"/>
                  <a:gd name="T36" fmla="*/ 6 w 31"/>
                  <a:gd name="T37" fmla="*/ 0 h 39"/>
                  <a:gd name="T38" fmla="*/ 0 w 31"/>
                  <a:gd name="T39" fmla="*/ 0 h 39"/>
                  <a:gd name="T40" fmla="*/ 0 w 31"/>
                  <a:gd name="T4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39">
                    <a:moveTo>
                      <a:pt x="0" y="0"/>
                    </a:moveTo>
                    <a:lnTo>
                      <a:pt x="0" y="0"/>
                    </a:lnTo>
                    <a:lnTo>
                      <a:pt x="2" y="11"/>
                    </a:lnTo>
                    <a:lnTo>
                      <a:pt x="6" y="21"/>
                    </a:lnTo>
                    <a:lnTo>
                      <a:pt x="11" y="31"/>
                    </a:lnTo>
                    <a:lnTo>
                      <a:pt x="18" y="39"/>
                    </a:lnTo>
                    <a:lnTo>
                      <a:pt x="18" y="39"/>
                    </a:lnTo>
                    <a:lnTo>
                      <a:pt x="23" y="36"/>
                    </a:lnTo>
                    <a:lnTo>
                      <a:pt x="26" y="32"/>
                    </a:lnTo>
                    <a:lnTo>
                      <a:pt x="29" y="29"/>
                    </a:lnTo>
                    <a:lnTo>
                      <a:pt x="30" y="25"/>
                    </a:lnTo>
                    <a:lnTo>
                      <a:pt x="31" y="22"/>
                    </a:lnTo>
                    <a:lnTo>
                      <a:pt x="31" y="18"/>
                    </a:lnTo>
                    <a:lnTo>
                      <a:pt x="31" y="15"/>
                    </a:lnTo>
                    <a:lnTo>
                      <a:pt x="30" y="11"/>
                    </a:lnTo>
                    <a:lnTo>
                      <a:pt x="25" y="6"/>
                    </a:lnTo>
                    <a:lnTo>
                      <a:pt x="18" y="1"/>
                    </a:lnTo>
                    <a:lnTo>
                      <a:pt x="10" y="0"/>
                    </a:lnTo>
                    <a:lnTo>
                      <a:pt x="6" y="0"/>
                    </a:lnTo>
                    <a:lnTo>
                      <a:pt x="0" y="0"/>
                    </a:lnTo>
                    <a:lnTo>
                      <a:pt x="0" y="0"/>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64" name="Freeform 379">
                <a:extLst>
                  <a:ext uri="{FF2B5EF4-FFF2-40B4-BE49-F238E27FC236}">
                    <a16:creationId xmlns:a16="http://schemas.microsoft.com/office/drawing/2014/main" id="{4EF880F8-2551-4BA5-B5CC-5AF453476BE8}"/>
                  </a:ext>
                </a:extLst>
              </p:cNvPr>
              <p:cNvSpPr>
                <a:spLocks/>
              </p:cNvSpPr>
              <p:nvPr/>
            </p:nvSpPr>
            <p:spPr bwMode="auto">
              <a:xfrm>
                <a:off x="2965450" y="763588"/>
                <a:ext cx="15875" cy="20638"/>
              </a:xfrm>
              <a:custGeom>
                <a:avLst/>
                <a:gdLst>
                  <a:gd name="T0" fmla="*/ 36 w 67"/>
                  <a:gd name="T1" fmla="*/ 5 h 92"/>
                  <a:gd name="T2" fmla="*/ 36 w 67"/>
                  <a:gd name="T3" fmla="*/ 5 h 92"/>
                  <a:gd name="T4" fmla="*/ 31 w 67"/>
                  <a:gd name="T5" fmla="*/ 3 h 92"/>
                  <a:gd name="T6" fmla="*/ 25 w 67"/>
                  <a:gd name="T7" fmla="*/ 1 h 92"/>
                  <a:gd name="T8" fmla="*/ 21 w 67"/>
                  <a:gd name="T9" fmla="*/ 0 h 92"/>
                  <a:gd name="T10" fmla="*/ 16 w 67"/>
                  <a:gd name="T11" fmla="*/ 1 h 92"/>
                  <a:gd name="T12" fmla="*/ 11 w 67"/>
                  <a:gd name="T13" fmla="*/ 4 h 92"/>
                  <a:gd name="T14" fmla="*/ 8 w 67"/>
                  <a:gd name="T15" fmla="*/ 6 h 92"/>
                  <a:gd name="T16" fmla="*/ 3 w 67"/>
                  <a:gd name="T17" fmla="*/ 11 h 92"/>
                  <a:gd name="T18" fmla="*/ 0 w 67"/>
                  <a:gd name="T19" fmla="*/ 15 h 92"/>
                  <a:gd name="T20" fmla="*/ 0 w 67"/>
                  <a:gd name="T21" fmla="*/ 15 h 92"/>
                  <a:gd name="T22" fmla="*/ 7 w 67"/>
                  <a:gd name="T23" fmla="*/ 20 h 92"/>
                  <a:gd name="T24" fmla="*/ 11 w 67"/>
                  <a:gd name="T25" fmla="*/ 23 h 92"/>
                  <a:gd name="T26" fmla="*/ 19 w 67"/>
                  <a:gd name="T27" fmla="*/ 30 h 92"/>
                  <a:gd name="T28" fmla="*/ 26 w 67"/>
                  <a:gd name="T29" fmla="*/ 36 h 92"/>
                  <a:gd name="T30" fmla="*/ 32 w 67"/>
                  <a:gd name="T31" fmla="*/ 39 h 92"/>
                  <a:gd name="T32" fmla="*/ 39 w 67"/>
                  <a:gd name="T33" fmla="*/ 42 h 92"/>
                  <a:gd name="T34" fmla="*/ 39 w 67"/>
                  <a:gd name="T35" fmla="*/ 42 h 92"/>
                  <a:gd name="T36" fmla="*/ 33 w 67"/>
                  <a:gd name="T37" fmla="*/ 45 h 92"/>
                  <a:gd name="T38" fmla="*/ 29 w 67"/>
                  <a:gd name="T39" fmla="*/ 49 h 92"/>
                  <a:gd name="T40" fmla="*/ 26 w 67"/>
                  <a:gd name="T41" fmla="*/ 52 h 92"/>
                  <a:gd name="T42" fmla="*/ 25 w 67"/>
                  <a:gd name="T43" fmla="*/ 56 h 92"/>
                  <a:gd name="T44" fmla="*/ 25 w 67"/>
                  <a:gd name="T45" fmla="*/ 59 h 92"/>
                  <a:gd name="T46" fmla="*/ 26 w 67"/>
                  <a:gd name="T47" fmla="*/ 64 h 92"/>
                  <a:gd name="T48" fmla="*/ 29 w 67"/>
                  <a:gd name="T49" fmla="*/ 67 h 92"/>
                  <a:gd name="T50" fmla="*/ 31 w 67"/>
                  <a:gd name="T51" fmla="*/ 72 h 92"/>
                  <a:gd name="T52" fmla="*/ 39 w 67"/>
                  <a:gd name="T53" fmla="*/ 79 h 92"/>
                  <a:gd name="T54" fmla="*/ 47 w 67"/>
                  <a:gd name="T55" fmla="*/ 86 h 92"/>
                  <a:gd name="T56" fmla="*/ 57 w 67"/>
                  <a:gd name="T57" fmla="*/ 90 h 92"/>
                  <a:gd name="T58" fmla="*/ 67 w 67"/>
                  <a:gd name="T59" fmla="*/ 92 h 92"/>
                  <a:gd name="T60" fmla="*/ 67 w 67"/>
                  <a:gd name="T61" fmla="*/ 92 h 92"/>
                  <a:gd name="T62" fmla="*/ 67 w 67"/>
                  <a:gd name="T63" fmla="*/ 86 h 92"/>
                  <a:gd name="T64" fmla="*/ 65 w 67"/>
                  <a:gd name="T65" fmla="*/ 79 h 92"/>
                  <a:gd name="T66" fmla="*/ 63 w 67"/>
                  <a:gd name="T67" fmla="*/ 73 h 92"/>
                  <a:gd name="T68" fmla="*/ 61 w 67"/>
                  <a:gd name="T69" fmla="*/ 68 h 92"/>
                  <a:gd name="T70" fmla="*/ 54 w 67"/>
                  <a:gd name="T71" fmla="*/ 58 h 92"/>
                  <a:gd name="T72" fmla="*/ 47 w 67"/>
                  <a:gd name="T73" fmla="*/ 45 h 92"/>
                  <a:gd name="T74" fmla="*/ 47 w 67"/>
                  <a:gd name="T75" fmla="*/ 45 h 92"/>
                  <a:gd name="T76" fmla="*/ 45 w 67"/>
                  <a:gd name="T77" fmla="*/ 39 h 92"/>
                  <a:gd name="T78" fmla="*/ 46 w 67"/>
                  <a:gd name="T79" fmla="*/ 35 h 92"/>
                  <a:gd name="T80" fmla="*/ 48 w 67"/>
                  <a:gd name="T81" fmla="*/ 23 h 92"/>
                  <a:gd name="T82" fmla="*/ 49 w 67"/>
                  <a:gd name="T83" fmla="*/ 19 h 92"/>
                  <a:gd name="T84" fmla="*/ 47 w 67"/>
                  <a:gd name="T85" fmla="*/ 14 h 92"/>
                  <a:gd name="T86" fmla="*/ 44 w 67"/>
                  <a:gd name="T87" fmla="*/ 10 h 92"/>
                  <a:gd name="T88" fmla="*/ 36 w 67"/>
                  <a:gd name="T89" fmla="*/ 5 h 92"/>
                  <a:gd name="T90" fmla="*/ 36 w 67"/>
                  <a:gd name="T91" fmla="*/ 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7" h="92">
                    <a:moveTo>
                      <a:pt x="36" y="5"/>
                    </a:moveTo>
                    <a:lnTo>
                      <a:pt x="36" y="5"/>
                    </a:lnTo>
                    <a:lnTo>
                      <a:pt x="31" y="3"/>
                    </a:lnTo>
                    <a:lnTo>
                      <a:pt x="25" y="1"/>
                    </a:lnTo>
                    <a:lnTo>
                      <a:pt x="21" y="0"/>
                    </a:lnTo>
                    <a:lnTo>
                      <a:pt x="16" y="1"/>
                    </a:lnTo>
                    <a:lnTo>
                      <a:pt x="11" y="4"/>
                    </a:lnTo>
                    <a:lnTo>
                      <a:pt x="8" y="6"/>
                    </a:lnTo>
                    <a:lnTo>
                      <a:pt x="3" y="11"/>
                    </a:lnTo>
                    <a:lnTo>
                      <a:pt x="0" y="15"/>
                    </a:lnTo>
                    <a:lnTo>
                      <a:pt x="0" y="15"/>
                    </a:lnTo>
                    <a:lnTo>
                      <a:pt x="7" y="20"/>
                    </a:lnTo>
                    <a:lnTo>
                      <a:pt x="11" y="23"/>
                    </a:lnTo>
                    <a:lnTo>
                      <a:pt x="19" y="30"/>
                    </a:lnTo>
                    <a:lnTo>
                      <a:pt x="26" y="36"/>
                    </a:lnTo>
                    <a:lnTo>
                      <a:pt x="32" y="39"/>
                    </a:lnTo>
                    <a:lnTo>
                      <a:pt x="39" y="42"/>
                    </a:lnTo>
                    <a:lnTo>
                      <a:pt x="39" y="42"/>
                    </a:lnTo>
                    <a:lnTo>
                      <a:pt x="33" y="45"/>
                    </a:lnTo>
                    <a:lnTo>
                      <a:pt x="29" y="49"/>
                    </a:lnTo>
                    <a:lnTo>
                      <a:pt x="26" y="52"/>
                    </a:lnTo>
                    <a:lnTo>
                      <a:pt x="25" y="56"/>
                    </a:lnTo>
                    <a:lnTo>
                      <a:pt x="25" y="59"/>
                    </a:lnTo>
                    <a:lnTo>
                      <a:pt x="26" y="64"/>
                    </a:lnTo>
                    <a:lnTo>
                      <a:pt x="29" y="67"/>
                    </a:lnTo>
                    <a:lnTo>
                      <a:pt x="31" y="72"/>
                    </a:lnTo>
                    <a:lnTo>
                      <a:pt x="39" y="79"/>
                    </a:lnTo>
                    <a:lnTo>
                      <a:pt x="47" y="86"/>
                    </a:lnTo>
                    <a:lnTo>
                      <a:pt x="57" y="90"/>
                    </a:lnTo>
                    <a:lnTo>
                      <a:pt x="67" y="92"/>
                    </a:lnTo>
                    <a:lnTo>
                      <a:pt x="67" y="92"/>
                    </a:lnTo>
                    <a:lnTo>
                      <a:pt x="67" y="86"/>
                    </a:lnTo>
                    <a:lnTo>
                      <a:pt x="65" y="79"/>
                    </a:lnTo>
                    <a:lnTo>
                      <a:pt x="63" y="73"/>
                    </a:lnTo>
                    <a:lnTo>
                      <a:pt x="61" y="68"/>
                    </a:lnTo>
                    <a:lnTo>
                      <a:pt x="54" y="58"/>
                    </a:lnTo>
                    <a:lnTo>
                      <a:pt x="47" y="45"/>
                    </a:lnTo>
                    <a:lnTo>
                      <a:pt x="47" y="45"/>
                    </a:lnTo>
                    <a:lnTo>
                      <a:pt x="45" y="39"/>
                    </a:lnTo>
                    <a:lnTo>
                      <a:pt x="46" y="35"/>
                    </a:lnTo>
                    <a:lnTo>
                      <a:pt x="48" y="23"/>
                    </a:lnTo>
                    <a:lnTo>
                      <a:pt x="49" y="19"/>
                    </a:lnTo>
                    <a:lnTo>
                      <a:pt x="47" y="14"/>
                    </a:lnTo>
                    <a:lnTo>
                      <a:pt x="44" y="10"/>
                    </a:lnTo>
                    <a:lnTo>
                      <a:pt x="36" y="5"/>
                    </a:lnTo>
                    <a:lnTo>
                      <a:pt x="36" y="5"/>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65" name="Freeform 380">
                <a:extLst>
                  <a:ext uri="{FF2B5EF4-FFF2-40B4-BE49-F238E27FC236}">
                    <a16:creationId xmlns:a16="http://schemas.microsoft.com/office/drawing/2014/main" id="{BA2D6D86-9A06-4006-9638-5EAE862129A2}"/>
                  </a:ext>
                </a:extLst>
              </p:cNvPr>
              <p:cNvSpPr>
                <a:spLocks/>
              </p:cNvSpPr>
              <p:nvPr/>
            </p:nvSpPr>
            <p:spPr bwMode="auto">
              <a:xfrm>
                <a:off x="2957513" y="812800"/>
                <a:ext cx="12700" cy="7938"/>
              </a:xfrm>
              <a:custGeom>
                <a:avLst/>
                <a:gdLst>
                  <a:gd name="T0" fmla="*/ 0 w 59"/>
                  <a:gd name="T1" fmla="*/ 22 h 35"/>
                  <a:gd name="T2" fmla="*/ 0 w 59"/>
                  <a:gd name="T3" fmla="*/ 22 h 35"/>
                  <a:gd name="T4" fmla="*/ 7 w 59"/>
                  <a:gd name="T5" fmla="*/ 27 h 35"/>
                  <a:gd name="T6" fmla="*/ 15 w 59"/>
                  <a:gd name="T7" fmla="*/ 32 h 35"/>
                  <a:gd name="T8" fmla="*/ 24 w 59"/>
                  <a:gd name="T9" fmla="*/ 34 h 35"/>
                  <a:gd name="T10" fmla="*/ 32 w 59"/>
                  <a:gd name="T11" fmla="*/ 35 h 35"/>
                  <a:gd name="T12" fmla="*/ 40 w 59"/>
                  <a:gd name="T13" fmla="*/ 34 h 35"/>
                  <a:gd name="T14" fmla="*/ 47 w 59"/>
                  <a:gd name="T15" fmla="*/ 31 h 35"/>
                  <a:gd name="T16" fmla="*/ 53 w 59"/>
                  <a:gd name="T17" fmla="*/ 24 h 35"/>
                  <a:gd name="T18" fmla="*/ 59 w 59"/>
                  <a:gd name="T19" fmla="*/ 15 h 35"/>
                  <a:gd name="T20" fmla="*/ 59 w 59"/>
                  <a:gd name="T21" fmla="*/ 15 h 35"/>
                  <a:gd name="T22" fmla="*/ 52 w 59"/>
                  <a:gd name="T23" fmla="*/ 9 h 35"/>
                  <a:gd name="T24" fmla="*/ 43 w 59"/>
                  <a:gd name="T25" fmla="*/ 4 h 35"/>
                  <a:gd name="T26" fmla="*/ 32 w 59"/>
                  <a:gd name="T27" fmla="*/ 1 h 35"/>
                  <a:gd name="T28" fmla="*/ 23 w 59"/>
                  <a:gd name="T29" fmla="*/ 0 h 35"/>
                  <a:gd name="T30" fmla="*/ 14 w 59"/>
                  <a:gd name="T31" fmla="*/ 1 h 35"/>
                  <a:gd name="T32" fmla="*/ 9 w 59"/>
                  <a:gd name="T33" fmla="*/ 2 h 35"/>
                  <a:gd name="T34" fmla="*/ 6 w 59"/>
                  <a:gd name="T35" fmla="*/ 4 h 35"/>
                  <a:gd name="T36" fmla="*/ 3 w 59"/>
                  <a:gd name="T37" fmla="*/ 8 h 35"/>
                  <a:gd name="T38" fmla="*/ 1 w 59"/>
                  <a:gd name="T39" fmla="*/ 11 h 35"/>
                  <a:gd name="T40" fmla="*/ 0 w 59"/>
                  <a:gd name="T41" fmla="*/ 16 h 35"/>
                  <a:gd name="T42" fmla="*/ 0 w 59"/>
                  <a:gd name="T43" fmla="*/ 22 h 35"/>
                  <a:gd name="T44" fmla="*/ 0 w 59"/>
                  <a:gd name="T45"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 h="35">
                    <a:moveTo>
                      <a:pt x="0" y="22"/>
                    </a:moveTo>
                    <a:lnTo>
                      <a:pt x="0" y="22"/>
                    </a:lnTo>
                    <a:lnTo>
                      <a:pt x="7" y="27"/>
                    </a:lnTo>
                    <a:lnTo>
                      <a:pt x="15" y="32"/>
                    </a:lnTo>
                    <a:lnTo>
                      <a:pt x="24" y="34"/>
                    </a:lnTo>
                    <a:lnTo>
                      <a:pt x="32" y="35"/>
                    </a:lnTo>
                    <a:lnTo>
                      <a:pt x="40" y="34"/>
                    </a:lnTo>
                    <a:lnTo>
                      <a:pt x="47" y="31"/>
                    </a:lnTo>
                    <a:lnTo>
                      <a:pt x="53" y="24"/>
                    </a:lnTo>
                    <a:lnTo>
                      <a:pt x="59" y="15"/>
                    </a:lnTo>
                    <a:lnTo>
                      <a:pt x="59" y="15"/>
                    </a:lnTo>
                    <a:lnTo>
                      <a:pt x="52" y="9"/>
                    </a:lnTo>
                    <a:lnTo>
                      <a:pt x="43" y="4"/>
                    </a:lnTo>
                    <a:lnTo>
                      <a:pt x="32" y="1"/>
                    </a:lnTo>
                    <a:lnTo>
                      <a:pt x="23" y="0"/>
                    </a:lnTo>
                    <a:lnTo>
                      <a:pt x="14" y="1"/>
                    </a:lnTo>
                    <a:lnTo>
                      <a:pt x="9" y="2"/>
                    </a:lnTo>
                    <a:lnTo>
                      <a:pt x="6" y="4"/>
                    </a:lnTo>
                    <a:lnTo>
                      <a:pt x="3" y="8"/>
                    </a:lnTo>
                    <a:lnTo>
                      <a:pt x="1" y="11"/>
                    </a:lnTo>
                    <a:lnTo>
                      <a:pt x="0" y="16"/>
                    </a:lnTo>
                    <a:lnTo>
                      <a:pt x="0" y="22"/>
                    </a:lnTo>
                    <a:lnTo>
                      <a:pt x="0" y="22"/>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66" name="Freeform 381">
                <a:extLst>
                  <a:ext uri="{FF2B5EF4-FFF2-40B4-BE49-F238E27FC236}">
                    <a16:creationId xmlns:a16="http://schemas.microsoft.com/office/drawing/2014/main" id="{5AC72B95-7B6D-4A29-A6E4-FAB5E359F5EE}"/>
                  </a:ext>
                </a:extLst>
              </p:cNvPr>
              <p:cNvSpPr>
                <a:spLocks/>
              </p:cNvSpPr>
              <p:nvPr/>
            </p:nvSpPr>
            <p:spPr bwMode="auto">
              <a:xfrm>
                <a:off x="2882900" y="914400"/>
                <a:ext cx="7938" cy="12700"/>
              </a:xfrm>
              <a:custGeom>
                <a:avLst/>
                <a:gdLst>
                  <a:gd name="T0" fmla="*/ 13 w 36"/>
                  <a:gd name="T1" fmla="*/ 0 h 57"/>
                  <a:gd name="T2" fmla="*/ 13 w 36"/>
                  <a:gd name="T3" fmla="*/ 0 h 57"/>
                  <a:gd name="T4" fmla="*/ 12 w 36"/>
                  <a:gd name="T5" fmla="*/ 5 h 57"/>
                  <a:gd name="T6" fmla="*/ 9 w 36"/>
                  <a:gd name="T7" fmla="*/ 14 h 57"/>
                  <a:gd name="T8" fmla="*/ 2 w 36"/>
                  <a:gd name="T9" fmla="*/ 35 h 57"/>
                  <a:gd name="T10" fmla="*/ 0 w 36"/>
                  <a:gd name="T11" fmla="*/ 45 h 57"/>
                  <a:gd name="T12" fmla="*/ 0 w 36"/>
                  <a:gd name="T13" fmla="*/ 50 h 57"/>
                  <a:gd name="T14" fmla="*/ 1 w 36"/>
                  <a:gd name="T15" fmla="*/ 53 h 57"/>
                  <a:gd name="T16" fmla="*/ 2 w 36"/>
                  <a:gd name="T17" fmla="*/ 56 h 57"/>
                  <a:gd name="T18" fmla="*/ 5 w 36"/>
                  <a:gd name="T19" fmla="*/ 57 h 57"/>
                  <a:gd name="T20" fmla="*/ 8 w 36"/>
                  <a:gd name="T21" fmla="*/ 57 h 57"/>
                  <a:gd name="T22" fmla="*/ 13 w 36"/>
                  <a:gd name="T23" fmla="*/ 56 h 57"/>
                  <a:gd name="T24" fmla="*/ 13 w 36"/>
                  <a:gd name="T25" fmla="*/ 56 h 57"/>
                  <a:gd name="T26" fmla="*/ 22 w 36"/>
                  <a:gd name="T27" fmla="*/ 51 h 57"/>
                  <a:gd name="T28" fmla="*/ 30 w 36"/>
                  <a:gd name="T29" fmla="*/ 44 h 57"/>
                  <a:gd name="T30" fmla="*/ 32 w 36"/>
                  <a:gd name="T31" fmla="*/ 41 h 57"/>
                  <a:gd name="T32" fmla="*/ 35 w 36"/>
                  <a:gd name="T33" fmla="*/ 37 h 57"/>
                  <a:gd name="T34" fmla="*/ 36 w 36"/>
                  <a:gd name="T35" fmla="*/ 32 h 57"/>
                  <a:gd name="T36" fmla="*/ 36 w 36"/>
                  <a:gd name="T37" fmla="*/ 29 h 57"/>
                  <a:gd name="T38" fmla="*/ 36 w 36"/>
                  <a:gd name="T39" fmla="*/ 26 h 57"/>
                  <a:gd name="T40" fmla="*/ 35 w 36"/>
                  <a:gd name="T41" fmla="*/ 21 h 57"/>
                  <a:gd name="T42" fmla="*/ 32 w 36"/>
                  <a:gd name="T43" fmla="*/ 18 h 57"/>
                  <a:gd name="T44" fmla="*/ 30 w 36"/>
                  <a:gd name="T45" fmla="*/ 13 h 57"/>
                  <a:gd name="T46" fmla="*/ 23 w 36"/>
                  <a:gd name="T47" fmla="*/ 6 h 57"/>
                  <a:gd name="T48" fmla="*/ 13 w 36"/>
                  <a:gd name="T49" fmla="*/ 0 h 57"/>
                  <a:gd name="T50" fmla="*/ 13 w 36"/>
                  <a:gd name="T51"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 h="57">
                    <a:moveTo>
                      <a:pt x="13" y="0"/>
                    </a:moveTo>
                    <a:lnTo>
                      <a:pt x="13" y="0"/>
                    </a:lnTo>
                    <a:lnTo>
                      <a:pt x="12" y="5"/>
                    </a:lnTo>
                    <a:lnTo>
                      <a:pt x="9" y="14"/>
                    </a:lnTo>
                    <a:lnTo>
                      <a:pt x="2" y="35"/>
                    </a:lnTo>
                    <a:lnTo>
                      <a:pt x="0" y="45"/>
                    </a:lnTo>
                    <a:lnTo>
                      <a:pt x="0" y="50"/>
                    </a:lnTo>
                    <a:lnTo>
                      <a:pt x="1" y="53"/>
                    </a:lnTo>
                    <a:lnTo>
                      <a:pt x="2" y="56"/>
                    </a:lnTo>
                    <a:lnTo>
                      <a:pt x="5" y="57"/>
                    </a:lnTo>
                    <a:lnTo>
                      <a:pt x="8" y="57"/>
                    </a:lnTo>
                    <a:lnTo>
                      <a:pt x="13" y="56"/>
                    </a:lnTo>
                    <a:lnTo>
                      <a:pt x="13" y="56"/>
                    </a:lnTo>
                    <a:lnTo>
                      <a:pt x="22" y="51"/>
                    </a:lnTo>
                    <a:lnTo>
                      <a:pt x="30" y="44"/>
                    </a:lnTo>
                    <a:lnTo>
                      <a:pt x="32" y="41"/>
                    </a:lnTo>
                    <a:lnTo>
                      <a:pt x="35" y="37"/>
                    </a:lnTo>
                    <a:lnTo>
                      <a:pt x="36" y="32"/>
                    </a:lnTo>
                    <a:lnTo>
                      <a:pt x="36" y="29"/>
                    </a:lnTo>
                    <a:lnTo>
                      <a:pt x="36" y="26"/>
                    </a:lnTo>
                    <a:lnTo>
                      <a:pt x="35" y="21"/>
                    </a:lnTo>
                    <a:lnTo>
                      <a:pt x="32" y="18"/>
                    </a:lnTo>
                    <a:lnTo>
                      <a:pt x="30" y="13"/>
                    </a:lnTo>
                    <a:lnTo>
                      <a:pt x="23" y="6"/>
                    </a:lnTo>
                    <a:lnTo>
                      <a:pt x="13" y="0"/>
                    </a:lnTo>
                    <a:lnTo>
                      <a:pt x="13" y="0"/>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67" name="Freeform 382">
                <a:extLst>
                  <a:ext uri="{FF2B5EF4-FFF2-40B4-BE49-F238E27FC236}">
                    <a16:creationId xmlns:a16="http://schemas.microsoft.com/office/drawing/2014/main" id="{A5E39DF8-51F6-46DD-8231-6B8EA8931FA3}"/>
                  </a:ext>
                </a:extLst>
              </p:cNvPr>
              <p:cNvSpPr>
                <a:spLocks/>
              </p:cNvSpPr>
              <p:nvPr/>
            </p:nvSpPr>
            <p:spPr bwMode="auto">
              <a:xfrm>
                <a:off x="2935288" y="369888"/>
                <a:ext cx="44450" cy="28575"/>
              </a:xfrm>
              <a:custGeom>
                <a:avLst/>
                <a:gdLst>
                  <a:gd name="T0" fmla="*/ 66 w 199"/>
                  <a:gd name="T1" fmla="*/ 71 h 126"/>
                  <a:gd name="T2" fmla="*/ 56 w 199"/>
                  <a:gd name="T3" fmla="*/ 81 h 126"/>
                  <a:gd name="T4" fmla="*/ 54 w 199"/>
                  <a:gd name="T5" fmla="*/ 92 h 126"/>
                  <a:gd name="T6" fmla="*/ 58 w 199"/>
                  <a:gd name="T7" fmla="*/ 104 h 126"/>
                  <a:gd name="T8" fmla="*/ 66 w 199"/>
                  <a:gd name="T9" fmla="*/ 115 h 126"/>
                  <a:gd name="T10" fmla="*/ 94 w 199"/>
                  <a:gd name="T11" fmla="*/ 103 h 126"/>
                  <a:gd name="T12" fmla="*/ 122 w 199"/>
                  <a:gd name="T13" fmla="*/ 95 h 126"/>
                  <a:gd name="T14" fmla="*/ 136 w 199"/>
                  <a:gd name="T15" fmla="*/ 96 h 126"/>
                  <a:gd name="T16" fmla="*/ 147 w 199"/>
                  <a:gd name="T17" fmla="*/ 99 h 126"/>
                  <a:gd name="T18" fmla="*/ 157 w 199"/>
                  <a:gd name="T19" fmla="*/ 110 h 126"/>
                  <a:gd name="T20" fmla="*/ 165 w 199"/>
                  <a:gd name="T21" fmla="*/ 126 h 126"/>
                  <a:gd name="T22" fmla="*/ 183 w 199"/>
                  <a:gd name="T23" fmla="*/ 109 h 126"/>
                  <a:gd name="T24" fmla="*/ 195 w 199"/>
                  <a:gd name="T25" fmla="*/ 94 h 126"/>
                  <a:gd name="T26" fmla="*/ 199 w 199"/>
                  <a:gd name="T27" fmla="*/ 76 h 126"/>
                  <a:gd name="T28" fmla="*/ 192 w 199"/>
                  <a:gd name="T29" fmla="*/ 52 h 126"/>
                  <a:gd name="T30" fmla="*/ 186 w 199"/>
                  <a:gd name="T31" fmla="*/ 54 h 126"/>
                  <a:gd name="T32" fmla="*/ 174 w 199"/>
                  <a:gd name="T33" fmla="*/ 58 h 126"/>
                  <a:gd name="T34" fmla="*/ 169 w 199"/>
                  <a:gd name="T35" fmla="*/ 61 h 126"/>
                  <a:gd name="T36" fmla="*/ 167 w 199"/>
                  <a:gd name="T37" fmla="*/ 46 h 126"/>
                  <a:gd name="T38" fmla="*/ 168 w 199"/>
                  <a:gd name="T39" fmla="*/ 33 h 126"/>
                  <a:gd name="T40" fmla="*/ 174 w 199"/>
                  <a:gd name="T41" fmla="*/ 20 h 126"/>
                  <a:gd name="T42" fmla="*/ 182 w 199"/>
                  <a:gd name="T43" fmla="*/ 8 h 126"/>
                  <a:gd name="T44" fmla="*/ 173 w 199"/>
                  <a:gd name="T45" fmla="*/ 7 h 126"/>
                  <a:gd name="T46" fmla="*/ 158 w 199"/>
                  <a:gd name="T47" fmla="*/ 9 h 126"/>
                  <a:gd name="T48" fmla="*/ 147 w 199"/>
                  <a:gd name="T49" fmla="*/ 16 h 126"/>
                  <a:gd name="T50" fmla="*/ 137 w 199"/>
                  <a:gd name="T51" fmla="*/ 31 h 126"/>
                  <a:gd name="T52" fmla="*/ 128 w 199"/>
                  <a:gd name="T53" fmla="*/ 52 h 126"/>
                  <a:gd name="T54" fmla="*/ 122 w 199"/>
                  <a:gd name="T55" fmla="*/ 58 h 126"/>
                  <a:gd name="T56" fmla="*/ 115 w 199"/>
                  <a:gd name="T57" fmla="*/ 60 h 126"/>
                  <a:gd name="T58" fmla="*/ 99 w 199"/>
                  <a:gd name="T59" fmla="*/ 37 h 126"/>
                  <a:gd name="T60" fmla="*/ 79 w 199"/>
                  <a:gd name="T61" fmla="*/ 13 h 126"/>
                  <a:gd name="T62" fmla="*/ 75 w 199"/>
                  <a:gd name="T63" fmla="*/ 8 h 126"/>
                  <a:gd name="T64" fmla="*/ 66 w 199"/>
                  <a:gd name="T65" fmla="*/ 3 h 126"/>
                  <a:gd name="T66" fmla="*/ 58 w 199"/>
                  <a:gd name="T67" fmla="*/ 0 h 126"/>
                  <a:gd name="T68" fmla="*/ 39 w 199"/>
                  <a:gd name="T69" fmla="*/ 3 h 126"/>
                  <a:gd name="T70" fmla="*/ 21 w 199"/>
                  <a:gd name="T71" fmla="*/ 12 h 126"/>
                  <a:gd name="T72" fmla="*/ 1 w 199"/>
                  <a:gd name="T73" fmla="*/ 21 h 126"/>
                  <a:gd name="T74" fmla="*/ 0 w 199"/>
                  <a:gd name="T75" fmla="*/ 34 h 126"/>
                  <a:gd name="T76" fmla="*/ 3 w 199"/>
                  <a:gd name="T77" fmla="*/ 43 h 126"/>
                  <a:gd name="T78" fmla="*/ 10 w 199"/>
                  <a:gd name="T79" fmla="*/ 50 h 126"/>
                  <a:gd name="T80" fmla="*/ 31 w 199"/>
                  <a:gd name="T81" fmla="*/ 60 h 126"/>
                  <a:gd name="T82" fmla="*/ 54 w 199"/>
                  <a:gd name="T83" fmla="*/ 67 h 126"/>
                  <a:gd name="T84" fmla="*/ 66 w 199"/>
                  <a:gd name="T85" fmla="*/ 7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9" h="126">
                    <a:moveTo>
                      <a:pt x="66" y="71"/>
                    </a:moveTo>
                    <a:lnTo>
                      <a:pt x="66" y="71"/>
                    </a:lnTo>
                    <a:lnTo>
                      <a:pt x="60" y="75"/>
                    </a:lnTo>
                    <a:lnTo>
                      <a:pt x="56" y="81"/>
                    </a:lnTo>
                    <a:lnTo>
                      <a:pt x="55" y="87"/>
                    </a:lnTo>
                    <a:lnTo>
                      <a:pt x="54" y="92"/>
                    </a:lnTo>
                    <a:lnTo>
                      <a:pt x="55" y="98"/>
                    </a:lnTo>
                    <a:lnTo>
                      <a:pt x="58" y="104"/>
                    </a:lnTo>
                    <a:lnTo>
                      <a:pt x="61" y="110"/>
                    </a:lnTo>
                    <a:lnTo>
                      <a:pt x="66" y="115"/>
                    </a:lnTo>
                    <a:lnTo>
                      <a:pt x="66" y="115"/>
                    </a:lnTo>
                    <a:lnTo>
                      <a:pt x="94" y="103"/>
                    </a:lnTo>
                    <a:lnTo>
                      <a:pt x="108" y="98"/>
                    </a:lnTo>
                    <a:lnTo>
                      <a:pt x="122" y="95"/>
                    </a:lnTo>
                    <a:lnTo>
                      <a:pt x="129" y="95"/>
                    </a:lnTo>
                    <a:lnTo>
                      <a:pt x="136" y="96"/>
                    </a:lnTo>
                    <a:lnTo>
                      <a:pt x="142" y="97"/>
                    </a:lnTo>
                    <a:lnTo>
                      <a:pt x="147" y="99"/>
                    </a:lnTo>
                    <a:lnTo>
                      <a:pt x="152" y="104"/>
                    </a:lnTo>
                    <a:lnTo>
                      <a:pt x="157" y="110"/>
                    </a:lnTo>
                    <a:lnTo>
                      <a:pt x="161" y="117"/>
                    </a:lnTo>
                    <a:lnTo>
                      <a:pt x="165" y="126"/>
                    </a:lnTo>
                    <a:lnTo>
                      <a:pt x="165" y="126"/>
                    </a:lnTo>
                    <a:lnTo>
                      <a:pt x="183" y="109"/>
                    </a:lnTo>
                    <a:lnTo>
                      <a:pt x="190" y="102"/>
                    </a:lnTo>
                    <a:lnTo>
                      <a:pt x="195" y="94"/>
                    </a:lnTo>
                    <a:lnTo>
                      <a:pt x="198" y="85"/>
                    </a:lnTo>
                    <a:lnTo>
                      <a:pt x="199" y="76"/>
                    </a:lnTo>
                    <a:lnTo>
                      <a:pt x="197" y="66"/>
                    </a:lnTo>
                    <a:lnTo>
                      <a:pt x="192" y="52"/>
                    </a:lnTo>
                    <a:lnTo>
                      <a:pt x="192" y="52"/>
                    </a:lnTo>
                    <a:lnTo>
                      <a:pt x="186" y="54"/>
                    </a:lnTo>
                    <a:lnTo>
                      <a:pt x="181" y="57"/>
                    </a:lnTo>
                    <a:lnTo>
                      <a:pt x="174" y="58"/>
                    </a:lnTo>
                    <a:lnTo>
                      <a:pt x="169" y="61"/>
                    </a:lnTo>
                    <a:lnTo>
                      <a:pt x="169" y="61"/>
                    </a:lnTo>
                    <a:lnTo>
                      <a:pt x="167" y="53"/>
                    </a:lnTo>
                    <a:lnTo>
                      <a:pt x="167" y="46"/>
                    </a:lnTo>
                    <a:lnTo>
                      <a:pt x="167" y="39"/>
                    </a:lnTo>
                    <a:lnTo>
                      <a:pt x="168" y="33"/>
                    </a:lnTo>
                    <a:lnTo>
                      <a:pt x="170" y="26"/>
                    </a:lnTo>
                    <a:lnTo>
                      <a:pt x="174" y="20"/>
                    </a:lnTo>
                    <a:lnTo>
                      <a:pt x="177" y="14"/>
                    </a:lnTo>
                    <a:lnTo>
                      <a:pt x="182" y="8"/>
                    </a:lnTo>
                    <a:lnTo>
                      <a:pt x="182" y="8"/>
                    </a:lnTo>
                    <a:lnTo>
                      <a:pt x="173" y="7"/>
                    </a:lnTo>
                    <a:lnTo>
                      <a:pt x="165" y="7"/>
                    </a:lnTo>
                    <a:lnTo>
                      <a:pt x="158" y="9"/>
                    </a:lnTo>
                    <a:lnTo>
                      <a:pt x="152" y="12"/>
                    </a:lnTo>
                    <a:lnTo>
                      <a:pt x="147" y="16"/>
                    </a:lnTo>
                    <a:lnTo>
                      <a:pt x="143" y="21"/>
                    </a:lnTo>
                    <a:lnTo>
                      <a:pt x="137" y="31"/>
                    </a:lnTo>
                    <a:lnTo>
                      <a:pt x="132" y="42"/>
                    </a:lnTo>
                    <a:lnTo>
                      <a:pt x="128" y="52"/>
                    </a:lnTo>
                    <a:lnTo>
                      <a:pt x="125" y="56"/>
                    </a:lnTo>
                    <a:lnTo>
                      <a:pt x="122" y="58"/>
                    </a:lnTo>
                    <a:lnTo>
                      <a:pt x="120" y="60"/>
                    </a:lnTo>
                    <a:lnTo>
                      <a:pt x="115" y="60"/>
                    </a:lnTo>
                    <a:lnTo>
                      <a:pt x="115" y="60"/>
                    </a:lnTo>
                    <a:lnTo>
                      <a:pt x="99" y="37"/>
                    </a:lnTo>
                    <a:lnTo>
                      <a:pt x="85" y="20"/>
                    </a:lnTo>
                    <a:lnTo>
                      <a:pt x="79" y="13"/>
                    </a:lnTo>
                    <a:lnTo>
                      <a:pt x="75" y="8"/>
                    </a:lnTo>
                    <a:lnTo>
                      <a:pt x="75" y="8"/>
                    </a:lnTo>
                    <a:lnTo>
                      <a:pt x="70" y="5"/>
                    </a:lnTo>
                    <a:lnTo>
                      <a:pt x="66" y="3"/>
                    </a:lnTo>
                    <a:lnTo>
                      <a:pt x="61" y="0"/>
                    </a:lnTo>
                    <a:lnTo>
                      <a:pt x="58" y="0"/>
                    </a:lnTo>
                    <a:lnTo>
                      <a:pt x="48" y="0"/>
                    </a:lnTo>
                    <a:lnTo>
                      <a:pt x="39" y="3"/>
                    </a:lnTo>
                    <a:lnTo>
                      <a:pt x="30" y="6"/>
                    </a:lnTo>
                    <a:lnTo>
                      <a:pt x="21" y="12"/>
                    </a:lnTo>
                    <a:lnTo>
                      <a:pt x="1" y="21"/>
                    </a:lnTo>
                    <a:lnTo>
                      <a:pt x="1" y="21"/>
                    </a:lnTo>
                    <a:lnTo>
                      <a:pt x="0" y="28"/>
                    </a:lnTo>
                    <a:lnTo>
                      <a:pt x="0" y="34"/>
                    </a:lnTo>
                    <a:lnTo>
                      <a:pt x="1" y="38"/>
                    </a:lnTo>
                    <a:lnTo>
                      <a:pt x="3" y="43"/>
                    </a:lnTo>
                    <a:lnTo>
                      <a:pt x="7" y="46"/>
                    </a:lnTo>
                    <a:lnTo>
                      <a:pt x="10" y="50"/>
                    </a:lnTo>
                    <a:lnTo>
                      <a:pt x="20" y="56"/>
                    </a:lnTo>
                    <a:lnTo>
                      <a:pt x="31" y="60"/>
                    </a:lnTo>
                    <a:lnTo>
                      <a:pt x="43" y="64"/>
                    </a:lnTo>
                    <a:lnTo>
                      <a:pt x="54" y="67"/>
                    </a:lnTo>
                    <a:lnTo>
                      <a:pt x="66" y="71"/>
                    </a:lnTo>
                    <a:lnTo>
                      <a:pt x="66" y="71"/>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68" name="Freeform 383">
                <a:extLst>
                  <a:ext uri="{FF2B5EF4-FFF2-40B4-BE49-F238E27FC236}">
                    <a16:creationId xmlns:a16="http://schemas.microsoft.com/office/drawing/2014/main" id="{1FCB3985-188B-4A55-89E5-4A9D0BBB4F45}"/>
                  </a:ext>
                </a:extLst>
              </p:cNvPr>
              <p:cNvSpPr>
                <a:spLocks/>
              </p:cNvSpPr>
              <p:nvPr/>
            </p:nvSpPr>
            <p:spPr bwMode="auto">
              <a:xfrm>
                <a:off x="2970213" y="350838"/>
                <a:ext cx="17463" cy="17463"/>
              </a:xfrm>
              <a:custGeom>
                <a:avLst/>
                <a:gdLst>
                  <a:gd name="T0" fmla="*/ 65 w 75"/>
                  <a:gd name="T1" fmla="*/ 61 h 71"/>
                  <a:gd name="T2" fmla="*/ 65 w 75"/>
                  <a:gd name="T3" fmla="*/ 61 h 71"/>
                  <a:gd name="T4" fmla="*/ 70 w 75"/>
                  <a:gd name="T5" fmla="*/ 57 h 71"/>
                  <a:gd name="T6" fmla="*/ 72 w 75"/>
                  <a:gd name="T7" fmla="*/ 54 h 71"/>
                  <a:gd name="T8" fmla="*/ 72 w 75"/>
                  <a:gd name="T9" fmla="*/ 51 h 71"/>
                  <a:gd name="T10" fmla="*/ 72 w 75"/>
                  <a:gd name="T11" fmla="*/ 49 h 71"/>
                  <a:gd name="T12" fmla="*/ 70 w 75"/>
                  <a:gd name="T13" fmla="*/ 47 h 71"/>
                  <a:gd name="T14" fmla="*/ 66 w 75"/>
                  <a:gd name="T15" fmla="*/ 45 h 71"/>
                  <a:gd name="T16" fmla="*/ 57 w 75"/>
                  <a:gd name="T17" fmla="*/ 40 h 71"/>
                  <a:gd name="T18" fmla="*/ 46 w 75"/>
                  <a:gd name="T19" fmla="*/ 37 h 71"/>
                  <a:gd name="T20" fmla="*/ 35 w 75"/>
                  <a:gd name="T21" fmla="*/ 34 h 71"/>
                  <a:gd name="T22" fmla="*/ 22 w 75"/>
                  <a:gd name="T23" fmla="*/ 32 h 71"/>
                  <a:gd name="T24" fmla="*/ 22 w 75"/>
                  <a:gd name="T25" fmla="*/ 32 h 71"/>
                  <a:gd name="T26" fmla="*/ 75 w 75"/>
                  <a:gd name="T27" fmla="*/ 28 h 71"/>
                  <a:gd name="T28" fmla="*/ 75 w 75"/>
                  <a:gd name="T29" fmla="*/ 28 h 71"/>
                  <a:gd name="T30" fmla="*/ 75 w 75"/>
                  <a:gd name="T31" fmla="*/ 19 h 71"/>
                  <a:gd name="T32" fmla="*/ 71 w 75"/>
                  <a:gd name="T33" fmla="*/ 12 h 71"/>
                  <a:gd name="T34" fmla="*/ 68 w 75"/>
                  <a:gd name="T35" fmla="*/ 7 h 71"/>
                  <a:gd name="T36" fmla="*/ 61 w 75"/>
                  <a:gd name="T37" fmla="*/ 3 h 71"/>
                  <a:gd name="T38" fmla="*/ 54 w 75"/>
                  <a:gd name="T39" fmla="*/ 1 h 71"/>
                  <a:gd name="T40" fmla="*/ 46 w 75"/>
                  <a:gd name="T41" fmla="*/ 0 h 71"/>
                  <a:gd name="T42" fmla="*/ 38 w 75"/>
                  <a:gd name="T43" fmla="*/ 1 h 71"/>
                  <a:gd name="T44" fmla="*/ 30 w 75"/>
                  <a:gd name="T45" fmla="*/ 3 h 71"/>
                  <a:gd name="T46" fmla="*/ 30 w 75"/>
                  <a:gd name="T47" fmla="*/ 3 h 71"/>
                  <a:gd name="T48" fmla="*/ 19 w 75"/>
                  <a:gd name="T49" fmla="*/ 8 h 71"/>
                  <a:gd name="T50" fmla="*/ 14 w 75"/>
                  <a:gd name="T51" fmla="*/ 12 h 71"/>
                  <a:gd name="T52" fmla="*/ 10 w 75"/>
                  <a:gd name="T53" fmla="*/ 18 h 71"/>
                  <a:gd name="T54" fmla="*/ 8 w 75"/>
                  <a:gd name="T55" fmla="*/ 24 h 71"/>
                  <a:gd name="T56" fmla="*/ 7 w 75"/>
                  <a:gd name="T57" fmla="*/ 38 h 71"/>
                  <a:gd name="T58" fmla="*/ 4 w 75"/>
                  <a:gd name="T59" fmla="*/ 47 h 71"/>
                  <a:gd name="T60" fmla="*/ 0 w 75"/>
                  <a:gd name="T61" fmla="*/ 56 h 71"/>
                  <a:gd name="T62" fmla="*/ 0 w 75"/>
                  <a:gd name="T63" fmla="*/ 56 h 71"/>
                  <a:gd name="T64" fmla="*/ 19 w 75"/>
                  <a:gd name="T65" fmla="*/ 65 h 71"/>
                  <a:gd name="T66" fmla="*/ 26 w 75"/>
                  <a:gd name="T67" fmla="*/ 69 h 71"/>
                  <a:gd name="T68" fmla="*/ 33 w 75"/>
                  <a:gd name="T69" fmla="*/ 70 h 71"/>
                  <a:gd name="T70" fmla="*/ 40 w 75"/>
                  <a:gd name="T71" fmla="*/ 71 h 71"/>
                  <a:gd name="T72" fmla="*/ 47 w 75"/>
                  <a:gd name="T73" fmla="*/ 69 h 71"/>
                  <a:gd name="T74" fmla="*/ 55 w 75"/>
                  <a:gd name="T75" fmla="*/ 66 h 71"/>
                  <a:gd name="T76" fmla="*/ 65 w 75"/>
                  <a:gd name="T77" fmla="*/ 61 h 71"/>
                  <a:gd name="T78" fmla="*/ 65 w 75"/>
                  <a:gd name="T79" fmla="*/ 6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 h="71">
                    <a:moveTo>
                      <a:pt x="65" y="61"/>
                    </a:moveTo>
                    <a:lnTo>
                      <a:pt x="65" y="61"/>
                    </a:lnTo>
                    <a:lnTo>
                      <a:pt x="70" y="57"/>
                    </a:lnTo>
                    <a:lnTo>
                      <a:pt x="72" y="54"/>
                    </a:lnTo>
                    <a:lnTo>
                      <a:pt x="72" y="51"/>
                    </a:lnTo>
                    <a:lnTo>
                      <a:pt x="72" y="49"/>
                    </a:lnTo>
                    <a:lnTo>
                      <a:pt x="70" y="47"/>
                    </a:lnTo>
                    <a:lnTo>
                      <a:pt x="66" y="45"/>
                    </a:lnTo>
                    <a:lnTo>
                      <a:pt x="57" y="40"/>
                    </a:lnTo>
                    <a:lnTo>
                      <a:pt x="46" y="37"/>
                    </a:lnTo>
                    <a:lnTo>
                      <a:pt x="35" y="34"/>
                    </a:lnTo>
                    <a:lnTo>
                      <a:pt x="22" y="32"/>
                    </a:lnTo>
                    <a:lnTo>
                      <a:pt x="22" y="32"/>
                    </a:lnTo>
                    <a:lnTo>
                      <a:pt x="75" y="28"/>
                    </a:lnTo>
                    <a:lnTo>
                      <a:pt x="75" y="28"/>
                    </a:lnTo>
                    <a:lnTo>
                      <a:pt x="75" y="19"/>
                    </a:lnTo>
                    <a:lnTo>
                      <a:pt x="71" y="12"/>
                    </a:lnTo>
                    <a:lnTo>
                      <a:pt x="68" y="7"/>
                    </a:lnTo>
                    <a:lnTo>
                      <a:pt x="61" y="3"/>
                    </a:lnTo>
                    <a:lnTo>
                      <a:pt x="54" y="1"/>
                    </a:lnTo>
                    <a:lnTo>
                      <a:pt x="46" y="0"/>
                    </a:lnTo>
                    <a:lnTo>
                      <a:pt x="38" y="1"/>
                    </a:lnTo>
                    <a:lnTo>
                      <a:pt x="30" y="3"/>
                    </a:lnTo>
                    <a:lnTo>
                      <a:pt x="30" y="3"/>
                    </a:lnTo>
                    <a:lnTo>
                      <a:pt x="19" y="8"/>
                    </a:lnTo>
                    <a:lnTo>
                      <a:pt x="14" y="12"/>
                    </a:lnTo>
                    <a:lnTo>
                      <a:pt x="10" y="18"/>
                    </a:lnTo>
                    <a:lnTo>
                      <a:pt x="8" y="24"/>
                    </a:lnTo>
                    <a:lnTo>
                      <a:pt x="7" y="38"/>
                    </a:lnTo>
                    <a:lnTo>
                      <a:pt x="4" y="47"/>
                    </a:lnTo>
                    <a:lnTo>
                      <a:pt x="0" y="56"/>
                    </a:lnTo>
                    <a:lnTo>
                      <a:pt x="0" y="56"/>
                    </a:lnTo>
                    <a:lnTo>
                      <a:pt x="19" y="65"/>
                    </a:lnTo>
                    <a:lnTo>
                      <a:pt x="26" y="69"/>
                    </a:lnTo>
                    <a:lnTo>
                      <a:pt x="33" y="70"/>
                    </a:lnTo>
                    <a:lnTo>
                      <a:pt x="40" y="71"/>
                    </a:lnTo>
                    <a:lnTo>
                      <a:pt x="47" y="69"/>
                    </a:lnTo>
                    <a:lnTo>
                      <a:pt x="55" y="66"/>
                    </a:lnTo>
                    <a:lnTo>
                      <a:pt x="65" y="61"/>
                    </a:lnTo>
                    <a:lnTo>
                      <a:pt x="65" y="61"/>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69" name="Freeform 384">
                <a:extLst>
                  <a:ext uri="{FF2B5EF4-FFF2-40B4-BE49-F238E27FC236}">
                    <a16:creationId xmlns:a16="http://schemas.microsoft.com/office/drawing/2014/main" id="{E65D0EE0-0C1E-43F6-AA3C-235D51D6462B}"/>
                  </a:ext>
                </a:extLst>
              </p:cNvPr>
              <p:cNvSpPr>
                <a:spLocks/>
              </p:cNvSpPr>
              <p:nvPr/>
            </p:nvSpPr>
            <p:spPr bwMode="auto">
              <a:xfrm>
                <a:off x="2992438" y="354013"/>
                <a:ext cx="20638" cy="20638"/>
              </a:xfrm>
              <a:custGeom>
                <a:avLst/>
                <a:gdLst>
                  <a:gd name="T0" fmla="*/ 69 w 91"/>
                  <a:gd name="T1" fmla="*/ 85 h 85"/>
                  <a:gd name="T2" fmla="*/ 69 w 91"/>
                  <a:gd name="T3" fmla="*/ 85 h 85"/>
                  <a:gd name="T4" fmla="*/ 78 w 91"/>
                  <a:gd name="T5" fmla="*/ 85 h 85"/>
                  <a:gd name="T6" fmla="*/ 84 w 91"/>
                  <a:gd name="T7" fmla="*/ 84 h 85"/>
                  <a:gd name="T8" fmla="*/ 87 w 91"/>
                  <a:gd name="T9" fmla="*/ 81 h 85"/>
                  <a:gd name="T10" fmla="*/ 89 w 91"/>
                  <a:gd name="T11" fmla="*/ 78 h 85"/>
                  <a:gd name="T12" fmla="*/ 91 w 91"/>
                  <a:gd name="T13" fmla="*/ 72 h 85"/>
                  <a:gd name="T14" fmla="*/ 89 w 91"/>
                  <a:gd name="T15" fmla="*/ 67 h 85"/>
                  <a:gd name="T16" fmla="*/ 87 w 91"/>
                  <a:gd name="T17" fmla="*/ 61 h 85"/>
                  <a:gd name="T18" fmla="*/ 84 w 91"/>
                  <a:gd name="T19" fmla="*/ 54 h 85"/>
                  <a:gd name="T20" fmla="*/ 76 w 91"/>
                  <a:gd name="T21" fmla="*/ 40 h 85"/>
                  <a:gd name="T22" fmla="*/ 66 w 91"/>
                  <a:gd name="T23" fmla="*/ 27 h 85"/>
                  <a:gd name="T24" fmla="*/ 53 w 91"/>
                  <a:gd name="T25" fmla="*/ 10 h 85"/>
                  <a:gd name="T26" fmla="*/ 53 w 91"/>
                  <a:gd name="T27" fmla="*/ 10 h 85"/>
                  <a:gd name="T28" fmla="*/ 47 w 91"/>
                  <a:gd name="T29" fmla="*/ 4 h 85"/>
                  <a:gd name="T30" fmla="*/ 41 w 91"/>
                  <a:gd name="T31" fmla="*/ 1 h 85"/>
                  <a:gd name="T32" fmla="*/ 36 w 91"/>
                  <a:gd name="T33" fmla="*/ 0 h 85"/>
                  <a:gd name="T34" fmla="*/ 31 w 91"/>
                  <a:gd name="T35" fmla="*/ 0 h 85"/>
                  <a:gd name="T36" fmla="*/ 26 w 91"/>
                  <a:gd name="T37" fmla="*/ 2 h 85"/>
                  <a:gd name="T38" fmla="*/ 21 w 91"/>
                  <a:gd name="T39" fmla="*/ 4 h 85"/>
                  <a:gd name="T40" fmla="*/ 17 w 91"/>
                  <a:gd name="T41" fmla="*/ 9 h 85"/>
                  <a:gd name="T42" fmla="*/ 13 w 91"/>
                  <a:gd name="T43" fmla="*/ 13 h 85"/>
                  <a:gd name="T44" fmla="*/ 6 w 91"/>
                  <a:gd name="T45" fmla="*/ 26 h 85"/>
                  <a:gd name="T46" fmla="*/ 2 w 91"/>
                  <a:gd name="T47" fmla="*/ 39 h 85"/>
                  <a:gd name="T48" fmla="*/ 0 w 91"/>
                  <a:gd name="T49" fmla="*/ 51 h 85"/>
                  <a:gd name="T50" fmla="*/ 0 w 91"/>
                  <a:gd name="T51" fmla="*/ 57 h 85"/>
                  <a:gd name="T52" fmla="*/ 0 w 91"/>
                  <a:gd name="T53" fmla="*/ 62 h 85"/>
                  <a:gd name="T54" fmla="*/ 0 w 91"/>
                  <a:gd name="T55" fmla="*/ 62 h 85"/>
                  <a:gd name="T56" fmla="*/ 11 w 91"/>
                  <a:gd name="T57" fmla="*/ 58 h 85"/>
                  <a:gd name="T58" fmla="*/ 21 w 91"/>
                  <a:gd name="T59" fmla="*/ 57 h 85"/>
                  <a:gd name="T60" fmla="*/ 31 w 91"/>
                  <a:gd name="T61" fmla="*/ 58 h 85"/>
                  <a:gd name="T62" fmla="*/ 38 w 91"/>
                  <a:gd name="T63" fmla="*/ 61 h 85"/>
                  <a:gd name="T64" fmla="*/ 46 w 91"/>
                  <a:gd name="T65" fmla="*/ 65 h 85"/>
                  <a:gd name="T66" fmla="*/ 53 w 91"/>
                  <a:gd name="T67" fmla="*/ 71 h 85"/>
                  <a:gd name="T68" fmla="*/ 69 w 91"/>
                  <a:gd name="T69" fmla="*/ 85 h 85"/>
                  <a:gd name="T70" fmla="*/ 69 w 91"/>
                  <a:gd name="T71"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 h="85">
                    <a:moveTo>
                      <a:pt x="69" y="85"/>
                    </a:moveTo>
                    <a:lnTo>
                      <a:pt x="69" y="85"/>
                    </a:lnTo>
                    <a:lnTo>
                      <a:pt x="78" y="85"/>
                    </a:lnTo>
                    <a:lnTo>
                      <a:pt x="84" y="84"/>
                    </a:lnTo>
                    <a:lnTo>
                      <a:pt x="87" y="81"/>
                    </a:lnTo>
                    <a:lnTo>
                      <a:pt x="89" y="78"/>
                    </a:lnTo>
                    <a:lnTo>
                      <a:pt x="91" y="72"/>
                    </a:lnTo>
                    <a:lnTo>
                      <a:pt x="89" y="67"/>
                    </a:lnTo>
                    <a:lnTo>
                      <a:pt x="87" y="61"/>
                    </a:lnTo>
                    <a:lnTo>
                      <a:pt x="84" y="54"/>
                    </a:lnTo>
                    <a:lnTo>
                      <a:pt x="76" y="40"/>
                    </a:lnTo>
                    <a:lnTo>
                      <a:pt x="66" y="27"/>
                    </a:lnTo>
                    <a:lnTo>
                      <a:pt x="53" y="10"/>
                    </a:lnTo>
                    <a:lnTo>
                      <a:pt x="53" y="10"/>
                    </a:lnTo>
                    <a:lnTo>
                      <a:pt x="47" y="4"/>
                    </a:lnTo>
                    <a:lnTo>
                      <a:pt x="41" y="1"/>
                    </a:lnTo>
                    <a:lnTo>
                      <a:pt x="36" y="0"/>
                    </a:lnTo>
                    <a:lnTo>
                      <a:pt x="31" y="0"/>
                    </a:lnTo>
                    <a:lnTo>
                      <a:pt x="26" y="2"/>
                    </a:lnTo>
                    <a:lnTo>
                      <a:pt x="21" y="4"/>
                    </a:lnTo>
                    <a:lnTo>
                      <a:pt x="17" y="9"/>
                    </a:lnTo>
                    <a:lnTo>
                      <a:pt x="13" y="13"/>
                    </a:lnTo>
                    <a:lnTo>
                      <a:pt x="6" y="26"/>
                    </a:lnTo>
                    <a:lnTo>
                      <a:pt x="2" y="39"/>
                    </a:lnTo>
                    <a:lnTo>
                      <a:pt x="0" y="51"/>
                    </a:lnTo>
                    <a:lnTo>
                      <a:pt x="0" y="57"/>
                    </a:lnTo>
                    <a:lnTo>
                      <a:pt x="0" y="62"/>
                    </a:lnTo>
                    <a:lnTo>
                      <a:pt x="0" y="62"/>
                    </a:lnTo>
                    <a:lnTo>
                      <a:pt x="11" y="58"/>
                    </a:lnTo>
                    <a:lnTo>
                      <a:pt x="21" y="57"/>
                    </a:lnTo>
                    <a:lnTo>
                      <a:pt x="31" y="58"/>
                    </a:lnTo>
                    <a:lnTo>
                      <a:pt x="38" y="61"/>
                    </a:lnTo>
                    <a:lnTo>
                      <a:pt x="46" y="65"/>
                    </a:lnTo>
                    <a:lnTo>
                      <a:pt x="53" y="71"/>
                    </a:lnTo>
                    <a:lnTo>
                      <a:pt x="69" y="85"/>
                    </a:lnTo>
                    <a:lnTo>
                      <a:pt x="69" y="85"/>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70" name="Freeform 385">
                <a:extLst>
                  <a:ext uri="{FF2B5EF4-FFF2-40B4-BE49-F238E27FC236}">
                    <a16:creationId xmlns:a16="http://schemas.microsoft.com/office/drawing/2014/main" id="{A18A0784-D6BD-424F-885A-D853DA1E0E34}"/>
                  </a:ext>
                </a:extLst>
              </p:cNvPr>
              <p:cNvSpPr>
                <a:spLocks/>
              </p:cNvSpPr>
              <p:nvPr/>
            </p:nvSpPr>
            <p:spPr bwMode="auto">
              <a:xfrm>
                <a:off x="3014663" y="363538"/>
                <a:ext cx="14288" cy="17463"/>
              </a:xfrm>
              <a:custGeom>
                <a:avLst/>
                <a:gdLst>
                  <a:gd name="T0" fmla="*/ 7 w 64"/>
                  <a:gd name="T1" fmla="*/ 44 h 75"/>
                  <a:gd name="T2" fmla="*/ 7 w 64"/>
                  <a:gd name="T3" fmla="*/ 44 h 75"/>
                  <a:gd name="T4" fmla="*/ 9 w 64"/>
                  <a:gd name="T5" fmla="*/ 52 h 75"/>
                  <a:gd name="T6" fmla="*/ 11 w 64"/>
                  <a:gd name="T7" fmla="*/ 60 h 75"/>
                  <a:gd name="T8" fmla="*/ 18 w 64"/>
                  <a:gd name="T9" fmla="*/ 75 h 75"/>
                  <a:gd name="T10" fmla="*/ 18 w 64"/>
                  <a:gd name="T11" fmla="*/ 75 h 75"/>
                  <a:gd name="T12" fmla="*/ 35 w 64"/>
                  <a:gd name="T13" fmla="*/ 67 h 75"/>
                  <a:gd name="T14" fmla="*/ 44 w 64"/>
                  <a:gd name="T15" fmla="*/ 62 h 75"/>
                  <a:gd name="T16" fmla="*/ 52 w 64"/>
                  <a:gd name="T17" fmla="*/ 59 h 75"/>
                  <a:gd name="T18" fmla="*/ 57 w 64"/>
                  <a:gd name="T19" fmla="*/ 53 h 75"/>
                  <a:gd name="T20" fmla="*/ 62 w 64"/>
                  <a:gd name="T21" fmla="*/ 46 h 75"/>
                  <a:gd name="T22" fmla="*/ 63 w 64"/>
                  <a:gd name="T23" fmla="*/ 43 h 75"/>
                  <a:gd name="T24" fmla="*/ 64 w 64"/>
                  <a:gd name="T25" fmla="*/ 38 h 75"/>
                  <a:gd name="T26" fmla="*/ 64 w 64"/>
                  <a:gd name="T27" fmla="*/ 33 h 75"/>
                  <a:gd name="T28" fmla="*/ 64 w 64"/>
                  <a:gd name="T29" fmla="*/ 29 h 75"/>
                  <a:gd name="T30" fmla="*/ 64 w 64"/>
                  <a:gd name="T31" fmla="*/ 29 h 75"/>
                  <a:gd name="T32" fmla="*/ 62 w 64"/>
                  <a:gd name="T33" fmla="*/ 23 h 75"/>
                  <a:gd name="T34" fmla="*/ 61 w 64"/>
                  <a:gd name="T35" fmla="*/ 18 h 75"/>
                  <a:gd name="T36" fmla="*/ 57 w 64"/>
                  <a:gd name="T37" fmla="*/ 14 h 75"/>
                  <a:gd name="T38" fmla="*/ 55 w 64"/>
                  <a:gd name="T39" fmla="*/ 10 h 75"/>
                  <a:gd name="T40" fmla="*/ 47 w 64"/>
                  <a:gd name="T41" fmla="*/ 5 h 75"/>
                  <a:gd name="T42" fmla="*/ 38 w 64"/>
                  <a:gd name="T43" fmla="*/ 1 h 75"/>
                  <a:gd name="T44" fmla="*/ 29 w 64"/>
                  <a:gd name="T45" fmla="*/ 0 h 75"/>
                  <a:gd name="T46" fmla="*/ 19 w 64"/>
                  <a:gd name="T47" fmla="*/ 0 h 75"/>
                  <a:gd name="T48" fmla="*/ 9 w 64"/>
                  <a:gd name="T49" fmla="*/ 1 h 75"/>
                  <a:gd name="T50" fmla="*/ 0 w 64"/>
                  <a:gd name="T51" fmla="*/ 3 h 75"/>
                  <a:gd name="T52" fmla="*/ 0 w 64"/>
                  <a:gd name="T53" fmla="*/ 3 h 75"/>
                  <a:gd name="T54" fmla="*/ 6 w 64"/>
                  <a:gd name="T55" fmla="*/ 8 h 75"/>
                  <a:gd name="T56" fmla="*/ 10 w 64"/>
                  <a:gd name="T57" fmla="*/ 13 h 75"/>
                  <a:gd name="T58" fmla="*/ 14 w 64"/>
                  <a:gd name="T59" fmla="*/ 17 h 75"/>
                  <a:gd name="T60" fmla="*/ 16 w 64"/>
                  <a:gd name="T61" fmla="*/ 22 h 75"/>
                  <a:gd name="T62" fmla="*/ 16 w 64"/>
                  <a:gd name="T63" fmla="*/ 28 h 75"/>
                  <a:gd name="T64" fmla="*/ 15 w 64"/>
                  <a:gd name="T65" fmla="*/ 33 h 75"/>
                  <a:gd name="T66" fmla="*/ 11 w 64"/>
                  <a:gd name="T67" fmla="*/ 38 h 75"/>
                  <a:gd name="T68" fmla="*/ 7 w 64"/>
                  <a:gd name="T69" fmla="*/ 44 h 75"/>
                  <a:gd name="T70" fmla="*/ 7 w 64"/>
                  <a:gd name="T71" fmla="*/ 4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4" h="75">
                    <a:moveTo>
                      <a:pt x="7" y="44"/>
                    </a:moveTo>
                    <a:lnTo>
                      <a:pt x="7" y="44"/>
                    </a:lnTo>
                    <a:lnTo>
                      <a:pt x="9" y="52"/>
                    </a:lnTo>
                    <a:lnTo>
                      <a:pt x="11" y="60"/>
                    </a:lnTo>
                    <a:lnTo>
                      <a:pt x="18" y="75"/>
                    </a:lnTo>
                    <a:lnTo>
                      <a:pt x="18" y="75"/>
                    </a:lnTo>
                    <a:lnTo>
                      <a:pt x="35" y="67"/>
                    </a:lnTo>
                    <a:lnTo>
                      <a:pt x="44" y="62"/>
                    </a:lnTo>
                    <a:lnTo>
                      <a:pt x="52" y="59"/>
                    </a:lnTo>
                    <a:lnTo>
                      <a:pt x="57" y="53"/>
                    </a:lnTo>
                    <a:lnTo>
                      <a:pt x="62" y="46"/>
                    </a:lnTo>
                    <a:lnTo>
                      <a:pt x="63" y="43"/>
                    </a:lnTo>
                    <a:lnTo>
                      <a:pt x="64" y="38"/>
                    </a:lnTo>
                    <a:lnTo>
                      <a:pt x="64" y="33"/>
                    </a:lnTo>
                    <a:lnTo>
                      <a:pt x="64" y="29"/>
                    </a:lnTo>
                    <a:lnTo>
                      <a:pt x="64" y="29"/>
                    </a:lnTo>
                    <a:lnTo>
                      <a:pt x="62" y="23"/>
                    </a:lnTo>
                    <a:lnTo>
                      <a:pt x="61" y="18"/>
                    </a:lnTo>
                    <a:lnTo>
                      <a:pt x="57" y="14"/>
                    </a:lnTo>
                    <a:lnTo>
                      <a:pt x="55" y="10"/>
                    </a:lnTo>
                    <a:lnTo>
                      <a:pt x="47" y="5"/>
                    </a:lnTo>
                    <a:lnTo>
                      <a:pt x="38" y="1"/>
                    </a:lnTo>
                    <a:lnTo>
                      <a:pt x="29" y="0"/>
                    </a:lnTo>
                    <a:lnTo>
                      <a:pt x="19" y="0"/>
                    </a:lnTo>
                    <a:lnTo>
                      <a:pt x="9" y="1"/>
                    </a:lnTo>
                    <a:lnTo>
                      <a:pt x="0" y="3"/>
                    </a:lnTo>
                    <a:lnTo>
                      <a:pt x="0" y="3"/>
                    </a:lnTo>
                    <a:lnTo>
                      <a:pt x="6" y="8"/>
                    </a:lnTo>
                    <a:lnTo>
                      <a:pt x="10" y="13"/>
                    </a:lnTo>
                    <a:lnTo>
                      <a:pt x="14" y="17"/>
                    </a:lnTo>
                    <a:lnTo>
                      <a:pt x="16" y="22"/>
                    </a:lnTo>
                    <a:lnTo>
                      <a:pt x="16" y="28"/>
                    </a:lnTo>
                    <a:lnTo>
                      <a:pt x="15" y="33"/>
                    </a:lnTo>
                    <a:lnTo>
                      <a:pt x="11" y="38"/>
                    </a:lnTo>
                    <a:lnTo>
                      <a:pt x="7" y="44"/>
                    </a:lnTo>
                    <a:lnTo>
                      <a:pt x="7" y="44"/>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71" name="Freeform 386">
                <a:extLst>
                  <a:ext uri="{FF2B5EF4-FFF2-40B4-BE49-F238E27FC236}">
                    <a16:creationId xmlns:a16="http://schemas.microsoft.com/office/drawing/2014/main" id="{F91D2FC1-45E8-4ACA-95A4-1B7668FE3F8E}"/>
                  </a:ext>
                </a:extLst>
              </p:cNvPr>
              <p:cNvSpPr>
                <a:spLocks/>
              </p:cNvSpPr>
              <p:nvPr/>
            </p:nvSpPr>
            <p:spPr bwMode="auto">
              <a:xfrm>
                <a:off x="3027363" y="346075"/>
                <a:ext cx="34925" cy="33338"/>
              </a:xfrm>
              <a:custGeom>
                <a:avLst/>
                <a:gdLst>
                  <a:gd name="T0" fmla="*/ 52 w 156"/>
                  <a:gd name="T1" fmla="*/ 83 h 152"/>
                  <a:gd name="T2" fmla="*/ 52 w 156"/>
                  <a:gd name="T3" fmla="*/ 83 h 152"/>
                  <a:gd name="T4" fmla="*/ 55 w 156"/>
                  <a:gd name="T5" fmla="*/ 87 h 152"/>
                  <a:gd name="T6" fmla="*/ 57 w 156"/>
                  <a:gd name="T7" fmla="*/ 90 h 152"/>
                  <a:gd name="T8" fmla="*/ 58 w 156"/>
                  <a:gd name="T9" fmla="*/ 92 h 152"/>
                  <a:gd name="T10" fmla="*/ 57 w 156"/>
                  <a:gd name="T11" fmla="*/ 95 h 152"/>
                  <a:gd name="T12" fmla="*/ 55 w 156"/>
                  <a:gd name="T13" fmla="*/ 96 h 152"/>
                  <a:gd name="T14" fmla="*/ 53 w 156"/>
                  <a:gd name="T15" fmla="*/ 97 h 152"/>
                  <a:gd name="T16" fmla="*/ 46 w 156"/>
                  <a:gd name="T17" fmla="*/ 99 h 152"/>
                  <a:gd name="T18" fmla="*/ 38 w 156"/>
                  <a:gd name="T19" fmla="*/ 100 h 152"/>
                  <a:gd name="T20" fmla="*/ 29 w 156"/>
                  <a:gd name="T21" fmla="*/ 100 h 152"/>
                  <a:gd name="T22" fmla="*/ 13 w 156"/>
                  <a:gd name="T23" fmla="*/ 102 h 152"/>
                  <a:gd name="T24" fmla="*/ 13 w 156"/>
                  <a:gd name="T25" fmla="*/ 102 h 152"/>
                  <a:gd name="T26" fmla="*/ 30 w 156"/>
                  <a:gd name="T27" fmla="*/ 122 h 152"/>
                  <a:gd name="T28" fmla="*/ 38 w 156"/>
                  <a:gd name="T29" fmla="*/ 130 h 152"/>
                  <a:gd name="T30" fmla="*/ 45 w 156"/>
                  <a:gd name="T31" fmla="*/ 137 h 152"/>
                  <a:gd name="T32" fmla="*/ 53 w 156"/>
                  <a:gd name="T33" fmla="*/ 143 h 152"/>
                  <a:gd name="T34" fmla="*/ 60 w 156"/>
                  <a:gd name="T35" fmla="*/ 148 h 152"/>
                  <a:gd name="T36" fmla="*/ 68 w 156"/>
                  <a:gd name="T37" fmla="*/ 150 h 152"/>
                  <a:gd name="T38" fmla="*/ 76 w 156"/>
                  <a:gd name="T39" fmla="*/ 152 h 152"/>
                  <a:gd name="T40" fmla="*/ 83 w 156"/>
                  <a:gd name="T41" fmla="*/ 152 h 152"/>
                  <a:gd name="T42" fmla="*/ 92 w 156"/>
                  <a:gd name="T43" fmla="*/ 152 h 152"/>
                  <a:gd name="T44" fmla="*/ 100 w 156"/>
                  <a:gd name="T45" fmla="*/ 151 h 152"/>
                  <a:gd name="T46" fmla="*/ 111 w 156"/>
                  <a:gd name="T47" fmla="*/ 149 h 152"/>
                  <a:gd name="T48" fmla="*/ 131 w 156"/>
                  <a:gd name="T49" fmla="*/ 141 h 152"/>
                  <a:gd name="T50" fmla="*/ 156 w 156"/>
                  <a:gd name="T51" fmla="*/ 130 h 152"/>
                  <a:gd name="T52" fmla="*/ 156 w 156"/>
                  <a:gd name="T53" fmla="*/ 130 h 152"/>
                  <a:gd name="T54" fmla="*/ 92 w 156"/>
                  <a:gd name="T55" fmla="*/ 34 h 152"/>
                  <a:gd name="T56" fmla="*/ 92 w 156"/>
                  <a:gd name="T57" fmla="*/ 34 h 152"/>
                  <a:gd name="T58" fmla="*/ 82 w 156"/>
                  <a:gd name="T59" fmla="*/ 15 h 152"/>
                  <a:gd name="T60" fmla="*/ 75 w 156"/>
                  <a:gd name="T61" fmla="*/ 5 h 152"/>
                  <a:gd name="T62" fmla="*/ 72 w 156"/>
                  <a:gd name="T63" fmla="*/ 1 h 152"/>
                  <a:gd name="T64" fmla="*/ 69 w 156"/>
                  <a:gd name="T65" fmla="*/ 0 h 152"/>
                  <a:gd name="T66" fmla="*/ 69 w 156"/>
                  <a:gd name="T67" fmla="*/ 0 h 152"/>
                  <a:gd name="T68" fmla="*/ 64 w 156"/>
                  <a:gd name="T69" fmla="*/ 0 h 152"/>
                  <a:gd name="T70" fmla="*/ 58 w 156"/>
                  <a:gd name="T71" fmla="*/ 3 h 152"/>
                  <a:gd name="T72" fmla="*/ 52 w 156"/>
                  <a:gd name="T73" fmla="*/ 6 h 152"/>
                  <a:gd name="T74" fmla="*/ 47 w 156"/>
                  <a:gd name="T75" fmla="*/ 12 h 152"/>
                  <a:gd name="T76" fmla="*/ 44 w 156"/>
                  <a:gd name="T77" fmla="*/ 17 h 152"/>
                  <a:gd name="T78" fmla="*/ 41 w 156"/>
                  <a:gd name="T79" fmla="*/ 24 h 152"/>
                  <a:gd name="T80" fmla="*/ 39 w 156"/>
                  <a:gd name="T81" fmla="*/ 30 h 152"/>
                  <a:gd name="T82" fmla="*/ 39 w 156"/>
                  <a:gd name="T83" fmla="*/ 36 h 152"/>
                  <a:gd name="T84" fmla="*/ 39 w 156"/>
                  <a:gd name="T85" fmla="*/ 36 h 152"/>
                  <a:gd name="T86" fmla="*/ 32 w 156"/>
                  <a:gd name="T87" fmla="*/ 32 h 152"/>
                  <a:gd name="T88" fmla="*/ 27 w 156"/>
                  <a:gd name="T89" fmla="*/ 30 h 152"/>
                  <a:gd name="T90" fmla="*/ 20 w 156"/>
                  <a:gd name="T91" fmla="*/ 30 h 152"/>
                  <a:gd name="T92" fmla="*/ 13 w 156"/>
                  <a:gd name="T93" fmla="*/ 31 h 152"/>
                  <a:gd name="T94" fmla="*/ 8 w 156"/>
                  <a:gd name="T95" fmla="*/ 34 h 152"/>
                  <a:gd name="T96" fmla="*/ 4 w 156"/>
                  <a:gd name="T97" fmla="*/ 38 h 152"/>
                  <a:gd name="T98" fmla="*/ 1 w 156"/>
                  <a:gd name="T99" fmla="*/ 45 h 152"/>
                  <a:gd name="T100" fmla="*/ 0 w 156"/>
                  <a:gd name="T101" fmla="*/ 53 h 152"/>
                  <a:gd name="T102" fmla="*/ 0 w 156"/>
                  <a:gd name="T103" fmla="*/ 53 h 152"/>
                  <a:gd name="T104" fmla="*/ 1 w 156"/>
                  <a:gd name="T105" fmla="*/ 66 h 152"/>
                  <a:gd name="T106" fmla="*/ 4 w 156"/>
                  <a:gd name="T107" fmla="*/ 75 h 152"/>
                  <a:gd name="T108" fmla="*/ 6 w 156"/>
                  <a:gd name="T109" fmla="*/ 77 h 152"/>
                  <a:gd name="T110" fmla="*/ 7 w 156"/>
                  <a:gd name="T111" fmla="*/ 80 h 152"/>
                  <a:gd name="T112" fmla="*/ 9 w 156"/>
                  <a:gd name="T113" fmla="*/ 82 h 152"/>
                  <a:gd name="T114" fmla="*/ 13 w 156"/>
                  <a:gd name="T115" fmla="*/ 83 h 152"/>
                  <a:gd name="T116" fmla="*/ 20 w 156"/>
                  <a:gd name="T117" fmla="*/ 84 h 152"/>
                  <a:gd name="T118" fmla="*/ 28 w 156"/>
                  <a:gd name="T119" fmla="*/ 83 h 152"/>
                  <a:gd name="T120" fmla="*/ 52 w 156"/>
                  <a:gd name="T121" fmla="*/ 83 h 152"/>
                  <a:gd name="T122" fmla="*/ 52 w 156"/>
                  <a:gd name="T123" fmla="*/ 8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6" h="152">
                    <a:moveTo>
                      <a:pt x="52" y="83"/>
                    </a:moveTo>
                    <a:lnTo>
                      <a:pt x="52" y="83"/>
                    </a:lnTo>
                    <a:lnTo>
                      <a:pt x="55" y="87"/>
                    </a:lnTo>
                    <a:lnTo>
                      <a:pt x="57" y="90"/>
                    </a:lnTo>
                    <a:lnTo>
                      <a:pt x="58" y="92"/>
                    </a:lnTo>
                    <a:lnTo>
                      <a:pt x="57" y="95"/>
                    </a:lnTo>
                    <a:lnTo>
                      <a:pt x="55" y="96"/>
                    </a:lnTo>
                    <a:lnTo>
                      <a:pt x="53" y="97"/>
                    </a:lnTo>
                    <a:lnTo>
                      <a:pt x="46" y="99"/>
                    </a:lnTo>
                    <a:lnTo>
                      <a:pt x="38" y="100"/>
                    </a:lnTo>
                    <a:lnTo>
                      <a:pt x="29" y="100"/>
                    </a:lnTo>
                    <a:lnTo>
                      <a:pt x="13" y="102"/>
                    </a:lnTo>
                    <a:lnTo>
                      <a:pt x="13" y="102"/>
                    </a:lnTo>
                    <a:lnTo>
                      <a:pt x="30" y="122"/>
                    </a:lnTo>
                    <a:lnTo>
                      <a:pt x="38" y="130"/>
                    </a:lnTo>
                    <a:lnTo>
                      <a:pt x="45" y="137"/>
                    </a:lnTo>
                    <a:lnTo>
                      <a:pt x="53" y="143"/>
                    </a:lnTo>
                    <a:lnTo>
                      <a:pt x="60" y="148"/>
                    </a:lnTo>
                    <a:lnTo>
                      <a:pt x="68" y="150"/>
                    </a:lnTo>
                    <a:lnTo>
                      <a:pt x="76" y="152"/>
                    </a:lnTo>
                    <a:lnTo>
                      <a:pt x="83" y="152"/>
                    </a:lnTo>
                    <a:lnTo>
                      <a:pt x="92" y="152"/>
                    </a:lnTo>
                    <a:lnTo>
                      <a:pt x="100" y="151"/>
                    </a:lnTo>
                    <a:lnTo>
                      <a:pt x="111" y="149"/>
                    </a:lnTo>
                    <a:lnTo>
                      <a:pt x="131" y="141"/>
                    </a:lnTo>
                    <a:lnTo>
                      <a:pt x="156" y="130"/>
                    </a:lnTo>
                    <a:lnTo>
                      <a:pt x="156" y="130"/>
                    </a:lnTo>
                    <a:lnTo>
                      <a:pt x="92" y="34"/>
                    </a:lnTo>
                    <a:lnTo>
                      <a:pt x="92" y="34"/>
                    </a:lnTo>
                    <a:lnTo>
                      <a:pt x="82" y="15"/>
                    </a:lnTo>
                    <a:lnTo>
                      <a:pt x="75" y="5"/>
                    </a:lnTo>
                    <a:lnTo>
                      <a:pt x="72" y="1"/>
                    </a:lnTo>
                    <a:lnTo>
                      <a:pt x="69" y="0"/>
                    </a:lnTo>
                    <a:lnTo>
                      <a:pt x="69" y="0"/>
                    </a:lnTo>
                    <a:lnTo>
                      <a:pt x="64" y="0"/>
                    </a:lnTo>
                    <a:lnTo>
                      <a:pt x="58" y="3"/>
                    </a:lnTo>
                    <a:lnTo>
                      <a:pt x="52" y="6"/>
                    </a:lnTo>
                    <a:lnTo>
                      <a:pt x="47" y="12"/>
                    </a:lnTo>
                    <a:lnTo>
                      <a:pt x="44" y="17"/>
                    </a:lnTo>
                    <a:lnTo>
                      <a:pt x="41" y="24"/>
                    </a:lnTo>
                    <a:lnTo>
                      <a:pt x="39" y="30"/>
                    </a:lnTo>
                    <a:lnTo>
                      <a:pt x="39" y="36"/>
                    </a:lnTo>
                    <a:lnTo>
                      <a:pt x="39" y="36"/>
                    </a:lnTo>
                    <a:lnTo>
                      <a:pt x="32" y="32"/>
                    </a:lnTo>
                    <a:lnTo>
                      <a:pt x="27" y="30"/>
                    </a:lnTo>
                    <a:lnTo>
                      <a:pt x="20" y="30"/>
                    </a:lnTo>
                    <a:lnTo>
                      <a:pt x="13" y="31"/>
                    </a:lnTo>
                    <a:lnTo>
                      <a:pt x="8" y="34"/>
                    </a:lnTo>
                    <a:lnTo>
                      <a:pt x="4" y="38"/>
                    </a:lnTo>
                    <a:lnTo>
                      <a:pt x="1" y="45"/>
                    </a:lnTo>
                    <a:lnTo>
                      <a:pt x="0" y="53"/>
                    </a:lnTo>
                    <a:lnTo>
                      <a:pt x="0" y="53"/>
                    </a:lnTo>
                    <a:lnTo>
                      <a:pt x="1" y="66"/>
                    </a:lnTo>
                    <a:lnTo>
                      <a:pt x="4" y="75"/>
                    </a:lnTo>
                    <a:lnTo>
                      <a:pt x="6" y="77"/>
                    </a:lnTo>
                    <a:lnTo>
                      <a:pt x="7" y="80"/>
                    </a:lnTo>
                    <a:lnTo>
                      <a:pt x="9" y="82"/>
                    </a:lnTo>
                    <a:lnTo>
                      <a:pt x="13" y="83"/>
                    </a:lnTo>
                    <a:lnTo>
                      <a:pt x="20" y="84"/>
                    </a:lnTo>
                    <a:lnTo>
                      <a:pt x="28" y="83"/>
                    </a:lnTo>
                    <a:lnTo>
                      <a:pt x="52" y="83"/>
                    </a:lnTo>
                    <a:lnTo>
                      <a:pt x="52" y="83"/>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72" name="Freeform 387">
                <a:extLst>
                  <a:ext uri="{FF2B5EF4-FFF2-40B4-BE49-F238E27FC236}">
                    <a16:creationId xmlns:a16="http://schemas.microsoft.com/office/drawing/2014/main" id="{1471EDC0-EDB4-482A-89E4-C593FEDE9E73}"/>
                  </a:ext>
                </a:extLst>
              </p:cNvPr>
              <p:cNvSpPr>
                <a:spLocks/>
              </p:cNvSpPr>
              <p:nvPr/>
            </p:nvSpPr>
            <p:spPr bwMode="auto">
              <a:xfrm>
                <a:off x="2911475" y="401638"/>
                <a:ext cx="60325" cy="55563"/>
              </a:xfrm>
              <a:custGeom>
                <a:avLst/>
                <a:gdLst>
                  <a:gd name="T0" fmla="*/ 265 w 266"/>
                  <a:gd name="T1" fmla="*/ 174 h 249"/>
                  <a:gd name="T2" fmla="*/ 257 w 266"/>
                  <a:gd name="T3" fmla="*/ 162 h 249"/>
                  <a:gd name="T4" fmla="*/ 248 w 266"/>
                  <a:gd name="T5" fmla="*/ 157 h 249"/>
                  <a:gd name="T6" fmla="*/ 240 w 266"/>
                  <a:gd name="T7" fmla="*/ 150 h 249"/>
                  <a:gd name="T8" fmla="*/ 238 w 266"/>
                  <a:gd name="T9" fmla="*/ 133 h 249"/>
                  <a:gd name="T10" fmla="*/ 238 w 266"/>
                  <a:gd name="T11" fmla="*/ 116 h 249"/>
                  <a:gd name="T12" fmla="*/ 240 w 266"/>
                  <a:gd name="T13" fmla="*/ 84 h 249"/>
                  <a:gd name="T14" fmla="*/ 239 w 266"/>
                  <a:gd name="T15" fmla="*/ 64 h 249"/>
                  <a:gd name="T16" fmla="*/ 234 w 266"/>
                  <a:gd name="T17" fmla="*/ 51 h 249"/>
                  <a:gd name="T18" fmla="*/ 227 w 266"/>
                  <a:gd name="T19" fmla="*/ 38 h 249"/>
                  <a:gd name="T20" fmla="*/ 216 w 266"/>
                  <a:gd name="T21" fmla="*/ 28 h 249"/>
                  <a:gd name="T22" fmla="*/ 208 w 266"/>
                  <a:gd name="T23" fmla="*/ 22 h 249"/>
                  <a:gd name="T24" fmla="*/ 182 w 266"/>
                  <a:gd name="T25" fmla="*/ 57 h 249"/>
                  <a:gd name="T26" fmla="*/ 134 w 266"/>
                  <a:gd name="T27" fmla="*/ 15 h 249"/>
                  <a:gd name="T28" fmla="*/ 119 w 266"/>
                  <a:gd name="T29" fmla="*/ 6 h 249"/>
                  <a:gd name="T30" fmla="*/ 103 w 266"/>
                  <a:gd name="T31" fmla="*/ 2 h 249"/>
                  <a:gd name="T32" fmla="*/ 86 w 266"/>
                  <a:gd name="T33" fmla="*/ 0 h 249"/>
                  <a:gd name="T34" fmla="*/ 65 w 266"/>
                  <a:gd name="T35" fmla="*/ 5 h 249"/>
                  <a:gd name="T36" fmla="*/ 42 w 266"/>
                  <a:gd name="T37" fmla="*/ 14 h 249"/>
                  <a:gd name="T38" fmla="*/ 29 w 266"/>
                  <a:gd name="T39" fmla="*/ 22 h 249"/>
                  <a:gd name="T40" fmla="*/ 13 w 266"/>
                  <a:gd name="T41" fmla="*/ 36 h 249"/>
                  <a:gd name="T42" fmla="*/ 5 w 266"/>
                  <a:gd name="T43" fmla="*/ 53 h 249"/>
                  <a:gd name="T44" fmla="*/ 3 w 266"/>
                  <a:gd name="T45" fmla="*/ 74 h 249"/>
                  <a:gd name="T46" fmla="*/ 4 w 266"/>
                  <a:gd name="T47" fmla="*/ 87 h 249"/>
                  <a:gd name="T48" fmla="*/ 6 w 266"/>
                  <a:gd name="T49" fmla="*/ 93 h 249"/>
                  <a:gd name="T50" fmla="*/ 21 w 266"/>
                  <a:gd name="T51" fmla="*/ 102 h 249"/>
                  <a:gd name="T52" fmla="*/ 54 w 266"/>
                  <a:gd name="T53" fmla="*/ 110 h 249"/>
                  <a:gd name="T54" fmla="*/ 72 w 266"/>
                  <a:gd name="T55" fmla="*/ 114 h 249"/>
                  <a:gd name="T56" fmla="*/ 67 w 266"/>
                  <a:gd name="T57" fmla="*/ 126 h 249"/>
                  <a:gd name="T58" fmla="*/ 60 w 266"/>
                  <a:gd name="T59" fmla="*/ 137 h 249"/>
                  <a:gd name="T60" fmla="*/ 11 w 266"/>
                  <a:gd name="T61" fmla="*/ 106 h 249"/>
                  <a:gd name="T62" fmla="*/ 3 w 266"/>
                  <a:gd name="T63" fmla="*/ 125 h 249"/>
                  <a:gd name="T64" fmla="*/ 0 w 266"/>
                  <a:gd name="T65" fmla="*/ 135 h 249"/>
                  <a:gd name="T66" fmla="*/ 3 w 266"/>
                  <a:gd name="T67" fmla="*/ 142 h 249"/>
                  <a:gd name="T68" fmla="*/ 7 w 266"/>
                  <a:gd name="T69" fmla="*/ 146 h 249"/>
                  <a:gd name="T70" fmla="*/ 20 w 266"/>
                  <a:gd name="T71" fmla="*/ 152 h 249"/>
                  <a:gd name="T72" fmla="*/ 25 w 266"/>
                  <a:gd name="T73" fmla="*/ 159 h 249"/>
                  <a:gd name="T74" fmla="*/ 26 w 266"/>
                  <a:gd name="T75" fmla="*/ 172 h 249"/>
                  <a:gd name="T76" fmla="*/ 26 w 266"/>
                  <a:gd name="T77" fmla="*/ 186 h 249"/>
                  <a:gd name="T78" fmla="*/ 29 w 266"/>
                  <a:gd name="T79" fmla="*/ 200 h 249"/>
                  <a:gd name="T80" fmla="*/ 34 w 266"/>
                  <a:gd name="T81" fmla="*/ 205 h 249"/>
                  <a:gd name="T82" fmla="*/ 44 w 266"/>
                  <a:gd name="T83" fmla="*/ 211 h 249"/>
                  <a:gd name="T84" fmla="*/ 80 w 266"/>
                  <a:gd name="T85" fmla="*/ 219 h 249"/>
                  <a:gd name="T86" fmla="*/ 101 w 266"/>
                  <a:gd name="T87" fmla="*/ 219 h 249"/>
                  <a:gd name="T88" fmla="*/ 121 w 266"/>
                  <a:gd name="T89" fmla="*/ 219 h 249"/>
                  <a:gd name="T90" fmla="*/ 140 w 266"/>
                  <a:gd name="T91" fmla="*/ 215 h 249"/>
                  <a:gd name="T92" fmla="*/ 148 w 266"/>
                  <a:gd name="T93" fmla="*/ 209 h 249"/>
                  <a:gd name="T94" fmla="*/ 152 w 266"/>
                  <a:gd name="T95" fmla="*/ 201 h 249"/>
                  <a:gd name="T96" fmla="*/ 162 w 266"/>
                  <a:gd name="T97" fmla="*/ 212 h 249"/>
                  <a:gd name="T98" fmla="*/ 185 w 266"/>
                  <a:gd name="T99" fmla="*/ 241 h 249"/>
                  <a:gd name="T100" fmla="*/ 195 w 266"/>
                  <a:gd name="T101" fmla="*/ 248 h 249"/>
                  <a:gd name="T102" fmla="*/ 204 w 266"/>
                  <a:gd name="T103" fmla="*/ 249 h 249"/>
                  <a:gd name="T104" fmla="*/ 220 w 266"/>
                  <a:gd name="T105" fmla="*/ 243 h 249"/>
                  <a:gd name="T106" fmla="*/ 232 w 266"/>
                  <a:gd name="T107" fmla="*/ 231 h 249"/>
                  <a:gd name="T108" fmla="*/ 238 w 266"/>
                  <a:gd name="T109" fmla="*/ 215 h 249"/>
                  <a:gd name="T110" fmla="*/ 238 w 266"/>
                  <a:gd name="T111" fmla="*/ 205 h 249"/>
                  <a:gd name="T112" fmla="*/ 249 w 266"/>
                  <a:gd name="T113" fmla="*/ 213 h 249"/>
                  <a:gd name="T114" fmla="*/ 261 w 266"/>
                  <a:gd name="T115" fmla="*/ 221 h 249"/>
                  <a:gd name="T116" fmla="*/ 262 w 266"/>
                  <a:gd name="T117" fmla="*/ 211 h 249"/>
                  <a:gd name="T118" fmla="*/ 266 w 266"/>
                  <a:gd name="T119" fmla="*/ 185 h 249"/>
                  <a:gd name="T120" fmla="*/ 265 w 266"/>
                  <a:gd name="T121" fmla="*/ 174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6" h="249">
                    <a:moveTo>
                      <a:pt x="265" y="174"/>
                    </a:moveTo>
                    <a:lnTo>
                      <a:pt x="265" y="174"/>
                    </a:lnTo>
                    <a:lnTo>
                      <a:pt x="262" y="166"/>
                    </a:lnTo>
                    <a:lnTo>
                      <a:pt x="257" y="162"/>
                    </a:lnTo>
                    <a:lnTo>
                      <a:pt x="252" y="159"/>
                    </a:lnTo>
                    <a:lnTo>
                      <a:pt x="248" y="157"/>
                    </a:lnTo>
                    <a:lnTo>
                      <a:pt x="243" y="155"/>
                    </a:lnTo>
                    <a:lnTo>
                      <a:pt x="240" y="150"/>
                    </a:lnTo>
                    <a:lnTo>
                      <a:pt x="238" y="144"/>
                    </a:lnTo>
                    <a:lnTo>
                      <a:pt x="238" y="133"/>
                    </a:lnTo>
                    <a:lnTo>
                      <a:pt x="238" y="133"/>
                    </a:lnTo>
                    <a:lnTo>
                      <a:pt x="238" y="116"/>
                    </a:lnTo>
                    <a:lnTo>
                      <a:pt x="239" y="99"/>
                    </a:lnTo>
                    <a:lnTo>
                      <a:pt x="240" y="84"/>
                    </a:lnTo>
                    <a:lnTo>
                      <a:pt x="240" y="70"/>
                    </a:lnTo>
                    <a:lnTo>
                      <a:pt x="239" y="64"/>
                    </a:lnTo>
                    <a:lnTo>
                      <a:pt x="236" y="57"/>
                    </a:lnTo>
                    <a:lnTo>
                      <a:pt x="234" y="51"/>
                    </a:lnTo>
                    <a:lnTo>
                      <a:pt x="231" y="44"/>
                    </a:lnTo>
                    <a:lnTo>
                      <a:pt x="227" y="38"/>
                    </a:lnTo>
                    <a:lnTo>
                      <a:pt x="221" y="33"/>
                    </a:lnTo>
                    <a:lnTo>
                      <a:pt x="216" y="28"/>
                    </a:lnTo>
                    <a:lnTo>
                      <a:pt x="208" y="22"/>
                    </a:lnTo>
                    <a:lnTo>
                      <a:pt x="208" y="22"/>
                    </a:lnTo>
                    <a:lnTo>
                      <a:pt x="182" y="57"/>
                    </a:lnTo>
                    <a:lnTo>
                      <a:pt x="182" y="57"/>
                    </a:lnTo>
                    <a:lnTo>
                      <a:pt x="149" y="28"/>
                    </a:lnTo>
                    <a:lnTo>
                      <a:pt x="134" y="15"/>
                    </a:lnTo>
                    <a:lnTo>
                      <a:pt x="126" y="11"/>
                    </a:lnTo>
                    <a:lnTo>
                      <a:pt x="119" y="6"/>
                    </a:lnTo>
                    <a:lnTo>
                      <a:pt x="111" y="4"/>
                    </a:lnTo>
                    <a:lnTo>
                      <a:pt x="103" y="2"/>
                    </a:lnTo>
                    <a:lnTo>
                      <a:pt x="94" y="0"/>
                    </a:lnTo>
                    <a:lnTo>
                      <a:pt x="86" y="0"/>
                    </a:lnTo>
                    <a:lnTo>
                      <a:pt x="75" y="2"/>
                    </a:lnTo>
                    <a:lnTo>
                      <a:pt x="65" y="5"/>
                    </a:lnTo>
                    <a:lnTo>
                      <a:pt x="53" y="8"/>
                    </a:lnTo>
                    <a:lnTo>
                      <a:pt x="42" y="14"/>
                    </a:lnTo>
                    <a:lnTo>
                      <a:pt x="42" y="14"/>
                    </a:lnTo>
                    <a:lnTo>
                      <a:pt x="29" y="22"/>
                    </a:lnTo>
                    <a:lnTo>
                      <a:pt x="20" y="29"/>
                    </a:lnTo>
                    <a:lnTo>
                      <a:pt x="13" y="36"/>
                    </a:lnTo>
                    <a:lnTo>
                      <a:pt x="7" y="44"/>
                    </a:lnTo>
                    <a:lnTo>
                      <a:pt x="5" y="53"/>
                    </a:lnTo>
                    <a:lnTo>
                      <a:pt x="3" y="64"/>
                    </a:lnTo>
                    <a:lnTo>
                      <a:pt x="3" y="74"/>
                    </a:lnTo>
                    <a:lnTo>
                      <a:pt x="4" y="87"/>
                    </a:lnTo>
                    <a:lnTo>
                      <a:pt x="4" y="87"/>
                    </a:lnTo>
                    <a:lnTo>
                      <a:pt x="4" y="90"/>
                    </a:lnTo>
                    <a:lnTo>
                      <a:pt x="6" y="93"/>
                    </a:lnTo>
                    <a:lnTo>
                      <a:pt x="13" y="97"/>
                    </a:lnTo>
                    <a:lnTo>
                      <a:pt x="21" y="102"/>
                    </a:lnTo>
                    <a:lnTo>
                      <a:pt x="33" y="105"/>
                    </a:lnTo>
                    <a:lnTo>
                      <a:pt x="54" y="110"/>
                    </a:lnTo>
                    <a:lnTo>
                      <a:pt x="72" y="114"/>
                    </a:lnTo>
                    <a:lnTo>
                      <a:pt x="72" y="114"/>
                    </a:lnTo>
                    <a:lnTo>
                      <a:pt x="69" y="120"/>
                    </a:lnTo>
                    <a:lnTo>
                      <a:pt x="67" y="126"/>
                    </a:lnTo>
                    <a:lnTo>
                      <a:pt x="60" y="137"/>
                    </a:lnTo>
                    <a:lnTo>
                      <a:pt x="60" y="137"/>
                    </a:lnTo>
                    <a:lnTo>
                      <a:pt x="11" y="106"/>
                    </a:lnTo>
                    <a:lnTo>
                      <a:pt x="11" y="106"/>
                    </a:lnTo>
                    <a:lnTo>
                      <a:pt x="6" y="117"/>
                    </a:lnTo>
                    <a:lnTo>
                      <a:pt x="3" y="125"/>
                    </a:lnTo>
                    <a:lnTo>
                      <a:pt x="0" y="131"/>
                    </a:lnTo>
                    <a:lnTo>
                      <a:pt x="0" y="135"/>
                    </a:lnTo>
                    <a:lnTo>
                      <a:pt x="2" y="139"/>
                    </a:lnTo>
                    <a:lnTo>
                      <a:pt x="3" y="142"/>
                    </a:lnTo>
                    <a:lnTo>
                      <a:pt x="5" y="144"/>
                    </a:lnTo>
                    <a:lnTo>
                      <a:pt x="7" y="146"/>
                    </a:lnTo>
                    <a:lnTo>
                      <a:pt x="14" y="149"/>
                    </a:lnTo>
                    <a:lnTo>
                      <a:pt x="20" y="152"/>
                    </a:lnTo>
                    <a:lnTo>
                      <a:pt x="22" y="156"/>
                    </a:lnTo>
                    <a:lnTo>
                      <a:pt x="25" y="159"/>
                    </a:lnTo>
                    <a:lnTo>
                      <a:pt x="26" y="165"/>
                    </a:lnTo>
                    <a:lnTo>
                      <a:pt x="26" y="172"/>
                    </a:lnTo>
                    <a:lnTo>
                      <a:pt x="26" y="172"/>
                    </a:lnTo>
                    <a:lnTo>
                      <a:pt x="26" y="186"/>
                    </a:lnTo>
                    <a:lnTo>
                      <a:pt x="28" y="196"/>
                    </a:lnTo>
                    <a:lnTo>
                      <a:pt x="29" y="200"/>
                    </a:lnTo>
                    <a:lnTo>
                      <a:pt x="31" y="203"/>
                    </a:lnTo>
                    <a:lnTo>
                      <a:pt x="34" y="205"/>
                    </a:lnTo>
                    <a:lnTo>
                      <a:pt x="37" y="208"/>
                    </a:lnTo>
                    <a:lnTo>
                      <a:pt x="44" y="211"/>
                    </a:lnTo>
                    <a:lnTo>
                      <a:pt x="54" y="213"/>
                    </a:lnTo>
                    <a:lnTo>
                      <a:pt x="80" y="219"/>
                    </a:lnTo>
                    <a:lnTo>
                      <a:pt x="80" y="219"/>
                    </a:lnTo>
                    <a:lnTo>
                      <a:pt x="101" y="219"/>
                    </a:lnTo>
                    <a:lnTo>
                      <a:pt x="111" y="219"/>
                    </a:lnTo>
                    <a:lnTo>
                      <a:pt x="121" y="219"/>
                    </a:lnTo>
                    <a:lnTo>
                      <a:pt x="132" y="218"/>
                    </a:lnTo>
                    <a:lnTo>
                      <a:pt x="140" y="215"/>
                    </a:lnTo>
                    <a:lnTo>
                      <a:pt x="144" y="212"/>
                    </a:lnTo>
                    <a:lnTo>
                      <a:pt x="148" y="209"/>
                    </a:lnTo>
                    <a:lnTo>
                      <a:pt x="150" y="205"/>
                    </a:lnTo>
                    <a:lnTo>
                      <a:pt x="152" y="201"/>
                    </a:lnTo>
                    <a:lnTo>
                      <a:pt x="152" y="201"/>
                    </a:lnTo>
                    <a:lnTo>
                      <a:pt x="162" y="212"/>
                    </a:lnTo>
                    <a:lnTo>
                      <a:pt x="173" y="227"/>
                    </a:lnTo>
                    <a:lnTo>
                      <a:pt x="185" y="241"/>
                    </a:lnTo>
                    <a:lnTo>
                      <a:pt x="190" y="246"/>
                    </a:lnTo>
                    <a:lnTo>
                      <a:pt x="195" y="248"/>
                    </a:lnTo>
                    <a:lnTo>
                      <a:pt x="195" y="248"/>
                    </a:lnTo>
                    <a:lnTo>
                      <a:pt x="204" y="249"/>
                    </a:lnTo>
                    <a:lnTo>
                      <a:pt x="213" y="247"/>
                    </a:lnTo>
                    <a:lnTo>
                      <a:pt x="220" y="243"/>
                    </a:lnTo>
                    <a:lnTo>
                      <a:pt x="227" y="238"/>
                    </a:lnTo>
                    <a:lnTo>
                      <a:pt x="232" y="231"/>
                    </a:lnTo>
                    <a:lnTo>
                      <a:pt x="235" y="223"/>
                    </a:lnTo>
                    <a:lnTo>
                      <a:pt x="238" y="215"/>
                    </a:lnTo>
                    <a:lnTo>
                      <a:pt x="238" y="205"/>
                    </a:lnTo>
                    <a:lnTo>
                      <a:pt x="238" y="205"/>
                    </a:lnTo>
                    <a:lnTo>
                      <a:pt x="242" y="210"/>
                    </a:lnTo>
                    <a:lnTo>
                      <a:pt x="249" y="213"/>
                    </a:lnTo>
                    <a:lnTo>
                      <a:pt x="255" y="218"/>
                    </a:lnTo>
                    <a:lnTo>
                      <a:pt x="261" y="221"/>
                    </a:lnTo>
                    <a:lnTo>
                      <a:pt x="261" y="221"/>
                    </a:lnTo>
                    <a:lnTo>
                      <a:pt x="262" y="211"/>
                    </a:lnTo>
                    <a:lnTo>
                      <a:pt x="264" y="197"/>
                    </a:lnTo>
                    <a:lnTo>
                      <a:pt x="266" y="185"/>
                    </a:lnTo>
                    <a:lnTo>
                      <a:pt x="266" y="179"/>
                    </a:lnTo>
                    <a:lnTo>
                      <a:pt x="265" y="174"/>
                    </a:lnTo>
                    <a:lnTo>
                      <a:pt x="265" y="174"/>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73" name="Freeform 388">
                <a:extLst>
                  <a:ext uri="{FF2B5EF4-FFF2-40B4-BE49-F238E27FC236}">
                    <a16:creationId xmlns:a16="http://schemas.microsoft.com/office/drawing/2014/main" id="{870D57AA-F989-436D-874F-84078AB32D81}"/>
                  </a:ext>
                </a:extLst>
              </p:cNvPr>
              <p:cNvSpPr>
                <a:spLocks/>
              </p:cNvSpPr>
              <p:nvPr/>
            </p:nvSpPr>
            <p:spPr bwMode="auto">
              <a:xfrm>
                <a:off x="2974975" y="411163"/>
                <a:ext cx="25400" cy="28575"/>
              </a:xfrm>
              <a:custGeom>
                <a:avLst/>
                <a:gdLst>
                  <a:gd name="T0" fmla="*/ 113 w 113"/>
                  <a:gd name="T1" fmla="*/ 21 h 128"/>
                  <a:gd name="T2" fmla="*/ 113 w 113"/>
                  <a:gd name="T3" fmla="*/ 21 h 128"/>
                  <a:gd name="T4" fmla="*/ 108 w 113"/>
                  <a:gd name="T5" fmla="*/ 16 h 128"/>
                  <a:gd name="T6" fmla="*/ 104 w 113"/>
                  <a:gd name="T7" fmla="*/ 13 h 128"/>
                  <a:gd name="T8" fmla="*/ 92 w 113"/>
                  <a:gd name="T9" fmla="*/ 6 h 128"/>
                  <a:gd name="T10" fmla="*/ 81 w 113"/>
                  <a:gd name="T11" fmla="*/ 1 h 128"/>
                  <a:gd name="T12" fmla="*/ 75 w 113"/>
                  <a:gd name="T13" fmla="*/ 0 h 128"/>
                  <a:gd name="T14" fmla="*/ 69 w 113"/>
                  <a:gd name="T15" fmla="*/ 0 h 128"/>
                  <a:gd name="T16" fmla="*/ 63 w 113"/>
                  <a:gd name="T17" fmla="*/ 0 h 128"/>
                  <a:gd name="T18" fmla="*/ 58 w 113"/>
                  <a:gd name="T19" fmla="*/ 1 h 128"/>
                  <a:gd name="T20" fmla="*/ 53 w 113"/>
                  <a:gd name="T21" fmla="*/ 3 h 128"/>
                  <a:gd name="T22" fmla="*/ 48 w 113"/>
                  <a:gd name="T23" fmla="*/ 7 h 128"/>
                  <a:gd name="T24" fmla="*/ 45 w 113"/>
                  <a:gd name="T25" fmla="*/ 11 h 128"/>
                  <a:gd name="T26" fmla="*/ 43 w 113"/>
                  <a:gd name="T27" fmla="*/ 16 h 128"/>
                  <a:gd name="T28" fmla="*/ 40 w 113"/>
                  <a:gd name="T29" fmla="*/ 22 h 128"/>
                  <a:gd name="T30" fmla="*/ 39 w 113"/>
                  <a:gd name="T31" fmla="*/ 30 h 128"/>
                  <a:gd name="T32" fmla="*/ 39 w 113"/>
                  <a:gd name="T33" fmla="*/ 30 h 128"/>
                  <a:gd name="T34" fmla="*/ 32 w 113"/>
                  <a:gd name="T35" fmla="*/ 25 h 128"/>
                  <a:gd name="T36" fmla="*/ 27 w 113"/>
                  <a:gd name="T37" fmla="*/ 23 h 128"/>
                  <a:gd name="T38" fmla="*/ 21 w 113"/>
                  <a:gd name="T39" fmla="*/ 22 h 128"/>
                  <a:gd name="T40" fmla="*/ 16 w 113"/>
                  <a:gd name="T41" fmla="*/ 23 h 128"/>
                  <a:gd name="T42" fmla="*/ 12 w 113"/>
                  <a:gd name="T43" fmla="*/ 25 h 128"/>
                  <a:gd name="T44" fmla="*/ 7 w 113"/>
                  <a:gd name="T45" fmla="*/ 30 h 128"/>
                  <a:gd name="T46" fmla="*/ 4 w 113"/>
                  <a:gd name="T47" fmla="*/ 36 h 128"/>
                  <a:gd name="T48" fmla="*/ 0 w 113"/>
                  <a:gd name="T49" fmla="*/ 42 h 128"/>
                  <a:gd name="T50" fmla="*/ 0 w 113"/>
                  <a:gd name="T51" fmla="*/ 42 h 128"/>
                  <a:gd name="T52" fmla="*/ 13 w 113"/>
                  <a:gd name="T53" fmla="*/ 64 h 128"/>
                  <a:gd name="T54" fmla="*/ 17 w 113"/>
                  <a:gd name="T55" fmla="*/ 74 h 128"/>
                  <a:gd name="T56" fmla="*/ 21 w 113"/>
                  <a:gd name="T57" fmla="*/ 83 h 128"/>
                  <a:gd name="T58" fmla="*/ 24 w 113"/>
                  <a:gd name="T59" fmla="*/ 92 h 128"/>
                  <a:gd name="T60" fmla="*/ 25 w 113"/>
                  <a:gd name="T61" fmla="*/ 102 h 128"/>
                  <a:gd name="T62" fmla="*/ 28 w 113"/>
                  <a:gd name="T63" fmla="*/ 128 h 128"/>
                  <a:gd name="T64" fmla="*/ 28 w 113"/>
                  <a:gd name="T65" fmla="*/ 128 h 128"/>
                  <a:gd name="T66" fmla="*/ 43 w 113"/>
                  <a:gd name="T67" fmla="*/ 120 h 128"/>
                  <a:gd name="T68" fmla="*/ 62 w 113"/>
                  <a:gd name="T69" fmla="*/ 110 h 128"/>
                  <a:gd name="T70" fmla="*/ 71 w 113"/>
                  <a:gd name="T71" fmla="*/ 106 h 128"/>
                  <a:gd name="T72" fmla="*/ 80 w 113"/>
                  <a:gd name="T73" fmla="*/ 100 h 128"/>
                  <a:gd name="T74" fmla="*/ 86 w 113"/>
                  <a:gd name="T75" fmla="*/ 94 h 128"/>
                  <a:gd name="T76" fmla="*/ 91 w 113"/>
                  <a:gd name="T77" fmla="*/ 90 h 128"/>
                  <a:gd name="T78" fmla="*/ 91 w 113"/>
                  <a:gd name="T79" fmla="*/ 90 h 128"/>
                  <a:gd name="T80" fmla="*/ 93 w 113"/>
                  <a:gd name="T81" fmla="*/ 84 h 128"/>
                  <a:gd name="T82" fmla="*/ 95 w 113"/>
                  <a:gd name="T83" fmla="*/ 79 h 128"/>
                  <a:gd name="T84" fmla="*/ 96 w 113"/>
                  <a:gd name="T85" fmla="*/ 70 h 128"/>
                  <a:gd name="T86" fmla="*/ 95 w 113"/>
                  <a:gd name="T87" fmla="*/ 61 h 128"/>
                  <a:gd name="T88" fmla="*/ 93 w 113"/>
                  <a:gd name="T89" fmla="*/ 53 h 128"/>
                  <a:gd name="T90" fmla="*/ 93 w 113"/>
                  <a:gd name="T91" fmla="*/ 45 h 128"/>
                  <a:gd name="T92" fmla="*/ 95 w 113"/>
                  <a:gd name="T93" fmla="*/ 40 h 128"/>
                  <a:gd name="T94" fmla="*/ 96 w 113"/>
                  <a:gd name="T95" fmla="*/ 37 h 128"/>
                  <a:gd name="T96" fmla="*/ 98 w 113"/>
                  <a:gd name="T97" fmla="*/ 32 h 128"/>
                  <a:gd name="T98" fmla="*/ 101 w 113"/>
                  <a:gd name="T99" fmla="*/ 29 h 128"/>
                  <a:gd name="T100" fmla="*/ 106 w 113"/>
                  <a:gd name="T101" fmla="*/ 24 h 128"/>
                  <a:gd name="T102" fmla="*/ 113 w 113"/>
                  <a:gd name="T103" fmla="*/ 21 h 128"/>
                  <a:gd name="T104" fmla="*/ 113 w 113"/>
                  <a:gd name="T105" fmla="*/ 2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3" h="128">
                    <a:moveTo>
                      <a:pt x="113" y="21"/>
                    </a:moveTo>
                    <a:lnTo>
                      <a:pt x="113" y="21"/>
                    </a:lnTo>
                    <a:lnTo>
                      <a:pt x="108" y="16"/>
                    </a:lnTo>
                    <a:lnTo>
                      <a:pt x="104" y="13"/>
                    </a:lnTo>
                    <a:lnTo>
                      <a:pt x="92" y="6"/>
                    </a:lnTo>
                    <a:lnTo>
                      <a:pt x="81" y="1"/>
                    </a:lnTo>
                    <a:lnTo>
                      <a:pt x="75" y="0"/>
                    </a:lnTo>
                    <a:lnTo>
                      <a:pt x="69" y="0"/>
                    </a:lnTo>
                    <a:lnTo>
                      <a:pt x="63" y="0"/>
                    </a:lnTo>
                    <a:lnTo>
                      <a:pt x="58" y="1"/>
                    </a:lnTo>
                    <a:lnTo>
                      <a:pt x="53" y="3"/>
                    </a:lnTo>
                    <a:lnTo>
                      <a:pt x="48" y="7"/>
                    </a:lnTo>
                    <a:lnTo>
                      <a:pt x="45" y="11"/>
                    </a:lnTo>
                    <a:lnTo>
                      <a:pt x="43" y="16"/>
                    </a:lnTo>
                    <a:lnTo>
                      <a:pt x="40" y="22"/>
                    </a:lnTo>
                    <a:lnTo>
                      <a:pt x="39" y="30"/>
                    </a:lnTo>
                    <a:lnTo>
                      <a:pt x="39" y="30"/>
                    </a:lnTo>
                    <a:lnTo>
                      <a:pt x="32" y="25"/>
                    </a:lnTo>
                    <a:lnTo>
                      <a:pt x="27" y="23"/>
                    </a:lnTo>
                    <a:lnTo>
                      <a:pt x="21" y="22"/>
                    </a:lnTo>
                    <a:lnTo>
                      <a:pt x="16" y="23"/>
                    </a:lnTo>
                    <a:lnTo>
                      <a:pt x="12" y="25"/>
                    </a:lnTo>
                    <a:lnTo>
                      <a:pt x="7" y="30"/>
                    </a:lnTo>
                    <a:lnTo>
                      <a:pt x="4" y="36"/>
                    </a:lnTo>
                    <a:lnTo>
                      <a:pt x="0" y="42"/>
                    </a:lnTo>
                    <a:lnTo>
                      <a:pt x="0" y="42"/>
                    </a:lnTo>
                    <a:lnTo>
                      <a:pt x="13" y="64"/>
                    </a:lnTo>
                    <a:lnTo>
                      <a:pt x="17" y="74"/>
                    </a:lnTo>
                    <a:lnTo>
                      <a:pt x="21" y="83"/>
                    </a:lnTo>
                    <a:lnTo>
                      <a:pt x="24" y="92"/>
                    </a:lnTo>
                    <a:lnTo>
                      <a:pt x="25" y="102"/>
                    </a:lnTo>
                    <a:lnTo>
                      <a:pt x="28" y="128"/>
                    </a:lnTo>
                    <a:lnTo>
                      <a:pt x="28" y="128"/>
                    </a:lnTo>
                    <a:lnTo>
                      <a:pt x="43" y="120"/>
                    </a:lnTo>
                    <a:lnTo>
                      <a:pt x="62" y="110"/>
                    </a:lnTo>
                    <a:lnTo>
                      <a:pt x="71" y="106"/>
                    </a:lnTo>
                    <a:lnTo>
                      <a:pt x="80" y="100"/>
                    </a:lnTo>
                    <a:lnTo>
                      <a:pt x="86" y="94"/>
                    </a:lnTo>
                    <a:lnTo>
                      <a:pt x="91" y="90"/>
                    </a:lnTo>
                    <a:lnTo>
                      <a:pt x="91" y="90"/>
                    </a:lnTo>
                    <a:lnTo>
                      <a:pt x="93" y="84"/>
                    </a:lnTo>
                    <a:lnTo>
                      <a:pt x="95" y="79"/>
                    </a:lnTo>
                    <a:lnTo>
                      <a:pt x="96" y="70"/>
                    </a:lnTo>
                    <a:lnTo>
                      <a:pt x="95" y="61"/>
                    </a:lnTo>
                    <a:lnTo>
                      <a:pt x="93" y="53"/>
                    </a:lnTo>
                    <a:lnTo>
                      <a:pt x="93" y="45"/>
                    </a:lnTo>
                    <a:lnTo>
                      <a:pt x="95" y="40"/>
                    </a:lnTo>
                    <a:lnTo>
                      <a:pt x="96" y="37"/>
                    </a:lnTo>
                    <a:lnTo>
                      <a:pt x="98" y="32"/>
                    </a:lnTo>
                    <a:lnTo>
                      <a:pt x="101" y="29"/>
                    </a:lnTo>
                    <a:lnTo>
                      <a:pt x="106" y="24"/>
                    </a:lnTo>
                    <a:lnTo>
                      <a:pt x="113" y="21"/>
                    </a:lnTo>
                    <a:lnTo>
                      <a:pt x="113" y="21"/>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74" name="Freeform 389">
                <a:extLst>
                  <a:ext uri="{FF2B5EF4-FFF2-40B4-BE49-F238E27FC236}">
                    <a16:creationId xmlns:a16="http://schemas.microsoft.com/office/drawing/2014/main" id="{986AAFF6-EF1A-40CE-95FD-0E120971FCBD}"/>
                  </a:ext>
                </a:extLst>
              </p:cNvPr>
              <p:cNvSpPr>
                <a:spLocks/>
              </p:cNvSpPr>
              <p:nvPr/>
            </p:nvSpPr>
            <p:spPr bwMode="auto">
              <a:xfrm>
                <a:off x="3000375" y="415925"/>
                <a:ext cx="28575" cy="15875"/>
              </a:xfrm>
              <a:custGeom>
                <a:avLst/>
                <a:gdLst>
                  <a:gd name="T0" fmla="*/ 43 w 126"/>
                  <a:gd name="T1" fmla="*/ 53 h 70"/>
                  <a:gd name="T2" fmla="*/ 43 w 126"/>
                  <a:gd name="T3" fmla="*/ 53 h 70"/>
                  <a:gd name="T4" fmla="*/ 48 w 126"/>
                  <a:gd name="T5" fmla="*/ 58 h 70"/>
                  <a:gd name="T6" fmla="*/ 53 w 126"/>
                  <a:gd name="T7" fmla="*/ 62 h 70"/>
                  <a:gd name="T8" fmla="*/ 58 w 126"/>
                  <a:gd name="T9" fmla="*/ 64 h 70"/>
                  <a:gd name="T10" fmla="*/ 64 w 126"/>
                  <a:gd name="T11" fmla="*/ 65 h 70"/>
                  <a:gd name="T12" fmla="*/ 69 w 126"/>
                  <a:gd name="T13" fmla="*/ 64 h 70"/>
                  <a:gd name="T14" fmla="*/ 75 w 126"/>
                  <a:gd name="T15" fmla="*/ 62 h 70"/>
                  <a:gd name="T16" fmla="*/ 81 w 126"/>
                  <a:gd name="T17" fmla="*/ 59 h 70"/>
                  <a:gd name="T18" fmla="*/ 87 w 126"/>
                  <a:gd name="T19" fmla="*/ 55 h 70"/>
                  <a:gd name="T20" fmla="*/ 97 w 126"/>
                  <a:gd name="T21" fmla="*/ 47 h 70"/>
                  <a:gd name="T22" fmla="*/ 109 w 126"/>
                  <a:gd name="T23" fmla="*/ 37 h 70"/>
                  <a:gd name="T24" fmla="*/ 126 w 126"/>
                  <a:gd name="T25" fmla="*/ 21 h 70"/>
                  <a:gd name="T26" fmla="*/ 126 w 126"/>
                  <a:gd name="T27" fmla="*/ 21 h 70"/>
                  <a:gd name="T28" fmla="*/ 102 w 126"/>
                  <a:gd name="T29" fmla="*/ 13 h 70"/>
                  <a:gd name="T30" fmla="*/ 78 w 126"/>
                  <a:gd name="T31" fmla="*/ 6 h 70"/>
                  <a:gd name="T32" fmla="*/ 65 w 126"/>
                  <a:gd name="T33" fmla="*/ 3 h 70"/>
                  <a:gd name="T34" fmla="*/ 53 w 126"/>
                  <a:gd name="T35" fmla="*/ 0 h 70"/>
                  <a:gd name="T36" fmla="*/ 43 w 126"/>
                  <a:gd name="T37" fmla="*/ 0 h 70"/>
                  <a:gd name="T38" fmla="*/ 33 w 126"/>
                  <a:gd name="T39" fmla="*/ 0 h 70"/>
                  <a:gd name="T40" fmla="*/ 25 w 126"/>
                  <a:gd name="T41" fmla="*/ 1 h 70"/>
                  <a:gd name="T42" fmla="*/ 17 w 126"/>
                  <a:gd name="T43" fmla="*/ 5 h 70"/>
                  <a:gd name="T44" fmla="*/ 10 w 126"/>
                  <a:gd name="T45" fmla="*/ 9 h 70"/>
                  <a:gd name="T46" fmla="*/ 5 w 126"/>
                  <a:gd name="T47" fmla="*/ 16 h 70"/>
                  <a:gd name="T48" fmla="*/ 2 w 126"/>
                  <a:gd name="T49" fmla="*/ 26 h 70"/>
                  <a:gd name="T50" fmla="*/ 0 w 126"/>
                  <a:gd name="T51" fmla="*/ 37 h 70"/>
                  <a:gd name="T52" fmla="*/ 2 w 126"/>
                  <a:gd name="T53" fmla="*/ 52 h 70"/>
                  <a:gd name="T54" fmla="*/ 5 w 126"/>
                  <a:gd name="T55" fmla="*/ 68 h 70"/>
                  <a:gd name="T56" fmla="*/ 5 w 126"/>
                  <a:gd name="T57" fmla="*/ 68 h 70"/>
                  <a:gd name="T58" fmla="*/ 11 w 126"/>
                  <a:gd name="T59" fmla="*/ 70 h 70"/>
                  <a:gd name="T60" fmla="*/ 18 w 126"/>
                  <a:gd name="T61" fmla="*/ 70 h 70"/>
                  <a:gd name="T62" fmla="*/ 23 w 126"/>
                  <a:gd name="T63" fmla="*/ 70 h 70"/>
                  <a:gd name="T64" fmla="*/ 29 w 126"/>
                  <a:gd name="T65" fmla="*/ 69 h 70"/>
                  <a:gd name="T66" fmla="*/ 34 w 126"/>
                  <a:gd name="T67" fmla="*/ 67 h 70"/>
                  <a:gd name="T68" fmla="*/ 37 w 126"/>
                  <a:gd name="T69" fmla="*/ 64 h 70"/>
                  <a:gd name="T70" fmla="*/ 41 w 126"/>
                  <a:gd name="T71" fmla="*/ 59 h 70"/>
                  <a:gd name="T72" fmla="*/ 43 w 126"/>
                  <a:gd name="T73" fmla="*/ 53 h 70"/>
                  <a:gd name="T74" fmla="*/ 43 w 126"/>
                  <a:gd name="T75" fmla="*/ 5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70">
                    <a:moveTo>
                      <a:pt x="43" y="53"/>
                    </a:moveTo>
                    <a:lnTo>
                      <a:pt x="43" y="53"/>
                    </a:lnTo>
                    <a:lnTo>
                      <a:pt x="48" y="58"/>
                    </a:lnTo>
                    <a:lnTo>
                      <a:pt x="53" y="62"/>
                    </a:lnTo>
                    <a:lnTo>
                      <a:pt x="58" y="64"/>
                    </a:lnTo>
                    <a:lnTo>
                      <a:pt x="64" y="65"/>
                    </a:lnTo>
                    <a:lnTo>
                      <a:pt x="69" y="64"/>
                    </a:lnTo>
                    <a:lnTo>
                      <a:pt x="75" y="62"/>
                    </a:lnTo>
                    <a:lnTo>
                      <a:pt x="81" y="59"/>
                    </a:lnTo>
                    <a:lnTo>
                      <a:pt x="87" y="55"/>
                    </a:lnTo>
                    <a:lnTo>
                      <a:pt x="97" y="47"/>
                    </a:lnTo>
                    <a:lnTo>
                      <a:pt x="109" y="37"/>
                    </a:lnTo>
                    <a:lnTo>
                      <a:pt x="126" y="21"/>
                    </a:lnTo>
                    <a:lnTo>
                      <a:pt x="126" y="21"/>
                    </a:lnTo>
                    <a:lnTo>
                      <a:pt x="102" y="13"/>
                    </a:lnTo>
                    <a:lnTo>
                      <a:pt x="78" y="6"/>
                    </a:lnTo>
                    <a:lnTo>
                      <a:pt x="65" y="3"/>
                    </a:lnTo>
                    <a:lnTo>
                      <a:pt x="53" y="0"/>
                    </a:lnTo>
                    <a:lnTo>
                      <a:pt x="43" y="0"/>
                    </a:lnTo>
                    <a:lnTo>
                      <a:pt x="33" y="0"/>
                    </a:lnTo>
                    <a:lnTo>
                      <a:pt x="25" y="1"/>
                    </a:lnTo>
                    <a:lnTo>
                      <a:pt x="17" y="5"/>
                    </a:lnTo>
                    <a:lnTo>
                      <a:pt x="10" y="9"/>
                    </a:lnTo>
                    <a:lnTo>
                      <a:pt x="5" y="16"/>
                    </a:lnTo>
                    <a:lnTo>
                      <a:pt x="2" y="26"/>
                    </a:lnTo>
                    <a:lnTo>
                      <a:pt x="0" y="37"/>
                    </a:lnTo>
                    <a:lnTo>
                      <a:pt x="2" y="52"/>
                    </a:lnTo>
                    <a:lnTo>
                      <a:pt x="5" y="68"/>
                    </a:lnTo>
                    <a:lnTo>
                      <a:pt x="5" y="68"/>
                    </a:lnTo>
                    <a:lnTo>
                      <a:pt x="11" y="70"/>
                    </a:lnTo>
                    <a:lnTo>
                      <a:pt x="18" y="70"/>
                    </a:lnTo>
                    <a:lnTo>
                      <a:pt x="23" y="70"/>
                    </a:lnTo>
                    <a:lnTo>
                      <a:pt x="29" y="69"/>
                    </a:lnTo>
                    <a:lnTo>
                      <a:pt x="34" y="67"/>
                    </a:lnTo>
                    <a:lnTo>
                      <a:pt x="37" y="64"/>
                    </a:lnTo>
                    <a:lnTo>
                      <a:pt x="41" y="59"/>
                    </a:lnTo>
                    <a:lnTo>
                      <a:pt x="43" y="53"/>
                    </a:lnTo>
                    <a:lnTo>
                      <a:pt x="43" y="53"/>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75" name="Freeform 390">
                <a:extLst>
                  <a:ext uri="{FF2B5EF4-FFF2-40B4-BE49-F238E27FC236}">
                    <a16:creationId xmlns:a16="http://schemas.microsoft.com/office/drawing/2014/main" id="{C2D72CAC-F8DB-4E27-8AA3-75320CC5E348}"/>
                  </a:ext>
                </a:extLst>
              </p:cNvPr>
              <p:cNvSpPr>
                <a:spLocks/>
              </p:cNvSpPr>
              <p:nvPr/>
            </p:nvSpPr>
            <p:spPr bwMode="auto">
              <a:xfrm>
                <a:off x="3005138" y="384175"/>
                <a:ext cx="65088" cy="39688"/>
              </a:xfrm>
              <a:custGeom>
                <a:avLst/>
                <a:gdLst>
                  <a:gd name="T0" fmla="*/ 34 w 287"/>
                  <a:gd name="T1" fmla="*/ 23 h 178"/>
                  <a:gd name="T2" fmla="*/ 38 w 287"/>
                  <a:gd name="T3" fmla="*/ 35 h 178"/>
                  <a:gd name="T4" fmla="*/ 45 w 287"/>
                  <a:gd name="T5" fmla="*/ 44 h 178"/>
                  <a:gd name="T6" fmla="*/ 60 w 287"/>
                  <a:gd name="T7" fmla="*/ 58 h 178"/>
                  <a:gd name="T8" fmla="*/ 68 w 287"/>
                  <a:gd name="T9" fmla="*/ 68 h 178"/>
                  <a:gd name="T10" fmla="*/ 70 w 287"/>
                  <a:gd name="T11" fmla="*/ 78 h 178"/>
                  <a:gd name="T12" fmla="*/ 66 w 287"/>
                  <a:gd name="T13" fmla="*/ 88 h 178"/>
                  <a:gd name="T14" fmla="*/ 63 w 287"/>
                  <a:gd name="T15" fmla="*/ 95 h 178"/>
                  <a:gd name="T16" fmla="*/ 33 w 287"/>
                  <a:gd name="T17" fmla="*/ 81 h 178"/>
                  <a:gd name="T18" fmla="*/ 19 w 287"/>
                  <a:gd name="T19" fmla="*/ 78 h 178"/>
                  <a:gd name="T20" fmla="*/ 11 w 287"/>
                  <a:gd name="T21" fmla="*/ 80 h 178"/>
                  <a:gd name="T22" fmla="*/ 5 w 287"/>
                  <a:gd name="T23" fmla="*/ 84 h 178"/>
                  <a:gd name="T24" fmla="*/ 1 w 287"/>
                  <a:gd name="T25" fmla="*/ 95 h 178"/>
                  <a:gd name="T26" fmla="*/ 0 w 287"/>
                  <a:gd name="T27" fmla="*/ 102 h 178"/>
                  <a:gd name="T28" fmla="*/ 28 w 287"/>
                  <a:gd name="T29" fmla="*/ 114 h 178"/>
                  <a:gd name="T30" fmla="*/ 45 w 287"/>
                  <a:gd name="T31" fmla="*/ 117 h 178"/>
                  <a:gd name="T32" fmla="*/ 53 w 287"/>
                  <a:gd name="T33" fmla="*/ 113 h 178"/>
                  <a:gd name="T34" fmla="*/ 58 w 287"/>
                  <a:gd name="T35" fmla="*/ 108 h 178"/>
                  <a:gd name="T36" fmla="*/ 63 w 287"/>
                  <a:gd name="T37" fmla="*/ 96 h 178"/>
                  <a:gd name="T38" fmla="*/ 63 w 287"/>
                  <a:gd name="T39" fmla="*/ 105 h 178"/>
                  <a:gd name="T40" fmla="*/ 69 w 287"/>
                  <a:gd name="T41" fmla="*/ 120 h 178"/>
                  <a:gd name="T42" fmla="*/ 81 w 287"/>
                  <a:gd name="T43" fmla="*/ 133 h 178"/>
                  <a:gd name="T44" fmla="*/ 99 w 287"/>
                  <a:gd name="T45" fmla="*/ 142 h 178"/>
                  <a:gd name="T46" fmla="*/ 130 w 287"/>
                  <a:gd name="T47" fmla="*/ 152 h 178"/>
                  <a:gd name="T48" fmla="*/ 170 w 287"/>
                  <a:gd name="T49" fmla="*/ 162 h 178"/>
                  <a:gd name="T50" fmla="*/ 186 w 287"/>
                  <a:gd name="T51" fmla="*/ 166 h 178"/>
                  <a:gd name="T52" fmla="*/ 218 w 287"/>
                  <a:gd name="T53" fmla="*/ 177 h 178"/>
                  <a:gd name="T54" fmla="*/ 240 w 287"/>
                  <a:gd name="T55" fmla="*/ 178 h 178"/>
                  <a:gd name="T56" fmla="*/ 261 w 287"/>
                  <a:gd name="T57" fmla="*/ 170 h 178"/>
                  <a:gd name="T58" fmla="*/ 287 w 287"/>
                  <a:gd name="T59" fmla="*/ 148 h 178"/>
                  <a:gd name="T60" fmla="*/ 277 w 287"/>
                  <a:gd name="T61" fmla="*/ 137 h 178"/>
                  <a:gd name="T62" fmla="*/ 249 w 287"/>
                  <a:gd name="T63" fmla="*/ 113 h 178"/>
                  <a:gd name="T64" fmla="*/ 237 w 287"/>
                  <a:gd name="T65" fmla="*/ 108 h 178"/>
                  <a:gd name="T66" fmla="*/ 231 w 287"/>
                  <a:gd name="T67" fmla="*/ 106 h 178"/>
                  <a:gd name="T68" fmla="*/ 208 w 287"/>
                  <a:gd name="T69" fmla="*/ 111 h 178"/>
                  <a:gd name="T70" fmla="*/ 185 w 287"/>
                  <a:gd name="T71" fmla="*/ 117 h 178"/>
                  <a:gd name="T72" fmla="*/ 177 w 287"/>
                  <a:gd name="T73" fmla="*/ 117 h 178"/>
                  <a:gd name="T74" fmla="*/ 155 w 287"/>
                  <a:gd name="T75" fmla="*/ 112 h 178"/>
                  <a:gd name="T76" fmla="*/ 141 w 287"/>
                  <a:gd name="T77" fmla="*/ 108 h 178"/>
                  <a:gd name="T78" fmla="*/ 134 w 287"/>
                  <a:gd name="T79" fmla="*/ 99 h 178"/>
                  <a:gd name="T80" fmla="*/ 132 w 287"/>
                  <a:gd name="T81" fmla="*/ 90 h 178"/>
                  <a:gd name="T82" fmla="*/ 131 w 287"/>
                  <a:gd name="T83" fmla="*/ 66 h 178"/>
                  <a:gd name="T84" fmla="*/ 127 w 287"/>
                  <a:gd name="T85" fmla="*/ 52 h 178"/>
                  <a:gd name="T86" fmla="*/ 119 w 287"/>
                  <a:gd name="T87" fmla="*/ 36 h 178"/>
                  <a:gd name="T88" fmla="*/ 116 w 287"/>
                  <a:gd name="T89" fmla="*/ 32 h 178"/>
                  <a:gd name="T90" fmla="*/ 100 w 287"/>
                  <a:gd name="T91" fmla="*/ 19 h 178"/>
                  <a:gd name="T92" fmla="*/ 70 w 287"/>
                  <a:gd name="T93" fmla="*/ 4 h 178"/>
                  <a:gd name="T94" fmla="*/ 55 w 287"/>
                  <a:gd name="T95" fmla="*/ 0 h 178"/>
                  <a:gd name="T96" fmla="*/ 43 w 287"/>
                  <a:gd name="T97" fmla="*/ 3 h 178"/>
                  <a:gd name="T98" fmla="*/ 35 w 287"/>
                  <a:gd name="T99" fmla="*/ 10 h 178"/>
                  <a:gd name="T100" fmla="*/ 34 w 287"/>
                  <a:gd name="T101" fmla="*/ 2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7" h="178">
                    <a:moveTo>
                      <a:pt x="34" y="23"/>
                    </a:moveTo>
                    <a:lnTo>
                      <a:pt x="34" y="23"/>
                    </a:lnTo>
                    <a:lnTo>
                      <a:pt x="35" y="30"/>
                    </a:lnTo>
                    <a:lnTo>
                      <a:pt x="38" y="35"/>
                    </a:lnTo>
                    <a:lnTo>
                      <a:pt x="41" y="41"/>
                    </a:lnTo>
                    <a:lnTo>
                      <a:pt x="45" y="44"/>
                    </a:lnTo>
                    <a:lnTo>
                      <a:pt x="51" y="52"/>
                    </a:lnTo>
                    <a:lnTo>
                      <a:pt x="60" y="58"/>
                    </a:lnTo>
                    <a:lnTo>
                      <a:pt x="66" y="65"/>
                    </a:lnTo>
                    <a:lnTo>
                      <a:pt x="68" y="68"/>
                    </a:lnTo>
                    <a:lnTo>
                      <a:pt x="70" y="73"/>
                    </a:lnTo>
                    <a:lnTo>
                      <a:pt x="70" y="78"/>
                    </a:lnTo>
                    <a:lnTo>
                      <a:pt x="69" y="82"/>
                    </a:lnTo>
                    <a:lnTo>
                      <a:pt x="66" y="88"/>
                    </a:lnTo>
                    <a:lnTo>
                      <a:pt x="63" y="95"/>
                    </a:lnTo>
                    <a:lnTo>
                      <a:pt x="63" y="95"/>
                    </a:lnTo>
                    <a:lnTo>
                      <a:pt x="42" y="86"/>
                    </a:lnTo>
                    <a:lnTo>
                      <a:pt x="33" y="81"/>
                    </a:lnTo>
                    <a:lnTo>
                      <a:pt x="24" y="79"/>
                    </a:lnTo>
                    <a:lnTo>
                      <a:pt x="19" y="78"/>
                    </a:lnTo>
                    <a:lnTo>
                      <a:pt x="16" y="79"/>
                    </a:lnTo>
                    <a:lnTo>
                      <a:pt x="11" y="80"/>
                    </a:lnTo>
                    <a:lnTo>
                      <a:pt x="9" y="81"/>
                    </a:lnTo>
                    <a:lnTo>
                      <a:pt x="5" y="84"/>
                    </a:lnTo>
                    <a:lnTo>
                      <a:pt x="3" y="89"/>
                    </a:lnTo>
                    <a:lnTo>
                      <a:pt x="1" y="95"/>
                    </a:lnTo>
                    <a:lnTo>
                      <a:pt x="0" y="102"/>
                    </a:lnTo>
                    <a:lnTo>
                      <a:pt x="0" y="102"/>
                    </a:lnTo>
                    <a:lnTo>
                      <a:pt x="18" y="111"/>
                    </a:lnTo>
                    <a:lnTo>
                      <a:pt x="28" y="114"/>
                    </a:lnTo>
                    <a:lnTo>
                      <a:pt x="37" y="117"/>
                    </a:lnTo>
                    <a:lnTo>
                      <a:pt x="45" y="117"/>
                    </a:lnTo>
                    <a:lnTo>
                      <a:pt x="49" y="116"/>
                    </a:lnTo>
                    <a:lnTo>
                      <a:pt x="53" y="113"/>
                    </a:lnTo>
                    <a:lnTo>
                      <a:pt x="55" y="111"/>
                    </a:lnTo>
                    <a:lnTo>
                      <a:pt x="58" y="108"/>
                    </a:lnTo>
                    <a:lnTo>
                      <a:pt x="61" y="102"/>
                    </a:lnTo>
                    <a:lnTo>
                      <a:pt x="63" y="96"/>
                    </a:lnTo>
                    <a:lnTo>
                      <a:pt x="63" y="96"/>
                    </a:lnTo>
                    <a:lnTo>
                      <a:pt x="63" y="105"/>
                    </a:lnTo>
                    <a:lnTo>
                      <a:pt x="64" y="113"/>
                    </a:lnTo>
                    <a:lnTo>
                      <a:pt x="69" y="120"/>
                    </a:lnTo>
                    <a:lnTo>
                      <a:pt x="74" y="127"/>
                    </a:lnTo>
                    <a:lnTo>
                      <a:pt x="81" y="133"/>
                    </a:lnTo>
                    <a:lnTo>
                      <a:pt x="89" y="137"/>
                    </a:lnTo>
                    <a:lnTo>
                      <a:pt x="99" y="142"/>
                    </a:lnTo>
                    <a:lnTo>
                      <a:pt x="108" y="147"/>
                    </a:lnTo>
                    <a:lnTo>
                      <a:pt x="130" y="152"/>
                    </a:lnTo>
                    <a:lnTo>
                      <a:pt x="150" y="158"/>
                    </a:lnTo>
                    <a:lnTo>
                      <a:pt x="170" y="162"/>
                    </a:lnTo>
                    <a:lnTo>
                      <a:pt x="186" y="166"/>
                    </a:lnTo>
                    <a:lnTo>
                      <a:pt x="186" y="166"/>
                    </a:lnTo>
                    <a:lnTo>
                      <a:pt x="203" y="172"/>
                    </a:lnTo>
                    <a:lnTo>
                      <a:pt x="218" y="177"/>
                    </a:lnTo>
                    <a:lnTo>
                      <a:pt x="230" y="178"/>
                    </a:lnTo>
                    <a:lnTo>
                      <a:pt x="240" y="178"/>
                    </a:lnTo>
                    <a:lnTo>
                      <a:pt x="251" y="175"/>
                    </a:lnTo>
                    <a:lnTo>
                      <a:pt x="261" y="170"/>
                    </a:lnTo>
                    <a:lnTo>
                      <a:pt x="274" y="160"/>
                    </a:lnTo>
                    <a:lnTo>
                      <a:pt x="287" y="148"/>
                    </a:lnTo>
                    <a:lnTo>
                      <a:pt x="287" y="148"/>
                    </a:lnTo>
                    <a:lnTo>
                      <a:pt x="277" y="137"/>
                    </a:lnTo>
                    <a:lnTo>
                      <a:pt x="263" y="125"/>
                    </a:lnTo>
                    <a:lnTo>
                      <a:pt x="249" y="113"/>
                    </a:lnTo>
                    <a:lnTo>
                      <a:pt x="244" y="110"/>
                    </a:lnTo>
                    <a:lnTo>
                      <a:pt x="237" y="108"/>
                    </a:lnTo>
                    <a:lnTo>
                      <a:pt x="237" y="108"/>
                    </a:lnTo>
                    <a:lnTo>
                      <a:pt x="231" y="106"/>
                    </a:lnTo>
                    <a:lnTo>
                      <a:pt x="223" y="108"/>
                    </a:lnTo>
                    <a:lnTo>
                      <a:pt x="208" y="111"/>
                    </a:lnTo>
                    <a:lnTo>
                      <a:pt x="192" y="116"/>
                    </a:lnTo>
                    <a:lnTo>
                      <a:pt x="185" y="117"/>
                    </a:lnTo>
                    <a:lnTo>
                      <a:pt x="177" y="117"/>
                    </a:lnTo>
                    <a:lnTo>
                      <a:pt x="177" y="117"/>
                    </a:lnTo>
                    <a:lnTo>
                      <a:pt x="164" y="114"/>
                    </a:lnTo>
                    <a:lnTo>
                      <a:pt x="155" y="112"/>
                    </a:lnTo>
                    <a:lnTo>
                      <a:pt x="147" y="110"/>
                    </a:lnTo>
                    <a:lnTo>
                      <a:pt x="141" y="108"/>
                    </a:lnTo>
                    <a:lnTo>
                      <a:pt x="137" y="103"/>
                    </a:lnTo>
                    <a:lnTo>
                      <a:pt x="134" y="99"/>
                    </a:lnTo>
                    <a:lnTo>
                      <a:pt x="133" y="95"/>
                    </a:lnTo>
                    <a:lnTo>
                      <a:pt x="132" y="90"/>
                    </a:lnTo>
                    <a:lnTo>
                      <a:pt x="132" y="79"/>
                    </a:lnTo>
                    <a:lnTo>
                      <a:pt x="131" y="66"/>
                    </a:lnTo>
                    <a:lnTo>
                      <a:pt x="130" y="59"/>
                    </a:lnTo>
                    <a:lnTo>
                      <a:pt x="127" y="52"/>
                    </a:lnTo>
                    <a:lnTo>
                      <a:pt x="124" y="44"/>
                    </a:lnTo>
                    <a:lnTo>
                      <a:pt x="119" y="36"/>
                    </a:lnTo>
                    <a:lnTo>
                      <a:pt x="119" y="36"/>
                    </a:lnTo>
                    <a:lnTo>
                      <a:pt x="116" y="32"/>
                    </a:lnTo>
                    <a:lnTo>
                      <a:pt x="111" y="28"/>
                    </a:lnTo>
                    <a:lnTo>
                      <a:pt x="100" y="19"/>
                    </a:lnTo>
                    <a:lnTo>
                      <a:pt x="85" y="11"/>
                    </a:lnTo>
                    <a:lnTo>
                      <a:pt x="70" y="4"/>
                    </a:lnTo>
                    <a:lnTo>
                      <a:pt x="62" y="2"/>
                    </a:lnTo>
                    <a:lnTo>
                      <a:pt x="55" y="0"/>
                    </a:lnTo>
                    <a:lnTo>
                      <a:pt x="48" y="0"/>
                    </a:lnTo>
                    <a:lnTo>
                      <a:pt x="43" y="3"/>
                    </a:lnTo>
                    <a:lnTo>
                      <a:pt x="39" y="5"/>
                    </a:lnTo>
                    <a:lnTo>
                      <a:pt x="35" y="10"/>
                    </a:lnTo>
                    <a:lnTo>
                      <a:pt x="34" y="15"/>
                    </a:lnTo>
                    <a:lnTo>
                      <a:pt x="34" y="23"/>
                    </a:lnTo>
                    <a:lnTo>
                      <a:pt x="34" y="23"/>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76" name="Freeform 391">
                <a:extLst>
                  <a:ext uri="{FF2B5EF4-FFF2-40B4-BE49-F238E27FC236}">
                    <a16:creationId xmlns:a16="http://schemas.microsoft.com/office/drawing/2014/main" id="{8A2B6F7B-9358-41FC-8958-FCE3A94464D7}"/>
                  </a:ext>
                </a:extLst>
              </p:cNvPr>
              <p:cNvSpPr>
                <a:spLocks/>
              </p:cNvSpPr>
              <p:nvPr/>
            </p:nvSpPr>
            <p:spPr bwMode="auto">
              <a:xfrm>
                <a:off x="2986088" y="385763"/>
                <a:ext cx="22225" cy="19050"/>
              </a:xfrm>
              <a:custGeom>
                <a:avLst/>
                <a:gdLst>
                  <a:gd name="T0" fmla="*/ 96 w 97"/>
                  <a:gd name="T1" fmla="*/ 23 h 82"/>
                  <a:gd name="T2" fmla="*/ 96 w 97"/>
                  <a:gd name="T3" fmla="*/ 23 h 82"/>
                  <a:gd name="T4" fmla="*/ 90 w 97"/>
                  <a:gd name="T5" fmla="*/ 15 h 82"/>
                  <a:gd name="T6" fmla="*/ 84 w 97"/>
                  <a:gd name="T7" fmla="*/ 10 h 82"/>
                  <a:gd name="T8" fmla="*/ 77 w 97"/>
                  <a:gd name="T9" fmla="*/ 6 h 82"/>
                  <a:gd name="T10" fmla="*/ 71 w 97"/>
                  <a:gd name="T11" fmla="*/ 2 h 82"/>
                  <a:gd name="T12" fmla="*/ 66 w 97"/>
                  <a:gd name="T13" fmla="*/ 0 h 82"/>
                  <a:gd name="T14" fmla="*/ 60 w 97"/>
                  <a:gd name="T15" fmla="*/ 0 h 82"/>
                  <a:gd name="T16" fmla="*/ 54 w 97"/>
                  <a:gd name="T17" fmla="*/ 0 h 82"/>
                  <a:gd name="T18" fmla="*/ 48 w 97"/>
                  <a:gd name="T19" fmla="*/ 1 h 82"/>
                  <a:gd name="T20" fmla="*/ 43 w 97"/>
                  <a:gd name="T21" fmla="*/ 3 h 82"/>
                  <a:gd name="T22" fmla="*/ 37 w 97"/>
                  <a:gd name="T23" fmla="*/ 6 h 82"/>
                  <a:gd name="T24" fmla="*/ 24 w 97"/>
                  <a:gd name="T25" fmla="*/ 14 h 82"/>
                  <a:gd name="T26" fmla="*/ 13 w 97"/>
                  <a:gd name="T27" fmla="*/ 23 h 82"/>
                  <a:gd name="T28" fmla="*/ 0 w 97"/>
                  <a:gd name="T29" fmla="*/ 35 h 82"/>
                  <a:gd name="T30" fmla="*/ 0 w 97"/>
                  <a:gd name="T31" fmla="*/ 35 h 82"/>
                  <a:gd name="T32" fmla="*/ 47 w 97"/>
                  <a:gd name="T33" fmla="*/ 37 h 82"/>
                  <a:gd name="T34" fmla="*/ 47 w 97"/>
                  <a:gd name="T35" fmla="*/ 37 h 82"/>
                  <a:gd name="T36" fmla="*/ 43 w 97"/>
                  <a:gd name="T37" fmla="*/ 51 h 82"/>
                  <a:gd name="T38" fmla="*/ 40 w 97"/>
                  <a:gd name="T39" fmla="*/ 58 h 82"/>
                  <a:gd name="T40" fmla="*/ 37 w 97"/>
                  <a:gd name="T41" fmla="*/ 63 h 82"/>
                  <a:gd name="T42" fmla="*/ 37 w 97"/>
                  <a:gd name="T43" fmla="*/ 63 h 82"/>
                  <a:gd name="T44" fmla="*/ 40 w 97"/>
                  <a:gd name="T45" fmla="*/ 72 h 82"/>
                  <a:gd name="T46" fmla="*/ 44 w 97"/>
                  <a:gd name="T47" fmla="*/ 78 h 82"/>
                  <a:gd name="T48" fmla="*/ 48 w 97"/>
                  <a:gd name="T49" fmla="*/ 82 h 82"/>
                  <a:gd name="T50" fmla="*/ 54 w 97"/>
                  <a:gd name="T51" fmla="*/ 82 h 82"/>
                  <a:gd name="T52" fmla="*/ 60 w 97"/>
                  <a:gd name="T53" fmla="*/ 81 h 82"/>
                  <a:gd name="T54" fmla="*/ 66 w 97"/>
                  <a:gd name="T55" fmla="*/ 78 h 82"/>
                  <a:gd name="T56" fmla="*/ 70 w 97"/>
                  <a:gd name="T57" fmla="*/ 74 h 82"/>
                  <a:gd name="T58" fmla="*/ 76 w 97"/>
                  <a:gd name="T59" fmla="*/ 69 h 82"/>
                  <a:gd name="T60" fmla="*/ 86 w 97"/>
                  <a:gd name="T61" fmla="*/ 56 h 82"/>
                  <a:gd name="T62" fmla="*/ 93 w 97"/>
                  <a:gd name="T63" fmla="*/ 43 h 82"/>
                  <a:gd name="T64" fmla="*/ 96 w 97"/>
                  <a:gd name="T65" fmla="*/ 36 h 82"/>
                  <a:gd name="T66" fmla="*/ 97 w 97"/>
                  <a:gd name="T67" fmla="*/ 30 h 82"/>
                  <a:gd name="T68" fmla="*/ 97 w 97"/>
                  <a:gd name="T69" fmla="*/ 26 h 82"/>
                  <a:gd name="T70" fmla="*/ 96 w 97"/>
                  <a:gd name="T71" fmla="*/ 23 h 82"/>
                  <a:gd name="T72" fmla="*/ 96 w 97"/>
                  <a:gd name="T73" fmla="*/ 2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7" h="82">
                    <a:moveTo>
                      <a:pt x="96" y="23"/>
                    </a:moveTo>
                    <a:lnTo>
                      <a:pt x="96" y="23"/>
                    </a:lnTo>
                    <a:lnTo>
                      <a:pt x="90" y="15"/>
                    </a:lnTo>
                    <a:lnTo>
                      <a:pt x="84" y="10"/>
                    </a:lnTo>
                    <a:lnTo>
                      <a:pt x="77" y="6"/>
                    </a:lnTo>
                    <a:lnTo>
                      <a:pt x="71" y="2"/>
                    </a:lnTo>
                    <a:lnTo>
                      <a:pt x="66" y="0"/>
                    </a:lnTo>
                    <a:lnTo>
                      <a:pt x="60" y="0"/>
                    </a:lnTo>
                    <a:lnTo>
                      <a:pt x="54" y="0"/>
                    </a:lnTo>
                    <a:lnTo>
                      <a:pt x="48" y="1"/>
                    </a:lnTo>
                    <a:lnTo>
                      <a:pt x="43" y="3"/>
                    </a:lnTo>
                    <a:lnTo>
                      <a:pt x="37" y="6"/>
                    </a:lnTo>
                    <a:lnTo>
                      <a:pt x="24" y="14"/>
                    </a:lnTo>
                    <a:lnTo>
                      <a:pt x="13" y="23"/>
                    </a:lnTo>
                    <a:lnTo>
                      <a:pt x="0" y="35"/>
                    </a:lnTo>
                    <a:lnTo>
                      <a:pt x="0" y="35"/>
                    </a:lnTo>
                    <a:lnTo>
                      <a:pt x="47" y="37"/>
                    </a:lnTo>
                    <a:lnTo>
                      <a:pt x="47" y="37"/>
                    </a:lnTo>
                    <a:lnTo>
                      <a:pt x="43" y="51"/>
                    </a:lnTo>
                    <a:lnTo>
                      <a:pt x="40" y="58"/>
                    </a:lnTo>
                    <a:lnTo>
                      <a:pt x="37" y="63"/>
                    </a:lnTo>
                    <a:lnTo>
                      <a:pt x="37" y="63"/>
                    </a:lnTo>
                    <a:lnTo>
                      <a:pt x="40" y="72"/>
                    </a:lnTo>
                    <a:lnTo>
                      <a:pt x="44" y="78"/>
                    </a:lnTo>
                    <a:lnTo>
                      <a:pt x="48" y="82"/>
                    </a:lnTo>
                    <a:lnTo>
                      <a:pt x="54" y="82"/>
                    </a:lnTo>
                    <a:lnTo>
                      <a:pt x="60" y="81"/>
                    </a:lnTo>
                    <a:lnTo>
                      <a:pt x="66" y="78"/>
                    </a:lnTo>
                    <a:lnTo>
                      <a:pt x="70" y="74"/>
                    </a:lnTo>
                    <a:lnTo>
                      <a:pt x="76" y="69"/>
                    </a:lnTo>
                    <a:lnTo>
                      <a:pt x="86" y="56"/>
                    </a:lnTo>
                    <a:lnTo>
                      <a:pt x="93" y="43"/>
                    </a:lnTo>
                    <a:lnTo>
                      <a:pt x="96" y="36"/>
                    </a:lnTo>
                    <a:lnTo>
                      <a:pt x="97" y="30"/>
                    </a:lnTo>
                    <a:lnTo>
                      <a:pt x="97" y="26"/>
                    </a:lnTo>
                    <a:lnTo>
                      <a:pt x="96" y="23"/>
                    </a:lnTo>
                    <a:lnTo>
                      <a:pt x="96" y="23"/>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77" name="Freeform 392">
                <a:extLst>
                  <a:ext uri="{FF2B5EF4-FFF2-40B4-BE49-F238E27FC236}">
                    <a16:creationId xmlns:a16="http://schemas.microsoft.com/office/drawing/2014/main" id="{B035CB9E-92CF-47CE-BCA0-324D1407801E}"/>
                  </a:ext>
                </a:extLst>
              </p:cNvPr>
              <p:cNvSpPr>
                <a:spLocks/>
              </p:cNvSpPr>
              <p:nvPr/>
            </p:nvSpPr>
            <p:spPr bwMode="auto">
              <a:xfrm>
                <a:off x="3055938" y="431800"/>
                <a:ext cx="20638" cy="11113"/>
              </a:xfrm>
              <a:custGeom>
                <a:avLst/>
                <a:gdLst>
                  <a:gd name="T0" fmla="*/ 0 w 91"/>
                  <a:gd name="T1" fmla="*/ 19 h 53"/>
                  <a:gd name="T2" fmla="*/ 0 w 91"/>
                  <a:gd name="T3" fmla="*/ 19 h 53"/>
                  <a:gd name="T4" fmla="*/ 3 w 91"/>
                  <a:gd name="T5" fmla="*/ 25 h 53"/>
                  <a:gd name="T6" fmla="*/ 6 w 91"/>
                  <a:gd name="T7" fmla="*/ 31 h 53"/>
                  <a:gd name="T8" fmla="*/ 11 w 91"/>
                  <a:gd name="T9" fmla="*/ 36 h 53"/>
                  <a:gd name="T10" fmla="*/ 15 w 91"/>
                  <a:gd name="T11" fmla="*/ 39 h 53"/>
                  <a:gd name="T12" fmla="*/ 20 w 91"/>
                  <a:gd name="T13" fmla="*/ 43 h 53"/>
                  <a:gd name="T14" fmla="*/ 26 w 91"/>
                  <a:gd name="T15" fmla="*/ 45 h 53"/>
                  <a:gd name="T16" fmla="*/ 38 w 91"/>
                  <a:gd name="T17" fmla="*/ 49 h 53"/>
                  <a:gd name="T18" fmla="*/ 52 w 91"/>
                  <a:gd name="T19" fmla="*/ 51 h 53"/>
                  <a:gd name="T20" fmla="*/ 65 w 91"/>
                  <a:gd name="T21" fmla="*/ 51 h 53"/>
                  <a:gd name="T22" fmla="*/ 79 w 91"/>
                  <a:gd name="T23" fmla="*/ 52 h 53"/>
                  <a:gd name="T24" fmla="*/ 91 w 91"/>
                  <a:gd name="T25" fmla="*/ 53 h 53"/>
                  <a:gd name="T26" fmla="*/ 91 w 91"/>
                  <a:gd name="T27" fmla="*/ 53 h 53"/>
                  <a:gd name="T28" fmla="*/ 72 w 91"/>
                  <a:gd name="T29" fmla="*/ 31 h 53"/>
                  <a:gd name="T30" fmla="*/ 61 w 91"/>
                  <a:gd name="T31" fmla="*/ 20 h 53"/>
                  <a:gd name="T32" fmla="*/ 49 w 91"/>
                  <a:gd name="T33" fmla="*/ 8 h 53"/>
                  <a:gd name="T34" fmla="*/ 43 w 91"/>
                  <a:gd name="T35" fmla="*/ 5 h 53"/>
                  <a:gd name="T36" fmla="*/ 36 w 91"/>
                  <a:gd name="T37" fmla="*/ 1 h 53"/>
                  <a:gd name="T38" fmla="*/ 30 w 91"/>
                  <a:gd name="T39" fmla="*/ 0 h 53"/>
                  <a:gd name="T40" fmla="*/ 23 w 91"/>
                  <a:gd name="T41" fmla="*/ 0 h 53"/>
                  <a:gd name="T42" fmla="*/ 18 w 91"/>
                  <a:gd name="T43" fmla="*/ 1 h 53"/>
                  <a:gd name="T44" fmla="*/ 12 w 91"/>
                  <a:gd name="T45" fmla="*/ 5 h 53"/>
                  <a:gd name="T46" fmla="*/ 6 w 91"/>
                  <a:gd name="T47" fmla="*/ 11 h 53"/>
                  <a:gd name="T48" fmla="*/ 0 w 91"/>
                  <a:gd name="T49" fmla="*/ 19 h 53"/>
                  <a:gd name="T50" fmla="*/ 0 w 91"/>
                  <a:gd name="T51" fmla="*/ 1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53">
                    <a:moveTo>
                      <a:pt x="0" y="19"/>
                    </a:moveTo>
                    <a:lnTo>
                      <a:pt x="0" y="19"/>
                    </a:lnTo>
                    <a:lnTo>
                      <a:pt x="3" y="25"/>
                    </a:lnTo>
                    <a:lnTo>
                      <a:pt x="6" y="31"/>
                    </a:lnTo>
                    <a:lnTo>
                      <a:pt x="11" y="36"/>
                    </a:lnTo>
                    <a:lnTo>
                      <a:pt x="15" y="39"/>
                    </a:lnTo>
                    <a:lnTo>
                      <a:pt x="20" y="43"/>
                    </a:lnTo>
                    <a:lnTo>
                      <a:pt x="26" y="45"/>
                    </a:lnTo>
                    <a:lnTo>
                      <a:pt x="38" y="49"/>
                    </a:lnTo>
                    <a:lnTo>
                      <a:pt x="52" y="51"/>
                    </a:lnTo>
                    <a:lnTo>
                      <a:pt x="65" y="51"/>
                    </a:lnTo>
                    <a:lnTo>
                      <a:pt x="79" y="52"/>
                    </a:lnTo>
                    <a:lnTo>
                      <a:pt x="91" y="53"/>
                    </a:lnTo>
                    <a:lnTo>
                      <a:pt x="91" y="53"/>
                    </a:lnTo>
                    <a:lnTo>
                      <a:pt x="72" y="31"/>
                    </a:lnTo>
                    <a:lnTo>
                      <a:pt x="61" y="20"/>
                    </a:lnTo>
                    <a:lnTo>
                      <a:pt x="49" y="8"/>
                    </a:lnTo>
                    <a:lnTo>
                      <a:pt x="43" y="5"/>
                    </a:lnTo>
                    <a:lnTo>
                      <a:pt x="36" y="1"/>
                    </a:lnTo>
                    <a:lnTo>
                      <a:pt x="30" y="0"/>
                    </a:lnTo>
                    <a:lnTo>
                      <a:pt x="23" y="0"/>
                    </a:lnTo>
                    <a:lnTo>
                      <a:pt x="18" y="1"/>
                    </a:lnTo>
                    <a:lnTo>
                      <a:pt x="12" y="5"/>
                    </a:lnTo>
                    <a:lnTo>
                      <a:pt x="6" y="11"/>
                    </a:lnTo>
                    <a:lnTo>
                      <a:pt x="0" y="19"/>
                    </a:lnTo>
                    <a:lnTo>
                      <a:pt x="0" y="19"/>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78" name="Freeform 393">
                <a:extLst>
                  <a:ext uri="{FF2B5EF4-FFF2-40B4-BE49-F238E27FC236}">
                    <a16:creationId xmlns:a16="http://schemas.microsoft.com/office/drawing/2014/main" id="{5460A590-F1B5-49E4-A465-526D33B400BC}"/>
                  </a:ext>
                </a:extLst>
              </p:cNvPr>
              <p:cNvSpPr>
                <a:spLocks/>
              </p:cNvSpPr>
              <p:nvPr/>
            </p:nvSpPr>
            <p:spPr bwMode="auto">
              <a:xfrm>
                <a:off x="3038475" y="344488"/>
                <a:ext cx="109538" cy="65088"/>
              </a:xfrm>
              <a:custGeom>
                <a:avLst/>
                <a:gdLst>
                  <a:gd name="T0" fmla="*/ 130 w 489"/>
                  <a:gd name="T1" fmla="*/ 78 h 283"/>
                  <a:gd name="T2" fmla="*/ 141 w 489"/>
                  <a:gd name="T3" fmla="*/ 95 h 283"/>
                  <a:gd name="T4" fmla="*/ 177 w 489"/>
                  <a:gd name="T5" fmla="*/ 100 h 283"/>
                  <a:gd name="T6" fmla="*/ 240 w 489"/>
                  <a:gd name="T7" fmla="*/ 87 h 283"/>
                  <a:gd name="T8" fmla="*/ 233 w 489"/>
                  <a:gd name="T9" fmla="*/ 105 h 283"/>
                  <a:gd name="T10" fmla="*/ 196 w 489"/>
                  <a:gd name="T11" fmla="*/ 129 h 283"/>
                  <a:gd name="T12" fmla="*/ 180 w 489"/>
                  <a:gd name="T13" fmla="*/ 128 h 283"/>
                  <a:gd name="T14" fmla="*/ 152 w 489"/>
                  <a:gd name="T15" fmla="*/ 109 h 283"/>
                  <a:gd name="T16" fmla="*/ 101 w 489"/>
                  <a:gd name="T17" fmla="*/ 107 h 283"/>
                  <a:gd name="T18" fmla="*/ 133 w 489"/>
                  <a:gd name="T19" fmla="*/ 159 h 283"/>
                  <a:gd name="T20" fmla="*/ 117 w 489"/>
                  <a:gd name="T21" fmla="*/ 153 h 283"/>
                  <a:gd name="T22" fmla="*/ 101 w 489"/>
                  <a:gd name="T23" fmla="*/ 145 h 283"/>
                  <a:gd name="T24" fmla="*/ 82 w 489"/>
                  <a:gd name="T25" fmla="*/ 152 h 283"/>
                  <a:gd name="T26" fmla="*/ 78 w 489"/>
                  <a:gd name="T27" fmla="*/ 166 h 283"/>
                  <a:gd name="T28" fmla="*/ 95 w 489"/>
                  <a:gd name="T29" fmla="*/ 191 h 283"/>
                  <a:gd name="T30" fmla="*/ 118 w 489"/>
                  <a:gd name="T31" fmla="*/ 199 h 283"/>
                  <a:gd name="T32" fmla="*/ 120 w 489"/>
                  <a:gd name="T33" fmla="*/ 213 h 283"/>
                  <a:gd name="T34" fmla="*/ 108 w 489"/>
                  <a:gd name="T35" fmla="*/ 216 h 283"/>
                  <a:gd name="T36" fmla="*/ 74 w 489"/>
                  <a:gd name="T37" fmla="*/ 184 h 283"/>
                  <a:gd name="T38" fmla="*/ 59 w 489"/>
                  <a:gd name="T39" fmla="*/ 180 h 283"/>
                  <a:gd name="T40" fmla="*/ 43 w 489"/>
                  <a:gd name="T41" fmla="*/ 186 h 283"/>
                  <a:gd name="T42" fmla="*/ 39 w 489"/>
                  <a:gd name="T43" fmla="*/ 198 h 283"/>
                  <a:gd name="T44" fmla="*/ 11 w 489"/>
                  <a:gd name="T45" fmla="*/ 208 h 283"/>
                  <a:gd name="T46" fmla="*/ 5 w 489"/>
                  <a:gd name="T47" fmla="*/ 223 h 283"/>
                  <a:gd name="T48" fmla="*/ 25 w 489"/>
                  <a:gd name="T49" fmla="*/ 242 h 283"/>
                  <a:gd name="T50" fmla="*/ 92 w 489"/>
                  <a:gd name="T51" fmla="*/ 258 h 283"/>
                  <a:gd name="T52" fmla="*/ 117 w 489"/>
                  <a:gd name="T53" fmla="*/ 266 h 283"/>
                  <a:gd name="T54" fmla="*/ 142 w 489"/>
                  <a:gd name="T55" fmla="*/ 282 h 283"/>
                  <a:gd name="T56" fmla="*/ 164 w 489"/>
                  <a:gd name="T57" fmla="*/ 277 h 283"/>
                  <a:gd name="T58" fmla="*/ 184 w 489"/>
                  <a:gd name="T59" fmla="*/ 257 h 283"/>
                  <a:gd name="T60" fmla="*/ 170 w 489"/>
                  <a:gd name="T61" fmla="*/ 242 h 283"/>
                  <a:gd name="T62" fmla="*/ 198 w 489"/>
                  <a:gd name="T63" fmla="*/ 236 h 283"/>
                  <a:gd name="T64" fmla="*/ 252 w 489"/>
                  <a:gd name="T65" fmla="*/ 213 h 283"/>
                  <a:gd name="T66" fmla="*/ 259 w 489"/>
                  <a:gd name="T67" fmla="*/ 206 h 283"/>
                  <a:gd name="T68" fmla="*/ 240 w 489"/>
                  <a:gd name="T69" fmla="*/ 178 h 283"/>
                  <a:gd name="T70" fmla="*/ 236 w 489"/>
                  <a:gd name="T71" fmla="*/ 167 h 283"/>
                  <a:gd name="T72" fmla="*/ 278 w 489"/>
                  <a:gd name="T73" fmla="*/ 170 h 283"/>
                  <a:gd name="T74" fmla="*/ 356 w 489"/>
                  <a:gd name="T75" fmla="*/ 156 h 283"/>
                  <a:gd name="T76" fmla="*/ 381 w 489"/>
                  <a:gd name="T77" fmla="*/ 116 h 283"/>
                  <a:gd name="T78" fmla="*/ 408 w 489"/>
                  <a:gd name="T79" fmla="*/ 112 h 283"/>
                  <a:gd name="T80" fmla="*/ 467 w 489"/>
                  <a:gd name="T81" fmla="*/ 109 h 283"/>
                  <a:gd name="T82" fmla="*/ 489 w 489"/>
                  <a:gd name="T83" fmla="*/ 89 h 283"/>
                  <a:gd name="T84" fmla="*/ 291 w 489"/>
                  <a:gd name="T85" fmla="*/ 18 h 283"/>
                  <a:gd name="T86" fmla="*/ 262 w 489"/>
                  <a:gd name="T87" fmla="*/ 23 h 283"/>
                  <a:gd name="T88" fmla="*/ 229 w 489"/>
                  <a:gd name="T89" fmla="*/ 36 h 283"/>
                  <a:gd name="T90" fmla="*/ 215 w 489"/>
                  <a:gd name="T91" fmla="*/ 31 h 283"/>
                  <a:gd name="T92" fmla="*/ 170 w 489"/>
                  <a:gd name="T93" fmla="*/ 2 h 283"/>
                  <a:gd name="T94" fmla="*/ 149 w 489"/>
                  <a:gd name="T95" fmla="*/ 2 h 283"/>
                  <a:gd name="T96" fmla="*/ 143 w 489"/>
                  <a:gd name="T97" fmla="*/ 29 h 283"/>
                  <a:gd name="T98" fmla="*/ 118 w 489"/>
                  <a:gd name="T99" fmla="*/ 8 h 283"/>
                  <a:gd name="T100" fmla="*/ 69 w 489"/>
                  <a:gd name="T101" fmla="*/ 18 h 283"/>
                  <a:gd name="T102" fmla="*/ 73 w 489"/>
                  <a:gd name="T103" fmla="*/ 34 h 283"/>
                  <a:gd name="T104" fmla="*/ 92 w 489"/>
                  <a:gd name="T105" fmla="*/ 49 h 283"/>
                  <a:gd name="T106" fmla="*/ 134 w 489"/>
                  <a:gd name="T107" fmla="*/ 5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9" h="283">
                    <a:moveTo>
                      <a:pt x="134" y="57"/>
                    </a:moveTo>
                    <a:lnTo>
                      <a:pt x="134" y="57"/>
                    </a:lnTo>
                    <a:lnTo>
                      <a:pt x="131" y="69"/>
                    </a:lnTo>
                    <a:lnTo>
                      <a:pt x="130" y="78"/>
                    </a:lnTo>
                    <a:lnTo>
                      <a:pt x="131" y="82"/>
                    </a:lnTo>
                    <a:lnTo>
                      <a:pt x="132" y="86"/>
                    </a:lnTo>
                    <a:lnTo>
                      <a:pt x="135" y="91"/>
                    </a:lnTo>
                    <a:lnTo>
                      <a:pt x="141" y="95"/>
                    </a:lnTo>
                    <a:lnTo>
                      <a:pt x="148" y="98"/>
                    </a:lnTo>
                    <a:lnTo>
                      <a:pt x="157" y="100"/>
                    </a:lnTo>
                    <a:lnTo>
                      <a:pt x="167" y="100"/>
                    </a:lnTo>
                    <a:lnTo>
                      <a:pt x="177" y="100"/>
                    </a:lnTo>
                    <a:lnTo>
                      <a:pt x="188" y="99"/>
                    </a:lnTo>
                    <a:lnTo>
                      <a:pt x="209" y="95"/>
                    </a:lnTo>
                    <a:lnTo>
                      <a:pt x="240" y="87"/>
                    </a:lnTo>
                    <a:lnTo>
                      <a:pt x="240" y="87"/>
                    </a:lnTo>
                    <a:lnTo>
                      <a:pt x="240" y="92"/>
                    </a:lnTo>
                    <a:lnTo>
                      <a:pt x="239" y="95"/>
                    </a:lnTo>
                    <a:lnTo>
                      <a:pt x="237" y="100"/>
                    </a:lnTo>
                    <a:lnTo>
                      <a:pt x="233" y="105"/>
                    </a:lnTo>
                    <a:lnTo>
                      <a:pt x="226" y="113"/>
                    </a:lnTo>
                    <a:lnTo>
                      <a:pt x="217" y="120"/>
                    </a:lnTo>
                    <a:lnTo>
                      <a:pt x="207" y="125"/>
                    </a:lnTo>
                    <a:lnTo>
                      <a:pt x="196" y="129"/>
                    </a:lnTo>
                    <a:lnTo>
                      <a:pt x="192" y="130"/>
                    </a:lnTo>
                    <a:lnTo>
                      <a:pt x="187" y="130"/>
                    </a:lnTo>
                    <a:lnTo>
                      <a:pt x="184" y="129"/>
                    </a:lnTo>
                    <a:lnTo>
                      <a:pt x="180" y="128"/>
                    </a:lnTo>
                    <a:lnTo>
                      <a:pt x="180" y="128"/>
                    </a:lnTo>
                    <a:lnTo>
                      <a:pt x="170" y="120"/>
                    </a:lnTo>
                    <a:lnTo>
                      <a:pt x="161" y="113"/>
                    </a:lnTo>
                    <a:lnTo>
                      <a:pt x="152" y="109"/>
                    </a:lnTo>
                    <a:lnTo>
                      <a:pt x="145" y="106"/>
                    </a:lnTo>
                    <a:lnTo>
                      <a:pt x="135" y="105"/>
                    </a:lnTo>
                    <a:lnTo>
                      <a:pt x="126" y="105"/>
                    </a:lnTo>
                    <a:lnTo>
                      <a:pt x="101" y="107"/>
                    </a:lnTo>
                    <a:lnTo>
                      <a:pt x="101" y="107"/>
                    </a:lnTo>
                    <a:lnTo>
                      <a:pt x="138" y="158"/>
                    </a:lnTo>
                    <a:lnTo>
                      <a:pt x="138" y="158"/>
                    </a:lnTo>
                    <a:lnTo>
                      <a:pt x="133" y="159"/>
                    </a:lnTo>
                    <a:lnTo>
                      <a:pt x="129" y="159"/>
                    </a:lnTo>
                    <a:lnTo>
                      <a:pt x="125" y="158"/>
                    </a:lnTo>
                    <a:lnTo>
                      <a:pt x="122" y="156"/>
                    </a:lnTo>
                    <a:lnTo>
                      <a:pt x="117" y="153"/>
                    </a:lnTo>
                    <a:lnTo>
                      <a:pt x="112" y="150"/>
                    </a:lnTo>
                    <a:lnTo>
                      <a:pt x="107" y="146"/>
                    </a:lnTo>
                    <a:lnTo>
                      <a:pt x="104" y="145"/>
                    </a:lnTo>
                    <a:lnTo>
                      <a:pt x="101" y="145"/>
                    </a:lnTo>
                    <a:lnTo>
                      <a:pt x="97" y="145"/>
                    </a:lnTo>
                    <a:lnTo>
                      <a:pt x="94" y="146"/>
                    </a:lnTo>
                    <a:lnTo>
                      <a:pt x="82" y="152"/>
                    </a:lnTo>
                    <a:lnTo>
                      <a:pt x="82" y="152"/>
                    </a:lnTo>
                    <a:lnTo>
                      <a:pt x="80" y="155"/>
                    </a:lnTo>
                    <a:lnTo>
                      <a:pt x="78" y="159"/>
                    </a:lnTo>
                    <a:lnTo>
                      <a:pt x="78" y="162"/>
                    </a:lnTo>
                    <a:lnTo>
                      <a:pt x="78" y="166"/>
                    </a:lnTo>
                    <a:lnTo>
                      <a:pt x="79" y="170"/>
                    </a:lnTo>
                    <a:lnTo>
                      <a:pt x="81" y="175"/>
                    </a:lnTo>
                    <a:lnTo>
                      <a:pt x="87" y="183"/>
                    </a:lnTo>
                    <a:lnTo>
                      <a:pt x="95" y="191"/>
                    </a:lnTo>
                    <a:lnTo>
                      <a:pt x="104" y="196"/>
                    </a:lnTo>
                    <a:lnTo>
                      <a:pt x="109" y="198"/>
                    </a:lnTo>
                    <a:lnTo>
                      <a:pt x="114" y="199"/>
                    </a:lnTo>
                    <a:lnTo>
                      <a:pt x="118" y="199"/>
                    </a:lnTo>
                    <a:lnTo>
                      <a:pt x="123" y="198"/>
                    </a:lnTo>
                    <a:lnTo>
                      <a:pt x="123" y="198"/>
                    </a:lnTo>
                    <a:lnTo>
                      <a:pt x="123" y="207"/>
                    </a:lnTo>
                    <a:lnTo>
                      <a:pt x="120" y="213"/>
                    </a:lnTo>
                    <a:lnTo>
                      <a:pt x="118" y="216"/>
                    </a:lnTo>
                    <a:lnTo>
                      <a:pt x="116" y="218"/>
                    </a:lnTo>
                    <a:lnTo>
                      <a:pt x="112" y="218"/>
                    </a:lnTo>
                    <a:lnTo>
                      <a:pt x="108" y="216"/>
                    </a:lnTo>
                    <a:lnTo>
                      <a:pt x="100" y="211"/>
                    </a:lnTo>
                    <a:lnTo>
                      <a:pt x="91" y="201"/>
                    </a:lnTo>
                    <a:lnTo>
                      <a:pt x="82" y="192"/>
                    </a:lnTo>
                    <a:lnTo>
                      <a:pt x="74" y="184"/>
                    </a:lnTo>
                    <a:lnTo>
                      <a:pt x="72" y="182"/>
                    </a:lnTo>
                    <a:lnTo>
                      <a:pt x="69" y="181"/>
                    </a:lnTo>
                    <a:lnTo>
                      <a:pt x="69" y="181"/>
                    </a:lnTo>
                    <a:lnTo>
                      <a:pt x="59" y="180"/>
                    </a:lnTo>
                    <a:lnTo>
                      <a:pt x="55" y="181"/>
                    </a:lnTo>
                    <a:lnTo>
                      <a:pt x="50" y="182"/>
                    </a:lnTo>
                    <a:lnTo>
                      <a:pt x="47" y="183"/>
                    </a:lnTo>
                    <a:lnTo>
                      <a:pt x="43" y="186"/>
                    </a:lnTo>
                    <a:lnTo>
                      <a:pt x="41" y="189"/>
                    </a:lnTo>
                    <a:lnTo>
                      <a:pt x="40" y="193"/>
                    </a:lnTo>
                    <a:lnTo>
                      <a:pt x="40" y="193"/>
                    </a:lnTo>
                    <a:lnTo>
                      <a:pt x="39" y="198"/>
                    </a:lnTo>
                    <a:lnTo>
                      <a:pt x="35" y="201"/>
                    </a:lnTo>
                    <a:lnTo>
                      <a:pt x="31" y="205"/>
                    </a:lnTo>
                    <a:lnTo>
                      <a:pt x="25" y="206"/>
                    </a:lnTo>
                    <a:lnTo>
                      <a:pt x="11" y="208"/>
                    </a:lnTo>
                    <a:lnTo>
                      <a:pt x="0" y="211"/>
                    </a:lnTo>
                    <a:lnTo>
                      <a:pt x="0" y="211"/>
                    </a:lnTo>
                    <a:lnTo>
                      <a:pt x="2" y="218"/>
                    </a:lnTo>
                    <a:lnTo>
                      <a:pt x="5" y="223"/>
                    </a:lnTo>
                    <a:lnTo>
                      <a:pt x="10" y="229"/>
                    </a:lnTo>
                    <a:lnTo>
                      <a:pt x="15" y="234"/>
                    </a:lnTo>
                    <a:lnTo>
                      <a:pt x="19" y="237"/>
                    </a:lnTo>
                    <a:lnTo>
                      <a:pt x="25" y="242"/>
                    </a:lnTo>
                    <a:lnTo>
                      <a:pt x="38" y="247"/>
                    </a:lnTo>
                    <a:lnTo>
                      <a:pt x="51" y="251"/>
                    </a:lnTo>
                    <a:lnTo>
                      <a:pt x="65" y="254"/>
                    </a:lnTo>
                    <a:lnTo>
                      <a:pt x="92" y="258"/>
                    </a:lnTo>
                    <a:lnTo>
                      <a:pt x="92" y="258"/>
                    </a:lnTo>
                    <a:lnTo>
                      <a:pt x="100" y="259"/>
                    </a:lnTo>
                    <a:lnTo>
                      <a:pt x="105" y="261"/>
                    </a:lnTo>
                    <a:lnTo>
                      <a:pt x="117" y="266"/>
                    </a:lnTo>
                    <a:lnTo>
                      <a:pt x="127" y="273"/>
                    </a:lnTo>
                    <a:lnTo>
                      <a:pt x="140" y="281"/>
                    </a:lnTo>
                    <a:lnTo>
                      <a:pt x="140" y="281"/>
                    </a:lnTo>
                    <a:lnTo>
                      <a:pt x="142" y="282"/>
                    </a:lnTo>
                    <a:lnTo>
                      <a:pt x="145" y="283"/>
                    </a:lnTo>
                    <a:lnTo>
                      <a:pt x="150" y="283"/>
                    </a:lnTo>
                    <a:lnTo>
                      <a:pt x="157" y="281"/>
                    </a:lnTo>
                    <a:lnTo>
                      <a:pt x="164" y="277"/>
                    </a:lnTo>
                    <a:lnTo>
                      <a:pt x="178" y="268"/>
                    </a:lnTo>
                    <a:lnTo>
                      <a:pt x="190" y="261"/>
                    </a:lnTo>
                    <a:lnTo>
                      <a:pt x="190" y="261"/>
                    </a:lnTo>
                    <a:lnTo>
                      <a:pt x="184" y="257"/>
                    </a:lnTo>
                    <a:lnTo>
                      <a:pt x="179" y="251"/>
                    </a:lnTo>
                    <a:lnTo>
                      <a:pt x="175" y="246"/>
                    </a:lnTo>
                    <a:lnTo>
                      <a:pt x="170" y="242"/>
                    </a:lnTo>
                    <a:lnTo>
                      <a:pt x="170" y="242"/>
                    </a:lnTo>
                    <a:lnTo>
                      <a:pt x="173" y="242"/>
                    </a:lnTo>
                    <a:lnTo>
                      <a:pt x="178" y="242"/>
                    </a:lnTo>
                    <a:lnTo>
                      <a:pt x="187" y="239"/>
                    </a:lnTo>
                    <a:lnTo>
                      <a:pt x="198" y="236"/>
                    </a:lnTo>
                    <a:lnTo>
                      <a:pt x="208" y="230"/>
                    </a:lnTo>
                    <a:lnTo>
                      <a:pt x="231" y="220"/>
                    </a:lnTo>
                    <a:lnTo>
                      <a:pt x="241" y="215"/>
                    </a:lnTo>
                    <a:lnTo>
                      <a:pt x="252" y="213"/>
                    </a:lnTo>
                    <a:lnTo>
                      <a:pt x="252" y="213"/>
                    </a:lnTo>
                    <a:lnTo>
                      <a:pt x="256" y="212"/>
                    </a:lnTo>
                    <a:lnTo>
                      <a:pt x="259" y="209"/>
                    </a:lnTo>
                    <a:lnTo>
                      <a:pt x="259" y="206"/>
                    </a:lnTo>
                    <a:lnTo>
                      <a:pt x="259" y="203"/>
                    </a:lnTo>
                    <a:lnTo>
                      <a:pt x="254" y="196"/>
                    </a:lnTo>
                    <a:lnTo>
                      <a:pt x="247" y="186"/>
                    </a:lnTo>
                    <a:lnTo>
                      <a:pt x="240" y="178"/>
                    </a:lnTo>
                    <a:lnTo>
                      <a:pt x="236" y="171"/>
                    </a:lnTo>
                    <a:lnTo>
                      <a:pt x="234" y="169"/>
                    </a:lnTo>
                    <a:lnTo>
                      <a:pt x="234" y="168"/>
                    </a:lnTo>
                    <a:lnTo>
                      <a:pt x="236" y="167"/>
                    </a:lnTo>
                    <a:lnTo>
                      <a:pt x="239" y="167"/>
                    </a:lnTo>
                    <a:lnTo>
                      <a:pt x="239" y="167"/>
                    </a:lnTo>
                    <a:lnTo>
                      <a:pt x="266" y="170"/>
                    </a:lnTo>
                    <a:lnTo>
                      <a:pt x="278" y="170"/>
                    </a:lnTo>
                    <a:lnTo>
                      <a:pt x="290" y="170"/>
                    </a:lnTo>
                    <a:lnTo>
                      <a:pt x="313" y="168"/>
                    </a:lnTo>
                    <a:lnTo>
                      <a:pt x="335" y="163"/>
                    </a:lnTo>
                    <a:lnTo>
                      <a:pt x="356" y="156"/>
                    </a:lnTo>
                    <a:lnTo>
                      <a:pt x="378" y="148"/>
                    </a:lnTo>
                    <a:lnTo>
                      <a:pt x="428" y="129"/>
                    </a:lnTo>
                    <a:lnTo>
                      <a:pt x="428" y="129"/>
                    </a:lnTo>
                    <a:lnTo>
                      <a:pt x="381" y="116"/>
                    </a:lnTo>
                    <a:lnTo>
                      <a:pt x="381" y="116"/>
                    </a:lnTo>
                    <a:lnTo>
                      <a:pt x="388" y="114"/>
                    </a:lnTo>
                    <a:lnTo>
                      <a:pt x="394" y="112"/>
                    </a:lnTo>
                    <a:lnTo>
                      <a:pt x="408" y="112"/>
                    </a:lnTo>
                    <a:lnTo>
                      <a:pt x="439" y="113"/>
                    </a:lnTo>
                    <a:lnTo>
                      <a:pt x="453" y="113"/>
                    </a:lnTo>
                    <a:lnTo>
                      <a:pt x="461" y="112"/>
                    </a:lnTo>
                    <a:lnTo>
                      <a:pt x="467" y="109"/>
                    </a:lnTo>
                    <a:lnTo>
                      <a:pt x="474" y="106"/>
                    </a:lnTo>
                    <a:lnTo>
                      <a:pt x="480" y="101"/>
                    </a:lnTo>
                    <a:lnTo>
                      <a:pt x="484" y="95"/>
                    </a:lnTo>
                    <a:lnTo>
                      <a:pt x="489" y="89"/>
                    </a:lnTo>
                    <a:lnTo>
                      <a:pt x="489" y="89"/>
                    </a:lnTo>
                    <a:lnTo>
                      <a:pt x="298" y="21"/>
                    </a:lnTo>
                    <a:lnTo>
                      <a:pt x="298" y="21"/>
                    </a:lnTo>
                    <a:lnTo>
                      <a:pt x="291" y="18"/>
                    </a:lnTo>
                    <a:lnTo>
                      <a:pt x="284" y="18"/>
                    </a:lnTo>
                    <a:lnTo>
                      <a:pt x="278" y="18"/>
                    </a:lnTo>
                    <a:lnTo>
                      <a:pt x="272" y="19"/>
                    </a:lnTo>
                    <a:lnTo>
                      <a:pt x="262" y="23"/>
                    </a:lnTo>
                    <a:lnTo>
                      <a:pt x="252" y="28"/>
                    </a:lnTo>
                    <a:lnTo>
                      <a:pt x="241" y="32"/>
                    </a:lnTo>
                    <a:lnTo>
                      <a:pt x="233" y="36"/>
                    </a:lnTo>
                    <a:lnTo>
                      <a:pt x="229" y="36"/>
                    </a:lnTo>
                    <a:lnTo>
                      <a:pt x="224" y="36"/>
                    </a:lnTo>
                    <a:lnTo>
                      <a:pt x="219" y="34"/>
                    </a:lnTo>
                    <a:lnTo>
                      <a:pt x="215" y="31"/>
                    </a:lnTo>
                    <a:lnTo>
                      <a:pt x="215" y="31"/>
                    </a:lnTo>
                    <a:lnTo>
                      <a:pt x="207" y="24"/>
                    </a:lnTo>
                    <a:lnTo>
                      <a:pt x="195" y="16"/>
                    </a:lnTo>
                    <a:lnTo>
                      <a:pt x="183" y="8"/>
                    </a:lnTo>
                    <a:lnTo>
                      <a:pt x="170" y="2"/>
                    </a:lnTo>
                    <a:lnTo>
                      <a:pt x="164" y="0"/>
                    </a:lnTo>
                    <a:lnTo>
                      <a:pt x="158" y="0"/>
                    </a:lnTo>
                    <a:lnTo>
                      <a:pt x="154" y="0"/>
                    </a:lnTo>
                    <a:lnTo>
                      <a:pt x="149" y="2"/>
                    </a:lnTo>
                    <a:lnTo>
                      <a:pt x="146" y="6"/>
                    </a:lnTo>
                    <a:lnTo>
                      <a:pt x="143" y="11"/>
                    </a:lnTo>
                    <a:lnTo>
                      <a:pt x="143" y="18"/>
                    </a:lnTo>
                    <a:lnTo>
                      <a:pt x="143" y="29"/>
                    </a:lnTo>
                    <a:lnTo>
                      <a:pt x="143" y="29"/>
                    </a:lnTo>
                    <a:lnTo>
                      <a:pt x="134" y="18"/>
                    </a:lnTo>
                    <a:lnTo>
                      <a:pt x="126" y="11"/>
                    </a:lnTo>
                    <a:lnTo>
                      <a:pt x="118" y="8"/>
                    </a:lnTo>
                    <a:lnTo>
                      <a:pt x="110" y="7"/>
                    </a:lnTo>
                    <a:lnTo>
                      <a:pt x="101" y="8"/>
                    </a:lnTo>
                    <a:lnTo>
                      <a:pt x="92" y="10"/>
                    </a:lnTo>
                    <a:lnTo>
                      <a:pt x="69" y="18"/>
                    </a:lnTo>
                    <a:lnTo>
                      <a:pt x="69" y="18"/>
                    </a:lnTo>
                    <a:lnTo>
                      <a:pt x="70" y="24"/>
                    </a:lnTo>
                    <a:lnTo>
                      <a:pt x="71" y="30"/>
                    </a:lnTo>
                    <a:lnTo>
                      <a:pt x="73" y="34"/>
                    </a:lnTo>
                    <a:lnTo>
                      <a:pt x="77" y="39"/>
                    </a:lnTo>
                    <a:lnTo>
                      <a:pt x="79" y="43"/>
                    </a:lnTo>
                    <a:lnTo>
                      <a:pt x="84" y="45"/>
                    </a:lnTo>
                    <a:lnTo>
                      <a:pt x="92" y="49"/>
                    </a:lnTo>
                    <a:lnTo>
                      <a:pt x="102" y="52"/>
                    </a:lnTo>
                    <a:lnTo>
                      <a:pt x="112" y="54"/>
                    </a:lnTo>
                    <a:lnTo>
                      <a:pt x="134" y="57"/>
                    </a:lnTo>
                    <a:lnTo>
                      <a:pt x="134" y="57"/>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79" name="Freeform 394">
                <a:extLst>
                  <a:ext uri="{FF2B5EF4-FFF2-40B4-BE49-F238E27FC236}">
                    <a16:creationId xmlns:a16="http://schemas.microsoft.com/office/drawing/2014/main" id="{5E2ED91D-F9F9-4BDF-9BDB-A4335ECF1075}"/>
                  </a:ext>
                </a:extLst>
              </p:cNvPr>
              <p:cNvSpPr>
                <a:spLocks/>
              </p:cNvSpPr>
              <p:nvPr/>
            </p:nvSpPr>
            <p:spPr bwMode="auto">
              <a:xfrm>
                <a:off x="3003550" y="495300"/>
                <a:ext cx="28575" cy="23813"/>
              </a:xfrm>
              <a:custGeom>
                <a:avLst/>
                <a:gdLst>
                  <a:gd name="T0" fmla="*/ 2 w 126"/>
                  <a:gd name="T1" fmla="*/ 48 h 105"/>
                  <a:gd name="T2" fmla="*/ 2 w 126"/>
                  <a:gd name="T3" fmla="*/ 48 h 105"/>
                  <a:gd name="T4" fmla="*/ 0 w 126"/>
                  <a:gd name="T5" fmla="*/ 105 h 105"/>
                  <a:gd name="T6" fmla="*/ 0 w 126"/>
                  <a:gd name="T7" fmla="*/ 105 h 105"/>
                  <a:gd name="T8" fmla="*/ 16 w 126"/>
                  <a:gd name="T9" fmla="*/ 94 h 105"/>
                  <a:gd name="T10" fmla="*/ 24 w 126"/>
                  <a:gd name="T11" fmla="*/ 90 h 105"/>
                  <a:gd name="T12" fmla="*/ 32 w 126"/>
                  <a:gd name="T13" fmla="*/ 86 h 105"/>
                  <a:gd name="T14" fmla="*/ 40 w 126"/>
                  <a:gd name="T15" fmla="*/ 84 h 105"/>
                  <a:gd name="T16" fmla="*/ 48 w 126"/>
                  <a:gd name="T17" fmla="*/ 82 h 105"/>
                  <a:gd name="T18" fmla="*/ 58 w 126"/>
                  <a:gd name="T19" fmla="*/ 82 h 105"/>
                  <a:gd name="T20" fmla="*/ 68 w 126"/>
                  <a:gd name="T21" fmla="*/ 83 h 105"/>
                  <a:gd name="T22" fmla="*/ 68 w 126"/>
                  <a:gd name="T23" fmla="*/ 83 h 105"/>
                  <a:gd name="T24" fmla="*/ 75 w 126"/>
                  <a:gd name="T25" fmla="*/ 84 h 105"/>
                  <a:gd name="T26" fmla="*/ 79 w 126"/>
                  <a:gd name="T27" fmla="*/ 86 h 105"/>
                  <a:gd name="T28" fmla="*/ 88 w 126"/>
                  <a:gd name="T29" fmla="*/ 91 h 105"/>
                  <a:gd name="T30" fmla="*/ 92 w 126"/>
                  <a:gd name="T31" fmla="*/ 96 h 105"/>
                  <a:gd name="T32" fmla="*/ 94 w 126"/>
                  <a:gd name="T33" fmla="*/ 100 h 105"/>
                  <a:gd name="T34" fmla="*/ 97 w 126"/>
                  <a:gd name="T35" fmla="*/ 101 h 105"/>
                  <a:gd name="T36" fmla="*/ 98 w 126"/>
                  <a:gd name="T37" fmla="*/ 101 h 105"/>
                  <a:gd name="T38" fmla="*/ 104 w 126"/>
                  <a:gd name="T39" fmla="*/ 100 h 105"/>
                  <a:gd name="T40" fmla="*/ 112 w 126"/>
                  <a:gd name="T41" fmla="*/ 94 h 105"/>
                  <a:gd name="T42" fmla="*/ 126 w 126"/>
                  <a:gd name="T43" fmla="*/ 83 h 105"/>
                  <a:gd name="T44" fmla="*/ 126 w 126"/>
                  <a:gd name="T45" fmla="*/ 83 h 105"/>
                  <a:gd name="T46" fmla="*/ 40 w 126"/>
                  <a:gd name="T47" fmla="*/ 0 h 105"/>
                  <a:gd name="T48" fmla="*/ 40 w 126"/>
                  <a:gd name="T49" fmla="*/ 0 h 105"/>
                  <a:gd name="T50" fmla="*/ 2 w 126"/>
                  <a:gd name="T51" fmla="*/ 48 h 105"/>
                  <a:gd name="T52" fmla="*/ 2 w 126"/>
                  <a:gd name="T53"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6" h="105">
                    <a:moveTo>
                      <a:pt x="2" y="48"/>
                    </a:moveTo>
                    <a:lnTo>
                      <a:pt x="2" y="48"/>
                    </a:lnTo>
                    <a:lnTo>
                      <a:pt x="0" y="105"/>
                    </a:lnTo>
                    <a:lnTo>
                      <a:pt x="0" y="105"/>
                    </a:lnTo>
                    <a:lnTo>
                      <a:pt x="16" y="94"/>
                    </a:lnTo>
                    <a:lnTo>
                      <a:pt x="24" y="90"/>
                    </a:lnTo>
                    <a:lnTo>
                      <a:pt x="32" y="86"/>
                    </a:lnTo>
                    <a:lnTo>
                      <a:pt x="40" y="84"/>
                    </a:lnTo>
                    <a:lnTo>
                      <a:pt x="48" y="82"/>
                    </a:lnTo>
                    <a:lnTo>
                      <a:pt x="58" y="82"/>
                    </a:lnTo>
                    <a:lnTo>
                      <a:pt x="68" y="83"/>
                    </a:lnTo>
                    <a:lnTo>
                      <a:pt x="68" y="83"/>
                    </a:lnTo>
                    <a:lnTo>
                      <a:pt x="75" y="84"/>
                    </a:lnTo>
                    <a:lnTo>
                      <a:pt x="79" y="86"/>
                    </a:lnTo>
                    <a:lnTo>
                      <a:pt x="88" y="91"/>
                    </a:lnTo>
                    <a:lnTo>
                      <a:pt x="92" y="96"/>
                    </a:lnTo>
                    <a:lnTo>
                      <a:pt x="94" y="100"/>
                    </a:lnTo>
                    <a:lnTo>
                      <a:pt x="97" y="101"/>
                    </a:lnTo>
                    <a:lnTo>
                      <a:pt x="98" y="101"/>
                    </a:lnTo>
                    <a:lnTo>
                      <a:pt x="104" y="100"/>
                    </a:lnTo>
                    <a:lnTo>
                      <a:pt x="112" y="94"/>
                    </a:lnTo>
                    <a:lnTo>
                      <a:pt x="126" y="83"/>
                    </a:lnTo>
                    <a:lnTo>
                      <a:pt x="126" y="83"/>
                    </a:lnTo>
                    <a:lnTo>
                      <a:pt x="40" y="0"/>
                    </a:lnTo>
                    <a:lnTo>
                      <a:pt x="40" y="0"/>
                    </a:lnTo>
                    <a:lnTo>
                      <a:pt x="2" y="48"/>
                    </a:lnTo>
                    <a:lnTo>
                      <a:pt x="2" y="48"/>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80" name="Freeform 395">
                <a:extLst>
                  <a:ext uri="{FF2B5EF4-FFF2-40B4-BE49-F238E27FC236}">
                    <a16:creationId xmlns:a16="http://schemas.microsoft.com/office/drawing/2014/main" id="{345DE0CE-D477-425C-85A9-A678869784AD}"/>
                  </a:ext>
                </a:extLst>
              </p:cNvPr>
              <p:cNvSpPr>
                <a:spLocks/>
              </p:cNvSpPr>
              <p:nvPr/>
            </p:nvSpPr>
            <p:spPr bwMode="auto">
              <a:xfrm>
                <a:off x="3084513" y="617538"/>
                <a:ext cx="30163" cy="34925"/>
              </a:xfrm>
              <a:custGeom>
                <a:avLst/>
                <a:gdLst>
                  <a:gd name="T0" fmla="*/ 91 w 135"/>
                  <a:gd name="T1" fmla="*/ 0 h 150"/>
                  <a:gd name="T2" fmla="*/ 91 w 135"/>
                  <a:gd name="T3" fmla="*/ 0 h 150"/>
                  <a:gd name="T4" fmla="*/ 70 w 135"/>
                  <a:gd name="T5" fmla="*/ 17 h 150"/>
                  <a:gd name="T6" fmla="*/ 40 w 135"/>
                  <a:gd name="T7" fmla="*/ 42 h 150"/>
                  <a:gd name="T8" fmla="*/ 25 w 135"/>
                  <a:gd name="T9" fmla="*/ 55 h 150"/>
                  <a:gd name="T10" fmla="*/ 12 w 135"/>
                  <a:gd name="T11" fmla="*/ 67 h 150"/>
                  <a:gd name="T12" fmla="*/ 4 w 135"/>
                  <a:gd name="T13" fmla="*/ 78 h 150"/>
                  <a:gd name="T14" fmla="*/ 1 w 135"/>
                  <a:gd name="T15" fmla="*/ 83 h 150"/>
                  <a:gd name="T16" fmla="*/ 0 w 135"/>
                  <a:gd name="T17" fmla="*/ 88 h 150"/>
                  <a:gd name="T18" fmla="*/ 0 w 135"/>
                  <a:gd name="T19" fmla="*/ 88 h 150"/>
                  <a:gd name="T20" fmla="*/ 1 w 135"/>
                  <a:gd name="T21" fmla="*/ 95 h 150"/>
                  <a:gd name="T22" fmla="*/ 3 w 135"/>
                  <a:gd name="T23" fmla="*/ 100 h 150"/>
                  <a:gd name="T24" fmla="*/ 8 w 135"/>
                  <a:gd name="T25" fmla="*/ 106 h 150"/>
                  <a:gd name="T26" fmla="*/ 12 w 135"/>
                  <a:gd name="T27" fmla="*/ 112 h 150"/>
                  <a:gd name="T28" fmla="*/ 19 w 135"/>
                  <a:gd name="T29" fmla="*/ 116 h 150"/>
                  <a:gd name="T30" fmla="*/ 27 w 135"/>
                  <a:gd name="T31" fmla="*/ 121 h 150"/>
                  <a:gd name="T32" fmla="*/ 45 w 135"/>
                  <a:gd name="T33" fmla="*/ 129 h 150"/>
                  <a:gd name="T34" fmla="*/ 63 w 135"/>
                  <a:gd name="T35" fmla="*/ 135 h 150"/>
                  <a:gd name="T36" fmla="*/ 81 w 135"/>
                  <a:gd name="T37" fmla="*/ 141 h 150"/>
                  <a:gd name="T38" fmla="*/ 98 w 135"/>
                  <a:gd name="T39" fmla="*/ 144 h 150"/>
                  <a:gd name="T40" fmla="*/ 109 w 135"/>
                  <a:gd name="T41" fmla="*/ 148 h 150"/>
                  <a:gd name="T42" fmla="*/ 109 w 135"/>
                  <a:gd name="T43" fmla="*/ 148 h 150"/>
                  <a:gd name="T44" fmla="*/ 116 w 135"/>
                  <a:gd name="T45" fmla="*/ 150 h 150"/>
                  <a:gd name="T46" fmla="*/ 121 w 135"/>
                  <a:gd name="T47" fmla="*/ 149 h 150"/>
                  <a:gd name="T48" fmla="*/ 125 w 135"/>
                  <a:gd name="T49" fmla="*/ 146 h 150"/>
                  <a:gd name="T50" fmla="*/ 129 w 135"/>
                  <a:gd name="T51" fmla="*/ 142 h 150"/>
                  <a:gd name="T52" fmla="*/ 131 w 135"/>
                  <a:gd name="T53" fmla="*/ 136 h 150"/>
                  <a:gd name="T54" fmla="*/ 133 w 135"/>
                  <a:gd name="T55" fmla="*/ 129 h 150"/>
                  <a:gd name="T56" fmla="*/ 134 w 135"/>
                  <a:gd name="T57" fmla="*/ 122 h 150"/>
                  <a:gd name="T58" fmla="*/ 135 w 135"/>
                  <a:gd name="T59" fmla="*/ 114 h 150"/>
                  <a:gd name="T60" fmla="*/ 134 w 135"/>
                  <a:gd name="T61" fmla="*/ 99 h 150"/>
                  <a:gd name="T62" fmla="*/ 132 w 135"/>
                  <a:gd name="T63" fmla="*/ 85 h 150"/>
                  <a:gd name="T64" fmla="*/ 130 w 135"/>
                  <a:gd name="T65" fmla="*/ 81 h 150"/>
                  <a:gd name="T66" fmla="*/ 127 w 135"/>
                  <a:gd name="T67" fmla="*/ 76 h 150"/>
                  <a:gd name="T68" fmla="*/ 124 w 135"/>
                  <a:gd name="T69" fmla="*/ 74 h 150"/>
                  <a:gd name="T70" fmla="*/ 122 w 135"/>
                  <a:gd name="T71" fmla="*/ 73 h 150"/>
                  <a:gd name="T72" fmla="*/ 122 w 135"/>
                  <a:gd name="T73" fmla="*/ 73 h 150"/>
                  <a:gd name="T74" fmla="*/ 109 w 135"/>
                  <a:gd name="T75" fmla="*/ 74 h 150"/>
                  <a:gd name="T76" fmla="*/ 100 w 135"/>
                  <a:gd name="T77" fmla="*/ 74 h 150"/>
                  <a:gd name="T78" fmla="*/ 93 w 135"/>
                  <a:gd name="T79" fmla="*/ 73 h 150"/>
                  <a:gd name="T80" fmla="*/ 89 w 135"/>
                  <a:gd name="T81" fmla="*/ 72 h 150"/>
                  <a:gd name="T82" fmla="*/ 87 w 135"/>
                  <a:gd name="T83" fmla="*/ 68 h 150"/>
                  <a:gd name="T84" fmla="*/ 87 w 135"/>
                  <a:gd name="T85" fmla="*/ 65 h 150"/>
                  <a:gd name="T86" fmla="*/ 88 w 135"/>
                  <a:gd name="T87" fmla="*/ 60 h 150"/>
                  <a:gd name="T88" fmla="*/ 91 w 135"/>
                  <a:gd name="T89" fmla="*/ 55 h 150"/>
                  <a:gd name="T90" fmla="*/ 96 w 135"/>
                  <a:gd name="T91" fmla="*/ 43 h 150"/>
                  <a:gd name="T92" fmla="*/ 99 w 135"/>
                  <a:gd name="T93" fmla="*/ 37 h 150"/>
                  <a:gd name="T94" fmla="*/ 100 w 135"/>
                  <a:gd name="T95" fmla="*/ 30 h 150"/>
                  <a:gd name="T96" fmla="*/ 101 w 135"/>
                  <a:gd name="T97" fmla="*/ 22 h 150"/>
                  <a:gd name="T98" fmla="*/ 100 w 135"/>
                  <a:gd name="T99" fmla="*/ 15 h 150"/>
                  <a:gd name="T100" fmla="*/ 96 w 135"/>
                  <a:gd name="T101" fmla="*/ 8 h 150"/>
                  <a:gd name="T102" fmla="*/ 91 w 135"/>
                  <a:gd name="T103" fmla="*/ 0 h 150"/>
                  <a:gd name="T104" fmla="*/ 91 w 135"/>
                  <a:gd name="T105"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5" h="150">
                    <a:moveTo>
                      <a:pt x="91" y="0"/>
                    </a:moveTo>
                    <a:lnTo>
                      <a:pt x="91" y="0"/>
                    </a:lnTo>
                    <a:lnTo>
                      <a:pt x="70" y="17"/>
                    </a:lnTo>
                    <a:lnTo>
                      <a:pt x="40" y="42"/>
                    </a:lnTo>
                    <a:lnTo>
                      <a:pt x="25" y="55"/>
                    </a:lnTo>
                    <a:lnTo>
                      <a:pt x="12" y="67"/>
                    </a:lnTo>
                    <a:lnTo>
                      <a:pt x="4" y="78"/>
                    </a:lnTo>
                    <a:lnTo>
                      <a:pt x="1" y="83"/>
                    </a:lnTo>
                    <a:lnTo>
                      <a:pt x="0" y="88"/>
                    </a:lnTo>
                    <a:lnTo>
                      <a:pt x="0" y="88"/>
                    </a:lnTo>
                    <a:lnTo>
                      <a:pt x="1" y="95"/>
                    </a:lnTo>
                    <a:lnTo>
                      <a:pt x="3" y="100"/>
                    </a:lnTo>
                    <a:lnTo>
                      <a:pt x="8" y="106"/>
                    </a:lnTo>
                    <a:lnTo>
                      <a:pt x="12" y="112"/>
                    </a:lnTo>
                    <a:lnTo>
                      <a:pt x="19" y="116"/>
                    </a:lnTo>
                    <a:lnTo>
                      <a:pt x="27" y="121"/>
                    </a:lnTo>
                    <a:lnTo>
                      <a:pt x="45" y="129"/>
                    </a:lnTo>
                    <a:lnTo>
                      <a:pt x="63" y="135"/>
                    </a:lnTo>
                    <a:lnTo>
                      <a:pt x="81" y="141"/>
                    </a:lnTo>
                    <a:lnTo>
                      <a:pt x="98" y="144"/>
                    </a:lnTo>
                    <a:lnTo>
                      <a:pt x="109" y="148"/>
                    </a:lnTo>
                    <a:lnTo>
                      <a:pt x="109" y="148"/>
                    </a:lnTo>
                    <a:lnTo>
                      <a:pt x="116" y="150"/>
                    </a:lnTo>
                    <a:lnTo>
                      <a:pt x="121" y="149"/>
                    </a:lnTo>
                    <a:lnTo>
                      <a:pt x="125" y="146"/>
                    </a:lnTo>
                    <a:lnTo>
                      <a:pt x="129" y="142"/>
                    </a:lnTo>
                    <a:lnTo>
                      <a:pt x="131" y="136"/>
                    </a:lnTo>
                    <a:lnTo>
                      <a:pt x="133" y="129"/>
                    </a:lnTo>
                    <a:lnTo>
                      <a:pt x="134" y="122"/>
                    </a:lnTo>
                    <a:lnTo>
                      <a:pt x="135" y="114"/>
                    </a:lnTo>
                    <a:lnTo>
                      <a:pt x="134" y="99"/>
                    </a:lnTo>
                    <a:lnTo>
                      <a:pt x="132" y="85"/>
                    </a:lnTo>
                    <a:lnTo>
                      <a:pt x="130" y="81"/>
                    </a:lnTo>
                    <a:lnTo>
                      <a:pt x="127" y="76"/>
                    </a:lnTo>
                    <a:lnTo>
                      <a:pt x="124" y="74"/>
                    </a:lnTo>
                    <a:lnTo>
                      <a:pt x="122" y="73"/>
                    </a:lnTo>
                    <a:lnTo>
                      <a:pt x="122" y="73"/>
                    </a:lnTo>
                    <a:lnTo>
                      <a:pt x="109" y="74"/>
                    </a:lnTo>
                    <a:lnTo>
                      <a:pt x="100" y="74"/>
                    </a:lnTo>
                    <a:lnTo>
                      <a:pt x="93" y="73"/>
                    </a:lnTo>
                    <a:lnTo>
                      <a:pt x="89" y="72"/>
                    </a:lnTo>
                    <a:lnTo>
                      <a:pt x="87" y="68"/>
                    </a:lnTo>
                    <a:lnTo>
                      <a:pt x="87" y="65"/>
                    </a:lnTo>
                    <a:lnTo>
                      <a:pt x="88" y="60"/>
                    </a:lnTo>
                    <a:lnTo>
                      <a:pt x="91" y="55"/>
                    </a:lnTo>
                    <a:lnTo>
                      <a:pt x="96" y="43"/>
                    </a:lnTo>
                    <a:lnTo>
                      <a:pt x="99" y="37"/>
                    </a:lnTo>
                    <a:lnTo>
                      <a:pt x="100" y="30"/>
                    </a:lnTo>
                    <a:lnTo>
                      <a:pt x="101" y="22"/>
                    </a:lnTo>
                    <a:lnTo>
                      <a:pt x="100" y="15"/>
                    </a:lnTo>
                    <a:lnTo>
                      <a:pt x="96" y="8"/>
                    </a:lnTo>
                    <a:lnTo>
                      <a:pt x="91" y="0"/>
                    </a:lnTo>
                    <a:lnTo>
                      <a:pt x="91" y="0"/>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81" name="Freeform 396">
                <a:extLst>
                  <a:ext uri="{FF2B5EF4-FFF2-40B4-BE49-F238E27FC236}">
                    <a16:creationId xmlns:a16="http://schemas.microsoft.com/office/drawing/2014/main" id="{F2C33D4F-9C3E-469B-8EDE-E8D64C210819}"/>
                  </a:ext>
                </a:extLst>
              </p:cNvPr>
              <p:cNvSpPr>
                <a:spLocks/>
              </p:cNvSpPr>
              <p:nvPr/>
            </p:nvSpPr>
            <p:spPr bwMode="auto">
              <a:xfrm>
                <a:off x="2774950" y="542925"/>
                <a:ext cx="9525" cy="25400"/>
              </a:xfrm>
              <a:custGeom>
                <a:avLst/>
                <a:gdLst>
                  <a:gd name="T0" fmla="*/ 20 w 44"/>
                  <a:gd name="T1" fmla="*/ 107 h 107"/>
                  <a:gd name="T2" fmla="*/ 20 w 44"/>
                  <a:gd name="T3" fmla="*/ 107 h 107"/>
                  <a:gd name="T4" fmla="*/ 23 w 44"/>
                  <a:gd name="T5" fmla="*/ 104 h 107"/>
                  <a:gd name="T6" fmla="*/ 27 w 44"/>
                  <a:gd name="T7" fmla="*/ 100 h 107"/>
                  <a:gd name="T8" fmla="*/ 29 w 44"/>
                  <a:gd name="T9" fmla="*/ 96 h 107"/>
                  <a:gd name="T10" fmla="*/ 30 w 44"/>
                  <a:gd name="T11" fmla="*/ 91 h 107"/>
                  <a:gd name="T12" fmla="*/ 31 w 44"/>
                  <a:gd name="T13" fmla="*/ 82 h 107"/>
                  <a:gd name="T14" fmla="*/ 31 w 44"/>
                  <a:gd name="T15" fmla="*/ 70 h 107"/>
                  <a:gd name="T16" fmla="*/ 31 w 44"/>
                  <a:gd name="T17" fmla="*/ 59 h 107"/>
                  <a:gd name="T18" fmla="*/ 32 w 44"/>
                  <a:gd name="T19" fmla="*/ 47 h 107"/>
                  <a:gd name="T20" fmla="*/ 33 w 44"/>
                  <a:gd name="T21" fmla="*/ 42 h 107"/>
                  <a:gd name="T22" fmla="*/ 36 w 44"/>
                  <a:gd name="T23" fmla="*/ 36 h 107"/>
                  <a:gd name="T24" fmla="*/ 39 w 44"/>
                  <a:gd name="T25" fmla="*/ 30 h 107"/>
                  <a:gd name="T26" fmla="*/ 44 w 44"/>
                  <a:gd name="T27" fmla="*/ 24 h 107"/>
                  <a:gd name="T28" fmla="*/ 44 w 44"/>
                  <a:gd name="T29" fmla="*/ 24 h 107"/>
                  <a:gd name="T30" fmla="*/ 40 w 44"/>
                  <a:gd name="T31" fmla="*/ 15 h 107"/>
                  <a:gd name="T32" fmla="*/ 37 w 44"/>
                  <a:gd name="T33" fmla="*/ 8 h 107"/>
                  <a:gd name="T34" fmla="*/ 32 w 44"/>
                  <a:gd name="T35" fmla="*/ 4 h 107"/>
                  <a:gd name="T36" fmla="*/ 28 w 44"/>
                  <a:gd name="T37" fmla="*/ 1 h 107"/>
                  <a:gd name="T38" fmla="*/ 23 w 44"/>
                  <a:gd name="T39" fmla="*/ 0 h 107"/>
                  <a:gd name="T40" fmla="*/ 19 w 44"/>
                  <a:gd name="T41" fmla="*/ 1 h 107"/>
                  <a:gd name="T42" fmla="*/ 14 w 44"/>
                  <a:gd name="T43" fmla="*/ 4 h 107"/>
                  <a:gd name="T44" fmla="*/ 9 w 44"/>
                  <a:gd name="T45" fmla="*/ 8 h 107"/>
                  <a:gd name="T46" fmla="*/ 6 w 44"/>
                  <a:gd name="T47" fmla="*/ 13 h 107"/>
                  <a:gd name="T48" fmla="*/ 4 w 44"/>
                  <a:gd name="T49" fmla="*/ 18 h 107"/>
                  <a:gd name="T50" fmla="*/ 1 w 44"/>
                  <a:gd name="T51" fmla="*/ 24 h 107"/>
                  <a:gd name="T52" fmla="*/ 1 w 44"/>
                  <a:gd name="T53" fmla="*/ 31 h 107"/>
                  <a:gd name="T54" fmla="*/ 1 w 44"/>
                  <a:gd name="T55" fmla="*/ 37 h 107"/>
                  <a:gd name="T56" fmla="*/ 4 w 44"/>
                  <a:gd name="T57" fmla="*/ 44 h 107"/>
                  <a:gd name="T58" fmla="*/ 6 w 44"/>
                  <a:gd name="T59" fmla="*/ 50 h 107"/>
                  <a:gd name="T60" fmla="*/ 12 w 44"/>
                  <a:gd name="T61" fmla="*/ 55 h 107"/>
                  <a:gd name="T62" fmla="*/ 12 w 44"/>
                  <a:gd name="T63" fmla="*/ 55 h 107"/>
                  <a:gd name="T64" fmla="*/ 8 w 44"/>
                  <a:gd name="T65" fmla="*/ 58 h 107"/>
                  <a:gd name="T66" fmla="*/ 5 w 44"/>
                  <a:gd name="T67" fmla="*/ 60 h 107"/>
                  <a:gd name="T68" fmla="*/ 2 w 44"/>
                  <a:gd name="T69" fmla="*/ 62 h 107"/>
                  <a:gd name="T70" fmla="*/ 1 w 44"/>
                  <a:gd name="T71" fmla="*/ 66 h 107"/>
                  <a:gd name="T72" fmla="*/ 0 w 44"/>
                  <a:gd name="T73" fmla="*/ 73 h 107"/>
                  <a:gd name="T74" fmla="*/ 1 w 44"/>
                  <a:gd name="T75" fmla="*/ 80 h 107"/>
                  <a:gd name="T76" fmla="*/ 4 w 44"/>
                  <a:gd name="T77" fmla="*/ 88 h 107"/>
                  <a:gd name="T78" fmla="*/ 8 w 44"/>
                  <a:gd name="T79" fmla="*/ 96 h 107"/>
                  <a:gd name="T80" fmla="*/ 14 w 44"/>
                  <a:gd name="T81" fmla="*/ 101 h 107"/>
                  <a:gd name="T82" fmla="*/ 20 w 44"/>
                  <a:gd name="T83" fmla="*/ 107 h 107"/>
                  <a:gd name="T84" fmla="*/ 20 w 44"/>
                  <a:gd name="T85"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4" h="107">
                    <a:moveTo>
                      <a:pt x="20" y="107"/>
                    </a:moveTo>
                    <a:lnTo>
                      <a:pt x="20" y="107"/>
                    </a:lnTo>
                    <a:lnTo>
                      <a:pt x="23" y="104"/>
                    </a:lnTo>
                    <a:lnTo>
                      <a:pt x="27" y="100"/>
                    </a:lnTo>
                    <a:lnTo>
                      <a:pt x="29" y="96"/>
                    </a:lnTo>
                    <a:lnTo>
                      <a:pt x="30" y="91"/>
                    </a:lnTo>
                    <a:lnTo>
                      <a:pt x="31" y="82"/>
                    </a:lnTo>
                    <a:lnTo>
                      <a:pt x="31" y="70"/>
                    </a:lnTo>
                    <a:lnTo>
                      <a:pt x="31" y="59"/>
                    </a:lnTo>
                    <a:lnTo>
                      <a:pt x="32" y="47"/>
                    </a:lnTo>
                    <a:lnTo>
                      <a:pt x="33" y="42"/>
                    </a:lnTo>
                    <a:lnTo>
                      <a:pt x="36" y="36"/>
                    </a:lnTo>
                    <a:lnTo>
                      <a:pt x="39" y="30"/>
                    </a:lnTo>
                    <a:lnTo>
                      <a:pt x="44" y="24"/>
                    </a:lnTo>
                    <a:lnTo>
                      <a:pt x="44" y="24"/>
                    </a:lnTo>
                    <a:lnTo>
                      <a:pt x="40" y="15"/>
                    </a:lnTo>
                    <a:lnTo>
                      <a:pt x="37" y="8"/>
                    </a:lnTo>
                    <a:lnTo>
                      <a:pt x="32" y="4"/>
                    </a:lnTo>
                    <a:lnTo>
                      <a:pt x="28" y="1"/>
                    </a:lnTo>
                    <a:lnTo>
                      <a:pt x="23" y="0"/>
                    </a:lnTo>
                    <a:lnTo>
                      <a:pt x="19" y="1"/>
                    </a:lnTo>
                    <a:lnTo>
                      <a:pt x="14" y="4"/>
                    </a:lnTo>
                    <a:lnTo>
                      <a:pt x="9" y="8"/>
                    </a:lnTo>
                    <a:lnTo>
                      <a:pt x="6" y="13"/>
                    </a:lnTo>
                    <a:lnTo>
                      <a:pt x="4" y="18"/>
                    </a:lnTo>
                    <a:lnTo>
                      <a:pt x="1" y="24"/>
                    </a:lnTo>
                    <a:lnTo>
                      <a:pt x="1" y="31"/>
                    </a:lnTo>
                    <a:lnTo>
                      <a:pt x="1" y="37"/>
                    </a:lnTo>
                    <a:lnTo>
                      <a:pt x="4" y="44"/>
                    </a:lnTo>
                    <a:lnTo>
                      <a:pt x="6" y="50"/>
                    </a:lnTo>
                    <a:lnTo>
                      <a:pt x="12" y="55"/>
                    </a:lnTo>
                    <a:lnTo>
                      <a:pt x="12" y="55"/>
                    </a:lnTo>
                    <a:lnTo>
                      <a:pt x="8" y="58"/>
                    </a:lnTo>
                    <a:lnTo>
                      <a:pt x="5" y="60"/>
                    </a:lnTo>
                    <a:lnTo>
                      <a:pt x="2" y="62"/>
                    </a:lnTo>
                    <a:lnTo>
                      <a:pt x="1" y="66"/>
                    </a:lnTo>
                    <a:lnTo>
                      <a:pt x="0" y="73"/>
                    </a:lnTo>
                    <a:lnTo>
                      <a:pt x="1" y="80"/>
                    </a:lnTo>
                    <a:lnTo>
                      <a:pt x="4" y="88"/>
                    </a:lnTo>
                    <a:lnTo>
                      <a:pt x="8" y="96"/>
                    </a:lnTo>
                    <a:lnTo>
                      <a:pt x="14" y="101"/>
                    </a:lnTo>
                    <a:lnTo>
                      <a:pt x="20" y="107"/>
                    </a:lnTo>
                    <a:lnTo>
                      <a:pt x="20" y="107"/>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82" name="Freeform 397">
                <a:extLst>
                  <a:ext uri="{FF2B5EF4-FFF2-40B4-BE49-F238E27FC236}">
                    <a16:creationId xmlns:a16="http://schemas.microsoft.com/office/drawing/2014/main" id="{C279772D-4899-4AE6-9723-C405F43768D3}"/>
                  </a:ext>
                </a:extLst>
              </p:cNvPr>
              <p:cNvSpPr>
                <a:spLocks/>
              </p:cNvSpPr>
              <p:nvPr/>
            </p:nvSpPr>
            <p:spPr bwMode="auto">
              <a:xfrm>
                <a:off x="3038475" y="1227138"/>
                <a:ext cx="33338" cy="22225"/>
              </a:xfrm>
              <a:custGeom>
                <a:avLst/>
                <a:gdLst>
                  <a:gd name="T0" fmla="*/ 40 w 152"/>
                  <a:gd name="T1" fmla="*/ 0 h 95"/>
                  <a:gd name="T2" fmla="*/ 40 w 152"/>
                  <a:gd name="T3" fmla="*/ 0 h 95"/>
                  <a:gd name="T4" fmla="*/ 0 w 152"/>
                  <a:gd name="T5" fmla="*/ 89 h 95"/>
                  <a:gd name="T6" fmla="*/ 0 w 152"/>
                  <a:gd name="T7" fmla="*/ 89 h 95"/>
                  <a:gd name="T8" fmla="*/ 42 w 152"/>
                  <a:gd name="T9" fmla="*/ 93 h 95"/>
                  <a:gd name="T10" fmla="*/ 61 w 152"/>
                  <a:gd name="T11" fmla="*/ 95 h 95"/>
                  <a:gd name="T12" fmla="*/ 79 w 152"/>
                  <a:gd name="T13" fmla="*/ 93 h 95"/>
                  <a:gd name="T14" fmla="*/ 96 w 152"/>
                  <a:gd name="T15" fmla="*/ 91 h 95"/>
                  <a:gd name="T16" fmla="*/ 114 w 152"/>
                  <a:gd name="T17" fmla="*/ 87 h 95"/>
                  <a:gd name="T18" fmla="*/ 132 w 152"/>
                  <a:gd name="T19" fmla="*/ 79 h 95"/>
                  <a:gd name="T20" fmla="*/ 152 w 152"/>
                  <a:gd name="T21" fmla="*/ 67 h 95"/>
                  <a:gd name="T22" fmla="*/ 152 w 152"/>
                  <a:gd name="T23" fmla="*/ 67 h 95"/>
                  <a:gd name="T24" fmla="*/ 130 w 152"/>
                  <a:gd name="T25" fmla="*/ 64 h 95"/>
                  <a:gd name="T26" fmla="*/ 109 w 152"/>
                  <a:gd name="T27" fmla="*/ 59 h 95"/>
                  <a:gd name="T28" fmla="*/ 99 w 152"/>
                  <a:gd name="T29" fmla="*/ 57 h 95"/>
                  <a:gd name="T30" fmla="*/ 89 w 152"/>
                  <a:gd name="T31" fmla="*/ 52 h 95"/>
                  <a:gd name="T32" fmla="*/ 80 w 152"/>
                  <a:gd name="T33" fmla="*/ 47 h 95"/>
                  <a:gd name="T34" fmla="*/ 72 w 152"/>
                  <a:gd name="T35" fmla="*/ 41 h 95"/>
                  <a:gd name="T36" fmla="*/ 72 w 152"/>
                  <a:gd name="T37" fmla="*/ 41 h 95"/>
                  <a:gd name="T38" fmla="*/ 56 w 152"/>
                  <a:gd name="T39" fmla="*/ 20 h 95"/>
                  <a:gd name="T40" fmla="*/ 40 w 152"/>
                  <a:gd name="T41" fmla="*/ 0 h 95"/>
                  <a:gd name="T42" fmla="*/ 40 w 152"/>
                  <a:gd name="T4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2" h="95">
                    <a:moveTo>
                      <a:pt x="40" y="0"/>
                    </a:moveTo>
                    <a:lnTo>
                      <a:pt x="40" y="0"/>
                    </a:lnTo>
                    <a:lnTo>
                      <a:pt x="0" y="89"/>
                    </a:lnTo>
                    <a:lnTo>
                      <a:pt x="0" y="89"/>
                    </a:lnTo>
                    <a:lnTo>
                      <a:pt x="42" y="93"/>
                    </a:lnTo>
                    <a:lnTo>
                      <a:pt x="61" y="95"/>
                    </a:lnTo>
                    <a:lnTo>
                      <a:pt x="79" y="93"/>
                    </a:lnTo>
                    <a:lnTo>
                      <a:pt x="96" y="91"/>
                    </a:lnTo>
                    <a:lnTo>
                      <a:pt x="114" y="87"/>
                    </a:lnTo>
                    <a:lnTo>
                      <a:pt x="132" y="79"/>
                    </a:lnTo>
                    <a:lnTo>
                      <a:pt x="152" y="67"/>
                    </a:lnTo>
                    <a:lnTo>
                      <a:pt x="152" y="67"/>
                    </a:lnTo>
                    <a:lnTo>
                      <a:pt x="130" y="64"/>
                    </a:lnTo>
                    <a:lnTo>
                      <a:pt x="109" y="59"/>
                    </a:lnTo>
                    <a:lnTo>
                      <a:pt x="99" y="57"/>
                    </a:lnTo>
                    <a:lnTo>
                      <a:pt x="89" y="52"/>
                    </a:lnTo>
                    <a:lnTo>
                      <a:pt x="80" y="47"/>
                    </a:lnTo>
                    <a:lnTo>
                      <a:pt x="72" y="41"/>
                    </a:lnTo>
                    <a:lnTo>
                      <a:pt x="72" y="41"/>
                    </a:lnTo>
                    <a:lnTo>
                      <a:pt x="56" y="20"/>
                    </a:lnTo>
                    <a:lnTo>
                      <a:pt x="40" y="0"/>
                    </a:lnTo>
                    <a:lnTo>
                      <a:pt x="40" y="0"/>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83" name="Freeform 398">
                <a:extLst>
                  <a:ext uri="{FF2B5EF4-FFF2-40B4-BE49-F238E27FC236}">
                    <a16:creationId xmlns:a16="http://schemas.microsoft.com/office/drawing/2014/main" id="{EBF4BE1C-0864-486D-A45E-6F5AC9EE76A7}"/>
                  </a:ext>
                </a:extLst>
              </p:cNvPr>
              <p:cNvSpPr>
                <a:spLocks/>
              </p:cNvSpPr>
              <p:nvPr/>
            </p:nvSpPr>
            <p:spPr bwMode="auto">
              <a:xfrm>
                <a:off x="3003550" y="1158875"/>
                <a:ext cx="6350" cy="11113"/>
              </a:xfrm>
              <a:custGeom>
                <a:avLst/>
                <a:gdLst>
                  <a:gd name="T0" fmla="*/ 29 w 29"/>
                  <a:gd name="T1" fmla="*/ 15 h 53"/>
                  <a:gd name="T2" fmla="*/ 29 w 29"/>
                  <a:gd name="T3" fmla="*/ 15 h 53"/>
                  <a:gd name="T4" fmla="*/ 25 w 29"/>
                  <a:gd name="T5" fmla="*/ 11 h 53"/>
                  <a:gd name="T6" fmla="*/ 21 w 29"/>
                  <a:gd name="T7" fmla="*/ 7 h 53"/>
                  <a:gd name="T8" fmla="*/ 11 w 29"/>
                  <a:gd name="T9" fmla="*/ 0 h 53"/>
                  <a:gd name="T10" fmla="*/ 11 w 29"/>
                  <a:gd name="T11" fmla="*/ 0 h 53"/>
                  <a:gd name="T12" fmla="*/ 7 w 29"/>
                  <a:gd name="T13" fmla="*/ 6 h 53"/>
                  <a:gd name="T14" fmla="*/ 3 w 29"/>
                  <a:gd name="T15" fmla="*/ 12 h 53"/>
                  <a:gd name="T16" fmla="*/ 1 w 29"/>
                  <a:gd name="T17" fmla="*/ 19 h 53"/>
                  <a:gd name="T18" fmla="*/ 0 w 29"/>
                  <a:gd name="T19" fmla="*/ 26 h 53"/>
                  <a:gd name="T20" fmla="*/ 0 w 29"/>
                  <a:gd name="T21" fmla="*/ 33 h 53"/>
                  <a:gd name="T22" fmla="*/ 0 w 29"/>
                  <a:gd name="T23" fmla="*/ 38 h 53"/>
                  <a:gd name="T24" fmla="*/ 2 w 29"/>
                  <a:gd name="T25" fmla="*/ 44 h 53"/>
                  <a:gd name="T26" fmla="*/ 5 w 29"/>
                  <a:gd name="T27" fmla="*/ 49 h 53"/>
                  <a:gd name="T28" fmla="*/ 7 w 29"/>
                  <a:gd name="T29" fmla="*/ 52 h 53"/>
                  <a:gd name="T30" fmla="*/ 10 w 29"/>
                  <a:gd name="T31" fmla="*/ 53 h 53"/>
                  <a:gd name="T32" fmla="*/ 14 w 29"/>
                  <a:gd name="T33" fmla="*/ 53 h 53"/>
                  <a:gd name="T34" fmla="*/ 17 w 29"/>
                  <a:gd name="T35" fmla="*/ 51 h 53"/>
                  <a:gd name="T36" fmla="*/ 21 w 29"/>
                  <a:gd name="T37" fmla="*/ 46 h 53"/>
                  <a:gd name="T38" fmla="*/ 23 w 29"/>
                  <a:gd name="T39" fmla="*/ 38 h 53"/>
                  <a:gd name="T40" fmla="*/ 26 w 29"/>
                  <a:gd name="T41" fmla="*/ 28 h 53"/>
                  <a:gd name="T42" fmla="*/ 29 w 29"/>
                  <a:gd name="T43" fmla="*/ 15 h 53"/>
                  <a:gd name="T44" fmla="*/ 29 w 29"/>
                  <a:gd name="T45" fmla="*/ 1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 h="53">
                    <a:moveTo>
                      <a:pt x="29" y="15"/>
                    </a:moveTo>
                    <a:lnTo>
                      <a:pt x="29" y="15"/>
                    </a:lnTo>
                    <a:lnTo>
                      <a:pt x="25" y="11"/>
                    </a:lnTo>
                    <a:lnTo>
                      <a:pt x="21" y="7"/>
                    </a:lnTo>
                    <a:lnTo>
                      <a:pt x="11" y="0"/>
                    </a:lnTo>
                    <a:lnTo>
                      <a:pt x="11" y="0"/>
                    </a:lnTo>
                    <a:lnTo>
                      <a:pt x="7" y="6"/>
                    </a:lnTo>
                    <a:lnTo>
                      <a:pt x="3" y="12"/>
                    </a:lnTo>
                    <a:lnTo>
                      <a:pt x="1" y="19"/>
                    </a:lnTo>
                    <a:lnTo>
                      <a:pt x="0" y="26"/>
                    </a:lnTo>
                    <a:lnTo>
                      <a:pt x="0" y="33"/>
                    </a:lnTo>
                    <a:lnTo>
                      <a:pt x="0" y="38"/>
                    </a:lnTo>
                    <a:lnTo>
                      <a:pt x="2" y="44"/>
                    </a:lnTo>
                    <a:lnTo>
                      <a:pt x="5" y="49"/>
                    </a:lnTo>
                    <a:lnTo>
                      <a:pt x="7" y="52"/>
                    </a:lnTo>
                    <a:lnTo>
                      <a:pt x="10" y="53"/>
                    </a:lnTo>
                    <a:lnTo>
                      <a:pt x="14" y="53"/>
                    </a:lnTo>
                    <a:lnTo>
                      <a:pt x="17" y="51"/>
                    </a:lnTo>
                    <a:lnTo>
                      <a:pt x="21" y="46"/>
                    </a:lnTo>
                    <a:lnTo>
                      <a:pt x="23" y="38"/>
                    </a:lnTo>
                    <a:lnTo>
                      <a:pt x="26" y="28"/>
                    </a:lnTo>
                    <a:lnTo>
                      <a:pt x="29" y="15"/>
                    </a:lnTo>
                    <a:lnTo>
                      <a:pt x="29" y="15"/>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84" name="Freeform 399">
                <a:extLst>
                  <a:ext uri="{FF2B5EF4-FFF2-40B4-BE49-F238E27FC236}">
                    <a16:creationId xmlns:a16="http://schemas.microsoft.com/office/drawing/2014/main" id="{AC5D6307-FDD3-4FFA-9F1C-F58FE1930117}"/>
                  </a:ext>
                </a:extLst>
              </p:cNvPr>
              <p:cNvSpPr>
                <a:spLocks noEditPoints="1"/>
              </p:cNvSpPr>
              <p:nvPr/>
            </p:nvSpPr>
            <p:spPr bwMode="auto">
              <a:xfrm>
                <a:off x="2770188" y="415925"/>
                <a:ext cx="404813" cy="827088"/>
              </a:xfrm>
              <a:custGeom>
                <a:avLst/>
                <a:gdLst>
                  <a:gd name="T0" fmla="*/ 1432 w 1782"/>
                  <a:gd name="T1" fmla="*/ 2145 h 3648"/>
                  <a:gd name="T2" fmla="*/ 1216 w 1782"/>
                  <a:gd name="T3" fmla="*/ 2016 h 3648"/>
                  <a:gd name="T4" fmla="*/ 980 w 1782"/>
                  <a:gd name="T5" fmla="*/ 1951 h 3648"/>
                  <a:gd name="T6" fmla="*/ 898 w 1782"/>
                  <a:gd name="T7" fmla="*/ 1951 h 3648"/>
                  <a:gd name="T8" fmla="*/ 699 w 1782"/>
                  <a:gd name="T9" fmla="*/ 1956 h 3648"/>
                  <a:gd name="T10" fmla="*/ 622 w 1782"/>
                  <a:gd name="T11" fmla="*/ 1772 h 3648"/>
                  <a:gd name="T12" fmla="*/ 543 w 1782"/>
                  <a:gd name="T13" fmla="*/ 1732 h 3648"/>
                  <a:gd name="T14" fmla="*/ 477 w 1782"/>
                  <a:gd name="T15" fmla="*/ 1506 h 3648"/>
                  <a:gd name="T16" fmla="*/ 671 w 1782"/>
                  <a:gd name="T17" fmla="*/ 1447 h 3648"/>
                  <a:gd name="T18" fmla="*/ 779 w 1782"/>
                  <a:gd name="T19" fmla="*/ 1576 h 3648"/>
                  <a:gd name="T20" fmla="*/ 827 w 1782"/>
                  <a:gd name="T21" fmla="*/ 1462 h 3648"/>
                  <a:gd name="T22" fmla="*/ 987 w 1782"/>
                  <a:gd name="T23" fmla="*/ 1268 h 3648"/>
                  <a:gd name="T24" fmla="*/ 1223 w 1782"/>
                  <a:gd name="T25" fmla="*/ 1075 h 3648"/>
                  <a:gd name="T26" fmla="*/ 1304 w 1782"/>
                  <a:gd name="T27" fmla="*/ 1091 h 3648"/>
                  <a:gd name="T28" fmla="*/ 1285 w 1782"/>
                  <a:gd name="T29" fmla="*/ 1013 h 3648"/>
                  <a:gd name="T30" fmla="*/ 1295 w 1782"/>
                  <a:gd name="T31" fmla="*/ 928 h 3648"/>
                  <a:gd name="T32" fmla="*/ 1502 w 1782"/>
                  <a:gd name="T33" fmla="*/ 860 h 3648"/>
                  <a:gd name="T34" fmla="*/ 1322 w 1782"/>
                  <a:gd name="T35" fmla="*/ 656 h 3648"/>
                  <a:gd name="T36" fmla="*/ 1219 w 1782"/>
                  <a:gd name="T37" fmla="*/ 502 h 3648"/>
                  <a:gd name="T38" fmla="*/ 1092 w 1782"/>
                  <a:gd name="T39" fmla="*/ 735 h 3648"/>
                  <a:gd name="T40" fmla="*/ 1008 w 1782"/>
                  <a:gd name="T41" fmla="*/ 848 h 3648"/>
                  <a:gd name="T42" fmla="*/ 858 w 1782"/>
                  <a:gd name="T43" fmla="*/ 596 h 3648"/>
                  <a:gd name="T44" fmla="*/ 945 w 1782"/>
                  <a:gd name="T45" fmla="*/ 430 h 3648"/>
                  <a:gd name="T46" fmla="*/ 1110 w 1782"/>
                  <a:gd name="T47" fmla="*/ 346 h 3648"/>
                  <a:gd name="T48" fmla="*/ 1196 w 1782"/>
                  <a:gd name="T49" fmla="*/ 205 h 3648"/>
                  <a:gd name="T50" fmla="*/ 1259 w 1782"/>
                  <a:gd name="T51" fmla="*/ 404 h 3648"/>
                  <a:gd name="T52" fmla="*/ 1253 w 1782"/>
                  <a:gd name="T53" fmla="*/ 444 h 3648"/>
                  <a:gd name="T54" fmla="*/ 1435 w 1782"/>
                  <a:gd name="T55" fmla="*/ 491 h 3648"/>
                  <a:gd name="T56" fmla="*/ 1521 w 1782"/>
                  <a:gd name="T57" fmla="*/ 381 h 3648"/>
                  <a:gd name="T58" fmla="*/ 1441 w 1782"/>
                  <a:gd name="T59" fmla="*/ 222 h 3648"/>
                  <a:gd name="T60" fmla="*/ 1285 w 1782"/>
                  <a:gd name="T61" fmla="*/ 138 h 3648"/>
                  <a:gd name="T62" fmla="*/ 1172 w 1782"/>
                  <a:gd name="T63" fmla="*/ 145 h 3648"/>
                  <a:gd name="T64" fmla="*/ 1094 w 1782"/>
                  <a:gd name="T65" fmla="*/ 115 h 3648"/>
                  <a:gd name="T66" fmla="*/ 1093 w 1782"/>
                  <a:gd name="T67" fmla="*/ 243 h 3648"/>
                  <a:gd name="T68" fmla="*/ 1030 w 1782"/>
                  <a:gd name="T69" fmla="*/ 97 h 3648"/>
                  <a:gd name="T70" fmla="*/ 961 w 1782"/>
                  <a:gd name="T71" fmla="*/ 220 h 3648"/>
                  <a:gd name="T72" fmla="*/ 904 w 1782"/>
                  <a:gd name="T73" fmla="*/ 205 h 3648"/>
                  <a:gd name="T74" fmla="*/ 728 w 1782"/>
                  <a:gd name="T75" fmla="*/ 188 h 3648"/>
                  <a:gd name="T76" fmla="*/ 619 w 1782"/>
                  <a:gd name="T77" fmla="*/ 156 h 3648"/>
                  <a:gd name="T78" fmla="*/ 470 w 1782"/>
                  <a:gd name="T79" fmla="*/ 41 h 3648"/>
                  <a:gd name="T80" fmla="*/ 58 w 1782"/>
                  <a:gd name="T81" fmla="*/ 471 h 3648"/>
                  <a:gd name="T82" fmla="*/ 88 w 1782"/>
                  <a:gd name="T83" fmla="*/ 678 h 3648"/>
                  <a:gd name="T84" fmla="*/ 127 w 1782"/>
                  <a:gd name="T85" fmla="*/ 810 h 3648"/>
                  <a:gd name="T86" fmla="*/ 82 w 1782"/>
                  <a:gd name="T87" fmla="*/ 757 h 3648"/>
                  <a:gd name="T88" fmla="*/ 6 w 1782"/>
                  <a:gd name="T89" fmla="*/ 1164 h 3648"/>
                  <a:gd name="T90" fmla="*/ 92 w 1782"/>
                  <a:gd name="T91" fmla="*/ 1448 h 3648"/>
                  <a:gd name="T92" fmla="*/ 170 w 1782"/>
                  <a:gd name="T93" fmla="*/ 1609 h 3648"/>
                  <a:gd name="T94" fmla="*/ 143 w 1782"/>
                  <a:gd name="T95" fmla="*/ 1427 h 3648"/>
                  <a:gd name="T96" fmla="*/ 313 w 1782"/>
                  <a:gd name="T97" fmla="*/ 1763 h 3648"/>
                  <a:gd name="T98" fmla="*/ 562 w 1782"/>
                  <a:gd name="T99" fmla="*/ 1888 h 3648"/>
                  <a:gd name="T100" fmla="*/ 771 w 1782"/>
                  <a:gd name="T101" fmla="*/ 2046 h 3648"/>
                  <a:gd name="T102" fmla="*/ 819 w 1782"/>
                  <a:gd name="T103" fmla="*/ 2122 h 3648"/>
                  <a:gd name="T104" fmla="*/ 737 w 1782"/>
                  <a:gd name="T105" fmla="*/ 2316 h 3648"/>
                  <a:gd name="T106" fmla="*/ 960 w 1782"/>
                  <a:gd name="T107" fmla="*/ 2640 h 3648"/>
                  <a:gd name="T108" fmla="*/ 1071 w 1782"/>
                  <a:gd name="T109" fmla="*/ 3305 h 3648"/>
                  <a:gd name="T110" fmla="*/ 1079 w 1782"/>
                  <a:gd name="T111" fmla="*/ 3467 h 3648"/>
                  <a:gd name="T112" fmla="*/ 1196 w 1782"/>
                  <a:gd name="T113" fmla="*/ 3604 h 3648"/>
                  <a:gd name="T114" fmla="*/ 1246 w 1782"/>
                  <a:gd name="T115" fmla="*/ 3419 h 3648"/>
                  <a:gd name="T116" fmla="*/ 1262 w 1782"/>
                  <a:gd name="T117" fmla="*/ 3252 h 3648"/>
                  <a:gd name="T118" fmla="*/ 1367 w 1782"/>
                  <a:gd name="T119" fmla="*/ 3104 h 3648"/>
                  <a:gd name="T120" fmla="*/ 1505 w 1782"/>
                  <a:gd name="T121" fmla="*/ 2854 h 3648"/>
                  <a:gd name="T122" fmla="*/ 1678 w 1782"/>
                  <a:gd name="T123" fmla="*/ 2723 h 3648"/>
                  <a:gd name="T124" fmla="*/ 1779 w 1782"/>
                  <a:gd name="T125" fmla="*/ 2439 h 3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82" h="3648">
                    <a:moveTo>
                      <a:pt x="1779" y="2356"/>
                    </a:moveTo>
                    <a:lnTo>
                      <a:pt x="1779" y="2356"/>
                    </a:lnTo>
                    <a:lnTo>
                      <a:pt x="1779" y="2352"/>
                    </a:lnTo>
                    <a:lnTo>
                      <a:pt x="1777" y="2347"/>
                    </a:lnTo>
                    <a:lnTo>
                      <a:pt x="1774" y="2341"/>
                    </a:lnTo>
                    <a:lnTo>
                      <a:pt x="1769" y="2337"/>
                    </a:lnTo>
                    <a:lnTo>
                      <a:pt x="1756" y="2326"/>
                    </a:lnTo>
                    <a:lnTo>
                      <a:pt x="1740" y="2317"/>
                    </a:lnTo>
                    <a:lnTo>
                      <a:pt x="1721" y="2307"/>
                    </a:lnTo>
                    <a:lnTo>
                      <a:pt x="1698" y="2298"/>
                    </a:lnTo>
                    <a:lnTo>
                      <a:pt x="1673" y="2287"/>
                    </a:lnTo>
                    <a:lnTo>
                      <a:pt x="1648" y="2279"/>
                    </a:lnTo>
                    <a:lnTo>
                      <a:pt x="1596" y="2262"/>
                    </a:lnTo>
                    <a:lnTo>
                      <a:pt x="1549" y="2248"/>
                    </a:lnTo>
                    <a:lnTo>
                      <a:pt x="1486" y="2230"/>
                    </a:lnTo>
                    <a:lnTo>
                      <a:pt x="1486" y="2230"/>
                    </a:lnTo>
                    <a:lnTo>
                      <a:pt x="1418" y="2223"/>
                    </a:lnTo>
                    <a:lnTo>
                      <a:pt x="1418" y="2223"/>
                    </a:lnTo>
                    <a:lnTo>
                      <a:pt x="1427" y="2202"/>
                    </a:lnTo>
                    <a:lnTo>
                      <a:pt x="1429" y="2194"/>
                    </a:lnTo>
                    <a:lnTo>
                      <a:pt x="1432" y="2185"/>
                    </a:lnTo>
                    <a:lnTo>
                      <a:pt x="1433" y="2177"/>
                    </a:lnTo>
                    <a:lnTo>
                      <a:pt x="1433" y="2168"/>
                    </a:lnTo>
                    <a:lnTo>
                      <a:pt x="1432" y="2145"/>
                    </a:lnTo>
                    <a:lnTo>
                      <a:pt x="1432" y="2145"/>
                    </a:lnTo>
                    <a:lnTo>
                      <a:pt x="1431" y="2133"/>
                    </a:lnTo>
                    <a:lnTo>
                      <a:pt x="1428" y="2125"/>
                    </a:lnTo>
                    <a:lnTo>
                      <a:pt x="1425" y="2120"/>
                    </a:lnTo>
                    <a:lnTo>
                      <a:pt x="1421" y="2116"/>
                    </a:lnTo>
                    <a:lnTo>
                      <a:pt x="1416" y="2113"/>
                    </a:lnTo>
                    <a:lnTo>
                      <a:pt x="1410" y="2110"/>
                    </a:lnTo>
                    <a:lnTo>
                      <a:pt x="1402" y="2107"/>
                    </a:lnTo>
                    <a:lnTo>
                      <a:pt x="1393" y="2101"/>
                    </a:lnTo>
                    <a:lnTo>
                      <a:pt x="1393" y="2101"/>
                    </a:lnTo>
                    <a:lnTo>
                      <a:pt x="1373" y="2089"/>
                    </a:lnTo>
                    <a:lnTo>
                      <a:pt x="1359" y="2081"/>
                    </a:lnTo>
                    <a:lnTo>
                      <a:pt x="1352" y="2078"/>
                    </a:lnTo>
                    <a:lnTo>
                      <a:pt x="1344" y="2077"/>
                    </a:lnTo>
                    <a:lnTo>
                      <a:pt x="1323" y="2073"/>
                    </a:lnTo>
                    <a:lnTo>
                      <a:pt x="1323" y="2073"/>
                    </a:lnTo>
                    <a:lnTo>
                      <a:pt x="1317" y="2073"/>
                    </a:lnTo>
                    <a:lnTo>
                      <a:pt x="1311" y="2074"/>
                    </a:lnTo>
                    <a:lnTo>
                      <a:pt x="1302" y="2079"/>
                    </a:lnTo>
                    <a:lnTo>
                      <a:pt x="1298" y="2080"/>
                    </a:lnTo>
                    <a:lnTo>
                      <a:pt x="1294" y="2079"/>
                    </a:lnTo>
                    <a:lnTo>
                      <a:pt x="1288" y="2077"/>
                    </a:lnTo>
                    <a:lnTo>
                      <a:pt x="1280" y="2070"/>
                    </a:lnTo>
                    <a:lnTo>
                      <a:pt x="1280" y="2070"/>
                    </a:lnTo>
                    <a:lnTo>
                      <a:pt x="1247" y="2042"/>
                    </a:lnTo>
                    <a:lnTo>
                      <a:pt x="1216" y="2016"/>
                    </a:lnTo>
                    <a:lnTo>
                      <a:pt x="1201" y="2003"/>
                    </a:lnTo>
                    <a:lnTo>
                      <a:pt x="1186" y="1989"/>
                    </a:lnTo>
                    <a:lnTo>
                      <a:pt x="1172" y="1974"/>
                    </a:lnTo>
                    <a:lnTo>
                      <a:pt x="1158" y="1958"/>
                    </a:lnTo>
                    <a:lnTo>
                      <a:pt x="1158" y="1958"/>
                    </a:lnTo>
                    <a:lnTo>
                      <a:pt x="1155" y="1956"/>
                    </a:lnTo>
                    <a:lnTo>
                      <a:pt x="1153" y="1956"/>
                    </a:lnTo>
                    <a:lnTo>
                      <a:pt x="1146" y="1955"/>
                    </a:lnTo>
                    <a:lnTo>
                      <a:pt x="1136" y="1956"/>
                    </a:lnTo>
                    <a:lnTo>
                      <a:pt x="1125" y="1958"/>
                    </a:lnTo>
                    <a:lnTo>
                      <a:pt x="1104" y="1961"/>
                    </a:lnTo>
                    <a:lnTo>
                      <a:pt x="1093" y="1963"/>
                    </a:lnTo>
                    <a:lnTo>
                      <a:pt x="1085" y="1961"/>
                    </a:lnTo>
                    <a:lnTo>
                      <a:pt x="1085" y="1961"/>
                    </a:lnTo>
                    <a:lnTo>
                      <a:pt x="1061" y="1955"/>
                    </a:lnTo>
                    <a:lnTo>
                      <a:pt x="1052" y="1950"/>
                    </a:lnTo>
                    <a:lnTo>
                      <a:pt x="1044" y="1945"/>
                    </a:lnTo>
                    <a:lnTo>
                      <a:pt x="1037" y="1941"/>
                    </a:lnTo>
                    <a:lnTo>
                      <a:pt x="1029" y="1934"/>
                    </a:lnTo>
                    <a:lnTo>
                      <a:pt x="1013" y="1915"/>
                    </a:lnTo>
                    <a:lnTo>
                      <a:pt x="1013" y="1915"/>
                    </a:lnTo>
                    <a:lnTo>
                      <a:pt x="998" y="1929"/>
                    </a:lnTo>
                    <a:lnTo>
                      <a:pt x="991" y="1936"/>
                    </a:lnTo>
                    <a:lnTo>
                      <a:pt x="985" y="1944"/>
                    </a:lnTo>
                    <a:lnTo>
                      <a:pt x="980" y="1951"/>
                    </a:lnTo>
                    <a:lnTo>
                      <a:pt x="977" y="1960"/>
                    </a:lnTo>
                    <a:lnTo>
                      <a:pt x="975" y="1970"/>
                    </a:lnTo>
                    <a:lnTo>
                      <a:pt x="975" y="1981"/>
                    </a:lnTo>
                    <a:lnTo>
                      <a:pt x="975" y="1981"/>
                    </a:lnTo>
                    <a:lnTo>
                      <a:pt x="968" y="1979"/>
                    </a:lnTo>
                    <a:lnTo>
                      <a:pt x="962" y="1976"/>
                    </a:lnTo>
                    <a:lnTo>
                      <a:pt x="957" y="1973"/>
                    </a:lnTo>
                    <a:lnTo>
                      <a:pt x="955" y="1970"/>
                    </a:lnTo>
                    <a:lnTo>
                      <a:pt x="955" y="1965"/>
                    </a:lnTo>
                    <a:lnTo>
                      <a:pt x="955" y="1959"/>
                    </a:lnTo>
                    <a:lnTo>
                      <a:pt x="956" y="1953"/>
                    </a:lnTo>
                    <a:lnTo>
                      <a:pt x="959" y="1948"/>
                    </a:lnTo>
                    <a:lnTo>
                      <a:pt x="964" y="1936"/>
                    </a:lnTo>
                    <a:lnTo>
                      <a:pt x="972" y="1925"/>
                    </a:lnTo>
                    <a:lnTo>
                      <a:pt x="986" y="1907"/>
                    </a:lnTo>
                    <a:lnTo>
                      <a:pt x="986" y="1907"/>
                    </a:lnTo>
                    <a:lnTo>
                      <a:pt x="978" y="1905"/>
                    </a:lnTo>
                    <a:lnTo>
                      <a:pt x="971" y="1905"/>
                    </a:lnTo>
                    <a:lnTo>
                      <a:pt x="963" y="1906"/>
                    </a:lnTo>
                    <a:lnTo>
                      <a:pt x="955" y="1909"/>
                    </a:lnTo>
                    <a:lnTo>
                      <a:pt x="948" y="1911"/>
                    </a:lnTo>
                    <a:lnTo>
                      <a:pt x="940" y="1915"/>
                    </a:lnTo>
                    <a:lnTo>
                      <a:pt x="925" y="1926"/>
                    </a:lnTo>
                    <a:lnTo>
                      <a:pt x="911" y="1938"/>
                    </a:lnTo>
                    <a:lnTo>
                      <a:pt x="898" y="1951"/>
                    </a:lnTo>
                    <a:lnTo>
                      <a:pt x="886" y="1964"/>
                    </a:lnTo>
                    <a:lnTo>
                      <a:pt x="874" y="1973"/>
                    </a:lnTo>
                    <a:lnTo>
                      <a:pt x="874" y="1973"/>
                    </a:lnTo>
                    <a:lnTo>
                      <a:pt x="862" y="1984"/>
                    </a:lnTo>
                    <a:lnTo>
                      <a:pt x="857" y="1988"/>
                    </a:lnTo>
                    <a:lnTo>
                      <a:pt x="853" y="1989"/>
                    </a:lnTo>
                    <a:lnTo>
                      <a:pt x="848" y="1990"/>
                    </a:lnTo>
                    <a:lnTo>
                      <a:pt x="843" y="1989"/>
                    </a:lnTo>
                    <a:lnTo>
                      <a:pt x="827" y="1984"/>
                    </a:lnTo>
                    <a:lnTo>
                      <a:pt x="827" y="1984"/>
                    </a:lnTo>
                    <a:lnTo>
                      <a:pt x="817" y="1980"/>
                    </a:lnTo>
                    <a:lnTo>
                      <a:pt x="809" y="1978"/>
                    </a:lnTo>
                    <a:lnTo>
                      <a:pt x="803" y="1976"/>
                    </a:lnTo>
                    <a:lnTo>
                      <a:pt x="799" y="1976"/>
                    </a:lnTo>
                    <a:lnTo>
                      <a:pt x="789" y="1980"/>
                    </a:lnTo>
                    <a:lnTo>
                      <a:pt x="782" y="1982"/>
                    </a:lnTo>
                    <a:lnTo>
                      <a:pt x="772" y="1984"/>
                    </a:lnTo>
                    <a:lnTo>
                      <a:pt x="772" y="1984"/>
                    </a:lnTo>
                    <a:lnTo>
                      <a:pt x="749" y="1987"/>
                    </a:lnTo>
                    <a:lnTo>
                      <a:pt x="739" y="1988"/>
                    </a:lnTo>
                    <a:lnTo>
                      <a:pt x="729" y="1987"/>
                    </a:lnTo>
                    <a:lnTo>
                      <a:pt x="721" y="1983"/>
                    </a:lnTo>
                    <a:lnTo>
                      <a:pt x="713" y="1978"/>
                    </a:lnTo>
                    <a:lnTo>
                      <a:pt x="706" y="1968"/>
                    </a:lnTo>
                    <a:lnTo>
                      <a:pt x="699" y="1956"/>
                    </a:lnTo>
                    <a:lnTo>
                      <a:pt x="699" y="1956"/>
                    </a:lnTo>
                    <a:lnTo>
                      <a:pt x="698" y="1952"/>
                    </a:lnTo>
                    <a:lnTo>
                      <a:pt x="699" y="1949"/>
                    </a:lnTo>
                    <a:lnTo>
                      <a:pt x="701" y="1936"/>
                    </a:lnTo>
                    <a:lnTo>
                      <a:pt x="709" y="1903"/>
                    </a:lnTo>
                    <a:lnTo>
                      <a:pt x="718" y="1872"/>
                    </a:lnTo>
                    <a:lnTo>
                      <a:pt x="723" y="1857"/>
                    </a:lnTo>
                    <a:lnTo>
                      <a:pt x="723" y="1857"/>
                    </a:lnTo>
                    <a:lnTo>
                      <a:pt x="712" y="1843"/>
                    </a:lnTo>
                    <a:lnTo>
                      <a:pt x="702" y="1830"/>
                    </a:lnTo>
                    <a:lnTo>
                      <a:pt x="696" y="1826"/>
                    </a:lnTo>
                    <a:lnTo>
                      <a:pt x="690" y="1821"/>
                    </a:lnTo>
                    <a:lnTo>
                      <a:pt x="682" y="1819"/>
                    </a:lnTo>
                    <a:lnTo>
                      <a:pt x="674" y="1818"/>
                    </a:lnTo>
                    <a:lnTo>
                      <a:pt x="674" y="1818"/>
                    </a:lnTo>
                    <a:lnTo>
                      <a:pt x="653" y="1820"/>
                    </a:lnTo>
                    <a:lnTo>
                      <a:pt x="643" y="1821"/>
                    </a:lnTo>
                    <a:lnTo>
                      <a:pt x="633" y="1821"/>
                    </a:lnTo>
                    <a:lnTo>
                      <a:pt x="624" y="1820"/>
                    </a:lnTo>
                    <a:lnTo>
                      <a:pt x="615" y="1818"/>
                    </a:lnTo>
                    <a:lnTo>
                      <a:pt x="607" y="1813"/>
                    </a:lnTo>
                    <a:lnTo>
                      <a:pt x="604" y="1809"/>
                    </a:lnTo>
                    <a:lnTo>
                      <a:pt x="602" y="1805"/>
                    </a:lnTo>
                    <a:lnTo>
                      <a:pt x="602" y="1805"/>
                    </a:lnTo>
                    <a:lnTo>
                      <a:pt x="622" y="1772"/>
                    </a:lnTo>
                    <a:lnTo>
                      <a:pt x="637" y="1746"/>
                    </a:lnTo>
                    <a:lnTo>
                      <a:pt x="650" y="1721"/>
                    </a:lnTo>
                    <a:lnTo>
                      <a:pt x="655" y="1708"/>
                    </a:lnTo>
                    <a:lnTo>
                      <a:pt x="659" y="1697"/>
                    </a:lnTo>
                    <a:lnTo>
                      <a:pt x="660" y="1686"/>
                    </a:lnTo>
                    <a:lnTo>
                      <a:pt x="660" y="1678"/>
                    </a:lnTo>
                    <a:lnTo>
                      <a:pt x="659" y="1674"/>
                    </a:lnTo>
                    <a:lnTo>
                      <a:pt x="658" y="1671"/>
                    </a:lnTo>
                    <a:lnTo>
                      <a:pt x="655" y="1669"/>
                    </a:lnTo>
                    <a:lnTo>
                      <a:pt x="652" y="1667"/>
                    </a:lnTo>
                    <a:lnTo>
                      <a:pt x="648" y="1666"/>
                    </a:lnTo>
                    <a:lnTo>
                      <a:pt x="643" y="1666"/>
                    </a:lnTo>
                    <a:lnTo>
                      <a:pt x="637" y="1666"/>
                    </a:lnTo>
                    <a:lnTo>
                      <a:pt x="630" y="1667"/>
                    </a:lnTo>
                    <a:lnTo>
                      <a:pt x="630" y="1667"/>
                    </a:lnTo>
                    <a:lnTo>
                      <a:pt x="596" y="1675"/>
                    </a:lnTo>
                    <a:lnTo>
                      <a:pt x="584" y="1677"/>
                    </a:lnTo>
                    <a:lnTo>
                      <a:pt x="574" y="1682"/>
                    </a:lnTo>
                    <a:lnTo>
                      <a:pt x="569" y="1685"/>
                    </a:lnTo>
                    <a:lnTo>
                      <a:pt x="566" y="1689"/>
                    </a:lnTo>
                    <a:lnTo>
                      <a:pt x="559" y="1698"/>
                    </a:lnTo>
                    <a:lnTo>
                      <a:pt x="552" y="1710"/>
                    </a:lnTo>
                    <a:lnTo>
                      <a:pt x="545" y="1729"/>
                    </a:lnTo>
                    <a:lnTo>
                      <a:pt x="545" y="1729"/>
                    </a:lnTo>
                    <a:lnTo>
                      <a:pt x="543" y="1732"/>
                    </a:lnTo>
                    <a:lnTo>
                      <a:pt x="539" y="1736"/>
                    </a:lnTo>
                    <a:lnTo>
                      <a:pt x="535" y="1738"/>
                    </a:lnTo>
                    <a:lnTo>
                      <a:pt x="528" y="1739"/>
                    </a:lnTo>
                    <a:lnTo>
                      <a:pt x="522" y="1740"/>
                    </a:lnTo>
                    <a:lnTo>
                      <a:pt x="514" y="1740"/>
                    </a:lnTo>
                    <a:lnTo>
                      <a:pt x="498" y="1739"/>
                    </a:lnTo>
                    <a:lnTo>
                      <a:pt x="483" y="1735"/>
                    </a:lnTo>
                    <a:lnTo>
                      <a:pt x="469" y="1730"/>
                    </a:lnTo>
                    <a:lnTo>
                      <a:pt x="463" y="1727"/>
                    </a:lnTo>
                    <a:lnTo>
                      <a:pt x="459" y="1723"/>
                    </a:lnTo>
                    <a:lnTo>
                      <a:pt x="455" y="1720"/>
                    </a:lnTo>
                    <a:lnTo>
                      <a:pt x="453" y="1716"/>
                    </a:lnTo>
                    <a:lnTo>
                      <a:pt x="453" y="1716"/>
                    </a:lnTo>
                    <a:lnTo>
                      <a:pt x="445" y="1687"/>
                    </a:lnTo>
                    <a:lnTo>
                      <a:pt x="443" y="1674"/>
                    </a:lnTo>
                    <a:lnTo>
                      <a:pt x="440" y="1660"/>
                    </a:lnTo>
                    <a:lnTo>
                      <a:pt x="439" y="1646"/>
                    </a:lnTo>
                    <a:lnTo>
                      <a:pt x="439" y="1633"/>
                    </a:lnTo>
                    <a:lnTo>
                      <a:pt x="439" y="1621"/>
                    </a:lnTo>
                    <a:lnTo>
                      <a:pt x="440" y="1608"/>
                    </a:lnTo>
                    <a:lnTo>
                      <a:pt x="443" y="1595"/>
                    </a:lnTo>
                    <a:lnTo>
                      <a:pt x="446" y="1584"/>
                    </a:lnTo>
                    <a:lnTo>
                      <a:pt x="453" y="1559"/>
                    </a:lnTo>
                    <a:lnTo>
                      <a:pt x="465" y="1532"/>
                    </a:lnTo>
                    <a:lnTo>
                      <a:pt x="477" y="1506"/>
                    </a:lnTo>
                    <a:lnTo>
                      <a:pt x="477" y="1506"/>
                    </a:lnTo>
                    <a:lnTo>
                      <a:pt x="483" y="1499"/>
                    </a:lnTo>
                    <a:lnTo>
                      <a:pt x="491" y="1489"/>
                    </a:lnTo>
                    <a:lnTo>
                      <a:pt x="503" y="1479"/>
                    </a:lnTo>
                    <a:lnTo>
                      <a:pt x="515" y="1469"/>
                    </a:lnTo>
                    <a:lnTo>
                      <a:pt x="529" y="1459"/>
                    </a:lnTo>
                    <a:lnTo>
                      <a:pt x="542" y="1451"/>
                    </a:lnTo>
                    <a:lnTo>
                      <a:pt x="552" y="1446"/>
                    </a:lnTo>
                    <a:lnTo>
                      <a:pt x="560" y="1443"/>
                    </a:lnTo>
                    <a:lnTo>
                      <a:pt x="560" y="1443"/>
                    </a:lnTo>
                    <a:lnTo>
                      <a:pt x="565" y="1443"/>
                    </a:lnTo>
                    <a:lnTo>
                      <a:pt x="571" y="1446"/>
                    </a:lnTo>
                    <a:lnTo>
                      <a:pt x="584" y="1453"/>
                    </a:lnTo>
                    <a:lnTo>
                      <a:pt x="598" y="1459"/>
                    </a:lnTo>
                    <a:lnTo>
                      <a:pt x="609" y="1466"/>
                    </a:lnTo>
                    <a:lnTo>
                      <a:pt x="609" y="1466"/>
                    </a:lnTo>
                    <a:lnTo>
                      <a:pt x="615" y="1469"/>
                    </a:lnTo>
                    <a:lnTo>
                      <a:pt x="622" y="1470"/>
                    </a:lnTo>
                    <a:lnTo>
                      <a:pt x="637" y="1471"/>
                    </a:lnTo>
                    <a:lnTo>
                      <a:pt x="666" y="1472"/>
                    </a:lnTo>
                    <a:lnTo>
                      <a:pt x="666" y="1472"/>
                    </a:lnTo>
                    <a:lnTo>
                      <a:pt x="665" y="1464"/>
                    </a:lnTo>
                    <a:lnTo>
                      <a:pt x="665" y="1457"/>
                    </a:lnTo>
                    <a:lnTo>
                      <a:pt x="667" y="1451"/>
                    </a:lnTo>
                    <a:lnTo>
                      <a:pt x="671" y="1447"/>
                    </a:lnTo>
                    <a:lnTo>
                      <a:pt x="675" y="1443"/>
                    </a:lnTo>
                    <a:lnTo>
                      <a:pt x="681" y="1441"/>
                    </a:lnTo>
                    <a:lnTo>
                      <a:pt x="687" y="1440"/>
                    </a:lnTo>
                    <a:lnTo>
                      <a:pt x="695" y="1440"/>
                    </a:lnTo>
                    <a:lnTo>
                      <a:pt x="710" y="1440"/>
                    </a:lnTo>
                    <a:lnTo>
                      <a:pt x="726" y="1441"/>
                    </a:lnTo>
                    <a:lnTo>
                      <a:pt x="742" y="1443"/>
                    </a:lnTo>
                    <a:lnTo>
                      <a:pt x="755" y="1445"/>
                    </a:lnTo>
                    <a:lnTo>
                      <a:pt x="755" y="1445"/>
                    </a:lnTo>
                    <a:lnTo>
                      <a:pt x="762" y="1445"/>
                    </a:lnTo>
                    <a:lnTo>
                      <a:pt x="767" y="1448"/>
                    </a:lnTo>
                    <a:lnTo>
                      <a:pt x="772" y="1451"/>
                    </a:lnTo>
                    <a:lnTo>
                      <a:pt x="775" y="1457"/>
                    </a:lnTo>
                    <a:lnTo>
                      <a:pt x="777" y="1463"/>
                    </a:lnTo>
                    <a:lnTo>
                      <a:pt x="778" y="1470"/>
                    </a:lnTo>
                    <a:lnTo>
                      <a:pt x="778" y="1477"/>
                    </a:lnTo>
                    <a:lnTo>
                      <a:pt x="777" y="1485"/>
                    </a:lnTo>
                    <a:lnTo>
                      <a:pt x="774" y="1501"/>
                    </a:lnTo>
                    <a:lnTo>
                      <a:pt x="771" y="1516"/>
                    </a:lnTo>
                    <a:lnTo>
                      <a:pt x="767" y="1529"/>
                    </a:lnTo>
                    <a:lnTo>
                      <a:pt x="766" y="1537"/>
                    </a:lnTo>
                    <a:lnTo>
                      <a:pt x="766" y="1537"/>
                    </a:lnTo>
                    <a:lnTo>
                      <a:pt x="769" y="1550"/>
                    </a:lnTo>
                    <a:lnTo>
                      <a:pt x="772" y="1564"/>
                    </a:lnTo>
                    <a:lnTo>
                      <a:pt x="779" y="1576"/>
                    </a:lnTo>
                    <a:lnTo>
                      <a:pt x="782" y="1582"/>
                    </a:lnTo>
                    <a:lnTo>
                      <a:pt x="786" y="1586"/>
                    </a:lnTo>
                    <a:lnTo>
                      <a:pt x="790" y="1590"/>
                    </a:lnTo>
                    <a:lnTo>
                      <a:pt x="795" y="1592"/>
                    </a:lnTo>
                    <a:lnTo>
                      <a:pt x="801" y="1594"/>
                    </a:lnTo>
                    <a:lnTo>
                      <a:pt x="805" y="1594"/>
                    </a:lnTo>
                    <a:lnTo>
                      <a:pt x="811" y="1592"/>
                    </a:lnTo>
                    <a:lnTo>
                      <a:pt x="816" y="1590"/>
                    </a:lnTo>
                    <a:lnTo>
                      <a:pt x="822" y="1584"/>
                    </a:lnTo>
                    <a:lnTo>
                      <a:pt x="826" y="1577"/>
                    </a:lnTo>
                    <a:lnTo>
                      <a:pt x="826" y="1577"/>
                    </a:lnTo>
                    <a:lnTo>
                      <a:pt x="836" y="1562"/>
                    </a:lnTo>
                    <a:lnTo>
                      <a:pt x="841" y="1556"/>
                    </a:lnTo>
                    <a:lnTo>
                      <a:pt x="845" y="1549"/>
                    </a:lnTo>
                    <a:lnTo>
                      <a:pt x="847" y="1544"/>
                    </a:lnTo>
                    <a:lnTo>
                      <a:pt x="847" y="1538"/>
                    </a:lnTo>
                    <a:lnTo>
                      <a:pt x="845" y="1531"/>
                    </a:lnTo>
                    <a:lnTo>
                      <a:pt x="841" y="1522"/>
                    </a:lnTo>
                    <a:lnTo>
                      <a:pt x="841" y="1522"/>
                    </a:lnTo>
                    <a:lnTo>
                      <a:pt x="835" y="1510"/>
                    </a:lnTo>
                    <a:lnTo>
                      <a:pt x="831" y="1496"/>
                    </a:lnTo>
                    <a:lnTo>
                      <a:pt x="827" y="1483"/>
                    </a:lnTo>
                    <a:lnTo>
                      <a:pt x="826" y="1471"/>
                    </a:lnTo>
                    <a:lnTo>
                      <a:pt x="826" y="1471"/>
                    </a:lnTo>
                    <a:lnTo>
                      <a:pt x="827" y="1462"/>
                    </a:lnTo>
                    <a:lnTo>
                      <a:pt x="828" y="1455"/>
                    </a:lnTo>
                    <a:lnTo>
                      <a:pt x="831" y="1447"/>
                    </a:lnTo>
                    <a:lnTo>
                      <a:pt x="833" y="1441"/>
                    </a:lnTo>
                    <a:lnTo>
                      <a:pt x="840" y="1428"/>
                    </a:lnTo>
                    <a:lnTo>
                      <a:pt x="849" y="1417"/>
                    </a:lnTo>
                    <a:lnTo>
                      <a:pt x="860" y="1407"/>
                    </a:lnTo>
                    <a:lnTo>
                      <a:pt x="871" y="1396"/>
                    </a:lnTo>
                    <a:lnTo>
                      <a:pt x="894" y="1377"/>
                    </a:lnTo>
                    <a:lnTo>
                      <a:pt x="894" y="1377"/>
                    </a:lnTo>
                    <a:lnTo>
                      <a:pt x="904" y="1370"/>
                    </a:lnTo>
                    <a:lnTo>
                      <a:pt x="918" y="1363"/>
                    </a:lnTo>
                    <a:lnTo>
                      <a:pt x="948" y="1349"/>
                    </a:lnTo>
                    <a:lnTo>
                      <a:pt x="962" y="1342"/>
                    </a:lnTo>
                    <a:lnTo>
                      <a:pt x="973" y="1335"/>
                    </a:lnTo>
                    <a:lnTo>
                      <a:pt x="978" y="1332"/>
                    </a:lnTo>
                    <a:lnTo>
                      <a:pt x="980" y="1327"/>
                    </a:lnTo>
                    <a:lnTo>
                      <a:pt x="983" y="1324"/>
                    </a:lnTo>
                    <a:lnTo>
                      <a:pt x="983" y="1319"/>
                    </a:lnTo>
                    <a:lnTo>
                      <a:pt x="983" y="1319"/>
                    </a:lnTo>
                    <a:lnTo>
                      <a:pt x="982" y="1309"/>
                    </a:lnTo>
                    <a:lnTo>
                      <a:pt x="982" y="1299"/>
                    </a:lnTo>
                    <a:lnTo>
                      <a:pt x="982" y="1290"/>
                    </a:lnTo>
                    <a:lnTo>
                      <a:pt x="983" y="1282"/>
                    </a:lnTo>
                    <a:lnTo>
                      <a:pt x="985" y="1275"/>
                    </a:lnTo>
                    <a:lnTo>
                      <a:pt x="987" y="1268"/>
                    </a:lnTo>
                    <a:lnTo>
                      <a:pt x="991" y="1263"/>
                    </a:lnTo>
                    <a:lnTo>
                      <a:pt x="994" y="1256"/>
                    </a:lnTo>
                    <a:lnTo>
                      <a:pt x="1003" y="1244"/>
                    </a:lnTo>
                    <a:lnTo>
                      <a:pt x="1015" y="1233"/>
                    </a:lnTo>
                    <a:lnTo>
                      <a:pt x="1043" y="1204"/>
                    </a:lnTo>
                    <a:lnTo>
                      <a:pt x="1043" y="1204"/>
                    </a:lnTo>
                    <a:lnTo>
                      <a:pt x="1048" y="1199"/>
                    </a:lnTo>
                    <a:lnTo>
                      <a:pt x="1053" y="1195"/>
                    </a:lnTo>
                    <a:lnTo>
                      <a:pt x="1064" y="1189"/>
                    </a:lnTo>
                    <a:lnTo>
                      <a:pt x="1077" y="1184"/>
                    </a:lnTo>
                    <a:lnTo>
                      <a:pt x="1090" y="1181"/>
                    </a:lnTo>
                    <a:lnTo>
                      <a:pt x="1104" y="1179"/>
                    </a:lnTo>
                    <a:lnTo>
                      <a:pt x="1117" y="1177"/>
                    </a:lnTo>
                    <a:lnTo>
                      <a:pt x="1146" y="1174"/>
                    </a:lnTo>
                    <a:lnTo>
                      <a:pt x="1146" y="1174"/>
                    </a:lnTo>
                    <a:lnTo>
                      <a:pt x="1138" y="1147"/>
                    </a:lnTo>
                    <a:lnTo>
                      <a:pt x="1137" y="1138"/>
                    </a:lnTo>
                    <a:lnTo>
                      <a:pt x="1137" y="1131"/>
                    </a:lnTo>
                    <a:lnTo>
                      <a:pt x="1139" y="1126"/>
                    </a:lnTo>
                    <a:lnTo>
                      <a:pt x="1145" y="1120"/>
                    </a:lnTo>
                    <a:lnTo>
                      <a:pt x="1154" y="1113"/>
                    </a:lnTo>
                    <a:lnTo>
                      <a:pt x="1167" y="1105"/>
                    </a:lnTo>
                    <a:lnTo>
                      <a:pt x="1167" y="1105"/>
                    </a:lnTo>
                    <a:lnTo>
                      <a:pt x="1204" y="1084"/>
                    </a:lnTo>
                    <a:lnTo>
                      <a:pt x="1223" y="1075"/>
                    </a:lnTo>
                    <a:lnTo>
                      <a:pt x="1234" y="1071"/>
                    </a:lnTo>
                    <a:lnTo>
                      <a:pt x="1244" y="1068"/>
                    </a:lnTo>
                    <a:lnTo>
                      <a:pt x="1244" y="1068"/>
                    </a:lnTo>
                    <a:lnTo>
                      <a:pt x="1236" y="1074"/>
                    </a:lnTo>
                    <a:lnTo>
                      <a:pt x="1229" y="1081"/>
                    </a:lnTo>
                    <a:lnTo>
                      <a:pt x="1226" y="1086"/>
                    </a:lnTo>
                    <a:lnTo>
                      <a:pt x="1223" y="1093"/>
                    </a:lnTo>
                    <a:lnTo>
                      <a:pt x="1222" y="1100"/>
                    </a:lnTo>
                    <a:lnTo>
                      <a:pt x="1223" y="1106"/>
                    </a:lnTo>
                    <a:lnTo>
                      <a:pt x="1226" y="1112"/>
                    </a:lnTo>
                    <a:lnTo>
                      <a:pt x="1229" y="1116"/>
                    </a:lnTo>
                    <a:lnTo>
                      <a:pt x="1233" y="1120"/>
                    </a:lnTo>
                    <a:lnTo>
                      <a:pt x="1238" y="1123"/>
                    </a:lnTo>
                    <a:lnTo>
                      <a:pt x="1243" y="1124"/>
                    </a:lnTo>
                    <a:lnTo>
                      <a:pt x="1250" y="1124"/>
                    </a:lnTo>
                    <a:lnTo>
                      <a:pt x="1256" y="1123"/>
                    </a:lnTo>
                    <a:lnTo>
                      <a:pt x="1261" y="1121"/>
                    </a:lnTo>
                    <a:lnTo>
                      <a:pt x="1268" y="1115"/>
                    </a:lnTo>
                    <a:lnTo>
                      <a:pt x="1274" y="1108"/>
                    </a:lnTo>
                    <a:lnTo>
                      <a:pt x="1274" y="1108"/>
                    </a:lnTo>
                    <a:lnTo>
                      <a:pt x="1280" y="1101"/>
                    </a:lnTo>
                    <a:lnTo>
                      <a:pt x="1285" y="1097"/>
                    </a:lnTo>
                    <a:lnTo>
                      <a:pt x="1291" y="1093"/>
                    </a:lnTo>
                    <a:lnTo>
                      <a:pt x="1297" y="1091"/>
                    </a:lnTo>
                    <a:lnTo>
                      <a:pt x="1304" y="1091"/>
                    </a:lnTo>
                    <a:lnTo>
                      <a:pt x="1311" y="1091"/>
                    </a:lnTo>
                    <a:lnTo>
                      <a:pt x="1328" y="1090"/>
                    </a:lnTo>
                    <a:lnTo>
                      <a:pt x="1328" y="1090"/>
                    </a:lnTo>
                    <a:lnTo>
                      <a:pt x="1332" y="1090"/>
                    </a:lnTo>
                    <a:lnTo>
                      <a:pt x="1334" y="1088"/>
                    </a:lnTo>
                    <a:lnTo>
                      <a:pt x="1340" y="1083"/>
                    </a:lnTo>
                    <a:lnTo>
                      <a:pt x="1344" y="1075"/>
                    </a:lnTo>
                    <a:lnTo>
                      <a:pt x="1350" y="1066"/>
                    </a:lnTo>
                    <a:lnTo>
                      <a:pt x="1358" y="1046"/>
                    </a:lnTo>
                    <a:lnTo>
                      <a:pt x="1365" y="1032"/>
                    </a:lnTo>
                    <a:lnTo>
                      <a:pt x="1365" y="1032"/>
                    </a:lnTo>
                    <a:lnTo>
                      <a:pt x="1358" y="1031"/>
                    </a:lnTo>
                    <a:lnTo>
                      <a:pt x="1351" y="1031"/>
                    </a:lnTo>
                    <a:lnTo>
                      <a:pt x="1344" y="1032"/>
                    </a:lnTo>
                    <a:lnTo>
                      <a:pt x="1337" y="1036"/>
                    </a:lnTo>
                    <a:lnTo>
                      <a:pt x="1325" y="1042"/>
                    </a:lnTo>
                    <a:lnTo>
                      <a:pt x="1313" y="1047"/>
                    </a:lnTo>
                    <a:lnTo>
                      <a:pt x="1307" y="1050"/>
                    </a:lnTo>
                    <a:lnTo>
                      <a:pt x="1303" y="1051"/>
                    </a:lnTo>
                    <a:lnTo>
                      <a:pt x="1298" y="1050"/>
                    </a:lnTo>
                    <a:lnTo>
                      <a:pt x="1295" y="1047"/>
                    </a:lnTo>
                    <a:lnTo>
                      <a:pt x="1291" y="1043"/>
                    </a:lnTo>
                    <a:lnTo>
                      <a:pt x="1289" y="1036"/>
                    </a:lnTo>
                    <a:lnTo>
                      <a:pt x="1287" y="1025"/>
                    </a:lnTo>
                    <a:lnTo>
                      <a:pt x="1285" y="1013"/>
                    </a:lnTo>
                    <a:lnTo>
                      <a:pt x="1285" y="1013"/>
                    </a:lnTo>
                    <a:lnTo>
                      <a:pt x="1285" y="1005"/>
                    </a:lnTo>
                    <a:lnTo>
                      <a:pt x="1288" y="997"/>
                    </a:lnTo>
                    <a:lnTo>
                      <a:pt x="1294" y="982"/>
                    </a:lnTo>
                    <a:lnTo>
                      <a:pt x="1296" y="975"/>
                    </a:lnTo>
                    <a:lnTo>
                      <a:pt x="1297" y="968"/>
                    </a:lnTo>
                    <a:lnTo>
                      <a:pt x="1296" y="961"/>
                    </a:lnTo>
                    <a:lnTo>
                      <a:pt x="1295" y="958"/>
                    </a:lnTo>
                    <a:lnTo>
                      <a:pt x="1292" y="954"/>
                    </a:lnTo>
                    <a:lnTo>
                      <a:pt x="1292" y="954"/>
                    </a:lnTo>
                    <a:lnTo>
                      <a:pt x="1289" y="951"/>
                    </a:lnTo>
                    <a:lnTo>
                      <a:pt x="1285" y="948"/>
                    </a:lnTo>
                    <a:lnTo>
                      <a:pt x="1282" y="947"/>
                    </a:lnTo>
                    <a:lnTo>
                      <a:pt x="1277" y="947"/>
                    </a:lnTo>
                    <a:lnTo>
                      <a:pt x="1267" y="947"/>
                    </a:lnTo>
                    <a:lnTo>
                      <a:pt x="1257" y="948"/>
                    </a:lnTo>
                    <a:lnTo>
                      <a:pt x="1234" y="954"/>
                    </a:lnTo>
                    <a:lnTo>
                      <a:pt x="1215" y="960"/>
                    </a:lnTo>
                    <a:lnTo>
                      <a:pt x="1215" y="960"/>
                    </a:lnTo>
                    <a:lnTo>
                      <a:pt x="1234" y="946"/>
                    </a:lnTo>
                    <a:lnTo>
                      <a:pt x="1250" y="937"/>
                    </a:lnTo>
                    <a:lnTo>
                      <a:pt x="1265" y="931"/>
                    </a:lnTo>
                    <a:lnTo>
                      <a:pt x="1273" y="929"/>
                    </a:lnTo>
                    <a:lnTo>
                      <a:pt x="1280" y="928"/>
                    </a:lnTo>
                    <a:lnTo>
                      <a:pt x="1295" y="928"/>
                    </a:lnTo>
                    <a:lnTo>
                      <a:pt x="1312" y="929"/>
                    </a:lnTo>
                    <a:lnTo>
                      <a:pt x="1330" y="932"/>
                    </a:lnTo>
                    <a:lnTo>
                      <a:pt x="1353" y="938"/>
                    </a:lnTo>
                    <a:lnTo>
                      <a:pt x="1353" y="938"/>
                    </a:lnTo>
                    <a:lnTo>
                      <a:pt x="1365" y="939"/>
                    </a:lnTo>
                    <a:lnTo>
                      <a:pt x="1373" y="940"/>
                    </a:lnTo>
                    <a:lnTo>
                      <a:pt x="1381" y="938"/>
                    </a:lnTo>
                    <a:lnTo>
                      <a:pt x="1387" y="934"/>
                    </a:lnTo>
                    <a:lnTo>
                      <a:pt x="1393" y="930"/>
                    </a:lnTo>
                    <a:lnTo>
                      <a:pt x="1398" y="924"/>
                    </a:lnTo>
                    <a:lnTo>
                      <a:pt x="1413" y="907"/>
                    </a:lnTo>
                    <a:lnTo>
                      <a:pt x="1413" y="907"/>
                    </a:lnTo>
                    <a:lnTo>
                      <a:pt x="1420" y="902"/>
                    </a:lnTo>
                    <a:lnTo>
                      <a:pt x="1429" y="898"/>
                    </a:lnTo>
                    <a:lnTo>
                      <a:pt x="1440" y="894"/>
                    </a:lnTo>
                    <a:lnTo>
                      <a:pt x="1451" y="892"/>
                    </a:lnTo>
                    <a:lnTo>
                      <a:pt x="1474" y="887"/>
                    </a:lnTo>
                    <a:lnTo>
                      <a:pt x="1494" y="884"/>
                    </a:lnTo>
                    <a:lnTo>
                      <a:pt x="1494" y="884"/>
                    </a:lnTo>
                    <a:lnTo>
                      <a:pt x="1497" y="883"/>
                    </a:lnTo>
                    <a:lnTo>
                      <a:pt x="1501" y="880"/>
                    </a:lnTo>
                    <a:lnTo>
                      <a:pt x="1503" y="878"/>
                    </a:lnTo>
                    <a:lnTo>
                      <a:pt x="1504" y="875"/>
                    </a:lnTo>
                    <a:lnTo>
                      <a:pt x="1504" y="868"/>
                    </a:lnTo>
                    <a:lnTo>
                      <a:pt x="1502" y="860"/>
                    </a:lnTo>
                    <a:lnTo>
                      <a:pt x="1498" y="849"/>
                    </a:lnTo>
                    <a:lnTo>
                      <a:pt x="1493" y="839"/>
                    </a:lnTo>
                    <a:lnTo>
                      <a:pt x="1479" y="816"/>
                    </a:lnTo>
                    <a:lnTo>
                      <a:pt x="1462" y="793"/>
                    </a:lnTo>
                    <a:lnTo>
                      <a:pt x="1446" y="773"/>
                    </a:lnTo>
                    <a:lnTo>
                      <a:pt x="1427" y="750"/>
                    </a:lnTo>
                    <a:lnTo>
                      <a:pt x="1427" y="750"/>
                    </a:lnTo>
                    <a:lnTo>
                      <a:pt x="1422" y="745"/>
                    </a:lnTo>
                    <a:lnTo>
                      <a:pt x="1420" y="738"/>
                    </a:lnTo>
                    <a:lnTo>
                      <a:pt x="1417" y="730"/>
                    </a:lnTo>
                    <a:lnTo>
                      <a:pt x="1414" y="721"/>
                    </a:lnTo>
                    <a:lnTo>
                      <a:pt x="1411" y="701"/>
                    </a:lnTo>
                    <a:lnTo>
                      <a:pt x="1409" y="680"/>
                    </a:lnTo>
                    <a:lnTo>
                      <a:pt x="1405" y="636"/>
                    </a:lnTo>
                    <a:lnTo>
                      <a:pt x="1404" y="618"/>
                    </a:lnTo>
                    <a:lnTo>
                      <a:pt x="1403" y="602"/>
                    </a:lnTo>
                    <a:lnTo>
                      <a:pt x="1403" y="602"/>
                    </a:lnTo>
                    <a:lnTo>
                      <a:pt x="1386" y="616"/>
                    </a:lnTo>
                    <a:lnTo>
                      <a:pt x="1363" y="634"/>
                    </a:lnTo>
                    <a:lnTo>
                      <a:pt x="1351" y="642"/>
                    </a:lnTo>
                    <a:lnTo>
                      <a:pt x="1341" y="649"/>
                    </a:lnTo>
                    <a:lnTo>
                      <a:pt x="1330" y="655"/>
                    </a:lnTo>
                    <a:lnTo>
                      <a:pt x="1326" y="656"/>
                    </a:lnTo>
                    <a:lnTo>
                      <a:pt x="1322" y="656"/>
                    </a:lnTo>
                    <a:lnTo>
                      <a:pt x="1322" y="656"/>
                    </a:lnTo>
                    <a:lnTo>
                      <a:pt x="1314" y="655"/>
                    </a:lnTo>
                    <a:lnTo>
                      <a:pt x="1309" y="654"/>
                    </a:lnTo>
                    <a:lnTo>
                      <a:pt x="1304" y="650"/>
                    </a:lnTo>
                    <a:lnTo>
                      <a:pt x="1302" y="647"/>
                    </a:lnTo>
                    <a:lnTo>
                      <a:pt x="1300" y="643"/>
                    </a:lnTo>
                    <a:lnTo>
                      <a:pt x="1299" y="639"/>
                    </a:lnTo>
                    <a:lnTo>
                      <a:pt x="1300" y="634"/>
                    </a:lnTo>
                    <a:lnTo>
                      <a:pt x="1302" y="628"/>
                    </a:lnTo>
                    <a:lnTo>
                      <a:pt x="1306" y="617"/>
                    </a:lnTo>
                    <a:lnTo>
                      <a:pt x="1311" y="606"/>
                    </a:lnTo>
                    <a:lnTo>
                      <a:pt x="1314" y="596"/>
                    </a:lnTo>
                    <a:lnTo>
                      <a:pt x="1314" y="591"/>
                    </a:lnTo>
                    <a:lnTo>
                      <a:pt x="1314" y="587"/>
                    </a:lnTo>
                    <a:lnTo>
                      <a:pt x="1314" y="587"/>
                    </a:lnTo>
                    <a:lnTo>
                      <a:pt x="1312" y="579"/>
                    </a:lnTo>
                    <a:lnTo>
                      <a:pt x="1307" y="570"/>
                    </a:lnTo>
                    <a:lnTo>
                      <a:pt x="1302" y="560"/>
                    </a:lnTo>
                    <a:lnTo>
                      <a:pt x="1294" y="551"/>
                    </a:lnTo>
                    <a:lnTo>
                      <a:pt x="1284" y="542"/>
                    </a:lnTo>
                    <a:lnTo>
                      <a:pt x="1275" y="533"/>
                    </a:lnTo>
                    <a:lnTo>
                      <a:pt x="1264" y="525"/>
                    </a:lnTo>
                    <a:lnTo>
                      <a:pt x="1253" y="518"/>
                    </a:lnTo>
                    <a:lnTo>
                      <a:pt x="1242" y="511"/>
                    </a:lnTo>
                    <a:lnTo>
                      <a:pt x="1230" y="506"/>
                    </a:lnTo>
                    <a:lnTo>
                      <a:pt x="1219" y="502"/>
                    </a:lnTo>
                    <a:lnTo>
                      <a:pt x="1208" y="500"/>
                    </a:lnTo>
                    <a:lnTo>
                      <a:pt x="1199" y="500"/>
                    </a:lnTo>
                    <a:lnTo>
                      <a:pt x="1191" y="502"/>
                    </a:lnTo>
                    <a:lnTo>
                      <a:pt x="1186" y="504"/>
                    </a:lnTo>
                    <a:lnTo>
                      <a:pt x="1183" y="506"/>
                    </a:lnTo>
                    <a:lnTo>
                      <a:pt x="1181" y="510"/>
                    </a:lnTo>
                    <a:lnTo>
                      <a:pt x="1178" y="513"/>
                    </a:lnTo>
                    <a:lnTo>
                      <a:pt x="1178" y="513"/>
                    </a:lnTo>
                    <a:lnTo>
                      <a:pt x="1123" y="621"/>
                    </a:lnTo>
                    <a:lnTo>
                      <a:pt x="1123" y="621"/>
                    </a:lnTo>
                    <a:lnTo>
                      <a:pt x="1120" y="629"/>
                    </a:lnTo>
                    <a:lnTo>
                      <a:pt x="1119" y="639"/>
                    </a:lnTo>
                    <a:lnTo>
                      <a:pt x="1119" y="649"/>
                    </a:lnTo>
                    <a:lnTo>
                      <a:pt x="1120" y="659"/>
                    </a:lnTo>
                    <a:lnTo>
                      <a:pt x="1120" y="669"/>
                    </a:lnTo>
                    <a:lnTo>
                      <a:pt x="1120" y="679"/>
                    </a:lnTo>
                    <a:lnTo>
                      <a:pt x="1119" y="688"/>
                    </a:lnTo>
                    <a:lnTo>
                      <a:pt x="1116" y="696"/>
                    </a:lnTo>
                    <a:lnTo>
                      <a:pt x="1116" y="696"/>
                    </a:lnTo>
                    <a:lnTo>
                      <a:pt x="1107" y="717"/>
                    </a:lnTo>
                    <a:lnTo>
                      <a:pt x="1102" y="727"/>
                    </a:lnTo>
                    <a:lnTo>
                      <a:pt x="1099" y="731"/>
                    </a:lnTo>
                    <a:lnTo>
                      <a:pt x="1097" y="734"/>
                    </a:lnTo>
                    <a:lnTo>
                      <a:pt x="1097" y="734"/>
                    </a:lnTo>
                    <a:lnTo>
                      <a:pt x="1092" y="735"/>
                    </a:lnTo>
                    <a:lnTo>
                      <a:pt x="1085" y="735"/>
                    </a:lnTo>
                    <a:lnTo>
                      <a:pt x="1070" y="734"/>
                    </a:lnTo>
                    <a:lnTo>
                      <a:pt x="1063" y="733"/>
                    </a:lnTo>
                    <a:lnTo>
                      <a:pt x="1056" y="733"/>
                    </a:lnTo>
                    <a:lnTo>
                      <a:pt x="1051" y="733"/>
                    </a:lnTo>
                    <a:lnTo>
                      <a:pt x="1046" y="735"/>
                    </a:lnTo>
                    <a:lnTo>
                      <a:pt x="1046" y="735"/>
                    </a:lnTo>
                    <a:lnTo>
                      <a:pt x="1044" y="740"/>
                    </a:lnTo>
                    <a:lnTo>
                      <a:pt x="1041" y="745"/>
                    </a:lnTo>
                    <a:lnTo>
                      <a:pt x="1040" y="749"/>
                    </a:lnTo>
                    <a:lnTo>
                      <a:pt x="1039" y="755"/>
                    </a:lnTo>
                    <a:lnTo>
                      <a:pt x="1039" y="768"/>
                    </a:lnTo>
                    <a:lnTo>
                      <a:pt x="1040" y="780"/>
                    </a:lnTo>
                    <a:lnTo>
                      <a:pt x="1040" y="794"/>
                    </a:lnTo>
                    <a:lnTo>
                      <a:pt x="1040" y="808"/>
                    </a:lnTo>
                    <a:lnTo>
                      <a:pt x="1039" y="814"/>
                    </a:lnTo>
                    <a:lnTo>
                      <a:pt x="1038" y="819"/>
                    </a:lnTo>
                    <a:lnTo>
                      <a:pt x="1036" y="825"/>
                    </a:lnTo>
                    <a:lnTo>
                      <a:pt x="1032" y="830"/>
                    </a:lnTo>
                    <a:lnTo>
                      <a:pt x="1032" y="830"/>
                    </a:lnTo>
                    <a:lnTo>
                      <a:pt x="1023" y="841"/>
                    </a:lnTo>
                    <a:lnTo>
                      <a:pt x="1016" y="847"/>
                    </a:lnTo>
                    <a:lnTo>
                      <a:pt x="1013" y="848"/>
                    </a:lnTo>
                    <a:lnTo>
                      <a:pt x="1010" y="849"/>
                    </a:lnTo>
                    <a:lnTo>
                      <a:pt x="1008" y="848"/>
                    </a:lnTo>
                    <a:lnTo>
                      <a:pt x="1007" y="846"/>
                    </a:lnTo>
                    <a:lnTo>
                      <a:pt x="1005" y="840"/>
                    </a:lnTo>
                    <a:lnTo>
                      <a:pt x="1005" y="831"/>
                    </a:lnTo>
                    <a:lnTo>
                      <a:pt x="1005" y="819"/>
                    </a:lnTo>
                    <a:lnTo>
                      <a:pt x="1006" y="807"/>
                    </a:lnTo>
                    <a:lnTo>
                      <a:pt x="1013" y="753"/>
                    </a:lnTo>
                    <a:lnTo>
                      <a:pt x="1013" y="741"/>
                    </a:lnTo>
                    <a:lnTo>
                      <a:pt x="1014" y="732"/>
                    </a:lnTo>
                    <a:lnTo>
                      <a:pt x="1013" y="725"/>
                    </a:lnTo>
                    <a:lnTo>
                      <a:pt x="1011" y="723"/>
                    </a:lnTo>
                    <a:lnTo>
                      <a:pt x="1010" y="721"/>
                    </a:lnTo>
                    <a:lnTo>
                      <a:pt x="1010" y="721"/>
                    </a:lnTo>
                    <a:lnTo>
                      <a:pt x="986" y="711"/>
                    </a:lnTo>
                    <a:lnTo>
                      <a:pt x="962" y="700"/>
                    </a:lnTo>
                    <a:lnTo>
                      <a:pt x="940" y="688"/>
                    </a:lnTo>
                    <a:lnTo>
                      <a:pt x="921" y="674"/>
                    </a:lnTo>
                    <a:lnTo>
                      <a:pt x="910" y="667"/>
                    </a:lnTo>
                    <a:lnTo>
                      <a:pt x="902" y="659"/>
                    </a:lnTo>
                    <a:lnTo>
                      <a:pt x="893" y="651"/>
                    </a:lnTo>
                    <a:lnTo>
                      <a:pt x="885" y="642"/>
                    </a:lnTo>
                    <a:lnTo>
                      <a:pt x="878" y="632"/>
                    </a:lnTo>
                    <a:lnTo>
                      <a:pt x="871" y="620"/>
                    </a:lnTo>
                    <a:lnTo>
                      <a:pt x="864" y="609"/>
                    </a:lnTo>
                    <a:lnTo>
                      <a:pt x="858" y="596"/>
                    </a:lnTo>
                    <a:lnTo>
                      <a:pt x="858" y="596"/>
                    </a:lnTo>
                    <a:lnTo>
                      <a:pt x="856" y="591"/>
                    </a:lnTo>
                    <a:lnTo>
                      <a:pt x="853" y="587"/>
                    </a:lnTo>
                    <a:lnTo>
                      <a:pt x="849" y="584"/>
                    </a:lnTo>
                    <a:lnTo>
                      <a:pt x="846" y="582"/>
                    </a:lnTo>
                    <a:lnTo>
                      <a:pt x="836" y="579"/>
                    </a:lnTo>
                    <a:lnTo>
                      <a:pt x="828" y="575"/>
                    </a:lnTo>
                    <a:lnTo>
                      <a:pt x="826" y="574"/>
                    </a:lnTo>
                    <a:lnTo>
                      <a:pt x="823" y="572"/>
                    </a:lnTo>
                    <a:lnTo>
                      <a:pt x="822" y="570"/>
                    </a:lnTo>
                    <a:lnTo>
                      <a:pt x="820" y="567"/>
                    </a:lnTo>
                    <a:lnTo>
                      <a:pt x="822" y="563"/>
                    </a:lnTo>
                    <a:lnTo>
                      <a:pt x="823" y="558"/>
                    </a:lnTo>
                    <a:lnTo>
                      <a:pt x="826" y="552"/>
                    </a:lnTo>
                    <a:lnTo>
                      <a:pt x="832" y="545"/>
                    </a:lnTo>
                    <a:lnTo>
                      <a:pt x="832" y="545"/>
                    </a:lnTo>
                    <a:lnTo>
                      <a:pt x="846" y="525"/>
                    </a:lnTo>
                    <a:lnTo>
                      <a:pt x="861" y="504"/>
                    </a:lnTo>
                    <a:lnTo>
                      <a:pt x="868" y="494"/>
                    </a:lnTo>
                    <a:lnTo>
                      <a:pt x="876" y="484"/>
                    </a:lnTo>
                    <a:lnTo>
                      <a:pt x="885" y="475"/>
                    </a:lnTo>
                    <a:lnTo>
                      <a:pt x="894" y="467"/>
                    </a:lnTo>
                    <a:lnTo>
                      <a:pt x="894" y="467"/>
                    </a:lnTo>
                    <a:lnTo>
                      <a:pt x="915" y="451"/>
                    </a:lnTo>
                    <a:lnTo>
                      <a:pt x="934" y="436"/>
                    </a:lnTo>
                    <a:lnTo>
                      <a:pt x="945" y="430"/>
                    </a:lnTo>
                    <a:lnTo>
                      <a:pt x="956" y="424"/>
                    </a:lnTo>
                    <a:lnTo>
                      <a:pt x="968" y="420"/>
                    </a:lnTo>
                    <a:lnTo>
                      <a:pt x="980" y="416"/>
                    </a:lnTo>
                    <a:lnTo>
                      <a:pt x="980" y="416"/>
                    </a:lnTo>
                    <a:lnTo>
                      <a:pt x="992" y="413"/>
                    </a:lnTo>
                    <a:lnTo>
                      <a:pt x="1003" y="408"/>
                    </a:lnTo>
                    <a:lnTo>
                      <a:pt x="1014" y="403"/>
                    </a:lnTo>
                    <a:lnTo>
                      <a:pt x="1023" y="395"/>
                    </a:lnTo>
                    <a:lnTo>
                      <a:pt x="1026" y="391"/>
                    </a:lnTo>
                    <a:lnTo>
                      <a:pt x="1029" y="386"/>
                    </a:lnTo>
                    <a:lnTo>
                      <a:pt x="1031" y="381"/>
                    </a:lnTo>
                    <a:lnTo>
                      <a:pt x="1032" y="376"/>
                    </a:lnTo>
                    <a:lnTo>
                      <a:pt x="1033" y="370"/>
                    </a:lnTo>
                    <a:lnTo>
                      <a:pt x="1032" y="365"/>
                    </a:lnTo>
                    <a:lnTo>
                      <a:pt x="1030" y="359"/>
                    </a:lnTo>
                    <a:lnTo>
                      <a:pt x="1026" y="352"/>
                    </a:lnTo>
                    <a:lnTo>
                      <a:pt x="1026" y="352"/>
                    </a:lnTo>
                    <a:lnTo>
                      <a:pt x="1043" y="347"/>
                    </a:lnTo>
                    <a:lnTo>
                      <a:pt x="1063" y="342"/>
                    </a:lnTo>
                    <a:lnTo>
                      <a:pt x="1073" y="339"/>
                    </a:lnTo>
                    <a:lnTo>
                      <a:pt x="1082" y="338"/>
                    </a:lnTo>
                    <a:lnTo>
                      <a:pt x="1091" y="338"/>
                    </a:lnTo>
                    <a:lnTo>
                      <a:pt x="1098" y="339"/>
                    </a:lnTo>
                    <a:lnTo>
                      <a:pt x="1098" y="339"/>
                    </a:lnTo>
                    <a:lnTo>
                      <a:pt x="1110" y="346"/>
                    </a:lnTo>
                    <a:lnTo>
                      <a:pt x="1121" y="350"/>
                    </a:lnTo>
                    <a:lnTo>
                      <a:pt x="1130" y="352"/>
                    </a:lnTo>
                    <a:lnTo>
                      <a:pt x="1138" y="352"/>
                    </a:lnTo>
                    <a:lnTo>
                      <a:pt x="1145" y="351"/>
                    </a:lnTo>
                    <a:lnTo>
                      <a:pt x="1154" y="347"/>
                    </a:lnTo>
                    <a:lnTo>
                      <a:pt x="1177" y="335"/>
                    </a:lnTo>
                    <a:lnTo>
                      <a:pt x="1177" y="335"/>
                    </a:lnTo>
                    <a:lnTo>
                      <a:pt x="1181" y="332"/>
                    </a:lnTo>
                    <a:lnTo>
                      <a:pt x="1183" y="329"/>
                    </a:lnTo>
                    <a:lnTo>
                      <a:pt x="1188" y="320"/>
                    </a:lnTo>
                    <a:lnTo>
                      <a:pt x="1191" y="308"/>
                    </a:lnTo>
                    <a:lnTo>
                      <a:pt x="1193" y="296"/>
                    </a:lnTo>
                    <a:lnTo>
                      <a:pt x="1198" y="269"/>
                    </a:lnTo>
                    <a:lnTo>
                      <a:pt x="1200" y="249"/>
                    </a:lnTo>
                    <a:lnTo>
                      <a:pt x="1200" y="249"/>
                    </a:lnTo>
                    <a:lnTo>
                      <a:pt x="1200" y="247"/>
                    </a:lnTo>
                    <a:lnTo>
                      <a:pt x="1199" y="244"/>
                    </a:lnTo>
                    <a:lnTo>
                      <a:pt x="1196" y="237"/>
                    </a:lnTo>
                    <a:lnTo>
                      <a:pt x="1190" y="229"/>
                    </a:lnTo>
                    <a:lnTo>
                      <a:pt x="1182" y="221"/>
                    </a:lnTo>
                    <a:lnTo>
                      <a:pt x="1165" y="206"/>
                    </a:lnTo>
                    <a:lnTo>
                      <a:pt x="1152" y="194"/>
                    </a:lnTo>
                    <a:lnTo>
                      <a:pt x="1152" y="194"/>
                    </a:lnTo>
                    <a:lnTo>
                      <a:pt x="1174" y="199"/>
                    </a:lnTo>
                    <a:lnTo>
                      <a:pt x="1196" y="205"/>
                    </a:lnTo>
                    <a:lnTo>
                      <a:pt x="1218" y="214"/>
                    </a:lnTo>
                    <a:lnTo>
                      <a:pt x="1242" y="225"/>
                    </a:lnTo>
                    <a:lnTo>
                      <a:pt x="1242" y="225"/>
                    </a:lnTo>
                    <a:lnTo>
                      <a:pt x="1249" y="229"/>
                    </a:lnTo>
                    <a:lnTo>
                      <a:pt x="1254" y="233"/>
                    </a:lnTo>
                    <a:lnTo>
                      <a:pt x="1265" y="244"/>
                    </a:lnTo>
                    <a:lnTo>
                      <a:pt x="1281" y="268"/>
                    </a:lnTo>
                    <a:lnTo>
                      <a:pt x="1290" y="277"/>
                    </a:lnTo>
                    <a:lnTo>
                      <a:pt x="1296" y="282"/>
                    </a:lnTo>
                    <a:lnTo>
                      <a:pt x="1302" y="285"/>
                    </a:lnTo>
                    <a:lnTo>
                      <a:pt x="1307" y="286"/>
                    </a:lnTo>
                    <a:lnTo>
                      <a:pt x="1314" y="287"/>
                    </a:lnTo>
                    <a:lnTo>
                      <a:pt x="1322" y="286"/>
                    </a:lnTo>
                    <a:lnTo>
                      <a:pt x="1332" y="284"/>
                    </a:lnTo>
                    <a:lnTo>
                      <a:pt x="1332" y="284"/>
                    </a:lnTo>
                    <a:lnTo>
                      <a:pt x="1326" y="304"/>
                    </a:lnTo>
                    <a:lnTo>
                      <a:pt x="1318" y="329"/>
                    </a:lnTo>
                    <a:lnTo>
                      <a:pt x="1312" y="342"/>
                    </a:lnTo>
                    <a:lnTo>
                      <a:pt x="1305" y="354"/>
                    </a:lnTo>
                    <a:lnTo>
                      <a:pt x="1298" y="367"/>
                    </a:lnTo>
                    <a:lnTo>
                      <a:pt x="1290" y="377"/>
                    </a:lnTo>
                    <a:lnTo>
                      <a:pt x="1282" y="388"/>
                    </a:lnTo>
                    <a:lnTo>
                      <a:pt x="1273" y="396"/>
                    </a:lnTo>
                    <a:lnTo>
                      <a:pt x="1264" y="401"/>
                    </a:lnTo>
                    <a:lnTo>
                      <a:pt x="1259" y="404"/>
                    </a:lnTo>
                    <a:lnTo>
                      <a:pt x="1254" y="405"/>
                    </a:lnTo>
                    <a:lnTo>
                      <a:pt x="1250" y="405"/>
                    </a:lnTo>
                    <a:lnTo>
                      <a:pt x="1244" y="405"/>
                    </a:lnTo>
                    <a:lnTo>
                      <a:pt x="1239" y="404"/>
                    </a:lnTo>
                    <a:lnTo>
                      <a:pt x="1234" y="401"/>
                    </a:lnTo>
                    <a:lnTo>
                      <a:pt x="1228" y="398"/>
                    </a:lnTo>
                    <a:lnTo>
                      <a:pt x="1223" y="395"/>
                    </a:lnTo>
                    <a:lnTo>
                      <a:pt x="1218" y="389"/>
                    </a:lnTo>
                    <a:lnTo>
                      <a:pt x="1212" y="383"/>
                    </a:lnTo>
                    <a:lnTo>
                      <a:pt x="1212" y="383"/>
                    </a:lnTo>
                    <a:lnTo>
                      <a:pt x="1205" y="392"/>
                    </a:lnTo>
                    <a:lnTo>
                      <a:pt x="1200" y="403"/>
                    </a:lnTo>
                    <a:lnTo>
                      <a:pt x="1197" y="412"/>
                    </a:lnTo>
                    <a:lnTo>
                      <a:pt x="1195" y="420"/>
                    </a:lnTo>
                    <a:lnTo>
                      <a:pt x="1195" y="428"/>
                    </a:lnTo>
                    <a:lnTo>
                      <a:pt x="1195" y="435"/>
                    </a:lnTo>
                    <a:lnTo>
                      <a:pt x="1197" y="441"/>
                    </a:lnTo>
                    <a:lnTo>
                      <a:pt x="1200" y="445"/>
                    </a:lnTo>
                    <a:lnTo>
                      <a:pt x="1205" y="449"/>
                    </a:lnTo>
                    <a:lnTo>
                      <a:pt x="1211" y="452"/>
                    </a:lnTo>
                    <a:lnTo>
                      <a:pt x="1218" y="453"/>
                    </a:lnTo>
                    <a:lnTo>
                      <a:pt x="1224" y="453"/>
                    </a:lnTo>
                    <a:lnTo>
                      <a:pt x="1234" y="452"/>
                    </a:lnTo>
                    <a:lnTo>
                      <a:pt x="1243" y="449"/>
                    </a:lnTo>
                    <a:lnTo>
                      <a:pt x="1253" y="444"/>
                    </a:lnTo>
                    <a:lnTo>
                      <a:pt x="1264" y="438"/>
                    </a:lnTo>
                    <a:lnTo>
                      <a:pt x="1264" y="438"/>
                    </a:lnTo>
                    <a:lnTo>
                      <a:pt x="1269" y="457"/>
                    </a:lnTo>
                    <a:lnTo>
                      <a:pt x="1276" y="481"/>
                    </a:lnTo>
                    <a:lnTo>
                      <a:pt x="1281" y="492"/>
                    </a:lnTo>
                    <a:lnTo>
                      <a:pt x="1285" y="503"/>
                    </a:lnTo>
                    <a:lnTo>
                      <a:pt x="1290" y="511"/>
                    </a:lnTo>
                    <a:lnTo>
                      <a:pt x="1294" y="514"/>
                    </a:lnTo>
                    <a:lnTo>
                      <a:pt x="1297" y="517"/>
                    </a:lnTo>
                    <a:lnTo>
                      <a:pt x="1297" y="517"/>
                    </a:lnTo>
                    <a:lnTo>
                      <a:pt x="1340" y="546"/>
                    </a:lnTo>
                    <a:lnTo>
                      <a:pt x="1353" y="556"/>
                    </a:lnTo>
                    <a:lnTo>
                      <a:pt x="1366" y="563"/>
                    </a:lnTo>
                    <a:lnTo>
                      <a:pt x="1375" y="567"/>
                    </a:lnTo>
                    <a:lnTo>
                      <a:pt x="1378" y="567"/>
                    </a:lnTo>
                    <a:lnTo>
                      <a:pt x="1380" y="567"/>
                    </a:lnTo>
                    <a:lnTo>
                      <a:pt x="1380" y="567"/>
                    </a:lnTo>
                    <a:lnTo>
                      <a:pt x="1393" y="552"/>
                    </a:lnTo>
                    <a:lnTo>
                      <a:pt x="1413" y="528"/>
                    </a:lnTo>
                    <a:lnTo>
                      <a:pt x="1422" y="517"/>
                    </a:lnTo>
                    <a:lnTo>
                      <a:pt x="1431" y="506"/>
                    </a:lnTo>
                    <a:lnTo>
                      <a:pt x="1434" y="497"/>
                    </a:lnTo>
                    <a:lnTo>
                      <a:pt x="1435" y="494"/>
                    </a:lnTo>
                    <a:lnTo>
                      <a:pt x="1435" y="491"/>
                    </a:lnTo>
                    <a:lnTo>
                      <a:pt x="1435" y="491"/>
                    </a:lnTo>
                    <a:lnTo>
                      <a:pt x="1427" y="481"/>
                    </a:lnTo>
                    <a:lnTo>
                      <a:pt x="1419" y="469"/>
                    </a:lnTo>
                    <a:lnTo>
                      <a:pt x="1410" y="457"/>
                    </a:lnTo>
                    <a:lnTo>
                      <a:pt x="1403" y="444"/>
                    </a:lnTo>
                    <a:lnTo>
                      <a:pt x="1399" y="438"/>
                    </a:lnTo>
                    <a:lnTo>
                      <a:pt x="1397" y="433"/>
                    </a:lnTo>
                    <a:lnTo>
                      <a:pt x="1396" y="426"/>
                    </a:lnTo>
                    <a:lnTo>
                      <a:pt x="1396" y="420"/>
                    </a:lnTo>
                    <a:lnTo>
                      <a:pt x="1397" y="414"/>
                    </a:lnTo>
                    <a:lnTo>
                      <a:pt x="1399" y="409"/>
                    </a:lnTo>
                    <a:lnTo>
                      <a:pt x="1404" y="405"/>
                    </a:lnTo>
                    <a:lnTo>
                      <a:pt x="1410" y="400"/>
                    </a:lnTo>
                    <a:lnTo>
                      <a:pt x="1410" y="400"/>
                    </a:lnTo>
                    <a:lnTo>
                      <a:pt x="1447" y="460"/>
                    </a:lnTo>
                    <a:lnTo>
                      <a:pt x="1447" y="460"/>
                    </a:lnTo>
                    <a:lnTo>
                      <a:pt x="1464" y="447"/>
                    </a:lnTo>
                    <a:lnTo>
                      <a:pt x="1487" y="430"/>
                    </a:lnTo>
                    <a:lnTo>
                      <a:pt x="1500" y="421"/>
                    </a:lnTo>
                    <a:lnTo>
                      <a:pt x="1509" y="412"/>
                    </a:lnTo>
                    <a:lnTo>
                      <a:pt x="1517" y="403"/>
                    </a:lnTo>
                    <a:lnTo>
                      <a:pt x="1519" y="399"/>
                    </a:lnTo>
                    <a:lnTo>
                      <a:pt x="1520" y="396"/>
                    </a:lnTo>
                    <a:lnTo>
                      <a:pt x="1520" y="396"/>
                    </a:lnTo>
                    <a:lnTo>
                      <a:pt x="1521" y="388"/>
                    </a:lnTo>
                    <a:lnTo>
                      <a:pt x="1521" y="381"/>
                    </a:lnTo>
                    <a:lnTo>
                      <a:pt x="1519" y="376"/>
                    </a:lnTo>
                    <a:lnTo>
                      <a:pt x="1517" y="371"/>
                    </a:lnTo>
                    <a:lnTo>
                      <a:pt x="1513" y="369"/>
                    </a:lnTo>
                    <a:lnTo>
                      <a:pt x="1510" y="367"/>
                    </a:lnTo>
                    <a:lnTo>
                      <a:pt x="1505" y="366"/>
                    </a:lnTo>
                    <a:lnTo>
                      <a:pt x="1501" y="366"/>
                    </a:lnTo>
                    <a:lnTo>
                      <a:pt x="1489" y="367"/>
                    </a:lnTo>
                    <a:lnTo>
                      <a:pt x="1478" y="369"/>
                    </a:lnTo>
                    <a:lnTo>
                      <a:pt x="1459" y="375"/>
                    </a:lnTo>
                    <a:lnTo>
                      <a:pt x="1459" y="375"/>
                    </a:lnTo>
                    <a:lnTo>
                      <a:pt x="1446" y="338"/>
                    </a:lnTo>
                    <a:lnTo>
                      <a:pt x="1441" y="323"/>
                    </a:lnTo>
                    <a:lnTo>
                      <a:pt x="1439" y="310"/>
                    </a:lnTo>
                    <a:lnTo>
                      <a:pt x="1439" y="305"/>
                    </a:lnTo>
                    <a:lnTo>
                      <a:pt x="1439" y="298"/>
                    </a:lnTo>
                    <a:lnTo>
                      <a:pt x="1440" y="291"/>
                    </a:lnTo>
                    <a:lnTo>
                      <a:pt x="1442" y="284"/>
                    </a:lnTo>
                    <a:lnTo>
                      <a:pt x="1449" y="269"/>
                    </a:lnTo>
                    <a:lnTo>
                      <a:pt x="1459" y="251"/>
                    </a:lnTo>
                    <a:lnTo>
                      <a:pt x="1459" y="251"/>
                    </a:lnTo>
                    <a:lnTo>
                      <a:pt x="1459" y="248"/>
                    </a:lnTo>
                    <a:lnTo>
                      <a:pt x="1459" y="246"/>
                    </a:lnTo>
                    <a:lnTo>
                      <a:pt x="1456" y="239"/>
                    </a:lnTo>
                    <a:lnTo>
                      <a:pt x="1449" y="231"/>
                    </a:lnTo>
                    <a:lnTo>
                      <a:pt x="1441" y="222"/>
                    </a:lnTo>
                    <a:lnTo>
                      <a:pt x="1425" y="206"/>
                    </a:lnTo>
                    <a:lnTo>
                      <a:pt x="1413" y="195"/>
                    </a:lnTo>
                    <a:lnTo>
                      <a:pt x="1413" y="195"/>
                    </a:lnTo>
                    <a:lnTo>
                      <a:pt x="1406" y="188"/>
                    </a:lnTo>
                    <a:lnTo>
                      <a:pt x="1401" y="184"/>
                    </a:lnTo>
                    <a:lnTo>
                      <a:pt x="1395" y="182"/>
                    </a:lnTo>
                    <a:lnTo>
                      <a:pt x="1390" y="182"/>
                    </a:lnTo>
                    <a:lnTo>
                      <a:pt x="1386" y="183"/>
                    </a:lnTo>
                    <a:lnTo>
                      <a:pt x="1380" y="186"/>
                    </a:lnTo>
                    <a:lnTo>
                      <a:pt x="1365" y="199"/>
                    </a:lnTo>
                    <a:lnTo>
                      <a:pt x="1365" y="199"/>
                    </a:lnTo>
                    <a:lnTo>
                      <a:pt x="1358" y="184"/>
                    </a:lnTo>
                    <a:lnTo>
                      <a:pt x="1353" y="171"/>
                    </a:lnTo>
                    <a:lnTo>
                      <a:pt x="1349" y="160"/>
                    </a:lnTo>
                    <a:lnTo>
                      <a:pt x="1344" y="150"/>
                    </a:lnTo>
                    <a:lnTo>
                      <a:pt x="1341" y="146"/>
                    </a:lnTo>
                    <a:lnTo>
                      <a:pt x="1337" y="144"/>
                    </a:lnTo>
                    <a:lnTo>
                      <a:pt x="1334" y="140"/>
                    </a:lnTo>
                    <a:lnTo>
                      <a:pt x="1329" y="138"/>
                    </a:lnTo>
                    <a:lnTo>
                      <a:pt x="1323" y="137"/>
                    </a:lnTo>
                    <a:lnTo>
                      <a:pt x="1318" y="137"/>
                    </a:lnTo>
                    <a:lnTo>
                      <a:pt x="1302" y="137"/>
                    </a:lnTo>
                    <a:lnTo>
                      <a:pt x="1302" y="137"/>
                    </a:lnTo>
                    <a:lnTo>
                      <a:pt x="1294" y="138"/>
                    </a:lnTo>
                    <a:lnTo>
                      <a:pt x="1285" y="138"/>
                    </a:lnTo>
                    <a:lnTo>
                      <a:pt x="1279" y="137"/>
                    </a:lnTo>
                    <a:lnTo>
                      <a:pt x="1274" y="134"/>
                    </a:lnTo>
                    <a:lnTo>
                      <a:pt x="1269" y="131"/>
                    </a:lnTo>
                    <a:lnTo>
                      <a:pt x="1266" y="127"/>
                    </a:lnTo>
                    <a:lnTo>
                      <a:pt x="1264" y="122"/>
                    </a:lnTo>
                    <a:lnTo>
                      <a:pt x="1261" y="117"/>
                    </a:lnTo>
                    <a:lnTo>
                      <a:pt x="1258" y="104"/>
                    </a:lnTo>
                    <a:lnTo>
                      <a:pt x="1257" y="89"/>
                    </a:lnTo>
                    <a:lnTo>
                      <a:pt x="1254" y="73"/>
                    </a:lnTo>
                    <a:lnTo>
                      <a:pt x="1251" y="56"/>
                    </a:lnTo>
                    <a:lnTo>
                      <a:pt x="1251" y="56"/>
                    </a:lnTo>
                    <a:lnTo>
                      <a:pt x="1192" y="97"/>
                    </a:lnTo>
                    <a:lnTo>
                      <a:pt x="1192" y="97"/>
                    </a:lnTo>
                    <a:lnTo>
                      <a:pt x="1190" y="100"/>
                    </a:lnTo>
                    <a:lnTo>
                      <a:pt x="1188" y="103"/>
                    </a:lnTo>
                    <a:lnTo>
                      <a:pt x="1186" y="107"/>
                    </a:lnTo>
                    <a:lnTo>
                      <a:pt x="1185" y="111"/>
                    </a:lnTo>
                    <a:lnTo>
                      <a:pt x="1185" y="119"/>
                    </a:lnTo>
                    <a:lnTo>
                      <a:pt x="1185" y="129"/>
                    </a:lnTo>
                    <a:lnTo>
                      <a:pt x="1185" y="135"/>
                    </a:lnTo>
                    <a:lnTo>
                      <a:pt x="1184" y="139"/>
                    </a:lnTo>
                    <a:lnTo>
                      <a:pt x="1183" y="141"/>
                    </a:lnTo>
                    <a:lnTo>
                      <a:pt x="1180" y="144"/>
                    </a:lnTo>
                    <a:lnTo>
                      <a:pt x="1176" y="145"/>
                    </a:lnTo>
                    <a:lnTo>
                      <a:pt x="1172" y="145"/>
                    </a:lnTo>
                    <a:lnTo>
                      <a:pt x="1166" y="144"/>
                    </a:lnTo>
                    <a:lnTo>
                      <a:pt x="1166" y="144"/>
                    </a:lnTo>
                    <a:lnTo>
                      <a:pt x="1165" y="135"/>
                    </a:lnTo>
                    <a:lnTo>
                      <a:pt x="1166" y="129"/>
                    </a:lnTo>
                    <a:lnTo>
                      <a:pt x="1168" y="115"/>
                    </a:lnTo>
                    <a:lnTo>
                      <a:pt x="1174" y="102"/>
                    </a:lnTo>
                    <a:lnTo>
                      <a:pt x="1180" y="89"/>
                    </a:lnTo>
                    <a:lnTo>
                      <a:pt x="1188" y="77"/>
                    </a:lnTo>
                    <a:lnTo>
                      <a:pt x="1197" y="65"/>
                    </a:lnTo>
                    <a:lnTo>
                      <a:pt x="1214" y="42"/>
                    </a:lnTo>
                    <a:lnTo>
                      <a:pt x="1214" y="42"/>
                    </a:lnTo>
                    <a:lnTo>
                      <a:pt x="1185" y="40"/>
                    </a:lnTo>
                    <a:lnTo>
                      <a:pt x="1170" y="40"/>
                    </a:lnTo>
                    <a:lnTo>
                      <a:pt x="1157" y="41"/>
                    </a:lnTo>
                    <a:lnTo>
                      <a:pt x="1143" y="43"/>
                    </a:lnTo>
                    <a:lnTo>
                      <a:pt x="1130" y="49"/>
                    </a:lnTo>
                    <a:lnTo>
                      <a:pt x="1124" y="53"/>
                    </a:lnTo>
                    <a:lnTo>
                      <a:pt x="1119" y="57"/>
                    </a:lnTo>
                    <a:lnTo>
                      <a:pt x="1113" y="62"/>
                    </a:lnTo>
                    <a:lnTo>
                      <a:pt x="1108" y="69"/>
                    </a:lnTo>
                    <a:lnTo>
                      <a:pt x="1108" y="69"/>
                    </a:lnTo>
                    <a:lnTo>
                      <a:pt x="1106" y="72"/>
                    </a:lnTo>
                    <a:lnTo>
                      <a:pt x="1104" y="79"/>
                    </a:lnTo>
                    <a:lnTo>
                      <a:pt x="1099" y="94"/>
                    </a:lnTo>
                    <a:lnTo>
                      <a:pt x="1094" y="115"/>
                    </a:lnTo>
                    <a:lnTo>
                      <a:pt x="1092" y="135"/>
                    </a:lnTo>
                    <a:lnTo>
                      <a:pt x="1091" y="155"/>
                    </a:lnTo>
                    <a:lnTo>
                      <a:pt x="1092" y="172"/>
                    </a:lnTo>
                    <a:lnTo>
                      <a:pt x="1093" y="179"/>
                    </a:lnTo>
                    <a:lnTo>
                      <a:pt x="1096" y="185"/>
                    </a:lnTo>
                    <a:lnTo>
                      <a:pt x="1098" y="188"/>
                    </a:lnTo>
                    <a:lnTo>
                      <a:pt x="1102" y="190"/>
                    </a:lnTo>
                    <a:lnTo>
                      <a:pt x="1102" y="190"/>
                    </a:lnTo>
                    <a:lnTo>
                      <a:pt x="1128" y="191"/>
                    </a:lnTo>
                    <a:lnTo>
                      <a:pt x="1152" y="194"/>
                    </a:lnTo>
                    <a:lnTo>
                      <a:pt x="1152" y="194"/>
                    </a:lnTo>
                    <a:lnTo>
                      <a:pt x="1145" y="206"/>
                    </a:lnTo>
                    <a:lnTo>
                      <a:pt x="1138" y="220"/>
                    </a:lnTo>
                    <a:lnTo>
                      <a:pt x="1130" y="234"/>
                    </a:lnTo>
                    <a:lnTo>
                      <a:pt x="1121" y="248"/>
                    </a:lnTo>
                    <a:lnTo>
                      <a:pt x="1112" y="261"/>
                    </a:lnTo>
                    <a:lnTo>
                      <a:pt x="1106" y="266"/>
                    </a:lnTo>
                    <a:lnTo>
                      <a:pt x="1100" y="269"/>
                    </a:lnTo>
                    <a:lnTo>
                      <a:pt x="1094" y="271"/>
                    </a:lnTo>
                    <a:lnTo>
                      <a:pt x="1089" y="272"/>
                    </a:lnTo>
                    <a:lnTo>
                      <a:pt x="1082" y="272"/>
                    </a:lnTo>
                    <a:lnTo>
                      <a:pt x="1075" y="269"/>
                    </a:lnTo>
                    <a:lnTo>
                      <a:pt x="1075" y="269"/>
                    </a:lnTo>
                    <a:lnTo>
                      <a:pt x="1083" y="258"/>
                    </a:lnTo>
                    <a:lnTo>
                      <a:pt x="1093" y="243"/>
                    </a:lnTo>
                    <a:lnTo>
                      <a:pt x="1097" y="236"/>
                    </a:lnTo>
                    <a:lnTo>
                      <a:pt x="1098" y="230"/>
                    </a:lnTo>
                    <a:lnTo>
                      <a:pt x="1098" y="226"/>
                    </a:lnTo>
                    <a:lnTo>
                      <a:pt x="1098" y="224"/>
                    </a:lnTo>
                    <a:lnTo>
                      <a:pt x="1097" y="222"/>
                    </a:lnTo>
                    <a:lnTo>
                      <a:pt x="1094" y="220"/>
                    </a:lnTo>
                    <a:lnTo>
                      <a:pt x="1094" y="220"/>
                    </a:lnTo>
                    <a:lnTo>
                      <a:pt x="1086" y="216"/>
                    </a:lnTo>
                    <a:lnTo>
                      <a:pt x="1081" y="213"/>
                    </a:lnTo>
                    <a:lnTo>
                      <a:pt x="1074" y="211"/>
                    </a:lnTo>
                    <a:lnTo>
                      <a:pt x="1068" y="211"/>
                    </a:lnTo>
                    <a:lnTo>
                      <a:pt x="1063" y="214"/>
                    </a:lnTo>
                    <a:lnTo>
                      <a:pt x="1058" y="218"/>
                    </a:lnTo>
                    <a:lnTo>
                      <a:pt x="1052" y="224"/>
                    </a:lnTo>
                    <a:lnTo>
                      <a:pt x="1046" y="232"/>
                    </a:lnTo>
                    <a:lnTo>
                      <a:pt x="1046" y="232"/>
                    </a:lnTo>
                    <a:lnTo>
                      <a:pt x="1047" y="206"/>
                    </a:lnTo>
                    <a:lnTo>
                      <a:pt x="1047" y="179"/>
                    </a:lnTo>
                    <a:lnTo>
                      <a:pt x="1047" y="152"/>
                    </a:lnTo>
                    <a:lnTo>
                      <a:pt x="1047" y="139"/>
                    </a:lnTo>
                    <a:lnTo>
                      <a:pt x="1045" y="127"/>
                    </a:lnTo>
                    <a:lnTo>
                      <a:pt x="1043" y="116"/>
                    </a:lnTo>
                    <a:lnTo>
                      <a:pt x="1038" y="108"/>
                    </a:lnTo>
                    <a:lnTo>
                      <a:pt x="1033" y="101"/>
                    </a:lnTo>
                    <a:lnTo>
                      <a:pt x="1030" y="97"/>
                    </a:lnTo>
                    <a:lnTo>
                      <a:pt x="1026" y="95"/>
                    </a:lnTo>
                    <a:lnTo>
                      <a:pt x="1022" y="94"/>
                    </a:lnTo>
                    <a:lnTo>
                      <a:pt x="1017" y="93"/>
                    </a:lnTo>
                    <a:lnTo>
                      <a:pt x="1013" y="93"/>
                    </a:lnTo>
                    <a:lnTo>
                      <a:pt x="1007" y="93"/>
                    </a:lnTo>
                    <a:lnTo>
                      <a:pt x="993" y="96"/>
                    </a:lnTo>
                    <a:lnTo>
                      <a:pt x="978" y="103"/>
                    </a:lnTo>
                    <a:lnTo>
                      <a:pt x="978" y="103"/>
                    </a:lnTo>
                    <a:lnTo>
                      <a:pt x="971" y="108"/>
                    </a:lnTo>
                    <a:lnTo>
                      <a:pt x="965" y="111"/>
                    </a:lnTo>
                    <a:lnTo>
                      <a:pt x="962" y="116"/>
                    </a:lnTo>
                    <a:lnTo>
                      <a:pt x="960" y="121"/>
                    </a:lnTo>
                    <a:lnTo>
                      <a:pt x="959" y="125"/>
                    </a:lnTo>
                    <a:lnTo>
                      <a:pt x="960" y="129"/>
                    </a:lnTo>
                    <a:lnTo>
                      <a:pt x="962" y="139"/>
                    </a:lnTo>
                    <a:lnTo>
                      <a:pt x="967" y="148"/>
                    </a:lnTo>
                    <a:lnTo>
                      <a:pt x="971" y="157"/>
                    </a:lnTo>
                    <a:lnTo>
                      <a:pt x="976" y="168"/>
                    </a:lnTo>
                    <a:lnTo>
                      <a:pt x="977" y="173"/>
                    </a:lnTo>
                    <a:lnTo>
                      <a:pt x="977" y="178"/>
                    </a:lnTo>
                    <a:lnTo>
                      <a:pt x="977" y="178"/>
                    </a:lnTo>
                    <a:lnTo>
                      <a:pt x="976" y="192"/>
                    </a:lnTo>
                    <a:lnTo>
                      <a:pt x="972" y="203"/>
                    </a:lnTo>
                    <a:lnTo>
                      <a:pt x="967" y="213"/>
                    </a:lnTo>
                    <a:lnTo>
                      <a:pt x="961" y="220"/>
                    </a:lnTo>
                    <a:lnTo>
                      <a:pt x="947" y="236"/>
                    </a:lnTo>
                    <a:lnTo>
                      <a:pt x="939" y="245"/>
                    </a:lnTo>
                    <a:lnTo>
                      <a:pt x="932" y="255"/>
                    </a:lnTo>
                    <a:lnTo>
                      <a:pt x="932" y="255"/>
                    </a:lnTo>
                    <a:lnTo>
                      <a:pt x="931" y="248"/>
                    </a:lnTo>
                    <a:lnTo>
                      <a:pt x="933" y="241"/>
                    </a:lnTo>
                    <a:lnTo>
                      <a:pt x="934" y="234"/>
                    </a:lnTo>
                    <a:lnTo>
                      <a:pt x="938" y="229"/>
                    </a:lnTo>
                    <a:lnTo>
                      <a:pt x="946" y="216"/>
                    </a:lnTo>
                    <a:lnTo>
                      <a:pt x="953" y="203"/>
                    </a:lnTo>
                    <a:lnTo>
                      <a:pt x="953" y="203"/>
                    </a:lnTo>
                    <a:lnTo>
                      <a:pt x="956" y="196"/>
                    </a:lnTo>
                    <a:lnTo>
                      <a:pt x="959" y="190"/>
                    </a:lnTo>
                    <a:lnTo>
                      <a:pt x="959" y="183"/>
                    </a:lnTo>
                    <a:lnTo>
                      <a:pt x="957" y="177"/>
                    </a:lnTo>
                    <a:lnTo>
                      <a:pt x="953" y="164"/>
                    </a:lnTo>
                    <a:lnTo>
                      <a:pt x="947" y="149"/>
                    </a:lnTo>
                    <a:lnTo>
                      <a:pt x="947" y="149"/>
                    </a:lnTo>
                    <a:lnTo>
                      <a:pt x="908" y="172"/>
                    </a:lnTo>
                    <a:lnTo>
                      <a:pt x="908" y="172"/>
                    </a:lnTo>
                    <a:lnTo>
                      <a:pt x="904" y="177"/>
                    </a:lnTo>
                    <a:lnTo>
                      <a:pt x="902" y="182"/>
                    </a:lnTo>
                    <a:lnTo>
                      <a:pt x="902" y="186"/>
                    </a:lnTo>
                    <a:lnTo>
                      <a:pt x="903" y="192"/>
                    </a:lnTo>
                    <a:lnTo>
                      <a:pt x="904" y="205"/>
                    </a:lnTo>
                    <a:lnTo>
                      <a:pt x="903" y="209"/>
                    </a:lnTo>
                    <a:lnTo>
                      <a:pt x="901" y="214"/>
                    </a:lnTo>
                    <a:lnTo>
                      <a:pt x="901" y="214"/>
                    </a:lnTo>
                    <a:lnTo>
                      <a:pt x="894" y="223"/>
                    </a:lnTo>
                    <a:lnTo>
                      <a:pt x="889" y="226"/>
                    </a:lnTo>
                    <a:lnTo>
                      <a:pt x="886" y="229"/>
                    </a:lnTo>
                    <a:lnTo>
                      <a:pt x="881" y="230"/>
                    </a:lnTo>
                    <a:lnTo>
                      <a:pt x="878" y="231"/>
                    </a:lnTo>
                    <a:lnTo>
                      <a:pt x="870" y="231"/>
                    </a:lnTo>
                    <a:lnTo>
                      <a:pt x="861" y="229"/>
                    </a:lnTo>
                    <a:lnTo>
                      <a:pt x="851" y="225"/>
                    </a:lnTo>
                    <a:lnTo>
                      <a:pt x="832" y="215"/>
                    </a:lnTo>
                    <a:lnTo>
                      <a:pt x="832" y="215"/>
                    </a:lnTo>
                    <a:lnTo>
                      <a:pt x="825" y="211"/>
                    </a:lnTo>
                    <a:lnTo>
                      <a:pt x="816" y="203"/>
                    </a:lnTo>
                    <a:lnTo>
                      <a:pt x="796" y="185"/>
                    </a:lnTo>
                    <a:lnTo>
                      <a:pt x="778" y="168"/>
                    </a:lnTo>
                    <a:lnTo>
                      <a:pt x="770" y="160"/>
                    </a:lnTo>
                    <a:lnTo>
                      <a:pt x="770" y="160"/>
                    </a:lnTo>
                    <a:lnTo>
                      <a:pt x="755" y="164"/>
                    </a:lnTo>
                    <a:lnTo>
                      <a:pt x="743" y="169"/>
                    </a:lnTo>
                    <a:lnTo>
                      <a:pt x="736" y="173"/>
                    </a:lnTo>
                    <a:lnTo>
                      <a:pt x="733" y="177"/>
                    </a:lnTo>
                    <a:lnTo>
                      <a:pt x="731" y="180"/>
                    </a:lnTo>
                    <a:lnTo>
                      <a:pt x="728" y="188"/>
                    </a:lnTo>
                    <a:lnTo>
                      <a:pt x="727" y="198"/>
                    </a:lnTo>
                    <a:lnTo>
                      <a:pt x="725" y="228"/>
                    </a:lnTo>
                    <a:lnTo>
                      <a:pt x="725" y="228"/>
                    </a:lnTo>
                    <a:lnTo>
                      <a:pt x="718" y="225"/>
                    </a:lnTo>
                    <a:lnTo>
                      <a:pt x="713" y="223"/>
                    </a:lnTo>
                    <a:lnTo>
                      <a:pt x="711" y="220"/>
                    </a:lnTo>
                    <a:lnTo>
                      <a:pt x="710" y="216"/>
                    </a:lnTo>
                    <a:lnTo>
                      <a:pt x="710" y="206"/>
                    </a:lnTo>
                    <a:lnTo>
                      <a:pt x="710" y="192"/>
                    </a:lnTo>
                    <a:lnTo>
                      <a:pt x="710" y="192"/>
                    </a:lnTo>
                    <a:lnTo>
                      <a:pt x="709" y="190"/>
                    </a:lnTo>
                    <a:lnTo>
                      <a:pt x="708" y="187"/>
                    </a:lnTo>
                    <a:lnTo>
                      <a:pt x="703" y="184"/>
                    </a:lnTo>
                    <a:lnTo>
                      <a:pt x="695" y="182"/>
                    </a:lnTo>
                    <a:lnTo>
                      <a:pt x="687" y="179"/>
                    </a:lnTo>
                    <a:lnTo>
                      <a:pt x="670" y="177"/>
                    </a:lnTo>
                    <a:lnTo>
                      <a:pt x="657" y="176"/>
                    </a:lnTo>
                    <a:lnTo>
                      <a:pt x="657" y="176"/>
                    </a:lnTo>
                    <a:lnTo>
                      <a:pt x="641" y="172"/>
                    </a:lnTo>
                    <a:lnTo>
                      <a:pt x="629" y="169"/>
                    </a:lnTo>
                    <a:lnTo>
                      <a:pt x="622" y="165"/>
                    </a:lnTo>
                    <a:lnTo>
                      <a:pt x="620" y="164"/>
                    </a:lnTo>
                    <a:lnTo>
                      <a:pt x="619" y="162"/>
                    </a:lnTo>
                    <a:lnTo>
                      <a:pt x="619" y="158"/>
                    </a:lnTo>
                    <a:lnTo>
                      <a:pt x="619" y="156"/>
                    </a:lnTo>
                    <a:lnTo>
                      <a:pt x="622" y="148"/>
                    </a:lnTo>
                    <a:lnTo>
                      <a:pt x="637" y="124"/>
                    </a:lnTo>
                    <a:lnTo>
                      <a:pt x="637" y="124"/>
                    </a:lnTo>
                    <a:lnTo>
                      <a:pt x="617" y="110"/>
                    </a:lnTo>
                    <a:lnTo>
                      <a:pt x="598" y="97"/>
                    </a:lnTo>
                    <a:lnTo>
                      <a:pt x="581" y="83"/>
                    </a:lnTo>
                    <a:lnTo>
                      <a:pt x="564" y="65"/>
                    </a:lnTo>
                    <a:lnTo>
                      <a:pt x="564" y="65"/>
                    </a:lnTo>
                    <a:lnTo>
                      <a:pt x="548" y="43"/>
                    </a:lnTo>
                    <a:lnTo>
                      <a:pt x="539" y="34"/>
                    </a:lnTo>
                    <a:lnTo>
                      <a:pt x="530" y="24"/>
                    </a:lnTo>
                    <a:lnTo>
                      <a:pt x="521" y="17"/>
                    </a:lnTo>
                    <a:lnTo>
                      <a:pt x="515" y="13"/>
                    </a:lnTo>
                    <a:lnTo>
                      <a:pt x="510" y="11"/>
                    </a:lnTo>
                    <a:lnTo>
                      <a:pt x="504" y="10"/>
                    </a:lnTo>
                    <a:lnTo>
                      <a:pt x="498" y="9"/>
                    </a:lnTo>
                    <a:lnTo>
                      <a:pt x="491" y="9"/>
                    </a:lnTo>
                    <a:lnTo>
                      <a:pt x="483" y="10"/>
                    </a:lnTo>
                    <a:lnTo>
                      <a:pt x="483" y="10"/>
                    </a:lnTo>
                    <a:lnTo>
                      <a:pt x="484" y="17"/>
                    </a:lnTo>
                    <a:lnTo>
                      <a:pt x="483" y="25"/>
                    </a:lnTo>
                    <a:lnTo>
                      <a:pt x="481" y="31"/>
                    </a:lnTo>
                    <a:lnTo>
                      <a:pt x="477" y="36"/>
                    </a:lnTo>
                    <a:lnTo>
                      <a:pt x="474" y="40"/>
                    </a:lnTo>
                    <a:lnTo>
                      <a:pt x="470" y="41"/>
                    </a:lnTo>
                    <a:lnTo>
                      <a:pt x="469" y="41"/>
                    </a:lnTo>
                    <a:lnTo>
                      <a:pt x="468" y="40"/>
                    </a:lnTo>
                    <a:lnTo>
                      <a:pt x="467" y="36"/>
                    </a:lnTo>
                    <a:lnTo>
                      <a:pt x="467" y="36"/>
                    </a:lnTo>
                    <a:lnTo>
                      <a:pt x="462" y="0"/>
                    </a:lnTo>
                    <a:lnTo>
                      <a:pt x="462" y="0"/>
                    </a:lnTo>
                    <a:lnTo>
                      <a:pt x="401" y="50"/>
                    </a:lnTo>
                    <a:lnTo>
                      <a:pt x="343" y="103"/>
                    </a:lnTo>
                    <a:lnTo>
                      <a:pt x="285" y="157"/>
                    </a:lnTo>
                    <a:lnTo>
                      <a:pt x="230" y="214"/>
                    </a:lnTo>
                    <a:lnTo>
                      <a:pt x="177" y="272"/>
                    </a:lnTo>
                    <a:lnTo>
                      <a:pt x="126" y="333"/>
                    </a:lnTo>
                    <a:lnTo>
                      <a:pt x="77" y="396"/>
                    </a:lnTo>
                    <a:lnTo>
                      <a:pt x="52" y="427"/>
                    </a:lnTo>
                    <a:lnTo>
                      <a:pt x="29" y="459"/>
                    </a:lnTo>
                    <a:lnTo>
                      <a:pt x="29" y="459"/>
                    </a:lnTo>
                    <a:lnTo>
                      <a:pt x="33" y="467"/>
                    </a:lnTo>
                    <a:lnTo>
                      <a:pt x="35" y="471"/>
                    </a:lnTo>
                    <a:lnTo>
                      <a:pt x="39" y="474"/>
                    </a:lnTo>
                    <a:lnTo>
                      <a:pt x="39" y="474"/>
                    </a:lnTo>
                    <a:lnTo>
                      <a:pt x="43" y="477"/>
                    </a:lnTo>
                    <a:lnTo>
                      <a:pt x="48" y="479"/>
                    </a:lnTo>
                    <a:lnTo>
                      <a:pt x="52" y="477"/>
                    </a:lnTo>
                    <a:lnTo>
                      <a:pt x="56" y="475"/>
                    </a:lnTo>
                    <a:lnTo>
                      <a:pt x="58" y="471"/>
                    </a:lnTo>
                    <a:lnTo>
                      <a:pt x="61" y="466"/>
                    </a:lnTo>
                    <a:lnTo>
                      <a:pt x="64" y="453"/>
                    </a:lnTo>
                    <a:lnTo>
                      <a:pt x="65" y="438"/>
                    </a:lnTo>
                    <a:lnTo>
                      <a:pt x="66" y="424"/>
                    </a:lnTo>
                    <a:lnTo>
                      <a:pt x="67" y="414"/>
                    </a:lnTo>
                    <a:lnTo>
                      <a:pt x="69" y="408"/>
                    </a:lnTo>
                    <a:lnTo>
                      <a:pt x="69" y="408"/>
                    </a:lnTo>
                    <a:lnTo>
                      <a:pt x="72" y="544"/>
                    </a:lnTo>
                    <a:lnTo>
                      <a:pt x="72" y="544"/>
                    </a:lnTo>
                    <a:lnTo>
                      <a:pt x="72" y="564"/>
                    </a:lnTo>
                    <a:lnTo>
                      <a:pt x="72" y="572"/>
                    </a:lnTo>
                    <a:lnTo>
                      <a:pt x="72" y="582"/>
                    </a:lnTo>
                    <a:lnTo>
                      <a:pt x="72" y="582"/>
                    </a:lnTo>
                    <a:lnTo>
                      <a:pt x="74" y="589"/>
                    </a:lnTo>
                    <a:lnTo>
                      <a:pt x="77" y="596"/>
                    </a:lnTo>
                    <a:lnTo>
                      <a:pt x="80" y="601"/>
                    </a:lnTo>
                    <a:lnTo>
                      <a:pt x="84" y="606"/>
                    </a:lnTo>
                    <a:lnTo>
                      <a:pt x="92" y="617"/>
                    </a:lnTo>
                    <a:lnTo>
                      <a:pt x="94" y="622"/>
                    </a:lnTo>
                    <a:lnTo>
                      <a:pt x="95" y="628"/>
                    </a:lnTo>
                    <a:lnTo>
                      <a:pt x="95" y="628"/>
                    </a:lnTo>
                    <a:lnTo>
                      <a:pt x="96" y="634"/>
                    </a:lnTo>
                    <a:lnTo>
                      <a:pt x="95" y="641"/>
                    </a:lnTo>
                    <a:lnTo>
                      <a:pt x="94" y="652"/>
                    </a:lnTo>
                    <a:lnTo>
                      <a:pt x="88" y="678"/>
                    </a:lnTo>
                    <a:lnTo>
                      <a:pt x="86" y="690"/>
                    </a:lnTo>
                    <a:lnTo>
                      <a:pt x="86" y="696"/>
                    </a:lnTo>
                    <a:lnTo>
                      <a:pt x="86" y="703"/>
                    </a:lnTo>
                    <a:lnTo>
                      <a:pt x="88" y="708"/>
                    </a:lnTo>
                    <a:lnTo>
                      <a:pt x="90" y="713"/>
                    </a:lnTo>
                    <a:lnTo>
                      <a:pt x="94" y="719"/>
                    </a:lnTo>
                    <a:lnTo>
                      <a:pt x="99" y="724"/>
                    </a:lnTo>
                    <a:lnTo>
                      <a:pt x="99" y="724"/>
                    </a:lnTo>
                    <a:lnTo>
                      <a:pt x="120" y="745"/>
                    </a:lnTo>
                    <a:lnTo>
                      <a:pt x="131" y="756"/>
                    </a:lnTo>
                    <a:lnTo>
                      <a:pt x="140" y="768"/>
                    </a:lnTo>
                    <a:lnTo>
                      <a:pt x="143" y="773"/>
                    </a:lnTo>
                    <a:lnTo>
                      <a:pt x="146" y="780"/>
                    </a:lnTo>
                    <a:lnTo>
                      <a:pt x="148" y="787"/>
                    </a:lnTo>
                    <a:lnTo>
                      <a:pt x="149" y="794"/>
                    </a:lnTo>
                    <a:lnTo>
                      <a:pt x="149" y="801"/>
                    </a:lnTo>
                    <a:lnTo>
                      <a:pt x="148" y="809"/>
                    </a:lnTo>
                    <a:lnTo>
                      <a:pt x="146" y="817"/>
                    </a:lnTo>
                    <a:lnTo>
                      <a:pt x="142" y="825"/>
                    </a:lnTo>
                    <a:lnTo>
                      <a:pt x="142" y="825"/>
                    </a:lnTo>
                    <a:lnTo>
                      <a:pt x="132" y="819"/>
                    </a:lnTo>
                    <a:lnTo>
                      <a:pt x="126" y="815"/>
                    </a:lnTo>
                    <a:lnTo>
                      <a:pt x="123" y="811"/>
                    </a:lnTo>
                    <a:lnTo>
                      <a:pt x="123" y="811"/>
                    </a:lnTo>
                    <a:lnTo>
                      <a:pt x="127" y="810"/>
                    </a:lnTo>
                    <a:lnTo>
                      <a:pt x="132" y="809"/>
                    </a:lnTo>
                    <a:lnTo>
                      <a:pt x="134" y="808"/>
                    </a:lnTo>
                    <a:lnTo>
                      <a:pt x="138" y="806"/>
                    </a:lnTo>
                    <a:lnTo>
                      <a:pt x="140" y="803"/>
                    </a:lnTo>
                    <a:lnTo>
                      <a:pt x="141" y="800"/>
                    </a:lnTo>
                    <a:lnTo>
                      <a:pt x="141" y="793"/>
                    </a:lnTo>
                    <a:lnTo>
                      <a:pt x="140" y="785"/>
                    </a:lnTo>
                    <a:lnTo>
                      <a:pt x="138" y="776"/>
                    </a:lnTo>
                    <a:lnTo>
                      <a:pt x="133" y="765"/>
                    </a:lnTo>
                    <a:lnTo>
                      <a:pt x="126" y="756"/>
                    </a:lnTo>
                    <a:lnTo>
                      <a:pt x="119" y="747"/>
                    </a:lnTo>
                    <a:lnTo>
                      <a:pt x="111" y="739"/>
                    </a:lnTo>
                    <a:lnTo>
                      <a:pt x="102" y="732"/>
                    </a:lnTo>
                    <a:lnTo>
                      <a:pt x="93" y="726"/>
                    </a:lnTo>
                    <a:lnTo>
                      <a:pt x="85" y="721"/>
                    </a:lnTo>
                    <a:lnTo>
                      <a:pt x="76" y="720"/>
                    </a:lnTo>
                    <a:lnTo>
                      <a:pt x="71" y="720"/>
                    </a:lnTo>
                    <a:lnTo>
                      <a:pt x="67" y="721"/>
                    </a:lnTo>
                    <a:lnTo>
                      <a:pt x="64" y="723"/>
                    </a:lnTo>
                    <a:lnTo>
                      <a:pt x="59" y="725"/>
                    </a:lnTo>
                    <a:lnTo>
                      <a:pt x="59" y="725"/>
                    </a:lnTo>
                    <a:lnTo>
                      <a:pt x="65" y="730"/>
                    </a:lnTo>
                    <a:lnTo>
                      <a:pt x="70" y="735"/>
                    </a:lnTo>
                    <a:lnTo>
                      <a:pt x="77" y="746"/>
                    </a:lnTo>
                    <a:lnTo>
                      <a:pt x="82" y="757"/>
                    </a:lnTo>
                    <a:lnTo>
                      <a:pt x="86" y="769"/>
                    </a:lnTo>
                    <a:lnTo>
                      <a:pt x="92" y="779"/>
                    </a:lnTo>
                    <a:lnTo>
                      <a:pt x="96" y="791"/>
                    </a:lnTo>
                    <a:lnTo>
                      <a:pt x="104" y="801"/>
                    </a:lnTo>
                    <a:lnTo>
                      <a:pt x="109" y="806"/>
                    </a:lnTo>
                    <a:lnTo>
                      <a:pt x="113" y="810"/>
                    </a:lnTo>
                    <a:lnTo>
                      <a:pt x="113" y="810"/>
                    </a:lnTo>
                    <a:lnTo>
                      <a:pt x="111" y="810"/>
                    </a:lnTo>
                    <a:lnTo>
                      <a:pt x="109" y="811"/>
                    </a:lnTo>
                    <a:lnTo>
                      <a:pt x="103" y="818"/>
                    </a:lnTo>
                    <a:lnTo>
                      <a:pt x="96" y="827"/>
                    </a:lnTo>
                    <a:lnTo>
                      <a:pt x="89" y="840"/>
                    </a:lnTo>
                    <a:lnTo>
                      <a:pt x="74" y="870"/>
                    </a:lnTo>
                    <a:lnTo>
                      <a:pt x="59" y="907"/>
                    </a:lnTo>
                    <a:lnTo>
                      <a:pt x="31" y="979"/>
                    </a:lnTo>
                    <a:lnTo>
                      <a:pt x="13" y="1024"/>
                    </a:lnTo>
                    <a:lnTo>
                      <a:pt x="13" y="1024"/>
                    </a:lnTo>
                    <a:lnTo>
                      <a:pt x="9" y="1038"/>
                    </a:lnTo>
                    <a:lnTo>
                      <a:pt x="4" y="1051"/>
                    </a:lnTo>
                    <a:lnTo>
                      <a:pt x="2" y="1065"/>
                    </a:lnTo>
                    <a:lnTo>
                      <a:pt x="0" y="1078"/>
                    </a:lnTo>
                    <a:lnTo>
                      <a:pt x="0" y="1092"/>
                    </a:lnTo>
                    <a:lnTo>
                      <a:pt x="0" y="1106"/>
                    </a:lnTo>
                    <a:lnTo>
                      <a:pt x="2" y="1135"/>
                    </a:lnTo>
                    <a:lnTo>
                      <a:pt x="6" y="1164"/>
                    </a:lnTo>
                    <a:lnTo>
                      <a:pt x="11" y="1192"/>
                    </a:lnTo>
                    <a:lnTo>
                      <a:pt x="17" y="1220"/>
                    </a:lnTo>
                    <a:lnTo>
                      <a:pt x="21" y="1249"/>
                    </a:lnTo>
                    <a:lnTo>
                      <a:pt x="21" y="1249"/>
                    </a:lnTo>
                    <a:lnTo>
                      <a:pt x="23" y="1253"/>
                    </a:lnTo>
                    <a:lnTo>
                      <a:pt x="25" y="1256"/>
                    </a:lnTo>
                    <a:lnTo>
                      <a:pt x="27" y="1259"/>
                    </a:lnTo>
                    <a:lnTo>
                      <a:pt x="32" y="1261"/>
                    </a:lnTo>
                    <a:lnTo>
                      <a:pt x="48" y="1268"/>
                    </a:lnTo>
                    <a:lnTo>
                      <a:pt x="48" y="1268"/>
                    </a:lnTo>
                    <a:lnTo>
                      <a:pt x="50" y="1271"/>
                    </a:lnTo>
                    <a:lnTo>
                      <a:pt x="52" y="1273"/>
                    </a:lnTo>
                    <a:lnTo>
                      <a:pt x="55" y="1279"/>
                    </a:lnTo>
                    <a:lnTo>
                      <a:pt x="57" y="1286"/>
                    </a:lnTo>
                    <a:lnTo>
                      <a:pt x="57" y="1294"/>
                    </a:lnTo>
                    <a:lnTo>
                      <a:pt x="58" y="1311"/>
                    </a:lnTo>
                    <a:lnTo>
                      <a:pt x="59" y="1325"/>
                    </a:lnTo>
                    <a:lnTo>
                      <a:pt x="59" y="1325"/>
                    </a:lnTo>
                    <a:lnTo>
                      <a:pt x="66" y="1351"/>
                    </a:lnTo>
                    <a:lnTo>
                      <a:pt x="74" y="1380"/>
                    </a:lnTo>
                    <a:lnTo>
                      <a:pt x="94" y="1436"/>
                    </a:lnTo>
                    <a:lnTo>
                      <a:pt x="94" y="1436"/>
                    </a:lnTo>
                    <a:lnTo>
                      <a:pt x="95" y="1442"/>
                    </a:lnTo>
                    <a:lnTo>
                      <a:pt x="94" y="1446"/>
                    </a:lnTo>
                    <a:lnTo>
                      <a:pt x="92" y="1448"/>
                    </a:lnTo>
                    <a:lnTo>
                      <a:pt x="89" y="1450"/>
                    </a:lnTo>
                    <a:lnTo>
                      <a:pt x="86" y="1451"/>
                    </a:lnTo>
                    <a:lnTo>
                      <a:pt x="84" y="1454"/>
                    </a:lnTo>
                    <a:lnTo>
                      <a:pt x="81" y="1457"/>
                    </a:lnTo>
                    <a:lnTo>
                      <a:pt x="80" y="1463"/>
                    </a:lnTo>
                    <a:lnTo>
                      <a:pt x="80" y="1463"/>
                    </a:lnTo>
                    <a:lnTo>
                      <a:pt x="82" y="1473"/>
                    </a:lnTo>
                    <a:lnTo>
                      <a:pt x="85" y="1480"/>
                    </a:lnTo>
                    <a:lnTo>
                      <a:pt x="89" y="1486"/>
                    </a:lnTo>
                    <a:lnTo>
                      <a:pt x="94" y="1489"/>
                    </a:lnTo>
                    <a:lnTo>
                      <a:pt x="99" y="1493"/>
                    </a:lnTo>
                    <a:lnTo>
                      <a:pt x="104" y="1496"/>
                    </a:lnTo>
                    <a:lnTo>
                      <a:pt x="110" y="1502"/>
                    </a:lnTo>
                    <a:lnTo>
                      <a:pt x="115" y="1510"/>
                    </a:lnTo>
                    <a:lnTo>
                      <a:pt x="115" y="1510"/>
                    </a:lnTo>
                    <a:lnTo>
                      <a:pt x="116" y="1516"/>
                    </a:lnTo>
                    <a:lnTo>
                      <a:pt x="116" y="1522"/>
                    </a:lnTo>
                    <a:lnTo>
                      <a:pt x="115" y="1535"/>
                    </a:lnTo>
                    <a:lnTo>
                      <a:pt x="113" y="1544"/>
                    </a:lnTo>
                    <a:lnTo>
                      <a:pt x="113" y="1549"/>
                    </a:lnTo>
                    <a:lnTo>
                      <a:pt x="115" y="1555"/>
                    </a:lnTo>
                    <a:lnTo>
                      <a:pt x="118" y="1560"/>
                    </a:lnTo>
                    <a:lnTo>
                      <a:pt x="118" y="1560"/>
                    </a:lnTo>
                    <a:lnTo>
                      <a:pt x="170" y="1609"/>
                    </a:lnTo>
                    <a:lnTo>
                      <a:pt x="170" y="1609"/>
                    </a:lnTo>
                    <a:lnTo>
                      <a:pt x="163" y="1567"/>
                    </a:lnTo>
                    <a:lnTo>
                      <a:pt x="157" y="1523"/>
                    </a:lnTo>
                    <a:lnTo>
                      <a:pt x="149" y="1480"/>
                    </a:lnTo>
                    <a:lnTo>
                      <a:pt x="143" y="1459"/>
                    </a:lnTo>
                    <a:lnTo>
                      <a:pt x="138" y="1439"/>
                    </a:lnTo>
                    <a:lnTo>
                      <a:pt x="138" y="1439"/>
                    </a:lnTo>
                    <a:lnTo>
                      <a:pt x="132" y="1417"/>
                    </a:lnTo>
                    <a:lnTo>
                      <a:pt x="130" y="1400"/>
                    </a:lnTo>
                    <a:lnTo>
                      <a:pt x="130" y="1380"/>
                    </a:lnTo>
                    <a:lnTo>
                      <a:pt x="131" y="1358"/>
                    </a:lnTo>
                    <a:lnTo>
                      <a:pt x="131" y="1358"/>
                    </a:lnTo>
                    <a:lnTo>
                      <a:pt x="132" y="1356"/>
                    </a:lnTo>
                    <a:lnTo>
                      <a:pt x="133" y="1354"/>
                    </a:lnTo>
                    <a:lnTo>
                      <a:pt x="135" y="1354"/>
                    </a:lnTo>
                    <a:lnTo>
                      <a:pt x="138" y="1354"/>
                    </a:lnTo>
                    <a:lnTo>
                      <a:pt x="142" y="1357"/>
                    </a:lnTo>
                    <a:lnTo>
                      <a:pt x="146" y="1362"/>
                    </a:lnTo>
                    <a:lnTo>
                      <a:pt x="146" y="1362"/>
                    </a:lnTo>
                    <a:lnTo>
                      <a:pt x="147" y="1367"/>
                    </a:lnTo>
                    <a:lnTo>
                      <a:pt x="148" y="1373"/>
                    </a:lnTo>
                    <a:lnTo>
                      <a:pt x="147" y="1385"/>
                    </a:lnTo>
                    <a:lnTo>
                      <a:pt x="142" y="1409"/>
                    </a:lnTo>
                    <a:lnTo>
                      <a:pt x="142" y="1409"/>
                    </a:lnTo>
                    <a:lnTo>
                      <a:pt x="142" y="1418"/>
                    </a:lnTo>
                    <a:lnTo>
                      <a:pt x="143" y="1427"/>
                    </a:lnTo>
                    <a:lnTo>
                      <a:pt x="147" y="1438"/>
                    </a:lnTo>
                    <a:lnTo>
                      <a:pt x="150" y="1449"/>
                    </a:lnTo>
                    <a:lnTo>
                      <a:pt x="162" y="1473"/>
                    </a:lnTo>
                    <a:lnTo>
                      <a:pt x="177" y="1499"/>
                    </a:lnTo>
                    <a:lnTo>
                      <a:pt x="192" y="1524"/>
                    </a:lnTo>
                    <a:lnTo>
                      <a:pt x="207" y="1547"/>
                    </a:lnTo>
                    <a:lnTo>
                      <a:pt x="221" y="1568"/>
                    </a:lnTo>
                    <a:lnTo>
                      <a:pt x="230" y="1585"/>
                    </a:lnTo>
                    <a:lnTo>
                      <a:pt x="230" y="1585"/>
                    </a:lnTo>
                    <a:lnTo>
                      <a:pt x="238" y="1603"/>
                    </a:lnTo>
                    <a:lnTo>
                      <a:pt x="241" y="1611"/>
                    </a:lnTo>
                    <a:lnTo>
                      <a:pt x="242" y="1620"/>
                    </a:lnTo>
                    <a:lnTo>
                      <a:pt x="245" y="1636"/>
                    </a:lnTo>
                    <a:lnTo>
                      <a:pt x="245" y="1656"/>
                    </a:lnTo>
                    <a:lnTo>
                      <a:pt x="245" y="1656"/>
                    </a:lnTo>
                    <a:lnTo>
                      <a:pt x="246" y="1670"/>
                    </a:lnTo>
                    <a:lnTo>
                      <a:pt x="248" y="1681"/>
                    </a:lnTo>
                    <a:lnTo>
                      <a:pt x="252" y="1690"/>
                    </a:lnTo>
                    <a:lnTo>
                      <a:pt x="256" y="1699"/>
                    </a:lnTo>
                    <a:lnTo>
                      <a:pt x="262" y="1707"/>
                    </a:lnTo>
                    <a:lnTo>
                      <a:pt x="270" y="1715"/>
                    </a:lnTo>
                    <a:lnTo>
                      <a:pt x="286" y="1735"/>
                    </a:lnTo>
                    <a:lnTo>
                      <a:pt x="286" y="1735"/>
                    </a:lnTo>
                    <a:lnTo>
                      <a:pt x="298" y="1747"/>
                    </a:lnTo>
                    <a:lnTo>
                      <a:pt x="313" y="1763"/>
                    </a:lnTo>
                    <a:lnTo>
                      <a:pt x="330" y="1781"/>
                    </a:lnTo>
                    <a:lnTo>
                      <a:pt x="351" y="1798"/>
                    </a:lnTo>
                    <a:lnTo>
                      <a:pt x="361" y="1806"/>
                    </a:lnTo>
                    <a:lnTo>
                      <a:pt x="371" y="1813"/>
                    </a:lnTo>
                    <a:lnTo>
                      <a:pt x="382" y="1819"/>
                    </a:lnTo>
                    <a:lnTo>
                      <a:pt x="392" y="1823"/>
                    </a:lnTo>
                    <a:lnTo>
                      <a:pt x="401" y="1827"/>
                    </a:lnTo>
                    <a:lnTo>
                      <a:pt x="411" y="1828"/>
                    </a:lnTo>
                    <a:lnTo>
                      <a:pt x="420" y="1827"/>
                    </a:lnTo>
                    <a:lnTo>
                      <a:pt x="427" y="1824"/>
                    </a:lnTo>
                    <a:lnTo>
                      <a:pt x="427" y="1824"/>
                    </a:lnTo>
                    <a:lnTo>
                      <a:pt x="440" y="1816"/>
                    </a:lnTo>
                    <a:lnTo>
                      <a:pt x="452" y="1813"/>
                    </a:lnTo>
                    <a:lnTo>
                      <a:pt x="457" y="1813"/>
                    </a:lnTo>
                    <a:lnTo>
                      <a:pt x="461" y="1813"/>
                    </a:lnTo>
                    <a:lnTo>
                      <a:pt x="465" y="1814"/>
                    </a:lnTo>
                    <a:lnTo>
                      <a:pt x="469" y="1815"/>
                    </a:lnTo>
                    <a:lnTo>
                      <a:pt x="476" y="1821"/>
                    </a:lnTo>
                    <a:lnTo>
                      <a:pt x="485" y="1828"/>
                    </a:lnTo>
                    <a:lnTo>
                      <a:pt x="495" y="1837"/>
                    </a:lnTo>
                    <a:lnTo>
                      <a:pt x="507" y="1847"/>
                    </a:lnTo>
                    <a:lnTo>
                      <a:pt x="507" y="1847"/>
                    </a:lnTo>
                    <a:lnTo>
                      <a:pt x="535" y="1868"/>
                    </a:lnTo>
                    <a:lnTo>
                      <a:pt x="549" y="1879"/>
                    </a:lnTo>
                    <a:lnTo>
                      <a:pt x="562" y="1888"/>
                    </a:lnTo>
                    <a:lnTo>
                      <a:pt x="562" y="1888"/>
                    </a:lnTo>
                    <a:lnTo>
                      <a:pt x="569" y="1891"/>
                    </a:lnTo>
                    <a:lnTo>
                      <a:pt x="577" y="1895"/>
                    </a:lnTo>
                    <a:lnTo>
                      <a:pt x="594" y="1900"/>
                    </a:lnTo>
                    <a:lnTo>
                      <a:pt x="610" y="1907"/>
                    </a:lnTo>
                    <a:lnTo>
                      <a:pt x="615" y="1912"/>
                    </a:lnTo>
                    <a:lnTo>
                      <a:pt x="621" y="1917"/>
                    </a:lnTo>
                    <a:lnTo>
                      <a:pt x="621" y="1917"/>
                    </a:lnTo>
                    <a:lnTo>
                      <a:pt x="625" y="1923"/>
                    </a:lnTo>
                    <a:lnTo>
                      <a:pt x="628" y="1930"/>
                    </a:lnTo>
                    <a:lnTo>
                      <a:pt x="629" y="1940"/>
                    </a:lnTo>
                    <a:lnTo>
                      <a:pt x="630" y="1949"/>
                    </a:lnTo>
                    <a:lnTo>
                      <a:pt x="633" y="1965"/>
                    </a:lnTo>
                    <a:lnTo>
                      <a:pt x="635" y="1972"/>
                    </a:lnTo>
                    <a:lnTo>
                      <a:pt x="638" y="1976"/>
                    </a:lnTo>
                    <a:lnTo>
                      <a:pt x="638" y="1976"/>
                    </a:lnTo>
                    <a:lnTo>
                      <a:pt x="656" y="1991"/>
                    </a:lnTo>
                    <a:lnTo>
                      <a:pt x="671" y="2004"/>
                    </a:lnTo>
                    <a:lnTo>
                      <a:pt x="685" y="2014"/>
                    </a:lnTo>
                    <a:lnTo>
                      <a:pt x="698" y="2022"/>
                    </a:lnTo>
                    <a:lnTo>
                      <a:pt x="713" y="2031"/>
                    </a:lnTo>
                    <a:lnTo>
                      <a:pt x="731" y="2036"/>
                    </a:lnTo>
                    <a:lnTo>
                      <a:pt x="749" y="2041"/>
                    </a:lnTo>
                    <a:lnTo>
                      <a:pt x="771" y="2046"/>
                    </a:lnTo>
                    <a:lnTo>
                      <a:pt x="771" y="2046"/>
                    </a:lnTo>
                    <a:lnTo>
                      <a:pt x="770" y="2039"/>
                    </a:lnTo>
                    <a:lnTo>
                      <a:pt x="771" y="2032"/>
                    </a:lnTo>
                    <a:lnTo>
                      <a:pt x="772" y="2026"/>
                    </a:lnTo>
                    <a:lnTo>
                      <a:pt x="773" y="2021"/>
                    </a:lnTo>
                    <a:lnTo>
                      <a:pt x="775" y="2017"/>
                    </a:lnTo>
                    <a:lnTo>
                      <a:pt x="779" y="2013"/>
                    </a:lnTo>
                    <a:lnTo>
                      <a:pt x="782" y="2011"/>
                    </a:lnTo>
                    <a:lnTo>
                      <a:pt x="787" y="2009"/>
                    </a:lnTo>
                    <a:lnTo>
                      <a:pt x="790" y="2008"/>
                    </a:lnTo>
                    <a:lnTo>
                      <a:pt x="795" y="2008"/>
                    </a:lnTo>
                    <a:lnTo>
                      <a:pt x="800" y="2009"/>
                    </a:lnTo>
                    <a:lnTo>
                      <a:pt x="804" y="2010"/>
                    </a:lnTo>
                    <a:lnTo>
                      <a:pt x="809" y="2013"/>
                    </a:lnTo>
                    <a:lnTo>
                      <a:pt x="813" y="2017"/>
                    </a:lnTo>
                    <a:lnTo>
                      <a:pt x="818" y="2021"/>
                    </a:lnTo>
                    <a:lnTo>
                      <a:pt x="822" y="2026"/>
                    </a:lnTo>
                    <a:lnTo>
                      <a:pt x="822" y="2026"/>
                    </a:lnTo>
                    <a:lnTo>
                      <a:pt x="826" y="2036"/>
                    </a:lnTo>
                    <a:lnTo>
                      <a:pt x="828" y="2048"/>
                    </a:lnTo>
                    <a:lnTo>
                      <a:pt x="830" y="2060"/>
                    </a:lnTo>
                    <a:lnTo>
                      <a:pt x="830" y="2073"/>
                    </a:lnTo>
                    <a:lnTo>
                      <a:pt x="827" y="2087"/>
                    </a:lnTo>
                    <a:lnTo>
                      <a:pt x="825" y="2100"/>
                    </a:lnTo>
                    <a:lnTo>
                      <a:pt x="823" y="2111"/>
                    </a:lnTo>
                    <a:lnTo>
                      <a:pt x="819" y="2122"/>
                    </a:lnTo>
                    <a:lnTo>
                      <a:pt x="819" y="2122"/>
                    </a:lnTo>
                    <a:lnTo>
                      <a:pt x="807" y="2151"/>
                    </a:lnTo>
                    <a:lnTo>
                      <a:pt x="801" y="2163"/>
                    </a:lnTo>
                    <a:lnTo>
                      <a:pt x="795" y="2174"/>
                    </a:lnTo>
                    <a:lnTo>
                      <a:pt x="788" y="2184"/>
                    </a:lnTo>
                    <a:lnTo>
                      <a:pt x="779" y="2193"/>
                    </a:lnTo>
                    <a:lnTo>
                      <a:pt x="767" y="2202"/>
                    </a:lnTo>
                    <a:lnTo>
                      <a:pt x="754" y="2211"/>
                    </a:lnTo>
                    <a:lnTo>
                      <a:pt x="754" y="2211"/>
                    </a:lnTo>
                    <a:lnTo>
                      <a:pt x="750" y="2214"/>
                    </a:lnTo>
                    <a:lnTo>
                      <a:pt x="748" y="2218"/>
                    </a:lnTo>
                    <a:lnTo>
                      <a:pt x="746" y="2222"/>
                    </a:lnTo>
                    <a:lnTo>
                      <a:pt x="743" y="2227"/>
                    </a:lnTo>
                    <a:lnTo>
                      <a:pt x="742" y="2238"/>
                    </a:lnTo>
                    <a:lnTo>
                      <a:pt x="742" y="2249"/>
                    </a:lnTo>
                    <a:lnTo>
                      <a:pt x="744" y="2261"/>
                    </a:lnTo>
                    <a:lnTo>
                      <a:pt x="748" y="2271"/>
                    </a:lnTo>
                    <a:lnTo>
                      <a:pt x="754" y="2279"/>
                    </a:lnTo>
                    <a:lnTo>
                      <a:pt x="757" y="2283"/>
                    </a:lnTo>
                    <a:lnTo>
                      <a:pt x="761" y="2285"/>
                    </a:lnTo>
                    <a:lnTo>
                      <a:pt x="761" y="2285"/>
                    </a:lnTo>
                    <a:lnTo>
                      <a:pt x="752" y="2293"/>
                    </a:lnTo>
                    <a:lnTo>
                      <a:pt x="746" y="2301"/>
                    </a:lnTo>
                    <a:lnTo>
                      <a:pt x="741" y="2308"/>
                    </a:lnTo>
                    <a:lnTo>
                      <a:pt x="737" y="2316"/>
                    </a:lnTo>
                    <a:lnTo>
                      <a:pt x="735" y="2323"/>
                    </a:lnTo>
                    <a:lnTo>
                      <a:pt x="734" y="2330"/>
                    </a:lnTo>
                    <a:lnTo>
                      <a:pt x="734" y="2337"/>
                    </a:lnTo>
                    <a:lnTo>
                      <a:pt x="735" y="2344"/>
                    </a:lnTo>
                    <a:lnTo>
                      <a:pt x="737" y="2352"/>
                    </a:lnTo>
                    <a:lnTo>
                      <a:pt x="741" y="2359"/>
                    </a:lnTo>
                    <a:lnTo>
                      <a:pt x="748" y="2375"/>
                    </a:lnTo>
                    <a:lnTo>
                      <a:pt x="769" y="2410"/>
                    </a:lnTo>
                    <a:lnTo>
                      <a:pt x="769" y="2410"/>
                    </a:lnTo>
                    <a:lnTo>
                      <a:pt x="780" y="2432"/>
                    </a:lnTo>
                    <a:lnTo>
                      <a:pt x="790" y="2457"/>
                    </a:lnTo>
                    <a:lnTo>
                      <a:pt x="803" y="2483"/>
                    </a:lnTo>
                    <a:lnTo>
                      <a:pt x="816" y="2511"/>
                    </a:lnTo>
                    <a:lnTo>
                      <a:pt x="830" y="2536"/>
                    </a:lnTo>
                    <a:lnTo>
                      <a:pt x="836" y="2549"/>
                    </a:lnTo>
                    <a:lnTo>
                      <a:pt x="845" y="2560"/>
                    </a:lnTo>
                    <a:lnTo>
                      <a:pt x="853" y="2571"/>
                    </a:lnTo>
                    <a:lnTo>
                      <a:pt x="862" y="2581"/>
                    </a:lnTo>
                    <a:lnTo>
                      <a:pt x="871" y="2589"/>
                    </a:lnTo>
                    <a:lnTo>
                      <a:pt x="880" y="2596"/>
                    </a:lnTo>
                    <a:lnTo>
                      <a:pt x="880" y="2596"/>
                    </a:lnTo>
                    <a:lnTo>
                      <a:pt x="899" y="2606"/>
                    </a:lnTo>
                    <a:lnTo>
                      <a:pt x="918" y="2618"/>
                    </a:lnTo>
                    <a:lnTo>
                      <a:pt x="939" y="2628"/>
                    </a:lnTo>
                    <a:lnTo>
                      <a:pt x="960" y="2640"/>
                    </a:lnTo>
                    <a:lnTo>
                      <a:pt x="969" y="2647"/>
                    </a:lnTo>
                    <a:lnTo>
                      <a:pt x="977" y="2653"/>
                    </a:lnTo>
                    <a:lnTo>
                      <a:pt x="985" y="2660"/>
                    </a:lnTo>
                    <a:lnTo>
                      <a:pt x="992" y="2668"/>
                    </a:lnTo>
                    <a:lnTo>
                      <a:pt x="998" y="2676"/>
                    </a:lnTo>
                    <a:lnTo>
                      <a:pt x="1002" y="2686"/>
                    </a:lnTo>
                    <a:lnTo>
                      <a:pt x="1006" y="2695"/>
                    </a:lnTo>
                    <a:lnTo>
                      <a:pt x="1007" y="2705"/>
                    </a:lnTo>
                    <a:lnTo>
                      <a:pt x="1007" y="2705"/>
                    </a:lnTo>
                    <a:lnTo>
                      <a:pt x="1018" y="2979"/>
                    </a:lnTo>
                    <a:lnTo>
                      <a:pt x="1018" y="2979"/>
                    </a:lnTo>
                    <a:lnTo>
                      <a:pt x="1030" y="3238"/>
                    </a:lnTo>
                    <a:lnTo>
                      <a:pt x="1030" y="3238"/>
                    </a:lnTo>
                    <a:lnTo>
                      <a:pt x="1031" y="3254"/>
                    </a:lnTo>
                    <a:lnTo>
                      <a:pt x="1032" y="3260"/>
                    </a:lnTo>
                    <a:lnTo>
                      <a:pt x="1035" y="3264"/>
                    </a:lnTo>
                    <a:lnTo>
                      <a:pt x="1037" y="3268"/>
                    </a:lnTo>
                    <a:lnTo>
                      <a:pt x="1041" y="3272"/>
                    </a:lnTo>
                    <a:lnTo>
                      <a:pt x="1056" y="3281"/>
                    </a:lnTo>
                    <a:lnTo>
                      <a:pt x="1056" y="3281"/>
                    </a:lnTo>
                    <a:lnTo>
                      <a:pt x="1062" y="3284"/>
                    </a:lnTo>
                    <a:lnTo>
                      <a:pt x="1066" y="3288"/>
                    </a:lnTo>
                    <a:lnTo>
                      <a:pt x="1068" y="3294"/>
                    </a:lnTo>
                    <a:lnTo>
                      <a:pt x="1070" y="3299"/>
                    </a:lnTo>
                    <a:lnTo>
                      <a:pt x="1071" y="3305"/>
                    </a:lnTo>
                    <a:lnTo>
                      <a:pt x="1073" y="3312"/>
                    </a:lnTo>
                    <a:lnTo>
                      <a:pt x="1073" y="3326"/>
                    </a:lnTo>
                    <a:lnTo>
                      <a:pt x="1071" y="3341"/>
                    </a:lnTo>
                    <a:lnTo>
                      <a:pt x="1069" y="3356"/>
                    </a:lnTo>
                    <a:lnTo>
                      <a:pt x="1068" y="3370"/>
                    </a:lnTo>
                    <a:lnTo>
                      <a:pt x="1067" y="3382"/>
                    </a:lnTo>
                    <a:lnTo>
                      <a:pt x="1067" y="3382"/>
                    </a:lnTo>
                    <a:lnTo>
                      <a:pt x="1066" y="3387"/>
                    </a:lnTo>
                    <a:lnTo>
                      <a:pt x="1063" y="3390"/>
                    </a:lnTo>
                    <a:lnTo>
                      <a:pt x="1061" y="3394"/>
                    </a:lnTo>
                    <a:lnTo>
                      <a:pt x="1058" y="3396"/>
                    </a:lnTo>
                    <a:lnTo>
                      <a:pt x="1043" y="3408"/>
                    </a:lnTo>
                    <a:lnTo>
                      <a:pt x="1040" y="3410"/>
                    </a:lnTo>
                    <a:lnTo>
                      <a:pt x="1038" y="3413"/>
                    </a:lnTo>
                    <a:lnTo>
                      <a:pt x="1037" y="3417"/>
                    </a:lnTo>
                    <a:lnTo>
                      <a:pt x="1037" y="3420"/>
                    </a:lnTo>
                    <a:lnTo>
                      <a:pt x="1038" y="3424"/>
                    </a:lnTo>
                    <a:lnTo>
                      <a:pt x="1040" y="3428"/>
                    </a:lnTo>
                    <a:lnTo>
                      <a:pt x="1046" y="3433"/>
                    </a:lnTo>
                    <a:lnTo>
                      <a:pt x="1053" y="3439"/>
                    </a:lnTo>
                    <a:lnTo>
                      <a:pt x="1053" y="3439"/>
                    </a:lnTo>
                    <a:lnTo>
                      <a:pt x="1063" y="3447"/>
                    </a:lnTo>
                    <a:lnTo>
                      <a:pt x="1071" y="3454"/>
                    </a:lnTo>
                    <a:lnTo>
                      <a:pt x="1077" y="3461"/>
                    </a:lnTo>
                    <a:lnTo>
                      <a:pt x="1079" y="3467"/>
                    </a:lnTo>
                    <a:lnTo>
                      <a:pt x="1081" y="3471"/>
                    </a:lnTo>
                    <a:lnTo>
                      <a:pt x="1081" y="3474"/>
                    </a:lnTo>
                    <a:lnTo>
                      <a:pt x="1077" y="3484"/>
                    </a:lnTo>
                    <a:lnTo>
                      <a:pt x="1071" y="3494"/>
                    </a:lnTo>
                    <a:lnTo>
                      <a:pt x="1063" y="3505"/>
                    </a:lnTo>
                    <a:lnTo>
                      <a:pt x="1063" y="3505"/>
                    </a:lnTo>
                    <a:lnTo>
                      <a:pt x="1061" y="3509"/>
                    </a:lnTo>
                    <a:lnTo>
                      <a:pt x="1060" y="3512"/>
                    </a:lnTo>
                    <a:lnTo>
                      <a:pt x="1060" y="3517"/>
                    </a:lnTo>
                    <a:lnTo>
                      <a:pt x="1060" y="3522"/>
                    </a:lnTo>
                    <a:lnTo>
                      <a:pt x="1062" y="3531"/>
                    </a:lnTo>
                    <a:lnTo>
                      <a:pt x="1068" y="3541"/>
                    </a:lnTo>
                    <a:lnTo>
                      <a:pt x="1075" y="3551"/>
                    </a:lnTo>
                    <a:lnTo>
                      <a:pt x="1084" y="3562"/>
                    </a:lnTo>
                    <a:lnTo>
                      <a:pt x="1094" y="3573"/>
                    </a:lnTo>
                    <a:lnTo>
                      <a:pt x="1106" y="3585"/>
                    </a:lnTo>
                    <a:lnTo>
                      <a:pt x="1129" y="3606"/>
                    </a:lnTo>
                    <a:lnTo>
                      <a:pt x="1153" y="3625"/>
                    </a:lnTo>
                    <a:lnTo>
                      <a:pt x="1173" y="3639"/>
                    </a:lnTo>
                    <a:lnTo>
                      <a:pt x="1186" y="3648"/>
                    </a:lnTo>
                    <a:lnTo>
                      <a:pt x="1186" y="3648"/>
                    </a:lnTo>
                    <a:lnTo>
                      <a:pt x="1186" y="3636"/>
                    </a:lnTo>
                    <a:lnTo>
                      <a:pt x="1188" y="3624"/>
                    </a:lnTo>
                    <a:lnTo>
                      <a:pt x="1191" y="3614"/>
                    </a:lnTo>
                    <a:lnTo>
                      <a:pt x="1196" y="3604"/>
                    </a:lnTo>
                    <a:lnTo>
                      <a:pt x="1203" y="3596"/>
                    </a:lnTo>
                    <a:lnTo>
                      <a:pt x="1208" y="3588"/>
                    </a:lnTo>
                    <a:lnTo>
                      <a:pt x="1223" y="3571"/>
                    </a:lnTo>
                    <a:lnTo>
                      <a:pt x="1223" y="3571"/>
                    </a:lnTo>
                    <a:lnTo>
                      <a:pt x="1216" y="3566"/>
                    </a:lnTo>
                    <a:lnTo>
                      <a:pt x="1212" y="3561"/>
                    </a:lnTo>
                    <a:lnTo>
                      <a:pt x="1208" y="3556"/>
                    </a:lnTo>
                    <a:lnTo>
                      <a:pt x="1206" y="3550"/>
                    </a:lnTo>
                    <a:lnTo>
                      <a:pt x="1205" y="3545"/>
                    </a:lnTo>
                    <a:lnTo>
                      <a:pt x="1205" y="3540"/>
                    </a:lnTo>
                    <a:lnTo>
                      <a:pt x="1205" y="3534"/>
                    </a:lnTo>
                    <a:lnTo>
                      <a:pt x="1207" y="3528"/>
                    </a:lnTo>
                    <a:lnTo>
                      <a:pt x="1212" y="3518"/>
                    </a:lnTo>
                    <a:lnTo>
                      <a:pt x="1220" y="3507"/>
                    </a:lnTo>
                    <a:lnTo>
                      <a:pt x="1227" y="3495"/>
                    </a:lnTo>
                    <a:lnTo>
                      <a:pt x="1234" y="3482"/>
                    </a:lnTo>
                    <a:lnTo>
                      <a:pt x="1234" y="3482"/>
                    </a:lnTo>
                    <a:lnTo>
                      <a:pt x="1239" y="3471"/>
                    </a:lnTo>
                    <a:lnTo>
                      <a:pt x="1245" y="3458"/>
                    </a:lnTo>
                    <a:lnTo>
                      <a:pt x="1254" y="3433"/>
                    </a:lnTo>
                    <a:lnTo>
                      <a:pt x="1254" y="3433"/>
                    </a:lnTo>
                    <a:lnTo>
                      <a:pt x="1254" y="3429"/>
                    </a:lnTo>
                    <a:lnTo>
                      <a:pt x="1254" y="3427"/>
                    </a:lnTo>
                    <a:lnTo>
                      <a:pt x="1251" y="3423"/>
                    </a:lnTo>
                    <a:lnTo>
                      <a:pt x="1246" y="3419"/>
                    </a:lnTo>
                    <a:lnTo>
                      <a:pt x="1239" y="3414"/>
                    </a:lnTo>
                    <a:lnTo>
                      <a:pt x="1226" y="3406"/>
                    </a:lnTo>
                    <a:lnTo>
                      <a:pt x="1221" y="3402"/>
                    </a:lnTo>
                    <a:lnTo>
                      <a:pt x="1219" y="3397"/>
                    </a:lnTo>
                    <a:lnTo>
                      <a:pt x="1219" y="3397"/>
                    </a:lnTo>
                    <a:lnTo>
                      <a:pt x="1216" y="3391"/>
                    </a:lnTo>
                    <a:lnTo>
                      <a:pt x="1216" y="3385"/>
                    </a:lnTo>
                    <a:lnTo>
                      <a:pt x="1218" y="3378"/>
                    </a:lnTo>
                    <a:lnTo>
                      <a:pt x="1220" y="3371"/>
                    </a:lnTo>
                    <a:lnTo>
                      <a:pt x="1224" y="3357"/>
                    </a:lnTo>
                    <a:lnTo>
                      <a:pt x="1230" y="3342"/>
                    </a:lnTo>
                    <a:lnTo>
                      <a:pt x="1237" y="3327"/>
                    </a:lnTo>
                    <a:lnTo>
                      <a:pt x="1242" y="3313"/>
                    </a:lnTo>
                    <a:lnTo>
                      <a:pt x="1243" y="3305"/>
                    </a:lnTo>
                    <a:lnTo>
                      <a:pt x="1244" y="3298"/>
                    </a:lnTo>
                    <a:lnTo>
                      <a:pt x="1244" y="3290"/>
                    </a:lnTo>
                    <a:lnTo>
                      <a:pt x="1242" y="3283"/>
                    </a:lnTo>
                    <a:lnTo>
                      <a:pt x="1242" y="3283"/>
                    </a:lnTo>
                    <a:lnTo>
                      <a:pt x="1241" y="3273"/>
                    </a:lnTo>
                    <a:lnTo>
                      <a:pt x="1241" y="3266"/>
                    </a:lnTo>
                    <a:lnTo>
                      <a:pt x="1242" y="3262"/>
                    </a:lnTo>
                    <a:lnTo>
                      <a:pt x="1244" y="3260"/>
                    </a:lnTo>
                    <a:lnTo>
                      <a:pt x="1249" y="3257"/>
                    </a:lnTo>
                    <a:lnTo>
                      <a:pt x="1254" y="3254"/>
                    </a:lnTo>
                    <a:lnTo>
                      <a:pt x="1262" y="3252"/>
                    </a:lnTo>
                    <a:lnTo>
                      <a:pt x="1282" y="3246"/>
                    </a:lnTo>
                    <a:lnTo>
                      <a:pt x="1282" y="3246"/>
                    </a:lnTo>
                    <a:lnTo>
                      <a:pt x="1283" y="3245"/>
                    </a:lnTo>
                    <a:lnTo>
                      <a:pt x="1285" y="3244"/>
                    </a:lnTo>
                    <a:lnTo>
                      <a:pt x="1287" y="3238"/>
                    </a:lnTo>
                    <a:lnTo>
                      <a:pt x="1287" y="3231"/>
                    </a:lnTo>
                    <a:lnTo>
                      <a:pt x="1285" y="3223"/>
                    </a:lnTo>
                    <a:lnTo>
                      <a:pt x="1281" y="3207"/>
                    </a:lnTo>
                    <a:lnTo>
                      <a:pt x="1279" y="3195"/>
                    </a:lnTo>
                    <a:lnTo>
                      <a:pt x="1279" y="3195"/>
                    </a:lnTo>
                    <a:lnTo>
                      <a:pt x="1292" y="3196"/>
                    </a:lnTo>
                    <a:lnTo>
                      <a:pt x="1305" y="3195"/>
                    </a:lnTo>
                    <a:lnTo>
                      <a:pt x="1317" y="3191"/>
                    </a:lnTo>
                    <a:lnTo>
                      <a:pt x="1326" y="3185"/>
                    </a:lnTo>
                    <a:lnTo>
                      <a:pt x="1334" y="3178"/>
                    </a:lnTo>
                    <a:lnTo>
                      <a:pt x="1342" y="3169"/>
                    </a:lnTo>
                    <a:lnTo>
                      <a:pt x="1349" y="3159"/>
                    </a:lnTo>
                    <a:lnTo>
                      <a:pt x="1357" y="3147"/>
                    </a:lnTo>
                    <a:lnTo>
                      <a:pt x="1357" y="3147"/>
                    </a:lnTo>
                    <a:lnTo>
                      <a:pt x="1364" y="3132"/>
                    </a:lnTo>
                    <a:lnTo>
                      <a:pt x="1368" y="3121"/>
                    </a:lnTo>
                    <a:lnTo>
                      <a:pt x="1370" y="3116"/>
                    </a:lnTo>
                    <a:lnTo>
                      <a:pt x="1370" y="3112"/>
                    </a:lnTo>
                    <a:lnTo>
                      <a:pt x="1370" y="3107"/>
                    </a:lnTo>
                    <a:lnTo>
                      <a:pt x="1367" y="3104"/>
                    </a:lnTo>
                    <a:lnTo>
                      <a:pt x="1363" y="3096"/>
                    </a:lnTo>
                    <a:lnTo>
                      <a:pt x="1356" y="3086"/>
                    </a:lnTo>
                    <a:lnTo>
                      <a:pt x="1335" y="3063"/>
                    </a:lnTo>
                    <a:lnTo>
                      <a:pt x="1335" y="3063"/>
                    </a:lnTo>
                    <a:lnTo>
                      <a:pt x="1350" y="3068"/>
                    </a:lnTo>
                    <a:lnTo>
                      <a:pt x="1365" y="3074"/>
                    </a:lnTo>
                    <a:lnTo>
                      <a:pt x="1373" y="3075"/>
                    </a:lnTo>
                    <a:lnTo>
                      <a:pt x="1380" y="3075"/>
                    </a:lnTo>
                    <a:lnTo>
                      <a:pt x="1387" y="3073"/>
                    </a:lnTo>
                    <a:lnTo>
                      <a:pt x="1393" y="3068"/>
                    </a:lnTo>
                    <a:lnTo>
                      <a:pt x="1393" y="3068"/>
                    </a:lnTo>
                    <a:lnTo>
                      <a:pt x="1409" y="3053"/>
                    </a:lnTo>
                    <a:lnTo>
                      <a:pt x="1425" y="3038"/>
                    </a:lnTo>
                    <a:lnTo>
                      <a:pt x="1441" y="3022"/>
                    </a:lnTo>
                    <a:lnTo>
                      <a:pt x="1449" y="3014"/>
                    </a:lnTo>
                    <a:lnTo>
                      <a:pt x="1455" y="3006"/>
                    </a:lnTo>
                    <a:lnTo>
                      <a:pt x="1455" y="3006"/>
                    </a:lnTo>
                    <a:lnTo>
                      <a:pt x="1466" y="2988"/>
                    </a:lnTo>
                    <a:lnTo>
                      <a:pt x="1477" y="2971"/>
                    </a:lnTo>
                    <a:lnTo>
                      <a:pt x="1485" y="2953"/>
                    </a:lnTo>
                    <a:lnTo>
                      <a:pt x="1492" y="2934"/>
                    </a:lnTo>
                    <a:lnTo>
                      <a:pt x="1497" y="2915"/>
                    </a:lnTo>
                    <a:lnTo>
                      <a:pt x="1502" y="2895"/>
                    </a:lnTo>
                    <a:lnTo>
                      <a:pt x="1504" y="2874"/>
                    </a:lnTo>
                    <a:lnTo>
                      <a:pt x="1505" y="2854"/>
                    </a:lnTo>
                    <a:lnTo>
                      <a:pt x="1505" y="2854"/>
                    </a:lnTo>
                    <a:lnTo>
                      <a:pt x="1507" y="2847"/>
                    </a:lnTo>
                    <a:lnTo>
                      <a:pt x="1509" y="2839"/>
                    </a:lnTo>
                    <a:lnTo>
                      <a:pt x="1512" y="2832"/>
                    </a:lnTo>
                    <a:lnTo>
                      <a:pt x="1517" y="2824"/>
                    </a:lnTo>
                    <a:lnTo>
                      <a:pt x="1523" y="2817"/>
                    </a:lnTo>
                    <a:lnTo>
                      <a:pt x="1528" y="2810"/>
                    </a:lnTo>
                    <a:lnTo>
                      <a:pt x="1536" y="2804"/>
                    </a:lnTo>
                    <a:lnTo>
                      <a:pt x="1543" y="2797"/>
                    </a:lnTo>
                    <a:lnTo>
                      <a:pt x="1561" y="2787"/>
                    </a:lnTo>
                    <a:lnTo>
                      <a:pt x="1578" y="2779"/>
                    </a:lnTo>
                    <a:lnTo>
                      <a:pt x="1587" y="2775"/>
                    </a:lnTo>
                    <a:lnTo>
                      <a:pt x="1596" y="2773"/>
                    </a:lnTo>
                    <a:lnTo>
                      <a:pt x="1604" y="2772"/>
                    </a:lnTo>
                    <a:lnTo>
                      <a:pt x="1612" y="2772"/>
                    </a:lnTo>
                    <a:lnTo>
                      <a:pt x="1612" y="2772"/>
                    </a:lnTo>
                    <a:lnTo>
                      <a:pt x="1623" y="2771"/>
                    </a:lnTo>
                    <a:lnTo>
                      <a:pt x="1633" y="2769"/>
                    </a:lnTo>
                    <a:lnTo>
                      <a:pt x="1642" y="2765"/>
                    </a:lnTo>
                    <a:lnTo>
                      <a:pt x="1650" y="2760"/>
                    </a:lnTo>
                    <a:lnTo>
                      <a:pt x="1657" y="2755"/>
                    </a:lnTo>
                    <a:lnTo>
                      <a:pt x="1663" y="2748"/>
                    </a:lnTo>
                    <a:lnTo>
                      <a:pt x="1669" y="2740"/>
                    </a:lnTo>
                    <a:lnTo>
                      <a:pt x="1673" y="2732"/>
                    </a:lnTo>
                    <a:lnTo>
                      <a:pt x="1678" y="2723"/>
                    </a:lnTo>
                    <a:lnTo>
                      <a:pt x="1682" y="2713"/>
                    </a:lnTo>
                    <a:lnTo>
                      <a:pt x="1686" y="2693"/>
                    </a:lnTo>
                    <a:lnTo>
                      <a:pt x="1690" y="2672"/>
                    </a:lnTo>
                    <a:lnTo>
                      <a:pt x="1692" y="2651"/>
                    </a:lnTo>
                    <a:lnTo>
                      <a:pt x="1692" y="2651"/>
                    </a:lnTo>
                    <a:lnTo>
                      <a:pt x="1695" y="2610"/>
                    </a:lnTo>
                    <a:lnTo>
                      <a:pt x="1696" y="2589"/>
                    </a:lnTo>
                    <a:lnTo>
                      <a:pt x="1696" y="2568"/>
                    </a:lnTo>
                    <a:lnTo>
                      <a:pt x="1696" y="2568"/>
                    </a:lnTo>
                    <a:lnTo>
                      <a:pt x="1694" y="2556"/>
                    </a:lnTo>
                    <a:lnTo>
                      <a:pt x="1692" y="2547"/>
                    </a:lnTo>
                    <a:lnTo>
                      <a:pt x="1687" y="2538"/>
                    </a:lnTo>
                    <a:lnTo>
                      <a:pt x="1686" y="2535"/>
                    </a:lnTo>
                    <a:lnTo>
                      <a:pt x="1688" y="2530"/>
                    </a:lnTo>
                    <a:lnTo>
                      <a:pt x="1695" y="2523"/>
                    </a:lnTo>
                    <a:lnTo>
                      <a:pt x="1706" y="2513"/>
                    </a:lnTo>
                    <a:lnTo>
                      <a:pt x="1706" y="2513"/>
                    </a:lnTo>
                    <a:lnTo>
                      <a:pt x="1723" y="2499"/>
                    </a:lnTo>
                    <a:lnTo>
                      <a:pt x="1744" y="2483"/>
                    </a:lnTo>
                    <a:lnTo>
                      <a:pt x="1754" y="2475"/>
                    </a:lnTo>
                    <a:lnTo>
                      <a:pt x="1763" y="2467"/>
                    </a:lnTo>
                    <a:lnTo>
                      <a:pt x="1771" y="2458"/>
                    </a:lnTo>
                    <a:lnTo>
                      <a:pt x="1776" y="2448"/>
                    </a:lnTo>
                    <a:lnTo>
                      <a:pt x="1776" y="2448"/>
                    </a:lnTo>
                    <a:lnTo>
                      <a:pt x="1779" y="2439"/>
                    </a:lnTo>
                    <a:lnTo>
                      <a:pt x="1781" y="2429"/>
                    </a:lnTo>
                    <a:lnTo>
                      <a:pt x="1782" y="2416"/>
                    </a:lnTo>
                    <a:lnTo>
                      <a:pt x="1782" y="2404"/>
                    </a:lnTo>
                    <a:lnTo>
                      <a:pt x="1781" y="2378"/>
                    </a:lnTo>
                    <a:lnTo>
                      <a:pt x="1779" y="2356"/>
                    </a:lnTo>
                    <a:lnTo>
                      <a:pt x="1779" y="2356"/>
                    </a:lnTo>
                    <a:close/>
                    <a:moveTo>
                      <a:pt x="1064" y="1054"/>
                    </a:moveTo>
                    <a:lnTo>
                      <a:pt x="1064" y="1054"/>
                    </a:lnTo>
                    <a:lnTo>
                      <a:pt x="1041" y="1069"/>
                    </a:lnTo>
                    <a:lnTo>
                      <a:pt x="1041" y="1069"/>
                    </a:lnTo>
                    <a:lnTo>
                      <a:pt x="1064" y="1054"/>
                    </a:lnTo>
                    <a:lnTo>
                      <a:pt x="1064" y="1054"/>
                    </a:lnTo>
                    <a:close/>
                    <a:moveTo>
                      <a:pt x="917" y="2278"/>
                    </a:moveTo>
                    <a:lnTo>
                      <a:pt x="917" y="2278"/>
                    </a:lnTo>
                    <a:lnTo>
                      <a:pt x="917" y="2279"/>
                    </a:lnTo>
                    <a:lnTo>
                      <a:pt x="917" y="2279"/>
                    </a:lnTo>
                    <a:lnTo>
                      <a:pt x="917" y="2278"/>
                    </a:lnTo>
                    <a:lnTo>
                      <a:pt x="917" y="2278"/>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85" name="Freeform 400">
                <a:extLst>
                  <a:ext uri="{FF2B5EF4-FFF2-40B4-BE49-F238E27FC236}">
                    <a16:creationId xmlns:a16="http://schemas.microsoft.com/office/drawing/2014/main" id="{193A178F-E526-4DE8-A990-EB6984EE1166}"/>
                  </a:ext>
                </a:extLst>
              </p:cNvPr>
              <p:cNvSpPr>
                <a:spLocks/>
              </p:cNvSpPr>
              <p:nvPr/>
            </p:nvSpPr>
            <p:spPr bwMode="auto">
              <a:xfrm>
                <a:off x="2889250" y="384175"/>
                <a:ext cx="49213" cy="31750"/>
              </a:xfrm>
              <a:custGeom>
                <a:avLst/>
                <a:gdLst>
                  <a:gd name="T0" fmla="*/ 65 w 219"/>
                  <a:gd name="T1" fmla="*/ 123 h 137"/>
                  <a:gd name="T2" fmla="*/ 65 w 219"/>
                  <a:gd name="T3" fmla="*/ 123 h 137"/>
                  <a:gd name="T4" fmla="*/ 68 w 219"/>
                  <a:gd name="T5" fmla="*/ 119 h 137"/>
                  <a:gd name="T6" fmla="*/ 73 w 219"/>
                  <a:gd name="T7" fmla="*/ 114 h 137"/>
                  <a:gd name="T8" fmla="*/ 79 w 219"/>
                  <a:gd name="T9" fmla="*/ 102 h 137"/>
                  <a:gd name="T10" fmla="*/ 82 w 219"/>
                  <a:gd name="T11" fmla="*/ 95 h 137"/>
                  <a:gd name="T12" fmla="*/ 86 w 219"/>
                  <a:gd name="T13" fmla="*/ 91 h 137"/>
                  <a:gd name="T14" fmla="*/ 89 w 219"/>
                  <a:gd name="T15" fmla="*/ 86 h 137"/>
                  <a:gd name="T16" fmla="*/ 95 w 219"/>
                  <a:gd name="T17" fmla="*/ 82 h 137"/>
                  <a:gd name="T18" fmla="*/ 95 w 219"/>
                  <a:gd name="T19" fmla="*/ 82 h 137"/>
                  <a:gd name="T20" fmla="*/ 126 w 219"/>
                  <a:gd name="T21" fmla="*/ 72 h 137"/>
                  <a:gd name="T22" fmla="*/ 156 w 219"/>
                  <a:gd name="T23" fmla="*/ 64 h 137"/>
                  <a:gd name="T24" fmla="*/ 186 w 219"/>
                  <a:gd name="T25" fmla="*/ 59 h 137"/>
                  <a:gd name="T26" fmla="*/ 219 w 219"/>
                  <a:gd name="T27" fmla="*/ 56 h 137"/>
                  <a:gd name="T28" fmla="*/ 219 w 219"/>
                  <a:gd name="T29" fmla="*/ 56 h 137"/>
                  <a:gd name="T30" fmla="*/ 211 w 219"/>
                  <a:gd name="T31" fmla="*/ 47 h 137"/>
                  <a:gd name="T32" fmla="*/ 203 w 219"/>
                  <a:gd name="T33" fmla="*/ 36 h 137"/>
                  <a:gd name="T34" fmla="*/ 195 w 219"/>
                  <a:gd name="T35" fmla="*/ 26 h 137"/>
                  <a:gd name="T36" fmla="*/ 187 w 219"/>
                  <a:gd name="T37" fmla="*/ 17 h 137"/>
                  <a:gd name="T38" fmla="*/ 179 w 219"/>
                  <a:gd name="T39" fmla="*/ 10 h 137"/>
                  <a:gd name="T40" fmla="*/ 174 w 219"/>
                  <a:gd name="T41" fmla="*/ 8 h 137"/>
                  <a:gd name="T42" fmla="*/ 170 w 219"/>
                  <a:gd name="T43" fmla="*/ 5 h 137"/>
                  <a:gd name="T44" fmla="*/ 165 w 219"/>
                  <a:gd name="T45" fmla="*/ 5 h 137"/>
                  <a:gd name="T46" fmla="*/ 160 w 219"/>
                  <a:gd name="T47" fmla="*/ 7 h 137"/>
                  <a:gd name="T48" fmla="*/ 155 w 219"/>
                  <a:gd name="T49" fmla="*/ 8 h 137"/>
                  <a:gd name="T50" fmla="*/ 150 w 219"/>
                  <a:gd name="T51" fmla="*/ 11 h 137"/>
                  <a:gd name="T52" fmla="*/ 150 w 219"/>
                  <a:gd name="T53" fmla="*/ 11 h 137"/>
                  <a:gd name="T54" fmla="*/ 144 w 219"/>
                  <a:gd name="T55" fmla="*/ 15 h 137"/>
                  <a:gd name="T56" fmla="*/ 141 w 219"/>
                  <a:gd name="T57" fmla="*/ 16 h 137"/>
                  <a:gd name="T58" fmla="*/ 137 w 219"/>
                  <a:gd name="T59" fmla="*/ 15 h 137"/>
                  <a:gd name="T60" fmla="*/ 136 w 219"/>
                  <a:gd name="T61" fmla="*/ 13 h 137"/>
                  <a:gd name="T62" fmla="*/ 133 w 219"/>
                  <a:gd name="T63" fmla="*/ 7 h 137"/>
                  <a:gd name="T64" fmla="*/ 129 w 219"/>
                  <a:gd name="T65" fmla="*/ 0 h 137"/>
                  <a:gd name="T66" fmla="*/ 129 w 219"/>
                  <a:gd name="T67" fmla="*/ 0 h 137"/>
                  <a:gd name="T68" fmla="*/ 64 w 219"/>
                  <a:gd name="T69" fmla="*/ 43 h 137"/>
                  <a:gd name="T70" fmla="*/ 31 w 219"/>
                  <a:gd name="T71" fmla="*/ 66 h 137"/>
                  <a:gd name="T72" fmla="*/ 0 w 219"/>
                  <a:gd name="T73" fmla="*/ 89 h 137"/>
                  <a:gd name="T74" fmla="*/ 0 w 219"/>
                  <a:gd name="T75" fmla="*/ 89 h 137"/>
                  <a:gd name="T76" fmla="*/ 2 w 219"/>
                  <a:gd name="T77" fmla="*/ 99 h 137"/>
                  <a:gd name="T78" fmla="*/ 4 w 219"/>
                  <a:gd name="T79" fmla="*/ 109 h 137"/>
                  <a:gd name="T80" fmla="*/ 13 w 219"/>
                  <a:gd name="T81" fmla="*/ 137 h 137"/>
                  <a:gd name="T82" fmla="*/ 13 w 219"/>
                  <a:gd name="T83" fmla="*/ 137 h 137"/>
                  <a:gd name="T84" fmla="*/ 25 w 219"/>
                  <a:gd name="T85" fmla="*/ 134 h 137"/>
                  <a:gd name="T86" fmla="*/ 39 w 219"/>
                  <a:gd name="T87" fmla="*/ 132 h 137"/>
                  <a:gd name="T88" fmla="*/ 53 w 219"/>
                  <a:gd name="T89" fmla="*/ 129 h 137"/>
                  <a:gd name="T90" fmla="*/ 59 w 219"/>
                  <a:gd name="T91" fmla="*/ 126 h 137"/>
                  <a:gd name="T92" fmla="*/ 65 w 219"/>
                  <a:gd name="T93" fmla="*/ 123 h 137"/>
                  <a:gd name="T94" fmla="*/ 65 w 219"/>
                  <a:gd name="T95" fmla="*/ 123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 h="137">
                    <a:moveTo>
                      <a:pt x="65" y="123"/>
                    </a:moveTo>
                    <a:lnTo>
                      <a:pt x="65" y="123"/>
                    </a:lnTo>
                    <a:lnTo>
                      <a:pt x="68" y="119"/>
                    </a:lnTo>
                    <a:lnTo>
                      <a:pt x="73" y="114"/>
                    </a:lnTo>
                    <a:lnTo>
                      <a:pt x="79" y="102"/>
                    </a:lnTo>
                    <a:lnTo>
                      <a:pt x="82" y="95"/>
                    </a:lnTo>
                    <a:lnTo>
                      <a:pt x="86" y="91"/>
                    </a:lnTo>
                    <a:lnTo>
                      <a:pt x="89" y="86"/>
                    </a:lnTo>
                    <a:lnTo>
                      <a:pt x="95" y="82"/>
                    </a:lnTo>
                    <a:lnTo>
                      <a:pt x="95" y="82"/>
                    </a:lnTo>
                    <a:lnTo>
                      <a:pt x="126" y="72"/>
                    </a:lnTo>
                    <a:lnTo>
                      <a:pt x="156" y="64"/>
                    </a:lnTo>
                    <a:lnTo>
                      <a:pt x="186" y="59"/>
                    </a:lnTo>
                    <a:lnTo>
                      <a:pt x="219" y="56"/>
                    </a:lnTo>
                    <a:lnTo>
                      <a:pt x="219" y="56"/>
                    </a:lnTo>
                    <a:lnTo>
                      <a:pt x="211" y="47"/>
                    </a:lnTo>
                    <a:lnTo>
                      <a:pt x="203" y="36"/>
                    </a:lnTo>
                    <a:lnTo>
                      <a:pt x="195" y="26"/>
                    </a:lnTo>
                    <a:lnTo>
                      <a:pt x="187" y="17"/>
                    </a:lnTo>
                    <a:lnTo>
                      <a:pt x="179" y="10"/>
                    </a:lnTo>
                    <a:lnTo>
                      <a:pt x="174" y="8"/>
                    </a:lnTo>
                    <a:lnTo>
                      <a:pt x="170" y="5"/>
                    </a:lnTo>
                    <a:lnTo>
                      <a:pt x="165" y="5"/>
                    </a:lnTo>
                    <a:lnTo>
                      <a:pt x="160" y="7"/>
                    </a:lnTo>
                    <a:lnTo>
                      <a:pt x="155" y="8"/>
                    </a:lnTo>
                    <a:lnTo>
                      <a:pt x="150" y="11"/>
                    </a:lnTo>
                    <a:lnTo>
                      <a:pt x="150" y="11"/>
                    </a:lnTo>
                    <a:lnTo>
                      <a:pt x="144" y="15"/>
                    </a:lnTo>
                    <a:lnTo>
                      <a:pt x="141" y="16"/>
                    </a:lnTo>
                    <a:lnTo>
                      <a:pt x="137" y="15"/>
                    </a:lnTo>
                    <a:lnTo>
                      <a:pt x="136" y="13"/>
                    </a:lnTo>
                    <a:lnTo>
                      <a:pt x="133" y="7"/>
                    </a:lnTo>
                    <a:lnTo>
                      <a:pt x="129" y="0"/>
                    </a:lnTo>
                    <a:lnTo>
                      <a:pt x="129" y="0"/>
                    </a:lnTo>
                    <a:lnTo>
                      <a:pt x="64" y="43"/>
                    </a:lnTo>
                    <a:lnTo>
                      <a:pt x="31" y="66"/>
                    </a:lnTo>
                    <a:lnTo>
                      <a:pt x="0" y="89"/>
                    </a:lnTo>
                    <a:lnTo>
                      <a:pt x="0" y="89"/>
                    </a:lnTo>
                    <a:lnTo>
                      <a:pt x="2" y="99"/>
                    </a:lnTo>
                    <a:lnTo>
                      <a:pt x="4" y="109"/>
                    </a:lnTo>
                    <a:lnTo>
                      <a:pt x="13" y="137"/>
                    </a:lnTo>
                    <a:lnTo>
                      <a:pt x="13" y="137"/>
                    </a:lnTo>
                    <a:lnTo>
                      <a:pt x="25" y="134"/>
                    </a:lnTo>
                    <a:lnTo>
                      <a:pt x="39" y="132"/>
                    </a:lnTo>
                    <a:lnTo>
                      <a:pt x="53" y="129"/>
                    </a:lnTo>
                    <a:lnTo>
                      <a:pt x="59" y="126"/>
                    </a:lnTo>
                    <a:lnTo>
                      <a:pt x="65" y="123"/>
                    </a:lnTo>
                    <a:lnTo>
                      <a:pt x="65" y="123"/>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sp>
            <p:nvSpPr>
              <p:cNvPr id="886" name="Freeform 401">
                <a:extLst>
                  <a:ext uri="{FF2B5EF4-FFF2-40B4-BE49-F238E27FC236}">
                    <a16:creationId xmlns:a16="http://schemas.microsoft.com/office/drawing/2014/main" id="{ED53B6F5-0118-4D3D-B2DC-F53511354688}"/>
                  </a:ext>
                </a:extLst>
              </p:cNvPr>
              <p:cNvSpPr>
                <a:spLocks/>
              </p:cNvSpPr>
              <p:nvPr/>
            </p:nvSpPr>
            <p:spPr bwMode="auto">
              <a:xfrm>
                <a:off x="3106738" y="368300"/>
                <a:ext cx="88900" cy="201613"/>
              </a:xfrm>
              <a:custGeom>
                <a:avLst/>
                <a:gdLst>
                  <a:gd name="T0" fmla="*/ 359 w 391"/>
                  <a:gd name="T1" fmla="*/ 30 h 885"/>
                  <a:gd name="T2" fmla="*/ 343 w 391"/>
                  <a:gd name="T3" fmla="*/ 44 h 885"/>
                  <a:gd name="T4" fmla="*/ 326 w 391"/>
                  <a:gd name="T5" fmla="*/ 42 h 885"/>
                  <a:gd name="T6" fmla="*/ 312 w 391"/>
                  <a:gd name="T7" fmla="*/ 26 h 885"/>
                  <a:gd name="T8" fmla="*/ 300 w 391"/>
                  <a:gd name="T9" fmla="*/ 8 h 885"/>
                  <a:gd name="T10" fmla="*/ 244 w 391"/>
                  <a:gd name="T11" fmla="*/ 0 h 885"/>
                  <a:gd name="T12" fmla="*/ 199 w 391"/>
                  <a:gd name="T13" fmla="*/ 6 h 885"/>
                  <a:gd name="T14" fmla="*/ 181 w 391"/>
                  <a:gd name="T15" fmla="*/ 31 h 885"/>
                  <a:gd name="T16" fmla="*/ 138 w 391"/>
                  <a:gd name="T17" fmla="*/ 38 h 885"/>
                  <a:gd name="T18" fmla="*/ 111 w 391"/>
                  <a:gd name="T19" fmla="*/ 46 h 885"/>
                  <a:gd name="T20" fmla="*/ 102 w 391"/>
                  <a:gd name="T21" fmla="*/ 69 h 885"/>
                  <a:gd name="T22" fmla="*/ 100 w 391"/>
                  <a:gd name="T23" fmla="*/ 90 h 885"/>
                  <a:gd name="T24" fmla="*/ 84 w 391"/>
                  <a:gd name="T25" fmla="*/ 101 h 885"/>
                  <a:gd name="T26" fmla="*/ 46 w 391"/>
                  <a:gd name="T27" fmla="*/ 97 h 885"/>
                  <a:gd name="T28" fmla="*/ 26 w 391"/>
                  <a:gd name="T29" fmla="*/ 84 h 885"/>
                  <a:gd name="T30" fmla="*/ 12 w 391"/>
                  <a:gd name="T31" fmla="*/ 120 h 885"/>
                  <a:gd name="T32" fmla="*/ 22 w 391"/>
                  <a:gd name="T33" fmla="*/ 140 h 885"/>
                  <a:gd name="T34" fmla="*/ 48 w 391"/>
                  <a:gd name="T35" fmla="*/ 148 h 885"/>
                  <a:gd name="T36" fmla="*/ 85 w 391"/>
                  <a:gd name="T37" fmla="*/ 154 h 885"/>
                  <a:gd name="T38" fmla="*/ 70 w 391"/>
                  <a:gd name="T39" fmla="*/ 166 h 885"/>
                  <a:gd name="T40" fmla="*/ 27 w 391"/>
                  <a:gd name="T41" fmla="*/ 162 h 885"/>
                  <a:gd name="T42" fmla="*/ 4 w 391"/>
                  <a:gd name="T43" fmla="*/ 171 h 885"/>
                  <a:gd name="T44" fmla="*/ 2 w 391"/>
                  <a:gd name="T45" fmla="*/ 178 h 885"/>
                  <a:gd name="T46" fmla="*/ 23 w 391"/>
                  <a:gd name="T47" fmla="*/ 230 h 885"/>
                  <a:gd name="T48" fmla="*/ 47 w 391"/>
                  <a:gd name="T49" fmla="*/ 253 h 885"/>
                  <a:gd name="T50" fmla="*/ 80 w 391"/>
                  <a:gd name="T51" fmla="*/ 246 h 885"/>
                  <a:gd name="T52" fmla="*/ 125 w 391"/>
                  <a:gd name="T53" fmla="*/ 251 h 885"/>
                  <a:gd name="T54" fmla="*/ 168 w 391"/>
                  <a:gd name="T55" fmla="*/ 290 h 885"/>
                  <a:gd name="T56" fmla="*/ 190 w 391"/>
                  <a:gd name="T57" fmla="*/ 348 h 885"/>
                  <a:gd name="T58" fmla="*/ 190 w 391"/>
                  <a:gd name="T59" fmla="*/ 407 h 885"/>
                  <a:gd name="T60" fmla="*/ 193 w 391"/>
                  <a:gd name="T61" fmla="*/ 444 h 885"/>
                  <a:gd name="T62" fmla="*/ 225 w 391"/>
                  <a:gd name="T63" fmla="*/ 444 h 885"/>
                  <a:gd name="T64" fmla="*/ 237 w 391"/>
                  <a:gd name="T65" fmla="*/ 457 h 885"/>
                  <a:gd name="T66" fmla="*/ 184 w 391"/>
                  <a:gd name="T67" fmla="*/ 472 h 885"/>
                  <a:gd name="T68" fmla="*/ 210 w 391"/>
                  <a:gd name="T69" fmla="*/ 500 h 885"/>
                  <a:gd name="T70" fmla="*/ 245 w 391"/>
                  <a:gd name="T71" fmla="*/ 512 h 885"/>
                  <a:gd name="T72" fmla="*/ 191 w 391"/>
                  <a:gd name="T73" fmla="*/ 590 h 885"/>
                  <a:gd name="T74" fmla="*/ 176 w 391"/>
                  <a:gd name="T75" fmla="*/ 634 h 885"/>
                  <a:gd name="T76" fmla="*/ 178 w 391"/>
                  <a:gd name="T77" fmla="*/ 687 h 885"/>
                  <a:gd name="T78" fmla="*/ 183 w 391"/>
                  <a:gd name="T79" fmla="*/ 711 h 885"/>
                  <a:gd name="T80" fmla="*/ 176 w 391"/>
                  <a:gd name="T81" fmla="*/ 739 h 885"/>
                  <a:gd name="T82" fmla="*/ 187 w 391"/>
                  <a:gd name="T83" fmla="*/ 784 h 885"/>
                  <a:gd name="T84" fmla="*/ 200 w 391"/>
                  <a:gd name="T85" fmla="*/ 807 h 885"/>
                  <a:gd name="T86" fmla="*/ 232 w 391"/>
                  <a:gd name="T87" fmla="*/ 837 h 885"/>
                  <a:gd name="T88" fmla="*/ 253 w 391"/>
                  <a:gd name="T89" fmla="*/ 838 h 885"/>
                  <a:gd name="T90" fmla="*/ 263 w 391"/>
                  <a:gd name="T91" fmla="*/ 847 h 885"/>
                  <a:gd name="T92" fmla="*/ 281 w 391"/>
                  <a:gd name="T93" fmla="*/ 879 h 885"/>
                  <a:gd name="T94" fmla="*/ 313 w 391"/>
                  <a:gd name="T95" fmla="*/ 885 h 885"/>
                  <a:gd name="T96" fmla="*/ 323 w 391"/>
                  <a:gd name="T97" fmla="*/ 874 h 885"/>
                  <a:gd name="T98" fmla="*/ 337 w 391"/>
                  <a:gd name="T99" fmla="*/ 812 h 885"/>
                  <a:gd name="T100" fmla="*/ 364 w 391"/>
                  <a:gd name="T101" fmla="*/ 768 h 885"/>
                  <a:gd name="T102" fmla="*/ 391 w 391"/>
                  <a:gd name="T103" fmla="*/ 16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91" h="885">
                    <a:moveTo>
                      <a:pt x="360" y="8"/>
                    </a:moveTo>
                    <a:lnTo>
                      <a:pt x="360" y="8"/>
                    </a:lnTo>
                    <a:lnTo>
                      <a:pt x="360" y="24"/>
                    </a:lnTo>
                    <a:lnTo>
                      <a:pt x="359" y="30"/>
                    </a:lnTo>
                    <a:lnTo>
                      <a:pt x="357" y="36"/>
                    </a:lnTo>
                    <a:lnTo>
                      <a:pt x="353" y="39"/>
                    </a:lnTo>
                    <a:lnTo>
                      <a:pt x="349" y="41"/>
                    </a:lnTo>
                    <a:lnTo>
                      <a:pt x="343" y="44"/>
                    </a:lnTo>
                    <a:lnTo>
                      <a:pt x="336" y="44"/>
                    </a:lnTo>
                    <a:lnTo>
                      <a:pt x="336" y="44"/>
                    </a:lnTo>
                    <a:lnTo>
                      <a:pt x="330" y="44"/>
                    </a:lnTo>
                    <a:lnTo>
                      <a:pt x="326" y="42"/>
                    </a:lnTo>
                    <a:lnTo>
                      <a:pt x="322" y="40"/>
                    </a:lnTo>
                    <a:lnTo>
                      <a:pt x="320" y="38"/>
                    </a:lnTo>
                    <a:lnTo>
                      <a:pt x="315" y="33"/>
                    </a:lnTo>
                    <a:lnTo>
                      <a:pt x="312" y="26"/>
                    </a:lnTo>
                    <a:lnTo>
                      <a:pt x="310" y="21"/>
                    </a:lnTo>
                    <a:lnTo>
                      <a:pt x="307" y="15"/>
                    </a:lnTo>
                    <a:lnTo>
                      <a:pt x="303" y="10"/>
                    </a:lnTo>
                    <a:lnTo>
                      <a:pt x="300" y="8"/>
                    </a:lnTo>
                    <a:lnTo>
                      <a:pt x="296" y="8"/>
                    </a:lnTo>
                    <a:lnTo>
                      <a:pt x="296" y="8"/>
                    </a:lnTo>
                    <a:lnTo>
                      <a:pt x="263" y="2"/>
                    </a:lnTo>
                    <a:lnTo>
                      <a:pt x="244" y="0"/>
                    </a:lnTo>
                    <a:lnTo>
                      <a:pt x="224" y="0"/>
                    </a:lnTo>
                    <a:lnTo>
                      <a:pt x="215" y="1"/>
                    </a:lnTo>
                    <a:lnTo>
                      <a:pt x="206" y="3"/>
                    </a:lnTo>
                    <a:lnTo>
                      <a:pt x="199" y="6"/>
                    </a:lnTo>
                    <a:lnTo>
                      <a:pt x="192" y="10"/>
                    </a:lnTo>
                    <a:lnTo>
                      <a:pt x="186" y="15"/>
                    </a:lnTo>
                    <a:lnTo>
                      <a:pt x="183" y="22"/>
                    </a:lnTo>
                    <a:lnTo>
                      <a:pt x="181" y="31"/>
                    </a:lnTo>
                    <a:lnTo>
                      <a:pt x="181" y="41"/>
                    </a:lnTo>
                    <a:lnTo>
                      <a:pt x="181" y="41"/>
                    </a:lnTo>
                    <a:lnTo>
                      <a:pt x="152" y="38"/>
                    </a:lnTo>
                    <a:lnTo>
                      <a:pt x="138" y="38"/>
                    </a:lnTo>
                    <a:lnTo>
                      <a:pt x="126" y="39"/>
                    </a:lnTo>
                    <a:lnTo>
                      <a:pt x="121" y="40"/>
                    </a:lnTo>
                    <a:lnTo>
                      <a:pt x="116" y="44"/>
                    </a:lnTo>
                    <a:lnTo>
                      <a:pt x="111" y="46"/>
                    </a:lnTo>
                    <a:lnTo>
                      <a:pt x="108" y="50"/>
                    </a:lnTo>
                    <a:lnTo>
                      <a:pt x="106" y="56"/>
                    </a:lnTo>
                    <a:lnTo>
                      <a:pt x="103" y="62"/>
                    </a:lnTo>
                    <a:lnTo>
                      <a:pt x="102" y="69"/>
                    </a:lnTo>
                    <a:lnTo>
                      <a:pt x="102" y="78"/>
                    </a:lnTo>
                    <a:lnTo>
                      <a:pt x="102" y="78"/>
                    </a:lnTo>
                    <a:lnTo>
                      <a:pt x="102" y="84"/>
                    </a:lnTo>
                    <a:lnTo>
                      <a:pt x="100" y="90"/>
                    </a:lnTo>
                    <a:lnTo>
                      <a:pt x="98" y="93"/>
                    </a:lnTo>
                    <a:lnTo>
                      <a:pt x="94" y="97"/>
                    </a:lnTo>
                    <a:lnTo>
                      <a:pt x="90" y="99"/>
                    </a:lnTo>
                    <a:lnTo>
                      <a:pt x="84" y="101"/>
                    </a:lnTo>
                    <a:lnTo>
                      <a:pt x="78" y="102"/>
                    </a:lnTo>
                    <a:lnTo>
                      <a:pt x="72" y="102"/>
                    </a:lnTo>
                    <a:lnTo>
                      <a:pt x="59" y="101"/>
                    </a:lnTo>
                    <a:lnTo>
                      <a:pt x="46" y="97"/>
                    </a:lnTo>
                    <a:lnTo>
                      <a:pt x="35" y="91"/>
                    </a:lnTo>
                    <a:lnTo>
                      <a:pt x="31" y="88"/>
                    </a:lnTo>
                    <a:lnTo>
                      <a:pt x="26" y="84"/>
                    </a:lnTo>
                    <a:lnTo>
                      <a:pt x="26" y="84"/>
                    </a:lnTo>
                    <a:lnTo>
                      <a:pt x="21" y="94"/>
                    </a:lnTo>
                    <a:lnTo>
                      <a:pt x="17" y="103"/>
                    </a:lnTo>
                    <a:lnTo>
                      <a:pt x="14" y="113"/>
                    </a:lnTo>
                    <a:lnTo>
                      <a:pt x="12" y="120"/>
                    </a:lnTo>
                    <a:lnTo>
                      <a:pt x="14" y="125"/>
                    </a:lnTo>
                    <a:lnTo>
                      <a:pt x="15" y="131"/>
                    </a:lnTo>
                    <a:lnTo>
                      <a:pt x="18" y="136"/>
                    </a:lnTo>
                    <a:lnTo>
                      <a:pt x="22" y="140"/>
                    </a:lnTo>
                    <a:lnTo>
                      <a:pt x="27" y="143"/>
                    </a:lnTo>
                    <a:lnTo>
                      <a:pt x="33" y="145"/>
                    </a:lnTo>
                    <a:lnTo>
                      <a:pt x="40" y="147"/>
                    </a:lnTo>
                    <a:lnTo>
                      <a:pt x="48" y="148"/>
                    </a:lnTo>
                    <a:lnTo>
                      <a:pt x="65" y="148"/>
                    </a:lnTo>
                    <a:lnTo>
                      <a:pt x="86" y="147"/>
                    </a:lnTo>
                    <a:lnTo>
                      <a:pt x="86" y="147"/>
                    </a:lnTo>
                    <a:lnTo>
                      <a:pt x="85" y="154"/>
                    </a:lnTo>
                    <a:lnTo>
                      <a:pt x="83" y="160"/>
                    </a:lnTo>
                    <a:lnTo>
                      <a:pt x="79" y="163"/>
                    </a:lnTo>
                    <a:lnTo>
                      <a:pt x="75" y="166"/>
                    </a:lnTo>
                    <a:lnTo>
                      <a:pt x="70" y="166"/>
                    </a:lnTo>
                    <a:lnTo>
                      <a:pt x="63" y="166"/>
                    </a:lnTo>
                    <a:lnTo>
                      <a:pt x="49" y="164"/>
                    </a:lnTo>
                    <a:lnTo>
                      <a:pt x="34" y="162"/>
                    </a:lnTo>
                    <a:lnTo>
                      <a:pt x="27" y="162"/>
                    </a:lnTo>
                    <a:lnTo>
                      <a:pt x="21" y="162"/>
                    </a:lnTo>
                    <a:lnTo>
                      <a:pt x="14" y="163"/>
                    </a:lnTo>
                    <a:lnTo>
                      <a:pt x="9" y="167"/>
                    </a:lnTo>
                    <a:lnTo>
                      <a:pt x="4" y="171"/>
                    </a:lnTo>
                    <a:lnTo>
                      <a:pt x="0" y="177"/>
                    </a:lnTo>
                    <a:lnTo>
                      <a:pt x="0" y="177"/>
                    </a:lnTo>
                    <a:lnTo>
                      <a:pt x="1" y="177"/>
                    </a:lnTo>
                    <a:lnTo>
                      <a:pt x="2" y="178"/>
                    </a:lnTo>
                    <a:lnTo>
                      <a:pt x="4" y="184"/>
                    </a:lnTo>
                    <a:lnTo>
                      <a:pt x="11" y="201"/>
                    </a:lnTo>
                    <a:lnTo>
                      <a:pt x="23" y="230"/>
                    </a:lnTo>
                    <a:lnTo>
                      <a:pt x="23" y="230"/>
                    </a:lnTo>
                    <a:lnTo>
                      <a:pt x="31" y="242"/>
                    </a:lnTo>
                    <a:lnTo>
                      <a:pt x="38" y="249"/>
                    </a:lnTo>
                    <a:lnTo>
                      <a:pt x="42" y="252"/>
                    </a:lnTo>
                    <a:lnTo>
                      <a:pt x="47" y="253"/>
                    </a:lnTo>
                    <a:lnTo>
                      <a:pt x="53" y="252"/>
                    </a:lnTo>
                    <a:lnTo>
                      <a:pt x="59" y="251"/>
                    </a:lnTo>
                    <a:lnTo>
                      <a:pt x="68" y="249"/>
                    </a:lnTo>
                    <a:lnTo>
                      <a:pt x="80" y="246"/>
                    </a:lnTo>
                    <a:lnTo>
                      <a:pt x="80" y="246"/>
                    </a:lnTo>
                    <a:lnTo>
                      <a:pt x="97" y="245"/>
                    </a:lnTo>
                    <a:lnTo>
                      <a:pt x="111" y="246"/>
                    </a:lnTo>
                    <a:lnTo>
                      <a:pt x="125" y="251"/>
                    </a:lnTo>
                    <a:lnTo>
                      <a:pt x="138" y="257"/>
                    </a:lnTo>
                    <a:lnTo>
                      <a:pt x="149" y="266"/>
                    </a:lnTo>
                    <a:lnTo>
                      <a:pt x="160" y="277"/>
                    </a:lnTo>
                    <a:lnTo>
                      <a:pt x="168" y="290"/>
                    </a:lnTo>
                    <a:lnTo>
                      <a:pt x="175" y="306"/>
                    </a:lnTo>
                    <a:lnTo>
                      <a:pt x="175" y="306"/>
                    </a:lnTo>
                    <a:lnTo>
                      <a:pt x="183" y="329"/>
                    </a:lnTo>
                    <a:lnTo>
                      <a:pt x="190" y="348"/>
                    </a:lnTo>
                    <a:lnTo>
                      <a:pt x="193" y="364"/>
                    </a:lnTo>
                    <a:lnTo>
                      <a:pt x="196" y="379"/>
                    </a:lnTo>
                    <a:lnTo>
                      <a:pt x="194" y="392"/>
                    </a:lnTo>
                    <a:lnTo>
                      <a:pt x="190" y="407"/>
                    </a:lnTo>
                    <a:lnTo>
                      <a:pt x="183" y="426"/>
                    </a:lnTo>
                    <a:lnTo>
                      <a:pt x="173" y="448"/>
                    </a:lnTo>
                    <a:lnTo>
                      <a:pt x="173" y="448"/>
                    </a:lnTo>
                    <a:lnTo>
                      <a:pt x="193" y="444"/>
                    </a:lnTo>
                    <a:lnTo>
                      <a:pt x="205" y="442"/>
                    </a:lnTo>
                    <a:lnTo>
                      <a:pt x="216" y="442"/>
                    </a:lnTo>
                    <a:lnTo>
                      <a:pt x="221" y="442"/>
                    </a:lnTo>
                    <a:lnTo>
                      <a:pt x="225" y="444"/>
                    </a:lnTo>
                    <a:lnTo>
                      <a:pt x="230" y="445"/>
                    </a:lnTo>
                    <a:lnTo>
                      <a:pt x="232" y="449"/>
                    </a:lnTo>
                    <a:lnTo>
                      <a:pt x="236" y="452"/>
                    </a:lnTo>
                    <a:lnTo>
                      <a:pt x="237" y="457"/>
                    </a:lnTo>
                    <a:lnTo>
                      <a:pt x="238" y="463"/>
                    </a:lnTo>
                    <a:lnTo>
                      <a:pt x="238" y="470"/>
                    </a:lnTo>
                    <a:lnTo>
                      <a:pt x="238" y="470"/>
                    </a:lnTo>
                    <a:lnTo>
                      <a:pt x="184" y="472"/>
                    </a:lnTo>
                    <a:lnTo>
                      <a:pt x="184" y="472"/>
                    </a:lnTo>
                    <a:lnTo>
                      <a:pt x="198" y="486"/>
                    </a:lnTo>
                    <a:lnTo>
                      <a:pt x="204" y="493"/>
                    </a:lnTo>
                    <a:lnTo>
                      <a:pt x="210" y="500"/>
                    </a:lnTo>
                    <a:lnTo>
                      <a:pt x="219" y="505"/>
                    </a:lnTo>
                    <a:lnTo>
                      <a:pt x="225" y="509"/>
                    </a:lnTo>
                    <a:lnTo>
                      <a:pt x="235" y="512"/>
                    </a:lnTo>
                    <a:lnTo>
                      <a:pt x="245" y="512"/>
                    </a:lnTo>
                    <a:lnTo>
                      <a:pt x="245" y="512"/>
                    </a:lnTo>
                    <a:lnTo>
                      <a:pt x="210" y="558"/>
                    </a:lnTo>
                    <a:lnTo>
                      <a:pt x="197" y="579"/>
                    </a:lnTo>
                    <a:lnTo>
                      <a:pt x="191" y="590"/>
                    </a:lnTo>
                    <a:lnTo>
                      <a:pt x="185" y="601"/>
                    </a:lnTo>
                    <a:lnTo>
                      <a:pt x="181" y="611"/>
                    </a:lnTo>
                    <a:lnTo>
                      <a:pt x="178" y="623"/>
                    </a:lnTo>
                    <a:lnTo>
                      <a:pt x="176" y="634"/>
                    </a:lnTo>
                    <a:lnTo>
                      <a:pt x="175" y="647"/>
                    </a:lnTo>
                    <a:lnTo>
                      <a:pt x="175" y="660"/>
                    </a:lnTo>
                    <a:lnTo>
                      <a:pt x="176" y="672"/>
                    </a:lnTo>
                    <a:lnTo>
                      <a:pt x="178" y="687"/>
                    </a:lnTo>
                    <a:lnTo>
                      <a:pt x="183" y="702"/>
                    </a:lnTo>
                    <a:lnTo>
                      <a:pt x="183" y="702"/>
                    </a:lnTo>
                    <a:lnTo>
                      <a:pt x="184" y="707"/>
                    </a:lnTo>
                    <a:lnTo>
                      <a:pt x="183" y="711"/>
                    </a:lnTo>
                    <a:lnTo>
                      <a:pt x="179" y="721"/>
                    </a:lnTo>
                    <a:lnTo>
                      <a:pt x="176" y="730"/>
                    </a:lnTo>
                    <a:lnTo>
                      <a:pt x="175" y="734"/>
                    </a:lnTo>
                    <a:lnTo>
                      <a:pt x="176" y="739"/>
                    </a:lnTo>
                    <a:lnTo>
                      <a:pt x="176" y="739"/>
                    </a:lnTo>
                    <a:lnTo>
                      <a:pt x="179" y="754"/>
                    </a:lnTo>
                    <a:lnTo>
                      <a:pt x="183" y="769"/>
                    </a:lnTo>
                    <a:lnTo>
                      <a:pt x="187" y="784"/>
                    </a:lnTo>
                    <a:lnTo>
                      <a:pt x="191" y="791"/>
                    </a:lnTo>
                    <a:lnTo>
                      <a:pt x="194" y="797"/>
                    </a:lnTo>
                    <a:lnTo>
                      <a:pt x="194" y="797"/>
                    </a:lnTo>
                    <a:lnTo>
                      <a:pt x="200" y="807"/>
                    </a:lnTo>
                    <a:lnTo>
                      <a:pt x="207" y="816"/>
                    </a:lnTo>
                    <a:lnTo>
                      <a:pt x="215" y="825"/>
                    </a:lnTo>
                    <a:lnTo>
                      <a:pt x="223" y="832"/>
                    </a:lnTo>
                    <a:lnTo>
                      <a:pt x="232" y="837"/>
                    </a:lnTo>
                    <a:lnTo>
                      <a:pt x="237" y="838"/>
                    </a:lnTo>
                    <a:lnTo>
                      <a:pt x="243" y="839"/>
                    </a:lnTo>
                    <a:lnTo>
                      <a:pt x="247" y="839"/>
                    </a:lnTo>
                    <a:lnTo>
                      <a:pt x="253" y="838"/>
                    </a:lnTo>
                    <a:lnTo>
                      <a:pt x="259" y="836"/>
                    </a:lnTo>
                    <a:lnTo>
                      <a:pt x="265" y="833"/>
                    </a:lnTo>
                    <a:lnTo>
                      <a:pt x="265" y="833"/>
                    </a:lnTo>
                    <a:lnTo>
                      <a:pt x="263" y="847"/>
                    </a:lnTo>
                    <a:lnTo>
                      <a:pt x="265" y="858"/>
                    </a:lnTo>
                    <a:lnTo>
                      <a:pt x="268" y="867"/>
                    </a:lnTo>
                    <a:lnTo>
                      <a:pt x="274" y="875"/>
                    </a:lnTo>
                    <a:lnTo>
                      <a:pt x="281" y="879"/>
                    </a:lnTo>
                    <a:lnTo>
                      <a:pt x="290" y="884"/>
                    </a:lnTo>
                    <a:lnTo>
                      <a:pt x="300" y="885"/>
                    </a:lnTo>
                    <a:lnTo>
                      <a:pt x="313" y="885"/>
                    </a:lnTo>
                    <a:lnTo>
                      <a:pt x="313" y="885"/>
                    </a:lnTo>
                    <a:lnTo>
                      <a:pt x="315" y="884"/>
                    </a:lnTo>
                    <a:lnTo>
                      <a:pt x="319" y="882"/>
                    </a:lnTo>
                    <a:lnTo>
                      <a:pt x="321" y="878"/>
                    </a:lnTo>
                    <a:lnTo>
                      <a:pt x="323" y="874"/>
                    </a:lnTo>
                    <a:lnTo>
                      <a:pt x="327" y="862"/>
                    </a:lnTo>
                    <a:lnTo>
                      <a:pt x="330" y="850"/>
                    </a:lnTo>
                    <a:lnTo>
                      <a:pt x="335" y="822"/>
                    </a:lnTo>
                    <a:lnTo>
                      <a:pt x="337" y="812"/>
                    </a:lnTo>
                    <a:lnTo>
                      <a:pt x="341" y="803"/>
                    </a:lnTo>
                    <a:lnTo>
                      <a:pt x="341" y="803"/>
                    </a:lnTo>
                    <a:lnTo>
                      <a:pt x="351" y="784"/>
                    </a:lnTo>
                    <a:lnTo>
                      <a:pt x="364" y="768"/>
                    </a:lnTo>
                    <a:lnTo>
                      <a:pt x="377" y="753"/>
                    </a:lnTo>
                    <a:lnTo>
                      <a:pt x="391" y="740"/>
                    </a:lnTo>
                    <a:lnTo>
                      <a:pt x="391" y="16"/>
                    </a:lnTo>
                    <a:lnTo>
                      <a:pt x="391" y="16"/>
                    </a:lnTo>
                    <a:lnTo>
                      <a:pt x="360" y="8"/>
                    </a:lnTo>
                    <a:lnTo>
                      <a:pt x="360" y="8"/>
                    </a:lnTo>
                    <a:close/>
                  </a:path>
                </a:pathLst>
              </a:custGeom>
              <a:solidFill>
                <a:srgbClr val="A7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latinLnBrk="1"/>
                <a:endParaRPr lang="ko-KR" altLang="en-US">
                  <a:solidFill>
                    <a:prstClr val="black"/>
                  </a:solidFill>
                  <a:latin typeface="Calibri" panose="020F0502020204030204"/>
                  <a:ea typeface="맑은 고딕" panose="020B0503020000020004" pitchFamily="34" charset="-127"/>
                </a:endParaRPr>
              </a:p>
            </p:txBody>
          </p:sp>
        </p:grpSp>
        <p:grpSp>
          <p:nvGrpSpPr>
            <p:cNvPr id="653" name="그룹 7">
              <a:extLst>
                <a:ext uri="{FF2B5EF4-FFF2-40B4-BE49-F238E27FC236}">
                  <a16:creationId xmlns:a16="http://schemas.microsoft.com/office/drawing/2014/main" id="{0B934D3C-0CD1-4264-A6C2-E454386C5653}"/>
                </a:ext>
              </a:extLst>
            </p:cNvPr>
            <p:cNvGrpSpPr/>
            <p:nvPr/>
          </p:nvGrpSpPr>
          <p:grpSpPr>
            <a:xfrm>
              <a:off x="2963680" y="3148020"/>
              <a:ext cx="115570" cy="115570"/>
              <a:chOff x="5292146" y="2151191"/>
              <a:chExt cx="488887" cy="488887"/>
            </a:xfrm>
          </p:grpSpPr>
          <p:sp>
            <p:nvSpPr>
              <p:cNvPr id="762" name="타원 1">
                <a:extLst>
                  <a:ext uri="{FF2B5EF4-FFF2-40B4-BE49-F238E27FC236}">
                    <a16:creationId xmlns:a16="http://schemas.microsoft.com/office/drawing/2014/main" id="{22AC2534-06B8-4034-9C90-81373C4A167D}"/>
                  </a:ext>
                </a:extLst>
              </p:cNvPr>
              <p:cNvSpPr/>
              <p:nvPr/>
            </p:nvSpPr>
            <p:spPr>
              <a:xfrm>
                <a:off x="5292146" y="2151191"/>
                <a:ext cx="488887" cy="488887"/>
              </a:xfrm>
              <a:prstGeom prst="ellipse">
                <a:avLst/>
              </a:prstGeom>
              <a:gradFill>
                <a:gsLst>
                  <a:gs pos="100000">
                    <a:srgbClr val="F59E1D">
                      <a:alpha val="37000"/>
                    </a:srgbClr>
                  </a:gs>
                  <a:gs pos="47000">
                    <a:srgbClr val="F59E1D">
                      <a:alpha val="900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nvGrpSpPr>
              <p:cNvPr id="763" name="그룹 6">
                <a:extLst>
                  <a:ext uri="{FF2B5EF4-FFF2-40B4-BE49-F238E27FC236}">
                    <a16:creationId xmlns:a16="http://schemas.microsoft.com/office/drawing/2014/main" id="{93836065-88F2-4065-B992-AB36C3C6E953}"/>
                  </a:ext>
                </a:extLst>
              </p:cNvPr>
              <p:cNvGrpSpPr/>
              <p:nvPr/>
            </p:nvGrpSpPr>
            <p:grpSpPr>
              <a:xfrm>
                <a:off x="5393543" y="2235468"/>
                <a:ext cx="286091" cy="288509"/>
                <a:chOff x="4993493" y="2235468"/>
                <a:chExt cx="286091" cy="288509"/>
              </a:xfrm>
            </p:grpSpPr>
            <p:grpSp>
              <p:nvGrpSpPr>
                <p:cNvPr id="764" name="그룹 5">
                  <a:extLst>
                    <a:ext uri="{FF2B5EF4-FFF2-40B4-BE49-F238E27FC236}">
                      <a16:creationId xmlns:a16="http://schemas.microsoft.com/office/drawing/2014/main" id="{656C2EA0-EB17-4457-BCB3-C0FD28DE47FC}"/>
                    </a:ext>
                  </a:extLst>
                </p:cNvPr>
                <p:cNvGrpSpPr/>
                <p:nvPr/>
              </p:nvGrpSpPr>
              <p:grpSpPr>
                <a:xfrm>
                  <a:off x="4993493" y="2235468"/>
                  <a:ext cx="286091" cy="288509"/>
                  <a:chOff x="4952286" y="2267451"/>
                  <a:chExt cx="343948" cy="346855"/>
                </a:xfrm>
              </p:grpSpPr>
              <p:sp>
                <p:nvSpPr>
                  <p:cNvPr id="766" name="타원 455">
                    <a:extLst>
                      <a:ext uri="{FF2B5EF4-FFF2-40B4-BE49-F238E27FC236}">
                        <a16:creationId xmlns:a16="http://schemas.microsoft.com/office/drawing/2014/main" id="{82366084-2591-4C4A-8BD3-E7C86BB51571}"/>
                      </a:ext>
                    </a:extLst>
                  </p:cNvPr>
                  <p:cNvSpPr/>
                  <p:nvPr/>
                </p:nvSpPr>
                <p:spPr>
                  <a:xfrm>
                    <a:off x="4952287" y="2267451"/>
                    <a:ext cx="343947" cy="346855"/>
                  </a:xfrm>
                  <a:prstGeom prst="ellipse">
                    <a:avLst/>
                  </a:prstGeom>
                  <a:gradFill flip="none" rotWithShape="1">
                    <a:gsLst>
                      <a:gs pos="54000">
                        <a:srgbClr val="F7AB3B"/>
                      </a:gs>
                      <a:gs pos="100000">
                        <a:srgbClr val="F59E1D"/>
                      </a:gs>
                      <a:gs pos="2000">
                        <a:srgbClr val="FBD49B"/>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67" name="타원 456">
                    <a:extLst>
                      <a:ext uri="{FF2B5EF4-FFF2-40B4-BE49-F238E27FC236}">
                        <a16:creationId xmlns:a16="http://schemas.microsoft.com/office/drawing/2014/main" id="{07F29480-684B-4996-9FB1-29C96387F1A9}"/>
                      </a:ext>
                    </a:extLst>
                  </p:cNvPr>
                  <p:cNvSpPr/>
                  <p:nvPr/>
                </p:nvSpPr>
                <p:spPr>
                  <a:xfrm>
                    <a:off x="5019777" y="2281443"/>
                    <a:ext cx="95952" cy="125049"/>
                  </a:xfrm>
                  <a:prstGeom prst="ellipse">
                    <a:avLst/>
                  </a:prstGeom>
                  <a:gradFill flip="none" rotWithShape="1">
                    <a:gsLst>
                      <a:gs pos="100000">
                        <a:srgbClr val="F59E1D">
                          <a:alpha val="0"/>
                        </a:srgbClr>
                      </a:gs>
                      <a:gs pos="2000">
                        <a:schemeClr val="bg1">
                          <a:alpha val="6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68" name="타원 457">
                    <a:extLst>
                      <a:ext uri="{FF2B5EF4-FFF2-40B4-BE49-F238E27FC236}">
                        <a16:creationId xmlns:a16="http://schemas.microsoft.com/office/drawing/2014/main" id="{4BDE288D-0895-4C9B-82FB-972B06F2BA0C}"/>
                      </a:ext>
                    </a:extLst>
                  </p:cNvPr>
                  <p:cNvSpPr/>
                  <p:nvPr/>
                </p:nvSpPr>
                <p:spPr>
                  <a:xfrm>
                    <a:off x="4991728" y="2353270"/>
                    <a:ext cx="56098" cy="73110"/>
                  </a:xfrm>
                  <a:prstGeom prst="ellipse">
                    <a:avLst/>
                  </a:prstGeom>
                  <a:gradFill flip="none" rotWithShape="1">
                    <a:gsLst>
                      <a:gs pos="100000">
                        <a:srgbClr val="F59E1D">
                          <a:alpha val="0"/>
                        </a:srgbClr>
                      </a:gs>
                      <a:gs pos="2000">
                        <a:schemeClr val="bg1">
                          <a:alpha val="3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69" name="타원 458">
                    <a:extLst>
                      <a:ext uri="{FF2B5EF4-FFF2-40B4-BE49-F238E27FC236}">
                        <a16:creationId xmlns:a16="http://schemas.microsoft.com/office/drawing/2014/main" id="{4C44AE87-1A34-4E73-899B-AA5F8FB14146}"/>
                      </a:ext>
                    </a:extLst>
                  </p:cNvPr>
                  <p:cNvSpPr/>
                  <p:nvPr/>
                </p:nvSpPr>
                <p:spPr>
                  <a:xfrm>
                    <a:off x="4952286" y="2267451"/>
                    <a:ext cx="343947" cy="346855"/>
                  </a:xfrm>
                  <a:prstGeom prst="ellipse">
                    <a:avLst/>
                  </a:prstGeom>
                  <a:gradFill flip="none" rotWithShape="1">
                    <a:gsLst>
                      <a:gs pos="89000">
                        <a:srgbClr val="6F4405"/>
                      </a:gs>
                      <a:gs pos="71000">
                        <a:srgbClr val="FBD49B">
                          <a:alpha val="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sp>
              <p:nvSpPr>
                <p:cNvPr id="765" name="타원 459">
                  <a:extLst>
                    <a:ext uri="{FF2B5EF4-FFF2-40B4-BE49-F238E27FC236}">
                      <a16:creationId xmlns:a16="http://schemas.microsoft.com/office/drawing/2014/main" id="{01BDE528-D0AA-46BC-BA62-6A9D3C52E577}"/>
                    </a:ext>
                  </a:extLst>
                </p:cNvPr>
                <p:cNvSpPr/>
                <p:nvPr/>
              </p:nvSpPr>
              <p:spPr>
                <a:xfrm>
                  <a:off x="4993494" y="2235468"/>
                  <a:ext cx="286090" cy="288509"/>
                </a:xfrm>
                <a:prstGeom prst="ellipse">
                  <a:avLst/>
                </a:prstGeom>
                <a:gradFill flip="none" rotWithShape="1">
                  <a:gsLst>
                    <a:gs pos="100000">
                      <a:schemeClr val="tx1">
                        <a:alpha val="43000"/>
                      </a:schemeClr>
                    </a:gs>
                    <a:gs pos="0">
                      <a:srgbClr val="F59E1D">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grpSp>
        <p:grpSp>
          <p:nvGrpSpPr>
            <p:cNvPr id="654" name="그룹 460">
              <a:extLst>
                <a:ext uri="{FF2B5EF4-FFF2-40B4-BE49-F238E27FC236}">
                  <a16:creationId xmlns:a16="http://schemas.microsoft.com/office/drawing/2014/main" id="{C8F139E8-D4A6-41EF-9D72-C1E29EF8EA4A}"/>
                </a:ext>
              </a:extLst>
            </p:cNvPr>
            <p:cNvGrpSpPr/>
            <p:nvPr/>
          </p:nvGrpSpPr>
          <p:grpSpPr>
            <a:xfrm>
              <a:off x="3675044" y="2412784"/>
              <a:ext cx="115570" cy="115570"/>
              <a:chOff x="5292146" y="2151191"/>
              <a:chExt cx="488887" cy="488887"/>
            </a:xfrm>
          </p:grpSpPr>
          <p:sp>
            <p:nvSpPr>
              <p:cNvPr id="754" name="타원 461">
                <a:extLst>
                  <a:ext uri="{FF2B5EF4-FFF2-40B4-BE49-F238E27FC236}">
                    <a16:creationId xmlns:a16="http://schemas.microsoft.com/office/drawing/2014/main" id="{83E80942-13E0-470B-8ADA-B32A6A505813}"/>
                  </a:ext>
                </a:extLst>
              </p:cNvPr>
              <p:cNvSpPr/>
              <p:nvPr/>
            </p:nvSpPr>
            <p:spPr>
              <a:xfrm>
                <a:off x="5292146" y="2151191"/>
                <a:ext cx="488887" cy="488887"/>
              </a:xfrm>
              <a:prstGeom prst="ellipse">
                <a:avLst/>
              </a:prstGeom>
              <a:gradFill>
                <a:gsLst>
                  <a:gs pos="100000">
                    <a:srgbClr val="F59E1D">
                      <a:alpha val="37000"/>
                    </a:srgbClr>
                  </a:gs>
                  <a:gs pos="47000">
                    <a:srgbClr val="F59E1D">
                      <a:alpha val="900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nvGrpSpPr>
              <p:cNvPr id="755" name="그룹 462">
                <a:extLst>
                  <a:ext uri="{FF2B5EF4-FFF2-40B4-BE49-F238E27FC236}">
                    <a16:creationId xmlns:a16="http://schemas.microsoft.com/office/drawing/2014/main" id="{4086B313-EB40-49B0-ABD9-ADEB9F2D36A4}"/>
                  </a:ext>
                </a:extLst>
              </p:cNvPr>
              <p:cNvGrpSpPr/>
              <p:nvPr/>
            </p:nvGrpSpPr>
            <p:grpSpPr>
              <a:xfrm>
                <a:off x="5393543" y="2235468"/>
                <a:ext cx="286091" cy="288509"/>
                <a:chOff x="4993493" y="2235468"/>
                <a:chExt cx="286091" cy="288509"/>
              </a:xfrm>
            </p:grpSpPr>
            <p:grpSp>
              <p:nvGrpSpPr>
                <p:cNvPr id="756" name="그룹 463">
                  <a:extLst>
                    <a:ext uri="{FF2B5EF4-FFF2-40B4-BE49-F238E27FC236}">
                      <a16:creationId xmlns:a16="http://schemas.microsoft.com/office/drawing/2014/main" id="{FCCFD0B1-2978-4BF1-A082-3603B58CB0DF}"/>
                    </a:ext>
                  </a:extLst>
                </p:cNvPr>
                <p:cNvGrpSpPr/>
                <p:nvPr/>
              </p:nvGrpSpPr>
              <p:grpSpPr>
                <a:xfrm>
                  <a:off x="4993493" y="2235468"/>
                  <a:ext cx="286091" cy="288509"/>
                  <a:chOff x="4952286" y="2267451"/>
                  <a:chExt cx="343948" cy="346855"/>
                </a:xfrm>
              </p:grpSpPr>
              <p:sp>
                <p:nvSpPr>
                  <p:cNvPr id="758" name="타원 465">
                    <a:extLst>
                      <a:ext uri="{FF2B5EF4-FFF2-40B4-BE49-F238E27FC236}">
                        <a16:creationId xmlns:a16="http://schemas.microsoft.com/office/drawing/2014/main" id="{CA460490-D1E2-46DD-B07C-F9802CBFD859}"/>
                      </a:ext>
                    </a:extLst>
                  </p:cNvPr>
                  <p:cNvSpPr/>
                  <p:nvPr/>
                </p:nvSpPr>
                <p:spPr>
                  <a:xfrm>
                    <a:off x="4952287" y="2267451"/>
                    <a:ext cx="343947" cy="346855"/>
                  </a:xfrm>
                  <a:prstGeom prst="ellipse">
                    <a:avLst/>
                  </a:prstGeom>
                  <a:gradFill flip="none" rotWithShape="1">
                    <a:gsLst>
                      <a:gs pos="54000">
                        <a:srgbClr val="F7AB3B"/>
                      </a:gs>
                      <a:gs pos="100000">
                        <a:srgbClr val="F59E1D"/>
                      </a:gs>
                      <a:gs pos="2000">
                        <a:srgbClr val="FBD49B"/>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59" name="타원 466">
                    <a:extLst>
                      <a:ext uri="{FF2B5EF4-FFF2-40B4-BE49-F238E27FC236}">
                        <a16:creationId xmlns:a16="http://schemas.microsoft.com/office/drawing/2014/main" id="{1B4B3C02-BC1C-4E24-9144-95590E426665}"/>
                      </a:ext>
                    </a:extLst>
                  </p:cNvPr>
                  <p:cNvSpPr/>
                  <p:nvPr/>
                </p:nvSpPr>
                <p:spPr>
                  <a:xfrm>
                    <a:off x="5019777" y="2281443"/>
                    <a:ext cx="95952" cy="125049"/>
                  </a:xfrm>
                  <a:prstGeom prst="ellipse">
                    <a:avLst/>
                  </a:prstGeom>
                  <a:gradFill flip="none" rotWithShape="1">
                    <a:gsLst>
                      <a:gs pos="100000">
                        <a:srgbClr val="F59E1D">
                          <a:alpha val="0"/>
                        </a:srgbClr>
                      </a:gs>
                      <a:gs pos="2000">
                        <a:schemeClr val="bg1">
                          <a:alpha val="6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60" name="타원 467">
                    <a:extLst>
                      <a:ext uri="{FF2B5EF4-FFF2-40B4-BE49-F238E27FC236}">
                        <a16:creationId xmlns:a16="http://schemas.microsoft.com/office/drawing/2014/main" id="{053D38DC-5518-4192-BADA-4BE63B933163}"/>
                      </a:ext>
                    </a:extLst>
                  </p:cNvPr>
                  <p:cNvSpPr/>
                  <p:nvPr/>
                </p:nvSpPr>
                <p:spPr>
                  <a:xfrm>
                    <a:off x="4991728" y="2353270"/>
                    <a:ext cx="56098" cy="73110"/>
                  </a:xfrm>
                  <a:prstGeom prst="ellipse">
                    <a:avLst/>
                  </a:prstGeom>
                  <a:gradFill flip="none" rotWithShape="1">
                    <a:gsLst>
                      <a:gs pos="100000">
                        <a:srgbClr val="F59E1D">
                          <a:alpha val="0"/>
                        </a:srgbClr>
                      </a:gs>
                      <a:gs pos="2000">
                        <a:schemeClr val="bg1">
                          <a:alpha val="3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61" name="타원 468">
                    <a:extLst>
                      <a:ext uri="{FF2B5EF4-FFF2-40B4-BE49-F238E27FC236}">
                        <a16:creationId xmlns:a16="http://schemas.microsoft.com/office/drawing/2014/main" id="{19BBF7F9-B69F-4331-93EB-5E2E38EC1A9C}"/>
                      </a:ext>
                    </a:extLst>
                  </p:cNvPr>
                  <p:cNvSpPr/>
                  <p:nvPr/>
                </p:nvSpPr>
                <p:spPr>
                  <a:xfrm>
                    <a:off x="4952286" y="2267451"/>
                    <a:ext cx="343947" cy="346855"/>
                  </a:xfrm>
                  <a:prstGeom prst="ellipse">
                    <a:avLst/>
                  </a:prstGeom>
                  <a:gradFill flip="none" rotWithShape="1">
                    <a:gsLst>
                      <a:gs pos="89000">
                        <a:srgbClr val="6F4405"/>
                      </a:gs>
                      <a:gs pos="71000">
                        <a:srgbClr val="FBD49B">
                          <a:alpha val="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sp>
              <p:nvSpPr>
                <p:cNvPr id="757" name="타원 464">
                  <a:extLst>
                    <a:ext uri="{FF2B5EF4-FFF2-40B4-BE49-F238E27FC236}">
                      <a16:creationId xmlns:a16="http://schemas.microsoft.com/office/drawing/2014/main" id="{265633C0-9478-4ADD-8341-4D4B43C34B5E}"/>
                    </a:ext>
                  </a:extLst>
                </p:cNvPr>
                <p:cNvSpPr/>
                <p:nvPr/>
              </p:nvSpPr>
              <p:spPr>
                <a:xfrm>
                  <a:off x="4993494" y="2235468"/>
                  <a:ext cx="286090" cy="288509"/>
                </a:xfrm>
                <a:prstGeom prst="ellipse">
                  <a:avLst/>
                </a:prstGeom>
                <a:gradFill flip="none" rotWithShape="1">
                  <a:gsLst>
                    <a:gs pos="100000">
                      <a:schemeClr val="tx1">
                        <a:alpha val="43000"/>
                      </a:schemeClr>
                    </a:gs>
                    <a:gs pos="0">
                      <a:srgbClr val="F59E1D">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grpSp>
        <p:grpSp>
          <p:nvGrpSpPr>
            <p:cNvPr id="655" name="그룹 469">
              <a:extLst>
                <a:ext uri="{FF2B5EF4-FFF2-40B4-BE49-F238E27FC236}">
                  <a16:creationId xmlns:a16="http://schemas.microsoft.com/office/drawing/2014/main" id="{97E382C6-762B-44BD-BBC3-2316D492F7FC}"/>
                </a:ext>
              </a:extLst>
            </p:cNvPr>
            <p:cNvGrpSpPr/>
            <p:nvPr/>
          </p:nvGrpSpPr>
          <p:grpSpPr>
            <a:xfrm>
              <a:off x="3586261" y="3540718"/>
              <a:ext cx="115570" cy="115570"/>
              <a:chOff x="5292146" y="2151191"/>
              <a:chExt cx="488887" cy="488887"/>
            </a:xfrm>
          </p:grpSpPr>
          <p:sp>
            <p:nvSpPr>
              <p:cNvPr id="746" name="타원 470">
                <a:extLst>
                  <a:ext uri="{FF2B5EF4-FFF2-40B4-BE49-F238E27FC236}">
                    <a16:creationId xmlns:a16="http://schemas.microsoft.com/office/drawing/2014/main" id="{9B2DE683-3D1A-4DE8-8D30-411F6100565E}"/>
                  </a:ext>
                </a:extLst>
              </p:cNvPr>
              <p:cNvSpPr/>
              <p:nvPr/>
            </p:nvSpPr>
            <p:spPr>
              <a:xfrm>
                <a:off x="5292146" y="2151191"/>
                <a:ext cx="488887" cy="488887"/>
              </a:xfrm>
              <a:prstGeom prst="ellipse">
                <a:avLst/>
              </a:prstGeom>
              <a:gradFill>
                <a:gsLst>
                  <a:gs pos="100000">
                    <a:srgbClr val="F59E1D">
                      <a:alpha val="37000"/>
                    </a:srgbClr>
                  </a:gs>
                  <a:gs pos="47000">
                    <a:srgbClr val="F59E1D">
                      <a:alpha val="900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nvGrpSpPr>
              <p:cNvPr id="747" name="그룹 471">
                <a:extLst>
                  <a:ext uri="{FF2B5EF4-FFF2-40B4-BE49-F238E27FC236}">
                    <a16:creationId xmlns:a16="http://schemas.microsoft.com/office/drawing/2014/main" id="{A2AE5DC6-35F1-45E2-ADDE-021A53C85ED5}"/>
                  </a:ext>
                </a:extLst>
              </p:cNvPr>
              <p:cNvGrpSpPr/>
              <p:nvPr/>
            </p:nvGrpSpPr>
            <p:grpSpPr>
              <a:xfrm>
                <a:off x="5393543" y="2235468"/>
                <a:ext cx="286091" cy="288509"/>
                <a:chOff x="4993493" y="2235468"/>
                <a:chExt cx="286091" cy="288509"/>
              </a:xfrm>
            </p:grpSpPr>
            <p:grpSp>
              <p:nvGrpSpPr>
                <p:cNvPr id="748" name="그룹 472">
                  <a:extLst>
                    <a:ext uri="{FF2B5EF4-FFF2-40B4-BE49-F238E27FC236}">
                      <a16:creationId xmlns:a16="http://schemas.microsoft.com/office/drawing/2014/main" id="{AC6E5287-0FC7-4EF3-9383-D0F608957345}"/>
                    </a:ext>
                  </a:extLst>
                </p:cNvPr>
                <p:cNvGrpSpPr/>
                <p:nvPr/>
              </p:nvGrpSpPr>
              <p:grpSpPr>
                <a:xfrm>
                  <a:off x="4993493" y="2235468"/>
                  <a:ext cx="286091" cy="288509"/>
                  <a:chOff x="4952286" y="2267451"/>
                  <a:chExt cx="343948" cy="346855"/>
                </a:xfrm>
              </p:grpSpPr>
              <p:sp>
                <p:nvSpPr>
                  <p:cNvPr id="750" name="타원 474">
                    <a:extLst>
                      <a:ext uri="{FF2B5EF4-FFF2-40B4-BE49-F238E27FC236}">
                        <a16:creationId xmlns:a16="http://schemas.microsoft.com/office/drawing/2014/main" id="{392CED94-7CD1-4D7F-BE10-1588168C6E34}"/>
                      </a:ext>
                    </a:extLst>
                  </p:cNvPr>
                  <p:cNvSpPr/>
                  <p:nvPr/>
                </p:nvSpPr>
                <p:spPr>
                  <a:xfrm>
                    <a:off x="4952287" y="2267451"/>
                    <a:ext cx="343947" cy="346855"/>
                  </a:xfrm>
                  <a:prstGeom prst="ellipse">
                    <a:avLst/>
                  </a:prstGeom>
                  <a:gradFill flip="none" rotWithShape="1">
                    <a:gsLst>
                      <a:gs pos="54000">
                        <a:srgbClr val="F7AB3B"/>
                      </a:gs>
                      <a:gs pos="100000">
                        <a:srgbClr val="F59E1D"/>
                      </a:gs>
                      <a:gs pos="2000">
                        <a:srgbClr val="FBD49B"/>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51" name="타원 475">
                    <a:extLst>
                      <a:ext uri="{FF2B5EF4-FFF2-40B4-BE49-F238E27FC236}">
                        <a16:creationId xmlns:a16="http://schemas.microsoft.com/office/drawing/2014/main" id="{FFD05738-C5EC-4FBF-86B3-1C6DC0554D23}"/>
                      </a:ext>
                    </a:extLst>
                  </p:cNvPr>
                  <p:cNvSpPr/>
                  <p:nvPr/>
                </p:nvSpPr>
                <p:spPr>
                  <a:xfrm>
                    <a:off x="5019777" y="2281443"/>
                    <a:ext cx="95952" cy="125049"/>
                  </a:xfrm>
                  <a:prstGeom prst="ellipse">
                    <a:avLst/>
                  </a:prstGeom>
                  <a:gradFill flip="none" rotWithShape="1">
                    <a:gsLst>
                      <a:gs pos="100000">
                        <a:srgbClr val="F59E1D">
                          <a:alpha val="0"/>
                        </a:srgbClr>
                      </a:gs>
                      <a:gs pos="2000">
                        <a:schemeClr val="bg1">
                          <a:alpha val="6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52" name="타원 476">
                    <a:extLst>
                      <a:ext uri="{FF2B5EF4-FFF2-40B4-BE49-F238E27FC236}">
                        <a16:creationId xmlns:a16="http://schemas.microsoft.com/office/drawing/2014/main" id="{5684C980-6434-4BE7-A71F-B054B5376654}"/>
                      </a:ext>
                    </a:extLst>
                  </p:cNvPr>
                  <p:cNvSpPr/>
                  <p:nvPr/>
                </p:nvSpPr>
                <p:spPr>
                  <a:xfrm>
                    <a:off x="4991728" y="2353270"/>
                    <a:ext cx="56098" cy="73110"/>
                  </a:xfrm>
                  <a:prstGeom prst="ellipse">
                    <a:avLst/>
                  </a:prstGeom>
                  <a:gradFill flip="none" rotWithShape="1">
                    <a:gsLst>
                      <a:gs pos="100000">
                        <a:srgbClr val="F59E1D">
                          <a:alpha val="0"/>
                        </a:srgbClr>
                      </a:gs>
                      <a:gs pos="2000">
                        <a:schemeClr val="bg1">
                          <a:alpha val="3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53" name="타원 477">
                    <a:extLst>
                      <a:ext uri="{FF2B5EF4-FFF2-40B4-BE49-F238E27FC236}">
                        <a16:creationId xmlns:a16="http://schemas.microsoft.com/office/drawing/2014/main" id="{60864D39-F422-4237-9073-F7EB40B7409E}"/>
                      </a:ext>
                    </a:extLst>
                  </p:cNvPr>
                  <p:cNvSpPr/>
                  <p:nvPr/>
                </p:nvSpPr>
                <p:spPr>
                  <a:xfrm>
                    <a:off x="4952286" y="2267451"/>
                    <a:ext cx="343947" cy="346855"/>
                  </a:xfrm>
                  <a:prstGeom prst="ellipse">
                    <a:avLst/>
                  </a:prstGeom>
                  <a:gradFill flip="none" rotWithShape="1">
                    <a:gsLst>
                      <a:gs pos="89000">
                        <a:srgbClr val="6F4405"/>
                      </a:gs>
                      <a:gs pos="71000">
                        <a:srgbClr val="FBD49B">
                          <a:alpha val="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sp>
              <p:nvSpPr>
                <p:cNvPr id="749" name="타원 473">
                  <a:extLst>
                    <a:ext uri="{FF2B5EF4-FFF2-40B4-BE49-F238E27FC236}">
                      <a16:creationId xmlns:a16="http://schemas.microsoft.com/office/drawing/2014/main" id="{B4756CDF-F5BF-484C-8550-47FA87D4459E}"/>
                    </a:ext>
                  </a:extLst>
                </p:cNvPr>
                <p:cNvSpPr/>
                <p:nvPr/>
              </p:nvSpPr>
              <p:spPr>
                <a:xfrm>
                  <a:off x="4993494" y="2235468"/>
                  <a:ext cx="286090" cy="288509"/>
                </a:xfrm>
                <a:prstGeom prst="ellipse">
                  <a:avLst/>
                </a:prstGeom>
                <a:gradFill flip="none" rotWithShape="1">
                  <a:gsLst>
                    <a:gs pos="100000">
                      <a:schemeClr val="tx1">
                        <a:alpha val="43000"/>
                      </a:schemeClr>
                    </a:gs>
                    <a:gs pos="0">
                      <a:srgbClr val="F59E1D">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grpSp>
        <p:grpSp>
          <p:nvGrpSpPr>
            <p:cNvPr id="656" name="그룹 478">
              <a:extLst>
                <a:ext uri="{FF2B5EF4-FFF2-40B4-BE49-F238E27FC236}">
                  <a16:creationId xmlns:a16="http://schemas.microsoft.com/office/drawing/2014/main" id="{1BE9518B-6890-4DAA-8C4B-DA15F37210E8}"/>
                </a:ext>
              </a:extLst>
            </p:cNvPr>
            <p:cNvGrpSpPr/>
            <p:nvPr/>
          </p:nvGrpSpPr>
          <p:grpSpPr>
            <a:xfrm>
              <a:off x="1756029" y="2319766"/>
              <a:ext cx="115570" cy="115570"/>
              <a:chOff x="5292146" y="2151191"/>
              <a:chExt cx="488887" cy="488887"/>
            </a:xfrm>
          </p:grpSpPr>
          <p:sp>
            <p:nvSpPr>
              <p:cNvPr id="738" name="타원 479">
                <a:extLst>
                  <a:ext uri="{FF2B5EF4-FFF2-40B4-BE49-F238E27FC236}">
                    <a16:creationId xmlns:a16="http://schemas.microsoft.com/office/drawing/2014/main" id="{AB36B8C3-1F77-4148-B842-9E305950CAAA}"/>
                  </a:ext>
                </a:extLst>
              </p:cNvPr>
              <p:cNvSpPr/>
              <p:nvPr/>
            </p:nvSpPr>
            <p:spPr>
              <a:xfrm>
                <a:off x="5292146" y="2151191"/>
                <a:ext cx="488887" cy="488887"/>
              </a:xfrm>
              <a:prstGeom prst="ellipse">
                <a:avLst/>
              </a:prstGeom>
              <a:gradFill>
                <a:gsLst>
                  <a:gs pos="100000">
                    <a:srgbClr val="F59E1D">
                      <a:alpha val="37000"/>
                    </a:srgbClr>
                  </a:gs>
                  <a:gs pos="47000">
                    <a:srgbClr val="F59E1D">
                      <a:alpha val="900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nvGrpSpPr>
              <p:cNvPr id="739" name="그룹 480">
                <a:extLst>
                  <a:ext uri="{FF2B5EF4-FFF2-40B4-BE49-F238E27FC236}">
                    <a16:creationId xmlns:a16="http://schemas.microsoft.com/office/drawing/2014/main" id="{25FDCCAE-C55F-4A74-974B-826CE9E97B6E}"/>
                  </a:ext>
                </a:extLst>
              </p:cNvPr>
              <p:cNvGrpSpPr/>
              <p:nvPr/>
            </p:nvGrpSpPr>
            <p:grpSpPr>
              <a:xfrm>
                <a:off x="5393543" y="2235468"/>
                <a:ext cx="286091" cy="288509"/>
                <a:chOff x="4993493" y="2235468"/>
                <a:chExt cx="286091" cy="288509"/>
              </a:xfrm>
            </p:grpSpPr>
            <p:grpSp>
              <p:nvGrpSpPr>
                <p:cNvPr id="740" name="그룹 481">
                  <a:extLst>
                    <a:ext uri="{FF2B5EF4-FFF2-40B4-BE49-F238E27FC236}">
                      <a16:creationId xmlns:a16="http://schemas.microsoft.com/office/drawing/2014/main" id="{1046E79D-C6C8-406A-920E-92A371C2BA62}"/>
                    </a:ext>
                  </a:extLst>
                </p:cNvPr>
                <p:cNvGrpSpPr/>
                <p:nvPr/>
              </p:nvGrpSpPr>
              <p:grpSpPr>
                <a:xfrm>
                  <a:off x="4993493" y="2235468"/>
                  <a:ext cx="286091" cy="288509"/>
                  <a:chOff x="4952286" y="2267451"/>
                  <a:chExt cx="343948" cy="346855"/>
                </a:xfrm>
              </p:grpSpPr>
              <p:sp>
                <p:nvSpPr>
                  <p:cNvPr id="742" name="타원 483">
                    <a:extLst>
                      <a:ext uri="{FF2B5EF4-FFF2-40B4-BE49-F238E27FC236}">
                        <a16:creationId xmlns:a16="http://schemas.microsoft.com/office/drawing/2014/main" id="{76301D3C-733C-46E2-A6C7-705C4AA30E6E}"/>
                      </a:ext>
                    </a:extLst>
                  </p:cNvPr>
                  <p:cNvSpPr/>
                  <p:nvPr/>
                </p:nvSpPr>
                <p:spPr>
                  <a:xfrm>
                    <a:off x="4952287" y="2267451"/>
                    <a:ext cx="343947" cy="346855"/>
                  </a:xfrm>
                  <a:prstGeom prst="ellipse">
                    <a:avLst/>
                  </a:prstGeom>
                  <a:gradFill flip="none" rotWithShape="1">
                    <a:gsLst>
                      <a:gs pos="54000">
                        <a:srgbClr val="F7AB3B"/>
                      </a:gs>
                      <a:gs pos="100000">
                        <a:srgbClr val="F59E1D"/>
                      </a:gs>
                      <a:gs pos="2000">
                        <a:srgbClr val="FBD49B"/>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43" name="타원 484">
                    <a:extLst>
                      <a:ext uri="{FF2B5EF4-FFF2-40B4-BE49-F238E27FC236}">
                        <a16:creationId xmlns:a16="http://schemas.microsoft.com/office/drawing/2014/main" id="{88DC852C-AF66-41E9-9449-609060352FE4}"/>
                      </a:ext>
                    </a:extLst>
                  </p:cNvPr>
                  <p:cNvSpPr/>
                  <p:nvPr/>
                </p:nvSpPr>
                <p:spPr>
                  <a:xfrm>
                    <a:off x="5019777" y="2281443"/>
                    <a:ext cx="95952" cy="125049"/>
                  </a:xfrm>
                  <a:prstGeom prst="ellipse">
                    <a:avLst/>
                  </a:prstGeom>
                  <a:gradFill flip="none" rotWithShape="1">
                    <a:gsLst>
                      <a:gs pos="100000">
                        <a:srgbClr val="F59E1D">
                          <a:alpha val="0"/>
                        </a:srgbClr>
                      </a:gs>
                      <a:gs pos="2000">
                        <a:schemeClr val="bg1">
                          <a:alpha val="6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44" name="타원 485">
                    <a:extLst>
                      <a:ext uri="{FF2B5EF4-FFF2-40B4-BE49-F238E27FC236}">
                        <a16:creationId xmlns:a16="http://schemas.microsoft.com/office/drawing/2014/main" id="{30E24CF7-58DF-4775-BC89-0CF391BCCB0E}"/>
                      </a:ext>
                    </a:extLst>
                  </p:cNvPr>
                  <p:cNvSpPr/>
                  <p:nvPr/>
                </p:nvSpPr>
                <p:spPr>
                  <a:xfrm>
                    <a:off x="4991728" y="2353270"/>
                    <a:ext cx="56098" cy="73110"/>
                  </a:xfrm>
                  <a:prstGeom prst="ellipse">
                    <a:avLst/>
                  </a:prstGeom>
                  <a:gradFill flip="none" rotWithShape="1">
                    <a:gsLst>
                      <a:gs pos="100000">
                        <a:srgbClr val="F59E1D">
                          <a:alpha val="0"/>
                        </a:srgbClr>
                      </a:gs>
                      <a:gs pos="2000">
                        <a:schemeClr val="bg1">
                          <a:alpha val="3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45" name="타원 486">
                    <a:extLst>
                      <a:ext uri="{FF2B5EF4-FFF2-40B4-BE49-F238E27FC236}">
                        <a16:creationId xmlns:a16="http://schemas.microsoft.com/office/drawing/2014/main" id="{B95C2566-908D-4AED-8F4B-27C936D13D99}"/>
                      </a:ext>
                    </a:extLst>
                  </p:cNvPr>
                  <p:cNvSpPr/>
                  <p:nvPr/>
                </p:nvSpPr>
                <p:spPr>
                  <a:xfrm>
                    <a:off x="4952286" y="2267451"/>
                    <a:ext cx="343947" cy="346855"/>
                  </a:xfrm>
                  <a:prstGeom prst="ellipse">
                    <a:avLst/>
                  </a:prstGeom>
                  <a:gradFill flip="none" rotWithShape="1">
                    <a:gsLst>
                      <a:gs pos="89000">
                        <a:srgbClr val="6F4405"/>
                      </a:gs>
                      <a:gs pos="71000">
                        <a:srgbClr val="FBD49B">
                          <a:alpha val="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sp>
              <p:nvSpPr>
                <p:cNvPr id="741" name="타원 482">
                  <a:extLst>
                    <a:ext uri="{FF2B5EF4-FFF2-40B4-BE49-F238E27FC236}">
                      <a16:creationId xmlns:a16="http://schemas.microsoft.com/office/drawing/2014/main" id="{D7C5A50E-FE33-4BBD-A83D-77BCD0CA0150}"/>
                    </a:ext>
                  </a:extLst>
                </p:cNvPr>
                <p:cNvSpPr/>
                <p:nvPr/>
              </p:nvSpPr>
              <p:spPr>
                <a:xfrm>
                  <a:off x="4993494" y="2235468"/>
                  <a:ext cx="286090" cy="288509"/>
                </a:xfrm>
                <a:prstGeom prst="ellipse">
                  <a:avLst/>
                </a:prstGeom>
                <a:gradFill flip="none" rotWithShape="1">
                  <a:gsLst>
                    <a:gs pos="100000">
                      <a:schemeClr val="tx1">
                        <a:alpha val="43000"/>
                      </a:schemeClr>
                    </a:gs>
                    <a:gs pos="0">
                      <a:srgbClr val="F59E1D">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grpSp>
        <p:grpSp>
          <p:nvGrpSpPr>
            <p:cNvPr id="657" name="그룹 487">
              <a:extLst>
                <a:ext uri="{FF2B5EF4-FFF2-40B4-BE49-F238E27FC236}">
                  <a16:creationId xmlns:a16="http://schemas.microsoft.com/office/drawing/2014/main" id="{44365017-6C3F-4BD1-8673-3EA0192B41ED}"/>
                </a:ext>
              </a:extLst>
            </p:cNvPr>
            <p:cNvGrpSpPr/>
            <p:nvPr/>
          </p:nvGrpSpPr>
          <p:grpSpPr>
            <a:xfrm>
              <a:off x="2285220" y="3598503"/>
              <a:ext cx="115570" cy="115570"/>
              <a:chOff x="5292146" y="2151191"/>
              <a:chExt cx="488887" cy="488887"/>
            </a:xfrm>
          </p:grpSpPr>
          <p:sp>
            <p:nvSpPr>
              <p:cNvPr id="730" name="타원 488">
                <a:extLst>
                  <a:ext uri="{FF2B5EF4-FFF2-40B4-BE49-F238E27FC236}">
                    <a16:creationId xmlns:a16="http://schemas.microsoft.com/office/drawing/2014/main" id="{3233BC8E-D8EB-4EEC-B633-3211150F100A}"/>
                  </a:ext>
                </a:extLst>
              </p:cNvPr>
              <p:cNvSpPr/>
              <p:nvPr/>
            </p:nvSpPr>
            <p:spPr>
              <a:xfrm>
                <a:off x="5292146" y="2151191"/>
                <a:ext cx="488887" cy="488887"/>
              </a:xfrm>
              <a:prstGeom prst="ellipse">
                <a:avLst/>
              </a:prstGeom>
              <a:gradFill>
                <a:gsLst>
                  <a:gs pos="100000">
                    <a:srgbClr val="F59E1D">
                      <a:alpha val="37000"/>
                    </a:srgbClr>
                  </a:gs>
                  <a:gs pos="47000">
                    <a:srgbClr val="F59E1D">
                      <a:alpha val="900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nvGrpSpPr>
              <p:cNvPr id="731" name="그룹 489">
                <a:extLst>
                  <a:ext uri="{FF2B5EF4-FFF2-40B4-BE49-F238E27FC236}">
                    <a16:creationId xmlns:a16="http://schemas.microsoft.com/office/drawing/2014/main" id="{E2D32ADE-A7D8-46AE-8CB5-48DC778F052A}"/>
                  </a:ext>
                </a:extLst>
              </p:cNvPr>
              <p:cNvGrpSpPr/>
              <p:nvPr/>
            </p:nvGrpSpPr>
            <p:grpSpPr>
              <a:xfrm>
                <a:off x="5393543" y="2235468"/>
                <a:ext cx="286091" cy="288509"/>
                <a:chOff x="4993493" y="2235468"/>
                <a:chExt cx="286091" cy="288509"/>
              </a:xfrm>
            </p:grpSpPr>
            <p:grpSp>
              <p:nvGrpSpPr>
                <p:cNvPr id="732" name="그룹 490">
                  <a:extLst>
                    <a:ext uri="{FF2B5EF4-FFF2-40B4-BE49-F238E27FC236}">
                      <a16:creationId xmlns:a16="http://schemas.microsoft.com/office/drawing/2014/main" id="{4FEFF3D7-74D0-43F1-BBD7-3316C24735DB}"/>
                    </a:ext>
                  </a:extLst>
                </p:cNvPr>
                <p:cNvGrpSpPr/>
                <p:nvPr/>
              </p:nvGrpSpPr>
              <p:grpSpPr>
                <a:xfrm>
                  <a:off x="4993493" y="2235468"/>
                  <a:ext cx="286091" cy="288509"/>
                  <a:chOff x="4952286" y="2267451"/>
                  <a:chExt cx="343948" cy="346855"/>
                </a:xfrm>
              </p:grpSpPr>
              <p:sp>
                <p:nvSpPr>
                  <p:cNvPr id="734" name="타원 492">
                    <a:extLst>
                      <a:ext uri="{FF2B5EF4-FFF2-40B4-BE49-F238E27FC236}">
                        <a16:creationId xmlns:a16="http://schemas.microsoft.com/office/drawing/2014/main" id="{DE29449E-288B-4500-B529-EE837A1F86F0}"/>
                      </a:ext>
                    </a:extLst>
                  </p:cNvPr>
                  <p:cNvSpPr/>
                  <p:nvPr/>
                </p:nvSpPr>
                <p:spPr>
                  <a:xfrm>
                    <a:off x="4952287" y="2267451"/>
                    <a:ext cx="343947" cy="346855"/>
                  </a:xfrm>
                  <a:prstGeom prst="ellipse">
                    <a:avLst/>
                  </a:prstGeom>
                  <a:gradFill flip="none" rotWithShape="1">
                    <a:gsLst>
                      <a:gs pos="54000">
                        <a:srgbClr val="F7AB3B"/>
                      </a:gs>
                      <a:gs pos="100000">
                        <a:srgbClr val="F59E1D"/>
                      </a:gs>
                      <a:gs pos="2000">
                        <a:srgbClr val="FBD49B"/>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35" name="타원 493">
                    <a:extLst>
                      <a:ext uri="{FF2B5EF4-FFF2-40B4-BE49-F238E27FC236}">
                        <a16:creationId xmlns:a16="http://schemas.microsoft.com/office/drawing/2014/main" id="{96FF5AAC-A40C-4E05-8878-012134975DE2}"/>
                      </a:ext>
                    </a:extLst>
                  </p:cNvPr>
                  <p:cNvSpPr/>
                  <p:nvPr/>
                </p:nvSpPr>
                <p:spPr>
                  <a:xfrm>
                    <a:off x="5019777" y="2281443"/>
                    <a:ext cx="95952" cy="125049"/>
                  </a:xfrm>
                  <a:prstGeom prst="ellipse">
                    <a:avLst/>
                  </a:prstGeom>
                  <a:gradFill flip="none" rotWithShape="1">
                    <a:gsLst>
                      <a:gs pos="100000">
                        <a:srgbClr val="F59E1D">
                          <a:alpha val="0"/>
                        </a:srgbClr>
                      </a:gs>
                      <a:gs pos="2000">
                        <a:schemeClr val="bg1">
                          <a:alpha val="6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36" name="타원 494">
                    <a:extLst>
                      <a:ext uri="{FF2B5EF4-FFF2-40B4-BE49-F238E27FC236}">
                        <a16:creationId xmlns:a16="http://schemas.microsoft.com/office/drawing/2014/main" id="{4AE15EFB-C08B-4C93-8E1A-AD2FD3C07150}"/>
                      </a:ext>
                    </a:extLst>
                  </p:cNvPr>
                  <p:cNvSpPr/>
                  <p:nvPr/>
                </p:nvSpPr>
                <p:spPr>
                  <a:xfrm>
                    <a:off x="4991728" y="2353270"/>
                    <a:ext cx="56098" cy="73110"/>
                  </a:xfrm>
                  <a:prstGeom prst="ellipse">
                    <a:avLst/>
                  </a:prstGeom>
                  <a:gradFill flip="none" rotWithShape="1">
                    <a:gsLst>
                      <a:gs pos="100000">
                        <a:srgbClr val="F59E1D">
                          <a:alpha val="0"/>
                        </a:srgbClr>
                      </a:gs>
                      <a:gs pos="2000">
                        <a:schemeClr val="bg1">
                          <a:alpha val="3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37" name="타원 495">
                    <a:extLst>
                      <a:ext uri="{FF2B5EF4-FFF2-40B4-BE49-F238E27FC236}">
                        <a16:creationId xmlns:a16="http://schemas.microsoft.com/office/drawing/2014/main" id="{D32FC2DB-F82A-47E0-9A16-4755B393DB93}"/>
                      </a:ext>
                    </a:extLst>
                  </p:cNvPr>
                  <p:cNvSpPr/>
                  <p:nvPr/>
                </p:nvSpPr>
                <p:spPr>
                  <a:xfrm>
                    <a:off x="4952286" y="2267451"/>
                    <a:ext cx="343947" cy="346855"/>
                  </a:xfrm>
                  <a:prstGeom prst="ellipse">
                    <a:avLst/>
                  </a:prstGeom>
                  <a:gradFill flip="none" rotWithShape="1">
                    <a:gsLst>
                      <a:gs pos="89000">
                        <a:srgbClr val="6F4405"/>
                      </a:gs>
                      <a:gs pos="71000">
                        <a:srgbClr val="FBD49B">
                          <a:alpha val="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sp>
              <p:nvSpPr>
                <p:cNvPr id="733" name="타원 491">
                  <a:extLst>
                    <a:ext uri="{FF2B5EF4-FFF2-40B4-BE49-F238E27FC236}">
                      <a16:creationId xmlns:a16="http://schemas.microsoft.com/office/drawing/2014/main" id="{8933B27C-5BA1-4CA9-9BB4-C76E3FDB610A}"/>
                    </a:ext>
                  </a:extLst>
                </p:cNvPr>
                <p:cNvSpPr/>
                <p:nvPr/>
              </p:nvSpPr>
              <p:spPr>
                <a:xfrm>
                  <a:off x="4993494" y="2235468"/>
                  <a:ext cx="286090" cy="288509"/>
                </a:xfrm>
                <a:prstGeom prst="ellipse">
                  <a:avLst/>
                </a:prstGeom>
                <a:gradFill flip="none" rotWithShape="1">
                  <a:gsLst>
                    <a:gs pos="100000">
                      <a:schemeClr val="tx1">
                        <a:alpha val="43000"/>
                      </a:schemeClr>
                    </a:gs>
                    <a:gs pos="0">
                      <a:srgbClr val="F59E1D">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grpSp>
        <p:grpSp>
          <p:nvGrpSpPr>
            <p:cNvPr id="658" name="그룹 510">
              <a:extLst>
                <a:ext uri="{FF2B5EF4-FFF2-40B4-BE49-F238E27FC236}">
                  <a16:creationId xmlns:a16="http://schemas.microsoft.com/office/drawing/2014/main" id="{CF3F4235-B9F5-48D4-BADD-4555CFBDA25B}"/>
                </a:ext>
              </a:extLst>
            </p:cNvPr>
            <p:cNvGrpSpPr/>
            <p:nvPr/>
          </p:nvGrpSpPr>
          <p:grpSpPr>
            <a:xfrm>
              <a:off x="3879817" y="2148169"/>
              <a:ext cx="115570" cy="115570"/>
              <a:chOff x="5292146" y="2151191"/>
              <a:chExt cx="488887" cy="488887"/>
            </a:xfrm>
          </p:grpSpPr>
          <p:sp>
            <p:nvSpPr>
              <p:cNvPr id="722" name="타원 511">
                <a:extLst>
                  <a:ext uri="{FF2B5EF4-FFF2-40B4-BE49-F238E27FC236}">
                    <a16:creationId xmlns:a16="http://schemas.microsoft.com/office/drawing/2014/main" id="{BC582DF1-F3C6-4E65-B8CF-5EF2FE0F91F4}"/>
                  </a:ext>
                </a:extLst>
              </p:cNvPr>
              <p:cNvSpPr/>
              <p:nvPr/>
            </p:nvSpPr>
            <p:spPr>
              <a:xfrm>
                <a:off x="5292146" y="2151191"/>
                <a:ext cx="488887" cy="488887"/>
              </a:xfrm>
              <a:prstGeom prst="ellipse">
                <a:avLst/>
              </a:prstGeom>
              <a:gradFill>
                <a:gsLst>
                  <a:gs pos="100000">
                    <a:srgbClr val="F59E1D">
                      <a:alpha val="37000"/>
                    </a:srgbClr>
                  </a:gs>
                  <a:gs pos="47000">
                    <a:srgbClr val="F59E1D">
                      <a:alpha val="900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nvGrpSpPr>
              <p:cNvPr id="723" name="그룹 512">
                <a:extLst>
                  <a:ext uri="{FF2B5EF4-FFF2-40B4-BE49-F238E27FC236}">
                    <a16:creationId xmlns:a16="http://schemas.microsoft.com/office/drawing/2014/main" id="{5AA39D07-38B5-4CDE-AB6E-5C3E557940CE}"/>
                  </a:ext>
                </a:extLst>
              </p:cNvPr>
              <p:cNvGrpSpPr/>
              <p:nvPr/>
            </p:nvGrpSpPr>
            <p:grpSpPr>
              <a:xfrm>
                <a:off x="5393543" y="2235468"/>
                <a:ext cx="286091" cy="288509"/>
                <a:chOff x="4993493" y="2235468"/>
                <a:chExt cx="286091" cy="288509"/>
              </a:xfrm>
            </p:grpSpPr>
            <p:grpSp>
              <p:nvGrpSpPr>
                <p:cNvPr id="724" name="그룹 513">
                  <a:extLst>
                    <a:ext uri="{FF2B5EF4-FFF2-40B4-BE49-F238E27FC236}">
                      <a16:creationId xmlns:a16="http://schemas.microsoft.com/office/drawing/2014/main" id="{46C303B6-7423-4FB2-ADC4-3DADDD2136DA}"/>
                    </a:ext>
                  </a:extLst>
                </p:cNvPr>
                <p:cNvGrpSpPr/>
                <p:nvPr/>
              </p:nvGrpSpPr>
              <p:grpSpPr>
                <a:xfrm>
                  <a:off x="4993493" y="2235468"/>
                  <a:ext cx="286091" cy="288509"/>
                  <a:chOff x="4952286" y="2267451"/>
                  <a:chExt cx="343948" cy="346855"/>
                </a:xfrm>
              </p:grpSpPr>
              <p:sp>
                <p:nvSpPr>
                  <p:cNvPr id="726" name="타원 515">
                    <a:extLst>
                      <a:ext uri="{FF2B5EF4-FFF2-40B4-BE49-F238E27FC236}">
                        <a16:creationId xmlns:a16="http://schemas.microsoft.com/office/drawing/2014/main" id="{9FC35D17-3F96-4C06-B9E8-38FDD042F182}"/>
                      </a:ext>
                    </a:extLst>
                  </p:cNvPr>
                  <p:cNvSpPr/>
                  <p:nvPr/>
                </p:nvSpPr>
                <p:spPr>
                  <a:xfrm>
                    <a:off x="4952287" y="2267451"/>
                    <a:ext cx="343947" cy="346855"/>
                  </a:xfrm>
                  <a:prstGeom prst="ellipse">
                    <a:avLst/>
                  </a:prstGeom>
                  <a:gradFill flip="none" rotWithShape="1">
                    <a:gsLst>
                      <a:gs pos="54000">
                        <a:srgbClr val="F7AB3B"/>
                      </a:gs>
                      <a:gs pos="100000">
                        <a:srgbClr val="F59E1D"/>
                      </a:gs>
                      <a:gs pos="2000">
                        <a:srgbClr val="FBD49B"/>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27" name="타원 516">
                    <a:extLst>
                      <a:ext uri="{FF2B5EF4-FFF2-40B4-BE49-F238E27FC236}">
                        <a16:creationId xmlns:a16="http://schemas.microsoft.com/office/drawing/2014/main" id="{94E833BE-8E35-4266-9B12-F62F0A9A3483}"/>
                      </a:ext>
                    </a:extLst>
                  </p:cNvPr>
                  <p:cNvSpPr/>
                  <p:nvPr/>
                </p:nvSpPr>
                <p:spPr>
                  <a:xfrm>
                    <a:off x="5019777" y="2281443"/>
                    <a:ext cx="95952" cy="125049"/>
                  </a:xfrm>
                  <a:prstGeom prst="ellipse">
                    <a:avLst/>
                  </a:prstGeom>
                  <a:gradFill flip="none" rotWithShape="1">
                    <a:gsLst>
                      <a:gs pos="100000">
                        <a:srgbClr val="F59E1D">
                          <a:alpha val="0"/>
                        </a:srgbClr>
                      </a:gs>
                      <a:gs pos="2000">
                        <a:schemeClr val="bg1">
                          <a:alpha val="6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28" name="타원 517">
                    <a:extLst>
                      <a:ext uri="{FF2B5EF4-FFF2-40B4-BE49-F238E27FC236}">
                        <a16:creationId xmlns:a16="http://schemas.microsoft.com/office/drawing/2014/main" id="{6470B212-A06E-44BE-A287-614958BF9D36}"/>
                      </a:ext>
                    </a:extLst>
                  </p:cNvPr>
                  <p:cNvSpPr/>
                  <p:nvPr/>
                </p:nvSpPr>
                <p:spPr>
                  <a:xfrm>
                    <a:off x="4991728" y="2353270"/>
                    <a:ext cx="56098" cy="73110"/>
                  </a:xfrm>
                  <a:prstGeom prst="ellipse">
                    <a:avLst/>
                  </a:prstGeom>
                  <a:gradFill flip="none" rotWithShape="1">
                    <a:gsLst>
                      <a:gs pos="100000">
                        <a:srgbClr val="F59E1D">
                          <a:alpha val="0"/>
                        </a:srgbClr>
                      </a:gs>
                      <a:gs pos="2000">
                        <a:schemeClr val="bg1">
                          <a:alpha val="3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29" name="타원 518">
                    <a:extLst>
                      <a:ext uri="{FF2B5EF4-FFF2-40B4-BE49-F238E27FC236}">
                        <a16:creationId xmlns:a16="http://schemas.microsoft.com/office/drawing/2014/main" id="{A44A2257-4B3C-4DEB-861B-862E896069A6}"/>
                      </a:ext>
                    </a:extLst>
                  </p:cNvPr>
                  <p:cNvSpPr/>
                  <p:nvPr/>
                </p:nvSpPr>
                <p:spPr>
                  <a:xfrm>
                    <a:off x="4952286" y="2267451"/>
                    <a:ext cx="343947" cy="346855"/>
                  </a:xfrm>
                  <a:prstGeom prst="ellipse">
                    <a:avLst/>
                  </a:prstGeom>
                  <a:gradFill flip="none" rotWithShape="1">
                    <a:gsLst>
                      <a:gs pos="89000">
                        <a:srgbClr val="6F4405"/>
                      </a:gs>
                      <a:gs pos="71000">
                        <a:srgbClr val="FBD49B">
                          <a:alpha val="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sp>
              <p:nvSpPr>
                <p:cNvPr id="725" name="타원 514">
                  <a:extLst>
                    <a:ext uri="{FF2B5EF4-FFF2-40B4-BE49-F238E27FC236}">
                      <a16:creationId xmlns:a16="http://schemas.microsoft.com/office/drawing/2014/main" id="{9EC8FA27-B3E5-42CE-A31C-6EA2285EBF4E}"/>
                    </a:ext>
                  </a:extLst>
                </p:cNvPr>
                <p:cNvSpPr/>
                <p:nvPr/>
              </p:nvSpPr>
              <p:spPr>
                <a:xfrm>
                  <a:off x="4993494" y="2235468"/>
                  <a:ext cx="286090" cy="288509"/>
                </a:xfrm>
                <a:prstGeom prst="ellipse">
                  <a:avLst/>
                </a:prstGeom>
                <a:gradFill flip="none" rotWithShape="1">
                  <a:gsLst>
                    <a:gs pos="100000">
                      <a:schemeClr val="tx1">
                        <a:alpha val="43000"/>
                      </a:schemeClr>
                    </a:gs>
                    <a:gs pos="0">
                      <a:srgbClr val="F59E1D">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grpSp>
        <p:grpSp>
          <p:nvGrpSpPr>
            <p:cNvPr id="659" name="그룹 519">
              <a:extLst>
                <a:ext uri="{FF2B5EF4-FFF2-40B4-BE49-F238E27FC236}">
                  <a16:creationId xmlns:a16="http://schemas.microsoft.com/office/drawing/2014/main" id="{6B8FFF07-EB38-49B3-ACCC-495766758E3B}"/>
                </a:ext>
              </a:extLst>
            </p:cNvPr>
            <p:cNvGrpSpPr/>
            <p:nvPr/>
          </p:nvGrpSpPr>
          <p:grpSpPr>
            <a:xfrm>
              <a:off x="3172874" y="2509029"/>
              <a:ext cx="115570" cy="115570"/>
              <a:chOff x="5292146" y="2151191"/>
              <a:chExt cx="488887" cy="488887"/>
            </a:xfrm>
          </p:grpSpPr>
          <p:sp>
            <p:nvSpPr>
              <p:cNvPr id="714" name="타원 520">
                <a:extLst>
                  <a:ext uri="{FF2B5EF4-FFF2-40B4-BE49-F238E27FC236}">
                    <a16:creationId xmlns:a16="http://schemas.microsoft.com/office/drawing/2014/main" id="{968E5BC4-5A64-4AB8-8D9A-99F2A1AA6797}"/>
                  </a:ext>
                </a:extLst>
              </p:cNvPr>
              <p:cNvSpPr/>
              <p:nvPr/>
            </p:nvSpPr>
            <p:spPr>
              <a:xfrm>
                <a:off x="5292146" y="2151191"/>
                <a:ext cx="488887" cy="488887"/>
              </a:xfrm>
              <a:prstGeom prst="ellipse">
                <a:avLst/>
              </a:prstGeom>
              <a:gradFill>
                <a:gsLst>
                  <a:gs pos="100000">
                    <a:srgbClr val="F59E1D">
                      <a:alpha val="37000"/>
                    </a:srgbClr>
                  </a:gs>
                  <a:gs pos="47000">
                    <a:srgbClr val="F59E1D">
                      <a:alpha val="900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nvGrpSpPr>
              <p:cNvPr id="715" name="그룹 521">
                <a:extLst>
                  <a:ext uri="{FF2B5EF4-FFF2-40B4-BE49-F238E27FC236}">
                    <a16:creationId xmlns:a16="http://schemas.microsoft.com/office/drawing/2014/main" id="{73B8B437-920A-4EF1-89D1-ACC1B37543DC}"/>
                  </a:ext>
                </a:extLst>
              </p:cNvPr>
              <p:cNvGrpSpPr/>
              <p:nvPr/>
            </p:nvGrpSpPr>
            <p:grpSpPr>
              <a:xfrm>
                <a:off x="5393543" y="2235468"/>
                <a:ext cx="286091" cy="288509"/>
                <a:chOff x="4993493" y="2235468"/>
                <a:chExt cx="286091" cy="288509"/>
              </a:xfrm>
            </p:grpSpPr>
            <p:grpSp>
              <p:nvGrpSpPr>
                <p:cNvPr id="716" name="그룹 522">
                  <a:extLst>
                    <a:ext uri="{FF2B5EF4-FFF2-40B4-BE49-F238E27FC236}">
                      <a16:creationId xmlns:a16="http://schemas.microsoft.com/office/drawing/2014/main" id="{D9B126B4-3214-47C2-8C64-8A1B10C20369}"/>
                    </a:ext>
                  </a:extLst>
                </p:cNvPr>
                <p:cNvGrpSpPr/>
                <p:nvPr/>
              </p:nvGrpSpPr>
              <p:grpSpPr>
                <a:xfrm>
                  <a:off x="4993493" y="2235468"/>
                  <a:ext cx="286091" cy="288509"/>
                  <a:chOff x="4952286" y="2267451"/>
                  <a:chExt cx="343948" cy="346855"/>
                </a:xfrm>
              </p:grpSpPr>
              <p:sp>
                <p:nvSpPr>
                  <p:cNvPr id="718" name="타원 524">
                    <a:extLst>
                      <a:ext uri="{FF2B5EF4-FFF2-40B4-BE49-F238E27FC236}">
                        <a16:creationId xmlns:a16="http://schemas.microsoft.com/office/drawing/2014/main" id="{2BDFE334-BFB5-4673-959C-50D7625496D1}"/>
                      </a:ext>
                    </a:extLst>
                  </p:cNvPr>
                  <p:cNvSpPr/>
                  <p:nvPr/>
                </p:nvSpPr>
                <p:spPr>
                  <a:xfrm>
                    <a:off x="4952287" y="2267451"/>
                    <a:ext cx="343947" cy="346855"/>
                  </a:xfrm>
                  <a:prstGeom prst="ellipse">
                    <a:avLst/>
                  </a:prstGeom>
                  <a:gradFill flip="none" rotWithShape="1">
                    <a:gsLst>
                      <a:gs pos="54000">
                        <a:srgbClr val="F7AB3B"/>
                      </a:gs>
                      <a:gs pos="100000">
                        <a:srgbClr val="F59E1D"/>
                      </a:gs>
                      <a:gs pos="2000">
                        <a:srgbClr val="FBD49B"/>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19" name="타원 525">
                    <a:extLst>
                      <a:ext uri="{FF2B5EF4-FFF2-40B4-BE49-F238E27FC236}">
                        <a16:creationId xmlns:a16="http://schemas.microsoft.com/office/drawing/2014/main" id="{9932BBAB-70B4-4E08-90F1-51100BEB2204}"/>
                      </a:ext>
                    </a:extLst>
                  </p:cNvPr>
                  <p:cNvSpPr/>
                  <p:nvPr/>
                </p:nvSpPr>
                <p:spPr>
                  <a:xfrm>
                    <a:off x="5019777" y="2281443"/>
                    <a:ext cx="95952" cy="125049"/>
                  </a:xfrm>
                  <a:prstGeom prst="ellipse">
                    <a:avLst/>
                  </a:prstGeom>
                  <a:gradFill flip="none" rotWithShape="1">
                    <a:gsLst>
                      <a:gs pos="100000">
                        <a:srgbClr val="F59E1D">
                          <a:alpha val="0"/>
                        </a:srgbClr>
                      </a:gs>
                      <a:gs pos="2000">
                        <a:schemeClr val="bg1">
                          <a:alpha val="6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20" name="타원 526">
                    <a:extLst>
                      <a:ext uri="{FF2B5EF4-FFF2-40B4-BE49-F238E27FC236}">
                        <a16:creationId xmlns:a16="http://schemas.microsoft.com/office/drawing/2014/main" id="{FFA78B4D-5895-4DBD-8BCA-E19B1DC108F2}"/>
                      </a:ext>
                    </a:extLst>
                  </p:cNvPr>
                  <p:cNvSpPr/>
                  <p:nvPr/>
                </p:nvSpPr>
                <p:spPr>
                  <a:xfrm>
                    <a:off x="4991728" y="2353270"/>
                    <a:ext cx="56098" cy="73110"/>
                  </a:xfrm>
                  <a:prstGeom prst="ellipse">
                    <a:avLst/>
                  </a:prstGeom>
                  <a:gradFill flip="none" rotWithShape="1">
                    <a:gsLst>
                      <a:gs pos="100000">
                        <a:srgbClr val="F59E1D">
                          <a:alpha val="0"/>
                        </a:srgbClr>
                      </a:gs>
                      <a:gs pos="2000">
                        <a:schemeClr val="bg1">
                          <a:alpha val="3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21" name="타원 527">
                    <a:extLst>
                      <a:ext uri="{FF2B5EF4-FFF2-40B4-BE49-F238E27FC236}">
                        <a16:creationId xmlns:a16="http://schemas.microsoft.com/office/drawing/2014/main" id="{82938FBF-576D-40B1-BC18-391760E57D51}"/>
                      </a:ext>
                    </a:extLst>
                  </p:cNvPr>
                  <p:cNvSpPr/>
                  <p:nvPr/>
                </p:nvSpPr>
                <p:spPr>
                  <a:xfrm>
                    <a:off x="4952286" y="2267451"/>
                    <a:ext cx="343947" cy="346855"/>
                  </a:xfrm>
                  <a:prstGeom prst="ellipse">
                    <a:avLst/>
                  </a:prstGeom>
                  <a:gradFill flip="none" rotWithShape="1">
                    <a:gsLst>
                      <a:gs pos="89000">
                        <a:srgbClr val="6F4405"/>
                      </a:gs>
                      <a:gs pos="71000">
                        <a:srgbClr val="FBD49B">
                          <a:alpha val="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sp>
              <p:nvSpPr>
                <p:cNvPr id="717" name="타원 523">
                  <a:extLst>
                    <a:ext uri="{FF2B5EF4-FFF2-40B4-BE49-F238E27FC236}">
                      <a16:creationId xmlns:a16="http://schemas.microsoft.com/office/drawing/2014/main" id="{CBAE3508-AC0A-44FD-8D8D-9C8CDF6B56EE}"/>
                    </a:ext>
                  </a:extLst>
                </p:cNvPr>
                <p:cNvSpPr/>
                <p:nvPr/>
              </p:nvSpPr>
              <p:spPr>
                <a:xfrm>
                  <a:off x="4993494" y="2235468"/>
                  <a:ext cx="286090" cy="288509"/>
                </a:xfrm>
                <a:prstGeom prst="ellipse">
                  <a:avLst/>
                </a:prstGeom>
                <a:gradFill flip="none" rotWithShape="1">
                  <a:gsLst>
                    <a:gs pos="100000">
                      <a:schemeClr val="tx1">
                        <a:alpha val="43000"/>
                      </a:schemeClr>
                    </a:gs>
                    <a:gs pos="0">
                      <a:srgbClr val="F59E1D">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grpSp>
        <p:grpSp>
          <p:nvGrpSpPr>
            <p:cNvPr id="660" name="그룹 528">
              <a:extLst>
                <a:ext uri="{FF2B5EF4-FFF2-40B4-BE49-F238E27FC236}">
                  <a16:creationId xmlns:a16="http://schemas.microsoft.com/office/drawing/2014/main" id="{A60BEFB8-8B4D-44D7-93F7-956AB5E14785}"/>
                </a:ext>
              </a:extLst>
            </p:cNvPr>
            <p:cNvGrpSpPr/>
            <p:nvPr/>
          </p:nvGrpSpPr>
          <p:grpSpPr>
            <a:xfrm>
              <a:off x="2701812" y="1939209"/>
              <a:ext cx="115570" cy="115570"/>
              <a:chOff x="5292146" y="2151191"/>
              <a:chExt cx="488887" cy="488887"/>
            </a:xfrm>
          </p:grpSpPr>
          <p:sp>
            <p:nvSpPr>
              <p:cNvPr id="706" name="타원 529">
                <a:extLst>
                  <a:ext uri="{FF2B5EF4-FFF2-40B4-BE49-F238E27FC236}">
                    <a16:creationId xmlns:a16="http://schemas.microsoft.com/office/drawing/2014/main" id="{1A3577DD-4309-4208-B6B4-3CA3C4341FE7}"/>
                  </a:ext>
                </a:extLst>
              </p:cNvPr>
              <p:cNvSpPr/>
              <p:nvPr/>
            </p:nvSpPr>
            <p:spPr>
              <a:xfrm>
                <a:off x="5292146" y="2151191"/>
                <a:ext cx="488887" cy="488887"/>
              </a:xfrm>
              <a:prstGeom prst="ellipse">
                <a:avLst/>
              </a:prstGeom>
              <a:gradFill>
                <a:gsLst>
                  <a:gs pos="100000">
                    <a:srgbClr val="F59E1D">
                      <a:alpha val="37000"/>
                    </a:srgbClr>
                  </a:gs>
                  <a:gs pos="47000">
                    <a:srgbClr val="F59E1D">
                      <a:alpha val="900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nvGrpSpPr>
              <p:cNvPr id="707" name="그룹 530">
                <a:extLst>
                  <a:ext uri="{FF2B5EF4-FFF2-40B4-BE49-F238E27FC236}">
                    <a16:creationId xmlns:a16="http://schemas.microsoft.com/office/drawing/2014/main" id="{376FFB53-2210-4276-81D1-EB2507F7F63B}"/>
                  </a:ext>
                </a:extLst>
              </p:cNvPr>
              <p:cNvGrpSpPr/>
              <p:nvPr/>
            </p:nvGrpSpPr>
            <p:grpSpPr>
              <a:xfrm>
                <a:off x="5393543" y="2235468"/>
                <a:ext cx="286091" cy="288509"/>
                <a:chOff x="4993493" y="2235468"/>
                <a:chExt cx="286091" cy="288509"/>
              </a:xfrm>
            </p:grpSpPr>
            <p:grpSp>
              <p:nvGrpSpPr>
                <p:cNvPr id="708" name="그룹 531">
                  <a:extLst>
                    <a:ext uri="{FF2B5EF4-FFF2-40B4-BE49-F238E27FC236}">
                      <a16:creationId xmlns:a16="http://schemas.microsoft.com/office/drawing/2014/main" id="{857A50DC-CF5A-47E3-BACC-7C779E59A0FC}"/>
                    </a:ext>
                  </a:extLst>
                </p:cNvPr>
                <p:cNvGrpSpPr/>
                <p:nvPr/>
              </p:nvGrpSpPr>
              <p:grpSpPr>
                <a:xfrm>
                  <a:off x="4993493" y="2235468"/>
                  <a:ext cx="286091" cy="288509"/>
                  <a:chOff x="4952286" y="2267451"/>
                  <a:chExt cx="343948" cy="346855"/>
                </a:xfrm>
              </p:grpSpPr>
              <p:sp>
                <p:nvSpPr>
                  <p:cNvPr id="710" name="타원 533">
                    <a:extLst>
                      <a:ext uri="{FF2B5EF4-FFF2-40B4-BE49-F238E27FC236}">
                        <a16:creationId xmlns:a16="http://schemas.microsoft.com/office/drawing/2014/main" id="{E3D3277E-C910-4E56-8397-76F29B46D441}"/>
                      </a:ext>
                    </a:extLst>
                  </p:cNvPr>
                  <p:cNvSpPr/>
                  <p:nvPr/>
                </p:nvSpPr>
                <p:spPr>
                  <a:xfrm>
                    <a:off x="4952287" y="2267451"/>
                    <a:ext cx="343947" cy="346855"/>
                  </a:xfrm>
                  <a:prstGeom prst="ellipse">
                    <a:avLst/>
                  </a:prstGeom>
                  <a:gradFill flip="none" rotWithShape="1">
                    <a:gsLst>
                      <a:gs pos="54000">
                        <a:srgbClr val="F7AB3B"/>
                      </a:gs>
                      <a:gs pos="100000">
                        <a:srgbClr val="F59E1D"/>
                      </a:gs>
                      <a:gs pos="2000">
                        <a:srgbClr val="FBD49B"/>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11" name="타원 534">
                    <a:extLst>
                      <a:ext uri="{FF2B5EF4-FFF2-40B4-BE49-F238E27FC236}">
                        <a16:creationId xmlns:a16="http://schemas.microsoft.com/office/drawing/2014/main" id="{2DBA540A-712E-488D-9647-F5533ECA54BC}"/>
                      </a:ext>
                    </a:extLst>
                  </p:cNvPr>
                  <p:cNvSpPr/>
                  <p:nvPr/>
                </p:nvSpPr>
                <p:spPr>
                  <a:xfrm>
                    <a:off x="5019777" y="2281443"/>
                    <a:ext cx="95952" cy="125049"/>
                  </a:xfrm>
                  <a:prstGeom prst="ellipse">
                    <a:avLst/>
                  </a:prstGeom>
                  <a:gradFill flip="none" rotWithShape="1">
                    <a:gsLst>
                      <a:gs pos="100000">
                        <a:srgbClr val="F59E1D">
                          <a:alpha val="0"/>
                        </a:srgbClr>
                      </a:gs>
                      <a:gs pos="2000">
                        <a:schemeClr val="bg1">
                          <a:alpha val="6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12" name="타원 535">
                    <a:extLst>
                      <a:ext uri="{FF2B5EF4-FFF2-40B4-BE49-F238E27FC236}">
                        <a16:creationId xmlns:a16="http://schemas.microsoft.com/office/drawing/2014/main" id="{E2D22096-5C38-40D1-B6B4-6363660CD72E}"/>
                      </a:ext>
                    </a:extLst>
                  </p:cNvPr>
                  <p:cNvSpPr/>
                  <p:nvPr/>
                </p:nvSpPr>
                <p:spPr>
                  <a:xfrm>
                    <a:off x="4991728" y="2353270"/>
                    <a:ext cx="56098" cy="73110"/>
                  </a:xfrm>
                  <a:prstGeom prst="ellipse">
                    <a:avLst/>
                  </a:prstGeom>
                  <a:gradFill flip="none" rotWithShape="1">
                    <a:gsLst>
                      <a:gs pos="100000">
                        <a:srgbClr val="F59E1D">
                          <a:alpha val="0"/>
                        </a:srgbClr>
                      </a:gs>
                      <a:gs pos="2000">
                        <a:schemeClr val="bg1">
                          <a:alpha val="3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13" name="타원 536">
                    <a:extLst>
                      <a:ext uri="{FF2B5EF4-FFF2-40B4-BE49-F238E27FC236}">
                        <a16:creationId xmlns:a16="http://schemas.microsoft.com/office/drawing/2014/main" id="{EDD7984A-FE3D-45AC-8194-D6245CE1CFF3}"/>
                      </a:ext>
                    </a:extLst>
                  </p:cNvPr>
                  <p:cNvSpPr/>
                  <p:nvPr/>
                </p:nvSpPr>
                <p:spPr>
                  <a:xfrm>
                    <a:off x="4952286" y="2267451"/>
                    <a:ext cx="343947" cy="346855"/>
                  </a:xfrm>
                  <a:prstGeom prst="ellipse">
                    <a:avLst/>
                  </a:prstGeom>
                  <a:gradFill flip="none" rotWithShape="1">
                    <a:gsLst>
                      <a:gs pos="89000">
                        <a:srgbClr val="6F4405"/>
                      </a:gs>
                      <a:gs pos="71000">
                        <a:srgbClr val="FBD49B">
                          <a:alpha val="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sp>
              <p:nvSpPr>
                <p:cNvPr id="709" name="타원 532">
                  <a:extLst>
                    <a:ext uri="{FF2B5EF4-FFF2-40B4-BE49-F238E27FC236}">
                      <a16:creationId xmlns:a16="http://schemas.microsoft.com/office/drawing/2014/main" id="{E82DD8B1-7B2C-428F-BA24-A2C84CB59570}"/>
                    </a:ext>
                  </a:extLst>
                </p:cNvPr>
                <p:cNvSpPr/>
                <p:nvPr/>
              </p:nvSpPr>
              <p:spPr>
                <a:xfrm>
                  <a:off x="4993494" y="2235468"/>
                  <a:ext cx="286090" cy="288509"/>
                </a:xfrm>
                <a:prstGeom prst="ellipse">
                  <a:avLst/>
                </a:prstGeom>
                <a:gradFill flip="none" rotWithShape="1">
                  <a:gsLst>
                    <a:gs pos="100000">
                      <a:schemeClr val="tx1">
                        <a:alpha val="43000"/>
                      </a:schemeClr>
                    </a:gs>
                    <a:gs pos="0">
                      <a:srgbClr val="F59E1D">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grpSp>
        <p:grpSp>
          <p:nvGrpSpPr>
            <p:cNvPr id="661" name="그룹 537">
              <a:extLst>
                <a:ext uri="{FF2B5EF4-FFF2-40B4-BE49-F238E27FC236}">
                  <a16:creationId xmlns:a16="http://schemas.microsoft.com/office/drawing/2014/main" id="{DCD7322F-B0AC-40E9-A84C-796BF748C22C}"/>
                </a:ext>
              </a:extLst>
            </p:cNvPr>
            <p:cNvGrpSpPr/>
            <p:nvPr/>
          </p:nvGrpSpPr>
          <p:grpSpPr>
            <a:xfrm>
              <a:off x="2176723" y="2363752"/>
              <a:ext cx="115570" cy="115570"/>
              <a:chOff x="5292146" y="2151191"/>
              <a:chExt cx="488887" cy="488887"/>
            </a:xfrm>
          </p:grpSpPr>
          <p:sp>
            <p:nvSpPr>
              <p:cNvPr id="698" name="타원 538">
                <a:extLst>
                  <a:ext uri="{FF2B5EF4-FFF2-40B4-BE49-F238E27FC236}">
                    <a16:creationId xmlns:a16="http://schemas.microsoft.com/office/drawing/2014/main" id="{04661978-AD34-4154-96CA-2213866F0123}"/>
                  </a:ext>
                </a:extLst>
              </p:cNvPr>
              <p:cNvSpPr/>
              <p:nvPr/>
            </p:nvSpPr>
            <p:spPr>
              <a:xfrm>
                <a:off x="5292146" y="2151191"/>
                <a:ext cx="488887" cy="488887"/>
              </a:xfrm>
              <a:prstGeom prst="ellipse">
                <a:avLst/>
              </a:prstGeom>
              <a:gradFill>
                <a:gsLst>
                  <a:gs pos="100000">
                    <a:srgbClr val="F59E1D">
                      <a:alpha val="37000"/>
                    </a:srgbClr>
                  </a:gs>
                  <a:gs pos="47000">
                    <a:srgbClr val="F59E1D">
                      <a:alpha val="900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nvGrpSpPr>
              <p:cNvPr id="699" name="그룹 539">
                <a:extLst>
                  <a:ext uri="{FF2B5EF4-FFF2-40B4-BE49-F238E27FC236}">
                    <a16:creationId xmlns:a16="http://schemas.microsoft.com/office/drawing/2014/main" id="{94F23879-3849-4B89-BE4D-E0D4B1536329}"/>
                  </a:ext>
                </a:extLst>
              </p:cNvPr>
              <p:cNvGrpSpPr/>
              <p:nvPr/>
            </p:nvGrpSpPr>
            <p:grpSpPr>
              <a:xfrm>
                <a:off x="5393543" y="2235468"/>
                <a:ext cx="286091" cy="288509"/>
                <a:chOff x="4993493" y="2235468"/>
                <a:chExt cx="286091" cy="288509"/>
              </a:xfrm>
            </p:grpSpPr>
            <p:grpSp>
              <p:nvGrpSpPr>
                <p:cNvPr id="700" name="그룹 540">
                  <a:extLst>
                    <a:ext uri="{FF2B5EF4-FFF2-40B4-BE49-F238E27FC236}">
                      <a16:creationId xmlns:a16="http://schemas.microsoft.com/office/drawing/2014/main" id="{FAF940CC-E856-4374-ACD1-EF6FA1FA22D9}"/>
                    </a:ext>
                  </a:extLst>
                </p:cNvPr>
                <p:cNvGrpSpPr/>
                <p:nvPr/>
              </p:nvGrpSpPr>
              <p:grpSpPr>
                <a:xfrm>
                  <a:off x="4993493" y="2235468"/>
                  <a:ext cx="286091" cy="288509"/>
                  <a:chOff x="4952286" y="2267451"/>
                  <a:chExt cx="343948" cy="346855"/>
                </a:xfrm>
              </p:grpSpPr>
              <p:sp>
                <p:nvSpPr>
                  <p:cNvPr id="702" name="타원 542">
                    <a:extLst>
                      <a:ext uri="{FF2B5EF4-FFF2-40B4-BE49-F238E27FC236}">
                        <a16:creationId xmlns:a16="http://schemas.microsoft.com/office/drawing/2014/main" id="{067036E2-4882-4F49-9F97-C5F19D0CEA0F}"/>
                      </a:ext>
                    </a:extLst>
                  </p:cNvPr>
                  <p:cNvSpPr/>
                  <p:nvPr/>
                </p:nvSpPr>
                <p:spPr>
                  <a:xfrm>
                    <a:off x="4952287" y="2267451"/>
                    <a:ext cx="343947" cy="346855"/>
                  </a:xfrm>
                  <a:prstGeom prst="ellipse">
                    <a:avLst/>
                  </a:prstGeom>
                  <a:gradFill flip="none" rotWithShape="1">
                    <a:gsLst>
                      <a:gs pos="54000">
                        <a:srgbClr val="F7AB3B"/>
                      </a:gs>
                      <a:gs pos="100000">
                        <a:srgbClr val="F59E1D"/>
                      </a:gs>
                      <a:gs pos="2000">
                        <a:srgbClr val="FBD49B"/>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03" name="타원 543">
                    <a:extLst>
                      <a:ext uri="{FF2B5EF4-FFF2-40B4-BE49-F238E27FC236}">
                        <a16:creationId xmlns:a16="http://schemas.microsoft.com/office/drawing/2014/main" id="{D709D284-2FF7-42CD-831A-389D54F95C3B}"/>
                      </a:ext>
                    </a:extLst>
                  </p:cNvPr>
                  <p:cNvSpPr/>
                  <p:nvPr/>
                </p:nvSpPr>
                <p:spPr>
                  <a:xfrm>
                    <a:off x="5019777" y="2281443"/>
                    <a:ext cx="95952" cy="125049"/>
                  </a:xfrm>
                  <a:prstGeom prst="ellipse">
                    <a:avLst/>
                  </a:prstGeom>
                  <a:gradFill flip="none" rotWithShape="1">
                    <a:gsLst>
                      <a:gs pos="100000">
                        <a:srgbClr val="F59E1D">
                          <a:alpha val="0"/>
                        </a:srgbClr>
                      </a:gs>
                      <a:gs pos="2000">
                        <a:schemeClr val="bg1">
                          <a:alpha val="6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04" name="타원 544">
                    <a:extLst>
                      <a:ext uri="{FF2B5EF4-FFF2-40B4-BE49-F238E27FC236}">
                        <a16:creationId xmlns:a16="http://schemas.microsoft.com/office/drawing/2014/main" id="{207E9A0F-AC8C-4A84-816A-2EBB409D0FE0}"/>
                      </a:ext>
                    </a:extLst>
                  </p:cNvPr>
                  <p:cNvSpPr/>
                  <p:nvPr/>
                </p:nvSpPr>
                <p:spPr>
                  <a:xfrm>
                    <a:off x="4991728" y="2353270"/>
                    <a:ext cx="56098" cy="73110"/>
                  </a:xfrm>
                  <a:prstGeom prst="ellipse">
                    <a:avLst/>
                  </a:prstGeom>
                  <a:gradFill flip="none" rotWithShape="1">
                    <a:gsLst>
                      <a:gs pos="100000">
                        <a:srgbClr val="F59E1D">
                          <a:alpha val="0"/>
                        </a:srgbClr>
                      </a:gs>
                      <a:gs pos="2000">
                        <a:schemeClr val="bg1">
                          <a:alpha val="3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705" name="타원 545">
                    <a:extLst>
                      <a:ext uri="{FF2B5EF4-FFF2-40B4-BE49-F238E27FC236}">
                        <a16:creationId xmlns:a16="http://schemas.microsoft.com/office/drawing/2014/main" id="{4390B266-88B2-4DAF-A996-E76561CF7329}"/>
                      </a:ext>
                    </a:extLst>
                  </p:cNvPr>
                  <p:cNvSpPr/>
                  <p:nvPr/>
                </p:nvSpPr>
                <p:spPr>
                  <a:xfrm>
                    <a:off x="4952286" y="2267451"/>
                    <a:ext cx="343947" cy="346855"/>
                  </a:xfrm>
                  <a:prstGeom prst="ellipse">
                    <a:avLst/>
                  </a:prstGeom>
                  <a:gradFill flip="none" rotWithShape="1">
                    <a:gsLst>
                      <a:gs pos="89000">
                        <a:srgbClr val="6F4405"/>
                      </a:gs>
                      <a:gs pos="71000">
                        <a:srgbClr val="FBD49B">
                          <a:alpha val="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sp>
              <p:nvSpPr>
                <p:cNvPr id="701" name="타원 541">
                  <a:extLst>
                    <a:ext uri="{FF2B5EF4-FFF2-40B4-BE49-F238E27FC236}">
                      <a16:creationId xmlns:a16="http://schemas.microsoft.com/office/drawing/2014/main" id="{F21DAAA3-0268-462D-A291-263321E8FFAE}"/>
                    </a:ext>
                  </a:extLst>
                </p:cNvPr>
                <p:cNvSpPr/>
                <p:nvPr/>
              </p:nvSpPr>
              <p:spPr>
                <a:xfrm>
                  <a:off x="4993494" y="2235468"/>
                  <a:ext cx="286090" cy="288509"/>
                </a:xfrm>
                <a:prstGeom prst="ellipse">
                  <a:avLst/>
                </a:prstGeom>
                <a:gradFill flip="none" rotWithShape="1">
                  <a:gsLst>
                    <a:gs pos="100000">
                      <a:schemeClr val="tx1">
                        <a:alpha val="43000"/>
                      </a:schemeClr>
                    </a:gs>
                    <a:gs pos="0">
                      <a:srgbClr val="F59E1D">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grpSp>
        <p:grpSp>
          <p:nvGrpSpPr>
            <p:cNvPr id="662" name="그룹 546">
              <a:extLst>
                <a:ext uri="{FF2B5EF4-FFF2-40B4-BE49-F238E27FC236}">
                  <a16:creationId xmlns:a16="http://schemas.microsoft.com/office/drawing/2014/main" id="{EEC79A38-F6B8-4E44-8603-D2778330049C}"/>
                </a:ext>
              </a:extLst>
            </p:cNvPr>
            <p:cNvGrpSpPr/>
            <p:nvPr/>
          </p:nvGrpSpPr>
          <p:grpSpPr>
            <a:xfrm>
              <a:off x="1458561" y="2838060"/>
              <a:ext cx="115570" cy="115570"/>
              <a:chOff x="5292146" y="2151191"/>
              <a:chExt cx="488887" cy="488887"/>
            </a:xfrm>
          </p:grpSpPr>
          <p:sp>
            <p:nvSpPr>
              <p:cNvPr id="690" name="타원 547">
                <a:extLst>
                  <a:ext uri="{FF2B5EF4-FFF2-40B4-BE49-F238E27FC236}">
                    <a16:creationId xmlns:a16="http://schemas.microsoft.com/office/drawing/2014/main" id="{DABD126F-9377-4891-B7FD-1357D6375181}"/>
                  </a:ext>
                </a:extLst>
              </p:cNvPr>
              <p:cNvSpPr/>
              <p:nvPr/>
            </p:nvSpPr>
            <p:spPr>
              <a:xfrm>
                <a:off x="5292146" y="2151191"/>
                <a:ext cx="488887" cy="488887"/>
              </a:xfrm>
              <a:prstGeom prst="ellipse">
                <a:avLst/>
              </a:prstGeom>
              <a:gradFill>
                <a:gsLst>
                  <a:gs pos="100000">
                    <a:srgbClr val="F59E1D">
                      <a:alpha val="37000"/>
                    </a:srgbClr>
                  </a:gs>
                  <a:gs pos="47000">
                    <a:srgbClr val="F59E1D">
                      <a:alpha val="900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nvGrpSpPr>
              <p:cNvPr id="691" name="그룹 548">
                <a:extLst>
                  <a:ext uri="{FF2B5EF4-FFF2-40B4-BE49-F238E27FC236}">
                    <a16:creationId xmlns:a16="http://schemas.microsoft.com/office/drawing/2014/main" id="{21144560-FCE6-4549-9B01-6AD4C05DFA01}"/>
                  </a:ext>
                </a:extLst>
              </p:cNvPr>
              <p:cNvGrpSpPr/>
              <p:nvPr/>
            </p:nvGrpSpPr>
            <p:grpSpPr>
              <a:xfrm>
                <a:off x="5393543" y="2235468"/>
                <a:ext cx="286091" cy="288509"/>
                <a:chOff x="4993493" y="2235468"/>
                <a:chExt cx="286091" cy="288509"/>
              </a:xfrm>
            </p:grpSpPr>
            <p:grpSp>
              <p:nvGrpSpPr>
                <p:cNvPr id="692" name="그룹 549">
                  <a:extLst>
                    <a:ext uri="{FF2B5EF4-FFF2-40B4-BE49-F238E27FC236}">
                      <a16:creationId xmlns:a16="http://schemas.microsoft.com/office/drawing/2014/main" id="{D3184D9A-F3B2-4730-93AC-9C0A3AE332F3}"/>
                    </a:ext>
                  </a:extLst>
                </p:cNvPr>
                <p:cNvGrpSpPr/>
                <p:nvPr/>
              </p:nvGrpSpPr>
              <p:grpSpPr>
                <a:xfrm>
                  <a:off x="4993493" y="2235468"/>
                  <a:ext cx="286091" cy="288509"/>
                  <a:chOff x="4952286" y="2267451"/>
                  <a:chExt cx="343948" cy="346855"/>
                </a:xfrm>
              </p:grpSpPr>
              <p:sp>
                <p:nvSpPr>
                  <p:cNvPr id="694" name="타원 551">
                    <a:extLst>
                      <a:ext uri="{FF2B5EF4-FFF2-40B4-BE49-F238E27FC236}">
                        <a16:creationId xmlns:a16="http://schemas.microsoft.com/office/drawing/2014/main" id="{6E1B6768-4E63-45D6-8E52-650E8BB7D690}"/>
                      </a:ext>
                    </a:extLst>
                  </p:cNvPr>
                  <p:cNvSpPr/>
                  <p:nvPr/>
                </p:nvSpPr>
                <p:spPr>
                  <a:xfrm>
                    <a:off x="4952287" y="2267451"/>
                    <a:ext cx="343947" cy="346855"/>
                  </a:xfrm>
                  <a:prstGeom prst="ellipse">
                    <a:avLst/>
                  </a:prstGeom>
                  <a:gradFill flip="none" rotWithShape="1">
                    <a:gsLst>
                      <a:gs pos="54000">
                        <a:srgbClr val="F7AB3B"/>
                      </a:gs>
                      <a:gs pos="100000">
                        <a:srgbClr val="F59E1D"/>
                      </a:gs>
                      <a:gs pos="2000">
                        <a:srgbClr val="FBD49B"/>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695" name="타원 552">
                    <a:extLst>
                      <a:ext uri="{FF2B5EF4-FFF2-40B4-BE49-F238E27FC236}">
                        <a16:creationId xmlns:a16="http://schemas.microsoft.com/office/drawing/2014/main" id="{26DB9EA2-5242-451A-8D7D-3A53864D1F64}"/>
                      </a:ext>
                    </a:extLst>
                  </p:cNvPr>
                  <p:cNvSpPr/>
                  <p:nvPr/>
                </p:nvSpPr>
                <p:spPr>
                  <a:xfrm>
                    <a:off x="5019777" y="2281443"/>
                    <a:ext cx="95952" cy="125049"/>
                  </a:xfrm>
                  <a:prstGeom prst="ellipse">
                    <a:avLst/>
                  </a:prstGeom>
                  <a:gradFill flip="none" rotWithShape="1">
                    <a:gsLst>
                      <a:gs pos="100000">
                        <a:srgbClr val="F59E1D">
                          <a:alpha val="0"/>
                        </a:srgbClr>
                      </a:gs>
                      <a:gs pos="2000">
                        <a:schemeClr val="bg1">
                          <a:alpha val="6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696" name="타원 553">
                    <a:extLst>
                      <a:ext uri="{FF2B5EF4-FFF2-40B4-BE49-F238E27FC236}">
                        <a16:creationId xmlns:a16="http://schemas.microsoft.com/office/drawing/2014/main" id="{34FEAE11-AAEB-4B58-AED8-A347DF5E85DB}"/>
                      </a:ext>
                    </a:extLst>
                  </p:cNvPr>
                  <p:cNvSpPr/>
                  <p:nvPr/>
                </p:nvSpPr>
                <p:spPr>
                  <a:xfrm>
                    <a:off x="4991728" y="2353270"/>
                    <a:ext cx="56098" cy="73110"/>
                  </a:xfrm>
                  <a:prstGeom prst="ellipse">
                    <a:avLst/>
                  </a:prstGeom>
                  <a:gradFill flip="none" rotWithShape="1">
                    <a:gsLst>
                      <a:gs pos="100000">
                        <a:srgbClr val="F59E1D">
                          <a:alpha val="0"/>
                        </a:srgbClr>
                      </a:gs>
                      <a:gs pos="2000">
                        <a:schemeClr val="bg1">
                          <a:alpha val="3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697" name="타원 554">
                    <a:extLst>
                      <a:ext uri="{FF2B5EF4-FFF2-40B4-BE49-F238E27FC236}">
                        <a16:creationId xmlns:a16="http://schemas.microsoft.com/office/drawing/2014/main" id="{054B7426-4852-49B7-8359-609AAB25B8FE}"/>
                      </a:ext>
                    </a:extLst>
                  </p:cNvPr>
                  <p:cNvSpPr/>
                  <p:nvPr/>
                </p:nvSpPr>
                <p:spPr>
                  <a:xfrm>
                    <a:off x="4952286" y="2267451"/>
                    <a:ext cx="343947" cy="346855"/>
                  </a:xfrm>
                  <a:prstGeom prst="ellipse">
                    <a:avLst/>
                  </a:prstGeom>
                  <a:gradFill flip="none" rotWithShape="1">
                    <a:gsLst>
                      <a:gs pos="89000">
                        <a:srgbClr val="6F4405"/>
                      </a:gs>
                      <a:gs pos="71000">
                        <a:srgbClr val="FBD49B">
                          <a:alpha val="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sp>
              <p:nvSpPr>
                <p:cNvPr id="693" name="타원 550">
                  <a:extLst>
                    <a:ext uri="{FF2B5EF4-FFF2-40B4-BE49-F238E27FC236}">
                      <a16:creationId xmlns:a16="http://schemas.microsoft.com/office/drawing/2014/main" id="{AA3D1557-E08E-4E35-8AF0-3667E28C4961}"/>
                    </a:ext>
                  </a:extLst>
                </p:cNvPr>
                <p:cNvSpPr/>
                <p:nvPr/>
              </p:nvSpPr>
              <p:spPr>
                <a:xfrm>
                  <a:off x="4993494" y="2235468"/>
                  <a:ext cx="286090" cy="288509"/>
                </a:xfrm>
                <a:prstGeom prst="ellipse">
                  <a:avLst/>
                </a:prstGeom>
                <a:gradFill flip="none" rotWithShape="1">
                  <a:gsLst>
                    <a:gs pos="100000">
                      <a:schemeClr val="tx1">
                        <a:alpha val="43000"/>
                      </a:schemeClr>
                    </a:gs>
                    <a:gs pos="0">
                      <a:srgbClr val="F59E1D">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grpSp>
        <p:grpSp>
          <p:nvGrpSpPr>
            <p:cNvPr id="663" name="그룹 555">
              <a:extLst>
                <a:ext uri="{FF2B5EF4-FFF2-40B4-BE49-F238E27FC236}">
                  <a16:creationId xmlns:a16="http://schemas.microsoft.com/office/drawing/2014/main" id="{CD39B8DC-A869-4B67-BE27-531B8987C8F4}"/>
                </a:ext>
              </a:extLst>
            </p:cNvPr>
            <p:cNvGrpSpPr/>
            <p:nvPr/>
          </p:nvGrpSpPr>
          <p:grpSpPr>
            <a:xfrm>
              <a:off x="1903843" y="3553676"/>
              <a:ext cx="115570" cy="115570"/>
              <a:chOff x="5292146" y="2151191"/>
              <a:chExt cx="488887" cy="488887"/>
            </a:xfrm>
          </p:grpSpPr>
          <p:sp>
            <p:nvSpPr>
              <p:cNvPr id="682" name="타원 556">
                <a:extLst>
                  <a:ext uri="{FF2B5EF4-FFF2-40B4-BE49-F238E27FC236}">
                    <a16:creationId xmlns:a16="http://schemas.microsoft.com/office/drawing/2014/main" id="{0F44BE5F-2C25-46E3-A415-ACA7B59D537A}"/>
                  </a:ext>
                </a:extLst>
              </p:cNvPr>
              <p:cNvSpPr/>
              <p:nvPr/>
            </p:nvSpPr>
            <p:spPr>
              <a:xfrm>
                <a:off x="5292146" y="2151191"/>
                <a:ext cx="488887" cy="488887"/>
              </a:xfrm>
              <a:prstGeom prst="ellipse">
                <a:avLst/>
              </a:prstGeom>
              <a:gradFill>
                <a:gsLst>
                  <a:gs pos="100000">
                    <a:srgbClr val="F59E1D">
                      <a:alpha val="37000"/>
                    </a:srgbClr>
                  </a:gs>
                  <a:gs pos="47000">
                    <a:srgbClr val="F59E1D">
                      <a:alpha val="900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nvGrpSpPr>
              <p:cNvPr id="683" name="그룹 557">
                <a:extLst>
                  <a:ext uri="{FF2B5EF4-FFF2-40B4-BE49-F238E27FC236}">
                    <a16:creationId xmlns:a16="http://schemas.microsoft.com/office/drawing/2014/main" id="{7A4444E3-BBBC-46FB-BBA9-AAEE0CE0DA23}"/>
                  </a:ext>
                </a:extLst>
              </p:cNvPr>
              <p:cNvGrpSpPr/>
              <p:nvPr/>
            </p:nvGrpSpPr>
            <p:grpSpPr>
              <a:xfrm>
                <a:off x="5393543" y="2235468"/>
                <a:ext cx="286091" cy="288509"/>
                <a:chOff x="4993493" y="2235468"/>
                <a:chExt cx="286091" cy="288509"/>
              </a:xfrm>
            </p:grpSpPr>
            <p:grpSp>
              <p:nvGrpSpPr>
                <p:cNvPr id="684" name="그룹 558">
                  <a:extLst>
                    <a:ext uri="{FF2B5EF4-FFF2-40B4-BE49-F238E27FC236}">
                      <a16:creationId xmlns:a16="http://schemas.microsoft.com/office/drawing/2014/main" id="{A4697848-3769-4B53-A339-957AA5982C95}"/>
                    </a:ext>
                  </a:extLst>
                </p:cNvPr>
                <p:cNvGrpSpPr/>
                <p:nvPr/>
              </p:nvGrpSpPr>
              <p:grpSpPr>
                <a:xfrm>
                  <a:off x="4993493" y="2235468"/>
                  <a:ext cx="286091" cy="288509"/>
                  <a:chOff x="4952286" y="2267451"/>
                  <a:chExt cx="343948" cy="346855"/>
                </a:xfrm>
              </p:grpSpPr>
              <p:sp>
                <p:nvSpPr>
                  <p:cNvPr id="686" name="타원 560">
                    <a:extLst>
                      <a:ext uri="{FF2B5EF4-FFF2-40B4-BE49-F238E27FC236}">
                        <a16:creationId xmlns:a16="http://schemas.microsoft.com/office/drawing/2014/main" id="{E78D1676-C003-402D-8E22-5C1D1C07E981}"/>
                      </a:ext>
                    </a:extLst>
                  </p:cNvPr>
                  <p:cNvSpPr/>
                  <p:nvPr/>
                </p:nvSpPr>
                <p:spPr>
                  <a:xfrm>
                    <a:off x="4952287" y="2267451"/>
                    <a:ext cx="343947" cy="346855"/>
                  </a:xfrm>
                  <a:prstGeom prst="ellipse">
                    <a:avLst/>
                  </a:prstGeom>
                  <a:gradFill flip="none" rotWithShape="1">
                    <a:gsLst>
                      <a:gs pos="54000">
                        <a:srgbClr val="F7AB3B"/>
                      </a:gs>
                      <a:gs pos="100000">
                        <a:srgbClr val="F59E1D"/>
                      </a:gs>
                      <a:gs pos="2000">
                        <a:srgbClr val="FBD49B"/>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687" name="타원 561">
                    <a:extLst>
                      <a:ext uri="{FF2B5EF4-FFF2-40B4-BE49-F238E27FC236}">
                        <a16:creationId xmlns:a16="http://schemas.microsoft.com/office/drawing/2014/main" id="{99CE81C9-BF5C-4F7B-A274-D3E4912B5246}"/>
                      </a:ext>
                    </a:extLst>
                  </p:cNvPr>
                  <p:cNvSpPr/>
                  <p:nvPr/>
                </p:nvSpPr>
                <p:spPr>
                  <a:xfrm>
                    <a:off x="5019777" y="2281443"/>
                    <a:ext cx="95952" cy="125049"/>
                  </a:xfrm>
                  <a:prstGeom prst="ellipse">
                    <a:avLst/>
                  </a:prstGeom>
                  <a:gradFill flip="none" rotWithShape="1">
                    <a:gsLst>
                      <a:gs pos="100000">
                        <a:srgbClr val="F59E1D">
                          <a:alpha val="0"/>
                        </a:srgbClr>
                      </a:gs>
                      <a:gs pos="2000">
                        <a:schemeClr val="bg1">
                          <a:alpha val="6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688" name="타원 562">
                    <a:extLst>
                      <a:ext uri="{FF2B5EF4-FFF2-40B4-BE49-F238E27FC236}">
                        <a16:creationId xmlns:a16="http://schemas.microsoft.com/office/drawing/2014/main" id="{9C3564EB-D33B-4048-B4C4-C869CA32A2CD}"/>
                      </a:ext>
                    </a:extLst>
                  </p:cNvPr>
                  <p:cNvSpPr/>
                  <p:nvPr/>
                </p:nvSpPr>
                <p:spPr>
                  <a:xfrm>
                    <a:off x="4991728" y="2353270"/>
                    <a:ext cx="56098" cy="73110"/>
                  </a:xfrm>
                  <a:prstGeom prst="ellipse">
                    <a:avLst/>
                  </a:prstGeom>
                  <a:gradFill flip="none" rotWithShape="1">
                    <a:gsLst>
                      <a:gs pos="100000">
                        <a:srgbClr val="F59E1D">
                          <a:alpha val="0"/>
                        </a:srgbClr>
                      </a:gs>
                      <a:gs pos="2000">
                        <a:schemeClr val="bg1">
                          <a:alpha val="3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689" name="타원 563">
                    <a:extLst>
                      <a:ext uri="{FF2B5EF4-FFF2-40B4-BE49-F238E27FC236}">
                        <a16:creationId xmlns:a16="http://schemas.microsoft.com/office/drawing/2014/main" id="{BDEEDEB6-A2C0-431D-A3E8-78D03EC059AA}"/>
                      </a:ext>
                    </a:extLst>
                  </p:cNvPr>
                  <p:cNvSpPr/>
                  <p:nvPr/>
                </p:nvSpPr>
                <p:spPr>
                  <a:xfrm>
                    <a:off x="4952286" y="2267451"/>
                    <a:ext cx="343947" cy="346855"/>
                  </a:xfrm>
                  <a:prstGeom prst="ellipse">
                    <a:avLst/>
                  </a:prstGeom>
                  <a:gradFill flip="none" rotWithShape="1">
                    <a:gsLst>
                      <a:gs pos="89000">
                        <a:srgbClr val="6F4405"/>
                      </a:gs>
                      <a:gs pos="71000">
                        <a:srgbClr val="FBD49B">
                          <a:alpha val="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sp>
              <p:nvSpPr>
                <p:cNvPr id="685" name="타원 559">
                  <a:extLst>
                    <a:ext uri="{FF2B5EF4-FFF2-40B4-BE49-F238E27FC236}">
                      <a16:creationId xmlns:a16="http://schemas.microsoft.com/office/drawing/2014/main" id="{5A4709A5-E1C8-4429-8C52-05001EE25B1A}"/>
                    </a:ext>
                  </a:extLst>
                </p:cNvPr>
                <p:cNvSpPr/>
                <p:nvPr/>
              </p:nvSpPr>
              <p:spPr>
                <a:xfrm>
                  <a:off x="4993494" y="2235468"/>
                  <a:ext cx="286090" cy="288509"/>
                </a:xfrm>
                <a:prstGeom prst="ellipse">
                  <a:avLst/>
                </a:prstGeom>
                <a:gradFill flip="none" rotWithShape="1">
                  <a:gsLst>
                    <a:gs pos="100000">
                      <a:schemeClr val="tx1">
                        <a:alpha val="43000"/>
                      </a:schemeClr>
                    </a:gs>
                    <a:gs pos="0">
                      <a:srgbClr val="F59E1D">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grpSp>
        <p:grpSp>
          <p:nvGrpSpPr>
            <p:cNvPr id="664" name="그룹 564">
              <a:extLst>
                <a:ext uri="{FF2B5EF4-FFF2-40B4-BE49-F238E27FC236}">
                  <a16:creationId xmlns:a16="http://schemas.microsoft.com/office/drawing/2014/main" id="{A87FFC46-8F7B-4BB4-9475-63A86AF2CF17}"/>
                </a:ext>
              </a:extLst>
            </p:cNvPr>
            <p:cNvGrpSpPr/>
            <p:nvPr/>
          </p:nvGrpSpPr>
          <p:grpSpPr>
            <a:xfrm>
              <a:off x="2001058" y="3326701"/>
              <a:ext cx="115570" cy="115570"/>
              <a:chOff x="5292146" y="2151191"/>
              <a:chExt cx="488887" cy="488887"/>
            </a:xfrm>
          </p:grpSpPr>
          <p:sp>
            <p:nvSpPr>
              <p:cNvPr id="674" name="타원 565">
                <a:extLst>
                  <a:ext uri="{FF2B5EF4-FFF2-40B4-BE49-F238E27FC236}">
                    <a16:creationId xmlns:a16="http://schemas.microsoft.com/office/drawing/2014/main" id="{81287FCC-BBC2-4CC5-A9A9-6C96A89CA40B}"/>
                  </a:ext>
                </a:extLst>
              </p:cNvPr>
              <p:cNvSpPr/>
              <p:nvPr/>
            </p:nvSpPr>
            <p:spPr>
              <a:xfrm>
                <a:off x="5292146" y="2151191"/>
                <a:ext cx="488887" cy="488887"/>
              </a:xfrm>
              <a:prstGeom prst="ellipse">
                <a:avLst/>
              </a:prstGeom>
              <a:gradFill>
                <a:gsLst>
                  <a:gs pos="100000">
                    <a:srgbClr val="F59E1D">
                      <a:alpha val="37000"/>
                    </a:srgbClr>
                  </a:gs>
                  <a:gs pos="47000">
                    <a:srgbClr val="F59E1D">
                      <a:alpha val="900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nvGrpSpPr>
              <p:cNvPr id="675" name="그룹 566">
                <a:extLst>
                  <a:ext uri="{FF2B5EF4-FFF2-40B4-BE49-F238E27FC236}">
                    <a16:creationId xmlns:a16="http://schemas.microsoft.com/office/drawing/2014/main" id="{4BAF9725-8239-48B6-B6A1-BFB40FADA990}"/>
                  </a:ext>
                </a:extLst>
              </p:cNvPr>
              <p:cNvGrpSpPr/>
              <p:nvPr/>
            </p:nvGrpSpPr>
            <p:grpSpPr>
              <a:xfrm>
                <a:off x="5393543" y="2235468"/>
                <a:ext cx="286091" cy="288509"/>
                <a:chOff x="4993493" y="2235468"/>
                <a:chExt cx="286091" cy="288509"/>
              </a:xfrm>
            </p:grpSpPr>
            <p:grpSp>
              <p:nvGrpSpPr>
                <p:cNvPr id="676" name="그룹 567">
                  <a:extLst>
                    <a:ext uri="{FF2B5EF4-FFF2-40B4-BE49-F238E27FC236}">
                      <a16:creationId xmlns:a16="http://schemas.microsoft.com/office/drawing/2014/main" id="{D1CAEE8D-D0AB-47CB-BD66-81070B27D247}"/>
                    </a:ext>
                  </a:extLst>
                </p:cNvPr>
                <p:cNvGrpSpPr/>
                <p:nvPr/>
              </p:nvGrpSpPr>
              <p:grpSpPr>
                <a:xfrm>
                  <a:off x="4993493" y="2235468"/>
                  <a:ext cx="286091" cy="288509"/>
                  <a:chOff x="4952286" y="2267451"/>
                  <a:chExt cx="343948" cy="346855"/>
                </a:xfrm>
              </p:grpSpPr>
              <p:sp>
                <p:nvSpPr>
                  <p:cNvPr id="678" name="타원 569">
                    <a:extLst>
                      <a:ext uri="{FF2B5EF4-FFF2-40B4-BE49-F238E27FC236}">
                        <a16:creationId xmlns:a16="http://schemas.microsoft.com/office/drawing/2014/main" id="{CE1067B6-60B9-45AC-A5F1-A8F25EB3B2C9}"/>
                      </a:ext>
                    </a:extLst>
                  </p:cNvPr>
                  <p:cNvSpPr/>
                  <p:nvPr/>
                </p:nvSpPr>
                <p:spPr>
                  <a:xfrm>
                    <a:off x="4952287" y="2267451"/>
                    <a:ext cx="343947" cy="346855"/>
                  </a:xfrm>
                  <a:prstGeom prst="ellipse">
                    <a:avLst/>
                  </a:prstGeom>
                  <a:gradFill flip="none" rotWithShape="1">
                    <a:gsLst>
                      <a:gs pos="54000">
                        <a:srgbClr val="F7AB3B"/>
                      </a:gs>
                      <a:gs pos="100000">
                        <a:srgbClr val="F59E1D"/>
                      </a:gs>
                      <a:gs pos="2000">
                        <a:srgbClr val="FBD49B"/>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679" name="타원 570">
                    <a:extLst>
                      <a:ext uri="{FF2B5EF4-FFF2-40B4-BE49-F238E27FC236}">
                        <a16:creationId xmlns:a16="http://schemas.microsoft.com/office/drawing/2014/main" id="{F6C61677-A83C-48AD-AD15-EC39BF9A1044}"/>
                      </a:ext>
                    </a:extLst>
                  </p:cNvPr>
                  <p:cNvSpPr/>
                  <p:nvPr/>
                </p:nvSpPr>
                <p:spPr>
                  <a:xfrm>
                    <a:off x="5019777" y="2281443"/>
                    <a:ext cx="95952" cy="125049"/>
                  </a:xfrm>
                  <a:prstGeom prst="ellipse">
                    <a:avLst/>
                  </a:prstGeom>
                  <a:gradFill flip="none" rotWithShape="1">
                    <a:gsLst>
                      <a:gs pos="100000">
                        <a:srgbClr val="F59E1D">
                          <a:alpha val="0"/>
                        </a:srgbClr>
                      </a:gs>
                      <a:gs pos="2000">
                        <a:schemeClr val="bg1">
                          <a:alpha val="6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680" name="타원 571">
                    <a:extLst>
                      <a:ext uri="{FF2B5EF4-FFF2-40B4-BE49-F238E27FC236}">
                        <a16:creationId xmlns:a16="http://schemas.microsoft.com/office/drawing/2014/main" id="{52D5238A-CACB-4751-AAB2-DDFE02CEF8FB}"/>
                      </a:ext>
                    </a:extLst>
                  </p:cNvPr>
                  <p:cNvSpPr/>
                  <p:nvPr/>
                </p:nvSpPr>
                <p:spPr>
                  <a:xfrm>
                    <a:off x="4991728" y="2353270"/>
                    <a:ext cx="56098" cy="73110"/>
                  </a:xfrm>
                  <a:prstGeom prst="ellipse">
                    <a:avLst/>
                  </a:prstGeom>
                  <a:gradFill flip="none" rotWithShape="1">
                    <a:gsLst>
                      <a:gs pos="100000">
                        <a:srgbClr val="F59E1D">
                          <a:alpha val="0"/>
                        </a:srgbClr>
                      </a:gs>
                      <a:gs pos="2000">
                        <a:schemeClr val="bg1">
                          <a:alpha val="3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681" name="타원 572">
                    <a:extLst>
                      <a:ext uri="{FF2B5EF4-FFF2-40B4-BE49-F238E27FC236}">
                        <a16:creationId xmlns:a16="http://schemas.microsoft.com/office/drawing/2014/main" id="{2D7D8808-BF34-4793-8186-96E7E412F1C4}"/>
                      </a:ext>
                    </a:extLst>
                  </p:cNvPr>
                  <p:cNvSpPr/>
                  <p:nvPr/>
                </p:nvSpPr>
                <p:spPr>
                  <a:xfrm>
                    <a:off x="4952286" y="2267451"/>
                    <a:ext cx="343947" cy="346855"/>
                  </a:xfrm>
                  <a:prstGeom prst="ellipse">
                    <a:avLst/>
                  </a:prstGeom>
                  <a:gradFill flip="none" rotWithShape="1">
                    <a:gsLst>
                      <a:gs pos="89000">
                        <a:srgbClr val="6F4405"/>
                      </a:gs>
                      <a:gs pos="71000">
                        <a:srgbClr val="FBD49B">
                          <a:alpha val="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sp>
              <p:nvSpPr>
                <p:cNvPr id="677" name="타원 568">
                  <a:extLst>
                    <a:ext uri="{FF2B5EF4-FFF2-40B4-BE49-F238E27FC236}">
                      <a16:creationId xmlns:a16="http://schemas.microsoft.com/office/drawing/2014/main" id="{26DC392D-0CA6-4326-BB9A-204AA615480C}"/>
                    </a:ext>
                  </a:extLst>
                </p:cNvPr>
                <p:cNvSpPr/>
                <p:nvPr/>
              </p:nvSpPr>
              <p:spPr>
                <a:xfrm>
                  <a:off x="4993494" y="2235468"/>
                  <a:ext cx="286090" cy="288509"/>
                </a:xfrm>
                <a:prstGeom prst="ellipse">
                  <a:avLst/>
                </a:prstGeom>
                <a:gradFill flip="none" rotWithShape="1">
                  <a:gsLst>
                    <a:gs pos="100000">
                      <a:schemeClr val="tx1">
                        <a:alpha val="43000"/>
                      </a:schemeClr>
                    </a:gs>
                    <a:gs pos="0">
                      <a:srgbClr val="F59E1D">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grpSp>
        <p:grpSp>
          <p:nvGrpSpPr>
            <p:cNvPr id="665" name="그룹 573">
              <a:extLst>
                <a:ext uri="{FF2B5EF4-FFF2-40B4-BE49-F238E27FC236}">
                  <a16:creationId xmlns:a16="http://schemas.microsoft.com/office/drawing/2014/main" id="{D611B71F-0A4F-4BE8-AFF2-DF4BECB99A18}"/>
                </a:ext>
              </a:extLst>
            </p:cNvPr>
            <p:cNvGrpSpPr/>
            <p:nvPr/>
          </p:nvGrpSpPr>
          <p:grpSpPr>
            <a:xfrm>
              <a:off x="2164016" y="3979882"/>
              <a:ext cx="115570" cy="115570"/>
              <a:chOff x="5292146" y="2151191"/>
              <a:chExt cx="488887" cy="488887"/>
            </a:xfrm>
          </p:grpSpPr>
          <p:sp>
            <p:nvSpPr>
              <p:cNvPr id="666" name="타원 574">
                <a:extLst>
                  <a:ext uri="{FF2B5EF4-FFF2-40B4-BE49-F238E27FC236}">
                    <a16:creationId xmlns:a16="http://schemas.microsoft.com/office/drawing/2014/main" id="{1BEC7AC5-2025-447C-972A-945B8FC04515}"/>
                  </a:ext>
                </a:extLst>
              </p:cNvPr>
              <p:cNvSpPr/>
              <p:nvPr/>
            </p:nvSpPr>
            <p:spPr>
              <a:xfrm>
                <a:off x="5292146" y="2151191"/>
                <a:ext cx="488887" cy="488887"/>
              </a:xfrm>
              <a:prstGeom prst="ellipse">
                <a:avLst/>
              </a:prstGeom>
              <a:gradFill>
                <a:gsLst>
                  <a:gs pos="100000">
                    <a:srgbClr val="F59E1D">
                      <a:alpha val="37000"/>
                    </a:srgbClr>
                  </a:gs>
                  <a:gs pos="47000">
                    <a:srgbClr val="F59E1D">
                      <a:alpha val="900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nvGrpSpPr>
              <p:cNvPr id="667" name="그룹 575">
                <a:extLst>
                  <a:ext uri="{FF2B5EF4-FFF2-40B4-BE49-F238E27FC236}">
                    <a16:creationId xmlns:a16="http://schemas.microsoft.com/office/drawing/2014/main" id="{E4238E22-82ED-4D6D-BC9E-D962CDCEB252}"/>
                  </a:ext>
                </a:extLst>
              </p:cNvPr>
              <p:cNvGrpSpPr/>
              <p:nvPr/>
            </p:nvGrpSpPr>
            <p:grpSpPr>
              <a:xfrm>
                <a:off x="5393543" y="2235468"/>
                <a:ext cx="286091" cy="288509"/>
                <a:chOff x="4993493" y="2235468"/>
                <a:chExt cx="286091" cy="288509"/>
              </a:xfrm>
            </p:grpSpPr>
            <p:grpSp>
              <p:nvGrpSpPr>
                <p:cNvPr id="668" name="그룹 576">
                  <a:extLst>
                    <a:ext uri="{FF2B5EF4-FFF2-40B4-BE49-F238E27FC236}">
                      <a16:creationId xmlns:a16="http://schemas.microsoft.com/office/drawing/2014/main" id="{479EFFD8-33DC-4B9F-9494-81B311C1E55C}"/>
                    </a:ext>
                  </a:extLst>
                </p:cNvPr>
                <p:cNvGrpSpPr/>
                <p:nvPr/>
              </p:nvGrpSpPr>
              <p:grpSpPr>
                <a:xfrm>
                  <a:off x="4993493" y="2235468"/>
                  <a:ext cx="286091" cy="288509"/>
                  <a:chOff x="4952286" y="2267451"/>
                  <a:chExt cx="343948" cy="346855"/>
                </a:xfrm>
              </p:grpSpPr>
              <p:sp>
                <p:nvSpPr>
                  <p:cNvPr id="670" name="타원 578">
                    <a:extLst>
                      <a:ext uri="{FF2B5EF4-FFF2-40B4-BE49-F238E27FC236}">
                        <a16:creationId xmlns:a16="http://schemas.microsoft.com/office/drawing/2014/main" id="{4B9AB6A1-E071-4BF0-82E0-D69C5C43ADA5}"/>
                      </a:ext>
                    </a:extLst>
                  </p:cNvPr>
                  <p:cNvSpPr/>
                  <p:nvPr/>
                </p:nvSpPr>
                <p:spPr>
                  <a:xfrm>
                    <a:off x="4952287" y="2267451"/>
                    <a:ext cx="343947" cy="346855"/>
                  </a:xfrm>
                  <a:prstGeom prst="ellipse">
                    <a:avLst/>
                  </a:prstGeom>
                  <a:gradFill flip="none" rotWithShape="1">
                    <a:gsLst>
                      <a:gs pos="54000">
                        <a:srgbClr val="F7AB3B"/>
                      </a:gs>
                      <a:gs pos="100000">
                        <a:srgbClr val="F59E1D"/>
                      </a:gs>
                      <a:gs pos="2000">
                        <a:srgbClr val="FBD49B"/>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671" name="타원 579">
                    <a:extLst>
                      <a:ext uri="{FF2B5EF4-FFF2-40B4-BE49-F238E27FC236}">
                        <a16:creationId xmlns:a16="http://schemas.microsoft.com/office/drawing/2014/main" id="{41A5A71C-B32B-4FA7-A0E9-C2E46BC9AD35}"/>
                      </a:ext>
                    </a:extLst>
                  </p:cNvPr>
                  <p:cNvSpPr/>
                  <p:nvPr/>
                </p:nvSpPr>
                <p:spPr>
                  <a:xfrm>
                    <a:off x="5019777" y="2281443"/>
                    <a:ext cx="95952" cy="125049"/>
                  </a:xfrm>
                  <a:prstGeom prst="ellipse">
                    <a:avLst/>
                  </a:prstGeom>
                  <a:gradFill flip="none" rotWithShape="1">
                    <a:gsLst>
                      <a:gs pos="100000">
                        <a:srgbClr val="F59E1D">
                          <a:alpha val="0"/>
                        </a:srgbClr>
                      </a:gs>
                      <a:gs pos="2000">
                        <a:schemeClr val="bg1">
                          <a:alpha val="6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672" name="타원 580">
                    <a:extLst>
                      <a:ext uri="{FF2B5EF4-FFF2-40B4-BE49-F238E27FC236}">
                        <a16:creationId xmlns:a16="http://schemas.microsoft.com/office/drawing/2014/main" id="{9077864C-71FE-42CC-AAA4-67C17414C674}"/>
                      </a:ext>
                    </a:extLst>
                  </p:cNvPr>
                  <p:cNvSpPr/>
                  <p:nvPr/>
                </p:nvSpPr>
                <p:spPr>
                  <a:xfrm>
                    <a:off x="4991728" y="2353270"/>
                    <a:ext cx="56098" cy="73110"/>
                  </a:xfrm>
                  <a:prstGeom prst="ellipse">
                    <a:avLst/>
                  </a:prstGeom>
                  <a:gradFill flip="none" rotWithShape="1">
                    <a:gsLst>
                      <a:gs pos="100000">
                        <a:srgbClr val="F59E1D">
                          <a:alpha val="0"/>
                        </a:srgbClr>
                      </a:gs>
                      <a:gs pos="2000">
                        <a:schemeClr val="bg1">
                          <a:alpha val="32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sp>
                <p:nvSpPr>
                  <p:cNvPr id="673" name="타원 581">
                    <a:extLst>
                      <a:ext uri="{FF2B5EF4-FFF2-40B4-BE49-F238E27FC236}">
                        <a16:creationId xmlns:a16="http://schemas.microsoft.com/office/drawing/2014/main" id="{03AAB6C7-DD78-447D-AB34-DC6D24498AEE}"/>
                      </a:ext>
                    </a:extLst>
                  </p:cNvPr>
                  <p:cNvSpPr/>
                  <p:nvPr/>
                </p:nvSpPr>
                <p:spPr>
                  <a:xfrm>
                    <a:off x="4952286" y="2267451"/>
                    <a:ext cx="343947" cy="346855"/>
                  </a:xfrm>
                  <a:prstGeom prst="ellipse">
                    <a:avLst/>
                  </a:prstGeom>
                  <a:gradFill flip="none" rotWithShape="1">
                    <a:gsLst>
                      <a:gs pos="89000">
                        <a:srgbClr val="6F4405"/>
                      </a:gs>
                      <a:gs pos="71000">
                        <a:srgbClr val="FBD49B">
                          <a:alpha val="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sp>
              <p:nvSpPr>
                <p:cNvPr id="669" name="타원 577">
                  <a:extLst>
                    <a:ext uri="{FF2B5EF4-FFF2-40B4-BE49-F238E27FC236}">
                      <a16:creationId xmlns:a16="http://schemas.microsoft.com/office/drawing/2014/main" id="{E1D3A69D-77D8-486A-ABAF-DBC7298E497F}"/>
                    </a:ext>
                  </a:extLst>
                </p:cNvPr>
                <p:cNvSpPr/>
                <p:nvPr/>
              </p:nvSpPr>
              <p:spPr>
                <a:xfrm>
                  <a:off x="4993494" y="2235468"/>
                  <a:ext cx="286090" cy="288509"/>
                </a:xfrm>
                <a:prstGeom prst="ellipse">
                  <a:avLst/>
                </a:prstGeom>
                <a:gradFill flip="none" rotWithShape="1">
                  <a:gsLst>
                    <a:gs pos="100000">
                      <a:schemeClr val="tx1">
                        <a:alpha val="43000"/>
                      </a:schemeClr>
                    </a:gs>
                    <a:gs pos="0">
                      <a:srgbClr val="F59E1D">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ko-KR" altLang="en-US">
                    <a:solidFill>
                      <a:prstClr val="white"/>
                    </a:solidFill>
                    <a:latin typeface="Calibri" panose="020F0502020204030204"/>
                    <a:ea typeface="맑은 고딕" panose="020B0503020000020004" pitchFamily="34" charset="-127"/>
                  </a:endParaRPr>
                </a:p>
              </p:txBody>
            </p:sp>
          </p:grpSp>
        </p:grpSp>
      </p:grpSp>
      <p:sp>
        <p:nvSpPr>
          <p:cNvPr id="889" name="TextBox 888">
            <a:extLst>
              <a:ext uri="{FF2B5EF4-FFF2-40B4-BE49-F238E27FC236}">
                <a16:creationId xmlns:a16="http://schemas.microsoft.com/office/drawing/2014/main" id="{47EA0B8F-A72B-4E54-B071-5C16DB0A4E90}"/>
              </a:ext>
            </a:extLst>
          </p:cNvPr>
          <p:cNvSpPr txBox="1"/>
          <p:nvPr/>
        </p:nvSpPr>
        <p:spPr>
          <a:xfrm>
            <a:off x="909169" y="2686717"/>
            <a:ext cx="6054071" cy="478915"/>
          </a:xfrm>
          <a:prstGeom prst="rect">
            <a:avLst/>
          </a:prstGeom>
          <a:noFill/>
        </p:spPr>
        <p:txBody>
          <a:bodyPr wrap="square" lIns="160735" tIns="128588" rIns="160735" bIns="128588" rtlCol="0">
            <a:spAutoFit/>
          </a:bodyPr>
          <a:lstStyle/>
          <a:p>
            <a:pPr defTabSz="803576">
              <a:lnSpc>
                <a:spcPct val="90000"/>
              </a:lnSpc>
              <a:spcAft>
                <a:spcPts val="528"/>
              </a:spcAft>
            </a:pPr>
            <a:r>
              <a:rPr lang="en-US" sz="1583" dirty="0">
                <a:solidFill>
                  <a:srgbClr val="FFFF00"/>
                </a:solidFill>
                <a:latin typeface="Segoe UI"/>
                <a:sym typeface="Segoe UI"/>
              </a:rPr>
              <a:t>Guaranteed</a:t>
            </a:r>
            <a:r>
              <a:rPr lang="en-US" sz="1583" dirty="0">
                <a:solidFill>
                  <a:prstClr val="white"/>
                </a:solidFill>
                <a:latin typeface="Segoe UI"/>
                <a:sym typeface="Segoe UI"/>
              </a:rPr>
              <a:t> high availability within region and globally</a:t>
            </a:r>
          </a:p>
        </p:txBody>
      </p:sp>
      <p:sp>
        <p:nvSpPr>
          <p:cNvPr id="890" name="TextBox 889">
            <a:extLst>
              <a:ext uri="{FF2B5EF4-FFF2-40B4-BE49-F238E27FC236}">
                <a16:creationId xmlns:a16="http://schemas.microsoft.com/office/drawing/2014/main" id="{7653EE93-69B1-4C98-AC86-E3C3E87CBA74}"/>
              </a:ext>
            </a:extLst>
          </p:cNvPr>
          <p:cNvSpPr txBox="1"/>
          <p:nvPr/>
        </p:nvSpPr>
        <p:spPr>
          <a:xfrm>
            <a:off x="909168" y="2186087"/>
            <a:ext cx="5509208" cy="478915"/>
          </a:xfrm>
          <a:prstGeom prst="rect">
            <a:avLst/>
          </a:prstGeom>
          <a:noFill/>
        </p:spPr>
        <p:txBody>
          <a:bodyPr wrap="square" lIns="160735" tIns="128588" rIns="160735" bIns="128588" rtlCol="0">
            <a:spAutoFit/>
          </a:bodyPr>
          <a:lstStyle/>
          <a:p>
            <a:pPr defTabSz="803576">
              <a:lnSpc>
                <a:spcPct val="90000"/>
              </a:lnSpc>
              <a:spcAft>
                <a:spcPts val="528"/>
              </a:spcAft>
            </a:pPr>
            <a:r>
              <a:rPr lang="en-US" sz="1583" dirty="0">
                <a:solidFill>
                  <a:srgbClr val="FFFF00"/>
                </a:solidFill>
                <a:latin typeface="Segoe UI"/>
                <a:sym typeface="Segoe UI"/>
              </a:rPr>
              <a:t>Guaranteed</a:t>
            </a:r>
            <a:r>
              <a:rPr lang="en-US" sz="1583" dirty="0">
                <a:solidFill>
                  <a:prstClr val="white"/>
                </a:solidFill>
                <a:latin typeface="Segoe UI"/>
                <a:sym typeface="Segoe UI"/>
              </a:rPr>
              <a:t> low latency at the 99</a:t>
            </a:r>
            <a:r>
              <a:rPr lang="en-US" sz="1583" baseline="30000" dirty="0">
                <a:solidFill>
                  <a:prstClr val="white"/>
                </a:solidFill>
                <a:latin typeface="Segoe UI"/>
                <a:sym typeface="Segoe UI"/>
              </a:rPr>
              <a:t>th</a:t>
            </a:r>
            <a:r>
              <a:rPr lang="en-US" sz="1583" dirty="0">
                <a:solidFill>
                  <a:prstClr val="white"/>
                </a:solidFill>
                <a:latin typeface="Segoe UI"/>
                <a:sym typeface="Segoe UI"/>
              </a:rPr>
              <a:t> percentile, worldwide</a:t>
            </a:r>
          </a:p>
        </p:txBody>
      </p:sp>
      <p:sp>
        <p:nvSpPr>
          <p:cNvPr id="891" name="TextBox 890">
            <a:extLst>
              <a:ext uri="{FF2B5EF4-FFF2-40B4-BE49-F238E27FC236}">
                <a16:creationId xmlns:a16="http://schemas.microsoft.com/office/drawing/2014/main" id="{3C555D81-1A4D-4268-BD3F-5CFE6140CCB4}"/>
              </a:ext>
            </a:extLst>
          </p:cNvPr>
          <p:cNvSpPr txBox="1"/>
          <p:nvPr/>
        </p:nvSpPr>
        <p:spPr>
          <a:xfrm>
            <a:off x="909170" y="3187345"/>
            <a:ext cx="4937103" cy="478915"/>
          </a:xfrm>
          <a:prstGeom prst="rect">
            <a:avLst/>
          </a:prstGeom>
          <a:noFill/>
        </p:spPr>
        <p:txBody>
          <a:bodyPr wrap="square" lIns="160735" tIns="128588" rIns="160735" bIns="128588" rtlCol="0">
            <a:spAutoFit/>
          </a:bodyPr>
          <a:lstStyle/>
          <a:p>
            <a:pPr defTabSz="803576">
              <a:lnSpc>
                <a:spcPct val="90000"/>
              </a:lnSpc>
              <a:spcAft>
                <a:spcPts val="528"/>
              </a:spcAft>
            </a:pPr>
            <a:r>
              <a:rPr lang="en-US" sz="1583" dirty="0">
                <a:solidFill>
                  <a:srgbClr val="FFFF00"/>
                </a:solidFill>
                <a:latin typeface="Segoe UI"/>
                <a:sym typeface="Segoe UI"/>
              </a:rPr>
              <a:t>Guaranteed</a:t>
            </a:r>
            <a:r>
              <a:rPr lang="en-US" sz="1583" dirty="0">
                <a:solidFill>
                  <a:prstClr val="white"/>
                </a:solidFill>
                <a:latin typeface="Segoe UI"/>
                <a:sym typeface="Segoe UI"/>
              </a:rPr>
              <a:t> consistency</a:t>
            </a:r>
          </a:p>
        </p:txBody>
      </p:sp>
      <p:sp>
        <p:nvSpPr>
          <p:cNvPr id="892" name="TextBox 891">
            <a:extLst>
              <a:ext uri="{FF2B5EF4-FFF2-40B4-BE49-F238E27FC236}">
                <a16:creationId xmlns:a16="http://schemas.microsoft.com/office/drawing/2014/main" id="{35C09BD4-3D13-41A8-9AC0-95B39C8DF85D}"/>
              </a:ext>
            </a:extLst>
          </p:cNvPr>
          <p:cNvSpPr txBox="1"/>
          <p:nvPr/>
        </p:nvSpPr>
        <p:spPr>
          <a:xfrm>
            <a:off x="937855" y="5433060"/>
            <a:ext cx="6684691" cy="503280"/>
          </a:xfrm>
          <a:prstGeom prst="rect">
            <a:avLst/>
          </a:prstGeom>
          <a:noFill/>
        </p:spPr>
        <p:txBody>
          <a:bodyPr wrap="square" lIns="160735" tIns="128588" rIns="160735" bIns="128588" rtlCol="0">
            <a:spAutoFit/>
          </a:bodyPr>
          <a:lstStyle/>
          <a:p>
            <a:pPr defTabSz="787744"/>
            <a:r>
              <a:rPr lang="en-US" sz="1583" kern="0" dirty="0">
                <a:solidFill>
                  <a:prstClr val="white"/>
                </a:solidFill>
                <a:latin typeface="Segoe UI"/>
                <a:sym typeface="Segoe UI"/>
              </a:rPr>
              <a:t>Iterate &amp; query </a:t>
            </a:r>
            <a:r>
              <a:rPr lang="en-US" sz="1583" kern="0" dirty="0">
                <a:solidFill>
                  <a:srgbClr val="F07F09">
                    <a:lumMod val="60000"/>
                    <a:lumOff val="40000"/>
                  </a:srgbClr>
                </a:solidFill>
                <a:latin typeface="Segoe UI"/>
                <a:sym typeface="Segoe UI"/>
              </a:rPr>
              <a:t>without</a:t>
            </a:r>
            <a:r>
              <a:rPr lang="en-US" sz="1583" kern="0" dirty="0">
                <a:solidFill>
                  <a:prstClr val="white"/>
                </a:solidFill>
                <a:latin typeface="Segoe UI"/>
                <a:sym typeface="Segoe UI"/>
              </a:rPr>
              <a:t> worrying about </a:t>
            </a:r>
            <a:r>
              <a:rPr lang="en-US" sz="1583" kern="0" dirty="0">
                <a:solidFill>
                  <a:srgbClr val="FFC000"/>
                </a:solidFill>
                <a:latin typeface="Segoe UI"/>
                <a:sym typeface="Segoe UI"/>
              </a:rPr>
              <a:t>schemas &amp; index management</a:t>
            </a:r>
          </a:p>
        </p:txBody>
      </p:sp>
      <p:sp>
        <p:nvSpPr>
          <p:cNvPr id="893" name="TextBox 892">
            <a:extLst>
              <a:ext uri="{FF2B5EF4-FFF2-40B4-BE49-F238E27FC236}">
                <a16:creationId xmlns:a16="http://schemas.microsoft.com/office/drawing/2014/main" id="{D1D960CF-DE46-4E38-B899-05CE3BE161E6}"/>
              </a:ext>
            </a:extLst>
          </p:cNvPr>
          <p:cNvSpPr txBox="1"/>
          <p:nvPr/>
        </p:nvSpPr>
        <p:spPr>
          <a:xfrm>
            <a:off x="896621" y="3636005"/>
            <a:ext cx="6628783" cy="746872"/>
          </a:xfrm>
          <a:prstGeom prst="rect">
            <a:avLst/>
          </a:prstGeom>
          <a:noFill/>
        </p:spPr>
        <p:txBody>
          <a:bodyPr wrap="square" lIns="160735" tIns="128588" rIns="160735" bIns="128588" rtlCol="0">
            <a:spAutoFit/>
          </a:bodyPr>
          <a:lstStyle/>
          <a:p>
            <a:pPr defTabSz="787744"/>
            <a:r>
              <a:rPr lang="en-US" sz="1583" kern="0" dirty="0">
                <a:solidFill>
                  <a:srgbClr val="FFFF00"/>
                </a:solidFill>
                <a:latin typeface="Segoe UI"/>
                <a:sym typeface="Segoe UI"/>
              </a:rPr>
              <a:t>Elastically</a:t>
            </a:r>
            <a:r>
              <a:rPr lang="en-US" sz="1583" kern="0" dirty="0">
                <a:solidFill>
                  <a:prstClr val="white"/>
                </a:solidFill>
                <a:latin typeface="Segoe UI"/>
                <a:sym typeface="Segoe UI"/>
              </a:rPr>
              <a:t> scale throughput and storage, </a:t>
            </a:r>
            <a:r>
              <a:rPr lang="en-US" sz="1583" kern="0" dirty="0">
                <a:solidFill>
                  <a:srgbClr val="F07F09">
                    <a:lumMod val="60000"/>
                    <a:lumOff val="40000"/>
                  </a:srgbClr>
                </a:solidFill>
                <a:latin typeface="Segoe UI"/>
                <a:sym typeface="Segoe UI"/>
              </a:rPr>
              <a:t>any time</a:t>
            </a:r>
            <a:r>
              <a:rPr lang="en-US" sz="1583" kern="0" dirty="0">
                <a:solidFill>
                  <a:prstClr val="white"/>
                </a:solidFill>
                <a:latin typeface="Segoe UI"/>
                <a:sym typeface="Segoe UI"/>
              </a:rPr>
              <a:t>, </a:t>
            </a:r>
            <a:r>
              <a:rPr lang="en-US" sz="1583" kern="0" dirty="0">
                <a:solidFill>
                  <a:srgbClr val="00A8EA"/>
                </a:solidFill>
                <a:latin typeface="Segoe UI"/>
                <a:sym typeface="Segoe UI"/>
              </a:rPr>
              <a:t>on-demand</a:t>
            </a:r>
            <a:r>
              <a:rPr lang="en-US" sz="1583" kern="0" dirty="0">
                <a:solidFill>
                  <a:prstClr val="white"/>
                </a:solidFill>
                <a:latin typeface="Segoe UI"/>
                <a:sym typeface="Segoe UI"/>
              </a:rPr>
              <a:t>, </a:t>
            </a:r>
            <a:r>
              <a:rPr lang="en-US" sz="1583" kern="0" dirty="0">
                <a:solidFill>
                  <a:srgbClr val="FFC000"/>
                </a:solidFill>
                <a:latin typeface="Segoe UI"/>
                <a:sym typeface="Segoe UI"/>
              </a:rPr>
              <a:t>globally			</a:t>
            </a:r>
          </a:p>
        </p:txBody>
      </p:sp>
      <p:sp>
        <p:nvSpPr>
          <p:cNvPr id="894" name="TextBox 893">
            <a:extLst>
              <a:ext uri="{FF2B5EF4-FFF2-40B4-BE49-F238E27FC236}">
                <a16:creationId xmlns:a16="http://schemas.microsoft.com/office/drawing/2014/main" id="{E83F0488-19E6-4575-9C85-5C7733256AF3}"/>
              </a:ext>
            </a:extLst>
          </p:cNvPr>
          <p:cNvSpPr txBox="1"/>
          <p:nvPr/>
        </p:nvSpPr>
        <p:spPr>
          <a:xfrm>
            <a:off x="907630" y="6101779"/>
            <a:ext cx="4730313" cy="503280"/>
          </a:xfrm>
          <a:prstGeom prst="rect">
            <a:avLst/>
          </a:prstGeom>
          <a:noFill/>
        </p:spPr>
        <p:txBody>
          <a:bodyPr wrap="square" lIns="160735" tIns="128588" rIns="160735" bIns="128588" rtlCol="0">
            <a:spAutoFit/>
          </a:bodyPr>
          <a:lstStyle/>
          <a:p>
            <a:pPr defTabSz="787744"/>
            <a:r>
              <a:rPr lang="en-US" sz="1583" kern="0" dirty="0">
                <a:solidFill>
                  <a:prstClr val="white"/>
                </a:solidFill>
                <a:latin typeface="Segoe UI"/>
                <a:sym typeface="Segoe UI"/>
              </a:rPr>
              <a:t>Provide a variety of </a:t>
            </a:r>
            <a:r>
              <a:rPr lang="en-US" sz="1583" kern="0" dirty="0">
                <a:solidFill>
                  <a:srgbClr val="FFFF00"/>
                </a:solidFill>
                <a:latin typeface="Segoe UI"/>
                <a:sym typeface="Segoe UI"/>
              </a:rPr>
              <a:t>data model</a:t>
            </a:r>
            <a:r>
              <a:rPr lang="en-US" sz="1583" kern="0" dirty="0">
                <a:solidFill>
                  <a:prstClr val="white"/>
                </a:solidFill>
                <a:latin typeface="Segoe UI"/>
                <a:sym typeface="Segoe UI"/>
              </a:rPr>
              <a:t> and API </a:t>
            </a:r>
            <a:r>
              <a:rPr lang="en-US" sz="1583" kern="0" dirty="0">
                <a:solidFill>
                  <a:srgbClr val="FFFF00"/>
                </a:solidFill>
                <a:latin typeface="Segoe UI"/>
                <a:sym typeface="Segoe UI"/>
              </a:rPr>
              <a:t>choices</a:t>
            </a:r>
            <a:endParaRPr lang="en-US" sz="1583" kern="0" dirty="0">
              <a:solidFill>
                <a:prstClr val="white"/>
              </a:solidFill>
              <a:latin typeface="Segoe UI"/>
              <a:sym typeface="Segoe UI"/>
            </a:endParaRPr>
          </a:p>
        </p:txBody>
      </p:sp>
      <p:sp>
        <p:nvSpPr>
          <p:cNvPr id="899" name="TextBox 898">
            <a:extLst>
              <a:ext uri="{FF2B5EF4-FFF2-40B4-BE49-F238E27FC236}">
                <a16:creationId xmlns:a16="http://schemas.microsoft.com/office/drawing/2014/main" id="{A21FBA2C-0852-460B-8788-A081B3B31828}"/>
              </a:ext>
            </a:extLst>
          </p:cNvPr>
          <p:cNvSpPr txBox="1"/>
          <p:nvPr/>
        </p:nvSpPr>
        <p:spPr>
          <a:xfrm>
            <a:off x="909169" y="4266843"/>
            <a:ext cx="6628783" cy="503280"/>
          </a:xfrm>
          <a:prstGeom prst="rect">
            <a:avLst/>
          </a:prstGeom>
          <a:noFill/>
        </p:spPr>
        <p:txBody>
          <a:bodyPr wrap="square" lIns="160735" tIns="128588" rIns="160735" bIns="128588" rtlCol="0">
            <a:spAutoFit/>
          </a:bodyPr>
          <a:lstStyle/>
          <a:p>
            <a:pPr defTabSz="787744"/>
            <a:r>
              <a:rPr lang="en-US" sz="1583" kern="0" dirty="0">
                <a:solidFill>
                  <a:prstClr val="white"/>
                </a:solidFill>
                <a:latin typeface="Segoe UI"/>
                <a:sym typeface="Segoe UI"/>
              </a:rPr>
              <a:t>Comprehensive SLAs (availability, latency, throughput, consistency)</a:t>
            </a:r>
            <a:endParaRPr lang="en-US" sz="1583" kern="0" dirty="0">
              <a:solidFill>
                <a:srgbClr val="FFC000"/>
              </a:solidFill>
              <a:latin typeface="Segoe UI"/>
              <a:sym typeface="Segoe UI"/>
            </a:endParaRPr>
          </a:p>
        </p:txBody>
      </p:sp>
      <p:sp>
        <p:nvSpPr>
          <p:cNvPr id="900" name="TextBox 899">
            <a:extLst>
              <a:ext uri="{FF2B5EF4-FFF2-40B4-BE49-F238E27FC236}">
                <a16:creationId xmlns:a16="http://schemas.microsoft.com/office/drawing/2014/main" id="{2C76B57C-703A-497D-9DD8-18ADFB53C74B}"/>
              </a:ext>
            </a:extLst>
          </p:cNvPr>
          <p:cNvSpPr txBox="1"/>
          <p:nvPr/>
        </p:nvSpPr>
        <p:spPr>
          <a:xfrm>
            <a:off x="909169" y="4839935"/>
            <a:ext cx="2363619" cy="503280"/>
          </a:xfrm>
          <a:prstGeom prst="rect">
            <a:avLst/>
          </a:prstGeom>
          <a:noFill/>
        </p:spPr>
        <p:txBody>
          <a:bodyPr wrap="square" lIns="160735" tIns="128588" rIns="160735" bIns="128588" rtlCol="0">
            <a:spAutoFit/>
          </a:bodyPr>
          <a:lstStyle/>
          <a:p>
            <a:pPr defTabSz="787744"/>
            <a:r>
              <a:rPr lang="en-US" sz="1583" kern="0" dirty="0">
                <a:solidFill>
                  <a:prstClr val="white"/>
                </a:solidFill>
                <a:latin typeface="Segoe UI"/>
                <a:sym typeface="Segoe UI"/>
              </a:rPr>
              <a:t>Operate at </a:t>
            </a:r>
            <a:r>
              <a:rPr lang="en-US" sz="1583" kern="0" dirty="0">
                <a:solidFill>
                  <a:srgbClr val="FFFF00"/>
                </a:solidFill>
                <a:latin typeface="Segoe UI"/>
                <a:sym typeface="Segoe UI"/>
              </a:rPr>
              <a:t>low cost</a:t>
            </a:r>
          </a:p>
        </p:txBody>
      </p:sp>
      <p:sp>
        <p:nvSpPr>
          <p:cNvPr id="902" name="TextBox 901">
            <a:extLst>
              <a:ext uri="{FF2B5EF4-FFF2-40B4-BE49-F238E27FC236}">
                <a16:creationId xmlns:a16="http://schemas.microsoft.com/office/drawing/2014/main" id="{D7EFE984-FDDE-430E-BC65-294204422550}"/>
              </a:ext>
            </a:extLst>
          </p:cNvPr>
          <p:cNvSpPr txBox="1"/>
          <p:nvPr/>
        </p:nvSpPr>
        <p:spPr>
          <a:xfrm>
            <a:off x="937855" y="1657946"/>
            <a:ext cx="3414095" cy="478915"/>
          </a:xfrm>
          <a:prstGeom prst="rect">
            <a:avLst/>
          </a:prstGeom>
          <a:noFill/>
        </p:spPr>
        <p:txBody>
          <a:bodyPr wrap="square" lIns="160735" tIns="128588" rIns="160735" bIns="128588" rtlCol="0">
            <a:spAutoFit/>
          </a:bodyPr>
          <a:lstStyle/>
          <a:p>
            <a:pPr defTabSz="803576">
              <a:lnSpc>
                <a:spcPct val="90000"/>
              </a:lnSpc>
              <a:spcAft>
                <a:spcPts val="528"/>
              </a:spcAft>
            </a:pPr>
            <a:r>
              <a:rPr lang="en-US" sz="1583" dirty="0">
                <a:solidFill>
                  <a:srgbClr val="FFFF00"/>
                </a:solidFill>
                <a:latin typeface="Segoe UI"/>
                <a:sym typeface="Segoe UI"/>
              </a:rPr>
              <a:t>Turnkey</a:t>
            </a:r>
            <a:r>
              <a:rPr lang="en-US" sz="1583" dirty="0">
                <a:solidFill>
                  <a:prstClr val="white"/>
                </a:solidFill>
                <a:latin typeface="Segoe UI"/>
                <a:sym typeface="Segoe UI"/>
              </a:rPr>
              <a:t> global distribution</a:t>
            </a:r>
          </a:p>
        </p:txBody>
      </p:sp>
      <p:sp>
        <p:nvSpPr>
          <p:cNvPr id="906" name="텍스트 개체 틀 3">
            <a:extLst>
              <a:ext uri="{FF2B5EF4-FFF2-40B4-BE49-F238E27FC236}">
                <a16:creationId xmlns:a16="http://schemas.microsoft.com/office/drawing/2014/main" id="{28FA203F-8662-4068-B1C5-00FF64746B3F}"/>
              </a:ext>
            </a:extLst>
          </p:cNvPr>
          <p:cNvSpPr txBox="1">
            <a:spLocks/>
          </p:cNvSpPr>
          <p:nvPr/>
        </p:nvSpPr>
        <p:spPr>
          <a:xfrm>
            <a:off x="446476" y="238852"/>
            <a:ext cx="11462016" cy="557857"/>
          </a:xfrm>
          <a:prstGeom prst="rect">
            <a:avLst/>
          </a:prstGeom>
        </p:spPr>
        <p:txBody>
          <a:bodyPr>
            <a:noAutofit/>
          </a:bodyPr>
          <a:lstStyle>
            <a:lvl1pPr marL="221559" marR="0" indent="-221559" algn="l" defTabSz="602674" rtl="0" eaLnBrk="1" fontAlgn="auto" latinLnBrk="0" hangingPunct="1">
              <a:lnSpc>
                <a:spcPct val="90000"/>
              </a:lnSpc>
              <a:spcBef>
                <a:spcPct val="20000"/>
              </a:spcBef>
              <a:spcAft>
                <a:spcPts val="0"/>
              </a:spcAft>
              <a:buClrTx/>
              <a:buSzPct val="90000"/>
              <a:buFont typeface="Arial" pitchFamily="34" charset="0"/>
              <a:buChar char="•"/>
              <a:tabLst/>
              <a:defRPr sz="2585" kern="1200" spc="0" baseline="0">
                <a:gradFill>
                  <a:gsLst>
                    <a:gs pos="1250">
                      <a:schemeClr val="tx1"/>
                    </a:gs>
                    <a:gs pos="100000">
                      <a:schemeClr val="tx1"/>
                    </a:gs>
                  </a:gsLst>
                  <a:lin ang="5400000" scaled="0"/>
                </a:gradFill>
                <a:latin typeface="+mj-lt"/>
                <a:ea typeface="+mn-ea"/>
                <a:cs typeface="+mn-cs"/>
              </a:defRPr>
            </a:lvl1pPr>
            <a:lvl2pPr marL="377470" marR="0" indent="-155911" algn="l" defTabSz="602674" rtl="0" eaLnBrk="1" fontAlgn="auto" latinLnBrk="0" hangingPunct="1">
              <a:lnSpc>
                <a:spcPct val="90000"/>
              </a:lnSpc>
              <a:spcBef>
                <a:spcPct val="20000"/>
              </a:spcBef>
              <a:spcAft>
                <a:spcPts val="0"/>
              </a:spcAft>
              <a:buClrTx/>
              <a:buSzPct val="90000"/>
              <a:buFont typeface="Arial" pitchFamily="34" charset="0"/>
              <a:buChar char="•"/>
              <a:tabLst/>
              <a:defRPr sz="1550" kern="1200" spc="0" baseline="0">
                <a:gradFill>
                  <a:gsLst>
                    <a:gs pos="1250">
                      <a:schemeClr val="tx1"/>
                    </a:gs>
                    <a:gs pos="100000">
                      <a:schemeClr val="tx1"/>
                    </a:gs>
                  </a:gsLst>
                  <a:lin ang="5400000" scaled="0"/>
                </a:gradFill>
                <a:latin typeface="+mn-lt"/>
                <a:ea typeface="+mn-ea"/>
                <a:cs typeface="+mn-cs"/>
              </a:defRPr>
            </a:lvl2pPr>
            <a:lvl3pPr marL="516970" marR="0" indent="-147707" algn="l" defTabSz="602674" rtl="0" eaLnBrk="1" fontAlgn="auto" latinLnBrk="0" hangingPunct="1">
              <a:lnSpc>
                <a:spcPct val="90000"/>
              </a:lnSpc>
              <a:spcBef>
                <a:spcPct val="20000"/>
              </a:spcBef>
              <a:spcAft>
                <a:spcPts val="0"/>
              </a:spcAft>
              <a:buClrTx/>
              <a:buSzPct val="90000"/>
              <a:buFont typeface="Arial" pitchFamily="34" charset="0"/>
              <a:buChar char="•"/>
              <a:tabLst/>
              <a:defRPr sz="1293" kern="1200" spc="0" baseline="0">
                <a:gradFill>
                  <a:gsLst>
                    <a:gs pos="1250">
                      <a:schemeClr val="tx1"/>
                    </a:gs>
                    <a:gs pos="100000">
                      <a:schemeClr val="tx1"/>
                    </a:gs>
                  </a:gsLst>
                  <a:lin ang="5400000" scaled="0"/>
                </a:gradFill>
                <a:latin typeface="+mn-lt"/>
                <a:ea typeface="+mn-ea"/>
                <a:cs typeface="+mn-cs"/>
              </a:defRPr>
            </a:lvl3pPr>
            <a:lvl4pPr marL="664676" marR="0" indent="-147707" algn="l" defTabSz="602674" rtl="0" eaLnBrk="1" fontAlgn="auto" latinLnBrk="0" hangingPunct="1">
              <a:lnSpc>
                <a:spcPct val="90000"/>
              </a:lnSpc>
              <a:spcBef>
                <a:spcPct val="20000"/>
              </a:spcBef>
              <a:spcAft>
                <a:spcPts val="0"/>
              </a:spcAft>
              <a:buClrTx/>
              <a:buSzPct val="90000"/>
              <a:buFont typeface="Arial" pitchFamily="34" charset="0"/>
              <a:buChar char="•"/>
              <a:tabLst/>
              <a:defRPr sz="1164" kern="1200" spc="0" baseline="0">
                <a:gradFill>
                  <a:gsLst>
                    <a:gs pos="1250">
                      <a:schemeClr val="tx1"/>
                    </a:gs>
                    <a:gs pos="100000">
                      <a:schemeClr val="tx1"/>
                    </a:gs>
                  </a:gsLst>
                  <a:lin ang="5400000" scaled="0"/>
                </a:gradFill>
                <a:latin typeface="+mn-lt"/>
                <a:ea typeface="+mn-ea"/>
                <a:cs typeface="+mn-cs"/>
              </a:defRPr>
            </a:lvl4pPr>
            <a:lvl5pPr marL="812381" marR="0" indent="-147707" algn="l" defTabSz="602674" rtl="0" eaLnBrk="1" fontAlgn="auto" latinLnBrk="0" hangingPunct="1">
              <a:lnSpc>
                <a:spcPct val="90000"/>
              </a:lnSpc>
              <a:spcBef>
                <a:spcPct val="20000"/>
              </a:spcBef>
              <a:spcAft>
                <a:spcPts val="0"/>
              </a:spcAft>
              <a:buClrTx/>
              <a:buSzPct val="90000"/>
              <a:buFont typeface="Arial" pitchFamily="34" charset="0"/>
              <a:buChar char="•"/>
              <a:tabLst/>
              <a:defRPr sz="1164" kern="1200" spc="0" baseline="0">
                <a:gradFill>
                  <a:gsLst>
                    <a:gs pos="1250">
                      <a:schemeClr val="tx1"/>
                    </a:gs>
                    <a:gs pos="100000">
                      <a:schemeClr val="tx1"/>
                    </a:gs>
                  </a:gsLst>
                  <a:lin ang="5400000" scaled="0"/>
                </a:gradFill>
                <a:latin typeface="+mn-lt"/>
                <a:ea typeface="+mn-ea"/>
                <a:cs typeface="+mn-cs"/>
              </a:defRPr>
            </a:lvl5pPr>
            <a:lvl6pPr marL="1657354" indent="-150669" algn="l" defTabSz="602674" rtl="0" eaLnBrk="1" latinLnBrk="0" hangingPunct="1">
              <a:spcBef>
                <a:spcPct val="20000"/>
              </a:spcBef>
              <a:buFont typeface="Arial" pitchFamily="34" charset="0"/>
              <a:buChar char="•"/>
              <a:defRPr sz="1293" kern="1200">
                <a:solidFill>
                  <a:schemeClr val="tx1"/>
                </a:solidFill>
                <a:latin typeface="+mn-lt"/>
                <a:ea typeface="+mn-ea"/>
                <a:cs typeface="+mn-cs"/>
              </a:defRPr>
            </a:lvl6pPr>
            <a:lvl7pPr marL="1958691" indent="-150669" algn="l" defTabSz="602674" rtl="0" eaLnBrk="1" latinLnBrk="0" hangingPunct="1">
              <a:spcBef>
                <a:spcPct val="20000"/>
              </a:spcBef>
              <a:buFont typeface="Arial" pitchFamily="34" charset="0"/>
              <a:buChar char="•"/>
              <a:defRPr sz="1293" kern="1200">
                <a:solidFill>
                  <a:schemeClr val="tx1"/>
                </a:solidFill>
                <a:latin typeface="+mn-lt"/>
                <a:ea typeface="+mn-ea"/>
                <a:cs typeface="+mn-cs"/>
              </a:defRPr>
            </a:lvl7pPr>
            <a:lvl8pPr marL="2260028" indent="-150669" algn="l" defTabSz="602674" rtl="0" eaLnBrk="1" latinLnBrk="0" hangingPunct="1">
              <a:spcBef>
                <a:spcPct val="20000"/>
              </a:spcBef>
              <a:buFont typeface="Arial" pitchFamily="34" charset="0"/>
              <a:buChar char="•"/>
              <a:defRPr sz="1293" kern="1200">
                <a:solidFill>
                  <a:schemeClr val="tx1"/>
                </a:solidFill>
                <a:latin typeface="+mn-lt"/>
                <a:ea typeface="+mn-ea"/>
                <a:cs typeface="+mn-cs"/>
              </a:defRPr>
            </a:lvl8pPr>
            <a:lvl9pPr marL="2561366" indent="-150669" algn="l" defTabSz="602674" rtl="0" eaLnBrk="1" latinLnBrk="0" hangingPunct="1">
              <a:spcBef>
                <a:spcPct val="20000"/>
              </a:spcBef>
              <a:buFont typeface="Arial" pitchFamily="34" charset="0"/>
              <a:buChar char="•"/>
              <a:defRPr sz="1293" kern="1200">
                <a:solidFill>
                  <a:schemeClr val="tx1"/>
                </a:solidFill>
                <a:latin typeface="+mn-lt"/>
                <a:ea typeface="+mn-ea"/>
                <a:cs typeface="+mn-cs"/>
              </a:defRPr>
            </a:lvl9pPr>
          </a:lstStyle>
          <a:p>
            <a:pPr marL="0" indent="0" defTabSz="803545">
              <a:buNone/>
            </a:pPr>
            <a:r>
              <a:rPr lang="en-US" altLang="ko-KR" sz="5400" dirty="0">
                <a:solidFill>
                  <a:prstClr val="white"/>
                </a:solidFill>
                <a:latin typeface="Segoe UI Light" panose="020B0502040204020203" pitchFamily="34" charset="0"/>
                <a:ea typeface="3Dumb" pitchFamily="2" charset="0"/>
                <a:cs typeface="Segoe UI Light" panose="020B0502040204020203" pitchFamily="34" charset="0"/>
              </a:rPr>
              <a:t>Designing the database for the cloud</a:t>
            </a:r>
          </a:p>
        </p:txBody>
      </p:sp>
      <p:sp>
        <p:nvSpPr>
          <p:cNvPr id="907" name="TextBox 906">
            <a:extLst>
              <a:ext uri="{FF2B5EF4-FFF2-40B4-BE49-F238E27FC236}">
                <a16:creationId xmlns:a16="http://schemas.microsoft.com/office/drawing/2014/main" id="{8D6C2C38-1EA3-4820-988D-A2340BAE18F6}"/>
              </a:ext>
            </a:extLst>
          </p:cNvPr>
          <p:cNvSpPr txBox="1"/>
          <p:nvPr/>
        </p:nvSpPr>
        <p:spPr>
          <a:xfrm>
            <a:off x="7793765" y="856519"/>
            <a:ext cx="3576862" cy="615516"/>
          </a:xfrm>
          <a:prstGeom prst="rect">
            <a:avLst/>
          </a:prstGeom>
          <a:noFill/>
        </p:spPr>
        <p:txBody>
          <a:bodyPr wrap="none" lIns="179285" tIns="143428" rIns="179285" bIns="143428" rtlCol="0">
            <a:spAutoFit/>
          </a:bodyPr>
          <a:lstStyle/>
          <a:p>
            <a:pPr defTabSz="914437">
              <a:lnSpc>
                <a:spcPct val="90000"/>
              </a:lnSpc>
              <a:spcAft>
                <a:spcPts val="588"/>
              </a:spcAft>
            </a:pPr>
            <a:r>
              <a:rPr lang="en-US" sz="2353" b="1" dirty="0">
                <a:solidFill>
                  <a:prstClr val="white"/>
                </a:solidFill>
                <a:latin typeface="Segoe UI Light" panose="020B0502040204020203" pitchFamily="34" charset="0"/>
                <a:ea typeface="2Dumb" panose="02000000000000000000" pitchFamily="2" charset="0"/>
                <a:cs typeface="Segoe UI Light" panose="020B0502040204020203" pitchFamily="34" charset="0"/>
              </a:rPr>
              <a:t>Requirements (circa 2010)</a:t>
            </a:r>
          </a:p>
        </p:txBody>
      </p:sp>
      <p:grpSp>
        <p:nvGrpSpPr>
          <p:cNvPr id="5" name="Group 4">
            <a:extLst>
              <a:ext uri="{FF2B5EF4-FFF2-40B4-BE49-F238E27FC236}">
                <a16:creationId xmlns:a16="http://schemas.microsoft.com/office/drawing/2014/main" id="{9F02CC62-6C21-4E2B-BB00-F170C3D3016B}"/>
              </a:ext>
            </a:extLst>
          </p:cNvPr>
          <p:cNvGrpSpPr/>
          <p:nvPr/>
        </p:nvGrpSpPr>
        <p:grpSpPr>
          <a:xfrm>
            <a:off x="287054" y="1720090"/>
            <a:ext cx="7234343" cy="1942612"/>
            <a:chOff x="339665" y="1094286"/>
            <a:chExt cx="5425757" cy="1456959"/>
          </a:xfrm>
        </p:grpSpPr>
        <p:sp>
          <p:nvSpPr>
            <p:cNvPr id="2" name="Rectangle: Rounded Corners 1">
              <a:extLst>
                <a:ext uri="{FF2B5EF4-FFF2-40B4-BE49-F238E27FC236}">
                  <a16:creationId xmlns:a16="http://schemas.microsoft.com/office/drawing/2014/main" id="{A75E49B4-E49C-49C1-B674-DAC43251706C}"/>
                </a:ext>
              </a:extLst>
            </p:cNvPr>
            <p:cNvSpPr/>
            <p:nvPr/>
          </p:nvSpPr>
          <p:spPr>
            <a:xfrm>
              <a:off x="339665" y="1094286"/>
              <a:ext cx="5425757" cy="1456959"/>
            </a:xfrm>
            <a:prstGeom prst="roundRect">
              <a:avLst/>
            </a:prstGeom>
            <a:solidFill>
              <a:srgbClr val="152B2D">
                <a:alpha val="84000"/>
              </a:srgbClr>
            </a:solidFill>
            <a:ln>
              <a:solidFill>
                <a:srgbClr val="152B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en-US">
                <a:solidFill>
                  <a:prstClr val="white"/>
                </a:solidFill>
                <a:latin typeface="Calibri" panose="020F0502020204030204"/>
              </a:endParaRPr>
            </a:p>
          </p:txBody>
        </p:sp>
        <p:sp>
          <p:nvSpPr>
            <p:cNvPr id="896" name="TextBox 895">
              <a:extLst>
                <a:ext uri="{FF2B5EF4-FFF2-40B4-BE49-F238E27FC236}">
                  <a16:creationId xmlns:a16="http://schemas.microsoft.com/office/drawing/2014/main" id="{57B75172-6581-4FAC-A328-695DEB2A8EED}"/>
                </a:ext>
              </a:extLst>
            </p:cNvPr>
            <p:cNvSpPr txBox="1"/>
            <p:nvPr/>
          </p:nvSpPr>
          <p:spPr>
            <a:xfrm rot="21137896">
              <a:off x="705906" y="1561343"/>
              <a:ext cx="4882549" cy="471813"/>
            </a:xfrm>
            <a:prstGeom prst="rect">
              <a:avLst/>
            </a:prstGeom>
            <a:noFill/>
          </p:spPr>
          <p:txBody>
            <a:bodyPr wrap="square" lIns="160735" tIns="128588" rIns="160735" bIns="128588" rtlCol="0">
              <a:spAutoFit/>
            </a:bodyPr>
            <a:lstStyle/>
            <a:p>
              <a:pPr defTabSz="803576">
                <a:lnSpc>
                  <a:spcPct val="90000"/>
                </a:lnSpc>
                <a:spcAft>
                  <a:spcPts val="528"/>
                </a:spcAft>
              </a:pPr>
              <a:r>
                <a:rPr lang="en-US" sz="2667" i="1" dirty="0">
                  <a:solidFill>
                    <a:srgbClr val="FFFF00"/>
                  </a:solidFill>
                  <a:latin typeface="Segoe UI"/>
                  <a:sym typeface="Segoe UI"/>
                </a:rPr>
                <a:t>Global distribution from the ground up</a:t>
              </a:r>
              <a:endParaRPr lang="en-US" sz="2667" i="1" dirty="0">
                <a:solidFill>
                  <a:prstClr val="white"/>
                </a:solidFill>
                <a:latin typeface="Segoe UI"/>
                <a:sym typeface="Segoe UI"/>
              </a:endParaRPr>
            </a:p>
          </p:txBody>
        </p:sp>
      </p:grpSp>
      <p:grpSp>
        <p:nvGrpSpPr>
          <p:cNvPr id="6" name="Group 5">
            <a:extLst>
              <a:ext uri="{FF2B5EF4-FFF2-40B4-BE49-F238E27FC236}">
                <a16:creationId xmlns:a16="http://schemas.microsoft.com/office/drawing/2014/main" id="{7747764C-7430-4D61-8BCA-5254BD36369D}"/>
              </a:ext>
            </a:extLst>
          </p:cNvPr>
          <p:cNvGrpSpPr/>
          <p:nvPr/>
        </p:nvGrpSpPr>
        <p:grpSpPr>
          <a:xfrm>
            <a:off x="282157" y="3624639"/>
            <a:ext cx="7234343" cy="1942612"/>
            <a:chOff x="315179" y="2482269"/>
            <a:chExt cx="5425757" cy="1456959"/>
          </a:xfrm>
        </p:grpSpPr>
        <p:sp>
          <p:nvSpPr>
            <p:cNvPr id="302" name="Rectangle: Rounded Corners 301">
              <a:extLst>
                <a:ext uri="{FF2B5EF4-FFF2-40B4-BE49-F238E27FC236}">
                  <a16:creationId xmlns:a16="http://schemas.microsoft.com/office/drawing/2014/main" id="{8101B866-2862-4136-A588-0655D6ACD4BC}"/>
                </a:ext>
              </a:extLst>
            </p:cNvPr>
            <p:cNvSpPr/>
            <p:nvPr/>
          </p:nvSpPr>
          <p:spPr>
            <a:xfrm>
              <a:off x="315179" y="2482269"/>
              <a:ext cx="5425757" cy="1456959"/>
            </a:xfrm>
            <a:prstGeom prst="roundRect">
              <a:avLst/>
            </a:prstGeom>
            <a:solidFill>
              <a:srgbClr val="152B2D">
                <a:alpha val="84000"/>
              </a:srgbClr>
            </a:solidFill>
            <a:ln>
              <a:solidFill>
                <a:srgbClr val="152B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en-US">
                <a:solidFill>
                  <a:prstClr val="white"/>
                </a:solidFill>
                <a:latin typeface="Calibri" panose="020F0502020204030204"/>
              </a:endParaRPr>
            </a:p>
          </p:txBody>
        </p:sp>
        <p:sp>
          <p:nvSpPr>
            <p:cNvPr id="897" name="TextBox 896">
              <a:extLst>
                <a:ext uri="{FF2B5EF4-FFF2-40B4-BE49-F238E27FC236}">
                  <a16:creationId xmlns:a16="http://schemas.microsoft.com/office/drawing/2014/main" id="{9DE919C9-A798-4B79-B414-842E040EA369}"/>
                </a:ext>
              </a:extLst>
            </p:cNvPr>
            <p:cNvSpPr txBox="1"/>
            <p:nvPr/>
          </p:nvSpPr>
          <p:spPr>
            <a:xfrm rot="21096174">
              <a:off x="1330448" y="2899496"/>
              <a:ext cx="3715514" cy="471813"/>
            </a:xfrm>
            <a:prstGeom prst="rect">
              <a:avLst/>
            </a:prstGeom>
            <a:noFill/>
          </p:spPr>
          <p:txBody>
            <a:bodyPr wrap="square" lIns="160735" tIns="128588" rIns="160735" bIns="128588" rtlCol="0">
              <a:spAutoFit/>
            </a:bodyPr>
            <a:lstStyle/>
            <a:p>
              <a:pPr defTabSz="803576">
                <a:lnSpc>
                  <a:spcPct val="90000"/>
                </a:lnSpc>
                <a:spcAft>
                  <a:spcPts val="528"/>
                </a:spcAft>
              </a:pPr>
              <a:r>
                <a:rPr lang="en-US" sz="2667" i="1" dirty="0">
                  <a:solidFill>
                    <a:srgbClr val="FFFF00"/>
                  </a:solidFill>
                  <a:latin typeface="Segoe UI"/>
                  <a:sym typeface="Segoe UI"/>
                </a:rPr>
                <a:t>Fully resource governed stack</a:t>
              </a:r>
              <a:endParaRPr lang="en-US" sz="2667" i="1" dirty="0">
                <a:solidFill>
                  <a:prstClr val="white"/>
                </a:solidFill>
                <a:latin typeface="Segoe UI"/>
                <a:sym typeface="Segoe UI"/>
              </a:endParaRPr>
            </a:p>
          </p:txBody>
        </p:sp>
      </p:grpSp>
      <p:grpSp>
        <p:nvGrpSpPr>
          <p:cNvPr id="7" name="Group 6">
            <a:extLst>
              <a:ext uri="{FF2B5EF4-FFF2-40B4-BE49-F238E27FC236}">
                <a16:creationId xmlns:a16="http://schemas.microsoft.com/office/drawing/2014/main" id="{EF0F0250-DB8A-44BE-868C-48BAA8C7B736}"/>
              </a:ext>
            </a:extLst>
          </p:cNvPr>
          <p:cNvGrpSpPr/>
          <p:nvPr/>
        </p:nvGrpSpPr>
        <p:grpSpPr>
          <a:xfrm>
            <a:off x="278187" y="5524479"/>
            <a:ext cx="7234343" cy="1108728"/>
            <a:chOff x="317872" y="3888320"/>
            <a:chExt cx="5425757" cy="831546"/>
          </a:xfrm>
        </p:grpSpPr>
        <p:sp>
          <p:nvSpPr>
            <p:cNvPr id="303" name="Rectangle: Rounded Corners 302">
              <a:extLst>
                <a:ext uri="{FF2B5EF4-FFF2-40B4-BE49-F238E27FC236}">
                  <a16:creationId xmlns:a16="http://schemas.microsoft.com/office/drawing/2014/main" id="{A15B86E8-9F05-4902-BCC6-785B4CA47D80}"/>
                </a:ext>
              </a:extLst>
            </p:cNvPr>
            <p:cNvSpPr/>
            <p:nvPr/>
          </p:nvSpPr>
          <p:spPr>
            <a:xfrm>
              <a:off x="317872" y="3888320"/>
              <a:ext cx="5425757" cy="831546"/>
            </a:xfrm>
            <a:prstGeom prst="roundRect">
              <a:avLst/>
            </a:prstGeom>
            <a:solidFill>
              <a:srgbClr val="152B2D">
                <a:alpha val="84000"/>
              </a:srgbClr>
            </a:solidFill>
            <a:ln>
              <a:solidFill>
                <a:srgbClr val="152B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latinLnBrk="1"/>
              <a:endParaRPr lang="en-US">
                <a:solidFill>
                  <a:prstClr val="white"/>
                </a:solidFill>
                <a:latin typeface="Calibri" panose="020F0502020204030204"/>
              </a:endParaRPr>
            </a:p>
          </p:txBody>
        </p:sp>
        <p:sp>
          <p:nvSpPr>
            <p:cNvPr id="901" name="TextBox 900">
              <a:extLst>
                <a:ext uri="{FF2B5EF4-FFF2-40B4-BE49-F238E27FC236}">
                  <a16:creationId xmlns:a16="http://schemas.microsoft.com/office/drawing/2014/main" id="{D0DB4C5C-E315-4218-A039-44F5983E7C51}"/>
                </a:ext>
              </a:extLst>
            </p:cNvPr>
            <p:cNvSpPr txBox="1"/>
            <p:nvPr/>
          </p:nvSpPr>
          <p:spPr>
            <a:xfrm rot="21206652">
              <a:off x="1434218" y="4119454"/>
              <a:ext cx="3385608" cy="471813"/>
            </a:xfrm>
            <a:prstGeom prst="rect">
              <a:avLst/>
            </a:prstGeom>
            <a:noFill/>
          </p:spPr>
          <p:txBody>
            <a:bodyPr wrap="square" lIns="160735" tIns="128588" rIns="160735" bIns="128588" rtlCol="0">
              <a:spAutoFit/>
            </a:bodyPr>
            <a:lstStyle/>
            <a:p>
              <a:pPr defTabSz="803576">
                <a:lnSpc>
                  <a:spcPct val="90000"/>
                </a:lnSpc>
                <a:spcAft>
                  <a:spcPts val="528"/>
                </a:spcAft>
              </a:pPr>
              <a:r>
                <a:rPr lang="en-US" sz="2667" i="1" dirty="0">
                  <a:solidFill>
                    <a:srgbClr val="92D050"/>
                  </a:solidFill>
                  <a:latin typeface="Segoe UI"/>
                  <a:sym typeface="Segoe UI"/>
                </a:rPr>
                <a:t>Schema-agnostic service</a:t>
              </a:r>
            </a:p>
          </p:txBody>
        </p:sp>
      </p:grpSp>
      <p:grpSp>
        <p:nvGrpSpPr>
          <p:cNvPr id="4" name="Group 3">
            <a:extLst>
              <a:ext uri="{FF2B5EF4-FFF2-40B4-BE49-F238E27FC236}">
                <a16:creationId xmlns:a16="http://schemas.microsoft.com/office/drawing/2014/main" id="{B00891FF-BD42-4643-A99B-C52FBF65648F}"/>
              </a:ext>
            </a:extLst>
          </p:cNvPr>
          <p:cNvGrpSpPr/>
          <p:nvPr/>
        </p:nvGrpSpPr>
        <p:grpSpPr>
          <a:xfrm>
            <a:off x="7035305" y="5402215"/>
            <a:ext cx="873655" cy="1227779"/>
            <a:chOff x="5276478" y="3880211"/>
            <a:chExt cx="655241" cy="920834"/>
          </a:xfrm>
        </p:grpSpPr>
        <p:sp>
          <p:nvSpPr>
            <p:cNvPr id="898" name="Right Bracket 897">
              <a:extLst>
                <a:ext uri="{FF2B5EF4-FFF2-40B4-BE49-F238E27FC236}">
                  <a16:creationId xmlns:a16="http://schemas.microsoft.com/office/drawing/2014/main" id="{464FF0EC-52EA-4766-8CD4-19F611F3B9FC}"/>
                </a:ext>
              </a:extLst>
            </p:cNvPr>
            <p:cNvSpPr/>
            <p:nvPr/>
          </p:nvSpPr>
          <p:spPr>
            <a:xfrm>
              <a:off x="5276478" y="3880211"/>
              <a:ext cx="497927" cy="920834"/>
            </a:xfrm>
            <a:prstGeom prst="rightBracket">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03576"/>
              <a:endParaRPr lang="en-US" sz="1583">
                <a:solidFill>
                  <a:prstClr val="white"/>
                </a:solidFill>
                <a:latin typeface="Segoe UI"/>
                <a:sym typeface="Segoe UI"/>
              </a:endParaRPr>
            </a:p>
          </p:txBody>
        </p:sp>
        <p:sp>
          <p:nvSpPr>
            <p:cNvPr id="905" name="Oval 904">
              <a:extLst>
                <a:ext uri="{FF2B5EF4-FFF2-40B4-BE49-F238E27FC236}">
                  <a16:creationId xmlns:a16="http://schemas.microsoft.com/office/drawing/2014/main" id="{2198085D-A6E3-4F17-B572-94C6F19C24BB}"/>
                </a:ext>
              </a:extLst>
            </p:cNvPr>
            <p:cNvSpPr/>
            <p:nvPr/>
          </p:nvSpPr>
          <p:spPr bwMode="auto">
            <a:xfrm>
              <a:off x="5537775" y="4105303"/>
              <a:ext cx="393944" cy="339226"/>
            </a:xfrm>
            <a:prstGeom prst="ellipse">
              <a:avLst/>
            </a:prstGeom>
            <a:solidFill>
              <a:srgbClr val="008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0991" rIns="0" bIns="40991" numCol="1" rtlCol="0" anchor="ctr" anchorCtr="0" compatLnSpc="1">
              <a:prstTxWarp prst="textNoShape">
                <a:avLst/>
              </a:prstTxWarp>
            </a:bodyPr>
            <a:lstStyle/>
            <a:p>
              <a:pPr algn="ctr" defTabSz="819456" fontAlgn="base">
                <a:spcBef>
                  <a:spcPct val="0"/>
                </a:spcBef>
                <a:spcAft>
                  <a:spcPct val="0"/>
                </a:spcAft>
              </a:pPr>
              <a:r>
                <a:rPr lang="en-US" sz="1757" dirty="0">
                  <a:gradFill>
                    <a:gsLst>
                      <a:gs pos="0">
                        <a:srgbClr val="FFFFFF"/>
                      </a:gs>
                      <a:gs pos="100000">
                        <a:srgbClr val="FFFFFF"/>
                      </a:gs>
                    </a:gsLst>
                    <a:lin ang="5400000" scaled="0"/>
                  </a:gradFill>
                  <a:latin typeface="Segoe UI"/>
                  <a:sym typeface="Segoe UI"/>
                </a:rPr>
                <a:t>3</a:t>
              </a:r>
            </a:p>
          </p:txBody>
        </p:sp>
      </p:grpSp>
      <p:grpSp>
        <p:nvGrpSpPr>
          <p:cNvPr id="3" name="Group 2">
            <a:extLst>
              <a:ext uri="{FF2B5EF4-FFF2-40B4-BE49-F238E27FC236}">
                <a16:creationId xmlns:a16="http://schemas.microsoft.com/office/drawing/2014/main" id="{11D81D21-7FAD-4E26-AE06-55B43D5159E0}"/>
              </a:ext>
            </a:extLst>
          </p:cNvPr>
          <p:cNvGrpSpPr/>
          <p:nvPr/>
        </p:nvGrpSpPr>
        <p:grpSpPr>
          <a:xfrm>
            <a:off x="6804164" y="2064180"/>
            <a:ext cx="926533" cy="3985069"/>
            <a:chOff x="5103123" y="1376685"/>
            <a:chExt cx="694900" cy="2988802"/>
          </a:xfrm>
        </p:grpSpPr>
        <p:sp>
          <p:nvSpPr>
            <p:cNvPr id="895" name="Right Bracket 894">
              <a:extLst>
                <a:ext uri="{FF2B5EF4-FFF2-40B4-BE49-F238E27FC236}">
                  <a16:creationId xmlns:a16="http://schemas.microsoft.com/office/drawing/2014/main" id="{24065FA3-5D82-4DEA-8810-420BB652FB06}"/>
                </a:ext>
              </a:extLst>
            </p:cNvPr>
            <p:cNvSpPr/>
            <p:nvPr/>
          </p:nvSpPr>
          <p:spPr>
            <a:xfrm>
              <a:off x="5103123" y="1376685"/>
              <a:ext cx="497927" cy="2988802"/>
            </a:xfrm>
            <a:prstGeom prst="rightBracket">
              <a:avLst/>
            </a:prstGeom>
            <a:ln>
              <a:solidFill>
                <a:srgbClr val="FFFF0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03576"/>
              <a:endParaRPr lang="en-US" sz="1583">
                <a:solidFill>
                  <a:prstClr val="white"/>
                </a:solidFill>
                <a:latin typeface="Segoe UI"/>
                <a:sym typeface="Segoe UI"/>
              </a:endParaRPr>
            </a:p>
          </p:txBody>
        </p:sp>
        <p:sp>
          <p:nvSpPr>
            <p:cNvPr id="903" name="Oval 902">
              <a:extLst>
                <a:ext uri="{FF2B5EF4-FFF2-40B4-BE49-F238E27FC236}">
                  <a16:creationId xmlns:a16="http://schemas.microsoft.com/office/drawing/2014/main" id="{945F438B-3002-434A-B88B-55A1B07EEEC3}"/>
                </a:ext>
              </a:extLst>
            </p:cNvPr>
            <p:cNvSpPr/>
            <p:nvPr/>
          </p:nvSpPr>
          <p:spPr bwMode="auto">
            <a:xfrm>
              <a:off x="5404079" y="1803873"/>
              <a:ext cx="393944" cy="339226"/>
            </a:xfrm>
            <a:prstGeom prst="ellipse">
              <a:avLst/>
            </a:prstGeom>
            <a:solidFill>
              <a:srgbClr val="008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0991" rIns="0" bIns="40991" numCol="1" rtlCol="0" anchor="ctr" anchorCtr="0" compatLnSpc="1">
              <a:prstTxWarp prst="textNoShape">
                <a:avLst/>
              </a:prstTxWarp>
            </a:bodyPr>
            <a:lstStyle/>
            <a:p>
              <a:pPr algn="ctr" defTabSz="819456" fontAlgn="base">
                <a:spcBef>
                  <a:spcPct val="0"/>
                </a:spcBef>
                <a:spcAft>
                  <a:spcPct val="0"/>
                </a:spcAft>
              </a:pPr>
              <a:r>
                <a:rPr lang="en-US" sz="1757" dirty="0">
                  <a:gradFill>
                    <a:gsLst>
                      <a:gs pos="0">
                        <a:srgbClr val="FFFFFF"/>
                      </a:gs>
                      <a:gs pos="100000">
                        <a:srgbClr val="FFFFFF"/>
                      </a:gs>
                    </a:gsLst>
                    <a:lin ang="5400000" scaled="0"/>
                  </a:gradFill>
                  <a:latin typeface="Segoe UI"/>
                  <a:sym typeface="Segoe UI"/>
                </a:rPr>
                <a:t>1</a:t>
              </a:r>
            </a:p>
          </p:txBody>
        </p:sp>
        <p:sp>
          <p:nvSpPr>
            <p:cNvPr id="904" name="Oval 903">
              <a:extLst>
                <a:ext uri="{FF2B5EF4-FFF2-40B4-BE49-F238E27FC236}">
                  <a16:creationId xmlns:a16="http://schemas.microsoft.com/office/drawing/2014/main" id="{3B7FD8E0-1AC3-4C15-A364-5B2EF3FE8F46}"/>
                </a:ext>
              </a:extLst>
            </p:cNvPr>
            <p:cNvSpPr/>
            <p:nvPr/>
          </p:nvSpPr>
          <p:spPr bwMode="auto">
            <a:xfrm>
              <a:off x="5404079" y="2861020"/>
              <a:ext cx="393944" cy="339226"/>
            </a:xfrm>
            <a:prstGeom prst="ellipse">
              <a:avLst/>
            </a:prstGeom>
            <a:solidFill>
              <a:srgbClr val="008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0991" rIns="0" bIns="40991" numCol="1" rtlCol="0" anchor="ctr" anchorCtr="0" compatLnSpc="1">
              <a:prstTxWarp prst="textNoShape">
                <a:avLst/>
              </a:prstTxWarp>
            </a:bodyPr>
            <a:lstStyle/>
            <a:p>
              <a:pPr algn="ctr" defTabSz="819456" fontAlgn="base">
                <a:spcBef>
                  <a:spcPct val="0"/>
                </a:spcBef>
                <a:spcAft>
                  <a:spcPct val="0"/>
                </a:spcAft>
              </a:pPr>
              <a:r>
                <a:rPr lang="en-US" sz="1757" dirty="0">
                  <a:gradFill>
                    <a:gsLst>
                      <a:gs pos="0">
                        <a:srgbClr val="FFFFFF"/>
                      </a:gs>
                      <a:gs pos="100000">
                        <a:srgbClr val="FFFFFF"/>
                      </a:gs>
                    </a:gsLst>
                    <a:lin ang="5400000" scaled="0"/>
                  </a:gradFill>
                  <a:latin typeface="Segoe UI"/>
                  <a:sym typeface="Segoe UI"/>
                </a:rPr>
                <a:t>2</a:t>
              </a:r>
            </a:p>
          </p:txBody>
        </p:sp>
      </p:grpSp>
    </p:spTree>
    <p:extLst>
      <p:ext uri="{BB962C8B-B14F-4D97-AF65-F5344CB8AC3E}">
        <p14:creationId xmlns:p14="http://schemas.microsoft.com/office/powerpoint/2010/main" val="3992661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338"/>
                                        </p:tgtEl>
                                        <p:attrNameLst>
                                          <p:attrName>style.visibility</p:attrName>
                                        </p:attrNameLst>
                                      </p:cBhvr>
                                      <p:to>
                                        <p:strVal val="visible"/>
                                      </p:to>
                                    </p:set>
                                    <p:animEffect transition="in" filter="fade">
                                      <p:cBhvr>
                                        <p:cTn id="7" dur="500"/>
                                        <p:tgtEl>
                                          <p:spTgt spid="14338"/>
                                        </p:tgtEl>
                                      </p:cBhvr>
                                    </p:animEffect>
                                  </p:childTnLst>
                                </p:cTn>
                              </p:par>
                              <p:par>
                                <p:cTn id="8" presetID="1" presetClass="entr" presetSubtype="0" fill="hold" grpId="0" nodeType="withEffect">
                                  <p:stCondLst>
                                    <p:cond delay="0"/>
                                  </p:stCondLst>
                                  <p:childTnLst>
                                    <p:set>
                                      <p:cBhvr>
                                        <p:cTn id="9" dur="1" fill="hold">
                                          <p:stCondLst>
                                            <p:cond delay="0"/>
                                          </p:stCondLst>
                                        </p:cTn>
                                        <p:tgtEl>
                                          <p:spTgt spid="902"/>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890"/>
                                        </p:tgtEl>
                                        <p:attrNameLst>
                                          <p:attrName>style.visibility</p:attrName>
                                        </p:attrNameLst>
                                      </p:cBhvr>
                                      <p:to>
                                        <p:strVal val="visible"/>
                                      </p:to>
                                    </p:set>
                                  </p:childTnLst>
                                </p:cTn>
                              </p:par>
                              <p:par>
                                <p:cTn id="14" presetID="10" presetClass="entr" presetSubtype="0" fill="hold" nodeType="withEffect">
                                  <p:stCondLst>
                                    <p:cond delay="0"/>
                                  </p:stCondLst>
                                  <p:childTnLst>
                                    <p:set>
                                      <p:cBhvr>
                                        <p:cTn id="15" dur="1" fill="hold">
                                          <p:stCondLst>
                                            <p:cond delay="0"/>
                                          </p:stCondLst>
                                        </p:cTn>
                                        <p:tgtEl>
                                          <p:spTgt spid="311"/>
                                        </p:tgtEl>
                                        <p:attrNameLst>
                                          <p:attrName>style.visibility</p:attrName>
                                        </p:attrNameLst>
                                      </p:cBhvr>
                                      <p:to>
                                        <p:strVal val="visible"/>
                                      </p:to>
                                    </p:set>
                                    <p:animEffect transition="in" filter="fade">
                                      <p:cBhvr>
                                        <p:cTn id="16" dur="500"/>
                                        <p:tgtEl>
                                          <p:spTgt spid="31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12"/>
                                        </p:tgtEl>
                                        <p:attrNameLst>
                                          <p:attrName>style.visibility</p:attrName>
                                        </p:attrNameLst>
                                      </p:cBhvr>
                                      <p:to>
                                        <p:strVal val="visible"/>
                                      </p:to>
                                    </p:set>
                                    <p:animEffect transition="in" filter="fade">
                                      <p:cBhvr>
                                        <p:cTn id="21" dur="500"/>
                                        <p:tgtEl>
                                          <p:spTgt spid="312"/>
                                        </p:tgtEl>
                                      </p:cBhvr>
                                    </p:animEffect>
                                  </p:childTnLst>
                                </p:cTn>
                              </p:par>
                              <p:par>
                                <p:cTn id="22" presetID="1" presetClass="entr" presetSubtype="0" fill="hold" grpId="0" nodeType="withEffect">
                                  <p:stCondLst>
                                    <p:cond delay="0"/>
                                  </p:stCondLst>
                                  <p:childTnLst>
                                    <p:set>
                                      <p:cBhvr>
                                        <p:cTn id="23" dur="1" fill="hold">
                                          <p:stCondLst>
                                            <p:cond delay="0"/>
                                          </p:stCondLst>
                                        </p:cTn>
                                        <p:tgtEl>
                                          <p:spTgt spid="889"/>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grpId="0" nodeType="clickEffect">
                                  <p:stCondLst>
                                    <p:cond delay="0"/>
                                  </p:stCondLst>
                                  <p:childTnLst>
                                    <p:set>
                                      <p:cBhvr>
                                        <p:cTn id="27" dur="1" fill="hold">
                                          <p:stCondLst>
                                            <p:cond delay="0"/>
                                          </p:stCondLst>
                                        </p:cTn>
                                        <p:tgtEl>
                                          <p:spTgt spid="891"/>
                                        </p:tgtEl>
                                        <p:attrNameLst>
                                          <p:attrName>style.visibility</p:attrName>
                                        </p:attrNameLst>
                                      </p:cBhvr>
                                      <p:to>
                                        <p:strVal val="visible"/>
                                      </p:to>
                                    </p:set>
                                  </p:childTnLst>
                                </p:cTn>
                              </p:par>
                              <p:par>
                                <p:cTn id="28" presetID="10" presetClass="entr" presetSubtype="0" fill="hold" nodeType="withEffect">
                                  <p:stCondLst>
                                    <p:cond delay="0"/>
                                  </p:stCondLst>
                                  <p:childTnLst>
                                    <p:set>
                                      <p:cBhvr>
                                        <p:cTn id="29" dur="1" fill="hold">
                                          <p:stCondLst>
                                            <p:cond delay="0"/>
                                          </p:stCondLst>
                                        </p:cTn>
                                        <p:tgtEl>
                                          <p:spTgt spid="313"/>
                                        </p:tgtEl>
                                        <p:attrNameLst>
                                          <p:attrName>style.visibility</p:attrName>
                                        </p:attrNameLst>
                                      </p:cBhvr>
                                      <p:to>
                                        <p:strVal val="visible"/>
                                      </p:to>
                                    </p:set>
                                    <p:animEffect transition="in" filter="fade">
                                      <p:cBhvr>
                                        <p:cTn id="30" dur="500"/>
                                        <p:tgtEl>
                                          <p:spTgt spid="313"/>
                                        </p:tgtEl>
                                      </p:cBhvr>
                                    </p:animEffec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893"/>
                                        </p:tgtEl>
                                        <p:attrNameLst>
                                          <p:attrName>style.visibility</p:attrName>
                                        </p:attrNameLst>
                                      </p:cBhvr>
                                      <p:to>
                                        <p:strVal val="visible"/>
                                      </p:to>
                                    </p:set>
                                  </p:childTnLst>
                                </p:cTn>
                              </p:par>
                              <p:par>
                                <p:cTn id="35" presetID="10" presetClass="entr" presetSubtype="0" fill="hold" nodeType="withEffect">
                                  <p:stCondLst>
                                    <p:cond delay="0"/>
                                  </p:stCondLst>
                                  <p:childTnLst>
                                    <p:set>
                                      <p:cBhvr>
                                        <p:cTn id="36" dur="1" fill="hold">
                                          <p:stCondLst>
                                            <p:cond delay="0"/>
                                          </p:stCondLst>
                                        </p:cTn>
                                        <p:tgtEl>
                                          <p:spTgt spid="314"/>
                                        </p:tgtEl>
                                        <p:attrNameLst>
                                          <p:attrName>style.visibility</p:attrName>
                                        </p:attrNameLst>
                                      </p:cBhvr>
                                      <p:to>
                                        <p:strVal val="visible"/>
                                      </p:to>
                                    </p:set>
                                    <p:animEffect transition="in" filter="fade">
                                      <p:cBhvr>
                                        <p:cTn id="37" dur="500"/>
                                        <p:tgtEl>
                                          <p:spTgt spid="314"/>
                                        </p:tgtEl>
                                      </p:cBhvr>
                                    </p:animEffec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grpId="0" nodeType="clickEffect">
                                  <p:stCondLst>
                                    <p:cond delay="0"/>
                                  </p:stCondLst>
                                  <p:childTnLst>
                                    <p:set>
                                      <p:cBhvr>
                                        <p:cTn id="41" dur="1" fill="hold">
                                          <p:stCondLst>
                                            <p:cond delay="0"/>
                                          </p:stCondLst>
                                        </p:cTn>
                                        <p:tgtEl>
                                          <p:spTgt spid="899"/>
                                        </p:tgtEl>
                                        <p:attrNameLst>
                                          <p:attrName>style.visibility</p:attrName>
                                        </p:attrNameLst>
                                      </p:cBhvr>
                                      <p:to>
                                        <p:strVal val="visible"/>
                                      </p:to>
                                    </p:set>
                                  </p:childTnLst>
                                </p:cTn>
                              </p:par>
                              <p:par>
                                <p:cTn id="42" presetID="10" presetClass="entr" presetSubtype="0" fill="hold" nodeType="withEffect">
                                  <p:stCondLst>
                                    <p:cond delay="0"/>
                                  </p:stCondLst>
                                  <p:childTnLst>
                                    <p:set>
                                      <p:cBhvr>
                                        <p:cTn id="43" dur="1" fill="hold">
                                          <p:stCondLst>
                                            <p:cond delay="0"/>
                                          </p:stCondLst>
                                        </p:cTn>
                                        <p:tgtEl>
                                          <p:spTgt spid="315"/>
                                        </p:tgtEl>
                                        <p:attrNameLst>
                                          <p:attrName>style.visibility</p:attrName>
                                        </p:attrNameLst>
                                      </p:cBhvr>
                                      <p:to>
                                        <p:strVal val="visible"/>
                                      </p:to>
                                    </p:set>
                                    <p:animEffect transition="in" filter="fade">
                                      <p:cBhvr>
                                        <p:cTn id="44" dur="500"/>
                                        <p:tgtEl>
                                          <p:spTgt spid="3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316"/>
                                        </p:tgtEl>
                                        <p:attrNameLst>
                                          <p:attrName>style.visibility</p:attrName>
                                        </p:attrNameLst>
                                      </p:cBhvr>
                                      <p:to>
                                        <p:strVal val="visible"/>
                                      </p:to>
                                    </p:set>
                                    <p:animEffect transition="in" filter="fade">
                                      <p:cBhvr>
                                        <p:cTn id="49" dur="500"/>
                                        <p:tgtEl>
                                          <p:spTgt spid="316"/>
                                        </p:tgtEl>
                                      </p:cBhvr>
                                    </p:animEffect>
                                  </p:childTnLst>
                                </p:cTn>
                              </p:par>
                              <p:par>
                                <p:cTn id="50" presetID="1" presetClass="entr" presetSubtype="0" fill="hold" grpId="0" nodeType="withEffect">
                                  <p:stCondLst>
                                    <p:cond delay="0"/>
                                  </p:stCondLst>
                                  <p:childTnLst>
                                    <p:set>
                                      <p:cBhvr>
                                        <p:cTn id="51" dur="1" fill="hold">
                                          <p:stCondLst>
                                            <p:cond delay="0"/>
                                          </p:stCondLst>
                                        </p:cTn>
                                        <p:tgtEl>
                                          <p:spTgt spid="900"/>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317"/>
                                        </p:tgtEl>
                                        <p:attrNameLst>
                                          <p:attrName>style.visibility</p:attrName>
                                        </p:attrNameLst>
                                      </p:cBhvr>
                                      <p:to>
                                        <p:strVal val="visible"/>
                                      </p:to>
                                    </p:set>
                                    <p:animEffect transition="in" filter="fade">
                                      <p:cBhvr>
                                        <p:cTn id="56" dur="500"/>
                                        <p:tgtEl>
                                          <p:spTgt spid="317"/>
                                        </p:tgtEl>
                                      </p:cBhvr>
                                    </p:animEffect>
                                  </p:childTnLst>
                                </p:cTn>
                              </p:par>
                              <p:par>
                                <p:cTn id="57" presetID="1" presetClass="entr" presetSubtype="0" fill="hold" grpId="0" nodeType="withEffect">
                                  <p:stCondLst>
                                    <p:cond delay="0"/>
                                  </p:stCondLst>
                                  <p:childTnLst>
                                    <p:set>
                                      <p:cBhvr>
                                        <p:cTn id="58" dur="1" fill="hold">
                                          <p:stCondLst>
                                            <p:cond delay="0"/>
                                          </p:stCondLst>
                                        </p:cTn>
                                        <p:tgtEl>
                                          <p:spTgt spid="892"/>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nodeType="clickEffect">
                                  <p:stCondLst>
                                    <p:cond delay="0"/>
                                  </p:stCondLst>
                                  <p:childTnLst>
                                    <p:set>
                                      <p:cBhvr>
                                        <p:cTn id="62" dur="1" fill="hold">
                                          <p:stCondLst>
                                            <p:cond delay="0"/>
                                          </p:stCondLst>
                                        </p:cTn>
                                        <p:tgtEl>
                                          <p:spTgt spid="318"/>
                                        </p:tgtEl>
                                        <p:attrNameLst>
                                          <p:attrName>style.visibility</p:attrName>
                                        </p:attrNameLst>
                                      </p:cBhvr>
                                      <p:to>
                                        <p:strVal val="visible"/>
                                      </p:to>
                                    </p:set>
                                    <p:animEffect transition="in" filter="fade">
                                      <p:cBhvr>
                                        <p:cTn id="63" dur="500"/>
                                        <p:tgtEl>
                                          <p:spTgt spid="318"/>
                                        </p:tgtEl>
                                      </p:cBhvr>
                                    </p:animEffect>
                                  </p:childTnLst>
                                </p:cTn>
                              </p:par>
                              <p:par>
                                <p:cTn id="64" presetID="1" presetClass="entr" presetSubtype="0" fill="hold" grpId="0" nodeType="withEffect">
                                  <p:stCondLst>
                                    <p:cond delay="0"/>
                                  </p:stCondLst>
                                  <p:childTnLst>
                                    <p:set>
                                      <p:cBhvr>
                                        <p:cTn id="65" dur="1" fill="hold">
                                          <p:stCondLst>
                                            <p:cond delay="0"/>
                                          </p:stCondLst>
                                        </p:cTn>
                                        <p:tgtEl>
                                          <p:spTgt spid="894"/>
                                        </p:tgtEl>
                                        <p:attrNameLst>
                                          <p:attrName>style.visibility</p:attrName>
                                        </p:attrNameLst>
                                      </p:cBhvr>
                                      <p:to>
                                        <p:strVal val="visible"/>
                                      </p:to>
                                    </p:se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nodeType="clickEffect">
                                  <p:stCondLst>
                                    <p:cond delay="0"/>
                                  </p:stCondLst>
                                  <p:childTnLst>
                                    <p:set>
                                      <p:cBhvr>
                                        <p:cTn id="69" dur="1" fill="hold">
                                          <p:stCondLst>
                                            <p:cond delay="0"/>
                                          </p:stCondLst>
                                        </p:cTn>
                                        <p:tgtEl>
                                          <p:spTgt spid="7"/>
                                        </p:tgtEl>
                                        <p:attrNameLst>
                                          <p:attrName>style.visibility</p:attrName>
                                        </p:attrNameLst>
                                      </p:cBhvr>
                                      <p:to>
                                        <p:strVal val="visible"/>
                                      </p:to>
                                    </p:set>
                                    <p:animEffect transition="in" filter="fade">
                                      <p:cBhvr>
                                        <p:cTn id="70" dur="500"/>
                                        <p:tgtEl>
                                          <p:spTgt spid="7"/>
                                        </p:tgtEl>
                                      </p:cBhvr>
                                    </p:animEffect>
                                  </p:childTnLst>
                                </p:cTn>
                              </p:par>
                              <p:par>
                                <p:cTn id="71" presetID="10" presetClass="entr" presetSubtype="0" fill="hold" nodeType="withEffect">
                                  <p:stCondLst>
                                    <p:cond delay="0"/>
                                  </p:stCondLst>
                                  <p:childTnLst>
                                    <p:set>
                                      <p:cBhvr>
                                        <p:cTn id="72" dur="1" fill="hold">
                                          <p:stCondLst>
                                            <p:cond delay="0"/>
                                          </p:stCondLst>
                                        </p:cTn>
                                        <p:tgtEl>
                                          <p:spTgt spid="5"/>
                                        </p:tgtEl>
                                        <p:attrNameLst>
                                          <p:attrName>style.visibility</p:attrName>
                                        </p:attrNameLst>
                                      </p:cBhvr>
                                      <p:to>
                                        <p:strVal val="visible"/>
                                      </p:to>
                                    </p:set>
                                    <p:animEffect transition="in" filter="fade">
                                      <p:cBhvr>
                                        <p:cTn id="73" dur="500"/>
                                        <p:tgtEl>
                                          <p:spTgt spid="5"/>
                                        </p:tgtEl>
                                      </p:cBhvr>
                                    </p:animEffect>
                                  </p:childTnLst>
                                </p:cTn>
                              </p:par>
                              <p:par>
                                <p:cTn id="74" presetID="10" presetClass="entr" presetSubtype="0" fill="hold" nodeType="withEffect">
                                  <p:stCondLst>
                                    <p:cond delay="0"/>
                                  </p:stCondLst>
                                  <p:childTnLst>
                                    <p:set>
                                      <p:cBhvr>
                                        <p:cTn id="75" dur="1" fill="hold">
                                          <p:stCondLst>
                                            <p:cond delay="0"/>
                                          </p:stCondLst>
                                        </p:cTn>
                                        <p:tgtEl>
                                          <p:spTgt spid="6"/>
                                        </p:tgtEl>
                                        <p:attrNameLst>
                                          <p:attrName>style.visibility</p:attrName>
                                        </p:attrNameLst>
                                      </p:cBhvr>
                                      <p:to>
                                        <p:strVal val="visible"/>
                                      </p:to>
                                    </p:set>
                                    <p:animEffect transition="in" filter="fade">
                                      <p:cBhvr>
                                        <p:cTn id="76" dur="500"/>
                                        <p:tgtEl>
                                          <p:spTgt spid="6"/>
                                        </p:tgtEl>
                                      </p:cBhvr>
                                    </p:animEffect>
                                  </p:childTnLst>
                                </p:cTn>
                              </p:par>
                              <p:par>
                                <p:cTn id="77" presetID="10" presetClass="entr" presetSubtype="0" fill="hold" nodeType="withEffect">
                                  <p:stCondLst>
                                    <p:cond delay="0"/>
                                  </p:stCondLst>
                                  <p:childTnLst>
                                    <p:set>
                                      <p:cBhvr>
                                        <p:cTn id="78" dur="1" fill="hold">
                                          <p:stCondLst>
                                            <p:cond delay="0"/>
                                          </p:stCondLst>
                                        </p:cTn>
                                        <p:tgtEl>
                                          <p:spTgt spid="4"/>
                                        </p:tgtEl>
                                        <p:attrNameLst>
                                          <p:attrName>style.visibility</p:attrName>
                                        </p:attrNameLst>
                                      </p:cBhvr>
                                      <p:to>
                                        <p:strVal val="visible"/>
                                      </p:to>
                                    </p:set>
                                    <p:animEffect transition="in" filter="fade">
                                      <p:cBhvr>
                                        <p:cTn id="79" dur="500"/>
                                        <p:tgtEl>
                                          <p:spTgt spid="4"/>
                                        </p:tgtEl>
                                      </p:cBhvr>
                                    </p:animEffect>
                                  </p:childTnLst>
                                </p:cTn>
                              </p:par>
                              <p:par>
                                <p:cTn id="80" presetID="10" presetClass="entr" presetSubtype="0" fill="hold" nodeType="withEffect">
                                  <p:stCondLst>
                                    <p:cond delay="0"/>
                                  </p:stCondLst>
                                  <p:childTnLst>
                                    <p:set>
                                      <p:cBhvr>
                                        <p:cTn id="81" dur="1" fill="hold">
                                          <p:stCondLst>
                                            <p:cond delay="0"/>
                                          </p:stCondLst>
                                        </p:cTn>
                                        <p:tgtEl>
                                          <p:spTgt spid="3"/>
                                        </p:tgtEl>
                                        <p:attrNameLst>
                                          <p:attrName>style.visibility</p:attrName>
                                        </p:attrNameLst>
                                      </p:cBhvr>
                                      <p:to>
                                        <p:strVal val="visible"/>
                                      </p:to>
                                    </p:set>
                                    <p:animEffect transition="in" filter="fade">
                                      <p:cBhvr>
                                        <p:cTn id="8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89" grpId="0"/>
      <p:bldP spid="890" grpId="0"/>
      <p:bldP spid="891" grpId="0"/>
      <p:bldP spid="892" grpId="0"/>
      <p:bldP spid="893" grpId="0"/>
      <p:bldP spid="894" grpId="0"/>
      <p:bldP spid="899" grpId="0"/>
      <p:bldP spid="900" grpId="0"/>
      <p:bldP spid="902" grpId="0"/>
    </p:bldLst>
  </p:timing>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57" name="Title 1"/>
          <p:cNvSpPr txBox="1">
            <a:spLocks/>
          </p:cNvSpPr>
          <p:nvPr/>
        </p:nvSpPr>
        <p:spPr>
          <a:xfrm>
            <a:off x="17457" y="317653"/>
            <a:ext cx="11333715" cy="574378"/>
          </a:xfrm>
          <a:prstGeom prst="rect">
            <a:avLst/>
          </a:prstGeom>
        </p:spPr>
        <p:txBody>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pPr defTabSz="1243478"/>
            <a:r>
              <a:rPr lang="en-US" sz="4000" dirty="0">
                <a:solidFill>
                  <a:prstClr val="white"/>
                </a:solidFill>
                <a:latin typeface="Segoe UI Light" panose="020B0502040204020203" pitchFamily="34" charset="0"/>
                <a:cs typeface="Segoe UI Light" panose="020B0502040204020203" pitchFamily="34" charset="0"/>
                <a:sym typeface="Gill Sans" charset="0"/>
              </a:rPr>
              <a:t>Precisely specifying consistency models with TLA+</a:t>
            </a:r>
          </a:p>
        </p:txBody>
      </p:sp>
      <p:pic>
        <p:nvPicPr>
          <p:cNvPr id="3" name="Picture 2"/>
          <p:cNvPicPr>
            <a:picLocks noChangeAspect="1"/>
          </p:cNvPicPr>
          <p:nvPr/>
        </p:nvPicPr>
        <p:blipFill>
          <a:blip r:embed="rId4"/>
          <a:stretch>
            <a:fillRect/>
          </a:stretch>
        </p:blipFill>
        <p:spPr>
          <a:xfrm>
            <a:off x="76200" y="961846"/>
            <a:ext cx="4610100" cy="6464738"/>
          </a:xfrm>
          <a:prstGeom prst="rect">
            <a:avLst/>
          </a:prstGeom>
        </p:spPr>
      </p:pic>
      <p:pic>
        <p:nvPicPr>
          <p:cNvPr id="5" name="Picture 4"/>
          <p:cNvPicPr>
            <a:picLocks noChangeAspect="1"/>
          </p:cNvPicPr>
          <p:nvPr/>
        </p:nvPicPr>
        <p:blipFill>
          <a:blip r:embed="rId5"/>
          <a:stretch>
            <a:fillRect/>
          </a:stretch>
        </p:blipFill>
        <p:spPr>
          <a:xfrm>
            <a:off x="4762500" y="981255"/>
            <a:ext cx="5633725" cy="6324600"/>
          </a:xfrm>
          <a:prstGeom prst="rect">
            <a:avLst/>
          </a:prstGeom>
        </p:spPr>
      </p:pic>
      <p:pic>
        <p:nvPicPr>
          <p:cNvPr id="6" name="Picture 5"/>
          <p:cNvPicPr>
            <a:picLocks noChangeAspect="1"/>
          </p:cNvPicPr>
          <p:nvPr/>
        </p:nvPicPr>
        <p:blipFill>
          <a:blip r:embed="rId6"/>
          <a:stretch>
            <a:fillRect/>
          </a:stretch>
        </p:blipFill>
        <p:spPr>
          <a:xfrm>
            <a:off x="10472425" y="962564"/>
            <a:ext cx="5867400" cy="6559422"/>
          </a:xfrm>
          <a:prstGeom prst="rect">
            <a:avLst/>
          </a:prstGeom>
        </p:spPr>
      </p:pic>
    </p:spTree>
    <p:custDataLst>
      <p:tags r:id="rId1"/>
    </p:custDataLst>
    <p:extLst>
      <p:ext uri="{BB962C8B-B14F-4D97-AF65-F5344CB8AC3E}">
        <p14:creationId xmlns:p14="http://schemas.microsoft.com/office/powerpoint/2010/main" val="213013790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1F9F6E-14C5-4DE8-8E60-43447CE20467}"/>
              </a:ext>
            </a:extLst>
          </p:cNvPr>
          <p:cNvSpPr>
            <a:spLocks noGrp="1"/>
          </p:cNvSpPr>
          <p:nvPr>
            <p:ph type="title"/>
          </p:nvPr>
        </p:nvSpPr>
        <p:spPr/>
        <p:txBody>
          <a:bodyPr/>
          <a:lstStyle/>
          <a:p>
            <a:r>
              <a:rPr lang="en-US" b="1" dirty="0">
                <a:solidFill>
                  <a:srgbClr val="000000"/>
                </a:solidFill>
                <a:latin typeface="Calibri" panose="020F0502020204030204" pitchFamily="34" charset="0"/>
              </a:rPr>
              <a:t>Choosing the Right Consistency Level</a:t>
            </a:r>
            <a:r>
              <a:rPr lang="en-US" dirty="0">
                <a:solidFill>
                  <a:srgbClr val="000000"/>
                </a:solidFill>
                <a:latin typeface="Calibri" panose="020F0502020204030204" pitchFamily="34" charset="0"/>
              </a:rPr>
              <a:t> </a:t>
            </a:r>
            <a:endParaRPr lang="en-US" dirty="0"/>
          </a:p>
        </p:txBody>
      </p:sp>
      <p:sp>
        <p:nvSpPr>
          <p:cNvPr id="3" name="Slide Number Placeholder 2">
            <a:extLst>
              <a:ext uri="{FF2B5EF4-FFF2-40B4-BE49-F238E27FC236}">
                <a16:creationId xmlns:a16="http://schemas.microsoft.com/office/drawing/2014/main" id="{C973065C-724F-4F4C-A3C2-C3A8ADD8E946}"/>
              </a:ext>
            </a:extLst>
          </p:cNvPr>
          <p:cNvSpPr>
            <a:spLocks noGrp="1"/>
          </p:cNvSpPr>
          <p:nvPr>
            <p:ph type="sldNum" sz="quarter" idx="12"/>
          </p:nvPr>
        </p:nvSpPr>
        <p:spPr/>
        <p:txBody>
          <a:bodyPr/>
          <a:lstStyle/>
          <a:p>
            <a:pPr defTabSz="457200" fontAlgn="base">
              <a:spcBef>
                <a:spcPct val="0"/>
              </a:spcBef>
              <a:spcAft>
                <a:spcPct val="0"/>
              </a:spcAft>
            </a:pPr>
            <a:fld id="{F3451B78-826D-4FE9-99FE-428C8E62A634}" type="slidenum">
              <a:rPr lang="en-US" smtClean="0">
                <a:solidFill>
                  <a:prstClr val="black">
                    <a:tint val="75000"/>
                  </a:prstClr>
                </a:solidFill>
                <a:latin typeface="Gill Sans" charset="0"/>
                <a:ea typeface="Heiti SC Light" charset="-122"/>
                <a:sym typeface="Gill Sans" charset="0"/>
              </a:rPr>
              <a:pPr defTabSz="457200" fontAlgn="base">
                <a:spcBef>
                  <a:spcPct val="0"/>
                </a:spcBef>
                <a:spcAft>
                  <a:spcPct val="0"/>
                </a:spcAft>
              </a:pPr>
              <a:t>51</a:t>
            </a:fld>
            <a:endParaRPr lang="en-US">
              <a:solidFill>
                <a:prstClr val="black">
                  <a:tint val="75000"/>
                </a:prstClr>
              </a:solidFill>
              <a:latin typeface="Gill Sans" charset="0"/>
              <a:ea typeface="Heiti SC Light" charset="-122"/>
              <a:sym typeface="Gill Sans" charset="0"/>
            </a:endParaRPr>
          </a:p>
        </p:txBody>
      </p:sp>
      <p:sp>
        <p:nvSpPr>
          <p:cNvPr id="4" name="Rectangle 3">
            <a:extLst>
              <a:ext uri="{FF2B5EF4-FFF2-40B4-BE49-F238E27FC236}">
                <a16:creationId xmlns:a16="http://schemas.microsoft.com/office/drawing/2014/main" id="{D24BD33C-CAA7-44EE-A96C-7B1C4DB1A74B}"/>
              </a:ext>
            </a:extLst>
          </p:cNvPr>
          <p:cNvSpPr/>
          <p:nvPr/>
        </p:nvSpPr>
        <p:spPr>
          <a:xfrm>
            <a:off x="766396" y="1920188"/>
            <a:ext cx="10829026" cy="4093428"/>
          </a:xfrm>
          <a:prstGeom prst="rect">
            <a:avLst/>
          </a:prstGeom>
        </p:spPr>
        <p:txBody>
          <a:bodyPr wrap="square">
            <a:spAutoFit/>
          </a:bodyPr>
          <a:lstStyle/>
          <a:p>
            <a:pPr fontAlgn="base"/>
            <a:r>
              <a:rPr lang="en-US" sz="2000" dirty="0">
                <a:solidFill>
                  <a:srgbClr val="000000"/>
                </a:solidFill>
                <a:latin typeface="Calibri" panose="020F0502020204030204" pitchFamily="34" charset="0"/>
              </a:rPr>
              <a:t> </a:t>
            </a:r>
          </a:p>
          <a:p>
            <a:pPr fontAlgn="base"/>
            <a:r>
              <a:rPr lang="en-US" sz="2000" b="1" dirty="0">
                <a:solidFill>
                  <a:srgbClr val="000000"/>
                </a:solidFill>
                <a:latin typeface="Calibri" panose="020F0502020204030204" pitchFamily="34" charset="0"/>
              </a:rPr>
              <a:t>If you are using the client drivers shipped by Cosmos DB (e.g., if you are using SQL and Table API SDKs), </a:t>
            </a:r>
            <a:r>
              <a:rPr lang="en-US" sz="2000" dirty="0">
                <a:solidFill>
                  <a:srgbClr val="000000"/>
                </a:solidFill>
                <a:latin typeface="Calibri" panose="020F0502020204030204" pitchFamily="34" charset="0"/>
              </a:rPr>
              <a:t> </a:t>
            </a:r>
          </a:p>
          <a:p>
            <a:pPr fontAlgn="base">
              <a:buFont typeface="Arial" panose="020B0604020202020204" pitchFamily="34" charset="0"/>
              <a:buChar char="•"/>
            </a:pPr>
            <a:r>
              <a:rPr lang="en-US" sz="2000" dirty="0">
                <a:solidFill>
                  <a:srgbClr val="000000"/>
                </a:solidFill>
                <a:latin typeface="Calibri" panose="020F0502020204030204" pitchFamily="34" charset="0"/>
              </a:rPr>
              <a:t>  </a:t>
            </a:r>
            <a:r>
              <a:rPr lang="en-US" sz="2000" dirty="0">
                <a:solidFill>
                  <a:srgbClr val="000000"/>
                </a:solidFill>
                <a:highlight>
                  <a:srgbClr val="FFFF00"/>
                </a:highlight>
                <a:latin typeface="Calibri" panose="020F0502020204030204" pitchFamily="34" charset="0"/>
              </a:rPr>
              <a:t>For majority of real-world scenarios</a:t>
            </a:r>
            <a:r>
              <a:rPr lang="en-US" sz="2000" dirty="0">
                <a:solidFill>
                  <a:srgbClr val="000000"/>
                </a:solidFill>
                <a:latin typeface="Calibri" panose="020F0502020204030204" pitchFamily="34" charset="0"/>
              </a:rPr>
              <a:t>, </a:t>
            </a:r>
            <a:r>
              <a:rPr lang="en-US" sz="2000" dirty="0">
                <a:solidFill>
                  <a:srgbClr val="000000"/>
                </a:solidFill>
                <a:highlight>
                  <a:srgbClr val="FFFF00"/>
                </a:highlight>
                <a:latin typeface="Calibri" panose="020F0502020204030204" pitchFamily="34" charset="0"/>
              </a:rPr>
              <a:t>session consistency is optimal and is recommended</a:t>
            </a:r>
            <a:r>
              <a:rPr lang="en-US" sz="2000" dirty="0">
                <a:solidFill>
                  <a:srgbClr val="000000"/>
                </a:solidFill>
                <a:latin typeface="Calibri" panose="020F0502020204030204" pitchFamily="34" charset="0"/>
              </a:rPr>
              <a:t>.   </a:t>
            </a:r>
          </a:p>
          <a:p>
            <a:pPr fontAlgn="base"/>
            <a:r>
              <a:rPr lang="en-US" sz="2000" dirty="0">
                <a:solidFill>
                  <a:srgbClr val="000000"/>
                </a:solidFill>
                <a:latin typeface="Calibri" panose="020F0502020204030204" pitchFamily="34" charset="0"/>
              </a:rPr>
              <a:t> </a:t>
            </a:r>
          </a:p>
          <a:p>
            <a:pPr fontAlgn="base">
              <a:buFont typeface="Arial" panose="020B0604020202020204" pitchFamily="34" charset="0"/>
              <a:buChar char="•"/>
            </a:pPr>
            <a:r>
              <a:rPr lang="en-US" sz="2000" dirty="0">
                <a:solidFill>
                  <a:srgbClr val="000000"/>
                </a:solidFill>
                <a:latin typeface="Calibri" panose="020F0502020204030204" pitchFamily="34" charset="0"/>
              </a:rPr>
              <a:t>   If your application is written to expect </a:t>
            </a:r>
            <a:r>
              <a:rPr lang="en-US" sz="2000" dirty="0">
                <a:solidFill>
                  <a:srgbClr val="000000"/>
                </a:solidFill>
                <a:highlight>
                  <a:srgbClr val="FFFF00"/>
                </a:highlight>
                <a:latin typeface="Calibri" panose="020F0502020204030204" pitchFamily="34" charset="0"/>
              </a:rPr>
              <a:t>strong consistency</a:t>
            </a:r>
            <a:r>
              <a:rPr lang="en-US" sz="2000" dirty="0">
                <a:solidFill>
                  <a:srgbClr val="000000"/>
                </a:solidFill>
                <a:latin typeface="Calibri" panose="020F0502020204030204" pitchFamily="34" charset="0"/>
              </a:rPr>
              <a:t> or if you need stricter consistency guarantees than those provided by the session consistency, we recommend that you </a:t>
            </a:r>
            <a:r>
              <a:rPr lang="en-US" sz="2000" dirty="0">
                <a:solidFill>
                  <a:srgbClr val="000000"/>
                </a:solidFill>
                <a:highlight>
                  <a:srgbClr val="FFFF00"/>
                </a:highlight>
                <a:latin typeface="Calibri" panose="020F0502020204030204" pitchFamily="34" charset="0"/>
              </a:rPr>
              <a:t>use bounded staleness consistency level</a:t>
            </a:r>
            <a:r>
              <a:rPr lang="en-US" sz="2000" dirty="0">
                <a:solidFill>
                  <a:srgbClr val="000000"/>
                </a:solidFill>
                <a:latin typeface="Calibri" panose="020F0502020204030204" pitchFamily="34" charset="0"/>
              </a:rPr>
              <a:t>.  </a:t>
            </a:r>
          </a:p>
          <a:p>
            <a:pPr fontAlgn="base"/>
            <a:r>
              <a:rPr lang="en-US" sz="2000" dirty="0">
                <a:solidFill>
                  <a:srgbClr val="000000"/>
                </a:solidFill>
                <a:latin typeface="Calibri" panose="020F0502020204030204" pitchFamily="34" charset="0"/>
              </a:rPr>
              <a:t> </a:t>
            </a:r>
          </a:p>
          <a:p>
            <a:pPr fontAlgn="base">
              <a:buFont typeface="Arial" panose="020B0604020202020204" pitchFamily="34" charset="0"/>
              <a:buChar char="•"/>
            </a:pPr>
            <a:r>
              <a:rPr lang="en-US" sz="2000" dirty="0">
                <a:solidFill>
                  <a:srgbClr val="000000"/>
                </a:solidFill>
                <a:latin typeface="Calibri" panose="020F0502020204030204" pitchFamily="34" charset="0"/>
              </a:rPr>
              <a:t>   If your application is written to deal with </a:t>
            </a:r>
            <a:r>
              <a:rPr lang="en-US" sz="2000" dirty="0">
                <a:solidFill>
                  <a:srgbClr val="000000"/>
                </a:solidFill>
                <a:highlight>
                  <a:srgbClr val="FFFF00"/>
                </a:highlight>
                <a:latin typeface="Calibri" panose="020F0502020204030204" pitchFamily="34" charset="0"/>
              </a:rPr>
              <a:t>eventual consistency</a:t>
            </a:r>
            <a:r>
              <a:rPr lang="en-US" sz="2000" dirty="0">
                <a:solidFill>
                  <a:srgbClr val="000000"/>
                </a:solidFill>
                <a:latin typeface="Calibri" panose="020F0502020204030204" pitchFamily="34" charset="0"/>
              </a:rPr>
              <a:t>, we recommend that </a:t>
            </a:r>
            <a:r>
              <a:rPr lang="en-US" sz="2000" dirty="0">
                <a:solidFill>
                  <a:srgbClr val="000000"/>
                </a:solidFill>
                <a:highlight>
                  <a:srgbClr val="FFFF00"/>
                </a:highlight>
                <a:latin typeface="Calibri" panose="020F0502020204030204" pitchFamily="34" charset="0"/>
              </a:rPr>
              <a:t>you use consistent prefix </a:t>
            </a:r>
            <a:r>
              <a:rPr lang="en-US" sz="2000" dirty="0">
                <a:solidFill>
                  <a:srgbClr val="000000"/>
                </a:solidFill>
                <a:latin typeface="Calibri" panose="020F0502020204030204" pitchFamily="34" charset="0"/>
              </a:rPr>
              <a:t>consistency level. If you need the highest availability and lowest latency, use eventual consistency level. </a:t>
            </a:r>
          </a:p>
          <a:p>
            <a:pPr fontAlgn="base"/>
            <a:r>
              <a:rPr lang="en-US" sz="2000" dirty="0">
                <a:solidFill>
                  <a:srgbClr val="000000"/>
                </a:solidFill>
                <a:latin typeface="Calibri" panose="020F0502020204030204" pitchFamily="34" charset="0"/>
              </a:rPr>
              <a:t> </a:t>
            </a:r>
          </a:p>
        </p:txBody>
      </p:sp>
    </p:spTree>
    <p:extLst>
      <p:ext uri="{BB962C8B-B14F-4D97-AF65-F5344CB8AC3E}">
        <p14:creationId xmlns:p14="http://schemas.microsoft.com/office/powerpoint/2010/main" val="145500175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AB9256-28EC-4ED5-BEF2-451D4291DBFE}"/>
              </a:ext>
            </a:extLst>
          </p:cNvPr>
          <p:cNvSpPr>
            <a:spLocks noGrp="1"/>
          </p:cNvSpPr>
          <p:nvPr>
            <p:ph type="title"/>
          </p:nvPr>
        </p:nvSpPr>
        <p:spPr>
          <a:xfrm>
            <a:off x="610688" y="228600"/>
            <a:ext cx="10970623" cy="1746309"/>
          </a:xfrm>
        </p:spPr>
        <p:txBody>
          <a:bodyPr>
            <a:noAutofit/>
          </a:bodyPr>
          <a:lstStyle/>
          <a:p>
            <a:r>
              <a:rPr lang="en-US" sz="3600" b="1" dirty="0">
                <a:solidFill>
                  <a:srgbClr val="000000"/>
                </a:solidFill>
                <a:latin typeface="Calibri" panose="020F0502020204030204" pitchFamily="34" charset="0"/>
              </a:rPr>
              <a:t>If you are interacting with Cosmos DB via any of the Cassandra, MongoDB and Gremlin client drivers,</a:t>
            </a:r>
            <a:r>
              <a:rPr lang="en-US" sz="3600" dirty="0">
                <a:solidFill>
                  <a:srgbClr val="000000"/>
                </a:solidFill>
                <a:latin typeface="Calibri" panose="020F0502020204030204" pitchFamily="34" charset="0"/>
              </a:rPr>
              <a:t> </a:t>
            </a:r>
            <a:br>
              <a:rPr lang="en-US" sz="3600" dirty="0">
                <a:solidFill>
                  <a:srgbClr val="000000"/>
                </a:solidFill>
                <a:latin typeface="Calibri" panose="020F0502020204030204" pitchFamily="34" charset="0"/>
              </a:rPr>
            </a:br>
            <a:endParaRPr lang="en-US" sz="3600" dirty="0"/>
          </a:p>
        </p:txBody>
      </p:sp>
      <p:sp>
        <p:nvSpPr>
          <p:cNvPr id="3" name="Slide Number Placeholder 2">
            <a:extLst>
              <a:ext uri="{FF2B5EF4-FFF2-40B4-BE49-F238E27FC236}">
                <a16:creationId xmlns:a16="http://schemas.microsoft.com/office/drawing/2014/main" id="{3737F8E8-86ED-4EAC-8004-060F28034DE1}"/>
              </a:ext>
            </a:extLst>
          </p:cNvPr>
          <p:cNvSpPr>
            <a:spLocks noGrp="1"/>
          </p:cNvSpPr>
          <p:nvPr>
            <p:ph type="sldNum" sz="quarter" idx="12"/>
          </p:nvPr>
        </p:nvSpPr>
        <p:spPr/>
        <p:txBody>
          <a:bodyPr/>
          <a:lstStyle/>
          <a:p>
            <a:pPr defTabSz="457200" fontAlgn="base">
              <a:spcBef>
                <a:spcPct val="0"/>
              </a:spcBef>
              <a:spcAft>
                <a:spcPct val="0"/>
              </a:spcAft>
            </a:pPr>
            <a:fld id="{F3451B78-826D-4FE9-99FE-428C8E62A634}" type="slidenum">
              <a:rPr lang="en-US" smtClean="0">
                <a:solidFill>
                  <a:prstClr val="black">
                    <a:tint val="75000"/>
                  </a:prstClr>
                </a:solidFill>
                <a:latin typeface="Gill Sans" charset="0"/>
                <a:ea typeface="Heiti SC Light" charset="-122"/>
                <a:sym typeface="Gill Sans" charset="0"/>
              </a:rPr>
              <a:pPr defTabSz="457200" fontAlgn="base">
                <a:spcBef>
                  <a:spcPct val="0"/>
                </a:spcBef>
                <a:spcAft>
                  <a:spcPct val="0"/>
                </a:spcAft>
              </a:pPr>
              <a:t>52</a:t>
            </a:fld>
            <a:endParaRPr lang="en-US">
              <a:solidFill>
                <a:prstClr val="black">
                  <a:tint val="75000"/>
                </a:prstClr>
              </a:solidFill>
              <a:latin typeface="Gill Sans" charset="0"/>
              <a:ea typeface="Heiti SC Light" charset="-122"/>
              <a:sym typeface="Gill Sans" charset="0"/>
            </a:endParaRPr>
          </a:p>
        </p:txBody>
      </p:sp>
      <p:pic>
        <p:nvPicPr>
          <p:cNvPr id="4" name="Picture 3">
            <a:extLst>
              <a:ext uri="{FF2B5EF4-FFF2-40B4-BE49-F238E27FC236}">
                <a16:creationId xmlns:a16="http://schemas.microsoft.com/office/drawing/2014/main" id="{B0FA94C4-2B25-4E38-BFD7-035E05891E8E}"/>
              </a:ext>
            </a:extLst>
          </p:cNvPr>
          <p:cNvPicPr>
            <a:picLocks noChangeAspect="1"/>
          </p:cNvPicPr>
          <p:nvPr/>
        </p:nvPicPr>
        <p:blipFill>
          <a:blip r:embed="rId2"/>
          <a:stretch>
            <a:fillRect/>
          </a:stretch>
        </p:blipFill>
        <p:spPr>
          <a:xfrm>
            <a:off x="2019196" y="1391574"/>
            <a:ext cx="8333118" cy="5695026"/>
          </a:xfrm>
          <a:prstGeom prst="rect">
            <a:avLst/>
          </a:prstGeom>
        </p:spPr>
      </p:pic>
    </p:spTree>
    <p:extLst>
      <p:ext uri="{BB962C8B-B14F-4D97-AF65-F5344CB8AC3E}">
        <p14:creationId xmlns:p14="http://schemas.microsoft.com/office/powerpoint/2010/main" val="20487289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2"/>
          <p:cNvSpPr>
            <a:spLocks noChangeArrowheads="1"/>
          </p:cNvSpPr>
          <p:nvPr/>
        </p:nvSpPr>
        <p:spPr bwMode="auto">
          <a:xfrm>
            <a:off x="3580528" y="483084"/>
            <a:ext cx="4551038" cy="721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defTabSz="1142804" fontAlgn="base">
              <a:spcBef>
                <a:spcPct val="0"/>
              </a:spcBef>
              <a:spcAft>
                <a:spcPct val="0"/>
              </a:spcAft>
            </a:pPr>
            <a:r>
              <a:rPr lang="en-US" sz="4687" kern="0" dirty="0">
                <a:solidFill>
                  <a:prstClr val="white"/>
                </a:solidFill>
                <a:latin typeface="Segoe UI Light" panose="020B0502040204020203" pitchFamily="34" charset="0"/>
                <a:cs typeface="Segoe UI Light" panose="020B0502040204020203" pitchFamily="34" charset="0"/>
              </a:rPr>
              <a:t>Azure Cosmos DB</a:t>
            </a:r>
          </a:p>
        </p:txBody>
      </p:sp>
      <p:grpSp>
        <p:nvGrpSpPr>
          <p:cNvPr id="230" name="Group 229"/>
          <p:cNvGrpSpPr/>
          <p:nvPr/>
        </p:nvGrpSpPr>
        <p:grpSpPr>
          <a:xfrm>
            <a:off x="964676" y="5291841"/>
            <a:ext cx="3868347" cy="3949199"/>
            <a:chOff x="1290527" y="2543661"/>
            <a:chExt cx="3219898" cy="3209030"/>
          </a:xfrm>
        </p:grpSpPr>
        <p:grpSp>
          <p:nvGrpSpPr>
            <p:cNvPr id="231" name="Group 230"/>
            <p:cNvGrpSpPr/>
            <p:nvPr/>
          </p:nvGrpSpPr>
          <p:grpSpPr>
            <a:xfrm>
              <a:off x="1290527" y="2543661"/>
              <a:ext cx="3219898" cy="3209030"/>
              <a:chOff x="1826012" y="1903236"/>
              <a:chExt cx="2474234" cy="2477382"/>
            </a:xfrm>
          </p:grpSpPr>
          <p:sp>
            <p:nvSpPr>
              <p:cNvPr id="242" name="Oval 178"/>
              <p:cNvSpPr>
                <a:spLocks noChangeArrowheads="1"/>
              </p:cNvSpPr>
              <p:nvPr/>
            </p:nvSpPr>
            <p:spPr bwMode="auto">
              <a:xfrm>
                <a:off x="1826012" y="1903236"/>
                <a:ext cx="2474234" cy="2477382"/>
              </a:xfrm>
              <a:prstGeom prst="ellipse">
                <a:avLst/>
              </a:pr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grpSp>
            <p:nvGrpSpPr>
              <p:cNvPr id="243" name="Group 242"/>
              <p:cNvGrpSpPr/>
              <p:nvPr/>
            </p:nvGrpSpPr>
            <p:grpSpPr>
              <a:xfrm>
                <a:off x="1826012" y="1992951"/>
                <a:ext cx="2469512" cy="2088618"/>
                <a:chOff x="1954023" y="1951038"/>
                <a:chExt cx="2490787" cy="2106612"/>
              </a:xfrm>
              <a:solidFill>
                <a:schemeClr val="accent2"/>
              </a:solidFill>
            </p:grpSpPr>
            <p:sp>
              <p:nvSpPr>
                <p:cNvPr id="244" name="Freeform 179"/>
                <p:cNvSpPr>
                  <a:spLocks/>
                </p:cNvSpPr>
                <p:nvPr/>
              </p:nvSpPr>
              <p:spPr bwMode="auto">
                <a:xfrm>
                  <a:off x="2998598" y="2182813"/>
                  <a:ext cx="109538" cy="150813"/>
                </a:xfrm>
                <a:custGeom>
                  <a:avLst/>
                  <a:gdLst>
                    <a:gd name="T0" fmla="*/ 5 w 69"/>
                    <a:gd name="T1" fmla="*/ 0 h 95"/>
                    <a:gd name="T2" fmla="*/ 5 w 69"/>
                    <a:gd name="T3" fmla="*/ 19 h 95"/>
                    <a:gd name="T4" fmla="*/ 5 w 69"/>
                    <a:gd name="T5" fmla="*/ 45 h 95"/>
                    <a:gd name="T6" fmla="*/ 17 w 69"/>
                    <a:gd name="T7" fmla="*/ 64 h 95"/>
                    <a:gd name="T8" fmla="*/ 2 w 69"/>
                    <a:gd name="T9" fmla="*/ 93 h 95"/>
                    <a:gd name="T10" fmla="*/ 0 w 69"/>
                    <a:gd name="T11" fmla="*/ 95 h 95"/>
                    <a:gd name="T12" fmla="*/ 52 w 69"/>
                    <a:gd name="T13" fmla="*/ 95 h 95"/>
                    <a:gd name="T14" fmla="*/ 69 w 69"/>
                    <a:gd name="T15" fmla="*/ 74 h 95"/>
                    <a:gd name="T16" fmla="*/ 33 w 69"/>
                    <a:gd name="T17" fmla="*/ 55 h 95"/>
                    <a:gd name="T18" fmla="*/ 33 w 69"/>
                    <a:gd name="T19" fmla="*/ 31 h 95"/>
                    <a:gd name="T20" fmla="*/ 21 w 69"/>
                    <a:gd name="T21" fmla="*/ 17 h 95"/>
                    <a:gd name="T22" fmla="*/ 36 w 69"/>
                    <a:gd name="T23" fmla="*/ 0 h 95"/>
                    <a:gd name="T24" fmla="*/ 5 w 69"/>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95">
                      <a:moveTo>
                        <a:pt x="5" y="0"/>
                      </a:moveTo>
                      <a:lnTo>
                        <a:pt x="5" y="19"/>
                      </a:lnTo>
                      <a:lnTo>
                        <a:pt x="5" y="45"/>
                      </a:lnTo>
                      <a:lnTo>
                        <a:pt x="17" y="64"/>
                      </a:lnTo>
                      <a:lnTo>
                        <a:pt x="2" y="93"/>
                      </a:lnTo>
                      <a:lnTo>
                        <a:pt x="0" y="95"/>
                      </a:lnTo>
                      <a:lnTo>
                        <a:pt x="52" y="95"/>
                      </a:lnTo>
                      <a:lnTo>
                        <a:pt x="69" y="74"/>
                      </a:lnTo>
                      <a:lnTo>
                        <a:pt x="33" y="55"/>
                      </a:lnTo>
                      <a:lnTo>
                        <a:pt x="33" y="31"/>
                      </a:lnTo>
                      <a:lnTo>
                        <a:pt x="21" y="17"/>
                      </a:lnTo>
                      <a:lnTo>
                        <a:pt x="36" y="0"/>
                      </a:lnTo>
                      <a:lnTo>
                        <a:pt x="5" y="0"/>
                      </a:ln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45" name="Freeform 180"/>
                <p:cNvSpPr>
                  <a:spLocks/>
                </p:cNvSpPr>
                <p:nvPr/>
              </p:nvSpPr>
              <p:spPr bwMode="auto">
                <a:xfrm>
                  <a:off x="2874773" y="2243138"/>
                  <a:ext cx="85725" cy="90488"/>
                </a:xfrm>
                <a:custGeom>
                  <a:avLst/>
                  <a:gdLst>
                    <a:gd name="T0" fmla="*/ 17 w 23"/>
                    <a:gd name="T1" fmla="*/ 3 h 24"/>
                    <a:gd name="T2" fmla="*/ 22 w 23"/>
                    <a:gd name="T3" fmla="*/ 3 h 24"/>
                    <a:gd name="T4" fmla="*/ 22 w 23"/>
                    <a:gd name="T5" fmla="*/ 13 h 24"/>
                    <a:gd name="T6" fmla="*/ 9 w 23"/>
                    <a:gd name="T7" fmla="*/ 24 h 24"/>
                    <a:gd name="T8" fmla="*/ 0 w 23"/>
                    <a:gd name="T9" fmla="*/ 19 h 24"/>
                    <a:gd name="T10" fmla="*/ 3 w 23"/>
                    <a:gd name="T11" fmla="*/ 13 h 24"/>
                    <a:gd name="T12" fmla="*/ 17 w 23"/>
                    <a:gd name="T13" fmla="*/ 3 h 24"/>
                  </a:gdLst>
                  <a:ahLst/>
                  <a:cxnLst>
                    <a:cxn ang="0">
                      <a:pos x="T0" y="T1"/>
                    </a:cxn>
                    <a:cxn ang="0">
                      <a:pos x="T2" y="T3"/>
                    </a:cxn>
                    <a:cxn ang="0">
                      <a:pos x="T4" y="T5"/>
                    </a:cxn>
                    <a:cxn ang="0">
                      <a:pos x="T6" y="T7"/>
                    </a:cxn>
                    <a:cxn ang="0">
                      <a:pos x="T8" y="T9"/>
                    </a:cxn>
                    <a:cxn ang="0">
                      <a:pos x="T10" y="T11"/>
                    </a:cxn>
                    <a:cxn ang="0">
                      <a:pos x="T12" y="T13"/>
                    </a:cxn>
                  </a:cxnLst>
                  <a:rect l="0" t="0" r="r" b="b"/>
                  <a:pathLst>
                    <a:path w="23" h="24">
                      <a:moveTo>
                        <a:pt x="17" y="3"/>
                      </a:moveTo>
                      <a:cubicBezTo>
                        <a:pt x="17" y="3"/>
                        <a:pt x="21" y="0"/>
                        <a:pt x="22" y="3"/>
                      </a:cubicBezTo>
                      <a:cubicBezTo>
                        <a:pt x="23" y="7"/>
                        <a:pt x="22" y="13"/>
                        <a:pt x="22" y="13"/>
                      </a:cubicBezTo>
                      <a:cubicBezTo>
                        <a:pt x="9" y="24"/>
                        <a:pt x="9" y="24"/>
                        <a:pt x="9" y="24"/>
                      </a:cubicBezTo>
                      <a:cubicBezTo>
                        <a:pt x="0" y="19"/>
                        <a:pt x="0" y="19"/>
                        <a:pt x="0" y="19"/>
                      </a:cubicBezTo>
                      <a:cubicBezTo>
                        <a:pt x="0" y="19"/>
                        <a:pt x="0" y="18"/>
                        <a:pt x="3" y="13"/>
                      </a:cubicBezTo>
                      <a:cubicBezTo>
                        <a:pt x="7" y="7"/>
                        <a:pt x="17" y="3"/>
                        <a:pt x="17" y="3"/>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46" name="Freeform 181"/>
                <p:cNvSpPr>
                  <a:spLocks/>
                </p:cNvSpPr>
                <p:nvPr/>
              </p:nvSpPr>
              <p:spPr bwMode="auto">
                <a:xfrm>
                  <a:off x="2984310" y="2390775"/>
                  <a:ext cx="6350" cy="6350"/>
                </a:xfrm>
                <a:custGeom>
                  <a:avLst/>
                  <a:gdLst>
                    <a:gd name="T0" fmla="*/ 2 w 2"/>
                    <a:gd name="T1" fmla="*/ 1 h 2"/>
                    <a:gd name="T2" fmla="*/ 0 w 2"/>
                    <a:gd name="T3" fmla="*/ 1 h 2"/>
                    <a:gd name="T4" fmla="*/ 2 w 2"/>
                    <a:gd name="T5" fmla="*/ 1 h 2"/>
                  </a:gdLst>
                  <a:ahLst/>
                  <a:cxnLst>
                    <a:cxn ang="0">
                      <a:pos x="T0" y="T1"/>
                    </a:cxn>
                    <a:cxn ang="0">
                      <a:pos x="T2" y="T3"/>
                    </a:cxn>
                    <a:cxn ang="0">
                      <a:pos x="T4" y="T5"/>
                    </a:cxn>
                  </a:cxnLst>
                  <a:rect l="0" t="0" r="r" b="b"/>
                  <a:pathLst>
                    <a:path w="2" h="2">
                      <a:moveTo>
                        <a:pt x="2" y="1"/>
                      </a:moveTo>
                      <a:cubicBezTo>
                        <a:pt x="1" y="2"/>
                        <a:pt x="0" y="2"/>
                        <a:pt x="0" y="1"/>
                      </a:cubicBezTo>
                      <a:cubicBezTo>
                        <a:pt x="0" y="0"/>
                        <a:pt x="1"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47" name="Freeform 182"/>
                <p:cNvSpPr>
                  <a:spLocks/>
                </p:cNvSpPr>
                <p:nvPr/>
              </p:nvSpPr>
              <p:spPr bwMode="auto">
                <a:xfrm>
                  <a:off x="2704910" y="1987550"/>
                  <a:ext cx="1739900" cy="2070100"/>
                </a:xfrm>
                <a:custGeom>
                  <a:avLst/>
                  <a:gdLst>
                    <a:gd name="T0" fmla="*/ 447 w 463"/>
                    <a:gd name="T1" fmla="*/ 298 h 551"/>
                    <a:gd name="T2" fmla="*/ 430 w 463"/>
                    <a:gd name="T3" fmla="*/ 275 h 551"/>
                    <a:gd name="T4" fmla="*/ 394 w 463"/>
                    <a:gd name="T5" fmla="*/ 252 h 551"/>
                    <a:gd name="T6" fmla="*/ 367 w 463"/>
                    <a:gd name="T7" fmla="*/ 255 h 551"/>
                    <a:gd name="T8" fmla="*/ 371 w 463"/>
                    <a:gd name="T9" fmla="*/ 289 h 551"/>
                    <a:gd name="T10" fmla="*/ 317 w 463"/>
                    <a:gd name="T11" fmla="*/ 278 h 551"/>
                    <a:gd name="T12" fmla="*/ 285 w 463"/>
                    <a:gd name="T13" fmla="*/ 251 h 551"/>
                    <a:gd name="T14" fmla="*/ 328 w 463"/>
                    <a:gd name="T15" fmla="*/ 324 h 551"/>
                    <a:gd name="T16" fmla="*/ 301 w 463"/>
                    <a:gd name="T17" fmla="*/ 398 h 551"/>
                    <a:gd name="T18" fmla="*/ 274 w 463"/>
                    <a:gd name="T19" fmla="*/ 480 h 551"/>
                    <a:gd name="T20" fmla="*/ 232 w 463"/>
                    <a:gd name="T21" fmla="*/ 541 h 551"/>
                    <a:gd name="T22" fmla="*/ 172 w 463"/>
                    <a:gd name="T23" fmla="*/ 501 h 551"/>
                    <a:gd name="T24" fmla="*/ 163 w 463"/>
                    <a:gd name="T25" fmla="*/ 427 h 551"/>
                    <a:gd name="T26" fmla="*/ 145 w 463"/>
                    <a:gd name="T27" fmla="*/ 360 h 551"/>
                    <a:gd name="T28" fmla="*/ 35 w 463"/>
                    <a:gd name="T29" fmla="*/ 359 h 551"/>
                    <a:gd name="T30" fmla="*/ 17 w 463"/>
                    <a:gd name="T31" fmla="*/ 243 h 551"/>
                    <a:gd name="T32" fmla="*/ 40 w 463"/>
                    <a:gd name="T33" fmla="*/ 216 h 551"/>
                    <a:gd name="T34" fmla="*/ 85 w 463"/>
                    <a:gd name="T35" fmla="*/ 190 h 551"/>
                    <a:gd name="T36" fmla="*/ 159 w 463"/>
                    <a:gd name="T37" fmla="*/ 180 h 551"/>
                    <a:gd name="T38" fmla="*/ 203 w 463"/>
                    <a:gd name="T39" fmla="*/ 216 h 551"/>
                    <a:gd name="T40" fmla="*/ 224 w 463"/>
                    <a:gd name="T41" fmla="*/ 208 h 551"/>
                    <a:gd name="T42" fmla="*/ 262 w 463"/>
                    <a:gd name="T43" fmla="*/ 210 h 551"/>
                    <a:gd name="T44" fmla="*/ 283 w 463"/>
                    <a:gd name="T45" fmla="*/ 212 h 551"/>
                    <a:gd name="T46" fmla="*/ 257 w 463"/>
                    <a:gd name="T47" fmla="*/ 184 h 551"/>
                    <a:gd name="T48" fmla="*/ 247 w 463"/>
                    <a:gd name="T49" fmla="*/ 164 h 551"/>
                    <a:gd name="T50" fmla="*/ 282 w 463"/>
                    <a:gd name="T51" fmla="*/ 152 h 551"/>
                    <a:gd name="T52" fmla="*/ 308 w 463"/>
                    <a:gd name="T53" fmla="*/ 154 h 551"/>
                    <a:gd name="T54" fmla="*/ 287 w 463"/>
                    <a:gd name="T55" fmla="*/ 128 h 551"/>
                    <a:gd name="T56" fmla="*/ 245 w 463"/>
                    <a:gd name="T57" fmla="*/ 134 h 551"/>
                    <a:gd name="T58" fmla="*/ 223 w 463"/>
                    <a:gd name="T59" fmla="*/ 152 h 551"/>
                    <a:gd name="T60" fmla="*/ 210 w 463"/>
                    <a:gd name="T61" fmla="*/ 166 h 551"/>
                    <a:gd name="T62" fmla="*/ 169 w 463"/>
                    <a:gd name="T63" fmla="*/ 128 h 551"/>
                    <a:gd name="T64" fmla="*/ 194 w 463"/>
                    <a:gd name="T65" fmla="*/ 158 h 551"/>
                    <a:gd name="T66" fmla="*/ 184 w 463"/>
                    <a:gd name="T67" fmla="*/ 169 h 551"/>
                    <a:gd name="T68" fmla="*/ 156 w 463"/>
                    <a:gd name="T69" fmla="*/ 145 h 551"/>
                    <a:gd name="T70" fmla="*/ 115 w 463"/>
                    <a:gd name="T71" fmla="*/ 140 h 551"/>
                    <a:gd name="T72" fmla="*/ 96 w 463"/>
                    <a:gd name="T73" fmla="*/ 169 h 551"/>
                    <a:gd name="T74" fmla="*/ 46 w 463"/>
                    <a:gd name="T75" fmla="*/ 166 h 551"/>
                    <a:gd name="T76" fmla="*/ 92 w 463"/>
                    <a:gd name="T77" fmla="*/ 126 h 551"/>
                    <a:gd name="T78" fmla="*/ 89 w 463"/>
                    <a:gd name="T79" fmla="*/ 102 h 551"/>
                    <a:gd name="T80" fmla="*/ 127 w 463"/>
                    <a:gd name="T81" fmla="*/ 80 h 551"/>
                    <a:gd name="T82" fmla="*/ 147 w 463"/>
                    <a:gd name="T83" fmla="*/ 60 h 551"/>
                    <a:gd name="T84" fmla="*/ 186 w 463"/>
                    <a:gd name="T85" fmla="*/ 77 h 551"/>
                    <a:gd name="T86" fmla="*/ 204 w 463"/>
                    <a:gd name="T87" fmla="*/ 64 h 551"/>
                    <a:gd name="T88" fmla="*/ 228 w 463"/>
                    <a:gd name="T89" fmla="*/ 60 h 551"/>
                    <a:gd name="T90" fmla="*/ 204 w 463"/>
                    <a:gd name="T91" fmla="*/ 42 h 551"/>
                    <a:gd name="T92" fmla="*/ 200 w 463"/>
                    <a:gd name="T93" fmla="*/ 18 h 551"/>
                    <a:gd name="T94" fmla="*/ 184 w 463"/>
                    <a:gd name="T95" fmla="*/ 42 h 551"/>
                    <a:gd name="T96" fmla="*/ 180 w 463"/>
                    <a:gd name="T97" fmla="*/ 60 h 551"/>
                    <a:gd name="T98" fmla="*/ 158 w 463"/>
                    <a:gd name="T99" fmla="*/ 59 h 551"/>
                    <a:gd name="T100" fmla="*/ 126 w 463"/>
                    <a:gd name="T101" fmla="*/ 52 h 551"/>
                    <a:gd name="T102" fmla="*/ 142 w 463"/>
                    <a:gd name="T103" fmla="*/ 29 h 551"/>
                    <a:gd name="T104" fmla="*/ 177 w 463"/>
                    <a:gd name="T105" fmla="*/ 6 h 551"/>
                    <a:gd name="T106" fmla="*/ 240 w 463"/>
                    <a:gd name="T107" fmla="*/ 10 h 551"/>
                    <a:gd name="T108" fmla="*/ 264 w 463"/>
                    <a:gd name="T109" fmla="*/ 27 h 551"/>
                    <a:gd name="T110" fmla="*/ 265 w 463"/>
                    <a:gd name="T111" fmla="*/ 38 h 551"/>
                    <a:gd name="T112" fmla="*/ 302 w 463"/>
                    <a:gd name="T113" fmla="*/ 26 h 551"/>
                    <a:gd name="T114" fmla="*/ 336 w 463"/>
                    <a:gd name="T115" fmla="*/ 39 h 551"/>
                    <a:gd name="T116" fmla="*/ 463 w 463"/>
                    <a:gd name="T117" fmla="*/ 270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3" h="551">
                      <a:moveTo>
                        <a:pt x="463" y="270"/>
                      </a:moveTo>
                      <a:cubicBezTo>
                        <a:pt x="456" y="277"/>
                        <a:pt x="456" y="277"/>
                        <a:pt x="456" y="277"/>
                      </a:cubicBezTo>
                      <a:cubicBezTo>
                        <a:pt x="447" y="298"/>
                        <a:pt x="447" y="298"/>
                        <a:pt x="447" y="298"/>
                      </a:cubicBezTo>
                      <a:cubicBezTo>
                        <a:pt x="436" y="329"/>
                        <a:pt x="436" y="329"/>
                        <a:pt x="436" y="329"/>
                      </a:cubicBezTo>
                      <a:cubicBezTo>
                        <a:pt x="436" y="329"/>
                        <a:pt x="436" y="315"/>
                        <a:pt x="436" y="311"/>
                      </a:cubicBezTo>
                      <a:cubicBezTo>
                        <a:pt x="436" y="308"/>
                        <a:pt x="430" y="275"/>
                        <a:pt x="430" y="275"/>
                      </a:cubicBezTo>
                      <a:cubicBezTo>
                        <a:pt x="418" y="269"/>
                        <a:pt x="418" y="269"/>
                        <a:pt x="418" y="269"/>
                      </a:cubicBezTo>
                      <a:cubicBezTo>
                        <a:pt x="411" y="254"/>
                        <a:pt x="411" y="254"/>
                        <a:pt x="411" y="254"/>
                      </a:cubicBezTo>
                      <a:cubicBezTo>
                        <a:pt x="394" y="252"/>
                        <a:pt x="394" y="252"/>
                        <a:pt x="394" y="252"/>
                      </a:cubicBezTo>
                      <a:cubicBezTo>
                        <a:pt x="345" y="224"/>
                        <a:pt x="345" y="224"/>
                        <a:pt x="345" y="224"/>
                      </a:cubicBezTo>
                      <a:cubicBezTo>
                        <a:pt x="349" y="241"/>
                        <a:pt x="349" y="241"/>
                        <a:pt x="349" y="241"/>
                      </a:cubicBezTo>
                      <a:cubicBezTo>
                        <a:pt x="367" y="255"/>
                        <a:pt x="367" y="255"/>
                        <a:pt x="367" y="255"/>
                      </a:cubicBezTo>
                      <a:cubicBezTo>
                        <a:pt x="380" y="254"/>
                        <a:pt x="380" y="254"/>
                        <a:pt x="380" y="254"/>
                      </a:cubicBezTo>
                      <a:cubicBezTo>
                        <a:pt x="384" y="272"/>
                        <a:pt x="384" y="272"/>
                        <a:pt x="384" y="272"/>
                      </a:cubicBezTo>
                      <a:cubicBezTo>
                        <a:pt x="371" y="289"/>
                        <a:pt x="371" y="289"/>
                        <a:pt x="371" y="289"/>
                      </a:cubicBezTo>
                      <a:cubicBezTo>
                        <a:pt x="335" y="314"/>
                        <a:pt x="335" y="314"/>
                        <a:pt x="335" y="314"/>
                      </a:cubicBezTo>
                      <a:cubicBezTo>
                        <a:pt x="335" y="314"/>
                        <a:pt x="327" y="308"/>
                        <a:pt x="327" y="301"/>
                      </a:cubicBezTo>
                      <a:cubicBezTo>
                        <a:pt x="327" y="294"/>
                        <a:pt x="318" y="282"/>
                        <a:pt x="317" y="278"/>
                      </a:cubicBezTo>
                      <a:cubicBezTo>
                        <a:pt x="316" y="273"/>
                        <a:pt x="293" y="243"/>
                        <a:pt x="293" y="243"/>
                      </a:cubicBezTo>
                      <a:cubicBezTo>
                        <a:pt x="275" y="226"/>
                        <a:pt x="275" y="226"/>
                        <a:pt x="275" y="226"/>
                      </a:cubicBezTo>
                      <a:cubicBezTo>
                        <a:pt x="285" y="251"/>
                        <a:pt x="285" y="251"/>
                        <a:pt x="285" y="251"/>
                      </a:cubicBezTo>
                      <a:cubicBezTo>
                        <a:pt x="292" y="277"/>
                        <a:pt x="292" y="277"/>
                        <a:pt x="292" y="277"/>
                      </a:cubicBezTo>
                      <a:cubicBezTo>
                        <a:pt x="307" y="298"/>
                        <a:pt x="307" y="298"/>
                        <a:pt x="307" y="298"/>
                      </a:cubicBezTo>
                      <a:cubicBezTo>
                        <a:pt x="328" y="324"/>
                        <a:pt x="328" y="324"/>
                        <a:pt x="328" y="324"/>
                      </a:cubicBezTo>
                      <a:cubicBezTo>
                        <a:pt x="356" y="327"/>
                        <a:pt x="356" y="327"/>
                        <a:pt x="356" y="327"/>
                      </a:cubicBezTo>
                      <a:cubicBezTo>
                        <a:pt x="335" y="363"/>
                        <a:pt x="335" y="363"/>
                        <a:pt x="335" y="363"/>
                      </a:cubicBezTo>
                      <a:cubicBezTo>
                        <a:pt x="301" y="398"/>
                        <a:pt x="301" y="398"/>
                        <a:pt x="301" y="398"/>
                      </a:cubicBezTo>
                      <a:cubicBezTo>
                        <a:pt x="303" y="415"/>
                        <a:pt x="303" y="415"/>
                        <a:pt x="303" y="415"/>
                      </a:cubicBezTo>
                      <a:cubicBezTo>
                        <a:pt x="299" y="456"/>
                        <a:pt x="299" y="456"/>
                        <a:pt x="299" y="456"/>
                      </a:cubicBezTo>
                      <a:cubicBezTo>
                        <a:pt x="274" y="480"/>
                        <a:pt x="274" y="480"/>
                        <a:pt x="274" y="480"/>
                      </a:cubicBezTo>
                      <a:cubicBezTo>
                        <a:pt x="264" y="502"/>
                        <a:pt x="264" y="502"/>
                        <a:pt x="264" y="502"/>
                      </a:cubicBezTo>
                      <a:cubicBezTo>
                        <a:pt x="259" y="521"/>
                        <a:pt x="259" y="521"/>
                        <a:pt x="259" y="521"/>
                      </a:cubicBezTo>
                      <a:cubicBezTo>
                        <a:pt x="232" y="541"/>
                        <a:pt x="232" y="541"/>
                        <a:pt x="232" y="541"/>
                      </a:cubicBezTo>
                      <a:cubicBezTo>
                        <a:pt x="195" y="551"/>
                        <a:pt x="195" y="551"/>
                        <a:pt x="195" y="551"/>
                      </a:cubicBezTo>
                      <a:cubicBezTo>
                        <a:pt x="182" y="527"/>
                        <a:pt x="182" y="527"/>
                        <a:pt x="182" y="527"/>
                      </a:cubicBezTo>
                      <a:cubicBezTo>
                        <a:pt x="172" y="501"/>
                        <a:pt x="172" y="501"/>
                        <a:pt x="172" y="501"/>
                      </a:cubicBezTo>
                      <a:cubicBezTo>
                        <a:pt x="172" y="501"/>
                        <a:pt x="161" y="478"/>
                        <a:pt x="161" y="474"/>
                      </a:cubicBezTo>
                      <a:cubicBezTo>
                        <a:pt x="161" y="471"/>
                        <a:pt x="172" y="451"/>
                        <a:pt x="172" y="451"/>
                      </a:cubicBezTo>
                      <a:cubicBezTo>
                        <a:pt x="172" y="451"/>
                        <a:pt x="165" y="430"/>
                        <a:pt x="163" y="427"/>
                      </a:cubicBezTo>
                      <a:cubicBezTo>
                        <a:pt x="161" y="424"/>
                        <a:pt x="146" y="395"/>
                        <a:pt x="146" y="395"/>
                      </a:cubicBezTo>
                      <a:cubicBezTo>
                        <a:pt x="155" y="371"/>
                        <a:pt x="155" y="371"/>
                        <a:pt x="155" y="371"/>
                      </a:cubicBezTo>
                      <a:cubicBezTo>
                        <a:pt x="145" y="360"/>
                        <a:pt x="145" y="360"/>
                        <a:pt x="145" y="360"/>
                      </a:cubicBezTo>
                      <a:cubicBezTo>
                        <a:pt x="121" y="360"/>
                        <a:pt x="121" y="360"/>
                        <a:pt x="121" y="360"/>
                      </a:cubicBezTo>
                      <a:cubicBezTo>
                        <a:pt x="75" y="371"/>
                        <a:pt x="75" y="371"/>
                        <a:pt x="75" y="371"/>
                      </a:cubicBezTo>
                      <a:cubicBezTo>
                        <a:pt x="75" y="371"/>
                        <a:pt x="39" y="364"/>
                        <a:pt x="35" y="359"/>
                      </a:cubicBezTo>
                      <a:cubicBezTo>
                        <a:pt x="30" y="353"/>
                        <a:pt x="4" y="323"/>
                        <a:pt x="2" y="319"/>
                      </a:cubicBezTo>
                      <a:cubicBezTo>
                        <a:pt x="0" y="316"/>
                        <a:pt x="2" y="297"/>
                        <a:pt x="2" y="294"/>
                      </a:cubicBezTo>
                      <a:cubicBezTo>
                        <a:pt x="2" y="290"/>
                        <a:pt x="16" y="246"/>
                        <a:pt x="17" y="243"/>
                      </a:cubicBezTo>
                      <a:cubicBezTo>
                        <a:pt x="18" y="240"/>
                        <a:pt x="28" y="233"/>
                        <a:pt x="28" y="233"/>
                      </a:cubicBezTo>
                      <a:cubicBezTo>
                        <a:pt x="40" y="223"/>
                        <a:pt x="40" y="223"/>
                        <a:pt x="40" y="223"/>
                      </a:cubicBezTo>
                      <a:cubicBezTo>
                        <a:pt x="40" y="216"/>
                        <a:pt x="40" y="216"/>
                        <a:pt x="40" y="216"/>
                      </a:cubicBezTo>
                      <a:cubicBezTo>
                        <a:pt x="40" y="216"/>
                        <a:pt x="50" y="205"/>
                        <a:pt x="51" y="201"/>
                      </a:cubicBezTo>
                      <a:cubicBezTo>
                        <a:pt x="52" y="198"/>
                        <a:pt x="64" y="191"/>
                        <a:pt x="64" y="191"/>
                      </a:cubicBezTo>
                      <a:cubicBezTo>
                        <a:pt x="85" y="190"/>
                        <a:pt x="85" y="190"/>
                        <a:pt x="85" y="190"/>
                      </a:cubicBezTo>
                      <a:cubicBezTo>
                        <a:pt x="108" y="180"/>
                        <a:pt x="108" y="180"/>
                        <a:pt x="108" y="180"/>
                      </a:cubicBezTo>
                      <a:cubicBezTo>
                        <a:pt x="150" y="171"/>
                        <a:pt x="150" y="171"/>
                        <a:pt x="150" y="171"/>
                      </a:cubicBezTo>
                      <a:cubicBezTo>
                        <a:pt x="159" y="180"/>
                        <a:pt x="159" y="180"/>
                        <a:pt x="159" y="180"/>
                      </a:cubicBezTo>
                      <a:cubicBezTo>
                        <a:pt x="153" y="195"/>
                        <a:pt x="153" y="195"/>
                        <a:pt x="153" y="195"/>
                      </a:cubicBezTo>
                      <a:cubicBezTo>
                        <a:pt x="191" y="216"/>
                        <a:pt x="191" y="216"/>
                        <a:pt x="191" y="216"/>
                      </a:cubicBezTo>
                      <a:cubicBezTo>
                        <a:pt x="203" y="216"/>
                        <a:pt x="203" y="216"/>
                        <a:pt x="203" y="216"/>
                      </a:cubicBezTo>
                      <a:cubicBezTo>
                        <a:pt x="204" y="206"/>
                        <a:pt x="204" y="206"/>
                        <a:pt x="204" y="206"/>
                      </a:cubicBezTo>
                      <a:cubicBezTo>
                        <a:pt x="215" y="201"/>
                        <a:pt x="215" y="201"/>
                        <a:pt x="215" y="201"/>
                      </a:cubicBezTo>
                      <a:cubicBezTo>
                        <a:pt x="224" y="208"/>
                        <a:pt x="224" y="208"/>
                        <a:pt x="224" y="208"/>
                      </a:cubicBezTo>
                      <a:cubicBezTo>
                        <a:pt x="236" y="209"/>
                        <a:pt x="236" y="209"/>
                        <a:pt x="236" y="209"/>
                      </a:cubicBezTo>
                      <a:cubicBezTo>
                        <a:pt x="253" y="216"/>
                        <a:pt x="253" y="216"/>
                        <a:pt x="253" y="216"/>
                      </a:cubicBezTo>
                      <a:cubicBezTo>
                        <a:pt x="262" y="210"/>
                        <a:pt x="262" y="210"/>
                        <a:pt x="262" y="210"/>
                      </a:cubicBezTo>
                      <a:cubicBezTo>
                        <a:pt x="270" y="217"/>
                        <a:pt x="270" y="217"/>
                        <a:pt x="270" y="217"/>
                      </a:cubicBezTo>
                      <a:cubicBezTo>
                        <a:pt x="279" y="212"/>
                        <a:pt x="279" y="212"/>
                        <a:pt x="279" y="212"/>
                      </a:cubicBezTo>
                      <a:cubicBezTo>
                        <a:pt x="283" y="212"/>
                        <a:pt x="283" y="212"/>
                        <a:pt x="283" y="212"/>
                      </a:cubicBezTo>
                      <a:cubicBezTo>
                        <a:pt x="286" y="203"/>
                        <a:pt x="286" y="203"/>
                        <a:pt x="286" y="203"/>
                      </a:cubicBezTo>
                      <a:cubicBezTo>
                        <a:pt x="284" y="184"/>
                        <a:pt x="284" y="184"/>
                        <a:pt x="284" y="184"/>
                      </a:cubicBezTo>
                      <a:cubicBezTo>
                        <a:pt x="257" y="184"/>
                        <a:pt x="257" y="184"/>
                        <a:pt x="257" y="184"/>
                      </a:cubicBezTo>
                      <a:cubicBezTo>
                        <a:pt x="244" y="174"/>
                        <a:pt x="244" y="174"/>
                        <a:pt x="244" y="174"/>
                      </a:cubicBezTo>
                      <a:cubicBezTo>
                        <a:pt x="238" y="164"/>
                        <a:pt x="238" y="164"/>
                        <a:pt x="238" y="164"/>
                      </a:cubicBezTo>
                      <a:cubicBezTo>
                        <a:pt x="247" y="164"/>
                        <a:pt x="247" y="164"/>
                        <a:pt x="247" y="164"/>
                      </a:cubicBezTo>
                      <a:cubicBezTo>
                        <a:pt x="253" y="159"/>
                        <a:pt x="253" y="159"/>
                        <a:pt x="253" y="159"/>
                      </a:cubicBezTo>
                      <a:cubicBezTo>
                        <a:pt x="270" y="152"/>
                        <a:pt x="270" y="152"/>
                        <a:pt x="270" y="152"/>
                      </a:cubicBezTo>
                      <a:cubicBezTo>
                        <a:pt x="282" y="152"/>
                        <a:pt x="282" y="152"/>
                        <a:pt x="282" y="152"/>
                      </a:cubicBezTo>
                      <a:cubicBezTo>
                        <a:pt x="295" y="163"/>
                        <a:pt x="295" y="163"/>
                        <a:pt x="295" y="163"/>
                      </a:cubicBezTo>
                      <a:cubicBezTo>
                        <a:pt x="308" y="161"/>
                        <a:pt x="308" y="161"/>
                        <a:pt x="308" y="161"/>
                      </a:cubicBezTo>
                      <a:cubicBezTo>
                        <a:pt x="308" y="154"/>
                        <a:pt x="308" y="154"/>
                        <a:pt x="308" y="154"/>
                      </a:cubicBezTo>
                      <a:cubicBezTo>
                        <a:pt x="308" y="154"/>
                        <a:pt x="296" y="138"/>
                        <a:pt x="290" y="134"/>
                      </a:cubicBezTo>
                      <a:cubicBezTo>
                        <a:pt x="285" y="129"/>
                        <a:pt x="296" y="127"/>
                        <a:pt x="296" y="127"/>
                      </a:cubicBezTo>
                      <a:cubicBezTo>
                        <a:pt x="296" y="127"/>
                        <a:pt x="292" y="124"/>
                        <a:pt x="287" y="128"/>
                      </a:cubicBezTo>
                      <a:cubicBezTo>
                        <a:pt x="283" y="131"/>
                        <a:pt x="262" y="128"/>
                        <a:pt x="262" y="128"/>
                      </a:cubicBezTo>
                      <a:cubicBezTo>
                        <a:pt x="254" y="128"/>
                        <a:pt x="254" y="128"/>
                        <a:pt x="254" y="128"/>
                      </a:cubicBezTo>
                      <a:cubicBezTo>
                        <a:pt x="254" y="128"/>
                        <a:pt x="248" y="132"/>
                        <a:pt x="245" y="134"/>
                      </a:cubicBezTo>
                      <a:cubicBezTo>
                        <a:pt x="241" y="137"/>
                        <a:pt x="241" y="142"/>
                        <a:pt x="241" y="142"/>
                      </a:cubicBezTo>
                      <a:cubicBezTo>
                        <a:pt x="250" y="152"/>
                        <a:pt x="250" y="152"/>
                        <a:pt x="250" y="152"/>
                      </a:cubicBezTo>
                      <a:cubicBezTo>
                        <a:pt x="223" y="152"/>
                        <a:pt x="223" y="152"/>
                        <a:pt x="223" y="152"/>
                      </a:cubicBezTo>
                      <a:cubicBezTo>
                        <a:pt x="220" y="163"/>
                        <a:pt x="220" y="163"/>
                        <a:pt x="220" y="163"/>
                      </a:cubicBezTo>
                      <a:cubicBezTo>
                        <a:pt x="220" y="163"/>
                        <a:pt x="225" y="170"/>
                        <a:pt x="222" y="167"/>
                      </a:cubicBezTo>
                      <a:cubicBezTo>
                        <a:pt x="220" y="164"/>
                        <a:pt x="210" y="166"/>
                        <a:pt x="210" y="166"/>
                      </a:cubicBezTo>
                      <a:cubicBezTo>
                        <a:pt x="200" y="154"/>
                        <a:pt x="200" y="154"/>
                        <a:pt x="200" y="154"/>
                      </a:cubicBezTo>
                      <a:cubicBezTo>
                        <a:pt x="200" y="148"/>
                        <a:pt x="200" y="148"/>
                        <a:pt x="200" y="148"/>
                      </a:cubicBezTo>
                      <a:cubicBezTo>
                        <a:pt x="169" y="128"/>
                        <a:pt x="169" y="128"/>
                        <a:pt x="169" y="128"/>
                      </a:cubicBezTo>
                      <a:cubicBezTo>
                        <a:pt x="163" y="128"/>
                        <a:pt x="163" y="128"/>
                        <a:pt x="163" y="128"/>
                      </a:cubicBezTo>
                      <a:cubicBezTo>
                        <a:pt x="168" y="134"/>
                        <a:pt x="168" y="134"/>
                        <a:pt x="168" y="134"/>
                      </a:cubicBezTo>
                      <a:cubicBezTo>
                        <a:pt x="194" y="158"/>
                        <a:pt x="194" y="158"/>
                        <a:pt x="194" y="158"/>
                      </a:cubicBezTo>
                      <a:cubicBezTo>
                        <a:pt x="188" y="157"/>
                        <a:pt x="188" y="157"/>
                        <a:pt x="188" y="157"/>
                      </a:cubicBezTo>
                      <a:cubicBezTo>
                        <a:pt x="188" y="166"/>
                        <a:pt x="188" y="166"/>
                        <a:pt x="188" y="166"/>
                      </a:cubicBezTo>
                      <a:cubicBezTo>
                        <a:pt x="184" y="169"/>
                        <a:pt x="184" y="169"/>
                        <a:pt x="184" y="169"/>
                      </a:cubicBezTo>
                      <a:cubicBezTo>
                        <a:pt x="184" y="158"/>
                        <a:pt x="184" y="158"/>
                        <a:pt x="184" y="158"/>
                      </a:cubicBezTo>
                      <a:cubicBezTo>
                        <a:pt x="172" y="152"/>
                        <a:pt x="172" y="152"/>
                        <a:pt x="172" y="152"/>
                      </a:cubicBezTo>
                      <a:cubicBezTo>
                        <a:pt x="156" y="145"/>
                        <a:pt x="156" y="145"/>
                        <a:pt x="156" y="145"/>
                      </a:cubicBezTo>
                      <a:cubicBezTo>
                        <a:pt x="146" y="134"/>
                        <a:pt x="146" y="134"/>
                        <a:pt x="146" y="134"/>
                      </a:cubicBezTo>
                      <a:cubicBezTo>
                        <a:pt x="129" y="140"/>
                        <a:pt x="129" y="140"/>
                        <a:pt x="129" y="140"/>
                      </a:cubicBezTo>
                      <a:cubicBezTo>
                        <a:pt x="115" y="140"/>
                        <a:pt x="115" y="140"/>
                        <a:pt x="115" y="140"/>
                      </a:cubicBezTo>
                      <a:cubicBezTo>
                        <a:pt x="109" y="149"/>
                        <a:pt x="109" y="149"/>
                        <a:pt x="109" y="149"/>
                      </a:cubicBezTo>
                      <a:cubicBezTo>
                        <a:pt x="96" y="161"/>
                        <a:pt x="96" y="161"/>
                        <a:pt x="96" y="161"/>
                      </a:cubicBezTo>
                      <a:cubicBezTo>
                        <a:pt x="96" y="169"/>
                        <a:pt x="96" y="169"/>
                        <a:pt x="96" y="169"/>
                      </a:cubicBezTo>
                      <a:cubicBezTo>
                        <a:pt x="66" y="182"/>
                        <a:pt x="66" y="182"/>
                        <a:pt x="66" y="182"/>
                      </a:cubicBezTo>
                      <a:cubicBezTo>
                        <a:pt x="51" y="172"/>
                        <a:pt x="51" y="172"/>
                        <a:pt x="51" y="172"/>
                      </a:cubicBezTo>
                      <a:cubicBezTo>
                        <a:pt x="46" y="166"/>
                        <a:pt x="46" y="166"/>
                        <a:pt x="46" y="166"/>
                      </a:cubicBezTo>
                      <a:cubicBezTo>
                        <a:pt x="51" y="140"/>
                        <a:pt x="51" y="140"/>
                        <a:pt x="51" y="140"/>
                      </a:cubicBezTo>
                      <a:cubicBezTo>
                        <a:pt x="86" y="140"/>
                        <a:pt x="86" y="140"/>
                        <a:pt x="86" y="140"/>
                      </a:cubicBezTo>
                      <a:cubicBezTo>
                        <a:pt x="92" y="126"/>
                        <a:pt x="92" y="126"/>
                        <a:pt x="92" y="126"/>
                      </a:cubicBezTo>
                      <a:cubicBezTo>
                        <a:pt x="86" y="118"/>
                        <a:pt x="86" y="118"/>
                        <a:pt x="86" y="118"/>
                      </a:cubicBezTo>
                      <a:cubicBezTo>
                        <a:pt x="86" y="118"/>
                        <a:pt x="79" y="110"/>
                        <a:pt x="76" y="108"/>
                      </a:cubicBezTo>
                      <a:cubicBezTo>
                        <a:pt x="79" y="106"/>
                        <a:pt x="86" y="100"/>
                        <a:pt x="89" y="102"/>
                      </a:cubicBezTo>
                      <a:cubicBezTo>
                        <a:pt x="92" y="106"/>
                        <a:pt x="103" y="102"/>
                        <a:pt x="103" y="102"/>
                      </a:cubicBezTo>
                      <a:cubicBezTo>
                        <a:pt x="115" y="90"/>
                        <a:pt x="115" y="90"/>
                        <a:pt x="115" y="90"/>
                      </a:cubicBezTo>
                      <a:cubicBezTo>
                        <a:pt x="127" y="80"/>
                        <a:pt x="127" y="80"/>
                        <a:pt x="127" y="80"/>
                      </a:cubicBezTo>
                      <a:cubicBezTo>
                        <a:pt x="144" y="80"/>
                        <a:pt x="144" y="80"/>
                        <a:pt x="144" y="80"/>
                      </a:cubicBezTo>
                      <a:cubicBezTo>
                        <a:pt x="141" y="67"/>
                        <a:pt x="141" y="67"/>
                        <a:pt x="141" y="67"/>
                      </a:cubicBezTo>
                      <a:cubicBezTo>
                        <a:pt x="147" y="60"/>
                        <a:pt x="147" y="60"/>
                        <a:pt x="147" y="60"/>
                      </a:cubicBezTo>
                      <a:cubicBezTo>
                        <a:pt x="147" y="60"/>
                        <a:pt x="147" y="69"/>
                        <a:pt x="149" y="72"/>
                      </a:cubicBezTo>
                      <a:cubicBezTo>
                        <a:pt x="152" y="76"/>
                        <a:pt x="171" y="82"/>
                        <a:pt x="171" y="82"/>
                      </a:cubicBezTo>
                      <a:cubicBezTo>
                        <a:pt x="186" y="77"/>
                        <a:pt x="186" y="77"/>
                        <a:pt x="186" y="77"/>
                      </a:cubicBezTo>
                      <a:cubicBezTo>
                        <a:pt x="194" y="79"/>
                        <a:pt x="194" y="79"/>
                        <a:pt x="194" y="79"/>
                      </a:cubicBezTo>
                      <a:cubicBezTo>
                        <a:pt x="204" y="73"/>
                        <a:pt x="204" y="73"/>
                        <a:pt x="204" y="73"/>
                      </a:cubicBezTo>
                      <a:cubicBezTo>
                        <a:pt x="204" y="64"/>
                        <a:pt x="204" y="64"/>
                        <a:pt x="204" y="64"/>
                      </a:cubicBezTo>
                      <a:cubicBezTo>
                        <a:pt x="213" y="64"/>
                        <a:pt x="213" y="64"/>
                        <a:pt x="213" y="64"/>
                      </a:cubicBezTo>
                      <a:cubicBezTo>
                        <a:pt x="213" y="60"/>
                        <a:pt x="213" y="60"/>
                        <a:pt x="213" y="60"/>
                      </a:cubicBezTo>
                      <a:cubicBezTo>
                        <a:pt x="228" y="60"/>
                        <a:pt x="228" y="60"/>
                        <a:pt x="228" y="60"/>
                      </a:cubicBezTo>
                      <a:cubicBezTo>
                        <a:pt x="240" y="48"/>
                        <a:pt x="240" y="48"/>
                        <a:pt x="240" y="48"/>
                      </a:cubicBezTo>
                      <a:cubicBezTo>
                        <a:pt x="209" y="48"/>
                        <a:pt x="209" y="48"/>
                        <a:pt x="209" y="48"/>
                      </a:cubicBezTo>
                      <a:cubicBezTo>
                        <a:pt x="204" y="42"/>
                        <a:pt x="204" y="42"/>
                        <a:pt x="204" y="42"/>
                      </a:cubicBezTo>
                      <a:cubicBezTo>
                        <a:pt x="204" y="34"/>
                        <a:pt x="204" y="34"/>
                        <a:pt x="204" y="34"/>
                      </a:cubicBezTo>
                      <a:cubicBezTo>
                        <a:pt x="215" y="24"/>
                        <a:pt x="215" y="24"/>
                        <a:pt x="215" y="24"/>
                      </a:cubicBezTo>
                      <a:cubicBezTo>
                        <a:pt x="200" y="18"/>
                        <a:pt x="200" y="18"/>
                        <a:pt x="200" y="18"/>
                      </a:cubicBezTo>
                      <a:cubicBezTo>
                        <a:pt x="197" y="25"/>
                        <a:pt x="197" y="25"/>
                        <a:pt x="197" y="25"/>
                      </a:cubicBezTo>
                      <a:cubicBezTo>
                        <a:pt x="182" y="35"/>
                        <a:pt x="182" y="35"/>
                        <a:pt x="182" y="35"/>
                      </a:cubicBezTo>
                      <a:cubicBezTo>
                        <a:pt x="184" y="42"/>
                        <a:pt x="184" y="42"/>
                        <a:pt x="184" y="42"/>
                      </a:cubicBezTo>
                      <a:cubicBezTo>
                        <a:pt x="184" y="42"/>
                        <a:pt x="192" y="41"/>
                        <a:pt x="190" y="44"/>
                      </a:cubicBezTo>
                      <a:cubicBezTo>
                        <a:pt x="188" y="47"/>
                        <a:pt x="182" y="52"/>
                        <a:pt x="182" y="52"/>
                      </a:cubicBezTo>
                      <a:cubicBezTo>
                        <a:pt x="180" y="60"/>
                        <a:pt x="180" y="60"/>
                        <a:pt x="180" y="60"/>
                      </a:cubicBezTo>
                      <a:cubicBezTo>
                        <a:pt x="170" y="65"/>
                        <a:pt x="170" y="65"/>
                        <a:pt x="170" y="65"/>
                      </a:cubicBezTo>
                      <a:cubicBezTo>
                        <a:pt x="164" y="66"/>
                        <a:pt x="164" y="66"/>
                        <a:pt x="164" y="66"/>
                      </a:cubicBezTo>
                      <a:cubicBezTo>
                        <a:pt x="158" y="59"/>
                        <a:pt x="158" y="59"/>
                        <a:pt x="158" y="59"/>
                      </a:cubicBezTo>
                      <a:cubicBezTo>
                        <a:pt x="152" y="48"/>
                        <a:pt x="152" y="48"/>
                        <a:pt x="152" y="48"/>
                      </a:cubicBezTo>
                      <a:cubicBezTo>
                        <a:pt x="132" y="55"/>
                        <a:pt x="132" y="55"/>
                        <a:pt x="132" y="55"/>
                      </a:cubicBezTo>
                      <a:cubicBezTo>
                        <a:pt x="126" y="52"/>
                        <a:pt x="126" y="52"/>
                        <a:pt x="126" y="52"/>
                      </a:cubicBezTo>
                      <a:cubicBezTo>
                        <a:pt x="124" y="42"/>
                        <a:pt x="124" y="42"/>
                        <a:pt x="124" y="42"/>
                      </a:cubicBezTo>
                      <a:cubicBezTo>
                        <a:pt x="124" y="42"/>
                        <a:pt x="120" y="33"/>
                        <a:pt x="124" y="33"/>
                      </a:cubicBezTo>
                      <a:cubicBezTo>
                        <a:pt x="128" y="33"/>
                        <a:pt x="142" y="29"/>
                        <a:pt x="142" y="29"/>
                      </a:cubicBezTo>
                      <a:cubicBezTo>
                        <a:pt x="148" y="18"/>
                        <a:pt x="148" y="18"/>
                        <a:pt x="148" y="18"/>
                      </a:cubicBezTo>
                      <a:cubicBezTo>
                        <a:pt x="161" y="13"/>
                        <a:pt x="161" y="13"/>
                        <a:pt x="161" y="13"/>
                      </a:cubicBezTo>
                      <a:cubicBezTo>
                        <a:pt x="177" y="6"/>
                        <a:pt x="177" y="6"/>
                        <a:pt x="177" y="6"/>
                      </a:cubicBezTo>
                      <a:cubicBezTo>
                        <a:pt x="195" y="0"/>
                        <a:pt x="195" y="0"/>
                        <a:pt x="195" y="0"/>
                      </a:cubicBezTo>
                      <a:cubicBezTo>
                        <a:pt x="223" y="0"/>
                        <a:pt x="223" y="0"/>
                        <a:pt x="223" y="0"/>
                      </a:cubicBezTo>
                      <a:cubicBezTo>
                        <a:pt x="223" y="0"/>
                        <a:pt x="237" y="8"/>
                        <a:pt x="240" y="10"/>
                      </a:cubicBezTo>
                      <a:cubicBezTo>
                        <a:pt x="244" y="12"/>
                        <a:pt x="253" y="13"/>
                        <a:pt x="257" y="16"/>
                      </a:cubicBezTo>
                      <a:cubicBezTo>
                        <a:pt x="262" y="18"/>
                        <a:pt x="273" y="20"/>
                        <a:pt x="273" y="20"/>
                      </a:cubicBezTo>
                      <a:cubicBezTo>
                        <a:pt x="264" y="27"/>
                        <a:pt x="264" y="27"/>
                        <a:pt x="264" y="27"/>
                      </a:cubicBezTo>
                      <a:cubicBezTo>
                        <a:pt x="250" y="24"/>
                        <a:pt x="250" y="24"/>
                        <a:pt x="250" y="24"/>
                      </a:cubicBezTo>
                      <a:cubicBezTo>
                        <a:pt x="254" y="32"/>
                        <a:pt x="254" y="32"/>
                        <a:pt x="254" y="32"/>
                      </a:cubicBezTo>
                      <a:cubicBezTo>
                        <a:pt x="265" y="38"/>
                        <a:pt x="265" y="38"/>
                        <a:pt x="265" y="38"/>
                      </a:cubicBezTo>
                      <a:cubicBezTo>
                        <a:pt x="265" y="38"/>
                        <a:pt x="274" y="35"/>
                        <a:pt x="277" y="35"/>
                      </a:cubicBezTo>
                      <a:cubicBezTo>
                        <a:pt x="281" y="35"/>
                        <a:pt x="285" y="27"/>
                        <a:pt x="289" y="29"/>
                      </a:cubicBezTo>
                      <a:cubicBezTo>
                        <a:pt x="289" y="29"/>
                        <a:pt x="300" y="23"/>
                        <a:pt x="302" y="26"/>
                      </a:cubicBezTo>
                      <a:cubicBezTo>
                        <a:pt x="304" y="29"/>
                        <a:pt x="304" y="29"/>
                        <a:pt x="304" y="29"/>
                      </a:cubicBezTo>
                      <a:cubicBezTo>
                        <a:pt x="304" y="29"/>
                        <a:pt x="315" y="33"/>
                        <a:pt x="320" y="35"/>
                      </a:cubicBezTo>
                      <a:cubicBezTo>
                        <a:pt x="326" y="37"/>
                        <a:pt x="336" y="39"/>
                        <a:pt x="336" y="39"/>
                      </a:cubicBezTo>
                      <a:cubicBezTo>
                        <a:pt x="336" y="39"/>
                        <a:pt x="338" y="40"/>
                        <a:pt x="342" y="41"/>
                      </a:cubicBezTo>
                      <a:cubicBezTo>
                        <a:pt x="342" y="41"/>
                        <a:pt x="342" y="41"/>
                        <a:pt x="342" y="41"/>
                      </a:cubicBezTo>
                      <a:cubicBezTo>
                        <a:pt x="410" y="96"/>
                        <a:pt x="455" y="178"/>
                        <a:pt x="463" y="270"/>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48" name="Freeform 183"/>
                <p:cNvSpPr>
                  <a:spLocks/>
                </p:cNvSpPr>
                <p:nvPr/>
              </p:nvSpPr>
              <p:spPr bwMode="auto">
                <a:xfrm>
                  <a:off x="2371535" y="1951038"/>
                  <a:ext cx="442913" cy="315913"/>
                </a:xfrm>
                <a:custGeom>
                  <a:avLst/>
                  <a:gdLst>
                    <a:gd name="T0" fmla="*/ 118 w 118"/>
                    <a:gd name="T1" fmla="*/ 6 h 84"/>
                    <a:gd name="T2" fmla="*/ 107 w 118"/>
                    <a:gd name="T3" fmla="*/ 12 h 84"/>
                    <a:gd name="T4" fmla="*/ 89 w 118"/>
                    <a:gd name="T5" fmla="*/ 25 h 84"/>
                    <a:gd name="T6" fmla="*/ 80 w 118"/>
                    <a:gd name="T7" fmla="*/ 31 h 84"/>
                    <a:gd name="T8" fmla="*/ 68 w 118"/>
                    <a:gd name="T9" fmla="*/ 45 h 84"/>
                    <a:gd name="T10" fmla="*/ 52 w 118"/>
                    <a:gd name="T11" fmla="*/ 51 h 84"/>
                    <a:gd name="T12" fmla="*/ 38 w 118"/>
                    <a:gd name="T13" fmla="*/ 80 h 84"/>
                    <a:gd name="T14" fmla="*/ 34 w 118"/>
                    <a:gd name="T15" fmla="*/ 82 h 84"/>
                    <a:gd name="T16" fmla="*/ 16 w 118"/>
                    <a:gd name="T17" fmla="*/ 82 h 84"/>
                    <a:gd name="T18" fmla="*/ 1 w 118"/>
                    <a:gd name="T19" fmla="*/ 81 h 84"/>
                    <a:gd name="T20" fmla="*/ 1 w 118"/>
                    <a:gd name="T21" fmla="*/ 69 h 84"/>
                    <a:gd name="T22" fmla="*/ 14 w 118"/>
                    <a:gd name="T23" fmla="*/ 54 h 84"/>
                    <a:gd name="T24" fmla="*/ 12 w 118"/>
                    <a:gd name="T25" fmla="*/ 50 h 84"/>
                    <a:gd name="T26" fmla="*/ 97 w 118"/>
                    <a:gd name="T27" fmla="*/ 0 h 84"/>
                    <a:gd name="T28" fmla="*/ 112 w 118"/>
                    <a:gd name="T29" fmla="*/ 6 h 84"/>
                    <a:gd name="T30" fmla="*/ 118 w 118"/>
                    <a:gd name="T31" fmla="*/ 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8" h="84">
                      <a:moveTo>
                        <a:pt x="118" y="6"/>
                      </a:moveTo>
                      <a:cubicBezTo>
                        <a:pt x="107" y="12"/>
                        <a:pt x="107" y="12"/>
                        <a:pt x="107" y="12"/>
                      </a:cubicBezTo>
                      <a:cubicBezTo>
                        <a:pt x="89" y="25"/>
                        <a:pt x="89" y="25"/>
                        <a:pt x="89" y="25"/>
                      </a:cubicBezTo>
                      <a:cubicBezTo>
                        <a:pt x="80" y="31"/>
                        <a:pt x="80" y="31"/>
                        <a:pt x="80" y="31"/>
                      </a:cubicBezTo>
                      <a:cubicBezTo>
                        <a:pt x="68" y="45"/>
                        <a:pt x="68" y="45"/>
                        <a:pt x="68" y="45"/>
                      </a:cubicBezTo>
                      <a:cubicBezTo>
                        <a:pt x="52" y="51"/>
                        <a:pt x="52" y="51"/>
                        <a:pt x="52" y="51"/>
                      </a:cubicBezTo>
                      <a:cubicBezTo>
                        <a:pt x="38" y="80"/>
                        <a:pt x="38" y="80"/>
                        <a:pt x="38" y="80"/>
                      </a:cubicBezTo>
                      <a:cubicBezTo>
                        <a:pt x="34" y="82"/>
                        <a:pt x="34" y="82"/>
                        <a:pt x="34" y="82"/>
                      </a:cubicBezTo>
                      <a:cubicBezTo>
                        <a:pt x="34" y="82"/>
                        <a:pt x="19" y="81"/>
                        <a:pt x="16" y="82"/>
                      </a:cubicBezTo>
                      <a:cubicBezTo>
                        <a:pt x="13" y="82"/>
                        <a:pt x="2" y="84"/>
                        <a:pt x="1" y="81"/>
                      </a:cubicBezTo>
                      <a:cubicBezTo>
                        <a:pt x="0" y="79"/>
                        <a:pt x="1" y="69"/>
                        <a:pt x="1" y="69"/>
                      </a:cubicBezTo>
                      <a:cubicBezTo>
                        <a:pt x="14" y="54"/>
                        <a:pt x="14" y="54"/>
                        <a:pt x="14" y="54"/>
                      </a:cubicBezTo>
                      <a:cubicBezTo>
                        <a:pt x="12" y="50"/>
                        <a:pt x="12" y="50"/>
                        <a:pt x="12" y="50"/>
                      </a:cubicBezTo>
                      <a:cubicBezTo>
                        <a:pt x="37" y="29"/>
                        <a:pt x="66" y="12"/>
                        <a:pt x="97" y="0"/>
                      </a:cubicBezTo>
                      <a:cubicBezTo>
                        <a:pt x="112" y="6"/>
                        <a:pt x="112" y="6"/>
                        <a:pt x="112" y="6"/>
                      </a:cubicBezTo>
                      <a:lnTo>
                        <a:pt x="118" y="6"/>
                      </a:ln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49" name="Line 184"/>
                <p:cNvSpPr>
                  <a:spLocks noChangeShapeType="1"/>
                </p:cNvSpPr>
                <p:nvPr/>
              </p:nvSpPr>
              <p:spPr bwMode="auto">
                <a:xfrm>
                  <a:off x="2006410" y="306228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50" name="Line 185"/>
                <p:cNvSpPr>
                  <a:spLocks noChangeShapeType="1"/>
                </p:cNvSpPr>
                <p:nvPr/>
              </p:nvSpPr>
              <p:spPr bwMode="auto">
                <a:xfrm>
                  <a:off x="2006410" y="306228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51" name="Freeform 186"/>
                <p:cNvSpPr>
                  <a:spLocks/>
                </p:cNvSpPr>
                <p:nvPr/>
              </p:nvSpPr>
              <p:spPr bwMode="auto">
                <a:xfrm>
                  <a:off x="1954023" y="2401888"/>
                  <a:ext cx="341313" cy="660400"/>
                </a:xfrm>
                <a:custGeom>
                  <a:avLst/>
                  <a:gdLst>
                    <a:gd name="T0" fmla="*/ 52 w 91"/>
                    <a:gd name="T1" fmla="*/ 62 h 176"/>
                    <a:gd name="T2" fmla="*/ 52 w 91"/>
                    <a:gd name="T3" fmla="*/ 74 h 176"/>
                    <a:gd name="T4" fmla="*/ 64 w 91"/>
                    <a:gd name="T5" fmla="*/ 74 h 176"/>
                    <a:gd name="T6" fmla="*/ 45 w 91"/>
                    <a:gd name="T7" fmla="*/ 85 h 176"/>
                    <a:gd name="T8" fmla="*/ 37 w 91"/>
                    <a:gd name="T9" fmla="*/ 99 h 176"/>
                    <a:gd name="T10" fmla="*/ 27 w 91"/>
                    <a:gd name="T11" fmla="*/ 107 h 176"/>
                    <a:gd name="T12" fmla="*/ 20 w 91"/>
                    <a:gd name="T13" fmla="*/ 131 h 176"/>
                    <a:gd name="T14" fmla="*/ 12 w 91"/>
                    <a:gd name="T15" fmla="*/ 150 h 176"/>
                    <a:gd name="T16" fmla="*/ 12 w 91"/>
                    <a:gd name="T17" fmla="*/ 154 h 176"/>
                    <a:gd name="T18" fmla="*/ 11 w 91"/>
                    <a:gd name="T19" fmla="*/ 159 h 176"/>
                    <a:gd name="T20" fmla="*/ 12 w 91"/>
                    <a:gd name="T21" fmla="*/ 171 h 176"/>
                    <a:gd name="T22" fmla="*/ 14 w 91"/>
                    <a:gd name="T23" fmla="*/ 176 h 176"/>
                    <a:gd name="T24" fmla="*/ 13 w 91"/>
                    <a:gd name="T25" fmla="*/ 176 h 176"/>
                    <a:gd name="T26" fmla="*/ 0 w 91"/>
                    <a:gd name="T27" fmla="*/ 166 h 176"/>
                    <a:gd name="T28" fmla="*/ 0 w 91"/>
                    <a:gd name="T29" fmla="*/ 166 h 176"/>
                    <a:gd name="T30" fmla="*/ 29 w 91"/>
                    <a:gd name="T31" fmla="*/ 50 h 176"/>
                    <a:gd name="T32" fmla="*/ 31 w 91"/>
                    <a:gd name="T33" fmla="*/ 54 h 176"/>
                    <a:gd name="T34" fmla="*/ 36 w 91"/>
                    <a:gd name="T35" fmla="*/ 49 h 176"/>
                    <a:gd name="T36" fmla="*/ 41 w 91"/>
                    <a:gd name="T37" fmla="*/ 38 h 176"/>
                    <a:gd name="T38" fmla="*/ 50 w 91"/>
                    <a:gd name="T39" fmla="*/ 32 h 176"/>
                    <a:gd name="T40" fmla="*/ 53 w 91"/>
                    <a:gd name="T41" fmla="*/ 7 h 176"/>
                    <a:gd name="T42" fmla="*/ 54 w 91"/>
                    <a:gd name="T43" fmla="*/ 6 h 176"/>
                    <a:gd name="T44" fmla="*/ 55 w 91"/>
                    <a:gd name="T45" fmla="*/ 5 h 176"/>
                    <a:gd name="T46" fmla="*/ 63 w 91"/>
                    <a:gd name="T47" fmla="*/ 6 h 176"/>
                    <a:gd name="T48" fmla="*/ 62 w 91"/>
                    <a:gd name="T49" fmla="*/ 14 h 176"/>
                    <a:gd name="T50" fmla="*/ 73 w 91"/>
                    <a:gd name="T51" fmla="*/ 8 h 176"/>
                    <a:gd name="T52" fmla="*/ 90 w 91"/>
                    <a:gd name="T53" fmla="*/ 19 h 176"/>
                    <a:gd name="T54" fmla="*/ 90 w 91"/>
                    <a:gd name="T55" fmla="*/ 38 h 176"/>
                    <a:gd name="T56" fmla="*/ 59 w 91"/>
                    <a:gd name="T57" fmla="*/ 50 h 176"/>
                    <a:gd name="T58" fmla="*/ 52 w 91"/>
                    <a:gd name="T59" fmla="*/ 6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1" h="176">
                      <a:moveTo>
                        <a:pt x="52" y="62"/>
                      </a:moveTo>
                      <a:cubicBezTo>
                        <a:pt x="52" y="74"/>
                        <a:pt x="52" y="74"/>
                        <a:pt x="52" y="74"/>
                      </a:cubicBezTo>
                      <a:cubicBezTo>
                        <a:pt x="64" y="74"/>
                        <a:pt x="64" y="74"/>
                        <a:pt x="64" y="74"/>
                      </a:cubicBezTo>
                      <a:cubicBezTo>
                        <a:pt x="45" y="85"/>
                        <a:pt x="45" y="85"/>
                        <a:pt x="45" y="85"/>
                      </a:cubicBezTo>
                      <a:cubicBezTo>
                        <a:pt x="37" y="99"/>
                        <a:pt x="37" y="99"/>
                        <a:pt x="37" y="99"/>
                      </a:cubicBezTo>
                      <a:cubicBezTo>
                        <a:pt x="27" y="107"/>
                        <a:pt x="27" y="107"/>
                        <a:pt x="27" y="107"/>
                      </a:cubicBezTo>
                      <a:cubicBezTo>
                        <a:pt x="27" y="107"/>
                        <a:pt x="20" y="126"/>
                        <a:pt x="20" y="131"/>
                      </a:cubicBezTo>
                      <a:cubicBezTo>
                        <a:pt x="20" y="135"/>
                        <a:pt x="12" y="150"/>
                        <a:pt x="12" y="150"/>
                      </a:cubicBezTo>
                      <a:cubicBezTo>
                        <a:pt x="12" y="154"/>
                        <a:pt x="12" y="154"/>
                        <a:pt x="12" y="154"/>
                      </a:cubicBezTo>
                      <a:cubicBezTo>
                        <a:pt x="12" y="154"/>
                        <a:pt x="12" y="156"/>
                        <a:pt x="11" y="159"/>
                      </a:cubicBezTo>
                      <a:cubicBezTo>
                        <a:pt x="11" y="163"/>
                        <a:pt x="11" y="168"/>
                        <a:pt x="12" y="171"/>
                      </a:cubicBezTo>
                      <a:cubicBezTo>
                        <a:pt x="13" y="173"/>
                        <a:pt x="13" y="175"/>
                        <a:pt x="14" y="176"/>
                      </a:cubicBezTo>
                      <a:cubicBezTo>
                        <a:pt x="13" y="176"/>
                        <a:pt x="13" y="176"/>
                        <a:pt x="13" y="176"/>
                      </a:cubicBezTo>
                      <a:cubicBezTo>
                        <a:pt x="12" y="172"/>
                        <a:pt x="4" y="168"/>
                        <a:pt x="0" y="166"/>
                      </a:cubicBezTo>
                      <a:cubicBezTo>
                        <a:pt x="0" y="166"/>
                        <a:pt x="0" y="166"/>
                        <a:pt x="0" y="166"/>
                      </a:cubicBezTo>
                      <a:cubicBezTo>
                        <a:pt x="4" y="125"/>
                        <a:pt x="13" y="86"/>
                        <a:pt x="29" y="50"/>
                      </a:cubicBezTo>
                      <a:cubicBezTo>
                        <a:pt x="30" y="53"/>
                        <a:pt x="31" y="54"/>
                        <a:pt x="31" y="54"/>
                      </a:cubicBezTo>
                      <a:cubicBezTo>
                        <a:pt x="36" y="49"/>
                        <a:pt x="36" y="49"/>
                        <a:pt x="36" y="49"/>
                      </a:cubicBezTo>
                      <a:cubicBezTo>
                        <a:pt x="41" y="38"/>
                        <a:pt x="41" y="38"/>
                        <a:pt x="41" y="38"/>
                      </a:cubicBezTo>
                      <a:cubicBezTo>
                        <a:pt x="50" y="32"/>
                        <a:pt x="50" y="32"/>
                        <a:pt x="50" y="32"/>
                      </a:cubicBezTo>
                      <a:cubicBezTo>
                        <a:pt x="53" y="7"/>
                        <a:pt x="53" y="7"/>
                        <a:pt x="53" y="7"/>
                      </a:cubicBezTo>
                      <a:cubicBezTo>
                        <a:pt x="54" y="6"/>
                        <a:pt x="54" y="6"/>
                        <a:pt x="54" y="6"/>
                      </a:cubicBezTo>
                      <a:cubicBezTo>
                        <a:pt x="54" y="6"/>
                        <a:pt x="54" y="6"/>
                        <a:pt x="55" y="5"/>
                      </a:cubicBezTo>
                      <a:cubicBezTo>
                        <a:pt x="57" y="3"/>
                        <a:pt x="64" y="0"/>
                        <a:pt x="63" y="6"/>
                      </a:cubicBezTo>
                      <a:cubicBezTo>
                        <a:pt x="62" y="13"/>
                        <a:pt x="62" y="14"/>
                        <a:pt x="62" y="14"/>
                      </a:cubicBezTo>
                      <a:cubicBezTo>
                        <a:pt x="62" y="14"/>
                        <a:pt x="70" y="8"/>
                        <a:pt x="73" y="8"/>
                      </a:cubicBezTo>
                      <a:cubicBezTo>
                        <a:pt x="76" y="8"/>
                        <a:pt x="89" y="16"/>
                        <a:pt x="90" y="19"/>
                      </a:cubicBezTo>
                      <a:cubicBezTo>
                        <a:pt x="91" y="23"/>
                        <a:pt x="90" y="38"/>
                        <a:pt x="90" y="38"/>
                      </a:cubicBezTo>
                      <a:cubicBezTo>
                        <a:pt x="59" y="50"/>
                        <a:pt x="59" y="50"/>
                        <a:pt x="59" y="50"/>
                      </a:cubicBezTo>
                      <a:lnTo>
                        <a:pt x="52" y="62"/>
                      </a:ln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52" name="Freeform 187"/>
                <p:cNvSpPr>
                  <a:spLocks/>
                </p:cNvSpPr>
                <p:nvPr/>
              </p:nvSpPr>
              <p:spPr bwMode="auto">
                <a:xfrm>
                  <a:off x="1954023" y="3114675"/>
                  <a:ext cx="555625" cy="931863"/>
                </a:xfrm>
                <a:custGeom>
                  <a:avLst/>
                  <a:gdLst>
                    <a:gd name="T0" fmla="*/ 143 w 148"/>
                    <a:gd name="T1" fmla="*/ 187 h 248"/>
                    <a:gd name="T2" fmla="*/ 135 w 148"/>
                    <a:gd name="T3" fmla="*/ 207 h 248"/>
                    <a:gd name="T4" fmla="*/ 135 w 148"/>
                    <a:gd name="T5" fmla="*/ 228 h 248"/>
                    <a:gd name="T6" fmla="*/ 126 w 148"/>
                    <a:gd name="T7" fmla="*/ 228 h 248"/>
                    <a:gd name="T8" fmla="*/ 112 w 148"/>
                    <a:gd name="T9" fmla="*/ 230 h 248"/>
                    <a:gd name="T10" fmla="*/ 112 w 148"/>
                    <a:gd name="T11" fmla="*/ 248 h 248"/>
                    <a:gd name="T12" fmla="*/ 26 w 148"/>
                    <a:gd name="T13" fmla="*/ 127 h 248"/>
                    <a:gd name="T14" fmla="*/ 25 w 148"/>
                    <a:gd name="T15" fmla="*/ 125 h 248"/>
                    <a:gd name="T16" fmla="*/ 19 w 148"/>
                    <a:gd name="T17" fmla="*/ 95 h 248"/>
                    <a:gd name="T18" fmla="*/ 21 w 148"/>
                    <a:gd name="T19" fmla="*/ 81 h 248"/>
                    <a:gd name="T20" fmla="*/ 16 w 148"/>
                    <a:gd name="T21" fmla="*/ 73 h 248"/>
                    <a:gd name="T22" fmla="*/ 10 w 148"/>
                    <a:gd name="T23" fmla="*/ 58 h 248"/>
                    <a:gd name="T24" fmla="*/ 4 w 148"/>
                    <a:gd name="T25" fmla="*/ 46 h 248"/>
                    <a:gd name="T26" fmla="*/ 4 w 148"/>
                    <a:gd name="T27" fmla="*/ 45 h 248"/>
                    <a:gd name="T28" fmla="*/ 4 w 148"/>
                    <a:gd name="T29" fmla="*/ 45 h 248"/>
                    <a:gd name="T30" fmla="*/ 3 w 148"/>
                    <a:gd name="T31" fmla="*/ 45 h 248"/>
                    <a:gd name="T32" fmla="*/ 3 w 148"/>
                    <a:gd name="T33" fmla="*/ 39 h 248"/>
                    <a:gd name="T34" fmla="*/ 0 w 148"/>
                    <a:gd name="T35" fmla="*/ 0 h 248"/>
                    <a:gd name="T36" fmla="*/ 6 w 148"/>
                    <a:gd name="T37" fmla="*/ 9 h 248"/>
                    <a:gd name="T38" fmla="*/ 6 w 148"/>
                    <a:gd name="T39" fmla="*/ 28 h 248"/>
                    <a:gd name="T40" fmla="*/ 7 w 148"/>
                    <a:gd name="T41" fmla="*/ 29 h 248"/>
                    <a:gd name="T42" fmla="*/ 9 w 148"/>
                    <a:gd name="T43" fmla="*/ 32 h 248"/>
                    <a:gd name="T44" fmla="*/ 16 w 148"/>
                    <a:gd name="T45" fmla="*/ 58 h 248"/>
                    <a:gd name="T46" fmla="*/ 16 w 148"/>
                    <a:gd name="T47" fmla="*/ 66 h 248"/>
                    <a:gd name="T48" fmla="*/ 35 w 148"/>
                    <a:gd name="T49" fmla="*/ 74 h 248"/>
                    <a:gd name="T50" fmla="*/ 49 w 148"/>
                    <a:gd name="T51" fmla="*/ 87 h 248"/>
                    <a:gd name="T52" fmla="*/ 68 w 148"/>
                    <a:gd name="T53" fmla="*/ 109 h 248"/>
                    <a:gd name="T54" fmla="*/ 79 w 148"/>
                    <a:gd name="T55" fmla="*/ 119 h 248"/>
                    <a:gd name="T56" fmla="*/ 79 w 148"/>
                    <a:gd name="T57" fmla="*/ 135 h 248"/>
                    <a:gd name="T58" fmla="*/ 90 w 148"/>
                    <a:gd name="T59" fmla="*/ 144 h 248"/>
                    <a:gd name="T60" fmla="*/ 98 w 148"/>
                    <a:gd name="T61" fmla="*/ 144 h 248"/>
                    <a:gd name="T62" fmla="*/ 112 w 148"/>
                    <a:gd name="T63" fmla="*/ 150 h 248"/>
                    <a:gd name="T64" fmla="*/ 125 w 148"/>
                    <a:gd name="T65" fmla="*/ 157 h 248"/>
                    <a:gd name="T66" fmla="*/ 141 w 148"/>
                    <a:gd name="T67" fmla="*/ 166 h 248"/>
                    <a:gd name="T68" fmla="*/ 148 w 148"/>
                    <a:gd name="T69" fmla="*/ 177 h 248"/>
                    <a:gd name="T70" fmla="*/ 143 w 148"/>
                    <a:gd name="T71" fmla="*/ 18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8" h="248">
                      <a:moveTo>
                        <a:pt x="143" y="187"/>
                      </a:moveTo>
                      <a:cubicBezTo>
                        <a:pt x="143" y="187"/>
                        <a:pt x="134" y="201"/>
                        <a:pt x="135" y="207"/>
                      </a:cubicBezTo>
                      <a:cubicBezTo>
                        <a:pt x="136" y="212"/>
                        <a:pt x="135" y="228"/>
                        <a:pt x="135" y="228"/>
                      </a:cubicBezTo>
                      <a:cubicBezTo>
                        <a:pt x="126" y="228"/>
                        <a:pt x="126" y="228"/>
                        <a:pt x="126" y="228"/>
                      </a:cubicBezTo>
                      <a:cubicBezTo>
                        <a:pt x="112" y="230"/>
                        <a:pt x="112" y="230"/>
                        <a:pt x="112" y="230"/>
                      </a:cubicBezTo>
                      <a:cubicBezTo>
                        <a:pt x="112" y="248"/>
                        <a:pt x="112" y="248"/>
                        <a:pt x="112" y="248"/>
                      </a:cubicBezTo>
                      <a:cubicBezTo>
                        <a:pt x="75" y="215"/>
                        <a:pt x="45" y="174"/>
                        <a:pt x="26" y="127"/>
                      </a:cubicBezTo>
                      <a:cubicBezTo>
                        <a:pt x="26" y="126"/>
                        <a:pt x="25" y="126"/>
                        <a:pt x="25" y="125"/>
                      </a:cubicBezTo>
                      <a:cubicBezTo>
                        <a:pt x="19" y="95"/>
                        <a:pt x="19" y="95"/>
                        <a:pt x="19" y="95"/>
                      </a:cubicBezTo>
                      <a:cubicBezTo>
                        <a:pt x="21" y="81"/>
                        <a:pt x="21" y="81"/>
                        <a:pt x="21" y="81"/>
                      </a:cubicBezTo>
                      <a:cubicBezTo>
                        <a:pt x="16" y="73"/>
                        <a:pt x="16" y="73"/>
                        <a:pt x="16" y="73"/>
                      </a:cubicBezTo>
                      <a:cubicBezTo>
                        <a:pt x="10" y="58"/>
                        <a:pt x="10" y="58"/>
                        <a:pt x="10" y="58"/>
                      </a:cubicBezTo>
                      <a:cubicBezTo>
                        <a:pt x="4" y="46"/>
                        <a:pt x="4" y="46"/>
                        <a:pt x="4" y="46"/>
                      </a:cubicBezTo>
                      <a:cubicBezTo>
                        <a:pt x="4" y="45"/>
                        <a:pt x="4" y="45"/>
                        <a:pt x="4" y="45"/>
                      </a:cubicBezTo>
                      <a:cubicBezTo>
                        <a:pt x="4" y="45"/>
                        <a:pt x="4" y="45"/>
                        <a:pt x="4" y="45"/>
                      </a:cubicBezTo>
                      <a:cubicBezTo>
                        <a:pt x="3" y="45"/>
                        <a:pt x="3" y="45"/>
                        <a:pt x="3" y="45"/>
                      </a:cubicBezTo>
                      <a:cubicBezTo>
                        <a:pt x="3" y="43"/>
                        <a:pt x="3" y="41"/>
                        <a:pt x="3" y="39"/>
                      </a:cubicBezTo>
                      <a:cubicBezTo>
                        <a:pt x="1" y="26"/>
                        <a:pt x="0" y="13"/>
                        <a:pt x="0" y="0"/>
                      </a:cubicBezTo>
                      <a:cubicBezTo>
                        <a:pt x="3" y="4"/>
                        <a:pt x="6" y="8"/>
                        <a:pt x="6" y="9"/>
                      </a:cubicBezTo>
                      <a:cubicBezTo>
                        <a:pt x="6" y="13"/>
                        <a:pt x="2" y="25"/>
                        <a:pt x="6" y="28"/>
                      </a:cubicBezTo>
                      <a:cubicBezTo>
                        <a:pt x="7" y="30"/>
                        <a:pt x="7" y="29"/>
                        <a:pt x="7" y="29"/>
                      </a:cubicBezTo>
                      <a:cubicBezTo>
                        <a:pt x="7" y="29"/>
                        <a:pt x="7" y="30"/>
                        <a:pt x="9" y="32"/>
                      </a:cubicBezTo>
                      <a:cubicBezTo>
                        <a:pt x="13" y="37"/>
                        <a:pt x="15" y="57"/>
                        <a:pt x="16" y="58"/>
                      </a:cubicBezTo>
                      <a:cubicBezTo>
                        <a:pt x="17" y="59"/>
                        <a:pt x="16" y="66"/>
                        <a:pt x="16" y="66"/>
                      </a:cubicBezTo>
                      <a:cubicBezTo>
                        <a:pt x="35" y="74"/>
                        <a:pt x="35" y="74"/>
                        <a:pt x="35" y="74"/>
                      </a:cubicBezTo>
                      <a:cubicBezTo>
                        <a:pt x="35" y="74"/>
                        <a:pt x="48" y="82"/>
                        <a:pt x="49" y="87"/>
                      </a:cubicBezTo>
                      <a:cubicBezTo>
                        <a:pt x="50" y="91"/>
                        <a:pt x="64" y="106"/>
                        <a:pt x="68" y="109"/>
                      </a:cubicBezTo>
                      <a:cubicBezTo>
                        <a:pt x="73" y="113"/>
                        <a:pt x="76" y="116"/>
                        <a:pt x="79" y="119"/>
                      </a:cubicBezTo>
                      <a:cubicBezTo>
                        <a:pt x="81" y="123"/>
                        <a:pt x="79" y="135"/>
                        <a:pt x="79" y="135"/>
                      </a:cubicBezTo>
                      <a:cubicBezTo>
                        <a:pt x="90" y="144"/>
                        <a:pt x="90" y="144"/>
                        <a:pt x="90" y="144"/>
                      </a:cubicBezTo>
                      <a:cubicBezTo>
                        <a:pt x="98" y="144"/>
                        <a:pt x="98" y="144"/>
                        <a:pt x="98" y="144"/>
                      </a:cubicBezTo>
                      <a:cubicBezTo>
                        <a:pt x="112" y="150"/>
                        <a:pt x="112" y="150"/>
                        <a:pt x="112" y="150"/>
                      </a:cubicBezTo>
                      <a:cubicBezTo>
                        <a:pt x="112" y="150"/>
                        <a:pt x="121" y="153"/>
                        <a:pt x="125" y="157"/>
                      </a:cubicBezTo>
                      <a:cubicBezTo>
                        <a:pt x="128" y="160"/>
                        <a:pt x="141" y="166"/>
                        <a:pt x="141" y="166"/>
                      </a:cubicBezTo>
                      <a:cubicBezTo>
                        <a:pt x="148" y="177"/>
                        <a:pt x="148" y="177"/>
                        <a:pt x="148" y="177"/>
                      </a:cubicBezTo>
                      <a:lnTo>
                        <a:pt x="143" y="187"/>
                      </a:ln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53" name="Freeform 188"/>
                <p:cNvSpPr>
                  <a:spLocks/>
                </p:cNvSpPr>
                <p:nvPr/>
              </p:nvSpPr>
              <p:spPr bwMode="auto">
                <a:xfrm>
                  <a:off x="3870135" y="3625850"/>
                  <a:ext cx="142875" cy="244475"/>
                </a:xfrm>
                <a:custGeom>
                  <a:avLst/>
                  <a:gdLst>
                    <a:gd name="T0" fmla="*/ 33 w 38"/>
                    <a:gd name="T1" fmla="*/ 5 h 65"/>
                    <a:gd name="T2" fmla="*/ 23 w 38"/>
                    <a:gd name="T3" fmla="*/ 19 h 65"/>
                    <a:gd name="T4" fmla="*/ 6 w 38"/>
                    <a:gd name="T5" fmla="*/ 30 h 65"/>
                    <a:gd name="T6" fmla="*/ 6 w 38"/>
                    <a:gd name="T7" fmla="*/ 44 h 65"/>
                    <a:gd name="T8" fmla="*/ 5 w 38"/>
                    <a:gd name="T9" fmla="*/ 52 h 65"/>
                    <a:gd name="T10" fmla="*/ 5 w 38"/>
                    <a:gd name="T11" fmla="*/ 63 h 65"/>
                    <a:gd name="T12" fmla="*/ 18 w 38"/>
                    <a:gd name="T13" fmla="*/ 63 h 65"/>
                    <a:gd name="T14" fmla="*/ 18 w 38"/>
                    <a:gd name="T15" fmla="*/ 45 h 65"/>
                    <a:gd name="T16" fmla="*/ 27 w 38"/>
                    <a:gd name="T17" fmla="*/ 35 h 65"/>
                    <a:gd name="T18" fmla="*/ 34 w 38"/>
                    <a:gd name="T19" fmla="*/ 20 h 65"/>
                    <a:gd name="T20" fmla="*/ 38 w 38"/>
                    <a:gd name="T21" fmla="*/ 12 h 65"/>
                    <a:gd name="T22" fmla="*/ 38 w 38"/>
                    <a:gd name="T23" fmla="*/ 0 h 65"/>
                    <a:gd name="T24" fmla="*/ 33 w 38"/>
                    <a:gd name="T25" fmla="*/ 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65">
                      <a:moveTo>
                        <a:pt x="33" y="5"/>
                      </a:moveTo>
                      <a:cubicBezTo>
                        <a:pt x="33" y="5"/>
                        <a:pt x="25" y="16"/>
                        <a:pt x="23" y="19"/>
                      </a:cubicBezTo>
                      <a:cubicBezTo>
                        <a:pt x="22" y="22"/>
                        <a:pt x="6" y="30"/>
                        <a:pt x="6" y="30"/>
                      </a:cubicBezTo>
                      <a:cubicBezTo>
                        <a:pt x="6" y="30"/>
                        <a:pt x="4" y="40"/>
                        <a:pt x="6" y="44"/>
                      </a:cubicBezTo>
                      <a:cubicBezTo>
                        <a:pt x="7" y="47"/>
                        <a:pt x="10" y="48"/>
                        <a:pt x="5" y="52"/>
                      </a:cubicBezTo>
                      <a:cubicBezTo>
                        <a:pt x="0" y="55"/>
                        <a:pt x="2" y="61"/>
                        <a:pt x="5" y="63"/>
                      </a:cubicBezTo>
                      <a:cubicBezTo>
                        <a:pt x="8" y="65"/>
                        <a:pt x="18" y="63"/>
                        <a:pt x="18" y="63"/>
                      </a:cubicBezTo>
                      <a:cubicBezTo>
                        <a:pt x="18" y="45"/>
                        <a:pt x="18" y="45"/>
                        <a:pt x="18" y="45"/>
                      </a:cubicBezTo>
                      <a:cubicBezTo>
                        <a:pt x="27" y="35"/>
                        <a:pt x="27" y="35"/>
                        <a:pt x="27" y="35"/>
                      </a:cubicBezTo>
                      <a:cubicBezTo>
                        <a:pt x="34" y="20"/>
                        <a:pt x="34" y="20"/>
                        <a:pt x="34" y="20"/>
                      </a:cubicBezTo>
                      <a:cubicBezTo>
                        <a:pt x="38" y="12"/>
                        <a:pt x="38" y="12"/>
                        <a:pt x="38" y="12"/>
                      </a:cubicBezTo>
                      <a:cubicBezTo>
                        <a:pt x="38" y="0"/>
                        <a:pt x="38" y="0"/>
                        <a:pt x="38" y="0"/>
                      </a:cubicBezTo>
                      <a:lnTo>
                        <a:pt x="33" y="5"/>
                      </a:ln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grpSp>
        </p:grpSp>
        <p:sp>
          <p:nvSpPr>
            <p:cNvPr id="232" name="Oval 231"/>
            <p:cNvSpPr/>
            <p:nvPr/>
          </p:nvSpPr>
          <p:spPr>
            <a:xfrm>
              <a:off x="2806499" y="3198965"/>
              <a:ext cx="112628" cy="1084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endParaRPr lang="en-US" sz="1687" kern="0">
                <a:solidFill>
                  <a:sysClr val="windowText" lastClr="000000"/>
                </a:solidFill>
                <a:latin typeface="Calibri" panose="020F0502020204030204"/>
              </a:endParaRPr>
            </a:p>
          </p:txBody>
        </p:sp>
        <p:sp>
          <p:nvSpPr>
            <p:cNvPr id="233" name="Oval 232"/>
            <p:cNvSpPr/>
            <p:nvPr/>
          </p:nvSpPr>
          <p:spPr>
            <a:xfrm>
              <a:off x="2681390" y="3178550"/>
              <a:ext cx="112628" cy="1084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endParaRPr lang="en-US" sz="1687" kern="0">
                <a:solidFill>
                  <a:sysClr val="windowText" lastClr="000000"/>
                </a:solidFill>
                <a:latin typeface="Calibri" panose="020F0502020204030204"/>
              </a:endParaRPr>
            </a:p>
          </p:txBody>
        </p:sp>
        <p:sp>
          <p:nvSpPr>
            <p:cNvPr id="234" name="Oval 233"/>
            <p:cNvSpPr/>
            <p:nvPr/>
          </p:nvSpPr>
          <p:spPr>
            <a:xfrm>
              <a:off x="2739116" y="3279657"/>
              <a:ext cx="112628" cy="1084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endParaRPr lang="en-US" sz="1687" kern="0">
                <a:solidFill>
                  <a:sysClr val="windowText" lastClr="000000"/>
                </a:solidFill>
                <a:latin typeface="Calibri" panose="020F0502020204030204"/>
              </a:endParaRPr>
            </a:p>
          </p:txBody>
        </p:sp>
        <p:sp>
          <p:nvSpPr>
            <p:cNvPr id="235" name="Oval 234"/>
            <p:cNvSpPr/>
            <p:nvPr/>
          </p:nvSpPr>
          <p:spPr>
            <a:xfrm>
              <a:off x="2605124" y="3054375"/>
              <a:ext cx="112628" cy="1084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endParaRPr lang="en-US" sz="1687" kern="0">
                <a:solidFill>
                  <a:sysClr val="windowText" lastClr="000000"/>
                </a:solidFill>
                <a:latin typeface="Calibri" panose="020F0502020204030204"/>
              </a:endParaRPr>
            </a:p>
          </p:txBody>
        </p:sp>
        <p:sp>
          <p:nvSpPr>
            <p:cNvPr id="236" name="Oval 235"/>
            <p:cNvSpPr/>
            <p:nvPr/>
          </p:nvSpPr>
          <p:spPr>
            <a:xfrm>
              <a:off x="1416373" y="3525137"/>
              <a:ext cx="112628" cy="1084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endParaRPr lang="en-US" sz="1687" kern="0">
                <a:solidFill>
                  <a:sysClr val="windowText" lastClr="000000"/>
                </a:solidFill>
                <a:latin typeface="Calibri" panose="020F0502020204030204"/>
              </a:endParaRPr>
            </a:p>
          </p:txBody>
        </p:sp>
        <p:sp>
          <p:nvSpPr>
            <p:cNvPr id="237" name="Oval 236"/>
            <p:cNvSpPr/>
            <p:nvPr/>
          </p:nvSpPr>
          <p:spPr>
            <a:xfrm>
              <a:off x="1406145" y="3656470"/>
              <a:ext cx="112628" cy="1084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endParaRPr lang="en-US" sz="1687" kern="0">
                <a:solidFill>
                  <a:sysClr val="windowText" lastClr="000000"/>
                </a:solidFill>
                <a:latin typeface="Calibri" panose="020F0502020204030204"/>
              </a:endParaRPr>
            </a:p>
          </p:txBody>
        </p:sp>
        <p:sp>
          <p:nvSpPr>
            <p:cNvPr id="238" name="Oval 237"/>
            <p:cNvSpPr/>
            <p:nvPr/>
          </p:nvSpPr>
          <p:spPr>
            <a:xfrm>
              <a:off x="1314978" y="3740409"/>
              <a:ext cx="112628" cy="1084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endParaRPr lang="en-US" sz="1687" kern="0">
                <a:solidFill>
                  <a:sysClr val="windowText" lastClr="000000"/>
                </a:solidFill>
                <a:latin typeface="Calibri" panose="020F0502020204030204"/>
              </a:endParaRPr>
            </a:p>
          </p:txBody>
        </p:sp>
        <p:sp>
          <p:nvSpPr>
            <p:cNvPr id="239" name="Oval 238"/>
            <p:cNvSpPr/>
            <p:nvPr/>
          </p:nvSpPr>
          <p:spPr>
            <a:xfrm>
              <a:off x="1606003" y="4819579"/>
              <a:ext cx="112628" cy="1084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endParaRPr lang="en-US" sz="1687" kern="0">
                <a:solidFill>
                  <a:sysClr val="windowText" lastClr="000000"/>
                </a:solidFill>
                <a:latin typeface="Calibri" panose="020F0502020204030204"/>
              </a:endParaRPr>
            </a:p>
          </p:txBody>
        </p:sp>
        <p:sp>
          <p:nvSpPr>
            <p:cNvPr id="240" name="Oval 239"/>
            <p:cNvSpPr/>
            <p:nvPr/>
          </p:nvSpPr>
          <p:spPr>
            <a:xfrm>
              <a:off x="4392535" y="3989292"/>
              <a:ext cx="112628" cy="1084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endParaRPr lang="en-US" sz="1687" kern="0">
                <a:solidFill>
                  <a:sysClr val="windowText" lastClr="000000"/>
                </a:solidFill>
                <a:latin typeface="Calibri" panose="020F0502020204030204"/>
              </a:endParaRPr>
            </a:p>
          </p:txBody>
        </p:sp>
        <p:sp>
          <p:nvSpPr>
            <p:cNvPr id="241" name="Oval 240"/>
            <p:cNvSpPr/>
            <p:nvPr/>
          </p:nvSpPr>
          <p:spPr>
            <a:xfrm>
              <a:off x="4282123" y="3896024"/>
              <a:ext cx="112628" cy="1084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endParaRPr lang="en-US" sz="1687" kern="0">
                <a:solidFill>
                  <a:sysClr val="windowText" lastClr="000000"/>
                </a:solidFill>
                <a:latin typeface="Calibri" panose="020F0502020204030204"/>
              </a:endParaRPr>
            </a:p>
          </p:txBody>
        </p:sp>
      </p:grpSp>
      <p:grpSp>
        <p:nvGrpSpPr>
          <p:cNvPr id="261" name="Group 260"/>
          <p:cNvGrpSpPr/>
          <p:nvPr/>
        </p:nvGrpSpPr>
        <p:grpSpPr>
          <a:xfrm>
            <a:off x="116366" y="1921989"/>
            <a:ext cx="5552968" cy="5164125"/>
            <a:chOff x="640084" y="1806019"/>
            <a:chExt cx="5924006" cy="5509181"/>
          </a:xfrm>
        </p:grpSpPr>
        <p:sp>
          <p:nvSpPr>
            <p:cNvPr id="129" name="Freeform 5"/>
            <p:cNvSpPr>
              <a:spLocks/>
            </p:cNvSpPr>
            <p:nvPr/>
          </p:nvSpPr>
          <p:spPr bwMode="auto">
            <a:xfrm>
              <a:off x="640084" y="4573898"/>
              <a:ext cx="5924006" cy="2741302"/>
            </a:xfrm>
            <a:custGeom>
              <a:avLst/>
              <a:gdLst>
                <a:gd name="T0" fmla="*/ 0 w 2675"/>
                <a:gd name="T1" fmla="*/ 1110 h 1110"/>
                <a:gd name="T2" fmla="*/ 326 w 2675"/>
                <a:gd name="T3" fmla="*/ 573 h 1110"/>
                <a:gd name="T4" fmla="*/ 2321 w 2675"/>
                <a:gd name="T5" fmla="*/ 541 h 1110"/>
                <a:gd name="T6" fmla="*/ 2675 w 2675"/>
                <a:gd name="T7" fmla="*/ 1101 h 1110"/>
              </a:gdLst>
              <a:ahLst/>
              <a:cxnLst>
                <a:cxn ang="0">
                  <a:pos x="T0" y="T1"/>
                </a:cxn>
                <a:cxn ang="0">
                  <a:pos x="T2" y="T3"/>
                </a:cxn>
                <a:cxn ang="0">
                  <a:pos x="T4" y="T5"/>
                </a:cxn>
                <a:cxn ang="0">
                  <a:pos x="T6" y="T7"/>
                </a:cxn>
              </a:cxnLst>
              <a:rect l="0" t="0" r="r" b="b"/>
              <a:pathLst>
                <a:path w="2675" h="1110">
                  <a:moveTo>
                    <a:pt x="0" y="1110"/>
                  </a:moveTo>
                  <a:cubicBezTo>
                    <a:pt x="64" y="915"/>
                    <a:pt x="173" y="731"/>
                    <a:pt x="326" y="573"/>
                  </a:cubicBezTo>
                  <a:cubicBezTo>
                    <a:pt x="868" y="14"/>
                    <a:pt x="1761" y="0"/>
                    <a:pt x="2321" y="541"/>
                  </a:cubicBezTo>
                  <a:cubicBezTo>
                    <a:pt x="2487" y="703"/>
                    <a:pt x="2606" y="895"/>
                    <a:pt x="2675" y="1101"/>
                  </a:cubicBezTo>
                </a:path>
              </a:pathLst>
            </a:custGeom>
            <a:noFill/>
            <a:ln w="55563"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32" name="Oval 7"/>
            <p:cNvSpPr>
              <a:spLocks noChangeArrowheads="1"/>
            </p:cNvSpPr>
            <p:nvPr/>
          </p:nvSpPr>
          <p:spPr bwMode="auto">
            <a:xfrm>
              <a:off x="5335803" y="5471653"/>
              <a:ext cx="567215" cy="567215"/>
            </a:xfrm>
            <a:prstGeom prst="ellipse">
              <a:avLst/>
            </a:prstGeom>
            <a:solidFill>
              <a:schemeClr val="accent5"/>
            </a:solidFill>
            <a:ln>
              <a:solidFill>
                <a:schemeClr val="tx2"/>
              </a:solid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33" name="Oval 11"/>
            <p:cNvSpPr>
              <a:spLocks noChangeArrowheads="1"/>
            </p:cNvSpPr>
            <p:nvPr/>
          </p:nvSpPr>
          <p:spPr bwMode="auto">
            <a:xfrm>
              <a:off x="4411572" y="4792119"/>
              <a:ext cx="567215" cy="567215"/>
            </a:xfrm>
            <a:prstGeom prst="ellipse">
              <a:avLst/>
            </a:prstGeom>
            <a:solidFill>
              <a:schemeClr val="accent4"/>
            </a:solidFill>
            <a:ln>
              <a:solidFill>
                <a:schemeClr val="tx2"/>
              </a:solid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34" name="Oval 15"/>
            <p:cNvSpPr>
              <a:spLocks noChangeArrowheads="1"/>
            </p:cNvSpPr>
            <p:nvPr/>
          </p:nvSpPr>
          <p:spPr bwMode="auto">
            <a:xfrm>
              <a:off x="3324478" y="4565073"/>
              <a:ext cx="567215" cy="567215"/>
            </a:xfrm>
            <a:prstGeom prst="ellipse">
              <a:avLst/>
            </a:prstGeom>
            <a:solidFill>
              <a:schemeClr val="accent3"/>
            </a:solidFill>
            <a:ln>
              <a:solidFill>
                <a:schemeClr val="tx2"/>
              </a:solid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35" name="Oval 19"/>
            <p:cNvSpPr>
              <a:spLocks noChangeArrowheads="1"/>
            </p:cNvSpPr>
            <p:nvPr/>
          </p:nvSpPr>
          <p:spPr bwMode="auto">
            <a:xfrm>
              <a:off x="2238185" y="4792119"/>
              <a:ext cx="567215" cy="567215"/>
            </a:xfrm>
            <a:prstGeom prst="ellipse">
              <a:avLst/>
            </a:prstGeom>
            <a:solidFill>
              <a:schemeClr val="accent2"/>
            </a:solidFill>
            <a:ln>
              <a:solidFill>
                <a:schemeClr val="tx2"/>
              </a:solid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36" name="Oval 23"/>
            <p:cNvSpPr>
              <a:spLocks noChangeArrowheads="1"/>
            </p:cNvSpPr>
            <p:nvPr/>
          </p:nvSpPr>
          <p:spPr bwMode="auto">
            <a:xfrm>
              <a:off x="1313955" y="5471653"/>
              <a:ext cx="567215" cy="567215"/>
            </a:xfrm>
            <a:prstGeom prst="ellipse">
              <a:avLst/>
            </a:prstGeom>
            <a:solidFill>
              <a:schemeClr val="accent1"/>
            </a:solidFill>
            <a:ln>
              <a:solidFill>
                <a:schemeClr val="tx2"/>
              </a:solid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grpSp>
          <p:nvGrpSpPr>
            <p:cNvPr id="137" name="Group 136"/>
            <p:cNvGrpSpPr/>
            <p:nvPr/>
          </p:nvGrpSpPr>
          <p:grpSpPr>
            <a:xfrm>
              <a:off x="1793720" y="1806019"/>
              <a:ext cx="1453738" cy="3270910"/>
              <a:chOff x="1793720" y="1806019"/>
              <a:chExt cx="1453738" cy="3270910"/>
            </a:xfrm>
          </p:grpSpPr>
          <p:sp>
            <p:nvSpPr>
              <p:cNvPr id="138" name="Rectangle 30"/>
              <p:cNvSpPr>
                <a:spLocks noChangeArrowheads="1"/>
              </p:cNvSpPr>
              <p:nvPr/>
            </p:nvSpPr>
            <p:spPr bwMode="auto">
              <a:xfrm>
                <a:off x="2488498" y="2426184"/>
                <a:ext cx="36576" cy="2650745"/>
              </a:xfrm>
              <a:prstGeom prst="rect">
                <a:avLst/>
              </a:prstGeom>
              <a:solidFill>
                <a:schemeClr val="tx2">
                  <a:lumMod val="20000"/>
                  <a:lumOff val="80000"/>
                </a:schemeClr>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39" name="Oval 37"/>
              <p:cNvSpPr>
                <a:spLocks noChangeArrowheads="1"/>
              </p:cNvSpPr>
              <p:nvPr/>
            </p:nvSpPr>
            <p:spPr bwMode="auto">
              <a:xfrm>
                <a:off x="1793720" y="1806019"/>
                <a:ext cx="1453738" cy="1242738"/>
              </a:xfrm>
              <a:prstGeom prst="ellipse">
                <a:avLst/>
              </a:prstGeom>
              <a:solidFill>
                <a:schemeClr val="accent2"/>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40" name="Freeform 56"/>
              <p:cNvSpPr>
                <a:spLocks/>
              </p:cNvSpPr>
              <p:nvPr/>
            </p:nvSpPr>
            <p:spPr bwMode="auto">
              <a:xfrm>
                <a:off x="2142713" y="1806019"/>
                <a:ext cx="757356" cy="540739"/>
              </a:xfrm>
              <a:custGeom>
                <a:avLst/>
                <a:gdLst>
                  <a:gd name="T0" fmla="*/ 199 w 399"/>
                  <a:gd name="T1" fmla="*/ 0 h 285"/>
                  <a:gd name="T2" fmla="*/ 399 w 399"/>
                  <a:gd name="T3" fmla="*/ 48 h 285"/>
                  <a:gd name="T4" fmla="*/ 199 w 399"/>
                  <a:gd name="T5" fmla="*/ 285 h 285"/>
                  <a:gd name="T6" fmla="*/ 0 w 399"/>
                  <a:gd name="T7" fmla="*/ 48 h 285"/>
                  <a:gd name="T8" fmla="*/ 199 w 399"/>
                  <a:gd name="T9" fmla="*/ 0 h 285"/>
                </a:gdLst>
                <a:ahLst/>
                <a:cxnLst>
                  <a:cxn ang="0">
                    <a:pos x="T0" y="T1"/>
                  </a:cxn>
                  <a:cxn ang="0">
                    <a:pos x="T2" y="T3"/>
                  </a:cxn>
                  <a:cxn ang="0">
                    <a:pos x="T4" y="T5"/>
                  </a:cxn>
                  <a:cxn ang="0">
                    <a:pos x="T6" y="T7"/>
                  </a:cxn>
                  <a:cxn ang="0">
                    <a:pos x="T8" y="T9"/>
                  </a:cxn>
                </a:cxnLst>
                <a:rect l="0" t="0" r="r" b="b"/>
                <a:pathLst>
                  <a:path w="399" h="285">
                    <a:moveTo>
                      <a:pt x="199" y="0"/>
                    </a:moveTo>
                    <a:cubicBezTo>
                      <a:pt x="272" y="0"/>
                      <a:pt x="341" y="17"/>
                      <a:pt x="399" y="48"/>
                    </a:cubicBezTo>
                    <a:cubicBezTo>
                      <a:pt x="383" y="183"/>
                      <a:pt x="299" y="285"/>
                      <a:pt x="199" y="285"/>
                    </a:cubicBezTo>
                    <a:cubicBezTo>
                      <a:pt x="99" y="285"/>
                      <a:pt x="16" y="183"/>
                      <a:pt x="0" y="48"/>
                    </a:cubicBezTo>
                    <a:cubicBezTo>
                      <a:pt x="58" y="17"/>
                      <a:pt x="126" y="0"/>
                      <a:pt x="199" y="0"/>
                    </a:cubicBezTo>
                    <a:close/>
                  </a:path>
                </a:pathLst>
              </a:custGeom>
              <a:solidFill>
                <a:schemeClr val="tx2"/>
              </a:solidFill>
              <a:ln w="88900" cap="flat">
                <a:solidFill>
                  <a:srgbClr val="FFFFFF"/>
                </a:solidFill>
                <a:prstDash val="solid"/>
                <a:miter lim="800000"/>
                <a:headEnd/>
                <a:tailEnd/>
              </a:ln>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41" name="Freeform 57"/>
              <p:cNvSpPr>
                <a:spLocks/>
              </p:cNvSpPr>
              <p:nvPr/>
            </p:nvSpPr>
            <p:spPr bwMode="auto">
              <a:xfrm>
                <a:off x="2142713" y="1806019"/>
                <a:ext cx="757356" cy="540739"/>
              </a:xfrm>
              <a:custGeom>
                <a:avLst/>
                <a:gdLst>
                  <a:gd name="T0" fmla="*/ 199 w 399"/>
                  <a:gd name="T1" fmla="*/ 0 h 285"/>
                  <a:gd name="T2" fmla="*/ 399 w 399"/>
                  <a:gd name="T3" fmla="*/ 48 h 285"/>
                  <a:gd name="T4" fmla="*/ 199 w 399"/>
                  <a:gd name="T5" fmla="*/ 285 h 285"/>
                  <a:gd name="T6" fmla="*/ 0 w 399"/>
                  <a:gd name="T7" fmla="*/ 48 h 285"/>
                  <a:gd name="T8" fmla="*/ 199 w 399"/>
                  <a:gd name="T9" fmla="*/ 0 h 285"/>
                </a:gdLst>
                <a:ahLst/>
                <a:cxnLst>
                  <a:cxn ang="0">
                    <a:pos x="T0" y="T1"/>
                  </a:cxn>
                  <a:cxn ang="0">
                    <a:pos x="T2" y="T3"/>
                  </a:cxn>
                  <a:cxn ang="0">
                    <a:pos x="T4" y="T5"/>
                  </a:cxn>
                  <a:cxn ang="0">
                    <a:pos x="T6" y="T7"/>
                  </a:cxn>
                  <a:cxn ang="0">
                    <a:pos x="T8" y="T9"/>
                  </a:cxn>
                </a:cxnLst>
                <a:rect l="0" t="0" r="r" b="b"/>
                <a:pathLst>
                  <a:path w="399" h="285">
                    <a:moveTo>
                      <a:pt x="199" y="0"/>
                    </a:moveTo>
                    <a:cubicBezTo>
                      <a:pt x="272" y="0"/>
                      <a:pt x="341" y="17"/>
                      <a:pt x="399" y="48"/>
                    </a:cubicBezTo>
                    <a:cubicBezTo>
                      <a:pt x="383" y="183"/>
                      <a:pt x="299" y="285"/>
                      <a:pt x="199" y="285"/>
                    </a:cubicBezTo>
                    <a:cubicBezTo>
                      <a:pt x="99" y="285"/>
                      <a:pt x="16" y="183"/>
                      <a:pt x="0" y="48"/>
                    </a:cubicBezTo>
                    <a:cubicBezTo>
                      <a:pt x="58" y="17"/>
                      <a:pt x="126" y="0"/>
                      <a:pt x="199" y="0"/>
                    </a:cubicBezTo>
                    <a:close/>
                  </a:path>
                </a:pathLst>
              </a:custGeom>
              <a:solidFill>
                <a:schemeClr val="accent2">
                  <a:lumMod val="75000"/>
                </a:schemeClr>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42" name="Freeform 75"/>
              <p:cNvSpPr>
                <a:spLocks noEditPoints="1"/>
              </p:cNvSpPr>
              <p:nvPr/>
            </p:nvSpPr>
            <p:spPr bwMode="auto">
              <a:xfrm>
                <a:off x="2370562" y="1990544"/>
                <a:ext cx="162864" cy="246301"/>
              </a:xfrm>
              <a:custGeom>
                <a:avLst/>
                <a:gdLst>
                  <a:gd name="T0" fmla="*/ 42 w 86"/>
                  <a:gd name="T1" fmla="*/ 130 h 130"/>
                  <a:gd name="T2" fmla="*/ 0 w 86"/>
                  <a:gd name="T3" fmla="*/ 65 h 130"/>
                  <a:gd name="T4" fmla="*/ 44 w 86"/>
                  <a:gd name="T5" fmla="*/ 0 h 130"/>
                  <a:gd name="T6" fmla="*/ 86 w 86"/>
                  <a:gd name="T7" fmla="*/ 64 h 130"/>
                  <a:gd name="T8" fmla="*/ 42 w 86"/>
                  <a:gd name="T9" fmla="*/ 130 h 130"/>
                  <a:gd name="T10" fmla="*/ 43 w 86"/>
                  <a:gd name="T11" fmla="*/ 117 h 130"/>
                  <a:gd name="T12" fmla="*/ 68 w 86"/>
                  <a:gd name="T13" fmla="*/ 64 h 130"/>
                  <a:gd name="T14" fmla="*/ 43 w 86"/>
                  <a:gd name="T15" fmla="*/ 13 h 130"/>
                  <a:gd name="T16" fmla="*/ 17 w 86"/>
                  <a:gd name="T17" fmla="*/ 64 h 130"/>
                  <a:gd name="T18" fmla="*/ 43 w 86"/>
                  <a:gd name="T19" fmla="*/ 11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130">
                    <a:moveTo>
                      <a:pt x="42" y="130"/>
                    </a:moveTo>
                    <a:cubicBezTo>
                      <a:pt x="17" y="130"/>
                      <a:pt x="1" y="107"/>
                      <a:pt x="0" y="65"/>
                    </a:cubicBezTo>
                    <a:cubicBezTo>
                      <a:pt x="0" y="23"/>
                      <a:pt x="19" y="0"/>
                      <a:pt x="44" y="0"/>
                    </a:cubicBezTo>
                    <a:cubicBezTo>
                      <a:pt x="70" y="0"/>
                      <a:pt x="86" y="24"/>
                      <a:pt x="86" y="64"/>
                    </a:cubicBezTo>
                    <a:cubicBezTo>
                      <a:pt x="86" y="106"/>
                      <a:pt x="70" y="130"/>
                      <a:pt x="42" y="130"/>
                    </a:cubicBezTo>
                    <a:close/>
                    <a:moveTo>
                      <a:pt x="43" y="117"/>
                    </a:moveTo>
                    <a:cubicBezTo>
                      <a:pt x="60" y="117"/>
                      <a:pt x="68" y="96"/>
                      <a:pt x="68" y="64"/>
                    </a:cubicBezTo>
                    <a:cubicBezTo>
                      <a:pt x="68" y="34"/>
                      <a:pt x="60" y="13"/>
                      <a:pt x="43" y="13"/>
                    </a:cubicBezTo>
                    <a:cubicBezTo>
                      <a:pt x="27" y="13"/>
                      <a:pt x="17" y="33"/>
                      <a:pt x="17" y="64"/>
                    </a:cubicBezTo>
                    <a:cubicBezTo>
                      <a:pt x="17" y="97"/>
                      <a:pt x="27" y="117"/>
                      <a:pt x="43" y="1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43" name="Freeform 76"/>
              <p:cNvSpPr>
                <a:spLocks/>
              </p:cNvSpPr>
              <p:nvPr/>
            </p:nvSpPr>
            <p:spPr bwMode="auto">
              <a:xfrm>
                <a:off x="2562308" y="1990544"/>
                <a:ext cx="151632" cy="242290"/>
              </a:xfrm>
              <a:custGeom>
                <a:avLst/>
                <a:gdLst>
                  <a:gd name="T0" fmla="*/ 0 w 80"/>
                  <a:gd name="T1" fmla="*/ 128 h 128"/>
                  <a:gd name="T2" fmla="*/ 0 w 80"/>
                  <a:gd name="T3" fmla="*/ 117 h 128"/>
                  <a:gd name="T4" fmla="*/ 13 w 80"/>
                  <a:gd name="T5" fmla="*/ 104 h 128"/>
                  <a:gd name="T6" fmla="*/ 60 w 80"/>
                  <a:gd name="T7" fmla="*/ 39 h 128"/>
                  <a:gd name="T8" fmla="*/ 35 w 80"/>
                  <a:gd name="T9" fmla="*/ 14 h 128"/>
                  <a:gd name="T10" fmla="*/ 9 w 80"/>
                  <a:gd name="T11" fmla="*/ 25 h 128"/>
                  <a:gd name="T12" fmla="*/ 3 w 80"/>
                  <a:gd name="T13" fmla="*/ 13 h 128"/>
                  <a:gd name="T14" fmla="*/ 39 w 80"/>
                  <a:gd name="T15" fmla="*/ 0 h 128"/>
                  <a:gd name="T16" fmla="*/ 77 w 80"/>
                  <a:gd name="T17" fmla="*/ 37 h 128"/>
                  <a:gd name="T18" fmla="*/ 34 w 80"/>
                  <a:gd name="T19" fmla="*/ 104 h 128"/>
                  <a:gd name="T20" fmla="*/ 24 w 80"/>
                  <a:gd name="T21" fmla="*/ 113 h 128"/>
                  <a:gd name="T22" fmla="*/ 24 w 80"/>
                  <a:gd name="T23" fmla="*/ 114 h 128"/>
                  <a:gd name="T24" fmla="*/ 80 w 80"/>
                  <a:gd name="T25" fmla="*/ 114 h 128"/>
                  <a:gd name="T26" fmla="*/ 80 w 80"/>
                  <a:gd name="T27" fmla="*/ 128 h 128"/>
                  <a:gd name="T28" fmla="*/ 0 w 80"/>
                  <a:gd name="T2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128">
                    <a:moveTo>
                      <a:pt x="0" y="128"/>
                    </a:moveTo>
                    <a:cubicBezTo>
                      <a:pt x="0" y="117"/>
                      <a:pt x="0" y="117"/>
                      <a:pt x="0" y="117"/>
                    </a:cubicBezTo>
                    <a:cubicBezTo>
                      <a:pt x="13" y="104"/>
                      <a:pt x="13" y="104"/>
                      <a:pt x="13" y="104"/>
                    </a:cubicBezTo>
                    <a:cubicBezTo>
                      <a:pt x="45" y="74"/>
                      <a:pt x="60" y="58"/>
                      <a:pt x="60" y="39"/>
                    </a:cubicBezTo>
                    <a:cubicBezTo>
                      <a:pt x="60" y="26"/>
                      <a:pt x="54" y="14"/>
                      <a:pt x="35" y="14"/>
                    </a:cubicBezTo>
                    <a:cubicBezTo>
                      <a:pt x="24" y="14"/>
                      <a:pt x="14" y="20"/>
                      <a:pt x="9" y="25"/>
                    </a:cubicBezTo>
                    <a:cubicBezTo>
                      <a:pt x="3" y="13"/>
                      <a:pt x="3" y="13"/>
                      <a:pt x="3" y="13"/>
                    </a:cubicBezTo>
                    <a:cubicBezTo>
                      <a:pt x="12" y="6"/>
                      <a:pt x="24" y="0"/>
                      <a:pt x="39" y="0"/>
                    </a:cubicBezTo>
                    <a:cubicBezTo>
                      <a:pt x="66" y="0"/>
                      <a:pt x="77" y="19"/>
                      <a:pt x="77" y="37"/>
                    </a:cubicBezTo>
                    <a:cubicBezTo>
                      <a:pt x="77" y="60"/>
                      <a:pt x="60" y="78"/>
                      <a:pt x="34" y="104"/>
                    </a:cubicBezTo>
                    <a:cubicBezTo>
                      <a:pt x="24" y="113"/>
                      <a:pt x="24" y="113"/>
                      <a:pt x="24" y="113"/>
                    </a:cubicBezTo>
                    <a:cubicBezTo>
                      <a:pt x="24" y="114"/>
                      <a:pt x="24" y="114"/>
                      <a:pt x="24" y="114"/>
                    </a:cubicBezTo>
                    <a:cubicBezTo>
                      <a:pt x="80" y="114"/>
                      <a:pt x="80" y="114"/>
                      <a:pt x="80" y="114"/>
                    </a:cubicBezTo>
                    <a:cubicBezTo>
                      <a:pt x="80" y="128"/>
                      <a:pt x="80" y="128"/>
                      <a:pt x="80" y="128"/>
                    </a:cubicBezTo>
                    <a:lnTo>
                      <a:pt x="0" y="1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grpSp>
        <p:grpSp>
          <p:nvGrpSpPr>
            <p:cNvPr id="144" name="Group 143"/>
            <p:cNvGrpSpPr/>
            <p:nvPr/>
          </p:nvGrpSpPr>
          <p:grpSpPr>
            <a:xfrm>
              <a:off x="2883222" y="2966923"/>
              <a:ext cx="1452936" cy="1882158"/>
              <a:chOff x="2883222" y="2966923"/>
              <a:chExt cx="1452936" cy="1882158"/>
            </a:xfrm>
          </p:grpSpPr>
          <p:sp>
            <p:nvSpPr>
              <p:cNvPr id="145" name="Rectangle 29"/>
              <p:cNvSpPr>
                <a:spLocks noChangeArrowheads="1"/>
              </p:cNvSpPr>
              <p:nvPr/>
            </p:nvSpPr>
            <p:spPr bwMode="auto">
              <a:xfrm>
                <a:off x="3575592" y="3587891"/>
                <a:ext cx="36576" cy="1261190"/>
              </a:xfrm>
              <a:prstGeom prst="rect">
                <a:avLst/>
              </a:prstGeom>
              <a:solidFill>
                <a:schemeClr val="tx2">
                  <a:lumMod val="20000"/>
                  <a:lumOff val="80000"/>
                </a:schemeClr>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46" name="Oval 33"/>
              <p:cNvSpPr>
                <a:spLocks noChangeArrowheads="1"/>
              </p:cNvSpPr>
              <p:nvPr/>
            </p:nvSpPr>
            <p:spPr bwMode="auto">
              <a:xfrm>
                <a:off x="2883222" y="2966923"/>
                <a:ext cx="1452936" cy="1242738"/>
              </a:xfrm>
              <a:prstGeom prst="ellipse">
                <a:avLst/>
              </a:prstGeom>
              <a:solidFill>
                <a:schemeClr val="accent3"/>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47" name="Freeform 54"/>
              <p:cNvSpPr>
                <a:spLocks/>
              </p:cNvSpPr>
              <p:nvPr/>
            </p:nvSpPr>
            <p:spPr bwMode="auto">
              <a:xfrm>
                <a:off x="3229808" y="2966923"/>
                <a:ext cx="757356" cy="543146"/>
              </a:xfrm>
              <a:custGeom>
                <a:avLst/>
                <a:gdLst>
                  <a:gd name="T0" fmla="*/ 200 w 399"/>
                  <a:gd name="T1" fmla="*/ 0 h 286"/>
                  <a:gd name="T2" fmla="*/ 399 w 399"/>
                  <a:gd name="T3" fmla="*/ 48 h 286"/>
                  <a:gd name="T4" fmla="*/ 200 w 399"/>
                  <a:gd name="T5" fmla="*/ 286 h 286"/>
                  <a:gd name="T6" fmla="*/ 0 w 399"/>
                  <a:gd name="T7" fmla="*/ 48 h 286"/>
                  <a:gd name="T8" fmla="*/ 200 w 399"/>
                  <a:gd name="T9" fmla="*/ 0 h 286"/>
                </a:gdLst>
                <a:ahLst/>
                <a:cxnLst>
                  <a:cxn ang="0">
                    <a:pos x="T0" y="T1"/>
                  </a:cxn>
                  <a:cxn ang="0">
                    <a:pos x="T2" y="T3"/>
                  </a:cxn>
                  <a:cxn ang="0">
                    <a:pos x="T4" y="T5"/>
                  </a:cxn>
                  <a:cxn ang="0">
                    <a:pos x="T6" y="T7"/>
                  </a:cxn>
                  <a:cxn ang="0">
                    <a:pos x="T8" y="T9"/>
                  </a:cxn>
                </a:cxnLst>
                <a:rect l="0" t="0" r="r" b="b"/>
                <a:pathLst>
                  <a:path w="399" h="286">
                    <a:moveTo>
                      <a:pt x="200" y="0"/>
                    </a:moveTo>
                    <a:cubicBezTo>
                      <a:pt x="273" y="0"/>
                      <a:pt x="341" y="18"/>
                      <a:pt x="399" y="48"/>
                    </a:cubicBezTo>
                    <a:cubicBezTo>
                      <a:pt x="383" y="183"/>
                      <a:pt x="300" y="286"/>
                      <a:pt x="200" y="286"/>
                    </a:cubicBezTo>
                    <a:cubicBezTo>
                      <a:pt x="99" y="286"/>
                      <a:pt x="16" y="183"/>
                      <a:pt x="0" y="48"/>
                    </a:cubicBezTo>
                    <a:cubicBezTo>
                      <a:pt x="58" y="18"/>
                      <a:pt x="126" y="0"/>
                      <a:pt x="200" y="0"/>
                    </a:cubicBezTo>
                    <a:close/>
                  </a:path>
                </a:pathLst>
              </a:custGeom>
              <a:solidFill>
                <a:schemeClr val="tx2"/>
              </a:solidFill>
              <a:ln w="88900" cap="flat">
                <a:solidFill>
                  <a:srgbClr val="FFFFFF"/>
                </a:solidFill>
                <a:prstDash val="solid"/>
                <a:miter lim="800000"/>
                <a:headEnd/>
                <a:tailEnd/>
              </a:ln>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48" name="Freeform 55"/>
              <p:cNvSpPr>
                <a:spLocks/>
              </p:cNvSpPr>
              <p:nvPr/>
            </p:nvSpPr>
            <p:spPr bwMode="auto">
              <a:xfrm>
                <a:off x="3229808" y="2966923"/>
                <a:ext cx="757356" cy="543146"/>
              </a:xfrm>
              <a:custGeom>
                <a:avLst/>
                <a:gdLst>
                  <a:gd name="T0" fmla="*/ 200 w 399"/>
                  <a:gd name="T1" fmla="*/ 0 h 286"/>
                  <a:gd name="T2" fmla="*/ 399 w 399"/>
                  <a:gd name="T3" fmla="*/ 48 h 286"/>
                  <a:gd name="T4" fmla="*/ 200 w 399"/>
                  <a:gd name="T5" fmla="*/ 286 h 286"/>
                  <a:gd name="T6" fmla="*/ 0 w 399"/>
                  <a:gd name="T7" fmla="*/ 48 h 286"/>
                  <a:gd name="T8" fmla="*/ 200 w 399"/>
                  <a:gd name="T9" fmla="*/ 0 h 286"/>
                </a:gdLst>
                <a:ahLst/>
                <a:cxnLst>
                  <a:cxn ang="0">
                    <a:pos x="T0" y="T1"/>
                  </a:cxn>
                  <a:cxn ang="0">
                    <a:pos x="T2" y="T3"/>
                  </a:cxn>
                  <a:cxn ang="0">
                    <a:pos x="T4" y="T5"/>
                  </a:cxn>
                  <a:cxn ang="0">
                    <a:pos x="T6" y="T7"/>
                  </a:cxn>
                  <a:cxn ang="0">
                    <a:pos x="T8" y="T9"/>
                  </a:cxn>
                </a:cxnLst>
                <a:rect l="0" t="0" r="r" b="b"/>
                <a:pathLst>
                  <a:path w="399" h="286">
                    <a:moveTo>
                      <a:pt x="200" y="0"/>
                    </a:moveTo>
                    <a:cubicBezTo>
                      <a:pt x="273" y="0"/>
                      <a:pt x="341" y="18"/>
                      <a:pt x="399" y="48"/>
                    </a:cubicBezTo>
                    <a:cubicBezTo>
                      <a:pt x="383" y="183"/>
                      <a:pt x="300" y="286"/>
                      <a:pt x="200" y="286"/>
                    </a:cubicBezTo>
                    <a:cubicBezTo>
                      <a:pt x="99" y="286"/>
                      <a:pt x="16" y="183"/>
                      <a:pt x="0" y="48"/>
                    </a:cubicBezTo>
                    <a:cubicBezTo>
                      <a:pt x="58" y="18"/>
                      <a:pt x="126" y="0"/>
                      <a:pt x="200" y="0"/>
                    </a:cubicBezTo>
                    <a:close/>
                  </a:path>
                </a:pathLst>
              </a:custGeom>
              <a:solidFill>
                <a:schemeClr val="accent3">
                  <a:lumMod val="75000"/>
                </a:schemeClr>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49" name="Freeform 77"/>
              <p:cNvSpPr>
                <a:spLocks noEditPoints="1"/>
              </p:cNvSpPr>
              <p:nvPr/>
            </p:nvSpPr>
            <p:spPr bwMode="auto">
              <a:xfrm>
                <a:off x="3457657" y="3158670"/>
                <a:ext cx="161259" cy="247103"/>
              </a:xfrm>
              <a:custGeom>
                <a:avLst/>
                <a:gdLst>
                  <a:gd name="T0" fmla="*/ 42 w 85"/>
                  <a:gd name="T1" fmla="*/ 130 h 130"/>
                  <a:gd name="T2" fmla="*/ 0 w 85"/>
                  <a:gd name="T3" fmla="*/ 65 h 130"/>
                  <a:gd name="T4" fmla="*/ 44 w 85"/>
                  <a:gd name="T5" fmla="*/ 0 h 130"/>
                  <a:gd name="T6" fmla="*/ 85 w 85"/>
                  <a:gd name="T7" fmla="*/ 64 h 130"/>
                  <a:gd name="T8" fmla="*/ 42 w 85"/>
                  <a:gd name="T9" fmla="*/ 130 h 130"/>
                  <a:gd name="T10" fmla="*/ 43 w 85"/>
                  <a:gd name="T11" fmla="*/ 117 h 130"/>
                  <a:gd name="T12" fmla="*/ 68 w 85"/>
                  <a:gd name="T13" fmla="*/ 64 h 130"/>
                  <a:gd name="T14" fmla="*/ 43 w 85"/>
                  <a:gd name="T15" fmla="*/ 13 h 130"/>
                  <a:gd name="T16" fmla="*/ 17 w 85"/>
                  <a:gd name="T17" fmla="*/ 64 h 130"/>
                  <a:gd name="T18" fmla="*/ 42 w 85"/>
                  <a:gd name="T19" fmla="*/ 117 h 130"/>
                  <a:gd name="T20" fmla="*/ 43 w 85"/>
                  <a:gd name="T21" fmla="*/ 11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30">
                    <a:moveTo>
                      <a:pt x="42" y="130"/>
                    </a:moveTo>
                    <a:cubicBezTo>
                      <a:pt x="17" y="130"/>
                      <a:pt x="0" y="107"/>
                      <a:pt x="0" y="65"/>
                    </a:cubicBezTo>
                    <a:cubicBezTo>
                      <a:pt x="0" y="23"/>
                      <a:pt x="18" y="0"/>
                      <a:pt x="44" y="0"/>
                    </a:cubicBezTo>
                    <a:cubicBezTo>
                      <a:pt x="70" y="0"/>
                      <a:pt x="85" y="24"/>
                      <a:pt x="85" y="64"/>
                    </a:cubicBezTo>
                    <a:cubicBezTo>
                      <a:pt x="85" y="106"/>
                      <a:pt x="69" y="130"/>
                      <a:pt x="42" y="130"/>
                    </a:cubicBezTo>
                    <a:close/>
                    <a:moveTo>
                      <a:pt x="43" y="117"/>
                    </a:moveTo>
                    <a:cubicBezTo>
                      <a:pt x="60" y="117"/>
                      <a:pt x="68" y="96"/>
                      <a:pt x="68" y="64"/>
                    </a:cubicBezTo>
                    <a:cubicBezTo>
                      <a:pt x="68" y="33"/>
                      <a:pt x="60" y="13"/>
                      <a:pt x="43" y="13"/>
                    </a:cubicBezTo>
                    <a:cubicBezTo>
                      <a:pt x="27" y="13"/>
                      <a:pt x="17" y="33"/>
                      <a:pt x="17" y="64"/>
                    </a:cubicBezTo>
                    <a:cubicBezTo>
                      <a:pt x="17" y="97"/>
                      <a:pt x="27" y="117"/>
                      <a:pt x="42" y="117"/>
                    </a:cubicBezTo>
                    <a:lnTo>
                      <a:pt x="43" y="1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50" name="Freeform 78"/>
              <p:cNvSpPr>
                <a:spLocks/>
              </p:cNvSpPr>
              <p:nvPr/>
            </p:nvSpPr>
            <p:spPr bwMode="auto">
              <a:xfrm>
                <a:off x="3646996" y="3158670"/>
                <a:ext cx="150027" cy="247103"/>
              </a:xfrm>
              <a:custGeom>
                <a:avLst/>
                <a:gdLst>
                  <a:gd name="T0" fmla="*/ 5 w 79"/>
                  <a:gd name="T1" fmla="*/ 108 h 130"/>
                  <a:gd name="T2" fmla="*/ 33 w 79"/>
                  <a:gd name="T3" fmla="*/ 116 h 130"/>
                  <a:gd name="T4" fmla="*/ 61 w 79"/>
                  <a:gd name="T5" fmla="*/ 92 h 130"/>
                  <a:gd name="T6" fmla="*/ 29 w 79"/>
                  <a:gd name="T7" fmla="*/ 67 h 130"/>
                  <a:gd name="T8" fmla="*/ 19 w 79"/>
                  <a:gd name="T9" fmla="*/ 67 h 130"/>
                  <a:gd name="T10" fmla="*/ 19 w 79"/>
                  <a:gd name="T11" fmla="*/ 54 h 130"/>
                  <a:gd name="T12" fmla="*/ 29 w 79"/>
                  <a:gd name="T13" fmla="*/ 54 h 130"/>
                  <a:gd name="T14" fmla="*/ 57 w 79"/>
                  <a:gd name="T15" fmla="*/ 33 h 130"/>
                  <a:gd name="T16" fmla="*/ 35 w 79"/>
                  <a:gd name="T17" fmla="*/ 14 h 130"/>
                  <a:gd name="T18" fmla="*/ 9 w 79"/>
                  <a:gd name="T19" fmla="*/ 22 h 130"/>
                  <a:gd name="T20" fmla="*/ 5 w 79"/>
                  <a:gd name="T21" fmla="*/ 10 h 130"/>
                  <a:gd name="T22" fmla="*/ 38 w 79"/>
                  <a:gd name="T23" fmla="*/ 0 h 130"/>
                  <a:gd name="T24" fmla="*/ 74 w 79"/>
                  <a:gd name="T25" fmla="*/ 30 h 130"/>
                  <a:gd name="T26" fmla="*/ 51 w 79"/>
                  <a:gd name="T27" fmla="*/ 60 h 130"/>
                  <a:gd name="T28" fmla="*/ 51 w 79"/>
                  <a:gd name="T29" fmla="*/ 60 h 130"/>
                  <a:gd name="T30" fmla="*/ 79 w 79"/>
                  <a:gd name="T31" fmla="*/ 92 h 130"/>
                  <a:gd name="T32" fmla="*/ 33 w 79"/>
                  <a:gd name="T33" fmla="*/ 130 h 130"/>
                  <a:gd name="T34" fmla="*/ 0 w 79"/>
                  <a:gd name="T35" fmla="*/ 121 h 130"/>
                  <a:gd name="T36" fmla="*/ 5 w 79"/>
                  <a:gd name="T37" fmla="*/ 10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9" h="130">
                    <a:moveTo>
                      <a:pt x="5" y="108"/>
                    </a:moveTo>
                    <a:cubicBezTo>
                      <a:pt x="10" y="111"/>
                      <a:pt x="21" y="116"/>
                      <a:pt x="33" y="116"/>
                    </a:cubicBezTo>
                    <a:cubicBezTo>
                      <a:pt x="54" y="116"/>
                      <a:pt x="61" y="102"/>
                      <a:pt x="61" y="92"/>
                    </a:cubicBezTo>
                    <a:cubicBezTo>
                      <a:pt x="61" y="74"/>
                      <a:pt x="45" y="67"/>
                      <a:pt x="29" y="67"/>
                    </a:cubicBezTo>
                    <a:cubicBezTo>
                      <a:pt x="19" y="67"/>
                      <a:pt x="19" y="67"/>
                      <a:pt x="19" y="67"/>
                    </a:cubicBezTo>
                    <a:cubicBezTo>
                      <a:pt x="19" y="54"/>
                      <a:pt x="19" y="54"/>
                      <a:pt x="19" y="54"/>
                    </a:cubicBezTo>
                    <a:cubicBezTo>
                      <a:pt x="29" y="54"/>
                      <a:pt x="29" y="54"/>
                      <a:pt x="29" y="54"/>
                    </a:cubicBezTo>
                    <a:cubicBezTo>
                      <a:pt x="41" y="54"/>
                      <a:pt x="57" y="48"/>
                      <a:pt x="57" y="33"/>
                    </a:cubicBezTo>
                    <a:cubicBezTo>
                      <a:pt x="57" y="23"/>
                      <a:pt x="50" y="14"/>
                      <a:pt x="35" y="14"/>
                    </a:cubicBezTo>
                    <a:cubicBezTo>
                      <a:pt x="25" y="14"/>
                      <a:pt x="15" y="18"/>
                      <a:pt x="9" y="22"/>
                    </a:cubicBezTo>
                    <a:cubicBezTo>
                      <a:pt x="5" y="10"/>
                      <a:pt x="5" y="10"/>
                      <a:pt x="5" y="10"/>
                    </a:cubicBezTo>
                    <a:cubicBezTo>
                      <a:pt x="12" y="5"/>
                      <a:pt x="24" y="0"/>
                      <a:pt x="38" y="0"/>
                    </a:cubicBezTo>
                    <a:cubicBezTo>
                      <a:pt x="63" y="0"/>
                      <a:pt x="74" y="15"/>
                      <a:pt x="74" y="30"/>
                    </a:cubicBezTo>
                    <a:cubicBezTo>
                      <a:pt x="74" y="43"/>
                      <a:pt x="66" y="54"/>
                      <a:pt x="51" y="60"/>
                    </a:cubicBezTo>
                    <a:cubicBezTo>
                      <a:pt x="51" y="60"/>
                      <a:pt x="51" y="60"/>
                      <a:pt x="51" y="60"/>
                    </a:cubicBezTo>
                    <a:cubicBezTo>
                      <a:pt x="66" y="63"/>
                      <a:pt x="79" y="75"/>
                      <a:pt x="79" y="92"/>
                    </a:cubicBezTo>
                    <a:cubicBezTo>
                      <a:pt x="79" y="112"/>
                      <a:pt x="63" y="130"/>
                      <a:pt x="33" y="130"/>
                    </a:cubicBezTo>
                    <a:cubicBezTo>
                      <a:pt x="19" y="130"/>
                      <a:pt x="6" y="125"/>
                      <a:pt x="0" y="121"/>
                    </a:cubicBezTo>
                    <a:lnTo>
                      <a:pt x="5" y="10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grpSp>
        <p:grpSp>
          <p:nvGrpSpPr>
            <p:cNvPr id="151" name="Group 150"/>
            <p:cNvGrpSpPr/>
            <p:nvPr/>
          </p:nvGrpSpPr>
          <p:grpSpPr>
            <a:xfrm>
              <a:off x="3969514" y="1806019"/>
              <a:ext cx="1453738" cy="3270910"/>
              <a:chOff x="3969514" y="1806019"/>
              <a:chExt cx="1453738" cy="3270910"/>
            </a:xfrm>
          </p:grpSpPr>
          <p:sp>
            <p:nvSpPr>
              <p:cNvPr id="152" name="Rectangle 28"/>
              <p:cNvSpPr>
                <a:spLocks noChangeArrowheads="1"/>
              </p:cNvSpPr>
              <p:nvPr/>
            </p:nvSpPr>
            <p:spPr bwMode="auto">
              <a:xfrm>
                <a:off x="4661884" y="2426184"/>
                <a:ext cx="36576" cy="2650745"/>
              </a:xfrm>
              <a:prstGeom prst="rect">
                <a:avLst/>
              </a:prstGeom>
              <a:solidFill>
                <a:schemeClr val="tx2">
                  <a:lumMod val="20000"/>
                  <a:lumOff val="80000"/>
                </a:schemeClr>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53" name="Oval 35"/>
              <p:cNvSpPr>
                <a:spLocks noChangeArrowheads="1"/>
              </p:cNvSpPr>
              <p:nvPr/>
            </p:nvSpPr>
            <p:spPr bwMode="auto">
              <a:xfrm>
                <a:off x="3969514" y="1806019"/>
                <a:ext cx="1453738" cy="1242738"/>
              </a:xfrm>
              <a:prstGeom prst="ellipse">
                <a:avLst/>
              </a:prstGeom>
              <a:solidFill>
                <a:schemeClr val="accent4"/>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54" name="Freeform 50"/>
              <p:cNvSpPr>
                <a:spLocks/>
              </p:cNvSpPr>
              <p:nvPr/>
            </p:nvSpPr>
            <p:spPr bwMode="auto">
              <a:xfrm>
                <a:off x="4316902" y="1806019"/>
                <a:ext cx="758960" cy="540739"/>
              </a:xfrm>
              <a:custGeom>
                <a:avLst/>
                <a:gdLst>
                  <a:gd name="T0" fmla="*/ 200 w 400"/>
                  <a:gd name="T1" fmla="*/ 0 h 285"/>
                  <a:gd name="T2" fmla="*/ 400 w 400"/>
                  <a:gd name="T3" fmla="*/ 48 h 285"/>
                  <a:gd name="T4" fmla="*/ 200 w 400"/>
                  <a:gd name="T5" fmla="*/ 285 h 285"/>
                  <a:gd name="T6" fmla="*/ 0 w 400"/>
                  <a:gd name="T7" fmla="*/ 48 h 285"/>
                  <a:gd name="T8" fmla="*/ 200 w 400"/>
                  <a:gd name="T9" fmla="*/ 0 h 285"/>
                </a:gdLst>
                <a:ahLst/>
                <a:cxnLst>
                  <a:cxn ang="0">
                    <a:pos x="T0" y="T1"/>
                  </a:cxn>
                  <a:cxn ang="0">
                    <a:pos x="T2" y="T3"/>
                  </a:cxn>
                  <a:cxn ang="0">
                    <a:pos x="T4" y="T5"/>
                  </a:cxn>
                  <a:cxn ang="0">
                    <a:pos x="T6" y="T7"/>
                  </a:cxn>
                  <a:cxn ang="0">
                    <a:pos x="T8" y="T9"/>
                  </a:cxn>
                </a:cxnLst>
                <a:rect l="0" t="0" r="r" b="b"/>
                <a:pathLst>
                  <a:path w="400" h="285">
                    <a:moveTo>
                      <a:pt x="200" y="0"/>
                    </a:moveTo>
                    <a:cubicBezTo>
                      <a:pt x="273" y="0"/>
                      <a:pt x="341" y="17"/>
                      <a:pt x="400" y="48"/>
                    </a:cubicBezTo>
                    <a:cubicBezTo>
                      <a:pt x="383" y="183"/>
                      <a:pt x="300" y="285"/>
                      <a:pt x="200" y="285"/>
                    </a:cubicBezTo>
                    <a:cubicBezTo>
                      <a:pt x="100" y="285"/>
                      <a:pt x="16" y="183"/>
                      <a:pt x="0" y="48"/>
                    </a:cubicBezTo>
                    <a:cubicBezTo>
                      <a:pt x="58" y="17"/>
                      <a:pt x="127" y="0"/>
                      <a:pt x="200" y="0"/>
                    </a:cubicBezTo>
                    <a:close/>
                  </a:path>
                </a:pathLst>
              </a:custGeom>
              <a:solidFill>
                <a:schemeClr val="tx2"/>
              </a:solidFill>
              <a:ln w="88900" cap="flat">
                <a:solidFill>
                  <a:srgbClr val="FFFFFF"/>
                </a:solidFill>
                <a:prstDash val="solid"/>
                <a:miter lim="800000"/>
                <a:headEnd/>
                <a:tailEnd/>
              </a:ln>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55" name="Freeform 51"/>
              <p:cNvSpPr>
                <a:spLocks/>
              </p:cNvSpPr>
              <p:nvPr/>
            </p:nvSpPr>
            <p:spPr bwMode="auto">
              <a:xfrm>
                <a:off x="4316902" y="1806019"/>
                <a:ext cx="758960" cy="540739"/>
              </a:xfrm>
              <a:custGeom>
                <a:avLst/>
                <a:gdLst>
                  <a:gd name="T0" fmla="*/ 200 w 400"/>
                  <a:gd name="T1" fmla="*/ 0 h 285"/>
                  <a:gd name="T2" fmla="*/ 400 w 400"/>
                  <a:gd name="T3" fmla="*/ 48 h 285"/>
                  <a:gd name="T4" fmla="*/ 200 w 400"/>
                  <a:gd name="T5" fmla="*/ 285 h 285"/>
                  <a:gd name="T6" fmla="*/ 0 w 400"/>
                  <a:gd name="T7" fmla="*/ 48 h 285"/>
                  <a:gd name="T8" fmla="*/ 200 w 400"/>
                  <a:gd name="T9" fmla="*/ 0 h 285"/>
                </a:gdLst>
                <a:ahLst/>
                <a:cxnLst>
                  <a:cxn ang="0">
                    <a:pos x="T0" y="T1"/>
                  </a:cxn>
                  <a:cxn ang="0">
                    <a:pos x="T2" y="T3"/>
                  </a:cxn>
                  <a:cxn ang="0">
                    <a:pos x="T4" y="T5"/>
                  </a:cxn>
                  <a:cxn ang="0">
                    <a:pos x="T6" y="T7"/>
                  </a:cxn>
                  <a:cxn ang="0">
                    <a:pos x="T8" y="T9"/>
                  </a:cxn>
                </a:cxnLst>
                <a:rect l="0" t="0" r="r" b="b"/>
                <a:pathLst>
                  <a:path w="400" h="285">
                    <a:moveTo>
                      <a:pt x="200" y="0"/>
                    </a:moveTo>
                    <a:cubicBezTo>
                      <a:pt x="273" y="0"/>
                      <a:pt x="341" y="17"/>
                      <a:pt x="400" y="48"/>
                    </a:cubicBezTo>
                    <a:cubicBezTo>
                      <a:pt x="383" y="183"/>
                      <a:pt x="300" y="285"/>
                      <a:pt x="200" y="285"/>
                    </a:cubicBezTo>
                    <a:cubicBezTo>
                      <a:pt x="100" y="285"/>
                      <a:pt x="16" y="183"/>
                      <a:pt x="0" y="48"/>
                    </a:cubicBezTo>
                    <a:cubicBezTo>
                      <a:pt x="58" y="17"/>
                      <a:pt x="127" y="0"/>
                      <a:pt x="200" y="0"/>
                    </a:cubicBezTo>
                    <a:close/>
                  </a:path>
                </a:pathLst>
              </a:custGeom>
              <a:solidFill>
                <a:schemeClr val="accent4">
                  <a:lumMod val="75000"/>
                </a:schemeClr>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56" name="Freeform 79"/>
              <p:cNvSpPr>
                <a:spLocks noEditPoints="1"/>
              </p:cNvSpPr>
              <p:nvPr/>
            </p:nvSpPr>
            <p:spPr bwMode="auto">
              <a:xfrm>
                <a:off x="4543146" y="1990544"/>
                <a:ext cx="161259" cy="244697"/>
              </a:xfrm>
              <a:custGeom>
                <a:avLst/>
                <a:gdLst>
                  <a:gd name="T0" fmla="*/ 42 w 85"/>
                  <a:gd name="T1" fmla="*/ 129 h 129"/>
                  <a:gd name="T2" fmla="*/ 0 w 85"/>
                  <a:gd name="T3" fmla="*/ 65 h 129"/>
                  <a:gd name="T4" fmla="*/ 44 w 85"/>
                  <a:gd name="T5" fmla="*/ 0 h 129"/>
                  <a:gd name="T6" fmla="*/ 85 w 85"/>
                  <a:gd name="T7" fmla="*/ 63 h 129"/>
                  <a:gd name="T8" fmla="*/ 42 w 85"/>
                  <a:gd name="T9" fmla="*/ 129 h 129"/>
                  <a:gd name="T10" fmla="*/ 42 w 85"/>
                  <a:gd name="T11" fmla="*/ 116 h 129"/>
                  <a:gd name="T12" fmla="*/ 68 w 85"/>
                  <a:gd name="T13" fmla="*/ 64 h 129"/>
                  <a:gd name="T14" fmla="*/ 42 w 85"/>
                  <a:gd name="T15" fmla="*/ 13 h 129"/>
                  <a:gd name="T16" fmla="*/ 17 w 85"/>
                  <a:gd name="T17" fmla="*/ 64 h 129"/>
                  <a:gd name="T18" fmla="*/ 42 w 85"/>
                  <a:gd name="T19" fmla="*/ 116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9">
                    <a:moveTo>
                      <a:pt x="42" y="129"/>
                    </a:moveTo>
                    <a:cubicBezTo>
                      <a:pt x="17" y="129"/>
                      <a:pt x="0" y="106"/>
                      <a:pt x="0" y="65"/>
                    </a:cubicBezTo>
                    <a:cubicBezTo>
                      <a:pt x="0" y="22"/>
                      <a:pt x="18" y="0"/>
                      <a:pt x="44" y="0"/>
                    </a:cubicBezTo>
                    <a:cubicBezTo>
                      <a:pt x="70" y="0"/>
                      <a:pt x="85" y="23"/>
                      <a:pt x="85" y="63"/>
                    </a:cubicBezTo>
                    <a:cubicBezTo>
                      <a:pt x="85" y="106"/>
                      <a:pt x="69" y="129"/>
                      <a:pt x="42" y="129"/>
                    </a:cubicBezTo>
                    <a:close/>
                    <a:moveTo>
                      <a:pt x="42" y="116"/>
                    </a:moveTo>
                    <a:cubicBezTo>
                      <a:pt x="60" y="116"/>
                      <a:pt x="68" y="96"/>
                      <a:pt x="68" y="64"/>
                    </a:cubicBezTo>
                    <a:cubicBezTo>
                      <a:pt x="68" y="33"/>
                      <a:pt x="60" y="13"/>
                      <a:pt x="42" y="13"/>
                    </a:cubicBezTo>
                    <a:cubicBezTo>
                      <a:pt x="27" y="13"/>
                      <a:pt x="17" y="32"/>
                      <a:pt x="17" y="64"/>
                    </a:cubicBezTo>
                    <a:cubicBezTo>
                      <a:pt x="17" y="96"/>
                      <a:pt x="27" y="116"/>
                      <a:pt x="42" y="1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57" name="Freeform 80"/>
              <p:cNvSpPr>
                <a:spLocks noEditPoints="1"/>
              </p:cNvSpPr>
              <p:nvPr/>
            </p:nvSpPr>
            <p:spPr bwMode="auto">
              <a:xfrm>
                <a:off x="4722858" y="1993753"/>
                <a:ext cx="174898" cy="237476"/>
              </a:xfrm>
              <a:custGeom>
                <a:avLst/>
                <a:gdLst>
                  <a:gd name="T0" fmla="*/ 58 w 92"/>
                  <a:gd name="T1" fmla="*/ 125 h 125"/>
                  <a:gd name="T2" fmla="*/ 58 w 92"/>
                  <a:gd name="T3" fmla="*/ 91 h 125"/>
                  <a:gd name="T4" fmla="*/ 0 w 92"/>
                  <a:gd name="T5" fmla="*/ 91 h 125"/>
                  <a:gd name="T6" fmla="*/ 0 w 92"/>
                  <a:gd name="T7" fmla="*/ 80 h 125"/>
                  <a:gd name="T8" fmla="*/ 56 w 92"/>
                  <a:gd name="T9" fmla="*/ 0 h 125"/>
                  <a:gd name="T10" fmla="*/ 74 w 92"/>
                  <a:gd name="T11" fmla="*/ 0 h 125"/>
                  <a:gd name="T12" fmla="*/ 74 w 92"/>
                  <a:gd name="T13" fmla="*/ 78 h 125"/>
                  <a:gd name="T14" fmla="*/ 92 w 92"/>
                  <a:gd name="T15" fmla="*/ 78 h 125"/>
                  <a:gd name="T16" fmla="*/ 92 w 92"/>
                  <a:gd name="T17" fmla="*/ 91 h 125"/>
                  <a:gd name="T18" fmla="*/ 74 w 92"/>
                  <a:gd name="T19" fmla="*/ 91 h 125"/>
                  <a:gd name="T20" fmla="*/ 74 w 92"/>
                  <a:gd name="T21" fmla="*/ 125 h 125"/>
                  <a:gd name="T22" fmla="*/ 58 w 92"/>
                  <a:gd name="T23" fmla="*/ 125 h 125"/>
                  <a:gd name="T24" fmla="*/ 58 w 92"/>
                  <a:gd name="T25" fmla="*/ 78 h 125"/>
                  <a:gd name="T26" fmla="*/ 58 w 92"/>
                  <a:gd name="T27" fmla="*/ 36 h 125"/>
                  <a:gd name="T28" fmla="*/ 59 w 92"/>
                  <a:gd name="T29" fmla="*/ 16 h 125"/>
                  <a:gd name="T30" fmla="*/ 58 w 92"/>
                  <a:gd name="T31" fmla="*/ 16 h 125"/>
                  <a:gd name="T32" fmla="*/ 48 w 92"/>
                  <a:gd name="T33" fmla="*/ 35 h 125"/>
                  <a:gd name="T34" fmla="*/ 17 w 92"/>
                  <a:gd name="T35" fmla="*/ 77 h 125"/>
                  <a:gd name="T36" fmla="*/ 17 w 92"/>
                  <a:gd name="T37" fmla="*/ 78 h 125"/>
                  <a:gd name="T38" fmla="*/ 58 w 92"/>
                  <a:gd name="T39" fmla="*/ 7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2" h="125">
                    <a:moveTo>
                      <a:pt x="58" y="125"/>
                    </a:moveTo>
                    <a:cubicBezTo>
                      <a:pt x="58" y="91"/>
                      <a:pt x="58" y="91"/>
                      <a:pt x="58" y="91"/>
                    </a:cubicBezTo>
                    <a:cubicBezTo>
                      <a:pt x="0" y="91"/>
                      <a:pt x="0" y="91"/>
                      <a:pt x="0" y="91"/>
                    </a:cubicBezTo>
                    <a:cubicBezTo>
                      <a:pt x="0" y="80"/>
                      <a:pt x="0" y="80"/>
                      <a:pt x="0" y="80"/>
                    </a:cubicBezTo>
                    <a:cubicBezTo>
                      <a:pt x="56" y="0"/>
                      <a:pt x="56" y="0"/>
                      <a:pt x="56" y="0"/>
                    </a:cubicBezTo>
                    <a:cubicBezTo>
                      <a:pt x="74" y="0"/>
                      <a:pt x="74" y="0"/>
                      <a:pt x="74" y="0"/>
                    </a:cubicBezTo>
                    <a:cubicBezTo>
                      <a:pt x="74" y="78"/>
                      <a:pt x="74" y="78"/>
                      <a:pt x="74" y="78"/>
                    </a:cubicBezTo>
                    <a:cubicBezTo>
                      <a:pt x="92" y="78"/>
                      <a:pt x="92" y="78"/>
                      <a:pt x="92" y="78"/>
                    </a:cubicBezTo>
                    <a:cubicBezTo>
                      <a:pt x="92" y="91"/>
                      <a:pt x="92" y="91"/>
                      <a:pt x="92" y="91"/>
                    </a:cubicBezTo>
                    <a:cubicBezTo>
                      <a:pt x="74" y="91"/>
                      <a:pt x="74" y="91"/>
                      <a:pt x="74" y="91"/>
                    </a:cubicBezTo>
                    <a:cubicBezTo>
                      <a:pt x="74" y="125"/>
                      <a:pt x="74" y="125"/>
                      <a:pt x="74" y="125"/>
                    </a:cubicBezTo>
                    <a:lnTo>
                      <a:pt x="58" y="125"/>
                    </a:lnTo>
                    <a:close/>
                    <a:moveTo>
                      <a:pt x="58" y="78"/>
                    </a:moveTo>
                    <a:cubicBezTo>
                      <a:pt x="58" y="36"/>
                      <a:pt x="58" y="36"/>
                      <a:pt x="58" y="36"/>
                    </a:cubicBezTo>
                    <a:cubicBezTo>
                      <a:pt x="58" y="29"/>
                      <a:pt x="58" y="23"/>
                      <a:pt x="59" y="16"/>
                    </a:cubicBezTo>
                    <a:cubicBezTo>
                      <a:pt x="58" y="16"/>
                      <a:pt x="58" y="16"/>
                      <a:pt x="58" y="16"/>
                    </a:cubicBezTo>
                    <a:cubicBezTo>
                      <a:pt x="54" y="23"/>
                      <a:pt x="51" y="29"/>
                      <a:pt x="48" y="35"/>
                    </a:cubicBezTo>
                    <a:cubicBezTo>
                      <a:pt x="17" y="77"/>
                      <a:pt x="17" y="77"/>
                      <a:pt x="17" y="77"/>
                    </a:cubicBezTo>
                    <a:cubicBezTo>
                      <a:pt x="17" y="78"/>
                      <a:pt x="17" y="78"/>
                      <a:pt x="17" y="78"/>
                    </a:cubicBezTo>
                    <a:lnTo>
                      <a:pt x="5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grpSp>
        <p:grpSp>
          <p:nvGrpSpPr>
            <p:cNvPr id="158" name="Group 157"/>
            <p:cNvGrpSpPr/>
            <p:nvPr/>
          </p:nvGrpSpPr>
          <p:grpSpPr>
            <a:xfrm>
              <a:off x="4893745" y="3674538"/>
              <a:ext cx="1452936" cy="2079519"/>
              <a:chOff x="4893745" y="3674538"/>
              <a:chExt cx="1452936" cy="2079519"/>
            </a:xfrm>
          </p:grpSpPr>
          <p:sp>
            <p:nvSpPr>
              <p:cNvPr id="159" name="Rectangle 27"/>
              <p:cNvSpPr>
                <a:spLocks noChangeArrowheads="1"/>
              </p:cNvSpPr>
              <p:nvPr/>
            </p:nvSpPr>
            <p:spPr bwMode="auto">
              <a:xfrm>
                <a:off x="5586115" y="4494472"/>
                <a:ext cx="36576" cy="1259585"/>
              </a:xfrm>
              <a:prstGeom prst="rect">
                <a:avLst/>
              </a:prstGeom>
              <a:solidFill>
                <a:schemeClr val="tx2">
                  <a:lumMod val="20000"/>
                  <a:lumOff val="80000"/>
                </a:schemeClr>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60" name="Oval 39"/>
              <p:cNvSpPr>
                <a:spLocks noChangeArrowheads="1"/>
              </p:cNvSpPr>
              <p:nvPr/>
            </p:nvSpPr>
            <p:spPr bwMode="auto">
              <a:xfrm>
                <a:off x="4893745" y="3674538"/>
                <a:ext cx="1452936" cy="1242738"/>
              </a:xfrm>
              <a:prstGeom prst="ellipse">
                <a:avLst/>
              </a:prstGeom>
              <a:solidFill>
                <a:schemeClr val="accent5"/>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61" name="Freeform 52"/>
              <p:cNvSpPr>
                <a:spLocks/>
              </p:cNvSpPr>
              <p:nvPr/>
            </p:nvSpPr>
            <p:spPr bwMode="auto">
              <a:xfrm>
                <a:off x="5241133" y="3674538"/>
                <a:ext cx="758158" cy="543146"/>
              </a:xfrm>
              <a:custGeom>
                <a:avLst/>
                <a:gdLst>
                  <a:gd name="T0" fmla="*/ 200 w 400"/>
                  <a:gd name="T1" fmla="*/ 0 h 286"/>
                  <a:gd name="T2" fmla="*/ 400 w 400"/>
                  <a:gd name="T3" fmla="*/ 48 h 286"/>
                  <a:gd name="T4" fmla="*/ 200 w 400"/>
                  <a:gd name="T5" fmla="*/ 286 h 286"/>
                  <a:gd name="T6" fmla="*/ 0 w 400"/>
                  <a:gd name="T7" fmla="*/ 48 h 286"/>
                  <a:gd name="T8" fmla="*/ 200 w 400"/>
                  <a:gd name="T9" fmla="*/ 0 h 286"/>
                </a:gdLst>
                <a:ahLst/>
                <a:cxnLst>
                  <a:cxn ang="0">
                    <a:pos x="T0" y="T1"/>
                  </a:cxn>
                  <a:cxn ang="0">
                    <a:pos x="T2" y="T3"/>
                  </a:cxn>
                  <a:cxn ang="0">
                    <a:pos x="T4" y="T5"/>
                  </a:cxn>
                  <a:cxn ang="0">
                    <a:pos x="T6" y="T7"/>
                  </a:cxn>
                  <a:cxn ang="0">
                    <a:pos x="T8" y="T9"/>
                  </a:cxn>
                </a:cxnLst>
                <a:rect l="0" t="0" r="r" b="b"/>
                <a:pathLst>
                  <a:path w="400" h="286">
                    <a:moveTo>
                      <a:pt x="200" y="0"/>
                    </a:moveTo>
                    <a:cubicBezTo>
                      <a:pt x="273" y="0"/>
                      <a:pt x="341" y="18"/>
                      <a:pt x="400" y="48"/>
                    </a:cubicBezTo>
                    <a:cubicBezTo>
                      <a:pt x="383" y="183"/>
                      <a:pt x="300" y="286"/>
                      <a:pt x="200" y="286"/>
                    </a:cubicBezTo>
                    <a:cubicBezTo>
                      <a:pt x="100" y="286"/>
                      <a:pt x="16" y="183"/>
                      <a:pt x="0" y="48"/>
                    </a:cubicBezTo>
                    <a:cubicBezTo>
                      <a:pt x="58" y="18"/>
                      <a:pt x="127" y="0"/>
                      <a:pt x="200" y="0"/>
                    </a:cubicBezTo>
                    <a:close/>
                  </a:path>
                </a:pathLst>
              </a:custGeom>
              <a:solidFill>
                <a:schemeClr val="tx2"/>
              </a:solidFill>
              <a:ln w="88900" cap="flat">
                <a:solidFill>
                  <a:srgbClr val="FFFFFF"/>
                </a:solidFill>
                <a:prstDash val="solid"/>
                <a:miter lim="800000"/>
                <a:headEnd/>
                <a:tailEnd/>
              </a:ln>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62" name="Freeform 53"/>
              <p:cNvSpPr>
                <a:spLocks/>
              </p:cNvSpPr>
              <p:nvPr/>
            </p:nvSpPr>
            <p:spPr bwMode="auto">
              <a:xfrm>
                <a:off x="5241133" y="3674538"/>
                <a:ext cx="758158" cy="543146"/>
              </a:xfrm>
              <a:custGeom>
                <a:avLst/>
                <a:gdLst>
                  <a:gd name="T0" fmla="*/ 200 w 400"/>
                  <a:gd name="T1" fmla="*/ 0 h 286"/>
                  <a:gd name="T2" fmla="*/ 400 w 400"/>
                  <a:gd name="T3" fmla="*/ 48 h 286"/>
                  <a:gd name="T4" fmla="*/ 200 w 400"/>
                  <a:gd name="T5" fmla="*/ 286 h 286"/>
                  <a:gd name="T6" fmla="*/ 0 w 400"/>
                  <a:gd name="T7" fmla="*/ 48 h 286"/>
                  <a:gd name="T8" fmla="*/ 200 w 400"/>
                  <a:gd name="T9" fmla="*/ 0 h 286"/>
                </a:gdLst>
                <a:ahLst/>
                <a:cxnLst>
                  <a:cxn ang="0">
                    <a:pos x="T0" y="T1"/>
                  </a:cxn>
                  <a:cxn ang="0">
                    <a:pos x="T2" y="T3"/>
                  </a:cxn>
                  <a:cxn ang="0">
                    <a:pos x="T4" y="T5"/>
                  </a:cxn>
                  <a:cxn ang="0">
                    <a:pos x="T6" y="T7"/>
                  </a:cxn>
                  <a:cxn ang="0">
                    <a:pos x="T8" y="T9"/>
                  </a:cxn>
                </a:cxnLst>
                <a:rect l="0" t="0" r="r" b="b"/>
                <a:pathLst>
                  <a:path w="400" h="286">
                    <a:moveTo>
                      <a:pt x="200" y="0"/>
                    </a:moveTo>
                    <a:cubicBezTo>
                      <a:pt x="273" y="0"/>
                      <a:pt x="341" y="18"/>
                      <a:pt x="400" y="48"/>
                    </a:cubicBezTo>
                    <a:cubicBezTo>
                      <a:pt x="383" y="183"/>
                      <a:pt x="300" y="286"/>
                      <a:pt x="200" y="286"/>
                    </a:cubicBezTo>
                    <a:cubicBezTo>
                      <a:pt x="100" y="286"/>
                      <a:pt x="16" y="183"/>
                      <a:pt x="0" y="48"/>
                    </a:cubicBezTo>
                    <a:cubicBezTo>
                      <a:pt x="58" y="18"/>
                      <a:pt x="127" y="0"/>
                      <a:pt x="200" y="0"/>
                    </a:cubicBezTo>
                    <a:close/>
                  </a:path>
                </a:pathLst>
              </a:custGeom>
              <a:solidFill>
                <a:schemeClr val="accent5">
                  <a:lumMod val="75000"/>
                </a:schemeClr>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63" name="Freeform 81"/>
              <p:cNvSpPr>
                <a:spLocks noEditPoints="1"/>
              </p:cNvSpPr>
              <p:nvPr/>
            </p:nvSpPr>
            <p:spPr bwMode="auto">
              <a:xfrm>
                <a:off x="5472191" y="3859063"/>
                <a:ext cx="161259" cy="246301"/>
              </a:xfrm>
              <a:custGeom>
                <a:avLst/>
                <a:gdLst>
                  <a:gd name="T0" fmla="*/ 42 w 85"/>
                  <a:gd name="T1" fmla="*/ 130 h 130"/>
                  <a:gd name="T2" fmla="*/ 0 w 85"/>
                  <a:gd name="T3" fmla="*/ 65 h 130"/>
                  <a:gd name="T4" fmla="*/ 44 w 85"/>
                  <a:gd name="T5" fmla="*/ 0 h 130"/>
                  <a:gd name="T6" fmla="*/ 85 w 85"/>
                  <a:gd name="T7" fmla="*/ 63 h 130"/>
                  <a:gd name="T8" fmla="*/ 42 w 85"/>
                  <a:gd name="T9" fmla="*/ 130 h 130"/>
                  <a:gd name="T10" fmla="*/ 43 w 85"/>
                  <a:gd name="T11" fmla="*/ 116 h 130"/>
                  <a:gd name="T12" fmla="*/ 68 w 85"/>
                  <a:gd name="T13" fmla="*/ 64 h 130"/>
                  <a:gd name="T14" fmla="*/ 43 w 85"/>
                  <a:gd name="T15" fmla="*/ 13 h 130"/>
                  <a:gd name="T16" fmla="*/ 17 w 85"/>
                  <a:gd name="T17" fmla="*/ 64 h 130"/>
                  <a:gd name="T18" fmla="*/ 42 w 85"/>
                  <a:gd name="T19" fmla="*/ 116 h 130"/>
                  <a:gd name="T20" fmla="*/ 43 w 85"/>
                  <a:gd name="T21" fmla="*/ 11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30">
                    <a:moveTo>
                      <a:pt x="42" y="130"/>
                    </a:moveTo>
                    <a:cubicBezTo>
                      <a:pt x="17" y="130"/>
                      <a:pt x="1" y="107"/>
                      <a:pt x="0" y="65"/>
                    </a:cubicBezTo>
                    <a:cubicBezTo>
                      <a:pt x="0" y="23"/>
                      <a:pt x="19" y="0"/>
                      <a:pt x="44" y="0"/>
                    </a:cubicBezTo>
                    <a:cubicBezTo>
                      <a:pt x="70" y="0"/>
                      <a:pt x="85" y="23"/>
                      <a:pt x="85" y="63"/>
                    </a:cubicBezTo>
                    <a:cubicBezTo>
                      <a:pt x="85" y="106"/>
                      <a:pt x="69" y="130"/>
                      <a:pt x="42" y="130"/>
                    </a:cubicBezTo>
                    <a:close/>
                    <a:moveTo>
                      <a:pt x="43" y="116"/>
                    </a:moveTo>
                    <a:cubicBezTo>
                      <a:pt x="60" y="116"/>
                      <a:pt x="68" y="96"/>
                      <a:pt x="68" y="64"/>
                    </a:cubicBezTo>
                    <a:cubicBezTo>
                      <a:pt x="68" y="33"/>
                      <a:pt x="60" y="13"/>
                      <a:pt x="43" y="13"/>
                    </a:cubicBezTo>
                    <a:cubicBezTo>
                      <a:pt x="27" y="13"/>
                      <a:pt x="17" y="33"/>
                      <a:pt x="17" y="64"/>
                    </a:cubicBezTo>
                    <a:cubicBezTo>
                      <a:pt x="17" y="97"/>
                      <a:pt x="27" y="116"/>
                      <a:pt x="42" y="116"/>
                    </a:cubicBezTo>
                    <a:lnTo>
                      <a:pt x="43" y="1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64" name="Freeform 82"/>
              <p:cNvSpPr>
                <a:spLocks/>
              </p:cNvSpPr>
              <p:nvPr/>
            </p:nvSpPr>
            <p:spPr bwMode="auto">
              <a:xfrm>
                <a:off x="5662332" y="3863075"/>
                <a:ext cx="147620" cy="242290"/>
              </a:xfrm>
              <a:custGeom>
                <a:avLst/>
                <a:gdLst>
                  <a:gd name="T0" fmla="*/ 76 w 78"/>
                  <a:gd name="T1" fmla="*/ 14 h 128"/>
                  <a:gd name="T2" fmla="*/ 28 w 78"/>
                  <a:gd name="T3" fmla="*/ 14 h 128"/>
                  <a:gd name="T4" fmla="*/ 23 w 78"/>
                  <a:gd name="T5" fmla="*/ 46 h 128"/>
                  <a:gd name="T6" fmla="*/ 33 w 78"/>
                  <a:gd name="T7" fmla="*/ 45 h 128"/>
                  <a:gd name="T8" fmla="*/ 60 w 78"/>
                  <a:gd name="T9" fmla="*/ 52 h 128"/>
                  <a:gd name="T10" fmla="*/ 78 w 78"/>
                  <a:gd name="T11" fmla="*/ 85 h 128"/>
                  <a:gd name="T12" fmla="*/ 32 w 78"/>
                  <a:gd name="T13" fmla="*/ 128 h 128"/>
                  <a:gd name="T14" fmla="*/ 0 w 78"/>
                  <a:gd name="T15" fmla="*/ 120 h 128"/>
                  <a:gd name="T16" fmla="*/ 5 w 78"/>
                  <a:gd name="T17" fmla="*/ 107 h 128"/>
                  <a:gd name="T18" fmla="*/ 32 w 78"/>
                  <a:gd name="T19" fmla="*/ 114 h 128"/>
                  <a:gd name="T20" fmla="*/ 61 w 78"/>
                  <a:gd name="T21" fmla="*/ 86 h 128"/>
                  <a:gd name="T22" fmla="*/ 25 w 78"/>
                  <a:gd name="T23" fmla="*/ 58 h 128"/>
                  <a:gd name="T24" fmla="*/ 8 w 78"/>
                  <a:gd name="T25" fmla="*/ 60 h 128"/>
                  <a:gd name="T26" fmla="*/ 16 w 78"/>
                  <a:gd name="T27" fmla="*/ 0 h 128"/>
                  <a:gd name="T28" fmla="*/ 76 w 78"/>
                  <a:gd name="T29" fmla="*/ 0 h 128"/>
                  <a:gd name="T30" fmla="*/ 76 w 78"/>
                  <a:gd name="T31" fmla="*/ 1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 h="128">
                    <a:moveTo>
                      <a:pt x="76" y="14"/>
                    </a:moveTo>
                    <a:cubicBezTo>
                      <a:pt x="28" y="14"/>
                      <a:pt x="28" y="14"/>
                      <a:pt x="28" y="14"/>
                    </a:cubicBezTo>
                    <a:cubicBezTo>
                      <a:pt x="23" y="46"/>
                      <a:pt x="23" y="46"/>
                      <a:pt x="23" y="46"/>
                    </a:cubicBezTo>
                    <a:cubicBezTo>
                      <a:pt x="26" y="46"/>
                      <a:pt x="29" y="45"/>
                      <a:pt x="33" y="45"/>
                    </a:cubicBezTo>
                    <a:cubicBezTo>
                      <a:pt x="43" y="45"/>
                      <a:pt x="53" y="48"/>
                      <a:pt x="60" y="52"/>
                    </a:cubicBezTo>
                    <a:cubicBezTo>
                      <a:pt x="70" y="58"/>
                      <a:pt x="78" y="69"/>
                      <a:pt x="78" y="85"/>
                    </a:cubicBezTo>
                    <a:cubicBezTo>
                      <a:pt x="78" y="109"/>
                      <a:pt x="59" y="128"/>
                      <a:pt x="32" y="128"/>
                    </a:cubicBezTo>
                    <a:cubicBezTo>
                      <a:pt x="18" y="128"/>
                      <a:pt x="6" y="124"/>
                      <a:pt x="0" y="120"/>
                    </a:cubicBezTo>
                    <a:cubicBezTo>
                      <a:pt x="5" y="107"/>
                      <a:pt x="5" y="107"/>
                      <a:pt x="5" y="107"/>
                    </a:cubicBezTo>
                    <a:cubicBezTo>
                      <a:pt x="10" y="110"/>
                      <a:pt x="20" y="114"/>
                      <a:pt x="32" y="114"/>
                    </a:cubicBezTo>
                    <a:cubicBezTo>
                      <a:pt x="47" y="114"/>
                      <a:pt x="61" y="103"/>
                      <a:pt x="61" y="86"/>
                    </a:cubicBezTo>
                    <a:cubicBezTo>
                      <a:pt x="61" y="70"/>
                      <a:pt x="50" y="58"/>
                      <a:pt x="25" y="58"/>
                    </a:cubicBezTo>
                    <a:cubicBezTo>
                      <a:pt x="18" y="58"/>
                      <a:pt x="12" y="59"/>
                      <a:pt x="8" y="60"/>
                    </a:cubicBezTo>
                    <a:cubicBezTo>
                      <a:pt x="16" y="0"/>
                      <a:pt x="16" y="0"/>
                      <a:pt x="16" y="0"/>
                    </a:cubicBezTo>
                    <a:cubicBezTo>
                      <a:pt x="76" y="0"/>
                      <a:pt x="76" y="0"/>
                      <a:pt x="76" y="0"/>
                    </a:cubicBezTo>
                    <a:lnTo>
                      <a:pt x="7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grpSp>
        <p:grpSp>
          <p:nvGrpSpPr>
            <p:cNvPr id="165" name="Group 164"/>
            <p:cNvGrpSpPr/>
            <p:nvPr/>
          </p:nvGrpSpPr>
          <p:grpSpPr>
            <a:xfrm>
              <a:off x="2366551" y="4922891"/>
              <a:ext cx="307275" cy="308077"/>
              <a:chOff x="2366551" y="4922891"/>
              <a:chExt cx="307275" cy="308077"/>
            </a:xfrm>
          </p:grpSpPr>
          <p:sp>
            <p:nvSpPr>
              <p:cNvPr id="166" name="Oval 22"/>
              <p:cNvSpPr>
                <a:spLocks noChangeArrowheads="1"/>
              </p:cNvSpPr>
              <p:nvPr/>
            </p:nvSpPr>
            <p:spPr bwMode="auto">
              <a:xfrm>
                <a:off x="2366551" y="4922891"/>
                <a:ext cx="307275" cy="30807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67" name="Freeform 46"/>
              <p:cNvSpPr>
                <a:spLocks/>
              </p:cNvSpPr>
              <p:nvPr/>
            </p:nvSpPr>
            <p:spPr bwMode="auto">
              <a:xfrm>
                <a:off x="2438756" y="5008736"/>
                <a:ext cx="176502" cy="130772"/>
              </a:xfrm>
              <a:custGeom>
                <a:avLst/>
                <a:gdLst>
                  <a:gd name="T0" fmla="*/ 69 w 220"/>
                  <a:gd name="T1" fmla="*/ 0 h 163"/>
                  <a:gd name="T2" fmla="*/ 220 w 220"/>
                  <a:gd name="T3" fmla="*/ 26 h 163"/>
                  <a:gd name="T4" fmla="*/ 154 w 220"/>
                  <a:gd name="T5" fmla="*/ 163 h 163"/>
                  <a:gd name="T6" fmla="*/ 128 w 220"/>
                  <a:gd name="T7" fmla="*/ 113 h 163"/>
                  <a:gd name="T8" fmla="*/ 33 w 220"/>
                  <a:gd name="T9" fmla="*/ 161 h 163"/>
                  <a:gd name="T10" fmla="*/ 0 w 220"/>
                  <a:gd name="T11" fmla="*/ 99 h 163"/>
                  <a:gd name="T12" fmla="*/ 95 w 220"/>
                  <a:gd name="T13" fmla="*/ 50 h 163"/>
                  <a:gd name="T14" fmla="*/ 69 w 220"/>
                  <a:gd name="T15" fmla="*/ 0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0" h="163">
                    <a:moveTo>
                      <a:pt x="69" y="0"/>
                    </a:moveTo>
                    <a:lnTo>
                      <a:pt x="220" y="26"/>
                    </a:lnTo>
                    <a:lnTo>
                      <a:pt x="154" y="163"/>
                    </a:lnTo>
                    <a:lnTo>
                      <a:pt x="128" y="113"/>
                    </a:lnTo>
                    <a:lnTo>
                      <a:pt x="33" y="161"/>
                    </a:lnTo>
                    <a:lnTo>
                      <a:pt x="0" y="99"/>
                    </a:lnTo>
                    <a:lnTo>
                      <a:pt x="95" y="50"/>
                    </a:lnTo>
                    <a:lnTo>
                      <a:pt x="69" y="0"/>
                    </a:lnTo>
                    <a:close/>
                  </a:path>
                </a:pathLst>
              </a:custGeom>
              <a:solidFill>
                <a:schemeClr val="accent2"/>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grpSp>
        <p:grpSp>
          <p:nvGrpSpPr>
            <p:cNvPr id="168" name="Group 167"/>
            <p:cNvGrpSpPr/>
            <p:nvPr/>
          </p:nvGrpSpPr>
          <p:grpSpPr>
            <a:xfrm>
              <a:off x="3456052" y="4695845"/>
              <a:ext cx="304868" cy="304868"/>
              <a:chOff x="3456052" y="4695845"/>
              <a:chExt cx="304868" cy="304868"/>
            </a:xfrm>
          </p:grpSpPr>
          <p:sp>
            <p:nvSpPr>
              <p:cNvPr id="169" name="Oval 18"/>
              <p:cNvSpPr>
                <a:spLocks noChangeArrowheads="1"/>
              </p:cNvSpPr>
              <p:nvPr/>
            </p:nvSpPr>
            <p:spPr bwMode="auto">
              <a:xfrm>
                <a:off x="3456052" y="4695845"/>
                <a:ext cx="304868" cy="30486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70" name="Freeform 47"/>
              <p:cNvSpPr>
                <a:spLocks/>
              </p:cNvSpPr>
              <p:nvPr/>
            </p:nvSpPr>
            <p:spPr bwMode="auto">
              <a:xfrm>
                <a:off x="3524246" y="4775271"/>
                <a:ext cx="183723" cy="146016"/>
              </a:xfrm>
              <a:custGeom>
                <a:avLst/>
                <a:gdLst>
                  <a:gd name="T0" fmla="*/ 106 w 229"/>
                  <a:gd name="T1" fmla="*/ 0 h 182"/>
                  <a:gd name="T2" fmla="*/ 229 w 229"/>
                  <a:gd name="T3" fmla="*/ 92 h 182"/>
                  <a:gd name="T4" fmla="*/ 106 w 229"/>
                  <a:gd name="T5" fmla="*/ 182 h 182"/>
                  <a:gd name="T6" fmla="*/ 106 w 229"/>
                  <a:gd name="T7" fmla="*/ 128 h 182"/>
                  <a:gd name="T8" fmla="*/ 0 w 229"/>
                  <a:gd name="T9" fmla="*/ 128 h 182"/>
                  <a:gd name="T10" fmla="*/ 0 w 229"/>
                  <a:gd name="T11" fmla="*/ 54 h 182"/>
                  <a:gd name="T12" fmla="*/ 106 w 229"/>
                  <a:gd name="T13" fmla="*/ 57 h 182"/>
                  <a:gd name="T14" fmla="*/ 106 w 229"/>
                  <a:gd name="T15" fmla="*/ 0 h 1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9" h="182">
                    <a:moveTo>
                      <a:pt x="106" y="0"/>
                    </a:moveTo>
                    <a:lnTo>
                      <a:pt x="229" y="92"/>
                    </a:lnTo>
                    <a:lnTo>
                      <a:pt x="106" y="182"/>
                    </a:lnTo>
                    <a:lnTo>
                      <a:pt x="106" y="128"/>
                    </a:lnTo>
                    <a:lnTo>
                      <a:pt x="0" y="128"/>
                    </a:lnTo>
                    <a:lnTo>
                      <a:pt x="0" y="54"/>
                    </a:lnTo>
                    <a:lnTo>
                      <a:pt x="106" y="57"/>
                    </a:lnTo>
                    <a:lnTo>
                      <a:pt x="106" y="0"/>
                    </a:lnTo>
                    <a:close/>
                  </a:path>
                </a:pathLst>
              </a:custGeom>
              <a:solidFill>
                <a:schemeClr val="accent3"/>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grpSp>
        <p:grpSp>
          <p:nvGrpSpPr>
            <p:cNvPr id="171" name="Group 170"/>
            <p:cNvGrpSpPr/>
            <p:nvPr/>
          </p:nvGrpSpPr>
          <p:grpSpPr>
            <a:xfrm>
              <a:off x="4543146" y="4922891"/>
              <a:ext cx="307275" cy="308077"/>
              <a:chOff x="4543146" y="4922891"/>
              <a:chExt cx="307275" cy="308077"/>
            </a:xfrm>
          </p:grpSpPr>
          <p:sp>
            <p:nvSpPr>
              <p:cNvPr id="172" name="Oval 14"/>
              <p:cNvSpPr>
                <a:spLocks noChangeArrowheads="1"/>
              </p:cNvSpPr>
              <p:nvPr/>
            </p:nvSpPr>
            <p:spPr bwMode="auto">
              <a:xfrm>
                <a:off x="4543146" y="4922891"/>
                <a:ext cx="307275" cy="30807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73" name="Freeform 48"/>
              <p:cNvSpPr>
                <a:spLocks/>
              </p:cNvSpPr>
              <p:nvPr/>
            </p:nvSpPr>
            <p:spPr bwMode="auto">
              <a:xfrm>
                <a:off x="4607329" y="5006329"/>
                <a:ext cx="180514" cy="137191"/>
              </a:xfrm>
              <a:custGeom>
                <a:avLst/>
                <a:gdLst>
                  <a:gd name="T0" fmla="*/ 147 w 225"/>
                  <a:gd name="T1" fmla="*/ 0 h 171"/>
                  <a:gd name="T2" fmla="*/ 225 w 225"/>
                  <a:gd name="T3" fmla="*/ 133 h 171"/>
                  <a:gd name="T4" fmla="*/ 76 w 225"/>
                  <a:gd name="T5" fmla="*/ 171 h 171"/>
                  <a:gd name="T6" fmla="*/ 97 w 225"/>
                  <a:gd name="T7" fmla="*/ 119 h 171"/>
                  <a:gd name="T8" fmla="*/ 0 w 225"/>
                  <a:gd name="T9" fmla="*/ 76 h 171"/>
                  <a:gd name="T10" fmla="*/ 28 w 225"/>
                  <a:gd name="T11" fmla="*/ 12 h 171"/>
                  <a:gd name="T12" fmla="*/ 125 w 225"/>
                  <a:gd name="T13" fmla="*/ 53 h 171"/>
                  <a:gd name="T14" fmla="*/ 147 w 225"/>
                  <a:gd name="T15" fmla="*/ 0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5" h="171">
                    <a:moveTo>
                      <a:pt x="147" y="0"/>
                    </a:moveTo>
                    <a:lnTo>
                      <a:pt x="225" y="133"/>
                    </a:lnTo>
                    <a:lnTo>
                      <a:pt x="76" y="171"/>
                    </a:lnTo>
                    <a:lnTo>
                      <a:pt x="97" y="119"/>
                    </a:lnTo>
                    <a:lnTo>
                      <a:pt x="0" y="76"/>
                    </a:lnTo>
                    <a:lnTo>
                      <a:pt x="28" y="12"/>
                    </a:lnTo>
                    <a:lnTo>
                      <a:pt x="125" y="53"/>
                    </a:lnTo>
                    <a:lnTo>
                      <a:pt x="147" y="0"/>
                    </a:lnTo>
                    <a:close/>
                  </a:path>
                </a:pathLst>
              </a:custGeom>
              <a:solidFill>
                <a:schemeClr val="accent4"/>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grpSp>
        <p:grpSp>
          <p:nvGrpSpPr>
            <p:cNvPr id="177" name="Group 176"/>
            <p:cNvGrpSpPr/>
            <p:nvPr/>
          </p:nvGrpSpPr>
          <p:grpSpPr>
            <a:xfrm>
              <a:off x="5466575" y="5602426"/>
              <a:ext cx="307275" cy="305670"/>
              <a:chOff x="5466575" y="5602426"/>
              <a:chExt cx="307275" cy="305670"/>
            </a:xfrm>
          </p:grpSpPr>
          <p:sp>
            <p:nvSpPr>
              <p:cNvPr id="178" name="Oval 10"/>
              <p:cNvSpPr>
                <a:spLocks noChangeArrowheads="1"/>
              </p:cNvSpPr>
              <p:nvPr/>
            </p:nvSpPr>
            <p:spPr bwMode="auto">
              <a:xfrm>
                <a:off x="5466575" y="5602426"/>
                <a:ext cx="307275" cy="30567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79" name="Freeform 49"/>
              <p:cNvSpPr>
                <a:spLocks/>
              </p:cNvSpPr>
              <p:nvPr/>
            </p:nvSpPr>
            <p:spPr bwMode="auto">
              <a:xfrm>
                <a:off x="5546001" y="5678642"/>
                <a:ext cx="146016" cy="153236"/>
              </a:xfrm>
              <a:custGeom>
                <a:avLst/>
                <a:gdLst>
                  <a:gd name="T0" fmla="*/ 166 w 182"/>
                  <a:gd name="T1" fmla="*/ 37 h 191"/>
                  <a:gd name="T2" fmla="*/ 182 w 182"/>
                  <a:gd name="T3" fmla="*/ 191 h 191"/>
                  <a:gd name="T4" fmla="*/ 31 w 182"/>
                  <a:gd name="T5" fmla="*/ 163 h 191"/>
                  <a:gd name="T6" fmla="*/ 71 w 182"/>
                  <a:gd name="T7" fmla="*/ 125 h 191"/>
                  <a:gd name="T8" fmla="*/ 0 w 182"/>
                  <a:gd name="T9" fmla="*/ 47 h 191"/>
                  <a:gd name="T10" fmla="*/ 52 w 182"/>
                  <a:gd name="T11" fmla="*/ 0 h 191"/>
                  <a:gd name="T12" fmla="*/ 123 w 182"/>
                  <a:gd name="T13" fmla="*/ 78 h 191"/>
                  <a:gd name="T14" fmla="*/ 166 w 182"/>
                  <a:gd name="T15" fmla="*/ 37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2" h="191">
                    <a:moveTo>
                      <a:pt x="166" y="37"/>
                    </a:moveTo>
                    <a:lnTo>
                      <a:pt x="182" y="191"/>
                    </a:lnTo>
                    <a:lnTo>
                      <a:pt x="31" y="163"/>
                    </a:lnTo>
                    <a:lnTo>
                      <a:pt x="71" y="125"/>
                    </a:lnTo>
                    <a:lnTo>
                      <a:pt x="0" y="47"/>
                    </a:lnTo>
                    <a:lnTo>
                      <a:pt x="52" y="0"/>
                    </a:lnTo>
                    <a:lnTo>
                      <a:pt x="123" y="78"/>
                    </a:lnTo>
                    <a:lnTo>
                      <a:pt x="166" y="37"/>
                    </a:lnTo>
                    <a:close/>
                  </a:path>
                </a:pathLst>
              </a:custGeom>
              <a:solidFill>
                <a:schemeClr val="accent5"/>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grpSp>
        <p:grpSp>
          <p:nvGrpSpPr>
            <p:cNvPr id="199" name="Group 198"/>
            <p:cNvGrpSpPr/>
            <p:nvPr/>
          </p:nvGrpSpPr>
          <p:grpSpPr>
            <a:xfrm>
              <a:off x="870291" y="3656599"/>
              <a:ext cx="1452936" cy="2097458"/>
              <a:chOff x="870291" y="3656599"/>
              <a:chExt cx="1452936" cy="2097458"/>
            </a:xfrm>
          </p:grpSpPr>
          <p:sp>
            <p:nvSpPr>
              <p:cNvPr id="200" name="Rectangle 31"/>
              <p:cNvSpPr>
                <a:spLocks noChangeArrowheads="1"/>
              </p:cNvSpPr>
              <p:nvPr/>
            </p:nvSpPr>
            <p:spPr bwMode="auto">
              <a:xfrm>
                <a:off x="1564267" y="4494472"/>
                <a:ext cx="36576" cy="1259585"/>
              </a:xfrm>
              <a:prstGeom prst="rect">
                <a:avLst/>
              </a:prstGeom>
              <a:solidFill>
                <a:schemeClr val="tx2">
                  <a:lumMod val="20000"/>
                  <a:lumOff val="80000"/>
                </a:schemeClr>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01" name="Oval 41"/>
              <p:cNvSpPr>
                <a:spLocks noChangeArrowheads="1"/>
              </p:cNvSpPr>
              <p:nvPr/>
            </p:nvSpPr>
            <p:spPr bwMode="auto">
              <a:xfrm>
                <a:off x="870291" y="3674538"/>
                <a:ext cx="1452936" cy="1242738"/>
              </a:xfrm>
              <a:prstGeom prst="ellipse">
                <a:avLst/>
              </a:prstGeom>
              <a:solidFill>
                <a:schemeClr val="accent1"/>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02" name="Freeform 58"/>
              <p:cNvSpPr>
                <a:spLocks/>
              </p:cNvSpPr>
              <p:nvPr/>
            </p:nvSpPr>
            <p:spPr bwMode="auto">
              <a:xfrm>
                <a:off x="1219285" y="3674538"/>
                <a:ext cx="756554" cy="543146"/>
              </a:xfrm>
              <a:custGeom>
                <a:avLst/>
                <a:gdLst>
                  <a:gd name="T0" fmla="*/ 199 w 399"/>
                  <a:gd name="T1" fmla="*/ 0 h 286"/>
                  <a:gd name="T2" fmla="*/ 399 w 399"/>
                  <a:gd name="T3" fmla="*/ 48 h 286"/>
                  <a:gd name="T4" fmla="*/ 199 w 399"/>
                  <a:gd name="T5" fmla="*/ 286 h 286"/>
                  <a:gd name="T6" fmla="*/ 0 w 399"/>
                  <a:gd name="T7" fmla="*/ 48 h 286"/>
                  <a:gd name="T8" fmla="*/ 199 w 399"/>
                  <a:gd name="T9" fmla="*/ 0 h 286"/>
                </a:gdLst>
                <a:ahLst/>
                <a:cxnLst>
                  <a:cxn ang="0">
                    <a:pos x="T0" y="T1"/>
                  </a:cxn>
                  <a:cxn ang="0">
                    <a:pos x="T2" y="T3"/>
                  </a:cxn>
                  <a:cxn ang="0">
                    <a:pos x="T4" y="T5"/>
                  </a:cxn>
                  <a:cxn ang="0">
                    <a:pos x="T6" y="T7"/>
                  </a:cxn>
                  <a:cxn ang="0">
                    <a:pos x="T8" y="T9"/>
                  </a:cxn>
                </a:cxnLst>
                <a:rect l="0" t="0" r="r" b="b"/>
                <a:pathLst>
                  <a:path w="399" h="286">
                    <a:moveTo>
                      <a:pt x="199" y="0"/>
                    </a:moveTo>
                    <a:cubicBezTo>
                      <a:pt x="272" y="0"/>
                      <a:pt x="341" y="18"/>
                      <a:pt x="399" y="48"/>
                    </a:cubicBezTo>
                    <a:cubicBezTo>
                      <a:pt x="383" y="183"/>
                      <a:pt x="299" y="286"/>
                      <a:pt x="199" y="286"/>
                    </a:cubicBezTo>
                    <a:cubicBezTo>
                      <a:pt x="99" y="286"/>
                      <a:pt x="16" y="183"/>
                      <a:pt x="0" y="48"/>
                    </a:cubicBezTo>
                    <a:cubicBezTo>
                      <a:pt x="58" y="18"/>
                      <a:pt x="126" y="0"/>
                      <a:pt x="199" y="0"/>
                    </a:cubicBezTo>
                    <a:close/>
                  </a:path>
                </a:pathLst>
              </a:custGeom>
              <a:solidFill>
                <a:schemeClr val="tx2"/>
              </a:solidFill>
              <a:ln w="88900" cap="flat">
                <a:solidFill>
                  <a:srgbClr val="FFFFFF"/>
                </a:solidFill>
                <a:prstDash val="solid"/>
                <a:miter lim="800000"/>
                <a:headEnd/>
                <a:tailEnd/>
              </a:ln>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03" name="Freeform 59"/>
              <p:cNvSpPr>
                <a:spLocks/>
              </p:cNvSpPr>
              <p:nvPr/>
            </p:nvSpPr>
            <p:spPr bwMode="auto">
              <a:xfrm>
                <a:off x="1219285" y="3674538"/>
                <a:ext cx="756554" cy="543146"/>
              </a:xfrm>
              <a:custGeom>
                <a:avLst/>
                <a:gdLst>
                  <a:gd name="T0" fmla="*/ 199 w 399"/>
                  <a:gd name="T1" fmla="*/ 0 h 286"/>
                  <a:gd name="T2" fmla="*/ 399 w 399"/>
                  <a:gd name="T3" fmla="*/ 48 h 286"/>
                  <a:gd name="T4" fmla="*/ 199 w 399"/>
                  <a:gd name="T5" fmla="*/ 286 h 286"/>
                  <a:gd name="T6" fmla="*/ 0 w 399"/>
                  <a:gd name="T7" fmla="*/ 48 h 286"/>
                  <a:gd name="T8" fmla="*/ 199 w 399"/>
                  <a:gd name="T9" fmla="*/ 0 h 286"/>
                </a:gdLst>
                <a:ahLst/>
                <a:cxnLst>
                  <a:cxn ang="0">
                    <a:pos x="T0" y="T1"/>
                  </a:cxn>
                  <a:cxn ang="0">
                    <a:pos x="T2" y="T3"/>
                  </a:cxn>
                  <a:cxn ang="0">
                    <a:pos x="T4" y="T5"/>
                  </a:cxn>
                  <a:cxn ang="0">
                    <a:pos x="T6" y="T7"/>
                  </a:cxn>
                  <a:cxn ang="0">
                    <a:pos x="T8" y="T9"/>
                  </a:cxn>
                </a:cxnLst>
                <a:rect l="0" t="0" r="r" b="b"/>
                <a:pathLst>
                  <a:path w="399" h="286">
                    <a:moveTo>
                      <a:pt x="199" y="0"/>
                    </a:moveTo>
                    <a:cubicBezTo>
                      <a:pt x="272" y="0"/>
                      <a:pt x="341" y="18"/>
                      <a:pt x="399" y="48"/>
                    </a:cubicBezTo>
                    <a:cubicBezTo>
                      <a:pt x="383" y="183"/>
                      <a:pt x="299" y="286"/>
                      <a:pt x="199" y="286"/>
                    </a:cubicBezTo>
                    <a:cubicBezTo>
                      <a:pt x="99" y="286"/>
                      <a:pt x="16" y="183"/>
                      <a:pt x="0" y="48"/>
                    </a:cubicBezTo>
                    <a:cubicBezTo>
                      <a:pt x="58" y="18"/>
                      <a:pt x="126" y="0"/>
                      <a:pt x="199" y="0"/>
                    </a:cubicBezTo>
                    <a:close/>
                  </a:path>
                </a:pathLst>
              </a:custGeom>
              <a:solidFill>
                <a:schemeClr val="accent1">
                  <a:lumMod val="75000"/>
                </a:schemeClr>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04" name="TextBox 203"/>
              <p:cNvSpPr txBox="1"/>
              <p:nvPr/>
            </p:nvSpPr>
            <p:spPr>
              <a:xfrm>
                <a:off x="1328317" y="3656599"/>
                <a:ext cx="538491" cy="512136"/>
              </a:xfrm>
              <a:prstGeom prst="rect">
                <a:avLst/>
              </a:prstGeom>
              <a:noFill/>
            </p:spPr>
            <p:txBody>
              <a:bodyPr wrap="none" rtlCol="0">
                <a:spAutoFit/>
              </a:bodyPr>
              <a:lstStyle/>
              <a:p>
                <a:pPr algn="ctr" defTabSz="857124"/>
                <a:r>
                  <a:rPr lang="en-US" sz="2531" b="1" kern="0" dirty="0">
                    <a:solidFill>
                      <a:prstClr val="white"/>
                    </a:solidFill>
                    <a:latin typeface="Calibri Light" panose="020F0302020204030204"/>
                  </a:rPr>
                  <a:t>01</a:t>
                </a:r>
              </a:p>
            </p:txBody>
          </p:sp>
        </p:grpSp>
        <p:grpSp>
          <p:nvGrpSpPr>
            <p:cNvPr id="226" name="Group 225"/>
            <p:cNvGrpSpPr/>
            <p:nvPr/>
          </p:nvGrpSpPr>
          <p:grpSpPr>
            <a:xfrm>
              <a:off x="1443122" y="5602426"/>
              <a:ext cx="307275" cy="305670"/>
              <a:chOff x="1443122" y="5602426"/>
              <a:chExt cx="307275" cy="305670"/>
            </a:xfrm>
          </p:grpSpPr>
          <p:sp>
            <p:nvSpPr>
              <p:cNvPr id="227" name="Oval 26"/>
              <p:cNvSpPr>
                <a:spLocks noChangeArrowheads="1"/>
              </p:cNvSpPr>
              <p:nvPr/>
            </p:nvSpPr>
            <p:spPr bwMode="auto">
              <a:xfrm>
                <a:off x="1443122" y="5602426"/>
                <a:ext cx="307275" cy="30567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28" name="Freeform 45"/>
              <p:cNvSpPr>
                <a:spLocks/>
              </p:cNvSpPr>
              <p:nvPr/>
            </p:nvSpPr>
            <p:spPr bwMode="auto">
              <a:xfrm>
                <a:off x="1520944" y="5676236"/>
                <a:ext cx="146016" cy="154038"/>
              </a:xfrm>
              <a:custGeom>
                <a:avLst/>
                <a:gdLst>
                  <a:gd name="T0" fmla="*/ 31 w 182"/>
                  <a:gd name="T1" fmla="*/ 26 h 192"/>
                  <a:gd name="T2" fmla="*/ 182 w 182"/>
                  <a:gd name="T3" fmla="*/ 0 h 192"/>
                  <a:gd name="T4" fmla="*/ 165 w 182"/>
                  <a:gd name="T5" fmla="*/ 152 h 192"/>
                  <a:gd name="T6" fmla="*/ 125 w 182"/>
                  <a:gd name="T7" fmla="*/ 114 h 192"/>
                  <a:gd name="T8" fmla="*/ 52 w 182"/>
                  <a:gd name="T9" fmla="*/ 192 h 192"/>
                  <a:gd name="T10" fmla="*/ 0 w 182"/>
                  <a:gd name="T11" fmla="*/ 144 h 192"/>
                  <a:gd name="T12" fmla="*/ 73 w 182"/>
                  <a:gd name="T13" fmla="*/ 66 h 192"/>
                  <a:gd name="T14" fmla="*/ 31 w 182"/>
                  <a:gd name="T15" fmla="*/ 26 h 1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2" h="192">
                    <a:moveTo>
                      <a:pt x="31" y="26"/>
                    </a:moveTo>
                    <a:lnTo>
                      <a:pt x="182" y="0"/>
                    </a:lnTo>
                    <a:lnTo>
                      <a:pt x="165" y="152"/>
                    </a:lnTo>
                    <a:lnTo>
                      <a:pt x="125" y="114"/>
                    </a:lnTo>
                    <a:lnTo>
                      <a:pt x="52" y="192"/>
                    </a:lnTo>
                    <a:lnTo>
                      <a:pt x="0" y="144"/>
                    </a:lnTo>
                    <a:lnTo>
                      <a:pt x="73" y="66"/>
                    </a:lnTo>
                    <a:lnTo>
                      <a:pt x="31" y="26"/>
                    </a:lnTo>
                    <a:close/>
                  </a:path>
                </a:pathLst>
              </a:custGeom>
              <a:solidFill>
                <a:schemeClr val="accent1"/>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grpSp>
        <p:sp>
          <p:nvSpPr>
            <p:cNvPr id="256" name="TextBox 255"/>
            <p:cNvSpPr txBox="1"/>
            <p:nvPr/>
          </p:nvSpPr>
          <p:spPr>
            <a:xfrm>
              <a:off x="1118593" y="4240556"/>
              <a:ext cx="907320" cy="404304"/>
            </a:xfrm>
            <a:prstGeom prst="rect">
              <a:avLst/>
            </a:prstGeom>
            <a:noFill/>
          </p:spPr>
          <p:txBody>
            <a:bodyPr wrap="none" rtlCol="0">
              <a:spAutoFit/>
            </a:bodyPr>
            <a:lstStyle/>
            <a:p>
              <a:pPr algn="ctr" defTabSz="857124"/>
              <a:r>
                <a:rPr lang="en-US" sz="1874" b="1" kern="0" dirty="0">
                  <a:solidFill>
                    <a:prstClr val="white"/>
                  </a:solidFill>
                  <a:latin typeface="Segoe UI Light" panose="020B0502040204020203" pitchFamily="34" charset="0"/>
                  <a:cs typeface="Segoe UI Light" panose="020B0502040204020203" pitchFamily="34" charset="0"/>
                </a:rPr>
                <a:t>Strong</a:t>
              </a:r>
            </a:p>
          </p:txBody>
        </p:sp>
        <p:sp>
          <p:nvSpPr>
            <p:cNvPr id="257" name="TextBox 256"/>
            <p:cNvSpPr txBox="1"/>
            <p:nvPr/>
          </p:nvSpPr>
          <p:spPr>
            <a:xfrm>
              <a:off x="1560876" y="2276885"/>
              <a:ext cx="1886173" cy="707886"/>
            </a:xfrm>
            <a:prstGeom prst="rect">
              <a:avLst/>
            </a:prstGeom>
            <a:noFill/>
          </p:spPr>
          <p:txBody>
            <a:bodyPr wrap="square" rtlCol="0">
              <a:spAutoFit/>
            </a:bodyPr>
            <a:lstStyle/>
            <a:p>
              <a:pPr algn="ctr" defTabSz="857124"/>
              <a:r>
                <a:rPr lang="en-US" sz="1874" b="1" kern="0" dirty="0">
                  <a:solidFill>
                    <a:prstClr val="white"/>
                  </a:solidFill>
                  <a:latin typeface="Segoe UI Light" panose="020B0502040204020203" pitchFamily="34" charset="0"/>
                  <a:cs typeface="Segoe UI Light" panose="020B0502040204020203" pitchFamily="34" charset="0"/>
                </a:rPr>
                <a:t>Bounded Staleness</a:t>
              </a:r>
            </a:p>
          </p:txBody>
        </p:sp>
        <p:sp>
          <p:nvSpPr>
            <p:cNvPr id="258" name="TextBox 257"/>
            <p:cNvSpPr txBox="1"/>
            <p:nvPr/>
          </p:nvSpPr>
          <p:spPr>
            <a:xfrm>
              <a:off x="2673020" y="3575334"/>
              <a:ext cx="1886173" cy="404304"/>
            </a:xfrm>
            <a:prstGeom prst="rect">
              <a:avLst/>
            </a:prstGeom>
            <a:noFill/>
          </p:spPr>
          <p:txBody>
            <a:bodyPr wrap="square" rtlCol="0">
              <a:spAutoFit/>
            </a:bodyPr>
            <a:lstStyle/>
            <a:p>
              <a:pPr algn="ctr" defTabSz="857124"/>
              <a:r>
                <a:rPr lang="en-US" sz="1874" b="1" kern="0" dirty="0">
                  <a:solidFill>
                    <a:sysClr val="windowText" lastClr="000000"/>
                  </a:solidFill>
                  <a:latin typeface="Segoe UI Light" panose="020B0502040204020203" pitchFamily="34" charset="0"/>
                  <a:cs typeface="Segoe UI Light" panose="020B0502040204020203" pitchFamily="34" charset="0"/>
                </a:rPr>
                <a:t>Session</a:t>
              </a:r>
            </a:p>
          </p:txBody>
        </p:sp>
        <p:sp>
          <p:nvSpPr>
            <p:cNvPr id="259" name="TextBox 258"/>
            <p:cNvSpPr txBox="1"/>
            <p:nvPr/>
          </p:nvSpPr>
          <p:spPr>
            <a:xfrm>
              <a:off x="3851997" y="2263378"/>
              <a:ext cx="1661493" cy="707886"/>
            </a:xfrm>
            <a:prstGeom prst="rect">
              <a:avLst/>
            </a:prstGeom>
            <a:noFill/>
          </p:spPr>
          <p:txBody>
            <a:bodyPr wrap="square" rtlCol="0">
              <a:spAutoFit/>
            </a:bodyPr>
            <a:lstStyle/>
            <a:p>
              <a:pPr algn="ctr" defTabSz="857124"/>
              <a:r>
                <a:rPr lang="en-US" sz="1874" b="1" kern="0" dirty="0">
                  <a:solidFill>
                    <a:sysClr val="windowText" lastClr="000000"/>
                  </a:solidFill>
                  <a:latin typeface="Segoe UI Light" panose="020B0502040204020203" pitchFamily="34" charset="0"/>
                  <a:cs typeface="Segoe UI Light" panose="020B0502040204020203" pitchFamily="34" charset="0"/>
                </a:rPr>
                <a:t>Consistent Prefix</a:t>
              </a:r>
            </a:p>
          </p:txBody>
        </p:sp>
        <p:sp>
          <p:nvSpPr>
            <p:cNvPr id="260" name="TextBox 259"/>
            <p:cNvSpPr txBox="1"/>
            <p:nvPr/>
          </p:nvSpPr>
          <p:spPr>
            <a:xfrm>
              <a:off x="5057120" y="4268154"/>
              <a:ext cx="1096764" cy="404304"/>
            </a:xfrm>
            <a:prstGeom prst="rect">
              <a:avLst/>
            </a:prstGeom>
            <a:noFill/>
          </p:spPr>
          <p:txBody>
            <a:bodyPr wrap="none" rtlCol="0">
              <a:spAutoFit/>
            </a:bodyPr>
            <a:lstStyle/>
            <a:p>
              <a:pPr algn="ctr" defTabSz="857124"/>
              <a:r>
                <a:rPr lang="en-US" sz="1874" b="1" kern="0" dirty="0">
                  <a:solidFill>
                    <a:prstClr val="white"/>
                  </a:solidFill>
                  <a:latin typeface="Segoe UI Light" panose="020B0502040204020203" pitchFamily="34" charset="0"/>
                  <a:cs typeface="Segoe UI Light" panose="020B0502040204020203" pitchFamily="34" charset="0"/>
                </a:rPr>
                <a:t>Eventual</a:t>
              </a:r>
            </a:p>
          </p:txBody>
        </p:sp>
      </p:grpSp>
      <p:grpSp>
        <p:nvGrpSpPr>
          <p:cNvPr id="322" name="Group 321"/>
          <p:cNvGrpSpPr/>
          <p:nvPr/>
        </p:nvGrpSpPr>
        <p:grpSpPr>
          <a:xfrm>
            <a:off x="5219066" y="6464862"/>
            <a:ext cx="588522" cy="583353"/>
            <a:chOff x="5575730" y="3375041"/>
            <a:chExt cx="1037541" cy="1036042"/>
          </a:xfrm>
          <a:solidFill>
            <a:schemeClr val="accent1"/>
          </a:solidFill>
        </p:grpSpPr>
        <p:sp>
          <p:nvSpPr>
            <p:cNvPr id="323" name="Freeform 26"/>
            <p:cNvSpPr>
              <a:spLocks noEditPoints="1"/>
            </p:cNvSpPr>
            <p:nvPr/>
          </p:nvSpPr>
          <p:spPr bwMode="auto">
            <a:xfrm>
              <a:off x="5575730" y="3375041"/>
              <a:ext cx="1037541" cy="1036042"/>
            </a:xfrm>
            <a:custGeom>
              <a:avLst/>
              <a:gdLst>
                <a:gd name="T0" fmla="*/ 146 w 292"/>
                <a:gd name="T1" fmla="*/ 276 h 292"/>
                <a:gd name="T2" fmla="*/ 64 w 292"/>
                <a:gd name="T3" fmla="*/ 247 h 292"/>
                <a:gd name="T4" fmla="*/ 18 w 292"/>
                <a:gd name="T5" fmla="*/ 171 h 292"/>
                <a:gd name="T6" fmla="*/ 16 w 292"/>
                <a:gd name="T7" fmla="*/ 146 h 292"/>
                <a:gd name="T8" fmla="*/ 45 w 292"/>
                <a:gd name="T9" fmla="*/ 64 h 292"/>
                <a:gd name="T10" fmla="*/ 121 w 292"/>
                <a:gd name="T11" fmla="*/ 19 h 292"/>
                <a:gd name="T12" fmla="*/ 146 w 292"/>
                <a:gd name="T13" fmla="*/ 16 h 292"/>
                <a:gd name="T14" fmla="*/ 146 w 292"/>
                <a:gd name="T15" fmla="*/ 16 h 292"/>
                <a:gd name="T16" fmla="*/ 228 w 292"/>
                <a:gd name="T17" fmla="*/ 46 h 292"/>
                <a:gd name="T18" fmla="*/ 274 w 292"/>
                <a:gd name="T19" fmla="*/ 121 h 292"/>
                <a:gd name="T20" fmla="*/ 281 w 292"/>
                <a:gd name="T21" fmla="*/ 120 h 292"/>
                <a:gd name="T22" fmla="*/ 274 w 292"/>
                <a:gd name="T23" fmla="*/ 121 h 292"/>
                <a:gd name="T24" fmla="*/ 276 w 292"/>
                <a:gd name="T25" fmla="*/ 146 h 292"/>
                <a:gd name="T26" fmla="*/ 247 w 292"/>
                <a:gd name="T27" fmla="*/ 228 h 292"/>
                <a:gd name="T28" fmla="*/ 171 w 292"/>
                <a:gd name="T29" fmla="*/ 274 h 292"/>
                <a:gd name="T30" fmla="*/ 146 w 292"/>
                <a:gd name="T31" fmla="*/ 276 h 292"/>
                <a:gd name="T32" fmla="*/ 146 w 292"/>
                <a:gd name="T33" fmla="*/ 276 h 292"/>
                <a:gd name="T34" fmla="*/ 146 w 292"/>
                <a:gd name="T35" fmla="*/ 0 h 292"/>
                <a:gd name="T36" fmla="*/ 118 w 292"/>
                <a:gd name="T37" fmla="*/ 3 h 292"/>
                <a:gd name="T38" fmla="*/ 33 w 292"/>
                <a:gd name="T39" fmla="*/ 54 h 292"/>
                <a:gd name="T40" fmla="*/ 0 w 292"/>
                <a:gd name="T41" fmla="*/ 146 h 292"/>
                <a:gd name="T42" fmla="*/ 3 w 292"/>
                <a:gd name="T43" fmla="*/ 174 h 292"/>
                <a:gd name="T44" fmla="*/ 54 w 292"/>
                <a:gd name="T45" fmla="*/ 259 h 292"/>
                <a:gd name="T46" fmla="*/ 146 w 292"/>
                <a:gd name="T47" fmla="*/ 292 h 292"/>
                <a:gd name="T48" fmla="*/ 174 w 292"/>
                <a:gd name="T49" fmla="*/ 289 h 292"/>
                <a:gd name="T50" fmla="*/ 259 w 292"/>
                <a:gd name="T51" fmla="*/ 238 h 292"/>
                <a:gd name="T52" fmla="*/ 292 w 292"/>
                <a:gd name="T53" fmla="*/ 146 h 292"/>
                <a:gd name="T54" fmla="*/ 289 w 292"/>
                <a:gd name="T55" fmla="*/ 118 h 292"/>
                <a:gd name="T56" fmla="*/ 289 w 292"/>
                <a:gd name="T57" fmla="*/ 118 h 292"/>
                <a:gd name="T58" fmla="*/ 238 w 292"/>
                <a:gd name="T59" fmla="*/ 33 h 292"/>
                <a:gd name="T60" fmla="*/ 146 w 292"/>
                <a:gd name="T61"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2" h="292">
                  <a:moveTo>
                    <a:pt x="146" y="276"/>
                  </a:moveTo>
                  <a:cubicBezTo>
                    <a:pt x="115" y="276"/>
                    <a:pt x="87" y="265"/>
                    <a:pt x="64" y="247"/>
                  </a:cubicBezTo>
                  <a:cubicBezTo>
                    <a:pt x="41" y="228"/>
                    <a:pt x="24" y="202"/>
                    <a:pt x="18" y="171"/>
                  </a:cubicBezTo>
                  <a:cubicBezTo>
                    <a:pt x="17" y="162"/>
                    <a:pt x="16" y="154"/>
                    <a:pt x="16" y="146"/>
                  </a:cubicBezTo>
                  <a:cubicBezTo>
                    <a:pt x="16" y="115"/>
                    <a:pt x="27" y="87"/>
                    <a:pt x="45" y="64"/>
                  </a:cubicBezTo>
                  <a:cubicBezTo>
                    <a:pt x="64" y="41"/>
                    <a:pt x="90" y="25"/>
                    <a:pt x="121" y="19"/>
                  </a:cubicBezTo>
                  <a:cubicBezTo>
                    <a:pt x="130" y="17"/>
                    <a:pt x="138" y="16"/>
                    <a:pt x="146" y="16"/>
                  </a:cubicBezTo>
                  <a:cubicBezTo>
                    <a:pt x="146" y="16"/>
                    <a:pt x="146" y="16"/>
                    <a:pt x="146" y="16"/>
                  </a:cubicBezTo>
                  <a:cubicBezTo>
                    <a:pt x="177" y="16"/>
                    <a:pt x="205" y="27"/>
                    <a:pt x="228" y="46"/>
                  </a:cubicBezTo>
                  <a:cubicBezTo>
                    <a:pt x="251" y="64"/>
                    <a:pt x="268" y="90"/>
                    <a:pt x="274" y="121"/>
                  </a:cubicBezTo>
                  <a:cubicBezTo>
                    <a:pt x="281" y="120"/>
                    <a:pt x="281" y="120"/>
                    <a:pt x="281" y="120"/>
                  </a:cubicBezTo>
                  <a:cubicBezTo>
                    <a:pt x="274" y="121"/>
                    <a:pt x="274" y="121"/>
                    <a:pt x="274" y="121"/>
                  </a:cubicBezTo>
                  <a:cubicBezTo>
                    <a:pt x="275" y="130"/>
                    <a:pt x="276" y="138"/>
                    <a:pt x="276" y="146"/>
                  </a:cubicBezTo>
                  <a:cubicBezTo>
                    <a:pt x="276" y="177"/>
                    <a:pt x="265" y="206"/>
                    <a:pt x="247" y="228"/>
                  </a:cubicBezTo>
                  <a:cubicBezTo>
                    <a:pt x="228" y="251"/>
                    <a:pt x="202" y="268"/>
                    <a:pt x="171" y="274"/>
                  </a:cubicBezTo>
                  <a:cubicBezTo>
                    <a:pt x="162" y="275"/>
                    <a:pt x="154" y="276"/>
                    <a:pt x="146" y="276"/>
                  </a:cubicBezTo>
                  <a:cubicBezTo>
                    <a:pt x="146" y="276"/>
                    <a:pt x="146" y="276"/>
                    <a:pt x="146" y="276"/>
                  </a:cubicBezTo>
                  <a:moveTo>
                    <a:pt x="146" y="0"/>
                  </a:moveTo>
                  <a:cubicBezTo>
                    <a:pt x="137" y="0"/>
                    <a:pt x="128" y="1"/>
                    <a:pt x="118" y="3"/>
                  </a:cubicBezTo>
                  <a:cubicBezTo>
                    <a:pt x="83" y="9"/>
                    <a:pt x="54" y="28"/>
                    <a:pt x="33" y="54"/>
                  </a:cubicBezTo>
                  <a:cubicBezTo>
                    <a:pt x="12" y="79"/>
                    <a:pt x="0" y="112"/>
                    <a:pt x="0" y="146"/>
                  </a:cubicBezTo>
                  <a:cubicBezTo>
                    <a:pt x="0" y="155"/>
                    <a:pt x="1" y="164"/>
                    <a:pt x="3" y="174"/>
                  </a:cubicBezTo>
                  <a:cubicBezTo>
                    <a:pt x="9" y="209"/>
                    <a:pt x="28" y="238"/>
                    <a:pt x="54" y="259"/>
                  </a:cubicBezTo>
                  <a:cubicBezTo>
                    <a:pt x="79" y="280"/>
                    <a:pt x="112" y="292"/>
                    <a:pt x="146" y="292"/>
                  </a:cubicBezTo>
                  <a:cubicBezTo>
                    <a:pt x="155" y="292"/>
                    <a:pt x="164" y="291"/>
                    <a:pt x="174" y="289"/>
                  </a:cubicBezTo>
                  <a:cubicBezTo>
                    <a:pt x="209" y="283"/>
                    <a:pt x="238" y="264"/>
                    <a:pt x="259" y="238"/>
                  </a:cubicBezTo>
                  <a:cubicBezTo>
                    <a:pt x="280" y="213"/>
                    <a:pt x="292" y="181"/>
                    <a:pt x="292" y="146"/>
                  </a:cubicBezTo>
                  <a:cubicBezTo>
                    <a:pt x="292" y="137"/>
                    <a:pt x="291" y="128"/>
                    <a:pt x="289" y="118"/>
                  </a:cubicBezTo>
                  <a:cubicBezTo>
                    <a:pt x="289" y="118"/>
                    <a:pt x="289" y="118"/>
                    <a:pt x="289" y="118"/>
                  </a:cubicBezTo>
                  <a:cubicBezTo>
                    <a:pt x="283" y="84"/>
                    <a:pt x="264" y="54"/>
                    <a:pt x="238" y="33"/>
                  </a:cubicBezTo>
                  <a:cubicBezTo>
                    <a:pt x="213" y="12"/>
                    <a:pt x="180" y="0"/>
                    <a:pt x="146" y="0"/>
                  </a:cubicBezTo>
                </a:path>
              </a:pathLst>
            </a:custGeom>
            <a:grp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24" name="Freeform 27"/>
            <p:cNvSpPr>
              <a:spLocks/>
            </p:cNvSpPr>
            <p:nvPr/>
          </p:nvSpPr>
          <p:spPr bwMode="auto">
            <a:xfrm>
              <a:off x="5799130" y="3658415"/>
              <a:ext cx="284874" cy="238395"/>
            </a:xfrm>
            <a:custGeom>
              <a:avLst/>
              <a:gdLst>
                <a:gd name="T0" fmla="*/ 7 w 80"/>
                <a:gd name="T1" fmla="*/ 0 h 67"/>
                <a:gd name="T2" fmla="*/ 2 w 80"/>
                <a:gd name="T3" fmla="*/ 2 h 67"/>
                <a:gd name="T4" fmla="*/ 3 w 80"/>
                <a:gd name="T5" fmla="*/ 11 h 67"/>
                <a:gd name="T6" fmla="*/ 73 w 80"/>
                <a:gd name="T7" fmla="*/ 67 h 67"/>
                <a:gd name="T8" fmla="*/ 73 w 80"/>
                <a:gd name="T9" fmla="*/ 66 h 67"/>
                <a:gd name="T10" fmla="*/ 80 w 80"/>
                <a:gd name="T11" fmla="*/ 56 h 67"/>
                <a:gd name="T12" fmla="*/ 11 w 80"/>
                <a:gd name="T13" fmla="*/ 1 h 67"/>
                <a:gd name="T14" fmla="*/ 7 w 80"/>
                <a:gd name="T15" fmla="*/ 0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67">
                  <a:moveTo>
                    <a:pt x="7" y="0"/>
                  </a:moveTo>
                  <a:cubicBezTo>
                    <a:pt x="5" y="0"/>
                    <a:pt x="3" y="0"/>
                    <a:pt x="2" y="2"/>
                  </a:cubicBezTo>
                  <a:cubicBezTo>
                    <a:pt x="0" y="5"/>
                    <a:pt x="0" y="9"/>
                    <a:pt x="3" y="11"/>
                  </a:cubicBezTo>
                  <a:cubicBezTo>
                    <a:pt x="73" y="67"/>
                    <a:pt x="73" y="67"/>
                    <a:pt x="73" y="67"/>
                  </a:cubicBezTo>
                  <a:cubicBezTo>
                    <a:pt x="73" y="67"/>
                    <a:pt x="73" y="66"/>
                    <a:pt x="73" y="66"/>
                  </a:cubicBezTo>
                  <a:cubicBezTo>
                    <a:pt x="73" y="61"/>
                    <a:pt x="76" y="58"/>
                    <a:pt x="80" y="56"/>
                  </a:cubicBezTo>
                  <a:cubicBezTo>
                    <a:pt x="11" y="1"/>
                    <a:pt x="11" y="1"/>
                    <a:pt x="11" y="1"/>
                  </a:cubicBezTo>
                  <a:cubicBezTo>
                    <a:pt x="10" y="0"/>
                    <a:pt x="9" y="0"/>
                    <a:pt x="7" y="0"/>
                  </a:cubicBezTo>
                </a:path>
              </a:pathLst>
            </a:custGeom>
            <a:grp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25" name="Freeform 28"/>
            <p:cNvSpPr>
              <a:spLocks/>
            </p:cNvSpPr>
            <p:nvPr/>
          </p:nvSpPr>
          <p:spPr bwMode="auto">
            <a:xfrm>
              <a:off x="6104995" y="3736380"/>
              <a:ext cx="244392" cy="163428"/>
            </a:xfrm>
            <a:custGeom>
              <a:avLst/>
              <a:gdLst>
                <a:gd name="T0" fmla="*/ 61 w 69"/>
                <a:gd name="T1" fmla="*/ 0 h 46"/>
                <a:gd name="T2" fmla="*/ 58 w 69"/>
                <a:gd name="T3" fmla="*/ 1 h 46"/>
                <a:gd name="T4" fmla="*/ 0 w 69"/>
                <a:gd name="T5" fmla="*/ 35 h 46"/>
                <a:gd name="T6" fmla="*/ 7 w 69"/>
                <a:gd name="T7" fmla="*/ 44 h 46"/>
                <a:gd name="T8" fmla="*/ 7 w 69"/>
                <a:gd name="T9" fmla="*/ 46 h 46"/>
                <a:gd name="T10" fmla="*/ 64 w 69"/>
                <a:gd name="T11" fmla="*/ 12 h 46"/>
                <a:gd name="T12" fmla="*/ 67 w 69"/>
                <a:gd name="T13" fmla="*/ 3 h 46"/>
                <a:gd name="T14" fmla="*/ 61 w 69"/>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 h="46">
                  <a:moveTo>
                    <a:pt x="61" y="0"/>
                  </a:moveTo>
                  <a:cubicBezTo>
                    <a:pt x="60" y="0"/>
                    <a:pt x="59" y="1"/>
                    <a:pt x="58" y="1"/>
                  </a:cubicBezTo>
                  <a:cubicBezTo>
                    <a:pt x="0" y="35"/>
                    <a:pt x="0" y="35"/>
                    <a:pt x="0" y="35"/>
                  </a:cubicBezTo>
                  <a:cubicBezTo>
                    <a:pt x="4" y="36"/>
                    <a:pt x="7" y="40"/>
                    <a:pt x="7" y="44"/>
                  </a:cubicBezTo>
                  <a:cubicBezTo>
                    <a:pt x="7" y="45"/>
                    <a:pt x="7" y="45"/>
                    <a:pt x="7" y="46"/>
                  </a:cubicBezTo>
                  <a:cubicBezTo>
                    <a:pt x="64" y="12"/>
                    <a:pt x="64" y="12"/>
                    <a:pt x="64" y="12"/>
                  </a:cubicBezTo>
                  <a:cubicBezTo>
                    <a:pt x="68" y="10"/>
                    <a:pt x="69" y="7"/>
                    <a:pt x="67" y="3"/>
                  </a:cubicBezTo>
                  <a:cubicBezTo>
                    <a:pt x="66" y="1"/>
                    <a:pt x="63" y="0"/>
                    <a:pt x="61" y="0"/>
                  </a:cubicBezTo>
                </a:path>
              </a:pathLst>
            </a:custGeom>
            <a:grp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26" name="Freeform 29"/>
            <p:cNvSpPr>
              <a:spLocks/>
            </p:cNvSpPr>
            <p:nvPr/>
          </p:nvSpPr>
          <p:spPr bwMode="auto">
            <a:xfrm>
              <a:off x="6058516" y="3857827"/>
              <a:ext cx="70469" cy="70469"/>
            </a:xfrm>
            <a:custGeom>
              <a:avLst/>
              <a:gdLst>
                <a:gd name="T0" fmla="*/ 10 w 20"/>
                <a:gd name="T1" fmla="*/ 0 h 20"/>
                <a:gd name="T2" fmla="*/ 7 w 20"/>
                <a:gd name="T3" fmla="*/ 0 h 20"/>
                <a:gd name="T4" fmla="*/ 0 w 20"/>
                <a:gd name="T5" fmla="*/ 10 h 20"/>
                <a:gd name="T6" fmla="*/ 0 w 20"/>
                <a:gd name="T7" fmla="*/ 11 h 20"/>
                <a:gd name="T8" fmla="*/ 10 w 20"/>
                <a:gd name="T9" fmla="*/ 20 h 20"/>
                <a:gd name="T10" fmla="*/ 20 w 20"/>
                <a:gd name="T11" fmla="*/ 12 h 20"/>
                <a:gd name="T12" fmla="*/ 20 w 20"/>
                <a:gd name="T13" fmla="*/ 10 h 20"/>
                <a:gd name="T14" fmla="*/ 13 w 20"/>
                <a:gd name="T15" fmla="*/ 1 h 20"/>
                <a:gd name="T16" fmla="*/ 10 w 20"/>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0">
                  <a:moveTo>
                    <a:pt x="10" y="0"/>
                  </a:moveTo>
                  <a:cubicBezTo>
                    <a:pt x="9" y="0"/>
                    <a:pt x="8" y="0"/>
                    <a:pt x="7" y="0"/>
                  </a:cubicBezTo>
                  <a:cubicBezTo>
                    <a:pt x="3" y="2"/>
                    <a:pt x="0" y="5"/>
                    <a:pt x="0" y="10"/>
                  </a:cubicBezTo>
                  <a:cubicBezTo>
                    <a:pt x="0" y="10"/>
                    <a:pt x="0" y="11"/>
                    <a:pt x="0" y="11"/>
                  </a:cubicBezTo>
                  <a:cubicBezTo>
                    <a:pt x="1" y="16"/>
                    <a:pt x="5" y="20"/>
                    <a:pt x="10" y="20"/>
                  </a:cubicBezTo>
                  <a:cubicBezTo>
                    <a:pt x="15" y="20"/>
                    <a:pt x="19" y="16"/>
                    <a:pt x="20" y="12"/>
                  </a:cubicBezTo>
                  <a:cubicBezTo>
                    <a:pt x="20" y="11"/>
                    <a:pt x="20" y="11"/>
                    <a:pt x="20" y="10"/>
                  </a:cubicBezTo>
                  <a:cubicBezTo>
                    <a:pt x="20" y="6"/>
                    <a:pt x="17" y="2"/>
                    <a:pt x="13" y="1"/>
                  </a:cubicBezTo>
                  <a:cubicBezTo>
                    <a:pt x="12" y="0"/>
                    <a:pt x="11" y="0"/>
                    <a:pt x="10" y="0"/>
                  </a:cubicBezTo>
                </a:path>
              </a:pathLst>
            </a:custGeom>
            <a:grp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27" name="Freeform 30"/>
            <p:cNvSpPr>
              <a:spLocks/>
            </p:cNvSpPr>
            <p:nvPr/>
          </p:nvSpPr>
          <p:spPr bwMode="auto">
            <a:xfrm>
              <a:off x="6073509" y="3478494"/>
              <a:ext cx="41981" cy="137939"/>
            </a:xfrm>
            <a:custGeom>
              <a:avLst/>
              <a:gdLst>
                <a:gd name="T0" fmla="*/ 6 w 12"/>
                <a:gd name="T1" fmla="*/ 0 h 39"/>
                <a:gd name="T2" fmla="*/ 0 w 12"/>
                <a:gd name="T3" fmla="*/ 6 h 39"/>
                <a:gd name="T4" fmla="*/ 0 w 12"/>
                <a:gd name="T5" fmla="*/ 33 h 39"/>
                <a:gd name="T6" fmla="*/ 6 w 12"/>
                <a:gd name="T7" fmla="*/ 39 h 39"/>
                <a:gd name="T8" fmla="*/ 12 w 12"/>
                <a:gd name="T9" fmla="*/ 33 h 39"/>
                <a:gd name="T10" fmla="*/ 12 w 12"/>
                <a:gd name="T11" fmla="*/ 6 h 39"/>
                <a:gd name="T12" fmla="*/ 6 w 12"/>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2" h="39">
                  <a:moveTo>
                    <a:pt x="6" y="0"/>
                  </a:moveTo>
                  <a:cubicBezTo>
                    <a:pt x="2" y="0"/>
                    <a:pt x="0" y="2"/>
                    <a:pt x="0" y="6"/>
                  </a:cubicBezTo>
                  <a:cubicBezTo>
                    <a:pt x="0" y="33"/>
                    <a:pt x="0" y="33"/>
                    <a:pt x="0" y="33"/>
                  </a:cubicBezTo>
                  <a:cubicBezTo>
                    <a:pt x="0" y="36"/>
                    <a:pt x="2" y="39"/>
                    <a:pt x="6" y="39"/>
                  </a:cubicBezTo>
                  <a:cubicBezTo>
                    <a:pt x="10" y="39"/>
                    <a:pt x="12" y="36"/>
                    <a:pt x="12" y="33"/>
                  </a:cubicBezTo>
                  <a:cubicBezTo>
                    <a:pt x="12" y="6"/>
                    <a:pt x="12" y="6"/>
                    <a:pt x="12" y="6"/>
                  </a:cubicBezTo>
                  <a:cubicBezTo>
                    <a:pt x="12" y="2"/>
                    <a:pt x="10" y="0"/>
                    <a:pt x="6" y="0"/>
                  </a:cubicBezTo>
                </a:path>
              </a:pathLst>
            </a:custGeom>
            <a:grp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28" name="Freeform 31"/>
            <p:cNvSpPr>
              <a:spLocks/>
            </p:cNvSpPr>
            <p:nvPr/>
          </p:nvSpPr>
          <p:spPr bwMode="auto">
            <a:xfrm>
              <a:off x="6073509" y="4172688"/>
              <a:ext cx="41981" cy="142437"/>
            </a:xfrm>
            <a:custGeom>
              <a:avLst/>
              <a:gdLst>
                <a:gd name="T0" fmla="*/ 6 w 12"/>
                <a:gd name="T1" fmla="*/ 0 h 40"/>
                <a:gd name="T2" fmla="*/ 0 w 12"/>
                <a:gd name="T3" fmla="*/ 6 h 40"/>
                <a:gd name="T4" fmla="*/ 0 w 12"/>
                <a:gd name="T5" fmla="*/ 33 h 40"/>
                <a:gd name="T6" fmla="*/ 6 w 12"/>
                <a:gd name="T7" fmla="*/ 40 h 40"/>
                <a:gd name="T8" fmla="*/ 12 w 12"/>
                <a:gd name="T9" fmla="*/ 33 h 40"/>
                <a:gd name="T10" fmla="*/ 12 w 12"/>
                <a:gd name="T11" fmla="*/ 6 h 40"/>
                <a:gd name="T12" fmla="*/ 6 w 12"/>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12" h="40">
                  <a:moveTo>
                    <a:pt x="6" y="0"/>
                  </a:moveTo>
                  <a:cubicBezTo>
                    <a:pt x="2" y="0"/>
                    <a:pt x="0" y="3"/>
                    <a:pt x="0" y="6"/>
                  </a:cubicBezTo>
                  <a:cubicBezTo>
                    <a:pt x="0" y="33"/>
                    <a:pt x="0" y="33"/>
                    <a:pt x="0" y="33"/>
                  </a:cubicBezTo>
                  <a:cubicBezTo>
                    <a:pt x="0" y="37"/>
                    <a:pt x="2" y="40"/>
                    <a:pt x="6" y="40"/>
                  </a:cubicBezTo>
                  <a:cubicBezTo>
                    <a:pt x="10" y="40"/>
                    <a:pt x="12" y="37"/>
                    <a:pt x="12" y="33"/>
                  </a:cubicBezTo>
                  <a:cubicBezTo>
                    <a:pt x="12" y="6"/>
                    <a:pt x="12" y="6"/>
                    <a:pt x="12" y="6"/>
                  </a:cubicBezTo>
                  <a:cubicBezTo>
                    <a:pt x="12" y="3"/>
                    <a:pt x="10" y="0"/>
                    <a:pt x="6" y="0"/>
                  </a:cubicBezTo>
                </a:path>
              </a:pathLst>
            </a:custGeom>
            <a:grp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29" name="Freeform 32"/>
            <p:cNvSpPr>
              <a:spLocks/>
            </p:cNvSpPr>
            <p:nvPr/>
          </p:nvSpPr>
          <p:spPr bwMode="auto">
            <a:xfrm>
              <a:off x="6371877" y="3871321"/>
              <a:ext cx="140938" cy="46480"/>
            </a:xfrm>
            <a:custGeom>
              <a:avLst/>
              <a:gdLst>
                <a:gd name="T0" fmla="*/ 34 w 40"/>
                <a:gd name="T1" fmla="*/ 0 h 13"/>
                <a:gd name="T2" fmla="*/ 7 w 40"/>
                <a:gd name="T3" fmla="*/ 0 h 13"/>
                <a:gd name="T4" fmla="*/ 0 w 40"/>
                <a:gd name="T5" fmla="*/ 7 h 13"/>
                <a:gd name="T6" fmla="*/ 7 w 40"/>
                <a:gd name="T7" fmla="*/ 13 h 13"/>
                <a:gd name="T8" fmla="*/ 34 w 40"/>
                <a:gd name="T9" fmla="*/ 13 h 13"/>
                <a:gd name="T10" fmla="*/ 40 w 40"/>
                <a:gd name="T11" fmla="*/ 7 h 13"/>
                <a:gd name="T12" fmla="*/ 34 w 40"/>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0" h="13">
                  <a:moveTo>
                    <a:pt x="34" y="0"/>
                  </a:moveTo>
                  <a:cubicBezTo>
                    <a:pt x="7" y="0"/>
                    <a:pt x="7" y="0"/>
                    <a:pt x="7" y="0"/>
                  </a:cubicBezTo>
                  <a:cubicBezTo>
                    <a:pt x="3" y="0"/>
                    <a:pt x="0" y="3"/>
                    <a:pt x="0" y="7"/>
                  </a:cubicBezTo>
                  <a:cubicBezTo>
                    <a:pt x="0" y="10"/>
                    <a:pt x="3" y="13"/>
                    <a:pt x="7" y="13"/>
                  </a:cubicBezTo>
                  <a:cubicBezTo>
                    <a:pt x="34" y="13"/>
                    <a:pt x="34" y="13"/>
                    <a:pt x="34" y="13"/>
                  </a:cubicBezTo>
                  <a:cubicBezTo>
                    <a:pt x="37" y="13"/>
                    <a:pt x="40" y="10"/>
                    <a:pt x="40" y="7"/>
                  </a:cubicBezTo>
                  <a:cubicBezTo>
                    <a:pt x="40" y="3"/>
                    <a:pt x="37" y="0"/>
                    <a:pt x="34" y="0"/>
                  </a:cubicBezTo>
                </a:path>
              </a:pathLst>
            </a:custGeom>
            <a:grp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30" name="Freeform 33"/>
            <p:cNvSpPr>
              <a:spLocks/>
            </p:cNvSpPr>
            <p:nvPr/>
          </p:nvSpPr>
          <p:spPr bwMode="auto">
            <a:xfrm>
              <a:off x="5674686" y="3871321"/>
              <a:ext cx="142437" cy="46480"/>
            </a:xfrm>
            <a:custGeom>
              <a:avLst/>
              <a:gdLst>
                <a:gd name="T0" fmla="*/ 33 w 40"/>
                <a:gd name="T1" fmla="*/ 0 h 13"/>
                <a:gd name="T2" fmla="*/ 6 w 40"/>
                <a:gd name="T3" fmla="*/ 0 h 13"/>
                <a:gd name="T4" fmla="*/ 0 w 40"/>
                <a:gd name="T5" fmla="*/ 7 h 13"/>
                <a:gd name="T6" fmla="*/ 6 w 40"/>
                <a:gd name="T7" fmla="*/ 13 h 13"/>
                <a:gd name="T8" fmla="*/ 33 w 40"/>
                <a:gd name="T9" fmla="*/ 13 h 13"/>
                <a:gd name="T10" fmla="*/ 40 w 40"/>
                <a:gd name="T11" fmla="*/ 7 h 13"/>
                <a:gd name="T12" fmla="*/ 33 w 40"/>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0" h="13">
                  <a:moveTo>
                    <a:pt x="33" y="0"/>
                  </a:moveTo>
                  <a:cubicBezTo>
                    <a:pt x="6" y="0"/>
                    <a:pt x="6" y="0"/>
                    <a:pt x="6" y="0"/>
                  </a:cubicBezTo>
                  <a:cubicBezTo>
                    <a:pt x="3" y="0"/>
                    <a:pt x="0" y="3"/>
                    <a:pt x="0" y="7"/>
                  </a:cubicBezTo>
                  <a:cubicBezTo>
                    <a:pt x="0" y="10"/>
                    <a:pt x="3" y="13"/>
                    <a:pt x="6" y="13"/>
                  </a:cubicBezTo>
                  <a:cubicBezTo>
                    <a:pt x="33" y="13"/>
                    <a:pt x="33" y="13"/>
                    <a:pt x="33" y="13"/>
                  </a:cubicBezTo>
                  <a:cubicBezTo>
                    <a:pt x="37" y="13"/>
                    <a:pt x="40" y="10"/>
                    <a:pt x="40" y="7"/>
                  </a:cubicBezTo>
                  <a:cubicBezTo>
                    <a:pt x="40" y="3"/>
                    <a:pt x="37" y="0"/>
                    <a:pt x="33" y="0"/>
                  </a:cubicBezTo>
                </a:path>
              </a:pathLst>
            </a:custGeom>
            <a:grp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grpSp>
      <p:sp>
        <p:nvSpPr>
          <p:cNvPr id="121" name="Title 1">
            <a:extLst/>
          </p:cNvPr>
          <p:cNvSpPr txBox="1">
            <a:spLocks/>
          </p:cNvSpPr>
          <p:nvPr/>
        </p:nvSpPr>
        <p:spPr>
          <a:xfrm>
            <a:off x="2892850" y="1086642"/>
            <a:ext cx="6371376" cy="526055"/>
          </a:xfrm>
          <a:prstGeom prst="rect">
            <a:avLst/>
          </a:prstGeom>
          <a:solidFill>
            <a:schemeClr val="tx1"/>
          </a:solidFill>
        </p:spPr>
        <p:txBody>
          <a:bodyPr wrap="square" tIns="84027" bIns="84027"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874318">
              <a:defRPr/>
            </a:pPr>
            <a:r>
              <a:rPr lang="en-US" sz="2573" spc="0" dirty="0">
                <a:solidFill>
                  <a:srgbClr val="0078D7">
                    <a:lumMod val="20000"/>
                    <a:lumOff val="80000"/>
                  </a:srgbClr>
                </a:solidFill>
                <a:latin typeface="Segoe UI" panose="020B0502040204020203" pitchFamily="34" charset="0"/>
              </a:rPr>
              <a:t>5 well-defined consistency models</a:t>
            </a:r>
            <a:endParaRPr lang="en-US" sz="3675" spc="0" dirty="0">
              <a:solidFill>
                <a:srgbClr val="0078D7">
                  <a:lumMod val="20000"/>
                  <a:lumOff val="80000"/>
                </a:srgbClr>
              </a:solidFill>
              <a:latin typeface="Segoe UI" panose="020B0502040204020203" pitchFamily="34" charset="0"/>
            </a:endParaRPr>
          </a:p>
        </p:txBody>
      </p:sp>
      <p:grpSp>
        <p:nvGrpSpPr>
          <p:cNvPr id="344" name="Group 343"/>
          <p:cNvGrpSpPr/>
          <p:nvPr/>
        </p:nvGrpSpPr>
        <p:grpSpPr>
          <a:xfrm>
            <a:off x="89168" y="6409728"/>
            <a:ext cx="662315" cy="647347"/>
            <a:chOff x="1942629" y="6183229"/>
            <a:chExt cx="792492" cy="792095"/>
          </a:xfrm>
        </p:grpSpPr>
        <p:sp>
          <p:nvSpPr>
            <p:cNvPr id="342" name="Freeform 13"/>
            <p:cNvSpPr>
              <a:spLocks noEditPoints="1"/>
            </p:cNvSpPr>
            <p:nvPr/>
          </p:nvSpPr>
          <p:spPr bwMode="auto">
            <a:xfrm>
              <a:off x="2200318" y="6440521"/>
              <a:ext cx="277114" cy="277511"/>
            </a:xfrm>
            <a:custGeom>
              <a:avLst/>
              <a:gdLst>
                <a:gd name="T0" fmla="*/ 269 w 537"/>
                <a:gd name="T1" fmla="*/ 538 h 538"/>
                <a:gd name="T2" fmla="*/ 0 w 537"/>
                <a:gd name="T3" fmla="*/ 269 h 538"/>
                <a:gd name="T4" fmla="*/ 269 w 537"/>
                <a:gd name="T5" fmla="*/ 0 h 538"/>
                <a:gd name="T6" fmla="*/ 537 w 537"/>
                <a:gd name="T7" fmla="*/ 269 h 538"/>
                <a:gd name="T8" fmla="*/ 269 w 537"/>
                <a:gd name="T9" fmla="*/ 538 h 538"/>
                <a:gd name="T10" fmla="*/ 269 w 537"/>
                <a:gd name="T11" fmla="*/ 244 h 538"/>
                <a:gd name="T12" fmla="*/ 244 w 537"/>
                <a:gd name="T13" fmla="*/ 269 h 538"/>
                <a:gd name="T14" fmla="*/ 269 w 537"/>
                <a:gd name="T15" fmla="*/ 293 h 538"/>
                <a:gd name="T16" fmla="*/ 293 w 537"/>
                <a:gd name="T17" fmla="*/ 269 h 538"/>
                <a:gd name="T18" fmla="*/ 269 w 537"/>
                <a:gd name="T19" fmla="*/ 244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7" h="538">
                  <a:moveTo>
                    <a:pt x="269" y="538"/>
                  </a:moveTo>
                  <a:cubicBezTo>
                    <a:pt x="121" y="538"/>
                    <a:pt x="0" y="417"/>
                    <a:pt x="0" y="269"/>
                  </a:cubicBezTo>
                  <a:cubicBezTo>
                    <a:pt x="0" y="121"/>
                    <a:pt x="121" y="0"/>
                    <a:pt x="269" y="0"/>
                  </a:cubicBezTo>
                  <a:cubicBezTo>
                    <a:pt x="417" y="0"/>
                    <a:pt x="537" y="121"/>
                    <a:pt x="537" y="269"/>
                  </a:cubicBezTo>
                  <a:cubicBezTo>
                    <a:pt x="537" y="417"/>
                    <a:pt x="417" y="538"/>
                    <a:pt x="269" y="538"/>
                  </a:cubicBezTo>
                  <a:moveTo>
                    <a:pt x="269" y="244"/>
                  </a:moveTo>
                  <a:cubicBezTo>
                    <a:pt x="255" y="244"/>
                    <a:pt x="244" y="255"/>
                    <a:pt x="244" y="269"/>
                  </a:cubicBezTo>
                  <a:cubicBezTo>
                    <a:pt x="244" y="282"/>
                    <a:pt x="255" y="293"/>
                    <a:pt x="269" y="293"/>
                  </a:cubicBezTo>
                  <a:cubicBezTo>
                    <a:pt x="282" y="293"/>
                    <a:pt x="293" y="282"/>
                    <a:pt x="293" y="269"/>
                  </a:cubicBezTo>
                  <a:cubicBezTo>
                    <a:pt x="293" y="255"/>
                    <a:pt x="282" y="244"/>
                    <a:pt x="269" y="244"/>
                  </a:cubicBezTo>
                </a:path>
              </a:pathLst>
            </a:custGeom>
            <a:solidFill>
              <a:schemeClr val="accent2"/>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43" name="Freeform 14"/>
            <p:cNvSpPr>
              <a:spLocks noEditPoints="1"/>
            </p:cNvSpPr>
            <p:nvPr/>
          </p:nvSpPr>
          <p:spPr bwMode="auto">
            <a:xfrm>
              <a:off x="1942629" y="6183229"/>
              <a:ext cx="792492" cy="792095"/>
            </a:xfrm>
            <a:custGeom>
              <a:avLst/>
              <a:gdLst>
                <a:gd name="T0" fmla="*/ 768 w 1535"/>
                <a:gd name="T1" fmla="*/ 1534 h 1534"/>
                <a:gd name="T2" fmla="*/ 0 w 1535"/>
                <a:gd name="T3" fmla="*/ 767 h 1534"/>
                <a:gd name="T4" fmla="*/ 768 w 1535"/>
                <a:gd name="T5" fmla="*/ 0 h 1534"/>
                <a:gd name="T6" fmla="*/ 1535 w 1535"/>
                <a:gd name="T7" fmla="*/ 767 h 1534"/>
                <a:gd name="T8" fmla="*/ 768 w 1535"/>
                <a:gd name="T9" fmla="*/ 1534 h 1534"/>
                <a:gd name="T10" fmla="*/ 768 w 1535"/>
                <a:gd name="T11" fmla="*/ 244 h 1534"/>
                <a:gd name="T12" fmla="*/ 245 w 1535"/>
                <a:gd name="T13" fmla="*/ 767 h 1534"/>
                <a:gd name="T14" fmla="*/ 768 w 1535"/>
                <a:gd name="T15" fmla="*/ 1290 h 1534"/>
                <a:gd name="T16" fmla="*/ 1291 w 1535"/>
                <a:gd name="T17" fmla="*/ 767 h 1534"/>
                <a:gd name="T18" fmla="*/ 768 w 1535"/>
                <a:gd name="T19" fmla="*/ 244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5" h="1534">
                  <a:moveTo>
                    <a:pt x="768" y="1534"/>
                  </a:moveTo>
                  <a:cubicBezTo>
                    <a:pt x="345" y="1534"/>
                    <a:pt x="0" y="1190"/>
                    <a:pt x="0" y="767"/>
                  </a:cubicBezTo>
                  <a:cubicBezTo>
                    <a:pt x="0" y="344"/>
                    <a:pt x="345" y="0"/>
                    <a:pt x="768" y="0"/>
                  </a:cubicBezTo>
                  <a:cubicBezTo>
                    <a:pt x="1191" y="0"/>
                    <a:pt x="1535" y="344"/>
                    <a:pt x="1535" y="767"/>
                  </a:cubicBezTo>
                  <a:cubicBezTo>
                    <a:pt x="1535" y="1190"/>
                    <a:pt x="1191" y="1534"/>
                    <a:pt x="768" y="1534"/>
                  </a:cubicBezTo>
                  <a:moveTo>
                    <a:pt x="768" y="244"/>
                  </a:moveTo>
                  <a:cubicBezTo>
                    <a:pt x="479" y="244"/>
                    <a:pt x="245" y="478"/>
                    <a:pt x="245" y="767"/>
                  </a:cubicBezTo>
                  <a:cubicBezTo>
                    <a:pt x="245" y="1055"/>
                    <a:pt x="479" y="1290"/>
                    <a:pt x="768" y="1290"/>
                  </a:cubicBezTo>
                  <a:cubicBezTo>
                    <a:pt x="1056" y="1290"/>
                    <a:pt x="1291" y="1055"/>
                    <a:pt x="1291" y="767"/>
                  </a:cubicBezTo>
                  <a:cubicBezTo>
                    <a:pt x="1291" y="478"/>
                    <a:pt x="1056" y="244"/>
                    <a:pt x="768" y="244"/>
                  </a:cubicBezTo>
                </a:path>
              </a:pathLst>
            </a:custGeom>
            <a:solidFill>
              <a:schemeClr val="accent2"/>
            </a:solidFill>
            <a:ln>
              <a:noFill/>
            </a:ln>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grpSp>
      <p:grpSp>
        <p:nvGrpSpPr>
          <p:cNvPr id="124" name="Group 123">
            <a:extLst/>
          </p:cNvPr>
          <p:cNvGrpSpPr/>
          <p:nvPr/>
        </p:nvGrpSpPr>
        <p:grpSpPr>
          <a:xfrm>
            <a:off x="5835790" y="4693773"/>
            <a:ext cx="6658683" cy="2842426"/>
            <a:chOff x="4084637" y="3428158"/>
            <a:chExt cx="9017707" cy="3966541"/>
          </a:xfrm>
        </p:grpSpPr>
        <p:pic>
          <p:nvPicPr>
            <p:cNvPr id="125" name="Picture 124">
              <a:extLst/>
            </p:cNvPr>
            <p:cNvPicPr>
              <a:picLocks noChangeAspect="1"/>
            </p:cNvPicPr>
            <p:nvPr/>
          </p:nvPicPr>
          <p:blipFill>
            <a:blip r:embed="rId3"/>
            <a:stretch>
              <a:fillRect/>
            </a:stretch>
          </p:blipFill>
          <p:spPr>
            <a:xfrm>
              <a:off x="5125102" y="3696582"/>
              <a:ext cx="6917962" cy="3698117"/>
            </a:xfrm>
            <a:prstGeom prst="rect">
              <a:avLst/>
            </a:prstGeom>
          </p:spPr>
        </p:pic>
        <p:pic>
          <p:nvPicPr>
            <p:cNvPr id="126" name="Picture 125">
              <a:extLst/>
            </p:cNvPr>
            <p:cNvPicPr>
              <a:picLocks noChangeAspect="1"/>
            </p:cNvPicPr>
            <p:nvPr/>
          </p:nvPicPr>
          <p:blipFill rotWithShape="1">
            <a:blip r:embed="rId4"/>
            <a:srcRect b="35324"/>
            <a:stretch/>
          </p:blipFill>
          <p:spPr>
            <a:xfrm>
              <a:off x="4084637" y="3428158"/>
              <a:ext cx="9017707" cy="3354853"/>
            </a:xfrm>
            <a:prstGeom prst="rect">
              <a:avLst/>
            </a:prstGeom>
          </p:spPr>
        </p:pic>
      </p:grpSp>
      <p:sp>
        <p:nvSpPr>
          <p:cNvPr id="4" name="Equals 3"/>
          <p:cNvSpPr/>
          <p:nvPr/>
        </p:nvSpPr>
        <p:spPr>
          <a:xfrm>
            <a:off x="5497073" y="5317409"/>
            <a:ext cx="651959" cy="509332"/>
          </a:xfrm>
          <a:prstGeom prst="mathEqual">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black"/>
              </a:solidFill>
              <a:latin typeface="Calibri" panose="020F0502020204030204"/>
            </a:endParaRPr>
          </a:p>
        </p:txBody>
      </p:sp>
      <p:sp>
        <p:nvSpPr>
          <p:cNvPr id="5" name="Rectangle 4"/>
          <p:cNvSpPr/>
          <p:nvPr/>
        </p:nvSpPr>
        <p:spPr>
          <a:xfrm>
            <a:off x="8523737" y="2031190"/>
            <a:ext cx="2710313" cy="2066825"/>
          </a:xfrm>
          <a:prstGeom prst="rect">
            <a:avLst/>
          </a:prstGeom>
        </p:spPr>
        <p:txBody>
          <a:bodyPr wrap="square">
            <a:spAutoFit/>
          </a:bodyPr>
          <a:lstStyle/>
          <a:p>
            <a:pPr defTabSz="914367">
              <a:spcAft>
                <a:spcPts val="588"/>
              </a:spcAft>
            </a:pPr>
            <a:r>
              <a:rPr lang="en-US" sz="3137" dirty="0">
                <a:solidFill>
                  <a:prstClr val="white"/>
                </a:solidFill>
                <a:latin typeface="Segoe UI Light" panose="020B0502040204020203" pitchFamily="34" charset="0"/>
                <a:cs typeface="Segoe UI Light" panose="020B0502040204020203" pitchFamily="34" charset="0"/>
              </a:rPr>
              <a:t>Clear Tradeoffs</a:t>
            </a:r>
          </a:p>
          <a:p>
            <a:pPr marL="280121" indent="-280121" defTabSz="914367">
              <a:spcAft>
                <a:spcPts val="588"/>
              </a:spcAft>
              <a:buFont typeface="Arial" panose="020B0604020202020204" pitchFamily="34" charset="0"/>
              <a:buChar char="•"/>
            </a:pPr>
            <a:r>
              <a:rPr lang="en-US" sz="2745" dirty="0">
                <a:solidFill>
                  <a:prstClr val="white"/>
                </a:solidFill>
                <a:latin typeface="Segoe UI Light" panose="020B0502040204020203" pitchFamily="34" charset="0"/>
                <a:cs typeface="Segoe UI Light" panose="020B0502040204020203" pitchFamily="34" charset="0"/>
              </a:rPr>
              <a:t>Latency </a:t>
            </a:r>
          </a:p>
          <a:p>
            <a:pPr marL="280121" indent="-280121" defTabSz="914367">
              <a:spcAft>
                <a:spcPts val="588"/>
              </a:spcAft>
              <a:buFont typeface="Arial" panose="020B0604020202020204" pitchFamily="34" charset="0"/>
              <a:buChar char="•"/>
            </a:pPr>
            <a:r>
              <a:rPr lang="en-US" sz="2745" dirty="0">
                <a:solidFill>
                  <a:prstClr val="white"/>
                </a:solidFill>
                <a:latin typeface="Segoe UI Light" panose="020B0502040204020203" pitchFamily="34" charset="0"/>
                <a:cs typeface="Segoe UI Light" panose="020B0502040204020203" pitchFamily="34" charset="0"/>
              </a:rPr>
              <a:t>Availability </a:t>
            </a:r>
          </a:p>
          <a:p>
            <a:pPr marL="280121" indent="-280121" defTabSz="914367">
              <a:spcAft>
                <a:spcPts val="588"/>
              </a:spcAft>
              <a:buFont typeface="Arial" panose="020B0604020202020204" pitchFamily="34" charset="0"/>
              <a:buChar char="•"/>
            </a:pPr>
            <a:r>
              <a:rPr lang="en-US" sz="2745" dirty="0">
                <a:solidFill>
                  <a:prstClr val="white"/>
                </a:solidFill>
                <a:latin typeface="Segoe UI Light" panose="020B0502040204020203" pitchFamily="34" charset="0"/>
                <a:cs typeface="Segoe UI Light" panose="020B0502040204020203" pitchFamily="34" charset="0"/>
              </a:rPr>
              <a:t>Throughput</a:t>
            </a:r>
            <a:endParaRPr lang="en-US" sz="2745" dirty="0">
              <a:solidFill>
                <a:prstClr val="black"/>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64879534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Oval 1"/>
          <p:cNvSpPr/>
          <p:nvPr/>
        </p:nvSpPr>
        <p:spPr>
          <a:xfrm>
            <a:off x="-953066" y="1861315"/>
            <a:ext cx="14166669" cy="795528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Freeform: Shape 99"/>
          <p:cNvSpPr/>
          <p:nvPr/>
        </p:nvSpPr>
        <p:spPr>
          <a:xfrm>
            <a:off x="35631" y="5341026"/>
            <a:ext cx="12189302" cy="1745574"/>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15361" h="1745574">
                <a:moveTo>
                  <a:pt x="5907680" y="0"/>
                </a:moveTo>
                <a:cubicBezTo>
                  <a:pt x="8502236" y="0"/>
                  <a:pt x="10736988" y="686989"/>
                  <a:pt x="11747164" y="1675322"/>
                </a:cubicBezTo>
                <a:lnTo>
                  <a:pt x="11815361" y="1745574"/>
                </a:lnTo>
                <a:lnTo>
                  <a:pt x="0" y="1745574"/>
                </a:lnTo>
                <a:lnTo>
                  <a:pt x="68197" y="1675322"/>
                </a:lnTo>
                <a:cubicBezTo>
                  <a:pt x="1078372" y="686989"/>
                  <a:pt x="3313125" y="0"/>
                  <a:pt x="5907680" y="0"/>
                </a:cubicBezTo>
                <a:close/>
              </a:path>
            </a:pathLst>
          </a:cu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925" name="Freeform: Shape 924"/>
          <p:cNvSpPr>
            <a:spLocks/>
          </p:cNvSpPr>
          <p:nvPr/>
        </p:nvSpPr>
        <p:spPr bwMode="auto">
          <a:xfrm>
            <a:off x="1281629" y="5592603"/>
            <a:ext cx="9922465" cy="1934496"/>
          </a:xfrm>
          <a:custGeom>
            <a:avLst/>
            <a:gdLst>
              <a:gd name="connsiteX0" fmla="*/ 8407318 w 9922465"/>
              <a:gd name="connsiteY0" fmla="*/ 1824114 h 1934496"/>
              <a:gd name="connsiteX1" fmla="*/ 8462510 w 9922465"/>
              <a:gd name="connsiteY1" fmla="*/ 1879305 h 1934496"/>
              <a:gd name="connsiteX2" fmla="*/ 8407318 w 9922465"/>
              <a:gd name="connsiteY2" fmla="*/ 1934496 h 1934496"/>
              <a:gd name="connsiteX3" fmla="*/ 8352126 w 9922465"/>
              <a:gd name="connsiteY3" fmla="*/ 1879305 h 1934496"/>
              <a:gd name="connsiteX4" fmla="*/ 8407318 w 9922465"/>
              <a:gd name="connsiteY4" fmla="*/ 1824114 h 1934496"/>
              <a:gd name="connsiteX5" fmla="*/ 8273682 w 9922465"/>
              <a:gd name="connsiteY5" fmla="*/ 1824114 h 1934496"/>
              <a:gd name="connsiteX6" fmla="*/ 8328874 w 9922465"/>
              <a:gd name="connsiteY6" fmla="*/ 1879305 h 1934496"/>
              <a:gd name="connsiteX7" fmla="*/ 8273682 w 9922465"/>
              <a:gd name="connsiteY7" fmla="*/ 1934496 h 1934496"/>
              <a:gd name="connsiteX8" fmla="*/ 8218490 w 9922465"/>
              <a:gd name="connsiteY8" fmla="*/ 1879305 h 1934496"/>
              <a:gd name="connsiteX9" fmla="*/ 8273682 w 9922465"/>
              <a:gd name="connsiteY9" fmla="*/ 1824114 h 1934496"/>
              <a:gd name="connsiteX10" fmla="*/ 8143386 w 9922465"/>
              <a:gd name="connsiteY10" fmla="*/ 1824114 h 1934496"/>
              <a:gd name="connsiteX11" fmla="*/ 8198578 w 9922465"/>
              <a:gd name="connsiteY11" fmla="*/ 1879305 h 1934496"/>
              <a:gd name="connsiteX12" fmla="*/ 8143386 w 9922465"/>
              <a:gd name="connsiteY12" fmla="*/ 1934496 h 1934496"/>
              <a:gd name="connsiteX13" fmla="*/ 8088194 w 9922465"/>
              <a:gd name="connsiteY13" fmla="*/ 1879305 h 1934496"/>
              <a:gd name="connsiteX14" fmla="*/ 8143386 w 9922465"/>
              <a:gd name="connsiteY14" fmla="*/ 1824114 h 1934496"/>
              <a:gd name="connsiteX15" fmla="*/ 8009752 w 9922465"/>
              <a:gd name="connsiteY15" fmla="*/ 1824114 h 1934496"/>
              <a:gd name="connsiteX16" fmla="*/ 8064944 w 9922465"/>
              <a:gd name="connsiteY16" fmla="*/ 1879305 h 1934496"/>
              <a:gd name="connsiteX17" fmla="*/ 8009752 w 9922465"/>
              <a:gd name="connsiteY17" fmla="*/ 1934496 h 1934496"/>
              <a:gd name="connsiteX18" fmla="*/ 7954560 w 9922465"/>
              <a:gd name="connsiteY18" fmla="*/ 1879305 h 1934496"/>
              <a:gd name="connsiteX19" fmla="*/ 8009752 w 9922465"/>
              <a:gd name="connsiteY19" fmla="*/ 1824114 h 1934496"/>
              <a:gd name="connsiteX20" fmla="*/ 7876117 w 9922465"/>
              <a:gd name="connsiteY20" fmla="*/ 1824114 h 1934496"/>
              <a:gd name="connsiteX21" fmla="*/ 7931309 w 9922465"/>
              <a:gd name="connsiteY21" fmla="*/ 1879305 h 1934496"/>
              <a:gd name="connsiteX22" fmla="*/ 7876117 w 9922465"/>
              <a:gd name="connsiteY22" fmla="*/ 1934496 h 1934496"/>
              <a:gd name="connsiteX23" fmla="*/ 7820925 w 9922465"/>
              <a:gd name="connsiteY23" fmla="*/ 1879305 h 1934496"/>
              <a:gd name="connsiteX24" fmla="*/ 7876117 w 9922465"/>
              <a:gd name="connsiteY24" fmla="*/ 1824114 h 1934496"/>
              <a:gd name="connsiteX25" fmla="*/ 7745824 w 9922465"/>
              <a:gd name="connsiteY25" fmla="*/ 1824114 h 1934496"/>
              <a:gd name="connsiteX26" fmla="*/ 7801016 w 9922465"/>
              <a:gd name="connsiteY26" fmla="*/ 1879305 h 1934496"/>
              <a:gd name="connsiteX27" fmla="*/ 7745824 w 9922465"/>
              <a:gd name="connsiteY27" fmla="*/ 1934496 h 1934496"/>
              <a:gd name="connsiteX28" fmla="*/ 7690632 w 9922465"/>
              <a:gd name="connsiteY28" fmla="*/ 1879305 h 1934496"/>
              <a:gd name="connsiteX29" fmla="*/ 7745824 w 9922465"/>
              <a:gd name="connsiteY29" fmla="*/ 1824114 h 1934496"/>
              <a:gd name="connsiteX30" fmla="*/ 7608849 w 9922465"/>
              <a:gd name="connsiteY30" fmla="*/ 1824114 h 1934496"/>
              <a:gd name="connsiteX31" fmla="*/ 7664041 w 9922465"/>
              <a:gd name="connsiteY31" fmla="*/ 1879305 h 1934496"/>
              <a:gd name="connsiteX32" fmla="*/ 7608849 w 9922465"/>
              <a:gd name="connsiteY32" fmla="*/ 1934496 h 1934496"/>
              <a:gd name="connsiteX33" fmla="*/ 7553657 w 9922465"/>
              <a:gd name="connsiteY33" fmla="*/ 1879305 h 1934496"/>
              <a:gd name="connsiteX34" fmla="*/ 7608849 w 9922465"/>
              <a:gd name="connsiteY34" fmla="*/ 1824114 h 1934496"/>
              <a:gd name="connsiteX35" fmla="*/ 7481895 w 9922465"/>
              <a:gd name="connsiteY35" fmla="*/ 1824114 h 1934496"/>
              <a:gd name="connsiteX36" fmla="*/ 7537087 w 9922465"/>
              <a:gd name="connsiteY36" fmla="*/ 1879305 h 1934496"/>
              <a:gd name="connsiteX37" fmla="*/ 7481895 w 9922465"/>
              <a:gd name="connsiteY37" fmla="*/ 1934496 h 1934496"/>
              <a:gd name="connsiteX38" fmla="*/ 7426703 w 9922465"/>
              <a:gd name="connsiteY38" fmla="*/ 1879305 h 1934496"/>
              <a:gd name="connsiteX39" fmla="*/ 7481895 w 9922465"/>
              <a:gd name="connsiteY39" fmla="*/ 1824114 h 1934496"/>
              <a:gd name="connsiteX40" fmla="*/ 7341579 w 9922465"/>
              <a:gd name="connsiteY40" fmla="*/ 1824114 h 1934496"/>
              <a:gd name="connsiteX41" fmla="*/ 7396771 w 9922465"/>
              <a:gd name="connsiteY41" fmla="*/ 1879305 h 1934496"/>
              <a:gd name="connsiteX42" fmla="*/ 7341579 w 9922465"/>
              <a:gd name="connsiteY42" fmla="*/ 1934496 h 1934496"/>
              <a:gd name="connsiteX43" fmla="*/ 7286387 w 9922465"/>
              <a:gd name="connsiteY43" fmla="*/ 1879305 h 1934496"/>
              <a:gd name="connsiteX44" fmla="*/ 7341579 w 9922465"/>
              <a:gd name="connsiteY44" fmla="*/ 1824114 h 1934496"/>
              <a:gd name="connsiteX45" fmla="*/ 7211286 w 9922465"/>
              <a:gd name="connsiteY45" fmla="*/ 1824114 h 1934496"/>
              <a:gd name="connsiteX46" fmla="*/ 7266478 w 9922465"/>
              <a:gd name="connsiteY46" fmla="*/ 1879305 h 1934496"/>
              <a:gd name="connsiteX47" fmla="*/ 7211286 w 9922465"/>
              <a:gd name="connsiteY47" fmla="*/ 1934496 h 1934496"/>
              <a:gd name="connsiteX48" fmla="*/ 7156094 w 9922465"/>
              <a:gd name="connsiteY48" fmla="*/ 1879305 h 1934496"/>
              <a:gd name="connsiteX49" fmla="*/ 7211286 w 9922465"/>
              <a:gd name="connsiteY49" fmla="*/ 1824114 h 1934496"/>
              <a:gd name="connsiteX50" fmla="*/ 7080993 w 9922465"/>
              <a:gd name="connsiteY50" fmla="*/ 1824114 h 1934496"/>
              <a:gd name="connsiteX51" fmla="*/ 7136185 w 9922465"/>
              <a:gd name="connsiteY51" fmla="*/ 1879305 h 1934496"/>
              <a:gd name="connsiteX52" fmla="*/ 7080993 w 9922465"/>
              <a:gd name="connsiteY52" fmla="*/ 1934496 h 1934496"/>
              <a:gd name="connsiteX53" fmla="*/ 7025801 w 9922465"/>
              <a:gd name="connsiteY53" fmla="*/ 1879305 h 1934496"/>
              <a:gd name="connsiteX54" fmla="*/ 7080993 w 9922465"/>
              <a:gd name="connsiteY54" fmla="*/ 1824114 h 1934496"/>
              <a:gd name="connsiteX55" fmla="*/ 6947357 w 9922465"/>
              <a:gd name="connsiteY55" fmla="*/ 1824114 h 1934496"/>
              <a:gd name="connsiteX56" fmla="*/ 7002549 w 9922465"/>
              <a:gd name="connsiteY56" fmla="*/ 1879305 h 1934496"/>
              <a:gd name="connsiteX57" fmla="*/ 6947357 w 9922465"/>
              <a:gd name="connsiteY57" fmla="*/ 1934496 h 1934496"/>
              <a:gd name="connsiteX58" fmla="*/ 6892165 w 9922465"/>
              <a:gd name="connsiteY58" fmla="*/ 1879305 h 1934496"/>
              <a:gd name="connsiteX59" fmla="*/ 6947357 w 9922465"/>
              <a:gd name="connsiteY59" fmla="*/ 1824114 h 1934496"/>
              <a:gd name="connsiteX60" fmla="*/ 6817063 w 9922465"/>
              <a:gd name="connsiteY60" fmla="*/ 1824114 h 1934496"/>
              <a:gd name="connsiteX61" fmla="*/ 6872255 w 9922465"/>
              <a:gd name="connsiteY61" fmla="*/ 1879305 h 1934496"/>
              <a:gd name="connsiteX62" fmla="*/ 6817063 w 9922465"/>
              <a:gd name="connsiteY62" fmla="*/ 1934496 h 1934496"/>
              <a:gd name="connsiteX63" fmla="*/ 6761871 w 9922465"/>
              <a:gd name="connsiteY63" fmla="*/ 1879305 h 1934496"/>
              <a:gd name="connsiteX64" fmla="*/ 6817063 w 9922465"/>
              <a:gd name="connsiteY64" fmla="*/ 1824114 h 1934496"/>
              <a:gd name="connsiteX65" fmla="*/ 6683431 w 9922465"/>
              <a:gd name="connsiteY65" fmla="*/ 1824114 h 1934496"/>
              <a:gd name="connsiteX66" fmla="*/ 6738623 w 9922465"/>
              <a:gd name="connsiteY66" fmla="*/ 1879305 h 1934496"/>
              <a:gd name="connsiteX67" fmla="*/ 6683431 w 9922465"/>
              <a:gd name="connsiteY67" fmla="*/ 1934496 h 1934496"/>
              <a:gd name="connsiteX68" fmla="*/ 6628239 w 9922465"/>
              <a:gd name="connsiteY68" fmla="*/ 1879305 h 1934496"/>
              <a:gd name="connsiteX69" fmla="*/ 6683431 w 9922465"/>
              <a:gd name="connsiteY69" fmla="*/ 1824114 h 1934496"/>
              <a:gd name="connsiteX70" fmla="*/ 6553137 w 9922465"/>
              <a:gd name="connsiteY70" fmla="*/ 1824114 h 1934496"/>
              <a:gd name="connsiteX71" fmla="*/ 6608329 w 9922465"/>
              <a:gd name="connsiteY71" fmla="*/ 1879305 h 1934496"/>
              <a:gd name="connsiteX72" fmla="*/ 6553137 w 9922465"/>
              <a:gd name="connsiteY72" fmla="*/ 1934496 h 1934496"/>
              <a:gd name="connsiteX73" fmla="*/ 6497945 w 9922465"/>
              <a:gd name="connsiteY73" fmla="*/ 1879305 h 1934496"/>
              <a:gd name="connsiteX74" fmla="*/ 6553137 w 9922465"/>
              <a:gd name="connsiteY74" fmla="*/ 1824114 h 1934496"/>
              <a:gd name="connsiteX75" fmla="*/ 6289207 w 9922465"/>
              <a:gd name="connsiteY75" fmla="*/ 1824114 h 1934496"/>
              <a:gd name="connsiteX76" fmla="*/ 6344399 w 9922465"/>
              <a:gd name="connsiteY76" fmla="*/ 1879305 h 1934496"/>
              <a:gd name="connsiteX77" fmla="*/ 6289207 w 9922465"/>
              <a:gd name="connsiteY77" fmla="*/ 1934496 h 1934496"/>
              <a:gd name="connsiteX78" fmla="*/ 6234015 w 9922465"/>
              <a:gd name="connsiteY78" fmla="*/ 1879305 h 1934496"/>
              <a:gd name="connsiteX79" fmla="*/ 6289207 w 9922465"/>
              <a:gd name="connsiteY79" fmla="*/ 1824114 h 1934496"/>
              <a:gd name="connsiteX80" fmla="*/ 6155572 w 9922465"/>
              <a:gd name="connsiteY80" fmla="*/ 1824114 h 1934496"/>
              <a:gd name="connsiteX81" fmla="*/ 6210764 w 9922465"/>
              <a:gd name="connsiteY81" fmla="*/ 1879305 h 1934496"/>
              <a:gd name="connsiteX82" fmla="*/ 6155572 w 9922465"/>
              <a:gd name="connsiteY82" fmla="*/ 1934496 h 1934496"/>
              <a:gd name="connsiteX83" fmla="*/ 6100380 w 9922465"/>
              <a:gd name="connsiteY83" fmla="*/ 1879305 h 1934496"/>
              <a:gd name="connsiteX84" fmla="*/ 6155572 w 9922465"/>
              <a:gd name="connsiteY84" fmla="*/ 1824114 h 1934496"/>
              <a:gd name="connsiteX85" fmla="*/ 6021938 w 9922465"/>
              <a:gd name="connsiteY85" fmla="*/ 1824114 h 1934496"/>
              <a:gd name="connsiteX86" fmla="*/ 6077130 w 9922465"/>
              <a:gd name="connsiteY86" fmla="*/ 1879305 h 1934496"/>
              <a:gd name="connsiteX87" fmla="*/ 6021938 w 9922465"/>
              <a:gd name="connsiteY87" fmla="*/ 1934496 h 1934496"/>
              <a:gd name="connsiteX88" fmla="*/ 5966746 w 9922465"/>
              <a:gd name="connsiteY88" fmla="*/ 1879305 h 1934496"/>
              <a:gd name="connsiteX89" fmla="*/ 6021938 w 9922465"/>
              <a:gd name="connsiteY89" fmla="*/ 1824114 h 1934496"/>
              <a:gd name="connsiteX90" fmla="*/ 5884964 w 9922465"/>
              <a:gd name="connsiteY90" fmla="*/ 1824114 h 1934496"/>
              <a:gd name="connsiteX91" fmla="*/ 5940156 w 9922465"/>
              <a:gd name="connsiteY91" fmla="*/ 1879305 h 1934496"/>
              <a:gd name="connsiteX92" fmla="*/ 5884964 w 9922465"/>
              <a:gd name="connsiteY92" fmla="*/ 1934496 h 1934496"/>
              <a:gd name="connsiteX93" fmla="*/ 5829772 w 9922465"/>
              <a:gd name="connsiteY93" fmla="*/ 1879305 h 1934496"/>
              <a:gd name="connsiteX94" fmla="*/ 5884964 w 9922465"/>
              <a:gd name="connsiteY94" fmla="*/ 1824114 h 1934496"/>
              <a:gd name="connsiteX95" fmla="*/ 5754670 w 9922465"/>
              <a:gd name="connsiteY95" fmla="*/ 1824114 h 1934496"/>
              <a:gd name="connsiteX96" fmla="*/ 5809862 w 9922465"/>
              <a:gd name="connsiteY96" fmla="*/ 1879305 h 1934496"/>
              <a:gd name="connsiteX97" fmla="*/ 5754670 w 9922465"/>
              <a:gd name="connsiteY97" fmla="*/ 1934496 h 1934496"/>
              <a:gd name="connsiteX98" fmla="*/ 5699478 w 9922465"/>
              <a:gd name="connsiteY98" fmla="*/ 1879305 h 1934496"/>
              <a:gd name="connsiteX99" fmla="*/ 5754670 w 9922465"/>
              <a:gd name="connsiteY99" fmla="*/ 1824114 h 1934496"/>
              <a:gd name="connsiteX100" fmla="*/ 5487399 w 9922465"/>
              <a:gd name="connsiteY100" fmla="*/ 1824114 h 1934496"/>
              <a:gd name="connsiteX101" fmla="*/ 5542591 w 9922465"/>
              <a:gd name="connsiteY101" fmla="*/ 1879305 h 1934496"/>
              <a:gd name="connsiteX102" fmla="*/ 5487399 w 9922465"/>
              <a:gd name="connsiteY102" fmla="*/ 1934496 h 1934496"/>
              <a:gd name="connsiteX103" fmla="*/ 5432207 w 9922465"/>
              <a:gd name="connsiteY103" fmla="*/ 1879305 h 1934496"/>
              <a:gd name="connsiteX104" fmla="*/ 5487399 w 9922465"/>
              <a:gd name="connsiteY104" fmla="*/ 1824114 h 1934496"/>
              <a:gd name="connsiteX105" fmla="*/ 5357105 w 9922465"/>
              <a:gd name="connsiteY105" fmla="*/ 1824114 h 1934496"/>
              <a:gd name="connsiteX106" fmla="*/ 5412297 w 9922465"/>
              <a:gd name="connsiteY106" fmla="*/ 1879305 h 1934496"/>
              <a:gd name="connsiteX107" fmla="*/ 5357105 w 9922465"/>
              <a:gd name="connsiteY107" fmla="*/ 1934496 h 1934496"/>
              <a:gd name="connsiteX108" fmla="*/ 5301913 w 9922465"/>
              <a:gd name="connsiteY108" fmla="*/ 1879305 h 1934496"/>
              <a:gd name="connsiteX109" fmla="*/ 5357105 w 9922465"/>
              <a:gd name="connsiteY109" fmla="*/ 1824114 h 1934496"/>
              <a:gd name="connsiteX110" fmla="*/ 5223473 w 9922465"/>
              <a:gd name="connsiteY110" fmla="*/ 1824114 h 1934496"/>
              <a:gd name="connsiteX111" fmla="*/ 5278665 w 9922465"/>
              <a:gd name="connsiteY111" fmla="*/ 1879305 h 1934496"/>
              <a:gd name="connsiteX112" fmla="*/ 5223473 w 9922465"/>
              <a:gd name="connsiteY112" fmla="*/ 1934496 h 1934496"/>
              <a:gd name="connsiteX113" fmla="*/ 5168281 w 9922465"/>
              <a:gd name="connsiteY113" fmla="*/ 1879305 h 1934496"/>
              <a:gd name="connsiteX114" fmla="*/ 5223473 w 9922465"/>
              <a:gd name="connsiteY114" fmla="*/ 1824114 h 1934496"/>
              <a:gd name="connsiteX115" fmla="*/ 5093178 w 9922465"/>
              <a:gd name="connsiteY115" fmla="*/ 1824114 h 1934496"/>
              <a:gd name="connsiteX116" fmla="*/ 5148370 w 9922465"/>
              <a:gd name="connsiteY116" fmla="*/ 1879305 h 1934496"/>
              <a:gd name="connsiteX117" fmla="*/ 5093178 w 9922465"/>
              <a:gd name="connsiteY117" fmla="*/ 1934496 h 1934496"/>
              <a:gd name="connsiteX118" fmla="*/ 5037986 w 9922465"/>
              <a:gd name="connsiteY118" fmla="*/ 1879305 h 1934496"/>
              <a:gd name="connsiteX119" fmla="*/ 5093178 w 9922465"/>
              <a:gd name="connsiteY119" fmla="*/ 1824114 h 1934496"/>
              <a:gd name="connsiteX120" fmla="*/ 4959543 w 9922465"/>
              <a:gd name="connsiteY120" fmla="*/ 1824114 h 1934496"/>
              <a:gd name="connsiteX121" fmla="*/ 5014735 w 9922465"/>
              <a:gd name="connsiteY121" fmla="*/ 1879305 h 1934496"/>
              <a:gd name="connsiteX122" fmla="*/ 4959543 w 9922465"/>
              <a:gd name="connsiteY122" fmla="*/ 1934496 h 1934496"/>
              <a:gd name="connsiteX123" fmla="*/ 4904351 w 9922465"/>
              <a:gd name="connsiteY123" fmla="*/ 1879305 h 1934496"/>
              <a:gd name="connsiteX124" fmla="*/ 4959543 w 9922465"/>
              <a:gd name="connsiteY124" fmla="*/ 1824114 h 1934496"/>
              <a:gd name="connsiteX125" fmla="*/ 4829250 w 9922465"/>
              <a:gd name="connsiteY125" fmla="*/ 1824114 h 1934496"/>
              <a:gd name="connsiteX126" fmla="*/ 4884442 w 9922465"/>
              <a:gd name="connsiteY126" fmla="*/ 1879305 h 1934496"/>
              <a:gd name="connsiteX127" fmla="*/ 4829250 w 9922465"/>
              <a:gd name="connsiteY127" fmla="*/ 1934496 h 1934496"/>
              <a:gd name="connsiteX128" fmla="*/ 4774058 w 9922465"/>
              <a:gd name="connsiteY128" fmla="*/ 1879305 h 1934496"/>
              <a:gd name="connsiteX129" fmla="*/ 4829250 w 9922465"/>
              <a:gd name="connsiteY129" fmla="*/ 1824114 h 1934496"/>
              <a:gd name="connsiteX130" fmla="*/ 4695613 w 9922465"/>
              <a:gd name="connsiteY130" fmla="*/ 1824114 h 1934496"/>
              <a:gd name="connsiteX131" fmla="*/ 4750805 w 9922465"/>
              <a:gd name="connsiteY131" fmla="*/ 1879305 h 1934496"/>
              <a:gd name="connsiteX132" fmla="*/ 4695613 w 9922465"/>
              <a:gd name="connsiteY132" fmla="*/ 1934496 h 1934496"/>
              <a:gd name="connsiteX133" fmla="*/ 4640421 w 9922465"/>
              <a:gd name="connsiteY133" fmla="*/ 1879305 h 1934496"/>
              <a:gd name="connsiteX134" fmla="*/ 4695613 w 9922465"/>
              <a:gd name="connsiteY134" fmla="*/ 1824114 h 1934496"/>
              <a:gd name="connsiteX135" fmla="*/ 2834762 w 9922465"/>
              <a:gd name="connsiteY135" fmla="*/ 1824114 h 1934496"/>
              <a:gd name="connsiteX136" fmla="*/ 2889954 w 9922465"/>
              <a:gd name="connsiteY136" fmla="*/ 1879305 h 1934496"/>
              <a:gd name="connsiteX137" fmla="*/ 2834762 w 9922465"/>
              <a:gd name="connsiteY137" fmla="*/ 1934496 h 1934496"/>
              <a:gd name="connsiteX138" fmla="*/ 2779570 w 9922465"/>
              <a:gd name="connsiteY138" fmla="*/ 1879305 h 1934496"/>
              <a:gd name="connsiteX139" fmla="*/ 2834762 w 9922465"/>
              <a:gd name="connsiteY139" fmla="*/ 1824114 h 1934496"/>
              <a:gd name="connsiteX140" fmla="*/ 2707807 w 9922465"/>
              <a:gd name="connsiteY140" fmla="*/ 1824114 h 1934496"/>
              <a:gd name="connsiteX141" fmla="*/ 2762999 w 9922465"/>
              <a:gd name="connsiteY141" fmla="*/ 1879305 h 1934496"/>
              <a:gd name="connsiteX142" fmla="*/ 2707807 w 9922465"/>
              <a:gd name="connsiteY142" fmla="*/ 1934496 h 1934496"/>
              <a:gd name="connsiteX143" fmla="*/ 2652615 w 9922465"/>
              <a:gd name="connsiteY143" fmla="*/ 1879305 h 1934496"/>
              <a:gd name="connsiteX144" fmla="*/ 2707807 w 9922465"/>
              <a:gd name="connsiteY144" fmla="*/ 1824114 h 1934496"/>
              <a:gd name="connsiteX145" fmla="*/ 2570834 w 9922465"/>
              <a:gd name="connsiteY145" fmla="*/ 1824114 h 1934496"/>
              <a:gd name="connsiteX146" fmla="*/ 2626025 w 9922465"/>
              <a:gd name="connsiteY146" fmla="*/ 1879305 h 1934496"/>
              <a:gd name="connsiteX147" fmla="*/ 2570834 w 9922465"/>
              <a:gd name="connsiteY147" fmla="*/ 1934496 h 1934496"/>
              <a:gd name="connsiteX148" fmla="*/ 2515641 w 9922465"/>
              <a:gd name="connsiteY148" fmla="*/ 1879305 h 1934496"/>
              <a:gd name="connsiteX149" fmla="*/ 2570834 w 9922465"/>
              <a:gd name="connsiteY149" fmla="*/ 1824114 h 1934496"/>
              <a:gd name="connsiteX150" fmla="*/ 2437196 w 9922465"/>
              <a:gd name="connsiteY150" fmla="*/ 1824114 h 1934496"/>
              <a:gd name="connsiteX151" fmla="*/ 2492389 w 9922465"/>
              <a:gd name="connsiteY151" fmla="*/ 1879305 h 1934496"/>
              <a:gd name="connsiteX152" fmla="*/ 2437196 w 9922465"/>
              <a:gd name="connsiteY152" fmla="*/ 1934496 h 1934496"/>
              <a:gd name="connsiteX153" fmla="*/ 2382005 w 9922465"/>
              <a:gd name="connsiteY153" fmla="*/ 1879305 h 1934496"/>
              <a:gd name="connsiteX154" fmla="*/ 2437196 w 9922465"/>
              <a:gd name="connsiteY154" fmla="*/ 1824114 h 1934496"/>
              <a:gd name="connsiteX155" fmla="*/ 2303564 w 9922465"/>
              <a:gd name="connsiteY155" fmla="*/ 1824114 h 1934496"/>
              <a:gd name="connsiteX156" fmla="*/ 2358756 w 9922465"/>
              <a:gd name="connsiteY156" fmla="*/ 1879305 h 1934496"/>
              <a:gd name="connsiteX157" fmla="*/ 2303564 w 9922465"/>
              <a:gd name="connsiteY157" fmla="*/ 1934496 h 1934496"/>
              <a:gd name="connsiteX158" fmla="*/ 2248372 w 9922465"/>
              <a:gd name="connsiteY158" fmla="*/ 1879305 h 1934496"/>
              <a:gd name="connsiteX159" fmla="*/ 2303564 w 9922465"/>
              <a:gd name="connsiteY159" fmla="*/ 1824114 h 1934496"/>
              <a:gd name="connsiteX160" fmla="*/ 2173271 w 9922465"/>
              <a:gd name="connsiteY160" fmla="*/ 1824114 h 1934496"/>
              <a:gd name="connsiteX161" fmla="*/ 2228463 w 9922465"/>
              <a:gd name="connsiteY161" fmla="*/ 1879305 h 1934496"/>
              <a:gd name="connsiteX162" fmla="*/ 2173271 w 9922465"/>
              <a:gd name="connsiteY162" fmla="*/ 1934496 h 1934496"/>
              <a:gd name="connsiteX163" fmla="*/ 2118079 w 9922465"/>
              <a:gd name="connsiteY163" fmla="*/ 1879305 h 1934496"/>
              <a:gd name="connsiteX164" fmla="*/ 2173271 w 9922465"/>
              <a:gd name="connsiteY164" fmla="*/ 1824114 h 1934496"/>
              <a:gd name="connsiteX165" fmla="*/ 2039637 w 9922465"/>
              <a:gd name="connsiteY165" fmla="*/ 1824114 h 1934496"/>
              <a:gd name="connsiteX166" fmla="*/ 2094830 w 9922465"/>
              <a:gd name="connsiteY166" fmla="*/ 1879305 h 1934496"/>
              <a:gd name="connsiteX167" fmla="*/ 2039637 w 9922465"/>
              <a:gd name="connsiteY167" fmla="*/ 1934496 h 1934496"/>
              <a:gd name="connsiteX168" fmla="*/ 1984445 w 9922465"/>
              <a:gd name="connsiteY168" fmla="*/ 1879305 h 1934496"/>
              <a:gd name="connsiteX169" fmla="*/ 2039637 w 9922465"/>
              <a:gd name="connsiteY169" fmla="*/ 1824114 h 1934496"/>
              <a:gd name="connsiteX170" fmla="*/ 1909341 w 9922465"/>
              <a:gd name="connsiteY170" fmla="*/ 1824114 h 1934496"/>
              <a:gd name="connsiteX171" fmla="*/ 1964533 w 9922465"/>
              <a:gd name="connsiteY171" fmla="*/ 1879305 h 1934496"/>
              <a:gd name="connsiteX172" fmla="*/ 1909341 w 9922465"/>
              <a:gd name="connsiteY172" fmla="*/ 1934496 h 1934496"/>
              <a:gd name="connsiteX173" fmla="*/ 1854149 w 9922465"/>
              <a:gd name="connsiteY173" fmla="*/ 1879305 h 1934496"/>
              <a:gd name="connsiteX174" fmla="*/ 1909341 w 9922465"/>
              <a:gd name="connsiteY174" fmla="*/ 1824114 h 1934496"/>
              <a:gd name="connsiteX175" fmla="*/ 1779049 w 9922465"/>
              <a:gd name="connsiteY175" fmla="*/ 1824114 h 1934496"/>
              <a:gd name="connsiteX176" fmla="*/ 1834241 w 9922465"/>
              <a:gd name="connsiteY176" fmla="*/ 1879305 h 1934496"/>
              <a:gd name="connsiteX177" fmla="*/ 1779049 w 9922465"/>
              <a:gd name="connsiteY177" fmla="*/ 1934496 h 1934496"/>
              <a:gd name="connsiteX178" fmla="*/ 1723856 w 9922465"/>
              <a:gd name="connsiteY178" fmla="*/ 1879305 h 1934496"/>
              <a:gd name="connsiteX179" fmla="*/ 1779049 w 9922465"/>
              <a:gd name="connsiteY179" fmla="*/ 1824114 h 1934496"/>
              <a:gd name="connsiteX180" fmla="*/ 1645413 w 9922465"/>
              <a:gd name="connsiteY180" fmla="*/ 1824114 h 1934496"/>
              <a:gd name="connsiteX181" fmla="*/ 1700604 w 9922465"/>
              <a:gd name="connsiteY181" fmla="*/ 1879305 h 1934496"/>
              <a:gd name="connsiteX182" fmla="*/ 1645413 w 9922465"/>
              <a:gd name="connsiteY182" fmla="*/ 1934496 h 1934496"/>
              <a:gd name="connsiteX183" fmla="*/ 1590220 w 9922465"/>
              <a:gd name="connsiteY183" fmla="*/ 1879305 h 1934496"/>
              <a:gd name="connsiteX184" fmla="*/ 1645413 w 9922465"/>
              <a:gd name="connsiteY184" fmla="*/ 1824114 h 1934496"/>
              <a:gd name="connsiteX185" fmla="*/ 1515120 w 9922465"/>
              <a:gd name="connsiteY185" fmla="*/ 1824114 h 1934496"/>
              <a:gd name="connsiteX186" fmla="*/ 1570311 w 9922465"/>
              <a:gd name="connsiteY186" fmla="*/ 1879305 h 1934496"/>
              <a:gd name="connsiteX187" fmla="*/ 1515120 w 9922465"/>
              <a:gd name="connsiteY187" fmla="*/ 1934496 h 1934496"/>
              <a:gd name="connsiteX188" fmla="*/ 1459927 w 9922465"/>
              <a:gd name="connsiteY188" fmla="*/ 1879305 h 1934496"/>
              <a:gd name="connsiteX189" fmla="*/ 1515120 w 9922465"/>
              <a:gd name="connsiteY189" fmla="*/ 1824114 h 1934496"/>
              <a:gd name="connsiteX190" fmla="*/ 1381486 w 9922465"/>
              <a:gd name="connsiteY190" fmla="*/ 1824114 h 1934496"/>
              <a:gd name="connsiteX191" fmla="*/ 1436678 w 9922465"/>
              <a:gd name="connsiteY191" fmla="*/ 1879305 h 1934496"/>
              <a:gd name="connsiteX192" fmla="*/ 1381486 w 9922465"/>
              <a:gd name="connsiteY192" fmla="*/ 1934496 h 1934496"/>
              <a:gd name="connsiteX193" fmla="*/ 1326294 w 9922465"/>
              <a:gd name="connsiteY193" fmla="*/ 1879305 h 1934496"/>
              <a:gd name="connsiteX194" fmla="*/ 1381486 w 9922465"/>
              <a:gd name="connsiteY194" fmla="*/ 1824114 h 1934496"/>
              <a:gd name="connsiteX195" fmla="*/ 1251193 w 9922465"/>
              <a:gd name="connsiteY195" fmla="*/ 1824114 h 1934496"/>
              <a:gd name="connsiteX196" fmla="*/ 1306386 w 9922465"/>
              <a:gd name="connsiteY196" fmla="*/ 1879305 h 1934496"/>
              <a:gd name="connsiteX197" fmla="*/ 1251193 w 9922465"/>
              <a:gd name="connsiteY197" fmla="*/ 1934496 h 1934496"/>
              <a:gd name="connsiteX198" fmla="*/ 1196001 w 9922465"/>
              <a:gd name="connsiteY198" fmla="*/ 1879305 h 1934496"/>
              <a:gd name="connsiteX199" fmla="*/ 1251193 w 9922465"/>
              <a:gd name="connsiteY199" fmla="*/ 1824114 h 1934496"/>
              <a:gd name="connsiteX200" fmla="*/ 4565336 w 9922465"/>
              <a:gd name="connsiteY200" fmla="*/ 1824106 h 1934496"/>
              <a:gd name="connsiteX201" fmla="*/ 4620528 w 9922465"/>
              <a:gd name="connsiteY201" fmla="*/ 1879297 h 1934496"/>
              <a:gd name="connsiteX202" fmla="*/ 4565336 w 9922465"/>
              <a:gd name="connsiteY202" fmla="*/ 1934488 h 1934496"/>
              <a:gd name="connsiteX203" fmla="*/ 4510144 w 9922465"/>
              <a:gd name="connsiteY203" fmla="*/ 1879297 h 1934496"/>
              <a:gd name="connsiteX204" fmla="*/ 4565336 w 9922465"/>
              <a:gd name="connsiteY204" fmla="*/ 1824106 h 1934496"/>
              <a:gd name="connsiteX205" fmla="*/ 4431689 w 9922465"/>
              <a:gd name="connsiteY205" fmla="*/ 1824098 h 1934496"/>
              <a:gd name="connsiteX206" fmla="*/ 4486881 w 9922465"/>
              <a:gd name="connsiteY206" fmla="*/ 1879289 h 1934496"/>
              <a:gd name="connsiteX207" fmla="*/ 4431689 w 9922465"/>
              <a:gd name="connsiteY207" fmla="*/ 1934480 h 1934496"/>
              <a:gd name="connsiteX208" fmla="*/ 4376497 w 9922465"/>
              <a:gd name="connsiteY208" fmla="*/ 1879289 h 1934496"/>
              <a:gd name="connsiteX209" fmla="*/ 4431689 w 9922465"/>
              <a:gd name="connsiteY209" fmla="*/ 1824098 h 1934496"/>
              <a:gd name="connsiteX210" fmla="*/ 8801537 w 9922465"/>
              <a:gd name="connsiteY210" fmla="*/ 1707182 h 1934496"/>
              <a:gd name="connsiteX211" fmla="*/ 8856729 w 9922465"/>
              <a:gd name="connsiteY211" fmla="*/ 1762373 h 1934496"/>
              <a:gd name="connsiteX212" fmla="*/ 8801537 w 9922465"/>
              <a:gd name="connsiteY212" fmla="*/ 1817564 h 1934496"/>
              <a:gd name="connsiteX213" fmla="*/ 8746345 w 9922465"/>
              <a:gd name="connsiteY213" fmla="*/ 1762373 h 1934496"/>
              <a:gd name="connsiteX214" fmla="*/ 8801537 w 9922465"/>
              <a:gd name="connsiteY214" fmla="*/ 1707182 h 1934496"/>
              <a:gd name="connsiteX215" fmla="*/ 8671243 w 9922465"/>
              <a:gd name="connsiteY215" fmla="*/ 1707182 h 1934496"/>
              <a:gd name="connsiteX216" fmla="*/ 8726435 w 9922465"/>
              <a:gd name="connsiteY216" fmla="*/ 1762373 h 1934496"/>
              <a:gd name="connsiteX217" fmla="*/ 8671243 w 9922465"/>
              <a:gd name="connsiteY217" fmla="*/ 1817564 h 1934496"/>
              <a:gd name="connsiteX218" fmla="*/ 8616051 w 9922465"/>
              <a:gd name="connsiteY218" fmla="*/ 1762373 h 1934496"/>
              <a:gd name="connsiteX219" fmla="*/ 8671243 w 9922465"/>
              <a:gd name="connsiteY219" fmla="*/ 1707182 h 1934496"/>
              <a:gd name="connsiteX220" fmla="*/ 8537609 w 9922465"/>
              <a:gd name="connsiteY220" fmla="*/ 1707182 h 1934496"/>
              <a:gd name="connsiteX221" fmla="*/ 8592801 w 9922465"/>
              <a:gd name="connsiteY221" fmla="*/ 1762373 h 1934496"/>
              <a:gd name="connsiteX222" fmla="*/ 8537609 w 9922465"/>
              <a:gd name="connsiteY222" fmla="*/ 1817564 h 1934496"/>
              <a:gd name="connsiteX223" fmla="*/ 8482417 w 9922465"/>
              <a:gd name="connsiteY223" fmla="*/ 1762373 h 1934496"/>
              <a:gd name="connsiteX224" fmla="*/ 8537609 w 9922465"/>
              <a:gd name="connsiteY224" fmla="*/ 1707182 h 1934496"/>
              <a:gd name="connsiteX225" fmla="*/ 8407318 w 9922465"/>
              <a:gd name="connsiteY225" fmla="*/ 1707182 h 1934496"/>
              <a:gd name="connsiteX226" fmla="*/ 8462510 w 9922465"/>
              <a:gd name="connsiteY226" fmla="*/ 1762373 h 1934496"/>
              <a:gd name="connsiteX227" fmla="*/ 8407318 w 9922465"/>
              <a:gd name="connsiteY227" fmla="*/ 1817564 h 1934496"/>
              <a:gd name="connsiteX228" fmla="*/ 8352126 w 9922465"/>
              <a:gd name="connsiteY228" fmla="*/ 1762373 h 1934496"/>
              <a:gd name="connsiteX229" fmla="*/ 8407318 w 9922465"/>
              <a:gd name="connsiteY229" fmla="*/ 1707182 h 1934496"/>
              <a:gd name="connsiteX230" fmla="*/ 8273682 w 9922465"/>
              <a:gd name="connsiteY230" fmla="*/ 1707182 h 1934496"/>
              <a:gd name="connsiteX231" fmla="*/ 8328874 w 9922465"/>
              <a:gd name="connsiteY231" fmla="*/ 1762373 h 1934496"/>
              <a:gd name="connsiteX232" fmla="*/ 8273682 w 9922465"/>
              <a:gd name="connsiteY232" fmla="*/ 1817564 h 1934496"/>
              <a:gd name="connsiteX233" fmla="*/ 8218490 w 9922465"/>
              <a:gd name="connsiteY233" fmla="*/ 1762373 h 1934496"/>
              <a:gd name="connsiteX234" fmla="*/ 8273682 w 9922465"/>
              <a:gd name="connsiteY234" fmla="*/ 1707182 h 1934496"/>
              <a:gd name="connsiteX235" fmla="*/ 8143386 w 9922465"/>
              <a:gd name="connsiteY235" fmla="*/ 1707182 h 1934496"/>
              <a:gd name="connsiteX236" fmla="*/ 8198578 w 9922465"/>
              <a:gd name="connsiteY236" fmla="*/ 1762373 h 1934496"/>
              <a:gd name="connsiteX237" fmla="*/ 8143386 w 9922465"/>
              <a:gd name="connsiteY237" fmla="*/ 1817564 h 1934496"/>
              <a:gd name="connsiteX238" fmla="*/ 8088194 w 9922465"/>
              <a:gd name="connsiteY238" fmla="*/ 1762373 h 1934496"/>
              <a:gd name="connsiteX239" fmla="*/ 8143386 w 9922465"/>
              <a:gd name="connsiteY239" fmla="*/ 1707182 h 1934496"/>
              <a:gd name="connsiteX240" fmla="*/ 8009752 w 9922465"/>
              <a:gd name="connsiteY240" fmla="*/ 1707182 h 1934496"/>
              <a:gd name="connsiteX241" fmla="*/ 8064944 w 9922465"/>
              <a:gd name="connsiteY241" fmla="*/ 1762373 h 1934496"/>
              <a:gd name="connsiteX242" fmla="*/ 8009752 w 9922465"/>
              <a:gd name="connsiteY242" fmla="*/ 1817564 h 1934496"/>
              <a:gd name="connsiteX243" fmla="*/ 7954560 w 9922465"/>
              <a:gd name="connsiteY243" fmla="*/ 1762373 h 1934496"/>
              <a:gd name="connsiteX244" fmla="*/ 8009752 w 9922465"/>
              <a:gd name="connsiteY244" fmla="*/ 1707182 h 1934496"/>
              <a:gd name="connsiteX245" fmla="*/ 7876117 w 9922465"/>
              <a:gd name="connsiteY245" fmla="*/ 1707182 h 1934496"/>
              <a:gd name="connsiteX246" fmla="*/ 7931309 w 9922465"/>
              <a:gd name="connsiteY246" fmla="*/ 1762373 h 1934496"/>
              <a:gd name="connsiteX247" fmla="*/ 7876117 w 9922465"/>
              <a:gd name="connsiteY247" fmla="*/ 1817564 h 1934496"/>
              <a:gd name="connsiteX248" fmla="*/ 7820925 w 9922465"/>
              <a:gd name="connsiteY248" fmla="*/ 1762373 h 1934496"/>
              <a:gd name="connsiteX249" fmla="*/ 7876117 w 9922465"/>
              <a:gd name="connsiteY249" fmla="*/ 1707182 h 1934496"/>
              <a:gd name="connsiteX250" fmla="*/ 7745824 w 9922465"/>
              <a:gd name="connsiteY250" fmla="*/ 1707182 h 1934496"/>
              <a:gd name="connsiteX251" fmla="*/ 7801016 w 9922465"/>
              <a:gd name="connsiteY251" fmla="*/ 1762373 h 1934496"/>
              <a:gd name="connsiteX252" fmla="*/ 7745824 w 9922465"/>
              <a:gd name="connsiteY252" fmla="*/ 1817564 h 1934496"/>
              <a:gd name="connsiteX253" fmla="*/ 7690632 w 9922465"/>
              <a:gd name="connsiteY253" fmla="*/ 1762373 h 1934496"/>
              <a:gd name="connsiteX254" fmla="*/ 7745824 w 9922465"/>
              <a:gd name="connsiteY254" fmla="*/ 1707182 h 1934496"/>
              <a:gd name="connsiteX255" fmla="*/ 7608849 w 9922465"/>
              <a:gd name="connsiteY255" fmla="*/ 1707182 h 1934496"/>
              <a:gd name="connsiteX256" fmla="*/ 7664041 w 9922465"/>
              <a:gd name="connsiteY256" fmla="*/ 1762373 h 1934496"/>
              <a:gd name="connsiteX257" fmla="*/ 7608849 w 9922465"/>
              <a:gd name="connsiteY257" fmla="*/ 1817564 h 1934496"/>
              <a:gd name="connsiteX258" fmla="*/ 7553657 w 9922465"/>
              <a:gd name="connsiteY258" fmla="*/ 1762373 h 1934496"/>
              <a:gd name="connsiteX259" fmla="*/ 7608849 w 9922465"/>
              <a:gd name="connsiteY259" fmla="*/ 1707182 h 1934496"/>
              <a:gd name="connsiteX260" fmla="*/ 7481895 w 9922465"/>
              <a:gd name="connsiteY260" fmla="*/ 1707182 h 1934496"/>
              <a:gd name="connsiteX261" fmla="*/ 7537087 w 9922465"/>
              <a:gd name="connsiteY261" fmla="*/ 1762373 h 1934496"/>
              <a:gd name="connsiteX262" fmla="*/ 7481895 w 9922465"/>
              <a:gd name="connsiteY262" fmla="*/ 1817564 h 1934496"/>
              <a:gd name="connsiteX263" fmla="*/ 7426703 w 9922465"/>
              <a:gd name="connsiteY263" fmla="*/ 1762373 h 1934496"/>
              <a:gd name="connsiteX264" fmla="*/ 7481895 w 9922465"/>
              <a:gd name="connsiteY264" fmla="*/ 1707182 h 1934496"/>
              <a:gd name="connsiteX265" fmla="*/ 7341579 w 9922465"/>
              <a:gd name="connsiteY265" fmla="*/ 1707182 h 1934496"/>
              <a:gd name="connsiteX266" fmla="*/ 7396771 w 9922465"/>
              <a:gd name="connsiteY266" fmla="*/ 1762373 h 1934496"/>
              <a:gd name="connsiteX267" fmla="*/ 7341579 w 9922465"/>
              <a:gd name="connsiteY267" fmla="*/ 1817564 h 1934496"/>
              <a:gd name="connsiteX268" fmla="*/ 7286387 w 9922465"/>
              <a:gd name="connsiteY268" fmla="*/ 1762373 h 1934496"/>
              <a:gd name="connsiteX269" fmla="*/ 7341579 w 9922465"/>
              <a:gd name="connsiteY269" fmla="*/ 1707182 h 1934496"/>
              <a:gd name="connsiteX270" fmla="*/ 7211286 w 9922465"/>
              <a:gd name="connsiteY270" fmla="*/ 1707182 h 1934496"/>
              <a:gd name="connsiteX271" fmla="*/ 7266478 w 9922465"/>
              <a:gd name="connsiteY271" fmla="*/ 1762373 h 1934496"/>
              <a:gd name="connsiteX272" fmla="*/ 7211286 w 9922465"/>
              <a:gd name="connsiteY272" fmla="*/ 1817564 h 1934496"/>
              <a:gd name="connsiteX273" fmla="*/ 7156094 w 9922465"/>
              <a:gd name="connsiteY273" fmla="*/ 1762373 h 1934496"/>
              <a:gd name="connsiteX274" fmla="*/ 7211286 w 9922465"/>
              <a:gd name="connsiteY274" fmla="*/ 1707182 h 1934496"/>
              <a:gd name="connsiteX275" fmla="*/ 7080993 w 9922465"/>
              <a:gd name="connsiteY275" fmla="*/ 1707182 h 1934496"/>
              <a:gd name="connsiteX276" fmla="*/ 7136185 w 9922465"/>
              <a:gd name="connsiteY276" fmla="*/ 1762373 h 1934496"/>
              <a:gd name="connsiteX277" fmla="*/ 7080993 w 9922465"/>
              <a:gd name="connsiteY277" fmla="*/ 1817564 h 1934496"/>
              <a:gd name="connsiteX278" fmla="*/ 7025801 w 9922465"/>
              <a:gd name="connsiteY278" fmla="*/ 1762373 h 1934496"/>
              <a:gd name="connsiteX279" fmla="*/ 7080993 w 9922465"/>
              <a:gd name="connsiteY279" fmla="*/ 1707182 h 1934496"/>
              <a:gd name="connsiteX280" fmla="*/ 6947357 w 9922465"/>
              <a:gd name="connsiteY280" fmla="*/ 1707182 h 1934496"/>
              <a:gd name="connsiteX281" fmla="*/ 7002549 w 9922465"/>
              <a:gd name="connsiteY281" fmla="*/ 1762373 h 1934496"/>
              <a:gd name="connsiteX282" fmla="*/ 6947357 w 9922465"/>
              <a:gd name="connsiteY282" fmla="*/ 1817564 h 1934496"/>
              <a:gd name="connsiteX283" fmla="*/ 6892165 w 9922465"/>
              <a:gd name="connsiteY283" fmla="*/ 1762373 h 1934496"/>
              <a:gd name="connsiteX284" fmla="*/ 6947357 w 9922465"/>
              <a:gd name="connsiteY284" fmla="*/ 1707182 h 1934496"/>
              <a:gd name="connsiteX285" fmla="*/ 6817063 w 9922465"/>
              <a:gd name="connsiteY285" fmla="*/ 1707182 h 1934496"/>
              <a:gd name="connsiteX286" fmla="*/ 6872255 w 9922465"/>
              <a:gd name="connsiteY286" fmla="*/ 1762373 h 1934496"/>
              <a:gd name="connsiteX287" fmla="*/ 6817063 w 9922465"/>
              <a:gd name="connsiteY287" fmla="*/ 1817564 h 1934496"/>
              <a:gd name="connsiteX288" fmla="*/ 6761871 w 9922465"/>
              <a:gd name="connsiteY288" fmla="*/ 1762373 h 1934496"/>
              <a:gd name="connsiteX289" fmla="*/ 6817063 w 9922465"/>
              <a:gd name="connsiteY289" fmla="*/ 1707182 h 1934496"/>
              <a:gd name="connsiteX290" fmla="*/ 6683431 w 9922465"/>
              <a:gd name="connsiteY290" fmla="*/ 1707182 h 1934496"/>
              <a:gd name="connsiteX291" fmla="*/ 6738623 w 9922465"/>
              <a:gd name="connsiteY291" fmla="*/ 1762373 h 1934496"/>
              <a:gd name="connsiteX292" fmla="*/ 6683431 w 9922465"/>
              <a:gd name="connsiteY292" fmla="*/ 1817564 h 1934496"/>
              <a:gd name="connsiteX293" fmla="*/ 6628239 w 9922465"/>
              <a:gd name="connsiteY293" fmla="*/ 1762373 h 1934496"/>
              <a:gd name="connsiteX294" fmla="*/ 6683431 w 9922465"/>
              <a:gd name="connsiteY294" fmla="*/ 1707182 h 1934496"/>
              <a:gd name="connsiteX295" fmla="*/ 6553137 w 9922465"/>
              <a:gd name="connsiteY295" fmla="*/ 1707182 h 1934496"/>
              <a:gd name="connsiteX296" fmla="*/ 6608329 w 9922465"/>
              <a:gd name="connsiteY296" fmla="*/ 1762373 h 1934496"/>
              <a:gd name="connsiteX297" fmla="*/ 6553137 w 9922465"/>
              <a:gd name="connsiteY297" fmla="*/ 1817564 h 1934496"/>
              <a:gd name="connsiteX298" fmla="*/ 6497945 w 9922465"/>
              <a:gd name="connsiteY298" fmla="*/ 1762373 h 1934496"/>
              <a:gd name="connsiteX299" fmla="*/ 6553137 w 9922465"/>
              <a:gd name="connsiteY299" fmla="*/ 1707182 h 1934496"/>
              <a:gd name="connsiteX300" fmla="*/ 6419502 w 9922465"/>
              <a:gd name="connsiteY300" fmla="*/ 1707182 h 1934496"/>
              <a:gd name="connsiteX301" fmla="*/ 6474694 w 9922465"/>
              <a:gd name="connsiteY301" fmla="*/ 1762373 h 1934496"/>
              <a:gd name="connsiteX302" fmla="*/ 6419502 w 9922465"/>
              <a:gd name="connsiteY302" fmla="*/ 1817564 h 1934496"/>
              <a:gd name="connsiteX303" fmla="*/ 6364310 w 9922465"/>
              <a:gd name="connsiteY303" fmla="*/ 1762373 h 1934496"/>
              <a:gd name="connsiteX304" fmla="*/ 6419502 w 9922465"/>
              <a:gd name="connsiteY304" fmla="*/ 1707182 h 1934496"/>
              <a:gd name="connsiteX305" fmla="*/ 6289207 w 9922465"/>
              <a:gd name="connsiteY305" fmla="*/ 1707182 h 1934496"/>
              <a:gd name="connsiteX306" fmla="*/ 6344399 w 9922465"/>
              <a:gd name="connsiteY306" fmla="*/ 1762373 h 1934496"/>
              <a:gd name="connsiteX307" fmla="*/ 6289207 w 9922465"/>
              <a:gd name="connsiteY307" fmla="*/ 1817564 h 1934496"/>
              <a:gd name="connsiteX308" fmla="*/ 6234015 w 9922465"/>
              <a:gd name="connsiteY308" fmla="*/ 1762373 h 1934496"/>
              <a:gd name="connsiteX309" fmla="*/ 6289207 w 9922465"/>
              <a:gd name="connsiteY309" fmla="*/ 1707182 h 1934496"/>
              <a:gd name="connsiteX310" fmla="*/ 6155572 w 9922465"/>
              <a:gd name="connsiteY310" fmla="*/ 1707182 h 1934496"/>
              <a:gd name="connsiteX311" fmla="*/ 6210764 w 9922465"/>
              <a:gd name="connsiteY311" fmla="*/ 1762373 h 1934496"/>
              <a:gd name="connsiteX312" fmla="*/ 6155572 w 9922465"/>
              <a:gd name="connsiteY312" fmla="*/ 1817564 h 1934496"/>
              <a:gd name="connsiteX313" fmla="*/ 6100380 w 9922465"/>
              <a:gd name="connsiteY313" fmla="*/ 1762373 h 1934496"/>
              <a:gd name="connsiteX314" fmla="*/ 6155572 w 9922465"/>
              <a:gd name="connsiteY314" fmla="*/ 1707182 h 1934496"/>
              <a:gd name="connsiteX315" fmla="*/ 6021938 w 9922465"/>
              <a:gd name="connsiteY315" fmla="*/ 1707182 h 1934496"/>
              <a:gd name="connsiteX316" fmla="*/ 6077130 w 9922465"/>
              <a:gd name="connsiteY316" fmla="*/ 1762373 h 1934496"/>
              <a:gd name="connsiteX317" fmla="*/ 6021938 w 9922465"/>
              <a:gd name="connsiteY317" fmla="*/ 1817564 h 1934496"/>
              <a:gd name="connsiteX318" fmla="*/ 5966746 w 9922465"/>
              <a:gd name="connsiteY318" fmla="*/ 1762373 h 1934496"/>
              <a:gd name="connsiteX319" fmla="*/ 6021938 w 9922465"/>
              <a:gd name="connsiteY319" fmla="*/ 1707182 h 1934496"/>
              <a:gd name="connsiteX320" fmla="*/ 5884964 w 9922465"/>
              <a:gd name="connsiteY320" fmla="*/ 1707182 h 1934496"/>
              <a:gd name="connsiteX321" fmla="*/ 5940156 w 9922465"/>
              <a:gd name="connsiteY321" fmla="*/ 1762373 h 1934496"/>
              <a:gd name="connsiteX322" fmla="*/ 5884964 w 9922465"/>
              <a:gd name="connsiteY322" fmla="*/ 1817564 h 1934496"/>
              <a:gd name="connsiteX323" fmla="*/ 5829772 w 9922465"/>
              <a:gd name="connsiteY323" fmla="*/ 1762373 h 1934496"/>
              <a:gd name="connsiteX324" fmla="*/ 5884964 w 9922465"/>
              <a:gd name="connsiteY324" fmla="*/ 1707182 h 1934496"/>
              <a:gd name="connsiteX325" fmla="*/ 5754670 w 9922465"/>
              <a:gd name="connsiteY325" fmla="*/ 1707182 h 1934496"/>
              <a:gd name="connsiteX326" fmla="*/ 5809862 w 9922465"/>
              <a:gd name="connsiteY326" fmla="*/ 1762373 h 1934496"/>
              <a:gd name="connsiteX327" fmla="*/ 5754670 w 9922465"/>
              <a:gd name="connsiteY327" fmla="*/ 1817564 h 1934496"/>
              <a:gd name="connsiteX328" fmla="*/ 5699478 w 9922465"/>
              <a:gd name="connsiteY328" fmla="*/ 1762373 h 1934496"/>
              <a:gd name="connsiteX329" fmla="*/ 5754670 w 9922465"/>
              <a:gd name="connsiteY329" fmla="*/ 1707182 h 1934496"/>
              <a:gd name="connsiteX330" fmla="*/ 5621035 w 9922465"/>
              <a:gd name="connsiteY330" fmla="*/ 1707182 h 1934496"/>
              <a:gd name="connsiteX331" fmla="*/ 5676227 w 9922465"/>
              <a:gd name="connsiteY331" fmla="*/ 1762373 h 1934496"/>
              <a:gd name="connsiteX332" fmla="*/ 5621035 w 9922465"/>
              <a:gd name="connsiteY332" fmla="*/ 1817564 h 1934496"/>
              <a:gd name="connsiteX333" fmla="*/ 5565843 w 9922465"/>
              <a:gd name="connsiteY333" fmla="*/ 1762373 h 1934496"/>
              <a:gd name="connsiteX334" fmla="*/ 5621035 w 9922465"/>
              <a:gd name="connsiteY334" fmla="*/ 1707182 h 1934496"/>
              <a:gd name="connsiteX335" fmla="*/ 5487399 w 9922465"/>
              <a:gd name="connsiteY335" fmla="*/ 1707182 h 1934496"/>
              <a:gd name="connsiteX336" fmla="*/ 5542591 w 9922465"/>
              <a:gd name="connsiteY336" fmla="*/ 1762373 h 1934496"/>
              <a:gd name="connsiteX337" fmla="*/ 5487399 w 9922465"/>
              <a:gd name="connsiteY337" fmla="*/ 1817564 h 1934496"/>
              <a:gd name="connsiteX338" fmla="*/ 5432207 w 9922465"/>
              <a:gd name="connsiteY338" fmla="*/ 1762373 h 1934496"/>
              <a:gd name="connsiteX339" fmla="*/ 5487399 w 9922465"/>
              <a:gd name="connsiteY339" fmla="*/ 1707182 h 1934496"/>
              <a:gd name="connsiteX340" fmla="*/ 5357105 w 9922465"/>
              <a:gd name="connsiteY340" fmla="*/ 1707182 h 1934496"/>
              <a:gd name="connsiteX341" fmla="*/ 5412297 w 9922465"/>
              <a:gd name="connsiteY341" fmla="*/ 1762373 h 1934496"/>
              <a:gd name="connsiteX342" fmla="*/ 5357105 w 9922465"/>
              <a:gd name="connsiteY342" fmla="*/ 1817564 h 1934496"/>
              <a:gd name="connsiteX343" fmla="*/ 5301913 w 9922465"/>
              <a:gd name="connsiteY343" fmla="*/ 1762373 h 1934496"/>
              <a:gd name="connsiteX344" fmla="*/ 5357105 w 9922465"/>
              <a:gd name="connsiteY344" fmla="*/ 1707182 h 1934496"/>
              <a:gd name="connsiteX345" fmla="*/ 5223473 w 9922465"/>
              <a:gd name="connsiteY345" fmla="*/ 1707182 h 1934496"/>
              <a:gd name="connsiteX346" fmla="*/ 5278665 w 9922465"/>
              <a:gd name="connsiteY346" fmla="*/ 1762373 h 1934496"/>
              <a:gd name="connsiteX347" fmla="*/ 5223473 w 9922465"/>
              <a:gd name="connsiteY347" fmla="*/ 1817564 h 1934496"/>
              <a:gd name="connsiteX348" fmla="*/ 5168281 w 9922465"/>
              <a:gd name="connsiteY348" fmla="*/ 1762373 h 1934496"/>
              <a:gd name="connsiteX349" fmla="*/ 5223473 w 9922465"/>
              <a:gd name="connsiteY349" fmla="*/ 1707182 h 1934496"/>
              <a:gd name="connsiteX350" fmla="*/ 5093178 w 9922465"/>
              <a:gd name="connsiteY350" fmla="*/ 1707182 h 1934496"/>
              <a:gd name="connsiteX351" fmla="*/ 5148370 w 9922465"/>
              <a:gd name="connsiteY351" fmla="*/ 1762373 h 1934496"/>
              <a:gd name="connsiteX352" fmla="*/ 5093178 w 9922465"/>
              <a:gd name="connsiteY352" fmla="*/ 1817564 h 1934496"/>
              <a:gd name="connsiteX353" fmla="*/ 5037986 w 9922465"/>
              <a:gd name="connsiteY353" fmla="*/ 1762373 h 1934496"/>
              <a:gd name="connsiteX354" fmla="*/ 5093178 w 9922465"/>
              <a:gd name="connsiteY354" fmla="*/ 1707182 h 1934496"/>
              <a:gd name="connsiteX355" fmla="*/ 4959543 w 9922465"/>
              <a:gd name="connsiteY355" fmla="*/ 1707182 h 1934496"/>
              <a:gd name="connsiteX356" fmla="*/ 5014735 w 9922465"/>
              <a:gd name="connsiteY356" fmla="*/ 1762373 h 1934496"/>
              <a:gd name="connsiteX357" fmla="*/ 4959543 w 9922465"/>
              <a:gd name="connsiteY357" fmla="*/ 1817564 h 1934496"/>
              <a:gd name="connsiteX358" fmla="*/ 4904351 w 9922465"/>
              <a:gd name="connsiteY358" fmla="*/ 1762373 h 1934496"/>
              <a:gd name="connsiteX359" fmla="*/ 4959543 w 9922465"/>
              <a:gd name="connsiteY359" fmla="*/ 1707182 h 1934496"/>
              <a:gd name="connsiteX360" fmla="*/ 4829251 w 9922465"/>
              <a:gd name="connsiteY360" fmla="*/ 1707182 h 1934496"/>
              <a:gd name="connsiteX361" fmla="*/ 4884443 w 9922465"/>
              <a:gd name="connsiteY361" fmla="*/ 1762373 h 1934496"/>
              <a:gd name="connsiteX362" fmla="*/ 4829251 w 9922465"/>
              <a:gd name="connsiteY362" fmla="*/ 1817564 h 1934496"/>
              <a:gd name="connsiteX363" fmla="*/ 4774059 w 9922465"/>
              <a:gd name="connsiteY363" fmla="*/ 1762373 h 1934496"/>
              <a:gd name="connsiteX364" fmla="*/ 4829251 w 9922465"/>
              <a:gd name="connsiteY364" fmla="*/ 1707182 h 1934496"/>
              <a:gd name="connsiteX365" fmla="*/ 4695613 w 9922465"/>
              <a:gd name="connsiteY365" fmla="*/ 1707182 h 1934496"/>
              <a:gd name="connsiteX366" fmla="*/ 4750805 w 9922465"/>
              <a:gd name="connsiteY366" fmla="*/ 1762373 h 1934496"/>
              <a:gd name="connsiteX367" fmla="*/ 4695613 w 9922465"/>
              <a:gd name="connsiteY367" fmla="*/ 1817564 h 1934496"/>
              <a:gd name="connsiteX368" fmla="*/ 4640421 w 9922465"/>
              <a:gd name="connsiteY368" fmla="*/ 1762373 h 1934496"/>
              <a:gd name="connsiteX369" fmla="*/ 4695613 w 9922465"/>
              <a:gd name="connsiteY369" fmla="*/ 1707182 h 1934496"/>
              <a:gd name="connsiteX370" fmla="*/ 3098681 w 9922465"/>
              <a:gd name="connsiteY370" fmla="*/ 1707182 h 1934496"/>
              <a:gd name="connsiteX371" fmla="*/ 3153873 w 9922465"/>
              <a:gd name="connsiteY371" fmla="*/ 1762373 h 1934496"/>
              <a:gd name="connsiteX372" fmla="*/ 3098681 w 9922465"/>
              <a:gd name="connsiteY372" fmla="*/ 1817564 h 1934496"/>
              <a:gd name="connsiteX373" fmla="*/ 3043489 w 9922465"/>
              <a:gd name="connsiteY373" fmla="*/ 1762373 h 1934496"/>
              <a:gd name="connsiteX374" fmla="*/ 3098681 w 9922465"/>
              <a:gd name="connsiteY374" fmla="*/ 1707182 h 1934496"/>
              <a:gd name="connsiteX375" fmla="*/ 2971729 w 9922465"/>
              <a:gd name="connsiteY375" fmla="*/ 1707182 h 1934496"/>
              <a:gd name="connsiteX376" fmla="*/ 3026921 w 9922465"/>
              <a:gd name="connsiteY376" fmla="*/ 1762373 h 1934496"/>
              <a:gd name="connsiteX377" fmla="*/ 2971729 w 9922465"/>
              <a:gd name="connsiteY377" fmla="*/ 1817564 h 1934496"/>
              <a:gd name="connsiteX378" fmla="*/ 2916537 w 9922465"/>
              <a:gd name="connsiteY378" fmla="*/ 1762373 h 1934496"/>
              <a:gd name="connsiteX379" fmla="*/ 2971729 w 9922465"/>
              <a:gd name="connsiteY379" fmla="*/ 1707182 h 1934496"/>
              <a:gd name="connsiteX380" fmla="*/ 2834772 w 9922465"/>
              <a:gd name="connsiteY380" fmla="*/ 1707182 h 1934496"/>
              <a:gd name="connsiteX381" fmla="*/ 2889964 w 9922465"/>
              <a:gd name="connsiteY381" fmla="*/ 1762373 h 1934496"/>
              <a:gd name="connsiteX382" fmla="*/ 2834772 w 9922465"/>
              <a:gd name="connsiteY382" fmla="*/ 1817564 h 1934496"/>
              <a:gd name="connsiteX383" fmla="*/ 2779580 w 9922465"/>
              <a:gd name="connsiteY383" fmla="*/ 1762373 h 1934496"/>
              <a:gd name="connsiteX384" fmla="*/ 2834772 w 9922465"/>
              <a:gd name="connsiteY384" fmla="*/ 1707182 h 1934496"/>
              <a:gd name="connsiteX385" fmla="*/ 2707817 w 9922465"/>
              <a:gd name="connsiteY385" fmla="*/ 1707182 h 1934496"/>
              <a:gd name="connsiteX386" fmla="*/ 2763009 w 9922465"/>
              <a:gd name="connsiteY386" fmla="*/ 1762373 h 1934496"/>
              <a:gd name="connsiteX387" fmla="*/ 2707817 w 9922465"/>
              <a:gd name="connsiteY387" fmla="*/ 1817564 h 1934496"/>
              <a:gd name="connsiteX388" fmla="*/ 2652625 w 9922465"/>
              <a:gd name="connsiteY388" fmla="*/ 1762373 h 1934496"/>
              <a:gd name="connsiteX389" fmla="*/ 2707817 w 9922465"/>
              <a:gd name="connsiteY389" fmla="*/ 1707182 h 1934496"/>
              <a:gd name="connsiteX390" fmla="*/ 2570843 w 9922465"/>
              <a:gd name="connsiteY390" fmla="*/ 1707182 h 1934496"/>
              <a:gd name="connsiteX391" fmla="*/ 2626036 w 9922465"/>
              <a:gd name="connsiteY391" fmla="*/ 1762373 h 1934496"/>
              <a:gd name="connsiteX392" fmla="*/ 2570843 w 9922465"/>
              <a:gd name="connsiteY392" fmla="*/ 1817564 h 1934496"/>
              <a:gd name="connsiteX393" fmla="*/ 2515651 w 9922465"/>
              <a:gd name="connsiteY393" fmla="*/ 1762373 h 1934496"/>
              <a:gd name="connsiteX394" fmla="*/ 2570843 w 9922465"/>
              <a:gd name="connsiteY394" fmla="*/ 1707182 h 1934496"/>
              <a:gd name="connsiteX395" fmla="*/ 2437207 w 9922465"/>
              <a:gd name="connsiteY395" fmla="*/ 1707182 h 1934496"/>
              <a:gd name="connsiteX396" fmla="*/ 2492398 w 9922465"/>
              <a:gd name="connsiteY396" fmla="*/ 1762373 h 1934496"/>
              <a:gd name="connsiteX397" fmla="*/ 2437207 w 9922465"/>
              <a:gd name="connsiteY397" fmla="*/ 1817564 h 1934496"/>
              <a:gd name="connsiteX398" fmla="*/ 2382015 w 9922465"/>
              <a:gd name="connsiteY398" fmla="*/ 1762373 h 1934496"/>
              <a:gd name="connsiteX399" fmla="*/ 2437207 w 9922465"/>
              <a:gd name="connsiteY399" fmla="*/ 1707182 h 1934496"/>
              <a:gd name="connsiteX400" fmla="*/ 2303575 w 9922465"/>
              <a:gd name="connsiteY400" fmla="*/ 1707182 h 1934496"/>
              <a:gd name="connsiteX401" fmla="*/ 2358767 w 9922465"/>
              <a:gd name="connsiteY401" fmla="*/ 1762373 h 1934496"/>
              <a:gd name="connsiteX402" fmla="*/ 2303575 w 9922465"/>
              <a:gd name="connsiteY402" fmla="*/ 1817564 h 1934496"/>
              <a:gd name="connsiteX403" fmla="*/ 2248383 w 9922465"/>
              <a:gd name="connsiteY403" fmla="*/ 1762373 h 1934496"/>
              <a:gd name="connsiteX404" fmla="*/ 2303575 w 9922465"/>
              <a:gd name="connsiteY404" fmla="*/ 1707182 h 1934496"/>
              <a:gd name="connsiteX405" fmla="*/ 2173282 w 9922465"/>
              <a:gd name="connsiteY405" fmla="*/ 1707182 h 1934496"/>
              <a:gd name="connsiteX406" fmla="*/ 2228474 w 9922465"/>
              <a:gd name="connsiteY406" fmla="*/ 1762373 h 1934496"/>
              <a:gd name="connsiteX407" fmla="*/ 2173282 w 9922465"/>
              <a:gd name="connsiteY407" fmla="*/ 1817564 h 1934496"/>
              <a:gd name="connsiteX408" fmla="*/ 2118090 w 9922465"/>
              <a:gd name="connsiteY408" fmla="*/ 1762373 h 1934496"/>
              <a:gd name="connsiteX409" fmla="*/ 2173282 w 9922465"/>
              <a:gd name="connsiteY409" fmla="*/ 1707182 h 1934496"/>
              <a:gd name="connsiteX410" fmla="*/ 2039648 w 9922465"/>
              <a:gd name="connsiteY410" fmla="*/ 1707182 h 1934496"/>
              <a:gd name="connsiteX411" fmla="*/ 2094840 w 9922465"/>
              <a:gd name="connsiteY411" fmla="*/ 1762373 h 1934496"/>
              <a:gd name="connsiteX412" fmla="*/ 2039648 w 9922465"/>
              <a:gd name="connsiteY412" fmla="*/ 1817564 h 1934496"/>
              <a:gd name="connsiteX413" fmla="*/ 1984455 w 9922465"/>
              <a:gd name="connsiteY413" fmla="*/ 1762373 h 1934496"/>
              <a:gd name="connsiteX414" fmla="*/ 2039648 w 9922465"/>
              <a:gd name="connsiteY414" fmla="*/ 1707182 h 1934496"/>
              <a:gd name="connsiteX415" fmla="*/ 1909353 w 9922465"/>
              <a:gd name="connsiteY415" fmla="*/ 1707182 h 1934496"/>
              <a:gd name="connsiteX416" fmla="*/ 1964545 w 9922465"/>
              <a:gd name="connsiteY416" fmla="*/ 1762373 h 1934496"/>
              <a:gd name="connsiteX417" fmla="*/ 1909353 w 9922465"/>
              <a:gd name="connsiteY417" fmla="*/ 1817564 h 1934496"/>
              <a:gd name="connsiteX418" fmla="*/ 1854161 w 9922465"/>
              <a:gd name="connsiteY418" fmla="*/ 1762373 h 1934496"/>
              <a:gd name="connsiteX419" fmla="*/ 1909353 w 9922465"/>
              <a:gd name="connsiteY419" fmla="*/ 1707182 h 1934496"/>
              <a:gd name="connsiteX420" fmla="*/ 1779058 w 9922465"/>
              <a:gd name="connsiteY420" fmla="*/ 1707182 h 1934496"/>
              <a:gd name="connsiteX421" fmla="*/ 1834251 w 9922465"/>
              <a:gd name="connsiteY421" fmla="*/ 1762373 h 1934496"/>
              <a:gd name="connsiteX422" fmla="*/ 1779058 w 9922465"/>
              <a:gd name="connsiteY422" fmla="*/ 1817564 h 1934496"/>
              <a:gd name="connsiteX423" fmla="*/ 1723867 w 9922465"/>
              <a:gd name="connsiteY423" fmla="*/ 1762373 h 1934496"/>
              <a:gd name="connsiteX424" fmla="*/ 1779058 w 9922465"/>
              <a:gd name="connsiteY424" fmla="*/ 1707182 h 1934496"/>
              <a:gd name="connsiteX425" fmla="*/ 1645422 w 9922465"/>
              <a:gd name="connsiteY425" fmla="*/ 1707182 h 1934496"/>
              <a:gd name="connsiteX426" fmla="*/ 1700617 w 9922465"/>
              <a:gd name="connsiteY426" fmla="*/ 1762373 h 1934496"/>
              <a:gd name="connsiteX427" fmla="*/ 1645422 w 9922465"/>
              <a:gd name="connsiteY427" fmla="*/ 1817564 h 1934496"/>
              <a:gd name="connsiteX428" fmla="*/ 1590230 w 9922465"/>
              <a:gd name="connsiteY428" fmla="*/ 1762373 h 1934496"/>
              <a:gd name="connsiteX429" fmla="*/ 1645422 w 9922465"/>
              <a:gd name="connsiteY429" fmla="*/ 1707182 h 1934496"/>
              <a:gd name="connsiteX430" fmla="*/ 1515130 w 9922465"/>
              <a:gd name="connsiteY430" fmla="*/ 1707182 h 1934496"/>
              <a:gd name="connsiteX431" fmla="*/ 1570322 w 9922465"/>
              <a:gd name="connsiteY431" fmla="*/ 1762373 h 1934496"/>
              <a:gd name="connsiteX432" fmla="*/ 1515130 w 9922465"/>
              <a:gd name="connsiteY432" fmla="*/ 1817564 h 1934496"/>
              <a:gd name="connsiteX433" fmla="*/ 1459938 w 9922465"/>
              <a:gd name="connsiteY433" fmla="*/ 1762373 h 1934496"/>
              <a:gd name="connsiteX434" fmla="*/ 1515130 w 9922465"/>
              <a:gd name="connsiteY434" fmla="*/ 1707182 h 1934496"/>
              <a:gd name="connsiteX435" fmla="*/ 1381494 w 9922465"/>
              <a:gd name="connsiteY435" fmla="*/ 1707182 h 1934496"/>
              <a:gd name="connsiteX436" fmla="*/ 1436688 w 9922465"/>
              <a:gd name="connsiteY436" fmla="*/ 1762373 h 1934496"/>
              <a:gd name="connsiteX437" fmla="*/ 1381494 w 9922465"/>
              <a:gd name="connsiteY437" fmla="*/ 1817564 h 1934496"/>
              <a:gd name="connsiteX438" fmla="*/ 1326303 w 9922465"/>
              <a:gd name="connsiteY438" fmla="*/ 1762373 h 1934496"/>
              <a:gd name="connsiteX439" fmla="*/ 1381494 w 9922465"/>
              <a:gd name="connsiteY439" fmla="*/ 1707182 h 1934496"/>
              <a:gd name="connsiteX440" fmla="*/ 1251201 w 9922465"/>
              <a:gd name="connsiteY440" fmla="*/ 1707182 h 1934496"/>
              <a:gd name="connsiteX441" fmla="*/ 1306393 w 9922465"/>
              <a:gd name="connsiteY441" fmla="*/ 1762373 h 1934496"/>
              <a:gd name="connsiteX442" fmla="*/ 1251201 w 9922465"/>
              <a:gd name="connsiteY442" fmla="*/ 1817564 h 1934496"/>
              <a:gd name="connsiteX443" fmla="*/ 1196010 w 9922465"/>
              <a:gd name="connsiteY443" fmla="*/ 1762373 h 1934496"/>
              <a:gd name="connsiteX444" fmla="*/ 1251201 w 9922465"/>
              <a:gd name="connsiteY444" fmla="*/ 1707182 h 1934496"/>
              <a:gd name="connsiteX445" fmla="*/ 1909361 w 9922465"/>
              <a:gd name="connsiteY445" fmla="*/ 1580232 h 1934496"/>
              <a:gd name="connsiteX446" fmla="*/ 1964554 w 9922465"/>
              <a:gd name="connsiteY446" fmla="*/ 1635423 h 1934496"/>
              <a:gd name="connsiteX447" fmla="*/ 1909361 w 9922465"/>
              <a:gd name="connsiteY447" fmla="*/ 1690614 h 1934496"/>
              <a:gd name="connsiteX448" fmla="*/ 1854168 w 9922465"/>
              <a:gd name="connsiteY448" fmla="*/ 1635423 h 1934496"/>
              <a:gd name="connsiteX449" fmla="*/ 1909361 w 9922465"/>
              <a:gd name="connsiteY449" fmla="*/ 1580232 h 1934496"/>
              <a:gd name="connsiteX450" fmla="*/ 1779065 w 9922465"/>
              <a:gd name="connsiteY450" fmla="*/ 1580232 h 1934496"/>
              <a:gd name="connsiteX451" fmla="*/ 1834257 w 9922465"/>
              <a:gd name="connsiteY451" fmla="*/ 1635423 h 1934496"/>
              <a:gd name="connsiteX452" fmla="*/ 1779065 w 9922465"/>
              <a:gd name="connsiteY452" fmla="*/ 1690614 h 1934496"/>
              <a:gd name="connsiteX453" fmla="*/ 1723872 w 9922465"/>
              <a:gd name="connsiteY453" fmla="*/ 1635423 h 1934496"/>
              <a:gd name="connsiteX454" fmla="*/ 1779065 w 9922465"/>
              <a:gd name="connsiteY454" fmla="*/ 1580232 h 1934496"/>
              <a:gd name="connsiteX455" fmla="*/ 1645431 w 9922465"/>
              <a:gd name="connsiteY455" fmla="*/ 1580232 h 1934496"/>
              <a:gd name="connsiteX456" fmla="*/ 1700623 w 9922465"/>
              <a:gd name="connsiteY456" fmla="*/ 1635423 h 1934496"/>
              <a:gd name="connsiteX457" fmla="*/ 1645431 w 9922465"/>
              <a:gd name="connsiteY457" fmla="*/ 1690614 h 1934496"/>
              <a:gd name="connsiteX458" fmla="*/ 1590238 w 9922465"/>
              <a:gd name="connsiteY458" fmla="*/ 1635423 h 1934496"/>
              <a:gd name="connsiteX459" fmla="*/ 1645431 w 9922465"/>
              <a:gd name="connsiteY459" fmla="*/ 1580232 h 1934496"/>
              <a:gd name="connsiteX460" fmla="*/ 1515140 w 9922465"/>
              <a:gd name="connsiteY460" fmla="*/ 1580232 h 1934496"/>
              <a:gd name="connsiteX461" fmla="*/ 1570329 w 9922465"/>
              <a:gd name="connsiteY461" fmla="*/ 1635423 h 1934496"/>
              <a:gd name="connsiteX462" fmla="*/ 1515140 w 9922465"/>
              <a:gd name="connsiteY462" fmla="*/ 1690614 h 1934496"/>
              <a:gd name="connsiteX463" fmla="*/ 1459945 w 9922465"/>
              <a:gd name="connsiteY463" fmla="*/ 1635423 h 1934496"/>
              <a:gd name="connsiteX464" fmla="*/ 1515140 w 9922465"/>
              <a:gd name="connsiteY464" fmla="*/ 1580232 h 1934496"/>
              <a:gd name="connsiteX465" fmla="*/ 1381504 w 9922465"/>
              <a:gd name="connsiteY465" fmla="*/ 1580232 h 1934496"/>
              <a:gd name="connsiteX466" fmla="*/ 1436697 w 9922465"/>
              <a:gd name="connsiteY466" fmla="*/ 1635423 h 1934496"/>
              <a:gd name="connsiteX467" fmla="*/ 1381504 w 9922465"/>
              <a:gd name="connsiteY467" fmla="*/ 1690614 h 1934496"/>
              <a:gd name="connsiteX468" fmla="*/ 1326312 w 9922465"/>
              <a:gd name="connsiteY468" fmla="*/ 1635423 h 1934496"/>
              <a:gd name="connsiteX469" fmla="*/ 1381504 w 9922465"/>
              <a:gd name="connsiteY469" fmla="*/ 1580232 h 1934496"/>
              <a:gd name="connsiteX470" fmla="*/ 1251210 w 9922465"/>
              <a:gd name="connsiteY470" fmla="*/ 1580232 h 1934496"/>
              <a:gd name="connsiteX471" fmla="*/ 1306401 w 9922465"/>
              <a:gd name="connsiteY471" fmla="*/ 1635423 h 1934496"/>
              <a:gd name="connsiteX472" fmla="*/ 1251210 w 9922465"/>
              <a:gd name="connsiteY472" fmla="*/ 1690614 h 1934496"/>
              <a:gd name="connsiteX473" fmla="*/ 1196016 w 9922465"/>
              <a:gd name="connsiteY473" fmla="*/ 1635423 h 1934496"/>
              <a:gd name="connsiteX474" fmla="*/ 1251210 w 9922465"/>
              <a:gd name="connsiteY474" fmla="*/ 1580232 h 1934496"/>
              <a:gd name="connsiteX475" fmla="*/ 9068806 w 9922465"/>
              <a:gd name="connsiteY475" fmla="*/ 1580228 h 1934496"/>
              <a:gd name="connsiteX476" fmla="*/ 9123998 w 9922465"/>
              <a:gd name="connsiteY476" fmla="*/ 1635419 h 1934496"/>
              <a:gd name="connsiteX477" fmla="*/ 9068806 w 9922465"/>
              <a:gd name="connsiteY477" fmla="*/ 1690610 h 1934496"/>
              <a:gd name="connsiteX478" fmla="*/ 9013614 w 9922465"/>
              <a:gd name="connsiteY478" fmla="*/ 1635419 h 1934496"/>
              <a:gd name="connsiteX479" fmla="*/ 9068806 w 9922465"/>
              <a:gd name="connsiteY479" fmla="*/ 1580228 h 1934496"/>
              <a:gd name="connsiteX480" fmla="*/ 8671243 w 9922465"/>
              <a:gd name="connsiteY480" fmla="*/ 1580228 h 1934496"/>
              <a:gd name="connsiteX481" fmla="*/ 8726435 w 9922465"/>
              <a:gd name="connsiteY481" fmla="*/ 1635419 h 1934496"/>
              <a:gd name="connsiteX482" fmla="*/ 8671243 w 9922465"/>
              <a:gd name="connsiteY482" fmla="*/ 1690610 h 1934496"/>
              <a:gd name="connsiteX483" fmla="*/ 8616051 w 9922465"/>
              <a:gd name="connsiteY483" fmla="*/ 1635419 h 1934496"/>
              <a:gd name="connsiteX484" fmla="*/ 8671243 w 9922465"/>
              <a:gd name="connsiteY484" fmla="*/ 1580228 h 1934496"/>
              <a:gd name="connsiteX485" fmla="*/ 8537609 w 9922465"/>
              <a:gd name="connsiteY485" fmla="*/ 1580228 h 1934496"/>
              <a:gd name="connsiteX486" fmla="*/ 8592801 w 9922465"/>
              <a:gd name="connsiteY486" fmla="*/ 1635419 h 1934496"/>
              <a:gd name="connsiteX487" fmla="*/ 8537609 w 9922465"/>
              <a:gd name="connsiteY487" fmla="*/ 1690610 h 1934496"/>
              <a:gd name="connsiteX488" fmla="*/ 8482417 w 9922465"/>
              <a:gd name="connsiteY488" fmla="*/ 1635419 h 1934496"/>
              <a:gd name="connsiteX489" fmla="*/ 8537609 w 9922465"/>
              <a:gd name="connsiteY489" fmla="*/ 1580228 h 1934496"/>
              <a:gd name="connsiteX490" fmla="*/ 8407318 w 9922465"/>
              <a:gd name="connsiteY490" fmla="*/ 1580228 h 1934496"/>
              <a:gd name="connsiteX491" fmla="*/ 8462510 w 9922465"/>
              <a:gd name="connsiteY491" fmla="*/ 1635419 h 1934496"/>
              <a:gd name="connsiteX492" fmla="*/ 8407318 w 9922465"/>
              <a:gd name="connsiteY492" fmla="*/ 1690610 h 1934496"/>
              <a:gd name="connsiteX493" fmla="*/ 8352126 w 9922465"/>
              <a:gd name="connsiteY493" fmla="*/ 1635419 h 1934496"/>
              <a:gd name="connsiteX494" fmla="*/ 8407318 w 9922465"/>
              <a:gd name="connsiteY494" fmla="*/ 1580228 h 1934496"/>
              <a:gd name="connsiteX495" fmla="*/ 8273682 w 9922465"/>
              <a:gd name="connsiteY495" fmla="*/ 1580228 h 1934496"/>
              <a:gd name="connsiteX496" fmla="*/ 8328874 w 9922465"/>
              <a:gd name="connsiteY496" fmla="*/ 1635419 h 1934496"/>
              <a:gd name="connsiteX497" fmla="*/ 8273682 w 9922465"/>
              <a:gd name="connsiteY497" fmla="*/ 1690610 h 1934496"/>
              <a:gd name="connsiteX498" fmla="*/ 8218490 w 9922465"/>
              <a:gd name="connsiteY498" fmla="*/ 1635419 h 1934496"/>
              <a:gd name="connsiteX499" fmla="*/ 8273682 w 9922465"/>
              <a:gd name="connsiteY499" fmla="*/ 1580228 h 1934496"/>
              <a:gd name="connsiteX500" fmla="*/ 8143386 w 9922465"/>
              <a:gd name="connsiteY500" fmla="*/ 1580228 h 1934496"/>
              <a:gd name="connsiteX501" fmla="*/ 8198578 w 9922465"/>
              <a:gd name="connsiteY501" fmla="*/ 1635419 h 1934496"/>
              <a:gd name="connsiteX502" fmla="*/ 8143386 w 9922465"/>
              <a:gd name="connsiteY502" fmla="*/ 1690610 h 1934496"/>
              <a:gd name="connsiteX503" fmla="*/ 8088194 w 9922465"/>
              <a:gd name="connsiteY503" fmla="*/ 1635419 h 1934496"/>
              <a:gd name="connsiteX504" fmla="*/ 8143386 w 9922465"/>
              <a:gd name="connsiteY504" fmla="*/ 1580228 h 1934496"/>
              <a:gd name="connsiteX505" fmla="*/ 8009752 w 9922465"/>
              <a:gd name="connsiteY505" fmla="*/ 1580228 h 1934496"/>
              <a:gd name="connsiteX506" fmla="*/ 8064944 w 9922465"/>
              <a:gd name="connsiteY506" fmla="*/ 1635419 h 1934496"/>
              <a:gd name="connsiteX507" fmla="*/ 8009752 w 9922465"/>
              <a:gd name="connsiteY507" fmla="*/ 1690610 h 1934496"/>
              <a:gd name="connsiteX508" fmla="*/ 7954560 w 9922465"/>
              <a:gd name="connsiteY508" fmla="*/ 1635419 h 1934496"/>
              <a:gd name="connsiteX509" fmla="*/ 8009752 w 9922465"/>
              <a:gd name="connsiteY509" fmla="*/ 1580228 h 1934496"/>
              <a:gd name="connsiteX510" fmla="*/ 7876117 w 9922465"/>
              <a:gd name="connsiteY510" fmla="*/ 1580228 h 1934496"/>
              <a:gd name="connsiteX511" fmla="*/ 7931309 w 9922465"/>
              <a:gd name="connsiteY511" fmla="*/ 1635419 h 1934496"/>
              <a:gd name="connsiteX512" fmla="*/ 7876117 w 9922465"/>
              <a:gd name="connsiteY512" fmla="*/ 1690610 h 1934496"/>
              <a:gd name="connsiteX513" fmla="*/ 7820925 w 9922465"/>
              <a:gd name="connsiteY513" fmla="*/ 1635419 h 1934496"/>
              <a:gd name="connsiteX514" fmla="*/ 7876117 w 9922465"/>
              <a:gd name="connsiteY514" fmla="*/ 1580228 h 1934496"/>
              <a:gd name="connsiteX515" fmla="*/ 7745824 w 9922465"/>
              <a:gd name="connsiteY515" fmla="*/ 1580228 h 1934496"/>
              <a:gd name="connsiteX516" fmla="*/ 7801016 w 9922465"/>
              <a:gd name="connsiteY516" fmla="*/ 1635419 h 1934496"/>
              <a:gd name="connsiteX517" fmla="*/ 7745824 w 9922465"/>
              <a:gd name="connsiteY517" fmla="*/ 1690610 h 1934496"/>
              <a:gd name="connsiteX518" fmla="*/ 7690632 w 9922465"/>
              <a:gd name="connsiteY518" fmla="*/ 1635419 h 1934496"/>
              <a:gd name="connsiteX519" fmla="*/ 7745824 w 9922465"/>
              <a:gd name="connsiteY519" fmla="*/ 1580228 h 1934496"/>
              <a:gd name="connsiteX520" fmla="*/ 7608849 w 9922465"/>
              <a:gd name="connsiteY520" fmla="*/ 1580228 h 1934496"/>
              <a:gd name="connsiteX521" fmla="*/ 7664041 w 9922465"/>
              <a:gd name="connsiteY521" fmla="*/ 1635419 h 1934496"/>
              <a:gd name="connsiteX522" fmla="*/ 7608849 w 9922465"/>
              <a:gd name="connsiteY522" fmla="*/ 1690610 h 1934496"/>
              <a:gd name="connsiteX523" fmla="*/ 7553657 w 9922465"/>
              <a:gd name="connsiteY523" fmla="*/ 1635419 h 1934496"/>
              <a:gd name="connsiteX524" fmla="*/ 7608849 w 9922465"/>
              <a:gd name="connsiteY524" fmla="*/ 1580228 h 1934496"/>
              <a:gd name="connsiteX525" fmla="*/ 7481895 w 9922465"/>
              <a:gd name="connsiteY525" fmla="*/ 1580228 h 1934496"/>
              <a:gd name="connsiteX526" fmla="*/ 7537087 w 9922465"/>
              <a:gd name="connsiteY526" fmla="*/ 1635419 h 1934496"/>
              <a:gd name="connsiteX527" fmla="*/ 7481895 w 9922465"/>
              <a:gd name="connsiteY527" fmla="*/ 1690610 h 1934496"/>
              <a:gd name="connsiteX528" fmla="*/ 7426703 w 9922465"/>
              <a:gd name="connsiteY528" fmla="*/ 1635419 h 1934496"/>
              <a:gd name="connsiteX529" fmla="*/ 7481895 w 9922465"/>
              <a:gd name="connsiteY529" fmla="*/ 1580228 h 1934496"/>
              <a:gd name="connsiteX530" fmla="*/ 7341579 w 9922465"/>
              <a:gd name="connsiteY530" fmla="*/ 1580228 h 1934496"/>
              <a:gd name="connsiteX531" fmla="*/ 7396771 w 9922465"/>
              <a:gd name="connsiteY531" fmla="*/ 1635419 h 1934496"/>
              <a:gd name="connsiteX532" fmla="*/ 7341579 w 9922465"/>
              <a:gd name="connsiteY532" fmla="*/ 1690610 h 1934496"/>
              <a:gd name="connsiteX533" fmla="*/ 7286387 w 9922465"/>
              <a:gd name="connsiteY533" fmla="*/ 1635419 h 1934496"/>
              <a:gd name="connsiteX534" fmla="*/ 7341579 w 9922465"/>
              <a:gd name="connsiteY534" fmla="*/ 1580228 h 1934496"/>
              <a:gd name="connsiteX535" fmla="*/ 7211286 w 9922465"/>
              <a:gd name="connsiteY535" fmla="*/ 1580228 h 1934496"/>
              <a:gd name="connsiteX536" fmla="*/ 7266478 w 9922465"/>
              <a:gd name="connsiteY536" fmla="*/ 1635419 h 1934496"/>
              <a:gd name="connsiteX537" fmla="*/ 7211286 w 9922465"/>
              <a:gd name="connsiteY537" fmla="*/ 1690610 h 1934496"/>
              <a:gd name="connsiteX538" fmla="*/ 7156094 w 9922465"/>
              <a:gd name="connsiteY538" fmla="*/ 1635419 h 1934496"/>
              <a:gd name="connsiteX539" fmla="*/ 7211286 w 9922465"/>
              <a:gd name="connsiteY539" fmla="*/ 1580228 h 1934496"/>
              <a:gd name="connsiteX540" fmla="*/ 7080993 w 9922465"/>
              <a:gd name="connsiteY540" fmla="*/ 1580228 h 1934496"/>
              <a:gd name="connsiteX541" fmla="*/ 7136185 w 9922465"/>
              <a:gd name="connsiteY541" fmla="*/ 1635419 h 1934496"/>
              <a:gd name="connsiteX542" fmla="*/ 7080993 w 9922465"/>
              <a:gd name="connsiteY542" fmla="*/ 1690610 h 1934496"/>
              <a:gd name="connsiteX543" fmla="*/ 7025801 w 9922465"/>
              <a:gd name="connsiteY543" fmla="*/ 1635419 h 1934496"/>
              <a:gd name="connsiteX544" fmla="*/ 7080993 w 9922465"/>
              <a:gd name="connsiteY544" fmla="*/ 1580228 h 1934496"/>
              <a:gd name="connsiteX545" fmla="*/ 6947357 w 9922465"/>
              <a:gd name="connsiteY545" fmla="*/ 1580228 h 1934496"/>
              <a:gd name="connsiteX546" fmla="*/ 7002549 w 9922465"/>
              <a:gd name="connsiteY546" fmla="*/ 1635419 h 1934496"/>
              <a:gd name="connsiteX547" fmla="*/ 6947357 w 9922465"/>
              <a:gd name="connsiteY547" fmla="*/ 1690610 h 1934496"/>
              <a:gd name="connsiteX548" fmla="*/ 6892165 w 9922465"/>
              <a:gd name="connsiteY548" fmla="*/ 1635419 h 1934496"/>
              <a:gd name="connsiteX549" fmla="*/ 6947357 w 9922465"/>
              <a:gd name="connsiteY549" fmla="*/ 1580228 h 1934496"/>
              <a:gd name="connsiteX550" fmla="*/ 6817063 w 9922465"/>
              <a:gd name="connsiteY550" fmla="*/ 1580228 h 1934496"/>
              <a:gd name="connsiteX551" fmla="*/ 6872255 w 9922465"/>
              <a:gd name="connsiteY551" fmla="*/ 1635419 h 1934496"/>
              <a:gd name="connsiteX552" fmla="*/ 6817063 w 9922465"/>
              <a:gd name="connsiteY552" fmla="*/ 1690610 h 1934496"/>
              <a:gd name="connsiteX553" fmla="*/ 6761871 w 9922465"/>
              <a:gd name="connsiteY553" fmla="*/ 1635419 h 1934496"/>
              <a:gd name="connsiteX554" fmla="*/ 6817063 w 9922465"/>
              <a:gd name="connsiteY554" fmla="*/ 1580228 h 1934496"/>
              <a:gd name="connsiteX555" fmla="*/ 6683431 w 9922465"/>
              <a:gd name="connsiteY555" fmla="*/ 1580228 h 1934496"/>
              <a:gd name="connsiteX556" fmla="*/ 6738623 w 9922465"/>
              <a:gd name="connsiteY556" fmla="*/ 1635419 h 1934496"/>
              <a:gd name="connsiteX557" fmla="*/ 6683431 w 9922465"/>
              <a:gd name="connsiteY557" fmla="*/ 1690610 h 1934496"/>
              <a:gd name="connsiteX558" fmla="*/ 6628239 w 9922465"/>
              <a:gd name="connsiteY558" fmla="*/ 1635419 h 1934496"/>
              <a:gd name="connsiteX559" fmla="*/ 6683431 w 9922465"/>
              <a:gd name="connsiteY559" fmla="*/ 1580228 h 1934496"/>
              <a:gd name="connsiteX560" fmla="*/ 6553137 w 9922465"/>
              <a:gd name="connsiteY560" fmla="*/ 1580228 h 1934496"/>
              <a:gd name="connsiteX561" fmla="*/ 6608329 w 9922465"/>
              <a:gd name="connsiteY561" fmla="*/ 1635419 h 1934496"/>
              <a:gd name="connsiteX562" fmla="*/ 6553137 w 9922465"/>
              <a:gd name="connsiteY562" fmla="*/ 1690610 h 1934496"/>
              <a:gd name="connsiteX563" fmla="*/ 6497945 w 9922465"/>
              <a:gd name="connsiteY563" fmla="*/ 1635419 h 1934496"/>
              <a:gd name="connsiteX564" fmla="*/ 6553137 w 9922465"/>
              <a:gd name="connsiteY564" fmla="*/ 1580228 h 1934496"/>
              <a:gd name="connsiteX565" fmla="*/ 6419502 w 9922465"/>
              <a:gd name="connsiteY565" fmla="*/ 1580228 h 1934496"/>
              <a:gd name="connsiteX566" fmla="*/ 6474694 w 9922465"/>
              <a:gd name="connsiteY566" fmla="*/ 1635419 h 1934496"/>
              <a:gd name="connsiteX567" fmla="*/ 6419502 w 9922465"/>
              <a:gd name="connsiteY567" fmla="*/ 1690610 h 1934496"/>
              <a:gd name="connsiteX568" fmla="*/ 6364310 w 9922465"/>
              <a:gd name="connsiteY568" fmla="*/ 1635419 h 1934496"/>
              <a:gd name="connsiteX569" fmla="*/ 6419502 w 9922465"/>
              <a:gd name="connsiteY569" fmla="*/ 1580228 h 1934496"/>
              <a:gd name="connsiteX570" fmla="*/ 6289208 w 9922465"/>
              <a:gd name="connsiteY570" fmla="*/ 1580228 h 1934496"/>
              <a:gd name="connsiteX571" fmla="*/ 6344400 w 9922465"/>
              <a:gd name="connsiteY571" fmla="*/ 1635419 h 1934496"/>
              <a:gd name="connsiteX572" fmla="*/ 6289208 w 9922465"/>
              <a:gd name="connsiteY572" fmla="*/ 1690610 h 1934496"/>
              <a:gd name="connsiteX573" fmla="*/ 6234016 w 9922465"/>
              <a:gd name="connsiteY573" fmla="*/ 1635419 h 1934496"/>
              <a:gd name="connsiteX574" fmla="*/ 6289208 w 9922465"/>
              <a:gd name="connsiteY574" fmla="*/ 1580228 h 1934496"/>
              <a:gd name="connsiteX575" fmla="*/ 6155572 w 9922465"/>
              <a:gd name="connsiteY575" fmla="*/ 1580228 h 1934496"/>
              <a:gd name="connsiteX576" fmla="*/ 6210764 w 9922465"/>
              <a:gd name="connsiteY576" fmla="*/ 1635419 h 1934496"/>
              <a:gd name="connsiteX577" fmla="*/ 6155572 w 9922465"/>
              <a:gd name="connsiteY577" fmla="*/ 1690610 h 1934496"/>
              <a:gd name="connsiteX578" fmla="*/ 6100380 w 9922465"/>
              <a:gd name="connsiteY578" fmla="*/ 1635419 h 1934496"/>
              <a:gd name="connsiteX579" fmla="*/ 6155572 w 9922465"/>
              <a:gd name="connsiteY579" fmla="*/ 1580228 h 1934496"/>
              <a:gd name="connsiteX580" fmla="*/ 6021938 w 9922465"/>
              <a:gd name="connsiteY580" fmla="*/ 1580228 h 1934496"/>
              <a:gd name="connsiteX581" fmla="*/ 6077130 w 9922465"/>
              <a:gd name="connsiteY581" fmla="*/ 1635419 h 1934496"/>
              <a:gd name="connsiteX582" fmla="*/ 6021938 w 9922465"/>
              <a:gd name="connsiteY582" fmla="*/ 1690610 h 1934496"/>
              <a:gd name="connsiteX583" fmla="*/ 5966746 w 9922465"/>
              <a:gd name="connsiteY583" fmla="*/ 1635419 h 1934496"/>
              <a:gd name="connsiteX584" fmla="*/ 6021938 w 9922465"/>
              <a:gd name="connsiteY584" fmla="*/ 1580228 h 1934496"/>
              <a:gd name="connsiteX585" fmla="*/ 5884964 w 9922465"/>
              <a:gd name="connsiteY585" fmla="*/ 1580228 h 1934496"/>
              <a:gd name="connsiteX586" fmla="*/ 5940156 w 9922465"/>
              <a:gd name="connsiteY586" fmla="*/ 1635419 h 1934496"/>
              <a:gd name="connsiteX587" fmla="*/ 5884964 w 9922465"/>
              <a:gd name="connsiteY587" fmla="*/ 1690610 h 1934496"/>
              <a:gd name="connsiteX588" fmla="*/ 5829772 w 9922465"/>
              <a:gd name="connsiteY588" fmla="*/ 1635419 h 1934496"/>
              <a:gd name="connsiteX589" fmla="*/ 5884964 w 9922465"/>
              <a:gd name="connsiteY589" fmla="*/ 1580228 h 1934496"/>
              <a:gd name="connsiteX590" fmla="*/ 5754670 w 9922465"/>
              <a:gd name="connsiteY590" fmla="*/ 1580228 h 1934496"/>
              <a:gd name="connsiteX591" fmla="*/ 5809862 w 9922465"/>
              <a:gd name="connsiteY591" fmla="*/ 1635419 h 1934496"/>
              <a:gd name="connsiteX592" fmla="*/ 5754670 w 9922465"/>
              <a:gd name="connsiteY592" fmla="*/ 1690610 h 1934496"/>
              <a:gd name="connsiteX593" fmla="*/ 5699478 w 9922465"/>
              <a:gd name="connsiteY593" fmla="*/ 1635419 h 1934496"/>
              <a:gd name="connsiteX594" fmla="*/ 5754670 w 9922465"/>
              <a:gd name="connsiteY594" fmla="*/ 1580228 h 1934496"/>
              <a:gd name="connsiteX595" fmla="*/ 5621035 w 9922465"/>
              <a:gd name="connsiteY595" fmla="*/ 1580228 h 1934496"/>
              <a:gd name="connsiteX596" fmla="*/ 5676227 w 9922465"/>
              <a:gd name="connsiteY596" fmla="*/ 1635419 h 1934496"/>
              <a:gd name="connsiteX597" fmla="*/ 5621035 w 9922465"/>
              <a:gd name="connsiteY597" fmla="*/ 1690610 h 1934496"/>
              <a:gd name="connsiteX598" fmla="*/ 5565843 w 9922465"/>
              <a:gd name="connsiteY598" fmla="*/ 1635419 h 1934496"/>
              <a:gd name="connsiteX599" fmla="*/ 5621035 w 9922465"/>
              <a:gd name="connsiteY599" fmla="*/ 1580228 h 1934496"/>
              <a:gd name="connsiteX600" fmla="*/ 5357105 w 9922465"/>
              <a:gd name="connsiteY600" fmla="*/ 1580228 h 1934496"/>
              <a:gd name="connsiteX601" fmla="*/ 5412297 w 9922465"/>
              <a:gd name="connsiteY601" fmla="*/ 1635419 h 1934496"/>
              <a:gd name="connsiteX602" fmla="*/ 5357105 w 9922465"/>
              <a:gd name="connsiteY602" fmla="*/ 1690610 h 1934496"/>
              <a:gd name="connsiteX603" fmla="*/ 5301913 w 9922465"/>
              <a:gd name="connsiteY603" fmla="*/ 1635419 h 1934496"/>
              <a:gd name="connsiteX604" fmla="*/ 5357105 w 9922465"/>
              <a:gd name="connsiteY604" fmla="*/ 1580228 h 1934496"/>
              <a:gd name="connsiteX605" fmla="*/ 5223473 w 9922465"/>
              <a:gd name="connsiteY605" fmla="*/ 1580228 h 1934496"/>
              <a:gd name="connsiteX606" fmla="*/ 5278665 w 9922465"/>
              <a:gd name="connsiteY606" fmla="*/ 1635419 h 1934496"/>
              <a:gd name="connsiteX607" fmla="*/ 5223473 w 9922465"/>
              <a:gd name="connsiteY607" fmla="*/ 1690610 h 1934496"/>
              <a:gd name="connsiteX608" fmla="*/ 5168281 w 9922465"/>
              <a:gd name="connsiteY608" fmla="*/ 1635419 h 1934496"/>
              <a:gd name="connsiteX609" fmla="*/ 5223473 w 9922465"/>
              <a:gd name="connsiteY609" fmla="*/ 1580228 h 1934496"/>
              <a:gd name="connsiteX610" fmla="*/ 5093178 w 9922465"/>
              <a:gd name="connsiteY610" fmla="*/ 1580228 h 1934496"/>
              <a:gd name="connsiteX611" fmla="*/ 5148370 w 9922465"/>
              <a:gd name="connsiteY611" fmla="*/ 1635419 h 1934496"/>
              <a:gd name="connsiteX612" fmla="*/ 5093178 w 9922465"/>
              <a:gd name="connsiteY612" fmla="*/ 1690610 h 1934496"/>
              <a:gd name="connsiteX613" fmla="*/ 5037986 w 9922465"/>
              <a:gd name="connsiteY613" fmla="*/ 1635419 h 1934496"/>
              <a:gd name="connsiteX614" fmla="*/ 5093178 w 9922465"/>
              <a:gd name="connsiteY614" fmla="*/ 1580228 h 1934496"/>
              <a:gd name="connsiteX615" fmla="*/ 4959543 w 9922465"/>
              <a:gd name="connsiteY615" fmla="*/ 1580228 h 1934496"/>
              <a:gd name="connsiteX616" fmla="*/ 5014735 w 9922465"/>
              <a:gd name="connsiteY616" fmla="*/ 1635419 h 1934496"/>
              <a:gd name="connsiteX617" fmla="*/ 4959543 w 9922465"/>
              <a:gd name="connsiteY617" fmla="*/ 1690610 h 1934496"/>
              <a:gd name="connsiteX618" fmla="*/ 4904351 w 9922465"/>
              <a:gd name="connsiteY618" fmla="*/ 1635419 h 1934496"/>
              <a:gd name="connsiteX619" fmla="*/ 4959543 w 9922465"/>
              <a:gd name="connsiteY619" fmla="*/ 1580228 h 1934496"/>
              <a:gd name="connsiteX620" fmla="*/ 4829251 w 9922465"/>
              <a:gd name="connsiteY620" fmla="*/ 1580228 h 1934496"/>
              <a:gd name="connsiteX621" fmla="*/ 4884443 w 9922465"/>
              <a:gd name="connsiteY621" fmla="*/ 1635419 h 1934496"/>
              <a:gd name="connsiteX622" fmla="*/ 4829251 w 9922465"/>
              <a:gd name="connsiteY622" fmla="*/ 1690610 h 1934496"/>
              <a:gd name="connsiteX623" fmla="*/ 4774059 w 9922465"/>
              <a:gd name="connsiteY623" fmla="*/ 1635419 h 1934496"/>
              <a:gd name="connsiteX624" fmla="*/ 4829251 w 9922465"/>
              <a:gd name="connsiteY624" fmla="*/ 1580228 h 1934496"/>
              <a:gd name="connsiteX625" fmla="*/ 4695613 w 9922465"/>
              <a:gd name="connsiteY625" fmla="*/ 1580228 h 1934496"/>
              <a:gd name="connsiteX626" fmla="*/ 4750805 w 9922465"/>
              <a:gd name="connsiteY626" fmla="*/ 1635419 h 1934496"/>
              <a:gd name="connsiteX627" fmla="*/ 4695613 w 9922465"/>
              <a:gd name="connsiteY627" fmla="*/ 1690610 h 1934496"/>
              <a:gd name="connsiteX628" fmla="*/ 4640421 w 9922465"/>
              <a:gd name="connsiteY628" fmla="*/ 1635419 h 1934496"/>
              <a:gd name="connsiteX629" fmla="*/ 4695613 w 9922465"/>
              <a:gd name="connsiteY629" fmla="*/ 1580228 h 1934496"/>
              <a:gd name="connsiteX630" fmla="*/ 4565322 w 9922465"/>
              <a:gd name="connsiteY630" fmla="*/ 1580228 h 1934496"/>
              <a:gd name="connsiteX631" fmla="*/ 4620514 w 9922465"/>
              <a:gd name="connsiteY631" fmla="*/ 1635419 h 1934496"/>
              <a:gd name="connsiteX632" fmla="*/ 4565322 w 9922465"/>
              <a:gd name="connsiteY632" fmla="*/ 1690610 h 1934496"/>
              <a:gd name="connsiteX633" fmla="*/ 4510130 w 9922465"/>
              <a:gd name="connsiteY633" fmla="*/ 1635419 h 1934496"/>
              <a:gd name="connsiteX634" fmla="*/ 4565322 w 9922465"/>
              <a:gd name="connsiteY634" fmla="*/ 1580228 h 1934496"/>
              <a:gd name="connsiteX635" fmla="*/ 3098681 w 9922465"/>
              <a:gd name="connsiteY635" fmla="*/ 1580228 h 1934496"/>
              <a:gd name="connsiteX636" fmla="*/ 3153873 w 9922465"/>
              <a:gd name="connsiteY636" fmla="*/ 1635419 h 1934496"/>
              <a:gd name="connsiteX637" fmla="*/ 3098681 w 9922465"/>
              <a:gd name="connsiteY637" fmla="*/ 1690610 h 1934496"/>
              <a:gd name="connsiteX638" fmla="*/ 3043489 w 9922465"/>
              <a:gd name="connsiteY638" fmla="*/ 1635419 h 1934496"/>
              <a:gd name="connsiteX639" fmla="*/ 3098681 w 9922465"/>
              <a:gd name="connsiteY639" fmla="*/ 1580228 h 1934496"/>
              <a:gd name="connsiteX640" fmla="*/ 2971729 w 9922465"/>
              <a:gd name="connsiteY640" fmla="*/ 1580228 h 1934496"/>
              <a:gd name="connsiteX641" fmla="*/ 3026921 w 9922465"/>
              <a:gd name="connsiteY641" fmla="*/ 1635419 h 1934496"/>
              <a:gd name="connsiteX642" fmla="*/ 2971729 w 9922465"/>
              <a:gd name="connsiteY642" fmla="*/ 1690610 h 1934496"/>
              <a:gd name="connsiteX643" fmla="*/ 2916537 w 9922465"/>
              <a:gd name="connsiteY643" fmla="*/ 1635419 h 1934496"/>
              <a:gd name="connsiteX644" fmla="*/ 2971729 w 9922465"/>
              <a:gd name="connsiteY644" fmla="*/ 1580228 h 1934496"/>
              <a:gd name="connsiteX645" fmla="*/ 2834783 w 9922465"/>
              <a:gd name="connsiteY645" fmla="*/ 1580228 h 1934496"/>
              <a:gd name="connsiteX646" fmla="*/ 2889974 w 9922465"/>
              <a:gd name="connsiteY646" fmla="*/ 1635419 h 1934496"/>
              <a:gd name="connsiteX647" fmla="*/ 2834783 w 9922465"/>
              <a:gd name="connsiteY647" fmla="*/ 1690610 h 1934496"/>
              <a:gd name="connsiteX648" fmla="*/ 2779590 w 9922465"/>
              <a:gd name="connsiteY648" fmla="*/ 1635419 h 1934496"/>
              <a:gd name="connsiteX649" fmla="*/ 2834783 w 9922465"/>
              <a:gd name="connsiteY649" fmla="*/ 1580228 h 1934496"/>
              <a:gd name="connsiteX650" fmla="*/ 2707828 w 9922465"/>
              <a:gd name="connsiteY650" fmla="*/ 1580228 h 1934496"/>
              <a:gd name="connsiteX651" fmla="*/ 2763021 w 9922465"/>
              <a:gd name="connsiteY651" fmla="*/ 1635419 h 1934496"/>
              <a:gd name="connsiteX652" fmla="*/ 2707828 w 9922465"/>
              <a:gd name="connsiteY652" fmla="*/ 1690610 h 1934496"/>
              <a:gd name="connsiteX653" fmla="*/ 2652636 w 9922465"/>
              <a:gd name="connsiteY653" fmla="*/ 1635419 h 1934496"/>
              <a:gd name="connsiteX654" fmla="*/ 2707828 w 9922465"/>
              <a:gd name="connsiteY654" fmla="*/ 1580228 h 1934496"/>
              <a:gd name="connsiteX655" fmla="*/ 2570854 w 9922465"/>
              <a:gd name="connsiteY655" fmla="*/ 1580228 h 1934496"/>
              <a:gd name="connsiteX656" fmla="*/ 2626046 w 9922465"/>
              <a:gd name="connsiteY656" fmla="*/ 1635419 h 1934496"/>
              <a:gd name="connsiteX657" fmla="*/ 2570854 w 9922465"/>
              <a:gd name="connsiteY657" fmla="*/ 1690610 h 1934496"/>
              <a:gd name="connsiteX658" fmla="*/ 2515662 w 9922465"/>
              <a:gd name="connsiteY658" fmla="*/ 1635419 h 1934496"/>
              <a:gd name="connsiteX659" fmla="*/ 2570854 w 9922465"/>
              <a:gd name="connsiteY659" fmla="*/ 1580228 h 1934496"/>
              <a:gd name="connsiteX660" fmla="*/ 2437218 w 9922465"/>
              <a:gd name="connsiteY660" fmla="*/ 1580228 h 1934496"/>
              <a:gd name="connsiteX661" fmla="*/ 2492409 w 9922465"/>
              <a:gd name="connsiteY661" fmla="*/ 1635419 h 1934496"/>
              <a:gd name="connsiteX662" fmla="*/ 2437218 w 9922465"/>
              <a:gd name="connsiteY662" fmla="*/ 1690610 h 1934496"/>
              <a:gd name="connsiteX663" fmla="*/ 2382026 w 9922465"/>
              <a:gd name="connsiteY663" fmla="*/ 1635419 h 1934496"/>
              <a:gd name="connsiteX664" fmla="*/ 2437218 w 9922465"/>
              <a:gd name="connsiteY664" fmla="*/ 1580228 h 1934496"/>
              <a:gd name="connsiteX665" fmla="*/ 2303586 w 9922465"/>
              <a:gd name="connsiteY665" fmla="*/ 1580228 h 1934496"/>
              <a:gd name="connsiteX666" fmla="*/ 2358778 w 9922465"/>
              <a:gd name="connsiteY666" fmla="*/ 1635419 h 1934496"/>
              <a:gd name="connsiteX667" fmla="*/ 2303586 w 9922465"/>
              <a:gd name="connsiteY667" fmla="*/ 1690610 h 1934496"/>
              <a:gd name="connsiteX668" fmla="*/ 2248394 w 9922465"/>
              <a:gd name="connsiteY668" fmla="*/ 1635419 h 1934496"/>
              <a:gd name="connsiteX669" fmla="*/ 2303586 w 9922465"/>
              <a:gd name="connsiteY669" fmla="*/ 1580228 h 1934496"/>
              <a:gd name="connsiteX670" fmla="*/ 2173293 w 9922465"/>
              <a:gd name="connsiteY670" fmla="*/ 1580228 h 1934496"/>
              <a:gd name="connsiteX671" fmla="*/ 2228486 w 9922465"/>
              <a:gd name="connsiteY671" fmla="*/ 1635419 h 1934496"/>
              <a:gd name="connsiteX672" fmla="*/ 2173293 w 9922465"/>
              <a:gd name="connsiteY672" fmla="*/ 1690610 h 1934496"/>
              <a:gd name="connsiteX673" fmla="*/ 2118101 w 9922465"/>
              <a:gd name="connsiteY673" fmla="*/ 1635419 h 1934496"/>
              <a:gd name="connsiteX674" fmla="*/ 2173293 w 9922465"/>
              <a:gd name="connsiteY674" fmla="*/ 1580228 h 1934496"/>
              <a:gd name="connsiteX675" fmla="*/ 2039658 w 9922465"/>
              <a:gd name="connsiteY675" fmla="*/ 1580228 h 1934496"/>
              <a:gd name="connsiteX676" fmla="*/ 2094851 w 9922465"/>
              <a:gd name="connsiteY676" fmla="*/ 1635419 h 1934496"/>
              <a:gd name="connsiteX677" fmla="*/ 2039658 w 9922465"/>
              <a:gd name="connsiteY677" fmla="*/ 1690610 h 1934496"/>
              <a:gd name="connsiteX678" fmla="*/ 1984465 w 9922465"/>
              <a:gd name="connsiteY678" fmla="*/ 1635419 h 1934496"/>
              <a:gd name="connsiteX679" fmla="*/ 2039658 w 9922465"/>
              <a:gd name="connsiteY679" fmla="*/ 1580228 h 1934496"/>
              <a:gd name="connsiteX680" fmla="*/ 9068807 w 9922465"/>
              <a:gd name="connsiteY680" fmla="*/ 1459958 h 1934496"/>
              <a:gd name="connsiteX681" fmla="*/ 9123999 w 9922465"/>
              <a:gd name="connsiteY681" fmla="*/ 1515149 h 1934496"/>
              <a:gd name="connsiteX682" fmla="*/ 9068807 w 9922465"/>
              <a:gd name="connsiteY682" fmla="*/ 1570340 h 1934496"/>
              <a:gd name="connsiteX683" fmla="*/ 9013615 w 9922465"/>
              <a:gd name="connsiteY683" fmla="*/ 1515149 h 1934496"/>
              <a:gd name="connsiteX684" fmla="*/ 9068807 w 9922465"/>
              <a:gd name="connsiteY684" fmla="*/ 1459958 h 1934496"/>
              <a:gd name="connsiteX685" fmla="*/ 8671244 w 9922465"/>
              <a:gd name="connsiteY685" fmla="*/ 1459958 h 1934496"/>
              <a:gd name="connsiteX686" fmla="*/ 8726436 w 9922465"/>
              <a:gd name="connsiteY686" fmla="*/ 1515149 h 1934496"/>
              <a:gd name="connsiteX687" fmla="*/ 8671244 w 9922465"/>
              <a:gd name="connsiteY687" fmla="*/ 1570340 h 1934496"/>
              <a:gd name="connsiteX688" fmla="*/ 8616052 w 9922465"/>
              <a:gd name="connsiteY688" fmla="*/ 1515149 h 1934496"/>
              <a:gd name="connsiteX689" fmla="*/ 8671244 w 9922465"/>
              <a:gd name="connsiteY689" fmla="*/ 1459958 h 1934496"/>
              <a:gd name="connsiteX690" fmla="*/ 8537612 w 9922465"/>
              <a:gd name="connsiteY690" fmla="*/ 1459958 h 1934496"/>
              <a:gd name="connsiteX691" fmla="*/ 8592804 w 9922465"/>
              <a:gd name="connsiteY691" fmla="*/ 1515149 h 1934496"/>
              <a:gd name="connsiteX692" fmla="*/ 8537612 w 9922465"/>
              <a:gd name="connsiteY692" fmla="*/ 1570340 h 1934496"/>
              <a:gd name="connsiteX693" fmla="*/ 8482420 w 9922465"/>
              <a:gd name="connsiteY693" fmla="*/ 1515149 h 1934496"/>
              <a:gd name="connsiteX694" fmla="*/ 8537612 w 9922465"/>
              <a:gd name="connsiteY694" fmla="*/ 1459958 h 1934496"/>
              <a:gd name="connsiteX695" fmla="*/ 8407316 w 9922465"/>
              <a:gd name="connsiteY695" fmla="*/ 1459958 h 1934496"/>
              <a:gd name="connsiteX696" fmla="*/ 8462508 w 9922465"/>
              <a:gd name="connsiteY696" fmla="*/ 1515149 h 1934496"/>
              <a:gd name="connsiteX697" fmla="*/ 8407316 w 9922465"/>
              <a:gd name="connsiteY697" fmla="*/ 1570340 h 1934496"/>
              <a:gd name="connsiteX698" fmla="*/ 8352124 w 9922465"/>
              <a:gd name="connsiteY698" fmla="*/ 1515149 h 1934496"/>
              <a:gd name="connsiteX699" fmla="*/ 8407316 w 9922465"/>
              <a:gd name="connsiteY699" fmla="*/ 1459958 h 1934496"/>
              <a:gd name="connsiteX700" fmla="*/ 8273682 w 9922465"/>
              <a:gd name="connsiteY700" fmla="*/ 1459958 h 1934496"/>
              <a:gd name="connsiteX701" fmla="*/ 8328874 w 9922465"/>
              <a:gd name="connsiteY701" fmla="*/ 1515149 h 1934496"/>
              <a:gd name="connsiteX702" fmla="*/ 8273682 w 9922465"/>
              <a:gd name="connsiteY702" fmla="*/ 1570340 h 1934496"/>
              <a:gd name="connsiteX703" fmla="*/ 8218490 w 9922465"/>
              <a:gd name="connsiteY703" fmla="*/ 1515149 h 1934496"/>
              <a:gd name="connsiteX704" fmla="*/ 8273682 w 9922465"/>
              <a:gd name="connsiteY704" fmla="*/ 1459958 h 1934496"/>
              <a:gd name="connsiteX705" fmla="*/ 8143388 w 9922465"/>
              <a:gd name="connsiteY705" fmla="*/ 1459958 h 1934496"/>
              <a:gd name="connsiteX706" fmla="*/ 8198580 w 9922465"/>
              <a:gd name="connsiteY706" fmla="*/ 1515149 h 1934496"/>
              <a:gd name="connsiteX707" fmla="*/ 8143388 w 9922465"/>
              <a:gd name="connsiteY707" fmla="*/ 1570340 h 1934496"/>
              <a:gd name="connsiteX708" fmla="*/ 8088196 w 9922465"/>
              <a:gd name="connsiteY708" fmla="*/ 1515149 h 1934496"/>
              <a:gd name="connsiteX709" fmla="*/ 8143388 w 9922465"/>
              <a:gd name="connsiteY709" fmla="*/ 1459958 h 1934496"/>
              <a:gd name="connsiteX710" fmla="*/ 8009753 w 9922465"/>
              <a:gd name="connsiteY710" fmla="*/ 1459958 h 1934496"/>
              <a:gd name="connsiteX711" fmla="*/ 8064945 w 9922465"/>
              <a:gd name="connsiteY711" fmla="*/ 1515149 h 1934496"/>
              <a:gd name="connsiteX712" fmla="*/ 8009753 w 9922465"/>
              <a:gd name="connsiteY712" fmla="*/ 1570340 h 1934496"/>
              <a:gd name="connsiteX713" fmla="*/ 7954561 w 9922465"/>
              <a:gd name="connsiteY713" fmla="*/ 1515149 h 1934496"/>
              <a:gd name="connsiteX714" fmla="*/ 8009753 w 9922465"/>
              <a:gd name="connsiteY714" fmla="*/ 1459958 h 1934496"/>
              <a:gd name="connsiteX715" fmla="*/ 7876118 w 9922465"/>
              <a:gd name="connsiteY715" fmla="*/ 1459958 h 1934496"/>
              <a:gd name="connsiteX716" fmla="*/ 7931310 w 9922465"/>
              <a:gd name="connsiteY716" fmla="*/ 1515149 h 1934496"/>
              <a:gd name="connsiteX717" fmla="*/ 7876118 w 9922465"/>
              <a:gd name="connsiteY717" fmla="*/ 1570340 h 1934496"/>
              <a:gd name="connsiteX718" fmla="*/ 7820926 w 9922465"/>
              <a:gd name="connsiteY718" fmla="*/ 1515149 h 1934496"/>
              <a:gd name="connsiteX719" fmla="*/ 7876118 w 9922465"/>
              <a:gd name="connsiteY719" fmla="*/ 1459958 h 1934496"/>
              <a:gd name="connsiteX720" fmla="*/ 7745823 w 9922465"/>
              <a:gd name="connsiteY720" fmla="*/ 1459958 h 1934496"/>
              <a:gd name="connsiteX721" fmla="*/ 7801015 w 9922465"/>
              <a:gd name="connsiteY721" fmla="*/ 1515149 h 1934496"/>
              <a:gd name="connsiteX722" fmla="*/ 7745823 w 9922465"/>
              <a:gd name="connsiteY722" fmla="*/ 1570340 h 1934496"/>
              <a:gd name="connsiteX723" fmla="*/ 7690631 w 9922465"/>
              <a:gd name="connsiteY723" fmla="*/ 1515149 h 1934496"/>
              <a:gd name="connsiteX724" fmla="*/ 7745823 w 9922465"/>
              <a:gd name="connsiteY724" fmla="*/ 1459958 h 1934496"/>
              <a:gd name="connsiteX725" fmla="*/ 7608849 w 9922465"/>
              <a:gd name="connsiteY725" fmla="*/ 1459958 h 1934496"/>
              <a:gd name="connsiteX726" fmla="*/ 7664041 w 9922465"/>
              <a:gd name="connsiteY726" fmla="*/ 1515149 h 1934496"/>
              <a:gd name="connsiteX727" fmla="*/ 7608849 w 9922465"/>
              <a:gd name="connsiteY727" fmla="*/ 1570340 h 1934496"/>
              <a:gd name="connsiteX728" fmla="*/ 7553657 w 9922465"/>
              <a:gd name="connsiteY728" fmla="*/ 1515149 h 1934496"/>
              <a:gd name="connsiteX729" fmla="*/ 7608849 w 9922465"/>
              <a:gd name="connsiteY729" fmla="*/ 1459958 h 1934496"/>
              <a:gd name="connsiteX730" fmla="*/ 7481897 w 9922465"/>
              <a:gd name="connsiteY730" fmla="*/ 1459958 h 1934496"/>
              <a:gd name="connsiteX731" fmla="*/ 7537089 w 9922465"/>
              <a:gd name="connsiteY731" fmla="*/ 1515149 h 1934496"/>
              <a:gd name="connsiteX732" fmla="*/ 7481897 w 9922465"/>
              <a:gd name="connsiteY732" fmla="*/ 1570340 h 1934496"/>
              <a:gd name="connsiteX733" fmla="*/ 7426705 w 9922465"/>
              <a:gd name="connsiteY733" fmla="*/ 1515149 h 1934496"/>
              <a:gd name="connsiteX734" fmla="*/ 7481897 w 9922465"/>
              <a:gd name="connsiteY734" fmla="*/ 1459958 h 1934496"/>
              <a:gd name="connsiteX735" fmla="*/ 7341579 w 9922465"/>
              <a:gd name="connsiteY735" fmla="*/ 1459958 h 1934496"/>
              <a:gd name="connsiteX736" fmla="*/ 7396771 w 9922465"/>
              <a:gd name="connsiteY736" fmla="*/ 1515149 h 1934496"/>
              <a:gd name="connsiteX737" fmla="*/ 7341579 w 9922465"/>
              <a:gd name="connsiteY737" fmla="*/ 1570340 h 1934496"/>
              <a:gd name="connsiteX738" fmla="*/ 7286387 w 9922465"/>
              <a:gd name="connsiteY738" fmla="*/ 1515149 h 1934496"/>
              <a:gd name="connsiteX739" fmla="*/ 7341579 w 9922465"/>
              <a:gd name="connsiteY739" fmla="*/ 1459958 h 1934496"/>
              <a:gd name="connsiteX740" fmla="*/ 7211286 w 9922465"/>
              <a:gd name="connsiteY740" fmla="*/ 1459958 h 1934496"/>
              <a:gd name="connsiteX741" fmla="*/ 7266478 w 9922465"/>
              <a:gd name="connsiteY741" fmla="*/ 1515149 h 1934496"/>
              <a:gd name="connsiteX742" fmla="*/ 7211286 w 9922465"/>
              <a:gd name="connsiteY742" fmla="*/ 1570340 h 1934496"/>
              <a:gd name="connsiteX743" fmla="*/ 7156094 w 9922465"/>
              <a:gd name="connsiteY743" fmla="*/ 1515149 h 1934496"/>
              <a:gd name="connsiteX744" fmla="*/ 7211286 w 9922465"/>
              <a:gd name="connsiteY744" fmla="*/ 1459958 h 1934496"/>
              <a:gd name="connsiteX745" fmla="*/ 7080993 w 9922465"/>
              <a:gd name="connsiteY745" fmla="*/ 1459958 h 1934496"/>
              <a:gd name="connsiteX746" fmla="*/ 7136185 w 9922465"/>
              <a:gd name="connsiteY746" fmla="*/ 1515149 h 1934496"/>
              <a:gd name="connsiteX747" fmla="*/ 7080993 w 9922465"/>
              <a:gd name="connsiteY747" fmla="*/ 1570340 h 1934496"/>
              <a:gd name="connsiteX748" fmla="*/ 7025801 w 9922465"/>
              <a:gd name="connsiteY748" fmla="*/ 1515149 h 1934496"/>
              <a:gd name="connsiteX749" fmla="*/ 7080993 w 9922465"/>
              <a:gd name="connsiteY749" fmla="*/ 1459958 h 1934496"/>
              <a:gd name="connsiteX750" fmla="*/ 6947357 w 9922465"/>
              <a:gd name="connsiteY750" fmla="*/ 1459958 h 1934496"/>
              <a:gd name="connsiteX751" fmla="*/ 7002549 w 9922465"/>
              <a:gd name="connsiteY751" fmla="*/ 1515149 h 1934496"/>
              <a:gd name="connsiteX752" fmla="*/ 6947357 w 9922465"/>
              <a:gd name="connsiteY752" fmla="*/ 1570340 h 1934496"/>
              <a:gd name="connsiteX753" fmla="*/ 6892165 w 9922465"/>
              <a:gd name="connsiteY753" fmla="*/ 1515149 h 1934496"/>
              <a:gd name="connsiteX754" fmla="*/ 6947357 w 9922465"/>
              <a:gd name="connsiteY754" fmla="*/ 1459958 h 1934496"/>
              <a:gd name="connsiteX755" fmla="*/ 6817064 w 9922465"/>
              <a:gd name="connsiteY755" fmla="*/ 1459958 h 1934496"/>
              <a:gd name="connsiteX756" fmla="*/ 6872256 w 9922465"/>
              <a:gd name="connsiteY756" fmla="*/ 1515149 h 1934496"/>
              <a:gd name="connsiteX757" fmla="*/ 6817064 w 9922465"/>
              <a:gd name="connsiteY757" fmla="*/ 1570340 h 1934496"/>
              <a:gd name="connsiteX758" fmla="*/ 6761872 w 9922465"/>
              <a:gd name="connsiteY758" fmla="*/ 1515149 h 1934496"/>
              <a:gd name="connsiteX759" fmla="*/ 6817064 w 9922465"/>
              <a:gd name="connsiteY759" fmla="*/ 1459958 h 1934496"/>
              <a:gd name="connsiteX760" fmla="*/ 6683431 w 9922465"/>
              <a:gd name="connsiteY760" fmla="*/ 1459958 h 1934496"/>
              <a:gd name="connsiteX761" fmla="*/ 6738623 w 9922465"/>
              <a:gd name="connsiteY761" fmla="*/ 1515149 h 1934496"/>
              <a:gd name="connsiteX762" fmla="*/ 6683431 w 9922465"/>
              <a:gd name="connsiteY762" fmla="*/ 1570340 h 1934496"/>
              <a:gd name="connsiteX763" fmla="*/ 6628239 w 9922465"/>
              <a:gd name="connsiteY763" fmla="*/ 1515149 h 1934496"/>
              <a:gd name="connsiteX764" fmla="*/ 6683431 w 9922465"/>
              <a:gd name="connsiteY764" fmla="*/ 1459958 h 1934496"/>
              <a:gd name="connsiteX765" fmla="*/ 6553137 w 9922465"/>
              <a:gd name="connsiteY765" fmla="*/ 1459958 h 1934496"/>
              <a:gd name="connsiteX766" fmla="*/ 6608329 w 9922465"/>
              <a:gd name="connsiteY766" fmla="*/ 1515149 h 1934496"/>
              <a:gd name="connsiteX767" fmla="*/ 6553137 w 9922465"/>
              <a:gd name="connsiteY767" fmla="*/ 1570340 h 1934496"/>
              <a:gd name="connsiteX768" fmla="*/ 6497945 w 9922465"/>
              <a:gd name="connsiteY768" fmla="*/ 1515149 h 1934496"/>
              <a:gd name="connsiteX769" fmla="*/ 6553137 w 9922465"/>
              <a:gd name="connsiteY769" fmla="*/ 1459958 h 1934496"/>
              <a:gd name="connsiteX770" fmla="*/ 6419502 w 9922465"/>
              <a:gd name="connsiteY770" fmla="*/ 1459958 h 1934496"/>
              <a:gd name="connsiteX771" fmla="*/ 6474694 w 9922465"/>
              <a:gd name="connsiteY771" fmla="*/ 1515149 h 1934496"/>
              <a:gd name="connsiteX772" fmla="*/ 6419502 w 9922465"/>
              <a:gd name="connsiteY772" fmla="*/ 1570340 h 1934496"/>
              <a:gd name="connsiteX773" fmla="*/ 6364310 w 9922465"/>
              <a:gd name="connsiteY773" fmla="*/ 1515149 h 1934496"/>
              <a:gd name="connsiteX774" fmla="*/ 6419502 w 9922465"/>
              <a:gd name="connsiteY774" fmla="*/ 1459958 h 1934496"/>
              <a:gd name="connsiteX775" fmla="*/ 6289207 w 9922465"/>
              <a:gd name="connsiteY775" fmla="*/ 1459958 h 1934496"/>
              <a:gd name="connsiteX776" fmla="*/ 6344399 w 9922465"/>
              <a:gd name="connsiteY776" fmla="*/ 1515149 h 1934496"/>
              <a:gd name="connsiteX777" fmla="*/ 6289207 w 9922465"/>
              <a:gd name="connsiteY777" fmla="*/ 1570340 h 1934496"/>
              <a:gd name="connsiteX778" fmla="*/ 6234015 w 9922465"/>
              <a:gd name="connsiteY778" fmla="*/ 1515149 h 1934496"/>
              <a:gd name="connsiteX779" fmla="*/ 6289207 w 9922465"/>
              <a:gd name="connsiteY779" fmla="*/ 1459958 h 1934496"/>
              <a:gd name="connsiteX780" fmla="*/ 6155573 w 9922465"/>
              <a:gd name="connsiteY780" fmla="*/ 1459958 h 1934496"/>
              <a:gd name="connsiteX781" fmla="*/ 6210765 w 9922465"/>
              <a:gd name="connsiteY781" fmla="*/ 1515149 h 1934496"/>
              <a:gd name="connsiteX782" fmla="*/ 6155573 w 9922465"/>
              <a:gd name="connsiteY782" fmla="*/ 1570340 h 1934496"/>
              <a:gd name="connsiteX783" fmla="*/ 6100381 w 9922465"/>
              <a:gd name="connsiteY783" fmla="*/ 1515149 h 1934496"/>
              <a:gd name="connsiteX784" fmla="*/ 6155573 w 9922465"/>
              <a:gd name="connsiteY784" fmla="*/ 1459958 h 1934496"/>
              <a:gd name="connsiteX785" fmla="*/ 6021939 w 9922465"/>
              <a:gd name="connsiteY785" fmla="*/ 1459958 h 1934496"/>
              <a:gd name="connsiteX786" fmla="*/ 6077131 w 9922465"/>
              <a:gd name="connsiteY786" fmla="*/ 1515149 h 1934496"/>
              <a:gd name="connsiteX787" fmla="*/ 6021939 w 9922465"/>
              <a:gd name="connsiteY787" fmla="*/ 1570340 h 1934496"/>
              <a:gd name="connsiteX788" fmla="*/ 5966747 w 9922465"/>
              <a:gd name="connsiteY788" fmla="*/ 1515149 h 1934496"/>
              <a:gd name="connsiteX789" fmla="*/ 6021939 w 9922465"/>
              <a:gd name="connsiteY789" fmla="*/ 1459958 h 1934496"/>
              <a:gd name="connsiteX790" fmla="*/ 5884964 w 9922465"/>
              <a:gd name="connsiteY790" fmla="*/ 1459958 h 1934496"/>
              <a:gd name="connsiteX791" fmla="*/ 5940156 w 9922465"/>
              <a:gd name="connsiteY791" fmla="*/ 1515149 h 1934496"/>
              <a:gd name="connsiteX792" fmla="*/ 5884964 w 9922465"/>
              <a:gd name="connsiteY792" fmla="*/ 1570340 h 1934496"/>
              <a:gd name="connsiteX793" fmla="*/ 5829772 w 9922465"/>
              <a:gd name="connsiteY793" fmla="*/ 1515149 h 1934496"/>
              <a:gd name="connsiteX794" fmla="*/ 5884964 w 9922465"/>
              <a:gd name="connsiteY794" fmla="*/ 1459958 h 1934496"/>
              <a:gd name="connsiteX795" fmla="*/ 5754668 w 9922465"/>
              <a:gd name="connsiteY795" fmla="*/ 1459958 h 1934496"/>
              <a:gd name="connsiteX796" fmla="*/ 5809860 w 9922465"/>
              <a:gd name="connsiteY796" fmla="*/ 1515149 h 1934496"/>
              <a:gd name="connsiteX797" fmla="*/ 5754668 w 9922465"/>
              <a:gd name="connsiteY797" fmla="*/ 1570340 h 1934496"/>
              <a:gd name="connsiteX798" fmla="*/ 5699476 w 9922465"/>
              <a:gd name="connsiteY798" fmla="*/ 1515149 h 1934496"/>
              <a:gd name="connsiteX799" fmla="*/ 5754668 w 9922465"/>
              <a:gd name="connsiteY799" fmla="*/ 1459958 h 1934496"/>
              <a:gd name="connsiteX800" fmla="*/ 5621034 w 9922465"/>
              <a:gd name="connsiteY800" fmla="*/ 1459958 h 1934496"/>
              <a:gd name="connsiteX801" fmla="*/ 5676226 w 9922465"/>
              <a:gd name="connsiteY801" fmla="*/ 1515149 h 1934496"/>
              <a:gd name="connsiteX802" fmla="*/ 5621034 w 9922465"/>
              <a:gd name="connsiteY802" fmla="*/ 1570340 h 1934496"/>
              <a:gd name="connsiteX803" fmla="*/ 5565842 w 9922465"/>
              <a:gd name="connsiteY803" fmla="*/ 1515149 h 1934496"/>
              <a:gd name="connsiteX804" fmla="*/ 5621034 w 9922465"/>
              <a:gd name="connsiteY804" fmla="*/ 1459958 h 1934496"/>
              <a:gd name="connsiteX805" fmla="*/ 5487399 w 9922465"/>
              <a:gd name="connsiteY805" fmla="*/ 1459958 h 1934496"/>
              <a:gd name="connsiteX806" fmla="*/ 5542591 w 9922465"/>
              <a:gd name="connsiteY806" fmla="*/ 1515149 h 1934496"/>
              <a:gd name="connsiteX807" fmla="*/ 5487399 w 9922465"/>
              <a:gd name="connsiteY807" fmla="*/ 1570340 h 1934496"/>
              <a:gd name="connsiteX808" fmla="*/ 5432207 w 9922465"/>
              <a:gd name="connsiteY808" fmla="*/ 1515149 h 1934496"/>
              <a:gd name="connsiteX809" fmla="*/ 5487399 w 9922465"/>
              <a:gd name="connsiteY809" fmla="*/ 1459958 h 1934496"/>
              <a:gd name="connsiteX810" fmla="*/ 5357106 w 9922465"/>
              <a:gd name="connsiteY810" fmla="*/ 1459958 h 1934496"/>
              <a:gd name="connsiteX811" fmla="*/ 5412298 w 9922465"/>
              <a:gd name="connsiteY811" fmla="*/ 1515149 h 1934496"/>
              <a:gd name="connsiteX812" fmla="*/ 5357106 w 9922465"/>
              <a:gd name="connsiteY812" fmla="*/ 1570340 h 1934496"/>
              <a:gd name="connsiteX813" fmla="*/ 5301914 w 9922465"/>
              <a:gd name="connsiteY813" fmla="*/ 1515149 h 1934496"/>
              <a:gd name="connsiteX814" fmla="*/ 5357106 w 9922465"/>
              <a:gd name="connsiteY814" fmla="*/ 1459958 h 1934496"/>
              <a:gd name="connsiteX815" fmla="*/ 5223473 w 9922465"/>
              <a:gd name="connsiteY815" fmla="*/ 1459958 h 1934496"/>
              <a:gd name="connsiteX816" fmla="*/ 5278665 w 9922465"/>
              <a:gd name="connsiteY816" fmla="*/ 1515149 h 1934496"/>
              <a:gd name="connsiteX817" fmla="*/ 5223473 w 9922465"/>
              <a:gd name="connsiteY817" fmla="*/ 1570340 h 1934496"/>
              <a:gd name="connsiteX818" fmla="*/ 5168281 w 9922465"/>
              <a:gd name="connsiteY818" fmla="*/ 1515149 h 1934496"/>
              <a:gd name="connsiteX819" fmla="*/ 5223473 w 9922465"/>
              <a:gd name="connsiteY819" fmla="*/ 1459958 h 1934496"/>
              <a:gd name="connsiteX820" fmla="*/ 5093178 w 9922465"/>
              <a:gd name="connsiteY820" fmla="*/ 1459958 h 1934496"/>
              <a:gd name="connsiteX821" fmla="*/ 5148370 w 9922465"/>
              <a:gd name="connsiteY821" fmla="*/ 1515149 h 1934496"/>
              <a:gd name="connsiteX822" fmla="*/ 5093178 w 9922465"/>
              <a:gd name="connsiteY822" fmla="*/ 1570340 h 1934496"/>
              <a:gd name="connsiteX823" fmla="*/ 5037986 w 9922465"/>
              <a:gd name="connsiteY823" fmla="*/ 1515149 h 1934496"/>
              <a:gd name="connsiteX824" fmla="*/ 5093178 w 9922465"/>
              <a:gd name="connsiteY824" fmla="*/ 1459958 h 1934496"/>
              <a:gd name="connsiteX825" fmla="*/ 4959542 w 9922465"/>
              <a:gd name="connsiteY825" fmla="*/ 1459958 h 1934496"/>
              <a:gd name="connsiteX826" fmla="*/ 5014734 w 9922465"/>
              <a:gd name="connsiteY826" fmla="*/ 1515149 h 1934496"/>
              <a:gd name="connsiteX827" fmla="*/ 4959542 w 9922465"/>
              <a:gd name="connsiteY827" fmla="*/ 1570340 h 1934496"/>
              <a:gd name="connsiteX828" fmla="*/ 4904350 w 9922465"/>
              <a:gd name="connsiteY828" fmla="*/ 1515149 h 1934496"/>
              <a:gd name="connsiteX829" fmla="*/ 4959542 w 9922465"/>
              <a:gd name="connsiteY829" fmla="*/ 1459958 h 1934496"/>
              <a:gd name="connsiteX830" fmla="*/ 4829250 w 9922465"/>
              <a:gd name="connsiteY830" fmla="*/ 1459958 h 1934496"/>
              <a:gd name="connsiteX831" fmla="*/ 4884442 w 9922465"/>
              <a:gd name="connsiteY831" fmla="*/ 1515149 h 1934496"/>
              <a:gd name="connsiteX832" fmla="*/ 4829250 w 9922465"/>
              <a:gd name="connsiteY832" fmla="*/ 1570340 h 1934496"/>
              <a:gd name="connsiteX833" fmla="*/ 4774058 w 9922465"/>
              <a:gd name="connsiteY833" fmla="*/ 1515149 h 1934496"/>
              <a:gd name="connsiteX834" fmla="*/ 4829250 w 9922465"/>
              <a:gd name="connsiteY834" fmla="*/ 1459958 h 1934496"/>
              <a:gd name="connsiteX835" fmla="*/ 4695614 w 9922465"/>
              <a:gd name="connsiteY835" fmla="*/ 1459958 h 1934496"/>
              <a:gd name="connsiteX836" fmla="*/ 4750806 w 9922465"/>
              <a:gd name="connsiteY836" fmla="*/ 1515149 h 1934496"/>
              <a:gd name="connsiteX837" fmla="*/ 4695614 w 9922465"/>
              <a:gd name="connsiteY837" fmla="*/ 1570340 h 1934496"/>
              <a:gd name="connsiteX838" fmla="*/ 4640422 w 9922465"/>
              <a:gd name="connsiteY838" fmla="*/ 1515149 h 1934496"/>
              <a:gd name="connsiteX839" fmla="*/ 4695614 w 9922465"/>
              <a:gd name="connsiteY839" fmla="*/ 1459958 h 1934496"/>
              <a:gd name="connsiteX840" fmla="*/ 4565322 w 9922465"/>
              <a:gd name="connsiteY840" fmla="*/ 1459958 h 1934496"/>
              <a:gd name="connsiteX841" fmla="*/ 4620514 w 9922465"/>
              <a:gd name="connsiteY841" fmla="*/ 1515149 h 1934496"/>
              <a:gd name="connsiteX842" fmla="*/ 4565322 w 9922465"/>
              <a:gd name="connsiteY842" fmla="*/ 1570340 h 1934496"/>
              <a:gd name="connsiteX843" fmla="*/ 4510130 w 9922465"/>
              <a:gd name="connsiteY843" fmla="*/ 1515149 h 1934496"/>
              <a:gd name="connsiteX844" fmla="*/ 4565322 w 9922465"/>
              <a:gd name="connsiteY844" fmla="*/ 1459958 h 1934496"/>
              <a:gd name="connsiteX845" fmla="*/ 4431687 w 9922465"/>
              <a:gd name="connsiteY845" fmla="*/ 1459958 h 1934496"/>
              <a:gd name="connsiteX846" fmla="*/ 4486879 w 9922465"/>
              <a:gd name="connsiteY846" fmla="*/ 1515149 h 1934496"/>
              <a:gd name="connsiteX847" fmla="*/ 4431687 w 9922465"/>
              <a:gd name="connsiteY847" fmla="*/ 1570340 h 1934496"/>
              <a:gd name="connsiteX848" fmla="*/ 4376495 w 9922465"/>
              <a:gd name="connsiteY848" fmla="*/ 1515149 h 1934496"/>
              <a:gd name="connsiteX849" fmla="*/ 4431687 w 9922465"/>
              <a:gd name="connsiteY849" fmla="*/ 1459958 h 1934496"/>
              <a:gd name="connsiteX850" fmla="*/ 3098681 w 9922465"/>
              <a:gd name="connsiteY850" fmla="*/ 1459958 h 1934496"/>
              <a:gd name="connsiteX851" fmla="*/ 3153873 w 9922465"/>
              <a:gd name="connsiteY851" fmla="*/ 1515149 h 1934496"/>
              <a:gd name="connsiteX852" fmla="*/ 3098681 w 9922465"/>
              <a:gd name="connsiteY852" fmla="*/ 1570340 h 1934496"/>
              <a:gd name="connsiteX853" fmla="*/ 3043489 w 9922465"/>
              <a:gd name="connsiteY853" fmla="*/ 1515149 h 1934496"/>
              <a:gd name="connsiteX854" fmla="*/ 3098681 w 9922465"/>
              <a:gd name="connsiteY854" fmla="*/ 1459958 h 1934496"/>
              <a:gd name="connsiteX855" fmla="*/ 2971729 w 9922465"/>
              <a:gd name="connsiteY855" fmla="*/ 1459958 h 1934496"/>
              <a:gd name="connsiteX856" fmla="*/ 3026921 w 9922465"/>
              <a:gd name="connsiteY856" fmla="*/ 1515149 h 1934496"/>
              <a:gd name="connsiteX857" fmla="*/ 2971729 w 9922465"/>
              <a:gd name="connsiteY857" fmla="*/ 1570340 h 1934496"/>
              <a:gd name="connsiteX858" fmla="*/ 2916537 w 9922465"/>
              <a:gd name="connsiteY858" fmla="*/ 1515149 h 1934496"/>
              <a:gd name="connsiteX859" fmla="*/ 2971729 w 9922465"/>
              <a:gd name="connsiteY859" fmla="*/ 1459958 h 1934496"/>
              <a:gd name="connsiteX860" fmla="*/ 2834792 w 9922465"/>
              <a:gd name="connsiteY860" fmla="*/ 1459958 h 1934496"/>
              <a:gd name="connsiteX861" fmla="*/ 2889984 w 9922465"/>
              <a:gd name="connsiteY861" fmla="*/ 1515149 h 1934496"/>
              <a:gd name="connsiteX862" fmla="*/ 2834792 w 9922465"/>
              <a:gd name="connsiteY862" fmla="*/ 1570340 h 1934496"/>
              <a:gd name="connsiteX863" fmla="*/ 2779600 w 9922465"/>
              <a:gd name="connsiteY863" fmla="*/ 1515149 h 1934496"/>
              <a:gd name="connsiteX864" fmla="*/ 2834792 w 9922465"/>
              <a:gd name="connsiteY864" fmla="*/ 1459958 h 1934496"/>
              <a:gd name="connsiteX865" fmla="*/ 2707839 w 9922465"/>
              <a:gd name="connsiteY865" fmla="*/ 1459958 h 1934496"/>
              <a:gd name="connsiteX866" fmla="*/ 2763031 w 9922465"/>
              <a:gd name="connsiteY866" fmla="*/ 1515149 h 1934496"/>
              <a:gd name="connsiteX867" fmla="*/ 2707839 w 9922465"/>
              <a:gd name="connsiteY867" fmla="*/ 1570340 h 1934496"/>
              <a:gd name="connsiteX868" fmla="*/ 2652646 w 9922465"/>
              <a:gd name="connsiteY868" fmla="*/ 1515149 h 1934496"/>
              <a:gd name="connsiteX869" fmla="*/ 2707839 w 9922465"/>
              <a:gd name="connsiteY869" fmla="*/ 1459958 h 1934496"/>
              <a:gd name="connsiteX870" fmla="*/ 2570864 w 9922465"/>
              <a:gd name="connsiteY870" fmla="*/ 1459958 h 1934496"/>
              <a:gd name="connsiteX871" fmla="*/ 2626056 w 9922465"/>
              <a:gd name="connsiteY871" fmla="*/ 1515149 h 1934496"/>
              <a:gd name="connsiteX872" fmla="*/ 2570864 w 9922465"/>
              <a:gd name="connsiteY872" fmla="*/ 1570340 h 1934496"/>
              <a:gd name="connsiteX873" fmla="*/ 2515671 w 9922465"/>
              <a:gd name="connsiteY873" fmla="*/ 1515149 h 1934496"/>
              <a:gd name="connsiteX874" fmla="*/ 2570864 w 9922465"/>
              <a:gd name="connsiteY874" fmla="*/ 1459958 h 1934496"/>
              <a:gd name="connsiteX875" fmla="*/ 2437228 w 9922465"/>
              <a:gd name="connsiteY875" fmla="*/ 1459958 h 1934496"/>
              <a:gd name="connsiteX876" fmla="*/ 2492419 w 9922465"/>
              <a:gd name="connsiteY876" fmla="*/ 1515149 h 1934496"/>
              <a:gd name="connsiteX877" fmla="*/ 2437228 w 9922465"/>
              <a:gd name="connsiteY877" fmla="*/ 1570340 h 1934496"/>
              <a:gd name="connsiteX878" fmla="*/ 2382037 w 9922465"/>
              <a:gd name="connsiteY878" fmla="*/ 1515149 h 1934496"/>
              <a:gd name="connsiteX879" fmla="*/ 2437228 w 9922465"/>
              <a:gd name="connsiteY879" fmla="*/ 1459958 h 1934496"/>
              <a:gd name="connsiteX880" fmla="*/ 2303596 w 9922465"/>
              <a:gd name="connsiteY880" fmla="*/ 1459958 h 1934496"/>
              <a:gd name="connsiteX881" fmla="*/ 2358787 w 9922465"/>
              <a:gd name="connsiteY881" fmla="*/ 1515149 h 1934496"/>
              <a:gd name="connsiteX882" fmla="*/ 2303596 w 9922465"/>
              <a:gd name="connsiteY882" fmla="*/ 1570340 h 1934496"/>
              <a:gd name="connsiteX883" fmla="*/ 2248404 w 9922465"/>
              <a:gd name="connsiteY883" fmla="*/ 1515149 h 1934496"/>
              <a:gd name="connsiteX884" fmla="*/ 2303596 w 9922465"/>
              <a:gd name="connsiteY884" fmla="*/ 1459958 h 1934496"/>
              <a:gd name="connsiteX885" fmla="*/ 2173305 w 9922465"/>
              <a:gd name="connsiteY885" fmla="*/ 1459958 h 1934496"/>
              <a:gd name="connsiteX886" fmla="*/ 2228497 w 9922465"/>
              <a:gd name="connsiteY886" fmla="*/ 1515149 h 1934496"/>
              <a:gd name="connsiteX887" fmla="*/ 2173305 w 9922465"/>
              <a:gd name="connsiteY887" fmla="*/ 1570340 h 1934496"/>
              <a:gd name="connsiteX888" fmla="*/ 2118111 w 9922465"/>
              <a:gd name="connsiteY888" fmla="*/ 1515149 h 1934496"/>
              <a:gd name="connsiteX889" fmla="*/ 2173305 w 9922465"/>
              <a:gd name="connsiteY889" fmla="*/ 1459958 h 1934496"/>
              <a:gd name="connsiteX890" fmla="*/ 2039668 w 9922465"/>
              <a:gd name="connsiteY890" fmla="*/ 1459958 h 1934496"/>
              <a:gd name="connsiteX891" fmla="*/ 2094860 w 9922465"/>
              <a:gd name="connsiteY891" fmla="*/ 1515149 h 1934496"/>
              <a:gd name="connsiteX892" fmla="*/ 2039668 w 9922465"/>
              <a:gd name="connsiteY892" fmla="*/ 1570340 h 1934496"/>
              <a:gd name="connsiteX893" fmla="*/ 1984475 w 9922465"/>
              <a:gd name="connsiteY893" fmla="*/ 1515149 h 1934496"/>
              <a:gd name="connsiteX894" fmla="*/ 2039668 w 9922465"/>
              <a:gd name="connsiteY894" fmla="*/ 1459958 h 1934496"/>
              <a:gd name="connsiteX895" fmla="*/ 1909371 w 9922465"/>
              <a:gd name="connsiteY895" fmla="*/ 1459958 h 1934496"/>
              <a:gd name="connsiteX896" fmla="*/ 1964564 w 9922465"/>
              <a:gd name="connsiteY896" fmla="*/ 1515149 h 1934496"/>
              <a:gd name="connsiteX897" fmla="*/ 1909371 w 9922465"/>
              <a:gd name="connsiteY897" fmla="*/ 1570340 h 1934496"/>
              <a:gd name="connsiteX898" fmla="*/ 1854178 w 9922465"/>
              <a:gd name="connsiteY898" fmla="*/ 1515149 h 1934496"/>
              <a:gd name="connsiteX899" fmla="*/ 1909371 w 9922465"/>
              <a:gd name="connsiteY899" fmla="*/ 1459958 h 1934496"/>
              <a:gd name="connsiteX900" fmla="*/ 1779076 w 9922465"/>
              <a:gd name="connsiteY900" fmla="*/ 1459958 h 1934496"/>
              <a:gd name="connsiteX901" fmla="*/ 1834269 w 9922465"/>
              <a:gd name="connsiteY901" fmla="*/ 1515149 h 1934496"/>
              <a:gd name="connsiteX902" fmla="*/ 1779076 w 9922465"/>
              <a:gd name="connsiteY902" fmla="*/ 1570340 h 1934496"/>
              <a:gd name="connsiteX903" fmla="*/ 1723884 w 9922465"/>
              <a:gd name="connsiteY903" fmla="*/ 1515149 h 1934496"/>
              <a:gd name="connsiteX904" fmla="*/ 1779076 w 9922465"/>
              <a:gd name="connsiteY904" fmla="*/ 1459958 h 1934496"/>
              <a:gd name="connsiteX905" fmla="*/ 1645440 w 9922465"/>
              <a:gd name="connsiteY905" fmla="*/ 1459958 h 1934496"/>
              <a:gd name="connsiteX906" fmla="*/ 1700637 w 9922465"/>
              <a:gd name="connsiteY906" fmla="*/ 1515149 h 1934496"/>
              <a:gd name="connsiteX907" fmla="*/ 1645440 w 9922465"/>
              <a:gd name="connsiteY907" fmla="*/ 1570340 h 1934496"/>
              <a:gd name="connsiteX908" fmla="*/ 1590248 w 9922465"/>
              <a:gd name="connsiteY908" fmla="*/ 1515149 h 1934496"/>
              <a:gd name="connsiteX909" fmla="*/ 1645440 w 9922465"/>
              <a:gd name="connsiteY909" fmla="*/ 1459958 h 1934496"/>
              <a:gd name="connsiteX910" fmla="*/ 1515149 w 9922465"/>
              <a:gd name="connsiteY910" fmla="*/ 1459958 h 1934496"/>
              <a:gd name="connsiteX911" fmla="*/ 1570338 w 9922465"/>
              <a:gd name="connsiteY911" fmla="*/ 1515149 h 1934496"/>
              <a:gd name="connsiteX912" fmla="*/ 1515149 w 9922465"/>
              <a:gd name="connsiteY912" fmla="*/ 1570340 h 1934496"/>
              <a:gd name="connsiteX913" fmla="*/ 1459956 w 9922465"/>
              <a:gd name="connsiteY913" fmla="*/ 1515149 h 1934496"/>
              <a:gd name="connsiteX914" fmla="*/ 1515149 w 9922465"/>
              <a:gd name="connsiteY914" fmla="*/ 1459958 h 1934496"/>
              <a:gd name="connsiteX915" fmla="*/ 1381511 w 9922465"/>
              <a:gd name="connsiteY915" fmla="*/ 1459958 h 1934496"/>
              <a:gd name="connsiteX916" fmla="*/ 1436705 w 9922465"/>
              <a:gd name="connsiteY916" fmla="*/ 1515149 h 1934496"/>
              <a:gd name="connsiteX917" fmla="*/ 1381511 w 9922465"/>
              <a:gd name="connsiteY917" fmla="*/ 1570340 h 1934496"/>
              <a:gd name="connsiteX918" fmla="*/ 1326322 w 9922465"/>
              <a:gd name="connsiteY918" fmla="*/ 1515149 h 1934496"/>
              <a:gd name="connsiteX919" fmla="*/ 1381511 w 9922465"/>
              <a:gd name="connsiteY919" fmla="*/ 1459958 h 1934496"/>
              <a:gd name="connsiteX920" fmla="*/ 1251220 w 9922465"/>
              <a:gd name="connsiteY920" fmla="*/ 1459958 h 1934496"/>
              <a:gd name="connsiteX921" fmla="*/ 1306413 w 9922465"/>
              <a:gd name="connsiteY921" fmla="*/ 1515149 h 1934496"/>
              <a:gd name="connsiteX922" fmla="*/ 1251220 w 9922465"/>
              <a:gd name="connsiteY922" fmla="*/ 1570340 h 1934496"/>
              <a:gd name="connsiteX923" fmla="*/ 1196028 w 9922465"/>
              <a:gd name="connsiteY923" fmla="*/ 1515149 h 1934496"/>
              <a:gd name="connsiteX924" fmla="*/ 1251220 w 9922465"/>
              <a:gd name="connsiteY924" fmla="*/ 1459958 h 1934496"/>
              <a:gd name="connsiteX925" fmla="*/ 1117583 w 9922465"/>
              <a:gd name="connsiteY925" fmla="*/ 1459958 h 1934496"/>
              <a:gd name="connsiteX926" fmla="*/ 1172776 w 9922465"/>
              <a:gd name="connsiteY926" fmla="*/ 1515149 h 1934496"/>
              <a:gd name="connsiteX927" fmla="*/ 1117583 w 9922465"/>
              <a:gd name="connsiteY927" fmla="*/ 1570340 h 1934496"/>
              <a:gd name="connsiteX928" fmla="*/ 1062390 w 9922465"/>
              <a:gd name="connsiteY928" fmla="*/ 1515149 h 1934496"/>
              <a:gd name="connsiteX929" fmla="*/ 1117583 w 9922465"/>
              <a:gd name="connsiteY929" fmla="*/ 1459958 h 1934496"/>
              <a:gd name="connsiteX930" fmla="*/ 980607 w 9922465"/>
              <a:gd name="connsiteY930" fmla="*/ 1459958 h 1934496"/>
              <a:gd name="connsiteX931" fmla="*/ 1035800 w 9922465"/>
              <a:gd name="connsiteY931" fmla="*/ 1515149 h 1934496"/>
              <a:gd name="connsiteX932" fmla="*/ 980607 w 9922465"/>
              <a:gd name="connsiteY932" fmla="*/ 1570340 h 1934496"/>
              <a:gd name="connsiteX933" fmla="*/ 925415 w 9922465"/>
              <a:gd name="connsiteY933" fmla="*/ 1515149 h 1934496"/>
              <a:gd name="connsiteX934" fmla="*/ 980607 w 9922465"/>
              <a:gd name="connsiteY934" fmla="*/ 1459958 h 1934496"/>
              <a:gd name="connsiteX935" fmla="*/ 7608849 w 9922465"/>
              <a:gd name="connsiteY935" fmla="*/ 1336350 h 1934496"/>
              <a:gd name="connsiteX936" fmla="*/ 7664041 w 9922465"/>
              <a:gd name="connsiteY936" fmla="*/ 1391541 h 1934496"/>
              <a:gd name="connsiteX937" fmla="*/ 7608849 w 9922465"/>
              <a:gd name="connsiteY937" fmla="*/ 1446732 h 1934496"/>
              <a:gd name="connsiteX938" fmla="*/ 7553657 w 9922465"/>
              <a:gd name="connsiteY938" fmla="*/ 1391541 h 1934496"/>
              <a:gd name="connsiteX939" fmla="*/ 7608849 w 9922465"/>
              <a:gd name="connsiteY939" fmla="*/ 1336350 h 1934496"/>
              <a:gd name="connsiteX940" fmla="*/ 7481897 w 9922465"/>
              <a:gd name="connsiteY940" fmla="*/ 1336350 h 1934496"/>
              <a:gd name="connsiteX941" fmla="*/ 7537089 w 9922465"/>
              <a:gd name="connsiteY941" fmla="*/ 1391541 h 1934496"/>
              <a:gd name="connsiteX942" fmla="*/ 7481897 w 9922465"/>
              <a:gd name="connsiteY942" fmla="*/ 1446732 h 1934496"/>
              <a:gd name="connsiteX943" fmla="*/ 7426705 w 9922465"/>
              <a:gd name="connsiteY943" fmla="*/ 1391541 h 1934496"/>
              <a:gd name="connsiteX944" fmla="*/ 7481897 w 9922465"/>
              <a:gd name="connsiteY944" fmla="*/ 1336350 h 1934496"/>
              <a:gd name="connsiteX945" fmla="*/ 7341579 w 9922465"/>
              <a:gd name="connsiteY945" fmla="*/ 1336350 h 1934496"/>
              <a:gd name="connsiteX946" fmla="*/ 7396771 w 9922465"/>
              <a:gd name="connsiteY946" fmla="*/ 1391541 h 1934496"/>
              <a:gd name="connsiteX947" fmla="*/ 7341579 w 9922465"/>
              <a:gd name="connsiteY947" fmla="*/ 1446732 h 1934496"/>
              <a:gd name="connsiteX948" fmla="*/ 7286387 w 9922465"/>
              <a:gd name="connsiteY948" fmla="*/ 1391541 h 1934496"/>
              <a:gd name="connsiteX949" fmla="*/ 7341579 w 9922465"/>
              <a:gd name="connsiteY949" fmla="*/ 1336350 h 1934496"/>
              <a:gd name="connsiteX950" fmla="*/ 7211286 w 9922465"/>
              <a:gd name="connsiteY950" fmla="*/ 1336350 h 1934496"/>
              <a:gd name="connsiteX951" fmla="*/ 7266478 w 9922465"/>
              <a:gd name="connsiteY951" fmla="*/ 1391541 h 1934496"/>
              <a:gd name="connsiteX952" fmla="*/ 7211286 w 9922465"/>
              <a:gd name="connsiteY952" fmla="*/ 1446732 h 1934496"/>
              <a:gd name="connsiteX953" fmla="*/ 7156094 w 9922465"/>
              <a:gd name="connsiteY953" fmla="*/ 1391541 h 1934496"/>
              <a:gd name="connsiteX954" fmla="*/ 7211286 w 9922465"/>
              <a:gd name="connsiteY954" fmla="*/ 1336350 h 1934496"/>
              <a:gd name="connsiteX955" fmla="*/ 7080993 w 9922465"/>
              <a:gd name="connsiteY955" fmla="*/ 1336350 h 1934496"/>
              <a:gd name="connsiteX956" fmla="*/ 7136185 w 9922465"/>
              <a:gd name="connsiteY956" fmla="*/ 1391541 h 1934496"/>
              <a:gd name="connsiteX957" fmla="*/ 7080993 w 9922465"/>
              <a:gd name="connsiteY957" fmla="*/ 1446732 h 1934496"/>
              <a:gd name="connsiteX958" fmla="*/ 7025801 w 9922465"/>
              <a:gd name="connsiteY958" fmla="*/ 1391541 h 1934496"/>
              <a:gd name="connsiteX959" fmla="*/ 7080993 w 9922465"/>
              <a:gd name="connsiteY959" fmla="*/ 1336350 h 1934496"/>
              <a:gd name="connsiteX960" fmla="*/ 6947357 w 9922465"/>
              <a:gd name="connsiteY960" fmla="*/ 1336350 h 1934496"/>
              <a:gd name="connsiteX961" fmla="*/ 7002549 w 9922465"/>
              <a:gd name="connsiteY961" fmla="*/ 1391541 h 1934496"/>
              <a:gd name="connsiteX962" fmla="*/ 6947357 w 9922465"/>
              <a:gd name="connsiteY962" fmla="*/ 1446732 h 1934496"/>
              <a:gd name="connsiteX963" fmla="*/ 6892165 w 9922465"/>
              <a:gd name="connsiteY963" fmla="*/ 1391541 h 1934496"/>
              <a:gd name="connsiteX964" fmla="*/ 6947357 w 9922465"/>
              <a:gd name="connsiteY964" fmla="*/ 1336350 h 1934496"/>
              <a:gd name="connsiteX965" fmla="*/ 6817064 w 9922465"/>
              <a:gd name="connsiteY965" fmla="*/ 1336350 h 1934496"/>
              <a:gd name="connsiteX966" fmla="*/ 6872256 w 9922465"/>
              <a:gd name="connsiteY966" fmla="*/ 1391541 h 1934496"/>
              <a:gd name="connsiteX967" fmla="*/ 6817064 w 9922465"/>
              <a:gd name="connsiteY967" fmla="*/ 1446732 h 1934496"/>
              <a:gd name="connsiteX968" fmla="*/ 6761872 w 9922465"/>
              <a:gd name="connsiteY968" fmla="*/ 1391541 h 1934496"/>
              <a:gd name="connsiteX969" fmla="*/ 6817064 w 9922465"/>
              <a:gd name="connsiteY969" fmla="*/ 1336350 h 1934496"/>
              <a:gd name="connsiteX970" fmla="*/ 6683431 w 9922465"/>
              <a:gd name="connsiteY970" fmla="*/ 1336350 h 1934496"/>
              <a:gd name="connsiteX971" fmla="*/ 6738623 w 9922465"/>
              <a:gd name="connsiteY971" fmla="*/ 1391541 h 1934496"/>
              <a:gd name="connsiteX972" fmla="*/ 6683431 w 9922465"/>
              <a:gd name="connsiteY972" fmla="*/ 1446732 h 1934496"/>
              <a:gd name="connsiteX973" fmla="*/ 6628239 w 9922465"/>
              <a:gd name="connsiteY973" fmla="*/ 1391541 h 1934496"/>
              <a:gd name="connsiteX974" fmla="*/ 6683431 w 9922465"/>
              <a:gd name="connsiteY974" fmla="*/ 1336350 h 1934496"/>
              <a:gd name="connsiteX975" fmla="*/ 6553137 w 9922465"/>
              <a:gd name="connsiteY975" fmla="*/ 1336350 h 1934496"/>
              <a:gd name="connsiteX976" fmla="*/ 6608329 w 9922465"/>
              <a:gd name="connsiteY976" fmla="*/ 1391541 h 1934496"/>
              <a:gd name="connsiteX977" fmla="*/ 6553137 w 9922465"/>
              <a:gd name="connsiteY977" fmla="*/ 1446732 h 1934496"/>
              <a:gd name="connsiteX978" fmla="*/ 6497945 w 9922465"/>
              <a:gd name="connsiteY978" fmla="*/ 1391541 h 1934496"/>
              <a:gd name="connsiteX979" fmla="*/ 6553137 w 9922465"/>
              <a:gd name="connsiteY979" fmla="*/ 1336350 h 1934496"/>
              <a:gd name="connsiteX980" fmla="*/ 6419502 w 9922465"/>
              <a:gd name="connsiteY980" fmla="*/ 1336350 h 1934496"/>
              <a:gd name="connsiteX981" fmla="*/ 6474694 w 9922465"/>
              <a:gd name="connsiteY981" fmla="*/ 1391541 h 1934496"/>
              <a:gd name="connsiteX982" fmla="*/ 6419502 w 9922465"/>
              <a:gd name="connsiteY982" fmla="*/ 1446732 h 1934496"/>
              <a:gd name="connsiteX983" fmla="*/ 6364310 w 9922465"/>
              <a:gd name="connsiteY983" fmla="*/ 1391541 h 1934496"/>
              <a:gd name="connsiteX984" fmla="*/ 6419502 w 9922465"/>
              <a:gd name="connsiteY984" fmla="*/ 1336350 h 1934496"/>
              <a:gd name="connsiteX985" fmla="*/ 6289207 w 9922465"/>
              <a:gd name="connsiteY985" fmla="*/ 1336350 h 1934496"/>
              <a:gd name="connsiteX986" fmla="*/ 6344399 w 9922465"/>
              <a:gd name="connsiteY986" fmla="*/ 1391541 h 1934496"/>
              <a:gd name="connsiteX987" fmla="*/ 6289207 w 9922465"/>
              <a:gd name="connsiteY987" fmla="*/ 1446732 h 1934496"/>
              <a:gd name="connsiteX988" fmla="*/ 6234015 w 9922465"/>
              <a:gd name="connsiteY988" fmla="*/ 1391541 h 1934496"/>
              <a:gd name="connsiteX989" fmla="*/ 6289207 w 9922465"/>
              <a:gd name="connsiteY989" fmla="*/ 1336350 h 1934496"/>
              <a:gd name="connsiteX990" fmla="*/ 6155573 w 9922465"/>
              <a:gd name="connsiteY990" fmla="*/ 1336350 h 1934496"/>
              <a:gd name="connsiteX991" fmla="*/ 6210765 w 9922465"/>
              <a:gd name="connsiteY991" fmla="*/ 1391541 h 1934496"/>
              <a:gd name="connsiteX992" fmla="*/ 6155573 w 9922465"/>
              <a:gd name="connsiteY992" fmla="*/ 1446732 h 1934496"/>
              <a:gd name="connsiteX993" fmla="*/ 6100381 w 9922465"/>
              <a:gd name="connsiteY993" fmla="*/ 1391541 h 1934496"/>
              <a:gd name="connsiteX994" fmla="*/ 6155573 w 9922465"/>
              <a:gd name="connsiteY994" fmla="*/ 1336350 h 1934496"/>
              <a:gd name="connsiteX995" fmla="*/ 6021939 w 9922465"/>
              <a:gd name="connsiteY995" fmla="*/ 1336350 h 1934496"/>
              <a:gd name="connsiteX996" fmla="*/ 6077131 w 9922465"/>
              <a:gd name="connsiteY996" fmla="*/ 1391541 h 1934496"/>
              <a:gd name="connsiteX997" fmla="*/ 6021939 w 9922465"/>
              <a:gd name="connsiteY997" fmla="*/ 1446732 h 1934496"/>
              <a:gd name="connsiteX998" fmla="*/ 5966747 w 9922465"/>
              <a:gd name="connsiteY998" fmla="*/ 1391541 h 1934496"/>
              <a:gd name="connsiteX999" fmla="*/ 6021939 w 9922465"/>
              <a:gd name="connsiteY999" fmla="*/ 1336350 h 1934496"/>
              <a:gd name="connsiteX1000" fmla="*/ 5884964 w 9922465"/>
              <a:gd name="connsiteY1000" fmla="*/ 1336350 h 1934496"/>
              <a:gd name="connsiteX1001" fmla="*/ 5940156 w 9922465"/>
              <a:gd name="connsiteY1001" fmla="*/ 1391541 h 1934496"/>
              <a:gd name="connsiteX1002" fmla="*/ 5884964 w 9922465"/>
              <a:gd name="connsiteY1002" fmla="*/ 1446732 h 1934496"/>
              <a:gd name="connsiteX1003" fmla="*/ 5829772 w 9922465"/>
              <a:gd name="connsiteY1003" fmla="*/ 1391541 h 1934496"/>
              <a:gd name="connsiteX1004" fmla="*/ 5884964 w 9922465"/>
              <a:gd name="connsiteY1004" fmla="*/ 1336350 h 1934496"/>
              <a:gd name="connsiteX1005" fmla="*/ 5754668 w 9922465"/>
              <a:gd name="connsiteY1005" fmla="*/ 1336350 h 1934496"/>
              <a:gd name="connsiteX1006" fmla="*/ 5809860 w 9922465"/>
              <a:gd name="connsiteY1006" fmla="*/ 1391541 h 1934496"/>
              <a:gd name="connsiteX1007" fmla="*/ 5754668 w 9922465"/>
              <a:gd name="connsiteY1007" fmla="*/ 1446732 h 1934496"/>
              <a:gd name="connsiteX1008" fmla="*/ 5699476 w 9922465"/>
              <a:gd name="connsiteY1008" fmla="*/ 1391541 h 1934496"/>
              <a:gd name="connsiteX1009" fmla="*/ 5754668 w 9922465"/>
              <a:gd name="connsiteY1009" fmla="*/ 1336350 h 1934496"/>
              <a:gd name="connsiteX1010" fmla="*/ 5621035 w 9922465"/>
              <a:gd name="connsiteY1010" fmla="*/ 1336350 h 1934496"/>
              <a:gd name="connsiteX1011" fmla="*/ 5676227 w 9922465"/>
              <a:gd name="connsiteY1011" fmla="*/ 1391541 h 1934496"/>
              <a:gd name="connsiteX1012" fmla="*/ 5621035 w 9922465"/>
              <a:gd name="connsiteY1012" fmla="*/ 1446732 h 1934496"/>
              <a:gd name="connsiteX1013" fmla="*/ 5565843 w 9922465"/>
              <a:gd name="connsiteY1013" fmla="*/ 1391541 h 1934496"/>
              <a:gd name="connsiteX1014" fmla="*/ 5621035 w 9922465"/>
              <a:gd name="connsiteY1014" fmla="*/ 1336350 h 1934496"/>
              <a:gd name="connsiteX1015" fmla="*/ 5487399 w 9922465"/>
              <a:gd name="connsiteY1015" fmla="*/ 1336350 h 1934496"/>
              <a:gd name="connsiteX1016" fmla="*/ 5542591 w 9922465"/>
              <a:gd name="connsiteY1016" fmla="*/ 1391541 h 1934496"/>
              <a:gd name="connsiteX1017" fmla="*/ 5487399 w 9922465"/>
              <a:gd name="connsiteY1017" fmla="*/ 1446732 h 1934496"/>
              <a:gd name="connsiteX1018" fmla="*/ 5432207 w 9922465"/>
              <a:gd name="connsiteY1018" fmla="*/ 1391541 h 1934496"/>
              <a:gd name="connsiteX1019" fmla="*/ 5487399 w 9922465"/>
              <a:gd name="connsiteY1019" fmla="*/ 1336350 h 1934496"/>
              <a:gd name="connsiteX1020" fmla="*/ 5357106 w 9922465"/>
              <a:gd name="connsiteY1020" fmla="*/ 1336350 h 1934496"/>
              <a:gd name="connsiteX1021" fmla="*/ 5412298 w 9922465"/>
              <a:gd name="connsiteY1021" fmla="*/ 1391541 h 1934496"/>
              <a:gd name="connsiteX1022" fmla="*/ 5357106 w 9922465"/>
              <a:gd name="connsiteY1022" fmla="*/ 1446732 h 1934496"/>
              <a:gd name="connsiteX1023" fmla="*/ 5301914 w 9922465"/>
              <a:gd name="connsiteY1023" fmla="*/ 1391541 h 1934496"/>
              <a:gd name="connsiteX1024" fmla="*/ 5357106 w 9922465"/>
              <a:gd name="connsiteY1024" fmla="*/ 1336350 h 1934496"/>
              <a:gd name="connsiteX1025" fmla="*/ 4959543 w 9922465"/>
              <a:gd name="connsiteY1025" fmla="*/ 1336350 h 1934496"/>
              <a:gd name="connsiteX1026" fmla="*/ 5014735 w 9922465"/>
              <a:gd name="connsiteY1026" fmla="*/ 1391541 h 1934496"/>
              <a:gd name="connsiteX1027" fmla="*/ 4959543 w 9922465"/>
              <a:gd name="connsiteY1027" fmla="*/ 1446732 h 1934496"/>
              <a:gd name="connsiteX1028" fmla="*/ 4904351 w 9922465"/>
              <a:gd name="connsiteY1028" fmla="*/ 1391541 h 1934496"/>
              <a:gd name="connsiteX1029" fmla="*/ 4959543 w 9922465"/>
              <a:gd name="connsiteY1029" fmla="*/ 1336350 h 1934496"/>
              <a:gd name="connsiteX1030" fmla="*/ 4565322 w 9922465"/>
              <a:gd name="connsiteY1030" fmla="*/ 1336350 h 1934496"/>
              <a:gd name="connsiteX1031" fmla="*/ 4620514 w 9922465"/>
              <a:gd name="connsiteY1031" fmla="*/ 1391541 h 1934496"/>
              <a:gd name="connsiteX1032" fmla="*/ 4565322 w 9922465"/>
              <a:gd name="connsiteY1032" fmla="*/ 1446732 h 1934496"/>
              <a:gd name="connsiteX1033" fmla="*/ 4510130 w 9922465"/>
              <a:gd name="connsiteY1033" fmla="*/ 1391541 h 1934496"/>
              <a:gd name="connsiteX1034" fmla="*/ 4565322 w 9922465"/>
              <a:gd name="connsiteY1034" fmla="*/ 1336350 h 1934496"/>
              <a:gd name="connsiteX1035" fmla="*/ 2971729 w 9922465"/>
              <a:gd name="connsiteY1035" fmla="*/ 1336350 h 1934496"/>
              <a:gd name="connsiteX1036" fmla="*/ 3026921 w 9922465"/>
              <a:gd name="connsiteY1036" fmla="*/ 1391541 h 1934496"/>
              <a:gd name="connsiteX1037" fmla="*/ 2971729 w 9922465"/>
              <a:gd name="connsiteY1037" fmla="*/ 1446732 h 1934496"/>
              <a:gd name="connsiteX1038" fmla="*/ 2916537 w 9922465"/>
              <a:gd name="connsiteY1038" fmla="*/ 1391541 h 1934496"/>
              <a:gd name="connsiteX1039" fmla="*/ 2971729 w 9922465"/>
              <a:gd name="connsiteY1039" fmla="*/ 1336350 h 1934496"/>
              <a:gd name="connsiteX1040" fmla="*/ 2834801 w 9922465"/>
              <a:gd name="connsiteY1040" fmla="*/ 1336350 h 1934496"/>
              <a:gd name="connsiteX1041" fmla="*/ 2889994 w 9922465"/>
              <a:gd name="connsiteY1041" fmla="*/ 1391541 h 1934496"/>
              <a:gd name="connsiteX1042" fmla="*/ 2834801 w 9922465"/>
              <a:gd name="connsiteY1042" fmla="*/ 1446732 h 1934496"/>
              <a:gd name="connsiteX1043" fmla="*/ 2779610 w 9922465"/>
              <a:gd name="connsiteY1043" fmla="*/ 1391541 h 1934496"/>
              <a:gd name="connsiteX1044" fmla="*/ 2834801 w 9922465"/>
              <a:gd name="connsiteY1044" fmla="*/ 1336350 h 1934496"/>
              <a:gd name="connsiteX1045" fmla="*/ 2707848 w 9922465"/>
              <a:gd name="connsiteY1045" fmla="*/ 1336350 h 1934496"/>
              <a:gd name="connsiteX1046" fmla="*/ 2763042 w 9922465"/>
              <a:gd name="connsiteY1046" fmla="*/ 1391541 h 1934496"/>
              <a:gd name="connsiteX1047" fmla="*/ 2707848 w 9922465"/>
              <a:gd name="connsiteY1047" fmla="*/ 1446732 h 1934496"/>
              <a:gd name="connsiteX1048" fmla="*/ 2652656 w 9922465"/>
              <a:gd name="connsiteY1048" fmla="*/ 1391541 h 1934496"/>
              <a:gd name="connsiteX1049" fmla="*/ 2707848 w 9922465"/>
              <a:gd name="connsiteY1049" fmla="*/ 1336350 h 1934496"/>
              <a:gd name="connsiteX1050" fmla="*/ 2570875 w 9922465"/>
              <a:gd name="connsiteY1050" fmla="*/ 1336350 h 1934496"/>
              <a:gd name="connsiteX1051" fmla="*/ 2626067 w 9922465"/>
              <a:gd name="connsiteY1051" fmla="*/ 1391541 h 1934496"/>
              <a:gd name="connsiteX1052" fmla="*/ 2570875 w 9922465"/>
              <a:gd name="connsiteY1052" fmla="*/ 1446732 h 1934496"/>
              <a:gd name="connsiteX1053" fmla="*/ 2515683 w 9922465"/>
              <a:gd name="connsiteY1053" fmla="*/ 1391541 h 1934496"/>
              <a:gd name="connsiteX1054" fmla="*/ 2570875 w 9922465"/>
              <a:gd name="connsiteY1054" fmla="*/ 1336350 h 1934496"/>
              <a:gd name="connsiteX1055" fmla="*/ 2173314 w 9922465"/>
              <a:gd name="connsiteY1055" fmla="*/ 1336350 h 1934496"/>
              <a:gd name="connsiteX1056" fmla="*/ 2228507 w 9922465"/>
              <a:gd name="connsiteY1056" fmla="*/ 1391541 h 1934496"/>
              <a:gd name="connsiteX1057" fmla="*/ 2173314 w 9922465"/>
              <a:gd name="connsiteY1057" fmla="*/ 1446732 h 1934496"/>
              <a:gd name="connsiteX1058" fmla="*/ 2118122 w 9922465"/>
              <a:gd name="connsiteY1058" fmla="*/ 1391541 h 1934496"/>
              <a:gd name="connsiteX1059" fmla="*/ 2173314 w 9922465"/>
              <a:gd name="connsiteY1059" fmla="*/ 1336350 h 1934496"/>
              <a:gd name="connsiteX1060" fmla="*/ 2039678 w 9922465"/>
              <a:gd name="connsiteY1060" fmla="*/ 1336350 h 1934496"/>
              <a:gd name="connsiteX1061" fmla="*/ 2094870 w 9922465"/>
              <a:gd name="connsiteY1061" fmla="*/ 1391541 h 1934496"/>
              <a:gd name="connsiteX1062" fmla="*/ 2039678 w 9922465"/>
              <a:gd name="connsiteY1062" fmla="*/ 1446732 h 1934496"/>
              <a:gd name="connsiteX1063" fmla="*/ 1984484 w 9922465"/>
              <a:gd name="connsiteY1063" fmla="*/ 1391541 h 1934496"/>
              <a:gd name="connsiteX1064" fmla="*/ 2039678 w 9922465"/>
              <a:gd name="connsiteY1064" fmla="*/ 1336350 h 1934496"/>
              <a:gd name="connsiteX1065" fmla="*/ 1909381 w 9922465"/>
              <a:gd name="connsiteY1065" fmla="*/ 1336350 h 1934496"/>
              <a:gd name="connsiteX1066" fmla="*/ 1964575 w 9922465"/>
              <a:gd name="connsiteY1066" fmla="*/ 1391541 h 1934496"/>
              <a:gd name="connsiteX1067" fmla="*/ 1909381 w 9922465"/>
              <a:gd name="connsiteY1067" fmla="*/ 1446732 h 1934496"/>
              <a:gd name="connsiteX1068" fmla="*/ 1854188 w 9922465"/>
              <a:gd name="connsiteY1068" fmla="*/ 1391541 h 1934496"/>
              <a:gd name="connsiteX1069" fmla="*/ 1909381 w 9922465"/>
              <a:gd name="connsiteY1069" fmla="*/ 1336350 h 1934496"/>
              <a:gd name="connsiteX1070" fmla="*/ 1779086 w 9922465"/>
              <a:gd name="connsiteY1070" fmla="*/ 1336350 h 1934496"/>
              <a:gd name="connsiteX1071" fmla="*/ 1834278 w 9922465"/>
              <a:gd name="connsiteY1071" fmla="*/ 1391541 h 1934496"/>
              <a:gd name="connsiteX1072" fmla="*/ 1779086 w 9922465"/>
              <a:gd name="connsiteY1072" fmla="*/ 1446732 h 1934496"/>
              <a:gd name="connsiteX1073" fmla="*/ 1723892 w 9922465"/>
              <a:gd name="connsiteY1073" fmla="*/ 1391541 h 1934496"/>
              <a:gd name="connsiteX1074" fmla="*/ 1779086 w 9922465"/>
              <a:gd name="connsiteY1074" fmla="*/ 1336350 h 1934496"/>
              <a:gd name="connsiteX1075" fmla="*/ 1645448 w 9922465"/>
              <a:gd name="connsiteY1075" fmla="*/ 1336350 h 1934496"/>
              <a:gd name="connsiteX1076" fmla="*/ 1700644 w 9922465"/>
              <a:gd name="connsiteY1076" fmla="*/ 1391541 h 1934496"/>
              <a:gd name="connsiteX1077" fmla="*/ 1645448 w 9922465"/>
              <a:gd name="connsiteY1077" fmla="*/ 1446732 h 1934496"/>
              <a:gd name="connsiteX1078" fmla="*/ 1590256 w 9922465"/>
              <a:gd name="connsiteY1078" fmla="*/ 1391541 h 1934496"/>
              <a:gd name="connsiteX1079" fmla="*/ 1645448 w 9922465"/>
              <a:gd name="connsiteY1079" fmla="*/ 1336350 h 1934496"/>
              <a:gd name="connsiteX1080" fmla="*/ 1515160 w 9922465"/>
              <a:gd name="connsiteY1080" fmla="*/ 1336350 h 1934496"/>
              <a:gd name="connsiteX1081" fmla="*/ 1570346 w 9922465"/>
              <a:gd name="connsiteY1081" fmla="*/ 1391541 h 1934496"/>
              <a:gd name="connsiteX1082" fmla="*/ 1515160 w 9922465"/>
              <a:gd name="connsiteY1082" fmla="*/ 1446732 h 1934496"/>
              <a:gd name="connsiteX1083" fmla="*/ 1459963 w 9922465"/>
              <a:gd name="connsiteY1083" fmla="*/ 1391541 h 1934496"/>
              <a:gd name="connsiteX1084" fmla="*/ 1515160 w 9922465"/>
              <a:gd name="connsiteY1084" fmla="*/ 1336350 h 1934496"/>
              <a:gd name="connsiteX1085" fmla="*/ 1381522 w 9922465"/>
              <a:gd name="connsiteY1085" fmla="*/ 1336350 h 1934496"/>
              <a:gd name="connsiteX1086" fmla="*/ 1436714 w 9922465"/>
              <a:gd name="connsiteY1086" fmla="*/ 1391541 h 1934496"/>
              <a:gd name="connsiteX1087" fmla="*/ 1381522 w 9922465"/>
              <a:gd name="connsiteY1087" fmla="*/ 1446732 h 1934496"/>
              <a:gd name="connsiteX1088" fmla="*/ 1326330 w 9922465"/>
              <a:gd name="connsiteY1088" fmla="*/ 1391541 h 1934496"/>
              <a:gd name="connsiteX1089" fmla="*/ 1381522 w 9922465"/>
              <a:gd name="connsiteY1089" fmla="*/ 1336350 h 1934496"/>
              <a:gd name="connsiteX1090" fmla="*/ 1251229 w 9922465"/>
              <a:gd name="connsiteY1090" fmla="*/ 1336350 h 1934496"/>
              <a:gd name="connsiteX1091" fmla="*/ 1306421 w 9922465"/>
              <a:gd name="connsiteY1091" fmla="*/ 1391541 h 1934496"/>
              <a:gd name="connsiteX1092" fmla="*/ 1251229 w 9922465"/>
              <a:gd name="connsiteY1092" fmla="*/ 1446732 h 1934496"/>
              <a:gd name="connsiteX1093" fmla="*/ 1196037 w 9922465"/>
              <a:gd name="connsiteY1093" fmla="*/ 1391541 h 1934496"/>
              <a:gd name="connsiteX1094" fmla="*/ 1251229 w 9922465"/>
              <a:gd name="connsiteY1094" fmla="*/ 1336350 h 1934496"/>
              <a:gd name="connsiteX1095" fmla="*/ 1117592 w 9922465"/>
              <a:gd name="connsiteY1095" fmla="*/ 1336350 h 1934496"/>
              <a:gd name="connsiteX1096" fmla="*/ 1172785 w 9922465"/>
              <a:gd name="connsiteY1096" fmla="*/ 1391541 h 1934496"/>
              <a:gd name="connsiteX1097" fmla="*/ 1117592 w 9922465"/>
              <a:gd name="connsiteY1097" fmla="*/ 1446732 h 1934496"/>
              <a:gd name="connsiteX1098" fmla="*/ 1062400 w 9922465"/>
              <a:gd name="connsiteY1098" fmla="*/ 1391541 h 1934496"/>
              <a:gd name="connsiteX1099" fmla="*/ 1117592 w 9922465"/>
              <a:gd name="connsiteY1099" fmla="*/ 1336350 h 1934496"/>
              <a:gd name="connsiteX1100" fmla="*/ 980615 w 9922465"/>
              <a:gd name="connsiteY1100" fmla="*/ 1336350 h 1934496"/>
              <a:gd name="connsiteX1101" fmla="*/ 1035808 w 9922465"/>
              <a:gd name="connsiteY1101" fmla="*/ 1391541 h 1934496"/>
              <a:gd name="connsiteX1102" fmla="*/ 980615 w 9922465"/>
              <a:gd name="connsiteY1102" fmla="*/ 1446732 h 1934496"/>
              <a:gd name="connsiteX1103" fmla="*/ 925422 w 9922465"/>
              <a:gd name="connsiteY1103" fmla="*/ 1391541 h 1934496"/>
              <a:gd name="connsiteX1104" fmla="*/ 980615 w 9922465"/>
              <a:gd name="connsiteY1104" fmla="*/ 1336350 h 1934496"/>
              <a:gd name="connsiteX1105" fmla="*/ 9199101 w 9922465"/>
              <a:gd name="connsiteY1105" fmla="*/ 1336348 h 1934496"/>
              <a:gd name="connsiteX1106" fmla="*/ 9254293 w 9922465"/>
              <a:gd name="connsiteY1106" fmla="*/ 1391539 h 1934496"/>
              <a:gd name="connsiteX1107" fmla="*/ 9199101 w 9922465"/>
              <a:gd name="connsiteY1107" fmla="*/ 1446730 h 1934496"/>
              <a:gd name="connsiteX1108" fmla="*/ 9143909 w 9922465"/>
              <a:gd name="connsiteY1108" fmla="*/ 1391539 h 1934496"/>
              <a:gd name="connsiteX1109" fmla="*/ 9199101 w 9922465"/>
              <a:gd name="connsiteY1109" fmla="*/ 1336348 h 1934496"/>
              <a:gd name="connsiteX1110" fmla="*/ 9068807 w 9922465"/>
              <a:gd name="connsiteY1110" fmla="*/ 1336348 h 1934496"/>
              <a:gd name="connsiteX1111" fmla="*/ 9123999 w 9922465"/>
              <a:gd name="connsiteY1111" fmla="*/ 1391539 h 1934496"/>
              <a:gd name="connsiteX1112" fmla="*/ 9068807 w 9922465"/>
              <a:gd name="connsiteY1112" fmla="*/ 1446730 h 1934496"/>
              <a:gd name="connsiteX1113" fmla="*/ 9013615 w 9922465"/>
              <a:gd name="connsiteY1113" fmla="*/ 1391539 h 1934496"/>
              <a:gd name="connsiteX1114" fmla="*/ 9068807 w 9922465"/>
              <a:gd name="connsiteY1114" fmla="*/ 1336348 h 1934496"/>
              <a:gd name="connsiteX1115" fmla="*/ 8407316 w 9922465"/>
              <a:gd name="connsiteY1115" fmla="*/ 1336348 h 1934496"/>
              <a:gd name="connsiteX1116" fmla="*/ 8462508 w 9922465"/>
              <a:gd name="connsiteY1116" fmla="*/ 1391539 h 1934496"/>
              <a:gd name="connsiteX1117" fmla="*/ 8407316 w 9922465"/>
              <a:gd name="connsiteY1117" fmla="*/ 1446730 h 1934496"/>
              <a:gd name="connsiteX1118" fmla="*/ 8352124 w 9922465"/>
              <a:gd name="connsiteY1118" fmla="*/ 1391539 h 1934496"/>
              <a:gd name="connsiteX1119" fmla="*/ 8407316 w 9922465"/>
              <a:gd name="connsiteY1119" fmla="*/ 1336348 h 1934496"/>
              <a:gd name="connsiteX1120" fmla="*/ 8273682 w 9922465"/>
              <a:gd name="connsiteY1120" fmla="*/ 1336348 h 1934496"/>
              <a:gd name="connsiteX1121" fmla="*/ 8328874 w 9922465"/>
              <a:gd name="connsiteY1121" fmla="*/ 1391539 h 1934496"/>
              <a:gd name="connsiteX1122" fmla="*/ 8273682 w 9922465"/>
              <a:gd name="connsiteY1122" fmla="*/ 1446730 h 1934496"/>
              <a:gd name="connsiteX1123" fmla="*/ 8218490 w 9922465"/>
              <a:gd name="connsiteY1123" fmla="*/ 1391539 h 1934496"/>
              <a:gd name="connsiteX1124" fmla="*/ 8273682 w 9922465"/>
              <a:gd name="connsiteY1124" fmla="*/ 1336348 h 1934496"/>
              <a:gd name="connsiteX1125" fmla="*/ 8143388 w 9922465"/>
              <a:gd name="connsiteY1125" fmla="*/ 1336348 h 1934496"/>
              <a:gd name="connsiteX1126" fmla="*/ 8198580 w 9922465"/>
              <a:gd name="connsiteY1126" fmla="*/ 1391539 h 1934496"/>
              <a:gd name="connsiteX1127" fmla="*/ 8143388 w 9922465"/>
              <a:gd name="connsiteY1127" fmla="*/ 1446730 h 1934496"/>
              <a:gd name="connsiteX1128" fmla="*/ 8088196 w 9922465"/>
              <a:gd name="connsiteY1128" fmla="*/ 1391539 h 1934496"/>
              <a:gd name="connsiteX1129" fmla="*/ 8143388 w 9922465"/>
              <a:gd name="connsiteY1129" fmla="*/ 1336348 h 1934496"/>
              <a:gd name="connsiteX1130" fmla="*/ 8009753 w 9922465"/>
              <a:gd name="connsiteY1130" fmla="*/ 1336348 h 1934496"/>
              <a:gd name="connsiteX1131" fmla="*/ 8064945 w 9922465"/>
              <a:gd name="connsiteY1131" fmla="*/ 1391539 h 1934496"/>
              <a:gd name="connsiteX1132" fmla="*/ 8009753 w 9922465"/>
              <a:gd name="connsiteY1132" fmla="*/ 1446730 h 1934496"/>
              <a:gd name="connsiteX1133" fmla="*/ 7954561 w 9922465"/>
              <a:gd name="connsiteY1133" fmla="*/ 1391539 h 1934496"/>
              <a:gd name="connsiteX1134" fmla="*/ 8009753 w 9922465"/>
              <a:gd name="connsiteY1134" fmla="*/ 1336348 h 1934496"/>
              <a:gd name="connsiteX1135" fmla="*/ 7876118 w 9922465"/>
              <a:gd name="connsiteY1135" fmla="*/ 1336348 h 1934496"/>
              <a:gd name="connsiteX1136" fmla="*/ 7931310 w 9922465"/>
              <a:gd name="connsiteY1136" fmla="*/ 1391539 h 1934496"/>
              <a:gd name="connsiteX1137" fmla="*/ 7876118 w 9922465"/>
              <a:gd name="connsiteY1137" fmla="*/ 1446730 h 1934496"/>
              <a:gd name="connsiteX1138" fmla="*/ 7820926 w 9922465"/>
              <a:gd name="connsiteY1138" fmla="*/ 1391539 h 1934496"/>
              <a:gd name="connsiteX1139" fmla="*/ 7876118 w 9922465"/>
              <a:gd name="connsiteY1139" fmla="*/ 1336348 h 1934496"/>
              <a:gd name="connsiteX1140" fmla="*/ 7745823 w 9922465"/>
              <a:gd name="connsiteY1140" fmla="*/ 1336348 h 1934496"/>
              <a:gd name="connsiteX1141" fmla="*/ 7801015 w 9922465"/>
              <a:gd name="connsiteY1141" fmla="*/ 1391539 h 1934496"/>
              <a:gd name="connsiteX1142" fmla="*/ 7745823 w 9922465"/>
              <a:gd name="connsiteY1142" fmla="*/ 1446730 h 1934496"/>
              <a:gd name="connsiteX1143" fmla="*/ 7690631 w 9922465"/>
              <a:gd name="connsiteY1143" fmla="*/ 1391539 h 1934496"/>
              <a:gd name="connsiteX1144" fmla="*/ 7745823 w 9922465"/>
              <a:gd name="connsiteY1144" fmla="*/ 1336348 h 1934496"/>
              <a:gd name="connsiteX1145" fmla="*/ 185475 w 9922465"/>
              <a:gd name="connsiteY1145" fmla="*/ 1336348 h 1934496"/>
              <a:gd name="connsiteX1146" fmla="*/ 240666 w 9922465"/>
              <a:gd name="connsiteY1146" fmla="*/ 1391539 h 1934496"/>
              <a:gd name="connsiteX1147" fmla="*/ 185475 w 9922465"/>
              <a:gd name="connsiteY1147" fmla="*/ 1446730 h 1934496"/>
              <a:gd name="connsiteX1148" fmla="*/ 130283 w 9922465"/>
              <a:gd name="connsiteY1148" fmla="*/ 1391539 h 1934496"/>
              <a:gd name="connsiteX1149" fmla="*/ 185475 w 9922465"/>
              <a:gd name="connsiteY1149" fmla="*/ 1336348 h 1934496"/>
              <a:gd name="connsiteX1150" fmla="*/ 9199101 w 9922465"/>
              <a:gd name="connsiteY1150" fmla="*/ 1219421 h 1934496"/>
              <a:gd name="connsiteX1151" fmla="*/ 9254293 w 9922465"/>
              <a:gd name="connsiteY1151" fmla="*/ 1274612 h 1934496"/>
              <a:gd name="connsiteX1152" fmla="*/ 9199101 w 9922465"/>
              <a:gd name="connsiteY1152" fmla="*/ 1329803 h 1934496"/>
              <a:gd name="connsiteX1153" fmla="*/ 9143909 w 9922465"/>
              <a:gd name="connsiteY1153" fmla="*/ 1274612 h 1934496"/>
              <a:gd name="connsiteX1154" fmla="*/ 9199101 w 9922465"/>
              <a:gd name="connsiteY1154" fmla="*/ 1219421 h 1934496"/>
              <a:gd name="connsiteX1155" fmla="*/ 9068807 w 9922465"/>
              <a:gd name="connsiteY1155" fmla="*/ 1219421 h 1934496"/>
              <a:gd name="connsiteX1156" fmla="*/ 9123999 w 9922465"/>
              <a:gd name="connsiteY1156" fmla="*/ 1274612 h 1934496"/>
              <a:gd name="connsiteX1157" fmla="*/ 9068807 w 9922465"/>
              <a:gd name="connsiteY1157" fmla="*/ 1329803 h 1934496"/>
              <a:gd name="connsiteX1158" fmla="*/ 9013615 w 9922465"/>
              <a:gd name="connsiteY1158" fmla="*/ 1274612 h 1934496"/>
              <a:gd name="connsiteX1159" fmla="*/ 9068807 w 9922465"/>
              <a:gd name="connsiteY1159" fmla="*/ 1219421 h 1934496"/>
              <a:gd name="connsiteX1160" fmla="*/ 8537612 w 9922465"/>
              <a:gd name="connsiteY1160" fmla="*/ 1219421 h 1934496"/>
              <a:gd name="connsiteX1161" fmla="*/ 8592804 w 9922465"/>
              <a:gd name="connsiteY1161" fmla="*/ 1274612 h 1934496"/>
              <a:gd name="connsiteX1162" fmla="*/ 8537612 w 9922465"/>
              <a:gd name="connsiteY1162" fmla="*/ 1329803 h 1934496"/>
              <a:gd name="connsiteX1163" fmla="*/ 8482420 w 9922465"/>
              <a:gd name="connsiteY1163" fmla="*/ 1274612 h 1934496"/>
              <a:gd name="connsiteX1164" fmla="*/ 8537612 w 9922465"/>
              <a:gd name="connsiteY1164" fmla="*/ 1219421 h 1934496"/>
              <a:gd name="connsiteX1165" fmla="*/ 8407316 w 9922465"/>
              <a:gd name="connsiteY1165" fmla="*/ 1219421 h 1934496"/>
              <a:gd name="connsiteX1166" fmla="*/ 8462508 w 9922465"/>
              <a:gd name="connsiteY1166" fmla="*/ 1274612 h 1934496"/>
              <a:gd name="connsiteX1167" fmla="*/ 8407316 w 9922465"/>
              <a:gd name="connsiteY1167" fmla="*/ 1329803 h 1934496"/>
              <a:gd name="connsiteX1168" fmla="*/ 8352124 w 9922465"/>
              <a:gd name="connsiteY1168" fmla="*/ 1274612 h 1934496"/>
              <a:gd name="connsiteX1169" fmla="*/ 8407316 w 9922465"/>
              <a:gd name="connsiteY1169" fmla="*/ 1219421 h 1934496"/>
              <a:gd name="connsiteX1170" fmla="*/ 8273682 w 9922465"/>
              <a:gd name="connsiteY1170" fmla="*/ 1219421 h 1934496"/>
              <a:gd name="connsiteX1171" fmla="*/ 8328874 w 9922465"/>
              <a:gd name="connsiteY1171" fmla="*/ 1274612 h 1934496"/>
              <a:gd name="connsiteX1172" fmla="*/ 8273682 w 9922465"/>
              <a:gd name="connsiteY1172" fmla="*/ 1329803 h 1934496"/>
              <a:gd name="connsiteX1173" fmla="*/ 8218490 w 9922465"/>
              <a:gd name="connsiteY1173" fmla="*/ 1274612 h 1934496"/>
              <a:gd name="connsiteX1174" fmla="*/ 8273682 w 9922465"/>
              <a:gd name="connsiteY1174" fmla="*/ 1219421 h 1934496"/>
              <a:gd name="connsiteX1175" fmla="*/ 8143388 w 9922465"/>
              <a:gd name="connsiteY1175" fmla="*/ 1219421 h 1934496"/>
              <a:gd name="connsiteX1176" fmla="*/ 8198580 w 9922465"/>
              <a:gd name="connsiteY1176" fmla="*/ 1274612 h 1934496"/>
              <a:gd name="connsiteX1177" fmla="*/ 8143388 w 9922465"/>
              <a:gd name="connsiteY1177" fmla="*/ 1329803 h 1934496"/>
              <a:gd name="connsiteX1178" fmla="*/ 8088196 w 9922465"/>
              <a:gd name="connsiteY1178" fmla="*/ 1274612 h 1934496"/>
              <a:gd name="connsiteX1179" fmla="*/ 8143388 w 9922465"/>
              <a:gd name="connsiteY1179" fmla="*/ 1219421 h 1934496"/>
              <a:gd name="connsiteX1180" fmla="*/ 8009753 w 9922465"/>
              <a:gd name="connsiteY1180" fmla="*/ 1219421 h 1934496"/>
              <a:gd name="connsiteX1181" fmla="*/ 8064945 w 9922465"/>
              <a:gd name="connsiteY1181" fmla="*/ 1274612 h 1934496"/>
              <a:gd name="connsiteX1182" fmla="*/ 8009753 w 9922465"/>
              <a:gd name="connsiteY1182" fmla="*/ 1329803 h 1934496"/>
              <a:gd name="connsiteX1183" fmla="*/ 7954561 w 9922465"/>
              <a:gd name="connsiteY1183" fmla="*/ 1274612 h 1934496"/>
              <a:gd name="connsiteX1184" fmla="*/ 8009753 w 9922465"/>
              <a:gd name="connsiteY1184" fmla="*/ 1219421 h 1934496"/>
              <a:gd name="connsiteX1185" fmla="*/ 7876118 w 9922465"/>
              <a:gd name="connsiteY1185" fmla="*/ 1219421 h 1934496"/>
              <a:gd name="connsiteX1186" fmla="*/ 7931310 w 9922465"/>
              <a:gd name="connsiteY1186" fmla="*/ 1274612 h 1934496"/>
              <a:gd name="connsiteX1187" fmla="*/ 7876118 w 9922465"/>
              <a:gd name="connsiteY1187" fmla="*/ 1329803 h 1934496"/>
              <a:gd name="connsiteX1188" fmla="*/ 7820926 w 9922465"/>
              <a:gd name="connsiteY1188" fmla="*/ 1274612 h 1934496"/>
              <a:gd name="connsiteX1189" fmla="*/ 7876118 w 9922465"/>
              <a:gd name="connsiteY1189" fmla="*/ 1219421 h 1934496"/>
              <a:gd name="connsiteX1190" fmla="*/ 7745823 w 9922465"/>
              <a:gd name="connsiteY1190" fmla="*/ 1219421 h 1934496"/>
              <a:gd name="connsiteX1191" fmla="*/ 7801015 w 9922465"/>
              <a:gd name="connsiteY1191" fmla="*/ 1274612 h 1934496"/>
              <a:gd name="connsiteX1192" fmla="*/ 7745823 w 9922465"/>
              <a:gd name="connsiteY1192" fmla="*/ 1329803 h 1934496"/>
              <a:gd name="connsiteX1193" fmla="*/ 7690631 w 9922465"/>
              <a:gd name="connsiteY1193" fmla="*/ 1274612 h 1934496"/>
              <a:gd name="connsiteX1194" fmla="*/ 7745823 w 9922465"/>
              <a:gd name="connsiteY1194" fmla="*/ 1219421 h 1934496"/>
              <a:gd name="connsiteX1195" fmla="*/ 7608849 w 9922465"/>
              <a:gd name="connsiteY1195" fmla="*/ 1219421 h 1934496"/>
              <a:gd name="connsiteX1196" fmla="*/ 7664041 w 9922465"/>
              <a:gd name="connsiteY1196" fmla="*/ 1274612 h 1934496"/>
              <a:gd name="connsiteX1197" fmla="*/ 7608849 w 9922465"/>
              <a:gd name="connsiteY1197" fmla="*/ 1329803 h 1934496"/>
              <a:gd name="connsiteX1198" fmla="*/ 7553657 w 9922465"/>
              <a:gd name="connsiteY1198" fmla="*/ 1274612 h 1934496"/>
              <a:gd name="connsiteX1199" fmla="*/ 7608849 w 9922465"/>
              <a:gd name="connsiteY1199" fmla="*/ 1219421 h 1934496"/>
              <a:gd name="connsiteX1200" fmla="*/ 7481897 w 9922465"/>
              <a:gd name="connsiteY1200" fmla="*/ 1219421 h 1934496"/>
              <a:gd name="connsiteX1201" fmla="*/ 7537089 w 9922465"/>
              <a:gd name="connsiteY1201" fmla="*/ 1274612 h 1934496"/>
              <a:gd name="connsiteX1202" fmla="*/ 7481897 w 9922465"/>
              <a:gd name="connsiteY1202" fmla="*/ 1329803 h 1934496"/>
              <a:gd name="connsiteX1203" fmla="*/ 7426705 w 9922465"/>
              <a:gd name="connsiteY1203" fmla="*/ 1274612 h 1934496"/>
              <a:gd name="connsiteX1204" fmla="*/ 7481897 w 9922465"/>
              <a:gd name="connsiteY1204" fmla="*/ 1219421 h 1934496"/>
              <a:gd name="connsiteX1205" fmla="*/ 7341579 w 9922465"/>
              <a:gd name="connsiteY1205" fmla="*/ 1219421 h 1934496"/>
              <a:gd name="connsiteX1206" fmla="*/ 7396771 w 9922465"/>
              <a:gd name="connsiteY1206" fmla="*/ 1274612 h 1934496"/>
              <a:gd name="connsiteX1207" fmla="*/ 7341579 w 9922465"/>
              <a:gd name="connsiteY1207" fmla="*/ 1329803 h 1934496"/>
              <a:gd name="connsiteX1208" fmla="*/ 7286387 w 9922465"/>
              <a:gd name="connsiteY1208" fmla="*/ 1274612 h 1934496"/>
              <a:gd name="connsiteX1209" fmla="*/ 7341579 w 9922465"/>
              <a:gd name="connsiteY1209" fmla="*/ 1219421 h 1934496"/>
              <a:gd name="connsiteX1210" fmla="*/ 7211286 w 9922465"/>
              <a:gd name="connsiteY1210" fmla="*/ 1219421 h 1934496"/>
              <a:gd name="connsiteX1211" fmla="*/ 7266478 w 9922465"/>
              <a:gd name="connsiteY1211" fmla="*/ 1274612 h 1934496"/>
              <a:gd name="connsiteX1212" fmla="*/ 7211286 w 9922465"/>
              <a:gd name="connsiteY1212" fmla="*/ 1329803 h 1934496"/>
              <a:gd name="connsiteX1213" fmla="*/ 7156094 w 9922465"/>
              <a:gd name="connsiteY1213" fmla="*/ 1274612 h 1934496"/>
              <a:gd name="connsiteX1214" fmla="*/ 7211286 w 9922465"/>
              <a:gd name="connsiteY1214" fmla="*/ 1219421 h 1934496"/>
              <a:gd name="connsiteX1215" fmla="*/ 7080993 w 9922465"/>
              <a:gd name="connsiteY1215" fmla="*/ 1219421 h 1934496"/>
              <a:gd name="connsiteX1216" fmla="*/ 7136185 w 9922465"/>
              <a:gd name="connsiteY1216" fmla="*/ 1274612 h 1934496"/>
              <a:gd name="connsiteX1217" fmla="*/ 7080993 w 9922465"/>
              <a:gd name="connsiteY1217" fmla="*/ 1329803 h 1934496"/>
              <a:gd name="connsiteX1218" fmla="*/ 7025801 w 9922465"/>
              <a:gd name="connsiteY1218" fmla="*/ 1274612 h 1934496"/>
              <a:gd name="connsiteX1219" fmla="*/ 7080993 w 9922465"/>
              <a:gd name="connsiteY1219" fmla="*/ 1219421 h 1934496"/>
              <a:gd name="connsiteX1220" fmla="*/ 6947357 w 9922465"/>
              <a:gd name="connsiteY1220" fmla="*/ 1219421 h 1934496"/>
              <a:gd name="connsiteX1221" fmla="*/ 7002549 w 9922465"/>
              <a:gd name="connsiteY1221" fmla="*/ 1274612 h 1934496"/>
              <a:gd name="connsiteX1222" fmla="*/ 6947357 w 9922465"/>
              <a:gd name="connsiteY1222" fmla="*/ 1329803 h 1934496"/>
              <a:gd name="connsiteX1223" fmla="*/ 6892165 w 9922465"/>
              <a:gd name="connsiteY1223" fmla="*/ 1274612 h 1934496"/>
              <a:gd name="connsiteX1224" fmla="*/ 6947357 w 9922465"/>
              <a:gd name="connsiteY1224" fmla="*/ 1219421 h 1934496"/>
              <a:gd name="connsiteX1225" fmla="*/ 6817064 w 9922465"/>
              <a:gd name="connsiteY1225" fmla="*/ 1219421 h 1934496"/>
              <a:gd name="connsiteX1226" fmla="*/ 6872256 w 9922465"/>
              <a:gd name="connsiteY1226" fmla="*/ 1274612 h 1934496"/>
              <a:gd name="connsiteX1227" fmla="*/ 6817064 w 9922465"/>
              <a:gd name="connsiteY1227" fmla="*/ 1329803 h 1934496"/>
              <a:gd name="connsiteX1228" fmla="*/ 6761872 w 9922465"/>
              <a:gd name="connsiteY1228" fmla="*/ 1274612 h 1934496"/>
              <a:gd name="connsiteX1229" fmla="*/ 6817064 w 9922465"/>
              <a:gd name="connsiteY1229" fmla="*/ 1219421 h 1934496"/>
              <a:gd name="connsiteX1230" fmla="*/ 6683431 w 9922465"/>
              <a:gd name="connsiteY1230" fmla="*/ 1219421 h 1934496"/>
              <a:gd name="connsiteX1231" fmla="*/ 6738623 w 9922465"/>
              <a:gd name="connsiteY1231" fmla="*/ 1274612 h 1934496"/>
              <a:gd name="connsiteX1232" fmla="*/ 6683431 w 9922465"/>
              <a:gd name="connsiteY1232" fmla="*/ 1329803 h 1934496"/>
              <a:gd name="connsiteX1233" fmla="*/ 6628239 w 9922465"/>
              <a:gd name="connsiteY1233" fmla="*/ 1274612 h 1934496"/>
              <a:gd name="connsiteX1234" fmla="*/ 6683431 w 9922465"/>
              <a:gd name="connsiteY1234" fmla="*/ 1219421 h 1934496"/>
              <a:gd name="connsiteX1235" fmla="*/ 6553137 w 9922465"/>
              <a:gd name="connsiteY1235" fmla="*/ 1219421 h 1934496"/>
              <a:gd name="connsiteX1236" fmla="*/ 6608329 w 9922465"/>
              <a:gd name="connsiteY1236" fmla="*/ 1274612 h 1934496"/>
              <a:gd name="connsiteX1237" fmla="*/ 6553137 w 9922465"/>
              <a:gd name="connsiteY1237" fmla="*/ 1329803 h 1934496"/>
              <a:gd name="connsiteX1238" fmla="*/ 6497945 w 9922465"/>
              <a:gd name="connsiteY1238" fmla="*/ 1274612 h 1934496"/>
              <a:gd name="connsiteX1239" fmla="*/ 6553137 w 9922465"/>
              <a:gd name="connsiteY1239" fmla="*/ 1219421 h 1934496"/>
              <a:gd name="connsiteX1240" fmla="*/ 6419502 w 9922465"/>
              <a:gd name="connsiteY1240" fmla="*/ 1219421 h 1934496"/>
              <a:gd name="connsiteX1241" fmla="*/ 6474694 w 9922465"/>
              <a:gd name="connsiteY1241" fmla="*/ 1274612 h 1934496"/>
              <a:gd name="connsiteX1242" fmla="*/ 6419502 w 9922465"/>
              <a:gd name="connsiteY1242" fmla="*/ 1329803 h 1934496"/>
              <a:gd name="connsiteX1243" fmla="*/ 6364310 w 9922465"/>
              <a:gd name="connsiteY1243" fmla="*/ 1274612 h 1934496"/>
              <a:gd name="connsiteX1244" fmla="*/ 6419502 w 9922465"/>
              <a:gd name="connsiteY1244" fmla="*/ 1219421 h 1934496"/>
              <a:gd name="connsiteX1245" fmla="*/ 6289207 w 9922465"/>
              <a:gd name="connsiteY1245" fmla="*/ 1219421 h 1934496"/>
              <a:gd name="connsiteX1246" fmla="*/ 6344399 w 9922465"/>
              <a:gd name="connsiteY1246" fmla="*/ 1274612 h 1934496"/>
              <a:gd name="connsiteX1247" fmla="*/ 6289207 w 9922465"/>
              <a:gd name="connsiteY1247" fmla="*/ 1329803 h 1934496"/>
              <a:gd name="connsiteX1248" fmla="*/ 6234015 w 9922465"/>
              <a:gd name="connsiteY1248" fmla="*/ 1274612 h 1934496"/>
              <a:gd name="connsiteX1249" fmla="*/ 6289207 w 9922465"/>
              <a:gd name="connsiteY1249" fmla="*/ 1219421 h 1934496"/>
              <a:gd name="connsiteX1250" fmla="*/ 6155573 w 9922465"/>
              <a:gd name="connsiteY1250" fmla="*/ 1219421 h 1934496"/>
              <a:gd name="connsiteX1251" fmla="*/ 6210765 w 9922465"/>
              <a:gd name="connsiteY1251" fmla="*/ 1274612 h 1934496"/>
              <a:gd name="connsiteX1252" fmla="*/ 6155573 w 9922465"/>
              <a:gd name="connsiteY1252" fmla="*/ 1329803 h 1934496"/>
              <a:gd name="connsiteX1253" fmla="*/ 6100381 w 9922465"/>
              <a:gd name="connsiteY1253" fmla="*/ 1274612 h 1934496"/>
              <a:gd name="connsiteX1254" fmla="*/ 6155573 w 9922465"/>
              <a:gd name="connsiteY1254" fmla="*/ 1219421 h 1934496"/>
              <a:gd name="connsiteX1255" fmla="*/ 6021939 w 9922465"/>
              <a:gd name="connsiteY1255" fmla="*/ 1219421 h 1934496"/>
              <a:gd name="connsiteX1256" fmla="*/ 6077131 w 9922465"/>
              <a:gd name="connsiteY1256" fmla="*/ 1274612 h 1934496"/>
              <a:gd name="connsiteX1257" fmla="*/ 6021939 w 9922465"/>
              <a:gd name="connsiteY1257" fmla="*/ 1329803 h 1934496"/>
              <a:gd name="connsiteX1258" fmla="*/ 5966747 w 9922465"/>
              <a:gd name="connsiteY1258" fmla="*/ 1274612 h 1934496"/>
              <a:gd name="connsiteX1259" fmla="*/ 6021939 w 9922465"/>
              <a:gd name="connsiteY1259" fmla="*/ 1219421 h 1934496"/>
              <a:gd name="connsiteX1260" fmla="*/ 5884964 w 9922465"/>
              <a:gd name="connsiteY1260" fmla="*/ 1219421 h 1934496"/>
              <a:gd name="connsiteX1261" fmla="*/ 5940156 w 9922465"/>
              <a:gd name="connsiteY1261" fmla="*/ 1274612 h 1934496"/>
              <a:gd name="connsiteX1262" fmla="*/ 5884964 w 9922465"/>
              <a:gd name="connsiteY1262" fmla="*/ 1329803 h 1934496"/>
              <a:gd name="connsiteX1263" fmla="*/ 5829772 w 9922465"/>
              <a:gd name="connsiteY1263" fmla="*/ 1274612 h 1934496"/>
              <a:gd name="connsiteX1264" fmla="*/ 5884964 w 9922465"/>
              <a:gd name="connsiteY1264" fmla="*/ 1219421 h 1934496"/>
              <a:gd name="connsiteX1265" fmla="*/ 5754668 w 9922465"/>
              <a:gd name="connsiteY1265" fmla="*/ 1219421 h 1934496"/>
              <a:gd name="connsiteX1266" fmla="*/ 5809860 w 9922465"/>
              <a:gd name="connsiteY1266" fmla="*/ 1274612 h 1934496"/>
              <a:gd name="connsiteX1267" fmla="*/ 5754668 w 9922465"/>
              <a:gd name="connsiteY1267" fmla="*/ 1329803 h 1934496"/>
              <a:gd name="connsiteX1268" fmla="*/ 5699476 w 9922465"/>
              <a:gd name="connsiteY1268" fmla="*/ 1274612 h 1934496"/>
              <a:gd name="connsiteX1269" fmla="*/ 5754668 w 9922465"/>
              <a:gd name="connsiteY1269" fmla="*/ 1219421 h 1934496"/>
              <a:gd name="connsiteX1270" fmla="*/ 5621034 w 9922465"/>
              <a:gd name="connsiteY1270" fmla="*/ 1219421 h 1934496"/>
              <a:gd name="connsiteX1271" fmla="*/ 5676226 w 9922465"/>
              <a:gd name="connsiteY1271" fmla="*/ 1274612 h 1934496"/>
              <a:gd name="connsiteX1272" fmla="*/ 5621034 w 9922465"/>
              <a:gd name="connsiteY1272" fmla="*/ 1329803 h 1934496"/>
              <a:gd name="connsiteX1273" fmla="*/ 5565842 w 9922465"/>
              <a:gd name="connsiteY1273" fmla="*/ 1274612 h 1934496"/>
              <a:gd name="connsiteX1274" fmla="*/ 5621034 w 9922465"/>
              <a:gd name="connsiteY1274" fmla="*/ 1219421 h 1934496"/>
              <a:gd name="connsiteX1275" fmla="*/ 5487399 w 9922465"/>
              <a:gd name="connsiteY1275" fmla="*/ 1219421 h 1934496"/>
              <a:gd name="connsiteX1276" fmla="*/ 5542591 w 9922465"/>
              <a:gd name="connsiteY1276" fmla="*/ 1274612 h 1934496"/>
              <a:gd name="connsiteX1277" fmla="*/ 5487399 w 9922465"/>
              <a:gd name="connsiteY1277" fmla="*/ 1329803 h 1934496"/>
              <a:gd name="connsiteX1278" fmla="*/ 5432207 w 9922465"/>
              <a:gd name="connsiteY1278" fmla="*/ 1274612 h 1934496"/>
              <a:gd name="connsiteX1279" fmla="*/ 5487399 w 9922465"/>
              <a:gd name="connsiteY1279" fmla="*/ 1219421 h 1934496"/>
              <a:gd name="connsiteX1280" fmla="*/ 5357106 w 9922465"/>
              <a:gd name="connsiteY1280" fmla="*/ 1219421 h 1934496"/>
              <a:gd name="connsiteX1281" fmla="*/ 5412298 w 9922465"/>
              <a:gd name="connsiteY1281" fmla="*/ 1274612 h 1934496"/>
              <a:gd name="connsiteX1282" fmla="*/ 5357106 w 9922465"/>
              <a:gd name="connsiteY1282" fmla="*/ 1329803 h 1934496"/>
              <a:gd name="connsiteX1283" fmla="*/ 5301914 w 9922465"/>
              <a:gd name="connsiteY1283" fmla="*/ 1274612 h 1934496"/>
              <a:gd name="connsiteX1284" fmla="*/ 5357106 w 9922465"/>
              <a:gd name="connsiteY1284" fmla="*/ 1219421 h 1934496"/>
              <a:gd name="connsiteX1285" fmla="*/ 5093178 w 9922465"/>
              <a:gd name="connsiteY1285" fmla="*/ 1219421 h 1934496"/>
              <a:gd name="connsiteX1286" fmla="*/ 5148370 w 9922465"/>
              <a:gd name="connsiteY1286" fmla="*/ 1274612 h 1934496"/>
              <a:gd name="connsiteX1287" fmla="*/ 5093178 w 9922465"/>
              <a:gd name="connsiteY1287" fmla="*/ 1329803 h 1934496"/>
              <a:gd name="connsiteX1288" fmla="*/ 5037986 w 9922465"/>
              <a:gd name="connsiteY1288" fmla="*/ 1274612 h 1934496"/>
              <a:gd name="connsiteX1289" fmla="*/ 5093178 w 9922465"/>
              <a:gd name="connsiteY1289" fmla="*/ 1219421 h 1934496"/>
              <a:gd name="connsiteX1290" fmla="*/ 4959542 w 9922465"/>
              <a:gd name="connsiteY1290" fmla="*/ 1219421 h 1934496"/>
              <a:gd name="connsiteX1291" fmla="*/ 5014734 w 9922465"/>
              <a:gd name="connsiteY1291" fmla="*/ 1274612 h 1934496"/>
              <a:gd name="connsiteX1292" fmla="*/ 4959542 w 9922465"/>
              <a:gd name="connsiteY1292" fmla="*/ 1329803 h 1934496"/>
              <a:gd name="connsiteX1293" fmla="*/ 4904350 w 9922465"/>
              <a:gd name="connsiteY1293" fmla="*/ 1274612 h 1934496"/>
              <a:gd name="connsiteX1294" fmla="*/ 4959542 w 9922465"/>
              <a:gd name="connsiteY1294" fmla="*/ 1219421 h 1934496"/>
              <a:gd name="connsiteX1295" fmla="*/ 4829250 w 9922465"/>
              <a:gd name="connsiteY1295" fmla="*/ 1219421 h 1934496"/>
              <a:gd name="connsiteX1296" fmla="*/ 4884442 w 9922465"/>
              <a:gd name="connsiteY1296" fmla="*/ 1274612 h 1934496"/>
              <a:gd name="connsiteX1297" fmla="*/ 4829250 w 9922465"/>
              <a:gd name="connsiteY1297" fmla="*/ 1329803 h 1934496"/>
              <a:gd name="connsiteX1298" fmla="*/ 4774058 w 9922465"/>
              <a:gd name="connsiteY1298" fmla="*/ 1274612 h 1934496"/>
              <a:gd name="connsiteX1299" fmla="*/ 4829250 w 9922465"/>
              <a:gd name="connsiteY1299" fmla="*/ 1219421 h 1934496"/>
              <a:gd name="connsiteX1300" fmla="*/ 319111 w 9922465"/>
              <a:gd name="connsiteY1300" fmla="*/ 1219421 h 1934496"/>
              <a:gd name="connsiteX1301" fmla="*/ 374305 w 9922465"/>
              <a:gd name="connsiteY1301" fmla="*/ 1274612 h 1934496"/>
              <a:gd name="connsiteX1302" fmla="*/ 319111 w 9922465"/>
              <a:gd name="connsiteY1302" fmla="*/ 1329803 h 1934496"/>
              <a:gd name="connsiteX1303" fmla="*/ 263920 w 9922465"/>
              <a:gd name="connsiteY1303" fmla="*/ 1274612 h 1934496"/>
              <a:gd name="connsiteX1304" fmla="*/ 319111 w 9922465"/>
              <a:gd name="connsiteY1304" fmla="*/ 1219421 h 1934496"/>
              <a:gd name="connsiteX1305" fmla="*/ 185480 w 9922465"/>
              <a:gd name="connsiteY1305" fmla="*/ 1219421 h 1934496"/>
              <a:gd name="connsiteX1306" fmla="*/ 240671 w 9922465"/>
              <a:gd name="connsiteY1306" fmla="*/ 1274612 h 1934496"/>
              <a:gd name="connsiteX1307" fmla="*/ 185480 w 9922465"/>
              <a:gd name="connsiteY1307" fmla="*/ 1329803 h 1934496"/>
              <a:gd name="connsiteX1308" fmla="*/ 130288 w 9922465"/>
              <a:gd name="connsiteY1308" fmla="*/ 1274612 h 1934496"/>
              <a:gd name="connsiteX1309" fmla="*/ 185480 w 9922465"/>
              <a:gd name="connsiteY1309" fmla="*/ 1219421 h 1934496"/>
              <a:gd name="connsiteX1310" fmla="*/ 449407 w 9922465"/>
              <a:gd name="connsiteY1310" fmla="*/ 1219419 h 1934496"/>
              <a:gd name="connsiteX1311" fmla="*/ 504600 w 9922465"/>
              <a:gd name="connsiteY1311" fmla="*/ 1274610 h 1934496"/>
              <a:gd name="connsiteX1312" fmla="*/ 449407 w 9922465"/>
              <a:gd name="connsiteY1312" fmla="*/ 1329801 h 1934496"/>
              <a:gd name="connsiteX1313" fmla="*/ 394214 w 9922465"/>
              <a:gd name="connsiteY1313" fmla="*/ 1274610 h 1934496"/>
              <a:gd name="connsiteX1314" fmla="*/ 449407 w 9922465"/>
              <a:gd name="connsiteY1314" fmla="*/ 1219419 h 1934496"/>
              <a:gd name="connsiteX1315" fmla="*/ 4565322 w 9922465"/>
              <a:gd name="connsiteY1315" fmla="*/ 1219417 h 1934496"/>
              <a:gd name="connsiteX1316" fmla="*/ 4620514 w 9922465"/>
              <a:gd name="connsiteY1316" fmla="*/ 1274608 h 1934496"/>
              <a:gd name="connsiteX1317" fmla="*/ 4565322 w 9922465"/>
              <a:gd name="connsiteY1317" fmla="*/ 1329799 h 1934496"/>
              <a:gd name="connsiteX1318" fmla="*/ 4510130 w 9922465"/>
              <a:gd name="connsiteY1318" fmla="*/ 1274608 h 1934496"/>
              <a:gd name="connsiteX1319" fmla="*/ 4565322 w 9922465"/>
              <a:gd name="connsiteY1319" fmla="*/ 1219417 h 1934496"/>
              <a:gd name="connsiteX1320" fmla="*/ 2834811 w 9922465"/>
              <a:gd name="connsiteY1320" fmla="*/ 1219417 h 1934496"/>
              <a:gd name="connsiteX1321" fmla="*/ 2890003 w 9922465"/>
              <a:gd name="connsiteY1321" fmla="*/ 1274608 h 1934496"/>
              <a:gd name="connsiteX1322" fmla="*/ 2834811 w 9922465"/>
              <a:gd name="connsiteY1322" fmla="*/ 1329799 h 1934496"/>
              <a:gd name="connsiteX1323" fmla="*/ 2779620 w 9922465"/>
              <a:gd name="connsiteY1323" fmla="*/ 1274608 h 1934496"/>
              <a:gd name="connsiteX1324" fmla="*/ 2834811 w 9922465"/>
              <a:gd name="connsiteY1324" fmla="*/ 1219417 h 1934496"/>
              <a:gd name="connsiteX1325" fmla="*/ 2707858 w 9922465"/>
              <a:gd name="connsiteY1325" fmla="*/ 1219417 h 1934496"/>
              <a:gd name="connsiteX1326" fmla="*/ 2763052 w 9922465"/>
              <a:gd name="connsiteY1326" fmla="*/ 1274608 h 1934496"/>
              <a:gd name="connsiteX1327" fmla="*/ 2707858 w 9922465"/>
              <a:gd name="connsiteY1327" fmla="*/ 1329799 h 1934496"/>
              <a:gd name="connsiteX1328" fmla="*/ 2652667 w 9922465"/>
              <a:gd name="connsiteY1328" fmla="*/ 1274608 h 1934496"/>
              <a:gd name="connsiteX1329" fmla="*/ 2707858 w 9922465"/>
              <a:gd name="connsiteY1329" fmla="*/ 1219417 h 1934496"/>
              <a:gd name="connsiteX1330" fmla="*/ 2570885 w 9922465"/>
              <a:gd name="connsiteY1330" fmla="*/ 1219417 h 1934496"/>
              <a:gd name="connsiteX1331" fmla="*/ 2626075 w 9922465"/>
              <a:gd name="connsiteY1331" fmla="*/ 1274608 h 1934496"/>
              <a:gd name="connsiteX1332" fmla="*/ 2570885 w 9922465"/>
              <a:gd name="connsiteY1332" fmla="*/ 1329799 h 1934496"/>
              <a:gd name="connsiteX1333" fmla="*/ 2515692 w 9922465"/>
              <a:gd name="connsiteY1333" fmla="*/ 1274608 h 1934496"/>
              <a:gd name="connsiteX1334" fmla="*/ 2570885 w 9922465"/>
              <a:gd name="connsiteY1334" fmla="*/ 1219417 h 1934496"/>
              <a:gd name="connsiteX1335" fmla="*/ 2039686 w 9922465"/>
              <a:gd name="connsiteY1335" fmla="*/ 1219417 h 1934496"/>
              <a:gd name="connsiteX1336" fmla="*/ 2094880 w 9922465"/>
              <a:gd name="connsiteY1336" fmla="*/ 1274608 h 1934496"/>
              <a:gd name="connsiteX1337" fmla="*/ 2039686 w 9922465"/>
              <a:gd name="connsiteY1337" fmla="*/ 1329799 h 1934496"/>
              <a:gd name="connsiteX1338" fmla="*/ 1984493 w 9922465"/>
              <a:gd name="connsiteY1338" fmla="*/ 1274608 h 1934496"/>
              <a:gd name="connsiteX1339" fmla="*/ 2039686 w 9922465"/>
              <a:gd name="connsiteY1339" fmla="*/ 1219417 h 1934496"/>
              <a:gd name="connsiteX1340" fmla="*/ 1909390 w 9922465"/>
              <a:gd name="connsiteY1340" fmla="*/ 1219417 h 1934496"/>
              <a:gd name="connsiteX1341" fmla="*/ 1964583 w 9922465"/>
              <a:gd name="connsiteY1341" fmla="*/ 1274608 h 1934496"/>
              <a:gd name="connsiteX1342" fmla="*/ 1909390 w 9922465"/>
              <a:gd name="connsiteY1342" fmla="*/ 1329799 h 1934496"/>
              <a:gd name="connsiteX1343" fmla="*/ 1854197 w 9922465"/>
              <a:gd name="connsiteY1343" fmla="*/ 1274608 h 1934496"/>
              <a:gd name="connsiteX1344" fmla="*/ 1909390 w 9922465"/>
              <a:gd name="connsiteY1344" fmla="*/ 1219417 h 1934496"/>
              <a:gd name="connsiteX1345" fmla="*/ 1779095 w 9922465"/>
              <a:gd name="connsiteY1345" fmla="*/ 1219417 h 1934496"/>
              <a:gd name="connsiteX1346" fmla="*/ 1834287 w 9922465"/>
              <a:gd name="connsiteY1346" fmla="*/ 1274608 h 1934496"/>
              <a:gd name="connsiteX1347" fmla="*/ 1779095 w 9922465"/>
              <a:gd name="connsiteY1347" fmla="*/ 1329799 h 1934496"/>
              <a:gd name="connsiteX1348" fmla="*/ 1723902 w 9922465"/>
              <a:gd name="connsiteY1348" fmla="*/ 1274608 h 1934496"/>
              <a:gd name="connsiteX1349" fmla="*/ 1779095 w 9922465"/>
              <a:gd name="connsiteY1349" fmla="*/ 1219417 h 1934496"/>
              <a:gd name="connsiteX1350" fmla="*/ 1645457 w 9922465"/>
              <a:gd name="connsiteY1350" fmla="*/ 1219417 h 1934496"/>
              <a:gd name="connsiteX1351" fmla="*/ 1700655 w 9922465"/>
              <a:gd name="connsiteY1351" fmla="*/ 1274608 h 1934496"/>
              <a:gd name="connsiteX1352" fmla="*/ 1645457 w 9922465"/>
              <a:gd name="connsiteY1352" fmla="*/ 1329799 h 1934496"/>
              <a:gd name="connsiteX1353" fmla="*/ 1590265 w 9922465"/>
              <a:gd name="connsiteY1353" fmla="*/ 1274608 h 1934496"/>
              <a:gd name="connsiteX1354" fmla="*/ 1645457 w 9922465"/>
              <a:gd name="connsiteY1354" fmla="*/ 1219417 h 1934496"/>
              <a:gd name="connsiteX1355" fmla="*/ 1515168 w 9922465"/>
              <a:gd name="connsiteY1355" fmla="*/ 1219417 h 1934496"/>
              <a:gd name="connsiteX1356" fmla="*/ 1570354 w 9922465"/>
              <a:gd name="connsiteY1356" fmla="*/ 1274608 h 1934496"/>
              <a:gd name="connsiteX1357" fmla="*/ 1515168 w 9922465"/>
              <a:gd name="connsiteY1357" fmla="*/ 1329799 h 1934496"/>
              <a:gd name="connsiteX1358" fmla="*/ 1459973 w 9922465"/>
              <a:gd name="connsiteY1358" fmla="*/ 1274608 h 1934496"/>
              <a:gd name="connsiteX1359" fmla="*/ 1515168 w 9922465"/>
              <a:gd name="connsiteY1359" fmla="*/ 1219417 h 1934496"/>
              <a:gd name="connsiteX1360" fmla="*/ 1381528 w 9922465"/>
              <a:gd name="connsiteY1360" fmla="*/ 1219417 h 1934496"/>
              <a:gd name="connsiteX1361" fmla="*/ 1436723 w 9922465"/>
              <a:gd name="connsiteY1361" fmla="*/ 1274608 h 1934496"/>
              <a:gd name="connsiteX1362" fmla="*/ 1381528 w 9922465"/>
              <a:gd name="connsiteY1362" fmla="*/ 1329799 h 1934496"/>
              <a:gd name="connsiteX1363" fmla="*/ 1326339 w 9922465"/>
              <a:gd name="connsiteY1363" fmla="*/ 1274608 h 1934496"/>
              <a:gd name="connsiteX1364" fmla="*/ 1381528 w 9922465"/>
              <a:gd name="connsiteY1364" fmla="*/ 1219417 h 1934496"/>
              <a:gd name="connsiteX1365" fmla="*/ 1251239 w 9922465"/>
              <a:gd name="connsiteY1365" fmla="*/ 1219417 h 1934496"/>
              <a:gd name="connsiteX1366" fmla="*/ 1306431 w 9922465"/>
              <a:gd name="connsiteY1366" fmla="*/ 1274608 h 1934496"/>
              <a:gd name="connsiteX1367" fmla="*/ 1251239 w 9922465"/>
              <a:gd name="connsiteY1367" fmla="*/ 1329799 h 1934496"/>
              <a:gd name="connsiteX1368" fmla="*/ 1196046 w 9922465"/>
              <a:gd name="connsiteY1368" fmla="*/ 1274608 h 1934496"/>
              <a:gd name="connsiteX1369" fmla="*/ 1251239 w 9922465"/>
              <a:gd name="connsiteY1369" fmla="*/ 1219417 h 1934496"/>
              <a:gd name="connsiteX1370" fmla="*/ 1117601 w 9922465"/>
              <a:gd name="connsiteY1370" fmla="*/ 1219417 h 1934496"/>
              <a:gd name="connsiteX1371" fmla="*/ 1172794 w 9922465"/>
              <a:gd name="connsiteY1371" fmla="*/ 1274608 h 1934496"/>
              <a:gd name="connsiteX1372" fmla="*/ 1117601 w 9922465"/>
              <a:gd name="connsiteY1372" fmla="*/ 1329799 h 1934496"/>
              <a:gd name="connsiteX1373" fmla="*/ 1062408 w 9922465"/>
              <a:gd name="connsiteY1373" fmla="*/ 1274608 h 1934496"/>
              <a:gd name="connsiteX1374" fmla="*/ 1117601 w 9922465"/>
              <a:gd name="connsiteY1374" fmla="*/ 1219417 h 1934496"/>
              <a:gd name="connsiteX1375" fmla="*/ 980622 w 9922465"/>
              <a:gd name="connsiteY1375" fmla="*/ 1219417 h 1934496"/>
              <a:gd name="connsiteX1376" fmla="*/ 1035816 w 9922465"/>
              <a:gd name="connsiteY1376" fmla="*/ 1274608 h 1934496"/>
              <a:gd name="connsiteX1377" fmla="*/ 980622 w 9922465"/>
              <a:gd name="connsiteY1377" fmla="*/ 1329799 h 1934496"/>
              <a:gd name="connsiteX1378" fmla="*/ 925429 w 9922465"/>
              <a:gd name="connsiteY1378" fmla="*/ 1274608 h 1934496"/>
              <a:gd name="connsiteX1379" fmla="*/ 980622 w 9922465"/>
              <a:gd name="connsiteY1379" fmla="*/ 1219417 h 1934496"/>
              <a:gd name="connsiteX1380" fmla="*/ 9469710 w 9922465"/>
              <a:gd name="connsiteY1380" fmla="*/ 1099147 h 1934496"/>
              <a:gd name="connsiteX1381" fmla="*/ 9524902 w 9922465"/>
              <a:gd name="connsiteY1381" fmla="*/ 1154338 h 1934496"/>
              <a:gd name="connsiteX1382" fmla="*/ 9469710 w 9922465"/>
              <a:gd name="connsiteY1382" fmla="*/ 1209529 h 1934496"/>
              <a:gd name="connsiteX1383" fmla="*/ 9414518 w 9922465"/>
              <a:gd name="connsiteY1383" fmla="*/ 1154338 h 1934496"/>
              <a:gd name="connsiteX1384" fmla="*/ 9469710 w 9922465"/>
              <a:gd name="connsiteY1384" fmla="*/ 1099147 h 1934496"/>
              <a:gd name="connsiteX1385" fmla="*/ 9336075 w 9922465"/>
              <a:gd name="connsiteY1385" fmla="*/ 1099147 h 1934496"/>
              <a:gd name="connsiteX1386" fmla="*/ 9391267 w 9922465"/>
              <a:gd name="connsiteY1386" fmla="*/ 1154338 h 1934496"/>
              <a:gd name="connsiteX1387" fmla="*/ 9336075 w 9922465"/>
              <a:gd name="connsiteY1387" fmla="*/ 1209529 h 1934496"/>
              <a:gd name="connsiteX1388" fmla="*/ 9280883 w 9922465"/>
              <a:gd name="connsiteY1388" fmla="*/ 1154338 h 1934496"/>
              <a:gd name="connsiteX1389" fmla="*/ 9336075 w 9922465"/>
              <a:gd name="connsiteY1389" fmla="*/ 1099147 h 1934496"/>
              <a:gd name="connsiteX1390" fmla="*/ 9199100 w 9922465"/>
              <a:gd name="connsiteY1390" fmla="*/ 1099147 h 1934496"/>
              <a:gd name="connsiteX1391" fmla="*/ 9254292 w 9922465"/>
              <a:gd name="connsiteY1391" fmla="*/ 1154338 h 1934496"/>
              <a:gd name="connsiteX1392" fmla="*/ 9199100 w 9922465"/>
              <a:gd name="connsiteY1392" fmla="*/ 1209529 h 1934496"/>
              <a:gd name="connsiteX1393" fmla="*/ 9143908 w 9922465"/>
              <a:gd name="connsiteY1393" fmla="*/ 1154338 h 1934496"/>
              <a:gd name="connsiteX1394" fmla="*/ 9199100 w 9922465"/>
              <a:gd name="connsiteY1394" fmla="*/ 1099147 h 1934496"/>
              <a:gd name="connsiteX1395" fmla="*/ 9068805 w 9922465"/>
              <a:gd name="connsiteY1395" fmla="*/ 1099147 h 1934496"/>
              <a:gd name="connsiteX1396" fmla="*/ 9123997 w 9922465"/>
              <a:gd name="connsiteY1396" fmla="*/ 1154338 h 1934496"/>
              <a:gd name="connsiteX1397" fmla="*/ 9068805 w 9922465"/>
              <a:gd name="connsiteY1397" fmla="*/ 1209529 h 1934496"/>
              <a:gd name="connsiteX1398" fmla="*/ 9013613 w 9922465"/>
              <a:gd name="connsiteY1398" fmla="*/ 1154338 h 1934496"/>
              <a:gd name="connsiteX1399" fmla="*/ 9068805 w 9922465"/>
              <a:gd name="connsiteY1399" fmla="*/ 1099147 h 1934496"/>
              <a:gd name="connsiteX1400" fmla="*/ 8935170 w 9922465"/>
              <a:gd name="connsiteY1400" fmla="*/ 1099147 h 1934496"/>
              <a:gd name="connsiteX1401" fmla="*/ 8990362 w 9922465"/>
              <a:gd name="connsiteY1401" fmla="*/ 1154338 h 1934496"/>
              <a:gd name="connsiteX1402" fmla="*/ 8935170 w 9922465"/>
              <a:gd name="connsiteY1402" fmla="*/ 1209529 h 1934496"/>
              <a:gd name="connsiteX1403" fmla="*/ 8879978 w 9922465"/>
              <a:gd name="connsiteY1403" fmla="*/ 1154338 h 1934496"/>
              <a:gd name="connsiteX1404" fmla="*/ 8935170 w 9922465"/>
              <a:gd name="connsiteY1404" fmla="*/ 1099147 h 1934496"/>
              <a:gd name="connsiteX1405" fmla="*/ 8801536 w 9922465"/>
              <a:gd name="connsiteY1405" fmla="*/ 1099147 h 1934496"/>
              <a:gd name="connsiteX1406" fmla="*/ 8856728 w 9922465"/>
              <a:gd name="connsiteY1406" fmla="*/ 1154338 h 1934496"/>
              <a:gd name="connsiteX1407" fmla="*/ 8801536 w 9922465"/>
              <a:gd name="connsiteY1407" fmla="*/ 1209529 h 1934496"/>
              <a:gd name="connsiteX1408" fmla="*/ 8746344 w 9922465"/>
              <a:gd name="connsiteY1408" fmla="*/ 1154338 h 1934496"/>
              <a:gd name="connsiteX1409" fmla="*/ 8801536 w 9922465"/>
              <a:gd name="connsiteY1409" fmla="*/ 1099147 h 1934496"/>
              <a:gd name="connsiteX1410" fmla="*/ 8671243 w 9922465"/>
              <a:gd name="connsiteY1410" fmla="*/ 1099147 h 1934496"/>
              <a:gd name="connsiteX1411" fmla="*/ 8726435 w 9922465"/>
              <a:gd name="connsiteY1411" fmla="*/ 1154338 h 1934496"/>
              <a:gd name="connsiteX1412" fmla="*/ 8671243 w 9922465"/>
              <a:gd name="connsiteY1412" fmla="*/ 1209529 h 1934496"/>
              <a:gd name="connsiteX1413" fmla="*/ 8616051 w 9922465"/>
              <a:gd name="connsiteY1413" fmla="*/ 1154338 h 1934496"/>
              <a:gd name="connsiteX1414" fmla="*/ 8671243 w 9922465"/>
              <a:gd name="connsiteY1414" fmla="*/ 1099147 h 1934496"/>
              <a:gd name="connsiteX1415" fmla="*/ 8537609 w 9922465"/>
              <a:gd name="connsiteY1415" fmla="*/ 1099147 h 1934496"/>
              <a:gd name="connsiteX1416" fmla="*/ 8592801 w 9922465"/>
              <a:gd name="connsiteY1416" fmla="*/ 1154338 h 1934496"/>
              <a:gd name="connsiteX1417" fmla="*/ 8537609 w 9922465"/>
              <a:gd name="connsiteY1417" fmla="*/ 1209529 h 1934496"/>
              <a:gd name="connsiteX1418" fmla="*/ 8482417 w 9922465"/>
              <a:gd name="connsiteY1418" fmla="*/ 1154338 h 1934496"/>
              <a:gd name="connsiteX1419" fmla="*/ 8537609 w 9922465"/>
              <a:gd name="connsiteY1419" fmla="*/ 1099147 h 1934496"/>
              <a:gd name="connsiteX1420" fmla="*/ 8407315 w 9922465"/>
              <a:gd name="connsiteY1420" fmla="*/ 1099147 h 1934496"/>
              <a:gd name="connsiteX1421" fmla="*/ 8462507 w 9922465"/>
              <a:gd name="connsiteY1421" fmla="*/ 1154338 h 1934496"/>
              <a:gd name="connsiteX1422" fmla="*/ 8407315 w 9922465"/>
              <a:gd name="connsiteY1422" fmla="*/ 1209529 h 1934496"/>
              <a:gd name="connsiteX1423" fmla="*/ 8352123 w 9922465"/>
              <a:gd name="connsiteY1423" fmla="*/ 1154338 h 1934496"/>
              <a:gd name="connsiteX1424" fmla="*/ 8407315 w 9922465"/>
              <a:gd name="connsiteY1424" fmla="*/ 1099147 h 1934496"/>
              <a:gd name="connsiteX1425" fmla="*/ 8273681 w 9922465"/>
              <a:gd name="connsiteY1425" fmla="*/ 1099147 h 1934496"/>
              <a:gd name="connsiteX1426" fmla="*/ 8328873 w 9922465"/>
              <a:gd name="connsiteY1426" fmla="*/ 1154338 h 1934496"/>
              <a:gd name="connsiteX1427" fmla="*/ 8273681 w 9922465"/>
              <a:gd name="connsiteY1427" fmla="*/ 1209529 h 1934496"/>
              <a:gd name="connsiteX1428" fmla="*/ 8218489 w 9922465"/>
              <a:gd name="connsiteY1428" fmla="*/ 1154338 h 1934496"/>
              <a:gd name="connsiteX1429" fmla="*/ 8273681 w 9922465"/>
              <a:gd name="connsiteY1429" fmla="*/ 1099147 h 1934496"/>
              <a:gd name="connsiteX1430" fmla="*/ 8143386 w 9922465"/>
              <a:gd name="connsiteY1430" fmla="*/ 1099147 h 1934496"/>
              <a:gd name="connsiteX1431" fmla="*/ 8198578 w 9922465"/>
              <a:gd name="connsiteY1431" fmla="*/ 1154338 h 1934496"/>
              <a:gd name="connsiteX1432" fmla="*/ 8143386 w 9922465"/>
              <a:gd name="connsiteY1432" fmla="*/ 1209529 h 1934496"/>
              <a:gd name="connsiteX1433" fmla="*/ 8088194 w 9922465"/>
              <a:gd name="connsiteY1433" fmla="*/ 1154338 h 1934496"/>
              <a:gd name="connsiteX1434" fmla="*/ 8143386 w 9922465"/>
              <a:gd name="connsiteY1434" fmla="*/ 1099147 h 1934496"/>
              <a:gd name="connsiteX1435" fmla="*/ 8009752 w 9922465"/>
              <a:gd name="connsiteY1435" fmla="*/ 1099147 h 1934496"/>
              <a:gd name="connsiteX1436" fmla="*/ 8064944 w 9922465"/>
              <a:gd name="connsiteY1436" fmla="*/ 1154338 h 1934496"/>
              <a:gd name="connsiteX1437" fmla="*/ 8009752 w 9922465"/>
              <a:gd name="connsiteY1437" fmla="*/ 1209529 h 1934496"/>
              <a:gd name="connsiteX1438" fmla="*/ 7954560 w 9922465"/>
              <a:gd name="connsiteY1438" fmla="*/ 1154338 h 1934496"/>
              <a:gd name="connsiteX1439" fmla="*/ 8009752 w 9922465"/>
              <a:gd name="connsiteY1439" fmla="*/ 1099147 h 1934496"/>
              <a:gd name="connsiteX1440" fmla="*/ 7876117 w 9922465"/>
              <a:gd name="connsiteY1440" fmla="*/ 1099147 h 1934496"/>
              <a:gd name="connsiteX1441" fmla="*/ 7931309 w 9922465"/>
              <a:gd name="connsiteY1441" fmla="*/ 1154338 h 1934496"/>
              <a:gd name="connsiteX1442" fmla="*/ 7876117 w 9922465"/>
              <a:gd name="connsiteY1442" fmla="*/ 1209529 h 1934496"/>
              <a:gd name="connsiteX1443" fmla="*/ 7820925 w 9922465"/>
              <a:gd name="connsiteY1443" fmla="*/ 1154338 h 1934496"/>
              <a:gd name="connsiteX1444" fmla="*/ 7876117 w 9922465"/>
              <a:gd name="connsiteY1444" fmla="*/ 1099147 h 1934496"/>
              <a:gd name="connsiteX1445" fmla="*/ 7745822 w 9922465"/>
              <a:gd name="connsiteY1445" fmla="*/ 1099147 h 1934496"/>
              <a:gd name="connsiteX1446" fmla="*/ 7801014 w 9922465"/>
              <a:gd name="connsiteY1446" fmla="*/ 1154338 h 1934496"/>
              <a:gd name="connsiteX1447" fmla="*/ 7745822 w 9922465"/>
              <a:gd name="connsiteY1447" fmla="*/ 1209529 h 1934496"/>
              <a:gd name="connsiteX1448" fmla="*/ 7690630 w 9922465"/>
              <a:gd name="connsiteY1448" fmla="*/ 1154338 h 1934496"/>
              <a:gd name="connsiteX1449" fmla="*/ 7745822 w 9922465"/>
              <a:gd name="connsiteY1449" fmla="*/ 1099147 h 1934496"/>
              <a:gd name="connsiteX1450" fmla="*/ 7608847 w 9922465"/>
              <a:gd name="connsiteY1450" fmla="*/ 1099147 h 1934496"/>
              <a:gd name="connsiteX1451" fmla="*/ 7664039 w 9922465"/>
              <a:gd name="connsiteY1451" fmla="*/ 1154338 h 1934496"/>
              <a:gd name="connsiteX1452" fmla="*/ 7608847 w 9922465"/>
              <a:gd name="connsiteY1452" fmla="*/ 1209529 h 1934496"/>
              <a:gd name="connsiteX1453" fmla="*/ 7553655 w 9922465"/>
              <a:gd name="connsiteY1453" fmla="*/ 1154338 h 1934496"/>
              <a:gd name="connsiteX1454" fmla="*/ 7608847 w 9922465"/>
              <a:gd name="connsiteY1454" fmla="*/ 1099147 h 1934496"/>
              <a:gd name="connsiteX1455" fmla="*/ 7481895 w 9922465"/>
              <a:gd name="connsiteY1455" fmla="*/ 1099147 h 1934496"/>
              <a:gd name="connsiteX1456" fmla="*/ 7537087 w 9922465"/>
              <a:gd name="connsiteY1456" fmla="*/ 1154338 h 1934496"/>
              <a:gd name="connsiteX1457" fmla="*/ 7481895 w 9922465"/>
              <a:gd name="connsiteY1457" fmla="*/ 1209529 h 1934496"/>
              <a:gd name="connsiteX1458" fmla="*/ 7426703 w 9922465"/>
              <a:gd name="connsiteY1458" fmla="*/ 1154338 h 1934496"/>
              <a:gd name="connsiteX1459" fmla="*/ 7481895 w 9922465"/>
              <a:gd name="connsiteY1459" fmla="*/ 1099147 h 1934496"/>
              <a:gd name="connsiteX1460" fmla="*/ 7341578 w 9922465"/>
              <a:gd name="connsiteY1460" fmla="*/ 1099147 h 1934496"/>
              <a:gd name="connsiteX1461" fmla="*/ 7396770 w 9922465"/>
              <a:gd name="connsiteY1461" fmla="*/ 1154338 h 1934496"/>
              <a:gd name="connsiteX1462" fmla="*/ 7341578 w 9922465"/>
              <a:gd name="connsiteY1462" fmla="*/ 1209529 h 1934496"/>
              <a:gd name="connsiteX1463" fmla="*/ 7286386 w 9922465"/>
              <a:gd name="connsiteY1463" fmla="*/ 1154338 h 1934496"/>
              <a:gd name="connsiteX1464" fmla="*/ 7341578 w 9922465"/>
              <a:gd name="connsiteY1464" fmla="*/ 1099147 h 1934496"/>
              <a:gd name="connsiteX1465" fmla="*/ 7211285 w 9922465"/>
              <a:gd name="connsiteY1465" fmla="*/ 1099147 h 1934496"/>
              <a:gd name="connsiteX1466" fmla="*/ 7266477 w 9922465"/>
              <a:gd name="connsiteY1466" fmla="*/ 1154338 h 1934496"/>
              <a:gd name="connsiteX1467" fmla="*/ 7211285 w 9922465"/>
              <a:gd name="connsiteY1467" fmla="*/ 1209529 h 1934496"/>
              <a:gd name="connsiteX1468" fmla="*/ 7156093 w 9922465"/>
              <a:gd name="connsiteY1468" fmla="*/ 1154338 h 1934496"/>
              <a:gd name="connsiteX1469" fmla="*/ 7211285 w 9922465"/>
              <a:gd name="connsiteY1469" fmla="*/ 1099147 h 1934496"/>
              <a:gd name="connsiteX1470" fmla="*/ 7080991 w 9922465"/>
              <a:gd name="connsiteY1470" fmla="*/ 1099147 h 1934496"/>
              <a:gd name="connsiteX1471" fmla="*/ 7136183 w 9922465"/>
              <a:gd name="connsiteY1471" fmla="*/ 1154338 h 1934496"/>
              <a:gd name="connsiteX1472" fmla="*/ 7080991 w 9922465"/>
              <a:gd name="connsiteY1472" fmla="*/ 1209529 h 1934496"/>
              <a:gd name="connsiteX1473" fmla="*/ 7025799 w 9922465"/>
              <a:gd name="connsiteY1473" fmla="*/ 1154338 h 1934496"/>
              <a:gd name="connsiteX1474" fmla="*/ 7080991 w 9922465"/>
              <a:gd name="connsiteY1474" fmla="*/ 1099147 h 1934496"/>
              <a:gd name="connsiteX1475" fmla="*/ 6947356 w 9922465"/>
              <a:gd name="connsiteY1475" fmla="*/ 1099147 h 1934496"/>
              <a:gd name="connsiteX1476" fmla="*/ 7002548 w 9922465"/>
              <a:gd name="connsiteY1476" fmla="*/ 1154338 h 1934496"/>
              <a:gd name="connsiteX1477" fmla="*/ 6947356 w 9922465"/>
              <a:gd name="connsiteY1477" fmla="*/ 1209529 h 1934496"/>
              <a:gd name="connsiteX1478" fmla="*/ 6892164 w 9922465"/>
              <a:gd name="connsiteY1478" fmla="*/ 1154338 h 1934496"/>
              <a:gd name="connsiteX1479" fmla="*/ 6947356 w 9922465"/>
              <a:gd name="connsiteY1479" fmla="*/ 1099147 h 1934496"/>
              <a:gd name="connsiteX1480" fmla="*/ 6817063 w 9922465"/>
              <a:gd name="connsiteY1480" fmla="*/ 1099147 h 1934496"/>
              <a:gd name="connsiteX1481" fmla="*/ 6872255 w 9922465"/>
              <a:gd name="connsiteY1481" fmla="*/ 1154338 h 1934496"/>
              <a:gd name="connsiteX1482" fmla="*/ 6817063 w 9922465"/>
              <a:gd name="connsiteY1482" fmla="*/ 1209529 h 1934496"/>
              <a:gd name="connsiteX1483" fmla="*/ 6761871 w 9922465"/>
              <a:gd name="connsiteY1483" fmla="*/ 1154338 h 1934496"/>
              <a:gd name="connsiteX1484" fmla="*/ 6817063 w 9922465"/>
              <a:gd name="connsiteY1484" fmla="*/ 1099147 h 1934496"/>
              <a:gd name="connsiteX1485" fmla="*/ 6683430 w 9922465"/>
              <a:gd name="connsiteY1485" fmla="*/ 1099147 h 1934496"/>
              <a:gd name="connsiteX1486" fmla="*/ 6738622 w 9922465"/>
              <a:gd name="connsiteY1486" fmla="*/ 1154338 h 1934496"/>
              <a:gd name="connsiteX1487" fmla="*/ 6683430 w 9922465"/>
              <a:gd name="connsiteY1487" fmla="*/ 1209529 h 1934496"/>
              <a:gd name="connsiteX1488" fmla="*/ 6628238 w 9922465"/>
              <a:gd name="connsiteY1488" fmla="*/ 1154338 h 1934496"/>
              <a:gd name="connsiteX1489" fmla="*/ 6683430 w 9922465"/>
              <a:gd name="connsiteY1489" fmla="*/ 1099147 h 1934496"/>
              <a:gd name="connsiteX1490" fmla="*/ 6553135 w 9922465"/>
              <a:gd name="connsiteY1490" fmla="*/ 1099147 h 1934496"/>
              <a:gd name="connsiteX1491" fmla="*/ 6608327 w 9922465"/>
              <a:gd name="connsiteY1491" fmla="*/ 1154338 h 1934496"/>
              <a:gd name="connsiteX1492" fmla="*/ 6553135 w 9922465"/>
              <a:gd name="connsiteY1492" fmla="*/ 1209529 h 1934496"/>
              <a:gd name="connsiteX1493" fmla="*/ 6497943 w 9922465"/>
              <a:gd name="connsiteY1493" fmla="*/ 1154338 h 1934496"/>
              <a:gd name="connsiteX1494" fmla="*/ 6553135 w 9922465"/>
              <a:gd name="connsiteY1494" fmla="*/ 1099147 h 1934496"/>
              <a:gd name="connsiteX1495" fmla="*/ 6419501 w 9922465"/>
              <a:gd name="connsiteY1495" fmla="*/ 1099147 h 1934496"/>
              <a:gd name="connsiteX1496" fmla="*/ 6474693 w 9922465"/>
              <a:gd name="connsiteY1496" fmla="*/ 1154338 h 1934496"/>
              <a:gd name="connsiteX1497" fmla="*/ 6419501 w 9922465"/>
              <a:gd name="connsiteY1497" fmla="*/ 1209529 h 1934496"/>
              <a:gd name="connsiteX1498" fmla="*/ 6364309 w 9922465"/>
              <a:gd name="connsiteY1498" fmla="*/ 1154338 h 1934496"/>
              <a:gd name="connsiteX1499" fmla="*/ 6419501 w 9922465"/>
              <a:gd name="connsiteY1499" fmla="*/ 1099147 h 1934496"/>
              <a:gd name="connsiteX1500" fmla="*/ 6289206 w 9922465"/>
              <a:gd name="connsiteY1500" fmla="*/ 1099147 h 1934496"/>
              <a:gd name="connsiteX1501" fmla="*/ 6344398 w 9922465"/>
              <a:gd name="connsiteY1501" fmla="*/ 1154338 h 1934496"/>
              <a:gd name="connsiteX1502" fmla="*/ 6289206 w 9922465"/>
              <a:gd name="connsiteY1502" fmla="*/ 1209529 h 1934496"/>
              <a:gd name="connsiteX1503" fmla="*/ 6234014 w 9922465"/>
              <a:gd name="connsiteY1503" fmla="*/ 1154338 h 1934496"/>
              <a:gd name="connsiteX1504" fmla="*/ 6289206 w 9922465"/>
              <a:gd name="connsiteY1504" fmla="*/ 1099147 h 1934496"/>
              <a:gd name="connsiteX1505" fmla="*/ 6155571 w 9922465"/>
              <a:gd name="connsiteY1505" fmla="*/ 1099147 h 1934496"/>
              <a:gd name="connsiteX1506" fmla="*/ 6210763 w 9922465"/>
              <a:gd name="connsiteY1506" fmla="*/ 1154338 h 1934496"/>
              <a:gd name="connsiteX1507" fmla="*/ 6155571 w 9922465"/>
              <a:gd name="connsiteY1507" fmla="*/ 1209529 h 1934496"/>
              <a:gd name="connsiteX1508" fmla="*/ 6100379 w 9922465"/>
              <a:gd name="connsiteY1508" fmla="*/ 1154338 h 1934496"/>
              <a:gd name="connsiteX1509" fmla="*/ 6155571 w 9922465"/>
              <a:gd name="connsiteY1509" fmla="*/ 1099147 h 1934496"/>
              <a:gd name="connsiteX1510" fmla="*/ 6021938 w 9922465"/>
              <a:gd name="connsiteY1510" fmla="*/ 1099147 h 1934496"/>
              <a:gd name="connsiteX1511" fmla="*/ 6077130 w 9922465"/>
              <a:gd name="connsiteY1511" fmla="*/ 1154338 h 1934496"/>
              <a:gd name="connsiteX1512" fmla="*/ 6021938 w 9922465"/>
              <a:gd name="connsiteY1512" fmla="*/ 1209529 h 1934496"/>
              <a:gd name="connsiteX1513" fmla="*/ 5966746 w 9922465"/>
              <a:gd name="connsiteY1513" fmla="*/ 1154338 h 1934496"/>
              <a:gd name="connsiteX1514" fmla="*/ 6021938 w 9922465"/>
              <a:gd name="connsiteY1514" fmla="*/ 1099147 h 1934496"/>
              <a:gd name="connsiteX1515" fmla="*/ 5884963 w 9922465"/>
              <a:gd name="connsiteY1515" fmla="*/ 1099147 h 1934496"/>
              <a:gd name="connsiteX1516" fmla="*/ 5940155 w 9922465"/>
              <a:gd name="connsiteY1516" fmla="*/ 1154338 h 1934496"/>
              <a:gd name="connsiteX1517" fmla="*/ 5884963 w 9922465"/>
              <a:gd name="connsiteY1517" fmla="*/ 1209529 h 1934496"/>
              <a:gd name="connsiteX1518" fmla="*/ 5829771 w 9922465"/>
              <a:gd name="connsiteY1518" fmla="*/ 1154338 h 1934496"/>
              <a:gd name="connsiteX1519" fmla="*/ 5884963 w 9922465"/>
              <a:gd name="connsiteY1519" fmla="*/ 1099147 h 1934496"/>
              <a:gd name="connsiteX1520" fmla="*/ 5754668 w 9922465"/>
              <a:gd name="connsiteY1520" fmla="*/ 1099147 h 1934496"/>
              <a:gd name="connsiteX1521" fmla="*/ 5809860 w 9922465"/>
              <a:gd name="connsiteY1521" fmla="*/ 1154338 h 1934496"/>
              <a:gd name="connsiteX1522" fmla="*/ 5754668 w 9922465"/>
              <a:gd name="connsiteY1522" fmla="*/ 1209529 h 1934496"/>
              <a:gd name="connsiteX1523" fmla="*/ 5699476 w 9922465"/>
              <a:gd name="connsiteY1523" fmla="*/ 1154338 h 1934496"/>
              <a:gd name="connsiteX1524" fmla="*/ 5754668 w 9922465"/>
              <a:gd name="connsiteY1524" fmla="*/ 1099147 h 1934496"/>
              <a:gd name="connsiteX1525" fmla="*/ 5621031 w 9922465"/>
              <a:gd name="connsiteY1525" fmla="*/ 1099147 h 1934496"/>
              <a:gd name="connsiteX1526" fmla="*/ 5676223 w 9922465"/>
              <a:gd name="connsiteY1526" fmla="*/ 1154338 h 1934496"/>
              <a:gd name="connsiteX1527" fmla="*/ 5621031 w 9922465"/>
              <a:gd name="connsiteY1527" fmla="*/ 1209529 h 1934496"/>
              <a:gd name="connsiteX1528" fmla="*/ 5565839 w 9922465"/>
              <a:gd name="connsiteY1528" fmla="*/ 1154338 h 1934496"/>
              <a:gd name="connsiteX1529" fmla="*/ 5621031 w 9922465"/>
              <a:gd name="connsiteY1529" fmla="*/ 1099147 h 1934496"/>
              <a:gd name="connsiteX1530" fmla="*/ 5487398 w 9922465"/>
              <a:gd name="connsiteY1530" fmla="*/ 1099147 h 1934496"/>
              <a:gd name="connsiteX1531" fmla="*/ 5542590 w 9922465"/>
              <a:gd name="connsiteY1531" fmla="*/ 1154338 h 1934496"/>
              <a:gd name="connsiteX1532" fmla="*/ 5487398 w 9922465"/>
              <a:gd name="connsiteY1532" fmla="*/ 1209529 h 1934496"/>
              <a:gd name="connsiteX1533" fmla="*/ 5432206 w 9922465"/>
              <a:gd name="connsiteY1533" fmla="*/ 1154338 h 1934496"/>
              <a:gd name="connsiteX1534" fmla="*/ 5487398 w 9922465"/>
              <a:gd name="connsiteY1534" fmla="*/ 1099147 h 1934496"/>
              <a:gd name="connsiteX1535" fmla="*/ 5357105 w 9922465"/>
              <a:gd name="connsiteY1535" fmla="*/ 1099147 h 1934496"/>
              <a:gd name="connsiteX1536" fmla="*/ 5412297 w 9922465"/>
              <a:gd name="connsiteY1536" fmla="*/ 1154338 h 1934496"/>
              <a:gd name="connsiteX1537" fmla="*/ 5357105 w 9922465"/>
              <a:gd name="connsiteY1537" fmla="*/ 1209529 h 1934496"/>
              <a:gd name="connsiteX1538" fmla="*/ 5301913 w 9922465"/>
              <a:gd name="connsiteY1538" fmla="*/ 1154338 h 1934496"/>
              <a:gd name="connsiteX1539" fmla="*/ 5357105 w 9922465"/>
              <a:gd name="connsiteY1539" fmla="*/ 1099147 h 1934496"/>
              <a:gd name="connsiteX1540" fmla="*/ 5093176 w 9922465"/>
              <a:gd name="connsiteY1540" fmla="*/ 1099147 h 1934496"/>
              <a:gd name="connsiteX1541" fmla="*/ 5148368 w 9922465"/>
              <a:gd name="connsiteY1541" fmla="*/ 1154338 h 1934496"/>
              <a:gd name="connsiteX1542" fmla="*/ 5093176 w 9922465"/>
              <a:gd name="connsiteY1542" fmla="*/ 1209529 h 1934496"/>
              <a:gd name="connsiteX1543" fmla="*/ 5037984 w 9922465"/>
              <a:gd name="connsiteY1543" fmla="*/ 1154338 h 1934496"/>
              <a:gd name="connsiteX1544" fmla="*/ 5093176 w 9922465"/>
              <a:gd name="connsiteY1544" fmla="*/ 1099147 h 1934496"/>
              <a:gd name="connsiteX1545" fmla="*/ 4959540 w 9922465"/>
              <a:gd name="connsiteY1545" fmla="*/ 1099147 h 1934496"/>
              <a:gd name="connsiteX1546" fmla="*/ 5014732 w 9922465"/>
              <a:gd name="connsiteY1546" fmla="*/ 1154338 h 1934496"/>
              <a:gd name="connsiteX1547" fmla="*/ 4959540 w 9922465"/>
              <a:gd name="connsiteY1547" fmla="*/ 1209529 h 1934496"/>
              <a:gd name="connsiteX1548" fmla="*/ 4904348 w 9922465"/>
              <a:gd name="connsiteY1548" fmla="*/ 1154338 h 1934496"/>
              <a:gd name="connsiteX1549" fmla="*/ 4959540 w 9922465"/>
              <a:gd name="connsiteY1549" fmla="*/ 1099147 h 1934496"/>
              <a:gd name="connsiteX1550" fmla="*/ 4829246 w 9922465"/>
              <a:gd name="connsiteY1550" fmla="*/ 1099147 h 1934496"/>
              <a:gd name="connsiteX1551" fmla="*/ 4884438 w 9922465"/>
              <a:gd name="connsiteY1551" fmla="*/ 1154338 h 1934496"/>
              <a:gd name="connsiteX1552" fmla="*/ 4829246 w 9922465"/>
              <a:gd name="connsiteY1552" fmla="*/ 1209529 h 1934496"/>
              <a:gd name="connsiteX1553" fmla="*/ 4774054 w 9922465"/>
              <a:gd name="connsiteY1553" fmla="*/ 1154338 h 1934496"/>
              <a:gd name="connsiteX1554" fmla="*/ 4829246 w 9922465"/>
              <a:gd name="connsiteY1554" fmla="*/ 1099147 h 1934496"/>
              <a:gd name="connsiteX1555" fmla="*/ 319117 w 9922465"/>
              <a:gd name="connsiteY1555" fmla="*/ 1099147 h 1934496"/>
              <a:gd name="connsiteX1556" fmla="*/ 374310 w 9922465"/>
              <a:gd name="connsiteY1556" fmla="*/ 1154338 h 1934496"/>
              <a:gd name="connsiteX1557" fmla="*/ 319117 w 9922465"/>
              <a:gd name="connsiteY1557" fmla="*/ 1209529 h 1934496"/>
              <a:gd name="connsiteX1558" fmla="*/ 263926 w 9922465"/>
              <a:gd name="connsiteY1558" fmla="*/ 1154338 h 1934496"/>
              <a:gd name="connsiteX1559" fmla="*/ 319117 w 9922465"/>
              <a:gd name="connsiteY1559" fmla="*/ 1099147 h 1934496"/>
              <a:gd name="connsiteX1560" fmla="*/ 185484 w 9922465"/>
              <a:gd name="connsiteY1560" fmla="*/ 1099147 h 1934496"/>
              <a:gd name="connsiteX1561" fmla="*/ 240675 w 9922465"/>
              <a:gd name="connsiteY1561" fmla="*/ 1154338 h 1934496"/>
              <a:gd name="connsiteX1562" fmla="*/ 185484 w 9922465"/>
              <a:gd name="connsiteY1562" fmla="*/ 1209529 h 1934496"/>
              <a:gd name="connsiteX1563" fmla="*/ 130292 w 9922465"/>
              <a:gd name="connsiteY1563" fmla="*/ 1154338 h 1934496"/>
              <a:gd name="connsiteX1564" fmla="*/ 185484 w 9922465"/>
              <a:gd name="connsiteY1564" fmla="*/ 1099147 h 1934496"/>
              <a:gd name="connsiteX1565" fmla="*/ 55190 w 9922465"/>
              <a:gd name="connsiteY1565" fmla="*/ 1099147 h 1934496"/>
              <a:gd name="connsiteX1566" fmla="*/ 110381 w 9922465"/>
              <a:gd name="connsiteY1566" fmla="*/ 1154338 h 1934496"/>
              <a:gd name="connsiteX1567" fmla="*/ 55190 w 9922465"/>
              <a:gd name="connsiteY1567" fmla="*/ 1209529 h 1934496"/>
              <a:gd name="connsiteX1568" fmla="*/ 0 w 9922465"/>
              <a:gd name="connsiteY1568" fmla="*/ 1154338 h 1934496"/>
              <a:gd name="connsiteX1569" fmla="*/ 55190 w 9922465"/>
              <a:gd name="connsiteY1569" fmla="*/ 1099147 h 1934496"/>
              <a:gd name="connsiteX1570" fmla="*/ 3499584 w 9922465"/>
              <a:gd name="connsiteY1570" fmla="*/ 1099146 h 1934496"/>
              <a:gd name="connsiteX1571" fmla="*/ 3554776 w 9922465"/>
              <a:gd name="connsiteY1571" fmla="*/ 1154337 h 1934496"/>
              <a:gd name="connsiteX1572" fmla="*/ 3499584 w 9922465"/>
              <a:gd name="connsiteY1572" fmla="*/ 1209528 h 1934496"/>
              <a:gd name="connsiteX1573" fmla="*/ 3444392 w 9922465"/>
              <a:gd name="connsiteY1573" fmla="*/ 1154337 h 1934496"/>
              <a:gd name="connsiteX1574" fmla="*/ 3499584 w 9922465"/>
              <a:gd name="connsiteY1574" fmla="*/ 1099146 h 1934496"/>
              <a:gd name="connsiteX1575" fmla="*/ 2570894 w 9922465"/>
              <a:gd name="connsiteY1575" fmla="*/ 1099146 h 1934496"/>
              <a:gd name="connsiteX1576" fmla="*/ 2626086 w 9922465"/>
              <a:gd name="connsiteY1576" fmla="*/ 1154337 h 1934496"/>
              <a:gd name="connsiteX1577" fmla="*/ 2570894 w 9922465"/>
              <a:gd name="connsiteY1577" fmla="*/ 1209528 h 1934496"/>
              <a:gd name="connsiteX1578" fmla="*/ 2515701 w 9922465"/>
              <a:gd name="connsiteY1578" fmla="*/ 1154337 h 1934496"/>
              <a:gd name="connsiteX1579" fmla="*/ 2570894 w 9922465"/>
              <a:gd name="connsiteY1579" fmla="*/ 1099146 h 1934496"/>
              <a:gd name="connsiteX1580" fmla="*/ 2039698 w 9922465"/>
              <a:gd name="connsiteY1580" fmla="*/ 1099146 h 1934496"/>
              <a:gd name="connsiteX1581" fmla="*/ 2094891 w 9922465"/>
              <a:gd name="connsiteY1581" fmla="*/ 1154337 h 1934496"/>
              <a:gd name="connsiteX1582" fmla="*/ 2039698 w 9922465"/>
              <a:gd name="connsiteY1582" fmla="*/ 1209528 h 1934496"/>
              <a:gd name="connsiteX1583" fmla="*/ 1984505 w 9922465"/>
              <a:gd name="connsiteY1583" fmla="*/ 1154337 h 1934496"/>
              <a:gd name="connsiteX1584" fmla="*/ 2039698 w 9922465"/>
              <a:gd name="connsiteY1584" fmla="*/ 1099146 h 1934496"/>
              <a:gd name="connsiteX1585" fmla="*/ 1909401 w 9922465"/>
              <a:gd name="connsiteY1585" fmla="*/ 1099146 h 1934496"/>
              <a:gd name="connsiteX1586" fmla="*/ 1964592 w 9922465"/>
              <a:gd name="connsiteY1586" fmla="*/ 1154337 h 1934496"/>
              <a:gd name="connsiteX1587" fmla="*/ 1909401 w 9922465"/>
              <a:gd name="connsiteY1587" fmla="*/ 1209528 h 1934496"/>
              <a:gd name="connsiteX1588" fmla="*/ 1854207 w 9922465"/>
              <a:gd name="connsiteY1588" fmla="*/ 1154337 h 1934496"/>
              <a:gd name="connsiteX1589" fmla="*/ 1909401 w 9922465"/>
              <a:gd name="connsiteY1589" fmla="*/ 1099146 h 1934496"/>
              <a:gd name="connsiteX1590" fmla="*/ 1779104 w 9922465"/>
              <a:gd name="connsiteY1590" fmla="*/ 1099146 h 1934496"/>
              <a:gd name="connsiteX1591" fmla="*/ 1834296 w 9922465"/>
              <a:gd name="connsiteY1591" fmla="*/ 1154337 h 1934496"/>
              <a:gd name="connsiteX1592" fmla="*/ 1779104 w 9922465"/>
              <a:gd name="connsiteY1592" fmla="*/ 1209528 h 1934496"/>
              <a:gd name="connsiteX1593" fmla="*/ 1723910 w 9922465"/>
              <a:gd name="connsiteY1593" fmla="*/ 1154337 h 1934496"/>
              <a:gd name="connsiteX1594" fmla="*/ 1779104 w 9922465"/>
              <a:gd name="connsiteY1594" fmla="*/ 1099146 h 1934496"/>
              <a:gd name="connsiteX1595" fmla="*/ 1645469 w 9922465"/>
              <a:gd name="connsiteY1595" fmla="*/ 1099146 h 1934496"/>
              <a:gd name="connsiteX1596" fmla="*/ 1700664 w 9922465"/>
              <a:gd name="connsiteY1596" fmla="*/ 1154337 h 1934496"/>
              <a:gd name="connsiteX1597" fmla="*/ 1645469 w 9922465"/>
              <a:gd name="connsiteY1597" fmla="*/ 1209528 h 1934496"/>
              <a:gd name="connsiteX1598" fmla="*/ 1590275 w 9922465"/>
              <a:gd name="connsiteY1598" fmla="*/ 1154337 h 1934496"/>
              <a:gd name="connsiteX1599" fmla="*/ 1645469 w 9922465"/>
              <a:gd name="connsiteY1599" fmla="*/ 1099146 h 1934496"/>
              <a:gd name="connsiteX1600" fmla="*/ 1515179 w 9922465"/>
              <a:gd name="connsiteY1600" fmla="*/ 1099146 h 1934496"/>
              <a:gd name="connsiteX1601" fmla="*/ 1570364 w 9922465"/>
              <a:gd name="connsiteY1601" fmla="*/ 1154337 h 1934496"/>
              <a:gd name="connsiteX1602" fmla="*/ 1515179 w 9922465"/>
              <a:gd name="connsiteY1602" fmla="*/ 1209528 h 1934496"/>
              <a:gd name="connsiteX1603" fmla="*/ 1459982 w 9922465"/>
              <a:gd name="connsiteY1603" fmla="*/ 1154337 h 1934496"/>
              <a:gd name="connsiteX1604" fmla="*/ 1515179 w 9922465"/>
              <a:gd name="connsiteY1604" fmla="*/ 1099146 h 1934496"/>
              <a:gd name="connsiteX1605" fmla="*/ 1381539 w 9922465"/>
              <a:gd name="connsiteY1605" fmla="*/ 1099146 h 1934496"/>
              <a:gd name="connsiteX1606" fmla="*/ 1436731 w 9922465"/>
              <a:gd name="connsiteY1606" fmla="*/ 1154337 h 1934496"/>
              <a:gd name="connsiteX1607" fmla="*/ 1381539 w 9922465"/>
              <a:gd name="connsiteY1607" fmla="*/ 1209528 h 1934496"/>
              <a:gd name="connsiteX1608" fmla="*/ 1326349 w 9922465"/>
              <a:gd name="connsiteY1608" fmla="*/ 1154337 h 1934496"/>
              <a:gd name="connsiteX1609" fmla="*/ 1381539 w 9922465"/>
              <a:gd name="connsiteY1609" fmla="*/ 1099146 h 1934496"/>
              <a:gd name="connsiteX1610" fmla="*/ 1251245 w 9922465"/>
              <a:gd name="connsiteY1610" fmla="*/ 1099146 h 1934496"/>
              <a:gd name="connsiteX1611" fmla="*/ 1306439 w 9922465"/>
              <a:gd name="connsiteY1611" fmla="*/ 1154337 h 1934496"/>
              <a:gd name="connsiteX1612" fmla="*/ 1251245 w 9922465"/>
              <a:gd name="connsiteY1612" fmla="*/ 1209528 h 1934496"/>
              <a:gd name="connsiteX1613" fmla="*/ 1196054 w 9922465"/>
              <a:gd name="connsiteY1613" fmla="*/ 1154337 h 1934496"/>
              <a:gd name="connsiteX1614" fmla="*/ 1251245 w 9922465"/>
              <a:gd name="connsiteY1614" fmla="*/ 1099146 h 1934496"/>
              <a:gd name="connsiteX1615" fmla="*/ 1117610 w 9922465"/>
              <a:gd name="connsiteY1615" fmla="*/ 1099146 h 1934496"/>
              <a:gd name="connsiteX1616" fmla="*/ 1172803 w 9922465"/>
              <a:gd name="connsiteY1616" fmla="*/ 1154337 h 1934496"/>
              <a:gd name="connsiteX1617" fmla="*/ 1117610 w 9922465"/>
              <a:gd name="connsiteY1617" fmla="*/ 1209528 h 1934496"/>
              <a:gd name="connsiteX1618" fmla="*/ 1062416 w 9922465"/>
              <a:gd name="connsiteY1618" fmla="*/ 1154337 h 1934496"/>
              <a:gd name="connsiteX1619" fmla="*/ 1117610 w 9922465"/>
              <a:gd name="connsiteY1619" fmla="*/ 1099146 h 1934496"/>
              <a:gd name="connsiteX1620" fmla="*/ 980631 w 9922465"/>
              <a:gd name="connsiteY1620" fmla="*/ 1099146 h 1934496"/>
              <a:gd name="connsiteX1621" fmla="*/ 1035825 w 9922465"/>
              <a:gd name="connsiteY1621" fmla="*/ 1154337 h 1934496"/>
              <a:gd name="connsiteX1622" fmla="*/ 980631 w 9922465"/>
              <a:gd name="connsiteY1622" fmla="*/ 1209528 h 1934496"/>
              <a:gd name="connsiteX1623" fmla="*/ 925438 w 9922465"/>
              <a:gd name="connsiteY1623" fmla="*/ 1154337 h 1934496"/>
              <a:gd name="connsiteX1624" fmla="*/ 980631 w 9922465"/>
              <a:gd name="connsiteY1624" fmla="*/ 1099146 h 1934496"/>
              <a:gd name="connsiteX1625" fmla="*/ 846993 w 9922465"/>
              <a:gd name="connsiteY1625" fmla="*/ 1099146 h 1934496"/>
              <a:gd name="connsiteX1626" fmla="*/ 902186 w 9922465"/>
              <a:gd name="connsiteY1626" fmla="*/ 1154337 h 1934496"/>
              <a:gd name="connsiteX1627" fmla="*/ 846993 w 9922465"/>
              <a:gd name="connsiteY1627" fmla="*/ 1209528 h 1934496"/>
              <a:gd name="connsiteX1628" fmla="*/ 791796 w 9922465"/>
              <a:gd name="connsiteY1628" fmla="*/ 1154337 h 1934496"/>
              <a:gd name="connsiteX1629" fmla="*/ 846993 w 9922465"/>
              <a:gd name="connsiteY1629" fmla="*/ 1099146 h 1934496"/>
              <a:gd name="connsiteX1630" fmla="*/ 716690 w 9922465"/>
              <a:gd name="connsiteY1630" fmla="*/ 1099146 h 1934496"/>
              <a:gd name="connsiteX1631" fmla="*/ 771886 w 9922465"/>
              <a:gd name="connsiteY1631" fmla="*/ 1154337 h 1934496"/>
              <a:gd name="connsiteX1632" fmla="*/ 716690 w 9922465"/>
              <a:gd name="connsiteY1632" fmla="*/ 1209528 h 1934496"/>
              <a:gd name="connsiteX1633" fmla="*/ 661502 w 9922465"/>
              <a:gd name="connsiteY1633" fmla="*/ 1154337 h 1934496"/>
              <a:gd name="connsiteX1634" fmla="*/ 716690 w 9922465"/>
              <a:gd name="connsiteY1634" fmla="*/ 1099146 h 1934496"/>
              <a:gd name="connsiteX1635" fmla="*/ 583057 w 9922465"/>
              <a:gd name="connsiteY1635" fmla="*/ 1099146 h 1934496"/>
              <a:gd name="connsiteX1636" fmla="*/ 638250 w 9922465"/>
              <a:gd name="connsiteY1636" fmla="*/ 1154337 h 1934496"/>
              <a:gd name="connsiteX1637" fmla="*/ 583057 w 9922465"/>
              <a:gd name="connsiteY1637" fmla="*/ 1209528 h 1934496"/>
              <a:gd name="connsiteX1638" fmla="*/ 527863 w 9922465"/>
              <a:gd name="connsiteY1638" fmla="*/ 1154337 h 1934496"/>
              <a:gd name="connsiteX1639" fmla="*/ 583057 w 9922465"/>
              <a:gd name="connsiteY1639" fmla="*/ 1099146 h 1934496"/>
              <a:gd name="connsiteX1640" fmla="*/ 449413 w 9922465"/>
              <a:gd name="connsiteY1640" fmla="*/ 1099146 h 1934496"/>
              <a:gd name="connsiteX1641" fmla="*/ 504606 w 9922465"/>
              <a:gd name="connsiteY1641" fmla="*/ 1154337 h 1934496"/>
              <a:gd name="connsiteX1642" fmla="*/ 449413 w 9922465"/>
              <a:gd name="connsiteY1642" fmla="*/ 1209528 h 1934496"/>
              <a:gd name="connsiteX1643" fmla="*/ 394220 w 9922465"/>
              <a:gd name="connsiteY1643" fmla="*/ 1154337 h 1934496"/>
              <a:gd name="connsiteX1644" fmla="*/ 449413 w 9922465"/>
              <a:gd name="connsiteY1644" fmla="*/ 1099146 h 1934496"/>
              <a:gd name="connsiteX1645" fmla="*/ 9603343 w 9922465"/>
              <a:gd name="connsiteY1645" fmla="*/ 975533 h 1934496"/>
              <a:gd name="connsiteX1646" fmla="*/ 9658535 w 9922465"/>
              <a:gd name="connsiteY1646" fmla="*/ 1030724 h 1934496"/>
              <a:gd name="connsiteX1647" fmla="*/ 9603343 w 9922465"/>
              <a:gd name="connsiteY1647" fmla="*/ 1085915 h 1934496"/>
              <a:gd name="connsiteX1648" fmla="*/ 9548151 w 9922465"/>
              <a:gd name="connsiteY1648" fmla="*/ 1030724 h 1934496"/>
              <a:gd name="connsiteX1649" fmla="*/ 9603343 w 9922465"/>
              <a:gd name="connsiteY1649" fmla="*/ 975533 h 1934496"/>
              <a:gd name="connsiteX1650" fmla="*/ 9469708 w 9922465"/>
              <a:gd name="connsiteY1650" fmla="*/ 975533 h 1934496"/>
              <a:gd name="connsiteX1651" fmla="*/ 9524900 w 9922465"/>
              <a:gd name="connsiteY1651" fmla="*/ 1030724 h 1934496"/>
              <a:gd name="connsiteX1652" fmla="*/ 9469708 w 9922465"/>
              <a:gd name="connsiteY1652" fmla="*/ 1085915 h 1934496"/>
              <a:gd name="connsiteX1653" fmla="*/ 9414516 w 9922465"/>
              <a:gd name="connsiteY1653" fmla="*/ 1030724 h 1934496"/>
              <a:gd name="connsiteX1654" fmla="*/ 9469708 w 9922465"/>
              <a:gd name="connsiteY1654" fmla="*/ 975533 h 1934496"/>
              <a:gd name="connsiteX1655" fmla="*/ 8935170 w 9922465"/>
              <a:gd name="connsiteY1655" fmla="*/ 975533 h 1934496"/>
              <a:gd name="connsiteX1656" fmla="*/ 8990362 w 9922465"/>
              <a:gd name="connsiteY1656" fmla="*/ 1030724 h 1934496"/>
              <a:gd name="connsiteX1657" fmla="*/ 8935170 w 9922465"/>
              <a:gd name="connsiteY1657" fmla="*/ 1085915 h 1934496"/>
              <a:gd name="connsiteX1658" fmla="*/ 8879978 w 9922465"/>
              <a:gd name="connsiteY1658" fmla="*/ 1030724 h 1934496"/>
              <a:gd name="connsiteX1659" fmla="*/ 8935170 w 9922465"/>
              <a:gd name="connsiteY1659" fmla="*/ 975533 h 1934496"/>
              <a:gd name="connsiteX1660" fmla="*/ 8407315 w 9922465"/>
              <a:gd name="connsiteY1660" fmla="*/ 975533 h 1934496"/>
              <a:gd name="connsiteX1661" fmla="*/ 8462507 w 9922465"/>
              <a:gd name="connsiteY1661" fmla="*/ 1030724 h 1934496"/>
              <a:gd name="connsiteX1662" fmla="*/ 8407315 w 9922465"/>
              <a:gd name="connsiteY1662" fmla="*/ 1085915 h 1934496"/>
              <a:gd name="connsiteX1663" fmla="*/ 8352123 w 9922465"/>
              <a:gd name="connsiteY1663" fmla="*/ 1030724 h 1934496"/>
              <a:gd name="connsiteX1664" fmla="*/ 8407315 w 9922465"/>
              <a:gd name="connsiteY1664" fmla="*/ 975533 h 1934496"/>
              <a:gd name="connsiteX1665" fmla="*/ 7876116 w 9922465"/>
              <a:gd name="connsiteY1665" fmla="*/ 975533 h 1934496"/>
              <a:gd name="connsiteX1666" fmla="*/ 7931308 w 9922465"/>
              <a:gd name="connsiteY1666" fmla="*/ 1030724 h 1934496"/>
              <a:gd name="connsiteX1667" fmla="*/ 7876116 w 9922465"/>
              <a:gd name="connsiteY1667" fmla="*/ 1085915 h 1934496"/>
              <a:gd name="connsiteX1668" fmla="*/ 7820924 w 9922465"/>
              <a:gd name="connsiteY1668" fmla="*/ 1030724 h 1934496"/>
              <a:gd name="connsiteX1669" fmla="*/ 7876116 w 9922465"/>
              <a:gd name="connsiteY1669" fmla="*/ 975533 h 1934496"/>
              <a:gd name="connsiteX1670" fmla="*/ 7745822 w 9922465"/>
              <a:gd name="connsiteY1670" fmla="*/ 975533 h 1934496"/>
              <a:gd name="connsiteX1671" fmla="*/ 7801014 w 9922465"/>
              <a:gd name="connsiteY1671" fmla="*/ 1030724 h 1934496"/>
              <a:gd name="connsiteX1672" fmla="*/ 7745822 w 9922465"/>
              <a:gd name="connsiteY1672" fmla="*/ 1085915 h 1934496"/>
              <a:gd name="connsiteX1673" fmla="*/ 7690630 w 9922465"/>
              <a:gd name="connsiteY1673" fmla="*/ 1030724 h 1934496"/>
              <a:gd name="connsiteX1674" fmla="*/ 7745822 w 9922465"/>
              <a:gd name="connsiteY1674" fmla="*/ 975533 h 1934496"/>
              <a:gd name="connsiteX1675" fmla="*/ 7481894 w 9922465"/>
              <a:gd name="connsiteY1675" fmla="*/ 975533 h 1934496"/>
              <a:gd name="connsiteX1676" fmla="*/ 7537086 w 9922465"/>
              <a:gd name="connsiteY1676" fmla="*/ 1030724 h 1934496"/>
              <a:gd name="connsiteX1677" fmla="*/ 7481894 w 9922465"/>
              <a:gd name="connsiteY1677" fmla="*/ 1085915 h 1934496"/>
              <a:gd name="connsiteX1678" fmla="*/ 7426702 w 9922465"/>
              <a:gd name="connsiteY1678" fmla="*/ 1030724 h 1934496"/>
              <a:gd name="connsiteX1679" fmla="*/ 7481894 w 9922465"/>
              <a:gd name="connsiteY1679" fmla="*/ 975533 h 1934496"/>
              <a:gd name="connsiteX1680" fmla="*/ 7341578 w 9922465"/>
              <a:gd name="connsiteY1680" fmla="*/ 975533 h 1934496"/>
              <a:gd name="connsiteX1681" fmla="*/ 7396770 w 9922465"/>
              <a:gd name="connsiteY1681" fmla="*/ 1030724 h 1934496"/>
              <a:gd name="connsiteX1682" fmla="*/ 7341578 w 9922465"/>
              <a:gd name="connsiteY1682" fmla="*/ 1085915 h 1934496"/>
              <a:gd name="connsiteX1683" fmla="*/ 7286386 w 9922465"/>
              <a:gd name="connsiteY1683" fmla="*/ 1030724 h 1934496"/>
              <a:gd name="connsiteX1684" fmla="*/ 7341578 w 9922465"/>
              <a:gd name="connsiteY1684" fmla="*/ 975533 h 1934496"/>
              <a:gd name="connsiteX1685" fmla="*/ 7211285 w 9922465"/>
              <a:gd name="connsiteY1685" fmla="*/ 975533 h 1934496"/>
              <a:gd name="connsiteX1686" fmla="*/ 7266477 w 9922465"/>
              <a:gd name="connsiteY1686" fmla="*/ 1030724 h 1934496"/>
              <a:gd name="connsiteX1687" fmla="*/ 7211285 w 9922465"/>
              <a:gd name="connsiteY1687" fmla="*/ 1085915 h 1934496"/>
              <a:gd name="connsiteX1688" fmla="*/ 7156093 w 9922465"/>
              <a:gd name="connsiteY1688" fmla="*/ 1030724 h 1934496"/>
              <a:gd name="connsiteX1689" fmla="*/ 7211285 w 9922465"/>
              <a:gd name="connsiteY1689" fmla="*/ 975533 h 1934496"/>
              <a:gd name="connsiteX1690" fmla="*/ 6947356 w 9922465"/>
              <a:gd name="connsiteY1690" fmla="*/ 975533 h 1934496"/>
              <a:gd name="connsiteX1691" fmla="*/ 7002548 w 9922465"/>
              <a:gd name="connsiteY1691" fmla="*/ 1030724 h 1934496"/>
              <a:gd name="connsiteX1692" fmla="*/ 6947356 w 9922465"/>
              <a:gd name="connsiteY1692" fmla="*/ 1085915 h 1934496"/>
              <a:gd name="connsiteX1693" fmla="*/ 6892164 w 9922465"/>
              <a:gd name="connsiteY1693" fmla="*/ 1030724 h 1934496"/>
              <a:gd name="connsiteX1694" fmla="*/ 6947356 w 9922465"/>
              <a:gd name="connsiteY1694" fmla="*/ 975533 h 1934496"/>
              <a:gd name="connsiteX1695" fmla="*/ 6817063 w 9922465"/>
              <a:gd name="connsiteY1695" fmla="*/ 975533 h 1934496"/>
              <a:gd name="connsiteX1696" fmla="*/ 6872255 w 9922465"/>
              <a:gd name="connsiteY1696" fmla="*/ 1030724 h 1934496"/>
              <a:gd name="connsiteX1697" fmla="*/ 6817063 w 9922465"/>
              <a:gd name="connsiteY1697" fmla="*/ 1085915 h 1934496"/>
              <a:gd name="connsiteX1698" fmla="*/ 6761871 w 9922465"/>
              <a:gd name="connsiteY1698" fmla="*/ 1030724 h 1934496"/>
              <a:gd name="connsiteX1699" fmla="*/ 6817063 w 9922465"/>
              <a:gd name="connsiteY1699" fmla="*/ 975533 h 1934496"/>
              <a:gd name="connsiteX1700" fmla="*/ 6683430 w 9922465"/>
              <a:gd name="connsiteY1700" fmla="*/ 975533 h 1934496"/>
              <a:gd name="connsiteX1701" fmla="*/ 6738622 w 9922465"/>
              <a:gd name="connsiteY1701" fmla="*/ 1030724 h 1934496"/>
              <a:gd name="connsiteX1702" fmla="*/ 6683430 w 9922465"/>
              <a:gd name="connsiteY1702" fmla="*/ 1085915 h 1934496"/>
              <a:gd name="connsiteX1703" fmla="*/ 6628238 w 9922465"/>
              <a:gd name="connsiteY1703" fmla="*/ 1030724 h 1934496"/>
              <a:gd name="connsiteX1704" fmla="*/ 6683430 w 9922465"/>
              <a:gd name="connsiteY1704" fmla="*/ 975533 h 1934496"/>
              <a:gd name="connsiteX1705" fmla="*/ 6289206 w 9922465"/>
              <a:gd name="connsiteY1705" fmla="*/ 975533 h 1934496"/>
              <a:gd name="connsiteX1706" fmla="*/ 6344398 w 9922465"/>
              <a:gd name="connsiteY1706" fmla="*/ 1030724 h 1934496"/>
              <a:gd name="connsiteX1707" fmla="*/ 6289206 w 9922465"/>
              <a:gd name="connsiteY1707" fmla="*/ 1085915 h 1934496"/>
              <a:gd name="connsiteX1708" fmla="*/ 6234014 w 9922465"/>
              <a:gd name="connsiteY1708" fmla="*/ 1030724 h 1934496"/>
              <a:gd name="connsiteX1709" fmla="*/ 6289206 w 9922465"/>
              <a:gd name="connsiteY1709" fmla="*/ 975533 h 1934496"/>
              <a:gd name="connsiteX1710" fmla="*/ 5754667 w 9922465"/>
              <a:gd name="connsiteY1710" fmla="*/ 975533 h 1934496"/>
              <a:gd name="connsiteX1711" fmla="*/ 5809859 w 9922465"/>
              <a:gd name="connsiteY1711" fmla="*/ 1030724 h 1934496"/>
              <a:gd name="connsiteX1712" fmla="*/ 5754667 w 9922465"/>
              <a:gd name="connsiteY1712" fmla="*/ 1085915 h 1934496"/>
              <a:gd name="connsiteX1713" fmla="*/ 5699475 w 9922465"/>
              <a:gd name="connsiteY1713" fmla="*/ 1030724 h 1934496"/>
              <a:gd name="connsiteX1714" fmla="*/ 5754667 w 9922465"/>
              <a:gd name="connsiteY1714" fmla="*/ 975533 h 1934496"/>
              <a:gd name="connsiteX1715" fmla="*/ 5487398 w 9922465"/>
              <a:gd name="connsiteY1715" fmla="*/ 975533 h 1934496"/>
              <a:gd name="connsiteX1716" fmla="*/ 5542590 w 9922465"/>
              <a:gd name="connsiteY1716" fmla="*/ 1030724 h 1934496"/>
              <a:gd name="connsiteX1717" fmla="*/ 5487398 w 9922465"/>
              <a:gd name="connsiteY1717" fmla="*/ 1085915 h 1934496"/>
              <a:gd name="connsiteX1718" fmla="*/ 5432206 w 9922465"/>
              <a:gd name="connsiteY1718" fmla="*/ 1030724 h 1934496"/>
              <a:gd name="connsiteX1719" fmla="*/ 5487398 w 9922465"/>
              <a:gd name="connsiteY1719" fmla="*/ 975533 h 1934496"/>
              <a:gd name="connsiteX1720" fmla="*/ 5357105 w 9922465"/>
              <a:gd name="connsiteY1720" fmla="*/ 975533 h 1934496"/>
              <a:gd name="connsiteX1721" fmla="*/ 5412297 w 9922465"/>
              <a:gd name="connsiteY1721" fmla="*/ 1030724 h 1934496"/>
              <a:gd name="connsiteX1722" fmla="*/ 5357105 w 9922465"/>
              <a:gd name="connsiteY1722" fmla="*/ 1085915 h 1934496"/>
              <a:gd name="connsiteX1723" fmla="*/ 5301913 w 9922465"/>
              <a:gd name="connsiteY1723" fmla="*/ 1030724 h 1934496"/>
              <a:gd name="connsiteX1724" fmla="*/ 5357105 w 9922465"/>
              <a:gd name="connsiteY1724" fmla="*/ 975533 h 1934496"/>
              <a:gd name="connsiteX1725" fmla="*/ 5093176 w 9922465"/>
              <a:gd name="connsiteY1725" fmla="*/ 975533 h 1934496"/>
              <a:gd name="connsiteX1726" fmla="*/ 5148368 w 9922465"/>
              <a:gd name="connsiteY1726" fmla="*/ 1030724 h 1934496"/>
              <a:gd name="connsiteX1727" fmla="*/ 5093176 w 9922465"/>
              <a:gd name="connsiteY1727" fmla="*/ 1085915 h 1934496"/>
              <a:gd name="connsiteX1728" fmla="*/ 5037984 w 9922465"/>
              <a:gd name="connsiteY1728" fmla="*/ 1030724 h 1934496"/>
              <a:gd name="connsiteX1729" fmla="*/ 5093176 w 9922465"/>
              <a:gd name="connsiteY1729" fmla="*/ 975533 h 1934496"/>
              <a:gd name="connsiteX1730" fmla="*/ 4959540 w 9922465"/>
              <a:gd name="connsiteY1730" fmla="*/ 975533 h 1934496"/>
              <a:gd name="connsiteX1731" fmla="*/ 5014732 w 9922465"/>
              <a:gd name="connsiteY1731" fmla="*/ 1030724 h 1934496"/>
              <a:gd name="connsiteX1732" fmla="*/ 4959540 w 9922465"/>
              <a:gd name="connsiteY1732" fmla="*/ 1085915 h 1934496"/>
              <a:gd name="connsiteX1733" fmla="*/ 4904348 w 9922465"/>
              <a:gd name="connsiteY1733" fmla="*/ 1030724 h 1934496"/>
              <a:gd name="connsiteX1734" fmla="*/ 4959540 w 9922465"/>
              <a:gd name="connsiteY1734" fmla="*/ 975533 h 1934496"/>
              <a:gd name="connsiteX1735" fmla="*/ 4161075 w 9922465"/>
              <a:gd name="connsiteY1735" fmla="*/ 975533 h 1934496"/>
              <a:gd name="connsiteX1736" fmla="*/ 4216267 w 9922465"/>
              <a:gd name="connsiteY1736" fmla="*/ 1030724 h 1934496"/>
              <a:gd name="connsiteX1737" fmla="*/ 4161075 w 9922465"/>
              <a:gd name="connsiteY1737" fmla="*/ 1085915 h 1934496"/>
              <a:gd name="connsiteX1738" fmla="*/ 4105883 w 9922465"/>
              <a:gd name="connsiteY1738" fmla="*/ 1030724 h 1934496"/>
              <a:gd name="connsiteX1739" fmla="*/ 4161075 w 9922465"/>
              <a:gd name="connsiteY1739" fmla="*/ 975533 h 1934496"/>
              <a:gd name="connsiteX1740" fmla="*/ 4030782 w 9922465"/>
              <a:gd name="connsiteY1740" fmla="*/ 975533 h 1934496"/>
              <a:gd name="connsiteX1741" fmla="*/ 4085974 w 9922465"/>
              <a:gd name="connsiteY1741" fmla="*/ 1030724 h 1934496"/>
              <a:gd name="connsiteX1742" fmla="*/ 4030782 w 9922465"/>
              <a:gd name="connsiteY1742" fmla="*/ 1085915 h 1934496"/>
              <a:gd name="connsiteX1743" fmla="*/ 3975590 w 9922465"/>
              <a:gd name="connsiteY1743" fmla="*/ 1030724 h 1934496"/>
              <a:gd name="connsiteX1744" fmla="*/ 4030782 w 9922465"/>
              <a:gd name="connsiteY1744" fmla="*/ 975533 h 1934496"/>
              <a:gd name="connsiteX1745" fmla="*/ 3369290 w 9922465"/>
              <a:gd name="connsiteY1745" fmla="*/ 975533 h 1934496"/>
              <a:gd name="connsiteX1746" fmla="*/ 3424482 w 9922465"/>
              <a:gd name="connsiteY1746" fmla="*/ 1030724 h 1934496"/>
              <a:gd name="connsiteX1747" fmla="*/ 3369290 w 9922465"/>
              <a:gd name="connsiteY1747" fmla="*/ 1085915 h 1934496"/>
              <a:gd name="connsiteX1748" fmla="*/ 3314098 w 9922465"/>
              <a:gd name="connsiteY1748" fmla="*/ 1030724 h 1934496"/>
              <a:gd name="connsiteX1749" fmla="*/ 3369290 w 9922465"/>
              <a:gd name="connsiteY1749" fmla="*/ 975533 h 1934496"/>
              <a:gd name="connsiteX1750" fmla="*/ 2707880 w 9922465"/>
              <a:gd name="connsiteY1750" fmla="*/ 975533 h 1934496"/>
              <a:gd name="connsiteX1751" fmla="*/ 2763074 w 9922465"/>
              <a:gd name="connsiteY1751" fmla="*/ 1030724 h 1934496"/>
              <a:gd name="connsiteX1752" fmla="*/ 2707880 w 9922465"/>
              <a:gd name="connsiteY1752" fmla="*/ 1085915 h 1934496"/>
              <a:gd name="connsiteX1753" fmla="*/ 2652689 w 9922465"/>
              <a:gd name="connsiteY1753" fmla="*/ 1030724 h 1934496"/>
              <a:gd name="connsiteX1754" fmla="*/ 2707880 w 9922465"/>
              <a:gd name="connsiteY1754" fmla="*/ 975533 h 1934496"/>
              <a:gd name="connsiteX1755" fmla="*/ 2173347 w 9922465"/>
              <a:gd name="connsiteY1755" fmla="*/ 975533 h 1934496"/>
              <a:gd name="connsiteX1756" fmla="*/ 2228540 w 9922465"/>
              <a:gd name="connsiteY1756" fmla="*/ 1030724 h 1934496"/>
              <a:gd name="connsiteX1757" fmla="*/ 2173347 w 9922465"/>
              <a:gd name="connsiteY1757" fmla="*/ 1085915 h 1934496"/>
              <a:gd name="connsiteX1758" fmla="*/ 2118154 w 9922465"/>
              <a:gd name="connsiteY1758" fmla="*/ 1030724 h 1934496"/>
              <a:gd name="connsiteX1759" fmla="*/ 2173347 w 9922465"/>
              <a:gd name="connsiteY1759" fmla="*/ 975533 h 1934496"/>
              <a:gd name="connsiteX1760" fmla="*/ 1251258 w 9922465"/>
              <a:gd name="connsiteY1760" fmla="*/ 975533 h 1934496"/>
              <a:gd name="connsiteX1761" fmla="*/ 1306450 w 9922465"/>
              <a:gd name="connsiteY1761" fmla="*/ 1030724 h 1934496"/>
              <a:gd name="connsiteX1762" fmla="*/ 1251258 w 9922465"/>
              <a:gd name="connsiteY1762" fmla="*/ 1085915 h 1934496"/>
              <a:gd name="connsiteX1763" fmla="*/ 1196066 w 9922465"/>
              <a:gd name="connsiteY1763" fmla="*/ 1030724 h 1934496"/>
              <a:gd name="connsiteX1764" fmla="*/ 1251258 w 9922465"/>
              <a:gd name="connsiteY1764" fmla="*/ 975533 h 1934496"/>
              <a:gd name="connsiteX1765" fmla="*/ 847001 w 9922465"/>
              <a:gd name="connsiteY1765" fmla="*/ 975533 h 1934496"/>
              <a:gd name="connsiteX1766" fmla="*/ 902196 w 9922465"/>
              <a:gd name="connsiteY1766" fmla="*/ 1030724 h 1934496"/>
              <a:gd name="connsiteX1767" fmla="*/ 847001 w 9922465"/>
              <a:gd name="connsiteY1767" fmla="*/ 1085915 h 1934496"/>
              <a:gd name="connsiteX1768" fmla="*/ 791804 w 9922465"/>
              <a:gd name="connsiteY1768" fmla="*/ 1030724 h 1934496"/>
              <a:gd name="connsiteX1769" fmla="*/ 847001 w 9922465"/>
              <a:gd name="connsiteY1769" fmla="*/ 975533 h 1934496"/>
              <a:gd name="connsiteX1770" fmla="*/ 9336074 w 9922465"/>
              <a:gd name="connsiteY1770" fmla="*/ 975532 h 1934496"/>
              <a:gd name="connsiteX1771" fmla="*/ 9391266 w 9922465"/>
              <a:gd name="connsiteY1771" fmla="*/ 1030723 h 1934496"/>
              <a:gd name="connsiteX1772" fmla="*/ 9336074 w 9922465"/>
              <a:gd name="connsiteY1772" fmla="*/ 1085914 h 1934496"/>
              <a:gd name="connsiteX1773" fmla="*/ 9280882 w 9922465"/>
              <a:gd name="connsiteY1773" fmla="*/ 1030723 h 1934496"/>
              <a:gd name="connsiteX1774" fmla="*/ 9336074 w 9922465"/>
              <a:gd name="connsiteY1774" fmla="*/ 975532 h 1934496"/>
              <a:gd name="connsiteX1775" fmla="*/ 9199098 w 9922465"/>
              <a:gd name="connsiteY1775" fmla="*/ 975532 h 1934496"/>
              <a:gd name="connsiteX1776" fmla="*/ 9254290 w 9922465"/>
              <a:gd name="connsiteY1776" fmla="*/ 1030723 h 1934496"/>
              <a:gd name="connsiteX1777" fmla="*/ 9199098 w 9922465"/>
              <a:gd name="connsiteY1777" fmla="*/ 1085914 h 1934496"/>
              <a:gd name="connsiteX1778" fmla="*/ 9143906 w 9922465"/>
              <a:gd name="connsiteY1778" fmla="*/ 1030723 h 1934496"/>
              <a:gd name="connsiteX1779" fmla="*/ 9199098 w 9922465"/>
              <a:gd name="connsiteY1779" fmla="*/ 975532 h 1934496"/>
              <a:gd name="connsiteX1780" fmla="*/ 9068805 w 9922465"/>
              <a:gd name="connsiteY1780" fmla="*/ 975532 h 1934496"/>
              <a:gd name="connsiteX1781" fmla="*/ 9123997 w 9922465"/>
              <a:gd name="connsiteY1781" fmla="*/ 1030723 h 1934496"/>
              <a:gd name="connsiteX1782" fmla="*/ 9068805 w 9922465"/>
              <a:gd name="connsiteY1782" fmla="*/ 1085914 h 1934496"/>
              <a:gd name="connsiteX1783" fmla="*/ 9013613 w 9922465"/>
              <a:gd name="connsiteY1783" fmla="*/ 1030723 h 1934496"/>
              <a:gd name="connsiteX1784" fmla="*/ 9068805 w 9922465"/>
              <a:gd name="connsiteY1784" fmla="*/ 975532 h 1934496"/>
              <a:gd name="connsiteX1785" fmla="*/ 8801536 w 9922465"/>
              <a:gd name="connsiteY1785" fmla="*/ 975532 h 1934496"/>
              <a:gd name="connsiteX1786" fmla="*/ 8856728 w 9922465"/>
              <a:gd name="connsiteY1786" fmla="*/ 1030723 h 1934496"/>
              <a:gd name="connsiteX1787" fmla="*/ 8801536 w 9922465"/>
              <a:gd name="connsiteY1787" fmla="*/ 1085914 h 1934496"/>
              <a:gd name="connsiteX1788" fmla="*/ 8746344 w 9922465"/>
              <a:gd name="connsiteY1788" fmla="*/ 1030723 h 1934496"/>
              <a:gd name="connsiteX1789" fmla="*/ 8801536 w 9922465"/>
              <a:gd name="connsiteY1789" fmla="*/ 975532 h 1934496"/>
              <a:gd name="connsiteX1790" fmla="*/ 8671243 w 9922465"/>
              <a:gd name="connsiteY1790" fmla="*/ 975532 h 1934496"/>
              <a:gd name="connsiteX1791" fmla="*/ 8726435 w 9922465"/>
              <a:gd name="connsiteY1791" fmla="*/ 1030723 h 1934496"/>
              <a:gd name="connsiteX1792" fmla="*/ 8671243 w 9922465"/>
              <a:gd name="connsiteY1792" fmla="*/ 1085914 h 1934496"/>
              <a:gd name="connsiteX1793" fmla="*/ 8616051 w 9922465"/>
              <a:gd name="connsiteY1793" fmla="*/ 1030723 h 1934496"/>
              <a:gd name="connsiteX1794" fmla="*/ 8671243 w 9922465"/>
              <a:gd name="connsiteY1794" fmla="*/ 975532 h 1934496"/>
              <a:gd name="connsiteX1795" fmla="*/ 8537608 w 9922465"/>
              <a:gd name="connsiteY1795" fmla="*/ 975532 h 1934496"/>
              <a:gd name="connsiteX1796" fmla="*/ 8592800 w 9922465"/>
              <a:gd name="connsiteY1796" fmla="*/ 1030723 h 1934496"/>
              <a:gd name="connsiteX1797" fmla="*/ 8537608 w 9922465"/>
              <a:gd name="connsiteY1797" fmla="*/ 1085914 h 1934496"/>
              <a:gd name="connsiteX1798" fmla="*/ 8482416 w 9922465"/>
              <a:gd name="connsiteY1798" fmla="*/ 1030723 h 1934496"/>
              <a:gd name="connsiteX1799" fmla="*/ 8537608 w 9922465"/>
              <a:gd name="connsiteY1799" fmla="*/ 975532 h 1934496"/>
              <a:gd name="connsiteX1800" fmla="*/ 8273681 w 9922465"/>
              <a:gd name="connsiteY1800" fmla="*/ 975532 h 1934496"/>
              <a:gd name="connsiteX1801" fmla="*/ 8328873 w 9922465"/>
              <a:gd name="connsiteY1801" fmla="*/ 1030723 h 1934496"/>
              <a:gd name="connsiteX1802" fmla="*/ 8273681 w 9922465"/>
              <a:gd name="connsiteY1802" fmla="*/ 1085914 h 1934496"/>
              <a:gd name="connsiteX1803" fmla="*/ 8218489 w 9922465"/>
              <a:gd name="connsiteY1803" fmla="*/ 1030723 h 1934496"/>
              <a:gd name="connsiteX1804" fmla="*/ 8273681 w 9922465"/>
              <a:gd name="connsiteY1804" fmla="*/ 975532 h 1934496"/>
              <a:gd name="connsiteX1805" fmla="*/ 8143385 w 9922465"/>
              <a:gd name="connsiteY1805" fmla="*/ 975532 h 1934496"/>
              <a:gd name="connsiteX1806" fmla="*/ 8198577 w 9922465"/>
              <a:gd name="connsiteY1806" fmla="*/ 1030723 h 1934496"/>
              <a:gd name="connsiteX1807" fmla="*/ 8143385 w 9922465"/>
              <a:gd name="connsiteY1807" fmla="*/ 1085914 h 1934496"/>
              <a:gd name="connsiteX1808" fmla="*/ 8088193 w 9922465"/>
              <a:gd name="connsiteY1808" fmla="*/ 1030723 h 1934496"/>
              <a:gd name="connsiteX1809" fmla="*/ 8143385 w 9922465"/>
              <a:gd name="connsiteY1809" fmla="*/ 975532 h 1934496"/>
              <a:gd name="connsiteX1810" fmla="*/ 8009751 w 9922465"/>
              <a:gd name="connsiteY1810" fmla="*/ 975532 h 1934496"/>
              <a:gd name="connsiteX1811" fmla="*/ 8064943 w 9922465"/>
              <a:gd name="connsiteY1811" fmla="*/ 1030723 h 1934496"/>
              <a:gd name="connsiteX1812" fmla="*/ 8009751 w 9922465"/>
              <a:gd name="connsiteY1812" fmla="*/ 1085914 h 1934496"/>
              <a:gd name="connsiteX1813" fmla="*/ 7954559 w 9922465"/>
              <a:gd name="connsiteY1813" fmla="*/ 1030723 h 1934496"/>
              <a:gd name="connsiteX1814" fmla="*/ 8009751 w 9922465"/>
              <a:gd name="connsiteY1814" fmla="*/ 975532 h 1934496"/>
              <a:gd name="connsiteX1815" fmla="*/ 7608847 w 9922465"/>
              <a:gd name="connsiteY1815" fmla="*/ 975532 h 1934496"/>
              <a:gd name="connsiteX1816" fmla="*/ 7664039 w 9922465"/>
              <a:gd name="connsiteY1816" fmla="*/ 1030723 h 1934496"/>
              <a:gd name="connsiteX1817" fmla="*/ 7608847 w 9922465"/>
              <a:gd name="connsiteY1817" fmla="*/ 1085914 h 1934496"/>
              <a:gd name="connsiteX1818" fmla="*/ 7553655 w 9922465"/>
              <a:gd name="connsiteY1818" fmla="*/ 1030723 h 1934496"/>
              <a:gd name="connsiteX1819" fmla="*/ 7608847 w 9922465"/>
              <a:gd name="connsiteY1819" fmla="*/ 975532 h 1934496"/>
              <a:gd name="connsiteX1820" fmla="*/ 7080991 w 9922465"/>
              <a:gd name="connsiteY1820" fmla="*/ 975532 h 1934496"/>
              <a:gd name="connsiteX1821" fmla="*/ 7136183 w 9922465"/>
              <a:gd name="connsiteY1821" fmla="*/ 1030723 h 1934496"/>
              <a:gd name="connsiteX1822" fmla="*/ 7080991 w 9922465"/>
              <a:gd name="connsiteY1822" fmla="*/ 1085914 h 1934496"/>
              <a:gd name="connsiteX1823" fmla="*/ 7025799 w 9922465"/>
              <a:gd name="connsiteY1823" fmla="*/ 1030723 h 1934496"/>
              <a:gd name="connsiteX1824" fmla="*/ 7080991 w 9922465"/>
              <a:gd name="connsiteY1824" fmla="*/ 975532 h 1934496"/>
              <a:gd name="connsiteX1825" fmla="*/ 6553135 w 9922465"/>
              <a:gd name="connsiteY1825" fmla="*/ 975532 h 1934496"/>
              <a:gd name="connsiteX1826" fmla="*/ 6608327 w 9922465"/>
              <a:gd name="connsiteY1826" fmla="*/ 1030723 h 1934496"/>
              <a:gd name="connsiteX1827" fmla="*/ 6553135 w 9922465"/>
              <a:gd name="connsiteY1827" fmla="*/ 1085914 h 1934496"/>
              <a:gd name="connsiteX1828" fmla="*/ 6497943 w 9922465"/>
              <a:gd name="connsiteY1828" fmla="*/ 1030723 h 1934496"/>
              <a:gd name="connsiteX1829" fmla="*/ 6553135 w 9922465"/>
              <a:gd name="connsiteY1829" fmla="*/ 975532 h 1934496"/>
              <a:gd name="connsiteX1830" fmla="*/ 6419501 w 9922465"/>
              <a:gd name="connsiteY1830" fmla="*/ 975532 h 1934496"/>
              <a:gd name="connsiteX1831" fmla="*/ 6474693 w 9922465"/>
              <a:gd name="connsiteY1831" fmla="*/ 1030723 h 1934496"/>
              <a:gd name="connsiteX1832" fmla="*/ 6419501 w 9922465"/>
              <a:gd name="connsiteY1832" fmla="*/ 1085914 h 1934496"/>
              <a:gd name="connsiteX1833" fmla="*/ 6364309 w 9922465"/>
              <a:gd name="connsiteY1833" fmla="*/ 1030723 h 1934496"/>
              <a:gd name="connsiteX1834" fmla="*/ 6419501 w 9922465"/>
              <a:gd name="connsiteY1834" fmla="*/ 975532 h 1934496"/>
              <a:gd name="connsiteX1835" fmla="*/ 6155571 w 9922465"/>
              <a:gd name="connsiteY1835" fmla="*/ 975532 h 1934496"/>
              <a:gd name="connsiteX1836" fmla="*/ 6210763 w 9922465"/>
              <a:gd name="connsiteY1836" fmla="*/ 1030723 h 1934496"/>
              <a:gd name="connsiteX1837" fmla="*/ 6155571 w 9922465"/>
              <a:gd name="connsiteY1837" fmla="*/ 1085914 h 1934496"/>
              <a:gd name="connsiteX1838" fmla="*/ 6100379 w 9922465"/>
              <a:gd name="connsiteY1838" fmla="*/ 1030723 h 1934496"/>
              <a:gd name="connsiteX1839" fmla="*/ 6155571 w 9922465"/>
              <a:gd name="connsiteY1839" fmla="*/ 975532 h 1934496"/>
              <a:gd name="connsiteX1840" fmla="*/ 6021936 w 9922465"/>
              <a:gd name="connsiteY1840" fmla="*/ 975532 h 1934496"/>
              <a:gd name="connsiteX1841" fmla="*/ 6077128 w 9922465"/>
              <a:gd name="connsiteY1841" fmla="*/ 1030723 h 1934496"/>
              <a:gd name="connsiteX1842" fmla="*/ 6021936 w 9922465"/>
              <a:gd name="connsiteY1842" fmla="*/ 1085914 h 1934496"/>
              <a:gd name="connsiteX1843" fmla="*/ 5966744 w 9922465"/>
              <a:gd name="connsiteY1843" fmla="*/ 1030723 h 1934496"/>
              <a:gd name="connsiteX1844" fmla="*/ 6021936 w 9922465"/>
              <a:gd name="connsiteY1844" fmla="*/ 975532 h 1934496"/>
              <a:gd name="connsiteX1845" fmla="*/ 5884963 w 9922465"/>
              <a:gd name="connsiteY1845" fmla="*/ 975532 h 1934496"/>
              <a:gd name="connsiteX1846" fmla="*/ 5940155 w 9922465"/>
              <a:gd name="connsiteY1846" fmla="*/ 1030723 h 1934496"/>
              <a:gd name="connsiteX1847" fmla="*/ 5884963 w 9922465"/>
              <a:gd name="connsiteY1847" fmla="*/ 1085914 h 1934496"/>
              <a:gd name="connsiteX1848" fmla="*/ 5829771 w 9922465"/>
              <a:gd name="connsiteY1848" fmla="*/ 1030723 h 1934496"/>
              <a:gd name="connsiteX1849" fmla="*/ 5884963 w 9922465"/>
              <a:gd name="connsiteY1849" fmla="*/ 975532 h 1934496"/>
              <a:gd name="connsiteX1850" fmla="*/ 5621031 w 9922465"/>
              <a:gd name="connsiteY1850" fmla="*/ 975532 h 1934496"/>
              <a:gd name="connsiteX1851" fmla="*/ 5676223 w 9922465"/>
              <a:gd name="connsiteY1851" fmla="*/ 1030723 h 1934496"/>
              <a:gd name="connsiteX1852" fmla="*/ 5621031 w 9922465"/>
              <a:gd name="connsiteY1852" fmla="*/ 1085914 h 1934496"/>
              <a:gd name="connsiteX1853" fmla="*/ 5565839 w 9922465"/>
              <a:gd name="connsiteY1853" fmla="*/ 1030723 h 1934496"/>
              <a:gd name="connsiteX1854" fmla="*/ 5621031 w 9922465"/>
              <a:gd name="connsiteY1854" fmla="*/ 975532 h 1934496"/>
              <a:gd name="connsiteX1855" fmla="*/ 5223472 w 9922465"/>
              <a:gd name="connsiteY1855" fmla="*/ 975532 h 1934496"/>
              <a:gd name="connsiteX1856" fmla="*/ 5278664 w 9922465"/>
              <a:gd name="connsiteY1856" fmla="*/ 1030723 h 1934496"/>
              <a:gd name="connsiteX1857" fmla="*/ 5223472 w 9922465"/>
              <a:gd name="connsiteY1857" fmla="*/ 1085914 h 1934496"/>
              <a:gd name="connsiteX1858" fmla="*/ 5168280 w 9922465"/>
              <a:gd name="connsiteY1858" fmla="*/ 1030723 h 1934496"/>
              <a:gd name="connsiteX1859" fmla="*/ 5223472 w 9922465"/>
              <a:gd name="connsiteY1859" fmla="*/ 975532 h 1934496"/>
              <a:gd name="connsiteX1860" fmla="*/ 4294710 w 9922465"/>
              <a:gd name="connsiteY1860" fmla="*/ 975532 h 1934496"/>
              <a:gd name="connsiteX1861" fmla="*/ 4349902 w 9922465"/>
              <a:gd name="connsiteY1861" fmla="*/ 1030723 h 1934496"/>
              <a:gd name="connsiteX1862" fmla="*/ 4294710 w 9922465"/>
              <a:gd name="connsiteY1862" fmla="*/ 1085914 h 1934496"/>
              <a:gd name="connsiteX1863" fmla="*/ 4239518 w 9922465"/>
              <a:gd name="connsiteY1863" fmla="*/ 1030723 h 1934496"/>
              <a:gd name="connsiteX1864" fmla="*/ 4294710 w 9922465"/>
              <a:gd name="connsiteY1864" fmla="*/ 975532 h 1934496"/>
              <a:gd name="connsiteX1865" fmla="*/ 3499584 w 9922465"/>
              <a:gd name="connsiteY1865" fmla="*/ 975532 h 1934496"/>
              <a:gd name="connsiteX1866" fmla="*/ 3554776 w 9922465"/>
              <a:gd name="connsiteY1866" fmla="*/ 1030723 h 1934496"/>
              <a:gd name="connsiteX1867" fmla="*/ 3499584 w 9922465"/>
              <a:gd name="connsiteY1867" fmla="*/ 1085914 h 1934496"/>
              <a:gd name="connsiteX1868" fmla="*/ 3444392 w 9922465"/>
              <a:gd name="connsiteY1868" fmla="*/ 1030723 h 1934496"/>
              <a:gd name="connsiteX1869" fmla="*/ 3499584 w 9922465"/>
              <a:gd name="connsiteY1869" fmla="*/ 975532 h 1934496"/>
              <a:gd name="connsiteX1870" fmla="*/ 2834836 w 9922465"/>
              <a:gd name="connsiteY1870" fmla="*/ 975532 h 1934496"/>
              <a:gd name="connsiteX1871" fmla="*/ 2890028 w 9922465"/>
              <a:gd name="connsiteY1871" fmla="*/ 1030723 h 1934496"/>
              <a:gd name="connsiteX1872" fmla="*/ 2834836 w 9922465"/>
              <a:gd name="connsiteY1872" fmla="*/ 1085914 h 1934496"/>
              <a:gd name="connsiteX1873" fmla="*/ 2779643 w 9922465"/>
              <a:gd name="connsiteY1873" fmla="*/ 1030723 h 1934496"/>
              <a:gd name="connsiteX1874" fmla="*/ 2834836 w 9922465"/>
              <a:gd name="connsiteY1874" fmla="*/ 975532 h 1934496"/>
              <a:gd name="connsiteX1875" fmla="*/ 2303639 w 9922465"/>
              <a:gd name="connsiteY1875" fmla="*/ 975532 h 1934496"/>
              <a:gd name="connsiteX1876" fmla="*/ 2358830 w 9922465"/>
              <a:gd name="connsiteY1876" fmla="*/ 1030723 h 1934496"/>
              <a:gd name="connsiteX1877" fmla="*/ 2303639 w 9922465"/>
              <a:gd name="connsiteY1877" fmla="*/ 1085914 h 1934496"/>
              <a:gd name="connsiteX1878" fmla="*/ 2248448 w 9922465"/>
              <a:gd name="connsiteY1878" fmla="*/ 1030723 h 1934496"/>
              <a:gd name="connsiteX1879" fmla="*/ 2303639 w 9922465"/>
              <a:gd name="connsiteY1879" fmla="*/ 975532 h 1934496"/>
              <a:gd name="connsiteX1880" fmla="*/ 2039712 w 9922465"/>
              <a:gd name="connsiteY1880" fmla="*/ 975532 h 1934496"/>
              <a:gd name="connsiteX1881" fmla="*/ 2094905 w 9922465"/>
              <a:gd name="connsiteY1881" fmla="*/ 1030723 h 1934496"/>
              <a:gd name="connsiteX1882" fmla="*/ 2039712 w 9922465"/>
              <a:gd name="connsiteY1882" fmla="*/ 1085914 h 1934496"/>
              <a:gd name="connsiteX1883" fmla="*/ 1984518 w 9922465"/>
              <a:gd name="connsiteY1883" fmla="*/ 1030723 h 1934496"/>
              <a:gd name="connsiteX1884" fmla="*/ 2039712 w 9922465"/>
              <a:gd name="connsiteY1884" fmla="*/ 975532 h 1934496"/>
              <a:gd name="connsiteX1885" fmla="*/ 1909414 w 9922465"/>
              <a:gd name="connsiteY1885" fmla="*/ 975532 h 1934496"/>
              <a:gd name="connsiteX1886" fmla="*/ 1964607 w 9922465"/>
              <a:gd name="connsiteY1886" fmla="*/ 1030723 h 1934496"/>
              <a:gd name="connsiteX1887" fmla="*/ 1909414 w 9922465"/>
              <a:gd name="connsiteY1887" fmla="*/ 1085914 h 1934496"/>
              <a:gd name="connsiteX1888" fmla="*/ 1854220 w 9922465"/>
              <a:gd name="connsiteY1888" fmla="*/ 1030723 h 1934496"/>
              <a:gd name="connsiteX1889" fmla="*/ 1909414 w 9922465"/>
              <a:gd name="connsiteY1889" fmla="*/ 975532 h 1934496"/>
              <a:gd name="connsiteX1890" fmla="*/ 1779117 w 9922465"/>
              <a:gd name="connsiteY1890" fmla="*/ 975532 h 1934496"/>
              <a:gd name="connsiteX1891" fmla="*/ 1834310 w 9922465"/>
              <a:gd name="connsiteY1891" fmla="*/ 1030723 h 1934496"/>
              <a:gd name="connsiteX1892" fmla="*/ 1779117 w 9922465"/>
              <a:gd name="connsiteY1892" fmla="*/ 1085914 h 1934496"/>
              <a:gd name="connsiteX1893" fmla="*/ 1723923 w 9922465"/>
              <a:gd name="connsiteY1893" fmla="*/ 1030723 h 1934496"/>
              <a:gd name="connsiteX1894" fmla="*/ 1779117 w 9922465"/>
              <a:gd name="connsiteY1894" fmla="*/ 975532 h 1934496"/>
              <a:gd name="connsiteX1895" fmla="*/ 1645480 w 9922465"/>
              <a:gd name="connsiteY1895" fmla="*/ 975532 h 1934496"/>
              <a:gd name="connsiteX1896" fmla="*/ 1700679 w 9922465"/>
              <a:gd name="connsiteY1896" fmla="*/ 1030723 h 1934496"/>
              <a:gd name="connsiteX1897" fmla="*/ 1645480 w 9922465"/>
              <a:gd name="connsiteY1897" fmla="*/ 1085914 h 1934496"/>
              <a:gd name="connsiteX1898" fmla="*/ 1590287 w 9922465"/>
              <a:gd name="connsiteY1898" fmla="*/ 1030723 h 1934496"/>
              <a:gd name="connsiteX1899" fmla="*/ 1645480 w 9922465"/>
              <a:gd name="connsiteY1899" fmla="*/ 975532 h 1934496"/>
              <a:gd name="connsiteX1900" fmla="*/ 1515189 w 9922465"/>
              <a:gd name="connsiteY1900" fmla="*/ 975532 h 1934496"/>
              <a:gd name="connsiteX1901" fmla="*/ 1570378 w 9922465"/>
              <a:gd name="connsiteY1901" fmla="*/ 1030723 h 1934496"/>
              <a:gd name="connsiteX1902" fmla="*/ 1515189 w 9922465"/>
              <a:gd name="connsiteY1902" fmla="*/ 1085914 h 1934496"/>
              <a:gd name="connsiteX1903" fmla="*/ 1459995 w 9922465"/>
              <a:gd name="connsiteY1903" fmla="*/ 1030723 h 1934496"/>
              <a:gd name="connsiteX1904" fmla="*/ 1515189 w 9922465"/>
              <a:gd name="connsiteY1904" fmla="*/ 975532 h 1934496"/>
              <a:gd name="connsiteX1905" fmla="*/ 1381549 w 9922465"/>
              <a:gd name="connsiteY1905" fmla="*/ 975532 h 1934496"/>
              <a:gd name="connsiteX1906" fmla="*/ 1436744 w 9922465"/>
              <a:gd name="connsiteY1906" fmla="*/ 1030723 h 1934496"/>
              <a:gd name="connsiteX1907" fmla="*/ 1381549 w 9922465"/>
              <a:gd name="connsiteY1907" fmla="*/ 1085914 h 1934496"/>
              <a:gd name="connsiteX1908" fmla="*/ 1326361 w 9922465"/>
              <a:gd name="connsiteY1908" fmla="*/ 1030723 h 1934496"/>
              <a:gd name="connsiteX1909" fmla="*/ 1381549 w 9922465"/>
              <a:gd name="connsiteY1909" fmla="*/ 975532 h 1934496"/>
              <a:gd name="connsiteX1910" fmla="*/ 1117621 w 9922465"/>
              <a:gd name="connsiteY1910" fmla="*/ 975532 h 1934496"/>
              <a:gd name="connsiteX1911" fmla="*/ 1172814 w 9922465"/>
              <a:gd name="connsiteY1911" fmla="*/ 1030723 h 1934496"/>
              <a:gd name="connsiteX1912" fmla="*/ 1117621 w 9922465"/>
              <a:gd name="connsiteY1912" fmla="*/ 1085914 h 1934496"/>
              <a:gd name="connsiteX1913" fmla="*/ 1062427 w 9922465"/>
              <a:gd name="connsiteY1913" fmla="*/ 1030723 h 1934496"/>
              <a:gd name="connsiteX1914" fmla="*/ 1117621 w 9922465"/>
              <a:gd name="connsiteY1914" fmla="*/ 975532 h 1934496"/>
              <a:gd name="connsiteX1915" fmla="*/ 980643 w 9922465"/>
              <a:gd name="connsiteY1915" fmla="*/ 975532 h 1934496"/>
              <a:gd name="connsiteX1916" fmla="*/ 1035836 w 9922465"/>
              <a:gd name="connsiteY1916" fmla="*/ 1030723 h 1934496"/>
              <a:gd name="connsiteX1917" fmla="*/ 980643 w 9922465"/>
              <a:gd name="connsiteY1917" fmla="*/ 1085914 h 1934496"/>
              <a:gd name="connsiteX1918" fmla="*/ 925449 w 9922465"/>
              <a:gd name="connsiteY1918" fmla="*/ 1030723 h 1934496"/>
              <a:gd name="connsiteX1919" fmla="*/ 980643 w 9922465"/>
              <a:gd name="connsiteY1919" fmla="*/ 975532 h 1934496"/>
              <a:gd name="connsiteX1920" fmla="*/ 716703 w 9922465"/>
              <a:gd name="connsiteY1920" fmla="*/ 975532 h 1934496"/>
              <a:gd name="connsiteX1921" fmla="*/ 771897 w 9922465"/>
              <a:gd name="connsiteY1921" fmla="*/ 1030723 h 1934496"/>
              <a:gd name="connsiteX1922" fmla="*/ 716703 w 9922465"/>
              <a:gd name="connsiteY1922" fmla="*/ 1085914 h 1934496"/>
              <a:gd name="connsiteX1923" fmla="*/ 661511 w 9922465"/>
              <a:gd name="connsiteY1923" fmla="*/ 1030723 h 1934496"/>
              <a:gd name="connsiteX1924" fmla="*/ 716703 w 9922465"/>
              <a:gd name="connsiteY1924" fmla="*/ 975532 h 1934496"/>
              <a:gd name="connsiteX1925" fmla="*/ 583065 w 9922465"/>
              <a:gd name="connsiteY1925" fmla="*/ 975532 h 1934496"/>
              <a:gd name="connsiteX1926" fmla="*/ 638258 w 9922465"/>
              <a:gd name="connsiteY1926" fmla="*/ 1030723 h 1934496"/>
              <a:gd name="connsiteX1927" fmla="*/ 583065 w 9922465"/>
              <a:gd name="connsiteY1927" fmla="*/ 1085914 h 1934496"/>
              <a:gd name="connsiteX1928" fmla="*/ 527871 w 9922465"/>
              <a:gd name="connsiteY1928" fmla="*/ 1030723 h 1934496"/>
              <a:gd name="connsiteX1929" fmla="*/ 583065 w 9922465"/>
              <a:gd name="connsiteY1929" fmla="*/ 975532 h 1934496"/>
              <a:gd name="connsiteX1930" fmla="*/ 449419 w 9922465"/>
              <a:gd name="connsiteY1930" fmla="*/ 975532 h 1934496"/>
              <a:gd name="connsiteX1931" fmla="*/ 504612 w 9922465"/>
              <a:gd name="connsiteY1931" fmla="*/ 1030723 h 1934496"/>
              <a:gd name="connsiteX1932" fmla="*/ 449419 w 9922465"/>
              <a:gd name="connsiteY1932" fmla="*/ 1085914 h 1934496"/>
              <a:gd name="connsiteX1933" fmla="*/ 394227 w 9922465"/>
              <a:gd name="connsiteY1933" fmla="*/ 1030723 h 1934496"/>
              <a:gd name="connsiteX1934" fmla="*/ 449419 w 9922465"/>
              <a:gd name="connsiteY1934" fmla="*/ 975532 h 1934496"/>
              <a:gd name="connsiteX1935" fmla="*/ 319124 w 9922465"/>
              <a:gd name="connsiteY1935" fmla="*/ 975532 h 1934496"/>
              <a:gd name="connsiteX1936" fmla="*/ 374317 w 9922465"/>
              <a:gd name="connsiteY1936" fmla="*/ 1030723 h 1934496"/>
              <a:gd name="connsiteX1937" fmla="*/ 319124 w 9922465"/>
              <a:gd name="connsiteY1937" fmla="*/ 1085914 h 1934496"/>
              <a:gd name="connsiteX1938" fmla="*/ 263931 w 9922465"/>
              <a:gd name="connsiteY1938" fmla="*/ 1030723 h 1934496"/>
              <a:gd name="connsiteX1939" fmla="*/ 319124 w 9922465"/>
              <a:gd name="connsiteY1939" fmla="*/ 975532 h 1934496"/>
              <a:gd name="connsiteX1940" fmla="*/ 185492 w 9922465"/>
              <a:gd name="connsiteY1940" fmla="*/ 975532 h 1934496"/>
              <a:gd name="connsiteX1941" fmla="*/ 240682 w 9922465"/>
              <a:gd name="connsiteY1941" fmla="*/ 1030723 h 1934496"/>
              <a:gd name="connsiteX1942" fmla="*/ 185492 w 9922465"/>
              <a:gd name="connsiteY1942" fmla="*/ 1085914 h 1934496"/>
              <a:gd name="connsiteX1943" fmla="*/ 130299 w 9922465"/>
              <a:gd name="connsiteY1943" fmla="*/ 1030723 h 1934496"/>
              <a:gd name="connsiteX1944" fmla="*/ 185492 w 9922465"/>
              <a:gd name="connsiteY1944" fmla="*/ 975532 h 1934496"/>
              <a:gd name="connsiteX1945" fmla="*/ 55197 w 9922465"/>
              <a:gd name="connsiteY1945" fmla="*/ 975532 h 1934496"/>
              <a:gd name="connsiteX1946" fmla="*/ 110388 w 9922465"/>
              <a:gd name="connsiteY1946" fmla="*/ 1030723 h 1934496"/>
              <a:gd name="connsiteX1947" fmla="*/ 55197 w 9922465"/>
              <a:gd name="connsiteY1947" fmla="*/ 1085914 h 1934496"/>
              <a:gd name="connsiteX1948" fmla="*/ 7 w 9922465"/>
              <a:gd name="connsiteY1948" fmla="*/ 1030723 h 1934496"/>
              <a:gd name="connsiteX1949" fmla="*/ 55197 w 9922465"/>
              <a:gd name="connsiteY1949" fmla="*/ 975532 h 1934496"/>
              <a:gd name="connsiteX1950" fmla="*/ 9469710 w 9922465"/>
              <a:gd name="connsiteY1950" fmla="*/ 855263 h 1934496"/>
              <a:gd name="connsiteX1951" fmla="*/ 9524902 w 9922465"/>
              <a:gd name="connsiteY1951" fmla="*/ 910454 h 1934496"/>
              <a:gd name="connsiteX1952" fmla="*/ 9469710 w 9922465"/>
              <a:gd name="connsiteY1952" fmla="*/ 965645 h 1934496"/>
              <a:gd name="connsiteX1953" fmla="*/ 9414518 w 9922465"/>
              <a:gd name="connsiteY1953" fmla="*/ 910454 h 1934496"/>
              <a:gd name="connsiteX1954" fmla="*/ 9469710 w 9922465"/>
              <a:gd name="connsiteY1954" fmla="*/ 855263 h 1934496"/>
              <a:gd name="connsiteX1955" fmla="*/ 9336075 w 9922465"/>
              <a:gd name="connsiteY1955" fmla="*/ 855263 h 1934496"/>
              <a:gd name="connsiteX1956" fmla="*/ 9391267 w 9922465"/>
              <a:gd name="connsiteY1956" fmla="*/ 910454 h 1934496"/>
              <a:gd name="connsiteX1957" fmla="*/ 9336075 w 9922465"/>
              <a:gd name="connsiteY1957" fmla="*/ 965645 h 1934496"/>
              <a:gd name="connsiteX1958" fmla="*/ 9280883 w 9922465"/>
              <a:gd name="connsiteY1958" fmla="*/ 910454 h 1934496"/>
              <a:gd name="connsiteX1959" fmla="*/ 9336075 w 9922465"/>
              <a:gd name="connsiteY1959" fmla="*/ 855263 h 1934496"/>
              <a:gd name="connsiteX1960" fmla="*/ 9199100 w 9922465"/>
              <a:gd name="connsiteY1960" fmla="*/ 855263 h 1934496"/>
              <a:gd name="connsiteX1961" fmla="*/ 9254292 w 9922465"/>
              <a:gd name="connsiteY1961" fmla="*/ 910454 h 1934496"/>
              <a:gd name="connsiteX1962" fmla="*/ 9199100 w 9922465"/>
              <a:gd name="connsiteY1962" fmla="*/ 965645 h 1934496"/>
              <a:gd name="connsiteX1963" fmla="*/ 9143908 w 9922465"/>
              <a:gd name="connsiteY1963" fmla="*/ 910454 h 1934496"/>
              <a:gd name="connsiteX1964" fmla="*/ 9199100 w 9922465"/>
              <a:gd name="connsiteY1964" fmla="*/ 855263 h 1934496"/>
              <a:gd name="connsiteX1965" fmla="*/ 9068806 w 9922465"/>
              <a:gd name="connsiteY1965" fmla="*/ 855263 h 1934496"/>
              <a:gd name="connsiteX1966" fmla="*/ 9123998 w 9922465"/>
              <a:gd name="connsiteY1966" fmla="*/ 910454 h 1934496"/>
              <a:gd name="connsiteX1967" fmla="*/ 9068806 w 9922465"/>
              <a:gd name="connsiteY1967" fmla="*/ 965645 h 1934496"/>
              <a:gd name="connsiteX1968" fmla="*/ 9013614 w 9922465"/>
              <a:gd name="connsiteY1968" fmla="*/ 910454 h 1934496"/>
              <a:gd name="connsiteX1969" fmla="*/ 9068806 w 9922465"/>
              <a:gd name="connsiteY1969" fmla="*/ 855263 h 1934496"/>
              <a:gd name="connsiteX1970" fmla="*/ 8935170 w 9922465"/>
              <a:gd name="connsiteY1970" fmla="*/ 855263 h 1934496"/>
              <a:gd name="connsiteX1971" fmla="*/ 8990362 w 9922465"/>
              <a:gd name="connsiteY1971" fmla="*/ 910454 h 1934496"/>
              <a:gd name="connsiteX1972" fmla="*/ 8935170 w 9922465"/>
              <a:gd name="connsiteY1972" fmla="*/ 965645 h 1934496"/>
              <a:gd name="connsiteX1973" fmla="*/ 8879978 w 9922465"/>
              <a:gd name="connsiteY1973" fmla="*/ 910454 h 1934496"/>
              <a:gd name="connsiteX1974" fmla="*/ 8935170 w 9922465"/>
              <a:gd name="connsiteY1974" fmla="*/ 855263 h 1934496"/>
              <a:gd name="connsiteX1975" fmla="*/ 8801536 w 9922465"/>
              <a:gd name="connsiteY1975" fmla="*/ 855263 h 1934496"/>
              <a:gd name="connsiteX1976" fmla="*/ 8856728 w 9922465"/>
              <a:gd name="connsiteY1976" fmla="*/ 910454 h 1934496"/>
              <a:gd name="connsiteX1977" fmla="*/ 8801536 w 9922465"/>
              <a:gd name="connsiteY1977" fmla="*/ 965645 h 1934496"/>
              <a:gd name="connsiteX1978" fmla="*/ 8746344 w 9922465"/>
              <a:gd name="connsiteY1978" fmla="*/ 910454 h 1934496"/>
              <a:gd name="connsiteX1979" fmla="*/ 8801536 w 9922465"/>
              <a:gd name="connsiteY1979" fmla="*/ 855263 h 1934496"/>
              <a:gd name="connsiteX1980" fmla="*/ 8671243 w 9922465"/>
              <a:gd name="connsiteY1980" fmla="*/ 855263 h 1934496"/>
              <a:gd name="connsiteX1981" fmla="*/ 8726435 w 9922465"/>
              <a:gd name="connsiteY1981" fmla="*/ 910454 h 1934496"/>
              <a:gd name="connsiteX1982" fmla="*/ 8671243 w 9922465"/>
              <a:gd name="connsiteY1982" fmla="*/ 965645 h 1934496"/>
              <a:gd name="connsiteX1983" fmla="*/ 8616051 w 9922465"/>
              <a:gd name="connsiteY1983" fmla="*/ 910454 h 1934496"/>
              <a:gd name="connsiteX1984" fmla="*/ 8671243 w 9922465"/>
              <a:gd name="connsiteY1984" fmla="*/ 855263 h 1934496"/>
              <a:gd name="connsiteX1985" fmla="*/ 8537609 w 9922465"/>
              <a:gd name="connsiteY1985" fmla="*/ 855263 h 1934496"/>
              <a:gd name="connsiteX1986" fmla="*/ 8592801 w 9922465"/>
              <a:gd name="connsiteY1986" fmla="*/ 910454 h 1934496"/>
              <a:gd name="connsiteX1987" fmla="*/ 8537609 w 9922465"/>
              <a:gd name="connsiteY1987" fmla="*/ 965645 h 1934496"/>
              <a:gd name="connsiteX1988" fmla="*/ 8482417 w 9922465"/>
              <a:gd name="connsiteY1988" fmla="*/ 910454 h 1934496"/>
              <a:gd name="connsiteX1989" fmla="*/ 8537609 w 9922465"/>
              <a:gd name="connsiteY1989" fmla="*/ 855263 h 1934496"/>
              <a:gd name="connsiteX1990" fmla="*/ 8407315 w 9922465"/>
              <a:gd name="connsiteY1990" fmla="*/ 855263 h 1934496"/>
              <a:gd name="connsiteX1991" fmla="*/ 8462507 w 9922465"/>
              <a:gd name="connsiteY1991" fmla="*/ 910454 h 1934496"/>
              <a:gd name="connsiteX1992" fmla="*/ 8407315 w 9922465"/>
              <a:gd name="connsiteY1992" fmla="*/ 965645 h 1934496"/>
              <a:gd name="connsiteX1993" fmla="*/ 8352123 w 9922465"/>
              <a:gd name="connsiteY1993" fmla="*/ 910454 h 1934496"/>
              <a:gd name="connsiteX1994" fmla="*/ 8407315 w 9922465"/>
              <a:gd name="connsiteY1994" fmla="*/ 855263 h 1934496"/>
              <a:gd name="connsiteX1995" fmla="*/ 8273681 w 9922465"/>
              <a:gd name="connsiteY1995" fmla="*/ 855263 h 1934496"/>
              <a:gd name="connsiteX1996" fmla="*/ 8328873 w 9922465"/>
              <a:gd name="connsiteY1996" fmla="*/ 910454 h 1934496"/>
              <a:gd name="connsiteX1997" fmla="*/ 8273681 w 9922465"/>
              <a:gd name="connsiteY1997" fmla="*/ 965645 h 1934496"/>
              <a:gd name="connsiteX1998" fmla="*/ 8218489 w 9922465"/>
              <a:gd name="connsiteY1998" fmla="*/ 910454 h 1934496"/>
              <a:gd name="connsiteX1999" fmla="*/ 8273681 w 9922465"/>
              <a:gd name="connsiteY1999" fmla="*/ 855263 h 1934496"/>
              <a:gd name="connsiteX2000" fmla="*/ 8143386 w 9922465"/>
              <a:gd name="connsiteY2000" fmla="*/ 855263 h 1934496"/>
              <a:gd name="connsiteX2001" fmla="*/ 8198578 w 9922465"/>
              <a:gd name="connsiteY2001" fmla="*/ 910454 h 1934496"/>
              <a:gd name="connsiteX2002" fmla="*/ 8143386 w 9922465"/>
              <a:gd name="connsiteY2002" fmla="*/ 965645 h 1934496"/>
              <a:gd name="connsiteX2003" fmla="*/ 8088194 w 9922465"/>
              <a:gd name="connsiteY2003" fmla="*/ 910454 h 1934496"/>
              <a:gd name="connsiteX2004" fmla="*/ 8143386 w 9922465"/>
              <a:gd name="connsiteY2004" fmla="*/ 855263 h 1934496"/>
              <a:gd name="connsiteX2005" fmla="*/ 8009752 w 9922465"/>
              <a:gd name="connsiteY2005" fmla="*/ 855263 h 1934496"/>
              <a:gd name="connsiteX2006" fmla="*/ 8064944 w 9922465"/>
              <a:gd name="connsiteY2006" fmla="*/ 910454 h 1934496"/>
              <a:gd name="connsiteX2007" fmla="*/ 8009752 w 9922465"/>
              <a:gd name="connsiteY2007" fmla="*/ 965645 h 1934496"/>
              <a:gd name="connsiteX2008" fmla="*/ 7954560 w 9922465"/>
              <a:gd name="connsiteY2008" fmla="*/ 910454 h 1934496"/>
              <a:gd name="connsiteX2009" fmla="*/ 8009752 w 9922465"/>
              <a:gd name="connsiteY2009" fmla="*/ 855263 h 1934496"/>
              <a:gd name="connsiteX2010" fmla="*/ 7876117 w 9922465"/>
              <a:gd name="connsiteY2010" fmla="*/ 855263 h 1934496"/>
              <a:gd name="connsiteX2011" fmla="*/ 7931309 w 9922465"/>
              <a:gd name="connsiteY2011" fmla="*/ 910454 h 1934496"/>
              <a:gd name="connsiteX2012" fmla="*/ 7876117 w 9922465"/>
              <a:gd name="connsiteY2012" fmla="*/ 965645 h 1934496"/>
              <a:gd name="connsiteX2013" fmla="*/ 7820925 w 9922465"/>
              <a:gd name="connsiteY2013" fmla="*/ 910454 h 1934496"/>
              <a:gd name="connsiteX2014" fmla="*/ 7876117 w 9922465"/>
              <a:gd name="connsiteY2014" fmla="*/ 855263 h 1934496"/>
              <a:gd name="connsiteX2015" fmla="*/ 7745822 w 9922465"/>
              <a:gd name="connsiteY2015" fmla="*/ 855263 h 1934496"/>
              <a:gd name="connsiteX2016" fmla="*/ 7801014 w 9922465"/>
              <a:gd name="connsiteY2016" fmla="*/ 910454 h 1934496"/>
              <a:gd name="connsiteX2017" fmla="*/ 7745822 w 9922465"/>
              <a:gd name="connsiteY2017" fmla="*/ 965645 h 1934496"/>
              <a:gd name="connsiteX2018" fmla="*/ 7690630 w 9922465"/>
              <a:gd name="connsiteY2018" fmla="*/ 910454 h 1934496"/>
              <a:gd name="connsiteX2019" fmla="*/ 7745822 w 9922465"/>
              <a:gd name="connsiteY2019" fmla="*/ 855263 h 1934496"/>
              <a:gd name="connsiteX2020" fmla="*/ 7608849 w 9922465"/>
              <a:gd name="connsiteY2020" fmla="*/ 855263 h 1934496"/>
              <a:gd name="connsiteX2021" fmla="*/ 7664041 w 9922465"/>
              <a:gd name="connsiteY2021" fmla="*/ 910454 h 1934496"/>
              <a:gd name="connsiteX2022" fmla="*/ 7608849 w 9922465"/>
              <a:gd name="connsiteY2022" fmla="*/ 965645 h 1934496"/>
              <a:gd name="connsiteX2023" fmla="*/ 7553657 w 9922465"/>
              <a:gd name="connsiteY2023" fmla="*/ 910454 h 1934496"/>
              <a:gd name="connsiteX2024" fmla="*/ 7608849 w 9922465"/>
              <a:gd name="connsiteY2024" fmla="*/ 855263 h 1934496"/>
              <a:gd name="connsiteX2025" fmla="*/ 7481895 w 9922465"/>
              <a:gd name="connsiteY2025" fmla="*/ 855263 h 1934496"/>
              <a:gd name="connsiteX2026" fmla="*/ 7537087 w 9922465"/>
              <a:gd name="connsiteY2026" fmla="*/ 910454 h 1934496"/>
              <a:gd name="connsiteX2027" fmla="*/ 7481895 w 9922465"/>
              <a:gd name="connsiteY2027" fmla="*/ 965645 h 1934496"/>
              <a:gd name="connsiteX2028" fmla="*/ 7426703 w 9922465"/>
              <a:gd name="connsiteY2028" fmla="*/ 910454 h 1934496"/>
              <a:gd name="connsiteX2029" fmla="*/ 7481895 w 9922465"/>
              <a:gd name="connsiteY2029" fmla="*/ 855263 h 1934496"/>
              <a:gd name="connsiteX2030" fmla="*/ 7341578 w 9922465"/>
              <a:gd name="connsiteY2030" fmla="*/ 855263 h 1934496"/>
              <a:gd name="connsiteX2031" fmla="*/ 7396770 w 9922465"/>
              <a:gd name="connsiteY2031" fmla="*/ 910454 h 1934496"/>
              <a:gd name="connsiteX2032" fmla="*/ 7341578 w 9922465"/>
              <a:gd name="connsiteY2032" fmla="*/ 965645 h 1934496"/>
              <a:gd name="connsiteX2033" fmla="*/ 7286386 w 9922465"/>
              <a:gd name="connsiteY2033" fmla="*/ 910454 h 1934496"/>
              <a:gd name="connsiteX2034" fmla="*/ 7341578 w 9922465"/>
              <a:gd name="connsiteY2034" fmla="*/ 855263 h 1934496"/>
              <a:gd name="connsiteX2035" fmla="*/ 7211285 w 9922465"/>
              <a:gd name="connsiteY2035" fmla="*/ 855263 h 1934496"/>
              <a:gd name="connsiteX2036" fmla="*/ 7266477 w 9922465"/>
              <a:gd name="connsiteY2036" fmla="*/ 910454 h 1934496"/>
              <a:gd name="connsiteX2037" fmla="*/ 7211285 w 9922465"/>
              <a:gd name="connsiteY2037" fmla="*/ 965645 h 1934496"/>
              <a:gd name="connsiteX2038" fmla="*/ 7156093 w 9922465"/>
              <a:gd name="connsiteY2038" fmla="*/ 910454 h 1934496"/>
              <a:gd name="connsiteX2039" fmla="*/ 7211285 w 9922465"/>
              <a:gd name="connsiteY2039" fmla="*/ 855263 h 1934496"/>
              <a:gd name="connsiteX2040" fmla="*/ 7080993 w 9922465"/>
              <a:gd name="connsiteY2040" fmla="*/ 855263 h 1934496"/>
              <a:gd name="connsiteX2041" fmla="*/ 7136185 w 9922465"/>
              <a:gd name="connsiteY2041" fmla="*/ 910454 h 1934496"/>
              <a:gd name="connsiteX2042" fmla="*/ 7080993 w 9922465"/>
              <a:gd name="connsiteY2042" fmla="*/ 965645 h 1934496"/>
              <a:gd name="connsiteX2043" fmla="*/ 7025801 w 9922465"/>
              <a:gd name="connsiteY2043" fmla="*/ 910454 h 1934496"/>
              <a:gd name="connsiteX2044" fmla="*/ 7080993 w 9922465"/>
              <a:gd name="connsiteY2044" fmla="*/ 855263 h 1934496"/>
              <a:gd name="connsiteX2045" fmla="*/ 6947357 w 9922465"/>
              <a:gd name="connsiteY2045" fmla="*/ 855263 h 1934496"/>
              <a:gd name="connsiteX2046" fmla="*/ 7002549 w 9922465"/>
              <a:gd name="connsiteY2046" fmla="*/ 910454 h 1934496"/>
              <a:gd name="connsiteX2047" fmla="*/ 6947357 w 9922465"/>
              <a:gd name="connsiteY2047" fmla="*/ 965645 h 1934496"/>
              <a:gd name="connsiteX2048" fmla="*/ 6892165 w 9922465"/>
              <a:gd name="connsiteY2048" fmla="*/ 910454 h 1934496"/>
              <a:gd name="connsiteX2049" fmla="*/ 6947357 w 9922465"/>
              <a:gd name="connsiteY2049" fmla="*/ 855263 h 1934496"/>
              <a:gd name="connsiteX2050" fmla="*/ 6817063 w 9922465"/>
              <a:gd name="connsiteY2050" fmla="*/ 855263 h 1934496"/>
              <a:gd name="connsiteX2051" fmla="*/ 6872255 w 9922465"/>
              <a:gd name="connsiteY2051" fmla="*/ 910454 h 1934496"/>
              <a:gd name="connsiteX2052" fmla="*/ 6817063 w 9922465"/>
              <a:gd name="connsiteY2052" fmla="*/ 965645 h 1934496"/>
              <a:gd name="connsiteX2053" fmla="*/ 6761871 w 9922465"/>
              <a:gd name="connsiteY2053" fmla="*/ 910454 h 1934496"/>
              <a:gd name="connsiteX2054" fmla="*/ 6817063 w 9922465"/>
              <a:gd name="connsiteY2054" fmla="*/ 855263 h 1934496"/>
              <a:gd name="connsiteX2055" fmla="*/ 6683430 w 9922465"/>
              <a:gd name="connsiteY2055" fmla="*/ 855263 h 1934496"/>
              <a:gd name="connsiteX2056" fmla="*/ 6738622 w 9922465"/>
              <a:gd name="connsiteY2056" fmla="*/ 910454 h 1934496"/>
              <a:gd name="connsiteX2057" fmla="*/ 6683430 w 9922465"/>
              <a:gd name="connsiteY2057" fmla="*/ 965645 h 1934496"/>
              <a:gd name="connsiteX2058" fmla="*/ 6628238 w 9922465"/>
              <a:gd name="connsiteY2058" fmla="*/ 910454 h 1934496"/>
              <a:gd name="connsiteX2059" fmla="*/ 6683430 w 9922465"/>
              <a:gd name="connsiteY2059" fmla="*/ 855263 h 1934496"/>
              <a:gd name="connsiteX2060" fmla="*/ 6553135 w 9922465"/>
              <a:gd name="connsiteY2060" fmla="*/ 855263 h 1934496"/>
              <a:gd name="connsiteX2061" fmla="*/ 6608327 w 9922465"/>
              <a:gd name="connsiteY2061" fmla="*/ 910454 h 1934496"/>
              <a:gd name="connsiteX2062" fmla="*/ 6553135 w 9922465"/>
              <a:gd name="connsiteY2062" fmla="*/ 965645 h 1934496"/>
              <a:gd name="connsiteX2063" fmla="*/ 6497943 w 9922465"/>
              <a:gd name="connsiteY2063" fmla="*/ 910454 h 1934496"/>
              <a:gd name="connsiteX2064" fmla="*/ 6553135 w 9922465"/>
              <a:gd name="connsiteY2064" fmla="*/ 855263 h 1934496"/>
              <a:gd name="connsiteX2065" fmla="*/ 6419502 w 9922465"/>
              <a:gd name="connsiteY2065" fmla="*/ 855263 h 1934496"/>
              <a:gd name="connsiteX2066" fmla="*/ 6474694 w 9922465"/>
              <a:gd name="connsiteY2066" fmla="*/ 910454 h 1934496"/>
              <a:gd name="connsiteX2067" fmla="*/ 6419502 w 9922465"/>
              <a:gd name="connsiteY2067" fmla="*/ 965645 h 1934496"/>
              <a:gd name="connsiteX2068" fmla="*/ 6364310 w 9922465"/>
              <a:gd name="connsiteY2068" fmla="*/ 910454 h 1934496"/>
              <a:gd name="connsiteX2069" fmla="*/ 6419502 w 9922465"/>
              <a:gd name="connsiteY2069" fmla="*/ 855263 h 1934496"/>
              <a:gd name="connsiteX2070" fmla="*/ 6289206 w 9922465"/>
              <a:gd name="connsiteY2070" fmla="*/ 855263 h 1934496"/>
              <a:gd name="connsiteX2071" fmla="*/ 6344398 w 9922465"/>
              <a:gd name="connsiteY2071" fmla="*/ 910454 h 1934496"/>
              <a:gd name="connsiteX2072" fmla="*/ 6289206 w 9922465"/>
              <a:gd name="connsiteY2072" fmla="*/ 965645 h 1934496"/>
              <a:gd name="connsiteX2073" fmla="*/ 6234014 w 9922465"/>
              <a:gd name="connsiteY2073" fmla="*/ 910454 h 1934496"/>
              <a:gd name="connsiteX2074" fmla="*/ 6289206 w 9922465"/>
              <a:gd name="connsiteY2074" fmla="*/ 855263 h 1934496"/>
              <a:gd name="connsiteX2075" fmla="*/ 6155571 w 9922465"/>
              <a:gd name="connsiteY2075" fmla="*/ 855263 h 1934496"/>
              <a:gd name="connsiteX2076" fmla="*/ 6210763 w 9922465"/>
              <a:gd name="connsiteY2076" fmla="*/ 910454 h 1934496"/>
              <a:gd name="connsiteX2077" fmla="*/ 6155571 w 9922465"/>
              <a:gd name="connsiteY2077" fmla="*/ 965645 h 1934496"/>
              <a:gd name="connsiteX2078" fmla="*/ 6100379 w 9922465"/>
              <a:gd name="connsiteY2078" fmla="*/ 910454 h 1934496"/>
              <a:gd name="connsiteX2079" fmla="*/ 6155571 w 9922465"/>
              <a:gd name="connsiteY2079" fmla="*/ 855263 h 1934496"/>
              <a:gd name="connsiteX2080" fmla="*/ 6021938 w 9922465"/>
              <a:gd name="connsiteY2080" fmla="*/ 855263 h 1934496"/>
              <a:gd name="connsiteX2081" fmla="*/ 6077130 w 9922465"/>
              <a:gd name="connsiteY2081" fmla="*/ 910454 h 1934496"/>
              <a:gd name="connsiteX2082" fmla="*/ 6021938 w 9922465"/>
              <a:gd name="connsiteY2082" fmla="*/ 965645 h 1934496"/>
              <a:gd name="connsiteX2083" fmla="*/ 5966746 w 9922465"/>
              <a:gd name="connsiteY2083" fmla="*/ 910454 h 1934496"/>
              <a:gd name="connsiteX2084" fmla="*/ 6021938 w 9922465"/>
              <a:gd name="connsiteY2084" fmla="*/ 855263 h 1934496"/>
              <a:gd name="connsiteX2085" fmla="*/ 5884961 w 9922465"/>
              <a:gd name="connsiteY2085" fmla="*/ 855263 h 1934496"/>
              <a:gd name="connsiteX2086" fmla="*/ 5940153 w 9922465"/>
              <a:gd name="connsiteY2086" fmla="*/ 910454 h 1934496"/>
              <a:gd name="connsiteX2087" fmla="*/ 5884961 w 9922465"/>
              <a:gd name="connsiteY2087" fmla="*/ 965645 h 1934496"/>
              <a:gd name="connsiteX2088" fmla="*/ 5829769 w 9922465"/>
              <a:gd name="connsiteY2088" fmla="*/ 910454 h 1934496"/>
              <a:gd name="connsiteX2089" fmla="*/ 5884961 w 9922465"/>
              <a:gd name="connsiteY2089" fmla="*/ 855263 h 1934496"/>
              <a:gd name="connsiteX2090" fmla="*/ 5754668 w 9922465"/>
              <a:gd name="connsiteY2090" fmla="*/ 855263 h 1934496"/>
              <a:gd name="connsiteX2091" fmla="*/ 5809860 w 9922465"/>
              <a:gd name="connsiteY2091" fmla="*/ 910454 h 1934496"/>
              <a:gd name="connsiteX2092" fmla="*/ 5754668 w 9922465"/>
              <a:gd name="connsiteY2092" fmla="*/ 965645 h 1934496"/>
              <a:gd name="connsiteX2093" fmla="*/ 5699476 w 9922465"/>
              <a:gd name="connsiteY2093" fmla="*/ 910454 h 1934496"/>
              <a:gd name="connsiteX2094" fmla="*/ 5754668 w 9922465"/>
              <a:gd name="connsiteY2094" fmla="*/ 855263 h 1934496"/>
              <a:gd name="connsiteX2095" fmla="*/ 5621034 w 9922465"/>
              <a:gd name="connsiteY2095" fmla="*/ 855263 h 1934496"/>
              <a:gd name="connsiteX2096" fmla="*/ 5676226 w 9922465"/>
              <a:gd name="connsiteY2096" fmla="*/ 910454 h 1934496"/>
              <a:gd name="connsiteX2097" fmla="*/ 5621034 w 9922465"/>
              <a:gd name="connsiteY2097" fmla="*/ 965645 h 1934496"/>
              <a:gd name="connsiteX2098" fmla="*/ 5565842 w 9922465"/>
              <a:gd name="connsiteY2098" fmla="*/ 910454 h 1934496"/>
              <a:gd name="connsiteX2099" fmla="*/ 5621034 w 9922465"/>
              <a:gd name="connsiteY2099" fmla="*/ 855263 h 1934496"/>
              <a:gd name="connsiteX2100" fmla="*/ 5487399 w 9922465"/>
              <a:gd name="connsiteY2100" fmla="*/ 855263 h 1934496"/>
              <a:gd name="connsiteX2101" fmla="*/ 5542591 w 9922465"/>
              <a:gd name="connsiteY2101" fmla="*/ 910454 h 1934496"/>
              <a:gd name="connsiteX2102" fmla="*/ 5487399 w 9922465"/>
              <a:gd name="connsiteY2102" fmla="*/ 965645 h 1934496"/>
              <a:gd name="connsiteX2103" fmla="*/ 5432207 w 9922465"/>
              <a:gd name="connsiteY2103" fmla="*/ 910454 h 1934496"/>
              <a:gd name="connsiteX2104" fmla="*/ 5487399 w 9922465"/>
              <a:gd name="connsiteY2104" fmla="*/ 855263 h 1934496"/>
              <a:gd name="connsiteX2105" fmla="*/ 5357105 w 9922465"/>
              <a:gd name="connsiteY2105" fmla="*/ 855263 h 1934496"/>
              <a:gd name="connsiteX2106" fmla="*/ 5412297 w 9922465"/>
              <a:gd name="connsiteY2106" fmla="*/ 910454 h 1934496"/>
              <a:gd name="connsiteX2107" fmla="*/ 5357105 w 9922465"/>
              <a:gd name="connsiteY2107" fmla="*/ 965645 h 1934496"/>
              <a:gd name="connsiteX2108" fmla="*/ 5301913 w 9922465"/>
              <a:gd name="connsiteY2108" fmla="*/ 910454 h 1934496"/>
              <a:gd name="connsiteX2109" fmla="*/ 5357105 w 9922465"/>
              <a:gd name="connsiteY2109" fmla="*/ 855263 h 1934496"/>
              <a:gd name="connsiteX2110" fmla="*/ 5223472 w 9922465"/>
              <a:gd name="connsiteY2110" fmla="*/ 855263 h 1934496"/>
              <a:gd name="connsiteX2111" fmla="*/ 5278664 w 9922465"/>
              <a:gd name="connsiteY2111" fmla="*/ 910454 h 1934496"/>
              <a:gd name="connsiteX2112" fmla="*/ 5223472 w 9922465"/>
              <a:gd name="connsiteY2112" fmla="*/ 965645 h 1934496"/>
              <a:gd name="connsiteX2113" fmla="*/ 5168280 w 9922465"/>
              <a:gd name="connsiteY2113" fmla="*/ 910454 h 1934496"/>
              <a:gd name="connsiteX2114" fmla="*/ 5223472 w 9922465"/>
              <a:gd name="connsiteY2114" fmla="*/ 855263 h 1934496"/>
              <a:gd name="connsiteX2115" fmla="*/ 5093178 w 9922465"/>
              <a:gd name="connsiteY2115" fmla="*/ 855263 h 1934496"/>
              <a:gd name="connsiteX2116" fmla="*/ 5148370 w 9922465"/>
              <a:gd name="connsiteY2116" fmla="*/ 910454 h 1934496"/>
              <a:gd name="connsiteX2117" fmla="*/ 5093178 w 9922465"/>
              <a:gd name="connsiteY2117" fmla="*/ 965645 h 1934496"/>
              <a:gd name="connsiteX2118" fmla="*/ 5037986 w 9922465"/>
              <a:gd name="connsiteY2118" fmla="*/ 910454 h 1934496"/>
              <a:gd name="connsiteX2119" fmla="*/ 5093178 w 9922465"/>
              <a:gd name="connsiteY2119" fmla="*/ 855263 h 1934496"/>
              <a:gd name="connsiteX2120" fmla="*/ 4161076 w 9922465"/>
              <a:gd name="connsiteY2120" fmla="*/ 855263 h 1934496"/>
              <a:gd name="connsiteX2121" fmla="*/ 4216268 w 9922465"/>
              <a:gd name="connsiteY2121" fmla="*/ 910454 h 1934496"/>
              <a:gd name="connsiteX2122" fmla="*/ 4161076 w 9922465"/>
              <a:gd name="connsiteY2122" fmla="*/ 965645 h 1934496"/>
              <a:gd name="connsiteX2123" fmla="*/ 4105884 w 9922465"/>
              <a:gd name="connsiteY2123" fmla="*/ 910454 h 1934496"/>
              <a:gd name="connsiteX2124" fmla="*/ 4161076 w 9922465"/>
              <a:gd name="connsiteY2124" fmla="*/ 855263 h 1934496"/>
              <a:gd name="connsiteX2125" fmla="*/ 3633218 w 9922465"/>
              <a:gd name="connsiteY2125" fmla="*/ 855263 h 1934496"/>
              <a:gd name="connsiteX2126" fmla="*/ 3688410 w 9922465"/>
              <a:gd name="connsiteY2126" fmla="*/ 910454 h 1934496"/>
              <a:gd name="connsiteX2127" fmla="*/ 3633218 w 9922465"/>
              <a:gd name="connsiteY2127" fmla="*/ 965645 h 1934496"/>
              <a:gd name="connsiteX2128" fmla="*/ 3578026 w 9922465"/>
              <a:gd name="connsiteY2128" fmla="*/ 910454 h 1934496"/>
              <a:gd name="connsiteX2129" fmla="*/ 3633218 w 9922465"/>
              <a:gd name="connsiteY2129" fmla="*/ 855263 h 1934496"/>
              <a:gd name="connsiteX2130" fmla="*/ 3499586 w 9922465"/>
              <a:gd name="connsiteY2130" fmla="*/ 855263 h 1934496"/>
              <a:gd name="connsiteX2131" fmla="*/ 3554778 w 9922465"/>
              <a:gd name="connsiteY2131" fmla="*/ 910454 h 1934496"/>
              <a:gd name="connsiteX2132" fmla="*/ 3499586 w 9922465"/>
              <a:gd name="connsiteY2132" fmla="*/ 965645 h 1934496"/>
              <a:gd name="connsiteX2133" fmla="*/ 3444394 w 9922465"/>
              <a:gd name="connsiteY2133" fmla="*/ 910454 h 1934496"/>
              <a:gd name="connsiteX2134" fmla="*/ 3499586 w 9922465"/>
              <a:gd name="connsiteY2134" fmla="*/ 855263 h 1934496"/>
              <a:gd name="connsiteX2135" fmla="*/ 3369290 w 9922465"/>
              <a:gd name="connsiteY2135" fmla="*/ 855263 h 1934496"/>
              <a:gd name="connsiteX2136" fmla="*/ 3424482 w 9922465"/>
              <a:gd name="connsiteY2136" fmla="*/ 910454 h 1934496"/>
              <a:gd name="connsiteX2137" fmla="*/ 3369290 w 9922465"/>
              <a:gd name="connsiteY2137" fmla="*/ 965645 h 1934496"/>
              <a:gd name="connsiteX2138" fmla="*/ 3314098 w 9922465"/>
              <a:gd name="connsiteY2138" fmla="*/ 910454 h 1934496"/>
              <a:gd name="connsiteX2139" fmla="*/ 3369290 w 9922465"/>
              <a:gd name="connsiteY2139" fmla="*/ 855263 h 1934496"/>
              <a:gd name="connsiteX2140" fmla="*/ 2834849 w 9922465"/>
              <a:gd name="connsiteY2140" fmla="*/ 855263 h 1934496"/>
              <a:gd name="connsiteX2141" fmla="*/ 2890040 w 9922465"/>
              <a:gd name="connsiteY2141" fmla="*/ 910454 h 1934496"/>
              <a:gd name="connsiteX2142" fmla="*/ 2834849 w 9922465"/>
              <a:gd name="connsiteY2142" fmla="*/ 965645 h 1934496"/>
              <a:gd name="connsiteX2143" fmla="*/ 2779655 w 9922465"/>
              <a:gd name="connsiteY2143" fmla="*/ 910454 h 1934496"/>
              <a:gd name="connsiteX2144" fmla="*/ 2834849 w 9922465"/>
              <a:gd name="connsiteY2144" fmla="*/ 855263 h 1934496"/>
              <a:gd name="connsiteX2145" fmla="*/ 2707895 w 9922465"/>
              <a:gd name="connsiteY2145" fmla="*/ 855263 h 1934496"/>
              <a:gd name="connsiteX2146" fmla="*/ 2763087 w 9922465"/>
              <a:gd name="connsiteY2146" fmla="*/ 910454 h 1934496"/>
              <a:gd name="connsiteX2147" fmla="*/ 2707895 w 9922465"/>
              <a:gd name="connsiteY2147" fmla="*/ 965645 h 1934496"/>
              <a:gd name="connsiteX2148" fmla="*/ 2652702 w 9922465"/>
              <a:gd name="connsiteY2148" fmla="*/ 910454 h 1934496"/>
              <a:gd name="connsiteX2149" fmla="*/ 2707895 w 9922465"/>
              <a:gd name="connsiteY2149" fmla="*/ 855263 h 1934496"/>
              <a:gd name="connsiteX2150" fmla="*/ 2570919 w 9922465"/>
              <a:gd name="connsiteY2150" fmla="*/ 855263 h 1934496"/>
              <a:gd name="connsiteX2151" fmla="*/ 2626110 w 9922465"/>
              <a:gd name="connsiteY2151" fmla="*/ 910454 h 1934496"/>
              <a:gd name="connsiteX2152" fmla="*/ 2570919 w 9922465"/>
              <a:gd name="connsiteY2152" fmla="*/ 965645 h 1934496"/>
              <a:gd name="connsiteX2153" fmla="*/ 2515724 w 9922465"/>
              <a:gd name="connsiteY2153" fmla="*/ 910454 h 1934496"/>
              <a:gd name="connsiteX2154" fmla="*/ 2570919 w 9922465"/>
              <a:gd name="connsiteY2154" fmla="*/ 855263 h 1934496"/>
              <a:gd name="connsiteX2155" fmla="*/ 2303651 w 9922465"/>
              <a:gd name="connsiteY2155" fmla="*/ 855263 h 1934496"/>
              <a:gd name="connsiteX2156" fmla="*/ 2358843 w 9922465"/>
              <a:gd name="connsiteY2156" fmla="*/ 910454 h 1934496"/>
              <a:gd name="connsiteX2157" fmla="*/ 2303651 w 9922465"/>
              <a:gd name="connsiteY2157" fmla="*/ 965645 h 1934496"/>
              <a:gd name="connsiteX2158" fmla="*/ 2248461 w 9922465"/>
              <a:gd name="connsiteY2158" fmla="*/ 910454 h 1934496"/>
              <a:gd name="connsiteX2159" fmla="*/ 2303651 w 9922465"/>
              <a:gd name="connsiteY2159" fmla="*/ 855263 h 1934496"/>
              <a:gd name="connsiteX2160" fmla="*/ 2173362 w 9922465"/>
              <a:gd name="connsiteY2160" fmla="*/ 855263 h 1934496"/>
              <a:gd name="connsiteX2161" fmla="*/ 2228554 w 9922465"/>
              <a:gd name="connsiteY2161" fmla="*/ 910454 h 1934496"/>
              <a:gd name="connsiteX2162" fmla="*/ 2173362 w 9922465"/>
              <a:gd name="connsiteY2162" fmla="*/ 965645 h 1934496"/>
              <a:gd name="connsiteX2163" fmla="*/ 2118170 w 9922465"/>
              <a:gd name="connsiteY2163" fmla="*/ 910454 h 1934496"/>
              <a:gd name="connsiteX2164" fmla="*/ 2173362 w 9922465"/>
              <a:gd name="connsiteY2164" fmla="*/ 855263 h 1934496"/>
              <a:gd name="connsiteX2165" fmla="*/ 2039725 w 9922465"/>
              <a:gd name="connsiteY2165" fmla="*/ 855263 h 1934496"/>
              <a:gd name="connsiteX2166" fmla="*/ 2094919 w 9922465"/>
              <a:gd name="connsiteY2166" fmla="*/ 910454 h 1934496"/>
              <a:gd name="connsiteX2167" fmla="*/ 2039725 w 9922465"/>
              <a:gd name="connsiteY2167" fmla="*/ 965645 h 1934496"/>
              <a:gd name="connsiteX2168" fmla="*/ 1984533 w 9922465"/>
              <a:gd name="connsiteY2168" fmla="*/ 910454 h 1934496"/>
              <a:gd name="connsiteX2169" fmla="*/ 2039725 w 9922465"/>
              <a:gd name="connsiteY2169" fmla="*/ 855263 h 1934496"/>
              <a:gd name="connsiteX2170" fmla="*/ 1909428 w 9922465"/>
              <a:gd name="connsiteY2170" fmla="*/ 855263 h 1934496"/>
              <a:gd name="connsiteX2171" fmla="*/ 1964620 w 9922465"/>
              <a:gd name="connsiteY2171" fmla="*/ 910454 h 1934496"/>
              <a:gd name="connsiteX2172" fmla="*/ 1909428 w 9922465"/>
              <a:gd name="connsiteY2172" fmla="*/ 965645 h 1934496"/>
              <a:gd name="connsiteX2173" fmla="*/ 1854234 w 9922465"/>
              <a:gd name="connsiteY2173" fmla="*/ 910454 h 1934496"/>
              <a:gd name="connsiteX2174" fmla="*/ 1909428 w 9922465"/>
              <a:gd name="connsiteY2174" fmla="*/ 855263 h 1934496"/>
              <a:gd name="connsiteX2175" fmla="*/ 1779130 w 9922465"/>
              <a:gd name="connsiteY2175" fmla="*/ 855263 h 1934496"/>
              <a:gd name="connsiteX2176" fmla="*/ 1834324 w 9922465"/>
              <a:gd name="connsiteY2176" fmla="*/ 910454 h 1934496"/>
              <a:gd name="connsiteX2177" fmla="*/ 1779130 w 9922465"/>
              <a:gd name="connsiteY2177" fmla="*/ 965645 h 1934496"/>
              <a:gd name="connsiteX2178" fmla="*/ 1723937 w 9922465"/>
              <a:gd name="connsiteY2178" fmla="*/ 910454 h 1934496"/>
              <a:gd name="connsiteX2179" fmla="*/ 1779130 w 9922465"/>
              <a:gd name="connsiteY2179" fmla="*/ 855263 h 1934496"/>
              <a:gd name="connsiteX2180" fmla="*/ 1645495 w 9922465"/>
              <a:gd name="connsiteY2180" fmla="*/ 855263 h 1934496"/>
              <a:gd name="connsiteX2181" fmla="*/ 1700693 w 9922465"/>
              <a:gd name="connsiteY2181" fmla="*/ 910454 h 1934496"/>
              <a:gd name="connsiteX2182" fmla="*/ 1645495 w 9922465"/>
              <a:gd name="connsiteY2182" fmla="*/ 965645 h 1934496"/>
              <a:gd name="connsiteX2183" fmla="*/ 1590303 w 9922465"/>
              <a:gd name="connsiteY2183" fmla="*/ 910454 h 1934496"/>
              <a:gd name="connsiteX2184" fmla="*/ 1645495 w 9922465"/>
              <a:gd name="connsiteY2184" fmla="*/ 855263 h 1934496"/>
              <a:gd name="connsiteX2185" fmla="*/ 1515206 w 9922465"/>
              <a:gd name="connsiteY2185" fmla="*/ 855263 h 1934496"/>
              <a:gd name="connsiteX2186" fmla="*/ 1570391 w 9922465"/>
              <a:gd name="connsiteY2186" fmla="*/ 910454 h 1934496"/>
              <a:gd name="connsiteX2187" fmla="*/ 1515206 w 9922465"/>
              <a:gd name="connsiteY2187" fmla="*/ 965645 h 1934496"/>
              <a:gd name="connsiteX2188" fmla="*/ 1460009 w 9922465"/>
              <a:gd name="connsiteY2188" fmla="*/ 910454 h 1934496"/>
              <a:gd name="connsiteX2189" fmla="*/ 1515206 w 9922465"/>
              <a:gd name="connsiteY2189" fmla="*/ 855263 h 1934496"/>
              <a:gd name="connsiteX2190" fmla="*/ 1381566 w 9922465"/>
              <a:gd name="connsiteY2190" fmla="*/ 855263 h 1934496"/>
              <a:gd name="connsiteX2191" fmla="*/ 1436758 w 9922465"/>
              <a:gd name="connsiteY2191" fmla="*/ 910454 h 1934496"/>
              <a:gd name="connsiteX2192" fmla="*/ 1381566 w 9922465"/>
              <a:gd name="connsiteY2192" fmla="*/ 965645 h 1934496"/>
              <a:gd name="connsiteX2193" fmla="*/ 1326375 w 9922465"/>
              <a:gd name="connsiteY2193" fmla="*/ 910454 h 1934496"/>
              <a:gd name="connsiteX2194" fmla="*/ 1381566 w 9922465"/>
              <a:gd name="connsiteY2194" fmla="*/ 855263 h 1934496"/>
              <a:gd name="connsiteX2195" fmla="*/ 1251271 w 9922465"/>
              <a:gd name="connsiteY2195" fmla="*/ 855263 h 1934496"/>
              <a:gd name="connsiteX2196" fmla="*/ 1306464 w 9922465"/>
              <a:gd name="connsiteY2196" fmla="*/ 910454 h 1934496"/>
              <a:gd name="connsiteX2197" fmla="*/ 1251271 w 9922465"/>
              <a:gd name="connsiteY2197" fmla="*/ 965645 h 1934496"/>
              <a:gd name="connsiteX2198" fmla="*/ 1196078 w 9922465"/>
              <a:gd name="connsiteY2198" fmla="*/ 910454 h 1934496"/>
              <a:gd name="connsiteX2199" fmla="*/ 1251271 w 9922465"/>
              <a:gd name="connsiteY2199" fmla="*/ 855263 h 1934496"/>
              <a:gd name="connsiteX2200" fmla="*/ 1117634 w 9922465"/>
              <a:gd name="connsiteY2200" fmla="*/ 855263 h 1934496"/>
              <a:gd name="connsiteX2201" fmla="*/ 1172828 w 9922465"/>
              <a:gd name="connsiteY2201" fmla="*/ 910454 h 1934496"/>
              <a:gd name="connsiteX2202" fmla="*/ 1117634 w 9922465"/>
              <a:gd name="connsiteY2202" fmla="*/ 965645 h 1934496"/>
              <a:gd name="connsiteX2203" fmla="*/ 1062440 w 9922465"/>
              <a:gd name="connsiteY2203" fmla="*/ 910454 h 1934496"/>
              <a:gd name="connsiteX2204" fmla="*/ 1117634 w 9922465"/>
              <a:gd name="connsiteY2204" fmla="*/ 855263 h 1934496"/>
              <a:gd name="connsiteX2205" fmla="*/ 980654 w 9922465"/>
              <a:gd name="connsiteY2205" fmla="*/ 855263 h 1934496"/>
              <a:gd name="connsiteX2206" fmla="*/ 1035848 w 9922465"/>
              <a:gd name="connsiteY2206" fmla="*/ 910454 h 1934496"/>
              <a:gd name="connsiteX2207" fmla="*/ 980654 w 9922465"/>
              <a:gd name="connsiteY2207" fmla="*/ 965645 h 1934496"/>
              <a:gd name="connsiteX2208" fmla="*/ 925460 w 9922465"/>
              <a:gd name="connsiteY2208" fmla="*/ 910454 h 1934496"/>
              <a:gd name="connsiteX2209" fmla="*/ 980654 w 9922465"/>
              <a:gd name="connsiteY2209" fmla="*/ 855263 h 1934496"/>
              <a:gd name="connsiteX2210" fmla="*/ 847016 w 9922465"/>
              <a:gd name="connsiteY2210" fmla="*/ 855263 h 1934496"/>
              <a:gd name="connsiteX2211" fmla="*/ 902209 w 9922465"/>
              <a:gd name="connsiteY2211" fmla="*/ 910454 h 1934496"/>
              <a:gd name="connsiteX2212" fmla="*/ 847016 w 9922465"/>
              <a:gd name="connsiteY2212" fmla="*/ 965645 h 1934496"/>
              <a:gd name="connsiteX2213" fmla="*/ 791816 w 9922465"/>
              <a:gd name="connsiteY2213" fmla="*/ 910454 h 1934496"/>
              <a:gd name="connsiteX2214" fmla="*/ 847016 w 9922465"/>
              <a:gd name="connsiteY2214" fmla="*/ 855263 h 1934496"/>
              <a:gd name="connsiteX2215" fmla="*/ 716709 w 9922465"/>
              <a:gd name="connsiteY2215" fmla="*/ 855263 h 1934496"/>
              <a:gd name="connsiteX2216" fmla="*/ 771907 w 9922465"/>
              <a:gd name="connsiteY2216" fmla="*/ 910454 h 1934496"/>
              <a:gd name="connsiteX2217" fmla="*/ 716709 w 9922465"/>
              <a:gd name="connsiteY2217" fmla="*/ 965645 h 1934496"/>
              <a:gd name="connsiteX2218" fmla="*/ 661522 w 9922465"/>
              <a:gd name="connsiteY2218" fmla="*/ 910454 h 1934496"/>
              <a:gd name="connsiteX2219" fmla="*/ 716709 w 9922465"/>
              <a:gd name="connsiteY2219" fmla="*/ 855263 h 1934496"/>
              <a:gd name="connsiteX2220" fmla="*/ 583074 w 9922465"/>
              <a:gd name="connsiteY2220" fmla="*/ 855263 h 1934496"/>
              <a:gd name="connsiteX2221" fmla="*/ 638268 w 9922465"/>
              <a:gd name="connsiteY2221" fmla="*/ 910454 h 1934496"/>
              <a:gd name="connsiteX2222" fmla="*/ 583074 w 9922465"/>
              <a:gd name="connsiteY2222" fmla="*/ 965645 h 1934496"/>
              <a:gd name="connsiteX2223" fmla="*/ 527881 w 9922465"/>
              <a:gd name="connsiteY2223" fmla="*/ 910454 h 1934496"/>
              <a:gd name="connsiteX2224" fmla="*/ 583074 w 9922465"/>
              <a:gd name="connsiteY2224" fmla="*/ 855263 h 1934496"/>
              <a:gd name="connsiteX2225" fmla="*/ 9867273 w 9922465"/>
              <a:gd name="connsiteY2225" fmla="*/ 855260 h 1934496"/>
              <a:gd name="connsiteX2226" fmla="*/ 9922465 w 9922465"/>
              <a:gd name="connsiteY2226" fmla="*/ 910451 h 1934496"/>
              <a:gd name="connsiteX2227" fmla="*/ 9867273 w 9922465"/>
              <a:gd name="connsiteY2227" fmla="*/ 965642 h 1934496"/>
              <a:gd name="connsiteX2228" fmla="*/ 9812081 w 9922465"/>
              <a:gd name="connsiteY2228" fmla="*/ 910451 h 1934496"/>
              <a:gd name="connsiteX2229" fmla="*/ 9867273 w 9922465"/>
              <a:gd name="connsiteY2229" fmla="*/ 855260 h 1934496"/>
              <a:gd name="connsiteX2230" fmla="*/ 9733637 w 9922465"/>
              <a:gd name="connsiteY2230" fmla="*/ 855260 h 1934496"/>
              <a:gd name="connsiteX2231" fmla="*/ 9788829 w 9922465"/>
              <a:gd name="connsiteY2231" fmla="*/ 910451 h 1934496"/>
              <a:gd name="connsiteX2232" fmla="*/ 9733637 w 9922465"/>
              <a:gd name="connsiteY2232" fmla="*/ 965642 h 1934496"/>
              <a:gd name="connsiteX2233" fmla="*/ 9678445 w 9922465"/>
              <a:gd name="connsiteY2233" fmla="*/ 910451 h 1934496"/>
              <a:gd name="connsiteX2234" fmla="*/ 9733637 w 9922465"/>
              <a:gd name="connsiteY2234" fmla="*/ 855260 h 1934496"/>
              <a:gd name="connsiteX2235" fmla="*/ 9603343 w 9922465"/>
              <a:gd name="connsiteY2235" fmla="*/ 855260 h 1934496"/>
              <a:gd name="connsiteX2236" fmla="*/ 9658535 w 9922465"/>
              <a:gd name="connsiteY2236" fmla="*/ 910451 h 1934496"/>
              <a:gd name="connsiteX2237" fmla="*/ 9603343 w 9922465"/>
              <a:gd name="connsiteY2237" fmla="*/ 965642 h 1934496"/>
              <a:gd name="connsiteX2238" fmla="*/ 9548151 w 9922465"/>
              <a:gd name="connsiteY2238" fmla="*/ 910451 h 1934496"/>
              <a:gd name="connsiteX2239" fmla="*/ 9603343 w 9922465"/>
              <a:gd name="connsiteY2239" fmla="*/ 855260 h 1934496"/>
              <a:gd name="connsiteX2240" fmla="*/ 449429 w 9922465"/>
              <a:gd name="connsiteY2240" fmla="*/ 855260 h 1934496"/>
              <a:gd name="connsiteX2241" fmla="*/ 504621 w 9922465"/>
              <a:gd name="connsiteY2241" fmla="*/ 910451 h 1934496"/>
              <a:gd name="connsiteX2242" fmla="*/ 449429 w 9922465"/>
              <a:gd name="connsiteY2242" fmla="*/ 965642 h 1934496"/>
              <a:gd name="connsiteX2243" fmla="*/ 394234 w 9922465"/>
              <a:gd name="connsiteY2243" fmla="*/ 910451 h 1934496"/>
              <a:gd name="connsiteX2244" fmla="*/ 449429 w 9922465"/>
              <a:gd name="connsiteY2244" fmla="*/ 855260 h 1934496"/>
              <a:gd name="connsiteX2245" fmla="*/ 319132 w 9922465"/>
              <a:gd name="connsiteY2245" fmla="*/ 855260 h 1934496"/>
              <a:gd name="connsiteX2246" fmla="*/ 374326 w 9922465"/>
              <a:gd name="connsiteY2246" fmla="*/ 910451 h 1934496"/>
              <a:gd name="connsiteX2247" fmla="*/ 319132 w 9922465"/>
              <a:gd name="connsiteY2247" fmla="*/ 965642 h 1934496"/>
              <a:gd name="connsiteX2248" fmla="*/ 263940 w 9922465"/>
              <a:gd name="connsiteY2248" fmla="*/ 910451 h 1934496"/>
              <a:gd name="connsiteX2249" fmla="*/ 319132 w 9922465"/>
              <a:gd name="connsiteY2249" fmla="*/ 855260 h 1934496"/>
              <a:gd name="connsiteX2250" fmla="*/ 185499 w 9922465"/>
              <a:gd name="connsiteY2250" fmla="*/ 855260 h 1934496"/>
              <a:gd name="connsiteX2251" fmla="*/ 240690 w 9922465"/>
              <a:gd name="connsiteY2251" fmla="*/ 910451 h 1934496"/>
              <a:gd name="connsiteX2252" fmla="*/ 185499 w 9922465"/>
              <a:gd name="connsiteY2252" fmla="*/ 965642 h 1934496"/>
              <a:gd name="connsiteX2253" fmla="*/ 130308 w 9922465"/>
              <a:gd name="connsiteY2253" fmla="*/ 910451 h 1934496"/>
              <a:gd name="connsiteX2254" fmla="*/ 185499 w 9922465"/>
              <a:gd name="connsiteY2254" fmla="*/ 855260 h 1934496"/>
              <a:gd name="connsiteX2255" fmla="*/ 9733637 w 9922465"/>
              <a:gd name="connsiteY2255" fmla="*/ 724970 h 1934496"/>
              <a:gd name="connsiteX2256" fmla="*/ 9788829 w 9922465"/>
              <a:gd name="connsiteY2256" fmla="*/ 780161 h 1934496"/>
              <a:gd name="connsiteX2257" fmla="*/ 9733637 w 9922465"/>
              <a:gd name="connsiteY2257" fmla="*/ 835352 h 1934496"/>
              <a:gd name="connsiteX2258" fmla="*/ 9678445 w 9922465"/>
              <a:gd name="connsiteY2258" fmla="*/ 780161 h 1934496"/>
              <a:gd name="connsiteX2259" fmla="*/ 9733637 w 9922465"/>
              <a:gd name="connsiteY2259" fmla="*/ 724970 h 1934496"/>
              <a:gd name="connsiteX2260" fmla="*/ 9603344 w 9922465"/>
              <a:gd name="connsiteY2260" fmla="*/ 724970 h 1934496"/>
              <a:gd name="connsiteX2261" fmla="*/ 9658536 w 9922465"/>
              <a:gd name="connsiteY2261" fmla="*/ 780161 h 1934496"/>
              <a:gd name="connsiteX2262" fmla="*/ 9603344 w 9922465"/>
              <a:gd name="connsiteY2262" fmla="*/ 835352 h 1934496"/>
              <a:gd name="connsiteX2263" fmla="*/ 9548152 w 9922465"/>
              <a:gd name="connsiteY2263" fmla="*/ 780161 h 1934496"/>
              <a:gd name="connsiteX2264" fmla="*/ 9603344 w 9922465"/>
              <a:gd name="connsiteY2264" fmla="*/ 724970 h 1934496"/>
              <a:gd name="connsiteX2265" fmla="*/ 9469710 w 9922465"/>
              <a:gd name="connsiteY2265" fmla="*/ 724970 h 1934496"/>
              <a:gd name="connsiteX2266" fmla="*/ 9524902 w 9922465"/>
              <a:gd name="connsiteY2266" fmla="*/ 780161 h 1934496"/>
              <a:gd name="connsiteX2267" fmla="*/ 9469710 w 9922465"/>
              <a:gd name="connsiteY2267" fmla="*/ 835352 h 1934496"/>
              <a:gd name="connsiteX2268" fmla="*/ 9414518 w 9922465"/>
              <a:gd name="connsiteY2268" fmla="*/ 780161 h 1934496"/>
              <a:gd name="connsiteX2269" fmla="*/ 9469710 w 9922465"/>
              <a:gd name="connsiteY2269" fmla="*/ 724970 h 1934496"/>
              <a:gd name="connsiteX2270" fmla="*/ 9336075 w 9922465"/>
              <a:gd name="connsiteY2270" fmla="*/ 724970 h 1934496"/>
              <a:gd name="connsiteX2271" fmla="*/ 9391267 w 9922465"/>
              <a:gd name="connsiteY2271" fmla="*/ 780161 h 1934496"/>
              <a:gd name="connsiteX2272" fmla="*/ 9336075 w 9922465"/>
              <a:gd name="connsiteY2272" fmla="*/ 835352 h 1934496"/>
              <a:gd name="connsiteX2273" fmla="*/ 9280883 w 9922465"/>
              <a:gd name="connsiteY2273" fmla="*/ 780161 h 1934496"/>
              <a:gd name="connsiteX2274" fmla="*/ 9336075 w 9922465"/>
              <a:gd name="connsiteY2274" fmla="*/ 724970 h 1934496"/>
              <a:gd name="connsiteX2275" fmla="*/ 9199100 w 9922465"/>
              <a:gd name="connsiteY2275" fmla="*/ 724970 h 1934496"/>
              <a:gd name="connsiteX2276" fmla="*/ 9254292 w 9922465"/>
              <a:gd name="connsiteY2276" fmla="*/ 780161 h 1934496"/>
              <a:gd name="connsiteX2277" fmla="*/ 9199100 w 9922465"/>
              <a:gd name="connsiteY2277" fmla="*/ 835352 h 1934496"/>
              <a:gd name="connsiteX2278" fmla="*/ 9143908 w 9922465"/>
              <a:gd name="connsiteY2278" fmla="*/ 780161 h 1934496"/>
              <a:gd name="connsiteX2279" fmla="*/ 9199100 w 9922465"/>
              <a:gd name="connsiteY2279" fmla="*/ 724970 h 1934496"/>
              <a:gd name="connsiteX2280" fmla="*/ 9068806 w 9922465"/>
              <a:gd name="connsiteY2280" fmla="*/ 724970 h 1934496"/>
              <a:gd name="connsiteX2281" fmla="*/ 9123998 w 9922465"/>
              <a:gd name="connsiteY2281" fmla="*/ 780161 h 1934496"/>
              <a:gd name="connsiteX2282" fmla="*/ 9068806 w 9922465"/>
              <a:gd name="connsiteY2282" fmla="*/ 835352 h 1934496"/>
              <a:gd name="connsiteX2283" fmla="*/ 9013614 w 9922465"/>
              <a:gd name="connsiteY2283" fmla="*/ 780161 h 1934496"/>
              <a:gd name="connsiteX2284" fmla="*/ 9068806 w 9922465"/>
              <a:gd name="connsiteY2284" fmla="*/ 724970 h 1934496"/>
              <a:gd name="connsiteX2285" fmla="*/ 8935170 w 9922465"/>
              <a:gd name="connsiteY2285" fmla="*/ 724970 h 1934496"/>
              <a:gd name="connsiteX2286" fmla="*/ 8990362 w 9922465"/>
              <a:gd name="connsiteY2286" fmla="*/ 780161 h 1934496"/>
              <a:gd name="connsiteX2287" fmla="*/ 8935170 w 9922465"/>
              <a:gd name="connsiteY2287" fmla="*/ 835352 h 1934496"/>
              <a:gd name="connsiteX2288" fmla="*/ 8879978 w 9922465"/>
              <a:gd name="connsiteY2288" fmla="*/ 780161 h 1934496"/>
              <a:gd name="connsiteX2289" fmla="*/ 8935170 w 9922465"/>
              <a:gd name="connsiteY2289" fmla="*/ 724970 h 1934496"/>
              <a:gd name="connsiteX2290" fmla="*/ 8801536 w 9922465"/>
              <a:gd name="connsiteY2290" fmla="*/ 724970 h 1934496"/>
              <a:gd name="connsiteX2291" fmla="*/ 8856728 w 9922465"/>
              <a:gd name="connsiteY2291" fmla="*/ 780161 h 1934496"/>
              <a:gd name="connsiteX2292" fmla="*/ 8801536 w 9922465"/>
              <a:gd name="connsiteY2292" fmla="*/ 835352 h 1934496"/>
              <a:gd name="connsiteX2293" fmla="*/ 8746344 w 9922465"/>
              <a:gd name="connsiteY2293" fmla="*/ 780161 h 1934496"/>
              <a:gd name="connsiteX2294" fmla="*/ 8801536 w 9922465"/>
              <a:gd name="connsiteY2294" fmla="*/ 724970 h 1934496"/>
              <a:gd name="connsiteX2295" fmla="*/ 8671243 w 9922465"/>
              <a:gd name="connsiteY2295" fmla="*/ 724970 h 1934496"/>
              <a:gd name="connsiteX2296" fmla="*/ 8726435 w 9922465"/>
              <a:gd name="connsiteY2296" fmla="*/ 780161 h 1934496"/>
              <a:gd name="connsiteX2297" fmla="*/ 8671243 w 9922465"/>
              <a:gd name="connsiteY2297" fmla="*/ 835352 h 1934496"/>
              <a:gd name="connsiteX2298" fmla="*/ 8616051 w 9922465"/>
              <a:gd name="connsiteY2298" fmla="*/ 780161 h 1934496"/>
              <a:gd name="connsiteX2299" fmla="*/ 8671243 w 9922465"/>
              <a:gd name="connsiteY2299" fmla="*/ 724970 h 1934496"/>
              <a:gd name="connsiteX2300" fmla="*/ 8537609 w 9922465"/>
              <a:gd name="connsiteY2300" fmla="*/ 724970 h 1934496"/>
              <a:gd name="connsiteX2301" fmla="*/ 8592801 w 9922465"/>
              <a:gd name="connsiteY2301" fmla="*/ 780161 h 1934496"/>
              <a:gd name="connsiteX2302" fmla="*/ 8537609 w 9922465"/>
              <a:gd name="connsiteY2302" fmla="*/ 835352 h 1934496"/>
              <a:gd name="connsiteX2303" fmla="*/ 8482417 w 9922465"/>
              <a:gd name="connsiteY2303" fmla="*/ 780161 h 1934496"/>
              <a:gd name="connsiteX2304" fmla="*/ 8537609 w 9922465"/>
              <a:gd name="connsiteY2304" fmla="*/ 724970 h 1934496"/>
              <a:gd name="connsiteX2305" fmla="*/ 8407318 w 9922465"/>
              <a:gd name="connsiteY2305" fmla="*/ 724970 h 1934496"/>
              <a:gd name="connsiteX2306" fmla="*/ 8462510 w 9922465"/>
              <a:gd name="connsiteY2306" fmla="*/ 780161 h 1934496"/>
              <a:gd name="connsiteX2307" fmla="*/ 8407318 w 9922465"/>
              <a:gd name="connsiteY2307" fmla="*/ 835352 h 1934496"/>
              <a:gd name="connsiteX2308" fmla="*/ 8352126 w 9922465"/>
              <a:gd name="connsiteY2308" fmla="*/ 780161 h 1934496"/>
              <a:gd name="connsiteX2309" fmla="*/ 8407318 w 9922465"/>
              <a:gd name="connsiteY2309" fmla="*/ 724970 h 1934496"/>
              <a:gd name="connsiteX2310" fmla="*/ 8273682 w 9922465"/>
              <a:gd name="connsiteY2310" fmla="*/ 724970 h 1934496"/>
              <a:gd name="connsiteX2311" fmla="*/ 8328874 w 9922465"/>
              <a:gd name="connsiteY2311" fmla="*/ 780161 h 1934496"/>
              <a:gd name="connsiteX2312" fmla="*/ 8273682 w 9922465"/>
              <a:gd name="connsiteY2312" fmla="*/ 835352 h 1934496"/>
              <a:gd name="connsiteX2313" fmla="*/ 8218490 w 9922465"/>
              <a:gd name="connsiteY2313" fmla="*/ 780161 h 1934496"/>
              <a:gd name="connsiteX2314" fmla="*/ 8273682 w 9922465"/>
              <a:gd name="connsiteY2314" fmla="*/ 724970 h 1934496"/>
              <a:gd name="connsiteX2315" fmla="*/ 8143386 w 9922465"/>
              <a:gd name="connsiteY2315" fmla="*/ 724970 h 1934496"/>
              <a:gd name="connsiteX2316" fmla="*/ 8198578 w 9922465"/>
              <a:gd name="connsiteY2316" fmla="*/ 780161 h 1934496"/>
              <a:gd name="connsiteX2317" fmla="*/ 8143386 w 9922465"/>
              <a:gd name="connsiteY2317" fmla="*/ 835352 h 1934496"/>
              <a:gd name="connsiteX2318" fmla="*/ 8088194 w 9922465"/>
              <a:gd name="connsiteY2318" fmla="*/ 780161 h 1934496"/>
              <a:gd name="connsiteX2319" fmla="*/ 8143386 w 9922465"/>
              <a:gd name="connsiteY2319" fmla="*/ 724970 h 1934496"/>
              <a:gd name="connsiteX2320" fmla="*/ 8009753 w 9922465"/>
              <a:gd name="connsiteY2320" fmla="*/ 724970 h 1934496"/>
              <a:gd name="connsiteX2321" fmla="*/ 8064945 w 9922465"/>
              <a:gd name="connsiteY2321" fmla="*/ 780161 h 1934496"/>
              <a:gd name="connsiteX2322" fmla="*/ 8009753 w 9922465"/>
              <a:gd name="connsiteY2322" fmla="*/ 835352 h 1934496"/>
              <a:gd name="connsiteX2323" fmla="*/ 7954561 w 9922465"/>
              <a:gd name="connsiteY2323" fmla="*/ 780161 h 1934496"/>
              <a:gd name="connsiteX2324" fmla="*/ 8009753 w 9922465"/>
              <a:gd name="connsiteY2324" fmla="*/ 724970 h 1934496"/>
              <a:gd name="connsiteX2325" fmla="*/ 7876118 w 9922465"/>
              <a:gd name="connsiteY2325" fmla="*/ 724970 h 1934496"/>
              <a:gd name="connsiteX2326" fmla="*/ 7931310 w 9922465"/>
              <a:gd name="connsiteY2326" fmla="*/ 780161 h 1934496"/>
              <a:gd name="connsiteX2327" fmla="*/ 7876118 w 9922465"/>
              <a:gd name="connsiteY2327" fmla="*/ 835352 h 1934496"/>
              <a:gd name="connsiteX2328" fmla="*/ 7820926 w 9922465"/>
              <a:gd name="connsiteY2328" fmla="*/ 780161 h 1934496"/>
              <a:gd name="connsiteX2329" fmla="*/ 7876118 w 9922465"/>
              <a:gd name="connsiteY2329" fmla="*/ 724970 h 1934496"/>
              <a:gd name="connsiteX2330" fmla="*/ 7745824 w 9922465"/>
              <a:gd name="connsiteY2330" fmla="*/ 724970 h 1934496"/>
              <a:gd name="connsiteX2331" fmla="*/ 7801016 w 9922465"/>
              <a:gd name="connsiteY2331" fmla="*/ 780161 h 1934496"/>
              <a:gd name="connsiteX2332" fmla="*/ 7745824 w 9922465"/>
              <a:gd name="connsiteY2332" fmla="*/ 835352 h 1934496"/>
              <a:gd name="connsiteX2333" fmla="*/ 7690632 w 9922465"/>
              <a:gd name="connsiteY2333" fmla="*/ 780161 h 1934496"/>
              <a:gd name="connsiteX2334" fmla="*/ 7745824 w 9922465"/>
              <a:gd name="connsiteY2334" fmla="*/ 724970 h 1934496"/>
              <a:gd name="connsiteX2335" fmla="*/ 7608850 w 9922465"/>
              <a:gd name="connsiteY2335" fmla="*/ 724970 h 1934496"/>
              <a:gd name="connsiteX2336" fmla="*/ 7664042 w 9922465"/>
              <a:gd name="connsiteY2336" fmla="*/ 780161 h 1934496"/>
              <a:gd name="connsiteX2337" fmla="*/ 7608850 w 9922465"/>
              <a:gd name="connsiteY2337" fmla="*/ 835352 h 1934496"/>
              <a:gd name="connsiteX2338" fmla="*/ 7553658 w 9922465"/>
              <a:gd name="connsiteY2338" fmla="*/ 780161 h 1934496"/>
              <a:gd name="connsiteX2339" fmla="*/ 7608850 w 9922465"/>
              <a:gd name="connsiteY2339" fmla="*/ 724970 h 1934496"/>
              <a:gd name="connsiteX2340" fmla="*/ 7481895 w 9922465"/>
              <a:gd name="connsiteY2340" fmla="*/ 724970 h 1934496"/>
              <a:gd name="connsiteX2341" fmla="*/ 7537087 w 9922465"/>
              <a:gd name="connsiteY2341" fmla="*/ 780161 h 1934496"/>
              <a:gd name="connsiteX2342" fmla="*/ 7481895 w 9922465"/>
              <a:gd name="connsiteY2342" fmla="*/ 835352 h 1934496"/>
              <a:gd name="connsiteX2343" fmla="*/ 7426703 w 9922465"/>
              <a:gd name="connsiteY2343" fmla="*/ 780161 h 1934496"/>
              <a:gd name="connsiteX2344" fmla="*/ 7481895 w 9922465"/>
              <a:gd name="connsiteY2344" fmla="*/ 724970 h 1934496"/>
              <a:gd name="connsiteX2345" fmla="*/ 7341579 w 9922465"/>
              <a:gd name="connsiteY2345" fmla="*/ 724970 h 1934496"/>
              <a:gd name="connsiteX2346" fmla="*/ 7396771 w 9922465"/>
              <a:gd name="connsiteY2346" fmla="*/ 780161 h 1934496"/>
              <a:gd name="connsiteX2347" fmla="*/ 7341579 w 9922465"/>
              <a:gd name="connsiteY2347" fmla="*/ 835352 h 1934496"/>
              <a:gd name="connsiteX2348" fmla="*/ 7286387 w 9922465"/>
              <a:gd name="connsiteY2348" fmla="*/ 780161 h 1934496"/>
              <a:gd name="connsiteX2349" fmla="*/ 7341579 w 9922465"/>
              <a:gd name="connsiteY2349" fmla="*/ 724970 h 1934496"/>
              <a:gd name="connsiteX2350" fmla="*/ 7211286 w 9922465"/>
              <a:gd name="connsiteY2350" fmla="*/ 724970 h 1934496"/>
              <a:gd name="connsiteX2351" fmla="*/ 7266478 w 9922465"/>
              <a:gd name="connsiteY2351" fmla="*/ 780161 h 1934496"/>
              <a:gd name="connsiteX2352" fmla="*/ 7211286 w 9922465"/>
              <a:gd name="connsiteY2352" fmla="*/ 835352 h 1934496"/>
              <a:gd name="connsiteX2353" fmla="*/ 7156094 w 9922465"/>
              <a:gd name="connsiteY2353" fmla="*/ 780161 h 1934496"/>
              <a:gd name="connsiteX2354" fmla="*/ 7211286 w 9922465"/>
              <a:gd name="connsiteY2354" fmla="*/ 724970 h 1934496"/>
              <a:gd name="connsiteX2355" fmla="*/ 7080994 w 9922465"/>
              <a:gd name="connsiteY2355" fmla="*/ 724970 h 1934496"/>
              <a:gd name="connsiteX2356" fmla="*/ 7136186 w 9922465"/>
              <a:gd name="connsiteY2356" fmla="*/ 780161 h 1934496"/>
              <a:gd name="connsiteX2357" fmla="*/ 7080994 w 9922465"/>
              <a:gd name="connsiteY2357" fmla="*/ 835352 h 1934496"/>
              <a:gd name="connsiteX2358" fmla="*/ 7025802 w 9922465"/>
              <a:gd name="connsiteY2358" fmla="*/ 780161 h 1934496"/>
              <a:gd name="connsiteX2359" fmla="*/ 7080994 w 9922465"/>
              <a:gd name="connsiteY2359" fmla="*/ 724970 h 1934496"/>
              <a:gd name="connsiteX2360" fmla="*/ 6947358 w 9922465"/>
              <a:gd name="connsiteY2360" fmla="*/ 724970 h 1934496"/>
              <a:gd name="connsiteX2361" fmla="*/ 7002550 w 9922465"/>
              <a:gd name="connsiteY2361" fmla="*/ 780161 h 1934496"/>
              <a:gd name="connsiteX2362" fmla="*/ 6947358 w 9922465"/>
              <a:gd name="connsiteY2362" fmla="*/ 835352 h 1934496"/>
              <a:gd name="connsiteX2363" fmla="*/ 6892166 w 9922465"/>
              <a:gd name="connsiteY2363" fmla="*/ 780161 h 1934496"/>
              <a:gd name="connsiteX2364" fmla="*/ 6947358 w 9922465"/>
              <a:gd name="connsiteY2364" fmla="*/ 724970 h 1934496"/>
              <a:gd name="connsiteX2365" fmla="*/ 6817064 w 9922465"/>
              <a:gd name="connsiteY2365" fmla="*/ 724970 h 1934496"/>
              <a:gd name="connsiteX2366" fmla="*/ 6872256 w 9922465"/>
              <a:gd name="connsiteY2366" fmla="*/ 780161 h 1934496"/>
              <a:gd name="connsiteX2367" fmla="*/ 6817064 w 9922465"/>
              <a:gd name="connsiteY2367" fmla="*/ 835352 h 1934496"/>
              <a:gd name="connsiteX2368" fmla="*/ 6761872 w 9922465"/>
              <a:gd name="connsiteY2368" fmla="*/ 780161 h 1934496"/>
              <a:gd name="connsiteX2369" fmla="*/ 6817064 w 9922465"/>
              <a:gd name="connsiteY2369" fmla="*/ 724970 h 1934496"/>
              <a:gd name="connsiteX2370" fmla="*/ 6683431 w 9922465"/>
              <a:gd name="connsiteY2370" fmla="*/ 724970 h 1934496"/>
              <a:gd name="connsiteX2371" fmla="*/ 6738623 w 9922465"/>
              <a:gd name="connsiteY2371" fmla="*/ 780161 h 1934496"/>
              <a:gd name="connsiteX2372" fmla="*/ 6683431 w 9922465"/>
              <a:gd name="connsiteY2372" fmla="*/ 835352 h 1934496"/>
              <a:gd name="connsiteX2373" fmla="*/ 6628239 w 9922465"/>
              <a:gd name="connsiteY2373" fmla="*/ 780161 h 1934496"/>
              <a:gd name="connsiteX2374" fmla="*/ 6683431 w 9922465"/>
              <a:gd name="connsiteY2374" fmla="*/ 724970 h 1934496"/>
              <a:gd name="connsiteX2375" fmla="*/ 6553137 w 9922465"/>
              <a:gd name="connsiteY2375" fmla="*/ 724970 h 1934496"/>
              <a:gd name="connsiteX2376" fmla="*/ 6608329 w 9922465"/>
              <a:gd name="connsiteY2376" fmla="*/ 780161 h 1934496"/>
              <a:gd name="connsiteX2377" fmla="*/ 6553137 w 9922465"/>
              <a:gd name="connsiteY2377" fmla="*/ 835352 h 1934496"/>
              <a:gd name="connsiteX2378" fmla="*/ 6497945 w 9922465"/>
              <a:gd name="connsiteY2378" fmla="*/ 780161 h 1934496"/>
              <a:gd name="connsiteX2379" fmla="*/ 6553137 w 9922465"/>
              <a:gd name="connsiteY2379" fmla="*/ 724970 h 1934496"/>
              <a:gd name="connsiteX2380" fmla="*/ 6419503 w 9922465"/>
              <a:gd name="connsiteY2380" fmla="*/ 724970 h 1934496"/>
              <a:gd name="connsiteX2381" fmla="*/ 6474695 w 9922465"/>
              <a:gd name="connsiteY2381" fmla="*/ 780161 h 1934496"/>
              <a:gd name="connsiteX2382" fmla="*/ 6419503 w 9922465"/>
              <a:gd name="connsiteY2382" fmla="*/ 835352 h 1934496"/>
              <a:gd name="connsiteX2383" fmla="*/ 6364311 w 9922465"/>
              <a:gd name="connsiteY2383" fmla="*/ 780161 h 1934496"/>
              <a:gd name="connsiteX2384" fmla="*/ 6419503 w 9922465"/>
              <a:gd name="connsiteY2384" fmla="*/ 724970 h 1934496"/>
              <a:gd name="connsiteX2385" fmla="*/ 6289207 w 9922465"/>
              <a:gd name="connsiteY2385" fmla="*/ 724970 h 1934496"/>
              <a:gd name="connsiteX2386" fmla="*/ 6344399 w 9922465"/>
              <a:gd name="connsiteY2386" fmla="*/ 780161 h 1934496"/>
              <a:gd name="connsiteX2387" fmla="*/ 6289207 w 9922465"/>
              <a:gd name="connsiteY2387" fmla="*/ 835352 h 1934496"/>
              <a:gd name="connsiteX2388" fmla="*/ 6234015 w 9922465"/>
              <a:gd name="connsiteY2388" fmla="*/ 780161 h 1934496"/>
              <a:gd name="connsiteX2389" fmla="*/ 6289207 w 9922465"/>
              <a:gd name="connsiteY2389" fmla="*/ 724970 h 1934496"/>
              <a:gd name="connsiteX2390" fmla="*/ 6155573 w 9922465"/>
              <a:gd name="connsiteY2390" fmla="*/ 724970 h 1934496"/>
              <a:gd name="connsiteX2391" fmla="*/ 6210765 w 9922465"/>
              <a:gd name="connsiteY2391" fmla="*/ 780161 h 1934496"/>
              <a:gd name="connsiteX2392" fmla="*/ 6155573 w 9922465"/>
              <a:gd name="connsiteY2392" fmla="*/ 835352 h 1934496"/>
              <a:gd name="connsiteX2393" fmla="*/ 6100381 w 9922465"/>
              <a:gd name="connsiteY2393" fmla="*/ 780161 h 1934496"/>
              <a:gd name="connsiteX2394" fmla="*/ 6155573 w 9922465"/>
              <a:gd name="connsiteY2394" fmla="*/ 724970 h 1934496"/>
              <a:gd name="connsiteX2395" fmla="*/ 5621035 w 9922465"/>
              <a:gd name="connsiteY2395" fmla="*/ 724970 h 1934496"/>
              <a:gd name="connsiteX2396" fmla="*/ 5676227 w 9922465"/>
              <a:gd name="connsiteY2396" fmla="*/ 780161 h 1934496"/>
              <a:gd name="connsiteX2397" fmla="*/ 5621035 w 9922465"/>
              <a:gd name="connsiteY2397" fmla="*/ 835352 h 1934496"/>
              <a:gd name="connsiteX2398" fmla="*/ 5565843 w 9922465"/>
              <a:gd name="connsiteY2398" fmla="*/ 780161 h 1934496"/>
              <a:gd name="connsiteX2399" fmla="*/ 5621035 w 9922465"/>
              <a:gd name="connsiteY2399" fmla="*/ 724970 h 1934496"/>
              <a:gd name="connsiteX2400" fmla="*/ 5487399 w 9922465"/>
              <a:gd name="connsiteY2400" fmla="*/ 724970 h 1934496"/>
              <a:gd name="connsiteX2401" fmla="*/ 5542591 w 9922465"/>
              <a:gd name="connsiteY2401" fmla="*/ 780161 h 1934496"/>
              <a:gd name="connsiteX2402" fmla="*/ 5487399 w 9922465"/>
              <a:gd name="connsiteY2402" fmla="*/ 835352 h 1934496"/>
              <a:gd name="connsiteX2403" fmla="*/ 5432207 w 9922465"/>
              <a:gd name="connsiteY2403" fmla="*/ 780161 h 1934496"/>
              <a:gd name="connsiteX2404" fmla="*/ 5487399 w 9922465"/>
              <a:gd name="connsiteY2404" fmla="*/ 724970 h 1934496"/>
              <a:gd name="connsiteX2405" fmla="*/ 5357106 w 9922465"/>
              <a:gd name="connsiteY2405" fmla="*/ 724970 h 1934496"/>
              <a:gd name="connsiteX2406" fmla="*/ 5412298 w 9922465"/>
              <a:gd name="connsiteY2406" fmla="*/ 780161 h 1934496"/>
              <a:gd name="connsiteX2407" fmla="*/ 5357106 w 9922465"/>
              <a:gd name="connsiteY2407" fmla="*/ 835352 h 1934496"/>
              <a:gd name="connsiteX2408" fmla="*/ 5301914 w 9922465"/>
              <a:gd name="connsiteY2408" fmla="*/ 780161 h 1934496"/>
              <a:gd name="connsiteX2409" fmla="*/ 5357106 w 9922465"/>
              <a:gd name="connsiteY2409" fmla="*/ 724970 h 1934496"/>
              <a:gd name="connsiteX2410" fmla="*/ 5223473 w 9922465"/>
              <a:gd name="connsiteY2410" fmla="*/ 724970 h 1934496"/>
              <a:gd name="connsiteX2411" fmla="*/ 5278665 w 9922465"/>
              <a:gd name="connsiteY2411" fmla="*/ 780161 h 1934496"/>
              <a:gd name="connsiteX2412" fmla="*/ 5223473 w 9922465"/>
              <a:gd name="connsiteY2412" fmla="*/ 835352 h 1934496"/>
              <a:gd name="connsiteX2413" fmla="*/ 5168281 w 9922465"/>
              <a:gd name="connsiteY2413" fmla="*/ 780161 h 1934496"/>
              <a:gd name="connsiteX2414" fmla="*/ 5223473 w 9922465"/>
              <a:gd name="connsiteY2414" fmla="*/ 724970 h 1934496"/>
              <a:gd name="connsiteX2415" fmla="*/ 5093178 w 9922465"/>
              <a:gd name="connsiteY2415" fmla="*/ 724970 h 1934496"/>
              <a:gd name="connsiteX2416" fmla="*/ 5148370 w 9922465"/>
              <a:gd name="connsiteY2416" fmla="*/ 780161 h 1934496"/>
              <a:gd name="connsiteX2417" fmla="*/ 5093178 w 9922465"/>
              <a:gd name="connsiteY2417" fmla="*/ 835352 h 1934496"/>
              <a:gd name="connsiteX2418" fmla="*/ 5037986 w 9922465"/>
              <a:gd name="connsiteY2418" fmla="*/ 780161 h 1934496"/>
              <a:gd name="connsiteX2419" fmla="*/ 5093178 w 9922465"/>
              <a:gd name="connsiteY2419" fmla="*/ 724970 h 1934496"/>
              <a:gd name="connsiteX2420" fmla="*/ 3897148 w 9922465"/>
              <a:gd name="connsiteY2420" fmla="*/ 724970 h 1934496"/>
              <a:gd name="connsiteX2421" fmla="*/ 3952340 w 9922465"/>
              <a:gd name="connsiteY2421" fmla="*/ 780161 h 1934496"/>
              <a:gd name="connsiteX2422" fmla="*/ 3897148 w 9922465"/>
              <a:gd name="connsiteY2422" fmla="*/ 835352 h 1934496"/>
              <a:gd name="connsiteX2423" fmla="*/ 3841956 w 9922465"/>
              <a:gd name="connsiteY2423" fmla="*/ 780161 h 1934496"/>
              <a:gd name="connsiteX2424" fmla="*/ 3897148 w 9922465"/>
              <a:gd name="connsiteY2424" fmla="*/ 724970 h 1934496"/>
              <a:gd name="connsiteX2425" fmla="*/ 3763514 w 9922465"/>
              <a:gd name="connsiteY2425" fmla="*/ 724970 h 1934496"/>
              <a:gd name="connsiteX2426" fmla="*/ 3818706 w 9922465"/>
              <a:gd name="connsiteY2426" fmla="*/ 780161 h 1934496"/>
              <a:gd name="connsiteX2427" fmla="*/ 3763514 w 9922465"/>
              <a:gd name="connsiteY2427" fmla="*/ 835352 h 1934496"/>
              <a:gd name="connsiteX2428" fmla="*/ 3708322 w 9922465"/>
              <a:gd name="connsiteY2428" fmla="*/ 780161 h 1934496"/>
              <a:gd name="connsiteX2429" fmla="*/ 3763514 w 9922465"/>
              <a:gd name="connsiteY2429" fmla="*/ 724970 h 1934496"/>
              <a:gd name="connsiteX2430" fmla="*/ 3633221 w 9922465"/>
              <a:gd name="connsiteY2430" fmla="*/ 724970 h 1934496"/>
              <a:gd name="connsiteX2431" fmla="*/ 3688413 w 9922465"/>
              <a:gd name="connsiteY2431" fmla="*/ 780161 h 1934496"/>
              <a:gd name="connsiteX2432" fmla="*/ 3633221 w 9922465"/>
              <a:gd name="connsiteY2432" fmla="*/ 835352 h 1934496"/>
              <a:gd name="connsiteX2433" fmla="*/ 3578029 w 9922465"/>
              <a:gd name="connsiteY2433" fmla="*/ 780161 h 1934496"/>
              <a:gd name="connsiteX2434" fmla="*/ 3633221 w 9922465"/>
              <a:gd name="connsiteY2434" fmla="*/ 724970 h 1934496"/>
              <a:gd name="connsiteX2435" fmla="*/ 3499586 w 9922465"/>
              <a:gd name="connsiteY2435" fmla="*/ 724970 h 1934496"/>
              <a:gd name="connsiteX2436" fmla="*/ 3554778 w 9922465"/>
              <a:gd name="connsiteY2436" fmla="*/ 780161 h 1934496"/>
              <a:gd name="connsiteX2437" fmla="*/ 3499586 w 9922465"/>
              <a:gd name="connsiteY2437" fmla="*/ 835352 h 1934496"/>
              <a:gd name="connsiteX2438" fmla="*/ 3444394 w 9922465"/>
              <a:gd name="connsiteY2438" fmla="*/ 780161 h 1934496"/>
              <a:gd name="connsiteX2439" fmla="*/ 3499586 w 9922465"/>
              <a:gd name="connsiteY2439" fmla="*/ 724970 h 1934496"/>
              <a:gd name="connsiteX2440" fmla="*/ 3369292 w 9922465"/>
              <a:gd name="connsiteY2440" fmla="*/ 724970 h 1934496"/>
              <a:gd name="connsiteX2441" fmla="*/ 3424484 w 9922465"/>
              <a:gd name="connsiteY2441" fmla="*/ 780161 h 1934496"/>
              <a:gd name="connsiteX2442" fmla="*/ 3369292 w 9922465"/>
              <a:gd name="connsiteY2442" fmla="*/ 835352 h 1934496"/>
              <a:gd name="connsiteX2443" fmla="*/ 3314100 w 9922465"/>
              <a:gd name="connsiteY2443" fmla="*/ 780161 h 1934496"/>
              <a:gd name="connsiteX2444" fmla="*/ 3369292 w 9922465"/>
              <a:gd name="connsiteY2444" fmla="*/ 724970 h 1934496"/>
              <a:gd name="connsiteX2445" fmla="*/ 2834856 w 9922465"/>
              <a:gd name="connsiteY2445" fmla="*/ 724970 h 1934496"/>
              <a:gd name="connsiteX2446" fmla="*/ 2890049 w 9922465"/>
              <a:gd name="connsiteY2446" fmla="*/ 780161 h 1934496"/>
              <a:gd name="connsiteX2447" fmla="*/ 2834856 w 9922465"/>
              <a:gd name="connsiteY2447" fmla="*/ 835352 h 1934496"/>
              <a:gd name="connsiteX2448" fmla="*/ 2779665 w 9922465"/>
              <a:gd name="connsiteY2448" fmla="*/ 780161 h 1934496"/>
              <a:gd name="connsiteX2449" fmla="*/ 2834856 w 9922465"/>
              <a:gd name="connsiteY2449" fmla="*/ 724970 h 1934496"/>
              <a:gd name="connsiteX2450" fmla="*/ 2707901 w 9922465"/>
              <a:gd name="connsiteY2450" fmla="*/ 724970 h 1934496"/>
              <a:gd name="connsiteX2451" fmla="*/ 2763094 w 9922465"/>
              <a:gd name="connsiteY2451" fmla="*/ 780161 h 1934496"/>
              <a:gd name="connsiteX2452" fmla="*/ 2707901 w 9922465"/>
              <a:gd name="connsiteY2452" fmla="*/ 835352 h 1934496"/>
              <a:gd name="connsiteX2453" fmla="*/ 2652711 w 9922465"/>
              <a:gd name="connsiteY2453" fmla="*/ 780161 h 1934496"/>
              <a:gd name="connsiteX2454" fmla="*/ 2707901 w 9922465"/>
              <a:gd name="connsiteY2454" fmla="*/ 724970 h 1934496"/>
              <a:gd name="connsiteX2455" fmla="*/ 2570929 w 9922465"/>
              <a:gd name="connsiteY2455" fmla="*/ 724970 h 1934496"/>
              <a:gd name="connsiteX2456" fmla="*/ 2626122 w 9922465"/>
              <a:gd name="connsiteY2456" fmla="*/ 780161 h 1934496"/>
              <a:gd name="connsiteX2457" fmla="*/ 2570929 w 9922465"/>
              <a:gd name="connsiteY2457" fmla="*/ 835352 h 1934496"/>
              <a:gd name="connsiteX2458" fmla="*/ 2515735 w 9922465"/>
              <a:gd name="connsiteY2458" fmla="*/ 780161 h 1934496"/>
              <a:gd name="connsiteX2459" fmla="*/ 2570929 w 9922465"/>
              <a:gd name="connsiteY2459" fmla="*/ 724970 h 1934496"/>
              <a:gd name="connsiteX2460" fmla="*/ 2437294 w 9922465"/>
              <a:gd name="connsiteY2460" fmla="*/ 724970 h 1934496"/>
              <a:gd name="connsiteX2461" fmla="*/ 2492487 w 9922465"/>
              <a:gd name="connsiteY2461" fmla="*/ 780161 h 1934496"/>
              <a:gd name="connsiteX2462" fmla="*/ 2437294 w 9922465"/>
              <a:gd name="connsiteY2462" fmla="*/ 835352 h 1934496"/>
              <a:gd name="connsiteX2463" fmla="*/ 2382104 w 9922465"/>
              <a:gd name="connsiteY2463" fmla="*/ 780161 h 1934496"/>
              <a:gd name="connsiteX2464" fmla="*/ 2437294 w 9922465"/>
              <a:gd name="connsiteY2464" fmla="*/ 724970 h 1934496"/>
              <a:gd name="connsiteX2465" fmla="*/ 2303662 w 9922465"/>
              <a:gd name="connsiteY2465" fmla="*/ 724970 h 1934496"/>
              <a:gd name="connsiteX2466" fmla="*/ 2358853 w 9922465"/>
              <a:gd name="connsiteY2466" fmla="*/ 780161 h 1934496"/>
              <a:gd name="connsiteX2467" fmla="*/ 2303662 w 9922465"/>
              <a:gd name="connsiteY2467" fmla="*/ 835352 h 1934496"/>
              <a:gd name="connsiteX2468" fmla="*/ 2248471 w 9922465"/>
              <a:gd name="connsiteY2468" fmla="*/ 780161 h 1934496"/>
              <a:gd name="connsiteX2469" fmla="*/ 2303662 w 9922465"/>
              <a:gd name="connsiteY2469" fmla="*/ 724970 h 1934496"/>
              <a:gd name="connsiteX2470" fmla="*/ 2173371 w 9922465"/>
              <a:gd name="connsiteY2470" fmla="*/ 724970 h 1934496"/>
              <a:gd name="connsiteX2471" fmla="*/ 2228562 w 9922465"/>
              <a:gd name="connsiteY2471" fmla="*/ 780161 h 1934496"/>
              <a:gd name="connsiteX2472" fmla="*/ 2173371 w 9922465"/>
              <a:gd name="connsiteY2472" fmla="*/ 835352 h 1934496"/>
              <a:gd name="connsiteX2473" fmla="*/ 2118177 w 9922465"/>
              <a:gd name="connsiteY2473" fmla="*/ 780161 h 1934496"/>
              <a:gd name="connsiteX2474" fmla="*/ 2173371 w 9922465"/>
              <a:gd name="connsiteY2474" fmla="*/ 724970 h 1934496"/>
              <a:gd name="connsiteX2475" fmla="*/ 2039733 w 9922465"/>
              <a:gd name="connsiteY2475" fmla="*/ 724970 h 1934496"/>
              <a:gd name="connsiteX2476" fmla="*/ 2094927 w 9922465"/>
              <a:gd name="connsiteY2476" fmla="*/ 780161 h 1934496"/>
              <a:gd name="connsiteX2477" fmla="*/ 2039733 w 9922465"/>
              <a:gd name="connsiteY2477" fmla="*/ 835352 h 1934496"/>
              <a:gd name="connsiteX2478" fmla="*/ 1984539 w 9922465"/>
              <a:gd name="connsiteY2478" fmla="*/ 780161 h 1934496"/>
              <a:gd name="connsiteX2479" fmla="*/ 2039733 w 9922465"/>
              <a:gd name="connsiteY2479" fmla="*/ 724970 h 1934496"/>
              <a:gd name="connsiteX2480" fmla="*/ 1909436 w 9922465"/>
              <a:gd name="connsiteY2480" fmla="*/ 724970 h 1934496"/>
              <a:gd name="connsiteX2481" fmla="*/ 1964630 w 9922465"/>
              <a:gd name="connsiteY2481" fmla="*/ 780161 h 1934496"/>
              <a:gd name="connsiteX2482" fmla="*/ 1909436 w 9922465"/>
              <a:gd name="connsiteY2482" fmla="*/ 835352 h 1934496"/>
              <a:gd name="connsiteX2483" fmla="*/ 1854243 w 9922465"/>
              <a:gd name="connsiteY2483" fmla="*/ 780161 h 1934496"/>
              <a:gd name="connsiteX2484" fmla="*/ 1909436 w 9922465"/>
              <a:gd name="connsiteY2484" fmla="*/ 724970 h 1934496"/>
              <a:gd name="connsiteX2485" fmla="*/ 1779142 w 9922465"/>
              <a:gd name="connsiteY2485" fmla="*/ 724970 h 1934496"/>
              <a:gd name="connsiteX2486" fmla="*/ 1834335 w 9922465"/>
              <a:gd name="connsiteY2486" fmla="*/ 780161 h 1934496"/>
              <a:gd name="connsiteX2487" fmla="*/ 1779142 w 9922465"/>
              <a:gd name="connsiteY2487" fmla="*/ 835352 h 1934496"/>
              <a:gd name="connsiteX2488" fmla="*/ 1723947 w 9922465"/>
              <a:gd name="connsiteY2488" fmla="*/ 780161 h 1934496"/>
              <a:gd name="connsiteX2489" fmla="*/ 1779142 w 9922465"/>
              <a:gd name="connsiteY2489" fmla="*/ 724970 h 1934496"/>
              <a:gd name="connsiteX2490" fmla="*/ 1645501 w 9922465"/>
              <a:gd name="connsiteY2490" fmla="*/ 724970 h 1934496"/>
              <a:gd name="connsiteX2491" fmla="*/ 1700699 w 9922465"/>
              <a:gd name="connsiteY2491" fmla="*/ 780161 h 1934496"/>
              <a:gd name="connsiteX2492" fmla="*/ 1645501 w 9922465"/>
              <a:gd name="connsiteY2492" fmla="*/ 835352 h 1934496"/>
              <a:gd name="connsiteX2493" fmla="*/ 1590310 w 9922465"/>
              <a:gd name="connsiteY2493" fmla="*/ 780161 h 1934496"/>
              <a:gd name="connsiteX2494" fmla="*/ 1645501 w 9922465"/>
              <a:gd name="connsiteY2494" fmla="*/ 724970 h 1934496"/>
              <a:gd name="connsiteX2495" fmla="*/ 1515213 w 9922465"/>
              <a:gd name="connsiteY2495" fmla="*/ 724970 h 1934496"/>
              <a:gd name="connsiteX2496" fmla="*/ 1570399 w 9922465"/>
              <a:gd name="connsiteY2496" fmla="*/ 780161 h 1934496"/>
              <a:gd name="connsiteX2497" fmla="*/ 1515213 w 9922465"/>
              <a:gd name="connsiteY2497" fmla="*/ 835352 h 1934496"/>
              <a:gd name="connsiteX2498" fmla="*/ 1460016 w 9922465"/>
              <a:gd name="connsiteY2498" fmla="*/ 780161 h 1934496"/>
              <a:gd name="connsiteX2499" fmla="*/ 1515213 w 9922465"/>
              <a:gd name="connsiteY2499" fmla="*/ 724970 h 1934496"/>
              <a:gd name="connsiteX2500" fmla="*/ 1381573 w 9922465"/>
              <a:gd name="connsiteY2500" fmla="*/ 724970 h 1934496"/>
              <a:gd name="connsiteX2501" fmla="*/ 1436767 w 9922465"/>
              <a:gd name="connsiteY2501" fmla="*/ 780161 h 1934496"/>
              <a:gd name="connsiteX2502" fmla="*/ 1381573 w 9922465"/>
              <a:gd name="connsiteY2502" fmla="*/ 835352 h 1934496"/>
              <a:gd name="connsiteX2503" fmla="*/ 1326381 w 9922465"/>
              <a:gd name="connsiteY2503" fmla="*/ 780161 h 1934496"/>
              <a:gd name="connsiteX2504" fmla="*/ 1381573 w 9922465"/>
              <a:gd name="connsiteY2504" fmla="*/ 724970 h 1934496"/>
              <a:gd name="connsiteX2505" fmla="*/ 1251282 w 9922465"/>
              <a:gd name="connsiteY2505" fmla="*/ 724970 h 1934496"/>
              <a:gd name="connsiteX2506" fmla="*/ 1306475 w 9922465"/>
              <a:gd name="connsiteY2506" fmla="*/ 780161 h 1934496"/>
              <a:gd name="connsiteX2507" fmla="*/ 1251282 w 9922465"/>
              <a:gd name="connsiteY2507" fmla="*/ 835352 h 1934496"/>
              <a:gd name="connsiteX2508" fmla="*/ 1196089 w 9922465"/>
              <a:gd name="connsiteY2508" fmla="*/ 780161 h 1934496"/>
              <a:gd name="connsiteX2509" fmla="*/ 1251282 w 9922465"/>
              <a:gd name="connsiteY2509" fmla="*/ 724970 h 1934496"/>
              <a:gd name="connsiteX2510" fmla="*/ 1117642 w 9922465"/>
              <a:gd name="connsiteY2510" fmla="*/ 724970 h 1934496"/>
              <a:gd name="connsiteX2511" fmla="*/ 1172836 w 9922465"/>
              <a:gd name="connsiteY2511" fmla="*/ 780161 h 1934496"/>
              <a:gd name="connsiteX2512" fmla="*/ 1117642 w 9922465"/>
              <a:gd name="connsiteY2512" fmla="*/ 835352 h 1934496"/>
              <a:gd name="connsiteX2513" fmla="*/ 1062448 w 9922465"/>
              <a:gd name="connsiteY2513" fmla="*/ 780161 h 1934496"/>
              <a:gd name="connsiteX2514" fmla="*/ 1117642 w 9922465"/>
              <a:gd name="connsiteY2514" fmla="*/ 724970 h 1934496"/>
              <a:gd name="connsiteX2515" fmla="*/ 980664 w 9922465"/>
              <a:gd name="connsiteY2515" fmla="*/ 724970 h 1934496"/>
              <a:gd name="connsiteX2516" fmla="*/ 1035857 w 9922465"/>
              <a:gd name="connsiteY2516" fmla="*/ 780161 h 1934496"/>
              <a:gd name="connsiteX2517" fmla="*/ 980664 w 9922465"/>
              <a:gd name="connsiteY2517" fmla="*/ 835352 h 1934496"/>
              <a:gd name="connsiteX2518" fmla="*/ 925471 w 9922465"/>
              <a:gd name="connsiteY2518" fmla="*/ 780161 h 1934496"/>
              <a:gd name="connsiteX2519" fmla="*/ 980664 w 9922465"/>
              <a:gd name="connsiteY2519" fmla="*/ 724970 h 1934496"/>
              <a:gd name="connsiteX2520" fmla="*/ 847022 w 9922465"/>
              <a:gd name="connsiteY2520" fmla="*/ 724970 h 1934496"/>
              <a:gd name="connsiteX2521" fmla="*/ 902217 w 9922465"/>
              <a:gd name="connsiteY2521" fmla="*/ 780161 h 1934496"/>
              <a:gd name="connsiteX2522" fmla="*/ 847022 w 9922465"/>
              <a:gd name="connsiteY2522" fmla="*/ 835352 h 1934496"/>
              <a:gd name="connsiteX2523" fmla="*/ 791823 w 9922465"/>
              <a:gd name="connsiteY2523" fmla="*/ 780161 h 1934496"/>
              <a:gd name="connsiteX2524" fmla="*/ 847022 w 9922465"/>
              <a:gd name="connsiteY2524" fmla="*/ 724970 h 1934496"/>
              <a:gd name="connsiteX2525" fmla="*/ 716722 w 9922465"/>
              <a:gd name="connsiteY2525" fmla="*/ 724970 h 1934496"/>
              <a:gd name="connsiteX2526" fmla="*/ 771916 w 9922465"/>
              <a:gd name="connsiteY2526" fmla="*/ 780161 h 1934496"/>
              <a:gd name="connsiteX2527" fmla="*/ 716722 w 9922465"/>
              <a:gd name="connsiteY2527" fmla="*/ 835352 h 1934496"/>
              <a:gd name="connsiteX2528" fmla="*/ 661530 w 9922465"/>
              <a:gd name="connsiteY2528" fmla="*/ 780161 h 1934496"/>
              <a:gd name="connsiteX2529" fmla="*/ 716722 w 9922465"/>
              <a:gd name="connsiteY2529" fmla="*/ 724970 h 1934496"/>
              <a:gd name="connsiteX2530" fmla="*/ 583085 w 9922465"/>
              <a:gd name="connsiteY2530" fmla="*/ 724970 h 1934496"/>
              <a:gd name="connsiteX2531" fmla="*/ 638278 w 9922465"/>
              <a:gd name="connsiteY2531" fmla="*/ 780161 h 1934496"/>
              <a:gd name="connsiteX2532" fmla="*/ 583085 w 9922465"/>
              <a:gd name="connsiteY2532" fmla="*/ 835352 h 1934496"/>
              <a:gd name="connsiteX2533" fmla="*/ 527891 w 9922465"/>
              <a:gd name="connsiteY2533" fmla="*/ 780161 h 1934496"/>
              <a:gd name="connsiteX2534" fmla="*/ 583085 w 9922465"/>
              <a:gd name="connsiteY2534" fmla="*/ 724970 h 1934496"/>
              <a:gd name="connsiteX2535" fmla="*/ 449437 w 9922465"/>
              <a:gd name="connsiteY2535" fmla="*/ 724970 h 1934496"/>
              <a:gd name="connsiteX2536" fmla="*/ 504629 w 9922465"/>
              <a:gd name="connsiteY2536" fmla="*/ 780161 h 1934496"/>
              <a:gd name="connsiteX2537" fmla="*/ 449437 w 9922465"/>
              <a:gd name="connsiteY2537" fmla="*/ 835352 h 1934496"/>
              <a:gd name="connsiteX2538" fmla="*/ 394244 w 9922465"/>
              <a:gd name="connsiteY2538" fmla="*/ 780161 h 1934496"/>
              <a:gd name="connsiteX2539" fmla="*/ 449437 w 9922465"/>
              <a:gd name="connsiteY2539" fmla="*/ 724970 h 1934496"/>
              <a:gd name="connsiteX2540" fmla="*/ 319140 w 9922465"/>
              <a:gd name="connsiteY2540" fmla="*/ 724970 h 1934496"/>
              <a:gd name="connsiteX2541" fmla="*/ 374334 w 9922465"/>
              <a:gd name="connsiteY2541" fmla="*/ 780161 h 1934496"/>
              <a:gd name="connsiteX2542" fmla="*/ 319140 w 9922465"/>
              <a:gd name="connsiteY2542" fmla="*/ 835352 h 1934496"/>
              <a:gd name="connsiteX2543" fmla="*/ 263948 w 9922465"/>
              <a:gd name="connsiteY2543" fmla="*/ 780161 h 1934496"/>
              <a:gd name="connsiteX2544" fmla="*/ 319140 w 9922465"/>
              <a:gd name="connsiteY2544" fmla="*/ 724970 h 1934496"/>
              <a:gd name="connsiteX2545" fmla="*/ 185509 w 9922465"/>
              <a:gd name="connsiteY2545" fmla="*/ 724970 h 1934496"/>
              <a:gd name="connsiteX2546" fmla="*/ 240701 w 9922465"/>
              <a:gd name="connsiteY2546" fmla="*/ 780161 h 1934496"/>
              <a:gd name="connsiteX2547" fmla="*/ 185509 w 9922465"/>
              <a:gd name="connsiteY2547" fmla="*/ 835352 h 1934496"/>
              <a:gd name="connsiteX2548" fmla="*/ 130319 w 9922465"/>
              <a:gd name="connsiteY2548" fmla="*/ 780161 h 1934496"/>
              <a:gd name="connsiteX2549" fmla="*/ 185509 w 9922465"/>
              <a:gd name="connsiteY2549" fmla="*/ 724970 h 1934496"/>
              <a:gd name="connsiteX2550" fmla="*/ 8801538 w 9922465"/>
              <a:gd name="connsiteY2550" fmla="*/ 608039 h 1934496"/>
              <a:gd name="connsiteX2551" fmla="*/ 8856730 w 9922465"/>
              <a:gd name="connsiteY2551" fmla="*/ 663230 h 1934496"/>
              <a:gd name="connsiteX2552" fmla="*/ 8801538 w 9922465"/>
              <a:gd name="connsiteY2552" fmla="*/ 718421 h 1934496"/>
              <a:gd name="connsiteX2553" fmla="*/ 8746346 w 9922465"/>
              <a:gd name="connsiteY2553" fmla="*/ 663230 h 1934496"/>
              <a:gd name="connsiteX2554" fmla="*/ 8801538 w 9922465"/>
              <a:gd name="connsiteY2554" fmla="*/ 608039 h 1934496"/>
              <a:gd name="connsiteX2555" fmla="*/ 8671244 w 9922465"/>
              <a:gd name="connsiteY2555" fmla="*/ 608039 h 1934496"/>
              <a:gd name="connsiteX2556" fmla="*/ 8726436 w 9922465"/>
              <a:gd name="connsiteY2556" fmla="*/ 663230 h 1934496"/>
              <a:gd name="connsiteX2557" fmla="*/ 8671244 w 9922465"/>
              <a:gd name="connsiteY2557" fmla="*/ 718421 h 1934496"/>
              <a:gd name="connsiteX2558" fmla="*/ 8616052 w 9922465"/>
              <a:gd name="connsiteY2558" fmla="*/ 663230 h 1934496"/>
              <a:gd name="connsiteX2559" fmla="*/ 8671244 w 9922465"/>
              <a:gd name="connsiteY2559" fmla="*/ 608039 h 1934496"/>
              <a:gd name="connsiteX2560" fmla="*/ 8537609 w 9922465"/>
              <a:gd name="connsiteY2560" fmla="*/ 608039 h 1934496"/>
              <a:gd name="connsiteX2561" fmla="*/ 8592801 w 9922465"/>
              <a:gd name="connsiteY2561" fmla="*/ 663230 h 1934496"/>
              <a:gd name="connsiteX2562" fmla="*/ 8537609 w 9922465"/>
              <a:gd name="connsiteY2562" fmla="*/ 718421 h 1934496"/>
              <a:gd name="connsiteX2563" fmla="*/ 8482417 w 9922465"/>
              <a:gd name="connsiteY2563" fmla="*/ 663230 h 1934496"/>
              <a:gd name="connsiteX2564" fmla="*/ 8537609 w 9922465"/>
              <a:gd name="connsiteY2564" fmla="*/ 608039 h 1934496"/>
              <a:gd name="connsiteX2565" fmla="*/ 8407318 w 9922465"/>
              <a:gd name="connsiteY2565" fmla="*/ 608039 h 1934496"/>
              <a:gd name="connsiteX2566" fmla="*/ 8462510 w 9922465"/>
              <a:gd name="connsiteY2566" fmla="*/ 663230 h 1934496"/>
              <a:gd name="connsiteX2567" fmla="*/ 8407318 w 9922465"/>
              <a:gd name="connsiteY2567" fmla="*/ 718421 h 1934496"/>
              <a:gd name="connsiteX2568" fmla="*/ 8352126 w 9922465"/>
              <a:gd name="connsiteY2568" fmla="*/ 663230 h 1934496"/>
              <a:gd name="connsiteX2569" fmla="*/ 8407318 w 9922465"/>
              <a:gd name="connsiteY2569" fmla="*/ 608039 h 1934496"/>
              <a:gd name="connsiteX2570" fmla="*/ 8273682 w 9922465"/>
              <a:gd name="connsiteY2570" fmla="*/ 608039 h 1934496"/>
              <a:gd name="connsiteX2571" fmla="*/ 8328874 w 9922465"/>
              <a:gd name="connsiteY2571" fmla="*/ 663230 h 1934496"/>
              <a:gd name="connsiteX2572" fmla="*/ 8273682 w 9922465"/>
              <a:gd name="connsiteY2572" fmla="*/ 718421 h 1934496"/>
              <a:gd name="connsiteX2573" fmla="*/ 8218490 w 9922465"/>
              <a:gd name="connsiteY2573" fmla="*/ 663230 h 1934496"/>
              <a:gd name="connsiteX2574" fmla="*/ 8273682 w 9922465"/>
              <a:gd name="connsiteY2574" fmla="*/ 608039 h 1934496"/>
              <a:gd name="connsiteX2575" fmla="*/ 8143386 w 9922465"/>
              <a:gd name="connsiteY2575" fmla="*/ 608039 h 1934496"/>
              <a:gd name="connsiteX2576" fmla="*/ 8198578 w 9922465"/>
              <a:gd name="connsiteY2576" fmla="*/ 663230 h 1934496"/>
              <a:gd name="connsiteX2577" fmla="*/ 8143386 w 9922465"/>
              <a:gd name="connsiteY2577" fmla="*/ 718421 h 1934496"/>
              <a:gd name="connsiteX2578" fmla="*/ 8088194 w 9922465"/>
              <a:gd name="connsiteY2578" fmla="*/ 663230 h 1934496"/>
              <a:gd name="connsiteX2579" fmla="*/ 8143386 w 9922465"/>
              <a:gd name="connsiteY2579" fmla="*/ 608039 h 1934496"/>
              <a:gd name="connsiteX2580" fmla="*/ 8009753 w 9922465"/>
              <a:gd name="connsiteY2580" fmla="*/ 608039 h 1934496"/>
              <a:gd name="connsiteX2581" fmla="*/ 8064945 w 9922465"/>
              <a:gd name="connsiteY2581" fmla="*/ 663230 h 1934496"/>
              <a:gd name="connsiteX2582" fmla="*/ 8009753 w 9922465"/>
              <a:gd name="connsiteY2582" fmla="*/ 718421 h 1934496"/>
              <a:gd name="connsiteX2583" fmla="*/ 7954561 w 9922465"/>
              <a:gd name="connsiteY2583" fmla="*/ 663230 h 1934496"/>
              <a:gd name="connsiteX2584" fmla="*/ 8009753 w 9922465"/>
              <a:gd name="connsiteY2584" fmla="*/ 608039 h 1934496"/>
              <a:gd name="connsiteX2585" fmla="*/ 7876118 w 9922465"/>
              <a:gd name="connsiteY2585" fmla="*/ 608039 h 1934496"/>
              <a:gd name="connsiteX2586" fmla="*/ 7931310 w 9922465"/>
              <a:gd name="connsiteY2586" fmla="*/ 663230 h 1934496"/>
              <a:gd name="connsiteX2587" fmla="*/ 7876118 w 9922465"/>
              <a:gd name="connsiteY2587" fmla="*/ 718421 h 1934496"/>
              <a:gd name="connsiteX2588" fmla="*/ 7820926 w 9922465"/>
              <a:gd name="connsiteY2588" fmla="*/ 663230 h 1934496"/>
              <a:gd name="connsiteX2589" fmla="*/ 7876118 w 9922465"/>
              <a:gd name="connsiteY2589" fmla="*/ 608039 h 1934496"/>
              <a:gd name="connsiteX2590" fmla="*/ 7745824 w 9922465"/>
              <a:gd name="connsiteY2590" fmla="*/ 608039 h 1934496"/>
              <a:gd name="connsiteX2591" fmla="*/ 7801016 w 9922465"/>
              <a:gd name="connsiteY2591" fmla="*/ 663230 h 1934496"/>
              <a:gd name="connsiteX2592" fmla="*/ 7745824 w 9922465"/>
              <a:gd name="connsiteY2592" fmla="*/ 718421 h 1934496"/>
              <a:gd name="connsiteX2593" fmla="*/ 7690632 w 9922465"/>
              <a:gd name="connsiteY2593" fmla="*/ 663230 h 1934496"/>
              <a:gd name="connsiteX2594" fmla="*/ 7745824 w 9922465"/>
              <a:gd name="connsiteY2594" fmla="*/ 608039 h 1934496"/>
              <a:gd name="connsiteX2595" fmla="*/ 7608850 w 9922465"/>
              <a:gd name="connsiteY2595" fmla="*/ 608039 h 1934496"/>
              <a:gd name="connsiteX2596" fmla="*/ 7664042 w 9922465"/>
              <a:gd name="connsiteY2596" fmla="*/ 663230 h 1934496"/>
              <a:gd name="connsiteX2597" fmla="*/ 7608850 w 9922465"/>
              <a:gd name="connsiteY2597" fmla="*/ 718421 h 1934496"/>
              <a:gd name="connsiteX2598" fmla="*/ 7553658 w 9922465"/>
              <a:gd name="connsiteY2598" fmla="*/ 663230 h 1934496"/>
              <a:gd name="connsiteX2599" fmla="*/ 7608850 w 9922465"/>
              <a:gd name="connsiteY2599" fmla="*/ 608039 h 1934496"/>
              <a:gd name="connsiteX2600" fmla="*/ 7481895 w 9922465"/>
              <a:gd name="connsiteY2600" fmla="*/ 608039 h 1934496"/>
              <a:gd name="connsiteX2601" fmla="*/ 7537087 w 9922465"/>
              <a:gd name="connsiteY2601" fmla="*/ 663230 h 1934496"/>
              <a:gd name="connsiteX2602" fmla="*/ 7481895 w 9922465"/>
              <a:gd name="connsiteY2602" fmla="*/ 718421 h 1934496"/>
              <a:gd name="connsiteX2603" fmla="*/ 7426703 w 9922465"/>
              <a:gd name="connsiteY2603" fmla="*/ 663230 h 1934496"/>
              <a:gd name="connsiteX2604" fmla="*/ 7481895 w 9922465"/>
              <a:gd name="connsiteY2604" fmla="*/ 608039 h 1934496"/>
              <a:gd name="connsiteX2605" fmla="*/ 7341579 w 9922465"/>
              <a:gd name="connsiteY2605" fmla="*/ 608039 h 1934496"/>
              <a:gd name="connsiteX2606" fmla="*/ 7396771 w 9922465"/>
              <a:gd name="connsiteY2606" fmla="*/ 663230 h 1934496"/>
              <a:gd name="connsiteX2607" fmla="*/ 7341579 w 9922465"/>
              <a:gd name="connsiteY2607" fmla="*/ 718421 h 1934496"/>
              <a:gd name="connsiteX2608" fmla="*/ 7286387 w 9922465"/>
              <a:gd name="connsiteY2608" fmla="*/ 663230 h 1934496"/>
              <a:gd name="connsiteX2609" fmla="*/ 7341579 w 9922465"/>
              <a:gd name="connsiteY2609" fmla="*/ 608039 h 1934496"/>
              <a:gd name="connsiteX2610" fmla="*/ 7211286 w 9922465"/>
              <a:gd name="connsiteY2610" fmla="*/ 608039 h 1934496"/>
              <a:gd name="connsiteX2611" fmla="*/ 7266478 w 9922465"/>
              <a:gd name="connsiteY2611" fmla="*/ 663230 h 1934496"/>
              <a:gd name="connsiteX2612" fmla="*/ 7211286 w 9922465"/>
              <a:gd name="connsiteY2612" fmla="*/ 718421 h 1934496"/>
              <a:gd name="connsiteX2613" fmla="*/ 7156094 w 9922465"/>
              <a:gd name="connsiteY2613" fmla="*/ 663230 h 1934496"/>
              <a:gd name="connsiteX2614" fmla="*/ 7211286 w 9922465"/>
              <a:gd name="connsiteY2614" fmla="*/ 608039 h 1934496"/>
              <a:gd name="connsiteX2615" fmla="*/ 7080994 w 9922465"/>
              <a:gd name="connsiteY2615" fmla="*/ 608039 h 1934496"/>
              <a:gd name="connsiteX2616" fmla="*/ 7136186 w 9922465"/>
              <a:gd name="connsiteY2616" fmla="*/ 663230 h 1934496"/>
              <a:gd name="connsiteX2617" fmla="*/ 7080994 w 9922465"/>
              <a:gd name="connsiteY2617" fmla="*/ 718421 h 1934496"/>
              <a:gd name="connsiteX2618" fmla="*/ 7025802 w 9922465"/>
              <a:gd name="connsiteY2618" fmla="*/ 663230 h 1934496"/>
              <a:gd name="connsiteX2619" fmla="*/ 7080994 w 9922465"/>
              <a:gd name="connsiteY2619" fmla="*/ 608039 h 1934496"/>
              <a:gd name="connsiteX2620" fmla="*/ 6947358 w 9922465"/>
              <a:gd name="connsiteY2620" fmla="*/ 608039 h 1934496"/>
              <a:gd name="connsiteX2621" fmla="*/ 7002550 w 9922465"/>
              <a:gd name="connsiteY2621" fmla="*/ 663230 h 1934496"/>
              <a:gd name="connsiteX2622" fmla="*/ 6947358 w 9922465"/>
              <a:gd name="connsiteY2622" fmla="*/ 718421 h 1934496"/>
              <a:gd name="connsiteX2623" fmla="*/ 6892166 w 9922465"/>
              <a:gd name="connsiteY2623" fmla="*/ 663230 h 1934496"/>
              <a:gd name="connsiteX2624" fmla="*/ 6947358 w 9922465"/>
              <a:gd name="connsiteY2624" fmla="*/ 608039 h 1934496"/>
              <a:gd name="connsiteX2625" fmla="*/ 6817064 w 9922465"/>
              <a:gd name="connsiteY2625" fmla="*/ 608039 h 1934496"/>
              <a:gd name="connsiteX2626" fmla="*/ 6872256 w 9922465"/>
              <a:gd name="connsiteY2626" fmla="*/ 663230 h 1934496"/>
              <a:gd name="connsiteX2627" fmla="*/ 6817064 w 9922465"/>
              <a:gd name="connsiteY2627" fmla="*/ 718421 h 1934496"/>
              <a:gd name="connsiteX2628" fmla="*/ 6761872 w 9922465"/>
              <a:gd name="connsiteY2628" fmla="*/ 663230 h 1934496"/>
              <a:gd name="connsiteX2629" fmla="*/ 6817064 w 9922465"/>
              <a:gd name="connsiteY2629" fmla="*/ 608039 h 1934496"/>
              <a:gd name="connsiteX2630" fmla="*/ 6683431 w 9922465"/>
              <a:gd name="connsiteY2630" fmla="*/ 608039 h 1934496"/>
              <a:gd name="connsiteX2631" fmla="*/ 6738623 w 9922465"/>
              <a:gd name="connsiteY2631" fmla="*/ 663230 h 1934496"/>
              <a:gd name="connsiteX2632" fmla="*/ 6683431 w 9922465"/>
              <a:gd name="connsiteY2632" fmla="*/ 718421 h 1934496"/>
              <a:gd name="connsiteX2633" fmla="*/ 6628239 w 9922465"/>
              <a:gd name="connsiteY2633" fmla="*/ 663230 h 1934496"/>
              <a:gd name="connsiteX2634" fmla="*/ 6683431 w 9922465"/>
              <a:gd name="connsiteY2634" fmla="*/ 608039 h 1934496"/>
              <a:gd name="connsiteX2635" fmla="*/ 6155573 w 9922465"/>
              <a:gd name="connsiteY2635" fmla="*/ 608039 h 1934496"/>
              <a:gd name="connsiteX2636" fmla="*/ 6210765 w 9922465"/>
              <a:gd name="connsiteY2636" fmla="*/ 663230 h 1934496"/>
              <a:gd name="connsiteX2637" fmla="*/ 6155573 w 9922465"/>
              <a:gd name="connsiteY2637" fmla="*/ 718421 h 1934496"/>
              <a:gd name="connsiteX2638" fmla="*/ 6100381 w 9922465"/>
              <a:gd name="connsiteY2638" fmla="*/ 663230 h 1934496"/>
              <a:gd name="connsiteX2639" fmla="*/ 6155573 w 9922465"/>
              <a:gd name="connsiteY2639" fmla="*/ 608039 h 1934496"/>
              <a:gd name="connsiteX2640" fmla="*/ 5487399 w 9922465"/>
              <a:gd name="connsiteY2640" fmla="*/ 608039 h 1934496"/>
              <a:gd name="connsiteX2641" fmla="*/ 5542591 w 9922465"/>
              <a:gd name="connsiteY2641" fmla="*/ 663230 h 1934496"/>
              <a:gd name="connsiteX2642" fmla="*/ 5487399 w 9922465"/>
              <a:gd name="connsiteY2642" fmla="*/ 718421 h 1934496"/>
              <a:gd name="connsiteX2643" fmla="*/ 5432207 w 9922465"/>
              <a:gd name="connsiteY2643" fmla="*/ 663230 h 1934496"/>
              <a:gd name="connsiteX2644" fmla="*/ 5487399 w 9922465"/>
              <a:gd name="connsiteY2644" fmla="*/ 608039 h 1934496"/>
              <a:gd name="connsiteX2645" fmla="*/ 5357106 w 9922465"/>
              <a:gd name="connsiteY2645" fmla="*/ 608039 h 1934496"/>
              <a:gd name="connsiteX2646" fmla="*/ 5412298 w 9922465"/>
              <a:gd name="connsiteY2646" fmla="*/ 663230 h 1934496"/>
              <a:gd name="connsiteX2647" fmla="*/ 5357106 w 9922465"/>
              <a:gd name="connsiteY2647" fmla="*/ 718421 h 1934496"/>
              <a:gd name="connsiteX2648" fmla="*/ 5301914 w 9922465"/>
              <a:gd name="connsiteY2648" fmla="*/ 663230 h 1934496"/>
              <a:gd name="connsiteX2649" fmla="*/ 5357106 w 9922465"/>
              <a:gd name="connsiteY2649" fmla="*/ 608039 h 1934496"/>
              <a:gd name="connsiteX2650" fmla="*/ 5223473 w 9922465"/>
              <a:gd name="connsiteY2650" fmla="*/ 608038 h 1934496"/>
              <a:gd name="connsiteX2651" fmla="*/ 5278665 w 9922465"/>
              <a:gd name="connsiteY2651" fmla="*/ 663229 h 1934496"/>
              <a:gd name="connsiteX2652" fmla="*/ 5223473 w 9922465"/>
              <a:gd name="connsiteY2652" fmla="*/ 718420 h 1934496"/>
              <a:gd name="connsiteX2653" fmla="*/ 5168281 w 9922465"/>
              <a:gd name="connsiteY2653" fmla="*/ 663229 h 1934496"/>
              <a:gd name="connsiteX2654" fmla="*/ 5223473 w 9922465"/>
              <a:gd name="connsiteY2654" fmla="*/ 608038 h 1934496"/>
              <a:gd name="connsiteX2655" fmla="*/ 4030786 w 9922465"/>
              <a:gd name="connsiteY2655" fmla="*/ 608038 h 1934496"/>
              <a:gd name="connsiteX2656" fmla="*/ 4085978 w 9922465"/>
              <a:gd name="connsiteY2656" fmla="*/ 663229 h 1934496"/>
              <a:gd name="connsiteX2657" fmla="*/ 4030786 w 9922465"/>
              <a:gd name="connsiteY2657" fmla="*/ 718420 h 1934496"/>
              <a:gd name="connsiteX2658" fmla="*/ 3975594 w 9922465"/>
              <a:gd name="connsiteY2658" fmla="*/ 663229 h 1934496"/>
              <a:gd name="connsiteX2659" fmla="*/ 4030786 w 9922465"/>
              <a:gd name="connsiteY2659" fmla="*/ 608038 h 1934496"/>
              <a:gd name="connsiteX2660" fmla="*/ 3897148 w 9922465"/>
              <a:gd name="connsiteY2660" fmla="*/ 608038 h 1934496"/>
              <a:gd name="connsiteX2661" fmla="*/ 3952340 w 9922465"/>
              <a:gd name="connsiteY2661" fmla="*/ 663229 h 1934496"/>
              <a:gd name="connsiteX2662" fmla="*/ 3897148 w 9922465"/>
              <a:gd name="connsiteY2662" fmla="*/ 718420 h 1934496"/>
              <a:gd name="connsiteX2663" fmla="*/ 3841956 w 9922465"/>
              <a:gd name="connsiteY2663" fmla="*/ 663229 h 1934496"/>
              <a:gd name="connsiteX2664" fmla="*/ 3897148 w 9922465"/>
              <a:gd name="connsiteY2664" fmla="*/ 608038 h 1934496"/>
              <a:gd name="connsiteX2665" fmla="*/ 3763514 w 9922465"/>
              <a:gd name="connsiteY2665" fmla="*/ 608038 h 1934496"/>
              <a:gd name="connsiteX2666" fmla="*/ 3818706 w 9922465"/>
              <a:gd name="connsiteY2666" fmla="*/ 663229 h 1934496"/>
              <a:gd name="connsiteX2667" fmla="*/ 3763514 w 9922465"/>
              <a:gd name="connsiteY2667" fmla="*/ 718420 h 1934496"/>
              <a:gd name="connsiteX2668" fmla="*/ 3708322 w 9922465"/>
              <a:gd name="connsiteY2668" fmla="*/ 663229 h 1934496"/>
              <a:gd name="connsiteX2669" fmla="*/ 3763514 w 9922465"/>
              <a:gd name="connsiteY2669" fmla="*/ 608038 h 1934496"/>
              <a:gd name="connsiteX2670" fmla="*/ 3633221 w 9922465"/>
              <a:gd name="connsiteY2670" fmla="*/ 608038 h 1934496"/>
              <a:gd name="connsiteX2671" fmla="*/ 3688413 w 9922465"/>
              <a:gd name="connsiteY2671" fmla="*/ 663229 h 1934496"/>
              <a:gd name="connsiteX2672" fmla="*/ 3633221 w 9922465"/>
              <a:gd name="connsiteY2672" fmla="*/ 718420 h 1934496"/>
              <a:gd name="connsiteX2673" fmla="*/ 3578029 w 9922465"/>
              <a:gd name="connsiteY2673" fmla="*/ 663229 h 1934496"/>
              <a:gd name="connsiteX2674" fmla="*/ 3633221 w 9922465"/>
              <a:gd name="connsiteY2674" fmla="*/ 608038 h 1934496"/>
              <a:gd name="connsiteX2675" fmla="*/ 3499589 w 9922465"/>
              <a:gd name="connsiteY2675" fmla="*/ 608038 h 1934496"/>
              <a:gd name="connsiteX2676" fmla="*/ 3554781 w 9922465"/>
              <a:gd name="connsiteY2676" fmla="*/ 663229 h 1934496"/>
              <a:gd name="connsiteX2677" fmla="*/ 3499589 w 9922465"/>
              <a:gd name="connsiteY2677" fmla="*/ 718420 h 1934496"/>
              <a:gd name="connsiteX2678" fmla="*/ 3444397 w 9922465"/>
              <a:gd name="connsiteY2678" fmla="*/ 663229 h 1934496"/>
              <a:gd name="connsiteX2679" fmla="*/ 3499589 w 9922465"/>
              <a:gd name="connsiteY2679" fmla="*/ 608038 h 1934496"/>
              <a:gd name="connsiteX2680" fmla="*/ 3369292 w 9922465"/>
              <a:gd name="connsiteY2680" fmla="*/ 608038 h 1934496"/>
              <a:gd name="connsiteX2681" fmla="*/ 3424484 w 9922465"/>
              <a:gd name="connsiteY2681" fmla="*/ 663229 h 1934496"/>
              <a:gd name="connsiteX2682" fmla="*/ 3369292 w 9922465"/>
              <a:gd name="connsiteY2682" fmla="*/ 718420 h 1934496"/>
              <a:gd name="connsiteX2683" fmla="*/ 3314100 w 9922465"/>
              <a:gd name="connsiteY2683" fmla="*/ 663229 h 1934496"/>
              <a:gd name="connsiteX2684" fmla="*/ 3369292 w 9922465"/>
              <a:gd name="connsiteY2684" fmla="*/ 608038 h 1934496"/>
              <a:gd name="connsiteX2685" fmla="*/ 3235657 w 9922465"/>
              <a:gd name="connsiteY2685" fmla="*/ 608038 h 1934496"/>
              <a:gd name="connsiteX2686" fmla="*/ 3290849 w 9922465"/>
              <a:gd name="connsiteY2686" fmla="*/ 663229 h 1934496"/>
              <a:gd name="connsiteX2687" fmla="*/ 3235657 w 9922465"/>
              <a:gd name="connsiteY2687" fmla="*/ 718420 h 1934496"/>
              <a:gd name="connsiteX2688" fmla="*/ 3180465 w 9922465"/>
              <a:gd name="connsiteY2688" fmla="*/ 663229 h 1934496"/>
              <a:gd name="connsiteX2689" fmla="*/ 3235657 w 9922465"/>
              <a:gd name="connsiteY2689" fmla="*/ 608038 h 1934496"/>
              <a:gd name="connsiteX2690" fmla="*/ 2570932 w 9922465"/>
              <a:gd name="connsiteY2690" fmla="*/ 608038 h 1934496"/>
              <a:gd name="connsiteX2691" fmla="*/ 2626123 w 9922465"/>
              <a:gd name="connsiteY2691" fmla="*/ 663229 h 1934496"/>
              <a:gd name="connsiteX2692" fmla="*/ 2570932 w 9922465"/>
              <a:gd name="connsiteY2692" fmla="*/ 718420 h 1934496"/>
              <a:gd name="connsiteX2693" fmla="*/ 2515738 w 9922465"/>
              <a:gd name="connsiteY2693" fmla="*/ 663229 h 1934496"/>
              <a:gd name="connsiteX2694" fmla="*/ 2570932 w 9922465"/>
              <a:gd name="connsiteY2694" fmla="*/ 608038 h 1934496"/>
              <a:gd name="connsiteX2695" fmla="*/ 2437297 w 9922465"/>
              <a:gd name="connsiteY2695" fmla="*/ 608038 h 1934496"/>
              <a:gd name="connsiteX2696" fmla="*/ 2492487 w 9922465"/>
              <a:gd name="connsiteY2696" fmla="*/ 663229 h 1934496"/>
              <a:gd name="connsiteX2697" fmla="*/ 2437297 w 9922465"/>
              <a:gd name="connsiteY2697" fmla="*/ 718420 h 1934496"/>
              <a:gd name="connsiteX2698" fmla="*/ 2382108 w 9922465"/>
              <a:gd name="connsiteY2698" fmla="*/ 663229 h 1934496"/>
              <a:gd name="connsiteX2699" fmla="*/ 2437297 w 9922465"/>
              <a:gd name="connsiteY2699" fmla="*/ 608038 h 1934496"/>
              <a:gd name="connsiteX2700" fmla="*/ 2303664 w 9922465"/>
              <a:gd name="connsiteY2700" fmla="*/ 608038 h 1934496"/>
              <a:gd name="connsiteX2701" fmla="*/ 2358856 w 9922465"/>
              <a:gd name="connsiteY2701" fmla="*/ 663229 h 1934496"/>
              <a:gd name="connsiteX2702" fmla="*/ 2303664 w 9922465"/>
              <a:gd name="connsiteY2702" fmla="*/ 718420 h 1934496"/>
              <a:gd name="connsiteX2703" fmla="*/ 2248473 w 9922465"/>
              <a:gd name="connsiteY2703" fmla="*/ 663229 h 1934496"/>
              <a:gd name="connsiteX2704" fmla="*/ 2303664 w 9922465"/>
              <a:gd name="connsiteY2704" fmla="*/ 608038 h 1934496"/>
              <a:gd name="connsiteX2705" fmla="*/ 2173372 w 9922465"/>
              <a:gd name="connsiteY2705" fmla="*/ 608038 h 1934496"/>
              <a:gd name="connsiteX2706" fmla="*/ 2228565 w 9922465"/>
              <a:gd name="connsiteY2706" fmla="*/ 663229 h 1934496"/>
              <a:gd name="connsiteX2707" fmla="*/ 2173372 w 9922465"/>
              <a:gd name="connsiteY2707" fmla="*/ 718420 h 1934496"/>
              <a:gd name="connsiteX2708" fmla="*/ 2118180 w 9922465"/>
              <a:gd name="connsiteY2708" fmla="*/ 663229 h 1934496"/>
              <a:gd name="connsiteX2709" fmla="*/ 2173372 w 9922465"/>
              <a:gd name="connsiteY2709" fmla="*/ 608038 h 1934496"/>
              <a:gd name="connsiteX2710" fmla="*/ 2039736 w 9922465"/>
              <a:gd name="connsiteY2710" fmla="*/ 608038 h 1934496"/>
              <a:gd name="connsiteX2711" fmla="*/ 2094930 w 9922465"/>
              <a:gd name="connsiteY2711" fmla="*/ 663229 h 1934496"/>
              <a:gd name="connsiteX2712" fmla="*/ 2039736 w 9922465"/>
              <a:gd name="connsiteY2712" fmla="*/ 718420 h 1934496"/>
              <a:gd name="connsiteX2713" fmla="*/ 1984543 w 9922465"/>
              <a:gd name="connsiteY2713" fmla="*/ 663229 h 1934496"/>
              <a:gd name="connsiteX2714" fmla="*/ 2039736 w 9922465"/>
              <a:gd name="connsiteY2714" fmla="*/ 608038 h 1934496"/>
              <a:gd name="connsiteX2715" fmla="*/ 1909437 w 9922465"/>
              <a:gd name="connsiteY2715" fmla="*/ 608038 h 1934496"/>
              <a:gd name="connsiteX2716" fmla="*/ 1964630 w 9922465"/>
              <a:gd name="connsiteY2716" fmla="*/ 663229 h 1934496"/>
              <a:gd name="connsiteX2717" fmla="*/ 1909437 w 9922465"/>
              <a:gd name="connsiteY2717" fmla="*/ 718420 h 1934496"/>
              <a:gd name="connsiteX2718" fmla="*/ 1854244 w 9922465"/>
              <a:gd name="connsiteY2718" fmla="*/ 663229 h 1934496"/>
              <a:gd name="connsiteX2719" fmla="*/ 1909437 w 9922465"/>
              <a:gd name="connsiteY2719" fmla="*/ 608038 h 1934496"/>
              <a:gd name="connsiteX2720" fmla="*/ 1779142 w 9922465"/>
              <a:gd name="connsiteY2720" fmla="*/ 608038 h 1934496"/>
              <a:gd name="connsiteX2721" fmla="*/ 1834335 w 9922465"/>
              <a:gd name="connsiteY2721" fmla="*/ 663229 h 1934496"/>
              <a:gd name="connsiteX2722" fmla="*/ 1779142 w 9922465"/>
              <a:gd name="connsiteY2722" fmla="*/ 718420 h 1934496"/>
              <a:gd name="connsiteX2723" fmla="*/ 1723950 w 9922465"/>
              <a:gd name="connsiteY2723" fmla="*/ 663229 h 1934496"/>
              <a:gd name="connsiteX2724" fmla="*/ 1779142 w 9922465"/>
              <a:gd name="connsiteY2724" fmla="*/ 608038 h 1934496"/>
              <a:gd name="connsiteX2725" fmla="*/ 1645508 w 9922465"/>
              <a:gd name="connsiteY2725" fmla="*/ 608038 h 1934496"/>
              <a:gd name="connsiteX2726" fmla="*/ 1700702 w 9922465"/>
              <a:gd name="connsiteY2726" fmla="*/ 663229 h 1934496"/>
              <a:gd name="connsiteX2727" fmla="*/ 1645508 w 9922465"/>
              <a:gd name="connsiteY2727" fmla="*/ 718420 h 1934496"/>
              <a:gd name="connsiteX2728" fmla="*/ 1590311 w 9922465"/>
              <a:gd name="connsiteY2728" fmla="*/ 663229 h 1934496"/>
              <a:gd name="connsiteX2729" fmla="*/ 1645508 w 9922465"/>
              <a:gd name="connsiteY2729" fmla="*/ 608038 h 1934496"/>
              <a:gd name="connsiteX2730" fmla="*/ 1515217 w 9922465"/>
              <a:gd name="connsiteY2730" fmla="*/ 608038 h 1934496"/>
              <a:gd name="connsiteX2731" fmla="*/ 1570402 w 9922465"/>
              <a:gd name="connsiteY2731" fmla="*/ 663229 h 1934496"/>
              <a:gd name="connsiteX2732" fmla="*/ 1515217 w 9922465"/>
              <a:gd name="connsiteY2732" fmla="*/ 718420 h 1934496"/>
              <a:gd name="connsiteX2733" fmla="*/ 1460020 w 9922465"/>
              <a:gd name="connsiteY2733" fmla="*/ 663229 h 1934496"/>
              <a:gd name="connsiteX2734" fmla="*/ 1515217 w 9922465"/>
              <a:gd name="connsiteY2734" fmla="*/ 608038 h 1934496"/>
              <a:gd name="connsiteX2735" fmla="*/ 1381573 w 9922465"/>
              <a:gd name="connsiteY2735" fmla="*/ 608038 h 1934496"/>
              <a:gd name="connsiteX2736" fmla="*/ 1436767 w 9922465"/>
              <a:gd name="connsiteY2736" fmla="*/ 663229 h 1934496"/>
              <a:gd name="connsiteX2737" fmla="*/ 1381573 w 9922465"/>
              <a:gd name="connsiteY2737" fmla="*/ 718420 h 1934496"/>
              <a:gd name="connsiteX2738" fmla="*/ 1326384 w 9922465"/>
              <a:gd name="connsiteY2738" fmla="*/ 663229 h 1934496"/>
              <a:gd name="connsiteX2739" fmla="*/ 1381573 w 9922465"/>
              <a:gd name="connsiteY2739" fmla="*/ 608038 h 1934496"/>
              <a:gd name="connsiteX2740" fmla="*/ 1251282 w 9922465"/>
              <a:gd name="connsiteY2740" fmla="*/ 608038 h 1934496"/>
              <a:gd name="connsiteX2741" fmla="*/ 1306476 w 9922465"/>
              <a:gd name="connsiteY2741" fmla="*/ 663229 h 1934496"/>
              <a:gd name="connsiteX2742" fmla="*/ 1251282 w 9922465"/>
              <a:gd name="connsiteY2742" fmla="*/ 718420 h 1934496"/>
              <a:gd name="connsiteX2743" fmla="*/ 1196089 w 9922465"/>
              <a:gd name="connsiteY2743" fmla="*/ 663229 h 1934496"/>
              <a:gd name="connsiteX2744" fmla="*/ 1251282 w 9922465"/>
              <a:gd name="connsiteY2744" fmla="*/ 608038 h 1934496"/>
              <a:gd name="connsiteX2745" fmla="*/ 8143386 w 9922465"/>
              <a:gd name="connsiteY2745" fmla="*/ 494447 h 1934496"/>
              <a:gd name="connsiteX2746" fmla="*/ 8198578 w 9922465"/>
              <a:gd name="connsiteY2746" fmla="*/ 549638 h 1934496"/>
              <a:gd name="connsiteX2747" fmla="*/ 8143386 w 9922465"/>
              <a:gd name="connsiteY2747" fmla="*/ 604829 h 1934496"/>
              <a:gd name="connsiteX2748" fmla="*/ 8088194 w 9922465"/>
              <a:gd name="connsiteY2748" fmla="*/ 549638 h 1934496"/>
              <a:gd name="connsiteX2749" fmla="*/ 8143386 w 9922465"/>
              <a:gd name="connsiteY2749" fmla="*/ 494447 h 1934496"/>
              <a:gd name="connsiteX2750" fmla="*/ 8009753 w 9922465"/>
              <a:gd name="connsiteY2750" fmla="*/ 494447 h 1934496"/>
              <a:gd name="connsiteX2751" fmla="*/ 8064945 w 9922465"/>
              <a:gd name="connsiteY2751" fmla="*/ 549638 h 1934496"/>
              <a:gd name="connsiteX2752" fmla="*/ 8009753 w 9922465"/>
              <a:gd name="connsiteY2752" fmla="*/ 604829 h 1934496"/>
              <a:gd name="connsiteX2753" fmla="*/ 7954561 w 9922465"/>
              <a:gd name="connsiteY2753" fmla="*/ 549638 h 1934496"/>
              <a:gd name="connsiteX2754" fmla="*/ 8009753 w 9922465"/>
              <a:gd name="connsiteY2754" fmla="*/ 494447 h 1934496"/>
              <a:gd name="connsiteX2755" fmla="*/ 7876118 w 9922465"/>
              <a:gd name="connsiteY2755" fmla="*/ 494447 h 1934496"/>
              <a:gd name="connsiteX2756" fmla="*/ 7931310 w 9922465"/>
              <a:gd name="connsiteY2756" fmla="*/ 549638 h 1934496"/>
              <a:gd name="connsiteX2757" fmla="*/ 7876118 w 9922465"/>
              <a:gd name="connsiteY2757" fmla="*/ 604829 h 1934496"/>
              <a:gd name="connsiteX2758" fmla="*/ 7820926 w 9922465"/>
              <a:gd name="connsiteY2758" fmla="*/ 549638 h 1934496"/>
              <a:gd name="connsiteX2759" fmla="*/ 7876118 w 9922465"/>
              <a:gd name="connsiteY2759" fmla="*/ 494447 h 1934496"/>
              <a:gd name="connsiteX2760" fmla="*/ 7745824 w 9922465"/>
              <a:gd name="connsiteY2760" fmla="*/ 494447 h 1934496"/>
              <a:gd name="connsiteX2761" fmla="*/ 7801016 w 9922465"/>
              <a:gd name="connsiteY2761" fmla="*/ 549638 h 1934496"/>
              <a:gd name="connsiteX2762" fmla="*/ 7745824 w 9922465"/>
              <a:gd name="connsiteY2762" fmla="*/ 604829 h 1934496"/>
              <a:gd name="connsiteX2763" fmla="*/ 7690632 w 9922465"/>
              <a:gd name="connsiteY2763" fmla="*/ 549638 h 1934496"/>
              <a:gd name="connsiteX2764" fmla="*/ 7745824 w 9922465"/>
              <a:gd name="connsiteY2764" fmla="*/ 494447 h 1934496"/>
              <a:gd name="connsiteX2765" fmla="*/ 7608850 w 9922465"/>
              <a:gd name="connsiteY2765" fmla="*/ 494447 h 1934496"/>
              <a:gd name="connsiteX2766" fmla="*/ 7664042 w 9922465"/>
              <a:gd name="connsiteY2766" fmla="*/ 549638 h 1934496"/>
              <a:gd name="connsiteX2767" fmla="*/ 7608850 w 9922465"/>
              <a:gd name="connsiteY2767" fmla="*/ 604829 h 1934496"/>
              <a:gd name="connsiteX2768" fmla="*/ 7553658 w 9922465"/>
              <a:gd name="connsiteY2768" fmla="*/ 549638 h 1934496"/>
              <a:gd name="connsiteX2769" fmla="*/ 7608850 w 9922465"/>
              <a:gd name="connsiteY2769" fmla="*/ 494447 h 1934496"/>
              <a:gd name="connsiteX2770" fmla="*/ 7481895 w 9922465"/>
              <a:gd name="connsiteY2770" fmla="*/ 494447 h 1934496"/>
              <a:gd name="connsiteX2771" fmla="*/ 7537087 w 9922465"/>
              <a:gd name="connsiteY2771" fmla="*/ 549638 h 1934496"/>
              <a:gd name="connsiteX2772" fmla="*/ 7481895 w 9922465"/>
              <a:gd name="connsiteY2772" fmla="*/ 604829 h 1934496"/>
              <a:gd name="connsiteX2773" fmla="*/ 7426703 w 9922465"/>
              <a:gd name="connsiteY2773" fmla="*/ 549638 h 1934496"/>
              <a:gd name="connsiteX2774" fmla="*/ 7481895 w 9922465"/>
              <a:gd name="connsiteY2774" fmla="*/ 494447 h 1934496"/>
              <a:gd name="connsiteX2775" fmla="*/ 7341580 w 9922465"/>
              <a:gd name="connsiteY2775" fmla="*/ 494447 h 1934496"/>
              <a:gd name="connsiteX2776" fmla="*/ 7396772 w 9922465"/>
              <a:gd name="connsiteY2776" fmla="*/ 549638 h 1934496"/>
              <a:gd name="connsiteX2777" fmla="*/ 7341580 w 9922465"/>
              <a:gd name="connsiteY2777" fmla="*/ 604829 h 1934496"/>
              <a:gd name="connsiteX2778" fmla="*/ 7286388 w 9922465"/>
              <a:gd name="connsiteY2778" fmla="*/ 549638 h 1934496"/>
              <a:gd name="connsiteX2779" fmla="*/ 7341580 w 9922465"/>
              <a:gd name="connsiteY2779" fmla="*/ 494447 h 1934496"/>
              <a:gd name="connsiteX2780" fmla="*/ 7211286 w 9922465"/>
              <a:gd name="connsiteY2780" fmla="*/ 494447 h 1934496"/>
              <a:gd name="connsiteX2781" fmla="*/ 7266478 w 9922465"/>
              <a:gd name="connsiteY2781" fmla="*/ 549638 h 1934496"/>
              <a:gd name="connsiteX2782" fmla="*/ 7211286 w 9922465"/>
              <a:gd name="connsiteY2782" fmla="*/ 604829 h 1934496"/>
              <a:gd name="connsiteX2783" fmla="*/ 7156094 w 9922465"/>
              <a:gd name="connsiteY2783" fmla="*/ 549638 h 1934496"/>
              <a:gd name="connsiteX2784" fmla="*/ 7211286 w 9922465"/>
              <a:gd name="connsiteY2784" fmla="*/ 494447 h 1934496"/>
              <a:gd name="connsiteX2785" fmla="*/ 7080994 w 9922465"/>
              <a:gd name="connsiteY2785" fmla="*/ 494447 h 1934496"/>
              <a:gd name="connsiteX2786" fmla="*/ 7136186 w 9922465"/>
              <a:gd name="connsiteY2786" fmla="*/ 549638 h 1934496"/>
              <a:gd name="connsiteX2787" fmla="*/ 7080994 w 9922465"/>
              <a:gd name="connsiteY2787" fmla="*/ 604829 h 1934496"/>
              <a:gd name="connsiteX2788" fmla="*/ 7025802 w 9922465"/>
              <a:gd name="connsiteY2788" fmla="*/ 549638 h 1934496"/>
              <a:gd name="connsiteX2789" fmla="*/ 7080994 w 9922465"/>
              <a:gd name="connsiteY2789" fmla="*/ 494447 h 1934496"/>
              <a:gd name="connsiteX2790" fmla="*/ 6947358 w 9922465"/>
              <a:gd name="connsiteY2790" fmla="*/ 494447 h 1934496"/>
              <a:gd name="connsiteX2791" fmla="*/ 7002550 w 9922465"/>
              <a:gd name="connsiteY2791" fmla="*/ 549638 h 1934496"/>
              <a:gd name="connsiteX2792" fmla="*/ 6947358 w 9922465"/>
              <a:gd name="connsiteY2792" fmla="*/ 604829 h 1934496"/>
              <a:gd name="connsiteX2793" fmla="*/ 6892166 w 9922465"/>
              <a:gd name="connsiteY2793" fmla="*/ 549638 h 1934496"/>
              <a:gd name="connsiteX2794" fmla="*/ 6947358 w 9922465"/>
              <a:gd name="connsiteY2794" fmla="*/ 494447 h 1934496"/>
              <a:gd name="connsiteX2795" fmla="*/ 6289207 w 9922465"/>
              <a:gd name="connsiteY2795" fmla="*/ 494447 h 1934496"/>
              <a:gd name="connsiteX2796" fmla="*/ 6344399 w 9922465"/>
              <a:gd name="connsiteY2796" fmla="*/ 549638 h 1934496"/>
              <a:gd name="connsiteX2797" fmla="*/ 6289207 w 9922465"/>
              <a:gd name="connsiteY2797" fmla="*/ 604829 h 1934496"/>
              <a:gd name="connsiteX2798" fmla="*/ 6234015 w 9922465"/>
              <a:gd name="connsiteY2798" fmla="*/ 549638 h 1934496"/>
              <a:gd name="connsiteX2799" fmla="*/ 6289207 w 9922465"/>
              <a:gd name="connsiteY2799" fmla="*/ 494447 h 1934496"/>
              <a:gd name="connsiteX2800" fmla="*/ 4030786 w 9922465"/>
              <a:gd name="connsiteY2800" fmla="*/ 494447 h 1934496"/>
              <a:gd name="connsiteX2801" fmla="*/ 4085978 w 9922465"/>
              <a:gd name="connsiteY2801" fmla="*/ 549638 h 1934496"/>
              <a:gd name="connsiteX2802" fmla="*/ 4030786 w 9922465"/>
              <a:gd name="connsiteY2802" fmla="*/ 604829 h 1934496"/>
              <a:gd name="connsiteX2803" fmla="*/ 3975594 w 9922465"/>
              <a:gd name="connsiteY2803" fmla="*/ 549638 h 1934496"/>
              <a:gd name="connsiteX2804" fmla="*/ 4030786 w 9922465"/>
              <a:gd name="connsiteY2804" fmla="*/ 494447 h 1934496"/>
              <a:gd name="connsiteX2805" fmla="*/ 3897148 w 9922465"/>
              <a:gd name="connsiteY2805" fmla="*/ 494447 h 1934496"/>
              <a:gd name="connsiteX2806" fmla="*/ 3952340 w 9922465"/>
              <a:gd name="connsiteY2806" fmla="*/ 549638 h 1934496"/>
              <a:gd name="connsiteX2807" fmla="*/ 3897148 w 9922465"/>
              <a:gd name="connsiteY2807" fmla="*/ 604829 h 1934496"/>
              <a:gd name="connsiteX2808" fmla="*/ 3841956 w 9922465"/>
              <a:gd name="connsiteY2808" fmla="*/ 549638 h 1934496"/>
              <a:gd name="connsiteX2809" fmla="*/ 3897148 w 9922465"/>
              <a:gd name="connsiteY2809" fmla="*/ 494447 h 1934496"/>
              <a:gd name="connsiteX2810" fmla="*/ 3763514 w 9922465"/>
              <a:gd name="connsiteY2810" fmla="*/ 494447 h 1934496"/>
              <a:gd name="connsiteX2811" fmla="*/ 3818706 w 9922465"/>
              <a:gd name="connsiteY2811" fmla="*/ 549638 h 1934496"/>
              <a:gd name="connsiteX2812" fmla="*/ 3763514 w 9922465"/>
              <a:gd name="connsiteY2812" fmla="*/ 604829 h 1934496"/>
              <a:gd name="connsiteX2813" fmla="*/ 3708322 w 9922465"/>
              <a:gd name="connsiteY2813" fmla="*/ 549638 h 1934496"/>
              <a:gd name="connsiteX2814" fmla="*/ 3763514 w 9922465"/>
              <a:gd name="connsiteY2814" fmla="*/ 494447 h 1934496"/>
              <a:gd name="connsiteX2815" fmla="*/ 3633221 w 9922465"/>
              <a:gd name="connsiteY2815" fmla="*/ 494447 h 1934496"/>
              <a:gd name="connsiteX2816" fmla="*/ 3688413 w 9922465"/>
              <a:gd name="connsiteY2816" fmla="*/ 549638 h 1934496"/>
              <a:gd name="connsiteX2817" fmla="*/ 3633221 w 9922465"/>
              <a:gd name="connsiteY2817" fmla="*/ 604829 h 1934496"/>
              <a:gd name="connsiteX2818" fmla="*/ 3578029 w 9922465"/>
              <a:gd name="connsiteY2818" fmla="*/ 549638 h 1934496"/>
              <a:gd name="connsiteX2819" fmla="*/ 3633221 w 9922465"/>
              <a:gd name="connsiteY2819" fmla="*/ 494447 h 1934496"/>
              <a:gd name="connsiteX2820" fmla="*/ 3499589 w 9922465"/>
              <a:gd name="connsiteY2820" fmla="*/ 494447 h 1934496"/>
              <a:gd name="connsiteX2821" fmla="*/ 3554781 w 9922465"/>
              <a:gd name="connsiteY2821" fmla="*/ 549638 h 1934496"/>
              <a:gd name="connsiteX2822" fmla="*/ 3499589 w 9922465"/>
              <a:gd name="connsiteY2822" fmla="*/ 604829 h 1934496"/>
              <a:gd name="connsiteX2823" fmla="*/ 3444397 w 9922465"/>
              <a:gd name="connsiteY2823" fmla="*/ 549638 h 1934496"/>
              <a:gd name="connsiteX2824" fmla="*/ 3499589 w 9922465"/>
              <a:gd name="connsiteY2824" fmla="*/ 494447 h 1934496"/>
              <a:gd name="connsiteX2825" fmla="*/ 3369292 w 9922465"/>
              <a:gd name="connsiteY2825" fmla="*/ 494447 h 1934496"/>
              <a:gd name="connsiteX2826" fmla="*/ 3424484 w 9922465"/>
              <a:gd name="connsiteY2826" fmla="*/ 549638 h 1934496"/>
              <a:gd name="connsiteX2827" fmla="*/ 3369292 w 9922465"/>
              <a:gd name="connsiteY2827" fmla="*/ 604829 h 1934496"/>
              <a:gd name="connsiteX2828" fmla="*/ 3314100 w 9922465"/>
              <a:gd name="connsiteY2828" fmla="*/ 549638 h 1934496"/>
              <a:gd name="connsiteX2829" fmla="*/ 3369292 w 9922465"/>
              <a:gd name="connsiteY2829" fmla="*/ 494447 h 1934496"/>
              <a:gd name="connsiteX2830" fmla="*/ 3235657 w 9922465"/>
              <a:gd name="connsiteY2830" fmla="*/ 494447 h 1934496"/>
              <a:gd name="connsiteX2831" fmla="*/ 3290849 w 9922465"/>
              <a:gd name="connsiteY2831" fmla="*/ 549638 h 1934496"/>
              <a:gd name="connsiteX2832" fmla="*/ 3235657 w 9922465"/>
              <a:gd name="connsiteY2832" fmla="*/ 604829 h 1934496"/>
              <a:gd name="connsiteX2833" fmla="*/ 3180465 w 9922465"/>
              <a:gd name="connsiteY2833" fmla="*/ 549638 h 1934496"/>
              <a:gd name="connsiteX2834" fmla="*/ 3235657 w 9922465"/>
              <a:gd name="connsiteY2834" fmla="*/ 494447 h 1934496"/>
              <a:gd name="connsiteX2835" fmla="*/ 2437297 w 9922465"/>
              <a:gd name="connsiteY2835" fmla="*/ 494447 h 1934496"/>
              <a:gd name="connsiteX2836" fmla="*/ 2492487 w 9922465"/>
              <a:gd name="connsiteY2836" fmla="*/ 549638 h 1934496"/>
              <a:gd name="connsiteX2837" fmla="*/ 2437297 w 9922465"/>
              <a:gd name="connsiteY2837" fmla="*/ 604829 h 1934496"/>
              <a:gd name="connsiteX2838" fmla="*/ 2382108 w 9922465"/>
              <a:gd name="connsiteY2838" fmla="*/ 549638 h 1934496"/>
              <a:gd name="connsiteX2839" fmla="*/ 2437297 w 9922465"/>
              <a:gd name="connsiteY2839" fmla="*/ 494447 h 1934496"/>
              <a:gd name="connsiteX2840" fmla="*/ 2303664 w 9922465"/>
              <a:gd name="connsiteY2840" fmla="*/ 494447 h 1934496"/>
              <a:gd name="connsiteX2841" fmla="*/ 2358856 w 9922465"/>
              <a:gd name="connsiteY2841" fmla="*/ 549638 h 1934496"/>
              <a:gd name="connsiteX2842" fmla="*/ 2303664 w 9922465"/>
              <a:gd name="connsiteY2842" fmla="*/ 604829 h 1934496"/>
              <a:gd name="connsiteX2843" fmla="*/ 2248473 w 9922465"/>
              <a:gd name="connsiteY2843" fmla="*/ 549638 h 1934496"/>
              <a:gd name="connsiteX2844" fmla="*/ 2303664 w 9922465"/>
              <a:gd name="connsiteY2844" fmla="*/ 494447 h 1934496"/>
              <a:gd name="connsiteX2845" fmla="*/ 2173372 w 9922465"/>
              <a:gd name="connsiteY2845" fmla="*/ 494447 h 1934496"/>
              <a:gd name="connsiteX2846" fmla="*/ 2228565 w 9922465"/>
              <a:gd name="connsiteY2846" fmla="*/ 549638 h 1934496"/>
              <a:gd name="connsiteX2847" fmla="*/ 2173372 w 9922465"/>
              <a:gd name="connsiteY2847" fmla="*/ 604829 h 1934496"/>
              <a:gd name="connsiteX2848" fmla="*/ 2118180 w 9922465"/>
              <a:gd name="connsiteY2848" fmla="*/ 549638 h 1934496"/>
              <a:gd name="connsiteX2849" fmla="*/ 2173372 w 9922465"/>
              <a:gd name="connsiteY2849" fmla="*/ 494447 h 1934496"/>
              <a:gd name="connsiteX2850" fmla="*/ 2039736 w 9922465"/>
              <a:gd name="connsiteY2850" fmla="*/ 494447 h 1934496"/>
              <a:gd name="connsiteX2851" fmla="*/ 2094930 w 9922465"/>
              <a:gd name="connsiteY2851" fmla="*/ 549638 h 1934496"/>
              <a:gd name="connsiteX2852" fmla="*/ 2039736 w 9922465"/>
              <a:gd name="connsiteY2852" fmla="*/ 604829 h 1934496"/>
              <a:gd name="connsiteX2853" fmla="*/ 1984543 w 9922465"/>
              <a:gd name="connsiteY2853" fmla="*/ 549638 h 1934496"/>
              <a:gd name="connsiteX2854" fmla="*/ 2039736 w 9922465"/>
              <a:gd name="connsiteY2854" fmla="*/ 494447 h 1934496"/>
              <a:gd name="connsiteX2855" fmla="*/ 1909437 w 9922465"/>
              <a:gd name="connsiteY2855" fmla="*/ 494447 h 1934496"/>
              <a:gd name="connsiteX2856" fmla="*/ 1964630 w 9922465"/>
              <a:gd name="connsiteY2856" fmla="*/ 549638 h 1934496"/>
              <a:gd name="connsiteX2857" fmla="*/ 1909437 w 9922465"/>
              <a:gd name="connsiteY2857" fmla="*/ 604829 h 1934496"/>
              <a:gd name="connsiteX2858" fmla="*/ 1854244 w 9922465"/>
              <a:gd name="connsiteY2858" fmla="*/ 549638 h 1934496"/>
              <a:gd name="connsiteX2859" fmla="*/ 1909437 w 9922465"/>
              <a:gd name="connsiteY2859" fmla="*/ 494447 h 1934496"/>
              <a:gd name="connsiteX2860" fmla="*/ 1779142 w 9922465"/>
              <a:gd name="connsiteY2860" fmla="*/ 494447 h 1934496"/>
              <a:gd name="connsiteX2861" fmla="*/ 1834335 w 9922465"/>
              <a:gd name="connsiteY2861" fmla="*/ 549638 h 1934496"/>
              <a:gd name="connsiteX2862" fmla="*/ 1779142 w 9922465"/>
              <a:gd name="connsiteY2862" fmla="*/ 604829 h 1934496"/>
              <a:gd name="connsiteX2863" fmla="*/ 1723950 w 9922465"/>
              <a:gd name="connsiteY2863" fmla="*/ 549638 h 1934496"/>
              <a:gd name="connsiteX2864" fmla="*/ 1779142 w 9922465"/>
              <a:gd name="connsiteY2864" fmla="*/ 494447 h 1934496"/>
              <a:gd name="connsiteX2865" fmla="*/ 1645508 w 9922465"/>
              <a:gd name="connsiteY2865" fmla="*/ 494447 h 1934496"/>
              <a:gd name="connsiteX2866" fmla="*/ 1700702 w 9922465"/>
              <a:gd name="connsiteY2866" fmla="*/ 549638 h 1934496"/>
              <a:gd name="connsiteX2867" fmla="*/ 1645508 w 9922465"/>
              <a:gd name="connsiteY2867" fmla="*/ 604829 h 1934496"/>
              <a:gd name="connsiteX2868" fmla="*/ 1590311 w 9922465"/>
              <a:gd name="connsiteY2868" fmla="*/ 549638 h 1934496"/>
              <a:gd name="connsiteX2869" fmla="*/ 1645508 w 9922465"/>
              <a:gd name="connsiteY2869" fmla="*/ 494447 h 1934496"/>
              <a:gd name="connsiteX2870" fmla="*/ 1515217 w 9922465"/>
              <a:gd name="connsiteY2870" fmla="*/ 494447 h 1934496"/>
              <a:gd name="connsiteX2871" fmla="*/ 1570402 w 9922465"/>
              <a:gd name="connsiteY2871" fmla="*/ 549638 h 1934496"/>
              <a:gd name="connsiteX2872" fmla="*/ 1515217 w 9922465"/>
              <a:gd name="connsiteY2872" fmla="*/ 604829 h 1934496"/>
              <a:gd name="connsiteX2873" fmla="*/ 1460020 w 9922465"/>
              <a:gd name="connsiteY2873" fmla="*/ 549638 h 1934496"/>
              <a:gd name="connsiteX2874" fmla="*/ 1515217 w 9922465"/>
              <a:gd name="connsiteY2874" fmla="*/ 494447 h 1934496"/>
              <a:gd name="connsiteX2875" fmla="*/ 1381573 w 9922465"/>
              <a:gd name="connsiteY2875" fmla="*/ 494447 h 1934496"/>
              <a:gd name="connsiteX2876" fmla="*/ 1436767 w 9922465"/>
              <a:gd name="connsiteY2876" fmla="*/ 549638 h 1934496"/>
              <a:gd name="connsiteX2877" fmla="*/ 1381573 w 9922465"/>
              <a:gd name="connsiteY2877" fmla="*/ 604829 h 1934496"/>
              <a:gd name="connsiteX2878" fmla="*/ 1326384 w 9922465"/>
              <a:gd name="connsiteY2878" fmla="*/ 549638 h 1934496"/>
              <a:gd name="connsiteX2879" fmla="*/ 1381573 w 9922465"/>
              <a:gd name="connsiteY2879" fmla="*/ 494447 h 1934496"/>
              <a:gd name="connsiteX2880" fmla="*/ 1251282 w 9922465"/>
              <a:gd name="connsiteY2880" fmla="*/ 494447 h 1934496"/>
              <a:gd name="connsiteX2881" fmla="*/ 1306476 w 9922465"/>
              <a:gd name="connsiteY2881" fmla="*/ 549638 h 1934496"/>
              <a:gd name="connsiteX2882" fmla="*/ 1251282 w 9922465"/>
              <a:gd name="connsiteY2882" fmla="*/ 604829 h 1934496"/>
              <a:gd name="connsiteX2883" fmla="*/ 1196089 w 9922465"/>
              <a:gd name="connsiteY2883" fmla="*/ 549638 h 1934496"/>
              <a:gd name="connsiteX2884" fmla="*/ 1251282 w 9922465"/>
              <a:gd name="connsiteY2884" fmla="*/ 494447 h 1934496"/>
              <a:gd name="connsiteX2885" fmla="*/ 8801538 w 9922465"/>
              <a:gd name="connsiteY2885" fmla="*/ 364154 h 1934496"/>
              <a:gd name="connsiteX2886" fmla="*/ 8856730 w 9922465"/>
              <a:gd name="connsiteY2886" fmla="*/ 419345 h 1934496"/>
              <a:gd name="connsiteX2887" fmla="*/ 8801538 w 9922465"/>
              <a:gd name="connsiteY2887" fmla="*/ 474536 h 1934496"/>
              <a:gd name="connsiteX2888" fmla="*/ 8746346 w 9922465"/>
              <a:gd name="connsiteY2888" fmla="*/ 419345 h 1934496"/>
              <a:gd name="connsiteX2889" fmla="*/ 8801538 w 9922465"/>
              <a:gd name="connsiteY2889" fmla="*/ 364154 h 1934496"/>
              <a:gd name="connsiteX2890" fmla="*/ 8671244 w 9922465"/>
              <a:gd name="connsiteY2890" fmla="*/ 364154 h 1934496"/>
              <a:gd name="connsiteX2891" fmla="*/ 8726436 w 9922465"/>
              <a:gd name="connsiteY2891" fmla="*/ 419345 h 1934496"/>
              <a:gd name="connsiteX2892" fmla="*/ 8671244 w 9922465"/>
              <a:gd name="connsiteY2892" fmla="*/ 474536 h 1934496"/>
              <a:gd name="connsiteX2893" fmla="*/ 8616052 w 9922465"/>
              <a:gd name="connsiteY2893" fmla="*/ 419345 h 1934496"/>
              <a:gd name="connsiteX2894" fmla="*/ 8671244 w 9922465"/>
              <a:gd name="connsiteY2894" fmla="*/ 364154 h 1934496"/>
              <a:gd name="connsiteX2895" fmla="*/ 8537609 w 9922465"/>
              <a:gd name="connsiteY2895" fmla="*/ 364154 h 1934496"/>
              <a:gd name="connsiteX2896" fmla="*/ 8592801 w 9922465"/>
              <a:gd name="connsiteY2896" fmla="*/ 419345 h 1934496"/>
              <a:gd name="connsiteX2897" fmla="*/ 8537609 w 9922465"/>
              <a:gd name="connsiteY2897" fmla="*/ 474536 h 1934496"/>
              <a:gd name="connsiteX2898" fmla="*/ 8482417 w 9922465"/>
              <a:gd name="connsiteY2898" fmla="*/ 419345 h 1934496"/>
              <a:gd name="connsiteX2899" fmla="*/ 8537609 w 9922465"/>
              <a:gd name="connsiteY2899" fmla="*/ 364154 h 1934496"/>
              <a:gd name="connsiteX2900" fmla="*/ 7745824 w 9922465"/>
              <a:gd name="connsiteY2900" fmla="*/ 364154 h 1934496"/>
              <a:gd name="connsiteX2901" fmla="*/ 7801016 w 9922465"/>
              <a:gd name="connsiteY2901" fmla="*/ 419345 h 1934496"/>
              <a:gd name="connsiteX2902" fmla="*/ 7745824 w 9922465"/>
              <a:gd name="connsiteY2902" fmla="*/ 474536 h 1934496"/>
              <a:gd name="connsiteX2903" fmla="*/ 7690632 w 9922465"/>
              <a:gd name="connsiteY2903" fmla="*/ 419345 h 1934496"/>
              <a:gd name="connsiteX2904" fmla="*/ 7745824 w 9922465"/>
              <a:gd name="connsiteY2904" fmla="*/ 364154 h 1934496"/>
              <a:gd name="connsiteX2905" fmla="*/ 7608850 w 9922465"/>
              <a:gd name="connsiteY2905" fmla="*/ 364154 h 1934496"/>
              <a:gd name="connsiteX2906" fmla="*/ 7664042 w 9922465"/>
              <a:gd name="connsiteY2906" fmla="*/ 419345 h 1934496"/>
              <a:gd name="connsiteX2907" fmla="*/ 7608850 w 9922465"/>
              <a:gd name="connsiteY2907" fmla="*/ 474536 h 1934496"/>
              <a:gd name="connsiteX2908" fmla="*/ 7553658 w 9922465"/>
              <a:gd name="connsiteY2908" fmla="*/ 419345 h 1934496"/>
              <a:gd name="connsiteX2909" fmla="*/ 7608850 w 9922465"/>
              <a:gd name="connsiteY2909" fmla="*/ 364154 h 1934496"/>
              <a:gd name="connsiteX2910" fmla="*/ 7481895 w 9922465"/>
              <a:gd name="connsiteY2910" fmla="*/ 364154 h 1934496"/>
              <a:gd name="connsiteX2911" fmla="*/ 7537087 w 9922465"/>
              <a:gd name="connsiteY2911" fmla="*/ 419345 h 1934496"/>
              <a:gd name="connsiteX2912" fmla="*/ 7481895 w 9922465"/>
              <a:gd name="connsiteY2912" fmla="*/ 474536 h 1934496"/>
              <a:gd name="connsiteX2913" fmla="*/ 7426703 w 9922465"/>
              <a:gd name="connsiteY2913" fmla="*/ 419345 h 1934496"/>
              <a:gd name="connsiteX2914" fmla="*/ 7481895 w 9922465"/>
              <a:gd name="connsiteY2914" fmla="*/ 364154 h 1934496"/>
              <a:gd name="connsiteX2915" fmla="*/ 7341580 w 9922465"/>
              <a:gd name="connsiteY2915" fmla="*/ 364154 h 1934496"/>
              <a:gd name="connsiteX2916" fmla="*/ 7396772 w 9922465"/>
              <a:gd name="connsiteY2916" fmla="*/ 419345 h 1934496"/>
              <a:gd name="connsiteX2917" fmla="*/ 7341580 w 9922465"/>
              <a:gd name="connsiteY2917" fmla="*/ 474536 h 1934496"/>
              <a:gd name="connsiteX2918" fmla="*/ 7286388 w 9922465"/>
              <a:gd name="connsiteY2918" fmla="*/ 419345 h 1934496"/>
              <a:gd name="connsiteX2919" fmla="*/ 7341580 w 9922465"/>
              <a:gd name="connsiteY2919" fmla="*/ 364154 h 1934496"/>
              <a:gd name="connsiteX2920" fmla="*/ 6553137 w 9922465"/>
              <a:gd name="connsiteY2920" fmla="*/ 364154 h 1934496"/>
              <a:gd name="connsiteX2921" fmla="*/ 6608329 w 9922465"/>
              <a:gd name="connsiteY2921" fmla="*/ 419345 h 1934496"/>
              <a:gd name="connsiteX2922" fmla="*/ 6553137 w 9922465"/>
              <a:gd name="connsiteY2922" fmla="*/ 474536 h 1934496"/>
              <a:gd name="connsiteX2923" fmla="*/ 6497945 w 9922465"/>
              <a:gd name="connsiteY2923" fmla="*/ 419345 h 1934496"/>
              <a:gd name="connsiteX2924" fmla="*/ 6553137 w 9922465"/>
              <a:gd name="connsiteY2924" fmla="*/ 364154 h 1934496"/>
              <a:gd name="connsiteX2925" fmla="*/ 6419503 w 9922465"/>
              <a:gd name="connsiteY2925" fmla="*/ 364154 h 1934496"/>
              <a:gd name="connsiteX2926" fmla="*/ 6474695 w 9922465"/>
              <a:gd name="connsiteY2926" fmla="*/ 419345 h 1934496"/>
              <a:gd name="connsiteX2927" fmla="*/ 6419503 w 9922465"/>
              <a:gd name="connsiteY2927" fmla="*/ 474536 h 1934496"/>
              <a:gd name="connsiteX2928" fmla="*/ 6364311 w 9922465"/>
              <a:gd name="connsiteY2928" fmla="*/ 419345 h 1934496"/>
              <a:gd name="connsiteX2929" fmla="*/ 6419503 w 9922465"/>
              <a:gd name="connsiteY2929" fmla="*/ 364154 h 1934496"/>
              <a:gd name="connsiteX2930" fmla="*/ 4030786 w 9922465"/>
              <a:gd name="connsiteY2930" fmla="*/ 364154 h 1934496"/>
              <a:gd name="connsiteX2931" fmla="*/ 4085978 w 9922465"/>
              <a:gd name="connsiteY2931" fmla="*/ 419345 h 1934496"/>
              <a:gd name="connsiteX2932" fmla="*/ 4030786 w 9922465"/>
              <a:gd name="connsiteY2932" fmla="*/ 474536 h 1934496"/>
              <a:gd name="connsiteX2933" fmla="*/ 3975594 w 9922465"/>
              <a:gd name="connsiteY2933" fmla="*/ 419345 h 1934496"/>
              <a:gd name="connsiteX2934" fmla="*/ 4030786 w 9922465"/>
              <a:gd name="connsiteY2934" fmla="*/ 364154 h 1934496"/>
              <a:gd name="connsiteX2935" fmla="*/ 3897148 w 9922465"/>
              <a:gd name="connsiteY2935" fmla="*/ 364154 h 1934496"/>
              <a:gd name="connsiteX2936" fmla="*/ 3952340 w 9922465"/>
              <a:gd name="connsiteY2936" fmla="*/ 419345 h 1934496"/>
              <a:gd name="connsiteX2937" fmla="*/ 3897148 w 9922465"/>
              <a:gd name="connsiteY2937" fmla="*/ 474536 h 1934496"/>
              <a:gd name="connsiteX2938" fmla="*/ 3841956 w 9922465"/>
              <a:gd name="connsiteY2938" fmla="*/ 419345 h 1934496"/>
              <a:gd name="connsiteX2939" fmla="*/ 3897148 w 9922465"/>
              <a:gd name="connsiteY2939" fmla="*/ 364154 h 1934496"/>
              <a:gd name="connsiteX2940" fmla="*/ 3763514 w 9922465"/>
              <a:gd name="connsiteY2940" fmla="*/ 364154 h 1934496"/>
              <a:gd name="connsiteX2941" fmla="*/ 3818706 w 9922465"/>
              <a:gd name="connsiteY2941" fmla="*/ 419345 h 1934496"/>
              <a:gd name="connsiteX2942" fmla="*/ 3763514 w 9922465"/>
              <a:gd name="connsiteY2942" fmla="*/ 474536 h 1934496"/>
              <a:gd name="connsiteX2943" fmla="*/ 3708322 w 9922465"/>
              <a:gd name="connsiteY2943" fmla="*/ 419345 h 1934496"/>
              <a:gd name="connsiteX2944" fmla="*/ 3763514 w 9922465"/>
              <a:gd name="connsiteY2944" fmla="*/ 364154 h 1934496"/>
              <a:gd name="connsiteX2945" fmla="*/ 3633221 w 9922465"/>
              <a:gd name="connsiteY2945" fmla="*/ 364154 h 1934496"/>
              <a:gd name="connsiteX2946" fmla="*/ 3688413 w 9922465"/>
              <a:gd name="connsiteY2946" fmla="*/ 419345 h 1934496"/>
              <a:gd name="connsiteX2947" fmla="*/ 3633221 w 9922465"/>
              <a:gd name="connsiteY2947" fmla="*/ 474536 h 1934496"/>
              <a:gd name="connsiteX2948" fmla="*/ 3578029 w 9922465"/>
              <a:gd name="connsiteY2948" fmla="*/ 419345 h 1934496"/>
              <a:gd name="connsiteX2949" fmla="*/ 3633221 w 9922465"/>
              <a:gd name="connsiteY2949" fmla="*/ 364154 h 1934496"/>
              <a:gd name="connsiteX2950" fmla="*/ 3499589 w 9922465"/>
              <a:gd name="connsiteY2950" fmla="*/ 364154 h 1934496"/>
              <a:gd name="connsiteX2951" fmla="*/ 3554781 w 9922465"/>
              <a:gd name="connsiteY2951" fmla="*/ 419345 h 1934496"/>
              <a:gd name="connsiteX2952" fmla="*/ 3499589 w 9922465"/>
              <a:gd name="connsiteY2952" fmla="*/ 474536 h 1934496"/>
              <a:gd name="connsiteX2953" fmla="*/ 3444397 w 9922465"/>
              <a:gd name="connsiteY2953" fmla="*/ 419345 h 1934496"/>
              <a:gd name="connsiteX2954" fmla="*/ 3499589 w 9922465"/>
              <a:gd name="connsiteY2954" fmla="*/ 364154 h 1934496"/>
              <a:gd name="connsiteX2955" fmla="*/ 3369292 w 9922465"/>
              <a:gd name="connsiteY2955" fmla="*/ 364154 h 1934496"/>
              <a:gd name="connsiteX2956" fmla="*/ 3424484 w 9922465"/>
              <a:gd name="connsiteY2956" fmla="*/ 419345 h 1934496"/>
              <a:gd name="connsiteX2957" fmla="*/ 3369292 w 9922465"/>
              <a:gd name="connsiteY2957" fmla="*/ 474536 h 1934496"/>
              <a:gd name="connsiteX2958" fmla="*/ 3314100 w 9922465"/>
              <a:gd name="connsiteY2958" fmla="*/ 419345 h 1934496"/>
              <a:gd name="connsiteX2959" fmla="*/ 3369292 w 9922465"/>
              <a:gd name="connsiteY2959" fmla="*/ 364154 h 1934496"/>
              <a:gd name="connsiteX2960" fmla="*/ 3235657 w 9922465"/>
              <a:gd name="connsiteY2960" fmla="*/ 364154 h 1934496"/>
              <a:gd name="connsiteX2961" fmla="*/ 3290849 w 9922465"/>
              <a:gd name="connsiteY2961" fmla="*/ 419345 h 1934496"/>
              <a:gd name="connsiteX2962" fmla="*/ 3235657 w 9922465"/>
              <a:gd name="connsiteY2962" fmla="*/ 474536 h 1934496"/>
              <a:gd name="connsiteX2963" fmla="*/ 3180465 w 9922465"/>
              <a:gd name="connsiteY2963" fmla="*/ 419345 h 1934496"/>
              <a:gd name="connsiteX2964" fmla="*/ 3235657 w 9922465"/>
              <a:gd name="connsiteY2964" fmla="*/ 364154 h 1934496"/>
              <a:gd name="connsiteX2965" fmla="*/ 3098681 w 9922465"/>
              <a:gd name="connsiteY2965" fmla="*/ 364154 h 1934496"/>
              <a:gd name="connsiteX2966" fmla="*/ 3153873 w 9922465"/>
              <a:gd name="connsiteY2966" fmla="*/ 419345 h 1934496"/>
              <a:gd name="connsiteX2967" fmla="*/ 3098681 w 9922465"/>
              <a:gd name="connsiteY2967" fmla="*/ 474536 h 1934496"/>
              <a:gd name="connsiteX2968" fmla="*/ 3043489 w 9922465"/>
              <a:gd name="connsiteY2968" fmla="*/ 419345 h 1934496"/>
              <a:gd name="connsiteX2969" fmla="*/ 3098681 w 9922465"/>
              <a:gd name="connsiteY2969" fmla="*/ 364154 h 1934496"/>
              <a:gd name="connsiteX2970" fmla="*/ 2971729 w 9922465"/>
              <a:gd name="connsiteY2970" fmla="*/ 364154 h 1934496"/>
              <a:gd name="connsiteX2971" fmla="*/ 3026921 w 9922465"/>
              <a:gd name="connsiteY2971" fmla="*/ 419345 h 1934496"/>
              <a:gd name="connsiteX2972" fmla="*/ 2971729 w 9922465"/>
              <a:gd name="connsiteY2972" fmla="*/ 474536 h 1934496"/>
              <a:gd name="connsiteX2973" fmla="*/ 2916537 w 9922465"/>
              <a:gd name="connsiteY2973" fmla="*/ 419345 h 1934496"/>
              <a:gd name="connsiteX2974" fmla="*/ 2971729 w 9922465"/>
              <a:gd name="connsiteY2974" fmla="*/ 364154 h 1934496"/>
              <a:gd name="connsiteX2975" fmla="*/ 2834862 w 9922465"/>
              <a:gd name="connsiteY2975" fmla="*/ 364154 h 1934496"/>
              <a:gd name="connsiteX2976" fmla="*/ 2890052 w 9922465"/>
              <a:gd name="connsiteY2976" fmla="*/ 419345 h 1934496"/>
              <a:gd name="connsiteX2977" fmla="*/ 2834862 w 9922465"/>
              <a:gd name="connsiteY2977" fmla="*/ 474536 h 1934496"/>
              <a:gd name="connsiteX2978" fmla="*/ 2779671 w 9922465"/>
              <a:gd name="connsiteY2978" fmla="*/ 419345 h 1934496"/>
              <a:gd name="connsiteX2979" fmla="*/ 2834862 w 9922465"/>
              <a:gd name="connsiteY2979" fmla="*/ 364154 h 1934496"/>
              <a:gd name="connsiteX2980" fmla="*/ 2437297 w 9922465"/>
              <a:gd name="connsiteY2980" fmla="*/ 364154 h 1934496"/>
              <a:gd name="connsiteX2981" fmla="*/ 2492487 w 9922465"/>
              <a:gd name="connsiteY2981" fmla="*/ 419345 h 1934496"/>
              <a:gd name="connsiteX2982" fmla="*/ 2437297 w 9922465"/>
              <a:gd name="connsiteY2982" fmla="*/ 474536 h 1934496"/>
              <a:gd name="connsiteX2983" fmla="*/ 2382108 w 9922465"/>
              <a:gd name="connsiteY2983" fmla="*/ 419345 h 1934496"/>
              <a:gd name="connsiteX2984" fmla="*/ 2437297 w 9922465"/>
              <a:gd name="connsiteY2984" fmla="*/ 364154 h 1934496"/>
              <a:gd name="connsiteX2985" fmla="*/ 2303664 w 9922465"/>
              <a:gd name="connsiteY2985" fmla="*/ 364154 h 1934496"/>
              <a:gd name="connsiteX2986" fmla="*/ 2358856 w 9922465"/>
              <a:gd name="connsiteY2986" fmla="*/ 419345 h 1934496"/>
              <a:gd name="connsiteX2987" fmla="*/ 2303664 w 9922465"/>
              <a:gd name="connsiteY2987" fmla="*/ 474536 h 1934496"/>
              <a:gd name="connsiteX2988" fmla="*/ 2248473 w 9922465"/>
              <a:gd name="connsiteY2988" fmla="*/ 419345 h 1934496"/>
              <a:gd name="connsiteX2989" fmla="*/ 2303664 w 9922465"/>
              <a:gd name="connsiteY2989" fmla="*/ 364154 h 1934496"/>
              <a:gd name="connsiteX2990" fmla="*/ 2173372 w 9922465"/>
              <a:gd name="connsiteY2990" fmla="*/ 364154 h 1934496"/>
              <a:gd name="connsiteX2991" fmla="*/ 2228565 w 9922465"/>
              <a:gd name="connsiteY2991" fmla="*/ 419345 h 1934496"/>
              <a:gd name="connsiteX2992" fmla="*/ 2173372 w 9922465"/>
              <a:gd name="connsiteY2992" fmla="*/ 474536 h 1934496"/>
              <a:gd name="connsiteX2993" fmla="*/ 2118180 w 9922465"/>
              <a:gd name="connsiteY2993" fmla="*/ 419345 h 1934496"/>
              <a:gd name="connsiteX2994" fmla="*/ 2173372 w 9922465"/>
              <a:gd name="connsiteY2994" fmla="*/ 364154 h 1934496"/>
              <a:gd name="connsiteX2995" fmla="*/ 2039736 w 9922465"/>
              <a:gd name="connsiteY2995" fmla="*/ 364154 h 1934496"/>
              <a:gd name="connsiteX2996" fmla="*/ 2094930 w 9922465"/>
              <a:gd name="connsiteY2996" fmla="*/ 419345 h 1934496"/>
              <a:gd name="connsiteX2997" fmla="*/ 2039736 w 9922465"/>
              <a:gd name="connsiteY2997" fmla="*/ 474536 h 1934496"/>
              <a:gd name="connsiteX2998" fmla="*/ 1984543 w 9922465"/>
              <a:gd name="connsiteY2998" fmla="*/ 419345 h 1934496"/>
              <a:gd name="connsiteX2999" fmla="*/ 2039736 w 9922465"/>
              <a:gd name="connsiteY2999" fmla="*/ 364154 h 1934496"/>
              <a:gd name="connsiteX3000" fmla="*/ 1909440 w 9922465"/>
              <a:gd name="connsiteY3000" fmla="*/ 364154 h 1934496"/>
              <a:gd name="connsiteX3001" fmla="*/ 1964634 w 9922465"/>
              <a:gd name="connsiteY3001" fmla="*/ 419345 h 1934496"/>
              <a:gd name="connsiteX3002" fmla="*/ 1909440 w 9922465"/>
              <a:gd name="connsiteY3002" fmla="*/ 474536 h 1934496"/>
              <a:gd name="connsiteX3003" fmla="*/ 1854246 w 9922465"/>
              <a:gd name="connsiteY3003" fmla="*/ 419345 h 1934496"/>
              <a:gd name="connsiteX3004" fmla="*/ 1909440 w 9922465"/>
              <a:gd name="connsiteY3004" fmla="*/ 364154 h 1934496"/>
              <a:gd name="connsiteX3005" fmla="*/ 1779142 w 9922465"/>
              <a:gd name="connsiteY3005" fmla="*/ 364154 h 1934496"/>
              <a:gd name="connsiteX3006" fmla="*/ 1834337 w 9922465"/>
              <a:gd name="connsiteY3006" fmla="*/ 419345 h 1934496"/>
              <a:gd name="connsiteX3007" fmla="*/ 1779142 w 9922465"/>
              <a:gd name="connsiteY3007" fmla="*/ 474536 h 1934496"/>
              <a:gd name="connsiteX3008" fmla="*/ 1723951 w 9922465"/>
              <a:gd name="connsiteY3008" fmla="*/ 419345 h 1934496"/>
              <a:gd name="connsiteX3009" fmla="*/ 1779142 w 9922465"/>
              <a:gd name="connsiteY3009" fmla="*/ 364154 h 1934496"/>
              <a:gd name="connsiteX3010" fmla="*/ 1645508 w 9922465"/>
              <a:gd name="connsiteY3010" fmla="*/ 364154 h 1934496"/>
              <a:gd name="connsiteX3011" fmla="*/ 1700702 w 9922465"/>
              <a:gd name="connsiteY3011" fmla="*/ 419345 h 1934496"/>
              <a:gd name="connsiteX3012" fmla="*/ 1645508 w 9922465"/>
              <a:gd name="connsiteY3012" fmla="*/ 474536 h 1934496"/>
              <a:gd name="connsiteX3013" fmla="*/ 1590313 w 9922465"/>
              <a:gd name="connsiteY3013" fmla="*/ 419345 h 1934496"/>
              <a:gd name="connsiteX3014" fmla="*/ 1645508 w 9922465"/>
              <a:gd name="connsiteY3014" fmla="*/ 364154 h 1934496"/>
              <a:gd name="connsiteX3015" fmla="*/ 1515217 w 9922465"/>
              <a:gd name="connsiteY3015" fmla="*/ 364154 h 1934496"/>
              <a:gd name="connsiteX3016" fmla="*/ 1570405 w 9922465"/>
              <a:gd name="connsiteY3016" fmla="*/ 419345 h 1934496"/>
              <a:gd name="connsiteX3017" fmla="*/ 1515217 w 9922465"/>
              <a:gd name="connsiteY3017" fmla="*/ 474536 h 1934496"/>
              <a:gd name="connsiteX3018" fmla="*/ 1460020 w 9922465"/>
              <a:gd name="connsiteY3018" fmla="*/ 419345 h 1934496"/>
              <a:gd name="connsiteX3019" fmla="*/ 1515217 w 9922465"/>
              <a:gd name="connsiteY3019" fmla="*/ 364154 h 1934496"/>
              <a:gd name="connsiteX3020" fmla="*/ 1381573 w 9922465"/>
              <a:gd name="connsiteY3020" fmla="*/ 364154 h 1934496"/>
              <a:gd name="connsiteX3021" fmla="*/ 1436767 w 9922465"/>
              <a:gd name="connsiteY3021" fmla="*/ 419345 h 1934496"/>
              <a:gd name="connsiteX3022" fmla="*/ 1381573 w 9922465"/>
              <a:gd name="connsiteY3022" fmla="*/ 474536 h 1934496"/>
              <a:gd name="connsiteX3023" fmla="*/ 1326384 w 9922465"/>
              <a:gd name="connsiteY3023" fmla="*/ 419345 h 1934496"/>
              <a:gd name="connsiteX3024" fmla="*/ 1381573 w 9922465"/>
              <a:gd name="connsiteY3024" fmla="*/ 364154 h 1934496"/>
              <a:gd name="connsiteX3025" fmla="*/ 1251283 w 9922465"/>
              <a:gd name="connsiteY3025" fmla="*/ 364154 h 1934496"/>
              <a:gd name="connsiteX3026" fmla="*/ 1306476 w 9922465"/>
              <a:gd name="connsiteY3026" fmla="*/ 419345 h 1934496"/>
              <a:gd name="connsiteX3027" fmla="*/ 1251283 w 9922465"/>
              <a:gd name="connsiteY3027" fmla="*/ 474536 h 1934496"/>
              <a:gd name="connsiteX3028" fmla="*/ 1196091 w 9922465"/>
              <a:gd name="connsiteY3028" fmla="*/ 419345 h 1934496"/>
              <a:gd name="connsiteX3029" fmla="*/ 1251283 w 9922465"/>
              <a:gd name="connsiteY3029" fmla="*/ 364154 h 1934496"/>
              <a:gd name="connsiteX3030" fmla="*/ 7608850 w 9922465"/>
              <a:gd name="connsiteY3030" fmla="*/ 247225 h 1934496"/>
              <a:gd name="connsiteX3031" fmla="*/ 7664042 w 9922465"/>
              <a:gd name="connsiteY3031" fmla="*/ 302416 h 1934496"/>
              <a:gd name="connsiteX3032" fmla="*/ 7608850 w 9922465"/>
              <a:gd name="connsiteY3032" fmla="*/ 357607 h 1934496"/>
              <a:gd name="connsiteX3033" fmla="*/ 7553658 w 9922465"/>
              <a:gd name="connsiteY3033" fmla="*/ 302416 h 1934496"/>
              <a:gd name="connsiteX3034" fmla="*/ 7608850 w 9922465"/>
              <a:gd name="connsiteY3034" fmla="*/ 247225 h 1934496"/>
              <a:gd name="connsiteX3035" fmla="*/ 7481898 w 9922465"/>
              <a:gd name="connsiteY3035" fmla="*/ 247225 h 1934496"/>
              <a:gd name="connsiteX3036" fmla="*/ 7537090 w 9922465"/>
              <a:gd name="connsiteY3036" fmla="*/ 302416 h 1934496"/>
              <a:gd name="connsiteX3037" fmla="*/ 7481898 w 9922465"/>
              <a:gd name="connsiteY3037" fmla="*/ 357607 h 1934496"/>
              <a:gd name="connsiteX3038" fmla="*/ 7426706 w 9922465"/>
              <a:gd name="connsiteY3038" fmla="*/ 302416 h 1934496"/>
              <a:gd name="connsiteX3039" fmla="*/ 7481898 w 9922465"/>
              <a:gd name="connsiteY3039" fmla="*/ 247225 h 1934496"/>
              <a:gd name="connsiteX3040" fmla="*/ 5093178 w 9922465"/>
              <a:gd name="connsiteY3040" fmla="*/ 247225 h 1934496"/>
              <a:gd name="connsiteX3041" fmla="*/ 5148370 w 9922465"/>
              <a:gd name="connsiteY3041" fmla="*/ 302416 h 1934496"/>
              <a:gd name="connsiteX3042" fmla="*/ 5093178 w 9922465"/>
              <a:gd name="connsiteY3042" fmla="*/ 357607 h 1934496"/>
              <a:gd name="connsiteX3043" fmla="*/ 5037986 w 9922465"/>
              <a:gd name="connsiteY3043" fmla="*/ 302416 h 1934496"/>
              <a:gd name="connsiteX3044" fmla="*/ 5093178 w 9922465"/>
              <a:gd name="connsiteY3044" fmla="*/ 247225 h 1934496"/>
              <a:gd name="connsiteX3045" fmla="*/ 4030786 w 9922465"/>
              <a:gd name="connsiteY3045" fmla="*/ 247225 h 1934496"/>
              <a:gd name="connsiteX3046" fmla="*/ 4085978 w 9922465"/>
              <a:gd name="connsiteY3046" fmla="*/ 302416 h 1934496"/>
              <a:gd name="connsiteX3047" fmla="*/ 4030786 w 9922465"/>
              <a:gd name="connsiteY3047" fmla="*/ 357607 h 1934496"/>
              <a:gd name="connsiteX3048" fmla="*/ 3975594 w 9922465"/>
              <a:gd name="connsiteY3048" fmla="*/ 302416 h 1934496"/>
              <a:gd name="connsiteX3049" fmla="*/ 4030786 w 9922465"/>
              <a:gd name="connsiteY3049" fmla="*/ 247225 h 1934496"/>
              <a:gd name="connsiteX3050" fmla="*/ 3897148 w 9922465"/>
              <a:gd name="connsiteY3050" fmla="*/ 247225 h 1934496"/>
              <a:gd name="connsiteX3051" fmla="*/ 3952340 w 9922465"/>
              <a:gd name="connsiteY3051" fmla="*/ 302416 h 1934496"/>
              <a:gd name="connsiteX3052" fmla="*/ 3897148 w 9922465"/>
              <a:gd name="connsiteY3052" fmla="*/ 357607 h 1934496"/>
              <a:gd name="connsiteX3053" fmla="*/ 3841956 w 9922465"/>
              <a:gd name="connsiteY3053" fmla="*/ 302416 h 1934496"/>
              <a:gd name="connsiteX3054" fmla="*/ 3897148 w 9922465"/>
              <a:gd name="connsiteY3054" fmla="*/ 247225 h 1934496"/>
              <a:gd name="connsiteX3055" fmla="*/ 3763514 w 9922465"/>
              <a:gd name="connsiteY3055" fmla="*/ 247225 h 1934496"/>
              <a:gd name="connsiteX3056" fmla="*/ 3818706 w 9922465"/>
              <a:gd name="connsiteY3056" fmla="*/ 302416 h 1934496"/>
              <a:gd name="connsiteX3057" fmla="*/ 3763514 w 9922465"/>
              <a:gd name="connsiteY3057" fmla="*/ 357607 h 1934496"/>
              <a:gd name="connsiteX3058" fmla="*/ 3708322 w 9922465"/>
              <a:gd name="connsiteY3058" fmla="*/ 302416 h 1934496"/>
              <a:gd name="connsiteX3059" fmla="*/ 3763514 w 9922465"/>
              <a:gd name="connsiteY3059" fmla="*/ 247225 h 1934496"/>
              <a:gd name="connsiteX3060" fmla="*/ 3633221 w 9922465"/>
              <a:gd name="connsiteY3060" fmla="*/ 247225 h 1934496"/>
              <a:gd name="connsiteX3061" fmla="*/ 3688413 w 9922465"/>
              <a:gd name="connsiteY3061" fmla="*/ 302416 h 1934496"/>
              <a:gd name="connsiteX3062" fmla="*/ 3633221 w 9922465"/>
              <a:gd name="connsiteY3062" fmla="*/ 357607 h 1934496"/>
              <a:gd name="connsiteX3063" fmla="*/ 3578029 w 9922465"/>
              <a:gd name="connsiteY3063" fmla="*/ 302416 h 1934496"/>
              <a:gd name="connsiteX3064" fmla="*/ 3633221 w 9922465"/>
              <a:gd name="connsiteY3064" fmla="*/ 247225 h 1934496"/>
              <a:gd name="connsiteX3065" fmla="*/ 3499589 w 9922465"/>
              <a:gd name="connsiteY3065" fmla="*/ 247225 h 1934496"/>
              <a:gd name="connsiteX3066" fmla="*/ 3554781 w 9922465"/>
              <a:gd name="connsiteY3066" fmla="*/ 302416 h 1934496"/>
              <a:gd name="connsiteX3067" fmla="*/ 3499589 w 9922465"/>
              <a:gd name="connsiteY3067" fmla="*/ 357607 h 1934496"/>
              <a:gd name="connsiteX3068" fmla="*/ 3444397 w 9922465"/>
              <a:gd name="connsiteY3068" fmla="*/ 302416 h 1934496"/>
              <a:gd name="connsiteX3069" fmla="*/ 3499589 w 9922465"/>
              <a:gd name="connsiteY3069" fmla="*/ 247225 h 1934496"/>
              <a:gd name="connsiteX3070" fmla="*/ 3369293 w 9922465"/>
              <a:gd name="connsiteY3070" fmla="*/ 247225 h 1934496"/>
              <a:gd name="connsiteX3071" fmla="*/ 3424485 w 9922465"/>
              <a:gd name="connsiteY3071" fmla="*/ 302416 h 1934496"/>
              <a:gd name="connsiteX3072" fmla="*/ 3369293 w 9922465"/>
              <a:gd name="connsiteY3072" fmla="*/ 357607 h 1934496"/>
              <a:gd name="connsiteX3073" fmla="*/ 3314101 w 9922465"/>
              <a:gd name="connsiteY3073" fmla="*/ 302416 h 1934496"/>
              <a:gd name="connsiteX3074" fmla="*/ 3369293 w 9922465"/>
              <a:gd name="connsiteY3074" fmla="*/ 247225 h 1934496"/>
              <a:gd name="connsiteX3075" fmla="*/ 3235657 w 9922465"/>
              <a:gd name="connsiteY3075" fmla="*/ 247225 h 1934496"/>
              <a:gd name="connsiteX3076" fmla="*/ 3290849 w 9922465"/>
              <a:gd name="connsiteY3076" fmla="*/ 302416 h 1934496"/>
              <a:gd name="connsiteX3077" fmla="*/ 3235657 w 9922465"/>
              <a:gd name="connsiteY3077" fmla="*/ 357607 h 1934496"/>
              <a:gd name="connsiteX3078" fmla="*/ 3180465 w 9922465"/>
              <a:gd name="connsiteY3078" fmla="*/ 302416 h 1934496"/>
              <a:gd name="connsiteX3079" fmla="*/ 3235657 w 9922465"/>
              <a:gd name="connsiteY3079" fmla="*/ 247225 h 1934496"/>
              <a:gd name="connsiteX3080" fmla="*/ 3098682 w 9922465"/>
              <a:gd name="connsiteY3080" fmla="*/ 247225 h 1934496"/>
              <a:gd name="connsiteX3081" fmla="*/ 3153874 w 9922465"/>
              <a:gd name="connsiteY3081" fmla="*/ 302416 h 1934496"/>
              <a:gd name="connsiteX3082" fmla="*/ 3098682 w 9922465"/>
              <a:gd name="connsiteY3082" fmla="*/ 357607 h 1934496"/>
              <a:gd name="connsiteX3083" fmla="*/ 3043490 w 9922465"/>
              <a:gd name="connsiteY3083" fmla="*/ 302416 h 1934496"/>
              <a:gd name="connsiteX3084" fmla="*/ 3098682 w 9922465"/>
              <a:gd name="connsiteY3084" fmla="*/ 247225 h 1934496"/>
              <a:gd name="connsiteX3085" fmla="*/ 2971729 w 9922465"/>
              <a:gd name="connsiteY3085" fmla="*/ 247225 h 1934496"/>
              <a:gd name="connsiteX3086" fmla="*/ 3026921 w 9922465"/>
              <a:gd name="connsiteY3086" fmla="*/ 302416 h 1934496"/>
              <a:gd name="connsiteX3087" fmla="*/ 2971729 w 9922465"/>
              <a:gd name="connsiteY3087" fmla="*/ 357607 h 1934496"/>
              <a:gd name="connsiteX3088" fmla="*/ 2916537 w 9922465"/>
              <a:gd name="connsiteY3088" fmla="*/ 302416 h 1934496"/>
              <a:gd name="connsiteX3089" fmla="*/ 2971729 w 9922465"/>
              <a:gd name="connsiteY3089" fmla="*/ 247225 h 1934496"/>
              <a:gd name="connsiteX3090" fmla="*/ 2834862 w 9922465"/>
              <a:gd name="connsiteY3090" fmla="*/ 247225 h 1934496"/>
              <a:gd name="connsiteX3091" fmla="*/ 2890052 w 9922465"/>
              <a:gd name="connsiteY3091" fmla="*/ 302416 h 1934496"/>
              <a:gd name="connsiteX3092" fmla="*/ 2834862 w 9922465"/>
              <a:gd name="connsiteY3092" fmla="*/ 357607 h 1934496"/>
              <a:gd name="connsiteX3093" fmla="*/ 2779671 w 9922465"/>
              <a:gd name="connsiteY3093" fmla="*/ 302416 h 1934496"/>
              <a:gd name="connsiteX3094" fmla="*/ 2834862 w 9922465"/>
              <a:gd name="connsiteY3094" fmla="*/ 247225 h 1934496"/>
              <a:gd name="connsiteX3095" fmla="*/ 2570933 w 9922465"/>
              <a:gd name="connsiteY3095" fmla="*/ 247225 h 1934496"/>
              <a:gd name="connsiteX3096" fmla="*/ 2626123 w 9922465"/>
              <a:gd name="connsiteY3096" fmla="*/ 302416 h 1934496"/>
              <a:gd name="connsiteX3097" fmla="*/ 2570933 w 9922465"/>
              <a:gd name="connsiteY3097" fmla="*/ 357607 h 1934496"/>
              <a:gd name="connsiteX3098" fmla="*/ 2515738 w 9922465"/>
              <a:gd name="connsiteY3098" fmla="*/ 302416 h 1934496"/>
              <a:gd name="connsiteX3099" fmla="*/ 2570933 w 9922465"/>
              <a:gd name="connsiteY3099" fmla="*/ 247225 h 1934496"/>
              <a:gd name="connsiteX3100" fmla="*/ 2437297 w 9922465"/>
              <a:gd name="connsiteY3100" fmla="*/ 247225 h 1934496"/>
              <a:gd name="connsiteX3101" fmla="*/ 2492487 w 9922465"/>
              <a:gd name="connsiteY3101" fmla="*/ 302416 h 1934496"/>
              <a:gd name="connsiteX3102" fmla="*/ 2437297 w 9922465"/>
              <a:gd name="connsiteY3102" fmla="*/ 357607 h 1934496"/>
              <a:gd name="connsiteX3103" fmla="*/ 2382108 w 9922465"/>
              <a:gd name="connsiteY3103" fmla="*/ 302416 h 1934496"/>
              <a:gd name="connsiteX3104" fmla="*/ 2437297 w 9922465"/>
              <a:gd name="connsiteY3104" fmla="*/ 247225 h 1934496"/>
              <a:gd name="connsiteX3105" fmla="*/ 2303666 w 9922465"/>
              <a:gd name="connsiteY3105" fmla="*/ 247225 h 1934496"/>
              <a:gd name="connsiteX3106" fmla="*/ 2358856 w 9922465"/>
              <a:gd name="connsiteY3106" fmla="*/ 302416 h 1934496"/>
              <a:gd name="connsiteX3107" fmla="*/ 2303666 w 9922465"/>
              <a:gd name="connsiteY3107" fmla="*/ 357607 h 1934496"/>
              <a:gd name="connsiteX3108" fmla="*/ 2248473 w 9922465"/>
              <a:gd name="connsiteY3108" fmla="*/ 302416 h 1934496"/>
              <a:gd name="connsiteX3109" fmla="*/ 2303666 w 9922465"/>
              <a:gd name="connsiteY3109" fmla="*/ 247225 h 1934496"/>
              <a:gd name="connsiteX3110" fmla="*/ 2173372 w 9922465"/>
              <a:gd name="connsiteY3110" fmla="*/ 247225 h 1934496"/>
              <a:gd name="connsiteX3111" fmla="*/ 2228566 w 9922465"/>
              <a:gd name="connsiteY3111" fmla="*/ 302416 h 1934496"/>
              <a:gd name="connsiteX3112" fmla="*/ 2173372 w 9922465"/>
              <a:gd name="connsiteY3112" fmla="*/ 357607 h 1934496"/>
              <a:gd name="connsiteX3113" fmla="*/ 2118180 w 9922465"/>
              <a:gd name="connsiteY3113" fmla="*/ 302416 h 1934496"/>
              <a:gd name="connsiteX3114" fmla="*/ 2173372 w 9922465"/>
              <a:gd name="connsiteY3114" fmla="*/ 247225 h 1934496"/>
              <a:gd name="connsiteX3115" fmla="*/ 1909440 w 9922465"/>
              <a:gd name="connsiteY3115" fmla="*/ 247225 h 1934496"/>
              <a:gd name="connsiteX3116" fmla="*/ 1964634 w 9922465"/>
              <a:gd name="connsiteY3116" fmla="*/ 302416 h 1934496"/>
              <a:gd name="connsiteX3117" fmla="*/ 1909440 w 9922465"/>
              <a:gd name="connsiteY3117" fmla="*/ 357607 h 1934496"/>
              <a:gd name="connsiteX3118" fmla="*/ 1854246 w 9922465"/>
              <a:gd name="connsiteY3118" fmla="*/ 302416 h 1934496"/>
              <a:gd name="connsiteX3119" fmla="*/ 1909440 w 9922465"/>
              <a:gd name="connsiteY3119" fmla="*/ 247225 h 1934496"/>
              <a:gd name="connsiteX3120" fmla="*/ 1779142 w 9922465"/>
              <a:gd name="connsiteY3120" fmla="*/ 247225 h 1934496"/>
              <a:gd name="connsiteX3121" fmla="*/ 1834337 w 9922465"/>
              <a:gd name="connsiteY3121" fmla="*/ 302416 h 1934496"/>
              <a:gd name="connsiteX3122" fmla="*/ 1779142 w 9922465"/>
              <a:gd name="connsiteY3122" fmla="*/ 357607 h 1934496"/>
              <a:gd name="connsiteX3123" fmla="*/ 1723951 w 9922465"/>
              <a:gd name="connsiteY3123" fmla="*/ 302416 h 1934496"/>
              <a:gd name="connsiteX3124" fmla="*/ 1779142 w 9922465"/>
              <a:gd name="connsiteY3124" fmla="*/ 247225 h 1934496"/>
              <a:gd name="connsiteX3125" fmla="*/ 1645508 w 9922465"/>
              <a:gd name="connsiteY3125" fmla="*/ 247225 h 1934496"/>
              <a:gd name="connsiteX3126" fmla="*/ 1700702 w 9922465"/>
              <a:gd name="connsiteY3126" fmla="*/ 302416 h 1934496"/>
              <a:gd name="connsiteX3127" fmla="*/ 1645508 w 9922465"/>
              <a:gd name="connsiteY3127" fmla="*/ 357607 h 1934496"/>
              <a:gd name="connsiteX3128" fmla="*/ 1590313 w 9922465"/>
              <a:gd name="connsiteY3128" fmla="*/ 302416 h 1934496"/>
              <a:gd name="connsiteX3129" fmla="*/ 1645508 w 9922465"/>
              <a:gd name="connsiteY3129" fmla="*/ 247225 h 1934496"/>
              <a:gd name="connsiteX3130" fmla="*/ 1515217 w 9922465"/>
              <a:gd name="connsiteY3130" fmla="*/ 247225 h 1934496"/>
              <a:gd name="connsiteX3131" fmla="*/ 1570405 w 9922465"/>
              <a:gd name="connsiteY3131" fmla="*/ 302416 h 1934496"/>
              <a:gd name="connsiteX3132" fmla="*/ 1515217 w 9922465"/>
              <a:gd name="connsiteY3132" fmla="*/ 357607 h 1934496"/>
              <a:gd name="connsiteX3133" fmla="*/ 1460020 w 9922465"/>
              <a:gd name="connsiteY3133" fmla="*/ 302416 h 1934496"/>
              <a:gd name="connsiteX3134" fmla="*/ 1515217 w 9922465"/>
              <a:gd name="connsiteY3134" fmla="*/ 247225 h 1934496"/>
              <a:gd name="connsiteX3135" fmla="*/ 1381573 w 9922465"/>
              <a:gd name="connsiteY3135" fmla="*/ 247225 h 1934496"/>
              <a:gd name="connsiteX3136" fmla="*/ 1436767 w 9922465"/>
              <a:gd name="connsiteY3136" fmla="*/ 302416 h 1934496"/>
              <a:gd name="connsiteX3137" fmla="*/ 1381573 w 9922465"/>
              <a:gd name="connsiteY3137" fmla="*/ 357607 h 1934496"/>
              <a:gd name="connsiteX3138" fmla="*/ 1326384 w 9922465"/>
              <a:gd name="connsiteY3138" fmla="*/ 302416 h 1934496"/>
              <a:gd name="connsiteX3139" fmla="*/ 1381573 w 9922465"/>
              <a:gd name="connsiteY3139" fmla="*/ 247225 h 1934496"/>
              <a:gd name="connsiteX3140" fmla="*/ 7481898 w 9922465"/>
              <a:gd name="connsiteY3140" fmla="*/ 120271 h 1934496"/>
              <a:gd name="connsiteX3141" fmla="*/ 7537090 w 9922465"/>
              <a:gd name="connsiteY3141" fmla="*/ 175462 h 1934496"/>
              <a:gd name="connsiteX3142" fmla="*/ 7481898 w 9922465"/>
              <a:gd name="connsiteY3142" fmla="*/ 230653 h 1934496"/>
              <a:gd name="connsiteX3143" fmla="*/ 7426706 w 9922465"/>
              <a:gd name="connsiteY3143" fmla="*/ 175462 h 1934496"/>
              <a:gd name="connsiteX3144" fmla="*/ 7481898 w 9922465"/>
              <a:gd name="connsiteY3144" fmla="*/ 120271 h 1934496"/>
              <a:gd name="connsiteX3145" fmla="*/ 7341580 w 9922465"/>
              <a:gd name="connsiteY3145" fmla="*/ 120271 h 1934496"/>
              <a:gd name="connsiteX3146" fmla="*/ 7396772 w 9922465"/>
              <a:gd name="connsiteY3146" fmla="*/ 175462 h 1934496"/>
              <a:gd name="connsiteX3147" fmla="*/ 7341580 w 9922465"/>
              <a:gd name="connsiteY3147" fmla="*/ 230653 h 1934496"/>
              <a:gd name="connsiteX3148" fmla="*/ 7286388 w 9922465"/>
              <a:gd name="connsiteY3148" fmla="*/ 175462 h 1934496"/>
              <a:gd name="connsiteX3149" fmla="*/ 7341580 w 9922465"/>
              <a:gd name="connsiteY3149" fmla="*/ 120271 h 1934496"/>
              <a:gd name="connsiteX3150" fmla="*/ 7211288 w 9922465"/>
              <a:gd name="connsiteY3150" fmla="*/ 120271 h 1934496"/>
              <a:gd name="connsiteX3151" fmla="*/ 7266480 w 9922465"/>
              <a:gd name="connsiteY3151" fmla="*/ 175462 h 1934496"/>
              <a:gd name="connsiteX3152" fmla="*/ 7211288 w 9922465"/>
              <a:gd name="connsiteY3152" fmla="*/ 230653 h 1934496"/>
              <a:gd name="connsiteX3153" fmla="*/ 7156096 w 9922465"/>
              <a:gd name="connsiteY3153" fmla="*/ 175462 h 1934496"/>
              <a:gd name="connsiteX3154" fmla="*/ 7211288 w 9922465"/>
              <a:gd name="connsiteY3154" fmla="*/ 120271 h 1934496"/>
              <a:gd name="connsiteX3155" fmla="*/ 5223474 w 9922465"/>
              <a:gd name="connsiteY3155" fmla="*/ 120271 h 1934496"/>
              <a:gd name="connsiteX3156" fmla="*/ 5278666 w 9922465"/>
              <a:gd name="connsiteY3156" fmla="*/ 175462 h 1934496"/>
              <a:gd name="connsiteX3157" fmla="*/ 5223474 w 9922465"/>
              <a:gd name="connsiteY3157" fmla="*/ 230653 h 1934496"/>
              <a:gd name="connsiteX3158" fmla="*/ 5168282 w 9922465"/>
              <a:gd name="connsiteY3158" fmla="*/ 175462 h 1934496"/>
              <a:gd name="connsiteX3159" fmla="*/ 5223474 w 9922465"/>
              <a:gd name="connsiteY3159" fmla="*/ 120271 h 1934496"/>
              <a:gd name="connsiteX3160" fmla="*/ 5093178 w 9922465"/>
              <a:gd name="connsiteY3160" fmla="*/ 120271 h 1934496"/>
              <a:gd name="connsiteX3161" fmla="*/ 5148370 w 9922465"/>
              <a:gd name="connsiteY3161" fmla="*/ 175462 h 1934496"/>
              <a:gd name="connsiteX3162" fmla="*/ 5093178 w 9922465"/>
              <a:gd name="connsiteY3162" fmla="*/ 230653 h 1934496"/>
              <a:gd name="connsiteX3163" fmla="*/ 5037986 w 9922465"/>
              <a:gd name="connsiteY3163" fmla="*/ 175462 h 1934496"/>
              <a:gd name="connsiteX3164" fmla="*/ 5093178 w 9922465"/>
              <a:gd name="connsiteY3164" fmla="*/ 120271 h 1934496"/>
              <a:gd name="connsiteX3165" fmla="*/ 4161077 w 9922465"/>
              <a:gd name="connsiteY3165" fmla="*/ 120271 h 1934496"/>
              <a:gd name="connsiteX3166" fmla="*/ 4216269 w 9922465"/>
              <a:gd name="connsiteY3166" fmla="*/ 175462 h 1934496"/>
              <a:gd name="connsiteX3167" fmla="*/ 4161077 w 9922465"/>
              <a:gd name="connsiteY3167" fmla="*/ 230653 h 1934496"/>
              <a:gd name="connsiteX3168" fmla="*/ 4105885 w 9922465"/>
              <a:gd name="connsiteY3168" fmla="*/ 175462 h 1934496"/>
              <a:gd name="connsiteX3169" fmla="*/ 4161077 w 9922465"/>
              <a:gd name="connsiteY3169" fmla="*/ 120271 h 1934496"/>
              <a:gd name="connsiteX3170" fmla="*/ 4030786 w 9922465"/>
              <a:gd name="connsiteY3170" fmla="*/ 120271 h 1934496"/>
              <a:gd name="connsiteX3171" fmla="*/ 4085978 w 9922465"/>
              <a:gd name="connsiteY3171" fmla="*/ 175462 h 1934496"/>
              <a:gd name="connsiteX3172" fmla="*/ 4030786 w 9922465"/>
              <a:gd name="connsiteY3172" fmla="*/ 230653 h 1934496"/>
              <a:gd name="connsiteX3173" fmla="*/ 3975594 w 9922465"/>
              <a:gd name="connsiteY3173" fmla="*/ 175462 h 1934496"/>
              <a:gd name="connsiteX3174" fmla="*/ 4030786 w 9922465"/>
              <a:gd name="connsiteY3174" fmla="*/ 120271 h 1934496"/>
              <a:gd name="connsiteX3175" fmla="*/ 3897148 w 9922465"/>
              <a:gd name="connsiteY3175" fmla="*/ 120271 h 1934496"/>
              <a:gd name="connsiteX3176" fmla="*/ 3952340 w 9922465"/>
              <a:gd name="connsiteY3176" fmla="*/ 175462 h 1934496"/>
              <a:gd name="connsiteX3177" fmla="*/ 3897148 w 9922465"/>
              <a:gd name="connsiteY3177" fmla="*/ 230653 h 1934496"/>
              <a:gd name="connsiteX3178" fmla="*/ 3841956 w 9922465"/>
              <a:gd name="connsiteY3178" fmla="*/ 175462 h 1934496"/>
              <a:gd name="connsiteX3179" fmla="*/ 3897148 w 9922465"/>
              <a:gd name="connsiteY3179" fmla="*/ 120271 h 1934496"/>
              <a:gd name="connsiteX3180" fmla="*/ 3763514 w 9922465"/>
              <a:gd name="connsiteY3180" fmla="*/ 120271 h 1934496"/>
              <a:gd name="connsiteX3181" fmla="*/ 3818706 w 9922465"/>
              <a:gd name="connsiteY3181" fmla="*/ 175462 h 1934496"/>
              <a:gd name="connsiteX3182" fmla="*/ 3763514 w 9922465"/>
              <a:gd name="connsiteY3182" fmla="*/ 230653 h 1934496"/>
              <a:gd name="connsiteX3183" fmla="*/ 3708322 w 9922465"/>
              <a:gd name="connsiteY3183" fmla="*/ 175462 h 1934496"/>
              <a:gd name="connsiteX3184" fmla="*/ 3763514 w 9922465"/>
              <a:gd name="connsiteY3184" fmla="*/ 120271 h 1934496"/>
              <a:gd name="connsiteX3185" fmla="*/ 3633221 w 9922465"/>
              <a:gd name="connsiteY3185" fmla="*/ 120271 h 1934496"/>
              <a:gd name="connsiteX3186" fmla="*/ 3688413 w 9922465"/>
              <a:gd name="connsiteY3186" fmla="*/ 175462 h 1934496"/>
              <a:gd name="connsiteX3187" fmla="*/ 3633221 w 9922465"/>
              <a:gd name="connsiteY3187" fmla="*/ 230653 h 1934496"/>
              <a:gd name="connsiteX3188" fmla="*/ 3578029 w 9922465"/>
              <a:gd name="connsiteY3188" fmla="*/ 175462 h 1934496"/>
              <a:gd name="connsiteX3189" fmla="*/ 3633221 w 9922465"/>
              <a:gd name="connsiteY3189" fmla="*/ 120271 h 1934496"/>
              <a:gd name="connsiteX3190" fmla="*/ 3499589 w 9922465"/>
              <a:gd name="connsiteY3190" fmla="*/ 120271 h 1934496"/>
              <a:gd name="connsiteX3191" fmla="*/ 3554781 w 9922465"/>
              <a:gd name="connsiteY3191" fmla="*/ 175462 h 1934496"/>
              <a:gd name="connsiteX3192" fmla="*/ 3499589 w 9922465"/>
              <a:gd name="connsiteY3192" fmla="*/ 230653 h 1934496"/>
              <a:gd name="connsiteX3193" fmla="*/ 3444397 w 9922465"/>
              <a:gd name="connsiteY3193" fmla="*/ 175462 h 1934496"/>
              <a:gd name="connsiteX3194" fmla="*/ 3499589 w 9922465"/>
              <a:gd name="connsiteY3194" fmla="*/ 120271 h 1934496"/>
              <a:gd name="connsiteX3195" fmla="*/ 3369293 w 9922465"/>
              <a:gd name="connsiteY3195" fmla="*/ 120271 h 1934496"/>
              <a:gd name="connsiteX3196" fmla="*/ 3424485 w 9922465"/>
              <a:gd name="connsiteY3196" fmla="*/ 175462 h 1934496"/>
              <a:gd name="connsiteX3197" fmla="*/ 3369293 w 9922465"/>
              <a:gd name="connsiteY3197" fmla="*/ 230653 h 1934496"/>
              <a:gd name="connsiteX3198" fmla="*/ 3314101 w 9922465"/>
              <a:gd name="connsiteY3198" fmla="*/ 175462 h 1934496"/>
              <a:gd name="connsiteX3199" fmla="*/ 3369293 w 9922465"/>
              <a:gd name="connsiteY3199" fmla="*/ 120271 h 1934496"/>
              <a:gd name="connsiteX3200" fmla="*/ 3235657 w 9922465"/>
              <a:gd name="connsiteY3200" fmla="*/ 120271 h 1934496"/>
              <a:gd name="connsiteX3201" fmla="*/ 3290849 w 9922465"/>
              <a:gd name="connsiteY3201" fmla="*/ 175462 h 1934496"/>
              <a:gd name="connsiteX3202" fmla="*/ 3235657 w 9922465"/>
              <a:gd name="connsiteY3202" fmla="*/ 230653 h 1934496"/>
              <a:gd name="connsiteX3203" fmla="*/ 3180465 w 9922465"/>
              <a:gd name="connsiteY3203" fmla="*/ 175462 h 1934496"/>
              <a:gd name="connsiteX3204" fmla="*/ 3235657 w 9922465"/>
              <a:gd name="connsiteY3204" fmla="*/ 120271 h 1934496"/>
              <a:gd name="connsiteX3205" fmla="*/ 3098682 w 9922465"/>
              <a:gd name="connsiteY3205" fmla="*/ 120271 h 1934496"/>
              <a:gd name="connsiteX3206" fmla="*/ 3153874 w 9922465"/>
              <a:gd name="connsiteY3206" fmla="*/ 175462 h 1934496"/>
              <a:gd name="connsiteX3207" fmla="*/ 3098682 w 9922465"/>
              <a:gd name="connsiteY3207" fmla="*/ 230653 h 1934496"/>
              <a:gd name="connsiteX3208" fmla="*/ 3043490 w 9922465"/>
              <a:gd name="connsiteY3208" fmla="*/ 175462 h 1934496"/>
              <a:gd name="connsiteX3209" fmla="*/ 3098682 w 9922465"/>
              <a:gd name="connsiteY3209" fmla="*/ 120271 h 1934496"/>
              <a:gd name="connsiteX3210" fmla="*/ 2971729 w 9922465"/>
              <a:gd name="connsiteY3210" fmla="*/ 120271 h 1934496"/>
              <a:gd name="connsiteX3211" fmla="*/ 3026921 w 9922465"/>
              <a:gd name="connsiteY3211" fmla="*/ 175462 h 1934496"/>
              <a:gd name="connsiteX3212" fmla="*/ 2971729 w 9922465"/>
              <a:gd name="connsiteY3212" fmla="*/ 230653 h 1934496"/>
              <a:gd name="connsiteX3213" fmla="*/ 2916537 w 9922465"/>
              <a:gd name="connsiteY3213" fmla="*/ 175462 h 1934496"/>
              <a:gd name="connsiteX3214" fmla="*/ 2971729 w 9922465"/>
              <a:gd name="connsiteY3214" fmla="*/ 120271 h 1934496"/>
              <a:gd name="connsiteX3215" fmla="*/ 2707903 w 9922465"/>
              <a:gd name="connsiteY3215" fmla="*/ 120271 h 1934496"/>
              <a:gd name="connsiteX3216" fmla="*/ 2763100 w 9922465"/>
              <a:gd name="connsiteY3216" fmla="*/ 175462 h 1934496"/>
              <a:gd name="connsiteX3217" fmla="*/ 2707903 w 9922465"/>
              <a:gd name="connsiteY3217" fmla="*/ 230653 h 1934496"/>
              <a:gd name="connsiteX3218" fmla="*/ 2652715 w 9922465"/>
              <a:gd name="connsiteY3218" fmla="*/ 175462 h 1934496"/>
              <a:gd name="connsiteX3219" fmla="*/ 2707903 w 9922465"/>
              <a:gd name="connsiteY3219" fmla="*/ 120271 h 1934496"/>
              <a:gd name="connsiteX3220" fmla="*/ 2570933 w 9922465"/>
              <a:gd name="connsiteY3220" fmla="*/ 120271 h 1934496"/>
              <a:gd name="connsiteX3221" fmla="*/ 2626123 w 9922465"/>
              <a:gd name="connsiteY3221" fmla="*/ 175462 h 1934496"/>
              <a:gd name="connsiteX3222" fmla="*/ 2570933 w 9922465"/>
              <a:gd name="connsiteY3222" fmla="*/ 230653 h 1934496"/>
              <a:gd name="connsiteX3223" fmla="*/ 2515738 w 9922465"/>
              <a:gd name="connsiteY3223" fmla="*/ 175462 h 1934496"/>
              <a:gd name="connsiteX3224" fmla="*/ 2570933 w 9922465"/>
              <a:gd name="connsiteY3224" fmla="*/ 120271 h 1934496"/>
              <a:gd name="connsiteX3225" fmla="*/ 2437297 w 9922465"/>
              <a:gd name="connsiteY3225" fmla="*/ 120271 h 1934496"/>
              <a:gd name="connsiteX3226" fmla="*/ 2492487 w 9922465"/>
              <a:gd name="connsiteY3226" fmla="*/ 175462 h 1934496"/>
              <a:gd name="connsiteX3227" fmla="*/ 2437297 w 9922465"/>
              <a:gd name="connsiteY3227" fmla="*/ 230653 h 1934496"/>
              <a:gd name="connsiteX3228" fmla="*/ 2382108 w 9922465"/>
              <a:gd name="connsiteY3228" fmla="*/ 175462 h 1934496"/>
              <a:gd name="connsiteX3229" fmla="*/ 2437297 w 9922465"/>
              <a:gd name="connsiteY3229" fmla="*/ 120271 h 1934496"/>
              <a:gd name="connsiteX3230" fmla="*/ 2303666 w 9922465"/>
              <a:gd name="connsiteY3230" fmla="*/ 120271 h 1934496"/>
              <a:gd name="connsiteX3231" fmla="*/ 2358856 w 9922465"/>
              <a:gd name="connsiteY3231" fmla="*/ 175462 h 1934496"/>
              <a:gd name="connsiteX3232" fmla="*/ 2303666 w 9922465"/>
              <a:gd name="connsiteY3232" fmla="*/ 230653 h 1934496"/>
              <a:gd name="connsiteX3233" fmla="*/ 2248473 w 9922465"/>
              <a:gd name="connsiteY3233" fmla="*/ 175462 h 1934496"/>
              <a:gd name="connsiteX3234" fmla="*/ 2303666 w 9922465"/>
              <a:gd name="connsiteY3234" fmla="*/ 120271 h 1934496"/>
              <a:gd name="connsiteX3235" fmla="*/ 2173372 w 9922465"/>
              <a:gd name="connsiteY3235" fmla="*/ 120271 h 1934496"/>
              <a:gd name="connsiteX3236" fmla="*/ 2228566 w 9922465"/>
              <a:gd name="connsiteY3236" fmla="*/ 175462 h 1934496"/>
              <a:gd name="connsiteX3237" fmla="*/ 2173372 w 9922465"/>
              <a:gd name="connsiteY3237" fmla="*/ 230653 h 1934496"/>
              <a:gd name="connsiteX3238" fmla="*/ 2118180 w 9922465"/>
              <a:gd name="connsiteY3238" fmla="*/ 175462 h 1934496"/>
              <a:gd name="connsiteX3239" fmla="*/ 2173372 w 9922465"/>
              <a:gd name="connsiteY3239" fmla="*/ 120271 h 1934496"/>
              <a:gd name="connsiteX3240" fmla="*/ 7341580 w 9922465"/>
              <a:gd name="connsiteY3240" fmla="*/ 0 h 1934496"/>
              <a:gd name="connsiteX3241" fmla="*/ 7396772 w 9922465"/>
              <a:gd name="connsiteY3241" fmla="*/ 55191 h 1934496"/>
              <a:gd name="connsiteX3242" fmla="*/ 7341580 w 9922465"/>
              <a:gd name="connsiteY3242" fmla="*/ 110382 h 1934496"/>
              <a:gd name="connsiteX3243" fmla="*/ 7286388 w 9922465"/>
              <a:gd name="connsiteY3243" fmla="*/ 55191 h 1934496"/>
              <a:gd name="connsiteX3244" fmla="*/ 7341580 w 9922465"/>
              <a:gd name="connsiteY3244" fmla="*/ 0 h 1934496"/>
              <a:gd name="connsiteX3245" fmla="*/ 4294713 w 9922465"/>
              <a:gd name="connsiteY3245" fmla="*/ 0 h 1934496"/>
              <a:gd name="connsiteX3246" fmla="*/ 4349905 w 9922465"/>
              <a:gd name="connsiteY3246" fmla="*/ 55191 h 1934496"/>
              <a:gd name="connsiteX3247" fmla="*/ 4294713 w 9922465"/>
              <a:gd name="connsiteY3247" fmla="*/ 110382 h 1934496"/>
              <a:gd name="connsiteX3248" fmla="*/ 4239521 w 9922465"/>
              <a:gd name="connsiteY3248" fmla="*/ 55191 h 1934496"/>
              <a:gd name="connsiteX3249" fmla="*/ 4294713 w 9922465"/>
              <a:gd name="connsiteY3249" fmla="*/ 0 h 1934496"/>
              <a:gd name="connsiteX3250" fmla="*/ 4161077 w 9922465"/>
              <a:gd name="connsiteY3250" fmla="*/ 0 h 1934496"/>
              <a:gd name="connsiteX3251" fmla="*/ 4216269 w 9922465"/>
              <a:gd name="connsiteY3251" fmla="*/ 55191 h 1934496"/>
              <a:gd name="connsiteX3252" fmla="*/ 4161077 w 9922465"/>
              <a:gd name="connsiteY3252" fmla="*/ 110382 h 1934496"/>
              <a:gd name="connsiteX3253" fmla="*/ 4105885 w 9922465"/>
              <a:gd name="connsiteY3253" fmla="*/ 55191 h 1934496"/>
              <a:gd name="connsiteX3254" fmla="*/ 4161077 w 9922465"/>
              <a:gd name="connsiteY3254" fmla="*/ 0 h 1934496"/>
              <a:gd name="connsiteX3255" fmla="*/ 4030786 w 9922465"/>
              <a:gd name="connsiteY3255" fmla="*/ 0 h 1934496"/>
              <a:gd name="connsiteX3256" fmla="*/ 4085978 w 9922465"/>
              <a:gd name="connsiteY3256" fmla="*/ 55191 h 1934496"/>
              <a:gd name="connsiteX3257" fmla="*/ 4030786 w 9922465"/>
              <a:gd name="connsiteY3257" fmla="*/ 110382 h 1934496"/>
              <a:gd name="connsiteX3258" fmla="*/ 3975594 w 9922465"/>
              <a:gd name="connsiteY3258" fmla="*/ 55191 h 1934496"/>
              <a:gd name="connsiteX3259" fmla="*/ 4030786 w 9922465"/>
              <a:gd name="connsiteY3259" fmla="*/ 0 h 1934496"/>
              <a:gd name="connsiteX3260" fmla="*/ 3897148 w 9922465"/>
              <a:gd name="connsiteY3260" fmla="*/ 0 h 1934496"/>
              <a:gd name="connsiteX3261" fmla="*/ 3952340 w 9922465"/>
              <a:gd name="connsiteY3261" fmla="*/ 55191 h 1934496"/>
              <a:gd name="connsiteX3262" fmla="*/ 3897148 w 9922465"/>
              <a:gd name="connsiteY3262" fmla="*/ 110382 h 1934496"/>
              <a:gd name="connsiteX3263" fmla="*/ 3841956 w 9922465"/>
              <a:gd name="connsiteY3263" fmla="*/ 55191 h 1934496"/>
              <a:gd name="connsiteX3264" fmla="*/ 3897148 w 9922465"/>
              <a:gd name="connsiteY3264" fmla="*/ 0 h 1934496"/>
              <a:gd name="connsiteX3265" fmla="*/ 3763514 w 9922465"/>
              <a:gd name="connsiteY3265" fmla="*/ 0 h 1934496"/>
              <a:gd name="connsiteX3266" fmla="*/ 3818706 w 9922465"/>
              <a:gd name="connsiteY3266" fmla="*/ 55191 h 1934496"/>
              <a:gd name="connsiteX3267" fmla="*/ 3763514 w 9922465"/>
              <a:gd name="connsiteY3267" fmla="*/ 110382 h 1934496"/>
              <a:gd name="connsiteX3268" fmla="*/ 3708322 w 9922465"/>
              <a:gd name="connsiteY3268" fmla="*/ 55191 h 1934496"/>
              <a:gd name="connsiteX3269" fmla="*/ 3763514 w 9922465"/>
              <a:gd name="connsiteY3269" fmla="*/ 0 h 1934496"/>
              <a:gd name="connsiteX3270" fmla="*/ 3633221 w 9922465"/>
              <a:gd name="connsiteY3270" fmla="*/ 0 h 1934496"/>
              <a:gd name="connsiteX3271" fmla="*/ 3688413 w 9922465"/>
              <a:gd name="connsiteY3271" fmla="*/ 55191 h 1934496"/>
              <a:gd name="connsiteX3272" fmla="*/ 3633221 w 9922465"/>
              <a:gd name="connsiteY3272" fmla="*/ 110382 h 1934496"/>
              <a:gd name="connsiteX3273" fmla="*/ 3578029 w 9922465"/>
              <a:gd name="connsiteY3273" fmla="*/ 55191 h 1934496"/>
              <a:gd name="connsiteX3274" fmla="*/ 3633221 w 9922465"/>
              <a:gd name="connsiteY3274" fmla="*/ 0 h 1934496"/>
              <a:gd name="connsiteX3275" fmla="*/ 3499589 w 9922465"/>
              <a:gd name="connsiteY3275" fmla="*/ 0 h 1934496"/>
              <a:gd name="connsiteX3276" fmla="*/ 3554781 w 9922465"/>
              <a:gd name="connsiteY3276" fmla="*/ 55191 h 1934496"/>
              <a:gd name="connsiteX3277" fmla="*/ 3499589 w 9922465"/>
              <a:gd name="connsiteY3277" fmla="*/ 110382 h 1934496"/>
              <a:gd name="connsiteX3278" fmla="*/ 3444397 w 9922465"/>
              <a:gd name="connsiteY3278" fmla="*/ 55191 h 1934496"/>
              <a:gd name="connsiteX3279" fmla="*/ 3499589 w 9922465"/>
              <a:gd name="connsiteY3279" fmla="*/ 0 h 1934496"/>
              <a:gd name="connsiteX3280" fmla="*/ 3369293 w 9922465"/>
              <a:gd name="connsiteY3280" fmla="*/ 0 h 1934496"/>
              <a:gd name="connsiteX3281" fmla="*/ 3424485 w 9922465"/>
              <a:gd name="connsiteY3281" fmla="*/ 55191 h 1934496"/>
              <a:gd name="connsiteX3282" fmla="*/ 3369293 w 9922465"/>
              <a:gd name="connsiteY3282" fmla="*/ 110382 h 1934496"/>
              <a:gd name="connsiteX3283" fmla="*/ 3314101 w 9922465"/>
              <a:gd name="connsiteY3283" fmla="*/ 55191 h 1934496"/>
              <a:gd name="connsiteX3284" fmla="*/ 3369293 w 9922465"/>
              <a:gd name="connsiteY3284" fmla="*/ 0 h 1934496"/>
              <a:gd name="connsiteX3285" fmla="*/ 3235657 w 9922465"/>
              <a:gd name="connsiteY3285" fmla="*/ 0 h 1934496"/>
              <a:gd name="connsiteX3286" fmla="*/ 3290849 w 9922465"/>
              <a:gd name="connsiteY3286" fmla="*/ 55191 h 1934496"/>
              <a:gd name="connsiteX3287" fmla="*/ 3235657 w 9922465"/>
              <a:gd name="connsiteY3287" fmla="*/ 110382 h 1934496"/>
              <a:gd name="connsiteX3288" fmla="*/ 3180465 w 9922465"/>
              <a:gd name="connsiteY3288" fmla="*/ 55191 h 1934496"/>
              <a:gd name="connsiteX3289" fmla="*/ 3235657 w 9922465"/>
              <a:gd name="connsiteY3289" fmla="*/ 0 h 1934496"/>
              <a:gd name="connsiteX3290" fmla="*/ 2834862 w 9922465"/>
              <a:gd name="connsiteY3290" fmla="*/ 0 h 1934496"/>
              <a:gd name="connsiteX3291" fmla="*/ 2890052 w 9922465"/>
              <a:gd name="connsiteY3291" fmla="*/ 55191 h 1934496"/>
              <a:gd name="connsiteX3292" fmla="*/ 2834862 w 9922465"/>
              <a:gd name="connsiteY3292" fmla="*/ 110382 h 1934496"/>
              <a:gd name="connsiteX3293" fmla="*/ 2779671 w 9922465"/>
              <a:gd name="connsiteY3293" fmla="*/ 55191 h 1934496"/>
              <a:gd name="connsiteX3294" fmla="*/ 2834862 w 9922465"/>
              <a:gd name="connsiteY3294" fmla="*/ 0 h 1934496"/>
              <a:gd name="connsiteX3295" fmla="*/ 2707903 w 9922465"/>
              <a:gd name="connsiteY3295" fmla="*/ 0 h 1934496"/>
              <a:gd name="connsiteX3296" fmla="*/ 2763100 w 9922465"/>
              <a:gd name="connsiteY3296" fmla="*/ 55191 h 1934496"/>
              <a:gd name="connsiteX3297" fmla="*/ 2707903 w 9922465"/>
              <a:gd name="connsiteY3297" fmla="*/ 110382 h 1934496"/>
              <a:gd name="connsiteX3298" fmla="*/ 2652715 w 9922465"/>
              <a:gd name="connsiteY3298" fmla="*/ 55191 h 1934496"/>
              <a:gd name="connsiteX3299" fmla="*/ 2707903 w 9922465"/>
              <a:gd name="connsiteY3299" fmla="*/ 0 h 1934496"/>
              <a:gd name="connsiteX3300" fmla="*/ 2570933 w 9922465"/>
              <a:gd name="connsiteY3300" fmla="*/ 0 h 1934496"/>
              <a:gd name="connsiteX3301" fmla="*/ 2626123 w 9922465"/>
              <a:gd name="connsiteY3301" fmla="*/ 55191 h 1934496"/>
              <a:gd name="connsiteX3302" fmla="*/ 2570933 w 9922465"/>
              <a:gd name="connsiteY3302" fmla="*/ 110382 h 1934496"/>
              <a:gd name="connsiteX3303" fmla="*/ 2515738 w 9922465"/>
              <a:gd name="connsiteY3303" fmla="*/ 55191 h 1934496"/>
              <a:gd name="connsiteX3304" fmla="*/ 2570933 w 9922465"/>
              <a:gd name="connsiteY3304" fmla="*/ 0 h 1934496"/>
              <a:gd name="connsiteX3305" fmla="*/ 2437297 w 9922465"/>
              <a:gd name="connsiteY3305" fmla="*/ 0 h 1934496"/>
              <a:gd name="connsiteX3306" fmla="*/ 2492487 w 9922465"/>
              <a:gd name="connsiteY3306" fmla="*/ 55191 h 1934496"/>
              <a:gd name="connsiteX3307" fmla="*/ 2437297 w 9922465"/>
              <a:gd name="connsiteY3307" fmla="*/ 110382 h 1934496"/>
              <a:gd name="connsiteX3308" fmla="*/ 2382108 w 9922465"/>
              <a:gd name="connsiteY3308" fmla="*/ 55191 h 1934496"/>
              <a:gd name="connsiteX3309" fmla="*/ 2437297 w 9922465"/>
              <a:gd name="connsiteY3309" fmla="*/ 0 h 1934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Lst>
            <a:rect l="l" t="t" r="r" b="b"/>
            <a:pathLst>
              <a:path w="9922465" h="1934496">
                <a:moveTo>
                  <a:pt x="8407318" y="1824114"/>
                </a:moveTo>
                <a:cubicBezTo>
                  <a:pt x="8437800" y="1824114"/>
                  <a:pt x="8462510" y="1848824"/>
                  <a:pt x="8462510" y="1879305"/>
                </a:cubicBezTo>
                <a:cubicBezTo>
                  <a:pt x="8462510" y="1909786"/>
                  <a:pt x="8437800" y="1934496"/>
                  <a:pt x="8407318" y="1934496"/>
                </a:cubicBezTo>
                <a:cubicBezTo>
                  <a:pt x="8376836" y="1934496"/>
                  <a:pt x="8352126" y="1909786"/>
                  <a:pt x="8352126" y="1879305"/>
                </a:cubicBezTo>
                <a:cubicBezTo>
                  <a:pt x="8352126" y="1848824"/>
                  <a:pt x="8376836" y="1824114"/>
                  <a:pt x="8407318" y="1824114"/>
                </a:cubicBezTo>
                <a:close/>
                <a:moveTo>
                  <a:pt x="8273682" y="1824114"/>
                </a:moveTo>
                <a:cubicBezTo>
                  <a:pt x="8304164" y="1824114"/>
                  <a:pt x="8328874" y="1848824"/>
                  <a:pt x="8328874" y="1879305"/>
                </a:cubicBezTo>
                <a:cubicBezTo>
                  <a:pt x="8328874" y="1909786"/>
                  <a:pt x="8304164" y="1934496"/>
                  <a:pt x="8273682" y="1934496"/>
                </a:cubicBezTo>
                <a:cubicBezTo>
                  <a:pt x="8243200" y="1934496"/>
                  <a:pt x="8218490" y="1909786"/>
                  <a:pt x="8218490" y="1879305"/>
                </a:cubicBezTo>
                <a:cubicBezTo>
                  <a:pt x="8218490" y="1848824"/>
                  <a:pt x="8243200" y="1824114"/>
                  <a:pt x="8273682" y="1824114"/>
                </a:cubicBezTo>
                <a:close/>
                <a:moveTo>
                  <a:pt x="8143386" y="1824114"/>
                </a:moveTo>
                <a:cubicBezTo>
                  <a:pt x="8173868" y="1824114"/>
                  <a:pt x="8198578" y="1848824"/>
                  <a:pt x="8198578" y="1879305"/>
                </a:cubicBezTo>
                <a:cubicBezTo>
                  <a:pt x="8198578" y="1909786"/>
                  <a:pt x="8173868" y="1934496"/>
                  <a:pt x="8143386" y="1934496"/>
                </a:cubicBezTo>
                <a:cubicBezTo>
                  <a:pt x="8112904" y="1934496"/>
                  <a:pt x="8088194" y="1909786"/>
                  <a:pt x="8088194" y="1879305"/>
                </a:cubicBezTo>
                <a:cubicBezTo>
                  <a:pt x="8088194" y="1848824"/>
                  <a:pt x="8112904" y="1824114"/>
                  <a:pt x="8143386" y="1824114"/>
                </a:cubicBezTo>
                <a:close/>
                <a:moveTo>
                  <a:pt x="8009752" y="1824114"/>
                </a:moveTo>
                <a:cubicBezTo>
                  <a:pt x="8040234" y="1824114"/>
                  <a:pt x="8064944" y="1848824"/>
                  <a:pt x="8064944" y="1879305"/>
                </a:cubicBezTo>
                <a:cubicBezTo>
                  <a:pt x="8064944" y="1909786"/>
                  <a:pt x="8040234" y="1934496"/>
                  <a:pt x="8009752" y="1934496"/>
                </a:cubicBezTo>
                <a:cubicBezTo>
                  <a:pt x="7979270" y="1934496"/>
                  <a:pt x="7954560" y="1909786"/>
                  <a:pt x="7954560" y="1879305"/>
                </a:cubicBezTo>
                <a:cubicBezTo>
                  <a:pt x="7954560" y="1848824"/>
                  <a:pt x="7979270" y="1824114"/>
                  <a:pt x="8009752" y="1824114"/>
                </a:cubicBezTo>
                <a:close/>
                <a:moveTo>
                  <a:pt x="7876117" y="1824114"/>
                </a:moveTo>
                <a:cubicBezTo>
                  <a:pt x="7906599" y="1824114"/>
                  <a:pt x="7931309" y="1848824"/>
                  <a:pt x="7931309" y="1879305"/>
                </a:cubicBezTo>
                <a:cubicBezTo>
                  <a:pt x="7931309" y="1909786"/>
                  <a:pt x="7906599" y="1934496"/>
                  <a:pt x="7876117" y="1934496"/>
                </a:cubicBezTo>
                <a:cubicBezTo>
                  <a:pt x="7845635" y="1934496"/>
                  <a:pt x="7820925" y="1909786"/>
                  <a:pt x="7820925" y="1879305"/>
                </a:cubicBezTo>
                <a:cubicBezTo>
                  <a:pt x="7820925" y="1848824"/>
                  <a:pt x="7845635" y="1824114"/>
                  <a:pt x="7876117" y="1824114"/>
                </a:cubicBezTo>
                <a:close/>
                <a:moveTo>
                  <a:pt x="7745824" y="1824114"/>
                </a:moveTo>
                <a:cubicBezTo>
                  <a:pt x="7776306" y="1824114"/>
                  <a:pt x="7801016" y="1848824"/>
                  <a:pt x="7801016" y="1879305"/>
                </a:cubicBezTo>
                <a:cubicBezTo>
                  <a:pt x="7801016" y="1909786"/>
                  <a:pt x="7776306" y="1934496"/>
                  <a:pt x="7745824" y="1934496"/>
                </a:cubicBezTo>
                <a:cubicBezTo>
                  <a:pt x="7715342" y="1934496"/>
                  <a:pt x="7690632" y="1909786"/>
                  <a:pt x="7690632" y="1879305"/>
                </a:cubicBezTo>
                <a:cubicBezTo>
                  <a:pt x="7690632" y="1848824"/>
                  <a:pt x="7715342" y="1824114"/>
                  <a:pt x="7745824" y="1824114"/>
                </a:cubicBezTo>
                <a:close/>
                <a:moveTo>
                  <a:pt x="7608849" y="1824114"/>
                </a:moveTo>
                <a:cubicBezTo>
                  <a:pt x="7639331" y="1824114"/>
                  <a:pt x="7664041" y="1848824"/>
                  <a:pt x="7664041" y="1879305"/>
                </a:cubicBezTo>
                <a:cubicBezTo>
                  <a:pt x="7664041" y="1909786"/>
                  <a:pt x="7639331" y="1934496"/>
                  <a:pt x="7608849" y="1934496"/>
                </a:cubicBezTo>
                <a:cubicBezTo>
                  <a:pt x="7578367" y="1934496"/>
                  <a:pt x="7553657" y="1909786"/>
                  <a:pt x="7553657" y="1879305"/>
                </a:cubicBezTo>
                <a:cubicBezTo>
                  <a:pt x="7553657" y="1848824"/>
                  <a:pt x="7578367" y="1824114"/>
                  <a:pt x="7608849" y="1824114"/>
                </a:cubicBezTo>
                <a:close/>
                <a:moveTo>
                  <a:pt x="7481895" y="1824114"/>
                </a:moveTo>
                <a:cubicBezTo>
                  <a:pt x="7512377" y="1824114"/>
                  <a:pt x="7537087" y="1848824"/>
                  <a:pt x="7537087" y="1879305"/>
                </a:cubicBezTo>
                <a:cubicBezTo>
                  <a:pt x="7537087" y="1909786"/>
                  <a:pt x="7512377" y="1934496"/>
                  <a:pt x="7481895" y="1934496"/>
                </a:cubicBezTo>
                <a:cubicBezTo>
                  <a:pt x="7451413" y="1934496"/>
                  <a:pt x="7426703" y="1909786"/>
                  <a:pt x="7426703" y="1879305"/>
                </a:cubicBezTo>
                <a:cubicBezTo>
                  <a:pt x="7426703" y="1848824"/>
                  <a:pt x="7451413" y="1824114"/>
                  <a:pt x="7481895" y="1824114"/>
                </a:cubicBezTo>
                <a:close/>
                <a:moveTo>
                  <a:pt x="7341579" y="1824114"/>
                </a:moveTo>
                <a:cubicBezTo>
                  <a:pt x="7372061" y="1824114"/>
                  <a:pt x="7396771" y="1848824"/>
                  <a:pt x="7396771" y="1879305"/>
                </a:cubicBezTo>
                <a:cubicBezTo>
                  <a:pt x="7396771" y="1909786"/>
                  <a:pt x="7372061" y="1934496"/>
                  <a:pt x="7341579" y="1934496"/>
                </a:cubicBezTo>
                <a:cubicBezTo>
                  <a:pt x="7311097" y="1934496"/>
                  <a:pt x="7286387" y="1909786"/>
                  <a:pt x="7286387" y="1879305"/>
                </a:cubicBezTo>
                <a:cubicBezTo>
                  <a:pt x="7286387" y="1848824"/>
                  <a:pt x="7311097" y="1824114"/>
                  <a:pt x="7341579" y="1824114"/>
                </a:cubicBezTo>
                <a:close/>
                <a:moveTo>
                  <a:pt x="7211286" y="1824114"/>
                </a:moveTo>
                <a:cubicBezTo>
                  <a:pt x="7241768" y="1824114"/>
                  <a:pt x="7266478" y="1848824"/>
                  <a:pt x="7266478" y="1879305"/>
                </a:cubicBezTo>
                <a:cubicBezTo>
                  <a:pt x="7266478" y="1909786"/>
                  <a:pt x="7241768" y="1934496"/>
                  <a:pt x="7211286" y="1934496"/>
                </a:cubicBezTo>
                <a:cubicBezTo>
                  <a:pt x="7180804" y="1934496"/>
                  <a:pt x="7156094" y="1909786"/>
                  <a:pt x="7156094" y="1879305"/>
                </a:cubicBezTo>
                <a:cubicBezTo>
                  <a:pt x="7156094" y="1848824"/>
                  <a:pt x="7180804" y="1824114"/>
                  <a:pt x="7211286" y="1824114"/>
                </a:cubicBezTo>
                <a:close/>
                <a:moveTo>
                  <a:pt x="7080993" y="1824114"/>
                </a:moveTo>
                <a:cubicBezTo>
                  <a:pt x="7111475" y="1824114"/>
                  <a:pt x="7136185" y="1848824"/>
                  <a:pt x="7136185" y="1879305"/>
                </a:cubicBezTo>
                <a:cubicBezTo>
                  <a:pt x="7136185" y="1909786"/>
                  <a:pt x="7111475" y="1934496"/>
                  <a:pt x="7080993" y="1934496"/>
                </a:cubicBezTo>
                <a:cubicBezTo>
                  <a:pt x="7050511" y="1934496"/>
                  <a:pt x="7025801" y="1909786"/>
                  <a:pt x="7025801" y="1879305"/>
                </a:cubicBezTo>
                <a:cubicBezTo>
                  <a:pt x="7025801" y="1848824"/>
                  <a:pt x="7050511" y="1824114"/>
                  <a:pt x="7080993" y="1824114"/>
                </a:cubicBezTo>
                <a:close/>
                <a:moveTo>
                  <a:pt x="6947357" y="1824114"/>
                </a:moveTo>
                <a:cubicBezTo>
                  <a:pt x="6977839" y="1824114"/>
                  <a:pt x="7002549" y="1848824"/>
                  <a:pt x="7002549" y="1879305"/>
                </a:cubicBezTo>
                <a:cubicBezTo>
                  <a:pt x="7002549" y="1909786"/>
                  <a:pt x="6977839" y="1934496"/>
                  <a:pt x="6947357" y="1934496"/>
                </a:cubicBezTo>
                <a:cubicBezTo>
                  <a:pt x="6916875" y="1934496"/>
                  <a:pt x="6892165" y="1909786"/>
                  <a:pt x="6892165" y="1879305"/>
                </a:cubicBezTo>
                <a:cubicBezTo>
                  <a:pt x="6892165" y="1848824"/>
                  <a:pt x="6916875" y="1824114"/>
                  <a:pt x="6947357" y="1824114"/>
                </a:cubicBezTo>
                <a:close/>
                <a:moveTo>
                  <a:pt x="6817063" y="1824114"/>
                </a:moveTo>
                <a:cubicBezTo>
                  <a:pt x="6847545" y="1824114"/>
                  <a:pt x="6872255" y="1848824"/>
                  <a:pt x="6872255" y="1879305"/>
                </a:cubicBezTo>
                <a:cubicBezTo>
                  <a:pt x="6872255" y="1909786"/>
                  <a:pt x="6847545" y="1934496"/>
                  <a:pt x="6817063" y="1934496"/>
                </a:cubicBezTo>
                <a:cubicBezTo>
                  <a:pt x="6786581" y="1934496"/>
                  <a:pt x="6761871" y="1909786"/>
                  <a:pt x="6761871" y="1879305"/>
                </a:cubicBezTo>
                <a:cubicBezTo>
                  <a:pt x="6761871" y="1848824"/>
                  <a:pt x="6786581" y="1824114"/>
                  <a:pt x="6817063" y="1824114"/>
                </a:cubicBezTo>
                <a:close/>
                <a:moveTo>
                  <a:pt x="6683431" y="1824114"/>
                </a:moveTo>
                <a:cubicBezTo>
                  <a:pt x="6713913" y="1824114"/>
                  <a:pt x="6738623" y="1848824"/>
                  <a:pt x="6738623" y="1879305"/>
                </a:cubicBezTo>
                <a:cubicBezTo>
                  <a:pt x="6738623" y="1909786"/>
                  <a:pt x="6713913" y="1934496"/>
                  <a:pt x="6683431" y="1934496"/>
                </a:cubicBezTo>
                <a:cubicBezTo>
                  <a:pt x="6652949" y="1934496"/>
                  <a:pt x="6628239" y="1909786"/>
                  <a:pt x="6628239" y="1879305"/>
                </a:cubicBezTo>
                <a:cubicBezTo>
                  <a:pt x="6628239" y="1848824"/>
                  <a:pt x="6652949" y="1824114"/>
                  <a:pt x="6683431" y="1824114"/>
                </a:cubicBezTo>
                <a:close/>
                <a:moveTo>
                  <a:pt x="6553137" y="1824114"/>
                </a:moveTo>
                <a:cubicBezTo>
                  <a:pt x="6583619" y="1824114"/>
                  <a:pt x="6608329" y="1848824"/>
                  <a:pt x="6608329" y="1879305"/>
                </a:cubicBezTo>
                <a:cubicBezTo>
                  <a:pt x="6608329" y="1909786"/>
                  <a:pt x="6583619" y="1934496"/>
                  <a:pt x="6553137" y="1934496"/>
                </a:cubicBezTo>
                <a:cubicBezTo>
                  <a:pt x="6522655" y="1934496"/>
                  <a:pt x="6497945" y="1909786"/>
                  <a:pt x="6497945" y="1879305"/>
                </a:cubicBezTo>
                <a:cubicBezTo>
                  <a:pt x="6497945" y="1848824"/>
                  <a:pt x="6522655" y="1824114"/>
                  <a:pt x="6553137" y="1824114"/>
                </a:cubicBezTo>
                <a:close/>
                <a:moveTo>
                  <a:pt x="6289207" y="1824114"/>
                </a:moveTo>
                <a:cubicBezTo>
                  <a:pt x="6319689" y="1824114"/>
                  <a:pt x="6344399" y="1848824"/>
                  <a:pt x="6344399" y="1879305"/>
                </a:cubicBezTo>
                <a:cubicBezTo>
                  <a:pt x="6344399" y="1909786"/>
                  <a:pt x="6319689" y="1934496"/>
                  <a:pt x="6289207" y="1934496"/>
                </a:cubicBezTo>
                <a:cubicBezTo>
                  <a:pt x="6258725" y="1934496"/>
                  <a:pt x="6234015" y="1909786"/>
                  <a:pt x="6234015" y="1879305"/>
                </a:cubicBezTo>
                <a:cubicBezTo>
                  <a:pt x="6234015" y="1848824"/>
                  <a:pt x="6258725" y="1824114"/>
                  <a:pt x="6289207" y="1824114"/>
                </a:cubicBezTo>
                <a:close/>
                <a:moveTo>
                  <a:pt x="6155572" y="1824114"/>
                </a:moveTo>
                <a:cubicBezTo>
                  <a:pt x="6186054" y="1824114"/>
                  <a:pt x="6210764" y="1848824"/>
                  <a:pt x="6210764" y="1879305"/>
                </a:cubicBezTo>
                <a:cubicBezTo>
                  <a:pt x="6210764" y="1909786"/>
                  <a:pt x="6186054" y="1934496"/>
                  <a:pt x="6155572" y="1934496"/>
                </a:cubicBezTo>
                <a:cubicBezTo>
                  <a:pt x="6125090" y="1934496"/>
                  <a:pt x="6100380" y="1909786"/>
                  <a:pt x="6100380" y="1879305"/>
                </a:cubicBezTo>
                <a:cubicBezTo>
                  <a:pt x="6100380" y="1848824"/>
                  <a:pt x="6125090" y="1824114"/>
                  <a:pt x="6155572" y="1824114"/>
                </a:cubicBezTo>
                <a:close/>
                <a:moveTo>
                  <a:pt x="6021938" y="1824114"/>
                </a:moveTo>
                <a:cubicBezTo>
                  <a:pt x="6052420" y="1824114"/>
                  <a:pt x="6077130" y="1848824"/>
                  <a:pt x="6077130" y="1879305"/>
                </a:cubicBezTo>
                <a:cubicBezTo>
                  <a:pt x="6077130" y="1909786"/>
                  <a:pt x="6052420" y="1934496"/>
                  <a:pt x="6021938" y="1934496"/>
                </a:cubicBezTo>
                <a:cubicBezTo>
                  <a:pt x="5991456" y="1934496"/>
                  <a:pt x="5966746" y="1909786"/>
                  <a:pt x="5966746" y="1879305"/>
                </a:cubicBezTo>
                <a:cubicBezTo>
                  <a:pt x="5966746" y="1848824"/>
                  <a:pt x="5991456" y="1824114"/>
                  <a:pt x="6021938" y="1824114"/>
                </a:cubicBezTo>
                <a:close/>
                <a:moveTo>
                  <a:pt x="5884964" y="1824114"/>
                </a:moveTo>
                <a:cubicBezTo>
                  <a:pt x="5915446" y="1824114"/>
                  <a:pt x="5940156" y="1848824"/>
                  <a:pt x="5940156" y="1879305"/>
                </a:cubicBezTo>
                <a:cubicBezTo>
                  <a:pt x="5940156" y="1909786"/>
                  <a:pt x="5915446" y="1934496"/>
                  <a:pt x="5884964" y="1934496"/>
                </a:cubicBezTo>
                <a:cubicBezTo>
                  <a:pt x="5854482" y="1934496"/>
                  <a:pt x="5829772" y="1909786"/>
                  <a:pt x="5829772" y="1879305"/>
                </a:cubicBezTo>
                <a:cubicBezTo>
                  <a:pt x="5829772" y="1848824"/>
                  <a:pt x="5854482" y="1824114"/>
                  <a:pt x="5884964" y="1824114"/>
                </a:cubicBezTo>
                <a:close/>
                <a:moveTo>
                  <a:pt x="5754670" y="1824114"/>
                </a:moveTo>
                <a:cubicBezTo>
                  <a:pt x="5785152" y="1824114"/>
                  <a:pt x="5809862" y="1848824"/>
                  <a:pt x="5809862" y="1879305"/>
                </a:cubicBezTo>
                <a:cubicBezTo>
                  <a:pt x="5809862" y="1909786"/>
                  <a:pt x="5785152" y="1934496"/>
                  <a:pt x="5754670" y="1934496"/>
                </a:cubicBezTo>
                <a:cubicBezTo>
                  <a:pt x="5724188" y="1934496"/>
                  <a:pt x="5699478" y="1909786"/>
                  <a:pt x="5699478" y="1879305"/>
                </a:cubicBezTo>
                <a:cubicBezTo>
                  <a:pt x="5699478" y="1848824"/>
                  <a:pt x="5724188" y="1824114"/>
                  <a:pt x="5754670" y="1824114"/>
                </a:cubicBezTo>
                <a:close/>
                <a:moveTo>
                  <a:pt x="5487399" y="1824114"/>
                </a:moveTo>
                <a:cubicBezTo>
                  <a:pt x="5517881" y="1824114"/>
                  <a:pt x="5542591" y="1848824"/>
                  <a:pt x="5542591" y="1879305"/>
                </a:cubicBezTo>
                <a:cubicBezTo>
                  <a:pt x="5542591" y="1909786"/>
                  <a:pt x="5517881" y="1934496"/>
                  <a:pt x="5487399" y="1934496"/>
                </a:cubicBezTo>
                <a:cubicBezTo>
                  <a:pt x="5456917" y="1934496"/>
                  <a:pt x="5432207" y="1909786"/>
                  <a:pt x="5432207" y="1879305"/>
                </a:cubicBezTo>
                <a:cubicBezTo>
                  <a:pt x="5432207" y="1848824"/>
                  <a:pt x="5456917" y="1824114"/>
                  <a:pt x="5487399" y="1824114"/>
                </a:cubicBezTo>
                <a:close/>
                <a:moveTo>
                  <a:pt x="5357105" y="1824114"/>
                </a:moveTo>
                <a:cubicBezTo>
                  <a:pt x="5387587" y="1824114"/>
                  <a:pt x="5412297" y="1848824"/>
                  <a:pt x="5412297" y="1879305"/>
                </a:cubicBezTo>
                <a:cubicBezTo>
                  <a:pt x="5412297" y="1909786"/>
                  <a:pt x="5387587" y="1934496"/>
                  <a:pt x="5357105" y="1934496"/>
                </a:cubicBezTo>
                <a:cubicBezTo>
                  <a:pt x="5326623" y="1934496"/>
                  <a:pt x="5301913" y="1909786"/>
                  <a:pt x="5301913" y="1879305"/>
                </a:cubicBezTo>
                <a:cubicBezTo>
                  <a:pt x="5301913" y="1848824"/>
                  <a:pt x="5326623" y="1824114"/>
                  <a:pt x="5357105" y="1824114"/>
                </a:cubicBezTo>
                <a:close/>
                <a:moveTo>
                  <a:pt x="5223473" y="1824114"/>
                </a:moveTo>
                <a:cubicBezTo>
                  <a:pt x="5253955" y="1824114"/>
                  <a:pt x="5278665" y="1848824"/>
                  <a:pt x="5278665" y="1879305"/>
                </a:cubicBezTo>
                <a:cubicBezTo>
                  <a:pt x="5278665" y="1909786"/>
                  <a:pt x="5253955" y="1934496"/>
                  <a:pt x="5223473" y="1934496"/>
                </a:cubicBezTo>
                <a:cubicBezTo>
                  <a:pt x="5192991" y="1934496"/>
                  <a:pt x="5168281" y="1909786"/>
                  <a:pt x="5168281" y="1879305"/>
                </a:cubicBezTo>
                <a:cubicBezTo>
                  <a:pt x="5168281" y="1848824"/>
                  <a:pt x="5192991" y="1824114"/>
                  <a:pt x="5223473" y="1824114"/>
                </a:cubicBezTo>
                <a:close/>
                <a:moveTo>
                  <a:pt x="5093178" y="1824114"/>
                </a:moveTo>
                <a:cubicBezTo>
                  <a:pt x="5123660" y="1824114"/>
                  <a:pt x="5148370" y="1848824"/>
                  <a:pt x="5148370" y="1879305"/>
                </a:cubicBezTo>
                <a:cubicBezTo>
                  <a:pt x="5148370" y="1909786"/>
                  <a:pt x="5123660" y="1934496"/>
                  <a:pt x="5093178" y="1934496"/>
                </a:cubicBezTo>
                <a:cubicBezTo>
                  <a:pt x="5062696" y="1934496"/>
                  <a:pt x="5037986" y="1909786"/>
                  <a:pt x="5037986" y="1879305"/>
                </a:cubicBezTo>
                <a:cubicBezTo>
                  <a:pt x="5037986" y="1848824"/>
                  <a:pt x="5062696" y="1824114"/>
                  <a:pt x="5093178" y="1824114"/>
                </a:cubicBezTo>
                <a:close/>
                <a:moveTo>
                  <a:pt x="4959543" y="1824114"/>
                </a:moveTo>
                <a:cubicBezTo>
                  <a:pt x="4990025" y="1824114"/>
                  <a:pt x="5014735" y="1848824"/>
                  <a:pt x="5014735" y="1879305"/>
                </a:cubicBezTo>
                <a:cubicBezTo>
                  <a:pt x="5014735" y="1909786"/>
                  <a:pt x="4990025" y="1934496"/>
                  <a:pt x="4959543" y="1934496"/>
                </a:cubicBezTo>
                <a:cubicBezTo>
                  <a:pt x="4929061" y="1934496"/>
                  <a:pt x="4904351" y="1909786"/>
                  <a:pt x="4904351" y="1879305"/>
                </a:cubicBezTo>
                <a:cubicBezTo>
                  <a:pt x="4904351" y="1848824"/>
                  <a:pt x="4929061" y="1824114"/>
                  <a:pt x="4959543" y="1824114"/>
                </a:cubicBezTo>
                <a:close/>
                <a:moveTo>
                  <a:pt x="4829250" y="1824114"/>
                </a:moveTo>
                <a:cubicBezTo>
                  <a:pt x="4859732" y="1824114"/>
                  <a:pt x="4884442" y="1848824"/>
                  <a:pt x="4884442" y="1879305"/>
                </a:cubicBezTo>
                <a:cubicBezTo>
                  <a:pt x="4884442" y="1909786"/>
                  <a:pt x="4859732" y="1934496"/>
                  <a:pt x="4829250" y="1934496"/>
                </a:cubicBezTo>
                <a:cubicBezTo>
                  <a:pt x="4798768" y="1934496"/>
                  <a:pt x="4774058" y="1909786"/>
                  <a:pt x="4774058" y="1879305"/>
                </a:cubicBezTo>
                <a:cubicBezTo>
                  <a:pt x="4774058" y="1848824"/>
                  <a:pt x="4798768" y="1824114"/>
                  <a:pt x="4829250" y="1824114"/>
                </a:cubicBezTo>
                <a:close/>
                <a:moveTo>
                  <a:pt x="4695613" y="1824114"/>
                </a:moveTo>
                <a:cubicBezTo>
                  <a:pt x="4726095" y="1824114"/>
                  <a:pt x="4750805" y="1848824"/>
                  <a:pt x="4750805" y="1879305"/>
                </a:cubicBezTo>
                <a:cubicBezTo>
                  <a:pt x="4750805" y="1909786"/>
                  <a:pt x="4726095" y="1934496"/>
                  <a:pt x="4695613" y="1934496"/>
                </a:cubicBezTo>
                <a:cubicBezTo>
                  <a:pt x="4665131" y="1934496"/>
                  <a:pt x="4640421" y="1909786"/>
                  <a:pt x="4640421" y="1879305"/>
                </a:cubicBezTo>
                <a:cubicBezTo>
                  <a:pt x="4640421" y="1848824"/>
                  <a:pt x="4665131" y="1824114"/>
                  <a:pt x="4695613" y="1824114"/>
                </a:cubicBezTo>
                <a:close/>
                <a:moveTo>
                  <a:pt x="2834762" y="1824114"/>
                </a:moveTo>
                <a:cubicBezTo>
                  <a:pt x="2865244" y="1824114"/>
                  <a:pt x="2889954" y="1848824"/>
                  <a:pt x="2889954" y="1879305"/>
                </a:cubicBezTo>
                <a:cubicBezTo>
                  <a:pt x="2889954" y="1909786"/>
                  <a:pt x="2865244" y="1934496"/>
                  <a:pt x="2834762" y="1934496"/>
                </a:cubicBezTo>
                <a:cubicBezTo>
                  <a:pt x="2804280" y="1934496"/>
                  <a:pt x="2779570" y="1909786"/>
                  <a:pt x="2779570" y="1879305"/>
                </a:cubicBezTo>
                <a:cubicBezTo>
                  <a:pt x="2779570" y="1848824"/>
                  <a:pt x="2804280" y="1824114"/>
                  <a:pt x="2834762" y="1824114"/>
                </a:cubicBezTo>
                <a:close/>
                <a:moveTo>
                  <a:pt x="2707807" y="1824114"/>
                </a:moveTo>
                <a:cubicBezTo>
                  <a:pt x="2738289" y="1824114"/>
                  <a:pt x="2762999" y="1848824"/>
                  <a:pt x="2762999" y="1879305"/>
                </a:cubicBezTo>
                <a:cubicBezTo>
                  <a:pt x="2762999" y="1909786"/>
                  <a:pt x="2738289" y="1934496"/>
                  <a:pt x="2707807" y="1934496"/>
                </a:cubicBezTo>
                <a:cubicBezTo>
                  <a:pt x="2677325" y="1934496"/>
                  <a:pt x="2652615" y="1909786"/>
                  <a:pt x="2652615" y="1879305"/>
                </a:cubicBezTo>
                <a:cubicBezTo>
                  <a:pt x="2652615" y="1848824"/>
                  <a:pt x="2677325" y="1824114"/>
                  <a:pt x="2707807" y="1824114"/>
                </a:cubicBezTo>
                <a:close/>
                <a:moveTo>
                  <a:pt x="2570834" y="1824114"/>
                </a:moveTo>
                <a:cubicBezTo>
                  <a:pt x="2601315" y="1824114"/>
                  <a:pt x="2626025" y="1848824"/>
                  <a:pt x="2626025" y="1879305"/>
                </a:cubicBezTo>
                <a:cubicBezTo>
                  <a:pt x="2626025" y="1909786"/>
                  <a:pt x="2601315" y="1934496"/>
                  <a:pt x="2570834" y="1934496"/>
                </a:cubicBezTo>
                <a:cubicBezTo>
                  <a:pt x="2540351" y="1934496"/>
                  <a:pt x="2515641" y="1909786"/>
                  <a:pt x="2515641" y="1879305"/>
                </a:cubicBezTo>
                <a:cubicBezTo>
                  <a:pt x="2515641" y="1848824"/>
                  <a:pt x="2540351" y="1824114"/>
                  <a:pt x="2570834" y="1824114"/>
                </a:cubicBezTo>
                <a:close/>
                <a:moveTo>
                  <a:pt x="2437196" y="1824114"/>
                </a:moveTo>
                <a:cubicBezTo>
                  <a:pt x="2467679" y="1824114"/>
                  <a:pt x="2492389" y="1848824"/>
                  <a:pt x="2492389" y="1879305"/>
                </a:cubicBezTo>
                <a:cubicBezTo>
                  <a:pt x="2492389" y="1909786"/>
                  <a:pt x="2467679" y="1934496"/>
                  <a:pt x="2437196" y="1934496"/>
                </a:cubicBezTo>
                <a:cubicBezTo>
                  <a:pt x="2406715" y="1934496"/>
                  <a:pt x="2382005" y="1909786"/>
                  <a:pt x="2382005" y="1879305"/>
                </a:cubicBezTo>
                <a:cubicBezTo>
                  <a:pt x="2382005" y="1848824"/>
                  <a:pt x="2406715" y="1824114"/>
                  <a:pt x="2437196" y="1824114"/>
                </a:cubicBezTo>
                <a:close/>
                <a:moveTo>
                  <a:pt x="2303564" y="1824114"/>
                </a:moveTo>
                <a:cubicBezTo>
                  <a:pt x="2334046" y="1824114"/>
                  <a:pt x="2358756" y="1848824"/>
                  <a:pt x="2358756" y="1879305"/>
                </a:cubicBezTo>
                <a:cubicBezTo>
                  <a:pt x="2358756" y="1909786"/>
                  <a:pt x="2334046" y="1934496"/>
                  <a:pt x="2303564" y="1934496"/>
                </a:cubicBezTo>
                <a:cubicBezTo>
                  <a:pt x="2273082" y="1934496"/>
                  <a:pt x="2248372" y="1909786"/>
                  <a:pt x="2248372" y="1879305"/>
                </a:cubicBezTo>
                <a:cubicBezTo>
                  <a:pt x="2248372" y="1848824"/>
                  <a:pt x="2273082" y="1824114"/>
                  <a:pt x="2303564" y="1824114"/>
                </a:cubicBezTo>
                <a:close/>
                <a:moveTo>
                  <a:pt x="2173271" y="1824114"/>
                </a:moveTo>
                <a:cubicBezTo>
                  <a:pt x="2203753" y="1824114"/>
                  <a:pt x="2228463" y="1848824"/>
                  <a:pt x="2228463" y="1879305"/>
                </a:cubicBezTo>
                <a:cubicBezTo>
                  <a:pt x="2228463" y="1909786"/>
                  <a:pt x="2203753" y="1934496"/>
                  <a:pt x="2173271" y="1934496"/>
                </a:cubicBezTo>
                <a:cubicBezTo>
                  <a:pt x="2142789" y="1934496"/>
                  <a:pt x="2118079" y="1909786"/>
                  <a:pt x="2118079" y="1879305"/>
                </a:cubicBezTo>
                <a:cubicBezTo>
                  <a:pt x="2118079" y="1848824"/>
                  <a:pt x="2142789" y="1824114"/>
                  <a:pt x="2173271" y="1824114"/>
                </a:cubicBezTo>
                <a:close/>
                <a:moveTo>
                  <a:pt x="2039637" y="1824114"/>
                </a:moveTo>
                <a:cubicBezTo>
                  <a:pt x="2070119" y="1824114"/>
                  <a:pt x="2094830" y="1848824"/>
                  <a:pt x="2094830" y="1879305"/>
                </a:cubicBezTo>
                <a:cubicBezTo>
                  <a:pt x="2094830" y="1909786"/>
                  <a:pt x="2070119" y="1934496"/>
                  <a:pt x="2039637" y="1934496"/>
                </a:cubicBezTo>
                <a:cubicBezTo>
                  <a:pt x="2009155" y="1934496"/>
                  <a:pt x="1984445" y="1909786"/>
                  <a:pt x="1984445" y="1879305"/>
                </a:cubicBezTo>
                <a:cubicBezTo>
                  <a:pt x="1984445" y="1848824"/>
                  <a:pt x="2009155" y="1824114"/>
                  <a:pt x="2039637" y="1824114"/>
                </a:cubicBezTo>
                <a:close/>
                <a:moveTo>
                  <a:pt x="1909341" y="1824114"/>
                </a:moveTo>
                <a:cubicBezTo>
                  <a:pt x="1939823" y="1824114"/>
                  <a:pt x="1964533" y="1848824"/>
                  <a:pt x="1964533" y="1879305"/>
                </a:cubicBezTo>
                <a:cubicBezTo>
                  <a:pt x="1964533" y="1909786"/>
                  <a:pt x="1939823" y="1934496"/>
                  <a:pt x="1909341" y="1934496"/>
                </a:cubicBezTo>
                <a:cubicBezTo>
                  <a:pt x="1878859" y="1934496"/>
                  <a:pt x="1854149" y="1909786"/>
                  <a:pt x="1854149" y="1879305"/>
                </a:cubicBezTo>
                <a:cubicBezTo>
                  <a:pt x="1854149" y="1848824"/>
                  <a:pt x="1878859" y="1824114"/>
                  <a:pt x="1909341" y="1824114"/>
                </a:cubicBezTo>
                <a:close/>
                <a:moveTo>
                  <a:pt x="1779049" y="1824114"/>
                </a:moveTo>
                <a:cubicBezTo>
                  <a:pt x="1809531" y="1824114"/>
                  <a:pt x="1834241" y="1848824"/>
                  <a:pt x="1834241" y="1879305"/>
                </a:cubicBezTo>
                <a:cubicBezTo>
                  <a:pt x="1834241" y="1909786"/>
                  <a:pt x="1809531" y="1934496"/>
                  <a:pt x="1779049" y="1934496"/>
                </a:cubicBezTo>
                <a:cubicBezTo>
                  <a:pt x="1748566" y="1934496"/>
                  <a:pt x="1723856" y="1909786"/>
                  <a:pt x="1723856" y="1879305"/>
                </a:cubicBezTo>
                <a:cubicBezTo>
                  <a:pt x="1723856" y="1848824"/>
                  <a:pt x="1748566" y="1824114"/>
                  <a:pt x="1779049" y="1824114"/>
                </a:cubicBezTo>
                <a:close/>
                <a:moveTo>
                  <a:pt x="1645413" y="1824114"/>
                </a:moveTo>
                <a:cubicBezTo>
                  <a:pt x="1675895" y="1824114"/>
                  <a:pt x="1700604" y="1848824"/>
                  <a:pt x="1700604" y="1879305"/>
                </a:cubicBezTo>
                <a:cubicBezTo>
                  <a:pt x="1700604" y="1909786"/>
                  <a:pt x="1675895" y="1934496"/>
                  <a:pt x="1645413" y="1934496"/>
                </a:cubicBezTo>
                <a:cubicBezTo>
                  <a:pt x="1614930" y="1934496"/>
                  <a:pt x="1590220" y="1909786"/>
                  <a:pt x="1590220" y="1879305"/>
                </a:cubicBezTo>
                <a:cubicBezTo>
                  <a:pt x="1590220" y="1848824"/>
                  <a:pt x="1614930" y="1824114"/>
                  <a:pt x="1645413" y="1824114"/>
                </a:cubicBezTo>
                <a:close/>
                <a:moveTo>
                  <a:pt x="1515120" y="1824114"/>
                </a:moveTo>
                <a:cubicBezTo>
                  <a:pt x="1545602" y="1824114"/>
                  <a:pt x="1570311" y="1848824"/>
                  <a:pt x="1570311" y="1879305"/>
                </a:cubicBezTo>
                <a:cubicBezTo>
                  <a:pt x="1570311" y="1909786"/>
                  <a:pt x="1545602" y="1934496"/>
                  <a:pt x="1515120" y="1934496"/>
                </a:cubicBezTo>
                <a:cubicBezTo>
                  <a:pt x="1484638" y="1934496"/>
                  <a:pt x="1459927" y="1909786"/>
                  <a:pt x="1459927" y="1879305"/>
                </a:cubicBezTo>
                <a:cubicBezTo>
                  <a:pt x="1459927" y="1848824"/>
                  <a:pt x="1484638" y="1824114"/>
                  <a:pt x="1515120" y="1824114"/>
                </a:cubicBezTo>
                <a:close/>
                <a:moveTo>
                  <a:pt x="1381486" y="1824114"/>
                </a:moveTo>
                <a:cubicBezTo>
                  <a:pt x="1411968" y="1824114"/>
                  <a:pt x="1436678" y="1848824"/>
                  <a:pt x="1436678" y="1879305"/>
                </a:cubicBezTo>
                <a:cubicBezTo>
                  <a:pt x="1436678" y="1909786"/>
                  <a:pt x="1411968" y="1934496"/>
                  <a:pt x="1381486" y="1934496"/>
                </a:cubicBezTo>
                <a:cubicBezTo>
                  <a:pt x="1351005" y="1934496"/>
                  <a:pt x="1326294" y="1909786"/>
                  <a:pt x="1326294" y="1879305"/>
                </a:cubicBezTo>
                <a:cubicBezTo>
                  <a:pt x="1326294" y="1848824"/>
                  <a:pt x="1351005" y="1824114"/>
                  <a:pt x="1381486" y="1824114"/>
                </a:cubicBezTo>
                <a:close/>
                <a:moveTo>
                  <a:pt x="1251193" y="1824114"/>
                </a:moveTo>
                <a:cubicBezTo>
                  <a:pt x="1281674" y="1824114"/>
                  <a:pt x="1306386" y="1848824"/>
                  <a:pt x="1306386" y="1879305"/>
                </a:cubicBezTo>
                <a:cubicBezTo>
                  <a:pt x="1306386" y="1909786"/>
                  <a:pt x="1281674" y="1934496"/>
                  <a:pt x="1251193" y="1934496"/>
                </a:cubicBezTo>
                <a:cubicBezTo>
                  <a:pt x="1220711" y="1934496"/>
                  <a:pt x="1196001" y="1909786"/>
                  <a:pt x="1196001" y="1879305"/>
                </a:cubicBezTo>
                <a:cubicBezTo>
                  <a:pt x="1196001" y="1848824"/>
                  <a:pt x="1220711" y="1824114"/>
                  <a:pt x="1251193" y="1824114"/>
                </a:cubicBezTo>
                <a:close/>
                <a:moveTo>
                  <a:pt x="4565336" y="1824106"/>
                </a:moveTo>
                <a:cubicBezTo>
                  <a:pt x="4595818" y="1824106"/>
                  <a:pt x="4620528" y="1848816"/>
                  <a:pt x="4620528" y="1879297"/>
                </a:cubicBezTo>
                <a:cubicBezTo>
                  <a:pt x="4620528" y="1909778"/>
                  <a:pt x="4595818" y="1934488"/>
                  <a:pt x="4565336" y="1934488"/>
                </a:cubicBezTo>
                <a:cubicBezTo>
                  <a:pt x="4534854" y="1934488"/>
                  <a:pt x="4510144" y="1909778"/>
                  <a:pt x="4510144" y="1879297"/>
                </a:cubicBezTo>
                <a:cubicBezTo>
                  <a:pt x="4510144" y="1848816"/>
                  <a:pt x="4534854" y="1824106"/>
                  <a:pt x="4565336" y="1824106"/>
                </a:cubicBezTo>
                <a:close/>
                <a:moveTo>
                  <a:pt x="4431689" y="1824098"/>
                </a:moveTo>
                <a:cubicBezTo>
                  <a:pt x="4462171" y="1824098"/>
                  <a:pt x="4486881" y="1848808"/>
                  <a:pt x="4486881" y="1879289"/>
                </a:cubicBezTo>
                <a:cubicBezTo>
                  <a:pt x="4486881" y="1909770"/>
                  <a:pt x="4462171" y="1934480"/>
                  <a:pt x="4431689" y="1934480"/>
                </a:cubicBezTo>
                <a:cubicBezTo>
                  <a:pt x="4401207" y="1934480"/>
                  <a:pt x="4376497" y="1909770"/>
                  <a:pt x="4376497" y="1879289"/>
                </a:cubicBezTo>
                <a:cubicBezTo>
                  <a:pt x="4376497" y="1848808"/>
                  <a:pt x="4401207" y="1824098"/>
                  <a:pt x="4431689" y="1824098"/>
                </a:cubicBezTo>
                <a:close/>
                <a:moveTo>
                  <a:pt x="8801537" y="1707182"/>
                </a:moveTo>
                <a:cubicBezTo>
                  <a:pt x="8832019" y="1707182"/>
                  <a:pt x="8856729" y="1731892"/>
                  <a:pt x="8856729" y="1762373"/>
                </a:cubicBezTo>
                <a:cubicBezTo>
                  <a:pt x="8856729" y="1792854"/>
                  <a:pt x="8832019" y="1817564"/>
                  <a:pt x="8801537" y="1817564"/>
                </a:cubicBezTo>
                <a:cubicBezTo>
                  <a:pt x="8771055" y="1817564"/>
                  <a:pt x="8746345" y="1792854"/>
                  <a:pt x="8746345" y="1762373"/>
                </a:cubicBezTo>
                <a:cubicBezTo>
                  <a:pt x="8746345" y="1731892"/>
                  <a:pt x="8771055" y="1707182"/>
                  <a:pt x="8801537" y="1707182"/>
                </a:cubicBezTo>
                <a:close/>
                <a:moveTo>
                  <a:pt x="8671243" y="1707182"/>
                </a:moveTo>
                <a:cubicBezTo>
                  <a:pt x="8701725" y="1707182"/>
                  <a:pt x="8726435" y="1731892"/>
                  <a:pt x="8726435" y="1762373"/>
                </a:cubicBezTo>
                <a:cubicBezTo>
                  <a:pt x="8726435" y="1792854"/>
                  <a:pt x="8701725" y="1817564"/>
                  <a:pt x="8671243" y="1817564"/>
                </a:cubicBezTo>
                <a:cubicBezTo>
                  <a:pt x="8640761" y="1817564"/>
                  <a:pt x="8616051" y="1792854"/>
                  <a:pt x="8616051" y="1762373"/>
                </a:cubicBezTo>
                <a:cubicBezTo>
                  <a:pt x="8616051" y="1731892"/>
                  <a:pt x="8640761" y="1707182"/>
                  <a:pt x="8671243" y="1707182"/>
                </a:cubicBezTo>
                <a:close/>
                <a:moveTo>
                  <a:pt x="8537609" y="1707182"/>
                </a:moveTo>
                <a:cubicBezTo>
                  <a:pt x="8568091" y="1707182"/>
                  <a:pt x="8592801" y="1731892"/>
                  <a:pt x="8592801" y="1762373"/>
                </a:cubicBezTo>
                <a:cubicBezTo>
                  <a:pt x="8592801" y="1792854"/>
                  <a:pt x="8568091" y="1817564"/>
                  <a:pt x="8537609" y="1817564"/>
                </a:cubicBezTo>
                <a:cubicBezTo>
                  <a:pt x="8507127" y="1817564"/>
                  <a:pt x="8482417" y="1792854"/>
                  <a:pt x="8482417" y="1762373"/>
                </a:cubicBezTo>
                <a:cubicBezTo>
                  <a:pt x="8482417" y="1731892"/>
                  <a:pt x="8507127" y="1707182"/>
                  <a:pt x="8537609" y="1707182"/>
                </a:cubicBezTo>
                <a:close/>
                <a:moveTo>
                  <a:pt x="8407318" y="1707182"/>
                </a:moveTo>
                <a:cubicBezTo>
                  <a:pt x="8437800" y="1707182"/>
                  <a:pt x="8462510" y="1731892"/>
                  <a:pt x="8462510" y="1762373"/>
                </a:cubicBezTo>
                <a:cubicBezTo>
                  <a:pt x="8462510" y="1792854"/>
                  <a:pt x="8437800" y="1817564"/>
                  <a:pt x="8407318" y="1817564"/>
                </a:cubicBezTo>
                <a:cubicBezTo>
                  <a:pt x="8376836" y="1817564"/>
                  <a:pt x="8352126" y="1792854"/>
                  <a:pt x="8352126" y="1762373"/>
                </a:cubicBezTo>
                <a:cubicBezTo>
                  <a:pt x="8352126" y="1731892"/>
                  <a:pt x="8376836" y="1707182"/>
                  <a:pt x="8407318" y="1707182"/>
                </a:cubicBezTo>
                <a:close/>
                <a:moveTo>
                  <a:pt x="8273682" y="1707182"/>
                </a:moveTo>
                <a:cubicBezTo>
                  <a:pt x="8304164" y="1707182"/>
                  <a:pt x="8328874" y="1731892"/>
                  <a:pt x="8328874" y="1762373"/>
                </a:cubicBezTo>
                <a:cubicBezTo>
                  <a:pt x="8328874" y="1792854"/>
                  <a:pt x="8304164" y="1817564"/>
                  <a:pt x="8273682" y="1817564"/>
                </a:cubicBezTo>
                <a:cubicBezTo>
                  <a:pt x="8243200" y="1817564"/>
                  <a:pt x="8218490" y="1792854"/>
                  <a:pt x="8218490" y="1762373"/>
                </a:cubicBezTo>
                <a:cubicBezTo>
                  <a:pt x="8218490" y="1731892"/>
                  <a:pt x="8243200" y="1707182"/>
                  <a:pt x="8273682" y="1707182"/>
                </a:cubicBezTo>
                <a:close/>
                <a:moveTo>
                  <a:pt x="8143386" y="1707182"/>
                </a:moveTo>
                <a:cubicBezTo>
                  <a:pt x="8173868" y="1707182"/>
                  <a:pt x="8198578" y="1731892"/>
                  <a:pt x="8198578" y="1762373"/>
                </a:cubicBezTo>
                <a:cubicBezTo>
                  <a:pt x="8198578" y="1792854"/>
                  <a:pt x="8173868" y="1817564"/>
                  <a:pt x="8143386" y="1817564"/>
                </a:cubicBezTo>
                <a:cubicBezTo>
                  <a:pt x="8112904" y="1817564"/>
                  <a:pt x="8088194" y="1792854"/>
                  <a:pt x="8088194" y="1762373"/>
                </a:cubicBezTo>
                <a:cubicBezTo>
                  <a:pt x="8088194" y="1731892"/>
                  <a:pt x="8112904" y="1707182"/>
                  <a:pt x="8143386" y="1707182"/>
                </a:cubicBezTo>
                <a:close/>
                <a:moveTo>
                  <a:pt x="8009752" y="1707182"/>
                </a:moveTo>
                <a:cubicBezTo>
                  <a:pt x="8040234" y="1707182"/>
                  <a:pt x="8064944" y="1731892"/>
                  <a:pt x="8064944" y="1762373"/>
                </a:cubicBezTo>
                <a:cubicBezTo>
                  <a:pt x="8064944" y="1792854"/>
                  <a:pt x="8040234" y="1817564"/>
                  <a:pt x="8009752" y="1817564"/>
                </a:cubicBezTo>
                <a:cubicBezTo>
                  <a:pt x="7979270" y="1817564"/>
                  <a:pt x="7954560" y="1792854"/>
                  <a:pt x="7954560" y="1762373"/>
                </a:cubicBezTo>
                <a:cubicBezTo>
                  <a:pt x="7954560" y="1731892"/>
                  <a:pt x="7979270" y="1707182"/>
                  <a:pt x="8009752" y="1707182"/>
                </a:cubicBezTo>
                <a:close/>
                <a:moveTo>
                  <a:pt x="7876117" y="1707182"/>
                </a:moveTo>
                <a:cubicBezTo>
                  <a:pt x="7906599" y="1707182"/>
                  <a:pt x="7931309" y="1731892"/>
                  <a:pt x="7931309" y="1762373"/>
                </a:cubicBezTo>
                <a:cubicBezTo>
                  <a:pt x="7931309" y="1792854"/>
                  <a:pt x="7906599" y="1817564"/>
                  <a:pt x="7876117" y="1817564"/>
                </a:cubicBezTo>
                <a:cubicBezTo>
                  <a:pt x="7845635" y="1817564"/>
                  <a:pt x="7820925" y="1792854"/>
                  <a:pt x="7820925" y="1762373"/>
                </a:cubicBezTo>
                <a:cubicBezTo>
                  <a:pt x="7820925" y="1731892"/>
                  <a:pt x="7845635" y="1707182"/>
                  <a:pt x="7876117" y="1707182"/>
                </a:cubicBezTo>
                <a:close/>
                <a:moveTo>
                  <a:pt x="7745824" y="1707182"/>
                </a:moveTo>
                <a:cubicBezTo>
                  <a:pt x="7776306" y="1707182"/>
                  <a:pt x="7801016" y="1731892"/>
                  <a:pt x="7801016" y="1762373"/>
                </a:cubicBezTo>
                <a:cubicBezTo>
                  <a:pt x="7801016" y="1792854"/>
                  <a:pt x="7776306" y="1817564"/>
                  <a:pt x="7745824" y="1817564"/>
                </a:cubicBezTo>
                <a:cubicBezTo>
                  <a:pt x="7715342" y="1817564"/>
                  <a:pt x="7690632" y="1792854"/>
                  <a:pt x="7690632" y="1762373"/>
                </a:cubicBezTo>
                <a:cubicBezTo>
                  <a:pt x="7690632" y="1731892"/>
                  <a:pt x="7715342" y="1707182"/>
                  <a:pt x="7745824" y="1707182"/>
                </a:cubicBezTo>
                <a:close/>
                <a:moveTo>
                  <a:pt x="7608849" y="1707182"/>
                </a:moveTo>
                <a:cubicBezTo>
                  <a:pt x="7639331" y="1707182"/>
                  <a:pt x="7664041" y="1731892"/>
                  <a:pt x="7664041" y="1762373"/>
                </a:cubicBezTo>
                <a:cubicBezTo>
                  <a:pt x="7664041" y="1792854"/>
                  <a:pt x="7639331" y="1817564"/>
                  <a:pt x="7608849" y="1817564"/>
                </a:cubicBezTo>
                <a:cubicBezTo>
                  <a:pt x="7578367" y="1817564"/>
                  <a:pt x="7553657" y="1792854"/>
                  <a:pt x="7553657" y="1762373"/>
                </a:cubicBezTo>
                <a:cubicBezTo>
                  <a:pt x="7553657" y="1731892"/>
                  <a:pt x="7578367" y="1707182"/>
                  <a:pt x="7608849" y="1707182"/>
                </a:cubicBezTo>
                <a:close/>
                <a:moveTo>
                  <a:pt x="7481895" y="1707182"/>
                </a:moveTo>
                <a:cubicBezTo>
                  <a:pt x="7512377" y="1707182"/>
                  <a:pt x="7537087" y="1731892"/>
                  <a:pt x="7537087" y="1762373"/>
                </a:cubicBezTo>
                <a:cubicBezTo>
                  <a:pt x="7537087" y="1792854"/>
                  <a:pt x="7512377" y="1817564"/>
                  <a:pt x="7481895" y="1817564"/>
                </a:cubicBezTo>
                <a:cubicBezTo>
                  <a:pt x="7451413" y="1817564"/>
                  <a:pt x="7426703" y="1792854"/>
                  <a:pt x="7426703" y="1762373"/>
                </a:cubicBezTo>
                <a:cubicBezTo>
                  <a:pt x="7426703" y="1731892"/>
                  <a:pt x="7451413" y="1707182"/>
                  <a:pt x="7481895" y="1707182"/>
                </a:cubicBezTo>
                <a:close/>
                <a:moveTo>
                  <a:pt x="7341579" y="1707182"/>
                </a:moveTo>
                <a:cubicBezTo>
                  <a:pt x="7372061" y="1707182"/>
                  <a:pt x="7396771" y="1731892"/>
                  <a:pt x="7396771" y="1762373"/>
                </a:cubicBezTo>
                <a:cubicBezTo>
                  <a:pt x="7396771" y="1792854"/>
                  <a:pt x="7372061" y="1817564"/>
                  <a:pt x="7341579" y="1817564"/>
                </a:cubicBezTo>
                <a:cubicBezTo>
                  <a:pt x="7311097" y="1817564"/>
                  <a:pt x="7286387" y="1792854"/>
                  <a:pt x="7286387" y="1762373"/>
                </a:cubicBezTo>
                <a:cubicBezTo>
                  <a:pt x="7286387" y="1731892"/>
                  <a:pt x="7311097" y="1707182"/>
                  <a:pt x="7341579" y="1707182"/>
                </a:cubicBezTo>
                <a:close/>
                <a:moveTo>
                  <a:pt x="7211286" y="1707182"/>
                </a:moveTo>
                <a:cubicBezTo>
                  <a:pt x="7241768" y="1707182"/>
                  <a:pt x="7266478" y="1731892"/>
                  <a:pt x="7266478" y="1762373"/>
                </a:cubicBezTo>
                <a:cubicBezTo>
                  <a:pt x="7266478" y="1792854"/>
                  <a:pt x="7241768" y="1817564"/>
                  <a:pt x="7211286" y="1817564"/>
                </a:cubicBezTo>
                <a:cubicBezTo>
                  <a:pt x="7180804" y="1817564"/>
                  <a:pt x="7156094" y="1792854"/>
                  <a:pt x="7156094" y="1762373"/>
                </a:cubicBezTo>
                <a:cubicBezTo>
                  <a:pt x="7156094" y="1731892"/>
                  <a:pt x="7180804" y="1707182"/>
                  <a:pt x="7211286" y="1707182"/>
                </a:cubicBezTo>
                <a:close/>
                <a:moveTo>
                  <a:pt x="7080993" y="1707182"/>
                </a:moveTo>
                <a:cubicBezTo>
                  <a:pt x="7111475" y="1707182"/>
                  <a:pt x="7136185" y="1731892"/>
                  <a:pt x="7136185" y="1762373"/>
                </a:cubicBezTo>
                <a:cubicBezTo>
                  <a:pt x="7136185" y="1792854"/>
                  <a:pt x="7111475" y="1817564"/>
                  <a:pt x="7080993" y="1817564"/>
                </a:cubicBezTo>
                <a:cubicBezTo>
                  <a:pt x="7050511" y="1817564"/>
                  <a:pt x="7025801" y="1792854"/>
                  <a:pt x="7025801" y="1762373"/>
                </a:cubicBezTo>
                <a:cubicBezTo>
                  <a:pt x="7025801" y="1731892"/>
                  <a:pt x="7050511" y="1707182"/>
                  <a:pt x="7080993" y="1707182"/>
                </a:cubicBezTo>
                <a:close/>
                <a:moveTo>
                  <a:pt x="6947357" y="1707182"/>
                </a:moveTo>
                <a:cubicBezTo>
                  <a:pt x="6977839" y="1707182"/>
                  <a:pt x="7002549" y="1731892"/>
                  <a:pt x="7002549" y="1762373"/>
                </a:cubicBezTo>
                <a:cubicBezTo>
                  <a:pt x="7002549" y="1792854"/>
                  <a:pt x="6977839" y="1817564"/>
                  <a:pt x="6947357" y="1817564"/>
                </a:cubicBezTo>
                <a:cubicBezTo>
                  <a:pt x="6916875" y="1817564"/>
                  <a:pt x="6892165" y="1792854"/>
                  <a:pt x="6892165" y="1762373"/>
                </a:cubicBezTo>
                <a:cubicBezTo>
                  <a:pt x="6892165" y="1731892"/>
                  <a:pt x="6916875" y="1707182"/>
                  <a:pt x="6947357" y="1707182"/>
                </a:cubicBezTo>
                <a:close/>
                <a:moveTo>
                  <a:pt x="6817063" y="1707182"/>
                </a:moveTo>
                <a:cubicBezTo>
                  <a:pt x="6847545" y="1707182"/>
                  <a:pt x="6872255" y="1731892"/>
                  <a:pt x="6872255" y="1762373"/>
                </a:cubicBezTo>
                <a:cubicBezTo>
                  <a:pt x="6872255" y="1792854"/>
                  <a:pt x="6847545" y="1817564"/>
                  <a:pt x="6817063" y="1817564"/>
                </a:cubicBezTo>
                <a:cubicBezTo>
                  <a:pt x="6786581" y="1817564"/>
                  <a:pt x="6761871" y="1792854"/>
                  <a:pt x="6761871" y="1762373"/>
                </a:cubicBezTo>
                <a:cubicBezTo>
                  <a:pt x="6761871" y="1731892"/>
                  <a:pt x="6786581" y="1707182"/>
                  <a:pt x="6817063" y="1707182"/>
                </a:cubicBezTo>
                <a:close/>
                <a:moveTo>
                  <a:pt x="6683431" y="1707182"/>
                </a:moveTo>
                <a:cubicBezTo>
                  <a:pt x="6713913" y="1707182"/>
                  <a:pt x="6738623" y="1731892"/>
                  <a:pt x="6738623" y="1762373"/>
                </a:cubicBezTo>
                <a:cubicBezTo>
                  <a:pt x="6738623" y="1792854"/>
                  <a:pt x="6713913" y="1817564"/>
                  <a:pt x="6683431" y="1817564"/>
                </a:cubicBezTo>
                <a:cubicBezTo>
                  <a:pt x="6652949" y="1817564"/>
                  <a:pt x="6628239" y="1792854"/>
                  <a:pt x="6628239" y="1762373"/>
                </a:cubicBezTo>
                <a:cubicBezTo>
                  <a:pt x="6628239" y="1731892"/>
                  <a:pt x="6652949" y="1707182"/>
                  <a:pt x="6683431" y="1707182"/>
                </a:cubicBezTo>
                <a:close/>
                <a:moveTo>
                  <a:pt x="6553137" y="1707182"/>
                </a:moveTo>
                <a:cubicBezTo>
                  <a:pt x="6583619" y="1707182"/>
                  <a:pt x="6608329" y="1731892"/>
                  <a:pt x="6608329" y="1762373"/>
                </a:cubicBezTo>
                <a:cubicBezTo>
                  <a:pt x="6608329" y="1792854"/>
                  <a:pt x="6583619" y="1817564"/>
                  <a:pt x="6553137" y="1817564"/>
                </a:cubicBezTo>
                <a:cubicBezTo>
                  <a:pt x="6522655" y="1817564"/>
                  <a:pt x="6497945" y="1792854"/>
                  <a:pt x="6497945" y="1762373"/>
                </a:cubicBezTo>
                <a:cubicBezTo>
                  <a:pt x="6497945" y="1731892"/>
                  <a:pt x="6522655" y="1707182"/>
                  <a:pt x="6553137" y="1707182"/>
                </a:cubicBezTo>
                <a:close/>
                <a:moveTo>
                  <a:pt x="6419502" y="1707182"/>
                </a:moveTo>
                <a:cubicBezTo>
                  <a:pt x="6449984" y="1707182"/>
                  <a:pt x="6474694" y="1731892"/>
                  <a:pt x="6474694" y="1762373"/>
                </a:cubicBezTo>
                <a:cubicBezTo>
                  <a:pt x="6474694" y="1792854"/>
                  <a:pt x="6449984" y="1817564"/>
                  <a:pt x="6419502" y="1817564"/>
                </a:cubicBezTo>
                <a:cubicBezTo>
                  <a:pt x="6389020" y="1817564"/>
                  <a:pt x="6364310" y="1792854"/>
                  <a:pt x="6364310" y="1762373"/>
                </a:cubicBezTo>
                <a:cubicBezTo>
                  <a:pt x="6364310" y="1731892"/>
                  <a:pt x="6389020" y="1707182"/>
                  <a:pt x="6419502" y="1707182"/>
                </a:cubicBezTo>
                <a:close/>
                <a:moveTo>
                  <a:pt x="6289207" y="1707182"/>
                </a:moveTo>
                <a:cubicBezTo>
                  <a:pt x="6319689" y="1707182"/>
                  <a:pt x="6344399" y="1731892"/>
                  <a:pt x="6344399" y="1762373"/>
                </a:cubicBezTo>
                <a:cubicBezTo>
                  <a:pt x="6344399" y="1792854"/>
                  <a:pt x="6319689" y="1817564"/>
                  <a:pt x="6289207" y="1817564"/>
                </a:cubicBezTo>
                <a:cubicBezTo>
                  <a:pt x="6258725" y="1817564"/>
                  <a:pt x="6234015" y="1792854"/>
                  <a:pt x="6234015" y="1762373"/>
                </a:cubicBezTo>
                <a:cubicBezTo>
                  <a:pt x="6234015" y="1731892"/>
                  <a:pt x="6258725" y="1707182"/>
                  <a:pt x="6289207" y="1707182"/>
                </a:cubicBezTo>
                <a:close/>
                <a:moveTo>
                  <a:pt x="6155572" y="1707182"/>
                </a:moveTo>
                <a:cubicBezTo>
                  <a:pt x="6186054" y="1707182"/>
                  <a:pt x="6210764" y="1731892"/>
                  <a:pt x="6210764" y="1762373"/>
                </a:cubicBezTo>
                <a:cubicBezTo>
                  <a:pt x="6210764" y="1792854"/>
                  <a:pt x="6186054" y="1817564"/>
                  <a:pt x="6155572" y="1817564"/>
                </a:cubicBezTo>
                <a:cubicBezTo>
                  <a:pt x="6125090" y="1817564"/>
                  <a:pt x="6100380" y="1792854"/>
                  <a:pt x="6100380" y="1762373"/>
                </a:cubicBezTo>
                <a:cubicBezTo>
                  <a:pt x="6100380" y="1731892"/>
                  <a:pt x="6125090" y="1707182"/>
                  <a:pt x="6155572" y="1707182"/>
                </a:cubicBezTo>
                <a:close/>
                <a:moveTo>
                  <a:pt x="6021938" y="1707182"/>
                </a:moveTo>
                <a:cubicBezTo>
                  <a:pt x="6052420" y="1707182"/>
                  <a:pt x="6077130" y="1731892"/>
                  <a:pt x="6077130" y="1762373"/>
                </a:cubicBezTo>
                <a:cubicBezTo>
                  <a:pt x="6077130" y="1792854"/>
                  <a:pt x="6052420" y="1817564"/>
                  <a:pt x="6021938" y="1817564"/>
                </a:cubicBezTo>
                <a:cubicBezTo>
                  <a:pt x="5991456" y="1817564"/>
                  <a:pt x="5966746" y="1792854"/>
                  <a:pt x="5966746" y="1762373"/>
                </a:cubicBezTo>
                <a:cubicBezTo>
                  <a:pt x="5966746" y="1731892"/>
                  <a:pt x="5991456" y="1707182"/>
                  <a:pt x="6021938" y="1707182"/>
                </a:cubicBezTo>
                <a:close/>
                <a:moveTo>
                  <a:pt x="5884964" y="1707182"/>
                </a:moveTo>
                <a:cubicBezTo>
                  <a:pt x="5915446" y="1707182"/>
                  <a:pt x="5940156" y="1731892"/>
                  <a:pt x="5940156" y="1762373"/>
                </a:cubicBezTo>
                <a:cubicBezTo>
                  <a:pt x="5940156" y="1792854"/>
                  <a:pt x="5915446" y="1817564"/>
                  <a:pt x="5884964" y="1817564"/>
                </a:cubicBezTo>
                <a:cubicBezTo>
                  <a:pt x="5854482" y="1817564"/>
                  <a:pt x="5829772" y="1792854"/>
                  <a:pt x="5829772" y="1762373"/>
                </a:cubicBezTo>
                <a:cubicBezTo>
                  <a:pt x="5829772" y="1731892"/>
                  <a:pt x="5854482" y="1707182"/>
                  <a:pt x="5884964" y="1707182"/>
                </a:cubicBezTo>
                <a:close/>
                <a:moveTo>
                  <a:pt x="5754670" y="1707182"/>
                </a:moveTo>
                <a:cubicBezTo>
                  <a:pt x="5785152" y="1707182"/>
                  <a:pt x="5809862" y="1731892"/>
                  <a:pt x="5809862" y="1762373"/>
                </a:cubicBezTo>
                <a:cubicBezTo>
                  <a:pt x="5809862" y="1792854"/>
                  <a:pt x="5785152" y="1817564"/>
                  <a:pt x="5754670" y="1817564"/>
                </a:cubicBezTo>
                <a:cubicBezTo>
                  <a:pt x="5724188" y="1817564"/>
                  <a:pt x="5699478" y="1792854"/>
                  <a:pt x="5699478" y="1762373"/>
                </a:cubicBezTo>
                <a:cubicBezTo>
                  <a:pt x="5699478" y="1731892"/>
                  <a:pt x="5724188" y="1707182"/>
                  <a:pt x="5754670" y="1707182"/>
                </a:cubicBezTo>
                <a:close/>
                <a:moveTo>
                  <a:pt x="5621035" y="1707182"/>
                </a:moveTo>
                <a:cubicBezTo>
                  <a:pt x="5651517" y="1707182"/>
                  <a:pt x="5676227" y="1731892"/>
                  <a:pt x="5676227" y="1762373"/>
                </a:cubicBezTo>
                <a:cubicBezTo>
                  <a:pt x="5676227" y="1792854"/>
                  <a:pt x="5651517" y="1817564"/>
                  <a:pt x="5621035" y="1817564"/>
                </a:cubicBezTo>
                <a:cubicBezTo>
                  <a:pt x="5590553" y="1817564"/>
                  <a:pt x="5565843" y="1792854"/>
                  <a:pt x="5565843" y="1762373"/>
                </a:cubicBezTo>
                <a:cubicBezTo>
                  <a:pt x="5565843" y="1731892"/>
                  <a:pt x="5590553" y="1707182"/>
                  <a:pt x="5621035" y="1707182"/>
                </a:cubicBezTo>
                <a:close/>
                <a:moveTo>
                  <a:pt x="5487399" y="1707182"/>
                </a:moveTo>
                <a:cubicBezTo>
                  <a:pt x="5517881" y="1707182"/>
                  <a:pt x="5542591" y="1731892"/>
                  <a:pt x="5542591" y="1762373"/>
                </a:cubicBezTo>
                <a:cubicBezTo>
                  <a:pt x="5542591" y="1792854"/>
                  <a:pt x="5517881" y="1817564"/>
                  <a:pt x="5487399" y="1817564"/>
                </a:cubicBezTo>
                <a:cubicBezTo>
                  <a:pt x="5456917" y="1817564"/>
                  <a:pt x="5432207" y="1792854"/>
                  <a:pt x="5432207" y="1762373"/>
                </a:cubicBezTo>
                <a:cubicBezTo>
                  <a:pt x="5432207" y="1731892"/>
                  <a:pt x="5456917" y="1707182"/>
                  <a:pt x="5487399" y="1707182"/>
                </a:cubicBezTo>
                <a:close/>
                <a:moveTo>
                  <a:pt x="5357105" y="1707182"/>
                </a:moveTo>
                <a:cubicBezTo>
                  <a:pt x="5387587" y="1707182"/>
                  <a:pt x="5412297" y="1731892"/>
                  <a:pt x="5412297" y="1762373"/>
                </a:cubicBezTo>
                <a:cubicBezTo>
                  <a:pt x="5412297" y="1792854"/>
                  <a:pt x="5387587" y="1817564"/>
                  <a:pt x="5357105" y="1817564"/>
                </a:cubicBezTo>
                <a:cubicBezTo>
                  <a:pt x="5326623" y="1817564"/>
                  <a:pt x="5301913" y="1792854"/>
                  <a:pt x="5301913" y="1762373"/>
                </a:cubicBezTo>
                <a:cubicBezTo>
                  <a:pt x="5301913" y="1731892"/>
                  <a:pt x="5326623" y="1707182"/>
                  <a:pt x="5357105" y="1707182"/>
                </a:cubicBezTo>
                <a:close/>
                <a:moveTo>
                  <a:pt x="5223473" y="1707182"/>
                </a:moveTo>
                <a:cubicBezTo>
                  <a:pt x="5253955" y="1707182"/>
                  <a:pt x="5278665" y="1731892"/>
                  <a:pt x="5278665" y="1762373"/>
                </a:cubicBezTo>
                <a:cubicBezTo>
                  <a:pt x="5278665" y="1792854"/>
                  <a:pt x="5253955" y="1817564"/>
                  <a:pt x="5223473" y="1817564"/>
                </a:cubicBezTo>
                <a:cubicBezTo>
                  <a:pt x="5192991" y="1817564"/>
                  <a:pt x="5168281" y="1792854"/>
                  <a:pt x="5168281" y="1762373"/>
                </a:cubicBezTo>
                <a:cubicBezTo>
                  <a:pt x="5168281" y="1731892"/>
                  <a:pt x="5192991" y="1707182"/>
                  <a:pt x="5223473" y="1707182"/>
                </a:cubicBezTo>
                <a:close/>
                <a:moveTo>
                  <a:pt x="5093178" y="1707182"/>
                </a:moveTo>
                <a:cubicBezTo>
                  <a:pt x="5123660" y="1707182"/>
                  <a:pt x="5148370" y="1731892"/>
                  <a:pt x="5148370" y="1762373"/>
                </a:cubicBezTo>
                <a:cubicBezTo>
                  <a:pt x="5148370" y="1792854"/>
                  <a:pt x="5123660" y="1817564"/>
                  <a:pt x="5093178" y="1817564"/>
                </a:cubicBezTo>
                <a:cubicBezTo>
                  <a:pt x="5062696" y="1817564"/>
                  <a:pt x="5037986" y="1792854"/>
                  <a:pt x="5037986" y="1762373"/>
                </a:cubicBezTo>
                <a:cubicBezTo>
                  <a:pt x="5037986" y="1731892"/>
                  <a:pt x="5062696" y="1707182"/>
                  <a:pt x="5093178" y="1707182"/>
                </a:cubicBezTo>
                <a:close/>
                <a:moveTo>
                  <a:pt x="4959543" y="1707182"/>
                </a:moveTo>
                <a:cubicBezTo>
                  <a:pt x="4990025" y="1707182"/>
                  <a:pt x="5014735" y="1731892"/>
                  <a:pt x="5014735" y="1762373"/>
                </a:cubicBezTo>
                <a:cubicBezTo>
                  <a:pt x="5014735" y="1792854"/>
                  <a:pt x="4990025" y="1817564"/>
                  <a:pt x="4959543" y="1817564"/>
                </a:cubicBezTo>
                <a:cubicBezTo>
                  <a:pt x="4929061" y="1817564"/>
                  <a:pt x="4904351" y="1792854"/>
                  <a:pt x="4904351" y="1762373"/>
                </a:cubicBezTo>
                <a:cubicBezTo>
                  <a:pt x="4904351" y="1731892"/>
                  <a:pt x="4929061" y="1707182"/>
                  <a:pt x="4959543" y="1707182"/>
                </a:cubicBezTo>
                <a:close/>
                <a:moveTo>
                  <a:pt x="4829251" y="1707182"/>
                </a:moveTo>
                <a:cubicBezTo>
                  <a:pt x="4859733" y="1707182"/>
                  <a:pt x="4884443" y="1731892"/>
                  <a:pt x="4884443" y="1762373"/>
                </a:cubicBezTo>
                <a:cubicBezTo>
                  <a:pt x="4884443" y="1792854"/>
                  <a:pt x="4859733" y="1817564"/>
                  <a:pt x="4829251" y="1817564"/>
                </a:cubicBezTo>
                <a:cubicBezTo>
                  <a:pt x="4798769" y="1817564"/>
                  <a:pt x="4774059" y="1792854"/>
                  <a:pt x="4774059" y="1762373"/>
                </a:cubicBezTo>
                <a:cubicBezTo>
                  <a:pt x="4774059" y="1731892"/>
                  <a:pt x="4798769" y="1707182"/>
                  <a:pt x="4829251" y="1707182"/>
                </a:cubicBezTo>
                <a:close/>
                <a:moveTo>
                  <a:pt x="4695613" y="1707182"/>
                </a:moveTo>
                <a:cubicBezTo>
                  <a:pt x="4726095" y="1707182"/>
                  <a:pt x="4750805" y="1731892"/>
                  <a:pt x="4750805" y="1762373"/>
                </a:cubicBezTo>
                <a:cubicBezTo>
                  <a:pt x="4750805" y="1792854"/>
                  <a:pt x="4726095" y="1817564"/>
                  <a:pt x="4695613" y="1817564"/>
                </a:cubicBezTo>
                <a:cubicBezTo>
                  <a:pt x="4665131" y="1817564"/>
                  <a:pt x="4640421" y="1792854"/>
                  <a:pt x="4640421" y="1762373"/>
                </a:cubicBezTo>
                <a:cubicBezTo>
                  <a:pt x="4640421" y="1731892"/>
                  <a:pt x="4665131" y="1707182"/>
                  <a:pt x="4695613" y="1707182"/>
                </a:cubicBezTo>
                <a:close/>
                <a:moveTo>
                  <a:pt x="3098681" y="1707182"/>
                </a:moveTo>
                <a:cubicBezTo>
                  <a:pt x="3129163" y="1707182"/>
                  <a:pt x="3153873" y="1731892"/>
                  <a:pt x="3153873" y="1762373"/>
                </a:cubicBezTo>
                <a:cubicBezTo>
                  <a:pt x="3153873" y="1792854"/>
                  <a:pt x="3129163" y="1817564"/>
                  <a:pt x="3098681" y="1817564"/>
                </a:cubicBezTo>
                <a:cubicBezTo>
                  <a:pt x="3068199" y="1817564"/>
                  <a:pt x="3043489" y="1792854"/>
                  <a:pt x="3043489" y="1762373"/>
                </a:cubicBezTo>
                <a:cubicBezTo>
                  <a:pt x="3043489" y="1731892"/>
                  <a:pt x="3068199" y="1707182"/>
                  <a:pt x="3098681" y="1707182"/>
                </a:cubicBezTo>
                <a:close/>
                <a:moveTo>
                  <a:pt x="2971729" y="1707182"/>
                </a:moveTo>
                <a:cubicBezTo>
                  <a:pt x="3002211" y="1707182"/>
                  <a:pt x="3026921" y="1731892"/>
                  <a:pt x="3026921" y="1762373"/>
                </a:cubicBezTo>
                <a:cubicBezTo>
                  <a:pt x="3026921" y="1792854"/>
                  <a:pt x="3002211" y="1817564"/>
                  <a:pt x="2971729" y="1817564"/>
                </a:cubicBezTo>
                <a:cubicBezTo>
                  <a:pt x="2941247" y="1817564"/>
                  <a:pt x="2916537" y="1792854"/>
                  <a:pt x="2916537" y="1762373"/>
                </a:cubicBezTo>
                <a:cubicBezTo>
                  <a:pt x="2916537" y="1731892"/>
                  <a:pt x="2941247" y="1707182"/>
                  <a:pt x="2971729" y="1707182"/>
                </a:cubicBezTo>
                <a:close/>
                <a:moveTo>
                  <a:pt x="2834772" y="1707182"/>
                </a:moveTo>
                <a:cubicBezTo>
                  <a:pt x="2865254" y="1707182"/>
                  <a:pt x="2889964" y="1731892"/>
                  <a:pt x="2889964" y="1762373"/>
                </a:cubicBezTo>
                <a:cubicBezTo>
                  <a:pt x="2889964" y="1792854"/>
                  <a:pt x="2865254" y="1817564"/>
                  <a:pt x="2834772" y="1817564"/>
                </a:cubicBezTo>
                <a:cubicBezTo>
                  <a:pt x="2804290" y="1817564"/>
                  <a:pt x="2779580" y="1792854"/>
                  <a:pt x="2779580" y="1762373"/>
                </a:cubicBezTo>
                <a:cubicBezTo>
                  <a:pt x="2779580" y="1731892"/>
                  <a:pt x="2804290" y="1707182"/>
                  <a:pt x="2834772" y="1707182"/>
                </a:cubicBezTo>
                <a:close/>
                <a:moveTo>
                  <a:pt x="2707817" y="1707182"/>
                </a:moveTo>
                <a:cubicBezTo>
                  <a:pt x="2738299" y="1707182"/>
                  <a:pt x="2763009" y="1731892"/>
                  <a:pt x="2763009" y="1762373"/>
                </a:cubicBezTo>
                <a:cubicBezTo>
                  <a:pt x="2763009" y="1792854"/>
                  <a:pt x="2738299" y="1817564"/>
                  <a:pt x="2707817" y="1817564"/>
                </a:cubicBezTo>
                <a:cubicBezTo>
                  <a:pt x="2677336" y="1817564"/>
                  <a:pt x="2652625" y="1792854"/>
                  <a:pt x="2652625" y="1762373"/>
                </a:cubicBezTo>
                <a:cubicBezTo>
                  <a:pt x="2652625" y="1731892"/>
                  <a:pt x="2677336" y="1707182"/>
                  <a:pt x="2707817" y="1707182"/>
                </a:cubicBezTo>
                <a:close/>
                <a:moveTo>
                  <a:pt x="2570843" y="1707182"/>
                </a:moveTo>
                <a:cubicBezTo>
                  <a:pt x="2601326" y="1707182"/>
                  <a:pt x="2626036" y="1731892"/>
                  <a:pt x="2626036" y="1762373"/>
                </a:cubicBezTo>
                <a:cubicBezTo>
                  <a:pt x="2626036" y="1792854"/>
                  <a:pt x="2601326" y="1817564"/>
                  <a:pt x="2570843" y="1817564"/>
                </a:cubicBezTo>
                <a:cubicBezTo>
                  <a:pt x="2540362" y="1817564"/>
                  <a:pt x="2515651" y="1792854"/>
                  <a:pt x="2515651" y="1762373"/>
                </a:cubicBezTo>
                <a:cubicBezTo>
                  <a:pt x="2515651" y="1731892"/>
                  <a:pt x="2540362" y="1707182"/>
                  <a:pt x="2570843" y="1707182"/>
                </a:cubicBezTo>
                <a:close/>
                <a:moveTo>
                  <a:pt x="2437207" y="1707182"/>
                </a:moveTo>
                <a:cubicBezTo>
                  <a:pt x="2467689" y="1707182"/>
                  <a:pt x="2492398" y="1731892"/>
                  <a:pt x="2492398" y="1762373"/>
                </a:cubicBezTo>
                <a:cubicBezTo>
                  <a:pt x="2492398" y="1792854"/>
                  <a:pt x="2467689" y="1817564"/>
                  <a:pt x="2437207" y="1817564"/>
                </a:cubicBezTo>
                <a:cubicBezTo>
                  <a:pt x="2406725" y="1817564"/>
                  <a:pt x="2382015" y="1792854"/>
                  <a:pt x="2382015" y="1762373"/>
                </a:cubicBezTo>
                <a:cubicBezTo>
                  <a:pt x="2382015" y="1731892"/>
                  <a:pt x="2406725" y="1707182"/>
                  <a:pt x="2437207" y="1707182"/>
                </a:cubicBezTo>
                <a:close/>
                <a:moveTo>
                  <a:pt x="2303575" y="1707182"/>
                </a:moveTo>
                <a:cubicBezTo>
                  <a:pt x="2334057" y="1707182"/>
                  <a:pt x="2358767" y="1731892"/>
                  <a:pt x="2358767" y="1762373"/>
                </a:cubicBezTo>
                <a:cubicBezTo>
                  <a:pt x="2358767" y="1792854"/>
                  <a:pt x="2334057" y="1817564"/>
                  <a:pt x="2303575" y="1817564"/>
                </a:cubicBezTo>
                <a:cubicBezTo>
                  <a:pt x="2273093" y="1817564"/>
                  <a:pt x="2248383" y="1792854"/>
                  <a:pt x="2248383" y="1762373"/>
                </a:cubicBezTo>
                <a:cubicBezTo>
                  <a:pt x="2248383" y="1731892"/>
                  <a:pt x="2273093" y="1707182"/>
                  <a:pt x="2303575" y="1707182"/>
                </a:cubicBezTo>
                <a:close/>
                <a:moveTo>
                  <a:pt x="2173282" y="1707182"/>
                </a:moveTo>
                <a:cubicBezTo>
                  <a:pt x="2203764" y="1707182"/>
                  <a:pt x="2228474" y="1731892"/>
                  <a:pt x="2228474" y="1762373"/>
                </a:cubicBezTo>
                <a:cubicBezTo>
                  <a:pt x="2228474" y="1792854"/>
                  <a:pt x="2203764" y="1817564"/>
                  <a:pt x="2173282" y="1817564"/>
                </a:cubicBezTo>
                <a:cubicBezTo>
                  <a:pt x="2142800" y="1817564"/>
                  <a:pt x="2118090" y="1792854"/>
                  <a:pt x="2118090" y="1762373"/>
                </a:cubicBezTo>
                <a:cubicBezTo>
                  <a:pt x="2118090" y="1731892"/>
                  <a:pt x="2142800" y="1707182"/>
                  <a:pt x="2173282" y="1707182"/>
                </a:cubicBezTo>
                <a:close/>
                <a:moveTo>
                  <a:pt x="2039648" y="1707182"/>
                </a:moveTo>
                <a:cubicBezTo>
                  <a:pt x="2070129" y="1707182"/>
                  <a:pt x="2094840" y="1731892"/>
                  <a:pt x="2094840" y="1762373"/>
                </a:cubicBezTo>
                <a:cubicBezTo>
                  <a:pt x="2094840" y="1792854"/>
                  <a:pt x="2070129" y="1817564"/>
                  <a:pt x="2039648" y="1817564"/>
                </a:cubicBezTo>
                <a:cubicBezTo>
                  <a:pt x="2009165" y="1817564"/>
                  <a:pt x="1984455" y="1792854"/>
                  <a:pt x="1984455" y="1762373"/>
                </a:cubicBezTo>
                <a:cubicBezTo>
                  <a:pt x="1984455" y="1731892"/>
                  <a:pt x="2009165" y="1707182"/>
                  <a:pt x="2039648" y="1707182"/>
                </a:cubicBezTo>
                <a:close/>
                <a:moveTo>
                  <a:pt x="1909353" y="1707182"/>
                </a:moveTo>
                <a:cubicBezTo>
                  <a:pt x="1939835" y="1707182"/>
                  <a:pt x="1964545" y="1731892"/>
                  <a:pt x="1964545" y="1762373"/>
                </a:cubicBezTo>
                <a:cubicBezTo>
                  <a:pt x="1964545" y="1792854"/>
                  <a:pt x="1939835" y="1817564"/>
                  <a:pt x="1909353" y="1817564"/>
                </a:cubicBezTo>
                <a:cubicBezTo>
                  <a:pt x="1878870" y="1817564"/>
                  <a:pt x="1854161" y="1792854"/>
                  <a:pt x="1854161" y="1762373"/>
                </a:cubicBezTo>
                <a:cubicBezTo>
                  <a:pt x="1854161" y="1731892"/>
                  <a:pt x="1878870" y="1707182"/>
                  <a:pt x="1909353" y="1707182"/>
                </a:cubicBezTo>
                <a:close/>
                <a:moveTo>
                  <a:pt x="1779058" y="1707182"/>
                </a:moveTo>
                <a:cubicBezTo>
                  <a:pt x="1809540" y="1707182"/>
                  <a:pt x="1834251" y="1731892"/>
                  <a:pt x="1834251" y="1762373"/>
                </a:cubicBezTo>
                <a:cubicBezTo>
                  <a:pt x="1834251" y="1792854"/>
                  <a:pt x="1809540" y="1817564"/>
                  <a:pt x="1779058" y="1817564"/>
                </a:cubicBezTo>
                <a:cubicBezTo>
                  <a:pt x="1748577" y="1817564"/>
                  <a:pt x="1723867" y="1792854"/>
                  <a:pt x="1723867" y="1762373"/>
                </a:cubicBezTo>
                <a:cubicBezTo>
                  <a:pt x="1723867" y="1731892"/>
                  <a:pt x="1748577" y="1707182"/>
                  <a:pt x="1779058" y="1707182"/>
                </a:cubicBezTo>
                <a:close/>
                <a:moveTo>
                  <a:pt x="1645422" y="1707182"/>
                </a:moveTo>
                <a:cubicBezTo>
                  <a:pt x="1675906" y="1707182"/>
                  <a:pt x="1700617" y="1731892"/>
                  <a:pt x="1700617" y="1762373"/>
                </a:cubicBezTo>
                <a:cubicBezTo>
                  <a:pt x="1700617" y="1792854"/>
                  <a:pt x="1675906" y="1817564"/>
                  <a:pt x="1645422" y="1817564"/>
                </a:cubicBezTo>
                <a:cubicBezTo>
                  <a:pt x="1614940" y="1817564"/>
                  <a:pt x="1590230" y="1792854"/>
                  <a:pt x="1590230" y="1762373"/>
                </a:cubicBezTo>
                <a:cubicBezTo>
                  <a:pt x="1590230" y="1731892"/>
                  <a:pt x="1614940" y="1707182"/>
                  <a:pt x="1645422" y="1707182"/>
                </a:cubicBezTo>
                <a:close/>
                <a:moveTo>
                  <a:pt x="1515130" y="1707182"/>
                </a:moveTo>
                <a:cubicBezTo>
                  <a:pt x="1545612" y="1707182"/>
                  <a:pt x="1570322" y="1731892"/>
                  <a:pt x="1570322" y="1762373"/>
                </a:cubicBezTo>
                <a:cubicBezTo>
                  <a:pt x="1570322" y="1792854"/>
                  <a:pt x="1545612" y="1817564"/>
                  <a:pt x="1515130" y="1817564"/>
                </a:cubicBezTo>
                <a:cubicBezTo>
                  <a:pt x="1484648" y="1817564"/>
                  <a:pt x="1459938" y="1792854"/>
                  <a:pt x="1459938" y="1762373"/>
                </a:cubicBezTo>
                <a:cubicBezTo>
                  <a:pt x="1459938" y="1731892"/>
                  <a:pt x="1484648" y="1707182"/>
                  <a:pt x="1515130" y="1707182"/>
                </a:cubicBezTo>
                <a:close/>
                <a:moveTo>
                  <a:pt x="1381494" y="1707182"/>
                </a:moveTo>
                <a:cubicBezTo>
                  <a:pt x="1411978" y="1707182"/>
                  <a:pt x="1436688" y="1731892"/>
                  <a:pt x="1436688" y="1762373"/>
                </a:cubicBezTo>
                <a:cubicBezTo>
                  <a:pt x="1436688" y="1792854"/>
                  <a:pt x="1411978" y="1817564"/>
                  <a:pt x="1381494" y="1817564"/>
                </a:cubicBezTo>
                <a:cubicBezTo>
                  <a:pt x="1351014" y="1817564"/>
                  <a:pt x="1326303" y="1792854"/>
                  <a:pt x="1326303" y="1762373"/>
                </a:cubicBezTo>
                <a:cubicBezTo>
                  <a:pt x="1326303" y="1731892"/>
                  <a:pt x="1351014" y="1707182"/>
                  <a:pt x="1381494" y="1707182"/>
                </a:cubicBezTo>
                <a:close/>
                <a:moveTo>
                  <a:pt x="1251201" y="1707182"/>
                </a:moveTo>
                <a:cubicBezTo>
                  <a:pt x="1281685" y="1707182"/>
                  <a:pt x="1306393" y="1731892"/>
                  <a:pt x="1306393" y="1762373"/>
                </a:cubicBezTo>
                <a:cubicBezTo>
                  <a:pt x="1306393" y="1792854"/>
                  <a:pt x="1281685" y="1817564"/>
                  <a:pt x="1251201" y="1817564"/>
                </a:cubicBezTo>
                <a:cubicBezTo>
                  <a:pt x="1220721" y="1817564"/>
                  <a:pt x="1196010" y="1792854"/>
                  <a:pt x="1196010" y="1762373"/>
                </a:cubicBezTo>
                <a:cubicBezTo>
                  <a:pt x="1196010" y="1731892"/>
                  <a:pt x="1220721" y="1707182"/>
                  <a:pt x="1251201" y="1707182"/>
                </a:cubicBezTo>
                <a:close/>
                <a:moveTo>
                  <a:pt x="1909361" y="1580232"/>
                </a:moveTo>
                <a:cubicBezTo>
                  <a:pt x="1939843" y="1580232"/>
                  <a:pt x="1964554" y="1604942"/>
                  <a:pt x="1964554" y="1635423"/>
                </a:cubicBezTo>
                <a:cubicBezTo>
                  <a:pt x="1964554" y="1665904"/>
                  <a:pt x="1939843" y="1690614"/>
                  <a:pt x="1909361" y="1690614"/>
                </a:cubicBezTo>
                <a:cubicBezTo>
                  <a:pt x="1878879" y="1690614"/>
                  <a:pt x="1854168" y="1665904"/>
                  <a:pt x="1854168" y="1635423"/>
                </a:cubicBezTo>
                <a:cubicBezTo>
                  <a:pt x="1854168" y="1604942"/>
                  <a:pt x="1878879" y="1580232"/>
                  <a:pt x="1909361" y="1580232"/>
                </a:cubicBezTo>
                <a:close/>
                <a:moveTo>
                  <a:pt x="1779065" y="1580232"/>
                </a:moveTo>
                <a:cubicBezTo>
                  <a:pt x="1809547" y="1580232"/>
                  <a:pt x="1834257" y="1604942"/>
                  <a:pt x="1834257" y="1635423"/>
                </a:cubicBezTo>
                <a:cubicBezTo>
                  <a:pt x="1834257" y="1665904"/>
                  <a:pt x="1809547" y="1690614"/>
                  <a:pt x="1779065" y="1690614"/>
                </a:cubicBezTo>
                <a:cubicBezTo>
                  <a:pt x="1748583" y="1690614"/>
                  <a:pt x="1723872" y="1665904"/>
                  <a:pt x="1723872" y="1635423"/>
                </a:cubicBezTo>
                <a:cubicBezTo>
                  <a:pt x="1723872" y="1604942"/>
                  <a:pt x="1748583" y="1580232"/>
                  <a:pt x="1779065" y="1580232"/>
                </a:cubicBezTo>
                <a:close/>
                <a:moveTo>
                  <a:pt x="1645431" y="1580232"/>
                </a:moveTo>
                <a:cubicBezTo>
                  <a:pt x="1675914" y="1580232"/>
                  <a:pt x="1700623" y="1604942"/>
                  <a:pt x="1700623" y="1635423"/>
                </a:cubicBezTo>
                <a:cubicBezTo>
                  <a:pt x="1700623" y="1665904"/>
                  <a:pt x="1675914" y="1690614"/>
                  <a:pt x="1645431" y="1690614"/>
                </a:cubicBezTo>
                <a:cubicBezTo>
                  <a:pt x="1614950" y="1690614"/>
                  <a:pt x="1590238" y="1665904"/>
                  <a:pt x="1590238" y="1635423"/>
                </a:cubicBezTo>
                <a:cubicBezTo>
                  <a:pt x="1590238" y="1604942"/>
                  <a:pt x="1614950" y="1580232"/>
                  <a:pt x="1645431" y="1580232"/>
                </a:cubicBezTo>
                <a:close/>
                <a:moveTo>
                  <a:pt x="1515140" y="1580232"/>
                </a:moveTo>
                <a:cubicBezTo>
                  <a:pt x="1545619" y="1580232"/>
                  <a:pt x="1570329" y="1604942"/>
                  <a:pt x="1570329" y="1635423"/>
                </a:cubicBezTo>
                <a:cubicBezTo>
                  <a:pt x="1570329" y="1665904"/>
                  <a:pt x="1545619" y="1690614"/>
                  <a:pt x="1515140" y="1690614"/>
                </a:cubicBezTo>
                <a:cubicBezTo>
                  <a:pt x="1484656" y="1690614"/>
                  <a:pt x="1459945" y="1665904"/>
                  <a:pt x="1459945" y="1635423"/>
                </a:cubicBezTo>
                <a:cubicBezTo>
                  <a:pt x="1459945" y="1604942"/>
                  <a:pt x="1484656" y="1580232"/>
                  <a:pt x="1515140" y="1580232"/>
                </a:cubicBezTo>
                <a:close/>
                <a:moveTo>
                  <a:pt x="1381504" y="1580232"/>
                </a:moveTo>
                <a:cubicBezTo>
                  <a:pt x="1411984" y="1580232"/>
                  <a:pt x="1436697" y="1604942"/>
                  <a:pt x="1436697" y="1635423"/>
                </a:cubicBezTo>
                <a:cubicBezTo>
                  <a:pt x="1436697" y="1665904"/>
                  <a:pt x="1411984" y="1690614"/>
                  <a:pt x="1381504" y="1690614"/>
                </a:cubicBezTo>
                <a:cubicBezTo>
                  <a:pt x="1351022" y="1690614"/>
                  <a:pt x="1326312" y="1665904"/>
                  <a:pt x="1326312" y="1635423"/>
                </a:cubicBezTo>
                <a:cubicBezTo>
                  <a:pt x="1326312" y="1604942"/>
                  <a:pt x="1351022" y="1580232"/>
                  <a:pt x="1381504" y="1580232"/>
                </a:cubicBezTo>
                <a:close/>
                <a:moveTo>
                  <a:pt x="1251210" y="1580232"/>
                </a:moveTo>
                <a:cubicBezTo>
                  <a:pt x="1281690" y="1580232"/>
                  <a:pt x="1306401" y="1604942"/>
                  <a:pt x="1306401" y="1635423"/>
                </a:cubicBezTo>
                <a:cubicBezTo>
                  <a:pt x="1306401" y="1665904"/>
                  <a:pt x="1281690" y="1690614"/>
                  <a:pt x="1251210" y="1690614"/>
                </a:cubicBezTo>
                <a:cubicBezTo>
                  <a:pt x="1220727" y="1690614"/>
                  <a:pt x="1196016" y="1665904"/>
                  <a:pt x="1196016" y="1635423"/>
                </a:cubicBezTo>
                <a:cubicBezTo>
                  <a:pt x="1196016" y="1604942"/>
                  <a:pt x="1220727" y="1580232"/>
                  <a:pt x="1251210" y="1580232"/>
                </a:cubicBezTo>
                <a:close/>
                <a:moveTo>
                  <a:pt x="9068806" y="1580228"/>
                </a:moveTo>
                <a:cubicBezTo>
                  <a:pt x="9099288" y="1580228"/>
                  <a:pt x="9123998" y="1604938"/>
                  <a:pt x="9123998" y="1635419"/>
                </a:cubicBezTo>
                <a:cubicBezTo>
                  <a:pt x="9123998" y="1665900"/>
                  <a:pt x="9099288" y="1690610"/>
                  <a:pt x="9068806" y="1690610"/>
                </a:cubicBezTo>
                <a:cubicBezTo>
                  <a:pt x="9038324" y="1690610"/>
                  <a:pt x="9013614" y="1665900"/>
                  <a:pt x="9013614" y="1635419"/>
                </a:cubicBezTo>
                <a:cubicBezTo>
                  <a:pt x="9013614" y="1604938"/>
                  <a:pt x="9038324" y="1580228"/>
                  <a:pt x="9068806" y="1580228"/>
                </a:cubicBezTo>
                <a:close/>
                <a:moveTo>
                  <a:pt x="8671243" y="1580228"/>
                </a:moveTo>
                <a:cubicBezTo>
                  <a:pt x="8701725" y="1580228"/>
                  <a:pt x="8726435" y="1604938"/>
                  <a:pt x="8726435" y="1635419"/>
                </a:cubicBezTo>
                <a:cubicBezTo>
                  <a:pt x="8726435" y="1665900"/>
                  <a:pt x="8701725" y="1690610"/>
                  <a:pt x="8671243" y="1690610"/>
                </a:cubicBezTo>
                <a:cubicBezTo>
                  <a:pt x="8640761" y="1690610"/>
                  <a:pt x="8616051" y="1665900"/>
                  <a:pt x="8616051" y="1635419"/>
                </a:cubicBezTo>
                <a:cubicBezTo>
                  <a:pt x="8616051" y="1604938"/>
                  <a:pt x="8640761" y="1580228"/>
                  <a:pt x="8671243" y="1580228"/>
                </a:cubicBezTo>
                <a:close/>
                <a:moveTo>
                  <a:pt x="8537609" y="1580228"/>
                </a:moveTo>
                <a:cubicBezTo>
                  <a:pt x="8568091" y="1580228"/>
                  <a:pt x="8592801" y="1604938"/>
                  <a:pt x="8592801" y="1635419"/>
                </a:cubicBezTo>
                <a:cubicBezTo>
                  <a:pt x="8592801" y="1665900"/>
                  <a:pt x="8568091" y="1690610"/>
                  <a:pt x="8537609" y="1690610"/>
                </a:cubicBezTo>
                <a:cubicBezTo>
                  <a:pt x="8507127" y="1690610"/>
                  <a:pt x="8482417" y="1665900"/>
                  <a:pt x="8482417" y="1635419"/>
                </a:cubicBezTo>
                <a:cubicBezTo>
                  <a:pt x="8482417" y="1604938"/>
                  <a:pt x="8507127" y="1580228"/>
                  <a:pt x="8537609" y="1580228"/>
                </a:cubicBezTo>
                <a:close/>
                <a:moveTo>
                  <a:pt x="8407318" y="1580228"/>
                </a:moveTo>
                <a:cubicBezTo>
                  <a:pt x="8437800" y="1580228"/>
                  <a:pt x="8462510" y="1604938"/>
                  <a:pt x="8462510" y="1635419"/>
                </a:cubicBezTo>
                <a:cubicBezTo>
                  <a:pt x="8462510" y="1665900"/>
                  <a:pt x="8437800" y="1690610"/>
                  <a:pt x="8407318" y="1690610"/>
                </a:cubicBezTo>
                <a:cubicBezTo>
                  <a:pt x="8376836" y="1690610"/>
                  <a:pt x="8352126" y="1665900"/>
                  <a:pt x="8352126" y="1635419"/>
                </a:cubicBezTo>
                <a:cubicBezTo>
                  <a:pt x="8352126" y="1604938"/>
                  <a:pt x="8376836" y="1580228"/>
                  <a:pt x="8407318" y="1580228"/>
                </a:cubicBezTo>
                <a:close/>
                <a:moveTo>
                  <a:pt x="8273682" y="1580228"/>
                </a:moveTo>
                <a:cubicBezTo>
                  <a:pt x="8304164" y="1580228"/>
                  <a:pt x="8328874" y="1604938"/>
                  <a:pt x="8328874" y="1635419"/>
                </a:cubicBezTo>
                <a:cubicBezTo>
                  <a:pt x="8328874" y="1665900"/>
                  <a:pt x="8304164" y="1690610"/>
                  <a:pt x="8273682" y="1690610"/>
                </a:cubicBezTo>
                <a:cubicBezTo>
                  <a:pt x="8243200" y="1690610"/>
                  <a:pt x="8218490" y="1665900"/>
                  <a:pt x="8218490" y="1635419"/>
                </a:cubicBezTo>
                <a:cubicBezTo>
                  <a:pt x="8218490" y="1604938"/>
                  <a:pt x="8243200" y="1580228"/>
                  <a:pt x="8273682" y="1580228"/>
                </a:cubicBezTo>
                <a:close/>
                <a:moveTo>
                  <a:pt x="8143386" y="1580228"/>
                </a:moveTo>
                <a:cubicBezTo>
                  <a:pt x="8173868" y="1580228"/>
                  <a:pt x="8198578" y="1604938"/>
                  <a:pt x="8198578" y="1635419"/>
                </a:cubicBezTo>
                <a:cubicBezTo>
                  <a:pt x="8198578" y="1665900"/>
                  <a:pt x="8173868" y="1690610"/>
                  <a:pt x="8143386" y="1690610"/>
                </a:cubicBezTo>
                <a:cubicBezTo>
                  <a:pt x="8112904" y="1690610"/>
                  <a:pt x="8088194" y="1665900"/>
                  <a:pt x="8088194" y="1635419"/>
                </a:cubicBezTo>
                <a:cubicBezTo>
                  <a:pt x="8088194" y="1604938"/>
                  <a:pt x="8112904" y="1580228"/>
                  <a:pt x="8143386" y="1580228"/>
                </a:cubicBezTo>
                <a:close/>
                <a:moveTo>
                  <a:pt x="8009752" y="1580228"/>
                </a:moveTo>
                <a:cubicBezTo>
                  <a:pt x="8040234" y="1580228"/>
                  <a:pt x="8064944" y="1604938"/>
                  <a:pt x="8064944" y="1635419"/>
                </a:cubicBezTo>
                <a:cubicBezTo>
                  <a:pt x="8064944" y="1665900"/>
                  <a:pt x="8040234" y="1690610"/>
                  <a:pt x="8009752" y="1690610"/>
                </a:cubicBezTo>
                <a:cubicBezTo>
                  <a:pt x="7979270" y="1690610"/>
                  <a:pt x="7954560" y="1665900"/>
                  <a:pt x="7954560" y="1635419"/>
                </a:cubicBezTo>
                <a:cubicBezTo>
                  <a:pt x="7954560" y="1604938"/>
                  <a:pt x="7979270" y="1580228"/>
                  <a:pt x="8009752" y="1580228"/>
                </a:cubicBezTo>
                <a:close/>
                <a:moveTo>
                  <a:pt x="7876117" y="1580228"/>
                </a:moveTo>
                <a:cubicBezTo>
                  <a:pt x="7906599" y="1580228"/>
                  <a:pt x="7931309" y="1604938"/>
                  <a:pt x="7931309" y="1635419"/>
                </a:cubicBezTo>
                <a:cubicBezTo>
                  <a:pt x="7931309" y="1665900"/>
                  <a:pt x="7906599" y="1690610"/>
                  <a:pt x="7876117" y="1690610"/>
                </a:cubicBezTo>
                <a:cubicBezTo>
                  <a:pt x="7845635" y="1690610"/>
                  <a:pt x="7820925" y="1665900"/>
                  <a:pt x="7820925" y="1635419"/>
                </a:cubicBezTo>
                <a:cubicBezTo>
                  <a:pt x="7820925" y="1604938"/>
                  <a:pt x="7845635" y="1580228"/>
                  <a:pt x="7876117" y="1580228"/>
                </a:cubicBezTo>
                <a:close/>
                <a:moveTo>
                  <a:pt x="7745824" y="1580228"/>
                </a:moveTo>
                <a:cubicBezTo>
                  <a:pt x="7776306" y="1580228"/>
                  <a:pt x="7801016" y="1604938"/>
                  <a:pt x="7801016" y="1635419"/>
                </a:cubicBezTo>
                <a:cubicBezTo>
                  <a:pt x="7801016" y="1665900"/>
                  <a:pt x="7776306" y="1690610"/>
                  <a:pt x="7745824" y="1690610"/>
                </a:cubicBezTo>
                <a:cubicBezTo>
                  <a:pt x="7715342" y="1690610"/>
                  <a:pt x="7690632" y="1665900"/>
                  <a:pt x="7690632" y="1635419"/>
                </a:cubicBezTo>
                <a:cubicBezTo>
                  <a:pt x="7690632" y="1604938"/>
                  <a:pt x="7715342" y="1580228"/>
                  <a:pt x="7745824" y="1580228"/>
                </a:cubicBezTo>
                <a:close/>
                <a:moveTo>
                  <a:pt x="7608849" y="1580228"/>
                </a:moveTo>
                <a:cubicBezTo>
                  <a:pt x="7639331" y="1580228"/>
                  <a:pt x="7664041" y="1604938"/>
                  <a:pt x="7664041" y="1635419"/>
                </a:cubicBezTo>
                <a:cubicBezTo>
                  <a:pt x="7664041" y="1665900"/>
                  <a:pt x="7639331" y="1690610"/>
                  <a:pt x="7608849" y="1690610"/>
                </a:cubicBezTo>
                <a:cubicBezTo>
                  <a:pt x="7578367" y="1690610"/>
                  <a:pt x="7553657" y="1665900"/>
                  <a:pt x="7553657" y="1635419"/>
                </a:cubicBezTo>
                <a:cubicBezTo>
                  <a:pt x="7553657" y="1604938"/>
                  <a:pt x="7578367" y="1580228"/>
                  <a:pt x="7608849" y="1580228"/>
                </a:cubicBezTo>
                <a:close/>
                <a:moveTo>
                  <a:pt x="7481895" y="1580228"/>
                </a:moveTo>
                <a:cubicBezTo>
                  <a:pt x="7512377" y="1580228"/>
                  <a:pt x="7537087" y="1604938"/>
                  <a:pt x="7537087" y="1635419"/>
                </a:cubicBezTo>
                <a:cubicBezTo>
                  <a:pt x="7537087" y="1665900"/>
                  <a:pt x="7512377" y="1690610"/>
                  <a:pt x="7481895" y="1690610"/>
                </a:cubicBezTo>
                <a:cubicBezTo>
                  <a:pt x="7451413" y="1690610"/>
                  <a:pt x="7426703" y="1665900"/>
                  <a:pt x="7426703" y="1635419"/>
                </a:cubicBezTo>
                <a:cubicBezTo>
                  <a:pt x="7426703" y="1604938"/>
                  <a:pt x="7451413" y="1580228"/>
                  <a:pt x="7481895" y="1580228"/>
                </a:cubicBezTo>
                <a:close/>
                <a:moveTo>
                  <a:pt x="7341579" y="1580228"/>
                </a:moveTo>
                <a:cubicBezTo>
                  <a:pt x="7372061" y="1580228"/>
                  <a:pt x="7396771" y="1604938"/>
                  <a:pt x="7396771" y="1635419"/>
                </a:cubicBezTo>
                <a:cubicBezTo>
                  <a:pt x="7396771" y="1665900"/>
                  <a:pt x="7372061" y="1690610"/>
                  <a:pt x="7341579" y="1690610"/>
                </a:cubicBezTo>
                <a:cubicBezTo>
                  <a:pt x="7311097" y="1690610"/>
                  <a:pt x="7286387" y="1665900"/>
                  <a:pt x="7286387" y="1635419"/>
                </a:cubicBezTo>
                <a:cubicBezTo>
                  <a:pt x="7286387" y="1604938"/>
                  <a:pt x="7311097" y="1580228"/>
                  <a:pt x="7341579" y="1580228"/>
                </a:cubicBezTo>
                <a:close/>
                <a:moveTo>
                  <a:pt x="7211286" y="1580228"/>
                </a:moveTo>
                <a:cubicBezTo>
                  <a:pt x="7241768" y="1580228"/>
                  <a:pt x="7266478" y="1604938"/>
                  <a:pt x="7266478" y="1635419"/>
                </a:cubicBezTo>
                <a:cubicBezTo>
                  <a:pt x="7266478" y="1665900"/>
                  <a:pt x="7241768" y="1690610"/>
                  <a:pt x="7211286" y="1690610"/>
                </a:cubicBezTo>
                <a:cubicBezTo>
                  <a:pt x="7180804" y="1690610"/>
                  <a:pt x="7156094" y="1665900"/>
                  <a:pt x="7156094" y="1635419"/>
                </a:cubicBezTo>
                <a:cubicBezTo>
                  <a:pt x="7156094" y="1604938"/>
                  <a:pt x="7180804" y="1580228"/>
                  <a:pt x="7211286" y="1580228"/>
                </a:cubicBezTo>
                <a:close/>
                <a:moveTo>
                  <a:pt x="7080993" y="1580228"/>
                </a:moveTo>
                <a:cubicBezTo>
                  <a:pt x="7111475" y="1580228"/>
                  <a:pt x="7136185" y="1604938"/>
                  <a:pt x="7136185" y="1635419"/>
                </a:cubicBezTo>
                <a:cubicBezTo>
                  <a:pt x="7136185" y="1665900"/>
                  <a:pt x="7111475" y="1690610"/>
                  <a:pt x="7080993" y="1690610"/>
                </a:cubicBezTo>
                <a:cubicBezTo>
                  <a:pt x="7050511" y="1690610"/>
                  <a:pt x="7025801" y="1665900"/>
                  <a:pt x="7025801" y="1635419"/>
                </a:cubicBezTo>
                <a:cubicBezTo>
                  <a:pt x="7025801" y="1604938"/>
                  <a:pt x="7050511" y="1580228"/>
                  <a:pt x="7080993" y="1580228"/>
                </a:cubicBezTo>
                <a:close/>
                <a:moveTo>
                  <a:pt x="6947357" y="1580228"/>
                </a:moveTo>
                <a:cubicBezTo>
                  <a:pt x="6977839" y="1580228"/>
                  <a:pt x="7002549" y="1604938"/>
                  <a:pt x="7002549" y="1635419"/>
                </a:cubicBezTo>
                <a:cubicBezTo>
                  <a:pt x="7002549" y="1665900"/>
                  <a:pt x="6977839" y="1690610"/>
                  <a:pt x="6947357" y="1690610"/>
                </a:cubicBezTo>
                <a:cubicBezTo>
                  <a:pt x="6916875" y="1690610"/>
                  <a:pt x="6892165" y="1665900"/>
                  <a:pt x="6892165" y="1635419"/>
                </a:cubicBezTo>
                <a:cubicBezTo>
                  <a:pt x="6892165" y="1604938"/>
                  <a:pt x="6916875" y="1580228"/>
                  <a:pt x="6947357" y="1580228"/>
                </a:cubicBezTo>
                <a:close/>
                <a:moveTo>
                  <a:pt x="6817063" y="1580228"/>
                </a:moveTo>
                <a:cubicBezTo>
                  <a:pt x="6847545" y="1580228"/>
                  <a:pt x="6872255" y="1604938"/>
                  <a:pt x="6872255" y="1635419"/>
                </a:cubicBezTo>
                <a:cubicBezTo>
                  <a:pt x="6872255" y="1665900"/>
                  <a:pt x="6847545" y="1690610"/>
                  <a:pt x="6817063" y="1690610"/>
                </a:cubicBezTo>
                <a:cubicBezTo>
                  <a:pt x="6786581" y="1690610"/>
                  <a:pt x="6761871" y="1665900"/>
                  <a:pt x="6761871" y="1635419"/>
                </a:cubicBezTo>
                <a:cubicBezTo>
                  <a:pt x="6761871" y="1604938"/>
                  <a:pt x="6786581" y="1580228"/>
                  <a:pt x="6817063" y="1580228"/>
                </a:cubicBezTo>
                <a:close/>
                <a:moveTo>
                  <a:pt x="6683431" y="1580228"/>
                </a:moveTo>
                <a:cubicBezTo>
                  <a:pt x="6713913" y="1580228"/>
                  <a:pt x="6738623" y="1604938"/>
                  <a:pt x="6738623" y="1635419"/>
                </a:cubicBezTo>
                <a:cubicBezTo>
                  <a:pt x="6738623" y="1665900"/>
                  <a:pt x="6713913" y="1690610"/>
                  <a:pt x="6683431" y="1690610"/>
                </a:cubicBezTo>
                <a:cubicBezTo>
                  <a:pt x="6652949" y="1690610"/>
                  <a:pt x="6628239" y="1665900"/>
                  <a:pt x="6628239" y="1635419"/>
                </a:cubicBezTo>
                <a:cubicBezTo>
                  <a:pt x="6628239" y="1604938"/>
                  <a:pt x="6652949" y="1580228"/>
                  <a:pt x="6683431" y="1580228"/>
                </a:cubicBezTo>
                <a:close/>
                <a:moveTo>
                  <a:pt x="6553137" y="1580228"/>
                </a:moveTo>
                <a:cubicBezTo>
                  <a:pt x="6583619" y="1580228"/>
                  <a:pt x="6608329" y="1604938"/>
                  <a:pt x="6608329" y="1635419"/>
                </a:cubicBezTo>
                <a:cubicBezTo>
                  <a:pt x="6608329" y="1665900"/>
                  <a:pt x="6583619" y="1690610"/>
                  <a:pt x="6553137" y="1690610"/>
                </a:cubicBezTo>
                <a:cubicBezTo>
                  <a:pt x="6522655" y="1690610"/>
                  <a:pt x="6497945" y="1665900"/>
                  <a:pt x="6497945" y="1635419"/>
                </a:cubicBezTo>
                <a:cubicBezTo>
                  <a:pt x="6497945" y="1604938"/>
                  <a:pt x="6522655" y="1580228"/>
                  <a:pt x="6553137" y="1580228"/>
                </a:cubicBezTo>
                <a:close/>
                <a:moveTo>
                  <a:pt x="6419502" y="1580228"/>
                </a:moveTo>
                <a:cubicBezTo>
                  <a:pt x="6449984" y="1580228"/>
                  <a:pt x="6474694" y="1604938"/>
                  <a:pt x="6474694" y="1635419"/>
                </a:cubicBezTo>
                <a:cubicBezTo>
                  <a:pt x="6474694" y="1665900"/>
                  <a:pt x="6449984" y="1690610"/>
                  <a:pt x="6419502" y="1690610"/>
                </a:cubicBezTo>
                <a:cubicBezTo>
                  <a:pt x="6389020" y="1690610"/>
                  <a:pt x="6364310" y="1665900"/>
                  <a:pt x="6364310" y="1635419"/>
                </a:cubicBezTo>
                <a:cubicBezTo>
                  <a:pt x="6364310" y="1604938"/>
                  <a:pt x="6389020" y="1580228"/>
                  <a:pt x="6419502" y="1580228"/>
                </a:cubicBezTo>
                <a:close/>
                <a:moveTo>
                  <a:pt x="6289208" y="1580228"/>
                </a:moveTo>
                <a:cubicBezTo>
                  <a:pt x="6319690" y="1580228"/>
                  <a:pt x="6344400" y="1604938"/>
                  <a:pt x="6344400" y="1635419"/>
                </a:cubicBezTo>
                <a:cubicBezTo>
                  <a:pt x="6344400" y="1665900"/>
                  <a:pt x="6319690" y="1690610"/>
                  <a:pt x="6289208" y="1690610"/>
                </a:cubicBezTo>
                <a:cubicBezTo>
                  <a:pt x="6258726" y="1690610"/>
                  <a:pt x="6234016" y="1665900"/>
                  <a:pt x="6234016" y="1635419"/>
                </a:cubicBezTo>
                <a:cubicBezTo>
                  <a:pt x="6234016" y="1604938"/>
                  <a:pt x="6258726" y="1580228"/>
                  <a:pt x="6289208" y="1580228"/>
                </a:cubicBezTo>
                <a:close/>
                <a:moveTo>
                  <a:pt x="6155572" y="1580228"/>
                </a:moveTo>
                <a:cubicBezTo>
                  <a:pt x="6186054" y="1580228"/>
                  <a:pt x="6210764" y="1604938"/>
                  <a:pt x="6210764" y="1635419"/>
                </a:cubicBezTo>
                <a:cubicBezTo>
                  <a:pt x="6210764" y="1665900"/>
                  <a:pt x="6186054" y="1690610"/>
                  <a:pt x="6155572" y="1690610"/>
                </a:cubicBezTo>
                <a:cubicBezTo>
                  <a:pt x="6125090" y="1690610"/>
                  <a:pt x="6100380" y="1665900"/>
                  <a:pt x="6100380" y="1635419"/>
                </a:cubicBezTo>
                <a:cubicBezTo>
                  <a:pt x="6100380" y="1604938"/>
                  <a:pt x="6125090" y="1580228"/>
                  <a:pt x="6155572" y="1580228"/>
                </a:cubicBezTo>
                <a:close/>
                <a:moveTo>
                  <a:pt x="6021938" y="1580228"/>
                </a:moveTo>
                <a:cubicBezTo>
                  <a:pt x="6052420" y="1580228"/>
                  <a:pt x="6077130" y="1604938"/>
                  <a:pt x="6077130" y="1635419"/>
                </a:cubicBezTo>
                <a:cubicBezTo>
                  <a:pt x="6077130" y="1665900"/>
                  <a:pt x="6052420" y="1690610"/>
                  <a:pt x="6021938" y="1690610"/>
                </a:cubicBezTo>
                <a:cubicBezTo>
                  <a:pt x="5991456" y="1690610"/>
                  <a:pt x="5966746" y="1665900"/>
                  <a:pt x="5966746" y="1635419"/>
                </a:cubicBezTo>
                <a:cubicBezTo>
                  <a:pt x="5966746" y="1604938"/>
                  <a:pt x="5991456" y="1580228"/>
                  <a:pt x="6021938" y="1580228"/>
                </a:cubicBezTo>
                <a:close/>
                <a:moveTo>
                  <a:pt x="5884964" y="1580228"/>
                </a:moveTo>
                <a:cubicBezTo>
                  <a:pt x="5915446" y="1580228"/>
                  <a:pt x="5940156" y="1604938"/>
                  <a:pt x="5940156" y="1635419"/>
                </a:cubicBezTo>
                <a:cubicBezTo>
                  <a:pt x="5940156" y="1665900"/>
                  <a:pt x="5915446" y="1690610"/>
                  <a:pt x="5884964" y="1690610"/>
                </a:cubicBezTo>
                <a:cubicBezTo>
                  <a:pt x="5854482" y="1690610"/>
                  <a:pt x="5829772" y="1665900"/>
                  <a:pt x="5829772" y="1635419"/>
                </a:cubicBezTo>
                <a:cubicBezTo>
                  <a:pt x="5829772" y="1604938"/>
                  <a:pt x="5854482" y="1580228"/>
                  <a:pt x="5884964" y="1580228"/>
                </a:cubicBezTo>
                <a:close/>
                <a:moveTo>
                  <a:pt x="5754670" y="1580228"/>
                </a:moveTo>
                <a:cubicBezTo>
                  <a:pt x="5785152" y="1580228"/>
                  <a:pt x="5809862" y="1604938"/>
                  <a:pt x="5809862" y="1635419"/>
                </a:cubicBezTo>
                <a:cubicBezTo>
                  <a:pt x="5809862" y="1665900"/>
                  <a:pt x="5785152" y="1690610"/>
                  <a:pt x="5754670" y="1690610"/>
                </a:cubicBezTo>
                <a:cubicBezTo>
                  <a:pt x="5724188" y="1690610"/>
                  <a:pt x="5699478" y="1665900"/>
                  <a:pt x="5699478" y="1635419"/>
                </a:cubicBezTo>
                <a:cubicBezTo>
                  <a:pt x="5699478" y="1604938"/>
                  <a:pt x="5724188" y="1580228"/>
                  <a:pt x="5754670" y="1580228"/>
                </a:cubicBezTo>
                <a:close/>
                <a:moveTo>
                  <a:pt x="5621035" y="1580228"/>
                </a:moveTo>
                <a:cubicBezTo>
                  <a:pt x="5651517" y="1580228"/>
                  <a:pt x="5676227" y="1604938"/>
                  <a:pt x="5676227" y="1635419"/>
                </a:cubicBezTo>
                <a:cubicBezTo>
                  <a:pt x="5676227" y="1665900"/>
                  <a:pt x="5651517" y="1690610"/>
                  <a:pt x="5621035" y="1690610"/>
                </a:cubicBezTo>
                <a:cubicBezTo>
                  <a:pt x="5590553" y="1690610"/>
                  <a:pt x="5565843" y="1665900"/>
                  <a:pt x="5565843" y="1635419"/>
                </a:cubicBezTo>
                <a:cubicBezTo>
                  <a:pt x="5565843" y="1604938"/>
                  <a:pt x="5590553" y="1580228"/>
                  <a:pt x="5621035" y="1580228"/>
                </a:cubicBezTo>
                <a:close/>
                <a:moveTo>
                  <a:pt x="5357105" y="1580228"/>
                </a:moveTo>
                <a:cubicBezTo>
                  <a:pt x="5387587" y="1580228"/>
                  <a:pt x="5412297" y="1604938"/>
                  <a:pt x="5412297" y="1635419"/>
                </a:cubicBezTo>
                <a:cubicBezTo>
                  <a:pt x="5412297" y="1665900"/>
                  <a:pt x="5387587" y="1690610"/>
                  <a:pt x="5357105" y="1690610"/>
                </a:cubicBezTo>
                <a:cubicBezTo>
                  <a:pt x="5326623" y="1690610"/>
                  <a:pt x="5301913" y="1665900"/>
                  <a:pt x="5301913" y="1635419"/>
                </a:cubicBezTo>
                <a:cubicBezTo>
                  <a:pt x="5301913" y="1604938"/>
                  <a:pt x="5326623" y="1580228"/>
                  <a:pt x="5357105" y="1580228"/>
                </a:cubicBezTo>
                <a:close/>
                <a:moveTo>
                  <a:pt x="5223473" y="1580228"/>
                </a:moveTo>
                <a:cubicBezTo>
                  <a:pt x="5253955" y="1580228"/>
                  <a:pt x="5278665" y="1604938"/>
                  <a:pt x="5278665" y="1635419"/>
                </a:cubicBezTo>
                <a:cubicBezTo>
                  <a:pt x="5278665" y="1665900"/>
                  <a:pt x="5253955" y="1690610"/>
                  <a:pt x="5223473" y="1690610"/>
                </a:cubicBezTo>
                <a:cubicBezTo>
                  <a:pt x="5192991" y="1690610"/>
                  <a:pt x="5168281" y="1665900"/>
                  <a:pt x="5168281" y="1635419"/>
                </a:cubicBezTo>
                <a:cubicBezTo>
                  <a:pt x="5168281" y="1604938"/>
                  <a:pt x="5192991" y="1580228"/>
                  <a:pt x="5223473" y="1580228"/>
                </a:cubicBezTo>
                <a:close/>
                <a:moveTo>
                  <a:pt x="5093178" y="1580228"/>
                </a:moveTo>
                <a:cubicBezTo>
                  <a:pt x="5123660" y="1580228"/>
                  <a:pt x="5148370" y="1604938"/>
                  <a:pt x="5148370" y="1635419"/>
                </a:cubicBezTo>
                <a:cubicBezTo>
                  <a:pt x="5148370" y="1665900"/>
                  <a:pt x="5123660" y="1690610"/>
                  <a:pt x="5093178" y="1690610"/>
                </a:cubicBezTo>
                <a:cubicBezTo>
                  <a:pt x="5062696" y="1690610"/>
                  <a:pt x="5037986" y="1665900"/>
                  <a:pt x="5037986" y="1635419"/>
                </a:cubicBezTo>
                <a:cubicBezTo>
                  <a:pt x="5037986" y="1604938"/>
                  <a:pt x="5062696" y="1580228"/>
                  <a:pt x="5093178" y="1580228"/>
                </a:cubicBezTo>
                <a:close/>
                <a:moveTo>
                  <a:pt x="4959543" y="1580228"/>
                </a:moveTo>
                <a:cubicBezTo>
                  <a:pt x="4990025" y="1580228"/>
                  <a:pt x="5014735" y="1604938"/>
                  <a:pt x="5014735" y="1635419"/>
                </a:cubicBezTo>
                <a:cubicBezTo>
                  <a:pt x="5014735" y="1665900"/>
                  <a:pt x="4990025" y="1690610"/>
                  <a:pt x="4959543" y="1690610"/>
                </a:cubicBezTo>
                <a:cubicBezTo>
                  <a:pt x="4929061" y="1690610"/>
                  <a:pt x="4904351" y="1665900"/>
                  <a:pt x="4904351" y="1635419"/>
                </a:cubicBezTo>
                <a:cubicBezTo>
                  <a:pt x="4904351" y="1604938"/>
                  <a:pt x="4929061" y="1580228"/>
                  <a:pt x="4959543" y="1580228"/>
                </a:cubicBezTo>
                <a:close/>
                <a:moveTo>
                  <a:pt x="4829251" y="1580228"/>
                </a:moveTo>
                <a:cubicBezTo>
                  <a:pt x="4859733" y="1580228"/>
                  <a:pt x="4884443" y="1604938"/>
                  <a:pt x="4884443" y="1635419"/>
                </a:cubicBezTo>
                <a:cubicBezTo>
                  <a:pt x="4884443" y="1665900"/>
                  <a:pt x="4859733" y="1690610"/>
                  <a:pt x="4829251" y="1690610"/>
                </a:cubicBezTo>
                <a:cubicBezTo>
                  <a:pt x="4798769" y="1690610"/>
                  <a:pt x="4774059" y="1665900"/>
                  <a:pt x="4774059" y="1635419"/>
                </a:cubicBezTo>
                <a:cubicBezTo>
                  <a:pt x="4774059" y="1604938"/>
                  <a:pt x="4798769" y="1580228"/>
                  <a:pt x="4829251" y="1580228"/>
                </a:cubicBezTo>
                <a:close/>
                <a:moveTo>
                  <a:pt x="4695613" y="1580228"/>
                </a:moveTo>
                <a:cubicBezTo>
                  <a:pt x="4726095" y="1580228"/>
                  <a:pt x="4750805" y="1604938"/>
                  <a:pt x="4750805" y="1635419"/>
                </a:cubicBezTo>
                <a:cubicBezTo>
                  <a:pt x="4750805" y="1665900"/>
                  <a:pt x="4726095" y="1690610"/>
                  <a:pt x="4695613" y="1690610"/>
                </a:cubicBezTo>
                <a:cubicBezTo>
                  <a:pt x="4665131" y="1690610"/>
                  <a:pt x="4640421" y="1665900"/>
                  <a:pt x="4640421" y="1635419"/>
                </a:cubicBezTo>
                <a:cubicBezTo>
                  <a:pt x="4640421" y="1604938"/>
                  <a:pt x="4665131" y="1580228"/>
                  <a:pt x="4695613" y="1580228"/>
                </a:cubicBezTo>
                <a:close/>
                <a:moveTo>
                  <a:pt x="4565322" y="1580228"/>
                </a:moveTo>
                <a:cubicBezTo>
                  <a:pt x="4595804" y="1580228"/>
                  <a:pt x="4620514" y="1604938"/>
                  <a:pt x="4620514" y="1635419"/>
                </a:cubicBezTo>
                <a:cubicBezTo>
                  <a:pt x="4620514" y="1665900"/>
                  <a:pt x="4595804" y="1690610"/>
                  <a:pt x="4565322" y="1690610"/>
                </a:cubicBezTo>
                <a:cubicBezTo>
                  <a:pt x="4534840" y="1690610"/>
                  <a:pt x="4510130" y="1665900"/>
                  <a:pt x="4510130" y="1635419"/>
                </a:cubicBezTo>
                <a:cubicBezTo>
                  <a:pt x="4510130" y="1604938"/>
                  <a:pt x="4534840" y="1580228"/>
                  <a:pt x="4565322" y="1580228"/>
                </a:cubicBezTo>
                <a:close/>
                <a:moveTo>
                  <a:pt x="3098681" y="1580228"/>
                </a:moveTo>
                <a:cubicBezTo>
                  <a:pt x="3129163" y="1580228"/>
                  <a:pt x="3153873" y="1604938"/>
                  <a:pt x="3153873" y="1635419"/>
                </a:cubicBezTo>
                <a:cubicBezTo>
                  <a:pt x="3153873" y="1665900"/>
                  <a:pt x="3129163" y="1690610"/>
                  <a:pt x="3098681" y="1690610"/>
                </a:cubicBezTo>
                <a:cubicBezTo>
                  <a:pt x="3068199" y="1690610"/>
                  <a:pt x="3043489" y="1665900"/>
                  <a:pt x="3043489" y="1635419"/>
                </a:cubicBezTo>
                <a:cubicBezTo>
                  <a:pt x="3043489" y="1604938"/>
                  <a:pt x="3068199" y="1580228"/>
                  <a:pt x="3098681" y="1580228"/>
                </a:cubicBezTo>
                <a:close/>
                <a:moveTo>
                  <a:pt x="2971729" y="1580228"/>
                </a:moveTo>
                <a:cubicBezTo>
                  <a:pt x="3002211" y="1580228"/>
                  <a:pt x="3026921" y="1604938"/>
                  <a:pt x="3026921" y="1635419"/>
                </a:cubicBezTo>
                <a:cubicBezTo>
                  <a:pt x="3026921" y="1665900"/>
                  <a:pt x="3002211" y="1690610"/>
                  <a:pt x="2971729" y="1690610"/>
                </a:cubicBezTo>
                <a:cubicBezTo>
                  <a:pt x="2941247" y="1690610"/>
                  <a:pt x="2916537" y="1665900"/>
                  <a:pt x="2916537" y="1635419"/>
                </a:cubicBezTo>
                <a:cubicBezTo>
                  <a:pt x="2916537" y="1604938"/>
                  <a:pt x="2941247" y="1580228"/>
                  <a:pt x="2971729" y="1580228"/>
                </a:cubicBezTo>
                <a:close/>
                <a:moveTo>
                  <a:pt x="2834783" y="1580228"/>
                </a:moveTo>
                <a:cubicBezTo>
                  <a:pt x="2865264" y="1580228"/>
                  <a:pt x="2889974" y="1604938"/>
                  <a:pt x="2889974" y="1635419"/>
                </a:cubicBezTo>
                <a:cubicBezTo>
                  <a:pt x="2889974" y="1665900"/>
                  <a:pt x="2865264" y="1690610"/>
                  <a:pt x="2834783" y="1690610"/>
                </a:cubicBezTo>
                <a:cubicBezTo>
                  <a:pt x="2804300" y="1690610"/>
                  <a:pt x="2779590" y="1665900"/>
                  <a:pt x="2779590" y="1635419"/>
                </a:cubicBezTo>
                <a:cubicBezTo>
                  <a:pt x="2779590" y="1604938"/>
                  <a:pt x="2804300" y="1580228"/>
                  <a:pt x="2834783" y="1580228"/>
                </a:cubicBezTo>
                <a:close/>
                <a:moveTo>
                  <a:pt x="2707828" y="1580228"/>
                </a:moveTo>
                <a:cubicBezTo>
                  <a:pt x="2738310" y="1580228"/>
                  <a:pt x="2763021" y="1604938"/>
                  <a:pt x="2763021" y="1635419"/>
                </a:cubicBezTo>
                <a:cubicBezTo>
                  <a:pt x="2763021" y="1665900"/>
                  <a:pt x="2738310" y="1690610"/>
                  <a:pt x="2707828" y="1690610"/>
                </a:cubicBezTo>
                <a:cubicBezTo>
                  <a:pt x="2677345" y="1690610"/>
                  <a:pt x="2652636" y="1665900"/>
                  <a:pt x="2652636" y="1635419"/>
                </a:cubicBezTo>
                <a:cubicBezTo>
                  <a:pt x="2652636" y="1604938"/>
                  <a:pt x="2677345" y="1580228"/>
                  <a:pt x="2707828" y="1580228"/>
                </a:cubicBezTo>
                <a:close/>
                <a:moveTo>
                  <a:pt x="2570854" y="1580228"/>
                </a:moveTo>
                <a:cubicBezTo>
                  <a:pt x="2601336" y="1580228"/>
                  <a:pt x="2626046" y="1604938"/>
                  <a:pt x="2626046" y="1635419"/>
                </a:cubicBezTo>
                <a:cubicBezTo>
                  <a:pt x="2626046" y="1665900"/>
                  <a:pt x="2601336" y="1690610"/>
                  <a:pt x="2570854" y="1690610"/>
                </a:cubicBezTo>
                <a:cubicBezTo>
                  <a:pt x="2540372" y="1690610"/>
                  <a:pt x="2515662" y="1665900"/>
                  <a:pt x="2515662" y="1635419"/>
                </a:cubicBezTo>
                <a:cubicBezTo>
                  <a:pt x="2515662" y="1604938"/>
                  <a:pt x="2540372" y="1580228"/>
                  <a:pt x="2570854" y="1580228"/>
                </a:cubicBezTo>
                <a:close/>
                <a:moveTo>
                  <a:pt x="2437218" y="1580228"/>
                </a:moveTo>
                <a:cubicBezTo>
                  <a:pt x="2467700" y="1580228"/>
                  <a:pt x="2492409" y="1604938"/>
                  <a:pt x="2492409" y="1635419"/>
                </a:cubicBezTo>
                <a:cubicBezTo>
                  <a:pt x="2492409" y="1665900"/>
                  <a:pt x="2467700" y="1690610"/>
                  <a:pt x="2437218" y="1690610"/>
                </a:cubicBezTo>
                <a:cubicBezTo>
                  <a:pt x="2406736" y="1690610"/>
                  <a:pt x="2382026" y="1665900"/>
                  <a:pt x="2382026" y="1635419"/>
                </a:cubicBezTo>
                <a:cubicBezTo>
                  <a:pt x="2382026" y="1604938"/>
                  <a:pt x="2406736" y="1580228"/>
                  <a:pt x="2437218" y="1580228"/>
                </a:cubicBezTo>
                <a:close/>
                <a:moveTo>
                  <a:pt x="2303586" y="1580228"/>
                </a:moveTo>
                <a:cubicBezTo>
                  <a:pt x="2334067" y="1580228"/>
                  <a:pt x="2358778" y="1604938"/>
                  <a:pt x="2358778" y="1635419"/>
                </a:cubicBezTo>
                <a:cubicBezTo>
                  <a:pt x="2358778" y="1665900"/>
                  <a:pt x="2334067" y="1690610"/>
                  <a:pt x="2303586" y="1690610"/>
                </a:cubicBezTo>
                <a:cubicBezTo>
                  <a:pt x="2273104" y="1690610"/>
                  <a:pt x="2248394" y="1665900"/>
                  <a:pt x="2248394" y="1635419"/>
                </a:cubicBezTo>
                <a:cubicBezTo>
                  <a:pt x="2248394" y="1604938"/>
                  <a:pt x="2273104" y="1580228"/>
                  <a:pt x="2303586" y="1580228"/>
                </a:cubicBezTo>
                <a:close/>
                <a:moveTo>
                  <a:pt x="2173293" y="1580228"/>
                </a:moveTo>
                <a:cubicBezTo>
                  <a:pt x="2203775" y="1580228"/>
                  <a:pt x="2228486" y="1604938"/>
                  <a:pt x="2228486" y="1635419"/>
                </a:cubicBezTo>
                <a:cubicBezTo>
                  <a:pt x="2228486" y="1665900"/>
                  <a:pt x="2203775" y="1690610"/>
                  <a:pt x="2173293" y="1690610"/>
                </a:cubicBezTo>
                <a:cubicBezTo>
                  <a:pt x="2142811" y="1690610"/>
                  <a:pt x="2118101" y="1665900"/>
                  <a:pt x="2118101" y="1635419"/>
                </a:cubicBezTo>
                <a:cubicBezTo>
                  <a:pt x="2118101" y="1604938"/>
                  <a:pt x="2142811" y="1580228"/>
                  <a:pt x="2173293" y="1580228"/>
                </a:cubicBezTo>
                <a:close/>
                <a:moveTo>
                  <a:pt x="2039658" y="1580228"/>
                </a:moveTo>
                <a:cubicBezTo>
                  <a:pt x="2070140" y="1580228"/>
                  <a:pt x="2094851" y="1604938"/>
                  <a:pt x="2094851" y="1635419"/>
                </a:cubicBezTo>
                <a:cubicBezTo>
                  <a:pt x="2094851" y="1665900"/>
                  <a:pt x="2070140" y="1690610"/>
                  <a:pt x="2039658" y="1690610"/>
                </a:cubicBezTo>
                <a:cubicBezTo>
                  <a:pt x="2009176" y="1690610"/>
                  <a:pt x="1984465" y="1665900"/>
                  <a:pt x="1984465" y="1635419"/>
                </a:cubicBezTo>
                <a:cubicBezTo>
                  <a:pt x="1984465" y="1604938"/>
                  <a:pt x="2009176" y="1580228"/>
                  <a:pt x="2039658" y="1580228"/>
                </a:cubicBezTo>
                <a:close/>
                <a:moveTo>
                  <a:pt x="9068807" y="1459958"/>
                </a:moveTo>
                <a:cubicBezTo>
                  <a:pt x="9099289" y="1459958"/>
                  <a:pt x="9123999" y="1484668"/>
                  <a:pt x="9123999" y="1515149"/>
                </a:cubicBezTo>
                <a:cubicBezTo>
                  <a:pt x="9123999" y="1545630"/>
                  <a:pt x="9099289" y="1570340"/>
                  <a:pt x="9068807" y="1570340"/>
                </a:cubicBezTo>
                <a:cubicBezTo>
                  <a:pt x="9038325" y="1570340"/>
                  <a:pt x="9013615" y="1545630"/>
                  <a:pt x="9013615" y="1515149"/>
                </a:cubicBezTo>
                <a:cubicBezTo>
                  <a:pt x="9013615" y="1484668"/>
                  <a:pt x="9038325" y="1459958"/>
                  <a:pt x="9068807" y="1459958"/>
                </a:cubicBezTo>
                <a:close/>
                <a:moveTo>
                  <a:pt x="8671244" y="1459958"/>
                </a:moveTo>
                <a:cubicBezTo>
                  <a:pt x="8701726" y="1459958"/>
                  <a:pt x="8726436" y="1484668"/>
                  <a:pt x="8726436" y="1515149"/>
                </a:cubicBezTo>
                <a:cubicBezTo>
                  <a:pt x="8726436" y="1545630"/>
                  <a:pt x="8701726" y="1570340"/>
                  <a:pt x="8671244" y="1570340"/>
                </a:cubicBezTo>
                <a:cubicBezTo>
                  <a:pt x="8640762" y="1570340"/>
                  <a:pt x="8616052" y="1545630"/>
                  <a:pt x="8616052" y="1515149"/>
                </a:cubicBezTo>
                <a:cubicBezTo>
                  <a:pt x="8616052" y="1484668"/>
                  <a:pt x="8640762" y="1459958"/>
                  <a:pt x="8671244" y="1459958"/>
                </a:cubicBezTo>
                <a:close/>
                <a:moveTo>
                  <a:pt x="8537612" y="1459958"/>
                </a:moveTo>
                <a:cubicBezTo>
                  <a:pt x="8568094" y="1459958"/>
                  <a:pt x="8592804" y="1484668"/>
                  <a:pt x="8592804" y="1515149"/>
                </a:cubicBezTo>
                <a:cubicBezTo>
                  <a:pt x="8592804" y="1545630"/>
                  <a:pt x="8568094" y="1570340"/>
                  <a:pt x="8537612" y="1570340"/>
                </a:cubicBezTo>
                <a:cubicBezTo>
                  <a:pt x="8507130" y="1570340"/>
                  <a:pt x="8482420" y="1545630"/>
                  <a:pt x="8482420" y="1515149"/>
                </a:cubicBezTo>
                <a:cubicBezTo>
                  <a:pt x="8482420" y="1484668"/>
                  <a:pt x="8507130" y="1459958"/>
                  <a:pt x="8537612" y="1459958"/>
                </a:cubicBezTo>
                <a:close/>
                <a:moveTo>
                  <a:pt x="8407316" y="1459958"/>
                </a:moveTo>
                <a:cubicBezTo>
                  <a:pt x="8437798" y="1459958"/>
                  <a:pt x="8462508" y="1484668"/>
                  <a:pt x="8462508" y="1515149"/>
                </a:cubicBezTo>
                <a:cubicBezTo>
                  <a:pt x="8462508" y="1545630"/>
                  <a:pt x="8437798" y="1570340"/>
                  <a:pt x="8407316" y="1570340"/>
                </a:cubicBezTo>
                <a:cubicBezTo>
                  <a:pt x="8376834" y="1570340"/>
                  <a:pt x="8352124" y="1545630"/>
                  <a:pt x="8352124" y="1515149"/>
                </a:cubicBezTo>
                <a:cubicBezTo>
                  <a:pt x="8352124" y="1484668"/>
                  <a:pt x="8376834" y="1459958"/>
                  <a:pt x="8407316" y="1459958"/>
                </a:cubicBezTo>
                <a:close/>
                <a:moveTo>
                  <a:pt x="8273682" y="1459958"/>
                </a:moveTo>
                <a:cubicBezTo>
                  <a:pt x="8304164" y="1459958"/>
                  <a:pt x="8328874" y="1484668"/>
                  <a:pt x="8328874" y="1515149"/>
                </a:cubicBezTo>
                <a:cubicBezTo>
                  <a:pt x="8328874" y="1545630"/>
                  <a:pt x="8304164" y="1570340"/>
                  <a:pt x="8273682" y="1570340"/>
                </a:cubicBezTo>
                <a:cubicBezTo>
                  <a:pt x="8243200" y="1570340"/>
                  <a:pt x="8218490" y="1545630"/>
                  <a:pt x="8218490" y="1515149"/>
                </a:cubicBezTo>
                <a:cubicBezTo>
                  <a:pt x="8218490" y="1484668"/>
                  <a:pt x="8243200" y="1459958"/>
                  <a:pt x="8273682" y="1459958"/>
                </a:cubicBezTo>
                <a:close/>
                <a:moveTo>
                  <a:pt x="8143388" y="1459958"/>
                </a:moveTo>
                <a:cubicBezTo>
                  <a:pt x="8173870" y="1459958"/>
                  <a:pt x="8198580" y="1484668"/>
                  <a:pt x="8198580" y="1515149"/>
                </a:cubicBezTo>
                <a:cubicBezTo>
                  <a:pt x="8198580" y="1545630"/>
                  <a:pt x="8173870" y="1570340"/>
                  <a:pt x="8143388" y="1570340"/>
                </a:cubicBezTo>
                <a:cubicBezTo>
                  <a:pt x="8112906" y="1570340"/>
                  <a:pt x="8088196" y="1545630"/>
                  <a:pt x="8088196" y="1515149"/>
                </a:cubicBezTo>
                <a:cubicBezTo>
                  <a:pt x="8088196" y="1484668"/>
                  <a:pt x="8112906" y="1459958"/>
                  <a:pt x="8143388" y="1459958"/>
                </a:cubicBezTo>
                <a:close/>
                <a:moveTo>
                  <a:pt x="8009753" y="1459958"/>
                </a:moveTo>
                <a:cubicBezTo>
                  <a:pt x="8040235" y="1459958"/>
                  <a:pt x="8064945" y="1484668"/>
                  <a:pt x="8064945" y="1515149"/>
                </a:cubicBezTo>
                <a:cubicBezTo>
                  <a:pt x="8064945" y="1545630"/>
                  <a:pt x="8040235" y="1570340"/>
                  <a:pt x="8009753" y="1570340"/>
                </a:cubicBezTo>
                <a:cubicBezTo>
                  <a:pt x="7979271" y="1570340"/>
                  <a:pt x="7954561" y="1545630"/>
                  <a:pt x="7954561" y="1515149"/>
                </a:cubicBezTo>
                <a:cubicBezTo>
                  <a:pt x="7954561" y="1484668"/>
                  <a:pt x="7979271" y="1459958"/>
                  <a:pt x="8009753" y="1459958"/>
                </a:cubicBezTo>
                <a:close/>
                <a:moveTo>
                  <a:pt x="7876118" y="1459958"/>
                </a:moveTo>
                <a:cubicBezTo>
                  <a:pt x="7906600" y="1459958"/>
                  <a:pt x="7931310" y="1484668"/>
                  <a:pt x="7931310" y="1515149"/>
                </a:cubicBezTo>
                <a:cubicBezTo>
                  <a:pt x="7931310" y="1545630"/>
                  <a:pt x="7906600" y="1570340"/>
                  <a:pt x="7876118" y="1570340"/>
                </a:cubicBezTo>
                <a:cubicBezTo>
                  <a:pt x="7845636" y="1570340"/>
                  <a:pt x="7820926" y="1545630"/>
                  <a:pt x="7820926" y="1515149"/>
                </a:cubicBezTo>
                <a:cubicBezTo>
                  <a:pt x="7820926" y="1484668"/>
                  <a:pt x="7845636" y="1459958"/>
                  <a:pt x="7876118" y="1459958"/>
                </a:cubicBezTo>
                <a:close/>
                <a:moveTo>
                  <a:pt x="7745823" y="1459958"/>
                </a:moveTo>
                <a:cubicBezTo>
                  <a:pt x="7776305" y="1459958"/>
                  <a:pt x="7801015" y="1484668"/>
                  <a:pt x="7801015" y="1515149"/>
                </a:cubicBezTo>
                <a:cubicBezTo>
                  <a:pt x="7801015" y="1545630"/>
                  <a:pt x="7776305" y="1570340"/>
                  <a:pt x="7745823" y="1570340"/>
                </a:cubicBezTo>
                <a:cubicBezTo>
                  <a:pt x="7715341" y="1570340"/>
                  <a:pt x="7690631" y="1545630"/>
                  <a:pt x="7690631" y="1515149"/>
                </a:cubicBezTo>
                <a:cubicBezTo>
                  <a:pt x="7690631" y="1484668"/>
                  <a:pt x="7715341" y="1459958"/>
                  <a:pt x="7745823" y="1459958"/>
                </a:cubicBezTo>
                <a:close/>
                <a:moveTo>
                  <a:pt x="7608849" y="1459958"/>
                </a:moveTo>
                <a:cubicBezTo>
                  <a:pt x="7639331" y="1459958"/>
                  <a:pt x="7664041" y="1484668"/>
                  <a:pt x="7664041" y="1515149"/>
                </a:cubicBezTo>
                <a:cubicBezTo>
                  <a:pt x="7664041" y="1545630"/>
                  <a:pt x="7639331" y="1570340"/>
                  <a:pt x="7608849" y="1570340"/>
                </a:cubicBezTo>
                <a:cubicBezTo>
                  <a:pt x="7578367" y="1570340"/>
                  <a:pt x="7553657" y="1545630"/>
                  <a:pt x="7553657" y="1515149"/>
                </a:cubicBezTo>
                <a:cubicBezTo>
                  <a:pt x="7553657" y="1484668"/>
                  <a:pt x="7578367" y="1459958"/>
                  <a:pt x="7608849" y="1459958"/>
                </a:cubicBezTo>
                <a:close/>
                <a:moveTo>
                  <a:pt x="7481897" y="1459958"/>
                </a:moveTo>
                <a:cubicBezTo>
                  <a:pt x="7512379" y="1459958"/>
                  <a:pt x="7537089" y="1484668"/>
                  <a:pt x="7537089" y="1515149"/>
                </a:cubicBezTo>
                <a:cubicBezTo>
                  <a:pt x="7537089" y="1545630"/>
                  <a:pt x="7512379" y="1570340"/>
                  <a:pt x="7481897" y="1570340"/>
                </a:cubicBezTo>
                <a:cubicBezTo>
                  <a:pt x="7451415" y="1570340"/>
                  <a:pt x="7426705" y="1545630"/>
                  <a:pt x="7426705" y="1515149"/>
                </a:cubicBezTo>
                <a:cubicBezTo>
                  <a:pt x="7426705" y="1484668"/>
                  <a:pt x="7451415" y="1459958"/>
                  <a:pt x="7481897" y="1459958"/>
                </a:cubicBezTo>
                <a:close/>
                <a:moveTo>
                  <a:pt x="7341579" y="1459958"/>
                </a:moveTo>
                <a:cubicBezTo>
                  <a:pt x="7372061" y="1459958"/>
                  <a:pt x="7396771" y="1484668"/>
                  <a:pt x="7396771" y="1515149"/>
                </a:cubicBezTo>
                <a:cubicBezTo>
                  <a:pt x="7396771" y="1545630"/>
                  <a:pt x="7372061" y="1570340"/>
                  <a:pt x="7341579" y="1570340"/>
                </a:cubicBezTo>
                <a:cubicBezTo>
                  <a:pt x="7311097" y="1570340"/>
                  <a:pt x="7286387" y="1545630"/>
                  <a:pt x="7286387" y="1515149"/>
                </a:cubicBezTo>
                <a:cubicBezTo>
                  <a:pt x="7286387" y="1484668"/>
                  <a:pt x="7311097" y="1459958"/>
                  <a:pt x="7341579" y="1459958"/>
                </a:cubicBezTo>
                <a:close/>
                <a:moveTo>
                  <a:pt x="7211286" y="1459958"/>
                </a:moveTo>
                <a:cubicBezTo>
                  <a:pt x="7241768" y="1459958"/>
                  <a:pt x="7266478" y="1484668"/>
                  <a:pt x="7266478" y="1515149"/>
                </a:cubicBezTo>
                <a:cubicBezTo>
                  <a:pt x="7266478" y="1545630"/>
                  <a:pt x="7241768" y="1570340"/>
                  <a:pt x="7211286" y="1570340"/>
                </a:cubicBezTo>
                <a:cubicBezTo>
                  <a:pt x="7180804" y="1570340"/>
                  <a:pt x="7156094" y="1545630"/>
                  <a:pt x="7156094" y="1515149"/>
                </a:cubicBezTo>
                <a:cubicBezTo>
                  <a:pt x="7156094" y="1484668"/>
                  <a:pt x="7180804" y="1459958"/>
                  <a:pt x="7211286" y="1459958"/>
                </a:cubicBezTo>
                <a:close/>
                <a:moveTo>
                  <a:pt x="7080993" y="1459958"/>
                </a:moveTo>
                <a:cubicBezTo>
                  <a:pt x="7111475" y="1459958"/>
                  <a:pt x="7136185" y="1484668"/>
                  <a:pt x="7136185" y="1515149"/>
                </a:cubicBezTo>
                <a:cubicBezTo>
                  <a:pt x="7136185" y="1545630"/>
                  <a:pt x="7111475" y="1570340"/>
                  <a:pt x="7080993" y="1570340"/>
                </a:cubicBezTo>
                <a:cubicBezTo>
                  <a:pt x="7050511" y="1570340"/>
                  <a:pt x="7025801" y="1545630"/>
                  <a:pt x="7025801" y="1515149"/>
                </a:cubicBezTo>
                <a:cubicBezTo>
                  <a:pt x="7025801" y="1484668"/>
                  <a:pt x="7050511" y="1459958"/>
                  <a:pt x="7080993" y="1459958"/>
                </a:cubicBezTo>
                <a:close/>
                <a:moveTo>
                  <a:pt x="6947357" y="1459958"/>
                </a:moveTo>
                <a:cubicBezTo>
                  <a:pt x="6977839" y="1459958"/>
                  <a:pt x="7002549" y="1484668"/>
                  <a:pt x="7002549" y="1515149"/>
                </a:cubicBezTo>
                <a:cubicBezTo>
                  <a:pt x="7002549" y="1545630"/>
                  <a:pt x="6977839" y="1570340"/>
                  <a:pt x="6947357" y="1570340"/>
                </a:cubicBezTo>
                <a:cubicBezTo>
                  <a:pt x="6916875" y="1570340"/>
                  <a:pt x="6892165" y="1545630"/>
                  <a:pt x="6892165" y="1515149"/>
                </a:cubicBezTo>
                <a:cubicBezTo>
                  <a:pt x="6892165" y="1484668"/>
                  <a:pt x="6916875" y="1459958"/>
                  <a:pt x="6947357" y="1459958"/>
                </a:cubicBezTo>
                <a:close/>
                <a:moveTo>
                  <a:pt x="6817064" y="1459958"/>
                </a:moveTo>
                <a:cubicBezTo>
                  <a:pt x="6847546" y="1459958"/>
                  <a:pt x="6872256" y="1484668"/>
                  <a:pt x="6872256" y="1515149"/>
                </a:cubicBezTo>
                <a:cubicBezTo>
                  <a:pt x="6872256" y="1545630"/>
                  <a:pt x="6847546" y="1570340"/>
                  <a:pt x="6817064" y="1570340"/>
                </a:cubicBezTo>
                <a:cubicBezTo>
                  <a:pt x="6786582" y="1570340"/>
                  <a:pt x="6761872" y="1545630"/>
                  <a:pt x="6761872" y="1515149"/>
                </a:cubicBezTo>
                <a:cubicBezTo>
                  <a:pt x="6761872" y="1484668"/>
                  <a:pt x="6786582" y="1459958"/>
                  <a:pt x="6817064" y="1459958"/>
                </a:cubicBezTo>
                <a:close/>
                <a:moveTo>
                  <a:pt x="6683431" y="1459958"/>
                </a:moveTo>
                <a:cubicBezTo>
                  <a:pt x="6713913" y="1459958"/>
                  <a:pt x="6738623" y="1484668"/>
                  <a:pt x="6738623" y="1515149"/>
                </a:cubicBezTo>
                <a:cubicBezTo>
                  <a:pt x="6738623" y="1545630"/>
                  <a:pt x="6713913" y="1570340"/>
                  <a:pt x="6683431" y="1570340"/>
                </a:cubicBezTo>
                <a:cubicBezTo>
                  <a:pt x="6652949" y="1570340"/>
                  <a:pt x="6628239" y="1545630"/>
                  <a:pt x="6628239" y="1515149"/>
                </a:cubicBezTo>
                <a:cubicBezTo>
                  <a:pt x="6628239" y="1484668"/>
                  <a:pt x="6652949" y="1459958"/>
                  <a:pt x="6683431" y="1459958"/>
                </a:cubicBezTo>
                <a:close/>
                <a:moveTo>
                  <a:pt x="6553137" y="1459958"/>
                </a:moveTo>
                <a:cubicBezTo>
                  <a:pt x="6583619" y="1459958"/>
                  <a:pt x="6608329" y="1484668"/>
                  <a:pt x="6608329" y="1515149"/>
                </a:cubicBezTo>
                <a:cubicBezTo>
                  <a:pt x="6608329" y="1545630"/>
                  <a:pt x="6583619" y="1570340"/>
                  <a:pt x="6553137" y="1570340"/>
                </a:cubicBezTo>
                <a:cubicBezTo>
                  <a:pt x="6522655" y="1570340"/>
                  <a:pt x="6497945" y="1545630"/>
                  <a:pt x="6497945" y="1515149"/>
                </a:cubicBezTo>
                <a:cubicBezTo>
                  <a:pt x="6497945" y="1484668"/>
                  <a:pt x="6522655" y="1459958"/>
                  <a:pt x="6553137" y="1459958"/>
                </a:cubicBezTo>
                <a:close/>
                <a:moveTo>
                  <a:pt x="6419502" y="1459958"/>
                </a:moveTo>
                <a:cubicBezTo>
                  <a:pt x="6449984" y="1459958"/>
                  <a:pt x="6474694" y="1484668"/>
                  <a:pt x="6474694" y="1515149"/>
                </a:cubicBezTo>
                <a:cubicBezTo>
                  <a:pt x="6474694" y="1545630"/>
                  <a:pt x="6449984" y="1570340"/>
                  <a:pt x="6419502" y="1570340"/>
                </a:cubicBezTo>
                <a:cubicBezTo>
                  <a:pt x="6389020" y="1570340"/>
                  <a:pt x="6364310" y="1545630"/>
                  <a:pt x="6364310" y="1515149"/>
                </a:cubicBezTo>
                <a:cubicBezTo>
                  <a:pt x="6364310" y="1484668"/>
                  <a:pt x="6389020" y="1459958"/>
                  <a:pt x="6419502" y="1459958"/>
                </a:cubicBezTo>
                <a:close/>
                <a:moveTo>
                  <a:pt x="6289207" y="1459958"/>
                </a:moveTo>
                <a:cubicBezTo>
                  <a:pt x="6319689" y="1459958"/>
                  <a:pt x="6344399" y="1484668"/>
                  <a:pt x="6344399" y="1515149"/>
                </a:cubicBezTo>
                <a:cubicBezTo>
                  <a:pt x="6344399" y="1545630"/>
                  <a:pt x="6319689" y="1570340"/>
                  <a:pt x="6289207" y="1570340"/>
                </a:cubicBezTo>
                <a:cubicBezTo>
                  <a:pt x="6258725" y="1570340"/>
                  <a:pt x="6234015" y="1545630"/>
                  <a:pt x="6234015" y="1515149"/>
                </a:cubicBezTo>
                <a:cubicBezTo>
                  <a:pt x="6234015" y="1484668"/>
                  <a:pt x="6258725" y="1459958"/>
                  <a:pt x="6289207" y="1459958"/>
                </a:cubicBezTo>
                <a:close/>
                <a:moveTo>
                  <a:pt x="6155573" y="1459958"/>
                </a:moveTo>
                <a:cubicBezTo>
                  <a:pt x="6186055" y="1459958"/>
                  <a:pt x="6210765" y="1484668"/>
                  <a:pt x="6210765" y="1515149"/>
                </a:cubicBezTo>
                <a:cubicBezTo>
                  <a:pt x="6210765" y="1545630"/>
                  <a:pt x="6186055" y="1570340"/>
                  <a:pt x="6155573" y="1570340"/>
                </a:cubicBezTo>
                <a:cubicBezTo>
                  <a:pt x="6125091" y="1570340"/>
                  <a:pt x="6100381" y="1545630"/>
                  <a:pt x="6100381" y="1515149"/>
                </a:cubicBezTo>
                <a:cubicBezTo>
                  <a:pt x="6100381" y="1484668"/>
                  <a:pt x="6125091" y="1459958"/>
                  <a:pt x="6155573" y="1459958"/>
                </a:cubicBezTo>
                <a:close/>
                <a:moveTo>
                  <a:pt x="6021939" y="1459958"/>
                </a:moveTo>
                <a:cubicBezTo>
                  <a:pt x="6052421" y="1459958"/>
                  <a:pt x="6077131" y="1484668"/>
                  <a:pt x="6077131" y="1515149"/>
                </a:cubicBezTo>
                <a:cubicBezTo>
                  <a:pt x="6077131" y="1545630"/>
                  <a:pt x="6052421" y="1570340"/>
                  <a:pt x="6021939" y="1570340"/>
                </a:cubicBezTo>
                <a:cubicBezTo>
                  <a:pt x="5991457" y="1570340"/>
                  <a:pt x="5966747" y="1545630"/>
                  <a:pt x="5966747" y="1515149"/>
                </a:cubicBezTo>
                <a:cubicBezTo>
                  <a:pt x="5966747" y="1484668"/>
                  <a:pt x="5991457" y="1459958"/>
                  <a:pt x="6021939" y="1459958"/>
                </a:cubicBezTo>
                <a:close/>
                <a:moveTo>
                  <a:pt x="5884964" y="1459958"/>
                </a:moveTo>
                <a:cubicBezTo>
                  <a:pt x="5915446" y="1459958"/>
                  <a:pt x="5940156" y="1484668"/>
                  <a:pt x="5940156" y="1515149"/>
                </a:cubicBezTo>
                <a:cubicBezTo>
                  <a:pt x="5940156" y="1545630"/>
                  <a:pt x="5915446" y="1570340"/>
                  <a:pt x="5884964" y="1570340"/>
                </a:cubicBezTo>
                <a:cubicBezTo>
                  <a:pt x="5854482" y="1570340"/>
                  <a:pt x="5829772" y="1545630"/>
                  <a:pt x="5829772" y="1515149"/>
                </a:cubicBezTo>
                <a:cubicBezTo>
                  <a:pt x="5829772" y="1484668"/>
                  <a:pt x="5854482" y="1459958"/>
                  <a:pt x="5884964" y="1459958"/>
                </a:cubicBezTo>
                <a:close/>
                <a:moveTo>
                  <a:pt x="5754668" y="1459958"/>
                </a:moveTo>
                <a:cubicBezTo>
                  <a:pt x="5785150" y="1459958"/>
                  <a:pt x="5809860" y="1484668"/>
                  <a:pt x="5809860" y="1515149"/>
                </a:cubicBezTo>
                <a:cubicBezTo>
                  <a:pt x="5809860" y="1545630"/>
                  <a:pt x="5785150" y="1570340"/>
                  <a:pt x="5754668" y="1570340"/>
                </a:cubicBezTo>
                <a:cubicBezTo>
                  <a:pt x="5724186" y="1570340"/>
                  <a:pt x="5699476" y="1545630"/>
                  <a:pt x="5699476" y="1515149"/>
                </a:cubicBezTo>
                <a:cubicBezTo>
                  <a:pt x="5699476" y="1484668"/>
                  <a:pt x="5724186" y="1459958"/>
                  <a:pt x="5754668" y="1459958"/>
                </a:cubicBezTo>
                <a:close/>
                <a:moveTo>
                  <a:pt x="5621034" y="1459958"/>
                </a:moveTo>
                <a:cubicBezTo>
                  <a:pt x="5651516" y="1459958"/>
                  <a:pt x="5676226" y="1484668"/>
                  <a:pt x="5676226" y="1515149"/>
                </a:cubicBezTo>
                <a:cubicBezTo>
                  <a:pt x="5676226" y="1545630"/>
                  <a:pt x="5651516" y="1570340"/>
                  <a:pt x="5621034" y="1570340"/>
                </a:cubicBezTo>
                <a:cubicBezTo>
                  <a:pt x="5590552" y="1570340"/>
                  <a:pt x="5565842" y="1545630"/>
                  <a:pt x="5565842" y="1515149"/>
                </a:cubicBezTo>
                <a:cubicBezTo>
                  <a:pt x="5565842" y="1484668"/>
                  <a:pt x="5590552" y="1459958"/>
                  <a:pt x="5621034" y="1459958"/>
                </a:cubicBezTo>
                <a:close/>
                <a:moveTo>
                  <a:pt x="5487399" y="1459958"/>
                </a:moveTo>
                <a:cubicBezTo>
                  <a:pt x="5517881" y="1459958"/>
                  <a:pt x="5542591" y="1484668"/>
                  <a:pt x="5542591" y="1515149"/>
                </a:cubicBezTo>
                <a:cubicBezTo>
                  <a:pt x="5542591" y="1545630"/>
                  <a:pt x="5517881" y="1570340"/>
                  <a:pt x="5487399" y="1570340"/>
                </a:cubicBezTo>
                <a:cubicBezTo>
                  <a:pt x="5456917" y="1570340"/>
                  <a:pt x="5432207" y="1545630"/>
                  <a:pt x="5432207" y="1515149"/>
                </a:cubicBezTo>
                <a:cubicBezTo>
                  <a:pt x="5432207" y="1484668"/>
                  <a:pt x="5456917" y="1459958"/>
                  <a:pt x="5487399" y="1459958"/>
                </a:cubicBezTo>
                <a:close/>
                <a:moveTo>
                  <a:pt x="5357106" y="1459958"/>
                </a:moveTo>
                <a:cubicBezTo>
                  <a:pt x="5387588" y="1459958"/>
                  <a:pt x="5412298" y="1484668"/>
                  <a:pt x="5412298" y="1515149"/>
                </a:cubicBezTo>
                <a:cubicBezTo>
                  <a:pt x="5412298" y="1545630"/>
                  <a:pt x="5387588" y="1570340"/>
                  <a:pt x="5357106" y="1570340"/>
                </a:cubicBezTo>
                <a:cubicBezTo>
                  <a:pt x="5326624" y="1570340"/>
                  <a:pt x="5301914" y="1545630"/>
                  <a:pt x="5301914" y="1515149"/>
                </a:cubicBezTo>
                <a:cubicBezTo>
                  <a:pt x="5301914" y="1484668"/>
                  <a:pt x="5326624" y="1459958"/>
                  <a:pt x="5357106" y="1459958"/>
                </a:cubicBezTo>
                <a:close/>
                <a:moveTo>
                  <a:pt x="5223473" y="1459958"/>
                </a:moveTo>
                <a:cubicBezTo>
                  <a:pt x="5253955" y="1459958"/>
                  <a:pt x="5278665" y="1484668"/>
                  <a:pt x="5278665" y="1515149"/>
                </a:cubicBezTo>
                <a:cubicBezTo>
                  <a:pt x="5278665" y="1545630"/>
                  <a:pt x="5253955" y="1570340"/>
                  <a:pt x="5223473" y="1570340"/>
                </a:cubicBezTo>
                <a:cubicBezTo>
                  <a:pt x="5192991" y="1570340"/>
                  <a:pt x="5168281" y="1545630"/>
                  <a:pt x="5168281" y="1515149"/>
                </a:cubicBezTo>
                <a:cubicBezTo>
                  <a:pt x="5168281" y="1484668"/>
                  <a:pt x="5192991" y="1459958"/>
                  <a:pt x="5223473" y="1459958"/>
                </a:cubicBezTo>
                <a:close/>
                <a:moveTo>
                  <a:pt x="5093178" y="1459958"/>
                </a:moveTo>
                <a:cubicBezTo>
                  <a:pt x="5123660" y="1459958"/>
                  <a:pt x="5148370" y="1484668"/>
                  <a:pt x="5148370" y="1515149"/>
                </a:cubicBezTo>
                <a:cubicBezTo>
                  <a:pt x="5148370" y="1545630"/>
                  <a:pt x="5123660" y="1570340"/>
                  <a:pt x="5093178" y="1570340"/>
                </a:cubicBezTo>
                <a:cubicBezTo>
                  <a:pt x="5062696" y="1570340"/>
                  <a:pt x="5037986" y="1545630"/>
                  <a:pt x="5037986" y="1515149"/>
                </a:cubicBezTo>
                <a:cubicBezTo>
                  <a:pt x="5037986" y="1484668"/>
                  <a:pt x="5062696" y="1459958"/>
                  <a:pt x="5093178" y="1459958"/>
                </a:cubicBezTo>
                <a:close/>
                <a:moveTo>
                  <a:pt x="4959542" y="1459958"/>
                </a:moveTo>
                <a:cubicBezTo>
                  <a:pt x="4990024" y="1459958"/>
                  <a:pt x="5014734" y="1484668"/>
                  <a:pt x="5014734" y="1515149"/>
                </a:cubicBezTo>
                <a:cubicBezTo>
                  <a:pt x="5014734" y="1545630"/>
                  <a:pt x="4990024" y="1570340"/>
                  <a:pt x="4959542" y="1570340"/>
                </a:cubicBezTo>
                <a:cubicBezTo>
                  <a:pt x="4929060" y="1570340"/>
                  <a:pt x="4904350" y="1545630"/>
                  <a:pt x="4904350" y="1515149"/>
                </a:cubicBezTo>
                <a:cubicBezTo>
                  <a:pt x="4904350" y="1484668"/>
                  <a:pt x="4929060" y="1459958"/>
                  <a:pt x="4959542" y="1459958"/>
                </a:cubicBezTo>
                <a:close/>
                <a:moveTo>
                  <a:pt x="4829250" y="1459958"/>
                </a:moveTo>
                <a:cubicBezTo>
                  <a:pt x="4859732" y="1459958"/>
                  <a:pt x="4884442" y="1484668"/>
                  <a:pt x="4884442" y="1515149"/>
                </a:cubicBezTo>
                <a:cubicBezTo>
                  <a:pt x="4884442" y="1545630"/>
                  <a:pt x="4859732" y="1570340"/>
                  <a:pt x="4829250" y="1570340"/>
                </a:cubicBezTo>
                <a:cubicBezTo>
                  <a:pt x="4798768" y="1570340"/>
                  <a:pt x="4774058" y="1545630"/>
                  <a:pt x="4774058" y="1515149"/>
                </a:cubicBezTo>
                <a:cubicBezTo>
                  <a:pt x="4774058" y="1484668"/>
                  <a:pt x="4798768" y="1459958"/>
                  <a:pt x="4829250" y="1459958"/>
                </a:cubicBezTo>
                <a:close/>
                <a:moveTo>
                  <a:pt x="4695614" y="1459958"/>
                </a:moveTo>
                <a:cubicBezTo>
                  <a:pt x="4726096" y="1459958"/>
                  <a:pt x="4750806" y="1484668"/>
                  <a:pt x="4750806" y="1515149"/>
                </a:cubicBezTo>
                <a:cubicBezTo>
                  <a:pt x="4750806" y="1545630"/>
                  <a:pt x="4726096" y="1570340"/>
                  <a:pt x="4695614" y="1570340"/>
                </a:cubicBezTo>
                <a:cubicBezTo>
                  <a:pt x="4665132" y="1570340"/>
                  <a:pt x="4640422" y="1545630"/>
                  <a:pt x="4640422" y="1515149"/>
                </a:cubicBezTo>
                <a:cubicBezTo>
                  <a:pt x="4640422" y="1484668"/>
                  <a:pt x="4665132" y="1459958"/>
                  <a:pt x="4695614" y="1459958"/>
                </a:cubicBezTo>
                <a:close/>
                <a:moveTo>
                  <a:pt x="4565322" y="1459958"/>
                </a:moveTo>
                <a:cubicBezTo>
                  <a:pt x="4595804" y="1459958"/>
                  <a:pt x="4620514" y="1484668"/>
                  <a:pt x="4620514" y="1515149"/>
                </a:cubicBezTo>
                <a:cubicBezTo>
                  <a:pt x="4620514" y="1545630"/>
                  <a:pt x="4595804" y="1570340"/>
                  <a:pt x="4565322" y="1570340"/>
                </a:cubicBezTo>
                <a:cubicBezTo>
                  <a:pt x="4534840" y="1570340"/>
                  <a:pt x="4510130" y="1545630"/>
                  <a:pt x="4510130" y="1515149"/>
                </a:cubicBezTo>
                <a:cubicBezTo>
                  <a:pt x="4510130" y="1484668"/>
                  <a:pt x="4534840" y="1459958"/>
                  <a:pt x="4565322" y="1459958"/>
                </a:cubicBezTo>
                <a:close/>
                <a:moveTo>
                  <a:pt x="4431687" y="1459958"/>
                </a:moveTo>
                <a:cubicBezTo>
                  <a:pt x="4462169" y="1459958"/>
                  <a:pt x="4486879" y="1484668"/>
                  <a:pt x="4486879" y="1515149"/>
                </a:cubicBezTo>
                <a:cubicBezTo>
                  <a:pt x="4486879" y="1545630"/>
                  <a:pt x="4462169" y="1570340"/>
                  <a:pt x="4431687" y="1570340"/>
                </a:cubicBezTo>
                <a:cubicBezTo>
                  <a:pt x="4401205" y="1570340"/>
                  <a:pt x="4376495" y="1545630"/>
                  <a:pt x="4376495" y="1515149"/>
                </a:cubicBezTo>
                <a:cubicBezTo>
                  <a:pt x="4376495" y="1484668"/>
                  <a:pt x="4401205" y="1459958"/>
                  <a:pt x="4431687" y="1459958"/>
                </a:cubicBezTo>
                <a:close/>
                <a:moveTo>
                  <a:pt x="3098681" y="1459958"/>
                </a:moveTo>
                <a:cubicBezTo>
                  <a:pt x="3129163" y="1459958"/>
                  <a:pt x="3153873" y="1484668"/>
                  <a:pt x="3153873" y="1515149"/>
                </a:cubicBezTo>
                <a:cubicBezTo>
                  <a:pt x="3153873" y="1545630"/>
                  <a:pt x="3129163" y="1570340"/>
                  <a:pt x="3098681" y="1570340"/>
                </a:cubicBezTo>
                <a:cubicBezTo>
                  <a:pt x="3068199" y="1570340"/>
                  <a:pt x="3043489" y="1545630"/>
                  <a:pt x="3043489" y="1515149"/>
                </a:cubicBezTo>
                <a:cubicBezTo>
                  <a:pt x="3043489" y="1484668"/>
                  <a:pt x="3068199" y="1459958"/>
                  <a:pt x="3098681" y="1459958"/>
                </a:cubicBezTo>
                <a:close/>
                <a:moveTo>
                  <a:pt x="2971729" y="1459958"/>
                </a:moveTo>
                <a:cubicBezTo>
                  <a:pt x="3002211" y="1459958"/>
                  <a:pt x="3026921" y="1484668"/>
                  <a:pt x="3026921" y="1515149"/>
                </a:cubicBezTo>
                <a:cubicBezTo>
                  <a:pt x="3026921" y="1545630"/>
                  <a:pt x="3002211" y="1570340"/>
                  <a:pt x="2971729" y="1570340"/>
                </a:cubicBezTo>
                <a:cubicBezTo>
                  <a:pt x="2941247" y="1570340"/>
                  <a:pt x="2916537" y="1545630"/>
                  <a:pt x="2916537" y="1515149"/>
                </a:cubicBezTo>
                <a:cubicBezTo>
                  <a:pt x="2916537" y="1484668"/>
                  <a:pt x="2941247" y="1459958"/>
                  <a:pt x="2971729" y="1459958"/>
                </a:cubicBezTo>
                <a:close/>
                <a:moveTo>
                  <a:pt x="2834792" y="1459958"/>
                </a:moveTo>
                <a:cubicBezTo>
                  <a:pt x="2865274" y="1459958"/>
                  <a:pt x="2889984" y="1484668"/>
                  <a:pt x="2889984" y="1515149"/>
                </a:cubicBezTo>
                <a:cubicBezTo>
                  <a:pt x="2889984" y="1545630"/>
                  <a:pt x="2865274" y="1570340"/>
                  <a:pt x="2834792" y="1570340"/>
                </a:cubicBezTo>
                <a:cubicBezTo>
                  <a:pt x="2804310" y="1570340"/>
                  <a:pt x="2779600" y="1545630"/>
                  <a:pt x="2779600" y="1515149"/>
                </a:cubicBezTo>
                <a:cubicBezTo>
                  <a:pt x="2779600" y="1484668"/>
                  <a:pt x="2804310" y="1459958"/>
                  <a:pt x="2834792" y="1459958"/>
                </a:cubicBezTo>
                <a:close/>
                <a:moveTo>
                  <a:pt x="2707839" y="1459958"/>
                </a:moveTo>
                <a:cubicBezTo>
                  <a:pt x="2738320" y="1459958"/>
                  <a:pt x="2763031" y="1484668"/>
                  <a:pt x="2763031" y="1515149"/>
                </a:cubicBezTo>
                <a:cubicBezTo>
                  <a:pt x="2763031" y="1545630"/>
                  <a:pt x="2738320" y="1570340"/>
                  <a:pt x="2707839" y="1570340"/>
                </a:cubicBezTo>
                <a:cubicBezTo>
                  <a:pt x="2677357" y="1570340"/>
                  <a:pt x="2652646" y="1545630"/>
                  <a:pt x="2652646" y="1515149"/>
                </a:cubicBezTo>
                <a:cubicBezTo>
                  <a:pt x="2652646" y="1484668"/>
                  <a:pt x="2677357" y="1459958"/>
                  <a:pt x="2707839" y="1459958"/>
                </a:cubicBezTo>
                <a:close/>
                <a:moveTo>
                  <a:pt x="2570864" y="1459958"/>
                </a:moveTo>
                <a:cubicBezTo>
                  <a:pt x="2601346" y="1459958"/>
                  <a:pt x="2626056" y="1484668"/>
                  <a:pt x="2626056" y="1515149"/>
                </a:cubicBezTo>
                <a:cubicBezTo>
                  <a:pt x="2626056" y="1545630"/>
                  <a:pt x="2601346" y="1570340"/>
                  <a:pt x="2570864" y="1570340"/>
                </a:cubicBezTo>
                <a:cubicBezTo>
                  <a:pt x="2540381" y="1570340"/>
                  <a:pt x="2515671" y="1545630"/>
                  <a:pt x="2515671" y="1515149"/>
                </a:cubicBezTo>
                <a:cubicBezTo>
                  <a:pt x="2515671" y="1484668"/>
                  <a:pt x="2540381" y="1459958"/>
                  <a:pt x="2570864" y="1459958"/>
                </a:cubicBezTo>
                <a:close/>
                <a:moveTo>
                  <a:pt x="2437228" y="1459958"/>
                </a:moveTo>
                <a:cubicBezTo>
                  <a:pt x="2467711" y="1459958"/>
                  <a:pt x="2492419" y="1484668"/>
                  <a:pt x="2492419" y="1515149"/>
                </a:cubicBezTo>
                <a:cubicBezTo>
                  <a:pt x="2492419" y="1545630"/>
                  <a:pt x="2467711" y="1570340"/>
                  <a:pt x="2437228" y="1570340"/>
                </a:cubicBezTo>
                <a:cubicBezTo>
                  <a:pt x="2406748" y="1570340"/>
                  <a:pt x="2382037" y="1545630"/>
                  <a:pt x="2382037" y="1515149"/>
                </a:cubicBezTo>
                <a:cubicBezTo>
                  <a:pt x="2382037" y="1484668"/>
                  <a:pt x="2406748" y="1459958"/>
                  <a:pt x="2437228" y="1459958"/>
                </a:cubicBezTo>
                <a:close/>
                <a:moveTo>
                  <a:pt x="2303596" y="1459958"/>
                </a:moveTo>
                <a:cubicBezTo>
                  <a:pt x="2334078" y="1459958"/>
                  <a:pt x="2358787" y="1484668"/>
                  <a:pt x="2358787" y="1515149"/>
                </a:cubicBezTo>
                <a:cubicBezTo>
                  <a:pt x="2358787" y="1545630"/>
                  <a:pt x="2334078" y="1570340"/>
                  <a:pt x="2303596" y="1570340"/>
                </a:cubicBezTo>
                <a:cubicBezTo>
                  <a:pt x="2273113" y="1570340"/>
                  <a:pt x="2248404" y="1545630"/>
                  <a:pt x="2248404" y="1515149"/>
                </a:cubicBezTo>
                <a:cubicBezTo>
                  <a:pt x="2248404" y="1484668"/>
                  <a:pt x="2273113" y="1459958"/>
                  <a:pt x="2303596" y="1459958"/>
                </a:cubicBezTo>
                <a:close/>
                <a:moveTo>
                  <a:pt x="2173305" y="1459958"/>
                </a:moveTo>
                <a:cubicBezTo>
                  <a:pt x="2203787" y="1459958"/>
                  <a:pt x="2228497" y="1484668"/>
                  <a:pt x="2228497" y="1515149"/>
                </a:cubicBezTo>
                <a:cubicBezTo>
                  <a:pt x="2228497" y="1545630"/>
                  <a:pt x="2203787" y="1570340"/>
                  <a:pt x="2173305" y="1570340"/>
                </a:cubicBezTo>
                <a:cubicBezTo>
                  <a:pt x="2142822" y="1570340"/>
                  <a:pt x="2118111" y="1545630"/>
                  <a:pt x="2118111" y="1515149"/>
                </a:cubicBezTo>
                <a:cubicBezTo>
                  <a:pt x="2118111" y="1484668"/>
                  <a:pt x="2142822" y="1459958"/>
                  <a:pt x="2173305" y="1459958"/>
                </a:cubicBezTo>
                <a:close/>
                <a:moveTo>
                  <a:pt x="2039668" y="1459958"/>
                </a:moveTo>
                <a:cubicBezTo>
                  <a:pt x="2070150" y="1459958"/>
                  <a:pt x="2094860" y="1484668"/>
                  <a:pt x="2094860" y="1515149"/>
                </a:cubicBezTo>
                <a:cubicBezTo>
                  <a:pt x="2094860" y="1545630"/>
                  <a:pt x="2070150" y="1570340"/>
                  <a:pt x="2039668" y="1570340"/>
                </a:cubicBezTo>
                <a:cubicBezTo>
                  <a:pt x="2009185" y="1570340"/>
                  <a:pt x="1984475" y="1545630"/>
                  <a:pt x="1984475" y="1515149"/>
                </a:cubicBezTo>
                <a:cubicBezTo>
                  <a:pt x="1984475" y="1484668"/>
                  <a:pt x="2009185" y="1459958"/>
                  <a:pt x="2039668" y="1459958"/>
                </a:cubicBezTo>
                <a:close/>
                <a:moveTo>
                  <a:pt x="1909371" y="1459958"/>
                </a:moveTo>
                <a:cubicBezTo>
                  <a:pt x="1939853" y="1459958"/>
                  <a:pt x="1964564" y="1484668"/>
                  <a:pt x="1964564" y="1515149"/>
                </a:cubicBezTo>
                <a:cubicBezTo>
                  <a:pt x="1964564" y="1545630"/>
                  <a:pt x="1939853" y="1570340"/>
                  <a:pt x="1909371" y="1570340"/>
                </a:cubicBezTo>
                <a:cubicBezTo>
                  <a:pt x="1878889" y="1570340"/>
                  <a:pt x="1854178" y="1545630"/>
                  <a:pt x="1854178" y="1515149"/>
                </a:cubicBezTo>
                <a:cubicBezTo>
                  <a:pt x="1854178" y="1484668"/>
                  <a:pt x="1878889" y="1459958"/>
                  <a:pt x="1909371" y="1459958"/>
                </a:cubicBezTo>
                <a:close/>
                <a:moveTo>
                  <a:pt x="1779076" y="1459958"/>
                </a:moveTo>
                <a:cubicBezTo>
                  <a:pt x="1809559" y="1459958"/>
                  <a:pt x="1834269" y="1484668"/>
                  <a:pt x="1834269" y="1515149"/>
                </a:cubicBezTo>
                <a:cubicBezTo>
                  <a:pt x="1834269" y="1545630"/>
                  <a:pt x="1809559" y="1570340"/>
                  <a:pt x="1779076" y="1570340"/>
                </a:cubicBezTo>
                <a:cubicBezTo>
                  <a:pt x="1748595" y="1570340"/>
                  <a:pt x="1723884" y="1545630"/>
                  <a:pt x="1723884" y="1515149"/>
                </a:cubicBezTo>
                <a:cubicBezTo>
                  <a:pt x="1723884" y="1484668"/>
                  <a:pt x="1748595" y="1459958"/>
                  <a:pt x="1779076" y="1459958"/>
                </a:cubicBezTo>
                <a:close/>
                <a:moveTo>
                  <a:pt x="1645440" y="1459958"/>
                </a:moveTo>
                <a:cubicBezTo>
                  <a:pt x="1675922" y="1459958"/>
                  <a:pt x="1700637" y="1484668"/>
                  <a:pt x="1700637" y="1515149"/>
                </a:cubicBezTo>
                <a:cubicBezTo>
                  <a:pt x="1700637" y="1545630"/>
                  <a:pt x="1675922" y="1570340"/>
                  <a:pt x="1645440" y="1570340"/>
                </a:cubicBezTo>
                <a:cubicBezTo>
                  <a:pt x="1614959" y="1570340"/>
                  <a:pt x="1590248" y="1545630"/>
                  <a:pt x="1590248" y="1515149"/>
                </a:cubicBezTo>
                <a:cubicBezTo>
                  <a:pt x="1590248" y="1484668"/>
                  <a:pt x="1614959" y="1459958"/>
                  <a:pt x="1645440" y="1459958"/>
                </a:cubicBezTo>
                <a:close/>
                <a:moveTo>
                  <a:pt x="1515149" y="1459958"/>
                </a:moveTo>
                <a:cubicBezTo>
                  <a:pt x="1545630" y="1459958"/>
                  <a:pt x="1570338" y="1484668"/>
                  <a:pt x="1570338" y="1515149"/>
                </a:cubicBezTo>
                <a:cubicBezTo>
                  <a:pt x="1570338" y="1545630"/>
                  <a:pt x="1545630" y="1570340"/>
                  <a:pt x="1515149" y="1570340"/>
                </a:cubicBezTo>
                <a:cubicBezTo>
                  <a:pt x="1484666" y="1570340"/>
                  <a:pt x="1459956" y="1545630"/>
                  <a:pt x="1459956" y="1515149"/>
                </a:cubicBezTo>
                <a:cubicBezTo>
                  <a:pt x="1459956" y="1484668"/>
                  <a:pt x="1484666" y="1459958"/>
                  <a:pt x="1515149" y="1459958"/>
                </a:cubicBezTo>
                <a:close/>
                <a:moveTo>
                  <a:pt x="1381511" y="1459958"/>
                </a:moveTo>
                <a:cubicBezTo>
                  <a:pt x="1411994" y="1459958"/>
                  <a:pt x="1436705" y="1484668"/>
                  <a:pt x="1436705" y="1515149"/>
                </a:cubicBezTo>
                <a:cubicBezTo>
                  <a:pt x="1436705" y="1545630"/>
                  <a:pt x="1411994" y="1570340"/>
                  <a:pt x="1381511" y="1570340"/>
                </a:cubicBezTo>
                <a:cubicBezTo>
                  <a:pt x="1351035" y="1570340"/>
                  <a:pt x="1326322" y="1545630"/>
                  <a:pt x="1326322" y="1515149"/>
                </a:cubicBezTo>
                <a:cubicBezTo>
                  <a:pt x="1326322" y="1484668"/>
                  <a:pt x="1351035" y="1459958"/>
                  <a:pt x="1381511" y="1459958"/>
                </a:cubicBezTo>
                <a:close/>
                <a:moveTo>
                  <a:pt x="1251220" y="1459958"/>
                </a:moveTo>
                <a:cubicBezTo>
                  <a:pt x="1281702" y="1459958"/>
                  <a:pt x="1306413" y="1484668"/>
                  <a:pt x="1306413" y="1515149"/>
                </a:cubicBezTo>
                <a:cubicBezTo>
                  <a:pt x="1306413" y="1545630"/>
                  <a:pt x="1281702" y="1570340"/>
                  <a:pt x="1251220" y="1570340"/>
                </a:cubicBezTo>
                <a:cubicBezTo>
                  <a:pt x="1220737" y="1570340"/>
                  <a:pt x="1196028" y="1545630"/>
                  <a:pt x="1196028" y="1515149"/>
                </a:cubicBezTo>
                <a:cubicBezTo>
                  <a:pt x="1196028" y="1484668"/>
                  <a:pt x="1220737" y="1459958"/>
                  <a:pt x="1251220" y="1459958"/>
                </a:cubicBezTo>
                <a:close/>
                <a:moveTo>
                  <a:pt x="1117583" y="1459958"/>
                </a:moveTo>
                <a:cubicBezTo>
                  <a:pt x="1148066" y="1459958"/>
                  <a:pt x="1172776" y="1484668"/>
                  <a:pt x="1172776" y="1515149"/>
                </a:cubicBezTo>
                <a:cubicBezTo>
                  <a:pt x="1172776" y="1545630"/>
                  <a:pt x="1148066" y="1570340"/>
                  <a:pt x="1117583" y="1570340"/>
                </a:cubicBezTo>
                <a:cubicBezTo>
                  <a:pt x="1087101" y="1570340"/>
                  <a:pt x="1062390" y="1545630"/>
                  <a:pt x="1062390" y="1515149"/>
                </a:cubicBezTo>
                <a:cubicBezTo>
                  <a:pt x="1062390" y="1484668"/>
                  <a:pt x="1087101" y="1459958"/>
                  <a:pt x="1117583" y="1459958"/>
                </a:cubicBezTo>
                <a:close/>
                <a:moveTo>
                  <a:pt x="980607" y="1459958"/>
                </a:moveTo>
                <a:cubicBezTo>
                  <a:pt x="1011090" y="1459958"/>
                  <a:pt x="1035800" y="1484668"/>
                  <a:pt x="1035800" y="1515149"/>
                </a:cubicBezTo>
                <a:cubicBezTo>
                  <a:pt x="1035800" y="1545630"/>
                  <a:pt x="1011090" y="1570340"/>
                  <a:pt x="980607" y="1570340"/>
                </a:cubicBezTo>
                <a:cubicBezTo>
                  <a:pt x="950125" y="1570340"/>
                  <a:pt x="925415" y="1545630"/>
                  <a:pt x="925415" y="1515149"/>
                </a:cubicBezTo>
                <a:cubicBezTo>
                  <a:pt x="925415" y="1484668"/>
                  <a:pt x="950125" y="1459958"/>
                  <a:pt x="980607" y="1459958"/>
                </a:cubicBezTo>
                <a:close/>
                <a:moveTo>
                  <a:pt x="7608849" y="1336350"/>
                </a:moveTo>
                <a:cubicBezTo>
                  <a:pt x="7639331" y="1336350"/>
                  <a:pt x="7664041" y="1361060"/>
                  <a:pt x="7664041" y="1391541"/>
                </a:cubicBezTo>
                <a:cubicBezTo>
                  <a:pt x="7664041" y="1422022"/>
                  <a:pt x="7639331" y="1446732"/>
                  <a:pt x="7608849" y="1446732"/>
                </a:cubicBezTo>
                <a:cubicBezTo>
                  <a:pt x="7578367" y="1446732"/>
                  <a:pt x="7553657" y="1422022"/>
                  <a:pt x="7553657" y="1391541"/>
                </a:cubicBezTo>
                <a:cubicBezTo>
                  <a:pt x="7553657" y="1361060"/>
                  <a:pt x="7578367" y="1336350"/>
                  <a:pt x="7608849" y="1336350"/>
                </a:cubicBezTo>
                <a:close/>
                <a:moveTo>
                  <a:pt x="7481897" y="1336350"/>
                </a:moveTo>
                <a:cubicBezTo>
                  <a:pt x="7512379" y="1336350"/>
                  <a:pt x="7537089" y="1361060"/>
                  <a:pt x="7537089" y="1391541"/>
                </a:cubicBezTo>
                <a:cubicBezTo>
                  <a:pt x="7537089" y="1422022"/>
                  <a:pt x="7512379" y="1446732"/>
                  <a:pt x="7481897" y="1446732"/>
                </a:cubicBezTo>
                <a:cubicBezTo>
                  <a:pt x="7451415" y="1446732"/>
                  <a:pt x="7426705" y="1422022"/>
                  <a:pt x="7426705" y="1391541"/>
                </a:cubicBezTo>
                <a:cubicBezTo>
                  <a:pt x="7426705" y="1361060"/>
                  <a:pt x="7451415" y="1336350"/>
                  <a:pt x="7481897" y="1336350"/>
                </a:cubicBezTo>
                <a:close/>
                <a:moveTo>
                  <a:pt x="7341579" y="1336350"/>
                </a:moveTo>
                <a:cubicBezTo>
                  <a:pt x="7372061" y="1336350"/>
                  <a:pt x="7396771" y="1361060"/>
                  <a:pt x="7396771" y="1391541"/>
                </a:cubicBezTo>
                <a:cubicBezTo>
                  <a:pt x="7396771" y="1422022"/>
                  <a:pt x="7372061" y="1446732"/>
                  <a:pt x="7341579" y="1446732"/>
                </a:cubicBezTo>
                <a:cubicBezTo>
                  <a:pt x="7311097" y="1446732"/>
                  <a:pt x="7286387" y="1422022"/>
                  <a:pt x="7286387" y="1391541"/>
                </a:cubicBezTo>
                <a:cubicBezTo>
                  <a:pt x="7286387" y="1361060"/>
                  <a:pt x="7311097" y="1336350"/>
                  <a:pt x="7341579" y="1336350"/>
                </a:cubicBezTo>
                <a:close/>
                <a:moveTo>
                  <a:pt x="7211286" y="1336350"/>
                </a:moveTo>
                <a:cubicBezTo>
                  <a:pt x="7241768" y="1336350"/>
                  <a:pt x="7266478" y="1361060"/>
                  <a:pt x="7266478" y="1391541"/>
                </a:cubicBezTo>
                <a:cubicBezTo>
                  <a:pt x="7266478" y="1422022"/>
                  <a:pt x="7241768" y="1446732"/>
                  <a:pt x="7211286" y="1446732"/>
                </a:cubicBezTo>
                <a:cubicBezTo>
                  <a:pt x="7180804" y="1446732"/>
                  <a:pt x="7156094" y="1422022"/>
                  <a:pt x="7156094" y="1391541"/>
                </a:cubicBezTo>
                <a:cubicBezTo>
                  <a:pt x="7156094" y="1361060"/>
                  <a:pt x="7180804" y="1336350"/>
                  <a:pt x="7211286" y="1336350"/>
                </a:cubicBezTo>
                <a:close/>
                <a:moveTo>
                  <a:pt x="7080993" y="1336350"/>
                </a:moveTo>
                <a:cubicBezTo>
                  <a:pt x="7111475" y="1336350"/>
                  <a:pt x="7136185" y="1361060"/>
                  <a:pt x="7136185" y="1391541"/>
                </a:cubicBezTo>
                <a:cubicBezTo>
                  <a:pt x="7136185" y="1422022"/>
                  <a:pt x="7111475" y="1446732"/>
                  <a:pt x="7080993" y="1446732"/>
                </a:cubicBezTo>
                <a:cubicBezTo>
                  <a:pt x="7050511" y="1446732"/>
                  <a:pt x="7025801" y="1422022"/>
                  <a:pt x="7025801" y="1391541"/>
                </a:cubicBezTo>
                <a:cubicBezTo>
                  <a:pt x="7025801" y="1361060"/>
                  <a:pt x="7050511" y="1336350"/>
                  <a:pt x="7080993" y="1336350"/>
                </a:cubicBezTo>
                <a:close/>
                <a:moveTo>
                  <a:pt x="6947357" y="1336350"/>
                </a:moveTo>
                <a:cubicBezTo>
                  <a:pt x="6977839" y="1336350"/>
                  <a:pt x="7002549" y="1361060"/>
                  <a:pt x="7002549" y="1391541"/>
                </a:cubicBezTo>
                <a:cubicBezTo>
                  <a:pt x="7002549" y="1422022"/>
                  <a:pt x="6977839" y="1446732"/>
                  <a:pt x="6947357" y="1446732"/>
                </a:cubicBezTo>
                <a:cubicBezTo>
                  <a:pt x="6916875" y="1446732"/>
                  <a:pt x="6892165" y="1422022"/>
                  <a:pt x="6892165" y="1391541"/>
                </a:cubicBezTo>
                <a:cubicBezTo>
                  <a:pt x="6892165" y="1361060"/>
                  <a:pt x="6916875" y="1336350"/>
                  <a:pt x="6947357" y="1336350"/>
                </a:cubicBezTo>
                <a:close/>
                <a:moveTo>
                  <a:pt x="6817064" y="1336350"/>
                </a:moveTo>
                <a:cubicBezTo>
                  <a:pt x="6847546" y="1336350"/>
                  <a:pt x="6872256" y="1361060"/>
                  <a:pt x="6872256" y="1391541"/>
                </a:cubicBezTo>
                <a:cubicBezTo>
                  <a:pt x="6872256" y="1422022"/>
                  <a:pt x="6847546" y="1446732"/>
                  <a:pt x="6817064" y="1446732"/>
                </a:cubicBezTo>
                <a:cubicBezTo>
                  <a:pt x="6786582" y="1446732"/>
                  <a:pt x="6761872" y="1422022"/>
                  <a:pt x="6761872" y="1391541"/>
                </a:cubicBezTo>
                <a:cubicBezTo>
                  <a:pt x="6761872" y="1361060"/>
                  <a:pt x="6786582" y="1336350"/>
                  <a:pt x="6817064" y="1336350"/>
                </a:cubicBezTo>
                <a:close/>
                <a:moveTo>
                  <a:pt x="6683431" y="1336350"/>
                </a:moveTo>
                <a:cubicBezTo>
                  <a:pt x="6713913" y="1336350"/>
                  <a:pt x="6738623" y="1361060"/>
                  <a:pt x="6738623" y="1391541"/>
                </a:cubicBezTo>
                <a:cubicBezTo>
                  <a:pt x="6738623" y="1422022"/>
                  <a:pt x="6713913" y="1446732"/>
                  <a:pt x="6683431" y="1446732"/>
                </a:cubicBezTo>
                <a:cubicBezTo>
                  <a:pt x="6652949" y="1446732"/>
                  <a:pt x="6628239" y="1422022"/>
                  <a:pt x="6628239" y="1391541"/>
                </a:cubicBezTo>
                <a:cubicBezTo>
                  <a:pt x="6628239" y="1361060"/>
                  <a:pt x="6652949" y="1336350"/>
                  <a:pt x="6683431" y="1336350"/>
                </a:cubicBezTo>
                <a:close/>
                <a:moveTo>
                  <a:pt x="6553137" y="1336350"/>
                </a:moveTo>
                <a:cubicBezTo>
                  <a:pt x="6583619" y="1336350"/>
                  <a:pt x="6608329" y="1361060"/>
                  <a:pt x="6608329" y="1391541"/>
                </a:cubicBezTo>
                <a:cubicBezTo>
                  <a:pt x="6608329" y="1422022"/>
                  <a:pt x="6583619" y="1446732"/>
                  <a:pt x="6553137" y="1446732"/>
                </a:cubicBezTo>
                <a:cubicBezTo>
                  <a:pt x="6522655" y="1446732"/>
                  <a:pt x="6497945" y="1422022"/>
                  <a:pt x="6497945" y="1391541"/>
                </a:cubicBezTo>
                <a:cubicBezTo>
                  <a:pt x="6497945" y="1361060"/>
                  <a:pt x="6522655" y="1336350"/>
                  <a:pt x="6553137" y="1336350"/>
                </a:cubicBezTo>
                <a:close/>
                <a:moveTo>
                  <a:pt x="6419502" y="1336350"/>
                </a:moveTo>
                <a:cubicBezTo>
                  <a:pt x="6449984" y="1336350"/>
                  <a:pt x="6474694" y="1361060"/>
                  <a:pt x="6474694" y="1391541"/>
                </a:cubicBezTo>
                <a:cubicBezTo>
                  <a:pt x="6474694" y="1422022"/>
                  <a:pt x="6449984" y="1446732"/>
                  <a:pt x="6419502" y="1446732"/>
                </a:cubicBezTo>
                <a:cubicBezTo>
                  <a:pt x="6389020" y="1446732"/>
                  <a:pt x="6364310" y="1422022"/>
                  <a:pt x="6364310" y="1391541"/>
                </a:cubicBezTo>
                <a:cubicBezTo>
                  <a:pt x="6364310" y="1361060"/>
                  <a:pt x="6389020" y="1336350"/>
                  <a:pt x="6419502" y="1336350"/>
                </a:cubicBezTo>
                <a:close/>
                <a:moveTo>
                  <a:pt x="6289207" y="1336350"/>
                </a:moveTo>
                <a:cubicBezTo>
                  <a:pt x="6319689" y="1336350"/>
                  <a:pt x="6344399" y="1361060"/>
                  <a:pt x="6344399" y="1391541"/>
                </a:cubicBezTo>
                <a:cubicBezTo>
                  <a:pt x="6344399" y="1422022"/>
                  <a:pt x="6319689" y="1446732"/>
                  <a:pt x="6289207" y="1446732"/>
                </a:cubicBezTo>
                <a:cubicBezTo>
                  <a:pt x="6258725" y="1446732"/>
                  <a:pt x="6234015" y="1422022"/>
                  <a:pt x="6234015" y="1391541"/>
                </a:cubicBezTo>
                <a:cubicBezTo>
                  <a:pt x="6234015" y="1361060"/>
                  <a:pt x="6258725" y="1336350"/>
                  <a:pt x="6289207" y="1336350"/>
                </a:cubicBezTo>
                <a:close/>
                <a:moveTo>
                  <a:pt x="6155573" y="1336350"/>
                </a:moveTo>
                <a:cubicBezTo>
                  <a:pt x="6186055" y="1336350"/>
                  <a:pt x="6210765" y="1361060"/>
                  <a:pt x="6210765" y="1391541"/>
                </a:cubicBezTo>
                <a:cubicBezTo>
                  <a:pt x="6210765" y="1422022"/>
                  <a:pt x="6186055" y="1446732"/>
                  <a:pt x="6155573" y="1446732"/>
                </a:cubicBezTo>
                <a:cubicBezTo>
                  <a:pt x="6125091" y="1446732"/>
                  <a:pt x="6100381" y="1422022"/>
                  <a:pt x="6100381" y="1391541"/>
                </a:cubicBezTo>
                <a:cubicBezTo>
                  <a:pt x="6100381" y="1361060"/>
                  <a:pt x="6125091" y="1336350"/>
                  <a:pt x="6155573" y="1336350"/>
                </a:cubicBezTo>
                <a:close/>
                <a:moveTo>
                  <a:pt x="6021939" y="1336350"/>
                </a:moveTo>
                <a:cubicBezTo>
                  <a:pt x="6052421" y="1336350"/>
                  <a:pt x="6077131" y="1361060"/>
                  <a:pt x="6077131" y="1391541"/>
                </a:cubicBezTo>
                <a:cubicBezTo>
                  <a:pt x="6077131" y="1422022"/>
                  <a:pt x="6052421" y="1446732"/>
                  <a:pt x="6021939" y="1446732"/>
                </a:cubicBezTo>
                <a:cubicBezTo>
                  <a:pt x="5991457" y="1446732"/>
                  <a:pt x="5966747" y="1422022"/>
                  <a:pt x="5966747" y="1391541"/>
                </a:cubicBezTo>
                <a:cubicBezTo>
                  <a:pt x="5966747" y="1361060"/>
                  <a:pt x="5991457" y="1336350"/>
                  <a:pt x="6021939" y="1336350"/>
                </a:cubicBezTo>
                <a:close/>
                <a:moveTo>
                  <a:pt x="5884964" y="1336350"/>
                </a:moveTo>
                <a:cubicBezTo>
                  <a:pt x="5915446" y="1336350"/>
                  <a:pt x="5940156" y="1361060"/>
                  <a:pt x="5940156" y="1391541"/>
                </a:cubicBezTo>
                <a:cubicBezTo>
                  <a:pt x="5940156" y="1422022"/>
                  <a:pt x="5915446" y="1446732"/>
                  <a:pt x="5884964" y="1446732"/>
                </a:cubicBezTo>
                <a:cubicBezTo>
                  <a:pt x="5854482" y="1446732"/>
                  <a:pt x="5829772" y="1422022"/>
                  <a:pt x="5829772" y="1391541"/>
                </a:cubicBezTo>
                <a:cubicBezTo>
                  <a:pt x="5829772" y="1361060"/>
                  <a:pt x="5854482" y="1336350"/>
                  <a:pt x="5884964" y="1336350"/>
                </a:cubicBezTo>
                <a:close/>
                <a:moveTo>
                  <a:pt x="5754668" y="1336350"/>
                </a:moveTo>
                <a:cubicBezTo>
                  <a:pt x="5785150" y="1336350"/>
                  <a:pt x="5809860" y="1361060"/>
                  <a:pt x="5809860" y="1391541"/>
                </a:cubicBezTo>
                <a:cubicBezTo>
                  <a:pt x="5809860" y="1422022"/>
                  <a:pt x="5785150" y="1446732"/>
                  <a:pt x="5754668" y="1446732"/>
                </a:cubicBezTo>
                <a:cubicBezTo>
                  <a:pt x="5724186" y="1446732"/>
                  <a:pt x="5699476" y="1422022"/>
                  <a:pt x="5699476" y="1391541"/>
                </a:cubicBezTo>
                <a:cubicBezTo>
                  <a:pt x="5699476" y="1361060"/>
                  <a:pt x="5724186" y="1336350"/>
                  <a:pt x="5754668" y="1336350"/>
                </a:cubicBezTo>
                <a:close/>
                <a:moveTo>
                  <a:pt x="5621035" y="1336350"/>
                </a:moveTo>
                <a:cubicBezTo>
                  <a:pt x="5651517" y="1336350"/>
                  <a:pt x="5676227" y="1361060"/>
                  <a:pt x="5676227" y="1391541"/>
                </a:cubicBezTo>
                <a:cubicBezTo>
                  <a:pt x="5676227" y="1422022"/>
                  <a:pt x="5651517" y="1446732"/>
                  <a:pt x="5621035" y="1446732"/>
                </a:cubicBezTo>
                <a:cubicBezTo>
                  <a:pt x="5590553" y="1446732"/>
                  <a:pt x="5565843" y="1422022"/>
                  <a:pt x="5565843" y="1391541"/>
                </a:cubicBezTo>
                <a:cubicBezTo>
                  <a:pt x="5565843" y="1361060"/>
                  <a:pt x="5590553" y="1336350"/>
                  <a:pt x="5621035" y="1336350"/>
                </a:cubicBezTo>
                <a:close/>
                <a:moveTo>
                  <a:pt x="5487399" y="1336350"/>
                </a:moveTo>
                <a:cubicBezTo>
                  <a:pt x="5517881" y="1336350"/>
                  <a:pt x="5542591" y="1361060"/>
                  <a:pt x="5542591" y="1391541"/>
                </a:cubicBezTo>
                <a:cubicBezTo>
                  <a:pt x="5542591" y="1422022"/>
                  <a:pt x="5517881" y="1446732"/>
                  <a:pt x="5487399" y="1446732"/>
                </a:cubicBezTo>
                <a:cubicBezTo>
                  <a:pt x="5456917" y="1446732"/>
                  <a:pt x="5432207" y="1422022"/>
                  <a:pt x="5432207" y="1391541"/>
                </a:cubicBezTo>
                <a:cubicBezTo>
                  <a:pt x="5432207" y="1361060"/>
                  <a:pt x="5456917" y="1336350"/>
                  <a:pt x="5487399" y="1336350"/>
                </a:cubicBezTo>
                <a:close/>
                <a:moveTo>
                  <a:pt x="5357106" y="1336350"/>
                </a:moveTo>
                <a:cubicBezTo>
                  <a:pt x="5387588" y="1336350"/>
                  <a:pt x="5412298" y="1361060"/>
                  <a:pt x="5412298" y="1391541"/>
                </a:cubicBezTo>
                <a:cubicBezTo>
                  <a:pt x="5412298" y="1422022"/>
                  <a:pt x="5387588" y="1446732"/>
                  <a:pt x="5357106" y="1446732"/>
                </a:cubicBezTo>
                <a:cubicBezTo>
                  <a:pt x="5326624" y="1446732"/>
                  <a:pt x="5301914" y="1422022"/>
                  <a:pt x="5301914" y="1391541"/>
                </a:cubicBezTo>
                <a:cubicBezTo>
                  <a:pt x="5301914" y="1361060"/>
                  <a:pt x="5326624" y="1336350"/>
                  <a:pt x="5357106" y="1336350"/>
                </a:cubicBezTo>
                <a:close/>
                <a:moveTo>
                  <a:pt x="4959543" y="1336350"/>
                </a:moveTo>
                <a:cubicBezTo>
                  <a:pt x="4990025" y="1336350"/>
                  <a:pt x="5014735" y="1361060"/>
                  <a:pt x="5014735" y="1391541"/>
                </a:cubicBezTo>
                <a:cubicBezTo>
                  <a:pt x="5014735" y="1422022"/>
                  <a:pt x="4990025" y="1446732"/>
                  <a:pt x="4959543" y="1446732"/>
                </a:cubicBezTo>
                <a:cubicBezTo>
                  <a:pt x="4929061" y="1446732"/>
                  <a:pt x="4904351" y="1422022"/>
                  <a:pt x="4904351" y="1391541"/>
                </a:cubicBezTo>
                <a:cubicBezTo>
                  <a:pt x="4904351" y="1361060"/>
                  <a:pt x="4929061" y="1336350"/>
                  <a:pt x="4959543" y="1336350"/>
                </a:cubicBezTo>
                <a:close/>
                <a:moveTo>
                  <a:pt x="4565322" y="1336350"/>
                </a:moveTo>
                <a:cubicBezTo>
                  <a:pt x="4595804" y="1336350"/>
                  <a:pt x="4620514" y="1361060"/>
                  <a:pt x="4620514" y="1391541"/>
                </a:cubicBezTo>
                <a:cubicBezTo>
                  <a:pt x="4620514" y="1422022"/>
                  <a:pt x="4595804" y="1446732"/>
                  <a:pt x="4565322" y="1446732"/>
                </a:cubicBezTo>
                <a:cubicBezTo>
                  <a:pt x="4534840" y="1446732"/>
                  <a:pt x="4510130" y="1422022"/>
                  <a:pt x="4510130" y="1391541"/>
                </a:cubicBezTo>
                <a:cubicBezTo>
                  <a:pt x="4510130" y="1361060"/>
                  <a:pt x="4534840" y="1336350"/>
                  <a:pt x="4565322" y="1336350"/>
                </a:cubicBezTo>
                <a:close/>
                <a:moveTo>
                  <a:pt x="2971729" y="1336350"/>
                </a:moveTo>
                <a:cubicBezTo>
                  <a:pt x="3002211" y="1336350"/>
                  <a:pt x="3026921" y="1361060"/>
                  <a:pt x="3026921" y="1391541"/>
                </a:cubicBezTo>
                <a:cubicBezTo>
                  <a:pt x="3026921" y="1422022"/>
                  <a:pt x="3002211" y="1446732"/>
                  <a:pt x="2971729" y="1446732"/>
                </a:cubicBezTo>
                <a:cubicBezTo>
                  <a:pt x="2941247" y="1446732"/>
                  <a:pt x="2916537" y="1422022"/>
                  <a:pt x="2916537" y="1391541"/>
                </a:cubicBezTo>
                <a:cubicBezTo>
                  <a:pt x="2916537" y="1361060"/>
                  <a:pt x="2941247" y="1336350"/>
                  <a:pt x="2971729" y="1336350"/>
                </a:cubicBezTo>
                <a:close/>
                <a:moveTo>
                  <a:pt x="2834801" y="1336350"/>
                </a:moveTo>
                <a:cubicBezTo>
                  <a:pt x="2865283" y="1336350"/>
                  <a:pt x="2889994" y="1361060"/>
                  <a:pt x="2889994" y="1391541"/>
                </a:cubicBezTo>
                <a:cubicBezTo>
                  <a:pt x="2889994" y="1422022"/>
                  <a:pt x="2865283" y="1446732"/>
                  <a:pt x="2834801" y="1446732"/>
                </a:cubicBezTo>
                <a:cubicBezTo>
                  <a:pt x="2804320" y="1446732"/>
                  <a:pt x="2779610" y="1422022"/>
                  <a:pt x="2779610" y="1391541"/>
                </a:cubicBezTo>
                <a:cubicBezTo>
                  <a:pt x="2779610" y="1361060"/>
                  <a:pt x="2804320" y="1336350"/>
                  <a:pt x="2834801" y="1336350"/>
                </a:cubicBezTo>
                <a:close/>
                <a:moveTo>
                  <a:pt x="2707848" y="1336350"/>
                </a:moveTo>
                <a:cubicBezTo>
                  <a:pt x="2738330" y="1336350"/>
                  <a:pt x="2763042" y="1361060"/>
                  <a:pt x="2763042" y="1391541"/>
                </a:cubicBezTo>
                <a:cubicBezTo>
                  <a:pt x="2763042" y="1422022"/>
                  <a:pt x="2738330" y="1446732"/>
                  <a:pt x="2707848" y="1446732"/>
                </a:cubicBezTo>
                <a:cubicBezTo>
                  <a:pt x="2677367" y="1446732"/>
                  <a:pt x="2652656" y="1422022"/>
                  <a:pt x="2652656" y="1391541"/>
                </a:cubicBezTo>
                <a:cubicBezTo>
                  <a:pt x="2652656" y="1361060"/>
                  <a:pt x="2677367" y="1336350"/>
                  <a:pt x="2707848" y="1336350"/>
                </a:cubicBezTo>
                <a:close/>
                <a:moveTo>
                  <a:pt x="2570875" y="1336350"/>
                </a:moveTo>
                <a:cubicBezTo>
                  <a:pt x="2601357" y="1336350"/>
                  <a:pt x="2626067" y="1361060"/>
                  <a:pt x="2626067" y="1391541"/>
                </a:cubicBezTo>
                <a:cubicBezTo>
                  <a:pt x="2626067" y="1422022"/>
                  <a:pt x="2601357" y="1446732"/>
                  <a:pt x="2570875" y="1446732"/>
                </a:cubicBezTo>
                <a:cubicBezTo>
                  <a:pt x="2540392" y="1446732"/>
                  <a:pt x="2515683" y="1422022"/>
                  <a:pt x="2515683" y="1391541"/>
                </a:cubicBezTo>
                <a:cubicBezTo>
                  <a:pt x="2515683" y="1361060"/>
                  <a:pt x="2540392" y="1336350"/>
                  <a:pt x="2570875" y="1336350"/>
                </a:cubicBezTo>
                <a:close/>
                <a:moveTo>
                  <a:pt x="2173314" y="1336350"/>
                </a:moveTo>
                <a:cubicBezTo>
                  <a:pt x="2203797" y="1336350"/>
                  <a:pt x="2228507" y="1361060"/>
                  <a:pt x="2228507" y="1391541"/>
                </a:cubicBezTo>
                <a:cubicBezTo>
                  <a:pt x="2228507" y="1422022"/>
                  <a:pt x="2203797" y="1446732"/>
                  <a:pt x="2173314" y="1446732"/>
                </a:cubicBezTo>
                <a:cubicBezTo>
                  <a:pt x="2142832" y="1446732"/>
                  <a:pt x="2118122" y="1422022"/>
                  <a:pt x="2118122" y="1391541"/>
                </a:cubicBezTo>
                <a:cubicBezTo>
                  <a:pt x="2118122" y="1361060"/>
                  <a:pt x="2142832" y="1336350"/>
                  <a:pt x="2173314" y="1336350"/>
                </a:cubicBezTo>
                <a:close/>
                <a:moveTo>
                  <a:pt x="2039678" y="1336350"/>
                </a:moveTo>
                <a:cubicBezTo>
                  <a:pt x="2070160" y="1336350"/>
                  <a:pt x="2094870" y="1361060"/>
                  <a:pt x="2094870" y="1391541"/>
                </a:cubicBezTo>
                <a:cubicBezTo>
                  <a:pt x="2094870" y="1422022"/>
                  <a:pt x="2070160" y="1446732"/>
                  <a:pt x="2039678" y="1446732"/>
                </a:cubicBezTo>
                <a:cubicBezTo>
                  <a:pt x="2009195" y="1446732"/>
                  <a:pt x="1984484" y="1422022"/>
                  <a:pt x="1984484" y="1391541"/>
                </a:cubicBezTo>
                <a:cubicBezTo>
                  <a:pt x="1984484" y="1361060"/>
                  <a:pt x="2009195" y="1336350"/>
                  <a:pt x="2039678" y="1336350"/>
                </a:cubicBezTo>
                <a:close/>
                <a:moveTo>
                  <a:pt x="1909381" y="1336350"/>
                </a:moveTo>
                <a:cubicBezTo>
                  <a:pt x="1939864" y="1336350"/>
                  <a:pt x="1964575" y="1361060"/>
                  <a:pt x="1964575" y="1391541"/>
                </a:cubicBezTo>
                <a:cubicBezTo>
                  <a:pt x="1964575" y="1422022"/>
                  <a:pt x="1939864" y="1446732"/>
                  <a:pt x="1909381" y="1446732"/>
                </a:cubicBezTo>
                <a:cubicBezTo>
                  <a:pt x="1878899" y="1446732"/>
                  <a:pt x="1854188" y="1422022"/>
                  <a:pt x="1854188" y="1391541"/>
                </a:cubicBezTo>
                <a:cubicBezTo>
                  <a:pt x="1854188" y="1361060"/>
                  <a:pt x="1878899" y="1336350"/>
                  <a:pt x="1909381" y="1336350"/>
                </a:cubicBezTo>
                <a:close/>
                <a:moveTo>
                  <a:pt x="1779086" y="1336350"/>
                </a:moveTo>
                <a:cubicBezTo>
                  <a:pt x="1809568" y="1336350"/>
                  <a:pt x="1834278" y="1361060"/>
                  <a:pt x="1834278" y="1391541"/>
                </a:cubicBezTo>
                <a:cubicBezTo>
                  <a:pt x="1834278" y="1422022"/>
                  <a:pt x="1809568" y="1446732"/>
                  <a:pt x="1779086" y="1446732"/>
                </a:cubicBezTo>
                <a:cubicBezTo>
                  <a:pt x="1748603" y="1446732"/>
                  <a:pt x="1723892" y="1422022"/>
                  <a:pt x="1723892" y="1391541"/>
                </a:cubicBezTo>
                <a:cubicBezTo>
                  <a:pt x="1723892" y="1361060"/>
                  <a:pt x="1748603" y="1336350"/>
                  <a:pt x="1779086" y="1336350"/>
                </a:cubicBezTo>
                <a:close/>
                <a:moveTo>
                  <a:pt x="1645448" y="1336350"/>
                </a:moveTo>
                <a:cubicBezTo>
                  <a:pt x="1675933" y="1336350"/>
                  <a:pt x="1700644" y="1361060"/>
                  <a:pt x="1700644" y="1391541"/>
                </a:cubicBezTo>
                <a:cubicBezTo>
                  <a:pt x="1700644" y="1422022"/>
                  <a:pt x="1675933" y="1446732"/>
                  <a:pt x="1645448" y="1446732"/>
                </a:cubicBezTo>
                <a:cubicBezTo>
                  <a:pt x="1614967" y="1446732"/>
                  <a:pt x="1590256" y="1422022"/>
                  <a:pt x="1590256" y="1391541"/>
                </a:cubicBezTo>
                <a:cubicBezTo>
                  <a:pt x="1590256" y="1361060"/>
                  <a:pt x="1614967" y="1336350"/>
                  <a:pt x="1645448" y="1336350"/>
                </a:cubicBezTo>
                <a:close/>
                <a:moveTo>
                  <a:pt x="1515160" y="1336350"/>
                </a:moveTo>
                <a:cubicBezTo>
                  <a:pt x="1545636" y="1336350"/>
                  <a:pt x="1570346" y="1361060"/>
                  <a:pt x="1570346" y="1391541"/>
                </a:cubicBezTo>
                <a:cubicBezTo>
                  <a:pt x="1570346" y="1422022"/>
                  <a:pt x="1545636" y="1446732"/>
                  <a:pt x="1515160" y="1446732"/>
                </a:cubicBezTo>
                <a:cubicBezTo>
                  <a:pt x="1484676" y="1446732"/>
                  <a:pt x="1459963" y="1422022"/>
                  <a:pt x="1459963" y="1391541"/>
                </a:cubicBezTo>
                <a:cubicBezTo>
                  <a:pt x="1459963" y="1361060"/>
                  <a:pt x="1484676" y="1336350"/>
                  <a:pt x="1515160" y="1336350"/>
                </a:cubicBezTo>
                <a:close/>
                <a:moveTo>
                  <a:pt x="1381522" y="1336350"/>
                </a:moveTo>
                <a:cubicBezTo>
                  <a:pt x="1412004" y="1336350"/>
                  <a:pt x="1436714" y="1361060"/>
                  <a:pt x="1436714" y="1391541"/>
                </a:cubicBezTo>
                <a:cubicBezTo>
                  <a:pt x="1436714" y="1422022"/>
                  <a:pt x="1412004" y="1446732"/>
                  <a:pt x="1381522" y="1446732"/>
                </a:cubicBezTo>
                <a:cubicBezTo>
                  <a:pt x="1351043" y="1446732"/>
                  <a:pt x="1326330" y="1422022"/>
                  <a:pt x="1326330" y="1391541"/>
                </a:cubicBezTo>
                <a:cubicBezTo>
                  <a:pt x="1326330" y="1361060"/>
                  <a:pt x="1351043" y="1336350"/>
                  <a:pt x="1381522" y="1336350"/>
                </a:cubicBezTo>
                <a:close/>
                <a:moveTo>
                  <a:pt x="1251229" y="1336350"/>
                </a:moveTo>
                <a:cubicBezTo>
                  <a:pt x="1281711" y="1336350"/>
                  <a:pt x="1306421" y="1361060"/>
                  <a:pt x="1306421" y="1391541"/>
                </a:cubicBezTo>
                <a:cubicBezTo>
                  <a:pt x="1306421" y="1422022"/>
                  <a:pt x="1281711" y="1446732"/>
                  <a:pt x="1251229" y="1446732"/>
                </a:cubicBezTo>
                <a:cubicBezTo>
                  <a:pt x="1220747" y="1446732"/>
                  <a:pt x="1196037" y="1422022"/>
                  <a:pt x="1196037" y="1391541"/>
                </a:cubicBezTo>
                <a:cubicBezTo>
                  <a:pt x="1196037" y="1361060"/>
                  <a:pt x="1220747" y="1336350"/>
                  <a:pt x="1251229" y="1336350"/>
                </a:cubicBezTo>
                <a:close/>
                <a:moveTo>
                  <a:pt x="1117592" y="1336350"/>
                </a:moveTo>
                <a:cubicBezTo>
                  <a:pt x="1148075" y="1336350"/>
                  <a:pt x="1172785" y="1361060"/>
                  <a:pt x="1172785" y="1391541"/>
                </a:cubicBezTo>
                <a:cubicBezTo>
                  <a:pt x="1172785" y="1422022"/>
                  <a:pt x="1148075" y="1446732"/>
                  <a:pt x="1117592" y="1446732"/>
                </a:cubicBezTo>
                <a:cubicBezTo>
                  <a:pt x="1087110" y="1446732"/>
                  <a:pt x="1062400" y="1422022"/>
                  <a:pt x="1062400" y="1391541"/>
                </a:cubicBezTo>
                <a:cubicBezTo>
                  <a:pt x="1062400" y="1361060"/>
                  <a:pt x="1087110" y="1336350"/>
                  <a:pt x="1117592" y="1336350"/>
                </a:cubicBezTo>
                <a:close/>
                <a:moveTo>
                  <a:pt x="980615" y="1336350"/>
                </a:moveTo>
                <a:cubicBezTo>
                  <a:pt x="1011098" y="1336350"/>
                  <a:pt x="1035808" y="1361060"/>
                  <a:pt x="1035808" y="1391541"/>
                </a:cubicBezTo>
                <a:cubicBezTo>
                  <a:pt x="1035808" y="1422022"/>
                  <a:pt x="1011098" y="1446732"/>
                  <a:pt x="980615" y="1446732"/>
                </a:cubicBezTo>
                <a:cubicBezTo>
                  <a:pt x="950133" y="1446732"/>
                  <a:pt x="925422" y="1422022"/>
                  <a:pt x="925422" y="1391541"/>
                </a:cubicBezTo>
                <a:cubicBezTo>
                  <a:pt x="925422" y="1361060"/>
                  <a:pt x="950133" y="1336350"/>
                  <a:pt x="980615" y="1336350"/>
                </a:cubicBezTo>
                <a:close/>
                <a:moveTo>
                  <a:pt x="9199101" y="1336348"/>
                </a:moveTo>
                <a:cubicBezTo>
                  <a:pt x="9229583" y="1336348"/>
                  <a:pt x="9254293" y="1361058"/>
                  <a:pt x="9254293" y="1391539"/>
                </a:cubicBezTo>
                <a:cubicBezTo>
                  <a:pt x="9254293" y="1422020"/>
                  <a:pt x="9229583" y="1446730"/>
                  <a:pt x="9199101" y="1446730"/>
                </a:cubicBezTo>
                <a:cubicBezTo>
                  <a:pt x="9168619" y="1446730"/>
                  <a:pt x="9143909" y="1422020"/>
                  <a:pt x="9143909" y="1391539"/>
                </a:cubicBezTo>
                <a:cubicBezTo>
                  <a:pt x="9143909" y="1361058"/>
                  <a:pt x="9168619" y="1336348"/>
                  <a:pt x="9199101" y="1336348"/>
                </a:cubicBezTo>
                <a:close/>
                <a:moveTo>
                  <a:pt x="9068807" y="1336348"/>
                </a:moveTo>
                <a:cubicBezTo>
                  <a:pt x="9099289" y="1336348"/>
                  <a:pt x="9123999" y="1361058"/>
                  <a:pt x="9123999" y="1391539"/>
                </a:cubicBezTo>
                <a:cubicBezTo>
                  <a:pt x="9123999" y="1422020"/>
                  <a:pt x="9099289" y="1446730"/>
                  <a:pt x="9068807" y="1446730"/>
                </a:cubicBezTo>
                <a:cubicBezTo>
                  <a:pt x="9038325" y="1446730"/>
                  <a:pt x="9013615" y="1422020"/>
                  <a:pt x="9013615" y="1391539"/>
                </a:cubicBezTo>
                <a:cubicBezTo>
                  <a:pt x="9013615" y="1361058"/>
                  <a:pt x="9038325" y="1336348"/>
                  <a:pt x="9068807" y="1336348"/>
                </a:cubicBezTo>
                <a:close/>
                <a:moveTo>
                  <a:pt x="8407316" y="1336348"/>
                </a:moveTo>
                <a:cubicBezTo>
                  <a:pt x="8437798" y="1336348"/>
                  <a:pt x="8462508" y="1361058"/>
                  <a:pt x="8462508" y="1391539"/>
                </a:cubicBezTo>
                <a:cubicBezTo>
                  <a:pt x="8462508" y="1422020"/>
                  <a:pt x="8437798" y="1446730"/>
                  <a:pt x="8407316" y="1446730"/>
                </a:cubicBezTo>
                <a:cubicBezTo>
                  <a:pt x="8376834" y="1446730"/>
                  <a:pt x="8352124" y="1422020"/>
                  <a:pt x="8352124" y="1391539"/>
                </a:cubicBezTo>
                <a:cubicBezTo>
                  <a:pt x="8352124" y="1361058"/>
                  <a:pt x="8376834" y="1336348"/>
                  <a:pt x="8407316" y="1336348"/>
                </a:cubicBezTo>
                <a:close/>
                <a:moveTo>
                  <a:pt x="8273682" y="1336348"/>
                </a:moveTo>
                <a:cubicBezTo>
                  <a:pt x="8304164" y="1336348"/>
                  <a:pt x="8328874" y="1361058"/>
                  <a:pt x="8328874" y="1391539"/>
                </a:cubicBezTo>
                <a:cubicBezTo>
                  <a:pt x="8328874" y="1422020"/>
                  <a:pt x="8304164" y="1446730"/>
                  <a:pt x="8273682" y="1446730"/>
                </a:cubicBezTo>
                <a:cubicBezTo>
                  <a:pt x="8243200" y="1446730"/>
                  <a:pt x="8218490" y="1422020"/>
                  <a:pt x="8218490" y="1391539"/>
                </a:cubicBezTo>
                <a:cubicBezTo>
                  <a:pt x="8218490" y="1361058"/>
                  <a:pt x="8243200" y="1336348"/>
                  <a:pt x="8273682" y="1336348"/>
                </a:cubicBezTo>
                <a:close/>
                <a:moveTo>
                  <a:pt x="8143388" y="1336348"/>
                </a:moveTo>
                <a:cubicBezTo>
                  <a:pt x="8173870" y="1336348"/>
                  <a:pt x="8198580" y="1361058"/>
                  <a:pt x="8198580" y="1391539"/>
                </a:cubicBezTo>
                <a:cubicBezTo>
                  <a:pt x="8198580" y="1422020"/>
                  <a:pt x="8173870" y="1446730"/>
                  <a:pt x="8143388" y="1446730"/>
                </a:cubicBezTo>
                <a:cubicBezTo>
                  <a:pt x="8112906" y="1446730"/>
                  <a:pt x="8088196" y="1422020"/>
                  <a:pt x="8088196" y="1391539"/>
                </a:cubicBezTo>
                <a:cubicBezTo>
                  <a:pt x="8088196" y="1361058"/>
                  <a:pt x="8112906" y="1336348"/>
                  <a:pt x="8143388" y="1336348"/>
                </a:cubicBezTo>
                <a:close/>
                <a:moveTo>
                  <a:pt x="8009753" y="1336348"/>
                </a:moveTo>
                <a:cubicBezTo>
                  <a:pt x="8040235" y="1336348"/>
                  <a:pt x="8064945" y="1361058"/>
                  <a:pt x="8064945" y="1391539"/>
                </a:cubicBezTo>
                <a:cubicBezTo>
                  <a:pt x="8064945" y="1422020"/>
                  <a:pt x="8040235" y="1446730"/>
                  <a:pt x="8009753" y="1446730"/>
                </a:cubicBezTo>
                <a:cubicBezTo>
                  <a:pt x="7979271" y="1446730"/>
                  <a:pt x="7954561" y="1422020"/>
                  <a:pt x="7954561" y="1391539"/>
                </a:cubicBezTo>
                <a:cubicBezTo>
                  <a:pt x="7954561" y="1361058"/>
                  <a:pt x="7979271" y="1336348"/>
                  <a:pt x="8009753" y="1336348"/>
                </a:cubicBezTo>
                <a:close/>
                <a:moveTo>
                  <a:pt x="7876118" y="1336348"/>
                </a:moveTo>
                <a:cubicBezTo>
                  <a:pt x="7906600" y="1336348"/>
                  <a:pt x="7931310" y="1361058"/>
                  <a:pt x="7931310" y="1391539"/>
                </a:cubicBezTo>
                <a:cubicBezTo>
                  <a:pt x="7931310" y="1422020"/>
                  <a:pt x="7906600" y="1446730"/>
                  <a:pt x="7876118" y="1446730"/>
                </a:cubicBezTo>
                <a:cubicBezTo>
                  <a:pt x="7845636" y="1446730"/>
                  <a:pt x="7820926" y="1422020"/>
                  <a:pt x="7820926" y="1391539"/>
                </a:cubicBezTo>
                <a:cubicBezTo>
                  <a:pt x="7820926" y="1361058"/>
                  <a:pt x="7845636" y="1336348"/>
                  <a:pt x="7876118" y="1336348"/>
                </a:cubicBezTo>
                <a:close/>
                <a:moveTo>
                  <a:pt x="7745823" y="1336348"/>
                </a:moveTo>
                <a:cubicBezTo>
                  <a:pt x="7776305" y="1336348"/>
                  <a:pt x="7801015" y="1361058"/>
                  <a:pt x="7801015" y="1391539"/>
                </a:cubicBezTo>
                <a:cubicBezTo>
                  <a:pt x="7801015" y="1422020"/>
                  <a:pt x="7776305" y="1446730"/>
                  <a:pt x="7745823" y="1446730"/>
                </a:cubicBezTo>
                <a:cubicBezTo>
                  <a:pt x="7715341" y="1446730"/>
                  <a:pt x="7690631" y="1422020"/>
                  <a:pt x="7690631" y="1391539"/>
                </a:cubicBezTo>
                <a:cubicBezTo>
                  <a:pt x="7690631" y="1361058"/>
                  <a:pt x="7715341" y="1336348"/>
                  <a:pt x="7745823" y="1336348"/>
                </a:cubicBezTo>
                <a:close/>
                <a:moveTo>
                  <a:pt x="185475" y="1336348"/>
                </a:moveTo>
                <a:cubicBezTo>
                  <a:pt x="215957" y="1336348"/>
                  <a:pt x="240666" y="1361058"/>
                  <a:pt x="240666" y="1391539"/>
                </a:cubicBezTo>
                <a:cubicBezTo>
                  <a:pt x="240666" y="1422020"/>
                  <a:pt x="215957" y="1446730"/>
                  <a:pt x="185475" y="1446730"/>
                </a:cubicBezTo>
                <a:cubicBezTo>
                  <a:pt x="154994" y="1446730"/>
                  <a:pt x="130283" y="1422020"/>
                  <a:pt x="130283" y="1391539"/>
                </a:cubicBezTo>
                <a:cubicBezTo>
                  <a:pt x="130283" y="1361058"/>
                  <a:pt x="154994" y="1336348"/>
                  <a:pt x="185475" y="1336348"/>
                </a:cubicBezTo>
                <a:close/>
                <a:moveTo>
                  <a:pt x="9199101" y="1219421"/>
                </a:moveTo>
                <a:cubicBezTo>
                  <a:pt x="9229583" y="1219421"/>
                  <a:pt x="9254293" y="1244131"/>
                  <a:pt x="9254293" y="1274612"/>
                </a:cubicBezTo>
                <a:cubicBezTo>
                  <a:pt x="9254293" y="1305093"/>
                  <a:pt x="9229583" y="1329803"/>
                  <a:pt x="9199101" y="1329803"/>
                </a:cubicBezTo>
                <a:cubicBezTo>
                  <a:pt x="9168619" y="1329803"/>
                  <a:pt x="9143909" y="1305093"/>
                  <a:pt x="9143909" y="1274612"/>
                </a:cubicBezTo>
                <a:cubicBezTo>
                  <a:pt x="9143909" y="1244131"/>
                  <a:pt x="9168619" y="1219421"/>
                  <a:pt x="9199101" y="1219421"/>
                </a:cubicBezTo>
                <a:close/>
                <a:moveTo>
                  <a:pt x="9068807" y="1219421"/>
                </a:moveTo>
                <a:cubicBezTo>
                  <a:pt x="9099289" y="1219421"/>
                  <a:pt x="9123999" y="1244131"/>
                  <a:pt x="9123999" y="1274612"/>
                </a:cubicBezTo>
                <a:cubicBezTo>
                  <a:pt x="9123999" y="1305093"/>
                  <a:pt x="9099289" y="1329803"/>
                  <a:pt x="9068807" y="1329803"/>
                </a:cubicBezTo>
                <a:cubicBezTo>
                  <a:pt x="9038325" y="1329803"/>
                  <a:pt x="9013615" y="1305093"/>
                  <a:pt x="9013615" y="1274612"/>
                </a:cubicBezTo>
                <a:cubicBezTo>
                  <a:pt x="9013615" y="1244131"/>
                  <a:pt x="9038325" y="1219421"/>
                  <a:pt x="9068807" y="1219421"/>
                </a:cubicBezTo>
                <a:close/>
                <a:moveTo>
                  <a:pt x="8537612" y="1219421"/>
                </a:moveTo>
                <a:cubicBezTo>
                  <a:pt x="8568094" y="1219421"/>
                  <a:pt x="8592804" y="1244131"/>
                  <a:pt x="8592804" y="1274612"/>
                </a:cubicBezTo>
                <a:cubicBezTo>
                  <a:pt x="8592804" y="1305093"/>
                  <a:pt x="8568094" y="1329803"/>
                  <a:pt x="8537612" y="1329803"/>
                </a:cubicBezTo>
                <a:cubicBezTo>
                  <a:pt x="8507130" y="1329803"/>
                  <a:pt x="8482420" y="1305093"/>
                  <a:pt x="8482420" y="1274612"/>
                </a:cubicBezTo>
                <a:cubicBezTo>
                  <a:pt x="8482420" y="1244131"/>
                  <a:pt x="8507130" y="1219421"/>
                  <a:pt x="8537612" y="1219421"/>
                </a:cubicBezTo>
                <a:close/>
                <a:moveTo>
                  <a:pt x="8407316" y="1219421"/>
                </a:moveTo>
                <a:cubicBezTo>
                  <a:pt x="8437798" y="1219421"/>
                  <a:pt x="8462508" y="1244131"/>
                  <a:pt x="8462508" y="1274612"/>
                </a:cubicBezTo>
                <a:cubicBezTo>
                  <a:pt x="8462508" y="1305093"/>
                  <a:pt x="8437798" y="1329803"/>
                  <a:pt x="8407316" y="1329803"/>
                </a:cubicBezTo>
                <a:cubicBezTo>
                  <a:pt x="8376834" y="1329803"/>
                  <a:pt x="8352124" y="1305093"/>
                  <a:pt x="8352124" y="1274612"/>
                </a:cubicBezTo>
                <a:cubicBezTo>
                  <a:pt x="8352124" y="1244131"/>
                  <a:pt x="8376834" y="1219421"/>
                  <a:pt x="8407316" y="1219421"/>
                </a:cubicBezTo>
                <a:close/>
                <a:moveTo>
                  <a:pt x="8273682" y="1219421"/>
                </a:moveTo>
                <a:cubicBezTo>
                  <a:pt x="8304164" y="1219421"/>
                  <a:pt x="8328874" y="1244131"/>
                  <a:pt x="8328874" y="1274612"/>
                </a:cubicBezTo>
                <a:cubicBezTo>
                  <a:pt x="8328874" y="1305093"/>
                  <a:pt x="8304164" y="1329803"/>
                  <a:pt x="8273682" y="1329803"/>
                </a:cubicBezTo>
                <a:cubicBezTo>
                  <a:pt x="8243200" y="1329803"/>
                  <a:pt x="8218490" y="1305093"/>
                  <a:pt x="8218490" y="1274612"/>
                </a:cubicBezTo>
                <a:cubicBezTo>
                  <a:pt x="8218490" y="1244131"/>
                  <a:pt x="8243200" y="1219421"/>
                  <a:pt x="8273682" y="1219421"/>
                </a:cubicBezTo>
                <a:close/>
                <a:moveTo>
                  <a:pt x="8143388" y="1219421"/>
                </a:moveTo>
                <a:cubicBezTo>
                  <a:pt x="8173870" y="1219421"/>
                  <a:pt x="8198580" y="1244131"/>
                  <a:pt x="8198580" y="1274612"/>
                </a:cubicBezTo>
                <a:cubicBezTo>
                  <a:pt x="8198580" y="1305093"/>
                  <a:pt x="8173870" y="1329803"/>
                  <a:pt x="8143388" y="1329803"/>
                </a:cubicBezTo>
                <a:cubicBezTo>
                  <a:pt x="8112906" y="1329803"/>
                  <a:pt x="8088196" y="1305093"/>
                  <a:pt x="8088196" y="1274612"/>
                </a:cubicBezTo>
                <a:cubicBezTo>
                  <a:pt x="8088196" y="1244131"/>
                  <a:pt x="8112906" y="1219421"/>
                  <a:pt x="8143388" y="1219421"/>
                </a:cubicBezTo>
                <a:close/>
                <a:moveTo>
                  <a:pt x="8009753" y="1219421"/>
                </a:moveTo>
                <a:cubicBezTo>
                  <a:pt x="8040235" y="1219421"/>
                  <a:pt x="8064945" y="1244131"/>
                  <a:pt x="8064945" y="1274612"/>
                </a:cubicBezTo>
                <a:cubicBezTo>
                  <a:pt x="8064945" y="1305093"/>
                  <a:pt x="8040235" y="1329803"/>
                  <a:pt x="8009753" y="1329803"/>
                </a:cubicBezTo>
                <a:cubicBezTo>
                  <a:pt x="7979271" y="1329803"/>
                  <a:pt x="7954561" y="1305093"/>
                  <a:pt x="7954561" y="1274612"/>
                </a:cubicBezTo>
                <a:cubicBezTo>
                  <a:pt x="7954561" y="1244131"/>
                  <a:pt x="7979271" y="1219421"/>
                  <a:pt x="8009753" y="1219421"/>
                </a:cubicBezTo>
                <a:close/>
                <a:moveTo>
                  <a:pt x="7876118" y="1219421"/>
                </a:moveTo>
                <a:cubicBezTo>
                  <a:pt x="7906600" y="1219421"/>
                  <a:pt x="7931310" y="1244131"/>
                  <a:pt x="7931310" y="1274612"/>
                </a:cubicBezTo>
                <a:cubicBezTo>
                  <a:pt x="7931310" y="1305093"/>
                  <a:pt x="7906600" y="1329803"/>
                  <a:pt x="7876118" y="1329803"/>
                </a:cubicBezTo>
                <a:cubicBezTo>
                  <a:pt x="7845636" y="1329803"/>
                  <a:pt x="7820926" y="1305093"/>
                  <a:pt x="7820926" y="1274612"/>
                </a:cubicBezTo>
                <a:cubicBezTo>
                  <a:pt x="7820926" y="1244131"/>
                  <a:pt x="7845636" y="1219421"/>
                  <a:pt x="7876118" y="1219421"/>
                </a:cubicBezTo>
                <a:close/>
                <a:moveTo>
                  <a:pt x="7745823" y="1219421"/>
                </a:moveTo>
                <a:cubicBezTo>
                  <a:pt x="7776305" y="1219421"/>
                  <a:pt x="7801015" y="1244131"/>
                  <a:pt x="7801015" y="1274612"/>
                </a:cubicBezTo>
                <a:cubicBezTo>
                  <a:pt x="7801015" y="1305093"/>
                  <a:pt x="7776305" y="1329803"/>
                  <a:pt x="7745823" y="1329803"/>
                </a:cubicBezTo>
                <a:cubicBezTo>
                  <a:pt x="7715341" y="1329803"/>
                  <a:pt x="7690631" y="1305093"/>
                  <a:pt x="7690631" y="1274612"/>
                </a:cubicBezTo>
                <a:cubicBezTo>
                  <a:pt x="7690631" y="1244131"/>
                  <a:pt x="7715341" y="1219421"/>
                  <a:pt x="7745823" y="1219421"/>
                </a:cubicBezTo>
                <a:close/>
                <a:moveTo>
                  <a:pt x="7608849" y="1219421"/>
                </a:moveTo>
                <a:cubicBezTo>
                  <a:pt x="7639331" y="1219421"/>
                  <a:pt x="7664041" y="1244131"/>
                  <a:pt x="7664041" y="1274612"/>
                </a:cubicBezTo>
                <a:cubicBezTo>
                  <a:pt x="7664041" y="1305093"/>
                  <a:pt x="7639331" y="1329803"/>
                  <a:pt x="7608849" y="1329803"/>
                </a:cubicBezTo>
                <a:cubicBezTo>
                  <a:pt x="7578367" y="1329803"/>
                  <a:pt x="7553657" y="1305093"/>
                  <a:pt x="7553657" y="1274612"/>
                </a:cubicBezTo>
                <a:cubicBezTo>
                  <a:pt x="7553657" y="1244131"/>
                  <a:pt x="7578367" y="1219421"/>
                  <a:pt x="7608849" y="1219421"/>
                </a:cubicBezTo>
                <a:close/>
                <a:moveTo>
                  <a:pt x="7481897" y="1219421"/>
                </a:moveTo>
                <a:cubicBezTo>
                  <a:pt x="7512379" y="1219421"/>
                  <a:pt x="7537089" y="1244131"/>
                  <a:pt x="7537089" y="1274612"/>
                </a:cubicBezTo>
                <a:cubicBezTo>
                  <a:pt x="7537089" y="1305093"/>
                  <a:pt x="7512379" y="1329803"/>
                  <a:pt x="7481897" y="1329803"/>
                </a:cubicBezTo>
                <a:cubicBezTo>
                  <a:pt x="7451415" y="1329803"/>
                  <a:pt x="7426705" y="1305093"/>
                  <a:pt x="7426705" y="1274612"/>
                </a:cubicBezTo>
                <a:cubicBezTo>
                  <a:pt x="7426705" y="1244131"/>
                  <a:pt x="7451415" y="1219421"/>
                  <a:pt x="7481897" y="1219421"/>
                </a:cubicBezTo>
                <a:close/>
                <a:moveTo>
                  <a:pt x="7341579" y="1219421"/>
                </a:moveTo>
                <a:cubicBezTo>
                  <a:pt x="7372061" y="1219421"/>
                  <a:pt x="7396771" y="1244131"/>
                  <a:pt x="7396771" y="1274612"/>
                </a:cubicBezTo>
                <a:cubicBezTo>
                  <a:pt x="7396771" y="1305093"/>
                  <a:pt x="7372061" y="1329803"/>
                  <a:pt x="7341579" y="1329803"/>
                </a:cubicBezTo>
                <a:cubicBezTo>
                  <a:pt x="7311097" y="1329803"/>
                  <a:pt x="7286387" y="1305093"/>
                  <a:pt x="7286387" y="1274612"/>
                </a:cubicBezTo>
                <a:cubicBezTo>
                  <a:pt x="7286387" y="1244131"/>
                  <a:pt x="7311097" y="1219421"/>
                  <a:pt x="7341579" y="1219421"/>
                </a:cubicBezTo>
                <a:close/>
                <a:moveTo>
                  <a:pt x="7211286" y="1219421"/>
                </a:moveTo>
                <a:cubicBezTo>
                  <a:pt x="7241768" y="1219421"/>
                  <a:pt x="7266478" y="1244131"/>
                  <a:pt x="7266478" y="1274612"/>
                </a:cubicBezTo>
                <a:cubicBezTo>
                  <a:pt x="7266478" y="1305093"/>
                  <a:pt x="7241768" y="1329803"/>
                  <a:pt x="7211286" y="1329803"/>
                </a:cubicBezTo>
                <a:cubicBezTo>
                  <a:pt x="7180804" y="1329803"/>
                  <a:pt x="7156094" y="1305093"/>
                  <a:pt x="7156094" y="1274612"/>
                </a:cubicBezTo>
                <a:cubicBezTo>
                  <a:pt x="7156094" y="1244131"/>
                  <a:pt x="7180804" y="1219421"/>
                  <a:pt x="7211286" y="1219421"/>
                </a:cubicBezTo>
                <a:close/>
                <a:moveTo>
                  <a:pt x="7080993" y="1219421"/>
                </a:moveTo>
                <a:cubicBezTo>
                  <a:pt x="7111475" y="1219421"/>
                  <a:pt x="7136185" y="1244131"/>
                  <a:pt x="7136185" y="1274612"/>
                </a:cubicBezTo>
                <a:cubicBezTo>
                  <a:pt x="7136185" y="1305093"/>
                  <a:pt x="7111475" y="1329803"/>
                  <a:pt x="7080993" y="1329803"/>
                </a:cubicBezTo>
                <a:cubicBezTo>
                  <a:pt x="7050511" y="1329803"/>
                  <a:pt x="7025801" y="1305093"/>
                  <a:pt x="7025801" y="1274612"/>
                </a:cubicBezTo>
                <a:cubicBezTo>
                  <a:pt x="7025801" y="1244131"/>
                  <a:pt x="7050511" y="1219421"/>
                  <a:pt x="7080993" y="1219421"/>
                </a:cubicBezTo>
                <a:close/>
                <a:moveTo>
                  <a:pt x="6947357" y="1219421"/>
                </a:moveTo>
                <a:cubicBezTo>
                  <a:pt x="6977839" y="1219421"/>
                  <a:pt x="7002549" y="1244131"/>
                  <a:pt x="7002549" y="1274612"/>
                </a:cubicBezTo>
                <a:cubicBezTo>
                  <a:pt x="7002549" y="1305093"/>
                  <a:pt x="6977839" y="1329803"/>
                  <a:pt x="6947357" y="1329803"/>
                </a:cubicBezTo>
                <a:cubicBezTo>
                  <a:pt x="6916875" y="1329803"/>
                  <a:pt x="6892165" y="1305093"/>
                  <a:pt x="6892165" y="1274612"/>
                </a:cubicBezTo>
                <a:cubicBezTo>
                  <a:pt x="6892165" y="1244131"/>
                  <a:pt x="6916875" y="1219421"/>
                  <a:pt x="6947357" y="1219421"/>
                </a:cubicBezTo>
                <a:close/>
                <a:moveTo>
                  <a:pt x="6817064" y="1219421"/>
                </a:moveTo>
                <a:cubicBezTo>
                  <a:pt x="6847546" y="1219421"/>
                  <a:pt x="6872256" y="1244131"/>
                  <a:pt x="6872256" y="1274612"/>
                </a:cubicBezTo>
                <a:cubicBezTo>
                  <a:pt x="6872256" y="1305093"/>
                  <a:pt x="6847546" y="1329803"/>
                  <a:pt x="6817064" y="1329803"/>
                </a:cubicBezTo>
                <a:cubicBezTo>
                  <a:pt x="6786582" y="1329803"/>
                  <a:pt x="6761872" y="1305093"/>
                  <a:pt x="6761872" y="1274612"/>
                </a:cubicBezTo>
                <a:cubicBezTo>
                  <a:pt x="6761872" y="1244131"/>
                  <a:pt x="6786582" y="1219421"/>
                  <a:pt x="6817064" y="1219421"/>
                </a:cubicBezTo>
                <a:close/>
                <a:moveTo>
                  <a:pt x="6683431" y="1219421"/>
                </a:moveTo>
                <a:cubicBezTo>
                  <a:pt x="6713913" y="1219421"/>
                  <a:pt x="6738623" y="1244131"/>
                  <a:pt x="6738623" y="1274612"/>
                </a:cubicBezTo>
                <a:cubicBezTo>
                  <a:pt x="6738623" y="1305093"/>
                  <a:pt x="6713913" y="1329803"/>
                  <a:pt x="6683431" y="1329803"/>
                </a:cubicBezTo>
                <a:cubicBezTo>
                  <a:pt x="6652949" y="1329803"/>
                  <a:pt x="6628239" y="1305093"/>
                  <a:pt x="6628239" y="1274612"/>
                </a:cubicBezTo>
                <a:cubicBezTo>
                  <a:pt x="6628239" y="1244131"/>
                  <a:pt x="6652949" y="1219421"/>
                  <a:pt x="6683431" y="1219421"/>
                </a:cubicBezTo>
                <a:close/>
                <a:moveTo>
                  <a:pt x="6553137" y="1219421"/>
                </a:moveTo>
                <a:cubicBezTo>
                  <a:pt x="6583619" y="1219421"/>
                  <a:pt x="6608329" y="1244131"/>
                  <a:pt x="6608329" y="1274612"/>
                </a:cubicBezTo>
                <a:cubicBezTo>
                  <a:pt x="6608329" y="1305093"/>
                  <a:pt x="6583619" y="1329803"/>
                  <a:pt x="6553137" y="1329803"/>
                </a:cubicBezTo>
                <a:cubicBezTo>
                  <a:pt x="6522655" y="1329803"/>
                  <a:pt x="6497945" y="1305093"/>
                  <a:pt x="6497945" y="1274612"/>
                </a:cubicBezTo>
                <a:cubicBezTo>
                  <a:pt x="6497945" y="1244131"/>
                  <a:pt x="6522655" y="1219421"/>
                  <a:pt x="6553137" y="1219421"/>
                </a:cubicBezTo>
                <a:close/>
                <a:moveTo>
                  <a:pt x="6419502" y="1219421"/>
                </a:moveTo>
                <a:cubicBezTo>
                  <a:pt x="6449984" y="1219421"/>
                  <a:pt x="6474694" y="1244131"/>
                  <a:pt x="6474694" y="1274612"/>
                </a:cubicBezTo>
                <a:cubicBezTo>
                  <a:pt x="6474694" y="1305093"/>
                  <a:pt x="6449984" y="1329803"/>
                  <a:pt x="6419502" y="1329803"/>
                </a:cubicBezTo>
                <a:cubicBezTo>
                  <a:pt x="6389020" y="1329803"/>
                  <a:pt x="6364310" y="1305093"/>
                  <a:pt x="6364310" y="1274612"/>
                </a:cubicBezTo>
                <a:cubicBezTo>
                  <a:pt x="6364310" y="1244131"/>
                  <a:pt x="6389020" y="1219421"/>
                  <a:pt x="6419502" y="1219421"/>
                </a:cubicBezTo>
                <a:close/>
                <a:moveTo>
                  <a:pt x="6289207" y="1219421"/>
                </a:moveTo>
                <a:cubicBezTo>
                  <a:pt x="6319689" y="1219421"/>
                  <a:pt x="6344399" y="1244131"/>
                  <a:pt x="6344399" y="1274612"/>
                </a:cubicBezTo>
                <a:cubicBezTo>
                  <a:pt x="6344399" y="1305093"/>
                  <a:pt x="6319689" y="1329803"/>
                  <a:pt x="6289207" y="1329803"/>
                </a:cubicBezTo>
                <a:cubicBezTo>
                  <a:pt x="6258725" y="1329803"/>
                  <a:pt x="6234015" y="1305093"/>
                  <a:pt x="6234015" y="1274612"/>
                </a:cubicBezTo>
                <a:cubicBezTo>
                  <a:pt x="6234015" y="1244131"/>
                  <a:pt x="6258725" y="1219421"/>
                  <a:pt x="6289207" y="1219421"/>
                </a:cubicBezTo>
                <a:close/>
                <a:moveTo>
                  <a:pt x="6155573" y="1219421"/>
                </a:moveTo>
                <a:cubicBezTo>
                  <a:pt x="6186055" y="1219421"/>
                  <a:pt x="6210765" y="1244131"/>
                  <a:pt x="6210765" y="1274612"/>
                </a:cubicBezTo>
                <a:cubicBezTo>
                  <a:pt x="6210765" y="1305093"/>
                  <a:pt x="6186055" y="1329803"/>
                  <a:pt x="6155573" y="1329803"/>
                </a:cubicBezTo>
                <a:cubicBezTo>
                  <a:pt x="6125091" y="1329803"/>
                  <a:pt x="6100381" y="1305093"/>
                  <a:pt x="6100381" y="1274612"/>
                </a:cubicBezTo>
                <a:cubicBezTo>
                  <a:pt x="6100381" y="1244131"/>
                  <a:pt x="6125091" y="1219421"/>
                  <a:pt x="6155573" y="1219421"/>
                </a:cubicBezTo>
                <a:close/>
                <a:moveTo>
                  <a:pt x="6021939" y="1219421"/>
                </a:moveTo>
                <a:cubicBezTo>
                  <a:pt x="6052421" y="1219421"/>
                  <a:pt x="6077131" y="1244131"/>
                  <a:pt x="6077131" y="1274612"/>
                </a:cubicBezTo>
                <a:cubicBezTo>
                  <a:pt x="6077131" y="1305093"/>
                  <a:pt x="6052421" y="1329803"/>
                  <a:pt x="6021939" y="1329803"/>
                </a:cubicBezTo>
                <a:cubicBezTo>
                  <a:pt x="5991457" y="1329803"/>
                  <a:pt x="5966747" y="1305093"/>
                  <a:pt x="5966747" y="1274612"/>
                </a:cubicBezTo>
                <a:cubicBezTo>
                  <a:pt x="5966747" y="1244131"/>
                  <a:pt x="5991457" y="1219421"/>
                  <a:pt x="6021939" y="1219421"/>
                </a:cubicBezTo>
                <a:close/>
                <a:moveTo>
                  <a:pt x="5884964" y="1219421"/>
                </a:moveTo>
                <a:cubicBezTo>
                  <a:pt x="5915446" y="1219421"/>
                  <a:pt x="5940156" y="1244131"/>
                  <a:pt x="5940156" y="1274612"/>
                </a:cubicBezTo>
                <a:cubicBezTo>
                  <a:pt x="5940156" y="1305093"/>
                  <a:pt x="5915446" y="1329803"/>
                  <a:pt x="5884964" y="1329803"/>
                </a:cubicBezTo>
                <a:cubicBezTo>
                  <a:pt x="5854482" y="1329803"/>
                  <a:pt x="5829772" y="1305093"/>
                  <a:pt x="5829772" y="1274612"/>
                </a:cubicBezTo>
                <a:cubicBezTo>
                  <a:pt x="5829772" y="1244131"/>
                  <a:pt x="5854482" y="1219421"/>
                  <a:pt x="5884964" y="1219421"/>
                </a:cubicBezTo>
                <a:close/>
                <a:moveTo>
                  <a:pt x="5754668" y="1219421"/>
                </a:moveTo>
                <a:cubicBezTo>
                  <a:pt x="5785150" y="1219421"/>
                  <a:pt x="5809860" y="1244131"/>
                  <a:pt x="5809860" y="1274612"/>
                </a:cubicBezTo>
                <a:cubicBezTo>
                  <a:pt x="5809860" y="1305093"/>
                  <a:pt x="5785150" y="1329803"/>
                  <a:pt x="5754668" y="1329803"/>
                </a:cubicBezTo>
                <a:cubicBezTo>
                  <a:pt x="5724186" y="1329803"/>
                  <a:pt x="5699476" y="1305093"/>
                  <a:pt x="5699476" y="1274612"/>
                </a:cubicBezTo>
                <a:cubicBezTo>
                  <a:pt x="5699476" y="1244131"/>
                  <a:pt x="5724186" y="1219421"/>
                  <a:pt x="5754668" y="1219421"/>
                </a:cubicBezTo>
                <a:close/>
                <a:moveTo>
                  <a:pt x="5621034" y="1219421"/>
                </a:moveTo>
                <a:cubicBezTo>
                  <a:pt x="5651516" y="1219421"/>
                  <a:pt x="5676226" y="1244131"/>
                  <a:pt x="5676226" y="1274612"/>
                </a:cubicBezTo>
                <a:cubicBezTo>
                  <a:pt x="5676226" y="1305093"/>
                  <a:pt x="5651516" y="1329803"/>
                  <a:pt x="5621034" y="1329803"/>
                </a:cubicBezTo>
                <a:cubicBezTo>
                  <a:pt x="5590552" y="1329803"/>
                  <a:pt x="5565842" y="1305093"/>
                  <a:pt x="5565842" y="1274612"/>
                </a:cubicBezTo>
                <a:cubicBezTo>
                  <a:pt x="5565842" y="1244131"/>
                  <a:pt x="5590552" y="1219421"/>
                  <a:pt x="5621034" y="1219421"/>
                </a:cubicBezTo>
                <a:close/>
                <a:moveTo>
                  <a:pt x="5487399" y="1219421"/>
                </a:moveTo>
                <a:cubicBezTo>
                  <a:pt x="5517881" y="1219421"/>
                  <a:pt x="5542591" y="1244131"/>
                  <a:pt x="5542591" y="1274612"/>
                </a:cubicBezTo>
                <a:cubicBezTo>
                  <a:pt x="5542591" y="1305093"/>
                  <a:pt x="5517881" y="1329803"/>
                  <a:pt x="5487399" y="1329803"/>
                </a:cubicBezTo>
                <a:cubicBezTo>
                  <a:pt x="5456917" y="1329803"/>
                  <a:pt x="5432207" y="1305093"/>
                  <a:pt x="5432207" y="1274612"/>
                </a:cubicBezTo>
                <a:cubicBezTo>
                  <a:pt x="5432207" y="1244131"/>
                  <a:pt x="5456917" y="1219421"/>
                  <a:pt x="5487399" y="1219421"/>
                </a:cubicBezTo>
                <a:close/>
                <a:moveTo>
                  <a:pt x="5357106" y="1219421"/>
                </a:moveTo>
                <a:cubicBezTo>
                  <a:pt x="5387588" y="1219421"/>
                  <a:pt x="5412298" y="1244131"/>
                  <a:pt x="5412298" y="1274612"/>
                </a:cubicBezTo>
                <a:cubicBezTo>
                  <a:pt x="5412298" y="1305093"/>
                  <a:pt x="5387588" y="1329803"/>
                  <a:pt x="5357106" y="1329803"/>
                </a:cubicBezTo>
                <a:cubicBezTo>
                  <a:pt x="5326624" y="1329803"/>
                  <a:pt x="5301914" y="1305093"/>
                  <a:pt x="5301914" y="1274612"/>
                </a:cubicBezTo>
                <a:cubicBezTo>
                  <a:pt x="5301914" y="1244131"/>
                  <a:pt x="5326624" y="1219421"/>
                  <a:pt x="5357106" y="1219421"/>
                </a:cubicBezTo>
                <a:close/>
                <a:moveTo>
                  <a:pt x="5093178" y="1219421"/>
                </a:moveTo>
                <a:cubicBezTo>
                  <a:pt x="5123660" y="1219421"/>
                  <a:pt x="5148370" y="1244131"/>
                  <a:pt x="5148370" y="1274612"/>
                </a:cubicBezTo>
                <a:cubicBezTo>
                  <a:pt x="5148370" y="1305093"/>
                  <a:pt x="5123660" y="1329803"/>
                  <a:pt x="5093178" y="1329803"/>
                </a:cubicBezTo>
                <a:cubicBezTo>
                  <a:pt x="5062696" y="1329803"/>
                  <a:pt x="5037986" y="1305093"/>
                  <a:pt x="5037986" y="1274612"/>
                </a:cubicBezTo>
                <a:cubicBezTo>
                  <a:pt x="5037986" y="1244131"/>
                  <a:pt x="5062696" y="1219421"/>
                  <a:pt x="5093178" y="1219421"/>
                </a:cubicBezTo>
                <a:close/>
                <a:moveTo>
                  <a:pt x="4959542" y="1219421"/>
                </a:moveTo>
                <a:cubicBezTo>
                  <a:pt x="4990024" y="1219421"/>
                  <a:pt x="5014734" y="1244131"/>
                  <a:pt x="5014734" y="1274612"/>
                </a:cubicBezTo>
                <a:cubicBezTo>
                  <a:pt x="5014734" y="1305093"/>
                  <a:pt x="4990024" y="1329803"/>
                  <a:pt x="4959542" y="1329803"/>
                </a:cubicBezTo>
                <a:cubicBezTo>
                  <a:pt x="4929060" y="1329803"/>
                  <a:pt x="4904350" y="1305093"/>
                  <a:pt x="4904350" y="1274612"/>
                </a:cubicBezTo>
                <a:cubicBezTo>
                  <a:pt x="4904350" y="1244131"/>
                  <a:pt x="4929060" y="1219421"/>
                  <a:pt x="4959542" y="1219421"/>
                </a:cubicBezTo>
                <a:close/>
                <a:moveTo>
                  <a:pt x="4829250" y="1219421"/>
                </a:moveTo>
                <a:cubicBezTo>
                  <a:pt x="4859732" y="1219421"/>
                  <a:pt x="4884442" y="1244131"/>
                  <a:pt x="4884442" y="1274612"/>
                </a:cubicBezTo>
                <a:cubicBezTo>
                  <a:pt x="4884442" y="1305093"/>
                  <a:pt x="4859732" y="1329803"/>
                  <a:pt x="4829250" y="1329803"/>
                </a:cubicBezTo>
                <a:cubicBezTo>
                  <a:pt x="4798768" y="1329803"/>
                  <a:pt x="4774058" y="1305093"/>
                  <a:pt x="4774058" y="1274612"/>
                </a:cubicBezTo>
                <a:cubicBezTo>
                  <a:pt x="4774058" y="1244131"/>
                  <a:pt x="4798768" y="1219421"/>
                  <a:pt x="4829250" y="1219421"/>
                </a:cubicBezTo>
                <a:close/>
                <a:moveTo>
                  <a:pt x="319111" y="1219421"/>
                </a:moveTo>
                <a:cubicBezTo>
                  <a:pt x="349594" y="1219421"/>
                  <a:pt x="374305" y="1244131"/>
                  <a:pt x="374305" y="1274612"/>
                </a:cubicBezTo>
                <a:cubicBezTo>
                  <a:pt x="374305" y="1305093"/>
                  <a:pt x="349594" y="1329803"/>
                  <a:pt x="319111" y="1329803"/>
                </a:cubicBezTo>
                <a:cubicBezTo>
                  <a:pt x="288629" y="1329803"/>
                  <a:pt x="263920" y="1305093"/>
                  <a:pt x="263920" y="1274612"/>
                </a:cubicBezTo>
                <a:cubicBezTo>
                  <a:pt x="263920" y="1244131"/>
                  <a:pt x="288629" y="1219421"/>
                  <a:pt x="319111" y="1219421"/>
                </a:cubicBezTo>
                <a:close/>
                <a:moveTo>
                  <a:pt x="185480" y="1219421"/>
                </a:moveTo>
                <a:cubicBezTo>
                  <a:pt x="215961" y="1219421"/>
                  <a:pt x="240671" y="1244131"/>
                  <a:pt x="240671" y="1274612"/>
                </a:cubicBezTo>
                <a:cubicBezTo>
                  <a:pt x="240671" y="1305093"/>
                  <a:pt x="215961" y="1329803"/>
                  <a:pt x="185480" y="1329803"/>
                </a:cubicBezTo>
                <a:cubicBezTo>
                  <a:pt x="154998" y="1329803"/>
                  <a:pt x="130288" y="1305093"/>
                  <a:pt x="130288" y="1274612"/>
                </a:cubicBezTo>
                <a:cubicBezTo>
                  <a:pt x="130288" y="1244131"/>
                  <a:pt x="154998" y="1219421"/>
                  <a:pt x="185480" y="1219421"/>
                </a:cubicBezTo>
                <a:close/>
                <a:moveTo>
                  <a:pt x="449407" y="1219419"/>
                </a:moveTo>
                <a:cubicBezTo>
                  <a:pt x="479889" y="1219419"/>
                  <a:pt x="504600" y="1244129"/>
                  <a:pt x="504600" y="1274610"/>
                </a:cubicBezTo>
                <a:cubicBezTo>
                  <a:pt x="504600" y="1305091"/>
                  <a:pt x="479889" y="1329801"/>
                  <a:pt x="449407" y="1329801"/>
                </a:cubicBezTo>
                <a:cubicBezTo>
                  <a:pt x="418924" y="1329801"/>
                  <a:pt x="394214" y="1305091"/>
                  <a:pt x="394214" y="1274610"/>
                </a:cubicBezTo>
                <a:cubicBezTo>
                  <a:pt x="394214" y="1244129"/>
                  <a:pt x="418924" y="1219419"/>
                  <a:pt x="449407" y="1219419"/>
                </a:cubicBezTo>
                <a:close/>
                <a:moveTo>
                  <a:pt x="4565322" y="1219417"/>
                </a:moveTo>
                <a:cubicBezTo>
                  <a:pt x="4595804" y="1219417"/>
                  <a:pt x="4620514" y="1244127"/>
                  <a:pt x="4620514" y="1274608"/>
                </a:cubicBezTo>
                <a:cubicBezTo>
                  <a:pt x="4620514" y="1305089"/>
                  <a:pt x="4595804" y="1329799"/>
                  <a:pt x="4565322" y="1329799"/>
                </a:cubicBezTo>
                <a:cubicBezTo>
                  <a:pt x="4534840" y="1329799"/>
                  <a:pt x="4510130" y="1305089"/>
                  <a:pt x="4510130" y="1274608"/>
                </a:cubicBezTo>
                <a:cubicBezTo>
                  <a:pt x="4510130" y="1244127"/>
                  <a:pt x="4534840" y="1219417"/>
                  <a:pt x="4565322" y="1219417"/>
                </a:cubicBezTo>
                <a:close/>
                <a:moveTo>
                  <a:pt x="2834811" y="1219417"/>
                </a:moveTo>
                <a:cubicBezTo>
                  <a:pt x="2865293" y="1219417"/>
                  <a:pt x="2890003" y="1244127"/>
                  <a:pt x="2890003" y="1274608"/>
                </a:cubicBezTo>
                <a:cubicBezTo>
                  <a:pt x="2890003" y="1305089"/>
                  <a:pt x="2865293" y="1329799"/>
                  <a:pt x="2834811" y="1329799"/>
                </a:cubicBezTo>
                <a:cubicBezTo>
                  <a:pt x="2804329" y="1329799"/>
                  <a:pt x="2779620" y="1305089"/>
                  <a:pt x="2779620" y="1274608"/>
                </a:cubicBezTo>
                <a:cubicBezTo>
                  <a:pt x="2779620" y="1244127"/>
                  <a:pt x="2804329" y="1219417"/>
                  <a:pt x="2834811" y="1219417"/>
                </a:cubicBezTo>
                <a:close/>
                <a:moveTo>
                  <a:pt x="2707858" y="1219417"/>
                </a:moveTo>
                <a:cubicBezTo>
                  <a:pt x="2738341" y="1219417"/>
                  <a:pt x="2763052" y="1244127"/>
                  <a:pt x="2763052" y="1274608"/>
                </a:cubicBezTo>
                <a:cubicBezTo>
                  <a:pt x="2763052" y="1305089"/>
                  <a:pt x="2738341" y="1329799"/>
                  <a:pt x="2707858" y="1329799"/>
                </a:cubicBezTo>
                <a:cubicBezTo>
                  <a:pt x="2677377" y="1329799"/>
                  <a:pt x="2652667" y="1305089"/>
                  <a:pt x="2652667" y="1274608"/>
                </a:cubicBezTo>
                <a:cubicBezTo>
                  <a:pt x="2652667" y="1244127"/>
                  <a:pt x="2677377" y="1219417"/>
                  <a:pt x="2707858" y="1219417"/>
                </a:cubicBezTo>
                <a:close/>
                <a:moveTo>
                  <a:pt x="2570885" y="1219417"/>
                </a:moveTo>
                <a:cubicBezTo>
                  <a:pt x="2601367" y="1219417"/>
                  <a:pt x="2626075" y="1244127"/>
                  <a:pt x="2626075" y="1274608"/>
                </a:cubicBezTo>
                <a:cubicBezTo>
                  <a:pt x="2626075" y="1305089"/>
                  <a:pt x="2601367" y="1329799"/>
                  <a:pt x="2570885" y="1329799"/>
                </a:cubicBezTo>
                <a:cubicBezTo>
                  <a:pt x="2540401" y="1329799"/>
                  <a:pt x="2515692" y="1305089"/>
                  <a:pt x="2515692" y="1274608"/>
                </a:cubicBezTo>
                <a:cubicBezTo>
                  <a:pt x="2515692" y="1244127"/>
                  <a:pt x="2540401" y="1219417"/>
                  <a:pt x="2570885" y="1219417"/>
                </a:cubicBezTo>
                <a:close/>
                <a:moveTo>
                  <a:pt x="2039686" y="1219417"/>
                </a:moveTo>
                <a:cubicBezTo>
                  <a:pt x="2070169" y="1219417"/>
                  <a:pt x="2094880" y="1244127"/>
                  <a:pt x="2094880" y="1274608"/>
                </a:cubicBezTo>
                <a:cubicBezTo>
                  <a:pt x="2094880" y="1305089"/>
                  <a:pt x="2070169" y="1329799"/>
                  <a:pt x="2039686" y="1329799"/>
                </a:cubicBezTo>
                <a:cubicBezTo>
                  <a:pt x="2009204" y="1329799"/>
                  <a:pt x="1984493" y="1305089"/>
                  <a:pt x="1984493" y="1274608"/>
                </a:cubicBezTo>
                <a:cubicBezTo>
                  <a:pt x="1984493" y="1244127"/>
                  <a:pt x="2009204" y="1219417"/>
                  <a:pt x="2039686" y="1219417"/>
                </a:cubicBezTo>
                <a:close/>
                <a:moveTo>
                  <a:pt x="1909390" y="1219417"/>
                </a:moveTo>
                <a:cubicBezTo>
                  <a:pt x="1939873" y="1219417"/>
                  <a:pt x="1964583" y="1244127"/>
                  <a:pt x="1964583" y="1274608"/>
                </a:cubicBezTo>
                <a:cubicBezTo>
                  <a:pt x="1964583" y="1305089"/>
                  <a:pt x="1939873" y="1329799"/>
                  <a:pt x="1909390" y="1329799"/>
                </a:cubicBezTo>
                <a:cubicBezTo>
                  <a:pt x="1878908" y="1329799"/>
                  <a:pt x="1854197" y="1305089"/>
                  <a:pt x="1854197" y="1274608"/>
                </a:cubicBezTo>
                <a:cubicBezTo>
                  <a:pt x="1854197" y="1244127"/>
                  <a:pt x="1878908" y="1219417"/>
                  <a:pt x="1909390" y="1219417"/>
                </a:cubicBezTo>
                <a:close/>
                <a:moveTo>
                  <a:pt x="1779095" y="1219417"/>
                </a:moveTo>
                <a:cubicBezTo>
                  <a:pt x="1809577" y="1219417"/>
                  <a:pt x="1834287" y="1244127"/>
                  <a:pt x="1834287" y="1274608"/>
                </a:cubicBezTo>
                <a:cubicBezTo>
                  <a:pt x="1834287" y="1305089"/>
                  <a:pt x="1809577" y="1329799"/>
                  <a:pt x="1779095" y="1329799"/>
                </a:cubicBezTo>
                <a:cubicBezTo>
                  <a:pt x="1748613" y="1329799"/>
                  <a:pt x="1723902" y="1305089"/>
                  <a:pt x="1723902" y="1274608"/>
                </a:cubicBezTo>
                <a:cubicBezTo>
                  <a:pt x="1723902" y="1244127"/>
                  <a:pt x="1748613" y="1219417"/>
                  <a:pt x="1779095" y="1219417"/>
                </a:cubicBezTo>
                <a:close/>
                <a:moveTo>
                  <a:pt x="1645457" y="1219417"/>
                </a:moveTo>
                <a:cubicBezTo>
                  <a:pt x="1675941" y="1219417"/>
                  <a:pt x="1700655" y="1244127"/>
                  <a:pt x="1700655" y="1274608"/>
                </a:cubicBezTo>
                <a:cubicBezTo>
                  <a:pt x="1700655" y="1305089"/>
                  <a:pt x="1675941" y="1329799"/>
                  <a:pt x="1645457" y="1329799"/>
                </a:cubicBezTo>
                <a:cubicBezTo>
                  <a:pt x="1614977" y="1329799"/>
                  <a:pt x="1590265" y="1305089"/>
                  <a:pt x="1590265" y="1274608"/>
                </a:cubicBezTo>
                <a:cubicBezTo>
                  <a:pt x="1590265" y="1244127"/>
                  <a:pt x="1614977" y="1219417"/>
                  <a:pt x="1645457" y="1219417"/>
                </a:cubicBezTo>
                <a:close/>
                <a:moveTo>
                  <a:pt x="1515168" y="1219417"/>
                </a:moveTo>
                <a:cubicBezTo>
                  <a:pt x="1545647" y="1219417"/>
                  <a:pt x="1570354" y="1244127"/>
                  <a:pt x="1570354" y="1274608"/>
                </a:cubicBezTo>
                <a:cubicBezTo>
                  <a:pt x="1570354" y="1305089"/>
                  <a:pt x="1545647" y="1329799"/>
                  <a:pt x="1515168" y="1329799"/>
                </a:cubicBezTo>
                <a:cubicBezTo>
                  <a:pt x="1484683" y="1329799"/>
                  <a:pt x="1459973" y="1305089"/>
                  <a:pt x="1459973" y="1274608"/>
                </a:cubicBezTo>
                <a:cubicBezTo>
                  <a:pt x="1459973" y="1244127"/>
                  <a:pt x="1484683" y="1219417"/>
                  <a:pt x="1515168" y="1219417"/>
                </a:cubicBezTo>
                <a:close/>
                <a:moveTo>
                  <a:pt x="1381528" y="1219417"/>
                </a:moveTo>
                <a:cubicBezTo>
                  <a:pt x="1412011" y="1219417"/>
                  <a:pt x="1436723" y="1244127"/>
                  <a:pt x="1436723" y="1274608"/>
                </a:cubicBezTo>
                <a:cubicBezTo>
                  <a:pt x="1436723" y="1305089"/>
                  <a:pt x="1412011" y="1329799"/>
                  <a:pt x="1381528" y="1329799"/>
                </a:cubicBezTo>
                <a:cubicBezTo>
                  <a:pt x="1351052" y="1329799"/>
                  <a:pt x="1326339" y="1305089"/>
                  <a:pt x="1326339" y="1274608"/>
                </a:cubicBezTo>
                <a:cubicBezTo>
                  <a:pt x="1326339" y="1244127"/>
                  <a:pt x="1351052" y="1219417"/>
                  <a:pt x="1381528" y="1219417"/>
                </a:cubicBezTo>
                <a:close/>
                <a:moveTo>
                  <a:pt x="1251239" y="1219417"/>
                </a:moveTo>
                <a:cubicBezTo>
                  <a:pt x="1281721" y="1219417"/>
                  <a:pt x="1306431" y="1244127"/>
                  <a:pt x="1306431" y="1274608"/>
                </a:cubicBezTo>
                <a:cubicBezTo>
                  <a:pt x="1306431" y="1305089"/>
                  <a:pt x="1281721" y="1329799"/>
                  <a:pt x="1251239" y="1329799"/>
                </a:cubicBezTo>
                <a:cubicBezTo>
                  <a:pt x="1220756" y="1329799"/>
                  <a:pt x="1196046" y="1305089"/>
                  <a:pt x="1196046" y="1274608"/>
                </a:cubicBezTo>
                <a:cubicBezTo>
                  <a:pt x="1196046" y="1244127"/>
                  <a:pt x="1220756" y="1219417"/>
                  <a:pt x="1251239" y="1219417"/>
                </a:cubicBezTo>
                <a:close/>
                <a:moveTo>
                  <a:pt x="1117601" y="1219417"/>
                </a:moveTo>
                <a:cubicBezTo>
                  <a:pt x="1148084" y="1219417"/>
                  <a:pt x="1172794" y="1244127"/>
                  <a:pt x="1172794" y="1274608"/>
                </a:cubicBezTo>
                <a:cubicBezTo>
                  <a:pt x="1172794" y="1305089"/>
                  <a:pt x="1148084" y="1329799"/>
                  <a:pt x="1117601" y="1329799"/>
                </a:cubicBezTo>
                <a:cubicBezTo>
                  <a:pt x="1087119" y="1329799"/>
                  <a:pt x="1062408" y="1305089"/>
                  <a:pt x="1062408" y="1274608"/>
                </a:cubicBezTo>
                <a:cubicBezTo>
                  <a:pt x="1062408" y="1244127"/>
                  <a:pt x="1087119" y="1219417"/>
                  <a:pt x="1117601" y="1219417"/>
                </a:cubicBezTo>
                <a:close/>
                <a:moveTo>
                  <a:pt x="980622" y="1219417"/>
                </a:moveTo>
                <a:cubicBezTo>
                  <a:pt x="1011105" y="1219417"/>
                  <a:pt x="1035816" y="1244127"/>
                  <a:pt x="1035816" y="1274608"/>
                </a:cubicBezTo>
                <a:cubicBezTo>
                  <a:pt x="1035816" y="1305089"/>
                  <a:pt x="1011105" y="1329799"/>
                  <a:pt x="980622" y="1329799"/>
                </a:cubicBezTo>
                <a:cubicBezTo>
                  <a:pt x="950140" y="1329799"/>
                  <a:pt x="925429" y="1305089"/>
                  <a:pt x="925429" y="1274608"/>
                </a:cubicBezTo>
                <a:cubicBezTo>
                  <a:pt x="925429" y="1244127"/>
                  <a:pt x="950140" y="1219417"/>
                  <a:pt x="980622" y="1219417"/>
                </a:cubicBezTo>
                <a:close/>
                <a:moveTo>
                  <a:pt x="9469710" y="1099147"/>
                </a:moveTo>
                <a:cubicBezTo>
                  <a:pt x="9500192" y="1099147"/>
                  <a:pt x="9524902" y="1123857"/>
                  <a:pt x="9524902" y="1154338"/>
                </a:cubicBezTo>
                <a:cubicBezTo>
                  <a:pt x="9524902" y="1184819"/>
                  <a:pt x="9500192" y="1209529"/>
                  <a:pt x="9469710" y="1209529"/>
                </a:cubicBezTo>
                <a:cubicBezTo>
                  <a:pt x="9439228" y="1209529"/>
                  <a:pt x="9414518" y="1184819"/>
                  <a:pt x="9414518" y="1154338"/>
                </a:cubicBezTo>
                <a:cubicBezTo>
                  <a:pt x="9414518" y="1123857"/>
                  <a:pt x="9439228" y="1099147"/>
                  <a:pt x="9469710" y="1099147"/>
                </a:cubicBezTo>
                <a:close/>
                <a:moveTo>
                  <a:pt x="9336075" y="1099147"/>
                </a:moveTo>
                <a:cubicBezTo>
                  <a:pt x="9366557" y="1099147"/>
                  <a:pt x="9391267" y="1123857"/>
                  <a:pt x="9391267" y="1154338"/>
                </a:cubicBezTo>
                <a:cubicBezTo>
                  <a:pt x="9391267" y="1184819"/>
                  <a:pt x="9366557" y="1209529"/>
                  <a:pt x="9336075" y="1209529"/>
                </a:cubicBezTo>
                <a:cubicBezTo>
                  <a:pt x="9305593" y="1209529"/>
                  <a:pt x="9280883" y="1184819"/>
                  <a:pt x="9280883" y="1154338"/>
                </a:cubicBezTo>
                <a:cubicBezTo>
                  <a:pt x="9280883" y="1123857"/>
                  <a:pt x="9305593" y="1099147"/>
                  <a:pt x="9336075" y="1099147"/>
                </a:cubicBezTo>
                <a:close/>
                <a:moveTo>
                  <a:pt x="9199100" y="1099147"/>
                </a:moveTo>
                <a:cubicBezTo>
                  <a:pt x="9229582" y="1099147"/>
                  <a:pt x="9254292" y="1123857"/>
                  <a:pt x="9254292" y="1154338"/>
                </a:cubicBezTo>
                <a:cubicBezTo>
                  <a:pt x="9254292" y="1184819"/>
                  <a:pt x="9229582" y="1209529"/>
                  <a:pt x="9199100" y="1209529"/>
                </a:cubicBezTo>
                <a:cubicBezTo>
                  <a:pt x="9168618" y="1209529"/>
                  <a:pt x="9143908" y="1184819"/>
                  <a:pt x="9143908" y="1154338"/>
                </a:cubicBezTo>
                <a:cubicBezTo>
                  <a:pt x="9143908" y="1123857"/>
                  <a:pt x="9168618" y="1099147"/>
                  <a:pt x="9199100" y="1099147"/>
                </a:cubicBezTo>
                <a:close/>
                <a:moveTo>
                  <a:pt x="9068805" y="1099147"/>
                </a:moveTo>
                <a:cubicBezTo>
                  <a:pt x="9099287" y="1099147"/>
                  <a:pt x="9123997" y="1123857"/>
                  <a:pt x="9123997" y="1154338"/>
                </a:cubicBezTo>
                <a:cubicBezTo>
                  <a:pt x="9123997" y="1184819"/>
                  <a:pt x="9099287" y="1209529"/>
                  <a:pt x="9068805" y="1209529"/>
                </a:cubicBezTo>
                <a:cubicBezTo>
                  <a:pt x="9038323" y="1209529"/>
                  <a:pt x="9013613" y="1184819"/>
                  <a:pt x="9013613" y="1154338"/>
                </a:cubicBezTo>
                <a:cubicBezTo>
                  <a:pt x="9013613" y="1123857"/>
                  <a:pt x="9038323" y="1099147"/>
                  <a:pt x="9068805" y="1099147"/>
                </a:cubicBezTo>
                <a:close/>
                <a:moveTo>
                  <a:pt x="8935170" y="1099147"/>
                </a:moveTo>
                <a:cubicBezTo>
                  <a:pt x="8965652" y="1099147"/>
                  <a:pt x="8990362" y="1123857"/>
                  <a:pt x="8990362" y="1154338"/>
                </a:cubicBezTo>
                <a:cubicBezTo>
                  <a:pt x="8990362" y="1184819"/>
                  <a:pt x="8965652" y="1209529"/>
                  <a:pt x="8935170" y="1209529"/>
                </a:cubicBezTo>
                <a:cubicBezTo>
                  <a:pt x="8904688" y="1209529"/>
                  <a:pt x="8879978" y="1184819"/>
                  <a:pt x="8879978" y="1154338"/>
                </a:cubicBezTo>
                <a:cubicBezTo>
                  <a:pt x="8879978" y="1123857"/>
                  <a:pt x="8904688" y="1099147"/>
                  <a:pt x="8935170" y="1099147"/>
                </a:cubicBezTo>
                <a:close/>
                <a:moveTo>
                  <a:pt x="8801536" y="1099147"/>
                </a:moveTo>
                <a:cubicBezTo>
                  <a:pt x="8832018" y="1099147"/>
                  <a:pt x="8856728" y="1123857"/>
                  <a:pt x="8856728" y="1154338"/>
                </a:cubicBezTo>
                <a:cubicBezTo>
                  <a:pt x="8856728" y="1184819"/>
                  <a:pt x="8832018" y="1209529"/>
                  <a:pt x="8801536" y="1209529"/>
                </a:cubicBezTo>
                <a:cubicBezTo>
                  <a:pt x="8771054" y="1209529"/>
                  <a:pt x="8746344" y="1184819"/>
                  <a:pt x="8746344" y="1154338"/>
                </a:cubicBezTo>
                <a:cubicBezTo>
                  <a:pt x="8746344" y="1123857"/>
                  <a:pt x="8771054" y="1099147"/>
                  <a:pt x="8801536" y="1099147"/>
                </a:cubicBezTo>
                <a:close/>
                <a:moveTo>
                  <a:pt x="8671243" y="1099147"/>
                </a:moveTo>
                <a:cubicBezTo>
                  <a:pt x="8701725" y="1099147"/>
                  <a:pt x="8726435" y="1123857"/>
                  <a:pt x="8726435" y="1154338"/>
                </a:cubicBezTo>
                <a:cubicBezTo>
                  <a:pt x="8726435" y="1184819"/>
                  <a:pt x="8701725" y="1209529"/>
                  <a:pt x="8671243" y="1209529"/>
                </a:cubicBezTo>
                <a:cubicBezTo>
                  <a:pt x="8640761" y="1209529"/>
                  <a:pt x="8616051" y="1184819"/>
                  <a:pt x="8616051" y="1154338"/>
                </a:cubicBezTo>
                <a:cubicBezTo>
                  <a:pt x="8616051" y="1123857"/>
                  <a:pt x="8640761" y="1099147"/>
                  <a:pt x="8671243" y="1099147"/>
                </a:cubicBezTo>
                <a:close/>
                <a:moveTo>
                  <a:pt x="8537609" y="1099147"/>
                </a:moveTo>
                <a:cubicBezTo>
                  <a:pt x="8568091" y="1099147"/>
                  <a:pt x="8592801" y="1123857"/>
                  <a:pt x="8592801" y="1154338"/>
                </a:cubicBezTo>
                <a:cubicBezTo>
                  <a:pt x="8592801" y="1184819"/>
                  <a:pt x="8568091" y="1209529"/>
                  <a:pt x="8537609" y="1209529"/>
                </a:cubicBezTo>
                <a:cubicBezTo>
                  <a:pt x="8507127" y="1209529"/>
                  <a:pt x="8482417" y="1184819"/>
                  <a:pt x="8482417" y="1154338"/>
                </a:cubicBezTo>
                <a:cubicBezTo>
                  <a:pt x="8482417" y="1123857"/>
                  <a:pt x="8507127" y="1099147"/>
                  <a:pt x="8537609" y="1099147"/>
                </a:cubicBezTo>
                <a:close/>
                <a:moveTo>
                  <a:pt x="8407315" y="1099147"/>
                </a:moveTo>
                <a:cubicBezTo>
                  <a:pt x="8437797" y="1099147"/>
                  <a:pt x="8462507" y="1123857"/>
                  <a:pt x="8462507" y="1154338"/>
                </a:cubicBezTo>
                <a:cubicBezTo>
                  <a:pt x="8462507" y="1184819"/>
                  <a:pt x="8437797" y="1209529"/>
                  <a:pt x="8407315" y="1209529"/>
                </a:cubicBezTo>
                <a:cubicBezTo>
                  <a:pt x="8376833" y="1209529"/>
                  <a:pt x="8352123" y="1184819"/>
                  <a:pt x="8352123" y="1154338"/>
                </a:cubicBezTo>
                <a:cubicBezTo>
                  <a:pt x="8352123" y="1123857"/>
                  <a:pt x="8376833" y="1099147"/>
                  <a:pt x="8407315" y="1099147"/>
                </a:cubicBezTo>
                <a:close/>
                <a:moveTo>
                  <a:pt x="8273681" y="1099147"/>
                </a:moveTo>
                <a:cubicBezTo>
                  <a:pt x="8304163" y="1099147"/>
                  <a:pt x="8328873" y="1123857"/>
                  <a:pt x="8328873" y="1154338"/>
                </a:cubicBezTo>
                <a:cubicBezTo>
                  <a:pt x="8328873" y="1184819"/>
                  <a:pt x="8304163" y="1209529"/>
                  <a:pt x="8273681" y="1209529"/>
                </a:cubicBezTo>
                <a:cubicBezTo>
                  <a:pt x="8243199" y="1209529"/>
                  <a:pt x="8218489" y="1184819"/>
                  <a:pt x="8218489" y="1154338"/>
                </a:cubicBezTo>
                <a:cubicBezTo>
                  <a:pt x="8218489" y="1123857"/>
                  <a:pt x="8243199" y="1099147"/>
                  <a:pt x="8273681" y="1099147"/>
                </a:cubicBezTo>
                <a:close/>
                <a:moveTo>
                  <a:pt x="8143386" y="1099147"/>
                </a:moveTo>
                <a:cubicBezTo>
                  <a:pt x="8173868" y="1099147"/>
                  <a:pt x="8198578" y="1123857"/>
                  <a:pt x="8198578" y="1154338"/>
                </a:cubicBezTo>
                <a:cubicBezTo>
                  <a:pt x="8198578" y="1184819"/>
                  <a:pt x="8173868" y="1209529"/>
                  <a:pt x="8143386" y="1209529"/>
                </a:cubicBezTo>
                <a:cubicBezTo>
                  <a:pt x="8112904" y="1209529"/>
                  <a:pt x="8088194" y="1184819"/>
                  <a:pt x="8088194" y="1154338"/>
                </a:cubicBezTo>
                <a:cubicBezTo>
                  <a:pt x="8088194" y="1123857"/>
                  <a:pt x="8112904" y="1099147"/>
                  <a:pt x="8143386" y="1099147"/>
                </a:cubicBezTo>
                <a:close/>
                <a:moveTo>
                  <a:pt x="8009752" y="1099147"/>
                </a:moveTo>
                <a:cubicBezTo>
                  <a:pt x="8040234" y="1099147"/>
                  <a:pt x="8064944" y="1123857"/>
                  <a:pt x="8064944" y="1154338"/>
                </a:cubicBezTo>
                <a:cubicBezTo>
                  <a:pt x="8064944" y="1184819"/>
                  <a:pt x="8040234" y="1209529"/>
                  <a:pt x="8009752" y="1209529"/>
                </a:cubicBezTo>
                <a:cubicBezTo>
                  <a:pt x="7979270" y="1209529"/>
                  <a:pt x="7954560" y="1184819"/>
                  <a:pt x="7954560" y="1154338"/>
                </a:cubicBezTo>
                <a:cubicBezTo>
                  <a:pt x="7954560" y="1123857"/>
                  <a:pt x="7979270" y="1099147"/>
                  <a:pt x="8009752" y="1099147"/>
                </a:cubicBezTo>
                <a:close/>
                <a:moveTo>
                  <a:pt x="7876117" y="1099147"/>
                </a:moveTo>
                <a:cubicBezTo>
                  <a:pt x="7906599" y="1099147"/>
                  <a:pt x="7931309" y="1123857"/>
                  <a:pt x="7931309" y="1154338"/>
                </a:cubicBezTo>
                <a:cubicBezTo>
                  <a:pt x="7931309" y="1184819"/>
                  <a:pt x="7906599" y="1209529"/>
                  <a:pt x="7876117" y="1209529"/>
                </a:cubicBezTo>
                <a:cubicBezTo>
                  <a:pt x="7845635" y="1209529"/>
                  <a:pt x="7820925" y="1184819"/>
                  <a:pt x="7820925" y="1154338"/>
                </a:cubicBezTo>
                <a:cubicBezTo>
                  <a:pt x="7820925" y="1123857"/>
                  <a:pt x="7845635" y="1099147"/>
                  <a:pt x="7876117" y="1099147"/>
                </a:cubicBezTo>
                <a:close/>
                <a:moveTo>
                  <a:pt x="7745822" y="1099147"/>
                </a:moveTo>
                <a:cubicBezTo>
                  <a:pt x="7776304" y="1099147"/>
                  <a:pt x="7801014" y="1123857"/>
                  <a:pt x="7801014" y="1154338"/>
                </a:cubicBezTo>
                <a:cubicBezTo>
                  <a:pt x="7801014" y="1184819"/>
                  <a:pt x="7776304" y="1209529"/>
                  <a:pt x="7745822" y="1209529"/>
                </a:cubicBezTo>
                <a:cubicBezTo>
                  <a:pt x="7715340" y="1209529"/>
                  <a:pt x="7690630" y="1184819"/>
                  <a:pt x="7690630" y="1154338"/>
                </a:cubicBezTo>
                <a:cubicBezTo>
                  <a:pt x="7690630" y="1123857"/>
                  <a:pt x="7715340" y="1099147"/>
                  <a:pt x="7745822" y="1099147"/>
                </a:cubicBezTo>
                <a:close/>
                <a:moveTo>
                  <a:pt x="7608847" y="1099147"/>
                </a:moveTo>
                <a:cubicBezTo>
                  <a:pt x="7639329" y="1099147"/>
                  <a:pt x="7664039" y="1123857"/>
                  <a:pt x="7664039" y="1154338"/>
                </a:cubicBezTo>
                <a:cubicBezTo>
                  <a:pt x="7664039" y="1184819"/>
                  <a:pt x="7639329" y="1209529"/>
                  <a:pt x="7608847" y="1209529"/>
                </a:cubicBezTo>
                <a:cubicBezTo>
                  <a:pt x="7578365" y="1209529"/>
                  <a:pt x="7553655" y="1184819"/>
                  <a:pt x="7553655" y="1154338"/>
                </a:cubicBezTo>
                <a:cubicBezTo>
                  <a:pt x="7553655" y="1123857"/>
                  <a:pt x="7578365" y="1099147"/>
                  <a:pt x="7608847" y="1099147"/>
                </a:cubicBezTo>
                <a:close/>
                <a:moveTo>
                  <a:pt x="7481895" y="1099147"/>
                </a:moveTo>
                <a:cubicBezTo>
                  <a:pt x="7512377" y="1099147"/>
                  <a:pt x="7537087" y="1123857"/>
                  <a:pt x="7537087" y="1154338"/>
                </a:cubicBezTo>
                <a:cubicBezTo>
                  <a:pt x="7537087" y="1184819"/>
                  <a:pt x="7512377" y="1209529"/>
                  <a:pt x="7481895" y="1209529"/>
                </a:cubicBezTo>
                <a:cubicBezTo>
                  <a:pt x="7451413" y="1209529"/>
                  <a:pt x="7426703" y="1184819"/>
                  <a:pt x="7426703" y="1154338"/>
                </a:cubicBezTo>
                <a:cubicBezTo>
                  <a:pt x="7426703" y="1123857"/>
                  <a:pt x="7451413" y="1099147"/>
                  <a:pt x="7481895" y="1099147"/>
                </a:cubicBezTo>
                <a:close/>
                <a:moveTo>
                  <a:pt x="7341578" y="1099147"/>
                </a:moveTo>
                <a:cubicBezTo>
                  <a:pt x="7372060" y="1099147"/>
                  <a:pt x="7396770" y="1123857"/>
                  <a:pt x="7396770" y="1154338"/>
                </a:cubicBezTo>
                <a:cubicBezTo>
                  <a:pt x="7396770" y="1184819"/>
                  <a:pt x="7372060" y="1209529"/>
                  <a:pt x="7341578" y="1209529"/>
                </a:cubicBezTo>
                <a:cubicBezTo>
                  <a:pt x="7311096" y="1209529"/>
                  <a:pt x="7286386" y="1184819"/>
                  <a:pt x="7286386" y="1154338"/>
                </a:cubicBezTo>
                <a:cubicBezTo>
                  <a:pt x="7286386" y="1123857"/>
                  <a:pt x="7311096" y="1099147"/>
                  <a:pt x="7341578" y="1099147"/>
                </a:cubicBezTo>
                <a:close/>
                <a:moveTo>
                  <a:pt x="7211285" y="1099147"/>
                </a:moveTo>
                <a:cubicBezTo>
                  <a:pt x="7241767" y="1099147"/>
                  <a:pt x="7266477" y="1123857"/>
                  <a:pt x="7266477" y="1154338"/>
                </a:cubicBezTo>
                <a:cubicBezTo>
                  <a:pt x="7266477" y="1184819"/>
                  <a:pt x="7241767" y="1209529"/>
                  <a:pt x="7211285" y="1209529"/>
                </a:cubicBezTo>
                <a:cubicBezTo>
                  <a:pt x="7180803" y="1209529"/>
                  <a:pt x="7156093" y="1184819"/>
                  <a:pt x="7156093" y="1154338"/>
                </a:cubicBezTo>
                <a:cubicBezTo>
                  <a:pt x="7156093" y="1123857"/>
                  <a:pt x="7180803" y="1099147"/>
                  <a:pt x="7211285" y="1099147"/>
                </a:cubicBezTo>
                <a:close/>
                <a:moveTo>
                  <a:pt x="7080991" y="1099147"/>
                </a:moveTo>
                <a:cubicBezTo>
                  <a:pt x="7111473" y="1099147"/>
                  <a:pt x="7136183" y="1123857"/>
                  <a:pt x="7136183" y="1154338"/>
                </a:cubicBezTo>
                <a:cubicBezTo>
                  <a:pt x="7136183" y="1184819"/>
                  <a:pt x="7111473" y="1209529"/>
                  <a:pt x="7080991" y="1209529"/>
                </a:cubicBezTo>
                <a:cubicBezTo>
                  <a:pt x="7050509" y="1209529"/>
                  <a:pt x="7025799" y="1184819"/>
                  <a:pt x="7025799" y="1154338"/>
                </a:cubicBezTo>
                <a:cubicBezTo>
                  <a:pt x="7025799" y="1123857"/>
                  <a:pt x="7050509" y="1099147"/>
                  <a:pt x="7080991" y="1099147"/>
                </a:cubicBezTo>
                <a:close/>
                <a:moveTo>
                  <a:pt x="6947356" y="1099147"/>
                </a:moveTo>
                <a:cubicBezTo>
                  <a:pt x="6977838" y="1099147"/>
                  <a:pt x="7002548" y="1123857"/>
                  <a:pt x="7002548" y="1154338"/>
                </a:cubicBezTo>
                <a:cubicBezTo>
                  <a:pt x="7002548" y="1184819"/>
                  <a:pt x="6977838" y="1209529"/>
                  <a:pt x="6947356" y="1209529"/>
                </a:cubicBezTo>
                <a:cubicBezTo>
                  <a:pt x="6916874" y="1209529"/>
                  <a:pt x="6892164" y="1184819"/>
                  <a:pt x="6892164" y="1154338"/>
                </a:cubicBezTo>
                <a:cubicBezTo>
                  <a:pt x="6892164" y="1123857"/>
                  <a:pt x="6916874" y="1099147"/>
                  <a:pt x="6947356" y="1099147"/>
                </a:cubicBezTo>
                <a:close/>
                <a:moveTo>
                  <a:pt x="6817063" y="1099147"/>
                </a:moveTo>
                <a:cubicBezTo>
                  <a:pt x="6847545" y="1099147"/>
                  <a:pt x="6872255" y="1123857"/>
                  <a:pt x="6872255" y="1154338"/>
                </a:cubicBezTo>
                <a:cubicBezTo>
                  <a:pt x="6872255" y="1184819"/>
                  <a:pt x="6847545" y="1209529"/>
                  <a:pt x="6817063" y="1209529"/>
                </a:cubicBezTo>
                <a:cubicBezTo>
                  <a:pt x="6786581" y="1209529"/>
                  <a:pt x="6761871" y="1184819"/>
                  <a:pt x="6761871" y="1154338"/>
                </a:cubicBezTo>
                <a:cubicBezTo>
                  <a:pt x="6761871" y="1123857"/>
                  <a:pt x="6786581" y="1099147"/>
                  <a:pt x="6817063" y="1099147"/>
                </a:cubicBezTo>
                <a:close/>
                <a:moveTo>
                  <a:pt x="6683430" y="1099147"/>
                </a:moveTo>
                <a:cubicBezTo>
                  <a:pt x="6713912" y="1099147"/>
                  <a:pt x="6738622" y="1123857"/>
                  <a:pt x="6738622" y="1154338"/>
                </a:cubicBezTo>
                <a:cubicBezTo>
                  <a:pt x="6738622" y="1184819"/>
                  <a:pt x="6713912" y="1209529"/>
                  <a:pt x="6683430" y="1209529"/>
                </a:cubicBezTo>
                <a:cubicBezTo>
                  <a:pt x="6652948" y="1209529"/>
                  <a:pt x="6628238" y="1184819"/>
                  <a:pt x="6628238" y="1154338"/>
                </a:cubicBezTo>
                <a:cubicBezTo>
                  <a:pt x="6628238" y="1123857"/>
                  <a:pt x="6652948" y="1099147"/>
                  <a:pt x="6683430" y="1099147"/>
                </a:cubicBezTo>
                <a:close/>
                <a:moveTo>
                  <a:pt x="6553135" y="1099147"/>
                </a:moveTo>
                <a:cubicBezTo>
                  <a:pt x="6583617" y="1099147"/>
                  <a:pt x="6608327" y="1123857"/>
                  <a:pt x="6608327" y="1154338"/>
                </a:cubicBezTo>
                <a:cubicBezTo>
                  <a:pt x="6608327" y="1184819"/>
                  <a:pt x="6583617" y="1209529"/>
                  <a:pt x="6553135" y="1209529"/>
                </a:cubicBezTo>
                <a:cubicBezTo>
                  <a:pt x="6522653" y="1209529"/>
                  <a:pt x="6497943" y="1184819"/>
                  <a:pt x="6497943" y="1154338"/>
                </a:cubicBezTo>
                <a:cubicBezTo>
                  <a:pt x="6497943" y="1123857"/>
                  <a:pt x="6522653" y="1099147"/>
                  <a:pt x="6553135" y="1099147"/>
                </a:cubicBezTo>
                <a:close/>
                <a:moveTo>
                  <a:pt x="6419501" y="1099147"/>
                </a:moveTo>
                <a:cubicBezTo>
                  <a:pt x="6449983" y="1099147"/>
                  <a:pt x="6474693" y="1123857"/>
                  <a:pt x="6474693" y="1154338"/>
                </a:cubicBezTo>
                <a:cubicBezTo>
                  <a:pt x="6474693" y="1184819"/>
                  <a:pt x="6449983" y="1209529"/>
                  <a:pt x="6419501" y="1209529"/>
                </a:cubicBezTo>
                <a:cubicBezTo>
                  <a:pt x="6389019" y="1209529"/>
                  <a:pt x="6364309" y="1184819"/>
                  <a:pt x="6364309" y="1154338"/>
                </a:cubicBezTo>
                <a:cubicBezTo>
                  <a:pt x="6364309" y="1123857"/>
                  <a:pt x="6389019" y="1099147"/>
                  <a:pt x="6419501" y="1099147"/>
                </a:cubicBezTo>
                <a:close/>
                <a:moveTo>
                  <a:pt x="6289206" y="1099147"/>
                </a:moveTo>
                <a:cubicBezTo>
                  <a:pt x="6319688" y="1099147"/>
                  <a:pt x="6344398" y="1123857"/>
                  <a:pt x="6344398" y="1154338"/>
                </a:cubicBezTo>
                <a:cubicBezTo>
                  <a:pt x="6344398" y="1184819"/>
                  <a:pt x="6319688" y="1209529"/>
                  <a:pt x="6289206" y="1209529"/>
                </a:cubicBezTo>
                <a:cubicBezTo>
                  <a:pt x="6258724" y="1209529"/>
                  <a:pt x="6234014" y="1184819"/>
                  <a:pt x="6234014" y="1154338"/>
                </a:cubicBezTo>
                <a:cubicBezTo>
                  <a:pt x="6234014" y="1123857"/>
                  <a:pt x="6258724" y="1099147"/>
                  <a:pt x="6289206" y="1099147"/>
                </a:cubicBezTo>
                <a:close/>
                <a:moveTo>
                  <a:pt x="6155571" y="1099147"/>
                </a:moveTo>
                <a:cubicBezTo>
                  <a:pt x="6186053" y="1099147"/>
                  <a:pt x="6210763" y="1123857"/>
                  <a:pt x="6210763" y="1154338"/>
                </a:cubicBezTo>
                <a:cubicBezTo>
                  <a:pt x="6210763" y="1184819"/>
                  <a:pt x="6186053" y="1209529"/>
                  <a:pt x="6155571" y="1209529"/>
                </a:cubicBezTo>
                <a:cubicBezTo>
                  <a:pt x="6125089" y="1209529"/>
                  <a:pt x="6100379" y="1184819"/>
                  <a:pt x="6100379" y="1154338"/>
                </a:cubicBezTo>
                <a:cubicBezTo>
                  <a:pt x="6100379" y="1123857"/>
                  <a:pt x="6125089" y="1099147"/>
                  <a:pt x="6155571" y="1099147"/>
                </a:cubicBezTo>
                <a:close/>
                <a:moveTo>
                  <a:pt x="6021938" y="1099147"/>
                </a:moveTo>
                <a:cubicBezTo>
                  <a:pt x="6052420" y="1099147"/>
                  <a:pt x="6077130" y="1123857"/>
                  <a:pt x="6077130" y="1154338"/>
                </a:cubicBezTo>
                <a:cubicBezTo>
                  <a:pt x="6077130" y="1184819"/>
                  <a:pt x="6052420" y="1209529"/>
                  <a:pt x="6021938" y="1209529"/>
                </a:cubicBezTo>
                <a:cubicBezTo>
                  <a:pt x="5991456" y="1209529"/>
                  <a:pt x="5966746" y="1184819"/>
                  <a:pt x="5966746" y="1154338"/>
                </a:cubicBezTo>
                <a:cubicBezTo>
                  <a:pt x="5966746" y="1123857"/>
                  <a:pt x="5991456" y="1099147"/>
                  <a:pt x="6021938" y="1099147"/>
                </a:cubicBezTo>
                <a:close/>
                <a:moveTo>
                  <a:pt x="5884963" y="1099147"/>
                </a:moveTo>
                <a:cubicBezTo>
                  <a:pt x="5915445" y="1099147"/>
                  <a:pt x="5940155" y="1123857"/>
                  <a:pt x="5940155" y="1154338"/>
                </a:cubicBezTo>
                <a:cubicBezTo>
                  <a:pt x="5940155" y="1184819"/>
                  <a:pt x="5915445" y="1209529"/>
                  <a:pt x="5884963" y="1209529"/>
                </a:cubicBezTo>
                <a:cubicBezTo>
                  <a:pt x="5854481" y="1209529"/>
                  <a:pt x="5829771" y="1184819"/>
                  <a:pt x="5829771" y="1154338"/>
                </a:cubicBezTo>
                <a:cubicBezTo>
                  <a:pt x="5829771" y="1123857"/>
                  <a:pt x="5854481" y="1099147"/>
                  <a:pt x="5884963" y="1099147"/>
                </a:cubicBezTo>
                <a:close/>
                <a:moveTo>
                  <a:pt x="5754668" y="1099147"/>
                </a:moveTo>
                <a:cubicBezTo>
                  <a:pt x="5785150" y="1099147"/>
                  <a:pt x="5809860" y="1123857"/>
                  <a:pt x="5809860" y="1154338"/>
                </a:cubicBezTo>
                <a:cubicBezTo>
                  <a:pt x="5809860" y="1184819"/>
                  <a:pt x="5785150" y="1209529"/>
                  <a:pt x="5754668" y="1209529"/>
                </a:cubicBezTo>
                <a:cubicBezTo>
                  <a:pt x="5724186" y="1209529"/>
                  <a:pt x="5699476" y="1184819"/>
                  <a:pt x="5699476" y="1154338"/>
                </a:cubicBezTo>
                <a:cubicBezTo>
                  <a:pt x="5699476" y="1123857"/>
                  <a:pt x="5724186" y="1099147"/>
                  <a:pt x="5754668" y="1099147"/>
                </a:cubicBezTo>
                <a:close/>
                <a:moveTo>
                  <a:pt x="5621031" y="1099147"/>
                </a:moveTo>
                <a:cubicBezTo>
                  <a:pt x="5651513" y="1099147"/>
                  <a:pt x="5676223" y="1123857"/>
                  <a:pt x="5676223" y="1154338"/>
                </a:cubicBezTo>
                <a:cubicBezTo>
                  <a:pt x="5676223" y="1184819"/>
                  <a:pt x="5651513" y="1209529"/>
                  <a:pt x="5621031" y="1209529"/>
                </a:cubicBezTo>
                <a:cubicBezTo>
                  <a:pt x="5590549" y="1209529"/>
                  <a:pt x="5565839" y="1184819"/>
                  <a:pt x="5565839" y="1154338"/>
                </a:cubicBezTo>
                <a:cubicBezTo>
                  <a:pt x="5565839" y="1123857"/>
                  <a:pt x="5590549" y="1099147"/>
                  <a:pt x="5621031" y="1099147"/>
                </a:cubicBezTo>
                <a:close/>
                <a:moveTo>
                  <a:pt x="5487398" y="1099147"/>
                </a:moveTo>
                <a:cubicBezTo>
                  <a:pt x="5517880" y="1099147"/>
                  <a:pt x="5542590" y="1123857"/>
                  <a:pt x="5542590" y="1154338"/>
                </a:cubicBezTo>
                <a:cubicBezTo>
                  <a:pt x="5542590" y="1184819"/>
                  <a:pt x="5517880" y="1209529"/>
                  <a:pt x="5487398" y="1209529"/>
                </a:cubicBezTo>
                <a:cubicBezTo>
                  <a:pt x="5456916" y="1209529"/>
                  <a:pt x="5432206" y="1184819"/>
                  <a:pt x="5432206" y="1154338"/>
                </a:cubicBezTo>
                <a:cubicBezTo>
                  <a:pt x="5432206" y="1123857"/>
                  <a:pt x="5456916" y="1099147"/>
                  <a:pt x="5487398" y="1099147"/>
                </a:cubicBezTo>
                <a:close/>
                <a:moveTo>
                  <a:pt x="5357105" y="1099147"/>
                </a:moveTo>
                <a:cubicBezTo>
                  <a:pt x="5387587" y="1099147"/>
                  <a:pt x="5412297" y="1123857"/>
                  <a:pt x="5412297" y="1154338"/>
                </a:cubicBezTo>
                <a:cubicBezTo>
                  <a:pt x="5412297" y="1184819"/>
                  <a:pt x="5387587" y="1209529"/>
                  <a:pt x="5357105" y="1209529"/>
                </a:cubicBezTo>
                <a:cubicBezTo>
                  <a:pt x="5326623" y="1209529"/>
                  <a:pt x="5301913" y="1184819"/>
                  <a:pt x="5301913" y="1154338"/>
                </a:cubicBezTo>
                <a:cubicBezTo>
                  <a:pt x="5301913" y="1123857"/>
                  <a:pt x="5326623" y="1099147"/>
                  <a:pt x="5357105" y="1099147"/>
                </a:cubicBezTo>
                <a:close/>
                <a:moveTo>
                  <a:pt x="5093176" y="1099147"/>
                </a:moveTo>
                <a:cubicBezTo>
                  <a:pt x="5123658" y="1099147"/>
                  <a:pt x="5148368" y="1123857"/>
                  <a:pt x="5148368" y="1154338"/>
                </a:cubicBezTo>
                <a:cubicBezTo>
                  <a:pt x="5148368" y="1184819"/>
                  <a:pt x="5123658" y="1209529"/>
                  <a:pt x="5093176" y="1209529"/>
                </a:cubicBezTo>
                <a:cubicBezTo>
                  <a:pt x="5062694" y="1209529"/>
                  <a:pt x="5037984" y="1184819"/>
                  <a:pt x="5037984" y="1154338"/>
                </a:cubicBezTo>
                <a:cubicBezTo>
                  <a:pt x="5037984" y="1123857"/>
                  <a:pt x="5062694" y="1099147"/>
                  <a:pt x="5093176" y="1099147"/>
                </a:cubicBezTo>
                <a:close/>
                <a:moveTo>
                  <a:pt x="4959540" y="1099147"/>
                </a:moveTo>
                <a:cubicBezTo>
                  <a:pt x="4990022" y="1099147"/>
                  <a:pt x="5014732" y="1123857"/>
                  <a:pt x="5014732" y="1154338"/>
                </a:cubicBezTo>
                <a:cubicBezTo>
                  <a:pt x="5014732" y="1184819"/>
                  <a:pt x="4990022" y="1209529"/>
                  <a:pt x="4959540" y="1209529"/>
                </a:cubicBezTo>
                <a:cubicBezTo>
                  <a:pt x="4929058" y="1209529"/>
                  <a:pt x="4904348" y="1184819"/>
                  <a:pt x="4904348" y="1154338"/>
                </a:cubicBezTo>
                <a:cubicBezTo>
                  <a:pt x="4904348" y="1123857"/>
                  <a:pt x="4929058" y="1099147"/>
                  <a:pt x="4959540" y="1099147"/>
                </a:cubicBezTo>
                <a:close/>
                <a:moveTo>
                  <a:pt x="4829246" y="1099147"/>
                </a:moveTo>
                <a:cubicBezTo>
                  <a:pt x="4859728" y="1099147"/>
                  <a:pt x="4884438" y="1123857"/>
                  <a:pt x="4884438" y="1154338"/>
                </a:cubicBezTo>
                <a:cubicBezTo>
                  <a:pt x="4884438" y="1184819"/>
                  <a:pt x="4859728" y="1209529"/>
                  <a:pt x="4829246" y="1209529"/>
                </a:cubicBezTo>
                <a:cubicBezTo>
                  <a:pt x="4798764" y="1209529"/>
                  <a:pt x="4774054" y="1184819"/>
                  <a:pt x="4774054" y="1154338"/>
                </a:cubicBezTo>
                <a:cubicBezTo>
                  <a:pt x="4774054" y="1123857"/>
                  <a:pt x="4798764" y="1099147"/>
                  <a:pt x="4829246" y="1099147"/>
                </a:cubicBezTo>
                <a:close/>
                <a:moveTo>
                  <a:pt x="319117" y="1099147"/>
                </a:moveTo>
                <a:cubicBezTo>
                  <a:pt x="349600" y="1099147"/>
                  <a:pt x="374310" y="1123857"/>
                  <a:pt x="374310" y="1154338"/>
                </a:cubicBezTo>
                <a:cubicBezTo>
                  <a:pt x="374310" y="1184819"/>
                  <a:pt x="349600" y="1209529"/>
                  <a:pt x="319117" y="1209529"/>
                </a:cubicBezTo>
                <a:cubicBezTo>
                  <a:pt x="288635" y="1209529"/>
                  <a:pt x="263926" y="1184819"/>
                  <a:pt x="263926" y="1154338"/>
                </a:cubicBezTo>
                <a:cubicBezTo>
                  <a:pt x="263926" y="1123857"/>
                  <a:pt x="288635" y="1099147"/>
                  <a:pt x="319117" y="1099147"/>
                </a:cubicBezTo>
                <a:close/>
                <a:moveTo>
                  <a:pt x="185484" y="1099147"/>
                </a:moveTo>
                <a:cubicBezTo>
                  <a:pt x="215966" y="1099147"/>
                  <a:pt x="240675" y="1123857"/>
                  <a:pt x="240675" y="1154338"/>
                </a:cubicBezTo>
                <a:cubicBezTo>
                  <a:pt x="240675" y="1184819"/>
                  <a:pt x="215966" y="1209529"/>
                  <a:pt x="185484" y="1209529"/>
                </a:cubicBezTo>
                <a:cubicBezTo>
                  <a:pt x="155003" y="1209529"/>
                  <a:pt x="130292" y="1184819"/>
                  <a:pt x="130292" y="1154338"/>
                </a:cubicBezTo>
                <a:cubicBezTo>
                  <a:pt x="130292" y="1123857"/>
                  <a:pt x="155003" y="1099147"/>
                  <a:pt x="185484" y="1099147"/>
                </a:cubicBezTo>
                <a:close/>
                <a:moveTo>
                  <a:pt x="55190" y="1099147"/>
                </a:moveTo>
                <a:cubicBezTo>
                  <a:pt x="85672" y="1099147"/>
                  <a:pt x="110381" y="1123857"/>
                  <a:pt x="110381" y="1154338"/>
                </a:cubicBezTo>
                <a:cubicBezTo>
                  <a:pt x="110381" y="1184819"/>
                  <a:pt x="85672" y="1209529"/>
                  <a:pt x="55190" y="1209529"/>
                </a:cubicBezTo>
                <a:cubicBezTo>
                  <a:pt x="24708" y="1209529"/>
                  <a:pt x="0" y="1184819"/>
                  <a:pt x="0" y="1154338"/>
                </a:cubicBezTo>
                <a:cubicBezTo>
                  <a:pt x="0" y="1123857"/>
                  <a:pt x="24708" y="1099147"/>
                  <a:pt x="55190" y="1099147"/>
                </a:cubicBezTo>
                <a:close/>
                <a:moveTo>
                  <a:pt x="3499584" y="1099146"/>
                </a:moveTo>
                <a:cubicBezTo>
                  <a:pt x="3530066" y="1099146"/>
                  <a:pt x="3554776" y="1123856"/>
                  <a:pt x="3554776" y="1154337"/>
                </a:cubicBezTo>
                <a:cubicBezTo>
                  <a:pt x="3554776" y="1184818"/>
                  <a:pt x="3530066" y="1209528"/>
                  <a:pt x="3499584" y="1209528"/>
                </a:cubicBezTo>
                <a:cubicBezTo>
                  <a:pt x="3469102" y="1209528"/>
                  <a:pt x="3444392" y="1184818"/>
                  <a:pt x="3444392" y="1154337"/>
                </a:cubicBezTo>
                <a:cubicBezTo>
                  <a:pt x="3444392" y="1123856"/>
                  <a:pt x="3469102" y="1099146"/>
                  <a:pt x="3499584" y="1099146"/>
                </a:cubicBezTo>
                <a:close/>
                <a:moveTo>
                  <a:pt x="2570894" y="1099146"/>
                </a:moveTo>
                <a:cubicBezTo>
                  <a:pt x="2601377" y="1099146"/>
                  <a:pt x="2626086" y="1123856"/>
                  <a:pt x="2626086" y="1154337"/>
                </a:cubicBezTo>
                <a:cubicBezTo>
                  <a:pt x="2626086" y="1184818"/>
                  <a:pt x="2601377" y="1209528"/>
                  <a:pt x="2570894" y="1209528"/>
                </a:cubicBezTo>
                <a:cubicBezTo>
                  <a:pt x="2540412" y="1209528"/>
                  <a:pt x="2515701" y="1184818"/>
                  <a:pt x="2515701" y="1154337"/>
                </a:cubicBezTo>
                <a:cubicBezTo>
                  <a:pt x="2515701" y="1123856"/>
                  <a:pt x="2540412" y="1099146"/>
                  <a:pt x="2570894" y="1099146"/>
                </a:cubicBezTo>
                <a:close/>
                <a:moveTo>
                  <a:pt x="2039698" y="1099146"/>
                </a:moveTo>
                <a:cubicBezTo>
                  <a:pt x="2070180" y="1099146"/>
                  <a:pt x="2094891" y="1123856"/>
                  <a:pt x="2094891" y="1154337"/>
                </a:cubicBezTo>
                <a:cubicBezTo>
                  <a:pt x="2094891" y="1184818"/>
                  <a:pt x="2070180" y="1209528"/>
                  <a:pt x="2039698" y="1209528"/>
                </a:cubicBezTo>
                <a:cubicBezTo>
                  <a:pt x="2009214" y="1209528"/>
                  <a:pt x="1984505" y="1184818"/>
                  <a:pt x="1984505" y="1154337"/>
                </a:cubicBezTo>
                <a:cubicBezTo>
                  <a:pt x="1984505" y="1123856"/>
                  <a:pt x="2009214" y="1099146"/>
                  <a:pt x="2039698" y="1099146"/>
                </a:cubicBezTo>
                <a:close/>
                <a:moveTo>
                  <a:pt x="1909401" y="1099146"/>
                </a:moveTo>
                <a:cubicBezTo>
                  <a:pt x="1939883" y="1099146"/>
                  <a:pt x="1964592" y="1123856"/>
                  <a:pt x="1964592" y="1154337"/>
                </a:cubicBezTo>
                <a:cubicBezTo>
                  <a:pt x="1964592" y="1184818"/>
                  <a:pt x="1939883" y="1209528"/>
                  <a:pt x="1909401" y="1209528"/>
                </a:cubicBezTo>
                <a:cubicBezTo>
                  <a:pt x="1878917" y="1209528"/>
                  <a:pt x="1854207" y="1184818"/>
                  <a:pt x="1854207" y="1154337"/>
                </a:cubicBezTo>
                <a:cubicBezTo>
                  <a:pt x="1854207" y="1123856"/>
                  <a:pt x="1878917" y="1099146"/>
                  <a:pt x="1909401" y="1099146"/>
                </a:cubicBezTo>
                <a:close/>
                <a:moveTo>
                  <a:pt x="1779104" y="1099146"/>
                </a:moveTo>
                <a:cubicBezTo>
                  <a:pt x="1809585" y="1099146"/>
                  <a:pt x="1834296" y="1123856"/>
                  <a:pt x="1834296" y="1154337"/>
                </a:cubicBezTo>
                <a:cubicBezTo>
                  <a:pt x="1834296" y="1184818"/>
                  <a:pt x="1809585" y="1209528"/>
                  <a:pt x="1779104" y="1209528"/>
                </a:cubicBezTo>
                <a:cubicBezTo>
                  <a:pt x="1748623" y="1209528"/>
                  <a:pt x="1723910" y="1184818"/>
                  <a:pt x="1723910" y="1154337"/>
                </a:cubicBezTo>
                <a:cubicBezTo>
                  <a:pt x="1723910" y="1123856"/>
                  <a:pt x="1748623" y="1099146"/>
                  <a:pt x="1779104" y="1099146"/>
                </a:cubicBezTo>
                <a:close/>
                <a:moveTo>
                  <a:pt x="1645469" y="1099146"/>
                </a:moveTo>
                <a:cubicBezTo>
                  <a:pt x="1675950" y="1099146"/>
                  <a:pt x="1700664" y="1123856"/>
                  <a:pt x="1700664" y="1154337"/>
                </a:cubicBezTo>
                <a:cubicBezTo>
                  <a:pt x="1700664" y="1184818"/>
                  <a:pt x="1675950" y="1209528"/>
                  <a:pt x="1645469" y="1209528"/>
                </a:cubicBezTo>
                <a:cubicBezTo>
                  <a:pt x="1614986" y="1209528"/>
                  <a:pt x="1590275" y="1184818"/>
                  <a:pt x="1590275" y="1154337"/>
                </a:cubicBezTo>
                <a:cubicBezTo>
                  <a:pt x="1590275" y="1123856"/>
                  <a:pt x="1614986" y="1099146"/>
                  <a:pt x="1645469" y="1099146"/>
                </a:cubicBezTo>
                <a:close/>
                <a:moveTo>
                  <a:pt x="1515179" y="1099146"/>
                </a:moveTo>
                <a:cubicBezTo>
                  <a:pt x="1545657" y="1099146"/>
                  <a:pt x="1570364" y="1123856"/>
                  <a:pt x="1570364" y="1154337"/>
                </a:cubicBezTo>
                <a:cubicBezTo>
                  <a:pt x="1570364" y="1184818"/>
                  <a:pt x="1545657" y="1209528"/>
                  <a:pt x="1515179" y="1209528"/>
                </a:cubicBezTo>
                <a:cubicBezTo>
                  <a:pt x="1484695" y="1209528"/>
                  <a:pt x="1459982" y="1184818"/>
                  <a:pt x="1459982" y="1154337"/>
                </a:cubicBezTo>
                <a:cubicBezTo>
                  <a:pt x="1459982" y="1123856"/>
                  <a:pt x="1484695" y="1099146"/>
                  <a:pt x="1515179" y="1099146"/>
                </a:cubicBezTo>
                <a:close/>
                <a:moveTo>
                  <a:pt x="1381539" y="1099146"/>
                </a:moveTo>
                <a:cubicBezTo>
                  <a:pt x="1412022" y="1099146"/>
                  <a:pt x="1436731" y="1123856"/>
                  <a:pt x="1436731" y="1154337"/>
                </a:cubicBezTo>
                <a:cubicBezTo>
                  <a:pt x="1436731" y="1184818"/>
                  <a:pt x="1412022" y="1209528"/>
                  <a:pt x="1381539" y="1209528"/>
                </a:cubicBezTo>
                <a:cubicBezTo>
                  <a:pt x="1351062" y="1209528"/>
                  <a:pt x="1326349" y="1184818"/>
                  <a:pt x="1326349" y="1154337"/>
                </a:cubicBezTo>
                <a:cubicBezTo>
                  <a:pt x="1326349" y="1123856"/>
                  <a:pt x="1351062" y="1099146"/>
                  <a:pt x="1381539" y="1099146"/>
                </a:cubicBezTo>
                <a:close/>
                <a:moveTo>
                  <a:pt x="1251245" y="1099146"/>
                </a:moveTo>
                <a:cubicBezTo>
                  <a:pt x="1281728" y="1099146"/>
                  <a:pt x="1306439" y="1123856"/>
                  <a:pt x="1306439" y="1154337"/>
                </a:cubicBezTo>
                <a:cubicBezTo>
                  <a:pt x="1306439" y="1184818"/>
                  <a:pt x="1281728" y="1209528"/>
                  <a:pt x="1251245" y="1209528"/>
                </a:cubicBezTo>
                <a:cubicBezTo>
                  <a:pt x="1220763" y="1209528"/>
                  <a:pt x="1196054" y="1184818"/>
                  <a:pt x="1196054" y="1154337"/>
                </a:cubicBezTo>
                <a:cubicBezTo>
                  <a:pt x="1196054" y="1123856"/>
                  <a:pt x="1220763" y="1099146"/>
                  <a:pt x="1251245" y="1099146"/>
                </a:cubicBezTo>
                <a:close/>
                <a:moveTo>
                  <a:pt x="1117610" y="1099146"/>
                </a:moveTo>
                <a:cubicBezTo>
                  <a:pt x="1148093" y="1099146"/>
                  <a:pt x="1172803" y="1123856"/>
                  <a:pt x="1172803" y="1154337"/>
                </a:cubicBezTo>
                <a:cubicBezTo>
                  <a:pt x="1172803" y="1184818"/>
                  <a:pt x="1148093" y="1209528"/>
                  <a:pt x="1117610" y="1209528"/>
                </a:cubicBezTo>
                <a:cubicBezTo>
                  <a:pt x="1087127" y="1209528"/>
                  <a:pt x="1062416" y="1184818"/>
                  <a:pt x="1062416" y="1154337"/>
                </a:cubicBezTo>
                <a:cubicBezTo>
                  <a:pt x="1062416" y="1123856"/>
                  <a:pt x="1087127" y="1099146"/>
                  <a:pt x="1117610" y="1099146"/>
                </a:cubicBezTo>
                <a:close/>
                <a:moveTo>
                  <a:pt x="980631" y="1099146"/>
                </a:moveTo>
                <a:cubicBezTo>
                  <a:pt x="1011115" y="1099146"/>
                  <a:pt x="1035825" y="1123856"/>
                  <a:pt x="1035825" y="1154337"/>
                </a:cubicBezTo>
                <a:cubicBezTo>
                  <a:pt x="1035825" y="1184818"/>
                  <a:pt x="1011115" y="1209528"/>
                  <a:pt x="980631" y="1209528"/>
                </a:cubicBezTo>
                <a:cubicBezTo>
                  <a:pt x="950149" y="1209528"/>
                  <a:pt x="925438" y="1184818"/>
                  <a:pt x="925438" y="1154337"/>
                </a:cubicBezTo>
                <a:cubicBezTo>
                  <a:pt x="925438" y="1123856"/>
                  <a:pt x="950149" y="1099146"/>
                  <a:pt x="980631" y="1099146"/>
                </a:cubicBezTo>
                <a:close/>
                <a:moveTo>
                  <a:pt x="846993" y="1099146"/>
                </a:moveTo>
                <a:cubicBezTo>
                  <a:pt x="877476" y="1099146"/>
                  <a:pt x="902186" y="1123856"/>
                  <a:pt x="902186" y="1154337"/>
                </a:cubicBezTo>
                <a:cubicBezTo>
                  <a:pt x="902186" y="1184818"/>
                  <a:pt x="877476" y="1209528"/>
                  <a:pt x="846993" y="1209528"/>
                </a:cubicBezTo>
                <a:cubicBezTo>
                  <a:pt x="816511" y="1209528"/>
                  <a:pt x="791796" y="1184818"/>
                  <a:pt x="791796" y="1154337"/>
                </a:cubicBezTo>
                <a:cubicBezTo>
                  <a:pt x="791796" y="1123856"/>
                  <a:pt x="816511" y="1099146"/>
                  <a:pt x="846993" y="1099146"/>
                </a:cubicBezTo>
                <a:close/>
                <a:moveTo>
                  <a:pt x="716690" y="1099146"/>
                </a:moveTo>
                <a:cubicBezTo>
                  <a:pt x="747176" y="1099146"/>
                  <a:pt x="771886" y="1123856"/>
                  <a:pt x="771886" y="1154337"/>
                </a:cubicBezTo>
                <a:cubicBezTo>
                  <a:pt x="771886" y="1184818"/>
                  <a:pt x="747176" y="1209528"/>
                  <a:pt x="716690" y="1209528"/>
                </a:cubicBezTo>
                <a:cubicBezTo>
                  <a:pt x="686211" y="1209528"/>
                  <a:pt x="661502" y="1184818"/>
                  <a:pt x="661502" y="1154337"/>
                </a:cubicBezTo>
                <a:cubicBezTo>
                  <a:pt x="661502" y="1123856"/>
                  <a:pt x="686211" y="1099146"/>
                  <a:pt x="716690" y="1099146"/>
                </a:cubicBezTo>
                <a:close/>
                <a:moveTo>
                  <a:pt x="583057" y="1099146"/>
                </a:moveTo>
                <a:cubicBezTo>
                  <a:pt x="613540" y="1099146"/>
                  <a:pt x="638250" y="1123856"/>
                  <a:pt x="638250" y="1154337"/>
                </a:cubicBezTo>
                <a:cubicBezTo>
                  <a:pt x="638250" y="1184818"/>
                  <a:pt x="613540" y="1209528"/>
                  <a:pt x="583057" y="1209528"/>
                </a:cubicBezTo>
                <a:cubicBezTo>
                  <a:pt x="552573" y="1209528"/>
                  <a:pt x="527863" y="1184818"/>
                  <a:pt x="527863" y="1154337"/>
                </a:cubicBezTo>
                <a:cubicBezTo>
                  <a:pt x="527863" y="1123856"/>
                  <a:pt x="552573" y="1099146"/>
                  <a:pt x="583057" y="1099146"/>
                </a:cubicBezTo>
                <a:close/>
                <a:moveTo>
                  <a:pt x="449413" y="1099146"/>
                </a:moveTo>
                <a:cubicBezTo>
                  <a:pt x="479896" y="1099146"/>
                  <a:pt x="504606" y="1123856"/>
                  <a:pt x="504606" y="1154337"/>
                </a:cubicBezTo>
                <a:cubicBezTo>
                  <a:pt x="504606" y="1184818"/>
                  <a:pt x="479896" y="1209528"/>
                  <a:pt x="449413" y="1209528"/>
                </a:cubicBezTo>
                <a:cubicBezTo>
                  <a:pt x="418931" y="1209528"/>
                  <a:pt x="394220" y="1184818"/>
                  <a:pt x="394220" y="1154337"/>
                </a:cubicBezTo>
                <a:cubicBezTo>
                  <a:pt x="394220" y="1123856"/>
                  <a:pt x="418931" y="1099146"/>
                  <a:pt x="449413" y="1099146"/>
                </a:cubicBezTo>
                <a:close/>
                <a:moveTo>
                  <a:pt x="9603343" y="975533"/>
                </a:moveTo>
                <a:cubicBezTo>
                  <a:pt x="9633825" y="975533"/>
                  <a:pt x="9658535" y="1000243"/>
                  <a:pt x="9658535" y="1030724"/>
                </a:cubicBezTo>
                <a:cubicBezTo>
                  <a:pt x="9658535" y="1061205"/>
                  <a:pt x="9633825" y="1085915"/>
                  <a:pt x="9603343" y="1085915"/>
                </a:cubicBezTo>
                <a:cubicBezTo>
                  <a:pt x="9572861" y="1085915"/>
                  <a:pt x="9548151" y="1061205"/>
                  <a:pt x="9548151" y="1030724"/>
                </a:cubicBezTo>
                <a:cubicBezTo>
                  <a:pt x="9548151" y="1000243"/>
                  <a:pt x="9572861" y="975533"/>
                  <a:pt x="9603343" y="975533"/>
                </a:cubicBezTo>
                <a:close/>
                <a:moveTo>
                  <a:pt x="9469708" y="975533"/>
                </a:moveTo>
                <a:cubicBezTo>
                  <a:pt x="9500190" y="975533"/>
                  <a:pt x="9524900" y="1000243"/>
                  <a:pt x="9524900" y="1030724"/>
                </a:cubicBezTo>
                <a:cubicBezTo>
                  <a:pt x="9524900" y="1061205"/>
                  <a:pt x="9500190" y="1085915"/>
                  <a:pt x="9469708" y="1085915"/>
                </a:cubicBezTo>
                <a:cubicBezTo>
                  <a:pt x="9439226" y="1085915"/>
                  <a:pt x="9414516" y="1061205"/>
                  <a:pt x="9414516" y="1030724"/>
                </a:cubicBezTo>
                <a:cubicBezTo>
                  <a:pt x="9414516" y="1000243"/>
                  <a:pt x="9439226" y="975533"/>
                  <a:pt x="9469708" y="975533"/>
                </a:cubicBezTo>
                <a:close/>
                <a:moveTo>
                  <a:pt x="8935170" y="975533"/>
                </a:moveTo>
                <a:cubicBezTo>
                  <a:pt x="8965652" y="975533"/>
                  <a:pt x="8990362" y="1000243"/>
                  <a:pt x="8990362" y="1030724"/>
                </a:cubicBezTo>
                <a:cubicBezTo>
                  <a:pt x="8990362" y="1061205"/>
                  <a:pt x="8965652" y="1085915"/>
                  <a:pt x="8935170" y="1085915"/>
                </a:cubicBezTo>
                <a:cubicBezTo>
                  <a:pt x="8904688" y="1085915"/>
                  <a:pt x="8879978" y="1061205"/>
                  <a:pt x="8879978" y="1030724"/>
                </a:cubicBezTo>
                <a:cubicBezTo>
                  <a:pt x="8879978" y="1000243"/>
                  <a:pt x="8904688" y="975533"/>
                  <a:pt x="8935170" y="975533"/>
                </a:cubicBezTo>
                <a:close/>
                <a:moveTo>
                  <a:pt x="8407315" y="975533"/>
                </a:moveTo>
                <a:cubicBezTo>
                  <a:pt x="8437797" y="975533"/>
                  <a:pt x="8462507" y="1000243"/>
                  <a:pt x="8462507" y="1030724"/>
                </a:cubicBezTo>
                <a:cubicBezTo>
                  <a:pt x="8462507" y="1061205"/>
                  <a:pt x="8437797" y="1085915"/>
                  <a:pt x="8407315" y="1085915"/>
                </a:cubicBezTo>
                <a:cubicBezTo>
                  <a:pt x="8376833" y="1085915"/>
                  <a:pt x="8352123" y="1061205"/>
                  <a:pt x="8352123" y="1030724"/>
                </a:cubicBezTo>
                <a:cubicBezTo>
                  <a:pt x="8352123" y="1000243"/>
                  <a:pt x="8376833" y="975533"/>
                  <a:pt x="8407315" y="975533"/>
                </a:cubicBezTo>
                <a:close/>
                <a:moveTo>
                  <a:pt x="7876116" y="975533"/>
                </a:moveTo>
                <a:cubicBezTo>
                  <a:pt x="7906598" y="975533"/>
                  <a:pt x="7931308" y="1000243"/>
                  <a:pt x="7931308" y="1030724"/>
                </a:cubicBezTo>
                <a:cubicBezTo>
                  <a:pt x="7931308" y="1061205"/>
                  <a:pt x="7906598" y="1085915"/>
                  <a:pt x="7876116" y="1085915"/>
                </a:cubicBezTo>
                <a:cubicBezTo>
                  <a:pt x="7845634" y="1085915"/>
                  <a:pt x="7820924" y="1061205"/>
                  <a:pt x="7820924" y="1030724"/>
                </a:cubicBezTo>
                <a:cubicBezTo>
                  <a:pt x="7820924" y="1000243"/>
                  <a:pt x="7845634" y="975533"/>
                  <a:pt x="7876116" y="975533"/>
                </a:cubicBezTo>
                <a:close/>
                <a:moveTo>
                  <a:pt x="7745822" y="975533"/>
                </a:moveTo>
                <a:cubicBezTo>
                  <a:pt x="7776304" y="975533"/>
                  <a:pt x="7801014" y="1000243"/>
                  <a:pt x="7801014" y="1030724"/>
                </a:cubicBezTo>
                <a:cubicBezTo>
                  <a:pt x="7801014" y="1061205"/>
                  <a:pt x="7776304" y="1085915"/>
                  <a:pt x="7745822" y="1085915"/>
                </a:cubicBezTo>
                <a:cubicBezTo>
                  <a:pt x="7715340" y="1085915"/>
                  <a:pt x="7690630" y="1061205"/>
                  <a:pt x="7690630" y="1030724"/>
                </a:cubicBezTo>
                <a:cubicBezTo>
                  <a:pt x="7690630" y="1000243"/>
                  <a:pt x="7715340" y="975533"/>
                  <a:pt x="7745822" y="975533"/>
                </a:cubicBezTo>
                <a:close/>
                <a:moveTo>
                  <a:pt x="7481894" y="975533"/>
                </a:moveTo>
                <a:cubicBezTo>
                  <a:pt x="7512376" y="975533"/>
                  <a:pt x="7537086" y="1000243"/>
                  <a:pt x="7537086" y="1030724"/>
                </a:cubicBezTo>
                <a:cubicBezTo>
                  <a:pt x="7537086" y="1061205"/>
                  <a:pt x="7512376" y="1085915"/>
                  <a:pt x="7481894" y="1085915"/>
                </a:cubicBezTo>
                <a:cubicBezTo>
                  <a:pt x="7451412" y="1085915"/>
                  <a:pt x="7426702" y="1061205"/>
                  <a:pt x="7426702" y="1030724"/>
                </a:cubicBezTo>
                <a:cubicBezTo>
                  <a:pt x="7426702" y="1000243"/>
                  <a:pt x="7451412" y="975533"/>
                  <a:pt x="7481894" y="975533"/>
                </a:cubicBezTo>
                <a:close/>
                <a:moveTo>
                  <a:pt x="7341578" y="975533"/>
                </a:moveTo>
                <a:cubicBezTo>
                  <a:pt x="7372060" y="975533"/>
                  <a:pt x="7396770" y="1000243"/>
                  <a:pt x="7396770" y="1030724"/>
                </a:cubicBezTo>
                <a:cubicBezTo>
                  <a:pt x="7396770" y="1061205"/>
                  <a:pt x="7372060" y="1085915"/>
                  <a:pt x="7341578" y="1085915"/>
                </a:cubicBezTo>
                <a:cubicBezTo>
                  <a:pt x="7311096" y="1085915"/>
                  <a:pt x="7286386" y="1061205"/>
                  <a:pt x="7286386" y="1030724"/>
                </a:cubicBezTo>
                <a:cubicBezTo>
                  <a:pt x="7286386" y="1000243"/>
                  <a:pt x="7311096" y="975533"/>
                  <a:pt x="7341578" y="975533"/>
                </a:cubicBezTo>
                <a:close/>
                <a:moveTo>
                  <a:pt x="7211285" y="975533"/>
                </a:moveTo>
                <a:cubicBezTo>
                  <a:pt x="7241767" y="975533"/>
                  <a:pt x="7266477" y="1000243"/>
                  <a:pt x="7266477" y="1030724"/>
                </a:cubicBezTo>
                <a:cubicBezTo>
                  <a:pt x="7266477" y="1061205"/>
                  <a:pt x="7241767" y="1085915"/>
                  <a:pt x="7211285" y="1085915"/>
                </a:cubicBezTo>
                <a:cubicBezTo>
                  <a:pt x="7180803" y="1085915"/>
                  <a:pt x="7156093" y="1061205"/>
                  <a:pt x="7156093" y="1030724"/>
                </a:cubicBezTo>
                <a:cubicBezTo>
                  <a:pt x="7156093" y="1000243"/>
                  <a:pt x="7180803" y="975533"/>
                  <a:pt x="7211285" y="975533"/>
                </a:cubicBezTo>
                <a:close/>
                <a:moveTo>
                  <a:pt x="6947356" y="975533"/>
                </a:moveTo>
                <a:cubicBezTo>
                  <a:pt x="6977838" y="975533"/>
                  <a:pt x="7002548" y="1000243"/>
                  <a:pt x="7002548" y="1030724"/>
                </a:cubicBezTo>
                <a:cubicBezTo>
                  <a:pt x="7002548" y="1061205"/>
                  <a:pt x="6977838" y="1085915"/>
                  <a:pt x="6947356" y="1085915"/>
                </a:cubicBezTo>
                <a:cubicBezTo>
                  <a:pt x="6916874" y="1085915"/>
                  <a:pt x="6892164" y="1061205"/>
                  <a:pt x="6892164" y="1030724"/>
                </a:cubicBezTo>
                <a:cubicBezTo>
                  <a:pt x="6892164" y="1000243"/>
                  <a:pt x="6916874" y="975533"/>
                  <a:pt x="6947356" y="975533"/>
                </a:cubicBezTo>
                <a:close/>
                <a:moveTo>
                  <a:pt x="6817063" y="975533"/>
                </a:moveTo>
                <a:cubicBezTo>
                  <a:pt x="6847545" y="975533"/>
                  <a:pt x="6872255" y="1000243"/>
                  <a:pt x="6872255" y="1030724"/>
                </a:cubicBezTo>
                <a:cubicBezTo>
                  <a:pt x="6872255" y="1061205"/>
                  <a:pt x="6847545" y="1085915"/>
                  <a:pt x="6817063" y="1085915"/>
                </a:cubicBezTo>
                <a:cubicBezTo>
                  <a:pt x="6786581" y="1085915"/>
                  <a:pt x="6761871" y="1061205"/>
                  <a:pt x="6761871" y="1030724"/>
                </a:cubicBezTo>
                <a:cubicBezTo>
                  <a:pt x="6761871" y="1000243"/>
                  <a:pt x="6786581" y="975533"/>
                  <a:pt x="6817063" y="975533"/>
                </a:cubicBezTo>
                <a:close/>
                <a:moveTo>
                  <a:pt x="6683430" y="975533"/>
                </a:moveTo>
                <a:cubicBezTo>
                  <a:pt x="6713912" y="975533"/>
                  <a:pt x="6738622" y="1000243"/>
                  <a:pt x="6738622" y="1030724"/>
                </a:cubicBezTo>
                <a:cubicBezTo>
                  <a:pt x="6738622" y="1061205"/>
                  <a:pt x="6713912" y="1085915"/>
                  <a:pt x="6683430" y="1085915"/>
                </a:cubicBezTo>
                <a:cubicBezTo>
                  <a:pt x="6652948" y="1085915"/>
                  <a:pt x="6628238" y="1061205"/>
                  <a:pt x="6628238" y="1030724"/>
                </a:cubicBezTo>
                <a:cubicBezTo>
                  <a:pt x="6628238" y="1000243"/>
                  <a:pt x="6652948" y="975533"/>
                  <a:pt x="6683430" y="975533"/>
                </a:cubicBezTo>
                <a:close/>
                <a:moveTo>
                  <a:pt x="6289206" y="975533"/>
                </a:moveTo>
                <a:cubicBezTo>
                  <a:pt x="6319688" y="975533"/>
                  <a:pt x="6344398" y="1000243"/>
                  <a:pt x="6344398" y="1030724"/>
                </a:cubicBezTo>
                <a:cubicBezTo>
                  <a:pt x="6344398" y="1061205"/>
                  <a:pt x="6319688" y="1085915"/>
                  <a:pt x="6289206" y="1085915"/>
                </a:cubicBezTo>
                <a:cubicBezTo>
                  <a:pt x="6258724" y="1085915"/>
                  <a:pt x="6234014" y="1061205"/>
                  <a:pt x="6234014" y="1030724"/>
                </a:cubicBezTo>
                <a:cubicBezTo>
                  <a:pt x="6234014" y="1000243"/>
                  <a:pt x="6258724" y="975533"/>
                  <a:pt x="6289206" y="975533"/>
                </a:cubicBezTo>
                <a:close/>
                <a:moveTo>
                  <a:pt x="5754667" y="975533"/>
                </a:moveTo>
                <a:cubicBezTo>
                  <a:pt x="5785149" y="975533"/>
                  <a:pt x="5809859" y="1000243"/>
                  <a:pt x="5809859" y="1030724"/>
                </a:cubicBezTo>
                <a:cubicBezTo>
                  <a:pt x="5809859" y="1061205"/>
                  <a:pt x="5785149" y="1085915"/>
                  <a:pt x="5754667" y="1085915"/>
                </a:cubicBezTo>
                <a:cubicBezTo>
                  <a:pt x="5724185" y="1085915"/>
                  <a:pt x="5699475" y="1061205"/>
                  <a:pt x="5699475" y="1030724"/>
                </a:cubicBezTo>
                <a:cubicBezTo>
                  <a:pt x="5699475" y="1000243"/>
                  <a:pt x="5724185" y="975533"/>
                  <a:pt x="5754667" y="975533"/>
                </a:cubicBezTo>
                <a:close/>
                <a:moveTo>
                  <a:pt x="5487398" y="975533"/>
                </a:moveTo>
                <a:cubicBezTo>
                  <a:pt x="5517880" y="975533"/>
                  <a:pt x="5542590" y="1000243"/>
                  <a:pt x="5542590" y="1030724"/>
                </a:cubicBezTo>
                <a:cubicBezTo>
                  <a:pt x="5542590" y="1061205"/>
                  <a:pt x="5517880" y="1085915"/>
                  <a:pt x="5487398" y="1085915"/>
                </a:cubicBezTo>
                <a:cubicBezTo>
                  <a:pt x="5456916" y="1085915"/>
                  <a:pt x="5432206" y="1061205"/>
                  <a:pt x="5432206" y="1030724"/>
                </a:cubicBezTo>
                <a:cubicBezTo>
                  <a:pt x="5432206" y="1000243"/>
                  <a:pt x="5456916" y="975533"/>
                  <a:pt x="5487398" y="975533"/>
                </a:cubicBezTo>
                <a:close/>
                <a:moveTo>
                  <a:pt x="5357105" y="975533"/>
                </a:moveTo>
                <a:cubicBezTo>
                  <a:pt x="5387587" y="975533"/>
                  <a:pt x="5412297" y="1000243"/>
                  <a:pt x="5412297" y="1030724"/>
                </a:cubicBezTo>
                <a:cubicBezTo>
                  <a:pt x="5412297" y="1061205"/>
                  <a:pt x="5387587" y="1085915"/>
                  <a:pt x="5357105" y="1085915"/>
                </a:cubicBezTo>
                <a:cubicBezTo>
                  <a:pt x="5326623" y="1085915"/>
                  <a:pt x="5301913" y="1061205"/>
                  <a:pt x="5301913" y="1030724"/>
                </a:cubicBezTo>
                <a:cubicBezTo>
                  <a:pt x="5301913" y="1000243"/>
                  <a:pt x="5326623" y="975533"/>
                  <a:pt x="5357105" y="975533"/>
                </a:cubicBezTo>
                <a:close/>
                <a:moveTo>
                  <a:pt x="5093176" y="975533"/>
                </a:moveTo>
                <a:cubicBezTo>
                  <a:pt x="5123658" y="975533"/>
                  <a:pt x="5148368" y="1000243"/>
                  <a:pt x="5148368" y="1030724"/>
                </a:cubicBezTo>
                <a:cubicBezTo>
                  <a:pt x="5148368" y="1061205"/>
                  <a:pt x="5123658" y="1085915"/>
                  <a:pt x="5093176" y="1085915"/>
                </a:cubicBezTo>
                <a:cubicBezTo>
                  <a:pt x="5062694" y="1085915"/>
                  <a:pt x="5037984" y="1061205"/>
                  <a:pt x="5037984" y="1030724"/>
                </a:cubicBezTo>
                <a:cubicBezTo>
                  <a:pt x="5037984" y="1000243"/>
                  <a:pt x="5062694" y="975533"/>
                  <a:pt x="5093176" y="975533"/>
                </a:cubicBezTo>
                <a:close/>
                <a:moveTo>
                  <a:pt x="4959540" y="975533"/>
                </a:moveTo>
                <a:cubicBezTo>
                  <a:pt x="4990022" y="975533"/>
                  <a:pt x="5014732" y="1000243"/>
                  <a:pt x="5014732" y="1030724"/>
                </a:cubicBezTo>
                <a:cubicBezTo>
                  <a:pt x="5014732" y="1061205"/>
                  <a:pt x="4990022" y="1085915"/>
                  <a:pt x="4959540" y="1085915"/>
                </a:cubicBezTo>
                <a:cubicBezTo>
                  <a:pt x="4929058" y="1085915"/>
                  <a:pt x="4904348" y="1061205"/>
                  <a:pt x="4904348" y="1030724"/>
                </a:cubicBezTo>
                <a:cubicBezTo>
                  <a:pt x="4904348" y="1000243"/>
                  <a:pt x="4929058" y="975533"/>
                  <a:pt x="4959540" y="975533"/>
                </a:cubicBezTo>
                <a:close/>
                <a:moveTo>
                  <a:pt x="4161075" y="975533"/>
                </a:moveTo>
                <a:cubicBezTo>
                  <a:pt x="4191557" y="975533"/>
                  <a:pt x="4216267" y="1000243"/>
                  <a:pt x="4216267" y="1030724"/>
                </a:cubicBezTo>
                <a:cubicBezTo>
                  <a:pt x="4216267" y="1061205"/>
                  <a:pt x="4191557" y="1085915"/>
                  <a:pt x="4161075" y="1085915"/>
                </a:cubicBezTo>
                <a:cubicBezTo>
                  <a:pt x="4130593" y="1085915"/>
                  <a:pt x="4105883" y="1061205"/>
                  <a:pt x="4105883" y="1030724"/>
                </a:cubicBezTo>
                <a:cubicBezTo>
                  <a:pt x="4105883" y="1000243"/>
                  <a:pt x="4130593" y="975533"/>
                  <a:pt x="4161075" y="975533"/>
                </a:cubicBezTo>
                <a:close/>
                <a:moveTo>
                  <a:pt x="4030782" y="975533"/>
                </a:moveTo>
                <a:cubicBezTo>
                  <a:pt x="4061264" y="975533"/>
                  <a:pt x="4085974" y="1000243"/>
                  <a:pt x="4085974" y="1030724"/>
                </a:cubicBezTo>
                <a:cubicBezTo>
                  <a:pt x="4085974" y="1061205"/>
                  <a:pt x="4061264" y="1085915"/>
                  <a:pt x="4030782" y="1085915"/>
                </a:cubicBezTo>
                <a:cubicBezTo>
                  <a:pt x="4000300" y="1085915"/>
                  <a:pt x="3975590" y="1061205"/>
                  <a:pt x="3975590" y="1030724"/>
                </a:cubicBezTo>
                <a:cubicBezTo>
                  <a:pt x="3975590" y="1000243"/>
                  <a:pt x="4000300" y="975533"/>
                  <a:pt x="4030782" y="975533"/>
                </a:cubicBezTo>
                <a:close/>
                <a:moveTo>
                  <a:pt x="3369290" y="975533"/>
                </a:moveTo>
                <a:cubicBezTo>
                  <a:pt x="3399772" y="975533"/>
                  <a:pt x="3424482" y="1000243"/>
                  <a:pt x="3424482" y="1030724"/>
                </a:cubicBezTo>
                <a:cubicBezTo>
                  <a:pt x="3424482" y="1061205"/>
                  <a:pt x="3399772" y="1085915"/>
                  <a:pt x="3369290" y="1085915"/>
                </a:cubicBezTo>
                <a:cubicBezTo>
                  <a:pt x="3338808" y="1085915"/>
                  <a:pt x="3314098" y="1061205"/>
                  <a:pt x="3314098" y="1030724"/>
                </a:cubicBezTo>
                <a:cubicBezTo>
                  <a:pt x="3314098" y="1000243"/>
                  <a:pt x="3338808" y="975533"/>
                  <a:pt x="3369290" y="975533"/>
                </a:cubicBezTo>
                <a:close/>
                <a:moveTo>
                  <a:pt x="2707880" y="975533"/>
                </a:moveTo>
                <a:cubicBezTo>
                  <a:pt x="2738363" y="975533"/>
                  <a:pt x="2763074" y="1000243"/>
                  <a:pt x="2763074" y="1030724"/>
                </a:cubicBezTo>
                <a:cubicBezTo>
                  <a:pt x="2763074" y="1061205"/>
                  <a:pt x="2738363" y="1085915"/>
                  <a:pt x="2707880" y="1085915"/>
                </a:cubicBezTo>
                <a:cubicBezTo>
                  <a:pt x="2677401" y="1085915"/>
                  <a:pt x="2652689" y="1061205"/>
                  <a:pt x="2652689" y="1030724"/>
                </a:cubicBezTo>
                <a:cubicBezTo>
                  <a:pt x="2652689" y="1000243"/>
                  <a:pt x="2677401" y="975533"/>
                  <a:pt x="2707880" y="975533"/>
                </a:cubicBezTo>
                <a:close/>
                <a:moveTo>
                  <a:pt x="2173347" y="975533"/>
                </a:moveTo>
                <a:cubicBezTo>
                  <a:pt x="2203830" y="975533"/>
                  <a:pt x="2228540" y="1000243"/>
                  <a:pt x="2228540" y="1030724"/>
                </a:cubicBezTo>
                <a:cubicBezTo>
                  <a:pt x="2228540" y="1061205"/>
                  <a:pt x="2203830" y="1085915"/>
                  <a:pt x="2173347" y="1085915"/>
                </a:cubicBezTo>
                <a:cubicBezTo>
                  <a:pt x="2142865" y="1085915"/>
                  <a:pt x="2118154" y="1061205"/>
                  <a:pt x="2118154" y="1030724"/>
                </a:cubicBezTo>
                <a:cubicBezTo>
                  <a:pt x="2118154" y="1000243"/>
                  <a:pt x="2142865" y="975533"/>
                  <a:pt x="2173347" y="975533"/>
                </a:cubicBezTo>
                <a:close/>
                <a:moveTo>
                  <a:pt x="1251258" y="975533"/>
                </a:moveTo>
                <a:cubicBezTo>
                  <a:pt x="1281740" y="975533"/>
                  <a:pt x="1306450" y="1000243"/>
                  <a:pt x="1306450" y="1030724"/>
                </a:cubicBezTo>
                <a:cubicBezTo>
                  <a:pt x="1306450" y="1061205"/>
                  <a:pt x="1281740" y="1085915"/>
                  <a:pt x="1251258" y="1085915"/>
                </a:cubicBezTo>
                <a:cubicBezTo>
                  <a:pt x="1220775" y="1085915"/>
                  <a:pt x="1196066" y="1061205"/>
                  <a:pt x="1196066" y="1030724"/>
                </a:cubicBezTo>
                <a:cubicBezTo>
                  <a:pt x="1196066" y="1000243"/>
                  <a:pt x="1220775" y="975533"/>
                  <a:pt x="1251258" y="975533"/>
                </a:cubicBezTo>
                <a:close/>
                <a:moveTo>
                  <a:pt x="847001" y="975533"/>
                </a:moveTo>
                <a:cubicBezTo>
                  <a:pt x="877484" y="975533"/>
                  <a:pt x="902196" y="1000243"/>
                  <a:pt x="902196" y="1030724"/>
                </a:cubicBezTo>
                <a:cubicBezTo>
                  <a:pt x="902196" y="1061205"/>
                  <a:pt x="877484" y="1085915"/>
                  <a:pt x="847001" y="1085915"/>
                </a:cubicBezTo>
                <a:cubicBezTo>
                  <a:pt x="816519" y="1085915"/>
                  <a:pt x="791804" y="1061205"/>
                  <a:pt x="791804" y="1030724"/>
                </a:cubicBezTo>
                <a:cubicBezTo>
                  <a:pt x="791804" y="1000243"/>
                  <a:pt x="816519" y="975533"/>
                  <a:pt x="847001" y="975533"/>
                </a:cubicBezTo>
                <a:close/>
                <a:moveTo>
                  <a:pt x="9336074" y="975532"/>
                </a:moveTo>
                <a:cubicBezTo>
                  <a:pt x="9366556" y="975532"/>
                  <a:pt x="9391266" y="1000242"/>
                  <a:pt x="9391266" y="1030723"/>
                </a:cubicBezTo>
                <a:cubicBezTo>
                  <a:pt x="9391266" y="1061204"/>
                  <a:pt x="9366556" y="1085914"/>
                  <a:pt x="9336074" y="1085914"/>
                </a:cubicBezTo>
                <a:cubicBezTo>
                  <a:pt x="9305592" y="1085914"/>
                  <a:pt x="9280882" y="1061204"/>
                  <a:pt x="9280882" y="1030723"/>
                </a:cubicBezTo>
                <a:cubicBezTo>
                  <a:pt x="9280882" y="1000242"/>
                  <a:pt x="9305592" y="975532"/>
                  <a:pt x="9336074" y="975532"/>
                </a:cubicBezTo>
                <a:close/>
                <a:moveTo>
                  <a:pt x="9199098" y="975532"/>
                </a:moveTo>
                <a:cubicBezTo>
                  <a:pt x="9229580" y="975532"/>
                  <a:pt x="9254290" y="1000242"/>
                  <a:pt x="9254290" y="1030723"/>
                </a:cubicBezTo>
                <a:cubicBezTo>
                  <a:pt x="9254290" y="1061204"/>
                  <a:pt x="9229580" y="1085914"/>
                  <a:pt x="9199098" y="1085914"/>
                </a:cubicBezTo>
                <a:cubicBezTo>
                  <a:pt x="9168616" y="1085914"/>
                  <a:pt x="9143906" y="1061204"/>
                  <a:pt x="9143906" y="1030723"/>
                </a:cubicBezTo>
                <a:cubicBezTo>
                  <a:pt x="9143906" y="1000242"/>
                  <a:pt x="9168616" y="975532"/>
                  <a:pt x="9199098" y="975532"/>
                </a:cubicBezTo>
                <a:close/>
                <a:moveTo>
                  <a:pt x="9068805" y="975532"/>
                </a:moveTo>
                <a:cubicBezTo>
                  <a:pt x="9099287" y="975532"/>
                  <a:pt x="9123997" y="1000242"/>
                  <a:pt x="9123997" y="1030723"/>
                </a:cubicBezTo>
                <a:cubicBezTo>
                  <a:pt x="9123997" y="1061204"/>
                  <a:pt x="9099287" y="1085914"/>
                  <a:pt x="9068805" y="1085914"/>
                </a:cubicBezTo>
                <a:cubicBezTo>
                  <a:pt x="9038323" y="1085914"/>
                  <a:pt x="9013613" y="1061204"/>
                  <a:pt x="9013613" y="1030723"/>
                </a:cubicBezTo>
                <a:cubicBezTo>
                  <a:pt x="9013613" y="1000242"/>
                  <a:pt x="9038323" y="975532"/>
                  <a:pt x="9068805" y="975532"/>
                </a:cubicBezTo>
                <a:close/>
                <a:moveTo>
                  <a:pt x="8801536" y="975532"/>
                </a:moveTo>
                <a:cubicBezTo>
                  <a:pt x="8832018" y="975532"/>
                  <a:pt x="8856728" y="1000242"/>
                  <a:pt x="8856728" y="1030723"/>
                </a:cubicBezTo>
                <a:cubicBezTo>
                  <a:pt x="8856728" y="1061204"/>
                  <a:pt x="8832018" y="1085914"/>
                  <a:pt x="8801536" y="1085914"/>
                </a:cubicBezTo>
                <a:cubicBezTo>
                  <a:pt x="8771054" y="1085914"/>
                  <a:pt x="8746344" y="1061204"/>
                  <a:pt x="8746344" y="1030723"/>
                </a:cubicBezTo>
                <a:cubicBezTo>
                  <a:pt x="8746344" y="1000242"/>
                  <a:pt x="8771054" y="975532"/>
                  <a:pt x="8801536" y="975532"/>
                </a:cubicBezTo>
                <a:close/>
                <a:moveTo>
                  <a:pt x="8671243" y="975532"/>
                </a:moveTo>
                <a:cubicBezTo>
                  <a:pt x="8701725" y="975532"/>
                  <a:pt x="8726435" y="1000242"/>
                  <a:pt x="8726435" y="1030723"/>
                </a:cubicBezTo>
                <a:cubicBezTo>
                  <a:pt x="8726435" y="1061204"/>
                  <a:pt x="8701725" y="1085914"/>
                  <a:pt x="8671243" y="1085914"/>
                </a:cubicBezTo>
                <a:cubicBezTo>
                  <a:pt x="8640761" y="1085914"/>
                  <a:pt x="8616051" y="1061204"/>
                  <a:pt x="8616051" y="1030723"/>
                </a:cubicBezTo>
                <a:cubicBezTo>
                  <a:pt x="8616051" y="1000242"/>
                  <a:pt x="8640761" y="975532"/>
                  <a:pt x="8671243" y="975532"/>
                </a:cubicBezTo>
                <a:close/>
                <a:moveTo>
                  <a:pt x="8537608" y="975532"/>
                </a:moveTo>
                <a:cubicBezTo>
                  <a:pt x="8568090" y="975532"/>
                  <a:pt x="8592800" y="1000242"/>
                  <a:pt x="8592800" y="1030723"/>
                </a:cubicBezTo>
                <a:cubicBezTo>
                  <a:pt x="8592800" y="1061204"/>
                  <a:pt x="8568090" y="1085914"/>
                  <a:pt x="8537608" y="1085914"/>
                </a:cubicBezTo>
                <a:cubicBezTo>
                  <a:pt x="8507126" y="1085914"/>
                  <a:pt x="8482416" y="1061204"/>
                  <a:pt x="8482416" y="1030723"/>
                </a:cubicBezTo>
                <a:cubicBezTo>
                  <a:pt x="8482416" y="1000242"/>
                  <a:pt x="8507126" y="975532"/>
                  <a:pt x="8537608" y="975532"/>
                </a:cubicBezTo>
                <a:close/>
                <a:moveTo>
                  <a:pt x="8273681" y="975532"/>
                </a:moveTo>
                <a:cubicBezTo>
                  <a:pt x="8304163" y="975532"/>
                  <a:pt x="8328873" y="1000242"/>
                  <a:pt x="8328873" y="1030723"/>
                </a:cubicBezTo>
                <a:cubicBezTo>
                  <a:pt x="8328873" y="1061204"/>
                  <a:pt x="8304163" y="1085914"/>
                  <a:pt x="8273681" y="1085914"/>
                </a:cubicBezTo>
                <a:cubicBezTo>
                  <a:pt x="8243199" y="1085914"/>
                  <a:pt x="8218489" y="1061204"/>
                  <a:pt x="8218489" y="1030723"/>
                </a:cubicBezTo>
                <a:cubicBezTo>
                  <a:pt x="8218489" y="1000242"/>
                  <a:pt x="8243199" y="975532"/>
                  <a:pt x="8273681" y="975532"/>
                </a:cubicBezTo>
                <a:close/>
                <a:moveTo>
                  <a:pt x="8143385" y="975532"/>
                </a:moveTo>
                <a:cubicBezTo>
                  <a:pt x="8173867" y="975532"/>
                  <a:pt x="8198577" y="1000242"/>
                  <a:pt x="8198577" y="1030723"/>
                </a:cubicBezTo>
                <a:cubicBezTo>
                  <a:pt x="8198577" y="1061204"/>
                  <a:pt x="8173867" y="1085914"/>
                  <a:pt x="8143385" y="1085914"/>
                </a:cubicBezTo>
                <a:cubicBezTo>
                  <a:pt x="8112903" y="1085914"/>
                  <a:pt x="8088193" y="1061204"/>
                  <a:pt x="8088193" y="1030723"/>
                </a:cubicBezTo>
                <a:cubicBezTo>
                  <a:pt x="8088193" y="1000242"/>
                  <a:pt x="8112903" y="975532"/>
                  <a:pt x="8143385" y="975532"/>
                </a:cubicBezTo>
                <a:close/>
                <a:moveTo>
                  <a:pt x="8009751" y="975532"/>
                </a:moveTo>
                <a:cubicBezTo>
                  <a:pt x="8040233" y="975532"/>
                  <a:pt x="8064943" y="1000242"/>
                  <a:pt x="8064943" y="1030723"/>
                </a:cubicBezTo>
                <a:cubicBezTo>
                  <a:pt x="8064943" y="1061204"/>
                  <a:pt x="8040233" y="1085914"/>
                  <a:pt x="8009751" y="1085914"/>
                </a:cubicBezTo>
                <a:cubicBezTo>
                  <a:pt x="7979269" y="1085914"/>
                  <a:pt x="7954559" y="1061204"/>
                  <a:pt x="7954559" y="1030723"/>
                </a:cubicBezTo>
                <a:cubicBezTo>
                  <a:pt x="7954559" y="1000242"/>
                  <a:pt x="7979269" y="975532"/>
                  <a:pt x="8009751" y="975532"/>
                </a:cubicBezTo>
                <a:close/>
                <a:moveTo>
                  <a:pt x="7608847" y="975532"/>
                </a:moveTo>
                <a:cubicBezTo>
                  <a:pt x="7639329" y="975532"/>
                  <a:pt x="7664039" y="1000242"/>
                  <a:pt x="7664039" y="1030723"/>
                </a:cubicBezTo>
                <a:cubicBezTo>
                  <a:pt x="7664039" y="1061204"/>
                  <a:pt x="7639329" y="1085914"/>
                  <a:pt x="7608847" y="1085914"/>
                </a:cubicBezTo>
                <a:cubicBezTo>
                  <a:pt x="7578365" y="1085914"/>
                  <a:pt x="7553655" y="1061204"/>
                  <a:pt x="7553655" y="1030723"/>
                </a:cubicBezTo>
                <a:cubicBezTo>
                  <a:pt x="7553655" y="1000242"/>
                  <a:pt x="7578365" y="975532"/>
                  <a:pt x="7608847" y="975532"/>
                </a:cubicBezTo>
                <a:close/>
                <a:moveTo>
                  <a:pt x="7080991" y="975532"/>
                </a:moveTo>
                <a:cubicBezTo>
                  <a:pt x="7111473" y="975532"/>
                  <a:pt x="7136183" y="1000242"/>
                  <a:pt x="7136183" y="1030723"/>
                </a:cubicBezTo>
                <a:cubicBezTo>
                  <a:pt x="7136183" y="1061204"/>
                  <a:pt x="7111473" y="1085914"/>
                  <a:pt x="7080991" y="1085914"/>
                </a:cubicBezTo>
                <a:cubicBezTo>
                  <a:pt x="7050509" y="1085914"/>
                  <a:pt x="7025799" y="1061204"/>
                  <a:pt x="7025799" y="1030723"/>
                </a:cubicBezTo>
                <a:cubicBezTo>
                  <a:pt x="7025799" y="1000242"/>
                  <a:pt x="7050509" y="975532"/>
                  <a:pt x="7080991" y="975532"/>
                </a:cubicBezTo>
                <a:close/>
                <a:moveTo>
                  <a:pt x="6553135" y="975532"/>
                </a:moveTo>
                <a:cubicBezTo>
                  <a:pt x="6583617" y="975532"/>
                  <a:pt x="6608327" y="1000242"/>
                  <a:pt x="6608327" y="1030723"/>
                </a:cubicBezTo>
                <a:cubicBezTo>
                  <a:pt x="6608327" y="1061204"/>
                  <a:pt x="6583617" y="1085914"/>
                  <a:pt x="6553135" y="1085914"/>
                </a:cubicBezTo>
                <a:cubicBezTo>
                  <a:pt x="6522653" y="1085914"/>
                  <a:pt x="6497943" y="1061204"/>
                  <a:pt x="6497943" y="1030723"/>
                </a:cubicBezTo>
                <a:cubicBezTo>
                  <a:pt x="6497943" y="1000242"/>
                  <a:pt x="6522653" y="975532"/>
                  <a:pt x="6553135" y="975532"/>
                </a:cubicBezTo>
                <a:close/>
                <a:moveTo>
                  <a:pt x="6419501" y="975532"/>
                </a:moveTo>
                <a:cubicBezTo>
                  <a:pt x="6449983" y="975532"/>
                  <a:pt x="6474693" y="1000242"/>
                  <a:pt x="6474693" y="1030723"/>
                </a:cubicBezTo>
                <a:cubicBezTo>
                  <a:pt x="6474693" y="1061204"/>
                  <a:pt x="6449983" y="1085914"/>
                  <a:pt x="6419501" y="1085914"/>
                </a:cubicBezTo>
                <a:cubicBezTo>
                  <a:pt x="6389019" y="1085914"/>
                  <a:pt x="6364309" y="1061204"/>
                  <a:pt x="6364309" y="1030723"/>
                </a:cubicBezTo>
                <a:cubicBezTo>
                  <a:pt x="6364309" y="1000242"/>
                  <a:pt x="6389019" y="975532"/>
                  <a:pt x="6419501" y="975532"/>
                </a:cubicBezTo>
                <a:close/>
                <a:moveTo>
                  <a:pt x="6155571" y="975532"/>
                </a:moveTo>
                <a:cubicBezTo>
                  <a:pt x="6186053" y="975532"/>
                  <a:pt x="6210763" y="1000242"/>
                  <a:pt x="6210763" y="1030723"/>
                </a:cubicBezTo>
                <a:cubicBezTo>
                  <a:pt x="6210763" y="1061204"/>
                  <a:pt x="6186053" y="1085914"/>
                  <a:pt x="6155571" y="1085914"/>
                </a:cubicBezTo>
                <a:cubicBezTo>
                  <a:pt x="6125089" y="1085914"/>
                  <a:pt x="6100379" y="1061204"/>
                  <a:pt x="6100379" y="1030723"/>
                </a:cubicBezTo>
                <a:cubicBezTo>
                  <a:pt x="6100379" y="1000242"/>
                  <a:pt x="6125089" y="975532"/>
                  <a:pt x="6155571" y="975532"/>
                </a:cubicBezTo>
                <a:close/>
                <a:moveTo>
                  <a:pt x="6021936" y="975532"/>
                </a:moveTo>
                <a:cubicBezTo>
                  <a:pt x="6052418" y="975532"/>
                  <a:pt x="6077128" y="1000242"/>
                  <a:pt x="6077128" y="1030723"/>
                </a:cubicBezTo>
                <a:cubicBezTo>
                  <a:pt x="6077128" y="1061204"/>
                  <a:pt x="6052418" y="1085914"/>
                  <a:pt x="6021936" y="1085914"/>
                </a:cubicBezTo>
                <a:cubicBezTo>
                  <a:pt x="5991454" y="1085914"/>
                  <a:pt x="5966744" y="1061204"/>
                  <a:pt x="5966744" y="1030723"/>
                </a:cubicBezTo>
                <a:cubicBezTo>
                  <a:pt x="5966744" y="1000242"/>
                  <a:pt x="5991454" y="975532"/>
                  <a:pt x="6021936" y="975532"/>
                </a:cubicBezTo>
                <a:close/>
                <a:moveTo>
                  <a:pt x="5884963" y="975532"/>
                </a:moveTo>
                <a:cubicBezTo>
                  <a:pt x="5915445" y="975532"/>
                  <a:pt x="5940155" y="1000242"/>
                  <a:pt x="5940155" y="1030723"/>
                </a:cubicBezTo>
                <a:cubicBezTo>
                  <a:pt x="5940155" y="1061204"/>
                  <a:pt x="5915445" y="1085914"/>
                  <a:pt x="5884963" y="1085914"/>
                </a:cubicBezTo>
                <a:cubicBezTo>
                  <a:pt x="5854481" y="1085914"/>
                  <a:pt x="5829771" y="1061204"/>
                  <a:pt x="5829771" y="1030723"/>
                </a:cubicBezTo>
                <a:cubicBezTo>
                  <a:pt x="5829771" y="1000242"/>
                  <a:pt x="5854481" y="975532"/>
                  <a:pt x="5884963" y="975532"/>
                </a:cubicBezTo>
                <a:close/>
                <a:moveTo>
                  <a:pt x="5621031" y="975532"/>
                </a:moveTo>
                <a:cubicBezTo>
                  <a:pt x="5651513" y="975532"/>
                  <a:pt x="5676223" y="1000242"/>
                  <a:pt x="5676223" y="1030723"/>
                </a:cubicBezTo>
                <a:cubicBezTo>
                  <a:pt x="5676223" y="1061204"/>
                  <a:pt x="5651513" y="1085914"/>
                  <a:pt x="5621031" y="1085914"/>
                </a:cubicBezTo>
                <a:cubicBezTo>
                  <a:pt x="5590549" y="1085914"/>
                  <a:pt x="5565839" y="1061204"/>
                  <a:pt x="5565839" y="1030723"/>
                </a:cubicBezTo>
                <a:cubicBezTo>
                  <a:pt x="5565839" y="1000242"/>
                  <a:pt x="5590549" y="975532"/>
                  <a:pt x="5621031" y="975532"/>
                </a:cubicBezTo>
                <a:close/>
                <a:moveTo>
                  <a:pt x="5223472" y="975532"/>
                </a:moveTo>
                <a:cubicBezTo>
                  <a:pt x="5253954" y="975532"/>
                  <a:pt x="5278664" y="1000242"/>
                  <a:pt x="5278664" y="1030723"/>
                </a:cubicBezTo>
                <a:cubicBezTo>
                  <a:pt x="5278664" y="1061204"/>
                  <a:pt x="5253954" y="1085914"/>
                  <a:pt x="5223472" y="1085914"/>
                </a:cubicBezTo>
                <a:cubicBezTo>
                  <a:pt x="5192990" y="1085914"/>
                  <a:pt x="5168280" y="1061204"/>
                  <a:pt x="5168280" y="1030723"/>
                </a:cubicBezTo>
                <a:cubicBezTo>
                  <a:pt x="5168280" y="1000242"/>
                  <a:pt x="5192990" y="975532"/>
                  <a:pt x="5223472" y="975532"/>
                </a:cubicBezTo>
                <a:close/>
                <a:moveTo>
                  <a:pt x="4294710" y="975532"/>
                </a:moveTo>
                <a:cubicBezTo>
                  <a:pt x="4325192" y="975532"/>
                  <a:pt x="4349902" y="1000242"/>
                  <a:pt x="4349902" y="1030723"/>
                </a:cubicBezTo>
                <a:cubicBezTo>
                  <a:pt x="4349902" y="1061204"/>
                  <a:pt x="4325192" y="1085914"/>
                  <a:pt x="4294710" y="1085914"/>
                </a:cubicBezTo>
                <a:cubicBezTo>
                  <a:pt x="4264228" y="1085914"/>
                  <a:pt x="4239518" y="1061204"/>
                  <a:pt x="4239518" y="1030723"/>
                </a:cubicBezTo>
                <a:cubicBezTo>
                  <a:pt x="4239518" y="1000242"/>
                  <a:pt x="4264228" y="975532"/>
                  <a:pt x="4294710" y="975532"/>
                </a:cubicBezTo>
                <a:close/>
                <a:moveTo>
                  <a:pt x="3499584" y="975532"/>
                </a:moveTo>
                <a:cubicBezTo>
                  <a:pt x="3530066" y="975532"/>
                  <a:pt x="3554776" y="1000242"/>
                  <a:pt x="3554776" y="1030723"/>
                </a:cubicBezTo>
                <a:cubicBezTo>
                  <a:pt x="3554776" y="1061204"/>
                  <a:pt x="3530066" y="1085914"/>
                  <a:pt x="3499584" y="1085914"/>
                </a:cubicBezTo>
                <a:cubicBezTo>
                  <a:pt x="3469102" y="1085914"/>
                  <a:pt x="3444392" y="1061204"/>
                  <a:pt x="3444392" y="1030723"/>
                </a:cubicBezTo>
                <a:cubicBezTo>
                  <a:pt x="3444392" y="1000242"/>
                  <a:pt x="3469102" y="975532"/>
                  <a:pt x="3499584" y="975532"/>
                </a:cubicBezTo>
                <a:close/>
                <a:moveTo>
                  <a:pt x="2834836" y="975532"/>
                </a:moveTo>
                <a:cubicBezTo>
                  <a:pt x="2865318" y="975532"/>
                  <a:pt x="2890028" y="1000242"/>
                  <a:pt x="2890028" y="1030723"/>
                </a:cubicBezTo>
                <a:cubicBezTo>
                  <a:pt x="2890028" y="1061204"/>
                  <a:pt x="2865318" y="1085914"/>
                  <a:pt x="2834836" y="1085914"/>
                </a:cubicBezTo>
                <a:cubicBezTo>
                  <a:pt x="2804354" y="1085914"/>
                  <a:pt x="2779643" y="1061204"/>
                  <a:pt x="2779643" y="1030723"/>
                </a:cubicBezTo>
                <a:cubicBezTo>
                  <a:pt x="2779643" y="1000242"/>
                  <a:pt x="2804354" y="975532"/>
                  <a:pt x="2834836" y="975532"/>
                </a:cubicBezTo>
                <a:close/>
                <a:moveTo>
                  <a:pt x="2303639" y="975532"/>
                </a:moveTo>
                <a:cubicBezTo>
                  <a:pt x="2334120" y="975532"/>
                  <a:pt x="2358830" y="1000242"/>
                  <a:pt x="2358830" y="1030723"/>
                </a:cubicBezTo>
                <a:cubicBezTo>
                  <a:pt x="2358830" y="1061204"/>
                  <a:pt x="2334120" y="1085914"/>
                  <a:pt x="2303639" y="1085914"/>
                </a:cubicBezTo>
                <a:cubicBezTo>
                  <a:pt x="2273157" y="1085914"/>
                  <a:pt x="2248448" y="1061204"/>
                  <a:pt x="2248448" y="1030723"/>
                </a:cubicBezTo>
                <a:cubicBezTo>
                  <a:pt x="2248448" y="1000242"/>
                  <a:pt x="2273157" y="975532"/>
                  <a:pt x="2303639" y="975532"/>
                </a:cubicBezTo>
                <a:close/>
                <a:moveTo>
                  <a:pt x="2039712" y="975532"/>
                </a:moveTo>
                <a:cubicBezTo>
                  <a:pt x="2070195" y="975532"/>
                  <a:pt x="2094905" y="1000242"/>
                  <a:pt x="2094905" y="1030723"/>
                </a:cubicBezTo>
                <a:cubicBezTo>
                  <a:pt x="2094905" y="1061204"/>
                  <a:pt x="2070195" y="1085914"/>
                  <a:pt x="2039712" y="1085914"/>
                </a:cubicBezTo>
                <a:cubicBezTo>
                  <a:pt x="2009228" y="1085914"/>
                  <a:pt x="1984518" y="1061204"/>
                  <a:pt x="1984518" y="1030723"/>
                </a:cubicBezTo>
                <a:cubicBezTo>
                  <a:pt x="1984518" y="1000242"/>
                  <a:pt x="2009228" y="975532"/>
                  <a:pt x="2039712" y="975532"/>
                </a:cubicBezTo>
                <a:close/>
                <a:moveTo>
                  <a:pt x="1909414" y="975532"/>
                </a:moveTo>
                <a:cubicBezTo>
                  <a:pt x="1939897" y="975532"/>
                  <a:pt x="1964607" y="1000242"/>
                  <a:pt x="1964607" y="1030723"/>
                </a:cubicBezTo>
                <a:cubicBezTo>
                  <a:pt x="1964607" y="1061204"/>
                  <a:pt x="1939897" y="1085914"/>
                  <a:pt x="1909414" y="1085914"/>
                </a:cubicBezTo>
                <a:cubicBezTo>
                  <a:pt x="1878931" y="1085914"/>
                  <a:pt x="1854220" y="1061204"/>
                  <a:pt x="1854220" y="1030723"/>
                </a:cubicBezTo>
                <a:cubicBezTo>
                  <a:pt x="1854220" y="1000242"/>
                  <a:pt x="1878931" y="975532"/>
                  <a:pt x="1909414" y="975532"/>
                </a:cubicBezTo>
                <a:close/>
                <a:moveTo>
                  <a:pt x="1779117" y="975532"/>
                </a:moveTo>
                <a:cubicBezTo>
                  <a:pt x="1809599" y="975532"/>
                  <a:pt x="1834310" y="1000242"/>
                  <a:pt x="1834310" y="1030723"/>
                </a:cubicBezTo>
                <a:cubicBezTo>
                  <a:pt x="1834310" y="1061204"/>
                  <a:pt x="1809599" y="1085914"/>
                  <a:pt x="1779117" y="1085914"/>
                </a:cubicBezTo>
                <a:cubicBezTo>
                  <a:pt x="1748635" y="1085914"/>
                  <a:pt x="1723923" y="1061204"/>
                  <a:pt x="1723923" y="1030723"/>
                </a:cubicBezTo>
                <a:cubicBezTo>
                  <a:pt x="1723923" y="1000242"/>
                  <a:pt x="1748635" y="975532"/>
                  <a:pt x="1779117" y="975532"/>
                </a:cubicBezTo>
                <a:close/>
                <a:moveTo>
                  <a:pt x="1645480" y="975532"/>
                </a:moveTo>
                <a:cubicBezTo>
                  <a:pt x="1675963" y="975532"/>
                  <a:pt x="1700679" y="1000242"/>
                  <a:pt x="1700679" y="1030723"/>
                </a:cubicBezTo>
                <a:cubicBezTo>
                  <a:pt x="1700679" y="1061204"/>
                  <a:pt x="1675963" y="1085914"/>
                  <a:pt x="1645480" y="1085914"/>
                </a:cubicBezTo>
                <a:cubicBezTo>
                  <a:pt x="1615000" y="1085914"/>
                  <a:pt x="1590287" y="1061204"/>
                  <a:pt x="1590287" y="1030723"/>
                </a:cubicBezTo>
                <a:cubicBezTo>
                  <a:pt x="1590287" y="1000242"/>
                  <a:pt x="1615000" y="975532"/>
                  <a:pt x="1645480" y="975532"/>
                </a:cubicBezTo>
                <a:close/>
                <a:moveTo>
                  <a:pt x="1515189" y="975532"/>
                </a:moveTo>
                <a:cubicBezTo>
                  <a:pt x="1545668" y="975532"/>
                  <a:pt x="1570378" y="1000242"/>
                  <a:pt x="1570378" y="1030723"/>
                </a:cubicBezTo>
                <a:cubicBezTo>
                  <a:pt x="1570378" y="1061204"/>
                  <a:pt x="1545668" y="1085914"/>
                  <a:pt x="1515189" y="1085914"/>
                </a:cubicBezTo>
                <a:cubicBezTo>
                  <a:pt x="1484708" y="1085914"/>
                  <a:pt x="1459995" y="1061204"/>
                  <a:pt x="1459995" y="1030723"/>
                </a:cubicBezTo>
                <a:cubicBezTo>
                  <a:pt x="1459995" y="1000242"/>
                  <a:pt x="1484708" y="975532"/>
                  <a:pt x="1515189" y="975532"/>
                </a:cubicBezTo>
                <a:close/>
                <a:moveTo>
                  <a:pt x="1381549" y="975532"/>
                </a:moveTo>
                <a:cubicBezTo>
                  <a:pt x="1412033" y="975532"/>
                  <a:pt x="1436744" y="1000242"/>
                  <a:pt x="1436744" y="1030723"/>
                </a:cubicBezTo>
                <a:cubicBezTo>
                  <a:pt x="1436744" y="1061204"/>
                  <a:pt x="1412033" y="1085914"/>
                  <a:pt x="1381549" y="1085914"/>
                </a:cubicBezTo>
                <a:cubicBezTo>
                  <a:pt x="1351074" y="1085914"/>
                  <a:pt x="1326361" y="1061204"/>
                  <a:pt x="1326361" y="1030723"/>
                </a:cubicBezTo>
                <a:cubicBezTo>
                  <a:pt x="1326361" y="1000242"/>
                  <a:pt x="1351074" y="975532"/>
                  <a:pt x="1381549" y="975532"/>
                </a:cubicBezTo>
                <a:close/>
                <a:moveTo>
                  <a:pt x="1117621" y="975532"/>
                </a:moveTo>
                <a:cubicBezTo>
                  <a:pt x="1148103" y="975532"/>
                  <a:pt x="1172814" y="1000242"/>
                  <a:pt x="1172814" y="1030723"/>
                </a:cubicBezTo>
                <a:cubicBezTo>
                  <a:pt x="1172814" y="1061204"/>
                  <a:pt x="1148103" y="1085914"/>
                  <a:pt x="1117621" y="1085914"/>
                </a:cubicBezTo>
                <a:cubicBezTo>
                  <a:pt x="1087137" y="1085914"/>
                  <a:pt x="1062427" y="1061204"/>
                  <a:pt x="1062427" y="1030723"/>
                </a:cubicBezTo>
                <a:cubicBezTo>
                  <a:pt x="1062427" y="1000242"/>
                  <a:pt x="1087137" y="975532"/>
                  <a:pt x="1117621" y="975532"/>
                </a:cubicBezTo>
                <a:close/>
                <a:moveTo>
                  <a:pt x="980643" y="975532"/>
                </a:moveTo>
                <a:cubicBezTo>
                  <a:pt x="1011125" y="975532"/>
                  <a:pt x="1035836" y="1000242"/>
                  <a:pt x="1035836" y="1030723"/>
                </a:cubicBezTo>
                <a:cubicBezTo>
                  <a:pt x="1035836" y="1061204"/>
                  <a:pt x="1011125" y="1085914"/>
                  <a:pt x="980643" y="1085914"/>
                </a:cubicBezTo>
                <a:cubicBezTo>
                  <a:pt x="950159" y="1085914"/>
                  <a:pt x="925449" y="1061204"/>
                  <a:pt x="925449" y="1030723"/>
                </a:cubicBezTo>
                <a:cubicBezTo>
                  <a:pt x="925449" y="1000242"/>
                  <a:pt x="950159" y="975532"/>
                  <a:pt x="980643" y="975532"/>
                </a:cubicBezTo>
                <a:close/>
                <a:moveTo>
                  <a:pt x="716703" y="975532"/>
                </a:moveTo>
                <a:cubicBezTo>
                  <a:pt x="747185" y="975532"/>
                  <a:pt x="771897" y="1000242"/>
                  <a:pt x="771897" y="1030723"/>
                </a:cubicBezTo>
                <a:cubicBezTo>
                  <a:pt x="771897" y="1061204"/>
                  <a:pt x="747185" y="1085914"/>
                  <a:pt x="716703" y="1085914"/>
                </a:cubicBezTo>
                <a:cubicBezTo>
                  <a:pt x="686222" y="1085914"/>
                  <a:pt x="661511" y="1061204"/>
                  <a:pt x="661511" y="1030723"/>
                </a:cubicBezTo>
                <a:cubicBezTo>
                  <a:pt x="661511" y="1000242"/>
                  <a:pt x="686222" y="975532"/>
                  <a:pt x="716703" y="975532"/>
                </a:cubicBezTo>
                <a:close/>
                <a:moveTo>
                  <a:pt x="583065" y="975532"/>
                </a:moveTo>
                <a:cubicBezTo>
                  <a:pt x="613549" y="975532"/>
                  <a:pt x="638258" y="1000242"/>
                  <a:pt x="638258" y="1030723"/>
                </a:cubicBezTo>
                <a:cubicBezTo>
                  <a:pt x="638258" y="1061204"/>
                  <a:pt x="613549" y="1085914"/>
                  <a:pt x="583065" y="1085914"/>
                </a:cubicBezTo>
                <a:cubicBezTo>
                  <a:pt x="552583" y="1085914"/>
                  <a:pt x="527871" y="1061204"/>
                  <a:pt x="527871" y="1030723"/>
                </a:cubicBezTo>
                <a:cubicBezTo>
                  <a:pt x="527871" y="1000242"/>
                  <a:pt x="552583" y="975532"/>
                  <a:pt x="583065" y="975532"/>
                </a:cubicBezTo>
                <a:close/>
                <a:moveTo>
                  <a:pt x="449419" y="975532"/>
                </a:moveTo>
                <a:cubicBezTo>
                  <a:pt x="479902" y="975532"/>
                  <a:pt x="504612" y="1000242"/>
                  <a:pt x="504612" y="1030723"/>
                </a:cubicBezTo>
                <a:cubicBezTo>
                  <a:pt x="504612" y="1061204"/>
                  <a:pt x="479902" y="1085914"/>
                  <a:pt x="449419" y="1085914"/>
                </a:cubicBezTo>
                <a:cubicBezTo>
                  <a:pt x="418936" y="1085914"/>
                  <a:pt x="394227" y="1061204"/>
                  <a:pt x="394227" y="1030723"/>
                </a:cubicBezTo>
                <a:cubicBezTo>
                  <a:pt x="394227" y="1000242"/>
                  <a:pt x="418936" y="975532"/>
                  <a:pt x="449419" y="975532"/>
                </a:cubicBezTo>
                <a:close/>
                <a:moveTo>
                  <a:pt x="319124" y="975532"/>
                </a:moveTo>
                <a:cubicBezTo>
                  <a:pt x="349606" y="975532"/>
                  <a:pt x="374317" y="1000242"/>
                  <a:pt x="374317" y="1030723"/>
                </a:cubicBezTo>
                <a:cubicBezTo>
                  <a:pt x="374317" y="1061204"/>
                  <a:pt x="349606" y="1085914"/>
                  <a:pt x="319124" y="1085914"/>
                </a:cubicBezTo>
                <a:cubicBezTo>
                  <a:pt x="288640" y="1085914"/>
                  <a:pt x="263931" y="1061204"/>
                  <a:pt x="263931" y="1030723"/>
                </a:cubicBezTo>
                <a:cubicBezTo>
                  <a:pt x="263931" y="1000242"/>
                  <a:pt x="288640" y="975532"/>
                  <a:pt x="319124" y="975532"/>
                </a:cubicBezTo>
                <a:close/>
                <a:moveTo>
                  <a:pt x="185492" y="975532"/>
                </a:moveTo>
                <a:cubicBezTo>
                  <a:pt x="215972" y="975532"/>
                  <a:pt x="240682" y="1000242"/>
                  <a:pt x="240682" y="1030723"/>
                </a:cubicBezTo>
                <a:cubicBezTo>
                  <a:pt x="240682" y="1061204"/>
                  <a:pt x="215972" y="1085914"/>
                  <a:pt x="185492" y="1085914"/>
                </a:cubicBezTo>
                <a:cubicBezTo>
                  <a:pt x="155010" y="1085914"/>
                  <a:pt x="130299" y="1061204"/>
                  <a:pt x="130299" y="1030723"/>
                </a:cubicBezTo>
                <a:cubicBezTo>
                  <a:pt x="130299" y="1000242"/>
                  <a:pt x="155010" y="975532"/>
                  <a:pt x="185492" y="975532"/>
                </a:cubicBezTo>
                <a:close/>
                <a:moveTo>
                  <a:pt x="55197" y="975532"/>
                </a:moveTo>
                <a:cubicBezTo>
                  <a:pt x="85679" y="975532"/>
                  <a:pt x="110388" y="1000242"/>
                  <a:pt x="110388" y="1030723"/>
                </a:cubicBezTo>
                <a:cubicBezTo>
                  <a:pt x="110388" y="1061204"/>
                  <a:pt x="85679" y="1085914"/>
                  <a:pt x="55197" y="1085914"/>
                </a:cubicBezTo>
                <a:cubicBezTo>
                  <a:pt x="24715" y="1085914"/>
                  <a:pt x="7" y="1061204"/>
                  <a:pt x="7" y="1030723"/>
                </a:cubicBezTo>
                <a:cubicBezTo>
                  <a:pt x="7" y="1000242"/>
                  <a:pt x="24715" y="975532"/>
                  <a:pt x="55197" y="975532"/>
                </a:cubicBezTo>
                <a:close/>
                <a:moveTo>
                  <a:pt x="9469710" y="855263"/>
                </a:moveTo>
                <a:cubicBezTo>
                  <a:pt x="9500192" y="855263"/>
                  <a:pt x="9524902" y="879973"/>
                  <a:pt x="9524902" y="910454"/>
                </a:cubicBezTo>
                <a:cubicBezTo>
                  <a:pt x="9524902" y="940935"/>
                  <a:pt x="9500192" y="965645"/>
                  <a:pt x="9469710" y="965645"/>
                </a:cubicBezTo>
                <a:cubicBezTo>
                  <a:pt x="9439228" y="965645"/>
                  <a:pt x="9414518" y="940935"/>
                  <a:pt x="9414518" y="910454"/>
                </a:cubicBezTo>
                <a:cubicBezTo>
                  <a:pt x="9414518" y="879973"/>
                  <a:pt x="9439228" y="855263"/>
                  <a:pt x="9469710" y="855263"/>
                </a:cubicBezTo>
                <a:close/>
                <a:moveTo>
                  <a:pt x="9336075" y="855263"/>
                </a:moveTo>
                <a:cubicBezTo>
                  <a:pt x="9366557" y="855263"/>
                  <a:pt x="9391267" y="879973"/>
                  <a:pt x="9391267" y="910454"/>
                </a:cubicBezTo>
                <a:cubicBezTo>
                  <a:pt x="9391267" y="940935"/>
                  <a:pt x="9366557" y="965645"/>
                  <a:pt x="9336075" y="965645"/>
                </a:cubicBezTo>
                <a:cubicBezTo>
                  <a:pt x="9305593" y="965645"/>
                  <a:pt x="9280883" y="940935"/>
                  <a:pt x="9280883" y="910454"/>
                </a:cubicBezTo>
                <a:cubicBezTo>
                  <a:pt x="9280883" y="879973"/>
                  <a:pt x="9305593" y="855263"/>
                  <a:pt x="9336075" y="855263"/>
                </a:cubicBezTo>
                <a:close/>
                <a:moveTo>
                  <a:pt x="9199100" y="855263"/>
                </a:moveTo>
                <a:cubicBezTo>
                  <a:pt x="9229582" y="855263"/>
                  <a:pt x="9254292" y="879973"/>
                  <a:pt x="9254292" y="910454"/>
                </a:cubicBezTo>
                <a:cubicBezTo>
                  <a:pt x="9254292" y="940935"/>
                  <a:pt x="9229582" y="965645"/>
                  <a:pt x="9199100" y="965645"/>
                </a:cubicBezTo>
                <a:cubicBezTo>
                  <a:pt x="9168618" y="965645"/>
                  <a:pt x="9143908" y="940935"/>
                  <a:pt x="9143908" y="910454"/>
                </a:cubicBezTo>
                <a:cubicBezTo>
                  <a:pt x="9143908" y="879973"/>
                  <a:pt x="9168618" y="855263"/>
                  <a:pt x="9199100" y="855263"/>
                </a:cubicBezTo>
                <a:close/>
                <a:moveTo>
                  <a:pt x="9068806" y="855263"/>
                </a:moveTo>
                <a:cubicBezTo>
                  <a:pt x="9099288" y="855263"/>
                  <a:pt x="9123998" y="879973"/>
                  <a:pt x="9123998" y="910454"/>
                </a:cubicBezTo>
                <a:cubicBezTo>
                  <a:pt x="9123998" y="940935"/>
                  <a:pt x="9099288" y="965645"/>
                  <a:pt x="9068806" y="965645"/>
                </a:cubicBezTo>
                <a:cubicBezTo>
                  <a:pt x="9038324" y="965645"/>
                  <a:pt x="9013614" y="940935"/>
                  <a:pt x="9013614" y="910454"/>
                </a:cubicBezTo>
                <a:cubicBezTo>
                  <a:pt x="9013614" y="879973"/>
                  <a:pt x="9038324" y="855263"/>
                  <a:pt x="9068806" y="855263"/>
                </a:cubicBezTo>
                <a:close/>
                <a:moveTo>
                  <a:pt x="8935170" y="855263"/>
                </a:moveTo>
                <a:cubicBezTo>
                  <a:pt x="8965652" y="855263"/>
                  <a:pt x="8990362" y="879973"/>
                  <a:pt x="8990362" y="910454"/>
                </a:cubicBezTo>
                <a:cubicBezTo>
                  <a:pt x="8990362" y="940935"/>
                  <a:pt x="8965652" y="965645"/>
                  <a:pt x="8935170" y="965645"/>
                </a:cubicBezTo>
                <a:cubicBezTo>
                  <a:pt x="8904688" y="965645"/>
                  <a:pt x="8879978" y="940935"/>
                  <a:pt x="8879978" y="910454"/>
                </a:cubicBezTo>
                <a:cubicBezTo>
                  <a:pt x="8879978" y="879973"/>
                  <a:pt x="8904688" y="855263"/>
                  <a:pt x="8935170" y="855263"/>
                </a:cubicBezTo>
                <a:close/>
                <a:moveTo>
                  <a:pt x="8801536" y="855263"/>
                </a:moveTo>
                <a:cubicBezTo>
                  <a:pt x="8832018" y="855263"/>
                  <a:pt x="8856728" y="879973"/>
                  <a:pt x="8856728" y="910454"/>
                </a:cubicBezTo>
                <a:cubicBezTo>
                  <a:pt x="8856728" y="940935"/>
                  <a:pt x="8832018" y="965645"/>
                  <a:pt x="8801536" y="965645"/>
                </a:cubicBezTo>
                <a:cubicBezTo>
                  <a:pt x="8771054" y="965645"/>
                  <a:pt x="8746344" y="940935"/>
                  <a:pt x="8746344" y="910454"/>
                </a:cubicBezTo>
                <a:cubicBezTo>
                  <a:pt x="8746344" y="879973"/>
                  <a:pt x="8771054" y="855263"/>
                  <a:pt x="8801536" y="855263"/>
                </a:cubicBezTo>
                <a:close/>
                <a:moveTo>
                  <a:pt x="8671243" y="855263"/>
                </a:moveTo>
                <a:cubicBezTo>
                  <a:pt x="8701725" y="855263"/>
                  <a:pt x="8726435" y="879973"/>
                  <a:pt x="8726435" y="910454"/>
                </a:cubicBezTo>
                <a:cubicBezTo>
                  <a:pt x="8726435" y="940935"/>
                  <a:pt x="8701725" y="965645"/>
                  <a:pt x="8671243" y="965645"/>
                </a:cubicBezTo>
                <a:cubicBezTo>
                  <a:pt x="8640761" y="965645"/>
                  <a:pt x="8616051" y="940935"/>
                  <a:pt x="8616051" y="910454"/>
                </a:cubicBezTo>
                <a:cubicBezTo>
                  <a:pt x="8616051" y="879973"/>
                  <a:pt x="8640761" y="855263"/>
                  <a:pt x="8671243" y="855263"/>
                </a:cubicBezTo>
                <a:close/>
                <a:moveTo>
                  <a:pt x="8537609" y="855263"/>
                </a:moveTo>
                <a:cubicBezTo>
                  <a:pt x="8568091" y="855263"/>
                  <a:pt x="8592801" y="879973"/>
                  <a:pt x="8592801" y="910454"/>
                </a:cubicBezTo>
                <a:cubicBezTo>
                  <a:pt x="8592801" y="940935"/>
                  <a:pt x="8568091" y="965645"/>
                  <a:pt x="8537609" y="965645"/>
                </a:cubicBezTo>
                <a:cubicBezTo>
                  <a:pt x="8507127" y="965645"/>
                  <a:pt x="8482417" y="940935"/>
                  <a:pt x="8482417" y="910454"/>
                </a:cubicBezTo>
                <a:cubicBezTo>
                  <a:pt x="8482417" y="879973"/>
                  <a:pt x="8507127" y="855263"/>
                  <a:pt x="8537609" y="855263"/>
                </a:cubicBezTo>
                <a:close/>
                <a:moveTo>
                  <a:pt x="8407315" y="855263"/>
                </a:moveTo>
                <a:cubicBezTo>
                  <a:pt x="8437797" y="855263"/>
                  <a:pt x="8462507" y="879973"/>
                  <a:pt x="8462507" y="910454"/>
                </a:cubicBezTo>
                <a:cubicBezTo>
                  <a:pt x="8462507" y="940935"/>
                  <a:pt x="8437797" y="965645"/>
                  <a:pt x="8407315" y="965645"/>
                </a:cubicBezTo>
                <a:cubicBezTo>
                  <a:pt x="8376833" y="965645"/>
                  <a:pt x="8352123" y="940935"/>
                  <a:pt x="8352123" y="910454"/>
                </a:cubicBezTo>
                <a:cubicBezTo>
                  <a:pt x="8352123" y="879973"/>
                  <a:pt x="8376833" y="855263"/>
                  <a:pt x="8407315" y="855263"/>
                </a:cubicBezTo>
                <a:close/>
                <a:moveTo>
                  <a:pt x="8273681" y="855263"/>
                </a:moveTo>
                <a:cubicBezTo>
                  <a:pt x="8304163" y="855263"/>
                  <a:pt x="8328873" y="879973"/>
                  <a:pt x="8328873" y="910454"/>
                </a:cubicBezTo>
                <a:cubicBezTo>
                  <a:pt x="8328873" y="940935"/>
                  <a:pt x="8304163" y="965645"/>
                  <a:pt x="8273681" y="965645"/>
                </a:cubicBezTo>
                <a:cubicBezTo>
                  <a:pt x="8243199" y="965645"/>
                  <a:pt x="8218489" y="940935"/>
                  <a:pt x="8218489" y="910454"/>
                </a:cubicBezTo>
                <a:cubicBezTo>
                  <a:pt x="8218489" y="879973"/>
                  <a:pt x="8243199" y="855263"/>
                  <a:pt x="8273681" y="855263"/>
                </a:cubicBezTo>
                <a:close/>
                <a:moveTo>
                  <a:pt x="8143386" y="855263"/>
                </a:moveTo>
                <a:cubicBezTo>
                  <a:pt x="8173868" y="855263"/>
                  <a:pt x="8198578" y="879973"/>
                  <a:pt x="8198578" y="910454"/>
                </a:cubicBezTo>
                <a:cubicBezTo>
                  <a:pt x="8198578" y="940935"/>
                  <a:pt x="8173868" y="965645"/>
                  <a:pt x="8143386" y="965645"/>
                </a:cubicBezTo>
                <a:cubicBezTo>
                  <a:pt x="8112904" y="965645"/>
                  <a:pt x="8088194" y="940935"/>
                  <a:pt x="8088194" y="910454"/>
                </a:cubicBezTo>
                <a:cubicBezTo>
                  <a:pt x="8088194" y="879973"/>
                  <a:pt x="8112904" y="855263"/>
                  <a:pt x="8143386" y="855263"/>
                </a:cubicBezTo>
                <a:close/>
                <a:moveTo>
                  <a:pt x="8009752" y="855263"/>
                </a:moveTo>
                <a:cubicBezTo>
                  <a:pt x="8040234" y="855263"/>
                  <a:pt x="8064944" y="879973"/>
                  <a:pt x="8064944" y="910454"/>
                </a:cubicBezTo>
                <a:cubicBezTo>
                  <a:pt x="8064944" y="940935"/>
                  <a:pt x="8040234" y="965645"/>
                  <a:pt x="8009752" y="965645"/>
                </a:cubicBezTo>
                <a:cubicBezTo>
                  <a:pt x="7979270" y="965645"/>
                  <a:pt x="7954560" y="940935"/>
                  <a:pt x="7954560" y="910454"/>
                </a:cubicBezTo>
                <a:cubicBezTo>
                  <a:pt x="7954560" y="879973"/>
                  <a:pt x="7979270" y="855263"/>
                  <a:pt x="8009752" y="855263"/>
                </a:cubicBezTo>
                <a:close/>
                <a:moveTo>
                  <a:pt x="7876117" y="855263"/>
                </a:moveTo>
                <a:cubicBezTo>
                  <a:pt x="7906599" y="855263"/>
                  <a:pt x="7931309" y="879973"/>
                  <a:pt x="7931309" y="910454"/>
                </a:cubicBezTo>
                <a:cubicBezTo>
                  <a:pt x="7931309" y="940935"/>
                  <a:pt x="7906599" y="965645"/>
                  <a:pt x="7876117" y="965645"/>
                </a:cubicBezTo>
                <a:cubicBezTo>
                  <a:pt x="7845635" y="965645"/>
                  <a:pt x="7820925" y="940935"/>
                  <a:pt x="7820925" y="910454"/>
                </a:cubicBezTo>
                <a:cubicBezTo>
                  <a:pt x="7820925" y="879973"/>
                  <a:pt x="7845635" y="855263"/>
                  <a:pt x="7876117" y="855263"/>
                </a:cubicBezTo>
                <a:close/>
                <a:moveTo>
                  <a:pt x="7745822" y="855263"/>
                </a:moveTo>
                <a:cubicBezTo>
                  <a:pt x="7776304" y="855263"/>
                  <a:pt x="7801014" y="879973"/>
                  <a:pt x="7801014" y="910454"/>
                </a:cubicBezTo>
                <a:cubicBezTo>
                  <a:pt x="7801014" y="940935"/>
                  <a:pt x="7776304" y="965645"/>
                  <a:pt x="7745822" y="965645"/>
                </a:cubicBezTo>
                <a:cubicBezTo>
                  <a:pt x="7715340" y="965645"/>
                  <a:pt x="7690630" y="940935"/>
                  <a:pt x="7690630" y="910454"/>
                </a:cubicBezTo>
                <a:cubicBezTo>
                  <a:pt x="7690630" y="879973"/>
                  <a:pt x="7715340" y="855263"/>
                  <a:pt x="7745822" y="855263"/>
                </a:cubicBezTo>
                <a:close/>
                <a:moveTo>
                  <a:pt x="7608849" y="855263"/>
                </a:moveTo>
                <a:cubicBezTo>
                  <a:pt x="7639331" y="855263"/>
                  <a:pt x="7664041" y="879973"/>
                  <a:pt x="7664041" y="910454"/>
                </a:cubicBezTo>
                <a:cubicBezTo>
                  <a:pt x="7664041" y="940935"/>
                  <a:pt x="7639331" y="965645"/>
                  <a:pt x="7608849" y="965645"/>
                </a:cubicBezTo>
                <a:cubicBezTo>
                  <a:pt x="7578367" y="965645"/>
                  <a:pt x="7553657" y="940935"/>
                  <a:pt x="7553657" y="910454"/>
                </a:cubicBezTo>
                <a:cubicBezTo>
                  <a:pt x="7553657" y="879973"/>
                  <a:pt x="7578367" y="855263"/>
                  <a:pt x="7608849" y="855263"/>
                </a:cubicBezTo>
                <a:close/>
                <a:moveTo>
                  <a:pt x="7481895" y="855263"/>
                </a:moveTo>
                <a:cubicBezTo>
                  <a:pt x="7512377" y="855263"/>
                  <a:pt x="7537087" y="879973"/>
                  <a:pt x="7537087" y="910454"/>
                </a:cubicBezTo>
                <a:cubicBezTo>
                  <a:pt x="7537087" y="940935"/>
                  <a:pt x="7512377" y="965645"/>
                  <a:pt x="7481895" y="965645"/>
                </a:cubicBezTo>
                <a:cubicBezTo>
                  <a:pt x="7451413" y="965645"/>
                  <a:pt x="7426703" y="940935"/>
                  <a:pt x="7426703" y="910454"/>
                </a:cubicBezTo>
                <a:cubicBezTo>
                  <a:pt x="7426703" y="879973"/>
                  <a:pt x="7451413" y="855263"/>
                  <a:pt x="7481895" y="855263"/>
                </a:cubicBezTo>
                <a:close/>
                <a:moveTo>
                  <a:pt x="7341578" y="855263"/>
                </a:moveTo>
                <a:cubicBezTo>
                  <a:pt x="7372060" y="855263"/>
                  <a:pt x="7396770" y="879973"/>
                  <a:pt x="7396770" y="910454"/>
                </a:cubicBezTo>
                <a:cubicBezTo>
                  <a:pt x="7396770" y="940935"/>
                  <a:pt x="7372060" y="965645"/>
                  <a:pt x="7341578" y="965645"/>
                </a:cubicBezTo>
                <a:cubicBezTo>
                  <a:pt x="7311096" y="965645"/>
                  <a:pt x="7286386" y="940935"/>
                  <a:pt x="7286386" y="910454"/>
                </a:cubicBezTo>
                <a:cubicBezTo>
                  <a:pt x="7286386" y="879973"/>
                  <a:pt x="7311096" y="855263"/>
                  <a:pt x="7341578" y="855263"/>
                </a:cubicBezTo>
                <a:close/>
                <a:moveTo>
                  <a:pt x="7211285" y="855263"/>
                </a:moveTo>
                <a:cubicBezTo>
                  <a:pt x="7241767" y="855263"/>
                  <a:pt x="7266477" y="879973"/>
                  <a:pt x="7266477" y="910454"/>
                </a:cubicBezTo>
                <a:cubicBezTo>
                  <a:pt x="7266477" y="940935"/>
                  <a:pt x="7241767" y="965645"/>
                  <a:pt x="7211285" y="965645"/>
                </a:cubicBezTo>
                <a:cubicBezTo>
                  <a:pt x="7180803" y="965645"/>
                  <a:pt x="7156093" y="940935"/>
                  <a:pt x="7156093" y="910454"/>
                </a:cubicBezTo>
                <a:cubicBezTo>
                  <a:pt x="7156093" y="879973"/>
                  <a:pt x="7180803" y="855263"/>
                  <a:pt x="7211285" y="855263"/>
                </a:cubicBezTo>
                <a:close/>
                <a:moveTo>
                  <a:pt x="7080993" y="855263"/>
                </a:moveTo>
                <a:cubicBezTo>
                  <a:pt x="7111475" y="855263"/>
                  <a:pt x="7136185" y="879973"/>
                  <a:pt x="7136185" y="910454"/>
                </a:cubicBezTo>
                <a:cubicBezTo>
                  <a:pt x="7136185" y="940935"/>
                  <a:pt x="7111475" y="965645"/>
                  <a:pt x="7080993" y="965645"/>
                </a:cubicBezTo>
                <a:cubicBezTo>
                  <a:pt x="7050511" y="965645"/>
                  <a:pt x="7025801" y="940935"/>
                  <a:pt x="7025801" y="910454"/>
                </a:cubicBezTo>
                <a:cubicBezTo>
                  <a:pt x="7025801" y="879973"/>
                  <a:pt x="7050511" y="855263"/>
                  <a:pt x="7080993" y="855263"/>
                </a:cubicBezTo>
                <a:close/>
                <a:moveTo>
                  <a:pt x="6947357" y="855263"/>
                </a:moveTo>
                <a:cubicBezTo>
                  <a:pt x="6977839" y="855263"/>
                  <a:pt x="7002549" y="879973"/>
                  <a:pt x="7002549" y="910454"/>
                </a:cubicBezTo>
                <a:cubicBezTo>
                  <a:pt x="7002549" y="940935"/>
                  <a:pt x="6977839" y="965645"/>
                  <a:pt x="6947357" y="965645"/>
                </a:cubicBezTo>
                <a:cubicBezTo>
                  <a:pt x="6916875" y="965645"/>
                  <a:pt x="6892165" y="940935"/>
                  <a:pt x="6892165" y="910454"/>
                </a:cubicBezTo>
                <a:cubicBezTo>
                  <a:pt x="6892165" y="879973"/>
                  <a:pt x="6916875" y="855263"/>
                  <a:pt x="6947357" y="855263"/>
                </a:cubicBezTo>
                <a:close/>
                <a:moveTo>
                  <a:pt x="6817063" y="855263"/>
                </a:moveTo>
                <a:cubicBezTo>
                  <a:pt x="6847545" y="855263"/>
                  <a:pt x="6872255" y="879973"/>
                  <a:pt x="6872255" y="910454"/>
                </a:cubicBezTo>
                <a:cubicBezTo>
                  <a:pt x="6872255" y="940935"/>
                  <a:pt x="6847545" y="965645"/>
                  <a:pt x="6817063" y="965645"/>
                </a:cubicBezTo>
                <a:cubicBezTo>
                  <a:pt x="6786581" y="965645"/>
                  <a:pt x="6761871" y="940935"/>
                  <a:pt x="6761871" y="910454"/>
                </a:cubicBezTo>
                <a:cubicBezTo>
                  <a:pt x="6761871" y="879973"/>
                  <a:pt x="6786581" y="855263"/>
                  <a:pt x="6817063" y="855263"/>
                </a:cubicBezTo>
                <a:close/>
                <a:moveTo>
                  <a:pt x="6683430" y="855263"/>
                </a:moveTo>
                <a:cubicBezTo>
                  <a:pt x="6713912" y="855263"/>
                  <a:pt x="6738622" y="879973"/>
                  <a:pt x="6738622" y="910454"/>
                </a:cubicBezTo>
                <a:cubicBezTo>
                  <a:pt x="6738622" y="940935"/>
                  <a:pt x="6713912" y="965645"/>
                  <a:pt x="6683430" y="965645"/>
                </a:cubicBezTo>
                <a:cubicBezTo>
                  <a:pt x="6652948" y="965645"/>
                  <a:pt x="6628238" y="940935"/>
                  <a:pt x="6628238" y="910454"/>
                </a:cubicBezTo>
                <a:cubicBezTo>
                  <a:pt x="6628238" y="879973"/>
                  <a:pt x="6652948" y="855263"/>
                  <a:pt x="6683430" y="855263"/>
                </a:cubicBezTo>
                <a:close/>
                <a:moveTo>
                  <a:pt x="6553135" y="855263"/>
                </a:moveTo>
                <a:cubicBezTo>
                  <a:pt x="6583617" y="855263"/>
                  <a:pt x="6608327" y="879973"/>
                  <a:pt x="6608327" y="910454"/>
                </a:cubicBezTo>
                <a:cubicBezTo>
                  <a:pt x="6608327" y="940935"/>
                  <a:pt x="6583617" y="965645"/>
                  <a:pt x="6553135" y="965645"/>
                </a:cubicBezTo>
                <a:cubicBezTo>
                  <a:pt x="6522653" y="965645"/>
                  <a:pt x="6497943" y="940935"/>
                  <a:pt x="6497943" y="910454"/>
                </a:cubicBezTo>
                <a:cubicBezTo>
                  <a:pt x="6497943" y="879973"/>
                  <a:pt x="6522653" y="855263"/>
                  <a:pt x="6553135" y="855263"/>
                </a:cubicBezTo>
                <a:close/>
                <a:moveTo>
                  <a:pt x="6419502" y="855263"/>
                </a:moveTo>
                <a:cubicBezTo>
                  <a:pt x="6449984" y="855263"/>
                  <a:pt x="6474694" y="879973"/>
                  <a:pt x="6474694" y="910454"/>
                </a:cubicBezTo>
                <a:cubicBezTo>
                  <a:pt x="6474694" y="940935"/>
                  <a:pt x="6449984" y="965645"/>
                  <a:pt x="6419502" y="965645"/>
                </a:cubicBezTo>
                <a:cubicBezTo>
                  <a:pt x="6389020" y="965645"/>
                  <a:pt x="6364310" y="940935"/>
                  <a:pt x="6364310" y="910454"/>
                </a:cubicBezTo>
                <a:cubicBezTo>
                  <a:pt x="6364310" y="879973"/>
                  <a:pt x="6389020" y="855263"/>
                  <a:pt x="6419502" y="855263"/>
                </a:cubicBezTo>
                <a:close/>
                <a:moveTo>
                  <a:pt x="6289206" y="855263"/>
                </a:moveTo>
                <a:cubicBezTo>
                  <a:pt x="6319688" y="855263"/>
                  <a:pt x="6344398" y="879973"/>
                  <a:pt x="6344398" y="910454"/>
                </a:cubicBezTo>
                <a:cubicBezTo>
                  <a:pt x="6344398" y="940935"/>
                  <a:pt x="6319688" y="965645"/>
                  <a:pt x="6289206" y="965645"/>
                </a:cubicBezTo>
                <a:cubicBezTo>
                  <a:pt x="6258724" y="965645"/>
                  <a:pt x="6234014" y="940935"/>
                  <a:pt x="6234014" y="910454"/>
                </a:cubicBezTo>
                <a:cubicBezTo>
                  <a:pt x="6234014" y="879973"/>
                  <a:pt x="6258724" y="855263"/>
                  <a:pt x="6289206" y="855263"/>
                </a:cubicBezTo>
                <a:close/>
                <a:moveTo>
                  <a:pt x="6155571" y="855263"/>
                </a:moveTo>
                <a:cubicBezTo>
                  <a:pt x="6186053" y="855263"/>
                  <a:pt x="6210763" y="879973"/>
                  <a:pt x="6210763" y="910454"/>
                </a:cubicBezTo>
                <a:cubicBezTo>
                  <a:pt x="6210763" y="940935"/>
                  <a:pt x="6186053" y="965645"/>
                  <a:pt x="6155571" y="965645"/>
                </a:cubicBezTo>
                <a:cubicBezTo>
                  <a:pt x="6125089" y="965645"/>
                  <a:pt x="6100379" y="940935"/>
                  <a:pt x="6100379" y="910454"/>
                </a:cubicBezTo>
                <a:cubicBezTo>
                  <a:pt x="6100379" y="879973"/>
                  <a:pt x="6125089" y="855263"/>
                  <a:pt x="6155571" y="855263"/>
                </a:cubicBezTo>
                <a:close/>
                <a:moveTo>
                  <a:pt x="6021938" y="855263"/>
                </a:moveTo>
                <a:cubicBezTo>
                  <a:pt x="6052420" y="855263"/>
                  <a:pt x="6077130" y="879973"/>
                  <a:pt x="6077130" y="910454"/>
                </a:cubicBezTo>
                <a:cubicBezTo>
                  <a:pt x="6077130" y="940935"/>
                  <a:pt x="6052420" y="965645"/>
                  <a:pt x="6021938" y="965645"/>
                </a:cubicBezTo>
                <a:cubicBezTo>
                  <a:pt x="5991456" y="965645"/>
                  <a:pt x="5966746" y="940935"/>
                  <a:pt x="5966746" y="910454"/>
                </a:cubicBezTo>
                <a:cubicBezTo>
                  <a:pt x="5966746" y="879973"/>
                  <a:pt x="5991456" y="855263"/>
                  <a:pt x="6021938" y="855263"/>
                </a:cubicBezTo>
                <a:close/>
                <a:moveTo>
                  <a:pt x="5884961" y="855263"/>
                </a:moveTo>
                <a:cubicBezTo>
                  <a:pt x="5915443" y="855263"/>
                  <a:pt x="5940153" y="879973"/>
                  <a:pt x="5940153" y="910454"/>
                </a:cubicBezTo>
                <a:cubicBezTo>
                  <a:pt x="5940153" y="940935"/>
                  <a:pt x="5915443" y="965645"/>
                  <a:pt x="5884961" y="965645"/>
                </a:cubicBezTo>
                <a:cubicBezTo>
                  <a:pt x="5854479" y="965645"/>
                  <a:pt x="5829769" y="940935"/>
                  <a:pt x="5829769" y="910454"/>
                </a:cubicBezTo>
                <a:cubicBezTo>
                  <a:pt x="5829769" y="879973"/>
                  <a:pt x="5854479" y="855263"/>
                  <a:pt x="5884961" y="855263"/>
                </a:cubicBezTo>
                <a:close/>
                <a:moveTo>
                  <a:pt x="5754668" y="855263"/>
                </a:moveTo>
                <a:cubicBezTo>
                  <a:pt x="5785150" y="855263"/>
                  <a:pt x="5809860" y="879973"/>
                  <a:pt x="5809860" y="910454"/>
                </a:cubicBezTo>
                <a:cubicBezTo>
                  <a:pt x="5809860" y="940935"/>
                  <a:pt x="5785150" y="965645"/>
                  <a:pt x="5754668" y="965645"/>
                </a:cubicBezTo>
                <a:cubicBezTo>
                  <a:pt x="5724186" y="965645"/>
                  <a:pt x="5699476" y="940935"/>
                  <a:pt x="5699476" y="910454"/>
                </a:cubicBezTo>
                <a:cubicBezTo>
                  <a:pt x="5699476" y="879973"/>
                  <a:pt x="5724186" y="855263"/>
                  <a:pt x="5754668" y="855263"/>
                </a:cubicBezTo>
                <a:close/>
                <a:moveTo>
                  <a:pt x="5621034" y="855263"/>
                </a:moveTo>
                <a:cubicBezTo>
                  <a:pt x="5651516" y="855263"/>
                  <a:pt x="5676226" y="879973"/>
                  <a:pt x="5676226" y="910454"/>
                </a:cubicBezTo>
                <a:cubicBezTo>
                  <a:pt x="5676226" y="940935"/>
                  <a:pt x="5651516" y="965645"/>
                  <a:pt x="5621034" y="965645"/>
                </a:cubicBezTo>
                <a:cubicBezTo>
                  <a:pt x="5590552" y="965645"/>
                  <a:pt x="5565842" y="940935"/>
                  <a:pt x="5565842" y="910454"/>
                </a:cubicBezTo>
                <a:cubicBezTo>
                  <a:pt x="5565842" y="879973"/>
                  <a:pt x="5590552" y="855263"/>
                  <a:pt x="5621034" y="855263"/>
                </a:cubicBezTo>
                <a:close/>
                <a:moveTo>
                  <a:pt x="5487399" y="855263"/>
                </a:moveTo>
                <a:cubicBezTo>
                  <a:pt x="5517881" y="855263"/>
                  <a:pt x="5542591" y="879973"/>
                  <a:pt x="5542591" y="910454"/>
                </a:cubicBezTo>
                <a:cubicBezTo>
                  <a:pt x="5542591" y="940935"/>
                  <a:pt x="5517881" y="965645"/>
                  <a:pt x="5487399" y="965645"/>
                </a:cubicBezTo>
                <a:cubicBezTo>
                  <a:pt x="5456917" y="965645"/>
                  <a:pt x="5432207" y="940935"/>
                  <a:pt x="5432207" y="910454"/>
                </a:cubicBezTo>
                <a:cubicBezTo>
                  <a:pt x="5432207" y="879973"/>
                  <a:pt x="5456917" y="855263"/>
                  <a:pt x="5487399" y="855263"/>
                </a:cubicBezTo>
                <a:close/>
                <a:moveTo>
                  <a:pt x="5357105" y="855263"/>
                </a:moveTo>
                <a:cubicBezTo>
                  <a:pt x="5387587" y="855263"/>
                  <a:pt x="5412297" y="879973"/>
                  <a:pt x="5412297" y="910454"/>
                </a:cubicBezTo>
                <a:cubicBezTo>
                  <a:pt x="5412297" y="940935"/>
                  <a:pt x="5387587" y="965645"/>
                  <a:pt x="5357105" y="965645"/>
                </a:cubicBezTo>
                <a:cubicBezTo>
                  <a:pt x="5326623" y="965645"/>
                  <a:pt x="5301913" y="940935"/>
                  <a:pt x="5301913" y="910454"/>
                </a:cubicBezTo>
                <a:cubicBezTo>
                  <a:pt x="5301913" y="879973"/>
                  <a:pt x="5326623" y="855263"/>
                  <a:pt x="5357105" y="855263"/>
                </a:cubicBezTo>
                <a:close/>
                <a:moveTo>
                  <a:pt x="5223472" y="855263"/>
                </a:moveTo>
                <a:cubicBezTo>
                  <a:pt x="5253954" y="855263"/>
                  <a:pt x="5278664" y="879973"/>
                  <a:pt x="5278664" y="910454"/>
                </a:cubicBezTo>
                <a:cubicBezTo>
                  <a:pt x="5278664" y="940935"/>
                  <a:pt x="5253954" y="965645"/>
                  <a:pt x="5223472" y="965645"/>
                </a:cubicBezTo>
                <a:cubicBezTo>
                  <a:pt x="5192990" y="965645"/>
                  <a:pt x="5168280" y="940935"/>
                  <a:pt x="5168280" y="910454"/>
                </a:cubicBezTo>
                <a:cubicBezTo>
                  <a:pt x="5168280" y="879973"/>
                  <a:pt x="5192990" y="855263"/>
                  <a:pt x="5223472" y="855263"/>
                </a:cubicBezTo>
                <a:close/>
                <a:moveTo>
                  <a:pt x="5093178" y="855263"/>
                </a:moveTo>
                <a:cubicBezTo>
                  <a:pt x="5123660" y="855263"/>
                  <a:pt x="5148370" y="879973"/>
                  <a:pt x="5148370" y="910454"/>
                </a:cubicBezTo>
                <a:cubicBezTo>
                  <a:pt x="5148370" y="940935"/>
                  <a:pt x="5123660" y="965645"/>
                  <a:pt x="5093178" y="965645"/>
                </a:cubicBezTo>
                <a:cubicBezTo>
                  <a:pt x="5062696" y="965645"/>
                  <a:pt x="5037986" y="940935"/>
                  <a:pt x="5037986" y="910454"/>
                </a:cubicBezTo>
                <a:cubicBezTo>
                  <a:pt x="5037986" y="879973"/>
                  <a:pt x="5062696" y="855263"/>
                  <a:pt x="5093178" y="855263"/>
                </a:cubicBezTo>
                <a:close/>
                <a:moveTo>
                  <a:pt x="4161076" y="855263"/>
                </a:moveTo>
                <a:cubicBezTo>
                  <a:pt x="4191558" y="855263"/>
                  <a:pt x="4216268" y="879973"/>
                  <a:pt x="4216268" y="910454"/>
                </a:cubicBezTo>
                <a:cubicBezTo>
                  <a:pt x="4216268" y="940935"/>
                  <a:pt x="4191558" y="965645"/>
                  <a:pt x="4161076" y="965645"/>
                </a:cubicBezTo>
                <a:cubicBezTo>
                  <a:pt x="4130594" y="965645"/>
                  <a:pt x="4105884" y="940935"/>
                  <a:pt x="4105884" y="910454"/>
                </a:cubicBezTo>
                <a:cubicBezTo>
                  <a:pt x="4105884" y="879973"/>
                  <a:pt x="4130594" y="855263"/>
                  <a:pt x="4161076" y="855263"/>
                </a:cubicBezTo>
                <a:close/>
                <a:moveTo>
                  <a:pt x="3633218" y="855263"/>
                </a:moveTo>
                <a:cubicBezTo>
                  <a:pt x="3663700" y="855263"/>
                  <a:pt x="3688410" y="879973"/>
                  <a:pt x="3688410" y="910454"/>
                </a:cubicBezTo>
                <a:cubicBezTo>
                  <a:pt x="3688410" y="940935"/>
                  <a:pt x="3663700" y="965645"/>
                  <a:pt x="3633218" y="965645"/>
                </a:cubicBezTo>
                <a:cubicBezTo>
                  <a:pt x="3602736" y="965645"/>
                  <a:pt x="3578026" y="940935"/>
                  <a:pt x="3578026" y="910454"/>
                </a:cubicBezTo>
                <a:cubicBezTo>
                  <a:pt x="3578026" y="879973"/>
                  <a:pt x="3602736" y="855263"/>
                  <a:pt x="3633218" y="855263"/>
                </a:cubicBezTo>
                <a:close/>
                <a:moveTo>
                  <a:pt x="3499586" y="855263"/>
                </a:moveTo>
                <a:cubicBezTo>
                  <a:pt x="3530068" y="855263"/>
                  <a:pt x="3554778" y="879973"/>
                  <a:pt x="3554778" y="910454"/>
                </a:cubicBezTo>
                <a:cubicBezTo>
                  <a:pt x="3554778" y="940935"/>
                  <a:pt x="3530068" y="965645"/>
                  <a:pt x="3499586" y="965645"/>
                </a:cubicBezTo>
                <a:cubicBezTo>
                  <a:pt x="3469104" y="965645"/>
                  <a:pt x="3444394" y="940935"/>
                  <a:pt x="3444394" y="910454"/>
                </a:cubicBezTo>
                <a:cubicBezTo>
                  <a:pt x="3444394" y="879973"/>
                  <a:pt x="3469104" y="855263"/>
                  <a:pt x="3499586" y="855263"/>
                </a:cubicBezTo>
                <a:close/>
                <a:moveTo>
                  <a:pt x="3369290" y="855263"/>
                </a:moveTo>
                <a:cubicBezTo>
                  <a:pt x="3399772" y="855263"/>
                  <a:pt x="3424482" y="879973"/>
                  <a:pt x="3424482" y="910454"/>
                </a:cubicBezTo>
                <a:cubicBezTo>
                  <a:pt x="3424482" y="940935"/>
                  <a:pt x="3399772" y="965645"/>
                  <a:pt x="3369290" y="965645"/>
                </a:cubicBezTo>
                <a:cubicBezTo>
                  <a:pt x="3338808" y="965645"/>
                  <a:pt x="3314098" y="940935"/>
                  <a:pt x="3314098" y="910454"/>
                </a:cubicBezTo>
                <a:cubicBezTo>
                  <a:pt x="3314098" y="879973"/>
                  <a:pt x="3338808" y="855263"/>
                  <a:pt x="3369290" y="855263"/>
                </a:cubicBezTo>
                <a:close/>
                <a:moveTo>
                  <a:pt x="2834849" y="855263"/>
                </a:moveTo>
                <a:cubicBezTo>
                  <a:pt x="2865329" y="855263"/>
                  <a:pt x="2890040" y="879973"/>
                  <a:pt x="2890040" y="910454"/>
                </a:cubicBezTo>
                <a:cubicBezTo>
                  <a:pt x="2890040" y="940935"/>
                  <a:pt x="2865329" y="965645"/>
                  <a:pt x="2834849" y="965645"/>
                </a:cubicBezTo>
                <a:cubicBezTo>
                  <a:pt x="2804367" y="965645"/>
                  <a:pt x="2779655" y="940935"/>
                  <a:pt x="2779655" y="910454"/>
                </a:cubicBezTo>
                <a:cubicBezTo>
                  <a:pt x="2779655" y="879973"/>
                  <a:pt x="2804367" y="855263"/>
                  <a:pt x="2834849" y="855263"/>
                </a:cubicBezTo>
                <a:close/>
                <a:moveTo>
                  <a:pt x="2707895" y="855263"/>
                </a:moveTo>
                <a:cubicBezTo>
                  <a:pt x="2738377" y="855263"/>
                  <a:pt x="2763087" y="879973"/>
                  <a:pt x="2763087" y="910454"/>
                </a:cubicBezTo>
                <a:cubicBezTo>
                  <a:pt x="2763087" y="940935"/>
                  <a:pt x="2738377" y="965645"/>
                  <a:pt x="2707895" y="965645"/>
                </a:cubicBezTo>
                <a:cubicBezTo>
                  <a:pt x="2677411" y="965645"/>
                  <a:pt x="2652702" y="940935"/>
                  <a:pt x="2652702" y="910454"/>
                </a:cubicBezTo>
                <a:cubicBezTo>
                  <a:pt x="2652702" y="879973"/>
                  <a:pt x="2677411" y="855263"/>
                  <a:pt x="2707895" y="855263"/>
                </a:cubicBezTo>
                <a:close/>
                <a:moveTo>
                  <a:pt x="2570919" y="855263"/>
                </a:moveTo>
                <a:cubicBezTo>
                  <a:pt x="2601400" y="855263"/>
                  <a:pt x="2626110" y="879973"/>
                  <a:pt x="2626110" y="910454"/>
                </a:cubicBezTo>
                <a:cubicBezTo>
                  <a:pt x="2626110" y="940935"/>
                  <a:pt x="2601400" y="965645"/>
                  <a:pt x="2570919" y="965645"/>
                </a:cubicBezTo>
                <a:cubicBezTo>
                  <a:pt x="2540436" y="965645"/>
                  <a:pt x="2515724" y="940935"/>
                  <a:pt x="2515724" y="910454"/>
                </a:cubicBezTo>
                <a:cubicBezTo>
                  <a:pt x="2515724" y="879973"/>
                  <a:pt x="2540436" y="855263"/>
                  <a:pt x="2570919" y="855263"/>
                </a:cubicBezTo>
                <a:close/>
                <a:moveTo>
                  <a:pt x="2303651" y="855263"/>
                </a:moveTo>
                <a:cubicBezTo>
                  <a:pt x="2334134" y="855263"/>
                  <a:pt x="2358843" y="879973"/>
                  <a:pt x="2358843" y="910454"/>
                </a:cubicBezTo>
                <a:cubicBezTo>
                  <a:pt x="2358843" y="940935"/>
                  <a:pt x="2334134" y="965645"/>
                  <a:pt x="2303651" y="965645"/>
                </a:cubicBezTo>
                <a:cubicBezTo>
                  <a:pt x="2273169" y="965645"/>
                  <a:pt x="2248461" y="940935"/>
                  <a:pt x="2248461" y="910454"/>
                </a:cubicBezTo>
                <a:cubicBezTo>
                  <a:pt x="2248461" y="879973"/>
                  <a:pt x="2273169" y="855263"/>
                  <a:pt x="2303651" y="855263"/>
                </a:cubicBezTo>
                <a:close/>
                <a:moveTo>
                  <a:pt x="2173362" y="855263"/>
                </a:moveTo>
                <a:cubicBezTo>
                  <a:pt x="2203845" y="855263"/>
                  <a:pt x="2228554" y="879973"/>
                  <a:pt x="2228554" y="910454"/>
                </a:cubicBezTo>
                <a:cubicBezTo>
                  <a:pt x="2228554" y="940935"/>
                  <a:pt x="2203845" y="965645"/>
                  <a:pt x="2173362" y="965645"/>
                </a:cubicBezTo>
                <a:cubicBezTo>
                  <a:pt x="2142879" y="965645"/>
                  <a:pt x="2118170" y="940935"/>
                  <a:pt x="2118170" y="910454"/>
                </a:cubicBezTo>
                <a:cubicBezTo>
                  <a:pt x="2118170" y="879973"/>
                  <a:pt x="2142879" y="855263"/>
                  <a:pt x="2173362" y="855263"/>
                </a:cubicBezTo>
                <a:close/>
                <a:moveTo>
                  <a:pt x="2039725" y="855263"/>
                </a:moveTo>
                <a:cubicBezTo>
                  <a:pt x="2070208" y="855263"/>
                  <a:pt x="2094919" y="879973"/>
                  <a:pt x="2094919" y="910454"/>
                </a:cubicBezTo>
                <a:cubicBezTo>
                  <a:pt x="2094919" y="940935"/>
                  <a:pt x="2070208" y="965645"/>
                  <a:pt x="2039725" y="965645"/>
                </a:cubicBezTo>
                <a:cubicBezTo>
                  <a:pt x="2009244" y="965645"/>
                  <a:pt x="1984533" y="940935"/>
                  <a:pt x="1984533" y="910454"/>
                </a:cubicBezTo>
                <a:cubicBezTo>
                  <a:pt x="1984533" y="879973"/>
                  <a:pt x="2009244" y="855263"/>
                  <a:pt x="2039725" y="855263"/>
                </a:cubicBezTo>
                <a:close/>
                <a:moveTo>
                  <a:pt x="1909428" y="855263"/>
                </a:moveTo>
                <a:cubicBezTo>
                  <a:pt x="1939911" y="855263"/>
                  <a:pt x="1964620" y="879973"/>
                  <a:pt x="1964620" y="910454"/>
                </a:cubicBezTo>
                <a:cubicBezTo>
                  <a:pt x="1964620" y="940935"/>
                  <a:pt x="1939911" y="965645"/>
                  <a:pt x="1909428" y="965645"/>
                </a:cubicBezTo>
                <a:cubicBezTo>
                  <a:pt x="1878945" y="965645"/>
                  <a:pt x="1854234" y="940935"/>
                  <a:pt x="1854234" y="910454"/>
                </a:cubicBezTo>
                <a:cubicBezTo>
                  <a:pt x="1854234" y="879973"/>
                  <a:pt x="1878945" y="855263"/>
                  <a:pt x="1909428" y="855263"/>
                </a:cubicBezTo>
                <a:close/>
                <a:moveTo>
                  <a:pt x="1779130" y="855263"/>
                </a:moveTo>
                <a:cubicBezTo>
                  <a:pt x="1809614" y="855263"/>
                  <a:pt x="1834324" y="879973"/>
                  <a:pt x="1834324" y="910454"/>
                </a:cubicBezTo>
                <a:cubicBezTo>
                  <a:pt x="1834324" y="940935"/>
                  <a:pt x="1809614" y="965645"/>
                  <a:pt x="1779130" y="965645"/>
                </a:cubicBezTo>
                <a:cubicBezTo>
                  <a:pt x="1748649" y="965645"/>
                  <a:pt x="1723937" y="940935"/>
                  <a:pt x="1723937" y="910454"/>
                </a:cubicBezTo>
                <a:cubicBezTo>
                  <a:pt x="1723937" y="879973"/>
                  <a:pt x="1748649" y="855263"/>
                  <a:pt x="1779130" y="855263"/>
                </a:cubicBezTo>
                <a:close/>
                <a:moveTo>
                  <a:pt x="1645495" y="855263"/>
                </a:moveTo>
                <a:cubicBezTo>
                  <a:pt x="1675980" y="855263"/>
                  <a:pt x="1700693" y="879973"/>
                  <a:pt x="1700693" y="910454"/>
                </a:cubicBezTo>
                <a:cubicBezTo>
                  <a:pt x="1700693" y="940935"/>
                  <a:pt x="1675980" y="965645"/>
                  <a:pt x="1645495" y="965645"/>
                </a:cubicBezTo>
                <a:cubicBezTo>
                  <a:pt x="1615015" y="965645"/>
                  <a:pt x="1590303" y="940935"/>
                  <a:pt x="1590303" y="910454"/>
                </a:cubicBezTo>
                <a:cubicBezTo>
                  <a:pt x="1590303" y="879973"/>
                  <a:pt x="1615015" y="855263"/>
                  <a:pt x="1645495" y="855263"/>
                </a:cubicBezTo>
                <a:close/>
                <a:moveTo>
                  <a:pt x="1515206" y="855263"/>
                </a:moveTo>
                <a:cubicBezTo>
                  <a:pt x="1545685" y="855263"/>
                  <a:pt x="1570391" y="879973"/>
                  <a:pt x="1570391" y="910454"/>
                </a:cubicBezTo>
                <a:cubicBezTo>
                  <a:pt x="1570391" y="940935"/>
                  <a:pt x="1545685" y="965645"/>
                  <a:pt x="1515206" y="965645"/>
                </a:cubicBezTo>
                <a:cubicBezTo>
                  <a:pt x="1484723" y="965645"/>
                  <a:pt x="1460009" y="940935"/>
                  <a:pt x="1460009" y="910454"/>
                </a:cubicBezTo>
                <a:cubicBezTo>
                  <a:pt x="1460009" y="879973"/>
                  <a:pt x="1484723" y="855263"/>
                  <a:pt x="1515206" y="855263"/>
                </a:cubicBezTo>
                <a:close/>
                <a:moveTo>
                  <a:pt x="1381566" y="855263"/>
                </a:moveTo>
                <a:cubicBezTo>
                  <a:pt x="1412046" y="855263"/>
                  <a:pt x="1436758" y="879973"/>
                  <a:pt x="1436758" y="910454"/>
                </a:cubicBezTo>
                <a:cubicBezTo>
                  <a:pt x="1436758" y="940935"/>
                  <a:pt x="1412046" y="965645"/>
                  <a:pt x="1381566" y="965645"/>
                </a:cubicBezTo>
                <a:cubicBezTo>
                  <a:pt x="1351086" y="965645"/>
                  <a:pt x="1326375" y="940935"/>
                  <a:pt x="1326375" y="910454"/>
                </a:cubicBezTo>
                <a:cubicBezTo>
                  <a:pt x="1326375" y="879973"/>
                  <a:pt x="1351086" y="855263"/>
                  <a:pt x="1381566" y="855263"/>
                </a:cubicBezTo>
                <a:close/>
                <a:moveTo>
                  <a:pt x="1251271" y="855263"/>
                </a:moveTo>
                <a:cubicBezTo>
                  <a:pt x="1281752" y="855263"/>
                  <a:pt x="1306464" y="879973"/>
                  <a:pt x="1306464" y="910454"/>
                </a:cubicBezTo>
                <a:cubicBezTo>
                  <a:pt x="1306464" y="940935"/>
                  <a:pt x="1281752" y="965645"/>
                  <a:pt x="1251271" y="965645"/>
                </a:cubicBezTo>
                <a:cubicBezTo>
                  <a:pt x="1220788" y="965645"/>
                  <a:pt x="1196078" y="940935"/>
                  <a:pt x="1196078" y="910454"/>
                </a:cubicBezTo>
                <a:cubicBezTo>
                  <a:pt x="1196078" y="879973"/>
                  <a:pt x="1220788" y="855263"/>
                  <a:pt x="1251271" y="855263"/>
                </a:cubicBezTo>
                <a:close/>
                <a:moveTo>
                  <a:pt x="1117634" y="855263"/>
                </a:moveTo>
                <a:cubicBezTo>
                  <a:pt x="1148117" y="855263"/>
                  <a:pt x="1172828" y="879973"/>
                  <a:pt x="1172828" y="910454"/>
                </a:cubicBezTo>
                <a:cubicBezTo>
                  <a:pt x="1172828" y="940935"/>
                  <a:pt x="1148117" y="965645"/>
                  <a:pt x="1117634" y="965645"/>
                </a:cubicBezTo>
                <a:cubicBezTo>
                  <a:pt x="1087150" y="965645"/>
                  <a:pt x="1062440" y="940935"/>
                  <a:pt x="1062440" y="910454"/>
                </a:cubicBezTo>
                <a:cubicBezTo>
                  <a:pt x="1062440" y="879973"/>
                  <a:pt x="1087150" y="855263"/>
                  <a:pt x="1117634" y="855263"/>
                </a:cubicBezTo>
                <a:close/>
                <a:moveTo>
                  <a:pt x="980654" y="855263"/>
                </a:moveTo>
                <a:cubicBezTo>
                  <a:pt x="1011137" y="855263"/>
                  <a:pt x="1035848" y="879973"/>
                  <a:pt x="1035848" y="910454"/>
                </a:cubicBezTo>
                <a:cubicBezTo>
                  <a:pt x="1035848" y="940935"/>
                  <a:pt x="1011137" y="965645"/>
                  <a:pt x="980654" y="965645"/>
                </a:cubicBezTo>
                <a:cubicBezTo>
                  <a:pt x="950172" y="965645"/>
                  <a:pt x="925460" y="940935"/>
                  <a:pt x="925460" y="910454"/>
                </a:cubicBezTo>
                <a:cubicBezTo>
                  <a:pt x="925460" y="879973"/>
                  <a:pt x="950172" y="855263"/>
                  <a:pt x="980654" y="855263"/>
                </a:cubicBezTo>
                <a:close/>
                <a:moveTo>
                  <a:pt x="847016" y="855263"/>
                </a:moveTo>
                <a:cubicBezTo>
                  <a:pt x="877497" y="855263"/>
                  <a:pt x="902209" y="879973"/>
                  <a:pt x="902209" y="910454"/>
                </a:cubicBezTo>
                <a:cubicBezTo>
                  <a:pt x="902209" y="940935"/>
                  <a:pt x="877497" y="965645"/>
                  <a:pt x="847016" y="965645"/>
                </a:cubicBezTo>
                <a:cubicBezTo>
                  <a:pt x="816533" y="965645"/>
                  <a:pt x="791816" y="940935"/>
                  <a:pt x="791816" y="910454"/>
                </a:cubicBezTo>
                <a:cubicBezTo>
                  <a:pt x="791816" y="879973"/>
                  <a:pt x="816533" y="855263"/>
                  <a:pt x="847016" y="855263"/>
                </a:cubicBezTo>
                <a:close/>
                <a:moveTo>
                  <a:pt x="716709" y="855263"/>
                </a:moveTo>
                <a:cubicBezTo>
                  <a:pt x="747196" y="855263"/>
                  <a:pt x="771907" y="879973"/>
                  <a:pt x="771907" y="910454"/>
                </a:cubicBezTo>
                <a:cubicBezTo>
                  <a:pt x="771907" y="940935"/>
                  <a:pt x="747196" y="965645"/>
                  <a:pt x="716709" y="965645"/>
                </a:cubicBezTo>
                <a:cubicBezTo>
                  <a:pt x="686233" y="965645"/>
                  <a:pt x="661522" y="940935"/>
                  <a:pt x="661522" y="910454"/>
                </a:cubicBezTo>
                <a:cubicBezTo>
                  <a:pt x="661522" y="879973"/>
                  <a:pt x="686233" y="855263"/>
                  <a:pt x="716709" y="855263"/>
                </a:cubicBezTo>
                <a:close/>
                <a:moveTo>
                  <a:pt x="583074" y="855263"/>
                </a:moveTo>
                <a:cubicBezTo>
                  <a:pt x="613557" y="855263"/>
                  <a:pt x="638268" y="879973"/>
                  <a:pt x="638268" y="910454"/>
                </a:cubicBezTo>
                <a:cubicBezTo>
                  <a:pt x="638268" y="940935"/>
                  <a:pt x="613557" y="965645"/>
                  <a:pt x="583074" y="965645"/>
                </a:cubicBezTo>
                <a:cubicBezTo>
                  <a:pt x="552591" y="965645"/>
                  <a:pt x="527881" y="940935"/>
                  <a:pt x="527881" y="910454"/>
                </a:cubicBezTo>
                <a:cubicBezTo>
                  <a:pt x="527881" y="879973"/>
                  <a:pt x="552591" y="855263"/>
                  <a:pt x="583074" y="855263"/>
                </a:cubicBezTo>
                <a:close/>
                <a:moveTo>
                  <a:pt x="9867273" y="855260"/>
                </a:moveTo>
                <a:cubicBezTo>
                  <a:pt x="9897755" y="855260"/>
                  <a:pt x="9922465" y="879970"/>
                  <a:pt x="9922465" y="910451"/>
                </a:cubicBezTo>
                <a:cubicBezTo>
                  <a:pt x="9922465" y="940932"/>
                  <a:pt x="9897755" y="965642"/>
                  <a:pt x="9867273" y="965642"/>
                </a:cubicBezTo>
                <a:cubicBezTo>
                  <a:pt x="9836791" y="965642"/>
                  <a:pt x="9812081" y="940932"/>
                  <a:pt x="9812081" y="910451"/>
                </a:cubicBezTo>
                <a:cubicBezTo>
                  <a:pt x="9812081" y="879970"/>
                  <a:pt x="9836791" y="855260"/>
                  <a:pt x="9867273" y="855260"/>
                </a:cubicBezTo>
                <a:close/>
                <a:moveTo>
                  <a:pt x="9733637" y="855260"/>
                </a:moveTo>
                <a:cubicBezTo>
                  <a:pt x="9764119" y="855260"/>
                  <a:pt x="9788829" y="879970"/>
                  <a:pt x="9788829" y="910451"/>
                </a:cubicBezTo>
                <a:cubicBezTo>
                  <a:pt x="9788829" y="940932"/>
                  <a:pt x="9764119" y="965642"/>
                  <a:pt x="9733637" y="965642"/>
                </a:cubicBezTo>
                <a:cubicBezTo>
                  <a:pt x="9703155" y="965642"/>
                  <a:pt x="9678445" y="940932"/>
                  <a:pt x="9678445" y="910451"/>
                </a:cubicBezTo>
                <a:cubicBezTo>
                  <a:pt x="9678445" y="879970"/>
                  <a:pt x="9703155" y="855260"/>
                  <a:pt x="9733637" y="855260"/>
                </a:cubicBezTo>
                <a:close/>
                <a:moveTo>
                  <a:pt x="9603343" y="855260"/>
                </a:moveTo>
                <a:cubicBezTo>
                  <a:pt x="9633825" y="855260"/>
                  <a:pt x="9658535" y="879970"/>
                  <a:pt x="9658535" y="910451"/>
                </a:cubicBezTo>
                <a:cubicBezTo>
                  <a:pt x="9658535" y="940932"/>
                  <a:pt x="9633825" y="965642"/>
                  <a:pt x="9603343" y="965642"/>
                </a:cubicBezTo>
                <a:cubicBezTo>
                  <a:pt x="9572861" y="965642"/>
                  <a:pt x="9548151" y="940932"/>
                  <a:pt x="9548151" y="910451"/>
                </a:cubicBezTo>
                <a:cubicBezTo>
                  <a:pt x="9548151" y="879970"/>
                  <a:pt x="9572861" y="855260"/>
                  <a:pt x="9603343" y="855260"/>
                </a:cubicBezTo>
                <a:close/>
                <a:moveTo>
                  <a:pt x="449429" y="855260"/>
                </a:moveTo>
                <a:cubicBezTo>
                  <a:pt x="479910" y="855260"/>
                  <a:pt x="504621" y="879970"/>
                  <a:pt x="504621" y="910451"/>
                </a:cubicBezTo>
                <a:cubicBezTo>
                  <a:pt x="504621" y="940932"/>
                  <a:pt x="479910" y="965642"/>
                  <a:pt x="449429" y="965642"/>
                </a:cubicBezTo>
                <a:cubicBezTo>
                  <a:pt x="418945" y="965642"/>
                  <a:pt x="394234" y="940932"/>
                  <a:pt x="394234" y="910451"/>
                </a:cubicBezTo>
                <a:cubicBezTo>
                  <a:pt x="394234" y="879970"/>
                  <a:pt x="418945" y="855260"/>
                  <a:pt x="449429" y="855260"/>
                </a:cubicBezTo>
                <a:close/>
                <a:moveTo>
                  <a:pt x="319132" y="855260"/>
                </a:moveTo>
                <a:cubicBezTo>
                  <a:pt x="349615" y="855260"/>
                  <a:pt x="374326" y="879970"/>
                  <a:pt x="374326" y="910451"/>
                </a:cubicBezTo>
                <a:cubicBezTo>
                  <a:pt x="374326" y="940932"/>
                  <a:pt x="349615" y="965642"/>
                  <a:pt x="319132" y="965642"/>
                </a:cubicBezTo>
                <a:cubicBezTo>
                  <a:pt x="288649" y="965642"/>
                  <a:pt x="263940" y="940932"/>
                  <a:pt x="263940" y="910451"/>
                </a:cubicBezTo>
                <a:cubicBezTo>
                  <a:pt x="263940" y="879970"/>
                  <a:pt x="288649" y="855260"/>
                  <a:pt x="319132" y="855260"/>
                </a:cubicBezTo>
                <a:close/>
                <a:moveTo>
                  <a:pt x="185499" y="855260"/>
                </a:moveTo>
                <a:cubicBezTo>
                  <a:pt x="215981" y="855260"/>
                  <a:pt x="240690" y="879970"/>
                  <a:pt x="240690" y="910451"/>
                </a:cubicBezTo>
                <a:cubicBezTo>
                  <a:pt x="240690" y="940932"/>
                  <a:pt x="215981" y="965642"/>
                  <a:pt x="185499" y="965642"/>
                </a:cubicBezTo>
                <a:cubicBezTo>
                  <a:pt x="155018" y="965642"/>
                  <a:pt x="130308" y="940932"/>
                  <a:pt x="130308" y="910451"/>
                </a:cubicBezTo>
                <a:cubicBezTo>
                  <a:pt x="130308" y="879970"/>
                  <a:pt x="155018" y="855260"/>
                  <a:pt x="185499" y="855260"/>
                </a:cubicBezTo>
                <a:close/>
                <a:moveTo>
                  <a:pt x="9733637" y="724970"/>
                </a:moveTo>
                <a:cubicBezTo>
                  <a:pt x="9764119" y="724970"/>
                  <a:pt x="9788829" y="749680"/>
                  <a:pt x="9788829" y="780161"/>
                </a:cubicBezTo>
                <a:cubicBezTo>
                  <a:pt x="9788829" y="810642"/>
                  <a:pt x="9764119" y="835352"/>
                  <a:pt x="9733637" y="835352"/>
                </a:cubicBezTo>
                <a:cubicBezTo>
                  <a:pt x="9703155" y="835352"/>
                  <a:pt x="9678445" y="810642"/>
                  <a:pt x="9678445" y="780161"/>
                </a:cubicBezTo>
                <a:cubicBezTo>
                  <a:pt x="9678445" y="749680"/>
                  <a:pt x="9703155" y="724970"/>
                  <a:pt x="9733637" y="724970"/>
                </a:cubicBezTo>
                <a:close/>
                <a:moveTo>
                  <a:pt x="9603344" y="724970"/>
                </a:moveTo>
                <a:cubicBezTo>
                  <a:pt x="9633826" y="724970"/>
                  <a:pt x="9658536" y="749680"/>
                  <a:pt x="9658536" y="780161"/>
                </a:cubicBezTo>
                <a:cubicBezTo>
                  <a:pt x="9658536" y="810642"/>
                  <a:pt x="9633826" y="835352"/>
                  <a:pt x="9603344" y="835352"/>
                </a:cubicBezTo>
                <a:cubicBezTo>
                  <a:pt x="9572862" y="835352"/>
                  <a:pt x="9548152" y="810642"/>
                  <a:pt x="9548152" y="780161"/>
                </a:cubicBezTo>
                <a:cubicBezTo>
                  <a:pt x="9548152" y="749680"/>
                  <a:pt x="9572862" y="724970"/>
                  <a:pt x="9603344" y="724970"/>
                </a:cubicBezTo>
                <a:close/>
                <a:moveTo>
                  <a:pt x="9469710" y="724970"/>
                </a:moveTo>
                <a:cubicBezTo>
                  <a:pt x="9500192" y="724970"/>
                  <a:pt x="9524902" y="749680"/>
                  <a:pt x="9524902" y="780161"/>
                </a:cubicBezTo>
                <a:cubicBezTo>
                  <a:pt x="9524902" y="810642"/>
                  <a:pt x="9500192" y="835352"/>
                  <a:pt x="9469710" y="835352"/>
                </a:cubicBezTo>
                <a:cubicBezTo>
                  <a:pt x="9439228" y="835352"/>
                  <a:pt x="9414518" y="810642"/>
                  <a:pt x="9414518" y="780161"/>
                </a:cubicBezTo>
                <a:cubicBezTo>
                  <a:pt x="9414518" y="749680"/>
                  <a:pt x="9439228" y="724970"/>
                  <a:pt x="9469710" y="724970"/>
                </a:cubicBezTo>
                <a:close/>
                <a:moveTo>
                  <a:pt x="9336075" y="724970"/>
                </a:moveTo>
                <a:cubicBezTo>
                  <a:pt x="9366557" y="724970"/>
                  <a:pt x="9391267" y="749680"/>
                  <a:pt x="9391267" y="780161"/>
                </a:cubicBezTo>
                <a:cubicBezTo>
                  <a:pt x="9391267" y="810642"/>
                  <a:pt x="9366557" y="835352"/>
                  <a:pt x="9336075" y="835352"/>
                </a:cubicBezTo>
                <a:cubicBezTo>
                  <a:pt x="9305593" y="835352"/>
                  <a:pt x="9280883" y="810642"/>
                  <a:pt x="9280883" y="780161"/>
                </a:cubicBezTo>
                <a:cubicBezTo>
                  <a:pt x="9280883" y="749680"/>
                  <a:pt x="9305593" y="724970"/>
                  <a:pt x="9336075" y="724970"/>
                </a:cubicBezTo>
                <a:close/>
                <a:moveTo>
                  <a:pt x="9199100" y="724970"/>
                </a:moveTo>
                <a:cubicBezTo>
                  <a:pt x="9229582" y="724970"/>
                  <a:pt x="9254292" y="749680"/>
                  <a:pt x="9254292" y="780161"/>
                </a:cubicBezTo>
                <a:cubicBezTo>
                  <a:pt x="9254292" y="810642"/>
                  <a:pt x="9229582" y="835352"/>
                  <a:pt x="9199100" y="835352"/>
                </a:cubicBezTo>
                <a:cubicBezTo>
                  <a:pt x="9168618" y="835352"/>
                  <a:pt x="9143908" y="810642"/>
                  <a:pt x="9143908" y="780161"/>
                </a:cubicBezTo>
                <a:cubicBezTo>
                  <a:pt x="9143908" y="749680"/>
                  <a:pt x="9168618" y="724970"/>
                  <a:pt x="9199100" y="724970"/>
                </a:cubicBezTo>
                <a:close/>
                <a:moveTo>
                  <a:pt x="9068806" y="724970"/>
                </a:moveTo>
                <a:cubicBezTo>
                  <a:pt x="9099288" y="724970"/>
                  <a:pt x="9123998" y="749680"/>
                  <a:pt x="9123998" y="780161"/>
                </a:cubicBezTo>
                <a:cubicBezTo>
                  <a:pt x="9123998" y="810642"/>
                  <a:pt x="9099288" y="835352"/>
                  <a:pt x="9068806" y="835352"/>
                </a:cubicBezTo>
                <a:cubicBezTo>
                  <a:pt x="9038324" y="835352"/>
                  <a:pt x="9013614" y="810642"/>
                  <a:pt x="9013614" y="780161"/>
                </a:cubicBezTo>
                <a:cubicBezTo>
                  <a:pt x="9013614" y="749680"/>
                  <a:pt x="9038324" y="724970"/>
                  <a:pt x="9068806" y="724970"/>
                </a:cubicBezTo>
                <a:close/>
                <a:moveTo>
                  <a:pt x="8935170" y="724970"/>
                </a:moveTo>
                <a:cubicBezTo>
                  <a:pt x="8965652" y="724970"/>
                  <a:pt x="8990362" y="749680"/>
                  <a:pt x="8990362" y="780161"/>
                </a:cubicBezTo>
                <a:cubicBezTo>
                  <a:pt x="8990362" y="810642"/>
                  <a:pt x="8965652" y="835352"/>
                  <a:pt x="8935170" y="835352"/>
                </a:cubicBezTo>
                <a:cubicBezTo>
                  <a:pt x="8904688" y="835352"/>
                  <a:pt x="8879978" y="810642"/>
                  <a:pt x="8879978" y="780161"/>
                </a:cubicBezTo>
                <a:cubicBezTo>
                  <a:pt x="8879978" y="749680"/>
                  <a:pt x="8904688" y="724970"/>
                  <a:pt x="8935170" y="724970"/>
                </a:cubicBezTo>
                <a:close/>
                <a:moveTo>
                  <a:pt x="8801536" y="724970"/>
                </a:moveTo>
                <a:cubicBezTo>
                  <a:pt x="8832018" y="724970"/>
                  <a:pt x="8856728" y="749680"/>
                  <a:pt x="8856728" y="780161"/>
                </a:cubicBezTo>
                <a:cubicBezTo>
                  <a:pt x="8856728" y="810642"/>
                  <a:pt x="8832018" y="835352"/>
                  <a:pt x="8801536" y="835352"/>
                </a:cubicBezTo>
                <a:cubicBezTo>
                  <a:pt x="8771054" y="835352"/>
                  <a:pt x="8746344" y="810642"/>
                  <a:pt x="8746344" y="780161"/>
                </a:cubicBezTo>
                <a:cubicBezTo>
                  <a:pt x="8746344" y="749680"/>
                  <a:pt x="8771054" y="724970"/>
                  <a:pt x="8801536" y="724970"/>
                </a:cubicBezTo>
                <a:close/>
                <a:moveTo>
                  <a:pt x="8671243" y="724970"/>
                </a:moveTo>
                <a:cubicBezTo>
                  <a:pt x="8701725" y="724970"/>
                  <a:pt x="8726435" y="749680"/>
                  <a:pt x="8726435" y="780161"/>
                </a:cubicBezTo>
                <a:cubicBezTo>
                  <a:pt x="8726435" y="810642"/>
                  <a:pt x="8701725" y="835352"/>
                  <a:pt x="8671243" y="835352"/>
                </a:cubicBezTo>
                <a:cubicBezTo>
                  <a:pt x="8640761" y="835352"/>
                  <a:pt x="8616051" y="810642"/>
                  <a:pt x="8616051" y="780161"/>
                </a:cubicBezTo>
                <a:cubicBezTo>
                  <a:pt x="8616051" y="749680"/>
                  <a:pt x="8640761" y="724970"/>
                  <a:pt x="8671243" y="724970"/>
                </a:cubicBezTo>
                <a:close/>
                <a:moveTo>
                  <a:pt x="8537609" y="724970"/>
                </a:moveTo>
                <a:cubicBezTo>
                  <a:pt x="8568091" y="724970"/>
                  <a:pt x="8592801" y="749680"/>
                  <a:pt x="8592801" y="780161"/>
                </a:cubicBezTo>
                <a:cubicBezTo>
                  <a:pt x="8592801" y="810642"/>
                  <a:pt x="8568091" y="835352"/>
                  <a:pt x="8537609" y="835352"/>
                </a:cubicBezTo>
                <a:cubicBezTo>
                  <a:pt x="8507127" y="835352"/>
                  <a:pt x="8482417" y="810642"/>
                  <a:pt x="8482417" y="780161"/>
                </a:cubicBezTo>
                <a:cubicBezTo>
                  <a:pt x="8482417" y="749680"/>
                  <a:pt x="8507127" y="724970"/>
                  <a:pt x="8537609" y="724970"/>
                </a:cubicBezTo>
                <a:close/>
                <a:moveTo>
                  <a:pt x="8407318" y="724970"/>
                </a:moveTo>
                <a:cubicBezTo>
                  <a:pt x="8437800" y="724970"/>
                  <a:pt x="8462510" y="749680"/>
                  <a:pt x="8462510" y="780161"/>
                </a:cubicBezTo>
                <a:cubicBezTo>
                  <a:pt x="8462510" y="810642"/>
                  <a:pt x="8437800" y="835352"/>
                  <a:pt x="8407318" y="835352"/>
                </a:cubicBezTo>
                <a:cubicBezTo>
                  <a:pt x="8376836" y="835352"/>
                  <a:pt x="8352126" y="810642"/>
                  <a:pt x="8352126" y="780161"/>
                </a:cubicBezTo>
                <a:cubicBezTo>
                  <a:pt x="8352126" y="749680"/>
                  <a:pt x="8376836" y="724970"/>
                  <a:pt x="8407318" y="724970"/>
                </a:cubicBezTo>
                <a:close/>
                <a:moveTo>
                  <a:pt x="8273682" y="724970"/>
                </a:moveTo>
                <a:cubicBezTo>
                  <a:pt x="8304164" y="724970"/>
                  <a:pt x="8328874" y="749680"/>
                  <a:pt x="8328874" y="780161"/>
                </a:cubicBezTo>
                <a:cubicBezTo>
                  <a:pt x="8328874" y="810642"/>
                  <a:pt x="8304164" y="835352"/>
                  <a:pt x="8273682" y="835352"/>
                </a:cubicBezTo>
                <a:cubicBezTo>
                  <a:pt x="8243200" y="835352"/>
                  <a:pt x="8218490" y="810642"/>
                  <a:pt x="8218490" y="780161"/>
                </a:cubicBezTo>
                <a:cubicBezTo>
                  <a:pt x="8218490" y="749680"/>
                  <a:pt x="8243200" y="724970"/>
                  <a:pt x="8273682" y="724970"/>
                </a:cubicBezTo>
                <a:close/>
                <a:moveTo>
                  <a:pt x="8143386" y="724970"/>
                </a:moveTo>
                <a:cubicBezTo>
                  <a:pt x="8173868" y="724970"/>
                  <a:pt x="8198578" y="749680"/>
                  <a:pt x="8198578" y="780161"/>
                </a:cubicBezTo>
                <a:cubicBezTo>
                  <a:pt x="8198578" y="810642"/>
                  <a:pt x="8173868" y="835352"/>
                  <a:pt x="8143386" y="835352"/>
                </a:cubicBezTo>
                <a:cubicBezTo>
                  <a:pt x="8112904" y="835352"/>
                  <a:pt x="8088194" y="810642"/>
                  <a:pt x="8088194" y="780161"/>
                </a:cubicBezTo>
                <a:cubicBezTo>
                  <a:pt x="8088194" y="749680"/>
                  <a:pt x="8112904" y="724970"/>
                  <a:pt x="8143386" y="724970"/>
                </a:cubicBezTo>
                <a:close/>
                <a:moveTo>
                  <a:pt x="8009753" y="724970"/>
                </a:moveTo>
                <a:cubicBezTo>
                  <a:pt x="8040235" y="724970"/>
                  <a:pt x="8064945" y="749680"/>
                  <a:pt x="8064945" y="780161"/>
                </a:cubicBezTo>
                <a:cubicBezTo>
                  <a:pt x="8064945" y="810642"/>
                  <a:pt x="8040235" y="835352"/>
                  <a:pt x="8009753" y="835352"/>
                </a:cubicBezTo>
                <a:cubicBezTo>
                  <a:pt x="7979271" y="835352"/>
                  <a:pt x="7954561" y="810642"/>
                  <a:pt x="7954561" y="780161"/>
                </a:cubicBezTo>
                <a:cubicBezTo>
                  <a:pt x="7954561" y="749680"/>
                  <a:pt x="7979271" y="724970"/>
                  <a:pt x="8009753" y="724970"/>
                </a:cubicBezTo>
                <a:close/>
                <a:moveTo>
                  <a:pt x="7876118" y="724970"/>
                </a:moveTo>
                <a:cubicBezTo>
                  <a:pt x="7906600" y="724970"/>
                  <a:pt x="7931310" y="749680"/>
                  <a:pt x="7931310" y="780161"/>
                </a:cubicBezTo>
                <a:cubicBezTo>
                  <a:pt x="7931310" y="810642"/>
                  <a:pt x="7906600" y="835352"/>
                  <a:pt x="7876118" y="835352"/>
                </a:cubicBezTo>
                <a:cubicBezTo>
                  <a:pt x="7845636" y="835352"/>
                  <a:pt x="7820926" y="810642"/>
                  <a:pt x="7820926" y="780161"/>
                </a:cubicBezTo>
                <a:cubicBezTo>
                  <a:pt x="7820926" y="749680"/>
                  <a:pt x="7845636" y="724970"/>
                  <a:pt x="7876118" y="724970"/>
                </a:cubicBezTo>
                <a:close/>
                <a:moveTo>
                  <a:pt x="7745824" y="724970"/>
                </a:moveTo>
                <a:cubicBezTo>
                  <a:pt x="7776306" y="724970"/>
                  <a:pt x="7801016" y="749680"/>
                  <a:pt x="7801016" y="780161"/>
                </a:cubicBezTo>
                <a:cubicBezTo>
                  <a:pt x="7801016" y="810642"/>
                  <a:pt x="7776306" y="835352"/>
                  <a:pt x="7745824" y="835352"/>
                </a:cubicBezTo>
                <a:cubicBezTo>
                  <a:pt x="7715342" y="835352"/>
                  <a:pt x="7690632" y="810642"/>
                  <a:pt x="7690632" y="780161"/>
                </a:cubicBezTo>
                <a:cubicBezTo>
                  <a:pt x="7690632" y="749680"/>
                  <a:pt x="7715342" y="724970"/>
                  <a:pt x="7745824" y="724970"/>
                </a:cubicBezTo>
                <a:close/>
                <a:moveTo>
                  <a:pt x="7608850" y="724970"/>
                </a:moveTo>
                <a:cubicBezTo>
                  <a:pt x="7639332" y="724970"/>
                  <a:pt x="7664042" y="749680"/>
                  <a:pt x="7664042" y="780161"/>
                </a:cubicBezTo>
                <a:cubicBezTo>
                  <a:pt x="7664042" y="810642"/>
                  <a:pt x="7639332" y="835352"/>
                  <a:pt x="7608850" y="835352"/>
                </a:cubicBezTo>
                <a:cubicBezTo>
                  <a:pt x="7578368" y="835352"/>
                  <a:pt x="7553658" y="810642"/>
                  <a:pt x="7553658" y="780161"/>
                </a:cubicBezTo>
                <a:cubicBezTo>
                  <a:pt x="7553658" y="749680"/>
                  <a:pt x="7578368" y="724970"/>
                  <a:pt x="7608850" y="724970"/>
                </a:cubicBezTo>
                <a:close/>
                <a:moveTo>
                  <a:pt x="7481895" y="724970"/>
                </a:moveTo>
                <a:cubicBezTo>
                  <a:pt x="7512377" y="724970"/>
                  <a:pt x="7537087" y="749680"/>
                  <a:pt x="7537087" y="780161"/>
                </a:cubicBezTo>
                <a:cubicBezTo>
                  <a:pt x="7537087" y="810642"/>
                  <a:pt x="7512377" y="835352"/>
                  <a:pt x="7481895" y="835352"/>
                </a:cubicBezTo>
                <a:cubicBezTo>
                  <a:pt x="7451413" y="835352"/>
                  <a:pt x="7426703" y="810642"/>
                  <a:pt x="7426703" y="780161"/>
                </a:cubicBezTo>
                <a:cubicBezTo>
                  <a:pt x="7426703" y="749680"/>
                  <a:pt x="7451413" y="724970"/>
                  <a:pt x="7481895" y="724970"/>
                </a:cubicBezTo>
                <a:close/>
                <a:moveTo>
                  <a:pt x="7341579" y="724970"/>
                </a:moveTo>
                <a:cubicBezTo>
                  <a:pt x="7372061" y="724970"/>
                  <a:pt x="7396771" y="749680"/>
                  <a:pt x="7396771" y="780161"/>
                </a:cubicBezTo>
                <a:cubicBezTo>
                  <a:pt x="7396771" y="810642"/>
                  <a:pt x="7372061" y="835352"/>
                  <a:pt x="7341579" y="835352"/>
                </a:cubicBezTo>
                <a:cubicBezTo>
                  <a:pt x="7311097" y="835352"/>
                  <a:pt x="7286387" y="810642"/>
                  <a:pt x="7286387" y="780161"/>
                </a:cubicBezTo>
                <a:cubicBezTo>
                  <a:pt x="7286387" y="749680"/>
                  <a:pt x="7311097" y="724970"/>
                  <a:pt x="7341579" y="724970"/>
                </a:cubicBezTo>
                <a:close/>
                <a:moveTo>
                  <a:pt x="7211286" y="724970"/>
                </a:moveTo>
                <a:cubicBezTo>
                  <a:pt x="7241768" y="724970"/>
                  <a:pt x="7266478" y="749680"/>
                  <a:pt x="7266478" y="780161"/>
                </a:cubicBezTo>
                <a:cubicBezTo>
                  <a:pt x="7266478" y="810642"/>
                  <a:pt x="7241768" y="835352"/>
                  <a:pt x="7211286" y="835352"/>
                </a:cubicBezTo>
                <a:cubicBezTo>
                  <a:pt x="7180804" y="835352"/>
                  <a:pt x="7156094" y="810642"/>
                  <a:pt x="7156094" y="780161"/>
                </a:cubicBezTo>
                <a:cubicBezTo>
                  <a:pt x="7156094" y="749680"/>
                  <a:pt x="7180804" y="724970"/>
                  <a:pt x="7211286" y="724970"/>
                </a:cubicBezTo>
                <a:close/>
                <a:moveTo>
                  <a:pt x="7080994" y="724970"/>
                </a:moveTo>
                <a:cubicBezTo>
                  <a:pt x="7111476" y="724970"/>
                  <a:pt x="7136186" y="749680"/>
                  <a:pt x="7136186" y="780161"/>
                </a:cubicBezTo>
                <a:cubicBezTo>
                  <a:pt x="7136186" y="810642"/>
                  <a:pt x="7111476" y="835352"/>
                  <a:pt x="7080994" y="835352"/>
                </a:cubicBezTo>
                <a:cubicBezTo>
                  <a:pt x="7050512" y="835352"/>
                  <a:pt x="7025802" y="810642"/>
                  <a:pt x="7025802" y="780161"/>
                </a:cubicBezTo>
                <a:cubicBezTo>
                  <a:pt x="7025802" y="749680"/>
                  <a:pt x="7050512" y="724970"/>
                  <a:pt x="7080994" y="724970"/>
                </a:cubicBezTo>
                <a:close/>
                <a:moveTo>
                  <a:pt x="6947358" y="724970"/>
                </a:moveTo>
                <a:cubicBezTo>
                  <a:pt x="6977840" y="724970"/>
                  <a:pt x="7002550" y="749680"/>
                  <a:pt x="7002550" y="780161"/>
                </a:cubicBezTo>
                <a:cubicBezTo>
                  <a:pt x="7002550" y="810642"/>
                  <a:pt x="6977840" y="835352"/>
                  <a:pt x="6947358" y="835352"/>
                </a:cubicBezTo>
                <a:cubicBezTo>
                  <a:pt x="6916876" y="835352"/>
                  <a:pt x="6892166" y="810642"/>
                  <a:pt x="6892166" y="780161"/>
                </a:cubicBezTo>
                <a:cubicBezTo>
                  <a:pt x="6892166" y="749680"/>
                  <a:pt x="6916876" y="724970"/>
                  <a:pt x="6947358" y="724970"/>
                </a:cubicBezTo>
                <a:close/>
                <a:moveTo>
                  <a:pt x="6817064" y="724970"/>
                </a:moveTo>
                <a:cubicBezTo>
                  <a:pt x="6847546" y="724970"/>
                  <a:pt x="6872256" y="749680"/>
                  <a:pt x="6872256" y="780161"/>
                </a:cubicBezTo>
                <a:cubicBezTo>
                  <a:pt x="6872256" y="810642"/>
                  <a:pt x="6847546" y="835352"/>
                  <a:pt x="6817064" y="835352"/>
                </a:cubicBezTo>
                <a:cubicBezTo>
                  <a:pt x="6786582" y="835352"/>
                  <a:pt x="6761872" y="810642"/>
                  <a:pt x="6761872" y="780161"/>
                </a:cubicBezTo>
                <a:cubicBezTo>
                  <a:pt x="6761872" y="749680"/>
                  <a:pt x="6786582" y="724970"/>
                  <a:pt x="6817064" y="724970"/>
                </a:cubicBezTo>
                <a:close/>
                <a:moveTo>
                  <a:pt x="6683431" y="724970"/>
                </a:moveTo>
                <a:cubicBezTo>
                  <a:pt x="6713913" y="724970"/>
                  <a:pt x="6738623" y="749680"/>
                  <a:pt x="6738623" y="780161"/>
                </a:cubicBezTo>
                <a:cubicBezTo>
                  <a:pt x="6738623" y="810642"/>
                  <a:pt x="6713913" y="835352"/>
                  <a:pt x="6683431" y="835352"/>
                </a:cubicBezTo>
                <a:cubicBezTo>
                  <a:pt x="6652949" y="835352"/>
                  <a:pt x="6628239" y="810642"/>
                  <a:pt x="6628239" y="780161"/>
                </a:cubicBezTo>
                <a:cubicBezTo>
                  <a:pt x="6628239" y="749680"/>
                  <a:pt x="6652949" y="724970"/>
                  <a:pt x="6683431" y="724970"/>
                </a:cubicBezTo>
                <a:close/>
                <a:moveTo>
                  <a:pt x="6553137" y="724970"/>
                </a:moveTo>
                <a:cubicBezTo>
                  <a:pt x="6583619" y="724970"/>
                  <a:pt x="6608329" y="749680"/>
                  <a:pt x="6608329" y="780161"/>
                </a:cubicBezTo>
                <a:cubicBezTo>
                  <a:pt x="6608329" y="810642"/>
                  <a:pt x="6583619" y="835352"/>
                  <a:pt x="6553137" y="835352"/>
                </a:cubicBezTo>
                <a:cubicBezTo>
                  <a:pt x="6522655" y="835352"/>
                  <a:pt x="6497945" y="810642"/>
                  <a:pt x="6497945" y="780161"/>
                </a:cubicBezTo>
                <a:cubicBezTo>
                  <a:pt x="6497945" y="749680"/>
                  <a:pt x="6522655" y="724970"/>
                  <a:pt x="6553137" y="724970"/>
                </a:cubicBezTo>
                <a:close/>
                <a:moveTo>
                  <a:pt x="6419503" y="724970"/>
                </a:moveTo>
                <a:cubicBezTo>
                  <a:pt x="6449985" y="724970"/>
                  <a:pt x="6474695" y="749680"/>
                  <a:pt x="6474695" y="780161"/>
                </a:cubicBezTo>
                <a:cubicBezTo>
                  <a:pt x="6474695" y="810642"/>
                  <a:pt x="6449985" y="835352"/>
                  <a:pt x="6419503" y="835352"/>
                </a:cubicBezTo>
                <a:cubicBezTo>
                  <a:pt x="6389021" y="835352"/>
                  <a:pt x="6364311" y="810642"/>
                  <a:pt x="6364311" y="780161"/>
                </a:cubicBezTo>
                <a:cubicBezTo>
                  <a:pt x="6364311" y="749680"/>
                  <a:pt x="6389021" y="724970"/>
                  <a:pt x="6419503" y="724970"/>
                </a:cubicBezTo>
                <a:close/>
                <a:moveTo>
                  <a:pt x="6289207" y="724970"/>
                </a:moveTo>
                <a:cubicBezTo>
                  <a:pt x="6319689" y="724970"/>
                  <a:pt x="6344399" y="749680"/>
                  <a:pt x="6344399" y="780161"/>
                </a:cubicBezTo>
                <a:cubicBezTo>
                  <a:pt x="6344399" y="810642"/>
                  <a:pt x="6319689" y="835352"/>
                  <a:pt x="6289207" y="835352"/>
                </a:cubicBezTo>
                <a:cubicBezTo>
                  <a:pt x="6258725" y="835352"/>
                  <a:pt x="6234015" y="810642"/>
                  <a:pt x="6234015" y="780161"/>
                </a:cubicBezTo>
                <a:cubicBezTo>
                  <a:pt x="6234015" y="749680"/>
                  <a:pt x="6258725" y="724970"/>
                  <a:pt x="6289207" y="724970"/>
                </a:cubicBezTo>
                <a:close/>
                <a:moveTo>
                  <a:pt x="6155573" y="724970"/>
                </a:moveTo>
                <a:cubicBezTo>
                  <a:pt x="6186055" y="724970"/>
                  <a:pt x="6210765" y="749680"/>
                  <a:pt x="6210765" y="780161"/>
                </a:cubicBezTo>
                <a:cubicBezTo>
                  <a:pt x="6210765" y="810642"/>
                  <a:pt x="6186055" y="835352"/>
                  <a:pt x="6155573" y="835352"/>
                </a:cubicBezTo>
                <a:cubicBezTo>
                  <a:pt x="6125091" y="835352"/>
                  <a:pt x="6100381" y="810642"/>
                  <a:pt x="6100381" y="780161"/>
                </a:cubicBezTo>
                <a:cubicBezTo>
                  <a:pt x="6100381" y="749680"/>
                  <a:pt x="6125091" y="724970"/>
                  <a:pt x="6155573" y="724970"/>
                </a:cubicBezTo>
                <a:close/>
                <a:moveTo>
                  <a:pt x="5621035" y="724970"/>
                </a:moveTo>
                <a:cubicBezTo>
                  <a:pt x="5651517" y="724970"/>
                  <a:pt x="5676227" y="749680"/>
                  <a:pt x="5676227" y="780161"/>
                </a:cubicBezTo>
                <a:cubicBezTo>
                  <a:pt x="5676227" y="810642"/>
                  <a:pt x="5651517" y="835352"/>
                  <a:pt x="5621035" y="835352"/>
                </a:cubicBezTo>
                <a:cubicBezTo>
                  <a:pt x="5590553" y="835352"/>
                  <a:pt x="5565843" y="810642"/>
                  <a:pt x="5565843" y="780161"/>
                </a:cubicBezTo>
                <a:cubicBezTo>
                  <a:pt x="5565843" y="749680"/>
                  <a:pt x="5590553" y="724970"/>
                  <a:pt x="5621035" y="724970"/>
                </a:cubicBezTo>
                <a:close/>
                <a:moveTo>
                  <a:pt x="5487399" y="724970"/>
                </a:moveTo>
                <a:cubicBezTo>
                  <a:pt x="5517881" y="724970"/>
                  <a:pt x="5542591" y="749680"/>
                  <a:pt x="5542591" y="780161"/>
                </a:cubicBezTo>
                <a:cubicBezTo>
                  <a:pt x="5542591" y="810642"/>
                  <a:pt x="5517881" y="835352"/>
                  <a:pt x="5487399" y="835352"/>
                </a:cubicBezTo>
                <a:cubicBezTo>
                  <a:pt x="5456917" y="835352"/>
                  <a:pt x="5432207" y="810642"/>
                  <a:pt x="5432207" y="780161"/>
                </a:cubicBezTo>
                <a:cubicBezTo>
                  <a:pt x="5432207" y="749680"/>
                  <a:pt x="5456917" y="724970"/>
                  <a:pt x="5487399" y="724970"/>
                </a:cubicBezTo>
                <a:close/>
                <a:moveTo>
                  <a:pt x="5357106" y="724970"/>
                </a:moveTo>
                <a:cubicBezTo>
                  <a:pt x="5387588" y="724970"/>
                  <a:pt x="5412298" y="749680"/>
                  <a:pt x="5412298" y="780161"/>
                </a:cubicBezTo>
                <a:cubicBezTo>
                  <a:pt x="5412298" y="810642"/>
                  <a:pt x="5387588" y="835352"/>
                  <a:pt x="5357106" y="835352"/>
                </a:cubicBezTo>
                <a:cubicBezTo>
                  <a:pt x="5326624" y="835352"/>
                  <a:pt x="5301914" y="810642"/>
                  <a:pt x="5301914" y="780161"/>
                </a:cubicBezTo>
                <a:cubicBezTo>
                  <a:pt x="5301914" y="749680"/>
                  <a:pt x="5326624" y="724970"/>
                  <a:pt x="5357106" y="724970"/>
                </a:cubicBezTo>
                <a:close/>
                <a:moveTo>
                  <a:pt x="5223473" y="724970"/>
                </a:moveTo>
                <a:cubicBezTo>
                  <a:pt x="5253955" y="724970"/>
                  <a:pt x="5278665" y="749680"/>
                  <a:pt x="5278665" y="780161"/>
                </a:cubicBezTo>
                <a:cubicBezTo>
                  <a:pt x="5278665" y="810642"/>
                  <a:pt x="5253955" y="835352"/>
                  <a:pt x="5223473" y="835352"/>
                </a:cubicBezTo>
                <a:cubicBezTo>
                  <a:pt x="5192991" y="835352"/>
                  <a:pt x="5168281" y="810642"/>
                  <a:pt x="5168281" y="780161"/>
                </a:cubicBezTo>
                <a:cubicBezTo>
                  <a:pt x="5168281" y="749680"/>
                  <a:pt x="5192991" y="724970"/>
                  <a:pt x="5223473" y="724970"/>
                </a:cubicBezTo>
                <a:close/>
                <a:moveTo>
                  <a:pt x="5093178" y="724970"/>
                </a:moveTo>
                <a:cubicBezTo>
                  <a:pt x="5123660" y="724970"/>
                  <a:pt x="5148370" y="749680"/>
                  <a:pt x="5148370" y="780161"/>
                </a:cubicBezTo>
                <a:cubicBezTo>
                  <a:pt x="5148370" y="810642"/>
                  <a:pt x="5123660" y="835352"/>
                  <a:pt x="5093178" y="835352"/>
                </a:cubicBezTo>
                <a:cubicBezTo>
                  <a:pt x="5062696" y="835352"/>
                  <a:pt x="5037986" y="810642"/>
                  <a:pt x="5037986" y="780161"/>
                </a:cubicBezTo>
                <a:cubicBezTo>
                  <a:pt x="5037986" y="749680"/>
                  <a:pt x="5062696" y="724970"/>
                  <a:pt x="5093178" y="724970"/>
                </a:cubicBezTo>
                <a:close/>
                <a:moveTo>
                  <a:pt x="3897148" y="724970"/>
                </a:moveTo>
                <a:cubicBezTo>
                  <a:pt x="3927630" y="724970"/>
                  <a:pt x="3952340" y="749680"/>
                  <a:pt x="3952340" y="780161"/>
                </a:cubicBezTo>
                <a:cubicBezTo>
                  <a:pt x="3952340" y="810642"/>
                  <a:pt x="3927630" y="835352"/>
                  <a:pt x="3897148" y="835352"/>
                </a:cubicBezTo>
                <a:cubicBezTo>
                  <a:pt x="3866666" y="835352"/>
                  <a:pt x="3841956" y="810642"/>
                  <a:pt x="3841956" y="780161"/>
                </a:cubicBezTo>
                <a:cubicBezTo>
                  <a:pt x="3841956" y="749680"/>
                  <a:pt x="3866666" y="724970"/>
                  <a:pt x="3897148" y="724970"/>
                </a:cubicBezTo>
                <a:close/>
                <a:moveTo>
                  <a:pt x="3763514" y="724970"/>
                </a:moveTo>
                <a:cubicBezTo>
                  <a:pt x="3793996" y="724970"/>
                  <a:pt x="3818706" y="749680"/>
                  <a:pt x="3818706" y="780161"/>
                </a:cubicBezTo>
                <a:cubicBezTo>
                  <a:pt x="3818706" y="810642"/>
                  <a:pt x="3793996" y="835352"/>
                  <a:pt x="3763514" y="835352"/>
                </a:cubicBezTo>
                <a:cubicBezTo>
                  <a:pt x="3733032" y="835352"/>
                  <a:pt x="3708322" y="810642"/>
                  <a:pt x="3708322" y="780161"/>
                </a:cubicBezTo>
                <a:cubicBezTo>
                  <a:pt x="3708322" y="749680"/>
                  <a:pt x="3733032" y="724970"/>
                  <a:pt x="3763514" y="724970"/>
                </a:cubicBezTo>
                <a:close/>
                <a:moveTo>
                  <a:pt x="3633221" y="724970"/>
                </a:moveTo>
                <a:cubicBezTo>
                  <a:pt x="3663703" y="724970"/>
                  <a:pt x="3688413" y="749680"/>
                  <a:pt x="3688413" y="780161"/>
                </a:cubicBezTo>
                <a:cubicBezTo>
                  <a:pt x="3688413" y="810642"/>
                  <a:pt x="3663703" y="835352"/>
                  <a:pt x="3633221" y="835352"/>
                </a:cubicBezTo>
                <a:cubicBezTo>
                  <a:pt x="3602739" y="835352"/>
                  <a:pt x="3578029" y="810642"/>
                  <a:pt x="3578029" y="780161"/>
                </a:cubicBezTo>
                <a:cubicBezTo>
                  <a:pt x="3578029" y="749680"/>
                  <a:pt x="3602739" y="724970"/>
                  <a:pt x="3633221" y="724970"/>
                </a:cubicBezTo>
                <a:close/>
                <a:moveTo>
                  <a:pt x="3499586" y="724970"/>
                </a:moveTo>
                <a:cubicBezTo>
                  <a:pt x="3530068" y="724970"/>
                  <a:pt x="3554778" y="749680"/>
                  <a:pt x="3554778" y="780161"/>
                </a:cubicBezTo>
                <a:cubicBezTo>
                  <a:pt x="3554778" y="810642"/>
                  <a:pt x="3530068" y="835352"/>
                  <a:pt x="3499586" y="835352"/>
                </a:cubicBezTo>
                <a:cubicBezTo>
                  <a:pt x="3469104" y="835352"/>
                  <a:pt x="3444394" y="810642"/>
                  <a:pt x="3444394" y="780161"/>
                </a:cubicBezTo>
                <a:cubicBezTo>
                  <a:pt x="3444394" y="749680"/>
                  <a:pt x="3469104" y="724970"/>
                  <a:pt x="3499586" y="724970"/>
                </a:cubicBezTo>
                <a:close/>
                <a:moveTo>
                  <a:pt x="3369292" y="724970"/>
                </a:moveTo>
                <a:cubicBezTo>
                  <a:pt x="3399774" y="724970"/>
                  <a:pt x="3424484" y="749680"/>
                  <a:pt x="3424484" y="780161"/>
                </a:cubicBezTo>
                <a:cubicBezTo>
                  <a:pt x="3424484" y="810642"/>
                  <a:pt x="3399774" y="835352"/>
                  <a:pt x="3369292" y="835352"/>
                </a:cubicBezTo>
                <a:cubicBezTo>
                  <a:pt x="3338810" y="835352"/>
                  <a:pt x="3314100" y="810642"/>
                  <a:pt x="3314100" y="780161"/>
                </a:cubicBezTo>
                <a:cubicBezTo>
                  <a:pt x="3314100" y="749680"/>
                  <a:pt x="3338810" y="724970"/>
                  <a:pt x="3369292" y="724970"/>
                </a:cubicBezTo>
                <a:close/>
                <a:moveTo>
                  <a:pt x="2834856" y="724970"/>
                </a:moveTo>
                <a:cubicBezTo>
                  <a:pt x="2865340" y="724970"/>
                  <a:pt x="2890049" y="749680"/>
                  <a:pt x="2890049" y="780161"/>
                </a:cubicBezTo>
                <a:cubicBezTo>
                  <a:pt x="2890049" y="810642"/>
                  <a:pt x="2865340" y="835352"/>
                  <a:pt x="2834856" y="835352"/>
                </a:cubicBezTo>
                <a:cubicBezTo>
                  <a:pt x="2804376" y="835352"/>
                  <a:pt x="2779665" y="810642"/>
                  <a:pt x="2779665" y="780161"/>
                </a:cubicBezTo>
                <a:cubicBezTo>
                  <a:pt x="2779665" y="749680"/>
                  <a:pt x="2804376" y="724970"/>
                  <a:pt x="2834856" y="724970"/>
                </a:cubicBezTo>
                <a:close/>
                <a:moveTo>
                  <a:pt x="2707901" y="724970"/>
                </a:moveTo>
                <a:cubicBezTo>
                  <a:pt x="2738385" y="724970"/>
                  <a:pt x="2763094" y="749680"/>
                  <a:pt x="2763094" y="780161"/>
                </a:cubicBezTo>
                <a:cubicBezTo>
                  <a:pt x="2763094" y="810642"/>
                  <a:pt x="2738385" y="835352"/>
                  <a:pt x="2707901" y="835352"/>
                </a:cubicBezTo>
                <a:cubicBezTo>
                  <a:pt x="2677420" y="835352"/>
                  <a:pt x="2652711" y="810642"/>
                  <a:pt x="2652711" y="780161"/>
                </a:cubicBezTo>
                <a:cubicBezTo>
                  <a:pt x="2652711" y="749680"/>
                  <a:pt x="2677420" y="724970"/>
                  <a:pt x="2707901" y="724970"/>
                </a:cubicBezTo>
                <a:close/>
                <a:moveTo>
                  <a:pt x="2570929" y="724970"/>
                </a:moveTo>
                <a:cubicBezTo>
                  <a:pt x="2601412" y="724970"/>
                  <a:pt x="2626122" y="749680"/>
                  <a:pt x="2626122" y="780161"/>
                </a:cubicBezTo>
                <a:cubicBezTo>
                  <a:pt x="2626122" y="810642"/>
                  <a:pt x="2601412" y="835352"/>
                  <a:pt x="2570929" y="835352"/>
                </a:cubicBezTo>
                <a:cubicBezTo>
                  <a:pt x="2540446" y="835352"/>
                  <a:pt x="2515735" y="810642"/>
                  <a:pt x="2515735" y="780161"/>
                </a:cubicBezTo>
                <a:cubicBezTo>
                  <a:pt x="2515735" y="749680"/>
                  <a:pt x="2540446" y="724970"/>
                  <a:pt x="2570929" y="724970"/>
                </a:cubicBezTo>
                <a:close/>
                <a:moveTo>
                  <a:pt x="2437294" y="724970"/>
                </a:moveTo>
                <a:cubicBezTo>
                  <a:pt x="2467777" y="724970"/>
                  <a:pt x="2492487" y="749680"/>
                  <a:pt x="2492487" y="780161"/>
                </a:cubicBezTo>
                <a:cubicBezTo>
                  <a:pt x="2492487" y="810642"/>
                  <a:pt x="2467777" y="835352"/>
                  <a:pt x="2437294" y="835352"/>
                </a:cubicBezTo>
                <a:cubicBezTo>
                  <a:pt x="2406815" y="835352"/>
                  <a:pt x="2382104" y="810642"/>
                  <a:pt x="2382104" y="780161"/>
                </a:cubicBezTo>
                <a:cubicBezTo>
                  <a:pt x="2382104" y="749680"/>
                  <a:pt x="2406815" y="724970"/>
                  <a:pt x="2437294" y="724970"/>
                </a:cubicBezTo>
                <a:close/>
                <a:moveTo>
                  <a:pt x="2303662" y="724970"/>
                </a:moveTo>
                <a:cubicBezTo>
                  <a:pt x="2334145" y="724970"/>
                  <a:pt x="2358853" y="749680"/>
                  <a:pt x="2358853" y="780161"/>
                </a:cubicBezTo>
                <a:cubicBezTo>
                  <a:pt x="2358853" y="810642"/>
                  <a:pt x="2334145" y="835352"/>
                  <a:pt x="2303662" y="835352"/>
                </a:cubicBezTo>
                <a:cubicBezTo>
                  <a:pt x="2273180" y="835352"/>
                  <a:pt x="2248471" y="810642"/>
                  <a:pt x="2248471" y="780161"/>
                </a:cubicBezTo>
                <a:cubicBezTo>
                  <a:pt x="2248471" y="749680"/>
                  <a:pt x="2273180" y="724970"/>
                  <a:pt x="2303662" y="724970"/>
                </a:cubicBezTo>
                <a:close/>
                <a:moveTo>
                  <a:pt x="2173371" y="724970"/>
                </a:moveTo>
                <a:cubicBezTo>
                  <a:pt x="2203851" y="724970"/>
                  <a:pt x="2228562" y="749680"/>
                  <a:pt x="2228562" y="780161"/>
                </a:cubicBezTo>
                <a:cubicBezTo>
                  <a:pt x="2228562" y="810642"/>
                  <a:pt x="2203851" y="835352"/>
                  <a:pt x="2173371" y="835352"/>
                </a:cubicBezTo>
                <a:cubicBezTo>
                  <a:pt x="2142888" y="835352"/>
                  <a:pt x="2118177" y="810642"/>
                  <a:pt x="2118177" y="780161"/>
                </a:cubicBezTo>
                <a:cubicBezTo>
                  <a:pt x="2118177" y="749680"/>
                  <a:pt x="2142888" y="724970"/>
                  <a:pt x="2173371" y="724970"/>
                </a:cubicBezTo>
                <a:close/>
                <a:moveTo>
                  <a:pt x="2039733" y="724970"/>
                </a:moveTo>
                <a:cubicBezTo>
                  <a:pt x="2070216" y="724970"/>
                  <a:pt x="2094927" y="749680"/>
                  <a:pt x="2094927" y="780161"/>
                </a:cubicBezTo>
                <a:cubicBezTo>
                  <a:pt x="2094927" y="810642"/>
                  <a:pt x="2070216" y="835352"/>
                  <a:pt x="2039733" y="835352"/>
                </a:cubicBezTo>
                <a:cubicBezTo>
                  <a:pt x="2009252" y="835352"/>
                  <a:pt x="1984539" y="810642"/>
                  <a:pt x="1984539" y="780161"/>
                </a:cubicBezTo>
                <a:cubicBezTo>
                  <a:pt x="1984539" y="749680"/>
                  <a:pt x="2009252" y="724970"/>
                  <a:pt x="2039733" y="724970"/>
                </a:cubicBezTo>
                <a:close/>
                <a:moveTo>
                  <a:pt x="1909436" y="724970"/>
                </a:moveTo>
                <a:cubicBezTo>
                  <a:pt x="1939919" y="724970"/>
                  <a:pt x="1964630" y="749680"/>
                  <a:pt x="1964630" y="780161"/>
                </a:cubicBezTo>
                <a:cubicBezTo>
                  <a:pt x="1964630" y="810642"/>
                  <a:pt x="1939919" y="835352"/>
                  <a:pt x="1909436" y="835352"/>
                </a:cubicBezTo>
                <a:cubicBezTo>
                  <a:pt x="1878955" y="835352"/>
                  <a:pt x="1854243" y="810642"/>
                  <a:pt x="1854243" y="780161"/>
                </a:cubicBezTo>
                <a:cubicBezTo>
                  <a:pt x="1854243" y="749680"/>
                  <a:pt x="1878955" y="724970"/>
                  <a:pt x="1909436" y="724970"/>
                </a:cubicBezTo>
                <a:close/>
                <a:moveTo>
                  <a:pt x="1779142" y="724970"/>
                </a:moveTo>
                <a:cubicBezTo>
                  <a:pt x="1809623" y="724970"/>
                  <a:pt x="1834335" y="749680"/>
                  <a:pt x="1834335" y="780161"/>
                </a:cubicBezTo>
                <a:cubicBezTo>
                  <a:pt x="1834335" y="810642"/>
                  <a:pt x="1809623" y="835352"/>
                  <a:pt x="1779142" y="835352"/>
                </a:cubicBezTo>
                <a:cubicBezTo>
                  <a:pt x="1748660" y="835352"/>
                  <a:pt x="1723947" y="810642"/>
                  <a:pt x="1723947" y="780161"/>
                </a:cubicBezTo>
                <a:cubicBezTo>
                  <a:pt x="1723947" y="749680"/>
                  <a:pt x="1748660" y="724970"/>
                  <a:pt x="1779142" y="724970"/>
                </a:cubicBezTo>
                <a:close/>
                <a:moveTo>
                  <a:pt x="1645501" y="724970"/>
                </a:moveTo>
                <a:cubicBezTo>
                  <a:pt x="1675988" y="724970"/>
                  <a:pt x="1700699" y="749680"/>
                  <a:pt x="1700699" y="780161"/>
                </a:cubicBezTo>
                <a:cubicBezTo>
                  <a:pt x="1700699" y="810642"/>
                  <a:pt x="1675988" y="835352"/>
                  <a:pt x="1645501" y="835352"/>
                </a:cubicBezTo>
                <a:cubicBezTo>
                  <a:pt x="1615024" y="835352"/>
                  <a:pt x="1590310" y="810642"/>
                  <a:pt x="1590310" y="780161"/>
                </a:cubicBezTo>
                <a:cubicBezTo>
                  <a:pt x="1590310" y="749680"/>
                  <a:pt x="1615024" y="724970"/>
                  <a:pt x="1645501" y="724970"/>
                </a:cubicBezTo>
                <a:close/>
                <a:moveTo>
                  <a:pt x="1515213" y="724970"/>
                </a:moveTo>
                <a:cubicBezTo>
                  <a:pt x="1545692" y="724970"/>
                  <a:pt x="1570399" y="749680"/>
                  <a:pt x="1570399" y="780161"/>
                </a:cubicBezTo>
                <a:cubicBezTo>
                  <a:pt x="1570399" y="810642"/>
                  <a:pt x="1545692" y="835352"/>
                  <a:pt x="1515213" y="835352"/>
                </a:cubicBezTo>
                <a:cubicBezTo>
                  <a:pt x="1484730" y="835352"/>
                  <a:pt x="1460016" y="810642"/>
                  <a:pt x="1460016" y="780161"/>
                </a:cubicBezTo>
                <a:cubicBezTo>
                  <a:pt x="1460016" y="749680"/>
                  <a:pt x="1484730" y="724970"/>
                  <a:pt x="1515213" y="724970"/>
                </a:cubicBezTo>
                <a:close/>
                <a:moveTo>
                  <a:pt x="1381573" y="724970"/>
                </a:moveTo>
                <a:cubicBezTo>
                  <a:pt x="1412052" y="724970"/>
                  <a:pt x="1436767" y="749680"/>
                  <a:pt x="1436767" y="780161"/>
                </a:cubicBezTo>
                <a:cubicBezTo>
                  <a:pt x="1436767" y="810642"/>
                  <a:pt x="1412052" y="835352"/>
                  <a:pt x="1381573" y="835352"/>
                </a:cubicBezTo>
                <a:cubicBezTo>
                  <a:pt x="1351096" y="835352"/>
                  <a:pt x="1326381" y="810642"/>
                  <a:pt x="1326381" y="780161"/>
                </a:cubicBezTo>
                <a:cubicBezTo>
                  <a:pt x="1326381" y="749680"/>
                  <a:pt x="1351096" y="724970"/>
                  <a:pt x="1381573" y="724970"/>
                </a:cubicBezTo>
                <a:close/>
                <a:moveTo>
                  <a:pt x="1251282" y="724970"/>
                </a:moveTo>
                <a:cubicBezTo>
                  <a:pt x="1281764" y="724970"/>
                  <a:pt x="1306475" y="749680"/>
                  <a:pt x="1306475" y="780161"/>
                </a:cubicBezTo>
                <a:cubicBezTo>
                  <a:pt x="1306475" y="810642"/>
                  <a:pt x="1281764" y="835352"/>
                  <a:pt x="1251282" y="835352"/>
                </a:cubicBezTo>
                <a:cubicBezTo>
                  <a:pt x="1220800" y="835352"/>
                  <a:pt x="1196089" y="810642"/>
                  <a:pt x="1196089" y="780161"/>
                </a:cubicBezTo>
                <a:cubicBezTo>
                  <a:pt x="1196089" y="749680"/>
                  <a:pt x="1220800" y="724970"/>
                  <a:pt x="1251282" y="724970"/>
                </a:cubicBezTo>
                <a:close/>
                <a:moveTo>
                  <a:pt x="1117642" y="724970"/>
                </a:moveTo>
                <a:cubicBezTo>
                  <a:pt x="1148126" y="724970"/>
                  <a:pt x="1172836" y="749680"/>
                  <a:pt x="1172836" y="780161"/>
                </a:cubicBezTo>
                <a:cubicBezTo>
                  <a:pt x="1172836" y="810642"/>
                  <a:pt x="1148126" y="835352"/>
                  <a:pt x="1117642" y="835352"/>
                </a:cubicBezTo>
                <a:cubicBezTo>
                  <a:pt x="1087161" y="835352"/>
                  <a:pt x="1062448" y="810642"/>
                  <a:pt x="1062448" y="780161"/>
                </a:cubicBezTo>
                <a:cubicBezTo>
                  <a:pt x="1062448" y="749680"/>
                  <a:pt x="1087161" y="724970"/>
                  <a:pt x="1117642" y="724970"/>
                </a:cubicBezTo>
                <a:close/>
                <a:moveTo>
                  <a:pt x="980664" y="724970"/>
                </a:moveTo>
                <a:cubicBezTo>
                  <a:pt x="1011146" y="724970"/>
                  <a:pt x="1035857" y="749680"/>
                  <a:pt x="1035857" y="780161"/>
                </a:cubicBezTo>
                <a:cubicBezTo>
                  <a:pt x="1035857" y="810642"/>
                  <a:pt x="1011146" y="835352"/>
                  <a:pt x="980664" y="835352"/>
                </a:cubicBezTo>
                <a:cubicBezTo>
                  <a:pt x="950180" y="835352"/>
                  <a:pt x="925471" y="810642"/>
                  <a:pt x="925471" y="780161"/>
                </a:cubicBezTo>
                <a:cubicBezTo>
                  <a:pt x="925471" y="749680"/>
                  <a:pt x="950180" y="724970"/>
                  <a:pt x="980664" y="724970"/>
                </a:cubicBezTo>
                <a:close/>
                <a:moveTo>
                  <a:pt x="847022" y="724970"/>
                </a:moveTo>
                <a:cubicBezTo>
                  <a:pt x="877506" y="724970"/>
                  <a:pt x="902217" y="749680"/>
                  <a:pt x="902217" y="780161"/>
                </a:cubicBezTo>
                <a:cubicBezTo>
                  <a:pt x="902217" y="810642"/>
                  <a:pt x="877506" y="835352"/>
                  <a:pt x="847022" y="835352"/>
                </a:cubicBezTo>
                <a:cubicBezTo>
                  <a:pt x="816540" y="835352"/>
                  <a:pt x="791823" y="810642"/>
                  <a:pt x="791823" y="780161"/>
                </a:cubicBezTo>
                <a:cubicBezTo>
                  <a:pt x="791823" y="749680"/>
                  <a:pt x="816540" y="724970"/>
                  <a:pt x="847022" y="724970"/>
                </a:cubicBezTo>
                <a:close/>
                <a:moveTo>
                  <a:pt x="716722" y="724970"/>
                </a:moveTo>
                <a:cubicBezTo>
                  <a:pt x="747204" y="724970"/>
                  <a:pt x="771916" y="749680"/>
                  <a:pt x="771916" y="780161"/>
                </a:cubicBezTo>
                <a:cubicBezTo>
                  <a:pt x="771916" y="810642"/>
                  <a:pt x="747204" y="835352"/>
                  <a:pt x="716722" y="835352"/>
                </a:cubicBezTo>
                <a:cubicBezTo>
                  <a:pt x="686240" y="835352"/>
                  <a:pt x="661530" y="810642"/>
                  <a:pt x="661530" y="780161"/>
                </a:cubicBezTo>
                <a:cubicBezTo>
                  <a:pt x="661530" y="749680"/>
                  <a:pt x="686240" y="724970"/>
                  <a:pt x="716722" y="724970"/>
                </a:cubicBezTo>
                <a:close/>
                <a:moveTo>
                  <a:pt x="583085" y="724970"/>
                </a:moveTo>
                <a:cubicBezTo>
                  <a:pt x="613567" y="724970"/>
                  <a:pt x="638278" y="749680"/>
                  <a:pt x="638278" y="780161"/>
                </a:cubicBezTo>
                <a:cubicBezTo>
                  <a:pt x="638278" y="810642"/>
                  <a:pt x="613567" y="835352"/>
                  <a:pt x="583085" y="835352"/>
                </a:cubicBezTo>
                <a:cubicBezTo>
                  <a:pt x="552602" y="835352"/>
                  <a:pt x="527891" y="810642"/>
                  <a:pt x="527891" y="780161"/>
                </a:cubicBezTo>
                <a:cubicBezTo>
                  <a:pt x="527891" y="749680"/>
                  <a:pt x="552602" y="724970"/>
                  <a:pt x="583085" y="724970"/>
                </a:cubicBezTo>
                <a:close/>
                <a:moveTo>
                  <a:pt x="449437" y="724970"/>
                </a:moveTo>
                <a:cubicBezTo>
                  <a:pt x="479919" y="724970"/>
                  <a:pt x="504629" y="749680"/>
                  <a:pt x="504629" y="780161"/>
                </a:cubicBezTo>
                <a:cubicBezTo>
                  <a:pt x="504629" y="810642"/>
                  <a:pt x="479919" y="835352"/>
                  <a:pt x="449437" y="835352"/>
                </a:cubicBezTo>
                <a:cubicBezTo>
                  <a:pt x="418954" y="835352"/>
                  <a:pt x="394244" y="810642"/>
                  <a:pt x="394244" y="780161"/>
                </a:cubicBezTo>
                <a:cubicBezTo>
                  <a:pt x="394244" y="749680"/>
                  <a:pt x="418954" y="724970"/>
                  <a:pt x="449437" y="724970"/>
                </a:cubicBezTo>
                <a:close/>
                <a:moveTo>
                  <a:pt x="319140" y="724970"/>
                </a:moveTo>
                <a:cubicBezTo>
                  <a:pt x="349624" y="724970"/>
                  <a:pt x="374334" y="749680"/>
                  <a:pt x="374334" y="780161"/>
                </a:cubicBezTo>
                <a:cubicBezTo>
                  <a:pt x="374334" y="810642"/>
                  <a:pt x="349624" y="835352"/>
                  <a:pt x="319140" y="835352"/>
                </a:cubicBezTo>
                <a:cubicBezTo>
                  <a:pt x="288658" y="835352"/>
                  <a:pt x="263948" y="810642"/>
                  <a:pt x="263948" y="780161"/>
                </a:cubicBezTo>
                <a:cubicBezTo>
                  <a:pt x="263948" y="749680"/>
                  <a:pt x="288658" y="724970"/>
                  <a:pt x="319140" y="724970"/>
                </a:cubicBezTo>
                <a:close/>
                <a:moveTo>
                  <a:pt x="185509" y="724970"/>
                </a:moveTo>
                <a:cubicBezTo>
                  <a:pt x="215993" y="724970"/>
                  <a:pt x="240701" y="749680"/>
                  <a:pt x="240701" y="780161"/>
                </a:cubicBezTo>
                <a:cubicBezTo>
                  <a:pt x="240701" y="810642"/>
                  <a:pt x="215993" y="835352"/>
                  <a:pt x="185509" y="835352"/>
                </a:cubicBezTo>
                <a:cubicBezTo>
                  <a:pt x="155029" y="835352"/>
                  <a:pt x="130319" y="810642"/>
                  <a:pt x="130319" y="780161"/>
                </a:cubicBezTo>
                <a:cubicBezTo>
                  <a:pt x="130319" y="749680"/>
                  <a:pt x="155029" y="724970"/>
                  <a:pt x="185509" y="724970"/>
                </a:cubicBezTo>
                <a:close/>
                <a:moveTo>
                  <a:pt x="8801538" y="608039"/>
                </a:moveTo>
                <a:cubicBezTo>
                  <a:pt x="8832020" y="608039"/>
                  <a:pt x="8856730" y="632749"/>
                  <a:pt x="8856730" y="663230"/>
                </a:cubicBezTo>
                <a:cubicBezTo>
                  <a:pt x="8856730" y="693711"/>
                  <a:pt x="8832020" y="718421"/>
                  <a:pt x="8801538" y="718421"/>
                </a:cubicBezTo>
                <a:cubicBezTo>
                  <a:pt x="8771056" y="718421"/>
                  <a:pt x="8746346" y="693711"/>
                  <a:pt x="8746346" y="663230"/>
                </a:cubicBezTo>
                <a:cubicBezTo>
                  <a:pt x="8746346" y="632749"/>
                  <a:pt x="8771056" y="608039"/>
                  <a:pt x="8801538" y="608039"/>
                </a:cubicBezTo>
                <a:close/>
                <a:moveTo>
                  <a:pt x="8671244" y="608039"/>
                </a:moveTo>
                <a:cubicBezTo>
                  <a:pt x="8701726" y="608039"/>
                  <a:pt x="8726436" y="632749"/>
                  <a:pt x="8726436" y="663230"/>
                </a:cubicBezTo>
                <a:cubicBezTo>
                  <a:pt x="8726436" y="693711"/>
                  <a:pt x="8701726" y="718421"/>
                  <a:pt x="8671244" y="718421"/>
                </a:cubicBezTo>
                <a:cubicBezTo>
                  <a:pt x="8640762" y="718421"/>
                  <a:pt x="8616052" y="693711"/>
                  <a:pt x="8616052" y="663230"/>
                </a:cubicBezTo>
                <a:cubicBezTo>
                  <a:pt x="8616052" y="632749"/>
                  <a:pt x="8640762" y="608039"/>
                  <a:pt x="8671244" y="608039"/>
                </a:cubicBezTo>
                <a:close/>
                <a:moveTo>
                  <a:pt x="8537609" y="608039"/>
                </a:moveTo>
                <a:cubicBezTo>
                  <a:pt x="8568091" y="608039"/>
                  <a:pt x="8592801" y="632749"/>
                  <a:pt x="8592801" y="663230"/>
                </a:cubicBezTo>
                <a:cubicBezTo>
                  <a:pt x="8592801" y="693711"/>
                  <a:pt x="8568091" y="718421"/>
                  <a:pt x="8537609" y="718421"/>
                </a:cubicBezTo>
                <a:cubicBezTo>
                  <a:pt x="8507127" y="718421"/>
                  <a:pt x="8482417" y="693711"/>
                  <a:pt x="8482417" y="663230"/>
                </a:cubicBezTo>
                <a:cubicBezTo>
                  <a:pt x="8482417" y="632749"/>
                  <a:pt x="8507127" y="608039"/>
                  <a:pt x="8537609" y="608039"/>
                </a:cubicBezTo>
                <a:close/>
                <a:moveTo>
                  <a:pt x="8407318" y="608039"/>
                </a:moveTo>
                <a:cubicBezTo>
                  <a:pt x="8437800" y="608039"/>
                  <a:pt x="8462510" y="632749"/>
                  <a:pt x="8462510" y="663230"/>
                </a:cubicBezTo>
                <a:cubicBezTo>
                  <a:pt x="8462510" y="693711"/>
                  <a:pt x="8437800" y="718421"/>
                  <a:pt x="8407318" y="718421"/>
                </a:cubicBezTo>
                <a:cubicBezTo>
                  <a:pt x="8376836" y="718421"/>
                  <a:pt x="8352126" y="693711"/>
                  <a:pt x="8352126" y="663230"/>
                </a:cubicBezTo>
                <a:cubicBezTo>
                  <a:pt x="8352126" y="632749"/>
                  <a:pt x="8376836" y="608039"/>
                  <a:pt x="8407318" y="608039"/>
                </a:cubicBezTo>
                <a:close/>
                <a:moveTo>
                  <a:pt x="8273682" y="608039"/>
                </a:moveTo>
                <a:cubicBezTo>
                  <a:pt x="8304164" y="608039"/>
                  <a:pt x="8328874" y="632749"/>
                  <a:pt x="8328874" y="663230"/>
                </a:cubicBezTo>
                <a:cubicBezTo>
                  <a:pt x="8328874" y="693711"/>
                  <a:pt x="8304164" y="718421"/>
                  <a:pt x="8273682" y="718421"/>
                </a:cubicBezTo>
                <a:cubicBezTo>
                  <a:pt x="8243200" y="718421"/>
                  <a:pt x="8218490" y="693711"/>
                  <a:pt x="8218490" y="663230"/>
                </a:cubicBezTo>
                <a:cubicBezTo>
                  <a:pt x="8218490" y="632749"/>
                  <a:pt x="8243200" y="608039"/>
                  <a:pt x="8273682" y="608039"/>
                </a:cubicBezTo>
                <a:close/>
                <a:moveTo>
                  <a:pt x="8143386" y="608039"/>
                </a:moveTo>
                <a:cubicBezTo>
                  <a:pt x="8173868" y="608039"/>
                  <a:pt x="8198578" y="632749"/>
                  <a:pt x="8198578" y="663230"/>
                </a:cubicBezTo>
                <a:cubicBezTo>
                  <a:pt x="8198578" y="693711"/>
                  <a:pt x="8173868" y="718421"/>
                  <a:pt x="8143386" y="718421"/>
                </a:cubicBezTo>
                <a:cubicBezTo>
                  <a:pt x="8112904" y="718421"/>
                  <a:pt x="8088194" y="693711"/>
                  <a:pt x="8088194" y="663230"/>
                </a:cubicBezTo>
                <a:cubicBezTo>
                  <a:pt x="8088194" y="632749"/>
                  <a:pt x="8112904" y="608039"/>
                  <a:pt x="8143386" y="608039"/>
                </a:cubicBezTo>
                <a:close/>
                <a:moveTo>
                  <a:pt x="8009753" y="608039"/>
                </a:moveTo>
                <a:cubicBezTo>
                  <a:pt x="8040235" y="608039"/>
                  <a:pt x="8064945" y="632749"/>
                  <a:pt x="8064945" y="663230"/>
                </a:cubicBezTo>
                <a:cubicBezTo>
                  <a:pt x="8064945" y="693711"/>
                  <a:pt x="8040235" y="718421"/>
                  <a:pt x="8009753" y="718421"/>
                </a:cubicBezTo>
                <a:cubicBezTo>
                  <a:pt x="7979271" y="718421"/>
                  <a:pt x="7954561" y="693711"/>
                  <a:pt x="7954561" y="663230"/>
                </a:cubicBezTo>
                <a:cubicBezTo>
                  <a:pt x="7954561" y="632749"/>
                  <a:pt x="7979271" y="608039"/>
                  <a:pt x="8009753" y="608039"/>
                </a:cubicBezTo>
                <a:close/>
                <a:moveTo>
                  <a:pt x="7876118" y="608039"/>
                </a:moveTo>
                <a:cubicBezTo>
                  <a:pt x="7906600" y="608039"/>
                  <a:pt x="7931310" y="632749"/>
                  <a:pt x="7931310" y="663230"/>
                </a:cubicBezTo>
                <a:cubicBezTo>
                  <a:pt x="7931310" y="693711"/>
                  <a:pt x="7906600" y="718421"/>
                  <a:pt x="7876118" y="718421"/>
                </a:cubicBezTo>
                <a:cubicBezTo>
                  <a:pt x="7845636" y="718421"/>
                  <a:pt x="7820926" y="693711"/>
                  <a:pt x="7820926" y="663230"/>
                </a:cubicBezTo>
                <a:cubicBezTo>
                  <a:pt x="7820926" y="632749"/>
                  <a:pt x="7845636" y="608039"/>
                  <a:pt x="7876118" y="608039"/>
                </a:cubicBezTo>
                <a:close/>
                <a:moveTo>
                  <a:pt x="7745824" y="608039"/>
                </a:moveTo>
                <a:cubicBezTo>
                  <a:pt x="7776306" y="608039"/>
                  <a:pt x="7801016" y="632749"/>
                  <a:pt x="7801016" y="663230"/>
                </a:cubicBezTo>
                <a:cubicBezTo>
                  <a:pt x="7801016" y="693711"/>
                  <a:pt x="7776306" y="718421"/>
                  <a:pt x="7745824" y="718421"/>
                </a:cubicBezTo>
                <a:cubicBezTo>
                  <a:pt x="7715342" y="718421"/>
                  <a:pt x="7690632" y="693711"/>
                  <a:pt x="7690632" y="663230"/>
                </a:cubicBezTo>
                <a:cubicBezTo>
                  <a:pt x="7690632" y="632749"/>
                  <a:pt x="7715342" y="608039"/>
                  <a:pt x="7745824" y="608039"/>
                </a:cubicBezTo>
                <a:close/>
                <a:moveTo>
                  <a:pt x="7608850" y="608039"/>
                </a:moveTo>
                <a:cubicBezTo>
                  <a:pt x="7639332" y="608039"/>
                  <a:pt x="7664042" y="632749"/>
                  <a:pt x="7664042" y="663230"/>
                </a:cubicBezTo>
                <a:cubicBezTo>
                  <a:pt x="7664042" y="693711"/>
                  <a:pt x="7639332" y="718421"/>
                  <a:pt x="7608850" y="718421"/>
                </a:cubicBezTo>
                <a:cubicBezTo>
                  <a:pt x="7578368" y="718421"/>
                  <a:pt x="7553658" y="693711"/>
                  <a:pt x="7553658" y="663230"/>
                </a:cubicBezTo>
                <a:cubicBezTo>
                  <a:pt x="7553658" y="632749"/>
                  <a:pt x="7578368" y="608039"/>
                  <a:pt x="7608850" y="608039"/>
                </a:cubicBezTo>
                <a:close/>
                <a:moveTo>
                  <a:pt x="7481895" y="608039"/>
                </a:moveTo>
                <a:cubicBezTo>
                  <a:pt x="7512377" y="608039"/>
                  <a:pt x="7537087" y="632749"/>
                  <a:pt x="7537087" y="663230"/>
                </a:cubicBezTo>
                <a:cubicBezTo>
                  <a:pt x="7537087" y="693711"/>
                  <a:pt x="7512377" y="718421"/>
                  <a:pt x="7481895" y="718421"/>
                </a:cubicBezTo>
                <a:cubicBezTo>
                  <a:pt x="7451413" y="718421"/>
                  <a:pt x="7426703" y="693711"/>
                  <a:pt x="7426703" y="663230"/>
                </a:cubicBezTo>
                <a:cubicBezTo>
                  <a:pt x="7426703" y="632749"/>
                  <a:pt x="7451413" y="608039"/>
                  <a:pt x="7481895" y="608039"/>
                </a:cubicBezTo>
                <a:close/>
                <a:moveTo>
                  <a:pt x="7341579" y="608039"/>
                </a:moveTo>
                <a:cubicBezTo>
                  <a:pt x="7372061" y="608039"/>
                  <a:pt x="7396771" y="632749"/>
                  <a:pt x="7396771" y="663230"/>
                </a:cubicBezTo>
                <a:cubicBezTo>
                  <a:pt x="7396771" y="693711"/>
                  <a:pt x="7372061" y="718421"/>
                  <a:pt x="7341579" y="718421"/>
                </a:cubicBezTo>
                <a:cubicBezTo>
                  <a:pt x="7311097" y="718421"/>
                  <a:pt x="7286387" y="693711"/>
                  <a:pt x="7286387" y="663230"/>
                </a:cubicBezTo>
                <a:cubicBezTo>
                  <a:pt x="7286387" y="632749"/>
                  <a:pt x="7311097" y="608039"/>
                  <a:pt x="7341579" y="608039"/>
                </a:cubicBezTo>
                <a:close/>
                <a:moveTo>
                  <a:pt x="7211286" y="608039"/>
                </a:moveTo>
                <a:cubicBezTo>
                  <a:pt x="7241768" y="608039"/>
                  <a:pt x="7266478" y="632749"/>
                  <a:pt x="7266478" y="663230"/>
                </a:cubicBezTo>
                <a:cubicBezTo>
                  <a:pt x="7266478" y="693711"/>
                  <a:pt x="7241768" y="718421"/>
                  <a:pt x="7211286" y="718421"/>
                </a:cubicBezTo>
                <a:cubicBezTo>
                  <a:pt x="7180804" y="718421"/>
                  <a:pt x="7156094" y="693711"/>
                  <a:pt x="7156094" y="663230"/>
                </a:cubicBezTo>
                <a:cubicBezTo>
                  <a:pt x="7156094" y="632749"/>
                  <a:pt x="7180804" y="608039"/>
                  <a:pt x="7211286" y="608039"/>
                </a:cubicBezTo>
                <a:close/>
                <a:moveTo>
                  <a:pt x="7080994" y="608039"/>
                </a:moveTo>
                <a:cubicBezTo>
                  <a:pt x="7111476" y="608039"/>
                  <a:pt x="7136186" y="632749"/>
                  <a:pt x="7136186" y="663230"/>
                </a:cubicBezTo>
                <a:cubicBezTo>
                  <a:pt x="7136186" y="693711"/>
                  <a:pt x="7111476" y="718421"/>
                  <a:pt x="7080994" y="718421"/>
                </a:cubicBezTo>
                <a:cubicBezTo>
                  <a:pt x="7050512" y="718421"/>
                  <a:pt x="7025802" y="693711"/>
                  <a:pt x="7025802" y="663230"/>
                </a:cubicBezTo>
                <a:cubicBezTo>
                  <a:pt x="7025802" y="632749"/>
                  <a:pt x="7050512" y="608039"/>
                  <a:pt x="7080994" y="608039"/>
                </a:cubicBezTo>
                <a:close/>
                <a:moveTo>
                  <a:pt x="6947358" y="608039"/>
                </a:moveTo>
                <a:cubicBezTo>
                  <a:pt x="6977840" y="608039"/>
                  <a:pt x="7002550" y="632749"/>
                  <a:pt x="7002550" y="663230"/>
                </a:cubicBezTo>
                <a:cubicBezTo>
                  <a:pt x="7002550" y="693711"/>
                  <a:pt x="6977840" y="718421"/>
                  <a:pt x="6947358" y="718421"/>
                </a:cubicBezTo>
                <a:cubicBezTo>
                  <a:pt x="6916876" y="718421"/>
                  <a:pt x="6892166" y="693711"/>
                  <a:pt x="6892166" y="663230"/>
                </a:cubicBezTo>
                <a:cubicBezTo>
                  <a:pt x="6892166" y="632749"/>
                  <a:pt x="6916876" y="608039"/>
                  <a:pt x="6947358" y="608039"/>
                </a:cubicBezTo>
                <a:close/>
                <a:moveTo>
                  <a:pt x="6817064" y="608039"/>
                </a:moveTo>
                <a:cubicBezTo>
                  <a:pt x="6847546" y="608039"/>
                  <a:pt x="6872256" y="632749"/>
                  <a:pt x="6872256" y="663230"/>
                </a:cubicBezTo>
                <a:cubicBezTo>
                  <a:pt x="6872256" y="693711"/>
                  <a:pt x="6847546" y="718421"/>
                  <a:pt x="6817064" y="718421"/>
                </a:cubicBezTo>
                <a:cubicBezTo>
                  <a:pt x="6786582" y="718421"/>
                  <a:pt x="6761872" y="693711"/>
                  <a:pt x="6761872" y="663230"/>
                </a:cubicBezTo>
                <a:cubicBezTo>
                  <a:pt x="6761872" y="632749"/>
                  <a:pt x="6786582" y="608039"/>
                  <a:pt x="6817064" y="608039"/>
                </a:cubicBezTo>
                <a:close/>
                <a:moveTo>
                  <a:pt x="6683431" y="608039"/>
                </a:moveTo>
                <a:cubicBezTo>
                  <a:pt x="6713913" y="608039"/>
                  <a:pt x="6738623" y="632749"/>
                  <a:pt x="6738623" y="663230"/>
                </a:cubicBezTo>
                <a:cubicBezTo>
                  <a:pt x="6738623" y="693711"/>
                  <a:pt x="6713913" y="718421"/>
                  <a:pt x="6683431" y="718421"/>
                </a:cubicBezTo>
                <a:cubicBezTo>
                  <a:pt x="6652949" y="718421"/>
                  <a:pt x="6628239" y="693711"/>
                  <a:pt x="6628239" y="663230"/>
                </a:cubicBezTo>
                <a:cubicBezTo>
                  <a:pt x="6628239" y="632749"/>
                  <a:pt x="6652949" y="608039"/>
                  <a:pt x="6683431" y="608039"/>
                </a:cubicBezTo>
                <a:close/>
                <a:moveTo>
                  <a:pt x="6155573" y="608039"/>
                </a:moveTo>
                <a:cubicBezTo>
                  <a:pt x="6186055" y="608039"/>
                  <a:pt x="6210765" y="632749"/>
                  <a:pt x="6210765" y="663230"/>
                </a:cubicBezTo>
                <a:cubicBezTo>
                  <a:pt x="6210765" y="693711"/>
                  <a:pt x="6186055" y="718421"/>
                  <a:pt x="6155573" y="718421"/>
                </a:cubicBezTo>
                <a:cubicBezTo>
                  <a:pt x="6125091" y="718421"/>
                  <a:pt x="6100381" y="693711"/>
                  <a:pt x="6100381" y="663230"/>
                </a:cubicBezTo>
                <a:cubicBezTo>
                  <a:pt x="6100381" y="632749"/>
                  <a:pt x="6125091" y="608039"/>
                  <a:pt x="6155573" y="608039"/>
                </a:cubicBezTo>
                <a:close/>
                <a:moveTo>
                  <a:pt x="5487399" y="608039"/>
                </a:moveTo>
                <a:cubicBezTo>
                  <a:pt x="5517881" y="608039"/>
                  <a:pt x="5542591" y="632749"/>
                  <a:pt x="5542591" y="663230"/>
                </a:cubicBezTo>
                <a:cubicBezTo>
                  <a:pt x="5542591" y="693711"/>
                  <a:pt x="5517881" y="718421"/>
                  <a:pt x="5487399" y="718421"/>
                </a:cubicBezTo>
                <a:cubicBezTo>
                  <a:pt x="5456917" y="718421"/>
                  <a:pt x="5432207" y="693711"/>
                  <a:pt x="5432207" y="663230"/>
                </a:cubicBezTo>
                <a:cubicBezTo>
                  <a:pt x="5432207" y="632749"/>
                  <a:pt x="5456917" y="608039"/>
                  <a:pt x="5487399" y="608039"/>
                </a:cubicBezTo>
                <a:close/>
                <a:moveTo>
                  <a:pt x="5357106" y="608039"/>
                </a:moveTo>
                <a:cubicBezTo>
                  <a:pt x="5387588" y="608039"/>
                  <a:pt x="5412298" y="632749"/>
                  <a:pt x="5412298" y="663230"/>
                </a:cubicBezTo>
                <a:cubicBezTo>
                  <a:pt x="5412298" y="693711"/>
                  <a:pt x="5387588" y="718421"/>
                  <a:pt x="5357106" y="718421"/>
                </a:cubicBezTo>
                <a:cubicBezTo>
                  <a:pt x="5326624" y="718421"/>
                  <a:pt x="5301914" y="693711"/>
                  <a:pt x="5301914" y="663230"/>
                </a:cubicBezTo>
                <a:cubicBezTo>
                  <a:pt x="5301914" y="632749"/>
                  <a:pt x="5326624" y="608039"/>
                  <a:pt x="5357106" y="608039"/>
                </a:cubicBezTo>
                <a:close/>
                <a:moveTo>
                  <a:pt x="5223473" y="608038"/>
                </a:moveTo>
                <a:cubicBezTo>
                  <a:pt x="5253955" y="608038"/>
                  <a:pt x="5278665" y="632748"/>
                  <a:pt x="5278665" y="663229"/>
                </a:cubicBezTo>
                <a:cubicBezTo>
                  <a:pt x="5278665" y="693710"/>
                  <a:pt x="5253955" y="718420"/>
                  <a:pt x="5223473" y="718420"/>
                </a:cubicBezTo>
                <a:cubicBezTo>
                  <a:pt x="5192991" y="718420"/>
                  <a:pt x="5168281" y="693710"/>
                  <a:pt x="5168281" y="663229"/>
                </a:cubicBezTo>
                <a:cubicBezTo>
                  <a:pt x="5168281" y="632748"/>
                  <a:pt x="5192991" y="608038"/>
                  <a:pt x="5223473" y="608038"/>
                </a:cubicBezTo>
                <a:close/>
                <a:moveTo>
                  <a:pt x="4030786" y="608038"/>
                </a:moveTo>
                <a:cubicBezTo>
                  <a:pt x="4061268" y="608038"/>
                  <a:pt x="4085978" y="632748"/>
                  <a:pt x="4085978" y="663229"/>
                </a:cubicBezTo>
                <a:cubicBezTo>
                  <a:pt x="4085978" y="693710"/>
                  <a:pt x="4061268" y="718420"/>
                  <a:pt x="4030786" y="718420"/>
                </a:cubicBezTo>
                <a:cubicBezTo>
                  <a:pt x="4000304" y="718420"/>
                  <a:pt x="3975594" y="693710"/>
                  <a:pt x="3975594" y="663229"/>
                </a:cubicBezTo>
                <a:cubicBezTo>
                  <a:pt x="3975594" y="632748"/>
                  <a:pt x="4000304" y="608038"/>
                  <a:pt x="4030786" y="608038"/>
                </a:cubicBezTo>
                <a:close/>
                <a:moveTo>
                  <a:pt x="3897148" y="608038"/>
                </a:moveTo>
                <a:cubicBezTo>
                  <a:pt x="3927630" y="608038"/>
                  <a:pt x="3952340" y="632748"/>
                  <a:pt x="3952340" y="663229"/>
                </a:cubicBezTo>
                <a:cubicBezTo>
                  <a:pt x="3952340" y="693710"/>
                  <a:pt x="3927630" y="718420"/>
                  <a:pt x="3897148" y="718420"/>
                </a:cubicBezTo>
                <a:cubicBezTo>
                  <a:pt x="3866666" y="718420"/>
                  <a:pt x="3841956" y="693710"/>
                  <a:pt x="3841956" y="663229"/>
                </a:cubicBezTo>
                <a:cubicBezTo>
                  <a:pt x="3841956" y="632748"/>
                  <a:pt x="3866666" y="608038"/>
                  <a:pt x="3897148" y="608038"/>
                </a:cubicBezTo>
                <a:close/>
                <a:moveTo>
                  <a:pt x="3763514" y="608038"/>
                </a:moveTo>
                <a:cubicBezTo>
                  <a:pt x="3793996" y="608038"/>
                  <a:pt x="3818706" y="632748"/>
                  <a:pt x="3818706" y="663229"/>
                </a:cubicBezTo>
                <a:cubicBezTo>
                  <a:pt x="3818706" y="693710"/>
                  <a:pt x="3793996" y="718420"/>
                  <a:pt x="3763514" y="718420"/>
                </a:cubicBezTo>
                <a:cubicBezTo>
                  <a:pt x="3733032" y="718420"/>
                  <a:pt x="3708322" y="693710"/>
                  <a:pt x="3708322" y="663229"/>
                </a:cubicBezTo>
                <a:cubicBezTo>
                  <a:pt x="3708322" y="632748"/>
                  <a:pt x="3733032" y="608038"/>
                  <a:pt x="3763514" y="608038"/>
                </a:cubicBezTo>
                <a:close/>
                <a:moveTo>
                  <a:pt x="3633221" y="608038"/>
                </a:moveTo>
                <a:cubicBezTo>
                  <a:pt x="3663703" y="608038"/>
                  <a:pt x="3688413" y="632748"/>
                  <a:pt x="3688413" y="663229"/>
                </a:cubicBezTo>
                <a:cubicBezTo>
                  <a:pt x="3688413" y="693710"/>
                  <a:pt x="3663703" y="718420"/>
                  <a:pt x="3633221" y="718420"/>
                </a:cubicBezTo>
                <a:cubicBezTo>
                  <a:pt x="3602739" y="718420"/>
                  <a:pt x="3578029" y="693710"/>
                  <a:pt x="3578029" y="663229"/>
                </a:cubicBezTo>
                <a:cubicBezTo>
                  <a:pt x="3578029" y="632748"/>
                  <a:pt x="3602739" y="608038"/>
                  <a:pt x="3633221" y="608038"/>
                </a:cubicBezTo>
                <a:close/>
                <a:moveTo>
                  <a:pt x="3499589" y="608038"/>
                </a:moveTo>
                <a:cubicBezTo>
                  <a:pt x="3530071" y="608038"/>
                  <a:pt x="3554781" y="632748"/>
                  <a:pt x="3554781" y="663229"/>
                </a:cubicBezTo>
                <a:cubicBezTo>
                  <a:pt x="3554781" y="693710"/>
                  <a:pt x="3530071" y="718420"/>
                  <a:pt x="3499589" y="718420"/>
                </a:cubicBezTo>
                <a:cubicBezTo>
                  <a:pt x="3469107" y="718420"/>
                  <a:pt x="3444397" y="693710"/>
                  <a:pt x="3444397" y="663229"/>
                </a:cubicBezTo>
                <a:cubicBezTo>
                  <a:pt x="3444397" y="632748"/>
                  <a:pt x="3469107" y="608038"/>
                  <a:pt x="3499589" y="608038"/>
                </a:cubicBezTo>
                <a:close/>
                <a:moveTo>
                  <a:pt x="3369292" y="608038"/>
                </a:moveTo>
                <a:cubicBezTo>
                  <a:pt x="3399774" y="608038"/>
                  <a:pt x="3424484" y="632748"/>
                  <a:pt x="3424484" y="663229"/>
                </a:cubicBezTo>
                <a:cubicBezTo>
                  <a:pt x="3424484" y="693710"/>
                  <a:pt x="3399774" y="718420"/>
                  <a:pt x="3369292" y="718420"/>
                </a:cubicBezTo>
                <a:cubicBezTo>
                  <a:pt x="3338810" y="718420"/>
                  <a:pt x="3314100" y="693710"/>
                  <a:pt x="3314100" y="663229"/>
                </a:cubicBezTo>
                <a:cubicBezTo>
                  <a:pt x="3314100" y="632748"/>
                  <a:pt x="3338810" y="608038"/>
                  <a:pt x="3369292" y="608038"/>
                </a:cubicBezTo>
                <a:close/>
                <a:moveTo>
                  <a:pt x="3235657" y="608038"/>
                </a:moveTo>
                <a:cubicBezTo>
                  <a:pt x="3266139" y="608038"/>
                  <a:pt x="3290849" y="632748"/>
                  <a:pt x="3290849" y="663229"/>
                </a:cubicBezTo>
                <a:cubicBezTo>
                  <a:pt x="3290849" y="693710"/>
                  <a:pt x="3266139" y="718420"/>
                  <a:pt x="3235657" y="718420"/>
                </a:cubicBezTo>
                <a:cubicBezTo>
                  <a:pt x="3205175" y="718420"/>
                  <a:pt x="3180465" y="693710"/>
                  <a:pt x="3180465" y="663229"/>
                </a:cubicBezTo>
                <a:cubicBezTo>
                  <a:pt x="3180465" y="632748"/>
                  <a:pt x="3205175" y="608038"/>
                  <a:pt x="3235657" y="608038"/>
                </a:cubicBezTo>
                <a:close/>
                <a:moveTo>
                  <a:pt x="2570932" y="608038"/>
                </a:moveTo>
                <a:cubicBezTo>
                  <a:pt x="2601414" y="608038"/>
                  <a:pt x="2626123" y="632748"/>
                  <a:pt x="2626123" y="663229"/>
                </a:cubicBezTo>
                <a:cubicBezTo>
                  <a:pt x="2626123" y="693710"/>
                  <a:pt x="2601414" y="718420"/>
                  <a:pt x="2570932" y="718420"/>
                </a:cubicBezTo>
                <a:cubicBezTo>
                  <a:pt x="2540449" y="718420"/>
                  <a:pt x="2515738" y="693710"/>
                  <a:pt x="2515738" y="663229"/>
                </a:cubicBezTo>
                <a:cubicBezTo>
                  <a:pt x="2515738" y="632748"/>
                  <a:pt x="2540449" y="608038"/>
                  <a:pt x="2570932" y="608038"/>
                </a:cubicBezTo>
                <a:close/>
                <a:moveTo>
                  <a:pt x="2437297" y="608038"/>
                </a:moveTo>
                <a:cubicBezTo>
                  <a:pt x="2467779" y="608038"/>
                  <a:pt x="2492487" y="632748"/>
                  <a:pt x="2492487" y="663229"/>
                </a:cubicBezTo>
                <a:cubicBezTo>
                  <a:pt x="2492487" y="693710"/>
                  <a:pt x="2467779" y="718420"/>
                  <a:pt x="2437297" y="718420"/>
                </a:cubicBezTo>
                <a:cubicBezTo>
                  <a:pt x="2406818" y="718420"/>
                  <a:pt x="2382108" y="693710"/>
                  <a:pt x="2382108" y="663229"/>
                </a:cubicBezTo>
                <a:cubicBezTo>
                  <a:pt x="2382108" y="632748"/>
                  <a:pt x="2406818" y="608038"/>
                  <a:pt x="2437297" y="608038"/>
                </a:cubicBezTo>
                <a:close/>
                <a:moveTo>
                  <a:pt x="2303664" y="608038"/>
                </a:moveTo>
                <a:cubicBezTo>
                  <a:pt x="2334145" y="608038"/>
                  <a:pt x="2358856" y="632748"/>
                  <a:pt x="2358856" y="663229"/>
                </a:cubicBezTo>
                <a:cubicBezTo>
                  <a:pt x="2358856" y="693710"/>
                  <a:pt x="2334145" y="718420"/>
                  <a:pt x="2303664" y="718420"/>
                </a:cubicBezTo>
                <a:cubicBezTo>
                  <a:pt x="2273182" y="718420"/>
                  <a:pt x="2248473" y="693710"/>
                  <a:pt x="2248473" y="663229"/>
                </a:cubicBezTo>
                <a:cubicBezTo>
                  <a:pt x="2248473" y="632748"/>
                  <a:pt x="2273182" y="608038"/>
                  <a:pt x="2303664" y="608038"/>
                </a:cubicBezTo>
                <a:close/>
                <a:moveTo>
                  <a:pt x="2173372" y="608038"/>
                </a:moveTo>
                <a:cubicBezTo>
                  <a:pt x="2203854" y="608038"/>
                  <a:pt x="2228565" y="632748"/>
                  <a:pt x="2228565" y="663229"/>
                </a:cubicBezTo>
                <a:cubicBezTo>
                  <a:pt x="2228565" y="693710"/>
                  <a:pt x="2203854" y="718420"/>
                  <a:pt x="2173372" y="718420"/>
                </a:cubicBezTo>
                <a:cubicBezTo>
                  <a:pt x="2142889" y="718420"/>
                  <a:pt x="2118180" y="693710"/>
                  <a:pt x="2118180" y="663229"/>
                </a:cubicBezTo>
                <a:cubicBezTo>
                  <a:pt x="2118180" y="632748"/>
                  <a:pt x="2142889" y="608038"/>
                  <a:pt x="2173372" y="608038"/>
                </a:cubicBezTo>
                <a:close/>
                <a:moveTo>
                  <a:pt x="2039736" y="608038"/>
                </a:moveTo>
                <a:cubicBezTo>
                  <a:pt x="2070218" y="608038"/>
                  <a:pt x="2094930" y="632748"/>
                  <a:pt x="2094930" y="663229"/>
                </a:cubicBezTo>
                <a:cubicBezTo>
                  <a:pt x="2094930" y="693710"/>
                  <a:pt x="2070218" y="718420"/>
                  <a:pt x="2039736" y="718420"/>
                </a:cubicBezTo>
                <a:cubicBezTo>
                  <a:pt x="2009254" y="718420"/>
                  <a:pt x="1984543" y="693710"/>
                  <a:pt x="1984543" y="663229"/>
                </a:cubicBezTo>
                <a:cubicBezTo>
                  <a:pt x="1984543" y="632748"/>
                  <a:pt x="2009254" y="608038"/>
                  <a:pt x="2039736" y="608038"/>
                </a:cubicBezTo>
                <a:close/>
                <a:moveTo>
                  <a:pt x="1909437" y="608038"/>
                </a:moveTo>
                <a:cubicBezTo>
                  <a:pt x="1939921" y="608038"/>
                  <a:pt x="1964630" y="632748"/>
                  <a:pt x="1964630" y="663229"/>
                </a:cubicBezTo>
                <a:cubicBezTo>
                  <a:pt x="1964630" y="693710"/>
                  <a:pt x="1939921" y="718420"/>
                  <a:pt x="1909437" y="718420"/>
                </a:cubicBezTo>
                <a:cubicBezTo>
                  <a:pt x="1878955" y="718420"/>
                  <a:pt x="1854244" y="693710"/>
                  <a:pt x="1854244" y="663229"/>
                </a:cubicBezTo>
                <a:cubicBezTo>
                  <a:pt x="1854244" y="632748"/>
                  <a:pt x="1878955" y="608038"/>
                  <a:pt x="1909437" y="608038"/>
                </a:cubicBezTo>
                <a:close/>
                <a:moveTo>
                  <a:pt x="1779142" y="608038"/>
                </a:moveTo>
                <a:cubicBezTo>
                  <a:pt x="1809626" y="608038"/>
                  <a:pt x="1834335" y="632748"/>
                  <a:pt x="1834335" y="663229"/>
                </a:cubicBezTo>
                <a:cubicBezTo>
                  <a:pt x="1834335" y="693710"/>
                  <a:pt x="1809626" y="718420"/>
                  <a:pt x="1779142" y="718420"/>
                </a:cubicBezTo>
                <a:cubicBezTo>
                  <a:pt x="1748663" y="718420"/>
                  <a:pt x="1723950" y="693710"/>
                  <a:pt x="1723950" y="663229"/>
                </a:cubicBezTo>
                <a:cubicBezTo>
                  <a:pt x="1723950" y="632748"/>
                  <a:pt x="1748663" y="608038"/>
                  <a:pt x="1779142" y="608038"/>
                </a:cubicBezTo>
                <a:close/>
                <a:moveTo>
                  <a:pt x="1645508" y="608038"/>
                </a:moveTo>
                <a:cubicBezTo>
                  <a:pt x="1675988" y="608038"/>
                  <a:pt x="1700702" y="632748"/>
                  <a:pt x="1700702" y="663229"/>
                </a:cubicBezTo>
                <a:cubicBezTo>
                  <a:pt x="1700702" y="693710"/>
                  <a:pt x="1675988" y="718420"/>
                  <a:pt x="1645508" y="718420"/>
                </a:cubicBezTo>
                <a:cubicBezTo>
                  <a:pt x="1615024" y="718420"/>
                  <a:pt x="1590311" y="693710"/>
                  <a:pt x="1590311" y="663229"/>
                </a:cubicBezTo>
                <a:cubicBezTo>
                  <a:pt x="1590311" y="632748"/>
                  <a:pt x="1615024" y="608038"/>
                  <a:pt x="1645508" y="608038"/>
                </a:cubicBezTo>
                <a:close/>
                <a:moveTo>
                  <a:pt x="1515217" y="608038"/>
                </a:moveTo>
                <a:cubicBezTo>
                  <a:pt x="1545695" y="608038"/>
                  <a:pt x="1570402" y="632748"/>
                  <a:pt x="1570402" y="663229"/>
                </a:cubicBezTo>
                <a:cubicBezTo>
                  <a:pt x="1570402" y="693710"/>
                  <a:pt x="1545695" y="718420"/>
                  <a:pt x="1515217" y="718420"/>
                </a:cubicBezTo>
                <a:cubicBezTo>
                  <a:pt x="1484732" y="718420"/>
                  <a:pt x="1460020" y="693710"/>
                  <a:pt x="1460020" y="663229"/>
                </a:cubicBezTo>
                <a:cubicBezTo>
                  <a:pt x="1460020" y="632748"/>
                  <a:pt x="1484732" y="608038"/>
                  <a:pt x="1515217" y="608038"/>
                </a:cubicBezTo>
                <a:close/>
                <a:moveTo>
                  <a:pt x="1381573" y="608038"/>
                </a:moveTo>
                <a:cubicBezTo>
                  <a:pt x="1412057" y="608038"/>
                  <a:pt x="1436767" y="632748"/>
                  <a:pt x="1436767" y="663229"/>
                </a:cubicBezTo>
                <a:cubicBezTo>
                  <a:pt x="1436767" y="693710"/>
                  <a:pt x="1412057" y="718420"/>
                  <a:pt x="1381573" y="718420"/>
                </a:cubicBezTo>
                <a:cubicBezTo>
                  <a:pt x="1351097" y="718420"/>
                  <a:pt x="1326384" y="693710"/>
                  <a:pt x="1326384" y="663229"/>
                </a:cubicBezTo>
                <a:cubicBezTo>
                  <a:pt x="1326384" y="632748"/>
                  <a:pt x="1351097" y="608038"/>
                  <a:pt x="1381573" y="608038"/>
                </a:cubicBezTo>
                <a:close/>
                <a:moveTo>
                  <a:pt x="1251282" y="608038"/>
                </a:moveTo>
                <a:cubicBezTo>
                  <a:pt x="1281766" y="608038"/>
                  <a:pt x="1306476" y="632748"/>
                  <a:pt x="1306476" y="663229"/>
                </a:cubicBezTo>
                <a:cubicBezTo>
                  <a:pt x="1306476" y="693710"/>
                  <a:pt x="1281766" y="718420"/>
                  <a:pt x="1251282" y="718420"/>
                </a:cubicBezTo>
                <a:cubicBezTo>
                  <a:pt x="1220801" y="718420"/>
                  <a:pt x="1196089" y="693710"/>
                  <a:pt x="1196089" y="663229"/>
                </a:cubicBezTo>
                <a:cubicBezTo>
                  <a:pt x="1196089" y="632748"/>
                  <a:pt x="1220801" y="608038"/>
                  <a:pt x="1251282" y="608038"/>
                </a:cubicBezTo>
                <a:close/>
                <a:moveTo>
                  <a:pt x="8143386" y="494447"/>
                </a:moveTo>
                <a:cubicBezTo>
                  <a:pt x="8173868" y="494447"/>
                  <a:pt x="8198578" y="519157"/>
                  <a:pt x="8198578" y="549638"/>
                </a:cubicBezTo>
                <a:cubicBezTo>
                  <a:pt x="8198578" y="580119"/>
                  <a:pt x="8173868" y="604829"/>
                  <a:pt x="8143386" y="604829"/>
                </a:cubicBezTo>
                <a:cubicBezTo>
                  <a:pt x="8112904" y="604829"/>
                  <a:pt x="8088194" y="580119"/>
                  <a:pt x="8088194" y="549638"/>
                </a:cubicBezTo>
                <a:cubicBezTo>
                  <a:pt x="8088194" y="519157"/>
                  <a:pt x="8112904" y="494447"/>
                  <a:pt x="8143386" y="494447"/>
                </a:cubicBezTo>
                <a:close/>
                <a:moveTo>
                  <a:pt x="8009753" y="494447"/>
                </a:moveTo>
                <a:cubicBezTo>
                  <a:pt x="8040235" y="494447"/>
                  <a:pt x="8064945" y="519157"/>
                  <a:pt x="8064945" y="549638"/>
                </a:cubicBezTo>
                <a:cubicBezTo>
                  <a:pt x="8064945" y="580119"/>
                  <a:pt x="8040235" y="604829"/>
                  <a:pt x="8009753" y="604829"/>
                </a:cubicBezTo>
                <a:cubicBezTo>
                  <a:pt x="7979271" y="604829"/>
                  <a:pt x="7954561" y="580119"/>
                  <a:pt x="7954561" y="549638"/>
                </a:cubicBezTo>
                <a:cubicBezTo>
                  <a:pt x="7954561" y="519157"/>
                  <a:pt x="7979271" y="494447"/>
                  <a:pt x="8009753" y="494447"/>
                </a:cubicBezTo>
                <a:close/>
                <a:moveTo>
                  <a:pt x="7876118" y="494447"/>
                </a:moveTo>
                <a:cubicBezTo>
                  <a:pt x="7906600" y="494447"/>
                  <a:pt x="7931310" y="519157"/>
                  <a:pt x="7931310" y="549638"/>
                </a:cubicBezTo>
                <a:cubicBezTo>
                  <a:pt x="7931310" y="580119"/>
                  <a:pt x="7906600" y="604829"/>
                  <a:pt x="7876118" y="604829"/>
                </a:cubicBezTo>
                <a:cubicBezTo>
                  <a:pt x="7845636" y="604829"/>
                  <a:pt x="7820926" y="580119"/>
                  <a:pt x="7820926" y="549638"/>
                </a:cubicBezTo>
                <a:cubicBezTo>
                  <a:pt x="7820926" y="519157"/>
                  <a:pt x="7845636" y="494447"/>
                  <a:pt x="7876118" y="494447"/>
                </a:cubicBezTo>
                <a:close/>
                <a:moveTo>
                  <a:pt x="7745824" y="494447"/>
                </a:moveTo>
                <a:cubicBezTo>
                  <a:pt x="7776306" y="494447"/>
                  <a:pt x="7801016" y="519157"/>
                  <a:pt x="7801016" y="549638"/>
                </a:cubicBezTo>
                <a:cubicBezTo>
                  <a:pt x="7801016" y="580119"/>
                  <a:pt x="7776306" y="604829"/>
                  <a:pt x="7745824" y="604829"/>
                </a:cubicBezTo>
                <a:cubicBezTo>
                  <a:pt x="7715342" y="604829"/>
                  <a:pt x="7690632" y="580119"/>
                  <a:pt x="7690632" y="549638"/>
                </a:cubicBezTo>
                <a:cubicBezTo>
                  <a:pt x="7690632" y="519157"/>
                  <a:pt x="7715342" y="494447"/>
                  <a:pt x="7745824" y="494447"/>
                </a:cubicBezTo>
                <a:close/>
                <a:moveTo>
                  <a:pt x="7608850" y="494447"/>
                </a:moveTo>
                <a:cubicBezTo>
                  <a:pt x="7639332" y="494447"/>
                  <a:pt x="7664042" y="519157"/>
                  <a:pt x="7664042" y="549638"/>
                </a:cubicBezTo>
                <a:cubicBezTo>
                  <a:pt x="7664042" y="580119"/>
                  <a:pt x="7639332" y="604829"/>
                  <a:pt x="7608850" y="604829"/>
                </a:cubicBezTo>
                <a:cubicBezTo>
                  <a:pt x="7578368" y="604829"/>
                  <a:pt x="7553658" y="580119"/>
                  <a:pt x="7553658" y="549638"/>
                </a:cubicBezTo>
                <a:cubicBezTo>
                  <a:pt x="7553658" y="519157"/>
                  <a:pt x="7578368" y="494447"/>
                  <a:pt x="7608850" y="494447"/>
                </a:cubicBezTo>
                <a:close/>
                <a:moveTo>
                  <a:pt x="7481895" y="494447"/>
                </a:moveTo>
                <a:cubicBezTo>
                  <a:pt x="7512377" y="494447"/>
                  <a:pt x="7537087" y="519157"/>
                  <a:pt x="7537087" y="549638"/>
                </a:cubicBezTo>
                <a:cubicBezTo>
                  <a:pt x="7537087" y="580119"/>
                  <a:pt x="7512377" y="604829"/>
                  <a:pt x="7481895" y="604829"/>
                </a:cubicBezTo>
                <a:cubicBezTo>
                  <a:pt x="7451413" y="604829"/>
                  <a:pt x="7426703" y="580119"/>
                  <a:pt x="7426703" y="549638"/>
                </a:cubicBezTo>
                <a:cubicBezTo>
                  <a:pt x="7426703" y="519157"/>
                  <a:pt x="7451413" y="494447"/>
                  <a:pt x="7481895" y="494447"/>
                </a:cubicBezTo>
                <a:close/>
                <a:moveTo>
                  <a:pt x="7341580" y="494447"/>
                </a:moveTo>
                <a:cubicBezTo>
                  <a:pt x="7372062" y="494447"/>
                  <a:pt x="7396772" y="519157"/>
                  <a:pt x="7396772" y="549638"/>
                </a:cubicBezTo>
                <a:cubicBezTo>
                  <a:pt x="7396772" y="580119"/>
                  <a:pt x="7372062" y="604829"/>
                  <a:pt x="7341580" y="604829"/>
                </a:cubicBezTo>
                <a:cubicBezTo>
                  <a:pt x="7311098" y="604829"/>
                  <a:pt x="7286388" y="580119"/>
                  <a:pt x="7286388" y="549638"/>
                </a:cubicBezTo>
                <a:cubicBezTo>
                  <a:pt x="7286388" y="519157"/>
                  <a:pt x="7311098" y="494447"/>
                  <a:pt x="7341580" y="494447"/>
                </a:cubicBezTo>
                <a:close/>
                <a:moveTo>
                  <a:pt x="7211286" y="494447"/>
                </a:moveTo>
                <a:cubicBezTo>
                  <a:pt x="7241768" y="494447"/>
                  <a:pt x="7266478" y="519157"/>
                  <a:pt x="7266478" y="549638"/>
                </a:cubicBezTo>
                <a:cubicBezTo>
                  <a:pt x="7266478" y="580119"/>
                  <a:pt x="7241768" y="604829"/>
                  <a:pt x="7211286" y="604829"/>
                </a:cubicBezTo>
                <a:cubicBezTo>
                  <a:pt x="7180804" y="604829"/>
                  <a:pt x="7156094" y="580119"/>
                  <a:pt x="7156094" y="549638"/>
                </a:cubicBezTo>
                <a:cubicBezTo>
                  <a:pt x="7156094" y="519157"/>
                  <a:pt x="7180804" y="494447"/>
                  <a:pt x="7211286" y="494447"/>
                </a:cubicBezTo>
                <a:close/>
                <a:moveTo>
                  <a:pt x="7080994" y="494447"/>
                </a:moveTo>
                <a:cubicBezTo>
                  <a:pt x="7111476" y="494447"/>
                  <a:pt x="7136186" y="519157"/>
                  <a:pt x="7136186" y="549638"/>
                </a:cubicBezTo>
                <a:cubicBezTo>
                  <a:pt x="7136186" y="580119"/>
                  <a:pt x="7111476" y="604829"/>
                  <a:pt x="7080994" y="604829"/>
                </a:cubicBezTo>
                <a:cubicBezTo>
                  <a:pt x="7050512" y="604829"/>
                  <a:pt x="7025802" y="580119"/>
                  <a:pt x="7025802" y="549638"/>
                </a:cubicBezTo>
                <a:cubicBezTo>
                  <a:pt x="7025802" y="519157"/>
                  <a:pt x="7050512" y="494447"/>
                  <a:pt x="7080994" y="494447"/>
                </a:cubicBezTo>
                <a:close/>
                <a:moveTo>
                  <a:pt x="6947358" y="494447"/>
                </a:moveTo>
                <a:cubicBezTo>
                  <a:pt x="6977840" y="494447"/>
                  <a:pt x="7002550" y="519157"/>
                  <a:pt x="7002550" y="549638"/>
                </a:cubicBezTo>
                <a:cubicBezTo>
                  <a:pt x="7002550" y="580119"/>
                  <a:pt x="6977840" y="604829"/>
                  <a:pt x="6947358" y="604829"/>
                </a:cubicBezTo>
                <a:cubicBezTo>
                  <a:pt x="6916876" y="604829"/>
                  <a:pt x="6892166" y="580119"/>
                  <a:pt x="6892166" y="549638"/>
                </a:cubicBezTo>
                <a:cubicBezTo>
                  <a:pt x="6892166" y="519157"/>
                  <a:pt x="6916876" y="494447"/>
                  <a:pt x="6947358" y="494447"/>
                </a:cubicBezTo>
                <a:close/>
                <a:moveTo>
                  <a:pt x="6289207" y="494447"/>
                </a:moveTo>
                <a:cubicBezTo>
                  <a:pt x="6319689" y="494447"/>
                  <a:pt x="6344399" y="519157"/>
                  <a:pt x="6344399" y="549638"/>
                </a:cubicBezTo>
                <a:cubicBezTo>
                  <a:pt x="6344399" y="580119"/>
                  <a:pt x="6319689" y="604829"/>
                  <a:pt x="6289207" y="604829"/>
                </a:cubicBezTo>
                <a:cubicBezTo>
                  <a:pt x="6258725" y="604829"/>
                  <a:pt x="6234015" y="580119"/>
                  <a:pt x="6234015" y="549638"/>
                </a:cubicBezTo>
                <a:cubicBezTo>
                  <a:pt x="6234015" y="519157"/>
                  <a:pt x="6258725" y="494447"/>
                  <a:pt x="6289207" y="494447"/>
                </a:cubicBezTo>
                <a:close/>
                <a:moveTo>
                  <a:pt x="4030786" y="494447"/>
                </a:moveTo>
                <a:cubicBezTo>
                  <a:pt x="4061268" y="494447"/>
                  <a:pt x="4085978" y="519157"/>
                  <a:pt x="4085978" y="549638"/>
                </a:cubicBezTo>
                <a:cubicBezTo>
                  <a:pt x="4085978" y="580119"/>
                  <a:pt x="4061268" y="604829"/>
                  <a:pt x="4030786" y="604829"/>
                </a:cubicBezTo>
                <a:cubicBezTo>
                  <a:pt x="4000304" y="604829"/>
                  <a:pt x="3975594" y="580119"/>
                  <a:pt x="3975594" y="549638"/>
                </a:cubicBezTo>
                <a:cubicBezTo>
                  <a:pt x="3975594" y="519157"/>
                  <a:pt x="4000304" y="494447"/>
                  <a:pt x="4030786" y="494447"/>
                </a:cubicBezTo>
                <a:close/>
                <a:moveTo>
                  <a:pt x="3897148" y="494447"/>
                </a:moveTo>
                <a:cubicBezTo>
                  <a:pt x="3927630" y="494447"/>
                  <a:pt x="3952340" y="519157"/>
                  <a:pt x="3952340" y="549638"/>
                </a:cubicBezTo>
                <a:cubicBezTo>
                  <a:pt x="3952340" y="580119"/>
                  <a:pt x="3927630" y="604829"/>
                  <a:pt x="3897148" y="604829"/>
                </a:cubicBezTo>
                <a:cubicBezTo>
                  <a:pt x="3866666" y="604829"/>
                  <a:pt x="3841956" y="580119"/>
                  <a:pt x="3841956" y="549638"/>
                </a:cubicBezTo>
                <a:cubicBezTo>
                  <a:pt x="3841956" y="519157"/>
                  <a:pt x="3866666" y="494447"/>
                  <a:pt x="3897148" y="494447"/>
                </a:cubicBezTo>
                <a:close/>
                <a:moveTo>
                  <a:pt x="3763514" y="494447"/>
                </a:moveTo>
                <a:cubicBezTo>
                  <a:pt x="3793996" y="494447"/>
                  <a:pt x="3818706" y="519157"/>
                  <a:pt x="3818706" y="549638"/>
                </a:cubicBezTo>
                <a:cubicBezTo>
                  <a:pt x="3818706" y="580119"/>
                  <a:pt x="3793996" y="604829"/>
                  <a:pt x="3763514" y="604829"/>
                </a:cubicBezTo>
                <a:cubicBezTo>
                  <a:pt x="3733032" y="604829"/>
                  <a:pt x="3708322" y="580119"/>
                  <a:pt x="3708322" y="549638"/>
                </a:cubicBezTo>
                <a:cubicBezTo>
                  <a:pt x="3708322" y="519157"/>
                  <a:pt x="3733032" y="494447"/>
                  <a:pt x="3763514" y="494447"/>
                </a:cubicBezTo>
                <a:close/>
                <a:moveTo>
                  <a:pt x="3633221" y="494447"/>
                </a:moveTo>
                <a:cubicBezTo>
                  <a:pt x="3663703" y="494447"/>
                  <a:pt x="3688413" y="519157"/>
                  <a:pt x="3688413" y="549638"/>
                </a:cubicBezTo>
                <a:cubicBezTo>
                  <a:pt x="3688413" y="580119"/>
                  <a:pt x="3663703" y="604829"/>
                  <a:pt x="3633221" y="604829"/>
                </a:cubicBezTo>
                <a:cubicBezTo>
                  <a:pt x="3602739" y="604829"/>
                  <a:pt x="3578029" y="580119"/>
                  <a:pt x="3578029" y="549638"/>
                </a:cubicBezTo>
                <a:cubicBezTo>
                  <a:pt x="3578029" y="519157"/>
                  <a:pt x="3602739" y="494447"/>
                  <a:pt x="3633221" y="494447"/>
                </a:cubicBezTo>
                <a:close/>
                <a:moveTo>
                  <a:pt x="3499589" y="494447"/>
                </a:moveTo>
                <a:cubicBezTo>
                  <a:pt x="3530071" y="494447"/>
                  <a:pt x="3554781" y="519157"/>
                  <a:pt x="3554781" y="549638"/>
                </a:cubicBezTo>
                <a:cubicBezTo>
                  <a:pt x="3554781" y="580119"/>
                  <a:pt x="3530071" y="604829"/>
                  <a:pt x="3499589" y="604829"/>
                </a:cubicBezTo>
                <a:cubicBezTo>
                  <a:pt x="3469107" y="604829"/>
                  <a:pt x="3444397" y="580119"/>
                  <a:pt x="3444397" y="549638"/>
                </a:cubicBezTo>
                <a:cubicBezTo>
                  <a:pt x="3444397" y="519157"/>
                  <a:pt x="3469107" y="494447"/>
                  <a:pt x="3499589" y="494447"/>
                </a:cubicBezTo>
                <a:close/>
                <a:moveTo>
                  <a:pt x="3369292" y="494447"/>
                </a:moveTo>
                <a:cubicBezTo>
                  <a:pt x="3399774" y="494447"/>
                  <a:pt x="3424484" y="519157"/>
                  <a:pt x="3424484" y="549638"/>
                </a:cubicBezTo>
                <a:cubicBezTo>
                  <a:pt x="3424484" y="580119"/>
                  <a:pt x="3399774" y="604829"/>
                  <a:pt x="3369292" y="604829"/>
                </a:cubicBezTo>
                <a:cubicBezTo>
                  <a:pt x="3338810" y="604829"/>
                  <a:pt x="3314100" y="580119"/>
                  <a:pt x="3314100" y="549638"/>
                </a:cubicBezTo>
                <a:cubicBezTo>
                  <a:pt x="3314100" y="519157"/>
                  <a:pt x="3338810" y="494447"/>
                  <a:pt x="3369292" y="494447"/>
                </a:cubicBezTo>
                <a:close/>
                <a:moveTo>
                  <a:pt x="3235657" y="494447"/>
                </a:moveTo>
                <a:cubicBezTo>
                  <a:pt x="3266139" y="494447"/>
                  <a:pt x="3290849" y="519157"/>
                  <a:pt x="3290849" y="549638"/>
                </a:cubicBezTo>
                <a:cubicBezTo>
                  <a:pt x="3290849" y="580119"/>
                  <a:pt x="3266139" y="604829"/>
                  <a:pt x="3235657" y="604829"/>
                </a:cubicBezTo>
                <a:cubicBezTo>
                  <a:pt x="3205175" y="604829"/>
                  <a:pt x="3180465" y="580119"/>
                  <a:pt x="3180465" y="549638"/>
                </a:cubicBezTo>
                <a:cubicBezTo>
                  <a:pt x="3180465" y="519157"/>
                  <a:pt x="3205175" y="494447"/>
                  <a:pt x="3235657" y="494447"/>
                </a:cubicBezTo>
                <a:close/>
                <a:moveTo>
                  <a:pt x="2437297" y="494447"/>
                </a:moveTo>
                <a:cubicBezTo>
                  <a:pt x="2467779" y="494447"/>
                  <a:pt x="2492487" y="519157"/>
                  <a:pt x="2492487" y="549638"/>
                </a:cubicBezTo>
                <a:cubicBezTo>
                  <a:pt x="2492487" y="580119"/>
                  <a:pt x="2467779" y="604829"/>
                  <a:pt x="2437297" y="604829"/>
                </a:cubicBezTo>
                <a:cubicBezTo>
                  <a:pt x="2406818" y="604829"/>
                  <a:pt x="2382108" y="580119"/>
                  <a:pt x="2382108" y="549638"/>
                </a:cubicBezTo>
                <a:cubicBezTo>
                  <a:pt x="2382108" y="519157"/>
                  <a:pt x="2406818" y="494447"/>
                  <a:pt x="2437297" y="494447"/>
                </a:cubicBezTo>
                <a:close/>
                <a:moveTo>
                  <a:pt x="2303664" y="494447"/>
                </a:moveTo>
                <a:cubicBezTo>
                  <a:pt x="2334145" y="494447"/>
                  <a:pt x="2358856" y="519157"/>
                  <a:pt x="2358856" y="549638"/>
                </a:cubicBezTo>
                <a:cubicBezTo>
                  <a:pt x="2358856" y="580119"/>
                  <a:pt x="2334145" y="604829"/>
                  <a:pt x="2303664" y="604829"/>
                </a:cubicBezTo>
                <a:cubicBezTo>
                  <a:pt x="2273182" y="604829"/>
                  <a:pt x="2248473" y="580119"/>
                  <a:pt x="2248473" y="549638"/>
                </a:cubicBezTo>
                <a:cubicBezTo>
                  <a:pt x="2248473" y="519157"/>
                  <a:pt x="2273182" y="494447"/>
                  <a:pt x="2303664" y="494447"/>
                </a:cubicBezTo>
                <a:close/>
                <a:moveTo>
                  <a:pt x="2173372" y="494447"/>
                </a:moveTo>
                <a:cubicBezTo>
                  <a:pt x="2203854" y="494447"/>
                  <a:pt x="2228565" y="519157"/>
                  <a:pt x="2228565" y="549638"/>
                </a:cubicBezTo>
                <a:cubicBezTo>
                  <a:pt x="2228565" y="580119"/>
                  <a:pt x="2203854" y="604829"/>
                  <a:pt x="2173372" y="604829"/>
                </a:cubicBezTo>
                <a:cubicBezTo>
                  <a:pt x="2142889" y="604829"/>
                  <a:pt x="2118180" y="580119"/>
                  <a:pt x="2118180" y="549638"/>
                </a:cubicBezTo>
                <a:cubicBezTo>
                  <a:pt x="2118180" y="519157"/>
                  <a:pt x="2142889" y="494447"/>
                  <a:pt x="2173372" y="494447"/>
                </a:cubicBezTo>
                <a:close/>
                <a:moveTo>
                  <a:pt x="2039736" y="494447"/>
                </a:moveTo>
                <a:cubicBezTo>
                  <a:pt x="2070218" y="494447"/>
                  <a:pt x="2094930" y="519157"/>
                  <a:pt x="2094930" y="549638"/>
                </a:cubicBezTo>
                <a:cubicBezTo>
                  <a:pt x="2094930" y="580119"/>
                  <a:pt x="2070218" y="604829"/>
                  <a:pt x="2039736" y="604829"/>
                </a:cubicBezTo>
                <a:cubicBezTo>
                  <a:pt x="2009254" y="604829"/>
                  <a:pt x="1984543" y="580119"/>
                  <a:pt x="1984543" y="549638"/>
                </a:cubicBezTo>
                <a:cubicBezTo>
                  <a:pt x="1984543" y="519157"/>
                  <a:pt x="2009254" y="494447"/>
                  <a:pt x="2039736" y="494447"/>
                </a:cubicBezTo>
                <a:close/>
                <a:moveTo>
                  <a:pt x="1909437" y="494447"/>
                </a:moveTo>
                <a:cubicBezTo>
                  <a:pt x="1939921" y="494447"/>
                  <a:pt x="1964630" y="519157"/>
                  <a:pt x="1964630" y="549638"/>
                </a:cubicBezTo>
                <a:cubicBezTo>
                  <a:pt x="1964630" y="580119"/>
                  <a:pt x="1939921" y="604829"/>
                  <a:pt x="1909437" y="604829"/>
                </a:cubicBezTo>
                <a:cubicBezTo>
                  <a:pt x="1878955" y="604829"/>
                  <a:pt x="1854244" y="580119"/>
                  <a:pt x="1854244" y="549638"/>
                </a:cubicBezTo>
                <a:cubicBezTo>
                  <a:pt x="1854244" y="519157"/>
                  <a:pt x="1878955" y="494447"/>
                  <a:pt x="1909437" y="494447"/>
                </a:cubicBezTo>
                <a:close/>
                <a:moveTo>
                  <a:pt x="1779142" y="494447"/>
                </a:moveTo>
                <a:cubicBezTo>
                  <a:pt x="1809626" y="494447"/>
                  <a:pt x="1834335" y="519157"/>
                  <a:pt x="1834335" y="549638"/>
                </a:cubicBezTo>
                <a:cubicBezTo>
                  <a:pt x="1834335" y="580119"/>
                  <a:pt x="1809626" y="604829"/>
                  <a:pt x="1779142" y="604829"/>
                </a:cubicBezTo>
                <a:cubicBezTo>
                  <a:pt x="1748663" y="604829"/>
                  <a:pt x="1723950" y="580119"/>
                  <a:pt x="1723950" y="549638"/>
                </a:cubicBezTo>
                <a:cubicBezTo>
                  <a:pt x="1723950" y="519157"/>
                  <a:pt x="1748663" y="494447"/>
                  <a:pt x="1779142" y="494447"/>
                </a:cubicBezTo>
                <a:close/>
                <a:moveTo>
                  <a:pt x="1645508" y="494447"/>
                </a:moveTo>
                <a:cubicBezTo>
                  <a:pt x="1675988" y="494447"/>
                  <a:pt x="1700702" y="519157"/>
                  <a:pt x="1700702" y="549638"/>
                </a:cubicBezTo>
                <a:cubicBezTo>
                  <a:pt x="1700702" y="580119"/>
                  <a:pt x="1675988" y="604829"/>
                  <a:pt x="1645508" y="604829"/>
                </a:cubicBezTo>
                <a:cubicBezTo>
                  <a:pt x="1615024" y="604829"/>
                  <a:pt x="1590311" y="580119"/>
                  <a:pt x="1590311" y="549638"/>
                </a:cubicBezTo>
                <a:cubicBezTo>
                  <a:pt x="1590311" y="519157"/>
                  <a:pt x="1615024" y="494447"/>
                  <a:pt x="1645508" y="494447"/>
                </a:cubicBezTo>
                <a:close/>
                <a:moveTo>
                  <a:pt x="1515217" y="494447"/>
                </a:moveTo>
                <a:cubicBezTo>
                  <a:pt x="1545695" y="494447"/>
                  <a:pt x="1570402" y="519157"/>
                  <a:pt x="1570402" y="549638"/>
                </a:cubicBezTo>
                <a:cubicBezTo>
                  <a:pt x="1570402" y="580119"/>
                  <a:pt x="1545695" y="604829"/>
                  <a:pt x="1515217" y="604829"/>
                </a:cubicBezTo>
                <a:cubicBezTo>
                  <a:pt x="1484732" y="604829"/>
                  <a:pt x="1460020" y="580119"/>
                  <a:pt x="1460020" y="549638"/>
                </a:cubicBezTo>
                <a:cubicBezTo>
                  <a:pt x="1460020" y="519157"/>
                  <a:pt x="1484732" y="494447"/>
                  <a:pt x="1515217" y="494447"/>
                </a:cubicBezTo>
                <a:close/>
                <a:moveTo>
                  <a:pt x="1381573" y="494447"/>
                </a:moveTo>
                <a:cubicBezTo>
                  <a:pt x="1412057" y="494447"/>
                  <a:pt x="1436767" y="519157"/>
                  <a:pt x="1436767" y="549638"/>
                </a:cubicBezTo>
                <a:cubicBezTo>
                  <a:pt x="1436767" y="580119"/>
                  <a:pt x="1412057" y="604829"/>
                  <a:pt x="1381573" y="604829"/>
                </a:cubicBezTo>
                <a:cubicBezTo>
                  <a:pt x="1351097" y="604829"/>
                  <a:pt x="1326384" y="580119"/>
                  <a:pt x="1326384" y="549638"/>
                </a:cubicBezTo>
                <a:cubicBezTo>
                  <a:pt x="1326384" y="519157"/>
                  <a:pt x="1351097" y="494447"/>
                  <a:pt x="1381573" y="494447"/>
                </a:cubicBezTo>
                <a:close/>
                <a:moveTo>
                  <a:pt x="1251282" y="494447"/>
                </a:moveTo>
                <a:cubicBezTo>
                  <a:pt x="1281766" y="494447"/>
                  <a:pt x="1306476" y="519157"/>
                  <a:pt x="1306476" y="549638"/>
                </a:cubicBezTo>
                <a:cubicBezTo>
                  <a:pt x="1306476" y="580119"/>
                  <a:pt x="1281766" y="604829"/>
                  <a:pt x="1251282" y="604829"/>
                </a:cubicBezTo>
                <a:cubicBezTo>
                  <a:pt x="1220801" y="604829"/>
                  <a:pt x="1196089" y="580119"/>
                  <a:pt x="1196089" y="549638"/>
                </a:cubicBezTo>
                <a:cubicBezTo>
                  <a:pt x="1196089" y="519157"/>
                  <a:pt x="1220801" y="494447"/>
                  <a:pt x="1251282" y="494447"/>
                </a:cubicBezTo>
                <a:close/>
                <a:moveTo>
                  <a:pt x="8801538" y="364154"/>
                </a:moveTo>
                <a:cubicBezTo>
                  <a:pt x="8832020" y="364154"/>
                  <a:pt x="8856730" y="388864"/>
                  <a:pt x="8856730" y="419345"/>
                </a:cubicBezTo>
                <a:cubicBezTo>
                  <a:pt x="8856730" y="449826"/>
                  <a:pt x="8832020" y="474536"/>
                  <a:pt x="8801538" y="474536"/>
                </a:cubicBezTo>
                <a:cubicBezTo>
                  <a:pt x="8771056" y="474536"/>
                  <a:pt x="8746346" y="449826"/>
                  <a:pt x="8746346" y="419345"/>
                </a:cubicBezTo>
                <a:cubicBezTo>
                  <a:pt x="8746346" y="388864"/>
                  <a:pt x="8771056" y="364154"/>
                  <a:pt x="8801538" y="364154"/>
                </a:cubicBezTo>
                <a:close/>
                <a:moveTo>
                  <a:pt x="8671244" y="364154"/>
                </a:moveTo>
                <a:cubicBezTo>
                  <a:pt x="8701726" y="364154"/>
                  <a:pt x="8726436" y="388864"/>
                  <a:pt x="8726436" y="419345"/>
                </a:cubicBezTo>
                <a:cubicBezTo>
                  <a:pt x="8726436" y="449826"/>
                  <a:pt x="8701726" y="474536"/>
                  <a:pt x="8671244" y="474536"/>
                </a:cubicBezTo>
                <a:cubicBezTo>
                  <a:pt x="8640762" y="474536"/>
                  <a:pt x="8616052" y="449826"/>
                  <a:pt x="8616052" y="419345"/>
                </a:cubicBezTo>
                <a:cubicBezTo>
                  <a:pt x="8616052" y="388864"/>
                  <a:pt x="8640762" y="364154"/>
                  <a:pt x="8671244" y="364154"/>
                </a:cubicBezTo>
                <a:close/>
                <a:moveTo>
                  <a:pt x="8537609" y="364154"/>
                </a:moveTo>
                <a:cubicBezTo>
                  <a:pt x="8568091" y="364154"/>
                  <a:pt x="8592801" y="388864"/>
                  <a:pt x="8592801" y="419345"/>
                </a:cubicBezTo>
                <a:cubicBezTo>
                  <a:pt x="8592801" y="449826"/>
                  <a:pt x="8568091" y="474536"/>
                  <a:pt x="8537609" y="474536"/>
                </a:cubicBezTo>
                <a:cubicBezTo>
                  <a:pt x="8507127" y="474536"/>
                  <a:pt x="8482417" y="449826"/>
                  <a:pt x="8482417" y="419345"/>
                </a:cubicBezTo>
                <a:cubicBezTo>
                  <a:pt x="8482417" y="388864"/>
                  <a:pt x="8507127" y="364154"/>
                  <a:pt x="8537609" y="364154"/>
                </a:cubicBezTo>
                <a:close/>
                <a:moveTo>
                  <a:pt x="7745824" y="364154"/>
                </a:moveTo>
                <a:cubicBezTo>
                  <a:pt x="7776306" y="364154"/>
                  <a:pt x="7801016" y="388864"/>
                  <a:pt x="7801016" y="419345"/>
                </a:cubicBezTo>
                <a:cubicBezTo>
                  <a:pt x="7801016" y="449826"/>
                  <a:pt x="7776306" y="474536"/>
                  <a:pt x="7745824" y="474536"/>
                </a:cubicBezTo>
                <a:cubicBezTo>
                  <a:pt x="7715342" y="474536"/>
                  <a:pt x="7690632" y="449826"/>
                  <a:pt x="7690632" y="419345"/>
                </a:cubicBezTo>
                <a:cubicBezTo>
                  <a:pt x="7690632" y="388864"/>
                  <a:pt x="7715342" y="364154"/>
                  <a:pt x="7745824" y="364154"/>
                </a:cubicBezTo>
                <a:close/>
                <a:moveTo>
                  <a:pt x="7608850" y="364154"/>
                </a:moveTo>
                <a:cubicBezTo>
                  <a:pt x="7639332" y="364154"/>
                  <a:pt x="7664042" y="388864"/>
                  <a:pt x="7664042" y="419345"/>
                </a:cubicBezTo>
                <a:cubicBezTo>
                  <a:pt x="7664042" y="449826"/>
                  <a:pt x="7639332" y="474536"/>
                  <a:pt x="7608850" y="474536"/>
                </a:cubicBezTo>
                <a:cubicBezTo>
                  <a:pt x="7578368" y="474536"/>
                  <a:pt x="7553658" y="449826"/>
                  <a:pt x="7553658" y="419345"/>
                </a:cubicBezTo>
                <a:cubicBezTo>
                  <a:pt x="7553658" y="388864"/>
                  <a:pt x="7578368" y="364154"/>
                  <a:pt x="7608850" y="364154"/>
                </a:cubicBezTo>
                <a:close/>
                <a:moveTo>
                  <a:pt x="7481895" y="364154"/>
                </a:moveTo>
                <a:cubicBezTo>
                  <a:pt x="7512377" y="364154"/>
                  <a:pt x="7537087" y="388864"/>
                  <a:pt x="7537087" y="419345"/>
                </a:cubicBezTo>
                <a:cubicBezTo>
                  <a:pt x="7537087" y="449826"/>
                  <a:pt x="7512377" y="474536"/>
                  <a:pt x="7481895" y="474536"/>
                </a:cubicBezTo>
                <a:cubicBezTo>
                  <a:pt x="7451413" y="474536"/>
                  <a:pt x="7426703" y="449826"/>
                  <a:pt x="7426703" y="419345"/>
                </a:cubicBezTo>
                <a:cubicBezTo>
                  <a:pt x="7426703" y="388864"/>
                  <a:pt x="7451413" y="364154"/>
                  <a:pt x="7481895" y="364154"/>
                </a:cubicBezTo>
                <a:close/>
                <a:moveTo>
                  <a:pt x="7341580" y="364154"/>
                </a:moveTo>
                <a:cubicBezTo>
                  <a:pt x="7372062" y="364154"/>
                  <a:pt x="7396772" y="388864"/>
                  <a:pt x="7396772" y="419345"/>
                </a:cubicBezTo>
                <a:cubicBezTo>
                  <a:pt x="7396772" y="449826"/>
                  <a:pt x="7372062" y="474536"/>
                  <a:pt x="7341580" y="474536"/>
                </a:cubicBezTo>
                <a:cubicBezTo>
                  <a:pt x="7311098" y="474536"/>
                  <a:pt x="7286388" y="449826"/>
                  <a:pt x="7286388" y="419345"/>
                </a:cubicBezTo>
                <a:cubicBezTo>
                  <a:pt x="7286388" y="388864"/>
                  <a:pt x="7311098" y="364154"/>
                  <a:pt x="7341580" y="364154"/>
                </a:cubicBezTo>
                <a:close/>
                <a:moveTo>
                  <a:pt x="6553137" y="364154"/>
                </a:moveTo>
                <a:cubicBezTo>
                  <a:pt x="6583619" y="364154"/>
                  <a:pt x="6608329" y="388864"/>
                  <a:pt x="6608329" y="419345"/>
                </a:cubicBezTo>
                <a:cubicBezTo>
                  <a:pt x="6608329" y="449826"/>
                  <a:pt x="6583619" y="474536"/>
                  <a:pt x="6553137" y="474536"/>
                </a:cubicBezTo>
                <a:cubicBezTo>
                  <a:pt x="6522655" y="474536"/>
                  <a:pt x="6497945" y="449826"/>
                  <a:pt x="6497945" y="419345"/>
                </a:cubicBezTo>
                <a:cubicBezTo>
                  <a:pt x="6497945" y="388864"/>
                  <a:pt x="6522655" y="364154"/>
                  <a:pt x="6553137" y="364154"/>
                </a:cubicBezTo>
                <a:close/>
                <a:moveTo>
                  <a:pt x="6419503" y="364154"/>
                </a:moveTo>
                <a:cubicBezTo>
                  <a:pt x="6449985" y="364154"/>
                  <a:pt x="6474695" y="388864"/>
                  <a:pt x="6474695" y="419345"/>
                </a:cubicBezTo>
                <a:cubicBezTo>
                  <a:pt x="6474695" y="449826"/>
                  <a:pt x="6449985" y="474536"/>
                  <a:pt x="6419503" y="474536"/>
                </a:cubicBezTo>
                <a:cubicBezTo>
                  <a:pt x="6389021" y="474536"/>
                  <a:pt x="6364311" y="449826"/>
                  <a:pt x="6364311" y="419345"/>
                </a:cubicBezTo>
                <a:cubicBezTo>
                  <a:pt x="6364311" y="388864"/>
                  <a:pt x="6389021" y="364154"/>
                  <a:pt x="6419503" y="364154"/>
                </a:cubicBezTo>
                <a:close/>
                <a:moveTo>
                  <a:pt x="4030786" y="364154"/>
                </a:moveTo>
                <a:cubicBezTo>
                  <a:pt x="4061268" y="364154"/>
                  <a:pt x="4085978" y="388864"/>
                  <a:pt x="4085978" y="419345"/>
                </a:cubicBezTo>
                <a:cubicBezTo>
                  <a:pt x="4085978" y="449826"/>
                  <a:pt x="4061268" y="474536"/>
                  <a:pt x="4030786" y="474536"/>
                </a:cubicBezTo>
                <a:cubicBezTo>
                  <a:pt x="4000304" y="474536"/>
                  <a:pt x="3975594" y="449826"/>
                  <a:pt x="3975594" y="419345"/>
                </a:cubicBezTo>
                <a:cubicBezTo>
                  <a:pt x="3975594" y="388864"/>
                  <a:pt x="4000304" y="364154"/>
                  <a:pt x="4030786" y="364154"/>
                </a:cubicBezTo>
                <a:close/>
                <a:moveTo>
                  <a:pt x="3897148" y="364154"/>
                </a:moveTo>
                <a:cubicBezTo>
                  <a:pt x="3927630" y="364154"/>
                  <a:pt x="3952340" y="388864"/>
                  <a:pt x="3952340" y="419345"/>
                </a:cubicBezTo>
                <a:cubicBezTo>
                  <a:pt x="3952340" y="449826"/>
                  <a:pt x="3927630" y="474536"/>
                  <a:pt x="3897148" y="474536"/>
                </a:cubicBezTo>
                <a:cubicBezTo>
                  <a:pt x="3866666" y="474536"/>
                  <a:pt x="3841956" y="449826"/>
                  <a:pt x="3841956" y="419345"/>
                </a:cubicBezTo>
                <a:cubicBezTo>
                  <a:pt x="3841956" y="388864"/>
                  <a:pt x="3866666" y="364154"/>
                  <a:pt x="3897148" y="364154"/>
                </a:cubicBezTo>
                <a:close/>
                <a:moveTo>
                  <a:pt x="3763514" y="364154"/>
                </a:moveTo>
                <a:cubicBezTo>
                  <a:pt x="3793996" y="364154"/>
                  <a:pt x="3818706" y="388864"/>
                  <a:pt x="3818706" y="419345"/>
                </a:cubicBezTo>
                <a:cubicBezTo>
                  <a:pt x="3818706" y="449826"/>
                  <a:pt x="3793996" y="474536"/>
                  <a:pt x="3763514" y="474536"/>
                </a:cubicBezTo>
                <a:cubicBezTo>
                  <a:pt x="3733032" y="474536"/>
                  <a:pt x="3708322" y="449826"/>
                  <a:pt x="3708322" y="419345"/>
                </a:cubicBezTo>
                <a:cubicBezTo>
                  <a:pt x="3708322" y="388864"/>
                  <a:pt x="3733032" y="364154"/>
                  <a:pt x="3763514" y="364154"/>
                </a:cubicBezTo>
                <a:close/>
                <a:moveTo>
                  <a:pt x="3633221" y="364154"/>
                </a:moveTo>
                <a:cubicBezTo>
                  <a:pt x="3663703" y="364154"/>
                  <a:pt x="3688413" y="388864"/>
                  <a:pt x="3688413" y="419345"/>
                </a:cubicBezTo>
                <a:cubicBezTo>
                  <a:pt x="3688413" y="449826"/>
                  <a:pt x="3663703" y="474536"/>
                  <a:pt x="3633221" y="474536"/>
                </a:cubicBezTo>
                <a:cubicBezTo>
                  <a:pt x="3602739" y="474536"/>
                  <a:pt x="3578029" y="449826"/>
                  <a:pt x="3578029" y="419345"/>
                </a:cubicBezTo>
                <a:cubicBezTo>
                  <a:pt x="3578029" y="388864"/>
                  <a:pt x="3602739" y="364154"/>
                  <a:pt x="3633221" y="364154"/>
                </a:cubicBezTo>
                <a:close/>
                <a:moveTo>
                  <a:pt x="3499589" y="364154"/>
                </a:moveTo>
                <a:cubicBezTo>
                  <a:pt x="3530071" y="364154"/>
                  <a:pt x="3554781" y="388864"/>
                  <a:pt x="3554781" y="419345"/>
                </a:cubicBezTo>
                <a:cubicBezTo>
                  <a:pt x="3554781" y="449826"/>
                  <a:pt x="3530071" y="474536"/>
                  <a:pt x="3499589" y="474536"/>
                </a:cubicBezTo>
                <a:cubicBezTo>
                  <a:pt x="3469107" y="474536"/>
                  <a:pt x="3444397" y="449826"/>
                  <a:pt x="3444397" y="419345"/>
                </a:cubicBezTo>
                <a:cubicBezTo>
                  <a:pt x="3444397" y="388864"/>
                  <a:pt x="3469107" y="364154"/>
                  <a:pt x="3499589" y="364154"/>
                </a:cubicBezTo>
                <a:close/>
                <a:moveTo>
                  <a:pt x="3369292" y="364154"/>
                </a:moveTo>
                <a:cubicBezTo>
                  <a:pt x="3399774" y="364154"/>
                  <a:pt x="3424484" y="388864"/>
                  <a:pt x="3424484" y="419345"/>
                </a:cubicBezTo>
                <a:cubicBezTo>
                  <a:pt x="3424484" y="449826"/>
                  <a:pt x="3399774" y="474536"/>
                  <a:pt x="3369292" y="474536"/>
                </a:cubicBezTo>
                <a:cubicBezTo>
                  <a:pt x="3338810" y="474536"/>
                  <a:pt x="3314100" y="449826"/>
                  <a:pt x="3314100" y="419345"/>
                </a:cubicBezTo>
                <a:cubicBezTo>
                  <a:pt x="3314100" y="388864"/>
                  <a:pt x="3338810" y="364154"/>
                  <a:pt x="3369292" y="364154"/>
                </a:cubicBezTo>
                <a:close/>
                <a:moveTo>
                  <a:pt x="3235657" y="364154"/>
                </a:moveTo>
                <a:cubicBezTo>
                  <a:pt x="3266139" y="364154"/>
                  <a:pt x="3290849" y="388864"/>
                  <a:pt x="3290849" y="419345"/>
                </a:cubicBezTo>
                <a:cubicBezTo>
                  <a:pt x="3290849" y="449826"/>
                  <a:pt x="3266139" y="474536"/>
                  <a:pt x="3235657" y="474536"/>
                </a:cubicBezTo>
                <a:cubicBezTo>
                  <a:pt x="3205175" y="474536"/>
                  <a:pt x="3180465" y="449826"/>
                  <a:pt x="3180465" y="419345"/>
                </a:cubicBezTo>
                <a:cubicBezTo>
                  <a:pt x="3180465" y="388864"/>
                  <a:pt x="3205175" y="364154"/>
                  <a:pt x="3235657" y="364154"/>
                </a:cubicBezTo>
                <a:close/>
                <a:moveTo>
                  <a:pt x="3098681" y="364154"/>
                </a:moveTo>
                <a:cubicBezTo>
                  <a:pt x="3129163" y="364154"/>
                  <a:pt x="3153873" y="388864"/>
                  <a:pt x="3153873" y="419345"/>
                </a:cubicBezTo>
                <a:cubicBezTo>
                  <a:pt x="3153873" y="449826"/>
                  <a:pt x="3129163" y="474536"/>
                  <a:pt x="3098681" y="474536"/>
                </a:cubicBezTo>
                <a:cubicBezTo>
                  <a:pt x="3068199" y="474536"/>
                  <a:pt x="3043489" y="449826"/>
                  <a:pt x="3043489" y="419345"/>
                </a:cubicBezTo>
                <a:cubicBezTo>
                  <a:pt x="3043489" y="388864"/>
                  <a:pt x="3068199" y="364154"/>
                  <a:pt x="3098681" y="364154"/>
                </a:cubicBezTo>
                <a:close/>
                <a:moveTo>
                  <a:pt x="2971729" y="364154"/>
                </a:moveTo>
                <a:cubicBezTo>
                  <a:pt x="3002211" y="364154"/>
                  <a:pt x="3026921" y="388864"/>
                  <a:pt x="3026921" y="419345"/>
                </a:cubicBezTo>
                <a:cubicBezTo>
                  <a:pt x="3026921" y="449826"/>
                  <a:pt x="3002211" y="474536"/>
                  <a:pt x="2971729" y="474536"/>
                </a:cubicBezTo>
                <a:cubicBezTo>
                  <a:pt x="2941247" y="474536"/>
                  <a:pt x="2916537" y="449826"/>
                  <a:pt x="2916537" y="419345"/>
                </a:cubicBezTo>
                <a:cubicBezTo>
                  <a:pt x="2916537" y="388864"/>
                  <a:pt x="2941247" y="364154"/>
                  <a:pt x="2971729" y="364154"/>
                </a:cubicBezTo>
                <a:close/>
                <a:moveTo>
                  <a:pt x="2834862" y="364154"/>
                </a:moveTo>
                <a:cubicBezTo>
                  <a:pt x="2865342" y="364154"/>
                  <a:pt x="2890052" y="388864"/>
                  <a:pt x="2890052" y="419345"/>
                </a:cubicBezTo>
                <a:cubicBezTo>
                  <a:pt x="2890052" y="449826"/>
                  <a:pt x="2865342" y="474536"/>
                  <a:pt x="2834862" y="474536"/>
                </a:cubicBezTo>
                <a:cubicBezTo>
                  <a:pt x="2804379" y="474536"/>
                  <a:pt x="2779671" y="449826"/>
                  <a:pt x="2779671" y="419345"/>
                </a:cubicBezTo>
                <a:cubicBezTo>
                  <a:pt x="2779671" y="388864"/>
                  <a:pt x="2804379" y="364154"/>
                  <a:pt x="2834862" y="364154"/>
                </a:cubicBezTo>
                <a:close/>
                <a:moveTo>
                  <a:pt x="2437297" y="364154"/>
                </a:moveTo>
                <a:cubicBezTo>
                  <a:pt x="2467781" y="364154"/>
                  <a:pt x="2492487" y="388864"/>
                  <a:pt x="2492487" y="419345"/>
                </a:cubicBezTo>
                <a:cubicBezTo>
                  <a:pt x="2492487" y="449826"/>
                  <a:pt x="2467781" y="474536"/>
                  <a:pt x="2437297" y="474536"/>
                </a:cubicBezTo>
                <a:cubicBezTo>
                  <a:pt x="2406818" y="474536"/>
                  <a:pt x="2382108" y="449826"/>
                  <a:pt x="2382108" y="419345"/>
                </a:cubicBezTo>
                <a:cubicBezTo>
                  <a:pt x="2382108" y="388864"/>
                  <a:pt x="2406818" y="364154"/>
                  <a:pt x="2437297" y="364154"/>
                </a:cubicBezTo>
                <a:close/>
                <a:moveTo>
                  <a:pt x="2303664" y="364154"/>
                </a:moveTo>
                <a:cubicBezTo>
                  <a:pt x="2334146" y="364154"/>
                  <a:pt x="2358856" y="388864"/>
                  <a:pt x="2358856" y="419345"/>
                </a:cubicBezTo>
                <a:cubicBezTo>
                  <a:pt x="2358856" y="449826"/>
                  <a:pt x="2334146" y="474536"/>
                  <a:pt x="2303664" y="474536"/>
                </a:cubicBezTo>
                <a:cubicBezTo>
                  <a:pt x="2273184" y="474536"/>
                  <a:pt x="2248473" y="449826"/>
                  <a:pt x="2248473" y="419345"/>
                </a:cubicBezTo>
                <a:cubicBezTo>
                  <a:pt x="2248473" y="388864"/>
                  <a:pt x="2273184" y="364154"/>
                  <a:pt x="2303664" y="364154"/>
                </a:cubicBezTo>
                <a:close/>
                <a:moveTo>
                  <a:pt x="2173372" y="364154"/>
                </a:moveTo>
                <a:cubicBezTo>
                  <a:pt x="2203854" y="364154"/>
                  <a:pt x="2228565" y="388864"/>
                  <a:pt x="2228565" y="419345"/>
                </a:cubicBezTo>
                <a:cubicBezTo>
                  <a:pt x="2228565" y="449826"/>
                  <a:pt x="2203854" y="474536"/>
                  <a:pt x="2173372" y="474536"/>
                </a:cubicBezTo>
                <a:cubicBezTo>
                  <a:pt x="2142892" y="474536"/>
                  <a:pt x="2118180" y="449826"/>
                  <a:pt x="2118180" y="419345"/>
                </a:cubicBezTo>
                <a:cubicBezTo>
                  <a:pt x="2118180" y="388864"/>
                  <a:pt x="2142892" y="364154"/>
                  <a:pt x="2173372" y="364154"/>
                </a:cubicBezTo>
                <a:close/>
                <a:moveTo>
                  <a:pt x="2039736" y="364154"/>
                </a:moveTo>
                <a:cubicBezTo>
                  <a:pt x="2070218" y="364154"/>
                  <a:pt x="2094930" y="388864"/>
                  <a:pt x="2094930" y="419345"/>
                </a:cubicBezTo>
                <a:cubicBezTo>
                  <a:pt x="2094930" y="449826"/>
                  <a:pt x="2070218" y="474536"/>
                  <a:pt x="2039736" y="474536"/>
                </a:cubicBezTo>
                <a:cubicBezTo>
                  <a:pt x="2009254" y="474536"/>
                  <a:pt x="1984543" y="449826"/>
                  <a:pt x="1984543" y="419345"/>
                </a:cubicBezTo>
                <a:cubicBezTo>
                  <a:pt x="1984543" y="388864"/>
                  <a:pt x="2009254" y="364154"/>
                  <a:pt x="2039736" y="364154"/>
                </a:cubicBezTo>
                <a:close/>
                <a:moveTo>
                  <a:pt x="1909440" y="364154"/>
                </a:moveTo>
                <a:cubicBezTo>
                  <a:pt x="1939922" y="364154"/>
                  <a:pt x="1964634" y="388864"/>
                  <a:pt x="1964634" y="419345"/>
                </a:cubicBezTo>
                <a:cubicBezTo>
                  <a:pt x="1964634" y="449826"/>
                  <a:pt x="1939922" y="474536"/>
                  <a:pt x="1909440" y="474536"/>
                </a:cubicBezTo>
                <a:cubicBezTo>
                  <a:pt x="1878957" y="474536"/>
                  <a:pt x="1854246" y="449826"/>
                  <a:pt x="1854246" y="419345"/>
                </a:cubicBezTo>
                <a:cubicBezTo>
                  <a:pt x="1854246" y="388864"/>
                  <a:pt x="1878957" y="364154"/>
                  <a:pt x="1909440" y="364154"/>
                </a:cubicBezTo>
                <a:close/>
                <a:moveTo>
                  <a:pt x="1779142" y="364154"/>
                </a:moveTo>
                <a:cubicBezTo>
                  <a:pt x="1809626" y="364154"/>
                  <a:pt x="1834337" y="388864"/>
                  <a:pt x="1834337" y="419345"/>
                </a:cubicBezTo>
                <a:cubicBezTo>
                  <a:pt x="1834337" y="449826"/>
                  <a:pt x="1809626" y="474536"/>
                  <a:pt x="1779142" y="474536"/>
                </a:cubicBezTo>
                <a:cubicBezTo>
                  <a:pt x="1748663" y="474536"/>
                  <a:pt x="1723951" y="449826"/>
                  <a:pt x="1723951" y="419345"/>
                </a:cubicBezTo>
                <a:cubicBezTo>
                  <a:pt x="1723951" y="388864"/>
                  <a:pt x="1748663" y="364154"/>
                  <a:pt x="1779142" y="364154"/>
                </a:cubicBezTo>
                <a:close/>
                <a:moveTo>
                  <a:pt x="1645508" y="364154"/>
                </a:moveTo>
                <a:cubicBezTo>
                  <a:pt x="1675988" y="364154"/>
                  <a:pt x="1700702" y="388864"/>
                  <a:pt x="1700702" y="419345"/>
                </a:cubicBezTo>
                <a:cubicBezTo>
                  <a:pt x="1700702" y="449826"/>
                  <a:pt x="1675988" y="474536"/>
                  <a:pt x="1645508" y="474536"/>
                </a:cubicBezTo>
                <a:cubicBezTo>
                  <a:pt x="1615024" y="474536"/>
                  <a:pt x="1590313" y="449826"/>
                  <a:pt x="1590313" y="419345"/>
                </a:cubicBezTo>
                <a:cubicBezTo>
                  <a:pt x="1590313" y="388864"/>
                  <a:pt x="1615024" y="364154"/>
                  <a:pt x="1645508" y="364154"/>
                </a:cubicBezTo>
                <a:close/>
                <a:moveTo>
                  <a:pt x="1515217" y="364154"/>
                </a:moveTo>
                <a:cubicBezTo>
                  <a:pt x="1545695" y="364154"/>
                  <a:pt x="1570405" y="388864"/>
                  <a:pt x="1570405" y="419345"/>
                </a:cubicBezTo>
                <a:cubicBezTo>
                  <a:pt x="1570405" y="449826"/>
                  <a:pt x="1545695" y="474536"/>
                  <a:pt x="1515217" y="474536"/>
                </a:cubicBezTo>
                <a:cubicBezTo>
                  <a:pt x="1484732" y="474536"/>
                  <a:pt x="1460020" y="449826"/>
                  <a:pt x="1460020" y="419345"/>
                </a:cubicBezTo>
                <a:cubicBezTo>
                  <a:pt x="1460020" y="388864"/>
                  <a:pt x="1484732" y="364154"/>
                  <a:pt x="1515217" y="364154"/>
                </a:cubicBezTo>
                <a:close/>
                <a:moveTo>
                  <a:pt x="1381573" y="364154"/>
                </a:moveTo>
                <a:cubicBezTo>
                  <a:pt x="1412060" y="364154"/>
                  <a:pt x="1436767" y="388864"/>
                  <a:pt x="1436767" y="419345"/>
                </a:cubicBezTo>
                <a:cubicBezTo>
                  <a:pt x="1436767" y="449826"/>
                  <a:pt x="1412060" y="474536"/>
                  <a:pt x="1381573" y="474536"/>
                </a:cubicBezTo>
                <a:cubicBezTo>
                  <a:pt x="1351097" y="474536"/>
                  <a:pt x="1326384" y="449826"/>
                  <a:pt x="1326384" y="419345"/>
                </a:cubicBezTo>
                <a:cubicBezTo>
                  <a:pt x="1326384" y="388864"/>
                  <a:pt x="1351097" y="364154"/>
                  <a:pt x="1381573" y="364154"/>
                </a:cubicBezTo>
                <a:close/>
                <a:moveTo>
                  <a:pt x="1251283" y="364154"/>
                </a:moveTo>
                <a:cubicBezTo>
                  <a:pt x="1281766" y="364154"/>
                  <a:pt x="1306476" y="388864"/>
                  <a:pt x="1306476" y="419345"/>
                </a:cubicBezTo>
                <a:cubicBezTo>
                  <a:pt x="1306476" y="449826"/>
                  <a:pt x="1281766" y="474536"/>
                  <a:pt x="1251283" y="474536"/>
                </a:cubicBezTo>
                <a:cubicBezTo>
                  <a:pt x="1220801" y="474536"/>
                  <a:pt x="1196091" y="449826"/>
                  <a:pt x="1196091" y="419345"/>
                </a:cubicBezTo>
                <a:cubicBezTo>
                  <a:pt x="1196091" y="388864"/>
                  <a:pt x="1220801" y="364154"/>
                  <a:pt x="1251283" y="364154"/>
                </a:cubicBezTo>
                <a:close/>
                <a:moveTo>
                  <a:pt x="7608850" y="247225"/>
                </a:moveTo>
                <a:cubicBezTo>
                  <a:pt x="7639332" y="247225"/>
                  <a:pt x="7664042" y="271935"/>
                  <a:pt x="7664042" y="302416"/>
                </a:cubicBezTo>
                <a:cubicBezTo>
                  <a:pt x="7664042" y="332897"/>
                  <a:pt x="7639332" y="357607"/>
                  <a:pt x="7608850" y="357607"/>
                </a:cubicBezTo>
                <a:cubicBezTo>
                  <a:pt x="7578368" y="357607"/>
                  <a:pt x="7553658" y="332897"/>
                  <a:pt x="7553658" y="302416"/>
                </a:cubicBezTo>
                <a:cubicBezTo>
                  <a:pt x="7553658" y="271935"/>
                  <a:pt x="7578368" y="247225"/>
                  <a:pt x="7608850" y="247225"/>
                </a:cubicBezTo>
                <a:close/>
                <a:moveTo>
                  <a:pt x="7481898" y="247225"/>
                </a:moveTo>
                <a:cubicBezTo>
                  <a:pt x="7512380" y="247225"/>
                  <a:pt x="7537090" y="271935"/>
                  <a:pt x="7537090" y="302416"/>
                </a:cubicBezTo>
                <a:cubicBezTo>
                  <a:pt x="7537090" y="332897"/>
                  <a:pt x="7512380" y="357607"/>
                  <a:pt x="7481898" y="357607"/>
                </a:cubicBezTo>
                <a:cubicBezTo>
                  <a:pt x="7451416" y="357607"/>
                  <a:pt x="7426706" y="332897"/>
                  <a:pt x="7426706" y="302416"/>
                </a:cubicBezTo>
                <a:cubicBezTo>
                  <a:pt x="7426706" y="271935"/>
                  <a:pt x="7451416" y="247225"/>
                  <a:pt x="7481898" y="247225"/>
                </a:cubicBezTo>
                <a:close/>
                <a:moveTo>
                  <a:pt x="5093178" y="247225"/>
                </a:moveTo>
                <a:cubicBezTo>
                  <a:pt x="5123660" y="247225"/>
                  <a:pt x="5148370" y="271935"/>
                  <a:pt x="5148370" y="302416"/>
                </a:cubicBezTo>
                <a:cubicBezTo>
                  <a:pt x="5148370" y="332897"/>
                  <a:pt x="5123660" y="357607"/>
                  <a:pt x="5093178" y="357607"/>
                </a:cubicBezTo>
                <a:cubicBezTo>
                  <a:pt x="5062696" y="357607"/>
                  <a:pt x="5037986" y="332897"/>
                  <a:pt x="5037986" y="302416"/>
                </a:cubicBezTo>
                <a:cubicBezTo>
                  <a:pt x="5037986" y="271935"/>
                  <a:pt x="5062696" y="247225"/>
                  <a:pt x="5093178" y="247225"/>
                </a:cubicBezTo>
                <a:close/>
                <a:moveTo>
                  <a:pt x="4030786" y="247225"/>
                </a:moveTo>
                <a:cubicBezTo>
                  <a:pt x="4061268" y="247225"/>
                  <a:pt x="4085978" y="271935"/>
                  <a:pt x="4085978" y="302416"/>
                </a:cubicBezTo>
                <a:cubicBezTo>
                  <a:pt x="4085978" y="332897"/>
                  <a:pt x="4061268" y="357607"/>
                  <a:pt x="4030786" y="357607"/>
                </a:cubicBezTo>
                <a:cubicBezTo>
                  <a:pt x="4000304" y="357607"/>
                  <a:pt x="3975594" y="332897"/>
                  <a:pt x="3975594" y="302416"/>
                </a:cubicBezTo>
                <a:cubicBezTo>
                  <a:pt x="3975594" y="271935"/>
                  <a:pt x="4000304" y="247225"/>
                  <a:pt x="4030786" y="247225"/>
                </a:cubicBezTo>
                <a:close/>
                <a:moveTo>
                  <a:pt x="3897148" y="247225"/>
                </a:moveTo>
                <a:cubicBezTo>
                  <a:pt x="3927630" y="247225"/>
                  <a:pt x="3952340" y="271935"/>
                  <a:pt x="3952340" y="302416"/>
                </a:cubicBezTo>
                <a:cubicBezTo>
                  <a:pt x="3952340" y="332897"/>
                  <a:pt x="3927630" y="357607"/>
                  <a:pt x="3897148" y="357607"/>
                </a:cubicBezTo>
                <a:cubicBezTo>
                  <a:pt x="3866666" y="357607"/>
                  <a:pt x="3841956" y="332897"/>
                  <a:pt x="3841956" y="302416"/>
                </a:cubicBezTo>
                <a:cubicBezTo>
                  <a:pt x="3841956" y="271935"/>
                  <a:pt x="3866666" y="247225"/>
                  <a:pt x="3897148" y="247225"/>
                </a:cubicBezTo>
                <a:close/>
                <a:moveTo>
                  <a:pt x="3763514" y="247225"/>
                </a:moveTo>
                <a:cubicBezTo>
                  <a:pt x="3793996" y="247225"/>
                  <a:pt x="3818706" y="271935"/>
                  <a:pt x="3818706" y="302416"/>
                </a:cubicBezTo>
                <a:cubicBezTo>
                  <a:pt x="3818706" y="332897"/>
                  <a:pt x="3793996" y="357607"/>
                  <a:pt x="3763514" y="357607"/>
                </a:cubicBezTo>
                <a:cubicBezTo>
                  <a:pt x="3733032" y="357607"/>
                  <a:pt x="3708322" y="332897"/>
                  <a:pt x="3708322" y="302416"/>
                </a:cubicBezTo>
                <a:cubicBezTo>
                  <a:pt x="3708322" y="271935"/>
                  <a:pt x="3733032" y="247225"/>
                  <a:pt x="3763514" y="247225"/>
                </a:cubicBezTo>
                <a:close/>
                <a:moveTo>
                  <a:pt x="3633221" y="247225"/>
                </a:moveTo>
                <a:cubicBezTo>
                  <a:pt x="3663703" y="247225"/>
                  <a:pt x="3688413" y="271935"/>
                  <a:pt x="3688413" y="302416"/>
                </a:cubicBezTo>
                <a:cubicBezTo>
                  <a:pt x="3688413" y="332897"/>
                  <a:pt x="3663703" y="357607"/>
                  <a:pt x="3633221" y="357607"/>
                </a:cubicBezTo>
                <a:cubicBezTo>
                  <a:pt x="3602739" y="357607"/>
                  <a:pt x="3578029" y="332897"/>
                  <a:pt x="3578029" y="302416"/>
                </a:cubicBezTo>
                <a:cubicBezTo>
                  <a:pt x="3578029" y="271935"/>
                  <a:pt x="3602739" y="247225"/>
                  <a:pt x="3633221" y="247225"/>
                </a:cubicBezTo>
                <a:close/>
                <a:moveTo>
                  <a:pt x="3499589" y="247225"/>
                </a:moveTo>
                <a:cubicBezTo>
                  <a:pt x="3530071" y="247225"/>
                  <a:pt x="3554781" y="271935"/>
                  <a:pt x="3554781" y="302416"/>
                </a:cubicBezTo>
                <a:cubicBezTo>
                  <a:pt x="3554781" y="332897"/>
                  <a:pt x="3530071" y="357607"/>
                  <a:pt x="3499589" y="357607"/>
                </a:cubicBezTo>
                <a:cubicBezTo>
                  <a:pt x="3469107" y="357607"/>
                  <a:pt x="3444397" y="332897"/>
                  <a:pt x="3444397" y="302416"/>
                </a:cubicBezTo>
                <a:cubicBezTo>
                  <a:pt x="3444397" y="271935"/>
                  <a:pt x="3469107" y="247225"/>
                  <a:pt x="3499589" y="247225"/>
                </a:cubicBezTo>
                <a:close/>
                <a:moveTo>
                  <a:pt x="3369293" y="247225"/>
                </a:moveTo>
                <a:cubicBezTo>
                  <a:pt x="3399775" y="247225"/>
                  <a:pt x="3424485" y="271935"/>
                  <a:pt x="3424485" y="302416"/>
                </a:cubicBezTo>
                <a:cubicBezTo>
                  <a:pt x="3424485" y="332897"/>
                  <a:pt x="3399775" y="357607"/>
                  <a:pt x="3369293" y="357607"/>
                </a:cubicBezTo>
                <a:cubicBezTo>
                  <a:pt x="3338811" y="357607"/>
                  <a:pt x="3314101" y="332897"/>
                  <a:pt x="3314101" y="302416"/>
                </a:cubicBezTo>
                <a:cubicBezTo>
                  <a:pt x="3314101" y="271935"/>
                  <a:pt x="3338811" y="247225"/>
                  <a:pt x="3369293" y="247225"/>
                </a:cubicBezTo>
                <a:close/>
                <a:moveTo>
                  <a:pt x="3235657" y="247225"/>
                </a:moveTo>
                <a:cubicBezTo>
                  <a:pt x="3266139" y="247225"/>
                  <a:pt x="3290849" y="271935"/>
                  <a:pt x="3290849" y="302416"/>
                </a:cubicBezTo>
                <a:cubicBezTo>
                  <a:pt x="3290849" y="332897"/>
                  <a:pt x="3266139" y="357607"/>
                  <a:pt x="3235657" y="357607"/>
                </a:cubicBezTo>
                <a:cubicBezTo>
                  <a:pt x="3205175" y="357607"/>
                  <a:pt x="3180465" y="332897"/>
                  <a:pt x="3180465" y="302416"/>
                </a:cubicBezTo>
                <a:cubicBezTo>
                  <a:pt x="3180465" y="271935"/>
                  <a:pt x="3205175" y="247225"/>
                  <a:pt x="3235657" y="247225"/>
                </a:cubicBezTo>
                <a:close/>
                <a:moveTo>
                  <a:pt x="3098682" y="247225"/>
                </a:moveTo>
                <a:cubicBezTo>
                  <a:pt x="3129164" y="247225"/>
                  <a:pt x="3153874" y="271935"/>
                  <a:pt x="3153874" y="302416"/>
                </a:cubicBezTo>
                <a:cubicBezTo>
                  <a:pt x="3153874" y="332897"/>
                  <a:pt x="3129164" y="357607"/>
                  <a:pt x="3098682" y="357607"/>
                </a:cubicBezTo>
                <a:cubicBezTo>
                  <a:pt x="3068200" y="357607"/>
                  <a:pt x="3043490" y="332897"/>
                  <a:pt x="3043490" y="302416"/>
                </a:cubicBezTo>
                <a:cubicBezTo>
                  <a:pt x="3043490" y="271935"/>
                  <a:pt x="3068200" y="247225"/>
                  <a:pt x="3098682" y="247225"/>
                </a:cubicBezTo>
                <a:close/>
                <a:moveTo>
                  <a:pt x="2971729" y="247225"/>
                </a:moveTo>
                <a:cubicBezTo>
                  <a:pt x="3002211" y="247225"/>
                  <a:pt x="3026921" y="271935"/>
                  <a:pt x="3026921" y="302416"/>
                </a:cubicBezTo>
                <a:cubicBezTo>
                  <a:pt x="3026921" y="332897"/>
                  <a:pt x="3002211" y="357607"/>
                  <a:pt x="2971729" y="357607"/>
                </a:cubicBezTo>
                <a:cubicBezTo>
                  <a:pt x="2941247" y="357607"/>
                  <a:pt x="2916537" y="332897"/>
                  <a:pt x="2916537" y="302416"/>
                </a:cubicBezTo>
                <a:cubicBezTo>
                  <a:pt x="2916537" y="271935"/>
                  <a:pt x="2941247" y="247225"/>
                  <a:pt x="2971729" y="247225"/>
                </a:cubicBezTo>
                <a:close/>
                <a:moveTo>
                  <a:pt x="2834862" y="247225"/>
                </a:moveTo>
                <a:cubicBezTo>
                  <a:pt x="2865342" y="247225"/>
                  <a:pt x="2890052" y="271935"/>
                  <a:pt x="2890052" y="302416"/>
                </a:cubicBezTo>
                <a:cubicBezTo>
                  <a:pt x="2890052" y="332897"/>
                  <a:pt x="2865342" y="357607"/>
                  <a:pt x="2834862" y="357607"/>
                </a:cubicBezTo>
                <a:cubicBezTo>
                  <a:pt x="2804379" y="357607"/>
                  <a:pt x="2779671" y="332897"/>
                  <a:pt x="2779671" y="302416"/>
                </a:cubicBezTo>
                <a:cubicBezTo>
                  <a:pt x="2779671" y="271935"/>
                  <a:pt x="2804379" y="247225"/>
                  <a:pt x="2834862" y="247225"/>
                </a:cubicBezTo>
                <a:close/>
                <a:moveTo>
                  <a:pt x="2570933" y="247225"/>
                </a:moveTo>
                <a:cubicBezTo>
                  <a:pt x="2601414" y="247225"/>
                  <a:pt x="2626123" y="271935"/>
                  <a:pt x="2626123" y="302416"/>
                </a:cubicBezTo>
                <a:cubicBezTo>
                  <a:pt x="2626123" y="332897"/>
                  <a:pt x="2601414" y="357607"/>
                  <a:pt x="2570933" y="357607"/>
                </a:cubicBezTo>
                <a:cubicBezTo>
                  <a:pt x="2540449" y="357607"/>
                  <a:pt x="2515738" y="332897"/>
                  <a:pt x="2515738" y="302416"/>
                </a:cubicBezTo>
                <a:cubicBezTo>
                  <a:pt x="2515738" y="271935"/>
                  <a:pt x="2540449" y="247225"/>
                  <a:pt x="2570933" y="247225"/>
                </a:cubicBezTo>
                <a:close/>
                <a:moveTo>
                  <a:pt x="2437297" y="247225"/>
                </a:moveTo>
                <a:cubicBezTo>
                  <a:pt x="2467781" y="247225"/>
                  <a:pt x="2492487" y="271935"/>
                  <a:pt x="2492487" y="302416"/>
                </a:cubicBezTo>
                <a:cubicBezTo>
                  <a:pt x="2492487" y="332897"/>
                  <a:pt x="2467781" y="357607"/>
                  <a:pt x="2437297" y="357607"/>
                </a:cubicBezTo>
                <a:cubicBezTo>
                  <a:pt x="2406818" y="357607"/>
                  <a:pt x="2382108" y="332897"/>
                  <a:pt x="2382108" y="302416"/>
                </a:cubicBezTo>
                <a:cubicBezTo>
                  <a:pt x="2382108" y="271935"/>
                  <a:pt x="2406818" y="247225"/>
                  <a:pt x="2437297" y="247225"/>
                </a:cubicBezTo>
                <a:close/>
                <a:moveTo>
                  <a:pt x="2303666" y="247225"/>
                </a:moveTo>
                <a:cubicBezTo>
                  <a:pt x="2334146" y="247225"/>
                  <a:pt x="2358856" y="271935"/>
                  <a:pt x="2358856" y="302416"/>
                </a:cubicBezTo>
                <a:cubicBezTo>
                  <a:pt x="2358856" y="332897"/>
                  <a:pt x="2334146" y="357607"/>
                  <a:pt x="2303666" y="357607"/>
                </a:cubicBezTo>
                <a:cubicBezTo>
                  <a:pt x="2273184" y="357607"/>
                  <a:pt x="2248473" y="332897"/>
                  <a:pt x="2248473" y="302416"/>
                </a:cubicBezTo>
                <a:cubicBezTo>
                  <a:pt x="2248473" y="271935"/>
                  <a:pt x="2273184" y="247225"/>
                  <a:pt x="2303666" y="247225"/>
                </a:cubicBezTo>
                <a:close/>
                <a:moveTo>
                  <a:pt x="2173372" y="247225"/>
                </a:moveTo>
                <a:cubicBezTo>
                  <a:pt x="2203857" y="247225"/>
                  <a:pt x="2228566" y="271935"/>
                  <a:pt x="2228566" y="302416"/>
                </a:cubicBezTo>
                <a:cubicBezTo>
                  <a:pt x="2228566" y="332897"/>
                  <a:pt x="2203857" y="357607"/>
                  <a:pt x="2173372" y="357607"/>
                </a:cubicBezTo>
                <a:cubicBezTo>
                  <a:pt x="2142892" y="357607"/>
                  <a:pt x="2118180" y="332897"/>
                  <a:pt x="2118180" y="302416"/>
                </a:cubicBezTo>
                <a:cubicBezTo>
                  <a:pt x="2118180" y="271935"/>
                  <a:pt x="2142892" y="247225"/>
                  <a:pt x="2173372" y="247225"/>
                </a:cubicBezTo>
                <a:close/>
                <a:moveTo>
                  <a:pt x="1909440" y="247225"/>
                </a:moveTo>
                <a:cubicBezTo>
                  <a:pt x="1939922" y="247225"/>
                  <a:pt x="1964634" y="271935"/>
                  <a:pt x="1964634" y="302416"/>
                </a:cubicBezTo>
                <a:cubicBezTo>
                  <a:pt x="1964634" y="332897"/>
                  <a:pt x="1939922" y="357607"/>
                  <a:pt x="1909440" y="357607"/>
                </a:cubicBezTo>
                <a:cubicBezTo>
                  <a:pt x="1878957" y="357607"/>
                  <a:pt x="1854246" y="332897"/>
                  <a:pt x="1854246" y="302416"/>
                </a:cubicBezTo>
                <a:cubicBezTo>
                  <a:pt x="1854246" y="271935"/>
                  <a:pt x="1878957" y="247225"/>
                  <a:pt x="1909440" y="247225"/>
                </a:cubicBezTo>
                <a:close/>
                <a:moveTo>
                  <a:pt x="1779142" y="247225"/>
                </a:moveTo>
                <a:cubicBezTo>
                  <a:pt x="1809626" y="247225"/>
                  <a:pt x="1834337" y="271935"/>
                  <a:pt x="1834337" y="302416"/>
                </a:cubicBezTo>
                <a:cubicBezTo>
                  <a:pt x="1834337" y="332897"/>
                  <a:pt x="1809626" y="357607"/>
                  <a:pt x="1779142" y="357607"/>
                </a:cubicBezTo>
                <a:cubicBezTo>
                  <a:pt x="1748663" y="357607"/>
                  <a:pt x="1723951" y="332897"/>
                  <a:pt x="1723951" y="302416"/>
                </a:cubicBezTo>
                <a:cubicBezTo>
                  <a:pt x="1723951" y="271935"/>
                  <a:pt x="1748663" y="247225"/>
                  <a:pt x="1779142" y="247225"/>
                </a:cubicBezTo>
                <a:close/>
                <a:moveTo>
                  <a:pt x="1645508" y="247225"/>
                </a:moveTo>
                <a:cubicBezTo>
                  <a:pt x="1675988" y="247225"/>
                  <a:pt x="1700702" y="271935"/>
                  <a:pt x="1700702" y="302416"/>
                </a:cubicBezTo>
                <a:cubicBezTo>
                  <a:pt x="1700702" y="332897"/>
                  <a:pt x="1675988" y="357607"/>
                  <a:pt x="1645508" y="357607"/>
                </a:cubicBezTo>
                <a:cubicBezTo>
                  <a:pt x="1615027" y="357607"/>
                  <a:pt x="1590313" y="332897"/>
                  <a:pt x="1590313" y="302416"/>
                </a:cubicBezTo>
                <a:cubicBezTo>
                  <a:pt x="1590313" y="271935"/>
                  <a:pt x="1615027" y="247225"/>
                  <a:pt x="1645508" y="247225"/>
                </a:cubicBezTo>
                <a:close/>
                <a:moveTo>
                  <a:pt x="1515217" y="247225"/>
                </a:moveTo>
                <a:cubicBezTo>
                  <a:pt x="1545695" y="247225"/>
                  <a:pt x="1570405" y="271935"/>
                  <a:pt x="1570405" y="302416"/>
                </a:cubicBezTo>
                <a:cubicBezTo>
                  <a:pt x="1570405" y="332897"/>
                  <a:pt x="1545695" y="357607"/>
                  <a:pt x="1515217" y="357607"/>
                </a:cubicBezTo>
                <a:cubicBezTo>
                  <a:pt x="1484732" y="357607"/>
                  <a:pt x="1460020" y="332897"/>
                  <a:pt x="1460020" y="302416"/>
                </a:cubicBezTo>
                <a:cubicBezTo>
                  <a:pt x="1460020" y="271935"/>
                  <a:pt x="1484732" y="247225"/>
                  <a:pt x="1515217" y="247225"/>
                </a:cubicBezTo>
                <a:close/>
                <a:moveTo>
                  <a:pt x="1381573" y="247225"/>
                </a:moveTo>
                <a:cubicBezTo>
                  <a:pt x="1412060" y="247225"/>
                  <a:pt x="1436767" y="271935"/>
                  <a:pt x="1436767" y="302416"/>
                </a:cubicBezTo>
                <a:cubicBezTo>
                  <a:pt x="1436767" y="332897"/>
                  <a:pt x="1412060" y="357607"/>
                  <a:pt x="1381573" y="357607"/>
                </a:cubicBezTo>
                <a:cubicBezTo>
                  <a:pt x="1351097" y="357607"/>
                  <a:pt x="1326384" y="332897"/>
                  <a:pt x="1326384" y="302416"/>
                </a:cubicBezTo>
                <a:cubicBezTo>
                  <a:pt x="1326384" y="271935"/>
                  <a:pt x="1351097" y="247225"/>
                  <a:pt x="1381573" y="247225"/>
                </a:cubicBezTo>
                <a:close/>
                <a:moveTo>
                  <a:pt x="7481898" y="120271"/>
                </a:moveTo>
                <a:cubicBezTo>
                  <a:pt x="7512380" y="120271"/>
                  <a:pt x="7537090" y="144981"/>
                  <a:pt x="7537090" y="175462"/>
                </a:cubicBezTo>
                <a:cubicBezTo>
                  <a:pt x="7537090" y="205943"/>
                  <a:pt x="7512380" y="230653"/>
                  <a:pt x="7481898" y="230653"/>
                </a:cubicBezTo>
                <a:cubicBezTo>
                  <a:pt x="7451416" y="230653"/>
                  <a:pt x="7426706" y="205943"/>
                  <a:pt x="7426706" y="175462"/>
                </a:cubicBezTo>
                <a:cubicBezTo>
                  <a:pt x="7426706" y="144981"/>
                  <a:pt x="7451416" y="120271"/>
                  <a:pt x="7481898" y="120271"/>
                </a:cubicBezTo>
                <a:close/>
                <a:moveTo>
                  <a:pt x="7341580" y="120271"/>
                </a:moveTo>
                <a:cubicBezTo>
                  <a:pt x="7372062" y="120271"/>
                  <a:pt x="7396772" y="144981"/>
                  <a:pt x="7396772" y="175462"/>
                </a:cubicBezTo>
                <a:cubicBezTo>
                  <a:pt x="7396772" y="205943"/>
                  <a:pt x="7372062" y="230653"/>
                  <a:pt x="7341580" y="230653"/>
                </a:cubicBezTo>
                <a:cubicBezTo>
                  <a:pt x="7311098" y="230653"/>
                  <a:pt x="7286388" y="205943"/>
                  <a:pt x="7286388" y="175462"/>
                </a:cubicBezTo>
                <a:cubicBezTo>
                  <a:pt x="7286388" y="144981"/>
                  <a:pt x="7311098" y="120271"/>
                  <a:pt x="7341580" y="120271"/>
                </a:cubicBezTo>
                <a:close/>
                <a:moveTo>
                  <a:pt x="7211288" y="120271"/>
                </a:moveTo>
                <a:cubicBezTo>
                  <a:pt x="7241770" y="120271"/>
                  <a:pt x="7266480" y="144981"/>
                  <a:pt x="7266480" y="175462"/>
                </a:cubicBezTo>
                <a:cubicBezTo>
                  <a:pt x="7266480" y="205943"/>
                  <a:pt x="7241770" y="230653"/>
                  <a:pt x="7211288" y="230653"/>
                </a:cubicBezTo>
                <a:cubicBezTo>
                  <a:pt x="7180806" y="230653"/>
                  <a:pt x="7156096" y="205943"/>
                  <a:pt x="7156096" y="175462"/>
                </a:cubicBezTo>
                <a:cubicBezTo>
                  <a:pt x="7156096" y="144981"/>
                  <a:pt x="7180806" y="120271"/>
                  <a:pt x="7211288" y="120271"/>
                </a:cubicBezTo>
                <a:close/>
                <a:moveTo>
                  <a:pt x="5223474" y="120271"/>
                </a:moveTo>
                <a:cubicBezTo>
                  <a:pt x="5253956" y="120271"/>
                  <a:pt x="5278666" y="144981"/>
                  <a:pt x="5278666" y="175462"/>
                </a:cubicBezTo>
                <a:cubicBezTo>
                  <a:pt x="5278666" y="205943"/>
                  <a:pt x="5253956" y="230653"/>
                  <a:pt x="5223474" y="230653"/>
                </a:cubicBezTo>
                <a:cubicBezTo>
                  <a:pt x="5192992" y="230653"/>
                  <a:pt x="5168282" y="205943"/>
                  <a:pt x="5168282" y="175462"/>
                </a:cubicBezTo>
                <a:cubicBezTo>
                  <a:pt x="5168282" y="144981"/>
                  <a:pt x="5192992" y="120271"/>
                  <a:pt x="5223474" y="120271"/>
                </a:cubicBezTo>
                <a:close/>
                <a:moveTo>
                  <a:pt x="5093178" y="120271"/>
                </a:moveTo>
                <a:cubicBezTo>
                  <a:pt x="5123660" y="120271"/>
                  <a:pt x="5148370" y="144981"/>
                  <a:pt x="5148370" y="175462"/>
                </a:cubicBezTo>
                <a:cubicBezTo>
                  <a:pt x="5148370" y="205943"/>
                  <a:pt x="5123660" y="230653"/>
                  <a:pt x="5093178" y="230653"/>
                </a:cubicBezTo>
                <a:cubicBezTo>
                  <a:pt x="5062696" y="230653"/>
                  <a:pt x="5037986" y="205943"/>
                  <a:pt x="5037986" y="175462"/>
                </a:cubicBezTo>
                <a:cubicBezTo>
                  <a:pt x="5037986" y="144981"/>
                  <a:pt x="5062696" y="120271"/>
                  <a:pt x="5093178" y="120271"/>
                </a:cubicBezTo>
                <a:close/>
                <a:moveTo>
                  <a:pt x="4161077" y="120271"/>
                </a:moveTo>
                <a:cubicBezTo>
                  <a:pt x="4191559" y="120271"/>
                  <a:pt x="4216269" y="144981"/>
                  <a:pt x="4216269" y="175462"/>
                </a:cubicBezTo>
                <a:cubicBezTo>
                  <a:pt x="4216269" y="205943"/>
                  <a:pt x="4191559" y="230653"/>
                  <a:pt x="4161077" y="230653"/>
                </a:cubicBezTo>
                <a:cubicBezTo>
                  <a:pt x="4130595" y="230653"/>
                  <a:pt x="4105885" y="205943"/>
                  <a:pt x="4105885" y="175462"/>
                </a:cubicBezTo>
                <a:cubicBezTo>
                  <a:pt x="4105885" y="144981"/>
                  <a:pt x="4130595" y="120271"/>
                  <a:pt x="4161077" y="120271"/>
                </a:cubicBezTo>
                <a:close/>
                <a:moveTo>
                  <a:pt x="4030786" y="120271"/>
                </a:moveTo>
                <a:cubicBezTo>
                  <a:pt x="4061268" y="120271"/>
                  <a:pt x="4085978" y="144981"/>
                  <a:pt x="4085978" y="175462"/>
                </a:cubicBezTo>
                <a:cubicBezTo>
                  <a:pt x="4085978" y="205943"/>
                  <a:pt x="4061268" y="230653"/>
                  <a:pt x="4030786" y="230653"/>
                </a:cubicBezTo>
                <a:cubicBezTo>
                  <a:pt x="4000304" y="230653"/>
                  <a:pt x="3975594" y="205943"/>
                  <a:pt x="3975594" y="175462"/>
                </a:cubicBezTo>
                <a:cubicBezTo>
                  <a:pt x="3975594" y="144981"/>
                  <a:pt x="4000304" y="120271"/>
                  <a:pt x="4030786" y="120271"/>
                </a:cubicBezTo>
                <a:close/>
                <a:moveTo>
                  <a:pt x="3897148" y="120271"/>
                </a:moveTo>
                <a:cubicBezTo>
                  <a:pt x="3927630" y="120271"/>
                  <a:pt x="3952340" y="144981"/>
                  <a:pt x="3952340" y="175462"/>
                </a:cubicBezTo>
                <a:cubicBezTo>
                  <a:pt x="3952340" y="205943"/>
                  <a:pt x="3927630" y="230653"/>
                  <a:pt x="3897148" y="230653"/>
                </a:cubicBezTo>
                <a:cubicBezTo>
                  <a:pt x="3866666" y="230653"/>
                  <a:pt x="3841956" y="205943"/>
                  <a:pt x="3841956" y="175462"/>
                </a:cubicBezTo>
                <a:cubicBezTo>
                  <a:pt x="3841956" y="144981"/>
                  <a:pt x="3866666" y="120271"/>
                  <a:pt x="3897148" y="120271"/>
                </a:cubicBezTo>
                <a:close/>
                <a:moveTo>
                  <a:pt x="3763514" y="120271"/>
                </a:moveTo>
                <a:cubicBezTo>
                  <a:pt x="3793996" y="120271"/>
                  <a:pt x="3818706" y="144981"/>
                  <a:pt x="3818706" y="175462"/>
                </a:cubicBezTo>
                <a:cubicBezTo>
                  <a:pt x="3818706" y="205943"/>
                  <a:pt x="3793996" y="230653"/>
                  <a:pt x="3763514" y="230653"/>
                </a:cubicBezTo>
                <a:cubicBezTo>
                  <a:pt x="3733032" y="230653"/>
                  <a:pt x="3708322" y="205943"/>
                  <a:pt x="3708322" y="175462"/>
                </a:cubicBezTo>
                <a:cubicBezTo>
                  <a:pt x="3708322" y="144981"/>
                  <a:pt x="3733032" y="120271"/>
                  <a:pt x="3763514" y="120271"/>
                </a:cubicBezTo>
                <a:close/>
                <a:moveTo>
                  <a:pt x="3633221" y="120271"/>
                </a:moveTo>
                <a:cubicBezTo>
                  <a:pt x="3663703" y="120271"/>
                  <a:pt x="3688413" y="144981"/>
                  <a:pt x="3688413" y="175462"/>
                </a:cubicBezTo>
                <a:cubicBezTo>
                  <a:pt x="3688413" y="205943"/>
                  <a:pt x="3663703" y="230653"/>
                  <a:pt x="3633221" y="230653"/>
                </a:cubicBezTo>
                <a:cubicBezTo>
                  <a:pt x="3602739" y="230653"/>
                  <a:pt x="3578029" y="205943"/>
                  <a:pt x="3578029" y="175462"/>
                </a:cubicBezTo>
                <a:cubicBezTo>
                  <a:pt x="3578029" y="144981"/>
                  <a:pt x="3602739" y="120271"/>
                  <a:pt x="3633221" y="120271"/>
                </a:cubicBezTo>
                <a:close/>
                <a:moveTo>
                  <a:pt x="3499589" y="120271"/>
                </a:moveTo>
                <a:cubicBezTo>
                  <a:pt x="3530071" y="120271"/>
                  <a:pt x="3554781" y="144981"/>
                  <a:pt x="3554781" y="175462"/>
                </a:cubicBezTo>
                <a:cubicBezTo>
                  <a:pt x="3554781" y="205943"/>
                  <a:pt x="3530071" y="230653"/>
                  <a:pt x="3499589" y="230653"/>
                </a:cubicBezTo>
                <a:cubicBezTo>
                  <a:pt x="3469107" y="230653"/>
                  <a:pt x="3444397" y="205943"/>
                  <a:pt x="3444397" y="175462"/>
                </a:cubicBezTo>
                <a:cubicBezTo>
                  <a:pt x="3444397" y="144981"/>
                  <a:pt x="3469107" y="120271"/>
                  <a:pt x="3499589" y="120271"/>
                </a:cubicBezTo>
                <a:close/>
                <a:moveTo>
                  <a:pt x="3369293" y="120271"/>
                </a:moveTo>
                <a:cubicBezTo>
                  <a:pt x="3399775" y="120271"/>
                  <a:pt x="3424485" y="144981"/>
                  <a:pt x="3424485" y="175462"/>
                </a:cubicBezTo>
                <a:cubicBezTo>
                  <a:pt x="3424485" y="205943"/>
                  <a:pt x="3399775" y="230653"/>
                  <a:pt x="3369293" y="230653"/>
                </a:cubicBezTo>
                <a:cubicBezTo>
                  <a:pt x="3338811" y="230653"/>
                  <a:pt x="3314101" y="205943"/>
                  <a:pt x="3314101" y="175462"/>
                </a:cubicBezTo>
                <a:cubicBezTo>
                  <a:pt x="3314101" y="144981"/>
                  <a:pt x="3338811" y="120271"/>
                  <a:pt x="3369293" y="120271"/>
                </a:cubicBezTo>
                <a:close/>
                <a:moveTo>
                  <a:pt x="3235657" y="120271"/>
                </a:moveTo>
                <a:cubicBezTo>
                  <a:pt x="3266139" y="120271"/>
                  <a:pt x="3290849" y="144981"/>
                  <a:pt x="3290849" y="175462"/>
                </a:cubicBezTo>
                <a:cubicBezTo>
                  <a:pt x="3290849" y="205943"/>
                  <a:pt x="3266139" y="230653"/>
                  <a:pt x="3235657" y="230653"/>
                </a:cubicBezTo>
                <a:cubicBezTo>
                  <a:pt x="3205175" y="230653"/>
                  <a:pt x="3180465" y="205943"/>
                  <a:pt x="3180465" y="175462"/>
                </a:cubicBezTo>
                <a:cubicBezTo>
                  <a:pt x="3180465" y="144981"/>
                  <a:pt x="3205175" y="120271"/>
                  <a:pt x="3235657" y="120271"/>
                </a:cubicBezTo>
                <a:close/>
                <a:moveTo>
                  <a:pt x="3098682" y="120271"/>
                </a:moveTo>
                <a:cubicBezTo>
                  <a:pt x="3129164" y="120271"/>
                  <a:pt x="3153874" y="144981"/>
                  <a:pt x="3153874" y="175462"/>
                </a:cubicBezTo>
                <a:cubicBezTo>
                  <a:pt x="3153874" y="205943"/>
                  <a:pt x="3129164" y="230653"/>
                  <a:pt x="3098682" y="230653"/>
                </a:cubicBezTo>
                <a:cubicBezTo>
                  <a:pt x="3068200" y="230653"/>
                  <a:pt x="3043490" y="205943"/>
                  <a:pt x="3043490" y="175462"/>
                </a:cubicBezTo>
                <a:cubicBezTo>
                  <a:pt x="3043490" y="144981"/>
                  <a:pt x="3068200" y="120271"/>
                  <a:pt x="3098682" y="120271"/>
                </a:cubicBezTo>
                <a:close/>
                <a:moveTo>
                  <a:pt x="2971729" y="120271"/>
                </a:moveTo>
                <a:cubicBezTo>
                  <a:pt x="3002211" y="120271"/>
                  <a:pt x="3026921" y="144981"/>
                  <a:pt x="3026921" y="175462"/>
                </a:cubicBezTo>
                <a:cubicBezTo>
                  <a:pt x="3026921" y="205943"/>
                  <a:pt x="3002211" y="230653"/>
                  <a:pt x="2971729" y="230653"/>
                </a:cubicBezTo>
                <a:cubicBezTo>
                  <a:pt x="2941247" y="230653"/>
                  <a:pt x="2916537" y="205943"/>
                  <a:pt x="2916537" y="175462"/>
                </a:cubicBezTo>
                <a:cubicBezTo>
                  <a:pt x="2916537" y="144981"/>
                  <a:pt x="2941247" y="120271"/>
                  <a:pt x="2971729" y="120271"/>
                </a:cubicBezTo>
                <a:close/>
                <a:moveTo>
                  <a:pt x="2707903" y="120271"/>
                </a:moveTo>
                <a:cubicBezTo>
                  <a:pt x="2738390" y="120271"/>
                  <a:pt x="2763100" y="144981"/>
                  <a:pt x="2763100" y="175462"/>
                </a:cubicBezTo>
                <a:cubicBezTo>
                  <a:pt x="2763100" y="205943"/>
                  <a:pt x="2738390" y="230653"/>
                  <a:pt x="2707903" y="230653"/>
                </a:cubicBezTo>
                <a:cubicBezTo>
                  <a:pt x="2677427" y="230653"/>
                  <a:pt x="2652715" y="205943"/>
                  <a:pt x="2652715" y="175462"/>
                </a:cubicBezTo>
                <a:cubicBezTo>
                  <a:pt x="2652715" y="144981"/>
                  <a:pt x="2677427" y="120271"/>
                  <a:pt x="2707903" y="120271"/>
                </a:cubicBezTo>
                <a:close/>
                <a:moveTo>
                  <a:pt x="2570933" y="120271"/>
                </a:moveTo>
                <a:cubicBezTo>
                  <a:pt x="2601414" y="120271"/>
                  <a:pt x="2626123" y="144981"/>
                  <a:pt x="2626123" y="175462"/>
                </a:cubicBezTo>
                <a:cubicBezTo>
                  <a:pt x="2626123" y="205943"/>
                  <a:pt x="2601414" y="230653"/>
                  <a:pt x="2570933" y="230653"/>
                </a:cubicBezTo>
                <a:cubicBezTo>
                  <a:pt x="2540449" y="230653"/>
                  <a:pt x="2515738" y="205943"/>
                  <a:pt x="2515738" y="175462"/>
                </a:cubicBezTo>
                <a:cubicBezTo>
                  <a:pt x="2515738" y="144981"/>
                  <a:pt x="2540449" y="120271"/>
                  <a:pt x="2570933" y="120271"/>
                </a:cubicBezTo>
                <a:close/>
                <a:moveTo>
                  <a:pt x="2437297" y="120271"/>
                </a:moveTo>
                <a:cubicBezTo>
                  <a:pt x="2467781" y="120271"/>
                  <a:pt x="2492487" y="144981"/>
                  <a:pt x="2492487" y="175462"/>
                </a:cubicBezTo>
                <a:cubicBezTo>
                  <a:pt x="2492487" y="205943"/>
                  <a:pt x="2467781" y="230653"/>
                  <a:pt x="2437297" y="230653"/>
                </a:cubicBezTo>
                <a:cubicBezTo>
                  <a:pt x="2406818" y="230653"/>
                  <a:pt x="2382108" y="205943"/>
                  <a:pt x="2382108" y="175462"/>
                </a:cubicBezTo>
                <a:cubicBezTo>
                  <a:pt x="2382108" y="144981"/>
                  <a:pt x="2406818" y="120271"/>
                  <a:pt x="2437297" y="120271"/>
                </a:cubicBezTo>
                <a:close/>
                <a:moveTo>
                  <a:pt x="2303666" y="120271"/>
                </a:moveTo>
                <a:cubicBezTo>
                  <a:pt x="2334146" y="120271"/>
                  <a:pt x="2358856" y="144981"/>
                  <a:pt x="2358856" y="175462"/>
                </a:cubicBezTo>
                <a:cubicBezTo>
                  <a:pt x="2358856" y="205943"/>
                  <a:pt x="2334146" y="230653"/>
                  <a:pt x="2303666" y="230653"/>
                </a:cubicBezTo>
                <a:cubicBezTo>
                  <a:pt x="2273184" y="230653"/>
                  <a:pt x="2248473" y="205943"/>
                  <a:pt x="2248473" y="175462"/>
                </a:cubicBezTo>
                <a:cubicBezTo>
                  <a:pt x="2248473" y="144981"/>
                  <a:pt x="2273184" y="120271"/>
                  <a:pt x="2303666" y="120271"/>
                </a:cubicBezTo>
                <a:close/>
                <a:moveTo>
                  <a:pt x="2173372" y="120271"/>
                </a:moveTo>
                <a:cubicBezTo>
                  <a:pt x="2203857" y="120271"/>
                  <a:pt x="2228566" y="144981"/>
                  <a:pt x="2228566" y="175462"/>
                </a:cubicBezTo>
                <a:cubicBezTo>
                  <a:pt x="2228566" y="205943"/>
                  <a:pt x="2203857" y="230653"/>
                  <a:pt x="2173372" y="230653"/>
                </a:cubicBezTo>
                <a:cubicBezTo>
                  <a:pt x="2142892" y="230653"/>
                  <a:pt x="2118180" y="205943"/>
                  <a:pt x="2118180" y="175462"/>
                </a:cubicBezTo>
                <a:cubicBezTo>
                  <a:pt x="2118180" y="144981"/>
                  <a:pt x="2142892" y="120271"/>
                  <a:pt x="2173372" y="120271"/>
                </a:cubicBezTo>
                <a:close/>
                <a:moveTo>
                  <a:pt x="7341580" y="0"/>
                </a:moveTo>
                <a:cubicBezTo>
                  <a:pt x="7372062" y="0"/>
                  <a:pt x="7396772" y="24710"/>
                  <a:pt x="7396772" y="55191"/>
                </a:cubicBezTo>
                <a:cubicBezTo>
                  <a:pt x="7396772" y="85672"/>
                  <a:pt x="7372062" y="110382"/>
                  <a:pt x="7341580" y="110382"/>
                </a:cubicBezTo>
                <a:cubicBezTo>
                  <a:pt x="7311098" y="110382"/>
                  <a:pt x="7286388" y="85672"/>
                  <a:pt x="7286388" y="55191"/>
                </a:cubicBezTo>
                <a:cubicBezTo>
                  <a:pt x="7286388" y="24710"/>
                  <a:pt x="7311098" y="0"/>
                  <a:pt x="7341580" y="0"/>
                </a:cubicBezTo>
                <a:close/>
                <a:moveTo>
                  <a:pt x="4294713" y="0"/>
                </a:moveTo>
                <a:cubicBezTo>
                  <a:pt x="4325195" y="0"/>
                  <a:pt x="4349905" y="24710"/>
                  <a:pt x="4349905" y="55191"/>
                </a:cubicBezTo>
                <a:cubicBezTo>
                  <a:pt x="4349905" y="85672"/>
                  <a:pt x="4325195" y="110382"/>
                  <a:pt x="4294713" y="110382"/>
                </a:cubicBezTo>
                <a:cubicBezTo>
                  <a:pt x="4264231" y="110382"/>
                  <a:pt x="4239521" y="85672"/>
                  <a:pt x="4239521" y="55191"/>
                </a:cubicBezTo>
                <a:cubicBezTo>
                  <a:pt x="4239521" y="24710"/>
                  <a:pt x="4264231" y="0"/>
                  <a:pt x="4294713" y="0"/>
                </a:cubicBezTo>
                <a:close/>
                <a:moveTo>
                  <a:pt x="4161077" y="0"/>
                </a:moveTo>
                <a:cubicBezTo>
                  <a:pt x="4191559" y="0"/>
                  <a:pt x="4216269" y="24710"/>
                  <a:pt x="4216269" y="55191"/>
                </a:cubicBezTo>
                <a:cubicBezTo>
                  <a:pt x="4216269" y="85672"/>
                  <a:pt x="4191559" y="110382"/>
                  <a:pt x="4161077" y="110382"/>
                </a:cubicBezTo>
                <a:cubicBezTo>
                  <a:pt x="4130595" y="110382"/>
                  <a:pt x="4105885" y="85672"/>
                  <a:pt x="4105885" y="55191"/>
                </a:cubicBezTo>
                <a:cubicBezTo>
                  <a:pt x="4105885" y="24710"/>
                  <a:pt x="4130595" y="0"/>
                  <a:pt x="4161077" y="0"/>
                </a:cubicBezTo>
                <a:close/>
                <a:moveTo>
                  <a:pt x="4030786" y="0"/>
                </a:moveTo>
                <a:cubicBezTo>
                  <a:pt x="4061268" y="0"/>
                  <a:pt x="4085978" y="24710"/>
                  <a:pt x="4085978" y="55191"/>
                </a:cubicBezTo>
                <a:cubicBezTo>
                  <a:pt x="4085978" y="85672"/>
                  <a:pt x="4061268" y="110382"/>
                  <a:pt x="4030786" y="110382"/>
                </a:cubicBezTo>
                <a:cubicBezTo>
                  <a:pt x="4000304" y="110382"/>
                  <a:pt x="3975594" y="85672"/>
                  <a:pt x="3975594" y="55191"/>
                </a:cubicBezTo>
                <a:cubicBezTo>
                  <a:pt x="3975594" y="24710"/>
                  <a:pt x="4000304" y="0"/>
                  <a:pt x="4030786" y="0"/>
                </a:cubicBezTo>
                <a:close/>
                <a:moveTo>
                  <a:pt x="3897148" y="0"/>
                </a:moveTo>
                <a:cubicBezTo>
                  <a:pt x="3927630" y="0"/>
                  <a:pt x="3952340" y="24710"/>
                  <a:pt x="3952340" y="55191"/>
                </a:cubicBezTo>
                <a:cubicBezTo>
                  <a:pt x="3952340" y="85672"/>
                  <a:pt x="3927630" y="110382"/>
                  <a:pt x="3897148" y="110382"/>
                </a:cubicBezTo>
                <a:cubicBezTo>
                  <a:pt x="3866666" y="110382"/>
                  <a:pt x="3841956" y="85672"/>
                  <a:pt x="3841956" y="55191"/>
                </a:cubicBezTo>
                <a:cubicBezTo>
                  <a:pt x="3841956" y="24710"/>
                  <a:pt x="3866666" y="0"/>
                  <a:pt x="3897148" y="0"/>
                </a:cubicBezTo>
                <a:close/>
                <a:moveTo>
                  <a:pt x="3763514" y="0"/>
                </a:moveTo>
                <a:cubicBezTo>
                  <a:pt x="3793996" y="0"/>
                  <a:pt x="3818706" y="24710"/>
                  <a:pt x="3818706" y="55191"/>
                </a:cubicBezTo>
                <a:cubicBezTo>
                  <a:pt x="3818706" y="85672"/>
                  <a:pt x="3793996" y="110382"/>
                  <a:pt x="3763514" y="110382"/>
                </a:cubicBezTo>
                <a:cubicBezTo>
                  <a:pt x="3733032" y="110382"/>
                  <a:pt x="3708322" y="85672"/>
                  <a:pt x="3708322" y="55191"/>
                </a:cubicBezTo>
                <a:cubicBezTo>
                  <a:pt x="3708322" y="24710"/>
                  <a:pt x="3733032" y="0"/>
                  <a:pt x="3763514" y="0"/>
                </a:cubicBezTo>
                <a:close/>
                <a:moveTo>
                  <a:pt x="3633221" y="0"/>
                </a:moveTo>
                <a:cubicBezTo>
                  <a:pt x="3663703" y="0"/>
                  <a:pt x="3688413" y="24710"/>
                  <a:pt x="3688413" y="55191"/>
                </a:cubicBezTo>
                <a:cubicBezTo>
                  <a:pt x="3688413" y="85672"/>
                  <a:pt x="3663703" y="110382"/>
                  <a:pt x="3633221" y="110382"/>
                </a:cubicBezTo>
                <a:cubicBezTo>
                  <a:pt x="3602739" y="110382"/>
                  <a:pt x="3578029" y="85672"/>
                  <a:pt x="3578029" y="55191"/>
                </a:cubicBezTo>
                <a:cubicBezTo>
                  <a:pt x="3578029" y="24710"/>
                  <a:pt x="3602739" y="0"/>
                  <a:pt x="3633221" y="0"/>
                </a:cubicBezTo>
                <a:close/>
                <a:moveTo>
                  <a:pt x="3499589" y="0"/>
                </a:moveTo>
                <a:cubicBezTo>
                  <a:pt x="3530071" y="0"/>
                  <a:pt x="3554781" y="24710"/>
                  <a:pt x="3554781" y="55191"/>
                </a:cubicBezTo>
                <a:cubicBezTo>
                  <a:pt x="3554781" y="85672"/>
                  <a:pt x="3530071" y="110382"/>
                  <a:pt x="3499589" y="110382"/>
                </a:cubicBezTo>
                <a:cubicBezTo>
                  <a:pt x="3469107" y="110382"/>
                  <a:pt x="3444397" y="85672"/>
                  <a:pt x="3444397" y="55191"/>
                </a:cubicBezTo>
                <a:cubicBezTo>
                  <a:pt x="3444397" y="24710"/>
                  <a:pt x="3469107" y="0"/>
                  <a:pt x="3499589" y="0"/>
                </a:cubicBezTo>
                <a:close/>
                <a:moveTo>
                  <a:pt x="3369293" y="0"/>
                </a:moveTo>
                <a:cubicBezTo>
                  <a:pt x="3399775" y="0"/>
                  <a:pt x="3424485" y="24710"/>
                  <a:pt x="3424485" y="55191"/>
                </a:cubicBezTo>
                <a:cubicBezTo>
                  <a:pt x="3424485" y="85672"/>
                  <a:pt x="3399775" y="110382"/>
                  <a:pt x="3369293" y="110382"/>
                </a:cubicBezTo>
                <a:cubicBezTo>
                  <a:pt x="3338811" y="110382"/>
                  <a:pt x="3314101" y="85672"/>
                  <a:pt x="3314101" y="55191"/>
                </a:cubicBezTo>
                <a:cubicBezTo>
                  <a:pt x="3314101" y="24710"/>
                  <a:pt x="3338811" y="0"/>
                  <a:pt x="3369293" y="0"/>
                </a:cubicBezTo>
                <a:close/>
                <a:moveTo>
                  <a:pt x="3235657" y="0"/>
                </a:moveTo>
                <a:cubicBezTo>
                  <a:pt x="3266139" y="0"/>
                  <a:pt x="3290849" y="24710"/>
                  <a:pt x="3290849" y="55191"/>
                </a:cubicBezTo>
                <a:cubicBezTo>
                  <a:pt x="3290849" y="85672"/>
                  <a:pt x="3266139" y="110382"/>
                  <a:pt x="3235657" y="110382"/>
                </a:cubicBezTo>
                <a:cubicBezTo>
                  <a:pt x="3205175" y="110382"/>
                  <a:pt x="3180465" y="85672"/>
                  <a:pt x="3180465" y="55191"/>
                </a:cubicBezTo>
                <a:cubicBezTo>
                  <a:pt x="3180465" y="24710"/>
                  <a:pt x="3205175" y="0"/>
                  <a:pt x="3235657" y="0"/>
                </a:cubicBezTo>
                <a:close/>
                <a:moveTo>
                  <a:pt x="2834862" y="0"/>
                </a:moveTo>
                <a:cubicBezTo>
                  <a:pt x="2865342" y="0"/>
                  <a:pt x="2890052" y="24710"/>
                  <a:pt x="2890052" y="55191"/>
                </a:cubicBezTo>
                <a:cubicBezTo>
                  <a:pt x="2890052" y="85672"/>
                  <a:pt x="2865342" y="110382"/>
                  <a:pt x="2834862" y="110382"/>
                </a:cubicBezTo>
                <a:cubicBezTo>
                  <a:pt x="2804379" y="110382"/>
                  <a:pt x="2779671" y="85672"/>
                  <a:pt x="2779671" y="55191"/>
                </a:cubicBezTo>
                <a:cubicBezTo>
                  <a:pt x="2779671" y="24710"/>
                  <a:pt x="2804379" y="0"/>
                  <a:pt x="2834862" y="0"/>
                </a:cubicBezTo>
                <a:close/>
                <a:moveTo>
                  <a:pt x="2707903" y="0"/>
                </a:moveTo>
                <a:cubicBezTo>
                  <a:pt x="2738390" y="0"/>
                  <a:pt x="2763100" y="24710"/>
                  <a:pt x="2763100" y="55191"/>
                </a:cubicBezTo>
                <a:cubicBezTo>
                  <a:pt x="2763100" y="85672"/>
                  <a:pt x="2738390" y="110382"/>
                  <a:pt x="2707903" y="110382"/>
                </a:cubicBezTo>
                <a:cubicBezTo>
                  <a:pt x="2677427" y="110382"/>
                  <a:pt x="2652715" y="85672"/>
                  <a:pt x="2652715" y="55191"/>
                </a:cubicBezTo>
                <a:cubicBezTo>
                  <a:pt x="2652715" y="24710"/>
                  <a:pt x="2677427" y="0"/>
                  <a:pt x="2707903" y="0"/>
                </a:cubicBezTo>
                <a:close/>
                <a:moveTo>
                  <a:pt x="2570933" y="0"/>
                </a:moveTo>
                <a:cubicBezTo>
                  <a:pt x="2601414" y="0"/>
                  <a:pt x="2626123" y="24710"/>
                  <a:pt x="2626123" y="55191"/>
                </a:cubicBezTo>
                <a:cubicBezTo>
                  <a:pt x="2626123" y="85672"/>
                  <a:pt x="2601414" y="110382"/>
                  <a:pt x="2570933" y="110382"/>
                </a:cubicBezTo>
                <a:cubicBezTo>
                  <a:pt x="2540449" y="110382"/>
                  <a:pt x="2515738" y="85672"/>
                  <a:pt x="2515738" y="55191"/>
                </a:cubicBezTo>
                <a:cubicBezTo>
                  <a:pt x="2515738" y="24710"/>
                  <a:pt x="2540449" y="0"/>
                  <a:pt x="2570933" y="0"/>
                </a:cubicBezTo>
                <a:close/>
                <a:moveTo>
                  <a:pt x="2437297" y="0"/>
                </a:moveTo>
                <a:cubicBezTo>
                  <a:pt x="2467781" y="0"/>
                  <a:pt x="2492487" y="24710"/>
                  <a:pt x="2492487" y="55191"/>
                </a:cubicBezTo>
                <a:cubicBezTo>
                  <a:pt x="2492487" y="85672"/>
                  <a:pt x="2467781" y="110382"/>
                  <a:pt x="2437297" y="110382"/>
                </a:cubicBezTo>
                <a:cubicBezTo>
                  <a:pt x="2406818" y="110382"/>
                  <a:pt x="2382108" y="85672"/>
                  <a:pt x="2382108" y="55191"/>
                </a:cubicBezTo>
                <a:cubicBezTo>
                  <a:pt x="2382108" y="24710"/>
                  <a:pt x="2406818" y="0"/>
                  <a:pt x="2437297"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dirty="0">
              <a:solidFill>
                <a:srgbClr val="505050"/>
              </a:solidFill>
              <a:latin typeface="Segoe UI"/>
            </a:endParaRPr>
          </a:p>
        </p:txBody>
      </p:sp>
      <p:pic>
        <p:nvPicPr>
          <p:cNvPr id="829" name="Picture 2" descr="https://c2.staticflickr.com/4/3701/19224697601_d03ecccf71_o.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3945" r="13945"/>
          <a:stretch/>
        </p:blipFill>
        <p:spPr bwMode="auto">
          <a:xfrm>
            <a:off x="10498960" y="3044700"/>
            <a:ext cx="554112" cy="768430"/>
          </a:xfrm>
          <a:prstGeom prst="rect">
            <a:avLst/>
          </a:prstGeom>
          <a:noFill/>
          <a:extLst>
            <a:ext uri="{909E8E84-426E-40DD-AFC4-6F175D3DCCD1}">
              <a14:hiddenFill xmlns:a14="http://schemas.microsoft.com/office/drawing/2010/main">
                <a:solidFill>
                  <a:srgbClr val="FFFFFF"/>
                </a:solidFill>
              </a14:hiddenFill>
            </a:ext>
          </a:extLst>
        </p:spPr>
      </p:pic>
      <p:pic>
        <p:nvPicPr>
          <p:cNvPr id="839" name="Picture 838" descr="https://upload.wikimedia.org/wikipedia/en/thumb/5/54/Gremlin_%28programming_language%29.png/383px-Gremlin_%28programming_language%29.png"/>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6402203" y="2565196"/>
            <a:ext cx="1560030" cy="606906"/>
          </a:xfrm>
          <a:prstGeom prst="rect">
            <a:avLst/>
          </a:prstGeom>
          <a:extLst>
            <a:ext uri="{909E8E84-426E-40DD-AFC4-6F175D3DCCD1}">
              <a14:hiddenFill xmlns:a14="http://schemas.microsoft.com/office/drawing/2010/main">
                <a:solidFill>
                  <a:srgbClr val="FFFFFF"/>
                </a:solidFill>
              </a14:hiddenFill>
            </a:ext>
          </a:extLst>
        </p:spPr>
      </p:pic>
      <p:pic>
        <p:nvPicPr>
          <p:cNvPr id="840" name="Picture 4" descr="File:MongoDB-Logo.sv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81948" y="2993698"/>
            <a:ext cx="1564327" cy="424476"/>
          </a:xfrm>
          <a:prstGeom prst="rect">
            <a:avLst/>
          </a:prstGeom>
          <a:noFill/>
          <a:extLst>
            <a:ext uri="{909E8E84-426E-40DD-AFC4-6F175D3DCCD1}">
              <a14:hiddenFill xmlns:a14="http://schemas.microsoft.com/office/drawing/2010/main">
                <a:solidFill>
                  <a:srgbClr val="FFFFFF"/>
                </a:solidFill>
              </a14:hiddenFill>
            </a:ext>
          </a:extLst>
        </p:spPr>
      </p:pic>
      <p:grpSp>
        <p:nvGrpSpPr>
          <p:cNvPr id="865" name="Group 864"/>
          <p:cNvGrpSpPr/>
          <p:nvPr/>
        </p:nvGrpSpPr>
        <p:grpSpPr>
          <a:xfrm>
            <a:off x="8764941" y="3950037"/>
            <a:ext cx="586303" cy="377163"/>
            <a:chOff x="7117181" y="5146654"/>
            <a:chExt cx="663064" cy="426544"/>
          </a:xfrm>
          <a:solidFill>
            <a:srgbClr val="59B4D9"/>
          </a:solidFill>
        </p:grpSpPr>
        <p:sp>
          <p:nvSpPr>
            <p:cNvPr id="866" name="Oval 865"/>
            <p:cNvSpPr/>
            <p:nvPr/>
          </p:nvSpPr>
          <p:spPr bwMode="auto">
            <a:xfrm rot="715722">
              <a:off x="7117181" y="5146654"/>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7" name="Oval 866"/>
            <p:cNvSpPr/>
            <p:nvPr/>
          </p:nvSpPr>
          <p:spPr bwMode="auto">
            <a:xfrm>
              <a:off x="7476127" y="5224668"/>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8" name="Oval 867"/>
            <p:cNvSpPr/>
            <p:nvPr/>
          </p:nvSpPr>
          <p:spPr bwMode="auto">
            <a:xfrm>
              <a:off x="7296654"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9" name="Oval 868"/>
            <p:cNvSpPr/>
            <p:nvPr/>
          </p:nvSpPr>
          <p:spPr bwMode="auto">
            <a:xfrm>
              <a:off x="7655599"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870" name="Straight Connector 869"/>
            <p:cNvCxnSpPr>
              <a:cxnSpLocks/>
            </p:cNvCxnSpPr>
            <p:nvPr/>
          </p:nvCxnSpPr>
          <p:spPr>
            <a:xfrm>
              <a:off x="7240481" y="5221859"/>
              <a:ext cx="235646" cy="65132"/>
            </a:xfrm>
            <a:prstGeom prst="line">
              <a:avLst/>
            </a:prstGeom>
            <a:grpFill/>
            <a:ln w="12700" cap="flat" cmpd="sng" algn="ctr">
              <a:solidFill>
                <a:schemeClr val="tx2"/>
              </a:solidFill>
              <a:prstDash val="sysDot"/>
              <a:miter lim="800000"/>
              <a:headEnd type="none"/>
              <a:tailEnd type="none"/>
            </a:ln>
            <a:effectLst/>
          </p:spPr>
        </p:cxnSp>
        <p:cxnSp>
          <p:nvCxnSpPr>
            <p:cNvPr id="871" name="Straight Connector 870"/>
            <p:cNvCxnSpPr>
              <a:cxnSpLocks/>
            </p:cNvCxnSpPr>
            <p:nvPr/>
          </p:nvCxnSpPr>
          <p:spPr>
            <a:xfrm>
              <a:off x="7421300" y="5510875"/>
              <a:ext cx="234299" cy="0"/>
            </a:xfrm>
            <a:prstGeom prst="line">
              <a:avLst/>
            </a:prstGeom>
            <a:grpFill/>
            <a:ln w="12700" cap="flat" cmpd="sng" algn="ctr">
              <a:solidFill>
                <a:schemeClr val="tx2"/>
              </a:solidFill>
              <a:prstDash val="sysDot"/>
              <a:miter lim="800000"/>
              <a:headEnd type="none"/>
              <a:tailEnd type="none"/>
            </a:ln>
            <a:effectLst/>
          </p:spPr>
        </p:cxnSp>
        <p:cxnSp>
          <p:nvCxnSpPr>
            <p:cNvPr id="872" name="Straight Connector 871"/>
            <p:cNvCxnSpPr>
              <a:cxnSpLocks/>
            </p:cNvCxnSpPr>
            <p:nvPr/>
          </p:nvCxnSpPr>
          <p:spPr>
            <a:xfrm>
              <a:off x="7582519" y="5331060"/>
              <a:ext cx="91334" cy="135746"/>
            </a:xfrm>
            <a:prstGeom prst="line">
              <a:avLst/>
            </a:prstGeom>
            <a:grpFill/>
            <a:ln w="12700" cap="flat" cmpd="sng" algn="ctr">
              <a:solidFill>
                <a:schemeClr val="tx2"/>
              </a:solidFill>
              <a:prstDash val="sysDot"/>
              <a:miter lim="800000"/>
              <a:headEnd type="none"/>
              <a:tailEnd type="none"/>
            </a:ln>
            <a:effectLst/>
          </p:spPr>
        </p:cxnSp>
        <p:cxnSp>
          <p:nvCxnSpPr>
            <p:cNvPr id="873" name="Straight Connector 872"/>
            <p:cNvCxnSpPr>
              <a:cxnSpLocks/>
            </p:cNvCxnSpPr>
            <p:nvPr/>
          </p:nvCxnSpPr>
          <p:spPr>
            <a:xfrm flipV="1">
              <a:off x="7403046" y="5331060"/>
              <a:ext cx="91335" cy="135746"/>
            </a:xfrm>
            <a:prstGeom prst="line">
              <a:avLst/>
            </a:prstGeom>
            <a:grpFill/>
            <a:ln w="12700" cap="flat" cmpd="sng" algn="ctr">
              <a:solidFill>
                <a:schemeClr val="tx2"/>
              </a:solidFill>
              <a:prstDash val="sysDot"/>
              <a:miter lim="800000"/>
              <a:headEnd type="none"/>
              <a:tailEnd type="none"/>
            </a:ln>
            <a:effectLst/>
          </p:spPr>
        </p:cxnSp>
      </p:grpSp>
      <p:grpSp>
        <p:nvGrpSpPr>
          <p:cNvPr id="874" name="Group 873"/>
          <p:cNvGrpSpPr/>
          <p:nvPr/>
        </p:nvGrpSpPr>
        <p:grpSpPr>
          <a:xfrm>
            <a:off x="6876015" y="3656510"/>
            <a:ext cx="499208" cy="473323"/>
            <a:chOff x="7128988" y="4166153"/>
            <a:chExt cx="604908" cy="573541"/>
          </a:xfrm>
        </p:grpSpPr>
        <p:cxnSp>
          <p:nvCxnSpPr>
            <p:cNvPr id="875" name="Straight Connector 874"/>
            <p:cNvCxnSpPr>
              <a:cxnSpLocks/>
            </p:cNvCxnSpPr>
            <p:nvPr/>
          </p:nvCxnSpPr>
          <p:spPr>
            <a:xfrm>
              <a:off x="7128988" y="4451736"/>
              <a:ext cx="238107" cy="72556"/>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6" name="Straight Connector 875"/>
            <p:cNvCxnSpPr>
              <a:cxnSpLocks/>
            </p:cNvCxnSpPr>
            <p:nvPr/>
          </p:nvCxnSpPr>
          <p:spPr>
            <a:xfrm flipV="1">
              <a:off x="7128988" y="4379180"/>
              <a:ext cx="233873" cy="72556"/>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77" name="Oval 876"/>
            <p:cNvSpPr/>
            <p:nvPr/>
          </p:nvSpPr>
          <p:spPr bwMode="auto">
            <a:xfrm>
              <a:off x="7128988" y="4383154"/>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78" name="Straight Connector 877"/>
            <p:cNvCxnSpPr>
              <a:cxnSpLocks/>
            </p:cNvCxnSpPr>
            <p:nvPr/>
          </p:nvCxnSpPr>
          <p:spPr>
            <a:xfrm>
              <a:off x="7367095" y="4524292"/>
              <a:ext cx="241432" cy="108368"/>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9" name="Straight Connector 878"/>
            <p:cNvCxnSpPr>
              <a:cxnSpLocks/>
            </p:cNvCxnSpPr>
            <p:nvPr/>
          </p:nvCxnSpPr>
          <p:spPr>
            <a:xfrm>
              <a:off x="7367095" y="4524292"/>
              <a:ext cx="229638" cy="1361"/>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0" name="Oval 879"/>
            <p:cNvSpPr/>
            <p:nvPr/>
          </p:nvSpPr>
          <p:spPr bwMode="auto">
            <a:xfrm rot="20946206">
              <a:off x="7596733" y="460253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1" name="Oval 880"/>
            <p:cNvSpPr/>
            <p:nvPr/>
          </p:nvSpPr>
          <p:spPr bwMode="auto">
            <a:xfrm>
              <a:off x="7596733" y="445707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82" name="Straight Connector 881"/>
            <p:cNvCxnSpPr>
              <a:cxnSpLocks/>
            </p:cNvCxnSpPr>
            <p:nvPr/>
          </p:nvCxnSpPr>
          <p:spPr>
            <a:xfrm>
              <a:off x="7362861" y="4379181"/>
              <a:ext cx="233872" cy="1013"/>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3" name="Oval 882"/>
            <p:cNvSpPr/>
            <p:nvPr/>
          </p:nvSpPr>
          <p:spPr bwMode="auto">
            <a:xfrm>
              <a:off x="7367095" y="4455710"/>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84" name="Straight Connector 883"/>
            <p:cNvCxnSpPr>
              <a:cxnSpLocks/>
            </p:cNvCxnSpPr>
            <p:nvPr/>
          </p:nvCxnSpPr>
          <p:spPr>
            <a:xfrm flipV="1">
              <a:off x="7362861" y="4277619"/>
              <a:ext cx="248934" cy="101562"/>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5" name="Oval 884"/>
            <p:cNvSpPr/>
            <p:nvPr/>
          </p:nvSpPr>
          <p:spPr bwMode="auto">
            <a:xfrm>
              <a:off x="7362861" y="4310599"/>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6" name="Oval 885"/>
            <p:cNvSpPr/>
            <p:nvPr/>
          </p:nvSpPr>
          <p:spPr bwMode="auto">
            <a:xfrm>
              <a:off x="7596733" y="4311612"/>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7" name="Oval 886"/>
            <p:cNvSpPr/>
            <p:nvPr/>
          </p:nvSpPr>
          <p:spPr bwMode="auto">
            <a:xfrm rot="377738">
              <a:off x="7596733" y="4166153"/>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grpSp>
      <p:sp>
        <p:nvSpPr>
          <p:cNvPr id="889" name="TextBox 888"/>
          <p:cNvSpPr txBox="1"/>
          <p:nvPr/>
        </p:nvSpPr>
        <p:spPr>
          <a:xfrm>
            <a:off x="4367177" y="4063639"/>
            <a:ext cx="996428"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Column-family</a:t>
            </a:r>
          </a:p>
        </p:txBody>
      </p:sp>
      <p:sp>
        <p:nvSpPr>
          <p:cNvPr id="890" name="TextBox 889"/>
          <p:cNvSpPr txBox="1"/>
          <p:nvPr/>
        </p:nvSpPr>
        <p:spPr>
          <a:xfrm>
            <a:off x="6832290" y="4138630"/>
            <a:ext cx="727122"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Document</a:t>
            </a:r>
          </a:p>
        </p:txBody>
      </p:sp>
      <p:sp>
        <p:nvSpPr>
          <p:cNvPr id="891" name="TextBox 890"/>
          <p:cNvSpPr txBox="1"/>
          <p:nvPr/>
        </p:nvSpPr>
        <p:spPr>
          <a:xfrm>
            <a:off x="8931096" y="4426926"/>
            <a:ext cx="467436"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Graph</a:t>
            </a:r>
          </a:p>
        </p:txBody>
      </p:sp>
      <p:sp>
        <p:nvSpPr>
          <p:cNvPr id="893" name="TextBox 892"/>
          <p:cNvSpPr txBox="1"/>
          <p:nvPr/>
        </p:nvSpPr>
        <p:spPr>
          <a:xfrm>
            <a:off x="819605" y="5509878"/>
            <a:ext cx="2021708"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Turnkey global distribution</a:t>
            </a:r>
          </a:p>
        </p:txBody>
      </p:sp>
      <p:sp>
        <p:nvSpPr>
          <p:cNvPr id="894" name="TextBox 893"/>
          <p:cNvSpPr txBox="1"/>
          <p:nvPr/>
        </p:nvSpPr>
        <p:spPr>
          <a:xfrm>
            <a:off x="2665537" y="4952921"/>
            <a:ext cx="1858201" cy="461665"/>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Elastic scale out </a:t>
            </a:r>
          </a:p>
          <a:p>
            <a:pPr algn="ctr" defTabSz="857124">
              <a:defRPr/>
            </a:pPr>
            <a:r>
              <a:rPr lang="en-US" sz="1200" kern="0" dirty="0">
                <a:solidFill>
                  <a:srgbClr val="002050"/>
                </a:solidFill>
                <a:latin typeface="Segoe UI"/>
                <a:cs typeface="Segoe UI Light" panose="020B0502040204020203" pitchFamily="34" charset="0"/>
              </a:rPr>
              <a:t>of storage &amp; throughput</a:t>
            </a:r>
          </a:p>
        </p:txBody>
      </p:sp>
      <p:sp>
        <p:nvSpPr>
          <p:cNvPr id="895" name="TextBox 894"/>
          <p:cNvSpPr txBox="1"/>
          <p:nvPr/>
        </p:nvSpPr>
        <p:spPr>
          <a:xfrm>
            <a:off x="4395442" y="4830534"/>
            <a:ext cx="3222357"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Guaranteed low latency at the 99</a:t>
            </a:r>
            <a:r>
              <a:rPr lang="en-US" sz="1200" kern="0" baseline="30000" dirty="0">
                <a:solidFill>
                  <a:srgbClr val="002050"/>
                </a:solidFill>
                <a:latin typeface="Segoe UI"/>
                <a:cs typeface="Segoe UI Light" panose="020B0502040204020203" pitchFamily="34" charset="0"/>
              </a:rPr>
              <a:t>th</a:t>
            </a:r>
            <a:r>
              <a:rPr lang="en-US" sz="1200" kern="0" dirty="0">
                <a:solidFill>
                  <a:srgbClr val="002050"/>
                </a:solidFill>
                <a:latin typeface="Segoe UI"/>
                <a:cs typeface="Segoe UI Light" panose="020B0502040204020203" pitchFamily="34" charset="0"/>
              </a:rPr>
              <a:t> percentile</a:t>
            </a:r>
          </a:p>
        </p:txBody>
      </p:sp>
      <p:sp>
        <p:nvSpPr>
          <p:cNvPr id="896" name="TextBox 895"/>
          <p:cNvSpPr txBox="1"/>
          <p:nvPr/>
        </p:nvSpPr>
        <p:spPr>
          <a:xfrm>
            <a:off x="9784424" y="5509878"/>
            <a:ext cx="1595309"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Comprehensive SLAs</a:t>
            </a:r>
          </a:p>
        </p:txBody>
      </p:sp>
      <p:sp>
        <p:nvSpPr>
          <p:cNvPr id="897" name="TextBox 896"/>
          <p:cNvSpPr txBox="1"/>
          <p:nvPr/>
        </p:nvSpPr>
        <p:spPr>
          <a:xfrm>
            <a:off x="7239920" y="5081896"/>
            <a:ext cx="2691764"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Five well-defined consistency models</a:t>
            </a:r>
          </a:p>
        </p:txBody>
      </p:sp>
      <p:grpSp>
        <p:nvGrpSpPr>
          <p:cNvPr id="905" name="Group 3"/>
          <p:cNvGrpSpPr/>
          <p:nvPr/>
        </p:nvGrpSpPr>
        <p:grpSpPr>
          <a:xfrm>
            <a:off x="2155722" y="6201962"/>
            <a:ext cx="752902" cy="752901"/>
            <a:chOff x="-4594157" y="2516834"/>
            <a:chExt cx="1070585" cy="1070585"/>
          </a:xfrm>
        </p:grpSpPr>
        <p:sp>
          <p:nvSpPr>
            <p:cNvPr id="90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07" name="Group 5"/>
            <p:cNvGrpSpPr/>
            <p:nvPr/>
          </p:nvGrpSpPr>
          <p:grpSpPr>
            <a:xfrm>
              <a:off x="-4594157" y="2516834"/>
              <a:ext cx="1070585" cy="1070585"/>
              <a:chOff x="10232415" y="2527090"/>
              <a:chExt cx="1070585" cy="1070585"/>
            </a:xfrm>
          </p:grpSpPr>
          <p:sp>
            <p:nvSpPr>
              <p:cNvPr id="908" name="Oval 6"/>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09" name="Graphic 90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0" name="Group 14"/>
          <p:cNvGrpSpPr/>
          <p:nvPr/>
        </p:nvGrpSpPr>
        <p:grpSpPr>
          <a:xfrm>
            <a:off x="7205301" y="6323443"/>
            <a:ext cx="752902" cy="752901"/>
            <a:chOff x="-4594157" y="2516834"/>
            <a:chExt cx="1070585" cy="1070585"/>
          </a:xfrm>
        </p:grpSpPr>
        <p:sp>
          <p:nvSpPr>
            <p:cNvPr id="91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12" name="Group 16"/>
            <p:cNvGrpSpPr/>
            <p:nvPr/>
          </p:nvGrpSpPr>
          <p:grpSpPr>
            <a:xfrm>
              <a:off x="-4594157" y="2516834"/>
              <a:ext cx="1070585" cy="1070585"/>
              <a:chOff x="10232415" y="2527090"/>
              <a:chExt cx="1070585" cy="1070585"/>
            </a:xfrm>
          </p:grpSpPr>
          <p:sp>
            <p:nvSpPr>
              <p:cNvPr id="913" name="Oval 1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14" name="Graphic 91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5" name="Group 24"/>
          <p:cNvGrpSpPr/>
          <p:nvPr/>
        </p:nvGrpSpPr>
        <p:grpSpPr>
          <a:xfrm>
            <a:off x="6130269" y="5962859"/>
            <a:ext cx="752902" cy="752901"/>
            <a:chOff x="-4594157" y="2516834"/>
            <a:chExt cx="1070585" cy="1070585"/>
          </a:xfrm>
        </p:grpSpPr>
        <p:sp>
          <p:nvSpPr>
            <p:cNvPr id="91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17" name="Group 26"/>
            <p:cNvGrpSpPr/>
            <p:nvPr/>
          </p:nvGrpSpPr>
          <p:grpSpPr>
            <a:xfrm>
              <a:off x="-4594157" y="2516834"/>
              <a:ext cx="1070585" cy="1070585"/>
              <a:chOff x="10232415" y="2527090"/>
              <a:chExt cx="1070585" cy="1070585"/>
            </a:xfrm>
          </p:grpSpPr>
          <p:sp>
            <p:nvSpPr>
              <p:cNvPr id="918" name="Oval 2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19" name="Graphic 91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20" name="Group 900"/>
          <p:cNvGrpSpPr/>
          <p:nvPr/>
        </p:nvGrpSpPr>
        <p:grpSpPr>
          <a:xfrm>
            <a:off x="9313584" y="5962859"/>
            <a:ext cx="752902" cy="752901"/>
            <a:chOff x="-4594157" y="2516834"/>
            <a:chExt cx="1070585" cy="1070585"/>
          </a:xfrm>
        </p:grpSpPr>
        <p:sp>
          <p:nvSpPr>
            <p:cNvPr id="92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22" name="Group 902"/>
            <p:cNvGrpSpPr/>
            <p:nvPr/>
          </p:nvGrpSpPr>
          <p:grpSpPr>
            <a:xfrm>
              <a:off x="-4594157" y="2516834"/>
              <a:ext cx="1070585" cy="1070585"/>
              <a:chOff x="10232415" y="2527090"/>
              <a:chExt cx="1070585" cy="1070585"/>
            </a:xfrm>
          </p:grpSpPr>
          <p:sp>
            <p:nvSpPr>
              <p:cNvPr id="923" name="Oval 903"/>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24" name="Graphic 92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sp>
        <p:nvSpPr>
          <p:cNvPr id="9" name="Freeform: Shape 8"/>
          <p:cNvSpPr/>
          <p:nvPr/>
        </p:nvSpPr>
        <p:spPr>
          <a:xfrm>
            <a:off x="-7257" y="4536008"/>
            <a:ext cx="12199257" cy="1037701"/>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928" name="Freeform: Shape 927"/>
          <p:cNvSpPr/>
          <p:nvPr/>
        </p:nvSpPr>
        <p:spPr>
          <a:xfrm>
            <a:off x="-7257" y="3439656"/>
            <a:ext cx="12199257" cy="1020029"/>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grpSp>
        <p:nvGrpSpPr>
          <p:cNvPr id="4" name="Group 3">
            <a:extLst>
              <a:ext uri="{FF2B5EF4-FFF2-40B4-BE49-F238E27FC236}">
                <a16:creationId xmlns:a16="http://schemas.microsoft.com/office/drawing/2014/main" id="{51550B3E-B8DC-45EC-A861-1D9CAF0BFB61}"/>
              </a:ext>
            </a:extLst>
          </p:cNvPr>
          <p:cNvGrpSpPr/>
          <p:nvPr/>
        </p:nvGrpSpPr>
        <p:grpSpPr>
          <a:xfrm>
            <a:off x="4119350" y="2618537"/>
            <a:ext cx="1897954" cy="623188"/>
            <a:chOff x="5645189" y="2644649"/>
            <a:chExt cx="1897954" cy="623188"/>
          </a:xfrm>
        </p:grpSpPr>
        <p:sp>
          <p:nvSpPr>
            <p:cNvPr id="830" name="Freeform: Shape 28"/>
            <p:cNvSpPr/>
            <p:nvPr/>
          </p:nvSpPr>
          <p:spPr>
            <a:xfrm>
              <a:off x="5645189" y="2644649"/>
              <a:ext cx="722852" cy="623188"/>
            </a:xfrm>
            <a:custGeom>
              <a:avLst/>
              <a:gdLst>
                <a:gd name="connsiteX0" fmla="*/ 4283739 w 6912012"/>
                <a:gd name="connsiteY0" fmla="*/ 3558282 h 5959009"/>
                <a:gd name="connsiteX1" fmla="*/ 4283739 w 6912012"/>
                <a:gd name="connsiteY1" fmla="*/ 4359666 h 5959009"/>
                <a:gd name="connsiteX2" fmla="*/ 5085123 w 6912012"/>
                <a:gd name="connsiteY2" fmla="*/ 4359666 h 5959009"/>
                <a:gd name="connsiteX3" fmla="*/ 5085123 w 6912012"/>
                <a:gd name="connsiteY3" fmla="*/ 3558282 h 5959009"/>
                <a:gd name="connsiteX4" fmla="*/ 3285434 w 6912012"/>
                <a:gd name="connsiteY4" fmla="*/ 3558282 h 5959009"/>
                <a:gd name="connsiteX5" fmla="*/ 3285434 w 6912012"/>
                <a:gd name="connsiteY5" fmla="*/ 4359666 h 5959009"/>
                <a:gd name="connsiteX6" fmla="*/ 4086818 w 6912012"/>
                <a:gd name="connsiteY6" fmla="*/ 4359666 h 5959009"/>
                <a:gd name="connsiteX7" fmla="*/ 4086818 w 6912012"/>
                <a:gd name="connsiteY7" fmla="*/ 3558282 h 5959009"/>
                <a:gd name="connsiteX8" fmla="*/ 2287129 w 6912012"/>
                <a:gd name="connsiteY8" fmla="*/ 3558282 h 5959009"/>
                <a:gd name="connsiteX9" fmla="*/ 2287129 w 6912012"/>
                <a:gd name="connsiteY9" fmla="*/ 4359666 h 5959009"/>
                <a:gd name="connsiteX10" fmla="*/ 3088513 w 6912012"/>
                <a:gd name="connsiteY10" fmla="*/ 4359666 h 5959009"/>
                <a:gd name="connsiteX11" fmla="*/ 3088513 w 6912012"/>
                <a:gd name="connsiteY11" fmla="*/ 3558282 h 5959009"/>
                <a:gd name="connsiteX12" fmla="*/ 4283739 w 6912012"/>
                <a:gd name="connsiteY12" fmla="*/ 2561689 h 5959009"/>
                <a:gd name="connsiteX13" fmla="*/ 4283739 w 6912012"/>
                <a:gd name="connsiteY13" fmla="*/ 3363073 h 5959009"/>
                <a:gd name="connsiteX14" fmla="*/ 5085123 w 6912012"/>
                <a:gd name="connsiteY14" fmla="*/ 3363073 h 5959009"/>
                <a:gd name="connsiteX15" fmla="*/ 5085123 w 6912012"/>
                <a:gd name="connsiteY15" fmla="*/ 2561689 h 5959009"/>
                <a:gd name="connsiteX16" fmla="*/ 3285434 w 6912012"/>
                <a:gd name="connsiteY16" fmla="*/ 2561689 h 5959009"/>
                <a:gd name="connsiteX17" fmla="*/ 3285434 w 6912012"/>
                <a:gd name="connsiteY17" fmla="*/ 3363073 h 5959009"/>
                <a:gd name="connsiteX18" fmla="*/ 4086818 w 6912012"/>
                <a:gd name="connsiteY18" fmla="*/ 3363073 h 5959009"/>
                <a:gd name="connsiteX19" fmla="*/ 4086818 w 6912012"/>
                <a:gd name="connsiteY19" fmla="*/ 2561689 h 5959009"/>
                <a:gd name="connsiteX20" fmla="*/ 2287129 w 6912012"/>
                <a:gd name="connsiteY20" fmla="*/ 2561689 h 5959009"/>
                <a:gd name="connsiteX21" fmla="*/ 2287129 w 6912012"/>
                <a:gd name="connsiteY21" fmla="*/ 3363073 h 5959009"/>
                <a:gd name="connsiteX22" fmla="*/ 3088513 w 6912012"/>
                <a:gd name="connsiteY22" fmla="*/ 3363073 h 5959009"/>
                <a:gd name="connsiteX23" fmla="*/ 3088513 w 6912012"/>
                <a:gd name="connsiteY23" fmla="*/ 2561689 h 5959009"/>
                <a:gd name="connsiteX24" fmla="*/ 4283739 w 6912012"/>
                <a:gd name="connsiteY24" fmla="*/ 1565096 h 5959009"/>
                <a:gd name="connsiteX25" fmla="*/ 4283739 w 6912012"/>
                <a:gd name="connsiteY25" fmla="*/ 2366480 h 5959009"/>
                <a:gd name="connsiteX26" fmla="*/ 5085123 w 6912012"/>
                <a:gd name="connsiteY26" fmla="*/ 2366480 h 5959009"/>
                <a:gd name="connsiteX27" fmla="*/ 5085123 w 6912012"/>
                <a:gd name="connsiteY27" fmla="*/ 1565096 h 5959009"/>
                <a:gd name="connsiteX28" fmla="*/ 3285434 w 6912012"/>
                <a:gd name="connsiteY28" fmla="*/ 1565096 h 5959009"/>
                <a:gd name="connsiteX29" fmla="*/ 3285434 w 6912012"/>
                <a:gd name="connsiteY29" fmla="*/ 2366480 h 5959009"/>
                <a:gd name="connsiteX30" fmla="*/ 4086818 w 6912012"/>
                <a:gd name="connsiteY30" fmla="*/ 2366480 h 5959009"/>
                <a:gd name="connsiteX31" fmla="*/ 4086818 w 6912012"/>
                <a:gd name="connsiteY31" fmla="*/ 1565096 h 5959009"/>
                <a:gd name="connsiteX32" fmla="*/ 2287129 w 6912012"/>
                <a:gd name="connsiteY32" fmla="*/ 1565096 h 5959009"/>
                <a:gd name="connsiteX33" fmla="*/ 2287129 w 6912012"/>
                <a:gd name="connsiteY33" fmla="*/ 2366480 h 5959009"/>
                <a:gd name="connsiteX34" fmla="*/ 3088513 w 6912012"/>
                <a:gd name="connsiteY34" fmla="*/ 2366480 h 5959009"/>
                <a:gd name="connsiteX35" fmla="*/ 3088513 w 6912012"/>
                <a:gd name="connsiteY35" fmla="*/ 1565096 h 5959009"/>
                <a:gd name="connsiteX36" fmla="*/ 1826890 w 6912012"/>
                <a:gd name="connsiteY36" fmla="*/ 1539635 h 5959009"/>
                <a:gd name="connsiteX37" fmla="*/ 1826890 w 6912012"/>
                <a:gd name="connsiteY37" fmla="*/ 4787206 h 5959009"/>
                <a:gd name="connsiteX38" fmla="*/ 5085123 w 6912012"/>
                <a:gd name="connsiteY38" fmla="*/ 4787206 h 5959009"/>
                <a:gd name="connsiteX39" fmla="*/ 5085123 w 6912012"/>
                <a:gd name="connsiteY39" fmla="*/ 4567677 h 5959009"/>
                <a:gd name="connsiteX40" fmla="*/ 2046419 w 6912012"/>
                <a:gd name="connsiteY40" fmla="*/ 4567677 h 5959009"/>
                <a:gd name="connsiteX41" fmla="*/ 2046419 w 6912012"/>
                <a:gd name="connsiteY41" fmla="*/ 1539635 h 5959009"/>
                <a:gd name="connsiteX42" fmla="*/ 1743189 w 6912012"/>
                <a:gd name="connsiteY42" fmla="*/ 0 h 5959009"/>
                <a:gd name="connsiteX43" fmla="*/ 5168823 w 6912012"/>
                <a:gd name="connsiteY43" fmla="*/ 0 h 5959009"/>
                <a:gd name="connsiteX44" fmla="*/ 6912012 w 6912012"/>
                <a:gd name="connsiteY44" fmla="*/ 2979505 h 5959009"/>
                <a:gd name="connsiteX45" fmla="*/ 5168823 w 6912012"/>
                <a:gd name="connsiteY45" fmla="*/ 5959009 h 5959009"/>
                <a:gd name="connsiteX46" fmla="*/ 1743189 w 6912012"/>
                <a:gd name="connsiteY46" fmla="*/ 5959009 h 5959009"/>
                <a:gd name="connsiteX47" fmla="*/ 0 w 6912012"/>
                <a:gd name="connsiteY47" fmla="*/ 2979505 h 5959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912012" h="5959009">
                  <a:moveTo>
                    <a:pt x="4283739" y="3558282"/>
                  </a:moveTo>
                  <a:lnTo>
                    <a:pt x="4283739" y="4359666"/>
                  </a:lnTo>
                  <a:lnTo>
                    <a:pt x="5085123" y="4359666"/>
                  </a:lnTo>
                  <a:lnTo>
                    <a:pt x="5085123" y="3558282"/>
                  </a:lnTo>
                  <a:close/>
                  <a:moveTo>
                    <a:pt x="3285434" y="3558282"/>
                  </a:moveTo>
                  <a:lnTo>
                    <a:pt x="3285434" y="4359666"/>
                  </a:lnTo>
                  <a:lnTo>
                    <a:pt x="4086818" y="4359666"/>
                  </a:lnTo>
                  <a:lnTo>
                    <a:pt x="4086818" y="3558282"/>
                  </a:lnTo>
                  <a:close/>
                  <a:moveTo>
                    <a:pt x="2287129" y="3558282"/>
                  </a:moveTo>
                  <a:lnTo>
                    <a:pt x="2287129" y="4359666"/>
                  </a:lnTo>
                  <a:lnTo>
                    <a:pt x="3088513" y="4359666"/>
                  </a:lnTo>
                  <a:lnTo>
                    <a:pt x="3088513" y="3558282"/>
                  </a:lnTo>
                  <a:close/>
                  <a:moveTo>
                    <a:pt x="4283739" y="2561689"/>
                  </a:moveTo>
                  <a:lnTo>
                    <a:pt x="4283739" y="3363073"/>
                  </a:lnTo>
                  <a:lnTo>
                    <a:pt x="5085123" y="3363073"/>
                  </a:lnTo>
                  <a:lnTo>
                    <a:pt x="5085123" y="2561689"/>
                  </a:lnTo>
                  <a:close/>
                  <a:moveTo>
                    <a:pt x="3285434" y="2561689"/>
                  </a:moveTo>
                  <a:lnTo>
                    <a:pt x="3285434" y="3363073"/>
                  </a:lnTo>
                  <a:lnTo>
                    <a:pt x="4086818" y="3363073"/>
                  </a:lnTo>
                  <a:lnTo>
                    <a:pt x="4086818" y="2561689"/>
                  </a:lnTo>
                  <a:close/>
                  <a:moveTo>
                    <a:pt x="2287129" y="2561689"/>
                  </a:moveTo>
                  <a:lnTo>
                    <a:pt x="2287129" y="3363073"/>
                  </a:lnTo>
                  <a:lnTo>
                    <a:pt x="3088513" y="3363073"/>
                  </a:lnTo>
                  <a:lnTo>
                    <a:pt x="3088513" y="2561689"/>
                  </a:lnTo>
                  <a:close/>
                  <a:moveTo>
                    <a:pt x="4283739" y="1565096"/>
                  </a:moveTo>
                  <a:lnTo>
                    <a:pt x="4283739" y="2366480"/>
                  </a:lnTo>
                  <a:lnTo>
                    <a:pt x="5085123" y="2366480"/>
                  </a:lnTo>
                  <a:lnTo>
                    <a:pt x="5085123" y="1565096"/>
                  </a:lnTo>
                  <a:close/>
                  <a:moveTo>
                    <a:pt x="3285434" y="1565096"/>
                  </a:moveTo>
                  <a:lnTo>
                    <a:pt x="3285434" y="2366480"/>
                  </a:lnTo>
                  <a:lnTo>
                    <a:pt x="4086818" y="2366480"/>
                  </a:lnTo>
                  <a:lnTo>
                    <a:pt x="4086818" y="1565096"/>
                  </a:lnTo>
                  <a:close/>
                  <a:moveTo>
                    <a:pt x="2287129" y="1565096"/>
                  </a:moveTo>
                  <a:lnTo>
                    <a:pt x="2287129" y="2366480"/>
                  </a:lnTo>
                  <a:lnTo>
                    <a:pt x="3088513" y="2366480"/>
                  </a:lnTo>
                  <a:lnTo>
                    <a:pt x="3088513" y="1565096"/>
                  </a:lnTo>
                  <a:close/>
                  <a:moveTo>
                    <a:pt x="1826890" y="1539635"/>
                  </a:moveTo>
                  <a:lnTo>
                    <a:pt x="1826890" y="4787206"/>
                  </a:lnTo>
                  <a:lnTo>
                    <a:pt x="5085123" y="4787206"/>
                  </a:lnTo>
                  <a:lnTo>
                    <a:pt x="5085123" y="4567677"/>
                  </a:lnTo>
                  <a:lnTo>
                    <a:pt x="2046419" y="4567677"/>
                  </a:lnTo>
                  <a:lnTo>
                    <a:pt x="2046419" y="1539635"/>
                  </a:lnTo>
                  <a:close/>
                  <a:moveTo>
                    <a:pt x="1743189" y="0"/>
                  </a:moveTo>
                  <a:lnTo>
                    <a:pt x="5168823" y="0"/>
                  </a:lnTo>
                  <a:lnTo>
                    <a:pt x="6912012" y="2979505"/>
                  </a:lnTo>
                  <a:lnTo>
                    <a:pt x="5168823" y="5959009"/>
                  </a:lnTo>
                  <a:lnTo>
                    <a:pt x="1743189" y="5959009"/>
                  </a:lnTo>
                  <a:lnTo>
                    <a:pt x="0" y="297950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latin typeface="Segoe UI"/>
              </a:endParaRPr>
            </a:p>
          </p:txBody>
        </p:sp>
        <p:sp>
          <p:nvSpPr>
            <p:cNvPr id="3" name="TextBox 2"/>
            <p:cNvSpPr txBox="1"/>
            <p:nvPr/>
          </p:nvSpPr>
          <p:spPr>
            <a:xfrm>
              <a:off x="6430723" y="2787717"/>
              <a:ext cx="1112420" cy="369332"/>
            </a:xfrm>
            <a:prstGeom prst="rect">
              <a:avLst/>
            </a:prstGeom>
            <a:noFill/>
          </p:spPr>
          <p:txBody>
            <a:bodyPr wrap="none" rtlCol="0">
              <a:spAutoFit/>
            </a:bodyPr>
            <a:lstStyle/>
            <a:p>
              <a:r>
                <a:rPr lang="en-US" dirty="0">
                  <a:solidFill>
                    <a:srgbClr val="000000"/>
                  </a:solidFill>
                  <a:latin typeface="Segoe UI"/>
                </a:rPr>
                <a:t>Table API</a:t>
              </a:r>
            </a:p>
          </p:txBody>
        </p:sp>
      </p:grpSp>
      <p:grpSp>
        <p:nvGrpSpPr>
          <p:cNvPr id="93" name="Group 92"/>
          <p:cNvGrpSpPr/>
          <p:nvPr/>
        </p:nvGrpSpPr>
        <p:grpSpPr>
          <a:xfrm>
            <a:off x="4468630" y="3829867"/>
            <a:ext cx="648960" cy="124646"/>
            <a:chOff x="4937947" y="5178778"/>
            <a:chExt cx="733930" cy="124646"/>
          </a:xfrm>
        </p:grpSpPr>
        <p:cxnSp>
          <p:nvCxnSpPr>
            <p:cNvPr id="94" name="Straight Connector 93"/>
            <p:cNvCxnSpPr>
              <a:cxnSpLocks/>
            </p:cNvCxnSpPr>
            <p:nvPr/>
          </p:nvCxnSpPr>
          <p:spPr>
            <a:xfrm>
              <a:off x="5062593" y="5241101"/>
              <a:ext cx="187117" cy="0"/>
            </a:xfrm>
            <a:prstGeom prst="line">
              <a:avLst/>
            </a:prstGeom>
            <a:noFill/>
            <a:ln w="12700" cap="flat" cmpd="sng" algn="ctr">
              <a:solidFill>
                <a:schemeClr val="tx2"/>
              </a:solidFill>
              <a:prstDash val="sysDot"/>
              <a:miter lim="800000"/>
              <a:headEnd type="none"/>
              <a:tailEnd type="none"/>
            </a:ln>
            <a:effectLst/>
          </p:spPr>
        </p:cxnSp>
        <p:sp>
          <p:nvSpPr>
            <p:cNvPr id="95" name="Oval 94"/>
            <p:cNvSpPr/>
            <p:nvPr/>
          </p:nvSpPr>
          <p:spPr bwMode="auto">
            <a:xfrm>
              <a:off x="4937947" y="5178778"/>
              <a:ext cx="124646" cy="124646"/>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6" name="Oval 95"/>
            <p:cNvSpPr/>
            <p:nvPr/>
          </p:nvSpPr>
          <p:spPr bwMode="auto">
            <a:xfrm>
              <a:off x="5249710"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7" name="Oval 96"/>
            <p:cNvSpPr/>
            <p:nvPr/>
          </p:nvSpPr>
          <p:spPr bwMode="auto">
            <a:xfrm>
              <a:off x="5404122"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8" name="Oval 97"/>
            <p:cNvSpPr/>
            <p:nvPr/>
          </p:nvSpPr>
          <p:spPr bwMode="auto">
            <a:xfrm>
              <a:off x="5558535"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grpSp>
        <p:nvGrpSpPr>
          <p:cNvPr id="118" name="Group 117"/>
          <p:cNvGrpSpPr/>
          <p:nvPr/>
        </p:nvGrpSpPr>
        <p:grpSpPr>
          <a:xfrm>
            <a:off x="2522203" y="3918617"/>
            <a:ext cx="723819" cy="774671"/>
            <a:chOff x="4511512" y="6316301"/>
            <a:chExt cx="668502" cy="1610561"/>
          </a:xfrm>
        </p:grpSpPr>
        <p:grpSp>
          <p:nvGrpSpPr>
            <p:cNvPr id="119" name="Group 118"/>
            <p:cNvGrpSpPr/>
            <p:nvPr/>
          </p:nvGrpSpPr>
          <p:grpSpPr>
            <a:xfrm>
              <a:off x="4511512" y="6316301"/>
              <a:ext cx="617679" cy="892977"/>
              <a:chOff x="4066669" y="5178779"/>
              <a:chExt cx="1357897" cy="892977"/>
            </a:xfrm>
          </p:grpSpPr>
          <p:cxnSp>
            <p:nvCxnSpPr>
              <p:cNvPr id="121" name="Straight Connector 120"/>
              <p:cNvCxnSpPr>
                <a:cxnSpLocks/>
              </p:cNvCxnSpPr>
              <p:nvPr/>
            </p:nvCxnSpPr>
            <p:spPr>
              <a:xfrm>
                <a:off x="4308965" y="5299925"/>
                <a:ext cx="895279" cy="0"/>
              </a:xfrm>
              <a:prstGeom prst="line">
                <a:avLst/>
              </a:prstGeom>
              <a:noFill/>
              <a:ln w="12700" cap="flat" cmpd="sng" algn="ctr">
                <a:solidFill>
                  <a:schemeClr val="tx2"/>
                </a:solidFill>
                <a:prstDash val="sysDot"/>
                <a:miter lim="800000"/>
                <a:headEnd type="none"/>
                <a:tailEnd type="none"/>
              </a:ln>
              <a:effectLst/>
            </p:spPr>
          </p:cxnSp>
          <p:sp>
            <p:nvSpPr>
              <p:cNvPr id="122" name="Oval 121"/>
              <p:cNvSpPr/>
              <p:nvPr/>
            </p:nvSpPr>
            <p:spPr bwMode="auto">
              <a:xfrm>
                <a:off x="4066669" y="517877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3" name="Oval 122"/>
              <p:cNvSpPr/>
              <p:nvPr/>
            </p:nvSpPr>
            <p:spPr bwMode="auto">
              <a:xfrm>
                <a:off x="5204244" y="5189764"/>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124" name="Straight Connector 123"/>
              <p:cNvCxnSpPr>
                <a:cxnSpLocks/>
              </p:cNvCxnSpPr>
              <p:nvPr/>
            </p:nvCxnSpPr>
            <p:spPr>
              <a:xfrm>
                <a:off x="4308965" y="5620439"/>
                <a:ext cx="895279" cy="0"/>
              </a:xfrm>
              <a:prstGeom prst="line">
                <a:avLst/>
              </a:prstGeom>
              <a:noFill/>
              <a:ln w="12700" cap="flat" cmpd="sng" algn="ctr">
                <a:solidFill>
                  <a:schemeClr val="tx2"/>
                </a:solidFill>
                <a:prstDash val="sysDot"/>
                <a:miter lim="800000"/>
                <a:headEnd type="none"/>
                <a:tailEnd type="none"/>
              </a:ln>
              <a:effectLst/>
            </p:spPr>
          </p:cxnSp>
          <p:sp>
            <p:nvSpPr>
              <p:cNvPr id="125" name="Oval 124"/>
              <p:cNvSpPr/>
              <p:nvPr/>
            </p:nvSpPr>
            <p:spPr bwMode="auto">
              <a:xfrm>
                <a:off x="4066669" y="5499293"/>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6" name="Oval 125"/>
              <p:cNvSpPr/>
              <p:nvPr/>
            </p:nvSpPr>
            <p:spPr bwMode="auto">
              <a:xfrm>
                <a:off x="5204244" y="5510278"/>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127" name="Straight Connector 126"/>
              <p:cNvCxnSpPr>
                <a:cxnSpLocks/>
              </p:cNvCxnSpPr>
              <p:nvPr/>
            </p:nvCxnSpPr>
            <p:spPr>
              <a:xfrm>
                <a:off x="4308965" y="5950606"/>
                <a:ext cx="895279" cy="0"/>
              </a:xfrm>
              <a:prstGeom prst="line">
                <a:avLst/>
              </a:prstGeom>
              <a:noFill/>
              <a:ln w="12700" cap="flat" cmpd="sng" algn="ctr">
                <a:solidFill>
                  <a:schemeClr val="tx2"/>
                </a:solidFill>
                <a:prstDash val="sysDot"/>
                <a:miter lim="800000"/>
                <a:headEnd type="none"/>
                <a:tailEnd type="none"/>
              </a:ln>
              <a:effectLst/>
            </p:spPr>
          </p:cxnSp>
          <p:sp>
            <p:nvSpPr>
              <p:cNvPr id="128" name="Oval 127"/>
              <p:cNvSpPr/>
              <p:nvPr/>
            </p:nvSpPr>
            <p:spPr bwMode="auto">
              <a:xfrm>
                <a:off x="4066669" y="582945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9" name="Oval 128"/>
              <p:cNvSpPr/>
              <p:nvPr/>
            </p:nvSpPr>
            <p:spPr bwMode="auto">
              <a:xfrm>
                <a:off x="5204244" y="5840445"/>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sp>
          <p:nvSpPr>
            <p:cNvPr id="120" name="TextBox 119"/>
            <p:cNvSpPr txBox="1"/>
            <p:nvPr/>
          </p:nvSpPr>
          <p:spPr>
            <a:xfrm>
              <a:off x="4538071" y="7398964"/>
              <a:ext cx="641943" cy="527898"/>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Key-value</a:t>
              </a:r>
            </a:p>
          </p:txBody>
        </p:sp>
      </p:grpSp>
      <p:sp>
        <p:nvSpPr>
          <p:cNvPr id="84" name="Title 10"/>
          <p:cNvSpPr>
            <a:spLocks noGrp="1"/>
          </p:cNvSpPr>
          <p:nvPr>
            <p:ph type="title"/>
          </p:nvPr>
        </p:nvSpPr>
        <p:spPr>
          <a:xfrm>
            <a:off x="185254" y="296723"/>
            <a:ext cx="11642721" cy="917575"/>
          </a:xfrm>
        </p:spPr>
        <p:txBody>
          <a:bodyPr>
            <a:noAutofit/>
          </a:bodyPr>
          <a:lstStyle/>
          <a:p>
            <a:pPr algn="ctr"/>
            <a:r>
              <a:rPr lang="en-US" dirty="0">
                <a:solidFill>
                  <a:schemeClr val="bg1"/>
                </a:solidFill>
              </a:rPr>
              <a:t>Azure Cosmos DB</a:t>
            </a:r>
            <a:br>
              <a:rPr lang="en-US" dirty="0">
                <a:solidFill>
                  <a:schemeClr val="bg1"/>
                </a:solidFill>
              </a:rPr>
            </a:br>
            <a:r>
              <a:rPr lang="en-US" sz="2400" dirty="0">
                <a:solidFill>
                  <a:schemeClr val="bg1"/>
                </a:solidFill>
              </a:rPr>
              <a:t>A globally distributed, massively scalable, multi-model database service</a:t>
            </a:r>
          </a:p>
        </p:txBody>
      </p:sp>
      <p:sp>
        <p:nvSpPr>
          <p:cNvPr id="82" name="Freeform: Shape 81">
            <a:extLst>
              <a:ext uri="{FF2B5EF4-FFF2-40B4-BE49-F238E27FC236}">
                <a16:creationId xmlns:a16="http://schemas.microsoft.com/office/drawing/2014/main" id="{E3BC5004-545A-408F-A807-CC56FD5B1E43}"/>
              </a:ext>
            </a:extLst>
          </p:cNvPr>
          <p:cNvSpPr/>
          <p:nvPr/>
        </p:nvSpPr>
        <p:spPr>
          <a:xfrm>
            <a:off x="777658" y="3520195"/>
            <a:ext cx="669864" cy="309672"/>
          </a:xfrm>
          <a:custGeom>
            <a:avLst/>
            <a:gdLst>
              <a:gd name="connsiteX0" fmla="*/ 333618 w 531187"/>
              <a:gd name="connsiteY0" fmla="*/ 682320 h 835576"/>
              <a:gd name="connsiteX1" fmla="*/ 303480 w 531187"/>
              <a:gd name="connsiteY1" fmla="*/ 696608 h 835576"/>
              <a:gd name="connsiteX2" fmla="*/ 292318 w 531187"/>
              <a:gd name="connsiteY2" fmla="*/ 734224 h 835576"/>
              <a:gd name="connsiteX3" fmla="*/ 303480 w 531187"/>
              <a:gd name="connsiteY3" fmla="*/ 771840 h 835576"/>
              <a:gd name="connsiteX4" fmla="*/ 332725 w 531187"/>
              <a:gd name="connsiteY4" fmla="*/ 785681 h 835576"/>
              <a:gd name="connsiteX5" fmla="*/ 362305 w 531187"/>
              <a:gd name="connsiteY5" fmla="*/ 772287 h 835576"/>
              <a:gd name="connsiteX6" fmla="*/ 373243 w 531187"/>
              <a:gd name="connsiteY6" fmla="*/ 734894 h 835576"/>
              <a:gd name="connsiteX7" fmla="*/ 362639 w 531187"/>
              <a:gd name="connsiteY7" fmla="*/ 696161 h 835576"/>
              <a:gd name="connsiteX8" fmla="*/ 333618 w 531187"/>
              <a:gd name="connsiteY8" fmla="*/ 682320 h 835576"/>
              <a:gd name="connsiteX9" fmla="*/ 435863 w 531187"/>
              <a:gd name="connsiteY9" fmla="*/ 653968 h 835576"/>
              <a:gd name="connsiteX10" fmla="*/ 471917 w 531187"/>
              <a:gd name="connsiteY10" fmla="*/ 653968 h 835576"/>
              <a:gd name="connsiteX11" fmla="*/ 471917 w 531187"/>
              <a:gd name="connsiteY11" fmla="*/ 784788 h 835576"/>
              <a:gd name="connsiteX12" fmla="*/ 531187 w 531187"/>
              <a:gd name="connsiteY12" fmla="*/ 784788 h 835576"/>
              <a:gd name="connsiteX13" fmla="*/ 531187 w 531187"/>
              <a:gd name="connsiteY13" fmla="*/ 814033 h 835576"/>
              <a:gd name="connsiteX14" fmla="*/ 435863 w 531187"/>
              <a:gd name="connsiteY14" fmla="*/ 814033 h 835576"/>
              <a:gd name="connsiteX15" fmla="*/ 435863 w 531187"/>
              <a:gd name="connsiteY15" fmla="*/ 653968 h 835576"/>
              <a:gd name="connsiteX16" fmla="*/ 334623 w 531187"/>
              <a:gd name="connsiteY16" fmla="*/ 651290 h 835576"/>
              <a:gd name="connsiteX17" fmla="*/ 389987 w 531187"/>
              <a:gd name="connsiteY17" fmla="*/ 673725 h 835576"/>
              <a:gd name="connsiteX18" fmla="*/ 411195 w 531187"/>
              <a:gd name="connsiteY18" fmla="*/ 732885 h 835576"/>
              <a:gd name="connsiteX19" fmla="*/ 389205 w 531187"/>
              <a:gd name="connsiteY19" fmla="*/ 793718 h 835576"/>
              <a:gd name="connsiteX20" fmla="*/ 387754 w 531187"/>
              <a:gd name="connsiteY20" fmla="*/ 795225 h 835576"/>
              <a:gd name="connsiteX21" fmla="*/ 386303 w 531187"/>
              <a:gd name="connsiteY21" fmla="*/ 796620 h 835576"/>
              <a:gd name="connsiteX22" fmla="*/ 426822 w 531187"/>
              <a:gd name="connsiteY22" fmla="*/ 835576 h 835576"/>
              <a:gd name="connsiteX23" fmla="*/ 376369 w 531187"/>
              <a:gd name="connsiteY23" fmla="*/ 835576 h 835576"/>
              <a:gd name="connsiteX24" fmla="*/ 355161 w 531187"/>
              <a:gd name="connsiteY24" fmla="*/ 814033 h 835576"/>
              <a:gd name="connsiteX25" fmla="*/ 332055 w 531187"/>
              <a:gd name="connsiteY25" fmla="*/ 816824 h 835576"/>
              <a:gd name="connsiteX26" fmla="*/ 276021 w 531187"/>
              <a:gd name="connsiteY26" fmla="*/ 794499 h 835576"/>
              <a:gd name="connsiteX27" fmla="*/ 254367 w 531187"/>
              <a:gd name="connsiteY27" fmla="*/ 736122 h 835576"/>
              <a:gd name="connsiteX28" fmla="*/ 276356 w 531187"/>
              <a:gd name="connsiteY28" fmla="*/ 674730 h 835576"/>
              <a:gd name="connsiteX29" fmla="*/ 334623 w 531187"/>
              <a:gd name="connsiteY29" fmla="*/ 651290 h 835576"/>
              <a:gd name="connsiteX30" fmla="*/ 195394 w 531187"/>
              <a:gd name="connsiteY30" fmla="*/ 651290 h 835576"/>
              <a:gd name="connsiteX31" fmla="*/ 217551 w 531187"/>
              <a:gd name="connsiteY31" fmla="*/ 652796 h 835576"/>
              <a:gd name="connsiteX32" fmla="*/ 235354 w 531187"/>
              <a:gd name="connsiteY32" fmla="*/ 657429 h 835576"/>
              <a:gd name="connsiteX33" fmla="*/ 235354 w 531187"/>
              <a:gd name="connsiteY33" fmla="*/ 690803 h 835576"/>
              <a:gd name="connsiteX34" fmla="*/ 226592 w 531187"/>
              <a:gd name="connsiteY34" fmla="*/ 685892 h 835576"/>
              <a:gd name="connsiteX35" fmla="*/ 216825 w 531187"/>
              <a:gd name="connsiteY35" fmla="*/ 682376 h 835576"/>
              <a:gd name="connsiteX36" fmla="*/ 206835 w 531187"/>
              <a:gd name="connsiteY36" fmla="*/ 680311 h 835576"/>
              <a:gd name="connsiteX37" fmla="*/ 197403 w 531187"/>
              <a:gd name="connsiteY37" fmla="*/ 679641 h 835576"/>
              <a:gd name="connsiteX38" fmla="*/ 186241 w 531187"/>
              <a:gd name="connsiteY38" fmla="*/ 680813 h 835576"/>
              <a:gd name="connsiteX39" fmla="*/ 177758 w 531187"/>
              <a:gd name="connsiteY39" fmla="*/ 684106 h 835576"/>
              <a:gd name="connsiteX40" fmla="*/ 172400 w 531187"/>
              <a:gd name="connsiteY40" fmla="*/ 689185 h 835576"/>
              <a:gd name="connsiteX41" fmla="*/ 170502 w 531187"/>
              <a:gd name="connsiteY41" fmla="*/ 695826 h 835576"/>
              <a:gd name="connsiteX42" fmla="*/ 172623 w 531187"/>
              <a:gd name="connsiteY42" fmla="*/ 703026 h 835576"/>
              <a:gd name="connsiteX43" fmla="*/ 178651 w 531187"/>
              <a:gd name="connsiteY43" fmla="*/ 709053 h 835576"/>
              <a:gd name="connsiteX44" fmla="*/ 188138 w 531187"/>
              <a:gd name="connsiteY44" fmla="*/ 714635 h 835576"/>
              <a:gd name="connsiteX45" fmla="*/ 200752 w 531187"/>
              <a:gd name="connsiteY45" fmla="*/ 720271 h 835576"/>
              <a:gd name="connsiteX46" fmla="*/ 217997 w 531187"/>
              <a:gd name="connsiteY46" fmla="*/ 728810 h 835576"/>
              <a:gd name="connsiteX47" fmla="*/ 231113 w 531187"/>
              <a:gd name="connsiteY47" fmla="*/ 739024 h 835576"/>
              <a:gd name="connsiteX48" fmla="*/ 239484 w 531187"/>
              <a:gd name="connsiteY48" fmla="*/ 752028 h 835576"/>
              <a:gd name="connsiteX49" fmla="*/ 242386 w 531187"/>
              <a:gd name="connsiteY49" fmla="*/ 769050 h 835576"/>
              <a:gd name="connsiteX50" fmla="*/ 237308 w 531187"/>
              <a:gd name="connsiteY50" fmla="*/ 791541 h 835576"/>
              <a:gd name="connsiteX51" fmla="*/ 223522 w 531187"/>
              <a:gd name="connsiteY51" fmla="*/ 806275 h 835576"/>
              <a:gd name="connsiteX52" fmla="*/ 203263 w 531187"/>
              <a:gd name="connsiteY52" fmla="*/ 814368 h 835576"/>
              <a:gd name="connsiteX53" fmla="*/ 178874 w 531187"/>
              <a:gd name="connsiteY53" fmla="*/ 816824 h 835576"/>
              <a:gd name="connsiteX54" fmla="*/ 153815 w 531187"/>
              <a:gd name="connsiteY54" fmla="*/ 814591 h 835576"/>
              <a:gd name="connsiteX55" fmla="*/ 133221 w 531187"/>
              <a:gd name="connsiteY55" fmla="*/ 807894 h 835576"/>
              <a:gd name="connsiteX56" fmla="*/ 133221 w 531187"/>
              <a:gd name="connsiteY56" fmla="*/ 772175 h 835576"/>
              <a:gd name="connsiteX57" fmla="*/ 154317 w 531187"/>
              <a:gd name="connsiteY57" fmla="*/ 784398 h 835576"/>
              <a:gd name="connsiteX58" fmla="*/ 177311 w 531187"/>
              <a:gd name="connsiteY58" fmla="*/ 788472 h 835576"/>
              <a:gd name="connsiteX59" fmla="*/ 189199 w 531187"/>
              <a:gd name="connsiteY59" fmla="*/ 787244 h 835576"/>
              <a:gd name="connsiteX60" fmla="*/ 197682 w 531187"/>
              <a:gd name="connsiteY60" fmla="*/ 783840 h 835576"/>
              <a:gd name="connsiteX61" fmla="*/ 202761 w 531187"/>
              <a:gd name="connsiteY61" fmla="*/ 778705 h 835576"/>
              <a:gd name="connsiteX62" fmla="*/ 204435 w 531187"/>
              <a:gd name="connsiteY62" fmla="*/ 772287 h 835576"/>
              <a:gd name="connsiteX63" fmla="*/ 201756 w 531187"/>
              <a:gd name="connsiteY63" fmla="*/ 763915 h 835576"/>
              <a:gd name="connsiteX64" fmla="*/ 194445 w 531187"/>
              <a:gd name="connsiteY64" fmla="*/ 757106 h 835576"/>
              <a:gd name="connsiteX65" fmla="*/ 183450 w 531187"/>
              <a:gd name="connsiteY65" fmla="*/ 751079 h 835576"/>
              <a:gd name="connsiteX66" fmla="*/ 169721 w 531187"/>
              <a:gd name="connsiteY66" fmla="*/ 745163 h 835576"/>
              <a:gd name="connsiteX67" fmla="*/ 141760 w 531187"/>
              <a:gd name="connsiteY67" fmla="*/ 726076 h 835576"/>
              <a:gd name="connsiteX68" fmla="*/ 132551 w 531187"/>
              <a:gd name="connsiteY68" fmla="*/ 698840 h 835576"/>
              <a:gd name="connsiteX69" fmla="*/ 137574 w 531187"/>
              <a:gd name="connsiteY69" fmla="*/ 677353 h 835576"/>
              <a:gd name="connsiteX70" fmla="*/ 151248 w 531187"/>
              <a:gd name="connsiteY70" fmla="*/ 662563 h 835576"/>
              <a:gd name="connsiteX71" fmla="*/ 171284 w 531187"/>
              <a:gd name="connsiteY71" fmla="*/ 654024 h 835576"/>
              <a:gd name="connsiteX72" fmla="*/ 195394 w 531187"/>
              <a:gd name="connsiteY72" fmla="*/ 651290 h 835576"/>
              <a:gd name="connsiteX73" fmla="*/ 0 w 531187"/>
              <a:gd name="connsiteY73" fmla="*/ 0 h 835576"/>
              <a:gd name="connsiteX74" fmla="*/ 248557 w 531187"/>
              <a:gd name="connsiteY74" fmla="*/ 591457 h 835576"/>
              <a:gd name="connsiteX75" fmla="*/ 0 w 531187"/>
              <a:gd name="connsiteY75" fmla="*/ 0 h 835576"/>
              <a:gd name="connsiteX0" fmla="*/ 201067 w 398636"/>
              <a:gd name="connsiteY0" fmla="*/ 31030 h 184286"/>
              <a:gd name="connsiteX1" fmla="*/ 170929 w 398636"/>
              <a:gd name="connsiteY1" fmla="*/ 45318 h 184286"/>
              <a:gd name="connsiteX2" fmla="*/ 159767 w 398636"/>
              <a:gd name="connsiteY2" fmla="*/ 82934 h 184286"/>
              <a:gd name="connsiteX3" fmla="*/ 170929 w 398636"/>
              <a:gd name="connsiteY3" fmla="*/ 120550 h 184286"/>
              <a:gd name="connsiteX4" fmla="*/ 200174 w 398636"/>
              <a:gd name="connsiteY4" fmla="*/ 134391 h 184286"/>
              <a:gd name="connsiteX5" fmla="*/ 229754 w 398636"/>
              <a:gd name="connsiteY5" fmla="*/ 120997 h 184286"/>
              <a:gd name="connsiteX6" fmla="*/ 240692 w 398636"/>
              <a:gd name="connsiteY6" fmla="*/ 83604 h 184286"/>
              <a:gd name="connsiteX7" fmla="*/ 230088 w 398636"/>
              <a:gd name="connsiteY7" fmla="*/ 44871 h 184286"/>
              <a:gd name="connsiteX8" fmla="*/ 201067 w 398636"/>
              <a:gd name="connsiteY8" fmla="*/ 31030 h 184286"/>
              <a:gd name="connsiteX9" fmla="*/ 303312 w 398636"/>
              <a:gd name="connsiteY9" fmla="*/ 2678 h 184286"/>
              <a:gd name="connsiteX10" fmla="*/ 339366 w 398636"/>
              <a:gd name="connsiteY10" fmla="*/ 2678 h 184286"/>
              <a:gd name="connsiteX11" fmla="*/ 339366 w 398636"/>
              <a:gd name="connsiteY11" fmla="*/ 133498 h 184286"/>
              <a:gd name="connsiteX12" fmla="*/ 398636 w 398636"/>
              <a:gd name="connsiteY12" fmla="*/ 133498 h 184286"/>
              <a:gd name="connsiteX13" fmla="*/ 398636 w 398636"/>
              <a:gd name="connsiteY13" fmla="*/ 162743 h 184286"/>
              <a:gd name="connsiteX14" fmla="*/ 303312 w 398636"/>
              <a:gd name="connsiteY14" fmla="*/ 162743 h 184286"/>
              <a:gd name="connsiteX15" fmla="*/ 303312 w 398636"/>
              <a:gd name="connsiteY15" fmla="*/ 2678 h 184286"/>
              <a:gd name="connsiteX16" fmla="*/ 202072 w 398636"/>
              <a:gd name="connsiteY16" fmla="*/ 0 h 184286"/>
              <a:gd name="connsiteX17" fmla="*/ 257436 w 398636"/>
              <a:gd name="connsiteY17" fmla="*/ 22435 h 184286"/>
              <a:gd name="connsiteX18" fmla="*/ 278644 w 398636"/>
              <a:gd name="connsiteY18" fmla="*/ 81595 h 184286"/>
              <a:gd name="connsiteX19" fmla="*/ 256654 w 398636"/>
              <a:gd name="connsiteY19" fmla="*/ 142428 h 184286"/>
              <a:gd name="connsiteX20" fmla="*/ 255203 w 398636"/>
              <a:gd name="connsiteY20" fmla="*/ 143935 h 184286"/>
              <a:gd name="connsiteX21" fmla="*/ 253752 w 398636"/>
              <a:gd name="connsiteY21" fmla="*/ 145330 h 184286"/>
              <a:gd name="connsiteX22" fmla="*/ 294271 w 398636"/>
              <a:gd name="connsiteY22" fmla="*/ 184286 h 184286"/>
              <a:gd name="connsiteX23" fmla="*/ 243818 w 398636"/>
              <a:gd name="connsiteY23" fmla="*/ 184286 h 184286"/>
              <a:gd name="connsiteX24" fmla="*/ 222610 w 398636"/>
              <a:gd name="connsiteY24" fmla="*/ 162743 h 184286"/>
              <a:gd name="connsiteX25" fmla="*/ 199504 w 398636"/>
              <a:gd name="connsiteY25" fmla="*/ 165534 h 184286"/>
              <a:gd name="connsiteX26" fmla="*/ 143470 w 398636"/>
              <a:gd name="connsiteY26" fmla="*/ 143209 h 184286"/>
              <a:gd name="connsiteX27" fmla="*/ 121816 w 398636"/>
              <a:gd name="connsiteY27" fmla="*/ 84832 h 184286"/>
              <a:gd name="connsiteX28" fmla="*/ 143805 w 398636"/>
              <a:gd name="connsiteY28" fmla="*/ 23440 h 184286"/>
              <a:gd name="connsiteX29" fmla="*/ 202072 w 398636"/>
              <a:gd name="connsiteY29" fmla="*/ 0 h 184286"/>
              <a:gd name="connsiteX30" fmla="*/ 62843 w 398636"/>
              <a:gd name="connsiteY30" fmla="*/ 0 h 184286"/>
              <a:gd name="connsiteX31" fmla="*/ 85000 w 398636"/>
              <a:gd name="connsiteY31" fmla="*/ 1506 h 184286"/>
              <a:gd name="connsiteX32" fmla="*/ 102803 w 398636"/>
              <a:gd name="connsiteY32" fmla="*/ 6139 h 184286"/>
              <a:gd name="connsiteX33" fmla="*/ 102803 w 398636"/>
              <a:gd name="connsiteY33" fmla="*/ 39513 h 184286"/>
              <a:gd name="connsiteX34" fmla="*/ 94041 w 398636"/>
              <a:gd name="connsiteY34" fmla="*/ 34602 h 184286"/>
              <a:gd name="connsiteX35" fmla="*/ 84274 w 398636"/>
              <a:gd name="connsiteY35" fmla="*/ 31086 h 184286"/>
              <a:gd name="connsiteX36" fmla="*/ 74284 w 398636"/>
              <a:gd name="connsiteY36" fmla="*/ 29021 h 184286"/>
              <a:gd name="connsiteX37" fmla="*/ 64852 w 398636"/>
              <a:gd name="connsiteY37" fmla="*/ 28351 h 184286"/>
              <a:gd name="connsiteX38" fmla="*/ 53690 w 398636"/>
              <a:gd name="connsiteY38" fmla="*/ 29523 h 184286"/>
              <a:gd name="connsiteX39" fmla="*/ 45207 w 398636"/>
              <a:gd name="connsiteY39" fmla="*/ 32816 h 184286"/>
              <a:gd name="connsiteX40" fmla="*/ 39849 w 398636"/>
              <a:gd name="connsiteY40" fmla="*/ 37895 h 184286"/>
              <a:gd name="connsiteX41" fmla="*/ 37951 w 398636"/>
              <a:gd name="connsiteY41" fmla="*/ 44536 h 184286"/>
              <a:gd name="connsiteX42" fmla="*/ 40072 w 398636"/>
              <a:gd name="connsiteY42" fmla="*/ 51736 h 184286"/>
              <a:gd name="connsiteX43" fmla="*/ 46100 w 398636"/>
              <a:gd name="connsiteY43" fmla="*/ 57763 h 184286"/>
              <a:gd name="connsiteX44" fmla="*/ 55587 w 398636"/>
              <a:gd name="connsiteY44" fmla="*/ 63345 h 184286"/>
              <a:gd name="connsiteX45" fmla="*/ 68201 w 398636"/>
              <a:gd name="connsiteY45" fmla="*/ 68981 h 184286"/>
              <a:gd name="connsiteX46" fmla="*/ 85446 w 398636"/>
              <a:gd name="connsiteY46" fmla="*/ 77520 h 184286"/>
              <a:gd name="connsiteX47" fmla="*/ 98562 w 398636"/>
              <a:gd name="connsiteY47" fmla="*/ 87734 h 184286"/>
              <a:gd name="connsiteX48" fmla="*/ 106933 w 398636"/>
              <a:gd name="connsiteY48" fmla="*/ 100738 h 184286"/>
              <a:gd name="connsiteX49" fmla="*/ 109835 w 398636"/>
              <a:gd name="connsiteY49" fmla="*/ 117760 h 184286"/>
              <a:gd name="connsiteX50" fmla="*/ 104757 w 398636"/>
              <a:gd name="connsiteY50" fmla="*/ 140251 h 184286"/>
              <a:gd name="connsiteX51" fmla="*/ 90971 w 398636"/>
              <a:gd name="connsiteY51" fmla="*/ 154985 h 184286"/>
              <a:gd name="connsiteX52" fmla="*/ 70712 w 398636"/>
              <a:gd name="connsiteY52" fmla="*/ 163078 h 184286"/>
              <a:gd name="connsiteX53" fmla="*/ 46323 w 398636"/>
              <a:gd name="connsiteY53" fmla="*/ 165534 h 184286"/>
              <a:gd name="connsiteX54" fmla="*/ 21264 w 398636"/>
              <a:gd name="connsiteY54" fmla="*/ 163301 h 184286"/>
              <a:gd name="connsiteX55" fmla="*/ 670 w 398636"/>
              <a:gd name="connsiteY55" fmla="*/ 156604 h 184286"/>
              <a:gd name="connsiteX56" fmla="*/ 670 w 398636"/>
              <a:gd name="connsiteY56" fmla="*/ 120885 h 184286"/>
              <a:gd name="connsiteX57" fmla="*/ 21766 w 398636"/>
              <a:gd name="connsiteY57" fmla="*/ 133108 h 184286"/>
              <a:gd name="connsiteX58" fmla="*/ 44760 w 398636"/>
              <a:gd name="connsiteY58" fmla="*/ 137182 h 184286"/>
              <a:gd name="connsiteX59" fmla="*/ 56648 w 398636"/>
              <a:gd name="connsiteY59" fmla="*/ 135954 h 184286"/>
              <a:gd name="connsiteX60" fmla="*/ 65131 w 398636"/>
              <a:gd name="connsiteY60" fmla="*/ 132550 h 184286"/>
              <a:gd name="connsiteX61" fmla="*/ 70210 w 398636"/>
              <a:gd name="connsiteY61" fmla="*/ 127415 h 184286"/>
              <a:gd name="connsiteX62" fmla="*/ 71884 w 398636"/>
              <a:gd name="connsiteY62" fmla="*/ 120997 h 184286"/>
              <a:gd name="connsiteX63" fmla="*/ 69205 w 398636"/>
              <a:gd name="connsiteY63" fmla="*/ 112625 h 184286"/>
              <a:gd name="connsiteX64" fmla="*/ 61894 w 398636"/>
              <a:gd name="connsiteY64" fmla="*/ 105816 h 184286"/>
              <a:gd name="connsiteX65" fmla="*/ 50899 w 398636"/>
              <a:gd name="connsiteY65" fmla="*/ 99789 h 184286"/>
              <a:gd name="connsiteX66" fmla="*/ 37170 w 398636"/>
              <a:gd name="connsiteY66" fmla="*/ 93873 h 184286"/>
              <a:gd name="connsiteX67" fmla="*/ 9209 w 398636"/>
              <a:gd name="connsiteY67" fmla="*/ 74786 h 184286"/>
              <a:gd name="connsiteX68" fmla="*/ 0 w 398636"/>
              <a:gd name="connsiteY68" fmla="*/ 47550 h 184286"/>
              <a:gd name="connsiteX69" fmla="*/ 5023 w 398636"/>
              <a:gd name="connsiteY69" fmla="*/ 26063 h 184286"/>
              <a:gd name="connsiteX70" fmla="*/ 18697 w 398636"/>
              <a:gd name="connsiteY70" fmla="*/ 11273 h 184286"/>
              <a:gd name="connsiteX71" fmla="*/ 38733 w 398636"/>
              <a:gd name="connsiteY71" fmla="*/ 2734 h 184286"/>
              <a:gd name="connsiteX72" fmla="*/ 62843 w 398636"/>
              <a:gd name="connsiteY72" fmla="*/ 0 h 18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8636" h="184286">
                <a:moveTo>
                  <a:pt x="201067" y="31030"/>
                </a:moveTo>
                <a:cubicBezTo>
                  <a:pt x="188491" y="31030"/>
                  <a:pt x="178445" y="35793"/>
                  <a:pt x="170929" y="45318"/>
                </a:cubicBezTo>
                <a:cubicBezTo>
                  <a:pt x="163488" y="54768"/>
                  <a:pt x="159767" y="67307"/>
                  <a:pt x="159767" y="82934"/>
                </a:cubicBezTo>
                <a:cubicBezTo>
                  <a:pt x="159767" y="98784"/>
                  <a:pt x="163488" y="111323"/>
                  <a:pt x="170929" y="120550"/>
                </a:cubicBezTo>
                <a:cubicBezTo>
                  <a:pt x="178371" y="129778"/>
                  <a:pt x="188119" y="134391"/>
                  <a:pt x="200174" y="134391"/>
                </a:cubicBezTo>
                <a:cubicBezTo>
                  <a:pt x="212601" y="134391"/>
                  <a:pt x="222461" y="129927"/>
                  <a:pt x="229754" y="120997"/>
                </a:cubicBezTo>
                <a:cubicBezTo>
                  <a:pt x="237046" y="111918"/>
                  <a:pt x="240692" y="99454"/>
                  <a:pt x="240692" y="83604"/>
                </a:cubicBezTo>
                <a:cubicBezTo>
                  <a:pt x="240692" y="67084"/>
                  <a:pt x="237158" y="54173"/>
                  <a:pt x="230088" y="44871"/>
                </a:cubicBezTo>
                <a:cubicBezTo>
                  <a:pt x="223094" y="35644"/>
                  <a:pt x="213420" y="31030"/>
                  <a:pt x="201067" y="31030"/>
                </a:cubicBezTo>
                <a:close/>
                <a:moveTo>
                  <a:pt x="303312" y="2678"/>
                </a:moveTo>
                <a:lnTo>
                  <a:pt x="339366" y="2678"/>
                </a:lnTo>
                <a:lnTo>
                  <a:pt x="339366" y="133498"/>
                </a:lnTo>
                <a:lnTo>
                  <a:pt x="398636" y="133498"/>
                </a:lnTo>
                <a:lnTo>
                  <a:pt x="398636" y="162743"/>
                </a:lnTo>
                <a:lnTo>
                  <a:pt x="303312" y="162743"/>
                </a:lnTo>
                <a:lnTo>
                  <a:pt x="303312" y="2678"/>
                </a:lnTo>
                <a:close/>
                <a:moveTo>
                  <a:pt x="202072" y="0"/>
                </a:moveTo>
                <a:cubicBezTo>
                  <a:pt x="224917" y="0"/>
                  <a:pt x="243371" y="7478"/>
                  <a:pt x="257436" y="22435"/>
                </a:cubicBezTo>
                <a:cubicBezTo>
                  <a:pt x="271574" y="37318"/>
                  <a:pt x="278644" y="57038"/>
                  <a:pt x="278644" y="81595"/>
                </a:cubicBezTo>
                <a:cubicBezTo>
                  <a:pt x="278644" y="106672"/>
                  <a:pt x="271314" y="126950"/>
                  <a:pt x="256654" y="142428"/>
                </a:cubicBezTo>
                <a:cubicBezTo>
                  <a:pt x="256133" y="142949"/>
                  <a:pt x="255650" y="143451"/>
                  <a:pt x="255203" y="143935"/>
                </a:cubicBezTo>
                <a:cubicBezTo>
                  <a:pt x="254757" y="144419"/>
                  <a:pt x="254273" y="144884"/>
                  <a:pt x="253752" y="145330"/>
                </a:cubicBezTo>
                <a:lnTo>
                  <a:pt x="294271" y="184286"/>
                </a:lnTo>
                <a:lnTo>
                  <a:pt x="243818" y="184286"/>
                </a:lnTo>
                <a:lnTo>
                  <a:pt x="222610" y="162743"/>
                </a:lnTo>
                <a:cubicBezTo>
                  <a:pt x="215615" y="164603"/>
                  <a:pt x="207913" y="165534"/>
                  <a:pt x="199504" y="165534"/>
                </a:cubicBezTo>
                <a:cubicBezTo>
                  <a:pt x="176585" y="165534"/>
                  <a:pt x="157907" y="158092"/>
                  <a:pt x="143470" y="143209"/>
                </a:cubicBezTo>
                <a:cubicBezTo>
                  <a:pt x="129034" y="128178"/>
                  <a:pt x="121816" y="108719"/>
                  <a:pt x="121816" y="84832"/>
                </a:cubicBezTo>
                <a:cubicBezTo>
                  <a:pt x="121816" y="59605"/>
                  <a:pt x="129146" y="39141"/>
                  <a:pt x="143805" y="23440"/>
                </a:cubicBezTo>
                <a:cubicBezTo>
                  <a:pt x="158391" y="7813"/>
                  <a:pt x="177813" y="0"/>
                  <a:pt x="202072" y="0"/>
                </a:cubicBezTo>
                <a:close/>
                <a:moveTo>
                  <a:pt x="62843" y="0"/>
                </a:moveTo>
                <a:cubicBezTo>
                  <a:pt x="71177" y="0"/>
                  <a:pt x="78563" y="502"/>
                  <a:pt x="85000" y="1506"/>
                </a:cubicBezTo>
                <a:cubicBezTo>
                  <a:pt x="91436" y="2511"/>
                  <a:pt x="97371" y="4055"/>
                  <a:pt x="102803" y="6139"/>
                </a:cubicBezTo>
                <a:lnTo>
                  <a:pt x="102803" y="39513"/>
                </a:lnTo>
                <a:cubicBezTo>
                  <a:pt x="100124" y="37653"/>
                  <a:pt x="97204" y="36016"/>
                  <a:pt x="94041" y="34602"/>
                </a:cubicBezTo>
                <a:cubicBezTo>
                  <a:pt x="90878" y="33188"/>
                  <a:pt x="87623" y="32016"/>
                  <a:pt x="84274" y="31086"/>
                </a:cubicBezTo>
                <a:cubicBezTo>
                  <a:pt x="80925" y="30156"/>
                  <a:pt x="77595" y="29468"/>
                  <a:pt x="74284" y="29021"/>
                </a:cubicBezTo>
                <a:cubicBezTo>
                  <a:pt x="70973" y="28575"/>
                  <a:pt x="67829" y="28351"/>
                  <a:pt x="64852" y="28351"/>
                </a:cubicBezTo>
                <a:cubicBezTo>
                  <a:pt x="60759" y="28351"/>
                  <a:pt x="57039" y="28742"/>
                  <a:pt x="53690" y="29523"/>
                </a:cubicBezTo>
                <a:cubicBezTo>
                  <a:pt x="50341" y="30305"/>
                  <a:pt x="47514" y="31402"/>
                  <a:pt x="45207" y="32816"/>
                </a:cubicBezTo>
                <a:cubicBezTo>
                  <a:pt x="42900" y="34230"/>
                  <a:pt x="41114" y="35923"/>
                  <a:pt x="39849" y="37895"/>
                </a:cubicBezTo>
                <a:cubicBezTo>
                  <a:pt x="38584" y="39867"/>
                  <a:pt x="37951" y="42081"/>
                  <a:pt x="37951" y="44536"/>
                </a:cubicBezTo>
                <a:cubicBezTo>
                  <a:pt x="37951" y="47215"/>
                  <a:pt x="38658" y="49615"/>
                  <a:pt x="40072" y="51736"/>
                </a:cubicBezTo>
                <a:cubicBezTo>
                  <a:pt x="41486" y="53857"/>
                  <a:pt x="43495" y="55866"/>
                  <a:pt x="46100" y="57763"/>
                </a:cubicBezTo>
                <a:cubicBezTo>
                  <a:pt x="48704" y="59661"/>
                  <a:pt x="51867" y="61521"/>
                  <a:pt x="55587" y="63345"/>
                </a:cubicBezTo>
                <a:cubicBezTo>
                  <a:pt x="59308" y="65168"/>
                  <a:pt x="63513" y="67047"/>
                  <a:pt x="68201" y="68981"/>
                </a:cubicBezTo>
                <a:cubicBezTo>
                  <a:pt x="74600" y="71660"/>
                  <a:pt x="80349" y="74507"/>
                  <a:pt x="85446" y="77520"/>
                </a:cubicBezTo>
                <a:cubicBezTo>
                  <a:pt x="90543" y="80534"/>
                  <a:pt x="94915" y="83939"/>
                  <a:pt x="98562" y="87734"/>
                </a:cubicBezTo>
                <a:cubicBezTo>
                  <a:pt x="102208" y="91529"/>
                  <a:pt x="104998" y="95863"/>
                  <a:pt x="106933" y="100738"/>
                </a:cubicBezTo>
                <a:cubicBezTo>
                  <a:pt x="108868" y="105612"/>
                  <a:pt x="109835" y="111286"/>
                  <a:pt x="109835" y="117760"/>
                </a:cubicBezTo>
                <a:cubicBezTo>
                  <a:pt x="109835" y="126690"/>
                  <a:pt x="108142" y="134187"/>
                  <a:pt x="104757" y="140251"/>
                </a:cubicBezTo>
                <a:cubicBezTo>
                  <a:pt x="101371" y="146316"/>
                  <a:pt x="96776" y="151228"/>
                  <a:pt x="90971" y="154985"/>
                </a:cubicBezTo>
                <a:cubicBezTo>
                  <a:pt x="85167" y="158743"/>
                  <a:pt x="78414" y="161441"/>
                  <a:pt x="70712" y="163078"/>
                </a:cubicBezTo>
                <a:cubicBezTo>
                  <a:pt x="63010" y="164715"/>
                  <a:pt x="54881" y="165534"/>
                  <a:pt x="46323" y="165534"/>
                </a:cubicBezTo>
                <a:cubicBezTo>
                  <a:pt x="37542" y="165534"/>
                  <a:pt x="29189" y="164790"/>
                  <a:pt x="21264" y="163301"/>
                </a:cubicBezTo>
                <a:cubicBezTo>
                  <a:pt x="13339" y="161813"/>
                  <a:pt x="6474" y="159581"/>
                  <a:pt x="670" y="156604"/>
                </a:cubicBezTo>
                <a:lnTo>
                  <a:pt x="670" y="120885"/>
                </a:lnTo>
                <a:cubicBezTo>
                  <a:pt x="7144" y="126317"/>
                  <a:pt x="14176" y="130392"/>
                  <a:pt x="21766" y="133108"/>
                </a:cubicBezTo>
                <a:cubicBezTo>
                  <a:pt x="29357" y="135824"/>
                  <a:pt x="37021" y="137182"/>
                  <a:pt x="44760" y="137182"/>
                </a:cubicBezTo>
                <a:cubicBezTo>
                  <a:pt x="49299" y="137182"/>
                  <a:pt x="53262" y="136773"/>
                  <a:pt x="56648" y="135954"/>
                </a:cubicBezTo>
                <a:cubicBezTo>
                  <a:pt x="60034" y="135136"/>
                  <a:pt x="62861" y="134001"/>
                  <a:pt x="65131" y="132550"/>
                </a:cubicBezTo>
                <a:cubicBezTo>
                  <a:pt x="67401" y="131099"/>
                  <a:pt x="69094" y="129387"/>
                  <a:pt x="70210" y="127415"/>
                </a:cubicBezTo>
                <a:cubicBezTo>
                  <a:pt x="71326" y="125443"/>
                  <a:pt x="71884" y="123304"/>
                  <a:pt x="71884" y="120997"/>
                </a:cubicBezTo>
                <a:cubicBezTo>
                  <a:pt x="71884" y="117871"/>
                  <a:pt x="70991" y="115081"/>
                  <a:pt x="69205" y="112625"/>
                </a:cubicBezTo>
                <a:cubicBezTo>
                  <a:pt x="67419" y="110170"/>
                  <a:pt x="64982" y="107900"/>
                  <a:pt x="61894" y="105816"/>
                </a:cubicBezTo>
                <a:cubicBezTo>
                  <a:pt x="58806" y="103733"/>
                  <a:pt x="55141" y="101724"/>
                  <a:pt x="50899" y="99789"/>
                </a:cubicBezTo>
                <a:cubicBezTo>
                  <a:pt x="46658" y="97854"/>
                  <a:pt x="42081" y="95882"/>
                  <a:pt x="37170" y="93873"/>
                </a:cubicBezTo>
                <a:cubicBezTo>
                  <a:pt x="24668" y="88664"/>
                  <a:pt x="15348" y="82302"/>
                  <a:pt x="9209" y="74786"/>
                </a:cubicBezTo>
                <a:cubicBezTo>
                  <a:pt x="3070" y="67270"/>
                  <a:pt x="0" y="58191"/>
                  <a:pt x="0" y="47550"/>
                </a:cubicBezTo>
                <a:cubicBezTo>
                  <a:pt x="0" y="39216"/>
                  <a:pt x="1674" y="32053"/>
                  <a:pt x="5023" y="26063"/>
                </a:cubicBezTo>
                <a:cubicBezTo>
                  <a:pt x="8372" y="20073"/>
                  <a:pt x="12930" y="15143"/>
                  <a:pt x="18697" y="11273"/>
                </a:cubicBezTo>
                <a:cubicBezTo>
                  <a:pt x="24464" y="7404"/>
                  <a:pt x="31142" y="4557"/>
                  <a:pt x="38733" y="2734"/>
                </a:cubicBezTo>
                <a:cubicBezTo>
                  <a:pt x="46323" y="911"/>
                  <a:pt x="54360" y="0"/>
                  <a:pt x="62843"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latin typeface="Segoe UI"/>
            </a:endParaRPr>
          </a:p>
        </p:txBody>
      </p:sp>
      <p:sp>
        <p:nvSpPr>
          <p:cNvPr id="88" name="Freeform: Shape 87"/>
          <p:cNvSpPr/>
          <p:nvPr/>
        </p:nvSpPr>
        <p:spPr>
          <a:xfrm rot="21199444">
            <a:off x="9468189" y="5318207"/>
            <a:ext cx="2354244" cy="705523"/>
          </a:xfrm>
          <a:custGeom>
            <a:avLst/>
            <a:gdLst>
              <a:gd name="connsiteX0" fmla="*/ 1630787 w 2383222"/>
              <a:gd name="connsiteY0" fmla="*/ 285598 h 956663"/>
              <a:gd name="connsiteX1" fmla="*/ 1278090 w 2383222"/>
              <a:gd name="connsiteY1" fmla="*/ 11278 h 956663"/>
              <a:gd name="connsiteX2" fmla="*/ 233061 w 2383222"/>
              <a:gd name="connsiteY2" fmla="*/ 102718 h 956663"/>
              <a:gd name="connsiteX3" fmla="*/ 69775 w 2383222"/>
              <a:gd name="connsiteY3" fmla="*/ 553386 h 956663"/>
              <a:gd name="connsiteX4" fmla="*/ 1140930 w 2383222"/>
              <a:gd name="connsiteY4" fmla="*/ 938741 h 956663"/>
              <a:gd name="connsiteX5" fmla="*/ 2310055 w 2383222"/>
              <a:gd name="connsiteY5" fmla="*/ 840769 h 956663"/>
              <a:gd name="connsiteX6" fmla="*/ 2205553 w 2383222"/>
              <a:gd name="connsiteY6" fmla="*/ 383569 h 956663"/>
              <a:gd name="connsiteX7" fmla="*/ 1754884 w 2383222"/>
              <a:gd name="connsiteY7" fmla="*/ 141906 h 956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83222" h="956663">
                <a:moveTo>
                  <a:pt x="1630787" y="285598"/>
                </a:moveTo>
                <a:cubicBezTo>
                  <a:pt x="1570915" y="163678"/>
                  <a:pt x="1511044" y="41758"/>
                  <a:pt x="1278090" y="11278"/>
                </a:cubicBezTo>
                <a:cubicBezTo>
                  <a:pt x="1045136" y="-19202"/>
                  <a:pt x="434447" y="12367"/>
                  <a:pt x="233061" y="102718"/>
                </a:cubicBezTo>
                <a:cubicBezTo>
                  <a:pt x="31675" y="193069"/>
                  <a:pt x="-81536" y="414049"/>
                  <a:pt x="69775" y="553386"/>
                </a:cubicBezTo>
                <a:cubicBezTo>
                  <a:pt x="221086" y="692723"/>
                  <a:pt x="767550" y="890844"/>
                  <a:pt x="1140930" y="938741"/>
                </a:cubicBezTo>
                <a:cubicBezTo>
                  <a:pt x="1514310" y="986638"/>
                  <a:pt x="2132618" y="933298"/>
                  <a:pt x="2310055" y="840769"/>
                </a:cubicBezTo>
                <a:cubicBezTo>
                  <a:pt x="2487492" y="748240"/>
                  <a:pt x="2298081" y="500046"/>
                  <a:pt x="2205553" y="383569"/>
                </a:cubicBezTo>
                <a:cubicBezTo>
                  <a:pt x="2113025" y="267092"/>
                  <a:pt x="1933954" y="204499"/>
                  <a:pt x="1754884" y="141906"/>
                </a:cubicBezTo>
              </a:path>
            </a:pathLst>
          </a:custGeom>
          <a:no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9" name="Picture 2" descr="Image result for cassandra logo">
            <a:extLst>
              <a:ext uri="{FF2B5EF4-FFF2-40B4-BE49-F238E27FC236}">
                <a16:creationId xmlns:a16="http://schemas.microsoft.com/office/drawing/2014/main" id="{BAF46F46-6921-485A-9537-D22E62A3CCB1}"/>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582043" y="2545341"/>
            <a:ext cx="1202369" cy="8062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616222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7" name="Group 176"/>
          <p:cNvGrpSpPr/>
          <p:nvPr/>
        </p:nvGrpSpPr>
        <p:grpSpPr>
          <a:xfrm>
            <a:off x="-150831" y="5967674"/>
            <a:ext cx="12348770" cy="3398205"/>
            <a:chOff x="1290527" y="2543661"/>
            <a:chExt cx="3219898" cy="3209030"/>
          </a:xfrm>
        </p:grpSpPr>
        <p:grpSp>
          <p:nvGrpSpPr>
            <p:cNvPr id="180" name="Group 179"/>
            <p:cNvGrpSpPr/>
            <p:nvPr/>
          </p:nvGrpSpPr>
          <p:grpSpPr>
            <a:xfrm>
              <a:off x="1290527" y="2543661"/>
              <a:ext cx="3219898" cy="3209030"/>
              <a:chOff x="1826012" y="1903236"/>
              <a:chExt cx="2474234" cy="2477382"/>
            </a:xfrm>
          </p:grpSpPr>
          <p:sp>
            <p:nvSpPr>
              <p:cNvPr id="193" name="Oval 178"/>
              <p:cNvSpPr>
                <a:spLocks noChangeArrowheads="1"/>
              </p:cNvSpPr>
              <p:nvPr/>
            </p:nvSpPr>
            <p:spPr bwMode="auto">
              <a:xfrm>
                <a:off x="1826012" y="1903236"/>
                <a:ext cx="2474234" cy="2477382"/>
              </a:xfrm>
              <a:prstGeom prst="ellipse">
                <a:avLst/>
              </a:pr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grpSp>
            <p:nvGrpSpPr>
              <p:cNvPr id="194" name="Group 193"/>
              <p:cNvGrpSpPr/>
              <p:nvPr/>
            </p:nvGrpSpPr>
            <p:grpSpPr>
              <a:xfrm>
                <a:off x="1826012" y="1992951"/>
                <a:ext cx="2469512" cy="2088618"/>
                <a:chOff x="1954023" y="1951038"/>
                <a:chExt cx="2490787" cy="2106612"/>
              </a:xfrm>
              <a:solidFill>
                <a:schemeClr val="accent2"/>
              </a:solidFill>
            </p:grpSpPr>
            <p:sp>
              <p:nvSpPr>
                <p:cNvPr id="196" name="Freeform 179"/>
                <p:cNvSpPr>
                  <a:spLocks/>
                </p:cNvSpPr>
                <p:nvPr/>
              </p:nvSpPr>
              <p:spPr bwMode="auto">
                <a:xfrm>
                  <a:off x="2998598" y="2182813"/>
                  <a:ext cx="109538" cy="150813"/>
                </a:xfrm>
                <a:custGeom>
                  <a:avLst/>
                  <a:gdLst>
                    <a:gd name="T0" fmla="*/ 5 w 69"/>
                    <a:gd name="T1" fmla="*/ 0 h 95"/>
                    <a:gd name="T2" fmla="*/ 5 w 69"/>
                    <a:gd name="T3" fmla="*/ 19 h 95"/>
                    <a:gd name="T4" fmla="*/ 5 w 69"/>
                    <a:gd name="T5" fmla="*/ 45 h 95"/>
                    <a:gd name="T6" fmla="*/ 17 w 69"/>
                    <a:gd name="T7" fmla="*/ 64 h 95"/>
                    <a:gd name="T8" fmla="*/ 2 w 69"/>
                    <a:gd name="T9" fmla="*/ 93 h 95"/>
                    <a:gd name="T10" fmla="*/ 0 w 69"/>
                    <a:gd name="T11" fmla="*/ 95 h 95"/>
                    <a:gd name="T12" fmla="*/ 52 w 69"/>
                    <a:gd name="T13" fmla="*/ 95 h 95"/>
                    <a:gd name="T14" fmla="*/ 69 w 69"/>
                    <a:gd name="T15" fmla="*/ 74 h 95"/>
                    <a:gd name="T16" fmla="*/ 33 w 69"/>
                    <a:gd name="T17" fmla="*/ 55 h 95"/>
                    <a:gd name="T18" fmla="*/ 33 w 69"/>
                    <a:gd name="T19" fmla="*/ 31 h 95"/>
                    <a:gd name="T20" fmla="*/ 21 w 69"/>
                    <a:gd name="T21" fmla="*/ 17 h 95"/>
                    <a:gd name="T22" fmla="*/ 36 w 69"/>
                    <a:gd name="T23" fmla="*/ 0 h 95"/>
                    <a:gd name="T24" fmla="*/ 5 w 69"/>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95">
                      <a:moveTo>
                        <a:pt x="5" y="0"/>
                      </a:moveTo>
                      <a:lnTo>
                        <a:pt x="5" y="19"/>
                      </a:lnTo>
                      <a:lnTo>
                        <a:pt x="5" y="45"/>
                      </a:lnTo>
                      <a:lnTo>
                        <a:pt x="17" y="64"/>
                      </a:lnTo>
                      <a:lnTo>
                        <a:pt x="2" y="93"/>
                      </a:lnTo>
                      <a:lnTo>
                        <a:pt x="0" y="95"/>
                      </a:lnTo>
                      <a:lnTo>
                        <a:pt x="52" y="95"/>
                      </a:lnTo>
                      <a:lnTo>
                        <a:pt x="69" y="74"/>
                      </a:lnTo>
                      <a:lnTo>
                        <a:pt x="33" y="55"/>
                      </a:lnTo>
                      <a:lnTo>
                        <a:pt x="33" y="31"/>
                      </a:lnTo>
                      <a:lnTo>
                        <a:pt x="21" y="17"/>
                      </a:lnTo>
                      <a:lnTo>
                        <a:pt x="36" y="0"/>
                      </a:lnTo>
                      <a:lnTo>
                        <a:pt x="5" y="0"/>
                      </a:ln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97" name="Freeform 180"/>
                <p:cNvSpPr>
                  <a:spLocks/>
                </p:cNvSpPr>
                <p:nvPr/>
              </p:nvSpPr>
              <p:spPr bwMode="auto">
                <a:xfrm>
                  <a:off x="2874773" y="2243138"/>
                  <a:ext cx="85725" cy="90488"/>
                </a:xfrm>
                <a:custGeom>
                  <a:avLst/>
                  <a:gdLst>
                    <a:gd name="T0" fmla="*/ 17 w 23"/>
                    <a:gd name="T1" fmla="*/ 3 h 24"/>
                    <a:gd name="T2" fmla="*/ 22 w 23"/>
                    <a:gd name="T3" fmla="*/ 3 h 24"/>
                    <a:gd name="T4" fmla="*/ 22 w 23"/>
                    <a:gd name="T5" fmla="*/ 13 h 24"/>
                    <a:gd name="T6" fmla="*/ 9 w 23"/>
                    <a:gd name="T7" fmla="*/ 24 h 24"/>
                    <a:gd name="T8" fmla="*/ 0 w 23"/>
                    <a:gd name="T9" fmla="*/ 19 h 24"/>
                    <a:gd name="T10" fmla="*/ 3 w 23"/>
                    <a:gd name="T11" fmla="*/ 13 h 24"/>
                    <a:gd name="T12" fmla="*/ 17 w 23"/>
                    <a:gd name="T13" fmla="*/ 3 h 24"/>
                  </a:gdLst>
                  <a:ahLst/>
                  <a:cxnLst>
                    <a:cxn ang="0">
                      <a:pos x="T0" y="T1"/>
                    </a:cxn>
                    <a:cxn ang="0">
                      <a:pos x="T2" y="T3"/>
                    </a:cxn>
                    <a:cxn ang="0">
                      <a:pos x="T4" y="T5"/>
                    </a:cxn>
                    <a:cxn ang="0">
                      <a:pos x="T6" y="T7"/>
                    </a:cxn>
                    <a:cxn ang="0">
                      <a:pos x="T8" y="T9"/>
                    </a:cxn>
                    <a:cxn ang="0">
                      <a:pos x="T10" y="T11"/>
                    </a:cxn>
                    <a:cxn ang="0">
                      <a:pos x="T12" y="T13"/>
                    </a:cxn>
                  </a:cxnLst>
                  <a:rect l="0" t="0" r="r" b="b"/>
                  <a:pathLst>
                    <a:path w="23" h="24">
                      <a:moveTo>
                        <a:pt x="17" y="3"/>
                      </a:moveTo>
                      <a:cubicBezTo>
                        <a:pt x="17" y="3"/>
                        <a:pt x="21" y="0"/>
                        <a:pt x="22" y="3"/>
                      </a:cubicBezTo>
                      <a:cubicBezTo>
                        <a:pt x="23" y="7"/>
                        <a:pt x="22" y="13"/>
                        <a:pt x="22" y="13"/>
                      </a:cubicBezTo>
                      <a:cubicBezTo>
                        <a:pt x="9" y="24"/>
                        <a:pt x="9" y="24"/>
                        <a:pt x="9" y="24"/>
                      </a:cubicBezTo>
                      <a:cubicBezTo>
                        <a:pt x="0" y="19"/>
                        <a:pt x="0" y="19"/>
                        <a:pt x="0" y="19"/>
                      </a:cubicBezTo>
                      <a:cubicBezTo>
                        <a:pt x="0" y="19"/>
                        <a:pt x="0" y="18"/>
                        <a:pt x="3" y="13"/>
                      </a:cubicBezTo>
                      <a:cubicBezTo>
                        <a:pt x="7" y="7"/>
                        <a:pt x="17" y="3"/>
                        <a:pt x="17" y="3"/>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98" name="Freeform 181"/>
                <p:cNvSpPr>
                  <a:spLocks/>
                </p:cNvSpPr>
                <p:nvPr/>
              </p:nvSpPr>
              <p:spPr bwMode="auto">
                <a:xfrm>
                  <a:off x="2984310" y="2390775"/>
                  <a:ext cx="6350" cy="6350"/>
                </a:xfrm>
                <a:custGeom>
                  <a:avLst/>
                  <a:gdLst>
                    <a:gd name="T0" fmla="*/ 2 w 2"/>
                    <a:gd name="T1" fmla="*/ 1 h 2"/>
                    <a:gd name="T2" fmla="*/ 0 w 2"/>
                    <a:gd name="T3" fmla="*/ 1 h 2"/>
                    <a:gd name="T4" fmla="*/ 2 w 2"/>
                    <a:gd name="T5" fmla="*/ 1 h 2"/>
                  </a:gdLst>
                  <a:ahLst/>
                  <a:cxnLst>
                    <a:cxn ang="0">
                      <a:pos x="T0" y="T1"/>
                    </a:cxn>
                    <a:cxn ang="0">
                      <a:pos x="T2" y="T3"/>
                    </a:cxn>
                    <a:cxn ang="0">
                      <a:pos x="T4" y="T5"/>
                    </a:cxn>
                  </a:cxnLst>
                  <a:rect l="0" t="0" r="r" b="b"/>
                  <a:pathLst>
                    <a:path w="2" h="2">
                      <a:moveTo>
                        <a:pt x="2" y="1"/>
                      </a:moveTo>
                      <a:cubicBezTo>
                        <a:pt x="1" y="2"/>
                        <a:pt x="0" y="2"/>
                        <a:pt x="0" y="1"/>
                      </a:cubicBezTo>
                      <a:cubicBezTo>
                        <a:pt x="0" y="0"/>
                        <a:pt x="1"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00" name="Freeform 182"/>
                <p:cNvSpPr>
                  <a:spLocks/>
                </p:cNvSpPr>
                <p:nvPr/>
              </p:nvSpPr>
              <p:spPr bwMode="auto">
                <a:xfrm>
                  <a:off x="2704910" y="1987550"/>
                  <a:ext cx="1739900" cy="2070100"/>
                </a:xfrm>
                <a:custGeom>
                  <a:avLst/>
                  <a:gdLst>
                    <a:gd name="T0" fmla="*/ 447 w 463"/>
                    <a:gd name="T1" fmla="*/ 298 h 551"/>
                    <a:gd name="T2" fmla="*/ 430 w 463"/>
                    <a:gd name="T3" fmla="*/ 275 h 551"/>
                    <a:gd name="T4" fmla="*/ 394 w 463"/>
                    <a:gd name="T5" fmla="*/ 252 h 551"/>
                    <a:gd name="T6" fmla="*/ 367 w 463"/>
                    <a:gd name="T7" fmla="*/ 255 h 551"/>
                    <a:gd name="T8" fmla="*/ 371 w 463"/>
                    <a:gd name="T9" fmla="*/ 289 h 551"/>
                    <a:gd name="T10" fmla="*/ 317 w 463"/>
                    <a:gd name="T11" fmla="*/ 278 h 551"/>
                    <a:gd name="T12" fmla="*/ 285 w 463"/>
                    <a:gd name="T13" fmla="*/ 251 h 551"/>
                    <a:gd name="T14" fmla="*/ 328 w 463"/>
                    <a:gd name="T15" fmla="*/ 324 h 551"/>
                    <a:gd name="T16" fmla="*/ 301 w 463"/>
                    <a:gd name="T17" fmla="*/ 398 h 551"/>
                    <a:gd name="T18" fmla="*/ 274 w 463"/>
                    <a:gd name="T19" fmla="*/ 480 h 551"/>
                    <a:gd name="T20" fmla="*/ 232 w 463"/>
                    <a:gd name="T21" fmla="*/ 541 h 551"/>
                    <a:gd name="T22" fmla="*/ 172 w 463"/>
                    <a:gd name="T23" fmla="*/ 501 h 551"/>
                    <a:gd name="T24" fmla="*/ 163 w 463"/>
                    <a:gd name="T25" fmla="*/ 427 h 551"/>
                    <a:gd name="T26" fmla="*/ 145 w 463"/>
                    <a:gd name="T27" fmla="*/ 360 h 551"/>
                    <a:gd name="T28" fmla="*/ 35 w 463"/>
                    <a:gd name="T29" fmla="*/ 359 h 551"/>
                    <a:gd name="T30" fmla="*/ 17 w 463"/>
                    <a:gd name="T31" fmla="*/ 243 h 551"/>
                    <a:gd name="T32" fmla="*/ 40 w 463"/>
                    <a:gd name="T33" fmla="*/ 216 h 551"/>
                    <a:gd name="T34" fmla="*/ 85 w 463"/>
                    <a:gd name="T35" fmla="*/ 190 h 551"/>
                    <a:gd name="T36" fmla="*/ 159 w 463"/>
                    <a:gd name="T37" fmla="*/ 180 h 551"/>
                    <a:gd name="T38" fmla="*/ 203 w 463"/>
                    <a:gd name="T39" fmla="*/ 216 h 551"/>
                    <a:gd name="T40" fmla="*/ 224 w 463"/>
                    <a:gd name="T41" fmla="*/ 208 h 551"/>
                    <a:gd name="T42" fmla="*/ 262 w 463"/>
                    <a:gd name="T43" fmla="*/ 210 h 551"/>
                    <a:gd name="T44" fmla="*/ 283 w 463"/>
                    <a:gd name="T45" fmla="*/ 212 h 551"/>
                    <a:gd name="T46" fmla="*/ 257 w 463"/>
                    <a:gd name="T47" fmla="*/ 184 h 551"/>
                    <a:gd name="T48" fmla="*/ 247 w 463"/>
                    <a:gd name="T49" fmla="*/ 164 h 551"/>
                    <a:gd name="T50" fmla="*/ 282 w 463"/>
                    <a:gd name="T51" fmla="*/ 152 h 551"/>
                    <a:gd name="T52" fmla="*/ 308 w 463"/>
                    <a:gd name="T53" fmla="*/ 154 h 551"/>
                    <a:gd name="T54" fmla="*/ 287 w 463"/>
                    <a:gd name="T55" fmla="*/ 128 h 551"/>
                    <a:gd name="T56" fmla="*/ 245 w 463"/>
                    <a:gd name="T57" fmla="*/ 134 h 551"/>
                    <a:gd name="T58" fmla="*/ 223 w 463"/>
                    <a:gd name="T59" fmla="*/ 152 h 551"/>
                    <a:gd name="T60" fmla="*/ 210 w 463"/>
                    <a:gd name="T61" fmla="*/ 166 h 551"/>
                    <a:gd name="T62" fmla="*/ 169 w 463"/>
                    <a:gd name="T63" fmla="*/ 128 h 551"/>
                    <a:gd name="T64" fmla="*/ 194 w 463"/>
                    <a:gd name="T65" fmla="*/ 158 h 551"/>
                    <a:gd name="T66" fmla="*/ 184 w 463"/>
                    <a:gd name="T67" fmla="*/ 169 h 551"/>
                    <a:gd name="T68" fmla="*/ 156 w 463"/>
                    <a:gd name="T69" fmla="*/ 145 h 551"/>
                    <a:gd name="T70" fmla="*/ 115 w 463"/>
                    <a:gd name="T71" fmla="*/ 140 h 551"/>
                    <a:gd name="T72" fmla="*/ 96 w 463"/>
                    <a:gd name="T73" fmla="*/ 169 h 551"/>
                    <a:gd name="T74" fmla="*/ 46 w 463"/>
                    <a:gd name="T75" fmla="*/ 166 h 551"/>
                    <a:gd name="T76" fmla="*/ 92 w 463"/>
                    <a:gd name="T77" fmla="*/ 126 h 551"/>
                    <a:gd name="T78" fmla="*/ 89 w 463"/>
                    <a:gd name="T79" fmla="*/ 102 h 551"/>
                    <a:gd name="T80" fmla="*/ 127 w 463"/>
                    <a:gd name="T81" fmla="*/ 80 h 551"/>
                    <a:gd name="T82" fmla="*/ 147 w 463"/>
                    <a:gd name="T83" fmla="*/ 60 h 551"/>
                    <a:gd name="T84" fmla="*/ 186 w 463"/>
                    <a:gd name="T85" fmla="*/ 77 h 551"/>
                    <a:gd name="T86" fmla="*/ 204 w 463"/>
                    <a:gd name="T87" fmla="*/ 64 h 551"/>
                    <a:gd name="T88" fmla="*/ 228 w 463"/>
                    <a:gd name="T89" fmla="*/ 60 h 551"/>
                    <a:gd name="T90" fmla="*/ 204 w 463"/>
                    <a:gd name="T91" fmla="*/ 42 h 551"/>
                    <a:gd name="T92" fmla="*/ 200 w 463"/>
                    <a:gd name="T93" fmla="*/ 18 h 551"/>
                    <a:gd name="T94" fmla="*/ 184 w 463"/>
                    <a:gd name="T95" fmla="*/ 42 h 551"/>
                    <a:gd name="T96" fmla="*/ 180 w 463"/>
                    <a:gd name="T97" fmla="*/ 60 h 551"/>
                    <a:gd name="T98" fmla="*/ 158 w 463"/>
                    <a:gd name="T99" fmla="*/ 59 h 551"/>
                    <a:gd name="T100" fmla="*/ 126 w 463"/>
                    <a:gd name="T101" fmla="*/ 52 h 551"/>
                    <a:gd name="T102" fmla="*/ 142 w 463"/>
                    <a:gd name="T103" fmla="*/ 29 h 551"/>
                    <a:gd name="T104" fmla="*/ 177 w 463"/>
                    <a:gd name="T105" fmla="*/ 6 h 551"/>
                    <a:gd name="T106" fmla="*/ 240 w 463"/>
                    <a:gd name="T107" fmla="*/ 10 h 551"/>
                    <a:gd name="T108" fmla="*/ 264 w 463"/>
                    <a:gd name="T109" fmla="*/ 27 h 551"/>
                    <a:gd name="T110" fmla="*/ 265 w 463"/>
                    <a:gd name="T111" fmla="*/ 38 h 551"/>
                    <a:gd name="T112" fmla="*/ 302 w 463"/>
                    <a:gd name="T113" fmla="*/ 26 h 551"/>
                    <a:gd name="T114" fmla="*/ 336 w 463"/>
                    <a:gd name="T115" fmla="*/ 39 h 551"/>
                    <a:gd name="T116" fmla="*/ 463 w 463"/>
                    <a:gd name="T117" fmla="*/ 270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3" h="551">
                      <a:moveTo>
                        <a:pt x="463" y="270"/>
                      </a:moveTo>
                      <a:cubicBezTo>
                        <a:pt x="456" y="277"/>
                        <a:pt x="456" y="277"/>
                        <a:pt x="456" y="277"/>
                      </a:cubicBezTo>
                      <a:cubicBezTo>
                        <a:pt x="447" y="298"/>
                        <a:pt x="447" y="298"/>
                        <a:pt x="447" y="298"/>
                      </a:cubicBezTo>
                      <a:cubicBezTo>
                        <a:pt x="436" y="329"/>
                        <a:pt x="436" y="329"/>
                        <a:pt x="436" y="329"/>
                      </a:cubicBezTo>
                      <a:cubicBezTo>
                        <a:pt x="436" y="329"/>
                        <a:pt x="436" y="315"/>
                        <a:pt x="436" y="311"/>
                      </a:cubicBezTo>
                      <a:cubicBezTo>
                        <a:pt x="436" y="308"/>
                        <a:pt x="430" y="275"/>
                        <a:pt x="430" y="275"/>
                      </a:cubicBezTo>
                      <a:cubicBezTo>
                        <a:pt x="418" y="269"/>
                        <a:pt x="418" y="269"/>
                        <a:pt x="418" y="269"/>
                      </a:cubicBezTo>
                      <a:cubicBezTo>
                        <a:pt x="411" y="254"/>
                        <a:pt x="411" y="254"/>
                        <a:pt x="411" y="254"/>
                      </a:cubicBezTo>
                      <a:cubicBezTo>
                        <a:pt x="394" y="252"/>
                        <a:pt x="394" y="252"/>
                        <a:pt x="394" y="252"/>
                      </a:cubicBezTo>
                      <a:cubicBezTo>
                        <a:pt x="345" y="224"/>
                        <a:pt x="345" y="224"/>
                        <a:pt x="345" y="224"/>
                      </a:cubicBezTo>
                      <a:cubicBezTo>
                        <a:pt x="349" y="241"/>
                        <a:pt x="349" y="241"/>
                        <a:pt x="349" y="241"/>
                      </a:cubicBezTo>
                      <a:cubicBezTo>
                        <a:pt x="367" y="255"/>
                        <a:pt x="367" y="255"/>
                        <a:pt x="367" y="255"/>
                      </a:cubicBezTo>
                      <a:cubicBezTo>
                        <a:pt x="380" y="254"/>
                        <a:pt x="380" y="254"/>
                        <a:pt x="380" y="254"/>
                      </a:cubicBezTo>
                      <a:cubicBezTo>
                        <a:pt x="384" y="272"/>
                        <a:pt x="384" y="272"/>
                        <a:pt x="384" y="272"/>
                      </a:cubicBezTo>
                      <a:cubicBezTo>
                        <a:pt x="371" y="289"/>
                        <a:pt x="371" y="289"/>
                        <a:pt x="371" y="289"/>
                      </a:cubicBezTo>
                      <a:cubicBezTo>
                        <a:pt x="335" y="314"/>
                        <a:pt x="335" y="314"/>
                        <a:pt x="335" y="314"/>
                      </a:cubicBezTo>
                      <a:cubicBezTo>
                        <a:pt x="335" y="314"/>
                        <a:pt x="327" y="308"/>
                        <a:pt x="327" y="301"/>
                      </a:cubicBezTo>
                      <a:cubicBezTo>
                        <a:pt x="327" y="294"/>
                        <a:pt x="318" y="282"/>
                        <a:pt x="317" y="278"/>
                      </a:cubicBezTo>
                      <a:cubicBezTo>
                        <a:pt x="316" y="273"/>
                        <a:pt x="293" y="243"/>
                        <a:pt x="293" y="243"/>
                      </a:cubicBezTo>
                      <a:cubicBezTo>
                        <a:pt x="275" y="226"/>
                        <a:pt x="275" y="226"/>
                        <a:pt x="275" y="226"/>
                      </a:cubicBezTo>
                      <a:cubicBezTo>
                        <a:pt x="285" y="251"/>
                        <a:pt x="285" y="251"/>
                        <a:pt x="285" y="251"/>
                      </a:cubicBezTo>
                      <a:cubicBezTo>
                        <a:pt x="292" y="277"/>
                        <a:pt x="292" y="277"/>
                        <a:pt x="292" y="277"/>
                      </a:cubicBezTo>
                      <a:cubicBezTo>
                        <a:pt x="307" y="298"/>
                        <a:pt x="307" y="298"/>
                        <a:pt x="307" y="298"/>
                      </a:cubicBezTo>
                      <a:cubicBezTo>
                        <a:pt x="328" y="324"/>
                        <a:pt x="328" y="324"/>
                        <a:pt x="328" y="324"/>
                      </a:cubicBezTo>
                      <a:cubicBezTo>
                        <a:pt x="356" y="327"/>
                        <a:pt x="356" y="327"/>
                        <a:pt x="356" y="327"/>
                      </a:cubicBezTo>
                      <a:cubicBezTo>
                        <a:pt x="335" y="363"/>
                        <a:pt x="335" y="363"/>
                        <a:pt x="335" y="363"/>
                      </a:cubicBezTo>
                      <a:cubicBezTo>
                        <a:pt x="301" y="398"/>
                        <a:pt x="301" y="398"/>
                        <a:pt x="301" y="398"/>
                      </a:cubicBezTo>
                      <a:cubicBezTo>
                        <a:pt x="303" y="415"/>
                        <a:pt x="303" y="415"/>
                        <a:pt x="303" y="415"/>
                      </a:cubicBezTo>
                      <a:cubicBezTo>
                        <a:pt x="299" y="456"/>
                        <a:pt x="299" y="456"/>
                        <a:pt x="299" y="456"/>
                      </a:cubicBezTo>
                      <a:cubicBezTo>
                        <a:pt x="274" y="480"/>
                        <a:pt x="274" y="480"/>
                        <a:pt x="274" y="480"/>
                      </a:cubicBezTo>
                      <a:cubicBezTo>
                        <a:pt x="264" y="502"/>
                        <a:pt x="264" y="502"/>
                        <a:pt x="264" y="502"/>
                      </a:cubicBezTo>
                      <a:cubicBezTo>
                        <a:pt x="259" y="521"/>
                        <a:pt x="259" y="521"/>
                        <a:pt x="259" y="521"/>
                      </a:cubicBezTo>
                      <a:cubicBezTo>
                        <a:pt x="232" y="541"/>
                        <a:pt x="232" y="541"/>
                        <a:pt x="232" y="541"/>
                      </a:cubicBezTo>
                      <a:cubicBezTo>
                        <a:pt x="195" y="551"/>
                        <a:pt x="195" y="551"/>
                        <a:pt x="195" y="551"/>
                      </a:cubicBezTo>
                      <a:cubicBezTo>
                        <a:pt x="182" y="527"/>
                        <a:pt x="182" y="527"/>
                        <a:pt x="182" y="527"/>
                      </a:cubicBezTo>
                      <a:cubicBezTo>
                        <a:pt x="172" y="501"/>
                        <a:pt x="172" y="501"/>
                        <a:pt x="172" y="501"/>
                      </a:cubicBezTo>
                      <a:cubicBezTo>
                        <a:pt x="172" y="501"/>
                        <a:pt x="161" y="478"/>
                        <a:pt x="161" y="474"/>
                      </a:cubicBezTo>
                      <a:cubicBezTo>
                        <a:pt x="161" y="471"/>
                        <a:pt x="172" y="451"/>
                        <a:pt x="172" y="451"/>
                      </a:cubicBezTo>
                      <a:cubicBezTo>
                        <a:pt x="172" y="451"/>
                        <a:pt x="165" y="430"/>
                        <a:pt x="163" y="427"/>
                      </a:cubicBezTo>
                      <a:cubicBezTo>
                        <a:pt x="161" y="424"/>
                        <a:pt x="146" y="395"/>
                        <a:pt x="146" y="395"/>
                      </a:cubicBezTo>
                      <a:cubicBezTo>
                        <a:pt x="155" y="371"/>
                        <a:pt x="155" y="371"/>
                        <a:pt x="155" y="371"/>
                      </a:cubicBezTo>
                      <a:cubicBezTo>
                        <a:pt x="145" y="360"/>
                        <a:pt x="145" y="360"/>
                        <a:pt x="145" y="360"/>
                      </a:cubicBezTo>
                      <a:cubicBezTo>
                        <a:pt x="121" y="360"/>
                        <a:pt x="121" y="360"/>
                        <a:pt x="121" y="360"/>
                      </a:cubicBezTo>
                      <a:cubicBezTo>
                        <a:pt x="75" y="371"/>
                        <a:pt x="75" y="371"/>
                        <a:pt x="75" y="371"/>
                      </a:cubicBezTo>
                      <a:cubicBezTo>
                        <a:pt x="75" y="371"/>
                        <a:pt x="39" y="364"/>
                        <a:pt x="35" y="359"/>
                      </a:cubicBezTo>
                      <a:cubicBezTo>
                        <a:pt x="30" y="353"/>
                        <a:pt x="4" y="323"/>
                        <a:pt x="2" y="319"/>
                      </a:cubicBezTo>
                      <a:cubicBezTo>
                        <a:pt x="0" y="316"/>
                        <a:pt x="2" y="297"/>
                        <a:pt x="2" y="294"/>
                      </a:cubicBezTo>
                      <a:cubicBezTo>
                        <a:pt x="2" y="290"/>
                        <a:pt x="16" y="246"/>
                        <a:pt x="17" y="243"/>
                      </a:cubicBezTo>
                      <a:cubicBezTo>
                        <a:pt x="18" y="240"/>
                        <a:pt x="28" y="233"/>
                        <a:pt x="28" y="233"/>
                      </a:cubicBezTo>
                      <a:cubicBezTo>
                        <a:pt x="40" y="223"/>
                        <a:pt x="40" y="223"/>
                        <a:pt x="40" y="223"/>
                      </a:cubicBezTo>
                      <a:cubicBezTo>
                        <a:pt x="40" y="216"/>
                        <a:pt x="40" y="216"/>
                        <a:pt x="40" y="216"/>
                      </a:cubicBezTo>
                      <a:cubicBezTo>
                        <a:pt x="40" y="216"/>
                        <a:pt x="50" y="205"/>
                        <a:pt x="51" y="201"/>
                      </a:cubicBezTo>
                      <a:cubicBezTo>
                        <a:pt x="52" y="198"/>
                        <a:pt x="64" y="191"/>
                        <a:pt x="64" y="191"/>
                      </a:cubicBezTo>
                      <a:cubicBezTo>
                        <a:pt x="85" y="190"/>
                        <a:pt x="85" y="190"/>
                        <a:pt x="85" y="190"/>
                      </a:cubicBezTo>
                      <a:cubicBezTo>
                        <a:pt x="108" y="180"/>
                        <a:pt x="108" y="180"/>
                        <a:pt x="108" y="180"/>
                      </a:cubicBezTo>
                      <a:cubicBezTo>
                        <a:pt x="150" y="171"/>
                        <a:pt x="150" y="171"/>
                        <a:pt x="150" y="171"/>
                      </a:cubicBezTo>
                      <a:cubicBezTo>
                        <a:pt x="159" y="180"/>
                        <a:pt x="159" y="180"/>
                        <a:pt x="159" y="180"/>
                      </a:cubicBezTo>
                      <a:cubicBezTo>
                        <a:pt x="153" y="195"/>
                        <a:pt x="153" y="195"/>
                        <a:pt x="153" y="195"/>
                      </a:cubicBezTo>
                      <a:cubicBezTo>
                        <a:pt x="191" y="216"/>
                        <a:pt x="191" y="216"/>
                        <a:pt x="191" y="216"/>
                      </a:cubicBezTo>
                      <a:cubicBezTo>
                        <a:pt x="203" y="216"/>
                        <a:pt x="203" y="216"/>
                        <a:pt x="203" y="216"/>
                      </a:cubicBezTo>
                      <a:cubicBezTo>
                        <a:pt x="204" y="206"/>
                        <a:pt x="204" y="206"/>
                        <a:pt x="204" y="206"/>
                      </a:cubicBezTo>
                      <a:cubicBezTo>
                        <a:pt x="215" y="201"/>
                        <a:pt x="215" y="201"/>
                        <a:pt x="215" y="201"/>
                      </a:cubicBezTo>
                      <a:cubicBezTo>
                        <a:pt x="224" y="208"/>
                        <a:pt x="224" y="208"/>
                        <a:pt x="224" y="208"/>
                      </a:cubicBezTo>
                      <a:cubicBezTo>
                        <a:pt x="236" y="209"/>
                        <a:pt x="236" y="209"/>
                        <a:pt x="236" y="209"/>
                      </a:cubicBezTo>
                      <a:cubicBezTo>
                        <a:pt x="253" y="216"/>
                        <a:pt x="253" y="216"/>
                        <a:pt x="253" y="216"/>
                      </a:cubicBezTo>
                      <a:cubicBezTo>
                        <a:pt x="262" y="210"/>
                        <a:pt x="262" y="210"/>
                        <a:pt x="262" y="210"/>
                      </a:cubicBezTo>
                      <a:cubicBezTo>
                        <a:pt x="270" y="217"/>
                        <a:pt x="270" y="217"/>
                        <a:pt x="270" y="217"/>
                      </a:cubicBezTo>
                      <a:cubicBezTo>
                        <a:pt x="279" y="212"/>
                        <a:pt x="279" y="212"/>
                        <a:pt x="279" y="212"/>
                      </a:cubicBezTo>
                      <a:cubicBezTo>
                        <a:pt x="283" y="212"/>
                        <a:pt x="283" y="212"/>
                        <a:pt x="283" y="212"/>
                      </a:cubicBezTo>
                      <a:cubicBezTo>
                        <a:pt x="286" y="203"/>
                        <a:pt x="286" y="203"/>
                        <a:pt x="286" y="203"/>
                      </a:cubicBezTo>
                      <a:cubicBezTo>
                        <a:pt x="284" y="184"/>
                        <a:pt x="284" y="184"/>
                        <a:pt x="284" y="184"/>
                      </a:cubicBezTo>
                      <a:cubicBezTo>
                        <a:pt x="257" y="184"/>
                        <a:pt x="257" y="184"/>
                        <a:pt x="257" y="184"/>
                      </a:cubicBezTo>
                      <a:cubicBezTo>
                        <a:pt x="244" y="174"/>
                        <a:pt x="244" y="174"/>
                        <a:pt x="244" y="174"/>
                      </a:cubicBezTo>
                      <a:cubicBezTo>
                        <a:pt x="238" y="164"/>
                        <a:pt x="238" y="164"/>
                        <a:pt x="238" y="164"/>
                      </a:cubicBezTo>
                      <a:cubicBezTo>
                        <a:pt x="247" y="164"/>
                        <a:pt x="247" y="164"/>
                        <a:pt x="247" y="164"/>
                      </a:cubicBezTo>
                      <a:cubicBezTo>
                        <a:pt x="253" y="159"/>
                        <a:pt x="253" y="159"/>
                        <a:pt x="253" y="159"/>
                      </a:cubicBezTo>
                      <a:cubicBezTo>
                        <a:pt x="270" y="152"/>
                        <a:pt x="270" y="152"/>
                        <a:pt x="270" y="152"/>
                      </a:cubicBezTo>
                      <a:cubicBezTo>
                        <a:pt x="282" y="152"/>
                        <a:pt x="282" y="152"/>
                        <a:pt x="282" y="152"/>
                      </a:cubicBezTo>
                      <a:cubicBezTo>
                        <a:pt x="295" y="163"/>
                        <a:pt x="295" y="163"/>
                        <a:pt x="295" y="163"/>
                      </a:cubicBezTo>
                      <a:cubicBezTo>
                        <a:pt x="308" y="161"/>
                        <a:pt x="308" y="161"/>
                        <a:pt x="308" y="161"/>
                      </a:cubicBezTo>
                      <a:cubicBezTo>
                        <a:pt x="308" y="154"/>
                        <a:pt x="308" y="154"/>
                        <a:pt x="308" y="154"/>
                      </a:cubicBezTo>
                      <a:cubicBezTo>
                        <a:pt x="308" y="154"/>
                        <a:pt x="296" y="138"/>
                        <a:pt x="290" y="134"/>
                      </a:cubicBezTo>
                      <a:cubicBezTo>
                        <a:pt x="285" y="129"/>
                        <a:pt x="296" y="127"/>
                        <a:pt x="296" y="127"/>
                      </a:cubicBezTo>
                      <a:cubicBezTo>
                        <a:pt x="296" y="127"/>
                        <a:pt x="292" y="124"/>
                        <a:pt x="287" y="128"/>
                      </a:cubicBezTo>
                      <a:cubicBezTo>
                        <a:pt x="283" y="131"/>
                        <a:pt x="262" y="128"/>
                        <a:pt x="262" y="128"/>
                      </a:cubicBezTo>
                      <a:cubicBezTo>
                        <a:pt x="254" y="128"/>
                        <a:pt x="254" y="128"/>
                        <a:pt x="254" y="128"/>
                      </a:cubicBezTo>
                      <a:cubicBezTo>
                        <a:pt x="254" y="128"/>
                        <a:pt x="248" y="132"/>
                        <a:pt x="245" y="134"/>
                      </a:cubicBezTo>
                      <a:cubicBezTo>
                        <a:pt x="241" y="137"/>
                        <a:pt x="241" y="142"/>
                        <a:pt x="241" y="142"/>
                      </a:cubicBezTo>
                      <a:cubicBezTo>
                        <a:pt x="250" y="152"/>
                        <a:pt x="250" y="152"/>
                        <a:pt x="250" y="152"/>
                      </a:cubicBezTo>
                      <a:cubicBezTo>
                        <a:pt x="223" y="152"/>
                        <a:pt x="223" y="152"/>
                        <a:pt x="223" y="152"/>
                      </a:cubicBezTo>
                      <a:cubicBezTo>
                        <a:pt x="220" y="163"/>
                        <a:pt x="220" y="163"/>
                        <a:pt x="220" y="163"/>
                      </a:cubicBezTo>
                      <a:cubicBezTo>
                        <a:pt x="220" y="163"/>
                        <a:pt x="225" y="170"/>
                        <a:pt x="222" y="167"/>
                      </a:cubicBezTo>
                      <a:cubicBezTo>
                        <a:pt x="220" y="164"/>
                        <a:pt x="210" y="166"/>
                        <a:pt x="210" y="166"/>
                      </a:cubicBezTo>
                      <a:cubicBezTo>
                        <a:pt x="200" y="154"/>
                        <a:pt x="200" y="154"/>
                        <a:pt x="200" y="154"/>
                      </a:cubicBezTo>
                      <a:cubicBezTo>
                        <a:pt x="200" y="148"/>
                        <a:pt x="200" y="148"/>
                        <a:pt x="200" y="148"/>
                      </a:cubicBezTo>
                      <a:cubicBezTo>
                        <a:pt x="169" y="128"/>
                        <a:pt x="169" y="128"/>
                        <a:pt x="169" y="128"/>
                      </a:cubicBezTo>
                      <a:cubicBezTo>
                        <a:pt x="163" y="128"/>
                        <a:pt x="163" y="128"/>
                        <a:pt x="163" y="128"/>
                      </a:cubicBezTo>
                      <a:cubicBezTo>
                        <a:pt x="168" y="134"/>
                        <a:pt x="168" y="134"/>
                        <a:pt x="168" y="134"/>
                      </a:cubicBezTo>
                      <a:cubicBezTo>
                        <a:pt x="194" y="158"/>
                        <a:pt x="194" y="158"/>
                        <a:pt x="194" y="158"/>
                      </a:cubicBezTo>
                      <a:cubicBezTo>
                        <a:pt x="188" y="157"/>
                        <a:pt x="188" y="157"/>
                        <a:pt x="188" y="157"/>
                      </a:cubicBezTo>
                      <a:cubicBezTo>
                        <a:pt x="188" y="166"/>
                        <a:pt x="188" y="166"/>
                        <a:pt x="188" y="166"/>
                      </a:cubicBezTo>
                      <a:cubicBezTo>
                        <a:pt x="184" y="169"/>
                        <a:pt x="184" y="169"/>
                        <a:pt x="184" y="169"/>
                      </a:cubicBezTo>
                      <a:cubicBezTo>
                        <a:pt x="184" y="158"/>
                        <a:pt x="184" y="158"/>
                        <a:pt x="184" y="158"/>
                      </a:cubicBezTo>
                      <a:cubicBezTo>
                        <a:pt x="172" y="152"/>
                        <a:pt x="172" y="152"/>
                        <a:pt x="172" y="152"/>
                      </a:cubicBezTo>
                      <a:cubicBezTo>
                        <a:pt x="156" y="145"/>
                        <a:pt x="156" y="145"/>
                        <a:pt x="156" y="145"/>
                      </a:cubicBezTo>
                      <a:cubicBezTo>
                        <a:pt x="146" y="134"/>
                        <a:pt x="146" y="134"/>
                        <a:pt x="146" y="134"/>
                      </a:cubicBezTo>
                      <a:cubicBezTo>
                        <a:pt x="129" y="140"/>
                        <a:pt x="129" y="140"/>
                        <a:pt x="129" y="140"/>
                      </a:cubicBezTo>
                      <a:cubicBezTo>
                        <a:pt x="115" y="140"/>
                        <a:pt x="115" y="140"/>
                        <a:pt x="115" y="140"/>
                      </a:cubicBezTo>
                      <a:cubicBezTo>
                        <a:pt x="109" y="149"/>
                        <a:pt x="109" y="149"/>
                        <a:pt x="109" y="149"/>
                      </a:cubicBezTo>
                      <a:cubicBezTo>
                        <a:pt x="96" y="161"/>
                        <a:pt x="96" y="161"/>
                        <a:pt x="96" y="161"/>
                      </a:cubicBezTo>
                      <a:cubicBezTo>
                        <a:pt x="96" y="169"/>
                        <a:pt x="96" y="169"/>
                        <a:pt x="96" y="169"/>
                      </a:cubicBezTo>
                      <a:cubicBezTo>
                        <a:pt x="66" y="182"/>
                        <a:pt x="66" y="182"/>
                        <a:pt x="66" y="182"/>
                      </a:cubicBezTo>
                      <a:cubicBezTo>
                        <a:pt x="51" y="172"/>
                        <a:pt x="51" y="172"/>
                        <a:pt x="51" y="172"/>
                      </a:cubicBezTo>
                      <a:cubicBezTo>
                        <a:pt x="46" y="166"/>
                        <a:pt x="46" y="166"/>
                        <a:pt x="46" y="166"/>
                      </a:cubicBezTo>
                      <a:cubicBezTo>
                        <a:pt x="51" y="140"/>
                        <a:pt x="51" y="140"/>
                        <a:pt x="51" y="140"/>
                      </a:cubicBezTo>
                      <a:cubicBezTo>
                        <a:pt x="86" y="140"/>
                        <a:pt x="86" y="140"/>
                        <a:pt x="86" y="140"/>
                      </a:cubicBezTo>
                      <a:cubicBezTo>
                        <a:pt x="92" y="126"/>
                        <a:pt x="92" y="126"/>
                        <a:pt x="92" y="126"/>
                      </a:cubicBezTo>
                      <a:cubicBezTo>
                        <a:pt x="86" y="118"/>
                        <a:pt x="86" y="118"/>
                        <a:pt x="86" y="118"/>
                      </a:cubicBezTo>
                      <a:cubicBezTo>
                        <a:pt x="86" y="118"/>
                        <a:pt x="79" y="110"/>
                        <a:pt x="76" y="108"/>
                      </a:cubicBezTo>
                      <a:cubicBezTo>
                        <a:pt x="79" y="106"/>
                        <a:pt x="86" y="100"/>
                        <a:pt x="89" y="102"/>
                      </a:cubicBezTo>
                      <a:cubicBezTo>
                        <a:pt x="92" y="106"/>
                        <a:pt x="103" y="102"/>
                        <a:pt x="103" y="102"/>
                      </a:cubicBezTo>
                      <a:cubicBezTo>
                        <a:pt x="115" y="90"/>
                        <a:pt x="115" y="90"/>
                        <a:pt x="115" y="90"/>
                      </a:cubicBezTo>
                      <a:cubicBezTo>
                        <a:pt x="127" y="80"/>
                        <a:pt x="127" y="80"/>
                        <a:pt x="127" y="80"/>
                      </a:cubicBezTo>
                      <a:cubicBezTo>
                        <a:pt x="144" y="80"/>
                        <a:pt x="144" y="80"/>
                        <a:pt x="144" y="80"/>
                      </a:cubicBezTo>
                      <a:cubicBezTo>
                        <a:pt x="141" y="67"/>
                        <a:pt x="141" y="67"/>
                        <a:pt x="141" y="67"/>
                      </a:cubicBezTo>
                      <a:cubicBezTo>
                        <a:pt x="147" y="60"/>
                        <a:pt x="147" y="60"/>
                        <a:pt x="147" y="60"/>
                      </a:cubicBezTo>
                      <a:cubicBezTo>
                        <a:pt x="147" y="60"/>
                        <a:pt x="147" y="69"/>
                        <a:pt x="149" y="72"/>
                      </a:cubicBezTo>
                      <a:cubicBezTo>
                        <a:pt x="152" y="76"/>
                        <a:pt x="171" y="82"/>
                        <a:pt x="171" y="82"/>
                      </a:cubicBezTo>
                      <a:cubicBezTo>
                        <a:pt x="186" y="77"/>
                        <a:pt x="186" y="77"/>
                        <a:pt x="186" y="77"/>
                      </a:cubicBezTo>
                      <a:cubicBezTo>
                        <a:pt x="194" y="79"/>
                        <a:pt x="194" y="79"/>
                        <a:pt x="194" y="79"/>
                      </a:cubicBezTo>
                      <a:cubicBezTo>
                        <a:pt x="204" y="73"/>
                        <a:pt x="204" y="73"/>
                        <a:pt x="204" y="73"/>
                      </a:cubicBezTo>
                      <a:cubicBezTo>
                        <a:pt x="204" y="64"/>
                        <a:pt x="204" y="64"/>
                        <a:pt x="204" y="64"/>
                      </a:cubicBezTo>
                      <a:cubicBezTo>
                        <a:pt x="213" y="64"/>
                        <a:pt x="213" y="64"/>
                        <a:pt x="213" y="64"/>
                      </a:cubicBezTo>
                      <a:cubicBezTo>
                        <a:pt x="213" y="60"/>
                        <a:pt x="213" y="60"/>
                        <a:pt x="213" y="60"/>
                      </a:cubicBezTo>
                      <a:cubicBezTo>
                        <a:pt x="228" y="60"/>
                        <a:pt x="228" y="60"/>
                        <a:pt x="228" y="60"/>
                      </a:cubicBezTo>
                      <a:cubicBezTo>
                        <a:pt x="240" y="48"/>
                        <a:pt x="240" y="48"/>
                        <a:pt x="240" y="48"/>
                      </a:cubicBezTo>
                      <a:cubicBezTo>
                        <a:pt x="209" y="48"/>
                        <a:pt x="209" y="48"/>
                        <a:pt x="209" y="48"/>
                      </a:cubicBezTo>
                      <a:cubicBezTo>
                        <a:pt x="204" y="42"/>
                        <a:pt x="204" y="42"/>
                        <a:pt x="204" y="42"/>
                      </a:cubicBezTo>
                      <a:cubicBezTo>
                        <a:pt x="204" y="34"/>
                        <a:pt x="204" y="34"/>
                        <a:pt x="204" y="34"/>
                      </a:cubicBezTo>
                      <a:cubicBezTo>
                        <a:pt x="215" y="24"/>
                        <a:pt x="215" y="24"/>
                        <a:pt x="215" y="24"/>
                      </a:cubicBezTo>
                      <a:cubicBezTo>
                        <a:pt x="200" y="18"/>
                        <a:pt x="200" y="18"/>
                        <a:pt x="200" y="18"/>
                      </a:cubicBezTo>
                      <a:cubicBezTo>
                        <a:pt x="197" y="25"/>
                        <a:pt x="197" y="25"/>
                        <a:pt x="197" y="25"/>
                      </a:cubicBezTo>
                      <a:cubicBezTo>
                        <a:pt x="182" y="35"/>
                        <a:pt x="182" y="35"/>
                        <a:pt x="182" y="35"/>
                      </a:cubicBezTo>
                      <a:cubicBezTo>
                        <a:pt x="184" y="42"/>
                        <a:pt x="184" y="42"/>
                        <a:pt x="184" y="42"/>
                      </a:cubicBezTo>
                      <a:cubicBezTo>
                        <a:pt x="184" y="42"/>
                        <a:pt x="192" y="41"/>
                        <a:pt x="190" y="44"/>
                      </a:cubicBezTo>
                      <a:cubicBezTo>
                        <a:pt x="188" y="47"/>
                        <a:pt x="182" y="52"/>
                        <a:pt x="182" y="52"/>
                      </a:cubicBezTo>
                      <a:cubicBezTo>
                        <a:pt x="180" y="60"/>
                        <a:pt x="180" y="60"/>
                        <a:pt x="180" y="60"/>
                      </a:cubicBezTo>
                      <a:cubicBezTo>
                        <a:pt x="170" y="65"/>
                        <a:pt x="170" y="65"/>
                        <a:pt x="170" y="65"/>
                      </a:cubicBezTo>
                      <a:cubicBezTo>
                        <a:pt x="164" y="66"/>
                        <a:pt x="164" y="66"/>
                        <a:pt x="164" y="66"/>
                      </a:cubicBezTo>
                      <a:cubicBezTo>
                        <a:pt x="158" y="59"/>
                        <a:pt x="158" y="59"/>
                        <a:pt x="158" y="59"/>
                      </a:cubicBezTo>
                      <a:cubicBezTo>
                        <a:pt x="152" y="48"/>
                        <a:pt x="152" y="48"/>
                        <a:pt x="152" y="48"/>
                      </a:cubicBezTo>
                      <a:cubicBezTo>
                        <a:pt x="132" y="55"/>
                        <a:pt x="132" y="55"/>
                        <a:pt x="132" y="55"/>
                      </a:cubicBezTo>
                      <a:cubicBezTo>
                        <a:pt x="126" y="52"/>
                        <a:pt x="126" y="52"/>
                        <a:pt x="126" y="52"/>
                      </a:cubicBezTo>
                      <a:cubicBezTo>
                        <a:pt x="124" y="42"/>
                        <a:pt x="124" y="42"/>
                        <a:pt x="124" y="42"/>
                      </a:cubicBezTo>
                      <a:cubicBezTo>
                        <a:pt x="124" y="42"/>
                        <a:pt x="120" y="33"/>
                        <a:pt x="124" y="33"/>
                      </a:cubicBezTo>
                      <a:cubicBezTo>
                        <a:pt x="128" y="33"/>
                        <a:pt x="142" y="29"/>
                        <a:pt x="142" y="29"/>
                      </a:cubicBezTo>
                      <a:cubicBezTo>
                        <a:pt x="148" y="18"/>
                        <a:pt x="148" y="18"/>
                        <a:pt x="148" y="18"/>
                      </a:cubicBezTo>
                      <a:cubicBezTo>
                        <a:pt x="161" y="13"/>
                        <a:pt x="161" y="13"/>
                        <a:pt x="161" y="13"/>
                      </a:cubicBezTo>
                      <a:cubicBezTo>
                        <a:pt x="177" y="6"/>
                        <a:pt x="177" y="6"/>
                        <a:pt x="177" y="6"/>
                      </a:cubicBezTo>
                      <a:cubicBezTo>
                        <a:pt x="195" y="0"/>
                        <a:pt x="195" y="0"/>
                        <a:pt x="195" y="0"/>
                      </a:cubicBezTo>
                      <a:cubicBezTo>
                        <a:pt x="223" y="0"/>
                        <a:pt x="223" y="0"/>
                        <a:pt x="223" y="0"/>
                      </a:cubicBezTo>
                      <a:cubicBezTo>
                        <a:pt x="223" y="0"/>
                        <a:pt x="237" y="8"/>
                        <a:pt x="240" y="10"/>
                      </a:cubicBezTo>
                      <a:cubicBezTo>
                        <a:pt x="244" y="12"/>
                        <a:pt x="253" y="13"/>
                        <a:pt x="257" y="16"/>
                      </a:cubicBezTo>
                      <a:cubicBezTo>
                        <a:pt x="262" y="18"/>
                        <a:pt x="273" y="20"/>
                        <a:pt x="273" y="20"/>
                      </a:cubicBezTo>
                      <a:cubicBezTo>
                        <a:pt x="264" y="27"/>
                        <a:pt x="264" y="27"/>
                        <a:pt x="264" y="27"/>
                      </a:cubicBezTo>
                      <a:cubicBezTo>
                        <a:pt x="250" y="24"/>
                        <a:pt x="250" y="24"/>
                        <a:pt x="250" y="24"/>
                      </a:cubicBezTo>
                      <a:cubicBezTo>
                        <a:pt x="254" y="32"/>
                        <a:pt x="254" y="32"/>
                        <a:pt x="254" y="32"/>
                      </a:cubicBezTo>
                      <a:cubicBezTo>
                        <a:pt x="265" y="38"/>
                        <a:pt x="265" y="38"/>
                        <a:pt x="265" y="38"/>
                      </a:cubicBezTo>
                      <a:cubicBezTo>
                        <a:pt x="265" y="38"/>
                        <a:pt x="274" y="35"/>
                        <a:pt x="277" y="35"/>
                      </a:cubicBezTo>
                      <a:cubicBezTo>
                        <a:pt x="281" y="35"/>
                        <a:pt x="285" y="27"/>
                        <a:pt x="289" y="29"/>
                      </a:cubicBezTo>
                      <a:cubicBezTo>
                        <a:pt x="289" y="29"/>
                        <a:pt x="300" y="23"/>
                        <a:pt x="302" y="26"/>
                      </a:cubicBezTo>
                      <a:cubicBezTo>
                        <a:pt x="304" y="29"/>
                        <a:pt x="304" y="29"/>
                        <a:pt x="304" y="29"/>
                      </a:cubicBezTo>
                      <a:cubicBezTo>
                        <a:pt x="304" y="29"/>
                        <a:pt x="315" y="33"/>
                        <a:pt x="320" y="35"/>
                      </a:cubicBezTo>
                      <a:cubicBezTo>
                        <a:pt x="326" y="37"/>
                        <a:pt x="336" y="39"/>
                        <a:pt x="336" y="39"/>
                      </a:cubicBezTo>
                      <a:cubicBezTo>
                        <a:pt x="336" y="39"/>
                        <a:pt x="338" y="40"/>
                        <a:pt x="342" y="41"/>
                      </a:cubicBezTo>
                      <a:cubicBezTo>
                        <a:pt x="342" y="41"/>
                        <a:pt x="342" y="41"/>
                        <a:pt x="342" y="41"/>
                      </a:cubicBezTo>
                      <a:cubicBezTo>
                        <a:pt x="410" y="96"/>
                        <a:pt x="455" y="178"/>
                        <a:pt x="463" y="270"/>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01" name="Freeform 183"/>
                <p:cNvSpPr>
                  <a:spLocks/>
                </p:cNvSpPr>
                <p:nvPr/>
              </p:nvSpPr>
              <p:spPr bwMode="auto">
                <a:xfrm>
                  <a:off x="2371535" y="1951038"/>
                  <a:ext cx="442913" cy="315913"/>
                </a:xfrm>
                <a:custGeom>
                  <a:avLst/>
                  <a:gdLst>
                    <a:gd name="T0" fmla="*/ 118 w 118"/>
                    <a:gd name="T1" fmla="*/ 6 h 84"/>
                    <a:gd name="T2" fmla="*/ 107 w 118"/>
                    <a:gd name="T3" fmla="*/ 12 h 84"/>
                    <a:gd name="T4" fmla="*/ 89 w 118"/>
                    <a:gd name="T5" fmla="*/ 25 h 84"/>
                    <a:gd name="T6" fmla="*/ 80 w 118"/>
                    <a:gd name="T7" fmla="*/ 31 h 84"/>
                    <a:gd name="T8" fmla="*/ 68 w 118"/>
                    <a:gd name="T9" fmla="*/ 45 h 84"/>
                    <a:gd name="T10" fmla="*/ 52 w 118"/>
                    <a:gd name="T11" fmla="*/ 51 h 84"/>
                    <a:gd name="T12" fmla="*/ 38 w 118"/>
                    <a:gd name="T13" fmla="*/ 80 h 84"/>
                    <a:gd name="T14" fmla="*/ 34 w 118"/>
                    <a:gd name="T15" fmla="*/ 82 h 84"/>
                    <a:gd name="T16" fmla="*/ 16 w 118"/>
                    <a:gd name="T17" fmla="*/ 82 h 84"/>
                    <a:gd name="T18" fmla="*/ 1 w 118"/>
                    <a:gd name="T19" fmla="*/ 81 h 84"/>
                    <a:gd name="T20" fmla="*/ 1 w 118"/>
                    <a:gd name="T21" fmla="*/ 69 h 84"/>
                    <a:gd name="T22" fmla="*/ 14 w 118"/>
                    <a:gd name="T23" fmla="*/ 54 h 84"/>
                    <a:gd name="T24" fmla="*/ 12 w 118"/>
                    <a:gd name="T25" fmla="*/ 50 h 84"/>
                    <a:gd name="T26" fmla="*/ 97 w 118"/>
                    <a:gd name="T27" fmla="*/ 0 h 84"/>
                    <a:gd name="T28" fmla="*/ 112 w 118"/>
                    <a:gd name="T29" fmla="*/ 6 h 84"/>
                    <a:gd name="T30" fmla="*/ 118 w 118"/>
                    <a:gd name="T31" fmla="*/ 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8" h="84">
                      <a:moveTo>
                        <a:pt x="118" y="6"/>
                      </a:moveTo>
                      <a:cubicBezTo>
                        <a:pt x="107" y="12"/>
                        <a:pt x="107" y="12"/>
                        <a:pt x="107" y="12"/>
                      </a:cubicBezTo>
                      <a:cubicBezTo>
                        <a:pt x="89" y="25"/>
                        <a:pt x="89" y="25"/>
                        <a:pt x="89" y="25"/>
                      </a:cubicBezTo>
                      <a:cubicBezTo>
                        <a:pt x="80" y="31"/>
                        <a:pt x="80" y="31"/>
                        <a:pt x="80" y="31"/>
                      </a:cubicBezTo>
                      <a:cubicBezTo>
                        <a:pt x="68" y="45"/>
                        <a:pt x="68" y="45"/>
                        <a:pt x="68" y="45"/>
                      </a:cubicBezTo>
                      <a:cubicBezTo>
                        <a:pt x="52" y="51"/>
                        <a:pt x="52" y="51"/>
                        <a:pt x="52" y="51"/>
                      </a:cubicBezTo>
                      <a:cubicBezTo>
                        <a:pt x="38" y="80"/>
                        <a:pt x="38" y="80"/>
                        <a:pt x="38" y="80"/>
                      </a:cubicBezTo>
                      <a:cubicBezTo>
                        <a:pt x="34" y="82"/>
                        <a:pt x="34" y="82"/>
                        <a:pt x="34" y="82"/>
                      </a:cubicBezTo>
                      <a:cubicBezTo>
                        <a:pt x="34" y="82"/>
                        <a:pt x="19" y="81"/>
                        <a:pt x="16" y="82"/>
                      </a:cubicBezTo>
                      <a:cubicBezTo>
                        <a:pt x="13" y="82"/>
                        <a:pt x="2" y="84"/>
                        <a:pt x="1" y="81"/>
                      </a:cubicBezTo>
                      <a:cubicBezTo>
                        <a:pt x="0" y="79"/>
                        <a:pt x="1" y="69"/>
                        <a:pt x="1" y="69"/>
                      </a:cubicBezTo>
                      <a:cubicBezTo>
                        <a:pt x="14" y="54"/>
                        <a:pt x="14" y="54"/>
                        <a:pt x="14" y="54"/>
                      </a:cubicBezTo>
                      <a:cubicBezTo>
                        <a:pt x="12" y="50"/>
                        <a:pt x="12" y="50"/>
                        <a:pt x="12" y="50"/>
                      </a:cubicBezTo>
                      <a:cubicBezTo>
                        <a:pt x="37" y="29"/>
                        <a:pt x="66" y="12"/>
                        <a:pt x="97" y="0"/>
                      </a:cubicBezTo>
                      <a:cubicBezTo>
                        <a:pt x="112" y="6"/>
                        <a:pt x="112" y="6"/>
                        <a:pt x="112" y="6"/>
                      </a:cubicBezTo>
                      <a:lnTo>
                        <a:pt x="118" y="6"/>
                      </a:ln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02" name="Line 184"/>
                <p:cNvSpPr>
                  <a:spLocks noChangeShapeType="1"/>
                </p:cNvSpPr>
                <p:nvPr/>
              </p:nvSpPr>
              <p:spPr bwMode="auto">
                <a:xfrm>
                  <a:off x="2006410" y="306228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06" name="Line 185"/>
                <p:cNvSpPr>
                  <a:spLocks noChangeShapeType="1"/>
                </p:cNvSpPr>
                <p:nvPr/>
              </p:nvSpPr>
              <p:spPr bwMode="auto">
                <a:xfrm>
                  <a:off x="2006410" y="306228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07" name="Freeform 186"/>
                <p:cNvSpPr>
                  <a:spLocks/>
                </p:cNvSpPr>
                <p:nvPr/>
              </p:nvSpPr>
              <p:spPr bwMode="auto">
                <a:xfrm>
                  <a:off x="1954023" y="2401888"/>
                  <a:ext cx="341313" cy="660400"/>
                </a:xfrm>
                <a:custGeom>
                  <a:avLst/>
                  <a:gdLst>
                    <a:gd name="T0" fmla="*/ 52 w 91"/>
                    <a:gd name="T1" fmla="*/ 62 h 176"/>
                    <a:gd name="T2" fmla="*/ 52 w 91"/>
                    <a:gd name="T3" fmla="*/ 74 h 176"/>
                    <a:gd name="T4" fmla="*/ 64 w 91"/>
                    <a:gd name="T5" fmla="*/ 74 h 176"/>
                    <a:gd name="T6" fmla="*/ 45 w 91"/>
                    <a:gd name="T7" fmla="*/ 85 h 176"/>
                    <a:gd name="T8" fmla="*/ 37 w 91"/>
                    <a:gd name="T9" fmla="*/ 99 h 176"/>
                    <a:gd name="T10" fmla="*/ 27 w 91"/>
                    <a:gd name="T11" fmla="*/ 107 h 176"/>
                    <a:gd name="T12" fmla="*/ 20 w 91"/>
                    <a:gd name="T13" fmla="*/ 131 h 176"/>
                    <a:gd name="T14" fmla="*/ 12 w 91"/>
                    <a:gd name="T15" fmla="*/ 150 h 176"/>
                    <a:gd name="T16" fmla="*/ 12 w 91"/>
                    <a:gd name="T17" fmla="*/ 154 h 176"/>
                    <a:gd name="T18" fmla="*/ 11 w 91"/>
                    <a:gd name="T19" fmla="*/ 159 h 176"/>
                    <a:gd name="T20" fmla="*/ 12 w 91"/>
                    <a:gd name="T21" fmla="*/ 171 h 176"/>
                    <a:gd name="T22" fmla="*/ 14 w 91"/>
                    <a:gd name="T23" fmla="*/ 176 h 176"/>
                    <a:gd name="T24" fmla="*/ 13 w 91"/>
                    <a:gd name="T25" fmla="*/ 176 h 176"/>
                    <a:gd name="T26" fmla="*/ 0 w 91"/>
                    <a:gd name="T27" fmla="*/ 166 h 176"/>
                    <a:gd name="T28" fmla="*/ 0 w 91"/>
                    <a:gd name="T29" fmla="*/ 166 h 176"/>
                    <a:gd name="T30" fmla="*/ 29 w 91"/>
                    <a:gd name="T31" fmla="*/ 50 h 176"/>
                    <a:gd name="T32" fmla="*/ 31 w 91"/>
                    <a:gd name="T33" fmla="*/ 54 h 176"/>
                    <a:gd name="T34" fmla="*/ 36 w 91"/>
                    <a:gd name="T35" fmla="*/ 49 h 176"/>
                    <a:gd name="T36" fmla="*/ 41 w 91"/>
                    <a:gd name="T37" fmla="*/ 38 h 176"/>
                    <a:gd name="T38" fmla="*/ 50 w 91"/>
                    <a:gd name="T39" fmla="*/ 32 h 176"/>
                    <a:gd name="T40" fmla="*/ 53 w 91"/>
                    <a:gd name="T41" fmla="*/ 7 h 176"/>
                    <a:gd name="T42" fmla="*/ 54 w 91"/>
                    <a:gd name="T43" fmla="*/ 6 h 176"/>
                    <a:gd name="T44" fmla="*/ 55 w 91"/>
                    <a:gd name="T45" fmla="*/ 5 h 176"/>
                    <a:gd name="T46" fmla="*/ 63 w 91"/>
                    <a:gd name="T47" fmla="*/ 6 h 176"/>
                    <a:gd name="T48" fmla="*/ 62 w 91"/>
                    <a:gd name="T49" fmla="*/ 14 h 176"/>
                    <a:gd name="T50" fmla="*/ 73 w 91"/>
                    <a:gd name="T51" fmla="*/ 8 h 176"/>
                    <a:gd name="T52" fmla="*/ 90 w 91"/>
                    <a:gd name="T53" fmla="*/ 19 h 176"/>
                    <a:gd name="T54" fmla="*/ 90 w 91"/>
                    <a:gd name="T55" fmla="*/ 38 h 176"/>
                    <a:gd name="T56" fmla="*/ 59 w 91"/>
                    <a:gd name="T57" fmla="*/ 50 h 176"/>
                    <a:gd name="T58" fmla="*/ 52 w 91"/>
                    <a:gd name="T59" fmla="*/ 6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1" h="176">
                      <a:moveTo>
                        <a:pt x="52" y="62"/>
                      </a:moveTo>
                      <a:cubicBezTo>
                        <a:pt x="52" y="74"/>
                        <a:pt x="52" y="74"/>
                        <a:pt x="52" y="74"/>
                      </a:cubicBezTo>
                      <a:cubicBezTo>
                        <a:pt x="64" y="74"/>
                        <a:pt x="64" y="74"/>
                        <a:pt x="64" y="74"/>
                      </a:cubicBezTo>
                      <a:cubicBezTo>
                        <a:pt x="45" y="85"/>
                        <a:pt x="45" y="85"/>
                        <a:pt x="45" y="85"/>
                      </a:cubicBezTo>
                      <a:cubicBezTo>
                        <a:pt x="37" y="99"/>
                        <a:pt x="37" y="99"/>
                        <a:pt x="37" y="99"/>
                      </a:cubicBezTo>
                      <a:cubicBezTo>
                        <a:pt x="27" y="107"/>
                        <a:pt x="27" y="107"/>
                        <a:pt x="27" y="107"/>
                      </a:cubicBezTo>
                      <a:cubicBezTo>
                        <a:pt x="27" y="107"/>
                        <a:pt x="20" y="126"/>
                        <a:pt x="20" y="131"/>
                      </a:cubicBezTo>
                      <a:cubicBezTo>
                        <a:pt x="20" y="135"/>
                        <a:pt x="12" y="150"/>
                        <a:pt x="12" y="150"/>
                      </a:cubicBezTo>
                      <a:cubicBezTo>
                        <a:pt x="12" y="154"/>
                        <a:pt x="12" y="154"/>
                        <a:pt x="12" y="154"/>
                      </a:cubicBezTo>
                      <a:cubicBezTo>
                        <a:pt x="12" y="154"/>
                        <a:pt x="12" y="156"/>
                        <a:pt x="11" y="159"/>
                      </a:cubicBezTo>
                      <a:cubicBezTo>
                        <a:pt x="11" y="163"/>
                        <a:pt x="11" y="168"/>
                        <a:pt x="12" y="171"/>
                      </a:cubicBezTo>
                      <a:cubicBezTo>
                        <a:pt x="13" y="173"/>
                        <a:pt x="13" y="175"/>
                        <a:pt x="14" y="176"/>
                      </a:cubicBezTo>
                      <a:cubicBezTo>
                        <a:pt x="13" y="176"/>
                        <a:pt x="13" y="176"/>
                        <a:pt x="13" y="176"/>
                      </a:cubicBezTo>
                      <a:cubicBezTo>
                        <a:pt x="12" y="172"/>
                        <a:pt x="4" y="168"/>
                        <a:pt x="0" y="166"/>
                      </a:cubicBezTo>
                      <a:cubicBezTo>
                        <a:pt x="0" y="166"/>
                        <a:pt x="0" y="166"/>
                        <a:pt x="0" y="166"/>
                      </a:cubicBezTo>
                      <a:cubicBezTo>
                        <a:pt x="4" y="125"/>
                        <a:pt x="13" y="86"/>
                        <a:pt x="29" y="50"/>
                      </a:cubicBezTo>
                      <a:cubicBezTo>
                        <a:pt x="30" y="53"/>
                        <a:pt x="31" y="54"/>
                        <a:pt x="31" y="54"/>
                      </a:cubicBezTo>
                      <a:cubicBezTo>
                        <a:pt x="36" y="49"/>
                        <a:pt x="36" y="49"/>
                        <a:pt x="36" y="49"/>
                      </a:cubicBezTo>
                      <a:cubicBezTo>
                        <a:pt x="41" y="38"/>
                        <a:pt x="41" y="38"/>
                        <a:pt x="41" y="38"/>
                      </a:cubicBezTo>
                      <a:cubicBezTo>
                        <a:pt x="50" y="32"/>
                        <a:pt x="50" y="32"/>
                        <a:pt x="50" y="32"/>
                      </a:cubicBezTo>
                      <a:cubicBezTo>
                        <a:pt x="53" y="7"/>
                        <a:pt x="53" y="7"/>
                        <a:pt x="53" y="7"/>
                      </a:cubicBezTo>
                      <a:cubicBezTo>
                        <a:pt x="54" y="6"/>
                        <a:pt x="54" y="6"/>
                        <a:pt x="54" y="6"/>
                      </a:cubicBezTo>
                      <a:cubicBezTo>
                        <a:pt x="54" y="6"/>
                        <a:pt x="54" y="6"/>
                        <a:pt x="55" y="5"/>
                      </a:cubicBezTo>
                      <a:cubicBezTo>
                        <a:pt x="57" y="3"/>
                        <a:pt x="64" y="0"/>
                        <a:pt x="63" y="6"/>
                      </a:cubicBezTo>
                      <a:cubicBezTo>
                        <a:pt x="62" y="13"/>
                        <a:pt x="62" y="14"/>
                        <a:pt x="62" y="14"/>
                      </a:cubicBezTo>
                      <a:cubicBezTo>
                        <a:pt x="62" y="14"/>
                        <a:pt x="70" y="8"/>
                        <a:pt x="73" y="8"/>
                      </a:cubicBezTo>
                      <a:cubicBezTo>
                        <a:pt x="76" y="8"/>
                        <a:pt x="89" y="16"/>
                        <a:pt x="90" y="19"/>
                      </a:cubicBezTo>
                      <a:cubicBezTo>
                        <a:pt x="91" y="23"/>
                        <a:pt x="90" y="38"/>
                        <a:pt x="90" y="38"/>
                      </a:cubicBezTo>
                      <a:cubicBezTo>
                        <a:pt x="59" y="50"/>
                        <a:pt x="59" y="50"/>
                        <a:pt x="59" y="50"/>
                      </a:cubicBezTo>
                      <a:lnTo>
                        <a:pt x="52" y="62"/>
                      </a:ln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08" name="Freeform 187"/>
                <p:cNvSpPr>
                  <a:spLocks/>
                </p:cNvSpPr>
                <p:nvPr/>
              </p:nvSpPr>
              <p:spPr bwMode="auto">
                <a:xfrm>
                  <a:off x="1954023" y="3114675"/>
                  <a:ext cx="555625" cy="931863"/>
                </a:xfrm>
                <a:custGeom>
                  <a:avLst/>
                  <a:gdLst>
                    <a:gd name="T0" fmla="*/ 143 w 148"/>
                    <a:gd name="T1" fmla="*/ 187 h 248"/>
                    <a:gd name="T2" fmla="*/ 135 w 148"/>
                    <a:gd name="T3" fmla="*/ 207 h 248"/>
                    <a:gd name="T4" fmla="*/ 135 w 148"/>
                    <a:gd name="T5" fmla="*/ 228 h 248"/>
                    <a:gd name="T6" fmla="*/ 126 w 148"/>
                    <a:gd name="T7" fmla="*/ 228 h 248"/>
                    <a:gd name="T8" fmla="*/ 112 w 148"/>
                    <a:gd name="T9" fmla="*/ 230 h 248"/>
                    <a:gd name="T10" fmla="*/ 112 w 148"/>
                    <a:gd name="T11" fmla="*/ 248 h 248"/>
                    <a:gd name="T12" fmla="*/ 26 w 148"/>
                    <a:gd name="T13" fmla="*/ 127 h 248"/>
                    <a:gd name="T14" fmla="*/ 25 w 148"/>
                    <a:gd name="T15" fmla="*/ 125 h 248"/>
                    <a:gd name="T16" fmla="*/ 19 w 148"/>
                    <a:gd name="T17" fmla="*/ 95 h 248"/>
                    <a:gd name="T18" fmla="*/ 21 w 148"/>
                    <a:gd name="T19" fmla="*/ 81 h 248"/>
                    <a:gd name="T20" fmla="*/ 16 w 148"/>
                    <a:gd name="T21" fmla="*/ 73 h 248"/>
                    <a:gd name="T22" fmla="*/ 10 w 148"/>
                    <a:gd name="T23" fmla="*/ 58 h 248"/>
                    <a:gd name="T24" fmla="*/ 4 w 148"/>
                    <a:gd name="T25" fmla="*/ 46 h 248"/>
                    <a:gd name="T26" fmla="*/ 4 w 148"/>
                    <a:gd name="T27" fmla="*/ 45 h 248"/>
                    <a:gd name="T28" fmla="*/ 4 w 148"/>
                    <a:gd name="T29" fmla="*/ 45 h 248"/>
                    <a:gd name="T30" fmla="*/ 3 w 148"/>
                    <a:gd name="T31" fmla="*/ 45 h 248"/>
                    <a:gd name="T32" fmla="*/ 3 w 148"/>
                    <a:gd name="T33" fmla="*/ 39 h 248"/>
                    <a:gd name="T34" fmla="*/ 0 w 148"/>
                    <a:gd name="T35" fmla="*/ 0 h 248"/>
                    <a:gd name="T36" fmla="*/ 6 w 148"/>
                    <a:gd name="T37" fmla="*/ 9 h 248"/>
                    <a:gd name="T38" fmla="*/ 6 w 148"/>
                    <a:gd name="T39" fmla="*/ 28 h 248"/>
                    <a:gd name="T40" fmla="*/ 7 w 148"/>
                    <a:gd name="T41" fmla="*/ 29 h 248"/>
                    <a:gd name="T42" fmla="*/ 9 w 148"/>
                    <a:gd name="T43" fmla="*/ 32 h 248"/>
                    <a:gd name="T44" fmla="*/ 16 w 148"/>
                    <a:gd name="T45" fmla="*/ 58 h 248"/>
                    <a:gd name="T46" fmla="*/ 16 w 148"/>
                    <a:gd name="T47" fmla="*/ 66 h 248"/>
                    <a:gd name="T48" fmla="*/ 35 w 148"/>
                    <a:gd name="T49" fmla="*/ 74 h 248"/>
                    <a:gd name="T50" fmla="*/ 49 w 148"/>
                    <a:gd name="T51" fmla="*/ 87 h 248"/>
                    <a:gd name="T52" fmla="*/ 68 w 148"/>
                    <a:gd name="T53" fmla="*/ 109 h 248"/>
                    <a:gd name="T54" fmla="*/ 79 w 148"/>
                    <a:gd name="T55" fmla="*/ 119 h 248"/>
                    <a:gd name="T56" fmla="*/ 79 w 148"/>
                    <a:gd name="T57" fmla="*/ 135 h 248"/>
                    <a:gd name="T58" fmla="*/ 90 w 148"/>
                    <a:gd name="T59" fmla="*/ 144 h 248"/>
                    <a:gd name="T60" fmla="*/ 98 w 148"/>
                    <a:gd name="T61" fmla="*/ 144 h 248"/>
                    <a:gd name="T62" fmla="*/ 112 w 148"/>
                    <a:gd name="T63" fmla="*/ 150 h 248"/>
                    <a:gd name="T64" fmla="*/ 125 w 148"/>
                    <a:gd name="T65" fmla="*/ 157 h 248"/>
                    <a:gd name="T66" fmla="*/ 141 w 148"/>
                    <a:gd name="T67" fmla="*/ 166 h 248"/>
                    <a:gd name="T68" fmla="*/ 148 w 148"/>
                    <a:gd name="T69" fmla="*/ 177 h 248"/>
                    <a:gd name="T70" fmla="*/ 143 w 148"/>
                    <a:gd name="T71" fmla="*/ 18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8" h="248">
                      <a:moveTo>
                        <a:pt x="143" y="187"/>
                      </a:moveTo>
                      <a:cubicBezTo>
                        <a:pt x="143" y="187"/>
                        <a:pt x="134" y="201"/>
                        <a:pt x="135" y="207"/>
                      </a:cubicBezTo>
                      <a:cubicBezTo>
                        <a:pt x="136" y="212"/>
                        <a:pt x="135" y="228"/>
                        <a:pt x="135" y="228"/>
                      </a:cubicBezTo>
                      <a:cubicBezTo>
                        <a:pt x="126" y="228"/>
                        <a:pt x="126" y="228"/>
                        <a:pt x="126" y="228"/>
                      </a:cubicBezTo>
                      <a:cubicBezTo>
                        <a:pt x="112" y="230"/>
                        <a:pt x="112" y="230"/>
                        <a:pt x="112" y="230"/>
                      </a:cubicBezTo>
                      <a:cubicBezTo>
                        <a:pt x="112" y="248"/>
                        <a:pt x="112" y="248"/>
                        <a:pt x="112" y="248"/>
                      </a:cubicBezTo>
                      <a:cubicBezTo>
                        <a:pt x="75" y="215"/>
                        <a:pt x="45" y="174"/>
                        <a:pt x="26" y="127"/>
                      </a:cubicBezTo>
                      <a:cubicBezTo>
                        <a:pt x="26" y="126"/>
                        <a:pt x="25" y="126"/>
                        <a:pt x="25" y="125"/>
                      </a:cubicBezTo>
                      <a:cubicBezTo>
                        <a:pt x="19" y="95"/>
                        <a:pt x="19" y="95"/>
                        <a:pt x="19" y="95"/>
                      </a:cubicBezTo>
                      <a:cubicBezTo>
                        <a:pt x="21" y="81"/>
                        <a:pt x="21" y="81"/>
                        <a:pt x="21" y="81"/>
                      </a:cubicBezTo>
                      <a:cubicBezTo>
                        <a:pt x="16" y="73"/>
                        <a:pt x="16" y="73"/>
                        <a:pt x="16" y="73"/>
                      </a:cubicBezTo>
                      <a:cubicBezTo>
                        <a:pt x="10" y="58"/>
                        <a:pt x="10" y="58"/>
                        <a:pt x="10" y="58"/>
                      </a:cubicBezTo>
                      <a:cubicBezTo>
                        <a:pt x="4" y="46"/>
                        <a:pt x="4" y="46"/>
                        <a:pt x="4" y="46"/>
                      </a:cubicBezTo>
                      <a:cubicBezTo>
                        <a:pt x="4" y="45"/>
                        <a:pt x="4" y="45"/>
                        <a:pt x="4" y="45"/>
                      </a:cubicBezTo>
                      <a:cubicBezTo>
                        <a:pt x="4" y="45"/>
                        <a:pt x="4" y="45"/>
                        <a:pt x="4" y="45"/>
                      </a:cubicBezTo>
                      <a:cubicBezTo>
                        <a:pt x="3" y="45"/>
                        <a:pt x="3" y="45"/>
                        <a:pt x="3" y="45"/>
                      </a:cubicBezTo>
                      <a:cubicBezTo>
                        <a:pt x="3" y="43"/>
                        <a:pt x="3" y="41"/>
                        <a:pt x="3" y="39"/>
                      </a:cubicBezTo>
                      <a:cubicBezTo>
                        <a:pt x="1" y="26"/>
                        <a:pt x="0" y="13"/>
                        <a:pt x="0" y="0"/>
                      </a:cubicBezTo>
                      <a:cubicBezTo>
                        <a:pt x="3" y="4"/>
                        <a:pt x="6" y="8"/>
                        <a:pt x="6" y="9"/>
                      </a:cubicBezTo>
                      <a:cubicBezTo>
                        <a:pt x="6" y="13"/>
                        <a:pt x="2" y="25"/>
                        <a:pt x="6" y="28"/>
                      </a:cubicBezTo>
                      <a:cubicBezTo>
                        <a:pt x="7" y="30"/>
                        <a:pt x="7" y="29"/>
                        <a:pt x="7" y="29"/>
                      </a:cubicBezTo>
                      <a:cubicBezTo>
                        <a:pt x="7" y="29"/>
                        <a:pt x="7" y="30"/>
                        <a:pt x="9" y="32"/>
                      </a:cubicBezTo>
                      <a:cubicBezTo>
                        <a:pt x="13" y="37"/>
                        <a:pt x="15" y="57"/>
                        <a:pt x="16" y="58"/>
                      </a:cubicBezTo>
                      <a:cubicBezTo>
                        <a:pt x="17" y="59"/>
                        <a:pt x="16" y="66"/>
                        <a:pt x="16" y="66"/>
                      </a:cubicBezTo>
                      <a:cubicBezTo>
                        <a:pt x="35" y="74"/>
                        <a:pt x="35" y="74"/>
                        <a:pt x="35" y="74"/>
                      </a:cubicBezTo>
                      <a:cubicBezTo>
                        <a:pt x="35" y="74"/>
                        <a:pt x="48" y="82"/>
                        <a:pt x="49" y="87"/>
                      </a:cubicBezTo>
                      <a:cubicBezTo>
                        <a:pt x="50" y="91"/>
                        <a:pt x="64" y="106"/>
                        <a:pt x="68" y="109"/>
                      </a:cubicBezTo>
                      <a:cubicBezTo>
                        <a:pt x="73" y="113"/>
                        <a:pt x="76" y="116"/>
                        <a:pt x="79" y="119"/>
                      </a:cubicBezTo>
                      <a:cubicBezTo>
                        <a:pt x="81" y="123"/>
                        <a:pt x="79" y="135"/>
                        <a:pt x="79" y="135"/>
                      </a:cubicBezTo>
                      <a:cubicBezTo>
                        <a:pt x="90" y="144"/>
                        <a:pt x="90" y="144"/>
                        <a:pt x="90" y="144"/>
                      </a:cubicBezTo>
                      <a:cubicBezTo>
                        <a:pt x="98" y="144"/>
                        <a:pt x="98" y="144"/>
                        <a:pt x="98" y="144"/>
                      </a:cubicBezTo>
                      <a:cubicBezTo>
                        <a:pt x="112" y="150"/>
                        <a:pt x="112" y="150"/>
                        <a:pt x="112" y="150"/>
                      </a:cubicBezTo>
                      <a:cubicBezTo>
                        <a:pt x="112" y="150"/>
                        <a:pt x="121" y="153"/>
                        <a:pt x="125" y="157"/>
                      </a:cubicBezTo>
                      <a:cubicBezTo>
                        <a:pt x="128" y="160"/>
                        <a:pt x="141" y="166"/>
                        <a:pt x="141" y="166"/>
                      </a:cubicBezTo>
                      <a:cubicBezTo>
                        <a:pt x="148" y="177"/>
                        <a:pt x="148" y="177"/>
                        <a:pt x="148" y="177"/>
                      </a:cubicBezTo>
                      <a:lnTo>
                        <a:pt x="143" y="187"/>
                      </a:ln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09" name="Freeform 188"/>
                <p:cNvSpPr>
                  <a:spLocks/>
                </p:cNvSpPr>
                <p:nvPr/>
              </p:nvSpPr>
              <p:spPr bwMode="auto">
                <a:xfrm>
                  <a:off x="3870135" y="3625850"/>
                  <a:ext cx="142875" cy="244475"/>
                </a:xfrm>
                <a:custGeom>
                  <a:avLst/>
                  <a:gdLst>
                    <a:gd name="T0" fmla="*/ 33 w 38"/>
                    <a:gd name="T1" fmla="*/ 5 h 65"/>
                    <a:gd name="T2" fmla="*/ 23 w 38"/>
                    <a:gd name="T3" fmla="*/ 19 h 65"/>
                    <a:gd name="T4" fmla="*/ 6 w 38"/>
                    <a:gd name="T5" fmla="*/ 30 h 65"/>
                    <a:gd name="T6" fmla="*/ 6 w 38"/>
                    <a:gd name="T7" fmla="*/ 44 h 65"/>
                    <a:gd name="T8" fmla="*/ 5 w 38"/>
                    <a:gd name="T9" fmla="*/ 52 h 65"/>
                    <a:gd name="T10" fmla="*/ 5 w 38"/>
                    <a:gd name="T11" fmla="*/ 63 h 65"/>
                    <a:gd name="T12" fmla="*/ 18 w 38"/>
                    <a:gd name="T13" fmla="*/ 63 h 65"/>
                    <a:gd name="T14" fmla="*/ 18 w 38"/>
                    <a:gd name="T15" fmla="*/ 45 h 65"/>
                    <a:gd name="T16" fmla="*/ 27 w 38"/>
                    <a:gd name="T17" fmla="*/ 35 h 65"/>
                    <a:gd name="T18" fmla="*/ 34 w 38"/>
                    <a:gd name="T19" fmla="*/ 20 h 65"/>
                    <a:gd name="T20" fmla="*/ 38 w 38"/>
                    <a:gd name="T21" fmla="*/ 12 h 65"/>
                    <a:gd name="T22" fmla="*/ 38 w 38"/>
                    <a:gd name="T23" fmla="*/ 0 h 65"/>
                    <a:gd name="T24" fmla="*/ 33 w 38"/>
                    <a:gd name="T25" fmla="*/ 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65">
                      <a:moveTo>
                        <a:pt x="33" y="5"/>
                      </a:moveTo>
                      <a:cubicBezTo>
                        <a:pt x="33" y="5"/>
                        <a:pt x="25" y="16"/>
                        <a:pt x="23" y="19"/>
                      </a:cubicBezTo>
                      <a:cubicBezTo>
                        <a:pt x="22" y="22"/>
                        <a:pt x="6" y="30"/>
                        <a:pt x="6" y="30"/>
                      </a:cubicBezTo>
                      <a:cubicBezTo>
                        <a:pt x="6" y="30"/>
                        <a:pt x="4" y="40"/>
                        <a:pt x="6" y="44"/>
                      </a:cubicBezTo>
                      <a:cubicBezTo>
                        <a:pt x="7" y="47"/>
                        <a:pt x="10" y="48"/>
                        <a:pt x="5" y="52"/>
                      </a:cubicBezTo>
                      <a:cubicBezTo>
                        <a:pt x="0" y="55"/>
                        <a:pt x="2" y="61"/>
                        <a:pt x="5" y="63"/>
                      </a:cubicBezTo>
                      <a:cubicBezTo>
                        <a:pt x="8" y="65"/>
                        <a:pt x="18" y="63"/>
                        <a:pt x="18" y="63"/>
                      </a:cubicBezTo>
                      <a:cubicBezTo>
                        <a:pt x="18" y="45"/>
                        <a:pt x="18" y="45"/>
                        <a:pt x="18" y="45"/>
                      </a:cubicBezTo>
                      <a:cubicBezTo>
                        <a:pt x="27" y="35"/>
                        <a:pt x="27" y="35"/>
                        <a:pt x="27" y="35"/>
                      </a:cubicBezTo>
                      <a:cubicBezTo>
                        <a:pt x="34" y="20"/>
                        <a:pt x="34" y="20"/>
                        <a:pt x="34" y="20"/>
                      </a:cubicBezTo>
                      <a:cubicBezTo>
                        <a:pt x="38" y="12"/>
                        <a:pt x="38" y="12"/>
                        <a:pt x="38" y="12"/>
                      </a:cubicBezTo>
                      <a:cubicBezTo>
                        <a:pt x="38" y="0"/>
                        <a:pt x="38" y="0"/>
                        <a:pt x="38" y="0"/>
                      </a:cubicBezTo>
                      <a:lnTo>
                        <a:pt x="33" y="5"/>
                      </a:ln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grpSp>
        </p:grpSp>
        <p:sp>
          <p:nvSpPr>
            <p:cNvPr id="190" name="Oval 189"/>
            <p:cNvSpPr/>
            <p:nvPr/>
          </p:nvSpPr>
          <p:spPr>
            <a:xfrm>
              <a:off x="1606003" y="4819579"/>
              <a:ext cx="112628" cy="10843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endParaRPr lang="en-US" sz="1687" kern="0">
                <a:solidFill>
                  <a:sysClr val="windowText" lastClr="000000"/>
                </a:solidFill>
                <a:latin typeface="Calibri" panose="020F0502020204030204"/>
              </a:endParaRPr>
            </a:p>
          </p:txBody>
        </p:sp>
      </p:grpSp>
      <p:grpSp>
        <p:nvGrpSpPr>
          <p:cNvPr id="4" name="Group 3"/>
          <p:cNvGrpSpPr/>
          <p:nvPr/>
        </p:nvGrpSpPr>
        <p:grpSpPr>
          <a:xfrm>
            <a:off x="3626909" y="4092853"/>
            <a:ext cx="4888465" cy="2897976"/>
            <a:chOff x="3461929" y="3893336"/>
            <a:chExt cx="5215102" cy="3091612"/>
          </a:xfrm>
        </p:grpSpPr>
        <p:sp>
          <p:nvSpPr>
            <p:cNvPr id="8" name="Freeform 6"/>
            <p:cNvSpPr>
              <a:spLocks/>
            </p:cNvSpPr>
            <p:nvPr/>
          </p:nvSpPr>
          <p:spPr bwMode="auto">
            <a:xfrm>
              <a:off x="5794027" y="5808121"/>
              <a:ext cx="1402959" cy="1162438"/>
            </a:xfrm>
            <a:custGeom>
              <a:avLst/>
              <a:gdLst>
                <a:gd name="T0" fmla="*/ 555 w 577"/>
                <a:gd name="T1" fmla="*/ 428 h 478"/>
                <a:gd name="T2" fmla="*/ 301 w 577"/>
                <a:gd name="T3" fmla="*/ 318 h 478"/>
                <a:gd name="T4" fmla="*/ 301 w 577"/>
                <a:gd name="T5" fmla="*/ 339 h 478"/>
                <a:gd name="T6" fmla="*/ 301 w 577"/>
                <a:gd name="T7" fmla="*/ 0 h 478"/>
                <a:gd name="T8" fmla="*/ 245 w 577"/>
                <a:gd name="T9" fmla="*/ 0 h 478"/>
                <a:gd name="T10" fmla="*/ 245 w 577"/>
                <a:gd name="T11" fmla="*/ 318 h 478"/>
                <a:gd name="T12" fmla="*/ 22 w 577"/>
                <a:gd name="T13" fmla="*/ 428 h 478"/>
                <a:gd name="T14" fmla="*/ 0 w 577"/>
                <a:gd name="T15" fmla="*/ 453 h 478"/>
                <a:gd name="T16" fmla="*/ 25 w 577"/>
                <a:gd name="T17" fmla="*/ 478 h 478"/>
                <a:gd name="T18" fmla="*/ 50 w 577"/>
                <a:gd name="T19" fmla="*/ 453 h 478"/>
                <a:gd name="T20" fmla="*/ 42 w 577"/>
                <a:gd name="T21" fmla="*/ 434 h 478"/>
                <a:gd name="T22" fmla="*/ 245 w 577"/>
                <a:gd name="T23" fmla="*/ 354 h 478"/>
                <a:gd name="T24" fmla="*/ 245 w 577"/>
                <a:gd name="T25" fmla="*/ 419 h 478"/>
                <a:gd name="T26" fmla="*/ 301 w 577"/>
                <a:gd name="T27" fmla="*/ 419 h 478"/>
                <a:gd name="T28" fmla="*/ 301 w 577"/>
                <a:gd name="T29" fmla="*/ 358 h 478"/>
                <a:gd name="T30" fmla="*/ 535 w 577"/>
                <a:gd name="T31" fmla="*/ 434 h 478"/>
                <a:gd name="T32" fmla="*/ 527 w 577"/>
                <a:gd name="T33" fmla="*/ 453 h 478"/>
                <a:gd name="T34" fmla="*/ 552 w 577"/>
                <a:gd name="T35" fmla="*/ 478 h 478"/>
                <a:gd name="T36" fmla="*/ 577 w 577"/>
                <a:gd name="T37" fmla="*/ 453 h 478"/>
                <a:gd name="T38" fmla="*/ 555 w 577"/>
                <a:gd name="T39" fmla="*/ 428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77" h="478">
                  <a:moveTo>
                    <a:pt x="555" y="428"/>
                  </a:moveTo>
                  <a:cubicBezTo>
                    <a:pt x="510" y="303"/>
                    <a:pt x="301" y="318"/>
                    <a:pt x="301" y="318"/>
                  </a:cubicBezTo>
                  <a:cubicBezTo>
                    <a:pt x="301" y="339"/>
                    <a:pt x="301" y="339"/>
                    <a:pt x="301" y="339"/>
                  </a:cubicBezTo>
                  <a:cubicBezTo>
                    <a:pt x="301" y="0"/>
                    <a:pt x="301" y="0"/>
                    <a:pt x="301" y="0"/>
                  </a:cubicBezTo>
                  <a:cubicBezTo>
                    <a:pt x="245" y="0"/>
                    <a:pt x="245" y="0"/>
                    <a:pt x="245" y="0"/>
                  </a:cubicBezTo>
                  <a:cubicBezTo>
                    <a:pt x="245" y="318"/>
                    <a:pt x="245" y="318"/>
                    <a:pt x="245" y="318"/>
                  </a:cubicBezTo>
                  <a:cubicBezTo>
                    <a:pt x="185" y="319"/>
                    <a:pt x="57" y="333"/>
                    <a:pt x="22" y="428"/>
                  </a:cubicBezTo>
                  <a:cubicBezTo>
                    <a:pt x="10" y="430"/>
                    <a:pt x="0" y="440"/>
                    <a:pt x="0" y="453"/>
                  </a:cubicBezTo>
                  <a:cubicBezTo>
                    <a:pt x="0" y="467"/>
                    <a:pt x="12" y="478"/>
                    <a:pt x="25" y="478"/>
                  </a:cubicBezTo>
                  <a:cubicBezTo>
                    <a:pt x="39" y="478"/>
                    <a:pt x="50" y="467"/>
                    <a:pt x="50" y="453"/>
                  </a:cubicBezTo>
                  <a:cubicBezTo>
                    <a:pt x="50" y="446"/>
                    <a:pt x="47" y="439"/>
                    <a:pt x="42" y="434"/>
                  </a:cubicBezTo>
                  <a:cubicBezTo>
                    <a:pt x="58" y="414"/>
                    <a:pt x="123" y="343"/>
                    <a:pt x="245" y="354"/>
                  </a:cubicBezTo>
                  <a:cubicBezTo>
                    <a:pt x="245" y="419"/>
                    <a:pt x="245" y="419"/>
                    <a:pt x="245" y="419"/>
                  </a:cubicBezTo>
                  <a:cubicBezTo>
                    <a:pt x="301" y="419"/>
                    <a:pt x="301" y="419"/>
                    <a:pt x="301" y="419"/>
                  </a:cubicBezTo>
                  <a:cubicBezTo>
                    <a:pt x="301" y="358"/>
                    <a:pt x="301" y="358"/>
                    <a:pt x="301" y="358"/>
                  </a:cubicBezTo>
                  <a:cubicBezTo>
                    <a:pt x="444" y="331"/>
                    <a:pt x="518" y="412"/>
                    <a:pt x="535" y="434"/>
                  </a:cubicBezTo>
                  <a:cubicBezTo>
                    <a:pt x="530" y="439"/>
                    <a:pt x="527" y="446"/>
                    <a:pt x="527" y="453"/>
                  </a:cubicBezTo>
                  <a:cubicBezTo>
                    <a:pt x="527" y="467"/>
                    <a:pt x="539" y="478"/>
                    <a:pt x="552" y="478"/>
                  </a:cubicBezTo>
                  <a:cubicBezTo>
                    <a:pt x="566" y="478"/>
                    <a:pt x="577" y="467"/>
                    <a:pt x="577" y="453"/>
                  </a:cubicBezTo>
                  <a:cubicBezTo>
                    <a:pt x="577" y="440"/>
                    <a:pt x="568" y="430"/>
                    <a:pt x="555" y="428"/>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9" name="Freeform 7"/>
            <p:cNvSpPr>
              <a:spLocks/>
            </p:cNvSpPr>
            <p:nvPr/>
          </p:nvSpPr>
          <p:spPr bwMode="auto">
            <a:xfrm>
              <a:off x="6090036" y="4927299"/>
              <a:ext cx="738995" cy="880822"/>
            </a:xfrm>
            <a:custGeom>
              <a:avLst/>
              <a:gdLst>
                <a:gd name="T0" fmla="*/ 304 w 304"/>
                <a:gd name="T1" fmla="*/ 276 h 362"/>
                <a:gd name="T2" fmla="*/ 218 w 304"/>
                <a:gd name="T3" fmla="*/ 362 h 362"/>
                <a:gd name="T4" fmla="*/ 86 w 304"/>
                <a:gd name="T5" fmla="*/ 362 h 362"/>
                <a:gd name="T6" fmla="*/ 0 w 304"/>
                <a:gd name="T7" fmla="*/ 276 h 362"/>
                <a:gd name="T8" fmla="*/ 0 w 304"/>
                <a:gd name="T9" fmla="*/ 87 h 362"/>
                <a:gd name="T10" fmla="*/ 86 w 304"/>
                <a:gd name="T11" fmla="*/ 0 h 362"/>
                <a:gd name="T12" fmla="*/ 218 w 304"/>
                <a:gd name="T13" fmla="*/ 0 h 362"/>
                <a:gd name="T14" fmla="*/ 304 w 304"/>
                <a:gd name="T15" fmla="*/ 87 h 362"/>
                <a:gd name="T16" fmla="*/ 304 w 304"/>
                <a:gd name="T17" fmla="*/ 276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4" h="362">
                  <a:moveTo>
                    <a:pt x="304" y="276"/>
                  </a:moveTo>
                  <a:cubicBezTo>
                    <a:pt x="304" y="324"/>
                    <a:pt x="266" y="362"/>
                    <a:pt x="218" y="362"/>
                  </a:cubicBezTo>
                  <a:cubicBezTo>
                    <a:pt x="86" y="362"/>
                    <a:pt x="86" y="362"/>
                    <a:pt x="86" y="362"/>
                  </a:cubicBezTo>
                  <a:cubicBezTo>
                    <a:pt x="38" y="362"/>
                    <a:pt x="0" y="324"/>
                    <a:pt x="0" y="276"/>
                  </a:cubicBezTo>
                  <a:cubicBezTo>
                    <a:pt x="0" y="87"/>
                    <a:pt x="0" y="87"/>
                    <a:pt x="0" y="87"/>
                  </a:cubicBezTo>
                  <a:cubicBezTo>
                    <a:pt x="0" y="39"/>
                    <a:pt x="38" y="0"/>
                    <a:pt x="86" y="0"/>
                  </a:cubicBezTo>
                  <a:cubicBezTo>
                    <a:pt x="218" y="0"/>
                    <a:pt x="218" y="0"/>
                    <a:pt x="218" y="0"/>
                  </a:cubicBezTo>
                  <a:cubicBezTo>
                    <a:pt x="266" y="0"/>
                    <a:pt x="304" y="39"/>
                    <a:pt x="304" y="87"/>
                  </a:cubicBezTo>
                  <a:lnTo>
                    <a:pt x="304" y="276"/>
                  </a:ln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0" name="Freeform 8"/>
            <p:cNvSpPr>
              <a:spLocks/>
            </p:cNvSpPr>
            <p:nvPr/>
          </p:nvSpPr>
          <p:spPr bwMode="auto">
            <a:xfrm>
              <a:off x="6068452" y="5660118"/>
              <a:ext cx="785246" cy="213782"/>
            </a:xfrm>
            <a:custGeom>
              <a:avLst/>
              <a:gdLst>
                <a:gd name="T0" fmla="*/ 323 w 323"/>
                <a:gd name="T1" fmla="*/ 44 h 88"/>
                <a:gd name="T2" fmla="*/ 279 w 323"/>
                <a:gd name="T3" fmla="*/ 88 h 88"/>
                <a:gd name="T4" fmla="*/ 44 w 323"/>
                <a:gd name="T5" fmla="*/ 88 h 88"/>
                <a:gd name="T6" fmla="*/ 0 w 323"/>
                <a:gd name="T7" fmla="*/ 44 h 88"/>
                <a:gd name="T8" fmla="*/ 44 w 323"/>
                <a:gd name="T9" fmla="*/ 0 h 88"/>
                <a:gd name="T10" fmla="*/ 279 w 323"/>
                <a:gd name="T11" fmla="*/ 0 h 88"/>
                <a:gd name="T12" fmla="*/ 323 w 323"/>
                <a:gd name="T13" fmla="*/ 44 h 88"/>
              </a:gdLst>
              <a:ahLst/>
              <a:cxnLst>
                <a:cxn ang="0">
                  <a:pos x="T0" y="T1"/>
                </a:cxn>
                <a:cxn ang="0">
                  <a:pos x="T2" y="T3"/>
                </a:cxn>
                <a:cxn ang="0">
                  <a:pos x="T4" y="T5"/>
                </a:cxn>
                <a:cxn ang="0">
                  <a:pos x="T6" y="T7"/>
                </a:cxn>
                <a:cxn ang="0">
                  <a:pos x="T8" y="T9"/>
                </a:cxn>
                <a:cxn ang="0">
                  <a:pos x="T10" y="T11"/>
                </a:cxn>
                <a:cxn ang="0">
                  <a:pos x="T12" y="T13"/>
                </a:cxn>
              </a:cxnLst>
              <a:rect l="0" t="0" r="r" b="b"/>
              <a:pathLst>
                <a:path w="323" h="88">
                  <a:moveTo>
                    <a:pt x="323" y="44"/>
                  </a:moveTo>
                  <a:cubicBezTo>
                    <a:pt x="323" y="68"/>
                    <a:pt x="304" y="88"/>
                    <a:pt x="279" y="88"/>
                  </a:cubicBezTo>
                  <a:cubicBezTo>
                    <a:pt x="44" y="88"/>
                    <a:pt x="44" y="88"/>
                    <a:pt x="44" y="88"/>
                  </a:cubicBezTo>
                  <a:cubicBezTo>
                    <a:pt x="20" y="88"/>
                    <a:pt x="0" y="68"/>
                    <a:pt x="0" y="44"/>
                  </a:cubicBezTo>
                  <a:cubicBezTo>
                    <a:pt x="0" y="20"/>
                    <a:pt x="20" y="0"/>
                    <a:pt x="44" y="0"/>
                  </a:cubicBezTo>
                  <a:cubicBezTo>
                    <a:pt x="279" y="0"/>
                    <a:pt x="279" y="0"/>
                    <a:pt x="279" y="0"/>
                  </a:cubicBezTo>
                  <a:cubicBezTo>
                    <a:pt x="304" y="0"/>
                    <a:pt x="323" y="20"/>
                    <a:pt x="323" y="44"/>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1" name="Freeform 9"/>
            <p:cNvSpPr>
              <a:spLocks/>
            </p:cNvSpPr>
            <p:nvPr/>
          </p:nvSpPr>
          <p:spPr bwMode="auto">
            <a:xfrm>
              <a:off x="6054063" y="4971495"/>
              <a:ext cx="220979" cy="277505"/>
            </a:xfrm>
            <a:custGeom>
              <a:avLst/>
              <a:gdLst>
                <a:gd name="T0" fmla="*/ 91 w 91"/>
                <a:gd name="T1" fmla="*/ 0 h 114"/>
                <a:gd name="T2" fmla="*/ 3 w 91"/>
                <a:gd name="T3" fmla="*/ 114 h 114"/>
                <a:gd name="T4" fmla="*/ 71 w 91"/>
                <a:gd name="T5" fmla="*/ 114 h 114"/>
                <a:gd name="T6" fmla="*/ 91 w 91"/>
                <a:gd name="T7" fmla="*/ 6 h 114"/>
              </a:gdLst>
              <a:ahLst/>
              <a:cxnLst>
                <a:cxn ang="0">
                  <a:pos x="T0" y="T1"/>
                </a:cxn>
                <a:cxn ang="0">
                  <a:pos x="T2" y="T3"/>
                </a:cxn>
                <a:cxn ang="0">
                  <a:pos x="T4" y="T5"/>
                </a:cxn>
                <a:cxn ang="0">
                  <a:pos x="T6" y="T7"/>
                </a:cxn>
              </a:cxnLst>
              <a:rect l="0" t="0" r="r" b="b"/>
              <a:pathLst>
                <a:path w="91" h="114">
                  <a:moveTo>
                    <a:pt x="91" y="0"/>
                  </a:moveTo>
                  <a:cubicBezTo>
                    <a:pt x="91" y="0"/>
                    <a:pt x="0" y="31"/>
                    <a:pt x="3" y="114"/>
                  </a:cubicBezTo>
                  <a:cubicBezTo>
                    <a:pt x="71" y="114"/>
                    <a:pt x="71" y="114"/>
                    <a:pt x="71" y="114"/>
                  </a:cubicBezTo>
                  <a:cubicBezTo>
                    <a:pt x="91" y="6"/>
                    <a:pt x="91" y="6"/>
                    <a:pt x="91" y="6"/>
                  </a:cubicBezTo>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2" name="Freeform 10"/>
            <p:cNvSpPr>
              <a:spLocks/>
            </p:cNvSpPr>
            <p:nvPr/>
          </p:nvSpPr>
          <p:spPr bwMode="auto">
            <a:xfrm>
              <a:off x="6634775" y="4971495"/>
              <a:ext cx="220979" cy="277505"/>
            </a:xfrm>
            <a:custGeom>
              <a:avLst/>
              <a:gdLst>
                <a:gd name="T0" fmla="*/ 0 w 91"/>
                <a:gd name="T1" fmla="*/ 0 h 114"/>
                <a:gd name="T2" fmla="*/ 88 w 91"/>
                <a:gd name="T3" fmla="*/ 114 h 114"/>
                <a:gd name="T4" fmla="*/ 20 w 91"/>
                <a:gd name="T5" fmla="*/ 114 h 114"/>
                <a:gd name="T6" fmla="*/ 0 w 91"/>
                <a:gd name="T7" fmla="*/ 6 h 114"/>
              </a:gdLst>
              <a:ahLst/>
              <a:cxnLst>
                <a:cxn ang="0">
                  <a:pos x="T0" y="T1"/>
                </a:cxn>
                <a:cxn ang="0">
                  <a:pos x="T2" y="T3"/>
                </a:cxn>
                <a:cxn ang="0">
                  <a:pos x="T4" y="T5"/>
                </a:cxn>
                <a:cxn ang="0">
                  <a:pos x="T6" y="T7"/>
                </a:cxn>
              </a:cxnLst>
              <a:rect l="0" t="0" r="r" b="b"/>
              <a:pathLst>
                <a:path w="91" h="114">
                  <a:moveTo>
                    <a:pt x="0" y="0"/>
                  </a:moveTo>
                  <a:cubicBezTo>
                    <a:pt x="0" y="0"/>
                    <a:pt x="91" y="31"/>
                    <a:pt x="88" y="114"/>
                  </a:cubicBezTo>
                  <a:cubicBezTo>
                    <a:pt x="20" y="114"/>
                    <a:pt x="20" y="114"/>
                    <a:pt x="20" y="114"/>
                  </a:cubicBezTo>
                  <a:cubicBezTo>
                    <a:pt x="0" y="6"/>
                    <a:pt x="0" y="6"/>
                    <a:pt x="0" y="6"/>
                  </a:cubicBezTo>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3" name="Freeform 11"/>
            <p:cNvSpPr>
              <a:spLocks/>
            </p:cNvSpPr>
            <p:nvPr/>
          </p:nvSpPr>
          <p:spPr bwMode="auto">
            <a:xfrm>
              <a:off x="6189734" y="4927299"/>
              <a:ext cx="542683" cy="923989"/>
            </a:xfrm>
            <a:custGeom>
              <a:avLst/>
              <a:gdLst>
                <a:gd name="T0" fmla="*/ 223 w 223"/>
                <a:gd name="T1" fmla="*/ 294 h 380"/>
                <a:gd name="T2" fmla="*/ 137 w 223"/>
                <a:gd name="T3" fmla="*/ 380 h 380"/>
                <a:gd name="T4" fmla="*/ 86 w 223"/>
                <a:gd name="T5" fmla="*/ 380 h 380"/>
                <a:gd name="T6" fmla="*/ 0 w 223"/>
                <a:gd name="T7" fmla="*/ 294 h 380"/>
                <a:gd name="T8" fmla="*/ 0 w 223"/>
                <a:gd name="T9" fmla="*/ 87 h 380"/>
                <a:gd name="T10" fmla="*/ 86 w 223"/>
                <a:gd name="T11" fmla="*/ 0 h 380"/>
                <a:gd name="T12" fmla="*/ 137 w 223"/>
                <a:gd name="T13" fmla="*/ 0 h 380"/>
                <a:gd name="T14" fmla="*/ 223 w 223"/>
                <a:gd name="T15" fmla="*/ 87 h 380"/>
                <a:gd name="T16" fmla="*/ 223 w 223"/>
                <a:gd name="T17" fmla="*/ 294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380">
                  <a:moveTo>
                    <a:pt x="223" y="294"/>
                  </a:moveTo>
                  <a:cubicBezTo>
                    <a:pt x="223" y="342"/>
                    <a:pt x="184" y="380"/>
                    <a:pt x="137" y="380"/>
                  </a:cubicBezTo>
                  <a:cubicBezTo>
                    <a:pt x="86" y="380"/>
                    <a:pt x="86" y="380"/>
                    <a:pt x="86" y="380"/>
                  </a:cubicBezTo>
                  <a:cubicBezTo>
                    <a:pt x="39" y="380"/>
                    <a:pt x="0" y="342"/>
                    <a:pt x="0" y="294"/>
                  </a:cubicBezTo>
                  <a:cubicBezTo>
                    <a:pt x="0" y="87"/>
                    <a:pt x="0" y="87"/>
                    <a:pt x="0" y="87"/>
                  </a:cubicBezTo>
                  <a:cubicBezTo>
                    <a:pt x="0" y="39"/>
                    <a:pt x="39" y="0"/>
                    <a:pt x="86" y="0"/>
                  </a:cubicBezTo>
                  <a:cubicBezTo>
                    <a:pt x="137" y="0"/>
                    <a:pt x="137" y="0"/>
                    <a:pt x="137" y="0"/>
                  </a:cubicBezTo>
                  <a:cubicBezTo>
                    <a:pt x="184" y="0"/>
                    <a:pt x="223" y="39"/>
                    <a:pt x="223" y="87"/>
                  </a:cubicBezTo>
                  <a:lnTo>
                    <a:pt x="223" y="294"/>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4" name="Rectangle 12"/>
            <p:cNvSpPr>
              <a:spLocks noChangeArrowheads="1"/>
            </p:cNvSpPr>
            <p:nvPr/>
          </p:nvSpPr>
          <p:spPr bwMode="auto">
            <a:xfrm>
              <a:off x="6160955" y="5610784"/>
              <a:ext cx="598185" cy="263116"/>
            </a:xfrm>
            <a:prstGeom prst="rect">
              <a:avLst/>
            </a:prstGeom>
            <a:solidFill>
              <a:srgbClr val="4D3F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5" name="Freeform 13"/>
            <p:cNvSpPr>
              <a:spLocks/>
            </p:cNvSpPr>
            <p:nvPr/>
          </p:nvSpPr>
          <p:spPr bwMode="auto">
            <a:xfrm>
              <a:off x="6389129" y="4827603"/>
              <a:ext cx="143893" cy="185003"/>
            </a:xfrm>
            <a:custGeom>
              <a:avLst/>
              <a:gdLst>
                <a:gd name="T0" fmla="*/ 9 w 59"/>
                <a:gd name="T1" fmla="*/ 0 h 76"/>
                <a:gd name="T2" fmla="*/ 50 w 59"/>
                <a:gd name="T3" fmla="*/ 0 h 76"/>
                <a:gd name="T4" fmla="*/ 59 w 59"/>
                <a:gd name="T5" fmla="*/ 55 h 76"/>
                <a:gd name="T6" fmla="*/ 0 w 59"/>
                <a:gd name="T7" fmla="*/ 57 h 76"/>
                <a:gd name="T8" fmla="*/ 9 w 59"/>
                <a:gd name="T9" fmla="*/ 0 h 76"/>
              </a:gdLst>
              <a:ahLst/>
              <a:cxnLst>
                <a:cxn ang="0">
                  <a:pos x="T0" y="T1"/>
                </a:cxn>
                <a:cxn ang="0">
                  <a:pos x="T2" y="T3"/>
                </a:cxn>
                <a:cxn ang="0">
                  <a:pos x="T4" y="T5"/>
                </a:cxn>
                <a:cxn ang="0">
                  <a:pos x="T6" y="T7"/>
                </a:cxn>
                <a:cxn ang="0">
                  <a:pos x="T8" y="T9"/>
                </a:cxn>
              </a:cxnLst>
              <a:rect l="0" t="0" r="r" b="b"/>
              <a:pathLst>
                <a:path w="59" h="76">
                  <a:moveTo>
                    <a:pt x="9" y="0"/>
                  </a:moveTo>
                  <a:cubicBezTo>
                    <a:pt x="50" y="0"/>
                    <a:pt x="50" y="0"/>
                    <a:pt x="50" y="0"/>
                  </a:cubicBezTo>
                  <a:cubicBezTo>
                    <a:pt x="50" y="0"/>
                    <a:pt x="51" y="45"/>
                    <a:pt x="59" y="55"/>
                  </a:cubicBezTo>
                  <a:cubicBezTo>
                    <a:pt x="59" y="55"/>
                    <a:pt x="40" y="76"/>
                    <a:pt x="0" y="57"/>
                  </a:cubicBezTo>
                  <a:cubicBezTo>
                    <a:pt x="0" y="57"/>
                    <a:pt x="12" y="29"/>
                    <a:pt x="9" y="0"/>
                  </a:cubicBezTo>
                </a:path>
              </a:pathLst>
            </a:custGeom>
            <a:solidFill>
              <a:srgbClr val="F4C5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6" name="Freeform 14"/>
            <p:cNvSpPr>
              <a:spLocks noEditPoints="1"/>
            </p:cNvSpPr>
            <p:nvPr/>
          </p:nvSpPr>
          <p:spPr bwMode="auto">
            <a:xfrm>
              <a:off x="6408657" y="4827603"/>
              <a:ext cx="102781" cy="67835"/>
            </a:xfrm>
            <a:custGeom>
              <a:avLst/>
              <a:gdLst>
                <a:gd name="T0" fmla="*/ 0 w 42"/>
                <a:gd name="T1" fmla="*/ 28 h 28"/>
                <a:gd name="T2" fmla="*/ 0 w 42"/>
                <a:gd name="T3" fmla="*/ 28 h 28"/>
                <a:gd name="T4" fmla="*/ 0 w 42"/>
                <a:gd name="T5" fmla="*/ 28 h 28"/>
                <a:gd name="T6" fmla="*/ 0 w 42"/>
                <a:gd name="T7" fmla="*/ 28 h 28"/>
                <a:gd name="T8" fmla="*/ 1 w 42"/>
                <a:gd name="T9" fmla="*/ 0 h 28"/>
                <a:gd name="T10" fmla="*/ 0 w 42"/>
                <a:gd name="T11" fmla="*/ 26 h 28"/>
                <a:gd name="T12" fmla="*/ 1 w 42"/>
                <a:gd name="T13" fmla="*/ 0 h 28"/>
                <a:gd name="T14" fmla="*/ 42 w 42"/>
                <a:gd name="T15" fmla="*/ 0 h 28"/>
                <a:gd name="T16" fmla="*/ 1 w 42"/>
                <a:gd name="T17" fmla="*/ 0 h 28"/>
                <a:gd name="T18" fmla="*/ 1 w 42"/>
                <a:gd name="T19" fmla="*/ 0 h 28"/>
                <a:gd name="T20" fmla="*/ 42 w 42"/>
                <a:gd name="T21" fmla="*/ 0 h 28"/>
                <a:gd name="T22" fmla="*/ 42 w 42"/>
                <a:gd name="T23" fmla="*/ 4 h 28"/>
                <a:gd name="T24" fmla="*/ 42 w 42"/>
                <a:gd name="T25" fmla="*/ 4 h 28"/>
                <a:gd name="T26" fmla="*/ 42 w 42"/>
                <a:gd name="T2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8">
                  <a:moveTo>
                    <a:pt x="0" y="28"/>
                  </a:moveTo>
                  <a:cubicBezTo>
                    <a:pt x="0" y="28"/>
                    <a:pt x="0" y="28"/>
                    <a:pt x="0" y="28"/>
                  </a:cubicBezTo>
                  <a:cubicBezTo>
                    <a:pt x="0" y="28"/>
                    <a:pt x="0" y="28"/>
                    <a:pt x="0" y="28"/>
                  </a:cubicBezTo>
                  <a:cubicBezTo>
                    <a:pt x="0" y="28"/>
                    <a:pt x="0" y="28"/>
                    <a:pt x="0" y="28"/>
                  </a:cubicBezTo>
                  <a:moveTo>
                    <a:pt x="1" y="0"/>
                  </a:moveTo>
                  <a:cubicBezTo>
                    <a:pt x="1" y="13"/>
                    <a:pt x="0" y="23"/>
                    <a:pt x="0" y="26"/>
                  </a:cubicBezTo>
                  <a:cubicBezTo>
                    <a:pt x="1" y="18"/>
                    <a:pt x="2" y="9"/>
                    <a:pt x="1" y="0"/>
                  </a:cubicBezTo>
                  <a:moveTo>
                    <a:pt x="42" y="0"/>
                  </a:moveTo>
                  <a:cubicBezTo>
                    <a:pt x="1" y="0"/>
                    <a:pt x="1" y="0"/>
                    <a:pt x="1" y="0"/>
                  </a:cubicBezTo>
                  <a:cubicBezTo>
                    <a:pt x="1" y="0"/>
                    <a:pt x="1" y="0"/>
                    <a:pt x="1" y="0"/>
                  </a:cubicBezTo>
                  <a:cubicBezTo>
                    <a:pt x="42" y="0"/>
                    <a:pt x="42" y="0"/>
                    <a:pt x="42" y="0"/>
                  </a:cubicBezTo>
                  <a:cubicBezTo>
                    <a:pt x="42" y="0"/>
                    <a:pt x="42" y="1"/>
                    <a:pt x="42" y="4"/>
                  </a:cubicBezTo>
                  <a:cubicBezTo>
                    <a:pt x="42" y="4"/>
                    <a:pt x="42" y="4"/>
                    <a:pt x="42" y="4"/>
                  </a:cubicBezTo>
                  <a:cubicBezTo>
                    <a:pt x="42" y="0"/>
                    <a:pt x="42" y="0"/>
                    <a:pt x="42" y="0"/>
                  </a:cubicBezTo>
                </a:path>
              </a:pathLst>
            </a:custGeom>
            <a:solidFill>
              <a:srgbClr val="F4C5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7" name="Freeform 15"/>
            <p:cNvSpPr>
              <a:spLocks/>
            </p:cNvSpPr>
            <p:nvPr/>
          </p:nvSpPr>
          <p:spPr bwMode="auto">
            <a:xfrm>
              <a:off x="6408657" y="4827603"/>
              <a:ext cx="102781" cy="67835"/>
            </a:xfrm>
            <a:custGeom>
              <a:avLst/>
              <a:gdLst>
                <a:gd name="T0" fmla="*/ 42 w 42"/>
                <a:gd name="T1" fmla="*/ 0 h 28"/>
                <a:gd name="T2" fmla="*/ 1 w 42"/>
                <a:gd name="T3" fmla="*/ 0 h 28"/>
                <a:gd name="T4" fmla="*/ 1 w 42"/>
                <a:gd name="T5" fmla="*/ 0 h 28"/>
                <a:gd name="T6" fmla="*/ 0 w 42"/>
                <a:gd name="T7" fmla="*/ 26 h 28"/>
                <a:gd name="T8" fmla="*/ 0 w 42"/>
                <a:gd name="T9" fmla="*/ 28 h 28"/>
                <a:gd name="T10" fmla="*/ 0 w 42"/>
                <a:gd name="T11" fmla="*/ 28 h 28"/>
                <a:gd name="T12" fmla="*/ 42 w 42"/>
                <a:gd name="T13" fmla="*/ 4 h 28"/>
                <a:gd name="T14" fmla="*/ 42 w 42"/>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8">
                  <a:moveTo>
                    <a:pt x="42" y="0"/>
                  </a:moveTo>
                  <a:cubicBezTo>
                    <a:pt x="1" y="0"/>
                    <a:pt x="1" y="0"/>
                    <a:pt x="1" y="0"/>
                  </a:cubicBezTo>
                  <a:cubicBezTo>
                    <a:pt x="1" y="0"/>
                    <a:pt x="1" y="0"/>
                    <a:pt x="1" y="0"/>
                  </a:cubicBezTo>
                  <a:cubicBezTo>
                    <a:pt x="2" y="9"/>
                    <a:pt x="1" y="18"/>
                    <a:pt x="0" y="26"/>
                  </a:cubicBezTo>
                  <a:cubicBezTo>
                    <a:pt x="0" y="27"/>
                    <a:pt x="0" y="27"/>
                    <a:pt x="0" y="28"/>
                  </a:cubicBezTo>
                  <a:cubicBezTo>
                    <a:pt x="0" y="28"/>
                    <a:pt x="0" y="28"/>
                    <a:pt x="0" y="28"/>
                  </a:cubicBezTo>
                  <a:cubicBezTo>
                    <a:pt x="2" y="25"/>
                    <a:pt x="42" y="4"/>
                    <a:pt x="42" y="4"/>
                  </a:cubicBezTo>
                  <a:cubicBezTo>
                    <a:pt x="42" y="1"/>
                    <a:pt x="42" y="0"/>
                    <a:pt x="42" y="0"/>
                  </a:cubicBezTo>
                </a:path>
              </a:pathLst>
            </a:custGeom>
            <a:solidFill>
              <a:srgbClr val="E998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8" name="Freeform 16"/>
            <p:cNvSpPr>
              <a:spLocks/>
            </p:cNvSpPr>
            <p:nvPr/>
          </p:nvSpPr>
          <p:spPr bwMode="auto">
            <a:xfrm>
              <a:off x="6054063" y="4115340"/>
              <a:ext cx="814025" cy="722541"/>
            </a:xfrm>
            <a:custGeom>
              <a:avLst/>
              <a:gdLst>
                <a:gd name="T0" fmla="*/ 311 w 335"/>
                <a:gd name="T1" fmla="*/ 133 h 297"/>
                <a:gd name="T2" fmla="*/ 294 w 335"/>
                <a:gd name="T3" fmla="*/ 133 h 297"/>
                <a:gd name="T4" fmla="*/ 297 w 335"/>
                <a:gd name="T5" fmla="*/ 86 h 297"/>
                <a:gd name="T6" fmla="*/ 210 w 335"/>
                <a:gd name="T7" fmla="*/ 0 h 297"/>
                <a:gd name="T8" fmla="*/ 129 w 335"/>
                <a:gd name="T9" fmla="*/ 0 h 297"/>
                <a:gd name="T10" fmla="*/ 42 w 335"/>
                <a:gd name="T11" fmla="*/ 86 h 297"/>
                <a:gd name="T12" fmla="*/ 45 w 335"/>
                <a:gd name="T13" fmla="*/ 129 h 297"/>
                <a:gd name="T14" fmla="*/ 24 w 335"/>
                <a:gd name="T15" fmla="*/ 127 h 297"/>
                <a:gd name="T16" fmla="*/ 4 w 335"/>
                <a:gd name="T17" fmla="*/ 158 h 297"/>
                <a:gd name="T18" fmla="*/ 44 w 335"/>
                <a:gd name="T19" fmla="*/ 194 h 297"/>
                <a:gd name="T20" fmla="*/ 49 w 335"/>
                <a:gd name="T21" fmla="*/ 191 h 297"/>
                <a:gd name="T22" fmla="*/ 50 w 335"/>
                <a:gd name="T23" fmla="*/ 210 h 297"/>
                <a:gd name="T24" fmla="*/ 137 w 335"/>
                <a:gd name="T25" fmla="*/ 297 h 297"/>
                <a:gd name="T26" fmla="*/ 202 w 335"/>
                <a:gd name="T27" fmla="*/ 297 h 297"/>
                <a:gd name="T28" fmla="*/ 289 w 335"/>
                <a:gd name="T29" fmla="*/ 210 h 297"/>
                <a:gd name="T30" fmla="*/ 290 w 335"/>
                <a:gd name="T31" fmla="*/ 199 h 297"/>
                <a:gd name="T32" fmla="*/ 291 w 335"/>
                <a:gd name="T33" fmla="*/ 200 h 297"/>
                <a:gd name="T34" fmla="*/ 331 w 335"/>
                <a:gd name="T35" fmla="*/ 164 h 297"/>
                <a:gd name="T36" fmla="*/ 311 w 335"/>
                <a:gd name="T37" fmla="*/ 133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5" h="297">
                  <a:moveTo>
                    <a:pt x="311" y="133"/>
                  </a:moveTo>
                  <a:cubicBezTo>
                    <a:pt x="305" y="131"/>
                    <a:pt x="299" y="131"/>
                    <a:pt x="294" y="133"/>
                  </a:cubicBezTo>
                  <a:cubicBezTo>
                    <a:pt x="297" y="86"/>
                    <a:pt x="297" y="86"/>
                    <a:pt x="297" y="86"/>
                  </a:cubicBezTo>
                  <a:cubicBezTo>
                    <a:pt x="297" y="38"/>
                    <a:pt x="258" y="0"/>
                    <a:pt x="210" y="0"/>
                  </a:cubicBezTo>
                  <a:cubicBezTo>
                    <a:pt x="129" y="0"/>
                    <a:pt x="129" y="0"/>
                    <a:pt x="129" y="0"/>
                  </a:cubicBezTo>
                  <a:cubicBezTo>
                    <a:pt x="81" y="0"/>
                    <a:pt x="42" y="38"/>
                    <a:pt x="42" y="86"/>
                  </a:cubicBezTo>
                  <a:cubicBezTo>
                    <a:pt x="45" y="129"/>
                    <a:pt x="45" y="129"/>
                    <a:pt x="45" y="129"/>
                  </a:cubicBezTo>
                  <a:cubicBezTo>
                    <a:pt x="39" y="126"/>
                    <a:pt x="32" y="125"/>
                    <a:pt x="24" y="127"/>
                  </a:cubicBezTo>
                  <a:cubicBezTo>
                    <a:pt x="9" y="131"/>
                    <a:pt x="0" y="144"/>
                    <a:pt x="4" y="158"/>
                  </a:cubicBezTo>
                  <a:cubicBezTo>
                    <a:pt x="8" y="173"/>
                    <a:pt x="30" y="198"/>
                    <a:pt x="44" y="194"/>
                  </a:cubicBezTo>
                  <a:cubicBezTo>
                    <a:pt x="46" y="193"/>
                    <a:pt x="48" y="193"/>
                    <a:pt x="49" y="191"/>
                  </a:cubicBezTo>
                  <a:cubicBezTo>
                    <a:pt x="50" y="210"/>
                    <a:pt x="50" y="210"/>
                    <a:pt x="50" y="210"/>
                  </a:cubicBezTo>
                  <a:cubicBezTo>
                    <a:pt x="50" y="258"/>
                    <a:pt x="89" y="297"/>
                    <a:pt x="137" y="297"/>
                  </a:cubicBezTo>
                  <a:cubicBezTo>
                    <a:pt x="202" y="297"/>
                    <a:pt x="202" y="297"/>
                    <a:pt x="202" y="297"/>
                  </a:cubicBezTo>
                  <a:cubicBezTo>
                    <a:pt x="250" y="297"/>
                    <a:pt x="289" y="258"/>
                    <a:pt x="289" y="210"/>
                  </a:cubicBezTo>
                  <a:cubicBezTo>
                    <a:pt x="290" y="199"/>
                    <a:pt x="290" y="199"/>
                    <a:pt x="290" y="199"/>
                  </a:cubicBezTo>
                  <a:cubicBezTo>
                    <a:pt x="290" y="199"/>
                    <a:pt x="290" y="200"/>
                    <a:pt x="291" y="200"/>
                  </a:cubicBezTo>
                  <a:cubicBezTo>
                    <a:pt x="305" y="204"/>
                    <a:pt x="327" y="178"/>
                    <a:pt x="331" y="164"/>
                  </a:cubicBezTo>
                  <a:cubicBezTo>
                    <a:pt x="335" y="149"/>
                    <a:pt x="326" y="137"/>
                    <a:pt x="311" y="133"/>
                  </a:cubicBezTo>
                  <a:close/>
                </a:path>
              </a:pathLst>
            </a:custGeom>
            <a:solidFill>
              <a:srgbClr val="F4C5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9" name="Freeform 17"/>
            <p:cNvSpPr>
              <a:spLocks/>
            </p:cNvSpPr>
            <p:nvPr/>
          </p:nvSpPr>
          <p:spPr bwMode="auto">
            <a:xfrm>
              <a:off x="6020145" y="3893336"/>
              <a:ext cx="824303" cy="526232"/>
            </a:xfrm>
            <a:custGeom>
              <a:avLst/>
              <a:gdLst>
                <a:gd name="T0" fmla="*/ 59 w 339"/>
                <a:gd name="T1" fmla="*/ 211 h 216"/>
                <a:gd name="T2" fmla="*/ 86 w 339"/>
                <a:gd name="T3" fmla="*/ 140 h 216"/>
                <a:gd name="T4" fmla="*/ 277 w 339"/>
                <a:gd name="T5" fmla="*/ 140 h 216"/>
                <a:gd name="T6" fmla="*/ 308 w 339"/>
                <a:gd name="T7" fmla="*/ 216 h 216"/>
                <a:gd name="T8" fmla="*/ 318 w 339"/>
                <a:gd name="T9" fmla="*/ 130 h 216"/>
                <a:gd name="T10" fmla="*/ 188 w 339"/>
                <a:gd name="T11" fmla="*/ 15 h 216"/>
                <a:gd name="T12" fmla="*/ 196 w 339"/>
                <a:gd name="T13" fmla="*/ 52 h 216"/>
                <a:gd name="T14" fmla="*/ 173 w 339"/>
                <a:gd name="T15" fmla="*/ 0 h 216"/>
                <a:gd name="T16" fmla="*/ 59 w 339"/>
                <a:gd name="T17" fmla="*/ 211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9" h="216">
                  <a:moveTo>
                    <a:pt x="59" y="211"/>
                  </a:moveTo>
                  <a:cubicBezTo>
                    <a:pt x="86" y="140"/>
                    <a:pt x="86" y="140"/>
                    <a:pt x="86" y="140"/>
                  </a:cubicBezTo>
                  <a:cubicBezTo>
                    <a:pt x="86" y="140"/>
                    <a:pt x="170" y="161"/>
                    <a:pt x="277" y="140"/>
                  </a:cubicBezTo>
                  <a:cubicBezTo>
                    <a:pt x="308" y="216"/>
                    <a:pt x="308" y="216"/>
                    <a:pt x="308" y="216"/>
                  </a:cubicBezTo>
                  <a:cubicBezTo>
                    <a:pt x="308" y="216"/>
                    <a:pt x="339" y="180"/>
                    <a:pt x="318" y="130"/>
                  </a:cubicBezTo>
                  <a:cubicBezTo>
                    <a:pt x="297" y="79"/>
                    <a:pt x="194" y="34"/>
                    <a:pt x="188" y="15"/>
                  </a:cubicBezTo>
                  <a:cubicBezTo>
                    <a:pt x="196" y="52"/>
                    <a:pt x="196" y="52"/>
                    <a:pt x="196" y="52"/>
                  </a:cubicBezTo>
                  <a:cubicBezTo>
                    <a:pt x="196" y="52"/>
                    <a:pt x="168" y="30"/>
                    <a:pt x="173" y="0"/>
                  </a:cubicBezTo>
                  <a:cubicBezTo>
                    <a:pt x="173" y="0"/>
                    <a:pt x="0" y="109"/>
                    <a:pt x="59" y="211"/>
                  </a:cubicBezTo>
                  <a:close/>
                </a:path>
              </a:pathLst>
            </a:cu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0" name="Freeform 18"/>
            <p:cNvSpPr>
              <a:spLocks/>
            </p:cNvSpPr>
            <p:nvPr/>
          </p:nvSpPr>
          <p:spPr bwMode="auto">
            <a:xfrm>
              <a:off x="6420991" y="4433957"/>
              <a:ext cx="90447" cy="192198"/>
            </a:xfrm>
            <a:custGeom>
              <a:avLst/>
              <a:gdLst>
                <a:gd name="T0" fmla="*/ 8 w 37"/>
                <a:gd name="T1" fmla="*/ 1 h 79"/>
                <a:gd name="T2" fmla="*/ 4 w 37"/>
                <a:gd name="T3" fmla="*/ 25 h 79"/>
                <a:gd name="T4" fmla="*/ 0 w 37"/>
                <a:gd name="T5" fmla="*/ 64 h 79"/>
                <a:gd name="T6" fmla="*/ 1 w 37"/>
                <a:gd name="T7" fmla="*/ 71 h 79"/>
                <a:gd name="T8" fmla="*/ 3 w 37"/>
                <a:gd name="T9" fmla="*/ 76 h 79"/>
                <a:gd name="T10" fmla="*/ 10 w 37"/>
                <a:gd name="T11" fmla="*/ 79 h 79"/>
                <a:gd name="T12" fmla="*/ 27 w 37"/>
                <a:gd name="T13" fmla="*/ 75 h 79"/>
                <a:gd name="T14" fmla="*/ 36 w 37"/>
                <a:gd name="T15" fmla="*/ 70 h 79"/>
                <a:gd name="T16" fmla="*/ 36 w 37"/>
                <a:gd name="T17" fmla="*/ 67 h 79"/>
                <a:gd name="T18" fmla="*/ 34 w 37"/>
                <a:gd name="T19" fmla="*/ 67 h 79"/>
                <a:gd name="T20" fmla="*/ 33 w 37"/>
                <a:gd name="T21" fmla="*/ 67 h 79"/>
                <a:gd name="T22" fmla="*/ 23 w 37"/>
                <a:gd name="T23" fmla="*/ 72 h 79"/>
                <a:gd name="T24" fmla="*/ 10 w 37"/>
                <a:gd name="T25" fmla="*/ 75 h 79"/>
                <a:gd name="T26" fmla="*/ 5 w 37"/>
                <a:gd name="T27" fmla="*/ 74 h 79"/>
                <a:gd name="T28" fmla="*/ 5 w 37"/>
                <a:gd name="T29" fmla="*/ 71 h 79"/>
                <a:gd name="T30" fmla="*/ 4 w 37"/>
                <a:gd name="T31" fmla="*/ 64 h 79"/>
                <a:gd name="T32" fmla="*/ 8 w 37"/>
                <a:gd name="T33" fmla="*/ 25 h 79"/>
                <a:gd name="T34" fmla="*/ 11 w 37"/>
                <a:gd name="T35" fmla="*/ 9 h 79"/>
                <a:gd name="T36" fmla="*/ 12 w 37"/>
                <a:gd name="T37" fmla="*/ 2 h 79"/>
                <a:gd name="T38" fmla="*/ 10 w 37"/>
                <a:gd name="T39" fmla="*/ 0 h 79"/>
                <a:gd name="T40" fmla="*/ 8 w 37"/>
                <a:gd name="T41" fmla="*/ 1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79">
                  <a:moveTo>
                    <a:pt x="8" y="1"/>
                  </a:moveTo>
                  <a:cubicBezTo>
                    <a:pt x="8" y="1"/>
                    <a:pt x="6" y="12"/>
                    <a:pt x="4" y="25"/>
                  </a:cubicBezTo>
                  <a:cubicBezTo>
                    <a:pt x="2" y="38"/>
                    <a:pt x="0" y="54"/>
                    <a:pt x="0" y="64"/>
                  </a:cubicBezTo>
                  <a:cubicBezTo>
                    <a:pt x="0" y="67"/>
                    <a:pt x="0" y="69"/>
                    <a:pt x="1" y="71"/>
                  </a:cubicBezTo>
                  <a:cubicBezTo>
                    <a:pt x="1" y="74"/>
                    <a:pt x="1" y="75"/>
                    <a:pt x="3" y="76"/>
                  </a:cubicBezTo>
                  <a:cubicBezTo>
                    <a:pt x="5" y="78"/>
                    <a:pt x="7" y="79"/>
                    <a:pt x="10" y="79"/>
                  </a:cubicBezTo>
                  <a:cubicBezTo>
                    <a:pt x="15" y="79"/>
                    <a:pt x="21" y="77"/>
                    <a:pt x="27" y="75"/>
                  </a:cubicBezTo>
                  <a:cubicBezTo>
                    <a:pt x="32" y="72"/>
                    <a:pt x="36" y="70"/>
                    <a:pt x="36" y="70"/>
                  </a:cubicBezTo>
                  <a:cubicBezTo>
                    <a:pt x="37" y="70"/>
                    <a:pt x="37" y="68"/>
                    <a:pt x="36" y="67"/>
                  </a:cubicBezTo>
                  <a:cubicBezTo>
                    <a:pt x="36" y="66"/>
                    <a:pt x="35" y="66"/>
                    <a:pt x="34" y="67"/>
                  </a:cubicBezTo>
                  <a:cubicBezTo>
                    <a:pt x="34" y="67"/>
                    <a:pt x="33" y="67"/>
                    <a:pt x="33" y="67"/>
                  </a:cubicBezTo>
                  <a:cubicBezTo>
                    <a:pt x="32" y="68"/>
                    <a:pt x="28" y="70"/>
                    <a:pt x="23" y="72"/>
                  </a:cubicBezTo>
                  <a:cubicBezTo>
                    <a:pt x="19" y="73"/>
                    <a:pt x="13" y="75"/>
                    <a:pt x="10" y="75"/>
                  </a:cubicBezTo>
                  <a:cubicBezTo>
                    <a:pt x="8" y="75"/>
                    <a:pt x="6" y="74"/>
                    <a:pt x="5" y="74"/>
                  </a:cubicBezTo>
                  <a:cubicBezTo>
                    <a:pt x="5" y="74"/>
                    <a:pt x="5" y="73"/>
                    <a:pt x="5" y="71"/>
                  </a:cubicBezTo>
                  <a:cubicBezTo>
                    <a:pt x="4" y="69"/>
                    <a:pt x="4" y="67"/>
                    <a:pt x="4" y="64"/>
                  </a:cubicBezTo>
                  <a:cubicBezTo>
                    <a:pt x="4" y="54"/>
                    <a:pt x="6" y="38"/>
                    <a:pt x="8" y="25"/>
                  </a:cubicBezTo>
                  <a:cubicBezTo>
                    <a:pt x="9" y="19"/>
                    <a:pt x="10" y="13"/>
                    <a:pt x="11" y="9"/>
                  </a:cubicBezTo>
                  <a:cubicBezTo>
                    <a:pt x="11" y="5"/>
                    <a:pt x="12" y="2"/>
                    <a:pt x="12" y="2"/>
                  </a:cubicBezTo>
                  <a:cubicBezTo>
                    <a:pt x="12" y="1"/>
                    <a:pt x="11" y="0"/>
                    <a:pt x="10" y="0"/>
                  </a:cubicBezTo>
                  <a:cubicBezTo>
                    <a:pt x="9" y="0"/>
                    <a:pt x="8" y="0"/>
                    <a:pt x="8" y="1"/>
                  </a:cubicBezTo>
                  <a:close/>
                </a:path>
              </a:pathLst>
            </a:custGeom>
            <a:solidFill>
              <a:srgbClr val="B997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1" name="Oval 19"/>
            <p:cNvSpPr>
              <a:spLocks noChangeArrowheads="1"/>
            </p:cNvSpPr>
            <p:nvPr/>
          </p:nvSpPr>
          <p:spPr bwMode="auto">
            <a:xfrm>
              <a:off x="6287375" y="4414429"/>
              <a:ext cx="72974" cy="75029"/>
            </a:xfrm>
            <a:prstGeom prst="ellipse">
              <a:avLst/>
            </a:pr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2" name="Oval 20"/>
            <p:cNvSpPr>
              <a:spLocks noChangeArrowheads="1"/>
            </p:cNvSpPr>
            <p:nvPr/>
          </p:nvSpPr>
          <p:spPr bwMode="auto">
            <a:xfrm>
              <a:off x="6323349" y="4428818"/>
              <a:ext cx="24667" cy="2466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3" name="Oval 21"/>
            <p:cNvSpPr>
              <a:spLocks noChangeArrowheads="1"/>
            </p:cNvSpPr>
            <p:nvPr/>
          </p:nvSpPr>
          <p:spPr bwMode="auto">
            <a:xfrm>
              <a:off x="6556661" y="4414429"/>
              <a:ext cx="76058" cy="75029"/>
            </a:xfrm>
            <a:prstGeom prst="ellipse">
              <a:avLst/>
            </a:pr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4" name="Oval 22"/>
            <p:cNvSpPr>
              <a:spLocks noChangeArrowheads="1"/>
            </p:cNvSpPr>
            <p:nvPr/>
          </p:nvSpPr>
          <p:spPr bwMode="auto">
            <a:xfrm>
              <a:off x="6593663" y="4428818"/>
              <a:ext cx="24667" cy="2466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5" name="Freeform 23"/>
            <p:cNvSpPr>
              <a:spLocks/>
            </p:cNvSpPr>
            <p:nvPr/>
          </p:nvSpPr>
          <p:spPr bwMode="auto">
            <a:xfrm>
              <a:off x="6440519" y="4603543"/>
              <a:ext cx="170616" cy="92502"/>
            </a:xfrm>
            <a:custGeom>
              <a:avLst/>
              <a:gdLst>
                <a:gd name="T0" fmla="*/ 2 w 70"/>
                <a:gd name="T1" fmla="*/ 38 h 38"/>
                <a:gd name="T2" fmla="*/ 4 w 70"/>
                <a:gd name="T3" fmla="*/ 38 h 38"/>
                <a:gd name="T4" fmla="*/ 35 w 70"/>
                <a:gd name="T5" fmla="*/ 33 h 38"/>
                <a:gd name="T6" fmla="*/ 70 w 70"/>
                <a:gd name="T7" fmla="*/ 3 h 38"/>
                <a:gd name="T8" fmla="*/ 68 w 70"/>
                <a:gd name="T9" fmla="*/ 1 h 38"/>
                <a:gd name="T10" fmla="*/ 66 w 70"/>
                <a:gd name="T11" fmla="*/ 2 h 38"/>
                <a:gd name="T12" fmla="*/ 34 w 70"/>
                <a:gd name="T13" fmla="*/ 30 h 38"/>
                <a:gd name="T14" fmla="*/ 4 w 70"/>
                <a:gd name="T15" fmla="*/ 34 h 38"/>
                <a:gd name="T16" fmla="*/ 3 w 70"/>
                <a:gd name="T17" fmla="*/ 34 h 38"/>
                <a:gd name="T18" fmla="*/ 2 w 70"/>
                <a:gd name="T19" fmla="*/ 34 h 38"/>
                <a:gd name="T20" fmla="*/ 0 w 70"/>
                <a:gd name="T21" fmla="*/ 36 h 38"/>
                <a:gd name="T22" fmla="*/ 2 w 70"/>
                <a:gd name="T23"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38">
                  <a:moveTo>
                    <a:pt x="2" y="38"/>
                  </a:moveTo>
                  <a:cubicBezTo>
                    <a:pt x="2" y="38"/>
                    <a:pt x="3" y="38"/>
                    <a:pt x="4" y="38"/>
                  </a:cubicBezTo>
                  <a:cubicBezTo>
                    <a:pt x="9" y="38"/>
                    <a:pt x="22" y="38"/>
                    <a:pt x="35" y="33"/>
                  </a:cubicBezTo>
                  <a:cubicBezTo>
                    <a:pt x="49" y="29"/>
                    <a:pt x="63" y="20"/>
                    <a:pt x="70" y="3"/>
                  </a:cubicBezTo>
                  <a:cubicBezTo>
                    <a:pt x="70" y="2"/>
                    <a:pt x="69" y="1"/>
                    <a:pt x="68" y="1"/>
                  </a:cubicBezTo>
                  <a:cubicBezTo>
                    <a:pt x="67" y="0"/>
                    <a:pt x="66" y="1"/>
                    <a:pt x="66" y="2"/>
                  </a:cubicBezTo>
                  <a:cubicBezTo>
                    <a:pt x="60" y="17"/>
                    <a:pt x="47" y="25"/>
                    <a:pt x="34" y="30"/>
                  </a:cubicBezTo>
                  <a:cubicBezTo>
                    <a:pt x="21" y="34"/>
                    <a:pt x="9" y="34"/>
                    <a:pt x="4" y="34"/>
                  </a:cubicBezTo>
                  <a:cubicBezTo>
                    <a:pt x="3" y="34"/>
                    <a:pt x="3" y="34"/>
                    <a:pt x="3" y="34"/>
                  </a:cubicBezTo>
                  <a:cubicBezTo>
                    <a:pt x="2" y="34"/>
                    <a:pt x="2" y="34"/>
                    <a:pt x="2" y="34"/>
                  </a:cubicBezTo>
                  <a:cubicBezTo>
                    <a:pt x="1" y="34"/>
                    <a:pt x="0" y="35"/>
                    <a:pt x="0" y="36"/>
                  </a:cubicBezTo>
                  <a:cubicBezTo>
                    <a:pt x="0" y="37"/>
                    <a:pt x="1" y="38"/>
                    <a:pt x="2" y="38"/>
                  </a:cubicBezTo>
                  <a:close/>
                </a:path>
              </a:pathLst>
            </a:custGeom>
            <a:solidFill>
              <a:srgbClr val="EA82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6" name="Freeform 24"/>
            <p:cNvSpPr>
              <a:spLocks/>
            </p:cNvSpPr>
            <p:nvPr/>
          </p:nvSpPr>
          <p:spPr bwMode="auto">
            <a:xfrm>
              <a:off x="6588523" y="4589154"/>
              <a:ext cx="44196" cy="41112"/>
            </a:xfrm>
            <a:custGeom>
              <a:avLst/>
              <a:gdLst>
                <a:gd name="T0" fmla="*/ 1 w 18"/>
                <a:gd name="T1" fmla="*/ 3 h 17"/>
                <a:gd name="T2" fmla="*/ 5 w 18"/>
                <a:gd name="T3" fmla="*/ 8 h 17"/>
                <a:gd name="T4" fmla="*/ 15 w 18"/>
                <a:gd name="T5" fmla="*/ 17 h 17"/>
                <a:gd name="T6" fmla="*/ 18 w 18"/>
                <a:gd name="T7" fmla="*/ 16 h 17"/>
                <a:gd name="T8" fmla="*/ 17 w 18"/>
                <a:gd name="T9" fmla="*/ 13 h 17"/>
                <a:gd name="T10" fmla="*/ 8 w 18"/>
                <a:gd name="T11" fmla="*/ 6 h 17"/>
                <a:gd name="T12" fmla="*/ 5 w 18"/>
                <a:gd name="T13" fmla="*/ 3 h 17"/>
                <a:gd name="T14" fmla="*/ 4 w 18"/>
                <a:gd name="T15" fmla="*/ 2 h 17"/>
                <a:gd name="T16" fmla="*/ 4 w 18"/>
                <a:gd name="T17" fmla="*/ 1 h 17"/>
                <a:gd name="T18" fmla="*/ 4 w 18"/>
                <a:gd name="T19" fmla="*/ 1 h 17"/>
                <a:gd name="T20" fmla="*/ 2 w 18"/>
                <a:gd name="T21" fmla="*/ 0 h 17"/>
                <a:gd name="T22" fmla="*/ 1 w 18"/>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7">
                  <a:moveTo>
                    <a:pt x="1" y="3"/>
                  </a:moveTo>
                  <a:cubicBezTo>
                    <a:pt x="1" y="3"/>
                    <a:pt x="2" y="6"/>
                    <a:pt x="5" y="8"/>
                  </a:cubicBezTo>
                  <a:cubicBezTo>
                    <a:pt x="7" y="11"/>
                    <a:pt x="11" y="15"/>
                    <a:pt x="15" y="17"/>
                  </a:cubicBezTo>
                  <a:cubicBezTo>
                    <a:pt x="16" y="17"/>
                    <a:pt x="18" y="17"/>
                    <a:pt x="18" y="16"/>
                  </a:cubicBezTo>
                  <a:cubicBezTo>
                    <a:pt x="18" y="15"/>
                    <a:pt x="18" y="13"/>
                    <a:pt x="17" y="13"/>
                  </a:cubicBezTo>
                  <a:cubicBezTo>
                    <a:pt x="13" y="11"/>
                    <a:pt x="10" y="9"/>
                    <a:pt x="8" y="6"/>
                  </a:cubicBezTo>
                  <a:cubicBezTo>
                    <a:pt x="7" y="5"/>
                    <a:pt x="6" y="3"/>
                    <a:pt x="5" y="3"/>
                  </a:cubicBezTo>
                  <a:cubicBezTo>
                    <a:pt x="5" y="2"/>
                    <a:pt x="5" y="2"/>
                    <a:pt x="4" y="2"/>
                  </a:cubicBezTo>
                  <a:cubicBezTo>
                    <a:pt x="4" y="1"/>
                    <a:pt x="4" y="1"/>
                    <a:pt x="4" y="1"/>
                  </a:cubicBezTo>
                  <a:cubicBezTo>
                    <a:pt x="4" y="1"/>
                    <a:pt x="4" y="1"/>
                    <a:pt x="4" y="1"/>
                  </a:cubicBezTo>
                  <a:cubicBezTo>
                    <a:pt x="4" y="0"/>
                    <a:pt x="3" y="0"/>
                    <a:pt x="2" y="0"/>
                  </a:cubicBezTo>
                  <a:cubicBezTo>
                    <a:pt x="1" y="1"/>
                    <a:pt x="0" y="2"/>
                    <a:pt x="1" y="3"/>
                  </a:cubicBezTo>
                  <a:close/>
                </a:path>
              </a:pathLst>
            </a:custGeom>
            <a:solidFill>
              <a:srgbClr val="EA82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7" name="Freeform 25"/>
            <p:cNvSpPr>
              <a:spLocks/>
            </p:cNvSpPr>
            <p:nvPr/>
          </p:nvSpPr>
          <p:spPr bwMode="auto">
            <a:xfrm>
              <a:off x="6233929" y="4300343"/>
              <a:ext cx="121281" cy="106891"/>
            </a:xfrm>
            <a:custGeom>
              <a:avLst/>
              <a:gdLst>
                <a:gd name="T0" fmla="*/ 44 w 50"/>
                <a:gd name="T1" fmla="*/ 0 h 44"/>
                <a:gd name="T2" fmla="*/ 50 w 50"/>
                <a:gd name="T3" fmla="*/ 13 h 44"/>
                <a:gd name="T4" fmla="*/ 0 w 50"/>
                <a:gd name="T5" fmla="*/ 44 h 44"/>
                <a:gd name="T6" fmla="*/ 44 w 50"/>
                <a:gd name="T7" fmla="*/ 0 h 44"/>
              </a:gdLst>
              <a:ahLst/>
              <a:cxnLst>
                <a:cxn ang="0">
                  <a:pos x="T0" y="T1"/>
                </a:cxn>
                <a:cxn ang="0">
                  <a:pos x="T2" y="T3"/>
                </a:cxn>
                <a:cxn ang="0">
                  <a:pos x="T4" y="T5"/>
                </a:cxn>
                <a:cxn ang="0">
                  <a:pos x="T6" y="T7"/>
                </a:cxn>
              </a:cxnLst>
              <a:rect l="0" t="0" r="r" b="b"/>
              <a:pathLst>
                <a:path w="50" h="44">
                  <a:moveTo>
                    <a:pt x="44" y="0"/>
                  </a:moveTo>
                  <a:cubicBezTo>
                    <a:pt x="50" y="13"/>
                    <a:pt x="50" y="13"/>
                    <a:pt x="50" y="13"/>
                  </a:cubicBezTo>
                  <a:cubicBezTo>
                    <a:pt x="50" y="13"/>
                    <a:pt x="29" y="12"/>
                    <a:pt x="0" y="44"/>
                  </a:cubicBezTo>
                  <a:cubicBezTo>
                    <a:pt x="0" y="44"/>
                    <a:pt x="4" y="10"/>
                    <a:pt x="44" y="0"/>
                  </a:cubicBezTo>
                  <a:close/>
                </a:path>
              </a:pathLst>
            </a:cu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8" name="Freeform 26"/>
            <p:cNvSpPr>
              <a:spLocks/>
            </p:cNvSpPr>
            <p:nvPr/>
          </p:nvSpPr>
          <p:spPr bwMode="auto">
            <a:xfrm>
              <a:off x="6583384" y="4311649"/>
              <a:ext cx="115115" cy="117169"/>
            </a:xfrm>
            <a:custGeom>
              <a:avLst/>
              <a:gdLst>
                <a:gd name="T0" fmla="*/ 7 w 47"/>
                <a:gd name="T1" fmla="*/ 0 h 48"/>
                <a:gd name="T2" fmla="*/ 0 w 47"/>
                <a:gd name="T3" fmla="*/ 13 h 48"/>
                <a:gd name="T4" fmla="*/ 47 w 47"/>
                <a:gd name="T5" fmla="*/ 48 h 48"/>
                <a:gd name="T6" fmla="*/ 7 w 47"/>
                <a:gd name="T7" fmla="*/ 0 h 48"/>
              </a:gdLst>
              <a:ahLst/>
              <a:cxnLst>
                <a:cxn ang="0">
                  <a:pos x="T0" y="T1"/>
                </a:cxn>
                <a:cxn ang="0">
                  <a:pos x="T2" y="T3"/>
                </a:cxn>
                <a:cxn ang="0">
                  <a:pos x="T4" y="T5"/>
                </a:cxn>
                <a:cxn ang="0">
                  <a:pos x="T6" y="T7"/>
                </a:cxn>
              </a:cxnLst>
              <a:rect l="0" t="0" r="r" b="b"/>
              <a:pathLst>
                <a:path w="47" h="48">
                  <a:moveTo>
                    <a:pt x="7" y="0"/>
                  </a:moveTo>
                  <a:cubicBezTo>
                    <a:pt x="0" y="13"/>
                    <a:pt x="0" y="13"/>
                    <a:pt x="0" y="13"/>
                  </a:cubicBezTo>
                  <a:cubicBezTo>
                    <a:pt x="0" y="13"/>
                    <a:pt x="20" y="13"/>
                    <a:pt x="47" y="48"/>
                  </a:cubicBezTo>
                  <a:cubicBezTo>
                    <a:pt x="47" y="48"/>
                    <a:pt x="45" y="13"/>
                    <a:pt x="7" y="0"/>
                  </a:cubicBezTo>
                  <a:close/>
                </a:path>
              </a:pathLst>
            </a:cu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29" name="Oval 27"/>
            <p:cNvSpPr>
              <a:spLocks noChangeArrowheads="1"/>
            </p:cNvSpPr>
            <p:nvPr/>
          </p:nvSpPr>
          <p:spPr bwMode="auto">
            <a:xfrm>
              <a:off x="6226735" y="4523375"/>
              <a:ext cx="133615" cy="58584"/>
            </a:xfrm>
            <a:prstGeom prst="ellipse">
              <a:avLst/>
            </a:prstGeom>
            <a:solidFill>
              <a:srgbClr val="F0A7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0" name="Oval 28"/>
            <p:cNvSpPr>
              <a:spLocks noChangeArrowheads="1"/>
            </p:cNvSpPr>
            <p:nvPr/>
          </p:nvSpPr>
          <p:spPr bwMode="auto">
            <a:xfrm>
              <a:off x="6540216" y="4519264"/>
              <a:ext cx="133615" cy="57557"/>
            </a:xfrm>
            <a:prstGeom prst="ellipse">
              <a:avLst/>
            </a:prstGeom>
            <a:solidFill>
              <a:srgbClr val="F0A7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1" name="Freeform 29"/>
            <p:cNvSpPr>
              <a:spLocks/>
            </p:cNvSpPr>
            <p:nvPr/>
          </p:nvSpPr>
          <p:spPr bwMode="auto">
            <a:xfrm>
              <a:off x="6194873" y="4396956"/>
              <a:ext cx="204534" cy="114085"/>
            </a:xfrm>
            <a:custGeom>
              <a:avLst/>
              <a:gdLst>
                <a:gd name="T0" fmla="*/ 80 w 84"/>
                <a:gd name="T1" fmla="*/ 24 h 47"/>
                <a:gd name="T2" fmla="*/ 76 w 84"/>
                <a:gd name="T3" fmla="*/ 24 h 47"/>
                <a:gd name="T4" fmla="*/ 72 w 84"/>
                <a:gd name="T5" fmla="*/ 35 h 47"/>
                <a:gd name="T6" fmla="*/ 62 w 84"/>
                <a:gd name="T7" fmla="*/ 39 h 47"/>
                <a:gd name="T8" fmla="*/ 21 w 84"/>
                <a:gd name="T9" fmla="*/ 39 h 47"/>
                <a:gd name="T10" fmla="*/ 12 w 84"/>
                <a:gd name="T11" fmla="*/ 35 h 47"/>
                <a:gd name="T12" fmla="*/ 8 w 84"/>
                <a:gd name="T13" fmla="*/ 24 h 47"/>
                <a:gd name="T14" fmla="*/ 12 w 84"/>
                <a:gd name="T15" fmla="*/ 13 h 47"/>
                <a:gd name="T16" fmla="*/ 21 w 84"/>
                <a:gd name="T17" fmla="*/ 8 h 47"/>
                <a:gd name="T18" fmla="*/ 62 w 84"/>
                <a:gd name="T19" fmla="*/ 8 h 47"/>
                <a:gd name="T20" fmla="*/ 72 w 84"/>
                <a:gd name="T21" fmla="*/ 13 h 47"/>
                <a:gd name="T22" fmla="*/ 76 w 84"/>
                <a:gd name="T23" fmla="*/ 24 h 47"/>
                <a:gd name="T24" fmla="*/ 80 w 84"/>
                <a:gd name="T25" fmla="*/ 24 h 47"/>
                <a:gd name="T26" fmla="*/ 84 w 84"/>
                <a:gd name="T27" fmla="*/ 24 h 47"/>
                <a:gd name="T28" fmla="*/ 78 w 84"/>
                <a:gd name="T29" fmla="*/ 7 h 47"/>
                <a:gd name="T30" fmla="*/ 62 w 84"/>
                <a:gd name="T31" fmla="*/ 0 h 47"/>
                <a:gd name="T32" fmla="*/ 21 w 84"/>
                <a:gd name="T33" fmla="*/ 0 h 47"/>
                <a:gd name="T34" fmla="*/ 6 w 84"/>
                <a:gd name="T35" fmla="*/ 7 h 47"/>
                <a:gd name="T36" fmla="*/ 0 w 84"/>
                <a:gd name="T37" fmla="*/ 24 h 47"/>
                <a:gd name="T38" fmla="*/ 6 w 84"/>
                <a:gd name="T39" fmla="*/ 40 h 47"/>
                <a:gd name="T40" fmla="*/ 21 w 84"/>
                <a:gd name="T41" fmla="*/ 47 h 47"/>
                <a:gd name="T42" fmla="*/ 62 w 84"/>
                <a:gd name="T43" fmla="*/ 47 h 47"/>
                <a:gd name="T44" fmla="*/ 78 w 84"/>
                <a:gd name="T45" fmla="*/ 40 h 47"/>
                <a:gd name="T46" fmla="*/ 84 w 84"/>
                <a:gd name="T47" fmla="*/ 24 h 47"/>
                <a:gd name="T48" fmla="*/ 80 w 84"/>
                <a:gd name="T49"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4" h="47">
                  <a:moveTo>
                    <a:pt x="80" y="24"/>
                  </a:moveTo>
                  <a:cubicBezTo>
                    <a:pt x="76" y="24"/>
                    <a:pt x="76" y="24"/>
                    <a:pt x="76" y="24"/>
                  </a:cubicBezTo>
                  <a:cubicBezTo>
                    <a:pt x="76" y="28"/>
                    <a:pt x="74" y="32"/>
                    <a:pt x="72" y="35"/>
                  </a:cubicBezTo>
                  <a:cubicBezTo>
                    <a:pt x="69" y="38"/>
                    <a:pt x="66" y="39"/>
                    <a:pt x="62" y="39"/>
                  </a:cubicBezTo>
                  <a:cubicBezTo>
                    <a:pt x="21" y="39"/>
                    <a:pt x="21" y="39"/>
                    <a:pt x="21" y="39"/>
                  </a:cubicBezTo>
                  <a:cubicBezTo>
                    <a:pt x="18" y="39"/>
                    <a:pt x="14" y="38"/>
                    <a:pt x="12" y="35"/>
                  </a:cubicBezTo>
                  <a:cubicBezTo>
                    <a:pt x="9" y="32"/>
                    <a:pt x="8" y="28"/>
                    <a:pt x="8" y="24"/>
                  </a:cubicBezTo>
                  <a:cubicBezTo>
                    <a:pt x="8" y="19"/>
                    <a:pt x="9" y="15"/>
                    <a:pt x="12" y="13"/>
                  </a:cubicBezTo>
                  <a:cubicBezTo>
                    <a:pt x="14" y="10"/>
                    <a:pt x="18" y="8"/>
                    <a:pt x="21" y="8"/>
                  </a:cubicBezTo>
                  <a:cubicBezTo>
                    <a:pt x="62" y="8"/>
                    <a:pt x="62" y="8"/>
                    <a:pt x="62" y="8"/>
                  </a:cubicBezTo>
                  <a:cubicBezTo>
                    <a:pt x="66" y="8"/>
                    <a:pt x="69" y="10"/>
                    <a:pt x="72" y="13"/>
                  </a:cubicBezTo>
                  <a:cubicBezTo>
                    <a:pt x="74" y="15"/>
                    <a:pt x="76" y="19"/>
                    <a:pt x="76" y="24"/>
                  </a:cubicBezTo>
                  <a:cubicBezTo>
                    <a:pt x="80" y="24"/>
                    <a:pt x="80" y="24"/>
                    <a:pt x="80" y="24"/>
                  </a:cubicBezTo>
                  <a:cubicBezTo>
                    <a:pt x="84" y="24"/>
                    <a:pt x="84" y="24"/>
                    <a:pt x="84" y="24"/>
                  </a:cubicBezTo>
                  <a:cubicBezTo>
                    <a:pt x="84" y="17"/>
                    <a:pt x="82" y="12"/>
                    <a:pt x="78" y="7"/>
                  </a:cubicBezTo>
                  <a:cubicBezTo>
                    <a:pt x="74" y="3"/>
                    <a:pt x="68" y="0"/>
                    <a:pt x="62" y="0"/>
                  </a:cubicBezTo>
                  <a:cubicBezTo>
                    <a:pt x="21" y="0"/>
                    <a:pt x="21" y="0"/>
                    <a:pt x="21" y="0"/>
                  </a:cubicBezTo>
                  <a:cubicBezTo>
                    <a:pt x="15" y="0"/>
                    <a:pt x="10" y="3"/>
                    <a:pt x="6" y="7"/>
                  </a:cubicBezTo>
                  <a:cubicBezTo>
                    <a:pt x="2" y="12"/>
                    <a:pt x="0" y="17"/>
                    <a:pt x="0" y="24"/>
                  </a:cubicBezTo>
                  <a:cubicBezTo>
                    <a:pt x="0" y="30"/>
                    <a:pt x="2" y="36"/>
                    <a:pt x="6" y="40"/>
                  </a:cubicBezTo>
                  <a:cubicBezTo>
                    <a:pt x="10" y="45"/>
                    <a:pt x="15" y="47"/>
                    <a:pt x="21" y="47"/>
                  </a:cubicBezTo>
                  <a:cubicBezTo>
                    <a:pt x="62" y="47"/>
                    <a:pt x="62" y="47"/>
                    <a:pt x="62" y="47"/>
                  </a:cubicBezTo>
                  <a:cubicBezTo>
                    <a:pt x="68" y="47"/>
                    <a:pt x="74" y="45"/>
                    <a:pt x="78" y="40"/>
                  </a:cubicBezTo>
                  <a:cubicBezTo>
                    <a:pt x="82" y="36"/>
                    <a:pt x="84" y="30"/>
                    <a:pt x="84" y="24"/>
                  </a:cubicBezTo>
                  <a:lnTo>
                    <a:pt x="80" y="24"/>
                  </a:lnTo>
                  <a:close/>
                </a:path>
              </a:pathLst>
            </a:custGeom>
            <a:solidFill>
              <a:srgbClr val="EE40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2" name="Freeform 30"/>
            <p:cNvSpPr>
              <a:spLocks/>
            </p:cNvSpPr>
            <p:nvPr/>
          </p:nvSpPr>
          <p:spPr bwMode="auto">
            <a:xfrm>
              <a:off x="6503215" y="4396956"/>
              <a:ext cx="204534" cy="114085"/>
            </a:xfrm>
            <a:custGeom>
              <a:avLst/>
              <a:gdLst>
                <a:gd name="T0" fmla="*/ 80 w 84"/>
                <a:gd name="T1" fmla="*/ 24 h 47"/>
                <a:gd name="T2" fmla="*/ 76 w 84"/>
                <a:gd name="T3" fmla="*/ 24 h 47"/>
                <a:gd name="T4" fmla="*/ 72 w 84"/>
                <a:gd name="T5" fmla="*/ 35 h 47"/>
                <a:gd name="T6" fmla="*/ 63 w 84"/>
                <a:gd name="T7" fmla="*/ 39 h 47"/>
                <a:gd name="T8" fmla="*/ 22 w 84"/>
                <a:gd name="T9" fmla="*/ 39 h 47"/>
                <a:gd name="T10" fmla="*/ 12 w 84"/>
                <a:gd name="T11" fmla="*/ 35 h 47"/>
                <a:gd name="T12" fmla="*/ 8 w 84"/>
                <a:gd name="T13" fmla="*/ 24 h 47"/>
                <a:gd name="T14" fmla="*/ 12 w 84"/>
                <a:gd name="T15" fmla="*/ 13 h 47"/>
                <a:gd name="T16" fmla="*/ 22 w 84"/>
                <a:gd name="T17" fmla="*/ 8 h 47"/>
                <a:gd name="T18" fmla="*/ 63 w 84"/>
                <a:gd name="T19" fmla="*/ 8 h 47"/>
                <a:gd name="T20" fmla="*/ 72 w 84"/>
                <a:gd name="T21" fmla="*/ 13 h 47"/>
                <a:gd name="T22" fmla="*/ 76 w 84"/>
                <a:gd name="T23" fmla="*/ 24 h 47"/>
                <a:gd name="T24" fmla="*/ 80 w 84"/>
                <a:gd name="T25" fmla="*/ 24 h 47"/>
                <a:gd name="T26" fmla="*/ 84 w 84"/>
                <a:gd name="T27" fmla="*/ 24 h 47"/>
                <a:gd name="T28" fmla="*/ 78 w 84"/>
                <a:gd name="T29" fmla="*/ 7 h 47"/>
                <a:gd name="T30" fmla="*/ 63 w 84"/>
                <a:gd name="T31" fmla="*/ 0 h 47"/>
                <a:gd name="T32" fmla="*/ 22 w 84"/>
                <a:gd name="T33" fmla="*/ 0 h 47"/>
                <a:gd name="T34" fmla="*/ 6 w 84"/>
                <a:gd name="T35" fmla="*/ 7 h 47"/>
                <a:gd name="T36" fmla="*/ 0 w 84"/>
                <a:gd name="T37" fmla="*/ 24 h 47"/>
                <a:gd name="T38" fmla="*/ 6 w 84"/>
                <a:gd name="T39" fmla="*/ 40 h 47"/>
                <a:gd name="T40" fmla="*/ 22 w 84"/>
                <a:gd name="T41" fmla="*/ 47 h 47"/>
                <a:gd name="T42" fmla="*/ 63 w 84"/>
                <a:gd name="T43" fmla="*/ 47 h 47"/>
                <a:gd name="T44" fmla="*/ 78 w 84"/>
                <a:gd name="T45" fmla="*/ 40 h 47"/>
                <a:gd name="T46" fmla="*/ 84 w 84"/>
                <a:gd name="T47" fmla="*/ 24 h 47"/>
                <a:gd name="T48" fmla="*/ 80 w 84"/>
                <a:gd name="T49"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4" h="47">
                  <a:moveTo>
                    <a:pt x="80" y="24"/>
                  </a:moveTo>
                  <a:cubicBezTo>
                    <a:pt x="76" y="24"/>
                    <a:pt x="76" y="24"/>
                    <a:pt x="76" y="24"/>
                  </a:cubicBezTo>
                  <a:cubicBezTo>
                    <a:pt x="76" y="28"/>
                    <a:pt x="75" y="32"/>
                    <a:pt x="72" y="35"/>
                  </a:cubicBezTo>
                  <a:cubicBezTo>
                    <a:pt x="70" y="38"/>
                    <a:pt x="66" y="39"/>
                    <a:pt x="63" y="39"/>
                  </a:cubicBezTo>
                  <a:cubicBezTo>
                    <a:pt x="22" y="39"/>
                    <a:pt x="22" y="39"/>
                    <a:pt x="22" y="39"/>
                  </a:cubicBezTo>
                  <a:cubicBezTo>
                    <a:pt x="18" y="39"/>
                    <a:pt x="15" y="38"/>
                    <a:pt x="12" y="35"/>
                  </a:cubicBezTo>
                  <a:cubicBezTo>
                    <a:pt x="10" y="32"/>
                    <a:pt x="8" y="28"/>
                    <a:pt x="8" y="24"/>
                  </a:cubicBezTo>
                  <a:cubicBezTo>
                    <a:pt x="8" y="19"/>
                    <a:pt x="10" y="15"/>
                    <a:pt x="12" y="13"/>
                  </a:cubicBezTo>
                  <a:cubicBezTo>
                    <a:pt x="15" y="10"/>
                    <a:pt x="18" y="8"/>
                    <a:pt x="22" y="8"/>
                  </a:cubicBezTo>
                  <a:cubicBezTo>
                    <a:pt x="63" y="8"/>
                    <a:pt x="63" y="8"/>
                    <a:pt x="63" y="8"/>
                  </a:cubicBezTo>
                  <a:cubicBezTo>
                    <a:pt x="66" y="8"/>
                    <a:pt x="70" y="10"/>
                    <a:pt x="72" y="13"/>
                  </a:cubicBezTo>
                  <a:cubicBezTo>
                    <a:pt x="75" y="15"/>
                    <a:pt x="76" y="19"/>
                    <a:pt x="76" y="24"/>
                  </a:cubicBezTo>
                  <a:cubicBezTo>
                    <a:pt x="80" y="24"/>
                    <a:pt x="80" y="24"/>
                    <a:pt x="80" y="24"/>
                  </a:cubicBezTo>
                  <a:cubicBezTo>
                    <a:pt x="84" y="24"/>
                    <a:pt x="84" y="24"/>
                    <a:pt x="84" y="24"/>
                  </a:cubicBezTo>
                  <a:cubicBezTo>
                    <a:pt x="84" y="17"/>
                    <a:pt x="82" y="12"/>
                    <a:pt x="78" y="7"/>
                  </a:cubicBezTo>
                  <a:cubicBezTo>
                    <a:pt x="74" y="3"/>
                    <a:pt x="69" y="0"/>
                    <a:pt x="63" y="0"/>
                  </a:cubicBezTo>
                  <a:cubicBezTo>
                    <a:pt x="22" y="0"/>
                    <a:pt x="22" y="0"/>
                    <a:pt x="22" y="0"/>
                  </a:cubicBezTo>
                  <a:cubicBezTo>
                    <a:pt x="16" y="0"/>
                    <a:pt x="10" y="3"/>
                    <a:pt x="6" y="7"/>
                  </a:cubicBezTo>
                  <a:cubicBezTo>
                    <a:pt x="2" y="12"/>
                    <a:pt x="0" y="17"/>
                    <a:pt x="0" y="24"/>
                  </a:cubicBezTo>
                  <a:cubicBezTo>
                    <a:pt x="0" y="30"/>
                    <a:pt x="2" y="36"/>
                    <a:pt x="6" y="40"/>
                  </a:cubicBezTo>
                  <a:cubicBezTo>
                    <a:pt x="10" y="45"/>
                    <a:pt x="16" y="47"/>
                    <a:pt x="22" y="47"/>
                  </a:cubicBezTo>
                  <a:cubicBezTo>
                    <a:pt x="63" y="47"/>
                    <a:pt x="63" y="47"/>
                    <a:pt x="63" y="47"/>
                  </a:cubicBezTo>
                  <a:cubicBezTo>
                    <a:pt x="69" y="47"/>
                    <a:pt x="74" y="45"/>
                    <a:pt x="78" y="40"/>
                  </a:cubicBezTo>
                  <a:cubicBezTo>
                    <a:pt x="82" y="36"/>
                    <a:pt x="84" y="30"/>
                    <a:pt x="84" y="24"/>
                  </a:cubicBezTo>
                  <a:lnTo>
                    <a:pt x="80" y="24"/>
                  </a:lnTo>
                  <a:close/>
                </a:path>
              </a:pathLst>
            </a:custGeom>
            <a:solidFill>
              <a:srgbClr val="EE40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3" name="Freeform 31"/>
            <p:cNvSpPr>
              <a:spLocks/>
            </p:cNvSpPr>
            <p:nvPr/>
          </p:nvSpPr>
          <p:spPr bwMode="auto">
            <a:xfrm>
              <a:off x="6153760" y="4416484"/>
              <a:ext cx="62696" cy="31862"/>
            </a:xfrm>
            <a:custGeom>
              <a:avLst/>
              <a:gdLst>
                <a:gd name="T0" fmla="*/ 23 w 26"/>
                <a:gd name="T1" fmla="*/ 5 h 13"/>
                <a:gd name="T2" fmla="*/ 5 w 26"/>
                <a:gd name="T3" fmla="*/ 1 h 13"/>
                <a:gd name="T4" fmla="*/ 0 w 26"/>
                <a:gd name="T5" fmla="*/ 4 h 13"/>
                <a:gd name="T6" fmla="*/ 3 w 26"/>
                <a:gd name="T7" fmla="*/ 8 h 13"/>
                <a:gd name="T8" fmla="*/ 21 w 26"/>
                <a:gd name="T9" fmla="*/ 13 h 13"/>
                <a:gd name="T10" fmla="*/ 26 w 26"/>
                <a:gd name="T11" fmla="*/ 10 h 13"/>
                <a:gd name="T12" fmla="*/ 23 w 26"/>
                <a:gd name="T13" fmla="*/ 5 h 13"/>
              </a:gdLst>
              <a:ahLst/>
              <a:cxnLst>
                <a:cxn ang="0">
                  <a:pos x="T0" y="T1"/>
                </a:cxn>
                <a:cxn ang="0">
                  <a:pos x="T2" y="T3"/>
                </a:cxn>
                <a:cxn ang="0">
                  <a:pos x="T4" y="T5"/>
                </a:cxn>
                <a:cxn ang="0">
                  <a:pos x="T6" y="T7"/>
                </a:cxn>
                <a:cxn ang="0">
                  <a:pos x="T8" y="T9"/>
                </a:cxn>
                <a:cxn ang="0">
                  <a:pos x="T10" y="T11"/>
                </a:cxn>
                <a:cxn ang="0">
                  <a:pos x="T12" y="T13"/>
                </a:cxn>
              </a:cxnLst>
              <a:rect l="0" t="0" r="r" b="b"/>
              <a:pathLst>
                <a:path w="26" h="13">
                  <a:moveTo>
                    <a:pt x="23" y="5"/>
                  </a:moveTo>
                  <a:cubicBezTo>
                    <a:pt x="5" y="1"/>
                    <a:pt x="5" y="1"/>
                    <a:pt x="5" y="1"/>
                  </a:cubicBezTo>
                  <a:cubicBezTo>
                    <a:pt x="3" y="0"/>
                    <a:pt x="1" y="1"/>
                    <a:pt x="0" y="4"/>
                  </a:cubicBezTo>
                  <a:cubicBezTo>
                    <a:pt x="0" y="6"/>
                    <a:pt x="1" y="8"/>
                    <a:pt x="3" y="8"/>
                  </a:cubicBezTo>
                  <a:cubicBezTo>
                    <a:pt x="21" y="13"/>
                    <a:pt x="21" y="13"/>
                    <a:pt x="21" y="13"/>
                  </a:cubicBezTo>
                  <a:cubicBezTo>
                    <a:pt x="23" y="13"/>
                    <a:pt x="25" y="12"/>
                    <a:pt x="26" y="10"/>
                  </a:cubicBezTo>
                  <a:cubicBezTo>
                    <a:pt x="26" y="7"/>
                    <a:pt x="25" y="5"/>
                    <a:pt x="23" y="5"/>
                  </a:cubicBezTo>
                </a:path>
              </a:pathLst>
            </a:custGeom>
            <a:solidFill>
              <a:srgbClr val="EE40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4" name="Freeform 32"/>
            <p:cNvSpPr>
              <a:spLocks/>
            </p:cNvSpPr>
            <p:nvPr/>
          </p:nvSpPr>
          <p:spPr bwMode="auto">
            <a:xfrm>
              <a:off x="6688221" y="4426762"/>
              <a:ext cx="90447" cy="35973"/>
            </a:xfrm>
            <a:custGeom>
              <a:avLst/>
              <a:gdLst>
                <a:gd name="T0" fmla="*/ 5 w 37"/>
                <a:gd name="T1" fmla="*/ 15 h 15"/>
                <a:gd name="T2" fmla="*/ 34 w 37"/>
                <a:gd name="T3" fmla="*/ 9 h 15"/>
                <a:gd name="T4" fmla="*/ 37 w 37"/>
                <a:gd name="T5" fmla="*/ 4 h 15"/>
                <a:gd name="T6" fmla="*/ 32 w 37"/>
                <a:gd name="T7" fmla="*/ 1 h 15"/>
                <a:gd name="T8" fmla="*/ 3 w 37"/>
                <a:gd name="T9" fmla="*/ 7 h 15"/>
                <a:gd name="T10" fmla="*/ 0 w 37"/>
                <a:gd name="T11" fmla="*/ 12 h 15"/>
                <a:gd name="T12" fmla="*/ 5 w 37"/>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37" h="15">
                  <a:moveTo>
                    <a:pt x="5" y="15"/>
                  </a:moveTo>
                  <a:cubicBezTo>
                    <a:pt x="34" y="9"/>
                    <a:pt x="34" y="9"/>
                    <a:pt x="34" y="9"/>
                  </a:cubicBezTo>
                  <a:cubicBezTo>
                    <a:pt x="36" y="8"/>
                    <a:pt x="37" y="6"/>
                    <a:pt x="37" y="4"/>
                  </a:cubicBezTo>
                  <a:cubicBezTo>
                    <a:pt x="36" y="2"/>
                    <a:pt x="34" y="0"/>
                    <a:pt x="32" y="1"/>
                  </a:cubicBezTo>
                  <a:cubicBezTo>
                    <a:pt x="3" y="7"/>
                    <a:pt x="3" y="7"/>
                    <a:pt x="3" y="7"/>
                  </a:cubicBezTo>
                  <a:cubicBezTo>
                    <a:pt x="1" y="7"/>
                    <a:pt x="0" y="9"/>
                    <a:pt x="0" y="12"/>
                  </a:cubicBezTo>
                  <a:cubicBezTo>
                    <a:pt x="1" y="14"/>
                    <a:pt x="3" y="15"/>
                    <a:pt x="5" y="15"/>
                  </a:cubicBezTo>
                </a:path>
              </a:pathLst>
            </a:custGeom>
            <a:solidFill>
              <a:srgbClr val="EE40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5" name="Freeform 33"/>
            <p:cNvSpPr>
              <a:spLocks/>
            </p:cNvSpPr>
            <p:nvPr/>
          </p:nvSpPr>
          <p:spPr bwMode="auto">
            <a:xfrm>
              <a:off x="6376795" y="4430874"/>
              <a:ext cx="145949" cy="19528"/>
            </a:xfrm>
            <a:custGeom>
              <a:avLst/>
              <a:gdLst>
                <a:gd name="T0" fmla="*/ 4 w 60"/>
                <a:gd name="T1" fmla="*/ 8 h 8"/>
                <a:gd name="T2" fmla="*/ 56 w 60"/>
                <a:gd name="T3" fmla="*/ 8 h 8"/>
                <a:gd name="T4" fmla="*/ 60 w 60"/>
                <a:gd name="T5" fmla="*/ 4 h 8"/>
                <a:gd name="T6" fmla="*/ 56 w 60"/>
                <a:gd name="T7" fmla="*/ 0 h 8"/>
                <a:gd name="T8" fmla="*/ 4 w 60"/>
                <a:gd name="T9" fmla="*/ 0 h 8"/>
                <a:gd name="T10" fmla="*/ 0 w 60"/>
                <a:gd name="T11" fmla="*/ 4 h 8"/>
                <a:gd name="T12" fmla="*/ 4 w 60"/>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60" h="8">
                  <a:moveTo>
                    <a:pt x="4" y="8"/>
                  </a:moveTo>
                  <a:cubicBezTo>
                    <a:pt x="56" y="8"/>
                    <a:pt x="56" y="8"/>
                    <a:pt x="56" y="8"/>
                  </a:cubicBezTo>
                  <a:cubicBezTo>
                    <a:pt x="58" y="8"/>
                    <a:pt x="60" y="6"/>
                    <a:pt x="60" y="4"/>
                  </a:cubicBezTo>
                  <a:cubicBezTo>
                    <a:pt x="60" y="2"/>
                    <a:pt x="58" y="0"/>
                    <a:pt x="56" y="0"/>
                  </a:cubicBezTo>
                  <a:cubicBezTo>
                    <a:pt x="4" y="0"/>
                    <a:pt x="4" y="0"/>
                    <a:pt x="4" y="0"/>
                  </a:cubicBezTo>
                  <a:cubicBezTo>
                    <a:pt x="2" y="0"/>
                    <a:pt x="0" y="2"/>
                    <a:pt x="0" y="4"/>
                  </a:cubicBezTo>
                  <a:cubicBezTo>
                    <a:pt x="0" y="6"/>
                    <a:pt x="2" y="8"/>
                    <a:pt x="4" y="8"/>
                  </a:cubicBezTo>
                </a:path>
              </a:pathLst>
            </a:custGeom>
            <a:solidFill>
              <a:srgbClr val="EE40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6" name="Freeform 34"/>
            <p:cNvSpPr>
              <a:spLocks/>
            </p:cNvSpPr>
            <p:nvPr/>
          </p:nvSpPr>
          <p:spPr bwMode="auto">
            <a:xfrm>
              <a:off x="6556661" y="4024894"/>
              <a:ext cx="185006" cy="153142"/>
            </a:xfrm>
            <a:custGeom>
              <a:avLst/>
              <a:gdLst>
                <a:gd name="T0" fmla="*/ 0 w 76"/>
                <a:gd name="T1" fmla="*/ 0 h 63"/>
                <a:gd name="T2" fmla="*/ 76 w 76"/>
                <a:gd name="T3" fmla="*/ 63 h 63"/>
                <a:gd name="T4" fmla="*/ 0 w 76"/>
                <a:gd name="T5" fmla="*/ 0 h 63"/>
              </a:gdLst>
              <a:ahLst/>
              <a:cxnLst>
                <a:cxn ang="0">
                  <a:pos x="T0" y="T1"/>
                </a:cxn>
                <a:cxn ang="0">
                  <a:pos x="T2" y="T3"/>
                </a:cxn>
                <a:cxn ang="0">
                  <a:pos x="T4" y="T5"/>
                </a:cxn>
              </a:cxnLst>
              <a:rect l="0" t="0" r="r" b="b"/>
              <a:pathLst>
                <a:path w="76" h="63">
                  <a:moveTo>
                    <a:pt x="0" y="0"/>
                  </a:moveTo>
                  <a:cubicBezTo>
                    <a:pt x="0" y="0"/>
                    <a:pt x="50" y="32"/>
                    <a:pt x="76" y="63"/>
                  </a:cubicBezTo>
                  <a:cubicBezTo>
                    <a:pt x="76" y="63"/>
                    <a:pt x="25" y="46"/>
                    <a:pt x="0" y="0"/>
                  </a:cubicBezTo>
                  <a:close/>
                </a:path>
              </a:pathLst>
            </a:custGeom>
            <a:solidFill>
              <a:srgbClr val="754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7" name="Freeform 35"/>
            <p:cNvSpPr>
              <a:spLocks/>
            </p:cNvSpPr>
            <p:nvPr/>
          </p:nvSpPr>
          <p:spPr bwMode="auto">
            <a:xfrm>
              <a:off x="6233929" y="3983782"/>
              <a:ext cx="192200" cy="155197"/>
            </a:xfrm>
            <a:custGeom>
              <a:avLst/>
              <a:gdLst>
                <a:gd name="T0" fmla="*/ 79 w 79"/>
                <a:gd name="T1" fmla="*/ 0 h 64"/>
                <a:gd name="T2" fmla="*/ 0 w 79"/>
                <a:gd name="T3" fmla="*/ 64 h 64"/>
                <a:gd name="T4" fmla="*/ 79 w 79"/>
                <a:gd name="T5" fmla="*/ 0 h 64"/>
              </a:gdLst>
              <a:ahLst/>
              <a:cxnLst>
                <a:cxn ang="0">
                  <a:pos x="T0" y="T1"/>
                </a:cxn>
                <a:cxn ang="0">
                  <a:pos x="T2" y="T3"/>
                </a:cxn>
                <a:cxn ang="0">
                  <a:pos x="T4" y="T5"/>
                </a:cxn>
              </a:cxnLst>
              <a:rect l="0" t="0" r="r" b="b"/>
              <a:pathLst>
                <a:path w="79" h="64">
                  <a:moveTo>
                    <a:pt x="79" y="0"/>
                  </a:moveTo>
                  <a:cubicBezTo>
                    <a:pt x="79" y="0"/>
                    <a:pt x="35" y="3"/>
                    <a:pt x="0" y="64"/>
                  </a:cubicBezTo>
                  <a:cubicBezTo>
                    <a:pt x="0" y="64"/>
                    <a:pt x="52" y="14"/>
                    <a:pt x="79" y="0"/>
                  </a:cubicBezTo>
                  <a:close/>
                </a:path>
              </a:pathLst>
            </a:custGeom>
            <a:solidFill>
              <a:srgbClr val="754C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8" name="Freeform 36"/>
            <p:cNvSpPr>
              <a:spLocks/>
            </p:cNvSpPr>
            <p:nvPr/>
          </p:nvSpPr>
          <p:spPr bwMode="auto">
            <a:xfrm>
              <a:off x="6163011" y="5654979"/>
              <a:ext cx="297037" cy="1191216"/>
            </a:xfrm>
            <a:custGeom>
              <a:avLst/>
              <a:gdLst>
                <a:gd name="T0" fmla="*/ 119 w 122"/>
                <a:gd name="T1" fmla="*/ 419 h 490"/>
                <a:gd name="T2" fmla="*/ 89 w 122"/>
                <a:gd name="T3" fmla="*/ 488 h 490"/>
                <a:gd name="T4" fmla="*/ 45 w 122"/>
                <a:gd name="T5" fmla="*/ 427 h 490"/>
                <a:gd name="T6" fmla="*/ 3 w 122"/>
                <a:gd name="T7" fmla="*/ 71 h 490"/>
                <a:gd name="T8" fmla="*/ 49 w 122"/>
                <a:gd name="T9" fmla="*/ 2 h 490"/>
                <a:gd name="T10" fmla="*/ 105 w 122"/>
                <a:gd name="T11" fmla="*/ 63 h 490"/>
                <a:gd name="T12" fmla="*/ 119 w 122"/>
                <a:gd name="T13" fmla="*/ 419 h 490"/>
              </a:gdLst>
              <a:ahLst/>
              <a:cxnLst>
                <a:cxn ang="0">
                  <a:pos x="T0" y="T1"/>
                </a:cxn>
                <a:cxn ang="0">
                  <a:pos x="T2" y="T3"/>
                </a:cxn>
                <a:cxn ang="0">
                  <a:pos x="T4" y="T5"/>
                </a:cxn>
                <a:cxn ang="0">
                  <a:pos x="T6" y="T7"/>
                </a:cxn>
                <a:cxn ang="0">
                  <a:pos x="T8" y="T9"/>
                </a:cxn>
                <a:cxn ang="0">
                  <a:pos x="T10" y="T11"/>
                </a:cxn>
                <a:cxn ang="0">
                  <a:pos x="T12" y="T13"/>
                </a:cxn>
              </a:cxnLst>
              <a:rect l="0" t="0" r="r" b="b"/>
              <a:pathLst>
                <a:path w="122" h="490">
                  <a:moveTo>
                    <a:pt x="119" y="419"/>
                  </a:moveTo>
                  <a:cubicBezTo>
                    <a:pt x="122" y="455"/>
                    <a:pt x="117" y="486"/>
                    <a:pt x="89" y="488"/>
                  </a:cubicBezTo>
                  <a:cubicBezTo>
                    <a:pt x="61" y="490"/>
                    <a:pt x="48" y="463"/>
                    <a:pt x="45" y="427"/>
                  </a:cubicBezTo>
                  <a:cubicBezTo>
                    <a:pt x="3" y="71"/>
                    <a:pt x="3" y="71"/>
                    <a:pt x="3" y="71"/>
                  </a:cubicBezTo>
                  <a:cubicBezTo>
                    <a:pt x="0" y="35"/>
                    <a:pt x="21" y="4"/>
                    <a:pt x="49" y="2"/>
                  </a:cubicBezTo>
                  <a:cubicBezTo>
                    <a:pt x="77" y="0"/>
                    <a:pt x="102" y="27"/>
                    <a:pt x="105" y="63"/>
                  </a:cubicBezTo>
                  <a:lnTo>
                    <a:pt x="119" y="419"/>
                  </a:lnTo>
                  <a:close/>
                </a:path>
              </a:pathLst>
            </a:custGeom>
            <a:solidFill>
              <a:srgbClr val="5A4A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39" name="Freeform 37"/>
            <p:cNvSpPr>
              <a:spLocks/>
            </p:cNvSpPr>
            <p:nvPr/>
          </p:nvSpPr>
          <p:spPr bwMode="auto">
            <a:xfrm>
              <a:off x="6488826" y="5649840"/>
              <a:ext cx="257980" cy="1196355"/>
            </a:xfrm>
            <a:custGeom>
              <a:avLst/>
              <a:gdLst>
                <a:gd name="T0" fmla="*/ 2 w 106"/>
                <a:gd name="T1" fmla="*/ 418 h 492"/>
                <a:gd name="T2" fmla="*/ 34 w 106"/>
                <a:gd name="T3" fmla="*/ 488 h 492"/>
                <a:gd name="T4" fmla="*/ 76 w 106"/>
                <a:gd name="T5" fmla="*/ 429 h 492"/>
                <a:gd name="T6" fmla="*/ 105 w 106"/>
                <a:gd name="T7" fmla="*/ 74 h 492"/>
                <a:gd name="T8" fmla="*/ 57 w 106"/>
                <a:gd name="T9" fmla="*/ 4 h 492"/>
                <a:gd name="T10" fmla="*/ 3 w 106"/>
                <a:gd name="T11" fmla="*/ 62 h 492"/>
                <a:gd name="T12" fmla="*/ 2 w 106"/>
                <a:gd name="T13" fmla="*/ 418 h 492"/>
              </a:gdLst>
              <a:ahLst/>
              <a:cxnLst>
                <a:cxn ang="0">
                  <a:pos x="T0" y="T1"/>
                </a:cxn>
                <a:cxn ang="0">
                  <a:pos x="T2" y="T3"/>
                </a:cxn>
                <a:cxn ang="0">
                  <a:pos x="T4" y="T5"/>
                </a:cxn>
                <a:cxn ang="0">
                  <a:pos x="T6" y="T7"/>
                </a:cxn>
                <a:cxn ang="0">
                  <a:pos x="T8" y="T9"/>
                </a:cxn>
                <a:cxn ang="0">
                  <a:pos x="T10" y="T11"/>
                </a:cxn>
                <a:cxn ang="0">
                  <a:pos x="T12" y="T13"/>
                </a:cxn>
              </a:cxnLst>
              <a:rect l="0" t="0" r="r" b="b"/>
              <a:pathLst>
                <a:path w="106" h="492">
                  <a:moveTo>
                    <a:pt x="2" y="418"/>
                  </a:moveTo>
                  <a:cubicBezTo>
                    <a:pt x="0" y="454"/>
                    <a:pt x="6" y="485"/>
                    <a:pt x="34" y="488"/>
                  </a:cubicBezTo>
                  <a:cubicBezTo>
                    <a:pt x="62" y="492"/>
                    <a:pt x="74" y="465"/>
                    <a:pt x="76" y="429"/>
                  </a:cubicBezTo>
                  <a:cubicBezTo>
                    <a:pt x="105" y="74"/>
                    <a:pt x="105" y="74"/>
                    <a:pt x="105" y="74"/>
                  </a:cubicBezTo>
                  <a:cubicBezTo>
                    <a:pt x="106" y="38"/>
                    <a:pt x="85" y="7"/>
                    <a:pt x="57" y="4"/>
                  </a:cubicBezTo>
                  <a:cubicBezTo>
                    <a:pt x="29" y="0"/>
                    <a:pt x="5" y="27"/>
                    <a:pt x="3" y="62"/>
                  </a:cubicBezTo>
                  <a:lnTo>
                    <a:pt x="2" y="418"/>
                  </a:lnTo>
                  <a:close/>
                </a:path>
              </a:pathLst>
            </a:custGeom>
            <a:solidFill>
              <a:srgbClr val="5A4A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40" name="Freeform 38"/>
            <p:cNvSpPr>
              <a:spLocks/>
            </p:cNvSpPr>
            <p:nvPr/>
          </p:nvSpPr>
          <p:spPr bwMode="auto">
            <a:xfrm>
              <a:off x="6216457" y="6653998"/>
              <a:ext cx="284703" cy="330950"/>
            </a:xfrm>
            <a:custGeom>
              <a:avLst/>
              <a:gdLst>
                <a:gd name="T0" fmla="*/ 23 w 117"/>
                <a:gd name="T1" fmla="*/ 52 h 136"/>
                <a:gd name="T2" fmla="*/ 14 w 117"/>
                <a:gd name="T3" fmla="*/ 14 h 136"/>
                <a:gd name="T4" fmla="*/ 104 w 117"/>
                <a:gd name="T5" fmla="*/ 10 h 136"/>
                <a:gd name="T6" fmla="*/ 101 w 117"/>
                <a:gd name="T7" fmla="*/ 52 h 136"/>
                <a:gd name="T8" fmla="*/ 117 w 117"/>
                <a:gd name="T9" fmla="*/ 114 h 136"/>
                <a:gd name="T10" fmla="*/ 65 w 117"/>
                <a:gd name="T11" fmla="*/ 135 h 136"/>
                <a:gd name="T12" fmla="*/ 0 w 117"/>
                <a:gd name="T13" fmla="*/ 105 h 136"/>
                <a:gd name="T14" fmla="*/ 23 w 117"/>
                <a:gd name="T15" fmla="*/ 52 h 1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 h="136">
                  <a:moveTo>
                    <a:pt x="23" y="52"/>
                  </a:moveTo>
                  <a:cubicBezTo>
                    <a:pt x="23" y="52"/>
                    <a:pt x="6" y="19"/>
                    <a:pt x="14" y="14"/>
                  </a:cubicBezTo>
                  <a:cubicBezTo>
                    <a:pt x="23" y="10"/>
                    <a:pt x="97" y="0"/>
                    <a:pt x="104" y="10"/>
                  </a:cubicBezTo>
                  <a:cubicBezTo>
                    <a:pt x="110" y="20"/>
                    <a:pt x="101" y="52"/>
                    <a:pt x="101" y="52"/>
                  </a:cubicBezTo>
                  <a:cubicBezTo>
                    <a:pt x="101" y="52"/>
                    <a:pt x="116" y="87"/>
                    <a:pt x="117" y="114"/>
                  </a:cubicBezTo>
                  <a:cubicBezTo>
                    <a:pt x="65" y="135"/>
                    <a:pt x="65" y="135"/>
                    <a:pt x="65" y="135"/>
                  </a:cubicBezTo>
                  <a:cubicBezTo>
                    <a:pt x="65" y="135"/>
                    <a:pt x="5" y="136"/>
                    <a:pt x="0" y="105"/>
                  </a:cubicBezTo>
                  <a:lnTo>
                    <a:pt x="23" y="52"/>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41" name="Freeform 39"/>
            <p:cNvSpPr>
              <a:spLocks/>
            </p:cNvSpPr>
            <p:nvPr/>
          </p:nvSpPr>
          <p:spPr bwMode="auto">
            <a:xfrm>
              <a:off x="6445658" y="6653998"/>
              <a:ext cx="286759" cy="330950"/>
            </a:xfrm>
            <a:custGeom>
              <a:avLst/>
              <a:gdLst>
                <a:gd name="T0" fmla="*/ 95 w 118"/>
                <a:gd name="T1" fmla="*/ 52 h 136"/>
                <a:gd name="T2" fmla="*/ 103 w 118"/>
                <a:gd name="T3" fmla="*/ 14 h 136"/>
                <a:gd name="T4" fmla="*/ 14 w 118"/>
                <a:gd name="T5" fmla="*/ 10 h 136"/>
                <a:gd name="T6" fmla="*/ 17 w 118"/>
                <a:gd name="T7" fmla="*/ 52 h 136"/>
                <a:gd name="T8" fmla="*/ 0 w 118"/>
                <a:gd name="T9" fmla="*/ 114 h 136"/>
                <a:gd name="T10" fmla="*/ 53 w 118"/>
                <a:gd name="T11" fmla="*/ 135 h 136"/>
                <a:gd name="T12" fmla="*/ 118 w 118"/>
                <a:gd name="T13" fmla="*/ 105 h 136"/>
                <a:gd name="T14" fmla="*/ 95 w 118"/>
                <a:gd name="T15" fmla="*/ 52 h 1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8" h="136">
                  <a:moveTo>
                    <a:pt x="95" y="52"/>
                  </a:moveTo>
                  <a:cubicBezTo>
                    <a:pt x="95" y="52"/>
                    <a:pt x="112" y="19"/>
                    <a:pt x="103" y="14"/>
                  </a:cubicBezTo>
                  <a:cubicBezTo>
                    <a:pt x="95" y="10"/>
                    <a:pt x="21" y="0"/>
                    <a:pt x="14" y="10"/>
                  </a:cubicBezTo>
                  <a:cubicBezTo>
                    <a:pt x="7" y="20"/>
                    <a:pt x="17" y="52"/>
                    <a:pt x="17" y="52"/>
                  </a:cubicBezTo>
                  <a:cubicBezTo>
                    <a:pt x="17" y="52"/>
                    <a:pt x="2" y="87"/>
                    <a:pt x="0" y="114"/>
                  </a:cubicBezTo>
                  <a:cubicBezTo>
                    <a:pt x="53" y="135"/>
                    <a:pt x="53" y="135"/>
                    <a:pt x="53" y="135"/>
                  </a:cubicBezTo>
                  <a:cubicBezTo>
                    <a:pt x="53" y="135"/>
                    <a:pt x="112" y="136"/>
                    <a:pt x="118" y="105"/>
                  </a:cubicBezTo>
                  <a:lnTo>
                    <a:pt x="95" y="52"/>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42" name="Freeform 40"/>
            <p:cNvSpPr>
              <a:spLocks/>
            </p:cNvSpPr>
            <p:nvPr/>
          </p:nvSpPr>
          <p:spPr bwMode="auto">
            <a:xfrm>
              <a:off x="6061258" y="5249000"/>
              <a:ext cx="787302" cy="140808"/>
            </a:xfrm>
            <a:custGeom>
              <a:avLst/>
              <a:gdLst>
                <a:gd name="T0" fmla="*/ 276 w 324"/>
                <a:gd name="T1" fmla="*/ 0 h 58"/>
                <a:gd name="T2" fmla="*/ 276 w 324"/>
                <a:gd name="T3" fmla="*/ 38 h 58"/>
                <a:gd name="T4" fmla="*/ 160 w 324"/>
                <a:gd name="T5" fmla="*/ 18 h 58"/>
                <a:gd name="T6" fmla="*/ 53 w 324"/>
                <a:gd name="T7" fmla="*/ 37 h 58"/>
                <a:gd name="T8" fmla="*/ 53 w 324"/>
                <a:gd name="T9" fmla="*/ 0 h 58"/>
                <a:gd name="T10" fmla="*/ 0 w 324"/>
                <a:gd name="T11" fmla="*/ 0 h 58"/>
                <a:gd name="T12" fmla="*/ 0 w 324"/>
                <a:gd name="T13" fmla="*/ 58 h 58"/>
                <a:gd name="T14" fmla="*/ 53 w 324"/>
                <a:gd name="T15" fmla="*/ 58 h 58"/>
                <a:gd name="T16" fmla="*/ 276 w 324"/>
                <a:gd name="T17" fmla="*/ 58 h 58"/>
                <a:gd name="T18" fmla="*/ 324 w 324"/>
                <a:gd name="T19" fmla="*/ 58 h 58"/>
                <a:gd name="T20" fmla="*/ 324 w 324"/>
                <a:gd name="T21" fmla="*/ 0 h 58"/>
                <a:gd name="T22" fmla="*/ 276 w 324"/>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4" h="58">
                  <a:moveTo>
                    <a:pt x="276" y="0"/>
                  </a:moveTo>
                  <a:cubicBezTo>
                    <a:pt x="276" y="38"/>
                    <a:pt x="276" y="38"/>
                    <a:pt x="276" y="38"/>
                  </a:cubicBezTo>
                  <a:cubicBezTo>
                    <a:pt x="246" y="28"/>
                    <a:pt x="205" y="17"/>
                    <a:pt x="160" y="18"/>
                  </a:cubicBezTo>
                  <a:cubicBezTo>
                    <a:pt x="119" y="19"/>
                    <a:pt x="82" y="28"/>
                    <a:pt x="53" y="37"/>
                  </a:cubicBezTo>
                  <a:cubicBezTo>
                    <a:pt x="53" y="0"/>
                    <a:pt x="53" y="0"/>
                    <a:pt x="53" y="0"/>
                  </a:cubicBezTo>
                  <a:cubicBezTo>
                    <a:pt x="0" y="0"/>
                    <a:pt x="0" y="0"/>
                    <a:pt x="0" y="0"/>
                  </a:cubicBezTo>
                  <a:cubicBezTo>
                    <a:pt x="0" y="58"/>
                    <a:pt x="0" y="58"/>
                    <a:pt x="0" y="58"/>
                  </a:cubicBezTo>
                  <a:cubicBezTo>
                    <a:pt x="53" y="58"/>
                    <a:pt x="53" y="58"/>
                    <a:pt x="53" y="58"/>
                  </a:cubicBezTo>
                  <a:cubicBezTo>
                    <a:pt x="276" y="58"/>
                    <a:pt x="276" y="58"/>
                    <a:pt x="276" y="58"/>
                  </a:cubicBezTo>
                  <a:cubicBezTo>
                    <a:pt x="324" y="58"/>
                    <a:pt x="324" y="58"/>
                    <a:pt x="324" y="58"/>
                  </a:cubicBezTo>
                  <a:cubicBezTo>
                    <a:pt x="324" y="0"/>
                    <a:pt x="324" y="0"/>
                    <a:pt x="324" y="0"/>
                  </a:cubicBezTo>
                  <a:lnTo>
                    <a:pt x="276" y="0"/>
                  </a:lnTo>
                  <a:close/>
                </a:path>
              </a:pathLst>
            </a:custGeom>
            <a:solidFill>
              <a:srgbClr val="F4C5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43" name="Rectangle 41"/>
            <p:cNvSpPr>
              <a:spLocks noChangeArrowheads="1"/>
            </p:cNvSpPr>
            <p:nvPr/>
          </p:nvSpPr>
          <p:spPr bwMode="auto">
            <a:xfrm>
              <a:off x="3744576" y="5448392"/>
              <a:ext cx="4689892" cy="194254"/>
            </a:xfrm>
            <a:prstGeom prst="rect">
              <a:avLst/>
            </a:prstGeom>
            <a:solidFill>
              <a:srgbClr val="71655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44" name="Rectangle 42"/>
            <p:cNvSpPr>
              <a:spLocks noChangeArrowheads="1"/>
            </p:cNvSpPr>
            <p:nvPr/>
          </p:nvSpPr>
          <p:spPr bwMode="auto">
            <a:xfrm>
              <a:off x="3461929" y="5389808"/>
              <a:ext cx="5215102" cy="116141"/>
            </a:xfrm>
            <a:prstGeom prst="rect">
              <a:avLst/>
            </a:prstGeom>
            <a:solidFill>
              <a:srgbClr val="9A847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45" name="Rectangle 43"/>
            <p:cNvSpPr>
              <a:spLocks noChangeArrowheads="1"/>
            </p:cNvSpPr>
            <p:nvPr/>
          </p:nvSpPr>
          <p:spPr bwMode="auto">
            <a:xfrm>
              <a:off x="3607878" y="5448392"/>
              <a:ext cx="136699" cy="1466666"/>
            </a:xfrm>
            <a:prstGeom prst="rect">
              <a:avLst/>
            </a:prstGeom>
            <a:solidFill>
              <a:srgbClr val="9A847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46" name="Rectangle 44"/>
            <p:cNvSpPr>
              <a:spLocks noChangeArrowheads="1"/>
            </p:cNvSpPr>
            <p:nvPr/>
          </p:nvSpPr>
          <p:spPr bwMode="auto">
            <a:xfrm>
              <a:off x="8365605" y="5448392"/>
              <a:ext cx="136699" cy="1466666"/>
            </a:xfrm>
            <a:prstGeom prst="rect">
              <a:avLst/>
            </a:prstGeom>
            <a:solidFill>
              <a:srgbClr val="9A847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47" name="Freeform 45"/>
            <p:cNvSpPr>
              <a:spLocks/>
            </p:cNvSpPr>
            <p:nvPr/>
          </p:nvSpPr>
          <p:spPr bwMode="auto">
            <a:xfrm>
              <a:off x="6611135" y="5279834"/>
              <a:ext cx="198367" cy="109974"/>
            </a:xfrm>
            <a:custGeom>
              <a:avLst/>
              <a:gdLst>
                <a:gd name="T0" fmla="*/ 82 w 82"/>
                <a:gd name="T1" fmla="*/ 45 h 45"/>
                <a:gd name="T2" fmla="*/ 82 w 82"/>
                <a:gd name="T3" fmla="*/ 39 h 45"/>
                <a:gd name="T4" fmla="*/ 43 w 82"/>
                <a:gd name="T5" fmla="*/ 0 h 45"/>
                <a:gd name="T6" fmla="*/ 39 w 82"/>
                <a:gd name="T7" fmla="*/ 0 h 45"/>
                <a:gd name="T8" fmla="*/ 0 w 82"/>
                <a:gd name="T9" fmla="*/ 39 h 45"/>
                <a:gd name="T10" fmla="*/ 1 w 82"/>
                <a:gd name="T11" fmla="*/ 45 h 45"/>
                <a:gd name="T12" fmla="*/ 82 w 82"/>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82" h="45">
                  <a:moveTo>
                    <a:pt x="82" y="45"/>
                  </a:moveTo>
                  <a:cubicBezTo>
                    <a:pt x="82" y="43"/>
                    <a:pt x="82" y="41"/>
                    <a:pt x="82" y="39"/>
                  </a:cubicBezTo>
                  <a:cubicBezTo>
                    <a:pt x="82" y="18"/>
                    <a:pt x="65" y="0"/>
                    <a:pt x="43" y="0"/>
                  </a:cubicBezTo>
                  <a:cubicBezTo>
                    <a:pt x="39" y="0"/>
                    <a:pt x="39" y="0"/>
                    <a:pt x="39" y="0"/>
                  </a:cubicBezTo>
                  <a:cubicBezTo>
                    <a:pt x="18" y="0"/>
                    <a:pt x="0" y="18"/>
                    <a:pt x="0" y="39"/>
                  </a:cubicBezTo>
                  <a:cubicBezTo>
                    <a:pt x="0" y="41"/>
                    <a:pt x="0" y="43"/>
                    <a:pt x="1" y="45"/>
                  </a:cubicBezTo>
                  <a:lnTo>
                    <a:pt x="82" y="45"/>
                  </a:lnTo>
                  <a:close/>
                </a:path>
              </a:pathLst>
            </a:custGeom>
            <a:solidFill>
              <a:srgbClr val="F1F1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48" name="Oval 46"/>
            <p:cNvSpPr>
              <a:spLocks noChangeArrowheads="1"/>
            </p:cNvSpPr>
            <p:nvPr/>
          </p:nvSpPr>
          <p:spPr bwMode="auto">
            <a:xfrm>
              <a:off x="4257453" y="5032135"/>
              <a:ext cx="215840" cy="216865"/>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49" name="Freeform 47"/>
            <p:cNvSpPr>
              <a:spLocks/>
            </p:cNvSpPr>
            <p:nvPr/>
          </p:nvSpPr>
          <p:spPr bwMode="auto">
            <a:xfrm>
              <a:off x="4357150" y="5078385"/>
              <a:ext cx="19528" cy="26723"/>
            </a:xfrm>
            <a:custGeom>
              <a:avLst/>
              <a:gdLst>
                <a:gd name="T0" fmla="*/ 7 w 8"/>
                <a:gd name="T1" fmla="*/ 5 h 11"/>
                <a:gd name="T2" fmla="*/ 5 w 8"/>
                <a:gd name="T3" fmla="*/ 10 h 11"/>
                <a:gd name="T4" fmla="*/ 1 w 8"/>
                <a:gd name="T5" fmla="*/ 8 h 11"/>
                <a:gd name="T6" fmla="*/ 2 w 8"/>
                <a:gd name="T7" fmla="*/ 1 h 11"/>
                <a:gd name="T8" fmla="*/ 7 w 8"/>
                <a:gd name="T9" fmla="*/ 5 h 11"/>
              </a:gdLst>
              <a:ahLst/>
              <a:cxnLst>
                <a:cxn ang="0">
                  <a:pos x="T0" y="T1"/>
                </a:cxn>
                <a:cxn ang="0">
                  <a:pos x="T2" y="T3"/>
                </a:cxn>
                <a:cxn ang="0">
                  <a:pos x="T4" y="T5"/>
                </a:cxn>
                <a:cxn ang="0">
                  <a:pos x="T6" y="T7"/>
                </a:cxn>
                <a:cxn ang="0">
                  <a:pos x="T8" y="T9"/>
                </a:cxn>
              </a:cxnLst>
              <a:rect l="0" t="0" r="r" b="b"/>
              <a:pathLst>
                <a:path w="8" h="11">
                  <a:moveTo>
                    <a:pt x="7" y="5"/>
                  </a:moveTo>
                  <a:cubicBezTo>
                    <a:pt x="8" y="7"/>
                    <a:pt x="7" y="9"/>
                    <a:pt x="5" y="10"/>
                  </a:cubicBezTo>
                  <a:cubicBezTo>
                    <a:pt x="4" y="11"/>
                    <a:pt x="1" y="10"/>
                    <a:pt x="1" y="8"/>
                  </a:cubicBezTo>
                  <a:cubicBezTo>
                    <a:pt x="0" y="6"/>
                    <a:pt x="0" y="1"/>
                    <a:pt x="2" y="1"/>
                  </a:cubicBezTo>
                  <a:cubicBezTo>
                    <a:pt x="4" y="0"/>
                    <a:pt x="7" y="3"/>
                    <a:pt x="7" y="5"/>
                  </a:cubicBez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50" name="Freeform 48"/>
            <p:cNvSpPr>
              <a:spLocks/>
            </p:cNvSpPr>
            <p:nvPr/>
          </p:nvSpPr>
          <p:spPr bwMode="auto">
            <a:xfrm>
              <a:off x="4271842" y="5060913"/>
              <a:ext cx="19528" cy="24667"/>
            </a:xfrm>
            <a:custGeom>
              <a:avLst/>
              <a:gdLst>
                <a:gd name="T0" fmla="*/ 7 w 8"/>
                <a:gd name="T1" fmla="*/ 5 h 10"/>
                <a:gd name="T2" fmla="*/ 5 w 8"/>
                <a:gd name="T3" fmla="*/ 9 h 10"/>
                <a:gd name="T4" fmla="*/ 1 w 8"/>
                <a:gd name="T5" fmla="*/ 7 h 10"/>
                <a:gd name="T6" fmla="*/ 2 w 8"/>
                <a:gd name="T7" fmla="*/ 0 h 10"/>
                <a:gd name="T8" fmla="*/ 7 w 8"/>
                <a:gd name="T9" fmla="*/ 5 h 10"/>
              </a:gdLst>
              <a:ahLst/>
              <a:cxnLst>
                <a:cxn ang="0">
                  <a:pos x="T0" y="T1"/>
                </a:cxn>
                <a:cxn ang="0">
                  <a:pos x="T2" y="T3"/>
                </a:cxn>
                <a:cxn ang="0">
                  <a:pos x="T4" y="T5"/>
                </a:cxn>
                <a:cxn ang="0">
                  <a:pos x="T6" y="T7"/>
                </a:cxn>
                <a:cxn ang="0">
                  <a:pos x="T8" y="T9"/>
                </a:cxn>
              </a:cxnLst>
              <a:rect l="0" t="0" r="r" b="b"/>
              <a:pathLst>
                <a:path w="8" h="10">
                  <a:moveTo>
                    <a:pt x="7" y="5"/>
                  </a:moveTo>
                  <a:cubicBezTo>
                    <a:pt x="8" y="7"/>
                    <a:pt x="7" y="9"/>
                    <a:pt x="5" y="9"/>
                  </a:cubicBezTo>
                  <a:cubicBezTo>
                    <a:pt x="3" y="10"/>
                    <a:pt x="1" y="9"/>
                    <a:pt x="1" y="7"/>
                  </a:cubicBezTo>
                  <a:cubicBezTo>
                    <a:pt x="0" y="6"/>
                    <a:pt x="0" y="1"/>
                    <a:pt x="2" y="0"/>
                  </a:cubicBezTo>
                  <a:cubicBezTo>
                    <a:pt x="3" y="0"/>
                    <a:pt x="6" y="3"/>
                    <a:pt x="7" y="5"/>
                  </a:cubicBez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51" name="Freeform 49"/>
            <p:cNvSpPr>
              <a:spLocks/>
            </p:cNvSpPr>
            <p:nvPr/>
          </p:nvSpPr>
          <p:spPr bwMode="auto">
            <a:xfrm>
              <a:off x="4405458" y="5032135"/>
              <a:ext cx="21584" cy="24667"/>
            </a:xfrm>
            <a:custGeom>
              <a:avLst/>
              <a:gdLst>
                <a:gd name="T0" fmla="*/ 7 w 9"/>
                <a:gd name="T1" fmla="*/ 8 h 10"/>
                <a:gd name="T2" fmla="*/ 3 w 9"/>
                <a:gd name="T3" fmla="*/ 10 h 10"/>
                <a:gd name="T4" fmla="*/ 1 w 9"/>
                <a:gd name="T5" fmla="*/ 5 h 10"/>
                <a:gd name="T6" fmla="*/ 7 w 9"/>
                <a:gd name="T7" fmla="*/ 1 h 10"/>
                <a:gd name="T8" fmla="*/ 7 w 9"/>
                <a:gd name="T9" fmla="*/ 8 h 10"/>
              </a:gdLst>
              <a:ahLst/>
              <a:cxnLst>
                <a:cxn ang="0">
                  <a:pos x="T0" y="T1"/>
                </a:cxn>
                <a:cxn ang="0">
                  <a:pos x="T2" y="T3"/>
                </a:cxn>
                <a:cxn ang="0">
                  <a:pos x="T4" y="T5"/>
                </a:cxn>
                <a:cxn ang="0">
                  <a:pos x="T6" y="T7"/>
                </a:cxn>
                <a:cxn ang="0">
                  <a:pos x="T8" y="T9"/>
                </a:cxn>
              </a:cxnLst>
              <a:rect l="0" t="0" r="r" b="b"/>
              <a:pathLst>
                <a:path w="9" h="10">
                  <a:moveTo>
                    <a:pt x="7" y="8"/>
                  </a:moveTo>
                  <a:cubicBezTo>
                    <a:pt x="7" y="10"/>
                    <a:pt x="4" y="10"/>
                    <a:pt x="3" y="10"/>
                  </a:cubicBezTo>
                  <a:cubicBezTo>
                    <a:pt x="1" y="9"/>
                    <a:pt x="0" y="7"/>
                    <a:pt x="1" y="5"/>
                  </a:cubicBezTo>
                  <a:cubicBezTo>
                    <a:pt x="2" y="3"/>
                    <a:pt x="5" y="0"/>
                    <a:pt x="7" y="1"/>
                  </a:cubicBezTo>
                  <a:cubicBezTo>
                    <a:pt x="9" y="2"/>
                    <a:pt x="8" y="6"/>
                    <a:pt x="7" y="8"/>
                  </a:cubicBez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52" name="Freeform 50"/>
            <p:cNvSpPr>
              <a:spLocks/>
            </p:cNvSpPr>
            <p:nvPr/>
          </p:nvSpPr>
          <p:spPr bwMode="auto">
            <a:xfrm>
              <a:off x="4453765" y="5090719"/>
              <a:ext cx="26723" cy="23639"/>
            </a:xfrm>
            <a:custGeom>
              <a:avLst/>
              <a:gdLst>
                <a:gd name="T0" fmla="*/ 7 w 11"/>
                <a:gd name="T1" fmla="*/ 9 h 10"/>
                <a:gd name="T2" fmla="*/ 1 w 11"/>
                <a:gd name="T3" fmla="*/ 8 h 10"/>
                <a:gd name="T4" fmla="*/ 2 w 11"/>
                <a:gd name="T5" fmla="*/ 3 h 10"/>
                <a:gd name="T6" fmla="*/ 9 w 11"/>
                <a:gd name="T7" fmla="*/ 2 h 10"/>
                <a:gd name="T8" fmla="*/ 7 w 11"/>
                <a:gd name="T9" fmla="*/ 9 h 10"/>
              </a:gdLst>
              <a:ahLst/>
              <a:cxnLst>
                <a:cxn ang="0">
                  <a:pos x="T0" y="T1"/>
                </a:cxn>
                <a:cxn ang="0">
                  <a:pos x="T2" y="T3"/>
                </a:cxn>
                <a:cxn ang="0">
                  <a:pos x="T4" y="T5"/>
                </a:cxn>
                <a:cxn ang="0">
                  <a:pos x="T6" y="T7"/>
                </a:cxn>
                <a:cxn ang="0">
                  <a:pos x="T8" y="T9"/>
                </a:cxn>
              </a:cxnLst>
              <a:rect l="0" t="0" r="r" b="b"/>
              <a:pathLst>
                <a:path w="11" h="10">
                  <a:moveTo>
                    <a:pt x="7" y="9"/>
                  </a:moveTo>
                  <a:cubicBezTo>
                    <a:pt x="5" y="10"/>
                    <a:pt x="3" y="9"/>
                    <a:pt x="1" y="8"/>
                  </a:cubicBezTo>
                  <a:cubicBezTo>
                    <a:pt x="0" y="6"/>
                    <a:pt x="1" y="4"/>
                    <a:pt x="2" y="3"/>
                  </a:cubicBezTo>
                  <a:cubicBezTo>
                    <a:pt x="4" y="1"/>
                    <a:pt x="8" y="0"/>
                    <a:pt x="9" y="2"/>
                  </a:cubicBezTo>
                  <a:cubicBezTo>
                    <a:pt x="11" y="4"/>
                    <a:pt x="8" y="7"/>
                    <a:pt x="7" y="9"/>
                  </a:cubicBez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53" name="Freeform 51"/>
            <p:cNvSpPr>
              <a:spLocks/>
            </p:cNvSpPr>
            <p:nvPr/>
          </p:nvSpPr>
          <p:spPr bwMode="auto">
            <a:xfrm>
              <a:off x="4417791" y="5080441"/>
              <a:ext cx="23640" cy="22612"/>
            </a:xfrm>
            <a:custGeom>
              <a:avLst/>
              <a:gdLst>
                <a:gd name="T0" fmla="*/ 6 w 10"/>
                <a:gd name="T1" fmla="*/ 8 h 9"/>
                <a:gd name="T2" fmla="*/ 1 w 10"/>
                <a:gd name="T3" fmla="*/ 7 h 9"/>
                <a:gd name="T4" fmla="*/ 2 w 10"/>
                <a:gd name="T5" fmla="*/ 2 h 9"/>
                <a:gd name="T6" fmla="*/ 9 w 10"/>
                <a:gd name="T7" fmla="*/ 1 h 9"/>
                <a:gd name="T8" fmla="*/ 6 w 10"/>
                <a:gd name="T9" fmla="*/ 8 h 9"/>
              </a:gdLst>
              <a:ahLst/>
              <a:cxnLst>
                <a:cxn ang="0">
                  <a:pos x="T0" y="T1"/>
                </a:cxn>
                <a:cxn ang="0">
                  <a:pos x="T2" y="T3"/>
                </a:cxn>
                <a:cxn ang="0">
                  <a:pos x="T4" y="T5"/>
                </a:cxn>
                <a:cxn ang="0">
                  <a:pos x="T6" y="T7"/>
                </a:cxn>
                <a:cxn ang="0">
                  <a:pos x="T8" y="T9"/>
                </a:cxn>
              </a:cxnLst>
              <a:rect l="0" t="0" r="r" b="b"/>
              <a:pathLst>
                <a:path w="10" h="9">
                  <a:moveTo>
                    <a:pt x="6" y="8"/>
                  </a:moveTo>
                  <a:cubicBezTo>
                    <a:pt x="4" y="9"/>
                    <a:pt x="2" y="8"/>
                    <a:pt x="1" y="7"/>
                  </a:cubicBezTo>
                  <a:cubicBezTo>
                    <a:pt x="0" y="5"/>
                    <a:pt x="0" y="3"/>
                    <a:pt x="2" y="2"/>
                  </a:cubicBezTo>
                  <a:cubicBezTo>
                    <a:pt x="3" y="1"/>
                    <a:pt x="8" y="0"/>
                    <a:pt x="9" y="1"/>
                  </a:cubicBezTo>
                  <a:cubicBezTo>
                    <a:pt x="10" y="3"/>
                    <a:pt x="8" y="6"/>
                    <a:pt x="6" y="8"/>
                  </a:cubicBez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54" name="Freeform 52"/>
            <p:cNvSpPr>
              <a:spLocks/>
            </p:cNvSpPr>
            <p:nvPr/>
          </p:nvSpPr>
          <p:spPr bwMode="auto">
            <a:xfrm>
              <a:off x="4300621" y="5097914"/>
              <a:ext cx="24667" cy="24667"/>
            </a:xfrm>
            <a:custGeom>
              <a:avLst/>
              <a:gdLst>
                <a:gd name="T0" fmla="*/ 8 w 10"/>
                <a:gd name="T1" fmla="*/ 3 h 10"/>
                <a:gd name="T2" fmla="*/ 9 w 10"/>
                <a:gd name="T3" fmla="*/ 8 h 10"/>
                <a:gd name="T4" fmla="*/ 4 w 10"/>
                <a:gd name="T5" fmla="*/ 9 h 10"/>
                <a:gd name="T6" fmla="*/ 1 w 10"/>
                <a:gd name="T7" fmla="*/ 2 h 10"/>
                <a:gd name="T8" fmla="*/ 8 w 10"/>
                <a:gd name="T9" fmla="*/ 3 h 10"/>
              </a:gdLst>
              <a:ahLst/>
              <a:cxnLst>
                <a:cxn ang="0">
                  <a:pos x="T0" y="T1"/>
                </a:cxn>
                <a:cxn ang="0">
                  <a:pos x="T2" y="T3"/>
                </a:cxn>
                <a:cxn ang="0">
                  <a:pos x="T4" y="T5"/>
                </a:cxn>
                <a:cxn ang="0">
                  <a:pos x="T6" y="T7"/>
                </a:cxn>
                <a:cxn ang="0">
                  <a:pos x="T8" y="T9"/>
                </a:cxn>
              </a:cxnLst>
              <a:rect l="0" t="0" r="r" b="b"/>
              <a:pathLst>
                <a:path w="10" h="10">
                  <a:moveTo>
                    <a:pt x="8" y="3"/>
                  </a:moveTo>
                  <a:cubicBezTo>
                    <a:pt x="10" y="4"/>
                    <a:pt x="10" y="7"/>
                    <a:pt x="9" y="8"/>
                  </a:cubicBezTo>
                  <a:cubicBezTo>
                    <a:pt x="8" y="10"/>
                    <a:pt x="5" y="10"/>
                    <a:pt x="4" y="9"/>
                  </a:cubicBezTo>
                  <a:cubicBezTo>
                    <a:pt x="2" y="7"/>
                    <a:pt x="0" y="3"/>
                    <a:pt x="1" y="2"/>
                  </a:cubicBezTo>
                  <a:cubicBezTo>
                    <a:pt x="3" y="0"/>
                    <a:pt x="7" y="2"/>
                    <a:pt x="8" y="3"/>
                  </a:cubicBez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55" name="Freeform 53"/>
            <p:cNvSpPr>
              <a:spLocks/>
            </p:cNvSpPr>
            <p:nvPr/>
          </p:nvSpPr>
          <p:spPr bwMode="auto">
            <a:xfrm>
              <a:off x="4323233" y="5026996"/>
              <a:ext cx="18501" cy="26723"/>
            </a:xfrm>
            <a:custGeom>
              <a:avLst/>
              <a:gdLst>
                <a:gd name="T0" fmla="*/ 8 w 8"/>
                <a:gd name="T1" fmla="*/ 5 h 11"/>
                <a:gd name="T2" fmla="*/ 6 w 8"/>
                <a:gd name="T3" fmla="*/ 10 h 11"/>
                <a:gd name="T4" fmla="*/ 1 w 8"/>
                <a:gd name="T5" fmla="*/ 8 h 11"/>
                <a:gd name="T6" fmla="*/ 2 w 8"/>
                <a:gd name="T7" fmla="*/ 1 h 11"/>
                <a:gd name="T8" fmla="*/ 8 w 8"/>
                <a:gd name="T9" fmla="*/ 5 h 11"/>
              </a:gdLst>
              <a:ahLst/>
              <a:cxnLst>
                <a:cxn ang="0">
                  <a:pos x="T0" y="T1"/>
                </a:cxn>
                <a:cxn ang="0">
                  <a:pos x="T2" y="T3"/>
                </a:cxn>
                <a:cxn ang="0">
                  <a:pos x="T4" y="T5"/>
                </a:cxn>
                <a:cxn ang="0">
                  <a:pos x="T6" y="T7"/>
                </a:cxn>
                <a:cxn ang="0">
                  <a:pos x="T8" y="T9"/>
                </a:cxn>
              </a:cxnLst>
              <a:rect l="0" t="0" r="r" b="b"/>
              <a:pathLst>
                <a:path w="8" h="11">
                  <a:moveTo>
                    <a:pt x="8" y="5"/>
                  </a:moveTo>
                  <a:cubicBezTo>
                    <a:pt x="8" y="7"/>
                    <a:pt x="8" y="9"/>
                    <a:pt x="6" y="10"/>
                  </a:cubicBezTo>
                  <a:cubicBezTo>
                    <a:pt x="4" y="11"/>
                    <a:pt x="2" y="10"/>
                    <a:pt x="1" y="8"/>
                  </a:cubicBezTo>
                  <a:cubicBezTo>
                    <a:pt x="0" y="6"/>
                    <a:pt x="0" y="2"/>
                    <a:pt x="2" y="1"/>
                  </a:cubicBezTo>
                  <a:cubicBezTo>
                    <a:pt x="4" y="0"/>
                    <a:pt x="7" y="3"/>
                    <a:pt x="8" y="5"/>
                  </a:cubicBez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56" name="Freeform 54"/>
            <p:cNvSpPr>
              <a:spLocks/>
            </p:cNvSpPr>
            <p:nvPr/>
          </p:nvSpPr>
          <p:spPr bwMode="auto">
            <a:xfrm>
              <a:off x="4250258" y="5110247"/>
              <a:ext cx="23640" cy="21584"/>
            </a:xfrm>
            <a:custGeom>
              <a:avLst/>
              <a:gdLst>
                <a:gd name="T0" fmla="*/ 8 w 10"/>
                <a:gd name="T1" fmla="*/ 2 h 9"/>
                <a:gd name="T2" fmla="*/ 9 w 10"/>
                <a:gd name="T3" fmla="*/ 7 h 9"/>
                <a:gd name="T4" fmla="*/ 4 w 10"/>
                <a:gd name="T5" fmla="*/ 8 h 9"/>
                <a:gd name="T6" fmla="*/ 1 w 10"/>
                <a:gd name="T7" fmla="*/ 1 h 9"/>
                <a:gd name="T8" fmla="*/ 8 w 10"/>
                <a:gd name="T9" fmla="*/ 2 h 9"/>
              </a:gdLst>
              <a:ahLst/>
              <a:cxnLst>
                <a:cxn ang="0">
                  <a:pos x="T0" y="T1"/>
                </a:cxn>
                <a:cxn ang="0">
                  <a:pos x="T2" y="T3"/>
                </a:cxn>
                <a:cxn ang="0">
                  <a:pos x="T4" y="T5"/>
                </a:cxn>
                <a:cxn ang="0">
                  <a:pos x="T6" y="T7"/>
                </a:cxn>
                <a:cxn ang="0">
                  <a:pos x="T8" y="T9"/>
                </a:cxn>
              </a:cxnLst>
              <a:rect l="0" t="0" r="r" b="b"/>
              <a:pathLst>
                <a:path w="10" h="9">
                  <a:moveTo>
                    <a:pt x="8" y="2"/>
                  </a:moveTo>
                  <a:cubicBezTo>
                    <a:pt x="10" y="3"/>
                    <a:pt x="10" y="5"/>
                    <a:pt x="9" y="7"/>
                  </a:cubicBezTo>
                  <a:cubicBezTo>
                    <a:pt x="8" y="8"/>
                    <a:pt x="6" y="9"/>
                    <a:pt x="4" y="8"/>
                  </a:cubicBezTo>
                  <a:cubicBezTo>
                    <a:pt x="2" y="7"/>
                    <a:pt x="0" y="3"/>
                    <a:pt x="1" y="1"/>
                  </a:cubicBezTo>
                  <a:cubicBezTo>
                    <a:pt x="2" y="0"/>
                    <a:pt x="6" y="1"/>
                    <a:pt x="8" y="2"/>
                  </a:cubicBez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57" name="Freeform 55"/>
            <p:cNvSpPr>
              <a:spLocks/>
            </p:cNvSpPr>
            <p:nvPr/>
          </p:nvSpPr>
          <p:spPr bwMode="auto">
            <a:xfrm>
              <a:off x="4396207" y="5105108"/>
              <a:ext cx="21584" cy="26723"/>
            </a:xfrm>
            <a:custGeom>
              <a:avLst/>
              <a:gdLst>
                <a:gd name="T0" fmla="*/ 7 w 9"/>
                <a:gd name="T1" fmla="*/ 9 h 11"/>
                <a:gd name="T2" fmla="*/ 2 w 9"/>
                <a:gd name="T3" fmla="*/ 9 h 11"/>
                <a:gd name="T4" fmla="*/ 1 w 9"/>
                <a:gd name="T5" fmla="*/ 4 h 11"/>
                <a:gd name="T6" fmla="*/ 7 w 9"/>
                <a:gd name="T7" fmla="*/ 1 h 11"/>
                <a:gd name="T8" fmla="*/ 7 w 9"/>
                <a:gd name="T9" fmla="*/ 9 h 11"/>
              </a:gdLst>
              <a:ahLst/>
              <a:cxnLst>
                <a:cxn ang="0">
                  <a:pos x="T0" y="T1"/>
                </a:cxn>
                <a:cxn ang="0">
                  <a:pos x="T2" y="T3"/>
                </a:cxn>
                <a:cxn ang="0">
                  <a:pos x="T4" y="T5"/>
                </a:cxn>
                <a:cxn ang="0">
                  <a:pos x="T6" y="T7"/>
                </a:cxn>
                <a:cxn ang="0">
                  <a:pos x="T8" y="T9"/>
                </a:cxn>
              </a:cxnLst>
              <a:rect l="0" t="0" r="r" b="b"/>
              <a:pathLst>
                <a:path w="9" h="11">
                  <a:moveTo>
                    <a:pt x="7" y="9"/>
                  </a:moveTo>
                  <a:cubicBezTo>
                    <a:pt x="5" y="10"/>
                    <a:pt x="3" y="11"/>
                    <a:pt x="2" y="9"/>
                  </a:cubicBezTo>
                  <a:cubicBezTo>
                    <a:pt x="0" y="8"/>
                    <a:pt x="0" y="6"/>
                    <a:pt x="1" y="4"/>
                  </a:cubicBezTo>
                  <a:cubicBezTo>
                    <a:pt x="2" y="3"/>
                    <a:pt x="6" y="0"/>
                    <a:pt x="7" y="1"/>
                  </a:cubicBezTo>
                  <a:cubicBezTo>
                    <a:pt x="9" y="3"/>
                    <a:pt x="8" y="7"/>
                    <a:pt x="7" y="9"/>
                  </a:cubicBez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58" name="Freeform 56"/>
            <p:cNvSpPr>
              <a:spLocks/>
            </p:cNvSpPr>
            <p:nvPr/>
          </p:nvSpPr>
          <p:spPr bwMode="auto">
            <a:xfrm>
              <a:off x="4227647" y="5136970"/>
              <a:ext cx="270314" cy="252838"/>
            </a:xfrm>
            <a:custGeom>
              <a:avLst/>
              <a:gdLst>
                <a:gd name="T0" fmla="*/ 263 w 263"/>
                <a:gd name="T1" fmla="*/ 0 h 246"/>
                <a:gd name="T2" fmla="*/ 0 w 263"/>
                <a:gd name="T3" fmla="*/ 0 h 246"/>
                <a:gd name="T4" fmla="*/ 0 w 263"/>
                <a:gd name="T5" fmla="*/ 30 h 246"/>
                <a:gd name="T6" fmla="*/ 17 w 263"/>
                <a:gd name="T7" fmla="*/ 30 h 246"/>
                <a:gd name="T8" fmla="*/ 33 w 263"/>
                <a:gd name="T9" fmla="*/ 246 h 246"/>
                <a:gd name="T10" fmla="*/ 234 w 263"/>
                <a:gd name="T11" fmla="*/ 246 h 246"/>
                <a:gd name="T12" fmla="*/ 251 w 263"/>
                <a:gd name="T13" fmla="*/ 30 h 246"/>
                <a:gd name="T14" fmla="*/ 263 w 263"/>
                <a:gd name="T15" fmla="*/ 30 h 246"/>
                <a:gd name="T16" fmla="*/ 263 w 263"/>
                <a:gd name="T17"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 h="246">
                  <a:moveTo>
                    <a:pt x="263" y="0"/>
                  </a:moveTo>
                  <a:lnTo>
                    <a:pt x="0" y="0"/>
                  </a:lnTo>
                  <a:lnTo>
                    <a:pt x="0" y="30"/>
                  </a:lnTo>
                  <a:lnTo>
                    <a:pt x="17" y="30"/>
                  </a:lnTo>
                  <a:lnTo>
                    <a:pt x="33" y="246"/>
                  </a:lnTo>
                  <a:lnTo>
                    <a:pt x="234" y="246"/>
                  </a:lnTo>
                  <a:lnTo>
                    <a:pt x="251" y="30"/>
                  </a:lnTo>
                  <a:lnTo>
                    <a:pt x="263" y="30"/>
                  </a:lnTo>
                  <a:lnTo>
                    <a:pt x="263" y="0"/>
                  </a:ln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59" name="Freeform 57"/>
            <p:cNvSpPr>
              <a:spLocks/>
            </p:cNvSpPr>
            <p:nvPr/>
          </p:nvSpPr>
          <p:spPr bwMode="auto">
            <a:xfrm>
              <a:off x="8037734" y="5206860"/>
              <a:ext cx="542683" cy="182948"/>
            </a:xfrm>
            <a:custGeom>
              <a:avLst/>
              <a:gdLst>
                <a:gd name="T0" fmla="*/ 186 w 223"/>
                <a:gd name="T1" fmla="*/ 0 h 75"/>
                <a:gd name="T2" fmla="*/ 2 w 223"/>
                <a:gd name="T3" fmla="*/ 0 h 75"/>
                <a:gd name="T4" fmla="*/ 0 w 223"/>
                <a:gd name="T5" fmla="*/ 0 h 75"/>
                <a:gd name="T6" fmla="*/ 0 w 223"/>
                <a:gd name="T7" fmla="*/ 10 h 75"/>
                <a:gd name="T8" fmla="*/ 22 w 223"/>
                <a:gd name="T9" fmla="*/ 38 h 75"/>
                <a:gd name="T10" fmla="*/ 0 w 223"/>
                <a:gd name="T11" fmla="*/ 66 h 75"/>
                <a:gd name="T12" fmla="*/ 0 w 223"/>
                <a:gd name="T13" fmla="*/ 75 h 75"/>
                <a:gd name="T14" fmla="*/ 2 w 223"/>
                <a:gd name="T15" fmla="*/ 75 h 75"/>
                <a:gd name="T16" fmla="*/ 186 w 223"/>
                <a:gd name="T17" fmla="*/ 75 h 75"/>
                <a:gd name="T18" fmla="*/ 223 w 223"/>
                <a:gd name="T19" fmla="*/ 38 h 75"/>
                <a:gd name="T20" fmla="*/ 186 w 223"/>
                <a:gd name="T21"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3" h="75">
                  <a:moveTo>
                    <a:pt x="186" y="0"/>
                  </a:moveTo>
                  <a:cubicBezTo>
                    <a:pt x="2" y="0"/>
                    <a:pt x="2" y="0"/>
                    <a:pt x="2" y="0"/>
                  </a:cubicBezTo>
                  <a:cubicBezTo>
                    <a:pt x="1" y="0"/>
                    <a:pt x="0" y="0"/>
                    <a:pt x="0" y="0"/>
                  </a:cubicBezTo>
                  <a:cubicBezTo>
                    <a:pt x="0" y="10"/>
                    <a:pt x="0" y="10"/>
                    <a:pt x="0" y="10"/>
                  </a:cubicBezTo>
                  <a:cubicBezTo>
                    <a:pt x="29" y="10"/>
                    <a:pt x="22" y="24"/>
                    <a:pt x="22" y="38"/>
                  </a:cubicBezTo>
                  <a:cubicBezTo>
                    <a:pt x="22" y="52"/>
                    <a:pt x="28" y="67"/>
                    <a:pt x="0" y="66"/>
                  </a:cubicBezTo>
                  <a:cubicBezTo>
                    <a:pt x="0" y="75"/>
                    <a:pt x="0" y="75"/>
                    <a:pt x="0" y="75"/>
                  </a:cubicBezTo>
                  <a:cubicBezTo>
                    <a:pt x="0" y="75"/>
                    <a:pt x="1" y="75"/>
                    <a:pt x="2" y="75"/>
                  </a:cubicBezTo>
                  <a:cubicBezTo>
                    <a:pt x="186" y="75"/>
                    <a:pt x="186" y="75"/>
                    <a:pt x="186" y="75"/>
                  </a:cubicBezTo>
                  <a:cubicBezTo>
                    <a:pt x="207" y="75"/>
                    <a:pt x="223" y="59"/>
                    <a:pt x="223" y="38"/>
                  </a:cubicBezTo>
                  <a:cubicBezTo>
                    <a:pt x="223" y="17"/>
                    <a:pt x="207" y="0"/>
                    <a:pt x="186" y="0"/>
                  </a:cubicBezTo>
                  <a:close/>
                </a:path>
              </a:pathLst>
            </a:custGeom>
            <a:solidFill>
              <a:schemeClr val="accent5">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60" name="Freeform 58"/>
            <p:cNvSpPr>
              <a:spLocks/>
            </p:cNvSpPr>
            <p:nvPr/>
          </p:nvSpPr>
          <p:spPr bwMode="auto">
            <a:xfrm>
              <a:off x="8028484" y="5229472"/>
              <a:ext cx="532405" cy="140808"/>
            </a:xfrm>
            <a:custGeom>
              <a:avLst/>
              <a:gdLst>
                <a:gd name="T0" fmla="*/ 16 w 219"/>
                <a:gd name="T1" fmla="*/ 58 h 58"/>
                <a:gd name="T2" fmla="*/ 16 w 219"/>
                <a:gd name="T3" fmla="*/ 0 h 58"/>
                <a:gd name="T4" fmla="*/ 190 w 219"/>
                <a:gd name="T5" fmla="*/ 0 h 58"/>
                <a:gd name="T6" fmla="*/ 219 w 219"/>
                <a:gd name="T7" fmla="*/ 29 h 58"/>
                <a:gd name="T8" fmla="*/ 190 w 219"/>
                <a:gd name="T9" fmla="*/ 58 h 58"/>
                <a:gd name="T10" fmla="*/ 16 w 219"/>
                <a:gd name="T11" fmla="*/ 58 h 58"/>
              </a:gdLst>
              <a:ahLst/>
              <a:cxnLst>
                <a:cxn ang="0">
                  <a:pos x="T0" y="T1"/>
                </a:cxn>
                <a:cxn ang="0">
                  <a:pos x="T2" y="T3"/>
                </a:cxn>
                <a:cxn ang="0">
                  <a:pos x="T4" y="T5"/>
                </a:cxn>
                <a:cxn ang="0">
                  <a:pos x="T6" y="T7"/>
                </a:cxn>
                <a:cxn ang="0">
                  <a:pos x="T8" y="T9"/>
                </a:cxn>
                <a:cxn ang="0">
                  <a:pos x="T10" y="T11"/>
                </a:cxn>
              </a:cxnLst>
              <a:rect l="0" t="0" r="r" b="b"/>
              <a:pathLst>
                <a:path w="219" h="58">
                  <a:moveTo>
                    <a:pt x="16" y="58"/>
                  </a:moveTo>
                  <a:cubicBezTo>
                    <a:pt x="0" y="58"/>
                    <a:pt x="0" y="0"/>
                    <a:pt x="16" y="0"/>
                  </a:cubicBezTo>
                  <a:cubicBezTo>
                    <a:pt x="190" y="0"/>
                    <a:pt x="190" y="0"/>
                    <a:pt x="190" y="0"/>
                  </a:cubicBezTo>
                  <a:cubicBezTo>
                    <a:pt x="206" y="0"/>
                    <a:pt x="219" y="13"/>
                    <a:pt x="219" y="29"/>
                  </a:cubicBezTo>
                  <a:cubicBezTo>
                    <a:pt x="219" y="45"/>
                    <a:pt x="206" y="58"/>
                    <a:pt x="190" y="58"/>
                  </a:cubicBezTo>
                  <a:lnTo>
                    <a:pt x="16" y="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61" name="Rectangle 59"/>
            <p:cNvSpPr>
              <a:spLocks noChangeArrowheads="1"/>
            </p:cNvSpPr>
            <p:nvPr/>
          </p:nvSpPr>
          <p:spPr bwMode="auto">
            <a:xfrm>
              <a:off x="8044929" y="5263389"/>
              <a:ext cx="473820" cy="9250"/>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62" name="Freeform 60"/>
            <p:cNvSpPr>
              <a:spLocks/>
            </p:cNvSpPr>
            <p:nvPr/>
          </p:nvSpPr>
          <p:spPr bwMode="auto">
            <a:xfrm>
              <a:off x="8044929" y="5263389"/>
              <a:ext cx="473820" cy="9250"/>
            </a:xfrm>
            <a:custGeom>
              <a:avLst/>
              <a:gdLst>
                <a:gd name="T0" fmla="*/ 0 w 461"/>
                <a:gd name="T1" fmla="*/ 9 h 9"/>
                <a:gd name="T2" fmla="*/ 461 w 461"/>
                <a:gd name="T3" fmla="*/ 9 h 9"/>
                <a:gd name="T4" fmla="*/ 461 w 461"/>
                <a:gd name="T5" fmla="*/ 0 h 9"/>
                <a:gd name="T6" fmla="*/ 0 w 461"/>
                <a:gd name="T7" fmla="*/ 0 h 9"/>
              </a:gdLst>
              <a:ahLst/>
              <a:cxnLst>
                <a:cxn ang="0">
                  <a:pos x="T0" y="T1"/>
                </a:cxn>
                <a:cxn ang="0">
                  <a:pos x="T2" y="T3"/>
                </a:cxn>
                <a:cxn ang="0">
                  <a:pos x="T4" y="T5"/>
                </a:cxn>
                <a:cxn ang="0">
                  <a:pos x="T6" y="T7"/>
                </a:cxn>
              </a:cxnLst>
              <a:rect l="0" t="0" r="r" b="b"/>
              <a:pathLst>
                <a:path w="461" h="9">
                  <a:moveTo>
                    <a:pt x="0" y="9"/>
                  </a:moveTo>
                  <a:lnTo>
                    <a:pt x="461" y="9"/>
                  </a:lnTo>
                  <a:lnTo>
                    <a:pt x="46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63" name="Rectangle 61"/>
            <p:cNvSpPr>
              <a:spLocks noChangeArrowheads="1"/>
            </p:cNvSpPr>
            <p:nvPr/>
          </p:nvSpPr>
          <p:spPr bwMode="auto">
            <a:xfrm>
              <a:off x="8044929" y="5297306"/>
              <a:ext cx="473820" cy="9250"/>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64" name="Freeform 62"/>
            <p:cNvSpPr>
              <a:spLocks/>
            </p:cNvSpPr>
            <p:nvPr/>
          </p:nvSpPr>
          <p:spPr bwMode="auto">
            <a:xfrm>
              <a:off x="8044929" y="5297306"/>
              <a:ext cx="473820" cy="9250"/>
            </a:xfrm>
            <a:custGeom>
              <a:avLst/>
              <a:gdLst>
                <a:gd name="T0" fmla="*/ 0 w 461"/>
                <a:gd name="T1" fmla="*/ 9 h 9"/>
                <a:gd name="T2" fmla="*/ 461 w 461"/>
                <a:gd name="T3" fmla="*/ 9 h 9"/>
                <a:gd name="T4" fmla="*/ 461 w 461"/>
                <a:gd name="T5" fmla="*/ 0 h 9"/>
                <a:gd name="T6" fmla="*/ 0 w 461"/>
                <a:gd name="T7" fmla="*/ 0 h 9"/>
              </a:gdLst>
              <a:ahLst/>
              <a:cxnLst>
                <a:cxn ang="0">
                  <a:pos x="T0" y="T1"/>
                </a:cxn>
                <a:cxn ang="0">
                  <a:pos x="T2" y="T3"/>
                </a:cxn>
                <a:cxn ang="0">
                  <a:pos x="T4" y="T5"/>
                </a:cxn>
                <a:cxn ang="0">
                  <a:pos x="T6" y="T7"/>
                </a:cxn>
              </a:cxnLst>
              <a:rect l="0" t="0" r="r" b="b"/>
              <a:pathLst>
                <a:path w="461" h="9">
                  <a:moveTo>
                    <a:pt x="0" y="9"/>
                  </a:moveTo>
                  <a:lnTo>
                    <a:pt x="461" y="9"/>
                  </a:lnTo>
                  <a:lnTo>
                    <a:pt x="46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65" name="Rectangle 63"/>
            <p:cNvSpPr>
              <a:spLocks noChangeArrowheads="1"/>
            </p:cNvSpPr>
            <p:nvPr/>
          </p:nvSpPr>
          <p:spPr bwMode="auto">
            <a:xfrm>
              <a:off x="8044929" y="5331223"/>
              <a:ext cx="473820" cy="9250"/>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66" name="Freeform 64"/>
            <p:cNvSpPr>
              <a:spLocks/>
            </p:cNvSpPr>
            <p:nvPr/>
          </p:nvSpPr>
          <p:spPr bwMode="auto">
            <a:xfrm>
              <a:off x="8044929" y="5331223"/>
              <a:ext cx="473820" cy="9250"/>
            </a:xfrm>
            <a:custGeom>
              <a:avLst/>
              <a:gdLst>
                <a:gd name="T0" fmla="*/ 0 w 461"/>
                <a:gd name="T1" fmla="*/ 9 h 9"/>
                <a:gd name="T2" fmla="*/ 461 w 461"/>
                <a:gd name="T3" fmla="*/ 9 h 9"/>
                <a:gd name="T4" fmla="*/ 461 w 461"/>
                <a:gd name="T5" fmla="*/ 0 h 9"/>
                <a:gd name="T6" fmla="*/ 0 w 461"/>
                <a:gd name="T7" fmla="*/ 0 h 9"/>
              </a:gdLst>
              <a:ahLst/>
              <a:cxnLst>
                <a:cxn ang="0">
                  <a:pos x="T0" y="T1"/>
                </a:cxn>
                <a:cxn ang="0">
                  <a:pos x="T2" y="T3"/>
                </a:cxn>
                <a:cxn ang="0">
                  <a:pos x="T4" y="T5"/>
                </a:cxn>
                <a:cxn ang="0">
                  <a:pos x="T6" y="T7"/>
                </a:cxn>
              </a:cxnLst>
              <a:rect l="0" t="0" r="r" b="b"/>
              <a:pathLst>
                <a:path w="461" h="9">
                  <a:moveTo>
                    <a:pt x="0" y="9"/>
                  </a:moveTo>
                  <a:lnTo>
                    <a:pt x="461" y="9"/>
                  </a:lnTo>
                  <a:lnTo>
                    <a:pt x="46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67" name="Freeform 65"/>
            <p:cNvSpPr>
              <a:spLocks/>
            </p:cNvSpPr>
            <p:nvPr/>
          </p:nvSpPr>
          <p:spPr bwMode="auto">
            <a:xfrm>
              <a:off x="8037734" y="5024940"/>
              <a:ext cx="542683" cy="181920"/>
            </a:xfrm>
            <a:custGeom>
              <a:avLst/>
              <a:gdLst>
                <a:gd name="T0" fmla="*/ 186 w 223"/>
                <a:gd name="T1" fmla="*/ 0 h 75"/>
                <a:gd name="T2" fmla="*/ 2 w 223"/>
                <a:gd name="T3" fmla="*/ 0 h 75"/>
                <a:gd name="T4" fmla="*/ 0 w 223"/>
                <a:gd name="T5" fmla="*/ 0 h 75"/>
                <a:gd name="T6" fmla="*/ 0 w 223"/>
                <a:gd name="T7" fmla="*/ 10 h 75"/>
                <a:gd name="T8" fmla="*/ 22 w 223"/>
                <a:gd name="T9" fmla="*/ 38 h 75"/>
                <a:gd name="T10" fmla="*/ 0 w 223"/>
                <a:gd name="T11" fmla="*/ 66 h 75"/>
                <a:gd name="T12" fmla="*/ 0 w 223"/>
                <a:gd name="T13" fmla="*/ 75 h 75"/>
                <a:gd name="T14" fmla="*/ 2 w 223"/>
                <a:gd name="T15" fmla="*/ 75 h 75"/>
                <a:gd name="T16" fmla="*/ 186 w 223"/>
                <a:gd name="T17" fmla="*/ 75 h 75"/>
                <a:gd name="T18" fmla="*/ 223 w 223"/>
                <a:gd name="T19" fmla="*/ 38 h 75"/>
                <a:gd name="T20" fmla="*/ 186 w 223"/>
                <a:gd name="T21"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3" h="75">
                  <a:moveTo>
                    <a:pt x="186" y="0"/>
                  </a:moveTo>
                  <a:cubicBezTo>
                    <a:pt x="2" y="0"/>
                    <a:pt x="2" y="0"/>
                    <a:pt x="2" y="0"/>
                  </a:cubicBezTo>
                  <a:cubicBezTo>
                    <a:pt x="1" y="0"/>
                    <a:pt x="0" y="0"/>
                    <a:pt x="0" y="0"/>
                  </a:cubicBezTo>
                  <a:cubicBezTo>
                    <a:pt x="0" y="10"/>
                    <a:pt x="0" y="10"/>
                    <a:pt x="0" y="10"/>
                  </a:cubicBezTo>
                  <a:cubicBezTo>
                    <a:pt x="29" y="10"/>
                    <a:pt x="22" y="24"/>
                    <a:pt x="22" y="38"/>
                  </a:cubicBezTo>
                  <a:cubicBezTo>
                    <a:pt x="22" y="52"/>
                    <a:pt x="28" y="67"/>
                    <a:pt x="0" y="66"/>
                  </a:cubicBezTo>
                  <a:cubicBezTo>
                    <a:pt x="0" y="75"/>
                    <a:pt x="0" y="75"/>
                    <a:pt x="0" y="75"/>
                  </a:cubicBezTo>
                  <a:cubicBezTo>
                    <a:pt x="0" y="75"/>
                    <a:pt x="1" y="75"/>
                    <a:pt x="2" y="75"/>
                  </a:cubicBezTo>
                  <a:cubicBezTo>
                    <a:pt x="186" y="75"/>
                    <a:pt x="186" y="75"/>
                    <a:pt x="186" y="75"/>
                  </a:cubicBezTo>
                  <a:cubicBezTo>
                    <a:pt x="207" y="75"/>
                    <a:pt x="223" y="59"/>
                    <a:pt x="223" y="38"/>
                  </a:cubicBezTo>
                  <a:cubicBezTo>
                    <a:pt x="223" y="17"/>
                    <a:pt x="207" y="0"/>
                    <a:pt x="186"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68" name="Freeform 66"/>
            <p:cNvSpPr>
              <a:spLocks/>
            </p:cNvSpPr>
            <p:nvPr/>
          </p:nvSpPr>
          <p:spPr bwMode="auto">
            <a:xfrm>
              <a:off x="8028484" y="5046524"/>
              <a:ext cx="532405" cy="140808"/>
            </a:xfrm>
            <a:custGeom>
              <a:avLst/>
              <a:gdLst>
                <a:gd name="T0" fmla="*/ 16 w 219"/>
                <a:gd name="T1" fmla="*/ 58 h 58"/>
                <a:gd name="T2" fmla="*/ 16 w 219"/>
                <a:gd name="T3" fmla="*/ 0 h 58"/>
                <a:gd name="T4" fmla="*/ 190 w 219"/>
                <a:gd name="T5" fmla="*/ 0 h 58"/>
                <a:gd name="T6" fmla="*/ 219 w 219"/>
                <a:gd name="T7" fmla="*/ 29 h 58"/>
                <a:gd name="T8" fmla="*/ 190 w 219"/>
                <a:gd name="T9" fmla="*/ 58 h 58"/>
                <a:gd name="T10" fmla="*/ 16 w 219"/>
                <a:gd name="T11" fmla="*/ 58 h 58"/>
              </a:gdLst>
              <a:ahLst/>
              <a:cxnLst>
                <a:cxn ang="0">
                  <a:pos x="T0" y="T1"/>
                </a:cxn>
                <a:cxn ang="0">
                  <a:pos x="T2" y="T3"/>
                </a:cxn>
                <a:cxn ang="0">
                  <a:pos x="T4" y="T5"/>
                </a:cxn>
                <a:cxn ang="0">
                  <a:pos x="T6" y="T7"/>
                </a:cxn>
                <a:cxn ang="0">
                  <a:pos x="T8" y="T9"/>
                </a:cxn>
                <a:cxn ang="0">
                  <a:pos x="T10" y="T11"/>
                </a:cxn>
              </a:cxnLst>
              <a:rect l="0" t="0" r="r" b="b"/>
              <a:pathLst>
                <a:path w="219" h="58">
                  <a:moveTo>
                    <a:pt x="16" y="58"/>
                  </a:moveTo>
                  <a:cubicBezTo>
                    <a:pt x="0" y="58"/>
                    <a:pt x="0" y="0"/>
                    <a:pt x="16" y="0"/>
                  </a:cubicBezTo>
                  <a:cubicBezTo>
                    <a:pt x="190" y="0"/>
                    <a:pt x="190" y="0"/>
                    <a:pt x="190" y="0"/>
                  </a:cubicBezTo>
                  <a:cubicBezTo>
                    <a:pt x="206" y="0"/>
                    <a:pt x="219" y="13"/>
                    <a:pt x="219" y="29"/>
                  </a:cubicBezTo>
                  <a:cubicBezTo>
                    <a:pt x="219" y="45"/>
                    <a:pt x="206" y="58"/>
                    <a:pt x="190" y="58"/>
                  </a:cubicBezTo>
                  <a:lnTo>
                    <a:pt x="16" y="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69" name="Rectangle 67"/>
            <p:cNvSpPr>
              <a:spLocks noChangeArrowheads="1"/>
            </p:cNvSpPr>
            <p:nvPr/>
          </p:nvSpPr>
          <p:spPr bwMode="auto">
            <a:xfrm>
              <a:off x="8044929" y="5080441"/>
              <a:ext cx="473820" cy="10278"/>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70" name="Freeform 68"/>
            <p:cNvSpPr>
              <a:spLocks/>
            </p:cNvSpPr>
            <p:nvPr/>
          </p:nvSpPr>
          <p:spPr bwMode="auto">
            <a:xfrm>
              <a:off x="8044929" y="5080441"/>
              <a:ext cx="473820" cy="10278"/>
            </a:xfrm>
            <a:custGeom>
              <a:avLst/>
              <a:gdLst>
                <a:gd name="T0" fmla="*/ 0 w 461"/>
                <a:gd name="T1" fmla="*/ 10 h 10"/>
                <a:gd name="T2" fmla="*/ 461 w 461"/>
                <a:gd name="T3" fmla="*/ 10 h 10"/>
                <a:gd name="T4" fmla="*/ 461 w 461"/>
                <a:gd name="T5" fmla="*/ 0 h 10"/>
                <a:gd name="T6" fmla="*/ 0 w 461"/>
                <a:gd name="T7" fmla="*/ 0 h 10"/>
              </a:gdLst>
              <a:ahLst/>
              <a:cxnLst>
                <a:cxn ang="0">
                  <a:pos x="T0" y="T1"/>
                </a:cxn>
                <a:cxn ang="0">
                  <a:pos x="T2" y="T3"/>
                </a:cxn>
                <a:cxn ang="0">
                  <a:pos x="T4" y="T5"/>
                </a:cxn>
                <a:cxn ang="0">
                  <a:pos x="T6" y="T7"/>
                </a:cxn>
              </a:cxnLst>
              <a:rect l="0" t="0" r="r" b="b"/>
              <a:pathLst>
                <a:path w="461" h="10">
                  <a:moveTo>
                    <a:pt x="0" y="10"/>
                  </a:moveTo>
                  <a:lnTo>
                    <a:pt x="461" y="10"/>
                  </a:lnTo>
                  <a:lnTo>
                    <a:pt x="46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71" name="Rectangle 69"/>
            <p:cNvSpPr>
              <a:spLocks noChangeArrowheads="1"/>
            </p:cNvSpPr>
            <p:nvPr/>
          </p:nvSpPr>
          <p:spPr bwMode="auto">
            <a:xfrm>
              <a:off x="8044929" y="5114358"/>
              <a:ext cx="473820" cy="10278"/>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72" name="Freeform 70"/>
            <p:cNvSpPr>
              <a:spLocks/>
            </p:cNvSpPr>
            <p:nvPr/>
          </p:nvSpPr>
          <p:spPr bwMode="auto">
            <a:xfrm>
              <a:off x="8044929" y="5114358"/>
              <a:ext cx="473820" cy="10278"/>
            </a:xfrm>
            <a:custGeom>
              <a:avLst/>
              <a:gdLst>
                <a:gd name="T0" fmla="*/ 0 w 461"/>
                <a:gd name="T1" fmla="*/ 10 h 10"/>
                <a:gd name="T2" fmla="*/ 461 w 461"/>
                <a:gd name="T3" fmla="*/ 10 h 10"/>
                <a:gd name="T4" fmla="*/ 461 w 461"/>
                <a:gd name="T5" fmla="*/ 0 h 10"/>
                <a:gd name="T6" fmla="*/ 0 w 461"/>
                <a:gd name="T7" fmla="*/ 0 h 10"/>
              </a:gdLst>
              <a:ahLst/>
              <a:cxnLst>
                <a:cxn ang="0">
                  <a:pos x="T0" y="T1"/>
                </a:cxn>
                <a:cxn ang="0">
                  <a:pos x="T2" y="T3"/>
                </a:cxn>
                <a:cxn ang="0">
                  <a:pos x="T4" y="T5"/>
                </a:cxn>
                <a:cxn ang="0">
                  <a:pos x="T6" y="T7"/>
                </a:cxn>
              </a:cxnLst>
              <a:rect l="0" t="0" r="r" b="b"/>
              <a:pathLst>
                <a:path w="461" h="10">
                  <a:moveTo>
                    <a:pt x="0" y="10"/>
                  </a:moveTo>
                  <a:lnTo>
                    <a:pt x="461" y="10"/>
                  </a:lnTo>
                  <a:lnTo>
                    <a:pt x="46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73" name="Rectangle 71"/>
            <p:cNvSpPr>
              <a:spLocks noChangeArrowheads="1"/>
            </p:cNvSpPr>
            <p:nvPr/>
          </p:nvSpPr>
          <p:spPr bwMode="auto">
            <a:xfrm>
              <a:off x="8044929" y="5149303"/>
              <a:ext cx="473820" cy="9250"/>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74" name="Freeform 72"/>
            <p:cNvSpPr>
              <a:spLocks/>
            </p:cNvSpPr>
            <p:nvPr/>
          </p:nvSpPr>
          <p:spPr bwMode="auto">
            <a:xfrm>
              <a:off x="8044929" y="5149303"/>
              <a:ext cx="473820" cy="9250"/>
            </a:xfrm>
            <a:custGeom>
              <a:avLst/>
              <a:gdLst>
                <a:gd name="T0" fmla="*/ 0 w 461"/>
                <a:gd name="T1" fmla="*/ 9 h 9"/>
                <a:gd name="T2" fmla="*/ 461 w 461"/>
                <a:gd name="T3" fmla="*/ 9 h 9"/>
                <a:gd name="T4" fmla="*/ 461 w 461"/>
                <a:gd name="T5" fmla="*/ 0 h 9"/>
                <a:gd name="T6" fmla="*/ 0 w 461"/>
                <a:gd name="T7" fmla="*/ 0 h 9"/>
              </a:gdLst>
              <a:ahLst/>
              <a:cxnLst>
                <a:cxn ang="0">
                  <a:pos x="T0" y="T1"/>
                </a:cxn>
                <a:cxn ang="0">
                  <a:pos x="T2" y="T3"/>
                </a:cxn>
                <a:cxn ang="0">
                  <a:pos x="T4" y="T5"/>
                </a:cxn>
                <a:cxn ang="0">
                  <a:pos x="T6" y="T7"/>
                </a:cxn>
              </a:cxnLst>
              <a:rect l="0" t="0" r="r" b="b"/>
              <a:pathLst>
                <a:path w="461" h="9">
                  <a:moveTo>
                    <a:pt x="0" y="9"/>
                  </a:moveTo>
                  <a:lnTo>
                    <a:pt x="461" y="9"/>
                  </a:lnTo>
                  <a:lnTo>
                    <a:pt x="46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75" name="Freeform 73"/>
            <p:cNvSpPr>
              <a:spLocks/>
            </p:cNvSpPr>
            <p:nvPr/>
          </p:nvSpPr>
          <p:spPr bwMode="auto">
            <a:xfrm>
              <a:off x="4040585" y="4881048"/>
              <a:ext cx="170616" cy="304228"/>
            </a:xfrm>
            <a:custGeom>
              <a:avLst/>
              <a:gdLst>
                <a:gd name="T0" fmla="*/ 18 w 70"/>
                <a:gd name="T1" fmla="*/ 119 h 125"/>
                <a:gd name="T2" fmla="*/ 6 w 70"/>
                <a:gd name="T3" fmla="*/ 123 h 125"/>
                <a:gd name="T4" fmla="*/ 2 w 70"/>
                <a:gd name="T5" fmla="*/ 111 h 125"/>
                <a:gd name="T6" fmla="*/ 52 w 70"/>
                <a:gd name="T7" fmla="*/ 6 h 125"/>
                <a:gd name="T8" fmla="*/ 64 w 70"/>
                <a:gd name="T9" fmla="*/ 2 h 125"/>
                <a:gd name="T10" fmla="*/ 68 w 70"/>
                <a:gd name="T11" fmla="*/ 14 h 125"/>
                <a:gd name="T12" fmla="*/ 18 w 70"/>
                <a:gd name="T13" fmla="*/ 119 h 125"/>
              </a:gdLst>
              <a:ahLst/>
              <a:cxnLst>
                <a:cxn ang="0">
                  <a:pos x="T0" y="T1"/>
                </a:cxn>
                <a:cxn ang="0">
                  <a:pos x="T2" y="T3"/>
                </a:cxn>
                <a:cxn ang="0">
                  <a:pos x="T4" y="T5"/>
                </a:cxn>
                <a:cxn ang="0">
                  <a:pos x="T6" y="T7"/>
                </a:cxn>
                <a:cxn ang="0">
                  <a:pos x="T8" y="T9"/>
                </a:cxn>
                <a:cxn ang="0">
                  <a:pos x="T10" y="T11"/>
                </a:cxn>
                <a:cxn ang="0">
                  <a:pos x="T12" y="T13"/>
                </a:cxn>
              </a:cxnLst>
              <a:rect l="0" t="0" r="r" b="b"/>
              <a:pathLst>
                <a:path w="70" h="125">
                  <a:moveTo>
                    <a:pt x="18" y="119"/>
                  </a:moveTo>
                  <a:cubicBezTo>
                    <a:pt x="16" y="123"/>
                    <a:pt x="11" y="125"/>
                    <a:pt x="6" y="123"/>
                  </a:cubicBezTo>
                  <a:cubicBezTo>
                    <a:pt x="2" y="121"/>
                    <a:pt x="0" y="116"/>
                    <a:pt x="2" y="111"/>
                  </a:cubicBezTo>
                  <a:cubicBezTo>
                    <a:pt x="52" y="6"/>
                    <a:pt x="52" y="6"/>
                    <a:pt x="52" y="6"/>
                  </a:cubicBezTo>
                  <a:cubicBezTo>
                    <a:pt x="54" y="2"/>
                    <a:pt x="60" y="0"/>
                    <a:pt x="64" y="2"/>
                  </a:cubicBezTo>
                  <a:cubicBezTo>
                    <a:pt x="69" y="4"/>
                    <a:pt x="70" y="9"/>
                    <a:pt x="68" y="14"/>
                  </a:cubicBezTo>
                  <a:lnTo>
                    <a:pt x="18" y="119"/>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76" name="Freeform 74"/>
            <p:cNvSpPr>
              <a:spLocks/>
            </p:cNvSpPr>
            <p:nvPr/>
          </p:nvSpPr>
          <p:spPr bwMode="auto">
            <a:xfrm>
              <a:off x="4024140" y="4822464"/>
              <a:ext cx="123337" cy="326839"/>
            </a:xfrm>
            <a:custGeom>
              <a:avLst/>
              <a:gdLst>
                <a:gd name="T0" fmla="*/ 32 w 51"/>
                <a:gd name="T1" fmla="*/ 1 h 134"/>
                <a:gd name="T2" fmla="*/ 31 w 51"/>
                <a:gd name="T3" fmla="*/ 1 h 134"/>
                <a:gd name="T4" fmla="*/ 21 w 51"/>
                <a:gd name="T5" fmla="*/ 8 h 134"/>
                <a:gd name="T6" fmla="*/ 1 w 51"/>
                <a:gd name="T7" fmla="*/ 123 h 134"/>
                <a:gd name="T8" fmla="*/ 8 w 51"/>
                <a:gd name="T9" fmla="*/ 133 h 134"/>
                <a:gd name="T10" fmla="*/ 19 w 51"/>
                <a:gd name="T11" fmla="*/ 126 h 134"/>
                <a:gd name="T12" fmla="*/ 38 w 51"/>
                <a:gd name="T13" fmla="*/ 11 h 134"/>
                <a:gd name="T14" fmla="*/ 38 w 51"/>
                <a:gd name="T15" fmla="*/ 7 h 134"/>
                <a:gd name="T16" fmla="*/ 46 w 51"/>
                <a:gd name="T17" fmla="*/ 8 h 134"/>
                <a:gd name="T18" fmla="*/ 39 w 51"/>
                <a:gd name="T19" fmla="*/ 43 h 134"/>
                <a:gd name="T20" fmla="*/ 43 w 51"/>
                <a:gd name="T21" fmla="*/ 43 h 134"/>
                <a:gd name="T22" fmla="*/ 51 w 51"/>
                <a:gd name="T23" fmla="*/ 5 h 134"/>
                <a:gd name="T24" fmla="*/ 32 w 51"/>
                <a:gd name="T25" fmla="*/ 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 h="134">
                  <a:moveTo>
                    <a:pt x="32" y="1"/>
                  </a:moveTo>
                  <a:cubicBezTo>
                    <a:pt x="32" y="1"/>
                    <a:pt x="31" y="1"/>
                    <a:pt x="31" y="1"/>
                  </a:cubicBezTo>
                  <a:cubicBezTo>
                    <a:pt x="26" y="0"/>
                    <a:pt x="22" y="4"/>
                    <a:pt x="21" y="8"/>
                  </a:cubicBezTo>
                  <a:cubicBezTo>
                    <a:pt x="1" y="123"/>
                    <a:pt x="1" y="123"/>
                    <a:pt x="1" y="123"/>
                  </a:cubicBezTo>
                  <a:cubicBezTo>
                    <a:pt x="0" y="128"/>
                    <a:pt x="4" y="133"/>
                    <a:pt x="8" y="133"/>
                  </a:cubicBezTo>
                  <a:cubicBezTo>
                    <a:pt x="13" y="134"/>
                    <a:pt x="18" y="131"/>
                    <a:pt x="19" y="126"/>
                  </a:cubicBezTo>
                  <a:cubicBezTo>
                    <a:pt x="38" y="11"/>
                    <a:pt x="38" y="11"/>
                    <a:pt x="38" y="11"/>
                  </a:cubicBezTo>
                  <a:cubicBezTo>
                    <a:pt x="39" y="10"/>
                    <a:pt x="38" y="8"/>
                    <a:pt x="38" y="7"/>
                  </a:cubicBezTo>
                  <a:cubicBezTo>
                    <a:pt x="46" y="8"/>
                    <a:pt x="46" y="8"/>
                    <a:pt x="46" y="8"/>
                  </a:cubicBezTo>
                  <a:cubicBezTo>
                    <a:pt x="39" y="43"/>
                    <a:pt x="39" y="43"/>
                    <a:pt x="39" y="43"/>
                  </a:cubicBezTo>
                  <a:cubicBezTo>
                    <a:pt x="43" y="43"/>
                    <a:pt x="43" y="43"/>
                    <a:pt x="43" y="43"/>
                  </a:cubicBezTo>
                  <a:cubicBezTo>
                    <a:pt x="51" y="5"/>
                    <a:pt x="51" y="5"/>
                    <a:pt x="51" y="5"/>
                  </a:cubicBezTo>
                  <a:lnTo>
                    <a:pt x="32" y="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77" name="Rectangle 75"/>
            <p:cNvSpPr>
              <a:spLocks noChangeArrowheads="1"/>
            </p:cNvSpPr>
            <p:nvPr/>
          </p:nvSpPr>
          <p:spPr bwMode="auto">
            <a:xfrm>
              <a:off x="3909026" y="5010551"/>
              <a:ext cx="255924" cy="379257"/>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78" name="Freeform 76"/>
            <p:cNvSpPr>
              <a:spLocks/>
            </p:cNvSpPr>
            <p:nvPr/>
          </p:nvSpPr>
          <p:spPr bwMode="auto">
            <a:xfrm>
              <a:off x="6121898" y="4538792"/>
              <a:ext cx="1036031" cy="851016"/>
            </a:xfrm>
            <a:custGeom>
              <a:avLst/>
              <a:gdLst>
                <a:gd name="T0" fmla="*/ 418 w 426"/>
                <a:gd name="T1" fmla="*/ 334 h 350"/>
                <a:gd name="T2" fmla="*/ 338 w 426"/>
                <a:gd name="T3" fmla="*/ 334 h 350"/>
                <a:gd name="T4" fmla="*/ 330 w 426"/>
                <a:gd name="T5" fmla="*/ 341 h 350"/>
                <a:gd name="T6" fmla="*/ 305 w 426"/>
                <a:gd name="T7" fmla="*/ 327 h 350"/>
                <a:gd name="T8" fmla="*/ 304 w 426"/>
                <a:gd name="T9" fmla="*/ 303 h 350"/>
                <a:gd name="T10" fmla="*/ 287 w 426"/>
                <a:gd name="T11" fmla="*/ 238 h 350"/>
                <a:gd name="T12" fmla="*/ 230 w 426"/>
                <a:gd name="T13" fmla="*/ 198 h 350"/>
                <a:gd name="T14" fmla="*/ 162 w 426"/>
                <a:gd name="T15" fmla="*/ 128 h 350"/>
                <a:gd name="T16" fmla="*/ 165 w 426"/>
                <a:gd name="T17" fmla="*/ 125 h 350"/>
                <a:gd name="T18" fmla="*/ 165 w 426"/>
                <a:gd name="T19" fmla="*/ 124 h 350"/>
                <a:gd name="T20" fmla="*/ 239 w 426"/>
                <a:gd name="T21" fmla="*/ 110 h 350"/>
                <a:gd name="T22" fmla="*/ 276 w 426"/>
                <a:gd name="T23" fmla="*/ 29 h 350"/>
                <a:gd name="T24" fmla="*/ 283 w 426"/>
                <a:gd name="T25" fmla="*/ 21 h 350"/>
                <a:gd name="T26" fmla="*/ 283 w 426"/>
                <a:gd name="T27" fmla="*/ 15 h 350"/>
                <a:gd name="T28" fmla="*/ 275 w 426"/>
                <a:gd name="T29" fmla="*/ 6 h 350"/>
                <a:gd name="T30" fmla="*/ 266 w 426"/>
                <a:gd name="T31" fmla="*/ 15 h 350"/>
                <a:gd name="T32" fmla="*/ 266 w 426"/>
                <a:gd name="T33" fmla="*/ 21 h 350"/>
                <a:gd name="T34" fmla="*/ 274 w 426"/>
                <a:gd name="T35" fmla="*/ 29 h 350"/>
                <a:gd name="T36" fmla="*/ 237 w 426"/>
                <a:gd name="T37" fmla="*/ 109 h 350"/>
                <a:gd name="T38" fmla="*/ 165 w 426"/>
                <a:gd name="T39" fmla="*/ 122 h 350"/>
                <a:gd name="T40" fmla="*/ 162 w 426"/>
                <a:gd name="T41" fmla="*/ 120 h 350"/>
                <a:gd name="T42" fmla="*/ 159 w 426"/>
                <a:gd name="T43" fmla="*/ 122 h 350"/>
                <a:gd name="T44" fmla="*/ 50 w 426"/>
                <a:gd name="T45" fmla="*/ 111 h 350"/>
                <a:gd name="T46" fmla="*/ 6 w 426"/>
                <a:gd name="T47" fmla="*/ 23 h 350"/>
                <a:gd name="T48" fmla="*/ 8 w 426"/>
                <a:gd name="T49" fmla="*/ 23 h 350"/>
                <a:gd name="T50" fmla="*/ 17 w 426"/>
                <a:gd name="T51" fmla="*/ 14 h 350"/>
                <a:gd name="T52" fmla="*/ 17 w 426"/>
                <a:gd name="T53" fmla="*/ 9 h 350"/>
                <a:gd name="T54" fmla="*/ 8 w 426"/>
                <a:gd name="T55" fmla="*/ 0 h 350"/>
                <a:gd name="T56" fmla="*/ 0 w 426"/>
                <a:gd name="T57" fmla="*/ 9 h 350"/>
                <a:gd name="T58" fmla="*/ 0 w 426"/>
                <a:gd name="T59" fmla="*/ 14 h 350"/>
                <a:gd name="T60" fmla="*/ 4 w 426"/>
                <a:gd name="T61" fmla="*/ 22 h 350"/>
                <a:gd name="T62" fmla="*/ 49 w 426"/>
                <a:gd name="T63" fmla="*/ 113 h 350"/>
                <a:gd name="T64" fmla="*/ 113 w 426"/>
                <a:gd name="T65" fmla="*/ 130 h 350"/>
                <a:gd name="T66" fmla="*/ 159 w 426"/>
                <a:gd name="T67" fmla="*/ 124 h 350"/>
                <a:gd name="T68" fmla="*/ 159 w 426"/>
                <a:gd name="T69" fmla="*/ 125 h 350"/>
                <a:gd name="T70" fmla="*/ 160 w 426"/>
                <a:gd name="T71" fmla="*/ 128 h 350"/>
                <a:gd name="T72" fmla="*/ 229 w 426"/>
                <a:gd name="T73" fmla="*/ 200 h 350"/>
                <a:gd name="T74" fmla="*/ 285 w 426"/>
                <a:gd name="T75" fmla="*/ 239 h 350"/>
                <a:gd name="T76" fmla="*/ 302 w 426"/>
                <a:gd name="T77" fmla="*/ 303 h 350"/>
                <a:gd name="T78" fmla="*/ 303 w 426"/>
                <a:gd name="T79" fmla="*/ 328 h 350"/>
                <a:gd name="T80" fmla="*/ 330 w 426"/>
                <a:gd name="T81" fmla="*/ 343 h 350"/>
                <a:gd name="T82" fmla="*/ 330 w 426"/>
                <a:gd name="T83" fmla="*/ 343 h 350"/>
                <a:gd name="T84" fmla="*/ 338 w 426"/>
                <a:gd name="T85" fmla="*/ 350 h 350"/>
                <a:gd name="T86" fmla="*/ 418 w 426"/>
                <a:gd name="T87" fmla="*/ 350 h 350"/>
                <a:gd name="T88" fmla="*/ 426 w 426"/>
                <a:gd name="T89" fmla="*/ 342 h 350"/>
                <a:gd name="T90" fmla="*/ 418 w 426"/>
                <a:gd name="T91" fmla="*/ 334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26" h="350">
                  <a:moveTo>
                    <a:pt x="418" y="334"/>
                  </a:moveTo>
                  <a:cubicBezTo>
                    <a:pt x="338" y="334"/>
                    <a:pt x="338" y="334"/>
                    <a:pt x="338" y="334"/>
                  </a:cubicBezTo>
                  <a:cubicBezTo>
                    <a:pt x="334" y="334"/>
                    <a:pt x="331" y="337"/>
                    <a:pt x="330" y="341"/>
                  </a:cubicBezTo>
                  <a:cubicBezTo>
                    <a:pt x="325" y="341"/>
                    <a:pt x="314" y="340"/>
                    <a:pt x="305" y="327"/>
                  </a:cubicBezTo>
                  <a:cubicBezTo>
                    <a:pt x="300" y="321"/>
                    <a:pt x="302" y="313"/>
                    <a:pt x="304" y="303"/>
                  </a:cubicBezTo>
                  <a:cubicBezTo>
                    <a:pt x="308" y="286"/>
                    <a:pt x="312" y="265"/>
                    <a:pt x="287" y="238"/>
                  </a:cubicBezTo>
                  <a:cubicBezTo>
                    <a:pt x="272" y="222"/>
                    <a:pt x="251" y="210"/>
                    <a:pt x="230" y="198"/>
                  </a:cubicBezTo>
                  <a:cubicBezTo>
                    <a:pt x="197" y="178"/>
                    <a:pt x="165" y="159"/>
                    <a:pt x="162" y="128"/>
                  </a:cubicBezTo>
                  <a:cubicBezTo>
                    <a:pt x="164" y="128"/>
                    <a:pt x="165" y="127"/>
                    <a:pt x="165" y="125"/>
                  </a:cubicBezTo>
                  <a:cubicBezTo>
                    <a:pt x="165" y="124"/>
                    <a:pt x="165" y="124"/>
                    <a:pt x="165" y="124"/>
                  </a:cubicBezTo>
                  <a:cubicBezTo>
                    <a:pt x="177" y="126"/>
                    <a:pt x="211" y="130"/>
                    <a:pt x="239" y="110"/>
                  </a:cubicBezTo>
                  <a:cubicBezTo>
                    <a:pt x="260" y="94"/>
                    <a:pt x="273" y="67"/>
                    <a:pt x="276" y="29"/>
                  </a:cubicBezTo>
                  <a:cubicBezTo>
                    <a:pt x="280" y="28"/>
                    <a:pt x="283" y="25"/>
                    <a:pt x="283" y="21"/>
                  </a:cubicBezTo>
                  <a:cubicBezTo>
                    <a:pt x="283" y="15"/>
                    <a:pt x="283" y="15"/>
                    <a:pt x="283" y="15"/>
                  </a:cubicBezTo>
                  <a:cubicBezTo>
                    <a:pt x="283" y="10"/>
                    <a:pt x="279" y="6"/>
                    <a:pt x="275" y="6"/>
                  </a:cubicBezTo>
                  <a:cubicBezTo>
                    <a:pt x="270" y="6"/>
                    <a:pt x="266" y="10"/>
                    <a:pt x="266" y="15"/>
                  </a:cubicBezTo>
                  <a:cubicBezTo>
                    <a:pt x="266" y="21"/>
                    <a:pt x="266" y="21"/>
                    <a:pt x="266" y="21"/>
                  </a:cubicBezTo>
                  <a:cubicBezTo>
                    <a:pt x="266" y="26"/>
                    <a:pt x="270" y="29"/>
                    <a:pt x="274" y="29"/>
                  </a:cubicBezTo>
                  <a:cubicBezTo>
                    <a:pt x="271" y="66"/>
                    <a:pt x="259" y="93"/>
                    <a:pt x="237" y="109"/>
                  </a:cubicBezTo>
                  <a:cubicBezTo>
                    <a:pt x="210" y="128"/>
                    <a:pt x="176" y="124"/>
                    <a:pt x="165" y="122"/>
                  </a:cubicBezTo>
                  <a:cubicBezTo>
                    <a:pt x="165" y="121"/>
                    <a:pt x="163" y="120"/>
                    <a:pt x="162" y="120"/>
                  </a:cubicBezTo>
                  <a:cubicBezTo>
                    <a:pt x="160" y="120"/>
                    <a:pt x="159" y="121"/>
                    <a:pt x="159" y="122"/>
                  </a:cubicBezTo>
                  <a:cubicBezTo>
                    <a:pt x="147" y="125"/>
                    <a:pt x="91" y="139"/>
                    <a:pt x="50" y="111"/>
                  </a:cubicBezTo>
                  <a:cubicBezTo>
                    <a:pt x="25" y="94"/>
                    <a:pt x="10" y="64"/>
                    <a:pt x="6" y="23"/>
                  </a:cubicBezTo>
                  <a:cubicBezTo>
                    <a:pt x="7" y="23"/>
                    <a:pt x="8" y="23"/>
                    <a:pt x="8" y="23"/>
                  </a:cubicBezTo>
                  <a:cubicBezTo>
                    <a:pt x="13" y="23"/>
                    <a:pt x="17" y="19"/>
                    <a:pt x="17" y="14"/>
                  </a:cubicBezTo>
                  <a:cubicBezTo>
                    <a:pt x="17" y="9"/>
                    <a:pt x="17" y="9"/>
                    <a:pt x="17" y="9"/>
                  </a:cubicBezTo>
                  <a:cubicBezTo>
                    <a:pt x="17" y="4"/>
                    <a:pt x="13" y="0"/>
                    <a:pt x="8" y="0"/>
                  </a:cubicBezTo>
                  <a:cubicBezTo>
                    <a:pt x="4" y="0"/>
                    <a:pt x="0" y="4"/>
                    <a:pt x="0" y="9"/>
                  </a:cubicBezTo>
                  <a:cubicBezTo>
                    <a:pt x="0" y="14"/>
                    <a:pt x="0" y="14"/>
                    <a:pt x="0" y="14"/>
                  </a:cubicBezTo>
                  <a:cubicBezTo>
                    <a:pt x="0" y="18"/>
                    <a:pt x="1" y="20"/>
                    <a:pt x="4" y="22"/>
                  </a:cubicBezTo>
                  <a:cubicBezTo>
                    <a:pt x="8" y="65"/>
                    <a:pt x="23" y="95"/>
                    <a:pt x="49" y="113"/>
                  </a:cubicBezTo>
                  <a:cubicBezTo>
                    <a:pt x="69" y="127"/>
                    <a:pt x="93" y="130"/>
                    <a:pt x="113" y="130"/>
                  </a:cubicBezTo>
                  <a:cubicBezTo>
                    <a:pt x="134" y="130"/>
                    <a:pt x="152" y="126"/>
                    <a:pt x="159" y="124"/>
                  </a:cubicBezTo>
                  <a:cubicBezTo>
                    <a:pt x="159" y="125"/>
                    <a:pt x="159" y="125"/>
                    <a:pt x="159" y="125"/>
                  </a:cubicBezTo>
                  <a:cubicBezTo>
                    <a:pt x="159" y="126"/>
                    <a:pt x="159" y="127"/>
                    <a:pt x="160" y="128"/>
                  </a:cubicBezTo>
                  <a:cubicBezTo>
                    <a:pt x="162" y="160"/>
                    <a:pt x="195" y="179"/>
                    <a:pt x="229" y="200"/>
                  </a:cubicBezTo>
                  <a:cubicBezTo>
                    <a:pt x="250" y="211"/>
                    <a:pt x="271" y="224"/>
                    <a:pt x="285" y="239"/>
                  </a:cubicBezTo>
                  <a:cubicBezTo>
                    <a:pt x="310" y="266"/>
                    <a:pt x="306" y="286"/>
                    <a:pt x="302" y="303"/>
                  </a:cubicBezTo>
                  <a:cubicBezTo>
                    <a:pt x="300" y="312"/>
                    <a:pt x="298" y="321"/>
                    <a:pt x="303" y="328"/>
                  </a:cubicBezTo>
                  <a:cubicBezTo>
                    <a:pt x="312" y="341"/>
                    <a:pt x="323" y="343"/>
                    <a:pt x="330" y="343"/>
                  </a:cubicBezTo>
                  <a:cubicBezTo>
                    <a:pt x="330" y="343"/>
                    <a:pt x="330" y="343"/>
                    <a:pt x="330" y="343"/>
                  </a:cubicBezTo>
                  <a:cubicBezTo>
                    <a:pt x="331" y="347"/>
                    <a:pt x="334" y="350"/>
                    <a:pt x="338" y="350"/>
                  </a:cubicBezTo>
                  <a:cubicBezTo>
                    <a:pt x="418" y="350"/>
                    <a:pt x="418" y="350"/>
                    <a:pt x="418" y="350"/>
                  </a:cubicBezTo>
                  <a:cubicBezTo>
                    <a:pt x="423" y="350"/>
                    <a:pt x="426" y="347"/>
                    <a:pt x="426" y="342"/>
                  </a:cubicBezTo>
                  <a:cubicBezTo>
                    <a:pt x="426" y="338"/>
                    <a:pt x="423" y="334"/>
                    <a:pt x="418" y="3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79" name="Freeform 77"/>
            <p:cNvSpPr>
              <a:spLocks/>
            </p:cNvSpPr>
            <p:nvPr/>
          </p:nvSpPr>
          <p:spPr bwMode="auto">
            <a:xfrm>
              <a:off x="4656243" y="3925198"/>
              <a:ext cx="1506768" cy="1189161"/>
            </a:xfrm>
            <a:custGeom>
              <a:avLst/>
              <a:gdLst>
                <a:gd name="T0" fmla="*/ 620 w 620"/>
                <a:gd name="T1" fmla="*/ 476 h 489"/>
                <a:gd name="T2" fmla="*/ 607 w 620"/>
                <a:gd name="T3" fmla="*/ 489 h 489"/>
                <a:gd name="T4" fmla="*/ 13 w 620"/>
                <a:gd name="T5" fmla="*/ 489 h 489"/>
                <a:gd name="T6" fmla="*/ 0 w 620"/>
                <a:gd name="T7" fmla="*/ 476 h 489"/>
                <a:gd name="T8" fmla="*/ 0 w 620"/>
                <a:gd name="T9" fmla="*/ 13 h 489"/>
                <a:gd name="T10" fmla="*/ 13 w 620"/>
                <a:gd name="T11" fmla="*/ 0 h 489"/>
                <a:gd name="T12" fmla="*/ 607 w 620"/>
                <a:gd name="T13" fmla="*/ 0 h 489"/>
                <a:gd name="T14" fmla="*/ 620 w 620"/>
                <a:gd name="T15" fmla="*/ 13 h 489"/>
                <a:gd name="T16" fmla="*/ 620 w 620"/>
                <a:gd name="T17" fmla="*/ 476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0" h="489">
                  <a:moveTo>
                    <a:pt x="620" y="476"/>
                  </a:moveTo>
                  <a:cubicBezTo>
                    <a:pt x="620" y="483"/>
                    <a:pt x="614" y="489"/>
                    <a:pt x="607" y="489"/>
                  </a:cubicBezTo>
                  <a:cubicBezTo>
                    <a:pt x="13" y="489"/>
                    <a:pt x="13" y="489"/>
                    <a:pt x="13" y="489"/>
                  </a:cubicBezTo>
                  <a:cubicBezTo>
                    <a:pt x="6" y="489"/>
                    <a:pt x="0" y="483"/>
                    <a:pt x="0" y="476"/>
                  </a:cubicBezTo>
                  <a:cubicBezTo>
                    <a:pt x="0" y="13"/>
                    <a:pt x="0" y="13"/>
                    <a:pt x="0" y="13"/>
                  </a:cubicBezTo>
                  <a:cubicBezTo>
                    <a:pt x="0" y="6"/>
                    <a:pt x="6" y="0"/>
                    <a:pt x="13" y="0"/>
                  </a:cubicBezTo>
                  <a:cubicBezTo>
                    <a:pt x="607" y="0"/>
                    <a:pt x="607" y="0"/>
                    <a:pt x="607" y="0"/>
                  </a:cubicBezTo>
                  <a:cubicBezTo>
                    <a:pt x="614" y="0"/>
                    <a:pt x="620" y="6"/>
                    <a:pt x="620" y="13"/>
                  </a:cubicBezTo>
                  <a:lnTo>
                    <a:pt x="620" y="476"/>
                  </a:lnTo>
                  <a:close/>
                </a:path>
              </a:pathLst>
            </a:custGeom>
            <a:solidFill>
              <a:srgbClr val="F1F1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80" name="Freeform 78"/>
            <p:cNvSpPr>
              <a:spLocks/>
            </p:cNvSpPr>
            <p:nvPr/>
          </p:nvSpPr>
          <p:spPr bwMode="auto">
            <a:xfrm>
              <a:off x="5151647" y="4499736"/>
              <a:ext cx="515960" cy="897266"/>
            </a:xfrm>
            <a:custGeom>
              <a:avLst/>
              <a:gdLst>
                <a:gd name="T0" fmla="*/ 426 w 502"/>
                <a:gd name="T1" fmla="*/ 833 h 873"/>
                <a:gd name="T2" fmla="*/ 426 w 502"/>
                <a:gd name="T3" fmla="*/ 0 h 873"/>
                <a:gd name="T4" fmla="*/ 78 w 502"/>
                <a:gd name="T5" fmla="*/ 0 h 873"/>
                <a:gd name="T6" fmla="*/ 78 w 502"/>
                <a:gd name="T7" fmla="*/ 833 h 873"/>
                <a:gd name="T8" fmla="*/ 0 w 502"/>
                <a:gd name="T9" fmla="*/ 833 h 873"/>
                <a:gd name="T10" fmla="*/ 0 w 502"/>
                <a:gd name="T11" fmla="*/ 873 h 873"/>
                <a:gd name="T12" fmla="*/ 502 w 502"/>
                <a:gd name="T13" fmla="*/ 873 h 873"/>
                <a:gd name="T14" fmla="*/ 502 w 502"/>
                <a:gd name="T15" fmla="*/ 833 h 873"/>
                <a:gd name="T16" fmla="*/ 426 w 502"/>
                <a:gd name="T17" fmla="*/ 833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2" h="873">
                  <a:moveTo>
                    <a:pt x="426" y="833"/>
                  </a:moveTo>
                  <a:lnTo>
                    <a:pt x="426" y="0"/>
                  </a:lnTo>
                  <a:lnTo>
                    <a:pt x="78" y="0"/>
                  </a:lnTo>
                  <a:lnTo>
                    <a:pt x="78" y="833"/>
                  </a:lnTo>
                  <a:lnTo>
                    <a:pt x="0" y="833"/>
                  </a:lnTo>
                  <a:lnTo>
                    <a:pt x="0" y="873"/>
                  </a:lnTo>
                  <a:lnTo>
                    <a:pt x="502" y="873"/>
                  </a:lnTo>
                  <a:lnTo>
                    <a:pt x="502" y="833"/>
                  </a:lnTo>
                  <a:lnTo>
                    <a:pt x="426" y="833"/>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81" name="Oval 79"/>
            <p:cNvSpPr>
              <a:spLocks noChangeArrowheads="1"/>
            </p:cNvSpPr>
            <p:nvPr/>
          </p:nvSpPr>
          <p:spPr bwMode="auto">
            <a:xfrm>
              <a:off x="5995478" y="4976634"/>
              <a:ext cx="78113" cy="77085"/>
            </a:xfrm>
            <a:prstGeom prst="ellipse">
              <a:avLst/>
            </a:pr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82" name="Rectangle 80"/>
            <p:cNvSpPr>
              <a:spLocks noChangeArrowheads="1"/>
            </p:cNvSpPr>
            <p:nvPr/>
          </p:nvSpPr>
          <p:spPr bwMode="auto">
            <a:xfrm>
              <a:off x="5949226" y="4976634"/>
              <a:ext cx="19528" cy="77085"/>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83" name="Rectangle 81"/>
            <p:cNvSpPr>
              <a:spLocks noChangeArrowheads="1"/>
            </p:cNvSpPr>
            <p:nvPr/>
          </p:nvSpPr>
          <p:spPr bwMode="auto">
            <a:xfrm>
              <a:off x="5910170" y="4976634"/>
              <a:ext cx="19528" cy="77085"/>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84" name="Rectangle 82"/>
            <p:cNvSpPr>
              <a:spLocks noChangeArrowheads="1"/>
            </p:cNvSpPr>
            <p:nvPr/>
          </p:nvSpPr>
          <p:spPr bwMode="auto">
            <a:xfrm>
              <a:off x="5871113" y="4976634"/>
              <a:ext cx="19528" cy="77085"/>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85" name="Rectangle 83"/>
            <p:cNvSpPr>
              <a:spLocks noChangeArrowheads="1"/>
            </p:cNvSpPr>
            <p:nvPr/>
          </p:nvSpPr>
          <p:spPr bwMode="auto">
            <a:xfrm>
              <a:off x="5833084" y="4976634"/>
              <a:ext cx="18501" cy="77085"/>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86" name="Rectangle 84"/>
            <p:cNvSpPr>
              <a:spLocks noChangeArrowheads="1"/>
            </p:cNvSpPr>
            <p:nvPr/>
          </p:nvSpPr>
          <p:spPr bwMode="auto">
            <a:xfrm>
              <a:off x="7223709" y="4820408"/>
              <a:ext cx="67835" cy="2559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87" name="Freeform 85"/>
            <p:cNvSpPr>
              <a:spLocks noEditPoints="1"/>
            </p:cNvSpPr>
            <p:nvPr/>
          </p:nvSpPr>
          <p:spPr bwMode="auto">
            <a:xfrm>
              <a:off x="7288461" y="4735101"/>
              <a:ext cx="65780" cy="252838"/>
            </a:xfrm>
            <a:custGeom>
              <a:avLst/>
              <a:gdLst>
                <a:gd name="T0" fmla="*/ 13 w 27"/>
                <a:gd name="T1" fmla="*/ 104 h 104"/>
                <a:gd name="T2" fmla="*/ 13 w 27"/>
                <a:gd name="T3" fmla="*/ 104 h 104"/>
                <a:gd name="T4" fmla="*/ 13 w 27"/>
                <a:gd name="T5" fmla="*/ 104 h 104"/>
                <a:gd name="T6" fmla="*/ 13 w 27"/>
                <a:gd name="T7" fmla="*/ 0 h 104"/>
                <a:gd name="T8" fmla="*/ 9 w 27"/>
                <a:gd name="T9" fmla="*/ 3 h 104"/>
                <a:gd name="T10" fmla="*/ 6 w 27"/>
                <a:gd name="T11" fmla="*/ 8 h 104"/>
                <a:gd name="T12" fmla="*/ 2 w 27"/>
                <a:gd name="T13" fmla="*/ 15 h 104"/>
                <a:gd name="T14" fmla="*/ 0 w 27"/>
                <a:gd name="T15" fmla="*/ 24 h 104"/>
                <a:gd name="T16" fmla="*/ 0 w 27"/>
                <a:gd name="T17" fmla="*/ 29 h 104"/>
                <a:gd name="T18" fmla="*/ 1 w 27"/>
                <a:gd name="T19" fmla="*/ 35 h 104"/>
                <a:gd name="T20" fmla="*/ 3 w 27"/>
                <a:gd name="T21" fmla="*/ 45 h 104"/>
                <a:gd name="T22" fmla="*/ 5 w 27"/>
                <a:gd name="T23" fmla="*/ 51 h 104"/>
                <a:gd name="T24" fmla="*/ 7 w 27"/>
                <a:gd name="T25" fmla="*/ 55 h 104"/>
                <a:gd name="T26" fmla="*/ 10 w 27"/>
                <a:gd name="T27" fmla="*/ 64 h 104"/>
                <a:gd name="T28" fmla="*/ 12 w 27"/>
                <a:gd name="T29" fmla="*/ 68 h 104"/>
                <a:gd name="T30" fmla="*/ 13 w 27"/>
                <a:gd name="T31" fmla="*/ 72 h 104"/>
                <a:gd name="T32" fmla="*/ 15 w 27"/>
                <a:gd name="T33" fmla="*/ 88 h 104"/>
                <a:gd name="T34" fmla="*/ 15 w 27"/>
                <a:gd name="T35" fmla="*/ 91 h 104"/>
                <a:gd name="T36" fmla="*/ 15 w 27"/>
                <a:gd name="T37" fmla="*/ 95 h 104"/>
                <a:gd name="T38" fmla="*/ 14 w 27"/>
                <a:gd name="T39" fmla="*/ 100 h 104"/>
                <a:gd name="T40" fmla="*/ 14 w 27"/>
                <a:gd name="T41" fmla="*/ 103 h 104"/>
                <a:gd name="T42" fmla="*/ 13 w 27"/>
                <a:gd name="T43" fmla="*/ 104 h 104"/>
                <a:gd name="T44" fmla="*/ 14 w 27"/>
                <a:gd name="T45" fmla="*/ 104 h 104"/>
                <a:gd name="T46" fmla="*/ 17 w 27"/>
                <a:gd name="T47" fmla="*/ 101 h 104"/>
                <a:gd name="T48" fmla="*/ 21 w 27"/>
                <a:gd name="T49" fmla="*/ 97 h 104"/>
                <a:gd name="T50" fmla="*/ 24 w 27"/>
                <a:gd name="T51" fmla="*/ 90 h 104"/>
                <a:gd name="T52" fmla="*/ 27 w 27"/>
                <a:gd name="T53" fmla="*/ 70 h 104"/>
                <a:gd name="T54" fmla="*/ 25 w 27"/>
                <a:gd name="T55" fmla="*/ 59 h 104"/>
                <a:gd name="T56" fmla="*/ 22 w 27"/>
                <a:gd name="T57" fmla="*/ 49 h 104"/>
                <a:gd name="T58" fmla="*/ 17 w 27"/>
                <a:gd name="T59" fmla="*/ 40 h 104"/>
                <a:gd name="T60" fmla="*/ 16 w 27"/>
                <a:gd name="T61" fmla="*/ 36 h 104"/>
                <a:gd name="T62" fmla="*/ 14 w 27"/>
                <a:gd name="T63" fmla="*/ 32 h 104"/>
                <a:gd name="T64" fmla="*/ 13 w 27"/>
                <a:gd name="T65" fmla="*/ 28 h 104"/>
                <a:gd name="T66" fmla="*/ 12 w 27"/>
                <a:gd name="T67" fmla="*/ 24 h 104"/>
                <a:gd name="T68" fmla="*/ 12 w 27"/>
                <a:gd name="T69" fmla="*/ 17 h 104"/>
                <a:gd name="T70" fmla="*/ 12 w 27"/>
                <a:gd name="T71" fmla="*/ 10 h 104"/>
                <a:gd name="T72" fmla="*/ 12 w 27"/>
                <a:gd name="T73" fmla="*/ 5 h 104"/>
                <a:gd name="T74" fmla="*/ 13 w 27"/>
                <a:gd name="T75"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 h="104">
                  <a:moveTo>
                    <a:pt x="13" y="104"/>
                  </a:moveTo>
                  <a:cubicBezTo>
                    <a:pt x="13" y="104"/>
                    <a:pt x="13" y="104"/>
                    <a:pt x="13" y="104"/>
                  </a:cubicBezTo>
                  <a:cubicBezTo>
                    <a:pt x="13" y="104"/>
                    <a:pt x="13" y="104"/>
                    <a:pt x="13" y="104"/>
                  </a:cubicBezTo>
                  <a:moveTo>
                    <a:pt x="13" y="0"/>
                  </a:moveTo>
                  <a:cubicBezTo>
                    <a:pt x="13" y="0"/>
                    <a:pt x="11" y="1"/>
                    <a:pt x="9" y="3"/>
                  </a:cubicBezTo>
                  <a:cubicBezTo>
                    <a:pt x="8" y="4"/>
                    <a:pt x="7" y="6"/>
                    <a:pt x="6" y="8"/>
                  </a:cubicBezTo>
                  <a:cubicBezTo>
                    <a:pt x="5" y="10"/>
                    <a:pt x="3" y="12"/>
                    <a:pt x="2" y="15"/>
                  </a:cubicBezTo>
                  <a:cubicBezTo>
                    <a:pt x="1" y="18"/>
                    <a:pt x="1" y="21"/>
                    <a:pt x="0" y="24"/>
                  </a:cubicBezTo>
                  <a:cubicBezTo>
                    <a:pt x="0" y="26"/>
                    <a:pt x="0" y="28"/>
                    <a:pt x="0" y="29"/>
                  </a:cubicBezTo>
                  <a:cubicBezTo>
                    <a:pt x="0" y="31"/>
                    <a:pt x="0" y="33"/>
                    <a:pt x="1" y="35"/>
                  </a:cubicBezTo>
                  <a:cubicBezTo>
                    <a:pt x="1" y="38"/>
                    <a:pt x="2" y="42"/>
                    <a:pt x="3" y="45"/>
                  </a:cubicBezTo>
                  <a:cubicBezTo>
                    <a:pt x="3" y="47"/>
                    <a:pt x="4" y="49"/>
                    <a:pt x="5" y="51"/>
                  </a:cubicBezTo>
                  <a:cubicBezTo>
                    <a:pt x="7" y="55"/>
                    <a:pt x="7" y="55"/>
                    <a:pt x="7" y="55"/>
                  </a:cubicBezTo>
                  <a:cubicBezTo>
                    <a:pt x="9" y="59"/>
                    <a:pt x="9" y="61"/>
                    <a:pt x="10" y="64"/>
                  </a:cubicBezTo>
                  <a:cubicBezTo>
                    <a:pt x="11" y="65"/>
                    <a:pt x="11" y="67"/>
                    <a:pt x="12" y="68"/>
                  </a:cubicBezTo>
                  <a:cubicBezTo>
                    <a:pt x="12" y="70"/>
                    <a:pt x="13" y="71"/>
                    <a:pt x="13" y="72"/>
                  </a:cubicBezTo>
                  <a:cubicBezTo>
                    <a:pt x="14" y="78"/>
                    <a:pt x="15" y="83"/>
                    <a:pt x="15" y="88"/>
                  </a:cubicBezTo>
                  <a:cubicBezTo>
                    <a:pt x="15" y="89"/>
                    <a:pt x="15" y="90"/>
                    <a:pt x="15" y="91"/>
                  </a:cubicBezTo>
                  <a:cubicBezTo>
                    <a:pt x="15" y="93"/>
                    <a:pt x="15" y="94"/>
                    <a:pt x="15" y="95"/>
                  </a:cubicBezTo>
                  <a:cubicBezTo>
                    <a:pt x="15" y="97"/>
                    <a:pt x="15" y="98"/>
                    <a:pt x="14" y="100"/>
                  </a:cubicBezTo>
                  <a:cubicBezTo>
                    <a:pt x="14" y="101"/>
                    <a:pt x="14" y="102"/>
                    <a:pt x="14" y="103"/>
                  </a:cubicBezTo>
                  <a:cubicBezTo>
                    <a:pt x="13" y="104"/>
                    <a:pt x="13" y="104"/>
                    <a:pt x="13" y="104"/>
                  </a:cubicBezTo>
                  <a:cubicBezTo>
                    <a:pt x="13" y="104"/>
                    <a:pt x="14" y="104"/>
                    <a:pt x="14" y="104"/>
                  </a:cubicBezTo>
                  <a:cubicBezTo>
                    <a:pt x="15" y="103"/>
                    <a:pt x="16" y="103"/>
                    <a:pt x="17" y="101"/>
                  </a:cubicBezTo>
                  <a:cubicBezTo>
                    <a:pt x="18" y="100"/>
                    <a:pt x="20" y="99"/>
                    <a:pt x="21" y="97"/>
                  </a:cubicBezTo>
                  <a:cubicBezTo>
                    <a:pt x="22" y="95"/>
                    <a:pt x="23" y="92"/>
                    <a:pt x="24" y="90"/>
                  </a:cubicBezTo>
                  <a:cubicBezTo>
                    <a:pt x="26" y="84"/>
                    <a:pt x="27" y="78"/>
                    <a:pt x="27" y="70"/>
                  </a:cubicBezTo>
                  <a:cubicBezTo>
                    <a:pt x="27" y="67"/>
                    <a:pt x="26" y="63"/>
                    <a:pt x="25" y="59"/>
                  </a:cubicBezTo>
                  <a:cubicBezTo>
                    <a:pt x="24" y="56"/>
                    <a:pt x="23" y="52"/>
                    <a:pt x="22" y="49"/>
                  </a:cubicBezTo>
                  <a:cubicBezTo>
                    <a:pt x="20" y="46"/>
                    <a:pt x="19" y="43"/>
                    <a:pt x="17" y="40"/>
                  </a:cubicBezTo>
                  <a:cubicBezTo>
                    <a:pt x="17" y="39"/>
                    <a:pt x="16" y="37"/>
                    <a:pt x="16" y="36"/>
                  </a:cubicBezTo>
                  <a:cubicBezTo>
                    <a:pt x="15" y="35"/>
                    <a:pt x="15" y="33"/>
                    <a:pt x="14" y="32"/>
                  </a:cubicBezTo>
                  <a:cubicBezTo>
                    <a:pt x="14" y="30"/>
                    <a:pt x="14" y="29"/>
                    <a:pt x="13" y="28"/>
                  </a:cubicBezTo>
                  <a:cubicBezTo>
                    <a:pt x="13" y="27"/>
                    <a:pt x="13" y="25"/>
                    <a:pt x="12" y="24"/>
                  </a:cubicBezTo>
                  <a:cubicBezTo>
                    <a:pt x="12" y="21"/>
                    <a:pt x="12" y="19"/>
                    <a:pt x="12" y="17"/>
                  </a:cubicBezTo>
                  <a:cubicBezTo>
                    <a:pt x="11" y="14"/>
                    <a:pt x="11" y="12"/>
                    <a:pt x="12" y="10"/>
                  </a:cubicBezTo>
                  <a:cubicBezTo>
                    <a:pt x="12" y="8"/>
                    <a:pt x="12" y="6"/>
                    <a:pt x="12" y="5"/>
                  </a:cubicBezTo>
                  <a:cubicBezTo>
                    <a:pt x="13" y="2"/>
                    <a:pt x="13" y="0"/>
                    <a:pt x="1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88" name="Freeform 86"/>
            <p:cNvSpPr>
              <a:spLocks noEditPoints="1"/>
            </p:cNvSpPr>
            <p:nvPr/>
          </p:nvSpPr>
          <p:spPr bwMode="auto">
            <a:xfrm>
              <a:off x="7157930" y="5024940"/>
              <a:ext cx="356650" cy="364868"/>
            </a:xfrm>
            <a:custGeom>
              <a:avLst/>
              <a:gdLst>
                <a:gd name="T0" fmla="*/ 115 w 147"/>
                <a:gd name="T1" fmla="*/ 17 h 150"/>
                <a:gd name="T2" fmla="*/ 108 w 147"/>
                <a:gd name="T3" fmla="*/ 18 h 150"/>
                <a:gd name="T4" fmla="*/ 108 w 147"/>
                <a:gd name="T5" fmla="*/ 6 h 150"/>
                <a:gd name="T6" fmla="*/ 108 w 147"/>
                <a:gd name="T7" fmla="*/ 0 h 150"/>
                <a:gd name="T8" fmla="*/ 0 w 147"/>
                <a:gd name="T9" fmla="*/ 0 h 150"/>
                <a:gd name="T10" fmla="*/ 0 w 147"/>
                <a:gd name="T11" fmla="*/ 6 h 150"/>
                <a:gd name="T12" fmla="*/ 0 w 147"/>
                <a:gd name="T13" fmla="*/ 96 h 150"/>
                <a:gd name="T14" fmla="*/ 54 w 147"/>
                <a:gd name="T15" fmla="*/ 150 h 150"/>
                <a:gd name="T16" fmla="*/ 108 w 147"/>
                <a:gd name="T17" fmla="*/ 96 h 150"/>
                <a:gd name="T18" fmla="*/ 108 w 147"/>
                <a:gd name="T19" fmla="*/ 80 h 150"/>
                <a:gd name="T20" fmla="*/ 115 w 147"/>
                <a:gd name="T21" fmla="*/ 80 h 150"/>
                <a:gd name="T22" fmla="*/ 147 w 147"/>
                <a:gd name="T23" fmla="*/ 49 h 150"/>
                <a:gd name="T24" fmla="*/ 115 w 147"/>
                <a:gd name="T25" fmla="*/ 17 h 150"/>
                <a:gd name="T26" fmla="*/ 115 w 147"/>
                <a:gd name="T27" fmla="*/ 64 h 150"/>
                <a:gd name="T28" fmla="*/ 108 w 147"/>
                <a:gd name="T29" fmla="*/ 62 h 150"/>
                <a:gd name="T30" fmla="*/ 108 w 147"/>
                <a:gd name="T31" fmla="*/ 35 h 150"/>
                <a:gd name="T32" fmla="*/ 115 w 147"/>
                <a:gd name="T33" fmla="*/ 33 h 150"/>
                <a:gd name="T34" fmla="*/ 130 w 147"/>
                <a:gd name="T35" fmla="*/ 49 h 150"/>
                <a:gd name="T36" fmla="*/ 115 w 147"/>
                <a:gd name="T37" fmla="*/ 6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7" h="150">
                  <a:moveTo>
                    <a:pt x="115" y="17"/>
                  </a:moveTo>
                  <a:cubicBezTo>
                    <a:pt x="113" y="17"/>
                    <a:pt x="111" y="17"/>
                    <a:pt x="108" y="18"/>
                  </a:cubicBezTo>
                  <a:cubicBezTo>
                    <a:pt x="108" y="6"/>
                    <a:pt x="108" y="6"/>
                    <a:pt x="108" y="6"/>
                  </a:cubicBezTo>
                  <a:cubicBezTo>
                    <a:pt x="108" y="4"/>
                    <a:pt x="108" y="2"/>
                    <a:pt x="108" y="0"/>
                  </a:cubicBezTo>
                  <a:cubicBezTo>
                    <a:pt x="0" y="0"/>
                    <a:pt x="0" y="0"/>
                    <a:pt x="0" y="0"/>
                  </a:cubicBezTo>
                  <a:cubicBezTo>
                    <a:pt x="0" y="2"/>
                    <a:pt x="0" y="4"/>
                    <a:pt x="0" y="6"/>
                  </a:cubicBezTo>
                  <a:cubicBezTo>
                    <a:pt x="0" y="96"/>
                    <a:pt x="0" y="96"/>
                    <a:pt x="0" y="96"/>
                  </a:cubicBezTo>
                  <a:cubicBezTo>
                    <a:pt x="0" y="126"/>
                    <a:pt x="24" y="150"/>
                    <a:pt x="54" y="150"/>
                  </a:cubicBezTo>
                  <a:cubicBezTo>
                    <a:pt x="84" y="150"/>
                    <a:pt x="108" y="126"/>
                    <a:pt x="108" y="96"/>
                  </a:cubicBezTo>
                  <a:cubicBezTo>
                    <a:pt x="108" y="80"/>
                    <a:pt x="108" y="80"/>
                    <a:pt x="108" y="80"/>
                  </a:cubicBezTo>
                  <a:cubicBezTo>
                    <a:pt x="111" y="80"/>
                    <a:pt x="113" y="80"/>
                    <a:pt x="115" y="80"/>
                  </a:cubicBezTo>
                  <a:cubicBezTo>
                    <a:pt x="133" y="80"/>
                    <a:pt x="147" y="66"/>
                    <a:pt x="147" y="49"/>
                  </a:cubicBezTo>
                  <a:cubicBezTo>
                    <a:pt x="147" y="31"/>
                    <a:pt x="133" y="17"/>
                    <a:pt x="115" y="17"/>
                  </a:cubicBezTo>
                  <a:close/>
                  <a:moveTo>
                    <a:pt x="115" y="64"/>
                  </a:moveTo>
                  <a:cubicBezTo>
                    <a:pt x="113" y="64"/>
                    <a:pt x="110" y="63"/>
                    <a:pt x="108" y="62"/>
                  </a:cubicBezTo>
                  <a:cubicBezTo>
                    <a:pt x="108" y="35"/>
                    <a:pt x="108" y="35"/>
                    <a:pt x="108" y="35"/>
                  </a:cubicBezTo>
                  <a:cubicBezTo>
                    <a:pt x="110" y="34"/>
                    <a:pt x="113" y="33"/>
                    <a:pt x="115" y="33"/>
                  </a:cubicBezTo>
                  <a:cubicBezTo>
                    <a:pt x="124" y="33"/>
                    <a:pt x="130" y="40"/>
                    <a:pt x="130" y="49"/>
                  </a:cubicBezTo>
                  <a:cubicBezTo>
                    <a:pt x="130" y="57"/>
                    <a:pt x="124" y="64"/>
                    <a:pt x="115" y="64"/>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12" name="Freeform 110"/>
            <p:cNvSpPr>
              <a:spLocks/>
            </p:cNvSpPr>
            <p:nvPr/>
          </p:nvSpPr>
          <p:spPr bwMode="auto">
            <a:xfrm>
              <a:off x="7432355" y="4178036"/>
              <a:ext cx="26723" cy="26723"/>
            </a:xfrm>
            <a:custGeom>
              <a:avLst/>
              <a:gdLst>
                <a:gd name="T0" fmla="*/ 10 w 11"/>
                <a:gd name="T1" fmla="*/ 1 h 11"/>
                <a:gd name="T2" fmla="*/ 6 w 11"/>
                <a:gd name="T3" fmla="*/ 1 h 11"/>
                <a:gd name="T4" fmla="*/ 1 w 11"/>
                <a:gd name="T5" fmla="*/ 5 h 11"/>
                <a:gd name="T6" fmla="*/ 1 w 11"/>
                <a:gd name="T7" fmla="*/ 10 h 11"/>
                <a:gd name="T8" fmla="*/ 6 w 11"/>
                <a:gd name="T9" fmla="*/ 10 h 11"/>
                <a:gd name="T10" fmla="*/ 10 w 11"/>
                <a:gd name="T11" fmla="*/ 5 h 11"/>
                <a:gd name="T12" fmla="*/ 10 w 11"/>
                <a:gd name="T13" fmla="*/ 1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0" y="1"/>
                  </a:moveTo>
                  <a:cubicBezTo>
                    <a:pt x="9" y="0"/>
                    <a:pt x="7" y="0"/>
                    <a:pt x="6" y="1"/>
                  </a:cubicBezTo>
                  <a:cubicBezTo>
                    <a:pt x="1" y="5"/>
                    <a:pt x="1" y="5"/>
                    <a:pt x="1" y="5"/>
                  </a:cubicBezTo>
                  <a:cubicBezTo>
                    <a:pt x="0" y="6"/>
                    <a:pt x="0" y="8"/>
                    <a:pt x="1" y="10"/>
                  </a:cubicBezTo>
                  <a:cubicBezTo>
                    <a:pt x="3" y="11"/>
                    <a:pt x="4" y="11"/>
                    <a:pt x="6" y="10"/>
                  </a:cubicBezTo>
                  <a:cubicBezTo>
                    <a:pt x="10" y="5"/>
                    <a:pt x="10" y="5"/>
                    <a:pt x="10" y="5"/>
                  </a:cubicBezTo>
                  <a:cubicBezTo>
                    <a:pt x="11" y="4"/>
                    <a:pt x="11" y="2"/>
                    <a:pt x="10"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24" name="Rectangle 122"/>
            <p:cNvSpPr>
              <a:spLocks noChangeArrowheads="1"/>
            </p:cNvSpPr>
            <p:nvPr/>
          </p:nvSpPr>
          <p:spPr bwMode="auto">
            <a:xfrm>
              <a:off x="5778610" y="5344585"/>
              <a:ext cx="51390" cy="1438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25" name="Rectangle 123"/>
            <p:cNvSpPr>
              <a:spLocks noChangeArrowheads="1"/>
            </p:cNvSpPr>
            <p:nvPr/>
          </p:nvSpPr>
          <p:spPr bwMode="auto">
            <a:xfrm>
              <a:off x="5840279" y="5344585"/>
              <a:ext cx="50363" cy="1438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26" name="Rectangle 124"/>
            <p:cNvSpPr>
              <a:spLocks noChangeArrowheads="1"/>
            </p:cNvSpPr>
            <p:nvPr/>
          </p:nvSpPr>
          <p:spPr bwMode="auto">
            <a:xfrm>
              <a:off x="5900919" y="5344585"/>
              <a:ext cx="50363" cy="1438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27" name="Rectangle 125"/>
            <p:cNvSpPr>
              <a:spLocks noChangeArrowheads="1"/>
            </p:cNvSpPr>
            <p:nvPr/>
          </p:nvSpPr>
          <p:spPr bwMode="auto">
            <a:xfrm>
              <a:off x="5961560" y="5344585"/>
              <a:ext cx="51390" cy="1438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28" name="Rectangle 126"/>
            <p:cNvSpPr>
              <a:spLocks noChangeArrowheads="1"/>
            </p:cNvSpPr>
            <p:nvPr/>
          </p:nvSpPr>
          <p:spPr bwMode="auto">
            <a:xfrm>
              <a:off x="6022201" y="5344585"/>
              <a:ext cx="51390" cy="1438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29" name="Rectangle 127"/>
            <p:cNvSpPr>
              <a:spLocks noChangeArrowheads="1"/>
            </p:cNvSpPr>
            <p:nvPr/>
          </p:nvSpPr>
          <p:spPr bwMode="auto">
            <a:xfrm>
              <a:off x="6082842" y="5344585"/>
              <a:ext cx="51390" cy="1438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30" name="Rectangle 128"/>
            <p:cNvSpPr>
              <a:spLocks noChangeArrowheads="1"/>
            </p:cNvSpPr>
            <p:nvPr/>
          </p:nvSpPr>
          <p:spPr bwMode="auto">
            <a:xfrm>
              <a:off x="6143482" y="5344585"/>
              <a:ext cx="51390" cy="1438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31" name="Rectangle 129"/>
            <p:cNvSpPr>
              <a:spLocks noChangeArrowheads="1"/>
            </p:cNvSpPr>
            <p:nvPr/>
          </p:nvSpPr>
          <p:spPr bwMode="auto">
            <a:xfrm>
              <a:off x="6204123" y="5344585"/>
              <a:ext cx="49335" cy="1438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32" name="Rectangle 130"/>
            <p:cNvSpPr>
              <a:spLocks noChangeArrowheads="1"/>
            </p:cNvSpPr>
            <p:nvPr/>
          </p:nvSpPr>
          <p:spPr bwMode="auto">
            <a:xfrm>
              <a:off x="6262708" y="5344585"/>
              <a:ext cx="51390" cy="1438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33" name="Rectangle 131"/>
            <p:cNvSpPr>
              <a:spLocks noChangeArrowheads="1"/>
            </p:cNvSpPr>
            <p:nvPr/>
          </p:nvSpPr>
          <p:spPr bwMode="auto">
            <a:xfrm>
              <a:off x="6323349" y="5344585"/>
              <a:ext cx="51390" cy="1438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34" name="Rectangle 132"/>
            <p:cNvSpPr>
              <a:spLocks noChangeArrowheads="1"/>
            </p:cNvSpPr>
            <p:nvPr/>
          </p:nvSpPr>
          <p:spPr bwMode="auto">
            <a:xfrm>
              <a:off x="6385017" y="5344585"/>
              <a:ext cx="50363" cy="1438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sp>
          <p:nvSpPr>
            <p:cNvPr id="135" name="Rectangle 133"/>
            <p:cNvSpPr>
              <a:spLocks noChangeArrowheads="1"/>
            </p:cNvSpPr>
            <p:nvPr/>
          </p:nvSpPr>
          <p:spPr bwMode="auto">
            <a:xfrm>
              <a:off x="5751887" y="5353835"/>
              <a:ext cx="715355" cy="4625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endParaRPr lang="en-US" sz="1687" kern="0">
                <a:solidFill>
                  <a:sysClr val="windowText" lastClr="000000"/>
                </a:solidFill>
                <a:latin typeface="Calibri" panose="020F0502020204030204"/>
              </a:endParaRPr>
            </a:p>
          </p:txBody>
        </p:sp>
      </p:grpSp>
      <p:sp>
        <p:nvSpPr>
          <p:cNvPr id="7" name="TextBox 6"/>
          <p:cNvSpPr txBox="1"/>
          <p:nvPr/>
        </p:nvSpPr>
        <p:spPr>
          <a:xfrm>
            <a:off x="1808202" y="4360379"/>
            <a:ext cx="2632437" cy="693970"/>
          </a:xfrm>
          <a:prstGeom prst="rect">
            <a:avLst/>
          </a:prstGeom>
          <a:noFill/>
        </p:spPr>
        <p:txBody>
          <a:bodyPr wrap="square" rtlCol="0">
            <a:spAutoFit/>
          </a:bodyPr>
          <a:lstStyle/>
          <a:p>
            <a:pPr defTabSz="857124"/>
            <a:r>
              <a:rPr lang="en-US" sz="1961" kern="0" dirty="0">
                <a:solidFill>
                  <a:srgbClr val="5B9BD5"/>
                </a:solidFill>
                <a:latin typeface="Segoe UI Light" panose="020B0502040204020203" pitchFamily="34" charset="0"/>
                <a:cs typeface="Segoe UI Light" panose="020B0502040204020203" pitchFamily="34" charset="0"/>
              </a:rPr>
              <a:t>Latency @ 99</a:t>
            </a:r>
            <a:r>
              <a:rPr lang="en-US" sz="1961" kern="0" baseline="30000" dirty="0">
                <a:solidFill>
                  <a:srgbClr val="5B9BD5"/>
                </a:solidFill>
                <a:latin typeface="Segoe UI Light" panose="020B0502040204020203" pitchFamily="34" charset="0"/>
                <a:cs typeface="Segoe UI Light" panose="020B0502040204020203" pitchFamily="34" charset="0"/>
              </a:rPr>
              <a:t>th</a:t>
            </a:r>
            <a:r>
              <a:rPr lang="en-US" sz="1961" kern="0" dirty="0">
                <a:solidFill>
                  <a:srgbClr val="5B9BD5"/>
                </a:solidFill>
                <a:latin typeface="Segoe UI Light" panose="020B0502040204020203" pitchFamily="34" charset="0"/>
                <a:cs typeface="Segoe UI Light" panose="020B0502040204020203" pitchFamily="34" charset="0"/>
              </a:rPr>
              <a:t> percentile SLA</a:t>
            </a:r>
          </a:p>
        </p:txBody>
      </p:sp>
      <p:sp>
        <p:nvSpPr>
          <p:cNvPr id="139" name="TextBox 138"/>
          <p:cNvSpPr txBox="1"/>
          <p:nvPr/>
        </p:nvSpPr>
        <p:spPr>
          <a:xfrm>
            <a:off x="1432703" y="3068256"/>
            <a:ext cx="1901820" cy="392245"/>
          </a:xfrm>
          <a:prstGeom prst="rect">
            <a:avLst/>
          </a:prstGeom>
          <a:noFill/>
        </p:spPr>
        <p:txBody>
          <a:bodyPr wrap="none" rtlCol="0">
            <a:spAutoFit/>
          </a:bodyPr>
          <a:lstStyle/>
          <a:p>
            <a:pPr defTabSz="857124"/>
            <a:r>
              <a:rPr lang="en-US" sz="1961" kern="0" dirty="0">
                <a:solidFill>
                  <a:srgbClr val="ED7D31"/>
                </a:solidFill>
                <a:latin typeface="Segoe UI Light" panose="020B0502040204020203" pitchFamily="34" charset="0"/>
                <a:cs typeface="Segoe UI Light" panose="020B0502040204020203" pitchFamily="34" charset="0"/>
              </a:rPr>
              <a:t>Throughput SLA</a:t>
            </a:r>
          </a:p>
        </p:txBody>
      </p:sp>
      <p:sp>
        <p:nvSpPr>
          <p:cNvPr id="141" name="TextBox 140"/>
          <p:cNvSpPr txBox="1"/>
          <p:nvPr/>
        </p:nvSpPr>
        <p:spPr>
          <a:xfrm>
            <a:off x="2461145" y="2197186"/>
            <a:ext cx="1892391" cy="392245"/>
          </a:xfrm>
          <a:prstGeom prst="rect">
            <a:avLst/>
          </a:prstGeom>
          <a:noFill/>
        </p:spPr>
        <p:txBody>
          <a:bodyPr wrap="none" rtlCol="0">
            <a:spAutoFit/>
          </a:bodyPr>
          <a:lstStyle/>
          <a:p>
            <a:pPr algn="ctr" defTabSz="857124"/>
            <a:r>
              <a:rPr lang="en-US" sz="1961" kern="0" dirty="0">
                <a:solidFill>
                  <a:srgbClr val="A5A5A5"/>
                </a:solidFill>
                <a:latin typeface="Segoe UI Light" panose="020B0502040204020203" pitchFamily="34" charset="0"/>
                <a:cs typeface="Segoe UI Light" panose="020B0502040204020203" pitchFamily="34" charset="0"/>
              </a:rPr>
              <a:t>Consistency SLA</a:t>
            </a:r>
          </a:p>
        </p:txBody>
      </p:sp>
      <p:cxnSp>
        <p:nvCxnSpPr>
          <p:cNvPr id="151" name="Straight Connector 150"/>
          <p:cNvCxnSpPr/>
          <p:nvPr/>
        </p:nvCxnSpPr>
        <p:spPr>
          <a:xfrm flipH="1" flipV="1">
            <a:off x="3984648" y="3270027"/>
            <a:ext cx="541155" cy="900544"/>
          </a:xfrm>
          <a:prstGeom prst="line">
            <a:avLst/>
          </a:prstGeom>
          <a:ln>
            <a:solidFill>
              <a:schemeClr val="bg1">
                <a:lumMod val="75000"/>
              </a:schemeClr>
            </a:solidFill>
            <a:prstDash val="sysDot"/>
            <a:headEnd type="oval"/>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nvCxnSpPr>
        <p:spPr>
          <a:xfrm flipH="1">
            <a:off x="3461967" y="3270026"/>
            <a:ext cx="522682" cy="0"/>
          </a:xfrm>
          <a:prstGeom prst="line">
            <a:avLst/>
          </a:prstGeom>
          <a:ln>
            <a:solidFill>
              <a:schemeClr val="bg1">
                <a:lumMod val="75000"/>
              </a:schemeClr>
            </a:solidFill>
            <a:prstDash val="sysDot"/>
            <a:tailEnd type="oval"/>
          </a:ln>
        </p:spPr>
        <p:style>
          <a:lnRef idx="1">
            <a:schemeClr val="accent1"/>
          </a:lnRef>
          <a:fillRef idx="0">
            <a:schemeClr val="accent1"/>
          </a:fillRef>
          <a:effectRef idx="0">
            <a:schemeClr val="accent1"/>
          </a:effectRef>
          <a:fontRef idx="minor">
            <a:schemeClr val="tx1"/>
          </a:fontRef>
        </p:style>
      </p:cxnSp>
      <p:sp>
        <p:nvSpPr>
          <p:cNvPr id="175" name="TextBox 174"/>
          <p:cNvSpPr txBox="1"/>
          <p:nvPr/>
        </p:nvSpPr>
        <p:spPr>
          <a:xfrm flipH="1">
            <a:off x="6603051" y="2702407"/>
            <a:ext cx="1684952" cy="392245"/>
          </a:xfrm>
          <a:prstGeom prst="rect">
            <a:avLst/>
          </a:prstGeom>
          <a:noFill/>
        </p:spPr>
        <p:txBody>
          <a:bodyPr wrap="none" rtlCol="0">
            <a:spAutoFit/>
          </a:bodyPr>
          <a:lstStyle/>
          <a:p>
            <a:pPr algn="r" defTabSz="857124"/>
            <a:r>
              <a:rPr lang="en-US" sz="1961" kern="0" dirty="0">
                <a:solidFill>
                  <a:srgbClr val="FFC000"/>
                </a:solidFill>
                <a:latin typeface="Calibri Light" panose="020F0302020204030204"/>
              </a:rPr>
              <a:t>Availability SLA</a:t>
            </a:r>
          </a:p>
        </p:txBody>
      </p:sp>
      <p:sp>
        <p:nvSpPr>
          <p:cNvPr id="182" name="Oval 181"/>
          <p:cNvSpPr/>
          <p:nvPr/>
        </p:nvSpPr>
        <p:spPr>
          <a:xfrm>
            <a:off x="3834662" y="3165872"/>
            <a:ext cx="218352" cy="218352"/>
          </a:xfrm>
          <a:prstGeom prst="ellipse">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r>
              <a:rPr lang="en-US" sz="984" b="1" kern="0">
                <a:solidFill>
                  <a:sysClr val="windowText" lastClr="000000"/>
                </a:solidFill>
                <a:latin typeface="Calibri Light" panose="020F0302020204030204"/>
              </a:rPr>
              <a:t>2</a:t>
            </a:r>
          </a:p>
        </p:txBody>
      </p:sp>
      <p:grpSp>
        <p:nvGrpSpPr>
          <p:cNvPr id="2" name="Group 1"/>
          <p:cNvGrpSpPr/>
          <p:nvPr/>
        </p:nvGrpSpPr>
        <p:grpSpPr>
          <a:xfrm>
            <a:off x="5468883" y="2767128"/>
            <a:ext cx="1063839" cy="1004699"/>
            <a:chOff x="7639345" y="2360464"/>
            <a:chExt cx="1134922" cy="1071831"/>
          </a:xfrm>
        </p:grpSpPr>
        <p:cxnSp>
          <p:nvCxnSpPr>
            <p:cNvPr id="178" name="Straight Connector 177"/>
            <p:cNvCxnSpPr/>
            <p:nvPr/>
          </p:nvCxnSpPr>
          <p:spPr>
            <a:xfrm flipV="1">
              <a:off x="7639345" y="2471578"/>
              <a:ext cx="577314" cy="960717"/>
            </a:xfrm>
            <a:prstGeom prst="line">
              <a:avLst/>
            </a:prstGeom>
            <a:ln>
              <a:solidFill>
                <a:schemeClr val="bg1">
                  <a:lumMod val="75000"/>
                </a:schemeClr>
              </a:solidFill>
              <a:prstDash val="sysDot"/>
              <a:headEnd type="oval"/>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8216660" y="2471577"/>
              <a:ext cx="557607" cy="0"/>
            </a:xfrm>
            <a:prstGeom prst="line">
              <a:avLst/>
            </a:prstGeom>
            <a:ln>
              <a:solidFill>
                <a:schemeClr val="bg1">
                  <a:lumMod val="75000"/>
                </a:schemeClr>
              </a:solidFill>
              <a:prstDash val="sysDot"/>
              <a:tailEnd type="oval"/>
            </a:ln>
          </p:spPr>
          <p:style>
            <a:lnRef idx="1">
              <a:schemeClr val="accent1"/>
            </a:lnRef>
            <a:fillRef idx="0">
              <a:schemeClr val="accent1"/>
            </a:fillRef>
            <a:effectRef idx="0">
              <a:schemeClr val="accent1"/>
            </a:effectRef>
            <a:fontRef idx="minor">
              <a:schemeClr val="tx1"/>
            </a:fontRef>
          </p:style>
        </p:cxnSp>
        <p:sp>
          <p:nvSpPr>
            <p:cNvPr id="184" name="Oval 183"/>
            <p:cNvSpPr/>
            <p:nvPr/>
          </p:nvSpPr>
          <p:spPr>
            <a:xfrm>
              <a:off x="8141633" y="2360464"/>
              <a:ext cx="232941" cy="232941"/>
            </a:xfrm>
            <a:prstGeom prst="ellipse">
              <a:avLst/>
            </a:prstGeom>
            <a:solidFill>
              <a:schemeClr val="accent4">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r>
                <a:rPr lang="en-US" sz="984" b="1" kern="0">
                  <a:solidFill>
                    <a:sysClr val="windowText" lastClr="000000"/>
                  </a:solidFill>
                  <a:latin typeface="Calibri Light" panose="020F0302020204030204"/>
                </a:rPr>
                <a:t>4</a:t>
              </a:r>
            </a:p>
          </p:txBody>
        </p:sp>
      </p:grpSp>
      <p:cxnSp>
        <p:nvCxnSpPr>
          <p:cNvPr id="1029" name="Straight Connector 1028"/>
          <p:cNvCxnSpPr/>
          <p:nvPr/>
        </p:nvCxnSpPr>
        <p:spPr>
          <a:xfrm flipH="1" flipV="1">
            <a:off x="4574928" y="2418973"/>
            <a:ext cx="434897" cy="1444817"/>
          </a:xfrm>
          <a:prstGeom prst="line">
            <a:avLst/>
          </a:prstGeom>
          <a:ln>
            <a:solidFill>
              <a:schemeClr val="bg1">
                <a:lumMod val="75000"/>
              </a:schemeClr>
            </a:solidFill>
            <a:prstDash val="sysDot"/>
            <a:headEnd type="oval"/>
          </a:ln>
        </p:spPr>
        <p:style>
          <a:lnRef idx="1">
            <a:schemeClr val="accent1"/>
          </a:lnRef>
          <a:fillRef idx="0">
            <a:schemeClr val="accent1"/>
          </a:fillRef>
          <a:effectRef idx="0">
            <a:schemeClr val="accent1"/>
          </a:effectRef>
          <a:fontRef idx="minor">
            <a:schemeClr val="tx1"/>
          </a:fontRef>
        </p:style>
      </p:cxnSp>
      <p:sp>
        <p:nvSpPr>
          <p:cNvPr id="195" name="Oval 194"/>
          <p:cNvSpPr/>
          <p:nvPr/>
        </p:nvSpPr>
        <p:spPr>
          <a:xfrm>
            <a:off x="4455122" y="2280271"/>
            <a:ext cx="218352" cy="218352"/>
          </a:xfrm>
          <a:prstGeom prst="ellipse">
            <a:avLst/>
          </a:prstGeom>
          <a:solidFill>
            <a:schemeClr val="accent3"/>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r>
              <a:rPr lang="en-US" sz="984" b="1" kern="0" dirty="0">
                <a:solidFill>
                  <a:sysClr val="windowText" lastClr="000000"/>
                </a:solidFill>
                <a:latin typeface="Calibri Light" panose="020F0302020204030204"/>
              </a:rPr>
              <a:t>3</a:t>
            </a:r>
          </a:p>
        </p:txBody>
      </p:sp>
      <p:cxnSp>
        <p:nvCxnSpPr>
          <p:cNvPr id="199" name="Straight Connector 198"/>
          <p:cNvCxnSpPr/>
          <p:nvPr/>
        </p:nvCxnSpPr>
        <p:spPr>
          <a:xfrm flipH="1">
            <a:off x="3510158" y="4687903"/>
            <a:ext cx="321225" cy="0"/>
          </a:xfrm>
          <a:prstGeom prst="line">
            <a:avLst/>
          </a:prstGeom>
          <a:ln>
            <a:solidFill>
              <a:schemeClr val="bg1">
                <a:lumMod val="75000"/>
              </a:schemeClr>
            </a:solid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flipH="1">
            <a:off x="3831383" y="4687903"/>
            <a:ext cx="617470" cy="0"/>
          </a:xfrm>
          <a:prstGeom prst="line">
            <a:avLst/>
          </a:prstGeom>
          <a:ln>
            <a:solidFill>
              <a:schemeClr val="bg1">
                <a:lumMod val="75000"/>
              </a:schemeClr>
            </a:solidFill>
            <a:prstDash val="sysDot"/>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90" name="Oval 89"/>
          <p:cNvSpPr/>
          <p:nvPr/>
        </p:nvSpPr>
        <p:spPr>
          <a:xfrm>
            <a:off x="3875897" y="4578729"/>
            <a:ext cx="218352" cy="218352"/>
          </a:xfrm>
          <a:prstGeom prst="ellipse">
            <a:avLst/>
          </a:prstGeom>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r>
              <a:rPr lang="en-US" sz="984" b="1" kern="0" dirty="0">
                <a:solidFill>
                  <a:sysClr val="windowText" lastClr="000000"/>
                </a:solidFill>
                <a:latin typeface="Calibri Light" panose="020F0302020204030204"/>
              </a:rPr>
              <a:t>1</a:t>
            </a:r>
          </a:p>
        </p:txBody>
      </p:sp>
      <p:pic>
        <p:nvPicPr>
          <p:cNvPr id="168" name="Picture 16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12851" y="4151011"/>
            <a:ext cx="433911" cy="433911"/>
          </a:xfrm>
          <a:prstGeom prst="rect">
            <a:avLst/>
          </a:prstGeom>
        </p:spPr>
      </p:pic>
      <p:sp>
        <p:nvSpPr>
          <p:cNvPr id="136" name="Title 1">
            <a:extLst/>
          </p:cNvPr>
          <p:cNvSpPr txBox="1">
            <a:spLocks/>
          </p:cNvSpPr>
          <p:nvPr/>
        </p:nvSpPr>
        <p:spPr>
          <a:xfrm>
            <a:off x="1885580" y="874321"/>
            <a:ext cx="10017338" cy="821424"/>
          </a:xfrm>
          <a:prstGeom prst="rect">
            <a:avLst/>
          </a:prstGeom>
          <a:solidFill>
            <a:schemeClr val="tx1"/>
          </a:solidFill>
        </p:spPr>
        <p:txBody>
          <a:bodyPr wrap="square" tIns="84027" bIns="84027"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874318">
              <a:defRPr/>
            </a:pPr>
            <a:r>
              <a:rPr lang="en-US" sz="4705" spc="0" dirty="0">
                <a:solidFill>
                  <a:prstClr val="white"/>
                </a:solidFill>
                <a:latin typeface="Segoe UI Light" panose="020B0502040204020203" pitchFamily="34" charset="0"/>
                <a:cs typeface="Segoe UI Light" panose="020B0502040204020203" pitchFamily="34" charset="0"/>
              </a:rPr>
              <a:t>Industry-Leading, Comprehensive SLAs</a:t>
            </a:r>
          </a:p>
        </p:txBody>
      </p:sp>
      <p:grpSp>
        <p:nvGrpSpPr>
          <p:cNvPr id="137" name="Group 136"/>
          <p:cNvGrpSpPr/>
          <p:nvPr/>
        </p:nvGrpSpPr>
        <p:grpSpPr>
          <a:xfrm>
            <a:off x="331497" y="692583"/>
            <a:ext cx="1455135" cy="1122087"/>
            <a:chOff x="1039811" y="3152773"/>
            <a:chExt cx="1484313" cy="1144587"/>
          </a:xfrm>
          <a:solidFill>
            <a:srgbClr val="00B0F0"/>
          </a:solidFill>
        </p:grpSpPr>
        <p:sp>
          <p:nvSpPr>
            <p:cNvPr id="138" name="Freeform 284"/>
            <p:cNvSpPr>
              <a:spLocks/>
            </p:cNvSpPr>
            <p:nvPr/>
          </p:nvSpPr>
          <p:spPr bwMode="auto">
            <a:xfrm>
              <a:off x="1039811" y="3152773"/>
              <a:ext cx="1484313" cy="1144587"/>
            </a:xfrm>
            <a:custGeom>
              <a:avLst/>
              <a:gdLst>
                <a:gd name="T0" fmla="*/ 377 w 435"/>
                <a:gd name="T1" fmla="*/ 95 h 277"/>
                <a:gd name="T2" fmla="*/ 374 w 435"/>
                <a:gd name="T3" fmla="*/ 95 h 277"/>
                <a:gd name="T4" fmla="*/ 265 w 435"/>
                <a:gd name="T5" fmla="*/ 17 h 277"/>
                <a:gd name="T6" fmla="*/ 240 w 435"/>
                <a:gd name="T7" fmla="*/ 20 h 277"/>
                <a:gd name="T8" fmla="*/ 173 w 435"/>
                <a:gd name="T9" fmla="*/ 0 h 277"/>
                <a:gd name="T10" fmla="*/ 61 w 435"/>
                <a:gd name="T11" fmla="*/ 95 h 277"/>
                <a:gd name="T12" fmla="*/ 58 w 435"/>
                <a:gd name="T13" fmla="*/ 95 h 277"/>
                <a:gd name="T14" fmla="*/ 0 w 435"/>
                <a:gd name="T15" fmla="*/ 148 h 277"/>
                <a:gd name="T16" fmla="*/ 58 w 435"/>
                <a:gd name="T17" fmla="*/ 200 h 277"/>
                <a:gd name="T18" fmla="*/ 58 w 435"/>
                <a:gd name="T19" fmla="*/ 200 h 277"/>
                <a:gd name="T20" fmla="*/ 154 w 435"/>
                <a:gd name="T21" fmla="*/ 277 h 277"/>
                <a:gd name="T22" fmla="*/ 214 w 435"/>
                <a:gd name="T23" fmla="*/ 258 h 277"/>
                <a:gd name="T24" fmla="*/ 274 w 435"/>
                <a:gd name="T25" fmla="*/ 277 h 277"/>
                <a:gd name="T26" fmla="*/ 370 w 435"/>
                <a:gd name="T27" fmla="*/ 200 h 277"/>
                <a:gd name="T28" fmla="*/ 377 w 435"/>
                <a:gd name="T29" fmla="*/ 200 h 277"/>
                <a:gd name="T30" fmla="*/ 435 w 435"/>
                <a:gd name="T31" fmla="*/ 148 h 277"/>
                <a:gd name="T32" fmla="*/ 377 w 435"/>
                <a:gd name="T33" fmla="*/ 9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35" h="277">
                  <a:moveTo>
                    <a:pt x="377" y="95"/>
                  </a:moveTo>
                  <a:cubicBezTo>
                    <a:pt x="376" y="95"/>
                    <a:pt x="375" y="95"/>
                    <a:pt x="374" y="95"/>
                  </a:cubicBezTo>
                  <a:cubicBezTo>
                    <a:pt x="363" y="50"/>
                    <a:pt x="318" y="17"/>
                    <a:pt x="265" y="17"/>
                  </a:cubicBezTo>
                  <a:cubicBezTo>
                    <a:pt x="256" y="17"/>
                    <a:pt x="248" y="18"/>
                    <a:pt x="240" y="20"/>
                  </a:cubicBezTo>
                  <a:cubicBezTo>
                    <a:pt x="221" y="7"/>
                    <a:pt x="198" y="0"/>
                    <a:pt x="173" y="0"/>
                  </a:cubicBezTo>
                  <a:cubicBezTo>
                    <a:pt x="114" y="0"/>
                    <a:pt x="65" y="42"/>
                    <a:pt x="61" y="95"/>
                  </a:cubicBezTo>
                  <a:cubicBezTo>
                    <a:pt x="60" y="95"/>
                    <a:pt x="59" y="95"/>
                    <a:pt x="58" y="95"/>
                  </a:cubicBezTo>
                  <a:cubicBezTo>
                    <a:pt x="26" y="95"/>
                    <a:pt x="0" y="119"/>
                    <a:pt x="0" y="148"/>
                  </a:cubicBezTo>
                  <a:cubicBezTo>
                    <a:pt x="0" y="177"/>
                    <a:pt x="26" y="200"/>
                    <a:pt x="58" y="200"/>
                  </a:cubicBezTo>
                  <a:cubicBezTo>
                    <a:pt x="58" y="200"/>
                    <a:pt x="58" y="200"/>
                    <a:pt x="58" y="200"/>
                  </a:cubicBezTo>
                  <a:cubicBezTo>
                    <a:pt x="64" y="243"/>
                    <a:pt x="105" y="277"/>
                    <a:pt x="154" y="277"/>
                  </a:cubicBezTo>
                  <a:cubicBezTo>
                    <a:pt x="177" y="277"/>
                    <a:pt x="198" y="270"/>
                    <a:pt x="214" y="258"/>
                  </a:cubicBezTo>
                  <a:cubicBezTo>
                    <a:pt x="231" y="270"/>
                    <a:pt x="251" y="277"/>
                    <a:pt x="274" y="277"/>
                  </a:cubicBezTo>
                  <a:cubicBezTo>
                    <a:pt x="324" y="277"/>
                    <a:pt x="364" y="243"/>
                    <a:pt x="370" y="200"/>
                  </a:cubicBezTo>
                  <a:cubicBezTo>
                    <a:pt x="372" y="200"/>
                    <a:pt x="375" y="200"/>
                    <a:pt x="377" y="200"/>
                  </a:cubicBezTo>
                  <a:cubicBezTo>
                    <a:pt x="409" y="200"/>
                    <a:pt x="435" y="177"/>
                    <a:pt x="435" y="148"/>
                  </a:cubicBezTo>
                  <a:cubicBezTo>
                    <a:pt x="435" y="119"/>
                    <a:pt x="409" y="95"/>
                    <a:pt x="377"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prstClr val="black"/>
                </a:solidFill>
                <a:latin typeface="Calibri" panose="020F0502020204030204"/>
              </a:endParaRPr>
            </a:p>
          </p:txBody>
        </p:sp>
        <p:sp>
          <p:nvSpPr>
            <p:cNvPr id="140" name="TextBox 139"/>
            <p:cNvSpPr txBox="1"/>
            <p:nvPr/>
          </p:nvSpPr>
          <p:spPr>
            <a:xfrm>
              <a:off x="1434571" y="3344862"/>
              <a:ext cx="629018" cy="849463"/>
            </a:xfrm>
            <a:prstGeom prst="rect">
              <a:avLst/>
            </a:prstGeom>
            <a:grpFill/>
          </p:spPr>
          <p:txBody>
            <a:bodyPr wrap="none" lIns="179285" tIns="143428" rIns="179285" bIns="143428" rtlCol="0">
              <a:spAutoFit/>
            </a:bodyPr>
            <a:lstStyle/>
            <a:p>
              <a:pPr defTabSz="914367">
                <a:lnSpc>
                  <a:spcPct val="90000"/>
                </a:lnSpc>
                <a:spcAft>
                  <a:spcPts val="588"/>
                </a:spcAft>
              </a:pPr>
              <a:r>
                <a:rPr lang="en-US" sz="3921" b="1" dirty="0">
                  <a:solidFill>
                    <a:srgbClr val="000000"/>
                  </a:solidFill>
                  <a:latin typeface="Calibri" panose="020F0502020204030204"/>
                </a:rPr>
                <a:t>6</a:t>
              </a:r>
            </a:p>
          </p:txBody>
        </p:sp>
      </p:grpSp>
    </p:spTree>
    <p:extLst>
      <p:ext uri="{BB962C8B-B14F-4D97-AF65-F5344CB8AC3E}">
        <p14:creationId xmlns:p14="http://schemas.microsoft.com/office/powerpoint/2010/main" val="324093863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941557" y="296007"/>
            <a:ext cx="8366632" cy="974774"/>
          </a:xfrm>
        </p:spPr>
        <p:txBody>
          <a:bodyPr>
            <a:noAutofit/>
          </a:bodyPr>
          <a:lstStyle/>
          <a:p>
            <a:pPr algn="ctr"/>
            <a:r>
              <a:rPr lang="en-US" sz="5882" spc="-281" dirty="0">
                <a:solidFill>
                  <a:schemeClr val="bg1"/>
                </a:solidFill>
                <a:latin typeface="Segoe UI Light" panose="020B0502040204020203" pitchFamily="34" charset="0"/>
                <a:ea typeface="Segoe UI Black" panose="020B0A02040204020203" pitchFamily="34" charset="0"/>
                <a:cs typeface="Segoe UI Light" panose="020B0502040204020203" pitchFamily="34" charset="0"/>
              </a:rPr>
              <a:t>Comprehensive SLAs</a:t>
            </a:r>
          </a:p>
        </p:txBody>
      </p:sp>
      <p:sp>
        <p:nvSpPr>
          <p:cNvPr id="2" name="Content Placeholder 1"/>
          <p:cNvSpPr>
            <a:spLocks noGrp="1"/>
          </p:cNvSpPr>
          <p:nvPr>
            <p:ph idx="1"/>
          </p:nvPr>
        </p:nvSpPr>
        <p:spPr>
          <a:xfrm>
            <a:off x="232194" y="1480399"/>
            <a:ext cx="4108614" cy="5019207"/>
          </a:xfrm>
          <a:noFill/>
        </p:spPr>
        <p:txBody>
          <a:bodyPr>
            <a:normAutofit fontScale="47500" lnSpcReduction="20000"/>
          </a:bodyPr>
          <a:lstStyle/>
          <a:p>
            <a:pPr marL="0" indent="0">
              <a:buNone/>
            </a:pPr>
            <a:r>
              <a:rPr lang="en-US" dirty="0">
                <a:solidFill>
                  <a:schemeClr val="bg1"/>
                </a:solidFill>
                <a:latin typeface="Segoe UI Light" panose="020B0502040204020203" pitchFamily="34" charset="0"/>
                <a:cs typeface="Segoe UI Light" panose="020B0502040204020203" pitchFamily="34" charset="0"/>
              </a:rPr>
              <a:t>Globally distributed database needs to tackle </a:t>
            </a:r>
          </a:p>
          <a:p>
            <a:pPr marL="799740" indent="-728314">
              <a:buFont typeface="+mj-lt"/>
              <a:buAutoNum type="arabicPeriod"/>
            </a:pPr>
            <a:r>
              <a:rPr lang="en-US" dirty="0">
                <a:solidFill>
                  <a:schemeClr val="bg1"/>
                </a:solidFill>
                <a:latin typeface="Segoe UI Light" panose="020B0502040204020203" pitchFamily="34" charset="0"/>
                <a:cs typeface="Segoe UI Light" panose="020B0502040204020203" pitchFamily="34" charset="0"/>
              </a:rPr>
              <a:t>latency vs. consistency tradeoffs (in steady state, </a:t>
            </a:r>
          </a:p>
          <a:p>
            <a:pPr marL="799740" indent="-728314">
              <a:buFont typeface="+mj-lt"/>
              <a:buAutoNum type="arabicPeriod"/>
            </a:pPr>
            <a:r>
              <a:rPr lang="en-US" dirty="0">
                <a:solidFill>
                  <a:schemeClr val="bg1"/>
                </a:solidFill>
                <a:latin typeface="Segoe UI Light" panose="020B0502040204020203" pitchFamily="34" charset="0"/>
                <a:cs typeface="Segoe UI Light" panose="020B0502040204020203" pitchFamily="34" charset="0"/>
              </a:rPr>
              <a:t>availability vs. consistency tradeoff (during failures</a:t>
            </a:r>
          </a:p>
          <a:p>
            <a:pPr marL="799740" indent="-728314">
              <a:buFont typeface="+mj-lt"/>
              <a:buAutoNum type="arabicPeriod"/>
            </a:pPr>
            <a:r>
              <a:rPr lang="en-US" dirty="0">
                <a:solidFill>
                  <a:schemeClr val="bg1"/>
                </a:solidFill>
                <a:latin typeface="Segoe UI Light" panose="020B0502040204020203" pitchFamily="34" charset="0"/>
                <a:cs typeface="Segoe UI Light" panose="020B0502040204020203" pitchFamily="34" charset="0"/>
              </a:rPr>
              <a:t>throughput vs. consistency tradeoffs during all times</a:t>
            </a:r>
          </a:p>
          <a:p>
            <a:pPr marL="799740" indent="-728314">
              <a:buFont typeface="+mj-lt"/>
              <a:buAutoNum type="arabicPeriod"/>
            </a:pPr>
            <a:r>
              <a:rPr lang="en-US" dirty="0">
                <a:solidFill>
                  <a:schemeClr val="bg1"/>
                </a:solidFill>
                <a:latin typeface="Segoe UI Light" panose="020B0502040204020203" pitchFamily="34" charset="0"/>
                <a:cs typeface="Segoe UI Light" panose="020B0502040204020203" pitchFamily="34" charset="0"/>
              </a:rPr>
              <a:t>throughput vs. latency tradeoffs during all times</a:t>
            </a:r>
          </a:p>
          <a:p>
            <a:pPr marL="0" indent="0">
              <a:buNone/>
            </a:pPr>
            <a:endParaRPr lang="en-US" dirty="0">
              <a:solidFill>
                <a:schemeClr val="bg1"/>
              </a:solidFill>
              <a:latin typeface="Segoe UI Light" panose="020B0502040204020203" pitchFamily="34" charset="0"/>
              <a:cs typeface="Segoe UI Light" panose="020B0502040204020203" pitchFamily="34" charset="0"/>
            </a:endParaRPr>
          </a:p>
          <a:p>
            <a:pPr marL="0" indent="0">
              <a:buNone/>
            </a:pPr>
            <a:r>
              <a:rPr lang="en-US" dirty="0">
                <a:solidFill>
                  <a:schemeClr val="bg1"/>
                </a:solidFill>
                <a:latin typeface="Segoe UI Light" panose="020B0502040204020203" pitchFamily="34" charset="0"/>
                <a:cs typeface="Segoe UI Light" panose="020B0502040204020203" pitchFamily="34" charset="0"/>
              </a:rPr>
              <a:t>Simply offering high availability SLAs are not sufficient!</a:t>
            </a:r>
          </a:p>
          <a:p>
            <a:endParaRPr lang="en-US" dirty="0">
              <a:solidFill>
                <a:schemeClr val="bg1"/>
              </a:solidFill>
              <a:latin typeface="Segoe UI Light" panose="020B0502040204020203" pitchFamily="34" charset="0"/>
              <a:cs typeface="Segoe UI Light" panose="020B0502040204020203" pitchFamily="34" charset="0"/>
            </a:endParaRPr>
          </a:p>
          <a:p>
            <a:pPr marL="0" indent="0">
              <a:buNone/>
            </a:pPr>
            <a:r>
              <a:rPr lang="en-US" dirty="0">
                <a:solidFill>
                  <a:schemeClr val="bg1"/>
                </a:solidFill>
                <a:latin typeface="Segoe UI Light" panose="020B0502040204020203" pitchFamily="34" charset="0"/>
                <a:cs typeface="Segoe UI Light" panose="020B0502040204020203" pitchFamily="34" charset="0"/>
              </a:rPr>
              <a:t>Cosmos DB: </a:t>
            </a:r>
          </a:p>
          <a:p>
            <a:pPr lvl="1"/>
            <a:r>
              <a:rPr lang="en-US" dirty="0">
                <a:solidFill>
                  <a:schemeClr val="bg1"/>
                </a:solidFill>
                <a:latin typeface="Segoe UI Light" panose="020B0502040204020203" pitchFamily="34" charset="0"/>
                <a:cs typeface="Segoe UI Light" panose="020B0502040204020203" pitchFamily="34" charset="0"/>
              </a:rPr>
              <a:t>99.99% HA within a single region </a:t>
            </a:r>
          </a:p>
          <a:p>
            <a:pPr lvl="1"/>
            <a:r>
              <a:rPr lang="en-US" dirty="0">
                <a:solidFill>
                  <a:schemeClr val="bg1"/>
                </a:solidFill>
                <a:latin typeface="Segoe UI Light" panose="020B0502040204020203" pitchFamily="34" charset="0"/>
                <a:cs typeface="Segoe UI Light" panose="020B0502040204020203" pitchFamily="34" charset="0"/>
              </a:rPr>
              <a:t>99.999% across regions</a:t>
            </a:r>
          </a:p>
          <a:p>
            <a:pPr marL="262575" indent="-262575" defTabSz="840239"/>
            <a:endParaRPr lang="en-US" sz="2250" kern="0" dirty="0">
              <a:solidFill>
                <a:schemeClr val="bg1"/>
              </a:solidFill>
              <a:latin typeface="Segoe UI Light" panose="020B0502040204020203" pitchFamily="34" charset="0"/>
              <a:cs typeface="Segoe UI Light" panose="020B0502040204020203" pitchFamily="34" charset="0"/>
            </a:endParaRPr>
          </a:p>
        </p:txBody>
      </p:sp>
      <mc:AlternateContent xmlns:mc="http://schemas.openxmlformats.org/markup-compatibility/2006" xmlns:p14="http://schemas.microsoft.com/office/powerpoint/2010/main">
        <mc:Choice Requires="p14">
          <p:contentPart p14:bwMode="auto" r:id="rId3">
            <p14:nvContentPartPr>
              <p14:cNvPr id="5" name="Ink 4"/>
              <p14:cNvContentPartPr/>
              <p14:nvPr/>
            </p14:nvContentPartPr>
            <p14:xfrm>
              <a:off x="7986799" y="3590141"/>
              <a:ext cx="3812099" cy="218989"/>
            </p14:xfrm>
          </p:contentPart>
        </mc:Choice>
        <mc:Fallback xmlns="">
          <p:pic>
            <p:nvPicPr>
              <p:cNvPr id="5" name="Ink 4"/>
              <p:cNvPicPr/>
              <p:nvPr/>
            </p:nvPicPr>
            <p:blipFill>
              <a:blip r:embed="rId5"/>
              <a:stretch>
                <a:fillRect/>
              </a:stretch>
            </p:blipFill>
            <p:spPr>
              <a:xfrm>
                <a:off x="7968799" y="3554123"/>
                <a:ext cx="3847740" cy="290665"/>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7" name="Ink 6"/>
              <p14:cNvContentPartPr/>
              <p14:nvPr/>
            </p14:nvContentPartPr>
            <p14:xfrm>
              <a:off x="8017856" y="3739957"/>
              <a:ext cx="514033" cy="19058"/>
            </p14:xfrm>
          </p:contentPart>
        </mc:Choice>
        <mc:Fallback xmlns="">
          <p:pic>
            <p:nvPicPr>
              <p:cNvPr id="7" name="Ink 6"/>
              <p:cNvPicPr/>
              <p:nvPr/>
            </p:nvPicPr>
            <p:blipFill>
              <a:blip r:embed="rId7"/>
              <a:stretch>
                <a:fillRect/>
              </a:stretch>
            </p:blipFill>
            <p:spPr>
              <a:xfrm>
                <a:off x="7999858" y="3703999"/>
                <a:ext cx="549670" cy="90615"/>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8" name="Ink 7"/>
              <p14:cNvContentPartPr/>
              <p14:nvPr/>
            </p14:nvContentPartPr>
            <p14:xfrm>
              <a:off x="8011680" y="3676960"/>
              <a:ext cx="1121590" cy="144522"/>
            </p14:xfrm>
          </p:contentPart>
        </mc:Choice>
        <mc:Fallback xmlns="">
          <p:pic>
            <p:nvPicPr>
              <p:cNvPr id="8" name="Ink 7"/>
              <p:cNvPicPr/>
              <p:nvPr/>
            </p:nvPicPr>
            <p:blipFill>
              <a:blip r:embed="rId9"/>
              <a:stretch>
                <a:fillRect/>
              </a:stretch>
            </p:blipFill>
            <p:spPr>
              <a:xfrm>
                <a:off x="7993683" y="3640920"/>
                <a:ext cx="1157225" cy="216242"/>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9" name="Ink 8"/>
              <p14:cNvContentPartPr/>
              <p14:nvPr/>
            </p14:nvContentPartPr>
            <p14:xfrm>
              <a:off x="8982924" y="3718958"/>
              <a:ext cx="570147" cy="21352"/>
            </p14:xfrm>
          </p:contentPart>
        </mc:Choice>
        <mc:Fallback xmlns="">
          <p:pic>
            <p:nvPicPr>
              <p:cNvPr id="9" name="Ink 8"/>
              <p:cNvPicPr/>
              <p:nvPr/>
            </p:nvPicPr>
            <p:blipFill>
              <a:blip r:embed="rId11"/>
              <a:stretch>
                <a:fillRect/>
              </a:stretch>
            </p:blipFill>
            <p:spPr>
              <a:xfrm>
                <a:off x="8964927" y="3683371"/>
                <a:ext cx="605781" cy="92169"/>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10" name="Ink 9"/>
              <p14:cNvContentPartPr/>
              <p14:nvPr/>
            </p14:nvContentPartPr>
            <p14:xfrm>
              <a:off x="4390512" y="3864009"/>
              <a:ext cx="671789" cy="125994"/>
            </p14:xfrm>
          </p:contentPart>
        </mc:Choice>
        <mc:Fallback xmlns="">
          <p:pic>
            <p:nvPicPr>
              <p:cNvPr id="10" name="Ink 9"/>
              <p:cNvPicPr/>
              <p:nvPr/>
            </p:nvPicPr>
            <p:blipFill>
              <a:blip r:embed="rId13"/>
              <a:stretch>
                <a:fillRect/>
              </a:stretch>
            </p:blipFill>
            <p:spPr>
              <a:xfrm>
                <a:off x="4372511" y="3828113"/>
                <a:ext cx="707431" cy="197426"/>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11" name="Ink 10"/>
              <p14:cNvContentPartPr/>
              <p14:nvPr/>
            </p14:nvContentPartPr>
            <p14:xfrm>
              <a:off x="13595629" y="5302524"/>
              <a:ext cx="5117" cy="176"/>
            </p14:xfrm>
          </p:contentPart>
        </mc:Choice>
        <mc:Fallback xmlns="">
          <p:pic>
            <p:nvPicPr>
              <p:cNvPr id="11" name="Ink 10"/>
              <p:cNvPicPr/>
              <p:nvPr/>
            </p:nvPicPr>
            <p:blipFill>
              <a:blip r:embed="rId15"/>
              <a:stretch>
                <a:fillRect/>
              </a:stretch>
            </p:blipFill>
            <p:spPr>
              <a:xfrm>
                <a:off x="13586807" y="5284924"/>
                <a:ext cx="22585" cy="35200"/>
              </a:xfrm>
              <a:prstGeom prst="rect">
                <a:avLst/>
              </a:prstGeom>
            </p:spPr>
          </p:pic>
        </mc:Fallback>
      </mc:AlternateContent>
      <p:pic>
        <p:nvPicPr>
          <p:cNvPr id="3" name="Picture 2">
            <a:extLst>
              <a:ext uri="{FF2B5EF4-FFF2-40B4-BE49-F238E27FC236}">
                <a16:creationId xmlns:a16="http://schemas.microsoft.com/office/drawing/2014/main" id="{A5908176-2813-4E51-9A28-5422096FB51D}"/>
              </a:ext>
            </a:extLst>
          </p:cNvPr>
          <p:cNvPicPr>
            <a:picLocks noChangeAspect="1"/>
          </p:cNvPicPr>
          <p:nvPr/>
        </p:nvPicPr>
        <p:blipFill>
          <a:blip r:embed="rId16"/>
          <a:stretch>
            <a:fillRect/>
          </a:stretch>
        </p:blipFill>
        <p:spPr>
          <a:xfrm>
            <a:off x="4107162" y="2014155"/>
            <a:ext cx="8084838" cy="5301045"/>
          </a:xfrm>
          <a:prstGeom prst="rect">
            <a:avLst/>
          </a:prstGeom>
        </p:spPr>
      </p:pic>
    </p:spTree>
    <p:extLst>
      <p:ext uri="{BB962C8B-B14F-4D97-AF65-F5344CB8AC3E}">
        <p14:creationId xmlns:p14="http://schemas.microsoft.com/office/powerpoint/2010/main" val="423966650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18D1CC9B-C810-4CCE-8F36-F7EC751C5718}"/>
              </a:ext>
            </a:extLst>
          </p:cNvPr>
          <p:cNvSpPr txBox="1"/>
          <p:nvPr/>
        </p:nvSpPr>
        <p:spPr>
          <a:xfrm>
            <a:off x="343941" y="3263680"/>
            <a:ext cx="3361593" cy="2703468"/>
          </a:xfrm>
          <a:prstGeom prst="rect">
            <a:avLst/>
          </a:prstGeom>
          <a:noFill/>
        </p:spPr>
        <p:txBody>
          <a:bodyPr wrap="square" lIns="179285" tIns="143428" rIns="179285" bIns="143428" rtlCol="0">
            <a:spAutoFit/>
          </a:bodyPr>
          <a:lstStyle/>
          <a:p>
            <a:pPr defTabSz="913837">
              <a:spcAft>
                <a:spcPts val="1765"/>
              </a:spcAft>
              <a:defRPr/>
            </a:pPr>
            <a:r>
              <a:rPr lang="en-US" sz="1961" kern="0" dirty="0">
                <a:solidFill>
                  <a:srgbClr val="FFFFFF"/>
                </a:solidFill>
                <a:latin typeface="Segoe UI Semibold" panose="020B0702040204020203" pitchFamily="34" charset="0"/>
                <a:cs typeface="Segoe UI Semibold" panose="020B0702040204020203" pitchFamily="34" charset="0"/>
              </a:rPr>
              <a:t>High Availability</a:t>
            </a:r>
          </a:p>
          <a:p>
            <a:pPr defTabSz="913837">
              <a:spcAft>
                <a:spcPts val="1765"/>
              </a:spcAft>
              <a:defRPr/>
            </a:pPr>
            <a:r>
              <a:rPr lang="en-US" sz="1961" kern="0" dirty="0">
                <a:solidFill>
                  <a:srgbClr val="FFFFFF"/>
                </a:solidFill>
                <a:latin typeface="Segoe UI Semibold" panose="020B0702040204020203" pitchFamily="34" charset="0"/>
                <a:cs typeface="Segoe UI Semibold" panose="020B0702040204020203" pitchFamily="34" charset="0"/>
              </a:rPr>
              <a:t>Performance Latency</a:t>
            </a:r>
          </a:p>
          <a:p>
            <a:pPr defTabSz="913837">
              <a:spcAft>
                <a:spcPts val="1765"/>
              </a:spcAft>
              <a:defRPr/>
            </a:pPr>
            <a:r>
              <a:rPr lang="en-US" sz="1961" kern="0" dirty="0">
                <a:solidFill>
                  <a:srgbClr val="FFFFFF"/>
                </a:solidFill>
                <a:latin typeface="Segoe UI Semibold" panose="020B0702040204020203" pitchFamily="34" charset="0"/>
                <a:cs typeface="Segoe UI Semibold" panose="020B0702040204020203" pitchFamily="34" charset="0"/>
              </a:rPr>
              <a:t>Performance Throughput</a:t>
            </a:r>
          </a:p>
          <a:p>
            <a:pPr defTabSz="913837">
              <a:spcAft>
                <a:spcPts val="1765"/>
              </a:spcAft>
              <a:defRPr/>
            </a:pPr>
            <a:r>
              <a:rPr lang="en-US" sz="1961" kern="0" dirty="0">
                <a:solidFill>
                  <a:srgbClr val="FFFFFF"/>
                </a:solidFill>
                <a:latin typeface="Segoe UI Semibold" panose="020B0702040204020203" pitchFamily="34" charset="0"/>
                <a:cs typeface="Segoe UI Semibold" panose="020B0702040204020203" pitchFamily="34" charset="0"/>
              </a:rPr>
              <a:t>Data Consistency</a:t>
            </a:r>
          </a:p>
          <a:p>
            <a:pPr defTabSz="913837">
              <a:spcAft>
                <a:spcPts val="1765"/>
              </a:spcAft>
              <a:defRPr/>
            </a:pPr>
            <a:endParaRPr lang="en-US" sz="1961" kern="0" dirty="0">
              <a:solidFill>
                <a:srgbClr val="FFFFFF"/>
              </a:solidFill>
              <a:latin typeface="Segoe UI Semibold" panose="020B0702040204020203" pitchFamily="34" charset="0"/>
              <a:cs typeface="Segoe UI Semibold" panose="020B0702040204020203" pitchFamily="34" charset="0"/>
            </a:endParaRPr>
          </a:p>
        </p:txBody>
      </p:sp>
      <p:sp>
        <p:nvSpPr>
          <p:cNvPr id="27" name="Title 1">
            <a:extLst>
              <a:ext uri="{FF2B5EF4-FFF2-40B4-BE49-F238E27FC236}">
                <a16:creationId xmlns:a16="http://schemas.microsoft.com/office/drawing/2014/main" id="{F40A6514-276B-4EF0-8E53-52D1C9049A3D}"/>
              </a:ext>
            </a:extLst>
          </p:cNvPr>
          <p:cNvSpPr txBox="1">
            <a:spLocks/>
          </p:cNvSpPr>
          <p:nvPr/>
        </p:nvSpPr>
        <p:spPr>
          <a:xfrm>
            <a:off x="194537" y="462629"/>
            <a:ext cx="11818491" cy="914231"/>
          </a:xfrm>
          <a:prstGeom prst="rect">
            <a:avLst/>
          </a:prstGeom>
          <a:noFill/>
        </p:spPr>
        <p:txBody>
          <a:bodyPr wrap="square" tIns="89642" bIns="89642"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914367">
              <a:defRPr/>
            </a:pPr>
            <a:r>
              <a:rPr lang="en-US" sz="5294" spc="-98" dirty="0">
                <a:gradFill>
                  <a:gsLst>
                    <a:gs pos="0">
                      <a:srgbClr val="FFFFFF"/>
                    </a:gs>
                    <a:gs pos="100000">
                      <a:srgbClr val="FFFFFF"/>
                    </a:gs>
                  </a:gsLst>
                  <a:lin ang="5400000" scaled="0"/>
                </a:gradFill>
                <a:latin typeface="Segoe UI Light"/>
              </a:rPr>
              <a:t>Azure Cosmos DB</a:t>
            </a:r>
          </a:p>
        </p:txBody>
      </p:sp>
      <p:sp>
        <p:nvSpPr>
          <p:cNvPr id="28" name="Title 1">
            <a:extLst>
              <a:ext uri="{FF2B5EF4-FFF2-40B4-BE49-F238E27FC236}">
                <a16:creationId xmlns:a16="http://schemas.microsoft.com/office/drawing/2014/main" id="{0EB7F75B-04EE-4901-B2E5-8CA1F5B12564}"/>
              </a:ext>
            </a:extLst>
          </p:cNvPr>
          <p:cNvSpPr txBox="1">
            <a:spLocks/>
          </p:cNvSpPr>
          <p:nvPr/>
        </p:nvSpPr>
        <p:spPr>
          <a:xfrm>
            <a:off x="194537" y="1252690"/>
            <a:ext cx="11818491" cy="561211"/>
          </a:xfrm>
          <a:prstGeom prst="rect">
            <a:avLst/>
          </a:prstGeom>
          <a:noFill/>
        </p:spPr>
        <p:txBody>
          <a:bodyPr wrap="square" tIns="89642" bIns="89642" anchor="b"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algn="ctr" defTabSz="914367">
              <a:defRPr/>
            </a:pPr>
            <a:r>
              <a:rPr lang="en-US" sz="2745" spc="0" dirty="0">
                <a:solidFill>
                  <a:srgbClr val="0078D7">
                    <a:lumMod val="20000"/>
                    <a:lumOff val="80000"/>
                  </a:srgbClr>
                </a:solidFill>
                <a:latin typeface="Segoe UI" panose="020B0502040204020203" pitchFamily="34" charset="0"/>
              </a:rPr>
              <a:t>Only database with comprehensive SLAs across 4 dimensions</a:t>
            </a:r>
            <a:endParaRPr lang="en-US" sz="3921" spc="0" dirty="0">
              <a:solidFill>
                <a:srgbClr val="0078D7">
                  <a:lumMod val="20000"/>
                  <a:lumOff val="80000"/>
                </a:srgbClr>
              </a:solidFill>
              <a:latin typeface="Segoe UI" panose="020B0502040204020203" pitchFamily="34" charset="0"/>
            </a:endParaRPr>
          </a:p>
        </p:txBody>
      </p:sp>
      <p:grpSp>
        <p:nvGrpSpPr>
          <p:cNvPr id="2" name="Group 1">
            <a:extLst>
              <a:ext uri="{FF2B5EF4-FFF2-40B4-BE49-F238E27FC236}">
                <a16:creationId xmlns:a16="http://schemas.microsoft.com/office/drawing/2014/main" id="{285F750B-FBD8-4BB6-A48C-6359330544F0}"/>
              </a:ext>
            </a:extLst>
          </p:cNvPr>
          <p:cNvGrpSpPr/>
          <p:nvPr/>
        </p:nvGrpSpPr>
        <p:grpSpPr>
          <a:xfrm>
            <a:off x="4046987" y="2014156"/>
            <a:ext cx="8145014" cy="5104796"/>
            <a:chOff x="3929698" y="1754757"/>
            <a:chExt cx="8506778" cy="5331527"/>
          </a:xfrm>
        </p:grpSpPr>
        <p:grpSp>
          <p:nvGrpSpPr>
            <p:cNvPr id="13" name="Group 12">
              <a:extLst>
                <a:ext uri="{FF2B5EF4-FFF2-40B4-BE49-F238E27FC236}">
                  <a16:creationId xmlns:a16="http://schemas.microsoft.com/office/drawing/2014/main" id="{16C6988C-FFF5-4A52-BC2B-C5B851B43C70}"/>
                </a:ext>
              </a:extLst>
            </p:cNvPr>
            <p:cNvGrpSpPr/>
            <p:nvPr/>
          </p:nvGrpSpPr>
          <p:grpSpPr>
            <a:xfrm>
              <a:off x="3929698" y="2135757"/>
              <a:ext cx="8506778" cy="4950527"/>
              <a:chOff x="0" y="8731"/>
              <a:chExt cx="12410551" cy="7222331"/>
            </a:xfrm>
          </p:grpSpPr>
          <p:pic>
            <p:nvPicPr>
              <p:cNvPr id="14" name="Picture 13" descr="A picture containing screenshot, computer, laptop, indoor&#10;&#10;Description generated with very high confidence">
                <a:extLst>
                  <a:ext uri="{FF2B5EF4-FFF2-40B4-BE49-F238E27FC236}">
                    <a16:creationId xmlns:a16="http://schemas.microsoft.com/office/drawing/2014/main" id="{4C86B2B7-8C53-46CA-AF4F-B3139B0A83E7}"/>
                  </a:ext>
                </a:extLst>
              </p:cNvPr>
              <p:cNvPicPr>
                <a:picLocks noChangeAspect="1"/>
              </p:cNvPicPr>
              <p:nvPr/>
            </p:nvPicPr>
            <p:blipFill>
              <a:blip r:embed="rId3"/>
              <a:stretch>
                <a:fillRect/>
              </a:stretch>
            </p:blipFill>
            <p:spPr>
              <a:xfrm>
                <a:off x="0" y="8731"/>
                <a:ext cx="12410551" cy="7222331"/>
              </a:xfrm>
              <a:prstGeom prst="rect">
                <a:avLst/>
              </a:prstGeom>
            </p:spPr>
          </p:pic>
          <p:pic>
            <p:nvPicPr>
              <p:cNvPr id="15" name="Picture 14">
                <a:extLst>
                  <a:ext uri="{FF2B5EF4-FFF2-40B4-BE49-F238E27FC236}">
                    <a16:creationId xmlns:a16="http://schemas.microsoft.com/office/drawing/2014/main" id="{C8BB30E7-1C30-4BDA-9EFA-CB18EFD46F02}"/>
                  </a:ext>
                </a:extLst>
              </p:cNvPr>
              <p:cNvPicPr>
                <a:picLocks noChangeAspect="1"/>
              </p:cNvPicPr>
              <p:nvPr/>
            </p:nvPicPr>
            <p:blipFill>
              <a:blip r:embed="rId4"/>
              <a:stretch>
                <a:fillRect/>
              </a:stretch>
            </p:blipFill>
            <p:spPr>
              <a:xfrm>
                <a:off x="7666038" y="1423031"/>
                <a:ext cx="4350188" cy="2668415"/>
              </a:xfrm>
              <a:prstGeom prst="rect">
                <a:avLst/>
              </a:prstGeom>
            </p:spPr>
          </p:pic>
        </p:grpSp>
        <p:sp>
          <p:nvSpPr>
            <p:cNvPr id="16" name="Rectangle 15">
              <a:extLst>
                <a:ext uri="{FF2B5EF4-FFF2-40B4-BE49-F238E27FC236}">
                  <a16:creationId xmlns:a16="http://schemas.microsoft.com/office/drawing/2014/main" id="{8EC58171-5D50-4E74-92B2-AB563F2402A8}"/>
                </a:ext>
              </a:extLst>
            </p:cNvPr>
            <p:cNvSpPr/>
            <p:nvPr/>
          </p:nvSpPr>
          <p:spPr bwMode="auto">
            <a:xfrm>
              <a:off x="3932237" y="1754757"/>
              <a:ext cx="8504238" cy="381000"/>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568" dirty="0">
                  <a:solidFill>
                    <a:srgbClr val="0078D7">
                      <a:lumMod val="60000"/>
                      <a:lumOff val="40000"/>
                    </a:srgbClr>
                  </a:solidFill>
                  <a:latin typeface="Segoe UI Semilight" panose="020B0402040204020203" pitchFamily="34" charset="0"/>
                  <a:ea typeface="Segoe UI" pitchFamily="34" charset="0"/>
                  <a:cs typeface="Segoe UI Semilight" panose="020B0402040204020203" pitchFamily="34" charset="0"/>
                </a:rPr>
                <a:t>Microsoft Azure</a:t>
              </a:r>
            </a:p>
          </p:txBody>
        </p:sp>
      </p:grpSp>
      <p:sp>
        <p:nvSpPr>
          <p:cNvPr id="18" name="Rectangle 17">
            <a:extLst>
              <a:ext uri="{FF2B5EF4-FFF2-40B4-BE49-F238E27FC236}">
                <a16:creationId xmlns:a16="http://schemas.microsoft.com/office/drawing/2014/main" id="{611780EB-57E8-4994-9B08-CE59613C37E7}"/>
              </a:ext>
            </a:extLst>
          </p:cNvPr>
          <p:cNvSpPr/>
          <p:nvPr/>
        </p:nvSpPr>
        <p:spPr bwMode="auto">
          <a:xfrm>
            <a:off x="3790623" y="2014155"/>
            <a:ext cx="258415" cy="5071959"/>
          </a:xfrm>
          <a:prstGeom prst="rect">
            <a:avLst/>
          </a:prstGeom>
          <a:gradFill flip="none" rotWithShape="1">
            <a:gsLst>
              <a:gs pos="0">
                <a:schemeClr val="accent1">
                  <a:lumMod val="67000"/>
                </a:schemeClr>
              </a:gs>
              <a:gs pos="100000">
                <a:schemeClr val="bg2"/>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1743019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Oval 1"/>
          <p:cNvSpPr/>
          <p:nvPr/>
        </p:nvSpPr>
        <p:spPr>
          <a:xfrm>
            <a:off x="-953066" y="1861315"/>
            <a:ext cx="14166669" cy="795528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Freeform: Shape 99"/>
          <p:cNvSpPr/>
          <p:nvPr/>
        </p:nvSpPr>
        <p:spPr>
          <a:xfrm>
            <a:off x="35631" y="5341026"/>
            <a:ext cx="12189302" cy="1745574"/>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15361" h="1745574">
                <a:moveTo>
                  <a:pt x="5907680" y="0"/>
                </a:moveTo>
                <a:cubicBezTo>
                  <a:pt x="8502236" y="0"/>
                  <a:pt x="10736988" y="686989"/>
                  <a:pt x="11747164" y="1675322"/>
                </a:cubicBezTo>
                <a:lnTo>
                  <a:pt x="11815361" y="1745574"/>
                </a:lnTo>
                <a:lnTo>
                  <a:pt x="0" y="1745574"/>
                </a:lnTo>
                <a:lnTo>
                  <a:pt x="68197" y="1675322"/>
                </a:lnTo>
                <a:cubicBezTo>
                  <a:pt x="1078372" y="686989"/>
                  <a:pt x="3313125" y="0"/>
                  <a:pt x="5907680" y="0"/>
                </a:cubicBezTo>
                <a:close/>
              </a:path>
            </a:pathLst>
          </a:cu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925" name="Freeform: Shape 924"/>
          <p:cNvSpPr>
            <a:spLocks/>
          </p:cNvSpPr>
          <p:nvPr/>
        </p:nvSpPr>
        <p:spPr bwMode="auto">
          <a:xfrm>
            <a:off x="1281629" y="5592603"/>
            <a:ext cx="9922465" cy="1934496"/>
          </a:xfrm>
          <a:custGeom>
            <a:avLst/>
            <a:gdLst>
              <a:gd name="connsiteX0" fmla="*/ 8407318 w 9922465"/>
              <a:gd name="connsiteY0" fmla="*/ 1824114 h 1934496"/>
              <a:gd name="connsiteX1" fmla="*/ 8462510 w 9922465"/>
              <a:gd name="connsiteY1" fmla="*/ 1879305 h 1934496"/>
              <a:gd name="connsiteX2" fmla="*/ 8407318 w 9922465"/>
              <a:gd name="connsiteY2" fmla="*/ 1934496 h 1934496"/>
              <a:gd name="connsiteX3" fmla="*/ 8352126 w 9922465"/>
              <a:gd name="connsiteY3" fmla="*/ 1879305 h 1934496"/>
              <a:gd name="connsiteX4" fmla="*/ 8407318 w 9922465"/>
              <a:gd name="connsiteY4" fmla="*/ 1824114 h 1934496"/>
              <a:gd name="connsiteX5" fmla="*/ 8273682 w 9922465"/>
              <a:gd name="connsiteY5" fmla="*/ 1824114 h 1934496"/>
              <a:gd name="connsiteX6" fmla="*/ 8328874 w 9922465"/>
              <a:gd name="connsiteY6" fmla="*/ 1879305 h 1934496"/>
              <a:gd name="connsiteX7" fmla="*/ 8273682 w 9922465"/>
              <a:gd name="connsiteY7" fmla="*/ 1934496 h 1934496"/>
              <a:gd name="connsiteX8" fmla="*/ 8218490 w 9922465"/>
              <a:gd name="connsiteY8" fmla="*/ 1879305 h 1934496"/>
              <a:gd name="connsiteX9" fmla="*/ 8273682 w 9922465"/>
              <a:gd name="connsiteY9" fmla="*/ 1824114 h 1934496"/>
              <a:gd name="connsiteX10" fmla="*/ 8143386 w 9922465"/>
              <a:gd name="connsiteY10" fmla="*/ 1824114 h 1934496"/>
              <a:gd name="connsiteX11" fmla="*/ 8198578 w 9922465"/>
              <a:gd name="connsiteY11" fmla="*/ 1879305 h 1934496"/>
              <a:gd name="connsiteX12" fmla="*/ 8143386 w 9922465"/>
              <a:gd name="connsiteY12" fmla="*/ 1934496 h 1934496"/>
              <a:gd name="connsiteX13" fmla="*/ 8088194 w 9922465"/>
              <a:gd name="connsiteY13" fmla="*/ 1879305 h 1934496"/>
              <a:gd name="connsiteX14" fmla="*/ 8143386 w 9922465"/>
              <a:gd name="connsiteY14" fmla="*/ 1824114 h 1934496"/>
              <a:gd name="connsiteX15" fmla="*/ 8009752 w 9922465"/>
              <a:gd name="connsiteY15" fmla="*/ 1824114 h 1934496"/>
              <a:gd name="connsiteX16" fmla="*/ 8064944 w 9922465"/>
              <a:gd name="connsiteY16" fmla="*/ 1879305 h 1934496"/>
              <a:gd name="connsiteX17" fmla="*/ 8009752 w 9922465"/>
              <a:gd name="connsiteY17" fmla="*/ 1934496 h 1934496"/>
              <a:gd name="connsiteX18" fmla="*/ 7954560 w 9922465"/>
              <a:gd name="connsiteY18" fmla="*/ 1879305 h 1934496"/>
              <a:gd name="connsiteX19" fmla="*/ 8009752 w 9922465"/>
              <a:gd name="connsiteY19" fmla="*/ 1824114 h 1934496"/>
              <a:gd name="connsiteX20" fmla="*/ 7876117 w 9922465"/>
              <a:gd name="connsiteY20" fmla="*/ 1824114 h 1934496"/>
              <a:gd name="connsiteX21" fmla="*/ 7931309 w 9922465"/>
              <a:gd name="connsiteY21" fmla="*/ 1879305 h 1934496"/>
              <a:gd name="connsiteX22" fmla="*/ 7876117 w 9922465"/>
              <a:gd name="connsiteY22" fmla="*/ 1934496 h 1934496"/>
              <a:gd name="connsiteX23" fmla="*/ 7820925 w 9922465"/>
              <a:gd name="connsiteY23" fmla="*/ 1879305 h 1934496"/>
              <a:gd name="connsiteX24" fmla="*/ 7876117 w 9922465"/>
              <a:gd name="connsiteY24" fmla="*/ 1824114 h 1934496"/>
              <a:gd name="connsiteX25" fmla="*/ 7745824 w 9922465"/>
              <a:gd name="connsiteY25" fmla="*/ 1824114 h 1934496"/>
              <a:gd name="connsiteX26" fmla="*/ 7801016 w 9922465"/>
              <a:gd name="connsiteY26" fmla="*/ 1879305 h 1934496"/>
              <a:gd name="connsiteX27" fmla="*/ 7745824 w 9922465"/>
              <a:gd name="connsiteY27" fmla="*/ 1934496 h 1934496"/>
              <a:gd name="connsiteX28" fmla="*/ 7690632 w 9922465"/>
              <a:gd name="connsiteY28" fmla="*/ 1879305 h 1934496"/>
              <a:gd name="connsiteX29" fmla="*/ 7745824 w 9922465"/>
              <a:gd name="connsiteY29" fmla="*/ 1824114 h 1934496"/>
              <a:gd name="connsiteX30" fmla="*/ 7608849 w 9922465"/>
              <a:gd name="connsiteY30" fmla="*/ 1824114 h 1934496"/>
              <a:gd name="connsiteX31" fmla="*/ 7664041 w 9922465"/>
              <a:gd name="connsiteY31" fmla="*/ 1879305 h 1934496"/>
              <a:gd name="connsiteX32" fmla="*/ 7608849 w 9922465"/>
              <a:gd name="connsiteY32" fmla="*/ 1934496 h 1934496"/>
              <a:gd name="connsiteX33" fmla="*/ 7553657 w 9922465"/>
              <a:gd name="connsiteY33" fmla="*/ 1879305 h 1934496"/>
              <a:gd name="connsiteX34" fmla="*/ 7608849 w 9922465"/>
              <a:gd name="connsiteY34" fmla="*/ 1824114 h 1934496"/>
              <a:gd name="connsiteX35" fmla="*/ 7481895 w 9922465"/>
              <a:gd name="connsiteY35" fmla="*/ 1824114 h 1934496"/>
              <a:gd name="connsiteX36" fmla="*/ 7537087 w 9922465"/>
              <a:gd name="connsiteY36" fmla="*/ 1879305 h 1934496"/>
              <a:gd name="connsiteX37" fmla="*/ 7481895 w 9922465"/>
              <a:gd name="connsiteY37" fmla="*/ 1934496 h 1934496"/>
              <a:gd name="connsiteX38" fmla="*/ 7426703 w 9922465"/>
              <a:gd name="connsiteY38" fmla="*/ 1879305 h 1934496"/>
              <a:gd name="connsiteX39" fmla="*/ 7481895 w 9922465"/>
              <a:gd name="connsiteY39" fmla="*/ 1824114 h 1934496"/>
              <a:gd name="connsiteX40" fmla="*/ 7341579 w 9922465"/>
              <a:gd name="connsiteY40" fmla="*/ 1824114 h 1934496"/>
              <a:gd name="connsiteX41" fmla="*/ 7396771 w 9922465"/>
              <a:gd name="connsiteY41" fmla="*/ 1879305 h 1934496"/>
              <a:gd name="connsiteX42" fmla="*/ 7341579 w 9922465"/>
              <a:gd name="connsiteY42" fmla="*/ 1934496 h 1934496"/>
              <a:gd name="connsiteX43" fmla="*/ 7286387 w 9922465"/>
              <a:gd name="connsiteY43" fmla="*/ 1879305 h 1934496"/>
              <a:gd name="connsiteX44" fmla="*/ 7341579 w 9922465"/>
              <a:gd name="connsiteY44" fmla="*/ 1824114 h 1934496"/>
              <a:gd name="connsiteX45" fmla="*/ 7211286 w 9922465"/>
              <a:gd name="connsiteY45" fmla="*/ 1824114 h 1934496"/>
              <a:gd name="connsiteX46" fmla="*/ 7266478 w 9922465"/>
              <a:gd name="connsiteY46" fmla="*/ 1879305 h 1934496"/>
              <a:gd name="connsiteX47" fmla="*/ 7211286 w 9922465"/>
              <a:gd name="connsiteY47" fmla="*/ 1934496 h 1934496"/>
              <a:gd name="connsiteX48" fmla="*/ 7156094 w 9922465"/>
              <a:gd name="connsiteY48" fmla="*/ 1879305 h 1934496"/>
              <a:gd name="connsiteX49" fmla="*/ 7211286 w 9922465"/>
              <a:gd name="connsiteY49" fmla="*/ 1824114 h 1934496"/>
              <a:gd name="connsiteX50" fmla="*/ 7080993 w 9922465"/>
              <a:gd name="connsiteY50" fmla="*/ 1824114 h 1934496"/>
              <a:gd name="connsiteX51" fmla="*/ 7136185 w 9922465"/>
              <a:gd name="connsiteY51" fmla="*/ 1879305 h 1934496"/>
              <a:gd name="connsiteX52" fmla="*/ 7080993 w 9922465"/>
              <a:gd name="connsiteY52" fmla="*/ 1934496 h 1934496"/>
              <a:gd name="connsiteX53" fmla="*/ 7025801 w 9922465"/>
              <a:gd name="connsiteY53" fmla="*/ 1879305 h 1934496"/>
              <a:gd name="connsiteX54" fmla="*/ 7080993 w 9922465"/>
              <a:gd name="connsiteY54" fmla="*/ 1824114 h 1934496"/>
              <a:gd name="connsiteX55" fmla="*/ 6947357 w 9922465"/>
              <a:gd name="connsiteY55" fmla="*/ 1824114 h 1934496"/>
              <a:gd name="connsiteX56" fmla="*/ 7002549 w 9922465"/>
              <a:gd name="connsiteY56" fmla="*/ 1879305 h 1934496"/>
              <a:gd name="connsiteX57" fmla="*/ 6947357 w 9922465"/>
              <a:gd name="connsiteY57" fmla="*/ 1934496 h 1934496"/>
              <a:gd name="connsiteX58" fmla="*/ 6892165 w 9922465"/>
              <a:gd name="connsiteY58" fmla="*/ 1879305 h 1934496"/>
              <a:gd name="connsiteX59" fmla="*/ 6947357 w 9922465"/>
              <a:gd name="connsiteY59" fmla="*/ 1824114 h 1934496"/>
              <a:gd name="connsiteX60" fmla="*/ 6817063 w 9922465"/>
              <a:gd name="connsiteY60" fmla="*/ 1824114 h 1934496"/>
              <a:gd name="connsiteX61" fmla="*/ 6872255 w 9922465"/>
              <a:gd name="connsiteY61" fmla="*/ 1879305 h 1934496"/>
              <a:gd name="connsiteX62" fmla="*/ 6817063 w 9922465"/>
              <a:gd name="connsiteY62" fmla="*/ 1934496 h 1934496"/>
              <a:gd name="connsiteX63" fmla="*/ 6761871 w 9922465"/>
              <a:gd name="connsiteY63" fmla="*/ 1879305 h 1934496"/>
              <a:gd name="connsiteX64" fmla="*/ 6817063 w 9922465"/>
              <a:gd name="connsiteY64" fmla="*/ 1824114 h 1934496"/>
              <a:gd name="connsiteX65" fmla="*/ 6683431 w 9922465"/>
              <a:gd name="connsiteY65" fmla="*/ 1824114 h 1934496"/>
              <a:gd name="connsiteX66" fmla="*/ 6738623 w 9922465"/>
              <a:gd name="connsiteY66" fmla="*/ 1879305 h 1934496"/>
              <a:gd name="connsiteX67" fmla="*/ 6683431 w 9922465"/>
              <a:gd name="connsiteY67" fmla="*/ 1934496 h 1934496"/>
              <a:gd name="connsiteX68" fmla="*/ 6628239 w 9922465"/>
              <a:gd name="connsiteY68" fmla="*/ 1879305 h 1934496"/>
              <a:gd name="connsiteX69" fmla="*/ 6683431 w 9922465"/>
              <a:gd name="connsiteY69" fmla="*/ 1824114 h 1934496"/>
              <a:gd name="connsiteX70" fmla="*/ 6553137 w 9922465"/>
              <a:gd name="connsiteY70" fmla="*/ 1824114 h 1934496"/>
              <a:gd name="connsiteX71" fmla="*/ 6608329 w 9922465"/>
              <a:gd name="connsiteY71" fmla="*/ 1879305 h 1934496"/>
              <a:gd name="connsiteX72" fmla="*/ 6553137 w 9922465"/>
              <a:gd name="connsiteY72" fmla="*/ 1934496 h 1934496"/>
              <a:gd name="connsiteX73" fmla="*/ 6497945 w 9922465"/>
              <a:gd name="connsiteY73" fmla="*/ 1879305 h 1934496"/>
              <a:gd name="connsiteX74" fmla="*/ 6553137 w 9922465"/>
              <a:gd name="connsiteY74" fmla="*/ 1824114 h 1934496"/>
              <a:gd name="connsiteX75" fmla="*/ 6289207 w 9922465"/>
              <a:gd name="connsiteY75" fmla="*/ 1824114 h 1934496"/>
              <a:gd name="connsiteX76" fmla="*/ 6344399 w 9922465"/>
              <a:gd name="connsiteY76" fmla="*/ 1879305 h 1934496"/>
              <a:gd name="connsiteX77" fmla="*/ 6289207 w 9922465"/>
              <a:gd name="connsiteY77" fmla="*/ 1934496 h 1934496"/>
              <a:gd name="connsiteX78" fmla="*/ 6234015 w 9922465"/>
              <a:gd name="connsiteY78" fmla="*/ 1879305 h 1934496"/>
              <a:gd name="connsiteX79" fmla="*/ 6289207 w 9922465"/>
              <a:gd name="connsiteY79" fmla="*/ 1824114 h 1934496"/>
              <a:gd name="connsiteX80" fmla="*/ 6155572 w 9922465"/>
              <a:gd name="connsiteY80" fmla="*/ 1824114 h 1934496"/>
              <a:gd name="connsiteX81" fmla="*/ 6210764 w 9922465"/>
              <a:gd name="connsiteY81" fmla="*/ 1879305 h 1934496"/>
              <a:gd name="connsiteX82" fmla="*/ 6155572 w 9922465"/>
              <a:gd name="connsiteY82" fmla="*/ 1934496 h 1934496"/>
              <a:gd name="connsiteX83" fmla="*/ 6100380 w 9922465"/>
              <a:gd name="connsiteY83" fmla="*/ 1879305 h 1934496"/>
              <a:gd name="connsiteX84" fmla="*/ 6155572 w 9922465"/>
              <a:gd name="connsiteY84" fmla="*/ 1824114 h 1934496"/>
              <a:gd name="connsiteX85" fmla="*/ 6021938 w 9922465"/>
              <a:gd name="connsiteY85" fmla="*/ 1824114 h 1934496"/>
              <a:gd name="connsiteX86" fmla="*/ 6077130 w 9922465"/>
              <a:gd name="connsiteY86" fmla="*/ 1879305 h 1934496"/>
              <a:gd name="connsiteX87" fmla="*/ 6021938 w 9922465"/>
              <a:gd name="connsiteY87" fmla="*/ 1934496 h 1934496"/>
              <a:gd name="connsiteX88" fmla="*/ 5966746 w 9922465"/>
              <a:gd name="connsiteY88" fmla="*/ 1879305 h 1934496"/>
              <a:gd name="connsiteX89" fmla="*/ 6021938 w 9922465"/>
              <a:gd name="connsiteY89" fmla="*/ 1824114 h 1934496"/>
              <a:gd name="connsiteX90" fmla="*/ 5884964 w 9922465"/>
              <a:gd name="connsiteY90" fmla="*/ 1824114 h 1934496"/>
              <a:gd name="connsiteX91" fmla="*/ 5940156 w 9922465"/>
              <a:gd name="connsiteY91" fmla="*/ 1879305 h 1934496"/>
              <a:gd name="connsiteX92" fmla="*/ 5884964 w 9922465"/>
              <a:gd name="connsiteY92" fmla="*/ 1934496 h 1934496"/>
              <a:gd name="connsiteX93" fmla="*/ 5829772 w 9922465"/>
              <a:gd name="connsiteY93" fmla="*/ 1879305 h 1934496"/>
              <a:gd name="connsiteX94" fmla="*/ 5884964 w 9922465"/>
              <a:gd name="connsiteY94" fmla="*/ 1824114 h 1934496"/>
              <a:gd name="connsiteX95" fmla="*/ 5754670 w 9922465"/>
              <a:gd name="connsiteY95" fmla="*/ 1824114 h 1934496"/>
              <a:gd name="connsiteX96" fmla="*/ 5809862 w 9922465"/>
              <a:gd name="connsiteY96" fmla="*/ 1879305 h 1934496"/>
              <a:gd name="connsiteX97" fmla="*/ 5754670 w 9922465"/>
              <a:gd name="connsiteY97" fmla="*/ 1934496 h 1934496"/>
              <a:gd name="connsiteX98" fmla="*/ 5699478 w 9922465"/>
              <a:gd name="connsiteY98" fmla="*/ 1879305 h 1934496"/>
              <a:gd name="connsiteX99" fmla="*/ 5754670 w 9922465"/>
              <a:gd name="connsiteY99" fmla="*/ 1824114 h 1934496"/>
              <a:gd name="connsiteX100" fmla="*/ 5487399 w 9922465"/>
              <a:gd name="connsiteY100" fmla="*/ 1824114 h 1934496"/>
              <a:gd name="connsiteX101" fmla="*/ 5542591 w 9922465"/>
              <a:gd name="connsiteY101" fmla="*/ 1879305 h 1934496"/>
              <a:gd name="connsiteX102" fmla="*/ 5487399 w 9922465"/>
              <a:gd name="connsiteY102" fmla="*/ 1934496 h 1934496"/>
              <a:gd name="connsiteX103" fmla="*/ 5432207 w 9922465"/>
              <a:gd name="connsiteY103" fmla="*/ 1879305 h 1934496"/>
              <a:gd name="connsiteX104" fmla="*/ 5487399 w 9922465"/>
              <a:gd name="connsiteY104" fmla="*/ 1824114 h 1934496"/>
              <a:gd name="connsiteX105" fmla="*/ 5357105 w 9922465"/>
              <a:gd name="connsiteY105" fmla="*/ 1824114 h 1934496"/>
              <a:gd name="connsiteX106" fmla="*/ 5412297 w 9922465"/>
              <a:gd name="connsiteY106" fmla="*/ 1879305 h 1934496"/>
              <a:gd name="connsiteX107" fmla="*/ 5357105 w 9922465"/>
              <a:gd name="connsiteY107" fmla="*/ 1934496 h 1934496"/>
              <a:gd name="connsiteX108" fmla="*/ 5301913 w 9922465"/>
              <a:gd name="connsiteY108" fmla="*/ 1879305 h 1934496"/>
              <a:gd name="connsiteX109" fmla="*/ 5357105 w 9922465"/>
              <a:gd name="connsiteY109" fmla="*/ 1824114 h 1934496"/>
              <a:gd name="connsiteX110" fmla="*/ 5223473 w 9922465"/>
              <a:gd name="connsiteY110" fmla="*/ 1824114 h 1934496"/>
              <a:gd name="connsiteX111" fmla="*/ 5278665 w 9922465"/>
              <a:gd name="connsiteY111" fmla="*/ 1879305 h 1934496"/>
              <a:gd name="connsiteX112" fmla="*/ 5223473 w 9922465"/>
              <a:gd name="connsiteY112" fmla="*/ 1934496 h 1934496"/>
              <a:gd name="connsiteX113" fmla="*/ 5168281 w 9922465"/>
              <a:gd name="connsiteY113" fmla="*/ 1879305 h 1934496"/>
              <a:gd name="connsiteX114" fmla="*/ 5223473 w 9922465"/>
              <a:gd name="connsiteY114" fmla="*/ 1824114 h 1934496"/>
              <a:gd name="connsiteX115" fmla="*/ 5093178 w 9922465"/>
              <a:gd name="connsiteY115" fmla="*/ 1824114 h 1934496"/>
              <a:gd name="connsiteX116" fmla="*/ 5148370 w 9922465"/>
              <a:gd name="connsiteY116" fmla="*/ 1879305 h 1934496"/>
              <a:gd name="connsiteX117" fmla="*/ 5093178 w 9922465"/>
              <a:gd name="connsiteY117" fmla="*/ 1934496 h 1934496"/>
              <a:gd name="connsiteX118" fmla="*/ 5037986 w 9922465"/>
              <a:gd name="connsiteY118" fmla="*/ 1879305 h 1934496"/>
              <a:gd name="connsiteX119" fmla="*/ 5093178 w 9922465"/>
              <a:gd name="connsiteY119" fmla="*/ 1824114 h 1934496"/>
              <a:gd name="connsiteX120" fmla="*/ 4959543 w 9922465"/>
              <a:gd name="connsiteY120" fmla="*/ 1824114 h 1934496"/>
              <a:gd name="connsiteX121" fmla="*/ 5014735 w 9922465"/>
              <a:gd name="connsiteY121" fmla="*/ 1879305 h 1934496"/>
              <a:gd name="connsiteX122" fmla="*/ 4959543 w 9922465"/>
              <a:gd name="connsiteY122" fmla="*/ 1934496 h 1934496"/>
              <a:gd name="connsiteX123" fmla="*/ 4904351 w 9922465"/>
              <a:gd name="connsiteY123" fmla="*/ 1879305 h 1934496"/>
              <a:gd name="connsiteX124" fmla="*/ 4959543 w 9922465"/>
              <a:gd name="connsiteY124" fmla="*/ 1824114 h 1934496"/>
              <a:gd name="connsiteX125" fmla="*/ 4829250 w 9922465"/>
              <a:gd name="connsiteY125" fmla="*/ 1824114 h 1934496"/>
              <a:gd name="connsiteX126" fmla="*/ 4884442 w 9922465"/>
              <a:gd name="connsiteY126" fmla="*/ 1879305 h 1934496"/>
              <a:gd name="connsiteX127" fmla="*/ 4829250 w 9922465"/>
              <a:gd name="connsiteY127" fmla="*/ 1934496 h 1934496"/>
              <a:gd name="connsiteX128" fmla="*/ 4774058 w 9922465"/>
              <a:gd name="connsiteY128" fmla="*/ 1879305 h 1934496"/>
              <a:gd name="connsiteX129" fmla="*/ 4829250 w 9922465"/>
              <a:gd name="connsiteY129" fmla="*/ 1824114 h 1934496"/>
              <a:gd name="connsiteX130" fmla="*/ 4695613 w 9922465"/>
              <a:gd name="connsiteY130" fmla="*/ 1824114 h 1934496"/>
              <a:gd name="connsiteX131" fmla="*/ 4750805 w 9922465"/>
              <a:gd name="connsiteY131" fmla="*/ 1879305 h 1934496"/>
              <a:gd name="connsiteX132" fmla="*/ 4695613 w 9922465"/>
              <a:gd name="connsiteY132" fmla="*/ 1934496 h 1934496"/>
              <a:gd name="connsiteX133" fmla="*/ 4640421 w 9922465"/>
              <a:gd name="connsiteY133" fmla="*/ 1879305 h 1934496"/>
              <a:gd name="connsiteX134" fmla="*/ 4695613 w 9922465"/>
              <a:gd name="connsiteY134" fmla="*/ 1824114 h 1934496"/>
              <a:gd name="connsiteX135" fmla="*/ 2834762 w 9922465"/>
              <a:gd name="connsiteY135" fmla="*/ 1824114 h 1934496"/>
              <a:gd name="connsiteX136" fmla="*/ 2889954 w 9922465"/>
              <a:gd name="connsiteY136" fmla="*/ 1879305 h 1934496"/>
              <a:gd name="connsiteX137" fmla="*/ 2834762 w 9922465"/>
              <a:gd name="connsiteY137" fmla="*/ 1934496 h 1934496"/>
              <a:gd name="connsiteX138" fmla="*/ 2779570 w 9922465"/>
              <a:gd name="connsiteY138" fmla="*/ 1879305 h 1934496"/>
              <a:gd name="connsiteX139" fmla="*/ 2834762 w 9922465"/>
              <a:gd name="connsiteY139" fmla="*/ 1824114 h 1934496"/>
              <a:gd name="connsiteX140" fmla="*/ 2707807 w 9922465"/>
              <a:gd name="connsiteY140" fmla="*/ 1824114 h 1934496"/>
              <a:gd name="connsiteX141" fmla="*/ 2762999 w 9922465"/>
              <a:gd name="connsiteY141" fmla="*/ 1879305 h 1934496"/>
              <a:gd name="connsiteX142" fmla="*/ 2707807 w 9922465"/>
              <a:gd name="connsiteY142" fmla="*/ 1934496 h 1934496"/>
              <a:gd name="connsiteX143" fmla="*/ 2652615 w 9922465"/>
              <a:gd name="connsiteY143" fmla="*/ 1879305 h 1934496"/>
              <a:gd name="connsiteX144" fmla="*/ 2707807 w 9922465"/>
              <a:gd name="connsiteY144" fmla="*/ 1824114 h 1934496"/>
              <a:gd name="connsiteX145" fmla="*/ 2570834 w 9922465"/>
              <a:gd name="connsiteY145" fmla="*/ 1824114 h 1934496"/>
              <a:gd name="connsiteX146" fmla="*/ 2626025 w 9922465"/>
              <a:gd name="connsiteY146" fmla="*/ 1879305 h 1934496"/>
              <a:gd name="connsiteX147" fmla="*/ 2570834 w 9922465"/>
              <a:gd name="connsiteY147" fmla="*/ 1934496 h 1934496"/>
              <a:gd name="connsiteX148" fmla="*/ 2515641 w 9922465"/>
              <a:gd name="connsiteY148" fmla="*/ 1879305 h 1934496"/>
              <a:gd name="connsiteX149" fmla="*/ 2570834 w 9922465"/>
              <a:gd name="connsiteY149" fmla="*/ 1824114 h 1934496"/>
              <a:gd name="connsiteX150" fmla="*/ 2437196 w 9922465"/>
              <a:gd name="connsiteY150" fmla="*/ 1824114 h 1934496"/>
              <a:gd name="connsiteX151" fmla="*/ 2492389 w 9922465"/>
              <a:gd name="connsiteY151" fmla="*/ 1879305 h 1934496"/>
              <a:gd name="connsiteX152" fmla="*/ 2437196 w 9922465"/>
              <a:gd name="connsiteY152" fmla="*/ 1934496 h 1934496"/>
              <a:gd name="connsiteX153" fmla="*/ 2382005 w 9922465"/>
              <a:gd name="connsiteY153" fmla="*/ 1879305 h 1934496"/>
              <a:gd name="connsiteX154" fmla="*/ 2437196 w 9922465"/>
              <a:gd name="connsiteY154" fmla="*/ 1824114 h 1934496"/>
              <a:gd name="connsiteX155" fmla="*/ 2303564 w 9922465"/>
              <a:gd name="connsiteY155" fmla="*/ 1824114 h 1934496"/>
              <a:gd name="connsiteX156" fmla="*/ 2358756 w 9922465"/>
              <a:gd name="connsiteY156" fmla="*/ 1879305 h 1934496"/>
              <a:gd name="connsiteX157" fmla="*/ 2303564 w 9922465"/>
              <a:gd name="connsiteY157" fmla="*/ 1934496 h 1934496"/>
              <a:gd name="connsiteX158" fmla="*/ 2248372 w 9922465"/>
              <a:gd name="connsiteY158" fmla="*/ 1879305 h 1934496"/>
              <a:gd name="connsiteX159" fmla="*/ 2303564 w 9922465"/>
              <a:gd name="connsiteY159" fmla="*/ 1824114 h 1934496"/>
              <a:gd name="connsiteX160" fmla="*/ 2173271 w 9922465"/>
              <a:gd name="connsiteY160" fmla="*/ 1824114 h 1934496"/>
              <a:gd name="connsiteX161" fmla="*/ 2228463 w 9922465"/>
              <a:gd name="connsiteY161" fmla="*/ 1879305 h 1934496"/>
              <a:gd name="connsiteX162" fmla="*/ 2173271 w 9922465"/>
              <a:gd name="connsiteY162" fmla="*/ 1934496 h 1934496"/>
              <a:gd name="connsiteX163" fmla="*/ 2118079 w 9922465"/>
              <a:gd name="connsiteY163" fmla="*/ 1879305 h 1934496"/>
              <a:gd name="connsiteX164" fmla="*/ 2173271 w 9922465"/>
              <a:gd name="connsiteY164" fmla="*/ 1824114 h 1934496"/>
              <a:gd name="connsiteX165" fmla="*/ 2039637 w 9922465"/>
              <a:gd name="connsiteY165" fmla="*/ 1824114 h 1934496"/>
              <a:gd name="connsiteX166" fmla="*/ 2094830 w 9922465"/>
              <a:gd name="connsiteY166" fmla="*/ 1879305 h 1934496"/>
              <a:gd name="connsiteX167" fmla="*/ 2039637 w 9922465"/>
              <a:gd name="connsiteY167" fmla="*/ 1934496 h 1934496"/>
              <a:gd name="connsiteX168" fmla="*/ 1984445 w 9922465"/>
              <a:gd name="connsiteY168" fmla="*/ 1879305 h 1934496"/>
              <a:gd name="connsiteX169" fmla="*/ 2039637 w 9922465"/>
              <a:gd name="connsiteY169" fmla="*/ 1824114 h 1934496"/>
              <a:gd name="connsiteX170" fmla="*/ 1909341 w 9922465"/>
              <a:gd name="connsiteY170" fmla="*/ 1824114 h 1934496"/>
              <a:gd name="connsiteX171" fmla="*/ 1964533 w 9922465"/>
              <a:gd name="connsiteY171" fmla="*/ 1879305 h 1934496"/>
              <a:gd name="connsiteX172" fmla="*/ 1909341 w 9922465"/>
              <a:gd name="connsiteY172" fmla="*/ 1934496 h 1934496"/>
              <a:gd name="connsiteX173" fmla="*/ 1854149 w 9922465"/>
              <a:gd name="connsiteY173" fmla="*/ 1879305 h 1934496"/>
              <a:gd name="connsiteX174" fmla="*/ 1909341 w 9922465"/>
              <a:gd name="connsiteY174" fmla="*/ 1824114 h 1934496"/>
              <a:gd name="connsiteX175" fmla="*/ 1779049 w 9922465"/>
              <a:gd name="connsiteY175" fmla="*/ 1824114 h 1934496"/>
              <a:gd name="connsiteX176" fmla="*/ 1834241 w 9922465"/>
              <a:gd name="connsiteY176" fmla="*/ 1879305 h 1934496"/>
              <a:gd name="connsiteX177" fmla="*/ 1779049 w 9922465"/>
              <a:gd name="connsiteY177" fmla="*/ 1934496 h 1934496"/>
              <a:gd name="connsiteX178" fmla="*/ 1723856 w 9922465"/>
              <a:gd name="connsiteY178" fmla="*/ 1879305 h 1934496"/>
              <a:gd name="connsiteX179" fmla="*/ 1779049 w 9922465"/>
              <a:gd name="connsiteY179" fmla="*/ 1824114 h 1934496"/>
              <a:gd name="connsiteX180" fmla="*/ 1645413 w 9922465"/>
              <a:gd name="connsiteY180" fmla="*/ 1824114 h 1934496"/>
              <a:gd name="connsiteX181" fmla="*/ 1700604 w 9922465"/>
              <a:gd name="connsiteY181" fmla="*/ 1879305 h 1934496"/>
              <a:gd name="connsiteX182" fmla="*/ 1645413 w 9922465"/>
              <a:gd name="connsiteY182" fmla="*/ 1934496 h 1934496"/>
              <a:gd name="connsiteX183" fmla="*/ 1590220 w 9922465"/>
              <a:gd name="connsiteY183" fmla="*/ 1879305 h 1934496"/>
              <a:gd name="connsiteX184" fmla="*/ 1645413 w 9922465"/>
              <a:gd name="connsiteY184" fmla="*/ 1824114 h 1934496"/>
              <a:gd name="connsiteX185" fmla="*/ 1515120 w 9922465"/>
              <a:gd name="connsiteY185" fmla="*/ 1824114 h 1934496"/>
              <a:gd name="connsiteX186" fmla="*/ 1570311 w 9922465"/>
              <a:gd name="connsiteY186" fmla="*/ 1879305 h 1934496"/>
              <a:gd name="connsiteX187" fmla="*/ 1515120 w 9922465"/>
              <a:gd name="connsiteY187" fmla="*/ 1934496 h 1934496"/>
              <a:gd name="connsiteX188" fmla="*/ 1459927 w 9922465"/>
              <a:gd name="connsiteY188" fmla="*/ 1879305 h 1934496"/>
              <a:gd name="connsiteX189" fmla="*/ 1515120 w 9922465"/>
              <a:gd name="connsiteY189" fmla="*/ 1824114 h 1934496"/>
              <a:gd name="connsiteX190" fmla="*/ 1381486 w 9922465"/>
              <a:gd name="connsiteY190" fmla="*/ 1824114 h 1934496"/>
              <a:gd name="connsiteX191" fmla="*/ 1436678 w 9922465"/>
              <a:gd name="connsiteY191" fmla="*/ 1879305 h 1934496"/>
              <a:gd name="connsiteX192" fmla="*/ 1381486 w 9922465"/>
              <a:gd name="connsiteY192" fmla="*/ 1934496 h 1934496"/>
              <a:gd name="connsiteX193" fmla="*/ 1326294 w 9922465"/>
              <a:gd name="connsiteY193" fmla="*/ 1879305 h 1934496"/>
              <a:gd name="connsiteX194" fmla="*/ 1381486 w 9922465"/>
              <a:gd name="connsiteY194" fmla="*/ 1824114 h 1934496"/>
              <a:gd name="connsiteX195" fmla="*/ 1251193 w 9922465"/>
              <a:gd name="connsiteY195" fmla="*/ 1824114 h 1934496"/>
              <a:gd name="connsiteX196" fmla="*/ 1306386 w 9922465"/>
              <a:gd name="connsiteY196" fmla="*/ 1879305 h 1934496"/>
              <a:gd name="connsiteX197" fmla="*/ 1251193 w 9922465"/>
              <a:gd name="connsiteY197" fmla="*/ 1934496 h 1934496"/>
              <a:gd name="connsiteX198" fmla="*/ 1196001 w 9922465"/>
              <a:gd name="connsiteY198" fmla="*/ 1879305 h 1934496"/>
              <a:gd name="connsiteX199" fmla="*/ 1251193 w 9922465"/>
              <a:gd name="connsiteY199" fmla="*/ 1824114 h 1934496"/>
              <a:gd name="connsiteX200" fmla="*/ 4565336 w 9922465"/>
              <a:gd name="connsiteY200" fmla="*/ 1824106 h 1934496"/>
              <a:gd name="connsiteX201" fmla="*/ 4620528 w 9922465"/>
              <a:gd name="connsiteY201" fmla="*/ 1879297 h 1934496"/>
              <a:gd name="connsiteX202" fmla="*/ 4565336 w 9922465"/>
              <a:gd name="connsiteY202" fmla="*/ 1934488 h 1934496"/>
              <a:gd name="connsiteX203" fmla="*/ 4510144 w 9922465"/>
              <a:gd name="connsiteY203" fmla="*/ 1879297 h 1934496"/>
              <a:gd name="connsiteX204" fmla="*/ 4565336 w 9922465"/>
              <a:gd name="connsiteY204" fmla="*/ 1824106 h 1934496"/>
              <a:gd name="connsiteX205" fmla="*/ 4431689 w 9922465"/>
              <a:gd name="connsiteY205" fmla="*/ 1824098 h 1934496"/>
              <a:gd name="connsiteX206" fmla="*/ 4486881 w 9922465"/>
              <a:gd name="connsiteY206" fmla="*/ 1879289 h 1934496"/>
              <a:gd name="connsiteX207" fmla="*/ 4431689 w 9922465"/>
              <a:gd name="connsiteY207" fmla="*/ 1934480 h 1934496"/>
              <a:gd name="connsiteX208" fmla="*/ 4376497 w 9922465"/>
              <a:gd name="connsiteY208" fmla="*/ 1879289 h 1934496"/>
              <a:gd name="connsiteX209" fmla="*/ 4431689 w 9922465"/>
              <a:gd name="connsiteY209" fmla="*/ 1824098 h 1934496"/>
              <a:gd name="connsiteX210" fmla="*/ 8801537 w 9922465"/>
              <a:gd name="connsiteY210" fmla="*/ 1707182 h 1934496"/>
              <a:gd name="connsiteX211" fmla="*/ 8856729 w 9922465"/>
              <a:gd name="connsiteY211" fmla="*/ 1762373 h 1934496"/>
              <a:gd name="connsiteX212" fmla="*/ 8801537 w 9922465"/>
              <a:gd name="connsiteY212" fmla="*/ 1817564 h 1934496"/>
              <a:gd name="connsiteX213" fmla="*/ 8746345 w 9922465"/>
              <a:gd name="connsiteY213" fmla="*/ 1762373 h 1934496"/>
              <a:gd name="connsiteX214" fmla="*/ 8801537 w 9922465"/>
              <a:gd name="connsiteY214" fmla="*/ 1707182 h 1934496"/>
              <a:gd name="connsiteX215" fmla="*/ 8671243 w 9922465"/>
              <a:gd name="connsiteY215" fmla="*/ 1707182 h 1934496"/>
              <a:gd name="connsiteX216" fmla="*/ 8726435 w 9922465"/>
              <a:gd name="connsiteY216" fmla="*/ 1762373 h 1934496"/>
              <a:gd name="connsiteX217" fmla="*/ 8671243 w 9922465"/>
              <a:gd name="connsiteY217" fmla="*/ 1817564 h 1934496"/>
              <a:gd name="connsiteX218" fmla="*/ 8616051 w 9922465"/>
              <a:gd name="connsiteY218" fmla="*/ 1762373 h 1934496"/>
              <a:gd name="connsiteX219" fmla="*/ 8671243 w 9922465"/>
              <a:gd name="connsiteY219" fmla="*/ 1707182 h 1934496"/>
              <a:gd name="connsiteX220" fmla="*/ 8537609 w 9922465"/>
              <a:gd name="connsiteY220" fmla="*/ 1707182 h 1934496"/>
              <a:gd name="connsiteX221" fmla="*/ 8592801 w 9922465"/>
              <a:gd name="connsiteY221" fmla="*/ 1762373 h 1934496"/>
              <a:gd name="connsiteX222" fmla="*/ 8537609 w 9922465"/>
              <a:gd name="connsiteY222" fmla="*/ 1817564 h 1934496"/>
              <a:gd name="connsiteX223" fmla="*/ 8482417 w 9922465"/>
              <a:gd name="connsiteY223" fmla="*/ 1762373 h 1934496"/>
              <a:gd name="connsiteX224" fmla="*/ 8537609 w 9922465"/>
              <a:gd name="connsiteY224" fmla="*/ 1707182 h 1934496"/>
              <a:gd name="connsiteX225" fmla="*/ 8407318 w 9922465"/>
              <a:gd name="connsiteY225" fmla="*/ 1707182 h 1934496"/>
              <a:gd name="connsiteX226" fmla="*/ 8462510 w 9922465"/>
              <a:gd name="connsiteY226" fmla="*/ 1762373 h 1934496"/>
              <a:gd name="connsiteX227" fmla="*/ 8407318 w 9922465"/>
              <a:gd name="connsiteY227" fmla="*/ 1817564 h 1934496"/>
              <a:gd name="connsiteX228" fmla="*/ 8352126 w 9922465"/>
              <a:gd name="connsiteY228" fmla="*/ 1762373 h 1934496"/>
              <a:gd name="connsiteX229" fmla="*/ 8407318 w 9922465"/>
              <a:gd name="connsiteY229" fmla="*/ 1707182 h 1934496"/>
              <a:gd name="connsiteX230" fmla="*/ 8273682 w 9922465"/>
              <a:gd name="connsiteY230" fmla="*/ 1707182 h 1934496"/>
              <a:gd name="connsiteX231" fmla="*/ 8328874 w 9922465"/>
              <a:gd name="connsiteY231" fmla="*/ 1762373 h 1934496"/>
              <a:gd name="connsiteX232" fmla="*/ 8273682 w 9922465"/>
              <a:gd name="connsiteY232" fmla="*/ 1817564 h 1934496"/>
              <a:gd name="connsiteX233" fmla="*/ 8218490 w 9922465"/>
              <a:gd name="connsiteY233" fmla="*/ 1762373 h 1934496"/>
              <a:gd name="connsiteX234" fmla="*/ 8273682 w 9922465"/>
              <a:gd name="connsiteY234" fmla="*/ 1707182 h 1934496"/>
              <a:gd name="connsiteX235" fmla="*/ 8143386 w 9922465"/>
              <a:gd name="connsiteY235" fmla="*/ 1707182 h 1934496"/>
              <a:gd name="connsiteX236" fmla="*/ 8198578 w 9922465"/>
              <a:gd name="connsiteY236" fmla="*/ 1762373 h 1934496"/>
              <a:gd name="connsiteX237" fmla="*/ 8143386 w 9922465"/>
              <a:gd name="connsiteY237" fmla="*/ 1817564 h 1934496"/>
              <a:gd name="connsiteX238" fmla="*/ 8088194 w 9922465"/>
              <a:gd name="connsiteY238" fmla="*/ 1762373 h 1934496"/>
              <a:gd name="connsiteX239" fmla="*/ 8143386 w 9922465"/>
              <a:gd name="connsiteY239" fmla="*/ 1707182 h 1934496"/>
              <a:gd name="connsiteX240" fmla="*/ 8009752 w 9922465"/>
              <a:gd name="connsiteY240" fmla="*/ 1707182 h 1934496"/>
              <a:gd name="connsiteX241" fmla="*/ 8064944 w 9922465"/>
              <a:gd name="connsiteY241" fmla="*/ 1762373 h 1934496"/>
              <a:gd name="connsiteX242" fmla="*/ 8009752 w 9922465"/>
              <a:gd name="connsiteY242" fmla="*/ 1817564 h 1934496"/>
              <a:gd name="connsiteX243" fmla="*/ 7954560 w 9922465"/>
              <a:gd name="connsiteY243" fmla="*/ 1762373 h 1934496"/>
              <a:gd name="connsiteX244" fmla="*/ 8009752 w 9922465"/>
              <a:gd name="connsiteY244" fmla="*/ 1707182 h 1934496"/>
              <a:gd name="connsiteX245" fmla="*/ 7876117 w 9922465"/>
              <a:gd name="connsiteY245" fmla="*/ 1707182 h 1934496"/>
              <a:gd name="connsiteX246" fmla="*/ 7931309 w 9922465"/>
              <a:gd name="connsiteY246" fmla="*/ 1762373 h 1934496"/>
              <a:gd name="connsiteX247" fmla="*/ 7876117 w 9922465"/>
              <a:gd name="connsiteY247" fmla="*/ 1817564 h 1934496"/>
              <a:gd name="connsiteX248" fmla="*/ 7820925 w 9922465"/>
              <a:gd name="connsiteY248" fmla="*/ 1762373 h 1934496"/>
              <a:gd name="connsiteX249" fmla="*/ 7876117 w 9922465"/>
              <a:gd name="connsiteY249" fmla="*/ 1707182 h 1934496"/>
              <a:gd name="connsiteX250" fmla="*/ 7745824 w 9922465"/>
              <a:gd name="connsiteY250" fmla="*/ 1707182 h 1934496"/>
              <a:gd name="connsiteX251" fmla="*/ 7801016 w 9922465"/>
              <a:gd name="connsiteY251" fmla="*/ 1762373 h 1934496"/>
              <a:gd name="connsiteX252" fmla="*/ 7745824 w 9922465"/>
              <a:gd name="connsiteY252" fmla="*/ 1817564 h 1934496"/>
              <a:gd name="connsiteX253" fmla="*/ 7690632 w 9922465"/>
              <a:gd name="connsiteY253" fmla="*/ 1762373 h 1934496"/>
              <a:gd name="connsiteX254" fmla="*/ 7745824 w 9922465"/>
              <a:gd name="connsiteY254" fmla="*/ 1707182 h 1934496"/>
              <a:gd name="connsiteX255" fmla="*/ 7608849 w 9922465"/>
              <a:gd name="connsiteY255" fmla="*/ 1707182 h 1934496"/>
              <a:gd name="connsiteX256" fmla="*/ 7664041 w 9922465"/>
              <a:gd name="connsiteY256" fmla="*/ 1762373 h 1934496"/>
              <a:gd name="connsiteX257" fmla="*/ 7608849 w 9922465"/>
              <a:gd name="connsiteY257" fmla="*/ 1817564 h 1934496"/>
              <a:gd name="connsiteX258" fmla="*/ 7553657 w 9922465"/>
              <a:gd name="connsiteY258" fmla="*/ 1762373 h 1934496"/>
              <a:gd name="connsiteX259" fmla="*/ 7608849 w 9922465"/>
              <a:gd name="connsiteY259" fmla="*/ 1707182 h 1934496"/>
              <a:gd name="connsiteX260" fmla="*/ 7481895 w 9922465"/>
              <a:gd name="connsiteY260" fmla="*/ 1707182 h 1934496"/>
              <a:gd name="connsiteX261" fmla="*/ 7537087 w 9922465"/>
              <a:gd name="connsiteY261" fmla="*/ 1762373 h 1934496"/>
              <a:gd name="connsiteX262" fmla="*/ 7481895 w 9922465"/>
              <a:gd name="connsiteY262" fmla="*/ 1817564 h 1934496"/>
              <a:gd name="connsiteX263" fmla="*/ 7426703 w 9922465"/>
              <a:gd name="connsiteY263" fmla="*/ 1762373 h 1934496"/>
              <a:gd name="connsiteX264" fmla="*/ 7481895 w 9922465"/>
              <a:gd name="connsiteY264" fmla="*/ 1707182 h 1934496"/>
              <a:gd name="connsiteX265" fmla="*/ 7341579 w 9922465"/>
              <a:gd name="connsiteY265" fmla="*/ 1707182 h 1934496"/>
              <a:gd name="connsiteX266" fmla="*/ 7396771 w 9922465"/>
              <a:gd name="connsiteY266" fmla="*/ 1762373 h 1934496"/>
              <a:gd name="connsiteX267" fmla="*/ 7341579 w 9922465"/>
              <a:gd name="connsiteY267" fmla="*/ 1817564 h 1934496"/>
              <a:gd name="connsiteX268" fmla="*/ 7286387 w 9922465"/>
              <a:gd name="connsiteY268" fmla="*/ 1762373 h 1934496"/>
              <a:gd name="connsiteX269" fmla="*/ 7341579 w 9922465"/>
              <a:gd name="connsiteY269" fmla="*/ 1707182 h 1934496"/>
              <a:gd name="connsiteX270" fmla="*/ 7211286 w 9922465"/>
              <a:gd name="connsiteY270" fmla="*/ 1707182 h 1934496"/>
              <a:gd name="connsiteX271" fmla="*/ 7266478 w 9922465"/>
              <a:gd name="connsiteY271" fmla="*/ 1762373 h 1934496"/>
              <a:gd name="connsiteX272" fmla="*/ 7211286 w 9922465"/>
              <a:gd name="connsiteY272" fmla="*/ 1817564 h 1934496"/>
              <a:gd name="connsiteX273" fmla="*/ 7156094 w 9922465"/>
              <a:gd name="connsiteY273" fmla="*/ 1762373 h 1934496"/>
              <a:gd name="connsiteX274" fmla="*/ 7211286 w 9922465"/>
              <a:gd name="connsiteY274" fmla="*/ 1707182 h 1934496"/>
              <a:gd name="connsiteX275" fmla="*/ 7080993 w 9922465"/>
              <a:gd name="connsiteY275" fmla="*/ 1707182 h 1934496"/>
              <a:gd name="connsiteX276" fmla="*/ 7136185 w 9922465"/>
              <a:gd name="connsiteY276" fmla="*/ 1762373 h 1934496"/>
              <a:gd name="connsiteX277" fmla="*/ 7080993 w 9922465"/>
              <a:gd name="connsiteY277" fmla="*/ 1817564 h 1934496"/>
              <a:gd name="connsiteX278" fmla="*/ 7025801 w 9922465"/>
              <a:gd name="connsiteY278" fmla="*/ 1762373 h 1934496"/>
              <a:gd name="connsiteX279" fmla="*/ 7080993 w 9922465"/>
              <a:gd name="connsiteY279" fmla="*/ 1707182 h 1934496"/>
              <a:gd name="connsiteX280" fmla="*/ 6947357 w 9922465"/>
              <a:gd name="connsiteY280" fmla="*/ 1707182 h 1934496"/>
              <a:gd name="connsiteX281" fmla="*/ 7002549 w 9922465"/>
              <a:gd name="connsiteY281" fmla="*/ 1762373 h 1934496"/>
              <a:gd name="connsiteX282" fmla="*/ 6947357 w 9922465"/>
              <a:gd name="connsiteY282" fmla="*/ 1817564 h 1934496"/>
              <a:gd name="connsiteX283" fmla="*/ 6892165 w 9922465"/>
              <a:gd name="connsiteY283" fmla="*/ 1762373 h 1934496"/>
              <a:gd name="connsiteX284" fmla="*/ 6947357 w 9922465"/>
              <a:gd name="connsiteY284" fmla="*/ 1707182 h 1934496"/>
              <a:gd name="connsiteX285" fmla="*/ 6817063 w 9922465"/>
              <a:gd name="connsiteY285" fmla="*/ 1707182 h 1934496"/>
              <a:gd name="connsiteX286" fmla="*/ 6872255 w 9922465"/>
              <a:gd name="connsiteY286" fmla="*/ 1762373 h 1934496"/>
              <a:gd name="connsiteX287" fmla="*/ 6817063 w 9922465"/>
              <a:gd name="connsiteY287" fmla="*/ 1817564 h 1934496"/>
              <a:gd name="connsiteX288" fmla="*/ 6761871 w 9922465"/>
              <a:gd name="connsiteY288" fmla="*/ 1762373 h 1934496"/>
              <a:gd name="connsiteX289" fmla="*/ 6817063 w 9922465"/>
              <a:gd name="connsiteY289" fmla="*/ 1707182 h 1934496"/>
              <a:gd name="connsiteX290" fmla="*/ 6683431 w 9922465"/>
              <a:gd name="connsiteY290" fmla="*/ 1707182 h 1934496"/>
              <a:gd name="connsiteX291" fmla="*/ 6738623 w 9922465"/>
              <a:gd name="connsiteY291" fmla="*/ 1762373 h 1934496"/>
              <a:gd name="connsiteX292" fmla="*/ 6683431 w 9922465"/>
              <a:gd name="connsiteY292" fmla="*/ 1817564 h 1934496"/>
              <a:gd name="connsiteX293" fmla="*/ 6628239 w 9922465"/>
              <a:gd name="connsiteY293" fmla="*/ 1762373 h 1934496"/>
              <a:gd name="connsiteX294" fmla="*/ 6683431 w 9922465"/>
              <a:gd name="connsiteY294" fmla="*/ 1707182 h 1934496"/>
              <a:gd name="connsiteX295" fmla="*/ 6553137 w 9922465"/>
              <a:gd name="connsiteY295" fmla="*/ 1707182 h 1934496"/>
              <a:gd name="connsiteX296" fmla="*/ 6608329 w 9922465"/>
              <a:gd name="connsiteY296" fmla="*/ 1762373 h 1934496"/>
              <a:gd name="connsiteX297" fmla="*/ 6553137 w 9922465"/>
              <a:gd name="connsiteY297" fmla="*/ 1817564 h 1934496"/>
              <a:gd name="connsiteX298" fmla="*/ 6497945 w 9922465"/>
              <a:gd name="connsiteY298" fmla="*/ 1762373 h 1934496"/>
              <a:gd name="connsiteX299" fmla="*/ 6553137 w 9922465"/>
              <a:gd name="connsiteY299" fmla="*/ 1707182 h 1934496"/>
              <a:gd name="connsiteX300" fmla="*/ 6419502 w 9922465"/>
              <a:gd name="connsiteY300" fmla="*/ 1707182 h 1934496"/>
              <a:gd name="connsiteX301" fmla="*/ 6474694 w 9922465"/>
              <a:gd name="connsiteY301" fmla="*/ 1762373 h 1934496"/>
              <a:gd name="connsiteX302" fmla="*/ 6419502 w 9922465"/>
              <a:gd name="connsiteY302" fmla="*/ 1817564 h 1934496"/>
              <a:gd name="connsiteX303" fmla="*/ 6364310 w 9922465"/>
              <a:gd name="connsiteY303" fmla="*/ 1762373 h 1934496"/>
              <a:gd name="connsiteX304" fmla="*/ 6419502 w 9922465"/>
              <a:gd name="connsiteY304" fmla="*/ 1707182 h 1934496"/>
              <a:gd name="connsiteX305" fmla="*/ 6289207 w 9922465"/>
              <a:gd name="connsiteY305" fmla="*/ 1707182 h 1934496"/>
              <a:gd name="connsiteX306" fmla="*/ 6344399 w 9922465"/>
              <a:gd name="connsiteY306" fmla="*/ 1762373 h 1934496"/>
              <a:gd name="connsiteX307" fmla="*/ 6289207 w 9922465"/>
              <a:gd name="connsiteY307" fmla="*/ 1817564 h 1934496"/>
              <a:gd name="connsiteX308" fmla="*/ 6234015 w 9922465"/>
              <a:gd name="connsiteY308" fmla="*/ 1762373 h 1934496"/>
              <a:gd name="connsiteX309" fmla="*/ 6289207 w 9922465"/>
              <a:gd name="connsiteY309" fmla="*/ 1707182 h 1934496"/>
              <a:gd name="connsiteX310" fmla="*/ 6155572 w 9922465"/>
              <a:gd name="connsiteY310" fmla="*/ 1707182 h 1934496"/>
              <a:gd name="connsiteX311" fmla="*/ 6210764 w 9922465"/>
              <a:gd name="connsiteY311" fmla="*/ 1762373 h 1934496"/>
              <a:gd name="connsiteX312" fmla="*/ 6155572 w 9922465"/>
              <a:gd name="connsiteY312" fmla="*/ 1817564 h 1934496"/>
              <a:gd name="connsiteX313" fmla="*/ 6100380 w 9922465"/>
              <a:gd name="connsiteY313" fmla="*/ 1762373 h 1934496"/>
              <a:gd name="connsiteX314" fmla="*/ 6155572 w 9922465"/>
              <a:gd name="connsiteY314" fmla="*/ 1707182 h 1934496"/>
              <a:gd name="connsiteX315" fmla="*/ 6021938 w 9922465"/>
              <a:gd name="connsiteY315" fmla="*/ 1707182 h 1934496"/>
              <a:gd name="connsiteX316" fmla="*/ 6077130 w 9922465"/>
              <a:gd name="connsiteY316" fmla="*/ 1762373 h 1934496"/>
              <a:gd name="connsiteX317" fmla="*/ 6021938 w 9922465"/>
              <a:gd name="connsiteY317" fmla="*/ 1817564 h 1934496"/>
              <a:gd name="connsiteX318" fmla="*/ 5966746 w 9922465"/>
              <a:gd name="connsiteY318" fmla="*/ 1762373 h 1934496"/>
              <a:gd name="connsiteX319" fmla="*/ 6021938 w 9922465"/>
              <a:gd name="connsiteY319" fmla="*/ 1707182 h 1934496"/>
              <a:gd name="connsiteX320" fmla="*/ 5884964 w 9922465"/>
              <a:gd name="connsiteY320" fmla="*/ 1707182 h 1934496"/>
              <a:gd name="connsiteX321" fmla="*/ 5940156 w 9922465"/>
              <a:gd name="connsiteY321" fmla="*/ 1762373 h 1934496"/>
              <a:gd name="connsiteX322" fmla="*/ 5884964 w 9922465"/>
              <a:gd name="connsiteY322" fmla="*/ 1817564 h 1934496"/>
              <a:gd name="connsiteX323" fmla="*/ 5829772 w 9922465"/>
              <a:gd name="connsiteY323" fmla="*/ 1762373 h 1934496"/>
              <a:gd name="connsiteX324" fmla="*/ 5884964 w 9922465"/>
              <a:gd name="connsiteY324" fmla="*/ 1707182 h 1934496"/>
              <a:gd name="connsiteX325" fmla="*/ 5754670 w 9922465"/>
              <a:gd name="connsiteY325" fmla="*/ 1707182 h 1934496"/>
              <a:gd name="connsiteX326" fmla="*/ 5809862 w 9922465"/>
              <a:gd name="connsiteY326" fmla="*/ 1762373 h 1934496"/>
              <a:gd name="connsiteX327" fmla="*/ 5754670 w 9922465"/>
              <a:gd name="connsiteY327" fmla="*/ 1817564 h 1934496"/>
              <a:gd name="connsiteX328" fmla="*/ 5699478 w 9922465"/>
              <a:gd name="connsiteY328" fmla="*/ 1762373 h 1934496"/>
              <a:gd name="connsiteX329" fmla="*/ 5754670 w 9922465"/>
              <a:gd name="connsiteY329" fmla="*/ 1707182 h 1934496"/>
              <a:gd name="connsiteX330" fmla="*/ 5621035 w 9922465"/>
              <a:gd name="connsiteY330" fmla="*/ 1707182 h 1934496"/>
              <a:gd name="connsiteX331" fmla="*/ 5676227 w 9922465"/>
              <a:gd name="connsiteY331" fmla="*/ 1762373 h 1934496"/>
              <a:gd name="connsiteX332" fmla="*/ 5621035 w 9922465"/>
              <a:gd name="connsiteY332" fmla="*/ 1817564 h 1934496"/>
              <a:gd name="connsiteX333" fmla="*/ 5565843 w 9922465"/>
              <a:gd name="connsiteY333" fmla="*/ 1762373 h 1934496"/>
              <a:gd name="connsiteX334" fmla="*/ 5621035 w 9922465"/>
              <a:gd name="connsiteY334" fmla="*/ 1707182 h 1934496"/>
              <a:gd name="connsiteX335" fmla="*/ 5487399 w 9922465"/>
              <a:gd name="connsiteY335" fmla="*/ 1707182 h 1934496"/>
              <a:gd name="connsiteX336" fmla="*/ 5542591 w 9922465"/>
              <a:gd name="connsiteY336" fmla="*/ 1762373 h 1934496"/>
              <a:gd name="connsiteX337" fmla="*/ 5487399 w 9922465"/>
              <a:gd name="connsiteY337" fmla="*/ 1817564 h 1934496"/>
              <a:gd name="connsiteX338" fmla="*/ 5432207 w 9922465"/>
              <a:gd name="connsiteY338" fmla="*/ 1762373 h 1934496"/>
              <a:gd name="connsiteX339" fmla="*/ 5487399 w 9922465"/>
              <a:gd name="connsiteY339" fmla="*/ 1707182 h 1934496"/>
              <a:gd name="connsiteX340" fmla="*/ 5357105 w 9922465"/>
              <a:gd name="connsiteY340" fmla="*/ 1707182 h 1934496"/>
              <a:gd name="connsiteX341" fmla="*/ 5412297 w 9922465"/>
              <a:gd name="connsiteY341" fmla="*/ 1762373 h 1934496"/>
              <a:gd name="connsiteX342" fmla="*/ 5357105 w 9922465"/>
              <a:gd name="connsiteY342" fmla="*/ 1817564 h 1934496"/>
              <a:gd name="connsiteX343" fmla="*/ 5301913 w 9922465"/>
              <a:gd name="connsiteY343" fmla="*/ 1762373 h 1934496"/>
              <a:gd name="connsiteX344" fmla="*/ 5357105 w 9922465"/>
              <a:gd name="connsiteY344" fmla="*/ 1707182 h 1934496"/>
              <a:gd name="connsiteX345" fmla="*/ 5223473 w 9922465"/>
              <a:gd name="connsiteY345" fmla="*/ 1707182 h 1934496"/>
              <a:gd name="connsiteX346" fmla="*/ 5278665 w 9922465"/>
              <a:gd name="connsiteY346" fmla="*/ 1762373 h 1934496"/>
              <a:gd name="connsiteX347" fmla="*/ 5223473 w 9922465"/>
              <a:gd name="connsiteY347" fmla="*/ 1817564 h 1934496"/>
              <a:gd name="connsiteX348" fmla="*/ 5168281 w 9922465"/>
              <a:gd name="connsiteY348" fmla="*/ 1762373 h 1934496"/>
              <a:gd name="connsiteX349" fmla="*/ 5223473 w 9922465"/>
              <a:gd name="connsiteY349" fmla="*/ 1707182 h 1934496"/>
              <a:gd name="connsiteX350" fmla="*/ 5093178 w 9922465"/>
              <a:gd name="connsiteY350" fmla="*/ 1707182 h 1934496"/>
              <a:gd name="connsiteX351" fmla="*/ 5148370 w 9922465"/>
              <a:gd name="connsiteY351" fmla="*/ 1762373 h 1934496"/>
              <a:gd name="connsiteX352" fmla="*/ 5093178 w 9922465"/>
              <a:gd name="connsiteY352" fmla="*/ 1817564 h 1934496"/>
              <a:gd name="connsiteX353" fmla="*/ 5037986 w 9922465"/>
              <a:gd name="connsiteY353" fmla="*/ 1762373 h 1934496"/>
              <a:gd name="connsiteX354" fmla="*/ 5093178 w 9922465"/>
              <a:gd name="connsiteY354" fmla="*/ 1707182 h 1934496"/>
              <a:gd name="connsiteX355" fmla="*/ 4959543 w 9922465"/>
              <a:gd name="connsiteY355" fmla="*/ 1707182 h 1934496"/>
              <a:gd name="connsiteX356" fmla="*/ 5014735 w 9922465"/>
              <a:gd name="connsiteY356" fmla="*/ 1762373 h 1934496"/>
              <a:gd name="connsiteX357" fmla="*/ 4959543 w 9922465"/>
              <a:gd name="connsiteY357" fmla="*/ 1817564 h 1934496"/>
              <a:gd name="connsiteX358" fmla="*/ 4904351 w 9922465"/>
              <a:gd name="connsiteY358" fmla="*/ 1762373 h 1934496"/>
              <a:gd name="connsiteX359" fmla="*/ 4959543 w 9922465"/>
              <a:gd name="connsiteY359" fmla="*/ 1707182 h 1934496"/>
              <a:gd name="connsiteX360" fmla="*/ 4829251 w 9922465"/>
              <a:gd name="connsiteY360" fmla="*/ 1707182 h 1934496"/>
              <a:gd name="connsiteX361" fmla="*/ 4884443 w 9922465"/>
              <a:gd name="connsiteY361" fmla="*/ 1762373 h 1934496"/>
              <a:gd name="connsiteX362" fmla="*/ 4829251 w 9922465"/>
              <a:gd name="connsiteY362" fmla="*/ 1817564 h 1934496"/>
              <a:gd name="connsiteX363" fmla="*/ 4774059 w 9922465"/>
              <a:gd name="connsiteY363" fmla="*/ 1762373 h 1934496"/>
              <a:gd name="connsiteX364" fmla="*/ 4829251 w 9922465"/>
              <a:gd name="connsiteY364" fmla="*/ 1707182 h 1934496"/>
              <a:gd name="connsiteX365" fmla="*/ 4695613 w 9922465"/>
              <a:gd name="connsiteY365" fmla="*/ 1707182 h 1934496"/>
              <a:gd name="connsiteX366" fmla="*/ 4750805 w 9922465"/>
              <a:gd name="connsiteY366" fmla="*/ 1762373 h 1934496"/>
              <a:gd name="connsiteX367" fmla="*/ 4695613 w 9922465"/>
              <a:gd name="connsiteY367" fmla="*/ 1817564 h 1934496"/>
              <a:gd name="connsiteX368" fmla="*/ 4640421 w 9922465"/>
              <a:gd name="connsiteY368" fmla="*/ 1762373 h 1934496"/>
              <a:gd name="connsiteX369" fmla="*/ 4695613 w 9922465"/>
              <a:gd name="connsiteY369" fmla="*/ 1707182 h 1934496"/>
              <a:gd name="connsiteX370" fmla="*/ 3098681 w 9922465"/>
              <a:gd name="connsiteY370" fmla="*/ 1707182 h 1934496"/>
              <a:gd name="connsiteX371" fmla="*/ 3153873 w 9922465"/>
              <a:gd name="connsiteY371" fmla="*/ 1762373 h 1934496"/>
              <a:gd name="connsiteX372" fmla="*/ 3098681 w 9922465"/>
              <a:gd name="connsiteY372" fmla="*/ 1817564 h 1934496"/>
              <a:gd name="connsiteX373" fmla="*/ 3043489 w 9922465"/>
              <a:gd name="connsiteY373" fmla="*/ 1762373 h 1934496"/>
              <a:gd name="connsiteX374" fmla="*/ 3098681 w 9922465"/>
              <a:gd name="connsiteY374" fmla="*/ 1707182 h 1934496"/>
              <a:gd name="connsiteX375" fmla="*/ 2971729 w 9922465"/>
              <a:gd name="connsiteY375" fmla="*/ 1707182 h 1934496"/>
              <a:gd name="connsiteX376" fmla="*/ 3026921 w 9922465"/>
              <a:gd name="connsiteY376" fmla="*/ 1762373 h 1934496"/>
              <a:gd name="connsiteX377" fmla="*/ 2971729 w 9922465"/>
              <a:gd name="connsiteY377" fmla="*/ 1817564 h 1934496"/>
              <a:gd name="connsiteX378" fmla="*/ 2916537 w 9922465"/>
              <a:gd name="connsiteY378" fmla="*/ 1762373 h 1934496"/>
              <a:gd name="connsiteX379" fmla="*/ 2971729 w 9922465"/>
              <a:gd name="connsiteY379" fmla="*/ 1707182 h 1934496"/>
              <a:gd name="connsiteX380" fmla="*/ 2834772 w 9922465"/>
              <a:gd name="connsiteY380" fmla="*/ 1707182 h 1934496"/>
              <a:gd name="connsiteX381" fmla="*/ 2889964 w 9922465"/>
              <a:gd name="connsiteY381" fmla="*/ 1762373 h 1934496"/>
              <a:gd name="connsiteX382" fmla="*/ 2834772 w 9922465"/>
              <a:gd name="connsiteY382" fmla="*/ 1817564 h 1934496"/>
              <a:gd name="connsiteX383" fmla="*/ 2779580 w 9922465"/>
              <a:gd name="connsiteY383" fmla="*/ 1762373 h 1934496"/>
              <a:gd name="connsiteX384" fmla="*/ 2834772 w 9922465"/>
              <a:gd name="connsiteY384" fmla="*/ 1707182 h 1934496"/>
              <a:gd name="connsiteX385" fmla="*/ 2707817 w 9922465"/>
              <a:gd name="connsiteY385" fmla="*/ 1707182 h 1934496"/>
              <a:gd name="connsiteX386" fmla="*/ 2763009 w 9922465"/>
              <a:gd name="connsiteY386" fmla="*/ 1762373 h 1934496"/>
              <a:gd name="connsiteX387" fmla="*/ 2707817 w 9922465"/>
              <a:gd name="connsiteY387" fmla="*/ 1817564 h 1934496"/>
              <a:gd name="connsiteX388" fmla="*/ 2652625 w 9922465"/>
              <a:gd name="connsiteY388" fmla="*/ 1762373 h 1934496"/>
              <a:gd name="connsiteX389" fmla="*/ 2707817 w 9922465"/>
              <a:gd name="connsiteY389" fmla="*/ 1707182 h 1934496"/>
              <a:gd name="connsiteX390" fmla="*/ 2570843 w 9922465"/>
              <a:gd name="connsiteY390" fmla="*/ 1707182 h 1934496"/>
              <a:gd name="connsiteX391" fmla="*/ 2626036 w 9922465"/>
              <a:gd name="connsiteY391" fmla="*/ 1762373 h 1934496"/>
              <a:gd name="connsiteX392" fmla="*/ 2570843 w 9922465"/>
              <a:gd name="connsiteY392" fmla="*/ 1817564 h 1934496"/>
              <a:gd name="connsiteX393" fmla="*/ 2515651 w 9922465"/>
              <a:gd name="connsiteY393" fmla="*/ 1762373 h 1934496"/>
              <a:gd name="connsiteX394" fmla="*/ 2570843 w 9922465"/>
              <a:gd name="connsiteY394" fmla="*/ 1707182 h 1934496"/>
              <a:gd name="connsiteX395" fmla="*/ 2437207 w 9922465"/>
              <a:gd name="connsiteY395" fmla="*/ 1707182 h 1934496"/>
              <a:gd name="connsiteX396" fmla="*/ 2492398 w 9922465"/>
              <a:gd name="connsiteY396" fmla="*/ 1762373 h 1934496"/>
              <a:gd name="connsiteX397" fmla="*/ 2437207 w 9922465"/>
              <a:gd name="connsiteY397" fmla="*/ 1817564 h 1934496"/>
              <a:gd name="connsiteX398" fmla="*/ 2382015 w 9922465"/>
              <a:gd name="connsiteY398" fmla="*/ 1762373 h 1934496"/>
              <a:gd name="connsiteX399" fmla="*/ 2437207 w 9922465"/>
              <a:gd name="connsiteY399" fmla="*/ 1707182 h 1934496"/>
              <a:gd name="connsiteX400" fmla="*/ 2303575 w 9922465"/>
              <a:gd name="connsiteY400" fmla="*/ 1707182 h 1934496"/>
              <a:gd name="connsiteX401" fmla="*/ 2358767 w 9922465"/>
              <a:gd name="connsiteY401" fmla="*/ 1762373 h 1934496"/>
              <a:gd name="connsiteX402" fmla="*/ 2303575 w 9922465"/>
              <a:gd name="connsiteY402" fmla="*/ 1817564 h 1934496"/>
              <a:gd name="connsiteX403" fmla="*/ 2248383 w 9922465"/>
              <a:gd name="connsiteY403" fmla="*/ 1762373 h 1934496"/>
              <a:gd name="connsiteX404" fmla="*/ 2303575 w 9922465"/>
              <a:gd name="connsiteY404" fmla="*/ 1707182 h 1934496"/>
              <a:gd name="connsiteX405" fmla="*/ 2173282 w 9922465"/>
              <a:gd name="connsiteY405" fmla="*/ 1707182 h 1934496"/>
              <a:gd name="connsiteX406" fmla="*/ 2228474 w 9922465"/>
              <a:gd name="connsiteY406" fmla="*/ 1762373 h 1934496"/>
              <a:gd name="connsiteX407" fmla="*/ 2173282 w 9922465"/>
              <a:gd name="connsiteY407" fmla="*/ 1817564 h 1934496"/>
              <a:gd name="connsiteX408" fmla="*/ 2118090 w 9922465"/>
              <a:gd name="connsiteY408" fmla="*/ 1762373 h 1934496"/>
              <a:gd name="connsiteX409" fmla="*/ 2173282 w 9922465"/>
              <a:gd name="connsiteY409" fmla="*/ 1707182 h 1934496"/>
              <a:gd name="connsiteX410" fmla="*/ 2039648 w 9922465"/>
              <a:gd name="connsiteY410" fmla="*/ 1707182 h 1934496"/>
              <a:gd name="connsiteX411" fmla="*/ 2094840 w 9922465"/>
              <a:gd name="connsiteY411" fmla="*/ 1762373 h 1934496"/>
              <a:gd name="connsiteX412" fmla="*/ 2039648 w 9922465"/>
              <a:gd name="connsiteY412" fmla="*/ 1817564 h 1934496"/>
              <a:gd name="connsiteX413" fmla="*/ 1984455 w 9922465"/>
              <a:gd name="connsiteY413" fmla="*/ 1762373 h 1934496"/>
              <a:gd name="connsiteX414" fmla="*/ 2039648 w 9922465"/>
              <a:gd name="connsiteY414" fmla="*/ 1707182 h 1934496"/>
              <a:gd name="connsiteX415" fmla="*/ 1909353 w 9922465"/>
              <a:gd name="connsiteY415" fmla="*/ 1707182 h 1934496"/>
              <a:gd name="connsiteX416" fmla="*/ 1964545 w 9922465"/>
              <a:gd name="connsiteY416" fmla="*/ 1762373 h 1934496"/>
              <a:gd name="connsiteX417" fmla="*/ 1909353 w 9922465"/>
              <a:gd name="connsiteY417" fmla="*/ 1817564 h 1934496"/>
              <a:gd name="connsiteX418" fmla="*/ 1854161 w 9922465"/>
              <a:gd name="connsiteY418" fmla="*/ 1762373 h 1934496"/>
              <a:gd name="connsiteX419" fmla="*/ 1909353 w 9922465"/>
              <a:gd name="connsiteY419" fmla="*/ 1707182 h 1934496"/>
              <a:gd name="connsiteX420" fmla="*/ 1779058 w 9922465"/>
              <a:gd name="connsiteY420" fmla="*/ 1707182 h 1934496"/>
              <a:gd name="connsiteX421" fmla="*/ 1834251 w 9922465"/>
              <a:gd name="connsiteY421" fmla="*/ 1762373 h 1934496"/>
              <a:gd name="connsiteX422" fmla="*/ 1779058 w 9922465"/>
              <a:gd name="connsiteY422" fmla="*/ 1817564 h 1934496"/>
              <a:gd name="connsiteX423" fmla="*/ 1723867 w 9922465"/>
              <a:gd name="connsiteY423" fmla="*/ 1762373 h 1934496"/>
              <a:gd name="connsiteX424" fmla="*/ 1779058 w 9922465"/>
              <a:gd name="connsiteY424" fmla="*/ 1707182 h 1934496"/>
              <a:gd name="connsiteX425" fmla="*/ 1645422 w 9922465"/>
              <a:gd name="connsiteY425" fmla="*/ 1707182 h 1934496"/>
              <a:gd name="connsiteX426" fmla="*/ 1700617 w 9922465"/>
              <a:gd name="connsiteY426" fmla="*/ 1762373 h 1934496"/>
              <a:gd name="connsiteX427" fmla="*/ 1645422 w 9922465"/>
              <a:gd name="connsiteY427" fmla="*/ 1817564 h 1934496"/>
              <a:gd name="connsiteX428" fmla="*/ 1590230 w 9922465"/>
              <a:gd name="connsiteY428" fmla="*/ 1762373 h 1934496"/>
              <a:gd name="connsiteX429" fmla="*/ 1645422 w 9922465"/>
              <a:gd name="connsiteY429" fmla="*/ 1707182 h 1934496"/>
              <a:gd name="connsiteX430" fmla="*/ 1515130 w 9922465"/>
              <a:gd name="connsiteY430" fmla="*/ 1707182 h 1934496"/>
              <a:gd name="connsiteX431" fmla="*/ 1570322 w 9922465"/>
              <a:gd name="connsiteY431" fmla="*/ 1762373 h 1934496"/>
              <a:gd name="connsiteX432" fmla="*/ 1515130 w 9922465"/>
              <a:gd name="connsiteY432" fmla="*/ 1817564 h 1934496"/>
              <a:gd name="connsiteX433" fmla="*/ 1459938 w 9922465"/>
              <a:gd name="connsiteY433" fmla="*/ 1762373 h 1934496"/>
              <a:gd name="connsiteX434" fmla="*/ 1515130 w 9922465"/>
              <a:gd name="connsiteY434" fmla="*/ 1707182 h 1934496"/>
              <a:gd name="connsiteX435" fmla="*/ 1381494 w 9922465"/>
              <a:gd name="connsiteY435" fmla="*/ 1707182 h 1934496"/>
              <a:gd name="connsiteX436" fmla="*/ 1436688 w 9922465"/>
              <a:gd name="connsiteY436" fmla="*/ 1762373 h 1934496"/>
              <a:gd name="connsiteX437" fmla="*/ 1381494 w 9922465"/>
              <a:gd name="connsiteY437" fmla="*/ 1817564 h 1934496"/>
              <a:gd name="connsiteX438" fmla="*/ 1326303 w 9922465"/>
              <a:gd name="connsiteY438" fmla="*/ 1762373 h 1934496"/>
              <a:gd name="connsiteX439" fmla="*/ 1381494 w 9922465"/>
              <a:gd name="connsiteY439" fmla="*/ 1707182 h 1934496"/>
              <a:gd name="connsiteX440" fmla="*/ 1251201 w 9922465"/>
              <a:gd name="connsiteY440" fmla="*/ 1707182 h 1934496"/>
              <a:gd name="connsiteX441" fmla="*/ 1306393 w 9922465"/>
              <a:gd name="connsiteY441" fmla="*/ 1762373 h 1934496"/>
              <a:gd name="connsiteX442" fmla="*/ 1251201 w 9922465"/>
              <a:gd name="connsiteY442" fmla="*/ 1817564 h 1934496"/>
              <a:gd name="connsiteX443" fmla="*/ 1196010 w 9922465"/>
              <a:gd name="connsiteY443" fmla="*/ 1762373 h 1934496"/>
              <a:gd name="connsiteX444" fmla="*/ 1251201 w 9922465"/>
              <a:gd name="connsiteY444" fmla="*/ 1707182 h 1934496"/>
              <a:gd name="connsiteX445" fmla="*/ 1909361 w 9922465"/>
              <a:gd name="connsiteY445" fmla="*/ 1580232 h 1934496"/>
              <a:gd name="connsiteX446" fmla="*/ 1964554 w 9922465"/>
              <a:gd name="connsiteY446" fmla="*/ 1635423 h 1934496"/>
              <a:gd name="connsiteX447" fmla="*/ 1909361 w 9922465"/>
              <a:gd name="connsiteY447" fmla="*/ 1690614 h 1934496"/>
              <a:gd name="connsiteX448" fmla="*/ 1854168 w 9922465"/>
              <a:gd name="connsiteY448" fmla="*/ 1635423 h 1934496"/>
              <a:gd name="connsiteX449" fmla="*/ 1909361 w 9922465"/>
              <a:gd name="connsiteY449" fmla="*/ 1580232 h 1934496"/>
              <a:gd name="connsiteX450" fmla="*/ 1779065 w 9922465"/>
              <a:gd name="connsiteY450" fmla="*/ 1580232 h 1934496"/>
              <a:gd name="connsiteX451" fmla="*/ 1834257 w 9922465"/>
              <a:gd name="connsiteY451" fmla="*/ 1635423 h 1934496"/>
              <a:gd name="connsiteX452" fmla="*/ 1779065 w 9922465"/>
              <a:gd name="connsiteY452" fmla="*/ 1690614 h 1934496"/>
              <a:gd name="connsiteX453" fmla="*/ 1723872 w 9922465"/>
              <a:gd name="connsiteY453" fmla="*/ 1635423 h 1934496"/>
              <a:gd name="connsiteX454" fmla="*/ 1779065 w 9922465"/>
              <a:gd name="connsiteY454" fmla="*/ 1580232 h 1934496"/>
              <a:gd name="connsiteX455" fmla="*/ 1645431 w 9922465"/>
              <a:gd name="connsiteY455" fmla="*/ 1580232 h 1934496"/>
              <a:gd name="connsiteX456" fmla="*/ 1700623 w 9922465"/>
              <a:gd name="connsiteY456" fmla="*/ 1635423 h 1934496"/>
              <a:gd name="connsiteX457" fmla="*/ 1645431 w 9922465"/>
              <a:gd name="connsiteY457" fmla="*/ 1690614 h 1934496"/>
              <a:gd name="connsiteX458" fmla="*/ 1590238 w 9922465"/>
              <a:gd name="connsiteY458" fmla="*/ 1635423 h 1934496"/>
              <a:gd name="connsiteX459" fmla="*/ 1645431 w 9922465"/>
              <a:gd name="connsiteY459" fmla="*/ 1580232 h 1934496"/>
              <a:gd name="connsiteX460" fmla="*/ 1515140 w 9922465"/>
              <a:gd name="connsiteY460" fmla="*/ 1580232 h 1934496"/>
              <a:gd name="connsiteX461" fmla="*/ 1570329 w 9922465"/>
              <a:gd name="connsiteY461" fmla="*/ 1635423 h 1934496"/>
              <a:gd name="connsiteX462" fmla="*/ 1515140 w 9922465"/>
              <a:gd name="connsiteY462" fmla="*/ 1690614 h 1934496"/>
              <a:gd name="connsiteX463" fmla="*/ 1459945 w 9922465"/>
              <a:gd name="connsiteY463" fmla="*/ 1635423 h 1934496"/>
              <a:gd name="connsiteX464" fmla="*/ 1515140 w 9922465"/>
              <a:gd name="connsiteY464" fmla="*/ 1580232 h 1934496"/>
              <a:gd name="connsiteX465" fmla="*/ 1381504 w 9922465"/>
              <a:gd name="connsiteY465" fmla="*/ 1580232 h 1934496"/>
              <a:gd name="connsiteX466" fmla="*/ 1436697 w 9922465"/>
              <a:gd name="connsiteY466" fmla="*/ 1635423 h 1934496"/>
              <a:gd name="connsiteX467" fmla="*/ 1381504 w 9922465"/>
              <a:gd name="connsiteY467" fmla="*/ 1690614 h 1934496"/>
              <a:gd name="connsiteX468" fmla="*/ 1326312 w 9922465"/>
              <a:gd name="connsiteY468" fmla="*/ 1635423 h 1934496"/>
              <a:gd name="connsiteX469" fmla="*/ 1381504 w 9922465"/>
              <a:gd name="connsiteY469" fmla="*/ 1580232 h 1934496"/>
              <a:gd name="connsiteX470" fmla="*/ 1251210 w 9922465"/>
              <a:gd name="connsiteY470" fmla="*/ 1580232 h 1934496"/>
              <a:gd name="connsiteX471" fmla="*/ 1306401 w 9922465"/>
              <a:gd name="connsiteY471" fmla="*/ 1635423 h 1934496"/>
              <a:gd name="connsiteX472" fmla="*/ 1251210 w 9922465"/>
              <a:gd name="connsiteY472" fmla="*/ 1690614 h 1934496"/>
              <a:gd name="connsiteX473" fmla="*/ 1196016 w 9922465"/>
              <a:gd name="connsiteY473" fmla="*/ 1635423 h 1934496"/>
              <a:gd name="connsiteX474" fmla="*/ 1251210 w 9922465"/>
              <a:gd name="connsiteY474" fmla="*/ 1580232 h 1934496"/>
              <a:gd name="connsiteX475" fmla="*/ 9068806 w 9922465"/>
              <a:gd name="connsiteY475" fmla="*/ 1580228 h 1934496"/>
              <a:gd name="connsiteX476" fmla="*/ 9123998 w 9922465"/>
              <a:gd name="connsiteY476" fmla="*/ 1635419 h 1934496"/>
              <a:gd name="connsiteX477" fmla="*/ 9068806 w 9922465"/>
              <a:gd name="connsiteY477" fmla="*/ 1690610 h 1934496"/>
              <a:gd name="connsiteX478" fmla="*/ 9013614 w 9922465"/>
              <a:gd name="connsiteY478" fmla="*/ 1635419 h 1934496"/>
              <a:gd name="connsiteX479" fmla="*/ 9068806 w 9922465"/>
              <a:gd name="connsiteY479" fmla="*/ 1580228 h 1934496"/>
              <a:gd name="connsiteX480" fmla="*/ 8671243 w 9922465"/>
              <a:gd name="connsiteY480" fmla="*/ 1580228 h 1934496"/>
              <a:gd name="connsiteX481" fmla="*/ 8726435 w 9922465"/>
              <a:gd name="connsiteY481" fmla="*/ 1635419 h 1934496"/>
              <a:gd name="connsiteX482" fmla="*/ 8671243 w 9922465"/>
              <a:gd name="connsiteY482" fmla="*/ 1690610 h 1934496"/>
              <a:gd name="connsiteX483" fmla="*/ 8616051 w 9922465"/>
              <a:gd name="connsiteY483" fmla="*/ 1635419 h 1934496"/>
              <a:gd name="connsiteX484" fmla="*/ 8671243 w 9922465"/>
              <a:gd name="connsiteY484" fmla="*/ 1580228 h 1934496"/>
              <a:gd name="connsiteX485" fmla="*/ 8537609 w 9922465"/>
              <a:gd name="connsiteY485" fmla="*/ 1580228 h 1934496"/>
              <a:gd name="connsiteX486" fmla="*/ 8592801 w 9922465"/>
              <a:gd name="connsiteY486" fmla="*/ 1635419 h 1934496"/>
              <a:gd name="connsiteX487" fmla="*/ 8537609 w 9922465"/>
              <a:gd name="connsiteY487" fmla="*/ 1690610 h 1934496"/>
              <a:gd name="connsiteX488" fmla="*/ 8482417 w 9922465"/>
              <a:gd name="connsiteY488" fmla="*/ 1635419 h 1934496"/>
              <a:gd name="connsiteX489" fmla="*/ 8537609 w 9922465"/>
              <a:gd name="connsiteY489" fmla="*/ 1580228 h 1934496"/>
              <a:gd name="connsiteX490" fmla="*/ 8407318 w 9922465"/>
              <a:gd name="connsiteY490" fmla="*/ 1580228 h 1934496"/>
              <a:gd name="connsiteX491" fmla="*/ 8462510 w 9922465"/>
              <a:gd name="connsiteY491" fmla="*/ 1635419 h 1934496"/>
              <a:gd name="connsiteX492" fmla="*/ 8407318 w 9922465"/>
              <a:gd name="connsiteY492" fmla="*/ 1690610 h 1934496"/>
              <a:gd name="connsiteX493" fmla="*/ 8352126 w 9922465"/>
              <a:gd name="connsiteY493" fmla="*/ 1635419 h 1934496"/>
              <a:gd name="connsiteX494" fmla="*/ 8407318 w 9922465"/>
              <a:gd name="connsiteY494" fmla="*/ 1580228 h 1934496"/>
              <a:gd name="connsiteX495" fmla="*/ 8273682 w 9922465"/>
              <a:gd name="connsiteY495" fmla="*/ 1580228 h 1934496"/>
              <a:gd name="connsiteX496" fmla="*/ 8328874 w 9922465"/>
              <a:gd name="connsiteY496" fmla="*/ 1635419 h 1934496"/>
              <a:gd name="connsiteX497" fmla="*/ 8273682 w 9922465"/>
              <a:gd name="connsiteY497" fmla="*/ 1690610 h 1934496"/>
              <a:gd name="connsiteX498" fmla="*/ 8218490 w 9922465"/>
              <a:gd name="connsiteY498" fmla="*/ 1635419 h 1934496"/>
              <a:gd name="connsiteX499" fmla="*/ 8273682 w 9922465"/>
              <a:gd name="connsiteY499" fmla="*/ 1580228 h 1934496"/>
              <a:gd name="connsiteX500" fmla="*/ 8143386 w 9922465"/>
              <a:gd name="connsiteY500" fmla="*/ 1580228 h 1934496"/>
              <a:gd name="connsiteX501" fmla="*/ 8198578 w 9922465"/>
              <a:gd name="connsiteY501" fmla="*/ 1635419 h 1934496"/>
              <a:gd name="connsiteX502" fmla="*/ 8143386 w 9922465"/>
              <a:gd name="connsiteY502" fmla="*/ 1690610 h 1934496"/>
              <a:gd name="connsiteX503" fmla="*/ 8088194 w 9922465"/>
              <a:gd name="connsiteY503" fmla="*/ 1635419 h 1934496"/>
              <a:gd name="connsiteX504" fmla="*/ 8143386 w 9922465"/>
              <a:gd name="connsiteY504" fmla="*/ 1580228 h 1934496"/>
              <a:gd name="connsiteX505" fmla="*/ 8009752 w 9922465"/>
              <a:gd name="connsiteY505" fmla="*/ 1580228 h 1934496"/>
              <a:gd name="connsiteX506" fmla="*/ 8064944 w 9922465"/>
              <a:gd name="connsiteY506" fmla="*/ 1635419 h 1934496"/>
              <a:gd name="connsiteX507" fmla="*/ 8009752 w 9922465"/>
              <a:gd name="connsiteY507" fmla="*/ 1690610 h 1934496"/>
              <a:gd name="connsiteX508" fmla="*/ 7954560 w 9922465"/>
              <a:gd name="connsiteY508" fmla="*/ 1635419 h 1934496"/>
              <a:gd name="connsiteX509" fmla="*/ 8009752 w 9922465"/>
              <a:gd name="connsiteY509" fmla="*/ 1580228 h 1934496"/>
              <a:gd name="connsiteX510" fmla="*/ 7876117 w 9922465"/>
              <a:gd name="connsiteY510" fmla="*/ 1580228 h 1934496"/>
              <a:gd name="connsiteX511" fmla="*/ 7931309 w 9922465"/>
              <a:gd name="connsiteY511" fmla="*/ 1635419 h 1934496"/>
              <a:gd name="connsiteX512" fmla="*/ 7876117 w 9922465"/>
              <a:gd name="connsiteY512" fmla="*/ 1690610 h 1934496"/>
              <a:gd name="connsiteX513" fmla="*/ 7820925 w 9922465"/>
              <a:gd name="connsiteY513" fmla="*/ 1635419 h 1934496"/>
              <a:gd name="connsiteX514" fmla="*/ 7876117 w 9922465"/>
              <a:gd name="connsiteY514" fmla="*/ 1580228 h 1934496"/>
              <a:gd name="connsiteX515" fmla="*/ 7745824 w 9922465"/>
              <a:gd name="connsiteY515" fmla="*/ 1580228 h 1934496"/>
              <a:gd name="connsiteX516" fmla="*/ 7801016 w 9922465"/>
              <a:gd name="connsiteY516" fmla="*/ 1635419 h 1934496"/>
              <a:gd name="connsiteX517" fmla="*/ 7745824 w 9922465"/>
              <a:gd name="connsiteY517" fmla="*/ 1690610 h 1934496"/>
              <a:gd name="connsiteX518" fmla="*/ 7690632 w 9922465"/>
              <a:gd name="connsiteY518" fmla="*/ 1635419 h 1934496"/>
              <a:gd name="connsiteX519" fmla="*/ 7745824 w 9922465"/>
              <a:gd name="connsiteY519" fmla="*/ 1580228 h 1934496"/>
              <a:gd name="connsiteX520" fmla="*/ 7608849 w 9922465"/>
              <a:gd name="connsiteY520" fmla="*/ 1580228 h 1934496"/>
              <a:gd name="connsiteX521" fmla="*/ 7664041 w 9922465"/>
              <a:gd name="connsiteY521" fmla="*/ 1635419 h 1934496"/>
              <a:gd name="connsiteX522" fmla="*/ 7608849 w 9922465"/>
              <a:gd name="connsiteY522" fmla="*/ 1690610 h 1934496"/>
              <a:gd name="connsiteX523" fmla="*/ 7553657 w 9922465"/>
              <a:gd name="connsiteY523" fmla="*/ 1635419 h 1934496"/>
              <a:gd name="connsiteX524" fmla="*/ 7608849 w 9922465"/>
              <a:gd name="connsiteY524" fmla="*/ 1580228 h 1934496"/>
              <a:gd name="connsiteX525" fmla="*/ 7481895 w 9922465"/>
              <a:gd name="connsiteY525" fmla="*/ 1580228 h 1934496"/>
              <a:gd name="connsiteX526" fmla="*/ 7537087 w 9922465"/>
              <a:gd name="connsiteY526" fmla="*/ 1635419 h 1934496"/>
              <a:gd name="connsiteX527" fmla="*/ 7481895 w 9922465"/>
              <a:gd name="connsiteY527" fmla="*/ 1690610 h 1934496"/>
              <a:gd name="connsiteX528" fmla="*/ 7426703 w 9922465"/>
              <a:gd name="connsiteY528" fmla="*/ 1635419 h 1934496"/>
              <a:gd name="connsiteX529" fmla="*/ 7481895 w 9922465"/>
              <a:gd name="connsiteY529" fmla="*/ 1580228 h 1934496"/>
              <a:gd name="connsiteX530" fmla="*/ 7341579 w 9922465"/>
              <a:gd name="connsiteY530" fmla="*/ 1580228 h 1934496"/>
              <a:gd name="connsiteX531" fmla="*/ 7396771 w 9922465"/>
              <a:gd name="connsiteY531" fmla="*/ 1635419 h 1934496"/>
              <a:gd name="connsiteX532" fmla="*/ 7341579 w 9922465"/>
              <a:gd name="connsiteY532" fmla="*/ 1690610 h 1934496"/>
              <a:gd name="connsiteX533" fmla="*/ 7286387 w 9922465"/>
              <a:gd name="connsiteY533" fmla="*/ 1635419 h 1934496"/>
              <a:gd name="connsiteX534" fmla="*/ 7341579 w 9922465"/>
              <a:gd name="connsiteY534" fmla="*/ 1580228 h 1934496"/>
              <a:gd name="connsiteX535" fmla="*/ 7211286 w 9922465"/>
              <a:gd name="connsiteY535" fmla="*/ 1580228 h 1934496"/>
              <a:gd name="connsiteX536" fmla="*/ 7266478 w 9922465"/>
              <a:gd name="connsiteY536" fmla="*/ 1635419 h 1934496"/>
              <a:gd name="connsiteX537" fmla="*/ 7211286 w 9922465"/>
              <a:gd name="connsiteY537" fmla="*/ 1690610 h 1934496"/>
              <a:gd name="connsiteX538" fmla="*/ 7156094 w 9922465"/>
              <a:gd name="connsiteY538" fmla="*/ 1635419 h 1934496"/>
              <a:gd name="connsiteX539" fmla="*/ 7211286 w 9922465"/>
              <a:gd name="connsiteY539" fmla="*/ 1580228 h 1934496"/>
              <a:gd name="connsiteX540" fmla="*/ 7080993 w 9922465"/>
              <a:gd name="connsiteY540" fmla="*/ 1580228 h 1934496"/>
              <a:gd name="connsiteX541" fmla="*/ 7136185 w 9922465"/>
              <a:gd name="connsiteY541" fmla="*/ 1635419 h 1934496"/>
              <a:gd name="connsiteX542" fmla="*/ 7080993 w 9922465"/>
              <a:gd name="connsiteY542" fmla="*/ 1690610 h 1934496"/>
              <a:gd name="connsiteX543" fmla="*/ 7025801 w 9922465"/>
              <a:gd name="connsiteY543" fmla="*/ 1635419 h 1934496"/>
              <a:gd name="connsiteX544" fmla="*/ 7080993 w 9922465"/>
              <a:gd name="connsiteY544" fmla="*/ 1580228 h 1934496"/>
              <a:gd name="connsiteX545" fmla="*/ 6947357 w 9922465"/>
              <a:gd name="connsiteY545" fmla="*/ 1580228 h 1934496"/>
              <a:gd name="connsiteX546" fmla="*/ 7002549 w 9922465"/>
              <a:gd name="connsiteY546" fmla="*/ 1635419 h 1934496"/>
              <a:gd name="connsiteX547" fmla="*/ 6947357 w 9922465"/>
              <a:gd name="connsiteY547" fmla="*/ 1690610 h 1934496"/>
              <a:gd name="connsiteX548" fmla="*/ 6892165 w 9922465"/>
              <a:gd name="connsiteY548" fmla="*/ 1635419 h 1934496"/>
              <a:gd name="connsiteX549" fmla="*/ 6947357 w 9922465"/>
              <a:gd name="connsiteY549" fmla="*/ 1580228 h 1934496"/>
              <a:gd name="connsiteX550" fmla="*/ 6817063 w 9922465"/>
              <a:gd name="connsiteY550" fmla="*/ 1580228 h 1934496"/>
              <a:gd name="connsiteX551" fmla="*/ 6872255 w 9922465"/>
              <a:gd name="connsiteY551" fmla="*/ 1635419 h 1934496"/>
              <a:gd name="connsiteX552" fmla="*/ 6817063 w 9922465"/>
              <a:gd name="connsiteY552" fmla="*/ 1690610 h 1934496"/>
              <a:gd name="connsiteX553" fmla="*/ 6761871 w 9922465"/>
              <a:gd name="connsiteY553" fmla="*/ 1635419 h 1934496"/>
              <a:gd name="connsiteX554" fmla="*/ 6817063 w 9922465"/>
              <a:gd name="connsiteY554" fmla="*/ 1580228 h 1934496"/>
              <a:gd name="connsiteX555" fmla="*/ 6683431 w 9922465"/>
              <a:gd name="connsiteY555" fmla="*/ 1580228 h 1934496"/>
              <a:gd name="connsiteX556" fmla="*/ 6738623 w 9922465"/>
              <a:gd name="connsiteY556" fmla="*/ 1635419 h 1934496"/>
              <a:gd name="connsiteX557" fmla="*/ 6683431 w 9922465"/>
              <a:gd name="connsiteY557" fmla="*/ 1690610 h 1934496"/>
              <a:gd name="connsiteX558" fmla="*/ 6628239 w 9922465"/>
              <a:gd name="connsiteY558" fmla="*/ 1635419 h 1934496"/>
              <a:gd name="connsiteX559" fmla="*/ 6683431 w 9922465"/>
              <a:gd name="connsiteY559" fmla="*/ 1580228 h 1934496"/>
              <a:gd name="connsiteX560" fmla="*/ 6553137 w 9922465"/>
              <a:gd name="connsiteY560" fmla="*/ 1580228 h 1934496"/>
              <a:gd name="connsiteX561" fmla="*/ 6608329 w 9922465"/>
              <a:gd name="connsiteY561" fmla="*/ 1635419 h 1934496"/>
              <a:gd name="connsiteX562" fmla="*/ 6553137 w 9922465"/>
              <a:gd name="connsiteY562" fmla="*/ 1690610 h 1934496"/>
              <a:gd name="connsiteX563" fmla="*/ 6497945 w 9922465"/>
              <a:gd name="connsiteY563" fmla="*/ 1635419 h 1934496"/>
              <a:gd name="connsiteX564" fmla="*/ 6553137 w 9922465"/>
              <a:gd name="connsiteY564" fmla="*/ 1580228 h 1934496"/>
              <a:gd name="connsiteX565" fmla="*/ 6419502 w 9922465"/>
              <a:gd name="connsiteY565" fmla="*/ 1580228 h 1934496"/>
              <a:gd name="connsiteX566" fmla="*/ 6474694 w 9922465"/>
              <a:gd name="connsiteY566" fmla="*/ 1635419 h 1934496"/>
              <a:gd name="connsiteX567" fmla="*/ 6419502 w 9922465"/>
              <a:gd name="connsiteY567" fmla="*/ 1690610 h 1934496"/>
              <a:gd name="connsiteX568" fmla="*/ 6364310 w 9922465"/>
              <a:gd name="connsiteY568" fmla="*/ 1635419 h 1934496"/>
              <a:gd name="connsiteX569" fmla="*/ 6419502 w 9922465"/>
              <a:gd name="connsiteY569" fmla="*/ 1580228 h 1934496"/>
              <a:gd name="connsiteX570" fmla="*/ 6289208 w 9922465"/>
              <a:gd name="connsiteY570" fmla="*/ 1580228 h 1934496"/>
              <a:gd name="connsiteX571" fmla="*/ 6344400 w 9922465"/>
              <a:gd name="connsiteY571" fmla="*/ 1635419 h 1934496"/>
              <a:gd name="connsiteX572" fmla="*/ 6289208 w 9922465"/>
              <a:gd name="connsiteY572" fmla="*/ 1690610 h 1934496"/>
              <a:gd name="connsiteX573" fmla="*/ 6234016 w 9922465"/>
              <a:gd name="connsiteY573" fmla="*/ 1635419 h 1934496"/>
              <a:gd name="connsiteX574" fmla="*/ 6289208 w 9922465"/>
              <a:gd name="connsiteY574" fmla="*/ 1580228 h 1934496"/>
              <a:gd name="connsiteX575" fmla="*/ 6155572 w 9922465"/>
              <a:gd name="connsiteY575" fmla="*/ 1580228 h 1934496"/>
              <a:gd name="connsiteX576" fmla="*/ 6210764 w 9922465"/>
              <a:gd name="connsiteY576" fmla="*/ 1635419 h 1934496"/>
              <a:gd name="connsiteX577" fmla="*/ 6155572 w 9922465"/>
              <a:gd name="connsiteY577" fmla="*/ 1690610 h 1934496"/>
              <a:gd name="connsiteX578" fmla="*/ 6100380 w 9922465"/>
              <a:gd name="connsiteY578" fmla="*/ 1635419 h 1934496"/>
              <a:gd name="connsiteX579" fmla="*/ 6155572 w 9922465"/>
              <a:gd name="connsiteY579" fmla="*/ 1580228 h 1934496"/>
              <a:gd name="connsiteX580" fmla="*/ 6021938 w 9922465"/>
              <a:gd name="connsiteY580" fmla="*/ 1580228 h 1934496"/>
              <a:gd name="connsiteX581" fmla="*/ 6077130 w 9922465"/>
              <a:gd name="connsiteY581" fmla="*/ 1635419 h 1934496"/>
              <a:gd name="connsiteX582" fmla="*/ 6021938 w 9922465"/>
              <a:gd name="connsiteY582" fmla="*/ 1690610 h 1934496"/>
              <a:gd name="connsiteX583" fmla="*/ 5966746 w 9922465"/>
              <a:gd name="connsiteY583" fmla="*/ 1635419 h 1934496"/>
              <a:gd name="connsiteX584" fmla="*/ 6021938 w 9922465"/>
              <a:gd name="connsiteY584" fmla="*/ 1580228 h 1934496"/>
              <a:gd name="connsiteX585" fmla="*/ 5884964 w 9922465"/>
              <a:gd name="connsiteY585" fmla="*/ 1580228 h 1934496"/>
              <a:gd name="connsiteX586" fmla="*/ 5940156 w 9922465"/>
              <a:gd name="connsiteY586" fmla="*/ 1635419 h 1934496"/>
              <a:gd name="connsiteX587" fmla="*/ 5884964 w 9922465"/>
              <a:gd name="connsiteY587" fmla="*/ 1690610 h 1934496"/>
              <a:gd name="connsiteX588" fmla="*/ 5829772 w 9922465"/>
              <a:gd name="connsiteY588" fmla="*/ 1635419 h 1934496"/>
              <a:gd name="connsiteX589" fmla="*/ 5884964 w 9922465"/>
              <a:gd name="connsiteY589" fmla="*/ 1580228 h 1934496"/>
              <a:gd name="connsiteX590" fmla="*/ 5754670 w 9922465"/>
              <a:gd name="connsiteY590" fmla="*/ 1580228 h 1934496"/>
              <a:gd name="connsiteX591" fmla="*/ 5809862 w 9922465"/>
              <a:gd name="connsiteY591" fmla="*/ 1635419 h 1934496"/>
              <a:gd name="connsiteX592" fmla="*/ 5754670 w 9922465"/>
              <a:gd name="connsiteY592" fmla="*/ 1690610 h 1934496"/>
              <a:gd name="connsiteX593" fmla="*/ 5699478 w 9922465"/>
              <a:gd name="connsiteY593" fmla="*/ 1635419 h 1934496"/>
              <a:gd name="connsiteX594" fmla="*/ 5754670 w 9922465"/>
              <a:gd name="connsiteY594" fmla="*/ 1580228 h 1934496"/>
              <a:gd name="connsiteX595" fmla="*/ 5621035 w 9922465"/>
              <a:gd name="connsiteY595" fmla="*/ 1580228 h 1934496"/>
              <a:gd name="connsiteX596" fmla="*/ 5676227 w 9922465"/>
              <a:gd name="connsiteY596" fmla="*/ 1635419 h 1934496"/>
              <a:gd name="connsiteX597" fmla="*/ 5621035 w 9922465"/>
              <a:gd name="connsiteY597" fmla="*/ 1690610 h 1934496"/>
              <a:gd name="connsiteX598" fmla="*/ 5565843 w 9922465"/>
              <a:gd name="connsiteY598" fmla="*/ 1635419 h 1934496"/>
              <a:gd name="connsiteX599" fmla="*/ 5621035 w 9922465"/>
              <a:gd name="connsiteY599" fmla="*/ 1580228 h 1934496"/>
              <a:gd name="connsiteX600" fmla="*/ 5357105 w 9922465"/>
              <a:gd name="connsiteY600" fmla="*/ 1580228 h 1934496"/>
              <a:gd name="connsiteX601" fmla="*/ 5412297 w 9922465"/>
              <a:gd name="connsiteY601" fmla="*/ 1635419 h 1934496"/>
              <a:gd name="connsiteX602" fmla="*/ 5357105 w 9922465"/>
              <a:gd name="connsiteY602" fmla="*/ 1690610 h 1934496"/>
              <a:gd name="connsiteX603" fmla="*/ 5301913 w 9922465"/>
              <a:gd name="connsiteY603" fmla="*/ 1635419 h 1934496"/>
              <a:gd name="connsiteX604" fmla="*/ 5357105 w 9922465"/>
              <a:gd name="connsiteY604" fmla="*/ 1580228 h 1934496"/>
              <a:gd name="connsiteX605" fmla="*/ 5223473 w 9922465"/>
              <a:gd name="connsiteY605" fmla="*/ 1580228 h 1934496"/>
              <a:gd name="connsiteX606" fmla="*/ 5278665 w 9922465"/>
              <a:gd name="connsiteY606" fmla="*/ 1635419 h 1934496"/>
              <a:gd name="connsiteX607" fmla="*/ 5223473 w 9922465"/>
              <a:gd name="connsiteY607" fmla="*/ 1690610 h 1934496"/>
              <a:gd name="connsiteX608" fmla="*/ 5168281 w 9922465"/>
              <a:gd name="connsiteY608" fmla="*/ 1635419 h 1934496"/>
              <a:gd name="connsiteX609" fmla="*/ 5223473 w 9922465"/>
              <a:gd name="connsiteY609" fmla="*/ 1580228 h 1934496"/>
              <a:gd name="connsiteX610" fmla="*/ 5093178 w 9922465"/>
              <a:gd name="connsiteY610" fmla="*/ 1580228 h 1934496"/>
              <a:gd name="connsiteX611" fmla="*/ 5148370 w 9922465"/>
              <a:gd name="connsiteY611" fmla="*/ 1635419 h 1934496"/>
              <a:gd name="connsiteX612" fmla="*/ 5093178 w 9922465"/>
              <a:gd name="connsiteY612" fmla="*/ 1690610 h 1934496"/>
              <a:gd name="connsiteX613" fmla="*/ 5037986 w 9922465"/>
              <a:gd name="connsiteY613" fmla="*/ 1635419 h 1934496"/>
              <a:gd name="connsiteX614" fmla="*/ 5093178 w 9922465"/>
              <a:gd name="connsiteY614" fmla="*/ 1580228 h 1934496"/>
              <a:gd name="connsiteX615" fmla="*/ 4959543 w 9922465"/>
              <a:gd name="connsiteY615" fmla="*/ 1580228 h 1934496"/>
              <a:gd name="connsiteX616" fmla="*/ 5014735 w 9922465"/>
              <a:gd name="connsiteY616" fmla="*/ 1635419 h 1934496"/>
              <a:gd name="connsiteX617" fmla="*/ 4959543 w 9922465"/>
              <a:gd name="connsiteY617" fmla="*/ 1690610 h 1934496"/>
              <a:gd name="connsiteX618" fmla="*/ 4904351 w 9922465"/>
              <a:gd name="connsiteY618" fmla="*/ 1635419 h 1934496"/>
              <a:gd name="connsiteX619" fmla="*/ 4959543 w 9922465"/>
              <a:gd name="connsiteY619" fmla="*/ 1580228 h 1934496"/>
              <a:gd name="connsiteX620" fmla="*/ 4829251 w 9922465"/>
              <a:gd name="connsiteY620" fmla="*/ 1580228 h 1934496"/>
              <a:gd name="connsiteX621" fmla="*/ 4884443 w 9922465"/>
              <a:gd name="connsiteY621" fmla="*/ 1635419 h 1934496"/>
              <a:gd name="connsiteX622" fmla="*/ 4829251 w 9922465"/>
              <a:gd name="connsiteY622" fmla="*/ 1690610 h 1934496"/>
              <a:gd name="connsiteX623" fmla="*/ 4774059 w 9922465"/>
              <a:gd name="connsiteY623" fmla="*/ 1635419 h 1934496"/>
              <a:gd name="connsiteX624" fmla="*/ 4829251 w 9922465"/>
              <a:gd name="connsiteY624" fmla="*/ 1580228 h 1934496"/>
              <a:gd name="connsiteX625" fmla="*/ 4695613 w 9922465"/>
              <a:gd name="connsiteY625" fmla="*/ 1580228 h 1934496"/>
              <a:gd name="connsiteX626" fmla="*/ 4750805 w 9922465"/>
              <a:gd name="connsiteY626" fmla="*/ 1635419 h 1934496"/>
              <a:gd name="connsiteX627" fmla="*/ 4695613 w 9922465"/>
              <a:gd name="connsiteY627" fmla="*/ 1690610 h 1934496"/>
              <a:gd name="connsiteX628" fmla="*/ 4640421 w 9922465"/>
              <a:gd name="connsiteY628" fmla="*/ 1635419 h 1934496"/>
              <a:gd name="connsiteX629" fmla="*/ 4695613 w 9922465"/>
              <a:gd name="connsiteY629" fmla="*/ 1580228 h 1934496"/>
              <a:gd name="connsiteX630" fmla="*/ 4565322 w 9922465"/>
              <a:gd name="connsiteY630" fmla="*/ 1580228 h 1934496"/>
              <a:gd name="connsiteX631" fmla="*/ 4620514 w 9922465"/>
              <a:gd name="connsiteY631" fmla="*/ 1635419 h 1934496"/>
              <a:gd name="connsiteX632" fmla="*/ 4565322 w 9922465"/>
              <a:gd name="connsiteY632" fmla="*/ 1690610 h 1934496"/>
              <a:gd name="connsiteX633" fmla="*/ 4510130 w 9922465"/>
              <a:gd name="connsiteY633" fmla="*/ 1635419 h 1934496"/>
              <a:gd name="connsiteX634" fmla="*/ 4565322 w 9922465"/>
              <a:gd name="connsiteY634" fmla="*/ 1580228 h 1934496"/>
              <a:gd name="connsiteX635" fmla="*/ 3098681 w 9922465"/>
              <a:gd name="connsiteY635" fmla="*/ 1580228 h 1934496"/>
              <a:gd name="connsiteX636" fmla="*/ 3153873 w 9922465"/>
              <a:gd name="connsiteY636" fmla="*/ 1635419 h 1934496"/>
              <a:gd name="connsiteX637" fmla="*/ 3098681 w 9922465"/>
              <a:gd name="connsiteY637" fmla="*/ 1690610 h 1934496"/>
              <a:gd name="connsiteX638" fmla="*/ 3043489 w 9922465"/>
              <a:gd name="connsiteY638" fmla="*/ 1635419 h 1934496"/>
              <a:gd name="connsiteX639" fmla="*/ 3098681 w 9922465"/>
              <a:gd name="connsiteY639" fmla="*/ 1580228 h 1934496"/>
              <a:gd name="connsiteX640" fmla="*/ 2971729 w 9922465"/>
              <a:gd name="connsiteY640" fmla="*/ 1580228 h 1934496"/>
              <a:gd name="connsiteX641" fmla="*/ 3026921 w 9922465"/>
              <a:gd name="connsiteY641" fmla="*/ 1635419 h 1934496"/>
              <a:gd name="connsiteX642" fmla="*/ 2971729 w 9922465"/>
              <a:gd name="connsiteY642" fmla="*/ 1690610 h 1934496"/>
              <a:gd name="connsiteX643" fmla="*/ 2916537 w 9922465"/>
              <a:gd name="connsiteY643" fmla="*/ 1635419 h 1934496"/>
              <a:gd name="connsiteX644" fmla="*/ 2971729 w 9922465"/>
              <a:gd name="connsiteY644" fmla="*/ 1580228 h 1934496"/>
              <a:gd name="connsiteX645" fmla="*/ 2834783 w 9922465"/>
              <a:gd name="connsiteY645" fmla="*/ 1580228 h 1934496"/>
              <a:gd name="connsiteX646" fmla="*/ 2889974 w 9922465"/>
              <a:gd name="connsiteY646" fmla="*/ 1635419 h 1934496"/>
              <a:gd name="connsiteX647" fmla="*/ 2834783 w 9922465"/>
              <a:gd name="connsiteY647" fmla="*/ 1690610 h 1934496"/>
              <a:gd name="connsiteX648" fmla="*/ 2779590 w 9922465"/>
              <a:gd name="connsiteY648" fmla="*/ 1635419 h 1934496"/>
              <a:gd name="connsiteX649" fmla="*/ 2834783 w 9922465"/>
              <a:gd name="connsiteY649" fmla="*/ 1580228 h 1934496"/>
              <a:gd name="connsiteX650" fmla="*/ 2707828 w 9922465"/>
              <a:gd name="connsiteY650" fmla="*/ 1580228 h 1934496"/>
              <a:gd name="connsiteX651" fmla="*/ 2763021 w 9922465"/>
              <a:gd name="connsiteY651" fmla="*/ 1635419 h 1934496"/>
              <a:gd name="connsiteX652" fmla="*/ 2707828 w 9922465"/>
              <a:gd name="connsiteY652" fmla="*/ 1690610 h 1934496"/>
              <a:gd name="connsiteX653" fmla="*/ 2652636 w 9922465"/>
              <a:gd name="connsiteY653" fmla="*/ 1635419 h 1934496"/>
              <a:gd name="connsiteX654" fmla="*/ 2707828 w 9922465"/>
              <a:gd name="connsiteY654" fmla="*/ 1580228 h 1934496"/>
              <a:gd name="connsiteX655" fmla="*/ 2570854 w 9922465"/>
              <a:gd name="connsiteY655" fmla="*/ 1580228 h 1934496"/>
              <a:gd name="connsiteX656" fmla="*/ 2626046 w 9922465"/>
              <a:gd name="connsiteY656" fmla="*/ 1635419 h 1934496"/>
              <a:gd name="connsiteX657" fmla="*/ 2570854 w 9922465"/>
              <a:gd name="connsiteY657" fmla="*/ 1690610 h 1934496"/>
              <a:gd name="connsiteX658" fmla="*/ 2515662 w 9922465"/>
              <a:gd name="connsiteY658" fmla="*/ 1635419 h 1934496"/>
              <a:gd name="connsiteX659" fmla="*/ 2570854 w 9922465"/>
              <a:gd name="connsiteY659" fmla="*/ 1580228 h 1934496"/>
              <a:gd name="connsiteX660" fmla="*/ 2437218 w 9922465"/>
              <a:gd name="connsiteY660" fmla="*/ 1580228 h 1934496"/>
              <a:gd name="connsiteX661" fmla="*/ 2492409 w 9922465"/>
              <a:gd name="connsiteY661" fmla="*/ 1635419 h 1934496"/>
              <a:gd name="connsiteX662" fmla="*/ 2437218 w 9922465"/>
              <a:gd name="connsiteY662" fmla="*/ 1690610 h 1934496"/>
              <a:gd name="connsiteX663" fmla="*/ 2382026 w 9922465"/>
              <a:gd name="connsiteY663" fmla="*/ 1635419 h 1934496"/>
              <a:gd name="connsiteX664" fmla="*/ 2437218 w 9922465"/>
              <a:gd name="connsiteY664" fmla="*/ 1580228 h 1934496"/>
              <a:gd name="connsiteX665" fmla="*/ 2303586 w 9922465"/>
              <a:gd name="connsiteY665" fmla="*/ 1580228 h 1934496"/>
              <a:gd name="connsiteX666" fmla="*/ 2358778 w 9922465"/>
              <a:gd name="connsiteY666" fmla="*/ 1635419 h 1934496"/>
              <a:gd name="connsiteX667" fmla="*/ 2303586 w 9922465"/>
              <a:gd name="connsiteY667" fmla="*/ 1690610 h 1934496"/>
              <a:gd name="connsiteX668" fmla="*/ 2248394 w 9922465"/>
              <a:gd name="connsiteY668" fmla="*/ 1635419 h 1934496"/>
              <a:gd name="connsiteX669" fmla="*/ 2303586 w 9922465"/>
              <a:gd name="connsiteY669" fmla="*/ 1580228 h 1934496"/>
              <a:gd name="connsiteX670" fmla="*/ 2173293 w 9922465"/>
              <a:gd name="connsiteY670" fmla="*/ 1580228 h 1934496"/>
              <a:gd name="connsiteX671" fmla="*/ 2228486 w 9922465"/>
              <a:gd name="connsiteY671" fmla="*/ 1635419 h 1934496"/>
              <a:gd name="connsiteX672" fmla="*/ 2173293 w 9922465"/>
              <a:gd name="connsiteY672" fmla="*/ 1690610 h 1934496"/>
              <a:gd name="connsiteX673" fmla="*/ 2118101 w 9922465"/>
              <a:gd name="connsiteY673" fmla="*/ 1635419 h 1934496"/>
              <a:gd name="connsiteX674" fmla="*/ 2173293 w 9922465"/>
              <a:gd name="connsiteY674" fmla="*/ 1580228 h 1934496"/>
              <a:gd name="connsiteX675" fmla="*/ 2039658 w 9922465"/>
              <a:gd name="connsiteY675" fmla="*/ 1580228 h 1934496"/>
              <a:gd name="connsiteX676" fmla="*/ 2094851 w 9922465"/>
              <a:gd name="connsiteY676" fmla="*/ 1635419 h 1934496"/>
              <a:gd name="connsiteX677" fmla="*/ 2039658 w 9922465"/>
              <a:gd name="connsiteY677" fmla="*/ 1690610 h 1934496"/>
              <a:gd name="connsiteX678" fmla="*/ 1984465 w 9922465"/>
              <a:gd name="connsiteY678" fmla="*/ 1635419 h 1934496"/>
              <a:gd name="connsiteX679" fmla="*/ 2039658 w 9922465"/>
              <a:gd name="connsiteY679" fmla="*/ 1580228 h 1934496"/>
              <a:gd name="connsiteX680" fmla="*/ 9068807 w 9922465"/>
              <a:gd name="connsiteY680" fmla="*/ 1459958 h 1934496"/>
              <a:gd name="connsiteX681" fmla="*/ 9123999 w 9922465"/>
              <a:gd name="connsiteY681" fmla="*/ 1515149 h 1934496"/>
              <a:gd name="connsiteX682" fmla="*/ 9068807 w 9922465"/>
              <a:gd name="connsiteY682" fmla="*/ 1570340 h 1934496"/>
              <a:gd name="connsiteX683" fmla="*/ 9013615 w 9922465"/>
              <a:gd name="connsiteY683" fmla="*/ 1515149 h 1934496"/>
              <a:gd name="connsiteX684" fmla="*/ 9068807 w 9922465"/>
              <a:gd name="connsiteY684" fmla="*/ 1459958 h 1934496"/>
              <a:gd name="connsiteX685" fmla="*/ 8671244 w 9922465"/>
              <a:gd name="connsiteY685" fmla="*/ 1459958 h 1934496"/>
              <a:gd name="connsiteX686" fmla="*/ 8726436 w 9922465"/>
              <a:gd name="connsiteY686" fmla="*/ 1515149 h 1934496"/>
              <a:gd name="connsiteX687" fmla="*/ 8671244 w 9922465"/>
              <a:gd name="connsiteY687" fmla="*/ 1570340 h 1934496"/>
              <a:gd name="connsiteX688" fmla="*/ 8616052 w 9922465"/>
              <a:gd name="connsiteY688" fmla="*/ 1515149 h 1934496"/>
              <a:gd name="connsiteX689" fmla="*/ 8671244 w 9922465"/>
              <a:gd name="connsiteY689" fmla="*/ 1459958 h 1934496"/>
              <a:gd name="connsiteX690" fmla="*/ 8537612 w 9922465"/>
              <a:gd name="connsiteY690" fmla="*/ 1459958 h 1934496"/>
              <a:gd name="connsiteX691" fmla="*/ 8592804 w 9922465"/>
              <a:gd name="connsiteY691" fmla="*/ 1515149 h 1934496"/>
              <a:gd name="connsiteX692" fmla="*/ 8537612 w 9922465"/>
              <a:gd name="connsiteY692" fmla="*/ 1570340 h 1934496"/>
              <a:gd name="connsiteX693" fmla="*/ 8482420 w 9922465"/>
              <a:gd name="connsiteY693" fmla="*/ 1515149 h 1934496"/>
              <a:gd name="connsiteX694" fmla="*/ 8537612 w 9922465"/>
              <a:gd name="connsiteY694" fmla="*/ 1459958 h 1934496"/>
              <a:gd name="connsiteX695" fmla="*/ 8407316 w 9922465"/>
              <a:gd name="connsiteY695" fmla="*/ 1459958 h 1934496"/>
              <a:gd name="connsiteX696" fmla="*/ 8462508 w 9922465"/>
              <a:gd name="connsiteY696" fmla="*/ 1515149 h 1934496"/>
              <a:gd name="connsiteX697" fmla="*/ 8407316 w 9922465"/>
              <a:gd name="connsiteY697" fmla="*/ 1570340 h 1934496"/>
              <a:gd name="connsiteX698" fmla="*/ 8352124 w 9922465"/>
              <a:gd name="connsiteY698" fmla="*/ 1515149 h 1934496"/>
              <a:gd name="connsiteX699" fmla="*/ 8407316 w 9922465"/>
              <a:gd name="connsiteY699" fmla="*/ 1459958 h 1934496"/>
              <a:gd name="connsiteX700" fmla="*/ 8273682 w 9922465"/>
              <a:gd name="connsiteY700" fmla="*/ 1459958 h 1934496"/>
              <a:gd name="connsiteX701" fmla="*/ 8328874 w 9922465"/>
              <a:gd name="connsiteY701" fmla="*/ 1515149 h 1934496"/>
              <a:gd name="connsiteX702" fmla="*/ 8273682 w 9922465"/>
              <a:gd name="connsiteY702" fmla="*/ 1570340 h 1934496"/>
              <a:gd name="connsiteX703" fmla="*/ 8218490 w 9922465"/>
              <a:gd name="connsiteY703" fmla="*/ 1515149 h 1934496"/>
              <a:gd name="connsiteX704" fmla="*/ 8273682 w 9922465"/>
              <a:gd name="connsiteY704" fmla="*/ 1459958 h 1934496"/>
              <a:gd name="connsiteX705" fmla="*/ 8143388 w 9922465"/>
              <a:gd name="connsiteY705" fmla="*/ 1459958 h 1934496"/>
              <a:gd name="connsiteX706" fmla="*/ 8198580 w 9922465"/>
              <a:gd name="connsiteY706" fmla="*/ 1515149 h 1934496"/>
              <a:gd name="connsiteX707" fmla="*/ 8143388 w 9922465"/>
              <a:gd name="connsiteY707" fmla="*/ 1570340 h 1934496"/>
              <a:gd name="connsiteX708" fmla="*/ 8088196 w 9922465"/>
              <a:gd name="connsiteY708" fmla="*/ 1515149 h 1934496"/>
              <a:gd name="connsiteX709" fmla="*/ 8143388 w 9922465"/>
              <a:gd name="connsiteY709" fmla="*/ 1459958 h 1934496"/>
              <a:gd name="connsiteX710" fmla="*/ 8009753 w 9922465"/>
              <a:gd name="connsiteY710" fmla="*/ 1459958 h 1934496"/>
              <a:gd name="connsiteX711" fmla="*/ 8064945 w 9922465"/>
              <a:gd name="connsiteY711" fmla="*/ 1515149 h 1934496"/>
              <a:gd name="connsiteX712" fmla="*/ 8009753 w 9922465"/>
              <a:gd name="connsiteY712" fmla="*/ 1570340 h 1934496"/>
              <a:gd name="connsiteX713" fmla="*/ 7954561 w 9922465"/>
              <a:gd name="connsiteY713" fmla="*/ 1515149 h 1934496"/>
              <a:gd name="connsiteX714" fmla="*/ 8009753 w 9922465"/>
              <a:gd name="connsiteY714" fmla="*/ 1459958 h 1934496"/>
              <a:gd name="connsiteX715" fmla="*/ 7876118 w 9922465"/>
              <a:gd name="connsiteY715" fmla="*/ 1459958 h 1934496"/>
              <a:gd name="connsiteX716" fmla="*/ 7931310 w 9922465"/>
              <a:gd name="connsiteY716" fmla="*/ 1515149 h 1934496"/>
              <a:gd name="connsiteX717" fmla="*/ 7876118 w 9922465"/>
              <a:gd name="connsiteY717" fmla="*/ 1570340 h 1934496"/>
              <a:gd name="connsiteX718" fmla="*/ 7820926 w 9922465"/>
              <a:gd name="connsiteY718" fmla="*/ 1515149 h 1934496"/>
              <a:gd name="connsiteX719" fmla="*/ 7876118 w 9922465"/>
              <a:gd name="connsiteY719" fmla="*/ 1459958 h 1934496"/>
              <a:gd name="connsiteX720" fmla="*/ 7745823 w 9922465"/>
              <a:gd name="connsiteY720" fmla="*/ 1459958 h 1934496"/>
              <a:gd name="connsiteX721" fmla="*/ 7801015 w 9922465"/>
              <a:gd name="connsiteY721" fmla="*/ 1515149 h 1934496"/>
              <a:gd name="connsiteX722" fmla="*/ 7745823 w 9922465"/>
              <a:gd name="connsiteY722" fmla="*/ 1570340 h 1934496"/>
              <a:gd name="connsiteX723" fmla="*/ 7690631 w 9922465"/>
              <a:gd name="connsiteY723" fmla="*/ 1515149 h 1934496"/>
              <a:gd name="connsiteX724" fmla="*/ 7745823 w 9922465"/>
              <a:gd name="connsiteY724" fmla="*/ 1459958 h 1934496"/>
              <a:gd name="connsiteX725" fmla="*/ 7608849 w 9922465"/>
              <a:gd name="connsiteY725" fmla="*/ 1459958 h 1934496"/>
              <a:gd name="connsiteX726" fmla="*/ 7664041 w 9922465"/>
              <a:gd name="connsiteY726" fmla="*/ 1515149 h 1934496"/>
              <a:gd name="connsiteX727" fmla="*/ 7608849 w 9922465"/>
              <a:gd name="connsiteY727" fmla="*/ 1570340 h 1934496"/>
              <a:gd name="connsiteX728" fmla="*/ 7553657 w 9922465"/>
              <a:gd name="connsiteY728" fmla="*/ 1515149 h 1934496"/>
              <a:gd name="connsiteX729" fmla="*/ 7608849 w 9922465"/>
              <a:gd name="connsiteY729" fmla="*/ 1459958 h 1934496"/>
              <a:gd name="connsiteX730" fmla="*/ 7481897 w 9922465"/>
              <a:gd name="connsiteY730" fmla="*/ 1459958 h 1934496"/>
              <a:gd name="connsiteX731" fmla="*/ 7537089 w 9922465"/>
              <a:gd name="connsiteY731" fmla="*/ 1515149 h 1934496"/>
              <a:gd name="connsiteX732" fmla="*/ 7481897 w 9922465"/>
              <a:gd name="connsiteY732" fmla="*/ 1570340 h 1934496"/>
              <a:gd name="connsiteX733" fmla="*/ 7426705 w 9922465"/>
              <a:gd name="connsiteY733" fmla="*/ 1515149 h 1934496"/>
              <a:gd name="connsiteX734" fmla="*/ 7481897 w 9922465"/>
              <a:gd name="connsiteY734" fmla="*/ 1459958 h 1934496"/>
              <a:gd name="connsiteX735" fmla="*/ 7341579 w 9922465"/>
              <a:gd name="connsiteY735" fmla="*/ 1459958 h 1934496"/>
              <a:gd name="connsiteX736" fmla="*/ 7396771 w 9922465"/>
              <a:gd name="connsiteY736" fmla="*/ 1515149 h 1934496"/>
              <a:gd name="connsiteX737" fmla="*/ 7341579 w 9922465"/>
              <a:gd name="connsiteY737" fmla="*/ 1570340 h 1934496"/>
              <a:gd name="connsiteX738" fmla="*/ 7286387 w 9922465"/>
              <a:gd name="connsiteY738" fmla="*/ 1515149 h 1934496"/>
              <a:gd name="connsiteX739" fmla="*/ 7341579 w 9922465"/>
              <a:gd name="connsiteY739" fmla="*/ 1459958 h 1934496"/>
              <a:gd name="connsiteX740" fmla="*/ 7211286 w 9922465"/>
              <a:gd name="connsiteY740" fmla="*/ 1459958 h 1934496"/>
              <a:gd name="connsiteX741" fmla="*/ 7266478 w 9922465"/>
              <a:gd name="connsiteY741" fmla="*/ 1515149 h 1934496"/>
              <a:gd name="connsiteX742" fmla="*/ 7211286 w 9922465"/>
              <a:gd name="connsiteY742" fmla="*/ 1570340 h 1934496"/>
              <a:gd name="connsiteX743" fmla="*/ 7156094 w 9922465"/>
              <a:gd name="connsiteY743" fmla="*/ 1515149 h 1934496"/>
              <a:gd name="connsiteX744" fmla="*/ 7211286 w 9922465"/>
              <a:gd name="connsiteY744" fmla="*/ 1459958 h 1934496"/>
              <a:gd name="connsiteX745" fmla="*/ 7080993 w 9922465"/>
              <a:gd name="connsiteY745" fmla="*/ 1459958 h 1934496"/>
              <a:gd name="connsiteX746" fmla="*/ 7136185 w 9922465"/>
              <a:gd name="connsiteY746" fmla="*/ 1515149 h 1934496"/>
              <a:gd name="connsiteX747" fmla="*/ 7080993 w 9922465"/>
              <a:gd name="connsiteY747" fmla="*/ 1570340 h 1934496"/>
              <a:gd name="connsiteX748" fmla="*/ 7025801 w 9922465"/>
              <a:gd name="connsiteY748" fmla="*/ 1515149 h 1934496"/>
              <a:gd name="connsiteX749" fmla="*/ 7080993 w 9922465"/>
              <a:gd name="connsiteY749" fmla="*/ 1459958 h 1934496"/>
              <a:gd name="connsiteX750" fmla="*/ 6947357 w 9922465"/>
              <a:gd name="connsiteY750" fmla="*/ 1459958 h 1934496"/>
              <a:gd name="connsiteX751" fmla="*/ 7002549 w 9922465"/>
              <a:gd name="connsiteY751" fmla="*/ 1515149 h 1934496"/>
              <a:gd name="connsiteX752" fmla="*/ 6947357 w 9922465"/>
              <a:gd name="connsiteY752" fmla="*/ 1570340 h 1934496"/>
              <a:gd name="connsiteX753" fmla="*/ 6892165 w 9922465"/>
              <a:gd name="connsiteY753" fmla="*/ 1515149 h 1934496"/>
              <a:gd name="connsiteX754" fmla="*/ 6947357 w 9922465"/>
              <a:gd name="connsiteY754" fmla="*/ 1459958 h 1934496"/>
              <a:gd name="connsiteX755" fmla="*/ 6817064 w 9922465"/>
              <a:gd name="connsiteY755" fmla="*/ 1459958 h 1934496"/>
              <a:gd name="connsiteX756" fmla="*/ 6872256 w 9922465"/>
              <a:gd name="connsiteY756" fmla="*/ 1515149 h 1934496"/>
              <a:gd name="connsiteX757" fmla="*/ 6817064 w 9922465"/>
              <a:gd name="connsiteY757" fmla="*/ 1570340 h 1934496"/>
              <a:gd name="connsiteX758" fmla="*/ 6761872 w 9922465"/>
              <a:gd name="connsiteY758" fmla="*/ 1515149 h 1934496"/>
              <a:gd name="connsiteX759" fmla="*/ 6817064 w 9922465"/>
              <a:gd name="connsiteY759" fmla="*/ 1459958 h 1934496"/>
              <a:gd name="connsiteX760" fmla="*/ 6683431 w 9922465"/>
              <a:gd name="connsiteY760" fmla="*/ 1459958 h 1934496"/>
              <a:gd name="connsiteX761" fmla="*/ 6738623 w 9922465"/>
              <a:gd name="connsiteY761" fmla="*/ 1515149 h 1934496"/>
              <a:gd name="connsiteX762" fmla="*/ 6683431 w 9922465"/>
              <a:gd name="connsiteY762" fmla="*/ 1570340 h 1934496"/>
              <a:gd name="connsiteX763" fmla="*/ 6628239 w 9922465"/>
              <a:gd name="connsiteY763" fmla="*/ 1515149 h 1934496"/>
              <a:gd name="connsiteX764" fmla="*/ 6683431 w 9922465"/>
              <a:gd name="connsiteY764" fmla="*/ 1459958 h 1934496"/>
              <a:gd name="connsiteX765" fmla="*/ 6553137 w 9922465"/>
              <a:gd name="connsiteY765" fmla="*/ 1459958 h 1934496"/>
              <a:gd name="connsiteX766" fmla="*/ 6608329 w 9922465"/>
              <a:gd name="connsiteY766" fmla="*/ 1515149 h 1934496"/>
              <a:gd name="connsiteX767" fmla="*/ 6553137 w 9922465"/>
              <a:gd name="connsiteY767" fmla="*/ 1570340 h 1934496"/>
              <a:gd name="connsiteX768" fmla="*/ 6497945 w 9922465"/>
              <a:gd name="connsiteY768" fmla="*/ 1515149 h 1934496"/>
              <a:gd name="connsiteX769" fmla="*/ 6553137 w 9922465"/>
              <a:gd name="connsiteY769" fmla="*/ 1459958 h 1934496"/>
              <a:gd name="connsiteX770" fmla="*/ 6419502 w 9922465"/>
              <a:gd name="connsiteY770" fmla="*/ 1459958 h 1934496"/>
              <a:gd name="connsiteX771" fmla="*/ 6474694 w 9922465"/>
              <a:gd name="connsiteY771" fmla="*/ 1515149 h 1934496"/>
              <a:gd name="connsiteX772" fmla="*/ 6419502 w 9922465"/>
              <a:gd name="connsiteY772" fmla="*/ 1570340 h 1934496"/>
              <a:gd name="connsiteX773" fmla="*/ 6364310 w 9922465"/>
              <a:gd name="connsiteY773" fmla="*/ 1515149 h 1934496"/>
              <a:gd name="connsiteX774" fmla="*/ 6419502 w 9922465"/>
              <a:gd name="connsiteY774" fmla="*/ 1459958 h 1934496"/>
              <a:gd name="connsiteX775" fmla="*/ 6289207 w 9922465"/>
              <a:gd name="connsiteY775" fmla="*/ 1459958 h 1934496"/>
              <a:gd name="connsiteX776" fmla="*/ 6344399 w 9922465"/>
              <a:gd name="connsiteY776" fmla="*/ 1515149 h 1934496"/>
              <a:gd name="connsiteX777" fmla="*/ 6289207 w 9922465"/>
              <a:gd name="connsiteY777" fmla="*/ 1570340 h 1934496"/>
              <a:gd name="connsiteX778" fmla="*/ 6234015 w 9922465"/>
              <a:gd name="connsiteY778" fmla="*/ 1515149 h 1934496"/>
              <a:gd name="connsiteX779" fmla="*/ 6289207 w 9922465"/>
              <a:gd name="connsiteY779" fmla="*/ 1459958 h 1934496"/>
              <a:gd name="connsiteX780" fmla="*/ 6155573 w 9922465"/>
              <a:gd name="connsiteY780" fmla="*/ 1459958 h 1934496"/>
              <a:gd name="connsiteX781" fmla="*/ 6210765 w 9922465"/>
              <a:gd name="connsiteY781" fmla="*/ 1515149 h 1934496"/>
              <a:gd name="connsiteX782" fmla="*/ 6155573 w 9922465"/>
              <a:gd name="connsiteY782" fmla="*/ 1570340 h 1934496"/>
              <a:gd name="connsiteX783" fmla="*/ 6100381 w 9922465"/>
              <a:gd name="connsiteY783" fmla="*/ 1515149 h 1934496"/>
              <a:gd name="connsiteX784" fmla="*/ 6155573 w 9922465"/>
              <a:gd name="connsiteY784" fmla="*/ 1459958 h 1934496"/>
              <a:gd name="connsiteX785" fmla="*/ 6021939 w 9922465"/>
              <a:gd name="connsiteY785" fmla="*/ 1459958 h 1934496"/>
              <a:gd name="connsiteX786" fmla="*/ 6077131 w 9922465"/>
              <a:gd name="connsiteY786" fmla="*/ 1515149 h 1934496"/>
              <a:gd name="connsiteX787" fmla="*/ 6021939 w 9922465"/>
              <a:gd name="connsiteY787" fmla="*/ 1570340 h 1934496"/>
              <a:gd name="connsiteX788" fmla="*/ 5966747 w 9922465"/>
              <a:gd name="connsiteY788" fmla="*/ 1515149 h 1934496"/>
              <a:gd name="connsiteX789" fmla="*/ 6021939 w 9922465"/>
              <a:gd name="connsiteY789" fmla="*/ 1459958 h 1934496"/>
              <a:gd name="connsiteX790" fmla="*/ 5884964 w 9922465"/>
              <a:gd name="connsiteY790" fmla="*/ 1459958 h 1934496"/>
              <a:gd name="connsiteX791" fmla="*/ 5940156 w 9922465"/>
              <a:gd name="connsiteY791" fmla="*/ 1515149 h 1934496"/>
              <a:gd name="connsiteX792" fmla="*/ 5884964 w 9922465"/>
              <a:gd name="connsiteY792" fmla="*/ 1570340 h 1934496"/>
              <a:gd name="connsiteX793" fmla="*/ 5829772 w 9922465"/>
              <a:gd name="connsiteY793" fmla="*/ 1515149 h 1934496"/>
              <a:gd name="connsiteX794" fmla="*/ 5884964 w 9922465"/>
              <a:gd name="connsiteY794" fmla="*/ 1459958 h 1934496"/>
              <a:gd name="connsiteX795" fmla="*/ 5754668 w 9922465"/>
              <a:gd name="connsiteY795" fmla="*/ 1459958 h 1934496"/>
              <a:gd name="connsiteX796" fmla="*/ 5809860 w 9922465"/>
              <a:gd name="connsiteY796" fmla="*/ 1515149 h 1934496"/>
              <a:gd name="connsiteX797" fmla="*/ 5754668 w 9922465"/>
              <a:gd name="connsiteY797" fmla="*/ 1570340 h 1934496"/>
              <a:gd name="connsiteX798" fmla="*/ 5699476 w 9922465"/>
              <a:gd name="connsiteY798" fmla="*/ 1515149 h 1934496"/>
              <a:gd name="connsiteX799" fmla="*/ 5754668 w 9922465"/>
              <a:gd name="connsiteY799" fmla="*/ 1459958 h 1934496"/>
              <a:gd name="connsiteX800" fmla="*/ 5621034 w 9922465"/>
              <a:gd name="connsiteY800" fmla="*/ 1459958 h 1934496"/>
              <a:gd name="connsiteX801" fmla="*/ 5676226 w 9922465"/>
              <a:gd name="connsiteY801" fmla="*/ 1515149 h 1934496"/>
              <a:gd name="connsiteX802" fmla="*/ 5621034 w 9922465"/>
              <a:gd name="connsiteY802" fmla="*/ 1570340 h 1934496"/>
              <a:gd name="connsiteX803" fmla="*/ 5565842 w 9922465"/>
              <a:gd name="connsiteY803" fmla="*/ 1515149 h 1934496"/>
              <a:gd name="connsiteX804" fmla="*/ 5621034 w 9922465"/>
              <a:gd name="connsiteY804" fmla="*/ 1459958 h 1934496"/>
              <a:gd name="connsiteX805" fmla="*/ 5487399 w 9922465"/>
              <a:gd name="connsiteY805" fmla="*/ 1459958 h 1934496"/>
              <a:gd name="connsiteX806" fmla="*/ 5542591 w 9922465"/>
              <a:gd name="connsiteY806" fmla="*/ 1515149 h 1934496"/>
              <a:gd name="connsiteX807" fmla="*/ 5487399 w 9922465"/>
              <a:gd name="connsiteY807" fmla="*/ 1570340 h 1934496"/>
              <a:gd name="connsiteX808" fmla="*/ 5432207 w 9922465"/>
              <a:gd name="connsiteY808" fmla="*/ 1515149 h 1934496"/>
              <a:gd name="connsiteX809" fmla="*/ 5487399 w 9922465"/>
              <a:gd name="connsiteY809" fmla="*/ 1459958 h 1934496"/>
              <a:gd name="connsiteX810" fmla="*/ 5357106 w 9922465"/>
              <a:gd name="connsiteY810" fmla="*/ 1459958 h 1934496"/>
              <a:gd name="connsiteX811" fmla="*/ 5412298 w 9922465"/>
              <a:gd name="connsiteY811" fmla="*/ 1515149 h 1934496"/>
              <a:gd name="connsiteX812" fmla="*/ 5357106 w 9922465"/>
              <a:gd name="connsiteY812" fmla="*/ 1570340 h 1934496"/>
              <a:gd name="connsiteX813" fmla="*/ 5301914 w 9922465"/>
              <a:gd name="connsiteY813" fmla="*/ 1515149 h 1934496"/>
              <a:gd name="connsiteX814" fmla="*/ 5357106 w 9922465"/>
              <a:gd name="connsiteY814" fmla="*/ 1459958 h 1934496"/>
              <a:gd name="connsiteX815" fmla="*/ 5223473 w 9922465"/>
              <a:gd name="connsiteY815" fmla="*/ 1459958 h 1934496"/>
              <a:gd name="connsiteX816" fmla="*/ 5278665 w 9922465"/>
              <a:gd name="connsiteY816" fmla="*/ 1515149 h 1934496"/>
              <a:gd name="connsiteX817" fmla="*/ 5223473 w 9922465"/>
              <a:gd name="connsiteY817" fmla="*/ 1570340 h 1934496"/>
              <a:gd name="connsiteX818" fmla="*/ 5168281 w 9922465"/>
              <a:gd name="connsiteY818" fmla="*/ 1515149 h 1934496"/>
              <a:gd name="connsiteX819" fmla="*/ 5223473 w 9922465"/>
              <a:gd name="connsiteY819" fmla="*/ 1459958 h 1934496"/>
              <a:gd name="connsiteX820" fmla="*/ 5093178 w 9922465"/>
              <a:gd name="connsiteY820" fmla="*/ 1459958 h 1934496"/>
              <a:gd name="connsiteX821" fmla="*/ 5148370 w 9922465"/>
              <a:gd name="connsiteY821" fmla="*/ 1515149 h 1934496"/>
              <a:gd name="connsiteX822" fmla="*/ 5093178 w 9922465"/>
              <a:gd name="connsiteY822" fmla="*/ 1570340 h 1934496"/>
              <a:gd name="connsiteX823" fmla="*/ 5037986 w 9922465"/>
              <a:gd name="connsiteY823" fmla="*/ 1515149 h 1934496"/>
              <a:gd name="connsiteX824" fmla="*/ 5093178 w 9922465"/>
              <a:gd name="connsiteY824" fmla="*/ 1459958 h 1934496"/>
              <a:gd name="connsiteX825" fmla="*/ 4959542 w 9922465"/>
              <a:gd name="connsiteY825" fmla="*/ 1459958 h 1934496"/>
              <a:gd name="connsiteX826" fmla="*/ 5014734 w 9922465"/>
              <a:gd name="connsiteY826" fmla="*/ 1515149 h 1934496"/>
              <a:gd name="connsiteX827" fmla="*/ 4959542 w 9922465"/>
              <a:gd name="connsiteY827" fmla="*/ 1570340 h 1934496"/>
              <a:gd name="connsiteX828" fmla="*/ 4904350 w 9922465"/>
              <a:gd name="connsiteY828" fmla="*/ 1515149 h 1934496"/>
              <a:gd name="connsiteX829" fmla="*/ 4959542 w 9922465"/>
              <a:gd name="connsiteY829" fmla="*/ 1459958 h 1934496"/>
              <a:gd name="connsiteX830" fmla="*/ 4829250 w 9922465"/>
              <a:gd name="connsiteY830" fmla="*/ 1459958 h 1934496"/>
              <a:gd name="connsiteX831" fmla="*/ 4884442 w 9922465"/>
              <a:gd name="connsiteY831" fmla="*/ 1515149 h 1934496"/>
              <a:gd name="connsiteX832" fmla="*/ 4829250 w 9922465"/>
              <a:gd name="connsiteY832" fmla="*/ 1570340 h 1934496"/>
              <a:gd name="connsiteX833" fmla="*/ 4774058 w 9922465"/>
              <a:gd name="connsiteY833" fmla="*/ 1515149 h 1934496"/>
              <a:gd name="connsiteX834" fmla="*/ 4829250 w 9922465"/>
              <a:gd name="connsiteY834" fmla="*/ 1459958 h 1934496"/>
              <a:gd name="connsiteX835" fmla="*/ 4695614 w 9922465"/>
              <a:gd name="connsiteY835" fmla="*/ 1459958 h 1934496"/>
              <a:gd name="connsiteX836" fmla="*/ 4750806 w 9922465"/>
              <a:gd name="connsiteY836" fmla="*/ 1515149 h 1934496"/>
              <a:gd name="connsiteX837" fmla="*/ 4695614 w 9922465"/>
              <a:gd name="connsiteY837" fmla="*/ 1570340 h 1934496"/>
              <a:gd name="connsiteX838" fmla="*/ 4640422 w 9922465"/>
              <a:gd name="connsiteY838" fmla="*/ 1515149 h 1934496"/>
              <a:gd name="connsiteX839" fmla="*/ 4695614 w 9922465"/>
              <a:gd name="connsiteY839" fmla="*/ 1459958 h 1934496"/>
              <a:gd name="connsiteX840" fmla="*/ 4565322 w 9922465"/>
              <a:gd name="connsiteY840" fmla="*/ 1459958 h 1934496"/>
              <a:gd name="connsiteX841" fmla="*/ 4620514 w 9922465"/>
              <a:gd name="connsiteY841" fmla="*/ 1515149 h 1934496"/>
              <a:gd name="connsiteX842" fmla="*/ 4565322 w 9922465"/>
              <a:gd name="connsiteY842" fmla="*/ 1570340 h 1934496"/>
              <a:gd name="connsiteX843" fmla="*/ 4510130 w 9922465"/>
              <a:gd name="connsiteY843" fmla="*/ 1515149 h 1934496"/>
              <a:gd name="connsiteX844" fmla="*/ 4565322 w 9922465"/>
              <a:gd name="connsiteY844" fmla="*/ 1459958 h 1934496"/>
              <a:gd name="connsiteX845" fmla="*/ 4431687 w 9922465"/>
              <a:gd name="connsiteY845" fmla="*/ 1459958 h 1934496"/>
              <a:gd name="connsiteX846" fmla="*/ 4486879 w 9922465"/>
              <a:gd name="connsiteY846" fmla="*/ 1515149 h 1934496"/>
              <a:gd name="connsiteX847" fmla="*/ 4431687 w 9922465"/>
              <a:gd name="connsiteY847" fmla="*/ 1570340 h 1934496"/>
              <a:gd name="connsiteX848" fmla="*/ 4376495 w 9922465"/>
              <a:gd name="connsiteY848" fmla="*/ 1515149 h 1934496"/>
              <a:gd name="connsiteX849" fmla="*/ 4431687 w 9922465"/>
              <a:gd name="connsiteY849" fmla="*/ 1459958 h 1934496"/>
              <a:gd name="connsiteX850" fmla="*/ 3098681 w 9922465"/>
              <a:gd name="connsiteY850" fmla="*/ 1459958 h 1934496"/>
              <a:gd name="connsiteX851" fmla="*/ 3153873 w 9922465"/>
              <a:gd name="connsiteY851" fmla="*/ 1515149 h 1934496"/>
              <a:gd name="connsiteX852" fmla="*/ 3098681 w 9922465"/>
              <a:gd name="connsiteY852" fmla="*/ 1570340 h 1934496"/>
              <a:gd name="connsiteX853" fmla="*/ 3043489 w 9922465"/>
              <a:gd name="connsiteY853" fmla="*/ 1515149 h 1934496"/>
              <a:gd name="connsiteX854" fmla="*/ 3098681 w 9922465"/>
              <a:gd name="connsiteY854" fmla="*/ 1459958 h 1934496"/>
              <a:gd name="connsiteX855" fmla="*/ 2971729 w 9922465"/>
              <a:gd name="connsiteY855" fmla="*/ 1459958 h 1934496"/>
              <a:gd name="connsiteX856" fmla="*/ 3026921 w 9922465"/>
              <a:gd name="connsiteY856" fmla="*/ 1515149 h 1934496"/>
              <a:gd name="connsiteX857" fmla="*/ 2971729 w 9922465"/>
              <a:gd name="connsiteY857" fmla="*/ 1570340 h 1934496"/>
              <a:gd name="connsiteX858" fmla="*/ 2916537 w 9922465"/>
              <a:gd name="connsiteY858" fmla="*/ 1515149 h 1934496"/>
              <a:gd name="connsiteX859" fmla="*/ 2971729 w 9922465"/>
              <a:gd name="connsiteY859" fmla="*/ 1459958 h 1934496"/>
              <a:gd name="connsiteX860" fmla="*/ 2834792 w 9922465"/>
              <a:gd name="connsiteY860" fmla="*/ 1459958 h 1934496"/>
              <a:gd name="connsiteX861" fmla="*/ 2889984 w 9922465"/>
              <a:gd name="connsiteY861" fmla="*/ 1515149 h 1934496"/>
              <a:gd name="connsiteX862" fmla="*/ 2834792 w 9922465"/>
              <a:gd name="connsiteY862" fmla="*/ 1570340 h 1934496"/>
              <a:gd name="connsiteX863" fmla="*/ 2779600 w 9922465"/>
              <a:gd name="connsiteY863" fmla="*/ 1515149 h 1934496"/>
              <a:gd name="connsiteX864" fmla="*/ 2834792 w 9922465"/>
              <a:gd name="connsiteY864" fmla="*/ 1459958 h 1934496"/>
              <a:gd name="connsiteX865" fmla="*/ 2707839 w 9922465"/>
              <a:gd name="connsiteY865" fmla="*/ 1459958 h 1934496"/>
              <a:gd name="connsiteX866" fmla="*/ 2763031 w 9922465"/>
              <a:gd name="connsiteY866" fmla="*/ 1515149 h 1934496"/>
              <a:gd name="connsiteX867" fmla="*/ 2707839 w 9922465"/>
              <a:gd name="connsiteY867" fmla="*/ 1570340 h 1934496"/>
              <a:gd name="connsiteX868" fmla="*/ 2652646 w 9922465"/>
              <a:gd name="connsiteY868" fmla="*/ 1515149 h 1934496"/>
              <a:gd name="connsiteX869" fmla="*/ 2707839 w 9922465"/>
              <a:gd name="connsiteY869" fmla="*/ 1459958 h 1934496"/>
              <a:gd name="connsiteX870" fmla="*/ 2570864 w 9922465"/>
              <a:gd name="connsiteY870" fmla="*/ 1459958 h 1934496"/>
              <a:gd name="connsiteX871" fmla="*/ 2626056 w 9922465"/>
              <a:gd name="connsiteY871" fmla="*/ 1515149 h 1934496"/>
              <a:gd name="connsiteX872" fmla="*/ 2570864 w 9922465"/>
              <a:gd name="connsiteY872" fmla="*/ 1570340 h 1934496"/>
              <a:gd name="connsiteX873" fmla="*/ 2515671 w 9922465"/>
              <a:gd name="connsiteY873" fmla="*/ 1515149 h 1934496"/>
              <a:gd name="connsiteX874" fmla="*/ 2570864 w 9922465"/>
              <a:gd name="connsiteY874" fmla="*/ 1459958 h 1934496"/>
              <a:gd name="connsiteX875" fmla="*/ 2437228 w 9922465"/>
              <a:gd name="connsiteY875" fmla="*/ 1459958 h 1934496"/>
              <a:gd name="connsiteX876" fmla="*/ 2492419 w 9922465"/>
              <a:gd name="connsiteY876" fmla="*/ 1515149 h 1934496"/>
              <a:gd name="connsiteX877" fmla="*/ 2437228 w 9922465"/>
              <a:gd name="connsiteY877" fmla="*/ 1570340 h 1934496"/>
              <a:gd name="connsiteX878" fmla="*/ 2382037 w 9922465"/>
              <a:gd name="connsiteY878" fmla="*/ 1515149 h 1934496"/>
              <a:gd name="connsiteX879" fmla="*/ 2437228 w 9922465"/>
              <a:gd name="connsiteY879" fmla="*/ 1459958 h 1934496"/>
              <a:gd name="connsiteX880" fmla="*/ 2303596 w 9922465"/>
              <a:gd name="connsiteY880" fmla="*/ 1459958 h 1934496"/>
              <a:gd name="connsiteX881" fmla="*/ 2358787 w 9922465"/>
              <a:gd name="connsiteY881" fmla="*/ 1515149 h 1934496"/>
              <a:gd name="connsiteX882" fmla="*/ 2303596 w 9922465"/>
              <a:gd name="connsiteY882" fmla="*/ 1570340 h 1934496"/>
              <a:gd name="connsiteX883" fmla="*/ 2248404 w 9922465"/>
              <a:gd name="connsiteY883" fmla="*/ 1515149 h 1934496"/>
              <a:gd name="connsiteX884" fmla="*/ 2303596 w 9922465"/>
              <a:gd name="connsiteY884" fmla="*/ 1459958 h 1934496"/>
              <a:gd name="connsiteX885" fmla="*/ 2173305 w 9922465"/>
              <a:gd name="connsiteY885" fmla="*/ 1459958 h 1934496"/>
              <a:gd name="connsiteX886" fmla="*/ 2228497 w 9922465"/>
              <a:gd name="connsiteY886" fmla="*/ 1515149 h 1934496"/>
              <a:gd name="connsiteX887" fmla="*/ 2173305 w 9922465"/>
              <a:gd name="connsiteY887" fmla="*/ 1570340 h 1934496"/>
              <a:gd name="connsiteX888" fmla="*/ 2118111 w 9922465"/>
              <a:gd name="connsiteY888" fmla="*/ 1515149 h 1934496"/>
              <a:gd name="connsiteX889" fmla="*/ 2173305 w 9922465"/>
              <a:gd name="connsiteY889" fmla="*/ 1459958 h 1934496"/>
              <a:gd name="connsiteX890" fmla="*/ 2039668 w 9922465"/>
              <a:gd name="connsiteY890" fmla="*/ 1459958 h 1934496"/>
              <a:gd name="connsiteX891" fmla="*/ 2094860 w 9922465"/>
              <a:gd name="connsiteY891" fmla="*/ 1515149 h 1934496"/>
              <a:gd name="connsiteX892" fmla="*/ 2039668 w 9922465"/>
              <a:gd name="connsiteY892" fmla="*/ 1570340 h 1934496"/>
              <a:gd name="connsiteX893" fmla="*/ 1984475 w 9922465"/>
              <a:gd name="connsiteY893" fmla="*/ 1515149 h 1934496"/>
              <a:gd name="connsiteX894" fmla="*/ 2039668 w 9922465"/>
              <a:gd name="connsiteY894" fmla="*/ 1459958 h 1934496"/>
              <a:gd name="connsiteX895" fmla="*/ 1909371 w 9922465"/>
              <a:gd name="connsiteY895" fmla="*/ 1459958 h 1934496"/>
              <a:gd name="connsiteX896" fmla="*/ 1964564 w 9922465"/>
              <a:gd name="connsiteY896" fmla="*/ 1515149 h 1934496"/>
              <a:gd name="connsiteX897" fmla="*/ 1909371 w 9922465"/>
              <a:gd name="connsiteY897" fmla="*/ 1570340 h 1934496"/>
              <a:gd name="connsiteX898" fmla="*/ 1854178 w 9922465"/>
              <a:gd name="connsiteY898" fmla="*/ 1515149 h 1934496"/>
              <a:gd name="connsiteX899" fmla="*/ 1909371 w 9922465"/>
              <a:gd name="connsiteY899" fmla="*/ 1459958 h 1934496"/>
              <a:gd name="connsiteX900" fmla="*/ 1779076 w 9922465"/>
              <a:gd name="connsiteY900" fmla="*/ 1459958 h 1934496"/>
              <a:gd name="connsiteX901" fmla="*/ 1834269 w 9922465"/>
              <a:gd name="connsiteY901" fmla="*/ 1515149 h 1934496"/>
              <a:gd name="connsiteX902" fmla="*/ 1779076 w 9922465"/>
              <a:gd name="connsiteY902" fmla="*/ 1570340 h 1934496"/>
              <a:gd name="connsiteX903" fmla="*/ 1723884 w 9922465"/>
              <a:gd name="connsiteY903" fmla="*/ 1515149 h 1934496"/>
              <a:gd name="connsiteX904" fmla="*/ 1779076 w 9922465"/>
              <a:gd name="connsiteY904" fmla="*/ 1459958 h 1934496"/>
              <a:gd name="connsiteX905" fmla="*/ 1645440 w 9922465"/>
              <a:gd name="connsiteY905" fmla="*/ 1459958 h 1934496"/>
              <a:gd name="connsiteX906" fmla="*/ 1700637 w 9922465"/>
              <a:gd name="connsiteY906" fmla="*/ 1515149 h 1934496"/>
              <a:gd name="connsiteX907" fmla="*/ 1645440 w 9922465"/>
              <a:gd name="connsiteY907" fmla="*/ 1570340 h 1934496"/>
              <a:gd name="connsiteX908" fmla="*/ 1590248 w 9922465"/>
              <a:gd name="connsiteY908" fmla="*/ 1515149 h 1934496"/>
              <a:gd name="connsiteX909" fmla="*/ 1645440 w 9922465"/>
              <a:gd name="connsiteY909" fmla="*/ 1459958 h 1934496"/>
              <a:gd name="connsiteX910" fmla="*/ 1515149 w 9922465"/>
              <a:gd name="connsiteY910" fmla="*/ 1459958 h 1934496"/>
              <a:gd name="connsiteX911" fmla="*/ 1570338 w 9922465"/>
              <a:gd name="connsiteY911" fmla="*/ 1515149 h 1934496"/>
              <a:gd name="connsiteX912" fmla="*/ 1515149 w 9922465"/>
              <a:gd name="connsiteY912" fmla="*/ 1570340 h 1934496"/>
              <a:gd name="connsiteX913" fmla="*/ 1459956 w 9922465"/>
              <a:gd name="connsiteY913" fmla="*/ 1515149 h 1934496"/>
              <a:gd name="connsiteX914" fmla="*/ 1515149 w 9922465"/>
              <a:gd name="connsiteY914" fmla="*/ 1459958 h 1934496"/>
              <a:gd name="connsiteX915" fmla="*/ 1381511 w 9922465"/>
              <a:gd name="connsiteY915" fmla="*/ 1459958 h 1934496"/>
              <a:gd name="connsiteX916" fmla="*/ 1436705 w 9922465"/>
              <a:gd name="connsiteY916" fmla="*/ 1515149 h 1934496"/>
              <a:gd name="connsiteX917" fmla="*/ 1381511 w 9922465"/>
              <a:gd name="connsiteY917" fmla="*/ 1570340 h 1934496"/>
              <a:gd name="connsiteX918" fmla="*/ 1326322 w 9922465"/>
              <a:gd name="connsiteY918" fmla="*/ 1515149 h 1934496"/>
              <a:gd name="connsiteX919" fmla="*/ 1381511 w 9922465"/>
              <a:gd name="connsiteY919" fmla="*/ 1459958 h 1934496"/>
              <a:gd name="connsiteX920" fmla="*/ 1251220 w 9922465"/>
              <a:gd name="connsiteY920" fmla="*/ 1459958 h 1934496"/>
              <a:gd name="connsiteX921" fmla="*/ 1306413 w 9922465"/>
              <a:gd name="connsiteY921" fmla="*/ 1515149 h 1934496"/>
              <a:gd name="connsiteX922" fmla="*/ 1251220 w 9922465"/>
              <a:gd name="connsiteY922" fmla="*/ 1570340 h 1934496"/>
              <a:gd name="connsiteX923" fmla="*/ 1196028 w 9922465"/>
              <a:gd name="connsiteY923" fmla="*/ 1515149 h 1934496"/>
              <a:gd name="connsiteX924" fmla="*/ 1251220 w 9922465"/>
              <a:gd name="connsiteY924" fmla="*/ 1459958 h 1934496"/>
              <a:gd name="connsiteX925" fmla="*/ 1117583 w 9922465"/>
              <a:gd name="connsiteY925" fmla="*/ 1459958 h 1934496"/>
              <a:gd name="connsiteX926" fmla="*/ 1172776 w 9922465"/>
              <a:gd name="connsiteY926" fmla="*/ 1515149 h 1934496"/>
              <a:gd name="connsiteX927" fmla="*/ 1117583 w 9922465"/>
              <a:gd name="connsiteY927" fmla="*/ 1570340 h 1934496"/>
              <a:gd name="connsiteX928" fmla="*/ 1062390 w 9922465"/>
              <a:gd name="connsiteY928" fmla="*/ 1515149 h 1934496"/>
              <a:gd name="connsiteX929" fmla="*/ 1117583 w 9922465"/>
              <a:gd name="connsiteY929" fmla="*/ 1459958 h 1934496"/>
              <a:gd name="connsiteX930" fmla="*/ 980607 w 9922465"/>
              <a:gd name="connsiteY930" fmla="*/ 1459958 h 1934496"/>
              <a:gd name="connsiteX931" fmla="*/ 1035800 w 9922465"/>
              <a:gd name="connsiteY931" fmla="*/ 1515149 h 1934496"/>
              <a:gd name="connsiteX932" fmla="*/ 980607 w 9922465"/>
              <a:gd name="connsiteY932" fmla="*/ 1570340 h 1934496"/>
              <a:gd name="connsiteX933" fmla="*/ 925415 w 9922465"/>
              <a:gd name="connsiteY933" fmla="*/ 1515149 h 1934496"/>
              <a:gd name="connsiteX934" fmla="*/ 980607 w 9922465"/>
              <a:gd name="connsiteY934" fmla="*/ 1459958 h 1934496"/>
              <a:gd name="connsiteX935" fmla="*/ 7608849 w 9922465"/>
              <a:gd name="connsiteY935" fmla="*/ 1336350 h 1934496"/>
              <a:gd name="connsiteX936" fmla="*/ 7664041 w 9922465"/>
              <a:gd name="connsiteY936" fmla="*/ 1391541 h 1934496"/>
              <a:gd name="connsiteX937" fmla="*/ 7608849 w 9922465"/>
              <a:gd name="connsiteY937" fmla="*/ 1446732 h 1934496"/>
              <a:gd name="connsiteX938" fmla="*/ 7553657 w 9922465"/>
              <a:gd name="connsiteY938" fmla="*/ 1391541 h 1934496"/>
              <a:gd name="connsiteX939" fmla="*/ 7608849 w 9922465"/>
              <a:gd name="connsiteY939" fmla="*/ 1336350 h 1934496"/>
              <a:gd name="connsiteX940" fmla="*/ 7481897 w 9922465"/>
              <a:gd name="connsiteY940" fmla="*/ 1336350 h 1934496"/>
              <a:gd name="connsiteX941" fmla="*/ 7537089 w 9922465"/>
              <a:gd name="connsiteY941" fmla="*/ 1391541 h 1934496"/>
              <a:gd name="connsiteX942" fmla="*/ 7481897 w 9922465"/>
              <a:gd name="connsiteY942" fmla="*/ 1446732 h 1934496"/>
              <a:gd name="connsiteX943" fmla="*/ 7426705 w 9922465"/>
              <a:gd name="connsiteY943" fmla="*/ 1391541 h 1934496"/>
              <a:gd name="connsiteX944" fmla="*/ 7481897 w 9922465"/>
              <a:gd name="connsiteY944" fmla="*/ 1336350 h 1934496"/>
              <a:gd name="connsiteX945" fmla="*/ 7341579 w 9922465"/>
              <a:gd name="connsiteY945" fmla="*/ 1336350 h 1934496"/>
              <a:gd name="connsiteX946" fmla="*/ 7396771 w 9922465"/>
              <a:gd name="connsiteY946" fmla="*/ 1391541 h 1934496"/>
              <a:gd name="connsiteX947" fmla="*/ 7341579 w 9922465"/>
              <a:gd name="connsiteY947" fmla="*/ 1446732 h 1934496"/>
              <a:gd name="connsiteX948" fmla="*/ 7286387 w 9922465"/>
              <a:gd name="connsiteY948" fmla="*/ 1391541 h 1934496"/>
              <a:gd name="connsiteX949" fmla="*/ 7341579 w 9922465"/>
              <a:gd name="connsiteY949" fmla="*/ 1336350 h 1934496"/>
              <a:gd name="connsiteX950" fmla="*/ 7211286 w 9922465"/>
              <a:gd name="connsiteY950" fmla="*/ 1336350 h 1934496"/>
              <a:gd name="connsiteX951" fmla="*/ 7266478 w 9922465"/>
              <a:gd name="connsiteY951" fmla="*/ 1391541 h 1934496"/>
              <a:gd name="connsiteX952" fmla="*/ 7211286 w 9922465"/>
              <a:gd name="connsiteY952" fmla="*/ 1446732 h 1934496"/>
              <a:gd name="connsiteX953" fmla="*/ 7156094 w 9922465"/>
              <a:gd name="connsiteY953" fmla="*/ 1391541 h 1934496"/>
              <a:gd name="connsiteX954" fmla="*/ 7211286 w 9922465"/>
              <a:gd name="connsiteY954" fmla="*/ 1336350 h 1934496"/>
              <a:gd name="connsiteX955" fmla="*/ 7080993 w 9922465"/>
              <a:gd name="connsiteY955" fmla="*/ 1336350 h 1934496"/>
              <a:gd name="connsiteX956" fmla="*/ 7136185 w 9922465"/>
              <a:gd name="connsiteY956" fmla="*/ 1391541 h 1934496"/>
              <a:gd name="connsiteX957" fmla="*/ 7080993 w 9922465"/>
              <a:gd name="connsiteY957" fmla="*/ 1446732 h 1934496"/>
              <a:gd name="connsiteX958" fmla="*/ 7025801 w 9922465"/>
              <a:gd name="connsiteY958" fmla="*/ 1391541 h 1934496"/>
              <a:gd name="connsiteX959" fmla="*/ 7080993 w 9922465"/>
              <a:gd name="connsiteY959" fmla="*/ 1336350 h 1934496"/>
              <a:gd name="connsiteX960" fmla="*/ 6947357 w 9922465"/>
              <a:gd name="connsiteY960" fmla="*/ 1336350 h 1934496"/>
              <a:gd name="connsiteX961" fmla="*/ 7002549 w 9922465"/>
              <a:gd name="connsiteY961" fmla="*/ 1391541 h 1934496"/>
              <a:gd name="connsiteX962" fmla="*/ 6947357 w 9922465"/>
              <a:gd name="connsiteY962" fmla="*/ 1446732 h 1934496"/>
              <a:gd name="connsiteX963" fmla="*/ 6892165 w 9922465"/>
              <a:gd name="connsiteY963" fmla="*/ 1391541 h 1934496"/>
              <a:gd name="connsiteX964" fmla="*/ 6947357 w 9922465"/>
              <a:gd name="connsiteY964" fmla="*/ 1336350 h 1934496"/>
              <a:gd name="connsiteX965" fmla="*/ 6817064 w 9922465"/>
              <a:gd name="connsiteY965" fmla="*/ 1336350 h 1934496"/>
              <a:gd name="connsiteX966" fmla="*/ 6872256 w 9922465"/>
              <a:gd name="connsiteY966" fmla="*/ 1391541 h 1934496"/>
              <a:gd name="connsiteX967" fmla="*/ 6817064 w 9922465"/>
              <a:gd name="connsiteY967" fmla="*/ 1446732 h 1934496"/>
              <a:gd name="connsiteX968" fmla="*/ 6761872 w 9922465"/>
              <a:gd name="connsiteY968" fmla="*/ 1391541 h 1934496"/>
              <a:gd name="connsiteX969" fmla="*/ 6817064 w 9922465"/>
              <a:gd name="connsiteY969" fmla="*/ 1336350 h 1934496"/>
              <a:gd name="connsiteX970" fmla="*/ 6683431 w 9922465"/>
              <a:gd name="connsiteY970" fmla="*/ 1336350 h 1934496"/>
              <a:gd name="connsiteX971" fmla="*/ 6738623 w 9922465"/>
              <a:gd name="connsiteY971" fmla="*/ 1391541 h 1934496"/>
              <a:gd name="connsiteX972" fmla="*/ 6683431 w 9922465"/>
              <a:gd name="connsiteY972" fmla="*/ 1446732 h 1934496"/>
              <a:gd name="connsiteX973" fmla="*/ 6628239 w 9922465"/>
              <a:gd name="connsiteY973" fmla="*/ 1391541 h 1934496"/>
              <a:gd name="connsiteX974" fmla="*/ 6683431 w 9922465"/>
              <a:gd name="connsiteY974" fmla="*/ 1336350 h 1934496"/>
              <a:gd name="connsiteX975" fmla="*/ 6553137 w 9922465"/>
              <a:gd name="connsiteY975" fmla="*/ 1336350 h 1934496"/>
              <a:gd name="connsiteX976" fmla="*/ 6608329 w 9922465"/>
              <a:gd name="connsiteY976" fmla="*/ 1391541 h 1934496"/>
              <a:gd name="connsiteX977" fmla="*/ 6553137 w 9922465"/>
              <a:gd name="connsiteY977" fmla="*/ 1446732 h 1934496"/>
              <a:gd name="connsiteX978" fmla="*/ 6497945 w 9922465"/>
              <a:gd name="connsiteY978" fmla="*/ 1391541 h 1934496"/>
              <a:gd name="connsiteX979" fmla="*/ 6553137 w 9922465"/>
              <a:gd name="connsiteY979" fmla="*/ 1336350 h 1934496"/>
              <a:gd name="connsiteX980" fmla="*/ 6419502 w 9922465"/>
              <a:gd name="connsiteY980" fmla="*/ 1336350 h 1934496"/>
              <a:gd name="connsiteX981" fmla="*/ 6474694 w 9922465"/>
              <a:gd name="connsiteY981" fmla="*/ 1391541 h 1934496"/>
              <a:gd name="connsiteX982" fmla="*/ 6419502 w 9922465"/>
              <a:gd name="connsiteY982" fmla="*/ 1446732 h 1934496"/>
              <a:gd name="connsiteX983" fmla="*/ 6364310 w 9922465"/>
              <a:gd name="connsiteY983" fmla="*/ 1391541 h 1934496"/>
              <a:gd name="connsiteX984" fmla="*/ 6419502 w 9922465"/>
              <a:gd name="connsiteY984" fmla="*/ 1336350 h 1934496"/>
              <a:gd name="connsiteX985" fmla="*/ 6289207 w 9922465"/>
              <a:gd name="connsiteY985" fmla="*/ 1336350 h 1934496"/>
              <a:gd name="connsiteX986" fmla="*/ 6344399 w 9922465"/>
              <a:gd name="connsiteY986" fmla="*/ 1391541 h 1934496"/>
              <a:gd name="connsiteX987" fmla="*/ 6289207 w 9922465"/>
              <a:gd name="connsiteY987" fmla="*/ 1446732 h 1934496"/>
              <a:gd name="connsiteX988" fmla="*/ 6234015 w 9922465"/>
              <a:gd name="connsiteY988" fmla="*/ 1391541 h 1934496"/>
              <a:gd name="connsiteX989" fmla="*/ 6289207 w 9922465"/>
              <a:gd name="connsiteY989" fmla="*/ 1336350 h 1934496"/>
              <a:gd name="connsiteX990" fmla="*/ 6155573 w 9922465"/>
              <a:gd name="connsiteY990" fmla="*/ 1336350 h 1934496"/>
              <a:gd name="connsiteX991" fmla="*/ 6210765 w 9922465"/>
              <a:gd name="connsiteY991" fmla="*/ 1391541 h 1934496"/>
              <a:gd name="connsiteX992" fmla="*/ 6155573 w 9922465"/>
              <a:gd name="connsiteY992" fmla="*/ 1446732 h 1934496"/>
              <a:gd name="connsiteX993" fmla="*/ 6100381 w 9922465"/>
              <a:gd name="connsiteY993" fmla="*/ 1391541 h 1934496"/>
              <a:gd name="connsiteX994" fmla="*/ 6155573 w 9922465"/>
              <a:gd name="connsiteY994" fmla="*/ 1336350 h 1934496"/>
              <a:gd name="connsiteX995" fmla="*/ 6021939 w 9922465"/>
              <a:gd name="connsiteY995" fmla="*/ 1336350 h 1934496"/>
              <a:gd name="connsiteX996" fmla="*/ 6077131 w 9922465"/>
              <a:gd name="connsiteY996" fmla="*/ 1391541 h 1934496"/>
              <a:gd name="connsiteX997" fmla="*/ 6021939 w 9922465"/>
              <a:gd name="connsiteY997" fmla="*/ 1446732 h 1934496"/>
              <a:gd name="connsiteX998" fmla="*/ 5966747 w 9922465"/>
              <a:gd name="connsiteY998" fmla="*/ 1391541 h 1934496"/>
              <a:gd name="connsiteX999" fmla="*/ 6021939 w 9922465"/>
              <a:gd name="connsiteY999" fmla="*/ 1336350 h 1934496"/>
              <a:gd name="connsiteX1000" fmla="*/ 5884964 w 9922465"/>
              <a:gd name="connsiteY1000" fmla="*/ 1336350 h 1934496"/>
              <a:gd name="connsiteX1001" fmla="*/ 5940156 w 9922465"/>
              <a:gd name="connsiteY1001" fmla="*/ 1391541 h 1934496"/>
              <a:gd name="connsiteX1002" fmla="*/ 5884964 w 9922465"/>
              <a:gd name="connsiteY1002" fmla="*/ 1446732 h 1934496"/>
              <a:gd name="connsiteX1003" fmla="*/ 5829772 w 9922465"/>
              <a:gd name="connsiteY1003" fmla="*/ 1391541 h 1934496"/>
              <a:gd name="connsiteX1004" fmla="*/ 5884964 w 9922465"/>
              <a:gd name="connsiteY1004" fmla="*/ 1336350 h 1934496"/>
              <a:gd name="connsiteX1005" fmla="*/ 5754668 w 9922465"/>
              <a:gd name="connsiteY1005" fmla="*/ 1336350 h 1934496"/>
              <a:gd name="connsiteX1006" fmla="*/ 5809860 w 9922465"/>
              <a:gd name="connsiteY1006" fmla="*/ 1391541 h 1934496"/>
              <a:gd name="connsiteX1007" fmla="*/ 5754668 w 9922465"/>
              <a:gd name="connsiteY1007" fmla="*/ 1446732 h 1934496"/>
              <a:gd name="connsiteX1008" fmla="*/ 5699476 w 9922465"/>
              <a:gd name="connsiteY1008" fmla="*/ 1391541 h 1934496"/>
              <a:gd name="connsiteX1009" fmla="*/ 5754668 w 9922465"/>
              <a:gd name="connsiteY1009" fmla="*/ 1336350 h 1934496"/>
              <a:gd name="connsiteX1010" fmla="*/ 5621035 w 9922465"/>
              <a:gd name="connsiteY1010" fmla="*/ 1336350 h 1934496"/>
              <a:gd name="connsiteX1011" fmla="*/ 5676227 w 9922465"/>
              <a:gd name="connsiteY1011" fmla="*/ 1391541 h 1934496"/>
              <a:gd name="connsiteX1012" fmla="*/ 5621035 w 9922465"/>
              <a:gd name="connsiteY1012" fmla="*/ 1446732 h 1934496"/>
              <a:gd name="connsiteX1013" fmla="*/ 5565843 w 9922465"/>
              <a:gd name="connsiteY1013" fmla="*/ 1391541 h 1934496"/>
              <a:gd name="connsiteX1014" fmla="*/ 5621035 w 9922465"/>
              <a:gd name="connsiteY1014" fmla="*/ 1336350 h 1934496"/>
              <a:gd name="connsiteX1015" fmla="*/ 5487399 w 9922465"/>
              <a:gd name="connsiteY1015" fmla="*/ 1336350 h 1934496"/>
              <a:gd name="connsiteX1016" fmla="*/ 5542591 w 9922465"/>
              <a:gd name="connsiteY1016" fmla="*/ 1391541 h 1934496"/>
              <a:gd name="connsiteX1017" fmla="*/ 5487399 w 9922465"/>
              <a:gd name="connsiteY1017" fmla="*/ 1446732 h 1934496"/>
              <a:gd name="connsiteX1018" fmla="*/ 5432207 w 9922465"/>
              <a:gd name="connsiteY1018" fmla="*/ 1391541 h 1934496"/>
              <a:gd name="connsiteX1019" fmla="*/ 5487399 w 9922465"/>
              <a:gd name="connsiteY1019" fmla="*/ 1336350 h 1934496"/>
              <a:gd name="connsiteX1020" fmla="*/ 5357106 w 9922465"/>
              <a:gd name="connsiteY1020" fmla="*/ 1336350 h 1934496"/>
              <a:gd name="connsiteX1021" fmla="*/ 5412298 w 9922465"/>
              <a:gd name="connsiteY1021" fmla="*/ 1391541 h 1934496"/>
              <a:gd name="connsiteX1022" fmla="*/ 5357106 w 9922465"/>
              <a:gd name="connsiteY1022" fmla="*/ 1446732 h 1934496"/>
              <a:gd name="connsiteX1023" fmla="*/ 5301914 w 9922465"/>
              <a:gd name="connsiteY1023" fmla="*/ 1391541 h 1934496"/>
              <a:gd name="connsiteX1024" fmla="*/ 5357106 w 9922465"/>
              <a:gd name="connsiteY1024" fmla="*/ 1336350 h 1934496"/>
              <a:gd name="connsiteX1025" fmla="*/ 4959543 w 9922465"/>
              <a:gd name="connsiteY1025" fmla="*/ 1336350 h 1934496"/>
              <a:gd name="connsiteX1026" fmla="*/ 5014735 w 9922465"/>
              <a:gd name="connsiteY1026" fmla="*/ 1391541 h 1934496"/>
              <a:gd name="connsiteX1027" fmla="*/ 4959543 w 9922465"/>
              <a:gd name="connsiteY1027" fmla="*/ 1446732 h 1934496"/>
              <a:gd name="connsiteX1028" fmla="*/ 4904351 w 9922465"/>
              <a:gd name="connsiteY1028" fmla="*/ 1391541 h 1934496"/>
              <a:gd name="connsiteX1029" fmla="*/ 4959543 w 9922465"/>
              <a:gd name="connsiteY1029" fmla="*/ 1336350 h 1934496"/>
              <a:gd name="connsiteX1030" fmla="*/ 4565322 w 9922465"/>
              <a:gd name="connsiteY1030" fmla="*/ 1336350 h 1934496"/>
              <a:gd name="connsiteX1031" fmla="*/ 4620514 w 9922465"/>
              <a:gd name="connsiteY1031" fmla="*/ 1391541 h 1934496"/>
              <a:gd name="connsiteX1032" fmla="*/ 4565322 w 9922465"/>
              <a:gd name="connsiteY1032" fmla="*/ 1446732 h 1934496"/>
              <a:gd name="connsiteX1033" fmla="*/ 4510130 w 9922465"/>
              <a:gd name="connsiteY1033" fmla="*/ 1391541 h 1934496"/>
              <a:gd name="connsiteX1034" fmla="*/ 4565322 w 9922465"/>
              <a:gd name="connsiteY1034" fmla="*/ 1336350 h 1934496"/>
              <a:gd name="connsiteX1035" fmla="*/ 2971729 w 9922465"/>
              <a:gd name="connsiteY1035" fmla="*/ 1336350 h 1934496"/>
              <a:gd name="connsiteX1036" fmla="*/ 3026921 w 9922465"/>
              <a:gd name="connsiteY1036" fmla="*/ 1391541 h 1934496"/>
              <a:gd name="connsiteX1037" fmla="*/ 2971729 w 9922465"/>
              <a:gd name="connsiteY1037" fmla="*/ 1446732 h 1934496"/>
              <a:gd name="connsiteX1038" fmla="*/ 2916537 w 9922465"/>
              <a:gd name="connsiteY1038" fmla="*/ 1391541 h 1934496"/>
              <a:gd name="connsiteX1039" fmla="*/ 2971729 w 9922465"/>
              <a:gd name="connsiteY1039" fmla="*/ 1336350 h 1934496"/>
              <a:gd name="connsiteX1040" fmla="*/ 2834801 w 9922465"/>
              <a:gd name="connsiteY1040" fmla="*/ 1336350 h 1934496"/>
              <a:gd name="connsiteX1041" fmla="*/ 2889994 w 9922465"/>
              <a:gd name="connsiteY1041" fmla="*/ 1391541 h 1934496"/>
              <a:gd name="connsiteX1042" fmla="*/ 2834801 w 9922465"/>
              <a:gd name="connsiteY1042" fmla="*/ 1446732 h 1934496"/>
              <a:gd name="connsiteX1043" fmla="*/ 2779610 w 9922465"/>
              <a:gd name="connsiteY1043" fmla="*/ 1391541 h 1934496"/>
              <a:gd name="connsiteX1044" fmla="*/ 2834801 w 9922465"/>
              <a:gd name="connsiteY1044" fmla="*/ 1336350 h 1934496"/>
              <a:gd name="connsiteX1045" fmla="*/ 2707848 w 9922465"/>
              <a:gd name="connsiteY1045" fmla="*/ 1336350 h 1934496"/>
              <a:gd name="connsiteX1046" fmla="*/ 2763042 w 9922465"/>
              <a:gd name="connsiteY1046" fmla="*/ 1391541 h 1934496"/>
              <a:gd name="connsiteX1047" fmla="*/ 2707848 w 9922465"/>
              <a:gd name="connsiteY1047" fmla="*/ 1446732 h 1934496"/>
              <a:gd name="connsiteX1048" fmla="*/ 2652656 w 9922465"/>
              <a:gd name="connsiteY1048" fmla="*/ 1391541 h 1934496"/>
              <a:gd name="connsiteX1049" fmla="*/ 2707848 w 9922465"/>
              <a:gd name="connsiteY1049" fmla="*/ 1336350 h 1934496"/>
              <a:gd name="connsiteX1050" fmla="*/ 2570875 w 9922465"/>
              <a:gd name="connsiteY1050" fmla="*/ 1336350 h 1934496"/>
              <a:gd name="connsiteX1051" fmla="*/ 2626067 w 9922465"/>
              <a:gd name="connsiteY1051" fmla="*/ 1391541 h 1934496"/>
              <a:gd name="connsiteX1052" fmla="*/ 2570875 w 9922465"/>
              <a:gd name="connsiteY1052" fmla="*/ 1446732 h 1934496"/>
              <a:gd name="connsiteX1053" fmla="*/ 2515683 w 9922465"/>
              <a:gd name="connsiteY1053" fmla="*/ 1391541 h 1934496"/>
              <a:gd name="connsiteX1054" fmla="*/ 2570875 w 9922465"/>
              <a:gd name="connsiteY1054" fmla="*/ 1336350 h 1934496"/>
              <a:gd name="connsiteX1055" fmla="*/ 2173314 w 9922465"/>
              <a:gd name="connsiteY1055" fmla="*/ 1336350 h 1934496"/>
              <a:gd name="connsiteX1056" fmla="*/ 2228507 w 9922465"/>
              <a:gd name="connsiteY1056" fmla="*/ 1391541 h 1934496"/>
              <a:gd name="connsiteX1057" fmla="*/ 2173314 w 9922465"/>
              <a:gd name="connsiteY1057" fmla="*/ 1446732 h 1934496"/>
              <a:gd name="connsiteX1058" fmla="*/ 2118122 w 9922465"/>
              <a:gd name="connsiteY1058" fmla="*/ 1391541 h 1934496"/>
              <a:gd name="connsiteX1059" fmla="*/ 2173314 w 9922465"/>
              <a:gd name="connsiteY1059" fmla="*/ 1336350 h 1934496"/>
              <a:gd name="connsiteX1060" fmla="*/ 2039678 w 9922465"/>
              <a:gd name="connsiteY1060" fmla="*/ 1336350 h 1934496"/>
              <a:gd name="connsiteX1061" fmla="*/ 2094870 w 9922465"/>
              <a:gd name="connsiteY1061" fmla="*/ 1391541 h 1934496"/>
              <a:gd name="connsiteX1062" fmla="*/ 2039678 w 9922465"/>
              <a:gd name="connsiteY1062" fmla="*/ 1446732 h 1934496"/>
              <a:gd name="connsiteX1063" fmla="*/ 1984484 w 9922465"/>
              <a:gd name="connsiteY1063" fmla="*/ 1391541 h 1934496"/>
              <a:gd name="connsiteX1064" fmla="*/ 2039678 w 9922465"/>
              <a:gd name="connsiteY1064" fmla="*/ 1336350 h 1934496"/>
              <a:gd name="connsiteX1065" fmla="*/ 1909381 w 9922465"/>
              <a:gd name="connsiteY1065" fmla="*/ 1336350 h 1934496"/>
              <a:gd name="connsiteX1066" fmla="*/ 1964575 w 9922465"/>
              <a:gd name="connsiteY1066" fmla="*/ 1391541 h 1934496"/>
              <a:gd name="connsiteX1067" fmla="*/ 1909381 w 9922465"/>
              <a:gd name="connsiteY1067" fmla="*/ 1446732 h 1934496"/>
              <a:gd name="connsiteX1068" fmla="*/ 1854188 w 9922465"/>
              <a:gd name="connsiteY1068" fmla="*/ 1391541 h 1934496"/>
              <a:gd name="connsiteX1069" fmla="*/ 1909381 w 9922465"/>
              <a:gd name="connsiteY1069" fmla="*/ 1336350 h 1934496"/>
              <a:gd name="connsiteX1070" fmla="*/ 1779086 w 9922465"/>
              <a:gd name="connsiteY1070" fmla="*/ 1336350 h 1934496"/>
              <a:gd name="connsiteX1071" fmla="*/ 1834278 w 9922465"/>
              <a:gd name="connsiteY1071" fmla="*/ 1391541 h 1934496"/>
              <a:gd name="connsiteX1072" fmla="*/ 1779086 w 9922465"/>
              <a:gd name="connsiteY1072" fmla="*/ 1446732 h 1934496"/>
              <a:gd name="connsiteX1073" fmla="*/ 1723892 w 9922465"/>
              <a:gd name="connsiteY1073" fmla="*/ 1391541 h 1934496"/>
              <a:gd name="connsiteX1074" fmla="*/ 1779086 w 9922465"/>
              <a:gd name="connsiteY1074" fmla="*/ 1336350 h 1934496"/>
              <a:gd name="connsiteX1075" fmla="*/ 1645448 w 9922465"/>
              <a:gd name="connsiteY1075" fmla="*/ 1336350 h 1934496"/>
              <a:gd name="connsiteX1076" fmla="*/ 1700644 w 9922465"/>
              <a:gd name="connsiteY1076" fmla="*/ 1391541 h 1934496"/>
              <a:gd name="connsiteX1077" fmla="*/ 1645448 w 9922465"/>
              <a:gd name="connsiteY1077" fmla="*/ 1446732 h 1934496"/>
              <a:gd name="connsiteX1078" fmla="*/ 1590256 w 9922465"/>
              <a:gd name="connsiteY1078" fmla="*/ 1391541 h 1934496"/>
              <a:gd name="connsiteX1079" fmla="*/ 1645448 w 9922465"/>
              <a:gd name="connsiteY1079" fmla="*/ 1336350 h 1934496"/>
              <a:gd name="connsiteX1080" fmla="*/ 1515160 w 9922465"/>
              <a:gd name="connsiteY1080" fmla="*/ 1336350 h 1934496"/>
              <a:gd name="connsiteX1081" fmla="*/ 1570346 w 9922465"/>
              <a:gd name="connsiteY1081" fmla="*/ 1391541 h 1934496"/>
              <a:gd name="connsiteX1082" fmla="*/ 1515160 w 9922465"/>
              <a:gd name="connsiteY1082" fmla="*/ 1446732 h 1934496"/>
              <a:gd name="connsiteX1083" fmla="*/ 1459963 w 9922465"/>
              <a:gd name="connsiteY1083" fmla="*/ 1391541 h 1934496"/>
              <a:gd name="connsiteX1084" fmla="*/ 1515160 w 9922465"/>
              <a:gd name="connsiteY1084" fmla="*/ 1336350 h 1934496"/>
              <a:gd name="connsiteX1085" fmla="*/ 1381522 w 9922465"/>
              <a:gd name="connsiteY1085" fmla="*/ 1336350 h 1934496"/>
              <a:gd name="connsiteX1086" fmla="*/ 1436714 w 9922465"/>
              <a:gd name="connsiteY1086" fmla="*/ 1391541 h 1934496"/>
              <a:gd name="connsiteX1087" fmla="*/ 1381522 w 9922465"/>
              <a:gd name="connsiteY1087" fmla="*/ 1446732 h 1934496"/>
              <a:gd name="connsiteX1088" fmla="*/ 1326330 w 9922465"/>
              <a:gd name="connsiteY1088" fmla="*/ 1391541 h 1934496"/>
              <a:gd name="connsiteX1089" fmla="*/ 1381522 w 9922465"/>
              <a:gd name="connsiteY1089" fmla="*/ 1336350 h 1934496"/>
              <a:gd name="connsiteX1090" fmla="*/ 1251229 w 9922465"/>
              <a:gd name="connsiteY1090" fmla="*/ 1336350 h 1934496"/>
              <a:gd name="connsiteX1091" fmla="*/ 1306421 w 9922465"/>
              <a:gd name="connsiteY1091" fmla="*/ 1391541 h 1934496"/>
              <a:gd name="connsiteX1092" fmla="*/ 1251229 w 9922465"/>
              <a:gd name="connsiteY1092" fmla="*/ 1446732 h 1934496"/>
              <a:gd name="connsiteX1093" fmla="*/ 1196037 w 9922465"/>
              <a:gd name="connsiteY1093" fmla="*/ 1391541 h 1934496"/>
              <a:gd name="connsiteX1094" fmla="*/ 1251229 w 9922465"/>
              <a:gd name="connsiteY1094" fmla="*/ 1336350 h 1934496"/>
              <a:gd name="connsiteX1095" fmla="*/ 1117592 w 9922465"/>
              <a:gd name="connsiteY1095" fmla="*/ 1336350 h 1934496"/>
              <a:gd name="connsiteX1096" fmla="*/ 1172785 w 9922465"/>
              <a:gd name="connsiteY1096" fmla="*/ 1391541 h 1934496"/>
              <a:gd name="connsiteX1097" fmla="*/ 1117592 w 9922465"/>
              <a:gd name="connsiteY1097" fmla="*/ 1446732 h 1934496"/>
              <a:gd name="connsiteX1098" fmla="*/ 1062400 w 9922465"/>
              <a:gd name="connsiteY1098" fmla="*/ 1391541 h 1934496"/>
              <a:gd name="connsiteX1099" fmla="*/ 1117592 w 9922465"/>
              <a:gd name="connsiteY1099" fmla="*/ 1336350 h 1934496"/>
              <a:gd name="connsiteX1100" fmla="*/ 980615 w 9922465"/>
              <a:gd name="connsiteY1100" fmla="*/ 1336350 h 1934496"/>
              <a:gd name="connsiteX1101" fmla="*/ 1035808 w 9922465"/>
              <a:gd name="connsiteY1101" fmla="*/ 1391541 h 1934496"/>
              <a:gd name="connsiteX1102" fmla="*/ 980615 w 9922465"/>
              <a:gd name="connsiteY1102" fmla="*/ 1446732 h 1934496"/>
              <a:gd name="connsiteX1103" fmla="*/ 925422 w 9922465"/>
              <a:gd name="connsiteY1103" fmla="*/ 1391541 h 1934496"/>
              <a:gd name="connsiteX1104" fmla="*/ 980615 w 9922465"/>
              <a:gd name="connsiteY1104" fmla="*/ 1336350 h 1934496"/>
              <a:gd name="connsiteX1105" fmla="*/ 9199101 w 9922465"/>
              <a:gd name="connsiteY1105" fmla="*/ 1336348 h 1934496"/>
              <a:gd name="connsiteX1106" fmla="*/ 9254293 w 9922465"/>
              <a:gd name="connsiteY1106" fmla="*/ 1391539 h 1934496"/>
              <a:gd name="connsiteX1107" fmla="*/ 9199101 w 9922465"/>
              <a:gd name="connsiteY1107" fmla="*/ 1446730 h 1934496"/>
              <a:gd name="connsiteX1108" fmla="*/ 9143909 w 9922465"/>
              <a:gd name="connsiteY1108" fmla="*/ 1391539 h 1934496"/>
              <a:gd name="connsiteX1109" fmla="*/ 9199101 w 9922465"/>
              <a:gd name="connsiteY1109" fmla="*/ 1336348 h 1934496"/>
              <a:gd name="connsiteX1110" fmla="*/ 9068807 w 9922465"/>
              <a:gd name="connsiteY1110" fmla="*/ 1336348 h 1934496"/>
              <a:gd name="connsiteX1111" fmla="*/ 9123999 w 9922465"/>
              <a:gd name="connsiteY1111" fmla="*/ 1391539 h 1934496"/>
              <a:gd name="connsiteX1112" fmla="*/ 9068807 w 9922465"/>
              <a:gd name="connsiteY1112" fmla="*/ 1446730 h 1934496"/>
              <a:gd name="connsiteX1113" fmla="*/ 9013615 w 9922465"/>
              <a:gd name="connsiteY1113" fmla="*/ 1391539 h 1934496"/>
              <a:gd name="connsiteX1114" fmla="*/ 9068807 w 9922465"/>
              <a:gd name="connsiteY1114" fmla="*/ 1336348 h 1934496"/>
              <a:gd name="connsiteX1115" fmla="*/ 8407316 w 9922465"/>
              <a:gd name="connsiteY1115" fmla="*/ 1336348 h 1934496"/>
              <a:gd name="connsiteX1116" fmla="*/ 8462508 w 9922465"/>
              <a:gd name="connsiteY1116" fmla="*/ 1391539 h 1934496"/>
              <a:gd name="connsiteX1117" fmla="*/ 8407316 w 9922465"/>
              <a:gd name="connsiteY1117" fmla="*/ 1446730 h 1934496"/>
              <a:gd name="connsiteX1118" fmla="*/ 8352124 w 9922465"/>
              <a:gd name="connsiteY1118" fmla="*/ 1391539 h 1934496"/>
              <a:gd name="connsiteX1119" fmla="*/ 8407316 w 9922465"/>
              <a:gd name="connsiteY1119" fmla="*/ 1336348 h 1934496"/>
              <a:gd name="connsiteX1120" fmla="*/ 8273682 w 9922465"/>
              <a:gd name="connsiteY1120" fmla="*/ 1336348 h 1934496"/>
              <a:gd name="connsiteX1121" fmla="*/ 8328874 w 9922465"/>
              <a:gd name="connsiteY1121" fmla="*/ 1391539 h 1934496"/>
              <a:gd name="connsiteX1122" fmla="*/ 8273682 w 9922465"/>
              <a:gd name="connsiteY1122" fmla="*/ 1446730 h 1934496"/>
              <a:gd name="connsiteX1123" fmla="*/ 8218490 w 9922465"/>
              <a:gd name="connsiteY1123" fmla="*/ 1391539 h 1934496"/>
              <a:gd name="connsiteX1124" fmla="*/ 8273682 w 9922465"/>
              <a:gd name="connsiteY1124" fmla="*/ 1336348 h 1934496"/>
              <a:gd name="connsiteX1125" fmla="*/ 8143388 w 9922465"/>
              <a:gd name="connsiteY1125" fmla="*/ 1336348 h 1934496"/>
              <a:gd name="connsiteX1126" fmla="*/ 8198580 w 9922465"/>
              <a:gd name="connsiteY1126" fmla="*/ 1391539 h 1934496"/>
              <a:gd name="connsiteX1127" fmla="*/ 8143388 w 9922465"/>
              <a:gd name="connsiteY1127" fmla="*/ 1446730 h 1934496"/>
              <a:gd name="connsiteX1128" fmla="*/ 8088196 w 9922465"/>
              <a:gd name="connsiteY1128" fmla="*/ 1391539 h 1934496"/>
              <a:gd name="connsiteX1129" fmla="*/ 8143388 w 9922465"/>
              <a:gd name="connsiteY1129" fmla="*/ 1336348 h 1934496"/>
              <a:gd name="connsiteX1130" fmla="*/ 8009753 w 9922465"/>
              <a:gd name="connsiteY1130" fmla="*/ 1336348 h 1934496"/>
              <a:gd name="connsiteX1131" fmla="*/ 8064945 w 9922465"/>
              <a:gd name="connsiteY1131" fmla="*/ 1391539 h 1934496"/>
              <a:gd name="connsiteX1132" fmla="*/ 8009753 w 9922465"/>
              <a:gd name="connsiteY1132" fmla="*/ 1446730 h 1934496"/>
              <a:gd name="connsiteX1133" fmla="*/ 7954561 w 9922465"/>
              <a:gd name="connsiteY1133" fmla="*/ 1391539 h 1934496"/>
              <a:gd name="connsiteX1134" fmla="*/ 8009753 w 9922465"/>
              <a:gd name="connsiteY1134" fmla="*/ 1336348 h 1934496"/>
              <a:gd name="connsiteX1135" fmla="*/ 7876118 w 9922465"/>
              <a:gd name="connsiteY1135" fmla="*/ 1336348 h 1934496"/>
              <a:gd name="connsiteX1136" fmla="*/ 7931310 w 9922465"/>
              <a:gd name="connsiteY1136" fmla="*/ 1391539 h 1934496"/>
              <a:gd name="connsiteX1137" fmla="*/ 7876118 w 9922465"/>
              <a:gd name="connsiteY1137" fmla="*/ 1446730 h 1934496"/>
              <a:gd name="connsiteX1138" fmla="*/ 7820926 w 9922465"/>
              <a:gd name="connsiteY1138" fmla="*/ 1391539 h 1934496"/>
              <a:gd name="connsiteX1139" fmla="*/ 7876118 w 9922465"/>
              <a:gd name="connsiteY1139" fmla="*/ 1336348 h 1934496"/>
              <a:gd name="connsiteX1140" fmla="*/ 7745823 w 9922465"/>
              <a:gd name="connsiteY1140" fmla="*/ 1336348 h 1934496"/>
              <a:gd name="connsiteX1141" fmla="*/ 7801015 w 9922465"/>
              <a:gd name="connsiteY1141" fmla="*/ 1391539 h 1934496"/>
              <a:gd name="connsiteX1142" fmla="*/ 7745823 w 9922465"/>
              <a:gd name="connsiteY1142" fmla="*/ 1446730 h 1934496"/>
              <a:gd name="connsiteX1143" fmla="*/ 7690631 w 9922465"/>
              <a:gd name="connsiteY1143" fmla="*/ 1391539 h 1934496"/>
              <a:gd name="connsiteX1144" fmla="*/ 7745823 w 9922465"/>
              <a:gd name="connsiteY1144" fmla="*/ 1336348 h 1934496"/>
              <a:gd name="connsiteX1145" fmla="*/ 185475 w 9922465"/>
              <a:gd name="connsiteY1145" fmla="*/ 1336348 h 1934496"/>
              <a:gd name="connsiteX1146" fmla="*/ 240666 w 9922465"/>
              <a:gd name="connsiteY1146" fmla="*/ 1391539 h 1934496"/>
              <a:gd name="connsiteX1147" fmla="*/ 185475 w 9922465"/>
              <a:gd name="connsiteY1147" fmla="*/ 1446730 h 1934496"/>
              <a:gd name="connsiteX1148" fmla="*/ 130283 w 9922465"/>
              <a:gd name="connsiteY1148" fmla="*/ 1391539 h 1934496"/>
              <a:gd name="connsiteX1149" fmla="*/ 185475 w 9922465"/>
              <a:gd name="connsiteY1149" fmla="*/ 1336348 h 1934496"/>
              <a:gd name="connsiteX1150" fmla="*/ 9199101 w 9922465"/>
              <a:gd name="connsiteY1150" fmla="*/ 1219421 h 1934496"/>
              <a:gd name="connsiteX1151" fmla="*/ 9254293 w 9922465"/>
              <a:gd name="connsiteY1151" fmla="*/ 1274612 h 1934496"/>
              <a:gd name="connsiteX1152" fmla="*/ 9199101 w 9922465"/>
              <a:gd name="connsiteY1152" fmla="*/ 1329803 h 1934496"/>
              <a:gd name="connsiteX1153" fmla="*/ 9143909 w 9922465"/>
              <a:gd name="connsiteY1153" fmla="*/ 1274612 h 1934496"/>
              <a:gd name="connsiteX1154" fmla="*/ 9199101 w 9922465"/>
              <a:gd name="connsiteY1154" fmla="*/ 1219421 h 1934496"/>
              <a:gd name="connsiteX1155" fmla="*/ 9068807 w 9922465"/>
              <a:gd name="connsiteY1155" fmla="*/ 1219421 h 1934496"/>
              <a:gd name="connsiteX1156" fmla="*/ 9123999 w 9922465"/>
              <a:gd name="connsiteY1156" fmla="*/ 1274612 h 1934496"/>
              <a:gd name="connsiteX1157" fmla="*/ 9068807 w 9922465"/>
              <a:gd name="connsiteY1157" fmla="*/ 1329803 h 1934496"/>
              <a:gd name="connsiteX1158" fmla="*/ 9013615 w 9922465"/>
              <a:gd name="connsiteY1158" fmla="*/ 1274612 h 1934496"/>
              <a:gd name="connsiteX1159" fmla="*/ 9068807 w 9922465"/>
              <a:gd name="connsiteY1159" fmla="*/ 1219421 h 1934496"/>
              <a:gd name="connsiteX1160" fmla="*/ 8537612 w 9922465"/>
              <a:gd name="connsiteY1160" fmla="*/ 1219421 h 1934496"/>
              <a:gd name="connsiteX1161" fmla="*/ 8592804 w 9922465"/>
              <a:gd name="connsiteY1161" fmla="*/ 1274612 h 1934496"/>
              <a:gd name="connsiteX1162" fmla="*/ 8537612 w 9922465"/>
              <a:gd name="connsiteY1162" fmla="*/ 1329803 h 1934496"/>
              <a:gd name="connsiteX1163" fmla="*/ 8482420 w 9922465"/>
              <a:gd name="connsiteY1163" fmla="*/ 1274612 h 1934496"/>
              <a:gd name="connsiteX1164" fmla="*/ 8537612 w 9922465"/>
              <a:gd name="connsiteY1164" fmla="*/ 1219421 h 1934496"/>
              <a:gd name="connsiteX1165" fmla="*/ 8407316 w 9922465"/>
              <a:gd name="connsiteY1165" fmla="*/ 1219421 h 1934496"/>
              <a:gd name="connsiteX1166" fmla="*/ 8462508 w 9922465"/>
              <a:gd name="connsiteY1166" fmla="*/ 1274612 h 1934496"/>
              <a:gd name="connsiteX1167" fmla="*/ 8407316 w 9922465"/>
              <a:gd name="connsiteY1167" fmla="*/ 1329803 h 1934496"/>
              <a:gd name="connsiteX1168" fmla="*/ 8352124 w 9922465"/>
              <a:gd name="connsiteY1168" fmla="*/ 1274612 h 1934496"/>
              <a:gd name="connsiteX1169" fmla="*/ 8407316 w 9922465"/>
              <a:gd name="connsiteY1169" fmla="*/ 1219421 h 1934496"/>
              <a:gd name="connsiteX1170" fmla="*/ 8273682 w 9922465"/>
              <a:gd name="connsiteY1170" fmla="*/ 1219421 h 1934496"/>
              <a:gd name="connsiteX1171" fmla="*/ 8328874 w 9922465"/>
              <a:gd name="connsiteY1171" fmla="*/ 1274612 h 1934496"/>
              <a:gd name="connsiteX1172" fmla="*/ 8273682 w 9922465"/>
              <a:gd name="connsiteY1172" fmla="*/ 1329803 h 1934496"/>
              <a:gd name="connsiteX1173" fmla="*/ 8218490 w 9922465"/>
              <a:gd name="connsiteY1173" fmla="*/ 1274612 h 1934496"/>
              <a:gd name="connsiteX1174" fmla="*/ 8273682 w 9922465"/>
              <a:gd name="connsiteY1174" fmla="*/ 1219421 h 1934496"/>
              <a:gd name="connsiteX1175" fmla="*/ 8143388 w 9922465"/>
              <a:gd name="connsiteY1175" fmla="*/ 1219421 h 1934496"/>
              <a:gd name="connsiteX1176" fmla="*/ 8198580 w 9922465"/>
              <a:gd name="connsiteY1176" fmla="*/ 1274612 h 1934496"/>
              <a:gd name="connsiteX1177" fmla="*/ 8143388 w 9922465"/>
              <a:gd name="connsiteY1177" fmla="*/ 1329803 h 1934496"/>
              <a:gd name="connsiteX1178" fmla="*/ 8088196 w 9922465"/>
              <a:gd name="connsiteY1178" fmla="*/ 1274612 h 1934496"/>
              <a:gd name="connsiteX1179" fmla="*/ 8143388 w 9922465"/>
              <a:gd name="connsiteY1179" fmla="*/ 1219421 h 1934496"/>
              <a:gd name="connsiteX1180" fmla="*/ 8009753 w 9922465"/>
              <a:gd name="connsiteY1180" fmla="*/ 1219421 h 1934496"/>
              <a:gd name="connsiteX1181" fmla="*/ 8064945 w 9922465"/>
              <a:gd name="connsiteY1181" fmla="*/ 1274612 h 1934496"/>
              <a:gd name="connsiteX1182" fmla="*/ 8009753 w 9922465"/>
              <a:gd name="connsiteY1182" fmla="*/ 1329803 h 1934496"/>
              <a:gd name="connsiteX1183" fmla="*/ 7954561 w 9922465"/>
              <a:gd name="connsiteY1183" fmla="*/ 1274612 h 1934496"/>
              <a:gd name="connsiteX1184" fmla="*/ 8009753 w 9922465"/>
              <a:gd name="connsiteY1184" fmla="*/ 1219421 h 1934496"/>
              <a:gd name="connsiteX1185" fmla="*/ 7876118 w 9922465"/>
              <a:gd name="connsiteY1185" fmla="*/ 1219421 h 1934496"/>
              <a:gd name="connsiteX1186" fmla="*/ 7931310 w 9922465"/>
              <a:gd name="connsiteY1186" fmla="*/ 1274612 h 1934496"/>
              <a:gd name="connsiteX1187" fmla="*/ 7876118 w 9922465"/>
              <a:gd name="connsiteY1187" fmla="*/ 1329803 h 1934496"/>
              <a:gd name="connsiteX1188" fmla="*/ 7820926 w 9922465"/>
              <a:gd name="connsiteY1188" fmla="*/ 1274612 h 1934496"/>
              <a:gd name="connsiteX1189" fmla="*/ 7876118 w 9922465"/>
              <a:gd name="connsiteY1189" fmla="*/ 1219421 h 1934496"/>
              <a:gd name="connsiteX1190" fmla="*/ 7745823 w 9922465"/>
              <a:gd name="connsiteY1190" fmla="*/ 1219421 h 1934496"/>
              <a:gd name="connsiteX1191" fmla="*/ 7801015 w 9922465"/>
              <a:gd name="connsiteY1191" fmla="*/ 1274612 h 1934496"/>
              <a:gd name="connsiteX1192" fmla="*/ 7745823 w 9922465"/>
              <a:gd name="connsiteY1192" fmla="*/ 1329803 h 1934496"/>
              <a:gd name="connsiteX1193" fmla="*/ 7690631 w 9922465"/>
              <a:gd name="connsiteY1193" fmla="*/ 1274612 h 1934496"/>
              <a:gd name="connsiteX1194" fmla="*/ 7745823 w 9922465"/>
              <a:gd name="connsiteY1194" fmla="*/ 1219421 h 1934496"/>
              <a:gd name="connsiteX1195" fmla="*/ 7608849 w 9922465"/>
              <a:gd name="connsiteY1195" fmla="*/ 1219421 h 1934496"/>
              <a:gd name="connsiteX1196" fmla="*/ 7664041 w 9922465"/>
              <a:gd name="connsiteY1196" fmla="*/ 1274612 h 1934496"/>
              <a:gd name="connsiteX1197" fmla="*/ 7608849 w 9922465"/>
              <a:gd name="connsiteY1197" fmla="*/ 1329803 h 1934496"/>
              <a:gd name="connsiteX1198" fmla="*/ 7553657 w 9922465"/>
              <a:gd name="connsiteY1198" fmla="*/ 1274612 h 1934496"/>
              <a:gd name="connsiteX1199" fmla="*/ 7608849 w 9922465"/>
              <a:gd name="connsiteY1199" fmla="*/ 1219421 h 1934496"/>
              <a:gd name="connsiteX1200" fmla="*/ 7481897 w 9922465"/>
              <a:gd name="connsiteY1200" fmla="*/ 1219421 h 1934496"/>
              <a:gd name="connsiteX1201" fmla="*/ 7537089 w 9922465"/>
              <a:gd name="connsiteY1201" fmla="*/ 1274612 h 1934496"/>
              <a:gd name="connsiteX1202" fmla="*/ 7481897 w 9922465"/>
              <a:gd name="connsiteY1202" fmla="*/ 1329803 h 1934496"/>
              <a:gd name="connsiteX1203" fmla="*/ 7426705 w 9922465"/>
              <a:gd name="connsiteY1203" fmla="*/ 1274612 h 1934496"/>
              <a:gd name="connsiteX1204" fmla="*/ 7481897 w 9922465"/>
              <a:gd name="connsiteY1204" fmla="*/ 1219421 h 1934496"/>
              <a:gd name="connsiteX1205" fmla="*/ 7341579 w 9922465"/>
              <a:gd name="connsiteY1205" fmla="*/ 1219421 h 1934496"/>
              <a:gd name="connsiteX1206" fmla="*/ 7396771 w 9922465"/>
              <a:gd name="connsiteY1206" fmla="*/ 1274612 h 1934496"/>
              <a:gd name="connsiteX1207" fmla="*/ 7341579 w 9922465"/>
              <a:gd name="connsiteY1207" fmla="*/ 1329803 h 1934496"/>
              <a:gd name="connsiteX1208" fmla="*/ 7286387 w 9922465"/>
              <a:gd name="connsiteY1208" fmla="*/ 1274612 h 1934496"/>
              <a:gd name="connsiteX1209" fmla="*/ 7341579 w 9922465"/>
              <a:gd name="connsiteY1209" fmla="*/ 1219421 h 1934496"/>
              <a:gd name="connsiteX1210" fmla="*/ 7211286 w 9922465"/>
              <a:gd name="connsiteY1210" fmla="*/ 1219421 h 1934496"/>
              <a:gd name="connsiteX1211" fmla="*/ 7266478 w 9922465"/>
              <a:gd name="connsiteY1211" fmla="*/ 1274612 h 1934496"/>
              <a:gd name="connsiteX1212" fmla="*/ 7211286 w 9922465"/>
              <a:gd name="connsiteY1212" fmla="*/ 1329803 h 1934496"/>
              <a:gd name="connsiteX1213" fmla="*/ 7156094 w 9922465"/>
              <a:gd name="connsiteY1213" fmla="*/ 1274612 h 1934496"/>
              <a:gd name="connsiteX1214" fmla="*/ 7211286 w 9922465"/>
              <a:gd name="connsiteY1214" fmla="*/ 1219421 h 1934496"/>
              <a:gd name="connsiteX1215" fmla="*/ 7080993 w 9922465"/>
              <a:gd name="connsiteY1215" fmla="*/ 1219421 h 1934496"/>
              <a:gd name="connsiteX1216" fmla="*/ 7136185 w 9922465"/>
              <a:gd name="connsiteY1216" fmla="*/ 1274612 h 1934496"/>
              <a:gd name="connsiteX1217" fmla="*/ 7080993 w 9922465"/>
              <a:gd name="connsiteY1217" fmla="*/ 1329803 h 1934496"/>
              <a:gd name="connsiteX1218" fmla="*/ 7025801 w 9922465"/>
              <a:gd name="connsiteY1218" fmla="*/ 1274612 h 1934496"/>
              <a:gd name="connsiteX1219" fmla="*/ 7080993 w 9922465"/>
              <a:gd name="connsiteY1219" fmla="*/ 1219421 h 1934496"/>
              <a:gd name="connsiteX1220" fmla="*/ 6947357 w 9922465"/>
              <a:gd name="connsiteY1220" fmla="*/ 1219421 h 1934496"/>
              <a:gd name="connsiteX1221" fmla="*/ 7002549 w 9922465"/>
              <a:gd name="connsiteY1221" fmla="*/ 1274612 h 1934496"/>
              <a:gd name="connsiteX1222" fmla="*/ 6947357 w 9922465"/>
              <a:gd name="connsiteY1222" fmla="*/ 1329803 h 1934496"/>
              <a:gd name="connsiteX1223" fmla="*/ 6892165 w 9922465"/>
              <a:gd name="connsiteY1223" fmla="*/ 1274612 h 1934496"/>
              <a:gd name="connsiteX1224" fmla="*/ 6947357 w 9922465"/>
              <a:gd name="connsiteY1224" fmla="*/ 1219421 h 1934496"/>
              <a:gd name="connsiteX1225" fmla="*/ 6817064 w 9922465"/>
              <a:gd name="connsiteY1225" fmla="*/ 1219421 h 1934496"/>
              <a:gd name="connsiteX1226" fmla="*/ 6872256 w 9922465"/>
              <a:gd name="connsiteY1226" fmla="*/ 1274612 h 1934496"/>
              <a:gd name="connsiteX1227" fmla="*/ 6817064 w 9922465"/>
              <a:gd name="connsiteY1227" fmla="*/ 1329803 h 1934496"/>
              <a:gd name="connsiteX1228" fmla="*/ 6761872 w 9922465"/>
              <a:gd name="connsiteY1228" fmla="*/ 1274612 h 1934496"/>
              <a:gd name="connsiteX1229" fmla="*/ 6817064 w 9922465"/>
              <a:gd name="connsiteY1229" fmla="*/ 1219421 h 1934496"/>
              <a:gd name="connsiteX1230" fmla="*/ 6683431 w 9922465"/>
              <a:gd name="connsiteY1230" fmla="*/ 1219421 h 1934496"/>
              <a:gd name="connsiteX1231" fmla="*/ 6738623 w 9922465"/>
              <a:gd name="connsiteY1231" fmla="*/ 1274612 h 1934496"/>
              <a:gd name="connsiteX1232" fmla="*/ 6683431 w 9922465"/>
              <a:gd name="connsiteY1232" fmla="*/ 1329803 h 1934496"/>
              <a:gd name="connsiteX1233" fmla="*/ 6628239 w 9922465"/>
              <a:gd name="connsiteY1233" fmla="*/ 1274612 h 1934496"/>
              <a:gd name="connsiteX1234" fmla="*/ 6683431 w 9922465"/>
              <a:gd name="connsiteY1234" fmla="*/ 1219421 h 1934496"/>
              <a:gd name="connsiteX1235" fmla="*/ 6553137 w 9922465"/>
              <a:gd name="connsiteY1235" fmla="*/ 1219421 h 1934496"/>
              <a:gd name="connsiteX1236" fmla="*/ 6608329 w 9922465"/>
              <a:gd name="connsiteY1236" fmla="*/ 1274612 h 1934496"/>
              <a:gd name="connsiteX1237" fmla="*/ 6553137 w 9922465"/>
              <a:gd name="connsiteY1237" fmla="*/ 1329803 h 1934496"/>
              <a:gd name="connsiteX1238" fmla="*/ 6497945 w 9922465"/>
              <a:gd name="connsiteY1238" fmla="*/ 1274612 h 1934496"/>
              <a:gd name="connsiteX1239" fmla="*/ 6553137 w 9922465"/>
              <a:gd name="connsiteY1239" fmla="*/ 1219421 h 1934496"/>
              <a:gd name="connsiteX1240" fmla="*/ 6419502 w 9922465"/>
              <a:gd name="connsiteY1240" fmla="*/ 1219421 h 1934496"/>
              <a:gd name="connsiteX1241" fmla="*/ 6474694 w 9922465"/>
              <a:gd name="connsiteY1241" fmla="*/ 1274612 h 1934496"/>
              <a:gd name="connsiteX1242" fmla="*/ 6419502 w 9922465"/>
              <a:gd name="connsiteY1242" fmla="*/ 1329803 h 1934496"/>
              <a:gd name="connsiteX1243" fmla="*/ 6364310 w 9922465"/>
              <a:gd name="connsiteY1243" fmla="*/ 1274612 h 1934496"/>
              <a:gd name="connsiteX1244" fmla="*/ 6419502 w 9922465"/>
              <a:gd name="connsiteY1244" fmla="*/ 1219421 h 1934496"/>
              <a:gd name="connsiteX1245" fmla="*/ 6289207 w 9922465"/>
              <a:gd name="connsiteY1245" fmla="*/ 1219421 h 1934496"/>
              <a:gd name="connsiteX1246" fmla="*/ 6344399 w 9922465"/>
              <a:gd name="connsiteY1246" fmla="*/ 1274612 h 1934496"/>
              <a:gd name="connsiteX1247" fmla="*/ 6289207 w 9922465"/>
              <a:gd name="connsiteY1247" fmla="*/ 1329803 h 1934496"/>
              <a:gd name="connsiteX1248" fmla="*/ 6234015 w 9922465"/>
              <a:gd name="connsiteY1248" fmla="*/ 1274612 h 1934496"/>
              <a:gd name="connsiteX1249" fmla="*/ 6289207 w 9922465"/>
              <a:gd name="connsiteY1249" fmla="*/ 1219421 h 1934496"/>
              <a:gd name="connsiteX1250" fmla="*/ 6155573 w 9922465"/>
              <a:gd name="connsiteY1250" fmla="*/ 1219421 h 1934496"/>
              <a:gd name="connsiteX1251" fmla="*/ 6210765 w 9922465"/>
              <a:gd name="connsiteY1251" fmla="*/ 1274612 h 1934496"/>
              <a:gd name="connsiteX1252" fmla="*/ 6155573 w 9922465"/>
              <a:gd name="connsiteY1252" fmla="*/ 1329803 h 1934496"/>
              <a:gd name="connsiteX1253" fmla="*/ 6100381 w 9922465"/>
              <a:gd name="connsiteY1253" fmla="*/ 1274612 h 1934496"/>
              <a:gd name="connsiteX1254" fmla="*/ 6155573 w 9922465"/>
              <a:gd name="connsiteY1254" fmla="*/ 1219421 h 1934496"/>
              <a:gd name="connsiteX1255" fmla="*/ 6021939 w 9922465"/>
              <a:gd name="connsiteY1255" fmla="*/ 1219421 h 1934496"/>
              <a:gd name="connsiteX1256" fmla="*/ 6077131 w 9922465"/>
              <a:gd name="connsiteY1256" fmla="*/ 1274612 h 1934496"/>
              <a:gd name="connsiteX1257" fmla="*/ 6021939 w 9922465"/>
              <a:gd name="connsiteY1257" fmla="*/ 1329803 h 1934496"/>
              <a:gd name="connsiteX1258" fmla="*/ 5966747 w 9922465"/>
              <a:gd name="connsiteY1258" fmla="*/ 1274612 h 1934496"/>
              <a:gd name="connsiteX1259" fmla="*/ 6021939 w 9922465"/>
              <a:gd name="connsiteY1259" fmla="*/ 1219421 h 1934496"/>
              <a:gd name="connsiteX1260" fmla="*/ 5884964 w 9922465"/>
              <a:gd name="connsiteY1260" fmla="*/ 1219421 h 1934496"/>
              <a:gd name="connsiteX1261" fmla="*/ 5940156 w 9922465"/>
              <a:gd name="connsiteY1261" fmla="*/ 1274612 h 1934496"/>
              <a:gd name="connsiteX1262" fmla="*/ 5884964 w 9922465"/>
              <a:gd name="connsiteY1262" fmla="*/ 1329803 h 1934496"/>
              <a:gd name="connsiteX1263" fmla="*/ 5829772 w 9922465"/>
              <a:gd name="connsiteY1263" fmla="*/ 1274612 h 1934496"/>
              <a:gd name="connsiteX1264" fmla="*/ 5884964 w 9922465"/>
              <a:gd name="connsiteY1264" fmla="*/ 1219421 h 1934496"/>
              <a:gd name="connsiteX1265" fmla="*/ 5754668 w 9922465"/>
              <a:gd name="connsiteY1265" fmla="*/ 1219421 h 1934496"/>
              <a:gd name="connsiteX1266" fmla="*/ 5809860 w 9922465"/>
              <a:gd name="connsiteY1266" fmla="*/ 1274612 h 1934496"/>
              <a:gd name="connsiteX1267" fmla="*/ 5754668 w 9922465"/>
              <a:gd name="connsiteY1267" fmla="*/ 1329803 h 1934496"/>
              <a:gd name="connsiteX1268" fmla="*/ 5699476 w 9922465"/>
              <a:gd name="connsiteY1268" fmla="*/ 1274612 h 1934496"/>
              <a:gd name="connsiteX1269" fmla="*/ 5754668 w 9922465"/>
              <a:gd name="connsiteY1269" fmla="*/ 1219421 h 1934496"/>
              <a:gd name="connsiteX1270" fmla="*/ 5621034 w 9922465"/>
              <a:gd name="connsiteY1270" fmla="*/ 1219421 h 1934496"/>
              <a:gd name="connsiteX1271" fmla="*/ 5676226 w 9922465"/>
              <a:gd name="connsiteY1271" fmla="*/ 1274612 h 1934496"/>
              <a:gd name="connsiteX1272" fmla="*/ 5621034 w 9922465"/>
              <a:gd name="connsiteY1272" fmla="*/ 1329803 h 1934496"/>
              <a:gd name="connsiteX1273" fmla="*/ 5565842 w 9922465"/>
              <a:gd name="connsiteY1273" fmla="*/ 1274612 h 1934496"/>
              <a:gd name="connsiteX1274" fmla="*/ 5621034 w 9922465"/>
              <a:gd name="connsiteY1274" fmla="*/ 1219421 h 1934496"/>
              <a:gd name="connsiteX1275" fmla="*/ 5487399 w 9922465"/>
              <a:gd name="connsiteY1275" fmla="*/ 1219421 h 1934496"/>
              <a:gd name="connsiteX1276" fmla="*/ 5542591 w 9922465"/>
              <a:gd name="connsiteY1276" fmla="*/ 1274612 h 1934496"/>
              <a:gd name="connsiteX1277" fmla="*/ 5487399 w 9922465"/>
              <a:gd name="connsiteY1277" fmla="*/ 1329803 h 1934496"/>
              <a:gd name="connsiteX1278" fmla="*/ 5432207 w 9922465"/>
              <a:gd name="connsiteY1278" fmla="*/ 1274612 h 1934496"/>
              <a:gd name="connsiteX1279" fmla="*/ 5487399 w 9922465"/>
              <a:gd name="connsiteY1279" fmla="*/ 1219421 h 1934496"/>
              <a:gd name="connsiteX1280" fmla="*/ 5357106 w 9922465"/>
              <a:gd name="connsiteY1280" fmla="*/ 1219421 h 1934496"/>
              <a:gd name="connsiteX1281" fmla="*/ 5412298 w 9922465"/>
              <a:gd name="connsiteY1281" fmla="*/ 1274612 h 1934496"/>
              <a:gd name="connsiteX1282" fmla="*/ 5357106 w 9922465"/>
              <a:gd name="connsiteY1282" fmla="*/ 1329803 h 1934496"/>
              <a:gd name="connsiteX1283" fmla="*/ 5301914 w 9922465"/>
              <a:gd name="connsiteY1283" fmla="*/ 1274612 h 1934496"/>
              <a:gd name="connsiteX1284" fmla="*/ 5357106 w 9922465"/>
              <a:gd name="connsiteY1284" fmla="*/ 1219421 h 1934496"/>
              <a:gd name="connsiteX1285" fmla="*/ 5093178 w 9922465"/>
              <a:gd name="connsiteY1285" fmla="*/ 1219421 h 1934496"/>
              <a:gd name="connsiteX1286" fmla="*/ 5148370 w 9922465"/>
              <a:gd name="connsiteY1286" fmla="*/ 1274612 h 1934496"/>
              <a:gd name="connsiteX1287" fmla="*/ 5093178 w 9922465"/>
              <a:gd name="connsiteY1287" fmla="*/ 1329803 h 1934496"/>
              <a:gd name="connsiteX1288" fmla="*/ 5037986 w 9922465"/>
              <a:gd name="connsiteY1288" fmla="*/ 1274612 h 1934496"/>
              <a:gd name="connsiteX1289" fmla="*/ 5093178 w 9922465"/>
              <a:gd name="connsiteY1289" fmla="*/ 1219421 h 1934496"/>
              <a:gd name="connsiteX1290" fmla="*/ 4959542 w 9922465"/>
              <a:gd name="connsiteY1290" fmla="*/ 1219421 h 1934496"/>
              <a:gd name="connsiteX1291" fmla="*/ 5014734 w 9922465"/>
              <a:gd name="connsiteY1291" fmla="*/ 1274612 h 1934496"/>
              <a:gd name="connsiteX1292" fmla="*/ 4959542 w 9922465"/>
              <a:gd name="connsiteY1292" fmla="*/ 1329803 h 1934496"/>
              <a:gd name="connsiteX1293" fmla="*/ 4904350 w 9922465"/>
              <a:gd name="connsiteY1293" fmla="*/ 1274612 h 1934496"/>
              <a:gd name="connsiteX1294" fmla="*/ 4959542 w 9922465"/>
              <a:gd name="connsiteY1294" fmla="*/ 1219421 h 1934496"/>
              <a:gd name="connsiteX1295" fmla="*/ 4829250 w 9922465"/>
              <a:gd name="connsiteY1295" fmla="*/ 1219421 h 1934496"/>
              <a:gd name="connsiteX1296" fmla="*/ 4884442 w 9922465"/>
              <a:gd name="connsiteY1296" fmla="*/ 1274612 h 1934496"/>
              <a:gd name="connsiteX1297" fmla="*/ 4829250 w 9922465"/>
              <a:gd name="connsiteY1297" fmla="*/ 1329803 h 1934496"/>
              <a:gd name="connsiteX1298" fmla="*/ 4774058 w 9922465"/>
              <a:gd name="connsiteY1298" fmla="*/ 1274612 h 1934496"/>
              <a:gd name="connsiteX1299" fmla="*/ 4829250 w 9922465"/>
              <a:gd name="connsiteY1299" fmla="*/ 1219421 h 1934496"/>
              <a:gd name="connsiteX1300" fmla="*/ 319111 w 9922465"/>
              <a:gd name="connsiteY1300" fmla="*/ 1219421 h 1934496"/>
              <a:gd name="connsiteX1301" fmla="*/ 374305 w 9922465"/>
              <a:gd name="connsiteY1301" fmla="*/ 1274612 h 1934496"/>
              <a:gd name="connsiteX1302" fmla="*/ 319111 w 9922465"/>
              <a:gd name="connsiteY1302" fmla="*/ 1329803 h 1934496"/>
              <a:gd name="connsiteX1303" fmla="*/ 263920 w 9922465"/>
              <a:gd name="connsiteY1303" fmla="*/ 1274612 h 1934496"/>
              <a:gd name="connsiteX1304" fmla="*/ 319111 w 9922465"/>
              <a:gd name="connsiteY1304" fmla="*/ 1219421 h 1934496"/>
              <a:gd name="connsiteX1305" fmla="*/ 185480 w 9922465"/>
              <a:gd name="connsiteY1305" fmla="*/ 1219421 h 1934496"/>
              <a:gd name="connsiteX1306" fmla="*/ 240671 w 9922465"/>
              <a:gd name="connsiteY1306" fmla="*/ 1274612 h 1934496"/>
              <a:gd name="connsiteX1307" fmla="*/ 185480 w 9922465"/>
              <a:gd name="connsiteY1307" fmla="*/ 1329803 h 1934496"/>
              <a:gd name="connsiteX1308" fmla="*/ 130288 w 9922465"/>
              <a:gd name="connsiteY1308" fmla="*/ 1274612 h 1934496"/>
              <a:gd name="connsiteX1309" fmla="*/ 185480 w 9922465"/>
              <a:gd name="connsiteY1309" fmla="*/ 1219421 h 1934496"/>
              <a:gd name="connsiteX1310" fmla="*/ 449407 w 9922465"/>
              <a:gd name="connsiteY1310" fmla="*/ 1219419 h 1934496"/>
              <a:gd name="connsiteX1311" fmla="*/ 504600 w 9922465"/>
              <a:gd name="connsiteY1311" fmla="*/ 1274610 h 1934496"/>
              <a:gd name="connsiteX1312" fmla="*/ 449407 w 9922465"/>
              <a:gd name="connsiteY1312" fmla="*/ 1329801 h 1934496"/>
              <a:gd name="connsiteX1313" fmla="*/ 394214 w 9922465"/>
              <a:gd name="connsiteY1313" fmla="*/ 1274610 h 1934496"/>
              <a:gd name="connsiteX1314" fmla="*/ 449407 w 9922465"/>
              <a:gd name="connsiteY1314" fmla="*/ 1219419 h 1934496"/>
              <a:gd name="connsiteX1315" fmla="*/ 4565322 w 9922465"/>
              <a:gd name="connsiteY1315" fmla="*/ 1219417 h 1934496"/>
              <a:gd name="connsiteX1316" fmla="*/ 4620514 w 9922465"/>
              <a:gd name="connsiteY1316" fmla="*/ 1274608 h 1934496"/>
              <a:gd name="connsiteX1317" fmla="*/ 4565322 w 9922465"/>
              <a:gd name="connsiteY1317" fmla="*/ 1329799 h 1934496"/>
              <a:gd name="connsiteX1318" fmla="*/ 4510130 w 9922465"/>
              <a:gd name="connsiteY1318" fmla="*/ 1274608 h 1934496"/>
              <a:gd name="connsiteX1319" fmla="*/ 4565322 w 9922465"/>
              <a:gd name="connsiteY1319" fmla="*/ 1219417 h 1934496"/>
              <a:gd name="connsiteX1320" fmla="*/ 2834811 w 9922465"/>
              <a:gd name="connsiteY1320" fmla="*/ 1219417 h 1934496"/>
              <a:gd name="connsiteX1321" fmla="*/ 2890003 w 9922465"/>
              <a:gd name="connsiteY1321" fmla="*/ 1274608 h 1934496"/>
              <a:gd name="connsiteX1322" fmla="*/ 2834811 w 9922465"/>
              <a:gd name="connsiteY1322" fmla="*/ 1329799 h 1934496"/>
              <a:gd name="connsiteX1323" fmla="*/ 2779620 w 9922465"/>
              <a:gd name="connsiteY1323" fmla="*/ 1274608 h 1934496"/>
              <a:gd name="connsiteX1324" fmla="*/ 2834811 w 9922465"/>
              <a:gd name="connsiteY1324" fmla="*/ 1219417 h 1934496"/>
              <a:gd name="connsiteX1325" fmla="*/ 2707858 w 9922465"/>
              <a:gd name="connsiteY1325" fmla="*/ 1219417 h 1934496"/>
              <a:gd name="connsiteX1326" fmla="*/ 2763052 w 9922465"/>
              <a:gd name="connsiteY1326" fmla="*/ 1274608 h 1934496"/>
              <a:gd name="connsiteX1327" fmla="*/ 2707858 w 9922465"/>
              <a:gd name="connsiteY1327" fmla="*/ 1329799 h 1934496"/>
              <a:gd name="connsiteX1328" fmla="*/ 2652667 w 9922465"/>
              <a:gd name="connsiteY1328" fmla="*/ 1274608 h 1934496"/>
              <a:gd name="connsiteX1329" fmla="*/ 2707858 w 9922465"/>
              <a:gd name="connsiteY1329" fmla="*/ 1219417 h 1934496"/>
              <a:gd name="connsiteX1330" fmla="*/ 2570885 w 9922465"/>
              <a:gd name="connsiteY1330" fmla="*/ 1219417 h 1934496"/>
              <a:gd name="connsiteX1331" fmla="*/ 2626075 w 9922465"/>
              <a:gd name="connsiteY1331" fmla="*/ 1274608 h 1934496"/>
              <a:gd name="connsiteX1332" fmla="*/ 2570885 w 9922465"/>
              <a:gd name="connsiteY1332" fmla="*/ 1329799 h 1934496"/>
              <a:gd name="connsiteX1333" fmla="*/ 2515692 w 9922465"/>
              <a:gd name="connsiteY1333" fmla="*/ 1274608 h 1934496"/>
              <a:gd name="connsiteX1334" fmla="*/ 2570885 w 9922465"/>
              <a:gd name="connsiteY1334" fmla="*/ 1219417 h 1934496"/>
              <a:gd name="connsiteX1335" fmla="*/ 2039686 w 9922465"/>
              <a:gd name="connsiteY1335" fmla="*/ 1219417 h 1934496"/>
              <a:gd name="connsiteX1336" fmla="*/ 2094880 w 9922465"/>
              <a:gd name="connsiteY1336" fmla="*/ 1274608 h 1934496"/>
              <a:gd name="connsiteX1337" fmla="*/ 2039686 w 9922465"/>
              <a:gd name="connsiteY1337" fmla="*/ 1329799 h 1934496"/>
              <a:gd name="connsiteX1338" fmla="*/ 1984493 w 9922465"/>
              <a:gd name="connsiteY1338" fmla="*/ 1274608 h 1934496"/>
              <a:gd name="connsiteX1339" fmla="*/ 2039686 w 9922465"/>
              <a:gd name="connsiteY1339" fmla="*/ 1219417 h 1934496"/>
              <a:gd name="connsiteX1340" fmla="*/ 1909390 w 9922465"/>
              <a:gd name="connsiteY1340" fmla="*/ 1219417 h 1934496"/>
              <a:gd name="connsiteX1341" fmla="*/ 1964583 w 9922465"/>
              <a:gd name="connsiteY1341" fmla="*/ 1274608 h 1934496"/>
              <a:gd name="connsiteX1342" fmla="*/ 1909390 w 9922465"/>
              <a:gd name="connsiteY1342" fmla="*/ 1329799 h 1934496"/>
              <a:gd name="connsiteX1343" fmla="*/ 1854197 w 9922465"/>
              <a:gd name="connsiteY1343" fmla="*/ 1274608 h 1934496"/>
              <a:gd name="connsiteX1344" fmla="*/ 1909390 w 9922465"/>
              <a:gd name="connsiteY1344" fmla="*/ 1219417 h 1934496"/>
              <a:gd name="connsiteX1345" fmla="*/ 1779095 w 9922465"/>
              <a:gd name="connsiteY1345" fmla="*/ 1219417 h 1934496"/>
              <a:gd name="connsiteX1346" fmla="*/ 1834287 w 9922465"/>
              <a:gd name="connsiteY1346" fmla="*/ 1274608 h 1934496"/>
              <a:gd name="connsiteX1347" fmla="*/ 1779095 w 9922465"/>
              <a:gd name="connsiteY1347" fmla="*/ 1329799 h 1934496"/>
              <a:gd name="connsiteX1348" fmla="*/ 1723902 w 9922465"/>
              <a:gd name="connsiteY1348" fmla="*/ 1274608 h 1934496"/>
              <a:gd name="connsiteX1349" fmla="*/ 1779095 w 9922465"/>
              <a:gd name="connsiteY1349" fmla="*/ 1219417 h 1934496"/>
              <a:gd name="connsiteX1350" fmla="*/ 1645457 w 9922465"/>
              <a:gd name="connsiteY1350" fmla="*/ 1219417 h 1934496"/>
              <a:gd name="connsiteX1351" fmla="*/ 1700655 w 9922465"/>
              <a:gd name="connsiteY1351" fmla="*/ 1274608 h 1934496"/>
              <a:gd name="connsiteX1352" fmla="*/ 1645457 w 9922465"/>
              <a:gd name="connsiteY1352" fmla="*/ 1329799 h 1934496"/>
              <a:gd name="connsiteX1353" fmla="*/ 1590265 w 9922465"/>
              <a:gd name="connsiteY1353" fmla="*/ 1274608 h 1934496"/>
              <a:gd name="connsiteX1354" fmla="*/ 1645457 w 9922465"/>
              <a:gd name="connsiteY1354" fmla="*/ 1219417 h 1934496"/>
              <a:gd name="connsiteX1355" fmla="*/ 1515168 w 9922465"/>
              <a:gd name="connsiteY1355" fmla="*/ 1219417 h 1934496"/>
              <a:gd name="connsiteX1356" fmla="*/ 1570354 w 9922465"/>
              <a:gd name="connsiteY1356" fmla="*/ 1274608 h 1934496"/>
              <a:gd name="connsiteX1357" fmla="*/ 1515168 w 9922465"/>
              <a:gd name="connsiteY1357" fmla="*/ 1329799 h 1934496"/>
              <a:gd name="connsiteX1358" fmla="*/ 1459973 w 9922465"/>
              <a:gd name="connsiteY1358" fmla="*/ 1274608 h 1934496"/>
              <a:gd name="connsiteX1359" fmla="*/ 1515168 w 9922465"/>
              <a:gd name="connsiteY1359" fmla="*/ 1219417 h 1934496"/>
              <a:gd name="connsiteX1360" fmla="*/ 1381528 w 9922465"/>
              <a:gd name="connsiteY1360" fmla="*/ 1219417 h 1934496"/>
              <a:gd name="connsiteX1361" fmla="*/ 1436723 w 9922465"/>
              <a:gd name="connsiteY1361" fmla="*/ 1274608 h 1934496"/>
              <a:gd name="connsiteX1362" fmla="*/ 1381528 w 9922465"/>
              <a:gd name="connsiteY1362" fmla="*/ 1329799 h 1934496"/>
              <a:gd name="connsiteX1363" fmla="*/ 1326339 w 9922465"/>
              <a:gd name="connsiteY1363" fmla="*/ 1274608 h 1934496"/>
              <a:gd name="connsiteX1364" fmla="*/ 1381528 w 9922465"/>
              <a:gd name="connsiteY1364" fmla="*/ 1219417 h 1934496"/>
              <a:gd name="connsiteX1365" fmla="*/ 1251239 w 9922465"/>
              <a:gd name="connsiteY1365" fmla="*/ 1219417 h 1934496"/>
              <a:gd name="connsiteX1366" fmla="*/ 1306431 w 9922465"/>
              <a:gd name="connsiteY1366" fmla="*/ 1274608 h 1934496"/>
              <a:gd name="connsiteX1367" fmla="*/ 1251239 w 9922465"/>
              <a:gd name="connsiteY1367" fmla="*/ 1329799 h 1934496"/>
              <a:gd name="connsiteX1368" fmla="*/ 1196046 w 9922465"/>
              <a:gd name="connsiteY1368" fmla="*/ 1274608 h 1934496"/>
              <a:gd name="connsiteX1369" fmla="*/ 1251239 w 9922465"/>
              <a:gd name="connsiteY1369" fmla="*/ 1219417 h 1934496"/>
              <a:gd name="connsiteX1370" fmla="*/ 1117601 w 9922465"/>
              <a:gd name="connsiteY1370" fmla="*/ 1219417 h 1934496"/>
              <a:gd name="connsiteX1371" fmla="*/ 1172794 w 9922465"/>
              <a:gd name="connsiteY1371" fmla="*/ 1274608 h 1934496"/>
              <a:gd name="connsiteX1372" fmla="*/ 1117601 w 9922465"/>
              <a:gd name="connsiteY1372" fmla="*/ 1329799 h 1934496"/>
              <a:gd name="connsiteX1373" fmla="*/ 1062408 w 9922465"/>
              <a:gd name="connsiteY1373" fmla="*/ 1274608 h 1934496"/>
              <a:gd name="connsiteX1374" fmla="*/ 1117601 w 9922465"/>
              <a:gd name="connsiteY1374" fmla="*/ 1219417 h 1934496"/>
              <a:gd name="connsiteX1375" fmla="*/ 980622 w 9922465"/>
              <a:gd name="connsiteY1375" fmla="*/ 1219417 h 1934496"/>
              <a:gd name="connsiteX1376" fmla="*/ 1035816 w 9922465"/>
              <a:gd name="connsiteY1376" fmla="*/ 1274608 h 1934496"/>
              <a:gd name="connsiteX1377" fmla="*/ 980622 w 9922465"/>
              <a:gd name="connsiteY1377" fmla="*/ 1329799 h 1934496"/>
              <a:gd name="connsiteX1378" fmla="*/ 925429 w 9922465"/>
              <a:gd name="connsiteY1378" fmla="*/ 1274608 h 1934496"/>
              <a:gd name="connsiteX1379" fmla="*/ 980622 w 9922465"/>
              <a:gd name="connsiteY1379" fmla="*/ 1219417 h 1934496"/>
              <a:gd name="connsiteX1380" fmla="*/ 9469710 w 9922465"/>
              <a:gd name="connsiteY1380" fmla="*/ 1099147 h 1934496"/>
              <a:gd name="connsiteX1381" fmla="*/ 9524902 w 9922465"/>
              <a:gd name="connsiteY1381" fmla="*/ 1154338 h 1934496"/>
              <a:gd name="connsiteX1382" fmla="*/ 9469710 w 9922465"/>
              <a:gd name="connsiteY1382" fmla="*/ 1209529 h 1934496"/>
              <a:gd name="connsiteX1383" fmla="*/ 9414518 w 9922465"/>
              <a:gd name="connsiteY1383" fmla="*/ 1154338 h 1934496"/>
              <a:gd name="connsiteX1384" fmla="*/ 9469710 w 9922465"/>
              <a:gd name="connsiteY1384" fmla="*/ 1099147 h 1934496"/>
              <a:gd name="connsiteX1385" fmla="*/ 9336075 w 9922465"/>
              <a:gd name="connsiteY1385" fmla="*/ 1099147 h 1934496"/>
              <a:gd name="connsiteX1386" fmla="*/ 9391267 w 9922465"/>
              <a:gd name="connsiteY1386" fmla="*/ 1154338 h 1934496"/>
              <a:gd name="connsiteX1387" fmla="*/ 9336075 w 9922465"/>
              <a:gd name="connsiteY1387" fmla="*/ 1209529 h 1934496"/>
              <a:gd name="connsiteX1388" fmla="*/ 9280883 w 9922465"/>
              <a:gd name="connsiteY1388" fmla="*/ 1154338 h 1934496"/>
              <a:gd name="connsiteX1389" fmla="*/ 9336075 w 9922465"/>
              <a:gd name="connsiteY1389" fmla="*/ 1099147 h 1934496"/>
              <a:gd name="connsiteX1390" fmla="*/ 9199100 w 9922465"/>
              <a:gd name="connsiteY1390" fmla="*/ 1099147 h 1934496"/>
              <a:gd name="connsiteX1391" fmla="*/ 9254292 w 9922465"/>
              <a:gd name="connsiteY1391" fmla="*/ 1154338 h 1934496"/>
              <a:gd name="connsiteX1392" fmla="*/ 9199100 w 9922465"/>
              <a:gd name="connsiteY1392" fmla="*/ 1209529 h 1934496"/>
              <a:gd name="connsiteX1393" fmla="*/ 9143908 w 9922465"/>
              <a:gd name="connsiteY1393" fmla="*/ 1154338 h 1934496"/>
              <a:gd name="connsiteX1394" fmla="*/ 9199100 w 9922465"/>
              <a:gd name="connsiteY1394" fmla="*/ 1099147 h 1934496"/>
              <a:gd name="connsiteX1395" fmla="*/ 9068805 w 9922465"/>
              <a:gd name="connsiteY1395" fmla="*/ 1099147 h 1934496"/>
              <a:gd name="connsiteX1396" fmla="*/ 9123997 w 9922465"/>
              <a:gd name="connsiteY1396" fmla="*/ 1154338 h 1934496"/>
              <a:gd name="connsiteX1397" fmla="*/ 9068805 w 9922465"/>
              <a:gd name="connsiteY1397" fmla="*/ 1209529 h 1934496"/>
              <a:gd name="connsiteX1398" fmla="*/ 9013613 w 9922465"/>
              <a:gd name="connsiteY1398" fmla="*/ 1154338 h 1934496"/>
              <a:gd name="connsiteX1399" fmla="*/ 9068805 w 9922465"/>
              <a:gd name="connsiteY1399" fmla="*/ 1099147 h 1934496"/>
              <a:gd name="connsiteX1400" fmla="*/ 8935170 w 9922465"/>
              <a:gd name="connsiteY1400" fmla="*/ 1099147 h 1934496"/>
              <a:gd name="connsiteX1401" fmla="*/ 8990362 w 9922465"/>
              <a:gd name="connsiteY1401" fmla="*/ 1154338 h 1934496"/>
              <a:gd name="connsiteX1402" fmla="*/ 8935170 w 9922465"/>
              <a:gd name="connsiteY1402" fmla="*/ 1209529 h 1934496"/>
              <a:gd name="connsiteX1403" fmla="*/ 8879978 w 9922465"/>
              <a:gd name="connsiteY1403" fmla="*/ 1154338 h 1934496"/>
              <a:gd name="connsiteX1404" fmla="*/ 8935170 w 9922465"/>
              <a:gd name="connsiteY1404" fmla="*/ 1099147 h 1934496"/>
              <a:gd name="connsiteX1405" fmla="*/ 8801536 w 9922465"/>
              <a:gd name="connsiteY1405" fmla="*/ 1099147 h 1934496"/>
              <a:gd name="connsiteX1406" fmla="*/ 8856728 w 9922465"/>
              <a:gd name="connsiteY1406" fmla="*/ 1154338 h 1934496"/>
              <a:gd name="connsiteX1407" fmla="*/ 8801536 w 9922465"/>
              <a:gd name="connsiteY1407" fmla="*/ 1209529 h 1934496"/>
              <a:gd name="connsiteX1408" fmla="*/ 8746344 w 9922465"/>
              <a:gd name="connsiteY1408" fmla="*/ 1154338 h 1934496"/>
              <a:gd name="connsiteX1409" fmla="*/ 8801536 w 9922465"/>
              <a:gd name="connsiteY1409" fmla="*/ 1099147 h 1934496"/>
              <a:gd name="connsiteX1410" fmla="*/ 8671243 w 9922465"/>
              <a:gd name="connsiteY1410" fmla="*/ 1099147 h 1934496"/>
              <a:gd name="connsiteX1411" fmla="*/ 8726435 w 9922465"/>
              <a:gd name="connsiteY1411" fmla="*/ 1154338 h 1934496"/>
              <a:gd name="connsiteX1412" fmla="*/ 8671243 w 9922465"/>
              <a:gd name="connsiteY1412" fmla="*/ 1209529 h 1934496"/>
              <a:gd name="connsiteX1413" fmla="*/ 8616051 w 9922465"/>
              <a:gd name="connsiteY1413" fmla="*/ 1154338 h 1934496"/>
              <a:gd name="connsiteX1414" fmla="*/ 8671243 w 9922465"/>
              <a:gd name="connsiteY1414" fmla="*/ 1099147 h 1934496"/>
              <a:gd name="connsiteX1415" fmla="*/ 8537609 w 9922465"/>
              <a:gd name="connsiteY1415" fmla="*/ 1099147 h 1934496"/>
              <a:gd name="connsiteX1416" fmla="*/ 8592801 w 9922465"/>
              <a:gd name="connsiteY1416" fmla="*/ 1154338 h 1934496"/>
              <a:gd name="connsiteX1417" fmla="*/ 8537609 w 9922465"/>
              <a:gd name="connsiteY1417" fmla="*/ 1209529 h 1934496"/>
              <a:gd name="connsiteX1418" fmla="*/ 8482417 w 9922465"/>
              <a:gd name="connsiteY1418" fmla="*/ 1154338 h 1934496"/>
              <a:gd name="connsiteX1419" fmla="*/ 8537609 w 9922465"/>
              <a:gd name="connsiteY1419" fmla="*/ 1099147 h 1934496"/>
              <a:gd name="connsiteX1420" fmla="*/ 8407315 w 9922465"/>
              <a:gd name="connsiteY1420" fmla="*/ 1099147 h 1934496"/>
              <a:gd name="connsiteX1421" fmla="*/ 8462507 w 9922465"/>
              <a:gd name="connsiteY1421" fmla="*/ 1154338 h 1934496"/>
              <a:gd name="connsiteX1422" fmla="*/ 8407315 w 9922465"/>
              <a:gd name="connsiteY1422" fmla="*/ 1209529 h 1934496"/>
              <a:gd name="connsiteX1423" fmla="*/ 8352123 w 9922465"/>
              <a:gd name="connsiteY1423" fmla="*/ 1154338 h 1934496"/>
              <a:gd name="connsiteX1424" fmla="*/ 8407315 w 9922465"/>
              <a:gd name="connsiteY1424" fmla="*/ 1099147 h 1934496"/>
              <a:gd name="connsiteX1425" fmla="*/ 8273681 w 9922465"/>
              <a:gd name="connsiteY1425" fmla="*/ 1099147 h 1934496"/>
              <a:gd name="connsiteX1426" fmla="*/ 8328873 w 9922465"/>
              <a:gd name="connsiteY1426" fmla="*/ 1154338 h 1934496"/>
              <a:gd name="connsiteX1427" fmla="*/ 8273681 w 9922465"/>
              <a:gd name="connsiteY1427" fmla="*/ 1209529 h 1934496"/>
              <a:gd name="connsiteX1428" fmla="*/ 8218489 w 9922465"/>
              <a:gd name="connsiteY1428" fmla="*/ 1154338 h 1934496"/>
              <a:gd name="connsiteX1429" fmla="*/ 8273681 w 9922465"/>
              <a:gd name="connsiteY1429" fmla="*/ 1099147 h 1934496"/>
              <a:gd name="connsiteX1430" fmla="*/ 8143386 w 9922465"/>
              <a:gd name="connsiteY1430" fmla="*/ 1099147 h 1934496"/>
              <a:gd name="connsiteX1431" fmla="*/ 8198578 w 9922465"/>
              <a:gd name="connsiteY1431" fmla="*/ 1154338 h 1934496"/>
              <a:gd name="connsiteX1432" fmla="*/ 8143386 w 9922465"/>
              <a:gd name="connsiteY1432" fmla="*/ 1209529 h 1934496"/>
              <a:gd name="connsiteX1433" fmla="*/ 8088194 w 9922465"/>
              <a:gd name="connsiteY1433" fmla="*/ 1154338 h 1934496"/>
              <a:gd name="connsiteX1434" fmla="*/ 8143386 w 9922465"/>
              <a:gd name="connsiteY1434" fmla="*/ 1099147 h 1934496"/>
              <a:gd name="connsiteX1435" fmla="*/ 8009752 w 9922465"/>
              <a:gd name="connsiteY1435" fmla="*/ 1099147 h 1934496"/>
              <a:gd name="connsiteX1436" fmla="*/ 8064944 w 9922465"/>
              <a:gd name="connsiteY1436" fmla="*/ 1154338 h 1934496"/>
              <a:gd name="connsiteX1437" fmla="*/ 8009752 w 9922465"/>
              <a:gd name="connsiteY1437" fmla="*/ 1209529 h 1934496"/>
              <a:gd name="connsiteX1438" fmla="*/ 7954560 w 9922465"/>
              <a:gd name="connsiteY1438" fmla="*/ 1154338 h 1934496"/>
              <a:gd name="connsiteX1439" fmla="*/ 8009752 w 9922465"/>
              <a:gd name="connsiteY1439" fmla="*/ 1099147 h 1934496"/>
              <a:gd name="connsiteX1440" fmla="*/ 7876117 w 9922465"/>
              <a:gd name="connsiteY1440" fmla="*/ 1099147 h 1934496"/>
              <a:gd name="connsiteX1441" fmla="*/ 7931309 w 9922465"/>
              <a:gd name="connsiteY1441" fmla="*/ 1154338 h 1934496"/>
              <a:gd name="connsiteX1442" fmla="*/ 7876117 w 9922465"/>
              <a:gd name="connsiteY1442" fmla="*/ 1209529 h 1934496"/>
              <a:gd name="connsiteX1443" fmla="*/ 7820925 w 9922465"/>
              <a:gd name="connsiteY1443" fmla="*/ 1154338 h 1934496"/>
              <a:gd name="connsiteX1444" fmla="*/ 7876117 w 9922465"/>
              <a:gd name="connsiteY1444" fmla="*/ 1099147 h 1934496"/>
              <a:gd name="connsiteX1445" fmla="*/ 7745822 w 9922465"/>
              <a:gd name="connsiteY1445" fmla="*/ 1099147 h 1934496"/>
              <a:gd name="connsiteX1446" fmla="*/ 7801014 w 9922465"/>
              <a:gd name="connsiteY1446" fmla="*/ 1154338 h 1934496"/>
              <a:gd name="connsiteX1447" fmla="*/ 7745822 w 9922465"/>
              <a:gd name="connsiteY1447" fmla="*/ 1209529 h 1934496"/>
              <a:gd name="connsiteX1448" fmla="*/ 7690630 w 9922465"/>
              <a:gd name="connsiteY1448" fmla="*/ 1154338 h 1934496"/>
              <a:gd name="connsiteX1449" fmla="*/ 7745822 w 9922465"/>
              <a:gd name="connsiteY1449" fmla="*/ 1099147 h 1934496"/>
              <a:gd name="connsiteX1450" fmla="*/ 7608847 w 9922465"/>
              <a:gd name="connsiteY1450" fmla="*/ 1099147 h 1934496"/>
              <a:gd name="connsiteX1451" fmla="*/ 7664039 w 9922465"/>
              <a:gd name="connsiteY1451" fmla="*/ 1154338 h 1934496"/>
              <a:gd name="connsiteX1452" fmla="*/ 7608847 w 9922465"/>
              <a:gd name="connsiteY1452" fmla="*/ 1209529 h 1934496"/>
              <a:gd name="connsiteX1453" fmla="*/ 7553655 w 9922465"/>
              <a:gd name="connsiteY1453" fmla="*/ 1154338 h 1934496"/>
              <a:gd name="connsiteX1454" fmla="*/ 7608847 w 9922465"/>
              <a:gd name="connsiteY1454" fmla="*/ 1099147 h 1934496"/>
              <a:gd name="connsiteX1455" fmla="*/ 7481895 w 9922465"/>
              <a:gd name="connsiteY1455" fmla="*/ 1099147 h 1934496"/>
              <a:gd name="connsiteX1456" fmla="*/ 7537087 w 9922465"/>
              <a:gd name="connsiteY1456" fmla="*/ 1154338 h 1934496"/>
              <a:gd name="connsiteX1457" fmla="*/ 7481895 w 9922465"/>
              <a:gd name="connsiteY1457" fmla="*/ 1209529 h 1934496"/>
              <a:gd name="connsiteX1458" fmla="*/ 7426703 w 9922465"/>
              <a:gd name="connsiteY1458" fmla="*/ 1154338 h 1934496"/>
              <a:gd name="connsiteX1459" fmla="*/ 7481895 w 9922465"/>
              <a:gd name="connsiteY1459" fmla="*/ 1099147 h 1934496"/>
              <a:gd name="connsiteX1460" fmla="*/ 7341578 w 9922465"/>
              <a:gd name="connsiteY1460" fmla="*/ 1099147 h 1934496"/>
              <a:gd name="connsiteX1461" fmla="*/ 7396770 w 9922465"/>
              <a:gd name="connsiteY1461" fmla="*/ 1154338 h 1934496"/>
              <a:gd name="connsiteX1462" fmla="*/ 7341578 w 9922465"/>
              <a:gd name="connsiteY1462" fmla="*/ 1209529 h 1934496"/>
              <a:gd name="connsiteX1463" fmla="*/ 7286386 w 9922465"/>
              <a:gd name="connsiteY1463" fmla="*/ 1154338 h 1934496"/>
              <a:gd name="connsiteX1464" fmla="*/ 7341578 w 9922465"/>
              <a:gd name="connsiteY1464" fmla="*/ 1099147 h 1934496"/>
              <a:gd name="connsiteX1465" fmla="*/ 7211285 w 9922465"/>
              <a:gd name="connsiteY1465" fmla="*/ 1099147 h 1934496"/>
              <a:gd name="connsiteX1466" fmla="*/ 7266477 w 9922465"/>
              <a:gd name="connsiteY1466" fmla="*/ 1154338 h 1934496"/>
              <a:gd name="connsiteX1467" fmla="*/ 7211285 w 9922465"/>
              <a:gd name="connsiteY1467" fmla="*/ 1209529 h 1934496"/>
              <a:gd name="connsiteX1468" fmla="*/ 7156093 w 9922465"/>
              <a:gd name="connsiteY1468" fmla="*/ 1154338 h 1934496"/>
              <a:gd name="connsiteX1469" fmla="*/ 7211285 w 9922465"/>
              <a:gd name="connsiteY1469" fmla="*/ 1099147 h 1934496"/>
              <a:gd name="connsiteX1470" fmla="*/ 7080991 w 9922465"/>
              <a:gd name="connsiteY1470" fmla="*/ 1099147 h 1934496"/>
              <a:gd name="connsiteX1471" fmla="*/ 7136183 w 9922465"/>
              <a:gd name="connsiteY1471" fmla="*/ 1154338 h 1934496"/>
              <a:gd name="connsiteX1472" fmla="*/ 7080991 w 9922465"/>
              <a:gd name="connsiteY1472" fmla="*/ 1209529 h 1934496"/>
              <a:gd name="connsiteX1473" fmla="*/ 7025799 w 9922465"/>
              <a:gd name="connsiteY1473" fmla="*/ 1154338 h 1934496"/>
              <a:gd name="connsiteX1474" fmla="*/ 7080991 w 9922465"/>
              <a:gd name="connsiteY1474" fmla="*/ 1099147 h 1934496"/>
              <a:gd name="connsiteX1475" fmla="*/ 6947356 w 9922465"/>
              <a:gd name="connsiteY1475" fmla="*/ 1099147 h 1934496"/>
              <a:gd name="connsiteX1476" fmla="*/ 7002548 w 9922465"/>
              <a:gd name="connsiteY1476" fmla="*/ 1154338 h 1934496"/>
              <a:gd name="connsiteX1477" fmla="*/ 6947356 w 9922465"/>
              <a:gd name="connsiteY1477" fmla="*/ 1209529 h 1934496"/>
              <a:gd name="connsiteX1478" fmla="*/ 6892164 w 9922465"/>
              <a:gd name="connsiteY1478" fmla="*/ 1154338 h 1934496"/>
              <a:gd name="connsiteX1479" fmla="*/ 6947356 w 9922465"/>
              <a:gd name="connsiteY1479" fmla="*/ 1099147 h 1934496"/>
              <a:gd name="connsiteX1480" fmla="*/ 6817063 w 9922465"/>
              <a:gd name="connsiteY1480" fmla="*/ 1099147 h 1934496"/>
              <a:gd name="connsiteX1481" fmla="*/ 6872255 w 9922465"/>
              <a:gd name="connsiteY1481" fmla="*/ 1154338 h 1934496"/>
              <a:gd name="connsiteX1482" fmla="*/ 6817063 w 9922465"/>
              <a:gd name="connsiteY1482" fmla="*/ 1209529 h 1934496"/>
              <a:gd name="connsiteX1483" fmla="*/ 6761871 w 9922465"/>
              <a:gd name="connsiteY1483" fmla="*/ 1154338 h 1934496"/>
              <a:gd name="connsiteX1484" fmla="*/ 6817063 w 9922465"/>
              <a:gd name="connsiteY1484" fmla="*/ 1099147 h 1934496"/>
              <a:gd name="connsiteX1485" fmla="*/ 6683430 w 9922465"/>
              <a:gd name="connsiteY1485" fmla="*/ 1099147 h 1934496"/>
              <a:gd name="connsiteX1486" fmla="*/ 6738622 w 9922465"/>
              <a:gd name="connsiteY1486" fmla="*/ 1154338 h 1934496"/>
              <a:gd name="connsiteX1487" fmla="*/ 6683430 w 9922465"/>
              <a:gd name="connsiteY1487" fmla="*/ 1209529 h 1934496"/>
              <a:gd name="connsiteX1488" fmla="*/ 6628238 w 9922465"/>
              <a:gd name="connsiteY1488" fmla="*/ 1154338 h 1934496"/>
              <a:gd name="connsiteX1489" fmla="*/ 6683430 w 9922465"/>
              <a:gd name="connsiteY1489" fmla="*/ 1099147 h 1934496"/>
              <a:gd name="connsiteX1490" fmla="*/ 6553135 w 9922465"/>
              <a:gd name="connsiteY1490" fmla="*/ 1099147 h 1934496"/>
              <a:gd name="connsiteX1491" fmla="*/ 6608327 w 9922465"/>
              <a:gd name="connsiteY1491" fmla="*/ 1154338 h 1934496"/>
              <a:gd name="connsiteX1492" fmla="*/ 6553135 w 9922465"/>
              <a:gd name="connsiteY1492" fmla="*/ 1209529 h 1934496"/>
              <a:gd name="connsiteX1493" fmla="*/ 6497943 w 9922465"/>
              <a:gd name="connsiteY1493" fmla="*/ 1154338 h 1934496"/>
              <a:gd name="connsiteX1494" fmla="*/ 6553135 w 9922465"/>
              <a:gd name="connsiteY1494" fmla="*/ 1099147 h 1934496"/>
              <a:gd name="connsiteX1495" fmla="*/ 6419501 w 9922465"/>
              <a:gd name="connsiteY1495" fmla="*/ 1099147 h 1934496"/>
              <a:gd name="connsiteX1496" fmla="*/ 6474693 w 9922465"/>
              <a:gd name="connsiteY1496" fmla="*/ 1154338 h 1934496"/>
              <a:gd name="connsiteX1497" fmla="*/ 6419501 w 9922465"/>
              <a:gd name="connsiteY1497" fmla="*/ 1209529 h 1934496"/>
              <a:gd name="connsiteX1498" fmla="*/ 6364309 w 9922465"/>
              <a:gd name="connsiteY1498" fmla="*/ 1154338 h 1934496"/>
              <a:gd name="connsiteX1499" fmla="*/ 6419501 w 9922465"/>
              <a:gd name="connsiteY1499" fmla="*/ 1099147 h 1934496"/>
              <a:gd name="connsiteX1500" fmla="*/ 6289206 w 9922465"/>
              <a:gd name="connsiteY1500" fmla="*/ 1099147 h 1934496"/>
              <a:gd name="connsiteX1501" fmla="*/ 6344398 w 9922465"/>
              <a:gd name="connsiteY1501" fmla="*/ 1154338 h 1934496"/>
              <a:gd name="connsiteX1502" fmla="*/ 6289206 w 9922465"/>
              <a:gd name="connsiteY1502" fmla="*/ 1209529 h 1934496"/>
              <a:gd name="connsiteX1503" fmla="*/ 6234014 w 9922465"/>
              <a:gd name="connsiteY1503" fmla="*/ 1154338 h 1934496"/>
              <a:gd name="connsiteX1504" fmla="*/ 6289206 w 9922465"/>
              <a:gd name="connsiteY1504" fmla="*/ 1099147 h 1934496"/>
              <a:gd name="connsiteX1505" fmla="*/ 6155571 w 9922465"/>
              <a:gd name="connsiteY1505" fmla="*/ 1099147 h 1934496"/>
              <a:gd name="connsiteX1506" fmla="*/ 6210763 w 9922465"/>
              <a:gd name="connsiteY1506" fmla="*/ 1154338 h 1934496"/>
              <a:gd name="connsiteX1507" fmla="*/ 6155571 w 9922465"/>
              <a:gd name="connsiteY1507" fmla="*/ 1209529 h 1934496"/>
              <a:gd name="connsiteX1508" fmla="*/ 6100379 w 9922465"/>
              <a:gd name="connsiteY1508" fmla="*/ 1154338 h 1934496"/>
              <a:gd name="connsiteX1509" fmla="*/ 6155571 w 9922465"/>
              <a:gd name="connsiteY1509" fmla="*/ 1099147 h 1934496"/>
              <a:gd name="connsiteX1510" fmla="*/ 6021938 w 9922465"/>
              <a:gd name="connsiteY1510" fmla="*/ 1099147 h 1934496"/>
              <a:gd name="connsiteX1511" fmla="*/ 6077130 w 9922465"/>
              <a:gd name="connsiteY1511" fmla="*/ 1154338 h 1934496"/>
              <a:gd name="connsiteX1512" fmla="*/ 6021938 w 9922465"/>
              <a:gd name="connsiteY1512" fmla="*/ 1209529 h 1934496"/>
              <a:gd name="connsiteX1513" fmla="*/ 5966746 w 9922465"/>
              <a:gd name="connsiteY1513" fmla="*/ 1154338 h 1934496"/>
              <a:gd name="connsiteX1514" fmla="*/ 6021938 w 9922465"/>
              <a:gd name="connsiteY1514" fmla="*/ 1099147 h 1934496"/>
              <a:gd name="connsiteX1515" fmla="*/ 5884963 w 9922465"/>
              <a:gd name="connsiteY1515" fmla="*/ 1099147 h 1934496"/>
              <a:gd name="connsiteX1516" fmla="*/ 5940155 w 9922465"/>
              <a:gd name="connsiteY1516" fmla="*/ 1154338 h 1934496"/>
              <a:gd name="connsiteX1517" fmla="*/ 5884963 w 9922465"/>
              <a:gd name="connsiteY1517" fmla="*/ 1209529 h 1934496"/>
              <a:gd name="connsiteX1518" fmla="*/ 5829771 w 9922465"/>
              <a:gd name="connsiteY1518" fmla="*/ 1154338 h 1934496"/>
              <a:gd name="connsiteX1519" fmla="*/ 5884963 w 9922465"/>
              <a:gd name="connsiteY1519" fmla="*/ 1099147 h 1934496"/>
              <a:gd name="connsiteX1520" fmla="*/ 5754668 w 9922465"/>
              <a:gd name="connsiteY1520" fmla="*/ 1099147 h 1934496"/>
              <a:gd name="connsiteX1521" fmla="*/ 5809860 w 9922465"/>
              <a:gd name="connsiteY1521" fmla="*/ 1154338 h 1934496"/>
              <a:gd name="connsiteX1522" fmla="*/ 5754668 w 9922465"/>
              <a:gd name="connsiteY1522" fmla="*/ 1209529 h 1934496"/>
              <a:gd name="connsiteX1523" fmla="*/ 5699476 w 9922465"/>
              <a:gd name="connsiteY1523" fmla="*/ 1154338 h 1934496"/>
              <a:gd name="connsiteX1524" fmla="*/ 5754668 w 9922465"/>
              <a:gd name="connsiteY1524" fmla="*/ 1099147 h 1934496"/>
              <a:gd name="connsiteX1525" fmla="*/ 5621031 w 9922465"/>
              <a:gd name="connsiteY1525" fmla="*/ 1099147 h 1934496"/>
              <a:gd name="connsiteX1526" fmla="*/ 5676223 w 9922465"/>
              <a:gd name="connsiteY1526" fmla="*/ 1154338 h 1934496"/>
              <a:gd name="connsiteX1527" fmla="*/ 5621031 w 9922465"/>
              <a:gd name="connsiteY1527" fmla="*/ 1209529 h 1934496"/>
              <a:gd name="connsiteX1528" fmla="*/ 5565839 w 9922465"/>
              <a:gd name="connsiteY1528" fmla="*/ 1154338 h 1934496"/>
              <a:gd name="connsiteX1529" fmla="*/ 5621031 w 9922465"/>
              <a:gd name="connsiteY1529" fmla="*/ 1099147 h 1934496"/>
              <a:gd name="connsiteX1530" fmla="*/ 5487398 w 9922465"/>
              <a:gd name="connsiteY1530" fmla="*/ 1099147 h 1934496"/>
              <a:gd name="connsiteX1531" fmla="*/ 5542590 w 9922465"/>
              <a:gd name="connsiteY1531" fmla="*/ 1154338 h 1934496"/>
              <a:gd name="connsiteX1532" fmla="*/ 5487398 w 9922465"/>
              <a:gd name="connsiteY1532" fmla="*/ 1209529 h 1934496"/>
              <a:gd name="connsiteX1533" fmla="*/ 5432206 w 9922465"/>
              <a:gd name="connsiteY1533" fmla="*/ 1154338 h 1934496"/>
              <a:gd name="connsiteX1534" fmla="*/ 5487398 w 9922465"/>
              <a:gd name="connsiteY1534" fmla="*/ 1099147 h 1934496"/>
              <a:gd name="connsiteX1535" fmla="*/ 5357105 w 9922465"/>
              <a:gd name="connsiteY1535" fmla="*/ 1099147 h 1934496"/>
              <a:gd name="connsiteX1536" fmla="*/ 5412297 w 9922465"/>
              <a:gd name="connsiteY1536" fmla="*/ 1154338 h 1934496"/>
              <a:gd name="connsiteX1537" fmla="*/ 5357105 w 9922465"/>
              <a:gd name="connsiteY1537" fmla="*/ 1209529 h 1934496"/>
              <a:gd name="connsiteX1538" fmla="*/ 5301913 w 9922465"/>
              <a:gd name="connsiteY1538" fmla="*/ 1154338 h 1934496"/>
              <a:gd name="connsiteX1539" fmla="*/ 5357105 w 9922465"/>
              <a:gd name="connsiteY1539" fmla="*/ 1099147 h 1934496"/>
              <a:gd name="connsiteX1540" fmla="*/ 5093176 w 9922465"/>
              <a:gd name="connsiteY1540" fmla="*/ 1099147 h 1934496"/>
              <a:gd name="connsiteX1541" fmla="*/ 5148368 w 9922465"/>
              <a:gd name="connsiteY1541" fmla="*/ 1154338 h 1934496"/>
              <a:gd name="connsiteX1542" fmla="*/ 5093176 w 9922465"/>
              <a:gd name="connsiteY1542" fmla="*/ 1209529 h 1934496"/>
              <a:gd name="connsiteX1543" fmla="*/ 5037984 w 9922465"/>
              <a:gd name="connsiteY1543" fmla="*/ 1154338 h 1934496"/>
              <a:gd name="connsiteX1544" fmla="*/ 5093176 w 9922465"/>
              <a:gd name="connsiteY1544" fmla="*/ 1099147 h 1934496"/>
              <a:gd name="connsiteX1545" fmla="*/ 4959540 w 9922465"/>
              <a:gd name="connsiteY1545" fmla="*/ 1099147 h 1934496"/>
              <a:gd name="connsiteX1546" fmla="*/ 5014732 w 9922465"/>
              <a:gd name="connsiteY1546" fmla="*/ 1154338 h 1934496"/>
              <a:gd name="connsiteX1547" fmla="*/ 4959540 w 9922465"/>
              <a:gd name="connsiteY1547" fmla="*/ 1209529 h 1934496"/>
              <a:gd name="connsiteX1548" fmla="*/ 4904348 w 9922465"/>
              <a:gd name="connsiteY1548" fmla="*/ 1154338 h 1934496"/>
              <a:gd name="connsiteX1549" fmla="*/ 4959540 w 9922465"/>
              <a:gd name="connsiteY1549" fmla="*/ 1099147 h 1934496"/>
              <a:gd name="connsiteX1550" fmla="*/ 4829246 w 9922465"/>
              <a:gd name="connsiteY1550" fmla="*/ 1099147 h 1934496"/>
              <a:gd name="connsiteX1551" fmla="*/ 4884438 w 9922465"/>
              <a:gd name="connsiteY1551" fmla="*/ 1154338 h 1934496"/>
              <a:gd name="connsiteX1552" fmla="*/ 4829246 w 9922465"/>
              <a:gd name="connsiteY1552" fmla="*/ 1209529 h 1934496"/>
              <a:gd name="connsiteX1553" fmla="*/ 4774054 w 9922465"/>
              <a:gd name="connsiteY1553" fmla="*/ 1154338 h 1934496"/>
              <a:gd name="connsiteX1554" fmla="*/ 4829246 w 9922465"/>
              <a:gd name="connsiteY1554" fmla="*/ 1099147 h 1934496"/>
              <a:gd name="connsiteX1555" fmla="*/ 319117 w 9922465"/>
              <a:gd name="connsiteY1555" fmla="*/ 1099147 h 1934496"/>
              <a:gd name="connsiteX1556" fmla="*/ 374310 w 9922465"/>
              <a:gd name="connsiteY1556" fmla="*/ 1154338 h 1934496"/>
              <a:gd name="connsiteX1557" fmla="*/ 319117 w 9922465"/>
              <a:gd name="connsiteY1557" fmla="*/ 1209529 h 1934496"/>
              <a:gd name="connsiteX1558" fmla="*/ 263926 w 9922465"/>
              <a:gd name="connsiteY1558" fmla="*/ 1154338 h 1934496"/>
              <a:gd name="connsiteX1559" fmla="*/ 319117 w 9922465"/>
              <a:gd name="connsiteY1559" fmla="*/ 1099147 h 1934496"/>
              <a:gd name="connsiteX1560" fmla="*/ 185484 w 9922465"/>
              <a:gd name="connsiteY1560" fmla="*/ 1099147 h 1934496"/>
              <a:gd name="connsiteX1561" fmla="*/ 240675 w 9922465"/>
              <a:gd name="connsiteY1561" fmla="*/ 1154338 h 1934496"/>
              <a:gd name="connsiteX1562" fmla="*/ 185484 w 9922465"/>
              <a:gd name="connsiteY1562" fmla="*/ 1209529 h 1934496"/>
              <a:gd name="connsiteX1563" fmla="*/ 130292 w 9922465"/>
              <a:gd name="connsiteY1563" fmla="*/ 1154338 h 1934496"/>
              <a:gd name="connsiteX1564" fmla="*/ 185484 w 9922465"/>
              <a:gd name="connsiteY1564" fmla="*/ 1099147 h 1934496"/>
              <a:gd name="connsiteX1565" fmla="*/ 55190 w 9922465"/>
              <a:gd name="connsiteY1565" fmla="*/ 1099147 h 1934496"/>
              <a:gd name="connsiteX1566" fmla="*/ 110381 w 9922465"/>
              <a:gd name="connsiteY1566" fmla="*/ 1154338 h 1934496"/>
              <a:gd name="connsiteX1567" fmla="*/ 55190 w 9922465"/>
              <a:gd name="connsiteY1567" fmla="*/ 1209529 h 1934496"/>
              <a:gd name="connsiteX1568" fmla="*/ 0 w 9922465"/>
              <a:gd name="connsiteY1568" fmla="*/ 1154338 h 1934496"/>
              <a:gd name="connsiteX1569" fmla="*/ 55190 w 9922465"/>
              <a:gd name="connsiteY1569" fmla="*/ 1099147 h 1934496"/>
              <a:gd name="connsiteX1570" fmla="*/ 3499584 w 9922465"/>
              <a:gd name="connsiteY1570" fmla="*/ 1099146 h 1934496"/>
              <a:gd name="connsiteX1571" fmla="*/ 3554776 w 9922465"/>
              <a:gd name="connsiteY1571" fmla="*/ 1154337 h 1934496"/>
              <a:gd name="connsiteX1572" fmla="*/ 3499584 w 9922465"/>
              <a:gd name="connsiteY1572" fmla="*/ 1209528 h 1934496"/>
              <a:gd name="connsiteX1573" fmla="*/ 3444392 w 9922465"/>
              <a:gd name="connsiteY1573" fmla="*/ 1154337 h 1934496"/>
              <a:gd name="connsiteX1574" fmla="*/ 3499584 w 9922465"/>
              <a:gd name="connsiteY1574" fmla="*/ 1099146 h 1934496"/>
              <a:gd name="connsiteX1575" fmla="*/ 2570894 w 9922465"/>
              <a:gd name="connsiteY1575" fmla="*/ 1099146 h 1934496"/>
              <a:gd name="connsiteX1576" fmla="*/ 2626086 w 9922465"/>
              <a:gd name="connsiteY1576" fmla="*/ 1154337 h 1934496"/>
              <a:gd name="connsiteX1577" fmla="*/ 2570894 w 9922465"/>
              <a:gd name="connsiteY1577" fmla="*/ 1209528 h 1934496"/>
              <a:gd name="connsiteX1578" fmla="*/ 2515701 w 9922465"/>
              <a:gd name="connsiteY1578" fmla="*/ 1154337 h 1934496"/>
              <a:gd name="connsiteX1579" fmla="*/ 2570894 w 9922465"/>
              <a:gd name="connsiteY1579" fmla="*/ 1099146 h 1934496"/>
              <a:gd name="connsiteX1580" fmla="*/ 2039698 w 9922465"/>
              <a:gd name="connsiteY1580" fmla="*/ 1099146 h 1934496"/>
              <a:gd name="connsiteX1581" fmla="*/ 2094891 w 9922465"/>
              <a:gd name="connsiteY1581" fmla="*/ 1154337 h 1934496"/>
              <a:gd name="connsiteX1582" fmla="*/ 2039698 w 9922465"/>
              <a:gd name="connsiteY1582" fmla="*/ 1209528 h 1934496"/>
              <a:gd name="connsiteX1583" fmla="*/ 1984505 w 9922465"/>
              <a:gd name="connsiteY1583" fmla="*/ 1154337 h 1934496"/>
              <a:gd name="connsiteX1584" fmla="*/ 2039698 w 9922465"/>
              <a:gd name="connsiteY1584" fmla="*/ 1099146 h 1934496"/>
              <a:gd name="connsiteX1585" fmla="*/ 1909401 w 9922465"/>
              <a:gd name="connsiteY1585" fmla="*/ 1099146 h 1934496"/>
              <a:gd name="connsiteX1586" fmla="*/ 1964592 w 9922465"/>
              <a:gd name="connsiteY1586" fmla="*/ 1154337 h 1934496"/>
              <a:gd name="connsiteX1587" fmla="*/ 1909401 w 9922465"/>
              <a:gd name="connsiteY1587" fmla="*/ 1209528 h 1934496"/>
              <a:gd name="connsiteX1588" fmla="*/ 1854207 w 9922465"/>
              <a:gd name="connsiteY1588" fmla="*/ 1154337 h 1934496"/>
              <a:gd name="connsiteX1589" fmla="*/ 1909401 w 9922465"/>
              <a:gd name="connsiteY1589" fmla="*/ 1099146 h 1934496"/>
              <a:gd name="connsiteX1590" fmla="*/ 1779104 w 9922465"/>
              <a:gd name="connsiteY1590" fmla="*/ 1099146 h 1934496"/>
              <a:gd name="connsiteX1591" fmla="*/ 1834296 w 9922465"/>
              <a:gd name="connsiteY1591" fmla="*/ 1154337 h 1934496"/>
              <a:gd name="connsiteX1592" fmla="*/ 1779104 w 9922465"/>
              <a:gd name="connsiteY1592" fmla="*/ 1209528 h 1934496"/>
              <a:gd name="connsiteX1593" fmla="*/ 1723910 w 9922465"/>
              <a:gd name="connsiteY1593" fmla="*/ 1154337 h 1934496"/>
              <a:gd name="connsiteX1594" fmla="*/ 1779104 w 9922465"/>
              <a:gd name="connsiteY1594" fmla="*/ 1099146 h 1934496"/>
              <a:gd name="connsiteX1595" fmla="*/ 1645469 w 9922465"/>
              <a:gd name="connsiteY1595" fmla="*/ 1099146 h 1934496"/>
              <a:gd name="connsiteX1596" fmla="*/ 1700664 w 9922465"/>
              <a:gd name="connsiteY1596" fmla="*/ 1154337 h 1934496"/>
              <a:gd name="connsiteX1597" fmla="*/ 1645469 w 9922465"/>
              <a:gd name="connsiteY1597" fmla="*/ 1209528 h 1934496"/>
              <a:gd name="connsiteX1598" fmla="*/ 1590275 w 9922465"/>
              <a:gd name="connsiteY1598" fmla="*/ 1154337 h 1934496"/>
              <a:gd name="connsiteX1599" fmla="*/ 1645469 w 9922465"/>
              <a:gd name="connsiteY1599" fmla="*/ 1099146 h 1934496"/>
              <a:gd name="connsiteX1600" fmla="*/ 1515179 w 9922465"/>
              <a:gd name="connsiteY1600" fmla="*/ 1099146 h 1934496"/>
              <a:gd name="connsiteX1601" fmla="*/ 1570364 w 9922465"/>
              <a:gd name="connsiteY1601" fmla="*/ 1154337 h 1934496"/>
              <a:gd name="connsiteX1602" fmla="*/ 1515179 w 9922465"/>
              <a:gd name="connsiteY1602" fmla="*/ 1209528 h 1934496"/>
              <a:gd name="connsiteX1603" fmla="*/ 1459982 w 9922465"/>
              <a:gd name="connsiteY1603" fmla="*/ 1154337 h 1934496"/>
              <a:gd name="connsiteX1604" fmla="*/ 1515179 w 9922465"/>
              <a:gd name="connsiteY1604" fmla="*/ 1099146 h 1934496"/>
              <a:gd name="connsiteX1605" fmla="*/ 1381539 w 9922465"/>
              <a:gd name="connsiteY1605" fmla="*/ 1099146 h 1934496"/>
              <a:gd name="connsiteX1606" fmla="*/ 1436731 w 9922465"/>
              <a:gd name="connsiteY1606" fmla="*/ 1154337 h 1934496"/>
              <a:gd name="connsiteX1607" fmla="*/ 1381539 w 9922465"/>
              <a:gd name="connsiteY1607" fmla="*/ 1209528 h 1934496"/>
              <a:gd name="connsiteX1608" fmla="*/ 1326349 w 9922465"/>
              <a:gd name="connsiteY1608" fmla="*/ 1154337 h 1934496"/>
              <a:gd name="connsiteX1609" fmla="*/ 1381539 w 9922465"/>
              <a:gd name="connsiteY1609" fmla="*/ 1099146 h 1934496"/>
              <a:gd name="connsiteX1610" fmla="*/ 1251245 w 9922465"/>
              <a:gd name="connsiteY1610" fmla="*/ 1099146 h 1934496"/>
              <a:gd name="connsiteX1611" fmla="*/ 1306439 w 9922465"/>
              <a:gd name="connsiteY1611" fmla="*/ 1154337 h 1934496"/>
              <a:gd name="connsiteX1612" fmla="*/ 1251245 w 9922465"/>
              <a:gd name="connsiteY1612" fmla="*/ 1209528 h 1934496"/>
              <a:gd name="connsiteX1613" fmla="*/ 1196054 w 9922465"/>
              <a:gd name="connsiteY1613" fmla="*/ 1154337 h 1934496"/>
              <a:gd name="connsiteX1614" fmla="*/ 1251245 w 9922465"/>
              <a:gd name="connsiteY1614" fmla="*/ 1099146 h 1934496"/>
              <a:gd name="connsiteX1615" fmla="*/ 1117610 w 9922465"/>
              <a:gd name="connsiteY1615" fmla="*/ 1099146 h 1934496"/>
              <a:gd name="connsiteX1616" fmla="*/ 1172803 w 9922465"/>
              <a:gd name="connsiteY1616" fmla="*/ 1154337 h 1934496"/>
              <a:gd name="connsiteX1617" fmla="*/ 1117610 w 9922465"/>
              <a:gd name="connsiteY1617" fmla="*/ 1209528 h 1934496"/>
              <a:gd name="connsiteX1618" fmla="*/ 1062416 w 9922465"/>
              <a:gd name="connsiteY1618" fmla="*/ 1154337 h 1934496"/>
              <a:gd name="connsiteX1619" fmla="*/ 1117610 w 9922465"/>
              <a:gd name="connsiteY1619" fmla="*/ 1099146 h 1934496"/>
              <a:gd name="connsiteX1620" fmla="*/ 980631 w 9922465"/>
              <a:gd name="connsiteY1620" fmla="*/ 1099146 h 1934496"/>
              <a:gd name="connsiteX1621" fmla="*/ 1035825 w 9922465"/>
              <a:gd name="connsiteY1621" fmla="*/ 1154337 h 1934496"/>
              <a:gd name="connsiteX1622" fmla="*/ 980631 w 9922465"/>
              <a:gd name="connsiteY1622" fmla="*/ 1209528 h 1934496"/>
              <a:gd name="connsiteX1623" fmla="*/ 925438 w 9922465"/>
              <a:gd name="connsiteY1623" fmla="*/ 1154337 h 1934496"/>
              <a:gd name="connsiteX1624" fmla="*/ 980631 w 9922465"/>
              <a:gd name="connsiteY1624" fmla="*/ 1099146 h 1934496"/>
              <a:gd name="connsiteX1625" fmla="*/ 846993 w 9922465"/>
              <a:gd name="connsiteY1625" fmla="*/ 1099146 h 1934496"/>
              <a:gd name="connsiteX1626" fmla="*/ 902186 w 9922465"/>
              <a:gd name="connsiteY1626" fmla="*/ 1154337 h 1934496"/>
              <a:gd name="connsiteX1627" fmla="*/ 846993 w 9922465"/>
              <a:gd name="connsiteY1627" fmla="*/ 1209528 h 1934496"/>
              <a:gd name="connsiteX1628" fmla="*/ 791796 w 9922465"/>
              <a:gd name="connsiteY1628" fmla="*/ 1154337 h 1934496"/>
              <a:gd name="connsiteX1629" fmla="*/ 846993 w 9922465"/>
              <a:gd name="connsiteY1629" fmla="*/ 1099146 h 1934496"/>
              <a:gd name="connsiteX1630" fmla="*/ 716690 w 9922465"/>
              <a:gd name="connsiteY1630" fmla="*/ 1099146 h 1934496"/>
              <a:gd name="connsiteX1631" fmla="*/ 771886 w 9922465"/>
              <a:gd name="connsiteY1631" fmla="*/ 1154337 h 1934496"/>
              <a:gd name="connsiteX1632" fmla="*/ 716690 w 9922465"/>
              <a:gd name="connsiteY1632" fmla="*/ 1209528 h 1934496"/>
              <a:gd name="connsiteX1633" fmla="*/ 661502 w 9922465"/>
              <a:gd name="connsiteY1633" fmla="*/ 1154337 h 1934496"/>
              <a:gd name="connsiteX1634" fmla="*/ 716690 w 9922465"/>
              <a:gd name="connsiteY1634" fmla="*/ 1099146 h 1934496"/>
              <a:gd name="connsiteX1635" fmla="*/ 583057 w 9922465"/>
              <a:gd name="connsiteY1635" fmla="*/ 1099146 h 1934496"/>
              <a:gd name="connsiteX1636" fmla="*/ 638250 w 9922465"/>
              <a:gd name="connsiteY1636" fmla="*/ 1154337 h 1934496"/>
              <a:gd name="connsiteX1637" fmla="*/ 583057 w 9922465"/>
              <a:gd name="connsiteY1637" fmla="*/ 1209528 h 1934496"/>
              <a:gd name="connsiteX1638" fmla="*/ 527863 w 9922465"/>
              <a:gd name="connsiteY1638" fmla="*/ 1154337 h 1934496"/>
              <a:gd name="connsiteX1639" fmla="*/ 583057 w 9922465"/>
              <a:gd name="connsiteY1639" fmla="*/ 1099146 h 1934496"/>
              <a:gd name="connsiteX1640" fmla="*/ 449413 w 9922465"/>
              <a:gd name="connsiteY1640" fmla="*/ 1099146 h 1934496"/>
              <a:gd name="connsiteX1641" fmla="*/ 504606 w 9922465"/>
              <a:gd name="connsiteY1641" fmla="*/ 1154337 h 1934496"/>
              <a:gd name="connsiteX1642" fmla="*/ 449413 w 9922465"/>
              <a:gd name="connsiteY1642" fmla="*/ 1209528 h 1934496"/>
              <a:gd name="connsiteX1643" fmla="*/ 394220 w 9922465"/>
              <a:gd name="connsiteY1643" fmla="*/ 1154337 h 1934496"/>
              <a:gd name="connsiteX1644" fmla="*/ 449413 w 9922465"/>
              <a:gd name="connsiteY1644" fmla="*/ 1099146 h 1934496"/>
              <a:gd name="connsiteX1645" fmla="*/ 9603343 w 9922465"/>
              <a:gd name="connsiteY1645" fmla="*/ 975533 h 1934496"/>
              <a:gd name="connsiteX1646" fmla="*/ 9658535 w 9922465"/>
              <a:gd name="connsiteY1646" fmla="*/ 1030724 h 1934496"/>
              <a:gd name="connsiteX1647" fmla="*/ 9603343 w 9922465"/>
              <a:gd name="connsiteY1647" fmla="*/ 1085915 h 1934496"/>
              <a:gd name="connsiteX1648" fmla="*/ 9548151 w 9922465"/>
              <a:gd name="connsiteY1648" fmla="*/ 1030724 h 1934496"/>
              <a:gd name="connsiteX1649" fmla="*/ 9603343 w 9922465"/>
              <a:gd name="connsiteY1649" fmla="*/ 975533 h 1934496"/>
              <a:gd name="connsiteX1650" fmla="*/ 9469708 w 9922465"/>
              <a:gd name="connsiteY1650" fmla="*/ 975533 h 1934496"/>
              <a:gd name="connsiteX1651" fmla="*/ 9524900 w 9922465"/>
              <a:gd name="connsiteY1651" fmla="*/ 1030724 h 1934496"/>
              <a:gd name="connsiteX1652" fmla="*/ 9469708 w 9922465"/>
              <a:gd name="connsiteY1652" fmla="*/ 1085915 h 1934496"/>
              <a:gd name="connsiteX1653" fmla="*/ 9414516 w 9922465"/>
              <a:gd name="connsiteY1653" fmla="*/ 1030724 h 1934496"/>
              <a:gd name="connsiteX1654" fmla="*/ 9469708 w 9922465"/>
              <a:gd name="connsiteY1654" fmla="*/ 975533 h 1934496"/>
              <a:gd name="connsiteX1655" fmla="*/ 8935170 w 9922465"/>
              <a:gd name="connsiteY1655" fmla="*/ 975533 h 1934496"/>
              <a:gd name="connsiteX1656" fmla="*/ 8990362 w 9922465"/>
              <a:gd name="connsiteY1656" fmla="*/ 1030724 h 1934496"/>
              <a:gd name="connsiteX1657" fmla="*/ 8935170 w 9922465"/>
              <a:gd name="connsiteY1657" fmla="*/ 1085915 h 1934496"/>
              <a:gd name="connsiteX1658" fmla="*/ 8879978 w 9922465"/>
              <a:gd name="connsiteY1658" fmla="*/ 1030724 h 1934496"/>
              <a:gd name="connsiteX1659" fmla="*/ 8935170 w 9922465"/>
              <a:gd name="connsiteY1659" fmla="*/ 975533 h 1934496"/>
              <a:gd name="connsiteX1660" fmla="*/ 8407315 w 9922465"/>
              <a:gd name="connsiteY1660" fmla="*/ 975533 h 1934496"/>
              <a:gd name="connsiteX1661" fmla="*/ 8462507 w 9922465"/>
              <a:gd name="connsiteY1661" fmla="*/ 1030724 h 1934496"/>
              <a:gd name="connsiteX1662" fmla="*/ 8407315 w 9922465"/>
              <a:gd name="connsiteY1662" fmla="*/ 1085915 h 1934496"/>
              <a:gd name="connsiteX1663" fmla="*/ 8352123 w 9922465"/>
              <a:gd name="connsiteY1663" fmla="*/ 1030724 h 1934496"/>
              <a:gd name="connsiteX1664" fmla="*/ 8407315 w 9922465"/>
              <a:gd name="connsiteY1664" fmla="*/ 975533 h 1934496"/>
              <a:gd name="connsiteX1665" fmla="*/ 7876116 w 9922465"/>
              <a:gd name="connsiteY1665" fmla="*/ 975533 h 1934496"/>
              <a:gd name="connsiteX1666" fmla="*/ 7931308 w 9922465"/>
              <a:gd name="connsiteY1666" fmla="*/ 1030724 h 1934496"/>
              <a:gd name="connsiteX1667" fmla="*/ 7876116 w 9922465"/>
              <a:gd name="connsiteY1667" fmla="*/ 1085915 h 1934496"/>
              <a:gd name="connsiteX1668" fmla="*/ 7820924 w 9922465"/>
              <a:gd name="connsiteY1668" fmla="*/ 1030724 h 1934496"/>
              <a:gd name="connsiteX1669" fmla="*/ 7876116 w 9922465"/>
              <a:gd name="connsiteY1669" fmla="*/ 975533 h 1934496"/>
              <a:gd name="connsiteX1670" fmla="*/ 7745822 w 9922465"/>
              <a:gd name="connsiteY1670" fmla="*/ 975533 h 1934496"/>
              <a:gd name="connsiteX1671" fmla="*/ 7801014 w 9922465"/>
              <a:gd name="connsiteY1671" fmla="*/ 1030724 h 1934496"/>
              <a:gd name="connsiteX1672" fmla="*/ 7745822 w 9922465"/>
              <a:gd name="connsiteY1672" fmla="*/ 1085915 h 1934496"/>
              <a:gd name="connsiteX1673" fmla="*/ 7690630 w 9922465"/>
              <a:gd name="connsiteY1673" fmla="*/ 1030724 h 1934496"/>
              <a:gd name="connsiteX1674" fmla="*/ 7745822 w 9922465"/>
              <a:gd name="connsiteY1674" fmla="*/ 975533 h 1934496"/>
              <a:gd name="connsiteX1675" fmla="*/ 7481894 w 9922465"/>
              <a:gd name="connsiteY1675" fmla="*/ 975533 h 1934496"/>
              <a:gd name="connsiteX1676" fmla="*/ 7537086 w 9922465"/>
              <a:gd name="connsiteY1676" fmla="*/ 1030724 h 1934496"/>
              <a:gd name="connsiteX1677" fmla="*/ 7481894 w 9922465"/>
              <a:gd name="connsiteY1677" fmla="*/ 1085915 h 1934496"/>
              <a:gd name="connsiteX1678" fmla="*/ 7426702 w 9922465"/>
              <a:gd name="connsiteY1678" fmla="*/ 1030724 h 1934496"/>
              <a:gd name="connsiteX1679" fmla="*/ 7481894 w 9922465"/>
              <a:gd name="connsiteY1679" fmla="*/ 975533 h 1934496"/>
              <a:gd name="connsiteX1680" fmla="*/ 7341578 w 9922465"/>
              <a:gd name="connsiteY1680" fmla="*/ 975533 h 1934496"/>
              <a:gd name="connsiteX1681" fmla="*/ 7396770 w 9922465"/>
              <a:gd name="connsiteY1681" fmla="*/ 1030724 h 1934496"/>
              <a:gd name="connsiteX1682" fmla="*/ 7341578 w 9922465"/>
              <a:gd name="connsiteY1682" fmla="*/ 1085915 h 1934496"/>
              <a:gd name="connsiteX1683" fmla="*/ 7286386 w 9922465"/>
              <a:gd name="connsiteY1683" fmla="*/ 1030724 h 1934496"/>
              <a:gd name="connsiteX1684" fmla="*/ 7341578 w 9922465"/>
              <a:gd name="connsiteY1684" fmla="*/ 975533 h 1934496"/>
              <a:gd name="connsiteX1685" fmla="*/ 7211285 w 9922465"/>
              <a:gd name="connsiteY1685" fmla="*/ 975533 h 1934496"/>
              <a:gd name="connsiteX1686" fmla="*/ 7266477 w 9922465"/>
              <a:gd name="connsiteY1686" fmla="*/ 1030724 h 1934496"/>
              <a:gd name="connsiteX1687" fmla="*/ 7211285 w 9922465"/>
              <a:gd name="connsiteY1687" fmla="*/ 1085915 h 1934496"/>
              <a:gd name="connsiteX1688" fmla="*/ 7156093 w 9922465"/>
              <a:gd name="connsiteY1688" fmla="*/ 1030724 h 1934496"/>
              <a:gd name="connsiteX1689" fmla="*/ 7211285 w 9922465"/>
              <a:gd name="connsiteY1689" fmla="*/ 975533 h 1934496"/>
              <a:gd name="connsiteX1690" fmla="*/ 6947356 w 9922465"/>
              <a:gd name="connsiteY1690" fmla="*/ 975533 h 1934496"/>
              <a:gd name="connsiteX1691" fmla="*/ 7002548 w 9922465"/>
              <a:gd name="connsiteY1691" fmla="*/ 1030724 h 1934496"/>
              <a:gd name="connsiteX1692" fmla="*/ 6947356 w 9922465"/>
              <a:gd name="connsiteY1692" fmla="*/ 1085915 h 1934496"/>
              <a:gd name="connsiteX1693" fmla="*/ 6892164 w 9922465"/>
              <a:gd name="connsiteY1693" fmla="*/ 1030724 h 1934496"/>
              <a:gd name="connsiteX1694" fmla="*/ 6947356 w 9922465"/>
              <a:gd name="connsiteY1694" fmla="*/ 975533 h 1934496"/>
              <a:gd name="connsiteX1695" fmla="*/ 6817063 w 9922465"/>
              <a:gd name="connsiteY1695" fmla="*/ 975533 h 1934496"/>
              <a:gd name="connsiteX1696" fmla="*/ 6872255 w 9922465"/>
              <a:gd name="connsiteY1696" fmla="*/ 1030724 h 1934496"/>
              <a:gd name="connsiteX1697" fmla="*/ 6817063 w 9922465"/>
              <a:gd name="connsiteY1697" fmla="*/ 1085915 h 1934496"/>
              <a:gd name="connsiteX1698" fmla="*/ 6761871 w 9922465"/>
              <a:gd name="connsiteY1698" fmla="*/ 1030724 h 1934496"/>
              <a:gd name="connsiteX1699" fmla="*/ 6817063 w 9922465"/>
              <a:gd name="connsiteY1699" fmla="*/ 975533 h 1934496"/>
              <a:gd name="connsiteX1700" fmla="*/ 6683430 w 9922465"/>
              <a:gd name="connsiteY1700" fmla="*/ 975533 h 1934496"/>
              <a:gd name="connsiteX1701" fmla="*/ 6738622 w 9922465"/>
              <a:gd name="connsiteY1701" fmla="*/ 1030724 h 1934496"/>
              <a:gd name="connsiteX1702" fmla="*/ 6683430 w 9922465"/>
              <a:gd name="connsiteY1702" fmla="*/ 1085915 h 1934496"/>
              <a:gd name="connsiteX1703" fmla="*/ 6628238 w 9922465"/>
              <a:gd name="connsiteY1703" fmla="*/ 1030724 h 1934496"/>
              <a:gd name="connsiteX1704" fmla="*/ 6683430 w 9922465"/>
              <a:gd name="connsiteY1704" fmla="*/ 975533 h 1934496"/>
              <a:gd name="connsiteX1705" fmla="*/ 6289206 w 9922465"/>
              <a:gd name="connsiteY1705" fmla="*/ 975533 h 1934496"/>
              <a:gd name="connsiteX1706" fmla="*/ 6344398 w 9922465"/>
              <a:gd name="connsiteY1706" fmla="*/ 1030724 h 1934496"/>
              <a:gd name="connsiteX1707" fmla="*/ 6289206 w 9922465"/>
              <a:gd name="connsiteY1707" fmla="*/ 1085915 h 1934496"/>
              <a:gd name="connsiteX1708" fmla="*/ 6234014 w 9922465"/>
              <a:gd name="connsiteY1708" fmla="*/ 1030724 h 1934496"/>
              <a:gd name="connsiteX1709" fmla="*/ 6289206 w 9922465"/>
              <a:gd name="connsiteY1709" fmla="*/ 975533 h 1934496"/>
              <a:gd name="connsiteX1710" fmla="*/ 5754667 w 9922465"/>
              <a:gd name="connsiteY1710" fmla="*/ 975533 h 1934496"/>
              <a:gd name="connsiteX1711" fmla="*/ 5809859 w 9922465"/>
              <a:gd name="connsiteY1711" fmla="*/ 1030724 h 1934496"/>
              <a:gd name="connsiteX1712" fmla="*/ 5754667 w 9922465"/>
              <a:gd name="connsiteY1712" fmla="*/ 1085915 h 1934496"/>
              <a:gd name="connsiteX1713" fmla="*/ 5699475 w 9922465"/>
              <a:gd name="connsiteY1713" fmla="*/ 1030724 h 1934496"/>
              <a:gd name="connsiteX1714" fmla="*/ 5754667 w 9922465"/>
              <a:gd name="connsiteY1714" fmla="*/ 975533 h 1934496"/>
              <a:gd name="connsiteX1715" fmla="*/ 5487398 w 9922465"/>
              <a:gd name="connsiteY1715" fmla="*/ 975533 h 1934496"/>
              <a:gd name="connsiteX1716" fmla="*/ 5542590 w 9922465"/>
              <a:gd name="connsiteY1716" fmla="*/ 1030724 h 1934496"/>
              <a:gd name="connsiteX1717" fmla="*/ 5487398 w 9922465"/>
              <a:gd name="connsiteY1717" fmla="*/ 1085915 h 1934496"/>
              <a:gd name="connsiteX1718" fmla="*/ 5432206 w 9922465"/>
              <a:gd name="connsiteY1718" fmla="*/ 1030724 h 1934496"/>
              <a:gd name="connsiteX1719" fmla="*/ 5487398 w 9922465"/>
              <a:gd name="connsiteY1719" fmla="*/ 975533 h 1934496"/>
              <a:gd name="connsiteX1720" fmla="*/ 5357105 w 9922465"/>
              <a:gd name="connsiteY1720" fmla="*/ 975533 h 1934496"/>
              <a:gd name="connsiteX1721" fmla="*/ 5412297 w 9922465"/>
              <a:gd name="connsiteY1721" fmla="*/ 1030724 h 1934496"/>
              <a:gd name="connsiteX1722" fmla="*/ 5357105 w 9922465"/>
              <a:gd name="connsiteY1722" fmla="*/ 1085915 h 1934496"/>
              <a:gd name="connsiteX1723" fmla="*/ 5301913 w 9922465"/>
              <a:gd name="connsiteY1723" fmla="*/ 1030724 h 1934496"/>
              <a:gd name="connsiteX1724" fmla="*/ 5357105 w 9922465"/>
              <a:gd name="connsiteY1724" fmla="*/ 975533 h 1934496"/>
              <a:gd name="connsiteX1725" fmla="*/ 5093176 w 9922465"/>
              <a:gd name="connsiteY1725" fmla="*/ 975533 h 1934496"/>
              <a:gd name="connsiteX1726" fmla="*/ 5148368 w 9922465"/>
              <a:gd name="connsiteY1726" fmla="*/ 1030724 h 1934496"/>
              <a:gd name="connsiteX1727" fmla="*/ 5093176 w 9922465"/>
              <a:gd name="connsiteY1727" fmla="*/ 1085915 h 1934496"/>
              <a:gd name="connsiteX1728" fmla="*/ 5037984 w 9922465"/>
              <a:gd name="connsiteY1728" fmla="*/ 1030724 h 1934496"/>
              <a:gd name="connsiteX1729" fmla="*/ 5093176 w 9922465"/>
              <a:gd name="connsiteY1729" fmla="*/ 975533 h 1934496"/>
              <a:gd name="connsiteX1730" fmla="*/ 4959540 w 9922465"/>
              <a:gd name="connsiteY1730" fmla="*/ 975533 h 1934496"/>
              <a:gd name="connsiteX1731" fmla="*/ 5014732 w 9922465"/>
              <a:gd name="connsiteY1731" fmla="*/ 1030724 h 1934496"/>
              <a:gd name="connsiteX1732" fmla="*/ 4959540 w 9922465"/>
              <a:gd name="connsiteY1732" fmla="*/ 1085915 h 1934496"/>
              <a:gd name="connsiteX1733" fmla="*/ 4904348 w 9922465"/>
              <a:gd name="connsiteY1733" fmla="*/ 1030724 h 1934496"/>
              <a:gd name="connsiteX1734" fmla="*/ 4959540 w 9922465"/>
              <a:gd name="connsiteY1734" fmla="*/ 975533 h 1934496"/>
              <a:gd name="connsiteX1735" fmla="*/ 4161075 w 9922465"/>
              <a:gd name="connsiteY1735" fmla="*/ 975533 h 1934496"/>
              <a:gd name="connsiteX1736" fmla="*/ 4216267 w 9922465"/>
              <a:gd name="connsiteY1736" fmla="*/ 1030724 h 1934496"/>
              <a:gd name="connsiteX1737" fmla="*/ 4161075 w 9922465"/>
              <a:gd name="connsiteY1737" fmla="*/ 1085915 h 1934496"/>
              <a:gd name="connsiteX1738" fmla="*/ 4105883 w 9922465"/>
              <a:gd name="connsiteY1738" fmla="*/ 1030724 h 1934496"/>
              <a:gd name="connsiteX1739" fmla="*/ 4161075 w 9922465"/>
              <a:gd name="connsiteY1739" fmla="*/ 975533 h 1934496"/>
              <a:gd name="connsiteX1740" fmla="*/ 4030782 w 9922465"/>
              <a:gd name="connsiteY1740" fmla="*/ 975533 h 1934496"/>
              <a:gd name="connsiteX1741" fmla="*/ 4085974 w 9922465"/>
              <a:gd name="connsiteY1741" fmla="*/ 1030724 h 1934496"/>
              <a:gd name="connsiteX1742" fmla="*/ 4030782 w 9922465"/>
              <a:gd name="connsiteY1742" fmla="*/ 1085915 h 1934496"/>
              <a:gd name="connsiteX1743" fmla="*/ 3975590 w 9922465"/>
              <a:gd name="connsiteY1743" fmla="*/ 1030724 h 1934496"/>
              <a:gd name="connsiteX1744" fmla="*/ 4030782 w 9922465"/>
              <a:gd name="connsiteY1744" fmla="*/ 975533 h 1934496"/>
              <a:gd name="connsiteX1745" fmla="*/ 3369290 w 9922465"/>
              <a:gd name="connsiteY1745" fmla="*/ 975533 h 1934496"/>
              <a:gd name="connsiteX1746" fmla="*/ 3424482 w 9922465"/>
              <a:gd name="connsiteY1746" fmla="*/ 1030724 h 1934496"/>
              <a:gd name="connsiteX1747" fmla="*/ 3369290 w 9922465"/>
              <a:gd name="connsiteY1747" fmla="*/ 1085915 h 1934496"/>
              <a:gd name="connsiteX1748" fmla="*/ 3314098 w 9922465"/>
              <a:gd name="connsiteY1748" fmla="*/ 1030724 h 1934496"/>
              <a:gd name="connsiteX1749" fmla="*/ 3369290 w 9922465"/>
              <a:gd name="connsiteY1749" fmla="*/ 975533 h 1934496"/>
              <a:gd name="connsiteX1750" fmla="*/ 2707880 w 9922465"/>
              <a:gd name="connsiteY1750" fmla="*/ 975533 h 1934496"/>
              <a:gd name="connsiteX1751" fmla="*/ 2763074 w 9922465"/>
              <a:gd name="connsiteY1751" fmla="*/ 1030724 h 1934496"/>
              <a:gd name="connsiteX1752" fmla="*/ 2707880 w 9922465"/>
              <a:gd name="connsiteY1752" fmla="*/ 1085915 h 1934496"/>
              <a:gd name="connsiteX1753" fmla="*/ 2652689 w 9922465"/>
              <a:gd name="connsiteY1753" fmla="*/ 1030724 h 1934496"/>
              <a:gd name="connsiteX1754" fmla="*/ 2707880 w 9922465"/>
              <a:gd name="connsiteY1754" fmla="*/ 975533 h 1934496"/>
              <a:gd name="connsiteX1755" fmla="*/ 2173347 w 9922465"/>
              <a:gd name="connsiteY1755" fmla="*/ 975533 h 1934496"/>
              <a:gd name="connsiteX1756" fmla="*/ 2228540 w 9922465"/>
              <a:gd name="connsiteY1756" fmla="*/ 1030724 h 1934496"/>
              <a:gd name="connsiteX1757" fmla="*/ 2173347 w 9922465"/>
              <a:gd name="connsiteY1757" fmla="*/ 1085915 h 1934496"/>
              <a:gd name="connsiteX1758" fmla="*/ 2118154 w 9922465"/>
              <a:gd name="connsiteY1758" fmla="*/ 1030724 h 1934496"/>
              <a:gd name="connsiteX1759" fmla="*/ 2173347 w 9922465"/>
              <a:gd name="connsiteY1759" fmla="*/ 975533 h 1934496"/>
              <a:gd name="connsiteX1760" fmla="*/ 1251258 w 9922465"/>
              <a:gd name="connsiteY1760" fmla="*/ 975533 h 1934496"/>
              <a:gd name="connsiteX1761" fmla="*/ 1306450 w 9922465"/>
              <a:gd name="connsiteY1761" fmla="*/ 1030724 h 1934496"/>
              <a:gd name="connsiteX1762" fmla="*/ 1251258 w 9922465"/>
              <a:gd name="connsiteY1762" fmla="*/ 1085915 h 1934496"/>
              <a:gd name="connsiteX1763" fmla="*/ 1196066 w 9922465"/>
              <a:gd name="connsiteY1763" fmla="*/ 1030724 h 1934496"/>
              <a:gd name="connsiteX1764" fmla="*/ 1251258 w 9922465"/>
              <a:gd name="connsiteY1764" fmla="*/ 975533 h 1934496"/>
              <a:gd name="connsiteX1765" fmla="*/ 847001 w 9922465"/>
              <a:gd name="connsiteY1765" fmla="*/ 975533 h 1934496"/>
              <a:gd name="connsiteX1766" fmla="*/ 902196 w 9922465"/>
              <a:gd name="connsiteY1766" fmla="*/ 1030724 h 1934496"/>
              <a:gd name="connsiteX1767" fmla="*/ 847001 w 9922465"/>
              <a:gd name="connsiteY1767" fmla="*/ 1085915 h 1934496"/>
              <a:gd name="connsiteX1768" fmla="*/ 791804 w 9922465"/>
              <a:gd name="connsiteY1768" fmla="*/ 1030724 h 1934496"/>
              <a:gd name="connsiteX1769" fmla="*/ 847001 w 9922465"/>
              <a:gd name="connsiteY1769" fmla="*/ 975533 h 1934496"/>
              <a:gd name="connsiteX1770" fmla="*/ 9336074 w 9922465"/>
              <a:gd name="connsiteY1770" fmla="*/ 975532 h 1934496"/>
              <a:gd name="connsiteX1771" fmla="*/ 9391266 w 9922465"/>
              <a:gd name="connsiteY1771" fmla="*/ 1030723 h 1934496"/>
              <a:gd name="connsiteX1772" fmla="*/ 9336074 w 9922465"/>
              <a:gd name="connsiteY1772" fmla="*/ 1085914 h 1934496"/>
              <a:gd name="connsiteX1773" fmla="*/ 9280882 w 9922465"/>
              <a:gd name="connsiteY1773" fmla="*/ 1030723 h 1934496"/>
              <a:gd name="connsiteX1774" fmla="*/ 9336074 w 9922465"/>
              <a:gd name="connsiteY1774" fmla="*/ 975532 h 1934496"/>
              <a:gd name="connsiteX1775" fmla="*/ 9199098 w 9922465"/>
              <a:gd name="connsiteY1775" fmla="*/ 975532 h 1934496"/>
              <a:gd name="connsiteX1776" fmla="*/ 9254290 w 9922465"/>
              <a:gd name="connsiteY1776" fmla="*/ 1030723 h 1934496"/>
              <a:gd name="connsiteX1777" fmla="*/ 9199098 w 9922465"/>
              <a:gd name="connsiteY1777" fmla="*/ 1085914 h 1934496"/>
              <a:gd name="connsiteX1778" fmla="*/ 9143906 w 9922465"/>
              <a:gd name="connsiteY1778" fmla="*/ 1030723 h 1934496"/>
              <a:gd name="connsiteX1779" fmla="*/ 9199098 w 9922465"/>
              <a:gd name="connsiteY1779" fmla="*/ 975532 h 1934496"/>
              <a:gd name="connsiteX1780" fmla="*/ 9068805 w 9922465"/>
              <a:gd name="connsiteY1780" fmla="*/ 975532 h 1934496"/>
              <a:gd name="connsiteX1781" fmla="*/ 9123997 w 9922465"/>
              <a:gd name="connsiteY1781" fmla="*/ 1030723 h 1934496"/>
              <a:gd name="connsiteX1782" fmla="*/ 9068805 w 9922465"/>
              <a:gd name="connsiteY1782" fmla="*/ 1085914 h 1934496"/>
              <a:gd name="connsiteX1783" fmla="*/ 9013613 w 9922465"/>
              <a:gd name="connsiteY1783" fmla="*/ 1030723 h 1934496"/>
              <a:gd name="connsiteX1784" fmla="*/ 9068805 w 9922465"/>
              <a:gd name="connsiteY1784" fmla="*/ 975532 h 1934496"/>
              <a:gd name="connsiteX1785" fmla="*/ 8801536 w 9922465"/>
              <a:gd name="connsiteY1785" fmla="*/ 975532 h 1934496"/>
              <a:gd name="connsiteX1786" fmla="*/ 8856728 w 9922465"/>
              <a:gd name="connsiteY1786" fmla="*/ 1030723 h 1934496"/>
              <a:gd name="connsiteX1787" fmla="*/ 8801536 w 9922465"/>
              <a:gd name="connsiteY1787" fmla="*/ 1085914 h 1934496"/>
              <a:gd name="connsiteX1788" fmla="*/ 8746344 w 9922465"/>
              <a:gd name="connsiteY1788" fmla="*/ 1030723 h 1934496"/>
              <a:gd name="connsiteX1789" fmla="*/ 8801536 w 9922465"/>
              <a:gd name="connsiteY1789" fmla="*/ 975532 h 1934496"/>
              <a:gd name="connsiteX1790" fmla="*/ 8671243 w 9922465"/>
              <a:gd name="connsiteY1790" fmla="*/ 975532 h 1934496"/>
              <a:gd name="connsiteX1791" fmla="*/ 8726435 w 9922465"/>
              <a:gd name="connsiteY1791" fmla="*/ 1030723 h 1934496"/>
              <a:gd name="connsiteX1792" fmla="*/ 8671243 w 9922465"/>
              <a:gd name="connsiteY1792" fmla="*/ 1085914 h 1934496"/>
              <a:gd name="connsiteX1793" fmla="*/ 8616051 w 9922465"/>
              <a:gd name="connsiteY1793" fmla="*/ 1030723 h 1934496"/>
              <a:gd name="connsiteX1794" fmla="*/ 8671243 w 9922465"/>
              <a:gd name="connsiteY1794" fmla="*/ 975532 h 1934496"/>
              <a:gd name="connsiteX1795" fmla="*/ 8537608 w 9922465"/>
              <a:gd name="connsiteY1795" fmla="*/ 975532 h 1934496"/>
              <a:gd name="connsiteX1796" fmla="*/ 8592800 w 9922465"/>
              <a:gd name="connsiteY1796" fmla="*/ 1030723 h 1934496"/>
              <a:gd name="connsiteX1797" fmla="*/ 8537608 w 9922465"/>
              <a:gd name="connsiteY1797" fmla="*/ 1085914 h 1934496"/>
              <a:gd name="connsiteX1798" fmla="*/ 8482416 w 9922465"/>
              <a:gd name="connsiteY1798" fmla="*/ 1030723 h 1934496"/>
              <a:gd name="connsiteX1799" fmla="*/ 8537608 w 9922465"/>
              <a:gd name="connsiteY1799" fmla="*/ 975532 h 1934496"/>
              <a:gd name="connsiteX1800" fmla="*/ 8273681 w 9922465"/>
              <a:gd name="connsiteY1800" fmla="*/ 975532 h 1934496"/>
              <a:gd name="connsiteX1801" fmla="*/ 8328873 w 9922465"/>
              <a:gd name="connsiteY1801" fmla="*/ 1030723 h 1934496"/>
              <a:gd name="connsiteX1802" fmla="*/ 8273681 w 9922465"/>
              <a:gd name="connsiteY1802" fmla="*/ 1085914 h 1934496"/>
              <a:gd name="connsiteX1803" fmla="*/ 8218489 w 9922465"/>
              <a:gd name="connsiteY1803" fmla="*/ 1030723 h 1934496"/>
              <a:gd name="connsiteX1804" fmla="*/ 8273681 w 9922465"/>
              <a:gd name="connsiteY1804" fmla="*/ 975532 h 1934496"/>
              <a:gd name="connsiteX1805" fmla="*/ 8143385 w 9922465"/>
              <a:gd name="connsiteY1805" fmla="*/ 975532 h 1934496"/>
              <a:gd name="connsiteX1806" fmla="*/ 8198577 w 9922465"/>
              <a:gd name="connsiteY1806" fmla="*/ 1030723 h 1934496"/>
              <a:gd name="connsiteX1807" fmla="*/ 8143385 w 9922465"/>
              <a:gd name="connsiteY1807" fmla="*/ 1085914 h 1934496"/>
              <a:gd name="connsiteX1808" fmla="*/ 8088193 w 9922465"/>
              <a:gd name="connsiteY1808" fmla="*/ 1030723 h 1934496"/>
              <a:gd name="connsiteX1809" fmla="*/ 8143385 w 9922465"/>
              <a:gd name="connsiteY1809" fmla="*/ 975532 h 1934496"/>
              <a:gd name="connsiteX1810" fmla="*/ 8009751 w 9922465"/>
              <a:gd name="connsiteY1810" fmla="*/ 975532 h 1934496"/>
              <a:gd name="connsiteX1811" fmla="*/ 8064943 w 9922465"/>
              <a:gd name="connsiteY1811" fmla="*/ 1030723 h 1934496"/>
              <a:gd name="connsiteX1812" fmla="*/ 8009751 w 9922465"/>
              <a:gd name="connsiteY1812" fmla="*/ 1085914 h 1934496"/>
              <a:gd name="connsiteX1813" fmla="*/ 7954559 w 9922465"/>
              <a:gd name="connsiteY1813" fmla="*/ 1030723 h 1934496"/>
              <a:gd name="connsiteX1814" fmla="*/ 8009751 w 9922465"/>
              <a:gd name="connsiteY1814" fmla="*/ 975532 h 1934496"/>
              <a:gd name="connsiteX1815" fmla="*/ 7608847 w 9922465"/>
              <a:gd name="connsiteY1815" fmla="*/ 975532 h 1934496"/>
              <a:gd name="connsiteX1816" fmla="*/ 7664039 w 9922465"/>
              <a:gd name="connsiteY1816" fmla="*/ 1030723 h 1934496"/>
              <a:gd name="connsiteX1817" fmla="*/ 7608847 w 9922465"/>
              <a:gd name="connsiteY1817" fmla="*/ 1085914 h 1934496"/>
              <a:gd name="connsiteX1818" fmla="*/ 7553655 w 9922465"/>
              <a:gd name="connsiteY1818" fmla="*/ 1030723 h 1934496"/>
              <a:gd name="connsiteX1819" fmla="*/ 7608847 w 9922465"/>
              <a:gd name="connsiteY1819" fmla="*/ 975532 h 1934496"/>
              <a:gd name="connsiteX1820" fmla="*/ 7080991 w 9922465"/>
              <a:gd name="connsiteY1820" fmla="*/ 975532 h 1934496"/>
              <a:gd name="connsiteX1821" fmla="*/ 7136183 w 9922465"/>
              <a:gd name="connsiteY1821" fmla="*/ 1030723 h 1934496"/>
              <a:gd name="connsiteX1822" fmla="*/ 7080991 w 9922465"/>
              <a:gd name="connsiteY1822" fmla="*/ 1085914 h 1934496"/>
              <a:gd name="connsiteX1823" fmla="*/ 7025799 w 9922465"/>
              <a:gd name="connsiteY1823" fmla="*/ 1030723 h 1934496"/>
              <a:gd name="connsiteX1824" fmla="*/ 7080991 w 9922465"/>
              <a:gd name="connsiteY1824" fmla="*/ 975532 h 1934496"/>
              <a:gd name="connsiteX1825" fmla="*/ 6553135 w 9922465"/>
              <a:gd name="connsiteY1825" fmla="*/ 975532 h 1934496"/>
              <a:gd name="connsiteX1826" fmla="*/ 6608327 w 9922465"/>
              <a:gd name="connsiteY1826" fmla="*/ 1030723 h 1934496"/>
              <a:gd name="connsiteX1827" fmla="*/ 6553135 w 9922465"/>
              <a:gd name="connsiteY1827" fmla="*/ 1085914 h 1934496"/>
              <a:gd name="connsiteX1828" fmla="*/ 6497943 w 9922465"/>
              <a:gd name="connsiteY1828" fmla="*/ 1030723 h 1934496"/>
              <a:gd name="connsiteX1829" fmla="*/ 6553135 w 9922465"/>
              <a:gd name="connsiteY1829" fmla="*/ 975532 h 1934496"/>
              <a:gd name="connsiteX1830" fmla="*/ 6419501 w 9922465"/>
              <a:gd name="connsiteY1830" fmla="*/ 975532 h 1934496"/>
              <a:gd name="connsiteX1831" fmla="*/ 6474693 w 9922465"/>
              <a:gd name="connsiteY1831" fmla="*/ 1030723 h 1934496"/>
              <a:gd name="connsiteX1832" fmla="*/ 6419501 w 9922465"/>
              <a:gd name="connsiteY1832" fmla="*/ 1085914 h 1934496"/>
              <a:gd name="connsiteX1833" fmla="*/ 6364309 w 9922465"/>
              <a:gd name="connsiteY1833" fmla="*/ 1030723 h 1934496"/>
              <a:gd name="connsiteX1834" fmla="*/ 6419501 w 9922465"/>
              <a:gd name="connsiteY1834" fmla="*/ 975532 h 1934496"/>
              <a:gd name="connsiteX1835" fmla="*/ 6155571 w 9922465"/>
              <a:gd name="connsiteY1835" fmla="*/ 975532 h 1934496"/>
              <a:gd name="connsiteX1836" fmla="*/ 6210763 w 9922465"/>
              <a:gd name="connsiteY1836" fmla="*/ 1030723 h 1934496"/>
              <a:gd name="connsiteX1837" fmla="*/ 6155571 w 9922465"/>
              <a:gd name="connsiteY1837" fmla="*/ 1085914 h 1934496"/>
              <a:gd name="connsiteX1838" fmla="*/ 6100379 w 9922465"/>
              <a:gd name="connsiteY1838" fmla="*/ 1030723 h 1934496"/>
              <a:gd name="connsiteX1839" fmla="*/ 6155571 w 9922465"/>
              <a:gd name="connsiteY1839" fmla="*/ 975532 h 1934496"/>
              <a:gd name="connsiteX1840" fmla="*/ 6021936 w 9922465"/>
              <a:gd name="connsiteY1840" fmla="*/ 975532 h 1934496"/>
              <a:gd name="connsiteX1841" fmla="*/ 6077128 w 9922465"/>
              <a:gd name="connsiteY1841" fmla="*/ 1030723 h 1934496"/>
              <a:gd name="connsiteX1842" fmla="*/ 6021936 w 9922465"/>
              <a:gd name="connsiteY1842" fmla="*/ 1085914 h 1934496"/>
              <a:gd name="connsiteX1843" fmla="*/ 5966744 w 9922465"/>
              <a:gd name="connsiteY1843" fmla="*/ 1030723 h 1934496"/>
              <a:gd name="connsiteX1844" fmla="*/ 6021936 w 9922465"/>
              <a:gd name="connsiteY1844" fmla="*/ 975532 h 1934496"/>
              <a:gd name="connsiteX1845" fmla="*/ 5884963 w 9922465"/>
              <a:gd name="connsiteY1845" fmla="*/ 975532 h 1934496"/>
              <a:gd name="connsiteX1846" fmla="*/ 5940155 w 9922465"/>
              <a:gd name="connsiteY1846" fmla="*/ 1030723 h 1934496"/>
              <a:gd name="connsiteX1847" fmla="*/ 5884963 w 9922465"/>
              <a:gd name="connsiteY1847" fmla="*/ 1085914 h 1934496"/>
              <a:gd name="connsiteX1848" fmla="*/ 5829771 w 9922465"/>
              <a:gd name="connsiteY1848" fmla="*/ 1030723 h 1934496"/>
              <a:gd name="connsiteX1849" fmla="*/ 5884963 w 9922465"/>
              <a:gd name="connsiteY1849" fmla="*/ 975532 h 1934496"/>
              <a:gd name="connsiteX1850" fmla="*/ 5621031 w 9922465"/>
              <a:gd name="connsiteY1850" fmla="*/ 975532 h 1934496"/>
              <a:gd name="connsiteX1851" fmla="*/ 5676223 w 9922465"/>
              <a:gd name="connsiteY1851" fmla="*/ 1030723 h 1934496"/>
              <a:gd name="connsiteX1852" fmla="*/ 5621031 w 9922465"/>
              <a:gd name="connsiteY1852" fmla="*/ 1085914 h 1934496"/>
              <a:gd name="connsiteX1853" fmla="*/ 5565839 w 9922465"/>
              <a:gd name="connsiteY1853" fmla="*/ 1030723 h 1934496"/>
              <a:gd name="connsiteX1854" fmla="*/ 5621031 w 9922465"/>
              <a:gd name="connsiteY1854" fmla="*/ 975532 h 1934496"/>
              <a:gd name="connsiteX1855" fmla="*/ 5223472 w 9922465"/>
              <a:gd name="connsiteY1855" fmla="*/ 975532 h 1934496"/>
              <a:gd name="connsiteX1856" fmla="*/ 5278664 w 9922465"/>
              <a:gd name="connsiteY1856" fmla="*/ 1030723 h 1934496"/>
              <a:gd name="connsiteX1857" fmla="*/ 5223472 w 9922465"/>
              <a:gd name="connsiteY1857" fmla="*/ 1085914 h 1934496"/>
              <a:gd name="connsiteX1858" fmla="*/ 5168280 w 9922465"/>
              <a:gd name="connsiteY1858" fmla="*/ 1030723 h 1934496"/>
              <a:gd name="connsiteX1859" fmla="*/ 5223472 w 9922465"/>
              <a:gd name="connsiteY1859" fmla="*/ 975532 h 1934496"/>
              <a:gd name="connsiteX1860" fmla="*/ 4294710 w 9922465"/>
              <a:gd name="connsiteY1860" fmla="*/ 975532 h 1934496"/>
              <a:gd name="connsiteX1861" fmla="*/ 4349902 w 9922465"/>
              <a:gd name="connsiteY1861" fmla="*/ 1030723 h 1934496"/>
              <a:gd name="connsiteX1862" fmla="*/ 4294710 w 9922465"/>
              <a:gd name="connsiteY1862" fmla="*/ 1085914 h 1934496"/>
              <a:gd name="connsiteX1863" fmla="*/ 4239518 w 9922465"/>
              <a:gd name="connsiteY1863" fmla="*/ 1030723 h 1934496"/>
              <a:gd name="connsiteX1864" fmla="*/ 4294710 w 9922465"/>
              <a:gd name="connsiteY1864" fmla="*/ 975532 h 1934496"/>
              <a:gd name="connsiteX1865" fmla="*/ 3499584 w 9922465"/>
              <a:gd name="connsiteY1865" fmla="*/ 975532 h 1934496"/>
              <a:gd name="connsiteX1866" fmla="*/ 3554776 w 9922465"/>
              <a:gd name="connsiteY1866" fmla="*/ 1030723 h 1934496"/>
              <a:gd name="connsiteX1867" fmla="*/ 3499584 w 9922465"/>
              <a:gd name="connsiteY1867" fmla="*/ 1085914 h 1934496"/>
              <a:gd name="connsiteX1868" fmla="*/ 3444392 w 9922465"/>
              <a:gd name="connsiteY1868" fmla="*/ 1030723 h 1934496"/>
              <a:gd name="connsiteX1869" fmla="*/ 3499584 w 9922465"/>
              <a:gd name="connsiteY1869" fmla="*/ 975532 h 1934496"/>
              <a:gd name="connsiteX1870" fmla="*/ 2834836 w 9922465"/>
              <a:gd name="connsiteY1870" fmla="*/ 975532 h 1934496"/>
              <a:gd name="connsiteX1871" fmla="*/ 2890028 w 9922465"/>
              <a:gd name="connsiteY1871" fmla="*/ 1030723 h 1934496"/>
              <a:gd name="connsiteX1872" fmla="*/ 2834836 w 9922465"/>
              <a:gd name="connsiteY1872" fmla="*/ 1085914 h 1934496"/>
              <a:gd name="connsiteX1873" fmla="*/ 2779643 w 9922465"/>
              <a:gd name="connsiteY1873" fmla="*/ 1030723 h 1934496"/>
              <a:gd name="connsiteX1874" fmla="*/ 2834836 w 9922465"/>
              <a:gd name="connsiteY1874" fmla="*/ 975532 h 1934496"/>
              <a:gd name="connsiteX1875" fmla="*/ 2303639 w 9922465"/>
              <a:gd name="connsiteY1875" fmla="*/ 975532 h 1934496"/>
              <a:gd name="connsiteX1876" fmla="*/ 2358830 w 9922465"/>
              <a:gd name="connsiteY1876" fmla="*/ 1030723 h 1934496"/>
              <a:gd name="connsiteX1877" fmla="*/ 2303639 w 9922465"/>
              <a:gd name="connsiteY1877" fmla="*/ 1085914 h 1934496"/>
              <a:gd name="connsiteX1878" fmla="*/ 2248448 w 9922465"/>
              <a:gd name="connsiteY1878" fmla="*/ 1030723 h 1934496"/>
              <a:gd name="connsiteX1879" fmla="*/ 2303639 w 9922465"/>
              <a:gd name="connsiteY1879" fmla="*/ 975532 h 1934496"/>
              <a:gd name="connsiteX1880" fmla="*/ 2039712 w 9922465"/>
              <a:gd name="connsiteY1880" fmla="*/ 975532 h 1934496"/>
              <a:gd name="connsiteX1881" fmla="*/ 2094905 w 9922465"/>
              <a:gd name="connsiteY1881" fmla="*/ 1030723 h 1934496"/>
              <a:gd name="connsiteX1882" fmla="*/ 2039712 w 9922465"/>
              <a:gd name="connsiteY1882" fmla="*/ 1085914 h 1934496"/>
              <a:gd name="connsiteX1883" fmla="*/ 1984518 w 9922465"/>
              <a:gd name="connsiteY1883" fmla="*/ 1030723 h 1934496"/>
              <a:gd name="connsiteX1884" fmla="*/ 2039712 w 9922465"/>
              <a:gd name="connsiteY1884" fmla="*/ 975532 h 1934496"/>
              <a:gd name="connsiteX1885" fmla="*/ 1909414 w 9922465"/>
              <a:gd name="connsiteY1885" fmla="*/ 975532 h 1934496"/>
              <a:gd name="connsiteX1886" fmla="*/ 1964607 w 9922465"/>
              <a:gd name="connsiteY1886" fmla="*/ 1030723 h 1934496"/>
              <a:gd name="connsiteX1887" fmla="*/ 1909414 w 9922465"/>
              <a:gd name="connsiteY1887" fmla="*/ 1085914 h 1934496"/>
              <a:gd name="connsiteX1888" fmla="*/ 1854220 w 9922465"/>
              <a:gd name="connsiteY1888" fmla="*/ 1030723 h 1934496"/>
              <a:gd name="connsiteX1889" fmla="*/ 1909414 w 9922465"/>
              <a:gd name="connsiteY1889" fmla="*/ 975532 h 1934496"/>
              <a:gd name="connsiteX1890" fmla="*/ 1779117 w 9922465"/>
              <a:gd name="connsiteY1890" fmla="*/ 975532 h 1934496"/>
              <a:gd name="connsiteX1891" fmla="*/ 1834310 w 9922465"/>
              <a:gd name="connsiteY1891" fmla="*/ 1030723 h 1934496"/>
              <a:gd name="connsiteX1892" fmla="*/ 1779117 w 9922465"/>
              <a:gd name="connsiteY1892" fmla="*/ 1085914 h 1934496"/>
              <a:gd name="connsiteX1893" fmla="*/ 1723923 w 9922465"/>
              <a:gd name="connsiteY1893" fmla="*/ 1030723 h 1934496"/>
              <a:gd name="connsiteX1894" fmla="*/ 1779117 w 9922465"/>
              <a:gd name="connsiteY1894" fmla="*/ 975532 h 1934496"/>
              <a:gd name="connsiteX1895" fmla="*/ 1645480 w 9922465"/>
              <a:gd name="connsiteY1895" fmla="*/ 975532 h 1934496"/>
              <a:gd name="connsiteX1896" fmla="*/ 1700679 w 9922465"/>
              <a:gd name="connsiteY1896" fmla="*/ 1030723 h 1934496"/>
              <a:gd name="connsiteX1897" fmla="*/ 1645480 w 9922465"/>
              <a:gd name="connsiteY1897" fmla="*/ 1085914 h 1934496"/>
              <a:gd name="connsiteX1898" fmla="*/ 1590287 w 9922465"/>
              <a:gd name="connsiteY1898" fmla="*/ 1030723 h 1934496"/>
              <a:gd name="connsiteX1899" fmla="*/ 1645480 w 9922465"/>
              <a:gd name="connsiteY1899" fmla="*/ 975532 h 1934496"/>
              <a:gd name="connsiteX1900" fmla="*/ 1515189 w 9922465"/>
              <a:gd name="connsiteY1900" fmla="*/ 975532 h 1934496"/>
              <a:gd name="connsiteX1901" fmla="*/ 1570378 w 9922465"/>
              <a:gd name="connsiteY1901" fmla="*/ 1030723 h 1934496"/>
              <a:gd name="connsiteX1902" fmla="*/ 1515189 w 9922465"/>
              <a:gd name="connsiteY1902" fmla="*/ 1085914 h 1934496"/>
              <a:gd name="connsiteX1903" fmla="*/ 1459995 w 9922465"/>
              <a:gd name="connsiteY1903" fmla="*/ 1030723 h 1934496"/>
              <a:gd name="connsiteX1904" fmla="*/ 1515189 w 9922465"/>
              <a:gd name="connsiteY1904" fmla="*/ 975532 h 1934496"/>
              <a:gd name="connsiteX1905" fmla="*/ 1381549 w 9922465"/>
              <a:gd name="connsiteY1905" fmla="*/ 975532 h 1934496"/>
              <a:gd name="connsiteX1906" fmla="*/ 1436744 w 9922465"/>
              <a:gd name="connsiteY1906" fmla="*/ 1030723 h 1934496"/>
              <a:gd name="connsiteX1907" fmla="*/ 1381549 w 9922465"/>
              <a:gd name="connsiteY1907" fmla="*/ 1085914 h 1934496"/>
              <a:gd name="connsiteX1908" fmla="*/ 1326361 w 9922465"/>
              <a:gd name="connsiteY1908" fmla="*/ 1030723 h 1934496"/>
              <a:gd name="connsiteX1909" fmla="*/ 1381549 w 9922465"/>
              <a:gd name="connsiteY1909" fmla="*/ 975532 h 1934496"/>
              <a:gd name="connsiteX1910" fmla="*/ 1117621 w 9922465"/>
              <a:gd name="connsiteY1910" fmla="*/ 975532 h 1934496"/>
              <a:gd name="connsiteX1911" fmla="*/ 1172814 w 9922465"/>
              <a:gd name="connsiteY1911" fmla="*/ 1030723 h 1934496"/>
              <a:gd name="connsiteX1912" fmla="*/ 1117621 w 9922465"/>
              <a:gd name="connsiteY1912" fmla="*/ 1085914 h 1934496"/>
              <a:gd name="connsiteX1913" fmla="*/ 1062427 w 9922465"/>
              <a:gd name="connsiteY1913" fmla="*/ 1030723 h 1934496"/>
              <a:gd name="connsiteX1914" fmla="*/ 1117621 w 9922465"/>
              <a:gd name="connsiteY1914" fmla="*/ 975532 h 1934496"/>
              <a:gd name="connsiteX1915" fmla="*/ 980643 w 9922465"/>
              <a:gd name="connsiteY1915" fmla="*/ 975532 h 1934496"/>
              <a:gd name="connsiteX1916" fmla="*/ 1035836 w 9922465"/>
              <a:gd name="connsiteY1916" fmla="*/ 1030723 h 1934496"/>
              <a:gd name="connsiteX1917" fmla="*/ 980643 w 9922465"/>
              <a:gd name="connsiteY1917" fmla="*/ 1085914 h 1934496"/>
              <a:gd name="connsiteX1918" fmla="*/ 925449 w 9922465"/>
              <a:gd name="connsiteY1918" fmla="*/ 1030723 h 1934496"/>
              <a:gd name="connsiteX1919" fmla="*/ 980643 w 9922465"/>
              <a:gd name="connsiteY1919" fmla="*/ 975532 h 1934496"/>
              <a:gd name="connsiteX1920" fmla="*/ 716703 w 9922465"/>
              <a:gd name="connsiteY1920" fmla="*/ 975532 h 1934496"/>
              <a:gd name="connsiteX1921" fmla="*/ 771897 w 9922465"/>
              <a:gd name="connsiteY1921" fmla="*/ 1030723 h 1934496"/>
              <a:gd name="connsiteX1922" fmla="*/ 716703 w 9922465"/>
              <a:gd name="connsiteY1922" fmla="*/ 1085914 h 1934496"/>
              <a:gd name="connsiteX1923" fmla="*/ 661511 w 9922465"/>
              <a:gd name="connsiteY1923" fmla="*/ 1030723 h 1934496"/>
              <a:gd name="connsiteX1924" fmla="*/ 716703 w 9922465"/>
              <a:gd name="connsiteY1924" fmla="*/ 975532 h 1934496"/>
              <a:gd name="connsiteX1925" fmla="*/ 583065 w 9922465"/>
              <a:gd name="connsiteY1925" fmla="*/ 975532 h 1934496"/>
              <a:gd name="connsiteX1926" fmla="*/ 638258 w 9922465"/>
              <a:gd name="connsiteY1926" fmla="*/ 1030723 h 1934496"/>
              <a:gd name="connsiteX1927" fmla="*/ 583065 w 9922465"/>
              <a:gd name="connsiteY1927" fmla="*/ 1085914 h 1934496"/>
              <a:gd name="connsiteX1928" fmla="*/ 527871 w 9922465"/>
              <a:gd name="connsiteY1928" fmla="*/ 1030723 h 1934496"/>
              <a:gd name="connsiteX1929" fmla="*/ 583065 w 9922465"/>
              <a:gd name="connsiteY1929" fmla="*/ 975532 h 1934496"/>
              <a:gd name="connsiteX1930" fmla="*/ 449419 w 9922465"/>
              <a:gd name="connsiteY1930" fmla="*/ 975532 h 1934496"/>
              <a:gd name="connsiteX1931" fmla="*/ 504612 w 9922465"/>
              <a:gd name="connsiteY1931" fmla="*/ 1030723 h 1934496"/>
              <a:gd name="connsiteX1932" fmla="*/ 449419 w 9922465"/>
              <a:gd name="connsiteY1932" fmla="*/ 1085914 h 1934496"/>
              <a:gd name="connsiteX1933" fmla="*/ 394227 w 9922465"/>
              <a:gd name="connsiteY1933" fmla="*/ 1030723 h 1934496"/>
              <a:gd name="connsiteX1934" fmla="*/ 449419 w 9922465"/>
              <a:gd name="connsiteY1934" fmla="*/ 975532 h 1934496"/>
              <a:gd name="connsiteX1935" fmla="*/ 319124 w 9922465"/>
              <a:gd name="connsiteY1935" fmla="*/ 975532 h 1934496"/>
              <a:gd name="connsiteX1936" fmla="*/ 374317 w 9922465"/>
              <a:gd name="connsiteY1936" fmla="*/ 1030723 h 1934496"/>
              <a:gd name="connsiteX1937" fmla="*/ 319124 w 9922465"/>
              <a:gd name="connsiteY1937" fmla="*/ 1085914 h 1934496"/>
              <a:gd name="connsiteX1938" fmla="*/ 263931 w 9922465"/>
              <a:gd name="connsiteY1938" fmla="*/ 1030723 h 1934496"/>
              <a:gd name="connsiteX1939" fmla="*/ 319124 w 9922465"/>
              <a:gd name="connsiteY1939" fmla="*/ 975532 h 1934496"/>
              <a:gd name="connsiteX1940" fmla="*/ 185492 w 9922465"/>
              <a:gd name="connsiteY1940" fmla="*/ 975532 h 1934496"/>
              <a:gd name="connsiteX1941" fmla="*/ 240682 w 9922465"/>
              <a:gd name="connsiteY1941" fmla="*/ 1030723 h 1934496"/>
              <a:gd name="connsiteX1942" fmla="*/ 185492 w 9922465"/>
              <a:gd name="connsiteY1942" fmla="*/ 1085914 h 1934496"/>
              <a:gd name="connsiteX1943" fmla="*/ 130299 w 9922465"/>
              <a:gd name="connsiteY1943" fmla="*/ 1030723 h 1934496"/>
              <a:gd name="connsiteX1944" fmla="*/ 185492 w 9922465"/>
              <a:gd name="connsiteY1944" fmla="*/ 975532 h 1934496"/>
              <a:gd name="connsiteX1945" fmla="*/ 55197 w 9922465"/>
              <a:gd name="connsiteY1945" fmla="*/ 975532 h 1934496"/>
              <a:gd name="connsiteX1946" fmla="*/ 110388 w 9922465"/>
              <a:gd name="connsiteY1946" fmla="*/ 1030723 h 1934496"/>
              <a:gd name="connsiteX1947" fmla="*/ 55197 w 9922465"/>
              <a:gd name="connsiteY1947" fmla="*/ 1085914 h 1934496"/>
              <a:gd name="connsiteX1948" fmla="*/ 7 w 9922465"/>
              <a:gd name="connsiteY1948" fmla="*/ 1030723 h 1934496"/>
              <a:gd name="connsiteX1949" fmla="*/ 55197 w 9922465"/>
              <a:gd name="connsiteY1949" fmla="*/ 975532 h 1934496"/>
              <a:gd name="connsiteX1950" fmla="*/ 9469710 w 9922465"/>
              <a:gd name="connsiteY1950" fmla="*/ 855263 h 1934496"/>
              <a:gd name="connsiteX1951" fmla="*/ 9524902 w 9922465"/>
              <a:gd name="connsiteY1951" fmla="*/ 910454 h 1934496"/>
              <a:gd name="connsiteX1952" fmla="*/ 9469710 w 9922465"/>
              <a:gd name="connsiteY1952" fmla="*/ 965645 h 1934496"/>
              <a:gd name="connsiteX1953" fmla="*/ 9414518 w 9922465"/>
              <a:gd name="connsiteY1953" fmla="*/ 910454 h 1934496"/>
              <a:gd name="connsiteX1954" fmla="*/ 9469710 w 9922465"/>
              <a:gd name="connsiteY1954" fmla="*/ 855263 h 1934496"/>
              <a:gd name="connsiteX1955" fmla="*/ 9336075 w 9922465"/>
              <a:gd name="connsiteY1955" fmla="*/ 855263 h 1934496"/>
              <a:gd name="connsiteX1956" fmla="*/ 9391267 w 9922465"/>
              <a:gd name="connsiteY1956" fmla="*/ 910454 h 1934496"/>
              <a:gd name="connsiteX1957" fmla="*/ 9336075 w 9922465"/>
              <a:gd name="connsiteY1957" fmla="*/ 965645 h 1934496"/>
              <a:gd name="connsiteX1958" fmla="*/ 9280883 w 9922465"/>
              <a:gd name="connsiteY1958" fmla="*/ 910454 h 1934496"/>
              <a:gd name="connsiteX1959" fmla="*/ 9336075 w 9922465"/>
              <a:gd name="connsiteY1959" fmla="*/ 855263 h 1934496"/>
              <a:gd name="connsiteX1960" fmla="*/ 9199100 w 9922465"/>
              <a:gd name="connsiteY1960" fmla="*/ 855263 h 1934496"/>
              <a:gd name="connsiteX1961" fmla="*/ 9254292 w 9922465"/>
              <a:gd name="connsiteY1961" fmla="*/ 910454 h 1934496"/>
              <a:gd name="connsiteX1962" fmla="*/ 9199100 w 9922465"/>
              <a:gd name="connsiteY1962" fmla="*/ 965645 h 1934496"/>
              <a:gd name="connsiteX1963" fmla="*/ 9143908 w 9922465"/>
              <a:gd name="connsiteY1963" fmla="*/ 910454 h 1934496"/>
              <a:gd name="connsiteX1964" fmla="*/ 9199100 w 9922465"/>
              <a:gd name="connsiteY1964" fmla="*/ 855263 h 1934496"/>
              <a:gd name="connsiteX1965" fmla="*/ 9068806 w 9922465"/>
              <a:gd name="connsiteY1965" fmla="*/ 855263 h 1934496"/>
              <a:gd name="connsiteX1966" fmla="*/ 9123998 w 9922465"/>
              <a:gd name="connsiteY1966" fmla="*/ 910454 h 1934496"/>
              <a:gd name="connsiteX1967" fmla="*/ 9068806 w 9922465"/>
              <a:gd name="connsiteY1967" fmla="*/ 965645 h 1934496"/>
              <a:gd name="connsiteX1968" fmla="*/ 9013614 w 9922465"/>
              <a:gd name="connsiteY1968" fmla="*/ 910454 h 1934496"/>
              <a:gd name="connsiteX1969" fmla="*/ 9068806 w 9922465"/>
              <a:gd name="connsiteY1969" fmla="*/ 855263 h 1934496"/>
              <a:gd name="connsiteX1970" fmla="*/ 8935170 w 9922465"/>
              <a:gd name="connsiteY1970" fmla="*/ 855263 h 1934496"/>
              <a:gd name="connsiteX1971" fmla="*/ 8990362 w 9922465"/>
              <a:gd name="connsiteY1971" fmla="*/ 910454 h 1934496"/>
              <a:gd name="connsiteX1972" fmla="*/ 8935170 w 9922465"/>
              <a:gd name="connsiteY1972" fmla="*/ 965645 h 1934496"/>
              <a:gd name="connsiteX1973" fmla="*/ 8879978 w 9922465"/>
              <a:gd name="connsiteY1973" fmla="*/ 910454 h 1934496"/>
              <a:gd name="connsiteX1974" fmla="*/ 8935170 w 9922465"/>
              <a:gd name="connsiteY1974" fmla="*/ 855263 h 1934496"/>
              <a:gd name="connsiteX1975" fmla="*/ 8801536 w 9922465"/>
              <a:gd name="connsiteY1975" fmla="*/ 855263 h 1934496"/>
              <a:gd name="connsiteX1976" fmla="*/ 8856728 w 9922465"/>
              <a:gd name="connsiteY1976" fmla="*/ 910454 h 1934496"/>
              <a:gd name="connsiteX1977" fmla="*/ 8801536 w 9922465"/>
              <a:gd name="connsiteY1977" fmla="*/ 965645 h 1934496"/>
              <a:gd name="connsiteX1978" fmla="*/ 8746344 w 9922465"/>
              <a:gd name="connsiteY1978" fmla="*/ 910454 h 1934496"/>
              <a:gd name="connsiteX1979" fmla="*/ 8801536 w 9922465"/>
              <a:gd name="connsiteY1979" fmla="*/ 855263 h 1934496"/>
              <a:gd name="connsiteX1980" fmla="*/ 8671243 w 9922465"/>
              <a:gd name="connsiteY1980" fmla="*/ 855263 h 1934496"/>
              <a:gd name="connsiteX1981" fmla="*/ 8726435 w 9922465"/>
              <a:gd name="connsiteY1981" fmla="*/ 910454 h 1934496"/>
              <a:gd name="connsiteX1982" fmla="*/ 8671243 w 9922465"/>
              <a:gd name="connsiteY1982" fmla="*/ 965645 h 1934496"/>
              <a:gd name="connsiteX1983" fmla="*/ 8616051 w 9922465"/>
              <a:gd name="connsiteY1983" fmla="*/ 910454 h 1934496"/>
              <a:gd name="connsiteX1984" fmla="*/ 8671243 w 9922465"/>
              <a:gd name="connsiteY1984" fmla="*/ 855263 h 1934496"/>
              <a:gd name="connsiteX1985" fmla="*/ 8537609 w 9922465"/>
              <a:gd name="connsiteY1985" fmla="*/ 855263 h 1934496"/>
              <a:gd name="connsiteX1986" fmla="*/ 8592801 w 9922465"/>
              <a:gd name="connsiteY1986" fmla="*/ 910454 h 1934496"/>
              <a:gd name="connsiteX1987" fmla="*/ 8537609 w 9922465"/>
              <a:gd name="connsiteY1987" fmla="*/ 965645 h 1934496"/>
              <a:gd name="connsiteX1988" fmla="*/ 8482417 w 9922465"/>
              <a:gd name="connsiteY1988" fmla="*/ 910454 h 1934496"/>
              <a:gd name="connsiteX1989" fmla="*/ 8537609 w 9922465"/>
              <a:gd name="connsiteY1989" fmla="*/ 855263 h 1934496"/>
              <a:gd name="connsiteX1990" fmla="*/ 8407315 w 9922465"/>
              <a:gd name="connsiteY1990" fmla="*/ 855263 h 1934496"/>
              <a:gd name="connsiteX1991" fmla="*/ 8462507 w 9922465"/>
              <a:gd name="connsiteY1991" fmla="*/ 910454 h 1934496"/>
              <a:gd name="connsiteX1992" fmla="*/ 8407315 w 9922465"/>
              <a:gd name="connsiteY1992" fmla="*/ 965645 h 1934496"/>
              <a:gd name="connsiteX1993" fmla="*/ 8352123 w 9922465"/>
              <a:gd name="connsiteY1993" fmla="*/ 910454 h 1934496"/>
              <a:gd name="connsiteX1994" fmla="*/ 8407315 w 9922465"/>
              <a:gd name="connsiteY1994" fmla="*/ 855263 h 1934496"/>
              <a:gd name="connsiteX1995" fmla="*/ 8273681 w 9922465"/>
              <a:gd name="connsiteY1995" fmla="*/ 855263 h 1934496"/>
              <a:gd name="connsiteX1996" fmla="*/ 8328873 w 9922465"/>
              <a:gd name="connsiteY1996" fmla="*/ 910454 h 1934496"/>
              <a:gd name="connsiteX1997" fmla="*/ 8273681 w 9922465"/>
              <a:gd name="connsiteY1997" fmla="*/ 965645 h 1934496"/>
              <a:gd name="connsiteX1998" fmla="*/ 8218489 w 9922465"/>
              <a:gd name="connsiteY1998" fmla="*/ 910454 h 1934496"/>
              <a:gd name="connsiteX1999" fmla="*/ 8273681 w 9922465"/>
              <a:gd name="connsiteY1999" fmla="*/ 855263 h 1934496"/>
              <a:gd name="connsiteX2000" fmla="*/ 8143386 w 9922465"/>
              <a:gd name="connsiteY2000" fmla="*/ 855263 h 1934496"/>
              <a:gd name="connsiteX2001" fmla="*/ 8198578 w 9922465"/>
              <a:gd name="connsiteY2001" fmla="*/ 910454 h 1934496"/>
              <a:gd name="connsiteX2002" fmla="*/ 8143386 w 9922465"/>
              <a:gd name="connsiteY2002" fmla="*/ 965645 h 1934496"/>
              <a:gd name="connsiteX2003" fmla="*/ 8088194 w 9922465"/>
              <a:gd name="connsiteY2003" fmla="*/ 910454 h 1934496"/>
              <a:gd name="connsiteX2004" fmla="*/ 8143386 w 9922465"/>
              <a:gd name="connsiteY2004" fmla="*/ 855263 h 1934496"/>
              <a:gd name="connsiteX2005" fmla="*/ 8009752 w 9922465"/>
              <a:gd name="connsiteY2005" fmla="*/ 855263 h 1934496"/>
              <a:gd name="connsiteX2006" fmla="*/ 8064944 w 9922465"/>
              <a:gd name="connsiteY2006" fmla="*/ 910454 h 1934496"/>
              <a:gd name="connsiteX2007" fmla="*/ 8009752 w 9922465"/>
              <a:gd name="connsiteY2007" fmla="*/ 965645 h 1934496"/>
              <a:gd name="connsiteX2008" fmla="*/ 7954560 w 9922465"/>
              <a:gd name="connsiteY2008" fmla="*/ 910454 h 1934496"/>
              <a:gd name="connsiteX2009" fmla="*/ 8009752 w 9922465"/>
              <a:gd name="connsiteY2009" fmla="*/ 855263 h 1934496"/>
              <a:gd name="connsiteX2010" fmla="*/ 7876117 w 9922465"/>
              <a:gd name="connsiteY2010" fmla="*/ 855263 h 1934496"/>
              <a:gd name="connsiteX2011" fmla="*/ 7931309 w 9922465"/>
              <a:gd name="connsiteY2011" fmla="*/ 910454 h 1934496"/>
              <a:gd name="connsiteX2012" fmla="*/ 7876117 w 9922465"/>
              <a:gd name="connsiteY2012" fmla="*/ 965645 h 1934496"/>
              <a:gd name="connsiteX2013" fmla="*/ 7820925 w 9922465"/>
              <a:gd name="connsiteY2013" fmla="*/ 910454 h 1934496"/>
              <a:gd name="connsiteX2014" fmla="*/ 7876117 w 9922465"/>
              <a:gd name="connsiteY2014" fmla="*/ 855263 h 1934496"/>
              <a:gd name="connsiteX2015" fmla="*/ 7745822 w 9922465"/>
              <a:gd name="connsiteY2015" fmla="*/ 855263 h 1934496"/>
              <a:gd name="connsiteX2016" fmla="*/ 7801014 w 9922465"/>
              <a:gd name="connsiteY2016" fmla="*/ 910454 h 1934496"/>
              <a:gd name="connsiteX2017" fmla="*/ 7745822 w 9922465"/>
              <a:gd name="connsiteY2017" fmla="*/ 965645 h 1934496"/>
              <a:gd name="connsiteX2018" fmla="*/ 7690630 w 9922465"/>
              <a:gd name="connsiteY2018" fmla="*/ 910454 h 1934496"/>
              <a:gd name="connsiteX2019" fmla="*/ 7745822 w 9922465"/>
              <a:gd name="connsiteY2019" fmla="*/ 855263 h 1934496"/>
              <a:gd name="connsiteX2020" fmla="*/ 7608849 w 9922465"/>
              <a:gd name="connsiteY2020" fmla="*/ 855263 h 1934496"/>
              <a:gd name="connsiteX2021" fmla="*/ 7664041 w 9922465"/>
              <a:gd name="connsiteY2021" fmla="*/ 910454 h 1934496"/>
              <a:gd name="connsiteX2022" fmla="*/ 7608849 w 9922465"/>
              <a:gd name="connsiteY2022" fmla="*/ 965645 h 1934496"/>
              <a:gd name="connsiteX2023" fmla="*/ 7553657 w 9922465"/>
              <a:gd name="connsiteY2023" fmla="*/ 910454 h 1934496"/>
              <a:gd name="connsiteX2024" fmla="*/ 7608849 w 9922465"/>
              <a:gd name="connsiteY2024" fmla="*/ 855263 h 1934496"/>
              <a:gd name="connsiteX2025" fmla="*/ 7481895 w 9922465"/>
              <a:gd name="connsiteY2025" fmla="*/ 855263 h 1934496"/>
              <a:gd name="connsiteX2026" fmla="*/ 7537087 w 9922465"/>
              <a:gd name="connsiteY2026" fmla="*/ 910454 h 1934496"/>
              <a:gd name="connsiteX2027" fmla="*/ 7481895 w 9922465"/>
              <a:gd name="connsiteY2027" fmla="*/ 965645 h 1934496"/>
              <a:gd name="connsiteX2028" fmla="*/ 7426703 w 9922465"/>
              <a:gd name="connsiteY2028" fmla="*/ 910454 h 1934496"/>
              <a:gd name="connsiteX2029" fmla="*/ 7481895 w 9922465"/>
              <a:gd name="connsiteY2029" fmla="*/ 855263 h 1934496"/>
              <a:gd name="connsiteX2030" fmla="*/ 7341578 w 9922465"/>
              <a:gd name="connsiteY2030" fmla="*/ 855263 h 1934496"/>
              <a:gd name="connsiteX2031" fmla="*/ 7396770 w 9922465"/>
              <a:gd name="connsiteY2031" fmla="*/ 910454 h 1934496"/>
              <a:gd name="connsiteX2032" fmla="*/ 7341578 w 9922465"/>
              <a:gd name="connsiteY2032" fmla="*/ 965645 h 1934496"/>
              <a:gd name="connsiteX2033" fmla="*/ 7286386 w 9922465"/>
              <a:gd name="connsiteY2033" fmla="*/ 910454 h 1934496"/>
              <a:gd name="connsiteX2034" fmla="*/ 7341578 w 9922465"/>
              <a:gd name="connsiteY2034" fmla="*/ 855263 h 1934496"/>
              <a:gd name="connsiteX2035" fmla="*/ 7211285 w 9922465"/>
              <a:gd name="connsiteY2035" fmla="*/ 855263 h 1934496"/>
              <a:gd name="connsiteX2036" fmla="*/ 7266477 w 9922465"/>
              <a:gd name="connsiteY2036" fmla="*/ 910454 h 1934496"/>
              <a:gd name="connsiteX2037" fmla="*/ 7211285 w 9922465"/>
              <a:gd name="connsiteY2037" fmla="*/ 965645 h 1934496"/>
              <a:gd name="connsiteX2038" fmla="*/ 7156093 w 9922465"/>
              <a:gd name="connsiteY2038" fmla="*/ 910454 h 1934496"/>
              <a:gd name="connsiteX2039" fmla="*/ 7211285 w 9922465"/>
              <a:gd name="connsiteY2039" fmla="*/ 855263 h 1934496"/>
              <a:gd name="connsiteX2040" fmla="*/ 7080993 w 9922465"/>
              <a:gd name="connsiteY2040" fmla="*/ 855263 h 1934496"/>
              <a:gd name="connsiteX2041" fmla="*/ 7136185 w 9922465"/>
              <a:gd name="connsiteY2041" fmla="*/ 910454 h 1934496"/>
              <a:gd name="connsiteX2042" fmla="*/ 7080993 w 9922465"/>
              <a:gd name="connsiteY2042" fmla="*/ 965645 h 1934496"/>
              <a:gd name="connsiteX2043" fmla="*/ 7025801 w 9922465"/>
              <a:gd name="connsiteY2043" fmla="*/ 910454 h 1934496"/>
              <a:gd name="connsiteX2044" fmla="*/ 7080993 w 9922465"/>
              <a:gd name="connsiteY2044" fmla="*/ 855263 h 1934496"/>
              <a:gd name="connsiteX2045" fmla="*/ 6947357 w 9922465"/>
              <a:gd name="connsiteY2045" fmla="*/ 855263 h 1934496"/>
              <a:gd name="connsiteX2046" fmla="*/ 7002549 w 9922465"/>
              <a:gd name="connsiteY2046" fmla="*/ 910454 h 1934496"/>
              <a:gd name="connsiteX2047" fmla="*/ 6947357 w 9922465"/>
              <a:gd name="connsiteY2047" fmla="*/ 965645 h 1934496"/>
              <a:gd name="connsiteX2048" fmla="*/ 6892165 w 9922465"/>
              <a:gd name="connsiteY2048" fmla="*/ 910454 h 1934496"/>
              <a:gd name="connsiteX2049" fmla="*/ 6947357 w 9922465"/>
              <a:gd name="connsiteY2049" fmla="*/ 855263 h 1934496"/>
              <a:gd name="connsiteX2050" fmla="*/ 6817063 w 9922465"/>
              <a:gd name="connsiteY2050" fmla="*/ 855263 h 1934496"/>
              <a:gd name="connsiteX2051" fmla="*/ 6872255 w 9922465"/>
              <a:gd name="connsiteY2051" fmla="*/ 910454 h 1934496"/>
              <a:gd name="connsiteX2052" fmla="*/ 6817063 w 9922465"/>
              <a:gd name="connsiteY2052" fmla="*/ 965645 h 1934496"/>
              <a:gd name="connsiteX2053" fmla="*/ 6761871 w 9922465"/>
              <a:gd name="connsiteY2053" fmla="*/ 910454 h 1934496"/>
              <a:gd name="connsiteX2054" fmla="*/ 6817063 w 9922465"/>
              <a:gd name="connsiteY2054" fmla="*/ 855263 h 1934496"/>
              <a:gd name="connsiteX2055" fmla="*/ 6683430 w 9922465"/>
              <a:gd name="connsiteY2055" fmla="*/ 855263 h 1934496"/>
              <a:gd name="connsiteX2056" fmla="*/ 6738622 w 9922465"/>
              <a:gd name="connsiteY2056" fmla="*/ 910454 h 1934496"/>
              <a:gd name="connsiteX2057" fmla="*/ 6683430 w 9922465"/>
              <a:gd name="connsiteY2057" fmla="*/ 965645 h 1934496"/>
              <a:gd name="connsiteX2058" fmla="*/ 6628238 w 9922465"/>
              <a:gd name="connsiteY2058" fmla="*/ 910454 h 1934496"/>
              <a:gd name="connsiteX2059" fmla="*/ 6683430 w 9922465"/>
              <a:gd name="connsiteY2059" fmla="*/ 855263 h 1934496"/>
              <a:gd name="connsiteX2060" fmla="*/ 6553135 w 9922465"/>
              <a:gd name="connsiteY2060" fmla="*/ 855263 h 1934496"/>
              <a:gd name="connsiteX2061" fmla="*/ 6608327 w 9922465"/>
              <a:gd name="connsiteY2061" fmla="*/ 910454 h 1934496"/>
              <a:gd name="connsiteX2062" fmla="*/ 6553135 w 9922465"/>
              <a:gd name="connsiteY2062" fmla="*/ 965645 h 1934496"/>
              <a:gd name="connsiteX2063" fmla="*/ 6497943 w 9922465"/>
              <a:gd name="connsiteY2063" fmla="*/ 910454 h 1934496"/>
              <a:gd name="connsiteX2064" fmla="*/ 6553135 w 9922465"/>
              <a:gd name="connsiteY2064" fmla="*/ 855263 h 1934496"/>
              <a:gd name="connsiteX2065" fmla="*/ 6419502 w 9922465"/>
              <a:gd name="connsiteY2065" fmla="*/ 855263 h 1934496"/>
              <a:gd name="connsiteX2066" fmla="*/ 6474694 w 9922465"/>
              <a:gd name="connsiteY2066" fmla="*/ 910454 h 1934496"/>
              <a:gd name="connsiteX2067" fmla="*/ 6419502 w 9922465"/>
              <a:gd name="connsiteY2067" fmla="*/ 965645 h 1934496"/>
              <a:gd name="connsiteX2068" fmla="*/ 6364310 w 9922465"/>
              <a:gd name="connsiteY2068" fmla="*/ 910454 h 1934496"/>
              <a:gd name="connsiteX2069" fmla="*/ 6419502 w 9922465"/>
              <a:gd name="connsiteY2069" fmla="*/ 855263 h 1934496"/>
              <a:gd name="connsiteX2070" fmla="*/ 6289206 w 9922465"/>
              <a:gd name="connsiteY2070" fmla="*/ 855263 h 1934496"/>
              <a:gd name="connsiteX2071" fmla="*/ 6344398 w 9922465"/>
              <a:gd name="connsiteY2071" fmla="*/ 910454 h 1934496"/>
              <a:gd name="connsiteX2072" fmla="*/ 6289206 w 9922465"/>
              <a:gd name="connsiteY2072" fmla="*/ 965645 h 1934496"/>
              <a:gd name="connsiteX2073" fmla="*/ 6234014 w 9922465"/>
              <a:gd name="connsiteY2073" fmla="*/ 910454 h 1934496"/>
              <a:gd name="connsiteX2074" fmla="*/ 6289206 w 9922465"/>
              <a:gd name="connsiteY2074" fmla="*/ 855263 h 1934496"/>
              <a:gd name="connsiteX2075" fmla="*/ 6155571 w 9922465"/>
              <a:gd name="connsiteY2075" fmla="*/ 855263 h 1934496"/>
              <a:gd name="connsiteX2076" fmla="*/ 6210763 w 9922465"/>
              <a:gd name="connsiteY2076" fmla="*/ 910454 h 1934496"/>
              <a:gd name="connsiteX2077" fmla="*/ 6155571 w 9922465"/>
              <a:gd name="connsiteY2077" fmla="*/ 965645 h 1934496"/>
              <a:gd name="connsiteX2078" fmla="*/ 6100379 w 9922465"/>
              <a:gd name="connsiteY2078" fmla="*/ 910454 h 1934496"/>
              <a:gd name="connsiteX2079" fmla="*/ 6155571 w 9922465"/>
              <a:gd name="connsiteY2079" fmla="*/ 855263 h 1934496"/>
              <a:gd name="connsiteX2080" fmla="*/ 6021938 w 9922465"/>
              <a:gd name="connsiteY2080" fmla="*/ 855263 h 1934496"/>
              <a:gd name="connsiteX2081" fmla="*/ 6077130 w 9922465"/>
              <a:gd name="connsiteY2081" fmla="*/ 910454 h 1934496"/>
              <a:gd name="connsiteX2082" fmla="*/ 6021938 w 9922465"/>
              <a:gd name="connsiteY2082" fmla="*/ 965645 h 1934496"/>
              <a:gd name="connsiteX2083" fmla="*/ 5966746 w 9922465"/>
              <a:gd name="connsiteY2083" fmla="*/ 910454 h 1934496"/>
              <a:gd name="connsiteX2084" fmla="*/ 6021938 w 9922465"/>
              <a:gd name="connsiteY2084" fmla="*/ 855263 h 1934496"/>
              <a:gd name="connsiteX2085" fmla="*/ 5884961 w 9922465"/>
              <a:gd name="connsiteY2085" fmla="*/ 855263 h 1934496"/>
              <a:gd name="connsiteX2086" fmla="*/ 5940153 w 9922465"/>
              <a:gd name="connsiteY2086" fmla="*/ 910454 h 1934496"/>
              <a:gd name="connsiteX2087" fmla="*/ 5884961 w 9922465"/>
              <a:gd name="connsiteY2087" fmla="*/ 965645 h 1934496"/>
              <a:gd name="connsiteX2088" fmla="*/ 5829769 w 9922465"/>
              <a:gd name="connsiteY2088" fmla="*/ 910454 h 1934496"/>
              <a:gd name="connsiteX2089" fmla="*/ 5884961 w 9922465"/>
              <a:gd name="connsiteY2089" fmla="*/ 855263 h 1934496"/>
              <a:gd name="connsiteX2090" fmla="*/ 5754668 w 9922465"/>
              <a:gd name="connsiteY2090" fmla="*/ 855263 h 1934496"/>
              <a:gd name="connsiteX2091" fmla="*/ 5809860 w 9922465"/>
              <a:gd name="connsiteY2091" fmla="*/ 910454 h 1934496"/>
              <a:gd name="connsiteX2092" fmla="*/ 5754668 w 9922465"/>
              <a:gd name="connsiteY2092" fmla="*/ 965645 h 1934496"/>
              <a:gd name="connsiteX2093" fmla="*/ 5699476 w 9922465"/>
              <a:gd name="connsiteY2093" fmla="*/ 910454 h 1934496"/>
              <a:gd name="connsiteX2094" fmla="*/ 5754668 w 9922465"/>
              <a:gd name="connsiteY2094" fmla="*/ 855263 h 1934496"/>
              <a:gd name="connsiteX2095" fmla="*/ 5621034 w 9922465"/>
              <a:gd name="connsiteY2095" fmla="*/ 855263 h 1934496"/>
              <a:gd name="connsiteX2096" fmla="*/ 5676226 w 9922465"/>
              <a:gd name="connsiteY2096" fmla="*/ 910454 h 1934496"/>
              <a:gd name="connsiteX2097" fmla="*/ 5621034 w 9922465"/>
              <a:gd name="connsiteY2097" fmla="*/ 965645 h 1934496"/>
              <a:gd name="connsiteX2098" fmla="*/ 5565842 w 9922465"/>
              <a:gd name="connsiteY2098" fmla="*/ 910454 h 1934496"/>
              <a:gd name="connsiteX2099" fmla="*/ 5621034 w 9922465"/>
              <a:gd name="connsiteY2099" fmla="*/ 855263 h 1934496"/>
              <a:gd name="connsiteX2100" fmla="*/ 5487399 w 9922465"/>
              <a:gd name="connsiteY2100" fmla="*/ 855263 h 1934496"/>
              <a:gd name="connsiteX2101" fmla="*/ 5542591 w 9922465"/>
              <a:gd name="connsiteY2101" fmla="*/ 910454 h 1934496"/>
              <a:gd name="connsiteX2102" fmla="*/ 5487399 w 9922465"/>
              <a:gd name="connsiteY2102" fmla="*/ 965645 h 1934496"/>
              <a:gd name="connsiteX2103" fmla="*/ 5432207 w 9922465"/>
              <a:gd name="connsiteY2103" fmla="*/ 910454 h 1934496"/>
              <a:gd name="connsiteX2104" fmla="*/ 5487399 w 9922465"/>
              <a:gd name="connsiteY2104" fmla="*/ 855263 h 1934496"/>
              <a:gd name="connsiteX2105" fmla="*/ 5357105 w 9922465"/>
              <a:gd name="connsiteY2105" fmla="*/ 855263 h 1934496"/>
              <a:gd name="connsiteX2106" fmla="*/ 5412297 w 9922465"/>
              <a:gd name="connsiteY2106" fmla="*/ 910454 h 1934496"/>
              <a:gd name="connsiteX2107" fmla="*/ 5357105 w 9922465"/>
              <a:gd name="connsiteY2107" fmla="*/ 965645 h 1934496"/>
              <a:gd name="connsiteX2108" fmla="*/ 5301913 w 9922465"/>
              <a:gd name="connsiteY2108" fmla="*/ 910454 h 1934496"/>
              <a:gd name="connsiteX2109" fmla="*/ 5357105 w 9922465"/>
              <a:gd name="connsiteY2109" fmla="*/ 855263 h 1934496"/>
              <a:gd name="connsiteX2110" fmla="*/ 5223472 w 9922465"/>
              <a:gd name="connsiteY2110" fmla="*/ 855263 h 1934496"/>
              <a:gd name="connsiteX2111" fmla="*/ 5278664 w 9922465"/>
              <a:gd name="connsiteY2111" fmla="*/ 910454 h 1934496"/>
              <a:gd name="connsiteX2112" fmla="*/ 5223472 w 9922465"/>
              <a:gd name="connsiteY2112" fmla="*/ 965645 h 1934496"/>
              <a:gd name="connsiteX2113" fmla="*/ 5168280 w 9922465"/>
              <a:gd name="connsiteY2113" fmla="*/ 910454 h 1934496"/>
              <a:gd name="connsiteX2114" fmla="*/ 5223472 w 9922465"/>
              <a:gd name="connsiteY2114" fmla="*/ 855263 h 1934496"/>
              <a:gd name="connsiteX2115" fmla="*/ 5093178 w 9922465"/>
              <a:gd name="connsiteY2115" fmla="*/ 855263 h 1934496"/>
              <a:gd name="connsiteX2116" fmla="*/ 5148370 w 9922465"/>
              <a:gd name="connsiteY2116" fmla="*/ 910454 h 1934496"/>
              <a:gd name="connsiteX2117" fmla="*/ 5093178 w 9922465"/>
              <a:gd name="connsiteY2117" fmla="*/ 965645 h 1934496"/>
              <a:gd name="connsiteX2118" fmla="*/ 5037986 w 9922465"/>
              <a:gd name="connsiteY2118" fmla="*/ 910454 h 1934496"/>
              <a:gd name="connsiteX2119" fmla="*/ 5093178 w 9922465"/>
              <a:gd name="connsiteY2119" fmla="*/ 855263 h 1934496"/>
              <a:gd name="connsiteX2120" fmla="*/ 4161076 w 9922465"/>
              <a:gd name="connsiteY2120" fmla="*/ 855263 h 1934496"/>
              <a:gd name="connsiteX2121" fmla="*/ 4216268 w 9922465"/>
              <a:gd name="connsiteY2121" fmla="*/ 910454 h 1934496"/>
              <a:gd name="connsiteX2122" fmla="*/ 4161076 w 9922465"/>
              <a:gd name="connsiteY2122" fmla="*/ 965645 h 1934496"/>
              <a:gd name="connsiteX2123" fmla="*/ 4105884 w 9922465"/>
              <a:gd name="connsiteY2123" fmla="*/ 910454 h 1934496"/>
              <a:gd name="connsiteX2124" fmla="*/ 4161076 w 9922465"/>
              <a:gd name="connsiteY2124" fmla="*/ 855263 h 1934496"/>
              <a:gd name="connsiteX2125" fmla="*/ 3633218 w 9922465"/>
              <a:gd name="connsiteY2125" fmla="*/ 855263 h 1934496"/>
              <a:gd name="connsiteX2126" fmla="*/ 3688410 w 9922465"/>
              <a:gd name="connsiteY2126" fmla="*/ 910454 h 1934496"/>
              <a:gd name="connsiteX2127" fmla="*/ 3633218 w 9922465"/>
              <a:gd name="connsiteY2127" fmla="*/ 965645 h 1934496"/>
              <a:gd name="connsiteX2128" fmla="*/ 3578026 w 9922465"/>
              <a:gd name="connsiteY2128" fmla="*/ 910454 h 1934496"/>
              <a:gd name="connsiteX2129" fmla="*/ 3633218 w 9922465"/>
              <a:gd name="connsiteY2129" fmla="*/ 855263 h 1934496"/>
              <a:gd name="connsiteX2130" fmla="*/ 3499586 w 9922465"/>
              <a:gd name="connsiteY2130" fmla="*/ 855263 h 1934496"/>
              <a:gd name="connsiteX2131" fmla="*/ 3554778 w 9922465"/>
              <a:gd name="connsiteY2131" fmla="*/ 910454 h 1934496"/>
              <a:gd name="connsiteX2132" fmla="*/ 3499586 w 9922465"/>
              <a:gd name="connsiteY2132" fmla="*/ 965645 h 1934496"/>
              <a:gd name="connsiteX2133" fmla="*/ 3444394 w 9922465"/>
              <a:gd name="connsiteY2133" fmla="*/ 910454 h 1934496"/>
              <a:gd name="connsiteX2134" fmla="*/ 3499586 w 9922465"/>
              <a:gd name="connsiteY2134" fmla="*/ 855263 h 1934496"/>
              <a:gd name="connsiteX2135" fmla="*/ 3369290 w 9922465"/>
              <a:gd name="connsiteY2135" fmla="*/ 855263 h 1934496"/>
              <a:gd name="connsiteX2136" fmla="*/ 3424482 w 9922465"/>
              <a:gd name="connsiteY2136" fmla="*/ 910454 h 1934496"/>
              <a:gd name="connsiteX2137" fmla="*/ 3369290 w 9922465"/>
              <a:gd name="connsiteY2137" fmla="*/ 965645 h 1934496"/>
              <a:gd name="connsiteX2138" fmla="*/ 3314098 w 9922465"/>
              <a:gd name="connsiteY2138" fmla="*/ 910454 h 1934496"/>
              <a:gd name="connsiteX2139" fmla="*/ 3369290 w 9922465"/>
              <a:gd name="connsiteY2139" fmla="*/ 855263 h 1934496"/>
              <a:gd name="connsiteX2140" fmla="*/ 2834849 w 9922465"/>
              <a:gd name="connsiteY2140" fmla="*/ 855263 h 1934496"/>
              <a:gd name="connsiteX2141" fmla="*/ 2890040 w 9922465"/>
              <a:gd name="connsiteY2141" fmla="*/ 910454 h 1934496"/>
              <a:gd name="connsiteX2142" fmla="*/ 2834849 w 9922465"/>
              <a:gd name="connsiteY2142" fmla="*/ 965645 h 1934496"/>
              <a:gd name="connsiteX2143" fmla="*/ 2779655 w 9922465"/>
              <a:gd name="connsiteY2143" fmla="*/ 910454 h 1934496"/>
              <a:gd name="connsiteX2144" fmla="*/ 2834849 w 9922465"/>
              <a:gd name="connsiteY2144" fmla="*/ 855263 h 1934496"/>
              <a:gd name="connsiteX2145" fmla="*/ 2707895 w 9922465"/>
              <a:gd name="connsiteY2145" fmla="*/ 855263 h 1934496"/>
              <a:gd name="connsiteX2146" fmla="*/ 2763087 w 9922465"/>
              <a:gd name="connsiteY2146" fmla="*/ 910454 h 1934496"/>
              <a:gd name="connsiteX2147" fmla="*/ 2707895 w 9922465"/>
              <a:gd name="connsiteY2147" fmla="*/ 965645 h 1934496"/>
              <a:gd name="connsiteX2148" fmla="*/ 2652702 w 9922465"/>
              <a:gd name="connsiteY2148" fmla="*/ 910454 h 1934496"/>
              <a:gd name="connsiteX2149" fmla="*/ 2707895 w 9922465"/>
              <a:gd name="connsiteY2149" fmla="*/ 855263 h 1934496"/>
              <a:gd name="connsiteX2150" fmla="*/ 2570919 w 9922465"/>
              <a:gd name="connsiteY2150" fmla="*/ 855263 h 1934496"/>
              <a:gd name="connsiteX2151" fmla="*/ 2626110 w 9922465"/>
              <a:gd name="connsiteY2151" fmla="*/ 910454 h 1934496"/>
              <a:gd name="connsiteX2152" fmla="*/ 2570919 w 9922465"/>
              <a:gd name="connsiteY2152" fmla="*/ 965645 h 1934496"/>
              <a:gd name="connsiteX2153" fmla="*/ 2515724 w 9922465"/>
              <a:gd name="connsiteY2153" fmla="*/ 910454 h 1934496"/>
              <a:gd name="connsiteX2154" fmla="*/ 2570919 w 9922465"/>
              <a:gd name="connsiteY2154" fmla="*/ 855263 h 1934496"/>
              <a:gd name="connsiteX2155" fmla="*/ 2303651 w 9922465"/>
              <a:gd name="connsiteY2155" fmla="*/ 855263 h 1934496"/>
              <a:gd name="connsiteX2156" fmla="*/ 2358843 w 9922465"/>
              <a:gd name="connsiteY2156" fmla="*/ 910454 h 1934496"/>
              <a:gd name="connsiteX2157" fmla="*/ 2303651 w 9922465"/>
              <a:gd name="connsiteY2157" fmla="*/ 965645 h 1934496"/>
              <a:gd name="connsiteX2158" fmla="*/ 2248461 w 9922465"/>
              <a:gd name="connsiteY2158" fmla="*/ 910454 h 1934496"/>
              <a:gd name="connsiteX2159" fmla="*/ 2303651 w 9922465"/>
              <a:gd name="connsiteY2159" fmla="*/ 855263 h 1934496"/>
              <a:gd name="connsiteX2160" fmla="*/ 2173362 w 9922465"/>
              <a:gd name="connsiteY2160" fmla="*/ 855263 h 1934496"/>
              <a:gd name="connsiteX2161" fmla="*/ 2228554 w 9922465"/>
              <a:gd name="connsiteY2161" fmla="*/ 910454 h 1934496"/>
              <a:gd name="connsiteX2162" fmla="*/ 2173362 w 9922465"/>
              <a:gd name="connsiteY2162" fmla="*/ 965645 h 1934496"/>
              <a:gd name="connsiteX2163" fmla="*/ 2118170 w 9922465"/>
              <a:gd name="connsiteY2163" fmla="*/ 910454 h 1934496"/>
              <a:gd name="connsiteX2164" fmla="*/ 2173362 w 9922465"/>
              <a:gd name="connsiteY2164" fmla="*/ 855263 h 1934496"/>
              <a:gd name="connsiteX2165" fmla="*/ 2039725 w 9922465"/>
              <a:gd name="connsiteY2165" fmla="*/ 855263 h 1934496"/>
              <a:gd name="connsiteX2166" fmla="*/ 2094919 w 9922465"/>
              <a:gd name="connsiteY2166" fmla="*/ 910454 h 1934496"/>
              <a:gd name="connsiteX2167" fmla="*/ 2039725 w 9922465"/>
              <a:gd name="connsiteY2167" fmla="*/ 965645 h 1934496"/>
              <a:gd name="connsiteX2168" fmla="*/ 1984533 w 9922465"/>
              <a:gd name="connsiteY2168" fmla="*/ 910454 h 1934496"/>
              <a:gd name="connsiteX2169" fmla="*/ 2039725 w 9922465"/>
              <a:gd name="connsiteY2169" fmla="*/ 855263 h 1934496"/>
              <a:gd name="connsiteX2170" fmla="*/ 1909428 w 9922465"/>
              <a:gd name="connsiteY2170" fmla="*/ 855263 h 1934496"/>
              <a:gd name="connsiteX2171" fmla="*/ 1964620 w 9922465"/>
              <a:gd name="connsiteY2171" fmla="*/ 910454 h 1934496"/>
              <a:gd name="connsiteX2172" fmla="*/ 1909428 w 9922465"/>
              <a:gd name="connsiteY2172" fmla="*/ 965645 h 1934496"/>
              <a:gd name="connsiteX2173" fmla="*/ 1854234 w 9922465"/>
              <a:gd name="connsiteY2173" fmla="*/ 910454 h 1934496"/>
              <a:gd name="connsiteX2174" fmla="*/ 1909428 w 9922465"/>
              <a:gd name="connsiteY2174" fmla="*/ 855263 h 1934496"/>
              <a:gd name="connsiteX2175" fmla="*/ 1779130 w 9922465"/>
              <a:gd name="connsiteY2175" fmla="*/ 855263 h 1934496"/>
              <a:gd name="connsiteX2176" fmla="*/ 1834324 w 9922465"/>
              <a:gd name="connsiteY2176" fmla="*/ 910454 h 1934496"/>
              <a:gd name="connsiteX2177" fmla="*/ 1779130 w 9922465"/>
              <a:gd name="connsiteY2177" fmla="*/ 965645 h 1934496"/>
              <a:gd name="connsiteX2178" fmla="*/ 1723937 w 9922465"/>
              <a:gd name="connsiteY2178" fmla="*/ 910454 h 1934496"/>
              <a:gd name="connsiteX2179" fmla="*/ 1779130 w 9922465"/>
              <a:gd name="connsiteY2179" fmla="*/ 855263 h 1934496"/>
              <a:gd name="connsiteX2180" fmla="*/ 1645495 w 9922465"/>
              <a:gd name="connsiteY2180" fmla="*/ 855263 h 1934496"/>
              <a:gd name="connsiteX2181" fmla="*/ 1700693 w 9922465"/>
              <a:gd name="connsiteY2181" fmla="*/ 910454 h 1934496"/>
              <a:gd name="connsiteX2182" fmla="*/ 1645495 w 9922465"/>
              <a:gd name="connsiteY2182" fmla="*/ 965645 h 1934496"/>
              <a:gd name="connsiteX2183" fmla="*/ 1590303 w 9922465"/>
              <a:gd name="connsiteY2183" fmla="*/ 910454 h 1934496"/>
              <a:gd name="connsiteX2184" fmla="*/ 1645495 w 9922465"/>
              <a:gd name="connsiteY2184" fmla="*/ 855263 h 1934496"/>
              <a:gd name="connsiteX2185" fmla="*/ 1515206 w 9922465"/>
              <a:gd name="connsiteY2185" fmla="*/ 855263 h 1934496"/>
              <a:gd name="connsiteX2186" fmla="*/ 1570391 w 9922465"/>
              <a:gd name="connsiteY2186" fmla="*/ 910454 h 1934496"/>
              <a:gd name="connsiteX2187" fmla="*/ 1515206 w 9922465"/>
              <a:gd name="connsiteY2187" fmla="*/ 965645 h 1934496"/>
              <a:gd name="connsiteX2188" fmla="*/ 1460009 w 9922465"/>
              <a:gd name="connsiteY2188" fmla="*/ 910454 h 1934496"/>
              <a:gd name="connsiteX2189" fmla="*/ 1515206 w 9922465"/>
              <a:gd name="connsiteY2189" fmla="*/ 855263 h 1934496"/>
              <a:gd name="connsiteX2190" fmla="*/ 1381566 w 9922465"/>
              <a:gd name="connsiteY2190" fmla="*/ 855263 h 1934496"/>
              <a:gd name="connsiteX2191" fmla="*/ 1436758 w 9922465"/>
              <a:gd name="connsiteY2191" fmla="*/ 910454 h 1934496"/>
              <a:gd name="connsiteX2192" fmla="*/ 1381566 w 9922465"/>
              <a:gd name="connsiteY2192" fmla="*/ 965645 h 1934496"/>
              <a:gd name="connsiteX2193" fmla="*/ 1326375 w 9922465"/>
              <a:gd name="connsiteY2193" fmla="*/ 910454 h 1934496"/>
              <a:gd name="connsiteX2194" fmla="*/ 1381566 w 9922465"/>
              <a:gd name="connsiteY2194" fmla="*/ 855263 h 1934496"/>
              <a:gd name="connsiteX2195" fmla="*/ 1251271 w 9922465"/>
              <a:gd name="connsiteY2195" fmla="*/ 855263 h 1934496"/>
              <a:gd name="connsiteX2196" fmla="*/ 1306464 w 9922465"/>
              <a:gd name="connsiteY2196" fmla="*/ 910454 h 1934496"/>
              <a:gd name="connsiteX2197" fmla="*/ 1251271 w 9922465"/>
              <a:gd name="connsiteY2197" fmla="*/ 965645 h 1934496"/>
              <a:gd name="connsiteX2198" fmla="*/ 1196078 w 9922465"/>
              <a:gd name="connsiteY2198" fmla="*/ 910454 h 1934496"/>
              <a:gd name="connsiteX2199" fmla="*/ 1251271 w 9922465"/>
              <a:gd name="connsiteY2199" fmla="*/ 855263 h 1934496"/>
              <a:gd name="connsiteX2200" fmla="*/ 1117634 w 9922465"/>
              <a:gd name="connsiteY2200" fmla="*/ 855263 h 1934496"/>
              <a:gd name="connsiteX2201" fmla="*/ 1172828 w 9922465"/>
              <a:gd name="connsiteY2201" fmla="*/ 910454 h 1934496"/>
              <a:gd name="connsiteX2202" fmla="*/ 1117634 w 9922465"/>
              <a:gd name="connsiteY2202" fmla="*/ 965645 h 1934496"/>
              <a:gd name="connsiteX2203" fmla="*/ 1062440 w 9922465"/>
              <a:gd name="connsiteY2203" fmla="*/ 910454 h 1934496"/>
              <a:gd name="connsiteX2204" fmla="*/ 1117634 w 9922465"/>
              <a:gd name="connsiteY2204" fmla="*/ 855263 h 1934496"/>
              <a:gd name="connsiteX2205" fmla="*/ 980654 w 9922465"/>
              <a:gd name="connsiteY2205" fmla="*/ 855263 h 1934496"/>
              <a:gd name="connsiteX2206" fmla="*/ 1035848 w 9922465"/>
              <a:gd name="connsiteY2206" fmla="*/ 910454 h 1934496"/>
              <a:gd name="connsiteX2207" fmla="*/ 980654 w 9922465"/>
              <a:gd name="connsiteY2207" fmla="*/ 965645 h 1934496"/>
              <a:gd name="connsiteX2208" fmla="*/ 925460 w 9922465"/>
              <a:gd name="connsiteY2208" fmla="*/ 910454 h 1934496"/>
              <a:gd name="connsiteX2209" fmla="*/ 980654 w 9922465"/>
              <a:gd name="connsiteY2209" fmla="*/ 855263 h 1934496"/>
              <a:gd name="connsiteX2210" fmla="*/ 847016 w 9922465"/>
              <a:gd name="connsiteY2210" fmla="*/ 855263 h 1934496"/>
              <a:gd name="connsiteX2211" fmla="*/ 902209 w 9922465"/>
              <a:gd name="connsiteY2211" fmla="*/ 910454 h 1934496"/>
              <a:gd name="connsiteX2212" fmla="*/ 847016 w 9922465"/>
              <a:gd name="connsiteY2212" fmla="*/ 965645 h 1934496"/>
              <a:gd name="connsiteX2213" fmla="*/ 791816 w 9922465"/>
              <a:gd name="connsiteY2213" fmla="*/ 910454 h 1934496"/>
              <a:gd name="connsiteX2214" fmla="*/ 847016 w 9922465"/>
              <a:gd name="connsiteY2214" fmla="*/ 855263 h 1934496"/>
              <a:gd name="connsiteX2215" fmla="*/ 716709 w 9922465"/>
              <a:gd name="connsiteY2215" fmla="*/ 855263 h 1934496"/>
              <a:gd name="connsiteX2216" fmla="*/ 771907 w 9922465"/>
              <a:gd name="connsiteY2216" fmla="*/ 910454 h 1934496"/>
              <a:gd name="connsiteX2217" fmla="*/ 716709 w 9922465"/>
              <a:gd name="connsiteY2217" fmla="*/ 965645 h 1934496"/>
              <a:gd name="connsiteX2218" fmla="*/ 661522 w 9922465"/>
              <a:gd name="connsiteY2218" fmla="*/ 910454 h 1934496"/>
              <a:gd name="connsiteX2219" fmla="*/ 716709 w 9922465"/>
              <a:gd name="connsiteY2219" fmla="*/ 855263 h 1934496"/>
              <a:gd name="connsiteX2220" fmla="*/ 583074 w 9922465"/>
              <a:gd name="connsiteY2220" fmla="*/ 855263 h 1934496"/>
              <a:gd name="connsiteX2221" fmla="*/ 638268 w 9922465"/>
              <a:gd name="connsiteY2221" fmla="*/ 910454 h 1934496"/>
              <a:gd name="connsiteX2222" fmla="*/ 583074 w 9922465"/>
              <a:gd name="connsiteY2222" fmla="*/ 965645 h 1934496"/>
              <a:gd name="connsiteX2223" fmla="*/ 527881 w 9922465"/>
              <a:gd name="connsiteY2223" fmla="*/ 910454 h 1934496"/>
              <a:gd name="connsiteX2224" fmla="*/ 583074 w 9922465"/>
              <a:gd name="connsiteY2224" fmla="*/ 855263 h 1934496"/>
              <a:gd name="connsiteX2225" fmla="*/ 9867273 w 9922465"/>
              <a:gd name="connsiteY2225" fmla="*/ 855260 h 1934496"/>
              <a:gd name="connsiteX2226" fmla="*/ 9922465 w 9922465"/>
              <a:gd name="connsiteY2226" fmla="*/ 910451 h 1934496"/>
              <a:gd name="connsiteX2227" fmla="*/ 9867273 w 9922465"/>
              <a:gd name="connsiteY2227" fmla="*/ 965642 h 1934496"/>
              <a:gd name="connsiteX2228" fmla="*/ 9812081 w 9922465"/>
              <a:gd name="connsiteY2228" fmla="*/ 910451 h 1934496"/>
              <a:gd name="connsiteX2229" fmla="*/ 9867273 w 9922465"/>
              <a:gd name="connsiteY2229" fmla="*/ 855260 h 1934496"/>
              <a:gd name="connsiteX2230" fmla="*/ 9733637 w 9922465"/>
              <a:gd name="connsiteY2230" fmla="*/ 855260 h 1934496"/>
              <a:gd name="connsiteX2231" fmla="*/ 9788829 w 9922465"/>
              <a:gd name="connsiteY2231" fmla="*/ 910451 h 1934496"/>
              <a:gd name="connsiteX2232" fmla="*/ 9733637 w 9922465"/>
              <a:gd name="connsiteY2232" fmla="*/ 965642 h 1934496"/>
              <a:gd name="connsiteX2233" fmla="*/ 9678445 w 9922465"/>
              <a:gd name="connsiteY2233" fmla="*/ 910451 h 1934496"/>
              <a:gd name="connsiteX2234" fmla="*/ 9733637 w 9922465"/>
              <a:gd name="connsiteY2234" fmla="*/ 855260 h 1934496"/>
              <a:gd name="connsiteX2235" fmla="*/ 9603343 w 9922465"/>
              <a:gd name="connsiteY2235" fmla="*/ 855260 h 1934496"/>
              <a:gd name="connsiteX2236" fmla="*/ 9658535 w 9922465"/>
              <a:gd name="connsiteY2236" fmla="*/ 910451 h 1934496"/>
              <a:gd name="connsiteX2237" fmla="*/ 9603343 w 9922465"/>
              <a:gd name="connsiteY2237" fmla="*/ 965642 h 1934496"/>
              <a:gd name="connsiteX2238" fmla="*/ 9548151 w 9922465"/>
              <a:gd name="connsiteY2238" fmla="*/ 910451 h 1934496"/>
              <a:gd name="connsiteX2239" fmla="*/ 9603343 w 9922465"/>
              <a:gd name="connsiteY2239" fmla="*/ 855260 h 1934496"/>
              <a:gd name="connsiteX2240" fmla="*/ 449429 w 9922465"/>
              <a:gd name="connsiteY2240" fmla="*/ 855260 h 1934496"/>
              <a:gd name="connsiteX2241" fmla="*/ 504621 w 9922465"/>
              <a:gd name="connsiteY2241" fmla="*/ 910451 h 1934496"/>
              <a:gd name="connsiteX2242" fmla="*/ 449429 w 9922465"/>
              <a:gd name="connsiteY2242" fmla="*/ 965642 h 1934496"/>
              <a:gd name="connsiteX2243" fmla="*/ 394234 w 9922465"/>
              <a:gd name="connsiteY2243" fmla="*/ 910451 h 1934496"/>
              <a:gd name="connsiteX2244" fmla="*/ 449429 w 9922465"/>
              <a:gd name="connsiteY2244" fmla="*/ 855260 h 1934496"/>
              <a:gd name="connsiteX2245" fmla="*/ 319132 w 9922465"/>
              <a:gd name="connsiteY2245" fmla="*/ 855260 h 1934496"/>
              <a:gd name="connsiteX2246" fmla="*/ 374326 w 9922465"/>
              <a:gd name="connsiteY2246" fmla="*/ 910451 h 1934496"/>
              <a:gd name="connsiteX2247" fmla="*/ 319132 w 9922465"/>
              <a:gd name="connsiteY2247" fmla="*/ 965642 h 1934496"/>
              <a:gd name="connsiteX2248" fmla="*/ 263940 w 9922465"/>
              <a:gd name="connsiteY2248" fmla="*/ 910451 h 1934496"/>
              <a:gd name="connsiteX2249" fmla="*/ 319132 w 9922465"/>
              <a:gd name="connsiteY2249" fmla="*/ 855260 h 1934496"/>
              <a:gd name="connsiteX2250" fmla="*/ 185499 w 9922465"/>
              <a:gd name="connsiteY2250" fmla="*/ 855260 h 1934496"/>
              <a:gd name="connsiteX2251" fmla="*/ 240690 w 9922465"/>
              <a:gd name="connsiteY2251" fmla="*/ 910451 h 1934496"/>
              <a:gd name="connsiteX2252" fmla="*/ 185499 w 9922465"/>
              <a:gd name="connsiteY2252" fmla="*/ 965642 h 1934496"/>
              <a:gd name="connsiteX2253" fmla="*/ 130308 w 9922465"/>
              <a:gd name="connsiteY2253" fmla="*/ 910451 h 1934496"/>
              <a:gd name="connsiteX2254" fmla="*/ 185499 w 9922465"/>
              <a:gd name="connsiteY2254" fmla="*/ 855260 h 1934496"/>
              <a:gd name="connsiteX2255" fmla="*/ 9733637 w 9922465"/>
              <a:gd name="connsiteY2255" fmla="*/ 724970 h 1934496"/>
              <a:gd name="connsiteX2256" fmla="*/ 9788829 w 9922465"/>
              <a:gd name="connsiteY2256" fmla="*/ 780161 h 1934496"/>
              <a:gd name="connsiteX2257" fmla="*/ 9733637 w 9922465"/>
              <a:gd name="connsiteY2257" fmla="*/ 835352 h 1934496"/>
              <a:gd name="connsiteX2258" fmla="*/ 9678445 w 9922465"/>
              <a:gd name="connsiteY2258" fmla="*/ 780161 h 1934496"/>
              <a:gd name="connsiteX2259" fmla="*/ 9733637 w 9922465"/>
              <a:gd name="connsiteY2259" fmla="*/ 724970 h 1934496"/>
              <a:gd name="connsiteX2260" fmla="*/ 9603344 w 9922465"/>
              <a:gd name="connsiteY2260" fmla="*/ 724970 h 1934496"/>
              <a:gd name="connsiteX2261" fmla="*/ 9658536 w 9922465"/>
              <a:gd name="connsiteY2261" fmla="*/ 780161 h 1934496"/>
              <a:gd name="connsiteX2262" fmla="*/ 9603344 w 9922465"/>
              <a:gd name="connsiteY2262" fmla="*/ 835352 h 1934496"/>
              <a:gd name="connsiteX2263" fmla="*/ 9548152 w 9922465"/>
              <a:gd name="connsiteY2263" fmla="*/ 780161 h 1934496"/>
              <a:gd name="connsiteX2264" fmla="*/ 9603344 w 9922465"/>
              <a:gd name="connsiteY2264" fmla="*/ 724970 h 1934496"/>
              <a:gd name="connsiteX2265" fmla="*/ 9469710 w 9922465"/>
              <a:gd name="connsiteY2265" fmla="*/ 724970 h 1934496"/>
              <a:gd name="connsiteX2266" fmla="*/ 9524902 w 9922465"/>
              <a:gd name="connsiteY2266" fmla="*/ 780161 h 1934496"/>
              <a:gd name="connsiteX2267" fmla="*/ 9469710 w 9922465"/>
              <a:gd name="connsiteY2267" fmla="*/ 835352 h 1934496"/>
              <a:gd name="connsiteX2268" fmla="*/ 9414518 w 9922465"/>
              <a:gd name="connsiteY2268" fmla="*/ 780161 h 1934496"/>
              <a:gd name="connsiteX2269" fmla="*/ 9469710 w 9922465"/>
              <a:gd name="connsiteY2269" fmla="*/ 724970 h 1934496"/>
              <a:gd name="connsiteX2270" fmla="*/ 9336075 w 9922465"/>
              <a:gd name="connsiteY2270" fmla="*/ 724970 h 1934496"/>
              <a:gd name="connsiteX2271" fmla="*/ 9391267 w 9922465"/>
              <a:gd name="connsiteY2271" fmla="*/ 780161 h 1934496"/>
              <a:gd name="connsiteX2272" fmla="*/ 9336075 w 9922465"/>
              <a:gd name="connsiteY2272" fmla="*/ 835352 h 1934496"/>
              <a:gd name="connsiteX2273" fmla="*/ 9280883 w 9922465"/>
              <a:gd name="connsiteY2273" fmla="*/ 780161 h 1934496"/>
              <a:gd name="connsiteX2274" fmla="*/ 9336075 w 9922465"/>
              <a:gd name="connsiteY2274" fmla="*/ 724970 h 1934496"/>
              <a:gd name="connsiteX2275" fmla="*/ 9199100 w 9922465"/>
              <a:gd name="connsiteY2275" fmla="*/ 724970 h 1934496"/>
              <a:gd name="connsiteX2276" fmla="*/ 9254292 w 9922465"/>
              <a:gd name="connsiteY2276" fmla="*/ 780161 h 1934496"/>
              <a:gd name="connsiteX2277" fmla="*/ 9199100 w 9922465"/>
              <a:gd name="connsiteY2277" fmla="*/ 835352 h 1934496"/>
              <a:gd name="connsiteX2278" fmla="*/ 9143908 w 9922465"/>
              <a:gd name="connsiteY2278" fmla="*/ 780161 h 1934496"/>
              <a:gd name="connsiteX2279" fmla="*/ 9199100 w 9922465"/>
              <a:gd name="connsiteY2279" fmla="*/ 724970 h 1934496"/>
              <a:gd name="connsiteX2280" fmla="*/ 9068806 w 9922465"/>
              <a:gd name="connsiteY2280" fmla="*/ 724970 h 1934496"/>
              <a:gd name="connsiteX2281" fmla="*/ 9123998 w 9922465"/>
              <a:gd name="connsiteY2281" fmla="*/ 780161 h 1934496"/>
              <a:gd name="connsiteX2282" fmla="*/ 9068806 w 9922465"/>
              <a:gd name="connsiteY2282" fmla="*/ 835352 h 1934496"/>
              <a:gd name="connsiteX2283" fmla="*/ 9013614 w 9922465"/>
              <a:gd name="connsiteY2283" fmla="*/ 780161 h 1934496"/>
              <a:gd name="connsiteX2284" fmla="*/ 9068806 w 9922465"/>
              <a:gd name="connsiteY2284" fmla="*/ 724970 h 1934496"/>
              <a:gd name="connsiteX2285" fmla="*/ 8935170 w 9922465"/>
              <a:gd name="connsiteY2285" fmla="*/ 724970 h 1934496"/>
              <a:gd name="connsiteX2286" fmla="*/ 8990362 w 9922465"/>
              <a:gd name="connsiteY2286" fmla="*/ 780161 h 1934496"/>
              <a:gd name="connsiteX2287" fmla="*/ 8935170 w 9922465"/>
              <a:gd name="connsiteY2287" fmla="*/ 835352 h 1934496"/>
              <a:gd name="connsiteX2288" fmla="*/ 8879978 w 9922465"/>
              <a:gd name="connsiteY2288" fmla="*/ 780161 h 1934496"/>
              <a:gd name="connsiteX2289" fmla="*/ 8935170 w 9922465"/>
              <a:gd name="connsiteY2289" fmla="*/ 724970 h 1934496"/>
              <a:gd name="connsiteX2290" fmla="*/ 8801536 w 9922465"/>
              <a:gd name="connsiteY2290" fmla="*/ 724970 h 1934496"/>
              <a:gd name="connsiteX2291" fmla="*/ 8856728 w 9922465"/>
              <a:gd name="connsiteY2291" fmla="*/ 780161 h 1934496"/>
              <a:gd name="connsiteX2292" fmla="*/ 8801536 w 9922465"/>
              <a:gd name="connsiteY2292" fmla="*/ 835352 h 1934496"/>
              <a:gd name="connsiteX2293" fmla="*/ 8746344 w 9922465"/>
              <a:gd name="connsiteY2293" fmla="*/ 780161 h 1934496"/>
              <a:gd name="connsiteX2294" fmla="*/ 8801536 w 9922465"/>
              <a:gd name="connsiteY2294" fmla="*/ 724970 h 1934496"/>
              <a:gd name="connsiteX2295" fmla="*/ 8671243 w 9922465"/>
              <a:gd name="connsiteY2295" fmla="*/ 724970 h 1934496"/>
              <a:gd name="connsiteX2296" fmla="*/ 8726435 w 9922465"/>
              <a:gd name="connsiteY2296" fmla="*/ 780161 h 1934496"/>
              <a:gd name="connsiteX2297" fmla="*/ 8671243 w 9922465"/>
              <a:gd name="connsiteY2297" fmla="*/ 835352 h 1934496"/>
              <a:gd name="connsiteX2298" fmla="*/ 8616051 w 9922465"/>
              <a:gd name="connsiteY2298" fmla="*/ 780161 h 1934496"/>
              <a:gd name="connsiteX2299" fmla="*/ 8671243 w 9922465"/>
              <a:gd name="connsiteY2299" fmla="*/ 724970 h 1934496"/>
              <a:gd name="connsiteX2300" fmla="*/ 8537609 w 9922465"/>
              <a:gd name="connsiteY2300" fmla="*/ 724970 h 1934496"/>
              <a:gd name="connsiteX2301" fmla="*/ 8592801 w 9922465"/>
              <a:gd name="connsiteY2301" fmla="*/ 780161 h 1934496"/>
              <a:gd name="connsiteX2302" fmla="*/ 8537609 w 9922465"/>
              <a:gd name="connsiteY2302" fmla="*/ 835352 h 1934496"/>
              <a:gd name="connsiteX2303" fmla="*/ 8482417 w 9922465"/>
              <a:gd name="connsiteY2303" fmla="*/ 780161 h 1934496"/>
              <a:gd name="connsiteX2304" fmla="*/ 8537609 w 9922465"/>
              <a:gd name="connsiteY2304" fmla="*/ 724970 h 1934496"/>
              <a:gd name="connsiteX2305" fmla="*/ 8407318 w 9922465"/>
              <a:gd name="connsiteY2305" fmla="*/ 724970 h 1934496"/>
              <a:gd name="connsiteX2306" fmla="*/ 8462510 w 9922465"/>
              <a:gd name="connsiteY2306" fmla="*/ 780161 h 1934496"/>
              <a:gd name="connsiteX2307" fmla="*/ 8407318 w 9922465"/>
              <a:gd name="connsiteY2307" fmla="*/ 835352 h 1934496"/>
              <a:gd name="connsiteX2308" fmla="*/ 8352126 w 9922465"/>
              <a:gd name="connsiteY2308" fmla="*/ 780161 h 1934496"/>
              <a:gd name="connsiteX2309" fmla="*/ 8407318 w 9922465"/>
              <a:gd name="connsiteY2309" fmla="*/ 724970 h 1934496"/>
              <a:gd name="connsiteX2310" fmla="*/ 8273682 w 9922465"/>
              <a:gd name="connsiteY2310" fmla="*/ 724970 h 1934496"/>
              <a:gd name="connsiteX2311" fmla="*/ 8328874 w 9922465"/>
              <a:gd name="connsiteY2311" fmla="*/ 780161 h 1934496"/>
              <a:gd name="connsiteX2312" fmla="*/ 8273682 w 9922465"/>
              <a:gd name="connsiteY2312" fmla="*/ 835352 h 1934496"/>
              <a:gd name="connsiteX2313" fmla="*/ 8218490 w 9922465"/>
              <a:gd name="connsiteY2313" fmla="*/ 780161 h 1934496"/>
              <a:gd name="connsiteX2314" fmla="*/ 8273682 w 9922465"/>
              <a:gd name="connsiteY2314" fmla="*/ 724970 h 1934496"/>
              <a:gd name="connsiteX2315" fmla="*/ 8143386 w 9922465"/>
              <a:gd name="connsiteY2315" fmla="*/ 724970 h 1934496"/>
              <a:gd name="connsiteX2316" fmla="*/ 8198578 w 9922465"/>
              <a:gd name="connsiteY2316" fmla="*/ 780161 h 1934496"/>
              <a:gd name="connsiteX2317" fmla="*/ 8143386 w 9922465"/>
              <a:gd name="connsiteY2317" fmla="*/ 835352 h 1934496"/>
              <a:gd name="connsiteX2318" fmla="*/ 8088194 w 9922465"/>
              <a:gd name="connsiteY2318" fmla="*/ 780161 h 1934496"/>
              <a:gd name="connsiteX2319" fmla="*/ 8143386 w 9922465"/>
              <a:gd name="connsiteY2319" fmla="*/ 724970 h 1934496"/>
              <a:gd name="connsiteX2320" fmla="*/ 8009753 w 9922465"/>
              <a:gd name="connsiteY2320" fmla="*/ 724970 h 1934496"/>
              <a:gd name="connsiteX2321" fmla="*/ 8064945 w 9922465"/>
              <a:gd name="connsiteY2321" fmla="*/ 780161 h 1934496"/>
              <a:gd name="connsiteX2322" fmla="*/ 8009753 w 9922465"/>
              <a:gd name="connsiteY2322" fmla="*/ 835352 h 1934496"/>
              <a:gd name="connsiteX2323" fmla="*/ 7954561 w 9922465"/>
              <a:gd name="connsiteY2323" fmla="*/ 780161 h 1934496"/>
              <a:gd name="connsiteX2324" fmla="*/ 8009753 w 9922465"/>
              <a:gd name="connsiteY2324" fmla="*/ 724970 h 1934496"/>
              <a:gd name="connsiteX2325" fmla="*/ 7876118 w 9922465"/>
              <a:gd name="connsiteY2325" fmla="*/ 724970 h 1934496"/>
              <a:gd name="connsiteX2326" fmla="*/ 7931310 w 9922465"/>
              <a:gd name="connsiteY2326" fmla="*/ 780161 h 1934496"/>
              <a:gd name="connsiteX2327" fmla="*/ 7876118 w 9922465"/>
              <a:gd name="connsiteY2327" fmla="*/ 835352 h 1934496"/>
              <a:gd name="connsiteX2328" fmla="*/ 7820926 w 9922465"/>
              <a:gd name="connsiteY2328" fmla="*/ 780161 h 1934496"/>
              <a:gd name="connsiteX2329" fmla="*/ 7876118 w 9922465"/>
              <a:gd name="connsiteY2329" fmla="*/ 724970 h 1934496"/>
              <a:gd name="connsiteX2330" fmla="*/ 7745824 w 9922465"/>
              <a:gd name="connsiteY2330" fmla="*/ 724970 h 1934496"/>
              <a:gd name="connsiteX2331" fmla="*/ 7801016 w 9922465"/>
              <a:gd name="connsiteY2331" fmla="*/ 780161 h 1934496"/>
              <a:gd name="connsiteX2332" fmla="*/ 7745824 w 9922465"/>
              <a:gd name="connsiteY2332" fmla="*/ 835352 h 1934496"/>
              <a:gd name="connsiteX2333" fmla="*/ 7690632 w 9922465"/>
              <a:gd name="connsiteY2333" fmla="*/ 780161 h 1934496"/>
              <a:gd name="connsiteX2334" fmla="*/ 7745824 w 9922465"/>
              <a:gd name="connsiteY2334" fmla="*/ 724970 h 1934496"/>
              <a:gd name="connsiteX2335" fmla="*/ 7608850 w 9922465"/>
              <a:gd name="connsiteY2335" fmla="*/ 724970 h 1934496"/>
              <a:gd name="connsiteX2336" fmla="*/ 7664042 w 9922465"/>
              <a:gd name="connsiteY2336" fmla="*/ 780161 h 1934496"/>
              <a:gd name="connsiteX2337" fmla="*/ 7608850 w 9922465"/>
              <a:gd name="connsiteY2337" fmla="*/ 835352 h 1934496"/>
              <a:gd name="connsiteX2338" fmla="*/ 7553658 w 9922465"/>
              <a:gd name="connsiteY2338" fmla="*/ 780161 h 1934496"/>
              <a:gd name="connsiteX2339" fmla="*/ 7608850 w 9922465"/>
              <a:gd name="connsiteY2339" fmla="*/ 724970 h 1934496"/>
              <a:gd name="connsiteX2340" fmla="*/ 7481895 w 9922465"/>
              <a:gd name="connsiteY2340" fmla="*/ 724970 h 1934496"/>
              <a:gd name="connsiteX2341" fmla="*/ 7537087 w 9922465"/>
              <a:gd name="connsiteY2341" fmla="*/ 780161 h 1934496"/>
              <a:gd name="connsiteX2342" fmla="*/ 7481895 w 9922465"/>
              <a:gd name="connsiteY2342" fmla="*/ 835352 h 1934496"/>
              <a:gd name="connsiteX2343" fmla="*/ 7426703 w 9922465"/>
              <a:gd name="connsiteY2343" fmla="*/ 780161 h 1934496"/>
              <a:gd name="connsiteX2344" fmla="*/ 7481895 w 9922465"/>
              <a:gd name="connsiteY2344" fmla="*/ 724970 h 1934496"/>
              <a:gd name="connsiteX2345" fmla="*/ 7341579 w 9922465"/>
              <a:gd name="connsiteY2345" fmla="*/ 724970 h 1934496"/>
              <a:gd name="connsiteX2346" fmla="*/ 7396771 w 9922465"/>
              <a:gd name="connsiteY2346" fmla="*/ 780161 h 1934496"/>
              <a:gd name="connsiteX2347" fmla="*/ 7341579 w 9922465"/>
              <a:gd name="connsiteY2347" fmla="*/ 835352 h 1934496"/>
              <a:gd name="connsiteX2348" fmla="*/ 7286387 w 9922465"/>
              <a:gd name="connsiteY2348" fmla="*/ 780161 h 1934496"/>
              <a:gd name="connsiteX2349" fmla="*/ 7341579 w 9922465"/>
              <a:gd name="connsiteY2349" fmla="*/ 724970 h 1934496"/>
              <a:gd name="connsiteX2350" fmla="*/ 7211286 w 9922465"/>
              <a:gd name="connsiteY2350" fmla="*/ 724970 h 1934496"/>
              <a:gd name="connsiteX2351" fmla="*/ 7266478 w 9922465"/>
              <a:gd name="connsiteY2351" fmla="*/ 780161 h 1934496"/>
              <a:gd name="connsiteX2352" fmla="*/ 7211286 w 9922465"/>
              <a:gd name="connsiteY2352" fmla="*/ 835352 h 1934496"/>
              <a:gd name="connsiteX2353" fmla="*/ 7156094 w 9922465"/>
              <a:gd name="connsiteY2353" fmla="*/ 780161 h 1934496"/>
              <a:gd name="connsiteX2354" fmla="*/ 7211286 w 9922465"/>
              <a:gd name="connsiteY2354" fmla="*/ 724970 h 1934496"/>
              <a:gd name="connsiteX2355" fmla="*/ 7080994 w 9922465"/>
              <a:gd name="connsiteY2355" fmla="*/ 724970 h 1934496"/>
              <a:gd name="connsiteX2356" fmla="*/ 7136186 w 9922465"/>
              <a:gd name="connsiteY2356" fmla="*/ 780161 h 1934496"/>
              <a:gd name="connsiteX2357" fmla="*/ 7080994 w 9922465"/>
              <a:gd name="connsiteY2357" fmla="*/ 835352 h 1934496"/>
              <a:gd name="connsiteX2358" fmla="*/ 7025802 w 9922465"/>
              <a:gd name="connsiteY2358" fmla="*/ 780161 h 1934496"/>
              <a:gd name="connsiteX2359" fmla="*/ 7080994 w 9922465"/>
              <a:gd name="connsiteY2359" fmla="*/ 724970 h 1934496"/>
              <a:gd name="connsiteX2360" fmla="*/ 6947358 w 9922465"/>
              <a:gd name="connsiteY2360" fmla="*/ 724970 h 1934496"/>
              <a:gd name="connsiteX2361" fmla="*/ 7002550 w 9922465"/>
              <a:gd name="connsiteY2361" fmla="*/ 780161 h 1934496"/>
              <a:gd name="connsiteX2362" fmla="*/ 6947358 w 9922465"/>
              <a:gd name="connsiteY2362" fmla="*/ 835352 h 1934496"/>
              <a:gd name="connsiteX2363" fmla="*/ 6892166 w 9922465"/>
              <a:gd name="connsiteY2363" fmla="*/ 780161 h 1934496"/>
              <a:gd name="connsiteX2364" fmla="*/ 6947358 w 9922465"/>
              <a:gd name="connsiteY2364" fmla="*/ 724970 h 1934496"/>
              <a:gd name="connsiteX2365" fmla="*/ 6817064 w 9922465"/>
              <a:gd name="connsiteY2365" fmla="*/ 724970 h 1934496"/>
              <a:gd name="connsiteX2366" fmla="*/ 6872256 w 9922465"/>
              <a:gd name="connsiteY2366" fmla="*/ 780161 h 1934496"/>
              <a:gd name="connsiteX2367" fmla="*/ 6817064 w 9922465"/>
              <a:gd name="connsiteY2367" fmla="*/ 835352 h 1934496"/>
              <a:gd name="connsiteX2368" fmla="*/ 6761872 w 9922465"/>
              <a:gd name="connsiteY2368" fmla="*/ 780161 h 1934496"/>
              <a:gd name="connsiteX2369" fmla="*/ 6817064 w 9922465"/>
              <a:gd name="connsiteY2369" fmla="*/ 724970 h 1934496"/>
              <a:gd name="connsiteX2370" fmla="*/ 6683431 w 9922465"/>
              <a:gd name="connsiteY2370" fmla="*/ 724970 h 1934496"/>
              <a:gd name="connsiteX2371" fmla="*/ 6738623 w 9922465"/>
              <a:gd name="connsiteY2371" fmla="*/ 780161 h 1934496"/>
              <a:gd name="connsiteX2372" fmla="*/ 6683431 w 9922465"/>
              <a:gd name="connsiteY2372" fmla="*/ 835352 h 1934496"/>
              <a:gd name="connsiteX2373" fmla="*/ 6628239 w 9922465"/>
              <a:gd name="connsiteY2373" fmla="*/ 780161 h 1934496"/>
              <a:gd name="connsiteX2374" fmla="*/ 6683431 w 9922465"/>
              <a:gd name="connsiteY2374" fmla="*/ 724970 h 1934496"/>
              <a:gd name="connsiteX2375" fmla="*/ 6553137 w 9922465"/>
              <a:gd name="connsiteY2375" fmla="*/ 724970 h 1934496"/>
              <a:gd name="connsiteX2376" fmla="*/ 6608329 w 9922465"/>
              <a:gd name="connsiteY2376" fmla="*/ 780161 h 1934496"/>
              <a:gd name="connsiteX2377" fmla="*/ 6553137 w 9922465"/>
              <a:gd name="connsiteY2377" fmla="*/ 835352 h 1934496"/>
              <a:gd name="connsiteX2378" fmla="*/ 6497945 w 9922465"/>
              <a:gd name="connsiteY2378" fmla="*/ 780161 h 1934496"/>
              <a:gd name="connsiteX2379" fmla="*/ 6553137 w 9922465"/>
              <a:gd name="connsiteY2379" fmla="*/ 724970 h 1934496"/>
              <a:gd name="connsiteX2380" fmla="*/ 6419503 w 9922465"/>
              <a:gd name="connsiteY2380" fmla="*/ 724970 h 1934496"/>
              <a:gd name="connsiteX2381" fmla="*/ 6474695 w 9922465"/>
              <a:gd name="connsiteY2381" fmla="*/ 780161 h 1934496"/>
              <a:gd name="connsiteX2382" fmla="*/ 6419503 w 9922465"/>
              <a:gd name="connsiteY2382" fmla="*/ 835352 h 1934496"/>
              <a:gd name="connsiteX2383" fmla="*/ 6364311 w 9922465"/>
              <a:gd name="connsiteY2383" fmla="*/ 780161 h 1934496"/>
              <a:gd name="connsiteX2384" fmla="*/ 6419503 w 9922465"/>
              <a:gd name="connsiteY2384" fmla="*/ 724970 h 1934496"/>
              <a:gd name="connsiteX2385" fmla="*/ 6289207 w 9922465"/>
              <a:gd name="connsiteY2385" fmla="*/ 724970 h 1934496"/>
              <a:gd name="connsiteX2386" fmla="*/ 6344399 w 9922465"/>
              <a:gd name="connsiteY2386" fmla="*/ 780161 h 1934496"/>
              <a:gd name="connsiteX2387" fmla="*/ 6289207 w 9922465"/>
              <a:gd name="connsiteY2387" fmla="*/ 835352 h 1934496"/>
              <a:gd name="connsiteX2388" fmla="*/ 6234015 w 9922465"/>
              <a:gd name="connsiteY2388" fmla="*/ 780161 h 1934496"/>
              <a:gd name="connsiteX2389" fmla="*/ 6289207 w 9922465"/>
              <a:gd name="connsiteY2389" fmla="*/ 724970 h 1934496"/>
              <a:gd name="connsiteX2390" fmla="*/ 6155573 w 9922465"/>
              <a:gd name="connsiteY2390" fmla="*/ 724970 h 1934496"/>
              <a:gd name="connsiteX2391" fmla="*/ 6210765 w 9922465"/>
              <a:gd name="connsiteY2391" fmla="*/ 780161 h 1934496"/>
              <a:gd name="connsiteX2392" fmla="*/ 6155573 w 9922465"/>
              <a:gd name="connsiteY2392" fmla="*/ 835352 h 1934496"/>
              <a:gd name="connsiteX2393" fmla="*/ 6100381 w 9922465"/>
              <a:gd name="connsiteY2393" fmla="*/ 780161 h 1934496"/>
              <a:gd name="connsiteX2394" fmla="*/ 6155573 w 9922465"/>
              <a:gd name="connsiteY2394" fmla="*/ 724970 h 1934496"/>
              <a:gd name="connsiteX2395" fmla="*/ 5621035 w 9922465"/>
              <a:gd name="connsiteY2395" fmla="*/ 724970 h 1934496"/>
              <a:gd name="connsiteX2396" fmla="*/ 5676227 w 9922465"/>
              <a:gd name="connsiteY2396" fmla="*/ 780161 h 1934496"/>
              <a:gd name="connsiteX2397" fmla="*/ 5621035 w 9922465"/>
              <a:gd name="connsiteY2397" fmla="*/ 835352 h 1934496"/>
              <a:gd name="connsiteX2398" fmla="*/ 5565843 w 9922465"/>
              <a:gd name="connsiteY2398" fmla="*/ 780161 h 1934496"/>
              <a:gd name="connsiteX2399" fmla="*/ 5621035 w 9922465"/>
              <a:gd name="connsiteY2399" fmla="*/ 724970 h 1934496"/>
              <a:gd name="connsiteX2400" fmla="*/ 5487399 w 9922465"/>
              <a:gd name="connsiteY2400" fmla="*/ 724970 h 1934496"/>
              <a:gd name="connsiteX2401" fmla="*/ 5542591 w 9922465"/>
              <a:gd name="connsiteY2401" fmla="*/ 780161 h 1934496"/>
              <a:gd name="connsiteX2402" fmla="*/ 5487399 w 9922465"/>
              <a:gd name="connsiteY2402" fmla="*/ 835352 h 1934496"/>
              <a:gd name="connsiteX2403" fmla="*/ 5432207 w 9922465"/>
              <a:gd name="connsiteY2403" fmla="*/ 780161 h 1934496"/>
              <a:gd name="connsiteX2404" fmla="*/ 5487399 w 9922465"/>
              <a:gd name="connsiteY2404" fmla="*/ 724970 h 1934496"/>
              <a:gd name="connsiteX2405" fmla="*/ 5357106 w 9922465"/>
              <a:gd name="connsiteY2405" fmla="*/ 724970 h 1934496"/>
              <a:gd name="connsiteX2406" fmla="*/ 5412298 w 9922465"/>
              <a:gd name="connsiteY2406" fmla="*/ 780161 h 1934496"/>
              <a:gd name="connsiteX2407" fmla="*/ 5357106 w 9922465"/>
              <a:gd name="connsiteY2407" fmla="*/ 835352 h 1934496"/>
              <a:gd name="connsiteX2408" fmla="*/ 5301914 w 9922465"/>
              <a:gd name="connsiteY2408" fmla="*/ 780161 h 1934496"/>
              <a:gd name="connsiteX2409" fmla="*/ 5357106 w 9922465"/>
              <a:gd name="connsiteY2409" fmla="*/ 724970 h 1934496"/>
              <a:gd name="connsiteX2410" fmla="*/ 5223473 w 9922465"/>
              <a:gd name="connsiteY2410" fmla="*/ 724970 h 1934496"/>
              <a:gd name="connsiteX2411" fmla="*/ 5278665 w 9922465"/>
              <a:gd name="connsiteY2411" fmla="*/ 780161 h 1934496"/>
              <a:gd name="connsiteX2412" fmla="*/ 5223473 w 9922465"/>
              <a:gd name="connsiteY2412" fmla="*/ 835352 h 1934496"/>
              <a:gd name="connsiteX2413" fmla="*/ 5168281 w 9922465"/>
              <a:gd name="connsiteY2413" fmla="*/ 780161 h 1934496"/>
              <a:gd name="connsiteX2414" fmla="*/ 5223473 w 9922465"/>
              <a:gd name="connsiteY2414" fmla="*/ 724970 h 1934496"/>
              <a:gd name="connsiteX2415" fmla="*/ 5093178 w 9922465"/>
              <a:gd name="connsiteY2415" fmla="*/ 724970 h 1934496"/>
              <a:gd name="connsiteX2416" fmla="*/ 5148370 w 9922465"/>
              <a:gd name="connsiteY2416" fmla="*/ 780161 h 1934496"/>
              <a:gd name="connsiteX2417" fmla="*/ 5093178 w 9922465"/>
              <a:gd name="connsiteY2417" fmla="*/ 835352 h 1934496"/>
              <a:gd name="connsiteX2418" fmla="*/ 5037986 w 9922465"/>
              <a:gd name="connsiteY2418" fmla="*/ 780161 h 1934496"/>
              <a:gd name="connsiteX2419" fmla="*/ 5093178 w 9922465"/>
              <a:gd name="connsiteY2419" fmla="*/ 724970 h 1934496"/>
              <a:gd name="connsiteX2420" fmla="*/ 3897148 w 9922465"/>
              <a:gd name="connsiteY2420" fmla="*/ 724970 h 1934496"/>
              <a:gd name="connsiteX2421" fmla="*/ 3952340 w 9922465"/>
              <a:gd name="connsiteY2421" fmla="*/ 780161 h 1934496"/>
              <a:gd name="connsiteX2422" fmla="*/ 3897148 w 9922465"/>
              <a:gd name="connsiteY2422" fmla="*/ 835352 h 1934496"/>
              <a:gd name="connsiteX2423" fmla="*/ 3841956 w 9922465"/>
              <a:gd name="connsiteY2423" fmla="*/ 780161 h 1934496"/>
              <a:gd name="connsiteX2424" fmla="*/ 3897148 w 9922465"/>
              <a:gd name="connsiteY2424" fmla="*/ 724970 h 1934496"/>
              <a:gd name="connsiteX2425" fmla="*/ 3763514 w 9922465"/>
              <a:gd name="connsiteY2425" fmla="*/ 724970 h 1934496"/>
              <a:gd name="connsiteX2426" fmla="*/ 3818706 w 9922465"/>
              <a:gd name="connsiteY2426" fmla="*/ 780161 h 1934496"/>
              <a:gd name="connsiteX2427" fmla="*/ 3763514 w 9922465"/>
              <a:gd name="connsiteY2427" fmla="*/ 835352 h 1934496"/>
              <a:gd name="connsiteX2428" fmla="*/ 3708322 w 9922465"/>
              <a:gd name="connsiteY2428" fmla="*/ 780161 h 1934496"/>
              <a:gd name="connsiteX2429" fmla="*/ 3763514 w 9922465"/>
              <a:gd name="connsiteY2429" fmla="*/ 724970 h 1934496"/>
              <a:gd name="connsiteX2430" fmla="*/ 3633221 w 9922465"/>
              <a:gd name="connsiteY2430" fmla="*/ 724970 h 1934496"/>
              <a:gd name="connsiteX2431" fmla="*/ 3688413 w 9922465"/>
              <a:gd name="connsiteY2431" fmla="*/ 780161 h 1934496"/>
              <a:gd name="connsiteX2432" fmla="*/ 3633221 w 9922465"/>
              <a:gd name="connsiteY2432" fmla="*/ 835352 h 1934496"/>
              <a:gd name="connsiteX2433" fmla="*/ 3578029 w 9922465"/>
              <a:gd name="connsiteY2433" fmla="*/ 780161 h 1934496"/>
              <a:gd name="connsiteX2434" fmla="*/ 3633221 w 9922465"/>
              <a:gd name="connsiteY2434" fmla="*/ 724970 h 1934496"/>
              <a:gd name="connsiteX2435" fmla="*/ 3499586 w 9922465"/>
              <a:gd name="connsiteY2435" fmla="*/ 724970 h 1934496"/>
              <a:gd name="connsiteX2436" fmla="*/ 3554778 w 9922465"/>
              <a:gd name="connsiteY2436" fmla="*/ 780161 h 1934496"/>
              <a:gd name="connsiteX2437" fmla="*/ 3499586 w 9922465"/>
              <a:gd name="connsiteY2437" fmla="*/ 835352 h 1934496"/>
              <a:gd name="connsiteX2438" fmla="*/ 3444394 w 9922465"/>
              <a:gd name="connsiteY2438" fmla="*/ 780161 h 1934496"/>
              <a:gd name="connsiteX2439" fmla="*/ 3499586 w 9922465"/>
              <a:gd name="connsiteY2439" fmla="*/ 724970 h 1934496"/>
              <a:gd name="connsiteX2440" fmla="*/ 3369292 w 9922465"/>
              <a:gd name="connsiteY2440" fmla="*/ 724970 h 1934496"/>
              <a:gd name="connsiteX2441" fmla="*/ 3424484 w 9922465"/>
              <a:gd name="connsiteY2441" fmla="*/ 780161 h 1934496"/>
              <a:gd name="connsiteX2442" fmla="*/ 3369292 w 9922465"/>
              <a:gd name="connsiteY2442" fmla="*/ 835352 h 1934496"/>
              <a:gd name="connsiteX2443" fmla="*/ 3314100 w 9922465"/>
              <a:gd name="connsiteY2443" fmla="*/ 780161 h 1934496"/>
              <a:gd name="connsiteX2444" fmla="*/ 3369292 w 9922465"/>
              <a:gd name="connsiteY2444" fmla="*/ 724970 h 1934496"/>
              <a:gd name="connsiteX2445" fmla="*/ 2834856 w 9922465"/>
              <a:gd name="connsiteY2445" fmla="*/ 724970 h 1934496"/>
              <a:gd name="connsiteX2446" fmla="*/ 2890049 w 9922465"/>
              <a:gd name="connsiteY2446" fmla="*/ 780161 h 1934496"/>
              <a:gd name="connsiteX2447" fmla="*/ 2834856 w 9922465"/>
              <a:gd name="connsiteY2447" fmla="*/ 835352 h 1934496"/>
              <a:gd name="connsiteX2448" fmla="*/ 2779665 w 9922465"/>
              <a:gd name="connsiteY2448" fmla="*/ 780161 h 1934496"/>
              <a:gd name="connsiteX2449" fmla="*/ 2834856 w 9922465"/>
              <a:gd name="connsiteY2449" fmla="*/ 724970 h 1934496"/>
              <a:gd name="connsiteX2450" fmla="*/ 2707901 w 9922465"/>
              <a:gd name="connsiteY2450" fmla="*/ 724970 h 1934496"/>
              <a:gd name="connsiteX2451" fmla="*/ 2763094 w 9922465"/>
              <a:gd name="connsiteY2451" fmla="*/ 780161 h 1934496"/>
              <a:gd name="connsiteX2452" fmla="*/ 2707901 w 9922465"/>
              <a:gd name="connsiteY2452" fmla="*/ 835352 h 1934496"/>
              <a:gd name="connsiteX2453" fmla="*/ 2652711 w 9922465"/>
              <a:gd name="connsiteY2453" fmla="*/ 780161 h 1934496"/>
              <a:gd name="connsiteX2454" fmla="*/ 2707901 w 9922465"/>
              <a:gd name="connsiteY2454" fmla="*/ 724970 h 1934496"/>
              <a:gd name="connsiteX2455" fmla="*/ 2570929 w 9922465"/>
              <a:gd name="connsiteY2455" fmla="*/ 724970 h 1934496"/>
              <a:gd name="connsiteX2456" fmla="*/ 2626122 w 9922465"/>
              <a:gd name="connsiteY2456" fmla="*/ 780161 h 1934496"/>
              <a:gd name="connsiteX2457" fmla="*/ 2570929 w 9922465"/>
              <a:gd name="connsiteY2457" fmla="*/ 835352 h 1934496"/>
              <a:gd name="connsiteX2458" fmla="*/ 2515735 w 9922465"/>
              <a:gd name="connsiteY2458" fmla="*/ 780161 h 1934496"/>
              <a:gd name="connsiteX2459" fmla="*/ 2570929 w 9922465"/>
              <a:gd name="connsiteY2459" fmla="*/ 724970 h 1934496"/>
              <a:gd name="connsiteX2460" fmla="*/ 2437294 w 9922465"/>
              <a:gd name="connsiteY2460" fmla="*/ 724970 h 1934496"/>
              <a:gd name="connsiteX2461" fmla="*/ 2492487 w 9922465"/>
              <a:gd name="connsiteY2461" fmla="*/ 780161 h 1934496"/>
              <a:gd name="connsiteX2462" fmla="*/ 2437294 w 9922465"/>
              <a:gd name="connsiteY2462" fmla="*/ 835352 h 1934496"/>
              <a:gd name="connsiteX2463" fmla="*/ 2382104 w 9922465"/>
              <a:gd name="connsiteY2463" fmla="*/ 780161 h 1934496"/>
              <a:gd name="connsiteX2464" fmla="*/ 2437294 w 9922465"/>
              <a:gd name="connsiteY2464" fmla="*/ 724970 h 1934496"/>
              <a:gd name="connsiteX2465" fmla="*/ 2303662 w 9922465"/>
              <a:gd name="connsiteY2465" fmla="*/ 724970 h 1934496"/>
              <a:gd name="connsiteX2466" fmla="*/ 2358853 w 9922465"/>
              <a:gd name="connsiteY2466" fmla="*/ 780161 h 1934496"/>
              <a:gd name="connsiteX2467" fmla="*/ 2303662 w 9922465"/>
              <a:gd name="connsiteY2467" fmla="*/ 835352 h 1934496"/>
              <a:gd name="connsiteX2468" fmla="*/ 2248471 w 9922465"/>
              <a:gd name="connsiteY2468" fmla="*/ 780161 h 1934496"/>
              <a:gd name="connsiteX2469" fmla="*/ 2303662 w 9922465"/>
              <a:gd name="connsiteY2469" fmla="*/ 724970 h 1934496"/>
              <a:gd name="connsiteX2470" fmla="*/ 2173371 w 9922465"/>
              <a:gd name="connsiteY2470" fmla="*/ 724970 h 1934496"/>
              <a:gd name="connsiteX2471" fmla="*/ 2228562 w 9922465"/>
              <a:gd name="connsiteY2471" fmla="*/ 780161 h 1934496"/>
              <a:gd name="connsiteX2472" fmla="*/ 2173371 w 9922465"/>
              <a:gd name="connsiteY2472" fmla="*/ 835352 h 1934496"/>
              <a:gd name="connsiteX2473" fmla="*/ 2118177 w 9922465"/>
              <a:gd name="connsiteY2473" fmla="*/ 780161 h 1934496"/>
              <a:gd name="connsiteX2474" fmla="*/ 2173371 w 9922465"/>
              <a:gd name="connsiteY2474" fmla="*/ 724970 h 1934496"/>
              <a:gd name="connsiteX2475" fmla="*/ 2039733 w 9922465"/>
              <a:gd name="connsiteY2475" fmla="*/ 724970 h 1934496"/>
              <a:gd name="connsiteX2476" fmla="*/ 2094927 w 9922465"/>
              <a:gd name="connsiteY2476" fmla="*/ 780161 h 1934496"/>
              <a:gd name="connsiteX2477" fmla="*/ 2039733 w 9922465"/>
              <a:gd name="connsiteY2477" fmla="*/ 835352 h 1934496"/>
              <a:gd name="connsiteX2478" fmla="*/ 1984539 w 9922465"/>
              <a:gd name="connsiteY2478" fmla="*/ 780161 h 1934496"/>
              <a:gd name="connsiteX2479" fmla="*/ 2039733 w 9922465"/>
              <a:gd name="connsiteY2479" fmla="*/ 724970 h 1934496"/>
              <a:gd name="connsiteX2480" fmla="*/ 1909436 w 9922465"/>
              <a:gd name="connsiteY2480" fmla="*/ 724970 h 1934496"/>
              <a:gd name="connsiteX2481" fmla="*/ 1964630 w 9922465"/>
              <a:gd name="connsiteY2481" fmla="*/ 780161 h 1934496"/>
              <a:gd name="connsiteX2482" fmla="*/ 1909436 w 9922465"/>
              <a:gd name="connsiteY2482" fmla="*/ 835352 h 1934496"/>
              <a:gd name="connsiteX2483" fmla="*/ 1854243 w 9922465"/>
              <a:gd name="connsiteY2483" fmla="*/ 780161 h 1934496"/>
              <a:gd name="connsiteX2484" fmla="*/ 1909436 w 9922465"/>
              <a:gd name="connsiteY2484" fmla="*/ 724970 h 1934496"/>
              <a:gd name="connsiteX2485" fmla="*/ 1779142 w 9922465"/>
              <a:gd name="connsiteY2485" fmla="*/ 724970 h 1934496"/>
              <a:gd name="connsiteX2486" fmla="*/ 1834335 w 9922465"/>
              <a:gd name="connsiteY2486" fmla="*/ 780161 h 1934496"/>
              <a:gd name="connsiteX2487" fmla="*/ 1779142 w 9922465"/>
              <a:gd name="connsiteY2487" fmla="*/ 835352 h 1934496"/>
              <a:gd name="connsiteX2488" fmla="*/ 1723947 w 9922465"/>
              <a:gd name="connsiteY2488" fmla="*/ 780161 h 1934496"/>
              <a:gd name="connsiteX2489" fmla="*/ 1779142 w 9922465"/>
              <a:gd name="connsiteY2489" fmla="*/ 724970 h 1934496"/>
              <a:gd name="connsiteX2490" fmla="*/ 1645501 w 9922465"/>
              <a:gd name="connsiteY2490" fmla="*/ 724970 h 1934496"/>
              <a:gd name="connsiteX2491" fmla="*/ 1700699 w 9922465"/>
              <a:gd name="connsiteY2491" fmla="*/ 780161 h 1934496"/>
              <a:gd name="connsiteX2492" fmla="*/ 1645501 w 9922465"/>
              <a:gd name="connsiteY2492" fmla="*/ 835352 h 1934496"/>
              <a:gd name="connsiteX2493" fmla="*/ 1590310 w 9922465"/>
              <a:gd name="connsiteY2493" fmla="*/ 780161 h 1934496"/>
              <a:gd name="connsiteX2494" fmla="*/ 1645501 w 9922465"/>
              <a:gd name="connsiteY2494" fmla="*/ 724970 h 1934496"/>
              <a:gd name="connsiteX2495" fmla="*/ 1515213 w 9922465"/>
              <a:gd name="connsiteY2495" fmla="*/ 724970 h 1934496"/>
              <a:gd name="connsiteX2496" fmla="*/ 1570399 w 9922465"/>
              <a:gd name="connsiteY2496" fmla="*/ 780161 h 1934496"/>
              <a:gd name="connsiteX2497" fmla="*/ 1515213 w 9922465"/>
              <a:gd name="connsiteY2497" fmla="*/ 835352 h 1934496"/>
              <a:gd name="connsiteX2498" fmla="*/ 1460016 w 9922465"/>
              <a:gd name="connsiteY2498" fmla="*/ 780161 h 1934496"/>
              <a:gd name="connsiteX2499" fmla="*/ 1515213 w 9922465"/>
              <a:gd name="connsiteY2499" fmla="*/ 724970 h 1934496"/>
              <a:gd name="connsiteX2500" fmla="*/ 1381573 w 9922465"/>
              <a:gd name="connsiteY2500" fmla="*/ 724970 h 1934496"/>
              <a:gd name="connsiteX2501" fmla="*/ 1436767 w 9922465"/>
              <a:gd name="connsiteY2501" fmla="*/ 780161 h 1934496"/>
              <a:gd name="connsiteX2502" fmla="*/ 1381573 w 9922465"/>
              <a:gd name="connsiteY2502" fmla="*/ 835352 h 1934496"/>
              <a:gd name="connsiteX2503" fmla="*/ 1326381 w 9922465"/>
              <a:gd name="connsiteY2503" fmla="*/ 780161 h 1934496"/>
              <a:gd name="connsiteX2504" fmla="*/ 1381573 w 9922465"/>
              <a:gd name="connsiteY2504" fmla="*/ 724970 h 1934496"/>
              <a:gd name="connsiteX2505" fmla="*/ 1251282 w 9922465"/>
              <a:gd name="connsiteY2505" fmla="*/ 724970 h 1934496"/>
              <a:gd name="connsiteX2506" fmla="*/ 1306475 w 9922465"/>
              <a:gd name="connsiteY2506" fmla="*/ 780161 h 1934496"/>
              <a:gd name="connsiteX2507" fmla="*/ 1251282 w 9922465"/>
              <a:gd name="connsiteY2507" fmla="*/ 835352 h 1934496"/>
              <a:gd name="connsiteX2508" fmla="*/ 1196089 w 9922465"/>
              <a:gd name="connsiteY2508" fmla="*/ 780161 h 1934496"/>
              <a:gd name="connsiteX2509" fmla="*/ 1251282 w 9922465"/>
              <a:gd name="connsiteY2509" fmla="*/ 724970 h 1934496"/>
              <a:gd name="connsiteX2510" fmla="*/ 1117642 w 9922465"/>
              <a:gd name="connsiteY2510" fmla="*/ 724970 h 1934496"/>
              <a:gd name="connsiteX2511" fmla="*/ 1172836 w 9922465"/>
              <a:gd name="connsiteY2511" fmla="*/ 780161 h 1934496"/>
              <a:gd name="connsiteX2512" fmla="*/ 1117642 w 9922465"/>
              <a:gd name="connsiteY2512" fmla="*/ 835352 h 1934496"/>
              <a:gd name="connsiteX2513" fmla="*/ 1062448 w 9922465"/>
              <a:gd name="connsiteY2513" fmla="*/ 780161 h 1934496"/>
              <a:gd name="connsiteX2514" fmla="*/ 1117642 w 9922465"/>
              <a:gd name="connsiteY2514" fmla="*/ 724970 h 1934496"/>
              <a:gd name="connsiteX2515" fmla="*/ 980664 w 9922465"/>
              <a:gd name="connsiteY2515" fmla="*/ 724970 h 1934496"/>
              <a:gd name="connsiteX2516" fmla="*/ 1035857 w 9922465"/>
              <a:gd name="connsiteY2516" fmla="*/ 780161 h 1934496"/>
              <a:gd name="connsiteX2517" fmla="*/ 980664 w 9922465"/>
              <a:gd name="connsiteY2517" fmla="*/ 835352 h 1934496"/>
              <a:gd name="connsiteX2518" fmla="*/ 925471 w 9922465"/>
              <a:gd name="connsiteY2518" fmla="*/ 780161 h 1934496"/>
              <a:gd name="connsiteX2519" fmla="*/ 980664 w 9922465"/>
              <a:gd name="connsiteY2519" fmla="*/ 724970 h 1934496"/>
              <a:gd name="connsiteX2520" fmla="*/ 847022 w 9922465"/>
              <a:gd name="connsiteY2520" fmla="*/ 724970 h 1934496"/>
              <a:gd name="connsiteX2521" fmla="*/ 902217 w 9922465"/>
              <a:gd name="connsiteY2521" fmla="*/ 780161 h 1934496"/>
              <a:gd name="connsiteX2522" fmla="*/ 847022 w 9922465"/>
              <a:gd name="connsiteY2522" fmla="*/ 835352 h 1934496"/>
              <a:gd name="connsiteX2523" fmla="*/ 791823 w 9922465"/>
              <a:gd name="connsiteY2523" fmla="*/ 780161 h 1934496"/>
              <a:gd name="connsiteX2524" fmla="*/ 847022 w 9922465"/>
              <a:gd name="connsiteY2524" fmla="*/ 724970 h 1934496"/>
              <a:gd name="connsiteX2525" fmla="*/ 716722 w 9922465"/>
              <a:gd name="connsiteY2525" fmla="*/ 724970 h 1934496"/>
              <a:gd name="connsiteX2526" fmla="*/ 771916 w 9922465"/>
              <a:gd name="connsiteY2526" fmla="*/ 780161 h 1934496"/>
              <a:gd name="connsiteX2527" fmla="*/ 716722 w 9922465"/>
              <a:gd name="connsiteY2527" fmla="*/ 835352 h 1934496"/>
              <a:gd name="connsiteX2528" fmla="*/ 661530 w 9922465"/>
              <a:gd name="connsiteY2528" fmla="*/ 780161 h 1934496"/>
              <a:gd name="connsiteX2529" fmla="*/ 716722 w 9922465"/>
              <a:gd name="connsiteY2529" fmla="*/ 724970 h 1934496"/>
              <a:gd name="connsiteX2530" fmla="*/ 583085 w 9922465"/>
              <a:gd name="connsiteY2530" fmla="*/ 724970 h 1934496"/>
              <a:gd name="connsiteX2531" fmla="*/ 638278 w 9922465"/>
              <a:gd name="connsiteY2531" fmla="*/ 780161 h 1934496"/>
              <a:gd name="connsiteX2532" fmla="*/ 583085 w 9922465"/>
              <a:gd name="connsiteY2532" fmla="*/ 835352 h 1934496"/>
              <a:gd name="connsiteX2533" fmla="*/ 527891 w 9922465"/>
              <a:gd name="connsiteY2533" fmla="*/ 780161 h 1934496"/>
              <a:gd name="connsiteX2534" fmla="*/ 583085 w 9922465"/>
              <a:gd name="connsiteY2534" fmla="*/ 724970 h 1934496"/>
              <a:gd name="connsiteX2535" fmla="*/ 449437 w 9922465"/>
              <a:gd name="connsiteY2535" fmla="*/ 724970 h 1934496"/>
              <a:gd name="connsiteX2536" fmla="*/ 504629 w 9922465"/>
              <a:gd name="connsiteY2536" fmla="*/ 780161 h 1934496"/>
              <a:gd name="connsiteX2537" fmla="*/ 449437 w 9922465"/>
              <a:gd name="connsiteY2537" fmla="*/ 835352 h 1934496"/>
              <a:gd name="connsiteX2538" fmla="*/ 394244 w 9922465"/>
              <a:gd name="connsiteY2538" fmla="*/ 780161 h 1934496"/>
              <a:gd name="connsiteX2539" fmla="*/ 449437 w 9922465"/>
              <a:gd name="connsiteY2539" fmla="*/ 724970 h 1934496"/>
              <a:gd name="connsiteX2540" fmla="*/ 319140 w 9922465"/>
              <a:gd name="connsiteY2540" fmla="*/ 724970 h 1934496"/>
              <a:gd name="connsiteX2541" fmla="*/ 374334 w 9922465"/>
              <a:gd name="connsiteY2541" fmla="*/ 780161 h 1934496"/>
              <a:gd name="connsiteX2542" fmla="*/ 319140 w 9922465"/>
              <a:gd name="connsiteY2542" fmla="*/ 835352 h 1934496"/>
              <a:gd name="connsiteX2543" fmla="*/ 263948 w 9922465"/>
              <a:gd name="connsiteY2543" fmla="*/ 780161 h 1934496"/>
              <a:gd name="connsiteX2544" fmla="*/ 319140 w 9922465"/>
              <a:gd name="connsiteY2544" fmla="*/ 724970 h 1934496"/>
              <a:gd name="connsiteX2545" fmla="*/ 185509 w 9922465"/>
              <a:gd name="connsiteY2545" fmla="*/ 724970 h 1934496"/>
              <a:gd name="connsiteX2546" fmla="*/ 240701 w 9922465"/>
              <a:gd name="connsiteY2546" fmla="*/ 780161 h 1934496"/>
              <a:gd name="connsiteX2547" fmla="*/ 185509 w 9922465"/>
              <a:gd name="connsiteY2547" fmla="*/ 835352 h 1934496"/>
              <a:gd name="connsiteX2548" fmla="*/ 130319 w 9922465"/>
              <a:gd name="connsiteY2548" fmla="*/ 780161 h 1934496"/>
              <a:gd name="connsiteX2549" fmla="*/ 185509 w 9922465"/>
              <a:gd name="connsiteY2549" fmla="*/ 724970 h 1934496"/>
              <a:gd name="connsiteX2550" fmla="*/ 8801538 w 9922465"/>
              <a:gd name="connsiteY2550" fmla="*/ 608039 h 1934496"/>
              <a:gd name="connsiteX2551" fmla="*/ 8856730 w 9922465"/>
              <a:gd name="connsiteY2551" fmla="*/ 663230 h 1934496"/>
              <a:gd name="connsiteX2552" fmla="*/ 8801538 w 9922465"/>
              <a:gd name="connsiteY2552" fmla="*/ 718421 h 1934496"/>
              <a:gd name="connsiteX2553" fmla="*/ 8746346 w 9922465"/>
              <a:gd name="connsiteY2553" fmla="*/ 663230 h 1934496"/>
              <a:gd name="connsiteX2554" fmla="*/ 8801538 w 9922465"/>
              <a:gd name="connsiteY2554" fmla="*/ 608039 h 1934496"/>
              <a:gd name="connsiteX2555" fmla="*/ 8671244 w 9922465"/>
              <a:gd name="connsiteY2555" fmla="*/ 608039 h 1934496"/>
              <a:gd name="connsiteX2556" fmla="*/ 8726436 w 9922465"/>
              <a:gd name="connsiteY2556" fmla="*/ 663230 h 1934496"/>
              <a:gd name="connsiteX2557" fmla="*/ 8671244 w 9922465"/>
              <a:gd name="connsiteY2557" fmla="*/ 718421 h 1934496"/>
              <a:gd name="connsiteX2558" fmla="*/ 8616052 w 9922465"/>
              <a:gd name="connsiteY2558" fmla="*/ 663230 h 1934496"/>
              <a:gd name="connsiteX2559" fmla="*/ 8671244 w 9922465"/>
              <a:gd name="connsiteY2559" fmla="*/ 608039 h 1934496"/>
              <a:gd name="connsiteX2560" fmla="*/ 8537609 w 9922465"/>
              <a:gd name="connsiteY2560" fmla="*/ 608039 h 1934496"/>
              <a:gd name="connsiteX2561" fmla="*/ 8592801 w 9922465"/>
              <a:gd name="connsiteY2561" fmla="*/ 663230 h 1934496"/>
              <a:gd name="connsiteX2562" fmla="*/ 8537609 w 9922465"/>
              <a:gd name="connsiteY2562" fmla="*/ 718421 h 1934496"/>
              <a:gd name="connsiteX2563" fmla="*/ 8482417 w 9922465"/>
              <a:gd name="connsiteY2563" fmla="*/ 663230 h 1934496"/>
              <a:gd name="connsiteX2564" fmla="*/ 8537609 w 9922465"/>
              <a:gd name="connsiteY2564" fmla="*/ 608039 h 1934496"/>
              <a:gd name="connsiteX2565" fmla="*/ 8407318 w 9922465"/>
              <a:gd name="connsiteY2565" fmla="*/ 608039 h 1934496"/>
              <a:gd name="connsiteX2566" fmla="*/ 8462510 w 9922465"/>
              <a:gd name="connsiteY2566" fmla="*/ 663230 h 1934496"/>
              <a:gd name="connsiteX2567" fmla="*/ 8407318 w 9922465"/>
              <a:gd name="connsiteY2567" fmla="*/ 718421 h 1934496"/>
              <a:gd name="connsiteX2568" fmla="*/ 8352126 w 9922465"/>
              <a:gd name="connsiteY2568" fmla="*/ 663230 h 1934496"/>
              <a:gd name="connsiteX2569" fmla="*/ 8407318 w 9922465"/>
              <a:gd name="connsiteY2569" fmla="*/ 608039 h 1934496"/>
              <a:gd name="connsiteX2570" fmla="*/ 8273682 w 9922465"/>
              <a:gd name="connsiteY2570" fmla="*/ 608039 h 1934496"/>
              <a:gd name="connsiteX2571" fmla="*/ 8328874 w 9922465"/>
              <a:gd name="connsiteY2571" fmla="*/ 663230 h 1934496"/>
              <a:gd name="connsiteX2572" fmla="*/ 8273682 w 9922465"/>
              <a:gd name="connsiteY2572" fmla="*/ 718421 h 1934496"/>
              <a:gd name="connsiteX2573" fmla="*/ 8218490 w 9922465"/>
              <a:gd name="connsiteY2573" fmla="*/ 663230 h 1934496"/>
              <a:gd name="connsiteX2574" fmla="*/ 8273682 w 9922465"/>
              <a:gd name="connsiteY2574" fmla="*/ 608039 h 1934496"/>
              <a:gd name="connsiteX2575" fmla="*/ 8143386 w 9922465"/>
              <a:gd name="connsiteY2575" fmla="*/ 608039 h 1934496"/>
              <a:gd name="connsiteX2576" fmla="*/ 8198578 w 9922465"/>
              <a:gd name="connsiteY2576" fmla="*/ 663230 h 1934496"/>
              <a:gd name="connsiteX2577" fmla="*/ 8143386 w 9922465"/>
              <a:gd name="connsiteY2577" fmla="*/ 718421 h 1934496"/>
              <a:gd name="connsiteX2578" fmla="*/ 8088194 w 9922465"/>
              <a:gd name="connsiteY2578" fmla="*/ 663230 h 1934496"/>
              <a:gd name="connsiteX2579" fmla="*/ 8143386 w 9922465"/>
              <a:gd name="connsiteY2579" fmla="*/ 608039 h 1934496"/>
              <a:gd name="connsiteX2580" fmla="*/ 8009753 w 9922465"/>
              <a:gd name="connsiteY2580" fmla="*/ 608039 h 1934496"/>
              <a:gd name="connsiteX2581" fmla="*/ 8064945 w 9922465"/>
              <a:gd name="connsiteY2581" fmla="*/ 663230 h 1934496"/>
              <a:gd name="connsiteX2582" fmla="*/ 8009753 w 9922465"/>
              <a:gd name="connsiteY2582" fmla="*/ 718421 h 1934496"/>
              <a:gd name="connsiteX2583" fmla="*/ 7954561 w 9922465"/>
              <a:gd name="connsiteY2583" fmla="*/ 663230 h 1934496"/>
              <a:gd name="connsiteX2584" fmla="*/ 8009753 w 9922465"/>
              <a:gd name="connsiteY2584" fmla="*/ 608039 h 1934496"/>
              <a:gd name="connsiteX2585" fmla="*/ 7876118 w 9922465"/>
              <a:gd name="connsiteY2585" fmla="*/ 608039 h 1934496"/>
              <a:gd name="connsiteX2586" fmla="*/ 7931310 w 9922465"/>
              <a:gd name="connsiteY2586" fmla="*/ 663230 h 1934496"/>
              <a:gd name="connsiteX2587" fmla="*/ 7876118 w 9922465"/>
              <a:gd name="connsiteY2587" fmla="*/ 718421 h 1934496"/>
              <a:gd name="connsiteX2588" fmla="*/ 7820926 w 9922465"/>
              <a:gd name="connsiteY2588" fmla="*/ 663230 h 1934496"/>
              <a:gd name="connsiteX2589" fmla="*/ 7876118 w 9922465"/>
              <a:gd name="connsiteY2589" fmla="*/ 608039 h 1934496"/>
              <a:gd name="connsiteX2590" fmla="*/ 7745824 w 9922465"/>
              <a:gd name="connsiteY2590" fmla="*/ 608039 h 1934496"/>
              <a:gd name="connsiteX2591" fmla="*/ 7801016 w 9922465"/>
              <a:gd name="connsiteY2591" fmla="*/ 663230 h 1934496"/>
              <a:gd name="connsiteX2592" fmla="*/ 7745824 w 9922465"/>
              <a:gd name="connsiteY2592" fmla="*/ 718421 h 1934496"/>
              <a:gd name="connsiteX2593" fmla="*/ 7690632 w 9922465"/>
              <a:gd name="connsiteY2593" fmla="*/ 663230 h 1934496"/>
              <a:gd name="connsiteX2594" fmla="*/ 7745824 w 9922465"/>
              <a:gd name="connsiteY2594" fmla="*/ 608039 h 1934496"/>
              <a:gd name="connsiteX2595" fmla="*/ 7608850 w 9922465"/>
              <a:gd name="connsiteY2595" fmla="*/ 608039 h 1934496"/>
              <a:gd name="connsiteX2596" fmla="*/ 7664042 w 9922465"/>
              <a:gd name="connsiteY2596" fmla="*/ 663230 h 1934496"/>
              <a:gd name="connsiteX2597" fmla="*/ 7608850 w 9922465"/>
              <a:gd name="connsiteY2597" fmla="*/ 718421 h 1934496"/>
              <a:gd name="connsiteX2598" fmla="*/ 7553658 w 9922465"/>
              <a:gd name="connsiteY2598" fmla="*/ 663230 h 1934496"/>
              <a:gd name="connsiteX2599" fmla="*/ 7608850 w 9922465"/>
              <a:gd name="connsiteY2599" fmla="*/ 608039 h 1934496"/>
              <a:gd name="connsiteX2600" fmla="*/ 7481895 w 9922465"/>
              <a:gd name="connsiteY2600" fmla="*/ 608039 h 1934496"/>
              <a:gd name="connsiteX2601" fmla="*/ 7537087 w 9922465"/>
              <a:gd name="connsiteY2601" fmla="*/ 663230 h 1934496"/>
              <a:gd name="connsiteX2602" fmla="*/ 7481895 w 9922465"/>
              <a:gd name="connsiteY2602" fmla="*/ 718421 h 1934496"/>
              <a:gd name="connsiteX2603" fmla="*/ 7426703 w 9922465"/>
              <a:gd name="connsiteY2603" fmla="*/ 663230 h 1934496"/>
              <a:gd name="connsiteX2604" fmla="*/ 7481895 w 9922465"/>
              <a:gd name="connsiteY2604" fmla="*/ 608039 h 1934496"/>
              <a:gd name="connsiteX2605" fmla="*/ 7341579 w 9922465"/>
              <a:gd name="connsiteY2605" fmla="*/ 608039 h 1934496"/>
              <a:gd name="connsiteX2606" fmla="*/ 7396771 w 9922465"/>
              <a:gd name="connsiteY2606" fmla="*/ 663230 h 1934496"/>
              <a:gd name="connsiteX2607" fmla="*/ 7341579 w 9922465"/>
              <a:gd name="connsiteY2607" fmla="*/ 718421 h 1934496"/>
              <a:gd name="connsiteX2608" fmla="*/ 7286387 w 9922465"/>
              <a:gd name="connsiteY2608" fmla="*/ 663230 h 1934496"/>
              <a:gd name="connsiteX2609" fmla="*/ 7341579 w 9922465"/>
              <a:gd name="connsiteY2609" fmla="*/ 608039 h 1934496"/>
              <a:gd name="connsiteX2610" fmla="*/ 7211286 w 9922465"/>
              <a:gd name="connsiteY2610" fmla="*/ 608039 h 1934496"/>
              <a:gd name="connsiteX2611" fmla="*/ 7266478 w 9922465"/>
              <a:gd name="connsiteY2611" fmla="*/ 663230 h 1934496"/>
              <a:gd name="connsiteX2612" fmla="*/ 7211286 w 9922465"/>
              <a:gd name="connsiteY2612" fmla="*/ 718421 h 1934496"/>
              <a:gd name="connsiteX2613" fmla="*/ 7156094 w 9922465"/>
              <a:gd name="connsiteY2613" fmla="*/ 663230 h 1934496"/>
              <a:gd name="connsiteX2614" fmla="*/ 7211286 w 9922465"/>
              <a:gd name="connsiteY2614" fmla="*/ 608039 h 1934496"/>
              <a:gd name="connsiteX2615" fmla="*/ 7080994 w 9922465"/>
              <a:gd name="connsiteY2615" fmla="*/ 608039 h 1934496"/>
              <a:gd name="connsiteX2616" fmla="*/ 7136186 w 9922465"/>
              <a:gd name="connsiteY2616" fmla="*/ 663230 h 1934496"/>
              <a:gd name="connsiteX2617" fmla="*/ 7080994 w 9922465"/>
              <a:gd name="connsiteY2617" fmla="*/ 718421 h 1934496"/>
              <a:gd name="connsiteX2618" fmla="*/ 7025802 w 9922465"/>
              <a:gd name="connsiteY2618" fmla="*/ 663230 h 1934496"/>
              <a:gd name="connsiteX2619" fmla="*/ 7080994 w 9922465"/>
              <a:gd name="connsiteY2619" fmla="*/ 608039 h 1934496"/>
              <a:gd name="connsiteX2620" fmla="*/ 6947358 w 9922465"/>
              <a:gd name="connsiteY2620" fmla="*/ 608039 h 1934496"/>
              <a:gd name="connsiteX2621" fmla="*/ 7002550 w 9922465"/>
              <a:gd name="connsiteY2621" fmla="*/ 663230 h 1934496"/>
              <a:gd name="connsiteX2622" fmla="*/ 6947358 w 9922465"/>
              <a:gd name="connsiteY2622" fmla="*/ 718421 h 1934496"/>
              <a:gd name="connsiteX2623" fmla="*/ 6892166 w 9922465"/>
              <a:gd name="connsiteY2623" fmla="*/ 663230 h 1934496"/>
              <a:gd name="connsiteX2624" fmla="*/ 6947358 w 9922465"/>
              <a:gd name="connsiteY2624" fmla="*/ 608039 h 1934496"/>
              <a:gd name="connsiteX2625" fmla="*/ 6817064 w 9922465"/>
              <a:gd name="connsiteY2625" fmla="*/ 608039 h 1934496"/>
              <a:gd name="connsiteX2626" fmla="*/ 6872256 w 9922465"/>
              <a:gd name="connsiteY2626" fmla="*/ 663230 h 1934496"/>
              <a:gd name="connsiteX2627" fmla="*/ 6817064 w 9922465"/>
              <a:gd name="connsiteY2627" fmla="*/ 718421 h 1934496"/>
              <a:gd name="connsiteX2628" fmla="*/ 6761872 w 9922465"/>
              <a:gd name="connsiteY2628" fmla="*/ 663230 h 1934496"/>
              <a:gd name="connsiteX2629" fmla="*/ 6817064 w 9922465"/>
              <a:gd name="connsiteY2629" fmla="*/ 608039 h 1934496"/>
              <a:gd name="connsiteX2630" fmla="*/ 6683431 w 9922465"/>
              <a:gd name="connsiteY2630" fmla="*/ 608039 h 1934496"/>
              <a:gd name="connsiteX2631" fmla="*/ 6738623 w 9922465"/>
              <a:gd name="connsiteY2631" fmla="*/ 663230 h 1934496"/>
              <a:gd name="connsiteX2632" fmla="*/ 6683431 w 9922465"/>
              <a:gd name="connsiteY2632" fmla="*/ 718421 h 1934496"/>
              <a:gd name="connsiteX2633" fmla="*/ 6628239 w 9922465"/>
              <a:gd name="connsiteY2633" fmla="*/ 663230 h 1934496"/>
              <a:gd name="connsiteX2634" fmla="*/ 6683431 w 9922465"/>
              <a:gd name="connsiteY2634" fmla="*/ 608039 h 1934496"/>
              <a:gd name="connsiteX2635" fmla="*/ 6155573 w 9922465"/>
              <a:gd name="connsiteY2635" fmla="*/ 608039 h 1934496"/>
              <a:gd name="connsiteX2636" fmla="*/ 6210765 w 9922465"/>
              <a:gd name="connsiteY2636" fmla="*/ 663230 h 1934496"/>
              <a:gd name="connsiteX2637" fmla="*/ 6155573 w 9922465"/>
              <a:gd name="connsiteY2637" fmla="*/ 718421 h 1934496"/>
              <a:gd name="connsiteX2638" fmla="*/ 6100381 w 9922465"/>
              <a:gd name="connsiteY2638" fmla="*/ 663230 h 1934496"/>
              <a:gd name="connsiteX2639" fmla="*/ 6155573 w 9922465"/>
              <a:gd name="connsiteY2639" fmla="*/ 608039 h 1934496"/>
              <a:gd name="connsiteX2640" fmla="*/ 5487399 w 9922465"/>
              <a:gd name="connsiteY2640" fmla="*/ 608039 h 1934496"/>
              <a:gd name="connsiteX2641" fmla="*/ 5542591 w 9922465"/>
              <a:gd name="connsiteY2641" fmla="*/ 663230 h 1934496"/>
              <a:gd name="connsiteX2642" fmla="*/ 5487399 w 9922465"/>
              <a:gd name="connsiteY2642" fmla="*/ 718421 h 1934496"/>
              <a:gd name="connsiteX2643" fmla="*/ 5432207 w 9922465"/>
              <a:gd name="connsiteY2643" fmla="*/ 663230 h 1934496"/>
              <a:gd name="connsiteX2644" fmla="*/ 5487399 w 9922465"/>
              <a:gd name="connsiteY2644" fmla="*/ 608039 h 1934496"/>
              <a:gd name="connsiteX2645" fmla="*/ 5357106 w 9922465"/>
              <a:gd name="connsiteY2645" fmla="*/ 608039 h 1934496"/>
              <a:gd name="connsiteX2646" fmla="*/ 5412298 w 9922465"/>
              <a:gd name="connsiteY2646" fmla="*/ 663230 h 1934496"/>
              <a:gd name="connsiteX2647" fmla="*/ 5357106 w 9922465"/>
              <a:gd name="connsiteY2647" fmla="*/ 718421 h 1934496"/>
              <a:gd name="connsiteX2648" fmla="*/ 5301914 w 9922465"/>
              <a:gd name="connsiteY2648" fmla="*/ 663230 h 1934496"/>
              <a:gd name="connsiteX2649" fmla="*/ 5357106 w 9922465"/>
              <a:gd name="connsiteY2649" fmla="*/ 608039 h 1934496"/>
              <a:gd name="connsiteX2650" fmla="*/ 5223473 w 9922465"/>
              <a:gd name="connsiteY2650" fmla="*/ 608038 h 1934496"/>
              <a:gd name="connsiteX2651" fmla="*/ 5278665 w 9922465"/>
              <a:gd name="connsiteY2651" fmla="*/ 663229 h 1934496"/>
              <a:gd name="connsiteX2652" fmla="*/ 5223473 w 9922465"/>
              <a:gd name="connsiteY2652" fmla="*/ 718420 h 1934496"/>
              <a:gd name="connsiteX2653" fmla="*/ 5168281 w 9922465"/>
              <a:gd name="connsiteY2653" fmla="*/ 663229 h 1934496"/>
              <a:gd name="connsiteX2654" fmla="*/ 5223473 w 9922465"/>
              <a:gd name="connsiteY2654" fmla="*/ 608038 h 1934496"/>
              <a:gd name="connsiteX2655" fmla="*/ 4030786 w 9922465"/>
              <a:gd name="connsiteY2655" fmla="*/ 608038 h 1934496"/>
              <a:gd name="connsiteX2656" fmla="*/ 4085978 w 9922465"/>
              <a:gd name="connsiteY2656" fmla="*/ 663229 h 1934496"/>
              <a:gd name="connsiteX2657" fmla="*/ 4030786 w 9922465"/>
              <a:gd name="connsiteY2657" fmla="*/ 718420 h 1934496"/>
              <a:gd name="connsiteX2658" fmla="*/ 3975594 w 9922465"/>
              <a:gd name="connsiteY2658" fmla="*/ 663229 h 1934496"/>
              <a:gd name="connsiteX2659" fmla="*/ 4030786 w 9922465"/>
              <a:gd name="connsiteY2659" fmla="*/ 608038 h 1934496"/>
              <a:gd name="connsiteX2660" fmla="*/ 3897148 w 9922465"/>
              <a:gd name="connsiteY2660" fmla="*/ 608038 h 1934496"/>
              <a:gd name="connsiteX2661" fmla="*/ 3952340 w 9922465"/>
              <a:gd name="connsiteY2661" fmla="*/ 663229 h 1934496"/>
              <a:gd name="connsiteX2662" fmla="*/ 3897148 w 9922465"/>
              <a:gd name="connsiteY2662" fmla="*/ 718420 h 1934496"/>
              <a:gd name="connsiteX2663" fmla="*/ 3841956 w 9922465"/>
              <a:gd name="connsiteY2663" fmla="*/ 663229 h 1934496"/>
              <a:gd name="connsiteX2664" fmla="*/ 3897148 w 9922465"/>
              <a:gd name="connsiteY2664" fmla="*/ 608038 h 1934496"/>
              <a:gd name="connsiteX2665" fmla="*/ 3763514 w 9922465"/>
              <a:gd name="connsiteY2665" fmla="*/ 608038 h 1934496"/>
              <a:gd name="connsiteX2666" fmla="*/ 3818706 w 9922465"/>
              <a:gd name="connsiteY2666" fmla="*/ 663229 h 1934496"/>
              <a:gd name="connsiteX2667" fmla="*/ 3763514 w 9922465"/>
              <a:gd name="connsiteY2667" fmla="*/ 718420 h 1934496"/>
              <a:gd name="connsiteX2668" fmla="*/ 3708322 w 9922465"/>
              <a:gd name="connsiteY2668" fmla="*/ 663229 h 1934496"/>
              <a:gd name="connsiteX2669" fmla="*/ 3763514 w 9922465"/>
              <a:gd name="connsiteY2669" fmla="*/ 608038 h 1934496"/>
              <a:gd name="connsiteX2670" fmla="*/ 3633221 w 9922465"/>
              <a:gd name="connsiteY2670" fmla="*/ 608038 h 1934496"/>
              <a:gd name="connsiteX2671" fmla="*/ 3688413 w 9922465"/>
              <a:gd name="connsiteY2671" fmla="*/ 663229 h 1934496"/>
              <a:gd name="connsiteX2672" fmla="*/ 3633221 w 9922465"/>
              <a:gd name="connsiteY2672" fmla="*/ 718420 h 1934496"/>
              <a:gd name="connsiteX2673" fmla="*/ 3578029 w 9922465"/>
              <a:gd name="connsiteY2673" fmla="*/ 663229 h 1934496"/>
              <a:gd name="connsiteX2674" fmla="*/ 3633221 w 9922465"/>
              <a:gd name="connsiteY2674" fmla="*/ 608038 h 1934496"/>
              <a:gd name="connsiteX2675" fmla="*/ 3499589 w 9922465"/>
              <a:gd name="connsiteY2675" fmla="*/ 608038 h 1934496"/>
              <a:gd name="connsiteX2676" fmla="*/ 3554781 w 9922465"/>
              <a:gd name="connsiteY2676" fmla="*/ 663229 h 1934496"/>
              <a:gd name="connsiteX2677" fmla="*/ 3499589 w 9922465"/>
              <a:gd name="connsiteY2677" fmla="*/ 718420 h 1934496"/>
              <a:gd name="connsiteX2678" fmla="*/ 3444397 w 9922465"/>
              <a:gd name="connsiteY2678" fmla="*/ 663229 h 1934496"/>
              <a:gd name="connsiteX2679" fmla="*/ 3499589 w 9922465"/>
              <a:gd name="connsiteY2679" fmla="*/ 608038 h 1934496"/>
              <a:gd name="connsiteX2680" fmla="*/ 3369292 w 9922465"/>
              <a:gd name="connsiteY2680" fmla="*/ 608038 h 1934496"/>
              <a:gd name="connsiteX2681" fmla="*/ 3424484 w 9922465"/>
              <a:gd name="connsiteY2681" fmla="*/ 663229 h 1934496"/>
              <a:gd name="connsiteX2682" fmla="*/ 3369292 w 9922465"/>
              <a:gd name="connsiteY2682" fmla="*/ 718420 h 1934496"/>
              <a:gd name="connsiteX2683" fmla="*/ 3314100 w 9922465"/>
              <a:gd name="connsiteY2683" fmla="*/ 663229 h 1934496"/>
              <a:gd name="connsiteX2684" fmla="*/ 3369292 w 9922465"/>
              <a:gd name="connsiteY2684" fmla="*/ 608038 h 1934496"/>
              <a:gd name="connsiteX2685" fmla="*/ 3235657 w 9922465"/>
              <a:gd name="connsiteY2685" fmla="*/ 608038 h 1934496"/>
              <a:gd name="connsiteX2686" fmla="*/ 3290849 w 9922465"/>
              <a:gd name="connsiteY2686" fmla="*/ 663229 h 1934496"/>
              <a:gd name="connsiteX2687" fmla="*/ 3235657 w 9922465"/>
              <a:gd name="connsiteY2687" fmla="*/ 718420 h 1934496"/>
              <a:gd name="connsiteX2688" fmla="*/ 3180465 w 9922465"/>
              <a:gd name="connsiteY2688" fmla="*/ 663229 h 1934496"/>
              <a:gd name="connsiteX2689" fmla="*/ 3235657 w 9922465"/>
              <a:gd name="connsiteY2689" fmla="*/ 608038 h 1934496"/>
              <a:gd name="connsiteX2690" fmla="*/ 2570932 w 9922465"/>
              <a:gd name="connsiteY2690" fmla="*/ 608038 h 1934496"/>
              <a:gd name="connsiteX2691" fmla="*/ 2626123 w 9922465"/>
              <a:gd name="connsiteY2691" fmla="*/ 663229 h 1934496"/>
              <a:gd name="connsiteX2692" fmla="*/ 2570932 w 9922465"/>
              <a:gd name="connsiteY2692" fmla="*/ 718420 h 1934496"/>
              <a:gd name="connsiteX2693" fmla="*/ 2515738 w 9922465"/>
              <a:gd name="connsiteY2693" fmla="*/ 663229 h 1934496"/>
              <a:gd name="connsiteX2694" fmla="*/ 2570932 w 9922465"/>
              <a:gd name="connsiteY2694" fmla="*/ 608038 h 1934496"/>
              <a:gd name="connsiteX2695" fmla="*/ 2437297 w 9922465"/>
              <a:gd name="connsiteY2695" fmla="*/ 608038 h 1934496"/>
              <a:gd name="connsiteX2696" fmla="*/ 2492487 w 9922465"/>
              <a:gd name="connsiteY2696" fmla="*/ 663229 h 1934496"/>
              <a:gd name="connsiteX2697" fmla="*/ 2437297 w 9922465"/>
              <a:gd name="connsiteY2697" fmla="*/ 718420 h 1934496"/>
              <a:gd name="connsiteX2698" fmla="*/ 2382108 w 9922465"/>
              <a:gd name="connsiteY2698" fmla="*/ 663229 h 1934496"/>
              <a:gd name="connsiteX2699" fmla="*/ 2437297 w 9922465"/>
              <a:gd name="connsiteY2699" fmla="*/ 608038 h 1934496"/>
              <a:gd name="connsiteX2700" fmla="*/ 2303664 w 9922465"/>
              <a:gd name="connsiteY2700" fmla="*/ 608038 h 1934496"/>
              <a:gd name="connsiteX2701" fmla="*/ 2358856 w 9922465"/>
              <a:gd name="connsiteY2701" fmla="*/ 663229 h 1934496"/>
              <a:gd name="connsiteX2702" fmla="*/ 2303664 w 9922465"/>
              <a:gd name="connsiteY2702" fmla="*/ 718420 h 1934496"/>
              <a:gd name="connsiteX2703" fmla="*/ 2248473 w 9922465"/>
              <a:gd name="connsiteY2703" fmla="*/ 663229 h 1934496"/>
              <a:gd name="connsiteX2704" fmla="*/ 2303664 w 9922465"/>
              <a:gd name="connsiteY2704" fmla="*/ 608038 h 1934496"/>
              <a:gd name="connsiteX2705" fmla="*/ 2173372 w 9922465"/>
              <a:gd name="connsiteY2705" fmla="*/ 608038 h 1934496"/>
              <a:gd name="connsiteX2706" fmla="*/ 2228565 w 9922465"/>
              <a:gd name="connsiteY2706" fmla="*/ 663229 h 1934496"/>
              <a:gd name="connsiteX2707" fmla="*/ 2173372 w 9922465"/>
              <a:gd name="connsiteY2707" fmla="*/ 718420 h 1934496"/>
              <a:gd name="connsiteX2708" fmla="*/ 2118180 w 9922465"/>
              <a:gd name="connsiteY2708" fmla="*/ 663229 h 1934496"/>
              <a:gd name="connsiteX2709" fmla="*/ 2173372 w 9922465"/>
              <a:gd name="connsiteY2709" fmla="*/ 608038 h 1934496"/>
              <a:gd name="connsiteX2710" fmla="*/ 2039736 w 9922465"/>
              <a:gd name="connsiteY2710" fmla="*/ 608038 h 1934496"/>
              <a:gd name="connsiteX2711" fmla="*/ 2094930 w 9922465"/>
              <a:gd name="connsiteY2711" fmla="*/ 663229 h 1934496"/>
              <a:gd name="connsiteX2712" fmla="*/ 2039736 w 9922465"/>
              <a:gd name="connsiteY2712" fmla="*/ 718420 h 1934496"/>
              <a:gd name="connsiteX2713" fmla="*/ 1984543 w 9922465"/>
              <a:gd name="connsiteY2713" fmla="*/ 663229 h 1934496"/>
              <a:gd name="connsiteX2714" fmla="*/ 2039736 w 9922465"/>
              <a:gd name="connsiteY2714" fmla="*/ 608038 h 1934496"/>
              <a:gd name="connsiteX2715" fmla="*/ 1909437 w 9922465"/>
              <a:gd name="connsiteY2715" fmla="*/ 608038 h 1934496"/>
              <a:gd name="connsiteX2716" fmla="*/ 1964630 w 9922465"/>
              <a:gd name="connsiteY2716" fmla="*/ 663229 h 1934496"/>
              <a:gd name="connsiteX2717" fmla="*/ 1909437 w 9922465"/>
              <a:gd name="connsiteY2717" fmla="*/ 718420 h 1934496"/>
              <a:gd name="connsiteX2718" fmla="*/ 1854244 w 9922465"/>
              <a:gd name="connsiteY2718" fmla="*/ 663229 h 1934496"/>
              <a:gd name="connsiteX2719" fmla="*/ 1909437 w 9922465"/>
              <a:gd name="connsiteY2719" fmla="*/ 608038 h 1934496"/>
              <a:gd name="connsiteX2720" fmla="*/ 1779142 w 9922465"/>
              <a:gd name="connsiteY2720" fmla="*/ 608038 h 1934496"/>
              <a:gd name="connsiteX2721" fmla="*/ 1834335 w 9922465"/>
              <a:gd name="connsiteY2721" fmla="*/ 663229 h 1934496"/>
              <a:gd name="connsiteX2722" fmla="*/ 1779142 w 9922465"/>
              <a:gd name="connsiteY2722" fmla="*/ 718420 h 1934496"/>
              <a:gd name="connsiteX2723" fmla="*/ 1723950 w 9922465"/>
              <a:gd name="connsiteY2723" fmla="*/ 663229 h 1934496"/>
              <a:gd name="connsiteX2724" fmla="*/ 1779142 w 9922465"/>
              <a:gd name="connsiteY2724" fmla="*/ 608038 h 1934496"/>
              <a:gd name="connsiteX2725" fmla="*/ 1645508 w 9922465"/>
              <a:gd name="connsiteY2725" fmla="*/ 608038 h 1934496"/>
              <a:gd name="connsiteX2726" fmla="*/ 1700702 w 9922465"/>
              <a:gd name="connsiteY2726" fmla="*/ 663229 h 1934496"/>
              <a:gd name="connsiteX2727" fmla="*/ 1645508 w 9922465"/>
              <a:gd name="connsiteY2727" fmla="*/ 718420 h 1934496"/>
              <a:gd name="connsiteX2728" fmla="*/ 1590311 w 9922465"/>
              <a:gd name="connsiteY2728" fmla="*/ 663229 h 1934496"/>
              <a:gd name="connsiteX2729" fmla="*/ 1645508 w 9922465"/>
              <a:gd name="connsiteY2729" fmla="*/ 608038 h 1934496"/>
              <a:gd name="connsiteX2730" fmla="*/ 1515217 w 9922465"/>
              <a:gd name="connsiteY2730" fmla="*/ 608038 h 1934496"/>
              <a:gd name="connsiteX2731" fmla="*/ 1570402 w 9922465"/>
              <a:gd name="connsiteY2731" fmla="*/ 663229 h 1934496"/>
              <a:gd name="connsiteX2732" fmla="*/ 1515217 w 9922465"/>
              <a:gd name="connsiteY2732" fmla="*/ 718420 h 1934496"/>
              <a:gd name="connsiteX2733" fmla="*/ 1460020 w 9922465"/>
              <a:gd name="connsiteY2733" fmla="*/ 663229 h 1934496"/>
              <a:gd name="connsiteX2734" fmla="*/ 1515217 w 9922465"/>
              <a:gd name="connsiteY2734" fmla="*/ 608038 h 1934496"/>
              <a:gd name="connsiteX2735" fmla="*/ 1381573 w 9922465"/>
              <a:gd name="connsiteY2735" fmla="*/ 608038 h 1934496"/>
              <a:gd name="connsiteX2736" fmla="*/ 1436767 w 9922465"/>
              <a:gd name="connsiteY2736" fmla="*/ 663229 h 1934496"/>
              <a:gd name="connsiteX2737" fmla="*/ 1381573 w 9922465"/>
              <a:gd name="connsiteY2737" fmla="*/ 718420 h 1934496"/>
              <a:gd name="connsiteX2738" fmla="*/ 1326384 w 9922465"/>
              <a:gd name="connsiteY2738" fmla="*/ 663229 h 1934496"/>
              <a:gd name="connsiteX2739" fmla="*/ 1381573 w 9922465"/>
              <a:gd name="connsiteY2739" fmla="*/ 608038 h 1934496"/>
              <a:gd name="connsiteX2740" fmla="*/ 1251282 w 9922465"/>
              <a:gd name="connsiteY2740" fmla="*/ 608038 h 1934496"/>
              <a:gd name="connsiteX2741" fmla="*/ 1306476 w 9922465"/>
              <a:gd name="connsiteY2741" fmla="*/ 663229 h 1934496"/>
              <a:gd name="connsiteX2742" fmla="*/ 1251282 w 9922465"/>
              <a:gd name="connsiteY2742" fmla="*/ 718420 h 1934496"/>
              <a:gd name="connsiteX2743" fmla="*/ 1196089 w 9922465"/>
              <a:gd name="connsiteY2743" fmla="*/ 663229 h 1934496"/>
              <a:gd name="connsiteX2744" fmla="*/ 1251282 w 9922465"/>
              <a:gd name="connsiteY2744" fmla="*/ 608038 h 1934496"/>
              <a:gd name="connsiteX2745" fmla="*/ 8143386 w 9922465"/>
              <a:gd name="connsiteY2745" fmla="*/ 494447 h 1934496"/>
              <a:gd name="connsiteX2746" fmla="*/ 8198578 w 9922465"/>
              <a:gd name="connsiteY2746" fmla="*/ 549638 h 1934496"/>
              <a:gd name="connsiteX2747" fmla="*/ 8143386 w 9922465"/>
              <a:gd name="connsiteY2747" fmla="*/ 604829 h 1934496"/>
              <a:gd name="connsiteX2748" fmla="*/ 8088194 w 9922465"/>
              <a:gd name="connsiteY2748" fmla="*/ 549638 h 1934496"/>
              <a:gd name="connsiteX2749" fmla="*/ 8143386 w 9922465"/>
              <a:gd name="connsiteY2749" fmla="*/ 494447 h 1934496"/>
              <a:gd name="connsiteX2750" fmla="*/ 8009753 w 9922465"/>
              <a:gd name="connsiteY2750" fmla="*/ 494447 h 1934496"/>
              <a:gd name="connsiteX2751" fmla="*/ 8064945 w 9922465"/>
              <a:gd name="connsiteY2751" fmla="*/ 549638 h 1934496"/>
              <a:gd name="connsiteX2752" fmla="*/ 8009753 w 9922465"/>
              <a:gd name="connsiteY2752" fmla="*/ 604829 h 1934496"/>
              <a:gd name="connsiteX2753" fmla="*/ 7954561 w 9922465"/>
              <a:gd name="connsiteY2753" fmla="*/ 549638 h 1934496"/>
              <a:gd name="connsiteX2754" fmla="*/ 8009753 w 9922465"/>
              <a:gd name="connsiteY2754" fmla="*/ 494447 h 1934496"/>
              <a:gd name="connsiteX2755" fmla="*/ 7876118 w 9922465"/>
              <a:gd name="connsiteY2755" fmla="*/ 494447 h 1934496"/>
              <a:gd name="connsiteX2756" fmla="*/ 7931310 w 9922465"/>
              <a:gd name="connsiteY2756" fmla="*/ 549638 h 1934496"/>
              <a:gd name="connsiteX2757" fmla="*/ 7876118 w 9922465"/>
              <a:gd name="connsiteY2757" fmla="*/ 604829 h 1934496"/>
              <a:gd name="connsiteX2758" fmla="*/ 7820926 w 9922465"/>
              <a:gd name="connsiteY2758" fmla="*/ 549638 h 1934496"/>
              <a:gd name="connsiteX2759" fmla="*/ 7876118 w 9922465"/>
              <a:gd name="connsiteY2759" fmla="*/ 494447 h 1934496"/>
              <a:gd name="connsiteX2760" fmla="*/ 7745824 w 9922465"/>
              <a:gd name="connsiteY2760" fmla="*/ 494447 h 1934496"/>
              <a:gd name="connsiteX2761" fmla="*/ 7801016 w 9922465"/>
              <a:gd name="connsiteY2761" fmla="*/ 549638 h 1934496"/>
              <a:gd name="connsiteX2762" fmla="*/ 7745824 w 9922465"/>
              <a:gd name="connsiteY2762" fmla="*/ 604829 h 1934496"/>
              <a:gd name="connsiteX2763" fmla="*/ 7690632 w 9922465"/>
              <a:gd name="connsiteY2763" fmla="*/ 549638 h 1934496"/>
              <a:gd name="connsiteX2764" fmla="*/ 7745824 w 9922465"/>
              <a:gd name="connsiteY2764" fmla="*/ 494447 h 1934496"/>
              <a:gd name="connsiteX2765" fmla="*/ 7608850 w 9922465"/>
              <a:gd name="connsiteY2765" fmla="*/ 494447 h 1934496"/>
              <a:gd name="connsiteX2766" fmla="*/ 7664042 w 9922465"/>
              <a:gd name="connsiteY2766" fmla="*/ 549638 h 1934496"/>
              <a:gd name="connsiteX2767" fmla="*/ 7608850 w 9922465"/>
              <a:gd name="connsiteY2767" fmla="*/ 604829 h 1934496"/>
              <a:gd name="connsiteX2768" fmla="*/ 7553658 w 9922465"/>
              <a:gd name="connsiteY2768" fmla="*/ 549638 h 1934496"/>
              <a:gd name="connsiteX2769" fmla="*/ 7608850 w 9922465"/>
              <a:gd name="connsiteY2769" fmla="*/ 494447 h 1934496"/>
              <a:gd name="connsiteX2770" fmla="*/ 7481895 w 9922465"/>
              <a:gd name="connsiteY2770" fmla="*/ 494447 h 1934496"/>
              <a:gd name="connsiteX2771" fmla="*/ 7537087 w 9922465"/>
              <a:gd name="connsiteY2771" fmla="*/ 549638 h 1934496"/>
              <a:gd name="connsiteX2772" fmla="*/ 7481895 w 9922465"/>
              <a:gd name="connsiteY2772" fmla="*/ 604829 h 1934496"/>
              <a:gd name="connsiteX2773" fmla="*/ 7426703 w 9922465"/>
              <a:gd name="connsiteY2773" fmla="*/ 549638 h 1934496"/>
              <a:gd name="connsiteX2774" fmla="*/ 7481895 w 9922465"/>
              <a:gd name="connsiteY2774" fmla="*/ 494447 h 1934496"/>
              <a:gd name="connsiteX2775" fmla="*/ 7341580 w 9922465"/>
              <a:gd name="connsiteY2775" fmla="*/ 494447 h 1934496"/>
              <a:gd name="connsiteX2776" fmla="*/ 7396772 w 9922465"/>
              <a:gd name="connsiteY2776" fmla="*/ 549638 h 1934496"/>
              <a:gd name="connsiteX2777" fmla="*/ 7341580 w 9922465"/>
              <a:gd name="connsiteY2777" fmla="*/ 604829 h 1934496"/>
              <a:gd name="connsiteX2778" fmla="*/ 7286388 w 9922465"/>
              <a:gd name="connsiteY2778" fmla="*/ 549638 h 1934496"/>
              <a:gd name="connsiteX2779" fmla="*/ 7341580 w 9922465"/>
              <a:gd name="connsiteY2779" fmla="*/ 494447 h 1934496"/>
              <a:gd name="connsiteX2780" fmla="*/ 7211286 w 9922465"/>
              <a:gd name="connsiteY2780" fmla="*/ 494447 h 1934496"/>
              <a:gd name="connsiteX2781" fmla="*/ 7266478 w 9922465"/>
              <a:gd name="connsiteY2781" fmla="*/ 549638 h 1934496"/>
              <a:gd name="connsiteX2782" fmla="*/ 7211286 w 9922465"/>
              <a:gd name="connsiteY2782" fmla="*/ 604829 h 1934496"/>
              <a:gd name="connsiteX2783" fmla="*/ 7156094 w 9922465"/>
              <a:gd name="connsiteY2783" fmla="*/ 549638 h 1934496"/>
              <a:gd name="connsiteX2784" fmla="*/ 7211286 w 9922465"/>
              <a:gd name="connsiteY2784" fmla="*/ 494447 h 1934496"/>
              <a:gd name="connsiteX2785" fmla="*/ 7080994 w 9922465"/>
              <a:gd name="connsiteY2785" fmla="*/ 494447 h 1934496"/>
              <a:gd name="connsiteX2786" fmla="*/ 7136186 w 9922465"/>
              <a:gd name="connsiteY2786" fmla="*/ 549638 h 1934496"/>
              <a:gd name="connsiteX2787" fmla="*/ 7080994 w 9922465"/>
              <a:gd name="connsiteY2787" fmla="*/ 604829 h 1934496"/>
              <a:gd name="connsiteX2788" fmla="*/ 7025802 w 9922465"/>
              <a:gd name="connsiteY2788" fmla="*/ 549638 h 1934496"/>
              <a:gd name="connsiteX2789" fmla="*/ 7080994 w 9922465"/>
              <a:gd name="connsiteY2789" fmla="*/ 494447 h 1934496"/>
              <a:gd name="connsiteX2790" fmla="*/ 6947358 w 9922465"/>
              <a:gd name="connsiteY2790" fmla="*/ 494447 h 1934496"/>
              <a:gd name="connsiteX2791" fmla="*/ 7002550 w 9922465"/>
              <a:gd name="connsiteY2791" fmla="*/ 549638 h 1934496"/>
              <a:gd name="connsiteX2792" fmla="*/ 6947358 w 9922465"/>
              <a:gd name="connsiteY2792" fmla="*/ 604829 h 1934496"/>
              <a:gd name="connsiteX2793" fmla="*/ 6892166 w 9922465"/>
              <a:gd name="connsiteY2793" fmla="*/ 549638 h 1934496"/>
              <a:gd name="connsiteX2794" fmla="*/ 6947358 w 9922465"/>
              <a:gd name="connsiteY2794" fmla="*/ 494447 h 1934496"/>
              <a:gd name="connsiteX2795" fmla="*/ 6289207 w 9922465"/>
              <a:gd name="connsiteY2795" fmla="*/ 494447 h 1934496"/>
              <a:gd name="connsiteX2796" fmla="*/ 6344399 w 9922465"/>
              <a:gd name="connsiteY2796" fmla="*/ 549638 h 1934496"/>
              <a:gd name="connsiteX2797" fmla="*/ 6289207 w 9922465"/>
              <a:gd name="connsiteY2797" fmla="*/ 604829 h 1934496"/>
              <a:gd name="connsiteX2798" fmla="*/ 6234015 w 9922465"/>
              <a:gd name="connsiteY2798" fmla="*/ 549638 h 1934496"/>
              <a:gd name="connsiteX2799" fmla="*/ 6289207 w 9922465"/>
              <a:gd name="connsiteY2799" fmla="*/ 494447 h 1934496"/>
              <a:gd name="connsiteX2800" fmla="*/ 4030786 w 9922465"/>
              <a:gd name="connsiteY2800" fmla="*/ 494447 h 1934496"/>
              <a:gd name="connsiteX2801" fmla="*/ 4085978 w 9922465"/>
              <a:gd name="connsiteY2801" fmla="*/ 549638 h 1934496"/>
              <a:gd name="connsiteX2802" fmla="*/ 4030786 w 9922465"/>
              <a:gd name="connsiteY2802" fmla="*/ 604829 h 1934496"/>
              <a:gd name="connsiteX2803" fmla="*/ 3975594 w 9922465"/>
              <a:gd name="connsiteY2803" fmla="*/ 549638 h 1934496"/>
              <a:gd name="connsiteX2804" fmla="*/ 4030786 w 9922465"/>
              <a:gd name="connsiteY2804" fmla="*/ 494447 h 1934496"/>
              <a:gd name="connsiteX2805" fmla="*/ 3897148 w 9922465"/>
              <a:gd name="connsiteY2805" fmla="*/ 494447 h 1934496"/>
              <a:gd name="connsiteX2806" fmla="*/ 3952340 w 9922465"/>
              <a:gd name="connsiteY2806" fmla="*/ 549638 h 1934496"/>
              <a:gd name="connsiteX2807" fmla="*/ 3897148 w 9922465"/>
              <a:gd name="connsiteY2807" fmla="*/ 604829 h 1934496"/>
              <a:gd name="connsiteX2808" fmla="*/ 3841956 w 9922465"/>
              <a:gd name="connsiteY2808" fmla="*/ 549638 h 1934496"/>
              <a:gd name="connsiteX2809" fmla="*/ 3897148 w 9922465"/>
              <a:gd name="connsiteY2809" fmla="*/ 494447 h 1934496"/>
              <a:gd name="connsiteX2810" fmla="*/ 3763514 w 9922465"/>
              <a:gd name="connsiteY2810" fmla="*/ 494447 h 1934496"/>
              <a:gd name="connsiteX2811" fmla="*/ 3818706 w 9922465"/>
              <a:gd name="connsiteY2811" fmla="*/ 549638 h 1934496"/>
              <a:gd name="connsiteX2812" fmla="*/ 3763514 w 9922465"/>
              <a:gd name="connsiteY2812" fmla="*/ 604829 h 1934496"/>
              <a:gd name="connsiteX2813" fmla="*/ 3708322 w 9922465"/>
              <a:gd name="connsiteY2813" fmla="*/ 549638 h 1934496"/>
              <a:gd name="connsiteX2814" fmla="*/ 3763514 w 9922465"/>
              <a:gd name="connsiteY2814" fmla="*/ 494447 h 1934496"/>
              <a:gd name="connsiteX2815" fmla="*/ 3633221 w 9922465"/>
              <a:gd name="connsiteY2815" fmla="*/ 494447 h 1934496"/>
              <a:gd name="connsiteX2816" fmla="*/ 3688413 w 9922465"/>
              <a:gd name="connsiteY2816" fmla="*/ 549638 h 1934496"/>
              <a:gd name="connsiteX2817" fmla="*/ 3633221 w 9922465"/>
              <a:gd name="connsiteY2817" fmla="*/ 604829 h 1934496"/>
              <a:gd name="connsiteX2818" fmla="*/ 3578029 w 9922465"/>
              <a:gd name="connsiteY2818" fmla="*/ 549638 h 1934496"/>
              <a:gd name="connsiteX2819" fmla="*/ 3633221 w 9922465"/>
              <a:gd name="connsiteY2819" fmla="*/ 494447 h 1934496"/>
              <a:gd name="connsiteX2820" fmla="*/ 3499589 w 9922465"/>
              <a:gd name="connsiteY2820" fmla="*/ 494447 h 1934496"/>
              <a:gd name="connsiteX2821" fmla="*/ 3554781 w 9922465"/>
              <a:gd name="connsiteY2821" fmla="*/ 549638 h 1934496"/>
              <a:gd name="connsiteX2822" fmla="*/ 3499589 w 9922465"/>
              <a:gd name="connsiteY2822" fmla="*/ 604829 h 1934496"/>
              <a:gd name="connsiteX2823" fmla="*/ 3444397 w 9922465"/>
              <a:gd name="connsiteY2823" fmla="*/ 549638 h 1934496"/>
              <a:gd name="connsiteX2824" fmla="*/ 3499589 w 9922465"/>
              <a:gd name="connsiteY2824" fmla="*/ 494447 h 1934496"/>
              <a:gd name="connsiteX2825" fmla="*/ 3369292 w 9922465"/>
              <a:gd name="connsiteY2825" fmla="*/ 494447 h 1934496"/>
              <a:gd name="connsiteX2826" fmla="*/ 3424484 w 9922465"/>
              <a:gd name="connsiteY2826" fmla="*/ 549638 h 1934496"/>
              <a:gd name="connsiteX2827" fmla="*/ 3369292 w 9922465"/>
              <a:gd name="connsiteY2827" fmla="*/ 604829 h 1934496"/>
              <a:gd name="connsiteX2828" fmla="*/ 3314100 w 9922465"/>
              <a:gd name="connsiteY2828" fmla="*/ 549638 h 1934496"/>
              <a:gd name="connsiteX2829" fmla="*/ 3369292 w 9922465"/>
              <a:gd name="connsiteY2829" fmla="*/ 494447 h 1934496"/>
              <a:gd name="connsiteX2830" fmla="*/ 3235657 w 9922465"/>
              <a:gd name="connsiteY2830" fmla="*/ 494447 h 1934496"/>
              <a:gd name="connsiteX2831" fmla="*/ 3290849 w 9922465"/>
              <a:gd name="connsiteY2831" fmla="*/ 549638 h 1934496"/>
              <a:gd name="connsiteX2832" fmla="*/ 3235657 w 9922465"/>
              <a:gd name="connsiteY2832" fmla="*/ 604829 h 1934496"/>
              <a:gd name="connsiteX2833" fmla="*/ 3180465 w 9922465"/>
              <a:gd name="connsiteY2833" fmla="*/ 549638 h 1934496"/>
              <a:gd name="connsiteX2834" fmla="*/ 3235657 w 9922465"/>
              <a:gd name="connsiteY2834" fmla="*/ 494447 h 1934496"/>
              <a:gd name="connsiteX2835" fmla="*/ 2437297 w 9922465"/>
              <a:gd name="connsiteY2835" fmla="*/ 494447 h 1934496"/>
              <a:gd name="connsiteX2836" fmla="*/ 2492487 w 9922465"/>
              <a:gd name="connsiteY2836" fmla="*/ 549638 h 1934496"/>
              <a:gd name="connsiteX2837" fmla="*/ 2437297 w 9922465"/>
              <a:gd name="connsiteY2837" fmla="*/ 604829 h 1934496"/>
              <a:gd name="connsiteX2838" fmla="*/ 2382108 w 9922465"/>
              <a:gd name="connsiteY2838" fmla="*/ 549638 h 1934496"/>
              <a:gd name="connsiteX2839" fmla="*/ 2437297 w 9922465"/>
              <a:gd name="connsiteY2839" fmla="*/ 494447 h 1934496"/>
              <a:gd name="connsiteX2840" fmla="*/ 2303664 w 9922465"/>
              <a:gd name="connsiteY2840" fmla="*/ 494447 h 1934496"/>
              <a:gd name="connsiteX2841" fmla="*/ 2358856 w 9922465"/>
              <a:gd name="connsiteY2841" fmla="*/ 549638 h 1934496"/>
              <a:gd name="connsiteX2842" fmla="*/ 2303664 w 9922465"/>
              <a:gd name="connsiteY2842" fmla="*/ 604829 h 1934496"/>
              <a:gd name="connsiteX2843" fmla="*/ 2248473 w 9922465"/>
              <a:gd name="connsiteY2843" fmla="*/ 549638 h 1934496"/>
              <a:gd name="connsiteX2844" fmla="*/ 2303664 w 9922465"/>
              <a:gd name="connsiteY2844" fmla="*/ 494447 h 1934496"/>
              <a:gd name="connsiteX2845" fmla="*/ 2173372 w 9922465"/>
              <a:gd name="connsiteY2845" fmla="*/ 494447 h 1934496"/>
              <a:gd name="connsiteX2846" fmla="*/ 2228565 w 9922465"/>
              <a:gd name="connsiteY2846" fmla="*/ 549638 h 1934496"/>
              <a:gd name="connsiteX2847" fmla="*/ 2173372 w 9922465"/>
              <a:gd name="connsiteY2847" fmla="*/ 604829 h 1934496"/>
              <a:gd name="connsiteX2848" fmla="*/ 2118180 w 9922465"/>
              <a:gd name="connsiteY2848" fmla="*/ 549638 h 1934496"/>
              <a:gd name="connsiteX2849" fmla="*/ 2173372 w 9922465"/>
              <a:gd name="connsiteY2849" fmla="*/ 494447 h 1934496"/>
              <a:gd name="connsiteX2850" fmla="*/ 2039736 w 9922465"/>
              <a:gd name="connsiteY2850" fmla="*/ 494447 h 1934496"/>
              <a:gd name="connsiteX2851" fmla="*/ 2094930 w 9922465"/>
              <a:gd name="connsiteY2851" fmla="*/ 549638 h 1934496"/>
              <a:gd name="connsiteX2852" fmla="*/ 2039736 w 9922465"/>
              <a:gd name="connsiteY2852" fmla="*/ 604829 h 1934496"/>
              <a:gd name="connsiteX2853" fmla="*/ 1984543 w 9922465"/>
              <a:gd name="connsiteY2853" fmla="*/ 549638 h 1934496"/>
              <a:gd name="connsiteX2854" fmla="*/ 2039736 w 9922465"/>
              <a:gd name="connsiteY2854" fmla="*/ 494447 h 1934496"/>
              <a:gd name="connsiteX2855" fmla="*/ 1909437 w 9922465"/>
              <a:gd name="connsiteY2855" fmla="*/ 494447 h 1934496"/>
              <a:gd name="connsiteX2856" fmla="*/ 1964630 w 9922465"/>
              <a:gd name="connsiteY2856" fmla="*/ 549638 h 1934496"/>
              <a:gd name="connsiteX2857" fmla="*/ 1909437 w 9922465"/>
              <a:gd name="connsiteY2857" fmla="*/ 604829 h 1934496"/>
              <a:gd name="connsiteX2858" fmla="*/ 1854244 w 9922465"/>
              <a:gd name="connsiteY2858" fmla="*/ 549638 h 1934496"/>
              <a:gd name="connsiteX2859" fmla="*/ 1909437 w 9922465"/>
              <a:gd name="connsiteY2859" fmla="*/ 494447 h 1934496"/>
              <a:gd name="connsiteX2860" fmla="*/ 1779142 w 9922465"/>
              <a:gd name="connsiteY2860" fmla="*/ 494447 h 1934496"/>
              <a:gd name="connsiteX2861" fmla="*/ 1834335 w 9922465"/>
              <a:gd name="connsiteY2861" fmla="*/ 549638 h 1934496"/>
              <a:gd name="connsiteX2862" fmla="*/ 1779142 w 9922465"/>
              <a:gd name="connsiteY2862" fmla="*/ 604829 h 1934496"/>
              <a:gd name="connsiteX2863" fmla="*/ 1723950 w 9922465"/>
              <a:gd name="connsiteY2863" fmla="*/ 549638 h 1934496"/>
              <a:gd name="connsiteX2864" fmla="*/ 1779142 w 9922465"/>
              <a:gd name="connsiteY2864" fmla="*/ 494447 h 1934496"/>
              <a:gd name="connsiteX2865" fmla="*/ 1645508 w 9922465"/>
              <a:gd name="connsiteY2865" fmla="*/ 494447 h 1934496"/>
              <a:gd name="connsiteX2866" fmla="*/ 1700702 w 9922465"/>
              <a:gd name="connsiteY2866" fmla="*/ 549638 h 1934496"/>
              <a:gd name="connsiteX2867" fmla="*/ 1645508 w 9922465"/>
              <a:gd name="connsiteY2867" fmla="*/ 604829 h 1934496"/>
              <a:gd name="connsiteX2868" fmla="*/ 1590311 w 9922465"/>
              <a:gd name="connsiteY2868" fmla="*/ 549638 h 1934496"/>
              <a:gd name="connsiteX2869" fmla="*/ 1645508 w 9922465"/>
              <a:gd name="connsiteY2869" fmla="*/ 494447 h 1934496"/>
              <a:gd name="connsiteX2870" fmla="*/ 1515217 w 9922465"/>
              <a:gd name="connsiteY2870" fmla="*/ 494447 h 1934496"/>
              <a:gd name="connsiteX2871" fmla="*/ 1570402 w 9922465"/>
              <a:gd name="connsiteY2871" fmla="*/ 549638 h 1934496"/>
              <a:gd name="connsiteX2872" fmla="*/ 1515217 w 9922465"/>
              <a:gd name="connsiteY2872" fmla="*/ 604829 h 1934496"/>
              <a:gd name="connsiteX2873" fmla="*/ 1460020 w 9922465"/>
              <a:gd name="connsiteY2873" fmla="*/ 549638 h 1934496"/>
              <a:gd name="connsiteX2874" fmla="*/ 1515217 w 9922465"/>
              <a:gd name="connsiteY2874" fmla="*/ 494447 h 1934496"/>
              <a:gd name="connsiteX2875" fmla="*/ 1381573 w 9922465"/>
              <a:gd name="connsiteY2875" fmla="*/ 494447 h 1934496"/>
              <a:gd name="connsiteX2876" fmla="*/ 1436767 w 9922465"/>
              <a:gd name="connsiteY2876" fmla="*/ 549638 h 1934496"/>
              <a:gd name="connsiteX2877" fmla="*/ 1381573 w 9922465"/>
              <a:gd name="connsiteY2877" fmla="*/ 604829 h 1934496"/>
              <a:gd name="connsiteX2878" fmla="*/ 1326384 w 9922465"/>
              <a:gd name="connsiteY2878" fmla="*/ 549638 h 1934496"/>
              <a:gd name="connsiteX2879" fmla="*/ 1381573 w 9922465"/>
              <a:gd name="connsiteY2879" fmla="*/ 494447 h 1934496"/>
              <a:gd name="connsiteX2880" fmla="*/ 1251282 w 9922465"/>
              <a:gd name="connsiteY2880" fmla="*/ 494447 h 1934496"/>
              <a:gd name="connsiteX2881" fmla="*/ 1306476 w 9922465"/>
              <a:gd name="connsiteY2881" fmla="*/ 549638 h 1934496"/>
              <a:gd name="connsiteX2882" fmla="*/ 1251282 w 9922465"/>
              <a:gd name="connsiteY2882" fmla="*/ 604829 h 1934496"/>
              <a:gd name="connsiteX2883" fmla="*/ 1196089 w 9922465"/>
              <a:gd name="connsiteY2883" fmla="*/ 549638 h 1934496"/>
              <a:gd name="connsiteX2884" fmla="*/ 1251282 w 9922465"/>
              <a:gd name="connsiteY2884" fmla="*/ 494447 h 1934496"/>
              <a:gd name="connsiteX2885" fmla="*/ 8801538 w 9922465"/>
              <a:gd name="connsiteY2885" fmla="*/ 364154 h 1934496"/>
              <a:gd name="connsiteX2886" fmla="*/ 8856730 w 9922465"/>
              <a:gd name="connsiteY2886" fmla="*/ 419345 h 1934496"/>
              <a:gd name="connsiteX2887" fmla="*/ 8801538 w 9922465"/>
              <a:gd name="connsiteY2887" fmla="*/ 474536 h 1934496"/>
              <a:gd name="connsiteX2888" fmla="*/ 8746346 w 9922465"/>
              <a:gd name="connsiteY2888" fmla="*/ 419345 h 1934496"/>
              <a:gd name="connsiteX2889" fmla="*/ 8801538 w 9922465"/>
              <a:gd name="connsiteY2889" fmla="*/ 364154 h 1934496"/>
              <a:gd name="connsiteX2890" fmla="*/ 8671244 w 9922465"/>
              <a:gd name="connsiteY2890" fmla="*/ 364154 h 1934496"/>
              <a:gd name="connsiteX2891" fmla="*/ 8726436 w 9922465"/>
              <a:gd name="connsiteY2891" fmla="*/ 419345 h 1934496"/>
              <a:gd name="connsiteX2892" fmla="*/ 8671244 w 9922465"/>
              <a:gd name="connsiteY2892" fmla="*/ 474536 h 1934496"/>
              <a:gd name="connsiteX2893" fmla="*/ 8616052 w 9922465"/>
              <a:gd name="connsiteY2893" fmla="*/ 419345 h 1934496"/>
              <a:gd name="connsiteX2894" fmla="*/ 8671244 w 9922465"/>
              <a:gd name="connsiteY2894" fmla="*/ 364154 h 1934496"/>
              <a:gd name="connsiteX2895" fmla="*/ 8537609 w 9922465"/>
              <a:gd name="connsiteY2895" fmla="*/ 364154 h 1934496"/>
              <a:gd name="connsiteX2896" fmla="*/ 8592801 w 9922465"/>
              <a:gd name="connsiteY2896" fmla="*/ 419345 h 1934496"/>
              <a:gd name="connsiteX2897" fmla="*/ 8537609 w 9922465"/>
              <a:gd name="connsiteY2897" fmla="*/ 474536 h 1934496"/>
              <a:gd name="connsiteX2898" fmla="*/ 8482417 w 9922465"/>
              <a:gd name="connsiteY2898" fmla="*/ 419345 h 1934496"/>
              <a:gd name="connsiteX2899" fmla="*/ 8537609 w 9922465"/>
              <a:gd name="connsiteY2899" fmla="*/ 364154 h 1934496"/>
              <a:gd name="connsiteX2900" fmla="*/ 7745824 w 9922465"/>
              <a:gd name="connsiteY2900" fmla="*/ 364154 h 1934496"/>
              <a:gd name="connsiteX2901" fmla="*/ 7801016 w 9922465"/>
              <a:gd name="connsiteY2901" fmla="*/ 419345 h 1934496"/>
              <a:gd name="connsiteX2902" fmla="*/ 7745824 w 9922465"/>
              <a:gd name="connsiteY2902" fmla="*/ 474536 h 1934496"/>
              <a:gd name="connsiteX2903" fmla="*/ 7690632 w 9922465"/>
              <a:gd name="connsiteY2903" fmla="*/ 419345 h 1934496"/>
              <a:gd name="connsiteX2904" fmla="*/ 7745824 w 9922465"/>
              <a:gd name="connsiteY2904" fmla="*/ 364154 h 1934496"/>
              <a:gd name="connsiteX2905" fmla="*/ 7608850 w 9922465"/>
              <a:gd name="connsiteY2905" fmla="*/ 364154 h 1934496"/>
              <a:gd name="connsiteX2906" fmla="*/ 7664042 w 9922465"/>
              <a:gd name="connsiteY2906" fmla="*/ 419345 h 1934496"/>
              <a:gd name="connsiteX2907" fmla="*/ 7608850 w 9922465"/>
              <a:gd name="connsiteY2907" fmla="*/ 474536 h 1934496"/>
              <a:gd name="connsiteX2908" fmla="*/ 7553658 w 9922465"/>
              <a:gd name="connsiteY2908" fmla="*/ 419345 h 1934496"/>
              <a:gd name="connsiteX2909" fmla="*/ 7608850 w 9922465"/>
              <a:gd name="connsiteY2909" fmla="*/ 364154 h 1934496"/>
              <a:gd name="connsiteX2910" fmla="*/ 7481895 w 9922465"/>
              <a:gd name="connsiteY2910" fmla="*/ 364154 h 1934496"/>
              <a:gd name="connsiteX2911" fmla="*/ 7537087 w 9922465"/>
              <a:gd name="connsiteY2911" fmla="*/ 419345 h 1934496"/>
              <a:gd name="connsiteX2912" fmla="*/ 7481895 w 9922465"/>
              <a:gd name="connsiteY2912" fmla="*/ 474536 h 1934496"/>
              <a:gd name="connsiteX2913" fmla="*/ 7426703 w 9922465"/>
              <a:gd name="connsiteY2913" fmla="*/ 419345 h 1934496"/>
              <a:gd name="connsiteX2914" fmla="*/ 7481895 w 9922465"/>
              <a:gd name="connsiteY2914" fmla="*/ 364154 h 1934496"/>
              <a:gd name="connsiteX2915" fmla="*/ 7341580 w 9922465"/>
              <a:gd name="connsiteY2915" fmla="*/ 364154 h 1934496"/>
              <a:gd name="connsiteX2916" fmla="*/ 7396772 w 9922465"/>
              <a:gd name="connsiteY2916" fmla="*/ 419345 h 1934496"/>
              <a:gd name="connsiteX2917" fmla="*/ 7341580 w 9922465"/>
              <a:gd name="connsiteY2917" fmla="*/ 474536 h 1934496"/>
              <a:gd name="connsiteX2918" fmla="*/ 7286388 w 9922465"/>
              <a:gd name="connsiteY2918" fmla="*/ 419345 h 1934496"/>
              <a:gd name="connsiteX2919" fmla="*/ 7341580 w 9922465"/>
              <a:gd name="connsiteY2919" fmla="*/ 364154 h 1934496"/>
              <a:gd name="connsiteX2920" fmla="*/ 6553137 w 9922465"/>
              <a:gd name="connsiteY2920" fmla="*/ 364154 h 1934496"/>
              <a:gd name="connsiteX2921" fmla="*/ 6608329 w 9922465"/>
              <a:gd name="connsiteY2921" fmla="*/ 419345 h 1934496"/>
              <a:gd name="connsiteX2922" fmla="*/ 6553137 w 9922465"/>
              <a:gd name="connsiteY2922" fmla="*/ 474536 h 1934496"/>
              <a:gd name="connsiteX2923" fmla="*/ 6497945 w 9922465"/>
              <a:gd name="connsiteY2923" fmla="*/ 419345 h 1934496"/>
              <a:gd name="connsiteX2924" fmla="*/ 6553137 w 9922465"/>
              <a:gd name="connsiteY2924" fmla="*/ 364154 h 1934496"/>
              <a:gd name="connsiteX2925" fmla="*/ 6419503 w 9922465"/>
              <a:gd name="connsiteY2925" fmla="*/ 364154 h 1934496"/>
              <a:gd name="connsiteX2926" fmla="*/ 6474695 w 9922465"/>
              <a:gd name="connsiteY2926" fmla="*/ 419345 h 1934496"/>
              <a:gd name="connsiteX2927" fmla="*/ 6419503 w 9922465"/>
              <a:gd name="connsiteY2927" fmla="*/ 474536 h 1934496"/>
              <a:gd name="connsiteX2928" fmla="*/ 6364311 w 9922465"/>
              <a:gd name="connsiteY2928" fmla="*/ 419345 h 1934496"/>
              <a:gd name="connsiteX2929" fmla="*/ 6419503 w 9922465"/>
              <a:gd name="connsiteY2929" fmla="*/ 364154 h 1934496"/>
              <a:gd name="connsiteX2930" fmla="*/ 4030786 w 9922465"/>
              <a:gd name="connsiteY2930" fmla="*/ 364154 h 1934496"/>
              <a:gd name="connsiteX2931" fmla="*/ 4085978 w 9922465"/>
              <a:gd name="connsiteY2931" fmla="*/ 419345 h 1934496"/>
              <a:gd name="connsiteX2932" fmla="*/ 4030786 w 9922465"/>
              <a:gd name="connsiteY2932" fmla="*/ 474536 h 1934496"/>
              <a:gd name="connsiteX2933" fmla="*/ 3975594 w 9922465"/>
              <a:gd name="connsiteY2933" fmla="*/ 419345 h 1934496"/>
              <a:gd name="connsiteX2934" fmla="*/ 4030786 w 9922465"/>
              <a:gd name="connsiteY2934" fmla="*/ 364154 h 1934496"/>
              <a:gd name="connsiteX2935" fmla="*/ 3897148 w 9922465"/>
              <a:gd name="connsiteY2935" fmla="*/ 364154 h 1934496"/>
              <a:gd name="connsiteX2936" fmla="*/ 3952340 w 9922465"/>
              <a:gd name="connsiteY2936" fmla="*/ 419345 h 1934496"/>
              <a:gd name="connsiteX2937" fmla="*/ 3897148 w 9922465"/>
              <a:gd name="connsiteY2937" fmla="*/ 474536 h 1934496"/>
              <a:gd name="connsiteX2938" fmla="*/ 3841956 w 9922465"/>
              <a:gd name="connsiteY2938" fmla="*/ 419345 h 1934496"/>
              <a:gd name="connsiteX2939" fmla="*/ 3897148 w 9922465"/>
              <a:gd name="connsiteY2939" fmla="*/ 364154 h 1934496"/>
              <a:gd name="connsiteX2940" fmla="*/ 3763514 w 9922465"/>
              <a:gd name="connsiteY2940" fmla="*/ 364154 h 1934496"/>
              <a:gd name="connsiteX2941" fmla="*/ 3818706 w 9922465"/>
              <a:gd name="connsiteY2941" fmla="*/ 419345 h 1934496"/>
              <a:gd name="connsiteX2942" fmla="*/ 3763514 w 9922465"/>
              <a:gd name="connsiteY2942" fmla="*/ 474536 h 1934496"/>
              <a:gd name="connsiteX2943" fmla="*/ 3708322 w 9922465"/>
              <a:gd name="connsiteY2943" fmla="*/ 419345 h 1934496"/>
              <a:gd name="connsiteX2944" fmla="*/ 3763514 w 9922465"/>
              <a:gd name="connsiteY2944" fmla="*/ 364154 h 1934496"/>
              <a:gd name="connsiteX2945" fmla="*/ 3633221 w 9922465"/>
              <a:gd name="connsiteY2945" fmla="*/ 364154 h 1934496"/>
              <a:gd name="connsiteX2946" fmla="*/ 3688413 w 9922465"/>
              <a:gd name="connsiteY2946" fmla="*/ 419345 h 1934496"/>
              <a:gd name="connsiteX2947" fmla="*/ 3633221 w 9922465"/>
              <a:gd name="connsiteY2947" fmla="*/ 474536 h 1934496"/>
              <a:gd name="connsiteX2948" fmla="*/ 3578029 w 9922465"/>
              <a:gd name="connsiteY2948" fmla="*/ 419345 h 1934496"/>
              <a:gd name="connsiteX2949" fmla="*/ 3633221 w 9922465"/>
              <a:gd name="connsiteY2949" fmla="*/ 364154 h 1934496"/>
              <a:gd name="connsiteX2950" fmla="*/ 3499589 w 9922465"/>
              <a:gd name="connsiteY2950" fmla="*/ 364154 h 1934496"/>
              <a:gd name="connsiteX2951" fmla="*/ 3554781 w 9922465"/>
              <a:gd name="connsiteY2951" fmla="*/ 419345 h 1934496"/>
              <a:gd name="connsiteX2952" fmla="*/ 3499589 w 9922465"/>
              <a:gd name="connsiteY2952" fmla="*/ 474536 h 1934496"/>
              <a:gd name="connsiteX2953" fmla="*/ 3444397 w 9922465"/>
              <a:gd name="connsiteY2953" fmla="*/ 419345 h 1934496"/>
              <a:gd name="connsiteX2954" fmla="*/ 3499589 w 9922465"/>
              <a:gd name="connsiteY2954" fmla="*/ 364154 h 1934496"/>
              <a:gd name="connsiteX2955" fmla="*/ 3369292 w 9922465"/>
              <a:gd name="connsiteY2955" fmla="*/ 364154 h 1934496"/>
              <a:gd name="connsiteX2956" fmla="*/ 3424484 w 9922465"/>
              <a:gd name="connsiteY2956" fmla="*/ 419345 h 1934496"/>
              <a:gd name="connsiteX2957" fmla="*/ 3369292 w 9922465"/>
              <a:gd name="connsiteY2957" fmla="*/ 474536 h 1934496"/>
              <a:gd name="connsiteX2958" fmla="*/ 3314100 w 9922465"/>
              <a:gd name="connsiteY2958" fmla="*/ 419345 h 1934496"/>
              <a:gd name="connsiteX2959" fmla="*/ 3369292 w 9922465"/>
              <a:gd name="connsiteY2959" fmla="*/ 364154 h 1934496"/>
              <a:gd name="connsiteX2960" fmla="*/ 3235657 w 9922465"/>
              <a:gd name="connsiteY2960" fmla="*/ 364154 h 1934496"/>
              <a:gd name="connsiteX2961" fmla="*/ 3290849 w 9922465"/>
              <a:gd name="connsiteY2961" fmla="*/ 419345 h 1934496"/>
              <a:gd name="connsiteX2962" fmla="*/ 3235657 w 9922465"/>
              <a:gd name="connsiteY2962" fmla="*/ 474536 h 1934496"/>
              <a:gd name="connsiteX2963" fmla="*/ 3180465 w 9922465"/>
              <a:gd name="connsiteY2963" fmla="*/ 419345 h 1934496"/>
              <a:gd name="connsiteX2964" fmla="*/ 3235657 w 9922465"/>
              <a:gd name="connsiteY2964" fmla="*/ 364154 h 1934496"/>
              <a:gd name="connsiteX2965" fmla="*/ 3098681 w 9922465"/>
              <a:gd name="connsiteY2965" fmla="*/ 364154 h 1934496"/>
              <a:gd name="connsiteX2966" fmla="*/ 3153873 w 9922465"/>
              <a:gd name="connsiteY2966" fmla="*/ 419345 h 1934496"/>
              <a:gd name="connsiteX2967" fmla="*/ 3098681 w 9922465"/>
              <a:gd name="connsiteY2967" fmla="*/ 474536 h 1934496"/>
              <a:gd name="connsiteX2968" fmla="*/ 3043489 w 9922465"/>
              <a:gd name="connsiteY2968" fmla="*/ 419345 h 1934496"/>
              <a:gd name="connsiteX2969" fmla="*/ 3098681 w 9922465"/>
              <a:gd name="connsiteY2969" fmla="*/ 364154 h 1934496"/>
              <a:gd name="connsiteX2970" fmla="*/ 2971729 w 9922465"/>
              <a:gd name="connsiteY2970" fmla="*/ 364154 h 1934496"/>
              <a:gd name="connsiteX2971" fmla="*/ 3026921 w 9922465"/>
              <a:gd name="connsiteY2971" fmla="*/ 419345 h 1934496"/>
              <a:gd name="connsiteX2972" fmla="*/ 2971729 w 9922465"/>
              <a:gd name="connsiteY2972" fmla="*/ 474536 h 1934496"/>
              <a:gd name="connsiteX2973" fmla="*/ 2916537 w 9922465"/>
              <a:gd name="connsiteY2973" fmla="*/ 419345 h 1934496"/>
              <a:gd name="connsiteX2974" fmla="*/ 2971729 w 9922465"/>
              <a:gd name="connsiteY2974" fmla="*/ 364154 h 1934496"/>
              <a:gd name="connsiteX2975" fmla="*/ 2834862 w 9922465"/>
              <a:gd name="connsiteY2975" fmla="*/ 364154 h 1934496"/>
              <a:gd name="connsiteX2976" fmla="*/ 2890052 w 9922465"/>
              <a:gd name="connsiteY2976" fmla="*/ 419345 h 1934496"/>
              <a:gd name="connsiteX2977" fmla="*/ 2834862 w 9922465"/>
              <a:gd name="connsiteY2977" fmla="*/ 474536 h 1934496"/>
              <a:gd name="connsiteX2978" fmla="*/ 2779671 w 9922465"/>
              <a:gd name="connsiteY2978" fmla="*/ 419345 h 1934496"/>
              <a:gd name="connsiteX2979" fmla="*/ 2834862 w 9922465"/>
              <a:gd name="connsiteY2979" fmla="*/ 364154 h 1934496"/>
              <a:gd name="connsiteX2980" fmla="*/ 2437297 w 9922465"/>
              <a:gd name="connsiteY2980" fmla="*/ 364154 h 1934496"/>
              <a:gd name="connsiteX2981" fmla="*/ 2492487 w 9922465"/>
              <a:gd name="connsiteY2981" fmla="*/ 419345 h 1934496"/>
              <a:gd name="connsiteX2982" fmla="*/ 2437297 w 9922465"/>
              <a:gd name="connsiteY2982" fmla="*/ 474536 h 1934496"/>
              <a:gd name="connsiteX2983" fmla="*/ 2382108 w 9922465"/>
              <a:gd name="connsiteY2983" fmla="*/ 419345 h 1934496"/>
              <a:gd name="connsiteX2984" fmla="*/ 2437297 w 9922465"/>
              <a:gd name="connsiteY2984" fmla="*/ 364154 h 1934496"/>
              <a:gd name="connsiteX2985" fmla="*/ 2303664 w 9922465"/>
              <a:gd name="connsiteY2985" fmla="*/ 364154 h 1934496"/>
              <a:gd name="connsiteX2986" fmla="*/ 2358856 w 9922465"/>
              <a:gd name="connsiteY2986" fmla="*/ 419345 h 1934496"/>
              <a:gd name="connsiteX2987" fmla="*/ 2303664 w 9922465"/>
              <a:gd name="connsiteY2987" fmla="*/ 474536 h 1934496"/>
              <a:gd name="connsiteX2988" fmla="*/ 2248473 w 9922465"/>
              <a:gd name="connsiteY2988" fmla="*/ 419345 h 1934496"/>
              <a:gd name="connsiteX2989" fmla="*/ 2303664 w 9922465"/>
              <a:gd name="connsiteY2989" fmla="*/ 364154 h 1934496"/>
              <a:gd name="connsiteX2990" fmla="*/ 2173372 w 9922465"/>
              <a:gd name="connsiteY2990" fmla="*/ 364154 h 1934496"/>
              <a:gd name="connsiteX2991" fmla="*/ 2228565 w 9922465"/>
              <a:gd name="connsiteY2991" fmla="*/ 419345 h 1934496"/>
              <a:gd name="connsiteX2992" fmla="*/ 2173372 w 9922465"/>
              <a:gd name="connsiteY2992" fmla="*/ 474536 h 1934496"/>
              <a:gd name="connsiteX2993" fmla="*/ 2118180 w 9922465"/>
              <a:gd name="connsiteY2993" fmla="*/ 419345 h 1934496"/>
              <a:gd name="connsiteX2994" fmla="*/ 2173372 w 9922465"/>
              <a:gd name="connsiteY2994" fmla="*/ 364154 h 1934496"/>
              <a:gd name="connsiteX2995" fmla="*/ 2039736 w 9922465"/>
              <a:gd name="connsiteY2995" fmla="*/ 364154 h 1934496"/>
              <a:gd name="connsiteX2996" fmla="*/ 2094930 w 9922465"/>
              <a:gd name="connsiteY2996" fmla="*/ 419345 h 1934496"/>
              <a:gd name="connsiteX2997" fmla="*/ 2039736 w 9922465"/>
              <a:gd name="connsiteY2997" fmla="*/ 474536 h 1934496"/>
              <a:gd name="connsiteX2998" fmla="*/ 1984543 w 9922465"/>
              <a:gd name="connsiteY2998" fmla="*/ 419345 h 1934496"/>
              <a:gd name="connsiteX2999" fmla="*/ 2039736 w 9922465"/>
              <a:gd name="connsiteY2999" fmla="*/ 364154 h 1934496"/>
              <a:gd name="connsiteX3000" fmla="*/ 1909440 w 9922465"/>
              <a:gd name="connsiteY3000" fmla="*/ 364154 h 1934496"/>
              <a:gd name="connsiteX3001" fmla="*/ 1964634 w 9922465"/>
              <a:gd name="connsiteY3001" fmla="*/ 419345 h 1934496"/>
              <a:gd name="connsiteX3002" fmla="*/ 1909440 w 9922465"/>
              <a:gd name="connsiteY3002" fmla="*/ 474536 h 1934496"/>
              <a:gd name="connsiteX3003" fmla="*/ 1854246 w 9922465"/>
              <a:gd name="connsiteY3003" fmla="*/ 419345 h 1934496"/>
              <a:gd name="connsiteX3004" fmla="*/ 1909440 w 9922465"/>
              <a:gd name="connsiteY3004" fmla="*/ 364154 h 1934496"/>
              <a:gd name="connsiteX3005" fmla="*/ 1779142 w 9922465"/>
              <a:gd name="connsiteY3005" fmla="*/ 364154 h 1934496"/>
              <a:gd name="connsiteX3006" fmla="*/ 1834337 w 9922465"/>
              <a:gd name="connsiteY3006" fmla="*/ 419345 h 1934496"/>
              <a:gd name="connsiteX3007" fmla="*/ 1779142 w 9922465"/>
              <a:gd name="connsiteY3007" fmla="*/ 474536 h 1934496"/>
              <a:gd name="connsiteX3008" fmla="*/ 1723951 w 9922465"/>
              <a:gd name="connsiteY3008" fmla="*/ 419345 h 1934496"/>
              <a:gd name="connsiteX3009" fmla="*/ 1779142 w 9922465"/>
              <a:gd name="connsiteY3009" fmla="*/ 364154 h 1934496"/>
              <a:gd name="connsiteX3010" fmla="*/ 1645508 w 9922465"/>
              <a:gd name="connsiteY3010" fmla="*/ 364154 h 1934496"/>
              <a:gd name="connsiteX3011" fmla="*/ 1700702 w 9922465"/>
              <a:gd name="connsiteY3011" fmla="*/ 419345 h 1934496"/>
              <a:gd name="connsiteX3012" fmla="*/ 1645508 w 9922465"/>
              <a:gd name="connsiteY3012" fmla="*/ 474536 h 1934496"/>
              <a:gd name="connsiteX3013" fmla="*/ 1590313 w 9922465"/>
              <a:gd name="connsiteY3013" fmla="*/ 419345 h 1934496"/>
              <a:gd name="connsiteX3014" fmla="*/ 1645508 w 9922465"/>
              <a:gd name="connsiteY3014" fmla="*/ 364154 h 1934496"/>
              <a:gd name="connsiteX3015" fmla="*/ 1515217 w 9922465"/>
              <a:gd name="connsiteY3015" fmla="*/ 364154 h 1934496"/>
              <a:gd name="connsiteX3016" fmla="*/ 1570405 w 9922465"/>
              <a:gd name="connsiteY3016" fmla="*/ 419345 h 1934496"/>
              <a:gd name="connsiteX3017" fmla="*/ 1515217 w 9922465"/>
              <a:gd name="connsiteY3017" fmla="*/ 474536 h 1934496"/>
              <a:gd name="connsiteX3018" fmla="*/ 1460020 w 9922465"/>
              <a:gd name="connsiteY3018" fmla="*/ 419345 h 1934496"/>
              <a:gd name="connsiteX3019" fmla="*/ 1515217 w 9922465"/>
              <a:gd name="connsiteY3019" fmla="*/ 364154 h 1934496"/>
              <a:gd name="connsiteX3020" fmla="*/ 1381573 w 9922465"/>
              <a:gd name="connsiteY3020" fmla="*/ 364154 h 1934496"/>
              <a:gd name="connsiteX3021" fmla="*/ 1436767 w 9922465"/>
              <a:gd name="connsiteY3021" fmla="*/ 419345 h 1934496"/>
              <a:gd name="connsiteX3022" fmla="*/ 1381573 w 9922465"/>
              <a:gd name="connsiteY3022" fmla="*/ 474536 h 1934496"/>
              <a:gd name="connsiteX3023" fmla="*/ 1326384 w 9922465"/>
              <a:gd name="connsiteY3023" fmla="*/ 419345 h 1934496"/>
              <a:gd name="connsiteX3024" fmla="*/ 1381573 w 9922465"/>
              <a:gd name="connsiteY3024" fmla="*/ 364154 h 1934496"/>
              <a:gd name="connsiteX3025" fmla="*/ 1251283 w 9922465"/>
              <a:gd name="connsiteY3025" fmla="*/ 364154 h 1934496"/>
              <a:gd name="connsiteX3026" fmla="*/ 1306476 w 9922465"/>
              <a:gd name="connsiteY3026" fmla="*/ 419345 h 1934496"/>
              <a:gd name="connsiteX3027" fmla="*/ 1251283 w 9922465"/>
              <a:gd name="connsiteY3027" fmla="*/ 474536 h 1934496"/>
              <a:gd name="connsiteX3028" fmla="*/ 1196091 w 9922465"/>
              <a:gd name="connsiteY3028" fmla="*/ 419345 h 1934496"/>
              <a:gd name="connsiteX3029" fmla="*/ 1251283 w 9922465"/>
              <a:gd name="connsiteY3029" fmla="*/ 364154 h 1934496"/>
              <a:gd name="connsiteX3030" fmla="*/ 7608850 w 9922465"/>
              <a:gd name="connsiteY3030" fmla="*/ 247225 h 1934496"/>
              <a:gd name="connsiteX3031" fmla="*/ 7664042 w 9922465"/>
              <a:gd name="connsiteY3031" fmla="*/ 302416 h 1934496"/>
              <a:gd name="connsiteX3032" fmla="*/ 7608850 w 9922465"/>
              <a:gd name="connsiteY3032" fmla="*/ 357607 h 1934496"/>
              <a:gd name="connsiteX3033" fmla="*/ 7553658 w 9922465"/>
              <a:gd name="connsiteY3033" fmla="*/ 302416 h 1934496"/>
              <a:gd name="connsiteX3034" fmla="*/ 7608850 w 9922465"/>
              <a:gd name="connsiteY3034" fmla="*/ 247225 h 1934496"/>
              <a:gd name="connsiteX3035" fmla="*/ 7481898 w 9922465"/>
              <a:gd name="connsiteY3035" fmla="*/ 247225 h 1934496"/>
              <a:gd name="connsiteX3036" fmla="*/ 7537090 w 9922465"/>
              <a:gd name="connsiteY3036" fmla="*/ 302416 h 1934496"/>
              <a:gd name="connsiteX3037" fmla="*/ 7481898 w 9922465"/>
              <a:gd name="connsiteY3037" fmla="*/ 357607 h 1934496"/>
              <a:gd name="connsiteX3038" fmla="*/ 7426706 w 9922465"/>
              <a:gd name="connsiteY3038" fmla="*/ 302416 h 1934496"/>
              <a:gd name="connsiteX3039" fmla="*/ 7481898 w 9922465"/>
              <a:gd name="connsiteY3039" fmla="*/ 247225 h 1934496"/>
              <a:gd name="connsiteX3040" fmla="*/ 5093178 w 9922465"/>
              <a:gd name="connsiteY3040" fmla="*/ 247225 h 1934496"/>
              <a:gd name="connsiteX3041" fmla="*/ 5148370 w 9922465"/>
              <a:gd name="connsiteY3041" fmla="*/ 302416 h 1934496"/>
              <a:gd name="connsiteX3042" fmla="*/ 5093178 w 9922465"/>
              <a:gd name="connsiteY3042" fmla="*/ 357607 h 1934496"/>
              <a:gd name="connsiteX3043" fmla="*/ 5037986 w 9922465"/>
              <a:gd name="connsiteY3043" fmla="*/ 302416 h 1934496"/>
              <a:gd name="connsiteX3044" fmla="*/ 5093178 w 9922465"/>
              <a:gd name="connsiteY3044" fmla="*/ 247225 h 1934496"/>
              <a:gd name="connsiteX3045" fmla="*/ 4030786 w 9922465"/>
              <a:gd name="connsiteY3045" fmla="*/ 247225 h 1934496"/>
              <a:gd name="connsiteX3046" fmla="*/ 4085978 w 9922465"/>
              <a:gd name="connsiteY3046" fmla="*/ 302416 h 1934496"/>
              <a:gd name="connsiteX3047" fmla="*/ 4030786 w 9922465"/>
              <a:gd name="connsiteY3047" fmla="*/ 357607 h 1934496"/>
              <a:gd name="connsiteX3048" fmla="*/ 3975594 w 9922465"/>
              <a:gd name="connsiteY3048" fmla="*/ 302416 h 1934496"/>
              <a:gd name="connsiteX3049" fmla="*/ 4030786 w 9922465"/>
              <a:gd name="connsiteY3049" fmla="*/ 247225 h 1934496"/>
              <a:gd name="connsiteX3050" fmla="*/ 3897148 w 9922465"/>
              <a:gd name="connsiteY3050" fmla="*/ 247225 h 1934496"/>
              <a:gd name="connsiteX3051" fmla="*/ 3952340 w 9922465"/>
              <a:gd name="connsiteY3051" fmla="*/ 302416 h 1934496"/>
              <a:gd name="connsiteX3052" fmla="*/ 3897148 w 9922465"/>
              <a:gd name="connsiteY3052" fmla="*/ 357607 h 1934496"/>
              <a:gd name="connsiteX3053" fmla="*/ 3841956 w 9922465"/>
              <a:gd name="connsiteY3053" fmla="*/ 302416 h 1934496"/>
              <a:gd name="connsiteX3054" fmla="*/ 3897148 w 9922465"/>
              <a:gd name="connsiteY3054" fmla="*/ 247225 h 1934496"/>
              <a:gd name="connsiteX3055" fmla="*/ 3763514 w 9922465"/>
              <a:gd name="connsiteY3055" fmla="*/ 247225 h 1934496"/>
              <a:gd name="connsiteX3056" fmla="*/ 3818706 w 9922465"/>
              <a:gd name="connsiteY3056" fmla="*/ 302416 h 1934496"/>
              <a:gd name="connsiteX3057" fmla="*/ 3763514 w 9922465"/>
              <a:gd name="connsiteY3057" fmla="*/ 357607 h 1934496"/>
              <a:gd name="connsiteX3058" fmla="*/ 3708322 w 9922465"/>
              <a:gd name="connsiteY3058" fmla="*/ 302416 h 1934496"/>
              <a:gd name="connsiteX3059" fmla="*/ 3763514 w 9922465"/>
              <a:gd name="connsiteY3059" fmla="*/ 247225 h 1934496"/>
              <a:gd name="connsiteX3060" fmla="*/ 3633221 w 9922465"/>
              <a:gd name="connsiteY3060" fmla="*/ 247225 h 1934496"/>
              <a:gd name="connsiteX3061" fmla="*/ 3688413 w 9922465"/>
              <a:gd name="connsiteY3061" fmla="*/ 302416 h 1934496"/>
              <a:gd name="connsiteX3062" fmla="*/ 3633221 w 9922465"/>
              <a:gd name="connsiteY3062" fmla="*/ 357607 h 1934496"/>
              <a:gd name="connsiteX3063" fmla="*/ 3578029 w 9922465"/>
              <a:gd name="connsiteY3063" fmla="*/ 302416 h 1934496"/>
              <a:gd name="connsiteX3064" fmla="*/ 3633221 w 9922465"/>
              <a:gd name="connsiteY3064" fmla="*/ 247225 h 1934496"/>
              <a:gd name="connsiteX3065" fmla="*/ 3499589 w 9922465"/>
              <a:gd name="connsiteY3065" fmla="*/ 247225 h 1934496"/>
              <a:gd name="connsiteX3066" fmla="*/ 3554781 w 9922465"/>
              <a:gd name="connsiteY3066" fmla="*/ 302416 h 1934496"/>
              <a:gd name="connsiteX3067" fmla="*/ 3499589 w 9922465"/>
              <a:gd name="connsiteY3067" fmla="*/ 357607 h 1934496"/>
              <a:gd name="connsiteX3068" fmla="*/ 3444397 w 9922465"/>
              <a:gd name="connsiteY3068" fmla="*/ 302416 h 1934496"/>
              <a:gd name="connsiteX3069" fmla="*/ 3499589 w 9922465"/>
              <a:gd name="connsiteY3069" fmla="*/ 247225 h 1934496"/>
              <a:gd name="connsiteX3070" fmla="*/ 3369293 w 9922465"/>
              <a:gd name="connsiteY3070" fmla="*/ 247225 h 1934496"/>
              <a:gd name="connsiteX3071" fmla="*/ 3424485 w 9922465"/>
              <a:gd name="connsiteY3071" fmla="*/ 302416 h 1934496"/>
              <a:gd name="connsiteX3072" fmla="*/ 3369293 w 9922465"/>
              <a:gd name="connsiteY3072" fmla="*/ 357607 h 1934496"/>
              <a:gd name="connsiteX3073" fmla="*/ 3314101 w 9922465"/>
              <a:gd name="connsiteY3073" fmla="*/ 302416 h 1934496"/>
              <a:gd name="connsiteX3074" fmla="*/ 3369293 w 9922465"/>
              <a:gd name="connsiteY3074" fmla="*/ 247225 h 1934496"/>
              <a:gd name="connsiteX3075" fmla="*/ 3235657 w 9922465"/>
              <a:gd name="connsiteY3075" fmla="*/ 247225 h 1934496"/>
              <a:gd name="connsiteX3076" fmla="*/ 3290849 w 9922465"/>
              <a:gd name="connsiteY3076" fmla="*/ 302416 h 1934496"/>
              <a:gd name="connsiteX3077" fmla="*/ 3235657 w 9922465"/>
              <a:gd name="connsiteY3077" fmla="*/ 357607 h 1934496"/>
              <a:gd name="connsiteX3078" fmla="*/ 3180465 w 9922465"/>
              <a:gd name="connsiteY3078" fmla="*/ 302416 h 1934496"/>
              <a:gd name="connsiteX3079" fmla="*/ 3235657 w 9922465"/>
              <a:gd name="connsiteY3079" fmla="*/ 247225 h 1934496"/>
              <a:gd name="connsiteX3080" fmla="*/ 3098682 w 9922465"/>
              <a:gd name="connsiteY3080" fmla="*/ 247225 h 1934496"/>
              <a:gd name="connsiteX3081" fmla="*/ 3153874 w 9922465"/>
              <a:gd name="connsiteY3081" fmla="*/ 302416 h 1934496"/>
              <a:gd name="connsiteX3082" fmla="*/ 3098682 w 9922465"/>
              <a:gd name="connsiteY3082" fmla="*/ 357607 h 1934496"/>
              <a:gd name="connsiteX3083" fmla="*/ 3043490 w 9922465"/>
              <a:gd name="connsiteY3083" fmla="*/ 302416 h 1934496"/>
              <a:gd name="connsiteX3084" fmla="*/ 3098682 w 9922465"/>
              <a:gd name="connsiteY3084" fmla="*/ 247225 h 1934496"/>
              <a:gd name="connsiteX3085" fmla="*/ 2971729 w 9922465"/>
              <a:gd name="connsiteY3085" fmla="*/ 247225 h 1934496"/>
              <a:gd name="connsiteX3086" fmla="*/ 3026921 w 9922465"/>
              <a:gd name="connsiteY3086" fmla="*/ 302416 h 1934496"/>
              <a:gd name="connsiteX3087" fmla="*/ 2971729 w 9922465"/>
              <a:gd name="connsiteY3087" fmla="*/ 357607 h 1934496"/>
              <a:gd name="connsiteX3088" fmla="*/ 2916537 w 9922465"/>
              <a:gd name="connsiteY3088" fmla="*/ 302416 h 1934496"/>
              <a:gd name="connsiteX3089" fmla="*/ 2971729 w 9922465"/>
              <a:gd name="connsiteY3089" fmla="*/ 247225 h 1934496"/>
              <a:gd name="connsiteX3090" fmla="*/ 2834862 w 9922465"/>
              <a:gd name="connsiteY3090" fmla="*/ 247225 h 1934496"/>
              <a:gd name="connsiteX3091" fmla="*/ 2890052 w 9922465"/>
              <a:gd name="connsiteY3091" fmla="*/ 302416 h 1934496"/>
              <a:gd name="connsiteX3092" fmla="*/ 2834862 w 9922465"/>
              <a:gd name="connsiteY3092" fmla="*/ 357607 h 1934496"/>
              <a:gd name="connsiteX3093" fmla="*/ 2779671 w 9922465"/>
              <a:gd name="connsiteY3093" fmla="*/ 302416 h 1934496"/>
              <a:gd name="connsiteX3094" fmla="*/ 2834862 w 9922465"/>
              <a:gd name="connsiteY3094" fmla="*/ 247225 h 1934496"/>
              <a:gd name="connsiteX3095" fmla="*/ 2570933 w 9922465"/>
              <a:gd name="connsiteY3095" fmla="*/ 247225 h 1934496"/>
              <a:gd name="connsiteX3096" fmla="*/ 2626123 w 9922465"/>
              <a:gd name="connsiteY3096" fmla="*/ 302416 h 1934496"/>
              <a:gd name="connsiteX3097" fmla="*/ 2570933 w 9922465"/>
              <a:gd name="connsiteY3097" fmla="*/ 357607 h 1934496"/>
              <a:gd name="connsiteX3098" fmla="*/ 2515738 w 9922465"/>
              <a:gd name="connsiteY3098" fmla="*/ 302416 h 1934496"/>
              <a:gd name="connsiteX3099" fmla="*/ 2570933 w 9922465"/>
              <a:gd name="connsiteY3099" fmla="*/ 247225 h 1934496"/>
              <a:gd name="connsiteX3100" fmla="*/ 2437297 w 9922465"/>
              <a:gd name="connsiteY3100" fmla="*/ 247225 h 1934496"/>
              <a:gd name="connsiteX3101" fmla="*/ 2492487 w 9922465"/>
              <a:gd name="connsiteY3101" fmla="*/ 302416 h 1934496"/>
              <a:gd name="connsiteX3102" fmla="*/ 2437297 w 9922465"/>
              <a:gd name="connsiteY3102" fmla="*/ 357607 h 1934496"/>
              <a:gd name="connsiteX3103" fmla="*/ 2382108 w 9922465"/>
              <a:gd name="connsiteY3103" fmla="*/ 302416 h 1934496"/>
              <a:gd name="connsiteX3104" fmla="*/ 2437297 w 9922465"/>
              <a:gd name="connsiteY3104" fmla="*/ 247225 h 1934496"/>
              <a:gd name="connsiteX3105" fmla="*/ 2303666 w 9922465"/>
              <a:gd name="connsiteY3105" fmla="*/ 247225 h 1934496"/>
              <a:gd name="connsiteX3106" fmla="*/ 2358856 w 9922465"/>
              <a:gd name="connsiteY3106" fmla="*/ 302416 h 1934496"/>
              <a:gd name="connsiteX3107" fmla="*/ 2303666 w 9922465"/>
              <a:gd name="connsiteY3107" fmla="*/ 357607 h 1934496"/>
              <a:gd name="connsiteX3108" fmla="*/ 2248473 w 9922465"/>
              <a:gd name="connsiteY3108" fmla="*/ 302416 h 1934496"/>
              <a:gd name="connsiteX3109" fmla="*/ 2303666 w 9922465"/>
              <a:gd name="connsiteY3109" fmla="*/ 247225 h 1934496"/>
              <a:gd name="connsiteX3110" fmla="*/ 2173372 w 9922465"/>
              <a:gd name="connsiteY3110" fmla="*/ 247225 h 1934496"/>
              <a:gd name="connsiteX3111" fmla="*/ 2228566 w 9922465"/>
              <a:gd name="connsiteY3111" fmla="*/ 302416 h 1934496"/>
              <a:gd name="connsiteX3112" fmla="*/ 2173372 w 9922465"/>
              <a:gd name="connsiteY3112" fmla="*/ 357607 h 1934496"/>
              <a:gd name="connsiteX3113" fmla="*/ 2118180 w 9922465"/>
              <a:gd name="connsiteY3113" fmla="*/ 302416 h 1934496"/>
              <a:gd name="connsiteX3114" fmla="*/ 2173372 w 9922465"/>
              <a:gd name="connsiteY3114" fmla="*/ 247225 h 1934496"/>
              <a:gd name="connsiteX3115" fmla="*/ 1909440 w 9922465"/>
              <a:gd name="connsiteY3115" fmla="*/ 247225 h 1934496"/>
              <a:gd name="connsiteX3116" fmla="*/ 1964634 w 9922465"/>
              <a:gd name="connsiteY3116" fmla="*/ 302416 h 1934496"/>
              <a:gd name="connsiteX3117" fmla="*/ 1909440 w 9922465"/>
              <a:gd name="connsiteY3117" fmla="*/ 357607 h 1934496"/>
              <a:gd name="connsiteX3118" fmla="*/ 1854246 w 9922465"/>
              <a:gd name="connsiteY3118" fmla="*/ 302416 h 1934496"/>
              <a:gd name="connsiteX3119" fmla="*/ 1909440 w 9922465"/>
              <a:gd name="connsiteY3119" fmla="*/ 247225 h 1934496"/>
              <a:gd name="connsiteX3120" fmla="*/ 1779142 w 9922465"/>
              <a:gd name="connsiteY3120" fmla="*/ 247225 h 1934496"/>
              <a:gd name="connsiteX3121" fmla="*/ 1834337 w 9922465"/>
              <a:gd name="connsiteY3121" fmla="*/ 302416 h 1934496"/>
              <a:gd name="connsiteX3122" fmla="*/ 1779142 w 9922465"/>
              <a:gd name="connsiteY3122" fmla="*/ 357607 h 1934496"/>
              <a:gd name="connsiteX3123" fmla="*/ 1723951 w 9922465"/>
              <a:gd name="connsiteY3123" fmla="*/ 302416 h 1934496"/>
              <a:gd name="connsiteX3124" fmla="*/ 1779142 w 9922465"/>
              <a:gd name="connsiteY3124" fmla="*/ 247225 h 1934496"/>
              <a:gd name="connsiteX3125" fmla="*/ 1645508 w 9922465"/>
              <a:gd name="connsiteY3125" fmla="*/ 247225 h 1934496"/>
              <a:gd name="connsiteX3126" fmla="*/ 1700702 w 9922465"/>
              <a:gd name="connsiteY3126" fmla="*/ 302416 h 1934496"/>
              <a:gd name="connsiteX3127" fmla="*/ 1645508 w 9922465"/>
              <a:gd name="connsiteY3127" fmla="*/ 357607 h 1934496"/>
              <a:gd name="connsiteX3128" fmla="*/ 1590313 w 9922465"/>
              <a:gd name="connsiteY3128" fmla="*/ 302416 h 1934496"/>
              <a:gd name="connsiteX3129" fmla="*/ 1645508 w 9922465"/>
              <a:gd name="connsiteY3129" fmla="*/ 247225 h 1934496"/>
              <a:gd name="connsiteX3130" fmla="*/ 1515217 w 9922465"/>
              <a:gd name="connsiteY3130" fmla="*/ 247225 h 1934496"/>
              <a:gd name="connsiteX3131" fmla="*/ 1570405 w 9922465"/>
              <a:gd name="connsiteY3131" fmla="*/ 302416 h 1934496"/>
              <a:gd name="connsiteX3132" fmla="*/ 1515217 w 9922465"/>
              <a:gd name="connsiteY3132" fmla="*/ 357607 h 1934496"/>
              <a:gd name="connsiteX3133" fmla="*/ 1460020 w 9922465"/>
              <a:gd name="connsiteY3133" fmla="*/ 302416 h 1934496"/>
              <a:gd name="connsiteX3134" fmla="*/ 1515217 w 9922465"/>
              <a:gd name="connsiteY3134" fmla="*/ 247225 h 1934496"/>
              <a:gd name="connsiteX3135" fmla="*/ 1381573 w 9922465"/>
              <a:gd name="connsiteY3135" fmla="*/ 247225 h 1934496"/>
              <a:gd name="connsiteX3136" fmla="*/ 1436767 w 9922465"/>
              <a:gd name="connsiteY3136" fmla="*/ 302416 h 1934496"/>
              <a:gd name="connsiteX3137" fmla="*/ 1381573 w 9922465"/>
              <a:gd name="connsiteY3137" fmla="*/ 357607 h 1934496"/>
              <a:gd name="connsiteX3138" fmla="*/ 1326384 w 9922465"/>
              <a:gd name="connsiteY3138" fmla="*/ 302416 h 1934496"/>
              <a:gd name="connsiteX3139" fmla="*/ 1381573 w 9922465"/>
              <a:gd name="connsiteY3139" fmla="*/ 247225 h 1934496"/>
              <a:gd name="connsiteX3140" fmla="*/ 7481898 w 9922465"/>
              <a:gd name="connsiteY3140" fmla="*/ 120271 h 1934496"/>
              <a:gd name="connsiteX3141" fmla="*/ 7537090 w 9922465"/>
              <a:gd name="connsiteY3141" fmla="*/ 175462 h 1934496"/>
              <a:gd name="connsiteX3142" fmla="*/ 7481898 w 9922465"/>
              <a:gd name="connsiteY3142" fmla="*/ 230653 h 1934496"/>
              <a:gd name="connsiteX3143" fmla="*/ 7426706 w 9922465"/>
              <a:gd name="connsiteY3143" fmla="*/ 175462 h 1934496"/>
              <a:gd name="connsiteX3144" fmla="*/ 7481898 w 9922465"/>
              <a:gd name="connsiteY3144" fmla="*/ 120271 h 1934496"/>
              <a:gd name="connsiteX3145" fmla="*/ 7341580 w 9922465"/>
              <a:gd name="connsiteY3145" fmla="*/ 120271 h 1934496"/>
              <a:gd name="connsiteX3146" fmla="*/ 7396772 w 9922465"/>
              <a:gd name="connsiteY3146" fmla="*/ 175462 h 1934496"/>
              <a:gd name="connsiteX3147" fmla="*/ 7341580 w 9922465"/>
              <a:gd name="connsiteY3147" fmla="*/ 230653 h 1934496"/>
              <a:gd name="connsiteX3148" fmla="*/ 7286388 w 9922465"/>
              <a:gd name="connsiteY3148" fmla="*/ 175462 h 1934496"/>
              <a:gd name="connsiteX3149" fmla="*/ 7341580 w 9922465"/>
              <a:gd name="connsiteY3149" fmla="*/ 120271 h 1934496"/>
              <a:gd name="connsiteX3150" fmla="*/ 7211288 w 9922465"/>
              <a:gd name="connsiteY3150" fmla="*/ 120271 h 1934496"/>
              <a:gd name="connsiteX3151" fmla="*/ 7266480 w 9922465"/>
              <a:gd name="connsiteY3151" fmla="*/ 175462 h 1934496"/>
              <a:gd name="connsiteX3152" fmla="*/ 7211288 w 9922465"/>
              <a:gd name="connsiteY3152" fmla="*/ 230653 h 1934496"/>
              <a:gd name="connsiteX3153" fmla="*/ 7156096 w 9922465"/>
              <a:gd name="connsiteY3153" fmla="*/ 175462 h 1934496"/>
              <a:gd name="connsiteX3154" fmla="*/ 7211288 w 9922465"/>
              <a:gd name="connsiteY3154" fmla="*/ 120271 h 1934496"/>
              <a:gd name="connsiteX3155" fmla="*/ 5223474 w 9922465"/>
              <a:gd name="connsiteY3155" fmla="*/ 120271 h 1934496"/>
              <a:gd name="connsiteX3156" fmla="*/ 5278666 w 9922465"/>
              <a:gd name="connsiteY3156" fmla="*/ 175462 h 1934496"/>
              <a:gd name="connsiteX3157" fmla="*/ 5223474 w 9922465"/>
              <a:gd name="connsiteY3157" fmla="*/ 230653 h 1934496"/>
              <a:gd name="connsiteX3158" fmla="*/ 5168282 w 9922465"/>
              <a:gd name="connsiteY3158" fmla="*/ 175462 h 1934496"/>
              <a:gd name="connsiteX3159" fmla="*/ 5223474 w 9922465"/>
              <a:gd name="connsiteY3159" fmla="*/ 120271 h 1934496"/>
              <a:gd name="connsiteX3160" fmla="*/ 5093178 w 9922465"/>
              <a:gd name="connsiteY3160" fmla="*/ 120271 h 1934496"/>
              <a:gd name="connsiteX3161" fmla="*/ 5148370 w 9922465"/>
              <a:gd name="connsiteY3161" fmla="*/ 175462 h 1934496"/>
              <a:gd name="connsiteX3162" fmla="*/ 5093178 w 9922465"/>
              <a:gd name="connsiteY3162" fmla="*/ 230653 h 1934496"/>
              <a:gd name="connsiteX3163" fmla="*/ 5037986 w 9922465"/>
              <a:gd name="connsiteY3163" fmla="*/ 175462 h 1934496"/>
              <a:gd name="connsiteX3164" fmla="*/ 5093178 w 9922465"/>
              <a:gd name="connsiteY3164" fmla="*/ 120271 h 1934496"/>
              <a:gd name="connsiteX3165" fmla="*/ 4161077 w 9922465"/>
              <a:gd name="connsiteY3165" fmla="*/ 120271 h 1934496"/>
              <a:gd name="connsiteX3166" fmla="*/ 4216269 w 9922465"/>
              <a:gd name="connsiteY3166" fmla="*/ 175462 h 1934496"/>
              <a:gd name="connsiteX3167" fmla="*/ 4161077 w 9922465"/>
              <a:gd name="connsiteY3167" fmla="*/ 230653 h 1934496"/>
              <a:gd name="connsiteX3168" fmla="*/ 4105885 w 9922465"/>
              <a:gd name="connsiteY3168" fmla="*/ 175462 h 1934496"/>
              <a:gd name="connsiteX3169" fmla="*/ 4161077 w 9922465"/>
              <a:gd name="connsiteY3169" fmla="*/ 120271 h 1934496"/>
              <a:gd name="connsiteX3170" fmla="*/ 4030786 w 9922465"/>
              <a:gd name="connsiteY3170" fmla="*/ 120271 h 1934496"/>
              <a:gd name="connsiteX3171" fmla="*/ 4085978 w 9922465"/>
              <a:gd name="connsiteY3171" fmla="*/ 175462 h 1934496"/>
              <a:gd name="connsiteX3172" fmla="*/ 4030786 w 9922465"/>
              <a:gd name="connsiteY3172" fmla="*/ 230653 h 1934496"/>
              <a:gd name="connsiteX3173" fmla="*/ 3975594 w 9922465"/>
              <a:gd name="connsiteY3173" fmla="*/ 175462 h 1934496"/>
              <a:gd name="connsiteX3174" fmla="*/ 4030786 w 9922465"/>
              <a:gd name="connsiteY3174" fmla="*/ 120271 h 1934496"/>
              <a:gd name="connsiteX3175" fmla="*/ 3897148 w 9922465"/>
              <a:gd name="connsiteY3175" fmla="*/ 120271 h 1934496"/>
              <a:gd name="connsiteX3176" fmla="*/ 3952340 w 9922465"/>
              <a:gd name="connsiteY3176" fmla="*/ 175462 h 1934496"/>
              <a:gd name="connsiteX3177" fmla="*/ 3897148 w 9922465"/>
              <a:gd name="connsiteY3177" fmla="*/ 230653 h 1934496"/>
              <a:gd name="connsiteX3178" fmla="*/ 3841956 w 9922465"/>
              <a:gd name="connsiteY3178" fmla="*/ 175462 h 1934496"/>
              <a:gd name="connsiteX3179" fmla="*/ 3897148 w 9922465"/>
              <a:gd name="connsiteY3179" fmla="*/ 120271 h 1934496"/>
              <a:gd name="connsiteX3180" fmla="*/ 3763514 w 9922465"/>
              <a:gd name="connsiteY3180" fmla="*/ 120271 h 1934496"/>
              <a:gd name="connsiteX3181" fmla="*/ 3818706 w 9922465"/>
              <a:gd name="connsiteY3181" fmla="*/ 175462 h 1934496"/>
              <a:gd name="connsiteX3182" fmla="*/ 3763514 w 9922465"/>
              <a:gd name="connsiteY3182" fmla="*/ 230653 h 1934496"/>
              <a:gd name="connsiteX3183" fmla="*/ 3708322 w 9922465"/>
              <a:gd name="connsiteY3183" fmla="*/ 175462 h 1934496"/>
              <a:gd name="connsiteX3184" fmla="*/ 3763514 w 9922465"/>
              <a:gd name="connsiteY3184" fmla="*/ 120271 h 1934496"/>
              <a:gd name="connsiteX3185" fmla="*/ 3633221 w 9922465"/>
              <a:gd name="connsiteY3185" fmla="*/ 120271 h 1934496"/>
              <a:gd name="connsiteX3186" fmla="*/ 3688413 w 9922465"/>
              <a:gd name="connsiteY3186" fmla="*/ 175462 h 1934496"/>
              <a:gd name="connsiteX3187" fmla="*/ 3633221 w 9922465"/>
              <a:gd name="connsiteY3187" fmla="*/ 230653 h 1934496"/>
              <a:gd name="connsiteX3188" fmla="*/ 3578029 w 9922465"/>
              <a:gd name="connsiteY3188" fmla="*/ 175462 h 1934496"/>
              <a:gd name="connsiteX3189" fmla="*/ 3633221 w 9922465"/>
              <a:gd name="connsiteY3189" fmla="*/ 120271 h 1934496"/>
              <a:gd name="connsiteX3190" fmla="*/ 3499589 w 9922465"/>
              <a:gd name="connsiteY3190" fmla="*/ 120271 h 1934496"/>
              <a:gd name="connsiteX3191" fmla="*/ 3554781 w 9922465"/>
              <a:gd name="connsiteY3191" fmla="*/ 175462 h 1934496"/>
              <a:gd name="connsiteX3192" fmla="*/ 3499589 w 9922465"/>
              <a:gd name="connsiteY3192" fmla="*/ 230653 h 1934496"/>
              <a:gd name="connsiteX3193" fmla="*/ 3444397 w 9922465"/>
              <a:gd name="connsiteY3193" fmla="*/ 175462 h 1934496"/>
              <a:gd name="connsiteX3194" fmla="*/ 3499589 w 9922465"/>
              <a:gd name="connsiteY3194" fmla="*/ 120271 h 1934496"/>
              <a:gd name="connsiteX3195" fmla="*/ 3369293 w 9922465"/>
              <a:gd name="connsiteY3195" fmla="*/ 120271 h 1934496"/>
              <a:gd name="connsiteX3196" fmla="*/ 3424485 w 9922465"/>
              <a:gd name="connsiteY3196" fmla="*/ 175462 h 1934496"/>
              <a:gd name="connsiteX3197" fmla="*/ 3369293 w 9922465"/>
              <a:gd name="connsiteY3197" fmla="*/ 230653 h 1934496"/>
              <a:gd name="connsiteX3198" fmla="*/ 3314101 w 9922465"/>
              <a:gd name="connsiteY3198" fmla="*/ 175462 h 1934496"/>
              <a:gd name="connsiteX3199" fmla="*/ 3369293 w 9922465"/>
              <a:gd name="connsiteY3199" fmla="*/ 120271 h 1934496"/>
              <a:gd name="connsiteX3200" fmla="*/ 3235657 w 9922465"/>
              <a:gd name="connsiteY3200" fmla="*/ 120271 h 1934496"/>
              <a:gd name="connsiteX3201" fmla="*/ 3290849 w 9922465"/>
              <a:gd name="connsiteY3201" fmla="*/ 175462 h 1934496"/>
              <a:gd name="connsiteX3202" fmla="*/ 3235657 w 9922465"/>
              <a:gd name="connsiteY3202" fmla="*/ 230653 h 1934496"/>
              <a:gd name="connsiteX3203" fmla="*/ 3180465 w 9922465"/>
              <a:gd name="connsiteY3203" fmla="*/ 175462 h 1934496"/>
              <a:gd name="connsiteX3204" fmla="*/ 3235657 w 9922465"/>
              <a:gd name="connsiteY3204" fmla="*/ 120271 h 1934496"/>
              <a:gd name="connsiteX3205" fmla="*/ 3098682 w 9922465"/>
              <a:gd name="connsiteY3205" fmla="*/ 120271 h 1934496"/>
              <a:gd name="connsiteX3206" fmla="*/ 3153874 w 9922465"/>
              <a:gd name="connsiteY3206" fmla="*/ 175462 h 1934496"/>
              <a:gd name="connsiteX3207" fmla="*/ 3098682 w 9922465"/>
              <a:gd name="connsiteY3207" fmla="*/ 230653 h 1934496"/>
              <a:gd name="connsiteX3208" fmla="*/ 3043490 w 9922465"/>
              <a:gd name="connsiteY3208" fmla="*/ 175462 h 1934496"/>
              <a:gd name="connsiteX3209" fmla="*/ 3098682 w 9922465"/>
              <a:gd name="connsiteY3209" fmla="*/ 120271 h 1934496"/>
              <a:gd name="connsiteX3210" fmla="*/ 2971729 w 9922465"/>
              <a:gd name="connsiteY3210" fmla="*/ 120271 h 1934496"/>
              <a:gd name="connsiteX3211" fmla="*/ 3026921 w 9922465"/>
              <a:gd name="connsiteY3211" fmla="*/ 175462 h 1934496"/>
              <a:gd name="connsiteX3212" fmla="*/ 2971729 w 9922465"/>
              <a:gd name="connsiteY3212" fmla="*/ 230653 h 1934496"/>
              <a:gd name="connsiteX3213" fmla="*/ 2916537 w 9922465"/>
              <a:gd name="connsiteY3213" fmla="*/ 175462 h 1934496"/>
              <a:gd name="connsiteX3214" fmla="*/ 2971729 w 9922465"/>
              <a:gd name="connsiteY3214" fmla="*/ 120271 h 1934496"/>
              <a:gd name="connsiteX3215" fmla="*/ 2707903 w 9922465"/>
              <a:gd name="connsiteY3215" fmla="*/ 120271 h 1934496"/>
              <a:gd name="connsiteX3216" fmla="*/ 2763100 w 9922465"/>
              <a:gd name="connsiteY3216" fmla="*/ 175462 h 1934496"/>
              <a:gd name="connsiteX3217" fmla="*/ 2707903 w 9922465"/>
              <a:gd name="connsiteY3217" fmla="*/ 230653 h 1934496"/>
              <a:gd name="connsiteX3218" fmla="*/ 2652715 w 9922465"/>
              <a:gd name="connsiteY3218" fmla="*/ 175462 h 1934496"/>
              <a:gd name="connsiteX3219" fmla="*/ 2707903 w 9922465"/>
              <a:gd name="connsiteY3219" fmla="*/ 120271 h 1934496"/>
              <a:gd name="connsiteX3220" fmla="*/ 2570933 w 9922465"/>
              <a:gd name="connsiteY3220" fmla="*/ 120271 h 1934496"/>
              <a:gd name="connsiteX3221" fmla="*/ 2626123 w 9922465"/>
              <a:gd name="connsiteY3221" fmla="*/ 175462 h 1934496"/>
              <a:gd name="connsiteX3222" fmla="*/ 2570933 w 9922465"/>
              <a:gd name="connsiteY3222" fmla="*/ 230653 h 1934496"/>
              <a:gd name="connsiteX3223" fmla="*/ 2515738 w 9922465"/>
              <a:gd name="connsiteY3223" fmla="*/ 175462 h 1934496"/>
              <a:gd name="connsiteX3224" fmla="*/ 2570933 w 9922465"/>
              <a:gd name="connsiteY3224" fmla="*/ 120271 h 1934496"/>
              <a:gd name="connsiteX3225" fmla="*/ 2437297 w 9922465"/>
              <a:gd name="connsiteY3225" fmla="*/ 120271 h 1934496"/>
              <a:gd name="connsiteX3226" fmla="*/ 2492487 w 9922465"/>
              <a:gd name="connsiteY3226" fmla="*/ 175462 h 1934496"/>
              <a:gd name="connsiteX3227" fmla="*/ 2437297 w 9922465"/>
              <a:gd name="connsiteY3227" fmla="*/ 230653 h 1934496"/>
              <a:gd name="connsiteX3228" fmla="*/ 2382108 w 9922465"/>
              <a:gd name="connsiteY3228" fmla="*/ 175462 h 1934496"/>
              <a:gd name="connsiteX3229" fmla="*/ 2437297 w 9922465"/>
              <a:gd name="connsiteY3229" fmla="*/ 120271 h 1934496"/>
              <a:gd name="connsiteX3230" fmla="*/ 2303666 w 9922465"/>
              <a:gd name="connsiteY3230" fmla="*/ 120271 h 1934496"/>
              <a:gd name="connsiteX3231" fmla="*/ 2358856 w 9922465"/>
              <a:gd name="connsiteY3231" fmla="*/ 175462 h 1934496"/>
              <a:gd name="connsiteX3232" fmla="*/ 2303666 w 9922465"/>
              <a:gd name="connsiteY3232" fmla="*/ 230653 h 1934496"/>
              <a:gd name="connsiteX3233" fmla="*/ 2248473 w 9922465"/>
              <a:gd name="connsiteY3233" fmla="*/ 175462 h 1934496"/>
              <a:gd name="connsiteX3234" fmla="*/ 2303666 w 9922465"/>
              <a:gd name="connsiteY3234" fmla="*/ 120271 h 1934496"/>
              <a:gd name="connsiteX3235" fmla="*/ 2173372 w 9922465"/>
              <a:gd name="connsiteY3235" fmla="*/ 120271 h 1934496"/>
              <a:gd name="connsiteX3236" fmla="*/ 2228566 w 9922465"/>
              <a:gd name="connsiteY3236" fmla="*/ 175462 h 1934496"/>
              <a:gd name="connsiteX3237" fmla="*/ 2173372 w 9922465"/>
              <a:gd name="connsiteY3237" fmla="*/ 230653 h 1934496"/>
              <a:gd name="connsiteX3238" fmla="*/ 2118180 w 9922465"/>
              <a:gd name="connsiteY3238" fmla="*/ 175462 h 1934496"/>
              <a:gd name="connsiteX3239" fmla="*/ 2173372 w 9922465"/>
              <a:gd name="connsiteY3239" fmla="*/ 120271 h 1934496"/>
              <a:gd name="connsiteX3240" fmla="*/ 7341580 w 9922465"/>
              <a:gd name="connsiteY3240" fmla="*/ 0 h 1934496"/>
              <a:gd name="connsiteX3241" fmla="*/ 7396772 w 9922465"/>
              <a:gd name="connsiteY3241" fmla="*/ 55191 h 1934496"/>
              <a:gd name="connsiteX3242" fmla="*/ 7341580 w 9922465"/>
              <a:gd name="connsiteY3242" fmla="*/ 110382 h 1934496"/>
              <a:gd name="connsiteX3243" fmla="*/ 7286388 w 9922465"/>
              <a:gd name="connsiteY3243" fmla="*/ 55191 h 1934496"/>
              <a:gd name="connsiteX3244" fmla="*/ 7341580 w 9922465"/>
              <a:gd name="connsiteY3244" fmla="*/ 0 h 1934496"/>
              <a:gd name="connsiteX3245" fmla="*/ 4294713 w 9922465"/>
              <a:gd name="connsiteY3245" fmla="*/ 0 h 1934496"/>
              <a:gd name="connsiteX3246" fmla="*/ 4349905 w 9922465"/>
              <a:gd name="connsiteY3246" fmla="*/ 55191 h 1934496"/>
              <a:gd name="connsiteX3247" fmla="*/ 4294713 w 9922465"/>
              <a:gd name="connsiteY3247" fmla="*/ 110382 h 1934496"/>
              <a:gd name="connsiteX3248" fmla="*/ 4239521 w 9922465"/>
              <a:gd name="connsiteY3248" fmla="*/ 55191 h 1934496"/>
              <a:gd name="connsiteX3249" fmla="*/ 4294713 w 9922465"/>
              <a:gd name="connsiteY3249" fmla="*/ 0 h 1934496"/>
              <a:gd name="connsiteX3250" fmla="*/ 4161077 w 9922465"/>
              <a:gd name="connsiteY3250" fmla="*/ 0 h 1934496"/>
              <a:gd name="connsiteX3251" fmla="*/ 4216269 w 9922465"/>
              <a:gd name="connsiteY3251" fmla="*/ 55191 h 1934496"/>
              <a:gd name="connsiteX3252" fmla="*/ 4161077 w 9922465"/>
              <a:gd name="connsiteY3252" fmla="*/ 110382 h 1934496"/>
              <a:gd name="connsiteX3253" fmla="*/ 4105885 w 9922465"/>
              <a:gd name="connsiteY3253" fmla="*/ 55191 h 1934496"/>
              <a:gd name="connsiteX3254" fmla="*/ 4161077 w 9922465"/>
              <a:gd name="connsiteY3254" fmla="*/ 0 h 1934496"/>
              <a:gd name="connsiteX3255" fmla="*/ 4030786 w 9922465"/>
              <a:gd name="connsiteY3255" fmla="*/ 0 h 1934496"/>
              <a:gd name="connsiteX3256" fmla="*/ 4085978 w 9922465"/>
              <a:gd name="connsiteY3256" fmla="*/ 55191 h 1934496"/>
              <a:gd name="connsiteX3257" fmla="*/ 4030786 w 9922465"/>
              <a:gd name="connsiteY3257" fmla="*/ 110382 h 1934496"/>
              <a:gd name="connsiteX3258" fmla="*/ 3975594 w 9922465"/>
              <a:gd name="connsiteY3258" fmla="*/ 55191 h 1934496"/>
              <a:gd name="connsiteX3259" fmla="*/ 4030786 w 9922465"/>
              <a:gd name="connsiteY3259" fmla="*/ 0 h 1934496"/>
              <a:gd name="connsiteX3260" fmla="*/ 3897148 w 9922465"/>
              <a:gd name="connsiteY3260" fmla="*/ 0 h 1934496"/>
              <a:gd name="connsiteX3261" fmla="*/ 3952340 w 9922465"/>
              <a:gd name="connsiteY3261" fmla="*/ 55191 h 1934496"/>
              <a:gd name="connsiteX3262" fmla="*/ 3897148 w 9922465"/>
              <a:gd name="connsiteY3262" fmla="*/ 110382 h 1934496"/>
              <a:gd name="connsiteX3263" fmla="*/ 3841956 w 9922465"/>
              <a:gd name="connsiteY3263" fmla="*/ 55191 h 1934496"/>
              <a:gd name="connsiteX3264" fmla="*/ 3897148 w 9922465"/>
              <a:gd name="connsiteY3264" fmla="*/ 0 h 1934496"/>
              <a:gd name="connsiteX3265" fmla="*/ 3763514 w 9922465"/>
              <a:gd name="connsiteY3265" fmla="*/ 0 h 1934496"/>
              <a:gd name="connsiteX3266" fmla="*/ 3818706 w 9922465"/>
              <a:gd name="connsiteY3266" fmla="*/ 55191 h 1934496"/>
              <a:gd name="connsiteX3267" fmla="*/ 3763514 w 9922465"/>
              <a:gd name="connsiteY3267" fmla="*/ 110382 h 1934496"/>
              <a:gd name="connsiteX3268" fmla="*/ 3708322 w 9922465"/>
              <a:gd name="connsiteY3268" fmla="*/ 55191 h 1934496"/>
              <a:gd name="connsiteX3269" fmla="*/ 3763514 w 9922465"/>
              <a:gd name="connsiteY3269" fmla="*/ 0 h 1934496"/>
              <a:gd name="connsiteX3270" fmla="*/ 3633221 w 9922465"/>
              <a:gd name="connsiteY3270" fmla="*/ 0 h 1934496"/>
              <a:gd name="connsiteX3271" fmla="*/ 3688413 w 9922465"/>
              <a:gd name="connsiteY3271" fmla="*/ 55191 h 1934496"/>
              <a:gd name="connsiteX3272" fmla="*/ 3633221 w 9922465"/>
              <a:gd name="connsiteY3272" fmla="*/ 110382 h 1934496"/>
              <a:gd name="connsiteX3273" fmla="*/ 3578029 w 9922465"/>
              <a:gd name="connsiteY3273" fmla="*/ 55191 h 1934496"/>
              <a:gd name="connsiteX3274" fmla="*/ 3633221 w 9922465"/>
              <a:gd name="connsiteY3274" fmla="*/ 0 h 1934496"/>
              <a:gd name="connsiteX3275" fmla="*/ 3499589 w 9922465"/>
              <a:gd name="connsiteY3275" fmla="*/ 0 h 1934496"/>
              <a:gd name="connsiteX3276" fmla="*/ 3554781 w 9922465"/>
              <a:gd name="connsiteY3276" fmla="*/ 55191 h 1934496"/>
              <a:gd name="connsiteX3277" fmla="*/ 3499589 w 9922465"/>
              <a:gd name="connsiteY3277" fmla="*/ 110382 h 1934496"/>
              <a:gd name="connsiteX3278" fmla="*/ 3444397 w 9922465"/>
              <a:gd name="connsiteY3278" fmla="*/ 55191 h 1934496"/>
              <a:gd name="connsiteX3279" fmla="*/ 3499589 w 9922465"/>
              <a:gd name="connsiteY3279" fmla="*/ 0 h 1934496"/>
              <a:gd name="connsiteX3280" fmla="*/ 3369293 w 9922465"/>
              <a:gd name="connsiteY3280" fmla="*/ 0 h 1934496"/>
              <a:gd name="connsiteX3281" fmla="*/ 3424485 w 9922465"/>
              <a:gd name="connsiteY3281" fmla="*/ 55191 h 1934496"/>
              <a:gd name="connsiteX3282" fmla="*/ 3369293 w 9922465"/>
              <a:gd name="connsiteY3282" fmla="*/ 110382 h 1934496"/>
              <a:gd name="connsiteX3283" fmla="*/ 3314101 w 9922465"/>
              <a:gd name="connsiteY3283" fmla="*/ 55191 h 1934496"/>
              <a:gd name="connsiteX3284" fmla="*/ 3369293 w 9922465"/>
              <a:gd name="connsiteY3284" fmla="*/ 0 h 1934496"/>
              <a:gd name="connsiteX3285" fmla="*/ 3235657 w 9922465"/>
              <a:gd name="connsiteY3285" fmla="*/ 0 h 1934496"/>
              <a:gd name="connsiteX3286" fmla="*/ 3290849 w 9922465"/>
              <a:gd name="connsiteY3286" fmla="*/ 55191 h 1934496"/>
              <a:gd name="connsiteX3287" fmla="*/ 3235657 w 9922465"/>
              <a:gd name="connsiteY3287" fmla="*/ 110382 h 1934496"/>
              <a:gd name="connsiteX3288" fmla="*/ 3180465 w 9922465"/>
              <a:gd name="connsiteY3288" fmla="*/ 55191 h 1934496"/>
              <a:gd name="connsiteX3289" fmla="*/ 3235657 w 9922465"/>
              <a:gd name="connsiteY3289" fmla="*/ 0 h 1934496"/>
              <a:gd name="connsiteX3290" fmla="*/ 2834862 w 9922465"/>
              <a:gd name="connsiteY3290" fmla="*/ 0 h 1934496"/>
              <a:gd name="connsiteX3291" fmla="*/ 2890052 w 9922465"/>
              <a:gd name="connsiteY3291" fmla="*/ 55191 h 1934496"/>
              <a:gd name="connsiteX3292" fmla="*/ 2834862 w 9922465"/>
              <a:gd name="connsiteY3292" fmla="*/ 110382 h 1934496"/>
              <a:gd name="connsiteX3293" fmla="*/ 2779671 w 9922465"/>
              <a:gd name="connsiteY3293" fmla="*/ 55191 h 1934496"/>
              <a:gd name="connsiteX3294" fmla="*/ 2834862 w 9922465"/>
              <a:gd name="connsiteY3294" fmla="*/ 0 h 1934496"/>
              <a:gd name="connsiteX3295" fmla="*/ 2707903 w 9922465"/>
              <a:gd name="connsiteY3295" fmla="*/ 0 h 1934496"/>
              <a:gd name="connsiteX3296" fmla="*/ 2763100 w 9922465"/>
              <a:gd name="connsiteY3296" fmla="*/ 55191 h 1934496"/>
              <a:gd name="connsiteX3297" fmla="*/ 2707903 w 9922465"/>
              <a:gd name="connsiteY3297" fmla="*/ 110382 h 1934496"/>
              <a:gd name="connsiteX3298" fmla="*/ 2652715 w 9922465"/>
              <a:gd name="connsiteY3298" fmla="*/ 55191 h 1934496"/>
              <a:gd name="connsiteX3299" fmla="*/ 2707903 w 9922465"/>
              <a:gd name="connsiteY3299" fmla="*/ 0 h 1934496"/>
              <a:gd name="connsiteX3300" fmla="*/ 2570933 w 9922465"/>
              <a:gd name="connsiteY3300" fmla="*/ 0 h 1934496"/>
              <a:gd name="connsiteX3301" fmla="*/ 2626123 w 9922465"/>
              <a:gd name="connsiteY3301" fmla="*/ 55191 h 1934496"/>
              <a:gd name="connsiteX3302" fmla="*/ 2570933 w 9922465"/>
              <a:gd name="connsiteY3302" fmla="*/ 110382 h 1934496"/>
              <a:gd name="connsiteX3303" fmla="*/ 2515738 w 9922465"/>
              <a:gd name="connsiteY3303" fmla="*/ 55191 h 1934496"/>
              <a:gd name="connsiteX3304" fmla="*/ 2570933 w 9922465"/>
              <a:gd name="connsiteY3304" fmla="*/ 0 h 1934496"/>
              <a:gd name="connsiteX3305" fmla="*/ 2437297 w 9922465"/>
              <a:gd name="connsiteY3305" fmla="*/ 0 h 1934496"/>
              <a:gd name="connsiteX3306" fmla="*/ 2492487 w 9922465"/>
              <a:gd name="connsiteY3306" fmla="*/ 55191 h 1934496"/>
              <a:gd name="connsiteX3307" fmla="*/ 2437297 w 9922465"/>
              <a:gd name="connsiteY3307" fmla="*/ 110382 h 1934496"/>
              <a:gd name="connsiteX3308" fmla="*/ 2382108 w 9922465"/>
              <a:gd name="connsiteY3308" fmla="*/ 55191 h 1934496"/>
              <a:gd name="connsiteX3309" fmla="*/ 2437297 w 9922465"/>
              <a:gd name="connsiteY3309" fmla="*/ 0 h 1934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Lst>
            <a:rect l="l" t="t" r="r" b="b"/>
            <a:pathLst>
              <a:path w="9922465" h="1934496">
                <a:moveTo>
                  <a:pt x="8407318" y="1824114"/>
                </a:moveTo>
                <a:cubicBezTo>
                  <a:pt x="8437800" y="1824114"/>
                  <a:pt x="8462510" y="1848824"/>
                  <a:pt x="8462510" y="1879305"/>
                </a:cubicBezTo>
                <a:cubicBezTo>
                  <a:pt x="8462510" y="1909786"/>
                  <a:pt x="8437800" y="1934496"/>
                  <a:pt x="8407318" y="1934496"/>
                </a:cubicBezTo>
                <a:cubicBezTo>
                  <a:pt x="8376836" y="1934496"/>
                  <a:pt x="8352126" y="1909786"/>
                  <a:pt x="8352126" y="1879305"/>
                </a:cubicBezTo>
                <a:cubicBezTo>
                  <a:pt x="8352126" y="1848824"/>
                  <a:pt x="8376836" y="1824114"/>
                  <a:pt x="8407318" y="1824114"/>
                </a:cubicBezTo>
                <a:close/>
                <a:moveTo>
                  <a:pt x="8273682" y="1824114"/>
                </a:moveTo>
                <a:cubicBezTo>
                  <a:pt x="8304164" y="1824114"/>
                  <a:pt x="8328874" y="1848824"/>
                  <a:pt x="8328874" y="1879305"/>
                </a:cubicBezTo>
                <a:cubicBezTo>
                  <a:pt x="8328874" y="1909786"/>
                  <a:pt x="8304164" y="1934496"/>
                  <a:pt x="8273682" y="1934496"/>
                </a:cubicBezTo>
                <a:cubicBezTo>
                  <a:pt x="8243200" y="1934496"/>
                  <a:pt x="8218490" y="1909786"/>
                  <a:pt x="8218490" y="1879305"/>
                </a:cubicBezTo>
                <a:cubicBezTo>
                  <a:pt x="8218490" y="1848824"/>
                  <a:pt x="8243200" y="1824114"/>
                  <a:pt x="8273682" y="1824114"/>
                </a:cubicBezTo>
                <a:close/>
                <a:moveTo>
                  <a:pt x="8143386" y="1824114"/>
                </a:moveTo>
                <a:cubicBezTo>
                  <a:pt x="8173868" y="1824114"/>
                  <a:pt x="8198578" y="1848824"/>
                  <a:pt x="8198578" y="1879305"/>
                </a:cubicBezTo>
                <a:cubicBezTo>
                  <a:pt x="8198578" y="1909786"/>
                  <a:pt x="8173868" y="1934496"/>
                  <a:pt x="8143386" y="1934496"/>
                </a:cubicBezTo>
                <a:cubicBezTo>
                  <a:pt x="8112904" y="1934496"/>
                  <a:pt x="8088194" y="1909786"/>
                  <a:pt x="8088194" y="1879305"/>
                </a:cubicBezTo>
                <a:cubicBezTo>
                  <a:pt x="8088194" y="1848824"/>
                  <a:pt x="8112904" y="1824114"/>
                  <a:pt x="8143386" y="1824114"/>
                </a:cubicBezTo>
                <a:close/>
                <a:moveTo>
                  <a:pt x="8009752" y="1824114"/>
                </a:moveTo>
                <a:cubicBezTo>
                  <a:pt x="8040234" y="1824114"/>
                  <a:pt x="8064944" y="1848824"/>
                  <a:pt x="8064944" y="1879305"/>
                </a:cubicBezTo>
                <a:cubicBezTo>
                  <a:pt x="8064944" y="1909786"/>
                  <a:pt x="8040234" y="1934496"/>
                  <a:pt x="8009752" y="1934496"/>
                </a:cubicBezTo>
                <a:cubicBezTo>
                  <a:pt x="7979270" y="1934496"/>
                  <a:pt x="7954560" y="1909786"/>
                  <a:pt x="7954560" y="1879305"/>
                </a:cubicBezTo>
                <a:cubicBezTo>
                  <a:pt x="7954560" y="1848824"/>
                  <a:pt x="7979270" y="1824114"/>
                  <a:pt x="8009752" y="1824114"/>
                </a:cubicBezTo>
                <a:close/>
                <a:moveTo>
                  <a:pt x="7876117" y="1824114"/>
                </a:moveTo>
                <a:cubicBezTo>
                  <a:pt x="7906599" y="1824114"/>
                  <a:pt x="7931309" y="1848824"/>
                  <a:pt x="7931309" y="1879305"/>
                </a:cubicBezTo>
                <a:cubicBezTo>
                  <a:pt x="7931309" y="1909786"/>
                  <a:pt x="7906599" y="1934496"/>
                  <a:pt x="7876117" y="1934496"/>
                </a:cubicBezTo>
                <a:cubicBezTo>
                  <a:pt x="7845635" y="1934496"/>
                  <a:pt x="7820925" y="1909786"/>
                  <a:pt x="7820925" y="1879305"/>
                </a:cubicBezTo>
                <a:cubicBezTo>
                  <a:pt x="7820925" y="1848824"/>
                  <a:pt x="7845635" y="1824114"/>
                  <a:pt x="7876117" y="1824114"/>
                </a:cubicBezTo>
                <a:close/>
                <a:moveTo>
                  <a:pt x="7745824" y="1824114"/>
                </a:moveTo>
                <a:cubicBezTo>
                  <a:pt x="7776306" y="1824114"/>
                  <a:pt x="7801016" y="1848824"/>
                  <a:pt x="7801016" y="1879305"/>
                </a:cubicBezTo>
                <a:cubicBezTo>
                  <a:pt x="7801016" y="1909786"/>
                  <a:pt x="7776306" y="1934496"/>
                  <a:pt x="7745824" y="1934496"/>
                </a:cubicBezTo>
                <a:cubicBezTo>
                  <a:pt x="7715342" y="1934496"/>
                  <a:pt x="7690632" y="1909786"/>
                  <a:pt x="7690632" y="1879305"/>
                </a:cubicBezTo>
                <a:cubicBezTo>
                  <a:pt x="7690632" y="1848824"/>
                  <a:pt x="7715342" y="1824114"/>
                  <a:pt x="7745824" y="1824114"/>
                </a:cubicBezTo>
                <a:close/>
                <a:moveTo>
                  <a:pt x="7608849" y="1824114"/>
                </a:moveTo>
                <a:cubicBezTo>
                  <a:pt x="7639331" y="1824114"/>
                  <a:pt x="7664041" y="1848824"/>
                  <a:pt x="7664041" y="1879305"/>
                </a:cubicBezTo>
                <a:cubicBezTo>
                  <a:pt x="7664041" y="1909786"/>
                  <a:pt x="7639331" y="1934496"/>
                  <a:pt x="7608849" y="1934496"/>
                </a:cubicBezTo>
                <a:cubicBezTo>
                  <a:pt x="7578367" y="1934496"/>
                  <a:pt x="7553657" y="1909786"/>
                  <a:pt x="7553657" y="1879305"/>
                </a:cubicBezTo>
                <a:cubicBezTo>
                  <a:pt x="7553657" y="1848824"/>
                  <a:pt x="7578367" y="1824114"/>
                  <a:pt x="7608849" y="1824114"/>
                </a:cubicBezTo>
                <a:close/>
                <a:moveTo>
                  <a:pt x="7481895" y="1824114"/>
                </a:moveTo>
                <a:cubicBezTo>
                  <a:pt x="7512377" y="1824114"/>
                  <a:pt x="7537087" y="1848824"/>
                  <a:pt x="7537087" y="1879305"/>
                </a:cubicBezTo>
                <a:cubicBezTo>
                  <a:pt x="7537087" y="1909786"/>
                  <a:pt x="7512377" y="1934496"/>
                  <a:pt x="7481895" y="1934496"/>
                </a:cubicBezTo>
                <a:cubicBezTo>
                  <a:pt x="7451413" y="1934496"/>
                  <a:pt x="7426703" y="1909786"/>
                  <a:pt x="7426703" y="1879305"/>
                </a:cubicBezTo>
                <a:cubicBezTo>
                  <a:pt x="7426703" y="1848824"/>
                  <a:pt x="7451413" y="1824114"/>
                  <a:pt x="7481895" y="1824114"/>
                </a:cubicBezTo>
                <a:close/>
                <a:moveTo>
                  <a:pt x="7341579" y="1824114"/>
                </a:moveTo>
                <a:cubicBezTo>
                  <a:pt x="7372061" y="1824114"/>
                  <a:pt x="7396771" y="1848824"/>
                  <a:pt x="7396771" y="1879305"/>
                </a:cubicBezTo>
                <a:cubicBezTo>
                  <a:pt x="7396771" y="1909786"/>
                  <a:pt x="7372061" y="1934496"/>
                  <a:pt x="7341579" y="1934496"/>
                </a:cubicBezTo>
                <a:cubicBezTo>
                  <a:pt x="7311097" y="1934496"/>
                  <a:pt x="7286387" y="1909786"/>
                  <a:pt x="7286387" y="1879305"/>
                </a:cubicBezTo>
                <a:cubicBezTo>
                  <a:pt x="7286387" y="1848824"/>
                  <a:pt x="7311097" y="1824114"/>
                  <a:pt x="7341579" y="1824114"/>
                </a:cubicBezTo>
                <a:close/>
                <a:moveTo>
                  <a:pt x="7211286" y="1824114"/>
                </a:moveTo>
                <a:cubicBezTo>
                  <a:pt x="7241768" y="1824114"/>
                  <a:pt x="7266478" y="1848824"/>
                  <a:pt x="7266478" y="1879305"/>
                </a:cubicBezTo>
                <a:cubicBezTo>
                  <a:pt x="7266478" y="1909786"/>
                  <a:pt x="7241768" y="1934496"/>
                  <a:pt x="7211286" y="1934496"/>
                </a:cubicBezTo>
                <a:cubicBezTo>
                  <a:pt x="7180804" y="1934496"/>
                  <a:pt x="7156094" y="1909786"/>
                  <a:pt x="7156094" y="1879305"/>
                </a:cubicBezTo>
                <a:cubicBezTo>
                  <a:pt x="7156094" y="1848824"/>
                  <a:pt x="7180804" y="1824114"/>
                  <a:pt x="7211286" y="1824114"/>
                </a:cubicBezTo>
                <a:close/>
                <a:moveTo>
                  <a:pt x="7080993" y="1824114"/>
                </a:moveTo>
                <a:cubicBezTo>
                  <a:pt x="7111475" y="1824114"/>
                  <a:pt x="7136185" y="1848824"/>
                  <a:pt x="7136185" y="1879305"/>
                </a:cubicBezTo>
                <a:cubicBezTo>
                  <a:pt x="7136185" y="1909786"/>
                  <a:pt x="7111475" y="1934496"/>
                  <a:pt x="7080993" y="1934496"/>
                </a:cubicBezTo>
                <a:cubicBezTo>
                  <a:pt x="7050511" y="1934496"/>
                  <a:pt x="7025801" y="1909786"/>
                  <a:pt x="7025801" y="1879305"/>
                </a:cubicBezTo>
                <a:cubicBezTo>
                  <a:pt x="7025801" y="1848824"/>
                  <a:pt x="7050511" y="1824114"/>
                  <a:pt x="7080993" y="1824114"/>
                </a:cubicBezTo>
                <a:close/>
                <a:moveTo>
                  <a:pt x="6947357" y="1824114"/>
                </a:moveTo>
                <a:cubicBezTo>
                  <a:pt x="6977839" y="1824114"/>
                  <a:pt x="7002549" y="1848824"/>
                  <a:pt x="7002549" y="1879305"/>
                </a:cubicBezTo>
                <a:cubicBezTo>
                  <a:pt x="7002549" y="1909786"/>
                  <a:pt x="6977839" y="1934496"/>
                  <a:pt x="6947357" y="1934496"/>
                </a:cubicBezTo>
                <a:cubicBezTo>
                  <a:pt x="6916875" y="1934496"/>
                  <a:pt x="6892165" y="1909786"/>
                  <a:pt x="6892165" y="1879305"/>
                </a:cubicBezTo>
                <a:cubicBezTo>
                  <a:pt x="6892165" y="1848824"/>
                  <a:pt x="6916875" y="1824114"/>
                  <a:pt x="6947357" y="1824114"/>
                </a:cubicBezTo>
                <a:close/>
                <a:moveTo>
                  <a:pt x="6817063" y="1824114"/>
                </a:moveTo>
                <a:cubicBezTo>
                  <a:pt x="6847545" y="1824114"/>
                  <a:pt x="6872255" y="1848824"/>
                  <a:pt x="6872255" y="1879305"/>
                </a:cubicBezTo>
                <a:cubicBezTo>
                  <a:pt x="6872255" y="1909786"/>
                  <a:pt x="6847545" y="1934496"/>
                  <a:pt x="6817063" y="1934496"/>
                </a:cubicBezTo>
                <a:cubicBezTo>
                  <a:pt x="6786581" y="1934496"/>
                  <a:pt x="6761871" y="1909786"/>
                  <a:pt x="6761871" y="1879305"/>
                </a:cubicBezTo>
                <a:cubicBezTo>
                  <a:pt x="6761871" y="1848824"/>
                  <a:pt x="6786581" y="1824114"/>
                  <a:pt x="6817063" y="1824114"/>
                </a:cubicBezTo>
                <a:close/>
                <a:moveTo>
                  <a:pt x="6683431" y="1824114"/>
                </a:moveTo>
                <a:cubicBezTo>
                  <a:pt x="6713913" y="1824114"/>
                  <a:pt x="6738623" y="1848824"/>
                  <a:pt x="6738623" y="1879305"/>
                </a:cubicBezTo>
                <a:cubicBezTo>
                  <a:pt x="6738623" y="1909786"/>
                  <a:pt x="6713913" y="1934496"/>
                  <a:pt x="6683431" y="1934496"/>
                </a:cubicBezTo>
                <a:cubicBezTo>
                  <a:pt x="6652949" y="1934496"/>
                  <a:pt x="6628239" y="1909786"/>
                  <a:pt x="6628239" y="1879305"/>
                </a:cubicBezTo>
                <a:cubicBezTo>
                  <a:pt x="6628239" y="1848824"/>
                  <a:pt x="6652949" y="1824114"/>
                  <a:pt x="6683431" y="1824114"/>
                </a:cubicBezTo>
                <a:close/>
                <a:moveTo>
                  <a:pt x="6553137" y="1824114"/>
                </a:moveTo>
                <a:cubicBezTo>
                  <a:pt x="6583619" y="1824114"/>
                  <a:pt x="6608329" y="1848824"/>
                  <a:pt x="6608329" y="1879305"/>
                </a:cubicBezTo>
                <a:cubicBezTo>
                  <a:pt x="6608329" y="1909786"/>
                  <a:pt x="6583619" y="1934496"/>
                  <a:pt x="6553137" y="1934496"/>
                </a:cubicBezTo>
                <a:cubicBezTo>
                  <a:pt x="6522655" y="1934496"/>
                  <a:pt x="6497945" y="1909786"/>
                  <a:pt x="6497945" y="1879305"/>
                </a:cubicBezTo>
                <a:cubicBezTo>
                  <a:pt x="6497945" y="1848824"/>
                  <a:pt x="6522655" y="1824114"/>
                  <a:pt x="6553137" y="1824114"/>
                </a:cubicBezTo>
                <a:close/>
                <a:moveTo>
                  <a:pt x="6289207" y="1824114"/>
                </a:moveTo>
                <a:cubicBezTo>
                  <a:pt x="6319689" y="1824114"/>
                  <a:pt x="6344399" y="1848824"/>
                  <a:pt x="6344399" y="1879305"/>
                </a:cubicBezTo>
                <a:cubicBezTo>
                  <a:pt x="6344399" y="1909786"/>
                  <a:pt x="6319689" y="1934496"/>
                  <a:pt x="6289207" y="1934496"/>
                </a:cubicBezTo>
                <a:cubicBezTo>
                  <a:pt x="6258725" y="1934496"/>
                  <a:pt x="6234015" y="1909786"/>
                  <a:pt x="6234015" y="1879305"/>
                </a:cubicBezTo>
                <a:cubicBezTo>
                  <a:pt x="6234015" y="1848824"/>
                  <a:pt x="6258725" y="1824114"/>
                  <a:pt x="6289207" y="1824114"/>
                </a:cubicBezTo>
                <a:close/>
                <a:moveTo>
                  <a:pt x="6155572" y="1824114"/>
                </a:moveTo>
                <a:cubicBezTo>
                  <a:pt x="6186054" y="1824114"/>
                  <a:pt x="6210764" y="1848824"/>
                  <a:pt x="6210764" y="1879305"/>
                </a:cubicBezTo>
                <a:cubicBezTo>
                  <a:pt x="6210764" y="1909786"/>
                  <a:pt x="6186054" y="1934496"/>
                  <a:pt x="6155572" y="1934496"/>
                </a:cubicBezTo>
                <a:cubicBezTo>
                  <a:pt x="6125090" y="1934496"/>
                  <a:pt x="6100380" y="1909786"/>
                  <a:pt x="6100380" y="1879305"/>
                </a:cubicBezTo>
                <a:cubicBezTo>
                  <a:pt x="6100380" y="1848824"/>
                  <a:pt x="6125090" y="1824114"/>
                  <a:pt x="6155572" y="1824114"/>
                </a:cubicBezTo>
                <a:close/>
                <a:moveTo>
                  <a:pt x="6021938" y="1824114"/>
                </a:moveTo>
                <a:cubicBezTo>
                  <a:pt x="6052420" y="1824114"/>
                  <a:pt x="6077130" y="1848824"/>
                  <a:pt x="6077130" y="1879305"/>
                </a:cubicBezTo>
                <a:cubicBezTo>
                  <a:pt x="6077130" y="1909786"/>
                  <a:pt x="6052420" y="1934496"/>
                  <a:pt x="6021938" y="1934496"/>
                </a:cubicBezTo>
                <a:cubicBezTo>
                  <a:pt x="5991456" y="1934496"/>
                  <a:pt x="5966746" y="1909786"/>
                  <a:pt x="5966746" y="1879305"/>
                </a:cubicBezTo>
                <a:cubicBezTo>
                  <a:pt x="5966746" y="1848824"/>
                  <a:pt x="5991456" y="1824114"/>
                  <a:pt x="6021938" y="1824114"/>
                </a:cubicBezTo>
                <a:close/>
                <a:moveTo>
                  <a:pt x="5884964" y="1824114"/>
                </a:moveTo>
                <a:cubicBezTo>
                  <a:pt x="5915446" y="1824114"/>
                  <a:pt x="5940156" y="1848824"/>
                  <a:pt x="5940156" y="1879305"/>
                </a:cubicBezTo>
                <a:cubicBezTo>
                  <a:pt x="5940156" y="1909786"/>
                  <a:pt x="5915446" y="1934496"/>
                  <a:pt x="5884964" y="1934496"/>
                </a:cubicBezTo>
                <a:cubicBezTo>
                  <a:pt x="5854482" y="1934496"/>
                  <a:pt x="5829772" y="1909786"/>
                  <a:pt x="5829772" y="1879305"/>
                </a:cubicBezTo>
                <a:cubicBezTo>
                  <a:pt x="5829772" y="1848824"/>
                  <a:pt x="5854482" y="1824114"/>
                  <a:pt x="5884964" y="1824114"/>
                </a:cubicBezTo>
                <a:close/>
                <a:moveTo>
                  <a:pt x="5754670" y="1824114"/>
                </a:moveTo>
                <a:cubicBezTo>
                  <a:pt x="5785152" y="1824114"/>
                  <a:pt x="5809862" y="1848824"/>
                  <a:pt x="5809862" y="1879305"/>
                </a:cubicBezTo>
                <a:cubicBezTo>
                  <a:pt x="5809862" y="1909786"/>
                  <a:pt x="5785152" y="1934496"/>
                  <a:pt x="5754670" y="1934496"/>
                </a:cubicBezTo>
                <a:cubicBezTo>
                  <a:pt x="5724188" y="1934496"/>
                  <a:pt x="5699478" y="1909786"/>
                  <a:pt x="5699478" y="1879305"/>
                </a:cubicBezTo>
                <a:cubicBezTo>
                  <a:pt x="5699478" y="1848824"/>
                  <a:pt x="5724188" y="1824114"/>
                  <a:pt x="5754670" y="1824114"/>
                </a:cubicBezTo>
                <a:close/>
                <a:moveTo>
                  <a:pt x="5487399" y="1824114"/>
                </a:moveTo>
                <a:cubicBezTo>
                  <a:pt x="5517881" y="1824114"/>
                  <a:pt x="5542591" y="1848824"/>
                  <a:pt x="5542591" y="1879305"/>
                </a:cubicBezTo>
                <a:cubicBezTo>
                  <a:pt x="5542591" y="1909786"/>
                  <a:pt x="5517881" y="1934496"/>
                  <a:pt x="5487399" y="1934496"/>
                </a:cubicBezTo>
                <a:cubicBezTo>
                  <a:pt x="5456917" y="1934496"/>
                  <a:pt x="5432207" y="1909786"/>
                  <a:pt x="5432207" y="1879305"/>
                </a:cubicBezTo>
                <a:cubicBezTo>
                  <a:pt x="5432207" y="1848824"/>
                  <a:pt x="5456917" y="1824114"/>
                  <a:pt x="5487399" y="1824114"/>
                </a:cubicBezTo>
                <a:close/>
                <a:moveTo>
                  <a:pt x="5357105" y="1824114"/>
                </a:moveTo>
                <a:cubicBezTo>
                  <a:pt x="5387587" y="1824114"/>
                  <a:pt x="5412297" y="1848824"/>
                  <a:pt x="5412297" y="1879305"/>
                </a:cubicBezTo>
                <a:cubicBezTo>
                  <a:pt x="5412297" y="1909786"/>
                  <a:pt x="5387587" y="1934496"/>
                  <a:pt x="5357105" y="1934496"/>
                </a:cubicBezTo>
                <a:cubicBezTo>
                  <a:pt x="5326623" y="1934496"/>
                  <a:pt x="5301913" y="1909786"/>
                  <a:pt x="5301913" y="1879305"/>
                </a:cubicBezTo>
                <a:cubicBezTo>
                  <a:pt x="5301913" y="1848824"/>
                  <a:pt x="5326623" y="1824114"/>
                  <a:pt x="5357105" y="1824114"/>
                </a:cubicBezTo>
                <a:close/>
                <a:moveTo>
                  <a:pt x="5223473" y="1824114"/>
                </a:moveTo>
                <a:cubicBezTo>
                  <a:pt x="5253955" y="1824114"/>
                  <a:pt x="5278665" y="1848824"/>
                  <a:pt x="5278665" y="1879305"/>
                </a:cubicBezTo>
                <a:cubicBezTo>
                  <a:pt x="5278665" y="1909786"/>
                  <a:pt x="5253955" y="1934496"/>
                  <a:pt x="5223473" y="1934496"/>
                </a:cubicBezTo>
                <a:cubicBezTo>
                  <a:pt x="5192991" y="1934496"/>
                  <a:pt x="5168281" y="1909786"/>
                  <a:pt x="5168281" y="1879305"/>
                </a:cubicBezTo>
                <a:cubicBezTo>
                  <a:pt x="5168281" y="1848824"/>
                  <a:pt x="5192991" y="1824114"/>
                  <a:pt x="5223473" y="1824114"/>
                </a:cubicBezTo>
                <a:close/>
                <a:moveTo>
                  <a:pt x="5093178" y="1824114"/>
                </a:moveTo>
                <a:cubicBezTo>
                  <a:pt x="5123660" y="1824114"/>
                  <a:pt x="5148370" y="1848824"/>
                  <a:pt x="5148370" y="1879305"/>
                </a:cubicBezTo>
                <a:cubicBezTo>
                  <a:pt x="5148370" y="1909786"/>
                  <a:pt x="5123660" y="1934496"/>
                  <a:pt x="5093178" y="1934496"/>
                </a:cubicBezTo>
                <a:cubicBezTo>
                  <a:pt x="5062696" y="1934496"/>
                  <a:pt x="5037986" y="1909786"/>
                  <a:pt x="5037986" y="1879305"/>
                </a:cubicBezTo>
                <a:cubicBezTo>
                  <a:pt x="5037986" y="1848824"/>
                  <a:pt x="5062696" y="1824114"/>
                  <a:pt x="5093178" y="1824114"/>
                </a:cubicBezTo>
                <a:close/>
                <a:moveTo>
                  <a:pt x="4959543" y="1824114"/>
                </a:moveTo>
                <a:cubicBezTo>
                  <a:pt x="4990025" y="1824114"/>
                  <a:pt x="5014735" y="1848824"/>
                  <a:pt x="5014735" y="1879305"/>
                </a:cubicBezTo>
                <a:cubicBezTo>
                  <a:pt x="5014735" y="1909786"/>
                  <a:pt x="4990025" y="1934496"/>
                  <a:pt x="4959543" y="1934496"/>
                </a:cubicBezTo>
                <a:cubicBezTo>
                  <a:pt x="4929061" y="1934496"/>
                  <a:pt x="4904351" y="1909786"/>
                  <a:pt x="4904351" y="1879305"/>
                </a:cubicBezTo>
                <a:cubicBezTo>
                  <a:pt x="4904351" y="1848824"/>
                  <a:pt x="4929061" y="1824114"/>
                  <a:pt x="4959543" y="1824114"/>
                </a:cubicBezTo>
                <a:close/>
                <a:moveTo>
                  <a:pt x="4829250" y="1824114"/>
                </a:moveTo>
                <a:cubicBezTo>
                  <a:pt x="4859732" y="1824114"/>
                  <a:pt x="4884442" y="1848824"/>
                  <a:pt x="4884442" y="1879305"/>
                </a:cubicBezTo>
                <a:cubicBezTo>
                  <a:pt x="4884442" y="1909786"/>
                  <a:pt x="4859732" y="1934496"/>
                  <a:pt x="4829250" y="1934496"/>
                </a:cubicBezTo>
                <a:cubicBezTo>
                  <a:pt x="4798768" y="1934496"/>
                  <a:pt x="4774058" y="1909786"/>
                  <a:pt x="4774058" y="1879305"/>
                </a:cubicBezTo>
                <a:cubicBezTo>
                  <a:pt x="4774058" y="1848824"/>
                  <a:pt x="4798768" y="1824114"/>
                  <a:pt x="4829250" y="1824114"/>
                </a:cubicBezTo>
                <a:close/>
                <a:moveTo>
                  <a:pt x="4695613" y="1824114"/>
                </a:moveTo>
                <a:cubicBezTo>
                  <a:pt x="4726095" y="1824114"/>
                  <a:pt x="4750805" y="1848824"/>
                  <a:pt x="4750805" y="1879305"/>
                </a:cubicBezTo>
                <a:cubicBezTo>
                  <a:pt x="4750805" y="1909786"/>
                  <a:pt x="4726095" y="1934496"/>
                  <a:pt x="4695613" y="1934496"/>
                </a:cubicBezTo>
                <a:cubicBezTo>
                  <a:pt x="4665131" y="1934496"/>
                  <a:pt x="4640421" y="1909786"/>
                  <a:pt x="4640421" y="1879305"/>
                </a:cubicBezTo>
                <a:cubicBezTo>
                  <a:pt x="4640421" y="1848824"/>
                  <a:pt x="4665131" y="1824114"/>
                  <a:pt x="4695613" y="1824114"/>
                </a:cubicBezTo>
                <a:close/>
                <a:moveTo>
                  <a:pt x="2834762" y="1824114"/>
                </a:moveTo>
                <a:cubicBezTo>
                  <a:pt x="2865244" y="1824114"/>
                  <a:pt x="2889954" y="1848824"/>
                  <a:pt x="2889954" y="1879305"/>
                </a:cubicBezTo>
                <a:cubicBezTo>
                  <a:pt x="2889954" y="1909786"/>
                  <a:pt x="2865244" y="1934496"/>
                  <a:pt x="2834762" y="1934496"/>
                </a:cubicBezTo>
                <a:cubicBezTo>
                  <a:pt x="2804280" y="1934496"/>
                  <a:pt x="2779570" y="1909786"/>
                  <a:pt x="2779570" y="1879305"/>
                </a:cubicBezTo>
                <a:cubicBezTo>
                  <a:pt x="2779570" y="1848824"/>
                  <a:pt x="2804280" y="1824114"/>
                  <a:pt x="2834762" y="1824114"/>
                </a:cubicBezTo>
                <a:close/>
                <a:moveTo>
                  <a:pt x="2707807" y="1824114"/>
                </a:moveTo>
                <a:cubicBezTo>
                  <a:pt x="2738289" y="1824114"/>
                  <a:pt x="2762999" y="1848824"/>
                  <a:pt x="2762999" y="1879305"/>
                </a:cubicBezTo>
                <a:cubicBezTo>
                  <a:pt x="2762999" y="1909786"/>
                  <a:pt x="2738289" y="1934496"/>
                  <a:pt x="2707807" y="1934496"/>
                </a:cubicBezTo>
                <a:cubicBezTo>
                  <a:pt x="2677325" y="1934496"/>
                  <a:pt x="2652615" y="1909786"/>
                  <a:pt x="2652615" y="1879305"/>
                </a:cubicBezTo>
                <a:cubicBezTo>
                  <a:pt x="2652615" y="1848824"/>
                  <a:pt x="2677325" y="1824114"/>
                  <a:pt x="2707807" y="1824114"/>
                </a:cubicBezTo>
                <a:close/>
                <a:moveTo>
                  <a:pt x="2570834" y="1824114"/>
                </a:moveTo>
                <a:cubicBezTo>
                  <a:pt x="2601315" y="1824114"/>
                  <a:pt x="2626025" y="1848824"/>
                  <a:pt x="2626025" y="1879305"/>
                </a:cubicBezTo>
                <a:cubicBezTo>
                  <a:pt x="2626025" y="1909786"/>
                  <a:pt x="2601315" y="1934496"/>
                  <a:pt x="2570834" y="1934496"/>
                </a:cubicBezTo>
                <a:cubicBezTo>
                  <a:pt x="2540351" y="1934496"/>
                  <a:pt x="2515641" y="1909786"/>
                  <a:pt x="2515641" y="1879305"/>
                </a:cubicBezTo>
                <a:cubicBezTo>
                  <a:pt x="2515641" y="1848824"/>
                  <a:pt x="2540351" y="1824114"/>
                  <a:pt x="2570834" y="1824114"/>
                </a:cubicBezTo>
                <a:close/>
                <a:moveTo>
                  <a:pt x="2437196" y="1824114"/>
                </a:moveTo>
                <a:cubicBezTo>
                  <a:pt x="2467679" y="1824114"/>
                  <a:pt x="2492389" y="1848824"/>
                  <a:pt x="2492389" y="1879305"/>
                </a:cubicBezTo>
                <a:cubicBezTo>
                  <a:pt x="2492389" y="1909786"/>
                  <a:pt x="2467679" y="1934496"/>
                  <a:pt x="2437196" y="1934496"/>
                </a:cubicBezTo>
                <a:cubicBezTo>
                  <a:pt x="2406715" y="1934496"/>
                  <a:pt x="2382005" y="1909786"/>
                  <a:pt x="2382005" y="1879305"/>
                </a:cubicBezTo>
                <a:cubicBezTo>
                  <a:pt x="2382005" y="1848824"/>
                  <a:pt x="2406715" y="1824114"/>
                  <a:pt x="2437196" y="1824114"/>
                </a:cubicBezTo>
                <a:close/>
                <a:moveTo>
                  <a:pt x="2303564" y="1824114"/>
                </a:moveTo>
                <a:cubicBezTo>
                  <a:pt x="2334046" y="1824114"/>
                  <a:pt x="2358756" y="1848824"/>
                  <a:pt x="2358756" y="1879305"/>
                </a:cubicBezTo>
                <a:cubicBezTo>
                  <a:pt x="2358756" y="1909786"/>
                  <a:pt x="2334046" y="1934496"/>
                  <a:pt x="2303564" y="1934496"/>
                </a:cubicBezTo>
                <a:cubicBezTo>
                  <a:pt x="2273082" y="1934496"/>
                  <a:pt x="2248372" y="1909786"/>
                  <a:pt x="2248372" y="1879305"/>
                </a:cubicBezTo>
                <a:cubicBezTo>
                  <a:pt x="2248372" y="1848824"/>
                  <a:pt x="2273082" y="1824114"/>
                  <a:pt x="2303564" y="1824114"/>
                </a:cubicBezTo>
                <a:close/>
                <a:moveTo>
                  <a:pt x="2173271" y="1824114"/>
                </a:moveTo>
                <a:cubicBezTo>
                  <a:pt x="2203753" y="1824114"/>
                  <a:pt x="2228463" y="1848824"/>
                  <a:pt x="2228463" y="1879305"/>
                </a:cubicBezTo>
                <a:cubicBezTo>
                  <a:pt x="2228463" y="1909786"/>
                  <a:pt x="2203753" y="1934496"/>
                  <a:pt x="2173271" y="1934496"/>
                </a:cubicBezTo>
                <a:cubicBezTo>
                  <a:pt x="2142789" y="1934496"/>
                  <a:pt x="2118079" y="1909786"/>
                  <a:pt x="2118079" y="1879305"/>
                </a:cubicBezTo>
                <a:cubicBezTo>
                  <a:pt x="2118079" y="1848824"/>
                  <a:pt x="2142789" y="1824114"/>
                  <a:pt x="2173271" y="1824114"/>
                </a:cubicBezTo>
                <a:close/>
                <a:moveTo>
                  <a:pt x="2039637" y="1824114"/>
                </a:moveTo>
                <a:cubicBezTo>
                  <a:pt x="2070119" y="1824114"/>
                  <a:pt x="2094830" y="1848824"/>
                  <a:pt x="2094830" y="1879305"/>
                </a:cubicBezTo>
                <a:cubicBezTo>
                  <a:pt x="2094830" y="1909786"/>
                  <a:pt x="2070119" y="1934496"/>
                  <a:pt x="2039637" y="1934496"/>
                </a:cubicBezTo>
                <a:cubicBezTo>
                  <a:pt x="2009155" y="1934496"/>
                  <a:pt x="1984445" y="1909786"/>
                  <a:pt x="1984445" y="1879305"/>
                </a:cubicBezTo>
                <a:cubicBezTo>
                  <a:pt x="1984445" y="1848824"/>
                  <a:pt x="2009155" y="1824114"/>
                  <a:pt x="2039637" y="1824114"/>
                </a:cubicBezTo>
                <a:close/>
                <a:moveTo>
                  <a:pt x="1909341" y="1824114"/>
                </a:moveTo>
                <a:cubicBezTo>
                  <a:pt x="1939823" y="1824114"/>
                  <a:pt x="1964533" y="1848824"/>
                  <a:pt x="1964533" y="1879305"/>
                </a:cubicBezTo>
                <a:cubicBezTo>
                  <a:pt x="1964533" y="1909786"/>
                  <a:pt x="1939823" y="1934496"/>
                  <a:pt x="1909341" y="1934496"/>
                </a:cubicBezTo>
                <a:cubicBezTo>
                  <a:pt x="1878859" y="1934496"/>
                  <a:pt x="1854149" y="1909786"/>
                  <a:pt x="1854149" y="1879305"/>
                </a:cubicBezTo>
                <a:cubicBezTo>
                  <a:pt x="1854149" y="1848824"/>
                  <a:pt x="1878859" y="1824114"/>
                  <a:pt x="1909341" y="1824114"/>
                </a:cubicBezTo>
                <a:close/>
                <a:moveTo>
                  <a:pt x="1779049" y="1824114"/>
                </a:moveTo>
                <a:cubicBezTo>
                  <a:pt x="1809531" y="1824114"/>
                  <a:pt x="1834241" y="1848824"/>
                  <a:pt x="1834241" y="1879305"/>
                </a:cubicBezTo>
                <a:cubicBezTo>
                  <a:pt x="1834241" y="1909786"/>
                  <a:pt x="1809531" y="1934496"/>
                  <a:pt x="1779049" y="1934496"/>
                </a:cubicBezTo>
                <a:cubicBezTo>
                  <a:pt x="1748566" y="1934496"/>
                  <a:pt x="1723856" y="1909786"/>
                  <a:pt x="1723856" y="1879305"/>
                </a:cubicBezTo>
                <a:cubicBezTo>
                  <a:pt x="1723856" y="1848824"/>
                  <a:pt x="1748566" y="1824114"/>
                  <a:pt x="1779049" y="1824114"/>
                </a:cubicBezTo>
                <a:close/>
                <a:moveTo>
                  <a:pt x="1645413" y="1824114"/>
                </a:moveTo>
                <a:cubicBezTo>
                  <a:pt x="1675895" y="1824114"/>
                  <a:pt x="1700604" y="1848824"/>
                  <a:pt x="1700604" y="1879305"/>
                </a:cubicBezTo>
                <a:cubicBezTo>
                  <a:pt x="1700604" y="1909786"/>
                  <a:pt x="1675895" y="1934496"/>
                  <a:pt x="1645413" y="1934496"/>
                </a:cubicBezTo>
                <a:cubicBezTo>
                  <a:pt x="1614930" y="1934496"/>
                  <a:pt x="1590220" y="1909786"/>
                  <a:pt x="1590220" y="1879305"/>
                </a:cubicBezTo>
                <a:cubicBezTo>
                  <a:pt x="1590220" y="1848824"/>
                  <a:pt x="1614930" y="1824114"/>
                  <a:pt x="1645413" y="1824114"/>
                </a:cubicBezTo>
                <a:close/>
                <a:moveTo>
                  <a:pt x="1515120" y="1824114"/>
                </a:moveTo>
                <a:cubicBezTo>
                  <a:pt x="1545602" y="1824114"/>
                  <a:pt x="1570311" y="1848824"/>
                  <a:pt x="1570311" y="1879305"/>
                </a:cubicBezTo>
                <a:cubicBezTo>
                  <a:pt x="1570311" y="1909786"/>
                  <a:pt x="1545602" y="1934496"/>
                  <a:pt x="1515120" y="1934496"/>
                </a:cubicBezTo>
                <a:cubicBezTo>
                  <a:pt x="1484638" y="1934496"/>
                  <a:pt x="1459927" y="1909786"/>
                  <a:pt x="1459927" y="1879305"/>
                </a:cubicBezTo>
                <a:cubicBezTo>
                  <a:pt x="1459927" y="1848824"/>
                  <a:pt x="1484638" y="1824114"/>
                  <a:pt x="1515120" y="1824114"/>
                </a:cubicBezTo>
                <a:close/>
                <a:moveTo>
                  <a:pt x="1381486" y="1824114"/>
                </a:moveTo>
                <a:cubicBezTo>
                  <a:pt x="1411968" y="1824114"/>
                  <a:pt x="1436678" y="1848824"/>
                  <a:pt x="1436678" y="1879305"/>
                </a:cubicBezTo>
                <a:cubicBezTo>
                  <a:pt x="1436678" y="1909786"/>
                  <a:pt x="1411968" y="1934496"/>
                  <a:pt x="1381486" y="1934496"/>
                </a:cubicBezTo>
                <a:cubicBezTo>
                  <a:pt x="1351005" y="1934496"/>
                  <a:pt x="1326294" y="1909786"/>
                  <a:pt x="1326294" y="1879305"/>
                </a:cubicBezTo>
                <a:cubicBezTo>
                  <a:pt x="1326294" y="1848824"/>
                  <a:pt x="1351005" y="1824114"/>
                  <a:pt x="1381486" y="1824114"/>
                </a:cubicBezTo>
                <a:close/>
                <a:moveTo>
                  <a:pt x="1251193" y="1824114"/>
                </a:moveTo>
                <a:cubicBezTo>
                  <a:pt x="1281674" y="1824114"/>
                  <a:pt x="1306386" y="1848824"/>
                  <a:pt x="1306386" y="1879305"/>
                </a:cubicBezTo>
                <a:cubicBezTo>
                  <a:pt x="1306386" y="1909786"/>
                  <a:pt x="1281674" y="1934496"/>
                  <a:pt x="1251193" y="1934496"/>
                </a:cubicBezTo>
                <a:cubicBezTo>
                  <a:pt x="1220711" y="1934496"/>
                  <a:pt x="1196001" y="1909786"/>
                  <a:pt x="1196001" y="1879305"/>
                </a:cubicBezTo>
                <a:cubicBezTo>
                  <a:pt x="1196001" y="1848824"/>
                  <a:pt x="1220711" y="1824114"/>
                  <a:pt x="1251193" y="1824114"/>
                </a:cubicBezTo>
                <a:close/>
                <a:moveTo>
                  <a:pt x="4565336" y="1824106"/>
                </a:moveTo>
                <a:cubicBezTo>
                  <a:pt x="4595818" y="1824106"/>
                  <a:pt x="4620528" y="1848816"/>
                  <a:pt x="4620528" y="1879297"/>
                </a:cubicBezTo>
                <a:cubicBezTo>
                  <a:pt x="4620528" y="1909778"/>
                  <a:pt x="4595818" y="1934488"/>
                  <a:pt x="4565336" y="1934488"/>
                </a:cubicBezTo>
                <a:cubicBezTo>
                  <a:pt x="4534854" y="1934488"/>
                  <a:pt x="4510144" y="1909778"/>
                  <a:pt x="4510144" y="1879297"/>
                </a:cubicBezTo>
                <a:cubicBezTo>
                  <a:pt x="4510144" y="1848816"/>
                  <a:pt x="4534854" y="1824106"/>
                  <a:pt x="4565336" y="1824106"/>
                </a:cubicBezTo>
                <a:close/>
                <a:moveTo>
                  <a:pt x="4431689" y="1824098"/>
                </a:moveTo>
                <a:cubicBezTo>
                  <a:pt x="4462171" y="1824098"/>
                  <a:pt x="4486881" y="1848808"/>
                  <a:pt x="4486881" y="1879289"/>
                </a:cubicBezTo>
                <a:cubicBezTo>
                  <a:pt x="4486881" y="1909770"/>
                  <a:pt x="4462171" y="1934480"/>
                  <a:pt x="4431689" y="1934480"/>
                </a:cubicBezTo>
                <a:cubicBezTo>
                  <a:pt x="4401207" y="1934480"/>
                  <a:pt x="4376497" y="1909770"/>
                  <a:pt x="4376497" y="1879289"/>
                </a:cubicBezTo>
                <a:cubicBezTo>
                  <a:pt x="4376497" y="1848808"/>
                  <a:pt x="4401207" y="1824098"/>
                  <a:pt x="4431689" y="1824098"/>
                </a:cubicBezTo>
                <a:close/>
                <a:moveTo>
                  <a:pt x="8801537" y="1707182"/>
                </a:moveTo>
                <a:cubicBezTo>
                  <a:pt x="8832019" y="1707182"/>
                  <a:pt x="8856729" y="1731892"/>
                  <a:pt x="8856729" y="1762373"/>
                </a:cubicBezTo>
                <a:cubicBezTo>
                  <a:pt x="8856729" y="1792854"/>
                  <a:pt x="8832019" y="1817564"/>
                  <a:pt x="8801537" y="1817564"/>
                </a:cubicBezTo>
                <a:cubicBezTo>
                  <a:pt x="8771055" y="1817564"/>
                  <a:pt x="8746345" y="1792854"/>
                  <a:pt x="8746345" y="1762373"/>
                </a:cubicBezTo>
                <a:cubicBezTo>
                  <a:pt x="8746345" y="1731892"/>
                  <a:pt x="8771055" y="1707182"/>
                  <a:pt x="8801537" y="1707182"/>
                </a:cubicBezTo>
                <a:close/>
                <a:moveTo>
                  <a:pt x="8671243" y="1707182"/>
                </a:moveTo>
                <a:cubicBezTo>
                  <a:pt x="8701725" y="1707182"/>
                  <a:pt x="8726435" y="1731892"/>
                  <a:pt x="8726435" y="1762373"/>
                </a:cubicBezTo>
                <a:cubicBezTo>
                  <a:pt x="8726435" y="1792854"/>
                  <a:pt x="8701725" y="1817564"/>
                  <a:pt x="8671243" y="1817564"/>
                </a:cubicBezTo>
                <a:cubicBezTo>
                  <a:pt x="8640761" y="1817564"/>
                  <a:pt x="8616051" y="1792854"/>
                  <a:pt x="8616051" y="1762373"/>
                </a:cubicBezTo>
                <a:cubicBezTo>
                  <a:pt x="8616051" y="1731892"/>
                  <a:pt x="8640761" y="1707182"/>
                  <a:pt x="8671243" y="1707182"/>
                </a:cubicBezTo>
                <a:close/>
                <a:moveTo>
                  <a:pt x="8537609" y="1707182"/>
                </a:moveTo>
                <a:cubicBezTo>
                  <a:pt x="8568091" y="1707182"/>
                  <a:pt x="8592801" y="1731892"/>
                  <a:pt x="8592801" y="1762373"/>
                </a:cubicBezTo>
                <a:cubicBezTo>
                  <a:pt x="8592801" y="1792854"/>
                  <a:pt x="8568091" y="1817564"/>
                  <a:pt x="8537609" y="1817564"/>
                </a:cubicBezTo>
                <a:cubicBezTo>
                  <a:pt x="8507127" y="1817564"/>
                  <a:pt x="8482417" y="1792854"/>
                  <a:pt x="8482417" y="1762373"/>
                </a:cubicBezTo>
                <a:cubicBezTo>
                  <a:pt x="8482417" y="1731892"/>
                  <a:pt x="8507127" y="1707182"/>
                  <a:pt x="8537609" y="1707182"/>
                </a:cubicBezTo>
                <a:close/>
                <a:moveTo>
                  <a:pt x="8407318" y="1707182"/>
                </a:moveTo>
                <a:cubicBezTo>
                  <a:pt x="8437800" y="1707182"/>
                  <a:pt x="8462510" y="1731892"/>
                  <a:pt x="8462510" y="1762373"/>
                </a:cubicBezTo>
                <a:cubicBezTo>
                  <a:pt x="8462510" y="1792854"/>
                  <a:pt x="8437800" y="1817564"/>
                  <a:pt x="8407318" y="1817564"/>
                </a:cubicBezTo>
                <a:cubicBezTo>
                  <a:pt x="8376836" y="1817564"/>
                  <a:pt x="8352126" y="1792854"/>
                  <a:pt x="8352126" y="1762373"/>
                </a:cubicBezTo>
                <a:cubicBezTo>
                  <a:pt x="8352126" y="1731892"/>
                  <a:pt x="8376836" y="1707182"/>
                  <a:pt x="8407318" y="1707182"/>
                </a:cubicBezTo>
                <a:close/>
                <a:moveTo>
                  <a:pt x="8273682" y="1707182"/>
                </a:moveTo>
                <a:cubicBezTo>
                  <a:pt x="8304164" y="1707182"/>
                  <a:pt x="8328874" y="1731892"/>
                  <a:pt x="8328874" y="1762373"/>
                </a:cubicBezTo>
                <a:cubicBezTo>
                  <a:pt x="8328874" y="1792854"/>
                  <a:pt x="8304164" y="1817564"/>
                  <a:pt x="8273682" y="1817564"/>
                </a:cubicBezTo>
                <a:cubicBezTo>
                  <a:pt x="8243200" y="1817564"/>
                  <a:pt x="8218490" y="1792854"/>
                  <a:pt x="8218490" y="1762373"/>
                </a:cubicBezTo>
                <a:cubicBezTo>
                  <a:pt x="8218490" y="1731892"/>
                  <a:pt x="8243200" y="1707182"/>
                  <a:pt x="8273682" y="1707182"/>
                </a:cubicBezTo>
                <a:close/>
                <a:moveTo>
                  <a:pt x="8143386" y="1707182"/>
                </a:moveTo>
                <a:cubicBezTo>
                  <a:pt x="8173868" y="1707182"/>
                  <a:pt x="8198578" y="1731892"/>
                  <a:pt x="8198578" y="1762373"/>
                </a:cubicBezTo>
                <a:cubicBezTo>
                  <a:pt x="8198578" y="1792854"/>
                  <a:pt x="8173868" y="1817564"/>
                  <a:pt x="8143386" y="1817564"/>
                </a:cubicBezTo>
                <a:cubicBezTo>
                  <a:pt x="8112904" y="1817564"/>
                  <a:pt x="8088194" y="1792854"/>
                  <a:pt x="8088194" y="1762373"/>
                </a:cubicBezTo>
                <a:cubicBezTo>
                  <a:pt x="8088194" y="1731892"/>
                  <a:pt x="8112904" y="1707182"/>
                  <a:pt x="8143386" y="1707182"/>
                </a:cubicBezTo>
                <a:close/>
                <a:moveTo>
                  <a:pt x="8009752" y="1707182"/>
                </a:moveTo>
                <a:cubicBezTo>
                  <a:pt x="8040234" y="1707182"/>
                  <a:pt x="8064944" y="1731892"/>
                  <a:pt x="8064944" y="1762373"/>
                </a:cubicBezTo>
                <a:cubicBezTo>
                  <a:pt x="8064944" y="1792854"/>
                  <a:pt x="8040234" y="1817564"/>
                  <a:pt x="8009752" y="1817564"/>
                </a:cubicBezTo>
                <a:cubicBezTo>
                  <a:pt x="7979270" y="1817564"/>
                  <a:pt x="7954560" y="1792854"/>
                  <a:pt x="7954560" y="1762373"/>
                </a:cubicBezTo>
                <a:cubicBezTo>
                  <a:pt x="7954560" y="1731892"/>
                  <a:pt x="7979270" y="1707182"/>
                  <a:pt x="8009752" y="1707182"/>
                </a:cubicBezTo>
                <a:close/>
                <a:moveTo>
                  <a:pt x="7876117" y="1707182"/>
                </a:moveTo>
                <a:cubicBezTo>
                  <a:pt x="7906599" y="1707182"/>
                  <a:pt x="7931309" y="1731892"/>
                  <a:pt x="7931309" y="1762373"/>
                </a:cubicBezTo>
                <a:cubicBezTo>
                  <a:pt x="7931309" y="1792854"/>
                  <a:pt x="7906599" y="1817564"/>
                  <a:pt x="7876117" y="1817564"/>
                </a:cubicBezTo>
                <a:cubicBezTo>
                  <a:pt x="7845635" y="1817564"/>
                  <a:pt x="7820925" y="1792854"/>
                  <a:pt x="7820925" y="1762373"/>
                </a:cubicBezTo>
                <a:cubicBezTo>
                  <a:pt x="7820925" y="1731892"/>
                  <a:pt x="7845635" y="1707182"/>
                  <a:pt x="7876117" y="1707182"/>
                </a:cubicBezTo>
                <a:close/>
                <a:moveTo>
                  <a:pt x="7745824" y="1707182"/>
                </a:moveTo>
                <a:cubicBezTo>
                  <a:pt x="7776306" y="1707182"/>
                  <a:pt x="7801016" y="1731892"/>
                  <a:pt x="7801016" y="1762373"/>
                </a:cubicBezTo>
                <a:cubicBezTo>
                  <a:pt x="7801016" y="1792854"/>
                  <a:pt x="7776306" y="1817564"/>
                  <a:pt x="7745824" y="1817564"/>
                </a:cubicBezTo>
                <a:cubicBezTo>
                  <a:pt x="7715342" y="1817564"/>
                  <a:pt x="7690632" y="1792854"/>
                  <a:pt x="7690632" y="1762373"/>
                </a:cubicBezTo>
                <a:cubicBezTo>
                  <a:pt x="7690632" y="1731892"/>
                  <a:pt x="7715342" y="1707182"/>
                  <a:pt x="7745824" y="1707182"/>
                </a:cubicBezTo>
                <a:close/>
                <a:moveTo>
                  <a:pt x="7608849" y="1707182"/>
                </a:moveTo>
                <a:cubicBezTo>
                  <a:pt x="7639331" y="1707182"/>
                  <a:pt x="7664041" y="1731892"/>
                  <a:pt x="7664041" y="1762373"/>
                </a:cubicBezTo>
                <a:cubicBezTo>
                  <a:pt x="7664041" y="1792854"/>
                  <a:pt x="7639331" y="1817564"/>
                  <a:pt x="7608849" y="1817564"/>
                </a:cubicBezTo>
                <a:cubicBezTo>
                  <a:pt x="7578367" y="1817564"/>
                  <a:pt x="7553657" y="1792854"/>
                  <a:pt x="7553657" y="1762373"/>
                </a:cubicBezTo>
                <a:cubicBezTo>
                  <a:pt x="7553657" y="1731892"/>
                  <a:pt x="7578367" y="1707182"/>
                  <a:pt x="7608849" y="1707182"/>
                </a:cubicBezTo>
                <a:close/>
                <a:moveTo>
                  <a:pt x="7481895" y="1707182"/>
                </a:moveTo>
                <a:cubicBezTo>
                  <a:pt x="7512377" y="1707182"/>
                  <a:pt x="7537087" y="1731892"/>
                  <a:pt x="7537087" y="1762373"/>
                </a:cubicBezTo>
                <a:cubicBezTo>
                  <a:pt x="7537087" y="1792854"/>
                  <a:pt x="7512377" y="1817564"/>
                  <a:pt x="7481895" y="1817564"/>
                </a:cubicBezTo>
                <a:cubicBezTo>
                  <a:pt x="7451413" y="1817564"/>
                  <a:pt x="7426703" y="1792854"/>
                  <a:pt x="7426703" y="1762373"/>
                </a:cubicBezTo>
                <a:cubicBezTo>
                  <a:pt x="7426703" y="1731892"/>
                  <a:pt x="7451413" y="1707182"/>
                  <a:pt x="7481895" y="1707182"/>
                </a:cubicBezTo>
                <a:close/>
                <a:moveTo>
                  <a:pt x="7341579" y="1707182"/>
                </a:moveTo>
                <a:cubicBezTo>
                  <a:pt x="7372061" y="1707182"/>
                  <a:pt x="7396771" y="1731892"/>
                  <a:pt x="7396771" y="1762373"/>
                </a:cubicBezTo>
                <a:cubicBezTo>
                  <a:pt x="7396771" y="1792854"/>
                  <a:pt x="7372061" y="1817564"/>
                  <a:pt x="7341579" y="1817564"/>
                </a:cubicBezTo>
                <a:cubicBezTo>
                  <a:pt x="7311097" y="1817564"/>
                  <a:pt x="7286387" y="1792854"/>
                  <a:pt x="7286387" y="1762373"/>
                </a:cubicBezTo>
                <a:cubicBezTo>
                  <a:pt x="7286387" y="1731892"/>
                  <a:pt x="7311097" y="1707182"/>
                  <a:pt x="7341579" y="1707182"/>
                </a:cubicBezTo>
                <a:close/>
                <a:moveTo>
                  <a:pt x="7211286" y="1707182"/>
                </a:moveTo>
                <a:cubicBezTo>
                  <a:pt x="7241768" y="1707182"/>
                  <a:pt x="7266478" y="1731892"/>
                  <a:pt x="7266478" y="1762373"/>
                </a:cubicBezTo>
                <a:cubicBezTo>
                  <a:pt x="7266478" y="1792854"/>
                  <a:pt x="7241768" y="1817564"/>
                  <a:pt x="7211286" y="1817564"/>
                </a:cubicBezTo>
                <a:cubicBezTo>
                  <a:pt x="7180804" y="1817564"/>
                  <a:pt x="7156094" y="1792854"/>
                  <a:pt x="7156094" y="1762373"/>
                </a:cubicBezTo>
                <a:cubicBezTo>
                  <a:pt x="7156094" y="1731892"/>
                  <a:pt x="7180804" y="1707182"/>
                  <a:pt x="7211286" y="1707182"/>
                </a:cubicBezTo>
                <a:close/>
                <a:moveTo>
                  <a:pt x="7080993" y="1707182"/>
                </a:moveTo>
                <a:cubicBezTo>
                  <a:pt x="7111475" y="1707182"/>
                  <a:pt x="7136185" y="1731892"/>
                  <a:pt x="7136185" y="1762373"/>
                </a:cubicBezTo>
                <a:cubicBezTo>
                  <a:pt x="7136185" y="1792854"/>
                  <a:pt x="7111475" y="1817564"/>
                  <a:pt x="7080993" y="1817564"/>
                </a:cubicBezTo>
                <a:cubicBezTo>
                  <a:pt x="7050511" y="1817564"/>
                  <a:pt x="7025801" y="1792854"/>
                  <a:pt x="7025801" y="1762373"/>
                </a:cubicBezTo>
                <a:cubicBezTo>
                  <a:pt x="7025801" y="1731892"/>
                  <a:pt x="7050511" y="1707182"/>
                  <a:pt x="7080993" y="1707182"/>
                </a:cubicBezTo>
                <a:close/>
                <a:moveTo>
                  <a:pt x="6947357" y="1707182"/>
                </a:moveTo>
                <a:cubicBezTo>
                  <a:pt x="6977839" y="1707182"/>
                  <a:pt x="7002549" y="1731892"/>
                  <a:pt x="7002549" y="1762373"/>
                </a:cubicBezTo>
                <a:cubicBezTo>
                  <a:pt x="7002549" y="1792854"/>
                  <a:pt x="6977839" y="1817564"/>
                  <a:pt x="6947357" y="1817564"/>
                </a:cubicBezTo>
                <a:cubicBezTo>
                  <a:pt x="6916875" y="1817564"/>
                  <a:pt x="6892165" y="1792854"/>
                  <a:pt x="6892165" y="1762373"/>
                </a:cubicBezTo>
                <a:cubicBezTo>
                  <a:pt x="6892165" y="1731892"/>
                  <a:pt x="6916875" y="1707182"/>
                  <a:pt x="6947357" y="1707182"/>
                </a:cubicBezTo>
                <a:close/>
                <a:moveTo>
                  <a:pt x="6817063" y="1707182"/>
                </a:moveTo>
                <a:cubicBezTo>
                  <a:pt x="6847545" y="1707182"/>
                  <a:pt x="6872255" y="1731892"/>
                  <a:pt x="6872255" y="1762373"/>
                </a:cubicBezTo>
                <a:cubicBezTo>
                  <a:pt x="6872255" y="1792854"/>
                  <a:pt x="6847545" y="1817564"/>
                  <a:pt x="6817063" y="1817564"/>
                </a:cubicBezTo>
                <a:cubicBezTo>
                  <a:pt x="6786581" y="1817564"/>
                  <a:pt x="6761871" y="1792854"/>
                  <a:pt x="6761871" y="1762373"/>
                </a:cubicBezTo>
                <a:cubicBezTo>
                  <a:pt x="6761871" y="1731892"/>
                  <a:pt x="6786581" y="1707182"/>
                  <a:pt x="6817063" y="1707182"/>
                </a:cubicBezTo>
                <a:close/>
                <a:moveTo>
                  <a:pt x="6683431" y="1707182"/>
                </a:moveTo>
                <a:cubicBezTo>
                  <a:pt x="6713913" y="1707182"/>
                  <a:pt x="6738623" y="1731892"/>
                  <a:pt x="6738623" y="1762373"/>
                </a:cubicBezTo>
                <a:cubicBezTo>
                  <a:pt x="6738623" y="1792854"/>
                  <a:pt x="6713913" y="1817564"/>
                  <a:pt x="6683431" y="1817564"/>
                </a:cubicBezTo>
                <a:cubicBezTo>
                  <a:pt x="6652949" y="1817564"/>
                  <a:pt x="6628239" y="1792854"/>
                  <a:pt x="6628239" y="1762373"/>
                </a:cubicBezTo>
                <a:cubicBezTo>
                  <a:pt x="6628239" y="1731892"/>
                  <a:pt x="6652949" y="1707182"/>
                  <a:pt x="6683431" y="1707182"/>
                </a:cubicBezTo>
                <a:close/>
                <a:moveTo>
                  <a:pt x="6553137" y="1707182"/>
                </a:moveTo>
                <a:cubicBezTo>
                  <a:pt x="6583619" y="1707182"/>
                  <a:pt x="6608329" y="1731892"/>
                  <a:pt x="6608329" y="1762373"/>
                </a:cubicBezTo>
                <a:cubicBezTo>
                  <a:pt x="6608329" y="1792854"/>
                  <a:pt x="6583619" y="1817564"/>
                  <a:pt x="6553137" y="1817564"/>
                </a:cubicBezTo>
                <a:cubicBezTo>
                  <a:pt x="6522655" y="1817564"/>
                  <a:pt x="6497945" y="1792854"/>
                  <a:pt x="6497945" y="1762373"/>
                </a:cubicBezTo>
                <a:cubicBezTo>
                  <a:pt x="6497945" y="1731892"/>
                  <a:pt x="6522655" y="1707182"/>
                  <a:pt x="6553137" y="1707182"/>
                </a:cubicBezTo>
                <a:close/>
                <a:moveTo>
                  <a:pt x="6419502" y="1707182"/>
                </a:moveTo>
                <a:cubicBezTo>
                  <a:pt x="6449984" y="1707182"/>
                  <a:pt x="6474694" y="1731892"/>
                  <a:pt x="6474694" y="1762373"/>
                </a:cubicBezTo>
                <a:cubicBezTo>
                  <a:pt x="6474694" y="1792854"/>
                  <a:pt x="6449984" y="1817564"/>
                  <a:pt x="6419502" y="1817564"/>
                </a:cubicBezTo>
                <a:cubicBezTo>
                  <a:pt x="6389020" y="1817564"/>
                  <a:pt x="6364310" y="1792854"/>
                  <a:pt x="6364310" y="1762373"/>
                </a:cubicBezTo>
                <a:cubicBezTo>
                  <a:pt x="6364310" y="1731892"/>
                  <a:pt x="6389020" y="1707182"/>
                  <a:pt x="6419502" y="1707182"/>
                </a:cubicBezTo>
                <a:close/>
                <a:moveTo>
                  <a:pt x="6289207" y="1707182"/>
                </a:moveTo>
                <a:cubicBezTo>
                  <a:pt x="6319689" y="1707182"/>
                  <a:pt x="6344399" y="1731892"/>
                  <a:pt x="6344399" y="1762373"/>
                </a:cubicBezTo>
                <a:cubicBezTo>
                  <a:pt x="6344399" y="1792854"/>
                  <a:pt x="6319689" y="1817564"/>
                  <a:pt x="6289207" y="1817564"/>
                </a:cubicBezTo>
                <a:cubicBezTo>
                  <a:pt x="6258725" y="1817564"/>
                  <a:pt x="6234015" y="1792854"/>
                  <a:pt x="6234015" y="1762373"/>
                </a:cubicBezTo>
                <a:cubicBezTo>
                  <a:pt x="6234015" y="1731892"/>
                  <a:pt x="6258725" y="1707182"/>
                  <a:pt x="6289207" y="1707182"/>
                </a:cubicBezTo>
                <a:close/>
                <a:moveTo>
                  <a:pt x="6155572" y="1707182"/>
                </a:moveTo>
                <a:cubicBezTo>
                  <a:pt x="6186054" y="1707182"/>
                  <a:pt x="6210764" y="1731892"/>
                  <a:pt x="6210764" y="1762373"/>
                </a:cubicBezTo>
                <a:cubicBezTo>
                  <a:pt x="6210764" y="1792854"/>
                  <a:pt x="6186054" y="1817564"/>
                  <a:pt x="6155572" y="1817564"/>
                </a:cubicBezTo>
                <a:cubicBezTo>
                  <a:pt x="6125090" y="1817564"/>
                  <a:pt x="6100380" y="1792854"/>
                  <a:pt x="6100380" y="1762373"/>
                </a:cubicBezTo>
                <a:cubicBezTo>
                  <a:pt x="6100380" y="1731892"/>
                  <a:pt x="6125090" y="1707182"/>
                  <a:pt x="6155572" y="1707182"/>
                </a:cubicBezTo>
                <a:close/>
                <a:moveTo>
                  <a:pt x="6021938" y="1707182"/>
                </a:moveTo>
                <a:cubicBezTo>
                  <a:pt x="6052420" y="1707182"/>
                  <a:pt x="6077130" y="1731892"/>
                  <a:pt x="6077130" y="1762373"/>
                </a:cubicBezTo>
                <a:cubicBezTo>
                  <a:pt x="6077130" y="1792854"/>
                  <a:pt x="6052420" y="1817564"/>
                  <a:pt x="6021938" y="1817564"/>
                </a:cubicBezTo>
                <a:cubicBezTo>
                  <a:pt x="5991456" y="1817564"/>
                  <a:pt x="5966746" y="1792854"/>
                  <a:pt x="5966746" y="1762373"/>
                </a:cubicBezTo>
                <a:cubicBezTo>
                  <a:pt x="5966746" y="1731892"/>
                  <a:pt x="5991456" y="1707182"/>
                  <a:pt x="6021938" y="1707182"/>
                </a:cubicBezTo>
                <a:close/>
                <a:moveTo>
                  <a:pt x="5884964" y="1707182"/>
                </a:moveTo>
                <a:cubicBezTo>
                  <a:pt x="5915446" y="1707182"/>
                  <a:pt x="5940156" y="1731892"/>
                  <a:pt x="5940156" y="1762373"/>
                </a:cubicBezTo>
                <a:cubicBezTo>
                  <a:pt x="5940156" y="1792854"/>
                  <a:pt x="5915446" y="1817564"/>
                  <a:pt x="5884964" y="1817564"/>
                </a:cubicBezTo>
                <a:cubicBezTo>
                  <a:pt x="5854482" y="1817564"/>
                  <a:pt x="5829772" y="1792854"/>
                  <a:pt x="5829772" y="1762373"/>
                </a:cubicBezTo>
                <a:cubicBezTo>
                  <a:pt x="5829772" y="1731892"/>
                  <a:pt x="5854482" y="1707182"/>
                  <a:pt x="5884964" y="1707182"/>
                </a:cubicBezTo>
                <a:close/>
                <a:moveTo>
                  <a:pt x="5754670" y="1707182"/>
                </a:moveTo>
                <a:cubicBezTo>
                  <a:pt x="5785152" y="1707182"/>
                  <a:pt x="5809862" y="1731892"/>
                  <a:pt x="5809862" y="1762373"/>
                </a:cubicBezTo>
                <a:cubicBezTo>
                  <a:pt x="5809862" y="1792854"/>
                  <a:pt x="5785152" y="1817564"/>
                  <a:pt x="5754670" y="1817564"/>
                </a:cubicBezTo>
                <a:cubicBezTo>
                  <a:pt x="5724188" y="1817564"/>
                  <a:pt x="5699478" y="1792854"/>
                  <a:pt x="5699478" y="1762373"/>
                </a:cubicBezTo>
                <a:cubicBezTo>
                  <a:pt x="5699478" y="1731892"/>
                  <a:pt x="5724188" y="1707182"/>
                  <a:pt x="5754670" y="1707182"/>
                </a:cubicBezTo>
                <a:close/>
                <a:moveTo>
                  <a:pt x="5621035" y="1707182"/>
                </a:moveTo>
                <a:cubicBezTo>
                  <a:pt x="5651517" y="1707182"/>
                  <a:pt x="5676227" y="1731892"/>
                  <a:pt x="5676227" y="1762373"/>
                </a:cubicBezTo>
                <a:cubicBezTo>
                  <a:pt x="5676227" y="1792854"/>
                  <a:pt x="5651517" y="1817564"/>
                  <a:pt x="5621035" y="1817564"/>
                </a:cubicBezTo>
                <a:cubicBezTo>
                  <a:pt x="5590553" y="1817564"/>
                  <a:pt x="5565843" y="1792854"/>
                  <a:pt x="5565843" y="1762373"/>
                </a:cubicBezTo>
                <a:cubicBezTo>
                  <a:pt x="5565843" y="1731892"/>
                  <a:pt x="5590553" y="1707182"/>
                  <a:pt x="5621035" y="1707182"/>
                </a:cubicBezTo>
                <a:close/>
                <a:moveTo>
                  <a:pt x="5487399" y="1707182"/>
                </a:moveTo>
                <a:cubicBezTo>
                  <a:pt x="5517881" y="1707182"/>
                  <a:pt x="5542591" y="1731892"/>
                  <a:pt x="5542591" y="1762373"/>
                </a:cubicBezTo>
                <a:cubicBezTo>
                  <a:pt x="5542591" y="1792854"/>
                  <a:pt x="5517881" y="1817564"/>
                  <a:pt x="5487399" y="1817564"/>
                </a:cubicBezTo>
                <a:cubicBezTo>
                  <a:pt x="5456917" y="1817564"/>
                  <a:pt x="5432207" y="1792854"/>
                  <a:pt x="5432207" y="1762373"/>
                </a:cubicBezTo>
                <a:cubicBezTo>
                  <a:pt x="5432207" y="1731892"/>
                  <a:pt x="5456917" y="1707182"/>
                  <a:pt x="5487399" y="1707182"/>
                </a:cubicBezTo>
                <a:close/>
                <a:moveTo>
                  <a:pt x="5357105" y="1707182"/>
                </a:moveTo>
                <a:cubicBezTo>
                  <a:pt x="5387587" y="1707182"/>
                  <a:pt x="5412297" y="1731892"/>
                  <a:pt x="5412297" y="1762373"/>
                </a:cubicBezTo>
                <a:cubicBezTo>
                  <a:pt x="5412297" y="1792854"/>
                  <a:pt x="5387587" y="1817564"/>
                  <a:pt x="5357105" y="1817564"/>
                </a:cubicBezTo>
                <a:cubicBezTo>
                  <a:pt x="5326623" y="1817564"/>
                  <a:pt x="5301913" y="1792854"/>
                  <a:pt x="5301913" y="1762373"/>
                </a:cubicBezTo>
                <a:cubicBezTo>
                  <a:pt x="5301913" y="1731892"/>
                  <a:pt x="5326623" y="1707182"/>
                  <a:pt x="5357105" y="1707182"/>
                </a:cubicBezTo>
                <a:close/>
                <a:moveTo>
                  <a:pt x="5223473" y="1707182"/>
                </a:moveTo>
                <a:cubicBezTo>
                  <a:pt x="5253955" y="1707182"/>
                  <a:pt x="5278665" y="1731892"/>
                  <a:pt x="5278665" y="1762373"/>
                </a:cubicBezTo>
                <a:cubicBezTo>
                  <a:pt x="5278665" y="1792854"/>
                  <a:pt x="5253955" y="1817564"/>
                  <a:pt x="5223473" y="1817564"/>
                </a:cubicBezTo>
                <a:cubicBezTo>
                  <a:pt x="5192991" y="1817564"/>
                  <a:pt x="5168281" y="1792854"/>
                  <a:pt x="5168281" y="1762373"/>
                </a:cubicBezTo>
                <a:cubicBezTo>
                  <a:pt x="5168281" y="1731892"/>
                  <a:pt x="5192991" y="1707182"/>
                  <a:pt x="5223473" y="1707182"/>
                </a:cubicBezTo>
                <a:close/>
                <a:moveTo>
                  <a:pt x="5093178" y="1707182"/>
                </a:moveTo>
                <a:cubicBezTo>
                  <a:pt x="5123660" y="1707182"/>
                  <a:pt x="5148370" y="1731892"/>
                  <a:pt x="5148370" y="1762373"/>
                </a:cubicBezTo>
                <a:cubicBezTo>
                  <a:pt x="5148370" y="1792854"/>
                  <a:pt x="5123660" y="1817564"/>
                  <a:pt x="5093178" y="1817564"/>
                </a:cubicBezTo>
                <a:cubicBezTo>
                  <a:pt x="5062696" y="1817564"/>
                  <a:pt x="5037986" y="1792854"/>
                  <a:pt x="5037986" y="1762373"/>
                </a:cubicBezTo>
                <a:cubicBezTo>
                  <a:pt x="5037986" y="1731892"/>
                  <a:pt x="5062696" y="1707182"/>
                  <a:pt x="5093178" y="1707182"/>
                </a:cubicBezTo>
                <a:close/>
                <a:moveTo>
                  <a:pt x="4959543" y="1707182"/>
                </a:moveTo>
                <a:cubicBezTo>
                  <a:pt x="4990025" y="1707182"/>
                  <a:pt x="5014735" y="1731892"/>
                  <a:pt x="5014735" y="1762373"/>
                </a:cubicBezTo>
                <a:cubicBezTo>
                  <a:pt x="5014735" y="1792854"/>
                  <a:pt x="4990025" y="1817564"/>
                  <a:pt x="4959543" y="1817564"/>
                </a:cubicBezTo>
                <a:cubicBezTo>
                  <a:pt x="4929061" y="1817564"/>
                  <a:pt x="4904351" y="1792854"/>
                  <a:pt x="4904351" y="1762373"/>
                </a:cubicBezTo>
                <a:cubicBezTo>
                  <a:pt x="4904351" y="1731892"/>
                  <a:pt x="4929061" y="1707182"/>
                  <a:pt x="4959543" y="1707182"/>
                </a:cubicBezTo>
                <a:close/>
                <a:moveTo>
                  <a:pt x="4829251" y="1707182"/>
                </a:moveTo>
                <a:cubicBezTo>
                  <a:pt x="4859733" y="1707182"/>
                  <a:pt x="4884443" y="1731892"/>
                  <a:pt x="4884443" y="1762373"/>
                </a:cubicBezTo>
                <a:cubicBezTo>
                  <a:pt x="4884443" y="1792854"/>
                  <a:pt x="4859733" y="1817564"/>
                  <a:pt x="4829251" y="1817564"/>
                </a:cubicBezTo>
                <a:cubicBezTo>
                  <a:pt x="4798769" y="1817564"/>
                  <a:pt x="4774059" y="1792854"/>
                  <a:pt x="4774059" y="1762373"/>
                </a:cubicBezTo>
                <a:cubicBezTo>
                  <a:pt x="4774059" y="1731892"/>
                  <a:pt x="4798769" y="1707182"/>
                  <a:pt x="4829251" y="1707182"/>
                </a:cubicBezTo>
                <a:close/>
                <a:moveTo>
                  <a:pt x="4695613" y="1707182"/>
                </a:moveTo>
                <a:cubicBezTo>
                  <a:pt x="4726095" y="1707182"/>
                  <a:pt x="4750805" y="1731892"/>
                  <a:pt x="4750805" y="1762373"/>
                </a:cubicBezTo>
                <a:cubicBezTo>
                  <a:pt x="4750805" y="1792854"/>
                  <a:pt x="4726095" y="1817564"/>
                  <a:pt x="4695613" y="1817564"/>
                </a:cubicBezTo>
                <a:cubicBezTo>
                  <a:pt x="4665131" y="1817564"/>
                  <a:pt x="4640421" y="1792854"/>
                  <a:pt x="4640421" y="1762373"/>
                </a:cubicBezTo>
                <a:cubicBezTo>
                  <a:pt x="4640421" y="1731892"/>
                  <a:pt x="4665131" y="1707182"/>
                  <a:pt x="4695613" y="1707182"/>
                </a:cubicBezTo>
                <a:close/>
                <a:moveTo>
                  <a:pt x="3098681" y="1707182"/>
                </a:moveTo>
                <a:cubicBezTo>
                  <a:pt x="3129163" y="1707182"/>
                  <a:pt x="3153873" y="1731892"/>
                  <a:pt x="3153873" y="1762373"/>
                </a:cubicBezTo>
                <a:cubicBezTo>
                  <a:pt x="3153873" y="1792854"/>
                  <a:pt x="3129163" y="1817564"/>
                  <a:pt x="3098681" y="1817564"/>
                </a:cubicBezTo>
                <a:cubicBezTo>
                  <a:pt x="3068199" y="1817564"/>
                  <a:pt x="3043489" y="1792854"/>
                  <a:pt x="3043489" y="1762373"/>
                </a:cubicBezTo>
                <a:cubicBezTo>
                  <a:pt x="3043489" y="1731892"/>
                  <a:pt x="3068199" y="1707182"/>
                  <a:pt x="3098681" y="1707182"/>
                </a:cubicBezTo>
                <a:close/>
                <a:moveTo>
                  <a:pt x="2971729" y="1707182"/>
                </a:moveTo>
                <a:cubicBezTo>
                  <a:pt x="3002211" y="1707182"/>
                  <a:pt x="3026921" y="1731892"/>
                  <a:pt x="3026921" y="1762373"/>
                </a:cubicBezTo>
                <a:cubicBezTo>
                  <a:pt x="3026921" y="1792854"/>
                  <a:pt x="3002211" y="1817564"/>
                  <a:pt x="2971729" y="1817564"/>
                </a:cubicBezTo>
                <a:cubicBezTo>
                  <a:pt x="2941247" y="1817564"/>
                  <a:pt x="2916537" y="1792854"/>
                  <a:pt x="2916537" y="1762373"/>
                </a:cubicBezTo>
                <a:cubicBezTo>
                  <a:pt x="2916537" y="1731892"/>
                  <a:pt x="2941247" y="1707182"/>
                  <a:pt x="2971729" y="1707182"/>
                </a:cubicBezTo>
                <a:close/>
                <a:moveTo>
                  <a:pt x="2834772" y="1707182"/>
                </a:moveTo>
                <a:cubicBezTo>
                  <a:pt x="2865254" y="1707182"/>
                  <a:pt x="2889964" y="1731892"/>
                  <a:pt x="2889964" y="1762373"/>
                </a:cubicBezTo>
                <a:cubicBezTo>
                  <a:pt x="2889964" y="1792854"/>
                  <a:pt x="2865254" y="1817564"/>
                  <a:pt x="2834772" y="1817564"/>
                </a:cubicBezTo>
                <a:cubicBezTo>
                  <a:pt x="2804290" y="1817564"/>
                  <a:pt x="2779580" y="1792854"/>
                  <a:pt x="2779580" y="1762373"/>
                </a:cubicBezTo>
                <a:cubicBezTo>
                  <a:pt x="2779580" y="1731892"/>
                  <a:pt x="2804290" y="1707182"/>
                  <a:pt x="2834772" y="1707182"/>
                </a:cubicBezTo>
                <a:close/>
                <a:moveTo>
                  <a:pt x="2707817" y="1707182"/>
                </a:moveTo>
                <a:cubicBezTo>
                  <a:pt x="2738299" y="1707182"/>
                  <a:pt x="2763009" y="1731892"/>
                  <a:pt x="2763009" y="1762373"/>
                </a:cubicBezTo>
                <a:cubicBezTo>
                  <a:pt x="2763009" y="1792854"/>
                  <a:pt x="2738299" y="1817564"/>
                  <a:pt x="2707817" y="1817564"/>
                </a:cubicBezTo>
                <a:cubicBezTo>
                  <a:pt x="2677336" y="1817564"/>
                  <a:pt x="2652625" y="1792854"/>
                  <a:pt x="2652625" y="1762373"/>
                </a:cubicBezTo>
                <a:cubicBezTo>
                  <a:pt x="2652625" y="1731892"/>
                  <a:pt x="2677336" y="1707182"/>
                  <a:pt x="2707817" y="1707182"/>
                </a:cubicBezTo>
                <a:close/>
                <a:moveTo>
                  <a:pt x="2570843" y="1707182"/>
                </a:moveTo>
                <a:cubicBezTo>
                  <a:pt x="2601326" y="1707182"/>
                  <a:pt x="2626036" y="1731892"/>
                  <a:pt x="2626036" y="1762373"/>
                </a:cubicBezTo>
                <a:cubicBezTo>
                  <a:pt x="2626036" y="1792854"/>
                  <a:pt x="2601326" y="1817564"/>
                  <a:pt x="2570843" y="1817564"/>
                </a:cubicBezTo>
                <a:cubicBezTo>
                  <a:pt x="2540362" y="1817564"/>
                  <a:pt x="2515651" y="1792854"/>
                  <a:pt x="2515651" y="1762373"/>
                </a:cubicBezTo>
                <a:cubicBezTo>
                  <a:pt x="2515651" y="1731892"/>
                  <a:pt x="2540362" y="1707182"/>
                  <a:pt x="2570843" y="1707182"/>
                </a:cubicBezTo>
                <a:close/>
                <a:moveTo>
                  <a:pt x="2437207" y="1707182"/>
                </a:moveTo>
                <a:cubicBezTo>
                  <a:pt x="2467689" y="1707182"/>
                  <a:pt x="2492398" y="1731892"/>
                  <a:pt x="2492398" y="1762373"/>
                </a:cubicBezTo>
                <a:cubicBezTo>
                  <a:pt x="2492398" y="1792854"/>
                  <a:pt x="2467689" y="1817564"/>
                  <a:pt x="2437207" y="1817564"/>
                </a:cubicBezTo>
                <a:cubicBezTo>
                  <a:pt x="2406725" y="1817564"/>
                  <a:pt x="2382015" y="1792854"/>
                  <a:pt x="2382015" y="1762373"/>
                </a:cubicBezTo>
                <a:cubicBezTo>
                  <a:pt x="2382015" y="1731892"/>
                  <a:pt x="2406725" y="1707182"/>
                  <a:pt x="2437207" y="1707182"/>
                </a:cubicBezTo>
                <a:close/>
                <a:moveTo>
                  <a:pt x="2303575" y="1707182"/>
                </a:moveTo>
                <a:cubicBezTo>
                  <a:pt x="2334057" y="1707182"/>
                  <a:pt x="2358767" y="1731892"/>
                  <a:pt x="2358767" y="1762373"/>
                </a:cubicBezTo>
                <a:cubicBezTo>
                  <a:pt x="2358767" y="1792854"/>
                  <a:pt x="2334057" y="1817564"/>
                  <a:pt x="2303575" y="1817564"/>
                </a:cubicBezTo>
                <a:cubicBezTo>
                  <a:pt x="2273093" y="1817564"/>
                  <a:pt x="2248383" y="1792854"/>
                  <a:pt x="2248383" y="1762373"/>
                </a:cubicBezTo>
                <a:cubicBezTo>
                  <a:pt x="2248383" y="1731892"/>
                  <a:pt x="2273093" y="1707182"/>
                  <a:pt x="2303575" y="1707182"/>
                </a:cubicBezTo>
                <a:close/>
                <a:moveTo>
                  <a:pt x="2173282" y="1707182"/>
                </a:moveTo>
                <a:cubicBezTo>
                  <a:pt x="2203764" y="1707182"/>
                  <a:pt x="2228474" y="1731892"/>
                  <a:pt x="2228474" y="1762373"/>
                </a:cubicBezTo>
                <a:cubicBezTo>
                  <a:pt x="2228474" y="1792854"/>
                  <a:pt x="2203764" y="1817564"/>
                  <a:pt x="2173282" y="1817564"/>
                </a:cubicBezTo>
                <a:cubicBezTo>
                  <a:pt x="2142800" y="1817564"/>
                  <a:pt x="2118090" y="1792854"/>
                  <a:pt x="2118090" y="1762373"/>
                </a:cubicBezTo>
                <a:cubicBezTo>
                  <a:pt x="2118090" y="1731892"/>
                  <a:pt x="2142800" y="1707182"/>
                  <a:pt x="2173282" y="1707182"/>
                </a:cubicBezTo>
                <a:close/>
                <a:moveTo>
                  <a:pt x="2039648" y="1707182"/>
                </a:moveTo>
                <a:cubicBezTo>
                  <a:pt x="2070129" y="1707182"/>
                  <a:pt x="2094840" y="1731892"/>
                  <a:pt x="2094840" y="1762373"/>
                </a:cubicBezTo>
                <a:cubicBezTo>
                  <a:pt x="2094840" y="1792854"/>
                  <a:pt x="2070129" y="1817564"/>
                  <a:pt x="2039648" y="1817564"/>
                </a:cubicBezTo>
                <a:cubicBezTo>
                  <a:pt x="2009165" y="1817564"/>
                  <a:pt x="1984455" y="1792854"/>
                  <a:pt x="1984455" y="1762373"/>
                </a:cubicBezTo>
                <a:cubicBezTo>
                  <a:pt x="1984455" y="1731892"/>
                  <a:pt x="2009165" y="1707182"/>
                  <a:pt x="2039648" y="1707182"/>
                </a:cubicBezTo>
                <a:close/>
                <a:moveTo>
                  <a:pt x="1909353" y="1707182"/>
                </a:moveTo>
                <a:cubicBezTo>
                  <a:pt x="1939835" y="1707182"/>
                  <a:pt x="1964545" y="1731892"/>
                  <a:pt x="1964545" y="1762373"/>
                </a:cubicBezTo>
                <a:cubicBezTo>
                  <a:pt x="1964545" y="1792854"/>
                  <a:pt x="1939835" y="1817564"/>
                  <a:pt x="1909353" y="1817564"/>
                </a:cubicBezTo>
                <a:cubicBezTo>
                  <a:pt x="1878870" y="1817564"/>
                  <a:pt x="1854161" y="1792854"/>
                  <a:pt x="1854161" y="1762373"/>
                </a:cubicBezTo>
                <a:cubicBezTo>
                  <a:pt x="1854161" y="1731892"/>
                  <a:pt x="1878870" y="1707182"/>
                  <a:pt x="1909353" y="1707182"/>
                </a:cubicBezTo>
                <a:close/>
                <a:moveTo>
                  <a:pt x="1779058" y="1707182"/>
                </a:moveTo>
                <a:cubicBezTo>
                  <a:pt x="1809540" y="1707182"/>
                  <a:pt x="1834251" y="1731892"/>
                  <a:pt x="1834251" y="1762373"/>
                </a:cubicBezTo>
                <a:cubicBezTo>
                  <a:pt x="1834251" y="1792854"/>
                  <a:pt x="1809540" y="1817564"/>
                  <a:pt x="1779058" y="1817564"/>
                </a:cubicBezTo>
                <a:cubicBezTo>
                  <a:pt x="1748577" y="1817564"/>
                  <a:pt x="1723867" y="1792854"/>
                  <a:pt x="1723867" y="1762373"/>
                </a:cubicBezTo>
                <a:cubicBezTo>
                  <a:pt x="1723867" y="1731892"/>
                  <a:pt x="1748577" y="1707182"/>
                  <a:pt x="1779058" y="1707182"/>
                </a:cubicBezTo>
                <a:close/>
                <a:moveTo>
                  <a:pt x="1645422" y="1707182"/>
                </a:moveTo>
                <a:cubicBezTo>
                  <a:pt x="1675906" y="1707182"/>
                  <a:pt x="1700617" y="1731892"/>
                  <a:pt x="1700617" y="1762373"/>
                </a:cubicBezTo>
                <a:cubicBezTo>
                  <a:pt x="1700617" y="1792854"/>
                  <a:pt x="1675906" y="1817564"/>
                  <a:pt x="1645422" y="1817564"/>
                </a:cubicBezTo>
                <a:cubicBezTo>
                  <a:pt x="1614940" y="1817564"/>
                  <a:pt x="1590230" y="1792854"/>
                  <a:pt x="1590230" y="1762373"/>
                </a:cubicBezTo>
                <a:cubicBezTo>
                  <a:pt x="1590230" y="1731892"/>
                  <a:pt x="1614940" y="1707182"/>
                  <a:pt x="1645422" y="1707182"/>
                </a:cubicBezTo>
                <a:close/>
                <a:moveTo>
                  <a:pt x="1515130" y="1707182"/>
                </a:moveTo>
                <a:cubicBezTo>
                  <a:pt x="1545612" y="1707182"/>
                  <a:pt x="1570322" y="1731892"/>
                  <a:pt x="1570322" y="1762373"/>
                </a:cubicBezTo>
                <a:cubicBezTo>
                  <a:pt x="1570322" y="1792854"/>
                  <a:pt x="1545612" y="1817564"/>
                  <a:pt x="1515130" y="1817564"/>
                </a:cubicBezTo>
                <a:cubicBezTo>
                  <a:pt x="1484648" y="1817564"/>
                  <a:pt x="1459938" y="1792854"/>
                  <a:pt x="1459938" y="1762373"/>
                </a:cubicBezTo>
                <a:cubicBezTo>
                  <a:pt x="1459938" y="1731892"/>
                  <a:pt x="1484648" y="1707182"/>
                  <a:pt x="1515130" y="1707182"/>
                </a:cubicBezTo>
                <a:close/>
                <a:moveTo>
                  <a:pt x="1381494" y="1707182"/>
                </a:moveTo>
                <a:cubicBezTo>
                  <a:pt x="1411978" y="1707182"/>
                  <a:pt x="1436688" y="1731892"/>
                  <a:pt x="1436688" y="1762373"/>
                </a:cubicBezTo>
                <a:cubicBezTo>
                  <a:pt x="1436688" y="1792854"/>
                  <a:pt x="1411978" y="1817564"/>
                  <a:pt x="1381494" y="1817564"/>
                </a:cubicBezTo>
                <a:cubicBezTo>
                  <a:pt x="1351014" y="1817564"/>
                  <a:pt x="1326303" y="1792854"/>
                  <a:pt x="1326303" y="1762373"/>
                </a:cubicBezTo>
                <a:cubicBezTo>
                  <a:pt x="1326303" y="1731892"/>
                  <a:pt x="1351014" y="1707182"/>
                  <a:pt x="1381494" y="1707182"/>
                </a:cubicBezTo>
                <a:close/>
                <a:moveTo>
                  <a:pt x="1251201" y="1707182"/>
                </a:moveTo>
                <a:cubicBezTo>
                  <a:pt x="1281685" y="1707182"/>
                  <a:pt x="1306393" y="1731892"/>
                  <a:pt x="1306393" y="1762373"/>
                </a:cubicBezTo>
                <a:cubicBezTo>
                  <a:pt x="1306393" y="1792854"/>
                  <a:pt x="1281685" y="1817564"/>
                  <a:pt x="1251201" y="1817564"/>
                </a:cubicBezTo>
                <a:cubicBezTo>
                  <a:pt x="1220721" y="1817564"/>
                  <a:pt x="1196010" y="1792854"/>
                  <a:pt x="1196010" y="1762373"/>
                </a:cubicBezTo>
                <a:cubicBezTo>
                  <a:pt x="1196010" y="1731892"/>
                  <a:pt x="1220721" y="1707182"/>
                  <a:pt x="1251201" y="1707182"/>
                </a:cubicBezTo>
                <a:close/>
                <a:moveTo>
                  <a:pt x="1909361" y="1580232"/>
                </a:moveTo>
                <a:cubicBezTo>
                  <a:pt x="1939843" y="1580232"/>
                  <a:pt x="1964554" y="1604942"/>
                  <a:pt x="1964554" y="1635423"/>
                </a:cubicBezTo>
                <a:cubicBezTo>
                  <a:pt x="1964554" y="1665904"/>
                  <a:pt x="1939843" y="1690614"/>
                  <a:pt x="1909361" y="1690614"/>
                </a:cubicBezTo>
                <a:cubicBezTo>
                  <a:pt x="1878879" y="1690614"/>
                  <a:pt x="1854168" y="1665904"/>
                  <a:pt x="1854168" y="1635423"/>
                </a:cubicBezTo>
                <a:cubicBezTo>
                  <a:pt x="1854168" y="1604942"/>
                  <a:pt x="1878879" y="1580232"/>
                  <a:pt x="1909361" y="1580232"/>
                </a:cubicBezTo>
                <a:close/>
                <a:moveTo>
                  <a:pt x="1779065" y="1580232"/>
                </a:moveTo>
                <a:cubicBezTo>
                  <a:pt x="1809547" y="1580232"/>
                  <a:pt x="1834257" y="1604942"/>
                  <a:pt x="1834257" y="1635423"/>
                </a:cubicBezTo>
                <a:cubicBezTo>
                  <a:pt x="1834257" y="1665904"/>
                  <a:pt x="1809547" y="1690614"/>
                  <a:pt x="1779065" y="1690614"/>
                </a:cubicBezTo>
                <a:cubicBezTo>
                  <a:pt x="1748583" y="1690614"/>
                  <a:pt x="1723872" y="1665904"/>
                  <a:pt x="1723872" y="1635423"/>
                </a:cubicBezTo>
                <a:cubicBezTo>
                  <a:pt x="1723872" y="1604942"/>
                  <a:pt x="1748583" y="1580232"/>
                  <a:pt x="1779065" y="1580232"/>
                </a:cubicBezTo>
                <a:close/>
                <a:moveTo>
                  <a:pt x="1645431" y="1580232"/>
                </a:moveTo>
                <a:cubicBezTo>
                  <a:pt x="1675914" y="1580232"/>
                  <a:pt x="1700623" y="1604942"/>
                  <a:pt x="1700623" y="1635423"/>
                </a:cubicBezTo>
                <a:cubicBezTo>
                  <a:pt x="1700623" y="1665904"/>
                  <a:pt x="1675914" y="1690614"/>
                  <a:pt x="1645431" y="1690614"/>
                </a:cubicBezTo>
                <a:cubicBezTo>
                  <a:pt x="1614950" y="1690614"/>
                  <a:pt x="1590238" y="1665904"/>
                  <a:pt x="1590238" y="1635423"/>
                </a:cubicBezTo>
                <a:cubicBezTo>
                  <a:pt x="1590238" y="1604942"/>
                  <a:pt x="1614950" y="1580232"/>
                  <a:pt x="1645431" y="1580232"/>
                </a:cubicBezTo>
                <a:close/>
                <a:moveTo>
                  <a:pt x="1515140" y="1580232"/>
                </a:moveTo>
                <a:cubicBezTo>
                  <a:pt x="1545619" y="1580232"/>
                  <a:pt x="1570329" y="1604942"/>
                  <a:pt x="1570329" y="1635423"/>
                </a:cubicBezTo>
                <a:cubicBezTo>
                  <a:pt x="1570329" y="1665904"/>
                  <a:pt x="1545619" y="1690614"/>
                  <a:pt x="1515140" y="1690614"/>
                </a:cubicBezTo>
                <a:cubicBezTo>
                  <a:pt x="1484656" y="1690614"/>
                  <a:pt x="1459945" y="1665904"/>
                  <a:pt x="1459945" y="1635423"/>
                </a:cubicBezTo>
                <a:cubicBezTo>
                  <a:pt x="1459945" y="1604942"/>
                  <a:pt x="1484656" y="1580232"/>
                  <a:pt x="1515140" y="1580232"/>
                </a:cubicBezTo>
                <a:close/>
                <a:moveTo>
                  <a:pt x="1381504" y="1580232"/>
                </a:moveTo>
                <a:cubicBezTo>
                  <a:pt x="1411984" y="1580232"/>
                  <a:pt x="1436697" y="1604942"/>
                  <a:pt x="1436697" y="1635423"/>
                </a:cubicBezTo>
                <a:cubicBezTo>
                  <a:pt x="1436697" y="1665904"/>
                  <a:pt x="1411984" y="1690614"/>
                  <a:pt x="1381504" y="1690614"/>
                </a:cubicBezTo>
                <a:cubicBezTo>
                  <a:pt x="1351022" y="1690614"/>
                  <a:pt x="1326312" y="1665904"/>
                  <a:pt x="1326312" y="1635423"/>
                </a:cubicBezTo>
                <a:cubicBezTo>
                  <a:pt x="1326312" y="1604942"/>
                  <a:pt x="1351022" y="1580232"/>
                  <a:pt x="1381504" y="1580232"/>
                </a:cubicBezTo>
                <a:close/>
                <a:moveTo>
                  <a:pt x="1251210" y="1580232"/>
                </a:moveTo>
                <a:cubicBezTo>
                  <a:pt x="1281690" y="1580232"/>
                  <a:pt x="1306401" y="1604942"/>
                  <a:pt x="1306401" y="1635423"/>
                </a:cubicBezTo>
                <a:cubicBezTo>
                  <a:pt x="1306401" y="1665904"/>
                  <a:pt x="1281690" y="1690614"/>
                  <a:pt x="1251210" y="1690614"/>
                </a:cubicBezTo>
                <a:cubicBezTo>
                  <a:pt x="1220727" y="1690614"/>
                  <a:pt x="1196016" y="1665904"/>
                  <a:pt x="1196016" y="1635423"/>
                </a:cubicBezTo>
                <a:cubicBezTo>
                  <a:pt x="1196016" y="1604942"/>
                  <a:pt x="1220727" y="1580232"/>
                  <a:pt x="1251210" y="1580232"/>
                </a:cubicBezTo>
                <a:close/>
                <a:moveTo>
                  <a:pt x="9068806" y="1580228"/>
                </a:moveTo>
                <a:cubicBezTo>
                  <a:pt x="9099288" y="1580228"/>
                  <a:pt x="9123998" y="1604938"/>
                  <a:pt x="9123998" y="1635419"/>
                </a:cubicBezTo>
                <a:cubicBezTo>
                  <a:pt x="9123998" y="1665900"/>
                  <a:pt x="9099288" y="1690610"/>
                  <a:pt x="9068806" y="1690610"/>
                </a:cubicBezTo>
                <a:cubicBezTo>
                  <a:pt x="9038324" y="1690610"/>
                  <a:pt x="9013614" y="1665900"/>
                  <a:pt x="9013614" y="1635419"/>
                </a:cubicBezTo>
                <a:cubicBezTo>
                  <a:pt x="9013614" y="1604938"/>
                  <a:pt x="9038324" y="1580228"/>
                  <a:pt x="9068806" y="1580228"/>
                </a:cubicBezTo>
                <a:close/>
                <a:moveTo>
                  <a:pt x="8671243" y="1580228"/>
                </a:moveTo>
                <a:cubicBezTo>
                  <a:pt x="8701725" y="1580228"/>
                  <a:pt x="8726435" y="1604938"/>
                  <a:pt x="8726435" y="1635419"/>
                </a:cubicBezTo>
                <a:cubicBezTo>
                  <a:pt x="8726435" y="1665900"/>
                  <a:pt x="8701725" y="1690610"/>
                  <a:pt x="8671243" y="1690610"/>
                </a:cubicBezTo>
                <a:cubicBezTo>
                  <a:pt x="8640761" y="1690610"/>
                  <a:pt x="8616051" y="1665900"/>
                  <a:pt x="8616051" y="1635419"/>
                </a:cubicBezTo>
                <a:cubicBezTo>
                  <a:pt x="8616051" y="1604938"/>
                  <a:pt x="8640761" y="1580228"/>
                  <a:pt x="8671243" y="1580228"/>
                </a:cubicBezTo>
                <a:close/>
                <a:moveTo>
                  <a:pt x="8537609" y="1580228"/>
                </a:moveTo>
                <a:cubicBezTo>
                  <a:pt x="8568091" y="1580228"/>
                  <a:pt x="8592801" y="1604938"/>
                  <a:pt x="8592801" y="1635419"/>
                </a:cubicBezTo>
                <a:cubicBezTo>
                  <a:pt x="8592801" y="1665900"/>
                  <a:pt x="8568091" y="1690610"/>
                  <a:pt x="8537609" y="1690610"/>
                </a:cubicBezTo>
                <a:cubicBezTo>
                  <a:pt x="8507127" y="1690610"/>
                  <a:pt x="8482417" y="1665900"/>
                  <a:pt x="8482417" y="1635419"/>
                </a:cubicBezTo>
                <a:cubicBezTo>
                  <a:pt x="8482417" y="1604938"/>
                  <a:pt x="8507127" y="1580228"/>
                  <a:pt x="8537609" y="1580228"/>
                </a:cubicBezTo>
                <a:close/>
                <a:moveTo>
                  <a:pt x="8407318" y="1580228"/>
                </a:moveTo>
                <a:cubicBezTo>
                  <a:pt x="8437800" y="1580228"/>
                  <a:pt x="8462510" y="1604938"/>
                  <a:pt x="8462510" y="1635419"/>
                </a:cubicBezTo>
                <a:cubicBezTo>
                  <a:pt x="8462510" y="1665900"/>
                  <a:pt x="8437800" y="1690610"/>
                  <a:pt x="8407318" y="1690610"/>
                </a:cubicBezTo>
                <a:cubicBezTo>
                  <a:pt x="8376836" y="1690610"/>
                  <a:pt x="8352126" y="1665900"/>
                  <a:pt x="8352126" y="1635419"/>
                </a:cubicBezTo>
                <a:cubicBezTo>
                  <a:pt x="8352126" y="1604938"/>
                  <a:pt x="8376836" y="1580228"/>
                  <a:pt x="8407318" y="1580228"/>
                </a:cubicBezTo>
                <a:close/>
                <a:moveTo>
                  <a:pt x="8273682" y="1580228"/>
                </a:moveTo>
                <a:cubicBezTo>
                  <a:pt x="8304164" y="1580228"/>
                  <a:pt x="8328874" y="1604938"/>
                  <a:pt x="8328874" y="1635419"/>
                </a:cubicBezTo>
                <a:cubicBezTo>
                  <a:pt x="8328874" y="1665900"/>
                  <a:pt x="8304164" y="1690610"/>
                  <a:pt x="8273682" y="1690610"/>
                </a:cubicBezTo>
                <a:cubicBezTo>
                  <a:pt x="8243200" y="1690610"/>
                  <a:pt x="8218490" y="1665900"/>
                  <a:pt x="8218490" y="1635419"/>
                </a:cubicBezTo>
                <a:cubicBezTo>
                  <a:pt x="8218490" y="1604938"/>
                  <a:pt x="8243200" y="1580228"/>
                  <a:pt x="8273682" y="1580228"/>
                </a:cubicBezTo>
                <a:close/>
                <a:moveTo>
                  <a:pt x="8143386" y="1580228"/>
                </a:moveTo>
                <a:cubicBezTo>
                  <a:pt x="8173868" y="1580228"/>
                  <a:pt x="8198578" y="1604938"/>
                  <a:pt x="8198578" y="1635419"/>
                </a:cubicBezTo>
                <a:cubicBezTo>
                  <a:pt x="8198578" y="1665900"/>
                  <a:pt x="8173868" y="1690610"/>
                  <a:pt x="8143386" y="1690610"/>
                </a:cubicBezTo>
                <a:cubicBezTo>
                  <a:pt x="8112904" y="1690610"/>
                  <a:pt x="8088194" y="1665900"/>
                  <a:pt x="8088194" y="1635419"/>
                </a:cubicBezTo>
                <a:cubicBezTo>
                  <a:pt x="8088194" y="1604938"/>
                  <a:pt x="8112904" y="1580228"/>
                  <a:pt x="8143386" y="1580228"/>
                </a:cubicBezTo>
                <a:close/>
                <a:moveTo>
                  <a:pt x="8009752" y="1580228"/>
                </a:moveTo>
                <a:cubicBezTo>
                  <a:pt x="8040234" y="1580228"/>
                  <a:pt x="8064944" y="1604938"/>
                  <a:pt x="8064944" y="1635419"/>
                </a:cubicBezTo>
                <a:cubicBezTo>
                  <a:pt x="8064944" y="1665900"/>
                  <a:pt x="8040234" y="1690610"/>
                  <a:pt x="8009752" y="1690610"/>
                </a:cubicBezTo>
                <a:cubicBezTo>
                  <a:pt x="7979270" y="1690610"/>
                  <a:pt x="7954560" y="1665900"/>
                  <a:pt x="7954560" y="1635419"/>
                </a:cubicBezTo>
                <a:cubicBezTo>
                  <a:pt x="7954560" y="1604938"/>
                  <a:pt x="7979270" y="1580228"/>
                  <a:pt x="8009752" y="1580228"/>
                </a:cubicBezTo>
                <a:close/>
                <a:moveTo>
                  <a:pt x="7876117" y="1580228"/>
                </a:moveTo>
                <a:cubicBezTo>
                  <a:pt x="7906599" y="1580228"/>
                  <a:pt x="7931309" y="1604938"/>
                  <a:pt x="7931309" y="1635419"/>
                </a:cubicBezTo>
                <a:cubicBezTo>
                  <a:pt x="7931309" y="1665900"/>
                  <a:pt x="7906599" y="1690610"/>
                  <a:pt x="7876117" y="1690610"/>
                </a:cubicBezTo>
                <a:cubicBezTo>
                  <a:pt x="7845635" y="1690610"/>
                  <a:pt x="7820925" y="1665900"/>
                  <a:pt x="7820925" y="1635419"/>
                </a:cubicBezTo>
                <a:cubicBezTo>
                  <a:pt x="7820925" y="1604938"/>
                  <a:pt x="7845635" y="1580228"/>
                  <a:pt x="7876117" y="1580228"/>
                </a:cubicBezTo>
                <a:close/>
                <a:moveTo>
                  <a:pt x="7745824" y="1580228"/>
                </a:moveTo>
                <a:cubicBezTo>
                  <a:pt x="7776306" y="1580228"/>
                  <a:pt x="7801016" y="1604938"/>
                  <a:pt x="7801016" y="1635419"/>
                </a:cubicBezTo>
                <a:cubicBezTo>
                  <a:pt x="7801016" y="1665900"/>
                  <a:pt x="7776306" y="1690610"/>
                  <a:pt x="7745824" y="1690610"/>
                </a:cubicBezTo>
                <a:cubicBezTo>
                  <a:pt x="7715342" y="1690610"/>
                  <a:pt x="7690632" y="1665900"/>
                  <a:pt x="7690632" y="1635419"/>
                </a:cubicBezTo>
                <a:cubicBezTo>
                  <a:pt x="7690632" y="1604938"/>
                  <a:pt x="7715342" y="1580228"/>
                  <a:pt x="7745824" y="1580228"/>
                </a:cubicBezTo>
                <a:close/>
                <a:moveTo>
                  <a:pt x="7608849" y="1580228"/>
                </a:moveTo>
                <a:cubicBezTo>
                  <a:pt x="7639331" y="1580228"/>
                  <a:pt x="7664041" y="1604938"/>
                  <a:pt x="7664041" y="1635419"/>
                </a:cubicBezTo>
                <a:cubicBezTo>
                  <a:pt x="7664041" y="1665900"/>
                  <a:pt x="7639331" y="1690610"/>
                  <a:pt x="7608849" y="1690610"/>
                </a:cubicBezTo>
                <a:cubicBezTo>
                  <a:pt x="7578367" y="1690610"/>
                  <a:pt x="7553657" y="1665900"/>
                  <a:pt x="7553657" y="1635419"/>
                </a:cubicBezTo>
                <a:cubicBezTo>
                  <a:pt x="7553657" y="1604938"/>
                  <a:pt x="7578367" y="1580228"/>
                  <a:pt x="7608849" y="1580228"/>
                </a:cubicBezTo>
                <a:close/>
                <a:moveTo>
                  <a:pt x="7481895" y="1580228"/>
                </a:moveTo>
                <a:cubicBezTo>
                  <a:pt x="7512377" y="1580228"/>
                  <a:pt x="7537087" y="1604938"/>
                  <a:pt x="7537087" y="1635419"/>
                </a:cubicBezTo>
                <a:cubicBezTo>
                  <a:pt x="7537087" y="1665900"/>
                  <a:pt x="7512377" y="1690610"/>
                  <a:pt x="7481895" y="1690610"/>
                </a:cubicBezTo>
                <a:cubicBezTo>
                  <a:pt x="7451413" y="1690610"/>
                  <a:pt x="7426703" y="1665900"/>
                  <a:pt x="7426703" y="1635419"/>
                </a:cubicBezTo>
                <a:cubicBezTo>
                  <a:pt x="7426703" y="1604938"/>
                  <a:pt x="7451413" y="1580228"/>
                  <a:pt x="7481895" y="1580228"/>
                </a:cubicBezTo>
                <a:close/>
                <a:moveTo>
                  <a:pt x="7341579" y="1580228"/>
                </a:moveTo>
                <a:cubicBezTo>
                  <a:pt x="7372061" y="1580228"/>
                  <a:pt x="7396771" y="1604938"/>
                  <a:pt x="7396771" y="1635419"/>
                </a:cubicBezTo>
                <a:cubicBezTo>
                  <a:pt x="7396771" y="1665900"/>
                  <a:pt x="7372061" y="1690610"/>
                  <a:pt x="7341579" y="1690610"/>
                </a:cubicBezTo>
                <a:cubicBezTo>
                  <a:pt x="7311097" y="1690610"/>
                  <a:pt x="7286387" y="1665900"/>
                  <a:pt x="7286387" y="1635419"/>
                </a:cubicBezTo>
                <a:cubicBezTo>
                  <a:pt x="7286387" y="1604938"/>
                  <a:pt x="7311097" y="1580228"/>
                  <a:pt x="7341579" y="1580228"/>
                </a:cubicBezTo>
                <a:close/>
                <a:moveTo>
                  <a:pt x="7211286" y="1580228"/>
                </a:moveTo>
                <a:cubicBezTo>
                  <a:pt x="7241768" y="1580228"/>
                  <a:pt x="7266478" y="1604938"/>
                  <a:pt x="7266478" y="1635419"/>
                </a:cubicBezTo>
                <a:cubicBezTo>
                  <a:pt x="7266478" y="1665900"/>
                  <a:pt x="7241768" y="1690610"/>
                  <a:pt x="7211286" y="1690610"/>
                </a:cubicBezTo>
                <a:cubicBezTo>
                  <a:pt x="7180804" y="1690610"/>
                  <a:pt x="7156094" y="1665900"/>
                  <a:pt x="7156094" y="1635419"/>
                </a:cubicBezTo>
                <a:cubicBezTo>
                  <a:pt x="7156094" y="1604938"/>
                  <a:pt x="7180804" y="1580228"/>
                  <a:pt x="7211286" y="1580228"/>
                </a:cubicBezTo>
                <a:close/>
                <a:moveTo>
                  <a:pt x="7080993" y="1580228"/>
                </a:moveTo>
                <a:cubicBezTo>
                  <a:pt x="7111475" y="1580228"/>
                  <a:pt x="7136185" y="1604938"/>
                  <a:pt x="7136185" y="1635419"/>
                </a:cubicBezTo>
                <a:cubicBezTo>
                  <a:pt x="7136185" y="1665900"/>
                  <a:pt x="7111475" y="1690610"/>
                  <a:pt x="7080993" y="1690610"/>
                </a:cubicBezTo>
                <a:cubicBezTo>
                  <a:pt x="7050511" y="1690610"/>
                  <a:pt x="7025801" y="1665900"/>
                  <a:pt x="7025801" y="1635419"/>
                </a:cubicBezTo>
                <a:cubicBezTo>
                  <a:pt x="7025801" y="1604938"/>
                  <a:pt x="7050511" y="1580228"/>
                  <a:pt x="7080993" y="1580228"/>
                </a:cubicBezTo>
                <a:close/>
                <a:moveTo>
                  <a:pt x="6947357" y="1580228"/>
                </a:moveTo>
                <a:cubicBezTo>
                  <a:pt x="6977839" y="1580228"/>
                  <a:pt x="7002549" y="1604938"/>
                  <a:pt x="7002549" y="1635419"/>
                </a:cubicBezTo>
                <a:cubicBezTo>
                  <a:pt x="7002549" y="1665900"/>
                  <a:pt x="6977839" y="1690610"/>
                  <a:pt x="6947357" y="1690610"/>
                </a:cubicBezTo>
                <a:cubicBezTo>
                  <a:pt x="6916875" y="1690610"/>
                  <a:pt x="6892165" y="1665900"/>
                  <a:pt x="6892165" y="1635419"/>
                </a:cubicBezTo>
                <a:cubicBezTo>
                  <a:pt x="6892165" y="1604938"/>
                  <a:pt x="6916875" y="1580228"/>
                  <a:pt x="6947357" y="1580228"/>
                </a:cubicBezTo>
                <a:close/>
                <a:moveTo>
                  <a:pt x="6817063" y="1580228"/>
                </a:moveTo>
                <a:cubicBezTo>
                  <a:pt x="6847545" y="1580228"/>
                  <a:pt x="6872255" y="1604938"/>
                  <a:pt x="6872255" y="1635419"/>
                </a:cubicBezTo>
                <a:cubicBezTo>
                  <a:pt x="6872255" y="1665900"/>
                  <a:pt x="6847545" y="1690610"/>
                  <a:pt x="6817063" y="1690610"/>
                </a:cubicBezTo>
                <a:cubicBezTo>
                  <a:pt x="6786581" y="1690610"/>
                  <a:pt x="6761871" y="1665900"/>
                  <a:pt x="6761871" y="1635419"/>
                </a:cubicBezTo>
                <a:cubicBezTo>
                  <a:pt x="6761871" y="1604938"/>
                  <a:pt x="6786581" y="1580228"/>
                  <a:pt x="6817063" y="1580228"/>
                </a:cubicBezTo>
                <a:close/>
                <a:moveTo>
                  <a:pt x="6683431" y="1580228"/>
                </a:moveTo>
                <a:cubicBezTo>
                  <a:pt x="6713913" y="1580228"/>
                  <a:pt x="6738623" y="1604938"/>
                  <a:pt x="6738623" y="1635419"/>
                </a:cubicBezTo>
                <a:cubicBezTo>
                  <a:pt x="6738623" y="1665900"/>
                  <a:pt x="6713913" y="1690610"/>
                  <a:pt x="6683431" y="1690610"/>
                </a:cubicBezTo>
                <a:cubicBezTo>
                  <a:pt x="6652949" y="1690610"/>
                  <a:pt x="6628239" y="1665900"/>
                  <a:pt x="6628239" y="1635419"/>
                </a:cubicBezTo>
                <a:cubicBezTo>
                  <a:pt x="6628239" y="1604938"/>
                  <a:pt x="6652949" y="1580228"/>
                  <a:pt x="6683431" y="1580228"/>
                </a:cubicBezTo>
                <a:close/>
                <a:moveTo>
                  <a:pt x="6553137" y="1580228"/>
                </a:moveTo>
                <a:cubicBezTo>
                  <a:pt x="6583619" y="1580228"/>
                  <a:pt x="6608329" y="1604938"/>
                  <a:pt x="6608329" y="1635419"/>
                </a:cubicBezTo>
                <a:cubicBezTo>
                  <a:pt x="6608329" y="1665900"/>
                  <a:pt x="6583619" y="1690610"/>
                  <a:pt x="6553137" y="1690610"/>
                </a:cubicBezTo>
                <a:cubicBezTo>
                  <a:pt x="6522655" y="1690610"/>
                  <a:pt x="6497945" y="1665900"/>
                  <a:pt x="6497945" y="1635419"/>
                </a:cubicBezTo>
                <a:cubicBezTo>
                  <a:pt x="6497945" y="1604938"/>
                  <a:pt x="6522655" y="1580228"/>
                  <a:pt x="6553137" y="1580228"/>
                </a:cubicBezTo>
                <a:close/>
                <a:moveTo>
                  <a:pt x="6419502" y="1580228"/>
                </a:moveTo>
                <a:cubicBezTo>
                  <a:pt x="6449984" y="1580228"/>
                  <a:pt x="6474694" y="1604938"/>
                  <a:pt x="6474694" y="1635419"/>
                </a:cubicBezTo>
                <a:cubicBezTo>
                  <a:pt x="6474694" y="1665900"/>
                  <a:pt x="6449984" y="1690610"/>
                  <a:pt x="6419502" y="1690610"/>
                </a:cubicBezTo>
                <a:cubicBezTo>
                  <a:pt x="6389020" y="1690610"/>
                  <a:pt x="6364310" y="1665900"/>
                  <a:pt x="6364310" y="1635419"/>
                </a:cubicBezTo>
                <a:cubicBezTo>
                  <a:pt x="6364310" y="1604938"/>
                  <a:pt x="6389020" y="1580228"/>
                  <a:pt x="6419502" y="1580228"/>
                </a:cubicBezTo>
                <a:close/>
                <a:moveTo>
                  <a:pt x="6289208" y="1580228"/>
                </a:moveTo>
                <a:cubicBezTo>
                  <a:pt x="6319690" y="1580228"/>
                  <a:pt x="6344400" y="1604938"/>
                  <a:pt x="6344400" y="1635419"/>
                </a:cubicBezTo>
                <a:cubicBezTo>
                  <a:pt x="6344400" y="1665900"/>
                  <a:pt x="6319690" y="1690610"/>
                  <a:pt x="6289208" y="1690610"/>
                </a:cubicBezTo>
                <a:cubicBezTo>
                  <a:pt x="6258726" y="1690610"/>
                  <a:pt x="6234016" y="1665900"/>
                  <a:pt x="6234016" y="1635419"/>
                </a:cubicBezTo>
                <a:cubicBezTo>
                  <a:pt x="6234016" y="1604938"/>
                  <a:pt x="6258726" y="1580228"/>
                  <a:pt x="6289208" y="1580228"/>
                </a:cubicBezTo>
                <a:close/>
                <a:moveTo>
                  <a:pt x="6155572" y="1580228"/>
                </a:moveTo>
                <a:cubicBezTo>
                  <a:pt x="6186054" y="1580228"/>
                  <a:pt x="6210764" y="1604938"/>
                  <a:pt x="6210764" y="1635419"/>
                </a:cubicBezTo>
                <a:cubicBezTo>
                  <a:pt x="6210764" y="1665900"/>
                  <a:pt x="6186054" y="1690610"/>
                  <a:pt x="6155572" y="1690610"/>
                </a:cubicBezTo>
                <a:cubicBezTo>
                  <a:pt x="6125090" y="1690610"/>
                  <a:pt x="6100380" y="1665900"/>
                  <a:pt x="6100380" y="1635419"/>
                </a:cubicBezTo>
                <a:cubicBezTo>
                  <a:pt x="6100380" y="1604938"/>
                  <a:pt x="6125090" y="1580228"/>
                  <a:pt x="6155572" y="1580228"/>
                </a:cubicBezTo>
                <a:close/>
                <a:moveTo>
                  <a:pt x="6021938" y="1580228"/>
                </a:moveTo>
                <a:cubicBezTo>
                  <a:pt x="6052420" y="1580228"/>
                  <a:pt x="6077130" y="1604938"/>
                  <a:pt x="6077130" y="1635419"/>
                </a:cubicBezTo>
                <a:cubicBezTo>
                  <a:pt x="6077130" y="1665900"/>
                  <a:pt x="6052420" y="1690610"/>
                  <a:pt x="6021938" y="1690610"/>
                </a:cubicBezTo>
                <a:cubicBezTo>
                  <a:pt x="5991456" y="1690610"/>
                  <a:pt x="5966746" y="1665900"/>
                  <a:pt x="5966746" y="1635419"/>
                </a:cubicBezTo>
                <a:cubicBezTo>
                  <a:pt x="5966746" y="1604938"/>
                  <a:pt x="5991456" y="1580228"/>
                  <a:pt x="6021938" y="1580228"/>
                </a:cubicBezTo>
                <a:close/>
                <a:moveTo>
                  <a:pt x="5884964" y="1580228"/>
                </a:moveTo>
                <a:cubicBezTo>
                  <a:pt x="5915446" y="1580228"/>
                  <a:pt x="5940156" y="1604938"/>
                  <a:pt x="5940156" y="1635419"/>
                </a:cubicBezTo>
                <a:cubicBezTo>
                  <a:pt x="5940156" y="1665900"/>
                  <a:pt x="5915446" y="1690610"/>
                  <a:pt x="5884964" y="1690610"/>
                </a:cubicBezTo>
                <a:cubicBezTo>
                  <a:pt x="5854482" y="1690610"/>
                  <a:pt x="5829772" y="1665900"/>
                  <a:pt x="5829772" y="1635419"/>
                </a:cubicBezTo>
                <a:cubicBezTo>
                  <a:pt x="5829772" y="1604938"/>
                  <a:pt x="5854482" y="1580228"/>
                  <a:pt x="5884964" y="1580228"/>
                </a:cubicBezTo>
                <a:close/>
                <a:moveTo>
                  <a:pt x="5754670" y="1580228"/>
                </a:moveTo>
                <a:cubicBezTo>
                  <a:pt x="5785152" y="1580228"/>
                  <a:pt x="5809862" y="1604938"/>
                  <a:pt x="5809862" y="1635419"/>
                </a:cubicBezTo>
                <a:cubicBezTo>
                  <a:pt x="5809862" y="1665900"/>
                  <a:pt x="5785152" y="1690610"/>
                  <a:pt x="5754670" y="1690610"/>
                </a:cubicBezTo>
                <a:cubicBezTo>
                  <a:pt x="5724188" y="1690610"/>
                  <a:pt x="5699478" y="1665900"/>
                  <a:pt x="5699478" y="1635419"/>
                </a:cubicBezTo>
                <a:cubicBezTo>
                  <a:pt x="5699478" y="1604938"/>
                  <a:pt x="5724188" y="1580228"/>
                  <a:pt x="5754670" y="1580228"/>
                </a:cubicBezTo>
                <a:close/>
                <a:moveTo>
                  <a:pt x="5621035" y="1580228"/>
                </a:moveTo>
                <a:cubicBezTo>
                  <a:pt x="5651517" y="1580228"/>
                  <a:pt x="5676227" y="1604938"/>
                  <a:pt x="5676227" y="1635419"/>
                </a:cubicBezTo>
                <a:cubicBezTo>
                  <a:pt x="5676227" y="1665900"/>
                  <a:pt x="5651517" y="1690610"/>
                  <a:pt x="5621035" y="1690610"/>
                </a:cubicBezTo>
                <a:cubicBezTo>
                  <a:pt x="5590553" y="1690610"/>
                  <a:pt x="5565843" y="1665900"/>
                  <a:pt x="5565843" y="1635419"/>
                </a:cubicBezTo>
                <a:cubicBezTo>
                  <a:pt x="5565843" y="1604938"/>
                  <a:pt x="5590553" y="1580228"/>
                  <a:pt x="5621035" y="1580228"/>
                </a:cubicBezTo>
                <a:close/>
                <a:moveTo>
                  <a:pt x="5357105" y="1580228"/>
                </a:moveTo>
                <a:cubicBezTo>
                  <a:pt x="5387587" y="1580228"/>
                  <a:pt x="5412297" y="1604938"/>
                  <a:pt x="5412297" y="1635419"/>
                </a:cubicBezTo>
                <a:cubicBezTo>
                  <a:pt x="5412297" y="1665900"/>
                  <a:pt x="5387587" y="1690610"/>
                  <a:pt x="5357105" y="1690610"/>
                </a:cubicBezTo>
                <a:cubicBezTo>
                  <a:pt x="5326623" y="1690610"/>
                  <a:pt x="5301913" y="1665900"/>
                  <a:pt x="5301913" y="1635419"/>
                </a:cubicBezTo>
                <a:cubicBezTo>
                  <a:pt x="5301913" y="1604938"/>
                  <a:pt x="5326623" y="1580228"/>
                  <a:pt x="5357105" y="1580228"/>
                </a:cubicBezTo>
                <a:close/>
                <a:moveTo>
                  <a:pt x="5223473" y="1580228"/>
                </a:moveTo>
                <a:cubicBezTo>
                  <a:pt x="5253955" y="1580228"/>
                  <a:pt x="5278665" y="1604938"/>
                  <a:pt x="5278665" y="1635419"/>
                </a:cubicBezTo>
                <a:cubicBezTo>
                  <a:pt x="5278665" y="1665900"/>
                  <a:pt x="5253955" y="1690610"/>
                  <a:pt x="5223473" y="1690610"/>
                </a:cubicBezTo>
                <a:cubicBezTo>
                  <a:pt x="5192991" y="1690610"/>
                  <a:pt x="5168281" y="1665900"/>
                  <a:pt x="5168281" y="1635419"/>
                </a:cubicBezTo>
                <a:cubicBezTo>
                  <a:pt x="5168281" y="1604938"/>
                  <a:pt x="5192991" y="1580228"/>
                  <a:pt x="5223473" y="1580228"/>
                </a:cubicBezTo>
                <a:close/>
                <a:moveTo>
                  <a:pt x="5093178" y="1580228"/>
                </a:moveTo>
                <a:cubicBezTo>
                  <a:pt x="5123660" y="1580228"/>
                  <a:pt x="5148370" y="1604938"/>
                  <a:pt x="5148370" y="1635419"/>
                </a:cubicBezTo>
                <a:cubicBezTo>
                  <a:pt x="5148370" y="1665900"/>
                  <a:pt x="5123660" y="1690610"/>
                  <a:pt x="5093178" y="1690610"/>
                </a:cubicBezTo>
                <a:cubicBezTo>
                  <a:pt x="5062696" y="1690610"/>
                  <a:pt x="5037986" y="1665900"/>
                  <a:pt x="5037986" y="1635419"/>
                </a:cubicBezTo>
                <a:cubicBezTo>
                  <a:pt x="5037986" y="1604938"/>
                  <a:pt x="5062696" y="1580228"/>
                  <a:pt x="5093178" y="1580228"/>
                </a:cubicBezTo>
                <a:close/>
                <a:moveTo>
                  <a:pt x="4959543" y="1580228"/>
                </a:moveTo>
                <a:cubicBezTo>
                  <a:pt x="4990025" y="1580228"/>
                  <a:pt x="5014735" y="1604938"/>
                  <a:pt x="5014735" y="1635419"/>
                </a:cubicBezTo>
                <a:cubicBezTo>
                  <a:pt x="5014735" y="1665900"/>
                  <a:pt x="4990025" y="1690610"/>
                  <a:pt x="4959543" y="1690610"/>
                </a:cubicBezTo>
                <a:cubicBezTo>
                  <a:pt x="4929061" y="1690610"/>
                  <a:pt x="4904351" y="1665900"/>
                  <a:pt x="4904351" y="1635419"/>
                </a:cubicBezTo>
                <a:cubicBezTo>
                  <a:pt x="4904351" y="1604938"/>
                  <a:pt x="4929061" y="1580228"/>
                  <a:pt x="4959543" y="1580228"/>
                </a:cubicBezTo>
                <a:close/>
                <a:moveTo>
                  <a:pt x="4829251" y="1580228"/>
                </a:moveTo>
                <a:cubicBezTo>
                  <a:pt x="4859733" y="1580228"/>
                  <a:pt x="4884443" y="1604938"/>
                  <a:pt x="4884443" y="1635419"/>
                </a:cubicBezTo>
                <a:cubicBezTo>
                  <a:pt x="4884443" y="1665900"/>
                  <a:pt x="4859733" y="1690610"/>
                  <a:pt x="4829251" y="1690610"/>
                </a:cubicBezTo>
                <a:cubicBezTo>
                  <a:pt x="4798769" y="1690610"/>
                  <a:pt x="4774059" y="1665900"/>
                  <a:pt x="4774059" y="1635419"/>
                </a:cubicBezTo>
                <a:cubicBezTo>
                  <a:pt x="4774059" y="1604938"/>
                  <a:pt x="4798769" y="1580228"/>
                  <a:pt x="4829251" y="1580228"/>
                </a:cubicBezTo>
                <a:close/>
                <a:moveTo>
                  <a:pt x="4695613" y="1580228"/>
                </a:moveTo>
                <a:cubicBezTo>
                  <a:pt x="4726095" y="1580228"/>
                  <a:pt x="4750805" y="1604938"/>
                  <a:pt x="4750805" y="1635419"/>
                </a:cubicBezTo>
                <a:cubicBezTo>
                  <a:pt x="4750805" y="1665900"/>
                  <a:pt x="4726095" y="1690610"/>
                  <a:pt x="4695613" y="1690610"/>
                </a:cubicBezTo>
                <a:cubicBezTo>
                  <a:pt x="4665131" y="1690610"/>
                  <a:pt x="4640421" y="1665900"/>
                  <a:pt x="4640421" y="1635419"/>
                </a:cubicBezTo>
                <a:cubicBezTo>
                  <a:pt x="4640421" y="1604938"/>
                  <a:pt x="4665131" y="1580228"/>
                  <a:pt x="4695613" y="1580228"/>
                </a:cubicBezTo>
                <a:close/>
                <a:moveTo>
                  <a:pt x="4565322" y="1580228"/>
                </a:moveTo>
                <a:cubicBezTo>
                  <a:pt x="4595804" y="1580228"/>
                  <a:pt x="4620514" y="1604938"/>
                  <a:pt x="4620514" y="1635419"/>
                </a:cubicBezTo>
                <a:cubicBezTo>
                  <a:pt x="4620514" y="1665900"/>
                  <a:pt x="4595804" y="1690610"/>
                  <a:pt x="4565322" y="1690610"/>
                </a:cubicBezTo>
                <a:cubicBezTo>
                  <a:pt x="4534840" y="1690610"/>
                  <a:pt x="4510130" y="1665900"/>
                  <a:pt x="4510130" y="1635419"/>
                </a:cubicBezTo>
                <a:cubicBezTo>
                  <a:pt x="4510130" y="1604938"/>
                  <a:pt x="4534840" y="1580228"/>
                  <a:pt x="4565322" y="1580228"/>
                </a:cubicBezTo>
                <a:close/>
                <a:moveTo>
                  <a:pt x="3098681" y="1580228"/>
                </a:moveTo>
                <a:cubicBezTo>
                  <a:pt x="3129163" y="1580228"/>
                  <a:pt x="3153873" y="1604938"/>
                  <a:pt x="3153873" y="1635419"/>
                </a:cubicBezTo>
                <a:cubicBezTo>
                  <a:pt x="3153873" y="1665900"/>
                  <a:pt x="3129163" y="1690610"/>
                  <a:pt x="3098681" y="1690610"/>
                </a:cubicBezTo>
                <a:cubicBezTo>
                  <a:pt x="3068199" y="1690610"/>
                  <a:pt x="3043489" y="1665900"/>
                  <a:pt x="3043489" y="1635419"/>
                </a:cubicBezTo>
                <a:cubicBezTo>
                  <a:pt x="3043489" y="1604938"/>
                  <a:pt x="3068199" y="1580228"/>
                  <a:pt x="3098681" y="1580228"/>
                </a:cubicBezTo>
                <a:close/>
                <a:moveTo>
                  <a:pt x="2971729" y="1580228"/>
                </a:moveTo>
                <a:cubicBezTo>
                  <a:pt x="3002211" y="1580228"/>
                  <a:pt x="3026921" y="1604938"/>
                  <a:pt x="3026921" y="1635419"/>
                </a:cubicBezTo>
                <a:cubicBezTo>
                  <a:pt x="3026921" y="1665900"/>
                  <a:pt x="3002211" y="1690610"/>
                  <a:pt x="2971729" y="1690610"/>
                </a:cubicBezTo>
                <a:cubicBezTo>
                  <a:pt x="2941247" y="1690610"/>
                  <a:pt x="2916537" y="1665900"/>
                  <a:pt x="2916537" y="1635419"/>
                </a:cubicBezTo>
                <a:cubicBezTo>
                  <a:pt x="2916537" y="1604938"/>
                  <a:pt x="2941247" y="1580228"/>
                  <a:pt x="2971729" y="1580228"/>
                </a:cubicBezTo>
                <a:close/>
                <a:moveTo>
                  <a:pt x="2834783" y="1580228"/>
                </a:moveTo>
                <a:cubicBezTo>
                  <a:pt x="2865264" y="1580228"/>
                  <a:pt x="2889974" y="1604938"/>
                  <a:pt x="2889974" y="1635419"/>
                </a:cubicBezTo>
                <a:cubicBezTo>
                  <a:pt x="2889974" y="1665900"/>
                  <a:pt x="2865264" y="1690610"/>
                  <a:pt x="2834783" y="1690610"/>
                </a:cubicBezTo>
                <a:cubicBezTo>
                  <a:pt x="2804300" y="1690610"/>
                  <a:pt x="2779590" y="1665900"/>
                  <a:pt x="2779590" y="1635419"/>
                </a:cubicBezTo>
                <a:cubicBezTo>
                  <a:pt x="2779590" y="1604938"/>
                  <a:pt x="2804300" y="1580228"/>
                  <a:pt x="2834783" y="1580228"/>
                </a:cubicBezTo>
                <a:close/>
                <a:moveTo>
                  <a:pt x="2707828" y="1580228"/>
                </a:moveTo>
                <a:cubicBezTo>
                  <a:pt x="2738310" y="1580228"/>
                  <a:pt x="2763021" y="1604938"/>
                  <a:pt x="2763021" y="1635419"/>
                </a:cubicBezTo>
                <a:cubicBezTo>
                  <a:pt x="2763021" y="1665900"/>
                  <a:pt x="2738310" y="1690610"/>
                  <a:pt x="2707828" y="1690610"/>
                </a:cubicBezTo>
                <a:cubicBezTo>
                  <a:pt x="2677345" y="1690610"/>
                  <a:pt x="2652636" y="1665900"/>
                  <a:pt x="2652636" y="1635419"/>
                </a:cubicBezTo>
                <a:cubicBezTo>
                  <a:pt x="2652636" y="1604938"/>
                  <a:pt x="2677345" y="1580228"/>
                  <a:pt x="2707828" y="1580228"/>
                </a:cubicBezTo>
                <a:close/>
                <a:moveTo>
                  <a:pt x="2570854" y="1580228"/>
                </a:moveTo>
                <a:cubicBezTo>
                  <a:pt x="2601336" y="1580228"/>
                  <a:pt x="2626046" y="1604938"/>
                  <a:pt x="2626046" y="1635419"/>
                </a:cubicBezTo>
                <a:cubicBezTo>
                  <a:pt x="2626046" y="1665900"/>
                  <a:pt x="2601336" y="1690610"/>
                  <a:pt x="2570854" y="1690610"/>
                </a:cubicBezTo>
                <a:cubicBezTo>
                  <a:pt x="2540372" y="1690610"/>
                  <a:pt x="2515662" y="1665900"/>
                  <a:pt x="2515662" y="1635419"/>
                </a:cubicBezTo>
                <a:cubicBezTo>
                  <a:pt x="2515662" y="1604938"/>
                  <a:pt x="2540372" y="1580228"/>
                  <a:pt x="2570854" y="1580228"/>
                </a:cubicBezTo>
                <a:close/>
                <a:moveTo>
                  <a:pt x="2437218" y="1580228"/>
                </a:moveTo>
                <a:cubicBezTo>
                  <a:pt x="2467700" y="1580228"/>
                  <a:pt x="2492409" y="1604938"/>
                  <a:pt x="2492409" y="1635419"/>
                </a:cubicBezTo>
                <a:cubicBezTo>
                  <a:pt x="2492409" y="1665900"/>
                  <a:pt x="2467700" y="1690610"/>
                  <a:pt x="2437218" y="1690610"/>
                </a:cubicBezTo>
                <a:cubicBezTo>
                  <a:pt x="2406736" y="1690610"/>
                  <a:pt x="2382026" y="1665900"/>
                  <a:pt x="2382026" y="1635419"/>
                </a:cubicBezTo>
                <a:cubicBezTo>
                  <a:pt x="2382026" y="1604938"/>
                  <a:pt x="2406736" y="1580228"/>
                  <a:pt x="2437218" y="1580228"/>
                </a:cubicBezTo>
                <a:close/>
                <a:moveTo>
                  <a:pt x="2303586" y="1580228"/>
                </a:moveTo>
                <a:cubicBezTo>
                  <a:pt x="2334067" y="1580228"/>
                  <a:pt x="2358778" y="1604938"/>
                  <a:pt x="2358778" y="1635419"/>
                </a:cubicBezTo>
                <a:cubicBezTo>
                  <a:pt x="2358778" y="1665900"/>
                  <a:pt x="2334067" y="1690610"/>
                  <a:pt x="2303586" y="1690610"/>
                </a:cubicBezTo>
                <a:cubicBezTo>
                  <a:pt x="2273104" y="1690610"/>
                  <a:pt x="2248394" y="1665900"/>
                  <a:pt x="2248394" y="1635419"/>
                </a:cubicBezTo>
                <a:cubicBezTo>
                  <a:pt x="2248394" y="1604938"/>
                  <a:pt x="2273104" y="1580228"/>
                  <a:pt x="2303586" y="1580228"/>
                </a:cubicBezTo>
                <a:close/>
                <a:moveTo>
                  <a:pt x="2173293" y="1580228"/>
                </a:moveTo>
                <a:cubicBezTo>
                  <a:pt x="2203775" y="1580228"/>
                  <a:pt x="2228486" y="1604938"/>
                  <a:pt x="2228486" y="1635419"/>
                </a:cubicBezTo>
                <a:cubicBezTo>
                  <a:pt x="2228486" y="1665900"/>
                  <a:pt x="2203775" y="1690610"/>
                  <a:pt x="2173293" y="1690610"/>
                </a:cubicBezTo>
                <a:cubicBezTo>
                  <a:pt x="2142811" y="1690610"/>
                  <a:pt x="2118101" y="1665900"/>
                  <a:pt x="2118101" y="1635419"/>
                </a:cubicBezTo>
                <a:cubicBezTo>
                  <a:pt x="2118101" y="1604938"/>
                  <a:pt x="2142811" y="1580228"/>
                  <a:pt x="2173293" y="1580228"/>
                </a:cubicBezTo>
                <a:close/>
                <a:moveTo>
                  <a:pt x="2039658" y="1580228"/>
                </a:moveTo>
                <a:cubicBezTo>
                  <a:pt x="2070140" y="1580228"/>
                  <a:pt x="2094851" y="1604938"/>
                  <a:pt x="2094851" y="1635419"/>
                </a:cubicBezTo>
                <a:cubicBezTo>
                  <a:pt x="2094851" y="1665900"/>
                  <a:pt x="2070140" y="1690610"/>
                  <a:pt x="2039658" y="1690610"/>
                </a:cubicBezTo>
                <a:cubicBezTo>
                  <a:pt x="2009176" y="1690610"/>
                  <a:pt x="1984465" y="1665900"/>
                  <a:pt x="1984465" y="1635419"/>
                </a:cubicBezTo>
                <a:cubicBezTo>
                  <a:pt x="1984465" y="1604938"/>
                  <a:pt x="2009176" y="1580228"/>
                  <a:pt x="2039658" y="1580228"/>
                </a:cubicBezTo>
                <a:close/>
                <a:moveTo>
                  <a:pt x="9068807" y="1459958"/>
                </a:moveTo>
                <a:cubicBezTo>
                  <a:pt x="9099289" y="1459958"/>
                  <a:pt x="9123999" y="1484668"/>
                  <a:pt x="9123999" y="1515149"/>
                </a:cubicBezTo>
                <a:cubicBezTo>
                  <a:pt x="9123999" y="1545630"/>
                  <a:pt x="9099289" y="1570340"/>
                  <a:pt x="9068807" y="1570340"/>
                </a:cubicBezTo>
                <a:cubicBezTo>
                  <a:pt x="9038325" y="1570340"/>
                  <a:pt x="9013615" y="1545630"/>
                  <a:pt x="9013615" y="1515149"/>
                </a:cubicBezTo>
                <a:cubicBezTo>
                  <a:pt x="9013615" y="1484668"/>
                  <a:pt x="9038325" y="1459958"/>
                  <a:pt x="9068807" y="1459958"/>
                </a:cubicBezTo>
                <a:close/>
                <a:moveTo>
                  <a:pt x="8671244" y="1459958"/>
                </a:moveTo>
                <a:cubicBezTo>
                  <a:pt x="8701726" y="1459958"/>
                  <a:pt x="8726436" y="1484668"/>
                  <a:pt x="8726436" y="1515149"/>
                </a:cubicBezTo>
                <a:cubicBezTo>
                  <a:pt x="8726436" y="1545630"/>
                  <a:pt x="8701726" y="1570340"/>
                  <a:pt x="8671244" y="1570340"/>
                </a:cubicBezTo>
                <a:cubicBezTo>
                  <a:pt x="8640762" y="1570340"/>
                  <a:pt x="8616052" y="1545630"/>
                  <a:pt x="8616052" y="1515149"/>
                </a:cubicBezTo>
                <a:cubicBezTo>
                  <a:pt x="8616052" y="1484668"/>
                  <a:pt x="8640762" y="1459958"/>
                  <a:pt x="8671244" y="1459958"/>
                </a:cubicBezTo>
                <a:close/>
                <a:moveTo>
                  <a:pt x="8537612" y="1459958"/>
                </a:moveTo>
                <a:cubicBezTo>
                  <a:pt x="8568094" y="1459958"/>
                  <a:pt x="8592804" y="1484668"/>
                  <a:pt x="8592804" y="1515149"/>
                </a:cubicBezTo>
                <a:cubicBezTo>
                  <a:pt x="8592804" y="1545630"/>
                  <a:pt x="8568094" y="1570340"/>
                  <a:pt x="8537612" y="1570340"/>
                </a:cubicBezTo>
                <a:cubicBezTo>
                  <a:pt x="8507130" y="1570340"/>
                  <a:pt x="8482420" y="1545630"/>
                  <a:pt x="8482420" y="1515149"/>
                </a:cubicBezTo>
                <a:cubicBezTo>
                  <a:pt x="8482420" y="1484668"/>
                  <a:pt x="8507130" y="1459958"/>
                  <a:pt x="8537612" y="1459958"/>
                </a:cubicBezTo>
                <a:close/>
                <a:moveTo>
                  <a:pt x="8407316" y="1459958"/>
                </a:moveTo>
                <a:cubicBezTo>
                  <a:pt x="8437798" y="1459958"/>
                  <a:pt x="8462508" y="1484668"/>
                  <a:pt x="8462508" y="1515149"/>
                </a:cubicBezTo>
                <a:cubicBezTo>
                  <a:pt x="8462508" y="1545630"/>
                  <a:pt x="8437798" y="1570340"/>
                  <a:pt x="8407316" y="1570340"/>
                </a:cubicBezTo>
                <a:cubicBezTo>
                  <a:pt x="8376834" y="1570340"/>
                  <a:pt x="8352124" y="1545630"/>
                  <a:pt x="8352124" y="1515149"/>
                </a:cubicBezTo>
                <a:cubicBezTo>
                  <a:pt x="8352124" y="1484668"/>
                  <a:pt x="8376834" y="1459958"/>
                  <a:pt x="8407316" y="1459958"/>
                </a:cubicBezTo>
                <a:close/>
                <a:moveTo>
                  <a:pt x="8273682" y="1459958"/>
                </a:moveTo>
                <a:cubicBezTo>
                  <a:pt x="8304164" y="1459958"/>
                  <a:pt x="8328874" y="1484668"/>
                  <a:pt x="8328874" y="1515149"/>
                </a:cubicBezTo>
                <a:cubicBezTo>
                  <a:pt x="8328874" y="1545630"/>
                  <a:pt x="8304164" y="1570340"/>
                  <a:pt x="8273682" y="1570340"/>
                </a:cubicBezTo>
                <a:cubicBezTo>
                  <a:pt x="8243200" y="1570340"/>
                  <a:pt x="8218490" y="1545630"/>
                  <a:pt x="8218490" y="1515149"/>
                </a:cubicBezTo>
                <a:cubicBezTo>
                  <a:pt x="8218490" y="1484668"/>
                  <a:pt x="8243200" y="1459958"/>
                  <a:pt x="8273682" y="1459958"/>
                </a:cubicBezTo>
                <a:close/>
                <a:moveTo>
                  <a:pt x="8143388" y="1459958"/>
                </a:moveTo>
                <a:cubicBezTo>
                  <a:pt x="8173870" y="1459958"/>
                  <a:pt x="8198580" y="1484668"/>
                  <a:pt x="8198580" y="1515149"/>
                </a:cubicBezTo>
                <a:cubicBezTo>
                  <a:pt x="8198580" y="1545630"/>
                  <a:pt x="8173870" y="1570340"/>
                  <a:pt x="8143388" y="1570340"/>
                </a:cubicBezTo>
                <a:cubicBezTo>
                  <a:pt x="8112906" y="1570340"/>
                  <a:pt x="8088196" y="1545630"/>
                  <a:pt x="8088196" y="1515149"/>
                </a:cubicBezTo>
                <a:cubicBezTo>
                  <a:pt x="8088196" y="1484668"/>
                  <a:pt x="8112906" y="1459958"/>
                  <a:pt x="8143388" y="1459958"/>
                </a:cubicBezTo>
                <a:close/>
                <a:moveTo>
                  <a:pt x="8009753" y="1459958"/>
                </a:moveTo>
                <a:cubicBezTo>
                  <a:pt x="8040235" y="1459958"/>
                  <a:pt x="8064945" y="1484668"/>
                  <a:pt x="8064945" y="1515149"/>
                </a:cubicBezTo>
                <a:cubicBezTo>
                  <a:pt x="8064945" y="1545630"/>
                  <a:pt x="8040235" y="1570340"/>
                  <a:pt x="8009753" y="1570340"/>
                </a:cubicBezTo>
                <a:cubicBezTo>
                  <a:pt x="7979271" y="1570340"/>
                  <a:pt x="7954561" y="1545630"/>
                  <a:pt x="7954561" y="1515149"/>
                </a:cubicBezTo>
                <a:cubicBezTo>
                  <a:pt x="7954561" y="1484668"/>
                  <a:pt x="7979271" y="1459958"/>
                  <a:pt x="8009753" y="1459958"/>
                </a:cubicBezTo>
                <a:close/>
                <a:moveTo>
                  <a:pt x="7876118" y="1459958"/>
                </a:moveTo>
                <a:cubicBezTo>
                  <a:pt x="7906600" y="1459958"/>
                  <a:pt x="7931310" y="1484668"/>
                  <a:pt x="7931310" y="1515149"/>
                </a:cubicBezTo>
                <a:cubicBezTo>
                  <a:pt x="7931310" y="1545630"/>
                  <a:pt x="7906600" y="1570340"/>
                  <a:pt x="7876118" y="1570340"/>
                </a:cubicBezTo>
                <a:cubicBezTo>
                  <a:pt x="7845636" y="1570340"/>
                  <a:pt x="7820926" y="1545630"/>
                  <a:pt x="7820926" y="1515149"/>
                </a:cubicBezTo>
                <a:cubicBezTo>
                  <a:pt x="7820926" y="1484668"/>
                  <a:pt x="7845636" y="1459958"/>
                  <a:pt x="7876118" y="1459958"/>
                </a:cubicBezTo>
                <a:close/>
                <a:moveTo>
                  <a:pt x="7745823" y="1459958"/>
                </a:moveTo>
                <a:cubicBezTo>
                  <a:pt x="7776305" y="1459958"/>
                  <a:pt x="7801015" y="1484668"/>
                  <a:pt x="7801015" y="1515149"/>
                </a:cubicBezTo>
                <a:cubicBezTo>
                  <a:pt x="7801015" y="1545630"/>
                  <a:pt x="7776305" y="1570340"/>
                  <a:pt x="7745823" y="1570340"/>
                </a:cubicBezTo>
                <a:cubicBezTo>
                  <a:pt x="7715341" y="1570340"/>
                  <a:pt x="7690631" y="1545630"/>
                  <a:pt x="7690631" y="1515149"/>
                </a:cubicBezTo>
                <a:cubicBezTo>
                  <a:pt x="7690631" y="1484668"/>
                  <a:pt x="7715341" y="1459958"/>
                  <a:pt x="7745823" y="1459958"/>
                </a:cubicBezTo>
                <a:close/>
                <a:moveTo>
                  <a:pt x="7608849" y="1459958"/>
                </a:moveTo>
                <a:cubicBezTo>
                  <a:pt x="7639331" y="1459958"/>
                  <a:pt x="7664041" y="1484668"/>
                  <a:pt x="7664041" y="1515149"/>
                </a:cubicBezTo>
                <a:cubicBezTo>
                  <a:pt x="7664041" y="1545630"/>
                  <a:pt x="7639331" y="1570340"/>
                  <a:pt x="7608849" y="1570340"/>
                </a:cubicBezTo>
                <a:cubicBezTo>
                  <a:pt x="7578367" y="1570340"/>
                  <a:pt x="7553657" y="1545630"/>
                  <a:pt x="7553657" y="1515149"/>
                </a:cubicBezTo>
                <a:cubicBezTo>
                  <a:pt x="7553657" y="1484668"/>
                  <a:pt x="7578367" y="1459958"/>
                  <a:pt x="7608849" y="1459958"/>
                </a:cubicBezTo>
                <a:close/>
                <a:moveTo>
                  <a:pt x="7481897" y="1459958"/>
                </a:moveTo>
                <a:cubicBezTo>
                  <a:pt x="7512379" y="1459958"/>
                  <a:pt x="7537089" y="1484668"/>
                  <a:pt x="7537089" y="1515149"/>
                </a:cubicBezTo>
                <a:cubicBezTo>
                  <a:pt x="7537089" y="1545630"/>
                  <a:pt x="7512379" y="1570340"/>
                  <a:pt x="7481897" y="1570340"/>
                </a:cubicBezTo>
                <a:cubicBezTo>
                  <a:pt x="7451415" y="1570340"/>
                  <a:pt x="7426705" y="1545630"/>
                  <a:pt x="7426705" y="1515149"/>
                </a:cubicBezTo>
                <a:cubicBezTo>
                  <a:pt x="7426705" y="1484668"/>
                  <a:pt x="7451415" y="1459958"/>
                  <a:pt x="7481897" y="1459958"/>
                </a:cubicBezTo>
                <a:close/>
                <a:moveTo>
                  <a:pt x="7341579" y="1459958"/>
                </a:moveTo>
                <a:cubicBezTo>
                  <a:pt x="7372061" y="1459958"/>
                  <a:pt x="7396771" y="1484668"/>
                  <a:pt x="7396771" y="1515149"/>
                </a:cubicBezTo>
                <a:cubicBezTo>
                  <a:pt x="7396771" y="1545630"/>
                  <a:pt x="7372061" y="1570340"/>
                  <a:pt x="7341579" y="1570340"/>
                </a:cubicBezTo>
                <a:cubicBezTo>
                  <a:pt x="7311097" y="1570340"/>
                  <a:pt x="7286387" y="1545630"/>
                  <a:pt x="7286387" y="1515149"/>
                </a:cubicBezTo>
                <a:cubicBezTo>
                  <a:pt x="7286387" y="1484668"/>
                  <a:pt x="7311097" y="1459958"/>
                  <a:pt x="7341579" y="1459958"/>
                </a:cubicBezTo>
                <a:close/>
                <a:moveTo>
                  <a:pt x="7211286" y="1459958"/>
                </a:moveTo>
                <a:cubicBezTo>
                  <a:pt x="7241768" y="1459958"/>
                  <a:pt x="7266478" y="1484668"/>
                  <a:pt x="7266478" y="1515149"/>
                </a:cubicBezTo>
                <a:cubicBezTo>
                  <a:pt x="7266478" y="1545630"/>
                  <a:pt x="7241768" y="1570340"/>
                  <a:pt x="7211286" y="1570340"/>
                </a:cubicBezTo>
                <a:cubicBezTo>
                  <a:pt x="7180804" y="1570340"/>
                  <a:pt x="7156094" y="1545630"/>
                  <a:pt x="7156094" y="1515149"/>
                </a:cubicBezTo>
                <a:cubicBezTo>
                  <a:pt x="7156094" y="1484668"/>
                  <a:pt x="7180804" y="1459958"/>
                  <a:pt x="7211286" y="1459958"/>
                </a:cubicBezTo>
                <a:close/>
                <a:moveTo>
                  <a:pt x="7080993" y="1459958"/>
                </a:moveTo>
                <a:cubicBezTo>
                  <a:pt x="7111475" y="1459958"/>
                  <a:pt x="7136185" y="1484668"/>
                  <a:pt x="7136185" y="1515149"/>
                </a:cubicBezTo>
                <a:cubicBezTo>
                  <a:pt x="7136185" y="1545630"/>
                  <a:pt x="7111475" y="1570340"/>
                  <a:pt x="7080993" y="1570340"/>
                </a:cubicBezTo>
                <a:cubicBezTo>
                  <a:pt x="7050511" y="1570340"/>
                  <a:pt x="7025801" y="1545630"/>
                  <a:pt x="7025801" y="1515149"/>
                </a:cubicBezTo>
                <a:cubicBezTo>
                  <a:pt x="7025801" y="1484668"/>
                  <a:pt x="7050511" y="1459958"/>
                  <a:pt x="7080993" y="1459958"/>
                </a:cubicBezTo>
                <a:close/>
                <a:moveTo>
                  <a:pt x="6947357" y="1459958"/>
                </a:moveTo>
                <a:cubicBezTo>
                  <a:pt x="6977839" y="1459958"/>
                  <a:pt x="7002549" y="1484668"/>
                  <a:pt x="7002549" y="1515149"/>
                </a:cubicBezTo>
                <a:cubicBezTo>
                  <a:pt x="7002549" y="1545630"/>
                  <a:pt x="6977839" y="1570340"/>
                  <a:pt x="6947357" y="1570340"/>
                </a:cubicBezTo>
                <a:cubicBezTo>
                  <a:pt x="6916875" y="1570340"/>
                  <a:pt x="6892165" y="1545630"/>
                  <a:pt x="6892165" y="1515149"/>
                </a:cubicBezTo>
                <a:cubicBezTo>
                  <a:pt x="6892165" y="1484668"/>
                  <a:pt x="6916875" y="1459958"/>
                  <a:pt x="6947357" y="1459958"/>
                </a:cubicBezTo>
                <a:close/>
                <a:moveTo>
                  <a:pt x="6817064" y="1459958"/>
                </a:moveTo>
                <a:cubicBezTo>
                  <a:pt x="6847546" y="1459958"/>
                  <a:pt x="6872256" y="1484668"/>
                  <a:pt x="6872256" y="1515149"/>
                </a:cubicBezTo>
                <a:cubicBezTo>
                  <a:pt x="6872256" y="1545630"/>
                  <a:pt x="6847546" y="1570340"/>
                  <a:pt x="6817064" y="1570340"/>
                </a:cubicBezTo>
                <a:cubicBezTo>
                  <a:pt x="6786582" y="1570340"/>
                  <a:pt x="6761872" y="1545630"/>
                  <a:pt x="6761872" y="1515149"/>
                </a:cubicBezTo>
                <a:cubicBezTo>
                  <a:pt x="6761872" y="1484668"/>
                  <a:pt x="6786582" y="1459958"/>
                  <a:pt x="6817064" y="1459958"/>
                </a:cubicBezTo>
                <a:close/>
                <a:moveTo>
                  <a:pt x="6683431" y="1459958"/>
                </a:moveTo>
                <a:cubicBezTo>
                  <a:pt x="6713913" y="1459958"/>
                  <a:pt x="6738623" y="1484668"/>
                  <a:pt x="6738623" y="1515149"/>
                </a:cubicBezTo>
                <a:cubicBezTo>
                  <a:pt x="6738623" y="1545630"/>
                  <a:pt x="6713913" y="1570340"/>
                  <a:pt x="6683431" y="1570340"/>
                </a:cubicBezTo>
                <a:cubicBezTo>
                  <a:pt x="6652949" y="1570340"/>
                  <a:pt x="6628239" y="1545630"/>
                  <a:pt x="6628239" y="1515149"/>
                </a:cubicBezTo>
                <a:cubicBezTo>
                  <a:pt x="6628239" y="1484668"/>
                  <a:pt x="6652949" y="1459958"/>
                  <a:pt x="6683431" y="1459958"/>
                </a:cubicBezTo>
                <a:close/>
                <a:moveTo>
                  <a:pt x="6553137" y="1459958"/>
                </a:moveTo>
                <a:cubicBezTo>
                  <a:pt x="6583619" y="1459958"/>
                  <a:pt x="6608329" y="1484668"/>
                  <a:pt x="6608329" y="1515149"/>
                </a:cubicBezTo>
                <a:cubicBezTo>
                  <a:pt x="6608329" y="1545630"/>
                  <a:pt x="6583619" y="1570340"/>
                  <a:pt x="6553137" y="1570340"/>
                </a:cubicBezTo>
                <a:cubicBezTo>
                  <a:pt x="6522655" y="1570340"/>
                  <a:pt x="6497945" y="1545630"/>
                  <a:pt x="6497945" y="1515149"/>
                </a:cubicBezTo>
                <a:cubicBezTo>
                  <a:pt x="6497945" y="1484668"/>
                  <a:pt x="6522655" y="1459958"/>
                  <a:pt x="6553137" y="1459958"/>
                </a:cubicBezTo>
                <a:close/>
                <a:moveTo>
                  <a:pt x="6419502" y="1459958"/>
                </a:moveTo>
                <a:cubicBezTo>
                  <a:pt x="6449984" y="1459958"/>
                  <a:pt x="6474694" y="1484668"/>
                  <a:pt x="6474694" y="1515149"/>
                </a:cubicBezTo>
                <a:cubicBezTo>
                  <a:pt x="6474694" y="1545630"/>
                  <a:pt x="6449984" y="1570340"/>
                  <a:pt x="6419502" y="1570340"/>
                </a:cubicBezTo>
                <a:cubicBezTo>
                  <a:pt x="6389020" y="1570340"/>
                  <a:pt x="6364310" y="1545630"/>
                  <a:pt x="6364310" y="1515149"/>
                </a:cubicBezTo>
                <a:cubicBezTo>
                  <a:pt x="6364310" y="1484668"/>
                  <a:pt x="6389020" y="1459958"/>
                  <a:pt x="6419502" y="1459958"/>
                </a:cubicBezTo>
                <a:close/>
                <a:moveTo>
                  <a:pt x="6289207" y="1459958"/>
                </a:moveTo>
                <a:cubicBezTo>
                  <a:pt x="6319689" y="1459958"/>
                  <a:pt x="6344399" y="1484668"/>
                  <a:pt x="6344399" y="1515149"/>
                </a:cubicBezTo>
                <a:cubicBezTo>
                  <a:pt x="6344399" y="1545630"/>
                  <a:pt x="6319689" y="1570340"/>
                  <a:pt x="6289207" y="1570340"/>
                </a:cubicBezTo>
                <a:cubicBezTo>
                  <a:pt x="6258725" y="1570340"/>
                  <a:pt x="6234015" y="1545630"/>
                  <a:pt x="6234015" y="1515149"/>
                </a:cubicBezTo>
                <a:cubicBezTo>
                  <a:pt x="6234015" y="1484668"/>
                  <a:pt x="6258725" y="1459958"/>
                  <a:pt x="6289207" y="1459958"/>
                </a:cubicBezTo>
                <a:close/>
                <a:moveTo>
                  <a:pt x="6155573" y="1459958"/>
                </a:moveTo>
                <a:cubicBezTo>
                  <a:pt x="6186055" y="1459958"/>
                  <a:pt x="6210765" y="1484668"/>
                  <a:pt x="6210765" y="1515149"/>
                </a:cubicBezTo>
                <a:cubicBezTo>
                  <a:pt x="6210765" y="1545630"/>
                  <a:pt x="6186055" y="1570340"/>
                  <a:pt x="6155573" y="1570340"/>
                </a:cubicBezTo>
                <a:cubicBezTo>
                  <a:pt x="6125091" y="1570340"/>
                  <a:pt x="6100381" y="1545630"/>
                  <a:pt x="6100381" y="1515149"/>
                </a:cubicBezTo>
                <a:cubicBezTo>
                  <a:pt x="6100381" y="1484668"/>
                  <a:pt x="6125091" y="1459958"/>
                  <a:pt x="6155573" y="1459958"/>
                </a:cubicBezTo>
                <a:close/>
                <a:moveTo>
                  <a:pt x="6021939" y="1459958"/>
                </a:moveTo>
                <a:cubicBezTo>
                  <a:pt x="6052421" y="1459958"/>
                  <a:pt x="6077131" y="1484668"/>
                  <a:pt x="6077131" y="1515149"/>
                </a:cubicBezTo>
                <a:cubicBezTo>
                  <a:pt x="6077131" y="1545630"/>
                  <a:pt x="6052421" y="1570340"/>
                  <a:pt x="6021939" y="1570340"/>
                </a:cubicBezTo>
                <a:cubicBezTo>
                  <a:pt x="5991457" y="1570340"/>
                  <a:pt x="5966747" y="1545630"/>
                  <a:pt x="5966747" y="1515149"/>
                </a:cubicBezTo>
                <a:cubicBezTo>
                  <a:pt x="5966747" y="1484668"/>
                  <a:pt x="5991457" y="1459958"/>
                  <a:pt x="6021939" y="1459958"/>
                </a:cubicBezTo>
                <a:close/>
                <a:moveTo>
                  <a:pt x="5884964" y="1459958"/>
                </a:moveTo>
                <a:cubicBezTo>
                  <a:pt x="5915446" y="1459958"/>
                  <a:pt x="5940156" y="1484668"/>
                  <a:pt x="5940156" y="1515149"/>
                </a:cubicBezTo>
                <a:cubicBezTo>
                  <a:pt x="5940156" y="1545630"/>
                  <a:pt x="5915446" y="1570340"/>
                  <a:pt x="5884964" y="1570340"/>
                </a:cubicBezTo>
                <a:cubicBezTo>
                  <a:pt x="5854482" y="1570340"/>
                  <a:pt x="5829772" y="1545630"/>
                  <a:pt x="5829772" y="1515149"/>
                </a:cubicBezTo>
                <a:cubicBezTo>
                  <a:pt x="5829772" y="1484668"/>
                  <a:pt x="5854482" y="1459958"/>
                  <a:pt x="5884964" y="1459958"/>
                </a:cubicBezTo>
                <a:close/>
                <a:moveTo>
                  <a:pt x="5754668" y="1459958"/>
                </a:moveTo>
                <a:cubicBezTo>
                  <a:pt x="5785150" y="1459958"/>
                  <a:pt x="5809860" y="1484668"/>
                  <a:pt x="5809860" y="1515149"/>
                </a:cubicBezTo>
                <a:cubicBezTo>
                  <a:pt x="5809860" y="1545630"/>
                  <a:pt x="5785150" y="1570340"/>
                  <a:pt x="5754668" y="1570340"/>
                </a:cubicBezTo>
                <a:cubicBezTo>
                  <a:pt x="5724186" y="1570340"/>
                  <a:pt x="5699476" y="1545630"/>
                  <a:pt x="5699476" y="1515149"/>
                </a:cubicBezTo>
                <a:cubicBezTo>
                  <a:pt x="5699476" y="1484668"/>
                  <a:pt x="5724186" y="1459958"/>
                  <a:pt x="5754668" y="1459958"/>
                </a:cubicBezTo>
                <a:close/>
                <a:moveTo>
                  <a:pt x="5621034" y="1459958"/>
                </a:moveTo>
                <a:cubicBezTo>
                  <a:pt x="5651516" y="1459958"/>
                  <a:pt x="5676226" y="1484668"/>
                  <a:pt x="5676226" y="1515149"/>
                </a:cubicBezTo>
                <a:cubicBezTo>
                  <a:pt x="5676226" y="1545630"/>
                  <a:pt x="5651516" y="1570340"/>
                  <a:pt x="5621034" y="1570340"/>
                </a:cubicBezTo>
                <a:cubicBezTo>
                  <a:pt x="5590552" y="1570340"/>
                  <a:pt x="5565842" y="1545630"/>
                  <a:pt x="5565842" y="1515149"/>
                </a:cubicBezTo>
                <a:cubicBezTo>
                  <a:pt x="5565842" y="1484668"/>
                  <a:pt x="5590552" y="1459958"/>
                  <a:pt x="5621034" y="1459958"/>
                </a:cubicBezTo>
                <a:close/>
                <a:moveTo>
                  <a:pt x="5487399" y="1459958"/>
                </a:moveTo>
                <a:cubicBezTo>
                  <a:pt x="5517881" y="1459958"/>
                  <a:pt x="5542591" y="1484668"/>
                  <a:pt x="5542591" y="1515149"/>
                </a:cubicBezTo>
                <a:cubicBezTo>
                  <a:pt x="5542591" y="1545630"/>
                  <a:pt x="5517881" y="1570340"/>
                  <a:pt x="5487399" y="1570340"/>
                </a:cubicBezTo>
                <a:cubicBezTo>
                  <a:pt x="5456917" y="1570340"/>
                  <a:pt x="5432207" y="1545630"/>
                  <a:pt x="5432207" y="1515149"/>
                </a:cubicBezTo>
                <a:cubicBezTo>
                  <a:pt x="5432207" y="1484668"/>
                  <a:pt x="5456917" y="1459958"/>
                  <a:pt x="5487399" y="1459958"/>
                </a:cubicBezTo>
                <a:close/>
                <a:moveTo>
                  <a:pt x="5357106" y="1459958"/>
                </a:moveTo>
                <a:cubicBezTo>
                  <a:pt x="5387588" y="1459958"/>
                  <a:pt x="5412298" y="1484668"/>
                  <a:pt x="5412298" y="1515149"/>
                </a:cubicBezTo>
                <a:cubicBezTo>
                  <a:pt x="5412298" y="1545630"/>
                  <a:pt x="5387588" y="1570340"/>
                  <a:pt x="5357106" y="1570340"/>
                </a:cubicBezTo>
                <a:cubicBezTo>
                  <a:pt x="5326624" y="1570340"/>
                  <a:pt x="5301914" y="1545630"/>
                  <a:pt x="5301914" y="1515149"/>
                </a:cubicBezTo>
                <a:cubicBezTo>
                  <a:pt x="5301914" y="1484668"/>
                  <a:pt x="5326624" y="1459958"/>
                  <a:pt x="5357106" y="1459958"/>
                </a:cubicBezTo>
                <a:close/>
                <a:moveTo>
                  <a:pt x="5223473" y="1459958"/>
                </a:moveTo>
                <a:cubicBezTo>
                  <a:pt x="5253955" y="1459958"/>
                  <a:pt x="5278665" y="1484668"/>
                  <a:pt x="5278665" y="1515149"/>
                </a:cubicBezTo>
                <a:cubicBezTo>
                  <a:pt x="5278665" y="1545630"/>
                  <a:pt x="5253955" y="1570340"/>
                  <a:pt x="5223473" y="1570340"/>
                </a:cubicBezTo>
                <a:cubicBezTo>
                  <a:pt x="5192991" y="1570340"/>
                  <a:pt x="5168281" y="1545630"/>
                  <a:pt x="5168281" y="1515149"/>
                </a:cubicBezTo>
                <a:cubicBezTo>
                  <a:pt x="5168281" y="1484668"/>
                  <a:pt x="5192991" y="1459958"/>
                  <a:pt x="5223473" y="1459958"/>
                </a:cubicBezTo>
                <a:close/>
                <a:moveTo>
                  <a:pt x="5093178" y="1459958"/>
                </a:moveTo>
                <a:cubicBezTo>
                  <a:pt x="5123660" y="1459958"/>
                  <a:pt x="5148370" y="1484668"/>
                  <a:pt x="5148370" y="1515149"/>
                </a:cubicBezTo>
                <a:cubicBezTo>
                  <a:pt x="5148370" y="1545630"/>
                  <a:pt x="5123660" y="1570340"/>
                  <a:pt x="5093178" y="1570340"/>
                </a:cubicBezTo>
                <a:cubicBezTo>
                  <a:pt x="5062696" y="1570340"/>
                  <a:pt x="5037986" y="1545630"/>
                  <a:pt x="5037986" y="1515149"/>
                </a:cubicBezTo>
                <a:cubicBezTo>
                  <a:pt x="5037986" y="1484668"/>
                  <a:pt x="5062696" y="1459958"/>
                  <a:pt x="5093178" y="1459958"/>
                </a:cubicBezTo>
                <a:close/>
                <a:moveTo>
                  <a:pt x="4959542" y="1459958"/>
                </a:moveTo>
                <a:cubicBezTo>
                  <a:pt x="4990024" y="1459958"/>
                  <a:pt x="5014734" y="1484668"/>
                  <a:pt x="5014734" y="1515149"/>
                </a:cubicBezTo>
                <a:cubicBezTo>
                  <a:pt x="5014734" y="1545630"/>
                  <a:pt x="4990024" y="1570340"/>
                  <a:pt x="4959542" y="1570340"/>
                </a:cubicBezTo>
                <a:cubicBezTo>
                  <a:pt x="4929060" y="1570340"/>
                  <a:pt x="4904350" y="1545630"/>
                  <a:pt x="4904350" y="1515149"/>
                </a:cubicBezTo>
                <a:cubicBezTo>
                  <a:pt x="4904350" y="1484668"/>
                  <a:pt x="4929060" y="1459958"/>
                  <a:pt x="4959542" y="1459958"/>
                </a:cubicBezTo>
                <a:close/>
                <a:moveTo>
                  <a:pt x="4829250" y="1459958"/>
                </a:moveTo>
                <a:cubicBezTo>
                  <a:pt x="4859732" y="1459958"/>
                  <a:pt x="4884442" y="1484668"/>
                  <a:pt x="4884442" y="1515149"/>
                </a:cubicBezTo>
                <a:cubicBezTo>
                  <a:pt x="4884442" y="1545630"/>
                  <a:pt x="4859732" y="1570340"/>
                  <a:pt x="4829250" y="1570340"/>
                </a:cubicBezTo>
                <a:cubicBezTo>
                  <a:pt x="4798768" y="1570340"/>
                  <a:pt x="4774058" y="1545630"/>
                  <a:pt x="4774058" y="1515149"/>
                </a:cubicBezTo>
                <a:cubicBezTo>
                  <a:pt x="4774058" y="1484668"/>
                  <a:pt x="4798768" y="1459958"/>
                  <a:pt x="4829250" y="1459958"/>
                </a:cubicBezTo>
                <a:close/>
                <a:moveTo>
                  <a:pt x="4695614" y="1459958"/>
                </a:moveTo>
                <a:cubicBezTo>
                  <a:pt x="4726096" y="1459958"/>
                  <a:pt x="4750806" y="1484668"/>
                  <a:pt x="4750806" y="1515149"/>
                </a:cubicBezTo>
                <a:cubicBezTo>
                  <a:pt x="4750806" y="1545630"/>
                  <a:pt x="4726096" y="1570340"/>
                  <a:pt x="4695614" y="1570340"/>
                </a:cubicBezTo>
                <a:cubicBezTo>
                  <a:pt x="4665132" y="1570340"/>
                  <a:pt x="4640422" y="1545630"/>
                  <a:pt x="4640422" y="1515149"/>
                </a:cubicBezTo>
                <a:cubicBezTo>
                  <a:pt x="4640422" y="1484668"/>
                  <a:pt x="4665132" y="1459958"/>
                  <a:pt x="4695614" y="1459958"/>
                </a:cubicBezTo>
                <a:close/>
                <a:moveTo>
                  <a:pt x="4565322" y="1459958"/>
                </a:moveTo>
                <a:cubicBezTo>
                  <a:pt x="4595804" y="1459958"/>
                  <a:pt x="4620514" y="1484668"/>
                  <a:pt x="4620514" y="1515149"/>
                </a:cubicBezTo>
                <a:cubicBezTo>
                  <a:pt x="4620514" y="1545630"/>
                  <a:pt x="4595804" y="1570340"/>
                  <a:pt x="4565322" y="1570340"/>
                </a:cubicBezTo>
                <a:cubicBezTo>
                  <a:pt x="4534840" y="1570340"/>
                  <a:pt x="4510130" y="1545630"/>
                  <a:pt x="4510130" y="1515149"/>
                </a:cubicBezTo>
                <a:cubicBezTo>
                  <a:pt x="4510130" y="1484668"/>
                  <a:pt x="4534840" y="1459958"/>
                  <a:pt x="4565322" y="1459958"/>
                </a:cubicBezTo>
                <a:close/>
                <a:moveTo>
                  <a:pt x="4431687" y="1459958"/>
                </a:moveTo>
                <a:cubicBezTo>
                  <a:pt x="4462169" y="1459958"/>
                  <a:pt x="4486879" y="1484668"/>
                  <a:pt x="4486879" y="1515149"/>
                </a:cubicBezTo>
                <a:cubicBezTo>
                  <a:pt x="4486879" y="1545630"/>
                  <a:pt x="4462169" y="1570340"/>
                  <a:pt x="4431687" y="1570340"/>
                </a:cubicBezTo>
                <a:cubicBezTo>
                  <a:pt x="4401205" y="1570340"/>
                  <a:pt x="4376495" y="1545630"/>
                  <a:pt x="4376495" y="1515149"/>
                </a:cubicBezTo>
                <a:cubicBezTo>
                  <a:pt x="4376495" y="1484668"/>
                  <a:pt x="4401205" y="1459958"/>
                  <a:pt x="4431687" y="1459958"/>
                </a:cubicBezTo>
                <a:close/>
                <a:moveTo>
                  <a:pt x="3098681" y="1459958"/>
                </a:moveTo>
                <a:cubicBezTo>
                  <a:pt x="3129163" y="1459958"/>
                  <a:pt x="3153873" y="1484668"/>
                  <a:pt x="3153873" y="1515149"/>
                </a:cubicBezTo>
                <a:cubicBezTo>
                  <a:pt x="3153873" y="1545630"/>
                  <a:pt x="3129163" y="1570340"/>
                  <a:pt x="3098681" y="1570340"/>
                </a:cubicBezTo>
                <a:cubicBezTo>
                  <a:pt x="3068199" y="1570340"/>
                  <a:pt x="3043489" y="1545630"/>
                  <a:pt x="3043489" y="1515149"/>
                </a:cubicBezTo>
                <a:cubicBezTo>
                  <a:pt x="3043489" y="1484668"/>
                  <a:pt x="3068199" y="1459958"/>
                  <a:pt x="3098681" y="1459958"/>
                </a:cubicBezTo>
                <a:close/>
                <a:moveTo>
                  <a:pt x="2971729" y="1459958"/>
                </a:moveTo>
                <a:cubicBezTo>
                  <a:pt x="3002211" y="1459958"/>
                  <a:pt x="3026921" y="1484668"/>
                  <a:pt x="3026921" y="1515149"/>
                </a:cubicBezTo>
                <a:cubicBezTo>
                  <a:pt x="3026921" y="1545630"/>
                  <a:pt x="3002211" y="1570340"/>
                  <a:pt x="2971729" y="1570340"/>
                </a:cubicBezTo>
                <a:cubicBezTo>
                  <a:pt x="2941247" y="1570340"/>
                  <a:pt x="2916537" y="1545630"/>
                  <a:pt x="2916537" y="1515149"/>
                </a:cubicBezTo>
                <a:cubicBezTo>
                  <a:pt x="2916537" y="1484668"/>
                  <a:pt x="2941247" y="1459958"/>
                  <a:pt x="2971729" y="1459958"/>
                </a:cubicBezTo>
                <a:close/>
                <a:moveTo>
                  <a:pt x="2834792" y="1459958"/>
                </a:moveTo>
                <a:cubicBezTo>
                  <a:pt x="2865274" y="1459958"/>
                  <a:pt x="2889984" y="1484668"/>
                  <a:pt x="2889984" y="1515149"/>
                </a:cubicBezTo>
                <a:cubicBezTo>
                  <a:pt x="2889984" y="1545630"/>
                  <a:pt x="2865274" y="1570340"/>
                  <a:pt x="2834792" y="1570340"/>
                </a:cubicBezTo>
                <a:cubicBezTo>
                  <a:pt x="2804310" y="1570340"/>
                  <a:pt x="2779600" y="1545630"/>
                  <a:pt x="2779600" y="1515149"/>
                </a:cubicBezTo>
                <a:cubicBezTo>
                  <a:pt x="2779600" y="1484668"/>
                  <a:pt x="2804310" y="1459958"/>
                  <a:pt x="2834792" y="1459958"/>
                </a:cubicBezTo>
                <a:close/>
                <a:moveTo>
                  <a:pt x="2707839" y="1459958"/>
                </a:moveTo>
                <a:cubicBezTo>
                  <a:pt x="2738320" y="1459958"/>
                  <a:pt x="2763031" y="1484668"/>
                  <a:pt x="2763031" y="1515149"/>
                </a:cubicBezTo>
                <a:cubicBezTo>
                  <a:pt x="2763031" y="1545630"/>
                  <a:pt x="2738320" y="1570340"/>
                  <a:pt x="2707839" y="1570340"/>
                </a:cubicBezTo>
                <a:cubicBezTo>
                  <a:pt x="2677357" y="1570340"/>
                  <a:pt x="2652646" y="1545630"/>
                  <a:pt x="2652646" y="1515149"/>
                </a:cubicBezTo>
                <a:cubicBezTo>
                  <a:pt x="2652646" y="1484668"/>
                  <a:pt x="2677357" y="1459958"/>
                  <a:pt x="2707839" y="1459958"/>
                </a:cubicBezTo>
                <a:close/>
                <a:moveTo>
                  <a:pt x="2570864" y="1459958"/>
                </a:moveTo>
                <a:cubicBezTo>
                  <a:pt x="2601346" y="1459958"/>
                  <a:pt x="2626056" y="1484668"/>
                  <a:pt x="2626056" y="1515149"/>
                </a:cubicBezTo>
                <a:cubicBezTo>
                  <a:pt x="2626056" y="1545630"/>
                  <a:pt x="2601346" y="1570340"/>
                  <a:pt x="2570864" y="1570340"/>
                </a:cubicBezTo>
                <a:cubicBezTo>
                  <a:pt x="2540381" y="1570340"/>
                  <a:pt x="2515671" y="1545630"/>
                  <a:pt x="2515671" y="1515149"/>
                </a:cubicBezTo>
                <a:cubicBezTo>
                  <a:pt x="2515671" y="1484668"/>
                  <a:pt x="2540381" y="1459958"/>
                  <a:pt x="2570864" y="1459958"/>
                </a:cubicBezTo>
                <a:close/>
                <a:moveTo>
                  <a:pt x="2437228" y="1459958"/>
                </a:moveTo>
                <a:cubicBezTo>
                  <a:pt x="2467711" y="1459958"/>
                  <a:pt x="2492419" y="1484668"/>
                  <a:pt x="2492419" y="1515149"/>
                </a:cubicBezTo>
                <a:cubicBezTo>
                  <a:pt x="2492419" y="1545630"/>
                  <a:pt x="2467711" y="1570340"/>
                  <a:pt x="2437228" y="1570340"/>
                </a:cubicBezTo>
                <a:cubicBezTo>
                  <a:pt x="2406748" y="1570340"/>
                  <a:pt x="2382037" y="1545630"/>
                  <a:pt x="2382037" y="1515149"/>
                </a:cubicBezTo>
                <a:cubicBezTo>
                  <a:pt x="2382037" y="1484668"/>
                  <a:pt x="2406748" y="1459958"/>
                  <a:pt x="2437228" y="1459958"/>
                </a:cubicBezTo>
                <a:close/>
                <a:moveTo>
                  <a:pt x="2303596" y="1459958"/>
                </a:moveTo>
                <a:cubicBezTo>
                  <a:pt x="2334078" y="1459958"/>
                  <a:pt x="2358787" y="1484668"/>
                  <a:pt x="2358787" y="1515149"/>
                </a:cubicBezTo>
                <a:cubicBezTo>
                  <a:pt x="2358787" y="1545630"/>
                  <a:pt x="2334078" y="1570340"/>
                  <a:pt x="2303596" y="1570340"/>
                </a:cubicBezTo>
                <a:cubicBezTo>
                  <a:pt x="2273113" y="1570340"/>
                  <a:pt x="2248404" y="1545630"/>
                  <a:pt x="2248404" y="1515149"/>
                </a:cubicBezTo>
                <a:cubicBezTo>
                  <a:pt x="2248404" y="1484668"/>
                  <a:pt x="2273113" y="1459958"/>
                  <a:pt x="2303596" y="1459958"/>
                </a:cubicBezTo>
                <a:close/>
                <a:moveTo>
                  <a:pt x="2173305" y="1459958"/>
                </a:moveTo>
                <a:cubicBezTo>
                  <a:pt x="2203787" y="1459958"/>
                  <a:pt x="2228497" y="1484668"/>
                  <a:pt x="2228497" y="1515149"/>
                </a:cubicBezTo>
                <a:cubicBezTo>
                  <a:pt x="2228497" y="1545630"/>
                  <a:pt x="2203787" y="1570340"/>
                  <a:pt x="2173305" y="1570340"/>
                </a:cubicBezTo>
                <a:cubicBezTo>
                  <a:pt x="2142822" y="1570340"/>
                  <a:pt x="2118111" y="1545630"/>
                  <a:pt x="2118111" y="1515149"/>
                </a:cubicBezTo>
                <a:cubicBezTo>
                  <a:pt x="2118111" y="1484668"/>
                  <a:pt x="2142822" y="1459958"/>
                  <a:pt x="2173305" y="1459958"/>
                </a:cubicBezTo>
                <a:close/>
                <a:moveTo>
                  <a:pt x="2039668" y="1459958"/>
                </a:moveTo>
                <a:cubicBezTo>
                  <a:pt x="2070150" y="1459958"/>
                  <a:pt x="2094860" y="1484668"/>
                  <a:pt x="2094860" y="1515149"/>
                </a:cubicBezTo>
                <a:cubicBezTo>
                  <a:pt x="2094860" y="1545630"/>
                  <a:pt x="2070150" y="1570340"/>
                  <a:pt x="2039668" y="1570340"/>
                </a:cubicBezTo>
                <a:cubicBezTo>
                  <a:pt x="2009185" y="1570340"/>
                  <a:pt x="1984475" y="1545630"/>
                  <a:pt x="1984475" y="1515149"/>
                </a:cubicBezTo>
                <a:cubicBezTo>
                  <a:pt x="1984475" y="1484668"/>
                  <a:pt x="2009185" y="1459958"/>
                  <a:pt x="2039668" y="1459958"/>
                </a:cubicBezTo>
                <a:close/>
                <a:moveTo>
                  <a:pt x="1909371" y="1459958"/>
                </a:moveTo>
                <a:cubicBezTo>
                  <a:pt x="1939853" y="1459958"/>
                  <a:pt x="1964564" y="1484668"/>
                  <a:pt x="1964564" y="1515149"/>
                </a:cubicBezTo>
                <a:cubicBezTo>
                  <a:pt x="1964564" y="1545630"/>
                  <a:pt x="1939853" y="1570340"/>
                  <a:pt x="1909371" y="1570340"/>
                </a:cubicBezTo>
                <a:cubicBezTo>
                  <a:pt x="1878889" y="1570340"/>
                  <a:pt x="1854178" y="1545630"/>
                  <a:pt x="1854178" y="1515149"/>
                </a:cubicBezTo>
                <a:cubicBezTo>
                  <a:pt x="1854178" y="1484668"/>
                  <a:pt x="1878889" y="1459958"/>
                  <a:pt x="1909371" y="1459958"/>
                </a:cubicBezTo>
                <a:close/>
                <a:moveTo>
                  <a:pt x="1779076" y="1459958"/>
                </a:moveTo>
                <a:cubicBezTo>
                  <a:pt x="1809559" y="1459958"/>
                  <a:pt x="1834269" y="1484668"/>
                  <a:pt x="1834269" y="1515149"/>
                </a:cubicBezTo>
                <a:cubicBezTo>
                  <a:pt x="1834269" y="1545630"/>
                  <a:pt x="1809559" y="1570340"/>
                  <a:pt x="1779076" y="1570340"/>
                </a:cubicBezTo>
                <a:cubicBezTo>
                  <a:pt x="1748595" y="1570340"/>
                  <a:pt x="1723884" y="1545630"/>
                  <a:pt x="1723884" y="1515149"/>
                </a:cubicBezTo>
                <a:cubicBezTo>
                  <a:pt x="1723884" y="1484668"/>
                  <a:pt x="1748595" y="1459958"/>
                  <a:pt x="1779076" y="1459958"/>
                </a:cubicBezTo>
                <a:close/>
                <a:moveTo>
                  <a:pt x="1645440" y="1459958"/>
                </a:moveTo>
                <a:cubicBezTo>
                  <a:pt x="1675922" y="1459958"/>
                  <a:pt x="1700637" y="1484668"/>
                  <a:pt x="1700637" y="1515149"/>
                </a:cubicBezTo>
                <a:cubicBezTo>
                  <a:pt x="1700637" y="1545630"/>
                  <a:pt x="1675922" y="1570340"/>
                  <a:pt x="1645440" y="1570340"/>
                </a:cubicBezTo>
                <a:cubicBezTo>
                  <a:pt x="1614959" y="1570340"/>
                  <a:pt x="1590248" y="1545630"/>
                  <a:pt x="1590248" y="1515149"/>
                </a:cubicBezTo>
                <a:cubicBezTo>
                  <a:pt x="1590248" y="1484668"/>
                  <a:pt x="1614959" y="1459958"/>
                  <a:pt x="1645440" y="1459958"/>
                </a:cubicBezTo>
                <a:close/>
                <a:moveTo>
                  <a:pt x="1515149" y="1459958"/>
                </a:moveTo>
                <a:cubicBezTo>
                  <a:pt x="1545630" y="1459958"/>
                  <a:pt x="1570338" y="1484668"/>
                  <a:pt x="1570338" y="1515149"/>
                </a:cubicBezTo>
                <a:cubicBezTo>
                  <a:pt x="1570338" y="1545630"/>
                  <a:pt x="1545630" y="1570340"/>
                  <a:pt x="1515149" y="1570340"/>
                </a:cubicBezTo>
                <a:cubicBezTo>
                  <a:pt x="1484666" y="1570340"/>
                  <a:pt x="1459956" y="1545630"/>
                  <a:pt x="1459956" y="1515149"/>
                </a:cubicBezTo>
                <a:cubicBezTo>
                  <a:pt x="1459956" y="1484668"/>
                  <a:pt x="1484666" y="1459958"/>
                  <a:pt x="1515149" y="1459958"/>
                </a:cubicBezTo>
                <a:close/>
                <a:moveTo>
                  <a:pt x="1381511" y="1459958"/>
                </a:moveTo>
                <a:cubicBezTo>
                  <a:pt x="1411994" y="1459958"/>
                  <a:pt x="1436705" y="1484668"/>
                  <a:pt x="1436705" y="1515149"/>
                </a:cubicBezTo>
                <a:cubicBezTo>
                  <a:pt x="1436705" y="1545630"/>
                  <a:pt x="1411994" y="1570340"/>
                  <a:pt x="1381511" y="1570340"/>
                </a:cubicBezTo>
                <a:cubicBezTo>
                  <a:pt x="1351035" y="1570340"/>
                  <a:pt x="1326322" y="1545630"/>
                  <a:pt x="1326322" y="1515149"/>
                </a:cubicBezTo>
                <a:cubicBezTo>
                  <a:pt x="1326322" y="1484668"/>
                  <a:pt x="1351035" y="1459958"/>
                  <a:pt x="1381511" y="1459958"/>
                </a:cubicBezTo>
                <a:close/>
                <a:moveTo>
                  <a:pt x="1251220" y="1459958"/>
                </a:moveTo>
                <a:cubicBezTo>
                  <a:pt x="1281702" y="1459958"/>
                  <a:pt x="1306413" y="1484668"/>
                  <a:pt x="1306413" y="1515149"/>
                </a:cubicBezTo>
                <a:cubicBezTo>
                  <a:pt x="1306413" y="1545630"/>
                  <a:pt x="1281702" y="1570340"/>
                  <a:pt x="1251220" y="1570340"/>
                </a:cubicBezTo>
                <a:cubicBezTo>
                  <a:pt x="1220737" y="1570340"/>
                  <a:pt x="1196028" y="1545630"/>
                  <a:pt x="1196028" y="1515149"/>
                </a:cubicBezTo>
                <a:cubicBezTo>
                  <a:pt x="1196028" y="1484668"/>
                  <a:pt x="1220737" y="1459958"/>
                  <a:pt x="1251220" y="1459958"/>
                </a:cubicBezTo>
                <a:close/>
                <a:moveTo>
                  <a:pt x="1117583" y="1459958"/>
                </a:moveTo>
                <a:cubicBezTo>
                  <a:pt x="1148066" y="1459958"/>
                  <a:pt x="1172776" y="1484668"/>
                  <a:pt x="1172776" y="1515149"/>
                </a:cubicBezTo>
                <a:cubicBezTo>
                  <a:pt x="1172776" y="1545630"/>
                  <a:pt x="1148066" y="1570340"/>
                  <a:pt x="1117583" y="1570340"/>
                </a:cubicBezTo>
                <a:cubicBezTo>
                  <a:pt x="1087101" y="1570340"/>
                  <a:pt x="1062390" y="1545630"/>
                  <a:pt x="1062390" y="1515149"/>
                </a:cubicBezTo>
                <a:cubicBezTo>
                  <a:pt x="1062390" y="1484668"/>
                  <a:pt x="1087101" y="1459958"/>
                  <a:pt x="1117583" y="1459958"/>
                </a:cubicBezTo>
                <a:close/>
                <a:moveTo>
                  <a:pt x="980607" y="1459958"/>
                </a:moveTo>
                <a:cubicBezTo>
                  <a:pt x="1011090" y="1459958"/>
                  <a:pt x="1035800" y="1484668"/>
                  <a:pt x="1035800" y="1515149"/>
                </a:cubicBezTo>
                <a:cubicBezTo>
                  <a:pt x="1035800" y="1545630"/>
                  <a:pt x="1011090" y="1570340"/>
                  <a:pt x="980607" y="1570340"/>
                </a:cubicBezTo>
                <a:cubicBezTo>
                  <a:pt x="950125" y="1570340"/>
                  <a:pt x="925415" y="1545630"/>
                  <a:pt x="925415" y="1515149"/>
                </a:cubicBezTo>
                <a:cubicBezTo>
                  <a:pt x="925415" y="1484668"/>
                  <a:pt x="950125" y="1459958"/>
                  <a:pt x="980607" y="1459958"/>
                </a:cubicBezTo>
                <a:close/>
                <a:moveTo>
                  <a:pt x="7608849" y="1336350"/>
                </a:moveTo>
                <a:cubicBezTo>
                  <a:pt x="7639331" y="1336350"/>
                  <a:pt x="7664041" y="1361060"/>
                  <a:pt x="7664041" y="1391541"/>
                </a:cubicBezTo>
                <a:cubicBezTo>
                  <a:pt x="7664041" y="1422022"/>
                  <a:pt x="7639331" y="1446732"/>
                  <a:pt x="7608849" y="1446732"/>
                </a:cubicBezTo>
                <a:cubicBezTo>
                  <a:pt x="7578367" y="1446732"/>
                  <a:pt x="7553657" y="1422022"/>
                  <a:pt x="7553657" y="1391541"/>
                </a:cubicBezTo>
                <a:cubicBezTo>
                  <a:pt x="7553657" y="1361060"/>
                  <a:pt x="7578367" y="1336350"/>
                  <a:pt x="7608849" y="1336350"/>
                </a:cubicBezTo>
                <a:close/>
                <a:moveTo>
                  <a:pt x="7481897" y="1336350"/>
                </a:moveTo>
                <a:cubicBezTo>
                  <a:pt x="7512379" y="1336350"/>
                  <a:pt x="7537089" y="1361060"/>
                  <a:pt x="7537089" y="1391541"/>
                </a:cubicBezTo>
                <a:cubicBezTo>
                  <a:pt x="7537089" y="1422022"/>
                  <a:pt x="7512379" y="1446732"/>
                  <a:pt x="7481897" y="1446732"/>
                </a:cubicBezTo>
                <a:cubicBezTo>
                  <a:pt x="7451415" y="1446732"/>
                  <a:pt x="7426705" y="1422022"/>
                  <a:pt x="7426705" y="1391541"/>
                </a:cubicBezTo>
                <a:cubicBezTo>
                  <a:pt x="7426705" y="1361060"/>
                  <a:pt x="7451415" y="1336350"/>
                  <a:pt x="7481897" y="1336350"/>
                </a:cubicBezTo>
                <a:close/>
                <a:moveTo>
                  <a:pt x="7341579" y="1336350"/>
                </a:moveTo>
                <a:cubicBezTo>
                  <a:pt x="7372061" y="1336350"/>
                  <a:pt x="7396771" y="1361060"/>
                  <a:pt x="7396771" y="1391541"/>
                </a:cubicBezTo>
                <a:cubicBezTo>
                  <a:pt x="7396771" y="1422022"/>
                  <a:pt x="7372061" y="1446732"/>
                  <a:pt x="7341579" y="1446732"/>
                </a:cubicBezTo>
                <a:cubicBezTo>
                  <a:pt x="7311097" y="1446732"/>
                  <a:pt x="7286387" y="1422022"/>
                  <a:pt x="7286387" y="1391541"/>
                </a:cubicBezTo>
                <a:cubicBezTo>
                  <a:pt x="7286387" y="1361060"/>
                  <a:pt x="7311097" y="1336350"/>
                  <a:pt x="7341579" y="1336350"/>
                </a:cubicBezTo>
                <a:close/>
                <a:moveTo>
                  <a:pt x="7211286" y="1336350"/>
                </a:moveTo>
                <a:cubicBezTo>
                  <a:pt x="7241768" y="1336350"/>
                  <a:pt x="7266478" y="1361060"/>
                  <a:pt x="7266478" y="1391541"/>
                </a:cubicBezTo>
                <a:cubicBezTo>
                  <a:pt x="7266478" y="1422022"/>
                  <a:pt x="7241768" y="1446732"/>
                  <a:pt x="7211286" y="1446732"/>
                </a:cubicBezTo>
                <a:cubicBezTo>
                  <a:pt x="7180804" y="1446732"/>
                  <a:pt x="7156094" y="1422022"/>
                  <a:pt x="7156094" y="1391541"/>
                </a:cubicBezTo>
                <a:cubicBezTo>
                  <a:pt x="7156094" y="1361060"/>
                  <a:pt x="7180804" y="1336350"/>
                  <a:pt x="7211286" y="1336350"/>
                </a:cubicBezTo>
                <a:close/>
                <a:moveTo>
                  <a:pt x="7080993" y="1336350"/>
                </a:moveTo>
                <a:cubicBezTo>
                  <a:pt x="7111475" y="1336350"/>
                  <a:pt x="7136185" y="1361060"/>
                  <a:pt x="7136185" y="1391541"/>
                </a:cubicBezTo>
                <a:cubicBezTo>
                  <a:pt x="7136185" y="1422022"/>
                  <a:pt x="7111475" y="1446732"/>
                  <a:pt x="7080993" y="1446732"/>
                </a:cubicBezTo>
                <a:cubicBezTo>
                  <a:pt x="7050511" y="1446732"/>
                  <a:pt x="7025801" y="1422022"/>
                  <a:pt x="7025801" y="1391541"/>
                </a:cubicBezTo>
                <a:cubicBezTo>
                  <a:pt x="7025801" y="1361060"/>
                  <a:pt x="7050511" y="1336350"/>
                  <a:pt x="7080993" y="1336350"/>
                </a:cubicBezTo>
                <a:close/>
                <a:moveTo>
                  <a:pt x="6947357" y="1336350"/>
                </a:moveTo>
                <a:cubicBezTo>
                  <a:pt x="6977839" y="1336350"/>
                  <a:pt x="7002549" y="1361060"/>
                  <a:pt x="7002549" y="1391541"/>
                </a:cubicBezTo>
                <a:cubicBezTo>
                  <a:pt x="7002549" y="1422022"/>
                  <a:pt x="6977839" y="1446732"/>
                  <a:pt x="6947357" y="1446732"/>
                </a:cubicBezTo>
                <a:cubicBezTo>
                  <a:pt x="6916875" y="1446732"/>
                  <a:pt x="6892165" y="1422022"/>
                  <a:pt x="6892165" y="1391541"/>
                </a:cubicBezTo>
                <a:cubicBezTo>
                  <a:pt x="6892165" y="1361060"/>
                  <a:pt x="6916875" y="1336350"/>
                  <a:pt x="6947357" y="1336350"/>
                </a:cubicBezTo>
                <a:close/>
                <a:moveTo>
                  <a:pt x="6817064" y="1336350"/>
                </a:moveTo>
                <a:cubicBezTo>
                  <a:pt x="6847546" y="1336350"/>
                  <a:pt x="6872256" y="1361060"/>
                  <a:pt x="6872256" y="1391541"/>
                </a:cubicBezTo>
                <a:cubicBezTo>
                  <a:pt x="6872256" y="1422022"/>
                  <a:pt x="6847546" y="1446732"/>
                  <a:pt x="6817064" y="1446732"/>
                </a:cubicBezTo>
                <a:cubicBezTo>
                  <a:pt x="6786582" y="1446732"/>
                  <a:pt x="6761872" y="1422022"/>
                  <a:pt x="6761872" y="1391541"/>
                </a:cubicBezTo>
                <a:cubicBezTo>
                  <a:pt x="6761872" y="1361060"/>
                  <a:pt x="6786582" y="1336350"/>
                  <a:pt x="6817064" y="1336350"/>
                </a:cubicBezTo>
                <a:close/>
                <a:moveTo>
                  <a:pt x="6683431" y="1336350"/>
                </a:moveTo>
                <a:cubicBezTo>
                  <a:pt x="6713913" y="1336350"/>
                  <a:pt x="6738623" y="1361060"/>
                  <a:pt x="6738623" y="1391541"/>
                </a:cubicBezTo>
                <a:cubicBezTo>
                  <a:pt x="6738623" y="1422022"/>
                  <a:pt x="6713913" y="1446732"/>
                  <a:pt x="6683431" y="1446732"/>
                </a:cubicBezTo>
                <a:cubicBezTo>
                  <a:pt x="6652949" y="1446732"/>
                  <a:pt x="6628239" y="1422022"/>
                  <a:pt x="6628239" y="1391541"/>
                </a:cubicBezTo>
                <a:cubicBezTo>
                  <a:pt x="6628239" y="1361060"/>
                  <a:pt x="6652949" y="1336350"/>
                  <a:pt x="6683431" y="1336350"/>
                </a:cubicBezTo>
                <a:close/>
                <a:moveTo>
                  <a:pt x="6553137" y="1336350"/>
                </a:moveTo>
                <a:cubicBezTo>
                  <a:pt x="6583619" y="1336350"/>
                  <a:pt x="6608329" y="1361060"/>
                  <a:pt x="6608329" y="1391541"/>
                </a:cubicBezTo>
                <a:cubicBezTo>
                  <a:pt x="6608329" y="1422022"/>
                  <a:pt x="6583619" y="1446732"/>
                  <a:pt x="6553137" y="1446732"/>
                </a:cubicBezTo>
                <a:cubicBezTo>
                  <a:pt x="6522655" y="1446732"/>
                  <a:pt x="6497945" y="1422022"/>
                  <a:pt x="6497945" y="1391541"/>
                </a:cubicBezTo>
                <a:cubicBezTo>
                  <a:pt x="6497945" y="1361060"/>
                  <a:pt x="6522655" y="1336350"/>
                  <a:pt x="6553137" y="1336350"/>
                </a:cubicBezTo>
                <a:close/>
                <a:moveTo>
                  <a:pt x="6419502" y="1336350"/>
                </a:moveTo>
                <a:cubicBezTo>
                  <a:pt x="6449984" y="1336350"/>
                  <a:pt x="6474694" y="1361060"/>
                  <a:pt x="6474694" y="1391541"/>
                </a:cubicBezTo>
                <a:cubicBezTo>
                  <a:pt x="6474694" y="1422022"/>
                  <a:pt x="6449984" y="1446732"/>
                  <a:pt x="6419502" y="1446732"/>
                </a:cubicBezTo>
                <a:cubicBezTo>
                  <a:pt x="6389020" y="1446732"/>
                  <a:pt x="6364310" y="1422022"/>
                  <a:pt x="6364310" y="1391541"/>
                </a:cubicBezTo>
                <a:cubicBezTo>
                  <a:pt x="6364310" y="1361060"/>
                  <a:pt x="6389020" y="1336350"/>
                  <a:pt x="6419502" y="1336350"/>
                </a:cubicBezTo>
                <a:close/>
                <a:moveTo>
                  <a:pt x="6289207" y="1336350"/>
                </a:moveTo>
                <a:cubicBezTo>
                  <a:pt x="6319689" y="1336350"/>
                  <a:pt x="6344399" y="1361060"/>
                  <a:pt x="6344399" y="1391541"/>
                </a:cubicBezTo>
                <a:cubicBezTo>
                  <a:pt x="6344399" y="1422022"/>
                  <a:pt x="6319689" y="1446732"/>
                  <a:pt x="6289207" y="1446732"/>
                </a:cubicBezTo>
                <a:cubicBezTo>
                  <a:pt x="6258725" y="1446732"/>
                  <a:pt x="6234015" y="1422022"/>
                  <a:pt x="6234015" y="1391541"/>
                </a:cubicBezTo>
                <a:cubicBezTo>
                  <a:pt x="6234015" y="1361060"/>
                  <a:pt x="6258725" y="1336350"/>
                  <a:pt x="6289207" y="1336350"/>
                </a:cubicBezTo>
                <a:close/>
                <a:moveTo>
                  <a:pt x="6155573" y="1336350"/>
                </a:moveTo>
                <a:cubicBezTo>
                  <a:pt x="6186055" y="1336350"/>
                  <a:pt x="6210765" y="1361060"/>
                  <a:pt x="6210765" y="1391541"/>
                </a:cubicBezTo>
                <a:cubicBezTo>
                  <a:pt x="6210765" y="1422022"/>
                  <a:pt x="6186055" y="1446732"/>
                  <a:pt x="6155573" y="1446732"/>
                </a:cubicBezTo>
                <a:cubicBezTo>
                  <a:pt x="6125091" y="1446732"/>
                  <a:pt x="6100381" y="1422022"/>
                  <a:pt x="6100381" y="1391541"/>
                </a:cubicBezTo>
                <a:cubicBezTo>
                  <a:pt x="6100381" y="1361060"/>
                  <a:pt x="6125091" y="1336350"/>
                  <a:pt x="6155573" y="1336350"/>
                </a:cubicBezTo>
                <a:close/>
                <a:moveTo>
                  <a:pt x="6021939" y="1336350"/>
                </a:moveTo>
                <a:cubicBezTo>
                  <a:pt x="6052421" y="1336350"/>
                  <a:pt x="6077131" y="1361060"/>
                  <a:pt x="6077131" y="1391541"/>
                </a:cubicBezTo>
                <a:cubicBezTo>
                  <a:pt x="6077131" y="1422022"/>
                  <a:pt x="6052421" y="1446732"/>
                  <a:pt x="6021939" y="1446732"/>
                </a:cubicBezTo>
                <a:cubicBezTo>
                  <a:pt x="5991457" y="1446732"/>
                  <a:pt x="5966747" y="1422022"/>
                  <a:pt x="5966747" y="1391541"/>
                </a:cubicBezTo>
                <a:cubicBezTo>
                  <a:pt x="5966747" y="1361060"/>
                  <a:pt x="5991457" y="1336350"/>
                  <a:pt x="6021939" y="1336350"/>
                </a:cubicBezTo>
                <a:close/>
                <a:moveTo>
                  <a:pt x="5884964" y="1336350"/>
                </a:moveTo>
                <a:cubicBezTo>
                  <a:pt x="5915446" y="1336350"/>
                  <a:pt x="5940156" y="1361060"/>
                  <a:pt x="5940156" y="1391541"/>
                </a:cubicBezTo>
                <a:cubicBezTo>
                  <a:pt x="5940156" y="1422022"/>
                  <a:pt x="5915446" y="1446732"/>
                  <a:pt x="5884964" y="1446732"/>
                </a:cubicBezTo>
                <a:cubicBezTo>
                  <a:pt x="5854482" y="1446732"/>
                  <a:pt x="5829772" y="1422022"/>
                  <a:pt x="5829772" y="1391541"/>
                </a:cubicBezTo>
                <a:cubicBezTo>
                  <a:pt x="5829772" y="1361060"/>
                  <a:pt x="5854482" y="1336350"/>
                  <a:pt x="5884964" y="1336350"/>
                </a:cubicBezTo>
                <a:close/>
                <a:moveTo>
                  <a:pt x="5754668" y="1336350"/>
                </a:moveTo>
                <a:cubicBezTo>
                  <a:pt x="5785150" y="1336350"/>
                  <a:pt x="5809860" y="1361060"/>
                  <a:pt x="5809860" y="1391541"/>
                </a:cubicBezTo>
                <a:cubicBezTo>
                  <a:pt x="5809860" y="1422022"/>
                  <a:pt x="5785150" y="1446732"/>
                  <a:pt x="5754668" y="1446732"/>
                </a:cubicBezTo>
                <a:cubicBezTo>
                  <a:pt x="5724186" y="1446732"/>
                  <a:pt x="5699476" y="1422022"/>
                  <a:pt x="5699476" y="1391541"/>
                </a:cubicBezTo>
                <a:cubicBezTo>
                  <a:pt x="5699476" y="1361060"/>
                  <a:pt x="5724186" y="1336350"/>
                  <a:pt x="5754668" y="1336350"/>
                </a:cubicBezTo>
                <a:close/>
                <a:moveTo>
                  <a:pt x="5621035" y="1336350"/>
                </a:moveTo>
                <a:cubicBezTo>
                  <a:pt x="5651517" y="1336350"/>
                  <a:pt x="5676227" y="1361060"/>
                  <a:pt x="5676227" y="1391541"/>
                </a:cubicBezTo>
                <a:cubicBezTo>
                  <a:pt x="5676227" y="1422022"/>
                  <a:pt x="5651517" y="1446732"/>
                  <a:pt x="5621035" y="1446732"/>
                </a:cubicBezTo>
                <a:cubicBezTo>
                  <a:pt x="5590553" y="1446732"/>
                  <a:pt x="5565843" y="1422022"/>
                  <a:pt x="5565843" y="1391541"/>
                </a:cubicBezTo>
                <a:cubicBezTo>
                  <a:pt x="5565843" y="1361060"/>
                  <a:pt x="5590553" y="1336350"/>
                  <a:pt x="5621035" y="1336350"/>
                </a:cubicBezTo>
                <a:close/>
                <a:moveTo>
                  <a:pt x="5487399" y="1336350"/>
                </a:moveTo>
                <a:cubicBezTo>
                  <a:pt x="5517881" y="1336350"/>
                  <a:pt x="5542591" y="1361060"/>
                  <a:pt x="5542591" y="1391541"/>
                </a:cubicBezTo>
                <a:cubicBezTo>
                  <a:pt x="5542591" y="1422022"/>
                  <a:pt x="5517881" y="1446732"/>
                  <a:pt x="5487399" y="1446732"/>
                </a:cubicBezTo>
                <a:cubicBezTo>
                  <a:pt x="5456917" y="1446732"/>
                  <a:pt x="5432207" y="1422022"/>
                  <a:pt x="5432207" y="1391541"/>
                </a:cubicBezTo>
                <a:cubicBezTo>
                  <a:pt x="5432207" y="1361060"/>
                  <a:pt x="5456917" y="1336350"/>
                  <a:pt x="5487399" y="1336350"/>
                </a:cubicBezTo>
                <a:close/>
                <a:moveTo>
                  <a:pt x="5357106" y="1336350"/>
                </a:moveTo>
                <a:cubicBezTo>
                  <a:pt x="5387588" y="1336350"/>
                  <a:pt x="5412298" y="1361060"/>
                  <a:pt x="5412298" y="1391541"/>
                </a:cubicBezTo>
                <a:cubicBezTo>
                  <a:pt x="5412298" y="1422022"/>
                  <a:pt x="5387588" y="1446732"/>
                  <a:pt x="5357106" y="1446732"/>
                </a:cubicBezTo>
                <a:cubicBezTo>
                  <a:pt x="5326624" y="1446732"/>
                  <a:pt x="5301914" y="1422022"/>
                  <a:pt x="5301914" y="1391541"/>
                </a:cubicBezTo>
                <a:cubicBezTo>
                  <a:pt x="5301914" y="1361060"/>
                  <a:pt x="5326624" y="1336350"/>
                  <a:pt x="5357106" y="1336350"/>
                </a:cubicBezTo>
                <a:close/>
                <a:moveTo>
                  <a:pt x="4959543" y="1336350"/>
                </a:moveTo>
                <a:cubicBezTo>
                  <a:pt x="4990025" y="1336350"/>
                  <a:pt x="5014735" y="1361060"/>
                  <a:pt x="5014735" y="1391541"/>
                </a:cubicBezTo>
                <a:cubicBezTo>
                  <a:pt x="5014735" y="1422022"/>
                  <a:pt x="4990025" y="1446732"/>
                  <a:pt x="4959543" y="1446732"/>
                </a:cubicBezTo>
                <a:cubicBezTo>
                  <a:pt x="4929061" y="1446732"/>
                  <a:pt x="4904351" y="1422022"/>
                  <a:pt x="4904351" y="1391541"/>
                </a:cubicBezTo>
                <a:cubicBezTo>
                  <a:pt x="4904351" y="1361060"/>
                  <a:pt x="4929061" y="1336350"/>
                  <a:pt x="4959543" y="1336350"/>
                </a:cubicBezTo>
                <a:close/>
                <a:moveTo>
                  <a:pt x="4565322" y="1336350"/>
                </a:moveTo>
                <a:cubicBezTo>
                  <a:pt x="4595804" y="1336350"/>
                  <a:pt x="4620514" y="1361060"/>
                  <a:pt x="4620514" y="1391541"/>
                </a:cubicBezTo>
                <a:cubicBezTo>
                  <a:pt x="4620514" y="1422022"/>
                  <a:pt x="4595804" y="1446732"/>
                  <a:pt x="4565322" y="1446732"/>
                </a:cubicBezTo>
                <a:cubicBezTo>
                  <a:pt x="4534840" y="1446732"/>
                  <a:pt x="4510130" y="1422022"/>
                  <a:pt x="4510130" y="1391541"/>
                </a:cubicBezTo>
                <a:cubicBezTo>
                  <a:pt x="4510130" y="1361060"/>
                  <a:pt x="4534840" y="1336350"/>
                  <a:pt x="4565322" y="1336350"/>
                </a:cubicBezTo>
                <a:close/>
                <a:moveTo>
                  <a:pt x="2971729" y="1336350"/>
                </a:moveTo>
                <a:cubicBezTo>
                  <a:pt x="3002211" y="1336350"/>
                  <a:pt x="3026921" y="1361060"/>
                  <a:pt x="3026921" y="1391541"/>
                </a:cubicBezTo>
                <a:cubicBezTo>
                  <a:pt x="3026921" y="1422022"/>
                  <a:pt x="3002211" y="1446732"/>
                  <a:pt x="2971729" y="1446732"/>
                </a:cubicBezTo>
                <a:cubicBezTo>
                  <a:pt x="2941247" y="1446732"/>
                  <a:pt x="2916537" y="1422022"/>
                  <a:pt x="2916537" y="1391541"/>
                </a:cubicBezTo>
                <a:cubicBezTo>
                  <a:pt x="2916537" y="1361060"/>
                  <a:pt x="2941247" y="1336350"/>
                  <a:pt x="2971729" y="1336350"/>
                </a:cubicBezTo>
                <a:close/>
                <a:moveTo>
                  <a:pt x="2834801" y="1336350"/>
                </a:moveTo>
                <a:cubicBezTo>
                  <a:pt x="2865283" y="1336350"/>
                  <a:pt x="2889994" y="1361060"/>
                  <a:pt x="2889994" y="1391541"/>
                </a:cubicBezTo>
                <a:cubicBezTo>
                  <a:pt x="2889994" y="1422022"/>
                  <a:pt x="2865283" y="1446732"/>
                  <a:pt x="2834801" y="1446732"/>
                </a:cubicBezTo>
                <a:cubicBezTo>
                  <a:pt x="2804320" y="1446732"/>
                  <a:pt x="2779610" y="1422022"/>
                  <a:pt x="2779610" y="1391541"/>
                </a:cubicBezTo>
                <a:cubicBezTo>
                  <a:pt x="2779610" y="1361060"/>
                  <a:pt x="2804320" y="1336350"/>
                  <a:pt x="2834801" y="1336350"/>
                </a:cubicBezTo>
                <a:close/>
                <a:moveTo>
                  <a:pt x="2707848" y="1336350"/>
                </a:moveTo>
                <a:cubicBezTo>
                  <a:pt x="2738330" y="1336350"/>
                  <a:pt x="2763042" y="1361060"/>
                  <a:pt x="2763042" y="1391541"/>
                </a:cubicBezTo>
                <a:cubicBezTo>
                  <a:pt x="2763042" y="1422022"/>
                  <a:pt x="2738330" y="1446732"/>
                  <a:pt x="2707848" y="1446732"/>
                </a:cubicBezTo>
                <a:cubicBezTo>
                  <a:pt x="2677367" y="1446732"/>
                  <a:pt x="2652656" y="1422022"/>
                  <a:pt x="2652656" y="1391541"/>
                </a:cubicBezTo>
                <a:cubicBezTo>
                  <a:pt x="2652656" y="1361060"/>
                  <a:pt x="2677367" y="1336350"/>
                  <a:pt x="2707848" y="1336350"/>
                </a:cubicBezTo>
                <a:close/>
                <a:moveTo>
                  <a:pt x="2570875" y="1336350"/>
                </a:moveTo>
                <a:cubicBezTo>
                  <a:pt x="2601357" y="1336350"/>
                  <a:pt x="2626067" y="1361060"/>
                  <a:pt x="2626067" y="1391541"/>
                </a:cubicBezTo>
                <a:cubicBezTo>
                  <a:pt x="2626067" y="1422022"/>
                  <a:pt x="2601357" y="1446732"/>
                  <a:pt x="2570875" y="1446732"/>
                </a:cubicBezTo>
                <a:cubicBezTo>
                  <a:pt x="2540392" y="1446732"/>
                  <a:pt x="2515683" y="1422022"/>
                  <a:pt x="2515683" y="1391541"/>
                </a:cubicBezTo>
                <a:cubicBezTo>
                  <a:pt x="2515683" y="1361060"/>
                  <a:pt x="2540392" y="1336350"/>
                  <a:pt x="2570875" y="1336350"/>
                </a:cubicBezTo>
                <a:close/>
                <a:moveTo>
                  <a:pt x="2173314" y="1336350"/>
                </a:moveTo>
                <a:cubicBezTo>
                  <a:pt x="2203797" y="1336350"/>
                  <a:pt x="2228507" y="1361060"/>
                  <a:pt x="2228507" y="1391541"/>
                </a:cubicBezTo>
                <a:cubicBezTo>
                  <a:pt x="2228507" y="1422022"/>
                  <a:pt x="2203797" y="1446732"/>
                  <a:pt x="2173314" y="1446732"/>
                </a:cubicBezTo>
                <a:cubicBezTo>
                  <a:pt x="2142832" y="1446732"/>
                  <a:pt x="2118122" y="1422022"/>
                  <a:pt x="2118122" y="1391541"/>
                </a:cubicBezTo>
                <a:cubicBezTo>
                  <a:pt x="2118122" y="1361060"/>
                  <a:pt x="2142832" y="1336350"/>
                  <a:pt x="2173314" y="1336350"/>
                </a:cubicBezTo>
                <a:close/>
                <a:moveTo>
                  <a:pt x="2039678" y="1336350"/>
                </a:moveTo>
                <a:cubicBezTo>
                  <a:pt x="2070160" y="1336350"/>
                  <a:pt x="2094870" y="1361060"/>
                  <a:pt x="2094870" y="1391541"/>
                </a:cubicBezTo>
                <a:cubicBezTo>
                  <a:pt x="2094870" y="1422022"/>
                  <a:pt x="2070160" y="1446732"/>
                  <a:pt x="2039678" y="1446732"/>
                </a:cubicBezTo>
                <a:cubicBezTo>
                  <a:pt x="2009195" y="1446732"/>
                  <a:pt x="1984484" y="1422022"/>
                  <a:pt x="1984484" y="1391541"/>
                </a:cubicBezTo>
                <a:cubicBezTo>
                  <a:pt x="1984484" y="1361060"/>
                  <a:pt x="2009195" y="1336350"/>
                  <a:pt x="2039678" y="1336350"/>
                </a:cubicBezTo>
                <a:close/>
                <a:moveTo>
                  <a:pt x="1909381" y="1336350"/>
                </a:moveTo>
                <a:cubicBezTo>
                  <a:pt x="1939864" y="1336350"/>
                  <a:pt x="1964575" y="1361060"/>
                  <a:pt x="1964575" y="1391541"/>
                </a:cubicBezTo>
                <a:cubicBezTo>
                  <a:pt x="1964575" y="1422022"/>
                  <a:pt x="1939864" y="1446732"/>
                  <a:pt x="1909381" y="1446732"/>
                </a:cubicBezTo>
                <a:cubicBezTo>
                  <a:pt x="1878899" y="1446732"/>
                  <a:pt x="1854188" y="1422022"/>
                  <a:pt x="1854188" y="1391541"/>
                </a:cubicBezTo>
                <a:cubicBezTo>
                  <a:pt x="1854188" y="1361060"/>
                  <a:pt x="1878899" y="1336350"/>
                  <a:pt x="1909381" y="1336350"/>
                </a:cubicBezTo>
                <a:close/>
                <a:moveTo>
                  <a:pt x="1779086" y="1336350"/>
                </a:moveTo>
                <a:cubicBezTo>
                  <a:pt x="1809568" y="1336350"/>
                  <a:pt x="1834278" y="1361060"/>
                  <a:pt x="1834278" y="1391541"/>
                </a:cubicBezTo>
                <a:cubicBezTo>
                  <a:pt x="1834278" y="1422022"/>
                  <a:pt x="1809568" y="1446732"/>
                  <a:pt x="1779086" y="1446732"/>
                </a:cubicBezTo>
                <a:cubicBezTo>
                  <a:pt x="1748603" y="1446732"/>
                  <a:pt x="1723892" y="1422022"/>
                  <a:pt x="1723892" y="1391541"/>
                </a:cubicBezTo>
                <a:cubicBezTo>
                  <a:pt x="1723892" y="1361060"/>
                  <a:pt x="1748603" y="1336350"/>
                  <a:pt x="1779086" y="1336350"/>
                </a:cubicBezTo>
                <a:close/>
                <a:moveTo>
                  <a:pt x="1645448" y="1336350"/>
                </a:moveTo>
                <a:cubicBezTo>
                  <a:pt x="1675933" y="1336350"/>
                  <a:pt x="1700644" y="1361060"/>
                  <a:pt x="1700644" y="1391541"/>
                </a:cubicBezTo>
                <a:cubicBezTo>
                  <a:pt x="1700644" y="1422022"/>
                  <a:pt x="1675933" y="1446732"/>
                  <a:pt x="1645448" y="1446732"/>
                </a:cubicBezTo>
                <a:cubicBezTo>
                  <a:pt x="1614967" y="1446732"/>
                  <a:pt x="1590256" y="1422022"/>
                  <a:pt x="1590256" y="1391541"/>
                </a:cubicBezTo>
                <a:cubicBezTo>
                  <a:pt x="1590256" y="1361060"/>
                  <a:pt x="1614967" y="1336350"/>
                  <a:pt x="1645448" y="1336350"/>
                </a:cubicBezTo>
                <a:close/>
                <a:moveTo>
                  <a:pt x="1515160" y="1336350"/>
                </a:moveTo>
                <a:cubicBezTo>
                  <a:pt x="1545636" y="1336350"/>
                  <a:pt x="1570346" y="1361060"/>
                  <a:pt x="1570346" y="1391541"/>
                </a:cubicBezTo>
                <a:cubicBezTo>
                  <a:pt x="1570346" y="1422022"/>
                  <a:pt x="1545636" y="1446732"/>
                  <a:pt x="1515160" y="1446732"/>
                </a:cubicBezTo>
                <a:cubicBezTo>
                  <a:pt x="1484676" y="1446732"/>
                  <a:pt x="1459963" y="1422022"/>
                  <a:pt x="1459963" y="1391541"/>
                </a:cubicBezTo>
                <a:cubicBezTo>
                  <a:pt x="1459963" y="1361060"/>
                  <a:pt x="1484676" y="1336350"/>
                  <a:pt x="1515160" y="1336350"/>
                </a:cubicBezTo>
                <a:close/>
                <a:moveTo>
                  <a:pt x="1381522" y="1336350"/>
                </a:moveTo>
                <a:cubicBezTo>
                  <a:pt x="1412004" y="1336350"/>
                  <a:pt x="1436714" y="1361060"/>
                  <a:pt x="1436714" y="1391541"/>
                </a:cubicBezTo>
                <a:cubicBezTo>
                  <a:pt x="1436714" y="1422022"/>
                  <a:pt x="1412004" y="1446732"/>
                  <a:pt x="1381522" y="1446732"/>
                </a:cubicBezTo>
                <a:cubicBezTo>
                  <a:pt x="1351043" y="1446732"/>
                  <a:pt x="1326330" y="1422022"/>
                  <a:pt x="1326330" y="1391541"/>
                </a:cubicBezTo>
                <a:cubicBezTo>
                  <a:pt x="1326330" y="1361060"/>
                  <a:pt x="1351043" y="1336350"/>
                  <a:pt x="1381522" y="1336350"/>
                </a:cubicBezTo>
                <a:close/>
                <a:moveTo>
                  <a:pt x="1251229" y="1336350"/>
                </a:moveTo>
                <a:cubicBezTo>
                  <a:pt x="1281711" y="1336350"/>
                  <a:pt x="1306421" y="1361060"/>
                  <a:pt x="1306421" y="1391541"/>
                </a:cubicBezTo>
                <a:cubicBezTo>
                  <a:pt x="1306421" y="1422022"/>
                  <a:pt x="1281711" y="1446732"/>
                  <a:pt x="1251229" y="1446732"/>
                </a:cubicBezTo>
                <a:cubicBezTo>
                  <a:pt x="1220747" y="1446732"/>
                  <a:pt x="1196037" y="1422022"/>
                  <a:pt x="1196037" y="1391541"/>
                </a:cubicBezTo>
                <a:cubicBezTo>
                  <a:pt x="1196037" y="1361060"/>
                  <a:pt x="1220747" y="1336350"/>
                  <a:pt x="1251229" y="1336350"/>
                </a:cubicBezTo>
                <a:close/>
                <a:moveTo>
                  <a:pt x="1117592" y="1336350"/>
                </a:moveTo>
                <a:cubicBezTo>
                  <a:pt x="1148075" y="1336350"/>
                  <a:pt x="1172785" y="1361060"/>
                  <a:pt x="1172785" y="1391541"/>
                </a:cubicBezTo>
                <a:cubicBezTo>
                  <a:pt x="1172785" y="1422022"/>
                  <a:pt x="1148075" y="1446732"/>
                  <a:pt x="1117592" y="1446732"/>
                </a:cubicBezTo>
                <a:cubicBezTo>
                  <a:pt x="1087110" y="1446732"/>
                  <a:pt x="1062400" y="1422022"/>
                  <a:pt x="1062400" y="1391541"/>
                </a:cubicBezTo>
                <a:cubicBezTo>
                  <a:pt x="1062400" y="1361060"/>
                  <a:pt x="1087110" y="1336350"/>
                  <a:pt x="1117592" y="1336350"/>
                </a:cubicBezTo>
                <a:close/>
                <a:moveTo>
                  <a:pt x="980615" y="1336350"/>
                </a:moveTo>
                <a:cubicBezTo>
                  <a:pt x="1011098" y="1336350"/>
                  <a:pt x="1035808" y="1361060"/>
                  <a:pt x="1035808" y="1391541"/>
                </a:cubicBezTo>
                <a:cubicBezTo>
                  <a:pt x="1035808" y="1422022"/>
                  <a:pt x="1011098" y="1446732"/>
                  <a:pt x="980615" y="1446732"/>
                </a:cubicBezTo>
                <a:cubicBezTo>
                  <a:pt x="950133" y="1446732"/>
                  <a:pt x="925422" y="1422022"/>
                  <a:pt x="925422" y="1391541"/>
                </a:cubicBezTo>
                <a:cubicBezTo>
                  <a:pt x="925422" y="1361060"/>
                  <a:pt x="950133" y="1336350"/>
                  <a:pt x="980615" y="1336350"/>
                </a:cubicBezTo>
                <a:close/>
                <a:moveTo>
                  <a:pt x="9199101" y="1336348"/>
                </a:moveTo>
                <a:cubicBezTo>
                  <a:pt x="9229583" y="1336348"/>
                  <a:pt x="9254293" y="1361058"/>
                  <a:pt x="9254293" y="1391539"/>
                </a:cubicBezTo>
                <a:cubicBezTo>
                  <a:pt x="9254293" y="1422020"/>
                  <a:pt x="9229583" y="1446730"/>
                  <a:pt x="9199101" y="1446730"/>
                </a:cubicBezTo>
                <a:cubicBezTo>
                  <a:pt x="9168619" y="1446730"/>
                  <a:pt x="9143909" y="1422020"/>
                  <a:pt x="9143909" y="1391539"/>
                </a:cubicBezTo>
                <a:cubicBezTo>
                  <a:pt x="9143909" y="1361058"/>
                  <a:pt x="9168619" y="1336348"/>
                  <a:pt x="9199101" y="1336348"/>
                </a:cubicBezTo>
                <a:close/>
                <a:moveTo>
                  <a:pt x="9068807" y="1336348"/>
                </a:moveTo>
                <a:cubicBezTo>
                  <a:pt x="9099289" y="1336348"/>
                  <a:pt x="9123999" y="1361058"/>
                  <a:pt x="9123999" y="1391539"/>
                </a:cubicBezTo>
                <a:cubicBezTo>
                  <a:pt x="9123999" y="1422020"/>
                  <a:pt x="9099289" y="1446730"/>
                  <a:pt x="9068807" y="1446730"/>
                </a:cubicBezTo>
                <a:cubicBezTo>
                  <a:pt x="9038325" y="1446730"/>
                  <a:pt x="9013615" y="1422020"/>
                  <a:pt x="9013615" y="1391539"/>
                </a:cubicBezTo>
                <a:cubicBezTo>
                  <a:pt x="9013615" y="1361058"/>
                  <a:pt x="9038325" y="1336348"/>
                  <a:pt x="9068807" y="1336348"/>
                </a:cubicBezTo>
                <a:close/>
                <a:moveTo>
                  <a:pt x="8407316" y="1336348"/>
                </a:moveTo>
                <a:cubicBezTo>
                  <a:pt x="8437798" y="1336348"/>
                  <a:pt x="8462508" y="1361058"/>
                  <a:pt x="8462508" y="1391539"/>
                </a:cubicBezTo>
                <a:cubicBezTo>
                  <a:pt x="8462508" y="1422020"/>
                  <a:pt x="8437798" y="1446730"/>
                  <a:pt x="8407316" y="1446730"/>
                </a:cubicBezTo>
                <a:cubicBezTo>
                  <a:pt x="8376834" y="1446730"/>
                  <a:pt x="8352124" y="1422020"/>
                  <a:pt x="8352124" y="1391539"/>
                </a:cubicBezTo>
                <a:cubicBezTo>
                  <a:pt x="8352124" y="1361058"/>
                  <a:pt x="8376834" y="1336348"/>
                  <a:pt x="8407316" y="1336348"/>
                </a:cubicBezTo>
                <a:close/>
                <a:moveTo>
                  <a:pt x="8273682" y="1336348"/>
                </a:moveTo>
                <a:cubicBezTo>
                  <a:pt x="8304164" y="1336348"/>
                  <a:pt x="8328874" y="1361058"/>
                  <a:pt x="8328874" y="1391539"/>
                </a:cubicBezTo>
                <a:cubicBezTo>
                  <a:pt x="8328874" y="1422020"/>
                  <a:pt x="8304164" y="1446730"/>
                  <a:pt x="8273682" y="1446730"/>
                </a:cubicBezTo>
                <a:cubicBezTo>
                  <a:pt x="8243200" y="1446730"/>
                  <a:pt x="8218490" y="1422020"/>
                  <a:pt x="8218490" y="1391539"/>
                </a:cubicBezTo>
                <a:cubicBezTo>
                  <a:pt x="8218490" y="1361058"/>
                  <a:pt x="8243200" y="1336348"/>
                  <a:pt x="8273682" y="1336348"/>
                </a:cubicBezTo>
                <a:close/>
                <a:moveTo>
                  <a:pt x="8143388" y="1336348"/>
                </a:moveTo>
                <a:cubicBezTo>
                  <a:pt x="8173870" y="1336348"/>
                  <a:pt x="8198580" y="1361058"/>
                  <a:pt x="8198580" y="1391539"/>
                </a:cubicBezTo>
                <a:cubicBezTo>
                  <a:pt x="8198580" y="1422020"/>
                  <a:pt x="8173870" y="1446730"/>
                  <a:pt x="8143388" y="1446730"/>
                </a:cubicBezTo>
                <a:cubicBezTo>
                  <a:pt x="8112906" y="1446730"/>
                  <a:pt x="8088196" y="1422020"/>
                  <a:pt x="8088196" y="1391539"/>
                </a:cubicBezTo>
                <a:cubicBezTo>
                  <a:pt x="8088196" y="1361058"/>
                  <a:pt x="8112906" y="1336348"/>
                  <a:pt x="8143388" y="1336348"/>
                </a:cubicBezTo>
                <a:close/>
                <a:moveTo>
                  <a:pt x="8009753" y="1336348"/>
                </a:moveTo>
                <a:cubicBezTo>
                  <a:pt x="8040235" y="1336348"/>
                  <a:pt x="8064945" y="1361058"/>
                  <a:pt x="8064945" y="1391539"/>
                </a:cubicBezTo>
                <a:cubicBezTo>
                  <a:pt x="8064945" y="1422020"/>
                  <a:pt x="8040235" y="1446730"/>
                  <a:pt x="8009753" y="1446730"/>
                </a:cubicBezTo>
                <a:cubicBezTo>
                  <a:pt x="7979271" y="1446730"/>
                  <a:pt x="7954561" y="1422020"/>
                  <a:pt x="7954561" y="1391539"/>
                </a:cubicBezTo>
                <a:cubicBezTo>
                  <a:pt x="7954561" y="1361058"/>
                  <a:pt x="7979271" y="1336348"/>
                  <a:pt x="8009753" y="1336348"/>
                </a:cubicBezTo>
                <a:close/>
                <a:moveTo>
                  <a:pt x="7876118" y="1336348"/>
                </a:moveTo>
                <a:cubicBezTo>
                  <a:pt x="7906600" y="1336348"/>
                  <a:pt x="7931310" y="1361058"/>
                  <a:pt x="7931310" y="1391539"/>
                </a:cubicBezTo>
                <a:cubicBezTo>
                  <a:pt x="7931310" y="1422020"/>
                  <a:pt x="7906600" y="1446730"/>
                  <a:pt x="7876118" y="1446730"/>
                </a:cubicBezTo>
                <a:cubicBezTo>
                  <a:pt x="7845636" y="1446730"/>
                  <a:pt x="7820926" y="1422020"/>
                  <a:pt x="7820926" y="1391539"/>
                </a:cubicBezTo>
                <a:cubicBezTo>
                  <a:pt x="7820926" y="1361058"/>
                  <a:pt x="7845636" y="1336348"/>
                  <a:pt x="7876118" y="1336348"/>
                </a:cubicBezTo>
                <a:close/>
                <a:moveTo>
                  <a:pt x="7745823" y="1336348"/>
                </a:moveTo>
                <a:cubicBezTo>
                  <a:pt x="7776305" y="1336348"/>
                  <a:pt x="7801015" y="1361058"/>
                  <a:pt x="7801015" y="1391539"/>
                </a:cubicBezTo>
                <a:cubicBezTo>
                  <a:pt x="7801015" y="1422020"/>
                  <a:pt x="7776305" y="1446730"/>
                  <a:pt x="7745823" y="1446730"/>
                </a:cubicBezTo>
                <a:cubicBezTo>
                  <a:pt x="7715341" y="1446730"/>
                  <a:pt x="7690631" y="1422020"/>
                  <a:pt x="7690631" y="1391539"/>
                </a:cubicBezTo>
                <a:cubicBezTo>
                  <a:pt x="7690631" y="1361058"/>
                  <a:pt x="7715341" y="1336348"/>
                  <a:pt x="7745823" y="1336348"/>
                </a:cubicBezTo>
                <a:close/>
                <a:moveTo>
                  <a:pt x="185475" y="1336348"/>
                </a:moveTo>
                <a:cubicBezTo>
                  <a:pt x="215957" y="1336348"/>
                  <a:pt x="240666" y="1361058"/>
                  <a:pt x="240666" y="1391539"/>
                </a:cubicBezTo>
                <a:cubicBezTo>
                  <a:pt x="240666" y="1422020"/>
                  <a:pt x="215957" y="1446730"/>
                  <a:pt x="185475" y="1446730"/>
                </a:cubicBezTo>
                <a:cubicBezTo>
                  <a:pt x="154994" y="1446730"/>
                  <a:pt x="130283" y="1422020"/>
                  <a:pt x="130283" y="1391539"/>
                </a:cubicBezTo>
                <a:cubicBezTo>
                  <a:pt x="130283" y="1361058"/>
                  <a:pt x="154994" y="1336348"/>
                  <a:pt x="185475" y="1336348"/>
                </a:cubicBezTo>
                <a:close/>
                <a:moveTo>
                  <a:pt x="9199101" y="1219421"/>
                </a:moveTo>
                <a:cubicBezTo>
                  <a:pt x="9229583" y="1219421"/>
                  <a:pt x="9254293" y="1244131"/>
                  <a:pt x="9254293" y="1274612"/>
                </a:cubicBezTo>
                <a:cubicBezTo>
                  <a:pt x="9254293" y="1305093"/>
                  <a:pt x="9229583" y="1329803"/>
                  <a:pt x="9199101" y="1329803"/>
                </a:cubicBezTo>
                <a:cubicBezTo>
                  <a:pt x="9168619" y="1329803"/>
                  <a:pt x="9143909" y="1305093"/>
                  <a:pt x="9143909" y="1274612"/>
                </a:cubicBezTo>
                <a:cubicBezTo>
                  <a:pt x="9143909" y="1244131"/>
                  <a:pt x="9168619" y="1219421"/>
                  <a:pt x="9199101" y="1219421"/>
                </a:cubicBezTo>
                <a:close/>
                <a:moveTo>
                  <a:pt x="9068807" y="1219421"/>
                </a:moveTo>
                <a:cubicBezTo>
                  <a:pt x="9099289" y="1219421"/>
                  <a:pt x="9123999" y="1244131"/>
                  <a:pt x="9123999" y="1274612"/>
                </a:cubicBezTo>
                <a:cubicBezTo>
                  <a:pt x="9123999" y="1305093"/>
                  <a:pt x="9099289" y="1329803"/>
                  <a:pt x="9068807" y="1329803"/>
                </a:cubicBezTo>
                <a:cubicBezTo>
                  <a:pt x="9038325" y="1329803"/>
                  <a:pt x="9013615" y="1305093"/>
                  <a:pt x="9013615" y="1274612"/>
                </a:cubicBezTo>
                <a:cubicBezTo>
                  <a:pt x="9013615" y="1244131"/>
                  <a:pt x="9038325" y="1219421"/>
                  <a:pt x="9068807" y="1219421"/>
                </a:cubicBezTo>
                <a:close/>
                <a:moveTo>
                  <a:pt x="8537612" y="1219421"/>
                </a:moveTo>
                <a:cubicBezTo>
                  <a:pt x="8568094" y="1219421"/>
                  <a:pt x="8592804" y="1244131"/>
                  <a:pt x="8592804" y="1274612"/>
                </a:cubicBezTo>
                <a:cubicBezTo>
                  <a:pt x="8592804" y="1305093"/>
                  <a:pt x="8568094" y="1329803"/>
                  <a:pt x="8537612" y="1329803"/>
                </a:cubicBezTo>
                <a:cubicBezTo>
                  <a:pt x="8507130" y="1329803"/>
                  <a:pt x="8482420" y="1305093"/>
                  <a:pt x="8482420" y="1274612"/>
                </a:cubicBezTo>
                <a:cubicBezTo>
                  <a:pt x="8482420" y="1244131"/>
                  <a:pt x="8507130" y="1219421"/>
                  <a:pt x="8537612" y="1219421"/>
                </a:cubicBezTo>
                <a:close/>
                <a:moveTo>
                  <a:pt x="8407316" y="1219421"/>
                </a:moveTo>
                <a:cubicBezTo>
                  <a:pt x="8437798" y="1219421"/>
                  <a:pt x="8462508" y="1244131"/>
                  <a:pt x="8462508" y="1274612"/>
                </a:cubicBezTo>
                <a:cubicBezTo>
                  <a:pt x="8462508" y="1305093"/>
                  <a:pt x="8437798" y="1329803"/>
                  <a:pt x="8407316" y="1329803"/>
                </a:cubicBezTo>
                <a:cubicBezTo>
                  <a:pt x="8376834" y="1329803"/>
                  <a:pt x="8352124" y="1305093"/>
                  <a:pt x="8352124" y="1274612"/>
                </a:cubicBezTo>
                <a:cubicBezTo>
                  <a:pt x="8352124" y="1244131"/>
                  <a:pt x="8376834" y="1219421"/>
                  <a:pt x="8407316" y="1219421"/>
                </a:cubicBezTo>
                <a:close/>
                <a:moveTo>
                  <a:pt x="8273682" y="1219421"/>
                </a:moveTo>
                <a:cubicBezTo>
                  <a:pt x="8304164" y="1219421"/>
                  <a:pt x="8328874" y="1244131"/>
                  <a:pt x="8328874" y="1274612"/>
                </a:cubicBezTo>
                <a:cubicBezTo>
                  <a:pt x="8328874" y="1305093"/>
                  <a:pt x="8304164" y="1329803"/>
                  <a:pt x="8273682" y="1329803"/>
                </a:cubicBezTo>
                <a:cubicBezTo>
                  <a:pt x="8243200" y="1329803"/>
                  <a:pt x="8218490" y="1305093"/>
                  <a:pt x="8218490" y="1274612"/>
                </a:cubicBezTo>
                <a:cubicBezTo>
                  <a:pt x="8218490" y="1244131"/>
                  <a:pt x="8243200" y="1219421"/>
                  <a:pt x="8273682" y="1219421"/>
                </a:cubicBezTo>
                <a:close/>
                <a:moveTo>
                  <a:pt x="8143388" y="1219421"/>
                </a:moveTo>
                <a:cubicBezTo>
                  <a:pt x="8173870" y="1219421"/>
                  <a:pt x="8198580" y="1244131"/>
                  <a:pt x="8198580" y="1274612"/>
                </a:cubicBezTo>
                <a:cubicBezTo>
                  <a:pt x="8198580" y="1305093"/>
                  <a:pt x="8173870" y="1329803"/>
                  <a:pt x="8143388" y="1329803"/>
                </a:cubicBezTo>
                <a:cubicBezTo>
                  <a:pt x="8112906" y="1329803"/>
                  <a:pt x="8088196" y="1305093"/>
                  <a:pt x="8088196" y="1274612"/>
                </a:cubicBezTo>
                <a:cubicBezTo>
                  <a:pt x="8088196" y="1244131"/>
                  <a:pt x="8112906" y="1219421"/>
                  <a:pt x="8143388" y="1219421"/>
                </a:cubicBezTo>
                <a:close/>
                <a:moveTo>
                  <a:pt x="8009753" y="1219421"/>
                </a:moveTo>
                <a:cubicBezTo>
                  <a:pt x="8040235" y="1219421"/>
                  <a:pt x="8064945" y="1244131"/>
                  <a:pt x="8064945" y="1274612"/>
                </a:cubicBezTo>
                <a:cubicBezTo>
                  <a:pt x="8064945" y="1305093"/>
                  <a:pt x="8040235" y="1329803"/>
                  <a:pt x="8009753" y="1329803"/>
                </a:cubicBezTo>
                <a:cubicBezTo>
                  <a:pt x="7979271" y="1329803"/>
                  <a:pt x="7954561" y="1305093"/>
                  <a:pt x="7954561" y="1274612"/>
                </a:cubicBezTo>
                <a:cubicBezTo>
                  <a:pt x="7954561" y="1244131"/>
                  <a:pt x="7979271" y="1219421"/>
                  <a:pt x="8009753" y="1219421"/>
                </a:cubicBezTo>
                <a:close/>
                <a:moveTo>
                  <a:pt x="7876118" y="1219421"/>
                </a:moveTo>
                <a:cubicBezTo>
                  <a:pt x="7906600" y="1219421"/>
                  <a:pt x="7931310" y="1244131"/>
                  <a:pt x="7931310" y="1274612"/>
                </a:cubicBezTo>
                <a:cubicBezTo>
                  <a:pt x="7931310" y="1305093"/>
                  <a:pt x="7906600" y="1329803"/>
                  <a:pt x="7876118" y="1329803"/>
                </a:cubicBezTo>
                <a:cubicBezTo>
                  <a:pt x="7845636" y="1329803"/>
                  <a:pt x="7820926" y="1305093"/>
                  <a:pt x="7820926" y="1274612"/>
                </a:cubicBezTo>
                <a:cubicBezTo>
                  <a:pt x="7820926" y="1244131"/>
                  <a:pt x="7845636" y="1219421"/>
                  <a:pt x="7876118" y="1219421"/>
                </a:cubicBezTo>
                <a:close/>
                <a:moveTo>
                  <a:pt x="7745823" y="1219421"/>
                </a:moveTo>
                <a:cubicBezTo>
                  <a:pt x="7776305" y="1219421"/>
                  <a:pt x="7801015" y="1244131"/>
                  <a:pt x="7801015" y="1274612"/>
                </a:cubicBezTo>
                <a:cubicBezTo>
                  <a:pt x="7801015" y="1305093"/>
                  <a:pt x="7776305" y="1329803"/>
                  <a:pt x="7745823" y="1329803"/>
                </a:cubicBezTo>
                <a:cubicBezTo>
                  <a:pt x="7715341" y="1329803"/>
                  <a:pt x="7690631" y="1305093"/>
                  <a:pt x="7690631" y="1274612"/>
                </a:cubicBezTo>
                <a:cubicBezTo>
                  <a:pt x="7690631" y="1244131"/>
                  <a:pt x="7715341" y="1219421"/>
                  <a:pt x="7745823" y="1219421"/>
                </a:cubicBezTo>
                <a:close/>
                <a:moveTo>
                  <a:pt x="7608849" y="1219421"/>
                </a:moveTo>
                <a:cubicBezTo>
                  <a:pt x="7639331" y="1219421"/>
                  <a:pt x="7664041" y="1244131"/>
                  <a:pt x="7664041" y="1274612"/>
                </a:cubicBezTo>
                <a:cubicBezTo>
                  <a:pt x="7664041" y="1305093"/>
                  <a:pt x="7639331" y="1329803"/>
                  <a:pt x="7608849" y="1329803"/>
                </a:cubicBezTo>
                <a:cubicBezTo>
                  <a:pt x="7578367" y="1329803"/>
                  <a:pt x="7553657" y="1305093"/>
                  <a:pt x="7553657" y="1274612"/>
                </a:cubicBezTo>
                <a:cubicBezTo>
                  <a:pt x="7553657" y="1244131"/>
                  <a:pt x="7578367" y="1219421"/>
                  <a:pt x="7608849" y="1219421"/>
                </a:cubicBezTo>
                <a:close/>
                <a:moveTo>
                  <a:pt x="7481897" y="1219421"/>
                </a:moveTo>
                <a:cubicBezTo>
                  <a:pt x="7512379" y="1219421"/>
                  <a:pt x="7537089" y="1244131"/>
                  <a:pt x="7537089" y="1274612"/>
                </a:cubicBezTo>
                <a:cubicBezTo>
                  <a:pt x="7537089" y="1305093"/>
                  <a:pt x="7512379" y="1329803"/>
                  <a:pt x="7481897" y="1329803"/>
                </a:cubicBezTo>
                <a:cubicBezTo>
                  <a:pt x="7451415" y="1329803"/>
                  <a:pt x="7426705" y="1305093"/>
                  <a:pt x="7426705" y="1274612"/>
                </a:cubicBezTo>
                <a:cubicBezTo>
                  <a:pt x="7426705" y="1244131"/>
                  <a:pt x="7451415" y="1219421"/>
                  <a:pt x="7481897" y="1219421"/>
                </a:cubicBezTo>
                <a:close/>
                <a:moveTo>
                  <a:pt x="7341579" y="1219421"/>
                </a:moveTo>
                <a:cubicBezTo>
                  <a:pt x="7372061" y="1219421"/>
                  <a:pt x="7396771" y="1244131"/>
                  <a:pt x="7396771" y="1274612"/>
                </a:cubicBezTo>
                <a:cubicBezTo>
                  <a:pt x="7396771" y="1305093"/>
                  <a:pt x="7372061" y="1329803"/>
                  <a:pt x="7341579" y="1329803"/>
                </a:cubicBezTo>
                <a:cubicBezTo>
                  <a:pt x="7311097" y="1329803"/>
                  <a:pt x="7286387" y="1305093"/>
                  <a:pt x="7286387" y="1274612"/>
                </a:cubicBezTo>
                <a:cubicBezTo>
                  <a:pt x="7286387" y="1244131"/>
                  <a:pt x="7311097" y="1219421"/>
                  <a:pt x="7341579" y="1219421"/>
                </a:cubicBezTo>
                <a:close/>
                <a:moveTo>
                  <a:pt x="7211286" y="1219421"/>
                </a:moveTo>
                <a:cubicBezTo>
                  <a:pt x="7241768" y="1219421"/>
                  <a:pt x="7266478" y="1244131"/>
                  <a:pt x="7266478" y="1274612"/>
                </a:cubicBezTo>
                <a:cubicBezTo>
                  <a:pt x="7266478" y="1305093"/>
                  <a:pt x="7241768" y="1329803"/>
                  <a:pt x="7211286" y="1329803"/>
                </a:cubicBezTo>
                <a:cubicBezTo>
                  <a:pt x="7180804" y="1329803"/>
                  <a:pt x="7156094" y="1305093"/>
                  <a:pt x="7156094" y="1274612"/>
                </a:cubicBezTo>
                <a:cubicBezTo>
                  <a:pt x="7156094" y="1244131"/>
                  <a:pt x="7180804" y="1219421"/>
                  <a:pt x="7211286" y="1219421"/>
                </a:cubicBezTo>
                <a:close/>
                <a:moveTo>
                  <a:pt x="7080993" y="1219421"/>
                </a:moveTo>
                <a:cubicBezTo>
                  <a:pt x="7111475" y="1219421"/>
                  <a:pt x="7136185" y="1244131"/>
                  <a:pt x="7136185" y="1274612"/>
                </a:cubicBezTo>
                <a:cubicBezTo>
                  <a:pt x="7136185" y="1305093"/>
                  <a:pt x="7111475" y="1329803"/>
                  <a:pt x="7080993" y="1329803"/>
                </a:cubicBezTo>
                <a:cubicBezTo>
                  <a:pt x="7050511" y="1329803"/>
                  <a:pt x="7025801" y="1305093"/>
                  <a:pt x="7025801" y="1274612"/>
                </a:cubicBezTo>
                <a:cubicBezTo>
                  <a:pt x="7025801" y="1244131"/>
                  <a:pt x="7050511" y="1219421"/>
                  <a:pt x="7080993" y="1219421"/>
                </a:cubicBezTo>
                <a:close/>
                <a:moveTo>
                  <a:pt x="6947357" y="1219421"/>
                </a:moveTo>
                <a:cubicBezTo>
                  <a:pt x="6977839" y="1219421"/>
                  <a:pt x="7002549" y="1244131"/>
                  <a:pt x="7002549" y="1274612"/>
                </a:cubicBezTo>
                <a:cubicBezTo>
                  <a:pt x="7002549" y="1305093"/>
                  <a:pt x="6977839" y="1329803"/>
                  <a:pt x="6947357" y="1329803"/>
                </a:cubicBezTo>
                <a:cubicBezTo>
                  <a:pt x="6916875" y="1329803"/>
                  <a:pt x="6892165" y="1305093"/>
                  <a:pt x="6892165" y="1274612"/>
                </a:cubicBezTo>
                <a:cubicBezTo>
                  <a:pt x="6892165" y="1244131"/>
                  <a:pt x="6916875" y="1219421"/>
                  <a:pt x="6947357" y="1219421"/>
                </a:cubicBezTo>
                <a:close/>
                <a:moveTo>
                  <a:pt x="6817064" y="1219421"/>
                </a:moveTo>
                <a:cubicBezTo>
                  <a:pt x="6847546" y="1219421"/>
                  <a:pt x="6872256" y="1244131"/>
                  <a:pt x="6872256" y="1274612"/>
                </a:cubicBezTo>
                <a:cubicBezTo>
                  <a:pt x="6872256" y="1305093"/>
                  <a:pt x="6847546" y="1329803"/>
                  <a:pt x="6817064" y="1329803"/>
                </a:cubicBezTo>
                <a:cubicBezTo>
                  <a:pt x="6786582" y="1329803"/>
                  <a:pt x="6761872" y="1305093"/>
                  <a:pt x="6761872" y="1274612"/>
                </a:cubicBezTo>
                <a:cubicBezTo>
                  <a:pt x="6761872" y="1244131"/>
                  <a:pt x="6786582" y="1219421"/>
                  <a:pt x="6817064" y="1219421"/>
                </a:cubicBezTo>
                <a:close/>
                <a:moveTo>
                  <a:pt x="6683431" y="1219421"/>
                </a:moveTo>
                <a:cubicBezTo>
                  <a:pt x="6713913" y="1219421"/>
                  <a:pt x="6738623" y="1244131"/>
                  <a:pt x="6738623" y="1274612"/>
                </a:cubicBezTo>
                <a:cubicBezTo>
                  <a:pt x="6738623" y="1305093"/>
                  <a:pt x="6713913" y="1329803"/>
                  <a:pt x="6683431" y="1329803"/>
                </a:cubicBezTo>
                <a:cubicBezTo>
                  <a:pt x="6652949" y="1329803"/>
                  <a:pt x="6628239" y="1305093"/>
                  <a:pt x="6628239" y="1274612"/>
                </a:cubicBezTo>
                <a:cubicBezTo>
                  <a:pt x="6628239" y="1244131"/>
                  <a:pt x="6652949" y="1219421"/>
                  <a:pt x="6683431" y="1219421"/>
                </a:cubicBezTo>
                <a:close/>
                <a:moveTo>
                  <a:pt x="6553137" y="1219421"/>
                </a:moveTo>
                <a:cubicBezTo>
                  <a:pt x="6583619" y="1219421"/>
                  <a:pt x="6608329" y="1244131"/>
                  <a:pt x="6608329" y="1274612"/>
                </a:cubicBezTo>
                <a:cubicBezTo>
                  <a:pt x="6608329" y="1305093"/>
                  <a:pt x="6583619" y="1329803"/>
                  <a:pt x="6553137" y="1329803"/>
                </a:cubicBezTo>
                <a:cubicBezTo>
                  <a:pt x="6522655" y="1329803"/>
                  <a:pt x="6497945" y="1305093"/>
                  <a:pt x="6497945" y="1274612"/>
                </a:cubicBezTo>
                <a:cubicBezTo>
                  <a:pt x="6497945" y="1244131"/>
                  <a:pt x="6522655" y="1219421"/>
                  <a:pt x="6553137" y="1219421"/>
                </a:cubicBezTo>
                <a:close/>
                <a:moveTo>
                  <a:pt x="6419502" y="1219421"/>
                </a:moveTo>
                <a:cubicBezTo>
                  <a:pt x="6449984" y="1219421"/>
                  <a:pt x="6474694" y="1244131"/>
                  <a:pt x="6474694" y="1274612"/>
                </a:cubicBezTo>
                <a:cubicBezTo>
                  <a:pt x="6474694" y="1305093"/>
                  <a:pt x="6449984" y="1329803"/>
                  <a:pt x="6419502" y="1329803"/>
                </a:cubicBezTo>
                <a:cubicBezTo>
                  <a:pt x="6389020" y="1329803"/>
                  <a:pt x="6364310" y="1305093"/>
                  <a:pt x="6364310" y="1274612"/>
                </a:cubicBezTo>
                <a:cubicBezTo>
                  <a:pt x="6364310" y="1244131"/>
                  <a:pt x="6389020" y="1219421"/>
                  <a:pt x="6419502" y="1219421"/>
                </a:cubicBezTo>
                <a:close/>
                <a:moveTo>
                  <a:pt x="6289207" y="1219421"/>
                </a:moveTo>
                <a:cubicBezTo>
                  <a:pt x="6319689" y="1219421"/>
                  <a:pt x="6344399" y="1244131"/>
                  <a:pt x="6344399" y="1274612"/>
                </a:cubicBezTo>
                <a:cubicBezTo>
                  <a:pt x="6344399" y="1305093"/>
                  <a:pt x="6319689" y="1329803"/>
                  <a:pt x="6289207" y="1329803"/>
                </a:cubicBezTo>
                <a:cubicBezTo>
                  <a:pt x="6258725" y="1329803"/>
                  <a:pt x="6234015" y="1305093"/>
                  <a:pt x="6234015" y="1274612"/>
                </a:cubicBezTo>
                <a:cubicBezTo>
                  <a:pt x="6234015" y="1244131"/>
                  <a:pt x="6258725" y="1219421"/>
                  <a:pt x="6289207" y="1219421"/>
                </a:cubicBezTo>
                <a:close/>
                <a:moveTo>
                  <a:pt x="6155573" y="1219421"/>
                </a:moveTo>
                <a:cubicBezTo>
                  <a:pt x="6186055" y="1219421"/>
                  <a:pt x="6210765" y="1244131"/>
                  <a:pt x="6210765" y="1274612"/>
                </a:cubicBezTo>
                <a:cubicBezTo>
                  <a:pt x="6210765" y="1305093"/>
                  <a:pt x="6186055" y="1329803"/>
                  <a:pt x="6155573" y="1329803"/>
                </a:cubicBezTo>
                <a:cubicBezTo>
                  <a:pt x="6125091" y="1329803"/>
                  <a:pt x="6100381" y="1305093"/>
                  <a:pt x="6100381" y="1274612"/>
                </a:cubicBezTo>
                <a:cubicBezTo>
                  <a:pt x="6100381" y="1244131"/>
                  <a:pt x="6125091" y="1219421"/>
                  <a:pt x="6155573" y="1219421"/>
                </a:cubicBezTo>
                <a:close/>
                <a:moveTo>
                  <a:pt x="6021939" y="1219421"/>
                </a:moveTo>
                <a:cubicBezTo>
                  <a:pt x="6052421" y="1219421"/>
                  <a:pt x="6077131" y="1244131"/>
                  <a:pt x="6077131" y="1274612"/>
                </a:cubicBezTo>
                <a:cubicBezTo>
                  <a:pt x="6077131" y="1305093"/>
                  <a:pt x="6052421" y="1329803"/>
                  <a:pt x="6021939" y="1329803"/>
                </a:cubicBezTo>
                <a:cubicBezTo>
                  <a:pt x="5991457" y="1329803"/>
                  <a:pt x="5966747" y="1305093"/>
                  <a:pt x="5966747" y="1274612"/>
                </a:cubicBezTo>
                <a:cubicBezTo>
                  <a:pt x="5966747" y="1244131"/>
                  <a:pt x="5991457" y="1219421"/>
                  <a:pt x="6021939" y="1219421"/>
                </a:cubicBezTo>
                <a:close/>
                <a:moveTo>
                  <a:pt x="5884964" y="1219421"/>
                </a:moveTo>
                <a:cubicBezTo>
                  <a:pt x="5915446" y="1219421"/>
                  <a:pt x="5940156" y="1244131"/>
                  <a:pt x="5940156" y="1274612"/>
                </a:cubicBezTo>
                <a:cubicBezTo>
                  <a:pt x="5940156" y="1305093"/>
                  <a:pt x="5915446" y="1329803"/>
                  <a:pt x="5884964" y="1329803"/>
                </a:cubicBezTo>
                <a:cubicBezTo>
                  <a:pt x="5854482" y="1329803"/>
                  <a:pt x="5829772" y="1305093"/>
                  <a:pt x="5829772" y="1274612"/>
                </a:cubicBezTo>
                <a:cubicBezTo>
                  <a:pt x="5829772" y="1244131"/>
                  <a:pt x="5854482" y="1219421"/>
                  <a:pt x="5884964" y="1219421"/>
                </a:cubicBezTo>
                <a:close/>
                <a:moveTo>
                  <a:pt x="5754668" y="1219421"/>
                </a:moveTo>
                <a:cubicBezTo>
                  <a:pt x="5785150" y="1219421"/>
                  <a:pt x="5809860" y="1244131"/>
                  <a:pt x="5809860" y="1274612"/>
                </a:cubicBezTo>
                <a:cubicBezTo>
                  <a:pt x="5809860" y="1305093"/>
                  <a:pt x="5785150" y="1329803"/>
                  <a:pt x="5754668" y="1329803"/>
                </a:cubicBezTo>
                <a:cubicBezTo>
                  <a:pt x="5724186" y="1329803"/>
                  <a:pt x="5699476" y="1305093"/>
                  <a:pt x="5699476" y="1274612"/>
                </a:cubicBezTo>
                <a:cubicBezTo>
                  <a:pt x="5699476" y="1244131"/>
                  <a:pt x="5724186" y="1219421"/>
                  <a:pt x="5754668" y="1219421"/>
                </a:cubicBezTo>
                <a:close/>
                <a:moveTo>
                  <a:pt x="5621034" y="1219421"/>
                </a:moveTo>
                <a:cubicBezTo>
                  <a:pt x="5651516" y="1219421"/>
                  <a:pt x="5676226" y="1244131"/>
                  <a:pt x="5676226" y="1274612"/>
                </a:cubicBezTo>
                <a:cubicBezTo>
                  <a:pt x="5676226" y="1305093"/>
                  <a:pt x="5651516" y="1329803"/>
                  <a:pt x="5621034" y="1329803"/>
                </a:cubicBezTo>
                <a:cubicBezTo>
                  <a:pt x="5590552" y="1329803"/>
                  <a:pt x="5565842" y="1305093"/>
                  <a:pt x="5565842" y="1274612"/>
                </a:cubicBezTo>
                <a:cubicBezTo>
                  <a:pt x="5565842" y="1244131"/>
                  <a:pt x="5590552" y="1219421"/>
                  <a:pt x="5621034" y="1219421"/>
                </a:cubicBezTo>
                <a:close/>
                <a:moveTo>
                  <a:pt x="5487399" y="1219421"/>
                </a:moveTo>
                <a:cubicBezTo>
                  <a:pt x="5517881" y="1219421"/>
                  <a:pt x="5542591" y="1244131"/>
                  <a:pt x="5542591" y="1274612"/>
                </a:cubicBezTo>
                <a:cubicBezTo>
                  <a:pt x="5542591" y="1305093"/>
                  <a:pt x="5517881" y="1329803"/>
                  <a:pt x="5487399" y="1329803"/>
                </a:cubicBezTo>
                <a:cubicBezTo>
                  <a:pt x="5456917" y="1329803"/>
                  <a:pt x="5432207" y="1305093"/>
                  <a:pt x="5432207" y="1274612"/>
                </a:cubicBezTo>
                <a:cubicBezTo>
                  <a:pt x="5432207" y="1244131"/>
                  <a:pt x="5456917" y="1219421"/>
                  <a:pt x="5487399" y="1219421"/>
                </a:cubicBezTo>
                <a:close/>
                <a:moveTo>
                  <a:pt x="5357106" y="1219421"/>
                </a:moveTo>
                <a:cubicBezTo>
                  <a:pt x="5387588" y="1219421"/>
                  <a:pt x="5412298" y="1244131"/>
                  <a:pt x="5412298" y="1274612"/>
                </a:cubicBezTo>
                <a:cubicBezTo>
                  <a:pt x="5412298" y="1305093"/>
                  <a:pt x="5387588" y="1329803"/>
                  <a:pt x="5357106" y="1329803"/>
                </a:cubicBezTo>
                <a:cubicBezTo>
                  <a:pt x="5326624" y="1329803"/>
                  <a:pt x="5301914" y="1305093"/>
                  <a:pt x="5301914" y="1274612"/>
                </a:cubicBezTo>
                <a:cubicBezTo>
                  <a:pt x="5301914" y="1244131"/>
                  <a:pt x="5326624" y="1219421"/>
                  <a:pt x="5357106" y="1219421"/>
                </a:cubicBezTo>
                <a:close/>
                <a:moveTo>
                  <a:pt x="5093178" y="1219421"/>
                </a:moveTo>
                <a:cubicBezTo>
                  <a:pt x="5123660" y="1219421"/>
                  <a:pt x="5148370" y="1244131"/>
                  <a:pt x="5148370" y="1274612"/>
                </a:cubicBezTo>
                <a:cubicBezTo>
                  <a:pt x="5148370" y="1305093"/>
                  <a:pt x="5123660" y="1329803"/>
                  <a:pt x="5093178" y="1329803"/>
                </a:cubicBezTo>
                <a:cubicBezTo>
                  <a:pt x="5062696" y="1329803"/>
                  <a:pt x="5037986" y="1305093"/>
                  <a:pt x="5037986" y="1274612"/>
                </a:cubicBezTo>
                <a:cubicBezTo>
                  <a:pt x="5037986" y="1244131"/>
                  <a:pt x="5062696" y="1219421"/>
                  <a:pt x="5093178" y="1219421"/>
                </a:cubicBezTo>
                <a:close/>
                <a:moveTo>
                  <a:pt x="4959542" y="1219421"/>
                </a:moveTo>
                <a:cubicBezTo>
                  <a:pt x="4990024" y="1219421"/>
                  <a:pt x="5014734" y="1244131"/>
                  <a:pt x="5014734" y="1274612"/>
                </a:cubicBezTo>
                <a:cubicBezTo>
                  <a:pt x="5014734" y="1305093"/>
                  <a:pt x="4990024" y="1329803"/>
                  <a:pt x="4959542" y="1329803"/>
                </a:cubicBezTo>
                <a:cubicBezTo>
                  <a:pt x="4929060" y="1329803"/>
                  <a:pt x="4904350" y="1305093"/>
                  <a:pt x="4904350" y="1274612"/>
                </a:cubicBezTo>
                <a:cubicBezTo>
                  <a:pt x="4904350" y="1244131"/>
                  <a:pt x="4929060" y="1219421"/>
                  <a:pt x="4959542" y="1219421"/>
                </a:cubicBezTo>
                <a:close/>
                <a:moveTo>
                  <a:pt x="4829250" y="1219421"/>
                </a:moveTo>
                <a:cubicBezTo>
                  <a:pt x="4859732" y="1219421"/>
                  <a:pt x="4884442" y="1244131"/>
                  <a:pt x="4884442" y="1274612"/>
                </a:cubicBezTo>
                <a:cubicBezTo>
                  <a:pt x="4884442" y="1305093"/>
                  <a:pt x="4859732" y="1329803"/>
                  <a:pt x="4829250" y="1329803"/>
                </a:cubicBezTo>
                <a:cubicBezTo>
                  <a:pt x="4798768" y="1329803"/>
                  <a:pt x="4774058" y="1305093"/>
                  <a:pt x="4774058" y="1274612"/>
                </a:cubicBezTo>
                <a:cubicBezTo>
                  <a:pt x="4774058" y="1244131"/>
                  <a:pt x="4798768" y="1219421"/>
                  <a:pt x="4829250" y="1219421"/>
                </a:cubicBezTo>
                <a:close/>
                <a:moveTo>
                  <a:pt x="319111" y="1219421"/>
                </a:moveTo>
                <a:cubicBezTo>
                  <a:pt x="349594" y="1219421"/>
                  <a:pt x="374305" y="1244131"/>
                  <a:pt x="374305" y="1274612"/>
                </a:cubicBezTo>
                <a:cubicBezTo>
                  <a:pt x="374305" y="1305093"/>
                  <a:pt x="349594" y="1329803"/>
                  <a:pt x="319111" y="1329803"/>
                </a:cubicBezTo>
                <a:cubicBezTo>
                  <a:pt x="288629" y="1329803"/>
                  <a:pt x="263920" y="1305093"/>
                  <a:pt x="263920" y="1274612"/>
                </a:cubicBezTo>
                <a:cubicBezTo>
                  <a:pt x="263920" y="1244131"/>
                  <a:pt x="288629" y="1219421"/>
                  <a:pt x="319111" y="1219421"/>
                </a:cubicBezTo>
                <a:close/>
                <a:moveTo>
                  <a:pt x="185480" y="1219421"/>
                </a:moveTo>
                <a:cubicBezTo>
                  <a:pt x="215961" y="1219421"/>
                  <a:pt x="240671" y="1244131"/>
                  <a:pt x="240671" y="1274612"/>
                </a:cubicBezTo>
                <a:cubicBezTo>
                  <a:pt x="240671" y="1305093"/>
                  <a:pt x="215961" y="1329803"/>
                  <a:pt x="185480" y="1329803"/>
                </a:cubicBezTo>
                <a:cubicBezTo>
                  <a:pt x="154998" y="1329803"/>
                  <a:pt x="130288" y="1305093"/>
                  <a:pt x="130288" y="1274612"/>
                </a:cubicBezTo>
                <a:cubicBezTo>
                  <a:pt x="130288" y="1244131"/>
                  <a:pt x="154998" y="1219421"/>
                  <a:pt x="185480" y="1219421"/>
                </a:cubicBezTo>
                <a:close/>
                <a:moveTo>
                  <a:pt x="449407" y="1219419"/>
                </a:moveTo>
                <a:cubicBezTo>
                  <a:pt x="479889" y="1219419"/>
                  <a:pt x="504600" y="1244129"/>
                  <a:pt x="504600" y="1274610"/>
                </a:cubicBezTo>
                <a:cubicBezTo>
                  <a:pt x="504600" y="1305091"/>
                  <a:pt x="479889" y="1329801"/>
                  <a:pt x="449407" y="1329801"/>
                </a:cubicBezTo>
                <a:cubicBezTo>
                  <a:pt x="418924" y="1329801"/>
                  <a:pt x="394214" y="1305091"/>
                  <a:pt x="394214" y="1274610"/>
                </a:cubicBezTo>
                <a:cubicBezTo>
                  <a:pt x="394214" y="1244129"/>
                  <a:pt x="418924" y="1219419"/>
                  <a:pt x="449407" y="1219419"/>
                </a:cubicBezTo>
                <a:close/>
                <a:moveTo>
                  <a:pt x="4565322" y="1219417"/>
                </a:moveTo>
                <a:cubicBezTo>
                  <a:pt x="4595804" y="1219417"/>
                  <a:pt x="4620514" y="1244127"/>
                  <a:pt x="4620514" y="1274608"/>
                </a:cubicBezTo>
                <a:cubicBezTo>
                  <a:pt x="4620514" y="1305089"/>
                  <a:pt x="4595804" y="1329799"/>
                  <a:pt x="4565322" y="1329799"/>
                </a:cubicBezTo>
                <a:cubicBezTo>
                  <a:pt x="4534840" y="1329799"/>
                  <a:pt x="4510130" y="1305089"/>
                  <a:pt x="4510130" y="1274608"/>
                </a:cubicBezTo>
                <a:cubicBezTo>
                  <a:pt x="4510130" y="1244127"/>
                  <a:pt x="4534840" y="1219417"/>
                  <a:pt x="4565322" y="1219417"/>
                </a:cubicBezTo>
                <a:close/>
                <a:moveTo>
                  <a:pt x="2834811" y="1219417"/>
                </a:moveTo>
                <a:cubicBezTo>
                  <a:pt x="2865293" y="1219417"/>
                  <a:pt x="2890003" y="1244127"/>
                  <a:pt x="2890003" y="1274608"/>
                </a:cubicBezTo>
                <a:cubicBezTo>
                  <a:pt x="2890003" y="1305089"/>
                  <a:pt x="2865293" y="1329799"/>
                  <a:pt x="2834811" y="1329799"/>
                </a:cubicBezTo>
                <a:cubicBezTo>
                  <a:pt x="2804329" y="1329799"/>
                  <a:pt x="2779620" y="1305089"/>
                  <a:pt x="2779620" y="1274608"/>
                </a:cubicBezTo>
                <a:cubicBezTo>
                  <a:pt x="2779620" y="1244127"/>
                  <a:pt x="2804329" y="1219417"/>
                  <a:pt x="2834811" y="1219417"/>
                </a:cubicBezTo>
                <a:close/>
                <a:moveTo>
                  <a:pt x="2707858" y="1219417"/>
                </a:moveTo>
                <a:cubicBezTo>
                  <a:pt x="2738341" y="1219417"/>
                  <a:pt x="2763052" y="1244127"/>
                  <a:pt x="2763052" y="1274608"/>
                </a:cubicBezTo>
                <a:cubicBezTo>
                  <a:pt x="2763052" y="1305089"/>
                  <a:pt x="2738341" y="1329799"/>
                  <a:pt x="2707858" y="1329799"/>
                </a:cubicBezTo>
                <a:cubicBezTo>
                  <a:pt x="2677377" y="1329799"/>
                  <a:pt x="2652667" y="1305089"/>
                  <a:pt x="2652667" y="1274608"/>
                </a:cubicBezTo>
                <a:cubicBezTo>
                  <a:pt x="2652667" y="1244127"/>
                  <a:pt x="2677377" y="1219417"/>
                  <a:pt x="2707858" y="1219417"/>
                </a:cubicBezTo>
                <a:close/>
                <a:moveTo>
                  <a:pt x="2570885" y="1219417"/>
                </a:moveTo>
                <a:cubicBezTo>
                  <a:pt x="2601367" y="1219417"/>
                  <a:pt x="2626075" y="1244127"/>
                  <a:pt x="2626075" y="1274608"/>
                </a:cubicBezTo>
                <a:cubicBezTo>
                  <a:pt x="2626075" y="1305089"/>
                  <a:pt x="2601367" y="1329799"/>
                  <a:pt x="2570885" y="1329799"/>
                </a:cubicBezTo>
                <a:cubicBezTo>
                  <a:pt x="2540401" y="1329799"/>
                  <a:pt x="2515692" y="1305089"/>
                  <a:pt x="2515692" y="1274608"/>
                </a:cubicBezTo>
                <a:cubicBezTo>
                  <a:pt x="2515692" y="1244127"/>
                  <a:pt x="2540401" y="1219417"/>
                  <a:pt x="2570885" y="1219417"/>
                </a:cubicBezTo>
                <a:close/>
                <a:moveTo>
                  <a:pt x="2039686" y="1219417"/>
                </a:moveTo>
                <a:cubicBezTo>
                  <a:pt x="2070169" y="1219417"/>
                  <a:pt x="2094880" y="1244127"/>
                  <a:pt x="2094880" y="1274608"/>
                </a:cubicBezTo>
                <a:cubicBezTo>
                  <a:pt x="2094880" y="1305089"/>
                  <a:pt x="2070169" y="1329799"/>
                  <a:pt x="2039686" y="1329799"/>
                </a:cubicBezTo>
                <a:cubicBezTo>
                  <a:pt x="2009204" y="1329799"/>
                  <a:pt x="1984493" y="1305089"/>
                  <a:pt x="1984493" y="1274608"/>
                </a:cubicBezTo>
                <a:cubicBezTo>
                  <a:pt x="1984493" y="1244127"/>
                  <a:pt x="2009204" y="1219417"/>
                  <a:pt x="2039686" y="1219417"/>
                </a:cubicBezTo>
                <a:close/>
                <a:moveTo>
                  <a:pt x="1909390" y="1219417"/>
                </a:moveTo>
                <a:cubicBezTo>
                  <a:pt x="1939873" y="1219417"/>
                  <a:pt x="1964583" y="1244127"/>
                  <a:pt x="1964583" y="1274608"/>
                </a:cubicBezTo>
                <a:cubicBezTo>
                  <a:pt x="1964583" y="1305089"/>
                  <a:pt x="1939873" y="1329799"/>
                  <a:pt x="1909390" y="1329799"/>
                </a:cubicBezTo>
                <a:cubicBezTo>
                  <a:pt x="1878908" y="1329799"/>
                  <a:pt x="1854197" y="1305089"/>
                  <a:pt x="1854197" y="1274608"/>
                </a:cubicBezTo>
                <a:cubicBezTo>
                  <a:pt x="1854197" y="1244127"/>
                  <a:pt x="1878908" y="1219417"/>
                  <a:pt x="1909390" y="1219417"/>
                </a:cubicBezTo>
                <a:close/>
                <a:moveTo>
                  <a:pt x="1779095" y="1219417"/>
                </a:moveTo>
                <a:cubicBezTo>
                  <a:pt x="1809577" y="1219417"/>
                  <a:pt x="1834287" y="1244127"/>
                  <a:pt x="1834287" y="1274608"/>
                </a:cubicBezTo>
                <a:cubicBezTo>
                  <a:pt x="1834287" y="1305089"/>
                  <a:pt x="1809577" y="1329799"/>
                  <a:pt x="1779095" y="1329799"/>
                </a:cubicBezTo>
                <a:cubicBezTo>
                  <a:pt x="1748613" y="1329799"/>
                  <a:pt x="1723902" y="1305089"/>
                  <a:pt x="1723902" y="1274608"/>
                </a:cubicBezTo>
                <a:cubicBezTo>
                  <a:pt x="1723902" y="1244127"/>
                  <a:pt x="1748613" y="1219417"/>
                  <a:pt x="1779095" y="1219417"/>
                </a:cubicBezTo>
                <a:close/>
                <a:moveTo>
                  <a:pt x="1645457" y="1219417"/>
                </a:moveTo>
                <a:cubicBezTo>
                  <a:pt x="1675941" y="1219417"/>
                  <a:pt x="1700655" y="1244127"/>
                  <a:pt x="1700655" y="1274608"/>
                </a:cubicBezTo>
                <a:cubicBezTo>
                  <a:pt x="1700655" y="1305089"/>
                  <a:pt x="1675941" y="1329799"/>
                  <a:pt x="1645457" y="1329799"/>
                </a:cubicBezTo>
                <a:cubicBezTo>
                  <a:pt x="1614977" y="1329799"/>
                  <a:pt x="1590265" y="1305089"/>
                  <a:pt x="1590265" y="1274608"/>
                </a:cubicBezTo>
                <a:cubicBezTo>
                  <a:pt x="1590265" y="1244127"/>
                  <a:pt x="1614977" y="1219417"/>
                  <a:pt x="1645457" y="1219417"/>
                </a:cubicBezTo>
                <a:close/>
                <a:moveTo>
                  <a:pt x="1515168" y="1219417"/>
                </a:moveTo>
                <a:cubicBezTo>
                  <a:pt x="1545647" y="1219417"/>
                  <a:pt x="1570354" y="1244127"/>
                  <a:pt x="1570354" y="1274608"/>
                </a:cubicBezTo>
                <a:cubicBezTo>
                  <a:pt x="1570354" y="1305089"/>
                  <a:pt x="1545647" y="1329799"/>
                  <a:pt x="1515168" y="1329799"/>
                </a:cubicBezTo>
                <a:cubicBezTo>
                  <a:pt x="1484683" y="1329799"/>
                  <a:pt x="1459973" y="1305089"/>
                  <a:pt x="1459973" y="1274608"/>
                </a:cubicBezTo>
                <a:cubicBezTo>
                  <a:pt x="1459973" y="1244127"/>
                  <a:pt x="1484683" y="1219417"/>
                  <a:pt x="1515168" y="1219417"/>
                </a:cubicBezTo>
                <a:close/>
                <a:moveTo>
                  <a:pt x="1381528" y="1219417"/>
                </a:moveTo>
                <a:cubicBezTo>
                  <a:pt x="1412011" y="1219417"/>
                  <a:pt x="1436723" y="1244127"/>
                  <a:pt x="1436723" y="1274608"/>
                </a:cubicBezTo>
                <a:cubicBezTo>
                  <a:pt x="1436723" y="1305089"/>
                  <a:pt x="1412011" y="1329799"/>
                  <a:pt x="1381528" y="1329799"/>
                </a:cubicBezTo>
                <a:cubicBezTo>
                  <a:pt x="1351052" y="1329799"/>
                  <a:pt x="1326339" y="1305089"/>
                  <a:pt x="1326339" y="1274608"/>
                </a:cubicBezTo>
                <a:cubicBezTo>
                  <a:pt x="1326339" y="1244127"/>
                  <a:pt x="1351052" y="1219417"/>
                  <a:pt x="1381528" y="1219417"/>
                </a:cubicBezTo>
                <a:close/>
                <a:moveTo>
                  <a:pt x="1251239" y="1219417"/>
                </a:moveTo>
                <a:cubicBezTo>
                  <a:pt x="1281721" y="1219417"/>
                  <a:pt x="1306431" y="1244127"/>
                  <a:pt x="1306431" y="1274608"/>
                </a:cubicBezTo>
                <a:cubicBezTo>
                  <a:pt x="1306431" y="1305089"/>
                  <a:pt x="1281721" y="1329799"/>
                  <a:pt x="1251239" y="1329799"/>
                </a:cubicBezTo>
                <a:cubicBezTo>
                  <a:pt x="1220756" y="1329799"/>
                  <a:pt x="1196046" y="1305089"/>
                  <a:pt x="1196046" y="1274608"/>
                </a:cubicBezTo>
                <a:cubicBezTo>
                  <a:pt x="1196046" y="1244127"/>
                  <a:pt x="1220756" y="1219417"/>
                  <a:pt x="1251239" y="1219417"/>
                </a:cubicBezTo>
                <a:close/>
                <a:moveTo>
                  <a:pt x="1117601" y="1219417"/>
                </a:moveTo>
                <a:cubicBezTo>
                  <a:pt x="1148084" y="1219417"/>
                  <a:pt x="1172794" y="1244127"/>
                  <a:pt x="1172794" y="1274608"/>
                </a:cubicBezTo>
                <a:cubicBezTo>
                  <a:pt x="1172794" y="1305089"/>
                  <a:pt x="1148084" y="1329799"/>
                  <a:pt x="1117601" y="1329799"/>
                </a:cubicBezTo>
                <a:cubicBezTo>
                  <a:pt x="1087119" y="1329799"/>
                  <a:pt x="1062408" y="1305089"/>
                  <a:pt x="1062408" y="1274608"/>
                </a:cubicBezTo>
                <a:cubicBezTo>
                  <a:pt x="1062408" y="1244127"/>
                  <a:pt x="1087119" y="1219417"/>
                  <a:pt x="1117601" y="1219417"/>
                </a:cubicBezTo>
                <a:close/>
                <a:moveTo>
                  <a:pt x="980622" y="1219417"/>
                </a:moveTo>
                <a:cubicBezTo>
                  <a:pt x="1011105" y="1219417"/>
                  <a:pt x="1035816" y="1244127"/>
                  <a:pt x="1035816" y="1274608"/>
                </a:cubicBezTo>
                <a:cubicBezTo>
                  <a:pt x="1035816" y="1305089"/>
                  <a:pt x="1011105" y="1329799"/>
                  <a:pt x="980622" y="1329799"/>
                </a:cubicBezTo>
                <a:cubicBezTo>
                  <a:pt x="950140" y="1329799"/>
                  <a:pt x="925429" y="1305089"/>
                  <a:pt x="925429" y="1274608"/>
                </a:cubicBezTo>
                <a:cubicBezTo>
                  <a:pt x="925429" y="1244127"/>
                  <a:pt x="950140" y="1219417"/>
                  <a:pt x="980622" y="1219417"/>
                </a:cubicBezTo>
                <a:close/>
                <a:moveTo>
                  <a:pt x="9469710" y="1099147"/>
                </a:moveTo>
                <a:cubicBezTo>
                  <a:pt x="9500192" y="1099147"/>
                  <a:pt x="9524902" y="1123857"/>
                  <a:pt x="9524902" y="1154338"/>
                </a:cubicBezTo>
                <a:cubicBezTo>
                  <a:pt x="9524902" y="1184819"/>
                  <a:pt x="9500192" y="1209529"/>
                  <a:pt x="9469710" y="1209529"/>
                </a:cubicBezTo>
                <a:cubicBezTo>
                  <a:pt x="9439228" y="1209529"/>
                  <a:pt x="9414518" y="1184819"/>
                  <a:pt x="9414518" y="1154338"/>
                </a:cubicBezTo>
                <a:cubicBezTo>
                  <a:pt x="9414518" y="1123857"/>
                  <a:pt x="9439228" y="1099147"/>
                  <a:pt x="9469710" y="1099147"/>
                </a:cubicBezTo>
                <a:close/>
                <a:moveTo>
                  <a:pt x="9336075" y="1099147"/>
                </a:moveTo>
                <a:cubicBezTo>
                  <a:pt x="9366557" y="1099147"/>
                  <a:pt x="9391267" y="1123857"/>
                  <a:pt x="9391267" y="1154338"/>
                </a:cubicBezTo>
                <a:cubicBezTo>
                  <a:pt x="9391267" y="1184819"/>
                  <a:pt x="9366557" y="1209529"/>
                  <a:pt x="9336075" y="1209529"/>
                </a:cubicBezTo>
                <a:cubicBezTo>
                  <a:pt x="9305593" y="1209529"/>
                  <a:pt x="9280883" y="1184819"/>
                  <a:pt x="9280883" y="1154338"/>
                </a:cubicBezTo>
                <a:cubicBezTo>
                  <a:pt x="9280883" y="1123857"/>
                  <a:pt x="9305593" y="1099147"/>
                  <a:pt x="9336075" y="1099147"/>
                </a:cubicBezTo>
                <a:close/>
                <a:moveTo>
                  <a:pt x="9199100" y="1099147"/>
                </a:moveTo>
                <a:cubicBezTo>
                  <a:pt x="9229582" y="1099147"/>
                  <a:pt x="9254292" y="1123857"/>
                  <a:pt x="9254292" y="1154338"/>
                </a:cubicBezTo>
                <a:cubicBezTo>
                  <a:pt x="9254292" y="1184819"/>
                  <a:pt x="9229582" y="1209529"/>
                  <a:pt x="9199100" y="1209529"/>
                </a:cubicBezTo>
                <a:cubicBezTo>
                  <a:pt x="9168618" y="1209529"/>
                  <a:pt x="9143908" y="1184819"/>
                  <a:pt x="9143908" y="1154338"/>
                </a:cubicBezTo>
                <a:cubicBezTo>
                  <a:pt x="9143908" y="1123857"/>
                  <a:pt x="9168618" y="1099147"/>
                  <a:pt x="9199100" y="1099147"/>
                </a:cubicBezTo>
                <a:close/>
                <a:moveTo>
                  <a:pt x="9068805" y="1099147"/>
                </a:moveTo>
                <a:cubicBezTo>
                  <a:pt x="9099287" y="1099147"/>
                  <a:pt x="9123997" y="1123857"/>
                  <a:pt x="9123997" y="1154338"/>
                </a:cubicBezTo>
                <a:cubicBezTo>
                  <a:pt x="9123997" y="1184819"/>
                  <a:pt x="9099287" y="1209529"/>
                  <a:pt x="9068805" y="1209529"/>
                </a:cubicBezTo>
                <a:cubicBezTo>
                  <a:pt x="9038323" y="1209529"/>
                  <a:pt x="9013613" y="1184819"/>
                  <a:pt x="9013613" y="1154338"/>
                </a:cubicBezTo>
                <a:cubicBezTo>
                  <a:pt x="9013613" y="1123857"/>
                  <a:pt x="9038323" y="1099147"/>
                  <a:pt x="9068805" y="1099147"/>
                </a:cubicBezTo>
                <a:close/>
                <a:moveTo>
                  <a:pt x="8935170" y="1099147"/>
                </a:moveTo>
                <a:cubicBezTo>
                  <a:pt x="8965652" y="1099147"/>
                  <a:pt x="8990362" y="1123857"/>
                  <a:pt x="8990362" y="1154338"/>
                </a:cubicBezTo>
                <a:cubicBezTo>
                  <a:pt x="8990362" y="1184819"/>
                  <a:pt x="8965652" y="1209529"/>
                  <a:pt x="8935170" y="1209529"/>
                </a:cubicBezTo>
                <a:cubicBezTo>
                  <a:pt x="8904688" y="1209529"/>
                  <a:pt x="8879978" y="1184819"/>
                  <a:pt x="8879978" y="1154338"/>
                </a:cubicBezTo>
                <a:cubicBezTo>
                  <a:pt x="8879978" y="1123857"/>
                  <a:pt x="8904688" y="1099147"/>
                  <a:pt x="8935170" y="1099147"/>
                </a:cubicBezTo>
                <a:close/>
                <a:moveTo>
                  <a:pt x="8801536" y="1099147"/>
                </a:moveTo>
                <a:cubicBezTo>
                  <a:pt x="8832018" y="1099147"/>
                  <a:pt x="8856728" y="1123857"/>
                  <a:pt x="8856728" y="1154338"/>
                </a:cubicBezTo>
                <a:cubicBezTo>
                  <a:pt x="8856728" y="1184819"/>
                  <a:pt x="8832018" y="1209529"/>
                  <a:pt x="8801536" y="1209529"/>
                </a:cubicBezTo>
                <a:cubicBezTo>
                  <a:pt x="8771054" y="1209529"/>
                  <a:pt x="8746344" y="1184819"/>
                  <a:pt x="8746344" y="1154338"/>
                </a:cubicBezTo>
                <a:cubicBezTo>
                  <a:pt x="8746344" y="1123857"/>
                  <a:pt x="8771054" y="1099147"/>
                  <a:pt x="8801536" y="1099147"/>
                </a:cubicBezTo>
                <a:close/>
                <a:moveTo>
                  <a:pt x="8671243" y="1099147"/>
                </a:moveTo>
                <a:cubicBezTo>
                  <a:pt x="8701725" y="1099147"/>
                  <a:pt x="8726435" y="1123857"/>
                  <a:pt x="8726435" y="1154338"/>
                </a:cubicBezTo>
                <a:cubicBezTo>
                  <a:pt x="8726435" y="1184819"/>
                  <a:pt x="8701725" y="1209529"/>
                  <a:pt x="8671243" y="1209529"/>
                </a:cubicBezTo>
                <a:cubicBezTo>
                  <a:pt x="8640761" y="1209529"/>
                  <a:pt x="8616051" y="1184819"/>
                  <a:pt x="8616051" y="1154338"/>
                </a:cubicBezTo>
                <a:cubicBezTo>
                  <a:pt x="8616051" y="1123857"/>
                  <a:pt x="8640761" y="1099147"/>
                  <a:pt x="8671243" y="1099147"/>
                </a:cubicBezTo>
                <a:close/>
                <a:moveTo>
                  <a:pt x="8537609" y="1099147"/>
                </a:moveTo>
                <a:cubicBezTo>
                  <a:pt x="8568091" y="1099147"/>
                  <a:pt x="8592801" y="1123857"/>
                  <a:pt x="8592801" y="1154338"/>
                </a:cubicBezTo>
                <a:cubicBezTo>
                  <a:pt x="8592801" y="1184819"/>
                  <a:pt x="8568091" y="1209529"/>
                  <a:pt x="8537609" y="1209529"/>
                </a:cubicBezTo>
                <a:cubicBezTo>
                  <a:pt x="8507127" y="1209529"/>
                  <a:pt x="8482417" y="1184819"/>
                  <a:pt x="8482417" y="1154338"/>
                </a:cubicBezTo>
                <a:cubicBezTo>
                  <a:pt x="8482417" y="1123857"/>
                  <a:pt x="8507127" y="1099147"/>
                  <a:pt x="8537609" y="1099147"/>
                </a:cubicBezTo>
                <a:close/>
                <a:moveTo>
                  <a:pt x="8407315" y="1099147"/>
                </a:moveTo>
                <a:cubicBezTo>
                  <a:pt x="8437797" y="1099147"/>
                  <a:pt x="8462507" y="1123857"/>
                  <a:pt x="8462507" y="1154338"/>
                </a:cubicBezTo>
                <a:cubicBezTo>
                  <a:pt x="8462507" y="1184819"/>
                  <a:pt x="8437797" y="1209529"/>
                  <a:pt x="8407315" y="1209529"/>
                </a:cubicBezTo>
                <a:cubicBezTo>
                  <a:pt x="8376833" y="1209529"/>
                  <a:pt x="8352123" y="1184819"/>
                  <a:pt x="8352123" y="1154338"/>
                </a:cubicBezTo>
                <a:cubicBezTo>
                  <a:pt x="8352123" y="1123857"/>
                  <a:pt x="8376833" y="1099147"/>
                  <a:pt x="8407315" y="1099147"/>
                </a:cubicBezTo>
                <a:close/>
                <a:moveTo>
                  <a:pt x="8273681" y="1099147"/>
                </a:moveTo>
                <a:cubicBezTo>
                  <a:pt x="8304163" y="1099147"/>
                  <a:pt x="8328873" y="1123857"/>
                  <a:pt x="8328873" y="1154338"/>
                </a:cubicBezTo>
                <a:cubicBezTo>
                  <a:pt x="8328873" y="1184819"/>
                  <a:pt x="8304163" y="1209529"/>
                  <a:pt x="8273681" y="1209529"/>
                </a:cubicBezTo>
                <a:cubicBezTo>
                  <a:pt x="8243199" y="1209529"/>
                  <a:pt x="8218489" y="1184819"/>
                  <a:pt x="8218489" y="1154338"/>
                </a:cubicBezTo>
                <a:cubicBezTo>
                  <a:pt x="8218489" y="1123857"/>
                  <a:pt x="8243199" y="1099147"/>
                  <a:pt x="8273681" y="1099147"/>
                </a:cubicBezTo>
                <a:close/>
                <a:moveTo>
                  <a:pt x="8143386" y="1099147"/>
                </a:moveTo>
                <a:cubicBezTo>
                  <a:pt x="8173868" y="1099147"/>
                  <a:pt x="8198578" y="1123857"/>
                  <a:pt x="8198578" y="1154338"/>
                </a:cubicBezTo>
                <a:cubicBezTo>
                  <a:pt x="8198578" y="1184819"/>
                  <a:pt x="8173868" y="1209529"/>
                  <a:pt x="8143386" y="1209529"/>
                </a:cubicBezTo>
                <a:cubicBezTo>
                  <a:pt x="8112904" y="1209529"/>
                  <a:pt x="8088194" y="1184819"/>
                  <a:pt x="8088194" y="1154338"/>
                </a:cubicBezTo>
                <a:cubicBezTo>
                  <a:pt x="8088194" y="1123857"/>
                  <a:pt x="8112904" y="1099147"/>
                  <a:pt x="8143386" y="1099147"/>
                </a:cubicBezTo>
                <a:close/>
                <a:moveTo>
                  <a:pt x="8009752" y="1099147"/>
                </a:moveTo>
                <a:cubicBezTo>
                  <a:pt x="8040234" y="1099147"/>
                  <a:pt x="8064944" y="1123857"/>
                  <a:pt x="8064944" y="1154338"/>
                </a:cubicBezTo>
                <a:cubicBezTo>
                  <a:pt x="8064944" y="1184819"/>
                  <a:pt x="8040234" y="1209529"/>
                  <a:pt x="8009752" y="1209529"/>
                </a:cubicBezTo>
                <a:cubicBezTo>
                  <a:pt x="7979270" y="1209529"/>
                  <a:pt x="7954560" y="1184819"/>
                  <a:pt x="7954560" y="1154338"/>
                </a:cubicBezTo>
                <a:cubicBezTo>
                  <a:pt x="7954560" y="1123857"/>
                  <a:pt x="7979270" y="1099147"/>
                  <a:pt x="8009752" y="1099147"/>
                </a:cubicBezTo>
                <a:close/>
                <a:moveTo>
                  <a:pt x="7876117" y="1099147"/>
                </a:moveTo>
                <a:cubicBezTo>
                  <a:pt x="7906599" y="1099147"/>
                  <a:pt x="7931309" y="1123857"/>
                  <a:pt x="7931309" y="1154338"/>
                </a:cubicBezTo>
                <a:cubicBezTo>
                  <a:pt x="7931309" y="1184819"/>
                  <a:pt x="7906599" y="1209529"/>
                  <a:pt x="7876117" y="1209529"/>
                </a:cubicBezTo>
                <a:cubicBezTo>
                  <a:pt x="7845635" y="1209529"/>
                  <a:pt x="7820925" y="1184819"/>
                  <a:pt x="7820925" y="1154338"/>
                </a:cubicBezTo>
                <a:cubicBezTo>
                  <a:pt x="7820925" y="1123857"/>
                  <a:pt x="7845635" y="1099147"/>
                  <a:pt x="7876117" y="1099147"/>
                </a:cubicBezTo>
                <a:close/>
                <a:moveTo>
                  <a:pt x="7745822" y="1099147"/>
                </a:moveTo>
                <a:cubicBezTo>
                  <a:pt x="7776304" y="1099147"/>
                  <a:pt x="7801014" y="1123857"/>
                  <a:pt x="7801014" y="1154338"/>
                </a:cubicBezTo>
                <a:cubicBezTo>
                  <a:pt x="7801014" y="1184819"/>
                  <a:pt x="7776304" y="1209529"/>
                  <a:pt x="7745822" y="1209529"/>
                </a:cubicBezTo>
                <a:cubicBezTo>
                  <a:pt x="7715340" y="1209529"/>
                  <a:pt x="7690630" y="1184819"/>
                  <a:pt x="7690630" y="1154338"/>
                </a:cubicBezTo>
                <a:cubicBezTo>
                  <a:pt x="7690630" y="1123857"/>
                  <a:pt x="7715340" y="1099147"/>
                  <a:pt x="7745822" y="1099147"/>
                </a:cubicBezTo>
                <a:close/>
                <a:moveTo>
                  <a:pt x="7608847" y="1099147"/>
                </a:moveTo>
                <a:cubicBezTo>
                  <a:pt x="7639329" y="1099147"/>
                  <a:pt x="7664039" y="1123857"/>
                  <a:pt x="7664039" y="1154338"/>
                </a:cubicBezTo>
                <a:cubicBezTo>
                  <a:pt x="7664039" y="1184819"/>
                  <a:pt x="7639329" y="1209529"/>
                  <a:pt x="7608847" y="1209529"/>
                </a:cubicBezTo>
                <a:cubicBezTo>
                  <a:pt x="7578365" y="1209529"/>
                  <a:pt x="7553655" y="1184819"/>
                  <a:pt x="7553655" y="1154338"/>
                </a:cubicBezTo>
                <a:cubicBezTo>
                  <a:pt x="7553655" y="1123857"/>
                  <a:pt x="7578365" y="1099147"/>
                  <a:pt x="7608847" y="1099147"/>
                </a:cubicBezTo>
                <a:close/>
                <a:moveTo>
                  <a:pt x="7481895" y="1099147"/>
                </a:moveTo>
                <a:cubicBezTo>
                  <a:pt x="7512377" y="1099147"/>
                  <a:pt x="7537087" y="1123857"/>
                  <a:pt x="7537087" y="1154338"/>
                </a:cubicBezTo>
                <a:cubicBezTo>
                  <a:pt x="7537087" y="1184819"/>
                  <a:pt x="7512377" y="1209529"/>
                  <a:pt x="7481895" y="1209529"/>
                </a:cubicBezTo>
                <a:cubicBezTo>
                  <a:pt x="7451413" y="1209529"/>
                  <a:pt x="7426703" y="1184819"/>
                  <a:pt x="7426703" y="1154338"/>
                </a:cubicBezTo>
                <a:cubicBezTo>
                  <a:pt x="7426703" y="1123857"/>
                  <a:pt x="7451413" y="1099147"/>
                  <a:pt x="7481895" y="1099147"/>
                </a:cubicBezTo>
                <a:close/>
                <a:moveTo>
                  <a:pt x="7341578" y="1099147"/>
                </a:moveTo>
                <a:cubicBezTo>
                  <a:pt x="7372060" y="1099147"/>
                  <a:pt x="7396770" y="1123857"/>
                  <a:pt x="7396770" y="1154338"/>
                </a:cubicBezTo>
                <a:cubicBezTo>
                  <a:pt x="7396770" y="1184819"/>
                  <a:pt x="7372060" y="1209529"/>
                  <a:pt x="7341578" y="1209529"/>
                </a:cubicBezTo>
                <a:cubicBezTo>
                  <a:pt x="7311096" y="1209529"/>
                  <a:pt x="7286386" y="1184819"/>
                  <a:pt x="7286386" y="1154338"/>
                </a:cubicBezTo>
                <a:cubicBezTo>
                  <a:pt x="7286386" y="1123857"/>
                  <a:pt x="7311096" y="1099147"/>
                  <a:pt x="7341578" y="1099147"/>
                </a:cubicBezTo>
                <a:close/>
                <a:moveTo>
                  <a:pt x="7211285" y="1099147"/>
                </a:moveTo>
                <a:cubicBezTo>
                  <a:pt x="7241767" y="1099147"/>
                  <a:pt x="7266477" y="1123857"/>
                  <a:pt x="7266477" y="1154338"/>
                </a:cubicBezTo>
                <a:cubicBezTo>
                  <a:pt x="7266477" y="1184819"/>
                  <a:pt x="7241767" y="1209529"/>
                  <a:pt x="7211285" y="1209529"/>
                </a:cubicBezTo>
                <a:cubicBezTo>
                  <a:pt x="7180803" y="1209529"/>
                  <a:pt x="7156093" y="1184819"/>
                  <a:pt x="7156093" y="1154338"/>
                </a:cubicBezTo>
                <a:cubicBezTo>
                  <a:pt x="7156093" y="1123857"/>
                  <a:pt x="7180803" y="1099147"/>
                  <a:pt x="7211285" y="1099147"/>
                </a:cubicBezTo>
                <a:close/>
                <a:moveTo>
                  <a:pt x="7080991" y="1099147"/>
                </a:moveTo>
                <a:cubicBezTo>
                  <a:pt x="7111473" y="1099147"/>
                  <a:pt x="7136183" y="1123857"/>
                  <a:pt x="7136183" y="1154338"/>
                </a:cubicBezTo>
                <a:cubicBezTo>
                  <a:pt x="7136183" y="1184819"/>
                  <a:pt x="7111473" y="1209529"/>
                  <a:pt x="7080991" y="1209529"/>
                </a:cubicBezTo>
                <a:cubicBezTo>
                  <a:pt x="7050509" y="1209529"/>
                  <a:pt x="7025799" y="1184819"/>
                  <a:pt x="7025799" y="1154338"/>
                </a:cubicBezTo>
                <a:cubicBezTo>
                  <a:pt x="7025799" y="1123857"/>
                  <a:pt x="7050509" y="1099147"/>
                  <a:pt x="7080991" y="1099147"/>
                </a:cubicBezTo>
                <a:close/>
                <a:moveTo>
                  <a:pt x="6947356" y="1099147"/>
                </a:moveTo>
                <a:cubicBezTo>
                  <a:pt x="6977838" y="1099147"/>
                  <a:pt x="7002548" y="1123857"/>
                  <a:pt x="7002548" y="1154338"/>
                </a:cubicBezTo>
                <a:cubicBezTo>
                  <a:pt x="7002548" y="1184819"/>
                  <a:pt x="6977838" y="1209529"/>
                  <a:pt x="6947356" y="1209529"/>
                </a:cubicBezTo>
                <a:cubicBezTo>
                  <a:pt x="6916874" y="1209529"/>
                  <a:pt x="6892164" y="1184819"/>
                  <a:pt x="6892164" y="1154338"/>
                </a:cubicBezTo>
                <a:cubicBezTo>
                  <a:pt x="6892164" y="1123857"/>
                  <a:pt x="6916874" y="1099147"/>
                  <a:pt x="6947356" y="1099147"/>
                </a:cubicBezTo>
                <a:close/>
                <a:moveTo>
                  <a:pt x="6817063" y="1099147"/>
                </a:moveTo>
                <a:cubicBezTo>
                  <a:pt x="6847545" y="1099147"/>
                  <a:pt x="6872255" y="1123857"/>
                  <a:pt x="6872255" y="1154338"/>
                </a:cubicBezTo>
                <a:cubicBezTo>
                  <a:pt x="6872255" y="1184819"/>
                  <a:pt x="6847545" y="1209529"/>
                  <a:pt x="6817063" y="1209529"/>
                </a:cubicBezTo>
                <a:cubicBezTo>
                  <a:pt x="6786581" y="1209529"/>
                  <a:pt x="6761871" y="1184819"/>
                  <a:pt x="6761871" y="1154338"/>
                </a:cubicBezTo>
                <a:cubicBezTo>
                  <a:pt x="6761871" y="1123857"/>
                  <a:pt x="6786581" y="1099147"/>
                  <a:pt x="6817063" y="1099147"/>
                </a:cubicBezTo>
                <a:close/>
                <a:moveTo>
                  <a:pt x="6683430" y="1099147"/>
                </a:moveTo>
                <a:cubicBezTo>
                  <a:pt x="6713912" y="1099147"/>
                  <a:pt x="6738622" y="1123857"/>
                  <a:pt x="6738622" y="1154338"/>
                </a:cubicBezTo>
                <a:cubicBezTo>
                  <a:pt x="6738622" y="1184819"/>
                  <a:pt x="6713912" y="1209529"/>
                  <a:pt x="6683430" y="1209529"/>
                </a:cubicBezTo>
                <a:cubicBezTo>
                  <a:pt x="6652948" y="1209529"/>
                  <a:pt x="6628238" y="1184819"/>
                  <a:pt x="6628238" y="1154338"/>
                </a:cubicBezTo>
                <a:cubicBezTo>
                  <a:pt x="6628238" y="1123857"/>
                  <a:pt x="6652948" y="1099147"/>
                  <a:pt x="6683430" y="1099147"/>
                </a:cubicBezTo>
                <a:close/>
                <a:moveTo>
                  <a:pt x="6553135" y="1099147"/>
                </a:moveTo>
                <a:cubicBezTo>
                  <a:pt x="6583617" y="1099147"/>
                  <a:pt x="6608327" y="1123857"/>
                  <a:pt x="6608327" y="1154338"/>
                </a:cubicBezTo>
                <a:cubicBezTo>
                  <a:pt x="6608327" y="1184819"/>
                  <a:pt x="6583617" y="1209529"/>
                  <a:pt x="6553135" y="1209529"/>
                </a:cubicBezTo>
                <a:cubicBezTo>
                  <a:pt x="6522653" y="1209529"/>
                  <a:pt x="6497943" y="1184819"/>
                  <a:pt x="6497943" y="1154338"/>
                </a:cubicBezTo>
                <a:cubicBezTo>
                  <a:pt x="6497943" y="1123857"/>
                  <a:pt x="6522653" y="1099147"/>
                  <a:pt x="6553135" y="1099147"/>
                </a:cubicBezTo>
                <a:close/>
                <a:moveTo>
                  <a:pt x="6419501" y="1099147"/>
                </a:moveTo>
                <a:cubicBezTo>
                  <a:pt x="6449983" y="1099147"/>
                  <a:pt x="6474693" y="1123857"/>
                  <a:pt x="6474693" y="1154338"/>
                </a:cubicBezTo>
                <a:cubicBezTo>
                  <a:pt x="6474693" y="1184819"/>
                  <a:pt x="6449983" y="1209529"/>
                  <a:pt x="6419501" y="1209529"/>
                </a:cubicBezTo>
                <a:cubicBezTo>
                  <a:pt x="6389019" y="1209529"/>
                  <a:pt x="6364309" y="1184819"/>
                  <a:pt x="6364309" y="1154338"/>
                </a:cubicBezTo>
                <a:cubicBezTo>
                  <a:pt x="6364309" y="1123857"/>
                  <a:pt x="6389019" y="1099147"/>
                  <a:pt x="6419501" y="1099147"/>
                </a:cubicBezTo>
                <a:close/>
                <a:moveTo>
                  <a:pt x="6289206" y="1099147"/>
                </a:moveTo>
                <a:cubicBezTo>
                  <a:pt x="6319688" y="1099147"/>
                  <a:pt x="6344398" y="1123857"/>
                  <a:pt x="6344398" y="1154338"/>
                </a:cubicBezTo>
                <a:cubicBezTo>
                  <a:pt x="6344398" y="1184819"/>
                  <a:pt x="6319688" y="1209529"/>
                  <a:pt x="6289206" y="1209529"/>
                </a:cubicBezTo>
                <a:cubicBezTo>
                  <a:pt x="6258724" y="1209529"/>
                  <a:pt x="6234014" y="1184819"/>
                  <a:pt x="6234014" y="1154338"/>
                </a:cubicBezTo>
                <a:cubicBezTo>
                  <a:pt x="6234014" y="1123857"/>
                  <a:pt x="6258724" y="1099147"/>
                  <a:pt x="6289206" y="1099147"/>
                </a:cubicBezTo>
                <a:close/>
                <a:moveTo>
                  <a:pt x="6155571" y="1099147"/>
                </a:moveTo>
                <a:cubicBezTo>
                  <a:pt x="6186053" y="1099147"/>
                  <a:pt x="6210763" y="1123857"/>
                  <a:pt x="6210763" y="1154338"/>
                </a:cubicBezTo>
                <a:cubicBezTo>
                  <a:pt x="6210763" y="1184819"/>
                  <a:pt x="6186053" y="1209529"/>
                  <a:pt x="6155571" y="1209529"/>
                </a:cubicBezTo>
                <a:cubicBezTo>
                  <a:pt x="6125089" y="1209529"/>
                  <a:pt x="6100379" y="1184819"/>
                  <a:pt x="6100379" y="1154338"/>
                </a:cubicBezTo>
                <a:cubicBezTo>
                  <a:pt x="6100379" y="1123857"/>
                  <a:pt x="6125089" y="1099147"/>
                  <a:pt x="6155571" y="1099147"/>
                </a:cubicBezTo>
                <a:close/>
                <a:moveTo>
                  <a:pt x="6021938" y="1099147"/>
                </a:moveTo>
                <a:cubicBezTo>
                  <a:pt x="6052420" y="1099147"/>
                  <a:pt x="6077130" y="1123857"/>
                  <a:pt x="6077130" y="1154338"/>
                </a:cubicBezTo>
                <a:cubicBezTo>
                  <a:pt x="6077130" y="1184819"/>
                  <a:pt x="6052420" y="1209529"/>
                  <a:pt x="6021938" y="1209529"/>
                </a:cubicBezTo>
                <a:cubicBezTo>
                  <a:pt x="5991456" y="1209529"/>
                  <a:pt x="5966746" y="1184819"/>
                  <a:pt x="5966746" y="1154338"/>
                </a:cubicBezTo>
                <a:cubicBezTo>
                  <a:pt x="5966746" y="1123857"/>
                  <a:pt x="5991456" y="1099147"/>
                  <a:pt x="6021938" y="1099147"/>
                </a:cubicBezTo>
                <a:close/>
                <a:moveTo>
                  <a:pt x="5884963" y="1099147"/>
                </a:moveTo>
                <a:cubicBezTo>
                  <a:pt x="5915445" y="1099147"/>
                  <a:pt x="5940155" y="1123857"/>
                  <a:pt x="5940155" y="1154338"/>
                </a:cubicBezTo>
                <a:cubicBezTo>
                  <a:pt x="5940155" y="1184819"/>
                  <a:pt x="5915445" y="1209529"/>
                  <a:pt x="5884963" y="1209529"/>
                </a:cubicBezTo>
                <a:cubicBezTo>
                  <a:pt x="5854481" y="1209529"/>
                  <a:pt x="5829771" y="1184819"/>
                  <a:pt x="5829771" y="1154338"/>
                </a:cubicBezTo>
                <a:cubicBezTo>
                  <a:pt x="5829771" y="1123857"/>
                  <a:pt x="5854481" y="1099147"/>
                  <a:pt x="5884963" y="1099147"/>
                </a:cubicBezTo>
                <a:close/>
                <a:moveTo>
                  <a:pt x="5754668" y="1099147"/>
                </a:moveTo>
                <a:cubicBezTo>
                  <a:pt x="5785150" y="1099147"/>
                  <a:pt x="5809860" y="1123857"/>
                  <a:pt x="5809860" y="1154338"/>
                </a:cubicBezTo>
                <a:cubicBezTo>
                  <a:pt x="5809860" y="1184819"/>
                  <a:pt x="5785150" y="1209529"/>
                  <a:pt x="5754668" y="1209529"/>
                </a:cubicBezTo>
                <a:cubicBezTo>
                  <a:pt x="5724186" y="1209529"/>
                  <a:pt x="5699476" y="1184819"/>
                  <a:pt x="5699476" y="1154338"/>
                </a:cubicBezTo>
                <a:cubicBezTo>
                  <a:pt x="5699476" y="1123857"/>
                  <a:pt x="5724186" y="1099147"/>
                  <a:pt x="5754668" y="1099147"/>
                </a:cubicBezTo>
                <a:close/>
                <a:moveTo>
                  <a:pt x="5621031" y="1099147"/>
                </a:moveTo>
                <a:cubicBezTo>
                  <a:pt x="5651513" y="1099147"/>
                  <a:pt x="5676223" y="1123857"/>
                  <a:pt x="5676223" y="1154338"/>
                </a:cubicBezTo>
                <a:cubicBezTo>
                  <a:pt x="5676223" y="1184819"/>
                  <a:pt x="5651513" y="1209529"/>
                  <a:pt x="5621031" y="1209529"/>
                </a:cubicBezTo>
                <a:cubicBezTo>
                  <a:pt x="5590549" y="1209529"/>
                  <a:pt x="5565839" y="1184819"/>
                  <a:pt x="5565839" y="1154338"/>
                </a:cubicBezTo>
                <a:cubicBezTo>
                  <a:pt x="5565839" y="1123857"/>
                  <a:pt x="5590549" y="1099147"/>
                  <a:pt x="5621031" y="1099147"/>
                </a:cubicBezTo>
                <a:close/>
                <a:moveTo>
                  <a:pt x="5487398" y="1099147"/>
                </a:moveTo>
                <a:cubicBezTo>
                  <a:pt x="5517880" y="1099147"/>
                  <a:pt x="5542590" y="1123857"/>
                  <a:pt x="5542590" y="1154338"/>
                </a:cubicBezTo>
                <a:cubicBezTo>
                  <a:pt x="5542590" y="1184819"/>
                  <a:pt x="5517880" y="1209529"/>
                  <a:pt x="5487398" y="1209529"/>
                </a:cubicBezTo>
                <a:cubicBezTo>
                  <a:pt x="5456916" y="1209529"/>
                  <a:pt x="5432206" y="1184819"/>
                  <a:pt x="5432206" y="1154338"/>
                </a:cubicBezTo>
                <a:cubicBezTo>
                  <a:pt x="5432206" y="1123857"/>
                  <a:pt x="5456916" y="1099147"/>
                  <a:pt x="5487398" y="1099147"/>
                </a:cubicBezTo>
                <a:close/>
                <a:moveTo>
                  <a:pt x="5357105" y="1099147"/>
                </a:moveTo>
                <a:cubicBezTo>
                  <a:pt x="5387587" y="1099147"/>
                  <a:pt x="5412297" y="1123857"/>
                  <a:pt x="5412297" y="1154338"/>
                </a:cubicBezTo>
                <a:cubicBezTo>
                  <a:pt x="5412297" y="1184819"/>
                  <a:pt x="5387587" y="1209529"/>
                  <a:pt x="5357105" y="1209529"/>
                </a:cubicBezTo>
                <a:cubicBezTo>
                  <a:pt x="5326623" y="1209529"/>
                  <a:pt x="5301913" y="1184819"/>
                  <a:pt x="5301913" y="1154338"/>
                </a:cubicBezTo>
                <a:cubicBezTo>
                  <a:pt x="5301913" y="1123857"/>
                  <a:pt x="5326623" y="1099147"/>
                  <a:pt x="5357105" y="1099147"/>
                </a:cubicBezTo>
                <a:close/>
                <a:moveTo>
                  <a:pt x="5093176" y="1099147"/>
                </a:moveTo>
                <a:cubicBezTo>
                  <a:pt x="5123658" y="1099147"/>
                  <a:pt x="5148368" y="1123857"/>
                  <a:pt x="5148368" y="1154338"/>
                </a:cubicBezTo>
                <a:cubicBezTo>
                  <a:pt x="5148368" y="1184819"/>
                  <a:pt x="5123658" y="1209529"/>
                  <a:pt x="5093176" y="1209529"/>
                </a:cubicBezTo>
                <a:cubicBezTo>
                  <a:pt x="5062694" y="1209529"/>
                  <a:pt x="5037984" y="1184819"/>
                  <a:pt x="5037984" y="1154338"/>
                </a:cubicBezTo>
                <a:cubicBezTo>
                  <a:pt x="5037984" y="1123857"/>
                  <a:pt x="5062694" y="1099147"/>
                  <a:pt x="5093176" y="1099147"/>
                </a:cubicBezTo>
                <a:close/>
                <a:moveTo>
                  <a:pt x="4959540" y="1099147"/>
                </a:moveTo>
                <a:cubicBezTo>
                  <a:pt x="4990022" y="1099147"/>
                  <a:pt x="5014732" y="1123857"/>
                  <a:pt x="5014732" y="1154338"/>
                </a:cubicBezTo>
                <a:cubicBezTo>
                  <a:pt x="5014732" y="1184819"/>
                  <a:pt x="4990022" y="1209529"/>
                  <a:pt x="4959540" y="1209529"/>
                </a:cubicBezTo>
                <a:cubicBezTo>
                  <a:pt x="4929058" y="1209529"/>
                  <a:pt x="4904348" y="1184819"/>
                  <a:pt x="4904348" y="1154338"/>
                </a:cubicBezTo>
                <a:cubicBezTo>
                  <a:pt x="4904348" y="1123857"/>
                  <a:pt x="4929058" y="1099147"/>
                  <a:pt x="4959540" y="1099147"/>
                </a:cubicBezTo>
                <a:close/>
                <a:moveTo>
                  <a:pt x="4829246" y="1099147"/>
                </a:moveTo>
                <a:cubicBezTo>
                  <a:pt x="4859728" y="1099147"/>
                  <a:pt x="4884438" y="1123857"/>
                  <a:pt x="4884438" y="1154338"/>
                </a:cubicBezTo>
                <a:cubicBezTo>
                  <a:pt x="4884438" y="1184819"/>
                  <a:pt x="4859728" y="1209529"/>
                  <a:pt x="4829246" y="1209529"/>
                </a:cubicBezTo>
                <a:cubicBezTo>
                  <a:pt x="4798764" y="1209529"/>
                  <a:pt x="4774054" y="1184819"/>
                  <a:pt x="4774054" y="1154338"/>
                </a:cubicBezTo>
                <a:cubicBezTo>
                  <a:pt x="4774054" y="1123857"/>
                  <a:pt x="4798764" y="1099147"/>
                  <a:pt x="4829246" y="1099147"/>
                </a:cubicBezTo>
                <a:close/>
                <a:moveTo>
                  <a:pt x="319117" y="1099147"/>
                </a:moveTo>
                <a:cubicBezTo>
                  <a:pt x="349600" y="1099147"/>
                  <a:pt x="374310" y="1123857"/>
                  <a:pt x="374310" y="1154338"/>
                </a:cubicBezTo>
                <a:cubicBezTo>
                  <a:pt x="374310" y="1184819"/>
                  <a:pt x="349600" y="1209529"/>
                  <a:pt x="319117" y="1209529"/>
                </a:cubicBezTo>
                <a:cubicBezTo>
                  <a:pt x="288635" y="1209529"/>
                  <a:pt x="263926" y="1184819"/>
                  <a:pt x="263926" y="1154338"/>
                </a:cubicBezTo>
                <a:cubicBezTo>
                  <a:pt x="263926" y="1123857"/>
                  <a:pt x="288635" y="1099147"/>
                  <a:pt x="319117" y="1099147"/>
                </a:cubicBezTo>
                <a:close/>
                <a:moveTo>
                  <a:pt x="185484" y="1099147"/>
                </a:moveTo>
                <a:cubicBezTo>
                  <a:pt x="215966" y="1099147"/>
                  <a:pt x="240675" y="1123857"/>
                  <a:pt x="240675" y="1154338"/>
                </a:cubicBezTo>
                <a:cubicBezTo>
                  <a:pt x="240675" y="1184819"/>
                  <a:pt x="215966" y="1209529"/>
                  <a:pt x="185484" y="1209529"/>
                </a:cubicBezTo>
                <a:cubicBezTo>
                  <a:pt x="155003" y="1209529"/>
                  <a:pt x="130292" y="1184819"/>
                  <a:pt x="130292" y="1154338"/>
                </a:cubicBezTo>
                <a:cubicBezTo>
                  <a:pt x="130292" y="1123857"/>
                  <a:pt x="155003" y="1099147"/>
                  <a:pt x="185484" y="1099147"/>
                </a:cubicBezTo>
                <a:close/>
                <a:moveTo>
                  <a:pt x="55190" y="1099147"/>
                </a:moveTo>
                <a:cubicBezTo>
                  <a:pt x="85672" y="1099147"/>
                  <a:pt x="110381" y="1123857"/>
                  <a:pt x="110381" y="1154338"/>
                </a:cubicBezTo>
                <a:cubicBezTo>
                  <a:pt x="110381" y="1184819"/>
                  <a:pt x="85672" y="1209529"/>
                  <a:pt x="55190" y="1209529"/>
                </a:cubicBezTo>
                <a:cubicBezTo>
                  <a:pt x="24708" y="1209529"/>
                  <a:pt x="0" y="1184819"/>
                  <a:pt x="0" y="1154338"/>
                </a:cubicBezTo>
                <a:cubicBezTo>
                  <a:pt x="0" y="1123857"/>
                  <a:pt x="24708" y="1099147"/>
                  <a:pt x="55190" y="1099147"/>
                </a:cubicBezTo>
                <a:close/>
                <a:moveTo>
                  <a:pt x="3499584" y="1099146"/>
                </a:moveTo>
                <a:cubicBezTo>
                  <a:pt x="3530066" y="1099146"/>
                  <a:pt x="3554776" y="1123856"/>
                  <a:pt x="3554776" y="1154337"/>
                </a:cubicBezTo>
                <a:cubicBezTo>
                  <a:pt x="3554776" y="1184818"/>
                  <a:pt x="3530066" y="1209528"/>
                  <a:pt x="3499584" y="1209528"/>
                </a:cubicBezTo>
                <a:cubicBezTo>
                  <a:pt x="3469102" y="1209528"/>
                  <a:pt x="3444392" y="1184818"/>
                  <a:pt x="3444392" y="1154337"/>
                </a:cubicBezTo>
                <a:cubicBezTo>
                  <a:pt x="3444392" y="1123856"/>
                  <a:pt x="3469102" y="1099146"/>
                  <a:pt x="3499584" y="1099146"/>
                </a:cubicBezTo>
                <a:close/>
                <a:moveTo>
                  <a:pt x="2570894" y="1099146"/>
                </a:moveTo>
                <a:cubicBezTo>
                  <a:pt x="2601377" y="1099146"/>
                  <a:pt x="2626086" y="1123856"/>
                  <a:pt x="2626086" y="1154337"/>
                </a:cubicBezTo>
                <a:cubicBezTo>
                  <a:pt x="2626086" y="1184818"/>
                  <a:pt x="2601377" y="1209528"/>
                  <a:pt x="2570894" y="1209528"/>
                </a:cubicBezTo>
                <a:cubicBezTo>
                  <a:pt x="2540412" y="1209528"/>
                  <a:pt x="2515701" y="1184818"/>
                  <a:pt x="2515701" y="1154337"/>
                </a:cubicBezTo>
                <a:cubicBezTo>
                  <a:pt x="2515701" y="1123856"/>
                  <a:pt x="2540412" y="1099146"/>
                  <a:pt x="2570894" y="1099146"/>
                </a:cubicBezTo>
                <a:close/>
                <a:moveTo>
                  <a:pt x="2039698" y="1099146"/>
                </a:moveTo>
                <a:cubicBezTo>
                  <a:pt x="2070180" y="1099146"/>
                  <a:pt x="2094891" y="1123856"/>
                  <a:pt x="2094891" y="1154337"/>
                </a:cubicBezTo>
                <a:cubicBezTo>
                  <a:pt x="2094891" y="1184818"/>
                  <a:pt x="2070180" y="1209528"/>
                  <a:pt x="2039698" y="1209528"/>
                </a:cubicBezTo>
                <a:cubicBezTo>
                  <a:pt x="2009214" y="1209528"/>
                  <a:pt x="1984505" y="1184818"/>
                  <a:pt x="1984505" y="1154337"/>
                </a:cubicBezTo>
                <a:cubicBezTo>
                  <a:pt x="1984505" y="1123856"/>
                  <a:pt x="2009214" y="1099146"/>
                  <a:pt x="2039698" y="1099146"/>
                </a:cubicBezTo>
                <a:close/>
                <a:moveTo>
                  <a:pt x="1909401" y="1099146"/>
                </a:moveTo>
                <a:cubicBezTo>
                  <a:pt x="1939883" y="1099146"/>
                  <a:pt x="1964592" y="1123856"/>
                  <a:pt x="1964592" y="1154337"/>
                </a:cubicBezTo>
                <a:cubicBezTo>
                  <a:pt x="1964592" y="1184818"/>
                  <a:pt x="1939883" y="1209528"/>
                  <a:pt x="1909401" y="1209528"/>
                </a:cubicBezTo>
                <a:cubicBezTo>
                  <a:pt x="1878917" y="1209528"/>
                  <a:pt x="1854207" y="1184818"/>
                  <a:pt x="1854207" y="1154337"/>
                </a:cubicBezTo>
                <a:cubicBezTo>
                  <a:pt x="1854207" y="1123856"/>
                  <a:pt x="1878917" y="1099146"/>
                  <a:pt x="1909401" y="1099146"/>
                </a:cubicBezTo>
                <a:close/>
                <a:moveTo>
                  <a:pt x="1779104" y="1099146"/>
                </a:moveTo>
                <a:cubicBezTo>
                  <a:pt x="1809585" y="1099146"/>
                  <a:pt x="1834296" y="1123856"/>
                  <a:pt x="1834296" y="1154337"/>
                </a:cubicBezTo>
                <a:cubicBezTo>
                  <a:pt x="1834296" y="1184818"/>
                  <a:pt x="1809585" y="1209528"/>
                  <a:pt x="1779104" y="1209528"/>
                </a:cubicBezTo>
                <a:cubicBezTo>
                  <a:pt x="1748623" y="1209528"/>
                  <a:pt x="1723910" y="1184818"/>
                  <a:pt x="1723910" y="1154337"/>
                </a:cubicBezTo>
                <a:cubicBezTo>
                  <a:pt x="1723910" y="1123856"/>
                  <a:pt x="1748623" y="1099146"/>
                  <a:pt x="1779104" y="1099146"/>
                </a:cubicBezTo>
                <a:close/>
                <a:moveTo>
                  <a:pt x="1645469" y="1099146"/>
                </a:moveTo>
                <a:cubicBezTo>
                  <a:pt x="1675950" y="1099146"/>
                  <a:pt x="1700664" y="1123856"/>
                  <a:pt x="1700664" y="1154337"/>
                </a:cubicBezTo>
                <a:cubicBezTo>
                  <a:pt x="1700664" y="1184818"/>
                  <a:pt x="1675950" y="1209528"/>
                  <a:pt x="1645469" y="1209528"/>
                </a:cubicBezTo>
                <a:cubicBezTo>
                  <a:pt x="1614986" y="1209528"/>
                  <a:pt x="1590275" y="1184818"/>
                  <a:pt x="1590275" y="1154337"/>
                </a:cubicBezTo>
                <a:cubicBezTo>
                  <a:pt x="1590275" y="1123856"/>
                  <a:pt x="1614986" y="1099146"/>
                  <a:pt x="1645469" y="1099146"/>
                </a:cubicBezTo>
                <a:close/>
                <a:moveTo>
                  <a:pt x="1515179" y="1099146"/>
                </a:moveTo>
                <a:cubicBezTo>
                  <a:pt x="1545657" y="1099146"/>
                  <a:pt x="1570364" y="1123856"/>
                  <a:pt x="1570364" y="1154337"/>
                </a:cubicBezTo>
                <a:cubicBezTo>
                  <a:pt x="1570364" y="1184818"/>
                  <a:pt x="1545657" y="1209528"/>
                  <a:pt x="1515179" y="1209528"/>
                </a:cubicBezTo>
                <a:cubicBezTo>
                  <a:pt x="1484695" y="1209528"/>
                  <a:pt x="1459982" y="1184818"/>
                  <a:pt x="1459982" y="1154337"/>
                </a:cubicBezTo>
                <a:cubicBezTo>
                  <a:pt x="1459982" y="1123856"/>
                  <a:pt x="1484695" y="1099146"/>
                  <a:pt x="1515179" y="1099146"/>
                </a:cubicBezTo>
                <a:close/>
                <a:moveTo>
                  <a:pt x="1381539" y="1099146"/>
                </a:moveTo>
                <a:cubicBezTo>
                  <a:pt x="1412022" y="1099146"/>
                  <a:pt x="1436731" y="1123856"/>
                  <a:pt x="1436731" y="1154337"/>
                </a:cubicBezTo>
                <a:cubicBezTo>
                  <a:pt x="1436731" y="1184818"/>
                  <a:pt x="1412022" y="1209528"/>
                  <a:pt x="1381539" y="1209528"/>
                </a:cubicBezTo>
                <a:cubicBezTo>
                  <a:pt x="1351062" y="1209528"/>
                  <a:pt x="1326349" y="1184818"/>
                  <a:pt x="1326349" y="1154337"/>
                </a:cubicBezTo>
                <a:cubicBezTo>
                  <a:pt x="1326349" y="1123856"/>
                  <a:pt x="1351062" y="1099146"/>
                  <a:pt x="1381539" y="1099146"/>
                </a:cubicBezTo>
                <a:close/>
                <a:moveTo>
                  <a:pt x="1251245" y="1099146"/>
                </a:moveTo>
                <a:cubicBezTo>
                  <a:pt x="1281728" y="1099146"/>
                  <a:pt x="1306439" y="1123856"/>
                  <a:pt x="1306439" y="1154337"/>
                </a:cubicBezTo>
                <a:cubicBezTo>
                  <a:pt x="1306439" y="1184818"/>
                  <a:pt x="1281728" y="1209528"/>
                  <a:pt x="1251245" y="1209528"/>
                </a:cubicBezTo>
                <a:cubicBezTo>
                  <a:pt x="1220763" y="1209528"/>
                  <a:pt x="1196054" y="1184818"/>
                  <a:pt x="1196054" y="1154337"/>
                </a:cubicBezTo>
                <a:cubicBezTo>
                  <a:pt x="1196054" y="1123856"/>
                  <a:pt x="1220763" y="1099146"/>
                  <a:pt x="1251245" y="1099146"/>
                </a:cubicBezTo>
                <a:close/>
                <a:moveTo>
                  <a:pt x="1117610" y="1099146"/>
                </a:moveTo>
                <a:cubicBezTo>
                  <a:pt x="1148093" y="1099146"/>
                  <a:pt x="1172803" y="1123856"/>
                  <a:pt x="1172803" y="1154337"/>
                </a:cubicBezTo>
                <a:cubicBezTo>
                  <a:pt x="1172803" y="1184818"/>
                  <a:pt x="1148093" y="1209528"/>
                  <a:pt x="1117610" y="1209528"/>
                </a:cubicBezTo>
                <a:cubicBezTo>
                  <a:pt x="1087127" y="1209528"/>
                  <a:pt x="1062416" y="1184818"/>
                  <a:pt x="1062416" y="1154337"/>
                </a:cubicBezTo>
                <a:cubicBezTo>
                  <a:pt x="1062416" y="1123856"/>
                  <a:pt x="1087127" y="1099146"/>
                  <a:pt x="1117610" y="1099146"/>
                </a:cubicBezTo>
                <a:close/>
                <a:moveTo>
                  <a:pt x="980631" y="1099146"/>
                </a:moveTo>
                <a:cubicBezTo>
                  <a:pt x="1011115" y="1099146"/>
                  <a:pt x="1035825" y="1123856"/>
                  <a:pt x="1035825" y="1154337"/>
                </a:cubicBezTo>
                <a:cubicBezTo>
                  <a:pt x="1035825" y="1184818"/>
                  <a:pt x="1011115" y="1209528"/>
                  <a:pt x="980631" y="1209528"/>
                </a:cubicBezTo>
                <a:cubicBezTo>
                  <a:pt x="950149" y="1209528"/>
                  <a:pt x="925438" y="1184818"/>
                  <a:pt x="925438" y="1154337"/>
                </a:cubicBezTo>
                <a:cubicBezTo>
                  <a:pt x="925438" y="1123856"/>
                  <a:pt x="950149" y="1099146"/>
                  <a:pt x="980631" y="1099146"/>
                </a:cubicBezTo>
                <a:close/>
                <a:moveTo>
                  <a:pt x="846993" y="1099146"/>
                </a:moveTo>
                <a:cubicBezTo>
                  <a:pt x="877476" y="1099146"/>
                  <a:pt x="902186" y="1123856"/>
                  <a:pt x="902186" y="1154337"/>
                </a:cubicBezTo>
                <a:cubicBezTo>
                  <a:pt x="902186" y="1184818"/>
                  <a:pt x="877476" y="1209528"/>
                  <a:pt x="846993" y="1209528"/>
                </a:cubicBezTo>
                <a:cubicBezTo>
                  <a:pt x="816511" y="1209528"/>
                  <a:pt x="791796" y="1184818"/>
                  <a:pt x="791796" y="1154337"/>
                </a:cubicBezTo>
                <a:cubicBezTo>
                  <a:pt x="791796" y="1123856"/>
                  <a:pt x="816511" y="1099146"/>
                  <a:pt x="846993" y="1099146"/>
                </a:cubicBezTo>
                <a:close/>
                <a:moveTo>
                  <a:pt x="716690" y="1099146"/>
                </a:moveTo>
                <a:cubicBezTo>
                  <a:pt x="747176" y="1099146"/>
                  <a:pt x="771886" y="1123856"/>
                  <a:pt x="771886" y="1154337"/>
                </a:cubicBezTo>
                <a:cubicBezTo>
                  <a:pt x="771886" y="1184818"/>
                  <a:pt x="747176" y="1209528"/>
                  <a:pt x="716690" y="1209528"/>
                </a:cubicBezTo>
                <a:cubicBezTo>
                  <a:pt x="686211" y="1209528"/>
                  <a:pt x="661502" y="1184818"/>
                  <a:pt x="661502" y="1154337"/>
                </a:cubicBezTo>
                <a:cubicBezTo>
                  <a:pt x="661502" y="1123856"/>
                  <a:pt x="686211" y="1099146"/>
                  <a:pt x="716690" y="1099146"/>
                </a:cubicBezTo>
                <a:close/>
                <a:moveTo>
                  <a:pt x="583057" y="1099146"/>
                </a:moveTo>
                <a:cubicBezTo>
                  <a:pt x="613540" y="1099146"/>
                  <a:pt x="638250" y="1123856"/>
                  <a:pt x="638250" y="1154337"/>
                </a:cubicBezTo>
                <a:cubicBezTo>
                  <a:pt x="638250" y="1184818"/>
                  <a:pt x="613540" y="1209528"/>
                  <a:pt x="583057" y="1209528"/>
                </a:cubicBezTo>
                <a:cubicBezTo>
                  <a:pt x="552573" y="1209528"/>
                  <a:pt x="527863" y="1184818"/>
                  <a:pt x="527863" y="1154337"/>
                </a:cubicBezTo>
                <a:cubicBezTo>
                  <a:pt x="527863" y="1123856"/>
                  <a:pt x="552573" y="1099146"/>
                  <a:pt x="583057" y="1099146"/>
                </a:cubicBezTo>
                <a:close/>
                <a:moveTo>
                  <a:pt x="449413" y="1099146"/>
                </a:moveTo>
                <a:cubicBezTo>
                  <a:pt x="479896" y="1099146"/>
                  <a:pt x="504606" y="1123856"/>
                  <a:pt x="504606" y="1154337"/>
                </a:cubicBezTo>
                <a:cubicBezTo>
                  <a:pt x="504606" y="1184818"/>
                  <a:pt x="479896" y="1209528"/>
                  <a:pt x="449413" y="1209528"/>
                </a:cubicBezTo>
                <a:cubicBezTo>
                  <a:pt x="418931" y="1209528"/>
                  <a:pt x="394220" y="1184818"/>
                  <a:pt x="394220" y="1154337"/>
                </a:cubicBezTo>
                <a:cubicBezTo>
                  <a:pt x="394220" y="1123856"/>
                  <a:pt x="418931" y="1099146"/>
                  <a:pt x="449413" y="1099146"/>
                </a:cubicBezTo>
                <a:close/>
                <a:moveTo>
                  <a:pt x="9603343" y="975533"/>
                </a:moveTo>
                <a:cubicBezTo>
                  <a:pt x="9633825" y="975533"/>
                  <a:pt x="9658535" y="1000243"/>
                  <a:pt x="9658535" y="1030724"/>
                </a:cubicBezTo>
                <a:cubicBezTo>
                  <a:pt x="9658535" y="1061205"/>
                  <a:pt x="9633825" y="1085915"/>
                  <a:pt x="9603343" y="1085915"/>
                </a:cubicBezTo>
                <a:cubicBezTo>
                  <a:pt x="9572861" y="1085915"/>
                  <a:pt x="9548151" y="1061205"/>
                  <a:pt x="9548151" y="1030724"/>
                </a:cubicBezTo>
                <a:cubicBezTo>
                  <a:pt x="9548151" y="1000243"/>
                  <a:pt x="9572861" y="975533"/>
                  <a:pt x="9603343" y="975533"/>
                </a:cubicBezTo>
                <a:close/>
                <a:moveTo>
                  <a:pt x="9469708" y="975533"/>
                </a:moveTo>
                <a:cubicBezTo>
                  <a:pt x="9500190" y="975533"/>
                  <a:pt x="9524900" y="1000243"/>
                  <a:pt x="9524900" y="1030724"/>
                </a:cubicBezTo>
                <a:cubicBezTo>
                  <a:pt x="9524900" y="1061205"/>
                  <a:pt x="9500190" y="1085915"/>
                  <a:pt x="9469708" y="1085915"/>
                </a:cubicBezTo>
                <a:cubicBezTo>
                  <a:pt x="9439226" y="1085915"/>
                  <a:pt x="9414516" y="1061205"/>
                  <a:pt x="9414516" y="1030724"/>
                </a:cubicBezTo>
                <a:cubicBezTo>
                  <a:pt x="9414516" y="1000243"/>
                  <a:pt x="9439226" y="975533"/>
                  <a:pt x="9469708" y="975533"/>
                </a:cubicBezTo>
                <a:close/>
                <a:moveTo>
                  <a:pt x="8935170" y="975533"/>
                </a:moveTo>
                <a:cubicBezTo>
                  <a:pt x="8965652" y="975533"/>
                  <a:pt x="8990362" y="1000243"/>
                  <a:pt x="8990362" y="1030724"/>
                </a:cubicBezTo>
                <a:cubicBezTo>
                  <a:pt x="8990362" y="1061205"/>
                  <a:pt x="8965652" y="1085915"/>
                  <a:pt x="8935170" y="1085915"/>
                </a:cubicBezTo>
                <a:cubicBezTo>
                  <a:pt x="8904688" y="1085915"/>
                  <a:pt x="8879978" y="1061205"/>
                  <a:pt x="8879978" y="1030724"/>
                </a:cubicBezTo>
                <a:cubicBezTo>
                  <a:pt x="8879978" y="1000243"/>
                  <a:pt x="8904688" y="975533"/>
                  <a:pt x="8935170" y="975533"/>
                </a:cubicBezTo>
                <a:close/>
                <a:moveTo>
                  <a:pt x="8407315" y="975533"/>
                </a:moveTo>
                <a:cubicBezTo>
                  <a:pt x="8437797" y="975533"/>
                  <a:pt x="8462507" y="1000243"/>
                  <a:pt x="8462507" y="1030724"/>
                </a:cubicBezTo>
                <a:cubicBezTo>
                  <a:pt x="8462507" y="1061205"/>
                  <a:pt x="8437797" y="1085915"/>
                  <a:pt x="8407315" y="1085915"/>
                </a:cubicBezTo>
                <a:cubicBezTo>
                  <a:pt x="8376833" y="1085915"/>
                  <a:pt x="8352123" y="1061205"/>
                  <a:pt x="8352123" y="1030724"/>
                </a:cubicBezTo>
                <a:cubicBezTo>
                  <a:pt x="8352123" y="1000243"/>
                  <a:pt x="8376833" y="975533"/>
                  <a:pt x="8407315" y="975533"/>
                </a:cubicBezTo>
                <a:close/>
                <a:moveTo>
                  <a:pt x="7876116" y="975533"/>
                </a:moveTo>
                <a:cubicBezTo>
                  <a:pt x="7906598" y="975533"/>
                  <a:pt x="7931308" y="1000243"/>
                  <a:pt x="7931308" y="1030724"/>
                </a:cubicBezTo>
                <a:cubicBezTo>
                  <a:pt x="7931308" y="1061205"/>
                  <a:pt x="7906598" y="1085915"/>
                  <a:pt x="7876116" y="1085915"/>
                </a:cubicBezTo>
                <a:cubicBezTo>
                  <a:pt x="7845634" y="1085915"/>
                  <a:pt x="7820924" y="1061205"/>
                  <a:pt x="7820924" y="1030724"/>
                </a:cubicBezTo>
                <a:cubicBezTo>
                  <a:pt x="7820924" y="1000243"/>
                  <a:pt x="7845634" y="975533"/>
                  <a:pt x="7876116" y="975533"/>
                </a:cubicBezTo>
                <a:close/>
                <a:moveTo>
                  <a:pt x="7745822" y="975533"/>
                </a:moveTo>
                <a:cubicBezTo>
                  <a:pt x="7776304" y="975533"/>
                  <a:pt x="7801014" y="1000243"/>
                  <a:pt x="7801014" y="1030724"/>
                </a:cubicBezTo>
                <a:cubicBezTo>
                  <a:pt x="7801014" y="1061205"/>
                  <a:pt x="7776304" y="1085915"/>
                  <a:pt x="7745822" y="1085915"/>
                </a:cubicBezTo>
                <a:cubicBezTo>
                  <a:pt x="7715340" y="1085915"/>
                  <a:pt x="7690630" y="1061205"/>
                  <a:pt x="7690630" y="1030724"/>
                </a:cubicBezTo>
                <a:cubicBezTo>
                  <a:pt x="7690630" y="1000243"/>
                  <a:pt x="7715340" y="975533"/>
                  <a:pt x="7745822" y="975533"/>
                </a:cubicBezTo>
                <a:close/>
                <a:moveTo>
                  <a:pt x="7481894" y="975533"/>
                </a:moveTo>
                <a:cubicBezTo>
                  <a:pt x="7512376" y="975533"/>
                  <a:pt x="7537086" y="1000243"/>
                  <a:pt x="7537086" y="1030724"/>
                </a:cubicBezTo>
                <a:cubicBezTo>
                  <a:pt x="7537086" y="1061205"/>
                  <a:pt x="7512376" y="1085915"/>
                  <a:pt x="7481894" y="1085915"/>
                </a:cubicBezTo>
                <a:cubicBezTo>
                  <a:pt x="7451412" y="1085915"/>
                  <a:pt x="7426702" y="1061205"/>
                  <a:pt x="7426702" y="1030724"/>
                </a:cubicBezTo>
                <a:cubicBezTo>
                  <a:pt x="7426702" y="1000243"/>
                  <a:pt x="7451412" y="975533"/>
                  <a:pt x="7481894" y="975533"/>
                </a:cubicBezTo>
                <a:close/>
                <a:moveTo>
                  <a:pt x="7341578" y="975533"/>
                </a:moveTo>
                <a:cubicBezTo>
                  <a:pt x="7372060" y="975533"/>
                  <a:pt x="7396770" y="1000243"/>
                  <a:pt x="7396770" y="1030724"/>
                </a:cubicBezTo>
                <a:cubicBezTo>
                  <a:pt x="7396770" y="1061205"/>
                  <a:pt x="7372060" y="1085915"/>
                  <a:pt x="7341578" y="1085915"/>
                </a:cubicBezTo>
                <a:cubicBezTo>
                  <a:pt x="7311096" y="1085915"/>
                  <a:pt x="7286386" y="1061205"/>
                  <a:pt x="7286386" y="1030724"/>
                </a:cubicBezTo>
                <a:cubicBezTo>
                  <a:pt x="7286386" y="1000243"/>
                  <a:pt x="7311096" y="975533"/>
                  <a:pt x="7341578" y="975533"/>
                </a:cubicBezTo>
                <a:close/>
                <a:moveTo>
                  <a:pt x="7211285" y="975533"/>
                </a:moveTo>
                <a:cubicBezTo>
                  <a:pt x="7241767" y="975533"/>
                  <a:pt x="7266477" y="1000243"/>
                  <a:pt x="7266477" y="1030724"/>
                </a:cubicBezTo>
                <a:cubicBezTo>
                  <a:pt x="7266477" y="1061205"/>
                  <a:pt x="7241767" y="1085915"/>
                  <a:pt x="7211285" y="1085915"/>
                </a:cubicBezTo>
                <a:cubicBezTo>
                  <a:pt x="7180803" y="1085915"/>
                  <a:pt x="7156093" y="1061205"/>
                  <a:pt x="7156093" y="1030724"/>
                </a:cubicBezTo>
                <a:cubicBezTo>
                  <a:pt x="7156093" y="1000243"/>
                  <a:pt x="7180803" y="975533"/>
                  <a:pt x="7211285" y="975533"/>
                </a:cubicBezTo>
                <a:close/>
                <a:moveTo>
                  <a:pt x="6947356" y="975533"/>
                </a:moveTo>
                <a:cubicBezTo>
                  <a:pt x="6977838" y="975533"/>
                  <a:pt x="7002548" y="1000243"/>
                  <a:pt x="7002548" y="1030724"/>
                </a:cubicBezTo>
                <a:cubicBezTo>
                  <a:pt x="7002548" y="1061205"/>
                  <a:pt x="6977838" y="1085915"/>
                  <a:pt x="6947356" y="1085915"/>
                </a:cubicBezTo>
                <a:cubicBezTo>
                  <a:pt x="6916874" y="1085915"/>
                  <a:pt x="6892164" y="1061205"/>
                  <a:pt x="6892164" y="1030724"/>
                </a:cubicBezTo>
                <a:cubicBezTo>
                  <a:pt x="6892164" y="1000243"/>
                  <a:pt x="6916874" y="975533"/>
                  <a:pt x="6947356" y="975533"/>
                </a:cubicBezTo>
                <a:close/>
                <a:moveTo>
                  <a:pt x="6817063" y="975533"/>
                </a:moveTo>
                <a:cubicBezTo>
                  <a:pt x="6847545" y="975533"/>
                  <a:pt x="6872255" y="1000243"/>
                  <a:pt x="6872255" y="1030724"/>
                </a:cubicBezTo>
                <a:cubicBezTo>
                  <a:pt x="6872255" y="1061205"/>
                  <a:pt x="6847545" y="1085915"/>
                  <a:pt x="6817063" y="1085915"/>
                </a:cubicBezTo>
                <a:cubicBezTo>
                  <a:pt x="6786581" y="1085915"/>
                  <a:pt x="6761871" y="1061205"/>
                  <a:pt x="6761871" y="1030724"/>
                </a:cubicBezTo>
                <a:cubicBezTo>
                  <a:pt x="6761871" y="1000243"/>
                  <a:pt x="6786581" y="975533"/>
                  <a:pt x="6817063" y="975533"/>
                </a:cubicBezTo>
                <a:close/>
                <a:moveTo>
                  <a:pt x="6683430" y="975533"/>
                </a:moveTo>
                <a:cubicBezTo>
                  <a:pt x="6713912" y="975533"/>
                  <a:pt x="6738622" y="1000243"/>
                  <a:pt x="6738622" y="1030724"/>
                </a:cubicBezTo>
                <a:cubicBezTo>
                  <a:pt x="6738622" y="1061205"/>
                  <a:pt x="6713912" y="1085915"/>
                  <a:pt x="6683430" y="1085915"/>
                </a:cubicBezTo>
                <a:cubicBezTo>
                  <a:pt x="6652948" y="1085915"/>
                  <a:pt x="6628238" y="1061205"/>
                  <a:pt x="6628238" y="1030724"/>
                </a:cubicBezTo>
                <a:cubicBezTo>
                  <a:pt x="6628238" y="1000243"/>
                  <a:pt x="6652948" y="975533"/>
                  <a:pt x="6683430" y="975533"/>
                </a:cubicBezTo>
                <a:close/>
                <a:moveTo>
                  <a:pt x="6289206" y="975533"/>
                </a:moveTo>
                <a:cubicBezTo>
                  <a:pt x="6319688" y="975533"/>
                  <a:pt x="6344398" y="1000243"/>
                  <a:pt x="6344398" y="1030724"/>
                </a:cubicBezTo>
                <a:cubicBezTo>
                  <a:pt x="6344398" y="1061205"/>
                  <a:pt x="6319688" y="1085915"/>
                  <a:pt x="6289206" y="1085915"/>
                </a:cubicBezTo>
                <a:cubicBezTo>
                  <a:pt x="6258724" y="1085915"/>
                  <a:pt x="6234014" y="1061205"/>
                  <a:pt x="6234014" y="1030724"/>
                </a:cubicBezTo>
                <a:cubicBezTo>
                  <a:pt x="6234014" y="1000243"/>
                  <a:pt x="6258724" y="975533"/>
                  <a:pt x="6289206" y="975533"/>
                </a:cubicBezTo>
                <a:close/>
                <a:moveTo>
                  <a:pt x="5754667" y="975533"/>
                </a:moveTo>
                <a:cubicBezTo>
                  <a:pt x="5785149" y="975533"/>
                  <a:pt x="5809859" y="1000243"/>
                  <a:pt x="5809859" y="1030724"/>
                </a:cubicBezTo>
                <a:cubicBezTo>
                  <a:pt x="5809859" y="1061205"/>
                  <a:pt x="5785149" y="1085915"/>
                  <a:pt x="5754667" y="1085915"/>
                </a:cubicBezTo>
                <a:cubicBezTo>
                  <a:pt x="5724185" y="1085915"/>
                  <a:pt x="5699475" y="1061205"/>
                  <a:pt x="5699475" y="1030724"/>
                </a:cubicBezTo>
                <a:cubicBezTo>
                  <a:pt x="5699475" y="1000243"/>
                  <a:pt x="5724185" y="975533"/>
                  <a:pt x="5754667" y="975533"/>
                </a:cubicBezTo>
                <a:close/>
                <a:moveTo>
                  <a:pt x="5487398" y="975533"/>
                </a:moveTo>
                <a:cubicBezTo>
                  <a:pt x="5517880" y="975533"/>
                  <a:pt x="5542590" y="1000243"/>
                  <a:pt x="5542590" y="1030724"/>
                </a:cubicBezTo>
                <a:cubicBezTo>
                  <a:pt x="5542590" y="1061205"/>
                  <a:pt x="5517880" y="1085915"/>
                  <a:pt x="5487398" y="1085915"/>
                </a:cubicBezTo>
                <a:cubicBezTo>
                  <a:pt x="5456916" y="1085915"/>
                  <a:pt x="5432206" y="1061205"/>
                  <a:pt x="5432206" y="1030724"/>
                </a:cubicBezTo>
                <a:cubicBezTo>
                  <a:pt x="5432206" y="1000243"/>
                  <a:pt x="5456916" y="975533"/>
                  <a:pt x="5487398" y="975533"/>
                </a:cubicBezTo>
                <a:close/>
                <a:moveTo>
                  <a:pt x="5357105" y="975533"/>
                </a:moveTo>
                <a:cubicBezTo>
                  <a:pt x="5387587" y="975533"/>
                  <a:pt x="5412297" y="1000243"/>
                  <a:pt x="5412297" y="1030724"/>
                </a:cubicBezTo>
                <a:cubicBezTo>
                  <a:pt x="5412297" y="1061205"/>
                  <a:pt x="5387587" y="1085915"/>
                  <a:pt x="5357105" y="1085915"/>
                </a:cubicBezTo>
                <a:cubicBezTo>
                  <a:pt x="5326623" y="1085915"/>
                  <a:pt x="5301913" y="1061205"/>
                  <a:pt x="5301913" y="1030724"/>
                </a:cubicBezTo>
                <a:cubicBezTo>
                  <a:pt x="5301913" y="1000243"/>
                  <a:pt x="5326623" y="975533"/>
                  <a:pt x="5357105" y="975533"/>
                </a:cubicBezTo>
                <a:close/>
                <a:moveTo>
                  <a:pt x="5093176" y="975533"/>
                </a:moveTo>
                <a:cubicBezTo>
                  <a:pt x="5123658" y="975533"/>
                  <a:pt x="5148368" y="1000243"/>
                  <a:pt x="5148368" y="1030724"/>
                </a:cubicBezTo>
                <a:cubicBezTo>
                  <a:pt x="5148368" y="1061205"/>
                  <a:pt x="5123658" y="1085915"/>
                  <a:pt x="5093176" y="1085915"/>
                </a:cubicBezTo>
                <a:cubicBezTo>
                  <a:pt x="5062694" y="1085915"/>
                  <a:pt x="5037984" y="1061205"/>
                  <a:pt x="5037984" y="1030724"/>
                </a:cubicBezTo>
                <a:cubicBezTo>
                  <a:pt x="5037984" y="1000243"/>
                  <a:pt x="5062694" y="975533"/>
                  <a:pt x="5093176" y="975533"/>
                </a:cubicBezTo>
                <a:close/>
                <a:moveTo>
                  <a:pt x="4959540" y="975533"/>
                </a:moveTo>
                <a:cubicBezTo>
                  <a:pt x="4990022" y="975533"/>
                  <a:pt x="5014732" y="1000243"/>
                  <a:pt x="5014732" y="1030724"/>
                </a:cubicBezTo>
                <a:cubicBezTo>
                  <a:pt x="5014732" y="1061205"/>
                  <a:pt x="4990022" y="1085915"/>
                  <a:pt x="4959540" y="1085915"/>
                </a:cubicBezTo>
                <a:cubicBezTo>
                  <a:pt x="4929058" y="1085915"/>
                  <a:pt x="4904348" y="1061205"/>
                  <a:pt x="4904348" y="1030724"/>
                </a:cubicBezTo>
                <a:cubicBezTo>
                  <a:pt x="4904348" y="1000243"/>
                  <a:pt x="4929058" y="975533"/>
                  <a:pt x="4959540" y="975533"/>
                </a:cubicBezTo>
                <a:close/>
                <a:moveTo>
                  <a:pt x="4161075" y="975533"/>
                </a:moveTo>
                <a:cubicBezTo>
                  <a:pt x="4191557" y="975533"/>
                  <a:pt x="4216267" y="1000243"/>
                  <a:pt x="4216267" y="1030724"/>
                </a:cubicBezTo>
                <a:cubicBezTo>
                  <a:pt x="4216267" y="1061205"/>
                  <a:pt x="4191557" y="1085915"/>
                  <a:pt x="4161075" y="1085915"/>
                </a:cubicBezTo>
                <a:cubicBezTo>
                  <a:pt x="4130593" y="1085915"/>
                  <a:pt x="4105883" y="1061205"/>
                  <a:pt x="4105883" y="1030724"/>
                </a:cubicBezTo>
                <a:cubicBezTo>
                  <a:pt x="4105883" y="1000243"/>
                  <a:pt x="4130593" y="975533"/>
                  <a:pt x="4161075" y="975533"/>
                </a:cubicBezTo>
                <a:close/>
                <a:moveTo>
                  <a:pt x="4030782" y="975533"/>
                </a:moveTo>
                <a:cubicBezTo>
                  <a:pt x="4061264" y="975533"/>
                  <a:pt x="4085974" y="1000243"/>
                  <a:pt x="4085974" y="1030724"/>
                </a:cubicBezTo>
                <a:cubicBezTo>
                  <a:pt x="4085974" y="1061205"/>
                  <a:pt x="4061264" y="1085915"/>
                  <a:pt x="4030782" y="1085915"/>
                </a:cubicBezTo>
                <a:cubicBezTo>
                  <a:pt x="4000300" y="1085915"/>
                  <a:pt x="3975590" y="1061205"/>
                  <a:pt x="3975590" y="1030724"/>
                </a:cubicBezTo>
                <a:cubicBezTo>
                  <a:pt x="3975590" y="1000243"/>
                  <a:pt x="4000300" y="975533"/>
                  <a:pt x="4030782" y="975533"/>
                </a:cubicBezTo>
                <a:close/>
                <a:moveTo>
                  <a:pt x="3369290" y="975533"/>
                </a:moveTo>
                <a:cubicBezTo>
                  <a:pt x="3399772" y="975533"/>
                  <a:pt x="3424482" y="1000243"/>
                  <a:pt x="3424482" y="1030724"/>
                </a:cubicBezTo>
                <a:cubicBezTo>
                  <a:pt x="3424482" y="1061205"/>
                  <a:pt x="3399772" y="1085915"/>
                  <a:pt x="3369290" y="1085915"/>
                </a:cubicBezTo>
                <a:cubicBezTo>
                  <a:pt x="3338808" y="1085915"/>
                  <a:pt x="3314098" y="1061205"/>
                  <a:pt x="3314098" y="1030724"/>
                </a:cubicBezTo>
                <a:cubicBezTo>
                  <a:pt x="3314098" y="1000243"/>
                  <a:pt x="3338808" y="975533"/>
                  <a:pt x="3369290" y="975533"/>
                </a:cubicBezTo>
                <a:close/>
                <a:moveTo>
                  <a:pt x="2707880" y="975533"/>
                </a:moveTo>
                <a:cubicBezTo>
                  <a:pt x="2738363" y="975533"/>
                  <a:pt x="2763074" y="1000243"/>
                  <a:pt x="2763074" y="1030724"/>
                </a:cubicBezTo>
                <a:cubicBezTo>
                  <a:pt x="2763074" y="1061205"/>
                  <a:pt x="2738363" y="1085915"/>
                  <a:pt x="2707880" y="1085915"/>
                </a:cubicBezTo>
                <a:cubicBezTo>
                  <a:pt x="2677401" y="1085915"/>
                  <a:pt x="2652689" y="1061205"/>
                  <a:pt x="2652689" y="1030724"/>
                </a:cubicBezTo>
                <a:cubicBezTo>
                  <a:pt x="2652689" y="1000243"/>
                  <a:pt x="2677401" y="975533"/>
                  <a:pt x="2707880" y="975533"/>
                </a:cubicBezTo>
                <a:close/>
                <a:moveTo>
                  <a:pt x="2173347" y="975533"/>
                </a:moveTo>
                <a:cubicBezTo>
                  <a:pt x="2203830" y="975533"/>
                  <a:pt x="2228540" y="1000243"/>
                  <a:pt x="2228540" y="1030724"/>
                </a:cubicBezTo>
                <a:cubicBezTo>
                  <a:pt x="2228540" y="1061205"/>
                  <a:pt x="2203830" y="1085915"/>
                  <a:pt x="2173347" y="1085915"/>
                </a:cubicBezTo>
                <a:cubicBezTo>
                  <a:pt x="2142865" y="1085915"/>
                  <a:pt x="2118154" y="1061205"/>
                  <a:pt x="2118154" y="1030724"/>
                </a:cubicBezTo>
                <a:cubicBezTo>
                  <a:pt x="2118154" y="1000243"/>
                  <a:pt x="2142865" y="975533"/>
                  <a:pt x="2173347" y="975533"/>
                </a:cubicBezTo>
                <a:close/>
                <a:moveTo>
                  <a:pt x="1251258" y="975533"/>
                </a:moveTo>
                <a:cubicBezTo>
                  <a:pt x="1281740" y="975533"/>
                  <a:pt x="1306450" y="1000243"/>
                  <a:pt x="1306450" y="1030724"/>
                </a:cubicBezTo>
                <a:cubicBezTo>
                  <a:pt x="1306450" y="1061205"/>
                  <a:pt x="1281740" y="1085915"/>
                  <a:pt x="1251258" y="1085915"/>
                </a:cubicBezTo>
                <a:cubicBezTo>
                  <a:pt x="1220775" y="1085915"/>
                  <a:pt x="1196066" y="1061205"/>
                  <a:pt x="1196066" y="1030724"/>
                </a:cubicBezTo>
                <a:cubicBezTo>
                  <a:pt x="1196066" y="1000243"/>
                  <a:pt x="1220775" y="975533"/>
                  <a:pt x="1251258" y="975533"/>
                </a:cubicBezTo>
                <a:close/>
                <a:moveTo>
                  <a:pt x="847001" y="975533"/>
                </a:moveTo>
                <a:cubicBezTo>
                  <a:pt x="877484" y="975533"/>
                  <a:pt x="902196" y="1000243"/>
                  <a:pt x="902196" y="1030724"/>
                </a:cubicBezTo>
                <a:cubicBezTo>
                  <a:pt x="902196" y="1061205"/>
                  <a:pt x="877484" y="1085915"/>
                  <a:pt x="847001" y="1085915"/>
                </a:cubicBezTo>
                <a:cubicBezTo>
                  <a:pt x="816519" y="1085915"/>
                  <a:pt x="791804" y="1061205"/>
                  <a:pt x="791804" y="1030724"/>
                </a:cubicBezTo>
                <a:cubicBezTo>
                  <a:pt x="791804" y="1000243"/>
                  <a:pt x="816519" y="975533"/>
                  <a:pt x="847001" y="975533"/>
                </a:cubicBezTo>
                <a:close/>
                <a:moveTo>
                  <a:pt x="9336074" y="975532"/>
                </a:moveTo>
                <a:cubicBezTo>
                  <a:pt x="9366556" y="975532"/>
                  <a:pt x="9391266" y="1000242"/>
                  <a:pt x="9391266" y="1030723"/>
                </a:cubicBezTo>
                <a:cubicBezTo>
                  <a:pt x="9391266" y="1061204"/>
                  <a:pt x="9366556" y="1085914"/>
                  <a:pt x="9336074" y="1085914"/>
                </a:cubicBezTo>
                <a:cubicBezTo>
                  <a:pt x="9305592" y="1085914"/>
                  <a:pt x="9280882" y="1061204"/>
                  <a:pt x="9280882" y="1030723"/>
                </a:cubicBezTo>
                <a:cubicBezTo>
                  <a:pt x="9280882" y="1000242"/>
                  <a:pt x="9305592" y="975532"/>
                  <a:pt x="9336074" y="975532"/>
                </a:cubicBezTo>
                <a:close/>
                <a:moveTo>
                  <a:pt x="9199098" y="975532"/>
                </a:moveTo>
                <a:cubicBezTo>
                  <a:pt x="9229580" y="975532"/>
                  <a:pt x="9254290" y="1000242"/>
                  <a:pt x="9254290" y="1030723"/>
                </a:cubicBezTo>
                <a:cubicBezTo>
                  <a:pt x="9254290" y="1061204"/>
                  <a:pt x="9229580" y="1085914"/>
                  <a:pt x="9199098" y="1085914"/>
                </a:cubicBezTo>
                <a:cubicBezTo>
                  <a:pt x="9168616" y="1085914"/>
                  <a:pt x="9143906" y="1061204"/>
                  <a:pt x="9143906" y="1030723"/>
                </a:cubicBezTo>
                <a:cubicBezTo>
                  <a:pt x="9143906" y="1000242"/>
                  <a:pt x="9168616" y="975532"/>
                  <a:pt x="9199098" y="975532"/>
                </a:cubicBezTo>
                <a:close/>
                <a:moveTo>
                  <a:pt x="9068805" y="975532"/>
                </a:moveTo>
                <a:cubicBezTo>
                  <a:pt x="9099287" y="975532"/>
                  <a:pt x="9123997" y="1000242"/>
                  <a:pt x="9123997" y="1030723"/>
                </a:cubicBezTo>
                <a:cubicBezTo>
                  <a:pt x="9123997" y="1061204"/>
                  <a:pt x="9099287" y="1085914"/>
                  <a:pt x="9068805" y="1085914"/>
                </a:cubicBezTo>
                <a:cubicBezTo>
                  <a:pt x="9038323" y="1085914"/>
                  <a:pt x="9013613" y="1061204"/>
                  <a:pt x="9013613" y="1030723"/>
                </a:cubicBezTo>
                <a:cubicBezTo>
                  <a:pt x="9013613" y="1000242"/>
                  <a:pt x="9038323" y="975532"/>
                  <a:pt x="9068805" y="975532"/>
                </a:cubicBezTo>
                <a:close/>
                <a:moveTo>
                  <a:pt x="8801536" y="975532"/>
                </a:moveTo>
                <a:cubicBezTo>
                  <a:pt x="8832018" y="975532"/>
                  <a:pt x="8856728" y="1000242"/>
                  <a:pt x="8856728" y="1030723"/>
                </a:cubicBezTo>
                <a:cubicBezTo>
                  <a:pt x="8856728" y="1061204"/>
                  <a:pt x="8832018" y="1085914"/>
                  <a:pt x="8801536" y="1085914"/>
                </a:cubicBezTo>
                <a:cubicBezTo>
                  <a:pt x="8771054" y="1085914"/>
                  <a:pt x="8746344" y="1061204"/>
                  <a:pt x="8746344" y="1030723"/>
                </a:cubicBezTo>
                <a:cubicBezTo>
                  <a:pt x="8746344" y="1000242"/>
                  <a:pt x="8771054" y="975532"/>
                  <a:pt x="8801536" y="975532"/>
                </a:cubicBezTo>
                <a:close/>
                <a:moveTo>
                  <a:pt x="8671243" y="975532"/>
                </a:moveTo>
                <a:cubicBezTo>
                  <a:pt x="8701725" y="975532"/>
                  <a:pt x="8726435" y="1000242"/>
                  <a:pt x="8726435" y="1030723"/>
                </a:cubicBezTo>
                <a:cubicBezTo>
                  <a:pt x="8726435" y="1061204"/>
                  <a:pt x="8701725" y="1085914"/>
                  <a:pt x="8671243" y="1085914"/>
                </a:cubicBezTo>
                <a:cubicBezTo>
                  <a:pt x="8640761" y="1085914"/>
                  <a:pt x="8616051" y="1061204"/>
                  <a:pt x="8616051" y="1030723"/>
                </a:cubicBezTo>
                <a:cubicBezTo>
                  <a:pt x="8616051" y="1000242"/>
                  <a:pt x="8640761" y="975532"/>
                  <a:pt x="8671243" y="975532"/>
                </a:cubicBezTo>
                <a:close/>
                <a:moveTo>
                  <a:pt x="8537608" y="975532"/>
                </a:moveTo>
                <a:cubicBezTo>
                  <a:pt x="8568090" y="975532"/>
                  <a:pt x="8592800" y="1000242"/>
                  <a:pt x="8592800" y="1030723"/>
                </a:cubicBezTo>
                <a:cubicBezTo>
                  <a:pt x="8592800" y="1061204"/>
                  <a:pt x="8568090" y="1085914"/>
                  <a:pt x="8537608" y="1085914"/>
                </a:cubicBezTo>
                <a:cubicBezTo>
                  <a:pt x="8507126" y="1085914"/>
                  <a:pt x="8482416" y="1061204"/>
                  <a:pt x="8482416" y="1030723"/>
                </a:cubicBezTo>
                <a:cubicBezTo>
                  <a:pt x="8482416" y="1000242"/>
                  <a:pt x="8507126" y="975532"/>
                  <a:pt x="8537608" y="975532"/>
                </a:cubicBezTo>
                <a:close/>
                <a:moveTo>
                  <a:pt x="8273681" y="975532"/>
                </a:moveTo>
                <a:cubicBezTo>
                  <a:pt x="8304163" y="975532"/>
                  <a:pt x="8328873" y="1000242"/>
                  <a:pt x="8328873" y="1030723"/>
                </a:cubicBezTo>
                <a:cubicBezTo>
                  <a:pt x="8328873" y="1061204"/>
                  <a:pt x="8304163" y="1085914"/>
                  <a:pt x="8273681" y="1085914"/>
                </a:cubicBezTo>
                <a:cubicBezTo>
                  <a:pt x="8243199" y="1085914"/>
                  <a:pt x="8218489" y="1061204"/>
                  <a:pt x="8218489" y="1030723"/>
                </a:cubicBezTo>
                <a:cubicBezTo>
                  <a:pt x="8218489" y="1000242"/>
                  <a:pt x="8243199" y="975532"/>
                  <a:pt x="8273681" y="975532"/>
                </a:cubicBezTo>
                <a:close/>
                <a:moveTo>
                  <a:pt x="8143385" y="975532"/>
                </a:moveTo>
                <a:cubicBezTo>
                  <a:pt x="8173867" y="975532"/>
                  <a:pt x="8198577" y="1000242"/>
                  <a:pt x="8198577" y="1030723"/>
                </a:cubicBezTo>
                <a:cubicBezTo>
                  <a:pt x="8198577" y="1061204"/>
                  <a:pt x="8173867" y="1085914"/>
                  <a:pt x="8143385" y="1085914"/>
                </a:cubicBezTo>
                <a:cubicBezTo>
                  <a:pt x="8112903" y="1085914"/>
                  <a:pt x="8088193" y="1061204"/>
                  <a:pt x="8088193" y="1030723"/>
                </a:cubicBezTo>
                <a:cubicBezTo>
                  <a:pt x="8088193" y="1000242"/>
                  <a:pt x="8112903" y="975532"/>
                  <a:pt x="8143385" y="975532"/>
                </a:cubicBezTo>
                <a:close/>
                <a:moveTo>
                  <a:pt x="8009751" y="975532"/>
                </a:moveTo>
                <a:cubicBezTo>
                  <a:pt x="8040233" y="975532"/>
                  <a:pt x="8064943" y="1000242"/>
                  <a:pt x="8064943" y="1030723"/>
                </a:cubicBezTo>
                <a:cubicBezTo>
                  <a:pt x="8064943" y="1061204"/>
                  <a:pt x="8040233" y="1085914"/>
                  <a:pt x="8009751" y="1085914"/>
                </a:cubicBezTo>
                <a:cubicBezTo>
                  <a:pt x="7979269" y="1085914"/>
                  <a:pt x="7954559" y="1061204"/>
                  <a:pt x="7954559" y="1030723"/>
                </a:cubicBezTo>
                <a:cubicBezTo>
                  <a:pt x="7954559" y="1000242"/>
                  <a:pt x="7979269" y="975532"/>
                  <a:pt x="8009751" y="975532"/>
                </a:cubicBezTo>
                <a:close/>
                <a:moveTo>
                  <a:pt x="7608847" y="975532"/>
                </a:moveTo>
                <a:cubicBezTo>
                  <a:pt x="7639329" y="975532"/>
                  <a:pt x="7664039" y="1000242"/>
                  <a:pt x="7664039" y="1030723"/>
                </a:cubicBezTo>
                <a:cubicBezTo>
                  <a:pt x="7664039" y="1061204"/>
                  <a:pt x="7639329" y="1085914"/>
                  <a:pt x="7608847" y="1085914"/>
                </a:cubicBezTo>
                <a:cubicBezTo>
                  <a:pt x="7578365" y="1085914"/>
                  <a:pt x="7553655" y="1061204"/>
                  <a:pt x="7553655" y="1030723"/>
                </a:cubicBezTo>
                <a:cubicBezTo>
                  <a:pt x="7553655" y="1000242"/>
                  <a:pt x="7578365" y="975532"/>
                  <a:pt x="7608847" y="975532"/>
                </a:cubicBezTo>
                <a:close/>
                <a:moveTo>
                  <a:pt x="7080991" y="975532"/>
                </a:moveTo>
                <a:cubicBezTo>
                  <a:pt x="7111473" y="975532"/>
                  <a:pt x="7136183" y="1000242"/>
                  <a:pt x="7136183" y="1030723"/>
                </a:cubicBezTo>
                <a:cubicBezTo>
                  <a:pt x="7136183" y="1061204"/>
                  <a:pt x="7111473" y="1085914"/>
                  <a:pt x="7080991" y="1085914"/>
                </a:cubicBezTo>
                <a:cubicBezTo>
                  <a:pt x="7050509" y="1085914"/>
                  <a:pt x="7025799" y="1061204"/>
                  <a:pt x="7025799" y="1030723"/>
                </a:cubicBezTo>
                <a:cubicBezTo>
                  <a:pt x="7025799" y="1000242"/>
                  <a:pt x="7050509" y="975532"/>
                  <a:pt x="7080991" y="975532"/>
                </a:cubicBezTo>
                <a:close/>
                <a:moveTo>
                  <a:pt x="6553135" y="975532"/>
                </a:moveTo>
                <a:cubicBezTo>
                  <a:pt x="6583617" y="975532"/>
                  <a:pt x="6608327" y="1000242"/>
                  <a:pt x="6608327" y="1030723"/>
                </a:cubicBezTo>
                <a:cubicBezTo>
                  <a:pt x="6608327" y="1061204"/>
                  <a:pt x="6583617" y="1085914"/>
                  <a:pt x="6553135" y="1085914"/>
                </a:cubicBezTo>
                <a:cubicBezTo>
                  <a:pt x="6522653" y="1085914"/>
                  <a:pt x="6497943" y="1061204"/>
                  <a:pt x="6497943" y="1030723"/>
                </a:cubicBezTo>
                <a:cubicBezTo>
                  <a:pt x="6497943" y="1000242"/>
                  <a:pt x="6522653" y="975532"/>
                  <a:pt x="6553135" y="975532"/>
                </a:cubicBezTo>
                <a:close/>
                <a:moveTo>
                  <a:pt x="6419501" y="975532"/>
                </a:moveTo>
                <a:cubicBezTo>
                  <a:pt x="6449983" y="975532"/>
                  <a:pt x="6474693" y="1000242"/>
                  <a:pt x="6474693" y="1030723"/>
                </a:cubicBezTo>
                <a:cubicBezTo>
                  <a:pt x="6474693" y="1061204"/>
                  <a:pt x="6449983" y="1085914"/>
                  <a:pt x="6419501" y="1085914"/>
                </a:cubicBezTo>
                <a:cubicBezTo>
                  <a:pt x="6389019" y="1085914"/>
                  <a:pt x="6364309" y="1061204"/>
                  <a:pt x="6364309" y="1030723"/>
                </a:cubicBezTo>
                <a:cubicBezTo>
                  <a:pt x="6364309" y="1000242"/>
                  <a:pt x="6389019" y="975532"/>
                  <a:pt x="6419501" y="975532"/>
                </a:cubicBezTo>
                <a:close/>
                <a:moveTo>
                  <a:pt x="6155571" y="975532"/>
                </a:moveTo>
                <a:cubicBezTo>
                  <a:pt x="6186053" y="975532"/>
                  <a:pt x="6210763" y="1000242"/>
                  <a:pt x="6210763" y="1030723"/>
                </a:cubicBezTo>
                <a:cubicBezTo>
                  <a:pt x="6210763" y="1061204"/>
                  <a:pt x="6186053" y="1085914"/>
                  <a:pt x="6155571" y="1085914"/>
                </a:cubicBezTo>
                <a:cubicBezTo>
                  <a:pt x="6125089" y="1085914"/>
                  <a:pt x="6100379" y="1061204"/>
                  <a:pt x="6100379" y="1030723"/>
                </a:cubicBezTo>
                <a:cubicBezTo>
                  <a:pt x="6100379" y="1000242"/>
                  <a:pt x="6125089" y="975532"/>
                  <a:pt x="6155571" y="975532"/>
                </a:cubicBezTo>
                <a:close/>
                <a:moveTo>
                  <a:pt x="6021936" y="975532"/>
                </a:moveTo>
                <a:cubicBezTo>
                  <a:pt x="6052418" y="975532"/>
                  <a:pt x="6077128" y="1000242"/>
                  <a:pt x="6077128" y="1030723"/>
                </a:cubicBezTo>
                <a:cubicBezTo>
                  <a:pt x="6077128" y="1061204"/>
                  <a:pt x="6052418" y="1085914"/>
                  <a:pt x="6021936" y="1085914"/>
                </a:cubicBezTo>
                <a:cubicBezTo>
                  <a:pt x="5991454" y="1085914"/>
                  <a:pt x="5966744" y="1061204"/>
                  <a:pt x="5966744" y="1030723"/>
                </a:cubicBezTo>
                <a:cubicBezTo>
                  <a:pt x="5966744" y="1000242"/>
                  <a:pt x="5991454" y="975532"/>
                  <a:pt x="6021936" y="975532"/>
                </a:cubicBezTo>
                <a:close/>
                <a:moveTo>
                  <a:pt x="5884963" y="975532"/>
                </a:moveTo>
                <a:cubicBezTo>
                  <a:pt x="5915445" y="975532"/>
                  <a:pt x="5940155" y="1000242"/>
                  <a:pt x="5940155" y="1030723"/>
                </a:cubicBezTo>
                <a:cubicBezTo>
                  <a:pt x="5940155" y="1061204"/>
                  <a:pt x="5915445" y="1085914"/>
                  <a:pt x="5884963" y="1085914"/>
                </a:cubicBezTo>
                <a:cubicBezTo>
                  <a:pt x="5854481" y="1085914"/>
                  <a:pt x="5829771" y="1061204"/>
                  <a:pt x="5829771" y="1030723"/>
                </a:cubicBezTo>
                <a:cubicBezTo>
                  <a:pt x="5829771" y="1000242"/>
                  <a:pt x="5854481" y="975532"/>
                  <a:pt x="5884963" y="975532"/>
                </a:cubicBezTo>
                <a:close/>
                <a:moveTo>
                  <a:pt x="5621031" y="975532"/>
                </a:moveTo>
                <a:cubicBezTo>
                  <a:pt x="5651513" y="975532"/>
                  <a:pt x="5676223" y="1000242"/>
                  <a:pt x="5676223" y="1030723"/>
                </a:cubicBezTo>
                <a:cubicBezTo>
                  <a:pt x="5676223" y="1061204"/>
                  <a:pt x="5651513" y="1085914"/>
                  <a:pt x="5621031" y="1085914"/>
                </a:cubicBezTo>
                <a:cubicBezTo>
                  <a:pt x="5590549" y="1085914"/>
                  <a:pt x="5565839" y="1061204"/>
                  <a:pt x="5565839" y="1030723"/>
                </a:cubicBezTo>
                <a:cubicBezTo>
                  <a:pt x="5565839" y="1000242"/>
                  <a:pt x="5590549" y="975532"/>
                  <a:pt x="5621031" y="975532"/>
                </a:cubicBezTo>
                <a:close/>
                <a:moveTo>
                  <a:pt x="5223472" y="975532"/>
                </a:moveTo>
                <a:cubicBezTo>
                  <a:pt x="5253954" y="975532"/>
                  <a:pt x="5278664" y="1000242"/>
                  <a:pt x="5278664" y="1030723"/>
                </a:cubicBezTo>
                <a:cubicBezTo>
                  <a:pt x="5278664" y="1061204"/>
                  <a:pt x="5253954" y="1085914"/>
                  <a:pt x="5223472" y="1085914"/>
                </a:cubicBezTo>
                <a:cubicBezTo>
                  <a:pt x="5192990" y="1085914"/>
                  <a:pt x="5168280" y="1061204"/>
                  <a:pt x="5168280" y="1030723"/>
                </a:cubicBezTo>
                <a:cubicBezTo>
                  <a:pt x="5168280" y="1000242"/>
                  <a:pt x="5192990" y="975532"/>
                  <a:pt x="5223472" y="975532"/>
                </a:cubicBezTo>
                <a:close/>
                <a:moveTo>
                  <a:pt x="4294710" y="975532"/>
                </a:moveTo>
                <a:cubicBezTo>
                  <a:pt x="4325192" y="975532"/>
                  <a:pt x="4349902" y="1000242"/>
                  <a:pt x="4349902" y="1030723"/>
                </a:cubicBezTo>
                <a:cubicBezTo>
                  <a:pt x="4349902" y="1061204"/>
                  <a:pt x="4325192" y="1085914"/>
                  <a:pt x="4294710" y="1085914"/>
                </a:cubicBezTo>
                <a:cubicBezTo>
                  <a:pt x="4264228" y="1085914"/>
                  <a:pt x="4239518" y="1061204"/>
                  <a:pt x="4239518" y="1030723"/>
                </a:cubicBezTo>
                <a:cubicBezTo>
                  <a:pt x="4239518" y="1000242"/>
                  <a:pt x="4264228" y="975532"/>
                  <a:pt x="4294710" y="975532"/>
                </a:cubicBezTo>
                <a:close/>
                <a:moveTo>
                  <a:pt x="3499584" y="975532"/>
                </a:moveTo>
                <a:cubicBezTo>
                  <a:pt x="3530066" y="975532"/>
                  <a:pt x="3554776" y="1000242"/>
                  <a:pt x="3554776" y="1030723"/>
                </a:cubicBezTo>
                <a:cubicBezTo>
                  <a:pt x="3554776" y="1061204"/>
                  <a:pt x="3530066" y="1085914"/>
                  <a:pt x="3499584" y="1085914"/>
                </a:cubicBezTo>
                <a:cubicBezTo>
                  <a:pt x="3469102" y="1085914"/>
                  <a:pt x="3444392" y="1061204"/>
                  <a:pt x="3444392" y="1030723"/>
                </a:cubicBezTo>
                <a:cubicBezTo>
                  <a:pt x="3444392" y="1000242"/>
                  <a:pt x="3469102" y="975532"/>
                  <a:pt x="3499584" y="975532"/>
                </a:cubicBezTo>
                <a:close/>
                <a:moveTo>
                  <a:pt x="2834836" y="975532"/>
                </a:moveTo>
                <a:cubicBezTo>
                  <a:pt x="2865318" y="975532"/>
                  <a:pt x="2890028" y="1000242"/>
                  <a:pt x="2890028" y="1030723"/>
                </a:cubicBezTo>
                <a:cubicBezTo>
                  <a:pt x="2890028" y="1061204"/>
                  <a:pt x="2865318" y="1085914"/>
                  <a:pt x="2834836" y="1085914"/>
                </a:cubicBezTo>
                <a:cubicBezTo>
                  <a:pt x="2804354" y="1085914"/>
                  <a:pt x="2779643" y="1061204"/>
                  <a:pt x="2779643" y="1030723"/>
                </a:cubicBezTo>
                <a:cubicBezTo>
                  <a:pt x="2779643" y="1000242"/>
                  <a:pt x="2804354" y="975532"/>
                  <a:pt x="2834836" y="975532"/>
                </a:cubicBezTo>
                <a:close/>
                <a:moveTo>
                  <a:pt x="2303639" y="975532"/>
                </a:moveTo>
                <a:cubicBezTo>
                  <a:pt x="2334120" y="975532"/>
                  <a:pt x="2358830" y="1000242"/>
                  <a:pt x="2358830" y="1030723"/>
                </a:cubicBezTo>
                <a:cubicBezTo>
                  <a:pt x="2358830" y="1061204"/>
                  <a:pt x="2334120" y="1085914"/>
                  <a:pt x="2303639" y="1085914"/>
                </a:cubicBezTo>
                <a:cubicBezTo>
                  <a:pt x="2273157" y="1085914"/>
                  <a:pt x="2248448" y="1061204"/>
                  <a:pt x="2248448" y="1030723"/>
                </a:cubicBezTo>
                <a:cubicBezTo>
                  <a:pt x="2248448" y="1000242"/>
                  <a:pt x="2273157" y="975532"/>
                  <a:pt x="2303639" y="975532"/>
                </a:cubicBezTo>
                <a:close/>
                <a:moveTo>
                  <a:pt x="2039712" y="975532"/>
                </a:moveTo>
                <a:cubicBezTo>
                  <a:pt x="2070195" y="975532"/>
                  <a:pt x="2094905" y="1000242"/>
                  <a:pt x="2094905" y="1030723"/>
                </a:cubicBezTo>
                <a:cubicBezTo>
                  <a:pt x="2094905" y="1061204"/>
                  <a:pt x="2070195" y="1085914"/>
                  <a:pt x="2039712" y="1085914"/>
                </a:cubicBezTo>
                <a:cubicBezTo>
                  <a:pt x="2009228" y="1085914"/>
                  <a:pt x="1984518" y="1061204"/>
                  <a:pt x="1984518" y="1030723"/>
                </a:cubicBezTo>
                <a:cubicBezTo>
                  <a:pt x="1984518" y="1000242"/>
                  <a:pt x="2009228" y="975532"/>
                  <a:pt x="2039712" y="975532"/>
                </a:cubicBezTo>
                <a:close/>
                <a:moveTo>
                  <a:pt x="1909414" y="975532"/>
                </a:moveTo>
                <a:cubicBezTo>
                  <a:pt x="1939897" y="975532"/>
                  <a:pt x="1964607" y="1000242"/>
                  <a:pt x="1964607" y="1030723"/>
                </a:cubicBezTo>
                <a:cubicBezTo>
                  <a:pt x="1964607" y="1061204"/>
                  <a:pt x="1939897" y="1085914"/>
                  <a:pt x="1909414" y="1085914"/>
                </a:cubicBezTo>
                <a:cubicBezTo>
                  <a:pt x="1878931" y="1085914"/>
                  <a:pt x="1854220" y="1061204"/>
                  <a:pt x="1854220" y="1030723"/>
                </a:cubicBezTo>
                <a:cubicBezTo>
                  <a:pt x="1854220" y="1000242"/>
                  <a:pt x="1878931" y="975532"/>
                  <a:pt x="1909414" y="975532"/>
                </a:cubicBezTo>
                <a:close/>
                <a:moveTo>
                  <a:pt x="1779117" y="975532"/>
                </a:moveTo>
                <a:cubicBezTo>
                  <a:pt x="1809599" y="975532"/>
                  <a:pt x="1834310" y="1000242"/>
                  <a:pt x="1834310" y="1030723"/>
                </a:cubicBezTo>
                <a:cubicBezTo>
                  <a:pt x="1834310" y="1061204"/>
                  <a:pt x="1809599" y="1085914"/>
                  <a:pt x="1779117" y="1085914"/>
                </a:cubicBezTo>
                <a:cubicBezTo>
                  <a:pt x="1748635" y="1085914"/>
                  <a:pt x="1723923" y="1061204"/>
                  <a:pt x="1723923" y="1030723"/>
                </a:cubicBezTo>
                <a:cubicBezTo>
                  <a:pt x="1723923" y="1000242"/>
                  <a:pt x="1748635" y="975532"/>
                  <a:pt x="1779117" y="975532"/>
                </a:cubicBezTo>
                <a:close/>
                <a:moveTo>
                  <a:pt x="1645480" y="975532"/>
                </a:moveTo>
                <a:cubicBezTo>
                  <a:pt x="1675963" y="975532"/>
                  <a:pt x="1700679" y="1000242"/>
                  <a:pt x="1700679" y="1030723"/>
                </a:cubicBezTo>
                <a:cubicBezTo>
                  <a:pt x="1700679" y="1061204"/>
                  <a:pt x="1675963" y="1085914"/>
                  <a:pt x="1645480" y="1085914"/>
                </a:cubicBezTo>
                <a:cubicBezTo>
                  <a:pt x="1615000" y="1085914"/>
                  <a:pt x="1590287" y="1061204"/>
                  <a:pt x="1590287" y="1030723"/>
                </a:cubicBezTo>
                <a:cubicBezTo>
                  <a:pt x="1590287" y="1000242"/>
                  <a:pt x="1615000" y="975532"/>
                  <a:pt x="1645480" y="975532"/>
                </a:cubicBezTo>
                <a:close/>
                <a:moveTo>
                  <a:pt x="1515189" y="975532"/>
                </a:moveTo>
                <a:cubicBezTo>
                  <a:pt x="1545668" y="975532"/>
                  <a:pt x="1570378" y="1000242"/>
                  <a:pt x="1570378" y="1030723"/>
                </a:cubicBezTo>
                <a:cubicBezTo>
                  <a:pt x="1570378" y="1061204"/>
                  <a:pt x="1545668" y="1085914"/>
                  <a:pt x="1515189" y="1085914"/>
                </a:cubicBezTo>
                <a:cubicBezTo>
                  <a:pt x="1484708" y="1085914"/>
                  <a:pt x="1459995" y="1061204"/>
                  <a:pt x="1459995" y="1030723"/>
                </a:cubicBezTo>
                <a:cubicBezTo>
                  <a:pt x="1459995" y="1000242"/>
                  <a:pt x="1484708" y="975532"/>
                  <a:pt x="1515189" y="975532"/>
                </a:cubicBezTo>
                <a:close/>
                <a:moveTo>
                  <a:pt x="1381549" y="975532"/>
                </a:moveTo>
                <a:cubicBezTo>
                  <a:pt x="1412033" y="975532"/>
                  <a:pt x="1436744" y="1000242"/>
                  <a:pt x="1436744" y="1030723"/>
                </a:cubicBezTo>
                <a:cubicBezTo>
                  <a:pt x="1436744" y="1061204"/>
                  <a:pt x="1412033" y="1085914"/>
                  <a:pt x="1381549" y="1085914"/>
                </a:cubicBezTo>
                <a:cubicBezTo>
                  <a:pt x="1351074" y="1085914"/>
                  <a:pt x="1326361" y="1061204"/>
                  <a:pt x="1326361" y="1030723"/>
                </a:cubicBezTo>
                <a:cubicBezTo>
                  <a:pt x="1326361" y="1000242"/>
                  <a:pt x="1351074" y="975532"/>
                  <a:pt x="1381549" y="975532"/>
                </a:cubicBezTo>
                <a:close/>
                <a:moveTo>
                  <a:pt x="1117621" y="975532"/>
                </a:moveTo>
                <a:cubicBezTo>
                  <a:pt x="1148103" y="975532"/>
                  <a:pt x="1172814" y="1000242"/>
                  <a:pt x="1172814" y="1030723"/>
                </a:cubicBezTo>
                <a:cubicBezTo>
                  <a:pt x="1172814" y="1061204"/>
                  <a:pt x="1148103" y="1085914"/>
                  <a:pt x="1117621" y="1085914"/>
                </a:cubicBezTo>
                <a:cubicBezTo>
                  <a:pt x="1087137" y="1085914"/>
                  <a:pt x="1062427" y="1061204"/>
                  <a:pt x="1062427" y="1030723"/>
                </a:cubicBezTo>
                <a:cubicBezTo>
                  <a:pt x="1062427" y="1000242"/>
                  <a:pt x="1087137" y="975532"/>
                  <a:pt x="1117621" y="975532"/>
                </a:cubicBezTo>
                <a:close/>
                <a:moveTo>
                  <a:pt x="980643" y="975532"/>
                </a:moveTo>
                <a:cubicBezTo>
                  <a:pt x="1011125" y="975532"/>
                  <a:pt x="1035836" y="1000242"/>
                  <a:pt x="1035836" y="1030723"/>
                </a:cubicBezTo>
                <a:cubicBezTo>
                  <a:pt x="1035836" y="1061204"/>
                  <a:pt x="1011125" y="1085914"/>
                  <a:pt x="980643" y="1085914"/>
                </a:cubicBezTo>
                <a:cubicBezTo>
                  <a:pt x="950159" y="1085914"/>
                  <a:pt x="925449" y="1061204"/>
                  <a:pt x="925449" y="1030723"/>
                </a:cubicBezTo>
                <a:cubicBezTo>
                  <a:pt x="925449" y="1000242"/>
                  <a:pt x="950159" y="975532"/>
                  <a:pt x="980643" y="975532"/>
                </a:cubicBezTo>
                <a:close/>
                <a:moveTo>
                  <a:pt x="716703" y="975532"/>
                </a:moveTo>
                <a:cubicBezTo>
                  <a:pt x="747185" y="975532"/>
                  <a:pt x="771897" y="1000242"/>
                  <a:pt x="771897" y="1030723"/>
                </a:cubicBezTo>
                <a:cubicBezTo>
                  <a:pt x="771897" y="1061204"/>
                  <a:pt x="747185" y="1085914"/>
                  <a:pt x="716703" y="1085914"/>
                </a:cubicBezTo>
                <a:cubicBezTo>
                  <a:pt x="686222" y="1085914"/>
                  <a:pt x="661511" y="1061204"/>
                  <a:pt x="661511" y="1030723"/>
                </a:cubicBezTo>
                <a:cubicBezTo>
                  <a:pt x="661511" y="1000242"/>
                  <a:pt x="686222" y="975532"/>
                  <a:pt x="716703" y="975532"/>
                </a:cubicBezTo>
                <a:close/>
                <a:moveTo>
                  <a:pt x="583065" y="975532"/>
                </a:moveTo>
                <a:cubicBezTo>
                  <a:pt x="613549" y="975532"/>
                  <a:pt x="638258" y="1000242"/>
                  <a:pt x="638258" y="1030723"/>
                </a:cubicBezTo>
                <a:cubicBezTo>
                  <a:pt x="638258" y="1061204"/>
                  <a:pt x="613549" y="1085914"/>
                  <a:pt x="583065" y="1085914"/>
                </a:cubicBezTo>
                <a:cubicBezTo>
                  <a:pt x="552583" y="1085914"/>
                  <a:pt x="527871" y="1061204"/>
                  <a:pt x="527871" y="1030723"/>
                </a:cubicBezTo>
                <a:cubicBezTo>
                  <a:pt x="527871" y="1000242"/>
                  <a:pt x="552583" y="975532"/>
                  <a:pt x="583065" y="975532"/>
                </a:cubicBezTo>
                <a:close/>
                <a:moveTo>
                  <a:pt x="449419" y="975532"/>
                </a:moveTo>
                <a:cubicBezTo>
                  <a:pt x="479902" y="975532"/>
                  <a:pt x="504612" y="1000242"/>
                  <a:pt x="504612" y="1030723"/>
                </a:cubicBezTo>
                <a:cubicBezTo>
                  <a:pt x="504612" y="1061204"/>
                  <a:pt x="479902" y="1085914"/>
                  <a:pt x="449419" y="1085914"/>
                </a:cubicBezTo>
                <a:cubicBezTo>
                  <a:pt x="418936" y="1085914"/>
                  <a:pt x="394227" y="1061204"/>
                  <a:pt x="394227" y="1030723"/>
                </a:cubicBezTo>
                <a:cubicBezTo>
                  <a:pt x="394227" y="1000242"/>
                  <a:pt x="418936" y="975532"/>
                  <a:pt x="449419" y="975532"/>
                </a:cubicBezTo>
                <a:close/>
                <a:moveTo>
                  <a:pt x="319124" y="975532"/>
                </a:moveTo>
                <a:cubicBezTo>
                  <a:pt x="349606" y="975532"/>
                  <a:pt x="374317" y="1000242"/>
                  <a:pt x="374317" y="1030723"/>
                </a:cubicBezTo>
                <a:cubicBezTo>
                  <a:pt x="374317" y="1061204"/>
                  <a:pt x="349606" y="1085914"/>
                  <a:pt x="319124" y="1085914"/>
                </a:cubicBezTo>
                <a:cubicBezTo>
                  <a:pt x="288640" y="1085914"/>
                  <a:pt x="263931" y="1061204"/>
                  <a:pt x="263931" y="1030723"/>
                </a:cubicBezTo>
                <a:cubicBezTo>
                  <a:pt x="263931" y="1000242"/>
                  <a:pt x="288640" y="975532"/>
                  <a:pt x="319124" y="975532"/>
                </a:cubicBezTo>
                <a:close/>
                <a:moveTo>
                  <a:pt x="185492" y="975532"/>
                </a:moveTo>
                <a:cubicBezTo>
                  <a:pt x="215972" y="975532"/>
                  <a:pt x="240682" y="1000242"/>
                  <a:pt x="240682" y="1030723"/>
                </a:cubicBezTo>
                <a:cubicBezTo>
                  <a:pt x="240682" y="1061204"/>
                  <a:pt x="215972" y="1085914"/>
                  <a:pt x="185492" y="1085914"/>
                </a:cubicBezTo>
                <a:cubicBezTo>
                  <a:pt x="155010" y="1085914"/>
                  <a:pt x="130299" y="1061204"/>
                  <a:pt x="130299" y="1030723"/>
                </a:cubicBezTo>
                <a:cubicBezTo>
                  <a:pt x="130299" y="1000242"/>
                  <a:pt x="155010" y="975532"/>
                  <a:pt x="185492" y="975532"/>
                </a:cubicBezTo>
                <a:close/>
                <a:moveTo>
                  <a:pt x="55197" y="975532"/>
                </a:moveTo>
                <a:cubicBezTo>
                  <a:pt x="85679" y="975532"/>
                  <a:pt x="110388" y="1000242"/>
                  <a:pt x="110388" y="1030723"/>
                </a:cubicBezTo>
                <a:cubicBezTo>
                  <a:pt x="110388" y="1061204"/>
                  <a:pt x="85679" y="1085914"/>
                  <a:pt x="55197" y="1085914"/>
                </a:cubicBezTo>
                <a:cubicBezTo>
                  <a:pt x="24715" y="1085914"/>
                  <a:pt x="7" y="1061204"/>
                  <a:pt x="7" y="1030723"/>
                </a:cubicBezTo>
                <a:cubicBezTo>
                  <a:pt x="7" y="1000242"/>
                  <a:pt x="24715" y="975532"/>
                  <a:pt x="55197" y="975532"/>
                </a:cubicBezTo>
                <a:close/>
                <a:moveTo>
                  <a:pt x="9469710" y="855263"/>
                </a:moveTo>
                <a:cubicBezTo>
                  <a:pt x="9500192" y="855263"/>
                  <a:pt x="9524902" y="879973"/>
                  <a:pt x="9524902" y="910454"/>
                </a:cubicBezTo>
                <a:cubicBezTo>
                  <a:pt x="9524902" y="940935"/>
                  <a:pt x="9500192" y="965645"/>
                  <a:pt x="9469710" y="965645"/>
                </a:cubicBezTo>
                <a:cubicBezTo>
                  <a:pt x="9439228" y="965645"/>
                  <a:pt x="9414518" y="940935"/>
                  <a:pt x="9414518" y="910454"/>
                </a:cubicBezTo>
                <a:cubicBezTo>
                  <a:pt x="9414518" y="879973"/>
                  <a:pt x="9439228" y="855263"/>
                  <a:pt x="9469710" y="855263"/>
                </a:cubicBezTo>
                <a:close/>
                <a:moveTo>
                  <a:pt x="9336075" y="855263"/>
                </a:moveTo>
                <a:cubicBezTo>
                  <a:pt x="9366557" y="855263"/>
                  <a:pt x="9391267" y="879973"/>
                  <a:pt x="9391267" y="910454"/>
                </a:cubicBezTo>
                <a:cubicBezTo>
                  <a:pt x="9391267" y="940935"/>
                  <a:pt x="9366557" y="965645"/>
                  <a:pt x="9336075" y="965645"/>
                </a:cubicBezTo>
                <a:cubicBezTo>
                  <a:pt x="9305593" y="965645"/>
                  <a:pt x="9280883" y="940935"/>
                  <a:pt x="9280883" y="910454"/>
                </a:cubicBezTo>
                <a:cubicBezTo>
                  <a:pt x="9280883" y="879973"/>
                  <a:pt x="9305593" y="855263"/>
                  <a:pt x="9336075" y="855263"/>
                </a:cubicBezTo>
                <a:close/>
                <a:moveTo>
                  <a:pt x="9199100" y="855263"/>
                </a:moveTo>
                <a:cubicBezTo>
                  <a:pt x="9229582" y="855263"/>
                  <a:pt x="9254292" y="879973"/>
                  <a:pt x="9254292" y="910454"/>
                </a:cubicBezTo>
                <a:cubicBezTo>
                  <a:pt x="9254292" y="940935"/>
                  <a:pt x="9229582" y="965645"/>
                  <a:pt x="9199100" y="965645"/>
                </a:cubicBezTo>
                <a:cubicBezTo>
                  <a:pt x="9168618" y="965645"/>
                  <a:pt x="9143908" y="940935"/>
                  <a:pt x="9143908" y="910454"/>
                </a:cubicBezTo>
                <a:cubicBezTo>
                  <a:pt x="9143908" y="879973"/>
                  <a:pt x="9168618" y="855263"/>
                  <a:pt x="9199100" y="855263"/>
                </a:cubicBezTo>
                <a:close/>
                <a:moveTo>
                  <a:pt x="9068806" y="855263"/>
                </a:moveTo>
                <a:cubicBezTo>
                  <a:pt x="9099288" y="855263"/>
                  <a:pt x="9123998" y="879973"/>
                  <a:pt x="9123998" y="910454"/>
                </a:cubicBezTo>
                <a:cubicBezTo>
                  <a:pt x="9123998" y="940935"/>
                  <a:pt x="9099288" y="965645"/>
                  <a:pt x="9068806" y="965645"/>
                </a:cubicBezTo>
                <a:cubicBezTo>
                  <a:pt x="9038324" y="965645"/>
                  <a:pt x="9013614" y="940935"/>
                  <a:pt x="9013614" y="910454"/>
                </a:cubicBezTo>
                <a:cubicBezTo>
                  <a:pt x="9013614" y="879973"/>
                  <a:pt x="9038324" y="855263"/>
                  <a:pt x="9068806" y="855263"/>
                </a:cubicBezTo>
                <a:close/>
                <a:moveTo>
                  <a:pt x="8935170" y="855263"/>
                </a:moveTo>
                <a:cubicBezTo>
                  <a:pt x="8965652" y="855263"/>
                  <a:pt x="8990362" y="879973"/>
                  <a:pt x="8990362" y="910454"/>
                </a:cubicBezTo>
                <a:cubicBezTo>
                  <a:pt x="8990362" y="940935"/>
                  <a:pt x="8965652" y="965645"/>
                  <a:pt x="8935170" y="965645"/>
                </a:cubicBezTo>
                <a:cubicBezTo>
                  <a:pt x="8904688" y="965645"/>
                  <a:pt x="8879978" y="940935"/>
                  <a:pt x="8879978" y="910454"/>
                </a:cubicBezTo>
                <a:cubicBezTo>
                  <a:pt x="8879978" y="879973"/>
                  <a:pt x="8904688" y="855263"/>
                  <a:pt x="8935170" y="855263"/>
                </a:cubicBezTo>
                <a:close/>
                <a:moveTo>
                  <a:pt x="8801536" y="855263"/>
                </a:moveTo>
                <a:cubicBezTo>
                  <a:pt x="8832018" y="855263"/>
                  <a:pt x="8856728" y="879973"/>
                  <a:pt x="8856728" y="910454"/>
                </a:cubicBezTo>
                <a:cubicBezTo>
                  <a:pt x="8856728" y="940935"/>
                  <a:pt x="8832018" y="965645"/>
                  <a:pt x="8801536" y="965645"/>
                </a:cubicBezTo>
                <a:cubicBezTo>
                  <a:pt x="8771054" y="965645"/>
                  <a:pt x="8746344" y="940935"/>
                  <a:pt x="8746344" y="910454"/>
                </a:cubicBezTo>
                <a:cubicBezTo>
                  <a:pt x="8746344" y="879973"/>
                  <a:pt x="8771054" y="855263"/>
                  <a:pt x="8801536" y="855263"/>
                </a:cubicBezTo>
                <a:close/>
                <a:moveTo>
                  <a:pt x="8671243" y="855263"/>
                </a:moveTo>
                <a:cubicBezTo>
                  <a:pt x="8701725" y="855263"/>
                  <a:pt x="8726435" y="879973"/>
                  <a:pt x="8726435" y="910454"/>
                </a:cubicBezTo>
                <a:cubicBezTo>
                  <a:pt x="8726435" y="940935"/>
                  <a:pt x="8701725" y="965645"/>
                  <a:pt x="8671243" y="965645"/>
                </a:cubicBezTo>
                <a:cubicBezTo>
                  <a:pt x="8640761" y="965645"/>
                  <a:pt x="8616051" y="940935"/>
                  <a:pt x="8616051" y="910454"/>
                </a:cubicBezTo>
                <a:cubicBezTo>
                  <a:pt x="8616051" y="879973"/>
                  <a:pt x="8640761" y="855263"/>
                  <a:pt x="8671243" y="855263"/>
                </a:cubicBezTo>
                <a:close/>
                <a:moveTo>
                  <a:pt x="8537609" y="855263"/>
                </a:moveTo>
                <a:cubicBezTo>
                  <a:pt x="8568091" y="855263"/>
                  <a:pt x="8592801" y="879973"/>
                  <a:pt x="8592801" y="910454"/>
                </a:cubicBezTo>
                <a:cubicBezTo>
                  <a:pt x="8592801" y="940935"/>
                  <a:pt x="8568091" y="965645"/>
                  <a:pt x="8537609" y="965645"/>
                </a:cubicBezTo>
                <a:cubicBezTo>
                  <a:pt x="8507127" y="965645"/>
                  <a:pt x="8482417" y="940935"/>
                  <a:pt x="8482417" y="910454"/>
                </a:cubicBezTo>
                <a:cubicBezTo>
                  <a:pt x="8482417" y="879973"/>
                  <a:pt x="8507127" y="855263"/>
                  <a:pt x="8537609" y="855263"/>
                </a:cubicBezTo>
                <a:close/>
                <a:moveTo>
                  <a:pt x="8407315" y="855263"/>
                </a:moveTo>
                <a:cubicBezTo>
                  <a:pt x="8437797" y="855263"/>
                  <a:pt x="8462507" y="879973"/>
                  <a:pt x="8462507" y="910454"/>
                </a:cubicBezTo>
                <a:cubicBezTo>
                  <a:pt x="8462507" y="940935"/>
                  <a:pt x="8437797" y="965645"/>
                  <a:pt x="8407315" y="965645"/>
                </a:cubicBezTo>
                <a:cubicBezTo>
                  <a:pt x="8376833" y="965645"/>
                  <a:pt x="8352123" y="940935"/>
                  <a:pt x="8352123" y="910454"/>
                </a:cubicBezTo>
                <a:cubicBezTo>
                  <a:pt x="8352123" y="879973"/>
                  <a:pt x="8376833" y="855263"/>
                  <a:pt x="8407315" y="855263"/>
                </a:cubicBezTo>
                <a:close/>
                <a:moveTo>
                  <a:pt x="8273681" y="855263"/>
                </a:moveTo>
                <a:cubicBezTo>
                  <a:pt x="8304163" y="855263"/>
                  <a:pt x="8328873" y="879973"/>
                  <a:pt x="8328873" y="910454"/>
                </a:cubicBezTo>
                <a:cubicBezTo>
                  <a:pt x="8328873" y="940935"/>
                  <a:pt x="8304163" y="965645"/>
                  <a:pt x="8273681" y="965645"/>
                </a:cubicBezTo>
                <a:cubicBezTo>
                  <a:pt x="8243199" y="965645"/>
                  <a:pt x="8218489" y="940935"/>
                  <a:pt x="8218489" y="910454"/>
                </a:cubicBezTo>
                <a:cubicBezTo>
                  <a:pt x="8218489" y="879973"/>
                  <a:pt x="8243199" y="855263"/>
                  <a:pt x="8273681" y="855263"/>
                </a:cubicBezTo>
                <a:close/>
                <a:moveTo>
                  <a:pt x="8143386" y="855263"/>
                </a:moveTo>
                <a:cubicBezTo>
                  <a:pt x="8173868" y="855263"/>
                  <a:pt x="8198578" y="879973"/>
                  <a:pt x="8198578" y="910454"/>
                </a:cubicBezTo>
                <a:cubicBezTo>
                  <a:pt x="8198578" y="940935"/>
                  <a:pt x="8173868" y="965645"/>
                  <a:pt x="8143386" y="965645"/>
                </a:cubicBezTo>
                <a:cubicBezTo>
                  <a:pt x="8112904" y="965645"/>
                  <a:pt x="8088194" y="940935"/>
                  <a:pt x="8088194" y="910454"/>
                </a:cubicBezTo>
                <a:cubicBezTo>
                  <a:pt x="8088194" y="879973"/>
                  <a:pt x="8112904" y="855263"/>
                  <a:pt x="8143386" y="855263"/>
                </a:cubicBezTo>
                <a:close/>
                <a:moveTo>
                  <a:pt x="8009752" y="855263"/>
                </a:moveTo>
                <a:cubicBezTo>
                  <a:pt x="8040234" y="855263"/>
                  <a:pt x="8064944" y="879973"/>
                  <a:pt x="8064944" y="910454"/>
                </a:cubicBezTo>
                <a:cubicBezTo>
                  <a:pt x="8064944" y="940935"/>
                  <a:pt x="8040234" y="965645"/>
                  <a:pt x="8009752" y="965645"/>
                </a:cubicBezTo>
                <a:cubicBezTo>
                  <a:pt x="7979270" y="965645"/>
                  <a:pt x="7954560" y="940935"/>
                  <a:pt x="7954560" y="910454"/>
                </a:cubicBezTo>
                <a:cubicBezTo>
                  <a:pt x="7954560" y="879973"/>
                  <a:pt x="7979270" y="855263"/>
                  <a:pt x="8009752" y="855263"/>
                </a:cubicBezTo>
                <a:close/>
                <a:moveTo>
                  <a:pt x="7876117" y="855263"/>
                </a:moveTo>
                <a:cubicBezTo>
                  <a:pt x="7906599" y="855263"/>
                  <a:pt x="7931309" y="879973"/>
                  <a:pt x="7931309" y="910454"/>
                </a:cubicBezTo>
                <a:cubicBezTo>
                  <a:pt x="7931309" y="940935"/>
                  <a:pt x="7906599" y="965645"/>
                  <a:pt x="7876117" y="965645"/>
                </a:cubicBezTo>
                <a:cubicBezTo>
                  <a:pt x="7845635" y="965645"/>
                  <a:pt x="7820925" y="940935"/>
                  <a:pt x="7820925" y="910454"/>
                </a:cubicBezTo>
                <a:cubicBezTo>
                  <a:pt x="7820925" y="879973"/>
                  <a:pt x="7845635" y="855263"/>
                  <a:pt x="7876117" y="855263"/>
                </a:cubicBezTo>
                <a:close/>
                <a:moveTo>
                  <a:pt x="7745822" y="855263"/>
                </a:moveTo>
                <a:cubicBezTo>
                  <a:pt x="7776304" y="855263"/>
                  <a:pt x="7801014" y="879973"/>
                  <a:pt x="7801014" y="910454"/>
                </a:cubicBezTo>
                <a:cubicBezTo>
                  <a:pt x="7801014" y="940935"/>
                  <a:pt x="7776304" y="965645"/>
                  <a:pt x="7745822" y="965645"/>
                </a:cubicBezTo>
                <a:cubicBezTo>
                  <a:pt x="7715340" y="965645"/>
                  <a:pt x="7690630" y="940935"/>
                  <a:pt x="7690630" y="910454"/>
                </a:cubicBezTo>
                <a:cubicBezTo>
                  <a:pt x="7690630" y="879973"/>
                  <a:pt x="7715340" y="855263"/>
                  <a:pt x="7745822" y="855263"/>
                </a:cubicBezTo>
                <a:close/>
                <a:moveTo>
                  <a:pt x="7608849" y="855263"/>
                </a:moveTo>
                <a:cubicBezTo>
                  <a:pt x="7639331" y="855263"/>
                  <a:pt x="7664041" y="879973"/>
                  <a:pt x="7664041" y="910454"/>
                </a:cubicBezTo>
                <a:cubicBezTo>
                  <a:pt x="7664041" y="940935"/>
                  <a:pt x="7639331" y="965645"/>
                  <a:pt x="7608849" y="965645"/>
                </a:cubicBezTo>
                <a:cubicBezTo>
                  <a:pt x="7578367" y="965645"/>
                  <a:pt x="7553657" y="940935"/>
                  <a:pt x="7553657" y="910454"/>
                </a:cubicBezTo>
                <a:cubicBezTo>
                  <a:pt x="7553657" y="879973"/>
                  <a:pt x="7578367" y="855263"/>
                  <a:pt x="7608849" y="855263"/>
                </a:cubicBezTo>
                <a:close/>
                <a:moveTo>
                  <a:pt x="7481895" y="855263"/>
                </a:moveTo>
                <a:cubicBezTo>
                  <a:pt x="7512377" y="855263"/>
                  <a:pt x="7537087" y="879973"/>
                  <a:pt x="7537087" y="910454"/>
                </a:cubicBezTo>
                <a:cubicBezTo>
                  <a:pt x="7537087" y="940935"/>
                  <a:pt x="7512377" y="965645"/>
                  <a:pt x="7481895" y="965645"/>
                </a:cubicBezTo>
                <a:cubicBezTo>
                  <a:pt x="7451413" y="965645"/>
                  <a:pt x="7426703" y="940935"/>
                  <a:pt x="7426703" y="910454"/>
                </a:cubicBezTo>
                <a:cubicBezTo>
                  <a:pt x="7426703" y="879973"/>
                  <a:pt x="7451413" y="855263"/>
                  <a:pt x="7481895" y="855263"/>
                </a:cubicBezTo>
                <a:close/>
                <a:moveTo>
                  <a:pt x="7341578" y="855263"/>
                </a:moveTo>
                <a:cubicBezTo>
                  <a:pt x="7372060" y="855263"/>
                  <a:pt x="7396770" y="879973"/>
                  <a:pt x="7396770" y="910454"/>
                </a:cubicBezTo>
                <a:cubicBezTo>
                  <a:pt x="7396770" y="940935"/>
                  <a:pt x="7372060" y="965645"/>
                  <a:pt x="7341578" y="965645"/>
                </a:cubicBezTo>
                <a:cubicBezTo>
                  <a:pt x="7311096" y="965645"/>
                  <a:pt x="7286386" y="940935"/>
                  <a:pt x="7286386" y="910454"/>
                </a:cubicBezTo>
                <a:cubicBezTo>
                  <a:pt x="7286386" y="879973"/>
                  <a:pt x="7311096" y="855263"/>
                  <a:pt x="7341578" y="855263"/>
                </a:cubicBezTo>
                <a:close/>
                <a:moveTo>
                  <a:pt x="7211285" y="855263"/>
                </a:moveTo>
                <a:cubicBezTo>
                  <a:pt x="7241767" y="855263"/>
                  <a:pt x="7266477" y="879973"/>
                  <a:pt x="7266477" y="910454"/>
                </a:cubicBezTo>
                <a:cubicBezTo>
                  <a:pt x="7266477" y="940935"/>
                  <a:pt x="7241767" y="965645"/>
                  <a:pt x="7211285" y="965645"/>
                </a:cubicBezTo>
                <a:cubicBezTo>
                  <a:pt x="7180803" y="965645"/>
                  <a:pt x="7156093" y="940935"/>
                  <a:pt x="7156093" y="910454"/>
                </a:cubicBezTo>
                <a:cubicBezTo>
                  <a:pt x="7156093" y="879973"/>
                  <a:pt x="7180803" y="855263"/>
                  <a:pt x="7211285" y="855263"/>
                </a:cubicBezTo>
                <a:close/>
                <a:moveTo>
                  <a:pt x="7080993" y="855263"/>
                </a:moveTo>
                <a:cubicBezTo>
                  <a:pt x="7111475" y="855263"/>
                  <a:pt x="7136185" y="879973"/>
                  <a:pt x="7136185" y="910454"/>
                </a:cubicBezTo>
                <a:cubicBezTo>
                  <a:pt x="7136185" y="940935"/>
                  <a:pt x="7111475" y="965645"/>
                  <a:pt x="7080993" y="965645"/>
                </a:cubicBezTo>
                <a:cubicBezTo>
                  <a:pt x="7050511" y="965645"/>
                  <a:pt x="7025801" y="940935"/>
                  <a:pt x="7025801" y="910454"/>
                </a:cubicBezTo>
                <a:cubicBezTo>
                  <a:pt x="7025801" y="879973"/>
                  <a:pt x="7050511" y="855263"/>
                  <a:pt x="7080993" y="855263"/>
                </a:cubicBezTo>
                <a:close/>
                <a:moveTo>
                  <a:pt x="6947357" y="855263"/>
                </a:moveTo>
                <a:cubicBezTo>
                  <a:pt x="6977839" y="855263"/>
                  <a:pt x="7002549" y="879973"/>
                  <a:pt x="7002549" y="910454"/>
                </a:cubicBezTo>
                <a:cubicBezTo>
                  <a:pt x="7002549" y="940935"/>
                  <a:pt x="6977839" y="965645"/>
                  <a:pt x="6947357" y="965645"/>
                </a:cubicBezTo>
                <a:cubicBezTo>
                  <a:pt x="6916875" y="965645"/>
                  <a:pt x="6892165" y="940935"/>
                  <a:pt x="6892165" y="910454"/>
                </a:cubicBezTo>
                <a:cubicBezTo>
                  <a:pt x="6892165" y="879973"/>
                  <a:pt x="6916875" y="855263"/>
                  <a:pt x="6947357" y="855263"/>
                </a:cubicBezTo>
                <a:close/>
                <a:moveTo>
                  <a:pt x="6817063" y="855263"/>
                </a:moveTo>
                <a:cubicBezTo>
                  <a:pt x="6847545" y="855263"/>
                  <a:pt x="6872255" y="879973"/>
                  <a:pt x="6872255" y="910454"/>
                </a:cubicBezTo>
                <a:cubicBezTo>
                  <a:pt x="6872255" y="940935"/>
                  <a:pt x="6847545" y="965645"/>
                  <a:pt x="6817063" y="965645"/>
                </a:cubicBezTo>
                <a:cubicBezTo>
                  <a:pt x="6786581" y="965645"/>
                  <a:pt x="6761871" y="940935"/>
                  <a:pt x="6761871" y="910454"/>
                </a:cubicBezTo>
                <a:cubicBezTo>
                  <a:pt x="6761871" y="879973"/>
                  <a:pt x="6786581" y="855263"/>
                  <a:pt x="6817063" y="855263"/>
                </a:cubicBezTo>
                <a:close/>
                <a:moveTo>
                  <a:pt x="6683430" y="855263"/>
                </a:moveTo>
                <a:cubicBezTo>
                  <a:pt x="6713912" y="855263"/>
                  <a:pt x="6738622" y="879973"/>
                  <a:pt x="6738622" y="910454"/>
                </a:cubicBezTo>
                <a:cubicBezTo>
                  <a:pt x="6738622" y="940935"/>
                  <a:pt x="6713912" y="965645"/>
                  <a:pt x="6683430" y="965645"/>
                </a:cubicBezTo>
                <a:cubicBezTo>
                  <a:pt x="6652948" y="965645"/>
                  <a:pt x="6628238" y="940935"/>
                  <a:pt x="6628238" y="910454"/>
                </a:cubicBezTo>
                <a:cubicBezTo>
                  <a:pt x="6628238" y="879973"/>
                  <a:pt x="6652948" y="855263"/>
                  <a:pt x="6683430" y="855263"/>
                </a:cubicBezTo>
                <a:close/>
                <a:moveTo>
                  <a:pt x="6553135" y="855263"/>
                </a:moveTo>
                <a:cubicBezTo>
                  <a:pt x="6583617" y="855263"/>
                  <a:pt x="6608327" y="879973"/>
                  <a:pt x="6608327" y="910454"/>
                </a:cubicBezTo>
                <a:cubicBezTo>
                  <a:pt x="6608327" y="940935"/>
                  <a:pt x="6583617" y="965645"/>
                  <a:pt x="6553135" y="965645"/>
                </a:cubicBezTo>
                <a:cubicBezTo>
                  <a:pt x="6522653" y="965645"/>
                  <a:pt x="6497943" y="940935"/>
                  <a:pt x="6497943" y="910454"/>
                </a:cubicBezTo>
                <a:cubicBezTo>
                  <a:pt x="6497943" y="879973"/>
                  <a:pt x="6522653" y="855263"/>
                  <a:pt x="6553135" y="855263"/>
                </a:cubicBezTo>
                <a:close/>
                <a:moveTo>
                  <a:pt x="6419502" y="855263"/>
                </a:moveTo>
                <a:cubicBezTo>
                  <a:pt x="6449984" y="855263"/>
                  <a:pt x="6474694" y="879973"/>
                  <a:pt x="6474694" y="910454"/>
                </a:cubicBezTo>
                <a:cubicBezTo>
                  <a:pt x="6474694" y="940935"/>
                  <a:pt x="6449984" y="965645"/>
                  <a:pt x="6419502" y="965645"/>
                </a:cubicBezTo>
                <a:cubicBezTo>
                  <a:pt x="6389020" y="965645"/>
                  <a:pt x="6364310" y="940935"/>
                  <a:pt x="6364310" y="910454"/>
                </a:cubicBezTo>
                <a:cubicBezTo>
                  <a:pt x="6364310" y="879973"/>
                  <a:pt x="6389020" y="855263"/>
                  <a:pt x="6419502" y="855263"/>
                </a:cubicBezTo>
                <a:close/>
                <a:moveTo>
                  <a:pt x="6289206" y="855263"/>
                </a:moveTo>
                <a:cubicBezTo>
                  <a:pt x="6319688" y="855263"/>
                  <a:pt x="6344398" y="879973"/>
                  <a:pt x="6344398" y="910454"/>
                </a:cubicBezTo>
                <a:cubicBezTo>
                  <a:pt x="6344398" y="940935"/>
                  <a:pt x="6319688" y="965645"/>
                  <a:pt x="6289206" y="965645"/>
                </a:cubicBezTo>
                <a:cubicBezTo>
                  <a:pt x="6258724" y="965645"/>
                  <a:pt x="6234014" y="940935"/>
                  <a:pt x="6234014" y="910454"/>
                </a:cubicBezTo>
                <a:cubicBezTo>
                  <a:pt x="6234014" y="879973"/>
                  <a:pt x="6258724" y="855263"/>
                  <a:pt x="6289206" y="855263"/>
                </a:cubicBezTo>
                <a:close/>
                <a:moveTo>
                  <a:pt x="6155571" y="855263"/>
                </a:moveTo>
                <a:cubicBezTo>
                  <a:pt x="6186053" y="855263"/>
                  <a:pt x="6210763" y="879973"/>
                  <a:pt x="6210763" y="910454"/>
                </a:cubicBezTo>
                <a:cubicBezTo>
                  <a:pt x="6210763" y="940935"/>
                  <a:pt x="6186053" y="965645"/>
                  <a:pt x="6155571" y="965645"/>
                </a:cubicBezTo>
                <a:cubicBezTo>
                  <a:pt x="6125089" y="965645"/>
                  <a:pt x="6100379" y="940935"/>
                  <a:pt x="6100379" y="910454"/>
                </a:cubicBezTo>
                <a:cubicBezTo>
                  <a:pt x="6100379" y="879973"/>
                  <a:pt x="6125089" y="855263"/>
                  <a:pt x="6155571" y="855263"/>
                </a:cubicBezTo>
                <a:close/>
                <a:moveTo>
                  <a:pt x="6021938" y="855263"/>
                </a:moveTo>
                <a:cubicBezTo>
                  <a:pt x="6052420" y="855263"/>
                  <a:pt x="6077130" y="879973"/>
                  <a:pt x="6077130" y="910454"/>
                </a:cubicBezTo>
                <a:cubicBezTo>
                  <a:pt x="6077130" y="940935"/>
                  <a:pt x="6052420" y="965645"/>
                  <a:pt x="6021938" y="965645"/>
                </a:cubicBezTo>
                <a:cubicBezTo>
                  <a:pt x="5991456" y="965645"/>
                  <a:pt x="5966746" y="940935"/>
                  <a:pt x="5966746" y="910454"/>
                </a:cubicBezTo>
                <a:cubicBezTo>
                  <a:pt x="5966746" y="879973"/>
                  <a:pt x="5991456" y="855263"/>
                  <a:pt x="6021938" y="855263"/>
                </a:cubicBezTo>
                <a:close/>
                <a:moveTo>
                  <a:pt x="5884961" y="855263"/>
                </a:moveTo>
                <a:cubicBezTo>
                  <a:pt x="5915443" y="855263"/>
                  <a:pt x="5940153" y="879973"/>
                  <a:pt x="5940153" y="910454"/>
                </a:cubicBezTo>
                <a:cubicBezTo>
                  <a:pt x="5940153" y="940935"/>
                  <a:pt x="5915443" y="965645"/>
                  <a:pt x="5884961" y="965645"/>
                </a:cubicBezTo>
                <a:cubicBezTo>
                  <a:pt x="5854479" y="965645"/>
                  <a:pt x="5829769" y="940935"/>
                  <a:pt x="5829769" y="910454"/>
                </a:cubicBezTo>
                <a:cubicBezTo>
                  <a:pt x="5829769" y="879973"/>
                  <a:pt x="5854479" y="855263"/>
                  <a:pt x="5884961" y="855263"/>
                </a:cubicBezTo>
                <a:close/>
                <a:moveTo>
                  <a:pt x="5754668" y="855263"/>
                </a:moveTo>
                <a:cubicBezTo>
                  <a:pt x="5785150" y="855263"/>
                  <a:pt x="5809860" y="879973"/>
                  <a:pt x="5809860" y="910454"/>
                </a:cubicBezTo>
                <a:cubicBezTo>
                  <a:pt x="5809860" y="940935"/>
                  <a:pt x="5785150" y="965645"/>
                  <a:pt x="5754668" y="965645"/>
                </a:cubicBezTo>
                <a:cubicBezTo>
                  <a:pt x="5724186" y="965645"/>
                  <a:pt x="5699476" y="940935"/>
                  <a:pt x="5699476" y="910454"/>
                </a:cubicBezTo>
                <a:cubicBezTo>
                  <a:pt x="5699476" y="879973"/>
                  <a:pt x="5724186" y="855263"/>
                  <a:pt x="5754668" y="855263"/>
                </a:cubicBezTo>
                <a:close/>
                <a:moveTo>
                  <a:pt x="5621034" y="855263"/>
                </a:moveTo>
                <a:cubicBezTo>
                  <a:pt x="5651516" y="855263"/>
                  <a:pt x="5676226" y="879973"/>
                  <a:pt x="5676226" y="910454"/>
                </a:cubicBezTo>
                <a:cubicBezTo>
                  <a:pt x="5676226" y="940935"/>
                  <a:pt x="5651516" y="965645"/>
                  <a:pt x="5621034" y="965645"/>
                </a:cubicBezTo>
                <a:cubicBezTo>
                  <a:pt x="5590552" y="965645"/>
                  <a:pt x="5565842" y="940935"/>
                  <a:pt x="5565842" y="910454"/>
                </a:cubicBezTo>
                <a:cubicBezTo>
                  <a:pt x="5565842" y="879973"/>
                  <a:pt x="5590552" y="855263"/>
                  <a:pt x="5621034" y="855263"/>
                </a:cubicBezTo>
                <a:close/>
                <a:moveTo>
                  <a:pt x="5487399" y="855263"/>
                </a:moveTo>
                <a:cubicBezTo>
                  <a:pt x="5517881" y="855263"/>
                  <a:pt x="5542591" y="879973"/>
                  <a:pt x="5542591" y="910454"/>
                </a:cubicBezTo>
                <a:cubicBezTo>
                  <a:pt x="5542591" y="940935"/>
                  <a:pt x="5517881" y="965645"/>
                  <a:pt x="5487399" y="965645"/>
                </a:cubicBezTo>
                <a:cubicBezTo>
                  <a:pt x="5456917" y="965645"/>
                  <a:pt x="5432207" y="940935"/>
                  <a:pt x="5432207" y="910454"/>
                </a:cubicBezTo>
                <a:cubicBezTo>
                  <a:pt x="5432207" y="879973"/>
                  <a:pt x="5456917" y="855263"/>
                  <a:pt x="5487399" y="855263"/>
                </a:cubicBezTo>
                <a:close/>
                <a:moveTo>
                  <a:pt x="5357105" y="855263"/>
                </a:moveTo>
                <a:cubicBezTo>
                  <a:pt x="5387587" y="855263"/>
                  <a:pt x="5412297" y="879973"/>
                  <a:pt x="5412297" y="910454"/>
                </a:cubicBezTo>
                <a:cubicBezTo>
                  <a:pt x="5412297" y="940935"/>
                  <a:pt x="5387587" y="965645"/>
                  <a:pt x="5357105" y="965645"/>
                </a:cubicBezTo>
                <a:cubicBezTo>
                  <a:pt x="5326623" y="965645"/>
                  <a:pt x="5301913" y="940935"/>
                  <a:pt x="5301913" y="910454"/>
                </a:cubicBezTo>
                <a:cubicBezTo>
                  <a:pt x="5301913" y="879973"/>
                  <a:pt x="5326623" y="855263"/>
                  <a:pt x="5357105" y="855263"/>
                </a:cubicBezTo>
                <a:close/>
                <a:moveTo>
                  <a:pt x="5223472" y="855263"/>
                </a:moveTo>
                <a:cubicBezTo>
                  <a:pt x="5253954" y="855263"/>
                  <a:pt x="5278664" y="879973"/>
                  <a:pt x="5278664" y="910454"/>
                </a:cubicBezTo>
                <a:cubicBezTo>
                  <a:pt x="5278664" y="940935"/>
                  <a:pt x="5253954" y="965645"/>
                  <a:pt x="5223472" y="965645"/>
                </a:cubicBezTo>
                <a:cubicBezTo>
                  <a:pt x="5192990" y="965645"/>
                  <a:pt x="5168280" y="940935"/>
                  <a:pt x="5168280" y="910454"/>
                </a:cubicBezTo>
                <a:cubicBezTo>
                  <a:pt x="5168280" y="879973"/>
                  <a:pt x="5192990" y="855263"/>
                  <a:pt x="5223472" y="855263"/>
                </a:cubicBezTo>
                <a:close/>
                <a:moveTo>
                  <a:pt x="5093178" y="855263"/>
                </a:moveTo>
                <a:cubicBezTo>
                  <a:pt x="5123660" y="855263"/>
                  <a:pt x="5148370" y="879973"/>
                  <a:pt x="5148370" y="910454"/>
                </a:cubicBezTo>
                <a:cubicBezTo>
                  <a:pt x="5148370" y="940935"/>
                  <a:pt x="5123660" y="965645"/>
                  <a:pt x="5093178" y="965645"/>
                </a:cubicBezTo>
                <a:cubicBezTo>
                  <a:pt x="5062696" y="965645"/>
                  <a:pt x="5037986" y="940935"/>
                  <a:pt x="5037986" y="910454"/>
                </a:cubicBezTo>
                <a:cubicBezTo>
                  <a:pt x="5037986" y="879973"/>
                  <a:pt x="5062696" y="855263"/>
                  <a:pt x="5093178" y="855263"/>
                </a:cubicBezTo>
                <a:close/>
                <a:moveTo>
                  <a:pt x="4161076" y="855263"/>
                </a:moveTo>
                <a:cubicBezTo>
                  <a:pt x="4191558" y="855263"/>
                  <a:pt x="4216268" y="879973"/>
                  <a:pt x="4216268" y="910454"/>
                </a:cubicBezTo>
                <a:cubicBezTo>
                  <a:pt x="4216268" y="940935"/>
                  <a:pt x="4191558" y="965645"/>
                  <a:pt x="4161076" y="965645"/>
                </a:cubicBezTo>
                <a:cubicBezTo>
                  <a:pt x="4130594" y="965645"/>
                  <a:pt x="4105884" y="940935"/>
                  <a:pt x="4105884" y="910454"/>
                </a:cubicBezTo>
                <a:cubicBezTo>
                  <a:pt x="4105884" y="879973"/>
                  <a:pt x="4130594" y="855263"/>
                  <a:pt x="4161076" y="855263"/>
                </a:cubicBezTo>
                <a:close/>
                <a:moveTo>
                  <a:pt x="3633218" y="855263"/>
                </a:moveTo>
                <a:cubicBezTo>
                  <a:pt x="3663700" y="855263"/>
                  <a:pt x="3688410" y="879973"/>
                  <a:pt x="3688410" y="910454"/>
                </a:cubicBezTo>
                <a:cubicBezTo>
                  <a:pt x="3688410" y="940935"/>
                  <a:pt x="3663700" y="965645"/>
                  <a:pt x="3633218" y="965645"/>
                </a:cubicBezTo>
                <a:cubicBezTo>
                  <a:pt x="3602736" y="965645"/>
                  <a:pt x="3578026" y="940935"/>
                  <a:pt x="3578026" y="910454"/>
                </a:cubicBezTo>
                <a:cubicBezTo>
                  <a:pt x="3578026" y="879973"/>
                  <a:pt x="3602736" y="855263"/>
                  <a:pt x="3633218" y="855263"/>
                </a:cubicBezTo>
                <a:close/>
                <a:moveTo>
                  <a:pt x="3499586" y="855263"/>
                </a:moveTo>
                <a:cubicBezTo>
                  <a:pt x="3530068" y="855263"/>
                  <a:pt x="3554778" y="879973"/>
                  <a:pt x="3554778" y="910454"/>
                </a:cubicBezTo>
                <a:cubicBezTo>
                  <a:pt x="3554778" y="940935"/>
                  <a:pt x="3530068" y="965645"/>
                  <a:pt x="3499586" y="965645"/>
                </a:cubicBezTo>
                <a:cubicBezTo>
                  <a:pt x="3469104" y="965645"/>
                  <a:pt x="3444394" y="940935"/>
                  <a:pt x="3444394" y="910454"/>
                </a:cubicBezTo>
                <a:cubicBezTo>
                  <a:pt x="3444394" y="879973"/>
                  <a:pt x="3469104" y="855263"/>
                  <a:pt x="3499586" y="855263"/>
                </a:cubicBezTo>
                <a:close/>
                <a:moveTo>
                  <a:pt x="3369290" y="855263"/>
                </a:moveTo>
                <a:cubicBezTo>
                  <a:pt x="3399772" y="855263"/>
                  <a:pt x="3424482" y="879973"/>
                  <a:pt x="3424482" y="910454"/>
                </a:cubicBezTo>
                <a:cubicBezTo>
                  <a:pt x="3424482" y="940935"/>
                  <a:pt x="3399772" y="965645"/>
                  <a:pt x="3369290" y="965645"/>
                </a:cubicBezTo>
                <a:cubicBezTo>
                  <a:pt x="3338808" y="965645"/>
                  <a:pt x="3314098" y="940935"/>
                  <a:pt x="3314098" y="910454"/>
                </a:cubicBezTo>
                <a:cubicBezTo>
                  <a:pt x="3314098" y="879973"/>
                  <a:pt x="3338808" y="855263"/>
                  <a:pt x="3369290" y="855263"/>
                </a:cubicBezTo>
                <a:close/>
                <a:moveTo>
                  <a:pt x="2834849" y="855263"/>
                </a:moveTo>
                <a:cubicBezTo>
                  <a:pt x="2865329" y="855263"/>
                  <a:pt x="2890040" y="879973"/>
                  <a:pt x="2890040" y="910454"/>
                </a:cubicBezTo>
                <a:cubicBezTo>
                  <a:pt x="2890040" y="940935"/>
                  <a:pt x="2865329" y="965645"/>
                  <a:pt x="2834849" y="965645"/>
                </a:cubicBezTo>
                <a:cubicBezTo>
                  <a:pt x="2804367" y="965645"/>
                  <a:pt x="2779655" y="940935"/>
                  <a:pt x="2779655" y="910454"/>
                </a:cubicBezTo>
                <a:cubicBezTo>
                  <a:pt x="2779655" y="879973"/>
                  <a:pt x="2804367" y="855263"/>
                  <a:pt x="2834849" y="855263"/>
                </a:cubicBezTo>
                <a:close/>
                <a:moveTo>
                  <a:pt x="2707895" y="855263"/>
                </a:moveTo>
                <a:cubicBezTo>
                  <a:pt x="2738377" y="855263"/>
                  <a:pt x="2763087" y="879973"/>
                  <a:pt x="2763087" y="910454"/>
                </a:cubicBezTo>
                <a:cubicBezTo>
                  <a:pt x="2763087" y="940935"/>
                  <a:pt x="2738377" y="965645"/>
                  <a:pt x="2707895" y="965645"/>
                </a:cubicBezTo>
                <a:cubicBezTo>
                  <a:pt x="2677411" y="965645"/>
                  <a:pt x="2652702" y="940935"/>
                  <a:pt x="2652702" y="910454"/>
                </a:cubicBezTo>
                <a:cubicBezTo>
                  <a:pt x="2652702" y="879973"/>
                  <a:pt x="2677411" y="855263"/>
                  <a:pt x="2707895" y="855263"/>
                </a:cubicBezTo>
                <a:close/>
                <a:moveTo>
                  <a:pt x="2570919" y="855263"/>
                </a:moveTo>
                <a:cubicBezTo>
                  <a:pt x="2601400" y="855263"/>
                  <a:pt x="2626110" y="879973"/>
                  <a:pt x="2626110" y="910454"/>
                </a:cubicBezTo>
                <a:cubicBezTo>
                  <a:pt x="2626110" y="940935"/>
                  <a:pt x="2601400" y="965645"/>
                  <a:pt x="2570919" y="965645"/>
                </a:cubicBezTo>
                <a:cubicBezTo>
                  <a:pt x="2540436" y="965645"/>
                  <a:pt x="2515724" y="940935"/>
                  <a:pt x="2515724" y="910454"/>
                </a:cubicBezTo>
                <a:cubicBezTo>
                  <a:pt x="2515724" y="879973"/>
                  <a:pt x="2540436" y="855263"/>
                  <a:pt x="2570919" y="855263"/>
                </a:cubicBezTo>
                <a:close/>
                <a:moveTo>
                  <a:pt x="2303651" y="855263"/>
                </a:moveTo>
                <a:cubicBezTo>
                  <a:pt x="2334134" y="855263"/>
                  <a:pt x="2358843" y="879973"/>
                  <a:pt x="2358843" y="910454"/>
                </a:cubicBezTo>
                <a:cubicBezTo>
                  <a:pt x="2358843" y="940935"/>
                  <a:pt x="2334134" y="965645"/>
                  <a:pt x="2303651" y="965645"/>
                </a:cubicBezTo>
                <a:cubicBezTo>
                  <a:pt x="2273169" y="965645"/>
                  <a:pt x="2248461" y="940935"/>
                  <a:pt x="2248461" y="910454"/>
                </a:cubicBezTo>
                <a:cubicBezTo>
                  <a:pt x="2248461" y="879973"/>
                  <a:pt x="2273169" y="855263"/>
                  <a:pt x="2303651" y="855263"/>
                </a:cubicBezTo>
                <a:close/>
                <a:moveTo>
                  <a:pt x="2173362" y="855263"/>
                </a:moveTo>
                <a:cubicBezTo>
                  <a:pt x="2203845" y="855263"/>
                  <a:pt x="2228554" y="879973"/>
                  <a:pt x="2228554" y="910454"/>
                </a:cubicBezTo>
                <a:cubicBezTo>
                  <a:pt x="2228554" y="940935"/>
                  <a:pt x="2203845" y="965645"/>
                  <a:pt x="2173362" y="965645"/>
                </a:cubicBezTo>
                <a:cubicBezTo>
                  <a:pt x="2142879" y="965645"/>
                  <a:pt x="2118170" y="940935"/>
                  <a:pt x="2118170" y="910454"/>
                </a:cubicBezTo>
                <a:cubicBezTo>
                  <a:pt x="2118170" y="879973"/>
                  <a:pt x="2142879" y="855263"/>
                  <a:pt x="2173362" y="855263"/>
                </a:cubicBezTo>
                <a:close/>
                <a:moveTo>
                  <a:pt x="2039725" y="855263"/>
                </a:moveTo>
                <a:cubicBezTo>
                  <a:pt x="2070208" y="855263"/>
                  <a:pt x="2094919" y="879973"/>
                  <a:pt x="2094919" y="910454"/>
                </a:cubicBezTo>
                <a:cubicBezTo>
                  <a:pt x="2094919" y="940935"/>
                  <a:pt x="2070208" y="965645"/>
                  <a:pt x="2039725" y="965645"/>
                </a:cubicBezTo>
                <a:cubicBezTo>
                  <a:pt x="2009244" y="965645"/>
                  <a:pt x="1984533" y="940935"/>
                  <a:pt x="1984533" y="910454"/>
                </a:cubicBezTo>
                <a:cubicBezTo>
                  <a:pt x="1984533" y="879973"/>
                  <a:pt x="2009244" y="855263"/>
                  <a:pt x="2039725" y="855263"/>
                </a:cubicBezTo>
                <a:close/>
                <a:moveTo>
                  <a:pt x="1909428" y="855263"/>
                </a:moveTo>
                <a:cubicBezTo>
                  <a:pt x="1939911" y="855263"/>
                  <a:pt x="1964620" y="879973"/>
                  <a:pt x="1964620" y="910454"/>
                </a:cubicBezTo>
                <a:cubicBezTo>
                  <a:pt x="1964620" y="940935"/>
                  <a:pt x="1939911" y="965645"/>
                  <a:pt x="1909428" y="965645"/>
                </a:cubicBezTo>
                <a:cubicBezTo>
                  <a:pt x="1878945" y="965645"/>
                  <a:pt x="1854234" y="940935"/>
                  <a:pt x="1854234" y="910454"/>
                </a:cubicBezTo>
                <a:cubicBezTo>
                  <a:pt x="1854234" y="879973"/>
                  <a:pt x="1878945" y="855263"/>
                  <a:pt x="1909428" y="855263"/>
                </a:cubicBezTo>
                <a:close/>
                <a:moveTo>
                  <a:pt x="1779130" y="855263"/>
                </a:moveTo>
                <a:cubicBezTo>
                  <a:pt x="1809614" y="855263"/>
                  <a:pt x="1834324" y="879973"/>
                  <a:pt x="1834324" y="910454"/>
                </a:cubicBezTo>
                <a:cubicBezTo>
                  <a:pt x="1834324" y="940935"/>
                  <a:pt x="1809614" y="965645"/>
                  <a:pt x="1779130" y="965645"/>
                </a:cubicBezTo>
                <a:cubicBezTo>
                  <a:pt x="1748649" y="965645"/>
                  <a:pt x="1723937" y="940935"/>
                  <a:pt x="1723937" y="910454"/>
                </a:cubicBezTo>
                <a:cubicBezTo>
                  <a:pt x="1723937" y="879973"/>
                  <a:pt x="1748649" y="855263"/>
                  <a:pt x="1779130" y="855263"/>
                </a:cubicBezTo>
                <a:close/>
                <a:moveTo>
                  <a:pt x="1645495" y="855263"/>
                </a:moveTo>
                <a:cubicBezTo>
                  <a:pt x="1675980" y="855263"/>
                  <a:pt x="1700693" y="879973"/>
                  <a:pt x="1700693" y="910454"/>
                </a:cubicBezTo>
                <a:cubicBezTo>
                  <a:pt x="1700693" y="940935"/>
                  <a:pt x="1675980" y="965645"/>
                  <a:pt x="1645495" y="965645"/>
                </a:cubicBezTo>
                <a:cubicBezTo>
                  <a:pt x="1615015" y="965645"/>
                  <a:pt x="1590303" y="940935"/>
                  <a:pt x="1590303" y="910454"/>
                </a:cubicBezTo>
                <a:cubicBezTo>
                  <a:pt x="1590303" y="879973"/>
                  <a:pt x="1615015" y="855263"/>
                  <a:pt x="1645495" y="855263"/>
                </a:cubicBezTo>
                <a:close/>
                <a:moveTo>
                  <a:pt x="1515206" y="855263"/>
                </a:moveTo>
                <a:cubicBezTo>
                  <a:pt x="1545685" y="855263"/>
                  <a:pt x="1570391" y="879973"/>
                  <a:pt x="1570391" y="910454"/>
                </a:cubicBezTo>
                <a:cubicBezTo>
                  <a:pt x="1570391" y="940935"/>
                  <a:pt x="1545685" y="965645"/>
                  <a:pt x="1515206" y="965645"/>
                </a:cubicBezTo>
                <a:cubicBezTo>
                  <a:pt x="1484723" y="965645"/>
                  <a:pt x="1460009" y="940935"/>
                  <a:pt x="1460009" y="910454"/>
                </a:cubicBezTo>
                <a:cubicBezTo>
                  <a:pt x="1460009" y="879973"/>
                  <a:pt x="1484723" y="855263"/>
                  <a:pt x="1515206" y="855263"/>
                </a:cubicBezTo>
                <a:close/>
                <a:moveTo>
                  <a:pt x="1381566" y="855263"/>
                </a:moveTo>
                <a:cubicBezTo>
                  <a:pt x="1412046" y="855263"/>
                  <a:pt x="1436758" y="879973"/>
                  <a:pt x="1436758" y="910454"/>
                </a:cubicBezTo>
                <a:cubicBezTo>
                  <a:pt x="1436758" y="940935"/>
                  <a:pt x="1412046" y="965645"/>
                  <a:pt x="1381566" y="965645"/>
                </a:cubicBezTo>
                <a:cubicBezTo>
                  <a:pt x="1351086" y="965645"/>
                  <a:pt x="1326375" y="940935"/>
                  <a:pt x="1326375" y="910454"/>
                </a:cubicBezTo>
                <a:cubicBezTo>
                  <a:pt x="1326375" y="879973"/>
                  <a:pt x="1351086" y="855263"/>
                  <a:pt x="1381566" y="855263"/>
                </a:cubicBezTo>
                <a:close/>
                <a:moveTo>
                  <a:pt x="1251271" y="855263"/>
                </a:moveTo>
                <a:cubicBezTo>
                  <a:pt x="1281752" y="855263"/>
                  <a:pt x="1306464" y="879973"/>
                  <a:pt x="1306464" y="910454"/>
                </a:cubicBezTo>
                <a:cubicBezTo>
                  <a:pt x="1306464" y="940935"/>
                  <a:pt x="1281752" y="965645"/>
                  <a:pt x="1251271" y="965645"/>
                </a:cubicBezTo>
                <a:cubicBezTo>
                  <a:pt x="1220788" y="965645"/>
                  <a:pt x="1196078" y="940935"/>
                  <a:pt x="1196078" y="910454"/>
                </a:cubicBezTo>
                <a:cubicBezTo>
                  <a:pt x="1196078" y="879973"/>
                  <a:pt x="1220788" y="855263"/>
                  <a:pt x="1251271" y="855263"/>
                </a:cubicBezTo>
                <a:close/>
                <a:moveTo>
                  <a:pt x="1117634" y="855263"/>
                </a:moveTo>
                <a:cubicBezTo>
                  <a:pt x="1148117" y="855263"/>
                  <a:pt x="1172828" y="879973"/>
                  <a:pt x="1172828" y="910454"/>
                </a:cubicBezTo>
                <a:cubicBezTo>
                  <a:pt x="1172828" y="940935"/>
                  <a:pt x="1148117" y="965645"/>
                  <a:pt x="1117634" y="965645"/>
                </a:cubicBezTo>
                <a:cubicBezTo>
                  <a:pt x="1087150" y="965645"/>
                  <a:pt x="1062440" y="940935"/>
                  <a:pt x="1062440" y="910454"/>
                </a:cubicBezTo>
                <a:cubicBezTo>
                  <a:pt x="1062440" y="879973"/>
                  <a:pt x="1087150" y="855263"/>
                  <a:pt x="1117634" y="855263"/>
                </a:cubicBezTo>
                <a:close/>
                <a:moveTo>
                  <a:pt x="980654" y="855263"/>
                </a:moveTo>
                <a:cubicBezTo>
                  <a:pt x="1011137" y="855263"/>
                  <a:pt x="1035848" y="879973"/>
                  <a:pt x="1035848" y="910454"/>
                </a:cubicBezTo>
                <a:cubicBezTo>
                  <a:pt x="1035848" y="940935"/>
                  <a:pt x="1011137" y="965645"/>
                  <a:pt x="980654" y="965645"/>
                </a:cubicBezTo>
                <a:cubicBezTo>
                  <a:pt x="950172" y="965645"/>
                  <a:pt x="925460" y="940935"/>
                  <a:pt x="925460" y="910454"/>
                </a:cubicBezTo>
                <a:cubicBezTo>
                  <a:pt x="925460" y="879973"/>
                  <a:pt x="950172" y="855263"/>
                  <a:pt x="980654" y="855263"/>
                </a:cubicBezTo>
                <a:close/>
                <a:moveTo>
                  <a:pt x="847016" y="855263"/>
                </a:moveTo>
                <a:cubicBezTo>
                  <a:pt x="877497" y="855263"/>
                  <a:pt x="902209" y="879973"/>
                  <a:pt x="902209" y="910454"/>
                </a:cubicBezTo>
                <a:cubicBezTo>
                  <a:pt x="902209" y="940935"/>
                  <a:pt x="877497" y="965645"/>
                  <a:pt x="847016" y="965645"/>
                </a:cubicBezTo>
                <a:cubicBezTo>
                  <a:pt x="816533" y="965645"/>
                  <a:pt x="791816" y="940935"/>
                  <a:pt x="791816" y="910454"/>
                </a:cubicBezTo>
                <a:cubicBezTo>
                  <a:pt x="791816" y="879973"/>
                  <a:pt x="816533" y="855263"/>
                  <a:pt x="847016" y="855263"/>
                </a:cubicBezTo>
                <a:close/>
                <a:moveTo>
                  <a:pt x="716709" y="855263"/>
                </a:moveTo>
                <a:cubicBezTo>
                  <a:pt x="747196" y="855263"/>
                  <a:pt x="771907" y="879973"/>
                  <a:pt x="771907" y="910454"/>
                </a:cubicBezTo>
                <a:cubicBezTo>
                  <a:pt x="771907" y="940935"/>
                  <a:pt x="747196" y="965645"/>
                  <a:pt x="716709" y="965645"/>
                </a:cubicBezTo>
                <a:cubicBezTo>
                  <a:pt x="686233" y="965645"/>
                  <a:pt x="661522" y="940935"/>
                  <a:pt x="661522" y="910454"/>
                </a:cubicBezTo>
                <a:cubicBezTo>
                  <a:pt x="661522" y="879973"/>
                  <a:pt x="686233" y="855263"/>
                  <a:pt x="716709" y="855263"/>
                </a:cubicBezTo>
                <a:close/>
                <a:moveTo>
                  <a:pt x="583074" y="855263"/>
                </a:moveTo>
                <a:cubicBezTo>
                  <a:pt x="613557" y="855263"/>
                  <a:pt x="638268" y="879973"/>
                  <a:pt x="638268" y="910454"/>
                </a:cubicBezTo>
                <a:cubicBezTo>
                  <a:pt x="638268" y="940935"/>
                  <a:pt x="613557" y="965645"/>
                  <a:pt x="583074" y="965645"/>
                </a:cubicBezTo>
                <a:cubicBezTo>
                  <a:pt x="552591" y="965645"/>
                  <a:pt x="527881" y="940935"/>
                  <a:pt x="527881" y="910454"/>
                </a:cubicBezTo>
                <a:cubicBezTo>
                  <a:pt x="527881" y="879973"/>
                  <a:pt x="552591" y="855263"/>
                  <a:pt x="583074" y="855263"/>
                </a:cubicBezTo>
                <a:close/>
                <a:moveTo>
                  <a:pt x="9867273" y="855260"/>
                </a:moveTo>
                <a:cubicBezTo>
                  <a:pt x="9897755" y="855260"/>
                  <a:pt x="9922465" y="879970"/>
                  <a:pt x="9922465" y="910451"/>
                </a:cubicBezTo>
                <a:cubicBezTo>
                  <a:pt x="9922465" y="940932"/>
                  <a:pt x="9897755" y="965642"/>
                  <a:pt x="9867273" y="965642"/>
                </a:cubicBezTo>
                <a:cubicBezTo>
                  <a:pt x="9836791" y="965642"/>
                  <a:pt x="9812081" y="940932"/>
                  <a:pt x="9812081" y="910451"/>
                </a:cubicBezTo>
                <a:cubicBezTo>
                  <a:pt x="9812081" y="879970"/>
                  <a:pt x="9836791" y="855260"/>
                  <a:pt x="9867273" y="855260"/>
                </a:cubicBezTo>
                <a:close/>
                <a:moveTo>
                  <a:pt x="9733637" y="855260"/>
                </a:moveTo>
                <a:cubicBezTo>
                  <a:pt x="9764119" y="855260"/>
                  <a:pt x="9788829" y="879970"/>
                  <a:pt x="9788829" y="910451"/>
                </a:cubicBezTo>
                <a:cubicBezTo>
                  <a:pt x="9788829" y="940932"/>
                  <a:pt x="9764119" y="965642"/>
                  <a:pt x="9733637" y="965642"/>
                </a:cubicBezTo>
                <a:cubicBezTo>
                  <a:pt x="9703155" y="965642"/>
                  <a:pt x="9678445" y="940932"/>
                  <a:pt x="9678445" y="910451"/>
                </a:cubicBezTo>
                <a:cubicBezTo>
                  <a:pt x="9678445" y="879970"/>
                  <a:pt x="9703155" y="855260"/>
                  <a:pt x="9733637" y="855260"/>
                </a:cubicBezTo>
                <a:close/>
                <a:moveTo>
                  <a:pt x="9603343" y="855260"/>
                </a:moveTo>
                <a:cubicBezTo>
                  <a:pt x="9633825" y="855260"/>
                  <a:pt x="9658535" y="879970"/>
                  <a:pt x="9658535" y="910451"/>
                </a:cubicBezTo>
                <a:cubicBezTo>
                  <a:pt x="9658535" y="940932"/>
                  <a:pt x="9633825" y="965642"/>
                  <a:pt x="9603343" y="965642"/>
                </a:cubicBezTo>
                <a:cubicBezTo>
                  <a:pt x="9572861" y="965642"/>
                  <a:pt x="9548151" y="940932"/>
                  <a:pt x="9548151" y="910451"/>
                </a:cubicBezTo>
                <a:cubicBezTo>
                  <a:pt x="9548151" y="879970"/>
                  <a:pt x="9572861" y="855260"/>
                  <a:pt x="9603343" y="855260"/>
                </a:cubicBezTo>
                <a:close/>
                <a:moveTo>
                  <a:pt x="449429" y="855260"/>
                </a:moveTo>
                <a:cubicBezTo>
                  <a:pt x="479910" y="855260"/>
                  <a:pt x="504621" y="879970"/>
                  <a:pt x="504621" y="910451"/>
                </a:cubicBezTo>
                <a:cubicBezTo>
                  <a:pt x="504621" y="940932"/>
                  <a:pt x="479910" y="965642"/>
                  <a:pt x="449429" y="965642"/>
                </a:cubicBezTo>
                <a:cubicBezTo>
                  <a:pt x="418945" y="965642"/>
                  <a:pt x="394234" y="940932"/>
                  <a:pt x="394234" y="910451"/>
                </a:cubicBezTo>
                <a:cubicBezTo>
                  <a:pt x="394234" y="879970"/>
                  <a:pt x="418945" y="855260"/>
                  <a:pt x="449429" y="855260"/>
                </a:cubicBezTo>
                <a:close/>
                <a:moveTo>
                  <a:pt x="319132" y="855260"/>
                </a:moveTo>
                <a:cubicBezTo>
                  <a:pt x="349615" y="855260"/>
                  <a:pt x="374326" y="879970"/>
                  <a:pt x="374326" y="910451"/>
                </a:cubicBezTo>
                <a:cubicBezTo>
                  <a:pt x="374326" y="940932"/>
                  <a:pt x="349615" y="965642"/>
                  <a:pt x="319132" y="965642"/>
                </a:cubicBezTo>
                <a:cubicBezTo>
                  <a:pt x="288649" y="965642"/>
                  <a:pt x="263940" y="940932"/>
                  <a:pt x="263940" y="910451"/>
                </a:cubicBezTo>
                <a:cubicBezTo>
                  <a:pt x="263940" y="879970"/>
                  <a:pt x="288649" y="855260"/>
                  <a:pt x="319132" y="855260"/>
                </a:cubicBezTo>
                <a:close/>
                <a:moveTo>
                  <a:pt x="185499" y="855260"/>
                </a:moveTo>
                <a:cubicBezTo>
                  <a:pt x="215981" y="855260"/>
                  <a:pt x="240690" y="879970"/>
                  <a:pt x="240690" y="910451"/>
                </a:cubicBezTo>
                <a:cubicBezTo>
                  <a:pt x="240690" y="940932"/>
                  <a:pt x="215981" y="965642"/>
                  <a:pt x="185499" y="965642"/>
                </a:cubicBezTo>
                <a:cubicBezTo>
                  <a:pt x="155018" y="965642"/>
                  <a:pt x="130308" y="940932"/>
                  <a:pt x="130308" y="910451"/>
                </a:cubicBezTo>
                <a:cubicBezTo>
                  <a:pt x="130308" y="879970"/>
                  <a:pt x="155018" y="855260"/>
                  <a:pt x="185499" y="855260"/>
                </a:cubicBezTo>
                <a:close/>
                <a:moveTo>
                  <a:pt x="9733637" y="724970"/>
                </a:moveTo>
                <a:cubicBezTo>
                  <a:pt x="9764119" y="724970"/>
                  <a:pt x="9788829" y="749680"/>
                  <a:pt x="9788829" y="780161"/>
                </a:cubicBezTo>
                <a:cubicBezTo>
                  <a:pt x="9788829" y="810642"/>
                  <a:pt x="9764119" y="835352"/>
                  <a:pt x="9733637" y="835352"/>
                </a:cubicBezTo>
                <a:cubicBezTo>
                  <a:pt x="9703155" y="835352"/>
                  <a:pt x="9678445" y="810642"/>
                  <a:pt x="9678445" y="780161"/>
                </a:cubicBezTo>
                <a:cubicBezTo>
                  <a:pt x="9678445" y="749680"/>
                  <a:pt x="9703155" y="724970"/>
                  <a:pt x="9733637" y="724970"/>
                </a:cubicBezTo>
                <a:close/>
                <a:moveTo>
                  <a:pt x="9603344" y="724970"/>
                </a:moveTo>
                <a:cubicBezTo>
                  <a:pt x="9633826" y="724970"/>
                  <a:pt x="9658536" y="749680"/>
                  <a:pt x="9658536" y="780161"/>
                </a:cubicBezTo>
                <a:cubicBezTo>
                  <a:pt x="9658536" y="810642"/>
                  <a:pt x="9633826" y="835352"/>
                  <a:pt x="9603344" y="835352"/>
                </a:cubicBezTo>
                <a:cubicBezTo>
                  <a:pt x="9572862" y="835352"/>
                  <a:pt x="9548152" y="810642"/>
                  <a:pt x="9548152" y="780161"/>
                </a:cubicBezTo>
                <a:cubicBezTo>
                  <a:pt x="9548152" y="749680"/>
                  <a:pt x="9572862" y="724970"/>
                  <a:pt x="9603344" y="724970"/>
                </a:cubicBezTo>
                <a:close/>
                <a:moveTo>
                  <a:pt x="9469710" y="724970"/>
                </a:moveTo>
                <a:cubicBezTo>
                  <a:pt x="9500192" y="724970"/>
                  <a:pt x="9524902" y="749680"/>
                  <a:pt x="9524902" y="780161"/>
                </a:cubicBezTo>
                <a:cubicBezTo>
                  <a:pt x="9524902" y="810642"/>
                  <a:pt x="9500192" y="835352"/>
                  <a:pt x="9469710" y="835352"/>
                </a:cubicBezTo>
                <a:cubicBezTo>
                  <a:pt x="9439228" y="835352"/>
                  <a:pt x="9414518" y="810642"/>
                  <a:pt x="9414518" y="780161"/>
                </a:cubicBezTo>
                <a:cubicBezTo>
                  <a:pt x="9414518" y="749680"/>
                  <a:pt x="9439228" y="724970"/>
                  <a:pt x="9469710" y="724970"/>
                </a:cubicBezTo>
                <a:close/>
                <a:moveTo>
                  <a:pt x="9336075" y="724970"/>
                </a:moveTo>
                <a:cubicBezTo>
                  <a:pt x="9366557" y="724970"/>
                  <a:pt x="9391267" y="749680"/>
                  <a:pt x="9391267" y="780161"/>
                </a:cubicBezTo>
                <a:cubicBezTo>
                  <a:pt x="9391267" y="810642"/>
                  <a:pt x="9366557" y="835352"/>
                  <a:pt x="9336075" y="835352"/>
                </a:cubicBezTo>
                <a:cubicBezTo>
                  <a:pt x="9305593" y="835352"/>
                  <a:pt x="9280883" y="810642"/>
                  <a:pt x="9280883" y="780161"/>
                </a:cubicBezTo>
                <a:cubicBezTo>
                  <a:pt x="9280883" y="749680"/>
                  <a:pt x="9305593" y="724970"/>
                  <a:pt x="9336075" y="724970"/>
                </a:cubicBezTo>
                <a:close/>
                <a:moveTo>
                  <a:pt x="9199100" y="724970"/>
                </a:moveTo>
                <a:cubicBezTo>
                  <a:pt x="9229582" y="724970"/>
                  <a:pt x="9254292" y="749680"/>
                  <a:pt x="9254292" y="780161"/>
                </a:cubicBezTo>
                <a:cubicBezTo>
                  <a:pt x="9254292" y="810642"/>
                  <a:pt x="9229582" y="835352"/>
                  <a:pt x="9199100" y="835352"/>
                </a:cubicBezTo>
                <a:cubicBezTo>
                  <a:pt x="9168618" y="835352"/>
                  <a:pt x="9143908" y="810642"/>
                  <a:pt x="9143908" y="780161"/>
                </a:cubicBezTo>
                <a:cubicBezTo>
                  <a:pt x="9143908" y="749680"/>
                  <a:pt x="9168618" y="724970"/>
                  <a:pt x="9199100" y="724970"/>
                </a:cubicBezTo>
                <a:close/>
                <a:moveTo>
                  <a:pt x="9068806" y="724970"/>
                </a:moveTo>
                <a:cubicBezTo>
                  <a:pt x="9099288" y="724970"/>
                  <a:pt x="9123998" y="749680"/>
                  <a:pt x="9123998" y="780161"/>
                </a:cubicBezTo>
                <a:cubicBezTo>
                  <a:pt x="9123998" y="810642"/>
                  <a:pt x="9099288" y="835352"/>
                  <a:pt x="9068806" y="835352"/>
                </a:cubicBezTo>
                <a:cubicBezTo>
                  <a:pt x="9038324" y="835352"/>
                  <a:pt x="9013614" y="810642"/>
                  <a:pt x="9013614" y="780161"/>
                </a:cubicBezTo>
                <a:cubicBezTo>
                  <a:pt x="9013614" y="749680"/>
                  <a:pt x="9038324" y="724970"/>
                  <a:pt x="9068806" y="724970"/>
                </a:cubicBezTo>
                <a:close/>
                <a:moveTo>
                  <a:pt x="8935170" y="724970"/>
                </a:moveTo>
                <a:cubicBezTo>
                  <a:pt x="8965652" y="724970"/>
                  <a:pt x="8990362" y="749680"/>
                  <a:pt x="8990362" y="780161"/>
                </a:cubicBezTo>
                <a:cubicBezTo>
                  <a:pt x="8990362" y="810642"/>
                  <a:pt x="8965652" y="835352"/>
                  <a:pt x="8935170" y="835352"/>
                </a:cubicBezTo>
                <a:cubicBezTo>
                  <a:pt x="8904688" y="835352"/>
                  <a:pt x="8879978" y="810642"/>
                  <a:pt x="8879978" y="780161"/>
                </a:cubicBezTo>
                <a:cubicBezTo>
                  <a:pt x="8879978" y="749680"/>
                  <a:pt x="8904688" y="724970"/>
                  <a:pt x="8935170" y="724970"/>
                </a:cubicBezTo>
                <a:close/>
                <a:moveTo>
                  <a:pt x="8801536" y="724970"/>
                </a:moveTo>
                <a:cubicBezTo>
                  <a:pt x="8832018" y="724970"/>
                  <a:pt x="8856728" y="749680"/>
                  <a:pt x="8856728" y="780161"/>
                </a:cubicBezTo>
                <a:cubicBezTo>
                  <a:pt x="8856728" y="810642"/>
                  <a:pt x="8832018" y="835352"/>
                  <a:pt x="8801536" y="835352"/>
                </a:cubicBezTo>
                <a:cubicBezTo>
                  <a:pt x="8771054" y="835352"/>
                  <a:pt x="8746344" y="810642"/>
                  <a:pt x="8746344" y="780161"/>
                </a:cubicBezTo>
                <a:cubicBezTo>
                  <a:pt x="8746344" y="749680"/>
                  <a:pt x="8771054" y="724970"/>
                  <a:pt x="8801536" y="724970"/>
                </a:cubicBezTo>
                <a:close/>
                <a:moveTo>
                  <a:pt x="8671243" y="724970"/>
                </a:moveTo>
                <a:cubicBezTo>
                  <a:pt x="8701725" y="724970"/>
                  <a:pt x="8726435" y="749680"/>
                  <a:pt x="8726435" y="780161"/>
                </a:cubicBezTo>
                <a:cubicBezTo>
                  <a:pt x="8726435" y="810642"/>
                  <a:pt x="8701725" y="835352"/>
                  <a:pt x="8671243" y="835352"/>
                </a:cubicBezTo>
                <a:cubicBezTo>
                  <a:pt x="8640761" y="835352"/>
                  <a:pt x="8616051" y="810642"/>
                  <a:pt x="8616051" y="780161"/>
                </a:cubicBezTo>
                <a:cubicBezTo>
                  <a:pt x="8616051" y="749680"/>
                  <a:pt x="8640761" y="724970"/>
                  <a:pt x="8671243" y="724970"/>
                </a:cubicBezTo>
                <a:close/>
                <a:moveTo>
                  <a:pt x="8537609" y="724970"/>
                </a:moveTo>
                <a:cubicBezTo>
                  <a:pt x="8568091" y="724970"/>
                  <a:pt x="8592801" y="749680"/>
                  <a:pt x="8592801" y="780161"/>
                </a:cubicBezTo>
                <a:cubicBezTo>
                  <a:pt x="8592801" y="810642"/>
                  <a:pt x="8568091" y="835352"/>
                  <a:pt x="8537609" y="835352"/>
                </a:cubicBezTo>
                <a:cubicBezTo>
                  <a:pt x="8507127" y="835352"/>
                  <a:pt x="8482417" y="810642"/>
                  <a:pt x="8482417" y="780161"/>
                </a:cubicBezTo>
                <a:cubicBezTo>
                  <a:pt x="8482417" y="749680"/>
                  <a:pt x="8507127" y="724970"/>
                  <a:pt x="8537609" y="724970"/>
                </a:cubicBezTo>
                <a:close/>
                <a:moveTo>
                  <a:pt x="8407318" y="724970"/>
                </a:moveTo>
                <a:cubicBezTo>
                  <a:pt x="8437800" y="724970"/>
                  <a:pt x="8462510" y="749680"/>
                  <a:pt x="8462510" y="780161"/>
                </a:cubicBezTo>
                <a:cubicBezTo>
                  <a:pt x="8462510" y="810642"/>
                  <a:pt x="8437800" y="835352"/>
                  <a:pt x="8407318" y="835352"/>
                </a:cubicBezTo>
                <a:cubicBezTo>
                  <a:pt x="8376836" y="835352"/>
                  <a:pt x="8352126" y="810642"/>
                  <a:pt x="8352126" y="780161"/>
                </a:cubicBezTo>
                <a:cubicBezTo>
                  <a:pt x="8352126" y="749680"/>
                  <a:pt x="8376836" y="724970"/>
                  <a:pt x="8407318" y="724970"/>
                </a:cubicBezTo>
                <a:close/>
                <a:moveTo>
                  <a:pt x="8273682" y="724970"/>
                </a:moveTo>
                <a:cubicBezTo>
                  <a:pt x="8304164" y="724970"/>
                  <a:pt x="8328874" y="749680"/>
                  <a:pt x="8328874" y="780161"/>
                </a:cubicBezTo>
                <a:cubicBezTo>
                  <a:pt x="8328874" y="810642"/>
                  <a:pt x="8304164" y="835352"/>
                  <a:pt x="8273682" y="835352"/>
                </a:cubicBezTo>
                <a:cubicBezTo>
                  <a:pt x="8243200" y="835352"/>
                  <a:pt x="8218490" y="810642"/>
                  <a:pt x="8218490" y="780161"/>
                </a:cubicBezTo>
                <a:cubicBezTo>
                  <a:pt x="8218490" y="749680"/>
                  <a:pt x="8243200" y="724970"/>
                  <a:pt x="8273682" y="724970"/>
                </a:cubicBezTo>
                <a:close/>
                <a:moveTo>
                  <a:pt x="8143386" y="724970"/>
                </a:moveTo>
                <a:cubicBezTo>
                  <a:pt x="8173868" y="724970"/>
                  <a:pt x="8198578" y="749680"/>
                  <a:pt x="8198578" y="780161"/>
                </a:cubicBezTo>
                <a:cubicBezTo>
                  <a:pt x="8198578" y="810642"/>
                  <a:pt x="8173868" y="835352"/>
                  <a:pt x="8143386" y="835352"/>
                </a:cubicBezTo>
                <a:cubicBezTo>
                  <a:pt x="8112904" y="835352"/>
                  <a:pt x="8088194" y="810642"/>
                  <a:pt x="8088194" y="780161"/>
                </a:cubicBezTo>
                <a:cubicBezTo>
                  <a:pt x="8088194" y="749680"/>
                  <a:pt x="8112904" y="724970"/>
                  <a:pt x="8143386" y="724970"/>
                </a:cubicBezTo>
                <a:close/>
                <a:moveTo>
                  <a:pt x="8009753" y="724970"/>
                </a:moveTo>
                <a:cubicBezTo>
                  <a:pt x="8040235" y="724970"/>
                  <a:pt x="8064945" y="749680"/>
                  <a:pt x="8064945" y="780161"/>
                </a:cubicBezTo>
                <a:cubicBezTo>
                  <a:pt x="8064945" y="810642"/>
                  <a:pt x="8040235" y="835352"/>
                  <a:pt x="8009753" y="835352"/>
                </a:cubicBezTo>
                <a:cubicBezTo>
                  <a:pt x="7979271" y="835352"/>
                  <a:pt x="7954561" y="810642"/>
                  <a:pt x="7954561" y="780161"/>
                </a:cubicBezTo>
                <a:cubicBezTo>
                  <a:pt x="7954561" y="749680"/>
                  <a:pt x="7979271" y="724970"/>
                  <a:pt x="8009753" y="724970"/>
                </a:cubicBezTo>
                <a:close/>
                <a:moveTo>
                  <a:pt x="7876118" y="724970"/>
                </a:moveTo>
                <a:cubicBezTo>
                  <a:pt x="7906600" y="724970"/>
                  <a:pt x="7931310" y="749680"/>
                  <a:pt x="7931310" y="780161"/>
                </a:cubicBezTo>
                <a:cubicBezTo>
                  <a:pt x="7931310" y="810642"/>
                  <a:pt x="7906600" y="835352"/>
                  <a:pt x="7876118" y="835352"/>
                </a:cubicBezTo>
                <a:cubicBezTo>
                  <a:pt x="7845636" y="835352"/>
                  <a:pt x="7820926" y="810642"/>
                  <a:pt x="7820926" y="780161"/>
                </a:cubicBezTo>
                <a:cubicBezTo>
                  <a:pt x="7820926" y="749680"/>
                  <a:pt x="7845636" y="724970"/>
                  <a:pt x="7876118" y="724970"/>
                </a:cubicBezTo>
                <a:close/>
                <a:moveTo>
                  <a:pt x="7745824" y="724970"/>
                </a:moveTo>
                <a:cubicBezTo>
                  <a:pt x="7776306" y="724970"/>
                  <a:pt x="7801016" y="749680"/>
                  <a:pt x="7801016" y="780161"/>
                </a:cubicBezTo>
                <a:cubicBezTo>
                  <a:pt x="7801016" y="810642"/>
                  <a:pt x="7776306" y="835352"/>
                  <a:pt x="7745824" y="835352"/>
                </a:cubicBezTo>
                <a:cubicBezTo>
                  <a:pt x="7715342" y="835352"/>
                  <a:pt x="7690632" y="810642"/>
                  <a:pt x="7690632" y="780161"/>
                </a:cubicBezTo>
                <a:cubicBezTo>
                  <a:pt x="7690632" y="749680"/>
                  <a:pt x="7715342" y="724970"/>
                  <a:pt x="7745824" y="724970"/>
                </a:cubicBezTo>
                <a:close/>
                <a:moveTo>
                  <a:pt x="7608850" y="724970"/>
                </a:moveTo>
                <a:cubicBezTo>
                  <a:pt x="7639332" y="724970"/>
                  <a:pt x="7664042" y="749680"/>
                  <a:pt x="7664042" y="780161"/>
                </a:cubicBezTo>
                <a:cubicBezTo>
                  <a:pt x="7664042" y="810642"/>
                  <a:pt x="7639332" y="835352"/>
                  <a:pt x="7608850" y="835352"/>
                </a:cubicBezTo>
                <a:cubicBezTo>
                  <a:pt x="7578368" y="835352"/>
                  <a:pt x="7553658" y="810642"/>
                  <a:pt x="7553658" y="780161"/>
                </a:cubicBezTo>
                <a:cubicBezTo>
                  <a:pt x="7553658" y="749680"/>
                  <a:pt x="7578368" y="724970"/>
                  <a:pt x="7608850" y="724970"/>
                </a:cubicBezTo>
                <a:close/>
                <a:moveTo>
                  <a:pt x="7481895" y="724970"/>
                </a:moveTo>
                <a:cubicBezTo>
                  <a:pt x="7512377" y="724970"/>
                  <a:pt x="7537087" y="749680"/>
                  <a:pt x="7537087" y="780161"/>
                </a:cubicBezTo>
                <a:cubicBezTo>
                  <a:pt x="7537087" y="810642"/>
                  <a:pt x="7512377" y="835352"/>
                  <a:pt x="7481895" y="835352"/>
                </a:cubicBezTo>
                <a:cubicBezTo>
                  <a:pt x="7451413" y="835352"/>
                  <a:pt x="7426703" y="810642"/>
                  <a:pt x="7426703" y="780161"/>
                </a:cubicBezTo>
                <a:cubicBezTo>
                  <a:pt x="7426703" y="749680"/>
                  <a:pt x="7451413" y="724970"/>
                  <a:pt x="7481895" y="724970"/>
                </a:cubicBezTo>
                <a:close/>
                <a:moveTo>
                  <a:pt x="7341579" y="724970"/>
                </a:moveTo>
                <a:cubicBezTo>
                  <a:pt x="7372061" y="724970"/>
                  <a:pt x="7396771" y="749680"/>
                  <a:pt x="7396771" y="780161"/>
                </a:cubicBezTo>
                <a:cubicBezTo>
                  <a:pt x="7396771" y="810642"/>
                  <a:pt x="7372061" y="835352"/>
                  <a:pt x="7341579" y="835352"/>
                </a:cubicBezTo>
                <a:cubicBezTo>
                  <a:pt x="7311097" y="835352"/>
                  <a:pt x="7286387" y="810642"/>
                  <a:pt x="7286387" y="780161"/>
                </a:cubicBezTo>
                <a:cubicBezTo>
                  <a:pt x="7286387" y="749680"/>
                  <a:pt x="7311097" y="724970"/>
                  <a:pt x="7341579" y="724970"/>
                </a:cubicBezTo>
                <a:close/>
                <a:moveTo>
                  <a:pt x="7211286" y="724970"/>
                </a:moveTo>
                <a:cubicBezTo>
                  <a:pt x="7241768" y="724970"/>
                  <a:pt x="7266478" y="749680"/>
                  <a:pt x="7266478" y="780161"/>
                </a:cubicBezTo>
                <a:cubicBezTo>
                  <a:pt x="7266478" y="810642"/>
                  <a:pt x="7241768" y="835352"/>
                  <a:pt x="7211286" y="835352"/>
                </a:cubicBezTo>
                <a:cubicBezTo>
                  <a:pt x="7180804" y="835352"/>
                  <a:pt x="7156094" y="810642"/>
                  <a:pt x="7156094" y="780161"/>
                </a:cubicBezTo>
                <a:cubicBezTo>
                  <a:pt x="7156094" y="749680"/>
                  <a:pt x="7180804" y="724970"/>
                  <a:pt x="7211286" y="724970"/>
                </a:cubicBezTo>
                <a:close/>
                <a:moveTo>
                  <a:pt x="7080994" y="724970"/>
                </a:moveTo>
                <a:cubicBezTo>
                  <a:pt x="7111476" y="724970"/>
                  <a:pt x="7136186" y="749680"/>
                  <a:pt x="7136186" y="780161"/>
                </a:cubicBezTo>
                <a:cubicBezTo>
                  <a:pt x="7136186" y="810642"/>
                  <a:pt x="7111476" y="835352"/>
                  <a:pt x="7080994" y="835352"/>
                </a:cubicBezTo>
                <a:cubicBezTo>
                  <a:pt x="7050512" y="835352"/>
                  <a:pt x="7025802" y="810642"/>
                  <a:pt x="7025802" y="780161"/>
                </a:cubicBezTo>
                <a:cubicBezTo>
                  <a:pt x="7025802" y="749680"/>
                  <a:pt x="7050512" y="724970"/>
                  <a:pt x="7080994" y="724970"/>
                </a:cubicBezTo>
                <a:close/>
                <a:moveTo>
                  <a:pt x="6947358" y="724970"/>
                </a:moveTo>
                <a:cubicBezTo>
                  <a:pt x="6977840" y="724970"/>
                  <a:pt x="7002550" y="749680"/>
                  <a:pt x="7002550" y="780161"/>
                </a:cubicBezTo>
                <a:cubicBezTo>
                  <a:pt x="7002550" y="810642"/>
                  <a:pt x="6977840" y="835352"/>
                  <a:pt x="6947358" y="835352"/>
                </a:cubicBezTo>
                <a:cubicBezTo>
                  <a:pt x="6916876" y="835352"/>
                  <a:pt x="6892166" y="810642"/>
                  <a:pt x="6892166" y="780161"/>
                </a:cubicBezTo>
                <a:cubicBezTo>
                  <a:pt x="6892166" y="749680"/>
                  <a:pt x="6916876" y="724970"/>
                  <a:pt x="6947358" y="724970"/>
                </a:cubicBezTo>
                <a:close/>
                <a:moveTo>
                  <a:pt x="6817064" y="724970"/>
                </a:moveTo>
                <a:cubicBezTo>
                  <a:pt x="6847546" y="724970"/>
                  <a:pt x="6872256" y="749680"/>
                  <a:pt x="6872256" y="780161"/>
                </a:cubicBezTo>
                <a:cubicBezTo>
                  <a:pt x="6872256" y="810642"/>
                  <a:pt x="6847546" y="835352"/>
                  <a:pt x="6817064" y="835352"/>
                </a:cubicBezTo>
                <a:cubicBezTo>
                  <a:pt x="6786582" y="835352"/>
                  <a:pt x="6761872" y="810642"/>
                  <a:pt x="6761872" y="780161"/>
                </a:cubicBezTo>
                <a:cubicBezTo>
                  <a:pt x="6761872" y="749680"/>
                  <a:pt x="6786582" y="724970"/>
                  <a:pt x="6817064" y="724970"/>
                </a:cubicBezTo>
                <a:close/>
                <a:moveTo>
                  <a:pt x="6683431" y="724970"/>
                </a:moveTo>
                <a:cubicBezTo>
                  <a:pt x="6713913" y="724970"/>
                  <a:pt x="6738623" y="749680"/>
                  <a:pt x="6738623" y="780161"/>
                </a:cubicBezTo>
                <a:cubicBezTo>
                  <a:pt x="6738623" y="810642"/>
                  <a:pt x="6713913" y="835352"/>
                  <a:pt x="6683431" y="835352"/>
                </a:cubicBezTo>
                <a:cubicBezTo>
                  <a:pt x="6652949" y="835352"/>
                  <a:pt x="6628239" y="810642"/>
                  <a:pt x="6628239" y="780161"/>
                </a:cubicBezTo>
                <a:cubicBezTo>
                  <a:pt x="6628239" y="749680"/>
                  <a:pt x="6652949" y="724970"/>
                  <a:pt x="6683431" y="724970"/>
                </a:cubicBezTo>
                <a:close/>
                <a:moveTo>
                  <a:pt x="6553137" y="724970"/>
                </a:moveTo>
                <a:cubicBezTo>
                  <a:pt x="6583619" y="724970"/>
                  <a:pt x="6608329" y="749680"/>
                  <a:pt x="6608329" y="780161"/>
                </a:cubicBezTo>
                <a:cubicBezTo>
                  <a:pt x="6608329" y="810642"/>
                  <a:pt x="6583619" y="835352"/>
                  <a:pt x="6553137" y="835352"/>
                </a:cubicBezTo>
                <a:cubicBezTo>
                  <a:pt x="6522655" y="835352"/>
                  <a:pt x="6497945" y="810642"/>
                  <a:pt x="6497945" y="780161"/>
                </a:cubicBezTo>
                <a:cubicBezTo>
                  <a:pt x="6497945" y="749680"/>
                  <a:pt x="6522655" y="724970"/>
                  <a:pt x="6553137" y="724970"/>
                </a:cubicBezTo>
                <a:close/>
                <a:moveTo>
                  <a:pt x="6419503" y="724970"/>
                </a:moveTo>
                <a:cubicBezTo>
                  <a:pt x="6449985" y="724970"/>
                  <a:pt x="6474695" y="749680"/>
                  <a:pt x="6474695" y="780161"/>
                </a:cubicBezTo>
                <a:cubicBezTo>
                  <a:pt x="6474695" y="810642"/>
                  <a:pt x="6449985" y="835352"/>
                  <a:pt x="6419503" y="835352"/>
                </a:cubicBezTo>
                <a:cubicBezTo>
                  <a:pt x="6389021" y="835352"/>
                  <a:pt x="6364311" y="810642"/>
                  <a:pt x="6364311" y="780161"/>
                </a:cubicBezTo>
                <a:cubicBezTo>
                  <a:pt x="6364311" y="749680"/>
                  <a:pt x="6389021" y="724970"/>
                  <a:pt x="6419503" y="724970"/>
                </a:cubicBezTo>
                <a:close/>
                <a:moveTo>
                  <a:pt x="6289207" y="724970"/>
                </a:moveTo>
                <a:cubicBezTo>
                  <a:pt x="6319689" y="724970"/>
                  <a:pt x="6344399" y="749680"/>
                  <a:pt x="6344399" y="780161"/>
                </a:cubicBezTo>
                <a:cubicBezTo>
                  <a:pt x="6344399" y="810642"/>
                  <a:pt x="6319689" y="835352"/>
                  <a:pt x="6289207" y="835352"/>
                </a:cubicBezTo>
                <a:cubicBezTo>
                  <a:pt x="6258725" y="835352"/>
                  <a:pt x="6234015" y="810642"/>
                  <a:pt x="6234015" y="780161"/>
                </a:cubicBezTo>
                <a:cubicBezTo>
                  <a:pt x="6234015" y="749680"/>
                  <a:pt x="6258725" y="724970"/>
                  <a:pt x="6289207" y="724970"/>
                </a:cubicBezTo>
                <a:close/>
                <a:moveTo>
                  <a:pt x="6155573" y="724970"/>
                </a:moveTo>
                <a:cubicBezTo>
                  <a:pt x="6186055" y="724970"/>
                  <a:pt x="6210765" y="749680"/>
                  <a:pt x="6210765" y="780161"/>
                </a:cubicBezTo>
                <a:cubicBezTo>
                  <a:pt x="6210765" y="810642"/>
                  <a:pt x="6186055" y="835352"/>
                  <a:pt x="6155573" y="835352"/>
                </a:cubicBezTo>
                <a:cubicBezTo>
                  <a:pt x="6125091" y="835352"/>
                  <a:pt x="6100381" y="810642"/>
                  <a:pt x="6100381" y="780161"/>
                </a:cubicBezTo>
                <a:cubicBezTo>
                  <a:pt x="6100381" y="749680"/>
                  <a:pt x="6125091" y="724970"/>
                  <a:pt x="6155573" y="724970"/>
                </a:cubicBezTo>
                <a:close/>
                <a:moveTo>
                  <a:pt x="5621035" y="724970"/>
                </a:moveTo>
                <a:cubicBezTo>
                  <a:pt x="5651517" y="724970"/>
                  <a:pt x="5676227" y="749680"/>
                  <a:pt x="5676227" y="780161"/>
                </a:cubicBezTo>
                <a:cubicBezTo>
                  <a:pt x="5676227" y="810642"/>
                  <a:pt x="5651517" y="835352"/>
                  <a:pt x="5621035" y="835352"/>
                </a:cubicBezTo>
                <a:cubicBezTo>
                  <a:pt x="5590553" y="835352"/>
                  <a:pt x="5565843" y="810642"/>
                  <a:pt x="5565843" y="780161"/>
                </a:cubicBezTo>
                <a:cubicBezTo>
                  <a:pt x="5565843" y="749680"/>
                  <a:pt x="5590553" y="724970"/>
                  <a:pt x="5621035" y="724970"/>
                </a:cubicBezTo>
                <a:close/>
                <a:moveTo>
                  <a:pt x="5487399" y="724970"/>
                </a:moveTo>
                <a:cubicBezTo>
                  <a:pt x="5517881" y="724970"/>
                  <a:pt x="5542591" y="749680"/>
                  <a:pt x="5542591" y="780161"/>
                </a:cubicBezTo>
                <a:cubicBezTo>
                  <a:pt x="5542591" y="810642"/>
                  <a:pt x="5517881" y="835352"/>
                  <a:pt x="5487399" y="835352"/>
                </a:cubicBezTo>
                <a:cubicBezTo>
                  <a:pt x="5456917" y="835352"/>
                  <a:pt x="5432207" y="810642"/>
                  <a:pt x="5432207" y="780161"/>
                </a:cubicBezTo>
                <a:cubicBezTo>
                  <a:pt x="5432207" y="749680"/>
                  <a:pt x="5456917" y="724970"/>
                  <a:pt x="5487399" y="724970"/>
                </a:cubicBezTo>
                <a:close/>
                <a:moveTo>
                  <a:pt x="5357106" y="724970"/>
                </a:moveTo>
                <a:cubicBezTo>
                  <a:pt x="5387588" y="724970"/>
                  <a:pt x="5412298" y="749680"/>
                  <a:pt x="5412298" y="780161"/>
                </a:cubicBezTo>
                <a:cubicBezTo>
                  <a:pt x="5412298" y="810642"/>
                  <a:pt x="5387588" y="835352"/>
                  <a:pt x="5357106" y="835352"/>
                </a:cubicBezTo>
                <a:cubicBezTo>
                  <a:pt x="5326624" y="835352"/>
                  <a:pt x="5301914" y="810642"/>
                  <a:pt x="5301914" y="780161"/>
                </a:cubicBezTo>
                <a:cubicBezTo>
                  <a:pt x="5301914" y="749680"/>
                  <a:pt x="5326624" y="724970"/>
                  <a:pt x="5357106" y="724970"/>
                </a:cubicBezTo>
                <a:close/>
                <a:moveTo>
                  <a:pt x="5223473" y="724970"/>
                </a:moveTo>
                <a:cubicBezTo>
                  <a:pt x="5253955" y="724970"/>
                  <a:pt x="5278665" y="749680"/>
                  <a:pt x="5278665" y="780161"/>
                </a:cubicBezTo>
                <a:cubicBezTo>
                  <a:pt x="5278665" y="810642"/>
                  <a:pt x="5253955" y="835352"/>
                  <a:pt x="5223473" y="835352"/>
                </a:cubicBezTo>
                <a:cubicBezTo>
                  <a:pt x="5192991" y="835352"/>
                  <a:pt x="5168281" y="810642"/>
                  <a:pt x="5168281" y="780161"/>
                </a:cubicBezTo>
                <a:cubicBezTo>
                  <a:pt x="5168281" y="749680"/>
                  <a:pt x="5192991" y="724970"/>
                  <a:pt x="5223473" y="724970"/>
                </a:cubicBezTo>
                <a:close/>
                <a:moveTo>
                  <a:pt x="5093178" y="724970"/>
                </a:moveTo>
                <a:cubicBezTo>
                  <a:pt x="5123660" y="724970"/>
                  <a:pt x="5148370" y="749680"/>
                  <a:pt x="5148370" y="780161"/>
                </a:cubicBezTo>
                <a:cubicBezTo>
                  <a:pt x="5148370" y="810642"/>
                  <a:pt x="5123660" y="835352"/>
                  <a:pt x="5093178" y="835352"/>
                </a:cubicBezTo>
                <a:cubicBezTo>
                  <a:pt x="5062696" y="835352"/>
                  <a:pt x="5037986" y="810642"/>
                  <a:pt x="5037986" y="780161"/>
                </a:cubicBezTo>
                <a:cubicBezTo>
                  <a:pt x="5037986" y="749680"/>
                  <a:pt x="5062696" y="724970"/>
                  <a:pt x="5093178" y="724970"/>
                </a:cubicBezTo>
                <a:close/>
                <a:moveTo>
                  <a:pt x="3897148" y="724970"/>
                </a:moveTo>
                <a:cubicBezTo>
                  <a:pt x="3927630" y="724970"/>
                  <a:pt x="3952340" y="749680"/>
                  <a:pt x="3952340" y="780161"/>
                </a:cubicBezTo>
                <a:cubicBezTo>
                  <a:pt x="3952340" y="810642"/>
                  <a:pt x="3927630" y="835352"/>
                  <a:pt x="3897148" y="835352"/>
                </a:cubicBezTo>
                <a:cubicBezTo>
                  <a:pt x="3866666" y="835352"/>
                  <a:pt x="3841956" y="810642"/>
                  <a:pt x="3841956" y="780161"/>
                </a:cubicBezTo>
                <a:cubicBezTo>
                  <a:pt x="3841956" y="749680"/>
                  <a:pt x="3866666" y="724970"/>
                  <a:pt x="3897148" y="724970"/>
                </a:cubicBezTo>
                <a:close/>
                <a:moveTo>
                  <a:pt x="3763514" y="724970"/>
                </a:moveTo>
                <a:cubicBezTo>
                  <a:pt x="3793996" y="724970"/>
                  <a:pt x="3818706" y="749680"/>
                  <a:pt x="3818706" y="780161"/>
                </a:cubicBezTo>
                <a:cubicBezTo>
                  <a:pt x="3818706" y="810642"/>
                  <a:pt x="3793996" y="835352"/>
                  <a:pt x="3763514" y="835352"/>
                </a:cubicBezTo>
                <a:cubicBezTo>
                  <a:pt x="3733032" y="835352"/>
                  <a:pt x="3708322" y="810642"/>
                  <a:pt x="3708322" y="780161"/>
                </a:cubicBezTo>
                <a:cubicBezTo>
                  <a:pt x="3708322" y="749680"/>
                  <a:pt x="3733032" y="724970"/>
                  <a:pt x="3763514" y="724970"/>
                </a:cubicBezTo>
                <a:close/>
                <a:moveTo>
                  <a:pt x="3633221" y="724970"/>
                </a:moveTo>
                <a:cubicBezTo>
                  <a:pt x="3663703" y="724970"/>
                  <a:pt x="3688413" y="749680"/>
                  <a:pt x="3688413" y="780161"/>
                </a:cubicBezTo>
                <a:cubicBezTo>
                  <a:pt x="3688413" y="810642"/>
                  <a:pt x="3663703" y="835352"/>
                  <a:pt x="3633221" y="835352"/>
                </a:cubicBezTo>
                <a:cubicBezTo>
                  <a:pt x="3602739" y="835352"/>
                  <a:pt x="3578029" y="810642"/>
                  <a:pt x="3578029" y="780161"/>
                </a:cubicBezTo>
                <a:cubicBezTo>
                  <a:pt x="3578029" y="749680"/>
                  <a:pt x="3602739" y="724970"/>
                  <a:pt x="3633221" y="724970"/>
                </a:cubicBezTo>
                <a:close/>
                <a:moveTo>
                  <a:pt x="3499586" y="724970"/>
                </a:moveTo>
                <a:cubicBezTo>
                  <a:pt x="3530068" y="724970"/>
                  <a:pt x="3554778" y="749680"/>
                  <a:pt x="3554778" y="780161"/>
                </a:cubicBezTo>
                <a:cubicBezTo>
                  <a:pt x="3554778" y="810642"/>
                  <a:pt x="3530068" y="835352"/>
                  <a:pt x="3499586" y="835352"/>
                </a:cubicBezTo>
                <a:cubicBezTo>
                  <a:pt x="3469104" y="835352"/>
                  <a:pt x="3444394" y="810642"/>
                  <a:pt x="3444394" y="780161"/>
                </a:cubicBezTo>
                <a:cubicBezTo>
                  <a:pt x="3444394" y="749680"/>
                  <a:pt x="3469104" y="724970"/>
                  <a:pt x="3499586" y="724970"/>
                </a:cubicBezTo>
                <a:close/>
                <a:moveTo>
                  <a:pt x="3369292" y="724970"/>
                </a:moveTo>
                <a:cubicBezTo>
                  <a:pt x="3399774" y="724970"/>
                  <a:pt x="3424484" y="749680"/>
                  <a:pt x="3424484" y="780161"/>
                </a:cubicBezTo>
                <a:cubicBezTo>
                  <a:pt x="3424484" y="810642"/>
                  <a:pt x="3399774" y="835352"/>
                  <a:pt x="3369292" y="835352"/>
                </a:cubicBezTo>
                <a:cubicBezTo>
                  <a:pt x="3338810" y="835352"/>
                  <a:pt x="3314100" y="810642"/>
                  <a:pt x="3314100" y="780161"/>
                </a:cubicBezTo>
                <a:cubicBezTo>
                  <a:pt x="3314100" y="749680"/>
                  <a:pt x="3338810" y="724970"/>
                  <a:pt x="3369292" y="724970"/>
                </a:cubicBezTo>
                <a:close/>
                <a:moveTo>
                  <a:pt x="2834856" y="724970"/>
                </a:moveTo>
                <a:cubicBezTo>
                  <a:pt x="2865340" y="724970"/>
                  <a:pt x="2890049" y="749680"/>
                  <a:pt x="2890049" y="780161"/>
                </a:cubicBezTo>
                <a:cubicBezTo>
                  <a:pt x="2890049" y="810642"/>
                  <a:pt x="2865340" y="835352"/>
                  <a:pt x="2834856" y="835352"/>
                </a:cubicBezTo>
                <a:cubicBezTo>
                  <a:pt x="2804376" y="835352"/>
                  <a:pt x="2779665" y="810642"/>
                  <a:pt x="2779665" y="780161"/>
                </a:cubicBezTo>
                <a:cubicBezTo>
                  <a:pt x="2779665" y="749680"/>
                  <a:pt x="2804376" y="724970"/>
                  <a:pt x="2834856" y="724970"/>
                </a:cubicBezTo>
                <a:close/>
                <a:moveTo>
                  <a:pt x="2707901" y="724970"/>
                </a:moveTo>
                <a:cubicBezTo>
                  <a:pt x="2738385" y="724970"/>
                  <a:pt x="2763094" y="749680"/>
                  <a:pt x="2763094" y="780161"/>
                </a:cubicBezTo>
                <a:cubicBezTo>
                  <a:pt x="2763094" y="810642"/>
                  <a:pt x="2738385" y="835352"/>
                  <a:pt x="2707901" y="835352"/>
                </a:cubicBezTo>
                <a:cubicBezTo>
                  <a:pt x="2677420" y="835352"/>
                  <a:pt x="2652711" y="810642"/>
                  <a:pt x="2652711" y="780161"/>
                </a:cubicBezTo>
                <a:cubicBezTo>
                  <a:pt x="2652711" y="749680"/>
                  <a:pt x="2677420" y="724970"/>
                  <a:pt x="2707901" y="724970"/>
                </a:cubicBezTo>
                <a:close/>
                <a:moveTo>
                  <a:pt x="2570929" y="724970"/>
                </a:moveTo>
                <a:cubicBezTo>
                  <a:pt x="2601412" y="724970"/>
                  <a:pt x="2626122" y="749680"/>
                  <a:pt x="2626122" y="780161"/>
                </a:cubicBezTo>
                <a:cubicBezTo>
                  <a:pt x="2626122" y="810642"/>
                  <a:pt x="2601412" y="835352"/>
                  <a:pt x="2570929" y="835352"/>
                </a:cubicBezTo>
                <a:cubicBezTo>
                  <a:pt x="2540446" y="835352"/>
                  <a:pt x="2515735" y="810642"/>
                  <a:pt x="2515735" y="780161"/>
                </a:cubicBezTo>
                <a:cubicBezTo>
                  <a:pt x="2515735" y="749680"/>
                  <a:pt x="2540446" y="724970"/>
                  <a:pt x="2570929" y="724970"/>
                </a:cubicBezTo>
                <a:close/>
                <a:moveTo>
                  <a:pt x="2437294" y="724970"/>
                </a:moveTo>
                <a:cubicBezTo>
                  <a:pt x="2467777" y="724970"/>
                  <a:pt x="2492487" y="749680"/>
                  <a:pt x="2492487" y="780161"/>
                </a:cubicBezTo>
                <a:cubicBezTo>
                  <a:pt x="2492487" y="810642"/>
                  <a:pt x="2467777" y="835352"/>
                  <a:pt x="2437294" y="835352"/>
                </a:cubicBezTo>
                <a:cubicBezTo>
                  <a:pt x="2406815" y="835352"/>
                  <a:pt x="2382104" y="810642"/>
                  <a:pt x="2382104" y="780161"/>
                </a:cubicBezTo>
                <a:cubicBezTo>
                  <a:pt x="2382104" y="749680"/>
                  <a:pt x="2406815" y="724970"/>
                  <a:pt x="2437294" y="724970"/>
                </a:cubicBezTo>
                <a:close/>
                <a:moveTo>
                  <a:pt x="2303662" y="724970"/>
                </a:moveTo>
                <a:cubicBezTo>
                  <a:pt x="2334145" y="724970"/>
                  <a:pt x="2358853" y="749680"/>
                  <a:pt x="2358853" y="780161"/>
                </a:cubicBezTo>
                <a:cubicBezTo>
                  <a:pt x="2358853" y="810642"/>
                  <a:pt x="2334145" y="835352"/>
                  <a:pt x="2303662" y="835352"/>
                </a:cubicBezTo>
                <a:cubicBezTo>
                  <a:pt x="2273180" y="835352"/>
                  <a:pt x="2248471" y="810642"/>
                  <a:pt x="2248471" y="780161"/>
                </a:cubicBezTo>
                <a:cubicBezTo>
                  <a:pt x="2248471" y="749680"/>
                  <a:pt x="2273180" y="724970"/>
                  <a:pt x="2303662" y="724970"/>
                </a:cubicBezTo>
                <a:close/>
                <a:moveTo>
                  <a:pt x="2173371" y="724970"/>
                </a:moveTo>
                <a:cubicBezTo>
                  <a:pt x="2203851" y="724970"/>
                  <a:pt x="2228562" y="749680"/>
                  <a:pt x="2228562" y="780161"/>
                </a:cubicBezTo>
                <a:cubicBezTo>
                  <a:pt x="2228562" y="810642"/>
                  <a:pt x="2203851" y="835352"/>
                  <a:pt x="2173371" y="835352"/>
                </a:cubicBezTo>
                <a:cubicBezTo>
                  <a:pt x="2142888" y="835352"/>
                  <a:pt x="2118177" y="810642"/>
                  <a:pt x="2118177" y="780161"/>
                </a:cubicBezTo>
                <a:cubicBezTo>
                  <a:pt x="2118177" y="749680"/>
                  <a:pt x="2142888" y="724970"/>
                  <a:pt x="2173371" y="724970"/>
                </a:cubicBezTo>
                <a:close/>
                <a:moveTo>
                  <a:pt x="2039733" y="724970"/>
                </a:moveTo>
                <a:cubicBezTo>
                  <a:pt x="2070216" y="724970"/>
                  <a:pt x="2094927" y="749680"/>
                  <a:pt x="2094927" y="780161"/>
                </a:cubicBezTo>
                <a:cubicBezTo>
                  <a:pt x="2094927" y="810642"/>
                  <a:pt x="2070216" y="835352"/>
                  <a:pt x="2039733" y="835352"/>
                </a:cubicBezTo>
                <a:cubicBezTo>
                  <a:pt x="2009252" y="835352"/>
                  <a:pt x="1984539" y="810642"/>
                  <a:pt x="1984539" y="780161"/>
                </a:cubicBezTo>
                <a:cubicBezTo>
                  <a:pt x="1984539" y="749680"/>
                  <a:pt x="2009252" y="724970"/>
                  <a:pt x="2039733" y="724970"/>
                </a:cubicBezTo>
                <a:close/>
                <a:moveTo>
                  <a:pt x="1909436" y="724970"/>
                </a:moveTo>
                <a:cubicBezTo>
                  <a:pt x="1939919" y="724970"/>
                  <a:pt x="1964630" y="749680"/>
                  <a:pt x="1964630" y="780161"/>
                </a:cubicBezTo>
                <a:cubicBezTo>
                  <a:pt x="1964630" y="810642"/>
                  <a:pt x="1939919" y="835352"/>
                  <a:pt x="1909436" y="835352"/>
                </a:cubicBezTo>
                <a:cubicBezTo>
                  <a:pt x="1878955" y="835352"/>
                  <a:pt x="1854243" y="810642"/>
                  <a:pt x="1854243" y="780161"/>
                </a:cubicBezTo>
                <a:cubicBezTo>
                  <a:pt x="1854243" y="749680"/>
                  <a:pt x="1878955" y="724970"/>
                  <a:pt x="1909436" y="724970"/>
                </a:cubicBezTo>
                <a:close/>
                <a:moveTo>
                  <a:pt x="1779142" y="724970"/>
                </a:moveTo>
                <a:cubicBezTo>
                  <a:pt x="1809623" y="724970"/>
                  <a:pt x="1834335" y="749680"/>
                  <a:pt x="1834335" y="780161"/>
                </a:cubicBezTo>
                <a:cubicBezTo>
                  <a:pt x="1834335" y="810642"/>
                  <a:pt x="1809623" y="835352"/>
                  <a:pt x="1779142" y="835352"/>
                </a:cubicBezTo>
                <a:cubicBezTo>
                  <a:pt x="1748660" y="835352"/>
                  <a:pt x="1723947" y="810642"/>
                  <a:pt x="1723947" y="780161"/>
                </a:cubicBezTo>
                <a:cubicBezTo>
                  <a:pt x="1723947" y="749680"/>
                  <a:pt x="1748660" y="724970"/>
                  <a:pt x="1779142" y="724970"/>
                </a:cubicBezTo>
                <a:close/>
                <a:moveTo>
                  <a:pt x="1645501" y="724970"/>
                </a:moveTo>
                <a:cubicBezTo>
                  <a:pt x="1675988" y="724970"/>
                  <a:pt x="1700699" y="749680"/>
                  <a:pt x="1700699" y="780161"/>
                </a:cubicBezTo>
                <a:cubicBezTo>
                  <a:pt x="1700699" y="810642"/>
                  <a:pt x="1675988" y="835352"/>
                  <a:pt x="1645501" y="835352"/>
                </a:cubicBezTo>
                <a:cubicBezTo>
                  <a:pt x="1615024" y="835352"/>
                  <a:pt x="1590310" y="810642"/>
                  <a:pt x="1590310" y="780161"/>
                </a:cubicBezTo>
                <a:cubicBezTo>
                  <a:pt x="1590310" y="749680"/>
                  <a:pt x="1615024" y="724970"/>
                  <a:pt x="1645501" y="724970"/>
                </a:cubicBezTo>
                <a:close/>
                <a:moveTo>
                  <a:pt x="1515213" y="724970"/>
                </a:moveTo>
                <a:cubicBezTo>
                  <a:pt x="1545692" y="724970"/>
                  <a:pt x="1570399" y="749680"/>
                  <a:pt x="1570399" y="780161"/>
                </a:cubicBezTo>
                <a:cubicBezTo>
                  <a:pt x="1570399" y="810642"/>
                  <a:pt x="1545692" y="835352"/>
                  <a:pt x="1515213" y="835352"/>
                </a:cubicBezTo>
                <a:cubicBezTo>
                  <a:pt x="1484730" y="835352"/>
                  <a:pt x="1460016" y="810642"/>
                  <a:pt x="1460016" y="780161"/>
                </a:cubicBezTo>
                <a:cubicBezTo>
                  <a:pt x="1460016" y="749680"/>
                  <a:pt x="1484730" y="724970"/>
                  <a:pt x="1515213" y="724970"/>
                </a:cubicBezTo>
                <a:close/>
                <a:moveTo>
                  <a:pt x="1381573" y="724970"/>
                </a:moveTo>
                <a:cubicBezTo>
                  <a:pt x="1412052" y="724970"/>
                  <a:pt x="1436767" y="749680"/>
                  <a:pt x="1436767" y="780161"/>
                </a:cubicBezTo>
                <a:cubicBezTo>
                  <a:pt x="1436767" y="810642"/>
                  <a:pt x="1412052" y="835352"/>
                  <a:pt x="1381573" y="835352"/>
                </a:cubicBezTo>
                <a:cubicBezTo>
                  <a:pt x="1351096" y="835352"/>
                  <a:pt x="1326381" y="810642"/>
                  <a:pt x="1326381" y="780161"/>
                </a:cubicBezTo>
                <a:cubicBezTo>
                  <a:pt x="1326381" y="749680"/>
                  <a:pt x="1351096" y="724970"/>
                  <a:pt x="1381573" y="724970"/>
                </a:cubicBezTo>
                <a:close/>
                <a:moveTo>
                  <a:pt x="1251282" y="724970"/>
                </a:moveTo>
                <a:cubicBezTo>
                  <a:pt x="1281764" y="724970"/>
                  <a:pt x="1306475" y="749680"/>
                  <a:pt x="1306475" y="780161"/>
                </a:cubicBezTo>
                <a:cubicBezTo>
                  <a:pt x="1306475" y="810642"/>
                  <a:pt x="1281764" y="835352"/>
                  <a:pt x="1251282" y="835352"/>
                </a:cubicBezTo>
                <a:cubicBezTo>
                  <a:pt x="1220800" y="835352"/>
                  <a:pt x="1196089" y="810642"/>
                  <a:pt x="1196089" y="780161"/>
                </a:cubicBezTo>
                <a:cubicBezTo>
                  <a:pt x="1196089" y="749680"/>
                  <a:pt x="1220800" y="724970"/>
                  <a:pt x="1251282" y="724970"/>
                </a:cubicBezTo>
                <a:close/>
                <a:moveTo>
                  <a:pt x="1117642" y="724970"/>
                </a:moveTo>
                <a:cubicBezTo>
                  <a:pt x="1148126" y="724970"/>
                  <a:pt x="1172836" y="749680"/>
                  <a:pt x="1172836" y="780161"/>
                </a:cubicBezTo>
                <a:cubicBezTo>
                  <a:pt x="1172836" y="810642"/>
                  <a:pt x="1148126" y="835352"/>
                  <a:pt x="1117642" y="835352"/>
                </a:cubicBezTo>
                <a:cubicBezTo>
                  <a:pt x="1087161" y="835352"/>
                  <a:pt x="1062448" y="810642"/>
                  <a:pt x="1062448" y="780161"/>
                </a:cubicBezTo>
                <a:cubicBezTo>
                  <a:pt x="1062448" y="749680"/>
                  <a:pt x="1087161" y="724970"/>
                  <a:pt x="1117642" y="724970"/>
                </a:cubicBezTo>
                <a:close/>
                <a:moveTo>
                  <a:pt x="980664" y="724970"/>
                </a:moveTo>
                <a:cubicBezTo>
                  <a:pt x="1011146" y="724970"/>
                  <a:pt x="1035857" y="749680"/>
                  <a:pt x="1035857" y="780161"/>
                </a:cubicBezTo>
                <a:cubicBezTo>
                  <a:pt x="1035857" y="810642"/>
                  <a:pt x="1011146" y="835352"/>
                  <a:pt x="980664" y="835352"/>
                </a:cubicBezTo>
                <a:cubicBezTo>
                  <a:pt x="950180" y="835352"/>
                  <a:pt x="925471" y="810642"/>
                  <a:pt x="925471" y="780161"/>
                </a:cubicBezTo>
                <a:cubicBezTo>
                  <a:pt x="925471" y="749680"/>
                  <a:pt x="950180" y="724970"/>
                  <a:pt x="980664" y="724970"/>
                </a:cubicBezTo>
                <a:close/>
                <a:moveTo>
                  <a:pt x="847022" y="724970"/>
                </a:moveTo>
                <a:cubicBezTo>
                  <a:pt x="877506" y="724970"/>
                  <a:pt x="902217" y="749680"/>
                  <a:pt x="902217" y="780161"/>
                </a:cubicBezTo>
                <a:cubicBezTo>
                  <a:pt x="902217" y="810642"/>
                  <a:pt x="877506" y="835352"/>
                  <a:pt x="847022" y="835352"/>
                </a:cubicBezTo>
                <a:cubicBezTo>
                  <a:pt x="816540" y="835352"/>
                  <a:pt x="791823" y="810642"/>
                  <a:pt x="791823" y="780161"/>
                </a:cubicBezTo>
                <a:cubicBezTo>
                  <a:pt x="791823" y="749680"/>
                  <a:pt x="816540" y="724970"/>
                  <a:pt x="847022" y="724970"/>
                </a:cubicBezTo>
                <a:close/>
                <a:moveTo>
                  <a:pt x="716722" y="724970"/>
                </a:moveTo>
                <a:cubicBezTo>
                  <a:pt x="747204" y="724970"/>
                  <a:pt x="771916" y="749680"/>
                  <a:pt x="771916" y="780161"/>
                </a:cubicBezTo>
                <a:cubicBezTo>
                  <a:pt x="771916" y="810642"/>
                  <a:pt x="747204" y="835352"/>
                  <a:pt x="716722" y="835352"/>
                </a:cubicBezTo>
                <a:cubicBezTo>
                  <a:pt x="686240" y="835352"/>
                  <a:pt x="661530" y="810642"/>
                  <a:pt x="661530" y="780161"/>
                </a:cubicBezTo>
                <a:cubicBezTo>
                  <a:pt x="661530" y="749680"/>
                  <a:pt x="686240" y="724970"/>
                  <a:pt x="716722" y="724970"/>
                </a:cubicBezTo>
                <a:close/>
                <a:moveTo>
                  <a:pt x="583085" y="724970"/>
                </a:moveTo>
                <a:cubicBezTo>
                  <a:pt x="613567" y="724970"/>
                  <a:pt x="638278" y="749680"/>
                  <a:pt x="638278" y="780161"/>
                </a:cubicBezTo>
                <a:cubicBezTo>
                  <a:pt x="638278" y="810642"/>
                  <a:pt x="613567" y="835352"/>
                  <a:pt x="583085" y="835352"/>
                </a:cubicBezTo>
                <a:cubicBezTo>
                  <a:pt x="552602" y="835352"/>
                  <a:pt x="527891" y="810642"/>
                  <a:pt x="527891" y="780161"/>
                </a:cubicBezTo>
                <a:cubicBezTo>
                  <a:pt x="527891" y="749680"/>
                  <a:pt x="552602" y="724970"/>
                  <a:pt x="583085" y="724970"/>
                </a:cubicBezTo>
                <a:close/>
                <a:moveTo>
                  <a:pt x="449437" y="724970"/>
                </a:moveTo>
                <a:cubicBezTo>
                  <a:pt x="479919" y="724970"/>
                  <a:pt x="504629" y="749680"/>
                  <a:pt x="504629" y="780161"/>
                </a:cubicBezTo>
                <a:cubicBezTo>
                  <a:pt x="504629" y="810642"/>
                  <a:pt x="479919" y="835352"/>
                  <a:pt x="449437" y="835352"/>
                </a:cubicBezTo>
                <a:cubicBezTo>
                  <a:pt x="418954" y="835352"/>
                  <a:pt x="394244" y="810642"/>
                  <a:pt x="394244" y="780161"/>
                </a:cubicBezTo>
                <a:cubicBezTo>
                  <a:pt x="394244" y="749680"/>
                  <a:pt x="418954" y="724970"/>
                  <a:pt x="449437" y="724970"/>
                </a:cubicBezTo>
                <a:close/>
                <a:moveTo>
                  <a:pt x="319140" y="724970"/>
                </a:moveTo>
                <a:cubicBezTo>
                  <a:pt x="349624" y="724970"/>
                  <a:pt x="374334" y="749680"/>
                  <a:pt x="374334" y="780161"/>
                </a:cubicBezTo>
                <a:cubicBezTo>
                  <a:pt x="374334" y="810642"/>
                  <a:pt x="349624" y="835352"/>
                  <a:pt x="319140" y="835352"/>
                </a:cubicBezTo>
                <a:cubicBezTo>
                  <a:pt x="288658" y="835352"/>
                  <a:pt x="263948" y="810642"/>
                  <a:pt x="263948" y="780161"/>
                </a:cubicBezTo>
                <a:cubicBezTo>
                  <a:pt x="263948" y="749680"/>
                  <a:pt x="288658" y="724970"/>
                  <a:pt x="319140" y="724970"/>
                </a:cubicBezTo>
                <a:close/>
                <a:moveTo>
                  <a:pt x="185509" y="724970"/>
                </a:moveTo>
                <a:cubicBezTo>
                  <a:pt x="215993" y="724970"/>
                  <a:pt x="240701" y="749680"/>
                  <a:pt x="240701" y="780161"/>
                </a:cubicBezTo>
                <a:cubicBezTo>
                  <a:pt x="240701" y="810642"/>
                  <a:pt x="215993" y="835352"/>
                  <a:pt x="185509" y="835352"/>
                </a:cubicBezTo>
                <a:cubicBezTo>
                  <a:pt x="155029" y="835352"/>
                  <a:pt x="130319" y="810642"/>
                  <a:pt x="130319" y="780161"/>
                </a:cubicBezTo>
                <a:cubicBezTo>
                  <a:pt x="130319" y="749680"/>
                  <a:pt x="155029" y="724970"/>
                  <a:pt x="185509" y="724970"/>
                </a:cubicBezTo>
                <a:close/>
                <a:moveTo>
                  <a:pt x="8801538" y="608039"/>
                </a:moveTo>
                <a:cubicBezTo>
                  <a:pt x="8832020" y="608039"/>
                  <a:pt x="8856730" y="632749"/>
                  <a:pt x="8856730" y="663230"/>
                </a:cubicBezTo>
                <a:cubicBezTo>
                  <a:pt x="8856730" y="693711"/>
                  <a:pt x="8832020" y="718421"/>
                  <a:pt x="8801538" y="718421"/>
                </a:cubicBezTo>
                <a:cubicBezTo>
                  <a:pt x="8771056" y="718421"/>
                  <a:pt x="8746346" y="693711"/>
                  <a:pt x="8746346" y="663230"/>
                </a:cubicBezTo>
                <a:cubicBezTo>
                  <a:pt x="8746346" y="632749"/>
                  <a:pt x="8771056" y="608039"/>
                  <a:pt x="8801538" y="608039"/>
                </a:cubicBezTo>
                <a:close/>
                <a:moveTo>
                  <a:pt x="8671244" y="608039"/>
                </a:moveTo>
                <a:cubicBezTo>
                  <a:pt x="8701726" y="608039"/>
                  <a:pt x="8726436" y="632749"/>
                  <a:pt x="8726436" y="663230"/>
                </a:cubicBezTo>
                <a:cubicBezTo>
                  <a:pt x="8726436" y="693711"/>
                  <a:pt x="8701726" y="718421"/>
                  <a:pt x="8671244" y="718421"/>
                </a:cubicBezTo>
                <a:cubicBezTo>
                  <a:pt x="8640762" y="718421"/>
                  <a:pt x="8616052" y="693711"/>
                  <a:pt x="8616052" y="663230"/>
                </a:cubicBezTo>
                <a:cubicBezTo>
                  <a:pt x="8616052" y="632749"/>
                  <a:pt x="8640762" y="608039"/>
                  <a:pt x="8671244" y="608039"/>
                </a:cubicBezTo>
                <a:close/>
                <a:moveTo>
                  <a:pt x="8537609" y="608039"/>
                </a:moveTo>
                <a:cubicBezTo>
                  <a:pt x="8568091" y="608039"/>
                  <a:pt x="8592801" y="632749"/>
                  <a:pt x="8592801" y="663230"/>
                </a:cubicBezTo>
                <a:cubicBezTo>
                  <a:pt x="8592801" y="693711"/>
                  <a:pt x="8568091" y="718421"/>
                  <a:pt x="8537609" y="718421"/>
                </a:cubicBezTo>
                <a:cubicBezTo>
                  <a:pt x="8507127" y="718421"/>
                  <a:pt x="8482417" y="693711"/>
                  <a:pt x="8482417" y="663230"/>
                </a:cubicBezTo>
                <a:cubicBezTo>
                  <a:pt x="8482417" y="632749"/>
                  <a:pt x="8507127" y="608039"/>
                  <a:pt x="8537609" y="608039"/>
                </a:cubicBezTo>
                <a:close/>
                <a:moveTo>
                  <a:pt x="8407318" y="608039"/>
                </a:moveTo>
                <a:cubicBezTo>
                  <a:pt x="8437800" y="608039"/>
                  <a:pt x="8462510" y="632749"/>
                  <a:pt x="8462510" y="663230"/>
                </a:cubicBezTo>
                <a:cubicBezTo>
                  <a:pt x="8462510" y="693711"/>
                  <a:pt x="8437800" y="718421"/>
                  <a:pt x="8407318" y="718421"/>
                </a:cubicBezTo>
                <a:cubicBezTo>
                  <a:pt x="8376836" y="718421"/>
                  <a:pt x="8352126" y="693711"/>
                  <a:pt x="8352126" y="663230"/>
                </a:cubicBezTo>
                <a:cubicBezTo>
                  <a:pt x="8352126" y="632749"/>
                  <a:pt x="8376836" y="608039"/>
                  <a:pt x="8407318" y="608039"/>
                </a:cubicBezTo>
                <a:close/>
                <a:moveTo>
                  <a:pt x="8273682" y="608039"/>
                </a:moveTo>
                <a:cubicBezTo>
                  <a:pt x="8304164" y="608039"/>
                  <a:pt x="8328874" y="632749"/>
                  <a:pt x="8328874" y="663230"/>
                </a:cubicBezTo>
                <a:cubicBezTo>
                  <a:pt x="8328874" y="693711"/>
                  <a:pt x="8304164" y="718421"/>
                  <a:pt x="8273682" y="718421"/>
                </a:cubicBezTo>
                <a:cubicBezTo>
                  <a:pt x="8243200" y="718421"/>
                  <a:pt x="8218490" y="693711"/>
                  <a:pt x="8218490" y="663230"/>
                </a:cubicBezTo>
                <a:cubicBezTo>
                  <a:pt x="8218490" y="632749"/>
                  <a:pt x="8243200" y="608039"/>
                  <a:pt x="8273682" y="608039"/>
                </a:cubicBezTo>
                <a:close/>
                <a:moveTo>
                  <a:pt x="8143386" y="608039"/>
                </a:moveTo>
                <a:cubicBezTo>
                  <a:pt x="8173868" y="608039"/>
                  <a:pt x="8198578" y="632749"/>
                  <a:pt x="8198578" y="663230"/>
                </a:cubicBezTo>
                <a:cubicBezTo>
                  <a:pt x="8198578" y="693711"/>
                  <a:pt x="8173868" y="718421"/>
                  <a:pt x="8143386" y="718421"/>
                </a:cubicBezTo>
                <a:cubicBezTo>
                  <a:pt x="8112904" y="718421"/>
                  <a:pt x="8088194" y="693711"/>
                  <a:pt x="8088194" y="663230"/>
                </a:cubicBezTo>
                <a:cubicBezTo>
                  <a:pt x="8088194" y="632749"/>
                  <a:pt x="8112904" y="608039"/>
                  <a:pt x="8143386" y="608039"/>
                </a:cubicBezTo>
                <a:close/>
                <a:moveTo>
                  <a:pt x="8009753" y="608039"/>
                </a:moveTo>
                <a:cubicBezTo>
                  <a:pt x="8040235" y="608039"/>
                  <a:pt x="8064945" y="632749"/>
                  <a:pt x="8064945" y="663230"/>
                </a:cubicBezTo>
                <a:cubicBezTo>
                  <a:pt x="8064945" y="693711"/>
                  <a:pt x="8040235" y="718421"/>
                  <a:pt x="8009753" y="718421"/>
                </a:cubicBezTo>
                <a:cubicBezTo>
                  <a:pt x="7979271" y="718421"/>
                  <a:pt x="7954561" y="693711"/>
                  <a:pt x="7954561" y="663230"/>
                </a:cubicBezTo>
                <a:cubicBezTo>
                  <a:pt x="7954561" y="632749"/>
                  <a:pt x="7979271" y="608039"/>
                  <a:pt x="8009753" y="608039"/>
                </a:cubicBezTo>
                <a:close/>
                <a:moveTo>
                  <a:pt x="7876118" y="608039"/>
                </a:moveTo>
                <a:cubicBezTo>
                  <a:pt x="7906600" y="608039"/>
                  <a:pt x="7931310" y="632749"/>
                  <a:pt x="7931310" y="663230"/>
                </a:cubicBezTo>
                <a:cubicBezTo>
                  <a:pt x="7931310" y="693711"/>
                  <a:pt x="7906600" y="718421"/>
                  <a:pt x="7876118" y="718421"/>
                </a:cubicBezTo>
                <a:cubicBezTo>
                  <a:pt x="7845636" y="718421"/>
                  <a:pt x="7820926" y="693711"/>
                  <a:pt x="7820926" y="663230"/>
                </a:cubicBezTo>
                <a:cubicBezTo>
                  <a:pt x="7820926" y="632749"/>
                  <a:pt x="7845636" y="608039"/>
                  <a:pt x="7876118" y="608039"/>
                </a:cubicBezTo>
                <a:close/>
                <a:moveTo>
                  <a:pt x="7745824" y="608039"/>
                </a:moveTo>
                <a:cubicBezTo>
                  <a:pt x="7776306" y="608039"/>
                  <a:pt x="7801016" y="632749"/>
                  <a:pt x="7801016" y="663230"/>
                </a:cubicBezTo>
                <a:cubicBezTo>
                  <a:pt x="7801016" y="693711"/>
                  <a:pt x="7776306" y="718421"/>
                  <a:pt x="7745824" y="718421"/>
                </a:cubicBezTo>
                <a:cubicBezTo>
                  <a:pt x="7715342" y="718421"/>
                  <a:pt x="7690632" y="693711"/>
                  <a:pt x="7690632" y="663230"/>
                </a:cubicBezTo>
                <a:cubicBezTo>
                  <a:pt x="7690632" y="632749"/>
                  <a:pt x="7715342" y="608039"/>
                  <a:pt x="7745824" y="608039"/>
                </a:cubicBezTo>
                <a:close/>
                <a:moveTo>
                  <a:pt x="7608850" y="608039"/>
                </a:moveTo>
                <a:cubicBezTo>
                  <a:pt x="7639332" y="608039"/>
                  <a:pt x="7664042" y="632749"/>
                  <a:pt x="7664042" y="663230"/>
                </a:cubicBezTo>
                <a:cubicBezTo>
                  <a:pt x="7664042" y="693711"/>
                  <a:pt x="7639332" y="718421"/>
                  <a:pt x="7608850" y="718421"/>
                </a:cubicBezTo>
                <a:cubicBezTo>
                  <a:pt x="7578368" y="718421"/>
                  <a:pt x="7553658" y="693711"/>
                  <a:pt x="7553658" y="663230"/>
                </a:cubicBezTo>
                <a:cubicBezTo>
                  <a:pt x="7553658" y="632749"/>
                  <a:pt x="7578368" y="608039"/>
                  <a:pt x="7608850" y="608039"/>
                </a:cubicBezTo>
                <a:close/>
                <a:moveTo>
                  <a:pt x="7481895" y="608039"/>
                </a:moveTo>
                <a:cubicBezTo>
                  <a:pt x="7512377" y="608039"/>
                  <a:pt x="7537087" y="632749"/>
                  <a:pt x="7537087" y="663230"/>
                </a:cubicBezTo>
                <a:cubicBezTo>
                  <a:pt x="7537087" y="693711"/>
                  <a:pt x="7512377" y="718421"/>
                  <a:pt x="7481895" y="718421"/>
                </a:cubicBezTo>
                <a:cubicBezTo>
                  <a:pt x="7451413" y="718421"/>
                  <a:pt x="7426703" y="693711"/>
                  <a:pt x="7426703" y="663230"/>
                </a:cubicBezTo>
                <a:cubicBezTo>
                  <a:pt x="7426703" y="632749"/>
                  <a:pt x="7451413" y="608039"/>
                  <a:pt x="7481895" y="608039"/>
                </a:cubicBezTo>
                <a:close/>
                <a:moveTo>
                  <a:pt x="7341579" y="608039"/>
                </a:moveTo>
                <a:cubicBezTo>
                  <a:pt x="7372061" y="608039"/>
                  <a:pt x="7396771" y="632749"/>
                  <a:pt x="7396771" y="663230"/>
                </a:cubicBezTo>
                <a:cubicBezTo>
                  <a:pt x="7396771" y="693711"/>
                  <a:pt x="7372061" y="718421"/>
                  <a:pt x="7341579" y="718421"/>
                </a:cubicBezTo>
                <a:cubicBezTo>
                  <a:pt x="7311097" y="718421"/>
                  <a:pt x="7286387" y="693711"/>
                  <a:pt x="7286387" y="663230"/>
                </a:cubicBezTo>
                <a:cubicBezTo>
                  <a:pt x="7286387" y="632749"/>
                  <a:pt x="7311097" y="608039"/>
                  <a:pt x="7341579" y="608039"/>
                </a:cubicBezTo>
                <a:close/>
                <a:moveTo>
                  <a:pt x="7211286" y="608039"/>
                </a:moveTo>
                <a:cubicBezTo>
                  <a:pt x="7241768" y="608039"/>
                  <a:pt x="7266478" y="632749"/>
                  <a:pt x="7266478" y="663230"/>
                </a:cubicBezTo>
                <a:cubicBezTo>
                  <a:pt x="7266478" y="693711"/>
                  <a:pt x="7241768" y="718421"/>
                  <a:pt x="7211286" y="718421"/>
                </a:cubicBezTo>
                <a:cubicBezTo>
                  <a:pt x="7180804" y="718421"/>
                  <a:pt x="7156094" y="693711"/>
                  <a:pt x="7156094" y="663230"/>
                </a:cubicBezTo>
                <a:cubicBezTo>
                  <a:pt x="7156094" y="632749"/>
                  <a:pt x="7180804" y="608039"/>
                  <a:pt x="7211286" y="608039"/>
                </a:cubicBezTo>
                <a:close/>
                <a:moveTo>
                  <a:pt x="7080994" y="608039"/>
                </a:moveTo>
                <a:cubicBezTo>
                  <a:pt x="7111476" y="608039"/>
                  <a:pt x="7136186" y="632749"/>
                  <a:pt x="7136186" y="663230"/>
                </a:cubicBezTo>
                <a:cubicBezTo>
                  <a:pt x="7136186" y="693711"/>
                  <a:pt x="7111476" y="718421"/>
                  <a:pt x="7080994" y="718421"/>
                </a:cubicBezTo>
                <a:cubicBezTo>
                  <a:pt x="7050512" y="718421"/>
                  <a:pt x="7025802" y="693711"/>
                  <a:pt x="7025802" y="663230"/>
                </a:cubicBezTo>
                <a:cubicBezTo>
                  <a:pt x="7025802" y="632749"/>
                  <a:pt x="7050512" y="608039"/>
                  <a:pt x="7080994" y="608039"/>
                </a:cubicBezTo>
                <a:close/>
                <a:moveTo>
                  <a:pt x="6947358" y="608039"/>
                </a:moveTo>
                <a:cubicBezTo>
                  <a:pt x="6977840" y="608039"/>
                  <a:pt x="7002550" y="632749"/>
                  <a:pt x="7002550" y="663230"/>
                </a:cubicBezTo>
                <a:cubicBezTo>
                  <a:pt x="7002550" y="693711"/>
                  <a:pt x="6977840" y="718421"/>
                  <a:pt x="6947358" y="718421"/>
                </a:cubicBezTo>
                <a:cubicBezTo>
                  <a:pt x="6916876" y="718421"/>
                  <a:pt x="6892166" y="693711"/>
                  <a:pt x="6892166" y="663230"/>
                </a:cubicBezTo>
                <a:cubicBezTo>
                  <a:pt x="6892166" y="632749"/>
                  <a:pt x="6916876" y="608039"/>
                  <a:pt x="6947358" y="608039"/>
                </a:cubicBezTo>
                <a:close/>
                <a:moveTo>
                  <a:pt x="6817064" y="608039"/>
                </a:moveTo>
                <a:cubicBezTo>
                  <a:pt x="6847546" y="608039"/>
                  <a:pt x="6872256" y="632749"/>
                  <a:pt x="6872256" y="663230"/>
                </a:cubicBezTo>
                <a:cubicBezTo>
                  <a:pt x="6872256" y="693711"/>
                  <a:pt x="6847546" y="718421"/>
                  <a:pt x="6817064" y="718421"/>
                </a:cubicBezTo>
                <a:cubicBezTo>
                  <a:pt x="6786582" y="718421"/>
                  <a:pt x="6761872" y="693711"/>
                  <a:pt x="6761872" y="663230"/>
                </a:cubicBezTo>
                <a:cubicBezTo>
                  <a:pt x="6761872" y="632749"/>
                  <a:pt x="6786582" y="608039"/>
                  <a:pt x="6817064" y="608039"/>
                </a:cubicBezTo>
                <a:close/>
                <a:moveTo>
                  <a:pt x="6683431" y="608039"/>
                </a:moveTo>
                <a:cubicBezTo>
                  <a:pt x="6713913" y="608039"/>
                  <a:pt x="6738623" y="632749"/>
                  <a:pt x="6738623" y="663230"/>
                </a:cubicBezTo>
                <a:cubicBezTo>
                  <a:pt x="6738623" y="693711"/>
                  <a:pt x="6713913" y="718421"/>
                  <a:pt x="6683431" y="718421"/>
                </a:cubicBezTo>
                <a:cubicBezTo>
                  <a:pt x="6652949" y="718421"/>
                  <a:pt x="6628239" y="693711"/>
                  <a:pt x="6628239" y="663230"/>
                </a:cubicBezTo>
                <a:cubicBezTo>
                  <a:pt x="6628239" y="632749"/>
                  <a:pt x="6652949" y="608039"/>
                  <a:pt x="6683431" y="608039"/>
                </a:cubicBezTo>
                <a:close/>
                <a:moveTo>
                  <a:pt x="6155573" y="608039"/>
                </a:moveTo>
                <a:cubicBezTo>
                  <a:pt x="6186055" y="608039"/>
                  <a:pt x="6210765" y="632749"/>
                  <a:pt x="6210765" y="663230"/>
                </a:cubicBezTo>
                <a:cubicBezTo>
                  <a:pt x="6210765" y="693711"/>
                  <a:pt x="6186055" y="718421"/>
                  <a:pt x="6155573" y="718421"/>
                </a:cubicBezTo>
                <a:cubicBezTo>
                  <a:pt x="6125091" y="718421"/>
                  <a:pt x="6100381" y="693711"/>
                  <a:pt x="6100381" y="663230"/>
                </a:cubicBezTo>
                <a:cubicBezTo>
                  <a:pt x="6100381" y="632749"/>
                  <a:pt x="6125091" y="608039"/>
                  <a:pt x="6155573" y="608039"/>
                </a:cubicBezTo>
                <a:close/>
                <a:moveTo>
                  <a:pt x="5487399" y="608039"/>
                </a:moveTo>
                <a:cubicBezTo>
                  <a:pt x="5517881" y="608039"/>
                  <a:pt x="5542591" y="632749"/>
                  <a:pt x="5542591" y="663230"/>
                </a:cubicBezTo>
                <a:cubicBezTo>
                  <a:pt x="5542591" y="693711"/>
                  <a:pt x="5517881" y="718421"/>
                  <a:pt x="5487399" y="718421"/>
                </a:cubicBezTo>
                <a:cubicBezTo>
                  <a:pt x="5456917" y="718421"/>
                  <a:pt x="5432207" y="693711"/>
                  <a:pt x="5432207" y="663230"/>
                </a:cubicBezTo>
                <a:cubicBezTo>
                  <a:pt x="5432207" y="632749"/>
                  <a:pt x="5456917" y="608039"/>
                  <a:pt x="5487399" y="608039"/>
                </a:cubicBezTo>
                <a:close/>
                <a:moveTo>
                  <a:pt x="5357106" y="608039"/>
                </a:moveTo>
                <a:cubicBezTo>
                  <a:pt x="5387588" y="608039"/>
                  <a:pt x="5412298" y="632749"/>
                  <a:pt x="5412298" y="663230"/>
                </a:cubicBezTo>
                <a:cubicBezTo>
                  <a:pt x="5412298" y="693711"/>
                  <a:pt x="5387588" y="718421"/>
                  <a:pt x="5357106" y="718421"/>
                </a:cubicBezTo>
                <a:cubicBezTo>
                  <a:pt x="5326624" y="718421"/>
                  <a:pt x="5301914" y="693711"/>
                  <a:pt x="5301914" y="663230"/>
                </a:cubicBezTo>
                <a:cubicBezTo>
                  <a:pt x="5301914" y="632749"/>
                  <a:pt x="5326624" y="608039"/>
                  <a:pt x="5357106" y="608039"/>
                </a:cubicBezTo>
                <a:close/>
                <a:moveTo>
                  <a:pt x="5223473" y="608038"/>
                </a:moveTo>
                <a:cubicBezTo>
                  <a:pt x="5253955" y="608038"/>
                  <a:pt x="5278665" y="632748"/>
                  <a:pt x="5278665" y="663229"/>
                </a:cubicBezTo>
                <a:cubicBezTo>
                  <a:pt x="5278665" y="693710"/>
                  <a:pt x="5253955" y="718420"/>
                  <a:pt x="5223473" y="718420"/>
                </a:cubicBezTo>
                <a:cubicBezTo>
                  <a:pt x="5192991" y="718420"/>
                  <a:pt x="5168281" y="693710"/>
                  <a:pt x="5168281" y="663229"/>
                </a:cubicBezTo>
                <a:cubicBezTo>
                  <a:pt x="5168281" y="632748"/>
                  <a:pt x="5192991" y="608038"/>
                  <a:pt x="5223473" y="608038"/>
                </a:cubicBezTo>
                <a:close/>
                <a:moveTo>
                  <a:pt x="4030786" y="608038"/>
                </a:moveTo>
                <a:cubicBezTo>
                  <a:pt x="4061268" y="608038"/>
                  <a:pt x="4085978" y="632748"/>
                  <a:pt x="4085978" y="663229"/>
                </a:cubicBezTo>
                <a:cubicBezTo>
                  <a:pt x="4085978" y="693710"/>
                  <a:pt x="4061268" y="718420"/>
                  <a:pt x="4030786" y="718420"/>
                </a:cubicBezTo>
                <a:cubicBezTo>
                  <a:pt x="4000304" y="718420"/>
                  <a:pt x="3975594" y="693710"/>
                  <a:pt x="3975594" y="663229"/>
                </a:cubicBezTo>
                <a:cubicBezTo>
                  <a:pt x="3975594" y="632748"/>
                  <a:pt x="4000304" y="608038"/>
                  <a:pt x="4030786" y="608038"/>
                </a:cubicBezTo>
                <a:close/>
                <a:moveTo>
                  <a:pt x="3897148" y="608038"/>
                </a:moveTo>
                <a:cubicBezTo>
                  <a:pt x="3927630" y="608038"/>
                  <a:pt x="3952340" y="632748"/>
                  <a:pt x="3952340" y="663229"/>
                </a:cubicBezTo>
                <a:cubicBezTo>
                  <a:pt x="3952340" y="693710"/>
                  <a:pt x="3927630" y="718420"/>
                  <a:pt x="3897148" y="718420"/>
                </a:cubicBezTo>
                <a:cubicBezTo>
                  <a:pt x="3866666" y="718420"/>
                  <a:pt x="3841956" y="693710"/>
                  <a:pt x="3841956" y="663229"/>
                </a:cubicBezTo>
                <a:cubicBezTo>
                  <a:pt x="3841956" y="632748"/>
                  <a:pt x="3866666" y="608038"/>
                  <a:pt x="3897148" y="608038"/>
                </a:cubicBezTo>
                <a:close/>
                <a:moveTo>
                  <a:pt x="3763514" y="608038"/>
                </a:moveTo>
                <a:cubicBezTo>
                  <a:pt x="3793996" y="608038"/>
                  <a:pt x="3818706" y="632748"/>
                  <a:pt x="3818706" y="663229"/>
                </a:cubicBezTo>
                <a:cubicBezTo>
                  <a:pt x="3818706" y="693710"/>
                  <a:pt x="3793996" y="718420"/>
                  <a:pt x="3763514" y="718420"/>
                </a:cubicBezTo>
                <a:cubicBezTo>
                  <a:pt x="3733032" y="718420"/>
                  <a:pt x="3708322" y="693710"/>
                  <a:pt x="3708322" y="663229"/>
                </a:cubicBezTo>
                <a:cubicBezTo>
                  <a:pt x="3708322" y="632748"/>
                  <a:pt x="3733032" y="608038"/>
                  <a:pt x="3763514" y="608038"/>
                </a:cubicBezTo>
                <a:close/>
                <a:moveTo>
                  <a:pt x="3633221" y="608038"/>
                </a:moveTo>
                <a:cubicBezTo>
                  <a:pt x="3663703" y="608038"/>
                  <a:pt x="3688413" y="632748"/>
                  <a:pt x="3688413" y="663229"/>
                </a:cubicBezTo>
                <a:cubicBezTo>
                  <a:pt x="3688413" y="693710"/>
                  <a:pt x="3663703" y="718420"/>
                  <a:pt x="3633221" y="718420"/>
                </a:cubicBezTo>
                <a:cubicBezTo>
                  <a:pt x="3602739" y="718420"/>
                  <a:pt x="3578029" y="693710"/>
                  <a:pt x="3578029" y="663229"/>
                </a:cubicBezTo>
                <a:cubicBezTo>
                  <a:pt x="3578029" y="632748"/>
                  <a:pt x="3602739" y="608038"/>
                  <a:pt x="3633221" y="608038"/>
                </a:cubicBezTo>
                <a:close/>
                <a:moveTo>
                  <a:pt x="3499589" y="608038"/>
                </a:moveTo>
                <a:cubicBezTo>
                  <a:pt x="3530071" y="608038"/>
                  <a:pt x="3554781" y="632748"/>
                  <a:pt x="3554781" y="663229"/>
                </a:cubicBezTo>
                <a:cubicBezTo>
                  <a:pt x="3554781" y="693710"/>
                  <a:pt x="3530071" y="718420"/>
                  <a:pt x="3499589" y="718420"/>
                </a:cubicBezTo>
                <a:cubicBezTo>
                  <a:pt x="3469107" y="718420"/>
                  <a:pt x="3444397" y="693710"/>
                  <a:pt x="3444397" y="663229"/>
                </a:cubicBezTo>
                <a:cubicBezTo>
                  <a:pt x="3444397" y="632748"/>
                  <a:pt x="3469107" y="608038"/>
                  <a:pt x="3499589" y="608038"/>
                </a:cubicBezTo>
                <a:close/>
                <a:moveTo>
                  <a:pt x="3369292" y="608038"/>
                </a:moveTo>
                <a:cubicBezTo>
                  <a:pt x="3399774" y="608038"/>
                  <a:pt x="3424484" y="632748"/>
                  <a:pt x="3424484" y="663229"/>
                </a:cubicBezTo>
                <a:cubicBezTo>
                  <a:pt x="3424484" y="693710"/>
                  <a:pt x="3399774" y="718420"/>
                  <a:pt x="3369292" y="718420"/>
                </a:cubicBezTo>
                <a:cubicBezTo>
                  <a:pt x="3338810" y="718420"/>
                  <a:pt x="3314100" y="693710"/>
                  <a:pt x="3314100" y="663229"/>
                </a:cubicBezTo>
                <a:cubicBezTo>
                  <a:pt x="3314100" y="632748"/>
                  <a:pt x="3338810" y="608038"/>
                  <a:pt x="3369292" y="608038"/>
                </a:cubicBezTo>
                <a:close/>
                <a:moveTo>
                  <a:pt x="3235657" y="608038"/>
                </a:moveTo>
                <a:cubicBezTo>
                  <a:pt x="3266139" y="608038"/>
                  <a:pt x="3290849" y="632748"/>
                  <a:pt x="3290849" y="663229"/>
                </a:cubicBezTo>
                <a:cubicBezTo>
                  <a:pt x="3290849" y="693710"/>
                  <a:pt x="3266139" y="718420"/>
                  <a:pt x="3235657" y="718420"/>
                </a:cubicBezTo>
                <a:cubicBezTo>
                  <a:pt x="3205175" y="718420"/>
                  <a:pt x="3180465" y="693710"/>
                  <a:pt x="3180465" y="663229"/>
                </a:cubicBezTo>
                <a:cubicBezTo>
                  <a:pt x="3180465" y="632748"/>
                  <a:pt x="3205175" y="608038"/>
                  <a:pt x="3235657" y="608038"/>
                </a:cubicBezTo>
                <a:close/>
                <a:moveTo>
                  <a:pt x="2570932" y="608038"/>
                </a:moveTo>
                <a:cubicBezTo>
                  <a:pt x="2601414" y="608038"/>
                  <a:pt x="2626123" y="632748"/>
                  <a:pt x="2626123" y="663229"/>
                </a:cubicBezTo>
                <a:cubicBezTo>
                  <a:pt x="2626123" y="693710"/>
                  <a:pt x="2601414" y="718420"/>
                  <a:pt x="2570932" y="718420"/>
                </a:cubicBezTo>
                <a:cubicBezTo>
                  <a:pt x="2540449" y="718420"/>
                  <a:pt x="2515738" y="693710"/>
                  <a:pt x="2515738" y="663229"/>
                </a:cubicBezTo>
                <a:cubicBezTo>
                  <a:pt x="2515738" y="632748"/>
                  <a:pt x="2540449" y="608038"/>
                  <a:pt x="2570932" y="608038"/>
                </a:cubicBezTo>
                <a:close/>
                <a:moveTo>
                  <a:pt x="2437297" y="608038"/>
                </a:moveTo>
                <a:cubicBezTo>
                  <a:pt x="2467779" y="608038"/>
                  <a:pt x="2492487" y="632748"/>
                  <a:pt x="2492487" y="663229"/>
                </a:cubicBezTo>
                <a:cubicBezTo>
                  <a:pt x="2492487" y="693710"/>
                  <a:pt x="2467779" y="718420"/>
                  <a:pt x="2437297" y="718420"/>
                </a:cubicBezTo>
                <a:cubicBezTo>
                  <a:pt x="2406818" y="718420"/>
                  <a:pt x="2382108" y="693710"/>
                  <a:pt x="2382108" y="663229"/>
                </a:cubicBezTo>
                <a:cubicBezTo>
                  <a:pt x="2382108" y="632748"/>
                  <a:pt x="2406818" y="608038"/>
                  <a:pt x="2437297" y="608038"/>
                </a:cubicBezTo>
                <a:close/>
                <a:moveTo>
                  <a:pt x="2303664" y="608038"/>
                </a:moveTo>
                <a:cubicBezTo>
                  <a:pt x="2334145" y="608038"/>
                  <a:pt x="2358856" y="632748"/>
                  <a:pt x="2358856" y="663229"/>
                </a:cubicBezTo>
                <a:cubicBezTo>
                  <a:pt x="2358856" y="693710"/>
                  <a:pt x="2334145" y="718420"/>
                  <a:pt x="2303664" y="718420"/>
                </a:cubicBezTo>
                <a:cubicBezTo>
                  <a:pt x="2273182" y="718420"/>
                  <a:pt x="2248473" y="693710"/>
                  <a:pt x="2248473" y="663229"/>
                </a:cubicBezTo>
                <a:cubicBezTo>
                  <a:pt x="2248473" y="632748"/>
                  <a:pt x="2273182" y="608038"/>
                  <a:pt x="2303664" y="608038"/>
                </a:cubicBezTo>
                <a:close/>
                <a:moveTo>
                  <a:pt x="2173372" y="608038"/>
                </a:moveTo>
                <a:cubicBezTo>
                  <a:pt x="2203854" y="608038"/>
                  <a:pt x="2228565" y="632748"/>
                  <a:pt x="2228565" y="663229"/>
                </a:cubicBezTo>
                <a:cubicBezTo>
                  <a:pt x="2228565" y="693710"/>
                  <a:pt x="2203854" y="718420"/>
                  <a:pt x="2173372" y="718420"/>
                </a:cubicBezTo>
                <a:cubicBezTo>
                  <a:pt x="2142889" y="718420"/>
                  <a:pt x="2118180" y="693710"/>
                  <a:pt x="2118180" y="663229"/>
                </a:cubicBezTo>
                <a:cubicBezTo>
                  <a:pt x="2118180" y="632748"/>
                  <a:pt x="2142889" y="608038"/>
                  <a:pt x="2173372" y="608038"/>
                </a:cubicBezTo>
                <a:close/>
                <a:moveTo>
                  <a:pt x="2039736" y="608038"/>
                </a:moveTo>
                <a:cubicBezTo>
                  <a:pt x="2070218" y="608038"/>
                  <a:pt x="2094930" y="632748"/>
                  <a:pt x="2094930" y="663229"/>
                </a:cubicBezTo>
                <a:cubicBezTo>
                  <a:pt x="2094930" y="693710"/>
                  <a:pt x="2070218" y="718420"/>
                  <a:pt x="2039736" y="718420"/>
                </a:cubicBezTo>
                <a:cubicBezTo>
                  <a:pt x="2009254" y="718420"/>
                  <a:pt x="1984543" y="693710"/>
                  <a:pt x="1984543" y="663229"/>
                </a:cubicBezTo>
                <a:cubicBezTo>
                  <a:pt x="1984543" y="632748"/>
                  <a:pt x="2009254" y="608038"/>
                  <a:pt x="2039736" y="608038"/>
                </a:cubicBezTo>
                <a:close/>
                <a:moveTo>
                  <a:pt x="1909437" y="608038"/>
                </a:moveTo>
                <a:cubicBezTo>
                  <a:pt x="1939921" y="608038"/>
                  <a:pt x="1964630" y="632748"/>
                  <a:pt x="1964630" y="663229"/>
                </a:cubicBezTo>
                <a:cubicBezTo>
                  <a:pt x="1964630" y="693710"/>
                  <a:pt x="1939921" y="718420"/>
                  <a:pt x="1909437" y="718420"/>
                </a:cubicBezTo>
                <a:cubicBezTo>
                  <a:pt x="1878955" y="718420"/>
                  <a:pt x="1854244" y="693710"/>
                  <a:pt x="1854244" y="663229"/>
                </a:cubicBezTo>
                <a:cubicBezTo>
                  <a:pt x="1854244" y="632748"/>
                  <a:pt x="1878955" y="608038"/>
                  <a:pt x="1909437" y="608038"/>
                </a:cubicBezTo>
                <a:close/>
                <a:moveTo>
                  <a:pt x="1779142" y="608038"/>
                </a:moveTo>
                <a:cubicBezTo>
                  <a:pt x="1809626" y="608038"/>
                  <a:pt x="1834335" y="632748"/>
                  <a:pt x="1834335" y="663229"/>
                </a:cubicBezTo>
                <a:cubicBezTo>
                  <a:pt x="1834335" y="693710"/>
                  <a:pt x="1809626" y="718420"/>
                  <a:pt x="1779142" y="718420"/>
                </a:cubicBezTo>
                <a:cubicBezTo>
                  <a:pt x="1748663" y="718420"/>
                  <a:pt x="1723950" y="693710"/>
                  <a:pt x="1723950" y="663229"/>
                </a:cubicBezTo>
                <a:cubicBezTo>
                  <a:pt x="1723950" y="632748"/>
                  <a:pt x="1748663" y="608038"/>
                  <a:pt x="1779142" y="608038"/>
                </a:cubicBezTo>
                <a:close/>
                <a:moveTo>
                  <a:pt x="1645508" y="608038"/>
                </a:moveTo>
                <a:cubicBezTo>
                  <a:pt x="1675988" y="608038"/>
                  <a:pt x="1700702" y="632748"/>
                  <a:pt x="1700702" y="663229"/>
                </a:cubicBezTo>
                <a:cubicBezTo>
                  <a:pt x="1700702" y="693710"/>
                  <a:pt x="1675988" y="718420"/>
                  <a:pt x="1645508" y="718420"/>
                </a:cubicBezTo>
                <a:cubicBezTo>
                  <a:pt x="1615024" y="718420"/>
                  <a:pt x="1590311" y="693710"/>
                  <a:pt x="1590311" y="663229"/>
                </a:cubicBezTo>
                <a:cubicBezTo>
                  <a:pt x="1590311" y="632748"/>
                  <a:pt x="1615024" y="608038"/>
                  <a:pt x="1645508" y="608038"/>
                </a:cubicBezTo>
                <a:close/>
                <a:moveTo>
                  <a:pt x="1515217" y="608038"/>
                </a:moveTo>
                <a:cubicBezTo>
                  <a:pt x="1545695" y="608038"/>
                  <a:pt x="1570402" y="632748"/>
                  <a:pt x="1570402" y="663229"/>
                </a:cubicBezTo>
                <a:cubicBezTo>
                  <a:pt x="1570402" y="693710"/>
                  <a:pt x="1545695" y="718420"/>
                  <a:pt x="1515217" y="718420"/>
                </a:cubicBezTo>
                <a:cubicBezTo>
                  <a:pt x="1484732" y="718420"/>
                  <a:pt x="1460020" y="693710"/>
                  <a:pt x="1460020" y="663229"/>
                </a:cubicBezTo>
                <a:cubicBezTo>
                  <a:pt x="1460020" y="632748"/>
                  <a:pt x="1484732" y="608038"/>
                  <a:pt x="1515217" y="608038"/>
                </a:cubicBezTo>
                <a:close/>
                <a:moveTo>
                  <a:pt x="1381573" y="608038"/>
                </a:moveTo>
                <a:cubicBezTo>
                  <a:pt x="1412057" y="608038"/>
                  <a:pt x="1436767" y="632748"/>
                  <a:pt x="1436767" y="663229"/>
                </a:cubicBezTo>
                <a:cubicBezTo>
                  <a:pt x="1436767" y="693710"/>
                  <a:pt x="1412057" y="718420"/>
                  <a:pt x="1381573" y="718420"/>
                </a:cubicBezTo>
                <a:cubicBezTo>
                  <a:pt x="1351097" y="718420"/>
                  <a:pt x="1326384" y="693710"/>
                  <a:pt x="1326384" y="663229"/>
                </a:cubicBezTo>
                <a:cubicBezTo>
                  <a:pt x="1326384" y="632748"/>
                  <a:pt x="1351097" y="608038"/>
                  <a:pt x="1381573" y="608038"/>
                </a:cubicBezTo>
                <a:close/>
                <a:moveTo>
                  <a:pt x="1251282" y="608038"/>
                </a:moveTo>
                <a:cubicBezTo>
                  <a:pt x="1281766" y="608038"/>
                  <a:pt x="1306476" y="632748"/>
                  <a:pt x="1306476" y="663229"/>
                </a:cubicBezTo>
                <a:cubicBezTo>
                  <a:pt x="1306476" y="693710"/>
                  <a:pt x="1281766" y="718420"/>
                  <a:pt x="1251282" y="718420"/>
                </a:cubicBezTo>
                <a:cubicBezTo>
                  <a:pt x="1220801" y="718420"/>
                  <a:pt x="1196089" y="693710"/>
                  <a:pt x="1196089" y="663229"/>
                </a:cubicBezTo>
                <a:cubicBezTo>
                  <a:pt x="1196089" y="632748"/>
                  <a:pt x="1220801" y="608038"/>
                  <a:pt x="1251282" y="608038"/>
                </a:cubicBezTo>
                <a:close/>
                <a:moveTo>
                  <a:pt x="8143386" y="494447"/>
                </a:moveTo>
                <a:cubicBezTo>
                  <a:pt x="8173868" y="494447"/>
                  <a:pt x="8198578" y="519157"/>
                  <a:pt x="8198578" y="549638"/>
                </a:cubicBezTo>
                <a:cubicBezTo>
                  <a:pt x="8198578" y="580119"/>
                  <a:pt x="8173868" y="604829"/>
                  <a:pt x="8143386" y="604829"/>
                </a:cubicBezTo>
                <a:cubicBezTo>
                  <a:pt x="8112904" y="604829"/>
                  <a:pt x="8088194" y="580119"/>
                  <a:pt x="8088194" y="549638"/>
                </a:cubicBezTo>
                <a:cubicBezTo>
                  <a:pt x="8088194" y="519157"/>
                  <a:pt x="8112904" y="494447"/>
                  <a:pt x="8143386" y="494447"/>
                </a:cubicBezTo>
                <a:close/>
                <a:moveTo>
                  <a:pt x="8009753" y="494447"/>
                </a:moveTo>
                <a:cubicBezTo>
                  <a:pt x="8040235" y="494447"/>
                  <a:pt x="8064945" y="519157"/>
                  <a:pt x="8064945" y="549638"/>
                </a:cubicBezTo>
                <a:cubicBezTo>
                  <a:pt x="8064945" y="580119"/>
                  <a:pt x="8040235" y="604829"/>
                  <a:pt x="8009753" y="604829"/>
                </a:cubicBezTo>
                <a:cubicBezTo>
                  <a:pt x="7979271" y="604829"/>
                  <a:pt x="7954561" y="580119"/>
                  <a:pt x="7954561" y="549638"/>
                </a:cubicBezTo>
                <a:cubicBezTo>
                  <a:pt x="7954561" y="519157"/>
                  <a:pt x="7979271" y="494447"/>
                  <a:pt x="8009753" y="494447"/>
                </a:cubicBezTo>
                <a:close/>
                <a:moveTo>
                  <a:pt x="7876118" y="494447"/>
                </a:moveTo>
                <a:cubicBezTo>
                  <a:pt x="7906600" y="494447"/>
                  <a:pt x="7931310" y="519157"/>
                  <a:pt x="7931310" y="549638"/>
                </a:cubicBezTo>
                <a:cubicBezTo>
                  <a:pt x="7931310" y="580119"/>
                  <a:pt x="7906600" y="604829"/>
                  <a:pt x="7876118" y="604829"/>
                </a:cubicBezTo>
                <a:cubicBezTo>
                  <a:pt x="7845636" y="604829"/>
                  <a:pt x="7820926" y="580119"/>
                  <a:pt x="7820926" y="549638"/>
                </a:cubicBezTo>
                <a:cubicBezTo>
                  <a:pt x="7820926" y="519157"/>
                  <a:pt x="7845636" y="494447"/>
                  <a:pt x="7876118" y="494447"/>
                </a:cubicBezTo>
                <a:close/>
                <a:moveTo>
                  <a:pt x="7745824" y="494447"/>
                </a:moveTo>
                <a:cubicBezTo>
                  <a:pt x="7776306" y="494447"/>
                  <a:pt x="7801016" y="519157"/>
                  <a:pt x="7801016" y="549638"/>
                </a:cubicBezTo>
                <a:cubicBezTo>
                  <a:pt x="7801016" y="580119"/>
                  <a:pt x="7776306" y="604829"/>
                  <a:pt x="7745824" y="604829"/>
                </a:cubicBezTo>
                <a:cubicBezTo>
                  <a:pt x="7715342" y="604829"/>
                  <a:pt x="7690632" y="580119"/>
                  <a:pt x="7690632" y="549638"/>
                </a:cubicBezTo>
                <a:cubicBezTo>
                  <a:pt x="7690632" y="519157"/>
                  <a:pt x="7715342" y="494447"/>
                  <a:pt x="7745824" y="494447"/>
                </a:cubicBezTo>
                <a:close/>
                <a:moveTo>
                  <a:pt x="7608850" y="494447"/>
                </a:moveTo>
                <a:cubicBezTo>
                  <a:pt x="7639332" y="494447"/>
                  <a:pt x="7664042" y="519157"/>
                  <a:pt x="7664042" y="549638"/>
                </a:cubicBezTo>
                <a:cubicBezTo>
                  <a:pt x="7664042" y="580119"/>
                  <a:pt x="7639332" y="604829"/>
                  <a:pt x="7608850" y="604829"/>
                </a:cubicBezTo>
                <a:cubicBezTo>
                  <a:pt x="7578368" y="604829"/>
                  <a:pt x="7553658" y="580119"/>
                  <a:pt x="7553658" y="549638"/>
                </a:cubicBezTo>
                <a:cubicBezTo>
                  <a:pt x="7553658" y="519157"/>
                  <a:pt x="7578368" y="494447"/>
                  <a:pt x="7608850" y="494447"/>
                </a:cubicBezTo>
                <a:close/>
                <a:moveTo>
                  <a:pt x="7481895" y="494447"/>
                </a:moveTo>
                <a:cubicBezTo>
                  <a:pt x="7512377" y="494447"/>
                  <a:pt x="7537087" y="519157"/>
                  <a:pt x="7537087" y="549638"/>
                </a:cubicBezTo>
                <a:cubicBezTo>
                  <a:pt x="7537087" y="580119"/>
                  <a:pt x="7512377" y="604829"/>
                  <a:pt x="7481895" y="604829"/>
                </a:cubicBezTo>
                <a:cubicBezTo>
                  <a:pt x="7451413" y="604829"/>
                  <a:pt x="7426703" y="580119"/>
                  <a:pt x="7426703" y="549638"/>
                </a:cubicBezTo>
                <a:cubicBezTo>
                  <a:pt x="7426703" y="519157"/>
                  <a:pt x="7451413" y="494447"/>
                  <a:pt x="7481895" y="494447"/>
                </a:cubicBezTo>
                <a:close/>
                <a:moveTo>
                  <a:pt x="7341580" y="494447"/>
                </a:moveTo>
                <a:cubicBezTo>
                  <a:pt x="7372062" y="494447"/>
                  <a:pt x="7396772" y="519157"/>
                  <a:pt x="7396772" y="549638"/>
                </a:cubicBezTo>
                <a:cubicBezTo>
                  <a:pt x="7396772" y="580119"/>
                  <a:pt x="7372062" y="604829"/>
                  <a:pt x="7341580" y="604829"/>
                </a:cubicBezTo>
                <a:cubicBezTo>
                  <a:pt x="7311098" y="604829"/>
                  <a:pt x="7286388" y="580119"/>
                  <a:pt x="7286388" y="549638"/>
                </a:cubicBezTo>
                <a:cubicBezTo>
                  <a:pt x="7286388" y="519157"/>
                  <a:pt x="7311098" y="494447"/>
                  <a:pt x="7341580" y="494447"/>
                </a:cubicBezTo>
                <a:close/>
                <a:moveTo>
                  <a:pt x="7211286" y="494447"/>
                </a:moveTo>
                <a:cubicBezTo>
                  <a:pt x="7241768" y="494447"/>
                  <a:pt x="7266478" y="519157"/>
                  <a:pt x="7266478" y="549638"/>
                </a:cubicBezTo>
                <a:cubicBezTo>
                  <a:pt x="7266478" y="580119"/>
                  <a:pt x="7241768" y="604829"/>
                  <a:pt x="7211286" y="604829"/>
                </a:cubicBezTo>
                <a:cubicBezTo>
                  <a:pt x="7180804" y="604829"/>
                  <a:pt x="7156094" y="580119"/>
                  <a:pt x="7156094" y="549638"/>
                </a:cubicBezTo>
                <a:cubicBezTo>
                  <a:pt x="7156094" y="519157"/>
                  <a:pt x="7180804" y="494447"/>
                  <a:pt x="7211286" y="494447"/>
                </a:cubicBezTo>
                <a:close/>
                <a:moveTo>
                  <a:pt x="7080994" y="494447"/>
                </a:moveTo>
                <a:cubicBezTo>
                  <a:pt x="7111476" y="494447"/>
                  <a:pt x="7136186" y="519157"/>
                  <a:pt x="7136186" y="549638"/>
                </a:cubicBezTo>
                <a:cubicBezTo>
                  <a:pt x="7136186" y="580119"/>
                  <a:pt x="7111476" y="604829"/>
                  <a:pt x="7080994" y="604829"/>
                </a:cubicBezTo>
                <a:cubicBezTo>
                  <a:pt x="7050512" y="604829"/>
                  <a:pt x="7025802" y="580119"/>
                  <a:pt x="7025802" y="549638"/>
                </a:cubicBezTo>
                <a:cubicBezTo>
                  <a:pt x="7025802" y="519157"/>
                  <a:pt x="7050512" y="494447"/>
                  <a:pt x="7080994" y="494447"/>
                </a:cubicBezTo>
                <a:close/>
                <a:moveTo>
                  <a:pt x="6947358" y="494447"/>
                </a:moveTo>
                <a:cubicBezTo>
                  <a:pt x="6977840" y="494447"/>
                  <a:pt x="7002550" y="519157"/>
                  <a:pt x="7002550" y="549638"/>
                </a:cubicBezTo>
                <a:cubicBezTo>
                  <a:pt x="7002550" y="580119"/>
                  <a:pt x="6977840" y="604829"/>
                  <a:pt x="6947358" y="604829"/>
                </a:cubicBezTo>
                <a:cubicBezTo>
                  <a:pt x="6916876" y="604829"/>
                  <a:pt x="6892166" y="580119"/>
                  <a:pt x="6892166" y="549638"/>
                </a:cubicBezTo>
                <a:cubicBezTo>
                  <a:pt x="6892166" y="519157"/>
                  <a:pt x="6916876" y="494447"/>
                  <a:pt x="6947358" y="494447"/>
                </a:cubicBezTo>
                <a:close/>
                <a:moveTo>
                  <a:pt x="6289207" y="494447"/>
                </a:moveTo>
                <a:cubicBezTo>
                  <a:pt x="6319689" y="494447"/>
                  <a:pt x="6344399" y="519157"/>
                  <a:pt x="6344399" y="549638"/>
                </a:cubicBezTo>
                <a:cubicBezTo>
                  <a:pt x="6344399" y="580119"/>
                  <a:pt x="6319689" y="604829"/>
                  <a:pt x="6289207" y="604829"/>
                </a:cubicBezTo>
                <a:cubicBezTo>
                  <a:pt x="6258725" y="604829"/>
                  <a:pt x="6234015" y="580119"/>
                  <a:pt x="6234015" y="549638"/>
                </a:cubicBezTo>
                <a:cubicBezTo>
                  <a:pt x="6234015" y="519157"/>
                  <a:pt x="6258725" y="494447"/>
                  <a:pt x="6289207" y="494447"/>
                </a:cubicBezTo>
                <a:close/>
                <a:moveTo>
                  <a:pt x="4030786" y="494447"/>
                </a:moveTo>
                <a:cubicBezTo>
                  <a:pt x="4061268" y="494447"/>
                  <a:pt x="4085978" y="519157"/>
                  <a:pt x="4085978" y="549638"/>
                </a:cubicBezTo>
                <a:cubicBezTo>
                  <a:pt x="4085978" y="580119"/>
                  <a:pt x="4061268" y="604829"/>
                  <a:pt x="4030786" y="604829"/>
                </a:cubicBezTo>
                <a:cubicBezTo>
                  <a:pt x="4000304" y="604829"/>
                  <a:pt x="3975594" y="580119"/>
                  <a:pt x="3975594" y="549638"/>
                </a:cubicBezTo>
                <a:cubicBezTo>
                  <a:pt x="3975594" y="519157"/>
                  <a:pt x="4000304" y="494447"/>
                  <a:pt x="4030786" y="494447"/>
                </a:cubicBezTo>
                <a:close/>
                <a:moveTo>
                  <a:pt x="3897148" y="494447"/>
                </a:moveTo>
                <a:cubicBezTo>
                  <a:pt x="3927630" y="494447"/>
                  <a:pt x="3952340" y="519157"/>
                  <a:pt x="3952340" y="549638"/>
                </a:cubicBezTo>
                <a:cubicBezTo>
                  <a:pt x="3952340" y="580119"/>
                  <a:pt x="3927630" y="604829"/>
                  <a:pt x="3897148" y="604829"/>
                </a:cubicBezTo>
                <a:cubicBezTo>
                  <a:pt x="3866666" y="604829"/>
                  <a:pt x="3841956" y="580119"/>
                  <a:pt x="3841956" y="549638"/>
                </a:cubicBezTo>
                <a:cubicBezTo>
                  <a:pt x="3841956" y="519157"/>
                  <a:pt x="3866666" y="494447"/>
                  <a:pt x="3897148" y="494447"/>
                </a:cubicBezTo>
                <a:close/>
                <a:moveTo>
                  <a:pt x="3763514" y="494447"/>
                </a:moveTo>
                <a:cubicBezTo>
                  <a:pt x="3793996" y="494447"/>
                  <a:pt x="3818706" y="519157"/>
                  <a:pt x="3818706" y="549638"/>
                </a:cubicBezTo>
                <a:cubicBezTo>
                  <a:pt x="3818706" y="580119"/>
                  <a:pt x="3793996" y="604829"/>
                  <a:pt x="3763514" y="604829"/>
                </a:cubicBezTo>
                <a:cubicBezTo>
                  <a:pt x="3733032" y="604829"/>
                  <a:pt x="3708322" y="580119"/>
                  <a:pt x="3708322" y="549638"/>
                </a:cubicBezTo>
                <a:cubicBezTo>
                  <a:pt x="3708322" y="519157"/>
                  <a:pt x="3733032" y="494447"/>
                  <a:pt x="3763514" y="494447"/>
                </a:cubicBezTo>
                <a:close/>
                <a:moveTo>
                  <a:pt x="3633221" y="494447"/>
                </a:moveTo>
                <a:cubicBezTo>
                  <a:pt x="3663703" y="494447"/>
                  <a:pt x="3688413" y="519157"/>
                  <a:pt x="3688413" y="549638"/>
                </a:cubicBezTo>
                <a:cubicBezTo>
                  <a:pt x="3688413" y="580119"/>
                  <a:pt x="3663703" y="604829"/>
                  <a:pt x="3633221" y="604829"/>
                </a:cubicBezTo>
                <a:cubicBezTo>
                  <a:pt x="3602739" y="604829"/>
                  <a:pt x="3578029" y="580119"/>
                  <a:pt x="3578029" y="549638"/>
                </a:cubicBezTo>
                <a:cubicBezTo>
                  <a:pt x="3578029" y="519157"/>
                  <a:pt x="3602739" y="494447"/>
                  <a:pt x="3633221" y="494447"/>
                </a:cubicBezTo>
                <a:close/>
                <a:moveTo>
                  <a:pt x="3499589" y="494447"/>
                </a:moveTo>
                <a:cubicBezTo>
                  <a:pt x="3530071" y="494447"/>
                  <a:pt x="3554781" y="519157"/>
                  <a:pt x="3554781" y="549638"/>
                </a:cubicBezTo>
                <a:cubicBezTo>
                  <a:pt x="3554781" y="580119"/>
                  <a:pt x="3530071" y="604829"/>
                  <a:pt x="3499589" y="604829"/>
                </a:cubicBezTo>
                <a:cubicBezTo>
                  <a:pt x="3469107" y="604829"/>
                  <a:pt x="3444397" y="580119"/>
                  <a:pt x="3444397" y="549638"/>
                </a:cubicBezTo>
                <a:cubicBezTo>
                  <a:pt x="3444397" y="519157"/>
                  <a:pt x="3469107" y="494447"/>
                  <a:pt x="3499589" y="494447"/>
                </a:cubicBezTo>
                <a:close/>
                <a:moveTo>
                  <a:pt x="3369292" y="494447"/>
                </a:moveTo>
                <a:cubicBezTo>
                  <a:pt x="3399774" y="494447"/>
                  <a:pt x="3424484" y="519157"/>
                  <a:pt x="3424484" y="549638"/>
                </a:cubicBezTo>
                <a:cubicBezTo>
                  <a:pt x="3424484" y="580119"/>
                  <a:pt x="3399774" y="604829"/>
                  <a:pt x="3369292" y="604829"/>
                </a:cubicBezTo>
                <a:cubicBezTo>
                  <a:pt x="3338810" y="604829"/>
                  <a:pt x="3314100" y="580119"/>
                  <a:pt x="3314100" y="549638"/>
                </a:cubicBezTo>
                <a:cubicBezTo>
                  <a:pt x="3314100" y="519157"/>
                  <a:pt x="3338810" y="494447"/>
                  <a:pt x="3369292" y="494447"/>
                </a:cubicBezTo>
                <a:close/>
                <a:moveTo>
                  <a:pt x="3235657" y="494447"/>
                </a:moveTo>
                <a:cubicBezTo>
                  <a:pt x="3266139" y="494447"/>
                  <a:pt x="3290849" y="519157"/>
                  <a:pt x="3290849" y="549638"/>
                </a:cubicBezTo>
                <a:cubicBezTo>
                  <a:pt x="3290849" y="580119"/>
                  <a:pt x="3266139" y="604829"/>
                  <a:pt x="3235657" y="604829"/>
                </a:cubicBezTo>
                <a:cubicBezTo>
                  <a:pt x="3205175" y="604829"/>
                  <a:pt x="3180465" y="580119"/>
                  <a:pt x="3180465" y="549638"/>
                </a:cubicBezTo>
                <a:cubicBezTo>
                  <a:pt x="3180465" y="519157"/>
                  <a:pt x="3205175" y="494447"/>
                  <a:pt x="3235657" y="494447"/>
                </a:cubicBezTo>
                <a:close/>
                <a:moveTo>
                  <a:pt x="2437297" y="494447"/>
                </a:moveTo>
                <a:cubicBezTo>
                  <a:pt x="2467779" y="494447"/>
                  <a:pt x="2492487" y="519157"/>
                  <a:pt x="2492487" y="549638"/>
                </a:cubicBezTo>
                <a:cubicBezTo>
                  <a:pt x="2492487" y="580119"/>
                  <a:pt x="2467779" y="604829"/>
                  <a:pt x="2437297" y="604829"/>
                </a:cubicBezTo>
                <a:cubicBezTo>
                  <a:pt x="2406818" y="604829"/>
                  <a:pt x="2382108" y="580119"/>
                  <a:pt x="2382108" y="549638"/>
                </a:cubicBezTo>
                <a:cubicBezTo>
                  <a:pt x="2382108" y="519157"/>
                  <a:pt x="2406818" y="494447"/>
                  <a:pt x="2437297" y="494447"/>
                </a:cubicBezTo>
                <a:close/>
                <a:moveTo>
                  <a:pt x="2303664" y="494447"/>
                </a:moveTo>
                <a:cubicBezTo>
                  <a:pt x="2334145" y="494447"/>
                  <a:pt x="2358856" y="519157"/>
                  <a:pt x="2358856" y="549638"/>
                </a:cubicBezTo>
                <a:cubicBezTo>
                  <a:pt x="2358856" y="580119"/>
                  <a:pt x="2334145" y="604829"/>
                  <a:pt x="2303664" y="604829"/>
                </a:cubicBezTo>
                <a:cubicBezTo>
                  <a:pt x="2273182" y="604829"/>
                  <a:pt x="2248473" y="580119"/>
                  <a:pt x="2248473" y="549638"/>
                </a:cubicBezTo>
                <a:cubicBezTo>
                  <a:pt x="2248473" y="519157"/>
                  <a:pt x="2273182" y="494447"/>
                  <a:pt x="2303664" y="494447"/>
                </a:cubicBezTo>
                <a:close/>
                <a:moveTo>
                  <a:pt x="2173372" y="494447"/>
                </a:moveTo>
                <a:cubicBezTo>
                  <a:pt x="2203854" y="494447"/>
                  <a:pt x="2228565" y="519157"/>
                  <a:pt x="2228565" y="549638"/>
                </a:cubicBezTo>
                <a:cubicBezTo>
                  <a:pt x="2228565" y="580119"/>
                  <a:pt x="2203854" y="604829"/>
                  <a:pt x="2173372" y="604829"/>
                </a:cubicBezTo>
                <a:cubicBezTo>
                  <a:pt x="2142889" y="604829"/>
                  <a:pt x="2118180" y="580119"/>
                  <a:pt x="2118180" y="549638"/>
                </a:cubicBezTo>
                <a:cubicBezTo>
                  <a:pt x="2118180" y="519157"/>
                  <a:pt x="2142889" y="494447"/>
                  <a:pt x="2173372" y="494447"/>
                </a:cubicBezTo>
                <a:close/>
                <a:moveTo>
                  <a:pt x="2039736" y="494447"/>
                </a:moveTo>
                <a:cubicBezTo>
                  <a:pt x="2070218" y="494447"/>
                  <a:pt x="2094930" y="519157"/>
                  <a:pt x="2094930" y="549638"/>
                </a:cubicBezTo>
                <a:cubicBezTo>
                  <a:pt x="2094930" y="580119"/>
                  <a:pt x="2070218" y="604829"/>
                  <a:pt x="2039736" y="604829"/>
                </a:cubicBezTo>
                <a:cubicBezTo>
                  <a:pt x="2009254" y="604829"/>
                  <a:pt x="1984543" y="580119"/>
                  <a:pt x="1984543" y="549638"/>
                </a:cubicBezTo>
                <a:cubicBezTo>
                  <a:pt x="1984543" y="519157"/>
                  <a:pt x="2009254" y="494447"/>
                  <a:pt x="2039736" y="494447"/>
                </a:cubicBezTo>
                <a:close/>
                <a:moveTo>
                  <a:pt x="1909437" y="494447"/>
                </a:moveTo>
                <a:cubicBezTo>
                  <a:pt x="1939921" y="494447"/>
                  <a:pt x="1964630" y="519157"/>
                  <a:pt x="1964630" y="549638"/>
                </a:cubicBezTo>
                <a:cubicBezTo>
                  <a:pt x="1964630" y="580119"/>
                  <a:pt x="1939921" y="604829"/>
                  <a:pt x="1909437" y="604829"/>
                </a:cubicBezTo>
                <a:cubicBezTo>
                  <a:pt x="1878955" y="604829"/>
                  <a:pt x="1854244" y="580119"/>
                  <a:pt x="1854244" y="549638"/>
                </a:cubicBezTo>
                <a:cubicBezTo>
                  <a:pt x="1854244" y="519157"/>
                  <a:pt x="1878955" y="494447"/>
                  <a:pt x="1909437" y="494447"/>
                </a:cubicBezTo>
                <a:close/>
                <a:moveTo>
                  <a:pt x="1779142" y="494447"/>
                </a:moveTo>
                <a:cubicBezTo>
                  <a:pt x="1809626" y="494447"/>
                  <a:pt x="1834335" y="519157"/>
                  <a:pt x="1834335" y="549638"/>
                </a:cubicBezTo>
                <a:cubicBezTo>
                  <a:pt x="1834335" y="580119"/>
                  <a:pt x="1809626" y="604829"/>
                  <a:pt x="1779142" y="604829"/>
                </a:cubicBezTo>
                <a:cubicBezTo>
                  <a:pt x="1748663" y="604829"/>
                  <a:pt x="1723950" y="580119"/>
                  <a:pt x="1723950" y="549638"/>
                </a:cubicBezTo>
                <a:cubicBezTo>
                  <a:pt x="1723950" y="519157"/>
                  <a:pt x="1748663" y="494447"/>
                  <a:pt x="1779142" y="494447"/>
                </a:cubicBezTo>
                <a:close/>
                <a:moveTo>
                  <a:pt x="1645508" y="494447"/>
                </a:moveTo>
                <a:cubicBezTo>
                  <a:pt x="1675988" y="494447"/>
                  <a:pt x="1700702" y="519157"/>
                  <a:pt x="1700702" y="549638"/>
                </a:cubicBezTo>
                <a:cubicBezTo>
                  <a:pt x="1700702" y="580119"/>
                  <a:pt x="1675988" y="604829"/>
                  <a:pt x="1645508" y="604829"/>
                </a:cubicBezTo>
                <a:cubicBezTo>
                  <a:pt x="1615024" y="604829"/>
                  <a:pt x="1590311" y="580119"/>
                  <a:pt x="1590311" y="549638"/>
                </a:cubicBezTo>
                <a:cubicBezTo>
                  <a:pt x="1590311" y="519157"/>
                  <a:pt x="1615024" y="494447"/>
                  <a:pt x="1645508" y="494447"/>
                </a:cubicBezTo>
                <a:close/>
                <a:moveTo>
                  <a:pt x="1515217" y="494447"/>
                </a:moveTo>
                <a:cubicBezTo>
                  <a:pt x="1545695" y="494447"/>
                  <a:pt x="1570402" y="519157"/>
                  <a:pt x="1570402" y="549638"/>
                </a:cubicBezTo>
                <a:cubicBezTo>
                  <a:pt x="1570402" y="580119"/>
                  <a:pt x="1545695" y="604829"/>
                  <a:pt x="1515217" y="604829"/>
                </a:cubicBezTo>
                <a:cubicBezTo>
                  <a:pt x="1484732" y="604829"/>
                  <a:pt x="1460020" y="580119"/>
                  <a:pt x="1460020" y="549638"/>
                </a:cubicBezTo>
                <a:cubicBezTo>
                  <a:pt x="1460020" y="519157"/>
                  <a:pt x="1484732" y="494447"/>
                  <a:pt x="1515217" y="494447"/>
                </a:cubicBezTo>
                <a:close/>
                <a:moveTo>
                  <a:pt x="1381573" y="494447"/>
                </a:moveTo>
                <a:cubicBezTo>
                  <a:pt x="1412057" y="494447"/>
                  <a:pt x="1436767" y="519157"/>
                  <a:pt x="1436767" y="549638"/>
                </a:cubicBezTo>
                <a:cubicBezTo>
                  <a:pt x="1436767" y="580119"/>
                  <a:pt x="1412057" y="604829"/>
                  <a:pt x="1381573" y="604829"/>
                </a:cubicBezTo>
                <a:cubicBezTo>
                  <a:pt x="1351097" y="604829"/>
                  <a:pt x="1326384" y="580119"/>
                  <a:pt x="1326384" y="549638"/>
                </a:cubicBezTo>
                <a:cubicBezTo>
                  <a:pt x="1326384" y="519157"/>
                  <a:pt x="1351097" y="494447"/>
                  <a:pt x="1381573" y="494447"/>
                </a:cubicBezTo>
                <a:close/>
                <a:moveTo>
                  <a:pt x="1251282" y="494447"/>
                </a:moveTo>
                <a:cubicBezTo>
                  <a:pt x="1281766" y="494447"/>
                  <a:pt x="1306476" y="519157"/>
                  <a:pt x="1306476" y="549638"/>
                </a:cubicBezTo>
                <a:cubicBezTo>
                  <a:pt x="1306476" y="580119"/>
                  <a:pt x="1281766" y="604829"/>
                  <a:pt x="1251282" y="604829"/>
                </a:cubicBezTo>
                <a:cubicBezTo>
                  <a:pt x="1220801" y="604829"/>
                  <a:pt x="1196089" y="580119"/>
                  <a:pt x="1196089" y="549638"/>
                </a:cubicBezTo>
                <a:cubicBezTo>
                  <a:pt x="1196089" y="519157"/>
                  <a:pt x="1220801" y="494447"/>
                  <a:pt x="1251282" y="494447"/>
                </a:cubicBezTo>
                <a:close/>
                <a:moveTo>
                  <a:pt x="8801538" y="364154"/>
                </a:moveTo>
                <a:cubicBezTo>
                  <a:pt x="8832020" y="364154"/>
                  <a:pt x="8856730" y="388864"/>
                  <a:pt x="8856730" y="419345"/>
                </a:cubicBezTo>
                <a:cubicBezTo>
                  <a:pt x="8856730" y="449826"/>
                  <a:pt x="8832020" y="474536"/>
                  <a:pt x="8801538" y="474536"/>
                </a:cubicBezTo>
                <a:cubicBezTo>
                  <a:pt x="8771056" y="474536"/>
                  <a:pt x="8746346" y="449826"/>
                  <a:pt x="8746346" y="419345"/>
                </a:cubicBezTo>
                <a:cubicBezTo>
                  <a:pt x="8746346" y="388864"/>
                  <a:pt x="8771056" y="364154"/>
                  <a:pt x="8801538" y="364154"/>
                </a:cubicBezTo>
                <a:close/>
                <a:moveTo>
                  <a:pt x="8671244" y="364154"/>
                </a:moveTo>
                <a:cubicBezTo>
                  <a:pt x="8701726" y="364154"/>
                  <a:pt x="8726436" y="388864"/>
                  <a:pt x="8726436" y="419345"/>
                </a:cubicBezTo>
                <a:cubicBezTo>
                  <a:pt x="8726436" y="449826"/>
                  <a:pt x="8701726" y="474536"/>
                  <a:pt x="8671244" y="474536"/>
                </a:cubicBezTo>
                <a:cubicBezTo>
                  <a:pt x="8640762" y="474536"/>
                  <a:pt x="8616052" y="449826"/>
                  <a:pt x="8616052" y="419345"/>
                </a:cubicBezTo>
                <a:cubicBezTo>
                  <a:pt x="8616052" y="388864"/>
                  <a:pt x="8640762" y="364154"/>
                  <a:pt x="8671244" y="364154"/>
                </a:cubicBezTo>
                <a:close/>
                <a:moveTo>
                  <a:pt x="8537609" y="364154"/>
                </a:moveTo>
                <a:cubicBezTo>
                  <a:pt x="8568091" y="364154"/>
                  <a:pt x="8592801" y="388864"/>
                  <a:pt x="8592801" y="419345"/>
                </a:cubicBezTo>
                <a:cubicBezTo>
                  <a:pt x="8592801" y="449826"/>
                  <a:pt x="8568091" y="474536"/>
                  <a:pt x="8537609" y="474536"/>
                </a:cubicBezTo>
                <a:cubicBezTo>
                  <a:pt x="8507127" y="474536"/>
                  <a:pt x="8482417" y="449826"/>
                  <a:pt x="8482417" y="419345"/>
                </a:cubicBezTo>
                <a:cubicBezTo>
                  <a:pt x="8482417" y="388864"/>
                  <a:pt x="8507127" y="364154"/>
                  <a:pt x="8537609" y="364154"/>
                </a:cubicBezTo>
                <a:close/>
                <a:moveTo>
                  <a:pt x="7745824" y="364154"/>
                </a:moveTo>
                <a:cubicBezTo>
                  <a:pt x="7776306" y="364154"/>
                  <a:pt x="7801016" y="388864"/>
                  <a:pt x="7801016" y="419345"/>
                </a:cubicBezTo>
                <a:cubicBezTo>
                  <a:pt x="7801016" y="449826"/>
                  <a:pt x="7776306" y="474536"/>
                  <a:pt x="7745824" y="474536"/>
                </a:cubicBezTo>
                <a:cubicBezTo>
                  <a:pt x="7715342" y="474536"/>
                  <a:pt x="7690632" y="449826"/>
                  <a:pt x="7690632" y="419345"/>
                </a:cubicBezTo>
                <a:cubicBezTo>
                  <a:pt x="7690632" y="388864"/>
                  <a:pt x="7715342" y="364154"/>
                  <a:pt x="7745824" y="364154"/>
                </a:cubicBezTo>
                <a:close/>
                <a:moveTo>
                  <a:pt x="7608850" y="364154"/>
                </a:moveTo>
                <a:cubicBezTo>
                  <a:pt x="7639332" y="364154"/>
                  <a:pt x="7664042" y="388864"/>
                  <a:pt x="7664042" y="419345"/>
                </a:cubicBezTo>
                <a:cubicBezTo>
                  <a:pt x="7664042" y="449826"/>
                  <a:pt x="7639332" y="474536"/>
                  <a:pt x="7608850" y="474536"/>
                </a:cubicBezTo>
                <a:cubicBezTo>
                  <a:pt x="7578368" y="474536"/>
                  <a:pt x="7553658" y="449826"/>
                  <a:pt x="7553658" y="419345"/>
                </a:cubicBezTo>
                <a:cubicBezTo>
                  <a:pt x="7553658" y="388864"/>
                  <a:pt x="7578368" y="364154"/>
                  <a:pt x="7608850" y="364154"/>
                </a:cubicBezTo>
                <a:close/>
                <a:moveTo>
                  <a:pt x="7481895" y="364154"/>
                </a:moveTo>
                <a:cubicBezTo>
                  <a:pt x="7512377" y="364154"/>
                  <a:pt x="7537087" y="388864"/>
                  <a:pt x="7537087" y="419345"/>
                </a:cubicBezTo>
                <a:cubicBezTo>
                  <a:pt x="7537087" y="449826"/>
                  <a:pt x="7512377" y="474536"/>
                  <a:pt x="7481895" y="474536"/>
                </a:cubicBezTo>
                <a:cubicBezTo>
                  <a:pt x="7451413" y="474536"/>
                  <a:pt x="7426703" y="449826"/>
                  <a:pt x="7426703" y="419345"/>
                </a:cubicBezTo>
                <a:cubicBezTo>
                  <a:pt x="7426703" y="388864"/>
                  <a:pt x="7451413" y="364154"/>
                  <a:pt x="7481895" y="364154"/>
                </a:cubicBezTo>
                <a:close/>
                <a:moveTo>
                  <a:pt x="7341580" y="364154"/>
                </a:moveTo>
                <a:cubicBezTo>
                  <a:pt x="7372062" y="364154"/>
                  <a:pt x="7396772" y="388864"/>
                  <a:pt x="7396772" y="419345"/>
                </a:cubicBezTo>
                <a:cubicBezTo>
                  <a:pt x="7396772" y="449826"/>
                  <a:pt x="7372062" y="474536"/>
                  <a:pt x="7341580" y="474536"/>
                </a:cubicBezTo>
                <a:cubicBezTo>
                  <a:pt x="7311098" y="474536"/>
                  <a:pt x="7286388" y="449826"/>
                  <a:pt x="7286388" y="419345"/>
                </a:cubicBezTo>
                <a:cubicBezTo>
                  <a:pt x="7286388" y="388864"/>
                  <a:pt x="7311098" y="364154"/>
                  <a:pt x="7341580" y="364154"/>
                </a:cubicBezTo>
                <a:close/>
                <a:moveTo>
                  <a:pt x="6553137" y="364154"/>
                </a:moveTo>
                <a:cubicBezTo>
                  <a:pt x="6583619" y="364154"/>
                  <a:pt x="6608329" y="388864"/>
                  <a:pt x="6608329" y="419345"/>
                </a:cubicBezTo>
                <a:cubicBezTo>
                  <a:pt x="6608329" y="449826"/>
                  <a:pt x="6583619" y="474536"/>
                  <a:pt x="6553137" y="474536"/>
                </a:cubicBezTo>
                <a:cubicBezTo>
                  <a:pt x="6522655" y="474536"/>
                  <a:pt x="6497945" y="449826"/>
                  <a:pt x="6497945" y="419345"/>
                </a:cubicBezTo>
                <a:cubicBezTo>
                  <a:pt x="6497945" y="388864"/>
                  <a:pt x="6522655" y="364154"/>
                  <a:pt x="6553137" y="364154"/>
                </a:cubicBezTo>
                <a:close/>
                <a:moveTo>
                  <a:pt x="6419503" y="364154"/>
                </a:moveTo>
                <a:cubicBezTo>
                  <a:pt x="6449985" y="364154"/>
                  <a:pt x="6474695" y="388864"/>
                  <a:pt x="6474695" y="419345"/>
                </a:cubicBezTo>
                <a:cubicBezTo>
                  <a:pt x="6474695" y="449826"/>
                  <a:pt x="6449985" y="474536"/>
                  <a:pt x="6419503" y="474536"/>
                </a:cubicBezTo>
                <a:cubicBezTo>
                  <a:pt x="6389021" y="474536"/>
                  <a:pt x="6364311" y="449826"/>
                  <a:pt x="6364311" y="419345"/>
                </a:cubicBezTo>
                <a:cubicBezTo>
                  <a:pt x="6364311" y="388864"/>
                  <a:pt x="6389021" y="364154"/>
                  <a:pt x="6419503" y="364154"/>
                </a:cubicBezTo>
                <a:close/>
                <a:moveTo>
                  <a:pt x="4030786" y="364154"/>
                </a:moveTo>
                <a:cubicBezTo>
                  <a:pt x="4061268" y="364154"/>
                  <a:pt x="4085978" y="388864"/>
                  <a:pt x="4085978" y="419345"/>
                </a:cubicBezTo>
                <a:cubicBezTo>
                  <a:pt x="4085978" y="449826"/>
                  <a:pt x="4061268" y="474536"/>
                  <a:pt x="4030786" y="474536"/>
                </a:cubicBezTo>
                <a:cubicBezTo>
                  <a:pt x="4000304" y="474536"/>
                  <a:pt x="3975594" y="449826"/>
                  <a:pt x="3975594" y="419345"/>
                </a:cubicBezTo>
                <a:cubicBezTo>
                  <a:pt x="3975594" y="388864"/>
                  <a:pt x="4000304" y="364154"/>
                  <a:pt x="4030786" y="364154"/>
                </a:cubicBezTo>
                <a:close/>
                <a:moveTo>
                  <a:pt x="3897148" y="364154"/>
                </a:moveTo>
                <a:cubicBezTo>
                  <a:pt x="3927630" y="364154"/>
                  <a:pt x="3952340" y="388864"/>
                  <a:pt x="3952340" y="419345"/>
                </a:cubicBezTo>
                <a:cubicBezTo>
                  <a:pt x="3952340" y="449826"/>
                  <a:pt x="3927630" y="474536"/>
                  <a:pt x="3897148" y="474536"/>
                </a:cubicBezTo>
                <a:cubicBezTo>
                  <a:pt x="3866666" y="474536"/>
                  <a:pt x="3841956" y="449826"/>
                  <a:pt x="3841956" y="419345"/>
                </a:cubicBezTo>
                <a:cubicBezTo>
                  <a:pt x="3841956" y="388864"/>
                  <a:pt x="3866666" y="364154"/>
                  <a:pt x="3897148" y="364154"/>
                </a:cubicBezTo>
                <a:close/>
                <a:moveTo>
                  <a:pt x="3763514" y="364154"/>
                </a:moveTo>
                <a:cubicBezTo>
                  <a:pt x="3793996" y="364154"/>
                  <a:pt x="3818706" y="388864"/>
                  <a:pt x="3818706" y="419345"/>
                </a:cubicBezTo>
                <a:cubicBezTo>
                  <a:pt x="3818706" y="449826"/>
                  <a:pt x="3793996" y="474536"/>
                  <a:pt x="3763514" y="474536"/>
                </a:cubicBezTo>
                <a:cubicBezTo>
                  <a:pt x="3733032" y="474536"/>
                  <a:pt x="3708322" y="449826"/>
                  <a:pt x="3708322" y="419345"/>
                </a:cubicBezTo>
                <a:cubicBezTo>
                  <a:pt x="3708322" y="388864"/>
                  <a:pt x="3733032" y="364154"/>
                  <a:pt x="3763514" y="364154"/>
                </a:cubicBezTo>
                <a:close/>
                <a:moveTo>
                  <a:pt x="3633221" y="364154"/>
                </a:moveTo>
                <a:cubicBezTo>
                  <a:pt x="3663703" y="364154"/>
                  <a:pt x="3688413" y="388864"/>
                  <a:pt x="3688413" y="419345"/>
                </a:cubicBezTo>
                <a:cubicBezTo>
                  <a:pt x="3688413" y="449826"/>
                  <a:pt x="3663703" y="474536"/>
                  <a:pt x="3633221" y="474536"/>
                </a:cubicBezTo>
                <a:cubicBezTo>
                  <a:pt x="3602739" y="474536"/>
                  <a:pt x="3578029" y="449826"/>
                  <a:pt x="3578029" y="419345"/>
                </a:cubicBezTo>
                <a:cubicBezTo>
                  <a:pt x="3578029" y="388864"/>
                  <a:pt x="3602739" y="364154"/>
                  <a:pt x="3633221" y="364154"/>
                </a:cubicBezTo>
                <a:close/>
                <a:moveTo>
                  <a:pt x="3499589" y="364154"/>
                </a:moveTo>
                <a:cubicBezTo>
                  <a:pt x="3530071" y="364154"/>
                  <a:pt x="3554781" y="388864"/>
                  <a:pt x="3554781" y="419345"/>
                </a:cubicBezTo>
                <a:cubicBezTo>
                  <a:pt x="3554781" y="449826"/>
                  <a:pt x="3530071" y="474536"/>
                  <a:pt x="3499589" y="474536"/>
                </a:cubicBezTo>
                <a:cubicBezTo>
                  <a:pt x="3469107" y="474536"/>
                  <a:pt x="3444397" y="449826"/>
                  <a:pt x="3444397" y="419345"/>
                </a:cubicBezTo>
                <a:cubicBezTo>
                  <a:pt x="3444397" y="388864"/>
                  <a:pt x="3469107" y="364154"/>
                  <a:pt x="3499589" y="364154"/>
                </a:cubicBezTo>
                <a:close/>
                <a:moveTo>
                  <a:pt x="3369292" y="364154"/>
                </a:moveTo>
                <a:cubicBezTo>
                  <a:pt x="3399774" y="364154"/>
                  <a:pt x="3424484" y="388864"/>
                  <a:pt x="3424484" y="419345"/>
                </a:cubicBezTo>
                <a:cubicBezTo>
                  <a:pt x="3424484" y="449826"/>
                  <a:pt x="3399774" y="474536"/>
                  <a:pt x="3369292" y="474536"/>
                </a:cubicBezTo>
                <a:cubicBezTo>
                  <a:pt x="3338810" y="474536"/>
                  <a:pt x="3314100" y="449826"/>
                  <a:pt x="3314100" y="419345"/>
                </a:cubicBezTo>
                <a:cubicBezTo>
                  <a:pt x="3314100" y="388864"/>
                  <a:pt x="3338810" y="364154"/>
                  <a:pt x="3369292" y="364154"/>
                </a:cubicBezTo>
                <a:close/>
                <a:moveTo>
                  <a:pt x="3235657" y="364154"/>
                </a:moveTo>
                <a:cubicBezTo>
                  <a:pt x="3266139" y="364154"/>
                  <a:pt x="3290849" y="388864"/>
                  <a:pt x="3290849" y="419345"/>
                </a:cubicBezTo>
                <a:cubicBezTo>
                  <a:pt x="3290849" y="449826"/>
                  <a:pt x="3266139" y="474536"/>
                  <a:pt x="3235657" y="474536"/>
                </a:cubicBezTo>
                <a:cubicBezTo>
                  <a:pt x="3205175" y="474536"/>
                  <a:pt x="3180465" y="449826"/>
                  <a:pt x="3180465" y="419345"/>
                </a:cubicBezTo>
                <a:cubicBezTo>
                  <a:pt x="3180465" y="388864"/>
                  <a:pt x="3205175" y="364154"/>
                  <a:pt x="3235657" y="364154"/>
                </a:cubicBezTo>
                <a:close/>
                <a:moveTo>
                  <a:pt x="3098681" y="364154"/>
                </a:moveTo>
                <a:cubicBezTo>
                  <a:pt x="3129163" y="364154"/>
                  <a:pt x="3153873" y="388864"/>
                  <a:pt x="3153873" y="419345"/>
                </a:cubicBezTo>
                <a:cubicBezTo>
                  <a:pt x="3153873" y="449826"/>
                  <a:pt x="3129163" y="474536"/>
                  <a:pt x="3098681" y="474536"/>
                </a:cubicBezTo>
                <a:cubicBezTo>
                  <a:pt x="3068199" y="474536"/>
                  <a:pt x="3043489" y="449826"/>
                  <a:pt x="3043489" y="419345"/>
                </a:cubicBezTo>
                <a:cubicBezTo>
                  <a:pt x="3043489" y="388864"/>
                  <a:pt x="3068199" y="364154"/>
                  <a:pt x="3098681" y="364154"/>
                </a:cubicBezTo>
                <a:close/>
                <a:moveTo>
                  <a:pt x="2971729" y="364154"/>
                </a:moveTo>
                <a:cubicBezTo>
                  <a:pt x="3002211" y="364154"/>
                  <a:pt x="3026921" y="388864"/>
                  <a:pt x="3026921" y="419345"/>
                </a:cubicBezTo>
                <a:cubicBezTo>
                  <a:pt x="3026921" y="449826"/>
                  <a:pt x="3002211" y="474536"/>
                  <a:pt x="2971729" y="474536"/>
                </a:cubicBezTo>
                <a:cubicBezTo>
                  <a:pt x="2941247" y="474536"/>
                  <a:pt x="2916537" y="449826"/>
                  <a:pt x="2916537" y="419345"/>
                </a:cubicBezTo>
                <a:cubicBezTo>
                  <a:pt x="2916537" y="388864"/>
                  <a:pt x="2941247" y="364154"/>
                  <a:pt x="2971729" y="364154"/>
                </a:cubicBezTo>
                <a:close/>
                <a:moveTo>
                  <a:pt x="2834862" y="364154"/>
                </a:moveTo>
                <a:cubicBezTo>
                  <a:pt x="2865342" y="364154"/>
                  <a:pt x="2890052" y="388864"/>
                  <a:pt x="2890052" y="419345"/>
                </a:cubicBezTo>
                <a:cubicBezTo>
                  <a:pt x="2890052" y="449826"/>
                  <a:pt x="2865342" y="474536"/>
                  <a:pt x="2834862" y="474536"/>
                </a:cubicBezTo>
                <a:cubicBezTo>
                  <a:pt x="2804379" y="474536"/>
                  <a:pt x="2779671" y="449826"/>
                  <a:pt x="2779671" y="419345"/>
                </a:cubicBezTo>
                <a:cubicBezTo>
                  <a:pt x="2779671" y="388864"/>
                  <a:pt x="2804379" y="364154"/>
                  <a:pt x="2834862" y="364154"/>
                </a:cubicBezTo>
                <a:close/>
                <a:moveTo>
                  <a:pt x="2437297" y="364154"/>
                </a:moveTo>
                <a:cubicBezTo>
                  <a:pt x="2467781" y="364154"/>
                  <a:pt x="2492487" y="388864"/>
                  <a:pt x="2492487" y="419345"/>
                </a:cubicBezTo>
                <a:cubicBezTo>
                  <a:pt x="2492487" y="449826"/>
                  <a:pt x="2467781" y="474536"/>
                  <a:pt x="2437297" y="474536"/>
                </a:cubicBezTo>
                <a:cubicBezTo>
                  <a:pt x="2406818" y="474536"/>
                  <a:pt x="2382108" y="449826"/>
                  <a:pt x="2382108" y="419345"/>
                </a:cubicBezTo>
                <a:cubicBezTo>
                  <a:pt x="2382108" y="388864"/>
                  <a:pt x="2406818" y="364154"/>
                  <a:pt x="2437297" y="364154"/>
                </a:cubicBezTo>
                <a:close/>
                <a:moveTo>
                  <a:pt x="2303664" y="364154"/>
                </a:moveTo>
                <a:cubicBezTo>
                  <a:pt x="2334146" y="364154"/>
                  <a:pt x="2358856" y="388864"/>
                  <a:pt x="2358856" y="419345"/>
                </a:cubicBezTo>
                <a:cubicBezTo>
                  <a:pt x="2358856" y="449826"/>
                  <a:pt x="2334146" y="474536"/>
                  <a:pt x="2303664" y="474536"/>
                </a:cubicBezTo>
                <a:cubicBezTo>
                  <a:pt x="2273184" y="474536"/>
                  <a:pt x="2248473" y="449826"/>
                  <a:pt x="2248473" y="419345"/>
                </a:cubicBezTo>
                <a:cubicBezTo>
                  <a:pt x="2248473" y="388864"/>
                  <a:pt x="2273184" y="364154"/>
                  <a:pt x="2303664" y="364154"/>
                </a:cubicBezTo>
                <a:close/>
                <a:moveTo>
                  <a:pt x="2173372" y="364154"/>
                </a:moveTo>
                <a:cubicBezTo>
                  <a:pt x="2203854" y="364154"/>
                  <a:pt x="2228565" y="388864"/>
                  <a:pt x="2228565" y="419345"/>
                </a:cubicBezTo>
                <a:cubicBezTo>
                  <a:pt x="2228565" y="449826"/>
                  <a:pt x="2203854" y="474536"/>
                  <a:pt x="2173372" y="474536"/>
                </a:cubicBezTo>
                <a:cubicBezTo>
                  <a:pt x="2142892" y="474536"/>
                  <a:pt x="2118180" y="449826"/>
                  <a:pt x="2118180" y="419345"/>
                </a:cubicBezTo>
                <a:cubicBezTo>
                  <a:pt x="2118180" y="388864"/>
                  <a:pt x="2142892" y="364154"/>
                  <a:pt x="2173372" y="364154"/>
                </a:cubicBezTo>
                <a:close/>
                <a:moveTo>
                  <a:pt x="2039736" y="364154"/>
                </a:moveTo>
                <a:cubicBezTo>
                  <a:pt x="2070218" y="364154"/>
                  <a:pt x="2094930" y="388864"/>
                  <a:pt x="2094930" y="419345"/>
                </a:cubicBezTo>
                <a:cubicBezTo>
                  <a:pt x="2094930" y="449826"/>
                  <a:pt x="2070218" y="474536"/>
                  <a:pt x="2039736" y="474536"/>
                </a:cubicBezTo>
                <a:cubicBezTo>
                  <a:pt x="2009254" y="474536"/>
                  <a:pt x="1984543" y="449826"/>
                  <a:pt x="1984543" y="419345"/>
                </a:cubicBezTo>
                <a:cubicBezTo>
                  <a:pt x="1984543" y="388864"/>
                  <a:pt x="2009254" y="364154"/>
                  <a:pt x="2039736" y="364154"/>
                </a:cubicBezTo>
                <a:close/>
                <a:moveTo>
                  <a:pt x="1909440" y="364154"/>
                </a:moveTo>
                <a:cubicBezTo>
                  <a:pt x="1939922" y="364154"/>
                  <a:pt x="1964634" y="388864"/>
                  <a:pt x="1964634" y="419345"/>
                </a:cubicBezTo>
                <a:cubicBezTo>
                  <a:pt x="1964634" y="449826"/>
                  <a:pt x="1939922" y="474536"/>
                  <a:pt x="1909440" y="474536"/>
                </a:cubicBezTo>
                <a:cubicBezTo>
                  <a:pt x="1878957" y="474536"/>
                  <a:pt x="1854246" y="449826"/>
                  <a:pt x="1854246" y="419345"/>
                </a:cubicBezTo>
                <a:cubicBezTo>
                  <a:pt x="1854246" y="388864"/>
                  <a:pt x="1878957" y="364154"/>
                  <a:pt x="1909440" y="364154"/>
                </a:cubicBezTo>
                <a:close/>
                <a:moveTo>
                  <a:pt x="1779142" y="364154"/>
                </a:moveTo>
                <a:cubicBezTo>
                  <a:pt x="1809626" y="364154"/>
                  <a:pt x="1834337" y="388864"/>
                  <a:pt x="1834337" y="419345"/>
                </a:cubicBezTo>
                <a:cubicBezTo>
                  <a:pt x="1834337" y="449826"/>
                  <a:pt x="1809626" y="474536"/>
                  <a:pt x="1779142" y="474536"/>
                </a:cubicBezTo>
                <a:cubicBezTo>
                  <a:pt x="1748663" y="474536"/>
                  <a:pt x="1723951" y="449826"/>
                  <a:pt x="1723951" y="419345"/>
                </a:cubicBezTo>
                <a:cubicBezTo>
                  <a:pt x="1723951" y="388864"/>
                  <a:pt x="1748663" y="364154"/>
                  <a:pt x="1779142" y="364154"/>
                </a:cubicBezTo>
                <a:close/>
                <a:moveTo>
                  <a:pt x="1645508" y="364154"/>
                </a:moveTo>
                <a:cubicBezTo>
                  <a:pt x="1675988" y="364154"/>
                  <a:pt x="1700702" y="388864"/>
                  <a:pt x="1700702" y="419345"/>
                </a:cubicBezTo>
                <a:cubicBezTo>
                  <a:pt x="1700702" y="449826"/>
                  <a:pt x="1675988" y="474536"/>
                  <a:pt x="1645508" y="474536"/>
                </a:cubicBezTo>
                <a:cubicBezTo>
                  <a:pt x="1615024" y="474536"/>
                  <a:pt x="1590313" y="449826"/>
                  <a:pt x="1590313" y="419345"/>
                </a:cubicBezTo>
                <a:cubicBezTo>
                  <a:pt x="1590313" y="388864"/>
                  <a:pt x="1615024" y="364154"/>
                  <a:pt x="1645508" y="364154"/>
                </a:cubicBezTo>
                <a:close/>
                <a:moveTo>
                  <a:pt x="1515217" y="364154"/>
                </a:moveTo>
                <a:cubicBezTo>
                  <a:pt x="1545695" y="364154"/>
                  <a:pt x="1570405" y="388864"/>
                  <a:pt x="1570405" y="419345"/>
                </a:cubicBezTo>
                <a:cubicBezTo>
                  <a:pt x="1570405" y="449826"/>
                  <a:pt x="1545695" y="474536"/>
                  <a:pt x="1515217" y="474536"/>
                </a:cubicBezTo>
                <a:cubicBezTo>
                  <a:pt x="1484732" y="474536"/>
                  <a:pt x="1460020" y="449826"/>
                  <a:pt x="1460020" y="419345"/>
                </a:cubicBezTo>
                <a:cubicBezTo>
                  <a:pt x="1460020" y="388864"/>
                  <a:pt x="1484732" y="364154"/>
                  <a:pt x="1515217" y="364154"/>
                </a:cubicBezTo>
                <a:close/>
                <a:moveTo>
                  <a:pt x="1381573" y="364154"/>
                </a:moveTo>
                <a:cubicBezTo>
                  <a:pt x="1412060" y="364154"/>
                  <a:pt x="1436767" y="388864"/>
                  <a:pt x="1436767" y="419345"/>
                </a:cubicBezTo>
                <a:cubicBezTo>
                  <a:pt x="1436767" y="449826"/>
                  <a:pt x="1412060" y="474536"/>
                  <a:pt x="1381573" y="474536"/>
                </a:cubicBezTo>
                <a:cubicBezTo>
                  <a:pt x="1351097" y="474536"/>
                  <a:pt x="1326384" y="449826"/>
                  <a:pt x="1326384" y="419345"/>
                </a:cubicBezTo>
                <a:cubicBezTo>
                  <a:pt x="1326384" y="388864"/>
                  <a:pt x="1351097" y="364154"/>
                  <a:pt x="1381573" y="364154"/>
                </a:cubicBezTo>
                <a:close/>
                <a:moveTo>
                  <a:pt x="1251283" y="364154"/>
                </a:moveTo>
                <a:cubicBezTo>
                  <a:pt x="1281766" y="364154"/>
                  <a:pt x="1306476" y="388864"/>
                  <a:pt x="1306476" y="419345"/>
                </a:cubicBezTo>
                <a:cubicBezTo>
                  <a:pt x="1306476" y="449826"/>
                  <a:pt x="1281766" y="474536"/>
                  <a:pt x="1251283" y="474536"/>
                </a:cubicBezTo>
                <a:cubicBezTo>
                  <a:pt x="1220801" y="474536"/>
                  <a:pt x="1196091" y="449826"/>
                  <a:pt x="1196091" y="419345"/>
                </a:cubicBezTo>
                <a:cubicBezTo>
                  <a:pt x="1196091" y="388864"/>
                  <a:pt x="1220801" y="364154"/>
                  <a:pt x="1251283" y="364154"/>
                </a:cubicBezTo>
                <a:close/>
                <a:moveTo>
                  <a:pt x="7608850" y="247225"/>
                </a:moveTo>
                <a:cubicBezTo>
                  <a:pt x="7639332" y="247225"/>
                  <a:pt x="7664042" y="271935"/>
                  <a:pt x="7664042" y="302416"/>
                </a:cubicBezTo>
                <a:cubicBezTo>
                  <a:pt x="7664042" y="332897"/>
                  <a:pt x="7639332" y="357607"/>
                  <a:pt x="7608850" y="357607"/>
                </a:cubicBezTo>
                <a:cubicBezTo>
                  <a:pt x="7578368" y="357607"/>
                  <a:pt x="7553658" y="332897"/>
                  <a:pt x="7553658" y="302416"/>
                </a:cubicBezTo>
                <a:cubicBezTo>
                  <a:pt x="7553658" y="271935"/>
                  <a:pt x="7578368" y="247225"/>
                  <a:pt x="7608850" y="247225"/>
                </a:cubicBezTo>
                <a:close/>
                <a:moveTo>
                  <a:pt x="7481898" y="247225"/>
                </a:moveTo>
                <a:cubicBezTo>
                  <a:pt x="7512380" y="247225"/>
                  <a:pt x="7537090" y="271935"/>
                  <a:pt x="7537090" y="302416"/>
                </a:cubicBezTo>
                <a:cubicBezTo>
                  <a:pt x="7537090" y="332897"/>
                  <a:pt x="7512380" y="357607"/>
                  <a:pt x="7481898" y="357607"/>
                </a:cubicBezTo>
                <a:cubicBezTo>
                  <a:pt x="7451416" y="357607"/>
                  <a:pt x="7426706" y="332897"/>
                  <a:pt x="7426706" y="302416"/>
                </a:cubicBezTo>
                <a:cubicBezTo>
                  <a:pt x="7426706" y="271935"/>
                  <a:pt x="7451416" y="247225"/>
                  <a:pt x="7481898" y="247225"/>
                </a:cubicBezTo>
                <a:close/>
                <a:moveTo>
                  <a:pt x="5093178" y="247225"/>
                </a:moveTo>
                <a:cubicBezTo>
                  <a:pt x="5123660" y="247225"/>
                  <a:pt x="5148370" y="271935"/>
                  <a:pt x="5148370" y="302416"/>
                </a:cubicBezTo>
                <a:cubicBezTo>
                  <a:pt x="5148370" y="332897"/>
                  <a:pt x="5123660" y="357607"/>
                  <a:pt x="5093178" y="357607"/>
                </a:cubicBezTo>
                <a:cubicBezTo>
                  <a:pt x="5062696" y="357607"/>
                  <a:pt x="5037986" y="332897"/>
                  <a:pt x="5037986" y="302416"/>
                </a:cubicBezTo>
                <a:cubicBezTo>
                  <a:pt x="5037986" y="271935"/>
                  <a:pt x="5062696" y="247225"/>
                  <a:pt x="5093178" y="247225"/>
                </a:cubicBezTo>
                <a:close/>
                <a:moveTo>
                  <a:pt x="4030786" y="247225"/>
                </a:moveTo>
                <a:cubicBezTo>
                  <a:pt x="4061268" y="247225"/>
                  <a:pt x="4085978" y="271935"/>
                  <a:pt x="4085978" y="302416"/>
                </a:cubicBezTo>
                <a:cubicBezTo>
                  <a:pt x="4085978" y="332897"/>
                  <a:pt x="4061268" y="357607"/>
                  <a:pt x="4030786" y="357607"/>
                </a:cubicBezTo>
                <a:cubicBezTo>
                  <a:pt x="4000304" y="357607"/>
                  <a:pt x="3975594" y="332897"/>
                  <a:pt x="3975594" y="302416"/>
                </a:cubicBezTo>
                <a:cubicBezTo>
                  <a:pt x="3975594" y="271935"/>
                  <a:pt x="4000304" y="247225"/>
                  <a:pt x="4030786" y="247225"/>
                </a:cubicBezTo>
                <a:close/>
                <a:moveTo>
                  <a:pt x="3897148" y="247225"/>
                </a:moveTo>
                <a:cubicBezTo>
                  <a:pt x="3927630" y="247225"/>
                  <a:pt x="3952340" y="271935"/>
                  <a:pt x="3952340" y="302416"/>
                </a:cubicBezTo>
                <a:cubicBezTo>
                  <a:pt x="3952340" y="332897"/>
                  <a:pt x="3927630" y="357607"/>
                  <a:pt x="3897148" y="357607"/>
                </a:cubicBezTo>
                <a:cubicBezTo>
                  <a:pt x="3866666" y="357607"/>
                  <a:pt x="3841956" y="332897"/>
                  <a:pt x="3841956" y="302416"/>
                </a:cubicBezTo>
                <a:cubicBezTo>
                  <a:pt x="3841956" y="271935"/>
                  <a:pt x="3866666" y="247225"/>
                  <a:pt x="3897148" y="247225"/>
                </a:cubicBezTo>
                <a:close/>
                <a:moveTo>
                  <a:pt x="3763514" y="247225"/>
                </a:moveTo>
                <a:cubicBezTo>
                  <a:pt x="3793996" y="247225"/>
                  <a:pt x="3818706" y="271935"/>
                  <a:pt x="3818706" y="302416"/>
                </a:cubicBezTo>
                <a:cubicBezTo>
                  <a:pt x="3818706" y="332897"/>
                  <a:pt x="3793996" y="357607"/>
                  <a:pt x="3763514" y="357607"/>
                </a:cubicBezTo>
                <a:cubicBezTo>
                  <a:pt x="3733032" y="357607"/>
                  <a:pt x="3708322" y="332897"/>
                  <a:pt x="3708322" y="302416"/>
                </a:cubicBezTo>
                <a:cubicBezTo>
                  <a:pt x="3708322" y="271935"/>
                  <a:pt x="3733032" y="247225"/>
                  <a:pt x="3763514" y="247225"/>
                </a:cubicBezTo>
                <a:close/>
                <a:moveTo>
                  <a:pt x="3633221" y="247225"/>
                </a:moveTo>
                <a:cubicBezTo>
                  <a:pt x="3663703" y="247225"/>
                  <a:pt x="3688413" y="271935"/>
                  <a:pt x="3688413" y="302416"/>
                </a:cubicBezTo>
                <a:cubicBezTo>
                  <a:pt x="3688413" y="332897"/>
                  <a:pt x="3663703" y="357607"/>
                  <a:pt x="3633221" y="357607"/>
                </a:cubicBezTo>
                <a:cubicBezTo>
                  <a:pt x="3602739" y="357607"/>
                  <a:pt x="3578029" y="332897"/>
                  <a:pt x="3578029" y="302416"/>
                </a:cubicBezTo>
                <a:cubicBezTo>
                  <a:pt x="3578029" y="271935"/>
                  <a:pt x="3602739" y="247225"/>
                  <a:pt x="3633221" y="247225"/>
                </a:cubicBezTo>
                <a:close/>
                <a:moveTo>
                  <a:pt x="3499589" y="247225"/>
                </a:moveTo>
                <a:cubicBezTo>
                  <a:pt x="3530071" y="247225"/>
                  <a:pt x="3554781" y="271935"/>
                  <a:pt x="3554781" y="302416"/>
                </a:cubicBezTo>
                <a:cubicBezTo>
                  <a:pt x="3554781" y="332897"/>
                  <a:pt x="3530071" y="357607"/>
                  <a:pt x="3499589" y="357607"/>
                </a:cubicBezTo>
                <a:cubicBezTo>
                  <a:pt x="3469107" y="357607"/>
                  <a:pt x="3444397" y="332897"/>
                  <a:pt x="3444397" y="302416"/>
                </a:cubicBezTo>
                <a:cubicBezTo>
                  <a:pt x="3444397" y="271935"/>
                  <a:pt x="3469107" y="247225"/>
                  <a:pt x="3499589" y="247225"/>
                </a:cubicBezTo>
                <a:close/>
                <a:moveTo>
                  <a:pt x="3369293" y="247225"/>
                </a:moveTo>
                <a:cubicBezTo>
                  <a:pt x="3399775" y="247225"/>
                  <a:pt x="3424485" y="271935"/>
                  <a:pt x="3424485" y="302416"/>
                </a:cubicBezTo>
                <a:cubicBezTo>
                  <a:pt x="3424485" y="332897"/>
                  <a:pt x="3399775" y="357607"/>
                  <a:pt x="3369293" y="357607"/>
                </a:cubicBezTo>
                <a:cubicBezTo>
                  <a:pt x="3338811" y="357607"/>
                  <a:pt x="3314101" y="332897"/>
                  <a:pt x="3314101" y="302416"/>
                </a:cubicBezTo>
                <a:cubicBezTo>
                  <a:pt x="3314101" y="271935"/>
                  <a:pt x="3338811" y="247225"/>
                  <a:pt x="3369293" y="247225"/>
                </a:cubicBezTo>
                <a:close/>
                <a:moveTo>
                  <a:pt x="3235657" y="247225"/>
                </a:moveTo>
                <a:cubicBezTo>
                  <a:pt x="3266139" y="247225"/>
                  <a:pt x="3290849" y="271935"/>
                  <a:pt x="3290849" y="302416"/>
                </a:cubicBezTo>
                <a:cubicBezTo>
                  <a:pt x="3290849" y="332897"/>
                  <a:pt x="3266139" y="357607"/>
                  <a:pt x="3235657" y="357607"/>
                </a:cubicBezTo>
                <a:cubicBezTo>
                  <a:pt x="3205175" y="357607"/>
                  <a:pt x="3180465" y="332897"/>
                  <a:pt x="3180465" y="302416"/>
                </a:cubicBezTo>
                <a:cubicBezTo>
                  <a:pt x="3180465" y="271935"/>
                  <a:pt x="3205175" y="247225"/>
                  <a:pt x="3235657" y="247225"/>
                </a:cubicBezTo>
                <a:close/>
                <a:moveTo>
                  <a:pt x="3098682" y="247225"/>
                </a:moveTo>
                <a:cubicBezTo>
                  <a:pt x="3129164" y="247225"/>
                  <a:pt x="3153874" y="271935"/>
                  <a:pt x="3153874" y="302416"/>
                </a:cubicBezTo>
                <a:cubicBezTo>
                  <a:pt x="3153874" y="332897"/>
                  <a:pt x="3129164" y="357607"/>
                  <a:pt x="3098682" y="357607"/>
                </a:cubicBezTo>
                <a:cubicBezTo>
                  <a:pt x="3068200" y="357607"/>
                  <a:pt x="3043490" y="332897"/>
                  <a:pt x="3043490" y="302416"/>
                </a:cubicBezTo>
                <a:cubicBezTo>
                  <a:pt x="3043490" y="271935"/>
                  <a:pt x="3068200" y="247225"/>
                  <a:pt x="3098682" y="247225"/>
                </a:cubicBezTo>
                <a:close/>
                <a:moveTo>
                  <a:pt x="2971729" y="247225"/>
                </a:moveTo>
                <a:cubicBezTo>
                  <a:pt x="3002211" y="247225"/>
                  <a:pt x="3026921" y="271935"/>
                  <a:pt x="3026921" y="302416"/>
                </a:cubicBezTo>
                <a:cubicBezTo>
                  <a:pt x="3026921" y="332897"/>
                  <a:pt x="3002211" y="357607"/>
                  <a:pt x="2971729" y="357607"/>
                </a:cubicBezTo>
                <a:cubicBezTo>
                  <a:pt x="2941247" y="357607"/>
                  <a:pt x="2916537" y="332897"/>
                  <a:pt x="2916537" y="302416"/>
                </a:cubicBezTo>
                <a:cubicBezTo>
                  <a:pt x="2916537" y="271935"/>
                  <a:pt x="2941247" y="247225"/>
                  <a:pt x="2971729" y="247225"/>
                </a:cubicBezTo>
                <a:close/>
                <a:moveTo>
                  <a:pt x="2834862" y="247225"/>
                </a:moveTo>
                <a:cubicBezTo>
                  <a:pt x="2865342" y="247225"/>
                  <a:pt x="2890052" y="271935"/>
                  <a:pt x="2890052" y="302416"/>
                </a:cubicBezTo>
                <a:cubicBezTo>
                  <a:pt x="2890052" y="332897"/>
                  <a:pt x="2865342" y="357607"/>
                  <a:pt x="2834862" y="357607"/>
                </a:cubicBezTo>
                <a:cubicBezTo>
                  <a:pt x="2804379" y="357607"/>
                  <a:pt x="2779671" y="332897"/>
                  <a:pt x="2779671" y="302416"/>
                </a:cubicBezTo>
                <a:cubicBezTo>
                  <a:pt x="2779671" y="271935"/>
                  <a:pt x="2804379" y="247225"/>
                  <a:pt x="2834862" y="247225"/>
                </a:cubicBezTo>
                <a:close/>
                <a:moveTo>
                  <a:pt x="2570933" y="247225"/>
                </a:moveTo>
                <a:cubicBezTo>
                  <a:pt x="2601414" y="247225"/>
                  <a:pt x="2626123" y="271935"/>
                  <a:pt x="2626123" y="302416"/>
                </a:cubicBezTo>
                <a:cubicBezTo>
                  <a:pt x="2626123" y="332897"/>
                  <a:pt x="2601414" y="357607"/>
                  <a:pt x="2570933" y="357607"/>
                </a:cubicBezTo>
                <a:cubicBezTo>
                  <a:pt x="2540449" y="357607"/>
                  <a:pt x="2515738" y="332897"/>
                  <a:pt x="2515738" y="302416"/>
                </a:cubicBezTo>
                <a:cubicBezTo>
                  <a:pt x="2515738" y="271935"/>
                  <a:pt x="2540449" y="247225"/>
                  <a:pt x="2570933" y="247225"/>
                </a:cubicBezTo>
                <a:close/>
                <a:moveTo>
                  <a:pt x="2437297" y="247225"/>
                </a:moveTo>
                <a:cubicBezTo>
                  <a:pt x="2467781" y="247225"/>
                  <a:pt x="2492487" y="271935"/>
                  <a:pt x="2492487" y="302416"/>
                </a:cubicBezTo>
                <a:cubicBezTo>
                  <a:pt x="2492487" y="332897"/>
                  <a:pt x="2467781" y="357607"/>
                  <a:pt x="2437297" y="357607"/>
                </a:cubicBezTo>
                <a:cubicBezTo>
                  <a:pt x="2406818" y="357607"/>
                  <a:pt x="2382108" y="332897"/>
                  <a:pt x="2382108" y="302416"/>
                </a:cubicBezTo>
                <a:cubicBezTo>
                  <a:pt x="2382108" y="271935"/>
                  <a:pt x="2406818" y="247225"/>
                  <a:pt x="2437297" y="247225"/>
                </a:cubicBezTo>
                <a:close/>
                <a:moveTo>
                  <a:pt x="2303666" y="247225"/>
                </a:moveTo>
                <a:cubicBezTo>
                  <a:pt x="2334146" y="247225"/>
                  <a:pt x="2358856" y="271935"/>
                  <a:pt x="2358856" y="302416"/>
                </a:cubicBezTo>
                <a:cubicBezTo>
                  <a:pt x="2358856" y="332897"/>
                  <a:pt x="2334146" y="357607"/>
                  <a:pt x="2303666" y="357607"/>
                </a:cubicBezTo>
                <a:cubicBezTo>
                  <a:pt x="2273184" y="357607"/>
                  <a:pt x="2248473" y="332897"/>
                  <a:pt x="2248473" y="302416"/>
                </a:cubicBezTo>
                <a:cubicBezTo>
                  <a:pt x="2248473" y="271935"/>
                  <a:pt x="2273184" y="247225"/>
                  <a:pt x="2303666" y="247225"/>
                </a:cubicBezTo>
                <a:close/>
                <a:moveTo>
                  <a:pt x="2173372" y="247225"/>
                </a:moveTo>
                <a:cubicBezTo>
                  <a:pt x="2203857" y="247225"/>
                  <a:pt x="2228566" y="271935"/>
                  <a:pt x="2228566" y="302416"/>
                </a:cubicBezTo>
                <a:cubicBezTo>
                  <a:pt x="2228566" y="332897"/>
                  <a:pt x="2203857" y="357607"/>
                  <a:pt x="2173372" y="357607"/>
                </a:cubicBezTo>
                <a:cubicBezTo>
                  <a:pt x="2142892" y="357607"/>
                  <a:pt x="2118180" y="332897"/>
                  <a:pt x="2118180" y="302416"/>
                </a:cubicBezTo>
                <a:cubicBezTo>
                  <a:pt x="2118180" y="271935"/>
                  <a:pt x="2142892" y="247225"/>
                  <a:pt x="2173372" y="247225"/>
                </a:cubicBezTo>
                <a:close/>
                <a:moveTo>
                  <a:pt x="1909440" y="247225"/>
                </a:moveTo>
                <a:cubicBezTo>
                  <a:pt x="1939922" y="247225"/>
                  <a:pt x="1964634" y="271935"/>
                  <a:pt x="1964634" y="302416"/>
                </a:cubicBezTo>
                <a:cubicBezTo>
                  <a:pt x="1964634" y="332897"/>
                  <a:pt x="1939922" y="357607"/>
                  <a:pt x="1909440" y="357607"/>
                </a:cubicBezTo>
                <a:cubicBezTo>
                  <a:pt x="1878957" y="357607"/>
                  <a:pt x="1854246" y="332897"/>
                  <a:pt x="1854246" y="302416"/>
                </a:cubicBezTo>
                <a:cubicBezTo>
                  <a:pt x="1854246" y="271935"/>
                  <a:pt x="1878957" y="247225"/>
                  <a:pt x="1909440" y="247225"/>
                </a:cubicBezTo>
                <a:close/>
                <a:moveTo>
                  <a:pt x="1779142" y="247225"/>
                </a:moveTo>
                <a:cubicBezTo>
                  <a:pt x="1809626" y="247225"/>
                  <a:pt x="1834337" y="271935"/>
                  <a:pt x="1834337" y="302416"/>
                </a:cubicBezTo>
                <a:cubicBezTo>
                  <a:pt x="1834337" y="332897"/>
                  <a:pt x="1809626" y="357607"/>
                  <a:pt x="1779142" y="357607"/>
                </a:cubicBezTo>
                <a:cubicBezTo>
                  <a:pt x="1748663" y="357607"/>
                  <a:pt x="1723951" y="332897"/>
                  <a:pt x="1723951" y="302416"/>
                </a:cubicBezTo>
                <a:cubicBezTo>
                  <a:pt x="1723951" y="271935"/>
                  <a:pt x="1748663" y="247225"/>
                  <a:pt x="1779142" y="247225"/>
                </a:cubicBezTo>
                <a:close/>
                <a:moveTo>
                  <a:pt x="1645508" y="247225"/>
                </a:moveTo>
                <a:cubicBezTo>
                  <a:pt x="1675988" y="247225"/>
                  <a:pt x="1700702" y="271935"/>
                  <a:pt x="1700702" y="302416"/>
                </a:cubicBezTo>
                <a:cubicBezTo>
                  <a:pt x="1700702" y="332897"/>
                  <a:pt x="1675988" y="357607"/>
                  <a:pt x="1645508" y="357607"/>
                </a:cubicBezTo>
                <a:cubicBezTo>
                  <a:pt x="1615027" y="357607"/>
                  <a:pt x="1590313" y="332897"/>
                  <a:pt x="1590313" y="302416"/>
                </a:cubicBezTo>
                <a:cubicBezTo>
                  <a:pt x="1590313" y="271935"/>
                  <a:pt x="1615027" y="247225"/>
                  <a:pt x="1645508" y="247225"/>
                </a:cubicBezTo>
                <a:close/>
                <a:moveTo>
                  <a:pt x="1515217" y="247225"/>
                </a:moveTo>
                <a:cubicBezTo>
                  <a:pt x="1545695" y="247225"/>
                  <a:pt x="1570405" y="271935"/>
                  <a:pt x="1570405" y="302416"/>
                </a:cubicBezTo>
                <a:cubicBezTo>
                  <a:pt x="1570405" y="332897"/>
                  <a:pt x="1545695" y="357607"/>
                  <a:pt x="1515217" y="357607"/>
                </a:cubicBezTo>
                <a:cubicBezTo>
                  <a:pt x="1484732" y="357607"/>
                  <a:pt x="1460020" y="332897"/>
                  <a:pt x="1460020" y="302416"/>
                </a:cubicBezTo>
                <a:cubicBezTo>
                  <a:pt x="1460020" y="271935"/>
                  <a:pt x="1484732" y="247225"/>
                  <a:pt x="1515217" y="247225"/>
                </a:cubicBezTo>
                <a:close/>
                <a:moveTo>
                  <a:pt x="1381573" y="247225"/>
                </a:moveTo>
                <a:cubicBezTo>
                  <a:pt x="1412060" y="247225"/>
                  <a:pt x="1436767" y="271935"/>
                  <a:pt x="1436767" y="302416"/>
                </a:cubicBezTo>
                <a:cubicBezTo>
                  <a:pt x="1436767" y="332897"/>
                  <a:pt x="1412060" y="357607"/>
                  <a:pt x="1381573" y="357607"/>
                </a:cubicBezTo>
                <a:cubicBezTo>
                  <a:pt x="1351097" y="357607"/>
                  <a:pt x="1326384" y="332897"/>
                  <a:pt x="1326384" y="302416"/>
                </a:cubicBezTo>
                <a:cubicBezTo>
                  <a:pt x="1326384" y="271935"/>
                  <a:pt x="1351097" y="247225"/>
                  <a:pt x="1381573" y="247225"/>
                </a:cubicBezTo>
                <a:close/>
                <a:moveTo>
                  <a:pt x="7481898" y="120271"/>
                </a:moveTo>
                <a:cubicBezTo>
                  <a:pt x="7512380" y="120271"/>
                  <a:pt x="7537090" y="144981"/>
                  <a:pt x="7537090" y="175462"/>
                </a:cubicBezTo>
                <a:cubicBezTo>
                  <a:pt x="7537090" y="205943"/>
                  <a:pt x="7512380" y="230653"/>
                  <a:pt x="7481898" y="230653"/>
                </a:cubicBezTo>
                <a:cubicBezTo>
                  <a:pt x="7451416" y="230653"/>
                  <a:pt x="7426706" y="205943"/>
                  <a:pt x="7426706" y="175462"/>
                </a:cubicBezTo>
                <a:cubicBezTo>
                  <a:pt x="7426706" y="144981"/>
                  <a:pt x="7451416" y="120271"/>
                  <a:pt x="7481898" y="120271"/>
                </a:cubicBezTo>
                <a:close/>
                <a:moveTo>
                  <a:pt x="7341580" y="120271"/>
                </a:moveTo>
                <a:cubicBezTo>
                  <a:pt x="7372062" y="120271"/>
                  <a:pt x="7396772" y="144981"/>
                  <a:pt x="7396772" y="175462"/>
                </a:cubicBezTo>
                <a:cubicBezTo>
                  <a:pt x="7396772" y="205943"/>
                  <a:pt x="7372062" y="230653"/>
                  <a:pt x="7341580" y="230653"/>
                </a:cubicBezTo>
                <a:cubicBezTo>
                  <a:pt x="7311098" y="230653"/>
                  <a:pt x="7286388" y="205943"/>
                  <a:pt x="7286388" y="175462"/>
                </a:cubicBezTo>
                <a:cubicBezTo>
                  <a:pt x="7286388" y="144981"/>
                  <a:pt x="7311098" y="120271"/>
                  <a:pt x="7341580" y="120271"/>
                </a:cubicBezTo>
                <a:close/>
                <a:moveTo>
                  <a:pt x="7211288" y="120271"/>
                </a:moveTo>
                <a:cubicBezTo>
                  <a:pt x="7241770" y="120271"/>
                  <a:pt x="7266480" y="144981"/>
                  <a:pt x="7266480" y="175462"/>
                </a:cubicBezTo>
                <a:cubicBezTo>
                  <a:pt x="7266480" y="205943"/>
                  <a:pt x="7241770" y="230653"/>
                  <a:pt x="7211288" y="230653"/>
                </a:cubicBezTo>
                <a:cubicBezTo>
                  <a:pt x="7180806" y="230653"/>
                  <a:pt x="7156096" y="205943"/>
                  <a:pt x="7156096" y="175462"/>
                </a:cubicBezTo>
                <a:cubicBezTo>
                  <a:pt x="7156096" y="144981"/>
                  <a:pt x="7180806" y="120271"/>
                  <a:pt x="7211288" y="120271"/>
                </a:cubicBezTo>
                <a:close/>
                <a:moveTo>
                  <a:pt x="5223474" y="120271"/>
                </a:moveTo>
                <a:cubicBezTo>
                  <a:pt x="5253956" y="120271"/>
                  <a:pt x="5278666" y="144981"/>
                  <a:pt x="5278666" y="175462"/>
                </a:cubicBezTo>
                <a:cubicBezTo>
                  <a:pt x="5278666" y="205943"/>
                  <a:pt x="5253956" y="230653"/>
                  <a:pt x="5223474" y="230653"/>
                </a:cubicBezTo>
                <a:cubicBezTo>
                  <a:pt x="5192992" y="230653"/>
                  <a:pt x="5168282" y="205943"/>
                  <a:pt x="5168282" y="175462"/>
                </a:cubicBezTo>
                <a:cubicBezTo>
                  <a:pt x="5168282" y="144981"/>
                  <a:pt x="5192992" y="120271"/>
                  <a:pt x="5223474" y="120271"/>
                </a:cubicBezTo>
                <a:close/>
                <a:moveTo>
                  <a:pt x="5093178" y="120271"/>
                </a:moveTo>
                <a:cubicBezTo>
                  <a:pt x="5123660" y="120271"/>
                  <a:pt x="5148370" y="144981"/>
                  <a:pt x="5148370" y="175462"/>
                </a:cubicBezTo>
                <a:cubicBezTo>
                  <a:pt x="5148370" y="205943"/>
                  <a:pt x="5123660" y="230653"/>
                  <a:pt x="5093178" y="230653"/>
                </a:cubicBezTo>
                <a:cubicBezTo>
                  <a:pt x="5062696" y="230653"/>
                  <a:pt x="5037986" y="205943"/>
                  <a:pt x="5037986" y="175462"/>
                </a:cubicBezTo>
                <a:cubicBezTo>
                  <a:pt x="5037986" y="144981"/>
                  <a:pt x="5062696" y="120271"/>
                  <a:pt x="5093178" y="120271"/>
                </a:cubicBezTo>
                <a:close/>
                <a:moveTo>
                  <a:pt x="4161077" y="120271"/>
                </a:moveTo>
                <a:cubicBezTo>
                  <a:pt x="4191559" y="120271"/>
                  <a:pt x="4216269" y="144981"/>
                  <a:pt x="4216269" y="175462"/>
                </a:cubicBezTo>
                <a:cubicBezTo>
                  <a:pt x="4216269" y="205943"/>
                  <a:pt x="4191559" y="230653"/>
                  <a:pt x="4161077" y="230653"/>
                </a:cubicBezTo>
                <a:cubicBezTo>
                  <a:pt x="4130595" y="230653"/>
                  <a:pt x="4105885" y="205943"/>
                  <a:pt x="4105885" y="175462"/>
                </a:cubicBezTo>
                <a:cubicBezTo>
                  <a:pt x="4105885" y="144981"/>
                  <a:pt x="4130595" y="120271"/>
                  <a:pt x="4161077" y="120271"/>
                </a:cubicBezTo>
                <a:close/>
                <a:moveTo>
                  <a:pt x="4030786" y="120271"/>
                </a:moveTo>
                <a:cubicBezTo>
                  <a:pt x="4061268" y="120271"/>
                  <a:pt x="4085978" y="144981"/>
                  <a:pt x="4085978" y="175462"/>
                </a:cubicBezTo>
                <a:cubicBezTo>
                  <a:pt x="4085978" y="205943"/>
                  <a:pt x="4061268" y="230653"/>
                  <a:pt x="4030786" y="230653"/>
                </a:cubicBezTo>
                <a:cubicBezTo>
                  <a:pt x="4000304" y="230653"/>
                  <a:pt x="3975594" y="205943"/>
                  <a:pt x="3975594" y="175462"/>
                </a:cubicBezTo>
                <a:cubicBezTo>
                  <a:pt x="3975594" y="144981"/>
                  <a:pt x="4000304" y="120271"/>
                  <a:pt x="4030786" y="120271"/>
                </a:cubicBezTo>
                <a:close/>
                <a:moveTo>
                  <a:pt x="3897148" y="120271"/>
                </a:moveTo>
                <a:cubicBezTo>
                  <a:pt x="3927630" y="120271"/>
                  <a:pt x="3952340" y="144981"/>
                  <a:pt x="3952340" y="175462"/>
                </a:cubicBezTo>
                <a:cubicBezTo>
                  <a:pt x="3952340" y="205943"/>
                  <a:pt x="3927630" y="230653"/>
                  <a:pt x="3897148" y="230653"/>
                </a:cubicBezTo>
                <a:cubicBezTo>
                  <a:pt x="3866666" y="230653"/>
                  <a:pt x="3841956" y="205943"/>
                  <a:pt x="3841956" y="175462"/>
                </a:cubicBezTo>
                <a:cubicBezTo>
                  <a:pt x="3841956" y="144981"/>
                  <a:pt x="3866666" y="120271"/>
                  <a:pt x="3897148" y="120271"/>
                </a:cubicBezTo>
                <a:close/>
                <a:moveTo>
                  <a:pt x="3763514" y="120271"/>
                </a:moveTo>
                <a:cubicBezTo>
                  <a:pt x="3793996" y="120271"/>
                  <a:pt x="3818706" y="144981"/>
                  <a:pt x="3818706" y="175462"/>
                </a:cubicBezTo>
                <a:cubicBezTo>
                  <a:pt x="3818706" y="205943"/>
                  <a:pt x="3793996" y="230653"/>
                  <a:pt x="3763514" y="230653"/>
                </a:cubicBezTo>
                <a:cubicBezTo>
                  <a:pt x="3733032" y="230653"/>
                  <a:pt x="3708322" y="205943"/>
                  <a:pt x="3708322" y="175462"/>
                </a:cubicBezTo>
                <a:cubicBezTo>
                  <a:pt x="3708322" y="144981"/>
                  <a:pt x="3733032" y="120271"/>
                  <a:pt x="3763514" y="120271"/>
                </a:cubicBezTo>
                <a:close/>
                <a:moveTo>
                  <a:pt x="3633221" y="120271"/>
                </a:moveTo>
                <a:cubicBezTo>
                  <a:pt x="3663703" y="120271"/>
                  <a:pt x="3688413" y="144981"/>
                  <a:pt x="3688413" y="175462"/>
                </a:cubicBezTo>
                <a:cubicBezTo>
                  <a:pt x="3688413" y="205943"/>
                  <a:pt x="3663703" y="230653"/>
                  <a:pt x="3633221" y="230653"/>
                </a:cubicBezTo>
                <a:cubicBezTo>
                  <a:pt x="3602739" y="230653"/>
                  <a:pt x="3578029" y="205943"/>
                  <a:pt x="3578029" y="175462"/>
                </a:cubicBezTo>
                <a:cubicBezTo>
                  <a:pt x="3578029" y="144981"/>
                  <a:pt x="3602739" y="120271"/>
                  <a:pt x="3633221" y="120271"/>
                </a:cubicBezTo>
                <a:close/>
                <a:moveTo>
                  <a:pt x="3499589" y="120271"/>
                </a:moveTo>
                <a:cubicBezTo>
                  <a:pt x="3530071" y="120271"/>
                  <a:pt x="3554781" y="144981"/>
                  <a:pt x="3554781" y="175462"/>
                </a:cubicBezTo>
                <a:cubicBezTo>
                  <a:pt x="3554781" y="205943"/>
                  <a:pt x="3530071" y="230653"/>
                  <a:pt x="3499589" y="230653"/>
                </a:cubicBezTo>
                <a:cubicBezTo>
                  <a:pt x="3469107" y="230653"/>
                  <a:pt x="3444397" y="205943"/>
                  <a:pt x="3444397" y="175462"/>
                </a:cubicBezTo>
                <a:cubicBezTo>
                  <a:pt x="3444397" y="144981"/>
                  <a:pt x="3469107" y="120271"/>
                  <a:pt x="3499589" y="120271"/>
                </a:cubicBezTo>
                <a:close/>
                <a:moveTo>
                  <a:pt x="3369293" y="120271"/>
                </a:moveTo>
                <a:cubicBezTo>
                  <a:pt x="3399775" y="120271"/>
                  <a:pt x="3424485" y="144981"/>
                  <a:pt x="3424485" y="175462"/>
                </a:cubicBezTo>
                <a:cubicBezTo>
                  <a:pt x="3424485" y="205943"/>
                  <a:pt x="3399775" y="230653"/>
                  <a:pt x="3369293" y="230653"/>
                </a:cubicBezTo>
                <a:cubicBezTo>
                  <a:pt x="3338811" y="230653"/>
                  <a:pt x="3314101" y="205943"/>
                  <a:pt x="3314101" y="175462"/>
                </a:cubicBezTo>
                <a:cubicBezTo>
                  <a:pt x="3314101" y="144981"/>
                  <a:pt x="3338811" y="120271"/>
                  <a:pt x="3369293" y="120271"/>
                </a:cubicBezTo>
                <a:close/>
                <a:moveTo>
                  <a:pt x="3235657" y="120271"/>
                </a:moveTo>
                <a:cubicBezTo>
                  <a:pt x="3266139" y="120271"/>
                  <a:pt x="3290849" y="144981"/>
                  <a:pt x="3290849" y="175462"/>
                </a:cubicBezTo>
                <a:cubicBezTo>
                  <a:pt x="3290849" y="205943"/>
                  <a:pt x="3266139" y="230653"/>
                  <a:pt x="3235657" y="230653"/>
                </a:cubicBezTo>
                <a:cubicBezTo>
                  <a:pt x="3205175" y="230653"/>
                  <a:pt x="3180465" y="205943"/>
                  <a:pt x="3180465" y="175462"/>
                </a:cubicBezTo>
                <a:cubicBezTo>
                  <a:pt x="3180465" y="144981"/>
                  <a:pt x="3205175" y="120271"/>
                  <a:pt x="3235657" y="120271"/>
                </a:cubicBezTo>
                <a:close/>
                <a:moveTo>
                  <a:pt x="3098682" y="120271"/>
                </a:moveTo>
                <a:cubicBezTo>
                  <a:pt x="3129164" y="120271"/>
                  <a:pt x="3153874" y="144981"/>
                  <a:pt x="3153874" y="175462"/>
                </a:cubicBezTo>
                <a:cubicBezTo>
                  <a:pt x="3153874" y="205943"/>
                  <a:pt x="3129164" y="230653"/>
                  <a:pt x="3098682" y="230653"/>
                </a:cubicBezTo>
                <a:cubicBezTo>
                  <a:pt x="3068200" y="230653"/>
                  <a:pt x="3043490" y="205943"/>
                  <a:pt x="3043490" y="175462"/>
                </a:cubicBezTo>
                <a:cubicBezTo>
                  <a:pt x="3043490" y="144981"/>
                  <a:pt x="3068200" y="120271"/>
                  <a:pt x="3098682" y="120271"/>
                </a:cubicBezTo>
                <a:close/>
                <a:moveTo>
                  <a:pt x="2971729" y="120271"/>
                </a:moveTo>
                <a:cubicBezTo>
                  <a:pt x="3002211" y="120271"/>
                  <a:pt x="3026921" y="144981"/>
                  <a:pt x="3026921" y="175462"/>
                </a:cubicBezTo>
                <a:cubicBezTo>
                  <a:pt x="3026921" y="205943"/>
                  <a:pt x="3002211" y="230653"/>
                  <a:pt x="2971729" y="230653"/>
                </a:cubicBezTo>
                <a:cubicBezTo>
                  <a:pt x="2941247" y="230653"/>
                  <a:pt x="2916537" y="205943"/>
                  <a:pt x="2916537" y="175462"/>
                </a:cubicBezTo>
                <a:cubicBezTo>
                  <a:pt x="2916537" y="144981"/>
                  <a:pt x="2941247" y="120271"/>
                  <a:pt x="2971729" y="120271"/>
                </a:cubicBezTo>
                <a:close/>
                <a:moveTo>
                  <a:pt x="2707903" y="120271"/>
                </a:moveTo>
                <a:cubicBezTo>
                  <a:pt x="2738390" y="120271"/>
                  <a:pt x="2763100" y="144981"/>
                  <a:pt x="2763100" y="175462"/>
                </a:cubicBezTo>
                <a:cubicBezTo>
                  <a:pt x="2763100" y="205943"/>
                  <a:pt x="2738390" y="230653"/>
                  <a:pt x="2707903" y="230653"/>
                </a:cubicBezTo>
                <a:cubicBezTo>
                  <a:pt x="2677427" y="230653"/>
                  <a:pt x="2652715" y="205943"/>
                  <a:pt x="2652715" y="175462"/>
                </a:cubicBezTo>
                <a:cubicBezTo>
                  <a:pt x="2652715" y="144981"/>
                  <a:pt x="2677427" y="120271"/>
                  <a:pt x="2707903" y="120271"/>
                </a:cubicBezTo>
                <a:close/>
                <a:moveTo>
                  <a:pt x="2570933" y="120271"/>
                </a:moveTo>
                <a:cubicBezTo>
                  <a:pt x="2601414" y="120271"/>
                  <a:pt x="2626123" y="144981"/>
                  <a:pt x="2626123" y="175462"/>
                </a:cubicBezTo>
                <a:cubicBezTo>
                  <a:pt x="2626123" y="205943"/>
                  <a:pt x="2601414" y="230653"/>
                  <a:pt x="2570933" y="230653"/>
                </a:cubicBezTo>
                <a:cubicBezTo>
                  <a:pt x="2540449" y="230653"/>
                  <a:pt x="2515738" y="205943"/>
                  <a:pt x="2515738" y="175462"/>
                </a:cubicBezTo>
                <a:cubicBezTo>
                  <a:pt x="2515738" y="144981"/>
                  <a:pt x="2540449" y="120271"/>
                  <a:pt x="2570933" y="120271"/>
                </a:cubicBezTo>
                <a:close/>
                <a:moveTo>
                  <a:pt x="2437297" y="120271"/>
                </a:moveTo>
                <a:cubicBezTo>
                  <a:pt x="2467781" y="120271"/>
                  <a:pt x="2492487" y="144981"/>
                  <a:pt x="2492487" y="175462"/>
                </a:cubicBezTo>
                <a:cubicBezTo>
                  <a:pt x="2492487" y="205943"/>
                  <a:pt x="2467781" y="230653"/>
                  <a:pt x="2437297" y="230653"/>
                </a:cubicBezTo>
                <a:cubicBezTo>
                  <a:pt x="2406818" y="230653"/>
                  <a:pt x="2382108" y="205943"/>
                  <a:pt x="2382108" y="175462"/>
                </a:cubicBezTo>
                <a:cubicBezTo>
                  <a:pt x="2382108" y="144981"/>
                  <a:pt x="2406818" y="120271"/>
                  <a:pt x="2437297" y="120271"/>
                </a:cubicBezTo>
                <a:close/>
                <a:moveTo>
                  <a:pt x="2303666" y="120271"/>
                </a:moveTo>
                <a:cubicBezTo>
                  <a:pt x="2334146" y="120271"/>
                  <a:pt x="2358856" y="144981"/>
                  <a:pt x="2358856" y="175462"/>
                </a:cubicBezTo>
                <a:cubicBezTo>
                  <a:pt x="2358856" y="205943"/>
                  <a:pt x="2334146" y="230653"/>
                  <a:pt x="2303666" y="230653"/>
                </a:cubicBezTo>
                <a:cubicBezTo>
                  <a:pt x="2273184" y="230653"/>
                  <a:pt x="2248473" y="205943"/>
                  <a:pt x="2248473" y="175462"/>
                </a:cubicBezTo>
                <a:cubicBezTo>
                  <a:pt x="2248473" y="144981"/>
                  <a:pt x="2273184" y="120271"/>
                  <a:pt x="2303666" y="120271"/>
                </a:cubicBezTo>
                <a:close/>
                <a:moveTo>
                  <a:pt x="2173372" y="120271"/>
                </a:moveTo>
                <a:cubicBezTo>
                  <a:pt x="2203857" y="120271"/>
                  <a:pt x="2228566" y="144981"/>
                  <a:pt x="2228566" y="175462"/>
                </a:cubicBezTo>
                <a:cubicBezTo>
                  <a:pt x="2228566" y="205943"/>
                  <a:pt x="2203857" y="230653"/>
                  <a:pt x="2173372" y="230653"/>
                </a:cubicBezTo>
                <a:cubicBezTo>
                  <a:pt x="2142892" y="230653"/>
                  <a:pt x="2118180" y="205943"/>
                  <a:pt x="2118180" y="175462"/>
                </a:cubicBezTo>
                <a:cubicBezTo>
                  <a:pt x="2118180" y="144981"/>
                  <a:pt x="2142892" y="120271"/>
                  <a:pt x="2173372" y="120271"/>
                </a:cubicBezTo>
                <a:close/>
                <a:moveTo>
                  <a:pt x="7341580" y="0"/>
                </a:moveTo>
                <a:cubicBezTo>
                  <a:pt x="7372062" y="0"/>
                  <a:pt x="7396772" y="24710"/>
                  <a:pt x="7396772" y="55191"/>
                </a:cubicBezTo>
                <a:cubicBezTo>
                  <a:pt x="7396772" y="85672"/>
                  <a:pt x="7372062" y="110382"/>
                  <a:pt x="7341580" y="110382"/>
                </a:cubicBezTo>
                <a:cubicBezTo>
                  <a:pt x="7311098" y="110382"/>
                  <a:pt x="7286388" y="85672"/>
                  <a:pt x="7286388" y="55191"/>
                </a:cubicBezTo>
                <a:cubicBezTo>
                  <a:pt x="7286388" y="24710"/>
                  <a:pt x="7311098" y="0"/>
                  <a:pt x="7341580" y="0"/>
                </a:cubicBezTo>
                <a:close/>
                <a:moveTo>
                  <a:pt x="4294713" y="0"/>
                </a:moveTo>
                <a:cubicBezTo>
                  <a:pt x="4325195" y="0"/>
                  <a:pt x="4349905" y="24710"/>
                  <a:pt x="4349905" y="55191"/>
                </a:cubicBezTo>
                <a:cubicBezTo>
                  <a:pt x="4349905" y="85672"/>
                  <a:pt x="4325195" y="110382"/>
                  <a:pt x="4294713" y="110382"/>
                </a:cubicBezTo>
                <a:cubicBezTo>
                  <a:pt x="4264231" y="110382"/>
                  <a:pt x="4239521" y="85672"/>
                  <a:pt x="4239521" y="55191"/>
                </a:cubicBezTo>
                <a:cubicBezTo>
                  <a:pt x="4239521" y="24710"/>
                  <a:pt x="4264231" y="0"/>
                  <a:pt x="4294713" y="0"/>
                </a:cubicBezTo>
                <a:close/>
                <a:moveTo>
                  <a:pt x="4161077" y="0"/>
                </a:moveTo>
                <a:cubicBezTo>
                  <a:pt x="4191559" y="0"/>
                  <a:pt x="4216269" y="24710"/>
                  <a:pt x="4216269" y="55191"/>
                </a:cubicBezTo>
                <a:cubicBezTo>
                  <a:pt x="4216269" y="85672"/>
                  <a:pt x="4191559" y="110382"/>
                  <a:pt x="4161077" y="110382"/>
                </a:cubicBezTo>
                <a:cubicBezTo>
                  <a:pt x="4130595" y="110382"/>
                  <a:pt x="4105885" y="85672"/>
                  <a:pt x="4105885" y="55191"/>
                </a:cubicBezTo>
                <a:cubicBezTo>
                  <a:pt x="4105885" y="24710"/>
                  <a:pt x="4130595" y="0"/>
                  <a:pt x="4161077" y="0"/>
                </a:cubicBezTo>
                <a:close/>
                <a:moveTo>
                  <a:pt x="4030786" y="0"/>
                </a:moveTo>
                <a:cubicBezTo>
                  <a:pt x="4061268" y="0"/>
                  <a:pt x="4085978" y="24710"/>
                  <a:pt x="4085978" y="55191"/>
                </a:cubicBezTo>
                <a:cubicBezTo>
                  <a:pt x="4085978" y="85672"/>
                  <a:pt x="4061268" y="110382"/>
                  <a:pt x="4030786" y="110382"/>
                </a:cubicBezTo>
                <a:cubicBezTo>
                  <a:pt x="4000304" y="110382"/>
                  <a:pt x="3975594" y="85672"/>
                  <a:pt x="3975594" y="55191"/>
                </a:cubicBezTo>
                <a:cubicBezTo>
                  <a:pt x="3975594" y="24710"/>
                  <a:pt x="4000304" y="0"/>
                  <a:pt x="4030786" y="0"/>
                </a:cubicBezTo>
                <a:close/>
                <a:moveTo>
                  <a:pt x="3897148" y="0"/>
                </a:moveTo>
                <a:cubicBezTo>
                  <a:pt x="3927630" y="0"/>
                  <a:pt x="3952340" y="24710"/>
                  <a:pt x="3952340" y="55191"/>
                </a:cubicBezTo>
                <a:cubicBezTo>
                  <a:pt x="3952340" y="85672"/>
                  <a:pt x="3927630" y="110382"/>
                  <a:pt x="3897148" y="110382"/>
                </a:cubicBezTo>
                <a:cubicBezTo>
                  <a:pt x="3866666" y="110382"/>
                  <a:pt x="3841956" y="85672"/>
                  <a:pt x="3841956" y="55191"/>
                </a:cubicBezTo>
                <a:cubicBezTo>
                  <a:pt x="3841956" y="24710"/>
                  <a:pt x="3866666" y="0"/>
                  <a:pt x="3897148" y="0"/>
                </a:cubicBezTo>
                <a:close/>
                <a:moveTo>
                  <a:pt x="3763514" y="0"/>
                </a:moveTo>
                <a:cubicBezTo>
                  <a:pt x="3793996" y="0"/>
                  <a:pt x="3818706" y="24710"/>
                  <a:pt x="3818706" y="55191"/>
                </a:cubicBezTo>
                <a:cubicBezTo>
                  <a:pt x="3818706" y="85672"/>
                  <a:pt x="3793996" y="110382"/>
                  <a:pt x="3763514" y="110382"/>
                </a:cubicBezTo>
                <a:cubicBezTo>
                  <a:pt x="3733032" y="110382"/>
                  <a:pt x="3708322" y="85672"/>
                  <a:pt x="3708322" y="55191"/>
                </a:cubicBezTo>
                <a:cubicBezTo>
                  <a:pt x="3708322" y="24710"/>
                  <a:pt x="3733032" y="0"/>
                  <a:pt x="3763514" y="0"/>
                </a:cubicBezTo>
                <a:close/>
                <a:moveTo>
                  <a:pt x="3633221" y="0"/>
                </a:moveTo>
                <a:cubicBezTo>
                  <a:pt x="3663703" y="0"/>
                  <a:pt x="3688413" y="24710"/>
                  <a:pt x="3688413" y="55191"/>
                </a:cubicBezTo>
                <a:cubicBezTo>
                  <a:pt x="3688413" y="85672"/>
                  <a:pt x="3663703" y="110382"/>
                  <a:pt x="3633221" y="110382"/>
                </a:cubicBezTo>
                <a:cubicBezTo>
                  <a:pt x="3602739" y="110382"/>
                  <a:pt x="3578029" y="85672"/>
                  <a:pt x="3578029" y="55191"/>
                </a:cubicBezTo>
                <a:cubicBezTo>
                  <a:pt x="3578029" y="24710"/>
                  <a:pt x="3602739" y="0"/>
                  <a:pt x="3633221" y="0"/>
                </a:cubicBezTo>
                <a:close/>
                <a:moveTo>
                  <a:pt x="3499589" y="0"/>
                </a:moveTo>
                <a:cubicBezTo>
                  <a:pt x="3530071" y="0"/>
                  <a:pt x="3554781" y="24710"/>
                  <a:pt x="3554781" y="55191"/>
                </a:cubicBezTo>
                <a:cubicBezTo>
                  <a:pt x="3554781" y="85672"/>
                  <a:pt x="3530071" y="110382"/>
                  <a:pt x="3499589" y="110382"/>
                </a:cubicBezTo>
                <a:cubicBezTo>
                  <a:pt x="3469107" y="110382"/>
                  <a:pt x="3444397" y="85672"/>
                  <a:pt x="3444397" y="55191"/>
                </a:cubicBezTo>
                <a:cubicBezTo>
                  <a:pt x="3444397" y="24710"/>
                  <a:pt x="3469107" y="0"/>
                  <a:pt x="3499589" y="0"/>
                </a:cubicBezTo>
                <a:close/>
                <a:moveTo>
                  <a:pt x="3369293" y="0"/>
                </a:moveTo>
                <a:cubicBezTo>
                  <a:pt x="3399775" y="0"/>
                  <a:pt x="3424485" y="24710"/>
                  <a:pt x="3424485" y="55191"/>
                </a:cubicBezTo>
                <a:cubicBezTo>
                  <a:pt x="3424485" y="85672"/>
                  <a:pt x="3399775" y="110382"/>
                  <a:pt x="3369293" y="110382"/>
                </a:cubicBezTo>
                <a:cubicBezTo>
                  <a:pt x="3338811" y="110382"/>
                  <a:pt x="3314101" y="85672"/>
                  <a:pt x="3314101" y="55191"/>
                </a:cubicBezTo>
                <a:cubicBezTo>
                  <a:pt x="3314101" y="24710"/>
                  <a:pt x="3338811" y="0"/>
                  <a:pt x="3369293" y="0"/>
                </a:cubicBezTo>
                <a:close/>
                <a:moveTo>
                  <a:pt x="3235657" y="0"/>
                </a:moveTo>
                <a:cubicBezTo>
                  <a:pt x="3266139" y="0"/>
                  <a:pt x="3290849" y="24710"/>
                  <a:pt x="3290849" y="55191"/>
                </a:cubicBezTo>
                <a:cubicBezTo>
                  <a:pt x="3290849" y="85672"/>
                  <a:pt x="3266139" y="110382"/>
                  <a:pt x="3235657" y="110382"/>
                </a:cubicBezTo>
                <a:cubicBezTo>
                  <a:pt x="3205175" y="110382"/>
                  <a:pt x="3180465" y="85672"/>
                  <a:pt x="3180465" y="55191"/>
                </a:cubicBezTo>
                <a:cubicBezTo>
                  <a:pt x="3180465" y="24710"/>
                  <a:pt x="3205175" y="0"/>
                  <a:pt x="3235657" y="0"/>
                </a:cubicBezTo>
                <a:close/>
                <a:moveTo>
                  <a:pt x="2834862" y="0"/>
                </a:moveTo>
                <a:cubicBezTo>
                  <a:pt x="2865342" y="0"/>
                  <a:pt x="2890052" y="24710"/>
                  <a:pt x="2890052" y="55191"/>
                </a:cubicBezTo>
                <a:cubicBezTo>
                  <a:pt x="2890052" y="85672"/>
                  <a:pt x="2865342" y="110382"/>
                  <a:pt x="2834862" y="110382"/>
                </a:cubicBezTo>
                <a:cubicBezTo>
                  <a:pt x="2804379" y="110382"/>
                  <a:pt x="2779671" y="85672"/>
                  <a:pt x="2779671" y="55191"/>
                </a:cubicBezTo>
                <a:cubicBezTo>
                  <a:pt x="2779671" y="24710"/>
                  <a:pt x="2804379" y="0"/>
                  <a:pt x="2834862" y="0"/>
                </a:cubicBezTo>
                <a:close/>
                <a:moveTo>
                  <a:pt x="2707903" y="0"/>
                </a:moveTo>
                <a:cubicBezTo>
                  <a:pt x="2738390" y="0"/>
                  <a:pt x="2763100" y="24710"/>
                  <a:pt x="2763100" y="55191"/>
                </a:cubicBezTo>
                <a:cubicBezTo>
                  <a:pt x="2763100" y="85672"/>
                  <a:pt x="2738390" y="110382"/>
                  <a:pt x="2707903" y="110382"/>
                </a:cubicBezTo>
                <a:cubicBezTo>
                  <a:pt x="2677427" y="110382"/>
                  <a:pt x="2652715" y="85672"/>
                  <a:pt x="2652715" y="55191"/>
                </a:cubicBezTo>
                <a:cubicBezTo>
                  <a:pt x="2652715" y="24710"/>
                  <a:pt x="2677427" y="0"/>
                  <a:pt x="2707903" y="0"/>
                </a:cubicBezTo>
                <a:close/>
                <a:moveTo>
                  <a:pt x="2570933" y="0"/>
                </a:moveTo>
                <a:cubicBezTo>
                  <a:pt x="2601414" y="0"/>
                  <a:pt x="2626123" y="24710"/>
                  <a:pt x="2626123" y="55191"/>
                </a:cubicBezTo>
                <a:cubicBezTo>
                  <a:pt x="2626123" y="85672"/>
                  <a:pt x="2601414" y="110382"/>
                  <a:pt x="2570933" y="110382"/>
                </a:cubicBezTo>
                <a:cubicBezTo>
                  <a:pt x="2540449" y="110382"/>
                  <a:pt x="2515738" y="85672"/>
                  <a:pt x="2515738" y="55191"/>
                </a:cubicBezTo>
                <a:cubicBezTo>
                  <a:pt x="2515738" y="24710"/>
                  <a:pt x="2540449" y="0"/>
                  <a:pt x="2570933" y="0"/>
                </a:cubicBezTo>
                <a:close/>
                <a:moveTo>
                  <a:pt x="2437297" y="0"/>
                </a:moveTo>
                <a:cubicBezTo>
                  <a:pt x="2467781" y="0"/>
                  <a:pt x="2492487" y="24710"/>
                  <a:pt x="2492487" y="55191"/>
                </a:cubicBezTo>
                <a:cubicBezTo>
                  <a:pt x="2492487" y="85672"/>
                  <a:pt x="2467781" y="110382"/>
                  <a:pt x="2437297" y="110382"/>
                </a:cubicBezTo>
                <a:cubicBezTo>
                  <a:pt x="2406818" y="110382"/>
                  <a:pt x="2382108" y="85672"/>
                  <a:pt x="2382108" y="55191"/>
                </a:cubicBezTo>
                <a:cubicBezTo>
                  <a:pt x="2382108" y="24710"/>
                  <a:pt x="2406818" y="0"/>
                  <a:pt x="2437297"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dirty="0">
              <a:solidFill>
                <a:srgbClr val="505050"/>
              </a:solidFill>
              <a:latin typeface="Segoe UI"/>
            </a:endParaRPr>
          </a:p>
        </p:txBody>
      </p:sp>
      <p:sp>
        <p:nvSpPr>
          <p:cNvPr id="828" name="Freeform: Shape 827"/>
          <p:cNvSpPr/>
          <p:nvPr/>
        </p:nvSpPr>
        <p:spPr>
          <a:xfrm>
            <a:off x="924508" y="3446335"/>
            <a:ext cx="669864" cy="309672"/>
          </a:xfrm>
          <a:custGeom>
            <a:avLst/>
            <a:gdLst>
              <a:gd name="connsiteX0" fmla="*/ 333618 w 531187"/>
              <a:gd name="connsiteY0" fmla="*/ 682320 h 835576"/>
              <a:gd name="connsiteX1" fmla="*/ 303480 w 531187"/>
              <a:gd name="connsiteY1" fmla="*/ 696608 h 835576"/>
              <a:gd name="connsiteX2" fmla="*/ 292318 w 531187"/>
              <a:gd name="connsiteY2" fmla="*/ 734224 h 835576"/>
              <a:gd name="connsiteX3" fmla="*/ 303480 w 531187"/>
              <a:gd name="connsiteY3" fmla="*/ 771840 h 835576"/>
              <a:gd name="connsiteX4" fmla="*/ 332725 w 531187"/>
              <a:gd name="connsiteY4" fmla="*/ 785681 h 835576"/>
              <a:gd name="connsiteX5" fmla="*/ 362305 w 531187"/>
              <a:gd name="connsiteY5" fmla="*/ 772287 h 835576"/>
              <a:gd name="connsiteX6" fmla="*/ 373243 w 531187"/>
              <a:gd name="connsiteY6" fmla="*/ 734894 h 835576"/>
              <a:gd name="connsiteX7" fmla="*/ 362639 w 531187"/>
              <a:gd name="connsiteY7" fmla="*/ 696161 h 835576"/>
              <a:gd name="connsiteX8" fmla="*/ 333618 w 531187"/>
              <a:gd name="connsiteY8" fmla="*/ 682320 h 835576"/>
              <a:gd name="connsiteX9" fmla="*/ 435863 w 531187"/>
              <a:gd name="connsiteY9" fmla="*/ 653968 h 835576"/>
              <a:gd name="connsiteX10" fmla="*/ 471917 w 531187"/>
              <a:gd name="connsiteY10" fmla="*/ 653968 h 835576"/>
              <a:gd name="connsiteX11" fmla="*/ 471917 w 531187"/>
              <a:gd name="connsiteY11" fmla="*/ 784788 h 835576"/>
              <a:gd name="connsiteX12" fmla="*/ 531187 w 531187"/>
              <a:gd name="connsiteY12" fmla="*/ 784788 h 835576"/>
              <a:gd name="connsiteX13" fmla="*/ 531187 w 531187"/>
              <a:gd name="connsiteY13" fmla="*/ 814033 h 835576"/>
              <a:gd name="connsiteX14" fmla="*/ 435863 w 531187"/>
              <a:gd name="connsiteY14" fmla="*/ 814033 h 835576"/>
              <a:gd name="connsiteX15" fmla="*/ 435863 w 531187"/>
              <a:gd name="connsiteY15" fmla="*/ 653968 h 835576"/>
              <a:gd name="connsiteX16" fmla="*/ 334623 w 531187"/>
              <a:gd name="connsiteY16" fmla="*/ 651290 h 835576"/>
              <a:gd name="connsiteX17" fmla="*/ 389987 w 531187"/>
              <a:gd name="connsiteY17" fmla="*/ 673725 h 835576"/>
              <a:gd name="connsiteX18" fmla="*/ 411195 w 531187"/>
              <a:gd name="connsiteY18" fmla="*/ 732885 h 835576"/>
              <a:gd name="connsiteX19" fmla="*/ 389205 w 531187"/>
              <a:gd name="connsiteY19" fmla="*/ 793718 h 835576"/>
              <a:gd name="connsiteX20" fmla="*/ 387754 w 531187"/>
              <a:gd name="connsiteY20" fmla="*/ 795225 h 835576"/>
              <a:gd name="connsiteX21" fmla="*/ 386303 w 531187"/>
              <a:gd name="connsiteY21" fmla="*/ 796620 h 835576"/>
              <a:gd name="connsiteX22" fmla="*/ 426822 w 531187"/>
              <a:gd name="connsiteY22" fmla="*/ 835576 h 835576"/>
              <a:gd name="connsiteX23" fmla="*/ 376369 w 531187"/>
              <a:gd name="connsiteY23" fmla="*/ 835576 h 835576"/>
              <a:gd name="connsiteX24" fmla="*/ 355161 w 531187"/>
              <a:gd name="connsiteY24" fmla="*/ 814033 h 835576"/>
              <a:gd name="connsiteX25" fmla="*/ 332055 w 531187"/>
              <a:gd name="connsiteY25" fmla="*/ 816824 h 835576"/>
              <a:gd name="connsiteX26" fmla="*/ 276021 w 531187"/>
              <a:gd name="connsiteY26" fmla="*/ 794499 h 835576"/>
              <a:gd name="connsiteX27" fmla="*/ 254367 w 531187"/>
              <a:gd name="connsiteY27" fmla="*/ 736122 h 835576"/>
              <a:gd name="connsiteX28" fmla="*/ 276356 w 531187"/>
              <a:gd name="connsiteY28" fmla="*/ 674730 h 835576"/>
              <a:gd name="connsiteX29" fmla="*/ 334623 w 531187"/>
              <a:gd name="connsiteY29" fmla="*/ 651290 h 835576"/>
              <a:gd name="connsiteX30" fmla="*/ 195394 w 531187"/>
              <a:gd name="connsiteY30" fmla="*/ 651290 h 835576"/>
              <a:gd name="connsiteX31" fmla="*/ 217551 w 531187"/>
              <a:gd name="connsiteY31" fmla="*/ 652796 h 835576"/>
              <a:gd name="connsiteX32" fmla="*/ 235354 w 531187"/>
              <a:gd name="connsiteY32" fmla="*/ 657429 h 835576"/>
              <a:gd name="connsiteX33" fmla="*/ 235354 w 531187"/>
              <a:gd name="connsiteY33" fmla="*/ 690803 h 835576"/>
              <a:gd name="connsiteX34" fmla="*/ 226592 w 531187"/>
              <a:gd name="connsiteY34" fmla="*/ 685892 h 835576"/>
              <a:gd name="connsiteX35" fmla="*/ 216825 w 531187"/>
              <a:gd name="connsiteY35" fmla="*/ 682376 h 835576"/>
              <a:gd name="connsiteX36" fmla="*/ 206835 w 531187"/>
              <a:gd name="connsiteY36" fmla="*/ 680311 h 835576"/>
              <a:gd name="connsiteX37" fmla="*/ 197403 w 531187"/>
              <a:gd name="connsiteY37" fmla="*/ 679641 h 835576"/>
              <a:gd name="connsiteX38" fmla="*/ 186241 w 531187"/>
              <a:gd name="connsiteY38" fmla="*/ 680813 h 835576"/>
              <a:gd name="connsiteX39" fmla="*/ 177758 w 531187"/>
              <a:gd name="connsiteY39" fmla="*/ 684106 h 835576"/>
              <a:gd name="connsiteX40" fmla="*/ 172400 w 531187"/>
              <a:gd name="connsiteY40" fmla="*/ 689185 h 835576"/>
              <a:gd name="connsiteX41" fmla="*/ 170502 w 531187"/>
              <a:gd name="connsiteY41" fmla="*/ 695826 h 835576"/>
              <a:gd name="connsiteX42" fmla="*/ 172623 w 531187"/>
              <a:gd name="connsiteY42" fmla="*/ 703026 h 835576"/>
              <a:gd name="connsiteX43" fmla="*/ 178651 w 531187"/>
              <a:gd name="connsiteY43" fmla="*/ 709053 h 835576"/>
              <a:gd name="connsiteX44" fmla="*/ 188138 w 531187"/>
              <a:gd name="connsiteY44" fmla="*/ 714635 h 835576"/>
              <a:gd name="connsiteX45" fmla="*/ 200752 w 531187"/>
              <a:gd name="connsiteY45" fmla="*/ 720271 h 835576"/>
              <a:gd name="connsiteX46" fmla="*/ 217997 w 531187"/>
              <a:gd name="connsiteY46" fmla="*/ 728810 h 835576"/>
              <a:gd name="connsiteX47" fmla="*/ 231113 w 531187"/>
              <a:gd name="connsiteY47" fmla="*/ 739024 h 835576"/>
              <a:gd name="connsiteX48" fmla="*/ 239484 w 531187"/>
              <a:gd name="connsiteY48" fmla="*/ 752028 h 835576"/>
              <a:gd name="connsiteX49" fmla="*/ 242386 w 531187"/>
              <a:gd name="connsiteY49" fmla="*/ 769050 h 835576"/>
              <a:gd name="connsiteX50" fmla="*/ 237308 w 531187"/>
              <a:gd name="connsiteY50" fmla="*/ 791541 h 835576"/>
              <a:gd name="connsiteX51" fmla="*/ 223522 w 531187"/>
              <a:gd name="connsiteY51" fmla="*/ 806275 h 835576"/>
              <a:gd name="connsiteX52" fmla="*/ 203263 w 531187"/>
              <a:gd name="connsiteY52" fmla="*/ 814368 h 835576"/>
              <a:gd name="connsiteX53" fmla="*/ 178874 w 531187"/>
              <a:gd name="connsiteY53" fmla="*/ 816824 h 835576"/>
              <a:gd name="connsiteX54" fmla="*/ 153815 w 531187"/>
              <a:gd name="connsiteY54" fmla="*/ 814591 h 835576"/>
              <a:gd name="connsiteX55" fmla="*/ 133221 w 531187"/>
              <a:gd name="connsiteY55" fmla="*/ 807894 h 835576"/>
              <a:gd name="connsiteX56" fmla="*/ 133221 w 531187"/>
              <a:gd name="connsiteY56" fmla="*/ 772175 h 835576"/>
              <a:gd name="connsiteX57" fmla="*/ 154317 w 531187"/>
              <a:gd name="connsiteY57" fmla="*/ 784398 h 835576"/>
              <a:gd name="connsiteX58" fmla="*/ 177311 w 531187"/>
              <a:gd name="connsiteY58" fmla="*/ 788472 h 835576"/>
              <a:gd name="connsiteX59" fmla="*/ 189199 w 531187"/>
              <a:gd name="connsiteY59" fmla="*/ 787244 h 835576"/>
              <a:gd name="connsiteX60" fmla="*/ 197682 w 531187"/>
              <a:gd name="connsiteY60" fmla="*/ 783840 h 835576"/>
              <a:gd name="connsiteX61" fmla="*/ 202761 w 531187"/>
              <a:gd name="connsiteY61" fmla="*/ 778705 h 835576"/>
              <a:gd name="connsiteX62" fmla="*/ 204435 w 531187"/>
              <a:gd name="connsiteY62" fmla="*/ 772287 h 835576"/>
              <a:gd name="connsiteX63" fmla="*/ 201756 w 531187"/>
              <a:gd name="connsiteY63" fmla="*/ 763915 h 835576"/>
              <a:gd name="connsiteX64" fmla="*/ 194445 w 531187"/>
              <a:gd name="connsiteY64" fmla="*/ 757106 h 835576"/>
              <a:gd name="connsiteX65" fmla="*/ 183450 w 531187"/>
              <a:gd name="connsiteY65" fmla="*/ 751079 h 835576"/>
              <a:gd name="connsiteX66" fmla="*/ 169721 w 531187"/>
              <a:gd name="connsiteY66" fmla="*/ 745163 h 835576"/>
              <a:gd name="connsiteX67" fmla="*/ 141760 w 531187"/>
              <a:gd name="connsiteY67" fmla="*/ 726076 h 835576"/>
              <a:gd name="connsiteX68" fmla="*/ 132551 w 531187"/>
              <a:gd name="connsiteY68" fmla="*/ 698840 h 835576"/>
              <a:gd name="connsiteX69" fmla="*/ 137574 w 531187"/>
              <a:gd name="connsiteY69" fmla="*/ 677353 h 835576"/>
              <a:gd name="connsiteX70" fmla="*/ 151248 w 531187"/>
              <a:gd name="connsiteY70" fmla="*/ 662563 h 835576"/>
              <a:gd name="connsiteX71" fmla="*/ 171284 w 531187"/>
              <a:gd name="connsiteY71" fmla="*/ 654024 h 835576"/>
              <a:gd name="connsiteX72" fmla="*/ 195394 w 531187"/>
              <a:gd name="connsiteY72" fmla="*/ 651290 h 835576"/>
              <a:gd name="connsiteX73" fmla="*/ 0 w 531187"/>
              <a:gd name="connsiteY73" fmla="*/ 0 h 835576"/>
              <a:gd name="connsiteX74" fmla="*/ 248557 w 531187"/>
              <a:gd name="connsiteY74" fmla="*/ 591457 h 835576"/>
              <a:gd name="connsiteX75" fmla="*/ 0 w 531187"/>
              <a:gd name="connsiteY75" fmla="*/ 0 h 835576"/>
              <a:gd name="connsiteX0" fmla="*/ 201067 w 398636"/>
              <a:gd name="connsiteY0" fmla="*/ 31030 h 184286"/>
              <a:gd name="connsiteX1" fmla="*/ 170929 w 398636"/>
              <a:gd name="connsiteY1" fmla="*/ 45318 h 184286"/>
              <a:gd name="connsiteX2" fmla="*/ 159767 w 398636"/>
              <a:gd name="connsiteY2" fmla="*/ 82934 h 184286"/>
              <a:gd name="connsiteX3" fmla="*/ 170929 w 398636"/>
              <a:gd name="connsiteY3" fmla="*/ 120550 h 184286"/>
              <a:gd name="connsiteX4" fmla="*/ 200174 w 398636"/>
              <a:gd name="connsiteY4" fmla="*/ 134391 h 184286"/>
              <a:gd name="connsiteX5" fmla="*/ 229754 w 398636"/>
              <a:gd name="connsiteY5" fmla="*/ 120997 h 184286"/>
              <a:gd name="connsiteX6" fmla="*/ 240692 w 398636"/>
              <a:gd name="connsiteY6" fmla="*/ 83604 h 184286"/>
              <a:gd name="connsiteX7" fmla="*/ 230088 w 398636"/>
              <a:gd name="connsiteY7" fmla="*/ 44871 h 184286"/>
              <a:gd name="connsiteX8" fmla="*/ 201067 w 398636"/>
              <a:gd name="connsiteY8" fmla="*/ 31030 h 184286"/>
              <a:gd name="connsiteX9" fmla="*/ 303312 w 398636"/>
              <a:gd name="connsiteY9" fmla="*/ 2678 h 184286"/>
              <a:gd name="connsiteX10" fmla="*/ 339366 w 398636"/>
              <a:gd name="connsiteY10" fmla="*/ 2678 h 184286"/>
              <a:gd name="connsiteX11" fmla="*/ 339366 w 398636"/>
              <a:gd name="connsiteY11" fmla="*/ 133498 h 184286"/>
              <a:gd name="connsiteX12" fmla="*/ 398636 w 398636"/>
              <a:gd name="connsiteY12" fmla="*/ 133498 h 184286"/>
              <a:gd name="connsiteX13" fmla="*/ 398636 w 398636"/>
              <a:gd name="connsiteY13" fmla="*/ 162743 h 184286"/>
              <a:gd name="connsiteX14" fmla="*/ 303312 w 398636"/>
              <a:gd name="connsiteY14" fmla="*/ 162743 h 184286"/>
              <a:gd name="connsiteX15" fmla="*/ 303312 w 398636"/>
              <a:gd name="connsiteY15" fmla="*/ 2678 h 184286"/>
              <a:gd name="connsiteX16" fmla="*/ 202072 w 398636"/>
              <a:gd name="connsiteY16" fmla="*/ 0 h 184286"/>
              <a:gd name="connsiteX17" fmla="*/ 257436 w 398636"/>
              <a:gd name="connsiteY17" fmla="*/ 22435 h 184286"/>
              <a:gd name="connsiteX18" fmla="*/ 278644 w 398636"/>
              <a:gd name="connsiteY18" fmla="*/ 81595 h 184286"/>
              <a:gd name="connsiteX19" fmla="*/ 256654 w 398636"/>
              <a:gd name="connsiteY19" fmla="*/ 142428 h 184286"/>
              <a:gd name="connsiteX20" fmla="*/ 255203 w 398636"/>
              <a:gd name="connsiteY20" fmla="*/ 143935 h 184286"/>
              <a:gd name="connsiteX21" fmla="*/ 253752 w 398636"/>
              <a:gd name="connsiteY21" fmla="*/ 145330 h 184286"/>
              <a:gd name="connsiteX22" fmla="*/ 294271 w 398636"/>
              <a:gd name="connsiteY22" fmla="*/ 184286 h 184286"/>
              <a:gd name="connsiteX23" fmla="*/ 243818 w 398636"/>
              <a:gd name="connsiteY23" fmla="*/ 184286 h 184286"/>
              <a:gd name="connsiteX24" fmla="*/ 222610 w 398636"/>
              <a:gd name="connsiteY24" fmla="*/ 162743 h 184286"/>
              <a:gd name="connsiteX25" fmla="*/ 199504 w 398636"/>
              <a:gd name="connsiteY25" fmla="*/ 165534 h 184286"/>
              <a:gd name="connsiteX26" fmla="*/ 143470 w 398636"/>
              <a:gd name="connsiteY26" fmla="*/ 143209 h 184286"/>
              <a:gd name="connsiteX27" fmla="*/ 121816 w 398636"/>
              <a:gd name="connsiteY27" fmla="*/ 84832 h 184286"/>
              <a:gd name="connsiteX28" fmla="*/ 143805 w 398636"/>
              <a:gd name="connsiteY28" fmla="*/ 23440 h 184286"/>
              <a:gd name="connsiteX29" fmla="*/ 202072 w 398636"/>
              <a:gd name="connsiteY29" fmla="*/ 0 h 184286"/>
              <a:gd name="connsiteX30" fmla="*/ 62843 w 398636"/>
              <a:gd name="connsiteY30" fmla="*/ 0 h 184286"/>
              <a:gd name="connsiteX31" fmla="*/ 85000 w 398636"/>
              <a:gd name="connsiteY31" fmla="*/ 1506 h 184286"/>
              <a:gd name="connsiteX32" fmla="*/ 102803 w 398636"/>
              <a:gd name="connsiteY32" fmla="*/ 6139 h 184286"/>
              <a:gd name="connsiteX33" fmla="*/ 102803 w 398636"/>
              <a:gd name="connsiteY33" fmla="*/ 39513 h 184286"/>
              <a:gd name="connsiteX34" fmla="*/ 94041 w 398636"/>
              <a:gd name="connsiteY34" fmla="*/ 34602 h 184286"/>
              <a:gd name="connsiteX35" fmla="*/ 84274 w 398636"/>
              <a:gd name="connsiteY35" fmla="*/ 31086 h 184286"/>
              <a:gd name="connsiteX36" fmla="*/ 74284 w 398636"/>
              <a:gd name="connsiteY36" fmla="*/ 29021 h 184286"/>
              <a:gd name="connsiteX37" fmla="*/ 64852 w 398636"/>
              <a:gd name="connsiteY37" fmla="*/ 28351 h 184286"/>
              <a:gd name="connsiteX38" fmla="*/ 53690 w 398636"/>
              <a:gd name="connsiteY38" fmla="*/ 29523 h 184286"/>
              <a:gd name="connsiteX39" fmla="*/ 45207 w 398636"/>
              <a:gd name="connsiteY39" fmla="*/ 32816 h 184286"/>
              <a:gd name="connsiteX40" fmla="*/ 39849 w 398636"/>
              <a:gd name="connsiteY40" fmla="*/ 37895 h 184286"/>
              <a:gd name="connsiteX41" fmla="*/ 37951 w 398636"/>
              <a:gd name="connsiteY41" fmla="*/ 44536 h 184286"/>
              <a:gd name="connsiteX42" fmla="*/ 40072 w 398636"/>
              <a:gd name="connsiteY42" fmla="*/ 51736 h 184286"/>
              <a:gd name="connsiteX43" fmla="*/ 46100 w 398636"/>
              <a:gd name="connsiteY43" fmla="*/ 57763 h 184286"/>
              <a:gd name="connsiteX44" fmla="*/ 55587 w 398636"/>
              <a:gd name="connsiteY44" fmla="*/ 63345 h 184286"/>
              <a:gd name="connsiteX45" fmla="*/ 68201 w 398636"/>
              <a:gd name="connsiteY45" fmla="*/ 68981 h 184286"/>
              <a:gd name="connsiteX46" fmla="*/ 85446 w 398636"/>
              <a:gd name="connsiteY46" fmla="*/ 77520 h 184286"/>
              <a:gd name="connsiteX47" fmla="*/ 98562 w 398636"/>
              <a:gd name="connsiteY47" fmla="*/ 87734 h 184286"/>
              <a:gd name="connsiteX48" fmla="*/ 106933 w 398636"/>
              <a:gd name="connsiteY48" fmla="*/ 100738 h 184286"/>
              <a:gd name="connsiteX49" fmla="*/ 109835 w 398636"/>
              <a:gd name="connsiteY49" fmla="*/ 117760 h 184286"/>
              <a:gd name="connsiteX50" fmla="*/ 104757 w 398636"/>
              <a:gd name="connsiteY50" fmla="*/ 140251 h 184286"/>
              <a:gd name="connsiteX51" fmla="*/ 90971 w 398636"/>
              <a:gd name="connsiteY51" fmla="*/ 154985 h 184286"/>
              <a:gd name="connsiteX52" fmla="*/ 70712 w 398636"/>
              <a:gd name="connsiteY52" fmla="*/ 163078 h 184286"/>
              <a:gd name="connsiteX53" fmla="*/ 46323 w 398636"/>
              <a:gd name="connsiteY53" fmla="*/ 165534 h 184286"/>
              <a:gd name="connsiteX54" fmla="*/ 21264 w 398636"/>
              <a:gd name="connsiteY54" fmla="*/ 163301 h 184286"/>
              <a:gd name="connsiteX55" fmla="*/ 670 w 398636"/>
              <a:gd name="connsiteY55" fmla="*/ 156604 h 184286"/>
              <a:gd name="connsiteX56" fmla="*/ 670 w 398636"/>
              <a:gd name="connsiteY56" fmla="*/ 120885 h 184286"/>
              <a:gd name="connsiteX57" fmla="*/ 21766 w 398636"/>
              <a:gd name="connsiteY57" fmla="*/ 133108 h 184286"/>
              <a:gd name="connsiteX58" fmla="*/ 44760 w 398636"/>
              <a:gd name="connsiteY58" fmla="*/ 137182 h 184286"/>
              <a:gd name="connsiteX59" fmla="*/ 56648 w 398636"/>
              <a:gd name="connsiteY59" fmla="*/ 135954 h 184286"/>
              <a:gd name="connsiteX60" fmla="*/ 65131 w 398636"/>
              <a:gd name="connsiteY60" fmla="*/ 132550 h 184286"/>
              <a:gd name="connsiteX61" fmla="*/ 70210 w 398636"/>
              <a:gd name="connsiteY61" fmla="*/ 127415 h 184286"/>
              <a:gd name="connsiteX62" fmla="*/ 71884 w 398636"/>
              <a:gd name="connsiteY62" fmla="*/ 120997 h 184286"/>
              <a:gd name="connsiteX63" fmla="*/ 69205 w 398636"/>
              <a:gd name="connsiteY63" fmla="*/ 112625 h 184286"/>
              <a:gd name="connsiteX64" fmla="*/ 61894 w 398636"/>
              <a:gd name="connsiteY64" fmla="*/ 105816 h 184286"/>
              <a:gd name="connsiteX65" fmla="*/ 50899 w 398636"/>
              <a:gd name="connsiteY65" fmla="*/ 99789 h 184286"/>
              <a:gd name="connsiteX66" fmla="*/ 37170 w 398636"/>
              <a:gd name="connsiteY66" fmla="*/ 93873 h 184286"/>
              <a:gd name="connsiteX67" fmla="*/ 9209 w 398636"/>
              <a:gd name="connsiteY67" fmla="*/ 74786 h 184286"/>
              <a:gd name="connsiteX68" fmla="*/ 0 w 398636"/>
              <a:gd name="connsiteY68" fmla="*/ 47550 h 184286"/>
              <a:gd name="connsiteX69" fmla="*/ 5023 w 398636"/>
              <a:gd name="connsiteY69" fmla="*/ 26063 h 184286"/>
              <a:gd name="connsiteX70" fmla="*/ 18697 w 398636"/>
              <a:gd name="connsiteY70" fmla="*/ 11273 h 184286"/>
              <a:gd name="connsiteX71" fmla="*/ 38733 w 398636"/>
              <a:gd name="connsiteY71" fmla="*/ 2734 h 184286"/>
              <a:gd name="connsiteX72" fmla="*/ 62843 w 398636"/>
              <a:gd name="connsiteY72" fmla="*/ 0 h 18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8636" h="184286">
                <a:moveTo>
                  <a:pt x="201067" y="31030"/>
                </a:moveTo>
                <a:cubicBezTo>
                  <a:pt x="188491" y="31030"/>
                  <a:pt x="178445" y="35793"/>
                  <a:pt x="170929" y="45318"/>
                </a:cubicBezTo>
                <a:cubicBezTo>
                  <a:pt x="163488" y="54768"/>
                  <a:pt x="159767" y="67307"/>
                  <a:pt x="159767" y="82934"/>
                </a:cubicBezTo>
                <a:cubicBezTo>
                  <a:pt x="159767" y="98784"/>
                  <a:pt x="163488" y="111323"/>
                  <a:pt x="170929" y="120550"/>
                </a:cubicBezTo>
                <a:cubicBezTo>
                  <a:pt x="178371" y="129778"/>
                  <a:pt x="188119" y="134391"/>
                  <a:pt x="200174" y="134391"/>
                </a:cubicBezTo>
                <a:cubicBezTo>
                  <a:pt x="212601" y="134391"/>
                  <a:pt x="222461" y="129927"/>
                  <a:pt x="229754" y="120997"/>
                </a:cubicBezTo>
                <a:cubicBezTo>
                  <a:pt x="237046" y="111918"/>
                  <a:pt x="240692" y="99454"/>
                  <a:pt x="240692" y="83604"/>
                </a:cubicBezTo>
                <a:cubicBezTo>
                  <a:pt x="240692" y="67084"/>
                  <a:pt x="237158" y="54173"/>
                  <a:pt x="230088" y="44871"/>
                </a:cubicBezTo>
                <a:cubicBezTo>
                  <a:pt x="223094" y="35644"/>
                  <a:pt x="213420" y="31030"/>
                  <a:pt x="201067" y="31030"/>
                </a:cubicBezTo>
                <a:close/>
                <a:moveTo>
                  <a:pt x="303312" y="2678"/>
                </a:moveTo>
                <a:lnTo>
                  <a:pt x="339366" y="2678"/>
                </a:lnTo>
                <a:lnTo>
                  <a:pt x="339366" y="133498"/>
                </a:lnTo>
                <a:lnTo>
                  <a:pt x="398636" y="133498"/>
                </a:lnTo>
                <a:lnTo>
                  <a:pt x="398636" y="162743"/>
                </a:lnTo>
                <a:lnTo>
                  <a:pt x="303312" y="162743"/>
                </a:lnTo>
                <a:lnTo>
                  <a:pt x="303312" y="2678"/>
                </a:lnTo>
                <a:close/>
                <a:moveTo>
                  <a:pt x="202072" y="0"/>
                </a:moveTo>
                <a:cubicBezTo>
                  <a:pt x="224917" y="0"/>
                  <a:pt x="243371" y="7478"/>
                  <a:pt x="257436" y="22435"/>
                </a:cubicBezTo>
                <a:cubicBezTo>
                  <a:pt x="271574" y="37318"/>
                  <a:pt x="278644" y="57038"/>
                  <a:pt x="278644" y="81595"/>
                </a:cubicBezTo>
                <a:cubicBezTo>
                  <a:pt x="278644" y="106672"/>
                  <a:pt x="271314" y="126950"/>
                  <a:pt x="256654" y="142428"/>
                </a:cubicBezTo>
                <a:cubicBezTo>
                  <a:pt x="256133" y="142949"/>
                  <a:pt x="255650" y="143451"/>
                  <a:pt x="255203" y="143935"/>
                </a:cubicBezTo>
                <a:cubicBezTo>
                  <a:pt x="254757" y="144419"/>
                  <a:pt x="254273" y="144884"/>
                  <a:pt x="253752" y="145330"/>
                </a:cubicBezTo>
                <a:lnTo>
                  <a:pt x="294271" y="184286"/>
                </a:lnTo>
                <a:lnTo>
                  <a:pt x="243818" y="184286"/>
                </a:lnTo>
                <a:lnTo>
                  <a:pt x="222610" y="162743"/>
                </a:lnTo>
                <a:cubicBezTo>
                  <a:pt x="215615" y="164603"/>
                  <a:pt x="207913" y="165534"/>
                  <a:pt x="199504" y="165534"/>
                </a:cubicBezTo>
                <a:cubicBezTo>
                  <a:pt x="176585" y="165534"/>
                  <a:pt x="157907" y="158092"/>
                  <a:pt x="143470" y="143209"/>
                </a:cubicBezTo>
                <a:cubicBezTo>
                  <a:pt x="129034" y="128178"/>
                  <a:pt x="121816" y="108719"/>
                  <a:pt x="121816" y="84832"/>
                </a:cubicBezTo>
                <a:cubicBezTo>
                  <a:pt x="121816" y="59605"/>
                  <a:pt x="129146" y="39141"/>
                  <a:pt x="143805" y="23440"/>
                </a:cubicBezTo>
                <a:cubicBezTo>
                  <a:pt x="158391" y="7813"/>
                  <a:pt x="177813" y="0"/>
                  <a:pt x="202072" y="0"/>
                </a:cubicBezTo>
                <a:close/>
                <a:moveTo>
                  <a:pt x="62843" y="0"/>
                </a:moveTo>
                <a:cubicBezTo>
                  <a:pt x="71177" y="0"/>
                  <a:pt x="78563" y="502"/>
                  <a:pt x="85000" y="1506"/>
                </a:cubicBezTo>
                <a:cubicBezTo>
                  <a:pt x="91436" y="2511"/>
                  <a:pt x="97371" y="4055"/>
                  <a:pt x="102803" y="6139"/>
                </a:cubicBezTo>
                <a:lnTo>
                  <a:pt x="102803" y="39513"/>
                </a:lnTo>
                <a:cubicBezTo>
                  <a:pt x="100124" y="37653"/>
                  <a:pt x="97204" y="36016"/>
                  <a:pt x="94041" y="34602"/>
                </a:cubicBezTo>
                <a:cubicBezTo>
                  <a:pt x="90878" y="33188"/>
                  <a:pt x="87623" y="32016"/>
                  <a:pt x="84274" y="31086"/>
                </a:cubicBezTo>
                <a:cubicBezTo>
                  <a:pt x="80925" y="30156"/>
                  <a:pt x="77595" y="29468"/>
                  <a:pt x="74284" y="29021"/>
                </a:cubicBezTo>
                <a:cubicBezTo>
                  <a:pt x="70973" y="28575"/>
                  <a:pt x="67829" y="28351"/>
                  <a:pt x="64852" y="28351"/>
                </a:cubicBezTo>
                <a:cubicBezTo>
                  <a:pt x="60759" y="28351"/>
                  <a:pt x="57039" y="28742"/>
                  <a:pt x="53690" y="29523"/>
                </a:cubicBezTo>
                <a:cubicBezTo>
                  <a:pt x="50341" y="30305"/>
                  <a:pt x="47514" y="31402"/>
                  <a:pt x="45207" y="32816"/>
                </a:cubicBezTo>
                <a:cubicBezTo>
                  <a:pt x="42900" y="34230"/>
                  <a:pt x="41114" y="35923"/>
                  <a:pt x="39849" y="37895"/>
                </a:cubicBezTo>
                <a:cubicBezTo>
                  <a:pt x="38584" y="39867"/>
                  <a:pt x="37951" y="42081"/>
                  <a:pt x="37951" y="44536"/>
                </a:cubicBezTo>
                <a:cubicBezTo>
                  <a:pt x="37951" y="47215"/>
                  <a:pt x="38658" y="49615"/>
                  <a:pt x="40072" y="51736"/>
                </a:cubicBezTo>
                <a:cubicBezTo>
                  <a:pt x="41486" y="53857"/>
                  <a:pt x="43495" y="55866"/>
                  <a:pt x="46100" y="57763"/>
                </a:cubicBezTo>
                <a:cubicBezTo>
                  <a:pt x="48704" y="59661"/>
                  <a:pt x="51867" y="61521"/>
                  <a:pt x="55587" y="63345"/>
                </a:cubicBezTo>
                <a:cubicBezTo>
                  <a:pt x="59308" y="65168"/>
                  <a:pt x="63513" y="67047"/>
                  <a:pt x="68201" y="68981"/>
                </a:cubicBezTo>
                <a:cubicBezTo>
                  <a:pt x="74600" y="71660"/>
                  <a:pt x="80349" y="74507"/>
                  <a:pt x="85446" y="77520"/>
                </a:cubicBezTo>
                <a:cubicBezTo>
                  <a:pt x="90543" y="80534"/>
                  <a:pt x="94915" y="83939"/>
                  <a:pt x="98562" y="87734"/>
                </a:cubicBezTo>
                <a:cubicBezTo>
                  <a:pt x="102208" y="91529"/>
                  <a:pt x="104998" y="95863"/>
                  <a:pt x="106933" y="100738"/>
                </a:cubicBezTo>
                <a:cubicBezTo>
                  <a:pt x="108868" y="105612"/>
                  <a:pt x="109835" y="111286"/>
                  <a:pt x="109835" y="117760"/>
                </a:cubicBezTo>
                <a:cubicBezTo>
                  <a:pt x="109835" y="126690"/>
                  <a:pt x="108142" y="134187"/>
                  <a:pt x="104757" y="140251"/>
                </a:cubicBezTo>
                <a:cubicBezTo>
                  <a:pt x="101371" y="146316"/>
                  <a:pt x="96776" y="151228"/>
                  <a:pt x="90971" y="154985"/>
                </a:cubicBezTo>
                <a:cubicBezTo>
                  <a:pt x="85167" y="158743"/>
                  <a:pt x="78414" y="161441"/>
                  <a:pt x="70712" y="163078"/>
                </a:cubicBezTo>
                <a:cubicBezTo>
                  <a:pt x="63010" y="164715"/>
                  <a:pt x="54881" y="165534"/>
                  <a:pt x="46323" y="165534"/>
                </a:cubicBezTo>
                <a:cubicBezTo>
                  <a:pt x="37542" y="165534"/>
                  <a:pt x="29189" y="164790"/>
                  <a:pt x="21264" y="163301"/>
                </a:cubicBezTo>
                <a:cubicBezTo>
                  <a:pt x="13339" y="161813"/>
                  <a:pt x="6474" y="159581"/>
                  <a:pt x="670" y="156604"/>
                </a:cubicBezTo>
                <a:lnTo>
                  <a:pt x="670" y="120885"/>
                </a:lnTo>
                <a:cubicBezTo>
                  <a:pt x="7144" y="126317"/>
                  <a:pt x="14176" y="130392"/>
                  <a:pt x="21766" y="133108"/>
                </a:cubicBezTo>
                <a:cubicBezTo>
                  <a:pt x="29357" y="135824"/>
                  <a:pt x="37021" y="137182"/>
                  <a:pt x="44760" y="137182"/>
                </a:cubicBezTo>
                <a:cubicBezTo>
                  <a:pt x="49299" y="137182"/>
                  <a:pt x="53262" y="136773"/>
                  <a:pt x="56648" y="135954"/>
                </a:cubicBezTo>
                <a:cubicBezTo>
                  <a:pt x="60034" y="135136"/>
                  <a:pt x="62861" y="134001"/>
                  <a:pt x="65131" y="132550"/>
                </a:cubicBezTo>
                <a:cubicBezTo>
                  <a:pt x="67401" y="131099"/>
                  <a:pt x="69094" y="129387"/>
                  <a:pt x="70210" y="127415"/>
                </a:cubicBezTo>
                <a:cubicBezTo>
                  <a:pt x="71326" y="125443"/>
                  <a:pt x="71884" y="123304"/>
                  <a:pt x="71884" y="120997"/>
                </a:cubicBezTo>
                <a:cubicBezTo>
                  <a:pt x="71884" y="117871"/>
                  <a:pt x="70991" y="115081"/>
                  <a:pt x="69205" y="112625"/>
                </a:cubicBezTo>
                <a:cubicBezTo>
                  <a:pt x="67419" y="110170"/>
                  <a:pt x="64982" y="107900"/>
                  <a:pt x="61894" y="105816"/>
                </a:cubicBezTo>
                <a:cubicBezTo>
                  <a:pt x="58806" y="103733"/>
                  <a:pt x="55141" y="101724"/>
                  <a:pt x="50899" y="99789"/>
                </a:cubicBezTo>
                <a:cubicBezTo>
                  <a:pt x="46658" y="97854"/>
                  <a:pt x="42081" y="95882"/>
                  <a:pt x="37170" y="93873"/>
                </a:cubicBezTo>
                <a:cubicBezTo>
                  <a:pt x="24668" y="88664"/>
                  <a:pt x="15348" y="82302"/>
                  <a:pt x="9209" y="74786"/>
                </a:cubicBezTo>
                <a:cubicBezTo>
                  <a:pt x="3070" y="67270"/>
                  <a:pt x="0" y="58191"/>
                  <a:pt x="0" y="47550"/>
                </a:cubicBezTo>
                <a:cubicBezTo>
                  <a:pt x="0" y="39216"/>
                  <a:pt x="1674" y="32053"/>
                  <a:pt x="5023" y="26063"/>
                </a:cubicBezTo>
                <a:cubicBezTo>
                  <a:pt x="8372" y="20073"/>
                  <a:pt x="12930" y="15143"/>
                  <a:pt x="18697" y="11273"/>
                </a:cubicBezTo>
                <a:cubicBezTo>
                  <a:pt x="24464" y="7404"/>
                  <a:pt x="31142" y="4557"/>
                  <a:pt x="38733" y="2734"/>
                </a:cubicBezTo>
                <a:cubicBezTo>
                  <a:pt x="46323" y="911"/>
                  <a:pt x="54360" y="0"/>
                  <a:pt x="62843"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latin typeface="Segoe UI"/>
            </a:endParaRPr>
          </a:p>
        </p:txBody>
      </p:sp>
      <p:pic>
        <p:nvPicPr>
          <p:cNvPr id="829" name="Picture 2" descr="https://c2.staticflickr.com/4/3701/19224697601_d03ecccf71_o.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3945" r="13945"/>
          <a:stretch/>
        </p:blipFill>
        <p:spPr bwMode="auto">
          <a:xfrm>
            <a:off x="10649982" y="3036547"/>
            <a:ext cx="554112" cy="768430"/>
          </a:xfrm>
          <a:prstGeom prst="rect">
            <a:avLst/>
          </a:prstGeom>
          <a:noFill/>
          <a:extLst>
            <a:ext uri="{909E8E84-426E-40DD-AFC4-6F175D3DCCD1}">
              <a14:hiddenFill xmlns:a14="http://schemas.microsoft.com/office/drawing/2010/main">
                <a:solidFill>
                  <a:srgbClr val="FFFFFF"/>
                </a:solidFill>
              </a14:hiddenFill>
            </a:ext>
          </a:extLst>
        </p:spPr>
      </p:pic>
      <p:pic>
        <p:nvPicPr>
          <p:cNvPr id="839" name="Picture 838" descr="https://upload.wikimedia.org/wikipedia/en/thumb/5/54/Gremlin_%28programming_language%29.png/383px-Gremlin_%28programming_language%29.png"/>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6616873" y="2509242"/>
            <a:ext cx="1560030" cy="606906"/>
          </a:xfrm>
          <a:prstGeom prst="rect">
            <a:avLst/>
          </a:prstGeom>
          <a:extLst>
            <a:ext uri="{909E8E84-426E-40DD-AFC4-6F175D3DCCD1}">
              <a14:hiddenFill xmlns:a14="http://schemas.microsoft.com/office/drawing/2010/main">
                <a:solidFill>
                  <a:srgbClr val="FFFFFF"/>
                </a:solidFill>
              </a14:hiddenFill>
            </a:ext>
          </a:extLst>
        </p:spPr>
      </p:pic>
      <p:pic>
        <p:nvPicPr>
          <p:cNvPr id="840" name="Picture 4" descr="File:MongoDB-Logo.sv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184451" y="2961477"/>
            <a:ext cx="1564327" cy="424476"/>
          </a:xfrm>
          <a:prstGeom prst="rect">
            <a:avLst/>
          </a:prstGeom>
          <a:noFill/>
          <a:extLst>
            <a:ext uri="{909E8E84-426E-40DD-AFC4-6F175D3DCCD1}">
              <a14:hiddenFill xmlns:a14="http://schemas.microsoft.com/office/drawing/2010/main">
                <a:solidFill>
                  <a:srgbClr val="FFFFFF"/>
                </a:solidFill>
              </a14:hiddenFill>
            </a:ext>
          </a:extLst>
        </p:spPr>
      </p:pic>
      <p:grpSp>
        <p:nvGrpSpPr>
          <p:cNvPr id="865" name="Group 864"/>
          <p:cNvGrpSpPr/>
          <p:nvPr/>
        </p:nvGrpSpPr>
        <p:grpSpPr>
          <a:xfrm>
            <a:off x="8764941" y="3950037"/>
            <a:ext cx="586303" cy="377163"/>
            <a:chOff x="7117181" y="5146654"/>
            <a:chExt cx="663064" cy="426544"/>
          </a:xfrm>
          <a:solidFill>
            <a:srgbClr val="59B4D9"/>
          </a:solidFill>
        </p:grpSpPr>
        <p:sp>
          <p:nvSpPr>
            <p:cNvPr id="866" name="Oval 865"/>
            <p:cNvSpPr/>
            <p:nvPr/>
          </p:nvSpPr>
          <p:spPr bwMode="auto">
            <a:xfrm rot="715722">
              <a:off x="7117181" y="5146654"/>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7" name="Oval 866"/>
            <p:cNvSpPr/>
            <p:nvPr/>
          </p:nvSpPr>
          <p:spPr bwMode="auto">
            <a:xfrm>
              <a:off x="7476127" y="5224668"/>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8" name="Oval 867"/>
            <p:cNvSpPr/>
            <p:nvPr/>
          </p:nvSpPr>
          <p:spPr bwMode="auto">
            <a:xfrm>
              <a:off x="7296654"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9" name="Oval 868"/>
            <p:cNvSpPr/>
            <p:nvPr/>
          </p:nvSpPr>
          <p:spPr bwMode="auto">
            <a:xfrm>
              <a:off x="7655599"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870" name="Straight Connector 869"/>
            <p:cNvCxnSpPr>
              <a:cxnSpLocks/>
            </p:cNvCxnSpPr>
            <p:nvPr/>
          </p:nvCxnSpPr>
          <p:spPr>
            <a:xfrm>
              <a:off x="7240481" y="5221859"/>
              <a:ext cx="235646" cy="65132"/>
            </a:xfrm>
            <a:prstGeom prst="line">
              <a:avLst/>
            </a:prstGeom>
            <a:grpFill/>
            <a:ln w="12700" cap="flat" cmpd="sng" algn="ctr">
              <a:solidFill>
                <a:schemeClr val="tx2"/>
              </a:solidFill>
              <a:prstDash val="sysDot"/>
              <a:miter lim="800000"/>
              <a:headEnd type="none"/>
              <a:tailEnd type="none"/>
            </a:ln>
            <a:effectLst/>
          </p:spPr>
        </p:cxnSp>
        <p:cxnSp>
          <p:nvCxnSpPr>
            <p:cNvPr id="871" name="Straight Connector 870"/>
            <p:cNvCxnSpPr>
              <a:cxnSpLocks/>
            </p:cNvCxnSpPr>
            <p:nvPr/>
          </p:nvCxnSpPr>
          <p:spPr>
            <a:xfrm>
              <a:off x="7421300" y="5510875"/>
              <a:ext cx="234299" cy="0"/>
            </a:xfrm>
            <a:prstGeom prst="line">
              <a:avLst/>
            </a:prstGeom>
            <a:grpFill/>
            <a:ln w="12700" cap="flat" cmpd="sng" algn="ctr">
              <a:solidFill>
                <a:schemeClr val="tx2"/>
              </a:solidFill>
              <a:prstDash val="sysDot"/>
              <a:miter lim="800000"/>
              <a:headEnd type="none"/>
              <a:tailEnd type="none"/>
            </a:ln>
            <a:effectLst/>
          </p:spPr>
        </p:cxnSp>
        <p:cxnSp>
          <p:nvCxnSpPr>
            <p:cNvPr id="872" name="Straight Connector 871"/>
            <p:cNvCxnSpPr>
              <a:cxnSpLocks/>
            </p:cNvCxnSpPr>
            <p:nvPr/>
          </p:nvCxnSpPr>
          <p:spPr>
            <a:xfrm>
              <a:off x="7582519" y="5331060"/>
              <a:ext cx="91334" cy="135746"/>
            </a:xfrm>
            <a:prstGeom prst="line">
              <a:avLst/>
            </a:prstGeom>
            <a:grpFill/>
            <a:ln w="12700" cap="flat" cmpd="sng" algn="ctr">
              <a:solidFill>
                <a:schemeClr val="tx2"/>
              </a:solidFill>
              <a:prstDash val="sysDot"/>
              <a:miter lim="800000"/>
              <a:headEnd type="none"/>
              <a:tailEnd type="none"/>
            </a:ln>
            <a:effectLst/>
          </p:spPr>
        </p:cxnSp>
        <p:cxnSp>
          <p:nvCxnSpPr>
            <p:cNvPr id="873" name="Straight Connector 872"/>
            <p:cNvCxnSpPr>
              <a:cxnSpLocks/>
            </p:cNvCxnSpPr>
            <p:nvPr/>
          </p:nvCxnSpPr>
          <p:spPr>
            <a:xfrm flipV="1">
              <a:off x="7403046" y="5331060"/>
              <a:ext cx="91335" cy="135746"/>
            </a:xfrm>
            <a:prstGeom prst="line">
              <a:avLst/>
            </a:prstGeom>
            <a:grpFill/>
            <a:ln w="12700" cap="flat" cmpd="sng" algn="ctr">
              <a:solidFill>
                <a:schemeClr val="tx2"/>
              </a:solidFill>
              <a:prstDash val="sysDot"/>
              <a:miter lim="800000"/>
              <a:headEnd type="none"/>
              <a:tailEnd type="none"/>
            </a:ln>
            <a:effectLst/>
          </p:spPr>
        </p:cxnSp>
      </p:grpSp>
      <p:grpSp>
        <p:nvGrpSpPr>
          <p:cNvPr id="874" name="Group 873"/>
          <p:cNvGrpSpPr/>
          <p:nvPr/>
        </p:nvGrpSpPr>
        <p:grpSpPr>
          <a:xfrm>
            <a:off x="6876015" y="3656510"/>
            <a:ext cx="499208" cy="473323"/>
            <a:chOff x="7128988" y="4166153"/>
            <a:chExt cx="604908" cy="573541"/>
          </a:xfrm>
        </p:grpSpPr>
        <p:cxnSp>
          <p:nvCxnSpPr>
            <p:cNvPr id="875" name="Straight Connector 874"/>
            <p:cNvCxnSpPr>
              <a:cxnSpLocks/>
            </p:cNvCxnSpPr>
            <p:nvPr/>
          </p:nvCxnSpPr>
          <p:spPr>
            <a:xfrm>
              <a:off x="7128988" y="4451736"/>
              <a:ext cx="238107" cy="72556"/>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6" name="Straight Connector 875"/>
            <p:cNvCxnSpPr>
              <a:cxnSpLocks/>
            </p:cNvCxnSpPr>
            <p:nvPr/>
          </p:nvCxnSpPr>
          <p:spPr>
            <a:xfrm flipV="1">
              <a:off x="7128988" y="4379180"/>
              <a:ext cx="233873" cy="72556"/>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77" name="Oval 876"/>
            <p:cNvSpPr/>
            <p:nvPr/>
          </p:nvSpPr>
          <p:spPr bwMode="auto">
            <a:xfrm>
              <a:off x="7128988" y="4383154"/>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78" name="Straight Connector 877"/>
            <p:cNvCxnSpPr>
              <a:cxnSpLocks/>
            </p:cNvCxnSpPr>
            <p:nvPr/>
          </p:nvCxnSpPr>
          <p:spPr>
            <a:xfrm>
              <a:off x="7367095" y="4524292"/>
              <a:ext cx="241432" cy="108368"/>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9" name="Straight Connector 878"/>
            <p:cNvCxnSpPr>
              <a:cxnSpLocks/>
            </p:cNvCxnSpPr>
            <p:nvPr/>
          </p:nvCxnSpPr>
          <p:spPr>
            <a:xfrm>
              <a:off x="7367095" y="4524292"/>
              <a:ext cx="229638" cy="1361"/>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0" name="Oval 879"/>
            <p:cNvSpPr/>
            <p:nvPr/>
          </p:nvSpPr>
          <p:spPr bwMode="auto">
            <a:xfrm rot="20946206">
              <a:off x="7596733" y="460253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1" name="Oval 880"/>
            <p:cNvSpPr/>
            <p:nvPr/>
          </p:nvSpPr>
          <p:spPr bwMode="auto">
            <a:xfrm>
              <a:off x="7596733" y="445707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82" name="Straight Connector 881"/>
            <p:cNvCxnSpPr>
              <a:cxnSpLocks/>
            </p:cNvCxnSpPr>
            <p:nvPr/>
          </p:nvCxnSpPr>
          <p:spPr>
            <a:xfrm>
              <a:off x="7362861" y="4379181"/>
              <a:ext cx="233872" cy="1013"/>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3" name="Oval 882"/>
            <p:cNvSpPr/>
            <p:nvPr/>
          </p:nvSpPr>
          <p:spPr bwMode="auto">
            <a:xfrm>
              <a:off x="7367095" y="4455710"/>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84" name="Straight Connector 883"/>
            <p:cNvCxnSpPr>
              <a:cxnSpLocks/>
            </p:cNvCxnSpPr>
            <p:nvPr/>
          </p:nvCxnSpPr>
          <p:spPr>
            <a:xfrm flipV="1">
              <a:off x="7362861" y="4277619"/>
              <a:ext cx="248934" cy="101562"/>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5" name="Oval 884"/>
            <p:cNvSpPr/>
            <p:nvPr/>
          </p:nvSpPr>
          <p:spPr bwMode="auto">
            <a:xfrm>
              <a:off x="7362861" y="4310599"/>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6" name="Oval 885"/>
            <p:cNvSpPr/>
            <p:nvPr/>
          </p:nvSpPr>
          <p:spPr bwMode="auto">
            <a:xfrm>
              <a:off x="7596733" y="4311612"/>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7" name="Oval 886"/>
            <p:cNvSpPr/>
            <p:nvPr/>
          </p:nvSpPr>
          <p:spPr bwMode="auto">
            <a:xfrm rot="377738">
              <a:off x="7596733" y="4166153"/>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grpSp>
      <p:sp>
        <p:nvSpPr>
          <p:cNvPr id="889" name="TextBox 888"/>
          <p:cNvSpPr txBox="1"/>
          <p:nvPr/>
        </p:nvSpPr>
        <p:spPr>
          <a:xfrm>
            <a:off x="4367177" y="4063639"/>
            <a:ext cx="996428"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Column-family</a:t>
            </a:r>
          </a:p>
        </p:txBody>
      </p:sp>
      <p:sp>
        <p:nvSpPr>
          <p:cNvPr id="890" name="TextBox 889"/>
          <p:cNvSpPr txBox="1"/>
          <p:nvPr/>
        </p:nvSpPr>
        <p:spPr>
          <a:xfrm>
            <a:off x="6832290" y="4138630"/>
            <a:ext cx="727122"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Document</a:t>
            </a:r>
          </a:p>
        </p:txBody>
      </p:sp>
      <p:sp>
        <p:nvSpPr>
          <p:cNvPr id="891" name="TextBox 890"/>
          <p:cNvSpPr txBox="1"/>
          <p:nvPr/>
        </p:nvSpPr>
        <p:spPr>
          <a:xfrm>
            <a:off x="8931096" y="4426926"/>
            <a:ext cx="467436"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Graph</a:t>
            </a:r>
          </a:p>
        </p:txBody>
      </p:sp>
      <p:sp>
        <p:nvSpPr>
          <p:cNvPr id="893" name="TextBox 892"/>
          <p:cNvSpPr txBox="1"/>
          <p:nvPr/>
        </p:nvSpPr>
        <p:spPr>
          <a:xfrm>
            <a:off x="819605" y="5509878"/>
            <a:ext cx="2021708"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Turnkey global distribution</a:t>
            </a:r>
          </a:p>
        </p:txBody>
      </p:sp>
      <p:sp>
        <p:nvSpPr>
          <p:cNvPr id="894" name="TextBox 893"/>
          <p:cNvSpPr txBox="1"/>
          <p:nvPr/>
        </p:nvSpPr>
        <p:spPr>
          <a:xfrm>
            <a:off x="2665537" y="4952921"/>
            <a:ext cx="1858201" cy="461665"/>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Elastic scale out </a:t>
            </a:r>
          </a:p>
          <a:p>
            <a:pPr algn="ctr" defTabSz="857124">
              <a:defRPr/>
            </a:pPr>
            <a:r>
              <a:rPr lang="en-US" sz="1200" kern="0" dirty="0">
                <a:solidFill>
                  <a:srgbClr val="002050"/>
                </a:solidFill>
                <a:latin typeface="Segoe UI"/>
                <a:cs typeface="Segoe UI Light" panose="020B0502040204020203" pitchFamily="34" charset="0"/>
              </a:rPr>
              <a:t>of storage &amp; throughput</a:t>
            </a:r>
          </a:p>
        </p:txBody>
      </p:sp>
      <p:sp>
        <p:nvSpPr>
          <p:cNvPr id="895" name="TextBox 894"/>
          <p:cNvSpPr txBox="1"/>
          <p:nvPr/>
        </p:nvSpPr>
        <p:spPr>
          <a:xfrm>
            <a:off x="4395442" y="4830534"/>
            <a:ext cx="3222357"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Guaranteed low latency at the 99</a:t>
            </a:r>
            <a:r>
              <a:rPr lang="en-US" sz="1200" kern="0" baseline="30000" dirty="0">
                <a:solidFill>
                  <a:srgbClr val="002050"/>
                </a:solidFill>
                <a:latin typeface="Segoe UI"/>
                <a:cs typeface="Segoe UI Light" panose="020B0502040204020203" pitchFamily="34" charset="0"/>
              </a:rPr>
              <a:t>th</a:t>
            </a:r>
            <a:r>
              <a:rPr lang="en-US" sz="1200" kern="0" dirty="0">
                <a:solidFill>
                  <a:srgbClr val="002050"/>
                </a:solidFill>
                <a:latin typeface="Segoe UI"/>
                <a:cs typeface="Segoe UI Light" panose="020B0502040204020203" pitchFamily="34" charset="0"/>
              </a:rPr>
              <a:t> percentile</a:t>
            </a:r>
          </a:p>
        </p:txBody>
      </p:sp>
      <p:sp>
        <p:nvSpPr>
          <p:cNvPr id="896" name="TextBox 895"/>
          <p:cNvSpPr txBox="1"/>
          <p:nvPr/>
        </p:nvSpPr>
        <p:spPr>
          <a:xfrm>
            <a:off x="9784424" y="5509878"/>
            <a:ext cx="1595309"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Comprehensive SLAs</a:t>
            </a:r>
          </a:p>
        </p:txBody>
      </p:sp>
      <p:sp>
        <p:nvSpPr>
          <p:cNvPr id="897" name="TextBox 896"/>
          <p:cNvSpPr txBox="1"/>
          <p:nvPr/>
        </p:nvSpPr>
        <p:spPr>
          <a:xfrm>
            <a:off x="7239920" y="5081896"/>
            <a:ext cx="2691764"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Five well-defined consistency models</a:t>
            </a:r>
          </a:p>
        </p:txBody>
      </p:sp>
      <p:grpSp>
        <p:nvGrpSpPr>
          <p:cNvPr id="905" name="Group 3"/>
          <p:cNvGrpSpPr/>
          <p:nvPr/>
        </p:nvGrpSpPr>
        <p:grpSpPr>
          <a:xfrm>
            <a:off x="2155722" y="6201962"/>
            <a:ext cx="752902" cy="752901"/>
            <a:chOff x="-4594157" y="2516834"/>
            <a:chExt cx="1070585" cy="1070585"/>
          </a:xfrm>
        </p:grpSpPr>
        <p:sp>
          <p:nvSpPr>
            <p:cNvPr id="90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07" name="Group 5"/>
            <p:cNvGrpSpPr/>
            <p:nvPr/>
          </p:nvGrpSpPr>
          <p:grpSpPr>
            <a:xfrm>
              <a:off x="-4594157" y="2516834"/>
              <a:ext cx="1070585" cy="1070585"/>
              <a:chOff x="10232415" y="2527090"/>
              <a:chExt cx="1070585" cy="1070585"/>
            </a:xfrm>
          </p:grpSpPr>
          <p:sp>
            <p:nvSpPr>
              <p:cNvPr id="908" name="Oval 6"/>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09" name="Graphic 90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0" name="Group 14"/>
          <p:cNvGrpSpPr/>
          <p:nvPr/>
        </p:nvGrpSpPr>
        <p:grpSpPr>
          <a:xfrm>
            <a:off x="7205301" y="6323443"/>
            <a:ext cx="752902" cy="752901"/>
            <a:chOff x="-4594157" y="2516834"/>
            <a:chExt cx="1070585" cy="1070585"/>
          </a:xfrm>
        </p:grpSpPr>
        <p:sp>
          <p:nvSpPr>
            <p:cNvPr id="91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12" name="Group 16"/>
            <p:cNvGrpSpPr/>
            <p:nvPr/>
          </p:nvGrpSpPr>
          <p:grpSpPr>
            <a:xfrm>
              <a:off x="-4594157" y="2516834"/>
              <a:ext cx="1070585" cy="1070585"/>
              <a:chOff x="10232415" y="2527090"/>
              <a:chExt cx="1070585" cy="1070585"/>
            </a:xfrm>
          </p:grpSpPr>
          <p:sp>
            <p:nvSpPr>
              <p:cNvPr id="913" name="Oval 1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14" name="Graphic 91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5" name="Group 24"/>
          <p:cNvGrpSpPr/>
          <p:nvPr/>
        </p:nvGrpSpPr>
        <p:grpSpPr>
          <a:xfrm>
            <a:off x="6130269" y="5962859"/>
            <a:ext cx="752902" cy="752901"/>
            <a:chOff x="-4594157" y="2516834"/>
            <a:chExt cx="1070585" cy="1070585"/>
          </a:xfrm>
        </p:grpSpPr>
        <p:sp>
          <p:nvSpPr>
            <p:cNvPr id="91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17" name="Group 26"/>
            <p:cNvGrpSpPr/>
            <p:nvPr/>
          </p:nvGrpSpPr>
          <p:grpSpPr>
            <a:xfrm>
              <a:off x="-4594157" y="2516834"/>
              <a:ext cx="1070585" cy="1070585"/>
              <a:chOff x="10232415" y="2527090"/>
              <a:chExt cx="1070585" cy="1070585"/>
            </a:xfrm>
          </p:grpSpPr>
          <p:sp>
            <p:nvSpPr>
              <p:cNvPr id="918" name="Oval 2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19" name="Graphic 91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20" name="Group 900"/>
          <p:cNvGrpSpPr/>
          <p:nvPr/>
        </p:nvGrpSpPr>
        <p:grpSpPr>
          <a:xfrm>
            <a:off x="9313584" y="5962859"/>
            <a:ext cx="752902" cy="752901"/>
            <a:chOff x="-4594157" y="2516834"/>
            <a:chExt cx="1070585" cy="1070585"/>
          </a:xfrm>
        </p:grpSpPr>
        <p:sp>
          <p:nvSpPr>
            <p:cNvPr id="92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22" name="Group 902"/>
            <p:cNvGrpSpPr/>
            <p:nvPr/>
          </p:nvGrpSpPr>
          <p:grpSpPr>
            <a:xfrm>
              <a:off x="-4594157" y="2516834"/>
              <a:ext cx="1070585" cy="1070585"/>
              <a:chOff x="10232415" y="2527090"/>
              <a:chExt cx="1070585" cy="1070585"/>
            </a:xfrm>
          </p:grpSpPr>
          <p:sp>
            <p:nvSpPr>
              <p:cNvPr id="923" name="Oval 903"/>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24" name="Graphic 92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sp>
        <p:nvSpPr>
          <p:cNvPr id="9" name="Freeform: Shape 8"/>
          <p:cNvSpPr/>
          <p:nvPr/>
        </p:nvSpPr>
        <p:spPr>
          <a:xfrm>
            <a:off x="-7257" y="4536008"/>
            <a:ext cx="12199257" cy="1037701"/>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928" name="Freeform: Shape 927"/>
          <p:cNvSpPr/>
          <p:nvPr/>
        </p:nvSpPr>
        <p:spPr>
          <a:xfrm>
            <a:off x="-7257" y="3439656"/>
            <a:ext cx="12199257" cy="1020029"/>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grpSp>
        <p:nvGrpSpPr>
          <p:cNvPr id="5" name="Group 4">
            <a:extLst>
              <a:ext uri="{FF2B5EF4-FFF2-40B4-BE49-F238E27FC236}">
                <a16:creationId xmlns:a16="http://schemas.microsoft.com/office/drawing/2014/main" id="{1CB37EAA-D927-46EA-89EE-4036E3D19DA4}"/>
              </a:ext>
            </a:extLst>
          </p:cNvPr>
          <p:cNvGrpSpPr/>
          <p:nvPr/>
        </p:nvGrpSpPr>
        <p:grpSpPr>
          <a:xfrm>
            <a:off x="4349751" y="2562848"/>
            <a:ext cx="1897954" cy="623188"/>
            <a:chOff x="5645189" y="2644649"/>
            <a:chExt cx="1897954" cy="623188"/>
          </a:xfrm>
        </p:grpSpPr>
        <p:sp>
          <p:nvSpPr>
            <p:cNvPr id="830" name="Freeform: Shape 28"/>
            <p:cNvSpPr/>
            <p:nvPr/>
          </p:nvSpPr>
          <p:spPr>
            <a:xfrm>
              <a:off x="5645189" y="2644649"/>
              <a:ext cx="722852" cy="623188"/>
            </a:xfrm>
            <a:custGeom>
              <a:avLst/>
              <a:gdLst>
                <a:gd name="connsiteX0" fmla="*/ 4283739 w 6912012"/>
                <a:gd name="connsiteY0" fmla="*/ 3558282 h 5959009"/>
                <a:gd name="connsiteX1" fmla="*/ 4283739 w 6912012"/>
                <a:gd name="connsiteY1" fmla="*/ 4359666 h 5959009"/>
                <a:gd name="connsiteX2" fmla="*/ 5085123 w 6912012"/>
                <a:gd name="connsiteY2" fmla="*/ 4359666 h 5959009"/>
                <a:gd name="connsiteX3" fmla="*/ 5085123 w 6912012"/>
                <a:gd name="connsiteY3" fmla="*/ 3558282 h 5959009"/>
                <a:gd name="connsiteX4" fmla="*/ 3285434 w 6912012"/>
                <a:gd name="connsiteY4" fmla="*/ 3558282 h 5959009"/>
                <a:gd name="connsiteX5" fmla="*/ 3285434 w 6912012"/>
                <a:gd name="connsiteY5" fmla="*/ 4359666 h 5959009"/>
                <a:gd name="connsiteX6" fmla="*/ 4086818 w 6912012"/>
                <a:gd name="connsiteY6" fmla="*/ 4359666 h 5959009"/>
                <a:gd name="connsiteX7" fmla="*/ 4086818 w 6912012"/>
                <a:gd name="connsiteY7" fmla="*/ 3558282 h 5959009"/>
                <a:gd name="connsiteX8" fmla="*/ 2287129 w 6912012"/>
                <a:gd name="connsiteY8" fmla="*/ 3558282 h 5959009"/>
                <a:gd name="connsiteX9" fmla="*/ 2287129 w 6912012"/>
                <a:gd name="connsiteY9" fmla="*/ 4359666 h 5959009"/>
                <a:gd name="connsiteX10" fmla="*/ 3088513 w 6912012"/>
                <a:gd name="connsiteY10" fmla="*/ 4359666 h 5959009"/>
                <a:gd name="connsiteX11" fmla="*/ 3088513 w 6912012"/>
                <a:gd name="connsiteY11" fmla="*/ 3558282 h 5959009"/>
                <a:gd name="connsiteX12" fmla="*/ 4283739 w 6912012"/>
                <a:gd name="connsiteY12" fmla="*/ 2561689 h 5959009"/>
                <a:gd name="connsiteX13" fmla="*/ 4283739 w 6912012"/>
                <a:gd name="connsiteY13" fmla="*/ 3363073 h 5959009"/>
                <a:gd name="connsiteX14" fmla="*/ 5085123 w 6912012"/>
                <a:gd name="connsiteY14" fmla="*/ 3363073 h 5959009"/>
                <a:gd name="connsiteX15" fmla="*/ 5085123 w 6912012"/>
                <a:gd name="connsiteY15" fmla="*/ 2561689 h 5959009"/>
                <a:gd name="connsiteX16" fmla="*/ 3285434 w 6912012"/>
                <a:gd name="connsiteY16" fmla="*/ 2561689 h 5959009"/>
                <a:gd name="connsiteX17" fmla="*/ 3285434 w 6912012"/>
                <a:gd name="connsiteY17" fmla="*/ 3363073 h 5959009"/>
                <a:gd name="connsiteX18" fmla="*/ 4086818 w 6912012"/>
                <a:gd name="connsiteY18" fmla="*/ 3363073 h 5959009"/>
                <a:gd name="connsiteX19" fmla="*/ 4086818 w 6912012"/>
                <a:gd name="connsiteY19" fmla="*/ 2561689 h 5959009"/>
                <a:gd name="connsiteX20" fmla="*/ 2287129 w 6912012"/>
                <a:gd name="connsiteY20" fmla="*/ 2561689 h 5959009"/>
                <a:gd name="connsiteX21" fmla="*/ 2287129 w 6912012"/>
                <a:gd name="connsiteY21" fmla="*/ 3363073 h 5959009"/>
                <a:gd name="connsiteX22" fmla="*/ 3088513 w 6912012"/>
                <a:gd name="connsiteY22" fmla="*/ 3363073 h 5959009"/>
                <a:gd name="connsiteX23" fmla="*/ 3088513 w 6912012"/>
                <a:gd name="connsiteY23" fmla="*/ 2561689 h 5959009"/>
                <a:gd name="connsiteX24" fmla="*/ 4283739 w 6912012"/>
                <a:gd name="connsiteY24" fmla="*/ 1565096 h 5959009"/>
                <a:gd name="connsiteX25" fmla="*/ 4283739 w 6912012"/>
                <a:gd name="connsiteY25" fmla="*/ 2366480 h 5959009"/>
                <a:gd name="connsiteX26" fmla="*/ 5085123 w 6912012"/>
                <a:gd name="connsiteY26" fmla="*/ 2366480 h 5959009"/>
                <a:gd name="connsiteX27" fmla="*/ 5085123 w 6912012"/>
                <a:gd name="connsiteY27" fmla="*/ 1565096 h 5959009"/>
                <a:gd name="connsiteX28" fmla="*/ 3285434 w 6912012"/>
                <a:gd name="connsiteY28" fmla="*/ 1565096 h 5959009"/>
                <a:gd name="connsiteX29" fmla="*/ 3285434 w 6912012"/>
                <a:gd name="connsiteY29" fmla="*/ 2366480 h 5959009"/>
                <a:gd name="connsiteX30" fmla="*/ 4086818 w 6912012"/>
                <a:gd name="connsiteY30" fmla="*/ 2366480 h 5959009"/>
                <a:gd name="connsiteX31" fmla="*/ 4086818 w 6912012"/>
                <a:gd name="connsiteY31" fmla="*/ 1565096 h 5959009"/>
                <a:gd name="connsiteX32" fmla="*/ 2287129 w 6912012"/>
                <a:gd name="connsiteY32" fmla="*/ 1565096 h 5959009"/>
                <a:gd name="connsiteX33" fmla="*/ 2287129 w 6912012"/>
                <a:gd name="connsiteY33" fmla="*/ 2366480 h 5959009"/>
                <a:gd name="connsiteX34" fmla="*/ 3088513 w 6912012"/>
                <a:gd name="connsiteY34" fmla="*/ 2366480 h 5959009"/>
                <a:gd name="connsiteX35" fmla="*/ 3088513 w 6912012"/>
                <a:gd name="connsiteY35" fmla="*/ 1565096 h 5959009"/>
                <a:gd name="connsiteX36" fmla="*/ 1826890 w 6912012"/>
                <a:gd name="connsiteY36" fmla="*/ 1539635 h 5959009"/>
                <a:gd name="connsiteX37" fmla="*/ 1826890 w 6912012"/>
                <a:gd name="connsiteY37" fmla="*/ 4787206 h 5959009"/>
                <a:gd name="connsiteX38" fmla="*/ 5085123 w 6912012"/>
                <a:gd name="connsiteY38" fmla="*/ 4787206 h 5959009"/>
                <a:gd name="connsiteX39" fmla="*/ 5085123 w 6912012"/>
                <a:gd name="connsiteY39" fmla="*/ 4567677 h 5959009"/>
                <a:gd name="connsiteX40" fmla="*/ 2046419 w 6912012"/>
                <a:gd name="connsiteY40" fmla="*/ 4567677 h 5959009"/>
                <a:gd name="connsiteX41" fmla="*/ 2046419 w 6912012"/>
                <a:gd name="connsiteY41" fmla="*/ 1539635 h 5959009"/>
                <a:gd name="connsiteX42" fmla="*/ 1743189 w 6912012"/>
                <a:gd name="connsiteY42" fmla="*/ 0 h 5959009"/>
                <a:gd name="connsiteX43" fmla="*/ 5168823 w 6912012"/>
                <a:gd name="connsiteY43" fmla="*/ 0 h 5959009"/>
                <a:gd name="connsiteX44" fmla="*/ 6912012 w 6912012"/>
                <a:gd name="connsiteY44" fmla="*/ 2979505 h 5959009"/>
                <a:gd name="connsiteX45" fmla="*/ 5168823 w 6912012"/>
                <a:gd name="connsiteY45" fmla="*/ 5959009 h 5959009"/>
                <a:gd name="connsiteX46" fmla="*/ 1743189 w 6912012"/>
                <a:gd name="connsiteY46" fmla="*/ 5959009 h 5959009"/>
                <a:gd name="connsiteX47" fmla="*/ 0 w 6912012"/>
                <a:gd name="connsiteY47" fmla="*/ 2979505 h 5959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912012" h="5959009">
                  <a:moveTo>
                    <a:pt x="4283739" y="3558282"/>
                  </a:moveTo>
                  <a:lnTo>
                    <a:pt x="4283739" y="4359666"/>
                  </a:lnTo>
                  <a:lnTo>
                    <a:pt x="5085123" y="4359666"/>
                  </a:lnTo>
                  <a:lnTo>
                    <a:pt x="5085123" y="3558282"/>
                  </a:lnTo>
                  <a:close/>
                  <a:moveTo>
                    <a:pt x="3285434" y="3558282"/>
                  </a:moveTo>
                  <a:lnTo>
                    <a:pt x="3285434" y="4359666"/>
                  </a:lnTo>
                  <a:lnTo>
                    <a:pt x="4086818" y="4359666"/>
                  </a:lnTo>
                  <a:lnTo>
                    <a:pt x="4086818" y="3558282"/>
                  </a:lnTo>
                  <a:close/>
                  <a:moveTo>
                    <a:pt x="2287129" y="3558282"/>
                  </a:moveTo>
                  <a:lnTo>
                    <a:pt x="2287129" y="4359666"/>
                  </a:lnTo>
                  <a:lnTo>
                    <a:pt x="3088513" y="4359666"/>
                  </a:lnTo>
                  <a:lnTo>
                    <a:pt x="3088513" y="3558282"/>
                  </a:lnTo>
                  <a:close/>
                  <a:moveTo>
                    <a:pt x="4283739" y="2561689"/>
                  </a:moveTo>
                  <a:lnTo>
                    <a:pt x="4283739" y="3363073"/>
                  </a:lnTo>
                  <a:lnTo>
                    <a:pt x="5085123" y="3363073"/>
                  </a:lnTo>
                  <a:lnTo>
                    <a:pt x="5085123" y="2561689"/>
                  </a:lnTo>
                  <a:close/>
                  <a:moveTo>
                    <a:pt x="3285434" y="2561689"/>
                  </a:moveTo>
                  <a:lnTo>
                    <a:pt x="3285434" y="3363073"/>
                  </a:lnTo>
                  <a:lnTo>
                    <a:pt x="4086818" y="3363073"/>
                  </a:lnTo>
                  <a:lnTo>
                    <a:pt x="4086818" y="2561689"/>
                  </a:lnTo>
                  <a:close/>
                  <a:moveTo>
                    <a:pt x="2287129" y="2561689"/>
                  </a:moveTo>
                  <a:lnTo>
                    <a:pt x="2287129" y="3363073"/>
                  </a:lnTo>
                  <a:lnTo>
                    <a:pt x="3088513" y="3363073"/>
                  </a:lnTo>
                  <a:lnTo>
                    <a:pt x="3088513" y="2561689"/>
                  </a:lnTo>
                  <a:close/>
                  <a:moveTo>
                    <a:pt x="4283739" y="1565096"/>
                  </a:moveTo>
                  <a:lnTo>
                    <a:pt x="4283739" y="2366480"/>
                  </a:lnTo>
                  <a:lnTo>
                    <a:pt x="5085123" y="2366480"/>
                  </a:lnTo>
                  <a:lnTo>
                    <a:pt x="5085123" y="1565096"/>
                  </a:lnTo>
                  <a:close/>
                  <a:moveTo>
                    <a:pt x="3285434" y="1565096"/>
                  </a:moveTo>
                  <a:lnTo>
                    <a:pt x="3285434" y="2366480"/>
                  </a:lnTo>
                  <a:lnTo>
                    <a:pt x="4086818" y="2366480"/>
                  </a:lnTo>
                  <a:lnTo>
                    <a:pt x="4086818" y="1565096"/>
                  </a:lnTo>
                  <a:close/>
                  <a:moveTo>
                    <a:pt x="2287129" y="1565096"/>
                  </a:moveTo>
                  <a:lnTo>
                    <a:pt x="2287129" y="2366480"/>
                  </a:lnTo>
                  <a:lnTo>
                    <a:pt x="3088513" y="2366480"/>
                  </a:lnTo>
                  <a:lnTo>
                    <a:pt x="3088513" y="1565096"/>
                  </a:lnTo>
                  <a:close/>
                  <a:moveTo>
                    <a:pt x="1826890" y="1539635"/>
                  </a:moveTo>
                  <a:lnTo>
                    <a:pt x="1826890" y="4787206"/>
                  </a:lnTo>
                  <a:lnTo>
                    <a:pt x="5085123" y="4787206"/>
                  </a:lnTo>
                  <a:lnTo>
                    <a:pt x="5085123" y="4567677"/>
                  </a:lnTo>
                  <a:lnTo>
                    <a:pt x="2046419" y="4567677"/>
                  </a:lnTo>
                  <a:lnTo>
                    <a:pt x="2046419" y="1539635"/>
                  </a:lnTo>
                  <a:close/>
                  <a:moveTo>
                    <a:pt x="1743189" y="0"/>
                  </a:moveTo>
                  <a:lnTo>
                    <a:pt x="5168823" y="0"/>
                  </a:lnTo>
                  <a:lnTo>
                    <a:pt x="6912012" y="2979505"/>
                  </a:lnTo>
                  <a:lnTo>
                    <a:pt x="5168823" y="5959009"/>
                  </a:lnTo>
                  <a:lnTo>
                    <a:pt x="1743189" y="5959009"/>
                  </a:lnTo>
                  <a:lnTo>
                    <a:pt x="0" y="297950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latin typeface="Segoe UI"/>
              </a:endParaRPr>
            </a:p>
          </p:txBody>
        </p:sp>
        <p:sp>
          <p:nvSpPr>
            <p:cNvPr id="3" name="TextBox 2"/>
            <p:cNvSpPr txBox="1"/>
            <p:nvPr/>
          </p:nvSpPr>
          <p:spPr>
            <a:xfrm>
              <a:off x="6430723" y="2787717"/>
              <a:ext cx="1112420" cy="369332"/>
            </a:xfrm>
            <a:prstGeom prst="rect">
              <a:avLst/>
            </a:prstGeom>
            <a:noFill/>
          </p:spPr>
          <p:txBody>
            <a:bodyPr wrap="none" rtlCol="0">
              <a:spAutoFit/>
            </a:bodyPr>
            <a:lstStyle/>
            <a:p>
              <a:r>
                <a:rPr lang="en-US" dirty="0">
                  <a:solidFill>
                    <a:srgbClr val="000000"/>
                  </a:solidFill>
                  <a:latin typeface="Segoe UI"/>
                </a:rPr>
                <a:t>Table API</a:t>
              </a:r>
            </a:p>
          </p:txBody>
        </p:sp>
      </p:grpSp>
      <p:grpSp>
        <p:nvGrpSpPr>
          <p:cNvPr id="93" name="Group 92"/>
          <p:cNvGrpSpPr/>
          <p:nvPr/>
        </p:nvGrpSpPr>
        <p:grpSpPr>
          <a:xfrm>
            <a:off x="4468630" y="3829867"/>
            <a:ext cx="648960" cy="124646"/>
            <a:chOff x="4937947" y="5178778"/>
            <a:chExt cx="733930" cy="124646"/>
          </a:xfrm>
        </p:grpSpPr>
        <p:cxnSp>
          <p:nvCxnSpPr>
            <p:cNvPr id="94" name="Straight Connector 93"/>
            <p:cNvCxnSpPr>
              <a:cxnSpLocks/>
            </p:cNvCxnSpPr>
            <p:nvPr/>
          </p:nvCxnSpPr>
          <p:spPr>
            <a:xfrm>
              <a:off x="5062593" y="5241101"/>
              <a:ext cx="187117" cy="0"/>
            </a:xfrm>
            <a:prstGeom prst="line">
              <a:avLst/>
            </a:prstGeom>
            <a:noFill/>
            <a:ln w="12700" cap="flat" cmpd="sng" algn="ctr">
              <a:solidFill>
                <a:schemeClr val="tx2"/>
              </a:solidFill>
              <a:prstDash val="sysDot"/>
              <a:miter lim="800000"/>
              <a:headEnd type="none"/>
              <a:tailEnd type="none"/>
            </a:ln>
            <a:effectLst/>
          </p:spPr>
        </p:cxnSp>
        <p:sp>
          <p:nvSpPr>
            <p:cNvPr id="95" name="Oval 94"/>
            <p:cNvSpPr/>
            <p:nvPr/>
          </p:nvSpPr>
          <p:spPr bwMode="auto">
            <a:xfrm>
              <a:off x="4937947" y="5178778"/>
              <a:ext cx="124646" cy="124646"/>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6" name="Oval 95"/>
            <p:cNvSpPr/>
            <p:nvPr/>
          </p:nvSpPr>
          <p:spPr bwMode="auto">
            <a:xfrm>
              <a:off x="5249710"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7" name="Oval 96"/>
            <p:cNvSpPr/>
            <p:nvPr/>
          </p:nvSpPr>
          <p:spPr bwMode="auto">
            <a:xfrm>
              <a:off x="5404122"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8" name="Oval 97"/>
            <p:cNvSpPr/>
            <p:nvPr/>
          </p:nvSpPr>
          <p:spPr bwMode="auto">
            <a:xfrm>
              <a:off x="5558535"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grpSp>
        <p:nvGrpSpPr>
          <p:cNvPr id="118" name="Group 117"/>
          <p:cNvGrpSpPr/>
          <p:nvPr/>
        </p:nvGrpSpPr>
        <p:grpSpPr>
          <a:xfrm>
            <a:off x="2522203" y="3918617"/>
            <a:ext cx="723819" cy="774671"/>
            <a:chOff x="4511512" y="6316301"/>
            <a:chExt cx="668502" cy="1610561"/>
          </a:xfrm>
        </p:grpSpPr>
        <p:grpSp>
          <p:nvGrpSpPr>
            <p:cNvPr id="119" name="Group 118"/>
            <p:cNvGrpSpPr/>
            <p:nvPr/>
          </p:nvGrpSpPr>
          <p:grpSpPr>
            <a:xfrm>
              <a:off x="4511512" y="6316301"/>
              <a:ext cx="617679" cy="892977"/>
              <a:chOff x="4066669" y="5178779"/>
              <a:chExt cx="1357897" cy="892977"/>
            </a:xfrm>
          </p:grpSpPr>
          <p:cxnSp>
            <p:nvCxnSpPr>
              <p:cNvPr id="121" name="Straight Connector 120"/>
              <p:cNvCxnSpPr>
                <a:cxnSpLocks/>
              </p:cNvCxnSpPr>
              <p:nvPr/>
            </p:nvCxnSpPr>
            <p:spPr>
              <a:xfrm>
                <a:off x="4308965" y="5299925"/>
                <a:ext cx="895279" cy="0"/>
              </a:xfrm>
              <a:prstGeom prst="line">
                <a:avLst/>
              </a:prstGeom>
              <a:noFill/>
              <a:ln w="12700" cap="flat" cmpd="sng" algn="ctr">
                <a:solidFill>
                  <a:schemeClr val="tx2"/>
                </a:solidFill>
                <a:prstDash val="sysDot"/>
                <a:miter lim="800000"/>
                <a:headEnd type="none"/>
                <a:tailEnd type="none"/>
              </a:ln>
              <a:effectLst/>
            </p:spPr>
          </p:cxnSp>
          <p:sp>
            <p:nvSpPr>
              <p:cNvPr id="122" name="Oval 121"/>
              <p:cNvSpPr/>
              <p:nvPr/>
            </p:nvSpPr>
            <p:spPr bwMode="auto">
              <a:xfrm>
                <a:off x="4066669" y="517877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3" name="Oval 122"/>
              <p:cNvSpPr/>
              <p:nvPr/>
            </p:nvSpPr>
            <p:spPr bwMode="auto">
              <a:xfrm>
                <a:off x="5204244" y="5189764"/>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124" name="Straight Connector 123"/>
              <p:cNvCxnSpPr>
                <a:cxnSpLocks/>
              </p:cNvCxnSpPr>
              <p:nvPr/>
            </p:nvCxnSpPr>
            <p:spPr>
              <a:xfrm>
                <a:off x="4308965" y="5620439"/>
                <a:ext cx="895279" cy="0"/>
              </a:xfrm>
              <a:prstGeom prst="line">
                <a:avLst/>
              </a:prstGeom>
              <a:noFill/>
              <a:ln w="12700" cap="flat" cmpd="sng" algn="ctr">
                <a:solidFill>
                  <a:schemeClr val="tx2"/>
                </a:solidFill>
                <a:prstDash val="sysDot"/>
                <a:miter lim="800000"/>
                <a:headEnd type="none"/>
                <a:tailEnd type="none"/>
              </a:ln>
              <a:effectLst/>
            </p:spPr>
          </p:cxnSp>
          <p:sp>
            <p:nvSpPr>
              <p:cNvPr id="125" name="Oval 124"/>
              <p:cNvSpPr/>
              <p:nvPr/>
            </p:nvSpPr>
            <p:spPr bwMode="auto">
              <a:xfrm>
                <a:off x="4066669" y="5499293"/>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6" name="Oval 125"/>
              <p:cNvSpPr/>
              <p:nvPr/>
            </p:nvSpPr>
            <p:spPr bwMode="auto">
              <a:xfrm>
                <a:off x="5204244" y="5510278"/>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127" name="Straight Connector 126"/>
              <p:cNvCxnSpPr>
                <a:cxnSpLocks/>
              </p:cNvCxnSpPr>
              <p:nvPr/>
            </p:nvCxnSpPr>
            <p:spPr>
              <a:xfrm>
                <a:off x="4308965" y="5950606"/>
                <a:ext cx="895279" cy="0"/>
              </a:xfrm>
              <a:prstGeom prst="line">
                <a:avLst/>
              </a:prstGeom>
              <a:noFill/>
              <a:ln w="12700" cap="flat" cmpd="sng" algn="ctr">
                <a:solidFill>
                  <a:schemeClr val="tx2"/>
                </a:solidFill>
                <a:prstDash val="sysDot"/>
                <a:miter lim="800000"/>
                <a:headEnd type="none"/>
                <a:tailEnd type="none"/>
              </a:ln>
              <a:effectLst/>
            </p:spPr>
          </p:cxnSp>
          <p:sp>
            <p:nvSpPr>
              <p:cNvPr id="128" name="Oval 127"/>
              <p:cNvSpPr/>
              <p:nvPr/>
            </p:nvSpPr>
            <p:spPr bwMode="auto">
              <a:xfrm>
                <a:off x="4066669" y="582945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9" name="Oval 128"/>
              <p:cNvSpPr/>
              <p:nvPr/>
            </p:nvSpPr>
            <p:spPr bwMode="auto">
              <a:xfrm>
                <a:off x="5204244" y="5840445"/>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sp>
          <p:nvSpPr>
            <p:cNvPr id="120" name="TextBox 119"/>
            <p:cNvSpPr txBox="1"/>
            <p:nvPr/>
          </p:nvSpPr>
          <p:spPr>
            <a:xfrm>
              <a:off x="4538071" y="7398964"/>
              <a:ext cx="641943" cy="527898"/>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Key-value</a:t>
              </a:r>
            </a:p>
          </p:txBody>
        </p:sp>
      </p:grpSp>
      <p:sp>
        <p:nvSpPr>
          <p:cNvPr id="84" name="Title 10"/>
          <p:cNvSpPr>
            <a:spLocks noGrp="1"/>
          </p:cNvSpPr>
          <p:nvPr>
            <p:ph type="title"/>
          </p:nvPr>
        </p:nvSpPr>
        <p:spPr>
          <a:xfrm>
            <a:off x="185254" y="296723"/>
            <a:ext cx="11642721" cy="917575"/>
          </a:xfrm>
        </p:spPr>
        <p:txBody>
          <a:bodyPr>
            <a:noAutofit/>
          </a:bodyPr>
          <a:lstStyle/>
          <a:p>
            <a:pPr algn="ctr"/>
            <a:r>
              <a:rPr lang="en-US" dirty="0">
                <a:solidFill>
                  <a:schemeClr val="bg1"/>
                </a:solidFill>
              </a:rPr>
              <a:t>Azure Cosmos DB</a:t>
            </a:r>
            <a:br>
              <a:rPr lang="en-US" dirty="0">
                <a:solidFill>
                  <a:schemeClr val="bg1"/>
                </a:solidFill>
              </a:rPr>
            </a:br>
            <a:r>
              <a:rPr lang="en-US" sz="2400" dirty="0">
                <a:solidFill>
                  <a:schemeClr val="bg1"/>
                </a:solidFill>
              </a:rPr>
              <a:t>A globally distributed, massively scalable, multi-model database service</a:t>
            </a:r>
          </a:p>
        </p:txBody>
      </p:sp>
      <p:sp>
        <p:nvSpPr>
          <p:cNvPr id="4" name="Freeform: Shape 3"/>
          <p:cNvSpPr/>
          <p:nvPr/>
        </p:nvSpPr>
        <p:spPr>
          <a:xfrm>
            <a:off x="1937408" y="3350623"/>
            <a:ext cx="8027488" cy="1483697"/>
          </a:xfrm>
          <a:custGeom>
            <a:avLst/>
            <a:gdLst>
              <a:gd name="connsiteX0" fmla="*/ 3980066 w 8027488"/>
              <a:gd name="connsiteY0" fmla="*/ 130628 h 1483697"/>
              <a:gd name="connsiteX1" fmla="*/ 2438649 w 8027488"/>
              <a:gd name="connsiteY1" fmla="*/ 215537 h 1483697"/>
              <a:gd name="connsiteX2" fmla="*/ 773135 w 8027488"/>
              <a:gd name="connsiteY2" fmla="*/ 385354 h 1483697"/>
              <a:gd name="connsiteX3" fmla="*/ 237558 w 8027488"/>
              <a:gd name="connsiteY3" fmla="*/ 522514 h 1483697"/>
              <a:gd name="connsiteX4" fmla="*/ 2426 w 8027488"/>
              <a:gd name="connsiteY4" fmla="*/ 966651 h 1483697"/>
              <a:gd name="connsiteX5" fmla="*/ 368186 w 8027488"/>
              <a:gd name="connsiteY5" fmla="*/ 1299754 h 1483697"/>
              <a:gd name="connsiteX6" fmla="*/ 1223803 w 8027488"/>
              <a:gd name="connsiteY6" fmla="*/ 1482634 h 1483697"/>
              <a:gd name="connsiteX7" fmla="*/ 2301489 w 8027488"/>
              <a:gd name="connsiteY7" fmla="*/ 1221377 h 1483697"/>
              <a:gd name="connsiteX8" fmla="*/ 4332763 w 8027488"/>
              <a:gd name="connsiteY8" fmla="*/ 1110343 h 1483697"/>
              <a:gd name="connsiteX9" fmla="*/ 6128906 w 8027488"/>
              <a:gd name="connsiteY9" fmla="*/ 1221377 h 1483697"/>
              <a:gd name="connsiteX10" fmla="*/ 7258843 w 8027488"/>
              <a:gd name="connsiteY10" fmla="*/ 1391194 h 1483697"/>
              <a:gd name="connsiteX11" fmla="*/ 7833609 w 8027488"/>
              <a:gd name="connsiteY11" fmla="*/ 1169126 h 1483697"/>
              <a:gd name="connsiteX12" fmla="*/ 7931581 w 8027488"/>
              <a:gd name="connsiteY12" fmla="*/ 555171 h 1483697"/>
              <a:gd name="connsiteX13" fmla="*/ 6533855 w 8027488"/>
              <a:gd name="connsiteY13" fmla="*/ 202474 h 1483697"/>
              <a:gd name="connsiteX14" fmla="*/ 4620146 w 8027488"/>
              <a:gd name="connsiteY14" fmla="*/ 58783 h 1483697"/>
              <a:gd name="connsiteX15" fmla="*/ 3744935 w 8027488"/>
              <a:gd name="connsiteY15" fmla="*/ 0 h 1483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027488" h="1483697">
                <a:moveTo>
                  <a:pt x="3980066" y="130628"/>
                </a:moveTo>
                <a:cubicBezTo>
                  <a:pt x="3476601" y="151855"/>
                  <a:pt x="2973137" y="173083"/>
                  <a:pt x="2438649" y="215537"/>
                </a:cubicBezTo>
                <a:cubicBezTo>
                  <a:pt x="1904160" y="257991"/>
                  <a:pt x="1139984" y="334191"/>
                  <a:pt x="773135" y="385354"/>
                </a:cubicBezTo>
                <a:cubicBezTo>
                  <a:pt x="406286" y="436517"/>
                  <a:pt x="366009" y="425631"/>
                  <a:pt x="237558" y="522514"/>
                </a:cubicBezTo>
                <a:cubicBezTo>
                  <a:pt x="109107" y="619397"/>
                  <a:pt x="-19345" y="837111"/>
                  <a:pt x="2426" y="966651"/>
                </a:cubicBezTo>
                <a:cubicBezTo>
                  <a:pt x="24197" y="1096191"/>
                  <a:pt x="164623" y="1213757"/>
                  <a:pt x="368186" y="1299754"/>
                </a:cubicBezTo>
                <a:cubicBezTo>
                  <a:pt x="571749" y="1385751"/>
                  <a:pt x="901586" y="1495697"/>
                  <a:pt x="1223803" y="1482634"/>
                </a:cubicBezTo>
                <a:cubicBezTo>
                  <a:pt x="1546020" y="1469571"/>
                  <a:pt x="1783329" y="1283426"/>
                  <a:pt x="2301489" y="1221377"/>
                </a:cubicBezTo>
                <a:cubicBezTo>
                  <a:pt x="2819649" y="1159328"/>
                  <a:pt x="3694860" y="1110343"/>
                  <a:pt x="4332763" y="1110343"/>
                </a:cubicBezTo>
                <a:cubicBezTo>
                  <a:pt x="4970666" y="1110343"/>
                  <a:pt x="5641226" y="1174569"/>
                  <a:pt x="6128906" y="1221377"/>
                </a:cubicBezTo>
                <a:cubicBezTo>
                  <a:pt x="6616586" y="1268185"/>
                  <a:pt x="6974726" y="1399902"/>
                  <a:pt x="7258843" y="1391194"/>
                </a:cubicBezTo>
                <a:cubicBezTo>
                  <a:pt x="7542960" y="1382486"/>
                  <a:pt x="7721486" y="1308463"/>
                  <a:pt x="7833609" y="1169126"/>
                </a:cubicBezTo>
                <a:cubicBezTo>
                  <a:pt x="7945732" y="1029789"/>
                  <a:pt x="8148207" y="716280"/>
                  <a:pt x="7931581" y="555171"/>
                </a:cubicBezTo>
                <a:cubicBezTo>
                  <a:pt x="7714955" y="394062"/>
                  <a:pt x="7085761" y="285205"/>
                  <a:pt x="6533855" y="202474"/>
                </a:cubicBezTo>
                <a:cubicBezTo>
                  <a:pt x="5981949" y="119743"/>
                  <a:pt x="4620146" y="58783"/>
                  <a:pt x="4620146" y="58783"/>
                </a:cubicBezTo>
                <a:lnTo>
                  <a:pt x="3744935" y="0"/>
                </a:lnTo>
              </a:path>
            </a:pathLst>
          </a:custGeom>
          <a:no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9" name="Picture 2" descr="Image result for cassandra logo">
            <a:extLst>
              <a:ext uri="{FF2B5EF4-FFF2-40B4-BE49-F238E27FC236}">
                <a16:creationId xmlns:a16="http://schemas.microsoft.com/office/drawing/2014/main" id="{CEE189FD-357C-45E7-A856-589ACDB22EA3}"/>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689270" y="2592781"/>
            <a:ext cx="1202369" cy="8062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187602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t="16744"/>
          <a:stretch/>
        </p:blipFill>
        <p:spPr>
          <a:xfrm>
            <a:off x="865" y="1377240"/>
            <a:ext cx="12190271" cy="5708874"/>
          </a:xfrm>
          <a:prstGeom prst="rect">
            <a:avLst/>
          </a:prstGeom>
        </p:spPr>
      </p:pic>
      <p:sp>
        <p:nvSpPr>
          <p:cNvPr id="3" name="TextBox 2"/>
          <p:cNvSpPr txBox="1"/>
          <p:nvPr/>
        </p:nvSpPr>
        <p:spPr>
          <a:xfrm>
            <a:off x="865" y="229087"/>
            <a:ext cx="12190271" cy="1042197"/>
          </a:xfrm>
          <a:prstGeom prst="rect">
            <a:avLst/>
          </a:prstGeom>
          <a:noFill/>
        </p:spPr>
        <p:txBody>
          <a:bodyPr wrap="square" lIns="182854" tIns="146284" rIns="182854" bIns="146284" rtlCol="0">
            <a:spAutoFit/>
          </a:bodyPr>
          <a:lstStyle/>
          <a:p>
            <a:pPr algn="ctr" defTabSz="914367">
              <a:lnSpc>
                <a:spcPct val="90000"/>
              </a:lnSpc>
              <a:spcAft>
                <a:spcPts val="600"/>
              </a:spcAft>
            </a:pPr>
            <a:r>
              <a:rPr lang="en-US" sz="5392" dirty="0">
                <a:solidFill>
                  <a:srgbClr val="FFFFFF"/>
                </a:solidFill>
                <a:latin typeface="Segoe UI Light"/>
              </a:rPr>
              <a:t>The World Doesn’t Look Like This</a:t>
            </a:r>
          </a:p>
        </p:txBody>
      </p:sp>
    </p:spTree>
    <p:extLst>
      <p:ext uri="{BB962C8B-B14F-4D97-AF65-F5344CB8AC3E}">
        <p14:creationId xmlns:p14="http://schemas.microsoft.com/office/powerpoint/2010/main" val="25065825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89F19534-5AD8-4CCF-8AC3-A3009021A778}"/>
              </a:ext>
            </a:extLst>
          </p:cNvPr>
          <p:cNvGrpSpPr/>
          <p:nvPr/>
        </p:nvGrpSpPr>
        <p:grpSpPr>
          <a:xfrm>
            <a:off x="1" y="4504924"/>
            <a:ext cx="12192000" cy="2196566"/>
            <a:chOff x="0" y="4361576"/>
            <a:chExt cx="12436475" cy="2240612"/>
          </a:xfrm>
        </p:grpSpPr>
        <p:sp>
          <p:nvSpPr>
            <p:cNvPr id="273" name="Freeform: Shape 99"/>
            <p:cNvSpPr/>
            <p:nvPr/>
          </p:nvSpPr>
          <p:spPr>
            <a:xfrm>
              <a:off x="0" y="4361576"/>
              <a:ext cx="12436475" cy="2240612"/>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15361" h="1745574">
                  <a:moveTo>
                    <a:pt x="5907680" y="0"/>
                  </a:moveTo>
                  <a:cubicBezTo>
                    <a:pt x="8502236" y="0"/>
                    <a:pt x="10736988" y="686989"/>
                    <a:pt x="11747164" y="1675322"/>
                  </a:cubicBezTo>
                  <a:lnTo>
                    <a:pt x="11815361" y="1745574"/>
                  </a:lnTo>
                  <a:lnTo>
                    <a:pt x="0" y="1745574"/>
                  </a:lnTo>
                  <a:lnTo>
                    <a:pt x="68197" y="1675322"/>
                  </a:lnTo>
                  <a:cubicBezTo>
                    <a:pt x="1078372" y="686989"/>
                    <a:pt x="3313125" y="0"/>
                    <a:pt x="5907680" y="0"/>
                  </a:cubicBezTo>
                  <a:close/>
                </a:path>
              </a:pathLst>
            </a:cu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defRPr/>
              </a:pPr>
              <a:endParaRPr lang="en-US" sz="1687">
                <a:solidFill>
                  <a:srgbClr val="FFFFFF"/>
                </a:solidFill>
                <a:latin typeface="Segoe UI"/>
              </a:endParaRPr>
            </a:p>
          </p:txBody>
        </p:sp>
        <p:sp>
          <p:nvSpPr>
            <p:cNvPr id="274" name="Freeform: Shape 924"/>
            <p:cNvSpPr>
              <a:spLocks/>
            </p:cNvSpPr>
            <p:nvPr/>
          </p:nvSpPr>
          <p:spPr bwMode="auto">
            <a:xfrm>
              <a:off x="1437576" y="4708950"/>
              <a:ext cx="9487496" cy="1849694"/>
            </a:xfrm>
            <a:custGeom>
              <a:avLst/>
              <a:gdLst>
                <a:gd name="connsiteX0" fmla="*/ 8407318 w 9922465"/>
                <a:gd name="connsiteY0" fmla="*/ 1824114 h 1934496"/>
                <a:gd name="connsiteX1" fmla="*/ 8462510 w 9922465"/>
                <a:gd name="connsiteY1" fmla="*/ 1879305 h 1934496"/>
                <a:gd name="connsiteX2" fmla="*/ 8407318 w 9922465"/>
                <a:gd name="connsiteY2" fmla="*/ 1934496 h 1934496"/>
                <a:gd name="connsiteX3" fmla="*/ 8352126 w 9922465"/>
                <a:gd name="connsiteY3" fmla="*/ 1879305 h 1934496"/>
                <a:gd name="connsiteX4" fmla="*/ 8407318 w 9922465"/>
                <a:gd name="connsiteY4" fmla="*/ 1824114 h 1934496"/>
                <a:gd name="connsiteX5" fmla="*/ 8273682 w 9922465"/>
                <a:gd name="connsiteY5" fmla="*/ 1824114 h 1934496"/>
                <a:gd name="connsiteX6" fmla="*/ 8328874 w 9922465"/>
                <a:gd name="connsiteY6" fmla="*/ 1879305 h 1934496"/>
                <a:gd name="connsiteX7" fmla="*/ 8273682 w 9922465"/>
                <a:gd name="connsiteY7" fmla="*/ 1934496 h 1934496"/>
                <a:gd name="connsiteX8" fmla="*/ 8218490 w 9922465"/>
                <a:gd name="connsiteY8" fmla="*/ 1879305 h 1934496"/>
                <a:gd name="connsiteX9" fmla="*/ 8273682 w 9922465"/>
                <a:gd name="connsiteY9" fmla="*/ 1824114 h 1934496"/>
                <a:gd name="connsiteX10" fmla="*/ 8143386 w 9922465"/>
                <a:gd name="connsiteY10" fmla="*/ 1824114 h 1934496"/>
                <a:gd name="connsiteX11" fmla="*/ 8198578 w 9922465"/>
                <a:gd name="connsiteY11" fmla="*/ 1879305 h 1934496"/>
                <a:gd name="connsiteX12" fmla="*/ 8143386 w 9922465"/>
                <a:gd name="connsiteY12" fmla="*/ 1934496 h 1934496"/>
                <a:gd name="connsiteX13" fmla="*/ 8088194 w 9922465"/>
                <a:gd name="connsiteY13" fmla="*/ 1879305 h 1934496"/>
                <a:gd name="connsiteX14" fmla="*/ 8143386 w 9922465"/>
                <a:gd name="connsiteY14" fmla="*/ 1824114 h 1934496"/>
                <a:gd name="connsiteX15" fmla="*/ 8009752 w 9922465"/>
                <a:gd name="connsiteY15" fmla="*/ 1824114 h 1934496"/>
                <a:gd name="connsiteX16" fmla="*/ 8064944 w 9922465"/>
                <a:gd name="connsiteY16" fmla="*/ 1879305 h 1934496"/>
                <a:gd name="connsiteX17" fmla="*/ 8009752 w 9922465"/>
                <a:gd name="connsiteY17" fmla="*/ 1934496 h 1934496"/>
                <a:gd name="connsiteX18" fmla="*/ 7954560 w 9922465"/>
                <a:gd name="connsiteY18" fmla="*/ 1879305 h 1934496"/>
                <a:gd name="connsiteX19" fmla="*/ 8009752 w 9922465"/>
                <a:gd name="connsiteY19" fmla="*/ 1824114 h 1934496"/>
                <a:gd name="connsiteX20" fmla="*/ 7876117 w 9922465"/>
                <a:gd name="connsiteY20" fmla="*/ 1824114 h 1934496"/>
                <a:gd name="connsiteX21" fmla="*/ 7931309 w 9922465"/>
                <a:gd name="connsiteY21" fmla="*/ 1879305 h 1934496"/>
                <a:gd name="connsiteX22" fmla="*/ 7876117 w 9922465"/>
                <a:gd name="connsiteY22" fmla="*/ 1934496 h 1934496"/>
                <a:gd name="connsiteX23" fmla="*/ 7820925 w 9922465"/>
                <a:gd name="connsiteY23" fmla="*/ 1879305 h 1934496"/>
                <a:gd name="connsiteX24" fmla="*/ 7876117 w 9922465"/>
                <a:gd name="connsiteY24" fmla="*/ 1824114 h 1934496"/>
                <a:gd name="connsiteX25" fmla="*/ 7745824 w 9922465"/>
                <a:gd name="connsiteY25" fmla="*/ 1824114 h 1934496"/>
                <a:gd name="connsiteX26" fmla="*/ 7801016 w 9922465"/>
                <a:gd name="connsiteY26" fmla="*/ 1879305 h 1934496"/>
                <a:gd name="connsiteX27" fmla="*/ 7745824 w 9922465"/>
                <a:gd name="connsiteY27" fmla="*/ 1934496 h 1934496"/>
                <a:gd name="connsiteX28" fmla="*/ 7690632 w 9922465"/>
                <a:gd name="connsiteY28" fmla="*/ 1879305 h 1934496"/>
                <a:gd name="connsiteX29" fmla="*/ 7745824 w 9922465"/>
                <a:gd name="connsiteY29" fmla="*/ 1824114 h 1934496"/>
                <a:gd name="connsiteX30" fmla="*/ 7608849 w 9922465"/>
                <a:gd name="connsiteY30" fmla="*/ 1824114 h 1934496"/>
                <a:gd name="connsiteX31" fmla="*/ 7664041 w 9922465"/>
                <a:gd name="connsiteY31" fmla="*/ 1879305 h 1934496"/>
                <a:gd name="connsiteX32" fmla="*/ 7608849 w 9922465"/>
                <a:gd name="connsiteY32" fmla="*/ 1934496 h 1934496"/>
                <a:gd name="connsiteX33" fmla="*/ 7553657 w 9922465"/>
                <a:gd name="connsiteY33" fmla="*/ 1879305 h 1934496"/>
                <a:gd name="connsiteX34" fmla="*/ 7608849 w 9922465"/>
                <a:gd name="connsiteY34" fmla="*/ 1824114 h 1934496"/>
                <a:gd name="connsiteX35" fmla="*/ 7481895 w 9922465"/>
                <a:gd name="connsiteY35" fmla="*/ 1824114 h 1934496"/>
                <a:gd name="connsiteX36" fmla="*/ 7537087 w 9922465"/>
                <a:gd name="connsiteY36" fmla="*/ 1879305 h 1934496"/>
                <a:gd name="connsiteX37" fmla="*/ 7481895 w 9922465"/>
                <a:gd name="connsiteY37" fmla="*/ 1934496 h 1934496"/>
                <a:gd name="connsiteX38" fmla="*/ 7426703 w 9922465"/>
                <a:gd name="connsiteY38" fmla="*/ 1879305 h 1934496"/>
                <a:gd name="connsiteX39" fmla="*/ 7481895 w 9922465"/>
                <a:gd name="connsiteY39" fmla="*/ 1824114 h 1934496"/>
                <a:gd name="connsiteX40" fmla="*/ 7341579 w 9922465"/>
                <a:gd name="connsiteY40" fmla="*/ 1824114 h 1934496"/>
                <a:gd name="connsiteX41" fmla="*/ 7396771 w 9922465"/>
                <a:gd name="connsiteY41" fmla="*/ 1879305 h 1934496"/>
                <a:gd name="connsiteX42" fmla="*/ 7341579 w 9922465"/>
                <a:gd name="connsiteY42" fmla="*/ 1934496 h 1934496"/>
                <a:gd name="connsiteX43" fmla="*/ 7286387 w 9922465"/>
                <a:gd name="connsiteY43" fmla="*/ 1879305 h 1934496"/>
                <a:gd name="connsiteX44" fmla="*/ 7341579 w 9922465"/>
                <a:gd name="connsiteY44" fmla="*/ 1824114 h 1934496"/>
                <a:gd name="connsiteX45" fmla="*/ 7211286 w 9922465"/>
                <a:gd name="connsiteY45" fmla="*/ 1824114 h 1934496"/>
                <a:gd name="connsiteX46" fmla="*/ 7266478 w 9922465"/>
                <a:gd name="connsiteY46" fmla="*/ 1879305 h 1934496"/>
                <a:gd name="connsiteX47" fmla="*/ 7211286 w 9922465"/>
                <a:gd name="connsiteY47" fmla="*/ 1934496 h 1934496"/>
                <a:gd name="connsiteX48" fmla="*/ 7156094 w 9922465"/>
                <a:gd name="connsiteY48" fmla="*/ 1879305 h 1934496"/>
                <a:gd name="connsiteX49" fmla="*/ 7211286 w 9922465"/>
                <a:gd name="connsiteY49" fmla="*/ 1824114 h 1934496"/>
                <a:gd name="connsiteX50" fmla="*/ 7080993 w 9922465"/>
                <a:gd name="connsiteY50" fmla="*/ 1824114 h 1934496"/>
                <a:gd name="connsiteX51" fmla="*/ 7136185 w 9922465"/>
                <a:gd name="connsiteY51" fmla="*/ 1879305 h 1934496"/>
                <a:gd name="connsiteX52" fmla="*/ 7080993 w 9922465"/>
                <a:gd name="connsiteY52" fmla="*/ 1934496 h 1934496"/>
                <a:gd name="connsiteX53" fmla="*/ 7025801 w 9922465"/>
                <a:gd name="connsiteY53" fmla="*/ 1879305 h 1934496"/>
                <a:gd name="connsiteX54" fmla="*/ 7080993 w 9922465"/>
                <a:gd name="connsiteY54" fmla="*/ 1824114 h 1934496"/>
                <a:gd name="connsiteX55" fmla="*/ 6947357 w 9922465"/>
                <a:gd name="connsiteY55" fmla="*/ 1824114 h 1934496"/>
                <a:gd name="connsiteX56" fmla="*/ 7002549 w 9922465"/>
                <a:gd name="connsiteY56" fmla="*/ 1879305 h 1934496"/>
                <a:gd name="connsiteX57" fmla="*/ 6947357 w 9922465"/>
                <a:gd name="connsiteY57" fmla="*/ 1934496 h 1934496"/>
                <a:gd name="connsiteX58" fmla="*/ 6892165 w 9922465"/>
                <a:gd name="connsiteY58" fmla="*/ 1879305 h 1934496"/>
                <a:gd name="connsiteX59" fmla="*/ 6947357 w 9922465"/>
                <a:gd name="connsiteY59" fmla="*/ 1824114 h 1934496"/>
                <a:gd name="connsiteX60" fmla="*/ 6817063 w 9922465"/>
                <a:gd name="connsiteY60" fmla="*/ 1824114 h 1934496"/>
                <a:gd name="connsiteX61" fmla="*/ 6872255 w 9922465"/>
                <a:gd name="connsiteY61" fmla="*/ 1879305 h 1934496"/>
                <a:gd name="connsiteX62" fmla="*/ 6817063 w 9922465"/>
                <a:gd name="connsiteY62" fmla="*/ 1934496 h 1934496"/>
                <a:gd name="connsiteX63" fmla="*/ 6761871 w 9922465"/>
                <a:gd name="connsiteY63" fmla="*/ 1879305 h 1934496"/>
                <a:gd name="connsiteX64" fmla="*/ 6817063 w 9922465"/>
                <a:gd name="connsiteY64" fmla="*/ 1824114 h 1934496"/>
                <a:gd name="connsiteX65" fmla="*/ 6683431 w 9922465"/>
                <a:gd name="connsiteY65" fmla="*/ 1824114 h 1934496"/>
                <a:gd name="connsiteX66" fmla="*/ 6738623 w 9922465"/>
                <a:gd name="connsiteY66" fmla="*/ 1879305 h 1934496"/>
                <a:gd name="connsiteX67" fmla="*/ 6683431 w 9922465"/>
                <a:gd name="connsiteY67" fmla="*/ 1934496 h 1934496"/>
                <a:gd name="connsiteX68" fmla="*/ 6628239 w 9922465"/>
                <a:gd name="connsiteY68" fmla="*/ 1879305 h 1934496"/>
                <a:gd name="connsiteX69" fmla="*/ 6683431 w 9922465"/>
                <a:gd name="connsiteY69" fmla="*/ 1824114 h 1934496"/>
                <a:gd name="connsiteX70" fmla="*/ 6553137 w 9922465"/>
                <a:gd name="connsiteY70" fmla="*/ 1824114 h 1934496"/>
                <a:gd name="connsiteX71" fmla="*/ 6608329 w 9922465"/>
                <a:gd name="connsiteY71" fmla="*/ 1879305 h 1934496"/>
                <a:gd name="connsiteX72" fmla="*/ 6553137 w 9922465"/>
                <a:gd name="connsiteY72" fmla="*/ 1934496 h 1934496"/>
                <a:gd name="connsiteX73" fmla="*/ 6497945 w 9922465"/>
                <a:gd name="connsiteY73" fmla="*/ 1879305 h 1934496"/>
                <a:gd name="connsiteX74" fmla="*/ 6553137 w 9922465"/>
                <a:gd name="connsiteY74" fmla="*/ 1824114 h 1934496"/>
                <a:gd name="connsiteX75" fmla="*/ 6289207 w 9922465"/>
                <a:gd name="connsiteY75" fmla="*/ 1824114 h 1934496"/>
                <a:gd name="connsiteX76" fmla="*/ 6344399 w 9922465"/>
                <a:gd name="connsiteY76" fmla="*/ 1879305 h 1934496"/>
                <a:gd name="connsiteX77" fmla="*/ 6289207 w 9922465"/>
                <a:gd name="connsiteY77" fmla="*/ 1934496 h 1934496"/>
                <a:gd name="connsiteX78" fmla="*/ 6234015 w 9922465"/>
                <a:gd name="connsiteY78" fmla="*/ 1879305 h 1934496"/>
                <a:gd name="connsiteX79" fmla="*/ 6289207 w 9922465"/>
                <a:gd name="connsiteY79" fmla="*/ 1824114 h 1934496"/>
                <a:gd name="connsiteX80" fmla="*/ 6155572 w 9922465"/>
                <a:gd name="connsiteY80" fmla="*/ 1824114 h 1934496"/>
                <a:gd name="connsiteX81" fmla="*/ 6210764 w 9922465"/>
                <a:gd name="connsiteY81" fmla="*/ 1879305 h 1934496"/>
                <a:gd name="connsiteX82" fmla="*/ 6155572 w 9922465"/>
                <a:gd name="connsiteY82" fmla="*/ 1934496 h 1934496"/>
                <a:gd name="connsiteX83" fmla="*/ 6100380 w 9922465"/>
                <a:gd name="connsiteY83" fmla="*/ 1879305 h 1934496"/>
                <a:gd name="connsiteX84" fmla="*/ 6155572 w 9922465"/>
                <a:gd name="connsiteY84" fmla="*/ 1824114 h 1934496"/>
                <a:gd name="connsiteX85" fmla="*/ 6021938 w 9922465"/>
                <a:gd name="connsiteY85" fmla="*/ 1824114 h 1934496"/>
                <a:gd name="connsiteX86" fmla="*/ 6077130 w 9922465"/>
                <a:gd name="connsiteY86" fmla="*/ 1879305 h 1934496"/>
                <a:gd name="connsiteX87" fmla="*/ 6021938 w 9922465"/>
                <a:gd name="connsiteY87" fmla="*/ 1934496 h 1934496"/>
                <a:gd name="connsiteX88" fmla="*/ 5966746 w 9922465"/>
                <a:gd name="connsiteY88" fmla="*/ 1879305 h 1934496"/>
                <a:gd name="connsiteX89" fmla="*/ 6021938 w 9922465"/>
                <a:gd name="connsiteY89" fmla="*/ 1824114 h 1934496"/>
                <a:gd name="connsiteX90" fmla="*/ 5884964 w 9922465"/>
                <a:gd name="connsiteY90" fmla="*/ 1824114 h 1934496"/>
                <a:gd name="connsiteX91" fmla="*/ 5940156 w 9922465"/>
                <a:gd name="connsiteY91" fmla="*/ 1879305 h 1934496"/>
                <a:gd name="connsiteX92" fmla="*/ 5884964 w 9922465"/>
                <a:gd name="connsiteY92" fmla="*/ 1934496 h 1934496"/>
                <a:gd name="connsiteX93" fmla="*/ 5829772 w 9922465"/>
                <a:gd name="connsiteY93" fmla="*/ 1879305 h 1934496"/>
                <a:gd name="connsiteX94" fmla="*/ 5884964 w 9922465"/>
                <a:gd name="connsiteY94" fmla="*/ 1824114 h 1934496"/>
                <a:gd name="connsiteX95" fmla="*/ 5754670 w 9922465"/>
                <a:gd name="connsiteY95" fmla="*/ 1824114 h 1934496"/>
                <a:gd name="connsiteX96" fmla="*/ 5809862 w 9922465"/>
                <a:gd name="connsiteY96" fmla="*/ 1879305 h 1934496"/>
                <a:gd name="connsiteX97" fmla="*/ 5754670 w 9922465"/>
                <a:gd name="connsiteY97" fmla="*/ 1934496 h 1934496"/>
                <a:gd name="connsiteX98" fmla="*/ 5699478 w 9922465"/>
                <a:gd name="connsiteY98" fmla="*/ 1879305 h 1934496"/>
                <a:gd name="connsiteX99" fmla="*/ 5754670 w 9922465"/>
                <a:gd name="connsiteY99" fmla="*/ 1824114 h 1934496"/>
                <a:gd name="connsiteX100" fmla="*/ 5487399 w 9922465"/>
                <a:gd name="connsiteY100" fmla="*/ 1824114 h 1934496"/>
                <a:gd name="connsiteX101" fmla="*/ 5542591 w 9922465"/>
                <a:gd name="connsiteY101" fmla="*/ 1879305 h 1934496"/>
                <a:gd name="connsiteX102" fmla="*/ 5487399 w 9922465"/>
                <a:gd name="connsiteY102" fmla="*/ 1934496 h 1934496"/>
                <a:gd name="connsiteX103" fmla="*/ 5432207 w 9922465"/>
                <a:gd name="connsiteY103" fmla="*/ 1879305 h 1934496"/>
                <a:gd name="connsiteX104" fmla="*/ 5487399 w 9922465"/>
                <a:gd name="connsiteY104" fmla="*/ 1824114 h 1934496"/>
                <a:gd name="connsiteX105" fmla="*/ 5357105 w 9922465"/>
                <a:gd name="connsiteY105" fmla="*/ 1824114 h 1934496"/>
                <a:gd name="connsiteX106" fmla="*/ 5412297 w 9922465"/>
                <a:gd name="connsiteY106" fmla="*/ 1879305 h 1934496"/>
                <a:gd name="connsiteX107" fmla="*/ 5357105 w 9922465"/>
                <a:gd name="connsiteY107" fmla="*/ 1934496 h 1934496"/>
                <a:gd name="connsiteX108" fmla="*/ 5301913 w 9922465"/>
                <a:gd name="connsiteY108" fmla="*/ 1879305 h 1934496"/>
                <a:gd name="connsiteX109" fmla="*/ 5357105 w 9922465"/>
                <a:gd name="connsiteY109" fmla="*/ 1824114 h 1934496"/>
                <a:gd name="connsiteX110" fmla="*/ 5223473 w 9922465"/>
                <a:gd name="connsiteY110" fmla="*/ 1824114 h 1934496"/>
                <a:gd name="connsiteX111" fmla="*/ 5278665 w 9922465"/>
                <a:gd name="connsiteY111" fmla="*/ 1879305 h 1934496"/>
                <a:gd name="connsiteX112" fmla="*/ 5223473 w 9922465"/>
                <a:gd name="connsiteY112" fmla="*/ 1934496 h 1934496"/>
                <a:gd name="connsiteX113" fmla="*/ 5168281 w 9922465"/>
                <a:gd name="connsiteY113" fmla="*/ 1879305 h 1934496"/>
                <a:gd name="connsiteX114" fmla="*/ 5223473 w 9922465"/>
                <a:gd name="connsiteY114" fmla="*/ 1824114 h 1934496"/>
                <a:gd name="connsiteX115" fmla="*/ 5093178 w 9922465"/>
                <a:gd name="connsiteY115" fmla="*/ 1824114 h 1934496"/>
                <a:gd name="connsiteX116" fmla="*/ 5148370 w 9922465"/>
                <a:gd name="connsiteY116" fmla="*/ 1879305 h 1934496"/>
                <a:gd name="connsiteX117" fmla="*/ 5093178 w 9922465"/>
                <a:gd name="connsiteY117" fmla="*/ 1934496 h 1934496"/>
                <a:gd name="connsiteX118" fmla="*/ 5037986 w 9922465"/>
                <a:gd name="connsiteY118" fmla="*/ 1879305 h 1934496"/>
                <a:gd name="connsiteX119" fmla="*/ 5093178 w 9922465"/>
                <a:gd name="connsiteY119" fmla="*/ 1824114 h 1934496"/>
                <a:gd name="connsiteX120" fmla="*/ 4959543 w 9922465"/>
                <a:gd name="connsiteY120" fmla="*/ 1824114 h 1934496"/>
                <a:gd name="connsiteX121" fmla="*/ 5014735 w 9922465"/>
                <a:gd name="connsiteY121" fmla="*/ 1879305 h 1934496"/>
                <a:gd name="connsiteX122" fmla="*/ 4959543 w 9922465"/>
                <a:gd name="connsiteY122" fmla="*/ 1934496 h 1934496"/>
                <a:gd name="connsiteX123" fmla="*/ 4904351 w 9922465"/>
                <a:gd name="connsiteY123" fmla="*/ 1879305 h 1934496"/>
                <a:gd name="connsiteX124" fmla="*/ 4959543 w 9922465"/>
                <a:gd name="connsiteY124" fmla="*/ 1824114 h 1934496"/>
                <a:gd name="connsiteX125" fmla="*/ 4829250 w 9922465"/>
                <a:gd name="connsiteY125" fmla="*/ 1824114 h 1934496"/>
                <a:gd name="connsiteX126" fmla="*/ 4884442 w 9922465"/>
                <a:gd name="connsiteY126" fmla="*/ 1879305 h 1934496"/>
                <a:gd name="connsiteX127" fmla="*/ 4829250 w 9922465"/>
                <a:gd name="connsiteY127" fmla="*/ 1934496 h 1934496"/>
                <a:gd name="connsiteX128" fmla="*/ 4774058 w 9922465"/>
                <a:gd name="connsiteY128" fmla="*/ 1879305 h 1934496"/>
                <a:gd name="connsiteX129" fmla="*/ 4829250 w 9922465"/>
                <a:gd name="connsiteY129" fmla="*/ 1824114 h 1934496"/>
                <a:gd name="connsiteX130" fmla="*/ 4695613 w 9922465"/>
                <a:gd name="connsiteY130" fmla="*/ 1824114 h 1934496"/>
                <a:gd name="connsiteX131" fmla="*/ 4750805 w 9922465"/>
                <a:gd name="connsiteY131" fmla="*/ 1879305 h 1934496"/>
                <a:gd name="connsiteX132" fmla="*/ 4695613 w 9922465"/>
                <a:gd name="connsiteY132" fmla="*/ 1934496 h 1934496"/>
                <a:gd name="connsiteX133" fmla="*/ 4640421 w 9922465"/>
                <a:gd name="connsiteY133" fmla="*/ 1879305 h 1934496"/>
                <a:gd name="connsiteX134" fmla="*/ 4695613 w 9922465"/>
                <a:gd name="connsiteY134" fmla="*/ 1824114 h 1934496"/>
                <a:gd name="connsiteX135" fmla="*/ 2834762 w 9922465"/>
                <a:gd name="connsiteY135" fmla="*/ 1824114 h 1934496"/>
                <a:gd name="connsiteX136" fmla="*/ 2889954 w 9922465"/>
                <a:gd name="connsiteY136" fmla="*/ 1879305 h 1934496"/>
                <a:gd name="connsiteX137" fmla="*/ 2834762 w 9922465"/>
                <a:gd name="connsiteY137" fmla="*/ 1934496 h 1934496"/>
                <a:gd name="connsiteX138" fmla="*/ 2779570 w 9922465"/>
                <a:gd name="connsiteY138" fmla="*/ 1879305 h 1934496"/>
                <a:gd name="connsiteX139" fmla="*/ 2834762 w 9922465"/>
                <a:gd name="connsiteY139" fmla="*/ 1824114 h 1934496"/>
                <a:gd name="connsiteX140" fmla="*/ 2707807 w 9922465"/>
                <a:gd name="connsiteY140" fmla="*/ 1824114 h 1934496"/>
                <a:gd name="connsiteX141" fmla="*/ 2762999 w 9922465"/>
                <a:gd name="connsiteY141" fmla="*/ 1879305 h 1934496"/>
                <a:gd name="connsiteX142" fmla="*/ 2707807 w 9922465"/>
                <a:gd name="connsiteY142" fmla="*/ 1934496 h 1934496"/>
                <a:gd name="connsiteX143" fmla="*/ 2652615 w 9922465"/>
                <a:gd name="connsiteY143" fmla="*/ 1879305 h 1934496"/>
                <a:gd name="connsiteX144" fmla="*/ 2707807 w 9922465"/>
                <a:gd name="connsiteY144" fmla="*/ 1824114 h 1934496"/>
                <a:gd name="connsiteX145" fmla="*/ 2570834 w 9922465"/>
                <a:gd name="connsiteY145" fmla="*/ 1824114 h 1934496"/>
                <a:gd name="connsiteX146" fmla="*/ 2626025 w 9922465"/>
                <a:gd name="connsiteY146" fmla="*/ 1879305 h 1934496"/>
                <a:gd name="connsiteX147" fmla="*/ 2570834 w 9922465"/>
                <a:gd name="connsiteY147" fmla="*/ 1934496 h 1934496"/>
                <a:gd name="connsiteX148" fmla="*/ 2515641 w 9922465"/>
                <a:gd name="connsiteY148" fmla="*/ 1879305 h 1934496"/>
                <a:gd name="connsiteX149" fmla="*/ 2570834 w 9922465"/>
                <a:gd name="connsiteY149" fmla="*/ 1824114 h 1934496"/>
                <a:gd name="connsiteX150" fmla="*/ 2437196 w 9922465"/>
                <a:gd name="connsiteY150" fmla="*/ 1824114 h 1934496"/>
                <a:gd name="connsiteX151" fmla="*/ 2492389 w 9922465"/>
                <a:gd name="connsiteY151" fmla="*/ 1879305 h 1934496"/>
                <a:gd name="connsiteX152" fmla="*/ 2437196 w 9922465"/>
                <a:gd name="connsiteY152" fmla="*/ 1934496 h 1934496"/>
                <a:gd name="connsiteX153" fmla="*/ 2382005 w 9922465"/>
                <a:gd name="connsiteY153" fmla="*/ 1879305 h 1934496"/>
                <a:gd name="connsiteX154" fmla="*/ 2437196 w 9922465"/>
                <a:gd name="connsiteY154" fmla="*/ 1824114 h 1934496"/>
                <a:gd name="connsiteX155" fmla="*/ 2303564 w 9922465"/>
                <a:gd name="connsiteY155" fmla="*/ 1824114 h 1934496"/>
                <a:gd name="connsiteX156" fmla="*/ 2358756 w 9922465"/>
                <a:gd name="connsiteY156" fmla="*/ 1879305 h 1934496"/>
                <a:gd name="connsiteX157" fmla="*/ 2303564 w 9922465"/>
                <a:gd name="connsiteY157" fmla="*/ 1934496 h 1934496"/>
                <a:gd name="connsiteX158" fmla="*/ 2248372 w 9922465"/>
                <a:gd name="connsiteY158" fmla="*/ 1879305 h 1934496"/>
                <a:gd name="connsiteX159" fmla="*/ 2303564 w 9922465"/>
                <a:gd name="connsiteY159" fmla="*/ 1824114 h 1934496"/>
                <a:gd name="connsiteX160" fmla="*/ 2173271 w 9922465"/>
                <a:gd name="connsiteY160" fmla="*/ 1824114 h 1934496"/>
                <a:gd name="connsiteX161" fmla="*/ 2228463 w 9922465"/>
                <a:gd name="connsiteY161" fmla="*/ 1879305 h 1934496"/>
                <a:gd name="connsiteX162" fmla="*/ 2173271 w 9922465"/>
                <a:gd name="connsiteY162" fmla="*/ 1934496 h 1934496"/>
                <a:gd name="connsiteX163" fmla="*/ 2118079 w 9922465"/>
                <a:gd name="connsiteY163" fmla="*/ 1879305 h 1934496"/>
                <a:gd name="connsiteX164" fmla="*/ 2173271 w 9922465"/>
                <a:gd name="connsiteY164" fmla="*/ 1824114 h 1934496"/>
                <a:gd name="connsiteX165" fmla="*/ 2039637 w 9922465"/>
                <a:gd name="connsiteY165" fmla="*/ 1824114 h 1934496"/>
                <a:gd name="connsiteX166" fmla="*/ 2094830 w 9922465"/>
                <a:gd name="connsiteY166" fmla="*/ 1879305 h 1934496"/>
                <a:gd name="connsiteX167" fmla="*/ 2039637 w 9922465"/>
                <a:gd name="connsiteY167" fmla="*/ 1934496 h 1934496"/>
                <a:gd name="connsiteX168" fmla="*/ 1984445 w 9922465"/>
                <a:gd name="connsiteY168" fmla="*/ 1879305 h 1934496"/>
                <a:gd name="connsiteX169" fmla="*/ 2039637 w 9922465"/>
                <a:gd name="connsiteY169" fmla="*/ 1824114 h 1934496"/>
                <a:gd name="connsiteX170" fmla="*/ 1909341 w 9922465"/>
                <a:gd name="connsiteY170" fmla="*/ 1824114 h 1934496"/>
                <a:gd name="connsiteX171" fmla="*/ 1964533 w 9922465"/>
                <a:gd name="connsiteY171" fmla="*/ 1879305 h 1934496"/>
                <a:gd name="connsiteX172" fmla="*/ 1909341 w 9922465"/>
                <a:gd name="connsiteY172" fmla="*/ 1934496 h 1934496"/>
                <a:gd name="connsiteX173" fmla="*/ 1854149 w 9922465"/>
                <a:gd name="connsiteY173" fmla="*/ 1879305 h 1934496"/>
                <a:gd name="connsiteX174" fmla="*/ 1909341 w 9922465"/>
                <a:gd name="connsiteY174" fmla="*/ 1824114 h 1934496"/>
                <a:gd name="connsiteX175" fmla="*/ 1779049 w 9922465"/>
                <a:gd name="connsiteY175" fmla="*/ 1824114 h 1934496"/>
                <a:gd name="connsiteX176" fmla="*/ 1834241 w 9922465"/>
                <a:gd name="connsiteY176" fmla="*/ 1879305 h 1934496"/>
                <a:gd name="connsiteX177" fmla="*/ 1779049 w 9922465"/>
                <a:gd name="connsiteY177" fmla="*/ 1934496 h 1934496"/>
                <a:gd name="connsiteX178" fmla="*/ 1723856 w 9922465"/>
                <a:gd name="connsiteY178" fmla="*/ 1879305 h 1934496"/>
                <a:gd name="connsiteX179" fmla="*/ 1779049 w 9922465"/>
                <a:gd name="connsiteY179" fmla="*/ 1824114 h 1934496"/>
                <a:gd name="connsiteX180" fmla="*/ 1645413 w 9922465"/>
                <a:gd name="connsiteY180" fmla="*/ 1824114 h 1934496"/>
                <a:gd name="connsiteX181" fmla="*/ 1700604 w 9922465"/>
                <a:gd name="connsiteY181" fmla="*/ 1879305 h 1934496"/>
                <a:gd name="connsiteX182" fmla="*/ 1645413 w 9922465"/>
                <a:gd name="connsiteY182" fmla="*/ 1934496 h 1934496"/>
                <a:gd name="connsiteX183" fmla="*/ 1590220 w 9922465"/>
                <a:gd name="connsiteY183" fmla="*/ 1879305 h 1934496"/>
                <a:gd name="connsiteX184" fmla="*/ 1645413 w 9922465"/>
                <a:gd name="connsiteY184" fmla="*/ 1824114 h 1934496"/>
                <a:gd name="connsiteX185" fmla="*/ 1515120 w 9922465"/>
                <a:gd name="connsiteY185" fmla="*/ 1824114 h 1934496"/>
                <a:gd name="connsiteX186" fmla="*/ 1570311 w 9922465"/>
                <a:gd name="connsiteY186" fmla="*/ 1879305 h 1934496"/>
                <a:gd name="connsiteX187" fmla="*/ 1515120 w 9922465"/>
                <a:gd name="connsiteY187" fmla="*/ 1934496 h 1934496"/>
                <a:gd name="connsiteX188" fmla="*/ 1459927 w 9922465"/>
                <a:gd name="connsiteY188" fmla="*/ 1879305 h 1934496"/>
                <a:gd name="connsiteX189" fmla="*/ 1515120 w 9922465"/>
                <a:gd name="connsiteY189" fmla="*/ 1824114 h 1934496"/>
                <a:gd name="connsiteX190" fmla="*/ 1381486 w 9922465"/>
                <a:gd name="connsiteY190" fmla="*/ 1824114 h 1934496"/>
                <a:gd name="connsiteX191" fmla="*/ 1436678 w 9922465"/>
                <a:gd name="connsiteY191" fmla="*/ 1879305 h 1934496"/>
                <a:gd name="connsiteX192" fmla="*/ 1381486 w 9922465"/>
                <a:gd name="connsiteY192" fmla="*/ 1934496 h 1934496"/>
                <a:gd name="connsiteX193" fmla="*/ 1326294 w 9922465"/>
                <a:gd name="connsiteY193" fmla="*/ 1879305 h 1934496"/>
                <a:gd name="connsiteX194" fmla="*/ 1381486 w 9922465"/>
                <a:gd name="connsiteY194" fmla="*/ 1824114 h 1934496"/>
                <a:gd name="connsiteX195" fmla="*/ 1251193 w 9922465"/>
                <a:gd name="connsiteY195" fmla="*/ 1824114 h 1934496"/>
                <a:gd name="connsiteX196" fmla="*/ 1306386 w 9922465"/>
                <a:gd name="connsiteY196" fmla="*/ 1879305 h 1934496"/>
                <a:gd name="connsiteX197" fmla="*/ 1251193 w 9922465"/>
                <a:gd name="connsiteY197" fmla="*/ 1934496 h 1934496"/>
                <a:gd name="connsiteX198" fmla="*/ 1196001 w 9922465"/>
                <a:gd name="connsiteY198" fmla="*/ 1879305 h 1934496"/>
                <a:gd name="connsiteX199" fmla="*/ 1251193 w 9922465"/>
                <a:gd name="connsiteY199" fmla="*/ 1824114 h 1934496"/>
                <a:gd name="connsiteX200" fmla="*/ 4565336 w 9922465"/>
                <a:gd name="connsiteY200" fmla="*/ 1824106 h 1934496"/>
                <a:gd name="connsiteX201" fmla="*/ 4620528 w 9922465"/>
                <a:gd name="connsiteY201" fmla="*/ 1879297 h 1934496"/>
                <a:gd name="connsiteX202" fmla="*/ 4565336 w 9922465"/>
                <a:gd name="connsiteY202" fmla="*/ 1934488 h 1934496"/>
                <a:gd name="connsiteX203" fmla="*/ 4510144 w 9922465"/>
                <a:gd name="connsiteY203" fmla="*/ 1879297 h 1934496"/>
                <a:gd name="connsiteX204" fmla="*/ 4565336 w 9922465"/>
                <a:gd name="connsiteY204" fmla="*/ 1824106 h 1934496"/>
                <a:gd name="connsiteX205" fmla="*/ 4431689 w 9922465"/>
                <a:gd name="connsiteY205" fmla="*/ 1824098 h 1934496"/>
                <a:gd name="connsiteX206" fmla="*/ 4486881 w 9922465"/>
                <a:gd name="connsiteY206" fmla="*/ 1879289 h 1934496"/>
                <a:gd name="connsiteX207" fmla="*/ 4431689 w 9922465"/>
                <a:gd name="connsiteY207" fmla="*/ 1934480 h 1934496"/>
                <a:gd name="connsiteX208" fmla="*/ 4376497 w 9922465"/>
                <a:gd name="connsiteY208" fmla="*/ 1879289 h 1934496"/>
                <a:gd name="connsiteX209" fmla="*/ 4431689 w 9922465"/>
                <a:gd name="connsiteY209" fmla="*/ 1824098 h 1934496"/>
                <a:gd name="connsiteX210" fmla="*/ 8801537 w 9922465"/>
                <a:gd name="connsiteY210" fmla="*/ 1707182 h 1934496"/>
                <a:gd name="connsiteX211" fmla="*/ 8856729 w 9922465"/>
                <a:gd name="connsiteY211" fmla="*/ 1762373 h 1934496"/>
                <a:gd name="connsiteX212" fmla="*/ 8801537 w 9922465"/>
                <a:gd name="connsiteY212" fmla="*/ 1817564 h 1934496"/>
                <a:gd name="connsiteX213" fmla="*/ 8746345 w 9922465"/>
                <a:gd name="connsiteY213" fmla="*/ 1762373 h 1934496"/>
                <a:gd name="connsiteX214" fmla="*/ 8801537 w 9922465"/>
                <a:gd name="connsiteY214" fmla="*/ 1707182 h 1934496"/>
                <a:gd name="connsiteX215" fmla="*/ 8671243 w 9922465"/>
                <a:gd name="connsiteY215" fmla="*/ 1707182 h 1934496"/>
                <a:gd name="connsiteX216" fmla="*/ 8726435 w 9922465"/>
                <a:gd name="connsiteY216" fmla="*/ 1762373 h 1934496"/>
                <a:gd name="connsiteX217" fmla="*/ 8671243 w 9922465"/>
                <a:gd name="connsiteY217" fmla="*/ 1817564 h 1934496"/>
                <a:gd name="connsiteX218" fmla="*/ 8616051 w 9922465"/>
                <a:gd name="connsiteY218" fmla="*/ 1762373 h 1934496"/>
                <a:gd name="connsiteX219" fmla="*/ 8671243 w 9922465"/>
                <a:gd name="connsiteY219" fmla="*/ 1707182 h 1934496"/>
                <a:gd name="connsiteX220" fmla="*/ 8537609 w 9922465"/>
                <a:gd name="connsiteY220" fmla="*/ 1707182 h 1934496"/>
                <a:gd name="connsiteX221" fmla="*/ 8592801 w 9922465"/>
                <a:gd name="connsiteY221" fmla="*/ 1762373 h 1934496"/>
                <a:gd name="connsiteX222" fmla="*/ 8537609 w 9922465"/>
                <a:gd name="connsiteY222" fmla="*/ 1817564 h 1934496"/>
                <a:gd name="connsiteX223" fmla="*/ 8482417 w 9922465"/>
                <a:gd name="connsiteY223" fmla="*/ 1762373 h 1934496"/>
                <a:gd name="connsiteX224" fmla="*/ 8537609 w 9922465"/>
                <a:gd name="connsiteY224" fmla="*/ 1707182 h 1934496"/>
                <a:gd name="connsiteX225" fmla="*/ 8407318 w 9922465"/>
                <a:gd name="connsiteY225" fmla="*/ 1707182 h 1934496"/>
                <a:gd name="connsiteX226" fmla="*/ 8462510 w 9922465"/>
                <a:gd name="connsiteY226" fmla="*/ 1762373 h 1934496"/>
                <a:gd name="connsiteX227" fmla="*/ 8407318 w 9922465"/>
                <a:gd name="connsiteY227" fmla="*/ 1817564 h 1934496"/>
                <a:gd name="connsiteX228" fmla="*/ 8352126 w 9922465"/>
                <a:gd name="connsiteY228" fmla="*/ 1762373 h 1934496"/>
                <a:gd name="connsiteX229" fmla="*/ 8407318 w 9922465"/>
                <a:gd name="connsiteY229" fmla="*/ 1707182 h 1934496"/>
                <a:gd name="connsiteX230" fmla="*/ 8273682 w 9922465"/>
                <a:gd name="connsiteY230" fmla="*/ 1707182 h 1934496"/>
                <a:gd name="connsiteX231" fmla="*/ 8328874 w 9922465"/>
                <a:gd name="connsiteY231" fmla="*/ 1762373 h 1934496"/>
                <a:gd name="connsiteX232" fmla="*/ 8273682 w 9922465"/>
                <a:gd name="connsiteY232" fmla="*/ 1817564 h 1934496"/>
                <a:gd name="connsiteX233" fmla="*/ 8218490 w 9922465"/>
                <a:gd name="connsiteY233" fmla="*/ 1762373 h 1934496"/>
                <a:gd name="connsiteX234" fmla="*/ 8273682 w 9922465"/>
                <a:gd name="connsiteY234" fmla="*/ 1707182 h 1934496"/>
                <a:gd name="connsiteX235" fmla="*/ 8143386 w 9922465"/>
                <a:gd name="connsiteY235" fmla="*/ 1707182 h 1934496"/>
                <a:gd name="connsiteX236" fmla="*/ 8198578 w 9922465"/>
                <a:gd name="connsiteY236" fmla="*/ 1762373 h 1934496"/>
                <a:gd name="connsiteX237" fmla="*/ 8143386 w 9922465"/>
                <a:gd name="connsiteY237" fmla="*/ 1817564 h 1934496"/>
                <a:gd name="connsiteX238" fmla="*/ 8088194 w 9922465"/>
                <a:gd name="connsiteY238" fmla="*/ 1762373 h 1934496"/>
                <a:gd name="connsiteX239" fmla="*/ 8143386 w 9922465"/>
                <a:gd name="connsiteY239" fmla="*/ 1707182 h 1934496"/>
                <a:gd name="connsiteX240" fmla="*/ 8009752 w 9922465"/>
                <a:gd name="connsiteY240" fmla="*/ 1707182 h 1934496"/>
                <a:gd name="connsiteX241" fmla="*/ 8064944 w 9922465"/>
                <a:gd name="connsiteY241" fmla="*/ 1762373 h 1934496"/>
                <a:gd name="connsiteX242" fmla="*/ 8009752 w 9922465"/>
                <a:gd name="connsiteY242" fmla="*/ 1817564 h 1934496"/>
                <a:gd name="connsiteX243" fmla="*/ 7954560 w 9922465"/>
                <a:gd name="connsiteY243" fmla="*/ 1762373 h 1934496"/>
                <a:gd name="connsiteX244" fmla="*/ 8009752 w 9922465"/>
                <a:gd name="connsiteY244" fmla="*/ 1707182 h 1934496"/>
                <a:gd name="connsiteX245" fmla="*/ 7876117 w 9922465"/>
                <a:gd name="connsiteY245" fmla="*/ 1707182 h 1934496"/>
                <a:gd name="connsiteX246" fmla="*/ 7931309 w 9922465"/>
                <a:gd name="connsiteY246" fmla="*/ 1762373 h 1934496"/>
                <a:gd name="connsiteX247" fmla="*/ 7876117 w 9922465"/>
                <a:gd name="connsiteY247" fmla="*/ 1817564 h 1934496"/>
                <a:gd name="connsiteX248" fmla="*/ 7820925 w 9922465"/>
                <a:gd name="connsiteY248" fmla="*/ 1762373 h 1934496"/>
                <a:gd name="connsiteX249" fmla="*/ 7876117 w 9922465"/>
                <a:gd name="connsiteY249" fmla="*/ 1707182 h 1934496"/>
                <a:gd name="connsiteX250" fmla="*/ 7745824 w 9922465"/>
                <a:gd name="connsiteY250" fmla="*/ 1707182 h 1934496"/>
                <a:gd name="connsiteX251" fmla="*/ 7801016 w 9922465"/>
                <a:gd name="connsiteY251" fmla="*/ 1762373 h 1934496"/>
                <a:gd name="connsiteX252" fmla="*/ 7745824 w 9922465"/>
                <a:gd name="connsiteY252" fmla="*/ 1817564 h 1934496"/>
                <a:gd name="connsiteX253" fmla="*/ 7690632 w 9922465"/>
                <a:gd name="connsiteY253" fmla="*/ 1762373 h 1934496"/>
                <a:gd name="connsiteX254" fmla="*/ 7745824 w 9922465"/>
                <a:gd name="connsiteY254" fmla="*/ 1707182 h 1934496"/>
                <a:gd name="connsiteX255" fmla="*/ 7608849 w 9922465"/>
                <a:gd name="connsiteY255" fmla="*/ 1707182 h 1934496"/>
                <a:gd name="connsiteX256" fmla="*/ 7664041 w 9922465"/>
                <a:gd name="connsiteY256" fmla="*/ 1762373 h 1934496"/>
                <a:gd name="connsiteX257" fmla="*/ 7608849 w 9922465"/>
                <a:gd name="connsiteY257" fmla="*/ 1817564 h 1934496"/>
                <a:gd name="connsiteX258" fmla="*/ 7553657 w 9922465"/>
                <a:gd name="connsiteY258" fmla="*/ 1762373 h 1934496"/>
                <a:gd name="connsiteX259" fmla="*/ 7608849 w 9922465"/>
                <a:gd name="connsiteY259" fmla="*/ 1707182 h 1934496"/>
                <a:gd name="connsiteX260" fmla="*/ 7481895 w 9922465"/>
                <a:gd name="connsiteY260" fmla="*/ 1707182 h 1934496"/>
                <a:gd name="connsiteX261" fmla="*/ 7537087 w 9922465"/>
                <a:gd name="connsiteY261" fmla="*/ 1762373 h 1934496"/>
                <a:gd name="connsiteX262" fmla="*/ 7481895 w 9922465"/>
                <a:gd name="connsiteY262" fmla="*/ 1817564 h 1934496"/>
                <a:gd name="connsiteX263" fmla="*/ 7426703 w 9922465"/>
                <a:gd name="connsiteY263" fmla="*/ 1762373 h 1934496"/>
                <a:gd name="connsiteX264" fmla="*/ 7481895 w 9922465"/>
                <a:gd name="connsiteY264" fmla="*/ 1707182 h 1934496"/>
                <a:gd name="connsiteX265" fmla="*/ 7341579 w 9922465"/>
                <a:gd name="connsiteY265" fmla="*/ 1707182 h 1934496"/>
                <a:gd name="connsiteX266" fmla="*/ 7396771 w 9922465"/>
                <a:gd name="connsiteY266" fmla="*/ 1762373 h 1934496"/>
                <a:gd name="connsiteX267" fmla="*/ 7341579 w 9922465"/>
                <a:gd name="connsiteY267" fmla="*/ 1817564 h 1934496"/>
                <a:gd name="connsiteX268" fmla="*/ 7286387 w 9922465"/>
                <a:gd name="connsiteY268" fmla="*/ 1762373 h 1934496"/>
                <a:gd name="connsiteX269" fmla="*/ 7341579 w 9922465"/>
                <a:gd name="connsiteY269" fmla="*/ 1707182 h 1934496"/>
                <a:gd name="connsiteX270" fmla="*/ 7211286 w 9922465"/>
                <a:gd name="connsiteY270" fmla="*/ 1707182 h 1934496"/>
                <a:gd name="connsiteX271" fmla="*/ 7266478 w 9922465"/>
                <a:gd name="connsiteY271" fmla="*/ 1762373 h 1934496"/>
                <a:gd name="connsiteX272" fmla="*/ 7211286 w 9922465"/>
                <a:gd name="connsiteY272" fmla="*/ 1817564 h 1934496"/>
                <a:gd name="connsiteX273" fmla="*/ 7156094 w 9922465"/>
                <a:gd name="connsiteY273" fmla="*/ 1762373 h 1934496"/>
                <a:gd name="connsiteX274" fmla="*/ 7211286 w 9922465"/>
                <a:gd name="connsiteY274" fmla="*/ 1707182 h 1934496"/>
                <a:gd name="connsiteX275" fmla="*/ 7080993 w 9922465"/>
                <a:gd name="connsiteY275" fmla="*/ 1707182 h 1934496"/>
                <a:gd name="connsiteX276" fmla="*/ 7136185 w 9922465"/>
                <a:gd name="connsiteY276" fmla="*/ 1762373 h 1934496"/>
                <a:gd name="connsiteX277" fmla="*/ 7080993 w 9922465"/>
                <a:gd name="connsiteY277" fmla="*/ 1817564 h 1934496"/>
                <a:gd name="connsiteX278" fmla="*/ 7025801 w 9922465"/>
                <a:gd name="connsiteY278" fmla="*/ 1762373 h 1934496"/>
                <a:gd name="connsiteX279" fmla="*/ 7080993 w 9922465"/>
                <a:gd name="connsiteY279" fmla="*/ 1707182 h 1934496"/>
                <a:gd name="connsiteX280" fmla="*/ 6947357 w 9922465"/>
                <a:gd name="connsiteY280" fmla="*/ 1707182 h 1934496"/>
                <a:gd name="connsiteX281" fmla="*/ 7002549 w 9922465"/>
                <a:gd name="connsiteY281" fmla="*/ 1762373 h 1934496"/>
                <a:gd name="connsiteX282" fmla="*/ 6947357 w 9922465"/>
                <a:gd name="connsiteY282" fmla="*/ 1817564 h 1934496"/>
                <a:gd name="connsiteX283" fmla="*/ 6892165 w 9922465"/>
                <a:gd name="connsiteY283" fmla="*/ 1762373 h 1934496"/>
                <a:gd name="connsiteX284" fmla="*/ 6947357 w 9922465"/>
                <a:gd name="connsiteY284" fmla="*/ 1707182 h 1934496"/>
                <a:gd name="connsiteX285" fmla="*/ 6817063 w 9922465"/>
                <a:gd name="connsiteY285" fmla="*/ 1707182 h 1934496"/>
                <a:gd name="connsiteX286" fmla="*/ 6872255 w 9922465"/>
                <a:gd name="connsiteY286" fmla="*/ 1762373 h 1934496"/>
                <a:gd name="connsiteX287" fmla="*/ 6817063 w 9922465"/>
                <a:gd name="connsiteY287" fmla="*/ 1817564 h 1934496"/>
                <a:gd name="connsiteX288" fmla="*/ 6761871 w 9922465"/>
                <a:gd name="connsiteY288" fmla="*/ 1762373 h 1934496"/>
                <a:gd name="connsiteX289" fmla="*/ 6817063 w 9922465"/>
                <a:gd name="connsiteY289" fmla="*/ 1707182 h 1934496"/>
                <a:gd name="connsiteX290" fmla="*/ 6683431 w 9922465"/>
                <a:gd name="connsiteY290" fmla="*/ 1707182 h 1934496"/>
                <a:gd name="connsiteX291" fmla="*/ 6738623 w 9922465"/>
                <a:gd name="connsiteY291" fmla="*/ 1762373 h 1934496"/>
                <a:gd name="connsiteX292" fmla="*/ 6683431 w 9922465"/>
                <a:gd name="connsiteY292" fmla="*/ 1817564 h 1934496"/>
                <a:gd name="connsiteX293" fmla="*/ 6628239 w 9922465"/>
                <a:gd name="connsiteY293" fmla="*/ 1762373 h 1934496"/>
                <a:gd name="connsiteX294" fmla="*/ 6683431 w 9922465"/>
                <a:gd name="connsiteY294" fmla="*/ 1707182 h 1934496"/>
                <a:gd name="connsiteX295" fmla="*/ 6553137 w 9922465"/>
                <a:gd name="connsiteY295" fmla="*/ 1707182 h 1934496"/>
                <a:gd name="connsiteX296" fmla="*/ 6608329 w 9922465"/>
                <a:gd name="connsiteY296" fmla="*/ 1762373 h 1934496"/>
                <a:gd name="connsiteX297" fmla="*/ 6553137 w 9922465"/>
                <a:gd name="connsiteY297" fmla="*/ 1817564 h 1934496"/>
                <a:gd name="connsiteX298" fmla="*/ 6497945 w 9922465"/>
                <a:gd name="connsiteY298" fmla="*/ 1762373 h 1934496"/>
                <a:gd name="connsiteX299" fmla="*/ 6553137 w 9922465"/>
                <a:gd name="connsiteY299" fmla="*/ 1707182 h 1934496"/>
                <a:gd name="connsiteX300" fmla="*/ 6419502 w 9922465"/>
                <a:gd name="connsiteY300" fmla="*/ 1707182 h 1934496"/>
                <a:gd name="connsiteX301" fmla="*/ 6474694 w 9922465"/>
                <a:gd name="connsiteY301" fmla="*/ 1762373 h 1934496"/>
                <a:gd name="connsiteX302" fmla="*/ 6419502 w 9922465"/>
                <a:gd name="connsiteY302" fmla="*/ 1817564 h 1934496"/>
                <a:gd name="connsiteX303" fmla="*/ 6364310 w 9922465"/>
                <a:gd name="connsiteY303" fmla="*/ 1762373 h 1934496"/>
                <a:gd name="connsiteX304" fmla="*/ 6419502 w 9922465"/>
                <a:gd name="connsiteY304" fmla="*/ 1707182 h 1934496"/>
                <a:gd name="connsiteX305" fmla="*/ 6289207 w 9922465"/>
                <a:gd name="connsiteY305" fmla="*/ 1707182 h 1934496"/>
                <a:gd name="connsiteX306" fmla="*/ 6344399 w 9922465"/>
                <a:gd name="connsiteY306" fmla="*/ 1762373 h 1934496"/>
                <a:gd name="connsiteX307" fmla="*/ 6289207 w 9922465"/>
                <a:gd name="connsiteY307" fmla="*/ 1817564 h 1934496"/>
                <a:gd name="connsiteX308" fmla="*/ 6234015 w 9922465"/>
                <a:gd name="connsiteY308" fmla="*/ 1762373 h 1934496"/>
                <a:gd name="connsiteX309" fmla="*/ 6289207 w 9922465"/>
                <a:gd name="connsiteY309" fmla="*/ 1707182 h 1934496"/>
                <a:gd name="connsiteX310" fmla="*/ 6155572 w 9922465"/>
                <a:gd name="connsiteY310" fmla="*/ 1707182 h 1934496"/>
                <a:gd name="connsiteX311" fmla="*/ 6210764 w 9922465"/>
                <a:gd name="connsiteY311" fmla="*/ 1762373 h 1934496"/>
                <a:gd name="connsiteX312" fmla="*/ 6155572 w 9922465"/>
                <a:gd name="connsiteY312" fmla="*/ 1817564 h 1934496"/>
                <a:gd name="connsiteX313" fmla="*/ 6100380 w 9922465"/>
                <a:gd name="connsiteY313" fmla="*/ 1762373 h 1934496"/>
                <a:gd name="connsiteX314" fmla="*/ 6155572 w 9922465"/>
                <a:gd name="connsiteY314" fmla="*/ 1707182 h 1934496"/>
                <a:gd name="connsiteX315" fmla="*/ 6021938 w 9922465"/>
                <a:gd name="connsiteY315" fmla="*/ 1707182 h 1934496"/>
                <a:gd name="connsiteX316" fmla="*/ 6077130 w 9922465"/>
                <a:gd name="connsiteY316" fmla="*/ 1762373 h 1934496"/>
                <a:gd name="connsiteX317" fmla="*/ 6021938 w 9922465"/>
                <a:gd name="connsiteY317" fmla="*/ 1817564 h 1934496"/>
                <a:gd name="connsiteX318" fmla="*/ 5966746 w 9922465"/>
                <a:gd name="connsiteY318" fmla="*/ 1762373 h 1934496"/>
                <a:gd name="connsiteX319" fmla="*/ 6021938 w 9922465"/>
                <a:gd name="connsiteY319" fmla="*/ 1707182 h 1934496"/>
                <a:gd name="connsiteX320" fmla="*/ 5884964 w 9922465"/>
                <a:gd name="connsiteY320" fmla="*/ 1707182 h 1934496"/>
                <a:gd name="connsiteX321" fmla="*/ 5940156 w 9922465"/>
                <a:gd name="connsiteY321" fmla="*/ 1762373 h 1934496"/>
                <a:gd name="connsiteX322" fmla="*/ 5884964 w 9922465"/>
                <a:gd name="connsiteY322" fmla="*/ 1817564 h 1934496"/>
                <a:gd name="connsiteX323" fmla="*/ 5829772 w 9922465"/>
                <a:gd name="connsiteY323" fmla="*/ 1762373 h 1934496"/>
                <a:gd name="connsiteX324" fmla="*/ 5884964 w 9922465"/>
                <a:gd name="connsiteY324" fmla="*/ 1707182 h 1934496"/>
                <a:gd name="connsiteX325" fmla="*/ 5754670 w 9922465"/>
                <a:gd name="connsiteY325" fmla="*/ 1707182 h 1934496"/>
                <a:gd name="connsiteX326" fmla="*/ 5809862 w 9922465"/>
                <a:gd name="connsiteY326" fmla="*/ 1762373 h 1934496"/>
                <a:gd name="connsiteX327" fmla="*/ 5754670 w 9922465"/>
                <a:gd name="connsiteY327" fmla="*/ 1817564 h 1934496"/>
                <a:gd name="connsiteX328" fmla="*/ 5699478 w 9922465"/>
                <a:gd name="connsiteY328" fmla="*/ 1762373 h 1934496"/>
                <a:gd name="connsiteX329" fmla="*/ 5754670 w 9922465"/>
                <a:gd name="connsiteY329" fmla="*/ 1707182 h 1934496"/>
                <a:gd name="connsiteX330" fmla="*/ 5621035 w 9922465"/>
                <a:gd name="connsiteY330" fmla="*/ 1707182 h 1934496"/>
                <a:gd name="connsiteX331" fmla="*/ 5676227 w 9922465"/>
                <a:gd name="connsiteY331" fmla="*/ 1762373 h 1934496"/>
                <a:gd name="connsiteX332" fmla="*/ 5621035 w 9922465"/>
                <a:gd name="connsiteY332" fmla="*/ 1817564 h 1934496"/>
                <a:gd name="connsiteX333" fmla="*/ 5565843 w 9922465"/>
                <a:gd name="connsiteY333" fmla="*/ 1762373 h 1934496"/>
                <a:gd name="connsiteX334" fmla="*/ 5621035 w 9922465"/>
                <a:gd name="connsiteY334" fmla="*/ 1707182 h 1934496"/>
                <a:gd name="connsiteX335" fmla="*/ 5487399 w 9922465"/>
                <a:gd name="connsiteY335" fmla="*/ 1707182 h 1934496"/>
                <a:gd name="connsiteX336" fmla="*/ 5542591 w 9922465"/>
                <a:gd name="connsiteY336" fmla="*/ 1762373 h 1934496"/>
                <a:gd name="connsiteX337" fmla="*/ 5487399 w 9922465"/>
                <a:gd name="connsiteY337" fmla="*/ 1817564 h 1934496"/>
                <a:gd name="connsiteX338" fmla="*/ 5432207 w 9922465"/>
                <a:gd name="connsiteY338" fmla="*/ 1762373 h 1934496"/>
                <a:gd name="connsiteX339" fmla="*/ 5487399 w 9922465"/>
                <a:gd name="connsiteY339" fmla="*/ 1707182 h 1934496"/>
                <a:gd name="connsiteX340" fmla="*/ 5357105 w 9922465"/>
                <a:gd name="connsiteY340" fmla="*/ 1707182 h 1934496"/>
                <a:gd name="connsiteX341" fmla="*/ 5412297 w 9922465"/>
                <a:gd name="connsiteY341" fmla="*/ 1762373 h 1934496"/>
                <a:gd name="connsiteX342" fmla="*/ 5357105 w 9922465"/>
                <a:gd name="connsiteY342" fmla="*/ 1817564 h 1934496"/>
                <a:gd name="connsiteX343" fmla="*/ 5301913 w 9922465"/>
                <a:gd name="connsiteY343" fmla="*/ 1762373 h 1934496"/>
                <a:gd name="connsiteX344" fmla="*/ 5357105 w 9922465"/>
                <a:gd name="connsiteY344" fmla="*/ 1707182 h 1934496"/>
                <a:gd name="connsiteX345" fmla="*/ 5223473 w 9922465"/>
                <a:gd name="connsiteY345" fmla="*/ 1707182 h 1934496"/>
                <a:gd name="connsiteX346" fmla="*/ 5278665 w 9922465"/>
                <a:gd name="connsiteY346" fmla="*/ 1762373 h 1934496"/>
                <a:gd name="connsiteX347" fmla="*/ 5223473 w 9922465"/>
                <a:gd name="connsiteY347" fmla="*/ 1817564 h 1934496"/>
                <a:gd name="connsiteX348" fmla="*/ 5168281 w 9922465"/>
                <a:gd name="connsiteY348" fmla="*/ 1762373 h 1934496"/>
                <a:gd name="connsiteX349" fmla="*/ 5223473 w 9922465"/>
                <a:gd name="connsiteY349" fmla="*/ 1707182 h 1934496"/>
                <a:gd name="connsiteX350" fmla="*/ 5093178 w 9922465"/>
                <a:gd name="connsiteY350" fmla="*/ 1707182 h 1934496"/>
                <a:gd name="connsiteX351" fmla="*/ 5148370 w 9922465"/>
                <a:gd name="connsiteY351" fmla="*/ 1762373 h 1934496"/>
                <a:gd name="connsiteX352" fmla="*/ 5093178 w 9922465"/>
                <a:gd name="connsiteY352" fmla="*/ 1817564 h 1934496"/>
                <a:gd name="connsiteX353" fmla="*/ 5037986 w 9922465"/>
                <a:gd name="connsiteY353" fmla="*/ 1762373 h 1934496"/>
                <a:gd name="connsiteX354" fmla="*/ 5093178 w 9922465"/>
                <a:gd name="connsiteY354" fmla="*/ 1707182 h 1934496"/>
                <a:gd name="connsiteX355" fmla="*/ 4959543 w 9922465"/>
                <a:gd name="connsiteY355" fmla="*/ 1707182 h 1934496"/>
                <a:gd name="connsiteX356" fmla="*/ 5014735 w 9922465"/>
                <a:gd name="connsiteY356" fmla="*/ 1762373 h 1934496"/>
                <a:gd name="connsiteX357" fmla="*/ 4959543 w 9922465"/>
                <a:gd name="connsiteY357" fmla="*/ 1817564 h 1934496"/>
                <a:gd name="connsiteX358" fmla="*/ 4904351 w 9922465"/>
                <a:gd name="connsiteY358" fmla="*/ 1762373 h 1934496"/>
                <a:gd name="connsiteX359" fmla="*/ 4959543 w 9922465"/>
                <a:gd name="connsiteY359" fmla="*/ 1707182 h 1934496"/>
                <a:gd name="connsiteX360" fmla="*/ 4829251 w 9922465"/>
                <a:gd name="connsiteY360" fmla="*/ 1707182 h 1934496"/>
                <a:gd name="connsiteX361" fmla="*/ 4884443 w 9922465"/>
                <a:gd name="connsiteY361" fmla="*/ 1762373 h 1934496"/>
                <a:gd name="connsiteX362" fmla="*/ 4829251 w 9922465"/>
                <a:gd name="connsiteY362" fmla="*/ 1817564 h 1934496"/>
                <a:gd name="connsiteX363" fmla="*/ 4774059 w 9922465"/>
                <a:gd name="connsiteY363" fmla="*/ 1762373 h 1934496"/>
                <a:gd name="connsiteX364" fmla="*/ 4829251 w 9922465"/>
                <a:gd name="connsiteY364" fmla="*/ 1707182 h 1934496"/>
                <a:gd name="connsiteX365" fmla="*/ 4695613 w 9922465"/>
                <a:gd name="connsiteY365" fmla="*/ 1707182 h 1934496"/>
                <a:gd name="connsiteX366" fmla="*/ 4750805 w 9922465"/>
                <a:gd name="connsiteY366" fmla="*/ 1762373 h 1934496"/>
                <a:gd name="connsiteX367" fmla="*/ 4695613 w 9922465"/>
                <a:gd name="connsiteY367" fmla="*/ 1817564 h 1934496"/>
                <a:gd name="connsiteX368" fmla="*/ 4640421 w 9922465"/>
                <a:gd name="connsiteY368" fmla="*/ 1762373 h 1934496"/>
                <a:gd name="connsiteX369" fmla="*/ 4695613 w 9922465"/>
                <a:gd name="connsiteY369" fmla="*/ 1707182 h 1934496"/>
                <a:gd name="connsiteX370" fmla="*/ 3098681 w 9922465"/>
                <a:gd name="connsiteY370" fmla="*/ 1707182 h 1934496"/>
                <a:gd name="connsiteX371" fmla="*/ 3153873 w 9922465"/>
                <a:gd name="connsiteY371" fmla="*/ 1762373 h 1934496"/>
                <a:gd name="connsiteX372" fmla="*/ 3098681 w 9922465"/>
                <a:gd name="connsiteY372" fmla="*/ 1817564 h 1934496"/>
                <a:gd name="connsiteX373" fmla="*/ 3043489 w 9922465"/>
                <a:gd name="connsiteY373" fmla="*/ 1762373 h 1934496"/>
                <a:gd name="connsiteX374" fmla="*/ 3098681 w 9922465"/>
                <a:gd name="connsiteY374" fmla="*/ 1707182 h 1934496"/>
                <a:gd name="connsiteX375" fmla="*/ 2971729 w 9922465"/>
                <a:gd name="connsiteY375" fmla="*/ 1707182 h 1934496"/>
                <a:gd name="connsiteX376" fmla="*/ 3026921 w 9922465"/>
                <a:gd name="connsiteY376" fmla="*/ 1762373 h 1934496"/>
                <a:gd name="connsiteX377" fmla="*/ 2971729 w 9922465"/>
                <a:gd name="connsiteY377" fmla="*/ 1817564 h 1934496"/>
                <a:gd name="connsiteX378" fmla="*/ 2916537 w 9922465"/>
                <a:gd name="connsiteY378" fmla="*/ 1762373 h 1934496"/>
                <a:gd name="connsiteX379" fmla="*/ 2971729 w 9922465"/>
                <a:gd name="connsiteY379" fmla="*/ 1707182 h 1934496"/>
                <a:gd name="connsiteX380" fmla="*/ 2834772 w 9922465"/>
                <a:gd name="connsiteY380" fmla="*/ 1707182 h 1934496"/>
                <a:gd name="connsiteX381" fmla="*/ 2889964 w 9922465"/>
                <a:gd name="connsiteY381" fmla="*/ 1762373 h 1934496"/>
                <a:gd name="connsiteX382" fmla="*/ 2834772 w 9922465"/>
                <a:gd name="connsiteY382" fmla="*/ 1817564 h 1934496"/>
                <a:gd name="connsiteX383" fmla="*/ 2779580 w 9922465"/>
                <a:gd name="connsiteY383" fmla="*/ 1762373 h 1934496"/>
                <a:gd name="connsiteX384" fmla="*/ 2834772 w 9922465"/>
                <a:gd name="connsiteY384" fmla="*/ 1707182 h 1934496"/>
                <a:gd name="connsiteX385" fmla="*/ 2707817 w 9922465"/>
                <a:gd name="connsiteY385" fmla="*/ 1707182 h 1934496"/>
                <a:gd name="connsiteX386" fmla="*/ 2763009 w 9922465"/>
                <a:gd name="connsiteY386" fmla="*/ 1762373 h 1934496"/>
                <a:gd name="connsiteX387" fmla="*/ 2707817 w 9922465"/>
                <a:gd name="connsiteY387" fmla="*/ 1817564 h 1934496"/>
                <a:gd name="connsiteX388" fmla="*/ 2652625 w 9922465"/>
                <a:gd name="connsiteY388" fmla="*/ 1762373 h 1934496"/>
                <a:gd name="connsiteX389" fmla="*/ 2707817 w 9922465"/>
                <a:gd name="connsiteY389" fmla="*/ 1707182 h 1934496"/>
                <a:gd name="connsiteX390" fmla="*/ 2570843 w 9922465"/>
                <a:gd name="connsiteY390" fmla="*/ 1707182 h 1934496"/>
                <a:gd name="connsiteX391" fmla="*/ 2626036 w 9922465"/>
                <a:gd name="connsiteY391" fmla="*/ 1762373 h 1934496"/>
                <a:gd name="connsiteX392" fmla="*/ 2570843 w 9922465"/>
                <a:gd name="connsiteY392" fmla="*/ 1817564 h 1934496"/>
                <a:gd name="connsiteX393" fmla="*/ 2515651 w 9922465"/>
                <a:gd name="connsiteY393" fmla="*/ 1762373 h 1934496"/>
                <a:gd name="connsiteX394" fmla="*/ 2570843 w 9922465"/>
                <a:gd name="connsiteY394" fmla="*/ 1707182 h 1934496"/>
                <a:gd name="connsiteX395" fmla="*/ 2437207 w 9922465"/>
                <a:gd name="connsiteY395" fmla="*/ 1707182 h 1934496"/>
                <a:gd name="connsiteX396" fmla="*/ 2492398 w 9922465"/>
                <a:gd name="connsiteY396" fmla="*/ 1762373 h 1934496"/>
                <a:gd name="connsiteX397" fmla="*/ 2437207 w 9922465"/>
                <a:gd name="connsiteY397" fmla="*/ 1817564 h 1934496"/>
                <a:gd name="connsiteX398" fmla="*/ 2382015 w 9922465"/>
                <a:gd name="connsiteY398" fmla="*/ 1762373 h 1934496"/>
                <a:gd name="connsiteX399" fmla="*/ 2437207 w 9922465"/>
                <a:gd name="connsiteY399" fmla="*/ 1707182 h 1934496"/>
                <a:gd name="connsiteX400" fmla="*/ 2303575 w 9922465"/>
                <a:gd name="connsiteY400" fmla="*/ 1707182 h 1934496"/>
                <a:gd name="connsiteX401" fmla="*/ 2358767 w 9922465"/>
                <a:gd name="connsiteY401" fmla="*/ 1762373 h 1934496"/>
                <a:gd name="connsiteX402" fmla="*/ 2303575 w 9922465"/>
                <a:gd name="connsiteY402" fmla="*/ 1817564 h 1934496"/>
                <a:gd name="connsiteX403" fmla="*/ 2248383 w 9922465"/>
                <a:gd name="connsiteY403" fmla="*/ 1762373 h 1934496"/>
                <a:gd name="connsiteX404" fmla="*/ 2303575 w 9922465"/>
                <a:gd name="connsiteY404" fmla="*/ 1707182 h 1934496"/>
                <a:gd name="connsiteX405" fmla="*/ 2173282 w 9922465"/>
                <a:gd name="connsiteY405" fmla="*/ 1707182 h 1934496"/>
                <a:gd name="connsiteX406" fmla="*/ 2228474 w 9922465"/>
                <a:gd name="connsiteY406" fmla="*/ 1762373 h 1934496"/>
                <a:gd name="connsiteX407" fmla="*/ 2173282 w 9922465"/>
                <a:gd name="connsiteY407" fmla="*/ 1817564 h 1934496"/>
                <a:gd name="connsiteX408" fmla="*/ 2118090 w 9922465"/>
                <a:gd name="connsiteY408" fmla="*/ 1762373 h 1934496"/>
                <a:gd name="connsiteX409" fmla="*/ 2173282 w 9922465"/>
                <a:gd name="connsiteY409" fmla="*/ 1707182 h 1934496"/>
                <a:gd name="connsiteX410" fmla="*/ 2039648 w 9922465"/>
                <a:gd name="connsiteY410" fmla="*/ 1707182 h 1934496"/>
                <a:gd name="connsiteX411" fmla="*/ 2094840 w 9922465"/>
                <a:gd name="connsiteY411" fmla="*/ 1762373 h 1934496"/>
                <a:gd name="connsiteX412" fmla="*/ 2039648 w 9922465"/>
                <a:gd name="connsiteY412" fmla="*/ 1817564 h 1934496"/>
                <a:gd name="connsiteX413" fmla="*/ 1984455 w 9922465"/>
                <a:gd name="connsiteY413" fmla="*/ 1762373 h 1934496"/>
                <a:gd name="connsiteX414" fmla="*/ 2039648 w 9922465"/>
                <a:gd name="connsiteY414" fmla="*/ 1707182 h 1934496"/>
                <a:gd name="connsiteX415" fmla="*/ 1909353 w 9922465"/>
                <a:gd name="connsiteY415" fmla="*/ 1707182 h 1934496"/>
                <a:gd name="connsiteX416" fmla="*/ 1964545 w 9922465"/>
                <a:gd name="connsiteY416" fmla="*/ 1762373 h 1934496"/>
                <a:gd name="connsiteX417" fmla="*/ 1909353 w 9922465"/>
                <a:gd name="connsiteY417" fmla="*/ 1817564 h 1934496"/>
                <a:gd name="connsiteX418" fmla="*/ 1854161 w 9922465"/>
                <a:gd name="connsiteY418" fmla="*/ 1762373 h 1934496"/>
                <a:gd name="connsiteX419" fmla="*/ 1909353 w 9922465"/>
                <a:gd name="connsiteY419" fmla="*/ 1707182 h 1934496"/>
                <a:gd name="connsiteX420" fmla="*/ 1779058 w 9922465"/>
                <a:gd name="connsiteY420" fmla="*/ 1707182 h 1934496"/>
                <a:gd name="connsiteX421" fmla="*/ 1834251 w 9922465"/>
                <a:gd name="connsiteY421" fmla="*/ 1762373 h 1934496"/>
                <a:gd name="connsiteX422" fmla="*/ 1779058 w 9922465"/>
                <a:gd name="connsiteY422" fmla="*/ 1817564 h 1934496"/>
                <a:gd name="connsiteX423" fmla="*/ 1723867 w 9922465"/>
                <a:gd name="connsiteY423" fmla="*/ 1762373 h 1934496"/>
                <a:gd name="connsiteX424" fmla="*/ 1779058 w 9922465"/>
                <a:gd name="connsiteY424" fmla="*/ 1707182 h 1934496"/>
                <a:gd name="connsiteX425" fmla="*/ 1645422 w 9922465"/>
                <a:gd name="connsiteY425" fmla="*/ 1707182 h 1934496"/>
                <a:gd name="connsiteX426" fmla="*/ 1700617 w 9922465"/>
                <a:gd name="connsiteY426" fmla="*/ 1762373 h 1934496"/>
                <a:gd name="connsiteX427" fmla="*/ 1645422 w 9922465"/>
                <a:gd name="connsiteY427" fmla="*/ 1817564 h 1934496"/>
                <a:gd name="connsiteX428" fmla="*/ 1590230 w 9922465"/>
                <a:gd name="connsiteY428" fmla="*/ 1762373 h 1934496"/>
                <a:gd name="connsiteX429" fmla="*/ 1645422 w 9922465"/>
                <a:gd name="connsiteY429" fmla="*/ 1707182 h 1934496"/>
                <a:gd name="connsiteX430" fmla="*/ 1515130 w 9922465"/>
                <a:gd name="connsiteY430" fmla="*/ 1707182 h 1934496"/>
                <a:gd name="connsiteX431" fmla="*/ 1570322 w 9922465"/>
                <a:gd name="connsiteY431" fmla="*/ 1762373 h 1934496"/>
                <a:gd name="connsiteX432" fmla="*/ 1515130 w 9922465"/>
                <a:gd name="connsiteY432" fmla="*/ 1817564 h 1934496"/>
                <a:gd name="connsiteX433" fmla="*/ 1459938 w 9922465"/>
                <a:gd name="connsiteY433" fmla="*/ 1762373 h 1934496"/>
                <a:gd name="connsiteX434" fmla="*/ 1515130 w 9922465"/>
                <a:gd name="connsiteY434" fmla="*/ 1707182 h 1934496"/>
                <a:gd name="connsiteX435" fmla="*/ 1381494 w 9922465"/>
                <a:gd name="connsiteY435" fmla="*/ 1707182 h 1934496"/>
                <a:gd name="connsiteX436" fmla="*/ 1436688 w 9922465"/>
                <a:gd name="connsiteY436" fmla="*/ 1762373 h 1934496"/>
                <a:gd name="connsiteX437" fmla="*/ 1381494 w 9922465"/>
                <a:gd name="connsiteY437" fmla="*/ 1817564 h 1934496"/>
                <a:gd name="connsiteX438" fmla="*/ 1326303 w 9922465"/>
                <a:gd name="connsiteY438" fmla="*/ 1762373 h 1934496"/>
                <a:gd name="connsiteX439" fmla="*/ 1381494 w 9922465"/>
                <a:gd name="connsiteY439" fmla="*/ 1707182 h 1934496"/>
                <a:gd name="connsiteX440" fmla="*/ 1251201 w 9922465"/>
                <a:gd name="connsiteY440" fmla="*/ 1707182 h 1934496"/>
                <a:gd name="connsiteX441" fmla="*/ 1306393 w 9922465"/>
                <a:gd name="connsiteY441" fmla="*/ 1762373 h 1934496"/>
                <a:gd name="connsiteX442" fmla="*/ 1251201 w 9922465"/>
                <a:gd name="connsiteY442" fmla="*/ 1817564 h 1934496"/>
                <a:gd name="connsiteX443" fmla="*/ 1196010 w 9922465"/>
                <a:gd name="connsiteY443" fmla="*/ 1762373 h 1934496"/>
                <a:gd name="connsiteX444" fmla="*/ 1251201 w 9922465"/>
                <a:gd name="connsiteY444" fmla="*/ 1707182 h 1934496"/>
                <a:gd name="connsiteX445" fmla="*/ 1909361 w 9922465"/>
                <a:gd name="connsiteY445" fmla="*/ 1580232 h 1934496"/>
                <a:gd name="connsiteX446" fmla="*/ 1964554 w 9922465"/>
                <a:gd name="connsiteY446" fmla="*/ 1635423 h 1934496"/>
                <a:gd name="connsiteX447" fmla="*/ 1909361 w 9922465"/>
                <a:gd name="connsiteY447" fmla="*/ 1690614 h 1934496"/>
                <a:gd name="connsiteX448" fmla="*/ 1854168 w 9922465"/>
                <a:gd name="connsiteY448" fmla="*/ 1635423 h 1934496"/>
                <a:gd name="connsiteX449" fmla="*/ 1909361 w 9922465"/>
                <a:gd name="connsiteY449" fmla="*/ 1580232 h 1934496"/>
                <a:gd name="connsiteX450" fmla="*/ 1779065 w 9922465"/>
                <a:gd name="connsiteY450" fmla="*/ 1580232 h 1934496"/>
                <a:gd name="connsiteX451" fmla="*/ 1834257 w 9922465"/>
                <a:gd name="connsiteY451" fmla="*/ 1635423 h 1934496"/>
                <a:gd name="connsiteX452" fmla="*/ 1779065 w 9922465"/>
                <a:gd name="connsiteY452" fmla="*/ 1690614 h 1934496"/>
                <a:gd name="connsiteX453" fmla="*/ 1723872 w 9922465"/>
                <a:gd name="connsiteY453" fmla="*/ 1635423 h 1934496"/>
                <a:gd name="connsiteX454" fmla="*/ 1779065 w 9922465"/>
                <a:gd name="connsiteY454" fmla="*/ 1580232 h 1934496"/>
                <a:gd name="connsiteX455" fmla="*/ 1645431 w 9922465"/>
                <a:gd name="connsiteY455" fmla="*/ 1580232 h 1934496"/>
                <a:gd name="connsiteX456" fmla="*/ 1700623 w 9922465"/>
                <a:gd name="connsiteY456" fmla="*/ 1635423 h 1934496"/>
                <a:gd name="connsiteX457" fmla="*/ 1645431 w 9922465"/>
                <a:gd name="connsiteY457" fmla="*/ 1690614 h 1934496"/>
                <a:gd name="connsiteX458" fmla="*/ 1590238 w 9922465"/>
                <a:gd name="connsiteY458" fmla="*/ 1635423 h 1934496"/>
                <a:gd name="connsiteX459" fmla="*/ 1645431 w 9922465"/>
                <a:gd name="connsiteY459" fmla="*/ 1580232 h 1934496"/>
                <a:gd name="connsiteX460" fmla="*/ 1515140 w 9922465"/>
                <a:gd name="connsiteY460" fmla="*/ 1580232 h 1934496"/>
                <a:gd name="connsiteX461" fmla="*/ 1570329 w 9922465"/>
                <a:gd name="connsiteY461" fmla="*/ 1635423 h 1934496"/>
                <a:gd name="connsiteX462" fmla="*/ 1515140 w 9922465"/>
                <a:gd name="connsiteY462" fmla="*/ 1690614 h 1934496"/>
                <a:gd name="connsiteX463" fmla="*/ 1459945 w 9922465"/>
                <a:gd name="connsiteY463" fmla="*/ 1635423 h 1934496"/>
                <a:gd name="connsiteX464" fmla="*/ 1515140 w 9922465"/>
                <a:gd name="connsiteY464" fmla="*/ 1580232 h 1934496"/>
                <a:gd name="connsiteX465" fmla="*/ 1381504 w 9922465"/>
                <a:gd name="connsiteY465" fmla="*/ 1580232 h 1934496"/>
                <a:gd name="connsiteX466" fmla="*/ 1436697 w 9922465"/>
                <a:gd name="connsiteY466" fmla="*/ 1635423 h 1934496"/>
                <a:gd name="connsiteX467" fmla="*/ 1381504 w 9922465"/>
                <a:gd name="connsiteY467" fmla="*/ 1690614 h 1934496"/>
                <a:gd name="connsiteX468" fmla="*/ 1326312 w 9922465"/>
                <a:gd name="connsiteY468" fmla="*/ 1635423 h 1934496"/>
                <a:gd name="connsiteX469" fmla="*/ 1381504 w 9922465"/>
                <a:gd name="connsiteY469" fmla="*/ 1580232 h 1934496"/>
                <a:gd name="connsiteX470" fmla="*/ 1251210 w 9922465"/>
                <a:gd name="connsiteY470" fmla="*/ 1580232 h 1934496"/>
                <a:gd name="connsiteX471" fmla="*/ 1306401 w 9922465"/>
                <a:gd name="connsiteY471" fmla="*/ 1635423 h 1934496"/>
                <a:gd name="connsiteX472" fmla="*/ 1251210 w 9922465"/>
                <a:gd name="connsiteY472" fmla="*/ 1690614 h 1934496"/>
                <a:gd name="connsiteX473" fmla="*/ 1196016 w 9922465"/>
                <a:gd name="connsiteY473" fmla="*/ 1635423 h 1934496"/>
                <a:gd name="connsiteX474" fmla="*/ 1251210 w 9922465"/>
                <a:gd name="connsiteY474" fmla="*/ 1580232 h 1934496"/>
                <a:gd name="connsiteX475" fmla="*/ 9068806 w 9922465"/>
                <a:gd name="connsiteY475" fmla="*/ 1580228 h 1934496"/>
                <a:gd name="connsiteX476" fmla="*/ 9123998 w 9922465"/>
                <a:gd name="connsiteY476" fmla="*/ 1635419 h 1934496"/>
                <a:gd name="connsiteX477" fmla="*/ 9068806 w 9922465"/>
                <a:gd name="connsiteY477" fmla="*/ 1690610 h 1934496"/>
                <a:gd name="connsiteX478" fmla="*/ 9013614 w 9922465"/>
                <a:gd name="connsiteY478" fmla="*/ 1635419 h 1934496"/>
                <a:gd name="connsiteX479" fmla="*/ 9068806 w 9922465"/>
                <a:gd name="connsiteY479" fmla="*/ 1580228 h 1934496"/>
                <a:gd name="connsiteX480" fmla="*/ 8671243 w 9922465"/>
                <a:gd name="connsiteY480" fmla="*/ 1580228 h 1934496"/>
                <a:gd name="connsiteX481" fmla="*/ 8726435 w 9922465"/>
                <a:gd name="connsiteY481" fmla="*/ 1635419 h 1934496"/>
                <a:gd name="connsiteX482" fmla="*/ 8671243 w 9922465"/>
                <a:gd name="connsiteY482" fmla="*/ 1690610 h 1934496"/>
                <a:gd name="connsiteX483" fmla="*/ 8616051 w 9922465"/>
                <a:gd name="connsiteY483" fmla="*/ 1635419 h 1934496"/>
                <a:gd name="connsiteX484" fmla="*/ 8671243 w 9922465"/>
                <a:gd name="connsiteY484" fmla="*/ 1580228 h 1934496"/>
                <a:gd name="connsiteX485" fmla="*/ 8537609 w 9922465"/>
                <a:gd name="connsiteY485" fmla="*/ 1580228 h 1934496"/>
                <a:gd name="connsiteX486" fmla="*/ 8592801 w 9922465"/>
                <a:gd name="connsiteY486" fmla="*/ 1635419 h 1934496"/>
                <a:gd name="connsiteX487" fmla="*/ 8537609 w 9922465"/>
                <a:gd name="connsiteY487" fmla="*/ 1690610 h 1934496"/>
                <a:gd name="connsiteX488" fmla="*/ 8482417 w 9922465"/>
                <a:gd name="connsiteY488" fmla="*/ 1635419 h 1934496"/>
                <a:gd name="connsiteX489" fmla="*/ 8537609 w 9922465"/>
                <a:gd name="connsiteY489" fmla="*/ 1580228 h 1934496"/>
                <a:gd name="connsiteX490" fmla="*/ 8407318 w 9922465"/>
                <a:gd name="connsiteY490" fmla="*/ 1580228 h 1934496"/>
                <a:gd name="connsiteX491" fmla="*/ 8462510 w 9922465"/>
                <a:gd name="connsiteY491" fmla="*/ 1635419 h 1934496"/>
                <a:gd name="connsiteX492" fmla="*/ 8407318 w 9922465"/>
                <a:gd name="connsiteY492" fmla="*/ 1690610 h 1934496"/>
                <a:gd name="connsiteX493" fmla="*/ 8352126 w 9922465"/>
                <a:gd name="connsiteY493" fmla="*/ 1635419 h 1934496"/>
                <a:gd name="connsiteX494" fmla="*/ 8407318 w 9922465"/>
                <a:gd name="connsiteY494" fmla="*/ 1580228 h 1934496"/>
                <a:gd name="connsiteX495" fmla="*/ 8273682 w 9922465"/>
                <a:gd name="connsiteY495" fmla="*/ 1580228 h 1934496"/>
                <a:gd name="connsiteX496" fmla="*/ 8328874 w 9922465"/>
                <a:gd name="connsiteY496" fmla="*/ 1635419 h 1934496"/>
                <a:gd name="connsiteX497" fmla="*/ 8273682 w 9922465"/>
                <a:gd name="connsiteY497" fmla="*/ 1690610 h 1934496"/>
                <a:gd name="connsiteX498" fmla="*/ 8218490 w 9922465"/>
                <a:gd name="connsiteY498" fmla="*/ 1635419 h 1934496"/>
                <a:gd name="connsiteX499" fmla="*/ 8273682 w 9922465"/>
                <a:gd name="connsiteY499" fmla="*/ 1580228 h 1934496"/>
                <a:gd name="connsiteX500" fmla="*/ 8143386 w 9922465"/>
                <a:gd name="connsiteY500" fmla="*/ 1580228 h 1934496"/>
                <a:gd name="connsiteX501" fmla="*/ 8198578 w 9922465"/>
                <a:gd name="connsiteY501" fmla="*/ 1635419 h 1934496"/>
                <a:gd name="connsiteX502" fmla="*/ 8143386 w 9922465"/>
                <a:gd name="connsiteY502" fmla="*/ 1690610 h 1934496"/>
                <a:gd name="connsiteX503" fmla="*/ 8088194 w 9922465"/>
                <a:gd name="connsiteY503" fmla="*/ 1635419 h 1934496"/>
                <a:gd name="connsiteX504" fmla="*/ 8143386 w 9922465"/>
                <a:gd name="connsiteY504" fmla="*/ 1580228 h 1934496"/>
                <a:gd name="connsiteX505" fmla="*/ 8009752 w 9922465"/>
                <a:gd name="connsiteY505" fmla="*/ 1580228 h 1934496"/>
                <a:gd name="connsiteX506" fmla="*/ 8064944 w 9922465"/>
                <a:gd name="connsiteY506" fmla="*/ 1635419 h 1934496"/>
                <a:gd name="connsiteX507" fmla="*/ 8009752 w 9922465"/>
                <a:gd name="connsiteY507" fmla="*/ 1690610 h 1934496"/>
                <a:gd name="connsiteX508" fmla="*/ 7954560 w 9922465"/>
                <a:gd name="connsiteY508" fmla="*/ 1635419 h 1934496"/>
                <a:gd name="connsiteX509" fmla="*/ 8009752 w 9922465"/>
                <a:gd name="connsiteY509" fmla="*/ 1580228 h 1934496"/>
                <a:gd name="connsiteX510" fmla="*/ 7876117 w 9922465"/>
                <a:gd name="connsiteY510" fmla="*/ 1580228 h 1934496"/>
                <a:gd name="connsiteX511" fmla="*/ 7931309 w 9922465"/>
                <a:gd name="connsiteY511" fmla="*/ 1635419 h 1934496"/>
                <a:gd name="connsiteX512" fmla="*/ 7876117 w 9922465"/>
                <a:gd name="connsiteY512" fmla="*/ 1690610 h 1934496"/>
                <a:gd name="connsiteX513" fmla="*/ 7820925 w 9922465"/>
                <a:gd name="connsiteY513" fmla="*/ 1635419 h 1934496"/>
                <a:gd name="connsiteX514" fmla="*/ 7876117 w 9922465"/>
                <a:gd name="connsiteY514" fmla="*/ 1580228 h 1934496"/>
                <a:gd name="connsiteX515" fmla="*/ 7745824 w 9922465"/>
                <a:gd name="connsiteY515" fmla="*/ 1580228 h 1934496"/>
                <a:gd name="connsiteX516" fmla="*/ 7801016 w 9922465"/>
                <a:gd name="connsiteY516" fmla="*/ 1635419 h 1934496"/>
                <a:gd name="connsiteX517" fmla="*/ 7745824 w 9922465"/>
                <a:gd name="connsiteY517" fmla="*/ 1690610 h 1934496"/>
                <a:gd name="connsiteX518" fmla="*/ 7690632 w 9922465"/>
                <a:gd name="connsiteY518" fmla="*/ 1635419 h 1934496"/>
                <a:gd name="connsiteX519" fmla="*/ 7745824 w 9922465"/>
                <a:gd name="connsiteY519" fmla="*/ 1580228 h 1934496"/>
                <a:gd name="connsiteX520" fmla="*/ 7608849 w 9922465"/>
                <a:gd name="connsiteY520" fmla="*/ 1580228 h 1934496"/>
                <a:gd name="connsiteX521" fmla="*/ 7664041 w 9922465"/>
                <a:gd name="connsiteY521" fmla="*/ 1635419 h 1934496"/>
                <a:gd name="connsiteX522" fmla="*/ 7608849 w 9922465"/>
                <a:gd name="connsiteY522" fmla="*/ 1690610 h 1934496"/>
                <a:gd name="connsiteX523" fmla="*/ 7553657 w 9922465"/>
                <a:gd name="connsiteY523" fmla="*/ 1635419 h 1934496"/>
                <a:gd name="connsiteX524" fmla="*/ 7608849 w 9922465"/>
                <a:gd name="connsiteY524" fmla="*/ 1580228 h 1934496"/>
                <a:gd name="connsiteX525" fmla="*/ 7481895 w 9922465"/>
                <a:gd name="connsiteY525" fmla="*/ 1580228 h 1934496"/>
                <a:gd name="connsiteX526" fmla="*/ 7537087 w 9922465"/>
                <a:gd name="connsiteY526" fmla="*/ 1635419 h 1934496"/>
                <a:gd name="connsiteX527" fmla="*/ 7481895 w 9922465"/>
                <a:gd name="connsiteY527" fmla="*/ 1690610 h 1934496"/>
                <a:gd name="connsiteX528" fmla="*/ 7426703 w 9922465"/>
                <a:gd name="connsiteY528" fmla="*/ 1635419 h 1934496"/>
                <a:gd name="connsiteX529" fmla="*/ 7481895 w 9922465"/>
                <a:gd name="connsiteY529" fmla="*/ 1580228 h 1934496"/>
                <a:gd name="connsiteX530" fmla="*/ 7341579 w 9922465"/>
                <a:gd name="connsiteY530" fmla="*/ 1580228 h 1934496"/>
                <a:gd name="connsiteX531" fmla="*/ 7396771 w 9922465"/>
                <a:gd name="connsiteY531" fmla="*/ 1635419 h 1934496"/>
                <a:gd name="connsiteX532" fmla="*/ 7341579 w 9922465"/>
                <a:gd name="connsiteY532" fmla="*/ 1690610 h 1934496"/>
                <a:gd name="connsiteX533" fmla="*/ 7286387 w 9922465"/>
                <a:gd name="connsiteY533" fmla="*/ 1635419 h 1934496"/>
                <a:gd name="connsiteX534" fmla="*/ 7341579 w 9922465"/>
                <a:gd name="connsiteY534" fmla="*/ 1580228 h 1934496"/>
                <a:gd name="connsiteX535" fmla="*/ 7211286 w 9922465"/>
                <a:gd name="connsiteY535" fmla="*/ 1580228 h 1934496"/>
                <a:gd name="connsiteX536" fmla="*/ 7266478 w 9922465"/>
                <a:gd name="connsiteY536" fmla="*/ 1635419 h 1934496"/>
                <a:gd name="connsiteX537" fmla="*/ 7211286 w 9922465"/>
                <a:gd name="connsiteY537" fmla="*/ 1690610 h 1934496"/>
                <a:gd name="connsiteX538" fmla="*/ 7156094 w 9922465"/>
                <a:gd name="connsiteY538" fmla="*/ 1635419 h 1934496"/>
                <a:gd name="connsiteX539" fmla="*/ 7211286 w 9922465"/>
                <a:gd name="connsiteY539" fmla="*/ 1580228 h 1934496"/>
                <a:gd name="connsiteX540" fmla="*/ 7080993 w 9922465"/>
                <a:gd name="connsiteY540" fmla="*/ 1580228 h 1934496"/>
                <a:gd name="connsiteX541" fmla="*/ 7136185 w 9922465"/>
                <a:gd name="connsiteY541" fmla="*/ 1635419 h 1934496"/>
                <a:gd name="connsiteX542" fmla="*/ 7080993 w 9922465"/>
                <a:gd name="connsiteY542" fmla="*/ 1690610 h 1934496"/>
                <a:gd name="connsiteX543" fmla="*/ 7025801 w 9922465"/>
                <a:gd name="connsiteY543" fmla="*/ 1635419 h 1934496"/>
                <a:gd name="connsiteX544" fmla="*/ 7080993 w 9922465"/>
                <a:gd name="connsiteY544" fmla="*/ 1580228 h 1934496"/>
                <a:gd name="connsiteX545" fmla="*/ 6947357 w 9922465"/>
                <a:gd name="connsiteY545" fmla="*/ 1580228 h 1934496"/>
                <a:gd name="connsiteX546" fmla="*/ 7002549 w 9922465"/>
                <a:gd name="connsiteY546" fmla="*/ 1635419 h 1934496"/>
                <a:gd name="connsiteX547" fmla="*/ 6947357 w 9922465"/>
                <a:gd name="connsiteY547" fmla="*/ 1690610 h 1934496"/>
                <a:gd name="connsiteX548" fmla="*/ 6892165 w 9922465"/>
                <a:gd name="connsiteY548" fmla="*/ 1635419 h 1934496"/>
                <a:gd name="connsiteX549" fmla="*/ 6947357 w 9922465"/>
                <a:gd name="connsiteY549" fmla="*/ 1580228 h 1934496"/>
                <a:gd name="connsiteX550" fmla="*/ 6817063 w 9922465"/>
                <a:gd name="connsiteY550" fmla="*/ 1580228 h 1934496"/>
                <a:gd name="connsiteX551" fmla="*/ 6872255 w 9922465"/>
                <a:gd name="connsiteY551" fmla="*/ 1635419 h 1934496"/>
                <a:gd name="connsiteX552" fmla="*/ 6817063 w 9922465"/>
                <a:gd name="connsiteY552" fmla="*/ 1690610 h 1934496"/>
                <a:gd name="connsiteX553" fmla="*/ 6761871 w 9922465"/>
                <a:gd name="connsiteY553" fmla="*/ 1635419 h 1934496"/>
                <a:gd name="connsiteX554" fmla="*/ 6817063 w 9922465"/>
                <a:gd name="connsiteY554" fmla="*/ 1580228 h 1934496"/>
                <a:gd name="connsiteX555" fmla="*/ 6683431 w 9922465"/>
                <a:gd name="connsiteY555" fmla="*/ 1580228 h 1934496"/>
                <a:gd name="connsiteX556" fmla="*/ 6738623 w 9922465"/>
                <a:gd name="connsiteY556" fmla="*/ 1635419 h 1934496"/>
                <a:gd name="connsiteX557" fmla="*/ 6683431 w 9922465"/>
                <a:gd name="connsiteY557" fmla="*/ 1690610 h 1934496"/>
                <a:gd name="connsiteX558" fmla="*/ 6628239 w 9922465"/>
                <a:gd name="connsiteY558" fmla="*/ 1635419 h 1934496"/>
                <a:gd name="connsiteX559" fmla="*/ 6683431 w 9922465"/>
                <a:gd name="connsiteY559" fmla="*/ 1580228 h 1934496"/>
                <a:gd name="connsiteX560" fmla="*/ 6553137 w 9922465"/>
                <a:gd name="connsiteY560" fmla="*/ 1580228 h 1934496"/>
                <a:gd name="connsiteX561" fmla="*/ 6608329 w 9922465"/>
                <a:gd name="connsiteY561" fmla="*/ 1635419 h 1934496"/>
                <a:gd name="connsiteX562" fmla="*/ 6553137 w 9922465"/>
                <a:gd name="connsiteY562" fmla="*/ 1690610 h 1934496"/>
                <a:gd name="connsiteX563" fmla="*/ 6497945 w 9922465"/>
                <a:gd name="connsiteY563" fmla="*/ 1635419 h 1934496"/>
                <a:gd name="connsiteX564" fmla="*/ 6553137 w 9922465"/>
                <a:gd name="connsiteY564" fmla="*/ 1580228 h 1934496"/>
                <a:gd name="connsiteX565" fmla="*/ 6419502 w 9922465"/>
                <a:gd name="connsiteY565" fmla="*/ 1580228 h 1934496"/>
                <a:gd name="connsiteX566" fmla="*/ 6474694 w 9922465"/>
                <a:gd name="connsiteY566" fmla="*/ 1635419 h 1934496"/>
                <a:gd name="connsiteX567" fmla="*/ 6419502 w 9922465"/>
                <a:gd name="connsiteY567" fmla="*/ 1690610 h 1934496"/>
                <a:gd name="connsiteX568" fmla="*/ 6364310 w 9922465"/>
                <a:gd name="connsiteY568" fmla="*/ 1635419 h 1934496"/>
                <a:gd name="connsiteX569" fmla="*/ 6419502 w 9922465"/>
                <a:gd name="connsiteY569" fmla="*/ 1580228 h 1934496"/>
                <a:gd name="connsiteX570" fmla="*/ 6289208 w 9922465"/>
                <a:gd name="connsiteY570" fmla="*/ 1580228 h 1934496"/>
                <a:gd name="connsiteX571" fmla="*/ 6344400 w 9922465"/>
                <a:gd name="connsiteY571" fmla="*/ 1635419 h 1934496"/>
                <a:gd name="connsiteX572" fmla="*/ 6289208 w 9922465"/>
                <a:gd name="connsiteY572" fmla="*/ 1690610 h 1934496"/>
                <a:gd name="connsiteX573" fmla="*/ 6234016 w 9922465"/>
                <a:gd name="connsiteY573" fmla="*/ 1635419 h 1934496"/>
                <a:gd name="connsiteX574" fmla="*/ 6289208 w 9922465"/>
                <a:gd name="connsiteY574" fmla="*/ 1580228 h 1934496"/>
                <a:gd name="connsiteX575" fmla="*/ 6155572 w 9922465"/>
                <a:gd name="connsiteY575" fmla="*/ 1580228 h 1934496"/>
                <a:gd name="connsiteX576" fmla="*/ 6210764 w 9922465"/>
                <a:gd name="connsiteY576" fmla="*/ 1635419 h 1934496"/>
                <a:gd name="connsiteX577" fmla="*/ 6155572 w 9922465"/>
                <a:gd name="connsiteY577" fmla="*/ 1690610 h 1934496"/>
                <a:gd name="connsiteX578" fmla="*/ 6100380 w 9922465"/>
                <a:gd name="connsiteY578" fmla="*/ 1635419 h 1934496"/>
                <a:gd name="connsiteX579" fmla="*/ 6155572 w 9922465"/>
                <a:gd name="connsiteY579" fmla="*/ 1580228 h 1934496"/>
                <a:gd name="connsiteX580" fmla="*/ 6021938 w 9922465"/>
                <a:gd name="connsiteY580" fmla="*/ 1580228 h 1934496"/>
                <a:gd name="connsiteX581" fmla="*/ 6077130 w 9922465"/>
                <a:gd name="connsiteY581" fmla="*/ 1635419 h 1934496"/>
                <a:gd name="connsiteX582" fmla="*/ 6021938 w 9922465"/>
                <a:gd name="connsiteY582" fmla="*/ 1690610 h 1934496"/>
                <a:gd name="connsiteX583" fmla="*/ 5966746 w 9922465"/>
                <a:gd name="connsiteY583" fmla="*/ 1635419 h 1934496"/>
                <a:gd name="connsiteX584" fmla="*/ 6021938 w 9922465"/>
                <a:gd name="connsiteY584" fmla="*/ 1580228 h 1934496"/>
                <a:gd name="connsiteX585" fmla="*/ 5884964 w 9922465"/>
                <a:gd name="connsiteY585" fmla="*/ 1580228 h 1934496"/>
                <a:gd name="connsiteX586" fmla="*/ 5940156 w 9922465"/>
                <a:gd name="connsiteY586" fmla="*/ 1635419 h 1934496"/>
                <a:gd name="connsiteX587" fmla="*/ 5884964 w 9922465"/>
                <a:gd name="connsiteY587" fmla="*/ 1690610 h 1934496"/>
                <a:gd name="connsiteX588" fmla="*/ 5829772 w 9922465"/>
                <a:gd name="connsiteY588" fmla="*/ 1635419 h 1934496"/>
                <a:gd name="connsiteX589" fmla="*/ 5884964 w 9922465"/>
                <a:gd name="connsiteY589" fmla="*/ 1580228 h 1934496"/>
                <a:gd name="connsiteX590" fmla="*/ 5754670 w 9922465"/>
                <a:gd name="connsiteY590" fmla="*/ 1580228 h 1934496"/>
                <a:gd name="connsiteX591" fmla="*/ 5809862 w 9922465"/>
                <a:gd name="connsiteY591" fmla="*/ 1635419 h 1934496"/>
                <a:gd name="connsiteX592" fmla="*/ 5754670 w 9922465"/>
                <a:gd name="connsiteY592" fmla="*/ 1690610 h 1934496"/>
                <a:gd name="connsiteX593" fmla="*/ 5699478 w 9922465"/>
                <a:gd name="connsiteY593" fmla="*/ 1635419 h 1934496"/>
                <a:gd name="connsiteX594" fmla="*/ 5754670 w 9922465"/>
                <a:gd name="connsiteY594" fmla="*/ 1580228 h 1934496"/>
                <a:gd name="connsiteX595" fmla="*/ 5621035 w 9922465"/>
                <a:gd name="connsiteY595" fmla="*/ 1580228 h 1934496"/>
                <a:gd name="connsiteX596" fmla="*/ 5676227 w 9922465"/>
                <a:gd name="connsiteY596" fmla="*/ 1635419 h 1934496"/>
                <a:gd name="connsiteX597" fmla="*/ 5621035 w 9922465"/>
                <a:gd name="connsiteY597" fmla="*/ 1690610 h 1934496"/>
                <a:gd name="connsiteX598" fmla="*/ 5565843 w 9922465"/>
                <a:gd name="connsiteY598" fmla="*/ 1635419 h 1934496"/>
                <a:gd name="connsiteX599" fmla="*/ 5621035 w 9922465"/>
                <a:gd name="connsiteY599" fmla="*/ 1580228 h 1934496"/>
                <a:gd name="connsiteX600" fmla="*/ 5357105 w 9922465"/>
                <a:gd name="connsiteY600" fmla="*/ 1580228 h 1934496"/>
                <a:gd name="connsiteX601" fmla="*/ 5412297 w 9922465"/>
                <a:gd name="connsiteY601" fmla="*/ 1635419 h 1934496"/>
                <a:gd name="connsiteX602" fmla="*/ 5357105 w 9922465"/>
                <a:gd name="connsiteY602" fmla="*/ 1690610 h 1934496"/>
                <a:gd name="connsiteX603" fmla="*/ 5301913 w 9922465"/>
                <a:gd name="connsiteY603" fmla="*/ 1635419 h 1934496"/>
                <a:gd name="connsiteX604" fmla="*/ 5357105 w 9922465"/>
                <a:gd name="connsiteY604" fmla="*/ 1580228 h 1934496"/>
                <a:gd name="connsiteX605" fmla="*/ 5223473 w 9922465"/>
                <a:gd name="connsiteY605" fmla="*/ 1580228 h 1934496"/>
                <a:gd name="connsiteX606" fmla="*/ 5278665 w 9922465"/>
                <a:gd name="connsiteY606" fmla="*/ 1635419 h 1934496"/>
                <a:gd name="connsiteX607" fmla="*/ 5223473 w 9922465"/>
                <a:gd name="connsiteY607" fmla="*/ 1690610 h 1934496"/>
                <a:gd name="connsiteX608" fmla="*/ 5168281 w 9922465"/>
                <a:gd name="connsiteY608" fmla="*/ 1635419 h 1934496"/>
                <a:gd name="connsiteX609" fmla="*/ 5223473 w 9922465"/>
                <a:gd name="connsiteY609" fmla="*/ 1580228 h 1934496"/>
                <a:gd name="connsiteX610" fmla="*/ 5093178 w 9922465"/>
                <a:gd name="connsiteY610" fmla="*/ 1580228 h 1934496"/>
                <a:gd name="connsiteX611" fmla="*/ 5148370 w 9922465"/>
                <a:gd name="connsiteY611" fmla="*/ 1635419 h 1934496"/>
                <a:gd name="connsiteX612" fmla="*/ 5093178 w 9922465"/>
                <a:gd name="connsiteY612" fmla="*/ 1690610 h 1934496"/>
                <a:gd name="connsiteX613" fmla="*/ 5037986 w 9922465"/>
                <a:gd name="connsiteY613" fmla="*/ 1635419 h 1934496"/>
                <a:gd name="connsiteX614" fmla="*/ 5093178 w 9922465"/>
                <a:gd name="connsiteY614" fmla="*/ 1580228 h 1934496"/>
                <a:gd name="connsiteX615" fmla="*/ 4959543 w 9922465"/>
                <a:gd name="connsiteY615" fmla="*/ 1580228 h 1934496"/>
                <a:gd name="connsiteX616" fmla="*/ 5014735 w 9922465"/>
                <a:gd name="connsiteY616" fmla="*/ 1635419 h 1934496"/>
                <a:gd name="connsiteX617" fmla="*/ 4959543 w 9922465"/>
                <a:gd name="connsiteY617" fmla="*/ 1690610 h 1934496"/>
                <a:gd name="connsiteX618" fmla="*/ 4904351 w 9922465"/>
                <a:gd name="connsiteY618" fmla="*/ 1635419 h 1934496"/>
                <a:gd name="connsiteX619" fmla="*/ 4959543 w 9922465"/>
                <a:gd name="connsiteY619" fmla="*/ 1580228 h 1934496"/>
                <a:gd name="connsiteX620" fmla="*/ 4829251 w 9922465"/>
                <a:gd name="connsiteY620" fmla="*/ 1580228 h 1934496"/>
                <a:gd name="connsiteX621" fmla="*/ 4884443 w 9922465"/>
                <a:gd name="connsiteY621" fmla="*/ 1635419 h 1934496"/>
                <a:gd name="connsiteX622" fmla="*/ 4829251 w 9922465"/>
                <a:gd name="connsiteY622" fmla="*/ 1690610 h 1934496"/>
                <a:gd name="connsiteX623" fmla="*/ 4774059 w 9922465"/>
                <a:gd name="connsiteY623" fmla="*/ 1635419 h 1934496"/>
                <a:gd name="connsiteX624" fmla="*/ 4829251 w 9922465"/>
                <a:gd name="connsiteY624" fmla="*/ 1580228 h 1934496"/>
                <a:gd name="connsiteX625" fmla="*/ 4695613 w 9922465"/>
                <a:gd name="connsiteY625" fmla="*/ 1580228 h 1934496"/>
                <a:gd name="connsiteX626" fmla="*/ 4750805 w 9922465"/>
                <a:gd name="connsiteY626" fmla="*/ 1635419 h 1934496"/>
                <a:gd name="connsiteX627" fmla="*/ 4695613 w 9922465"/>
                <a:gd name="connsiteY627" fmla="*/ 1690610 h 1934496"/>
                <a:gd name="connsiteX628" fmla="*/ 4640421 w 9922465"/>
                <a:gd name="connsiteY628" fmla="*/ 1635419 h 1934496"/>
                <a:gd name="connsiteX629" fmla="*/ 4695613 w 9922465"/>
                <a:gd name="connsiteY629" fmla="*/ 1580228 h 1934496"/>
                <a:gd name="connsiteX630" fmla="*/ 4565322 w 9922465"/>
                <a:gd name="connsiteY630" fmla="*/ 1580228 h 1934496"/>
                <a:gd name="connsiteX631" fmla="*/ 4620514 w 9922465"/>
                <a:gd name="connsiteY631" fmla="*/ 1635419 h 1934496"/>
                <a:gd name="connsiteX632" fmla="*/ 4565322 w 9922465"/>
                <a:gd name="connsiteY632" fmla="*/ 1690610 h 1934496"/>
                <a:gd name="connsiteX633" fmla="*/ 4510130 w 9922465"/>
                <a:gd name="connsiteY633" fmla="*/ 1635419 h 1934496"/>
                <a:gd name="connsiteX634" fmla="*/ 4565322 w 9922465"/>
                <a:gd name="connsiteY634" fmla="*/ 1580228 h 1934496"/>
                <a:gd name="connsiteX635" fmla="*/ 3098681 w 9922465"/>
                <a:gd name="connsiteY635" fmla="*/ 1580228 h 1934496"/>
                <a:gd name="connsiteX636" fmla="*/ 3153873 w 9922465"/>
                <a:gd name="connsiteY636" fmla="*/ 1635419 h 1934496"/>
                <a:gd name="connsiteX637" fmla="*/ 3098681 w 9922465"/>
                <a:gd name="connsiteY637" fmla="*/ 1690610 h 1934496"/>
                <a:gd name="connsiteX638" fmla="*/ 3043489 w 9922465"/>
                <a:gd name="connsiteY638" fmla="*/ 1635419 h 1934496"/>
                <a:gd name="connsiteX639" fmla="*/ 3098681 w 9922465"/>
                <a:gd name="connsiteY639" fmla="*/ 1580228 h 1934496"/>
                <a:gd name="connsiteX640" fmla="*/ 2971729 w 9922465"/>
                <a:gd name="connsiteY640" fmla="*/ 1580228 h 1934496"/>
                <a:gd name="connsiteX641" fmla="*/ 3026921 w 9922465"/>
                <a:gd name="connsiteY641" fmla="*/ 1635419 h 1934496"/>
                <a:gd name="connsiteX642" fmla="*/ 2971729 w 9922465"/>
                <a:gd name="connsiteY642" fmla="*/ 1690610 h 1934496"/>
                <a:gd name="connsiteX643" fmla="*/ 2916537 w 9922465"/>
                <a:gd name="connsiteY643" fmla="*/ 1635419 h 1934496"/>
                <a:gd name="connsiteX644" fmla="*/ 2971729 w 9922465"/>
                <a:gd name="connsiteY644" fmla="*/ 1580228 h 1934496"/>
                <a:gd name="connsiteX645" fmla="*/ 2834783 w 9922465"/>
                <a:gd name="connsiteY645" fmla="*/ 1580228 h 1934496"/>
                <a:gd name="connsiteX646" fmla="*/ 2889974 w 9922465"/>
                <a:gd name="connsiteY646" fmla="*/ 1635419 h 1934496"/>
                <a:gd name="connsiteX647" fmla="*/ 2834783 w 9922465"/>
                <a:gd name="connsiteY647" fmla="*/ 1690610 h 1934496"/>
                <a:gd name="connsiteX648" fmla="*/ 2779590 w 9922465"/>
                <a:gd name="connsiteY648" fmla="*/ 1635419 h 1934496"/>
                <a:gd name="connsiteX649" fmla="*/ 2834783 w 9922465"/>
                <a:gd name="connsiteY649" fmla="*/ 1580228 h 1934496"/>
                <a:gd name="connsiteX650" fmla="*/ 2707828 w 9922465"/>
                <a:gd name="connsiteY650" fmla="*/ 1580228 h 1934496"/>
                <a:gd name="connsiteX651" fmla="*/ 2763021 w 9922465"/>
                <a:gd name="connsiteY651" fmla="*/ 1635419 h 1934496"/>
                <a:gd name="connsiteX652" fmla="*/ 2707828 w 9922465"/>
                <a:gd name="connsiteY652" fmla="*/ 1690610 h 1934496"/>
                <a:gd name="connsiteX653" fmla="*/ 2652636 w 9922465"/>
                <a:gd name="connsiteY653" fmla="*/ 1635419 h 1934496"/>
                <a:gd name="connsiteX654" fmla="*/ 2707828 w 9922465"/>
                <a:gd name="connsiteY654" fmla="*/ 1580228 h 1934496"/>
                <a:gd name="connsiteX655" fmla="*/ 2570854 w 9922465"/>
                <a:gd name="connsiteY655" fmla="*/ 1580228 h 1934496"/>
                <a:gd name="connsiteX656" fmla="*/ 2626046 w 9922465"/>
                <a:gd name="connsiteY656" fmla="*/ 1635419 h 1934496"/>
                <a:gd name="connsiteX657" fmla="*/ 2570854 w 9922465"/>
                <a:gd name="connsiteY657" fmla="*/ 1690610 h 1934496"/>
                <a:gd name="connsiteX658" fmla="*/ 2515662 w 9922465"/>
                <a:gd name="connsiteY658" fmla="*/ 1635419 h 1934496"/>
                <a:gd name="connsiteX659" fmla="*/ 2570854 w 9922465"/>
                <a:gd name="connsiteY659" fmla="*/ 1580228 h 1934496"/>
                <a:gd name="connsiteX660" fmla="*/ 2437218 w 9922465"/>
                <a:gd name="connsiteY660" fmla="*/ 1580228 h 1934496"/>
                <a:gd name="connsiteX661" fmla="*/ 2492409 w 9922465"/>
                <a:gd name="connsiteY661" fmla="*/ 1635419 h 1934496"/>
                <a:gd name="connsiteX662" fmla="*/ 2437218 w 9922465"/>
                <a:gd name="connsiteY662" fmla="*/ 1690610 h 1934496"/>
                <a:gd name="connsiteX663" fmla="*/ 2382026 w 9922465"/>
                <a:gd name="connsiteY663" fmla="*/ 1635419 h 1934496"/>
                <a:gd name="connsiteX664" fmla="*/ 2437218 w 9922465"/>
                <a:gd name="connsiteY664" fmla="*/ 1580228 h 1934496"/>
                <a:gd name="connsiteX665" fmla="*/ 2303586 w 9922465"/>
                <a:gd name="connsiteY665" fmla="*/ 1580228 h 1934496"/>
                <a:gd name="connsiteX666" fmla="*/ 2358778 w 9922465"/>
                <a:gd name="connsiteY666" fmla="*/ 1635419 h 1934496"/>
                <a:gd name="connsiteX667" fmla="*/ 2303586 w 9922465"/>
                <a:gd name="connsiteY667" fmla="*/ 1690610 h 1934496"/>
                <a:gd name="connsiteX668" fmla="*/ 2248394 w 9922465"/>
                <a:gd name="connsiteY668" fmla="*/ 1635419 h 1934496"/>
                <a:gd name="connsiteX669" fmla="*/ 2303586 w 9922465"/>
                <a:gd name="connsiteY669" fmla="*/ 1580228 h 1934496"/>
                <a:gd name="connsiteX670" fmla="*/ 2173293 w 9922465"/>
                <a:gd name="connsiteY670" fmla="*/ 1580228 h 1934496"/>
                <a:gd name="connsiteX671" fmla="*/ 2228486 w 9922465"/>
                <a:gd name="connsiteY671" fmla="*/ 1635419 h 1934496"/>
                <a:gd name="connsiteX672" fmla="*/ 2173293 w 9922465"/>
                <a:gd name="connsiteY672" fmla="*/ 1690610 h 1934496"/>
                <a:gd name="connsiteX673" fmla="*/ 2118101 w 9922465"/>
                <a:gd name="connsiteY673" fmla="*/ 1635419 h 1934496"/>
                <a:gd name="connsiteX674" fmla="*/ 2173293 w 9922465"/>
                <a:gd name="connsiteY674" fmla="*/ 1580228 h 1934496"/>
                <a:gd name="connsiteX675" fmla="*/ 2039658 w 9922465"/>
                <a:gd name="connsiteY675" fmla="*/ 1580228 h 1934496"/>
                <a:gd name="connsiteX676" fmla="*/ 2094851 w 9922465"/>
                <a:gd name="connsiteY676" fmla="*/ 1635419 h 1934496"/>
                <a:gd name="connsiteX677" fmla="*/ 2039658 w 9922465"/>
                <a:gd name="connsiteY677" fmla="*/ 1690610 h 1934496"/>
                <a:gd name="connsiteX678" fmla="*/ 1984465 w 9922465"/>
                <a:gd name="connsiteY678" fmla="*/ 1635419 h 1934496"/>
                <a:gd name="connsiteX679" fmla="*/ 2039658 w 9922465"/>
                <a:gd name="connsiteY679" fmla="*/ 1580228 h 1934496"/>
                <a:gd name="connsiteX680" fmla="*/ 9068807 w 9922465"/>
                <a:gd name="connsiteY680" fmla="*/ 1459958 h 1934496"/>
                <a:gd name="connsiteX681" fmla="*/ 9123999 w 9922465"/>
                <a:gd name="connsiteY681" fmla="*/ 1515149 h 1934496"/>
                <a:gd name="connsiteX682" fmla="*/ 9068807 w 9922465"/>
                <a:gd name="connsiteY682" fmla="*/ 1570340 h 1934496"/>
                <a:gd name="connsiteX683" fmla="*/ 9013615 w 9922465"/>
                <a:gd name="connsiteY683" fmla="*/ 1515149 h 1934496"/>
                <a:gd name="connsiteX684" fmla="*/ 9068807 w 9922465"/>
                <a:gd name="connsiteY684" fmla="*/ 1459958 h 1934496"/>
                <a:gd name="connsiteX685" fmla="*/ 8671244 w 9922465"/>
                <a:gd name="connsiteY685" fmla="*/ 1459958 h 1934496"/>
                <a:gd name="connsiteX686" fmla="*/ 8726436 w 9922465"/>
                <a:gd name="connsiteY686" fmla="*/ 1515149 h 1934496"/>
                <a:gd name="connsiteX687" fmla="*/ 8671244 w 9922465"/>
                <a:gd name="connsiteY687" fmla="*/ 1570340 h 1934496"/>
                <a:gd name="connsiteX688" fmla="*/ 8616052 w 9922465"/>
                <a:gd name="connsiteY688" fmla="*/ 1515149 h 1934496"/>
                <a:gd name="connsiteX689" fmla="*/ 8671244 w 9922465"/>
                <a:gd name="connsiteY689" fmla="*/ 1459958 h 1934496"/>
                <a:gd name="connsiteX690" fmla="*/ 8537612 w 9922465"/>
                <a:gd name="connsiteY690" fmla="*/ 1459958 h 1934496"/>
                <a:gd name="connsiteX691" fmla="*/ 8592804 w 9922465"/>
                <a:gd name="connsiteY691" fmla="*/ 1515149 h 1934496"/>
                <a:gd name="connsiteX692" fmla="*/ 8537612 w 9922465"/>
                <a:gd name="connsiteY692" fmla="*/ 1570340 h 1934496"/>
                <a:gd name="connsiteX693" fmla="*/ 8482420 w 9922465"/>
                <a:gd name="connsiteY693" fmla="*/ 1515149 h 1934496"/>
                <a:gd name="connsiteX694" fmla="*/ 8537612 w 9922465"/>
                <a:gd name="connsiteY694" fmla="*/ 1459958 h 1934496"/>
                <a:gd name="connsiteX695" fmla="*/ 8407316 w 9922465"/>
                <a:gd name="connsiteY695" fmla="*/ 1459958 h 1934496"/>
                <a:gd name="connsiteX696" fmla="*/ 8462508 w 9922465"/>
                <a:gd name="connsiteY696" fmla="*/ 1515149 h 1934496"/>
                <a:gd name="connsiteX697" fmla="*/ 8407316 w 9922465"/>
                <a:gd name="connsiteY697" fmla="*/ 1570340 h 1934496"/>
                <a:gd name="connsiteX698" fmla="*/ 8352124 w 9922465"/>
                <a:gd name="connsiteY698" fmla="*/ 1515149 h 1934496"/>
                <a:gd name="connsiteX699" fmla="*/ 8407316 w 9922465"/>
                <a:gd name="connsiteY699" fmla="*/ 1459958 h 1934496"/>
                <a:gd name="connsiteX700" fmla="*/ 8273682 w 9922465"/>
                <a:gd name="connsiteY700" fmla="*/ 1459958 h 1934496"/>
                <a:gd name="connsiteX701" fmla="*/ 8328874 w 9922465"/>
                <a:gd name="connsiteY701" fmla="*/ 1515149 h 1934496"/>
                <a:gd name="connsiteX702" fmla="*/ 8273682 w 9922465"/>
                <a:gd name="connsiteY702" fmla="*/ 1570340 h 1934496"/>
                <a:gd name="connsiteX703" fmla="*/ 8218490 w 9922465"/>
                <a:gd name="connsiteY703" fmla="*/ 1515149 h 1934496"/>
                <a:gd name="connsiteX704" fmla="*/ 8273682 w 9922465"/>
                <a:gd name="connsiteY704" fmla="*/ 1459958 h 1934496"/>
                <a:gd name="connsiteX705" fmla="*/ 8143388 w 9922465"/>
                <a:gd name="connsiteY705" fmla="*/ 1459958 h 1934496"/>
                <a:gd name="connsiteX706" fmla="*/ 8198580 w 9922465"/>
                <a:gd name="connsiteY706" fmla="*/ 1515149 h 1934496"/>
                <a:gd name="connsiteX707" fmla="*/ 8143388 w 9922465"/>
                <a:gd name="connsiteY707" fmla="*/ 1570340 h 1934496"/>
                <a:gd name="connsiteX708" fmla="*/ 8088196 w 9922465"/>
                <a:gd name="connsiteY708" fmla="*/ 1515149 h 1934496"/>
                <a:gd name="connsiteX709" fmla="*/ 8143388 w 9922465"/>
                <a:gd name="connsiteY709" fmla="*/ 1459958 h 1934496"/>
                <a:gd name="connsiteX710" fmla="*/ 8009753 w 9922465"/>
                <a:gd name="connsiteY710" fmla="*/ 1459958 h 1934496"/>
                <a:gd name="connsiteX711" fmla="*/ 8064945 w 9922465"/>
                <a:gd name="connsiteY711" fmla="*/ 1515149 h 1934496"/>
                <a:gd name="connsiteX712" fmla="*/ 8009753 w 9922465"/>
                <a:gd name="connsiteY712" fmla="*/ 1570340 h 1934496"/>
                <a:gd name="connsiteX713" fmla="*/ 7954561 w 9922465"/>
                <a:gd name="connsiteY713" fmla="*/ 1515149 h 1934496"/>
                <a:gd name="connsiteX714" fmla="*/ 8009753 w 9922465"/>
                <a:gd name="connsiteY714" fmla="*/ 1459958 h 1934496"/>
                <a:gd name="connsiteX715" fmla="*/ 7876118 w 9922465"/>
                <a:gd name="connsiteY715" fmla="*/ 1459958 h 1934496"/>
                <a:gd name="connsiteX716" fmla="*/ 7931310 w 9922465"/>
                <a:gd name="connsiteY716" fmla="*/ 1515149 h 1934496"/>
                <a:gd name="connsiteX717" fmla="*/ 7876118 w 9922465"/>
                <a:gd name="connsiteY717" fmla="*/ 1570340 h 1934496"/>
                <a:gd name="connsiteX718" fmla="*/ 7820926 w 9922465"/>
                <a:gd name="connsiteY718" fmla="*/ 1515149 h 1934496"/>
                <a:gd name="connsiteX719" fmla="*/ 7876118 w 9922465"/>
                <a:gd name="connsiteY719" fmla="*/ 1459958 h 1934496"/>
                <a:gd name="connsiteX720" fmla="*/ 7745823 w 9922465"/>
                <a:gd name="connsiteY720" fmla="*/ 1459958 h 1934496"/>
                <a:gd name="connsiteX721" fmla="*/ 7801015 w 9922465"/>
                <a:gd name="connsiteY721" fmla="*/ 1515149 h 1934496"/>
                <a:gd name="connsiteX722" fmla="*/ 7745823 w 9922465"/>
                <a:gd name="connsiteY722" fmla="*/ 1570340 h 1934496"/>
                <a:gd name="connsiteX723" fmla="*/ 7690631 w 9922465"/>
                <a:gd name="connsiteY723" fmla="*/ 1515149 h 1934496"/>
                <a:gd name="connsiteX724" fmla="*/ 7745823 w 9922465"/>
                <a:gd name="connsiteY724" fmla="*/ 1459958 h 1934496"/>
                <a:gd name="connsiteX725" fmla="*/ 7608849 w 9922465"/>
                <a:gd name="connsiteY725" fmla="*/ 1459958 h 1934496"/>
                <a:gd name="connsiteX726" fmla="*/ 7664041 w 9922465"/>
                <a:gd name="connsiteY726" fmla="*/ 1515149 h 1934496"/>
                <a:gd name="connsiteX727" fmla="*/ 7608849 w 9922465"/>
                <a:gd name="connsiteY727" fmla="*/ 1570340 h 1934496"/>
                <a:gd name="connsiteX728" fmla="*/ 7553657 w 9922465"/>
                <a:gd name="connsiteY728" fmla="*/ 1515149 h 1934496"/>
                <a:gd name="connsiteX729" fmla="*/ 7608849 w 9922465"/>
                <a:gd name="connsiteY729" fmla="*/ 1459958 h 1934496"/>
                <a:gd name="connsiteX730" fmla="*/ 7481897 w 9922465"/>
                <a:gd name="connsiteY730" fmla="*/ 1459958 h 1934496"/>
                <a:gd name="connsiteX731" fmla="*/ 7537089 w 9922465"/>
                <a:gd name="connsiteY731" fmla="*/ 1515149 h 1934496"/>
                <a:gd name="connsiteX732" fmla="*/ 7481897 w 9922465"/>
                <a:gd name="connsiteY732" fmla="*/ 1570340 h 1934496"/>
                <a:gd name="connsiteX733" fmla="*/ 7426705 w 9922465"/>
                <a:gd name="connsiteY733" fmla="*/ 1515149 h 1934496"/>
                <a:gd name="connsiteX734" fmla="*/ 7481897 w 9922465"/>
                <a:gd name="connsiteY734" fmla="*/ 1459958 h 1934496"/>
                <a:gd name="connsiteX735" fmla="*/ 7341579 w 9922465"/>
                <a:gd name="connsiteY735" fmla="*/ 1459958 h 1934496"/>
                <a:gd name="connsiteX736" fmla="*/ 7396771 w 9922465"/>
                <a:gd name="connsiteY736" fmla="*/ 1515149 h 1934496"/>
                <a:gd name="connsiteX737" fmla="*/ 7341579 w 9922465"/>
                <a:gd name="connsiteY737" fmla="*/ 1570340 h 1934496"/>
                <a:gd name="connsiteX738" fmla="*/ 7286387 w 9922465"/>
                <a:gd name="connsiteY738" fmla="*/ 1515149 h 1934496"/>
                <a:gd name="connsiteX739" fmla="*/ 7341579 w 9922465"/>
                <a:gd name="connsiteY739" fmla="*/ 1459958 h 1934496"/>
                <a:gd name="connsiteX740" fmla="*/ 7211286 w 9922465"/>
                <a:gd name="connsiteY740" fmla="*/ 1459958 h 1934496"/>
                <a:gd name="connsiteX741" fmla="*/ 7266478 w 9922465"/>
                <a:gd name="connsiteY741" fmla="*/ 1515149 h 1934496"/>
                <a:gd name="connsiteX742" fmla="*/ 7211286 w 9922465"/>
                <a:gd name="connsiteY742" fmla="*/ 1570340 h 1934496"/>
                <a:gd name="connsiteX743" fmla="*/ 7156094 w 9922465"/>
                <a:gd name="connsiteY743" fmla="*/ 1515149 h 1934496"/>
                <a:gd name="connsiteX744" fmla="*/ 7211286 w 9922465"/>
                <a:gd name="connsiteY744" fmla="*/ 1459958 h 1934496"/>
                <a:gd name="connsiteX745" fmla="*/ 7080993 w 9922465"/>
                <a:gd name="connsiteY745" fmla="*/ 1459958 h 1934496"/>
                <a:gd name="connsiteX746" fmla="*/ 7136185 w 9922465"/>
                <a:gd name="connsiteY746" fmla="*/ 1515149 h 1934496"/>
                <a:gd name="connsiteX747" fmla="*/ 7080993 w 9922465"/>
                <a:gd name="connsiteY747" fmla="*/ 1570340 h 1934496"/>
                <a:gd name="connsiteX748" fmla="*/ 7025801 w 9922465"/>
                <a:gd name="connsiteY748" fmla="*/ 1515149 h 1934496"/>
                <a:gd name="connsiteX749" fmla="*/ 7080993 w 9922465"/>
                <a:gd name="connsiteY749" fmla="*/ 1459958 h 1934496"/>
                <a:gd name="connsiteX750" fmla="*/ 6947357 w 9922465"/>
                <a:gd name="connsiteY750" fmla="*/ 1459958 h 1934496"/>
                <a:gd name="connsiteX751" fmla="*/ 7002549 w 9922465"/>
                <a:gd name="connsiteY751" fmla="*/ 1515149 h 1934496"/>
                <a:gd name="connsiteX752" fmla="*/ 6947357 w 9922465"/>
                <a:gd name="connsiteY752" fmla="*/ 1570340 h 1934496"/>
                <a:gd name="connsiteX753" fmla="*/ 6892165 w 9922465"/>
                <a:gd name="connsiteY753" fmla="*/ 1515149 h 1934496"/>
                <a:gd name="connsiteX754" fmla="*/ 6947357 w 9922465"/>
                <a:gd name="connsiteY754" fmla="*/ 1459958 h 1934496"/>
                <a:gd name="connsiteX755" fmla="*/ 6817064 w 9922465"/>
                <a:gd name="connsiteY755" fmla="*/ 1459958 h 1934496"/>
                <a:gd name="connsiteX756" fmla="*/ 6872256 w 9922465"/>
                <a:gd name="connsiteY756" fmla="*/ 1515149 h 1934496"/>
                <a:gd name="connsiteX757" fmla="*/ 6817064 w 9922465"/>
                <a:gd name="connsiteY757" fmla="*/ 1570340 h 1934496"/>
                <a:gd name="connsiteX758" fmla="*/ 6761872 w 9922465"/>
                <a:gd name="connsiteY758" fmla="*/ 1515149 h 1934496"/>
                <a:gd name="connsiteX759" fmla="*/ 6817064 w 9922465"/>
                <a:gd name="connsiteY759" fmla="*/ 1459958 h 1934496"/>
                <a:gd name="connsiteX760" fmla="*/ 6683431 w 9922465"/>
                <a:gd name="connsiteY760" fmla="*/ 1459958 h 1934496"/>
                <a:gd name="connsiteX761" fmla="*/ 6738623 w 9922465"/>
                <a:gd name="connsiteY761" fmla="*/ 1515149 h 1934496"/>
                <a:gd name="connsiteX762" fmla="*/ 6683431 w 9922465"/>
                <a:gd name="connsiteY762" fmla="*/ 1570340 h 1934496"/>
                <a:gd name="connsiteX763" fmla="*/ 6628239 w 9922465"/>
                <a:gd name="connsiteY763" fmla="*/ 1515149 h 1934496"/>
                <a:gd name="connsiteX764" fmla="*/ 6683431 w 9922465"/>
                <a:gd name="connsiteY764" fmla="*/ 1459958 h 1934496"/>
                <a:gd name="connsiteX765" fmla="*/ 6553137 w 9922465"/>
                <a:gd name="connsiteY765" fmla="*/ 1459958 h 1934496"/>
                <a:gd name="connsiteX766" fmla="*/ 6608329 w 9922465"/>
                <a:gd name="connsiteY766" fmla="*/ 1515149 h 1934496"/>
                <a:gd name="connsiteX767" fmla="*/ 6553137 w 9922465"/>
                <a:gd name="connsiteY767" fmla="*/ 1570340 h 1934496"/>
                <a:gd name="connsiteX768" fmla="*/ 6497945 w 9922465"/>
                <a:gd name="connsiteY768" fmla="*/ 1515149 h 1934496"/>
                <a:gd name="connsiteX769" fmla="*/ 6553137 w 9922465"/>
                <a:gd name="connsiteY769" fmla="*/ 1459958 h 1934496"/>
                <a:gd name="connsiteX770" fmla="*/ 6419502 w 9922465"/>
                <a:gd name="connsiteY770" fmla="*/ 1459958 h 1934496"/>
                <a:gd name="connsiteX771" fmla="*/ 6474694 w 9922465"/>
                <a:gd name="connsiteY771" fmla="*/ 1515149 h 1934496"/>
                <a:gd name="connsiteX772" fmla="*/ 6419502 w 9922465"/>
                <a:gd name="connsiteY772" fmla="*/ 1570340 h 1934496"/>
                <a:gd name="connsiteX773" fmla="*/ 6364310 w 9922465"/>
                <a:gd name="connsiteY773" fmla="*/ 1515149 h 1934496"/>
                <a:gd name="connsiteX774" fmla="*/ 6419502 w 9922465"/>
                <a:gd name="connsiteY774" fmla="*/ 1459958 h 1934496"/>
                <a:gd name="connsiteX775" fmla="*/ 6289207 w 9922465"/>
                <a:gd name="connsiteY775" fmla="*/ 1459958 h 1934496"/>
                <a:gd name="connsiteX776" fmla="*/ 6344399 w 9922465"/>
                <a:gd name="connsiteY776" fmla="*/ 1515149 h 1934496"/>
                <a:gd name="connsiteX777" fmla="*/ 6289207 w 9922465"/>
                <a:gd name="connsiteY777" fmla="*/ 1570340 h 1934496"/>
                <a:gd name="connsiteX778" fmla="*/ 6234015 w 9922465"/>
                <a:gd name="connsiteY778" fmla="*/ 1515149 h 1934496"/>
                <a:gd name="connsiteX779" fmla="*/ 6289207 w 9922465"/>
                <a:gd name="connsiteY779" fmla="*/ 1459958 h 1934496"/>
                <a:gd name="connsiteX780" fmla="*/ 6155573 w 9922465"/>
                <a:gd name="connsiteY780" fmla="*/ 1459958 h 1934496"/>
                <a:gd name="connsiteX781" fmla="*/ 6210765 w 9922465"/>
                <a:gd name="connsiteY781" fmla="*/ 1515149 h 1934496"/>
                <a:gd name="connsiteX782" fmla="*/ 6155573 w 9922465"/>
                <a:gd name="connsiteY782" fmla="*/ 1570340 h 1934496"/>
                <a:gd name="connsiteX783" fmla="*/ 6100381 w 9922465"/>
                <a:gd name="connsiteY783" fmla="*/ 1515149 h 1934496"/>
                <a:gd name="connsiteX784" fmla="*/ 6155573 w 9922465"/>
                <a:gd name="connsiteY784" fmla="*/ 1459958 h 1934496"/>
                <a:gd name="connsiteX785" fmla="*/ 6021939 w 9922465"/>
                <a:gd name="connsiteY785" fmla="*/ 1459958 h 1934496"/>
                <a:gd name="connsiteX786" fmla="*/ 6077131 w 9922465"/>
                <a:gd name="connsiteY786" fmla="*/ 1515149 h 1934496"/>
                <a:gd name="connsiteX787" fmla="*/ 6021939 w 9922465"/>
                <a:gd name="connsiteY787" fmla="*/ 1570340 h 1934496"/>
                <a:gd name="connsiteX788" fmla="*/ 5966747 w 9922465"/>
                <a:gd name="connsiteY788" fmla="*/ 1515149 h 1934496"/>
                <a:gd name="connsiteX789" fmla="*/ 6021939 w 9922465"/>
                <a:gd name="connsiteY789" fmla="*/ 1459958 h 1934496"/>
                <a:gd name="connsiteX790" fmla="*/ 5884964 w 9922465"/>
                <a:gd name="connsiteY790" fmla="*/ 1459958 h 1934496"/>
                <a:gd name="connsiteX791" fmla="*/ 5940156 w 9922465"/>
                <a:gd name="connsiteY791" fmla="*/ 1515149 h 1934496"/>
                <a:gd name="connsiteX792" fmla="*/ 5884964 w 9922465"/>
                <a:gd name="connsiteY792" fmla="*/ 1570340 h 1934496"/>
                <a:gd name="connsiteX793" fmla="*/ 5829772 w 9922465"/>
                <a:gd name="connsiteY793" fmla="*/ 1515149 h 1934496"/>
                <a:gd name="connsiteX794" fmla="*/ 5884964 w 9922465"/>
                <a:gd name="connsiteY794" fmla="*/ 1459958 h 1934496"/>
                <a:gd name="connsiteX795" fmla="*/ 5754668 w 9922465"/>
                <a:gd name="connsiteY795" fmla="*/ 1459958 h 1934496"/>
                <a:gd name="connsiteX796" fmla="*/ 5809860 w 9922465"/>
                <a:gd name="connsiteY796" fmla="*/ 1515149 h 1934496"/>
                <a:gd name="connsiteX797" fmla="*/ 5754668 w 9922465"/>
                <a:gd name="connsiteY797" fmla="*/ 1570340 h 1934496"/>
                <a:gd name="connsiteX798" fmla="*/ 5699476 w 9922465"/>
                <a:gd name="connsiteY798" fmla="*/ 1515149 h 1934496"/>
                <a:gd name="connsiteX799" fmla="*/ 5754668 w 9922465"/>
                <a:gd name="connsiteY799" fmla="*/ 1459958 h 1934496"/>
                <a:gd name="connsiteX800" fmla="*/ 5621034 w 9922465"/>
                <a:gd name="connsiteY800" fmla="*/ 1459958 h 1934496"/>
                <a:gd name="connsiteX801" fmla="*/ 5676226 w 9922465"/>
                <a:gd name="connsiteY801" fmla="*/ 1515149 h 1934496"/>
                <a:gd name="connsiteX802" fmla="*/ 5621034 w 9922465"/>
                <a:gd name="connsiteY802" fmla="*/ 1570340 h 1934496"/>
                <a:gd name="connsiteX803" fmla="*/ 5565842 w 9922465"/>
                <a:gd name="connsiteY803" fmla="*/ 1515149 h 1934496"/>
                <a:gd name="connsiteX804" fmla="*/ 5621034 w 9922465"/>
                <a:gd name="connsiteY804" fmla="*/ 1459958 h 1934496"/>
                <a:gd name="connsiteX805" fmla="*/ 5487399 w 9922465"/>
                <a:gd name="connsiteY805" fmla="*/ 1459958 h 1934496"/>
                <a:gd name="connsiteX806" fmla="*/ 5542591 w 9922465"/>
                <a:gd name="connsiteY806" fmla="*/ 1515149 h 1934496"/>
                <a:gd name="connsiteX807" fmla="*/ 5487399 w 9922465"/>
                <a:gd name="connsiteY807" fmla="*/ 1570340 h 1934496"/>
                <a:gd name="connsiteX808" fmla="*/ 5432207 w 9922465"/>
                <a:gd name="connsiteY808" fmla="*/ 1515149 h 1934496"/>
                <a:gd name="connsiteX809" fmla="*/ 5487399 w 9922465"/>
                <a:gd name="connsiteY809" fmla="*/ 1459958 h 1934496"/>
                <a:gd name="connsiteX810" fmla="*/ 5357106 w 9922465"/>
                <a:gd name="connsiteY810" fmla="*/ 1459958 h 1934496"/>
                <a:gd name="connsiteX811" fmla="*/ 5412298 w 9922465"/>
                <a:gd name="connsiteY811" fmla="*/ 1515149 h 1934496"/>
                <a:gd name="connsiteX812" fmla="*/ 5357106 w 9922465"/>
                <a:gd name="connsiteY812" fmla="*/ 1570340 h 1934496"/>
                <a:gd name="connsiteX813" fmla="*/ 5301914 w 9922465"/>
                <a:gd name="connsiteY813" fmla="*/ 1515149 h 1934496"/>
                <a:gd name="connsiteX814" fmla="*/ 5357106 w 9922465"/>
                <a:gd name="connsiteY814" fmla="*/ 1459958 h 1934496"/>
                <a:gd name="connsiteX815" fmla="*/ 5223473 w 9922465"/>
                <a:gd name="connsiteY815" fmla="*/ 1459958 h 1934496"/>
                <a:gd name="connsiteX816" fmla="*/ 5278665 w 9922465"/>
                <a:gd name="connsiteY816" fmla="*/ 1515149 h 1934496"/>
                <a:gd name="connsiteX817" fmla="*/ 5223473 w 9922465"/>
                <a:gd name="connsiteY817" fmla="*/ 1570340 h 1934496"/>
                <a:gd name="connsiteX818" fmla="*/ 5168281 w 9922465"/>
                <a:gd name="connsiteY818" fmla="*/ 1515149 h 1934496"/>
                <a:gd name="connsiteX819" fmla="*/ 5223473 w 9922465"/>
                <a:gd name="connsiteY819" fmla="*/ 1459958 h 1934496"/>
                <a:gd name="connsiteX820" fmla="*/ 5093178 w 9922465"/>
                <a:gd name="connsiteY820" fmla="*/ 1459958 h 1934496"/>
                <a:gd name="connsiteX821" fmla="*/ 5148370 w 9922465"/>
                <a:gd name="connsiteY821" fmla="*/ 1515149 h 1934496"/>
                <a:gd name="connsiteX822" fmla="*/ 5093178 w 9922465"/>
                <a:gd name="connsiteY822" fmla="*/ 1570340 h 1934496"/>
                <a:gd name="connsiteX823" fmla="*/ 5037986 w 9922465"/>
                <a:gd name="connsiteY823" fmla="*/ 1515149 h 1934496"/>
                <a:gd name="connsiteX824" fmla="*/ 5093178 w 9922465"/>
                <a:gd name="connsiteY824" fmla="*/ 1459958 h 1934496"/>
                <a:gd name="connsiteX825" fmla="*/ 4959542 w 9922465"/>
                <a:gd name="connsiteY825" fmla="*/ 1459958 h 1934496"/>
                <a:gd name="connsiteX826" fmla="*/ 5014734 w 9922465"/>
                <a:gd name="connsiteY826" fmla="*/ 1515149 h 1934496"/>
                <a:gd name="connsiteX827" fmla="*/ 4959542 w 9922465"/>
                <a:gd name="connsiteY827" fmla="*/ 1570340 h 1934496"/>
                <a:gd name="connsiteX828" fmla="*/ 4904350 w 9922465"/>
                <a:gd name="connsiteY828" fmla="*/ 1515149 h 1934496"/>
                <a:gd name="connsiteX829" fmla="*/ 4959542 w 9922465"/>
                <a:gd name="connsiteY829" fmla="*/ 1459958 h 1934496"/>
                <a:gd name="connsiteX830" fmla="*/ 4829250 w 9922465"/>
                <a:gd name="connsiteY830" fmla="*/ 1459958 h 1934496"/>
                <a:gd name="connsiteX831" fmla="*/ 4884442 w 9922465"/>
                <a:gd name="connsiteY831" fmla="*/ 1515149 h 1934496"/>
                <a:gd name="connsiteX832" fmla="*/ 4829250 w 9922465"/>
                <a:gd name="connsiteY832" fmla="*/ 1570340 h 1934496"/>
                <a:gd name="connsiteX833" fmla="*/ 4774058 w 9922465"/>
                <a:gd name="connsiteY833" fmla="*/ 1515149 h 1934496"/>
                <a:gd name="connsiteX834" fmla="*/ 4829250 w 9922465"/>
                <a:gd name="connsiteY834" fmla="*/ 1459958 h 1934496"/>
                <a:gd name="connsiteX835" fmla="*/ 4695614 w 9922465"/>
                <a:gd name="connsiteY835" fmla="*/ 1459958 h 1934496"/>
                <a:gd name="connsiteX836" fmla="*/ 4750806 w 9922465"/>
                <a:gd name="connsiteY836" fmla="*/ 1515149 h 1934496"/>
                <a:gd name="connsiteX837" fmla="*/ 4695614 w 9922465"/>
                <a:gd name="connsiteY837" fmla="*/ 1570340 h 1934496"/>
                <a:gd name="connsiteX838" fmla="*/ 4640422 w 9922465"/>
                <a:gd name="connsiteY838" fmla="*/ 1515149 h 1934496"/>
                <a:gd name="connsiteX839" fmla="*/ 4695614 w 9922465"/>
                <a:gd name="connsiteY839" fmla="*/ 1459958 h 1934496"/>
                <a:gd name="connsiteX840" fmla="*/ 4565322 w 9922465"/>
                <a:gd name="connsiteY840" fmla="*/ 1459958 h 1934496"/>
                <a:gd name="connsiteX841" fmla="*/ 4620514 w 9922465"/>
                <a:gd name="connsiteY841" fmla="*/ 1515149 h 1934496"/>
                <a:gd name="connsiteX842" fmla="*/ 4565322 w 9922465"/>
                <a:gd name="connsiteY842" fmla="*/ 1570340 h 1934496"/>
                <a:gd name="connsiteX843" fmla="*/ 4510130 w 9922465"/>
                <a:gd name="connsiteY843" fmla="*/ 1515149 h 1934496"/>
                <a:gd name="connsiteX844" fmla="*/ 4565322 w 9922465"/>
                <a:gd name="connsiteY844" fmla="*/ 1459958 h 1934496"/>
                <a:gd name="connsiteX845" fmla="*/ 4431687 w 9922465"/>
                <a:gd name="connsiteY845" fmla="*/ 1459958 h 1934496"/>
                <a:gd name="connsiteX846" fmla="*/ 4486879 w 9922465"/>
                <a:gd name="connsiteY846" fmla="*/ 1515149 h 1934496"/>
                <a:gd name="connsiteX847" fmla="*/ 4431687 w 9922465"/>
                <a:gd name="connsiteY847" fmla="*/ 1570340 h 1934496"/>
                <a:gd name="connsiteX848" fmla="*/ 4376495 w 9922465"/>
                <a:gd name="connsiteY848" fmla="*/ 1515149 h 1934496"/>
                <a:gd name="connsiteX849" fmla="*/ 4431687 w 9922465"/>
                <a:gd name="connsiteY849" fmla="*/ 1459958 h 1934496"/>
                <a:gd name="connsiteX850" fmla="*/ 3098681 w 9922465"/>
                <a:gd name="connsiteY850" fmla="*/ 1459958 h 1934496"/>
                <a:gd name="connsiteX851" fmla="*/ 3153873 w 9922465"/>
                <a:gd name="connsiteY851" fmla="*/ 1515149 h 1934496"/>
                <a:gd name="connsiteX852" fmla="*/ 3098681 w 9922465"/>
                <a:gd name="connsiteY852" fmla="*/ 1570340 h 1934496"/>
                <a:gd name="connsiteX853" fmla="*/ 3043489 w 9922465"/>
                <a:gd name="connsiteY853" fmla="*/ 1515149 h 1934496"/>
                <a:gd name="connsiteX854" fmla="*/ 3098681 w 9922465"/>
                <a:gd name="connsiteY854" fmla="*/ 1459958 h 1934496"/>
                <a:gd name="connsiteX855" fmla="*/ 2971729 w 9922465"/>
                <a:gd name="connsiteY855" fmla="*/ 1459958 h 1934496"/>
                <a:gd name="connsiteX856" fmla="*/ 3026921 w 9922465"/>
                <a:gd name="connsiteY856" fmla="*/ 1515149 h 1934496"/>
                <a:gd name="connsiteX857" fmla="*/ 2971729 w 9922465"/>
                <a:gd name="connsiteY857" fmla="*/ 1570340 h 1934496"/>
                <a:gd name="connsiteX858" fmla="*/ 2916537 w 9922465"/>
                <a:gd name="connsiteY858" fmla="*/ 1515149 h 1934496"/>
                <a:gd name="connsiteX859" fmla="*/ 2971729 w 9922465"/>
                <a:gd name="connsiteY859" fmla="*/ 1459958 h 1934496"/>
                <a:gd name="connsiteX860" fmla="*/ 2834792 w 9922465"/>
                <a:gd name="connsiteY860" fmla="*/ 1459958 h 1934496"/>
                <a:gd name="connsiteX861" fmla="*/ 2889984 w 9922465"/>
                <a:gd name="connsiteY861" fmla="*/ 1515149 h 1934496"/>
                <a:gd name="connsiteX862" fmla="*/ 2834792 w 9922465"/>
                <a:gd name="connsiteY862" fmla="*/ 1570340 h 1934496"/>
                <a:gd name="connsiteX863" fmla="*/ 2779600 w 9922465"/>
                <a:gd name="connsiteY863" fmla="*/ 1515149 h 1934496"/>
                <a:gd name="connsiteX864" fmla="*/ 2834792 w 9922465"/>
                <a:gd name="connsiteY864" fmla="*/ 1459958 h 1934496"/>
                <a:gd name="connsiteX865" fmla="*/ 2707839 w 9922465"/>
                <a:gd name="connsiteY865" fmla="*/ 1459958 h 1934496"/>
                <a:gd name="connsiteX866" fmla="*/ 2763031 w 9922465"/>
                <a:gd name="connsiteY866" fmla="*/ 1515149 h 1934496"/>
                <a:gd name="connsiteX867" fmla="*/ 2707839 w 9922465"/>
                <a:gd name="connsiteY867" fmla="*/ 1570340 h 1934496"/>
                <a:gd name="connsiteX868" fmla="*/ 2652646 w 9922465"/>
                <a:gd name="connsiteY868" fmla="*/ 1515149 h 1934496"/>
                <a:gd name="connsiteX869" fmla="*/ 2707839 w 9922465"/>
                <a:gd name="connsiteY869" fmla="*/ 1459958 h 1934496"/>
                <a:gd name="connsiteX870" fmla="*/ 2570864 w 9922465"/>
                <a:gd name="connsiteY870" fmla="*/ 1459958 h 1934496"/>
                <a:gd name="connsiteX871" fmla="*/ 2626056 w 9922465"/>
                <a:gd name="connsiteY871" fmla="*/ 1515149 h 1934496"/>
                <a:gd name="connsiteX872" fmla="*/ 2570864 w 9922465"/>
                <a:gd name="connsiteY872" fmla="*/ 1570340 h 1934496"/>
                <a:gd name="connsiteX873" fmla="*/ 2515671 w 9922465"/>
                <a:gd name="connsiteY873" fmla="*/ 1515149 h 1934496"/>
                <a:gd name="connsiteX874" fmla="*/ 2570864 w 9922465"/>
                <a:gd name="connsiteY874" fmla="*/ 1459958 h 1934496"/>
                <a:gd name="connsiteX875" fmla="*/ 2437228 w 9922465"/>
                <a:gd name="connsiteY875" fmla="*/ 1459958 h 1934496"/>
                <a:gd name="connsiteX876" fmla="*/ 2492419 w 9922465"/>
                <a:gd name="connsiteY876" fmla="*/ 1515149 h 1934496"/>
                <a:gd name="connsiteX877" fmla="*/ 2437228 w 9922465"/>
                <a:gd name="connsiteY877" fmla="*/ 1570340 h 1934496"/>
                <a:gd name="connsiteX878" fmla="*/ 2382037 w 9922465"/>
                <a:gd name="connsiteY878" fmla="*/ 1515149 h 1934496"/>
                <a:gd name="connsiteX879" fmla="*/ 2437228 w 9922465"/>
                <a:gd name="connsiteY879" fmla="*/ 1459958 h 1934496"/>
                <a:gd name="connsiteX880" fmla="*/ 2303596 w 9922465"/>
                <a:gd name="connsiteY880" fmla="*/ 1459958 h 1934496"/>
                <a:gd name="connsiteX881" fmla="*/ 2358787 w 9922465"/>
                <a:gd name="connsiteY881" fmla="*/ 1515149 h 1934496"/>
                <a:gd name="connsiteX882" fmla="*/ 2303596 w 9922465"/>
                <a:gd name="connsiteY882" fmla="*/ 1570340 h 1934496"/>
                <a:gd name="connsiteX883" fmla="*/ 2248404 w 9922465"/>
                <a:gd name="connsiteY883" fmla="*/ 1515149 h 1934496"/>
                <a:gd name="connsiteX884" fmla="*/ 2303596 w 9922465"/>
                <a:gd name="connsiteY884" fmla="*/ 1459958 h 1934496"/>
                <a:gd name="connsiteX885" fmla="*/ 2173305 w 9922465"/>
                <a:gd name="connsiteY885" fmla="*/ 1459958 h 1934496"/>
                <a:gd name="connsiteX886" fmla="*/ 2228497 w 9922465"/>
                <a:gd name="connsiteY886" fmla="*/ 1515149 h 1934496"/>
                <a:gd name="connsiteX887" fmla="*/ 2173305 w 9922465"/>
                <a:gd name="connsiteY887" fmla="*/ 1570340 h 1934496"/>
                <a:gd name="connsiteX888" fmla="*/ 2118111 w 9922465"/>
                <a:gd name="connsiteY888" fmla="*/ 1515149 h 1934496"/>
                <a:gd name="connsiteX889" fmla="*/ 2173305 w 9922465"/>
                <a:gd name="connsiteY889" fmla="*/ 1459958 h 1934496"/>
                <a:gd name="connsiteX890" fmla="*/ 2039668 w 9922465"/>
                <a:gd name="connsiteY890" fmla="*/ 1459958 h 1934496"/>
                <a:gd name="connsiteX891" fmla="*/ 2094860 w 9922465"/>
                <a:gd name="connsiteY891" fmla="*/ 1515149 h 1934496"/>
                <a:gd name="connsiteX892" fmla="*/ 2039668 w 9922465"/>
                <a:gd name="connsiteY892" fmla="*/ 1570340 h 1934496"/>
                <a:gd name="connsiteX893" fmla="*/ 1984475 w 9922465"/>
                <a:gd name="connsiteY893" fmla="*/ 1515149 h 1934496"/>
                <a:gd name="connsiteX894" fmla="*/ 2039668 w 9922465"/>
                <a:gd name="connsiteY894" fmla="*/ 1459958 h 1934496"/>
                <a:gd name="connsiteX895" fmla="*/ 1909371 w 9922465"/>
                <a:gd name="connsiteY895" fmla="*/ 1459958 h 1934496"/>
                <a:gd name="connsiteX896" fmla="*/ 1964564 w 9922465"/>
                <a:gd name="connsiteY896" fmla="*/ 1515149 h 1934496"/>
                <a:gd name="connsiteX897" fmla="*/ 1909371 w 9922465"/>
                <a:gd name="connsiteY897" fmla="*/ 1570340 h 1934496"/>
                <a:gd name="connsiteX898" fmla="*/ 1854178 w 9922465"/>
                <a:gd name="connsiteY898" fmla="*/ 1515149 h 1934496"/>
                <a:gd name="connsiteX899" fmla="*/ 1909371 w 9922465"/>
                <a:gd name="connsiteY899" fmla="*/ 1459958 h 1934496"/>
                <a:gd name="connsiteX900" fmla="*/ 1779076 w 9922465"/>
                <a:gd name="connsiteY900" fmla="*/ 1459958 h 1934496"/>
                <a:gd name="connsiteX901" fmla="*/ 1834269 w 9922465"/>
                <a:gd name="connsiteY901" fmla="*/ 1515149 h 1934496"/>
                <a:gd name="connsiteX902" fmla="*/ 1779076 w 9922465"/>
                <a:gd name="connsiteY902" fmla="*/ 1570340 h 1934496"/>
                <a:gd name="connsiteX903" fmla="*/ 1723884 w 9922465"/>
                <a:gd name="connsiteY903" fmla="*/ 1515149 h 1934496"/>
                <a:gd name="connsiteX904" fmla="*/ 1779076 w 9922465"/>
                <a:gd name="connsiteY904" fmla="*/ 1459958 h 1934496"/>
                <a:gd name="connsiteX905" fmla="*/ 1645440 w 9922465"/>
                <a:gd name="connsiteY905" fmla="*/ 1459958 h 1934496"/>
                <a:gd name="connsiteX906" fmla="*/ 1700637 w 9922465"/>
                <a:gd name="connsiteY906" fmla="*/ 1515149 h 1934496"/>
                <a:gd name="connsiteX907" fmla="*/ 1645440 w 9922465"/>
                <a:gd name="connsiteY907" fmla="*/ 1570340 h 1934496"/>
                <a:gd name="connsiteX908" fmla="*/ 1590248 w 9922465"/>
                <a:gd name="connsiteY908" fmla="*/ 1515149 h 1934496"/>
                <a:gd name="connsiteX909" fmla="*/ 1645440 w 9922465"/>
                <a:gd name="connsiteY909" fmla="*/ 1459958 h 1934496"/>
                <a:gd name="connsiteX910" fmla="*/ 1515149 w 9922465"/>
                <a:gd name="connsiteY910" fmla="*/ 1459958 h 1934496"/>
                <a:gd name="connsiteX911" fmla="*/ 1570338 w 9922465"/>
                <a:gd name="connsiteY911" fmla="*/ 1515149 h 1934496"/>
                <a:gd name="connsiteX912" fmla="*/ 1515149 w 9922465"/>
                <a:gd name="connsiteY912" fmla="*/ 1570340 h 1934496"/>
                <a:gd name="connsiteX913" fmla="*/ 1459956 w 9922465"/>
                <a:gd name="connsiteY913" fmla="*/ 1515149 h 1934496"/>
                <a:gd name="connsiteX914" fmla="*/ 1515149 w 9922465"/>
                <a:gd name="connsiteY914" fmla="*/ 1459958 h 1934496"/>
                <a:gd name="connsiteX915" fmla="*/ 1381511 w 9922465"/>
                <a:gd name="connsiteY915" fmla="*/ 1459958 h 1934496"/>
                <a:gd name="connsiteX916" fmla="*/ 1436705 w 9922465"/>
                <a:gd name="connsiteY916" fmla="*/ 1515149 h 1934496"/>
                <a:gd name="connsiteX917" fmla="*/ 1381511 w 9922465"/>
                <a:gd name="connsiteY917" fmla="*/ 1570340 h 1934496"/>
                <a:gd name="connsiteX918" fmla="*/ 1326322 w 9922465"/>
                <a:gd name="connsiteY918" fmla="*/ 1515149 h 1934496"/>
                <a:gd name="connsiteX919" fmla="*/ 1381511 w 9922465"/>
                <a:gd name="connsiteY919" fmla="*/ 1459958 h 1934496"/>
                <a:gd name="connsiteX920" fmla="*/ 1251220 w 9922465"/>
                <a:gd name="connsiteY920" fmla="*/ 1459958 h 1934496"/>
                <a:gd name="connsiteX921" fmla="*/ 1306413 w 9922465"/>
                <a:gd name="connsiteY921" fmla="*/ 1515149 h 1934496"/>
                <a:gd name="connsiteX922" fmla="*/ 1251220 w 9922465"/>
                <a:gd name="connsiteY922" fmla="*/ 1570340 h 1934496"/>
                <a:gd name="connsiteX923" fmla="*/ 1196028 w 9922465"/>
                <a:gd name="connsiteY923" fmla="*/ 1515149 h 1934496"/>
                <a:gd name="connsiteX924" fmla="*/ 1251220 w 9922465"/>
                <a:gd name="connsiteY924" fmla="*/ 1459958 h 1934496"/>
                <a:gd name="connsiteX925" fmla="*/ 1117583 w 9922465"/>
                <a:gd name="connsiteY925" fmla="*/ 1459958 h 1934496"/>
                <a:gd name="connsiteX926" fmla="*/ 1172776 w 9922465"/>
                <a:gd name="connsiteY926" fmla="*/ 1515149 h 1934496"/>
                <a:gd name="connsiteX927" fmla="*/ 1117583 w 9922465"/>
                <a:gd name="connsiteY927" fmla="*/ 1570340 h 1934496"/>
                <a:gd name="connsiteX928" fmla="*/ 1062390 w 9922465"/>
                <a:gd name="connsiteY928" fmla="*/ 1515149 h 1934496"/>
                <a:gd name="connsiteX929" fmla="*/ 1117583 w 9922465"/>
                <a:gd name="connsiteY929" fmla="*/ 1459958 h 1934496"/>
                <a:gd name="connsiteX930" fmla="*/ 980607 w 9922465"/>
                <a:gd name="connsiteY930" fmla="*/ 1459958 h 1934496"/>
                <a:gd name="connsiteX931" fmla="*/ 1035800 w 9922465"/>
                <a:gd name="connsiteY931" fmla="*/ 1515149 h 1934496"/>
                <a:gd name="connsiteX932" fmla="*/ 980607 w 9922465"/>
                <a:gd name="connsiteY932" fmla="*/ 1570340 h 1934496"/>
                <a:gd name="connsiteX933" fmla="*/ 925415 w 9922465"/>
                <a:gd name="connsiteY933" fmla="*/ 1515149 h 1934496"/>
                <a:gd name="connsiteX934" fmla="*/ 980607 w 9922465"/>
                <a:gd name="connsiteY934" fmla="*/ 1459958 h 1934496"/>
                <a:gd name="connsiteX935" fmla="*/ 7608849 w 9922465"/>
                <a:gd name="connsiteY935" fmla="*/ 1336350 h 1934496"/>
                <a:gd name="connsiteX936" fmla="*/ 7664041 w 9922465"/>
                <a:gd name="connsiteY936" fmla="*/ 1391541 h 1934496"/>
                <a:gd name="connsiteX937" fmla="*/ 7608849 w 9922465"/>
                <a:gd name="connsiteY937" fmla="*/ 1446732 h 1934496"/>
                <a:gd name="connsiteX938" fmla="*/ 7553657 w 9922465"/>
                <a:gd name="connsiteY938" fmla="*/ 1391541 h 1934496"/>
                <a:gd name="connsiteX939" fmla="*/ 7608849 w 9922465"/>
                <a:gd name="connsiteY939" fmla="*/ 1336350 h 1934496"/>
                <a:gd name="connsiteX940" fmla="*/ 7481897 w 9922465"/>
                <a:gd name="connsiteY940" fmla="*/ 1336350 h 1934496"/>
                <a:gd name="connsiteX941" fmla="*/ 7537089 w 9922465"/>
                <a:gd name="connsiteY941" fmla="*/ 1391541 h 1934496"/>
                <a:gd name="connsiteX942" fmla="*/ 7481897 w 9922465"/>
                <a:gd name="connsiteY942" fmla="*/ 1446732 h 1934496"/>
                <a:gd name="connsiteX943" fmla="*/ 7426705 w 9922465"/>
                <a:gd name="connsiteY943" fmla="*/ 1391541 h 1934496"/>
                <a:gd name="connsiteX944" fmla="*/ 7481897 w 9922465"/>
                <a:gd name="connsiteY944" fmla="*/ 1336350 h 1934496"/>
                <a:gd name="connsiteX945" fmla="*/ 7341579 w 9922465"/>
                <a:gd name="connsiteY945" fmla="*/ 1336350 h 1934496"/>
                <a:gd name="connsiteX946" fmla="*/ 7396771 w 9922465"/>
                <a:gd name="connsiteY946" fmla="*/ 1391541 h 1934496"/>
                <a:gd name="connsiteX947" fmla="*/ 7341579 w 9922465"/>
                <a:gd name="connsiteY947" fmla="*/ 1446732 h 1934496"/>
                <a:gd name="connsiteX948" fmla="*/ 7286387 w 9922465"/>
                <a:gd name="connsiteY948" fmla="*/ 1391541 h 1934496"/>
                <a:gd name="connsiteX949" fmla="*/ 7341579 w 9922465"/>
                <a:gd name="connsiteY949" fmla="*/ 1336350 h 1934496"/>
                <a:gd name="connsiteX950" fmla="*/ 7211286 w 9922465"/>
                <a:gd name="connsiteY950" fmla="*/ 1336350 h 1934496"/>
                <a:gd name="connsiteX951" fmla="*/ 7266478 w 9922465"/>
                <a:gd name="connsiteY951" fmla="*/ 1391541 h 1934496"/>
                <a:gd name="connsiteX952" fmla="*/ 7211286 w 9922465"/>
                <a:gd name="connsiteY952" fmla="*/ 1446732 h 1934496"/>
                <a:gd name="connsiteX953" fmla="*/ 7156094 w 9922465"/>
                <a:gd name="connsiteY953" fmla="*/ 1391541 h 1934496"/>
                <a:gd name="connsiteX954" fmla="*/ 7211286 w 9922465"/>
                <a:gd name="connsiteY954" fmla="*/ 1336350 h 1934496"/>
                <a:gd name="connsiteX955" fmla="*/ 7080993 w 9922465"/>
                <a:gd name="connsiteY955" fmla="*/ 1336350 h 1934496"/>
                <a:gd name="connsiteX956" fmla="*/ 7136185 w 9922465"/>
                <a:gd name="connsiteY956" fmla="*/ 1391541 h 1934496"/>
                <a:gd name="connsiteX957" fmla="*/ 7080993 w 9922465"/>
                <a:gd name="connsiteY957" fmla="*/ 1446732 h 1934496"/>
                <a:gd name="connsiteX958" fmla="*/ 7025801 w 9922465"/>
                <a:gd name="connsiteY958" fmla="*/ 1391541 h 1934496"/>
                <a:gd name="connsiteX959" fmla="*/ 7080993 w 9922465"/>
                <a:gd name="connsiteY959" fmla="*/ 1336350 h 1934496"/>
                <a:gd name="connsiteX960" fmla="*/ 6947357 w 9922465"/>
                <a:gd name="connsiteY960" fmla="*/ 1336350 h 1934496"/>
                <a:gd name="connsiteX961" fmla="*/ 7002549 w 9922465"/>
                <a:gd name="connsiteY961" fmla="*/ 1391541 h 1934496"/>
                <a:gd name="connsiteX962" fmla="*/ 6947357 w 9922465"/>
                <a:gd name="connsiteY962" fmla="*/ 1446732 h 1934496"/>
                <a:gd name="connsiteX963" fmla="*/ 6892165 w 9922465"/>
                <a:gd name="connsiteY963" fmla="*/ 1391541 h 1934496"/>
                <a:gd name="connsiteX964" fmla="*/ 6947357 w 9922465"/>
                <a:gd name="connsiteY964" fmla="*/ 1336350 h 1934496"/>
                <a:gd name="connsiteX965" fmla="*/ 6817064 w 9922465"/>
                <a:gd name="connsiteY965" fmla="*/ 1336350 h 1934496"/>
                <a:gd name="connsiteX966" fmla="*/ 6872256 w 9922465"/>
                <a:gd name="connsiteY966" fmla="*/ 1391541 h 1934496"/>
                <a:gd name="connsiteX967" fmla="*/ 6817064 w 9922465"/>
                <a:gd name="connsiteY967" fmla="*/ 1446732 h 1934496"/>
                <a:gd name="connsiteX968" fmla="*/ 6761872 w 9922465"/>
                <a:gd name="connsiteY968" fmla="*/ 1391541 h 1934496"/>
                <a:gd name="connsiteX969" fmla="*/ 6817064 w 9922465"/>
                <a:gd name="connsiteY969" fmla="*/ 1336350 h 1934496"/>
                <a:gd name="connsiteX970" fmla="*/ 6683431 w 9922465"/>
                <a:gd name="connsiteY970" fmla="*/ 1336350 h 1934496"/>
                <a:gd name="connsiteX971" fmla="*/ 6738623 w 9922465"/>
                <a:gd name="connsiteY971" fmla="*/ 1391541 h 1934496"/>
                <a:gd name="connsiteX972" fmla="*/ 6683431 w 9922465"/>
                <a:gd name="connsiteY972" fmla="*/ 1446732 h 1934496"/>
                <a:gd name="connsiteX973" fmla="*/ 6628239 w 9922465"/>
                <a:gd name="connsiteY973" fmla="*/ 1391541 h 1934496"/>
                <a:gd name="connsiteX974" fmla="*/ 6683431 w 9922465"/>
                <a:gd name="connsiteY974" fmla="*/ 1336350 h 1934496"/>
                <a:gd name="connsiteX975" fmla="*/ 6553137 w 9922465"/>
                <a:gd name="connsiteY975" fmla="*/ 1336350 h 1934496"/>
                <a:gd name="connsiteX976" fmla="*/ 6608329 w 9922465"/>
                <a:gd name="connsiteY976" fmla="*/ 1391541 h 1934496"/>
                <a:gd name="connsiteX977" fmla="*/ 6553137 w 9922465"/>
                <a:gd name="connsiteY977" fmla="*/ 1446732 h 1934496"/>
                <a:gd name="connsiteX978" fmla="*/ 6497945 w 9922465"/>
                <a:gd name="connsiteY978" fmla="*/ 1391541 h 1934496"/>
                <a:gd name="connsiteX979" fmla="*/ 6553137 w 9922465"/>
                <a:gd name="connsiteY979" fmla="*/ 1336350 h 1934496"/>
                <a:gd name="connsiteX980" fmla="*/ 6419502 w 9922465"/>
                <a:gd name="connsiteY980" fmla="*/ 1336350 h 1934496"/>
                <a:gd name="connsiteX981" fmla="*/ 6474694 w 9922465"/>
                <a:gd name="connsiteY981" fmla="*/ 1391541 h 1934496"/>
                <a:gd name="connsiteX982" fmla="*/ 6419502 w 9922465"/>
                <a:gd name="connsiteY982" fmla="*/ 1446732 h 1934496"/>
                <a:gd name="connsiteX983" fmla="*/ 6364310 w 9922465"/>
                <a:gd name="connsiteY983" fmla="*/ 1391541 h 1934496"/>
                <a:gd name="connsiteX984" fmla="*/ 6419502 w 9922465"/>
                <a:gd name="connsiteY984" fmla="*/ 1336350 h 1934496"/>
                <a:gd name="connsiteX985" fmla="*/ 6289207 w 9922465"/>
                <a:gd name="connsiteY985" fmla="*/ 1336350 h 1934496"/>
                <a:gd name="connsiteX986" fmla="*/ 6344399 w 9922465"/>
                <a:gd name="connsiteY986" fmla="*/ 1391541 h 1934496"/>
                <a:gd name="connsiteX987" fmla="*/ 6289207 w 9922465"/>
                <a:gd name="connsiteY987" fmla="*/ 1446732 h 1934496"/>
                <a:gd name="connsiteX988" fmla="*/ 6234015 w 9922465"/>
                <a:gd name="connsiteY988" fmla="*/ 1391541 h 1934496"/>
                <a:gd name="connsiteX989" fmla="*/ 6289207 w 9922465"/>
                <a:gd name="connsiteY989" fmla="*/ 1336350 h 1934496"/>
                <a:gd name="connsiteX990" fmla="*/ 6155573 w 9922465"/>
                <a:gd name="connsiteY990" fmla="*/ 1336350 h 1934496"/>
                <a:gd name="connsiteX991" fmla="*/ 6210765 w 9922465"/>
                <a:gd name="connsiteY991" fmla="*/ 1391541 h 1934496"/>
                <a:gd name="connsiteX992" fmla="*/ 6155573 w 9922465"/>
                <a:gd name="connsiteY992" fmla="*/ 1446732 h 1934496"/>
                <a:gd name="connsiteX993" fmla="*/ 6100381 w 9922465"/>
                <a:gd name="connsiteY993" fmla="*/ 1391541 h 1934496"/>
                <a:gd name="connsiteX994" fmla="*/ 6155573 w 9922465"/>
                <a:gd name="connsiteY994" fmla="*/ 1336350 h 1934496"/>
                <a:gd name="connsiteX995" fmla="*/ 6021939 w 9922465"/>
                <a:gd name="connsiteY995" fmla="*/ 1336350 h 1934496"/>
                <a:gd name="connsiteX996" fmla="*/ 6077131 w 9922465"/>
                <a:gd name="connsiteY996" fmla="*/ 1391541 h 1934496"/>
                <a:gd name="connsiteX997" fmla="*/ 6021939 w 9922465"/>
                <a:gd name="connsiteY997" fmla="*/ 1446732 h 1934496"/>
                <a:gd name="connsiteX998" fmla="*/ 5966747 w 9922465"/>
                <a:gd name="connsiteY998" fmla="*/ 1391541 h 1934496"/>
                <a:gd name="connsiteX999" fmla="*/ 6021939 w 9922465"/>
                <a:gd name="connsiteY999" fmla="*/ 1336350 h 1934496"/>
                <a:gd name="connsiteX1000" fmla="*/ 5884964 w 9922465"/>
                <a:gd name="connsiteY1000" fmla="*/ 1336350 h 1934496"/>
                <a:gd name="connsiteX1001" fmla="*/ 5940156 w 9922465"/>
                <a:gd name="connsiteY1001" fmla="*/ 1391541 h 1934496"/>
                <a:gd name="connsiteX1002" fmla="*/ 5884964 w 9922465"/>
                <a:gd name="connsiteY1002" fmla="*/ 1446732 h 1934496"/>
                <a:gd name="connsiteX1003" fmla="*/ 5829772 w 9922465"/>
                <a:gd name="connsiteY1003" fmla="*/ 1391541 h 1934496"/>
                <a:gd name="connsiteX1004" fmla="*/ 5884964 w 9922465"/>
                <a:gd name="connsiteY1004" fmla="*/ 1336350 h 1934496"/>
                <a:gd name="connsiteX1005" fmla="*/ 5754668 w 9922465"/>
                <a:gd name="connsiteY1005" fmla="*/ 1336350 h 1934496"/>
                <a:gd name="connsiteX1006" fmla="*/ 5809860 w 9922465"/>
                <a:gd name="connsiteY1006" fmla="*/ 1391541 h 1934496"/>
                <a:gd name="connsiteX1007" fmla="*/ 5754668 w 9922465"/>
                <a:gd name="connsiteY1007" fmla="*/ 1446732 h 1934496"/>
                <a:gd name="connsiteX1008" fmla="*/ 5699476 w 9922465"/>
                <a:gd name="connsiteY1008" fmla="*/ 1391541 h 1934496"/>
                <a:gd name="connsiteX1009" fmla="*/ 5754668 w 9922465"/>
                <a:gd name="connsiteY1009" fmla="*/ 1336350 h 1934496"/>
                <a:gd name="connsiteX1010" fmla="*/ 5621035 w 9922465"/>
                <a:gd name="connsiteY1010" fmla="*/ 1336350 h 1934496"/>
                <a:gd name="connsiteX1011" fmla="*/ 5676227 w 9922465"/>
                <a:gd name="connsiteY1011" fmla="*/ 1391541 h 1934496"/>
                <a:gd name="connsiteX1012" fmla="*/ 5621035 w 9922465"/>
                <a:gd name="connsiteY1012" fmla="*/ 1446732 h 1934496"/>
                <a:gd name="connsiteX1013" fmla="*/ 5565843 w 9922465"/>
                <a:gd name="connsiteY1013" fmla="*/ 1391541 h 1934496"/>
                <a:gd name="connsiteX1014" fmla="*/ 5621035 w 9922465"/>
                <a:gd name="connsiteY1014" fmla="*/ 1336350 h 1934496"/>
                <a:gd name="connsiteX1015" fmla="*/ 5487399 w 9922465"/>
                <a:gd name="connsiteY1015" fmla="*/ 1336350 h 1934496"/>
                <a:gd name="connsiteX1016" fmla="*/ 5542591 w 9922465"/>
                <a:gd name="connsiteY1016" fmla="*/ 1391541 h 1934496"/>
                <a:gd name="connsiteX1017" fmla="*/ 5487399 w 9922465"/>
                <a:gd name="connsiteY1017" fmla="*/ 1446732 h 1934496"/>
                <a:gd name="connsiteX1018" fmla="*/ 5432207 w 9922465"/>
                <a:gd name="connsiteY1018" fmla="*/ 1391541 h 1934496"/>
                <a:gd name="connsiteX1019" fmla="*/ 5487399 w 9922465"/>
                <a:gd name="connsiteY1019" fmla="*/ 1336350 h 1934496"/>
                <a:gd name="connsiteX1020" fmla="*/ 5357106 w 9922465"/>
                <a:gd name="connsiteY1020" fmla="*/ 1336350 h 1934496"/>
                <a:gd name="connsiteX1021" fmla="*/ 5412298 w 9922465"/>
                <a:gd name="connsiteY1021" fmla="*/ 1391541 h 1934496"/>
                <a:gd name="connsiteX1022" fmla="*/ 5357106 w 9922465"/>
                <a:gd name="connsiteY1022" fmla="*/ 1446732 h 1934496"/>
                <a:gd name="connsiteX1023" fmla="*/ 5301914 w 9922465"/>
                <a:gd name="connsiteY1023" fmla="*/ 1391541 h 1934496"/>
                <a:gd name="connsiteX1024" fmla="*/ 5357106 w 9922465"/>
                <a:gd name="connsiteY1024" fmla="*/ 1336350 h 1934496"/>
                <a:gd name="connsiteX1025" fmla="*/ 4959543 w 9922465"/>
                <a:gd name="connsiteY1025" fmla="*/ 1336350 h 1934496"/>
                <a:gd name="connsiteX1026" fmla="*/ 5014735 w 9922465"/>
                <a:gd name="connsiteY1026" fmla="*/ 1391541 h 1934496"/>
                <a:gd name="connsiteX1027" fmla="*/ 4959543 w 9922465"/>
                <a:gd name="connsiteY1027" fmla="*/ 1446732 h 1934496"/>
                <a:gd name="connsiteX1028" fmla="*/ 4904351 w 9922465"/>
                <a:gd name="connsiteY1028" fmla="*/ 1391541 h 1934496"/>
                <a:gd name="connsiteX1029" fmla="*/ 4959543 w 9922465"/>
                <a:gd name="connsiteY1029" fmla="*/ 1336350 h 1934496"/>
                <a:gd name="connsiteX1030" fmla="*/ 4565322 w 9922465"/>
                <a:gd name="connsiteY1030" fmla="*/ 1336350 h 1934496"/>
                <a:gd name="connsiteX1031" fmla="*/ 4620514 w 9922465"/>
                <a:gd name="connsiteY1031" fmla="*/ 1391541 h 1934496"/>
                <a:gd name="connsiteX1032" fmla="*/ 4565322 w 9922465"/>
                <a:gd name="connsiteY1032" fmla="*/ 1446732 h 1934496"/>
                <a:gd name="connsiteX1033" fmla="*/ 4510130 w 9922465"/>
                <a:gd name="connsiteY1033" fmla="*/ 1391541 h 1934496"/>
                <a:gd name="connsiteX1034" fmla="*/ 4565322 w 9922465"/>
                <a:gd name="connsiteY1034" fmla="*/ 1336350 h 1934496"/>
                <a:gd name="connsiteX1035" fmla="*/ 2971729 w 9922465"/>
                <a:gd name="connsiteY1035" fmla="*/ 1336350 h 1934496"/>
                <a:gd name="connsiteX1036" fmla="*/ 3026921 w 9922465"/>
                <a:gd name="connsiteY1036" fmla="*/ 1391541 h 1934496"/>
                <a:gd name="connsiteX1037" fmla="*/ 2971729 w 9922465"/>
                <a:gd name="connsiteY1037" fmla="*/ 1446732 h 1934496"/>
                <a:gd name="connsiteX1038" fmla="*/ 2916537 w 9922465"/>
                <a:gd name="connsiteY1038" fmla="*/ 1391541 h 1934496"/>
                <a:gd name="connsiteX1039" fmla="*/ 2971729 w 9922465"/>
                <a:gd name="connsiteY1039" fmla="*/ 1336350 h 1934496"/>
                <a:gd name="connsiteX1040" fmla="*/ 2834801 w 9922465"/>
                <a:gd name="connsiteY1040" fmla="*/ 1336350 h 1934496"/>
                <a:gd name="connsiteX1041" fmla="*/ 2889994 w 9922465"/>
                <a:gd name="connsiteY1041" fmla="*/ 1391541 h 1934496"/>
                <a:gd name="connsiteX1042" fmla="*/ 2834801 w 9922465"/>
                <a:gd name="connsiteY1042" fmla="*/ 1446732 h 1934496"/>
                <a:gd name="connsiteX1043" fmla="*/ 2779610 w 9922465"/>
                <a:gd name="connsiteY1043" fmla="*/ 1391541 h 1934496"/>
                <a:gd name="connsiteX1044" fmla="*/ 2834801 w 9922465"/>
                <a:gd name="connsiteY1044" fmla="*/ 1336350 h 1934496"/>
                <a:gd name="connsiteX1045" fmla="*/ 2707848 w 9922465"/>
                <a:gd name="connsiteY1045" fmla="*/ 1336350 h 1934496"/>
                <a:gd name="connsiteX1046" fmla="*/ 2763042 w 9922465"/>
                <a:gd name="connsiteY1046" fmla="*/ 1391541 h 1934496"/>
                <a:gd name="connsiteX1047" fmla="*/ 2707848 w 9922465"/>
                <a:gd name="connsiteY1047" fmla="*/ 1446732 h 1934496"/>
                <a:gd name="connsiteX1048" fmla="*/ 2652656 w 9922465"/>
                <a:gd name="connsiteY1048" fmla="*/ 1391541 h 1934496"/>
                <a:gd name="connsiteX1049" fmla="*/ 2707848 w 9922465"/>
                <a:gd name="connsiteY1049" fmla="*/ 1336350 h 1934496"/>
                <a:gd name="connsiteX1050" fmla="*/ 2570875 w 9922465"/>
                <a:gd name="connsiteY1050" fmla="*/ 1336350 h 1934496"/>
                <a:gd name="connsiteX1051" fmla="*/ 2626067 w 9922465"/>
                <a:gd name="connsiteY1051" fmla="*/ 1391541 h 1934496"/>
                <a:gd name="connsiteX1052" fmla="*/ 2570875 w 9922465"/>
                <a:gd name="connsiteY1052" fmla="*/ 1446732 h 1934496"/>
                <a:gd name="connsiteX1053" fmla="*/ 2515683 w 9922465"/>
                <a:gd name="connsiteY1053" fmla="*/ 1391541 h 1934496"/>
                <a:gd name="connsiteX1054" fmla="*/ 2570875 w 9922465"/>
                <a:gd name="connsiteY1054" fmla="*/ 1336350 h 1934496"/>
                <a:gd name="connsiteX1055" fmla="*/ 2173314 w 9922465"/>
                <a:gd name="connsiteY1055" fmla="*/ 1336350 h 1934496"/>
                <a:gd name="connsiteX1056" fmla="*/ 2228507 w 9922465"/>
                <a:gd name="connsiteY1056" fmla="*/ 1391541 h 1934496"/>
                <a:gd name="connsiteX1057" fmla="*/ 2173314 w 9922465"/>
                <a:gd name="connsiteY1057" fmla="*/ 1446732 h 1934496"/>
                <a:gd name="connsiteX1058" fmla="*/ 2118122 w 9922465"/>
                <a:gd name="connsiteY1058" fmla="*/ 1391541 h 1934496"/>
                <a:gd name="connsiteX1059" fmla="*/ 2173314 w 9922465"/>
                <a:gd name="connsiteY1059" fmla="*/ 1336350 h 1934496"/>
                <a:gd name="connsiteX1060" fmla="*/ 2039678 w 9922465"/>
                <a:gd name="connsiteY1060" fmla="*/ 1336350 h 1934496"/>
                <a:gd name="connsiteX1061" fmla="*/ 2094870 w 9922465"/>
                <a:gd name="connsiteY1061" fmla="*/ 1391541 h 1934496"/>
                <a:gd name="connsiteX1062" fmla="*/ 2039678 w 9922465"/>
                <a:gd name="connsiteY1062" fmla="*/ 1446732 h 1934496"/>
                <a:gd name="connsiteX1063" fmla="*/ 1984484 w 9922465"/>
                <a:gd name="connsiteY1063" fmla="*/ 1391541 h 1934496"/>
                <a:gd name="connsiteX1064" fmla="*/ 2039678 w 9922465"/>
                <a:gd name="connsiteY1064" fmla="*/ 1336350 h 1934496"/>
                <a:gd name="connsiteX1065" fmla="*/ 1909381 w 9922465"/>
                <a:gd name="connsiteY1065" fmla="*/ 1336350 h 1934496"/>
                <a:gd name="connsiteX1066" fmla="*/ 1964575 w 9922465"/>
                <a:gd name="connsiteY1066" fmla="*/ 1391541 h 1934496"/>
                <a:gd name="connsiteX1067" fmla="*/ 1909381 w 9922465"/>
                <a:gd name="connsiteY1067" fmla="*/ 1446732 h 1934496"/>
                <a:gd name="connsiteX1068" fmla="*/ 1854188 w 9922465"/>
                <a:gd name="connsiteY1068" fmla="*/ 1391541 h 1934496"/>
                <a:gd name="connsiteX1069" fmla="*/ 1909381 w 9922465"/>
                <a:gd name="connsiteY1069" fmla="*/ 1336350 h 1934496"/>
                <a:gd name="connsiteX1070" fmla="*/ 1779086 w 9922465"/>
                <a:gd name="connsiteY1070" fmla="*/ 1336350 h 1934496"/>
                <a:gd name="connsiteX1071" fmla="*/ 1834278 w 9922465"/>
                <a:gd name="connsiteY1071" fmla="*/ 1391541 h 1934496"/>
                <a:gd name="connsiteX1072" fmla="*/ 1779086 w 9922465"/>
                <a:gd name="connsiteY1072" fmla="*/ 1446732 h 1934496"/>
                <a:gd name="connsiteX1073" fmla="*/ 1723892 w 9922465"/>
                <a:gd name="connsiteY1073" fmla="*/ 1391541 h 1934496"/>
                <a:gd name="connsiteX1074" fmla="*/ 1779086 w 9922465"/>
                <a:gd name="connsiteY1074" fmla="*/ 1336350 h 1934496"/>
                <a:gd name="connsiteX1075" fmla="*/ 1645448 w 9922465"/>
                <a:gd name="connsiteY1075" fmla="*/ 1336350 h 1934496"/>
                <a:gd name="connsiteX1076" fmla="*/ 1700644 w 9922465"/>
                <a:gd name="connsiteY1076" fmla="*/ 1391541 h 1934496"/>
                <a:gd name="connsiteX1077" fmla="*/ 1645448 w 9922465"/>
                <a:gd name="connsiteY1077" fmla="*/ 1446732 h 1934496"/>
                <a:gd name="connsiteX1078" fmla="*/ 1590256 w 9922465"/>
                <a:gd name="connsiteY1078" fmla="*/ 1391541 h 1934496"/>
                <a:gd name="connsiteX1079" fmla="*/ 1645448 w 9922465"/>
                <a:gd name="connsiteY1079" fmla="*/ 1336350 h 1934496"/>
                <a:gd name="connsiteX1080" fmla="*/ 1515160 w 9922465"/>
                <a:gd name="connsiteY1080" fmla="*/ 1336350 h 1934496"/>
                <a:gd name="connsiteX1081" fmla="*/ 1570346 w 9922465"/>
                <a:gd name="connsiteY1081" fmla="*/ 1391541 h 1934496"/>
                <a:gd name="connsiteX1082" fmla="*/ 1515160 w 9922465"/>
                <a:gd name="connsiteY1082" fmla="*/ 1446732 h 1934496"/>
                <a:gd name="connsiteX1083" fmla="*/ 1459963 w 9922465"/>
                <a:gd name="connsiteY1083" fmla="*/ 1391541 h 1934496"/>
                <a:gd name="connsiteX1084" fmla="*/ 1515160 w 9922465"/>
                <a:gd name="connsiteY1084" fmla="*/ 1336350 h 1934496"/>
                <a:gd name="connsiteX1085" fmla="*/ 1381522 w 9922465"/>
                <a:gd name="connsiteY1085" fmla="*/ 1336350 h 1934496"/>
                <a:gd name="connsiteX1086" fmla="*/ 1436714 w 9922465"/>
                <a:gd name="connsiteY1086" fmla="*/ 1391541 h 1934496"/>
                <a:gd name="connsiteX1087" fmla="*/ 1381522 w 9922465"/>
                <a:gd name="connsiteY1087" fmla="*/ 1446732 h 1934496"/>
                <a:gd name="connsiteX1088" fmla="*/ 1326330 w 9922465"/>
                <a:gd name="connsiteY1088" fmla="*/ 1391541 h 1934496"/>
                <a:gd name="connsiteX1089" fmla="*/ 1381522 w 9922465"/>
                <a:gd name="connsiteY1089" fmla="*/ 1336350 h 1934496"/>
                <a:gd name="connsiteX1090" fmla="*/ 1251229 w 9922465"/>
                <a:gd name="connsiteY1090" fmla="*/ 1336350 h 1934496"/>
                <a:gd name="connsiteX1091" fmla="*/ 1306421 w 9922465"/>
                <a:gd name="connsiteY1091" fmla="*/ 1391541 h 1934496"/>
                <a:gd name="connsiteX1092" fmla="*/ 1251229 w 9922465"/>
                <a:gd name="connsiteY1092" fmla="*/ 1446732 h 1934496"/>
                <a:gd name="connsiteX1093" fmla="*/ 1196037 w 9922465"/>
                <a:gd name="connsiteY1093" fmla="*/ 1391541 h 1934496"/>
                <a:gd name="connsiteX1094" fmla="*/ 1251229 w 9922465"/>
                <a:gd name="connsiteY1094" fmla="*/ 1336350 h 1934496"/>
                <a:gd name="connsiteX1095" fmla="*/ 1117592 w 9922465"/>
                <a:gd name="connsiteY1095" fmla="*/ 1336350 h 1934496"/>
                <a:gd name="connsiteX1096" fmla="*/ 1172785 w 9922465"/>
                <a:gd name="connsiteY1096" fmla="*/ 1391541 h 1934496"/>
                <a:gd name="connsiteX1097" fmla="*/ 1117592 w 9922465"/>
                <a:gd name="connsiteY1097" fmla="*/ 1446732 h 1934496"/>
                <a:gd name="connsiteX1098" fmla="*/ 1062400 w 9922465"/>
                <a:gd name="connsiteY1098" fmla="*/ 1391541 h 1934496"/>
                <a:gd name="connsiteX1099" fmla="*/ 1117592 w 9922465"/>
                <a:gd name="connsiteY1099" fmla="*/ 1336350 h 1934496"/>
                <a:gd name="connsiteX1100" fmla="*/ 980615 w 9922465"/>
                <a:gd name="connsiteY1100" fmla="*/ 1336350 h 1934496"/>
                <a:gd name="connsiteX1101" fmla="*/ 1035808 w 9922465"/>
                <a:gd name="connsiteY1101" fmla="*/ 1391541 h 1934496"/>
                <a:gd name="connsiteX1102" fmla="*/ 980615 w 9922465"/>
                <a:gd name="connsiteY1102" fmla="*/ 1446732 h 1934496"/>
                <a:gd name="connsiteX1103" fmla="*/ 925422 w 9922465"/>
                <a:gd name="connsiteY1103" fmla="*/ 1391541 h 1934496"/>
                <a:gd name="connsiteX1104" fmla="*/ 980615 w 9922465"/>
                <a:gd name="connsiteY1104" fmla="*/ 1336350 h 1934496"/>
                <a:gd name="connsiteX1105" fmla="*/ 9199101 w 9922465"/>
                <a:gd name="connsiteY1105" fmla="*/ 1336348 h 1934496"/>
                <a:gd name="connsiteX1106" fmla="*/ 9254293 w 9922465"/>
                <a:gd name="connsiteY1106" fmla="*/ 1391539 h 1934496"/>
                <a:gd name="connsiteX1107" fmla="*/ 9199101 w 9922465"/>
                <a:gd name="connsiteY1107" fmla="*/ 1446730 h 1934496"/>
                <a:gd name="connsiteX1108" fmla="*/ 9143909 w 9922465"/>
                <a:gd name="connsiteY1108" fmla="*/ 1391539 h 1934496"/>
                <a:gd name="connsiteX1109" fmla="*/ 9199101 w 9922465"/>
                <a:gd name="connsiteY1109" fmla="*/ 1336348 h 1934496"/>
                <a:gd name="connsiteX1110" fmla="*/ 9068807 w 9922465"/>
                <a:gd name="connsiteY1110" fmla="*/ 1336348 h 1934496"/>
                <a:gd name="connsiteX1111" fmla="*/ 9123999 w 9922465"/>
                <a:gd name="connsiteY1111" fmla="*/ 1391539 h 1934496"/>
                <a:gd name="connsiteX1112" fmla="*/ 9068807 w 9922465"/>
                <a:gd name="connsiteY1112" fmla="*/ 1446730 h 1934496"/>
                <a:gd name="connsiteX1113" fmla="*/ 9013615 w 9922465"/>
                <a:gd name="connsiteY1113" fmla="*/ 1391539 h 1934496"/>
                <a:gd name="connsiteX1114" fmla="*/ 9068807 w 9922465"/>
                <a:gd name="connsiteY1114" fmla="*/ 1336348 h 1934496"/>
                <a:gd name="connsiteX1115" fmla="*/ 8407316 w 9922465"/>
                <a:gd name="connsiteY1115" fmla="*/ 1336348 h 1934496"/>
                <a:gd name="connsiteX1116" fmla="*/ 8462508 w 9922465"/>
                <a:gd name="connsiteY1116" fmla="*/ 1391539 h 1934496"/>
                <a:gd name="connsiteX1117" fmla="*/ 8407316 w 9922465"/>
                <a:gd name="connsiteY1117" fmla="*/ 1446730 h 1934496"/>
                <a:gd name="connsiteX1118" fmla="*/ 8352124 w 9922465"/>
                <a:gd name="connsiteY1118" fmla="*/ 1391539 h 1934496"/>
                <a:gd name="connsiteX1119" fmla="*/ 8407316 w 9922465"/>
                <a:gd name="connsiteY1119" fmla="*/ 1336348 h 1934496"/>
                <a:gd name="connsiteX1120" fmla="*/ 8273682 w 9922465"/>
                <a:gd name="connsiteY1120" fmla="*/ 1336348 h 1934496"/>
                <a:gd name="connsiteX1121" fmla="*/ 8328874 w 9922465"/>
                <a:gd name="connsiteY1121" fmla="*/ 1391539 h 1934496"/>
                <a:gd name="connsiteX1122" fmla="*/ 8273682 w 9922465"/>
                <a:gd name="connsiteY1122" fmla="*/ 1446730 h 1934496"/>
                <a:gd name="connsiteX1123" fmla="*/ 8218490 w 9922465"/>
                <a:gd name="connsiteY1123" fmla="*/ 1391539 h 1934496"/>
                <a:gd name="connsiteX1124" fmla="*/ 8273682 w 9922465"/>
                <a:gd name="connsiteY1124" fmla="*/ 1336348 h 1934496"/>
                <a:gd name="connsiteX1125" fmla="*/ 8143388 w 9922465"/>
                <a:gd name="connsiteY1125" fmla="*/ 1336348 h 1934496"/>
                <a:gd name="connsiteX1126" fmla="*/ 8198580 w 9922465"/>
                <a:gd name="connsiteY1126" fmla="*/ 1391539 h 1934496"/>
                <a:gd name="connsiteX1127" fmla="*/ 8143388 w 9922465"/>
                <a:gd name="connsiteY1127" fmla="*/ 1446730 h 1934496"/>
                <a:gd name="connsiteX1128" fmla="*/ 8088196 w 9922465"/>
                <a:gd name="connsiteY1128" fmla="*/ 1391539 h 1934496"/>
                <a:gd name="connsiteX1129" fmla="*/ 8143388 w 9922465"/>
                <a:gd name="connsiteY1129" fmla="*/ 1336348 h 1934496"/>
                <a:gd name="connsiteX1130" fmla="*/ 8009753 w 9922465"/>
                <a:gd name="connsiteY1130" fmla="*/ 1336348 h 1934496"/>
                <a:gd name="connsiteX1131" fmla="*/ 8064945 w 9922465"/>
                <a:gd name="connsiteY1131" fmla="*/ 1391539 h 1934496"/>
                <a:gd name="connsiteX1132" fmla="*/ 8009753 w 9922465"/>
                <a:gd name="connsiteY1132" fmla="*/ 1446730 h 1934496"/>
                <a:gd name="connsiteX1133" fmla="*/ 7954561 w 9922465"/>
                <a:gd name="connsiteY1133" fmla="*/ 1391539 h 1934496"/>
                <a:gd name="connsiteX1134" fmla="*/ 8009753 w 9922465"/>
                <a:gd name="connsiteY1134" fmla="*/ 1336348 h 1934496"/>
                <a:gd name="connsiteX1135" fmla="*/ 7876118 w 9922465"/>
                <a:gd name="connsiteY1135" fmla="*/ 1336348 h 1934496"/>
                <a:gd name="connsiteX1136" fmla="*/ 7931310 w 9922465"/>
                <a:gd name="connsiteY1136" fmla="*/ 1391539 h 1934496"/>
                <a:gd name="connsiteX1137" fmla="*/ 7876118 w 9922465"/>
                <a:gd name="connsiteY1137" fmla="*/ 1446730 h 1934496"/>
                <a:gd name="connsiteX1138" fmla="*/ 7820926 w 9922465"/>
                <a:gd name="connsiteY1138" fmla="*/ 1391539 h 1934496"/>
                <a:gd name="connsiteX1139" fmla="*/ 7876118 w 9922465"/>
                <a:gd name="connsiteY1139" fmla="*/ 1336348 h 1934496"/>
                <a:gd name="connsiteX1140" fmla="*/ 7745823 w 9922465"/>
                <a:gd name="connsiteY1140" fmla="*/ 1336348 h 1934496"/>
                <a:gd name="connsiteX1141" fmla="*/ 7801015 w 9922465"/>
                <a:gd name="connsiteY1141" fmla="*/ 1391539 h 1934496"/>
                <a:gd name="connsiteX1142" fmla="*/ 7745823 w 9922465"/>
                <a:gd name="connsiteY1142" fmla="*/ 1446730 h 1934496"/>
                <a:gd name="connsiteX1143" fmla="*/ 7690631 w 9922465"/>
                <a:gd name="connsiteY1143" fmla="*/ 1391539 h 1934496"/>
                <a:gd name="connsiteX1144" fmla="*/ 7745823 w 9922465"/>
                <a:gd name="connsiteY1144" fmla="*/ 1336348 h 1934496"/>
                <a:gd name="connsiteX1145" fmla="*/ 185475 w 9922465"/>
                <a:gd name="connsiteY1145" fmla="*/ 1336348 h 1934496"/>
                <a:gd name="connsiteX1146" fmla="*/ 240666 w 9922465"/>
                <a:gd name="connsiteY1146" fmla="*/ 1391539 h 1934496"/>
                <a:gd name="connsiteX1147" fmla="*/ 185475 w 9922465"/>
                <a:gd name="connsiteY1147" fmla="*/ 1446730 h 1934496"/>
                <a:gd name="connsiteX1148" fmla="*/ 130283 w 9922465"/>
                <a:gd name="connsiteY1148" fmla="*/ 1391539 h 1934496"/>
                <a:gd name="connsiteX1149" fmla="*/ 185475 w 9922465"/>
                <a:gd name="connsiteY1149" fmla="*/ 1336348 h 1934496"/>
                <a:gd name="connsiteX1150" fmla="*/ 9199101 w 9922465"/>
                <a:gd name="connsiteY1150" fmla="*/ 1219421 h 1934496"/>
                <a:gd name="connsiteX1151" fmla="*/ 9254293 w 9922465"/>
                <a:gd name="connsiteY1151" fmla="*/ 1274612 h 1934496"/>
                <a:gd name="connsiteX1152" fmla="*/ 9199101 w 9922465"/>
                <a:gd name="connsiteY1152" fmla="*/ 1329803 h 1934496"/>
                <a:gd name="connsiteX1153" fmla="*/ 9143909 w 9922465"/>
                <a:gd name="connsiteY1153" fmla="*/ 1274612 h 1934496"/>
                <a:gd name="connsiteX1154" fmla="*/ 9199101 w 9922465"/>
                <a:gd name="connsiteY1154" fmla="*/ 1219421 h 1934496"/>
                <a:gd name="connsiteX1155" fmla="*/ 9068807 w 9922465"/>
                <a:gd name="connsiteY1155" fmla="*/ 1219421 h 1934496"/>
                <a:gd name="connsiteX1156" fmla="*/ 9123999 w 9922465"/>
                <a:gd name="connsiteY1156" fmla="*/ 1274612 h 1934496"/>
                <a:gd name="connsiteX1157" fmla="*/ 9068807 w 9922465"/>
                <a:gd name="connsiteY1157" fmla="*/ 1329803 h 1934496"/>
                <a:gd name="connsiteX1158" fmla="*/ 9013615 w 9922465"/>
                <a:gd name="connsiteY1158" fmla="*/ 1274612 h 1934496"/>
                <a:gd name="connsiteX1159" fmla="*/ 9068807 w 9922465"/>
                <a:gd name="connsiteY1159" fmla="*/ 1219421 h 1934496"/>
                <a:gd name="connsiteX1160" fmla="*/ 8537612 w 9922465"/>
                <a:gd name="connsiteY1160" fmla="*/ 1219421 h 1934496"/>
                <a:gd name="connsiteX1161" fmla="*/ 8592804 w 9922465"/>
                <a:gd name="connsiteY1161" fmla="*/ 1274612 h 1934496"/>
                <a:gd name="connsiteX1162" fmla="*/ 8537612 w 9922465"/>
                <a:gd name="connsiteY1162" fmla="*/ 1329803 h 1934496"/>
                <a:gd name="connsiteX1163" fmla="*/ 8482420 w 9922465"/>
                <a:gd name="connsiteY1163" fmla="*/ 1274612 h 1934496"/>
                <a:gd name="connsiteX1164" fmla="*/ 8537612 w 9922465"/>
                <a:gd name="connsiteY1164" fmla="*/ 1219421 h 1934496"/>
                <a:gd name="connsiteX1165" fmla="*/ 8407316 w 9922465"/>
                <a:gd name="connsiteY1165" fmla="*/ 1219421 h 1934496"/>
                <a:gd name="connsiteX1166" fmla="*/ 8462508 w 9922465"/>
                <a:gd name="connsiteY1166" fmla="*/ 1274612 h 1934496"/>
                <a:gd name="connsiteX1167" fmla="*/ 8407316 w 9922465"/>
                <a:gd name="connsiteY1167" fmla="*/ 1329803 h 1934496"/>
                <a:gd name="connsiteX1168" fmla="*/ 8352124 w 9922465"/>
                <a:gd name="connsiteY1168" fmla="*/ 1274612 h 1934496"/>
                <a:gd name="connsiteX1169" fmla="*/ 8407316 w 9922465"/>
                <a:gd name="connsiteY1169" fmla="*/ 1219421 h 1934496"/>
                <a:gd name="connsiteX1170" fmla="*/ 8273682 w 9922465"/>
                <a:gd name="connsiteY1170" fmla="*/ 1219421 h 1934496"/>
                <a:gd name="connsiteX1171" fmla="*/ 8328874 w 9922465"/>
                <a:gd name="connsiteY1171" fmla="*/ 1274612 h 1934496"/>
                <a:gd name="connsiteX1172" fmla="*/ 8273682 w 9922465"/>
                <a:gd name="connsiteY1172" fmla="*/ 1329803 h 1934496"/>
                <a:gd name="connsiteX1173" fmla="*/ 8218490 w 9922465"/>
                <a:gd name="connsiteY1173" fmla="*/ 1274612 h 1934496"/>
                <a:gd name="connsiteX1174" fmla="*/ 8273682 w 9922465"/>
                <a:gd name="connsiteY1174" fmla="*/ 1219421 h 1934496"/>
                <a:gd name="connsiteX1175" fmla="*/ 8143388 w 9922465"/>
                <a:gd name="connsiteY1175" fmla="*/ 1219421 h 1934496"/>
                <a:gd name="connsiteX1176" fmla="*/ 8198580 w 9922465"/>
                <a:gd name="connsiteY1176" fmla="*/ 1274612 h 1934496"/>
                <a:gd name="connsiteX1177" fmla="*/ 8143388 w 9922465"/>
                <a:gd name="connsiteY1177" fmla="*/ 1329803 h 1934496"/>
                <a:gd name="connsiteX1178" fmla="*/ 8088196 w 9922465"/>
                <a:gd name="connsiteY1178" fmla="*/ 1274612 h 1934496"/>
                <a:gd name="connsiteX1179" fmla="*/ 8143388 w 9922465"/>
                <a:gd name="connsiteY1179" fmla="*/ 1219421 h 1934496"/>
                <a:gd name="connsiteX1180" fmla="*/ 8009753 w 9922465"/>
                <a:gd name="connsiteY1180" fmla="*/ 1219421 h 1934496"/>
                <a:gd name="connsiteX1181" fmla="*/ 8064945 w 9922465"/>
                <a:gd name="connsiteY1181" fmla="*/ 1274612 h 1934496"/>
                <a:gd name="connsiteX1182" fmla="*/ 8009753 w 9922465"/>
                <a:gd name="connsiteY1182" fmla="*/ 1329803 h 1934496"/>
                <a:gd name="connsiteX1183" fmla="*/ 7954561 w 9922465"/>
                <a:gd name="connsiteY1183" fmla="*/ 1274612 h 1934496"/>
                <a:gd name="connsiteX1184" fmla="*/ 8009753 w 9922465"/>
                <a:gd name="connsiteY1184" fmla="*/ 1219421 h 1934496"/>
                <a:gd name="connsiteX1185" fmla="*/ 7876118 w 9922465"/>
                <a:gd name="connsiteY1185" fmla="*/ 1219421 h 1934496"/>
                <a:gd name="connsiteX1186" fmla="*/ 7931310 w 9922465"/>
                <a:gd name="connsiteY1186" fmla="*/ 1274612 h 1934496"/>
                <a:gd name="connsiteX1187" fmla="*/ 7876118 w 9922465"/>
                <a:gd name="connsiteY1187" fmla="*/ 1329803 h 1934496"/>
                <a:gd name="connsiteX1188" fmla="*/ 7820926 w 9922465"/>
                <a:gd name="connsiteY1188" fmla="*/ 1274612 h 1934496"/>
                <a:gd name="connsiteX1189" fmla="*/ 7876118 w 9922465"/>
                <a:gd name="connsiteY1189" fmla="*/ 1219421 h 1934496"/>
                <a:gd name="connsiteX1190" fmla="*/ 7745823 w 9922465"/>
                <a:gd name="connsiteY1190" fmla="*/ 1219421 h 1934496"/>
                <a:gd name="connsiteX1191" fmla="*/ 7801015 w 9922465"/>
                <a:gd name="connsiteY1191" fmla="*/ 1274612 h 1934496"/>
                <a:gd name="connsiteX1192" fmla="*/ 7745823 w 9922465"/>
                <a:gd name="connsiteY1192" fmla="*/ 1329803 h 1934496"/>
                <a:gd name="connsiteX1193" fmla="*/ 7690631 w 9922465"/>
                <a:gd name="connsiteY1193" fmla="*/ 1274612 h 1934496"/>
                <a:gd name="connsiteX1194" fmla="*/ 7745823 w 9922465"/>
                <a:gd name="connsiteY1194" fmla="*/ 1219421 h 1934496"/>
                <a:gd name="connsiteX1195" fmla="*/ 7608849 w 9922465"/>
                <a:gd name="connsiteY1195" fmla="*/ 1219421 h 1934496"/>
                <a:gd name="connsiteX1196" fmla="*/ 7664041 w 9922465"/>
                <a:gd name="connsiteY1196" fmla="*/ 1274612 h 1934496"/>
                <a:gd name="connsiteX1197" fmla="*/ 7608849 w 9922465"/>
                <a:gd name="connsiteY1197" fmla="*/ 1329803 h 1934496"/>
                <a:gd name="connsiteX1198" fmla="*/ 7553657 w 9922465"/>
                <a:gd name="connsiteY1198" fmla="*/ 1274612 h 1934496"/>
                <a:gd name="connsiteX1199" fmla="*/ 7608849 w 9922465"/>
                <a:gd name="connsiteY1199" fmla="*/ 1219421 h 1934496"/>
                <a:gd name="connsiteX1200" fmla="*/ 7481897 w 9922465"/>
                <a:gd name="connsiteY1200" fmla="*/ 1219421 h 1934496"/>
                <a:gd name="connsiteX1201" fmla="*/ 7537089 w 9922465"/>
                <a:gd name="connsiteY1201" fmla="*/ 1274612 h 1934496"/>
                <a:gd name="connsiteX1202" fmla="*/ 7481897 w 9922465"/>
                <a:gd name="connsiteY1202" fmla="*/ 1329803 h 1934496"/>
                <a:gd name="connsiteX1203" fmla="*/ 7426705 w 9922465"/>
                <a:gd name="connsiteY1203" fmla="*/ 1274612 h 1934496"/>
                <a:gd name="connsiteX1204" fmla="*/ 7481897 w 9922465"/>
                <a:gd name="connsiteY1204" fmla="*/ 1219421 h 1934496"/>
                <a:gd name="connsiteX1205" fmla="*/ 7341579 w 9922465"/>
                <a:gd name="connsiteY1205" fmla="*/ 1219421 h 1934496"/>
                <a:gd name="connsiteX1206" fmla="*/ 7396771 w 9922465"/>
                <a:gd name="connsiteY1206" fmla="*/ 1274612 h 1934496"/>
                <a:gd name="connsiteX1207" fmla="*/ 7341579 w 9922465"/>
                <a:gd name="connsiteY1207" fmla="*/ 1329803 h 1934496"/>
                <a:gd name="connsiteX1208" fmla="*/ 7286387 w 9922465"/>
                <a:gd name="connsiteY1208" fmla="*/ 1274612 h 1934496"/>
                <a:gd name="connsiteX1209" fmla="*/ 7341579 w 9922465"/>
                <a:gd name="connsiteY1209" fmla="*/ 1219421 h 1934496"/>
                <a:gd name="connsiteX1210" fmla="*/ 7211286 w 9922465"/>
                <a:gd name="connsiteY1210" fmla="*/ 1219421 h 1934496"/>
                <a:gd name="connsiteX1211" fmla="*/ 7266478 w 9922465"/>
                <a:gd name="connsiteY1211" fmla="*/ 1274612 h 1934496"/>
                <a:gd name="connsiteX1212" fmla="*/ 7211286 w 9922465"/>
                <a:gd name="connsiteY1212" fmla="*/ 1329803 h 1934496"/>
                <a:gd name="connsiteX1213" fmla="*/ 7156094 w 9922465"/>
                <a:gd name="connsiteY1213" fmla="*/ 1274612 h 1934496"/>
                <a:gd name="connsiteX1214" fmla="*/ 7211286 w 9922465"/>
                <a:gd name="connsiteY1214" fmla="*/ 1219421 h 1934496"/>
                <a:gd name="connsiteX1215" fmla="*/ 7080993 w 9922465"/>
                <a:gd name="connsiteY1215" fmla="*/ 1219421 h 1934496"/>
                <a:gd name="connsiteX1216" fmla="*/ 7136185 w 9922465"/>
                <a:gd name="connsiteY1216" fmla="*/ 1274612 h 1934496"/>
                <a:gd name="connsiteX1217" fmla="*/ 7080993 w 9922465"/>
                <a:gd name="connsiteY1217" fmla="*/ 1329803 h 1934496"/>
                <a:gd name="connsiteX1218" fmla="*/ 7025801 w 9922465"/>
                <a:gd name="connsiteY1218" fmla="*/ 1274612 h 1934496"/>
                <a:gd name="connsiteX1219" fmla="*/ 7080993 w 9922465"/>
                <a:gd name="connsiteY1219" fmla="*/ 1219421 h 1934496"/>
                <a:gd name="connsiteX1220" fmla="*/ 6947357 w 9922465"/>
                <a:gd name="connsiteY1220" fmla="*/ 1219421 h 1934496"/>
                <a:gd name="connsiteX1221" fmla="*/ 7002549 w 9922465"/>
                <a:gd name="connsiteY1221" fmla="*/ 1274612 h 1934496"/>
                <a:gd name="connsiteX1222" fmla="*/ 6947357 w 9922465"/>
                <a:gd name="connsiteY1222" fmla="*/ 1329803 h 1934496"/>
                <a:gd name="connsiteX1223" fmla="*/ 6892165 w 9922465"/>
                <a:gd name="connsiteY1223" fmla="*/ 1274612 h 1934496"/>
                <a:gd name="connsiteX1224" fmla="*/ 6947357 w 9922465"/>
                <a:gd name="connsiteY1224" fmla="*/ 1219421 h 1934496"/>
                <a:gd name="connsiteX1225" fmla="*/ 6817064 w 9922465"/>
                <a:gd name="connsiteY1225" fmla="*/ 1219421 h 1934496"/>
                <a:gd name="connsiteX1226" fmla="*/ 6872256 w 9922465"/>
                <a:gd name="connsiteY1226" fmla="*/ 1274612 h 1934496"/>
                <a:gd name="connsiteX1227" fmla="*/ 6817064 w 9922465"/>
                <a:gd name="connsiteY1227" fmla="*/ 1329803 h 1934496"/>
                <a:gd name="connsiteX1228" fmla="*/ 6761872 w 9922465"/>
                <a:gd name="connsiteY1228" fmla="*/ 1274612 h 1934496"/>
                <a:gd name="connsiteX1229" fmla="*/ 6817064 w 9922465"/>
                <a:gd name="connsiteY1229" fmla="*/ 1219421 h 1934496"/>
                <a:gd name="connsiteX1230" fmla="*/ 6683431 w 9922465"/>
                <a:gd name="connsiteY1230" fmla="*/ 1219421 h 1934496"/>
                <a:gd name="connsiteX1231" fmla="*/ 6738623 w 9922465"/>
                <a:gd name="connsiteY1231" fmla="*/ 1274612 h 1934496"/>
                <a:gd name="connsiteX1232" fmla="*/ 6683431 w 9922465"/>
                <a:gd name="connsiteY1232" fmla="*/ 1329803 h 1934496"/>
                <a:gd name="connsiteX1233" fmla="*/ 6628239 w 9922465"/>
                <a:gd name="connsiteY1233" fmla="*/ 1274612 h 1934496"/>
                <a:gd name="connsiteX1234" fmla="*/ 6683431 w 9922465"/>
                <a:gd name="connsiteY1234" fmla="*/ 1219421 h 1934496"/>
                <a:gd name="connsiteX1235" fmla="*/ 6553137 w 9922465"/>
                <a:gd name="connsiteY1235" fmla="*/ 1219421 h 1934496"/>
                <a:gd name="connsiteX1236" fmla="*/ 6608329 w 9922465"/>
                <a:gd name="connsiteY1236" fmla="*/ 1274612 h 1934496"/>
                <a:gd name="connsiteX1237" fmla="*/ 6553137 w 9922465"/>
                <a:gd name="connsiteY1237" fmla="*/ 1329803 h 1934496"/>
                <a:gd name="connsiteX1238" fmla="*/ 6497945 w 9922465"/>
                <a:gd name="connsiteY1238" fmla="*/ 1274612 h 1934496"/>
                <a:gd name="connsiteX1239" fmla="*/ 6553137 w 9922465"/>
                <a:gd name="connsiteY1239" fmla="*/ 1219421 h 1934496"/>
                <a:gd name="connsiteX1240" fmla="*/ 6419502 w 9922465"/>
                <a:gd name="connsiteY1240" fmla="*/ 1219421 h 1934496"/>
                <a:gd name="connsiteX1241" fmla="*/ 6474694 w 9922465"/>
                <a:gd name="connsiteY1241" fmla="*/ 1274612 h 1934496"/>
                <a:gd name="connsiteX1242" fmla="*/ 6419502 w 9922465"/>
                <a:gd name="connsiteY1242" fmla="*/ 1329803 h 1934496"/>
                <a:gd name="connsiteX1243" fmla="*/ 6364310 w 9922465"/>
                <a:gd name="connsiteY1243" fmla="*/ 1274612 h 1934496"/>
                <a:gd name="connsiteX1244" fmla="*/ 6419502 w 9922465"/>
                <a:gd name="connsiteY1244" fmla="*/ 1219421 h 1934496"/>
                <a:gd name="connsiteX1245" fmla="*/ 6289207 w 9922465"/>
                <a:gd name="connsiteY1245" fmla="*/ 1219421 h 1934496"/>
                <a:gd name="connsiteX1246" fmla="*/ 6344399 w 9922465"/>
                <a:gd name="connsiteY1246" fmla="*/ 1274612 h 1934496"/>
                <a:gd name="connsiteX1247" fmla="*/ 6289207 w 9922465"/>
                <a:gd name="connsiteY1247" fmla="*/ 1329803 h 1934496"/>
                <a:gd name="connsiteX1248" fmla="*/ 6234015 w 9922465"/>
                <a:gd name="connsiteY1248" fmla="*/ 1274612 h 1934496"/>
                <a:gd name="connsiteX1249" fmla="*/ 6289207 w 9922465"/>
                <a:gd name="connsiteY1249" fmla="*/ 1219421 h 1934496"/>
                <a:gd name="connsiteX1250" fmla="*/ 6155573 w 9922465"/>
                <a:gd name="connsiteY1250" fmla="*/ 1219421 h 1934496"/>
                <a:gd name="connsiteX1251" fmla="*/ 6210765 w 9922465"/>
                <a:gd name="connsiteY1251" fmla="*/ 1274612 h 1934496"/>
                <a:gd name="connsiteX1252" fmla="*/ 6155573 w 9922465"/>
                <a:gd name="connsiteY1252" fmla="*/ 1329803 h 1934496"/>
                <a:gd name="connsiteX1253" fmla="*/ 6100381 w 9922465"/>
                <a:gd name="connsiteY1253" fmla="*/ 1274612 h 1934496"/>
                <a:gd name="connsiteX1254" fmla="*/ 6155573 w 9922465"/>
                <a:gd name="connsiteY1254" fmla="*/ 1219421 h 1934496"/>
                <a:gd name="connsiteX1255" fmla="*/ 6021939 w 9922465"/>
                <a:gd name="connsiteY1255" fmla="*/ 1219421 h 1934496"/>
                <a:gd name="connsiteX1256" fmla="*/ 6077131 w 9922465"/>
                <a:gd name="connsiteY1256" fmla="*/ 1274612 h 1934496"/>
                <a:gd name="connsiteX1257" fmla="*/ 6021939 w 9922465"/>
                <a:gd name="connsiteY1257" fmla="*/ 1329803 h 1934496"/>
                <a:gd name="connsiteX1258" fmla="*/ 5966747 w 9922465"/>
                <a:gd name="connsiteY1258" fmla="*/ 1274612 h 1934496"/>
                <a:gd name="connsiteX1259" fmla="*/ 6021939 w 9922465"/>
                <a:gd name="connsiteY1259" fmla="*/ 1219421 h 1934496"/>
                <a:gd name="connsiteX1260" fmla="*/ 5884964 w 9922465"/>
                <a:gd name="connsiteY1260" fmla="*/ 1219421 h 1934496"/>
                <a:gd name="connsiteX1261" fmla="*/ 5940156 w 9922465"/>
                <a:gd name="connsiteY1261" fmla="*/ 1274612 h 1934496"/>
                <a:gd name="connsiteX1262" fmla="*/ 5884964 w 9922465"/>
                <a:gd name="connsiteY1262" fmla="*/ 1329803 h 1934496"/>
                <a:gd name="connsiteX1263" fmla="*/ 5829772 w 9922465"/>
                <a:gd name="connsiteY1263" fmla="*/ 1274612 h 1934496"/>
                <a:gd name="connsiteX1264" fmla="*/ 5884964 w 9922465"/>
                <a:gd name="connsiteY1264" fmla="*/ 1219421 h 1934496"/>
                <a:gd name="connsiteX1265" fmla="*/ 5754668 w 9922465"/>
                <a:gd name="connsiteY1265" fmla="*/ 1219421 h 1934496"/>
                <a:gd name="connsiteX1266" fmla="*/ 5809860 w 9922465"/>
                <a:gd name="connsiteY1266" fmla="*/ 1274612 h 1934496"/>
                <a:gd name="connsiteX1267" fmla="*/ 5754668 w 9922465"/>
                <a:gd name="connsiteY1267" fmla="*/ 1329803 h 1934496"/>
                <a:gd name="connsiteX1268" fmla="*/ 5699476 w 9922465"/>
                <a:gd name="connsiteY1268" fmla="*/ 1274612 h 1934496"/>
                <a:gd name="connsiteX1269" fmla="*/ 5754668 w 9922465"/>
                <a:gd name="connsiteY1269" fmla="*/ 1219421 h 1934496"/>
                <a:gd name="connsiteX1270" fmla="*/ 5621034 w 9922465"/>
                <a:gd name="connsiteY1270" fmla="*/ 1219421 h 1934496"/>
                <a:gd name="connsiteX1271" fmla="*/ 5676226 w 9922465"/>
                <a:gd name="connsiteY1271" fmla="*/ 1274612 h 1934496"/>
                <a:gd name="connsiteX1272" fmla="*/ 5621034 w 9922465"/>
                <a:gd name="connsiteY1272" fmla="*/ 1329803 h 1934496"/>
                <a:gd name="connsiteX1273" fmla="*/ 5565842 w 9922465"/>
                <a:gd name="connsiteY1273" fmla="*/ 1274612 h 1934496"/>
                <a:gd name="connsiteX1274" fmla="*/ 5621034 w 9922465"/>
                <a:gd name="connsiteY1274" fmla="*/ 1219421 h 1934496"/>
                <a:gd name="connsiteX1275" fmla="*/ 5487399 w 9922465"/>
                <a:gd name="connsiteY1275" fmla="*/ 1219421 h 1934496"/>
                <a:gd name="connsiteX1276" fmla="*/ 5542591 w 9922465"/>
                <a:gd name="connsiteY1276" fmla="*/ 1274612 h 1934496"/>
                <a:gd name="connsiteX1277" fmla="*/ 5487399 w 9922465"/>
                <a:gd name="connsiteY1277" fmla="*/ 1329803 h 1934496"/>
                <a:gd name="connsiteX1278" fmla="*/ 5432207 w 9922465"/>
                <a:gd name="connsiteY1278" fmla="*/ 1274612 h 1934496"/>
                <a:gd name="connsiteX1279" fmla="*/ 5487399 w 9922465"/>
                <a:gd name="connsiteY1279" fmla="*/ 1219421 h 1934496"/>
                <a:gd name="connsiteX1280" fmla="*/ 5357106 w 9922465"/>
                <a:gd name="connsiteY1280" fmla="*/ 1219421 h 1934496"/>
                <a:gd name="connsiteX1281" fmla="*/ 5412298 w 9922465"/>
                <a:gd name="connsiteY1281" fmla="*/ 1274612 h 1934496"/>
                <a:gd name="connsiteX1282" fmla="*/ 5357106 w 9922465"/>
                <a:gd name="connsiteY1282" fmla="*/ 1329803 h 1934496"/>
                <a:gd name="connsiteX1283" fmla="*/ 5301914 w 9922465"/>
                <a:gd name="connsiteY1283" fmla="*/ 1274612 h 1934496"/>
                <a:gd name="connsiteX1284" fmla="*/ 5357106 w 9922465"/>
                <a:gd name="connsiteY1284" fmla="*/ 1219421 h 1934496"/>
                <a:gd name="connsiteX1285" fmla="*/ 5093178 w 9922465"/>
                <a:gd name="connsiteY1285" fmla="*/ 1219421 h 1934496"/>
                <a:gd name="connsiteX1286" fmla="*/ 5148370 w 9922465"/>
                <a:gd name="connsiteY1286" fmla="*/ 1274612 h 1934496"/>
                <a:gd name="connsiteX1287" fmla="*/ 5093178 w 9922465"/>
                <a:gd name="connsiteY1287" fmla="*/ 1329803 h 1934496"/>
                <a:gd name="connsiteX1288" fmla="*/ 5037986 w 9922465"/>
                <a:gd name="connsiteY1288" fmla="*/ 1274612 h 1934496"/>
                <a:gd name="connsiteX1289" fmla="*/ 5093178 w 9922465"/>
                <a:gd name="connsiteY1289" fmla="*/ 1219421 h 1934496"/>
                <a:gd name="connsiteX1290" fmla="*/ 4959542 w 9922465"/>
                <a:gd name="connsiteY1290" fmla="*/ 1219421 h 1934496"/>
                <a:gd name="connsiteX1291" fmla="*/ 5014734 w 9922465"/>
                <a:gd name="connsiteY1291" fmla="*/ 1274612 h 1934496"/>
                <a:gd name="connsiteX1292" fmla="*/ 4959542 w 9922465"/>
                <a:gd name="connsiteY1292" fmla="*/ 1329803 h 1934496"/>
                <a:gd name="connsiteX1293" fmla="*/ 4904350 w 9922465"/>
                <a:gd name="connsiteY1293" fmla="*/ 1274612 h 1934496"/>
                <a:gd name="connsiteX1294" fmla="*/ 4959542 w 9922465"/>
                <a:gd name="connsiteY1294" fmla="*/ 1219421 h 1934496"/>
                <a:gd name="connsiteX1295" fmla="*/ 4829250 w 9922465"/>
                <a:gd name="connsiteY1295" fmla="*/ 1219421 h 1934496"/>
                <a:gd name="connsiteX1296" fmla="*/ 4884442 w 9922465"/>
                <a:gd name="connsiteY1296" fmla="*/ 1274612 h 1934496"/>
                <a:gd name="connsiteX1297" fmla="*/ 4829250 w 9922465"/>
                <a:gd name="connsiteY1297" fmla="*/ 1329803 h 1934496"/>
                <a:gd name="connsiteX1298" fmla="*/ 4774058 w 9922465"/>
                <a:gd name="connsiteY1298" fmla="*/ 1274612 h 1934496"/>
                <a:gd name="connsiteX1299" fmla="*/ 4829250 w 9922465"/>
                <a:gd name="connsiteY1299" fmla="*/ 1219421 h 1934496"/>
                <a:gd name="connsiteX1300" fmla="*/ 319111 w 9922465"/>
                <a:gd name="connsiteY1300" fmla="*/ 1219421 h 1934496"/>
                <a:gd name="connsiteX1301" fmla="*/ 374305 w 9922465"/>
                <a:gd name="connsiteY1301" fmla="*/ 1274612 h 1934496"/>
                <a:gd name="connsiteX1302" fmla="*/ 319111 w 9922465"/>
                <a:gd name="connsiteY1302" fmla="*/ 1329803 h 1934496"/>
                <a:gd name="connsiteX1303" fmla="*/ 263920 w 9922465"/>
                <a:gd name="connsiteY1303" fmla="*/ 1274612 h 1934496"/>
                <a:gd name="connsiteX1304" fmla="*/ 319111 w 9922465"/>
                <a:gd name="connsiteY1304" fmla="*/ 1219421 h 1934496"/>
                <a:gd name="connsiteX1305" fmla="*/ 185480 w 9922465"/>
                <a:gd name="connsiteY1305" fmla="*/ 1219421 h 1934496"/>
                <a:gd name="connsiteX1306" fmla="*/ 240671 w 9922465"/>
                <a:gd name="connsiteY1306" fmla="*/ 1274612 h 1934496"/>
                <a:gd name="connsiteX1307" fmla="*/ 185480 w 9922465"/>
                <a:gd name="connsiteY1307" fmla="*/ 1329803 h 1934496"/>
                <a:gd name="connsiteX1308" fmla="*/ 130288 w 9922465"/>
                <a:gd name="connsiteY1308" fmla="*/ 1274612 h 1934496"/>
                <a:gd name="connsiteX1309" fmla="*/ 185480 w 9922465"/>
                <a:gd name="connsiteY1309" fmla="*/ 1219421 h 1934496"/>
                <a:gd name="connsiteX1310" fmla="*/ 449407 w 9922465"/>
                <a:gd name="connsiteY1310" fmla="*/ 1219419 h 1934496"/>
                <a:gd name="connsiteX1311" fmla="*/ 504600 w 9922465"/>
                <a:gd name="connsiteY1311" fmla="*/ 1274610 h 1934496"/>
                <a:gd name="connsiteX1312" fmla="*/ 449407 w 9922465"/>
                <a:gd name="connsiteY1312" fmla="*/ 1329801 h 1934496"/>
                <a:gd name="connsiteX1313" fmla="*/ 394214 w 9922465"/>
                <a:gd name="connsiteY1313" fmla="*/ 1274610 h 1934496"/>
                <a:gd name="connsiteX1314" fmla="*/ 449407 w 9922465"/>
                <a:gd name="connsiteY1314" fmla="*/ 1219419 h 1934496"/>
                <a:gd name="connsiteX1315" fmla="*/ 4565322 w 9922465"/>
                <a:gd name="connsiteY1315" fmla="*/ 1219417 h 1934496"/>
                <a:gd name="connsiteX1316" fmla="*/ 4620514 w 9922465"/>
                <a:gd name="connsiteY1316" fmla="*/ 1274608 h 1934496"/>
                <a:gd name="connsiteX1317" fmla="*/ 4565322 w 9922465"/>
                <a:gd name="connsiteY1317" fmla="*/ 1329799 h 1934496"/>
                <a:gd name="connsiteX1318" fmla="*/ 4510130 w 9922465"/>
                <a:gd name="connsiteY1318" fmla="*/ 1274608 h 1934496"/>
                <a:gd name="connsiteX1319" fmla="*/ 4565322 w 9922465"/>
                <a:gd name="connsiteY1319" fmla="*/ 1219417 h 1934496"/>
                <a:gd name="connsiteX1320" fmla="*/ 2834811 w 9922465"/>
                <a:gd name="connsiteY1320" fmla="*/ 1219417 h 1934496"/>
                <a:gd name="connsiteX1321" fmla="*/ 2890003 w 9922465"/>
                <a:gd name="connsiteY1321" fmla="*/ 1274608 h 1934496"/>
                <a:gd name="connsiteX1322" fmla="*/ 2834811 w 9922465"/>
                <a:gd name="connsiteY1322" fmla="*/ 1329799 h 1934496"/>
                <a:gd name="connsiteX1323" fmla="*/ 2779620 w 9922465"/>
                <a:gd name="connsiteY1323" fmla="*/ 1274608 h 1934496"/>
                <a:gd name="connsiteX1324" fmla="*/ 2834811 w 9922465"/>
                <a:gd name="connsiteY1324" fmla="*/ 1219417 h 1934496"/>
                <a:gd name="connsiteX1325" fmla="*/ 2707858 w 9922465"/>
                <a:gd name="connsiteY1325" fmla="*/ 1219417 h 1934496"/>
                <a:gd name="connsiteX1326" fmla="*/ 2763052 w 9922465"/>
                <a:gd name="connsiteY1326" fmla="*/ 1274608 h 1934496"/>
                <a:gd name="connsiteX1327" fmla="*/ 2707858 w 9922465"/>
                <a:gd name="connsiteY1327" fmla="*/ 1329799 h 1934496"/>
                <a:gd name="connsiteX1328" fmla="*/ 2652667 w 9922465"/>
                <a:gd name="connsiteY1328" fmla="*/ 1274608 h 1934496"/>
                <a:gd name="connsiteX1329" fmla="*/ 2707858 w 9922465"/>
                <a:gd name="connsiteY1329" fmla="*/ 1219417 h 1934496"/>
                <a:gd name="connsiteX1330" fmla="*/ 2570885 w 9922465"/>
                <a:gd name="connsiteY1330" fmla="*/ 1219417 h 1934496"/>
                <a:gd name="connsiteX1331" fmla="*/ 2626075 w 9922465"/>
                <a:gd name="connsiteY1331" fmla="*/ 1274608 h 1934496"/>
                <a:gd name="connsiteX1332" fmla="*/ 2570885 w 9922465"/>
                <a:gd name="connsiteY1332" fmla="*/ 1329799 h 1934496"/>
                <a:gd name="connsiteX1333" fmla="*/ 2515692 w 9922465"/>
                <a:gd name="connsiteY1333" fmla="*/ 1274608 h 1934496"/>
                <a:gd name="connsiteX1334" fmla="*/ 2570885 w 9922465"/>
                <a:gd name="connsiteY1334" fmla="*/ 1219417 h 1934496"/>
                <a:gd name="connsiteX1335" fmla="*/ 2039686 w 9922465"/>
                <a:gd name="connsiteY1335" fmla="*/ 1219417 h 1934496"/>
                <a:gd name="connsiteX1336" fmla="*/ 2094880 w 9922465"/>
                <a:gd name="connsiteY1336" fmla="*/ 1274608 h 1934496"/>
                <a:gd name="connsiteX1337" fmla="*/ 2039686 w 9922465"/>
                <a:gd name="connsiteY1337" fmla="*/ 1329799 h 1934496"/>
                <a:gd name="connsiteX1338" fmla="*/ 1984493 w 9922465"/>
                <a:gd name="connsiteY1338" fmla="*/ 1274608 h 1934496"/>
                <a:gd name="connsiteX1339" fmla="*/ 2039686 w 9922465"/>
                <a:gd name="connsiteY1339" fmla="*/ 1219417 h 1934496"/>
                <a:gd name="connsiteX1340" fmla="*/ 1909390 w 9922465"/>
                <a:gd name="connsiteY1340" fmla="*/ 1219417 h 1934496"/>
                <a:gd name="connsiteX1341" fmla="*/ 1964583 w 9922465"/>
                <a:gd name="connsiteY1341" fmla="*/ 1274608 h 1934496"/>
                <a:gd name="connsiteX1342" fmla="*/ 1909390 w 9922465"/>
                <a:gd name="connsiteY1342" fmla="*/ 1329799 h 1934496"/>
                <a:gd name="connsiteX1343" fmla="*/ 1854197 w 9922465"/>
                <a:gd name="connsiteY1343" fmla="*/ 1274608 h 1934496"/>
                <a:gd name="connsiteX1344" fmla="*/ 1909390 w 9922465"/>
                <a:gd name="connsiteY1344" fmla="*/ 1219417 h 1934496"/>
                <a:gd name="connsiteX1345" fmla="*/ 1779095 w 9922465"/>
                <a:gd name="connsiteY1345" fmla="*/ 1219417 h 1934496"/>
                <a:gd name="connsiteX1346" fmla="*/ 1834287 w 9922465"/>
                <a:gd name="connsiteY1346" fmla="*/ 1274608 h 1934496"/>
                <a:gd name="connsiteX1347" fmla="*/ 1779095 w 9922465"/>
                <a:gd name="connsiteY1347" fmla="*/ 1329799 h 1934496"/>
                <a:gd name="connsiteX1348" fmla="*/ 1723902 w 9922465"/>
                <a:gd name="connsiteY1348" fmla="*/ 1274608 h 1934496"/>
                <a:gd name="connsiteX1349" fmla="*/ 1779095 w 9922465"/>
                <a:gd name="connsiteY1349" fmla="*/ 1219417 h 1934496"/>
                <a:gd name="connsiteX1350" fmla="*/ 1645457 w 9922465"/>
                <a:gd name="connsiteY1350" fmla="*/ 1219417 h 1934496"/>
                <a:gd name="connsiteX1351" fmla="*/ 1700655 w 9922465"/>
                <a:gd name="connsiteY1351" fmla="*/ 1274608 h 1934496"/>
                <a:gd name="connsiteX1352" fmla="*/ 1645457 w 9922465"/>
                <a:gd name="connsiteY1352" fmla="*/ 1329799 h 1934496"/>
                <a:gd name="connsiteX1353" fmla="*/ 1590265 w 9922465"/>
                <a:gd name="connsiteY1353" fmla="*/ 1274608 h 1934496"/>
                <a:gd name="connsiteX1354" fmla="*/ 1645457 w 9922465"/>
                <a:gd name="connsiteY1354" fmla="*/ 1219417 h 1934496"/>
                <a:gd name="connsiteX1355" fmla="*/ 1515168 w 9922465"/>
                <a:gd name="connsiteY1355" fmla="*/ 1219417 h 1934496"/>
                <a:gd name="connsiteX1356" fmla="*/ 1570354 w 9922465"/>
                <a:gd name="connsiteY1356" fmla="*/ 1274608 h 1934496"/>
                <a:gd name="connsiteX1357" fmla="*/ 1515168 w 9922465"/>
                <a:gd name="connsiteY1357" fmla="*/ 1329799 h 1934496"/>
                <a:gd name="connsiteX1358" fmla="*/ 1459973 w 9922465"/>
                <a:gd name="connsiteY1358" fmla="*/ 1274608 h 1934496"/>
                <a:gd name="connsiteX1359" fmla="*/ 1515168 w 9922465"/>
                <a:gd name="connsiteY1359" fmla="*/ 1219417 h 1934496"/>
                <a:gd name="connsiteX1360" fmla="*/ 1381528 w 9922465"/>
                <a:gd name="connsiteY1360" fmla="*/ 1219417 h 1934496"/>
                <a:gd name="connsiteX1361" fmla="*/ 1436723 w 9922465"/>
                <a:gd name="connsiteY1361" fmla="*/ 1274608 h 1934496"/>
                <a:gd name="connsiteX1362" fmla="*/ 1381528 w 9922465"/>
                <a:gd name="connsiteY1362" fmla="*/ 1329799 h 1934496"/>
                <a:gd name="connsiteX1363" fmla="*/ 1326339 w 9922465"/>
                <a:gd name="connsiteY1363" fmla="*/ 1274608 h 1934496"/>
                <a:gd name="connsiteX1364" fmla="*/ 1381528 w 9922465"/>
                <a:gd name="connsiteY1364" fmla="*/ 1219417 h 1934496"/>
                <a:gd name="connsiteX1365" fmla="*/ 1251239 w 9922465"/>
                <a:gd name="connsiteY1365" fmla="*/ 1219417 h 1934496"/>
                <a:gd name="connsiteX1366" fmla="*/ 1306431 w 9922465"/>
                <a:gd name="connsiteY1366" fmla="*/ 1274608 h 1934496"/>
                <a:gd name="connsiteX1367" fmla="*/ 1251239 w 9922465"/>
                <a:gd name="connsiteY1367" fmla="*/ 1329799 h 1934496"/>
                <a:gd name="connsiteX1368" fmla="*/ 1196046 w 9922465"/>
                <a:gd name="connsiteY1368" fmla="*/ 1274608 h 1934496"/>
                <a:gd name="connsiteX1369" fmla="*/ 1251239 w 9922465"/>
                <a:gd name="connsiteY1369" fmla="*/ 1219417 h 1934496"/>
                <a:gd name="connsiteX1370" fmla="*/ 1117601 w 9922465"/>
                <a:gd name="connsiteY1370" fmla="*/ 1219417 h 1934496"/>
                <a:gd name="connsiteX1371" fmla="*/ 1172794 w 9922465"/>
                <a:gd name="connsiteY1371" fmla="*/ 1274608 h 1934496"/>
                <a:gd name="connsiteX1372" fmla="*/ 1117601 w 9922465"/>
                <a:gd name="connsiteY1372" fmla="*/ 1329799 h 1934496"/>
                <a:gd name="connsiteX1373" fmla="*/ 1062408 w 9922465"/>
                <a:gd name="connsiteY1373" fmla="*/ 1274608 h 1934496"/>
                <a:gd name="connsiteX1374" fmla="*/ 1117601 w 9922465"/>
                <a:gd name="connsiteY1374" fmla="*/ 1219417 h 1934496"/>
                <a:gd name="connsiteX1375" fmla="*/ 980622 w 9922465"/>
                <a:gd name="connsiteY1375" fmla="*/ 1219417 h 1934496"/>
                <a:gd name="connsiteX1376" fmla="*/ 1035816 w 9922465"/>
                <a:gd name="connsiteY1376" fmla="*/ 1274608 h 1934496"/>
                <a:gd name="connsiteX1377" fmla="*/ 980622 w 9922465"/>
                <a:gd name="connsiteY1377" fmla="*/ 1329799 h 1934496"/>
                <a:gd name="connsiteX1378" fmla="*/ 925429 w 9922465"/>
                <a:gd name="connsiteY1378" fmla="*/ 1274608 h 1934496"/>
                <a:gd name="connsiteX1379" fmla="*/ 980622 w 9922465"/>
                <a:gd name="connsiteY1379" fmla="*/ 1219417 h 1934496"/>
                <a:gd name="connsiteX1380" fmla="*/ 9469710 w 9922465"/>
                <a:gd name="connsiteY1380" fmla="*/ 1099147 h 1934496"/>
                <a:gd name="connsiteX1381" fmla="*/ 9524902 w 9922465"/>
                <a:gd name="connsiteY1381" fmla="*/ 1154338 h 1934496"/>
                <a:gd name="connsiteX1382" fmla="*/ 9469710 w 9922465"/>
                <a:gd name="connsiteY1382" fmla="*/ 1209529 h 1934496"/>
                <a:gd name="connsiteX1383" fmla="*/ 9414518 w 9922465"/>
                <a:gd name="connsiteY1383" fmla="*/ 1154338 h 1934496"/>
                <a:gd name="connsiteX1384" fmla="*/ 9469710 w 9922465"/>
                <a:gd name="connsiteY1384" fmla="*/ 1099147 h 1934496"/>
                <a:gd name="connsiteX1385" fmla="*/ 9336075 w 9922465"/>
                <a:gd name="connsiteY1385" fmla="*/ 1099147 h 1934496"/>
                <a:gd name="connsiteX1386" fmla="*/ 9391267 w 9922465"/>
                <a:gd name="connsiteY1386" fmla="*/ 1154338 h 1934496"/>
                <a:gd name="connsiteX1387" fmla="*/ 9336075 w 9922465"/>
                <a:gd name="connsiteY1387" fmla="*/ 1209529 h 1934496"/>
                <a:gd name="connsiteX1388" fmla="*/ 9280883 w 9922465"/>
                <a:gd name="connsiteY1388" fmla="*/ 1154338 h 1934496"/>
                <a:gd name="connsiteX1389" fmla="*/ 9336075 w 9922465"/>
                <a:gd name="connsiteY1389" fmla="*/ 1099147 h 1934496"/>
                <a:gd name="connsiteX1390" fmla="*/ 9199100 w 9922465"/>
                <a:gd name="connsiteY1390" fmla="*/ 1099147 h 1934496"/>
                <a:gd name="connsiteX1391" fmla="*/ 9254292 w 9922465"/>
                <a:gd name="connsiteY1391" fmla="*/ 1154338 h 1934496"/>
                <a:gd name="connsiteX1392" fmla="*/ 9199100 w 9922465"/>
                <a:gd name="connsiteY1392" fmla="*/ 1209529 h 1934496"/>
                <a:gd name="connsiteX1393" fmla="*/ 9143908 w 9922465"/>
                <a:gd name="connsiteY1393" fmla="*/ 1154338 h 1934496"/>
                <a:gd name="connsiteX1394" fmla="*/ 9199100 w 9922465"/>
                <a:gd name="connsiteY1394" fmla="*/ 1099147 h 1934496"/>
                <a:gd name="connsiteX1395" fmla="*/ 9068805 w 9922465"/>
                <a:gd name="connsiteY1395" fmla="*/ 1099147 h 1934496"/>
                <a:gd name="connsiteX1396" fmla="*/ 9123997 w 9922465"/>
                <a:gd name="connsiteY1396" fmla="*/ 1154338 h 1934496"/>
                <a:gd name="connsiteX1397" fmla="*/ 9068805 w 9922465"/>
                <a:gd name="connsiteY1397" fmla="*/ 1209529 h 1934496"/>
                <a:gd name="connsiteX1398" fmla="*/ 9013613 w 9922465"/>
                <a:gd name="connsiteY1398" fmla="*/ 1154338 h 1934496"/>
                <a:gd name="connsiteX1399" fmla="*/ 9068805 w 9922465"/>
                <a:gd name="connsiteY1399" fmla="*/ 1099147 h 1934496"/>
                <a:gd name="connsiteX1400" fmla="*/ 8935170 w 9922465"/>
                <a:gd name="connsiteY1400" fmla="*/ 1099147 h 1934496"/>
                <a:gd name="connsiteX1401" fmla="*/ 8990362 w 9922465"/>
                <a:gd name="connsiteY1401" fmla="*/ 1154338 h 1934496"/>
                <a:gd name="connsiteX1402" fmla="*/ 8935170 w 9922465"/>
                <a:gd name="connsiteY1402" fmla="*/ 1209529 h 1934496"/>
                <a:gd name="connsiteX1403" fmla="*/ 8879978 w 9922465"/>
                <a:gd name="connsiteY1403" fmla="*/ 1154338 h 1934496"/>
                <a:gd name="connsiteX1404" fmla="*/ 8935170 w 9922465"/>
                <a:gd name="connsiteY1404" fmla="*/ 1099147 h 1934496"/>
                <a:gd name="connsiteX1405" fmla="*/ 8801536 w 9922465"/>
                <a:gd name="connsiteY1405" fmla="*/ 1099147 h 1934496"/>
                <a:gd name="connsiteX1406" fmla="*/ 8856728 w 9922465"/>
                <a:gd name="connsiteY1406" fmla="*/ 1154338 h 1934496"/>
                <a:gd name="connsiteX1407" fmla="*/ 8801536 w 9922465"/>
                <a:gd name="connsiteY1407" fmla="*/ 1209529 h 1934496"/>
                <a:gd name="connsiteX1408" fmla="*/ 8746344 w 9922465"/>
                <a:gd name="connsiteY1408" fmla="*/ 1154338 h 1934496"/>
                <a:gd name="connsiteX1409" fmla="*/ 8801536 w 9922465"/>
                <a:gd name="connsiteY1409" fmla="*/ 1099147 h 1934496"/>
                <a:gd name="connsiteX1410" fmla="*/ 8671243 w 9922465"/>
                <a:gd name="connsiteY1410" fmla="*/ 1099147 h 1934496"/>
                <a:gd name="connsiteX1411" fmla="*/ 8726435 w 9922465"/>
                <a:gd name="connsiteY1411" fmla="*/ 1154338 h 1934496"/>
                <a:gd name="connsiteX1412" fmla="*/ 8671243 w 9922465"/>
                <a:gd name="connsiteY1412" fmla="*/ 1209529 h 1934496"/>
                <a:gd name="connsiteX1413" fmla="*/ 8616051 w 9922465"/>
                <a:gd name="connsiteY1413" fmla="*/ 1154338 h 1934496"/>
                <a:gd name="connsiteX1414" fmla="*/ 8671243 w 9922465"/>
                <a:gd name="connsiteY1414" fmla="*/ 1099147 h 1934496"/>
                <a:gd name="connsiteX1415" fmla="*/ 8537609 w 9922465"/>
                <a:gd name="connsiteY1415" fmla="*/ 1099147 h 1934496"/>
                <a:gd name="connsiteX1416" fmla="*/ 8592801 w 9922465"/>
                <a:gd name="connsiteY1416" fmla="*/ 1154338 h 1934496"/>
                <a:gd name="connsiteX1417" fmla="*/ 8537609 w 9922465"/>
                <a:gd name="connsiteY1417" fmla="*/ 1209529 h 1934496"/>
                <a:gd name="connsiteX1418" fmla="*/ 8482417 w 9922465"/>
                <a:gd name="connsiteY1418" fmla="*/ 1154338 h 1934496"/>
                <a:gd name="connsiteX1419" fmla="*/ 8537609 w 9922465"/>
                <a:gd name="connsiteY1419" fmla="*/ 1099147 h 1934496"/>
                <a:gd name="connsiteX1420" fmla="*/ 8407315 w 9922465"/>
                <a:gd name="connsiteY1420" fmla="*/ 1099147 h 1934496"/>
                <a:gd name="connsiteX1421" fmla="*/ 8462507 w 9922465"/>
                <a:gd name="connsiteY1421" fmla="*/ 1154338 h 1934496"/>
                <a:gd name="connsiteX1422" fmla="*/ 8407315 w 9922465"/>
                <a:gd name="connsiteY1422" fmla="*/ 1209529 h 1934496"/>
                <a:gd name="connsiteX1423" fmla="*/ 8352123 w 9922465"/>
                <a:gd name="connsiteY1423" fmla="*/ 1154338 h 1934496"/>
                <a:gd name="connsiteX1424" fmla="*/ 8407315 w 9922465"/>
                <a:gd name="connsiteY1424" fmla="*/ 1099147 h 1934496"/>
                <a:gd name="connsiteX1425" fmla="*/ 8273681 w 9922465"/>
                <a:gd name="connsiteY1425" fmla="*/ 1099147 h 1934496"/>
                <a:gd name="connsiteX1426" fmla="*/ 8328873 w 9922465"/>
                <a:gd name="connsiteY1426" fmla="*/ 1154338 h 1934496"/>
                <a:gd name="connsiteX1427" fmla="*/ 8273681 w 9922465"/>
                <a:gd name="connsiteY1427" fmla="*/ 1209529 h 1934496"/>
                <a:gd name="connsiteX1428" fmla="*/ 8218489 w 9922465"/>
                <a:gd name="connsiteY1428" fmla="*/ 1154338 h 1934496"/>
                <a:gd name="connsiteX1429" fmla="*/ 8273681 w 9922465"/>
                <a:gd name="connsiteY1429" fmla="*/ 1099147 h 1934496"/>
                <a:gd name="connsiteX1430" fmla="*/ 8143386 w 9922465"/>
                <a:gd name="connsiteY1430" fmla="*/ 1099147 h 1934496"/>
                <a:gd name="connsiteX1431" fmla="*/ 8198578 w 9922465"/>
                <a:gd name="connsiteY1431" fmla="*/ 1154338 h 1934496"/>
                <a:gd name="connsiteX1432" fmla="*/ 8143386 w 9922465"/>
                <a:gd name="connsiteY1432" fmla="*/ 1209529 h 1934496"/>
                <a:gd name="connsiteX1433" fmla="*/ 8088194 w 9922465"/>
                <a:gd name="connsiteY1433" fmla="*/ 1154338 h 1934496"/>
                <a:gd name="connsiteX1434" fmla="*/ 8143386 w 9922465"/>
                <a:gd name="connsiteY1434" fmla="*/ 1099147 h 1934496"/>
                <a:gd name="connsiteX1435" fmla="*/ 8009752 w 9922465"/>
                <a:gd name="connsiteY1435" fmla="*/ 1099147 h 1934496"/>
                <a:gd name="connsiteX1436" fmla="*/ 8064944 w 9922465"/>
                <a:gd name="connsiteY1436" fmla="*/ 1154338 h 1934496"/>
                <a:gd name="connsiteX1437" fmla="*/ 8009752 w 9922465"/>
                <a:gd name="connsiteY1437" fmla="*/ 1209529 h 1934496"/>
                <a:gd name="connsiteX1438" fmla="*/ 7954560 w 9922465"/>
                <a:gd name="connsiteY1438" fmla="*/ 1154338 h 1934496"/>
                <a:gd name="connsiteX1439" fmla="*/ 8009752 w 9922465"/>
                <a:gd name="connsiteY1439" fmla="*/ 1099147 h 1934496"/>
                <a:gd name="connsiteX1440" fmla="*/ 7876117 w 9922465"/>
                <a:gd name="connsiteY1440" fmla="*/ 1099147 h 1934496"/>
                <a:gd name="connsiteX1441" fmla="*/ 7931309 w 9922465"/>
                <a:gd name="connsiteY1441" fmla="*/ 1154338 h 1934496"/>
                <a:gd name="connsiteX1442" fmla="*/ 7876117 w 9922465"/>
                <a:gd name="connsiteY1442" fmla="*/ 1209529 h 1934496"/>
                <a:gd name="connsiteX1443" fmla="*/ 7820925 w 9922465"/>
                <a:gd name="connsiteY1443" fmla="*/ 1154338 h 1934496"/>
                <a:gd name="connsiteX1444" fmla="*/ 7876117 w 9922465"/>
                <a:gd name="connsiteY1444" fmla="*/ 1099147 h 1934496"/>
                <a:gd name="connsiteX1445" fmla="*/ 7745822 w 9922465"/>
                <a:gd name="connsiteY1445" fmla="*/ 1099147 h 1934496"/>
                <a:gd name="connsiteX1446" fmla="*/ 7801014 w 9922465"/>
                <a:gd name="connsiteY1446" fmla="*/ 1154338 h 1934496"/>
                <a:gd name="connsiteX1447" fmla="*/ 7745822 w 9922465"/>
                <a:gd name="connsiteY1447" fmla="*/ 1209529 h 1934496"/>
                <a:gd name="connsiteX1448" fmla="*/ 7690630 w 9922465"/>
                <a:gd name="connsiteY1448" fmla="*/ 1154338 h 1934496"/>
                <a:gd name="connsiteX1449" fmla="*/ 7745822 w 9922465"/>
                <a:gd name="connsiteY1449" fmla="*/ 1099147 h 1934496"/>
                <a:gd name="connsiteX1450" fmla="*/ 7608847 w 9922465"/>
                <a:gd name="connsiteY1450" fmla="*/ 1099147 h 1934496"/>
                <a:gd name="connsiteX1451" fmla="*/ 7664039 w 9922465"/>
                <a:gd name="connsiteY1451" fmla="*/ 1154338 h 1934496"/>
                <a:gd name="connsiteX1452" fmla="*/ 7608847 w 9922465"/>
                <a:gd name="connsiteY1452" fmla="*/ 1209529 h 1934496"/>
                <a:gd name="connsiteX1453" fmla="*/ 7553655 w 9922465"/>
                <a:gd name="connsiteY1453" fmla="*/ 1154338 h 1934496"/>
                <a:gd name="connsiteX1454" fmla="*/ 7608847 w 9922465"/>
                <a:gd name="connsiteY1454" fmla="*/ 1099147 h 1934496"/>
                <a:gd name="connsiteX1455" fmla="*/ 7481895 w 9922465"/>
                <a:gd name="connsiteY1455" fmla="*/ 1099147 h 1934496"/>
                <a:gd name="connsiteX1456" fmla="*/ 7537087 w 9922465"/>
                <a:gd name="connsiteY1456" fmla="*/ 1154338 h 1934496"/>
                <a:gd name="connsiteX1457" fmla="*/ 7481895 w 9922465"/>
                <a:gd name="connsiteY1457" fmla="*/ 1209529 h 1934496"/>
                <a:gd name="connsiteX1458" fmla="*/ 7426703 w 9922465"/>
                <a:gd name="connsiteY1458" fmla="*/ 1154338 h 1934496"/>
                <a:gd name="connsiteX1459" fmla="*/ 7481895 w 9922465"/>
                <a:gd name="connsiteY1459" fmla="*/ 1099147 h 1934496"/>
                <a:gd name="connsiteX1460" fmla="*/ 7341578 w 9922465"/>
                <a:gd name="connsiteY1460" fmla="*/ 1099147 h 1934496"/>
                <a:gd name="connsiteX1461" fmla="*/ 7396770 w 9922465"/>
                <a:gd name="connsiteY1461" fmla="*/ 1154338 h 1934496"/>
                <a:gd name="connsiteX1462" fmla="*/ 7341578 w 9922465"/>
                <a:gd name="connsiteY1462" fmla="*/ 1209529 h 1934496"/>
                <a:gd name="connsiteX1463" fmla="*/ 7286386 w 9922465"/>
                <a:gd name="connsiteY1463" fmla="*/ 1154338 h 1934496"/>
                <a:gd name="connsiteX1464" fmla="*/ 7341578 w 9922465"/>
                <a:gd name="connsiteY1464" fmla="*/ 1099147 h 1934496"/>
                <a:gd name="connsiteX1465" fmla="*/ 7211285 w 9922465"/>
                <a:gd name="connsiteY1465" fmla="*/ 1099147 h 1934496"/>
                <a:gd name="connsiteX1466" fmla="*/ 7266477 w 9922465"/>
                <a:gd name="connsiteY1466" fmla="*/ 1154338 h 1934496"/>
                <a:gd name="connsiteX1467" fmla="*/ 7211285 w 9922465"/>
                <a:gd name="connsiteY1467" fmla="*/ 1209529 h 1934496"/>
                <a:gd name="connsiteX1468" fmla="*/ 7156093 w 9922465"/>
                <a:gd name="connsiteY1468" fmla="*/ 1154338 h 1934496"/>
                <a:gd name="connsiteX1469" fmla="*/ 7211285 w 9922465"/>
                <a:gd name="connsiteY1469" fmla="*/ 1099147 h 1934496"/>
                <a:gd name="connsiteX1470" fmla="*/ 7080991 w 9922465"/>
                <a:gd name="connsiteY1470" fmla="*/ 1099147 h 1934496"/>
                <a:gd name="connsiteX1471" fmla="*/ 7136183 w 9922465"/>
                <a:gd name="connsiteY1471" fmla="*/ 1154338 h 1934496"/>
                <a:gd name="connsiteX1472" fmla="*/ 7080991 w 9922465"/>
                <a:gd name="connsiteY1472" fmla="*/ 1209529 h 1934496"/>
                <a:gd name="connsiteX1473" fmla="*/ 7025799 w 9922465"/>
                <a:gd name="connsiteY1473" fmla="*/ 1154338 h 1934496"/>
                <a:gd name="connsiteX1474" fmla="*/ 7080991 w 9922465"/>
                <a:gd name="connsiteY1474" fmla="*/ 1099147 h 1934496"/>
                <a:gd name="connsiteX1475" fmla="*/ 6947356 w 9922465"/>
                <a:gd name="connsiteY1475" fmla="*/ 1099147 h 1934496"/>
                <a:gd name="connsiteX1476" fmla="*/ 7002548 w 9922465"/>
                <a:gd name="connsiteY1476" fmla="*/ 1154338 h 1934496"/>
                <a:gd name="connsiteX1477" fmla="*/ 6947356 w 9922465"/>
                <a:gd name="connsiteY1477" fmla="*/ 1209529 h 1934496"/>
                <a:gd name="connsiteX1478" fmla="*/ 6892164 w 9922465"/>
                <a:gd name="connsiteY1478" fmla="*/ 1154338 h 1934496"/>
                <a:gd name="connsiteX1479" fmla="*/ 6947356 w 9922465"/>
                <a:gd name="connsiteY1479" fmla="*/ 1099147 h 1934496"/>
                <a:gd name="connsiteX1480" fmla="*/ 6817063 w 9922465"/>
                <a:gd name="connsiteY1480" fmla="*/ 1099147 h 1934496"/>
                <a:gd name="connsiteX1481" fmla="*/ 6872255 w 9922465"/>
                <a:gd name="connsiteY1481" fmla="*/ 1154338 h 1934496"/>
                <a:gd name="connsiteX1482" fmla="*/ 6817063 w 9922465"/>
                <a:gd name="connsiteY1482" fmla="*/ 1209529 h 1934496"/>
                <a:gd name="connsiteX1483" fmla="*/ 6761871 w 9922465"/>
                <a:gd name="connsiteY1483" fmla="*/ 1154338 h 1934496"/>
                <a:gd name="connsiteX1484" fmla="*/ 6817063 w 9922465"/>
                <a:gd name="connsiteY1484" fmla="*/ 1099147 h 1934496"/>
                <a:gd name="connsiteX1485" fmla="*/ 6683430 w 9922465"/>
                <a:gd name="connsiteY1485" fmla="*/ 1099147 h 1934496"/>
                <a:gd name="connsiteX1486" fmla="*/ 6738622 w 9922465"/>
                <a:gd name="connsiteY1486" fmla="*/ 1154338 h 1934496"/>
                <a:gd name="connsiteX1487" fmla="*/ 6683430 w 9922465"/>
                <a:gd name="connsiteY1487" fmla="*/ 1209529 h 1934496"/>
                <a:gd name="connsiteX1488" fmla="*/ 6628238 w 9922465"/>
                <a:gd name="connsiteY1488" fmla="*/ 1154338 h 1934496"/>
                <a:gd name="connsiteX1489" fmla="*/ 6683430 w 9922465"/>
                <a:gd name="connsiteY1489" fmla="*/ 1099147 h 1934496"/>
                <a:gd name="connsiteX1490" fmla="*/ 6553135 w 9922465"/>
                <a:gd name="connsiteY1490" fmla="*/ 1099147 h 1934496"/>
                <a:gd name="connsiteX1491" fmla="*/ 6608327 w 9922465"/>
                <a:gd name="connsiteY1491" fmla="*/ 1154338 h 1934496"/>
                <a:gd name="connsiteX1492" fmla="*/ 6553135 w 9922465"/>
                <a:gd name="connsiteY1492" fmla="*/ 1209529 h 1934496"/>
                <a:gd name="connsiteX1493" fmla="*/ 6497943 w 9922465"/>
                <a:gd name="connsiteY1493" fmla="*/ 1154338 h 1934496"/>
                <a:gd name="connsiteX1494" fmla="*/ 6553135 w 9922465"/>
                <a:gd name="connsiteY1494" fmla="*/ 1099147 h 1934496"/>
                <a:gd name="connsiteX1495" fmla="*/ 6419501 w 9922465"/>
                <a:gd name="connsiteY1495" fmla="*/ 1099147 h 1934496"/>
                <a:gd name="connsiteX1496" fmla="*/ 6474693 w 9922465"/>
                <a:gd name="connsiteY1496" fmla="*/ 1154338 h 1934496"/>
                <a:gd name="connsiteX1497" fmla="*/ 6419501 w 9922465"/>
                <a:gd name="connsiteY1497" fmla="*/ 1209529 h 1934496"/>
                <a:gd name="connsiteX1498" fmla="*/ 6364309 w 9922465"/>
                <a:gd name="connsiteY1498" fmla="*/ 1154338 h 1934496"/>
                <a:gd name="connsiteX1499" fmla="*/ 6419501 w 9922465"/>
                <a:gd name="connsiteY1499" fmla="*/ 1099147 h 1934496"/>
                <a:gd name="connsiteX1500" fmla="*/ 6289206 w 9922465"/>
                <a:gd name="connsiteY1500" fmla="*/ 1099147 h 1934496"/>
                <a:gd name="connsiteX1501" fmla="*/ 6344398 w 9922465"/>
                <a:gd name="connsiteY1501" fmla="*/ 1154338 h 1934496"/>
                <a:gd name="connsiteX1502" fmla="*/ 6289206 w 9922465"/>
                <a:gd name="connsiteY1502" fmla="*/ 1209529 h 1934496"/>
                <a:gd name="connsiteX1503" fmla="*/ 6234014 w 9922465"/>
                <a:gd name="connsiteY1503" fmla="*/ 1154338 h 1934496"/>
                <a:gd name="connsiteX1504" fmla="*/ 6289206 w 9922465"/>
                <a:gd name="connsiteY1504" fmla="*/ 1099147 h 1934496"/>
                <a:gd name="connsiteX1505" fmla="*/ 6155571 w 9922465"/>
                <a:gd name="connsiteY1505" fmla="*/ 1099147 h 1934496"/>
                <a:gd name="connsiteX1506" fmla="*/ 6210763 w 9922465"/>
                <a:gd name="connsiteY1506" fmla="*/ 1154338 h 1934496"/>
                <a:gd name="connsiteX1507" fmla="*/ 6155571 w 9922465"/>
                <a:gd name="connsiteY1507" fmla="*/ 1209529 h 1934496"/>
                <a:gd name="connsiteX1508" fmla="*/ 6100379 w 9922465"/>
                <a:gd name="connsiteY1508" fmla="*/ 1154338 h 1934496"/>
                <a:gd name="connsiteX1509" fmla="*/ 6155571 w 9922465"/>
                <a:gd name="connsiteY1509" fmla="*/ 1099147 h 1934496"/>
                <a:gd name="connsiteX1510" fmla="*/ 6021938 w 9922465"/>
                <a:gd name="connsiteY1510" fmla="*/ 1099147 h 1934496"/>
                <a:gd name="connsiteX1511" fmla="*/ 6077130 w 9922465"/>
                <a:gd name="connsiteY1511" fmla="*/ 1154338 h 1934496"/>
                <a:gd name="connsiteX1512" fmla="*/ 6021938 w 9922465"/>
                <a:gd name="connsiteY1512" fmla="*/ 1209529 h 1934496"/>
                <a:gd name="connsiteX1513" fmla="*/ 5966746 w 9922465"/>
                <a:gd name="connsiteY1513" fmla="*/ 1154338 h 1934496"/>
                <a:gd name="connsiteX1514" fmla="*/ 6021938 w 9922465"/>
                <a:gd name="connsiteY1514" fmla="*/ 1099147 h 1934496"/>
                <a:gd name="connsiteX1515" fmla="*/ 5884963 w 9922465"/>
                <a:gd name="connsiteY1515" fmla="*/ 1099147 h 1934496"/>
                <a:gd name="connsiteX1516" fmla="*/ 5940155 w 9922465"/>
                <a:gd name="connsiteY1516" fmla="*/ 1154338 h 1934496"/>
                <a:gd name="connsiteX1517" fmla="*/ 5884963 w 9922465"/>
                <a:gd name="connsiteY1517" fmla="*/ 1209529 h 1934496"/>
                <a:gd name="connsiteX1518" fmla="*/ 5829771 w 9922465"/>
                <a:gd name="connsiteY1518" fmla="*/ 1154338 h 1934496"/>
                <a:gd name="connsiteX1519" fmla="*/ 5884963 w 9922465"/>
                <a:gd name="connsiteY1519" fmla="*/ 1099147 h 1934496"/>
                <a:gd name="connsiteX1520" fmla="*/ 5754668 w 9922465"/>
                <a:gd name="connsiteY1520" fmla="*/ 1099147 h 1934496"/>
                <a:gd name="connsiteX1521" fmla="*/ 5809860 w 9922465"/>
                <a:gd name="connsiteY1521" fmla="*/ 1154338 h 1934496"/>
                <a:gd name="connsiteX1522" fmla="*/ 5754668 w 9922465"/>
                <a:gd name="connsiteY1522" fmla="*/ 1209529 h 1934496"/>
                <a:gd name="connsiteX1523" fmla="*/ 5699476 w 9922465"/>
                <a:gd name="connsiteY1523" fmla="*/ 1154338 h 1934496"/>
                <a:gd name="connsiteX1524" fmla="*/ 5754668 w 9922465"/>
                <a:gd name="connsiteY1524" fmla="*/ 1099147 h 1934496"/>
                <a:gd name="connsiteX1525" fmla="*/ 5621031 w 9922465"/>
                <a:gd name="connsiteY1525" fmla="*/ 1099147 h 1934496"/>
                <a:gd name="connsiteX1526" fmla="*/ 5676223 w 9922465"/>
                <a:gd name="connsiteY1526" fmla="*/ 1154338 h 1934496"/>
                <a:gd name="connsiteX1527" fmla="*/ 5621031 w 9922465"/>
                <a:gd name="connsiteY1527" fmla="*/ 1209529 h 1934496"/>
                <a:gd name="connsiteX1528" fmla="*/ 5565839 w 9922465"/>
                <a:gd name="connsiteY1528" fmla="*/ 1154338 h 1934496"/>
                <a:gd name="connsiteX1529" fmla="*/ 5621031 w 9922465"/>
                <a:gd name="connsiteY1529" fmla="*/ 1099147 h 1934496"/>
                <a:gd name="connsiteX1530" fmla="*/ 5487398 w 9922465"/>
                <a:gd name="connsiteY1530" fmla="*/ 1099147 h 1934496"/>
                <a:gd name="connsiteX1531" fmla="*/ 5542590 w 9922465"/>
                <a:gd name="connsiteY1531" fmla="*/ 1154338 h 1934496"/>
                <a:gd name="connsiteX1532" fmla="*/ 5487398 w 9922465"/>
                <a:gd name="connsiteY1532" fmla="*/ 1209529 h 1934496"/>
                <a:gd name="connsiteX1533" fmla="*/ 5432206 w 9922465"/>
                <a:gd name="connsiteY1533" fmla="*/ 1154338 h 1934496"/>
                <a:gd name="connsiteX1534" fmla="*/ 5487398 w 9922465"/>
                <a:gd name="connsiteY1534" fmla="*/ 1099147 h 1934496"/>
                <a:gd name="connsiteX1535" fmla="*/ 5357105 w 9922465"/>
                <a:gd name="connsiteY1535" fmla="*/ 1099147 h 1934496"/>
                <a:gd name="connsiteX1536" fmla="*/ 5412297 w 9922465"/>
                <a:gd name="connsiteY1536" fmla="*/ 1154338 h 1934496"/>
                <a:gd name="connsiteX1537" fmla="*/ 5357105 w 9922465"/>
                <a:gd name="connsiteY1537" fmla="*/ 1209529 h 1934496"/>
                <a:gd name="connsiteX1538" fmla="*/ 5301913 w 9922465"/>
                <a:gd name="connsiteY1538" fmla="*/ 1154338 h 1934496"/>
                <a:gd name="connsiteX1539" fmla="*/ 5357105 w 9922465"/>
                <a:gd name="connsiteY1539" fmla="*/ 1099147 h 1934496"/>
                <a:gd name="connsiteX1540" fmla="*/ 5093176 w 9922465"/>
                <a:gd name="connsiteY1540" fmla="*/ 1099147 h 1934496"/>
                <a:gd name="connsiteX1541" fmla="*/ 5148368 w 9922465"/>
                <a:gd name="connsiteY1541" fmla="*/ 1154338 h 1934496"/>
                <a:gd name="connsiteX1542" fmla="*/ 5093176 w 9922465"/>
                <a:gd name="connsiteY1542" fmla="*/ 1209529 h 1934496"/>
                <a:gd name="connsiteX1543" fmla="*/ 5037984 w 9922465"/>
                <a:gd name="connsiteY1543" fmla="*/ 1154338 h 1934496"/>
                <a:gd name="connsiteX1544" fmla="*/ 5093176 w 9922465"/>
                <a:gd name="connsiteY1544" fmla="*/ 1099147 h 1934496"/>
                <a:gd name="connsiteX1545" fmla="*/ 4959540 w 9922465"/>
                <a:gd name="connsiteY1545" fmla="*/ 1099147 h 1934496"/>
                <a:gd name="connsiteX1546" fmla="*/ 5014732 w 9922465"/>
                <a:gd name="connsiteY1546" fmla="*/ 1154338 h 1934496"/>
                <a:gd name="connsiteX1547" fmla="*/ 4959540 w 9922465"/>
                <a:gd name="connsiteY1547" fmla="*/ 1209529 h 1934496"/>
                <a:gd name="connsiteX1548" fmla="*/ 4904348 w 9922465"/>
                <a:gd name="connsiteY1548" fmla="*/ 1154338 h 1934496"/>
                <a:gd name="connsiteX1549" fmla="*/ 4959540 w 9922465"/>
                <a:gd name="connsiteY1549" fmla="*/ 1099147 h 1934496"/>
                <a:gd name="connsiteX1550" fmla="*/ 4829246 w 9922465"/>
                <a:gd name="connsiteY1550" fmla="*/ 1099147 h 1934496"/>
                <a:gd name="connsiteX1551" fmla="*/ 4884438 w 9922465"/>
                <a:gd name="connsiteY1551" fmla="*/ 1154338 h 1934496"/>
                <a:gd name="connsiteX1552" fmla="*/ 4829246 w 9922465"/>
                <a:gd name="connsiteY1552" fmla="*/ 1209529 h 1934496"/>
                <a:gd name="connsiteX1553" fmla="*/ 4774054 w 9922465"/>
                <a:gd name="connsiteY1553" fmla="*/ 1154338 h 1934496"/>
                <a:gd name="connsiteX1554" fmla="*/ 4829246 w 9922465"/>
                <a:gd name="connsiteY1554" fmla="*/ 1099147 h 1934496"/>
                <a:gd name="connsiteX1555" fmla="*/ 319117 w 9922465"/>
                <a:gd name="connsiteY1555" fmla="*/ 1099147 h 1934496"/>
                <a:gd name="connsiteX1556" fmla="*/ 374310 w 9922465"/>
                <a:gd name="connsiteY1556" fmla="*/ 1154338 h 1934496"/>
                <a:gd name="connsiteX1557" fmla="*/ 319117 w 9922465"/>
                <a:gd name="connsiteY1557" fmla="*/ 1209529 h 1934496"/>
                <a:gd name="connsiteX1558" fmla="*/ 263926 w 9922465"/>
                <a:gd name="connsiteY1558" fmla="*/ 1154338 h 1934496"/>
                <a:gd name="connsiteX1559" fmla="*/ 319117 w 9922465"/>
                <a:gd name="connsiteY1559" fmla="*/ 1099147 h 1934496"/>
                <a:gd name="connsiteX1560" fmla="*/ 185484 w 9922465"/>
                <a:gd name="connsiteY1560" fmla="*/ 1099147 h 1934496"/>
                <a:gd name="connsiteX1561" fmla="*/ 240675 w 9922465"/>
                <a:gd name="connsiteY1561" fmla="*/ 1154338 h 1934496"/>
                <a:gd name="connsiteX1562" fmla="*/ 185484 w 9922465"/>
                <a:gd name="connsiteY1562" fmla="*/ 1209529 h 1934496"/>
                <a:gd name="connsiteX1563" fmla="*/ 130292 w 9922465"/>
                <a:gd name="connsiteY1563" fmla="*/ 1154338 h 1934496"/>
                <a:gd name="connsiteX1564" fmla="*/ 185484 w 9922465"/>
                <a:gd name="connsiteY1564" fmla="*/ 1099147 h 1934496"/>
                <a:gd name="connsiteX1565" fmla="*/ 55190 w 9922465"/>
                <a:gd name="connsiteY1565" fmla="*/ 1099147 h 1934496"/>
                <a:gd name="connsiteX1566" fmla="*/ 110381 w 9922465"/>
                <a:gd name="connsiteY1566" fmla="*/ 1154338 h 1934496"/>
                <a:gd name="connsiteX1567" fmla="*/ 55190 w 9922465"/>
                <a:gd name="connsiteY1567" fmla="*/ 1209529 h 1934496"/>
                <a:gd name="connsiteX1568" fmla="*/ 0 w 9922465"/>
                <a:gd name="connsiteY1568" fmla="*/ 1154338 h 1934496"/>
                <a:gd name="connsiteX1569" fmla="*/ 55190 w 9922465"/>
                <a:gd name="connsiteY1569" fmla="*/ 1099147 h 1934496"/>
                <a:gd name="connsiteX1570" fmla="*/ 3499584 w 9922465"/>
                <a:gd name="connsiteY1570" fmla="*/ 1099146 h 1934496"/>
                <a:gd name="connsiteX1571" fmla="*/ 3554776 w 9922465"/>
                <a:gd name="connsiteY1571" fmla="*/ 1154337 h 1934496"/>
                <a:gd name="connsiteX1572" fmla="*/ 3499584 w 9922465"/>
                <a:gd name="connsiteY1572" fmla="*/ 1209528 h 1934496"/>
                <a:gd name="connsiteX1573" fmla="*/ 3444392 w 9922465"/>
                <a:gd name="connsiteY1573" fmla="*/ 1154337 h 1934496"/>
                <a:gd name="connsiteX1574" fmla="*/ 3499584 w 9922465"/>
                <a:gd name="connsiteY1574" fmla="*/ 1099146 h 1934496"/>
                <a:gd name="connsiteX1575" fmla="*/ 2570894 w 9922465"/>
                <a:gd name="connsiteY1575" fmla="*/ 1099146 h 1934496"/>
                <a:gd name="connsiteX1576" fmla="*/ 2626086 w 9922465"/>
                <a:gd name="connsiteY1576" fmla="*/ 1154337 h 1934496"/>
                <a:gd name="connsiteX1577" fmla="*/ 2570894 w 9922465"/>
                <a:gd name="connsiteY1577" fmla="*/ 1209528 h 1934496"/>
                <a:gd name="connsiteX1578" fmla="*/ 2515701 w 9922465"/>
                <a:gd name="connsiteY1578" fmla="*/ 1154337 h 1934496"/>
                <a:gd name="connsiteX1579" fmla="*/ 2570894 w 9922465"/>
                <a:gd name="connsiteY1579" fmla="*/ 1099146 h 1934496"/>
                <a:gd name="connsiteX1580" fmla="*/ 2039698 w 9922465"/>
                <a:gd name="connsiteY1580" fmla="*/ 1099146 h 1934496"/>
                <a:gd name="connsiteX1581" fmla="*/ 2094891 w 9922465"/>
                <a:gd name="connsiteY1581" fmla="*/ 1154337 h 1934496"/>
                <a:gd name="connsiteX1582" fmla="*/ 2039698 w 9922465"/>
                <a:gd name="connsiteY1582" fmla="*/ 1209528 h 1934496"/>
                <a:gd name="connsiteX1583" fmla="*/ 1984505 w 9922465"/>
                <a:gd name="connsiteY1583" fmla="*/ 1154337 h 1934496"/>
                <a:gd name="connsiteX1584" fmla="*/ 2039698 w 9922465"/>
                <a:gd name="connsiteY1584" fmla="*/ 1099146 h 1934496"/>
                <a:gd name="connsiteX1585" fmla="*/ 1909401 w 9922465"/>
                <a:gd name="connsiteY1585" fmla="*/ 1099146 h 1934496"/>
                <a:gd name="connsiteX1586" fmla="*/ 1964592 w 9922465"/>
                <a:gd name="connsiteY1586" fmla="*/ 1154337 h 1934496"/>
                <a:gd name="connsiteX1587" fmla="*/ 1909401 w 9922465"/>
                <a:gd name="connsiteY1587" fmla="*/ 1209528 h 1934496"/>
                <a:gd name="connsiteX1588" fmla="*/ 1854207 w 9922465"/>
                <a:gd name="connsiteY1588" fmla="*/ 1154337 h 1934496"/>
                <a:gd name="connsiteX1589" fmla="*/ 1909401 w 9922465"/>
                <a:gd name="connsiteY1589" fmla="*/ 1099146 h 1934496"/>
                <a:gd name="connsiteX1590" fmla="*/ 1779104 w 9922465"/>
                <a:gd name="connsiteY1590" fmla="*/ 1099146 h 1934496"/>
                <a:gd name="connsiteX1591" fmla="*/ 1834296 w 9922465"/>
                <a:gd name="connsiteY1591" fmla="*/ 1154337 h 1934496"/>
                <a:gd name="connsiteX1592" fmla="*/ 1779104 w 9922465"/>
                <a:gd name="connsiteY1592" fmla="*/ 1209528 h 1934496"/>
                <a:gd name="connsiteX1593" fmla="*/ 1723910 w 9922465"/>
                <a:gd name="connsiteY1593" fmla="*/ 1154337 h 1934496"/>
                <a:gd name="connsiteX1594" fmla="*/ 1779104 w 9922465"/>
                <a:gd name="connsiteY1594" fmla="*/ 1099146 h 1934496"/>
                <a:gd name="connsiteX1595" fmla="*/ 1645469 w 9922465"/>
                <a:gd name="connsiteY1595" fmla="*/ 1099146 h 1934496"/>
                <a:gd name="connsiteX1596" fmla="*/ 1700664 w 9922465"/>
                <a:gd name="connsiteY1596" fmla="*/ 1154337 h 1934496"/>
                <a:gd name="connsiteX1597" fmla="*/ 1645469 w 9922465"/>
                <a:gd name="connsiteY1597" fmla="*/ 1209528 h 1934496"/>
                <a:gd name="connsiteX1598" fmla="*/ 1590275 w 9922465"/>
                <a:gd name="connsiteY1598" fmla="*/ 1154337 h 1934496"/>
                <a:gd name="connsiteX1599" fmla="*/ 1645469 w 9922465"/>
                <a:gd name="connsiteY1599" fmla="*/ 1099146 h 1934496"/>
                <a:gd name="connsiteX1600" fmla="*/ 1515179 w 9922465"/>
                <a:gd name="connsiteY1600" fmla="*/ 1099146 h 1934496"/>
                <a:gd name="connsiteX1601" fmla="*/ 1570364 w 9922465"/>
                <a:gd name="connsiteY1601" fmla="*/ 1154337 h 1934496"/>
                <a:gd name="connsiteX1602" fmla="*/ 1515179 w 9922465"/>
                <a:gd name="connsiteY1602" fmla="*/ 1209528 h 1934496"/>
                <a:gd name="connsiteX1603" fmla="*/ 1459982 w 9922465"/>
                <a:gd name="connsiteY1603" fmla="*/ 1154337 h 1934496"/>
                <a:gd name="connsiteX1604" fmla="*/ 1515179 w 9922465"/>
                <a:gd name="connsiteY1604" fmla="*/ 1099146 h 1934496"/>
                <a:gd name="connsiteX1605" fmla="*/ 1381539 w 9922465"/>
                <a:gd name="connsiteY1605" fmla="*/ 1099146 h 1934496"/>
                <a:gd name="connsiteX1606" fmla="*/ 1436731 w 9922465"/>
                <a:gd name="connsiteY1606" fmla="*/ 1154337 h 1934496"/>
                <a:gd name="connsiteX1607" fmla="*/ 1381539 w 9922465"/>
                <a:gd name="connsiteY1607" fmla="*/ 1209528 h 1934496"/>
                <a:gd name="connsiteX1608" fmla="*/ 1326349 w 9922465"/>
                <a:gd name="connsiteY1608" fmla="*/ 1154337 h 1934496"/>
                <a:gd name="connsiteX1609" fmla="*/ 1381539 w 9922465"/>
                <a:gd name="connsiteY1609" fmla="*/ 1099146 h 1934496"/>
                <a:gd name="connsiteX1610" fmla="*/ 1251245 w 9922465"/>
                <a:gd name="connsiteY1610" fmla="*/ 1099146 h 1934496"/>
                <a:gd name="connsiteX1611" fmla="*/ 1306439 w 9922465"/>
                <a:gd name="connsiteY1611" fmla="*/ 1154337 h 1934496"/>
                <a:gd name="connsiteX1612" fmla="*/ 1251245 w 9922465"/>
                <a:gd name="connsiteY1612" fmla="*/ 1209528 h 1934496"/>
                <a:gd name="connsiteX1613" fmla="*/ 1196054 w 9922465"/>
                <a:gd name="connsiteY1613" fmla="*/ 1154337 h 1934496"/>
                <a:gd name="connsiteX1614" fmla="*/ 1251245 w 9922465"/>
                <a:gd name="connsiteY1614" fmla="*/ 1099146 h 1934496"/>
                <a:gd name="connsiteX1615" fmla="*/ 1117610 w 9922465"/>
                <a:gd name="connsiteY1615" fmla="*/ 1099146 h 1934496"/>
                <a:gd name="connsiteX1616" fmla="*/ 1172803 w 9922465"/>
                <a:gd name="connsiteY1616" fmla="*/ 1154337 h 1934496"/>
                <a:gd name="connsiteX1617" fmla="*/ 1117610 w 9922465"/>
                <a:gd name="connsiteY1617" fmla="*/ 1209528 h 1934496"/>
                <a:gd name="connsiteX1618" fmla="*/ 1062416 w 9922465"/>
                <a:gd name="connsiteY1618" fmla="*/ 1154337 h 1934496"/>
                <a:gd name="connsiteX1619" fmla="*/ 1117610 w 9922465"/>
                <a:gd name="connsiteY1619" fmla="*/ 1099146 h 1934496"/>
                <a:gd name="connsiteX1620" fmla="*/ 980631 w 9922465"/>
                <a:gd name="connsiteY1620" fmla="*/ 1099146 h 1934496"/>
                <a:gd name="connsiteX1621" fmla="*/ 1035825 w 9922465"/>
                <a:gd name="connsiteY1621" fmla="*/ 1154337 h 1934496"/>
                <a:gd name="connsiteX1622" fmla="*/ 980631 w 9922465"/>
                <a:gd name="connsiteY1622" fmla="*/ 1209528 h 1934496"/>
                <a:gd name="connsiteX1623" fmla="*/ 925438 w 9922465"/>
                <a:gd name="connsiteY1623" fmla="*/ 1154337 h 1934496"/>
                <a:gd name="connsiteX1624" fmla="*/ 980631 w 9922465"/>
                <a:gd name="connsiteY1624" fmla="*/ 1099146 h 1934496"/>
                <a:gd name="connsiteX1625" fmla="*/ 846993 w 9922465"/>
                <a:gd name="connsiteY1625" fmla="*/ 1099146 h 1934496"/>
                <a:gd name="connsiteX1626" fmla="*/ 902186 w 9922465"/>
                <a:gd name="connsiteY1626" fmla="*/ 1154337 h 1934496"/>
                <a:gd name="connsiteX1627" fmla="*/ 846993 w 9922465"/>
                <a:gd name="connsiteY1627" fmla="*/ 1209528 h 1934496"/>
                <a:gd name="connsiteX1628" fmla="*/ 791796 w 9922465"/>
                <a:gd name="connsiteY1628" fmla="*/ 1154337 h 1934496"/>
                <a:gd name="connsiteX1629" fmla="*/ 846993 w 9922465"/>
                <a:gd name="connsiteY1629" fmla="*/ 1099146 h 1934496"/>
                <a:gd name="connsiteX1630" fmla="*/ 716690 w 9922465"/>
                <a:gd name="connsiteY1630" fmla="*/ 1099146 h 1934496"/>
                <a:gd name="connsiteX1631" fmla="*/ 771886 w 9922465"/>
                <a:gd name="connsiteY1631" fmla="*/ 1154337 h 1934496"/>
                <a:gd name="connsiteX1632" fmla="*/ 716690 w 9922465"/>
                <a:gd name="connsiteY1632" fmla="*/ 1209528 h 1934496"/>
                <a:gd name="connsiteX1633" fmla="*/ 661502 w 9922465"/>
                <a:gd name="connsiteY1633" fmla="*/ 1154337 h 1934496"/>
                <a:gd name="connsiteX1634" fmla="*/ 716690 w 9922465"/>
                <a:gd name="connsiteY1634" fmla="*/ 1099146 h 1934496"/>
                <a:gd name="connsiteX1635" fmla="*/ 583057 w 9922465"/>
                <a:gd name="connsiteY1635" fmla="*/ 1099146 h 1934496"/>
                <a:gd name="connsiteX1636" fmla="*/ 638250 w 9922465"/>
                <a:gd name="connsiteY1636" fmla="*/ 1154337 h 1934496"/>
                <a:gd name="connsiteX1637" fmla="*/ 583057 w 9922465"/>
                <a:gd name="connsiteY1637" fmla="*/ 1209528 h 1934496"/>
                <a:gd name="connsiteX1638" fmla="*/ 527863 w 9922465"/>
                <a:gd name="connsiteY1638" fmla="*/ 1154337 h 1934496"/>
                <a:gd name="connsiteX1639" fmla="*/ 583057 w 9922465"/>
                <a:gd name="connsiteY1639" fmla="*/ 1099146 h 1934496"/>
                <a:gd name="connsiteX1640" fmla="*/ 449413 w 9922465"/>
                <a:gd name="connsiteY1640" fmla="*/ 1099146 h 1934496"/>
                <a:gd name="connsiteX1641" fmla="*/ 504606 w 9922465"/>
                <a:gd name="connsiteY1641" fmla="*/ 1154337 h 1934496"/>
                <a:gd name="connsiteX1642" fmla="*/ 449413 w 9922465"/>
                <a:gd name="connsiteY1642" fmla="*/ 1209528 h 1934496"/>
                <a:gd name="connsiteX1643" fmla="*/ 394220 w 9922465"/>
                <a:gd name="connsiteY1643" fmla="*/ 1154337 h 1934496"/>
                <a:gd name="connsiteX1644" fmla="*/ 449413 w 9922465"/>
                <a:gd name="connsiteY1644" fmla="*/ 1099146 h 1934496"/>
                <a:gd name="connsiteX1645" fmla="*/ 9603343 w 9922465"/>
                <a:gd name="connsiteY1645" fmla="*/ 975533 h 1934496"/>
                <a:gd name="connsiteX1646" fmla="*/ 9658535 w 9922465"/>
                <a:gd name="connsiteY1646" fmla="*/ 1030724 h 1934496"/>
                <a:gd name="connsiteX1647" fmla="*/ 9603343 w 9922465"/>
                <a:gd name="connsiteY1647" fmla="*/ 1085915 h 1934496"/>
                <a:gd name="connsiteX1648" fmla="*/ 9548151 w 9922465"/>
                <a:gd name="connsiteY1648" fmla="*/ 1030724 h 1934496"/>
                <a:gd name="connsiteX1649" fmla="*/ 9603343 w 9922465"/>
                <a:gd name="connsiteY1649" fmla="*/ 975533 h 1934496"/>
                <a:gd name="connsiteX1650" fmla="*/ 9469708 w 9922465"/>
                <a:gd name="connsiteY1650" fmla="*/ 975533 h 1934496"/>
                <a:gd name="connsiteX1651" fmla="*/ 9524900 w 9922465"/>
                <a:gd name="connsiteY1651" fmla="*/ 1030724 h 1934496"/>
                <a:gd name="connsiteX1652" fmla="*/ 9469708 w 9922465"/>
                <a:gd name="connsiteY1652" fmla="*/ 1085915 h 1934496"/>
                <a:gd name="connsiteX1653" fmla="*/ 9414516 w 9922465"/>
                <a:gd name="connsiteY1653" fmla="*/ 1030724 h 1934496"/>
                <a:gd name="connsiteX1654" fmla="*/ 9469708 w 9922465"/>
                <a:gd name="connsiteY1654" fmla="*/ 975533 h 1934496"/>
                <a:gd name="connsiteX1655" fmla="*/ 8935170 w 9922465"/>
                <a:gd name="connsiteY1655" fmla="*/ 975533 h 1934496"/>
                <a:gd name="connsiteX1656" fmla="*/ 8990362 w 9922465"/>
                <a:gd name="connsiteY1656" fmla="*/ 1030724 h 1934496"/>
                <a:gd name="connsiteX1657" fmla="*/ 8935170 w 9922465"/>
                <a:gd name="connsiteY1657" fmla="*/ 1085915 h 1934496"/>
                <a:gd name="connsiteX1658" fmla="*/ 8879978 w 9922465"/>
                <a:gd name="connsiteY1658" fmla="*/ 1030724 h 1934496"/>
                <a:gd name="connsiteX1659" fmla="*/ 8935170 w 9922465"/>
                <a:gd name="connsiteY1659" fmla="*/ 975533 h 1934496"/>
                <a:gd name="connsiteX1660" fmla="*/ 8407315 w 9922465"/>
                <a:gd name="connsiteY1660" fmla="*/ 975533 h 1934496"/>
                <a:gd name="connsiteX1661" fmla="*/ 8462507 w 9922465"/>
                <a:gd name="connsiteY1661" fmla="*/ 1030724 h 1934496"/>
                <a:gd name="connsiteX1662" fmla="*/ 8407315 w 9922465"/>
                <a:gd name="connsiteY1662" fmla="*/ 1085915 h 1934496"/>
                <a:gd name="connsiteX1663" fmla="*/ 8352123 w 9922465"/>
                <a:gd name="connsiteY1663" fmla="*/ 1030724 h 1934496"/>
                <a:gd name="connsiteX1664" fmla="*/ 8407315 w 9922465"/>
                <a:gd name="connsiteY1664" fmla="*/ 975533 h 1934496"/>
                <a:gd name="connsiteX1665" fmla="*/ 7876116 w 9922465"/>
                <a:gd name="connsiteY1665" fmla="*/ 975533 h 1934496"/>
                <a:gd name="connsiteX1666" fmla="*/ 7931308 w 9922465"/>
                <a:gd name="connsiteY1666" fmla="*/ 1030724 h 1934496"/>
                <a:gd name="connsiteX1667" fmla="*/ 7876116 w 9922465"/>
                <a:gd name="connsiteY1667" fmla="*/ 1085915 h 1934496"/>
                <a:gd name="connsiteX1668" fmla="*/ 7820924 w 9922465"/>
                <a:gd name="connsiteY1668" fmla="*/ 1030724 h 1934496"/>
                <a:gd name="connsiteX1669" fmla="*/ 7876116 w 9922465"/>
                <a:gd name="connsiteY1669" fmla="*/ 975533 h 1934496"/>
                <a:gd name="connsiteX1670" fmla="*/ 7745822 w 9922465"/>
                <a:gd name="connsiteY1670" fmla="*/ 975533 h 1934496"/>
                <a:gd name="connsiteX1671" fmla="*/ 7801014 w 9922465"/>
                <a:gd name="connsiteY1671" fmla="*/ 1030724 h 1934496"/>
                <a:gd name="connsiteX1672" fmla="*/ 7745822 w 9922465"/>
                <a:gd name="connsiteY1672" fmla="*/ 1085915 h 1934496"/>
                <a:gd name="connsiteX1673" fmla="*/ 7690630 w 9922465"/>
                <a:gd name="connsiteY1673" fmla="*/ 1030724 h 1934496"/>
                <a:gd name="connsiteX1674" fmla="*/ 7745822 w 9922465"/>
                <a:gd name="connsiteY1674" fmla="*/ 975533 h 1934496"/>
                <a:gd name="connsiteX1675" fmla="*/ 7481894 w 9922465"/>
                <a:gd name="connsiteY1675" fmla="*/ 975533 h 1934496"/>
                <a:gd name="connsiteX1676" fmla="*/ 7537086 w 9922465"/>
                <a:gd name="connsiteY1676" fmla="*/ 1030724 h 1934496"/>
                <a:gd name="connsiteX1677" fmla="*/ 7481894 w 9922465"/>
                <a:gd name="connsiteY1677" fmla="*/ 1085915 h 1934496"/>
                <a:gd name="connsiteX1678" fmla="*/ 7426702 w 9922465"/>
                <a:gd name="connsiteY1678" fmla="*/ 1030724 h 1934496"/>
                <a:gd name="connsiteX1679" fmla="*/ 7481894 w 9922465"/>
                <a:gd name="connsiteY1679" fmla="*/ 975533 h 1934496"/>
                <a:gd name="connsiteX1680" fmla="*/ 7341578 w 9922465"/>
                <a:gd name="connsiteY1680" fmla="*/ 975533 h 1934496"/>
                <a:gd name="connsiteX1681" fmla="*/ 7396770 w 9922465"/>
                <a:gd name="connsiteY1681" fmla="*/ 1030724 h 1934496"/>
                <a:gd name="connsiteX1682" fmla="*/ 7341578 w 9922465"/>
                <a:gd name="connsiteY1682" fmla="*/ 1085915 h 1934496"/>
                <a:gd name="connsiteX1683" fmla="*/ 7286386 w 9922465"/>
                <a:gd name="connsiteY1683" fmla="*/ 1030724 h 1934496"/>
                <a:gd name="connsiteX1684" fmla="*/ 7341578 w 9922465"/>
                <a:gd name="connsiteY1684" fmla="*/ 975533 h 1934496"/>
                <a:gd name="connsiteX1685" fmla="*/ 7211285 w 9922465"/>
                <a:gd name="connsiteY1685" fmla="*/ 975533 h 1934496"/>
                <a:gd name="connsiteX1686" fmla="*/ 7266477 w 9922465"/>
                <a:gd name="connsiteY1686" fmla="*/ 1030724 h 1934496"/>
                <a:gd name="connsiteX1687" fmla="*/ 7211285 w 9922465"/>
                <a:gd name="connsiteY1687" fmla="*/ 1085915 h 1934496"/>
                <a:gd name="connsiteX1688" fmla="*/ 7156093 w 9922465"/>
                <a:gd name="connsiteY1688" fmla="*/ 1030724 h 1934496"/>
                <a:gd name="connsiteX1689" fmla="*/ 7211285 w 9922465"/>
                <a:gd name="connsiteY1689" fmla="*/ 975533 h 1934496"/>
                <a:gd name="connsiteX1690" fmla="*/ 6947356 w 9922465"/>
                <a:gd name="connsiteY1690" fmla="*/ 975533 h 1934496"/>
                <a:gd name="connsiteX1691" fmla="*/ 7002548 w 9922465"/>
                <a:gd name="connsiteY1691" fmla="*/ 1030724 h 1934496"/>
                <a:gd name="connsiteX1692" fmla="*/ 6947356 w 9922465"/>
                <a:gd name="connsiteY1692" fmla="*/ 1085915 h 1934496"/>
                <a:gd name="connsiteX1693" fmla="*/ 6892164 w 9922465"/>
                <a:gd name="connsiteY1693" fmla="*/ 1030724 h 1934496"/>
                <a:gd name="connsiteX1694" fmla="*/ 6947356 w 9922465"/>
                <a:gd name="connsiteY1694" fmla="*/ 975533 h 1934496"/>
                <a:gd name="connsiteX1695" fmla="*/ 6817063 w 9922465"/>
                <a:gd name="connsiteY1695" fmla="*/ 975533 h 1934496"/>
                <a:gd name="connsiteX1696" fmla="*/ 6872255 w 9922465"/>
                <a:gd name="connsiteY1696" fmla="*/ 1030724 h 1934496"/>
                <a:gd name="connsiteX1697" fmla="*/ 6817063 w 9922465"/>
                <a:gd name="connsiteY1697" fmla="*/ 1085915 h 1934496"/>
                <a:gd name="connsiteX1698" fmla="*/ 6761871 w 9922465"/>
                <a:gd name="connsiteY1698" fmla="*/ 1030724 h 1934496"/>
                <a:gd name="connsiteX1699" fmla="*/ 6817063 w 9922465"/>
                <a:gd name="connsiteY1699" fmla="*/ 975533 h 1934496"/>
                <a:gd name="connsiteX1700" fmla="*/ 6683430 w 9922465"/>
                <a:gd name="connsiteY1700" fmla="*/ 975533 h 1934496"/>
                <a:gd name="connsiteX1701" fmla="*/ 6738622 w 9922465"/>
                <a:gd name="connsiteY1701" fmla="*/ 1030724 h 1934496"/>
                <a:gd name="connsiteX1702" fmla="*/ 6683430 w 9922465"/>
                <a:gd name="connsiteY1702" fmla="*/ 1085915 h 1934496"/>
                <a:gd name="connsiteX1703" fmla="*/ 6628238 w 9922465"/>
                <a:gd name="connsiteY1703" fmla="*/ 1030724 h 1934496"/>
                <a:gd name="connsiteX1704" fmla="*/ 6683430 w 9922465"/>
                <a:gd name="connsiteY1704" fmla="*/ 975533 h 1934496"/>
                <a:gd name="connsiteX1705" fmla="*/ 6289206 w 9922465"/>
                <a:gd name="connsiteY1705" fmla="*/ 975533 h 1934496"/>
                <a:gd name="connsiteX1706" fmla="*/ 6344398 w 9922465"/>
                <a:gd name="connsiteY1706" fmla="*/ 1030724 h 1934496"/>
                <a:gd name="connsiteX1707" fmla="*/ 6289206 w 9922465"/>
                <a:gd name="connsiteY1707" fmla="*/ 1085915 h 1934496"/>
                <a:gd name="connsiteX1708" fmla="*/ 6234014 w 9922465"/>
                <a:gd name="connsiteY1708" fmla="*/ 1030724 h 1934496"/>
                <a:gd name="connsiteX1709" fmla="*/ 6289206 w 9922465"/>
                <a:gd name="connsiteY1709" fmla="*/ 975533 h 1934496"/>
                <a:gd name="connsiteX1710" fmla="*/ 5754667 w 9922465"/>
                <a:gd name="connsiteY1710" fmla="*/ 975533 h 1934496"/>
                <a:gd name="connsiteX1711" fmla="*/ 5809859 w 9922465"/>
                <a:gd name="connsiteY1711" fmla="*/ 1030724 h 1934496"/>
                <a:gd name="connsiteX1712" fmla="*/ 5754667 w 9922465"/>
                <a:gd name="connsiteY1712" fmla="*/ 1085915 h 1934496"/>
                <a:gd name="connsiteX1713" fmla="*/ 5699475 w 9922465"/>
                <a:gd name="connsiteY1713" fmla="*/ 1030724 h 1934496"/>
                <a:gd name="connsiteX1714" fmla="*/ 5754667 w 9922465"/>
                <a:gd name="connsiteY1714" fmla="*/ 975533 h 1934496"/>
                <a:gd name="connsiteX1715" fmla="*/ 5487398 w 9922465"/>
                <a:gd name="connsiteY1715" fmla="*/ 975533 h 1934496"/>
                <a:gd name="connsiteX1716" fmla="*/ 5542590 w 9922465"/>
                <a:gd name="connsiteY1716" fmla="*/ 1030724 h 1934496"/>
                <a:gd name="connsiteX1717" fmla="*/ 5487398 w 9922465"/>
                <a:gd name="connsiteY1717" fmla="*/ 1085915 h 1934496"/>
                <a:gd name="connsiteX1718" fmla="*/ 5432206 w 9922465"/>
                <a:gd name="connsiteY1718" fmla="*/ 1030724 h 1934496"/>
                <a:gd name="connsiteX1719" fmla="*/ 5487398 w 9922465"/>
                <a:gd name="connsiteY1719" fmla="*/ 975533 h 1934496"/>
                <a:gd name="connsiteX1720" fmla="*/ 5357105 w 9922465"/>
                <a:gd name="connsiteY1720" fmla="*/ 975533 h 1934496"/>
                <a:gd name="connsiteX1721" fmla="*/ 5412297 w 9922465"/>
                <a:gd name="connsiteY1721" fmla="*/ 1030724 h 1934496"/>
                <a:gd name="connsiteX1722" fmla="*/ 5357105 w 9922465"/>
                <a:gd name="connsiteY1722" fmla="*/ 1085915 h 1934496"/>
                <a:gd name="connsiteX1723" fmla="*/ 5301913 w 9922465"/>
                <a:gd name="connsiteY1723" fmla="*/ 1030724 h 1934496"/>
                <a:gd name="connsiteX1724" fmla="*/ 5357105 w 9922465"/>
                <a:gd name="connsiteY1724" fmla="*/ 975533 h 1934496"/>
                <a:gd name="connsiteX1725" fmla="*/ 5093176 w 9922465"/>
                <a:gd name="connsiteY1725" fmla="*/ 975533 h 1934496"/>
                <a:gd name="connsiteX1726" fmla="*/ 5148368 w 9922465"/>
                <a:gd name="connsiteY1726" fmla="*/ 1030724 h 1934496"/>
                <a:gd name="connsiteX1727" fmla="*/ 5093176 w 9922465"/>
                <a:gd name="connsiteY1727" fmla="*/ 1085915 h 1934496"/>
                <a:gd name="connsiteX1728" fmla="*/ 5037984 w 9922465"/>
                <a:gd name="connsiteY1728" fmla="*/ 1030724 h 1934496"/>
                <a:gd name="connsiteX1729" fmla="*/ 5093176 w 9922465"/>
                <a:gd name="connsiteY1729" fmla="*/ 975533 h 1934496"/>
                <a:gd name="connsiteX1730" fmla="*/ 4959540 w 9922465"/>
                <a:gd name="connsiteY1730" fmla="*/ 975533 h 1934496"/>
                <a:gd name="connsiteX1731" fmla="*/ 5014732 w 9922465"/>
                <a:gd name="connsiteY1731" fmla="*/ 1030724 h 1934496"/>
                <a:gd name="connsiteX1732" fmla="*/ 4959540 w 9922465"/>
                <a:gd name="connsiteY1732" fmla="*/ 1085915 h 1934496"/>
                <a:gd name="connsiteX1733" fmla="*/ 4904348 w 9922465"/>
                <a:gd name="connsiteY1733" fmla="*/ 1030724 h 1934496"/>
                <a:gd name="connsiteX1734" fmla="*/ 4959540 w 9922465"/>
                <a:gd name="connsiteY1734" fmla="*/ 975533 h 1934496"/>
                <a:gd name="connsiteX1735" fmla="*/ 4161075 w 9922465"/>
                <a:gd name="connsiteY1735" fmla="*/ 975533 h 1934496"/>
                <a:gd name="connsiteX1736" fmla="*/ 4216267 w 9922465"/>
                <a:gd name="connsiteY1736" fmla="*/ 1030724 h 1934496"/>
                <a:gd name="connsiteX1737" fmla="*/ 4161075 w 9922465"/>
                <a:gd name="connsiteY1737" fmla="*/ 1085915 h 1934496"/>
                <a:gd name="connsiteX1738" fmla="*/ 4105883 w 9922465"/>
                <a:gd name="connsiteY1738" fmla="*/ 1030724 h 1934496"/>
                <a:gd name="connsiteX1739" fmla="*/ 4161075 w 9922465"/>
                <a:gd name="connsiteY1739" fmla="*/ 975533 h 1934496"/>
                <a:gd name="connsiteX1740" fmla="*/ 4030782 w 9922465"/>
                <a:gd name="connsiteY1740" fmla="*/ 975533 h 1934496"/>
                <a:gd name="connsiteX1741" fmla="*/ 4085974 w 9922465"/>
                <a:gd name="connsiteY1741" fmla="*/ 1030724 h 1934496"/>
                <a:gd name="connsiteX1742" fmla="*/ 4030782 w 9922465"/>
                <a:gd name="connsiteY1742" fmla="*/ 1085915 h 1934496"/>
                <a:gd name="connsiteX1743" fmla="*/ 3975590 w 9922465"/>
                <a:gd name="connsiteY1743" fmla="*/ 1030724 h 1934496"/>
                <a:gd name="connsiteX1744" fmla="*/ 4030782 w 9922465"/>
                <a:gd name="connsiteY1744" fmla="*/ 975533 h 1934496"/>
                <a:gd name="connsiteX1745" fmla="*/ 3369290 w 9922465"/>
                <a:gd name="connsiteY1745" fmla="*/ 975533 h 1934496"/>
                <a:gd name="connsiteX1746" fmla="*/ 3424482 w 9922465"/>
                <a:gd name="connsiteY1746" fmla="*/ 1030724 h 1934496"/>
                <a:gd name="connsiteX1747" fmla="*/ 3369290 w 9922465"/>
                <a:gd name="connsiteY1747" fmla="*/ 1085915 h 1934496"/>
                <a:gd name="connsiteX1748" fmla="*/ 3314098 w 9922465"/>
                <a:gd name="connsiteY1748" fmla="*/ 1030724 h 1934496"/>
                <a:gd name="connsiteX1749" fmla="*/ 3369290 w 9922465"/>
                <a:gd name="connsiteY1749" fmla="*/ 975533 h 1934496"/>
                <a:gd name="connsiteX1750" fmla="*/ 2707880 w 9922465"/>
                <a:gd name="connsiteY1750" fmla="*/ 975533 h 1934496"/>
                <a:gd name="connsiteX1751" fmla="*/ 2763074 w 9922465"/>
                <a:gd name="connsiteY1751" fmla="*/ 1030724 h 1934496"/>
                <a:gd name="connsiteX1752" fmla="*/ 2707880 w 9922465"/>
                <a:gd name="connsiteY1752" fmla="*/ 1085915 h 1934496"/>
                <a:gd name="connsiteX1753" fmla="*/ 2652689 w 9922465"/>
                <a:gd name="connsiteY1753" fmla="*/ 1030724 h 1934496"/>
                <a:gd name="connsiteX1754" fmla="*/ 2707880 w 9922465"/>
                <a:gd name="connsiteY1754" fmla="*/ 975533 h 1934496"/>
                <a:gd name="connsiteX1755" fmla="*/ 2173347 w 9922465"/>
                <a:gd name="connsiteY1755" fmla="*/ 975533 h 1934496"/>
                <a:gd name="connsiteX1756" fmla="*/ 2228540 w 9922465"/>
                <a:gd name="connsiteY1756" fmla="*/ 1030724 h 1934496"/>
                <a:gd name="connsiteX1757" fmla="*/ 2173347 w 9922465"/>
                <a:gd name="connsiteY1757" fmla="*/ 1085915 h 1934496"/>
                <a:gd name="connsiteX1758" fmla="*/ 2118154 w 9922465"/>
                <a:gd name="connsiteY1758" fmla="*/ 1030724 h 1934496"/>
                <a:gd name="connsiteX1759" fmla="*/ 2173347 w 9922465"/>
                <a:gd name="connsiteY1759" fmla="*/ 975533 h 1934496"/>
                <a:gd name="connsiteX1760" fmla="*/ 1251258 w 9922465"/>
                <a:gd name="connsiteY1760" fmla="*/ 975533 h 1934496"/>
                <a:gd name="connsiteX1761" fmla="*/ 1306450 w 9922465"/>
                <a:gd name="connsiteY1761" fmla="*/ 1030724 h 1934496"/>
                <a:gd name="connsiteX1762" fmla="*/ 1251258 w 9922465"/>
                <a:gd name="connsiteY1762" fmla="*/ 1085915 h 1934496"/>
                <a:gd name="connsiteX1763" fmla="*/ 1196066 w 9922465"/>
                <a:gd name="connsiteY1763" fmla="*/ 1030724 h 1934496"/>
                <a:gd name="connsiteX1764" fmla="*/ 1251258 w 9922465"/>
                <a:gd name="connsiteY1764" fmla="*/ 975533 h 1934496"/>
                <a:gd name="connsiteX1765" fmla="*/ 847001 w 9922465"/>
                <a:gd name="connsiteY1765" fmla="*/ 975533 h 1934496"/>
                <a:gd name="connsiteX1766" fmla="*/ 902196 w 9922465"/>
                <a:gd name="connsiteY1766" fmla="*/ 1030724 h 1934496"/>
                <a:gd name="connsiteX1767" fmla="*/ 847001 w 9922465"/>
                <a:gd name="connsiteY1767" fmla="*/ 1085915 h 1934496"/>
                <a:gd name="connsiteX1768" fmla="*/ 791804 w 9922465"/>
                <a:gd name="connsiteY1768" fmla="*/ 1030724 h 1934496"/>
                <a:gd name="connsiteX1769" fmla="*/ 847001 w 9922465"/>
                <a:gd name="connsiteY1769" fmla="*/ 975533 h 1934496"/>
                <a:gd name="connsiteX1770" fmla="*/ 9336074 w 9922465"/>
                <a:gd name="connsiteY1770" fmla="*/ 975532 h 1934496"/>
                <a:gd name="connsiteX1771" fmla="*/ 9391266 w 9922465"/>
                <a:gd name="connsiteY1771" fmla="*/ 1030723 h 1934496"/>
                <a:gd name="connsiteX1772" fmla="*/ 9336074 w 9922465"/>
                <a:gd name="connsiteY1772" fmla="*/ 1085914 h 1934496"/>
                <a:gd name="connsiteX1773" fmla="*/ 9280882 w 9922465"/>
                <a:gd name="connsiteY1773" fmla="*/ 1030723 h 1934496"/>
                <a:gd name="connsiteX1774" fmla="*/ 9336074 w 9922465"/>
                <a:gd name="connsiteY1774" fmla="*/ 975532 h 1934496"/>
                <a:gd name="connsiteX1775" fmla="*/ 9199098 w 9922465"/>
                <a:gd name="connsiteY1775" fmla="*/ 975532 h 1934496"/>
                <a:gd name="connsiteX1776" fmla="*/ 9254290 w 9922465"/>
                <a:gd name="connsiteY1776" fmla="*/ 1030723 h 1934496"/>
                <a:gd name="connsiteX1777" fmla="*/ 9199098 w 9922465"/>
                <a:gd name="connsiteY1777" fmla="*/ 1085914 h 1934496"/>
                <a:gd name="connsiteX1778" fmla="*/ 9143906 w 9922465"/>
                <a:gd name="connsiteY1778" fmla="*/ 1030723 h 1934496"/>
                <a:gd name="connsiteX1779" fmla="*/ 9199098 w 9922465"/>
                <a:gd name="connsiteY1779" fmla="*/ 975532 h 1934496"/>
                <a:gd name="connsiteX1780" fmla="*/ 9068805 w 9922465"/>
                <a:gd name="connsiteY1780" fmla="*/ 975532 h 1934496"/>
                <a:gd name="connsiteX1781" fmla="*/ 9123997 w 9922465"/>
                <a:gd name="connsiteY1781" fmla="*/ 1030723 h 1934496"/>
                <a:gd name="connsiteX1782" fmla="*/ 9068805 w 9922465"/>
                <a:gd name="connsiteY1782" fmla="*/ 1085914 h 1934496"/>
                <a:gd name="connsiteX1783" fmla="*/ 9013613 w 9922465"/>
                <a:gd name="connsiteY1783" fmla="*/ 1030723 h 1934496"/>
                <a:gd name="connsiteX1784" fmla="*/ 9068805 w 9922465"/>
                <a:gd name="connsiteY1784" fmla="*/ 975532 h 1934496"/>
                <a:gd name="connsiteX1785" fmla="*/ 8801536 w 9922465"/>
                <a:gd name="connsiteY1785" fmla="*/ 975532 h 1934496"/>
                <a:gd name="connsiteX1786" fmla="*/ 8856728 w 9922465"/>
                <a:gd name="connsiteY1786" fmla="*/ 1030723 h 1934496"/>
                <a:gd name="connsiteX1787" fmla="*/ 8801536 w 9922465"/>
                <a:gd name="connsiteY1787" fmla="*/ 1085914 h 1934496"/>
                <a:gd name="connsiteX1788" fmla="*/ 8746344 w 9922465"/>
                <a:gd name="connsiteY1788" fmla="*/ 1030723 h 1934496"/>
                <a:gd name="connsiteX1789" fmla="*/ 8801536 w 9922465"/>
                <a:gd name="connsiteY1789" fmla="*/ 975532 h 1934496"/>
                <a:gd name="connsiteX1790" fmla="*/ 8671243 w 9922465"/>
                <a:gd name="connsiteY1790" fmla="*/ 975532 h 1934496"/>
                <a:gd name="connsiteX1791" fmla="*/ 8726435 w 9922465"/>
                <a:gd name="connsiteY1791" fmla="*/ 1030723 h 1934496"/>
                <a:gd name="connsiteX1792" fmla="*/ 8671243 w 9922465"/>
                <a:gd name="connsiteY1792" fmla="*/ 1085914 h 1934496"/>
                <a:gd name="connsiteX1793" fmla="*/ 8616051 w 9922465"/>
                <a:gd name="connsiteY1793" fmla="*/ 1030723 h 1934496"/>
                <a:gd name="connsiteX1794" fmla="*/ 8671243 w 9922465"/>
                <a:gd name="connsiteY1794" fmla="*/ 975532 h 1934496"/>
                <a:gd name="connsiteX1795" fmla="*/ 8537608 w 9922465"/>
                <a:gd name="connsiteY1795" fmla="*/ 975532 h 1934496"/>
                <a:gd name="connsiteX1796" fmla="*/ 8592800 w 9922465"/>
                <a:gd name="connsiteY1796" fmla="*/ 1030723 h 1934496"/>
                <a:gd name="connsiteX1797" fmla="*/ 8537608 w 9922465"/>
                <a:gd name="connsiteY1797" fmla="*/ 1085914 h 1934496"/>
                <a:gd name="connsiteX1798" fmla="*/ 8482416 w 9922465"/>
                <a:gd name="connsiteY1798" fmla="*/ 1030723 h 1934496"/>
                <a:gd name="connsiteX1799" fmla="*/ 8537608 w 9922465"/>
                <a:gd name="connsiteY1799" fmla="*/ 975532 h 1934496"/>
                <a:gd name="connsiteX1800" fmla="*/ 8273681 w 9922465"/>
                <a:gd name="connsiteY1800" fmla="*/ 975532 h 1934496"/>
                <a:gd name="connsiteX1801" fmla="*/ 8328873 w 9922465"/>
                <a:gd name="connsiteY1801" fmla="*/ 1030723 h 1934496"/>
                <a:gd name="connsiteX1802" fmla="*/ 8273681 w 9922465"/>
                <a:gd name="connsiteY1802" fmla="*/ 1085914 h 1934496"/>
                <a:gd name="connsiteX1803" fmla="*/ 8218489 w 9922465"/>
                <a:gd name="connsiteY1803" fmla="*/ 1030723 h 1934496"/>
                <a:gd name="connsiteX1804" fmla="*/ 8273681 w 9922465"/>
                <a:gd name="connsiteY1804" fmla="*/ 975532 h 1934496"/>
                <a:gd name="connsiteX1805" fmla="*/ 8143385 w 9922465"/>
                <a:gd name="connsiteY1805" fmla="*/ 975532 h 1934496"/>
                <a:gd name="connsiteX1806" fmla="*/ 8198577 w 9922465"/>
                <a:gd name="connsiteY1806" fmla="*/ 1030723 h 1934496"/>
                <a:gd name="connsiteX1807" fmla="*/ 8143385 w 9922465"/>
                <a:gd name="connsiteY1807" fmla="*/ 1085914 h 1934496"/>
                <a:gd name="connsiteX1808" fmla="*/ 8088193 w 9922465"/>
                <a:gd name="connsiteY1808" fmla="*/ 1030723 h 1934496"/>
                <a:gd name="connsiteX1809" fmla="*/ 8143385 w 9922465"/>
                <a:gd name="connsiteY1809" fmla="*/ 975532 h 1934496"/>
                <a:gd name="connsiteX1810" fmla="*/ 8009751 w 9922465"/>
                <a:gd name="connsiteY1810" fmla="*/ 975532 h 1934496"/>
                <a:gd name="connsiteX1811" fmla="*/ 8064943 w 9922465"/>
                <a:gd name="connsiteY1811" fmla="*/ 1030723 h 1934496"/>
                <a:gd name="connsiteX1812" fmla="*/ 8009751 w 9922465"/>
                <a:gd name="connsiteY1812" fmla="*/ 1085914 h 1934496"/>
                <a:gd name="connsiteX1813" fmla="*/ 7954559 w 9922465"/>
                <a:gd name="connsiteY1813" fmla="*/ 1030723 h 1934496"/>
                <a:gd name="connsiteX1814" fmla="*/ 8009751 w 9922465"/>
                <a:gd name="connsiteY1814" fmla="*/ 975532 h 1934496"/>
                <a:gd name="connsiteX1815" fmla="*/ 7608847 w 9922465"/>
                <a:gd name="connsiteY1815" fmla="*/ 975532 h 1934496"/>
                <a:gd name="connsiteX1816" fmla="*/ 7664039 w 9922465"/>
                <a:gd name="connsiteY1816" fmla="*/ 1030723 h 1934496"/>
                <a:gd name="connsiteX1817" fmla="*/ 7608847 w 9922465"/>
                <a:gd name="connsiteY1817" fmla="*/ 1085914 h 1934496"/>
                <a:gd name="connsiteX1818" fmla="*/ 7553655 w 9922465"/>
                <a:gd name="connsiteY1818" fmla="*/ 1030723 h 1934496"/>
                <a:gd name="connsiteX1819" fmla="*/ 7608847 w 9922465"/>
                <a:gd name="connsiteY1819" fmla="*/ 975532 h 1934496"/>
                <a:gd name="connsiteX1820" fmla="*/ 7080991 w 9922465"/>
                <a:gd name="connsiteY1820" fmla="*/ 975532 h 1934496"/>
                <a:gd name="connsiteX1821" fmla="*/ 7136183 w 9922465"/>
                <a:gd name="connsiteY1821" fmla="*/ 1030723 h 1934496"/>
                <a:gd name="connsiteX1822" fmla="*/ 7080991 w 9922465"/>
                <a:gd name="connsiteY1822" fmla="*/ 1085914 h 1934496"/>
                <a:gd name="connsiteX1823" fmla="*/ 7025799 w 9922465"/>
                <a:gd name="connsiteY1823" fmla="*/ 1030723 h 1934496"/>
                <a:gd name="connsiteX1824" fmla="*/ 7080991 w 9922465"/>
                <a:gd name="connsiteY1824" fmla="*/ 975532 h 1934496"/>
                <a:gd name="connsiteX1825" fmla="*/ 6553135 w 9922465"/>
                <a:gd name="connsiteY1825" fmla="*/ 975532 h 1934496"/>
                <a:gd name="connsiteX1826" fmla="*/ 6608327 w 9922465"/>
                <a:gd name="connsiteY1826" fmla="*/ 1030723 h 1934496"/>
                <a:gd name="connsiteX1827" fmla="*/ 6553135 w 9922465"/>
                <a:gd name="connsiteY1827" fmla="*/ 1085914 h 1934496"/>
                <a:gd name="connsiteX1828" fmla="*/ 6497943 w 9922465"/>
                <a:gd name="connsiteY1828" fmla="*/ 1030723 h 1934496"/>
                <a:gd name="connsiteX1829" fmla="*/ 6553135 w 9922465"/>
                <a:gd name="connsiteY1829" fmla="*/ 975532 h 1934496"/>
                <a:gd name="connsiteX1830" fmla="*/ 6419501 w 9922465"/>
                <a:gd name="connsiteY1830" fmla="*/ 975532 h 1934496"/>
                <a:gd name="connsiteX1831" fmla="*/ 6474693 w 9922465"/>
                <a:gd name="connsiteY1831" fmla="*/ 1030723 h 1934496"/>
                <a:gd name="connsiteX1832" fmla="*/ 6419501 w 9922465"/>
                <a:gd name="connsiteY1832" fmla="*/ 1085914 h 1934496"/>
                <a:gd name="connsiteX1833" fmla="*/ 6364309 w 9922465"/>
                <a:gd name="connsiteY1833" fmla="*/ 1030723 h 1934496"/>
                <a:gd name="connsiteX1834" fmla="*/ 6419501 w 9922465"/>
                <a:gd name="connsiteY1834" fmla="*/ 975532 h 1934496"/>
                <a:gd name="connsiteX1835" fmla="*/ 6155571 w 9922465"/>
                <a:gd name="connsiteY1835" fmla="*/ 975532 h 1934496"/>
                <a:gd name="connsiteX1836" fmla="*/ 6210763 w 9922465"/>
                <a:gd name="connsiteY1836" fmla="*/ 1030723 h 1934496"/>
                <a:gd name="connsiteX1837" fmla="*/ 6155571 w 9922465"/>
                <a:gd name="connsiteY1837" fmla="*/ 1085914 h 1934496"/>
                <a:gd name="connsiteX1838" fmla="*/ 6100379 w 9922465"/>
                <a:gd name="connsiteY1838" fmla="*/ 1030723 h 1934496"/>
                <a:gd name="connsiteX1839" fmla="*/ 6155571 w 9922465"/>
                <a:gd name="connsiteY1839" fmla="*/ 975532 h 1934496"/>
                <a:gd name="connsiteX1840" fmla="*/ 6021936 w 9922465"/>
                <a:gd name="connsiteY1840" fmla="*/ 975532 h 1934496"/>
                <a:gd name="connsiteX1841" fmla="*/ 6077128 w 9922465"/>
                <a:gd name="connsiteY1841" fmla="*/ 1030723 h 1934496"/>
                <a:gd name="connsiteX1842" fmla="*/ 6021936 w 9922465"/>
                <a:gd name="connsiteY1842" fmla="*/ 1085914 h 1934496"/>
                <a:gd name="connsiteX1843" fmla="*/ 5966744 w 9922465"/>
                <a:gd name="connsiteY1843" fmla="*/ 1030723 h 1934496"/>
                <a:gd name="connsiteX1844" fmla="*/ 6021936 w 9922465"/>
                <a:gd name="connsiteY1844" fmla="*/ 975532 h 1934496"/>
                <a:gd name="connsiteX1845" fmla="*/ 5884963 w 9922465"/>
                <a:gd name="connsiteY1845" fmla="*/ 975532 h 1934496"/>
                <a:gd name="connsiteX1846" fmla="*/ 5940155 w 9922465"/>
                <a:gd name="connsiteY1846" fmla="*/ 1030723 h 1934496"/>
                <a:gd name="connsiteX1847" fmla="*/ 5884963 w 9922465"/>
                <a:gd name="connsiteY1847" fmla="*/ 1085914 h 1934496"/>
                <a:gd name="connsiteX1848" fmla="*/ 5829771 w 9922465"/>
                <a:gd name="connsiteY1848" fmla="*/ 1030723 h 1934496"/>
                <a:gd name="connsiteX1849" fmla="*/ 5884963 w 9922465"/>
                <a:gd name="connsiteY1849" fmla="*/ 975532 h 1934496"/>
                <a:gd name="connsiteX1850" fmla="*/ 5621031 w 9922465"/>
                <a:gd name="connsiteY1850" fmla="*/ 975532 h 1934496"/>
                <a:gd name="connsiteX1851" fmla="*/ 5676223 w 9922465"/>
                <a:gd name="connsiteY1851" fmla="*/ 1030723 h 1934496"/>
                <a:gd name="connsiteX1852" fmla="*/ 5621031 w 9922465"/>
                <a:gd name="connsiteY1852" fmla="*/ 1085914 h 1934496"/>
                <a:gd name="connsiteX1853" fmla="*/ 5565839 w 9922465"/>
                <a:gd name="connsiteY1853" fmla="*/ 1030723 h 1934496"/>
                <a:gd name="connsiteX1854" fmla="*/ 5621031 w 9922465"/>
                <a:gd name="connsiteY1854" fmla="*/ 975532 h 1934496"/>
                <a:gd name="connsiteX1855" fmla="*/ 5223472 w 9922465"/>
                <a:gd name="connsiteY1855" fmla="*/ 975532 h 1934496"/>
                <a:gd name="connsiteX1856" fmla="*/ 5278664 w 9922465"/>
                <a:gd name="connsiteY1856" fmla="*/ 1030723 h 1934496"/>
                <a:gd name="connsiteX1857" fmla="*/ 5223472 w 9922465"/>
                <a:gd name="connsiteY1857" fmla="*/ 1085914 h 1934496"/>
                <a:gd name="connsiteX1858" fmla="*/ 5168280 w 9922465"/>
                <a:gd name="connsiteY1858" fmla="*/ 1030723 h 1934496"/>
                <a:gd name="connsiteX1859" fmla="*/ 5223472 w 9922465"/>
                <a:gd name="connsiteY1859" fmla="*/ 975532 h 1934496"/>
                <a:gd name="connsiteX1860" fmla="*/ 4294710 w 9922465"/>
                <a:gd name="connsiteY1860" fmla="*/ 975532 h 1934496"/>
                <a:gd name="connsiteX1861" fmla="*/ 4349902 w 9922465"/>
                <a:gd name="connsiteY1861" fmla="*/ 1030723 h 1934496"/>
                <a:gd name="connsiteX1862" fmla="*/ 4294710 w 9922465"/>
                <a:gd name="connsiteY1862" fmla="*/ 1085914 h 1934496"/>
                <a:gd name="connsiteX1863" fmla="*/ 4239518 w 9922465"/>
                <a:gd name="connsiteY1863" fmla="*/ 1030723 h 1934496"/>
                <a:gd name="connsiteX1864" fmla="*/ 4294710 w 9922465"/>
                <a:gd name="connsiteY1864" fmla="*/ 975532 h 1934496"/>
                <a:gd name="connsiteX1865" fmla="*/ 3499584 w 9922465"/>
                <a:gd name="connsiteY1865" fmla="*/ 975532 h 1934496"/>
                <a:gd name="connsiteX1866" fmla="*/ 3554776 w 9922465"/>
                <a:gd name="connsiteY1866" fmla="*/ 1030723 h 1934496"/>
                <a:gd name="connsiteX1867" fmla="*/ 3499584 w 9922465"/>
                <a:gd name="connsiteY1867" fmla="*/ 1085914 h 1934496"/>
                <a:gd name="connsiteX1868" fmla="*/ 3444392 w 9922465"/>
                <a:gd name="connsiteY1868" fmla="*/ 1030723 h 1934496"/>
                <a:gd name="connsiteX1869" fmla="*/ 3499584 w 9922465"/>
                <a:gd name="connsiteY1869" fmla="*/ 975532 h 1934496"/>
                <a:gd name="connsiteX1870" fmla="*/ 2834836 w 9922465"/>
                <a:gd name="connsiteY1870" fmla="*/ 975532 h 1934496"/>
                <a:gd name="connsiteX1871" fmla="*/ 2890028 w 9922465"/>
                <a:gd name="connsiteY1871" fmla="*/ 1030723 h 1934496"/>
                <a:gd name="connsiteX1872" fmla="*/ 2834836 w 9922465"/>
                <a:gd name="connsiteY1872" fmla="*/ 1085914 h 1934496"/>
                <a:gd name="connsiteX1873" fmla="*/ 2779643 w 9922465"/>
                <a:gd name="connsiteY1873" fmla="*/ 1030723 h 1934496"/>
                <a:gd name="connsiteX1874" fmla="*/ 2834836 w 9922465"/>
                <a:gd name="connsiteY1874" fmla="*/ 975532 h 1934496"/>
                <a:gd name="connsiteX1875" fmla="*/ 2303639 w 9922465"/>
                <a:gd name="connsiteY1875" fmla="*/ 975532 h 1934496"/>
                <a:gd name="connsiteX1876" fmla="*/ 2358830 w 9922465"/>
                <a:gd name="connsiteY1876" fmla="*/ 1030723 h 1934496"/>
                <a:gd name="connsiteX1877" fmla="*/ 2303639 w 9922465"/>
                <a:gd name="connsiteY1877" fmla="*/ 1085914 h 1934496"/>
                <a:gd name="connsiteX1878" fmla="*/ 2248448 w 9922465"/>
                <a:gd name="connsiteY1878" fmla="*/ 1030723 h 1934496"/>
                <a:gd name="connsiteX1879" fmla="*/ 2303639 w 9922465"/>
                <a:gd name="connsiteY1879" fmla="*/ 975532 h 1934496"/>
                <a:gd name="connsiteX1880" fmla="*/ 2039712 w 9922465"/>
                <a:gd name="connsiteY1880" fmla="*/ 975532 h 1934496"/>
                <a:gd name="connsiteX1881" fmla="*/ 2094905 w 9922465"/>
                <a:gd name="connsiteY1881" fmla="*/ 1030723 h 1934496"/>
                <a:gd name="connsiteX1882" fmla="*/ 2039712 w 9922465"/>
                <a:gd name="connsiteY1882" fmla="*/ 1085914 h 1934496"/>
                <a:gd name="connsiteX1883" fmla="*/ 1984518 w 9922465"/>
                <a:gd name="connsiteY1883" fmla="*/ 1030723 h 1934496"/>
                <a:gd name="connsiteX1884" fmla="*/ 2039712 w 9922465"/>
                <a:gd name="connsiteY1884" fmla="*/ 975532 h 1934496"/>
                <a:gd name="connsiteX1885" fmla="*/ 1909414 w 9922465"/>
                <a:gd name="connsiteY1885" fmla="*/ 975532 h 1934496"/>
                <a:gd name="connsiteX1886" fmla="*/ 1964607 w 9922465"/>
                <a:gd name="connsiteY1886" fmla="*/ 1030723 h 1934496"/>
                <a:gd name="connsiteX1887" fmla="*/ 1909414 w 9922465"/>
                <a:gd name="connsiteY1887" fmla="*/ 1085914 h 1934496"/>
                <a:gd name="connsiteX1888" fmla="*/ 1854220 w 9922465"/>
                <a:gd name="connsiteY1888" fmla="*/ 1030723 h 1934496"/>
                <a:gd name="connsiteX1889" fmla="*/ 1909414 w 9922465"/>
                <a:gd name="connsiteY1889" fmla="*/ 975532 h 1934496"/>
                <a:gd name="connsiteX1890" fmla="*/ 1779117 w 9922465"/>
                <a:gd name="connsiteY1890" fmla="*/ 975532 h 1934496"/>
                <a:gd name="connsiteX1891" fmla="*/ 1834310 w 9922465"/>
                <a:gd name="connsiteY1891" fmla="*/ 1030723 h 1934496"/>
                <a:gd name="connsiteX1892" fmla="*/ 1779117 w 9922465"/>
                <a:gd name="connsiteY1892" fmla="*/ 1085914 h 1934496"/>
                <a:gd name="connsiteX1893" fmla="*/ 1723923 w 9922465"/>
                <a:gd name="connsiteY1893" fmla="*/ 1030723 h 1934496"/>
                <a:gd name="connsiteX1894" fmla="*/ 1779117 w 9922465"/>
                <a:gd name="connsiteY1894" fmla="*/ 975532 h 1934496"/>
                <a:gd name="connsiteX1895" fmla="*/ 1645480 w 9922465"/>
                <a:gd name="connsiteY1895" fmla="*/ 975532 h 1934496"/>
                <a:gd name="connsiteX1896" fmla="*/ 1700679 w 9922465"/>
                <a:gd name="connsiteY1896" fmla="*/ 1030723 h 1934496"/>
                <a:gd name="connsiteX1897" fmla="*/ 1645480 w 9922465"/>
                <a:gd name="connsiteY1897" fmla="*/ 1085914 h 1934496"/>
                <a:gd name="connsiteX1898" fmla="*/ 1590287 w 9922465"/>
                <a:gd name="connsiteY1898" fmla="*/ 1030723 h 1934496"/>
                <a:gd name="connsiteX1899" fmla="*/ 1645480 w 9922465"/>
                <a:gd name="connsiteY1899" fmla="*/ 975532 h 1934496"/>
                <a:gd name="connsiteX1900" fmla="*/ 1515189 w 9922465"/>
                <a:gd name="connsiteY1900" fmla="*/ 975532 h 1934496"/>
                <a:gd name="connsiteX1901" fmla="*/ 1570378 w 9922465"/>
                <a:gd name="connsiteY1901" fmla="*/ 1030723 h 1934496"/>
                <a:gd name="connsiteX1902" fmla="*/ 1515189 w 9922465"/>
                <a:gd name="connsiteY1902" fmla="*/ 1085914 h 1934496"/>
                <a:gd name="connsiteX1903" fmla="*/ 1459995 w 9922465"/>
                <a:gd name="connsiteY1903" fmla="*/ 1030723 h 1934496"/>
                <a:gd name="connsiteX1904" fmla="*/ 1515189 w 9922465"/>
                <a:gd name="connsiteY1904" fmla="*/ 975532 h 1934496"/>
                <a:gd name="connsiteX1905" fmla="*/ 1381549 w 9922465"/>
                <a:gd name="connsiteY1905" fmla="*/ 975532 h 1934496"/>
                <a:gd name="connsiteX1906" fmla="*/ 1436744 w 9922465"/>
                <a:gd name="connsiteY1906" fmla="*/ 1030723 h 1934496"/>
                <a:gd name="connsiteX1907" fmla="*/ 1381549 w 9922465"/>
                <a:gd name="connsiteY1907" fmla="*/ 1085914 h 1934496"/>
                <a:gd name="connsiteX1908" fmla="*/ 1326361 w 9922465"/>
                <a:gd name="connsiteY1908" fmla="*/ 1030723 h 1934496"/>
                <a:gd name="connsiteX1909" fmla="*/ 1381549 w 9922465"/>
                <a:gd name="connsiteY1909" fmla="*/ 975532 h 1934496"/>
                <a:gd name="connsiteX1910" fmla="*/ 1117621 w 9922465"/>
                <a:gd name="connsiteY1910" fmla="*/ 975532 h 1934496"/>
                <a:gd name="connsiteX1911" fmla="*/ 1172814 w 9922465"/>
                <a:gd name="connsiteY1911" fmla="*/ 1030723 h 1934496"/>
                <a:gd name="connsiteX1912" fmla="*/ 1117621 w 9922465"/>
                <a:gd name="connsiteY1912" fmla="*/ 1085914 h 1934496"/>
                <a:gd name="connsiteX1913" fmla="*/ 1062427 w 9922465"/>
                <a:gd name="connsiteY1913" fmla="*/ 1030723 h 1934496"/>
                <a:gd name="connsiteX1914" fmla="*/ 1117621 w 9922465"/>
                <a:gd name="connsiteY1914" fmla="*/ 975532 h 1934496"/>
                <a:gd name="connsiteX1915" fmla="*/ 980643 w 9922465"/>
                <a:gd name="connsiteY1915" fmla="*/ 975532 h 1934496"/>
                <a:gd name="connsiteX1916" fmla="*/ 1035836 w 9922465"/>
                <a:gd name="connsiteY1916" fmla="*/ 1030723 h 1934496"/>
                <a:gd name="connsiteX1917" fmla="*/ 980643 w 9922465"/>
                <a:gd name="connsiteY1917" fmla="*/ 1085914 h 1934496"/>
                <a:gd name="connsiteX1918" fmla="*/ 925449 w 9922465"/>
                <a:gd name="connsiteY1918" fmla="*/ 1030723 h 1934496"/>
                <a:gd name="connsiteX1919" fmla="*/ 980643 w 9922465"/>
                <a:gd name="connsiteY1919" fmla="*/ 975532 h 1934496"/>
                <a:gd name="connsiteX1920" fmla="*/ 716703 w 9922465"/>
                <a:gd name="connsiteY1920" fmla="*/ 975532 h 1934496"/>
                <a:gd name="connsiteX1921" fmla="*/ 771897 w 9922465"/>
                <a:gd name="connsiteY1921" fmla="*/ 1030723 h 1934496"/>
                <a:gd name="connsiteX1922" fmla="*/ 716703 w 9922465"/>
                <a:gd name="connsiteY1922" fmla="*/ 1085914 h 1934496"/>
                <a:gd name="connsiteX1923" fmla="*/ 661511 w 9922465"/>
                <a:gd name="connsiteY1923" fmla="*/ 1030723 h 1934496"/>
                <a:gd name="connsiteX1924" fmla="*/ 716703 w 9922465"/>
                <a:gd name="connsiteY1924" fmla="*/ 975532 h 1934496"/>
                <a:gd name="connsiteX1925" fmla="*/ 583065 w 9922465"/>
                <a:gd name="connsiteY1925" fmla="*/ 975532 h 1934496"/>
                <a:gd name="connsiteX1926" fmla="*/ 638258 w 9922465"/>
                <a:gd name="connsiteY1926" fmla="*/ 1030723 h 1934496"/>
                <a:gd name="connsiteX1927" fmla="*/ 583065 w 9922465"/>
                <a:gd name="connsiteY1927" fmla="*/ 1085914 h 1934496"/>
                <a:gd name="connsiteX1928" fmla="*/ 527871 w 9922465"/>
                <a:gd name="connsiteY1928" fmla="*/ 1030723 h 1934496"/>
                <a:gd name="connsiteX1929" fmla="*/ 583065 w 9922465"/>
                <a:gd name="connsiteY1929" fmla="*/ 975532 h 1934496"/>
                <a:gd name="connsiteX1930" fmla="*/ 449419 w 9922465"/>
                <a:gd name="connsiteY1930" fmla="*/ 975532 h 1934496"/>
                <a:gd name="connsiteX1931" fmla="*/ 504612 w 9922465"/>
                <a:gd name="connsiteY1931" fmla="*/ 1030723 h 1934496"/>
                <a:gd name="connsiteX1932" fmla="*/ 449419 w 9922465"/>
                <a:gd name="connsiteY1932" fmla="*/ 1085914 h 1934496"/>
                <a:gd name="connsiteX1933" fmla="*/ 394227 w 9922465"/>
                <a:gd name="connsiteY1933" fmla="*/ 1030723 h 1934496"/>
                <a:gd name="connsiteX1934" fmla="*/ 449419 w 9922465"/>
                <a:gd name="connsiteY1934" fmla="*/ 975532 h 1934496"/>
                <a:gd name="connsiteX1935" fmla="*/ 319124 w 9922465"/>
                <a:gd name="connsiteY1935" fmla="*/ 975532 h 1934496"/>
                <a:gd name="connsiteX1936" fmla="*/ 374317 w 9922465"/>
                <a:gd name="connsiteY1936" fmla="*/ 1030723 h 1934496"/>
                <a:gd name="connsiteX1937" fmla="*/ 319124 w 9922465"/>
                <a:gd name="connsiteY1937" fmla="*/ 1085914 h 1934496"/>
                <a:gd name="connsiteX1938" fmla="*/ 263931 w 9922465"/>
                <a:gd name="connsiteY1938" fmla="*/ 1030723 h 1934496"/>
                <a:gd name="connsiteX1939" fmla="*/ 319124 w 9922465"/>
                <a:gd name="connsiteY1939" fmla="*/ 975532 h 1934496"/>
                <a:gd name="connsiteX1940" fmla="*/ 185492 w 9922465"/>
                <a:gd name="connsiteY1940" fmla="*/ 975532 h 1934496"/>
                <a:gd name="connsiteX1941" fmla="*/ 240682 w 9922465"/>
                <a:gd name="connsiteY1941" fmla="*/ 1030723 h 1934496"/>
                <a:gd name="connsiteX1942" fmla="*/ 185492 w 9922465"/>
                <a:gd name="connsiteY1942" fmla="*/ 1085914 h 1934496"/>
                <a:gd name="connsiteX1943" fmla="*/ 130299 w 9922465"/>
                <a:gd name="connsiteY1943" fmla="*/ 1030723 h 1934496"/>
                <a:gd name="connsiteX1944" fmla="*/ 185492 w 9922465"/>
                <a:gd name="connsiteY1944" fmla="*/ 975532 h 1934496"/>
                <a:gd name="connsiteX1945" fmla="*/ 55197 w 9922465"/>
                <a:gd name="connsiteY1945" fmla="*/ 975532 h 1934496"/>
                <a:gd name="connsiteX1946" fmla="*/ 110388 w 9922465"/>
                <a:gd name="connsiteY1946" fmla="*/ 1030723 h 1934496"/>
                <a:gd name="connsiteX1947" fmla="*/ 55197 w 9922465"/>
                <a:gd name="connsiteY1947" fmla="*/ 1085914 h 1934496"/>
                <a:gd name="connsiteX1948" fmla="*/ 7 w 9922465"/>
                <a:gd name="connsiteY1948" fmla="*/ 1030723 h 1934496"/>
                <a:gd name="connsiteX1949" fmla="*/ 55197 w 9922465"/>
                <a:gd name="connsiteY1949" fmla="*/ 975532 h 1934496"/>
                <a:gd name="connsiteX1950" fmla="*/ 9469710 w 9922465"/>
                <a:gd name="connsiteY1950" fmla="*/ 855263 h 1934496"/>
                <a:gd name="connsiteX1951" fmla="*/ 9524902 w 9922465"/>
                <a:gd name="connsiteY1951" fmla="*/ 910454 h 1934496"/>
                <a:gd name="connsiteX1952" fmla="*/ 9469710 w 9922465"/>
                <a:gd name="connsiteY1952" fmla="*/ 965645 h 1934496"/>
                <a:gd name="connsiteX1953" fmla="*/ 9414518 w 9922465"/>
                <a:gd name="connsiteY1953" fmla="*/ 910454 h 1934496"/>
                <a:gd name="connsiteX1954" fmla="*/ 9469710 w 9922465"/>
                <a:gd name="connsiteY1954" fmla="*/ 855263 h 1934496"/>
                <a:gd name="connsiteX1955" fmla="*/ 9336075 w 9922465"/>
                <a:gd name="connsiteY1955" fmla="*/ 855263 h 1934496"/>
                <a:gd name="connsiteX1956" fmla="*/ 9391267 w 9922465"/>
                <a:gd name="connsiteY1956" fmla="*/ 910454 h 1934496"/>
                <a:gd name="connsiteX1957" fmla="*/ 9336075 w 9922465"/>
                <a:gd name="connsiteY1957" fmla="*/ 965645 h 1934496"/>
                <a:gd name="connsiteX1958" fmla="*/ 9280883 w 9922465"/>
                <a:gd name="connsiteY1958" fmla="*/ 910454 h 1934496"/>
                <a:gd name="connsiteX1959" fmla="*/ 9336075 w 9922465"/>
                <a:gd name="connsiteY1959" fmla="*/ 855263 h 1934496"/>
                <a:gd name="connsiteX1960" fmla="*/ 9199100 w 9922465"/>
                <a:gd name="connsiteY1960" fmla="*/ 855263 h 1934496"/>
                <a:gd name="connsiteX1961" fmla="*/ 9254292 w 9922465"/>
                <a:gd name="connsiteY1961" fmla="*/ 910454 h 1934496"/>
                <a:gd name="connsiteX1962" fmla="*/ 9199100 w 9922465"/>
                <a:gd name="connsiteY1962" fmla="*/ 965645 h 1934496"/>
                <a:gd name="connsiteX1963" fmla="*/ 9143908 w 9922465"/>
                <a:gd name="connsiteY1963" fmla="*/ 910454 h 1934496"/>
                <a:gd name="connsiteX1964" fmla="*/ 9199100 w 9922465"/>
                <a:gd name="connsiteY1964" fmla="*/ 855263 h 1934496"/>
                <a:gd name="connsiteX1965" fmla="*/ 9068806 w 9922465"/>
                <a:gd name="connsiteY1965" fmla="*/ 855263 h 1934496"/>
                <a:gd name="connsiteX1966" fmla="*/ 9123998 w 9922465"/>
                <a:gd name="connsiteY1966" fmla="*/ 910454 h 1934496"/>
                <a:gd name="connsiteX1967" fmla="*/ 9068806 w 9922465"/>
                <a:gd name="connsiteY1967" fmla="*/ 965645 h 1934496"/>
                <a:gd name="connsiteX1968" fmla="*/ 9013614 w 9922465"/>
                <a:gd name="connsiteY1968" fmla="*/ 910454 h 1934496"/>
                <a:gd name="connsiteX1969" fmla="*/ 9068806 w 9922465"/>
                <a:gd name="connsiteY1969" fmla="*/ 855263 h 1934496"/>
                <a:gd name="connsiteX1970" fmla="*/ 8935170 w 9922465"/>
                <a:gd name="connsiteY1970" fmla="*/ 855263 h 1934496"/>
                <a:gd name="connsiteX1971" fmla="*/ 8990362 w 9922465"/>
                <a:gd name="connsiteY1971" fmla="*/ 910454 h 1934496"/>
                <a:gd name="connsiteX1972" fmla="*/ 8935170 w 9922465"/>
                <a:gd name="connsiteY1972" fmla="*/ 965645 h 1934496"/>
                <a:gd name="connsiteX1973" fmla="*/ 8879978 w 9922465"/>
                <a:gd name="connsiteY1973" fmla="*/ 910454 h 1934496"/>
                <a:gd name="connsiteX1974" fmla="*/ 8935170 w 9922465"/>
                <a:gd name="connsiteY1974" fmla="*/ 855263 h 1934496"/>
                <a:gd name="connsiteX1975" fmla="*/ 8801536 w 9922465"/>
                <a:gd name="connsiteY1975" fmla="*/ 855263 h 1934496"/>
                <a:gd name="connsiteX1976" fmla="*/ 8856728 w 9922465"/>
                <a:gd name="connsiteY1976" fmla="*/ 910454 h 1934496"/>
                <a:gd name="connsiteX1977" fmla="*/ 8801536 w 9922465"/>
                <a:gd name="connsiteY1977" fmla="*/ 965645 h 1934496"/>
                <a:gd name="connsiteX1978" fmla="*/ 8746344 w 9922465"/>
                <a:gd name="connsiteY1978" fmla="*/ 910454 h 1934496"/>
                <a:gd name="connsiteX1979" fmla="*/ 8801536 w 9922465"/>
                <a:gd name="connsiteY1979" fmla="*/ 855263 h 1934496"/>
                <a:gd name="connsiteX1980" fmla="*/ 8671243 w 9922465"/>
                <a:gd name="connsiteY1980" fmla="*/ 855263 h 1934496"/>
                <a:gd name="connsiteX1981" fmla="*/ 8726435 w 9922465"/>
                <a:gd name="connsiteY1981" fmla="*/ 910454 h 1934496"/>
                <a:gd name="connsiteX1982" fmla="*/ 8671243 w 9922465"/>
                <a:gd name="connsiteY1982" fmla="*/ 965645 h 1934496"/>
                <a:gd name="connsiteX1983" fmla="*/ 8616051 w 9922465"/>
                <a:gd name="connsiteY1983" fmla="*/ 910454 h 1934496"/>
                <a:gd name="connsiteX1984" fmla="*/ 8671243 w 9922465"/>
                <a:gd name="connsiteY1984" fmla="*/ 855263 h 1934496"/>
                <a:gd name="connsiteX1985" fmla="*/ 8537609 w 9922465"/>
                <a:gd name="connsiteY1985" fmla="*/ 855263 h 1934496"/>
                <a:gd name="connsiteX1986" fmla="*/ 8592801 w 9922465"/>
                <a:gd name="connsiteY1986" fmla="*/ 910454 h 1934496"/>
                <a:gd name="connsiteX1987" fmla="*/ 8537609 w 9922465"/>
                <a:gd name="connsiteY1987" fmla="*/ 965645 h 1934496"/>
                <a:gd name="connsiteX1988" fmla="*/ 8482417 w 9922465"/>
                <a:gd name="connsiteY1988" fmla="*/ 910454 h 1934496"/>
                <a:gd name="connsiteX1989" fmla="*/ 8537609 w 9922465"/>
                <a:gd name="connsiteY1989" fmla="*/ 855263 h 1934496"/>
                <a:gd name="connsiteX1990" fmla="*/ 8407315 w 9922465"/>
                <a:gd name="connsiteY1990" fmla="*/ 855263 h 1934496"/>
                <a:gd name="connsiteX1991" fmla="*/ 8462507 w 9922465"/>
                <a:gd name="connsiteY1991" fmla="*/ 910454 h 1934496"/>
                <a:gd name="connsiteX1992" fmla="*/ 8407315 w 9922465"/>
                <a:gd name="connsiteY1992" fmla="*/ 965645 h 1934496"/>
                <a:gd name="connsiteX1993" fmla="*/ 8352123 w 9922465"/>
                <a:gd name="connsiteY1993" fmla="*/ 910454 h 1934496"/>
                <a:gd name="connsiteX1994" fmla="*/ 8407315 w 9922465"/>
                <a:gd name="connsiteY1994" fmla="*/ 855263 h 1934496"/>
                <a:gd name="connsiteX1995" fmla="*/ 8273681 w 9922465"/>
                <a:gd name="connsiteY1995" fmla="*/ 855263 h 1934496"/>
                <a:gd name="connsiteX1996" fmla="*/ 8328873 w 9922465"/>
                <a:gd name="connsiteY1996" fmla="*/ 910454 h 1934496"/>
                <a:gd name="connsiteX1997" fmla="*/ 8273681 w 9922465"/>
                <a:gd name="connsiteY1997" fmla="*/ 965645 h 1934496"/>
                <a:gd name="connsiteX1998" fmla="*/ 8218489 w 9922465"/>
                <a:gd name="connsiteY1998" fmla="*/ 910454 h 1934496"/>
                <a:gd name="connsiteX1999" fmla="*/ 8273681 w 9922465"/>
                <a:gd name="connsiteY1999" fmla="*/ 855263 h 1934496"/>
                <a:gd name="connsiteX2000" fmla="*/ 8143386 w 9922465"/>
                <a:gd name="connsiteY2000" fmla="*/ 855263 h 1934496"/>
                <a:gd name="connsiteX2001" fmla="*/ 8198578 w 9922465"/>
                <a:gd name="connsiteY2001" fmla="*/ 910454 h 1934496"/>
                <a:gd name="connsiteX2002" fmla="*/ 8143386 w 9922465"/>
                <a:gd name="connsiteY2002" fmla="*/ 965645 h 1934496"/>
                <a:gd name="connsiteX2003" fmla="*/ 8088194 w 9922465"/>
                <a:gd name="connsiteY2003" fmla="*/ 910454 h 1934496"/>
                <a:gd name="connsiteX2004" fmla="*/ 8143386 w 9922465"/>
                <a:gd name="connsiteY2004" fmla="*/ 855263 h 1934496"/>
                <a:gd name="connsiteX2005" fmla="*/ 8009752 w 9922465"/>
                <a:gd name="connsiteY2005" fmla="*/ 855263 h 1934496"/>
                <a:gd name="connsiteX2006" fmla="*/ 8064944 w 9922465"/>
                <a:gd name="connsiteY2006" fmla="*/ 910454 h 1934496"/>
                <a:gd name="connsiteX2007" fmla="*/ 8009752 w 9922465"/>
                <a:gd name="connsiteY2007" fmla="*/ 965645 h 1934496"/>
                <a:gd name="connsiteX2008" fmla="*/ 7954560 w 9922465"/>
                <a:gd name="connsiteY2008" fmla="*/ 910454 h 1934496"/>
                <a:gd name="connsiteX2009" fmla="*/ 8009752 w 9922465"/>
                <a:gd name="connsiteY2009" fmla="*/ 855263 h 1934496"/>
                <a:gd name="connsiteX2010" fmla="*/ 7876117 w 9922465"/>
                <a:gd name="connsiteY2010" fmla="*/ 855263 h 1934496"/>
                <a:gd name="connsiteX2011" fmla="*/ 7931309 w 9922465"/>
                <a:gd name="connsiteY2011" fmla="*/ 910454 h 1934496"/>
                <a:gd name="connsiteX2012" fmla="*/ 7876117 w 9922465"/>
                <a:gd name="connsiteY2012" fmla="*/ 965645 h 1934496"/>
                <a:gd name="connsiteX2013" fmla="*/ 7820925 w 9922465"/>
                <a:gd name="connsiteY2013" fmla="*/ 910454 h 1934496"/>
                <a:gd name="connsiteX2014" fmla="*/ 7876117 w 9922465"/>
                <a:gd name="connsiteY2014" fmla="*/ 855263 h 1934496"/>
                <a:gd name="connsiteX2015" fmla="*/ 7745822 w 9922465"/>
                <a:gd name="connsiteY2015" fmla="*/ 855263 h 1934496"/>
                <a:gd name="connsiteX2016" fmla="*/ 7801014 w 9922465"/>
                <a:gd name="connsiteY2016" fmla="*/ 910454 h 1934496"/>
                <a:gd name="connsiteX2017" fmla="*/ 7745822 w 9922465"/>
                <a:gd name="connsiteY2017" fmla="*/ 965645 h 1934496"/>
                <a:gd name="connsiteX2018" fmla="*/ 7690630 w 9922465"/>
                <a:gd name="connsiteY2018" fmla="*/ 910454 h 1934496"/>
                <a:gd name="connsiteX2019" fmla="*/ 7745822 w 9922465"/>
                <a:gd name="connsiteY2019" fmla="*/ 855263 h 1934496"/>
                <a:gd name="connsiteX2020" fmla="*/ 7608849 w 9922465"/>
                <a:gd name="connsiteY2020" fmla="*/ 855263 h 1934496"/>
                <a:gd name="connsiteX2021" fmla="*/ 7664041 w 9922465"/>
                <a:gd name="connsiteY2021" fmla="*/ 910454 h 1934496"/>
                <a:gd name="connsiteX2022" fmla="*/ 7608849 w 9922465"/>
                <a:gd name="connsiteY2022" fmla="*/ 965645 h 1934496"/>
                <a:gd name="connsiteX2023" fmla="*/ 7553657 w 9922465"/>
                <a:gd name="connsiteY2023" fmla="*/ 910454 h 1934496"/>
                <a:gd name="connsiteX2024" fmla="*/ 7608849 w 9922465"/>
                <a:gd name="connsiteY2024" fmla="*/ 855263 h 1934496"/>
                <a:gd name="connsiteX2025" fmla="*/ 7481895 w 9922465"/>
                <a:gd name="connsiteY2025" fmla="*/ 855263 h 1934496"/>
                <a:gd name="connsiteX2026" fmla="*/ 7537087 w 9922465"/>
                <a:gd name="connsiteY2026" fmla="*/ 910454 h 1934496"/>
                <a:gd name="connsiteX2027" fmla="*/ 7481895 w 9922465"/>
                <a:gd name="connsiteY2027" fmla="*/ 965645 h 1934496"/>
                <a:gd name="connsiteX2028" fmla="*/ 7426703 w 9922465"/>
                <a:gd name="connsiteY2028" fmla="*/ 910454 h 1934496"/>
                <a:gd name="connsiteX2029" fmla="*/ 7481895 w 9922465"/>
                <a:gd name="connsiteY2029" fmla="*/ 855263 h 1934496"/>
                <a:gd name="connsiteX2030" fmla="*/ 7341578 w 9922465"/>
                <a:gd name="connsiteY2030" fmla="*/ 855263 h 1934496"/>
                <a:gd name="connsiteX2031" fmla="*/ 7396770 w 9922465"/>
                <a:gd name="connsiteY2031" fmla="*/ 910454 h 1934496"/>
                <a:gd name="connsiteX2032" fmla="*/ 7341578 w 9922465"/>
                <a:gd name="connsiteY2032" fmla="*/ 965645 h 1934496"/>
                <a:gd name="connsiteX2033" fmla="*/ 7286386 w 9922465"/>
                <a:gd name="connsiteY2033" fmla="*/ 910454 h 1934496"/>
                <a:gd name="connsiteX2034" fmla="*/ 7341578 w 9922465"/>
                <a:gd name="connsiteY2034" fmla="*/ 855263 h 1934496"/>
                <a:gd name="connsiteX2035" fmla="*/ 7211285 w 9922465"/>
                <a:gd name="connsiteY2035" fmla="*/ 855263 h 1934496"/>
                <a:gd name="connsiteX2036" fmla="*/ 7266477 w 9922465"/>
                <a:gd name="connsiteY2036" fmla="*/ 910454 h 1934496"/>
                <a:gd name="connsiteX2037" fmla="*/ 7211285 w 9922465"/>
                <a:gd name="connsiteY2037" fmla="*/ 965645 h 1934496"/>
                <a:gd name="connsiteX2038" fmla="*/ 7156093 w 9922465"/>
                <a:gd name="connsiteY2038" fmla="*/ 910454 h 1934496"/>
                <a:gd name="connsiteX2039" fmla="*/ 7211285 w 9922465"/>
                <a:gd name="connsiteY2039" fmla="*/ 855263 h 1934496"/>
                <a:gd name="connsiteX2040" fmla="*/ 7080993 w 9922465"/>
                <a:gd name="connsiteY2040" fmla="*/ 855263 h 1934496"/>
                <a:gd name="connsiteX2041" fmla="*/ 7136185 w 9922465"/>
                <a:gd name="connsiteY2041" fmla="*/ 910454 h 1934496"/>
                <a:gd name="connsiteX2042" fmla="*/ 7080993 w 9922465"/>
                <a:gd name="connsiteY2042" fmla="*/ 965645 h 1934496"/>
                <a:gd name="connsiteX2043" fmla="*/ 7025801 w 9922465"/>
                <a:gd name="connsiteY2043" fmla="*/ 910454 h 1934496"/>
                <a:gd name="connsiteX2044" fmla="*/ 7080993 w 9922465"/>
                <a:gd name="connsiteY2044" fmla="*/ 855263 h 1934496"/>
                <a:gd name="connsiteX2045" fmla="*/ 6947357 w 9922465"/>
                <a:gd name="connsiteY2045" fmla="*/ 855263 h 1934496"/>
                <a:gd name="connsiteX2046" fmla="*/ 7002549 w 9922465"/>
                <a:gd name="connsiteY2046" fmla="*/ 910454 h 1934496"/>
                <a:gd name="connsiteX2047" fmla="*/ 6947357 w 9922465"/>
                <a:gd name="connsiteY2047" fmla="*/ 965645 h 1934496"/>
                <a:gd name="connsiteX2048" fmla="*/ 6892165 w 9922465"/>
                <a:gd name="connsiteY2048" fmla="*/ 910454 h 1934496"/>
                <a:gd name="connsiteX2049" fmla="*/ 6947357 w 9922465"/>
                <a:gd name="connsiteY2049" fmla="*/ 855263 h 1934496"/>
                <a:gd name="connsiteX2050" fmla="*/ 6817063 w 9922465"/>
                <a:gd name="connsiteY2050" fmla="*/ 855263 h 1934496"/>
                <a:gd name="connsiteX2051" fmla="*/ 6872255 w 9922465"/>
                <a:gd name="connsiteY2051" fmla="*/ 910454 h 1934496"/>
                <a:gd name="connsiteX2052" fmla="*/ 6817063 w 9922465"/>
                <a:gd name="connsiteY2052" fmla="*/ 965645 h 1934496"/>
                <a:gd name="connsiteX2053" fmla="*/ 6761871 w 9922465"/>
                <a:gd name="connsiteY2053" fmla="*/ 910454 h 1934496"/>
                <a:gd name="connsiteX2054" fmla="*/ 6817063 w 9922465"/>
                <a:gd name="connsiteY2054" fmla="*/ 855263 h 1934496"/>
                <a:gd name="connsiteX2055" fmla="*/ 6683430 w 9922465"/>
                <a:gd name="connsiteY2055" fmla="*/ 855263 h 1934496"/>
                <a:gd name="connsiteX2056" fmla="*/ 6738622 w 9922465"/>
                <a:gd name="connsiteY2056" fmla="*/ 910454 h 1934496"/>
                <a:gd name="connsiteX2057" fmla="*/ 6683430 w 9922465"/>
                <a:gd name="connsiteY2057" fmla="*/ 965645 h 1934496"/>
                <a:gd name="connsiteX2058" fmla="*/ 6628238 w 9922465"/>
                <a:gd name="connsiteY2058" fmla="*/ 910454 h 1934496"/>
                <a:gd name="connsiteX2059" fmla="*/ 6683430 w 9922465"/>
                <a:gd name="connsiteY2059" fmla="*/ 855263 h 1934496"/>
                <a:gd name="connsiteX2060" fmla="*/ 6553135 w 9922465"/>
                <a:gd name="connsiteY2060" fmla="*/ 855263 h 1934496"/>
                <a:gd name="connsiteX2061" fmla="*/ 6608327 w 9922465"/>
                <a:gd name="connsiteY2061" fmla="*/ 910454 h 1934496"/>
                <a:gd name="connsiteX2062" fmla="*/ 6553135 w 9922465"/>
                <a:gd name="connsiteY2062" fmla="*/ 965645 h 1934496"/>
                <a:gd name="connsiteX2063" fmla="*/ 6497943 w 9922465"/>
                <a:gd name="connsiteY2063" fmla="*/ 910454 h 1934496"/>
                <a:gd name="connsiteX2064" fmla="*/ 6553135 w 9922465"/>
                <a:gd name="connsiteY2064" fmla="*/ 855263 h 1934496"/>
                <a:gd name="connsiteX2065" fmla="*/ 6419502 w 9922465"/>
                <a:gd name="connsiteY2065" fmla="*/ 855263 h 1934496"/>
                <a:gd name="connsiteX2066" fmla="*/ 6474694 w 9922465"/>
                <a:gd name="connsiteY2066" fmla="*/ 910454 h 1934496"/>
                <a:gd name="connsiteX2067" fmla="*/ 6419502 w 9922465"/>
                <a:gd name="connsiteY2067" fmla="*/ 965645 h 1934496"/>
                <a:gd name="connsiteX2068" fmla="*/ 6364310 w 9922465"/>
                <a:gd name="connsiteY2068" fmla="*/ 910454 h 1934496"/>
                <a:gd name="connsiteX2069" fmla="*/ 6419502 w 9922465"/>
                <a:gd name="connsiteY2069" fmla="*/ 855263 h 1934496"/>
                <a:gd name="connsiteX2070" fmla="*/ 6289206 w 9922465"/>
                <a:gd name="connsiteY2070" fmla="*/ 855263 h 1934496"/>
                <a:gd name="connsiteX2071" fmla="*/ 6344398 w 9922465"/>
                <a:gd name="connsiteY2071" fmla="*/ 910454 h 1934496"/>
                <a:gd name="connsiteX2072" fmla="*/ 6289206 w 9922465"/>
                <a:gd name="connsiteY2072" fmla="*/ 965645 h 1934496"/>
                <a:gd name="connsiteX2073" fmla="*/ 6234014 w 9922465"/>
                <a:gd name="connsiteY2073" fmla="*/ 910454 h 1934496"/>
                <a:gd name="connsiteX2074" fmla="*/ 6289206 w 9922465"/>
                <a:gd name="connsiteY2074" fmla="*/ 855263 h 1934496"/>
                <a:gd name="connsiteX2075" fmla="*/ 6155571 w 9922465"/>
                <a:gd name="connsiteY2075" fmla="*/ 855263 h 1934496"/>
                <a:gd name="connsiteX2076" fmla="*/ 6210763 w 9922465"/>
                <a:gd name="connsiteY2076" fmla="*/ 910454 h 1934496"/>
                <a:gd name="connsiteX2077" fmla="*/ 6155571 w 9922465"/>
                <a:gd name="connsiteY2077" fmla="*/ 965645 h 1934496"/>
                <a:gd name="connsiteX2078" fmla="*/ 6100379 w 9922465"/>
                <a:gd name="connsiteY2078" fmla="*/ 910454 h 1934496"/>
                <a:gd name="connsiteX2079" fmla="*/ 6155571 w 9922465"/>
                <a:gd name="connsiteY2079" fmla="*/ 855263 h 1934496"/>
                <a:gd name="connsiteX2080" fmla="*/ 6021938 w 9922465"/>
                <a:gd name="connsiteY2080" fmla="*/ 855263 h 1934496"/>
                <a:gd name="connsiteX2081" fmla="*/ 6077130 w 9922465"/>
                <a:gd name="connsiteY2081" fmla="*/ 910454 h 1934496"/>
                <a:gd name="connsiteX2082" fmla="*/ 6021938 w 9922465"/>
                <a:gd name="connsiteY2082" fmla="*/ 965645 h 1934496"/>
                <a:gd name="connsiteX2083" fmla="*/ 5966746 w 9922465"/>
                <a:gd name="connsiteY2083" fmla="*/ 910454 h 1934496"/>
                <a:gd name="connsiteX2084" fmla="*/ 6021938 w 9922465"/>
                <a:gd name="connsiteY2084" fmla="*/ 855263 h 1934496"/>
                <a:gd name="connsiteX2085" fmla="*/ 5884961 w 9922465"/>
                <a:gd name="connsiteY2085" fmla="*/ 855263 h 1934496"/>
                <a:gd name="connsiteX2086" fmla="*/ 5940153 w 9922465"/>
                <a:gd name="connsiteY2086" fmla="*/ 910454 h 1934496"/>
                <a:gd name="connsiteX2087" fmla="*/ 5884961 w 9922465"/>
                <a:gd name="connsiteY2087" fmla="*/ 965645 h 1934496"/>
                <a:gd name="connsiteX2088" fmla="*/ 5829769 w 9922465"/>
                <a:gd name="connsiteY2088" fmla="*/ 910454 h 1934496"/>
                <a:gd name="connsiteX2089" fmla="*/ 5884961 w 9922465"/>
                <a:gd name="connsiteY2089" fmla="*/ 855263 h 1934496"/>
                <a:gd name="connsiteX2090" fmla="*/ 5754668 w 9922465"/>
                <a:gd name="connsiteY2090" fmla="*/ 855263 h 1934496"/>
                <a:gd name="connsiteX2091" fmla="*/ 5809860 w 9922465"/>
                <a:gd name="connsiteY2091" fmla="*/ 910454 h 1934496"/>
                <a:gd name="connsiteX2092" fmla="*/ 5754668 w 9922465"/>
                <a:gd name="connsiteY2092" fmla="*/ 965645 h 1934496"/>
                <a:gd name="connsiteX2093" fmla="*/ 5699476 w 9922465"/>
                <a:gd name="connsiteY2093" fmla="*/ 910454 h 1934496"/>
                <a:gd name="connsiteX2094" fmla="*/ 5754668 w 9922465"/>
                <a:gd name="connsiteY2094" fmla="*/ 855263 h 1934496"/>
                <a:gd name="connsiteX2095" fmla="*/ 5621034 w 9922465"/>
                <a:gd name="connsiteY2095" fmla="*/ 855263 h 1934496"/>
                <a:gd name="connsiteX2096" fmla="*/ 5676226 w 9922465"/>
                <a:gd name="connsiteY2096" fmla="*/ 910454 h 1934496"/>
                <a:gd name="connsiteX2097" fmla="*/ 5621034 w 9922465"/>
                <a:gd name="connsiteY2097" fmla="*/ 965645 h 1934496"/>
                <a:gd name="connsiteX2098" fmla="*/ 5565842 w 9922465"/>
                <a:gd name="connsiteY2098" fmla="*/ 910454 h 1934496"/>
                <a:gd name="connsiteX2099" fmla="*/ 5621034 w 9922465"/>
                <a:gd name="connsiteY2099" fmla="*/ 855263 h 1934496"/>
                <a:gd name="connsiteX2100" fmla="*/ 5487399 w 9922465"/>
                <a:gd name="connsiteY2100" fmla="*/ 855263 h 1934496"/>
                <a:gd name="connsiteX2101" fmla="*/ 5542591 w 9922465"/>
                <a:gd name="connsiteY2101" fmla="*/ 910454 h 1934496"/>
                <a:gd name="connsiteX2102" fmla="*/ 5487399 w 9922465"/>
                <a:gd name="connsiteY2102" fmla="*/ 965645 h 1934496"/>
                <a:gd name="connsiteX2103" fmla="*/ 5432207 w 9922465"/>
                <a:gd name="connsiteY2103" fmla="*/ 910454 h 1934496"/>
                <a:gd name="connsiteX2104" fmla="*/ 5487399 w 9922465"/>
                <a:gd name="connsiteY2104" fmla="*/ 855263 h 1934496"/>
                <a:gd name="connsiteX2105" fmla="*/ 5357105 w 9922465"/>
                <a:gd name="connsiteY2105" fmla="*/ 855263 h 1934496"/>
                <a:gd name="connsiteX2106" fmla="*/ 5412297 w 9922465"/>
                <a:gd name="connsiteY2106" fmla="*/ 910454 h 1934496"/>
                <a:gd name="connsiteX2107" fmla="*/ 5357105 w 9922465"/>
                <a:gd name="connsiteY2107" fmla="*/ 965645 h 1934496"/>
                <a:gd name="connsiteX2108" fmla="*/ 5301913 w 9922465"/>
                <a:gd name="connsiteY2108" fmla="*/ 910454 h 1934496"/>
                <a:gd name="connsiteX2109" fmla="*/ 5357105 w 9922465"/>
                <a:gd name="connsiteY2109" fmla="*/ 855263 h 1934496"/>
                <a:gd name="connsiteX2110" fmla="*/ 5223472 w 9922465"/>
                <a:gd name="connsiteY2110" fmla="*/ 855263 h 1934496"/>
                <a:gd name="connsiteX2111" fmla="*/ 5278664 w 9922465"/>
                <a:gd name="connsiteY2111" fmla="*/ 910454 h 1934496"/>
                <a:gd name="connsiteX2112" fmla="*/ 5223472 w 9922465"/>
                <a:gd name="connsiteY2112" fmla="*/ 965645 h 1934496"/>
                <a:gd name="connsiteX2113" fmla="*/ 5168280 w 9922465"/>
                <a:gd name="connsiteY2113" fmla="*/ 910454 h 1934496"/>
                <a:gd name="connsiteX2114" fmla="*/ 5223472 w 9922465"/>
                <a:gd name="connsiteY2114" fmla="*/ 855263 h 1934496"/>
                <a:gd name="connsiteX2115" fmla="*/ 5093178 w 9922465"/>
                <a:gd name="connsiteY2115" fmla="*/ 855263 h 1934496"/>
                <a:gd name="connsiteX2116" fmla="*/ 5148370 w 9922465"/>
                <a:gd name="connsiteY2116" fmla="*/ 910454 h 1934496"/>
                <a:gd name="connsiteX2117" fmla="*/ 5093178 w 9922465"/>
                <a:gd name="connsiteY2117" fmla="*/ 965645 h 1934496"/>
                <a:gd name="connsiteX2118" fmla="*/ 5037986 w 9922465"/>
                <a:gd name="connsiteY2118" fmla="*/ 910454 h 1934496"/>
                <a:gd name="connsiteX2119" fmla="*/ 5093178 w 9922465"/>
                <a:gd name="connsiteY2119" fmla="*/ 855263 h 1934496"/>
                <a:gd name="connsiteX2120" fmla="*/ 4161076 w 9922465"/>
                <a:gd name="connsiteY2120" fmla="*/ 855263 h 1934496"/>
                <a:gd name="connsiteX2121" fmla="*/ 4216268 w 9922465"/>
                <a:gd name="connsiteY2121" fmla="*/ 910454 h 1934496"/>
                <a:gd name="connsiteX2122" fmla="*/ 4161076 w 9922465"/>
                <a:gd name="connsiteY2122" fmla="*/ 965645 h 1934496"/>
                <a:gd name="connsiteX2123" fmla="*/ 4105884 w 9922465"/>
                <a:gd name="connsiteY2123" fmla="*/ 910454 h 1934496"/>
                <a:gd name="connsiteX2124" fmla="*/ 4161076 w 9922465"/>
                <a:gd name="connsiteY2124" fmla="*/ 855263 h 1934496"/>
                <a:gd name="connsiteX2125" fmla="*/ 3633218 w 9922465"/>
                <a:gd name="connsiteY2125" fmla="*/ 855263 h 1934496"/>
                <a:gd name="connsiteX2126" fmla="*/ 3688410 w 9922465"/>
                <a:gd name="connsiteY2126" fmla="*/ 910454 h 1934496"/>
                <a:gd name="connsiteX2127" fmla="*/ 3633218 w 9922465"/>
                <a:gd name="connsiteY2127" fmla="*/ 965645 h 1934496"/>
                <a:gd name="connsiteX2128" fmla="*/ 3578026 w 9922465"/>
                <a:gd name="connsiteY2128" fmla="*/ 910454 h 1934496"/>
                <a:gd name="connsiteX2129" fmla="*/ 3633218 w 9922465"/>
                <a:gd name="connsiteY2129" fmla="*/ 855263 h 1934496"/>
                <a:gd name="connsiteX2130" fmla="*/ 3499586 w 9922465"/>
                <a:gd name="connsiteY2130" fmla="*/ 855263 h 1934496"/>
                <a:gd name="connsiteX2131" fmla="*/ 3554778 w 9922465"/>
                <a:gd name="connsiteY2131" fmla="*/ 910454 h 1934496"/>
                <a:gd name="connsiteX2132" fmla="*/ 3499586 w 9922465"/>
                <a:gd name="connsiteY2132" fmla="*/ 965645 h 1934496"/>
                <a:gd name="connsiteX2133" fmla="*/ 3444394 w 9922465"/>
                <a:gd name="connsiteY2133" fmla="*/ 910454 h 1934496"/>
                <a:gd name="connsiteX2134" fmla="*/ 3499586 w 9922465"/>
                <a:gd name="connsiteY2134" fmla="*/ 855263 h 1934496"/>
                <a:gd name="connsiteX2135" fmla="*/ 3369290 w 9922465"/>
                <a:gd name="connsiteY2135" fmla="*/ 855263 h 1934496"/>
                <a:gd name="connsiteX2136" fmla="*/ 3424482 w 9922465"/>
                <a:gd name="connsiteY2136" fmla="*/ 910454 h 1934496"/>
                <a:gd name="connsiteX2137" fmla="*/ 3369290 w 9922465"/>
                <a:gd name="connsiteY2137" fmla="*/ 965645 h 1934496"/>
                <a:gd name="connsiteX2138" fmla="*/ 3314098 w 9922465"/>
                <a:gd name="connsiteY2138" fmla="*/ 910454 h 1934496"/>
                <a:gd name="connsiteX2139" fmla="*/ 3369290 w 9922465"/>
                <a:gd name="connsiteY2139" fmla="*/ 855263 h 1934496"/>
                <a:gd name="connsiteX2140" fmla="*/ 2834849 w 9922465"/>
                <a:gd name="connsiteY2140" fmla="*/ 855263 h 1934496"/>
                <a:gd name="connsiteX2141" fmla="*/ 2890040 w 9922465"/>
                <a:gd name="connsiteY2141" fmla="*/ 910454 h 1934496"/>
                <a:gd name="connsiteX2142" fmla="*/ 2834849 w 9922465"/>
                <a:gd name="connsiteY2142" fmla="*/ 965645 h 1934496"/>
                <a:gd name="connsiteX2143" fmla="*/ 2779655 w 9922465"/>
                <a:gd name="connsiteY2143" fmla="*/ 910454 h 1934496"/>
                <a:gd name="connsiteX2144" fmla="*/ 2834849 w 9922465"/>
                <a:gd name="connsiteY2144" fmla="*/ 855263 h 1934496"/>
                <a:gd name="connsiteX2145" fmla="*/ 2707895 w 9922465"/>
                <a:gd name="connsiteY2145" fmla="*/ 855263 h 1934496"/>
                <a:gd name="connsiteX2146" fmla="*/ 2763087 w 9922465"/>
                <a:gd name="connsiteY2146" fmla="*/ 910454 h 1934496"/>
                <a:gd name="connsiteX2147" fmla="*/ 2707895 w 9922465"/>
                <a:gd name="connsiteY2147" fmla="*/ 965645 h 1934496"/>
                <a:gd name="connsiteX2148" fmla="*/ 2652702 w 9922465"/>
                <a:gd name="connsiteY2148" fmla="*/ 910454 h 1934496"/>
                <a:gd name="connsiteX2149" fmla="*/ 2707895 w 9922465"/>
                <a:gd name="connsiteY2149" fmla="*/ 855263 h 1934496"/>
                <a:gd name="connsiteX2150" fmla="*/ 2570919 w 9922465"/>
                <a:gd name="connsiteY2150" fmla="*/ 855263 h 1934496"/>
                <a:gd name="connsiteX2151" fmla="*/ 2626110 w 9922465"/>
                <a:gd name="connsiteY2151" fmla="*/ 910454 h 1934496"/>
                <a:gd name="connsiteX2152" fmla="*/ 2570919 w 9922465"/>
                <a:gd name="connsiteY2152" fmla="*/ 965645 h 1934496"/>
                <a:gd name="connsiteX2153" fmla="*/ 2515724 w 9922465"/>
                <a:gd name="connsiteY2153" fmla="*/ 910454 h 1934496"/>
                <a:gd name="connsiteX2154" fmla="*/ 2570919 w 9922465"/>
                <a:gd name="connsiteY2154" fmla="*/ 855263 h 1934496"/>
                <a:gd name="connsiteX2155" fmla="*/ 2303651 w 9922465"/>
                <a:gd name="connsiteY2155" fmla="*/ 855263 h 1934496"/>
                <a:gd name="connsiteX2156" fmla="*/ 2358843 w 9922465"/>
                <a:gd name="connsiteY2156" fmla="*/ 910454 h 1934496"/>
                <a:gd name="connsiteX2157" fmla="*/ 2303651 w 9922465"/>
                <a:gd name="connsiteY2157" fmla="*/ 965645 h 1934496"/>
                <a:gd name="connsiteX2158" fmla="*/ 2248461 w 9922465"/>
                <a:gd name="connsiteY2158" fmla="*/ 910454 h 1934496"/>
                <a:gd name="connsiteX2159" fmla="*/ 2303651 w 9922465"/>
                <a:gd name="connsiteY2159" fmla="*/ 855263 h 1934496"/>
                <a:gd name="connsiteX2160" fmla="*/ 2173362 w 9922465"/>
                <a:gd name="connsiteY2160" fmla="*/ 855263 h 1934496"/>
                <a:gd name="connsiteX2161" fmla="*/ 2228554 w 9922465"/>
                <a:gd name="connsiteY2161" fmla="*/ 910454 h 1934496"/>
                <a:gd name="connsiteX2162" fmla="*/ 2173362 w 9922465"/>
                <a:gd name="connsiteY2162" fmla="*/ 965645 h 1934496"/>
                <a:gd name="connsiteX2163" fmla="*/ 2118170 w 9922465"/>
                <a:gd name="connsiteY2163" fmla="*/ 910454 h 1934496"/>
                <a:gd name="connsiteX2164" fmla="*/ 2173362 w 9922465"/>
                <a:gd name="connsiteY2164" fmla="*/ 855263 h 1934496"/>
                <a:gd name="connsiteX2165" fmla="*/ 2039725 w 9922465"/>
                <a:gd name="connsiteY2165" fmla="*/ 855263 h 1934496"/>
                <a:gd name="connsiteX2166" fmla="*/ 2094919 w 9922465"/>
                <a:gd name="connsiteY2166" fmla="*/ 910454 h 1934496"/>
                <a:gd name="connsiteX2167" fmla="*/ 2039725 w 9922465"/>
                <a:gd name="connsiteY2167" fmla="*/ 965645 h 1934496"/>
                <a:gd name="connsiteX2168" fmla="*/ 1984533 w 9922465"/>
                <a:gd name="connsiteY2168" fmla="*/ 910454 h 1934496"/>
                <a:gd name="connsiteX2169" fmla="*/ 2039725 w 9922465"/>
                <a:gd name="connsiteY2169" fmla="*/ 855263 h 1934496"/>
                <a:gd name="connsiteX2170" fmla="*/ 1909428 w 9922465"/>
                <a:gd name="connsiteY2170" fmla="*/ 855263 h 1934496"/>
                <a:gd name="connsiteX2171" fmla="*/ 1964620 w 9922465"/>
                <a:gd name="connsiteY2171" fmla="*/ 910454 h 1934496"/>
                <a:gd name="connsiteX2172" fmla="*/ 1909428 w 9922465"/>
                <a:gd name="connsiteY2172" fmla="*/ 965645 h 1934496"/>
                <a:gd name="connsiteX2173" fmla="*/ 1854234 w 9922465"/>
                <a:gd name="connsiteY2173" fmla="*/ 910454 h 1934496"/>
                <a:gd name="connsiteX2174" fmla="*/ 1909428 w 9922465"/>
                <a:gd name="connsiteY2174" fmla="*/ 855263 h 1934496"/>
                <a:gd name="connsiteX2175" fmla="*/ 1779130 w 9922465"/>
                <a:gd name="connsiteY2175" fmla="*/ 855263 h 1934496"/>
                <a:gd name="connsiteX2176" fmla="*/ 1834324 w 9922465"/>
                <a:gd name="connsiteY2176" fmla="*/ 910454 h 1934496"/>
                <a:gd name="connsiteX2177" fmla="*/ 1779130 w 9922465"/>
                <a:gd name="connsiteY2177" fmla="*/ 965645 h 1934496"/>
                <a:gd name="connsiteX2178" fmla="*/ 1723937 w 9922465"/>
                <a:gd name="connsiteY2178" fmla="*/ 910454 h 1934496"/>
                <a:gd name="connsiteX2179" fmla="*/ 1779130 w 9922465"/>
                <a:gd name="connsiteY2179" fmla="*/ 855263 h 1934496"/>
                <a:gd name="connsiteX2180" fmla="*/ 1645495 w 9922465"/>
                <a:gd name="connsiteY2180" fmla="*/ 855263 h 1934496"/>
                <a:gd name="connsiteX2181" fmla="*/ 1700693 w 9922465"/>
                <a:gd name="connsiteY2181" fmla="*/ 910454 h 1934496"/>
                <a:gd name="connsiteX2182" fmla="*/ 1645495 w 9922465"/>
                <a:gd name="connsiteY2182" fmla="*/ 965645 h 1934496"/>
                <a:gd name="connsiteX2183" fmla="*/ 1590303 w 9922465"/>
                <a:gd name="connsiteY2183" fmla="*/ 910454 h 1934496"/>
                <a:gd name="connsiteX2184" fmla="*/ 1645495 w 9922465"/>
                <a:gd name="connsiteY2184" fmla="*/ 855263 h 1934496"/>
                <a:gd name="connsiteX2185" fmla="*/ 1515206 w 9922465"/>
                <a:gd name="connsiteY2185" fmla="*/ 855263 h 1934496"/>
                <a:gd name="connsiteX2186" fmla="*/ 1570391 w 9922465"/>
                <a:gd name="connsiteY2186" fmla="*/ 910454 h 1934496"/>
                <a:gd name="connsiteX2187" fmla="*/ 1515206 w 9922465"/>
                <a:gd name="connsiteY2187" fmla="*/ 965645 h 1934496"/>
                <a:gd name="connsiteX2188" fmla="*/ 1460009 w 9922465"/>
                <a:gd name="connsiteY2188" fmla="*/ 910454 h 1934496"/>
                <a:gd name="connsiteX2189" fmla="*/ 1515206 w 9922465"/>
                <a:gd name="connsiteY2189" fmla="*/ 855263 h 1934496"/>
                <a:gd name="connsiteX2190" fmla="*/ 1381566 w 9922465"/>
                <a:gd name="connsiteY2190" fmla="*/ 855263 h 1934496"/>
                <a:gd name="connsiteX2191" fmla="*/ 1436758 w 9922465"/>
                <a:gd name="connsiteY2191" fmla="*/ 910454 h 1934496"/>
                <a:gd name="connsiteX2192" fmla="*/ 1381566 w 9922465"/>
                <a:gd name="connsiteY2192" fmla="*/ 965645 h 1934496"/>
                <a:gd name="connsiteX2193" fmla="*/ 1326375 w 9922465"/>
                <a:gd name="connsiteY2193" fmla="*/ 910454 h 1934496"/>
                <a:gd name="connsiteX2194" fmla="*/ 1381566 w 9922465"/>
                <a:gd name="connsiteY2194" fmla="*/ 855263 h 1934496"/>
                <a:gd name="connsiteX2195" fmla="*/ 1251271 w 9922465"/>
                <a:gd name="connsiteY2195" fmla="*/ 855263 h 1934496"/>
                <a:gd name="connsiteX2196" fmla="*/ 1306464 w 9922465"/>
                <a:gd name="connsiteY2196" fmla="*/ 910454 h 1934496"/>
                <a:gd name="connsiteX2197" fmla="*/ 1251271 w 9922465"/>
                <a:gd name="connsiteY2197" fmla="*/ 965645 h 1934496"/>
                <a:gd name="connsiteX2198" fmla="*/ 1196078 w 9922465"/>
                <a:gd name="connsiteY2198" fmla="*/ 910454 h 1934496"/>
                <a:gd name="connsiteX2199" fmla="*/ 1251271 w 9922465"/>
                <a:gd name="connsiteY2199" fmla="*/ 855263 h 1934496"/>
                <a:gd name="connsiteX2200" fmla="*/ 1117634 w 9922465"/>
                <a:gd name="connsiteY2200" fmla="*/ 855263 h 1934496"/>
                <a:gd name="connsiteX2201" fmla="*/ 1172828 w 9922465"/>
                <a:gd name="connsiteY2201" fmla="*/ 910454 h 1934496"/>
                <a:gd name="connsiteX2202" fmla="*/ 1117634 w 9922465"/>
                <a:gd name="connsiteY2202" fmla="*/ 965645 h 1934496"/>
                <a:gd name="connsiteX2203" fmla="*/ 1062440 w 9922465"/>
                <a:gd name="connsiteY2203" fmla="*/ 910454 h 1934496"/>
                <a:gd name="connsiteX2204" fmla="*/ 1117634 w 9922465"/>
                <a:gd name="connsiteY2204" fmla="*/ 855263 h 1934496"/>
                <a:gd name="connsiteX2205" fmla="*/ 980654 w 9922465"/>
                <a:gd name="connsiteY2205" fmla="*/ 855263 h 1934496"/>
                <a:gd name="connsiteX2206" fmla="*/ 1035848 w 9922465"/>
                <a:gd name="connsiteY2206" fmla="*/ 910454 h 1934496"/>
                <a:gd name="connsiteX2207" fmla="*/ 980654 w 9922465"/>
                <a:gd name="connsiteY2207" fmla="*/ 965645 h 1934496"/>
                <a:gd name="connsiteX2208" fmla="*/ 925460 w 9922465"/>
                <a:gd name="connsiteY2208" fmla="*/ 910454 h 1934496"/>
                <a:gd name="connsiteX2209" fmla="*/ 980654 w 9922465"/>
                <a:gd name="connsiteY2209" fmla="*/ 855263 h 1934496"/>
                <a:gd name="connsiteX2210" fmla="*/ 847016 w 9922465"/>
                <a:gd name="connsiteY2210" fmla="*/ 855263 h 1934496"/>
                <a:gd name="connsiteX2211" fmla="*/ 902209 w 9922465"/>
                <a:gd name="connsiteY2211" fmla="*/ 910454 h 1934496"/>
                <a:gd name="connsiteX2212" fmla="*/ 847016 w 9922465"/>
                <a:gd name="connsiteY2212" fmla="*/ 965645 h 1934496"/>
                <a:gd name="connsiteX2213" fmla="*/ 791816 w 9922465"/>
                <a:gd name="connsiteY2213" fmla="*/ 910454 h 1934496"/>
                <a:gd name="connsiteX2214" fmla="*/ 847016 w 9922465"/>
                <a:gd name="connsiteY2214" fmla="*/ 855263 h 1934496"/>
                <a:gd name="connsiteX2215" fmla="*/ 716709 w 9922465"/>
                <a:gd name="connsiteY2215" fmla="*/ 855263 h 1934496"/>
                <a:gd name="connsiteX2216" fmla="*/ 771907 w 9922465"/>
                <a:gd name="connsiteY2216" fmla="*/ 910454 h 1934496"/>
                <a:gd name="connsiteX2217" fmla="*/ 716709 w 9922465"/>
                <a:gd name="connsiteY2217" fmla="*/ 965645 h 1934496"/>
                <a:gd name="connsiteX2218" fmla="*/ 661522 w 9922465"/>
                <a:gd name="connsiteY2218" fmla="*/ 910454 h 1934496"/>
                <a:gd name="connsiteX2219" fmla="*/ 716709 w 9922465"/>
                <a:gd name="connsiteY2219" fmla="*/ 855263 h 1934496"/>
                <a:gd name="connsiteX2220" fmla="*/ 583074 w 9922465"/>
                <a:gd name="connsiteY2220" fmla="*/ 855263 h 1934496"/>
                <a:gd name="connsiteX2221" fmla="*/ 638268 w 9922465"/>
                <a:gd name="connsiteY2221" fmla="*/ 910454 h 1934496"/>
                <a:gd name="connsiteX2222" fmla="*/ 583074 w 9922465"/>
                <a:gd name="connsiteY2222" fmla="*/ 965645 h 1934496"/>
                <a:gd name="connsiteX2223" fmla="*/ 527881 w 9922465"/>
                <a:gd name="connsiteY2223" fmla="*/ 910454 h 1934496"/>
                <a:gd name="connsiteX2224" fmla="*/ 583074 w 9922465"/>
                <a:gd name="connsiteY2224" fmla="*/ 855263 h 1934496"/>
                <a:gd name="connsiteX2225" fmla="*/ 9867273 w 9922465"/>
                <a:gd name="connsiteY2225" fmla="*/ 855260 h 1934496"/>
                <a:gd name="connsiteX2226" fmla="*/ 9922465 w 9922465"/>
                <a:gd name="connsiteY2226" fmla="*/ 910451 h 1934496"/>
                <a:gd name="connsiteX2227" fmla="*/ 9867273 w 9922465"/>
                <a:gd name="connsiteY2227" fmla="*/ 965642 h 1934496"/>
                <a:gd name="connsiteX2228" fmla="*/ 9812081 w 9922465"/>
                <a:gd name="connsiteY2228" fmla="*/ 910451 h 1934496"/>
                <a:gd name="connsiteX2229" fmla="*/ 9867273 w 9922465"/>
                <a:gd name="connsiteY2229" fmla="*/ 855260 h 1934496"/>
                <a:gd name="connsiteX2230" fmla="*/ 9733637 w 9922465"/>
                <a:gd name="connsiteY2230" fmla="*/ 855260 h 1934496"/>
                <a:gd name="connsiteX2231" fmla="*/ 9788829 w 9922465"/>
                <a:gd name="connsiteY2231" fmla="*/ 910451 h 1934496"/>
                <a:gd name="connsiteX2232" fmla="*/ 9733637 w 9922465"/>
                <a:gd name="connsiteY2232" fmla="*/ 965642 h 1934496"/>
                <a:gd name="connsiteX2233" fmla="*/ 9678445 w 9922465"/>
                <a:gd name="connsiteY2233" fmla="*/ 910451 h 1934496"/>
                <a:gd name="connsiteX2234" fmla="*/ 9733637 w 9922465"/>
                <a:gd name="connsiteY2234" fmla="*/ 855260 h 1934496"/>
                <a:gd name="connsiteX2235" fmla="*/ 9603343 w 9922465"/>
                <a:gd name="connsiteY2235" fmla="*/ 855260 h 1934496"/>
                <a:gd name="connsiteX2236" fmla="*/ 9658535 w 9922465"/>
                <a:gd name="connsiteY2236" fmla="*/ 910451 h 1934496"/>
                <a:gd name="connsiteX2237" fmla="*/ 9603343 w 9922465"/>
                <a:gd name="connsiteY2237" fmla="*/ 965642 h 1934496"/>
                <a:gd name="connsiteX2238" fmla="*/ 9548151 w 9922465"/>
                <a:gd name="connsiteY2238" fmla="*/ 910451 h 1934496"/>
                <a:gd name="connsiteX2239" fmla="*/ 9603343 w 9922465"/>
                <a:gd name="connsiteY2239" fmla="*/ 855260 h 1934496"/>
                <a:gd name="connsiteX2240" fmla="*/ 449429 w 9922465"/>
                <a:gd name="connsiteY2240" fmla="*/ 855260 h 1934496"/>
                <a:gd name="connsiteX2241" fmla="*/ 504621 w 9922465"/>
                <a:gd name="connsiteY2241" fmla="*/ 910451 h 1934496"/>
                <a:gd name="connsiteX2242" fmla="*/ 449429 w 9922465"/>
                <a:gd name="connsiteY2242" fmla="*/ 965642 h 1934496"/>
                <a:gd name="connsiteX2243" fmla="*/ 394234 w 9922465"/>
                <a:gd name="connsiteY2243" fmla="*/ 910451 h 1934496"/>
                <a:gd name="connsiteX2244" fmla="*/ 449429 w 9922465"/>
                <a:gd name="connsiteY2244" fmla="*/ 855260 h 1934496"/>
                <a:gd name="connsiteX2245" fmla="*/ 319132 w 9922465"/>
                <a:gd name="connsiteY2245" fmla="*/ 855260 h 1934496"/>
                <a:gd name="connsiteX2246" fmla="*/ 374326 w 9922465"/>
                <a:gd name="connsiteY2246" fmla="*/ 910451 h 1934496"/>
                <a:gd name="connsiteX2247" fmla="*/ 319132 w 9922465"/>
                <a:gd name="connsiteY2247" fmla="*/ 965642 h 1934496"/>
                <a:gd name="connsiteX2248" fmla="*/ 263940 w 9922465"/>
                <a:gd name="connsiteY2248" fmla="*/ 910451 h 1934496"/>
                <a:gd name="connsiteX2249" fmla="*/ 319132 w 9922465"/>
                <a:gd name="connsiteY2249" fmla="*/ 855260 h 1934496"/>
                <a:gd name="connsiteX2250" fmla="*/ 185499 w 9922465"/>
                <a:gd name="connsiteY2250" fmla="*/ 855260 h 1934496"/>
                <a:gd name="connsiteX2251" fmla="*/ 240690 w 9922465"/>
                <a:gd name="connsiteY2251" fmla="*/ 910451 h 1934496"/>
                <a:gd name="connsiteX2252" fmla="*/ 185499 w 9922465"/>
                <a:gd name="connsiteY2252" fmla="*/ 965642 h 1934496"/>
                <a:gd name="connsiteX2253" fmla="*/ 130308 w 9922465"/>
                <a:gd name="connsiteY2253" fmla="*/ 910451 h 1934496"/>
                <a:gd name="connsiteX2254" fmla="*/ 185499 w 9922465"/>
                <a:gd name="connsiteY2254" fmla="*/ 855260 h 1934496"/>
                <a:gd name="connsiteX2255" fmla="*/ 9733637 w 9922465"/>
                <a:gd name="connsiteY2255" fmla="*/ 724970 h 1934496"/>
                <a:gd name="connsiteX2256" fmla="*/ 9788829 w 9922465"/>
                <a:gd name="connsiteY2256" fmla="*/ 780161 h 1934496"/>
                <a:gd name="connsiteX2257" fmla="*/ 9733637 w 9922465"/>
                <a:gd name="connsiteY2257" fmla="*/ 835352 h 1934496"/>
                <a:gd name="connsiteX2258" fmla="*/ 9678445 w 9922465"/>
                <a:gd name="connsiteY2258" fmla="*/ 780161 h 1934496"/>
                <a:gd name="connsiteX2259" fmla="*/ 9733637 w 9922465"/>
                <a:gd name="connsiteY2259" fmla="*/ 724970 h 1934496"/>
                <a:gd name="connsiteX2260" fmla="*/ 9603344 w 9922465"/>
                <a:gd name="connsiteY2260" fmla="*/ 724970 h 1934496"/>
                <a:gd name="connsiteX2261" fmla="*/ 9658536 w 9922465"/>
                <a:gd name="connsiteY2261" fmla="*/ 780161 h 1934496"/>
                <a:gd name="connsiteX2262" fmla="*/ 9603344 w 9922465"/>
                <a:gd name="connsiteY2262" fmla="*/ 835352 h 1934496"/>
                <a:gd name="connsiteX2263" fmla="*/ 9548152 w 9922465"/>
                <a:gd name="connsiteY2263" fmla="*/ 780161 h 1934496"/>
                <a:gd name="connsiteX2264" fmla="*/ 9603344 w 9922465"/>
                <a:gd name="connsiteY2264" fmla="*/ 724970 h 1934496"/>
                <a:gd name="connsiteX2265" fmla="*/ 9469710 w 9922465"/>
                <a:gd name="connsiteY2265" fmla="*/ 724970 h 1934496"/>
                <a:gd name="connsiteX2266" fmla="*/ 9524902 w 9922465"/>
                <a:gd name="connsiteY2266" fmla="*/ 780161 h 1934496"/>
                <a:gd name="connsiteX2267" fmla="*/ 9469710 w 9922465"/>
                <a:gd name="connsiteY2267" fmla="*/ 835352 h 1934496"/>
                <a:gd name="connsiteX2268" fmla="*/ 9414518 w 9922465"/>
                <a:gd name="connsiteY2268" fmla="*/ 780161 h 1934496"/>
                <a:gd name="connsiteX2269" fmla="*/ 9469710 w 9922465"/>
                <a:gd name="connsiteY2269" fmla="*/ 724970 h 1934496"/>
                <a:gd name="connsiteX2270" fmla="*/ 9336075 w 9922465"/>
                <a:gd name="connsiteY2270" fmla="*/ 724970 h 1934496"/>
                <a:gd name="connsiteX2271" fmla="*/ 9391267 w 9922465"/>
                <a:gd name="connsiteY2271" fmla="*/ 780161 h 1934496"/>
                <a:gd name="connsiteX2272" fmla="*/ 9336075 w 9922465"/>
                <a:gd name="connsiteY2272" fmla="*/ 835352 h 1934496"/>
                <a:gd name="connsiteX2273" fmla="*/ 9280883 w 9922465"/>
                <a:gd name="connsiteY2273" fmla="*/ 780161 h 1934496"/>
                <a:gd name="connsiteX2274" fmla="*/ 9336075 w 9922465"/>
                <a:gd name="connsiteY2274" fmla="*/ 724970 h 1934496"/>
                <a:gd name="connsiteX2275" fmla="*/ 9199100 w 9922465"/>
                <a:gd name="connsiteY2275" fmla="*/ 724970 h 1934496"/>
                <a:gd name="connsiteX2276" fmla="*/ 9254292 w 9922465"/>
                <a:gd name="connsiteY2276" fmla="*/ 780161 h 1934496"/>
                <a:gd name="connsiteX2277" fmla="*/ 9199100 w 9922465"/>
                <a:gd name="connsiteY2277" fmla="*/ 835352 h 1934496"/>
                <a:gd name="connsiteX2278" fmla="*/ 9143908 w 9922465"/>
                <a:gd name="connsiteY2278" fmla="*/ 780161 h 1934496"/>
                <a:gd name="connsiteX2279" fmla="*/ 9199100 w 9922465"/>
                <a:gd name="connsiteY2279" fmla="*/ 724970 h 1934496"/>
                <a:gd name="connsiteX2280" fmla="*/ 9068806 w 9922465"/>
                <a:gd name="connsiteY2280" fmla="*/ 724970 h 1934496"/>
                <a:gd name="connsiteX2281" fmla="*/ 9123998 w 9922465"/>
                <a:gd name="connsiteY2281" fmla="*/ 780161 h 1934496"/>
                <a:gd name="connsiteX2282" fmla="*/ 9068806 w 9922465"/>
                <a:gd name="connsiteY2282" fmla="*/ 835352 h 1934496"/>
                <a:gd name="connsiteX2283" fmla="*/ 9013614 w 9922465"/>
                <a:gd name="connsiteY2283" fmla="*/ 780161 h 1934496"/>
                <a:gd name="connsiteX2284" fmla="*/ 9068806 w 9922465"/>
                <a:gd name="connsiteY2284" fmla="*/ 724970 h 1934496"/>
                <a:gd name="connsiteX2285" fmla="*/ 8935170 w 9922465"/>
                <a:gd name="connsiteY2285" fmla="*/ 724970 h 1934496"/>
                <a:gd name="connsiteX2286" fmla="*/ 8990362 w 9922465"/>
                <a:gd name="connsiteY2286" fmla="*/ 780161 h 1934496"/>
                <a:gd name="connsiteX2287" fmla="*/ 8935170 w 9922465"/>
                <a:gd name="connsiteY2287" fmla="*/ 835352 h 1934496"/>
                <a:gd name="connsiteX2288" fmla="*/ 8879978 w 9922465"/>
                <a:gd name="connsiteY2288" fmla="*/ 780161 h 1934496"/>
                <a:gd name="connsiteX2289" fmla="*/ 8935170 w 9922465"/>
                <a:gd name="connsiteY2289" fmla="*/ 724970 h 1934496"/>
                <a:gd name="connsiteX2290" fmla="*/ 8801536 w 9922465"/>
                <a:gd name="connsiteY2290" fmla="*/ 724970 h 1934496"/>
                <a:gd name="connsiteX2291" fmla="*/ 8856728 w 9922465"/>
                <a:gd name="connsiteY2291" fmla="*/ 780161 h 1934496"/>
                <a:gd name="connsiteX2292" fmla="*/ 8801536 w 9922465"/>
                <a:gd name="connsiteY2292" fmla="*/ 835352 h 1934496"/>
                <a:gd name="connsiteX2293" fmla="*/ 8746344 w 9922465"/>
                <a:gd name="connsiteY2293" fmla="*/ 780161 h 1934496"/>
                <a:gd name="connsiteX2294" fmla="*/ 8801536 w 9922465"/>
                <a:gd name="connsiteY2294" fmla="*/ 724970 h 1934496"/>
                <a:gd name="connsiteX2295" fmla="*/ 8671243 w 9922465"/>
                <a:gd name="connsiteY2295" fmla="*/ 724970 h 1934496"/>
                <a:gd name="connsiteX2296" fmla="*/ 8726435 w 9922465"/>
                <a:gd name="connsiteY2296" fmla="*/ 780161 h 1934496"/>
                <a:gd name="connsiteX2297" fmla="*/ 8671243 w 9922465"/>
                <a:gd name="connsiteY2297" fmla="*/ 835352 h 1934496"/>
                <a:gd name="connsiteX2298" fmla="*/ 8616051 w 9922465"/>
                <a:gd name="connsiteY2298" fmla="*/ 780161 h 1934496"/>
                <a:gd name="connsiteX2299" fmla="*/ 8671243 w 9922465"/>
                <a:gd name="connsiteY2299" fmla="*/ 724970 h 1934496"/>
                <a:gd name="connsiteX2300" fmla="*/ 8537609 w 9922465"/>
                <a:gd name="connsiteY2300" fmla="*/ 724970 h 1934496"/>
                <a:gd name="connsiteX2301" fmla="*/ 8592801 w 9922465"/>
                <a:gd name="connsiteY2301" fmla="*/ 780161 h 1934496"/>
                <a:gd name="connsiteX2302" fmla="*/ 8537609 w 9922465"/>
                <a:gd name="connsiteY2302" fmla="*/ 835352 h 1934496"/>
                <a:gd name="connsiteX2303" fmla="*/ 8482417 w 9922465"/>
                <a:gd name="connsiteY2303" fmla="*/ 780161 h 1934496"/>
                <a:gd name="connsiteX2304" fmla="*/ 8537609 w 9922465"/>
                <a:gd name="connsiteY2304" fmla="*/ 724970 h 1934496"/>
                <a:gd name="connsiteX2305" fmla="*/ 8407318 w 9922465"/>
                <a:gd name="connsiteY2305" fmla="*/ 724970 h 1934496"/>
                <a:gd name="connsiteX2306" fmla="*/ 8462510 w 9922465"/>
                <a:gd name="connsiteY2306" fmla="*/ 780161 h 1934496"/>
                <a:gd name="connsiteX2307" fmla="*/ 8407318 w 9922465"/>
                <a:gd name="connsiteY2307" fmla="*/ 835352 h 1934496"/>
                <a:gd name="connsiteX2308" fmla="*/ 8352126 w 9922465"/>
                <a:gd name="connsiteY2308" fmla="*/ 780161 h 1934496"/>
                <a:gd name="connsiteX2309" fmla="*/ 8407318 w 9922465"/>
                <a:gd name="connsiteY2309" fmla="*/ 724970 h 1934496"/>
                <a:gd name="connsiteX2310" fmla="*/ 8273682 w 9922465"/>
                <a:gd name="connsiteY2310" fmla="*/ 724970 h 1934496"/>
                <a:gd name="connsiteX2311" fmla="*/ 8328874 w 9922465"/>
                <a:gd name="connsiteY2311" fmla="*/ 780161 h 1934496"/>
                <a:gd name="connsiteX2312" fmla="*/ 8273682 w 9922465"/>
                <a:gd name="connsiteY2312" fmla="*/ 835352 h 1934496"/>
                <a:gd name="connsiteX2313" fmla="*/ 8218490 w 9922465"/>
                <a:gd name="connsiteY2313" fmla="*/ 780161 h 1934496"/>
                <a:gd name="connsiteX2314" fmla="*/ 8273682 w 9922465"/>
                <a:gd name="connsiteY2314" fmla="*/ 724970 h 1934496"/>
                <a:gd name="connsiteX2315" fmla="*/ 8143386 w 9922465"/>
                <a:gd name="connsiteY2315" fmla="*/ 724970 h 1934496"/>
                <a:gd name="connsiteX2316" fmla="*/ 8198578 w 9922465"/>
                <a:gd name="connsiteY2316" fmla="*/ 780161 h 1934496"/>
                <a:gd name="connsiteX2317" fmla="*/ 8143386 w 9922465"/>
                <a:gd name="connsiteY2317" fmla="*/ 835352 h 1934496"/>
                <a:gd name="connsiteX2318" fmla="*/ 8088194 w 9922465"/>
                <a:gd name="connsiteY2318" fmla="*/ 780161 h 1934496"/>
                <a:gd name="connsiteX2319" fmla="*/ 8143386 w 9922465"/>
                <a:gd name="connsiteY2319" fmla="*/ 724970 h 1934496"/>
                <a:gd name="connsiteX2320" fmla="*/ 8009753 w 9922465"/>
                <a:gd name="connsiteY2320" fmla="*/ 724970 h 1934496"/>
                <a:gd name="connsiteX2321" fmla="*/ 8064945 w 9922465"/>
                <a:gd name="connsiteY2321" fmla="*/ 780161 h 1934496"/>
                <a:gd name="connsiteX2322" fmla="*/ 8009753 w 9922465"/>
                <a:gd name="connsiteY2322" fmla="*/ 835352 h 1934496"/>
                <a:gd name="connsiteX2323" fmla="*/ 7954561 w 9922465"/>
                <a:gd name="connsiteY2323" fmla="*/ 780161 h 1934496"/>
                <a:gd name="connsiteX2324" fmla="*/ 8009753 w 9922465"/>
                <a:gd name="connsiteY2324" fmla="*/ 724970 h 1934496"/>
                <a:gd name="connsiteX2325" fmla="*/ 7876118 w 9922465"/>
                <a:gd name="connsiteY2325" fmla="*/ 724970 h 1934496"/>
                <a:gd name="connsiteX2326" fmla="*/ 7931310 w 9922465"/>
                <a:gd name="connsiteY2326" fmla="*/ 780161 h 1934496"/>
                <a:gd name="connsiteX2327" fmla="*/ 7876118 w 9922465"/>
                <a:gd name="connsiteY2327" fmla="*/ 835352 h 1934496"/>
                <a:gd name="connsiteX2328" fmla="*/ 7820926 w 9922465"/>
                <a:gd name="connsiteY2328" fmla="*/ 780161 h 1934496"/>
                <a:gd name="connsiteX2329" fmla="*/ 7876118 w 9922465"/>
                <a:gd name="connsiteY2329" fmla="*/ 724970 h 1934496"/>
                <a:gd name="connsiteX2330" fmla="*/ 7745824 w 9922465"/>
                <a:gd name="connsiteY2330" fmla="*/ 724970 h 1934496"/>
                <a:gd name="connsiteX2331" fmla="*/ 7801016 w 9922465"/>
                <a:gd name="connsiteY2331" fmla="*/ 780161 h 1934496"/>
                <a:gd name="connsiteX2332" fmla="*/ 7745824 w 9922465"/>
                <a:gd name="connsiteY2332" fmla="*/ 835352 h 1934496"/>
                <a:gd name="connsiteX2333" fmla="*/ 7690632 w 9922465"/>
                <a:gd name="connsiteY2333" fmla="*/ 780161 h 1934496"/>
                <a:gd name="connsiteX2334" fmla="*/ 7745824 w 9922465"/>
                <a:gd name="connsiteY2334" fmla="*/ 724970 h 1934496"/>
                <a:gd name="connsiteX2335" fmla="*/ 7608850 w 9922465"/>
                <a:gd name="connsiteY2335" fmla="*/ 724970 h 1934496"/>
                <a:gd name="connsiteX2336" fmla="*/ 7664042 w 9922465"/>
                <a:gd name="connsiteY2336" fmla="*/ 780161 h 1934496"/>
                <a:gd name="connsiteX2337" fmla="*/ 7608850 w 9922465"/>
                <a:gd name="connsiteY2337" fmla="*/ 835352 h 1934496"/>
                <a:gd name="connsiteX2338" fmla="*/ 7553658 w 9922465"/>
                <a:gd name="connsiteY2338" fmla="*/ 780161 h 1934496"/>
                <a:gd name="connsiteX2339" fmla="*/ 7608850 w 9922465"/>
                <a:gd name="connsiteY2339" fmla="*/ 724970 h 1934496"/>
                <a:gd name="connsiteX2340" fmla="*/ 7481895 w 9922465"/>
                <a:gd name="connsiteY2340" fmla="*/ 724970 h 1934496"/>
                <a:gd name="connsiteX2341" fmla="*/ 7537087 w 9922465"/>
                <a:gd name="connsiteY2341" fmla="*/ 780161 h 1934496"/>
                <a:gd name="connsiteX2342" fmla="*/ 7481895 w 9922465"/>
                <a:gd name="connsiteY2342" fmla="*/ 835352 h 1934496"/>
                <a:gd name="connsiteX2343" fmla="*/ 7426703 w 9922465"/>
                <a:gd name="connsiteY2343" fmla="*/ 780161 h 1934496"/>
                <a:gd name="connsiteX2344" fmla="*/ 7481895 w 9922465"/>
                <a:gd name="connsiteY2344" fmla="*/ 724970 h 1934496"/>
                <a:gd name="connsiteX2345" fmla="*/ 7341579 w 9922465"/>
                <a:gd name="connsiteY2345" fmla="*/ 724970 h 1934496"/>
                <a:gd name="connsiteX2346" fmla="*/ 7396771 w 9922465"/>
                <a:gd name="connsiteY2346" fmla="*/ 780161 h 1934496"/>
                <a:gd name="connsiteX2347" fmla="*/ 7341579 w 9922465"/>
                <a:gd name="connsiteY2347" fmla="*/ 835352 h 1934496"/>
                <a:gd name="connsiteX2348" fmla="*/ 7286387 w 9922465"/>
                <a:gd name="connsiteY2348" fmla="*/ 780161 h 1934496"/>
                <a:gd name="connsiteX2349" fmla="*/ 7341579 w 9922465"/>
                <a:gd name="connsiteY2349" fmla="*/ 724970 h 1934496"/>
                <a:gd name="connsiteX2350" fmla="*/ 7211286 w 9922465"/>
                <a:gd name="connsiteY2350" fmla="*/ 724970 h 1934496"/>
                <a:gd name="connsiteX2351" fmla="*/ 7266478 w 9922465"/>
                <a:gd name="connsiteY2351" fmla="*/ 780161 h 1934496"/>
                <a:gd name="connsiteX2352" fmla="*/ 7211286 w 9922465"/>
                <a:gd name="connsiteY2352" fmla="*/ 835352 h 1934496"/>
                <a:gd name="connsiteX2353" fmla="*/ 7156094 w 9922465"/>
                <a:gd name="connsiteY2353" fmla="*/ 780161 h 1934496"/>
                <a:gd name="connsiteX2354" fmla="*/ 7211286 w 9922465"/>
                <a:gd name="connsiteY2354" fmla="*/ 724970 h 1934496"/>
                <a:gd name="connsiteX2355" fmla="*/ 7080994 w 9922465"/>
                <a:gd name="connsiteY2355" fmla="*/ 724970 h 1934496"/>
                <a:gd name="connsiteX2356" fmla="*/ 7136186 w 9922465"/>
                <a:gd name="connsiteY2356" fmla="*/ 780161 h 1934496"/>
                <a:gd name="connsiteX2357" fmla="*/ 7080994 w 9922465"/>
                <a:gd name="connsiteY2357" fmla="*/ 835352 h 1934496"/>
                <a:gd name="connsiteX2358" fmla="*/ 7025802 w 9922465"/>
                <a:gd name="connsiteY2358" fmla="*/ 780161 h 1934496"/>
                <a:gd name="connsiteX2359" fmla="*/ 7080994 w 9922465"/>
                <a:gd name="connsiteY2359" fmla="*/ 724970 h 1934496"/>
                <a:gd name="connsiteX2360" fmla="*/ 6947358 w 9922465"/>
                <a:gd name="connsiteY2360" fmla="*/ 724970 h 1934496"/>
                <a:gd name="connsiteX2361" fmla="*/ 7002550 w 9922465"/>
                <a:gd name="connsiteY2361" fmla="*/ 780161 h 1934496"/>
                <a:gd name="connsiteX2362" fmla="*/ 6947358 w 9922465"/>
                <a:gd name="connsiteY2362" fmla="*/ 835352 h 1934496"/>
                <a:gd name="connsiteX2363" fmla="*/ 6892166 w 9922465"/>
                <a:gd name="connsiteY2363" fmla="*/ 780161 h 1934496"/>
                <a:gd name="connsiteX2364" fmla="*/ 6947358 w 9922465"/>
                <a:gd name="connsiteY2364" fmla="*/ 724970 h 1934496"/>
                <a:gd name="connsiteX2365" fmla="*/ 6817064 w 9922465"/>
                <a:gd name="connsiteY2365" fmla="*/ 724970 h 1934496"/>
                <a:gd name="connsiteX2366" fmla="*/ 6872256 w 9922465"/>
                <a:gd name="connsiteY2366" fmla="*/ 780161 h 1934496"/>
                <a:gd name="connsiteX2367" fmla="*/ 6817064 w 9922465"/>
                <a:gd name="connsiteY2367" fmla="*/ 835352 h 1934496"/>
                <a:gd name="connsiteX2368" fmla="*/ 6761872 w 9922465"/>
                <a:gd name="connsiteY2368" fmla="*/ 780161 h 1934496"/>
                <a:gd name="connsiteX2369" fmla="*/ 6817064 w 9922465"/>
                <a:gd name="connsiteY2369" fmla="*/ 724970 h 1934496"/>
                <a:gd name="connsiteX2370" fmla="*/ 6683431 w 9922465"/>
                <a:gd name="connsiteY2370" fmla="*/ 724970 h 1934496"/>
                <a:gd name="connsiteX2371" fmla="*/ 6738623 w 9922465"/>
                <a:gd name="connsiteY2371" fmla="*/ 780161 h 1934496"/>
                <a:gd name="connsiteX2372" fmla="*/ 6683431 w 9922465"/>
                <a:gd name="connsiteY2372" fmla="*/ 835352 h 1934496"/>
                <a:gd name="connsiteX2373" fmla="*/ 6628239 w 9922465"/>
                <a:gd name="connsiteY2373" fmla="*/ 780161 h 1934496"/>
                <a:gd name="connsiteX2374" fmla="*/ 6683431 w 9922465"/>
                <a:gd name="connsiteY2374" fmla="*/ 724970 h 1934496"/>
                <a:gd name="connsiteX2375" fmla="*/ 6553137 w 9922465"/>
                <a:gd name="connsiteY2375" fmla="*/ 724970 h 1934496"/>
                <a:gd name="connsiteX2376" fmla="*/ 6608329 w 9922465"/>
                <a:gd name="connsiteY2376" fmla="*/ 780161 h 1934496"/>
                <a:gd name="connsiteX2377" fmla="*/ 6553137 w 9922465"/>
                <a:gd name="connsiteY2377" fmla="*/ 835352 h 1934496"/>
                <a:gd name="connsiteX2378" fmla="*/ 6497945 w 9922465"/>
                <a:gd name="connsiteY2378" fmla="*/ 780161 h 1934496"/>
                <a:gd name="connsiteX2379" fmla="*/ 6553137 w 9922465"/>
                <a:gd name="connsiteY2379" fmla="*/ 724970 h 1934496"/>
                <a:gd name="connsiteX2380" fmla="*/ 6419503 w 9922465"/>
                <a:gd name="connsiteY2380" fmla="*/ 724970 h 1934496"/>
                <a:gd name="connsiteX2381" fmla="*/ 6474695 w 9922465"/>
                <a:gd name="connsiteY2381" fmla="*/ 780161 h 1934496"/>
                <a:gd name="connsiteX2382" fmla="*/ 6419503 w 9922465"/>
                <a:gd name="connsiteY2382" fmla="*/ 835352 h 1934496"/>
                <a:gd name="connsiteX2383" fmla="*/ 6364311 w 9922465"/>
                <a:gd name="connsiteY2383" fmla="*/ 780161 h 1934496"/>
                <a:gd name="connsiteX2384" fmla="*/ 6419503 w 9922465"/>
                <a:gd name="connsiteY2384" fmla="*/ 724970 h 1934496"/>
                <a:gd name="connsiteX2385" fmla="*/ 6289207 w 9922465"/>
                <a:gd name="connsiteY2385" fmla="*/ 724970 h 1934496"/>
                <a:gd name="connsiteX2386" fmla="*/ 6344399 w 9922465"/>
                <a:gd name="connsiteY2386" fmla="*/ 780161 h 1934496"/>
                <a:gd name="connsiteX2387" fmla="*/ 6289207 w 9922465"/>
                <a:gd name="connsiteY2387" fmla="*/ 835352 h 1934496"/>
                <a:gd name="connsiteX2388" fmla="*/ 6234015 w 9922465"/>
                <a:gd name="connsiteY2388" fmla="*/ 780161 h 1934496"/>
                <a:gd name="connsiteX2389" fmla="*/ 6289207 w 9922465"/>
                <a:gd name="connsiteY2389" fmla="*/ 724970 h 1934496"/>
                <a:gd name="connsiteX2390" fmla="*/ 6155573 w 9922465"/>
                <a:gd name="connsiteY2390" fmla="*/ 724970 h 1934496"/>
                <a:gd name="connsiteX2391" fmla="*/ 6210765 w 9922465"/>
                <a:gd name="connsiteY2391" fmla="*/ 780161 h 1934496"/>
                <a:gd name="connsiteX2392" fmla="*/ 6155573 w 9922465"/>
                <a:gd name="connsiteY2392" fmla="*/ 835352 h 1934496"/>
                <a:gd name="connsiteX2393" fmla="*/ 6100381 w 9922465"/>
                <a:gd name="connsiteY2393" fmla="*/ 780161 h 1934496"/>
                <a:gd name="connsiteX2394" fmla="*/ 6155573 w 9922465"/>
                <a:gd name="connsiteY2394" fmla="*/ 724970 h 1934496"/>
                <a:gd name="connsiteX2395" fmla="*/ 5621035 w 9922465"/>
                <a:gd name="connsiteY2395" fmla="*/ 724970 h 1934496"/>
                <a:gd name="connsiteX2396" fmla="*/ 5676227 w 9922465"/>
                <a:gd name="connsiteY2396" fmla="*/ 780161 h 1934496"/>
                <a:gd name="connsiteX2397" fmla="*/ 5621035 w 9922465"/>
                <a:gd name="connsiteY2397" fmla="*/ 835352 h 1934496"/>
                <a:gd name="connsiteX2398" fmla="*/ 5565843 w 9922465"/>
                <a:gd name="connsiteY2398" fmla="*/ 780161 h 1934496"/>
                <a:gd name="connsiteX2399" fmla="*/ 5621035 w 9922465"/>
                <a:gd name="connsiteY2399" fmla="*/ 724970 h 1934496"/>
                <a:gd name="connsiteX2400" fmla="*/ 5487399 w 9922465"/>
                <a:gd name="connsiteY2400" fmla="*/ 724970 h 1934496"/>
                <a:gd name="connsiteX2401" fmla="*/ 5542591 w 9922465"/>
                <a:gd name="connsiteY2401" fmla="*/ 780161 h 1934496"/>
                <a:gd name="connsiteX2402" fmla="*/ 5487399 w 9922465"/>
                <a:gd name="connsiteY2402" fmla="*/ 835352 h 1934496"/>
                <a:gd name="connsiteX2403" fmla="*/ 5432207 w 9922465"/>
                <a:gd name="connsiteY2403" fmla="*/ 780161 h 1934496"/>
                <a:gd name="connsiteX2404" fmla="*/ 5487399 w 9922465"/>
                <a:gd name="connsiteY2404" fmla="*/ 724970 h 1934496"/>
                <a:gd name="connsiteX2405" fmla="*/ 5357106 w 9922465"/>
                <a:gd name="connsiteY2405" fmla="*/ 724970 h 1934496"/>
                <a:gd name="connsiteX2406" fmla="*/ 5412298 w 9922465"/>
                <a:gd name="connsiteY2406" fmla="*/ 780161 h 1934496"/>
                <a:gd name="connsiteX2407" fmla="*/ 5357106 w 9922465"/>
                <a:gd name="connsiteY2407" fmla="*/ 835352 h 1934496"/>
                <a:gd name="connsiteX2408" fmla="*/ 5301914 w 9922465"/>
                <a:gd name="connsiteY2408" fmla="*/ 780161 h 1934496"/>
                <a:gd name="connsiteX2409" fmla="*/ 5357106 w 9922465"/>
                <a:gd name="connsiteY2409" fmla="*/ 724970 h 1934496"/>
                <a:gd name="connsiteX2410" fmla="*/ 5223473 w 9922465"/>
                <a:gd name="connsiteY2410" fmla="*/ 724970 h 1934496"/>
                <a:gd name="connsiteX2411" fmla="*/ 5278665 w 9922465"/>
                <a:gd name="connsiteY2411" fmla="*/ 780161 h 1934496"/>
                <a:gd name="connsiteX2412" fmla="*/ 5223473 w 9922465"/>
                <a:gd name="connsiteY2412" fmla="*/ 835352 h 1934496"/>
                <a:gd name="connsiteX2413" fmla="*/ 5168281 w 9922465"/>
                <a:gd name="connsiteY2413" fmla="*/ 780161 h 1934496"/>
                <a:gd name="connsiteX2414" fmla="*/ 5223473 w 9922465"/>
                <a:gd name="connsiteY2414" fmla="*/ 724970 h 1934496"/>
                <a:gd name="connsiteX2415" fmla="*/ 5093178 w 9922465"/>
                <a:gd name="connsiteY2415" fmla="*/ 724970 h 1934496"/>
                <a:gd name="connsiteX2416" fmla="*/ 5148370 w 9922465"/>
                <a:gd name="connsiteY2416" fmla="*/ 780161 h 1934496"/>
                <a:gd name="connsiteX2417" fmla="*/ 5093178 w 9922465"/>
                <a:gd name="connsiteY2417" fmla="*/ 835352 h 1934496"/>
                <a:gd name="connsiteX2418" fmla="*/ 5037986 w 9922465"/>
                <a:gd name="connsiteY2418" fmla="*/ 780161 h 1934496"/>
                <a:gd name="connsiteX2419" fmla="*/ 5093178 w 9922465"/>
                <a:gd name="connsiteY2419" fmla="*/ 724970 h 1934496"/>
                <a:gd name="connsiteX2420" fmla="*/ 3897148 w 9922465"/>
                <a:gd name="connsiteY2420" fmla="*/ 724970 h 1934496"/>
                <a:gd name="connsiteX2421" fmla="*/ 3952340 w 9922465"/>
                <a:gd name="connsiteY2421" fmla="*/ 780161 h 1934496"/>
                <a:gd name="connsiteX2422" fmla="*/ 3897148 w 9922465"/>
                <a:gd name="connsiteY2422" fmla="*/ 835352 h 1934496"/>
                <a:gd name="connsiteX2423" fmla="*/ 3841956 w 9922465"/>
                <a:gd name="connsiteY2423" fmla="*/ 780161 h 1934496"/>
                <a:gd name="connsiteX2424" fmla="*/ 3897148 w 9922465"/>
                <a:gd name="connsiteY2424" fmla="*/ 724970 h 1934496"/>
                <a:gd name="connsiteX2425" fmla="*/ 3763514 w 9922465"/>
                <a:gd name="connsiteY2425" fmla="*/ 724970 h 1934496"/>
                <a:gd name="connsiteX2426" fmla="*/ 3818706 w 9922465"/>
                <a:gd name="connsiteY2426" fmla="*/ 780161 h 1934496"/>
                <a:gd name="connsiteX2427" fmla="*/ 3763514 w 9922465"/>
                <a:gd name="connsiteY2427" fmla="*/ 835352 h 1934496"/>
                <a:gd name="connsiteX2428" fmla="*/ 3708322 w 9922465"/>
                <a:gd name="connsiteY2428" fmla="*/ 780161 h 1934496"/>
                <a:gd name="connsiteX2429" fmla="*/ 3763514 w 9922465"/>
                <a:gd name="connsiteY2429" fmla="*/ 724970 h 1934496"/>
                <a:gd name="connsiteX2430" fmla="*/ 3633221 w 9922465"/>
                <a:gd name="connsiteY2430" fmla="*/ 724970 h 1934496"/>
                <a:gd name="connsiteX2431" fmla="*/ 3688413 w 9922465"/>
                <a:gd name="connsiteY2431" fmla="*/ 780161 h 1934496"/>
                <a:gd name="connsiteX2432" fmla="*/ 3633221 w 9922465"/>
                <a:gd name="connsiteY2432" fmla="*/ 835352 h 1934496"/>
                <a:gd name="connsiteX2433" fmla="*/ 3578029 w 9922465"/>
                <a:gd name="connsiteY2433" fmla="*/ 780161 h 1934496"/>
                <a:gd name="connsiteX2434" fmla="*/ 3633221 w 9922465"/>
                <a:gd name="connsiteY2434" fmla="*/ 724970 h 1934496"/>
                <a:gd name="connsiteX2435" fmla="*/ 3499586 w 9922465"/>
                <a:gd name="connsiteY2435" fmla="*/ 724970 h 1934496"/>
                <a:gd name="connsiteX2436" fmla="*/ 3554778 w 9922465"/>
                <a:gd name="connsiteY2436" fmla="*/ 780161 h 1934496"/>
                <a:gd name="connsiteX2437" fmla="*/ 3499586 w 9922465"/>
                <a:gd name="connsiteY2437" fmla="*/ 835352 h 1934496"/>
                <a:gd name="connsiteX2438" fmla="*/ 3444394 w 9922465"/>
                <a:gd name="connsiteY2438" fmla="*/ 780161 h 1934496"/>
                <a:gd name="connsiteX2439" fmla="*/ 3499586 w 9922465"/>
                <a:gd name="connsiteY2439" fmla="*/ 724970 h 1934496"/>
                <a:gd name="connsiteX2440" fmla="*/ 3369292 w 9922465"/>
                <a:gd name="connsiteY2440" fmla="*/ 724970 h 1934496"/>
                <a:gd name="connsiteX2441" fmla="*/ 3424484 w 9922465"/>
                <a:gd name="connsiteY2441" fmla="*/ 780161 h 1934496"/>
                <a:gd name="connsiteX2442" fmla="*/ 3369292 w 9922465"/>
                <a:gd name="connsiteY2442" fmla="*/ 835352 h 1934496"/>
                <a:gd name="connsiteX2443" fmla="*/ 3314100 w 9922465"/>
                <a:gd name="connsiteY2443" fmla="*/ 780161 h 1934496"/>
                <a:gd name="connsiteX2444" fmla="*/ 3369292 w 9922465"/>
                <a:gd name="connsiteY2444" fmla="*/ 724970 h 1934496"/>
                <a:gd name="connsiteX2445" fmla="*/ 2834856 w 9922465"/>
                <a:gd name="connsiteY2445" fmla="*/ 724970 h 1934496"/>
                <a:gd name="connsiteX2446" fmla="*/ 2890049 w 9922465"/>
                <a:gd name="connsiteY2446" fmla="*/ 780161 h 1934496"/>
                <a:gd name="connsiteX2447" fmla="*/ 2834856 w 9922465"/>
                <a:gd name="connsiteY2447" fmla="*/ 835352 h 1934496"/>
                <a:gd name="connsiteX2448" fmla="*/ 2779665 w 9922465"/>
                <a:gd name="connsiteY2448" fmla="*/ 780161 h 1934496"/>
                <a:gd name="connsiteX2449" fmla="*/ 2834856 w 9922465"/>
                <a:gd name="connsiteY2449" fmla="*/ 724970 h 1934496"/>
                <a:gd name="connsiteX2450" fmla="*/ 2707901 w 9922465"/>
                <a:gd name="connsiteY2450" fmla="*/ 724970 h 1934496"/>
                <a:gd name="connsiteX2451" fmla="*/ 2763094 w 9922465"/>
                <a:gd name="connsiteY2451" fmla="*/ 780161 h 1934496"/>
                <a:gd name="connsiteX2452" fmla="*/ 2707901 w 9922465"/>
                <a:gd name="connsiteY2452" fmla="*/ 835352 h 1934496"/>
                <a:gd name="connsiteX2453" fmla="*/ 2652711 w 9922465"/>
                <a:gd name="connsiteY2453" fmla="*/ 780161 h 1934496"/>
                <a:gd name="connsiteX2454" fmla="*/ 2707901 w 9922465"/>
                <a:gd name="connsiteY2454" fmla="*/ 724970 h 1934496"/>
                <a:gd name="connsiteX2455" fmla="*/ 2570929 w 9922465"/>
                <a:gd name="connsiteY2455" fmla="*/ 724970 h 1934496"/>
                <a:gd name="connsiteX2456" fmla="*/ 2626122 w 9922465"/>
                <a:gd name="connsiteY2456" fmla="*/ 780161 h 1934496"/>
                <a:gd name="connsiteX2457" fmla="*/ 2570929 w 9922465"/>
                <a:gd name="connsiteY2457" fmla="*/ 835352 h 1934496"/>
                <a:gd name="connsiteX2458" fmla="*/ 2515735 w 9922465"/>
                <a:gd name="connsiteY2458" fmla="*/ 780161 h 1934496"/>
                <a:gd name="connsiteX2459" fmla="*/ 2570929 w 9922465"/>
                <a:gd name="connsiteY2459" fmla="*/ 724970 h 1934496"/>
                <a:gd name="connsiteX2460" fmla="*/ 2437294 w 9922465"/>
                <a:gd name="connsiteY2460" fmla="*/ 724970 h 1934496"/>
                <a:gd name="connsiteX2461" fmla="*/ 2492487 w 9922465"/>
                <a:gd name="connsiteY2461" fmla="*/ 780161 h 1934496"/>
                <a:gd name="connsiteX2462" fmla="*/ 2437294 w 9922465"/>
                <a:gd name="connsiteY2462" fmla="*/ 835352 h 1934496"/>
                <a:gd name="connsiteX2463" fmla="*/ 2382104 w 9922465"/>
                <a:gd name="connsiteY2463" fmla="*/ 780161 h 1934496"/>
                <a:gd name="connsiteX2464" fmla="*/ 2437294 w 9922465"/>
                <a:gd name="connsiteY2464" fmla="*/ 724970 h 1934496"/>
                <a:gd name="connsiteX2465" fmla="*/ 2303662 w 9922465"/>
                <a:gd name="connsiteY2465" fmla="*/ 724970 h 1934496"/>
                <a:gd name="connsiteX2466" fmla="*/ 2358853 w 9922465"/>
                <a:gd name="connsiteY2466" fmla="*/ 780161 h 1934496"/>
                <a:gd name="connsiteX2467" fmla="*/ 2303662 w 9922465"/>
                <a:gd name="connsiteY2467" fmla="*/ 835352 h 1934496"/>
                <a:gd name="connsiteX2468" fmla="*/ 2248471 w 9922465"/>
                <a:gd name="connsiteY2468" fmla="*/ 780161 h 1934496"/>
                <a:gd name="connsiteX2469" fmla="*/ 2303662 w 9922465"/>
                <a:gd name="connsiteY2469" fmla="*/ 724970 h 1934496"/>
                <a:gd name="connsiteX2470" fmla="*/ 2173371 w 9922465"/>
                <a:gd name="connsiteY2470" fmla="*/ 724970 h 1934496"/>
                <a:gd name="connsiteX2471" fmla="*/ 2228562 w 9922465"/>
                <a:gd name="connsiteY2471" fmla="*/ 780161 h 1934496"/>
                <a:gd name="connsiteX2472" fmla="*/ 2173371 w 9922465"/>
                <a:gd name="connsiteY2472" fmla="*/ 835352 h 1934496"/>
                <a:gd name="connsiteX2473" fmla="*/ 2118177 w 9922465"/>
                <a:gd name="connsiteY2473" fmla="*/ 780161 h 1934496"/>
                <a:gd name="connsiteX2474" fmla="*/ 2173371 w 9922465"/>
                <a:gd name="connsiteY2474" fmla="*/ 724970 h 1934496"/>
                <a:gd name="connsiteX2475" fmla="*/ 2039733 w 9922465"/>
                <a:gd name="connsiteY2475" fmla="*/ 724970 h 1934496"/>
                <a:gd name="connsiteX2476" fmla="*/ 2094927 w 9922465"/>
                <a:gd name="connsiteY2476" fmla="*/ 780161 h 1934496"/>
                <a:gd name="connsiteX2477" fmla="*/ 2039733 w 9922465"/>
                <a:gd name="connsiteY2477" fmla="*/ 835352 h 1934496"/>
                <a:gd name="connsiteX2478" fmla="*/ 1984539 w 9922465"/>
                <a:gd name="connsiteY2478" fmla="*/ 780161 h 1934496"/>
                <a:gd name="connsiteX2479" fmla="*/ 2039733 w 9922465"/>
                <a:gd name="connsiteY2479" fmla="*/ 724970 h 1934496"/>
                <a:gd name="connsiteX2480" fmla="*/ 1909436 w 9922465"/>
                <a:gd name="connsiteY2480" fmla="*/ 724970 h 1934496"/>
                <a:gd name="connsiteX2481" fmla="*/ 1964630 w 9922465"/>
                <a:gd name="connsiteY2481" fmla="*/ 780161 h 1934496"/>
                <a:gd name="connsiteX2482" fmla="*/ 1909436 w 9922465"/>
                <a:gd name="connsiteY2482" fmla="*/ 835352 h 1934496"/>
                <a:gd name="connsiteX2483" fmla="*/ 1854243 w 9922465"/>
                <a:gd name="connsiteY2483" fmla="*/ 780161 h 1934496"/>
                <a:gd name="connsiteX2484" fmla="*/ 1909436 w 9922465"/>
                <a:gd name="connsiteY2484" fmla="*/ 724970 h 1934496"/>
                <a:gd name="connsiteX2485" fmla="*/ 1779142 w 9922465"/>
                <a:gd name="connsiteY2485" fmla="*/ 724970 h 1934496"/>
                <a:gd name="connsiteX2486" fmla="*/ 1834335 w 9922465"/>
                <a:gd name="connsiteY2486" fmla="*/ 780161 h 1934496"/>
                <a:gd name="connsiteX2487" fmla="*/ 1779142 w 9922465"/>
                <a:gd name="connsiteY2487" fmla="*/ 835352 h 1934496"/>
                <a:gd name="connsiteX2488" fmla="*/ 1723947 w 9922465"/>
                <a:gd name="connsiteY2488" fmla="*/ 780161 h 1934496"/>
                <a:gd name="connsiteX2489" fmla="*/ 1779142 w 9922465"/>
                <a:gd name="connsiteY2489" fmla="*/ 724970 h 1934496"/>
                <a:gd name="connsiteX2490" fmla="*/ 1645501 w 9922465"/>
                <a:gd name="connsiteY2490" fmla="*/ 724970 h 1934496"/>
                <a:gd name="connsiteX2491" fmla="*/ 1700699 w 9922465"/>
                <a:gd name="connsiteY2491" fmla="*/ 780161 h 1934496"/>
                <a:gd name="connsiteX2492" fmla="*/ 1645501 w 9922465"/>
                <a:gd name="connsiteY2492" fmla="*/ 835352 h 1934496"/>
                <a:gd name="connsiteX2493" fmla="*/ 1590310 w 9922465"/>
                <a:gd name="connsiteY2493" fmla="*/ 780161 h 1934496"/>
                <a:gd name="connsiteX2494" fmla="*/ 1645501 w 9922465"/>
                <a:gd name="connsiteY2494" fmla="*/ 724970 h 1934496"/>
                <a:gd name="connsiteX2495" fmla="*/ 1515213 w 9922465"/>
                <a:gd name="connsiteY2495" fmla="*/ 724970 h 1934496"/>
                <a:gd name="connsiteX2496" fmla="*/ 1570399 w 9922465"/>
                <a:gd name="connsiteY2496" fmla="*/ 780161 h 1934496"/>
                <a:gd name="connsiteX2497" fmla="*/ 1515213 w 9922465"/>
                <a:gd name="connsiteY2497" fmla="*/ 835352 h 1934496"/>
                <a:gd name="connsiteX2498" fmla="*/ 1460016 w 9922465"/>
                <a:gd name="connsiteY2498" fmla="*/ 780161 h 1934496"/>
                <a:gd name="connsiteX2499" fmla="*/ 1515213 w 9922465"/>
                <a:gd name="connsiteY2499" fmla="*/ 724970 h 1934496"/>
                <a:gd name="connsiteX2500" fmla="*/ 1381573 w 9922465"/>
                <a:gd name="connsiteY2500" fmla="*/ 724970 h 1934496"/>
                <a:gd name="connsiteX2501" fmla="*/ 1436767 w 9922465"/>
                <a:gd name="connsiteY2501" fmla="*/ 780161 h 1934496"/>
                <a:gd name="connsiteX2502" fmla="*/ 1381573 w 9922465"/>
                <a:gd name="connsiteY2502" fmla="*/ 835352 h 1934496"/>
                <a:gd name="connsiteX2503" fmla="*/ 1326381 w 9922465"/>
                <a:gd name="connsiteY2503" fmla="*/ 780161 h 1934496"/>
                <a:gd name="connsiteX2504" fmla="*/ 1381573 w 9922465"/>
                <a:gd name="connsiteY2504" fmla="*/ 724970 h 1934496"/>
                <a:gd name="connsiteX2505" fmla="*/ 1251282 w 9922465"/>
                <a:gd name="connsiteY2505" fmla="*/ 724970 h 1934496"/>
                <a:gd name="connsiteX2506" fmla="*/ 1306475 w 9922465"/>
                <a:gd name="connsiteY2506" fmla="*/ 780161 h 1934496"/>
                <a:gd name="connsiteX2507" fmla="*/ 1251282 w 9922465"/>
                <a:gd name="connsiteY2507" fmla="*/ 835352 h 1934496"/>
                <a:gd name="connsiteX2508" fmla="*/ 1196089 w 9922465"/>
                <a:gd name="connsiteY2508" fmla="*/ 780161 h 1934496"/>
                <a:gd name="connsiteX2509" fmla="*/ 1251282 w 9922465"/>
                <a:gd name="connsiteY2509" fmla="*/ 724970 h 1934496"/>
                <a:gd name="connsiteX2510" fmla="*/ 1117642 w 9922465"/>
                <a:gd name="connsiteY2510" fmla="*/ 724970 h 1934496"/>
                <a:gd name="connsiteX2511" fmla="*/ 1172836 w 9922465"/>
                <a:gd name="connsiteY2511" fmla="*/ 780161 h 1934496"/>
                <a:gd name="connsiteX2512" fmla="*/ 1117642 w 9922465"/>
                <a:gd name="connsiteY2512" fmla="*/ 835352 h 1934496"/>
                <a:gd name="connsiteX2513" fmla="*/ 1062448 w 9922465"/>
                <a:gd name="connsiteY2513" fmla="*/ 780161 h 1934496"/>
                <a:gd name="connsiteX2514" fmla="*/ 1117642 w 9922465"/>
                <a:gd name="connsiteY2514" fmla="*/ 724970 h 1934496"/>
                <a:gd name="connsiteX2515" fmla="*/ 980664 w 9922465"/>
                <a:gd name="connsiteY2515" fmla="*/ 724970 h 1934496"/>
                <a:gd name="connsiteX2516" fmla="*/ 1035857 w 9922465"/>
                <a:gd name="connsiteY2516" fmla="*/ 780161 h 1934496"/>
                <a:gd name="connsiteX2517" fmla="*/ 980664 w 9922465"/>
                <a:gd name="connsiteY2517" fmla="*/ 835352 h 1934496"/>
                <a:gd name="connsiteX2518" fmla="*/ 925471 w 9922465"/>
                <a:gd name="connsiteY2518" fmla="*/ 780161 h 1934496"/>
                <a:gd name="connsiteX2519" fmla="*/ 980664 w 9922465"/>
                <a:gd name="connsiteY2519" fmla="*/ 724970 h 1934496"/>
                <a:gd name="connsiteX2520" fmla="*/ 847022 w 9922465"/>
                <a:gd name="connsiteY2520" fmla="*/ 724970 h 1934496"/>
                <a:gd name="connsiteX2521" fmla="*/ 902217 w 9922465"/>
                <a:gd name="connsiteY2521" fmla="*/ 780161 h 1934496"/>
                <a:gd name="connsiteX2522" fmla="*/ 847022 w 9922465"/>
                <a:gd name="connsiteY2522" fmla="*/ 835352 h 1934496"/>
                <a:gd name="connsiteX2523" fmla="*/ 791823 w 9922465"/>
                <a:gd name="connsiteY2523" fmla="*/ 780161 h 1934496"/>
                <a:gd name="connsiteX2524" fmla="*/ 847022 w 9922465"/>
                <a:gd name="connsiteY2524" fmla="*/ 724970 h 1934496"/>
                <a:gd name="connsiteX2525" fmla="*/ 716722 w 9922465"/>
                <a:gd name="connsiteY2525" fmla="*/ 724970 h 1934496"/>
                <a:gd name="connsiteX2526" fmla="*/ 771916 w 9922465"/>
                <a:gd name="connsiteY2526" fmla="*/ 780161 h 1934496"/>
                <a:gd name="connsiteX2527" fmla="*/ 716722 w 9922465"/>
                <a:gd name="connsiteY2527" fmla="*/ 835352 h 1934496"/>
                <a:gd name="connsiteX2528" fmla="*/ 661530 w 9922465"/>
                <a:gd name="connsiteY2528" fmla="*/ 780161 h 1934496"/>
                <a:gd name="connsiteX2529" fmla="*/ 716722 w 9922465"/>
                <a:gd name="connsiteY2529" fmla="*/ 724970 h 1934496"/>
                <a:gd name="connsiteX2530" fmla="*/ 583085 w 9922465"/>
                <a:gd name="connsiteY2530" fmla="*/ 724970 h 1934496"/>
                <a:gd name="connsiteX2531" fmla="*/ 638278 w 9922465"/>
                <a:gd name="connsiteY2531" fmla="*/ 780161 h 1934496"/>
                <a:gd name="connsiteX2532" fmla="*/ 583085 w 9922465"/>
                <a:gd name="connsiteY2532" fmla="*/ 835352 h 1934496"/>
                <a:gd name="connsiteX2533" fmla="*/ 527891 w 9922465"/>
                <a:gd name="connsiteY2533" fmla="*/ 780161 h 1934496"/>
                <a:gd name="connsiteX2534" fmla="*/ 583085 w 9922465"/>
                <a:gd name="connsiteY2534" fmla="*/ 724970 h 1934496"/>
                <a:gd name="connsiteX2535" fmla="*/ 449437 w 9922465"/>
                <a:gd name="connsiteY2535" fmla="*/ 724970 h 1934496"/>
                <a:gd name="connsiteX2536" fmla="*/ 504629 w 9922465"/>
                <a:gd name="connsiteY2536" fmla="*/ 780161 h 1934496"/>
                <a:gd name="connsiteX2537" fmla="*/ 449437 w 9922465"/>
                <a:gd name="connsiteY2537" fmla="*/ 835352 h 1934496"/>
                <a:gd name="connsiteX2538" fmla="*/ 394244 w 9922465"/>
                <a:gd name="connsiteY2538" fmla="*/ 780161 h 1934496"/>
                <a:gd name="connsiteX2539" fmla="*/ 449437 w 9922465"/>
                <a:gd name="connsiteY2539" fmla="*/ 724970 h 1934496"/>
                <a:gd name="connsiteX2540" fmla="*/ 319140 w 9922465"/>
                <a:gd name="connsiteY2540" fmla="*/ 724970 h 1934496"/>
                <a:gd name="connsiteX2541" fmla="*/ 374334 w 9922465"/>
                <a:gd name="connsiteY2541" fmla="*/ 780161 h 1934496"/>
                <a:gd name="connsiteX2542" fmla="*/ 319140 w 9922465"/>
                <a:gd name="connsiteY2542" fmla="*/ 835352 h 1934496"/>
                <a:gd name="connsiteX2543" fmla="*/ 263948 w 9922465"/>
                <a:gd name="connsiteY2543" fmla="*/ 780161 h 1934496"/>
                <a:gd name="connsiteX2544" fmla="*/ 319140 w 9922465"/>
                <a:gd name="connsiteY2544" fmla="*/ 724970 h 1934496"/>
                <a:gd name="connsiteX2545" fmla="*/ 185509 w 9922465"/>
                <a:gd name="connsiteY2545" fmla="*/ 724970 h 1934496"/>
                <a:gd name="connsiteX2546" fmla="*/ 240701 w 9922465"/>
                <a:gd name="connsiteY2546" fmla="*/ 780161 h 1934496"/>
                <a:gd name="connsiteX2547" fmla="*/ 185509 w 9922465"/>
                <a:gd name="connsiteY2547" fmla="*/ 835352 h 1934496"/>
                <a:gd name="connsiteX2548" fmla="*/ 130319 w 9922465"/>
                <a:gd name="connsiteY2548" fmla="*/ 780161 h 1934496"/>
                <a:gd name="connsiteX2549" fmla="*/ 185509 w 9922465"/>
                <a:gd name="connsiteY2549" fmla="*/ 724970 h 1934496"/>
                <a:gd name="connsiteX2550" fmla="*/ 8801538 w 9922465"/>
                <a:gd name="connsiteY2550" fmla="*/ 608039 h 1934496"/>
                <a:gd name="connsiteX2551" fmla="*/ 8856730 w 9922465"/>
                <a:gd name="connsiteY2551" fmla="*/ 663230 h 1934496"/>
                <a:gd name="connsiteX2552" fmla="*/ 8801538 w 9922465"/>
                <a:gd name="connsiteY2552" fmla="*/ 718421 h 1934496"/>
                <a:gd name="connsiteX2553" fmla="*/ 8746346 w 9922465"/>
                <a:gd name="connsiteY2553" fmla="*/ 663230 h 1934496"/>
                <a:gd name="connsiteX2554" fmla="*/ 8801538 w 9922465"/>
                <a:gd name="connsiteY2554" fmla="*/ 608039 h 1934496"/>
                <a:gd name="connsiteX2555" fmla="*/ 8671244 w 9922465"/>
                <a:gd name="connsiteY2555" fmla="*/ 608039 h 1934496"/>
                <a:gd name="connsiteX2556" fmla="*/ 8726436 w 9922465"/>
                <a:gd name="connsiteY2556" fmla="*/ 663230 h 1934496"/>
                <a:gd name="connsiteX2557" fmla="*/ 8671244 w 9922465"/>
                <a:gd name="connsiteY2557" fmla="*/ 718421 h 1934496"/>
                <a:gd name="connsiteX2558" fmla="*/ 8616052 w 9922465"/>
                <a:gd name="connsiteY2558" fmla="*/ 663230 h 1934496"/>
                <a:gd name="connsiteX2559" fmla="*/ 8671244 w 9922465"/>
                <a:gd name="connsiteY2559" fmla="*/ 608039 h 1934496"/>
                <a:gd name="connsiteX2560" fmla="*/ 8537609 w 9922465"/>
                <a:gd name="connsiteY2560" fmla="*/ 608039 h 1934496"/>
                <a:gd name="connsiteX2561" fmla="*/ 8592801 w 9922465"/>
                <a:gd name="connsiteY2561" fmla="*/ 663230 h 1934496"/>
                <a:gd name="connsiteX2562" fmla="*/ 8537609 w 9922465"/>
                <a:gd name="connsiteY2562" fmla="*/ 718421 h 1934496"/>
                <a:gd name="connsiteX2563" fmla="*/ 8482417 w 9922465"/>
                <a:gd name="connsiteY2563" fmla="*/ 663230 h 1934496"/>
                <a:gd name="connsiteX2564" fmla="*/ 8537609 w 9922465"/>
                <a:gd name="connsiteY2564" fmla="*/ 608039 h 1934496"/>
                <a:gd name="connsiteX2565" fmla="*/ 8407318 w 9922465"/>
                <a:gd name="connsiteY2565" fmla="*/ 608039 h 1934496"/>
                <a:gd name="connsiteX2566" fmla="*/ 8462510 w 9922465"/>
                <a:gd name="connsiteY2566" fmla="*/ 663230 h 1934496"/>
                <a:gd name="connsiteX2567" fmla="*/ 8407318 w 9922465"/>
                <a:gd name="connsiteY2567" fmla="*/ 718421 h 1934496"/>
                <a:gd name="connsiteX2568" fmla="*/ 8352126 w 9922465"/>
                <a:gd name="connsiteY2568" fmla="*/ 663230 h 1934496"/>
                <a:gd name="connsiteX2569" fmla="*/ 8407318 w 9922465"/>
                <a:gd name="connsiteY2569" fmla="*/ 608039 h 1934496"/>
                <a:gd name="connsiteX2570" fmla="*/ 8273682 w 9922465"/>
                <a:gd name="connsiteY2570" fmla="*/ 608039 h 1934496"/>
                <a:gd name="connsiteX2571" fmla="*/ 8328874 w 9922465"/>
                <a:gd name="connsiteY2571" fmla="*/ 663230 h 1934496"/>
                <a:gd name="connsiteX2572" fmla="*/ 8273682 w 9922465"/>
                <a:gd name="connsiteY2572" fmla="*/ 718421 h 1934496"/>
                <a:gd name="connsiteX2573" fmla="*/ 8218490 w 9922465"/>
                <a:gd name="connsiteY2573" fmla="*/ 663230 h 1934496"/>
                <a:gd name="connsiteX2574" fmla="*/ 8273682 w 9922465"/>
                <a:gd name="connsiteY2574" fmla="*/ 608039 h 1934496"/>
                <a:gd name="connsiteX2575" fmla="*/ 8143386 w 9922465"/>
                <a:gd name="connsiteY2575" fmla="*/ 608039 h 1934496"/>
                <a:gd name="connsiteX2576" fmla="*/ 8198578 w 9922465"/>
                <a:gd name="connsiteY2576" fmla="*/ 663230 h 1934496"/>
                <a:gd name="connsiteX2577" fmla="*/ 8143386 w 9922465"/>
                <a:gd name="connsiteY2577" fmla="*/ 718421 h 1934496"/>
                <a:gd name="connsiteX2578" fmla="*/ 8088194 w 9922465"/>
                <a:gd name="connsiteY2578" fmla="*/ 663230 h 1934496"/>
                <a:gd name="connsiteX2579" fmla="*/ 8143386 w 9922465"/>
                <a:gd name="connsiteY2579" fmla="*/ 608039 h 1934496"/>
                <a:gd name="connsiteX2580" fmla="*/ 8009753 w 9922465"/>
                <a:gd name="connsiteY2580" fmla="*/ 608039 h 1934496"/>
                <a:gd name="connsiteX2581" fmla="*/ 8064945 w 9922465"/>
                <a:gd name="connsiteY2581" fmla="*/ 663230 h 1934496"/>
                <a:gd name="connsiteX2582" fmla="*/ 8009753 w 9922465"/>
                <a:gd name="connsiteY2582" fmla="*/ 718421 h 1934496"/>
                <a:gd name="connsiteX2583" fmla="*/ 7954561 w 9922465"/>
                <a:gd name="connsiteY2583" fmla="*/ 663230 h 1934496"/>
                <a:gd name="connsiteX2584" fmla="*/ 8009753 w 9922465"/>
                <a:gd name="connsiteY2584" fmla="*/ 608039 h 1934496"/>
                <a:gd name="connsiteX2585" fmla="*/ 7876118 w 9922465"/>
                <a:gd name="connsiteY2585" fmla="*/ 608039 h 1934496"/>
                <a:gd name="connsiteX2586" fmla="*/ 7931310 w 9922465"/>
                <a:gd name="connsiteY2586" fmla="*/ 663230 h 1934496"/>
                <a:gd name="connsiteX2587" fmla="*/ 7876118 w 9922465"/>
                <a:gd name="connsiteY2587" fmla="*/ 718421 h 1934496"/>
                <a:gd name="connsiteX2588" fmla="*/ 7820926 w 9922465"/>
                <a:gd name="connsiteY2588" fmla="*/ 663230 h 1934496"/>
                <a:gd name="connsiteX2589" fmla="*/ 7876118 w 9922465"/>
                <a:gd name="connsiteY2589" fmla="*/ 608039 h 1934496"/>
                <a:gd name="connsiteX2590" fmla="*/ 7745824 w 9922465"/>
                <a:gd name="connsiteY2590" fmla="*/ 608039 h 1934496"/>
                <a:gd name="connsiteX2591" fmla="*/ 7801016 w 9922465"/>
                <a:gd name="connsiteY2591" fmla="*/ 663230 h 1934496"/>
                <a:gd name="connsiteX2592" fmla="*/ 7745824 w 9922465"/>
                <a:gd name="connsiteY2592" fmla="*/ 718421 h 1934496"/>
                <a:gd name="connsiteX2593" fmla="*/ 7690632 w 9922465"/>
                <a:gd name="connsiteY2593" fmla="*/ 663230 h 1934496"/>
                <a:gd name="connsiteX2594" fmla="*/ 7745824 w 9922465"/>
                <a:gd name="connsiteY2594" fmla="*/ 608039 h 1934496"/>
                <a:gd name="connsiteX2595" fmla="*/ 7608850 w 9922465"/>
                <a:gd name="connsiteY2595" fmla="*/ 608039 h 1934496"/>
                <a:gd name="connsiteX2596" fmla="*/ 7664042 w 9922465"/>
                <a:gd name="connsiteY2596" fmla="*/ 663230 h 1934496"/>
                <a:gd name="connsiteX2597" fmla="*/ 7608850 w 9922465"/>
                <a:gd name="connsiteY2597" fmla="*/ 718421 h 1934496"/>
                <a:gd name="connsiteX2598" fmla="*/ 7553658 w 9922465"/>
                <a:gd name="connsiteY2598" fmla="*/ 663230 h 1934496"/>
                <a:gd name="connsiteX2599" fmla="*/ 7608850 w 9922465"/>
                <a:gd name="connsiteY2599" fmla="*/ 608039 h 1934496"/>
                <a:gd name="connsiteX2600" fmla="*/ 7481895 w 9922465"/>
                <a:gd name="connsiteY2600" fmla="*/ 608039 h 1934496"/>
                <a:gd name="connsiteX2601" fmla="*/ 7537087 w 9922465"/>
                <a:gd name="connsiteY2601" fmla="*/ 663230 h 1934496"/>
                <a:gd name="connsiteX2602" fmla="*/ 7481895 w 9922465"/>
                <a:gd name="connsiteY2602" fmla="*/ 718421 h 1934496"/>
                <a:gd name="connsiteX2603" fmla="*/ 7426703 w 9922465"/>
                <a:gd name="connsiteY2603" fmla="*/ 663230 h 1934496"/>
                <a:gd name="connsiteX2604" fmla="*/ 7481895 w 9922465"/>
                <a:gd name="connsiteY2604" fmla="*/ 608039 h 1934496"/>
                <a:gd name="connsiteX2605" fmla="*/ 7341579 w 9922465"/>
                <a:gd name="connsiteY2605" fmla="*/ 608039 h 1934496"/>
                <a:gd name="connsiteX2606" fmla="*/ 7396771 w 9922465"/>
                <a:gd name="connsiteY2606" fmla="*/ 663230 h 1934496"/>
                <a:gd name="connsiteX2607" fmla="*/ 7341579 w 9922465"/>
                <a:gd name="connsiteY2607" fmla="*/ 718421 h 1934496"/>
                <a:gd name="connsiteX2608" fmla="*/ 7286387 w 9922465"/>
                <a:gd name="connsiteY2608" fmla="*/ 663230 h 1934496"/>
                <a:gd name="connsiteX2609" fmla="*/ 7341579 w 9922465"/>
                <a:gd name="connsiteY2609" fmla="*/ 608039 h 1934496"/>
                <a:gd name="connsiteX2610" fmla="*/ 7211286 w 9922465"/>
                <a:gd name="connsiteY2610" fmla="*/ 608039 h 1934496"/>
                <a:gd name="connsiteX2611" fmla="*/ 7266478 w 9922465"/>
                <a:gd name="connsiteY2611" fmla="*/ 663230 h 1934496"/>
                <a:gd name="connsiteX2612" fmla="*/ 7211286 w 9922465"/>
                <a:gd name="connsiteY2612" fmla="*/ 718421 h 1934496"/>
                <a:gd name="connsiteX2613" fmla="*/ 7156094 w 9922465"/>
                <a:gd name="connsiteY2613" fmla="*/ 663230 h 1934496"/>
                <a:gd name="connsiteX2614" fmla="*/ 7211286 w 9922465"/>
                <a:gd name="connsiteY2614" fmla="*/ 608039 h 1934496"/>
                <a:gd name="connsiteX2615" fmla="*/ 7080994 w 9922465"/>
                <a:gd name="connsiteY2615" fmla="*/ 608039 h 1934496"/>
                <a:gd name="connsiteX2616" fmla="*/ 7136186 w 9922465"/>
                <a:gd name="connsiteY2616" fmla="*/ 663230 h 1934496"/>
                <a:gd name="connsiteX2617" fmla="*/ 7080994 w 9922465"/>
                <a:gd name="connsiteY2617" fmla="*/ 718421 h 1934496"/>
                <a:gd name="connsiteX2618" fmla="*/ 7025802 w 9922465"/>
                <a:gd name="connsiteY2618" fmla="*/ 663230 h 1934496"/>
                <a:gd name="connsiteX2619" fmla="*/ 7080994 w 9922465"/>
                <a:gd name="connsiteY2619" fmla="*/ 608039 h 1934496"/>
                <a:gd name="connsiteX2620" fmla="*/ 6947358 w 9922465"/>
                <a:gd name="connsiteY2620" fmla="*/ 608039 h 1934496"/>
                <a:gd name="connsiteX2621" fmla="*/ 7002550 w 9922465"/>
                <a:gd name="connsiteY2621" fmla="*/ 663230 h 1934496"/>
                <a:gd name="connsiteX2622" fmla="*/ 6947358 w 9922465"/>
                <a:gd name="connsiteY2622" fmla="*/ 718421 h 1934496"/>
                <a:gd name="connsiteX2623" fmla="*/ 6892166 w 9922465"/>
                <a:gd name="connsiteY2623" fmla="*/ 663230 h 1934496"/>
                <a:gd name="connsiteX2624" fmla="*/ 6947358 w 9922465"/>
                <a:gd name="connsiteY2624" fmla="*/ 608039 h 1934496"/>
                <a:gd name="connsiteX2625" fmla="*/ 6817064 w 9922465"/>
                <a:gd name="connsiteY2625" fmla="*/ 608039 h 1934496"/>
                <a:gd name="connsiteX2626" fmla="*/ 6872256 w 9922465"/>
                <a:gd name="connsiteY2626" fmla="*/ 663230 h 1934496"/>
                <a:gd name="connsiteX2627" fmla="*/ 6817064 w 9922465"/>
                <a:gd name="connsiteY2627" fmla="*/ 718421 h 1934496"/>
                <a:gd name="connsiteX2628" fmla="*/ 6761872 w 9922465"/>
                <a:gd name="connsiteY2628" fmla="*/ 663230 h 1934496"/>
                <a:gd name="connsiteX2629" fmla="*/ 6817064 w 9922465"/>
                <a:gd name="connsiteY2629" fmla="*/ 608039 h 1934496"/>
                <a:gd name="connsiteX2630" fmla="*/ 6683431 w 9922465"/>
                <a:gd name="connsiteY2630" fmla="*/ 608039 h 1934496"/>
                <a:gd name="connsiteX2631" fmla="*/ 6738623 w 9922465"/>
                <a:gd name="connsiteY2631" fmla="*/ 663230 h 1934496"/>
                <a:gd name="connsiteX2632" fmla="*/ 6683431 w 9922465"/>
                <a:gd name="connsiteY2632" fmla="*/ 718421 h 1934496"/>
                <a:gd name="connsiteX2633" fmla="*/ 6628239 w 9922465"/>
                <a:gd name="connsiteY2633" fmla="*/ 663230 h 1934496"/>
                <a:gd name="connsiteX2634" fmla="*/ 6683431 w 9922465"/>
                <a:gd name="connsiteY2634" fmla="*/ 608039 h 1934496"/>
                <a:gd name="connsiteX2635" fmla="*/ 6155573 w 9922465"/>
                <a:gd name="connsiteY2635" fmla="*/ 608039 h 1934496"/>
                <a:gd name="connsiteX2636" fmla="*/ 6210765 w 9922465"/>
                <a:gd name="connsiteY2636" fmla="*/ 663230 h 1934496"/>
                <a:gd name="connsiteX2637" fmla="*/ 6155573 w 9922465"/>
                <a:gd name="connsiteY2637" fmla="*/ 718421 h 1934496"/>
                <a:gd name="connsiteX2638" fmla="*/ 6100381 w 9922465"/>
                <a:gd name="connsiteY2638" fmla="*/ 663230 h 1934496"/>
                <a:gd name="connsiteX2639" fmla="*/ 6155573 w 9922465"/>
                <a:gd name="connsiteY2639" fmla="*/ 608039 h 1934496"/>
                <a:gd name="connsiteX2640" fmla="*/ 5487399 w 9922465"/>
                <a:gd name="connsiteY2640" fmla="*/ 608039 h 1934496"/>
                <a:gd name="connsiteX2641" fmla="*/ 5542591 w 9922465"/>
                <a:gd name="connsiteY2641" fmla="*/ 663230 h 1934496"/>
                <a:gd name="connsiteX2642" fmla="*/ 5487399 w 9922465"/>
                <a:gd name="connsiteY2642" fmla="*/ 718421 h 1934496"/>
                <a:gd name="connsiteX2643" fmla="*/ 5432207 w 9922465"/>
                <a:gd name="connsiteY2643" fmla="*/ 663230 h 1934496"/>
                <a:gd name="connsiteX2644" fmla="*/ 5487399 w 9922465"/>
                <a:gd name="connsiteY2644" fmla="*/ 608039 h 1934496"/>
                <a:gd name="connsiteX2645" fmla="*/ 5357106 w 9922465"/>
                <a:gd name="connsiteY2645" fmla="*/ 608039 h 1934496"/>
                <a:gd name="connsiteX2646" fmla="*/ 5412298 w 9922465"/>
                <a:gd name="connsiteY2646" fmla="*/ 663230 h 1934496"/>
                <a:gd name="connsiteX2647" fmla="*/ 5357106 w 9922465"/>
                <a:gd name="connsiteY2647" fmla="*/ 718421 h 1934496"/>
                <a:gd name="connsiteX2648" fmla="*/ 5301914 w 9922465"/>
                <a:gd name="connsiteY2648" fmla="*/ 663230 h 1934496"/>
                <a:gd name="connsiteX2649" fmla="*/ 5357106 w 9922465"/>
                <a:gd name="connsiteY2649" fmla="*/ 608039 h 1934496"/>
                <a:gd name="connsiteX2650" fmla="*/ 5223473 w 9922465"/>
                <a:gd name="connsiteY2650" fmla="*/ 608038 h 1934496"/>
                <a:gd name="connsiteX2651" fmla="*/ 5278665 w 9922465"/>
                <a:gd name="connsiteY2651" fmla="*/ 663229 h 1934496"/>
                <a:gd name="connsiteX2652" fmla="*/ 5223473 w 9922465"/>
                <a:gd name="connsiteY2652" fmla="*/ 718420 h 1934496"/>
                <a:gd name="connsiteX2653" fmla="*/ 5168281 w 9922465"/>
                <a:gd name="connsiteY2653" fmla="*/ 663229 h 1934496"/>
                <a:gd name="connsiteX2654" fmla="*/ 5223473 w 9922465"/>
                <a:gd name="connsiteY2654" fmla="*/ 608038 h 1934496"/>
                <a:gd name="connsiteX2655" fmla="*/ 4030786 w 9922465"/>
                <a:gd name="connsiteY2655" fmla="*/ 608038 h 1934496"/>
                <a:gd name="connsiteX2656" fmla="*/ 4085978 w 9922465"/>
                <a:gd name="connsiteY2656" fmla="*/ 663229 h 1934496"/>
                <a:gd name="connsiteX2657" fmla="*/ 4030786 w 9922465"/>
                <a:gd name="connsiteY2657" fmla="*/ 718420 h 1934496"/>
                <a:gd name="connsiteX2658" fmla="*/ 3975594 w 9922465"/>
                <a:gd name="connsiteY2658" fmla="*/ 663229 h 1934496"/>
                <a:gd name="connsiteX2659" fmla="*/ 4030786 w 9922465"/>
                <a:gd name="connsiteY2659" fmla="*/ 608038 h 1934496"/>
                <a:gd name="connsiteX2660" fmla="*/ 3897148 w 9922465"/>
                <a:gd name="connsiteY2660" fmla="*/ 608038 h 1934496"/>
                <a:gd name="connsiteX2661" fmla="*/ 3952340 w 9922465"/>
                <a:gd name="connsiteY2661" fmla="*/ 663229 h 1934496"/>
                <a:gd name="connsiteX2662" fmla="*/ 3897148 w 9922465"/>
                <a:gd name="connsiteY2662" fmla="*/ 718420 h 1934496"/>
                <a:gd name="connsiteX2663" fmla="*/ 3841956 w 9922465"/>
                <a:gd name="connsiteY2663" fmla="*/ 663229 h 1934496"/>
                <a:gd name="connsiteX2664" fmla="*/ 3897148 w 9922465"/>
                <a:gd name="connsiteY2664" fmla="*/ 608038 h 1934496"/>
                <a:gd name="connsiteX2665" fmla="*/ 3763514 w 9922465"/>
                <a:gd name="connsiteY2665" fmla="*/ 608038 h 1934496"/>
                <a:gd name="connsiteX2666" fmla="*/ 3818706 w 9922465"/>
                <a:gd name="connsiteY2666" fmla="*/ 663229 h 1934496"/>
                <a:gd name="connsiteX2667" fmla="*/ 3763514 w 9922465"/>
                <a:gd name="connsiteY2667" fmla="*/ 718420 h 1934496"/>
                <a:gd name="connsiteX2668" fmla="*/ 3708322 w 9922465"/>
                <a:gd name="connsiteY2668" fmla="*/ 663229 h 1934496"/>
                <a:gd name="connsiteX2669" fmla="*/ 3763514 w 9922465"/>
                <a:gd name="connsiteY2669" fmla="*/ 608038 h 1934496"/>
                <a:gd name="connsiteX2670" fmla="*/ 3633221 w 9922465"/>
                <a:gd name="connsiteY2670" fmla="*/ 608038 h 1934496"/>
                <a:gd name="connsiteX2671" fmla="*/ 3688413 w 9922465"/>
                <a:gd name="connsiteY2671" fmla="*/ 663229 h 1934496"/>
                <a:gd name="connsiteX2672" fmla="*/ 3633221 w 9922465"/>
                <a:gd name="connsiteY2672" fmla="*/ 718420 h 1934496"/>
                <a:gd name="connsiteX2673" fmla="*/ 3578029 w 9922465"/>
                <a:gd name="connsiteY2673" fmla="*/ 663229 h 1934496"/>
                <a:gd name="connsiteX2674" fmla="*/ 3633221 w 9922465"/>
                <a:gd name="connsiteY2674" fmla="*/ 608038 h 1934496"/>
                <a:gd name="connsiteX2675" fmla="*/ 3499589 w 9922465"/>
                <a:gd name="connsiteY2675" fmla="*/ 608038 h 1934496"/>
                <a:gd name="connsiteX2676" fmla="*/ 3554781 w 9922465"/>
                <a:gd name="connsiteY2676" fmla="*/ 663229 h 1934496"/>
                <a:gd name="connsiteX2677" fmla="*/ 3499589 w 9922465"/>
                <a:gd name="connsiteY2677" fmla="*/ 718420 h 1934496"/>
                <a:gd name="connsiteX2678" fmla="*/ 3444397 w 9922465"/>
                <a:gd name="connsiteY2678" fmla="*/ 663229 h 1934496"/>
                <a:gd name="connsiteX2679" fmla="*/ 3499589 w 9922465"/>
                <a:gd name="connsiteY2679" fmla="*/ 608038 h 1934496"/>
                <a:gd name="connsiteX2680" fmla="*/ 3369292 w 9922465"/>
                <a:gd name="connsiteY2680" fmla="*/ 608038 h 1934496"/>
                <a:gd name="connsiteX2681" fmla="*/ 3424484 w 9922465"/>
                <a:gd name="connsiteY2681" fmla="*/ 663229 h 1934496"/>
                <a:gd name="connsiteX2682" fmla="*/ 3369292 w 9922465"/>
                <a:gd name="connsiteY2682" fmla="*/ 718420 h 1934496"/>
                <a:gd name="connsiteX2683" fmla="*/ 3314100 w 9922465"/>
                <a:gd name="connsiteY2683" fmla="*/ 663229 h 1934496"/>
                <a:gd name="connsiteX2684" fmla="*/ 3369292 w 9922465"/>
                <a:gd name="connsiteY2684" fmla="*/ 608038 h 1934496"/>
                <a:gd name="connsiteX2685" fmla="*/ 3235657 w 9922465"/>
                <a:gd name="connsiteY2685" fmla="*/ 608038 h 1934496"/>
                <a:gd name="connsiteX2686" fmla="*/ 3290849 w 9922465"/>
                <a:gd name="connsiteY2686" fmla="*/ 663229 h 1934496"/>
                <a:gd name="connsiteX2687" fmla="*/ 3235657 w 9922465"/>
                <a:gd name="connsiteY2687" fmla="*/ 718420 h 1934496"/>
                <a:gd name="connsiteX2688" fmla="*/ 3180465 w 9922465"/>
                <a:gd name="connsiteY2688" fmla="*/ 663229 h 1934496"/>
                <a:gd name="connsiteX2689" fmla="*/ 3235657 w 9922465"/>
                <a:gd name="connsiteY2689" fmla="*/ 608038 h 1934496"/>
                <a:gd name="connsiteX2690" fmla="*/ 2570932 w 9922465"/>
                <a:gd name="connsiteY2690" fmla="*/ 608038 h 1934496"/>
                <a:gd name="connsiteX2691" fmla="*/ 2626123 w 9922465"/>
                <a:gd name="connsiteY2691" fmla="*/ 663229 h 1934496"/>
                <a:gd name="connsiteX2692" fmla="*/ 2570932 w 9922465"/>
                <a:gd name="connsiteY2692" fmla="*/ 718420 h 1934496"/>
                <a:gd name="connsiteX2693" fmla="*/ 2515738 w 9922465"/>
                <a:gd name="connsiteY2693" fmla="*/ 663229 h 1934496"/>
                <a:gd name="connsiteX2694" fmla="*/ 2570932 w 9922465"/>
                <a:gd name="connsiteY2694" fmla="*/ 608038 h 1934496"/>
                <a:gd name="connsiteX2695" fmla="*/ 2437297 w 9922465"/>
                <a:gd name="connsiteY2695" fmla="*/ 608038 h 1934496"/>
                <a:gd name="connsiteX2696" fmla="*/ 2492487 w 9922465"/>
                <a:gd name="connsiteY2696" fmla="*/ 663229 h 1934496"/>
                <a:gd name="connsiteX2697" fmla="*/ 2437297 w 9922465"/>
                <a:gd name="connsiteY2697" fmla="*/ 718420 h 1934496"/>
                <a:gd name="connsiteX2698" fmla="*/ 2382108 w 9922465"/>
                <a:gd name="connsiteY2698" fmla="*/ 663229 h 1934496"/>
                <a:gd name="connsiteX2699" fmla="*/ 2437297 w 9922465"/>
                <a:gd name="connsiteY2699" fmla="*/ 608038 h 1934496"/>
                <a:gd name="connsiteX2700" fmla="*/ 2303664 w 9922465"/>
                <a:gd name="connsiteY2700" fmla="*/ 608038 h 1934496"/>
                <a:gd name="connsiteX2701" fmla="*/ 2358856 w 9922465"/>
                <a:gd name="connsiteY2701" fmla="*/ 663229 h 1934496"/>
                <a:gd name="connsiteX2702" fmla="*/ 2303664 w 9922465"/>
                <a:gd name="connsiteY2702" fmla="*/ 718420 h 1934496"/>
                <a:gd name="connsiteX2703" fmla="*/ 2248473 w 9922465"/>
                <a:gd name="connsiteY2703" fmla="*/ 663229 h 1934496"/>
                <a:gd name="connsiteX2704" fmla="*/ 2303664 w 9922465"/>
                <a:gd name="connsiteY2704" fmla="*/ 608038 h 1934496"/>
                <a:gd name="connsiteX2705" fmla="*/ 2173372 w 9922465"/>
                <a:gd name="connsiteY2705" fmla="*/ 608038 h 1934496"/>
                <a:gd name="connsiteX2706" fmla="*/ 2228565 w 9922465"/>
                <a:gd name="connsiteY2706" fmla="*/ 663229 h 1934496"/>
                <a:gd name="connsiteX2707" fmla="*/ 2173372 w 9922465"/>
                <a:gd name="connsiteY2707" fmla="*/ 718420 h 1934496"/>
                <a:gd name="connsiteX2708" fmla="*/ 2118180 w 9922465"/>
                <a:gd name="connsiteY2708" fmla="*/ 663229 h 1934496"/>
                <a:gd name="connsiteX2709" fmla="*/ 2173372 w 9922465"/>
                <a:gd name="connsiteY2709" fmla="*/ 608038 h 1934496"/>
                <a:gd name="connsiteX2710" fmla="*/ 2039736 w 9922465"/>
                <a:gd name="connsiteY2710" fmla="*/ 608038 h 1934496"/>
                <a:gd name="connsiteX2711" fmla="*/ 2094930 w 9922465"/>
                <a:gd name="connsiteY2711" fmla="*/ 663229 h 1934496"/>
                <a:gd name="connsiteX2712" fmla="*/ 2039736 w 9922465"/>
                <a:gd name="connsiteY2712" fmla="*/ 718420 h 1934496"/>
                <a:gd name="connsiteX2713" fmla="*/ 1984543 w 9922465"/>
                <a:gd name="connsiteY2713" fmla="*/ 663229 h 1934496"/>
                <a:gd name="connsiteX2714" fmla="*/ 2039736 w 9922465"/>
                <a:gd name="connsiteY2714" fmla="*/ 608038 h 1934496"/>
                <a:gd name="connsiteX2715" fmla="*/ 1909437 w 9922465"/>
                <a:gd name="connsiteY2715" fmla="*/ 608038 h 1934496"/>
                <a:gd name="connsiteX2716" fmla="*/ 1964630 w 9922465"/>
                <a:gd name="connsiteY2716" fmla="*/ 663229 h 1934496"/>
                <a:gd name="connsiteX2717" fmla="*/ 1909437 w 9922465"/>
                <a:gd name="connsiteY2717" fmla="*/ 718420 h 1934496"/>
                <a:gd name="connsiteX2718" fmla="*/ 1854244 w 9922465"/>
                <a:gd name="connsiteY2718" fmla="*/ 663229 h 1934496"/>
                <a:gd name="connsiteX2719" fmla="*/ 1909437 w 9922465"/>
                <a:gd name="connsiteY2719" fmla="*/ 608038 h 1934496"/>
                <a:gd name="connsiteX2720" fmla="*/ 1779142 w 9922465"/>
                <a:gd name="connsiteY2720" fmla="*/ 608038 h 1934496"/>
                <a:gd name="connsiteX2721" fmla="*/ 1834335 w 9922465"/>
                <a:gd name="connsiteY2721" fmla="*/ 663229 h 1934496"/>
                <a:gd name="connsiteX2722" fmla="*/ 1779142 w 9922465"/>
                <a:gd name="connsiteY2722" fmla="*/ 718420 h 1934496"/>
                <a:gd name="connsiteX2723" fmla="*/ 1723950 w 9922465"/>
                <a:gd name="connsiteY2723" fmla="*/ 663229 h 1934496"/>
                <a:gd name="connsiteX2724" fmla="*/ 1779142 w 9922465"/>
                <a:gd name="connsiteY2724" fmla="*/ 608038 h 1934496"/>
                <a:gd name="connsiteX2725" fmla="*/ 1645508 w 9922465"/>
                <a:gd name="connsiteY2725" fmla="*/ 608038 h 1934496"/>
                <a:gd name="connsiteX2726" fmla="*/ 1700702 w 9922465"/>
                <a:gd name="connsiteY2726" fmla="*/ 663229 h 1934496"/>
                <a:gd name="connsiteX2727" fmla="*/ 1645508 w 9922465"/>
                <a:gd name="connsiteY2727" fmla="*/ 718420 h 1934496"/>
                <a:gd name="connsiteX2728" fmla="*/ 1590311 w 9922465"/>
                <a:gd name="connsiteY2728" fmla="*/ 663229 h 1934496"/>
                <a:gd name="connsiteX2729" fmla="*/ 1645508 w 9922465"/>
                <a:gd name="connsiteY2729" fmla="*/ 608038 h 1934496"/>
                <a:gd name="connsiteX2730" fmla="*/ 1515217 w 9922465"/>
                <a:gd name="connsiteY2730" fmla="*/ 608038 h 1934496"/>
                <a:gd name="connsiteX2731" fmla="*/ 1570402 w 9922465"/>
                <a:gd name="connsiteY2731" fmla="*/ 663229 h 1934496"/>
                <a:gd name="connsiteX2732" fmla="*/ 1515217 w 9922465"/>
                <a:gd name="connsiteY2732" fmla="*/ 718420 h 1934496"/>
                <a:gd name="connsiteX2733" fmla="*/ 1460020 w 9922465"/>
                <a:gd name="connsiteY2733" fmla="*/ 663229 h 1934496"/>
                <a:gd name="connsiteX2734" fmla="*/ 1515217 w 9922465"/>
                <a:gd name="connsiteY2734" fmla="*/ 608038 h 1934496"/>
                <a:gd name="connsiteX2735" fmla="*/ 1381573 w 9922465"/>
                <a:gd name="connsiteY2735" fmla="*/ 608038 h 1934496"/>
                <a:gd name="connsiteX2736" fmla="*/ 1436767 w 9922465"/>
                <a:gd name="connsiteY2736" fmla="*/ 663229 h 1934496"/>
                <a:gd name="connsiteX2737" fmla="*/ 1381573 w 9922465"/>
                <a:gd name="connsiteY2737" fmla="*/ 718420 h 1934496"/>
                <a:gd name="connsiteX2738" fmla="*/ 1326384 w 9922465"/>
                <a:gd name="connsiteY2738" fmla="*/ 663229 h 1934496"/>
                <a:gd name="connsiteX2739" fmla="*/ 1381573 w 9922465"/>
                <a:gd name="connsiteY2739" fmla="*/ 608038 h 1934496"/>
                <a:gd name="connsiteX2740" fmla="*/ 1251282 w 9922465"/>
                <a:gd name="connsiteY2740" fmla="*/ 608038 h 1934496"/>
                <a:gd name="connsiteX2741" fmla="*/ 1306476 w 9922465"/>
                <a:gd name="connsiteY2741" fmla="*/ 663229 h 1934496"/>
                <a:gd name="connsiteX2742" fmla="*/ 1251282 w 9922465"/>
                <a:gd name="connsiteY2742" fmla="*/ 718420 h 1934496"/>
                <a:gd name="connsiteX2743" fmla="*/ 1196089 w 9922465"/>
                <a:gd name="connsiteY2743" fmla="*/ 663229 h 1934496"/>
                <a:gd name="connsiteX2744" fmla="*/ 1251282 w 9922465"/>
                <a:gd name="connsiteY2744" fmla="*/ 608038 h 1934496"/>
                <a:gd name="connsiteX2745" fmla="*/ 8143386 w 9922465"/>
                <a:gd name="connsiteY2745" fmla="*/ 494447 h 1934496"/>
                <a:gd name="connsiteX2746" fmla="*/ 8198578 w 9922465"/>
                <a:gd name="connsiteY2746" fmla="*/ 549638 h 1934496"/>
                <a:gd name="connsiteX2747" fmla="*/ 8143386 w 9922465"/>
                <a:gd name="connsiteY2747" fmla="*/ 604829 h 1934496"/>
                <a:gd name="connsiteX2748" fmla="*/ 8088194 w 9922465"/>
                <a:gd name="connsiteY2748" fmla="*/ 549638 h 1934496"/>
                <a:gd name="connsiteX2749" fmla="*/ 8143386 w 9922465"/>
                <a:gd name="connsiteY2749" fmla="*/ 494447 h 1934496"/>
                <a:gd name="connsiteX2750" fmla="*/ 8009753 w 9922465"/>
                <a:gd name="connsiteY2750" fmla="*/ 494447 h 1934496"/>
                <a:gd name="connsiteX2751" fmla="*/ 8064945 w 9922465"/>
                <a:gd name="connsiteY2751" fmla="*/ 549638 h 1934496"/>
                <a:gd name="connsiteX2752" fmla="*/ 8009753 w 9922465"/>
                <a:gd name="connsiteY2752" fmla="*/ 604829 h 1934496"/>
                <a:gd name="connsiteX2753" fmla="*/ 7954561 w 9922465"/>
                <a:gd name="connsiteY2753" fmla="*/ 549638 h 1934496"/>
                <a:gd name="connsiteX2754" fmla="*/ 8009753 w 9922465"/>
                <a:gd name="connsiteY2754" fmla="*/ 494447 h 1934496"/>
                <a:gd name="connsiteX2755" fmla="*/ 7876118 w 9922465"/>
                <a:gd name="connsiteY2755" fmla="*/ 494447 h 1934496"/>
                <a:gd name="connsiteX2756" fmla="*/ 7931310 w 9922465"/>
                <a:gd name="connsiteY2756" fmla="*/ 549638 h 1934496"/>
                <a:gd name="connsiteX2757" fmla="*/ 7876118 w 9922465"/>
                <a:gd name="connsiteY2757" fmla="*/ 604829 h 1934496"/>
                <a:gd name="connsiteX2758" fmla="*/ 7820926 w 9922465"/>
                <a:gd name="connsiteY2758" fmla="*/ 549638 h 1934496"/>
                <a:gd name="connsiteX2759" fmla="*/ 7876118 w 9922465"/>
                <a:gd name="connsiteY2759" fmla="*/ 494447 h 1934496"/>
                <a:gd name="connsiteX2760" fmla="*/ 7745824 w 9922465"/>
                <a:gd name="connsiteY2760" fmla="*/ 494447 h 1934496"/>
                <a:gd name="connsiteX2761" fmla="*/ 7801016 w 9922465"/>
                <a:gd name="connsiteY2761" fmla="*/ 549638 h 1934496"/>
                <a:gd name="connsiteX2762" fmla="*/ 7745824 w 9922465"/>
                <a:gd name="connsiteY2762" fmla="*/ 604829 h 1934496"/>
                <a:gd name="connsiteX2763" fmla="*/ 7690632 w 9922465"/>
                <a:gd name="connsiteY2763" fmla="*/ 549638 h 1934496"/>
                <a:gd name="connsiteX2764" fmla="*/ 7745824 w 9922465"/>
                <a:gd name="connsiteY2764" fmla="*/ 494447 h 1934496"/>
                <a:gd name="connsiteX2765" fmla="*/ 7608850 w 9922465"/>
                <a:gd name="connsiteY2765" fmla="*/ 494447 h 1934496"/>
                <a:gd name="connsiteX2766" fmla="*/ 7664042 w 9922465"/>
                <a:gd name="connsiteY2766" fmla="*/ 549638 h 1934496"/>
                <a:gd name="connsiteX2767" fmla="*/ 7608850 w 9922465"/>
                <a:gd name="connsiteY2767" fmla="*/ 604829 h 1934496"/>
                <a:gd name="connsiteX2768" fmla="*/ 7553658 w 9922465"/>
                <a:gd name="connsiteY2768" fmla="*/ 549638 h 1934496"/>
                <a:gd name="connsiteX2769" fmla="*/ 7608850 w 9922465"/>
                <a:gd name="connsiteY2769" fmla="*/ 494447 h 1934496"/>
                <a:gd name="connsiteX2770" fmla="*/ 7481895 w 9922465"/>
                <a:gd name="connsiteY2770" fmla="*/ 494447 h 1934496"/>
                <a:gd name="connsiteX2771" fmla="*/ 7537087 w 9922465"/>
                <a:gd name="connsiteY2771" fmla="*/ 549638 h 1934496"/>
                <a:gd name="connsiteX2772" fmla="*/ 7481895 w 9922465"/>
                <a:gd name="connsiteY2772" fmla="*/ 604829 h 1934496"/>
                <a:gd name="connsiteX2773" fmla="*/ 7426703 w 9922465"/>
                <a:gd name="connsiteY2773" fmla="*/ 549638 h 1934496"/>
                <a:gd name="connsiteX2774" fmla="*/ 7481895 w 9922465"/>
                <a:gd name="connsiteY2774" fmla="*/ 494447 h 1934496"/>
                <a:gd name="connsiteX2775" fmla="*/ 7341580 w 9922465"/>
                <a:gd name="connsiteY2775" fmla="*/ 494447 h 1934496"/>
                <a:gd name="connsiteX2776" fmla="*/ 7396772 w 9922465"/>
                <a:gd name="connsiteY2776" fmla="*/ 549638 h 1934496"/>
                <a:gd name="connsiteX2777" fmla="*/ 7341580 w 9922465"/>
                <a:gd name="connsiteY2777" fmla="*/ 604829 h 1934496"/>
                <a:gd name="connsiteX2778" fmla="*/ 7286388 w 9922465"/>
                <a:gd name="connsiteY2778" fmla="*/ 549638 h 1934496"/>
                <a:gd name="connsiteX2779" fmla="*/ 7341580 w 9922465"/>
                <a:gd name="connsiteY2779" fmla="*/ 494447 h 1934496"/>
                <a:gd name="connsiteX2780" fmla="*/ 7211286 w 9922465"/>
                <a:gd name="connsiteY2780" fmla="*/ 494447 h 1934496"/>
                <a:gd name="connsiteX2781" fmla="*/ 7266478 w 9922465"/>
                <a:gd name="connsiteY2781" fmla="*/ 549638 h 1934496"/>
                <a:gd name="connsiteX2782" fmla="*/ 7211286 w 9922465"/>
                <a:gd name="connsiteY2782" fmla="*/ 604829 h 1934496"/>
                <a:gd name="connsiteX2783" fmla="*/ 7156094 w 9922465"/>
                <a:gd name="connsiteY2783" fmla="*/ 549638 h 1934496"/>
                <a:gd name="connsiteX2784" fmla="*/ 7211286 w 9922465"/>
                <a:gd name="connsiteY2784" fmla="*/ 494447 h 1934496"/>
                <a:gd name="connsiteX2785" fmla="*/ 7080994 w 9922465"/>
                <a:gd name="connsiteY2785" fmla="*/ 494447 h 1934496"/>
                <a:gd name="connsiteX2786" fmla="*/ 7136186 w 9922465"/>
                <a:gd name="connsiteY2786" fmla="*/ 549638 h 1934496"/>
                <a:gd name="connsiteX2787" fmla="*/ 7080994 w 9922465"/>
                <a:gd name="connsiteY2787" fmla="*/ 604829 h 1934496"/>
                <a:gd name="connsiteX2788" fmla="*/ 7025802 w 9922465"/>
                <a:gd name="connsiteY2788" fmla="*/ 549638 h 1934496"/>
                <a:gd name="connsiteX2789" fmla="*/ 7080994 w 9922465"/>
                <a:gd name="connsiteY2789" fmla="*/ 494447 h 1934496"/>
                <a:gd name="connsiteX2790" fmla="*/ 6947358 w 9922465"/>
                <a:gd name="connsiteY2790" fmla="*/ 494447 h 1934496"/>
                <a:gd name="connsiteX2791" fmla="*/ 7002550 w 9922465"/>
                <a:gd name="connsiteY2791" fmla="*/ 549638 h 1934496"/>
                <a:gd name="connsiteX2792" fmla="*/ 6947358 w 9922465"/>
                <a:gd name="connsiteY2792" fmla="*/ 604829 h 1934496"/>
                <a:gd name="connsiteX2793" fmla="*/ 6892166 w 9922465"/>
                <a:gd name="connsiteY2793" fmla="*/ 549638 h 1934496"/>
                <a:gd name="connsiteX2794" fmla="*/ 6947358 w 9922465"/>
                <a:gd name="connsiteY2794" fmla="*/ 494447 h 1934496"/>
                <a:gd name="connsiteX2795" fmla="*/ 6289207 w 9922465"/>
                <a:gd name="connsiteY2795" fmla="*/ 494447 h 1934496"/>
                <a:gd name="connsiteX2796" fmla="*/ 6344399 w 9922465"/>
                <a:gd name="connsiteY2796" fmla="*/ 549638 h 1934496"/>
                <a:gd name="connsiteX2797" fmla="*/ 6289207 w 9922465"/>
                <a:gd name="connsiteY2797" fmla="*/ 604829 h 1934496"/>
                <a:gd name="connsiteX2798" fmla="*/ 6234015 w 9922465"/>
                <a:gd name="connsiteY2798" fmla="*/ 549638 h 1934496"/>
                <a:gd name="connsiteX2799" fmla="*/ 6289207 w 9922465"/>
                <a:gd name="connsiteY2799" fmla="*/ 494447 h 1934496"/>
                <a:gd name="connsiteX2800" fmla="*/ 4030786 w 9922465"/>
                <a:gd name="connsiteY2800" fmla="*/ 494447 h 1934496"/>
                <a:gd name="connsiteX2801" fmla="*/ 4085978 w 9922465"/>
                <a:gd name="connsiteY2801" fmla="*/ 549638 h 1934496"/>
                <a:gd name="connsiteX2802" fmla="*/ 4030786 w 9922465"/>
                <a:gd name="connsiteY2802" fmla="*/ 604829 h 1934496"/>
                <a:gd name="connsiteX2803" fmla="*/ 3975594 w 9922465"/>
                <a:gd name="connsiteY2803" fmla="*/ 549638 h 1934496"/>
                <a:gd name="connsiteX2804" fmla="*/ 4030786 w 9922465"/>
                <a:gd name="connsiteY2804" fmla="*/ 494447 h 1934496"/>
                <a:gd name="connsiteX2805" fmla="*/ 3897148 w 9922465"/>
                <a:gd name="connsiteY2805" fmla="*/ 494447 h 1934496"/>
                <a:gd name="connsiteX2806" fmla="*/ 3952340 w 9922465"/>
                <a:gd name="connsiteY2806" fmla="*/ 549638 h 1934496"/>
                <a:gd name="connsiteX2807" fmla="*/ 3897148 w 9922465"/>
                <a:gd name="connsiteY2807" fmla="*/ 604829 h 1934496"/>
                <a:gd name="connsiteX2808" fmla="*/ 3841956 w 9922465"/>
                <a:gd name="connsiteY2808" fmla="*/ 549638 h 1934496"/>
                <a:gd name="connsiteX2809" fmla="*/ 3897148 w 9922465"/>
                <a:gd name="connsiteY2809" fmla="*/ 494447 h 1934496"/>
                <a:gd name="connsiteX2810" fmla="*/ 3763514 w 9922465"/>
                <a:gd name="connsiteY2810" fmla="*/ 494447 h 1934496"/>
                <a:gd name="connsiteX2811" fmla="*/ 3818706 w 9922465"/>
                <a:gd name="connsiteY2811" fmla="*/ 549638 h 1934496"/>
                <a:gd name="connsiteX2812" fmla="*/ 3763514 w 9922465"/>
                <a:gd name="connsiteY2812" fmla="*/ 604829 h 1934496"/>
                <a:gd name="connsiteX2813" fmla="*/ 3708322 w 9922465"/>
                <a:gd name="connsiteY2813" fmla="*/ 549638 h 1934496"/>
                <a:gd name="connsiteX2814" fmla="*/ 3763514 w 9922465"/>
                <a:gd name="connsiteY2814" fmla="*/ 494447 h 1934496"/>
                <a:gd name="connsiteX2815" fmla="*/ 3633221 w 9922465"/>
                <a:gd name="connsiteY2815" fmla="*/ 494447 h 1934496"/>
                <a:gd name="connsiteX2816" fmla="*/ 3688413 w 9922465"/>
                <a:gd name="connsiteY2816" fmla="*/ 549638 h 1934496"/>
                <a:gd name="connsiteX2817" fmla="*/ 3633221 w 9922465"/>
                <a:gd name="connsiteY2817" fmla="*/ 604829 h 1934496"/>
                <a:gd name="connsiteX2818" fmla="*/ 3578029 w 9922465"/>
                <a:gd name="connsiteY2818" fmla="*/ 549638 h 1934496"/>
                <a:gd name="connsiteX2819" fmla="*/ 3633221 w 9922465"/>
                <a:gd name="connsiteY2819" fmla="*/ 494447 h 1934496"/>
                <a:gd name="connsiteX2820" fmla="*/ 3499589 w 9922465"/>
                <a:gd name="connsiteY2820" fmla="*/ 494447 h 1934496"/>
                <a:gd name="connsiteX2821" fmla="*/ 3554781 w 9922465"/>
                <a:gd name="connsiteY2821" fmla="*/ 549638 h 1934496"/>
                <a:gd name="connsiteX2822" fmla="*/ 3499589 w 9922465"/>
                <a:gd name="connsiteY2822" fmla="*/ 604829 h 1934496"/>
                <a:gd name="connsiteX2823" fmla="*/ 3444397 w 9922465"/>
                <a:gd name="connsiteY2823" fmla="*/ 549638 h 1934496"/>
                <a:gd name="connsiteX2824" fmla="*/ 3499589 w 9922465"/>
                <a:gd name="connsiteY2824" fmla="*/ 494447 h 1934496"/>
                <a:gd name="connsiteX2825" fmla="*/ 3369292 w 9922465"/>
                <a:gd name="connsiteY2825" fmla="*/ 494447 h 1934496"/>
                <a:gd name="connsiteX2826" fmla="*/ 3424484 w 9922465"/>
                <a:gd name="connsiteY2826" fmla="*/ 549638 h 1934496"/>
                <a:gd name="connsiteX2827" fmla="*/ 3369292 w 9922465"/>
                <a:gd name="connsiteY2827" fmla="*/ 604829 h 1934496"/>
                <a:gd name="connsiteX2828" fmla="*/ 3314100 w 9922465"/>
                <a:gd name="connsiteY2828" fmla="*/ 549638 h 1934496"/>
                <a:gd name="connsiteX2829" fmla="*/ 3369292 w 9922465"/>
                <a:gd name="connsiteY2829" fmla="*/ 494447 h 1934496"/>
                <a:gd name="connsiteX2830" fmla="*/ 3235657 w 9922465"/>
                <a:gd name="connsiteY2830" fmla="*/ 494447 h 1934496"/>
                <a:gd name="connsiteX2831" fmla="*/ 3290849 w 9922465"/>
                <a:gd name="connsiteY2831" fmla="*/ 549638 h 1934496"/>
                <a:gd name="connsiteX2832" fmla="*/ 3235657 w 9922465"/>
                <a:gd name="connsiteY2832" fmla="*/ 604829 h 1934496"/>
                <a:gd name="connsiteX2833" fmla="*/ 3180465 w 9922465"/>
                <a:gd name="connsiteY2833" fmla="*/ 549638 h 1934496"/>
                <a:gd name="connsiteX2834" fmla="*/ 3235657 w 9922465"/>
                <a:gd name="connsiteY2834" fmla="*/ 494447 h 1934496"/>
                <a:gd name="connsiteX2835" fmla="*/ 2437297 w 9922465"/>
                <a:gd name="connsiteY2835" fmla="*/ 494447 h 1934496"/>
                <a:gd name="connsiteX2836" fmla="*/ 2492487 w 9922465"/>
                <a:gd name="connsiteY2836" fmla="*/ 549638 h 1934496"/>
                <a:gd name="connsiteX2837" fmla="*/ 2437297 w 9922465"/>
                <a:gd name="connsiteY2837" fmla="*/ 604829 h 1934496"/>
                <a:gd name="connsiteX2838" fmla="*/ 2382108 w 9922465"/>
                <a:gd name="connsiteY2838" fmla="*/ 549638 h 1934496"/>
                <a:gd name="connsiteX2839" fmla="*/ 2437297 w 9922465"/>
                <a:gd name="connsiteY2839" fmla="*/ 494447 h 1934496"/>
                <a:gd name="connsiteX2840" fmla="*/ 2303664 w 9922465"/>
                <a:gd name="connsiteY2840" fmla="*/ 494447 h 1934496"/>
                <a:gd name="connsiteX2841" fmla="*/ 2358856 w 9922465"/>
                <a:gd name="connsiteY2841" fmla="*/ 549638 h 1934496"/>
                <a:gd name="connsiteX2842" fmla="*/ 2303664 w 9922465"/>
                <a:gd name="connsiteY2842" fmla="*/ 604829 h 1934496"/>
                <a:gd name="connsiteX2843" fmla="*/ 2248473 w 9922465"/>
                <a:gd name="connsiteY2843" fmla="*/ 549638 h 1934496"/>
                <a:gd name="connsiteX2844" fmla="*/ 2303664 w 9922465"/>
                <a:gd name="connsiteY2844" fmla="*/ 494447 h 1934496"/>
                <a:gd name="connsiteX2845" fmla="*/ 2173372 w 9922465"/>
                <a:gd name="connsiteY2845" fmla="*/ 494447 h 1934496"/>
                <a:gd name="connsiteX2846" fmla="*/ 2228565 w 9922465"/>
                <a:gd name="connsiteY2846" fmla="*/ 549638 h 1934496"/>
                <a:gd name="connsiteX2847" fmla="*/ 2173372 w 9922465"/>
                <a:gd name="connsiteY2847" fmla="*/ 604829 h 1934496"/>
                <a:gd name="connsiteX2848" fmla="*/ 2118180 w 9922465"/>
                <a:gd name="connsiteY2848" fmla="*/ 549638 h 1934496"/>
                <a:gd name="connsiteX2849" fmla="*/ 2173372 w 9922465"/>
                <a:gd name="connsiteY2849" fmla="*/ 494447 h 1934496"/>
                <a:gd name="connsiteX2850" fmla="*/ 2039736 w 9922465"/>
                <a:gd name="connsiteY2850" fmla="*/ 494447 h 1934496"/>
                <a:gd name="connsiteX2851" fmla="*/ 2094930 w 9922465"/>
                <a:gd name="connsiteY2851" fmla="*/ 549638 h 1934496"/>
                <a:gd name="connsiteX2852" fmla="*/ 2039736 w 9922465"/>
                <a:gd name="connsiteY2852" fmla="*/ 604829 h 1934496"/>
                <a:gd name="connsiteX2853" fmla="*/ 1984543 w 9922465"/>
                <a:gd name="connsiteY2853" fmla="*/ 549638 h 1934496"/>
                <a:gd name="connsiteX2854" fmla="*/ 2039736 w 9922465"/>
                <a:gd name="connsiteY2854" fmla="*/ 494447 h 1934496"/>
                <a:gd name="connsiteX2855" fmla="*/ 1909437 w 9922465"/>
                <a:gd name="connsiteY2855" fmla="*/ 494447 h 1934496"/>
                <a:gd name="connsiteX2856" fmla="*/ 1964630 w 9922465"/>
                <a:gd name="connsiteY2856" fmla="*/ 549638 h 1934496"/>
                <a:gd name="connsiteX2857" fmla="*/ 1909437 w 9922465"/>
                <a:gd name="connsiteY2857" fmla="*/ 604829 h 1934496"/>
                <a:gd name="connsiteX2858" fmla="*/ 1854244 w 9922465"/>
                <a:gd name="connsiteY2858" fmla="*/ 549638 h 1934496"/>
                <a:gd name="connsiteX2859" fmla="*/ 1909437 w 9922465"/>
                <a:gd name="connsiteY2859" fmla="*/ 494447 h 1934496"/>
                <a:gd name="connsiteX2860" fmla="*/ 1779142 w 9922465"/>
                <a:gd name="connsiteY2860" fmla="*/ 494447 h 1934496"/>
                <a:gd name="connsiteX2861" fmla="*/ 1834335 w 9922465"/>
                <a:gd name="connsiteY2861" fmla="*/ 549638 h 1934496"/>
                <a:gd name="connsiteX2862" fmla="*/ 1779142 w 9922465"/>
                <a:gd name="connsiteY2862" fmla="*/ 604829 h 1934496"/>
                <a:gd name="connsiteX2863" fmla="*/ 1723950 w 9922465"/>
                <a:gd name="connsiteY2863" fmla="*/ 549638 h 1934496"/>
                <a:gd name="connsiteX2864" fmla="*/ 1779142 w 9922465"/>
                <a:gd name="connsiteY2864" fmla="*/ 494447 h 1934496"/>
                <a:gd name="connsiteX2865" fmla="*/ 1645508 w 9922465"/>
                <a:gd name="connsiteY2865" fmla="*/ 494447 h 1934496"/>
                <a:gd name="connsiteX2866" fmla="*/ 1700702 w 9922465"/>
                <a:gd name="connsiteY2866" fmla="*/ 549638 h 1934496"/>
                <a:gd name="connsiteX2867" fmla="*/ 1645508 w 9922465"/>
                <a:gd name="connsiteY2867" fmla="*/ 604829 h 1934496"/>
                <a:gd name="connsiteX2868" fmla="*/ 1590311 w 9922465"/>
                <a:gd name="connsiteY2868" fmla="*/ 549638 h 1934496"/>
                <a:gd name="connsiteX2869" fmla="*/ 1645508 w 9922465"/>
                <a:gd name="connsiteY2869" fmla="*/ 494447 h 1934496"/>
                <a:gd name="connsiteX2870" fmla="*/ 1515217 w 9922465"/>
                <a:gd name="connsiteY2870" fmla="*/ 494447 h 1934496"/>
                <a:gd name="connsiteX2871" fmla="*/ 1570402 w 9922465"/>
                <a:gd name="connsiteY2871" fmla="*/ 549638 h 1934496"/>
                <a:gd name="connsiteX2872" fmla="*/ 1515217 w 9922465"/>
                <a:gd name="connsiteY2872" fmla="*/ 604829 h 1934496"/>
                <a:gd name="connsiteX2873" fmla="*/ 1460020 w 9922465"/>
                <a:gd name="connsiteY2873" fmla="*/ 549638 h 1934496"/>
                <a:gd name="connsiteX2874" fmla="*/ 1515217 w 9922465"/>
                <a:gd name="connsiteY2874" fmla="*/ 494447 h 1934496"/>
                <a:gd name="connsiteX2875" fmla="*/ 1381573 w 9922465"/>
                <a:gd name="connsiteY2875" fmla="*/ 494447 h 1934496"/>
                <a:gd name="connsiteX2876" fmla="*/ 1436767 w 9922465"/>
                <a:gd name="connsiteY2876" fmla="*/ 549638 h 1934496"/>
                <a:gd name="connsiteX2877" fmla="*/ 1381573 w 9922465"/>
                <a:gd name="connsiteY2877" fmla="*/ 604829 h 1934496"/>
                <a:gd name="connsiteX2878" fmla="*/ 1326384 w 9922465"/>
                <a:gd name="connsiteY2878" fmla="*/ 549638 h 1934496"/>
                <a:gd name="connsiteX2879" fmla="*/ 1381573 w 9922465"/>
                <a:gd name="connsiteY2879" fmla="*/ 494447 h 1934496"/>
                <a:gd name="connsiteX2880" fmla="*/ 1251282 w 9922465"/>
                <a:gd name="connsiteY2880" fmla="*/ 494447 h 1934496"/>
                <a:gd name="connsiteX2881" fmla="*/ 1306476 w 9922465"/>
                <a:gd name="connsiteY2881" fmla="*/ 549638 h 1934496"/>
                <a:gd name="connsiteX2882" fmla="*/ 1251282 w 9922465"/>
                <a:gd name="connsiteY2882" fmla="*/ 604829 h 1934496"/>
                <a:gd name="connsiteX2883" fmla="*/ 1196089 w 9922465"/>
                <a:gd name="connsiteY2883" fmla="*/ 549638 h 1934496"/>
                <a:gd name="connsiteX2884" fmla="*/ 1251282 w 9922465"/>
                <a:gd name="connsiteY2884" fmla="*/ 494447 h 1934496"/>
                <a:gd name="connsiteX2885" fmla="*/ 8801538 w 9922465"/>
                <a:gd name="connsiteY2885" fmla="*/ 364154 h 1934496"/>
                <a:gd name="connsiteX2886" fmla="*/ 8856730 w 9922465"/>
                <a:gd name="connsiteY2886" fmla="*/ 419345 h 1934496"/>
                <a:gd name="connsiteX2887" fmla="*/ 8801538 w 9922465"/>
                <a:gd name="connsiteY2887" fmla="*/ 474536 h 1934496"/>
                <a:gd name="connsiteX2888" fmla="*/ 8746346 w 9922465"/>
                <a:gd name="connsiteY2888" fmla="*/ 419345 h 1934496"/>
                <a:gd name="connsiteX2889" fmla="*/ 8801538 w 9922465"/>
                <a:gd name="connsiteY2889" fmla="*/ 364154 h 1934496"/>
                <a:gd name="connsiteX2890" fmla="*/ 8671244 w 9922465"/>
                <a:gd name="connsiteY2890" fmla="*/ 364154 h 1934496"/>
                <a:gd name="connsiteX2891" fmla="*/ 8726436 w 9922465"/>
                <a:gd name="connsiteY2891" fmla="*/ 419345 h 1934496"/>
                <a:gd name="connsiteX2892" fmla="*/ 8671244 w 9922465"/>
                <a:gd name="connsiteY2892" fmla="*/ 474536 h 1934496"/>
                <a:gd name="connsiteX2893" fmla="*/ 8616052 w 9922465"/>
                <a:gd name="connsiteY2893" fmla="*/ 419345 h 1934496"/>
                <a:gd name="connsiteX2894" fmla="*/ 8671244 w 9922465"/>
                <a:gd name="connsiteY2894" fmla="*/ 364154 h 1934496"/>
                <a:gd name="connsiteX2895" fmla="*/ 8537609 w 9922465"/>
                <a:gd name="connsiteY2895" fmla="*/ 364154 h 1934496"/>
                <a:gd name="connsiteX2896" fmla="*/ 8592801 w 9922465"/>
                <a:gd name="connsiteY2896" fmla="*/ 419345 h 1934496"/>
                <a:gd name="connsiteX2897" fmla="*/ 8537609 w 9922465"/>
                <a:gd name="connsiteY2897" fmla="*/ 474536 h 1934496"/>
                <a:gd name="connsiteX2898" fmla="*/ 8482417 w 9922465"/>
                <a:gd name="connsiteY2898" fmla="*/ 419345 h 1934496"/>
                <a:gd name="connsiteX2899" fmla="*/ 8537609 w 9922465"/>
                <a:gd name="connsiteY2899" fmla="*/ 364154 h 1934496"/>
                <a:gd name="connsiteX2900" fmla="*/ 7745824 w 9922465"/>
                <a:gd name="connsiteY2900" fmla="*/ 364154 h 1934496"/>
                <a:gd name="connsiteX2901" fmla="*/ 7801016 w 9922465"/>
                <a:gd name="connsiteY2901" fmla="*/ 419345 h 1934496"/>
                <a:gd name="connsiteX2902" fmla="*/ 7745824 w 9922465"/>
                <a:gd name="connsiteY2902" fmla="*/ 474536 h 1934496"/>
                <a:gd name="connsiteX2903" fmla="*/ 7690632 w 9922465"/>
                <a:gd name="connsiteY2903" fmla="*/ 419345 h 1934496"/>
                <a:gd name="connsiteX2904" fmla="*/ 7745824 w 9922465"/>
                <a:gd name="connsiteY2904" fmla="*/ 364154 h 1934496"/>
                <a:gd name="connsiteX2905" fmla="*/ 7608850 w 9922465"/>
                <a:gd name="connsiteY2905" fmla="*/ 364154 h 1934496"/>
                <a:gd name="connsiteX2906" fmla="*/ 7664042 w 9922465"/>
                <a:gd name="connsiteY2906" fmla="*/ 419345 h 1934496"/>
                <a:gd name="connsiteX2907" fmla="*/ 7608850 w 9922465"/>
                <a:gd name="connsiteY2907" fmla="*/ 474536 h 1934496"/>
                <a:gd name="connsiteX2908" fmla="*/ 7553658 w 9922465"/>
                <a:gd name="connsiteY2908" fmla="*/ 419345 h 1934496"/>
                <a:gd name="connsiteX2909" fmla="*/ 7608850 w 9922465"/>
                <a:gd name="connsiteY2909" fmla="*/ 364154 h 1934496"/>
                <a:gd name="connsiteX2910" fmla="*/ 7481895 w 9922465"/>
                <a:gd name="connsiteY2910" fmla="*/ 364154 h 1934496"/>
                <a:gd name="connsiteX2911" fmla="*/ 7537087 w 9922465"/>
                <a:gd name="connsiteY2911" fmla="*/ 419345 h 1934496"/>
                <a:gd name="connsiteX2912" fmla="*/ 7481895 w 9922465"/>
                <a:gd name="connsiteY2912" fmla="*/ 474536 h 1934496"/>
                <a:gd name="connsiteX2913" fmla="*/ 7426703 w 9922465"/>
                <a:gd name="connsiteY2913" fmla="*/ 419345 h 1934496"/>
                <a:gd name="connsiteX2914" fmla="*/ 7481895 w 9922465"/>
                <a:gd name="connsiteY2914" fmla="*/ 364154 h 1934496"/>
                <a:gd name="connsiteX2915" fmla="*/ 7341580 w 9922465"/>
                <a:gd name="connsiteY2915" fmla="*/ 364154 h 1934496"/>
                <a:gd name="connsiteX2916" fmla="*/ 7396772 w 9922465"/>
                <a:gd name="connsiteY2916" fmla="*/ 419345 h 1934496"/>
                <a:gd name="connsiteX2917" fmla="*/ 7341580 w 9922465"/>
                <a:gd name="connsiteY2917" fmla="*/ 474536 h 1934496"/>
                <a:gd name="connsiteX2918" fmla="*/ 7286388 w 9922465"/>
                <a:gd name="connsiteY2918" fmla="*/ 419345 h 1934496"/>
                <a:gd name="connsiteX2919" fmla="*/ 7341580 w 9922465"/>
                <a:gd name="connsiteY2919" fmla="*/ 364154 h 1934496"/>
                <a:gd name="connsiteX2920" fmla="*/ 6553137 w 9922465"/>
                <a:gd name="connsiteY2920" fmla="*/ 364154 h 1934496"/>
                <a:gd name="connsiteX2921" fmla="*/ 6608329 w 9922465"/>
                <a:gd name="connsiteY2921" fmla="*/ 419345 h 1934496"/>
                <a:gd name="connsiteX2922" fmla="*/ 6553137 w 9922465"/>
                <a:gd name="connsiteY2922" fmla="*/ 474536 h 1934496"/>
                <a:gd name="connsiteX2923" fmla="*/ 6497945 w 9922465"/>
                <a:gd name="connsiteY2923" fmla="*/ 419345 h 1934496"/>
                <a:gd name="connsiteX2924" fmla="*/ 6553137 w 9922465"/>
                <a:gd name="connsiteY2924" fmla="*/ 364154 h 1934496"/>
                <a:gd name="connsiteX2925" fmla="*/ 6419503 w 9922465"/>
                <a:gd name="connsiteY2925" fmla="*/ 364154 h 1934496"/>
                <a:gd name="connsiteX2926" fmla="*/ 6474695 w 9922465"/>
                <a:gd name="connsiteY2926" fmla="*/ 419345 h 1934496"/>
                <a:gd name="connsiteX2927" fmla="*/ 6419503 w 9922465"/>
                <a:gd name="connsiteY2927" fmla="*/ 474536 h 1934496"/>
                <a:gd name="connsiteX2928" fmla="*/ 6364311 w 9922465"/>
                <a:gd name="connsiteY2928" fmla="*/ 419345 h 1934496"/>
                <a:gd name="connsiteX2929" fmla="*/ 6419503 w 9922465"/>
                <a:gd name="connsiteY2929" fmla="*/ 364154 h 1934496"/>
                <a:gd name="connsiteX2930" fmla="*/ 4030786 w 9922465"/>
                <a:gd name="connsiteY2930" fmla="*/ 364154 h 1934496"/>
                <a:gd name="connsiteX2931" fmla="*/ 4085978 w 9922465"/>
                <a:gd name="connsiteY2931" fmla="*/ 419345 h 1934496"/>
                <a:gd name="connsiteX2932" fmla="*/ 4030786 w 9922465"/>
                <a:gd name="connsiteY2932" fmla="*/ 474536 h 1934496"/>
                <a:gd name="connsiteX2933" fmla="*/ 3975594 w 9922465"/>
                <a:gd name="connsiteY2933" fmla="*/ 419345 h 1934496"/>
                <a:gd name="connsiteX2934" fmla="*/ 4030786 w 9922465"/>
                <a:gd name="connsiteY2934" fmla="*/ 364154 h 1934496"/>
                <a:gd name="connsiteX2935" fmla="*/ 3897148 w 9922465"/>
                <a:gd name="connsiteY2935" fmla="*/ 364154 h 1934496"/>
                <a:gd name="connsiteX2936" fmla="*/ 3952340 w 9922465"/>
                <a:gd name="connsiteY2936" fmla="*/ 419345 h 1934496"/>
                <a:gd name="connsiteX2937" fmla="*/ 3897148 w 9922465"/>
                <a:gd name="connsiteY2937" fmla="*/ 474536 h 1934496"/>
                <a:gd name="connsiteX2938" fmla="*/ 3841956 w 9922465"/>
                <a:gd name="connsiteY2938" fmla="*/ 419345 h 1934496"/>
                <a:gd name="connsiteX2939" fmla="*/ 3897148 w 9922465"/>
                <a:gd name="connsiteY2939" fmla="*/ 364154 h 1934496"/>
                <a:gd name="connsiteX2940" fmla="*/ 3763514 w 9922465"/>
                <a:gd name="connsiteY2940" fmla="*/ 364154 h 1934496"/>
                <a:gd name="connsiteX2941" fmla="*/ 3818706 w 9922465"/>
                <a:gd name="connsiteY2941" fmla="*/ 419345 h 1934496"/>
                <a:gd name="connsiteX2942" fmla="*/ 3763514 w 9922465"/>
                <a:gd name="connsiteY2942" fmla="*/ 474536 h 1934496"/>
                <a:gd name="connsiteX2943" fmla="*/ 3708322 w 9922465"/>
                <a:gd name="connsiteY2943" fmla="*/ 419345 h 1934496"/>
                <a:gd name="connsiteX2944" fmla="*/ 3763514 w 9922465"/>
                <a:gd name="connsiteY2944" fmla="*/ 364154 h 1934496"/>
                <a:gd name="connsiteX2945" fmla="*/ 3633221 w 9922465"/>
                <a:gd name="connsiteY2945" fmla="*/ 364154 h 1934496"/>
                <a:gd name="connsiteX2946" fmla="*/ 3688413 w 9922465"/>
                <a:gd name="connsiteY2946" fmla="*/ 419345 h 1934496"/>
                <a:gd name="connsiteX2947" fmla="*/ 3633221 w 9922465"/>
                <a:gd name="connsiteY2947" fmla="*/ 474536 h 1934496"/>
                <a:gd name="connsiteX2948" fmla="*/ 3578029 w 9922465"/>
                <a:gd name="connsiteY2948" fmla="*/ 419345 h 1934496"/>
                <a:gd name="connsiteX2949" fmla="*/ 3633221 w 9922465"/>
                <a:gd name="connsiteY2949" fmla="*/ 364154 h 1934496"/>
                <a:gd name="connsiteX2950" fmla="*/ 3499589 w 9922465"/>
                <a:gd name="connsiteY2950" fmla="*/ 364154 h 1934496"/>
                <a:gd name="connsiteX2951" fmla="*/ 3554781 w 9922465"/>
                <a:gd name="connsiteY2951" fmla="*/ 419345 h 1934496"/>
                <a:gd name="connsiteX2952" fmla="*/ 3499589 w 9922465"/>
                <a:gd name="connsiteY2952" fmla="*/ 474536 h 1934496"/>
                <a:gd name="connsiteX2953" fmla="*/ 3444397 w 9922465"/>
                <a:gd name="connsiteY2953" fmla="*/ 419345 h 1934496"/>
                <a:gd name="connsiteX2954" fmla="*/ 3499589 w 9922465"/>
                <a:gd name="connsiteY2954" fmla="*/ 364154 h 1934496"/>
                <a:gd name="connsiteX2955" fmla="*/ 3369292 w 9922465"/>
                <a:gd name="connsiteY2955" fmla="*/ 364154 h 1934496"/>
                <a:gd name="connsiteX2956" fmla="*/ 3424484 w 9922465"/>
                <a:gd name="connsiteY2956" fmla="*/ 419345 h 1934496"/>
                <a:gd name="connsiteX2957" fmla="*/ 3369292 w 9922465"/>
                <a:gd name="connsiteY2957" fmla="*/ 474536 h 1934496"/>
                <a:gd name="connsiteX2958" fmla="*/ 3314100 w 9922465"/>
                <a:gd name="connsiteY2958" fmla="*/ 419345 h 1934496"/>
                <a:gd name="connsiteX2959" fmla="*/ 3369292 w 9922465"/>
                <a:gd name="connsiteY2959" fmla="*/ 364154 h 1934496"/>
                <a:gd name="connsiteX2960" fmla="*/ 3235657 w 9922465"/>
                <a:gd name="connsiteY2960" fmla="*/ 364154 h 1934496"/>
                <a:gd name="connsiteX2961" fmla="*/ 3290849 w 9922465"/>
                <a:gd name="connsiteY2961" fmla="*/ 419345 h 1934496"/>
                <a:gd name="connsiteX2962" fmla="*/ 3235657 w 9922465"/>
                <a:gd name="connsiteY2962" fmla="*/ 474536 h 1934496"/>
                <a:gd name="connsiteX2963" fmla="*/ 3180465 w 9922465"/>
                <a:gd name="connsiteY2963" fmla="*/ 419345 h 1934496"/>
                <a:gd name="connsiteX2964" fmla="*/ 3235657 w 9922465"/>
                <a:gd name="connsiteY2964" fmla="*/ 364154 h 1934496"/>
                <a:gd name="connsiteX2965" fmla="*/ 3098681 w 9922465"/>
                <a:gd name="connsiteY2965" fmla="*/ 364154 h 1934496"/>
                <a:gd name="connsiteX2966" fmla="*/ 3153873 w 9922465"/>
                <a:gd name="connsiteY2966" fmla="*/ 419345 h 1934496"/>
                <a:gd name="connsiteX2967" fmla="*/ 3098681 w 9922465"/>
                <a:gd name="connsiteY2967" fmla="*/ 474536 h 1934496"/>
                <a:gd name="connsiteX2968" fmla="*/ 3043489 w 9922465"/>
                <a:gd name="connsiteY2968" fmla="*/ 419345 h 1934496"/>
                <a:gd name="connsiteX2969" fmla="*/ 3098681 w 9922465"/>
                <a:gd name="connsiteY2969" fmla="*/ 364154 h 1934496"/>
                <a:gd name="connsiteX2970" fmla="*/ 2971729 w 9922465"/>
                <a:gd name="connsiteY2970" fmla="*/ 364154 h 1934496"/>
                <a:gd name="connsiteX2971" fmla="*/ 3026921 w 9922465"/>
                <a:gd name="connsiteY2971" fmla="*/ 419345 h 1934496"/>
                <a:gd name="connsiteX2972" fmla="*/ 2971729 w 9922465"/>
                <a:gd name="connsiteY2972" fmla="*/ 474536 h 1934496"/>
                <a:gd name="connsiteX2973" fmla="*/ 2916537 w 9922465"/>
                <a:gd name="connsiteY2973" fmla="*/ 419345 h 1934496"/>
                <a:gd name="connsiteX2974" fmla="*/ 2971729 w 9922465"/>
                <a:gd name="connsiteY2974" fmla="*/ 364154 h 1934496"/>
                <a:gd name="connsiteX2975" fmla="*/ 2834862 w 9922465"/>
                <a:gd name="connsiteY2975" fmla="*/ 364154 h 1934496"/>
                <a:gd name="connsiteX2976" fmla="*/ 2890052 w 9922465"/>
                <a:gd name="connsiteY2976" fmla="*/ 419345 h 1934496"/>
                <a:gd name="connsiteX2977" fmla="*/ 2834862 w 9922465"/>
                <a:gd name="connsiteY2977" fmla="*/ 474536 h 1934496"/>
                <a:gd name="connsiteX2978" fmla="*/ 2779671 w 9922465"/>
                <a:gd name="connsiteY2978" fmla="*/ 419345 h 1934496"/>
                <a:gd name="connsiteX2979" fmla="*/ 2834862 w 9922465"/>
                <a:gd name="connsiteY2979" fmla="*/ 364154 h 1934496"/>
                <a:gd name="connsiteX2980" fmla="*/ 2437297 w 9922465"/>
                <a:gd name="connsiteY2980" fmla="*/ 364154 h 1934496"/>
                <a:gd name="connsiteX2981" fmla="*/ 2492487 w 9922465"/>
                <a:gd name="connsiteY2981" fmla="*/ 419345 h 1934496"/>
                <a:gd name="connsiteX2982" fmla="*/ 2437297 w 9922465"/>
                <a:gd name="connsiteY2982" fmla="*/ 474536 h 1934496"/>
                <a:gd name="connsiteX2983" fmla="*/ 2382108 w 9922465"/>
                <a:gd name="connsiteY2983" fmla="*/ 419345 h 1934496"/>
                <a:gd name="connsiteX2984" fmla="*/ 2437297 w 9922465"/>
                <a:gd name="connsiteY2984" fmla="*/ 364154 h 1934496"/>
                <a:gd name="connsiteX2985" fmla="*/ 2303664 w 9922465"/>
                <a:gd name="connsiteY2985" fmla="*/ 364154 h 1934496"/>
                <a:gd name="connsiteX2986" fmla="*/ 2358856 w 9922465"/>
                <a:gd name="connsiteY2986" fmla="*/ 419345 h 1934496"/>
                <a:gd name="connsiteX2987" fmla="*/ 2303664 w 9922465"/>
                <a:gd name="connsiteY2987" fmla="*/ 474536 h 1934496"/>
                <a:gd name="connsiteX2988" fmla="*/ 2248473 w 9922465"/>
                <a:gd name="connsiteY2988" fmla="*/ 419345 h 1934496"/>
                <a:gd name="connsiteX2989" fmla="*/ 2303664 w 9922465"/>
                <a:gd name="connsiteY2989" fmla="*/ 364154 h 1934496"/>
                <a:gd name="connsiteX2990" fmla="*/ 2173372 w 9922465"/>
                <a:gd name="connsiteY2990" fmla="*/ 364154 h 1934496"/>
                <a:gd name="connsiteX2991" fmla="*/ 2228565 w 9922465"/>
                <a:gd name="connsiteY2991" fmla="*/ 419345 h 1934496"/>
                <a:gd name="connsiteX2992" fmla="*/ 2173372 w 9922465"/>
                <a:gd name="connsiteY2992" fmla="*/ 474536 h 1934496"/>
                <a:gd name="connsiteX2993" fmla="*/ 2118180 w 9922465"/>
                <a:gd name="connsiteY2993" fmla="*/ 419345 h 1934496"/>
                <a:gd name="connsiteX2994" fmla="*/ 2173372 w 9922465"/>
                <a:gd name="connsiteY2994" fmla="*/ 364154 h 1934496"/>
                <a:gd name="connsiteX2995" fmla="*/ 2039736 w 9922465"/>
                <a:gd name="connsiteY2995" fmla="*/ 364154 h 1934496"/>
                <a:gd name="connsiteX2996" fmla="*/ 2094930 w 9922465"/>
                <a:gd name="connsiteY2996" fmla="*/ 419345 h 1934496"/>
                <a:gd name="connsiteX2997" fmla="*/ 2039736 w 9922465"/>
                <a:gd name="connsiteY2997" fmla="*/ 474536 h 1934496"/>
                <a:gd name="connsiteX2998" fmla="*/ 1984543 w 9922465"/>
                <a:gd name="connsiteY2998" fmla="*/ 419345 h 1934496"/>
                <a:gd name="connsiteX2999" fmla="*/ 2039736 w 9922465"/>
                <a:gd name="connsiteY2999" fmla="*/ 364154 h 1934496"/>
                <a:gd name="connsiteX3000" fmla="*/ 1909440 w 9922465"/>
                <a:gd name="connsiteY3000" fmla="*/ 364154 h 1934496"/>
                <a:gd name="connsiteX3001" fmla="*/ 1964634 w 9922465"/>
                <a:gd name="connsiteY3001" fmla="*/ 419345 h 1934496"/>
                <a:gd name="connsiteX3002" fmla="*/ 1909440 w 9922465"/>
                <a:gd name="connsiteY3002" fmla="*/ 474536 h 1934496"/>
                <a:gd name="connsiteX3003" fmla="*/ 1854246 w 9922465"/>
                <a:gd name="connsiteY3003" fmla="*/ 419345 h 1934496"/>
                <a:gd name="connsiteX3004" fmla="*/ 1909440 w 9922465"/>
                <a:gd name="connsiteY3004" fmla="*/ 364154 h 1934496"/>
                <a:gd name="connsiteX3005" fmla="*/ 1779142 w 9922465"/>
                <a:gd name="connsiteY3005" fmla="*/ 364154 h 1934496"/>
                <a:gd name="connsiteX3006" fmla="*/ 1834337 w 9922465"/>
                <a:gd name="connsiteY3006" fmla="*/ 419345 h 1934496"/>
                <a:gd name="connsiteX3007" fmla="*/ 1779142 w 9922465"/>
                <a:gd name="connsiteY3007" fmla="*/ 474536 h 1934496"/>
                <a:gd name="connsiteX3008" fmla="*/ 1723951 w 9922465"/>
                <a:gd name="connsiteY3008" fmla="*/ 419345 h 1934496"/>
                <a:gd name="connsiteX3009" fmla="*/ 1779142 w 9922465"/>
                <a:gd name="connsiteY3009" fmla="*/ 364154 h 1934496"/>
                <a:gd name="connsiteX3010" fmla="*/ 1645508 w 9922465"/>
                <a:gd name="connsiteY3010" fmla="*/ 364154 h 1934496"/>
                <a:gd name="connsiteX3011" fmla="*/ 1700702 w 9922465"/>
                <a:gd name="connsiteY3011" fmla="*/ 419345 h 1934496"/>
                <a:gd name="connsiteX3012" fmla="*/ 1645508 w 9922465"/>
                <a:gd name="connsiteY3012" fmla="*/ 474536 h 1934496"/>
                <a:gd name="connsiteX3013" fmla="*/ 1590313 w 9922465"/>
                <a:gd name="connsiteY3013" fmla="*/ 419345 h 1934496"/>
                <a:gd name="connsiteX3014" fmla="*/ 1645508 w 9922465"/>
                <a:gd name="connsiteY3014" fmla="*/ 364154 h 1934496"/>
                <a:gd name="connsiteX3015" fmla="*/ 1515217 w 9922465"/>
                <a:gd name="connsiteY3015" fmla="*/ 364154 h 1934496"/>
                <a:gd name="connsiteX3016" fmla="*/ 1570405 w 9922465"/>
                <a:gd name="connsiteY3016" fmla="*/ 419345 h 1934496"/>
                <a:gd name="connsiteX3017" fmla="*/ 1515217 w 9922465"/>
                <a:gd name="connsiteY3017" fmla="*/ 474536 h 1934496"/>
                <a:gd name="connsiteX3018" fmla="*/ 1460020 w 9922465"/>
                <a:gd name="connsiteY3018" fmla="*/ 419345 h 1934496"/>
                <a:gd name="connsiteX3019" fmla="*/ 1515217 w 9922465"/>
                <a:gd name="connsiteY3019" fmla="*/ 364154 h 1934496"/>
                <a:gd name="connsiteX3020" fmla="*/ 1381573 w 9922465"/>
                <a:gd name="connsiteY3020" fmla="*/ 364154 h 1934496"/>
                <a:gd name="connsiteX3021" fmla="*/ 1436767 w 9922465"/>
                <a:gd name="connsiteY3021" fmla="*/ 419345 h 1934496"/>
                <a:gd name="connsiteX3022" fmla="*/ 1381573 w 9922465"/>
                <a:gd name="connsiteY3022" fmla="*/ 474536 h 1934496"/>
                <a:gd name="connsiteX3023" fmla="*/ 1326384 w 9922465"/>
                <a:gd name="connsiteY3023" fmla="*/ 419345 h 1934496"/>
                <a:gd name="connsiteX3024" fmla="*/ 1381573 w 9922465"/>
                <a:gd name="connsiteY3024" fmla="*/ 364154 h 1934496"/>
                <a:gd name="connsiteX3025" fmla="*/ 1251283 w 9922465"/>
                <a:gd name="connsiteY3025" fmla="*/ 364154 h 1934496"/>
                <a:gd name="connsiteX3026" fmla="*/ 1306476 w 9922465"/>
                <a:gd name="connsiteY3026" fmla="*/ 419345 h 1934496"/>
                <a:gd name="connsiteX3027" fmla="*/ 1251283 w 9922465"/>
                <a:gd name="connsiteY3027" fmla="*/ 474536 h 1934496"/>
                <a:gd name="connsiteX3028" fmla="*/ 1196091 w 9922465"/>
                <a:gd name="connsiteY3028" fmla="*/ 419345 h 1934496"/>
                <a:gd name="connsiteX3029" fmla="*/ 1251283 w 9922465"/>
                <a:gd name="connsiteY3029" fmla="*/ 364154 h 1934496"/>
                <a:gd name="connsiteX3030" fmla="*/ 7608850 w 9922465"/>
                <a:gd name="connsiteY3030" fmla="*/ 247225 h 1934496"/>
                <a:gd name="connsiteX3031" fmla="*/ 7664042 w 9922465"/>
                <a:gd name="connsiteY3031" fmla="*/ 302416 h 1934496"/>
                <a:gd name="connsiteX3032" fmla="*/ 7608850 w 9922465"/>
                <a:gd name="connsiteY3032" fmla="*/ 357607 h 1934496"/>
                <a:gd name="connsiteX3033" fmla="*/ 7553658 w 9922465"/>
                <a:gd name="connsiteY3033" fmla="*/ 302416 h 1934496"/>
                <a:gd name="connsiteX3034" fmla="*/ 7608850 w 9922465"/>
                <a:gd name="connsiteY3034" fmla="*/ 247225 h 1934496"/>
                <a:gd name="connsiteX3035" fmla="*/ 7481898 w 9922465"/>
                <a:gd name="connsiteY3035" fmla="*/ 247225 h 1934496"/>
                <a:gd name="connsiteX3036" fmla="*/ 7537090 w 9922465"/>
                <a:gd name="connsiteY3036" fmla="*/ 302416 h 1934496"/>
                <a:gd name="connsiteX3037" fmla="*/ 7481898 w 9922465"/>
                <a:gd name="connsiteY3037" fmla="*/ 357607 h 1934496"/>
                <a:gd name="connsiteX3038" fmla="*/ 7426706 w 9922465"/>
                <a:gd name="connsiteY3038" fmla="*/ 302416 h 1934496"/>
                <a:gd name="connsiteX3039" fmla="*/ 7481898 w 9922465"/>
                <a:gd name="connsiteY3039" fmla="*/ 247225 h 1934496"/>
                <a:gd name="connsiteX3040" fmla="*/ 5093178 w 9922465"/>
                <a:gd name="connsiteY3040" fmla="*/ 247225 h 1934496"/>
                <a:gd name="connsiteX3041" fmla="*/ 5148370 w 9922465"/>
                <a:gd name="connsiteY3041" fmla="*/ 302416 h 1934496"/>
                <a:gd name="connsiteX3042" fmla="*/ 5093178 w 9922465"/>
                <a:gd name="connsiteY3042" fmla="*/ 357607 h 1934496"/>
                <a:gd name="connsiteX3043" fmla="*/ 5037986 w 9922465"/>
                <a:gd name="connsiteY3043" fmla="*/ 302416 h 1934496"/>
                <a:gd name="connsiteX3044" fmla="*/ 5093178 w 9922465"/>
                <a:gd name="connsiteY3044" fmla="*/ 247225 h 1934496"/>
                <a:gd name="connsiteX3045" fmla="*/ 4030786 w 9922465"/>
                <a:gd name="connsiteY3045" fmla="*/ 247225 h 1934496"/>
                <a:gd name="connsiteX3046" fmla="*/ 4085978 w 9922465"/>
                <a:gd name="connsiteY3046" fmla="*/ 302416 h 1934496"/>
                <a:gd name="connsiteX3047" fmla="*/ 4030786 w 9922465"/>
                <a:gd name="connsiteY3047" fmla="*/ 357607 h 1934496"/>
                <a:gd name="connsiteX3048" fmla="*/ 3975594 w 9922465"/>
                <a:gd name="connsiteY3048" fmla="*/ 302416 h 1934496"/>
                <a:gd name="connsiteX3049" fmla="*/ 4030786 w 9922465"/>
                <a:gd name="connsiteY3049" fmla="*/ 247225 h 1934496"/>
                <a:gd name="connsiteX3050" fmla="*/ 3897148 w 9922465"/>
                <a:gd name="connsiteY3050" fmla="*/ 247225 h 1934496"/>
                <a:gd name="connsiteX3051" fmla="*/ 3952340 w 9922465"/>
                <a:gd name="connsiteY3051" fmla="*/ 302416 h 1934496"/>
                <a:gd name="connsiteX3052" fmla="*/ 3897148 w 9922465"/>
                <a:gd name="connsiteY3052" fmla="*/ 357607 h 1934496"/>
                <a:gd name="connsiteX3053" fmla="*/ 3841956 w 9922465"/>
                <a:gd name="connsiteY3053" fmla="*/ 302416 h 1934496"/>
                <a:gd name="connsiteX3054" fmla="*/ 3897148 w 9922465"/>
                <a:gd name="connsiteY3054" fmla="*/ 247225 h 1934496"/>
                <a:gd name="connsiteX3055" fmla="*/ 3763514 w 9922465"/>
                <a:gd name="connsiteY3055" fmla="*/ 247225 h 1934496"/>
                <a:gd name="connsiteX3056" fmla="*/ 3818706 w 9922465"/>
                <a:gd name="connsiteY3056" fmla="*/ 302416 h 1934496"/>
                <a:gd name="connsiteX3057" fmla="*/ 3763514 w 9922465"/>
                <a:gd name="connsiteY3057" fmla="*/ 357607 h 1934496"/>
                <a:gd name="connsiteX3058" fmla="*/ 3708322 w 9922465"/>
                <a:gd name="connsiteY3058" fmla="*/ 302416 h 1934496"/>
                <a:gd name="connsiteX3059" fmla="*/ 3763514 w 9922465"/>
                <a:gd name="connsiteY3059" fmla="*/ 247225 h 1934496"/>
                <a:gd name="connsiteX3060" fmla="*/ 3633221 w 9922465"/>
                <a:gd name="connsiteY3060" fmla="*/ 247225 h 1934496"/>
                <a:gd name="connsiteX3061" fmla="*/ 3688413 w 9922465"/>
                <a:gd name="connsiteY3061" fmla="*/ 302416 h 1934496"/>
                <a:gd name="connsiteX3062" fmla="*/ 3633221 w 9922465"/>
                <a:gd name="connsiteY3062" fmla="*/ 357607 h 1934496"/>
                <a:gd name="connsiteX3063" fmla="*/ 3578029 w 9922465"/>
                <a:gd name="connsiteY3063" fmla="*/ 302416 h 1934496"/>
                <a:gd name="connsiteX3064" fmla="*/ 3633221 w 9922465"/>
                <a:gd name="connsiteY3064" fmla="*/ 247225 h 1934496"/>
                <a:gd name="connsiteX3065" fmla="*/ 3499589 w 9922465"/>
                <a:gd name="connsiteY3065" fmla="*/ 247225 h 1934496"/>
                <a:gd name="connsiteX3066" fmla="*/ 3554781 w 9922465"/>
                <a:gd name="connsiteY3066" fmla="*/ 302416 h 1934496"/>
                <a:gd name="connsiteX3067" fmla="*/ 3499589 w 9922465"/>
                <a:gd name="connsiteY3067" fmla="*/ 357607 h 1934496"/>
                <a:gd name="connsiteX3068" fmla="*/ 3444397 w 9922465"/>
                <a:gd name="connsiteY3068" fmla="*/ 302416 h 1934496"/>
                <a:gd name="connsiteX3069" fmla="*/ 3499589 w 9922465"/>
                <a:gd name="connsiteY3069" fmla="*/ 247225 h 1934496"/>
                <a:gd name="connsiteX3070" fmla="*/ 3369293 w 9922465"/>
                <a:gd name="connsiteY3070" fmla="*/ 247225 h 1934496"/>
                <a:gd name="connsiteX3071" fmla="*/ 3424485 w 9922465"/>
                <a:gd name="connsiteY3071" fmla="*/ 302416 h 1934496"/>
                <a:gd name="connsiteX3072" fmla="*/ 3369293 w 9922465"/>
                <a:gd name="connsiteY3072" fmla="*/ 357607 h 1934496"/>
                <a:gd name="connsiteX3073" fmla="*/ 3314101 w 9922465"/>
                <a:gd name="connsiteY3073" fmla="*/ 302416 h 1934496"/>
                <a:gd name="connsiteX3074" fmla="*/ 3369293 w 9922465"/>
                <a:gd name="connsiteY3074" fmla="*/ 247225 h 1934496"/>
                <a:gd name="connsiteX3075" fmla="*/ 3235657 w 9922465"/>
                <a:gd name="connsiteY3075" fmla="*/ 247225 h 1934496"/>
                <a:gd name="connsiteX3076" fmla="*/ 3290849 w 9922465"/>
                <a:gd name="connsiteY3076" fmla="*/ 302416 h 1934496"/>
                <a:gd name="connsiteX3077" fmla="*/ 3235657 w 9922465"/>
                <a:gd name="connsiteY3077" fmla="*/ 357607 h 1934496"/>
                <a:gd name="connsiteX3078" fmla="*/ 3180465 w 9922465"/>
                <a:gd name="connsiteY3078" fmla="*/ 302416 h 1934496"/>
                <a:gd name="connsiteX3079" fmla="*/ 3235657 w 9922465"/>
                <a:gd name="connsiteY3079" fmla="*/ 247225 h 1934496"/>
                <a:gd name="connsiteX3080" fmla="*/ 3098682 w 9922465"/>
                <a:gd name="connsiteY3080" fmla="*/ 247225 h 1934496"/>
                <a:gd name="connsiteX3081" fmla="*/ 3153874 w 9922465"/>
                <a:gd name="connsiteY3081" fmla="*/ 302416 h 1934496"/>
                <a:gd name="connsiteX3082" fmla="*/ 3098682 w 9922465"/>
                <a:gd name="connsiteY3082" fmla="*/ 357607 h 1934496"/>
                <a:gd name="connsiteX3083" fmla="*/ 3043490 w 9922465"/>
                <a:gd name="connsiteY3083" fmla="*/ 302416 h 1934496"/>
                <a:gd name="connsiteX3084" fmla="*/ 3098682 w 9922465"/>
                <a:gd name="connsiteY3084" fmla="*/ 247225 h 1934496"/>
                <a:gd name="connsiteX3085" fmla="*/ 2971729 w 9922465"/>
                <a:gd name="connsiteY3085" fmla="*/ 247225 h 1934496"/>
                <a:gd name="connsiteX3086" fmla="*/ 3026921 w 9922465"/>
                <a:gd name="connsiteY3086" fmla="*/ 302416 h 1934496"/>
                <a:gd name="connsiteX3087" fmla="*/ 2971729 w 9922465"/>
                <a:gd name="connsiteY3087" fmla="*/ 357607 h 1934496"/>
                <a:gd name="connsiteX3088" fmla="*/ 2916537 w 9922465"/>
                <a:gd name="connsiteY3088" fmla="*/ 302416 h 1934496"/>
                <a:gd name="connsiteX3089" fmla="*/ 2971729 w 9922465"/>
                <a:gd name="connsiteY3089" fmla="*/ 247225 h 1934496"/>
                <a:gd name="connsiteX3090" fmla="*/ 2834862 w 9922465"/>
                <a:gd name="connsiteY3090" fmla="*/ 247225 h 1934496"/>
                <a:gd name="connsiteX3091" fmla="*/ 2890052 w 9922465"/>
                <a:gd name="connsiteY3091" fmla="*/ 302416 h 1934496"/>
                <a:gd name="connsiteX3092" fmla="*/ 2834862 w 9922465"/>
                <a:gd name="connsiteY3092" fmla="*/ 357607 h 1934496"/>
                <a:gd name="connsiteX3093" fmla="*/ 2779671 w 9922465"/>
                <a:gd name="connsiteY3093" fmla="*/ 302416 h 1934496"/>
                <a:gd name="connsiteX3094" fmla="*/ 2834862 w 9922465"/>
                <a:gd name="connsiteY3094" fmla="*/ 247225 h 1934496"/>
                <a:gd name="connsiteX3095" fmla="*/ 2570933 w 9922465"/>
                <a:gd name="connsiteY3095" fmla="*/ 247225 h 1934496"/>
                <a:gd name="connsiteX3096" fmla="*/ 2626123 w 9922465"/>
                <a:gd name="connsiteY3096" fmla="*/ 302416 h 1934496"/>
                <a:gd name="connsiteX3097" fmla="*/ 2570933 w 9922465"/>
                <a:gd name="connsiteY3097" fmla="*/ 357607 h 1934496"/>
                <a:gd name="connsiteX3098" fmla="*/ 2515738 w 9922465"/>
                <a:gd name="connsiteY3098" fmla="*/ 302416 h 1934496"/>
                <a:gd name="connsiteX3099" fmla="*/ 2570933 w 9922465"/>
                <a:gd name="connsiteY3099" fmla="*/ 247225 h 1934496"/>
                <a:gd name="connsiteX3100" fmla="*/ 2437297 w 9922465"/>
                <a:gd name="connsiteY3100" fmla="*/ 247225 h 1934496"/>
                <a:gd name="connsiteX3101" fmla="*/ 2492487 w 9922465"/>
                <a:gd name="connsiteY3101" fmla="*/ 302416 h 1934496"/>
                <a:gd name="connsiteX3102" fmla="*/ 2437297 w 9922465"/>
                <a:gd name="connsiteY3102" fmla="*/ 357607 h 1934496"/>
                <a:gd name="connsiteX3103" fmla="*/ 2382108 w 9922465"/>
                <a:gd name="connsiteY3103" fmla="*/ 302416 h 1934496"/>
                <a:gd name="connsiteX3104" fmla="*/ 2437297 w 9922465"/>
                <a:gd name="connsiteY3104" fmla="*/ 247225 h 1934496"/>
                <a:gd name="connsiteX3105" fmla="*/ 2303666 w 9922465"/>
                <a:gd name="connsiteY3105" fmla="*/ 247225 h 1934496"/>
                <a:gd name="connsiteX3106" fmla="*/ 2358856 w 9922465"/>
                <a:gd name="connsiteY3106" fmla="*/ 302416 h 1934496"/>
                <a:gd name="connsiteX3107" fmla="*/ 2303666 w 9922465"/>
                <a:gd name="connsiteY3107" fmla="*/ 357607 h 1934496"/>
                <a:gd name="connsiteX3108" fmla="*/ 2248473 w 9922465"/>
                <a:gd name="connsiteY3108" fmla="*/ 302416 h 1934496"/>
                <a:gd name="connsiteX3109" fmla="*/ 2303666 w 9922465"/>
                <a:gd name="connsiteY3109" fmla="*/ 247225 h 1934496"/>
                <a:gd name="connsiteX3110" fmla="*/ 2173372 w 9922465"/>
                <a:gd name="connsiteY3110" fmla="*/ 247225 h 1934496"/>
                <a:gd name="connsiteX3111" fmla="*/ 2228566 w 9922465"/>
                <a:gd name="connsiteY3111" fmla="*/ 302416 h 1934496"/>
                <a:gd name="connsiteX3112" fmla="*/ 2173372 w 9922465"/>
                <a:gd name="connsiteY3112" fmla="*/ 357607 h 1934496"/>
                <a:gd name="connsiteX3113" fmla="*/ 2118180 w 9922465"/>
                <a:gd name="connsiteY3113" fmla="*/ 302416 h 1934496"/>
                <a:gd name="connsiteX3114" fmla="*/ 2173372 w 9922465"/>
                <a:gd name="connsiteY3114" fmla="*/ 247225 h 1934496"/>
                <a:gd name="connsiteX3115" fmla="*/ 1909440 w 9922465"/>
                <a:gd name="connsiteY3115" fmla="*/ 247225 h 1934496"/>
                <a:gd name="connsiteX3116" fmla="*/ 1964634 w 9922465"/>
                <a:gd name="connsiteY3116" fmla="*/ 302416 h 1934496"/>
                <a:gd name="connsiteX3117" fmla="*/ 1909440 w 9922465"/>
                <a:gd name="connsiteY3117" fmla="*/ 357607 h 1934496"/>
                <a:gd name="connsiteX3118" fmla="*/ 1854246 w 9922465"/>
                <a:gd name="connsiteY3118" fmla="*/ 302416 h 1934496"/>
                <a:gd name="connsiteX3119" fmla="*/ 1909440 w 9922465"/>
                <a:gd name="connsiteY3119" fmla="*/ 247225 h 1934496"/>
                <a:gd name="connsiteX3120" fmla="*/ 1779142 w 9922465"/>
                <a:gd name="connsiteY3120" fmla="*/ 247225 h 1934496"/>
                <a:gd name="connsiteX3121" fmla="*/ 1834337 w 9922465"/>
                <a:gd name="connsiteY3121" fmla="*/ 302416 h 1934496"/>
                <a:gd name="connsiteX3122" fmla="*/ 1779142 w 9922465"/>
                <a:gd name="connsiteY3122" fmla="*/ 357607 h 1934496"/>
                <a:gd name="connsiteX3123" fmla="*/ 1723951 w 9922465"/>
                <a:gd name="connsiteY3123" fmla="*/ 302416 h 1934496"/>
                <a:gd name="connsiteX3124" fmla="*/ 1779142 w 9922465"/>
                <a:gd name="connsiteY3124" fmla="*/ 247225 h 1934496"/>
                <a:gd name="connsiteX3125" fmla="*/ 1645508 w 9922465"/>
                <a:gd name="connsiteY3125" fmla="*/ 247225 h 1934496"/>
                <a:gd name="connsiteX3126" fmla="*/ 1700702 w 9922465"/>
                <a:gd name="connsiteY3126" fmla="*/ 302416 h 1934496"/>
                <a:gd name="connsiteX3127" fmla="*/ 1645508 w 9922465"/>
                <a:gd name="connsiteY3127" fmla="*/ 357607 h 1934496"/>
                <a:gd name="connsiteX3128" fmla="*/ 1590313 w 9922465"/>
                <a:gd name="connsiteY3128" fmla="*/ 302416 h 1934496"/>
                <a:gd name="connsiteX3129" fmla="*/ 1645508 w 9922465"/>
                <a:gd name="connsiteY3129" fmla="*/ 247225 h 1934496"/>
                <a:gd name="connsiteX3130" fmla="*/ 1515217 w 9922465"/>
                <a:gd name="connsiteY3130" fmla="*/ 247225 h 1934496"/>
                <a:gd name="connsiteX3131" fmla="*/ 1570405 w 9922465"/>
                <a:gd name="connsiteY3131" fmla="*/ 302416 h 1934496"/>
                <a:gd name="connsiteX3132" fmla="*/ 1515217 w 9922465"/>
                <a:gd name="connsiteY3132" fmla="*/ 357607 h 1934496"/>
                <a:gd name="connsiteX3133" fmla="*/ 1460020 w 9922465"/>
                <a:gd name="connsiteY3133" fmla="*/ 302416 h 1934496"/>
                <a:gd name="connsiteX3134" fmla="*/ 1515217 w 9922465"/>
                <a:gd name="connsiteY3134" fmla="*/ 247225 h 1934496"/>
                <a:gd name="connsiteX3135" fmla="*/ 1381573 w 9922465"/>
                <a:gd name="connsiteY3135" fmla="*/ 247225 h 1934496"/>
                <a:gd name="connsiteX3136" fmla="*/ 1436767 w 9922465"/>
                <a:gd name="connsiteY3136" fmla="*/ 302416 h 1934496"/>
                <a:gd name="connsiteX3137" fmla="*/ 1381573 w 9922465"/>
                <a:gd name="connsiteY3137" fmla="*/ 357607 h 1934496"/>
                <a:gd name="connsiteX3138" fmla="*/ 1326384 w 9922465"/>
                <a:gd name="connsiteY3138" fmla="*/ 302416 h 1934496"/>
                <a:gd name="connsiteX3139" fmla="*/ 1381573 w 9922465"/>
                <a:gd name="connsiteY3139" fmla="*/ 247225 h 1934496"/>
                <a:gd name="connsiteX3140" fmla="*/ 7481898 w 9922465"/>
                <a:gd name="connsiteY3140" fmla="*/ 120271 h 1934496"/>
                <a:gd name="connsiteX3141" fmla="*/ 7537090 w 9922465"/>
                <a:gd name="connsiteY3141" fmla="*/ 175462 h 1934496"/>
                <a:gd name="connsiteX3142" fmla="*/ 7481898 w 9922465"/>
                <a:gd name="connsiteY3142" fmla="*/ 230653 h 1934496"/>
                <a:gd name="connsiteX3143" fmla="*/ 7426706 w 9922465"/>
                <a:gd name="connsiteY3143" fmla="*/ 175462 h 1934496"/>
                <a:gd name="connsiteX3144" fmla="*/ 7481898 w 9922465"/>
                <a:gd name="connsiteY3144" fmla="*/ 120271 h 1934496"/>
                <a:gd name="connsiteX3145" fmla="*/ 7341580 w 9922465"/>
                <a:gd name="connsiteY3145" fmla="*/ 120271 h 1934496"/>
                <a:gd name="connsiteX3146" fmla="*/ 7396772 w 9922465"/>
                <a:gd name="connsiteY3146" fmla="*/ 175462 h 1934496"/>
                <a:gd name="connsiteX3147" fmla="*/ 7341580 w 9922465"/>
                <a:gd name="connsiteY3147" fmla="*/ 230653 h 1934496"/>
                <a:gd name="connsiteX3148" fmla="*/ 7286388 w 9922465"/>
                <a:gd name="connsiteY3148" fmla="*/ 175462 h 1934496"/>
                <a:gd name="connsiteX3149" fmla="*/ 7341580 w 9922465"/>
                <a:gd name="connsiteY3149" fmla="*/ 120271 h 1934496"/>
                <a:gd name="connsiteX3150" fmla="*/ 7211288 w 9922465"/>
                <a:gd name="connsiteY3150" fmla="*/ 120271 h 1934496"/>
                <a:gd name="connsiteX3151" fmla="*/ 7266480 w 9922465"/>
                <a:gd name="connsiteY3151" fmla="*/ 175462 h 1934496"/>
                <a:gd name="connsiteX3152" fmla="*/ 7211288 w 9922465"/>
                <a:gd name="connsiteY3152" fmla="*/ 230653 h 1934496"/>
                <a:gd name="connsiteX3153" fmla="*/ 7156096 w 9922465"/>
                <a:gd name="connsiteY3153" fmla="*/ 175462 h 1934496"/>
                <a:gd name="connsiteX3154" fmla="*/ 7211288 w 9922465"/>
                <a:gd name="connsiteY3154" fmla="*/ 120271 h 1934496"/>
                <a:gd name="connsiteX3155" fmla="*/ 5223474 w 9922465"/>
                <a:gd name="connsiteY3155" fmla="*/ 120271 h 1934496"/>
                <a:gd name="connsiteX3156" fmla="*/ 5278666 w 9922465"/>
                <a:gd name="connsiteY3156" fmla="*/ 175462 h 1934496"/>
                <a:gd name="connsiteX3157" fmla="*/ 5223474 w 9922465"/>
                <a:gd name="connsiteY3157" fmla="*/ 230653 h 1934496"/>
                <a:gd name="connsiteX3158" fmla="*/ 5168282 w 9922465"/>
                <a:gd name="connsiteY3158" fmla="*/ 175462 h 1934496"/>
                <a:gd name="connsiteX3159" fmla="*/ 5223474 w 9922465"/>
                <a:gd name="connsiteY3159" fmla="*/ 120271 h 1934496"/>
                <a:gd name="connsiteX3160" fmla="*/ 5093178 w 9922465"/>
                <a:gd name="connsiteY3160" fmla="*/ 120271 h 1934496"/>
                <a:gd name="connsiteX3161" fmla="*/ 5148370 w 9922465"/>
                <a:gd name="connsiteY3161" fmla="*/ 175462 h 1934496"/>
                <a:gd name="connsiteX3162" fmla="*/ 5093178 w 9922465"/>
                <a:gd name="connsiteY3162" fmla="*/ 230653 h 1934496"/>
                <a:gd name="connsiteX3163" fmla="*/ 5037986 w 9922465"/>
                <a:gd name="connsiteY3163" fmla="*/ 175462 h 1934496"/>
                <a:gd name="connsiteX3164" fmla="*/ 5093178 w 9922465"/>
                <a:gd name="connsiteY3164" fmla="*/ 120271 h 1934496"/>
                <a:gd name="connsiteX3165" fmla="*/ 4161077 w 9922465"/>
                <a:gd name="connsiteY3165" fmla="*/ 120271 h 1934496"/>
                <a:gd name="connsiteX3166" fmla="*/ 4216269 w 9922465"/>
                <a:gd name="connsiteY3166" fmla="*/ 175462 h 1934496"/>
                <a:gd name="connsiteX3167" fmla="*/ 4161077 w 9922465"/>
                <a:gd name="connsiteY3167" fmla="*/ 230653 h 1934496"/>
                <a:gd name="connsiteX3168" fmla="*/ 4105885 w 9922465"/>
                <a:gd name="connsiteY3168" fmla="*/ 175462 h 1934496"/>
                <a:gd name="connsiteX3169" fmla="*/ 4161077 w 9922465"/>
                <a:gd name="connsiteY3169" fmla="*/ 120271 h 1934496"/>
                <a:gd name="connsiteX3170" fmla="*/ 4030786 w 9922465"/>
                <a:gd name="connsiteY3170" fmla="*/ 120271 h 1934496"/>
                <a:gd name="connsiteX3171" fmla="*/ 4085978 w 9922465"/>
                <a:gd name="connsiteY3171" fmla="*/ 175462 h 1934496"/>
                <a:gd name="connsiteX3172" fmla="*/ 4030786 w 9922465"/>
                <a:gd name="connsiteY3172" fmla="*/ 230653 h 1934496"/>
                <a:gd name="connsiteX3173" fmla="*/ 3975594 w 9922465"/>
                <a:gd name="connsiteY3173" fmla="*/ 175462 h 1934496"/>
                <a:gd name="connsiteX3174" fmla="*/ 4030786 w 9922465"/>
                <a:gd name="connsiteY3174" fmla="*/ 120271 h 1934496"/>
                <a:gd name="connsiteX3175" fmla="*/ 3897148 w 9922465"/>
                <a:gd name="connsiteY3175" fmla="*/ 120271 h 1934496"/>
                <a:gd name="connsiteX3176" fmla="*/ 3952340 w 9922465"/>
                <a:gd name="connsiteY3176" fmla="*/ 175462 h 1934496"/>
                <a:gd name="connsiteX3177" fmla="*/ 3897148 w 9922465"/>
                <a:gd name="connsiteY3177" fmla="*/ 230653 h 1934496"/>
                <a:gd name="connsiteX3178" fmla="*/ 3841956 w 9922465"/>
                <a:gd name="connsiteY3178" fmla="*/ 175462 h 1934496"/>
                <a:gd name="connsiteX3179" fmla="*/ 3897148 w 9922465"/>
                <a:gd name="connsiteY3179" fmla="*/ 120271 h 1934496"/>
                <a:gd name="connsiteX3180" fmla="*/ 3763514 w 9922465"/>
                <a:gd name="connsiteY3180" fmla="*/ 120271 h 1934496"/>
                <a:gd name="connsiteX3181" fmla="*/ 3818706 w 9922465"/>
                <a:gd name="connsiteY3181" fmla="*/ 175462 h 1934496"/>
                <a:gd name="connsiteX3182" fmla="*/ 3763514 w 9922465"/>
                <a:gd name="connsiteY3182" fmla="*/ 230653 h 1934496"/>
                <a:gd name="connsiteX3183" fmla="*/ 3708322 w 9922465"/>
                <a:gd name="connsiteY3183" fmla="*/ 175462 h 1934496"/>
                <a:gd name="connsiteX3184" fmla="*/ 3763514 w 9922465"/>
                <a:gd name="connsiteY3184" fmla="*/ 120271 h 1934496"/>
                <a:gd name="connsiteX3185" fmla="*/ 3633221 w 9922465"/>
                <a:gd name="connsiteY3185" fmla="*/ 120271 h 1934496"/>
                <a:gd name="connsiteX3186" fmla="*/ 3688413 w 9922465"/>
                <a:gd name="connsiteY3186" fmla="*/ 175462 h 1934496"/>
                <a:gd name="connsiteX3187" fmla="*/ 3633221 w 9922465"/>
                <a:gd name="connsiteY3187" fmla="*/ 230653 h 1934496"/>
                <a:gd name="connsiteX3188" fmla="*/ 3578029 w 9922465"/>
                <a:gd name="connsiteY3188" fmla="*/ 175462 h 1934496"/>
                <a:gd name="connsiteX3189" fmla="*/ 3633221 w 9922465"/>
                <a:gd name="connsiteY3189" fmla="*/ 120271 h 1934496"/>
                <a:gd name="connsiteX3190" fmla="*/ 3499589 w 9922465"/>
                <a:gd name="connsiteY3190" fmla="*/ 120271 h 1934496"/>
                <a:gd name="connsiteX3191" fmla="*/ 3554781 w 9922465"/>
                <a:gd name="connsiteY3191" fmla="*/ 175462 h 1934496"/>
                <a:gd name="connsiteX3192" fmla="*/ 3499589 w 9922465"/>
                <a:gd name="connsiteY3192" fmla="*/ 230653 h 1934496"/>
                <a:gd name="connsiteX3193" fmla="*/ 3444397 w 9922465"/>
                <a:gd name="connsiteY3193" fmla="*/ 175462 h 1934496"/>
                <a:gd name="connsiteX3194" fmla="*/ 3499589 w 9922465"/>
                <a:gd name="connsiteY3194" fmla="*/ 120271 h 1934496"/>
                <a:gd name="connsiteX3195" fmla="*/ 3369293 w 9922465"/>
                <a:gd name="connsiteY3195" fmla="*/ 120271 h 1934496"/>
                <a:gd name="connsiteX3196" fmla="*/ 3424485 w 9922465"/>
                <a:gd name="connsiteY3196" fmla="*/ 175462 h 1934496"/>
                <a:gd name="connsiteX3197" fmla="*/ 3369293 w 9922465"/>
                <a:gd name="connsiteY3197" fmla="*/ 230653 h 1934496"/>
                <a:gd name="connsiteX3198" fmla="*/ 3314101 w 9922465"/>
                <a:gd name="connsiteY3198" fmla="*/ 175462 h 1934496"/>
                <a:gd name="connsiteX3199" fmla="*/ 3369293 w 9922465"/>
                <a:gd name="connsiteY3199" fmla="*/ 120271 h 1934496"/>
                <a:gd name="connsiteX3200" fmla="*/ 3235657 w 9922465"/>
                <a:gd name="connsiteY3200" fmla="*/ 120271 h 1934496"/>
                <a:gd name="connsiteX3201" fmla="*/ 3290849 w 9922465"/>
                <a:gd name="connsiteY3201" fmla="*/ 175462 h 1934496"/>
                <a:gd name="connsiteX3202" fmla="*/ 3235657 w 9922465"/>
                <a:gd name="connsiteY3202" fmla="*/ 230653 h 1934496"/>
                <a:gd name="connsiteX3203" fmla="*/ 3180465 w 9922465"/>
                <a:gd name="connsiteY3203" fmla="*/ 175462 h 1934496"/>
                <a:gd name="connsiteX3204" fmla="*/ 3235657 w 9922465"/>
                <a:gd name="connsiteY3204" fmla="*/ 120271 h 1934496"/>
                <a:gd name="connsiteX3205" fmla="*/ 3098682 w 9922465"/>
                <a:gd name="connsiteY3205" fmla="*/ 120271 h 1934496"/>
                <a:gd name="connsiteX3206" fmla="*/ 3153874 w 9922465"/>
                <a:gd name="connsiteY3206" fmla="*/ 175462 h 1934496"/>
                <a:gd name="connsiteX3207" fmla="*/ 3098682 w 9922465"/>
                <a:gd name="connsiteY3207" fmla="*/ 230653 h 1934496"/>
                <a:gd name="connsiteX3208" fmla="*/ 3043490 w 9922465"/>
                <a:gd name="connsiteY3208" fmla="*/ 175462 h 1934496"/>
                <a:gd name="connsiteX3209" fmla="*/ 3098682 w 9922465"/>
                <a:gd name="connsiteY3209" fmla="*/ 120271 h 1934496"/>
                <a:gd name="connsiteX3210" fmla="*/ 2971729 w 9922465"/>
                <a:gd name="connsiteY3210" fmla="*/ 120271 h 1934496"/>
                <a:gd name="connsiteX3211" fmla="*/ 3026921 w 9922465"/>
                <a:gd name="connsiteY3211" fmla="*/ 175462 h 1934496"/>
                <a:gd name="connsiteX3212" fmla="*/ 2971729 w 9922465"/>
                <a:gd name="connsiteY3212" fmla="*/ 230653 h 1934496"/>
                <a:gd name="connsiteX3213" fmla="*/ 2916537 w 9922465"/>
                <a:gd name="connsiteY3213" fmla="*/ 175462 h 1934496"/>
                <a:gd name="connsiteX3214" fmla="*/ 2971729 w 9922465"/>
                <a:gd name="connsiteY3214" fmla="*/ 120271 h 1934496"/>
                <a:gd name="connsiteX3215" fmla="*/ 2707903 w 9922465"/>
                <a:gd name="connsiteY3215" fmla="*/ 120271 h 1934496"/>
                <a:gd name="connsiteX3216" fmla="*/ 2763100 w 9922465"/>
                <a:gd name="connsiteY3216" fmla="*/ 175462 h 1934496"/>
                <a:gd name="connsiteX3217" fmla="*/ 2707903 w 9922465"/>
                <a:gd name="connsiteY3217" fmla="*/ 230653 h 1934496"/>
                <a:gd name="connsiteX3218" fmla="*/ 2652715 w 9922465"/>
                <a:gd name="connsiteY3218" fmla="*/ 175462 h 1934496"/>
                <a:gd name="connsiteX3219" fmla="*/ 2707903 w 9922465"/>
                <a:gd name="connsiteY3219" fmla="*/ 120271 h 1934496"/>
                <a:gd name="connsiteX3220" fmla="*/ 2570933 w 9922465"/>
                <a:gd name="connsiteY3220" fmla="*/ 120271 h 1934496"/>
                <a:gd name="connsiteX3221" fmla="*/ 2626123 w 9922465"/>
                <a:gd name="connsiteY3221" fmla="*/ 175462 h 1934496"/>
                <a:gd name="connsiteX3222" fmla="*/ 2570933 w 9922465"/>
                <a:gd name="connsiteY3222" fmla="*/ 230653 h 1934496"/>
                <a:gd name="connsiteX3223" fmla="*/ 2515738 w 9922465"/>
                <a:gd name="connsiteY3223" fmla="*/ 175462 h 1934496"/>
                <a:gd name="connsiteX3224" fmla="*/ 2570933 w 9922465"/>
                <a:gd name="connsiteY3224" fmla="*/ 120271 h 1934496"/>
                <a:gd name="connsiteX3225" fmla="*/ 2437297 w 9922465"/>
                <a:gd name="connsiteY3225" fmla="*/ 120271 h 1934496"/>
                <a:gd name="connsiteX3226" fmla="*/ 2492487 w 9922465"/>
                <a:gd name="connsiteY3226" fmla="*/ 175462 h 1934496"/>
                <a:gd name="connsiteX3227" fmla="*/ 2437297 w 9922465"/>
                <a:gd name="connsiteY3227" fmla="*/ 230653 h 1934496"/>
                <a:gd name="connsiteX3228" fmla="*/ 2382108 w 9922465"/>
                <a:gd name="connsiteY3228" fmla="*/ 175462 h 1934496"/>
                <a:gd name="connsiteX3229" fmla="*/ 2437297 w 9922465"/>
                <a:gd name="connsiteY3229" fmla="*/ 120271 h 1934496"/>
                <a:gd name="connsiteX3230" fmla="*/ 2303666 w 9922465"/>
                <a:gd name="connsiteY3230" fmla="*/ 120271 h 1934496"/>
                <a:gd name="connsiteX3231" fmla="*/ 2358856 w 9922465"/>
                <a:gd name="connsiteY3231" fmla="*/ 175462 h 1934496"/>
                <a:gd name="connsiteX3232" fmla="*/ 2303666 w 9922465"/>
                <a:gd name="connsiteY3232" fmla="*/ 230653 h 1934496"/>
                <a:gd name="connsiteX3233" fmla="*/ 2248473 w 9922465"/>
                <a:gd name="connsiteY3233" fmla="*/ 175462 h 1934496"/>
                <a:gd name="connsiteX3234" fmla="*/ 2303666 w 9922465"/>
                <a:gd name="connsiteY3234" fmla="*/ 120271 h 1934496"/>
                <a:gd name="connsiteX3235" fmla="*/ 2173372 w 9922465"/>
                <a:gd name="connsiteY3235" fmla="*/ 120271 h 1934496"/>
                <a:gd name="connsiteX3236" fmla="*/ 2228566 w 9922465"/>
                <a:gd name="connsiteY3236" fmla="*/ 175462 h 1934496"/>
                <a:gd name="connsiteX3237" fmla="*/ 2173372 w 9922465"/>
                <a:gd name="connsiteY3237" fmla="*/ 230653 h 1934496"/>
                <a:gd name="connsiteX3238" fmla="*/ 2118180 w 9922465"/>
                <a:gd name="connsiteY3238" fmla="*/ 175462 h 1934496"/>
                <a:gd name="connsiteX3239" fmla="*/ 2173372 w 9922465"/>
                <a:gd name="connsiteY3239" fmla="*/ 120271 h 1934496"/>
                <a:gd name="connsiteX3240" fmla="*/ 7341580 w 9922465"/>
                <a:gd name="connsiteY3240" fmla="*/ 0 h 1934496"/>
                <a:gd name="connsiteX3241" fmla="*/ 7396772 w 9922465"/>
                <a:gd name="connsiteY3241" fmla="*/ 55191 h 1934496"/>
                <a:gd name="connsiteX3242" fmla="*/ 7341580 w 9922465"/>
                <a:gd name="connsiteY3242" fmla="*/ 110382 h 1934496"/>
                <a:gd name="connsiteX3243" fmla="*/ 7286388 w 9922465"/>
                <a:gd name="connsiteY3243" fmla="*/ 55191 h 1934496"/>
                <a:gd name="connsiteX3244" fmla="*/ 7341580 w 9922465"/>
                <a:gd name="connsiteY3244" fmla="*/ 0 h 1934496"/>
                <a:gd name="connsiteX3245" fmla="*/ 4294713 w 9922465"/>
                <a:gd name="connsiteY3245" fmla="*/ 0 h 1934496"/>
                <a:gd name="connsiteX3246" fmla="*/ 4349905 w 9922465"/>
                <a:gd name="connsiteY3246" fmla="*/ 55191 h 1934496"/>
                <a:gd name="connsiteX3247" fmla="*/ 4294713 w 9922465"/>
                <a:gd name="connsiteY3247" fmla="*/ 110382 h 1934496"/>
                <a:gd name="connsiteX3248" fmla="*/ 4239521 w 9922465"/>
                <a:gd name="connsiteY3248" fmla="*/ 55191 h 1934496"/>
                <a:gd name="connsiteX3249" fmla="*/ 4294713 w 9922465"/>
                <a:gd name="connsiteY3249" fmla="*/ 0 h 1934496"/>
                <a:gd name="connsiteX3250" fmla="*/ 4161077 w 9922465"/>
                <a:gd name="connsiteY3250" fmla="*/ 0 h 1934496"/>
                <a:gd name="connsiteX3251" fmla="*/ 4216269 w 9922465"/>
                <a:gd name="connsiteY3251" fmla="*/ 55191 h 1934496"/>
                <a:gd name="connsiteX3252" fmla="*/ 4161077 w 9922465"/>
                <a:gd name="connsiteY3252" fmla="*/ 110382 h 1934496"/>
                <a:gd name="connsiteX3253" fmla="*/ 4105885 w 9922465"/>
                <a:gd name="connsiteY3253" fmla="*/ 55191 h 1934496"/>
                <a:gd name="connsiteX3254" fmla="*/ 4161077 w 9922465"/>
                <a:gd name="connsiteY3254" fmla="*/ 0 h 1934496"/>
                <a:gd name="connsiteX3255" fmla="*/ 4030786 w 9922465"/>
                <a:gd name="connsiteY3255" fmla="*/ 0 h 1934496"/>
                <a:gd name="connsiteX3256" fmla="*/ 4085978 w 9922465"/>
                <a:gd name="connsiteY3256" fmla="*/ 55191 h 1934496"/>
                <a:gd name="connsiteX3257" fmla="*/ 4030786 w 9922465"/>
                <a:gd name="connsiteY3257" fmla="*/ 110382 h 1934496"/>
                <a:gd name="connsiteX3258" fmla="*/ 3975594 w 9922465"/>
                <a:gd name="connsiteY3258" fmla="*/ 55191 h 1934496"/>
                <a:gd name="connsiteX3259" fmla="*/ 4030786 w 9922465"/>
                <a:gd name="connsiteY3259" fmla="*/ 0 h 1934496"/>
                <a:gd name="connsiteX3260" fmla="*/ 3897148 w 9922465"/>
                <a:gd name="connsiteY3260" fmla="*/ 0 h 1934496"/>
                <a:gd name="connsiteX3261" fmla="*/ 3952340 w 9922465"/>
                <a:gd name="connsiteY3261" fmla="*/ 55191 h 1934496"/>
                <a:gd name="connsiteX3262" fmla="*/ 3897148 w 9922465"/>
                <a:gd name="connsiteY3262" fmla="*/ 110382 h 1934496"/>
                <a:gd name="connsiteX3263" fmla="*/ 3841956 w 9922465"/>
                <a:gd name="connsiteY3263" fmla="*/ 55191 h 1934496"/>
                <a:gd name="connsiteX3264" fmla="*/ 3897148 w 9922465"/>
                <a:gd name="connsiteY3264" fmla="*/ 0 h 1934496"/>
                <a:gd name="connsiteX3265" fmla="*/ 3763514 w 9922465"/>
                <a:gd name="connsiteY3265" fmla="*/ 0 h 1934496"/>
                <a:gd name="connsiteX3266" fmla="*/ 3818706 w 9922465"/>
                <a:gd name="connsiteY3266" fmla="*/ 55191 h 1934496"/>
                <a:gd name="connsiteX3267" fmla="*/ 3763514 w 9922465"/>
                <a:gd name="connsiteY3267" fmla="*/ 110382 h 1934496"/>
                <a:gd name="connsiteX3268" fmla="*/ 3708322 w 9922465"/>
                <a:gd name="connsiteY3268" fmla="*/ 55191 h 1934496"/>
                <a:gd name="connsiteX3269" fmla="*/ 3763514 w 9922465"/>
                <a:gd name="connsiteY3269" fmla="*/ 0 h 1934496"/>
                <a:gd name="connsiteX3270" fmla="*/ 3633221 w 9922465"/>
                <a:gd name="connsiteY3270" fmla="*/ 0 h 1934496"/>
                <a:gd name="connsiteX3271" fmla="*/ 3688413 w 9922465"/>
                <a:gd name="connsiteY3271" fmla="*/ 55191 h 1934496"/>
                <a:gd name="connsiteX3272" fmla="*/ 3633221 w 9922465"/>
                <a:gd name="connsiteY3272" fmla="*/ 110382 h 1934496"/>
                <a:gd name="connsiteX3273" fmla="*/ 3578029 w 9922465"/>
                <a:gd name="connsiteY3273" fmla="*/ 55191 h 1934496"/>
                <a:gd name="connsiteX3274" fmla="*/ 3633221 w 9922465"/>
                <a:gd name="connsiteY3274" fmla="*/ 0 h 1934496"/>
                <a:gd name="connsiteX3275" fmla="*/ 3499589 w 9922465"/>
                <a:gd name="connsiteY3275" fmla="*/ 0 h 1934496"/>
                <a:gd name="connsiteX3276" fmla="*/ 3554781 w 9922465"/>
                <a:gd name="connsiteY3276" fmla="*/ 55191 h 1934496"/>
                <a:gd name="connsiteX3277" fmla="*/ 3499589 w 9922465"/>
                <a:gd name="connsiteY3277" fmla="*/ 110382 h 1934496"/>
                <a:gd name="connsiteX3278" fmla="*/ 3444397 w 9922465"/>
                <a:gd name="connsiteY3278" fmla="*/ 55191 h 1934496"/>
                <a:gd name="connsiteX3279" fmla="*/ 3499589 w 9922465"/>
                <a:gd name="connsiteY3279" fmla="*/ 0 h 1934496"/>
                <a:gd name="connsiteX3280" fmla="*/ 3369293 w 9922465"/>
                <a:gd name="connsiteY3280" fmla="*/ 0 h 1934496"/>
                <a:gd name="connsiteX3281" fmla="*/ 3424485 w 9922465"/>
                <a:gd name="connsiteY3281" fmla="*/ 55191 h 1934496"/>
                <a:gd name="connsiteX3282" fmla="*/ 3369293 w 9922465"/>
                <a:gd name="connsiteY3282" fmla="*/ 110382 h 1934496"/>
                <a:gd name="connsiteX3283" fmla="*/ 3314101 w 9922465"/>
                <a:gd name="connsiteY3283" fmla="*/ 55191 h 1934496"/>
                <a:gd name="connsiteX3284" fmla="*/ 3369293 w 9922465"/>
                <a:gd name="connsiteY3284" fmla="*/ 0 h 1934496"/>
                <a:gd name="connsiteX3285" fmla="*/ 3235657 w 9922465"/>
                <a:gd name="connsiteY3285" fmla="*/ 0 h 1934496"/>
                <a:gd name="connsiteX3286" fmla="*/ 3290849 w 9922465"/>
                <a:gd name="connsiteY3286" fmla="*/ 55191 h 1934496"/>
                <a:gd name="connsiteX3287" fmla="*/ 3235657 w 9922465"/>
                <a:gd name="connsiteY3287" fmla="*/ 110382 h 1934496"/>
                <a:gd name="connsiteX3288" fmla="*/ 3180465 w 9922465"/>
                <a:gd name="connsiteY3288" fmla="*/ 55191 h 1934496"/>
                <a:gd name="connsiteX3289" fmla="*/ 3235657 w 9922465"/>
                <a:gd name="connsiteY3289" fmla="*/ 0 h 1934496"/>
                <a:gd name="connsiteX3290" fmla="*/ 2834862 w 9922465"/>
                <a:gd name="connsiteY3290" fmla="*/ 0 h 1934496"/>
                <a:gd name="connsiteX3291" fmla="*/ 2890052 w 9922465"/>
                <a:gd name="connsiteY3291" fmla="*/ 55191 h 1934496"/>
                <a:gd name="connsiteX3292" fmla="*/ 2834862 w 9922465"/>
                <a:gd name="connsiteY3292" fmla="*/ 110382 h 1934496"/>
                <a:gd name="connsiteX3293" fmla="*/ 2779671 w 9922465"/>
                <a:gd name="connsiteY3293" fmla="*/ 55191 h 1934496"/>
                <a:gd name="connsiteX3294" fmla="*/ 2834862 w 9922465"/>
                <a:gd name="connsiteY3294" fmla="*/ 0 h 1934496"/>
                <a:gd name="connsiteX3295" fmla="*/ 2707903 w 9922465"/>
                <a:gd name="connsiteY3295" fmla="*/ 0 h 1934496"/>
                <a:gd name="connsiteX3296" fmla="*/ 2763100 w 9922465"/>
                <a:gd name="connsiteY3296" fmla="*/ 55191 h 1934496"/>
                <a:gd name="connsiteX3297" fmla="*/ 2707903 w 9922465"/>
                <a:gd name="connsiteY3297" fmla="*/ 110382 h 1934496"/>
                <a:gd name="connsiteX3298" fmla="*/ 2652715 w 9922465"/>
                <a:gd name="connsiteY3298" fmla="*/ 55191 h 1934496"/>
                <a:gd name="connsiteX3299" fmla="*/ 2707903 w 9922465"/>
                <a:gd name="connsiteY3299" fmla="*/ 0 h 1934496"/>
                <a:gd name="connsiteX3300" fmla="*/ 2570933 w 9922465"/>
                <a:gd name="connsiteY3300" fmla="*/ 0 h 1934496"/>
                <a:gd name="connsiteX3301" fmla="*/ 2626123 w 9922465"/>
                <a:gd name="connsiteY3301" fmla="*/ 55191 h 1934496"/>
                <a:gd name="connsiteX3302" fmla="*/ 2570933 w 9922465"/>
                <a:gd name="connsiteY3302" fmla="*/ 110382 h 1934496"/>
                <a:gd name="connsiteX3303" fmla="*/ 2515738 w 9922465"/>
                <a:gd name="connsiteY3303" fmla="*/ 55191 h 1934496"/>
                <a:gd name="connsiteX3304" fmla="*/ 2570933 w 9922465"/>
                <a:gd name="connsiteY3304" fmla="*/ 0 h 1934496"/>
                <a:gd name="connsiteX3305" fmla="*/ 2437297 w 9922465"/>
                <a:gd name="connsiteY3305" fmla="*/ 0 h 1934496"/>
                <a:gd name="connsiteX3306" fmla="*/ 2492487 w 9922465"/>
                <a:gd name="connsiteY3306" fmla="*/ 55191 h 1934496"/>
                <a:gd name="connsiteX3307" fmla="*/ 2437297 w 9922465"/>
                <a:gd name="connsiteY3307" fmla="*/ 110382 h 1934496"/>
                <a:gd name="connsiteX3308" fmla="*/ 2382108 w 9922465"/>
                <a:gd name="connsiteY3308" fmla="*/ 55191 h 1934496"/>
                <a:gd name="connsiteX3309" fmla="*/ 2437297 w 9922465"/>
                <a:gd name="connsiteY3309" fmla="*/ 0 h 1934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Lst>
              <a:rect l="l" t="t" r="r" b="b"/>
              <a:pathLst>
                <a:path w="9922465" h="1934496">
                  <a:moveTo>
                    <a:pt x="8407318" y="1824114"/>
                  </a:moveTo>
                  <a:cubicBezTo>
                    <a:pt x="8437800" y="1824114"/>
                    <a:pt x="8462510" y="1848824"/>
                    <a:pt x="8462510" y="1879305"/>
                  </a:cubicBezTo>
                  <a:cubicBezTo>
                    <a:pt x="8462510" y="1909786"/>
                    <a:pt x="8437800" y="1934496"/>
                    <a:pt x="8407318" y="1934496"/>
                  </a:cubicBezTo>
                  <a:cubicBezTo>
                    <a:pt x="8376836" y="1934496"/>
                    <a:pt x="8352126" y="1909786"/>
                    <a:pt x="8352126" y="1879305"/>
                  </a:cubicBezTo>
                  <a:cubicBezTo>
                    <a:pt x="8352126" y="1848824"/>
                    <a:pt x="8376836" y="1824114"/>
                    <a:pt x="8407318" y="1824114"/>
                  </a:cubicBezTo>
                  <a:close/>
                  <a:moveTo>
                    <a:pt x="8273682" y="1824114"/>
                  </a:moveTo>
                  <a:cubicBezTo>
                    <a:pt x="8304164" y="1824114"/>
                    <a:pt x="8328874" y="1848824"/>
                    <a:pt x="8328874" y="1879305"/>
                  </a:cubicBezTo>
                  <a:cubicBezTo>
                    <a:pt x="8328874" y="1909786"/>
                    <a:pt x="8304164" y="1934496"/>
                    <a:pt x="8273682" y="1934496"/>
                  </a:cubicBezTo>
                  <a:cubicBezTo>
                    <a:pt x="8243200" y="1934496"/>
                    <a:pt x="8218490" y="1909786"/>
                    <a:pt x="8218490" y="1879305"/>
                  </a:cubicBezTo>
                  <a:cubicBezTo>
                    <a:pt x="8218490" y="1848824"/>
                    <a:pt x="8243200" y="1824114"/>
                    <a:pt x="8273682" y="1824114"/>
                  </a:cubicBezTo>
                  <a:close/>
                  <a:moveTo>
                    <a:pt x="8143386" y="1824114"/>
                  </a:moveTo>
                  <a:cubicBezTo>
                    <a:pt x="8173868" y="1824114"/>
                    <a:pt x="8198578" y="1848824"/>
                    <a:pt x="8198578" y="1879305"/>
                  </a:cubicBezTo>
                  <a:cubicBezTo>
                    <a:pt x="8198578" y="1909786"/>
                    <a:pt x="8173868" y="1934496"/>
                    <a:pt x="8143386" y="1934496"/>
                  </a:cubicBezTo>
                  <a:cubicBezTo>
                    <a:pt x="8112904" y="1934496"/>
                    <a:pt x="8088194" y="1909786"/>
                    <a:pt x="8088194" y="1879305"/>
                  </a:cubicBezTo>
                  <a:cubicBezTo>
                    <a:pt x="8088194" y="1848824"/>
                    <a:pt x="8112904" y="1824114"/>
                    <a:pt x="8143386" y="1824114"/>
                  </a:cubicBezTo>
                  <a:close/>
                  <a:moveTo>
                    <a:pt x="8009752" y="1824114"/>
                  </a:moveTo>
                  <a:cubicBezTo>
                    <a:pt x="8040234" y="1824114"/>
                    <a:pt x="8064944" y="1848824"/>
                    <a:pt x="8064944" y="1879305"/>
                  </a:cubicBezTo>
                  <a:cubicBezTo>
                    <a:pt x="8064944" y="1909786"/>
                    <a:pt x="8040234" y="1934496"/>
                    <a:pt x="8009752" y="1934496"/>
                  </a:cubicBezTo>
                  <a:cubicBezTo>
                    <a:pt x="7979270" y="1934496"/>
                    <a:pt x="7954560" y="1909786"/>
                    <a:pt x="7954560" y="1879305"/>
                  </a:cubicBezTo>
                  <a:cubicBezTo>
                    <a:pt x="7954560" y="1848824"/>
                    <a:pt x="7979270" y="1824114"/>
                    <a:pt x="8009752" y="1824114"/>
                  </a:cubicBezTo>
                  <a:close/>
                  <a:moveTo>
                    <a:pt x="7876117" y="1824114"/>
                  </a:moveTo>
                  <a:cubicBezTo>
                    <a:pt x="7906599" y="1824114"/>
                    <a:pt x="7931309" y="1848824"/>
                    <a:pt x="7931309" y="1879305"/>
                  </a:cubicBezTo>
                  <a:cubicBezTo>
                    <a:pt x="7931309" y="1909786"/>
                    <a:pt x="7906599" y="1934496"/>
                    <a:pt x="7876117" y="1934496"/>
                  </a:cubicBezTo>
                  <a:cubicBezTo>
                    <a:pt x="7845635" y="1934496"/>
                    <a:pt x="7820925" y="1909786"/>
                    <a:pt x="7820925" y="1879305"/>
                  </a:cubicBezTo>
                  <a:cubicBezTo>
                    <a:pt x="7820925" y="1848824"/>
                    <a:pt x="7845635" y="1824114"/>
                    <a:pt x="7876117" y="1824114"/>
                  </a:cubicBezTo>
                  <a:close/>
                  <a:moveTo>
                    <a:pt x="7745824" y="1824114"/>
                  </a:moveTo>
                  <a:cubicBezTo>
                    <a:pt x="7776306" y="1824114"/>
                    <a:pt x="7801016" y="1848824"/>
                    <a:pt x="7801016" y="1879305"/>
                  </a:cubicBezTo>
                  <a:cubicBezTo>
                    <a:pt x="7801016" y="1909786"/>
                    <a:pt x="7776306" y="1934496"/>
                    <a:pt x="7745824" y="1934496"/>
                  </a:cubicBezTo>
                  <a:cubicBezTo>
                    <a:pt x="7715342" y="1934496"/>
                    <a:pt x="7690632" y="1909786"/>
                    <a:pt x="7690632" y="1879305"/>
                  </a:cubicBezTo>
                  <a:cubicBezTo>
                    <a:pt x="7690632" y="1848824"/>
                    <a:pt x="7715342" y="1824114"/>
                    <a:pt x="7745824" y="1824114"/>
                  </a:cubicBezTo>
                  <a:close/>
                  <a:moveTo>
                    <a:pt x="7608849" y="1824114"/>
                  </a:moveTo>
                  <a:cubicBezTo>
                    <a:pt x="7639331" y="1824114"/>
                    <a:pt x="7664041" y="1848824"/>
                    <a:pt x="7664041" y="1879305"/>
                  </a:cubicBezTo>
                  <a:cubicBezTo>
                    <a:pt x="7664041" y="1909786"/>
                    <a:pt x="7639331" y="1934496"/>
                    <a:pt x="7608849" y="1934496"/>
                  </a:cubicBezTo>
                  <a:cubicBezTo>
                    <a:pt x="7578367" y="1934496"/>
                    <a:pt x="7553657" y="1909786"/>
                    <a:pt x="7553657" y="1879305"/>
                  </a:cubicBezTo>
                  <a:cubicBezTo>
                    <a:pt x="7553657" y="1848824"/>
                    <a:pt x="7578367" y="1824114"/>
                    <a:pt x="7608849" y="1824114"/>
                  </a:cubicBezTo>
                  <a:close/>
                  <a:moveTo>
                    <a:pt x="7481895" y="1824114"/>
                  </a:moveTo>
                  <a:cubicBezTo>
                    <a:pt x="7512377" y="1824114"/>
                    <a:pt x="7537087" y="1848824"/>
                    <a:pt x="7537087" y="1879305"/>
                  </a:cubicBezTo>
                  <a:cubicBezTo>
                    <a:pt x="7537087" y="1909786"/>
                    <a:pt x="7512377" y="1934496"/>
                    <a:pt x="7481895" y="1934496"/>
                  </a:cubicBezTo>
                  <a:cubicBezTo>
                    <a:pt x="7451413" y="1934496"/>
                    <a:pt x="7426703" y="1909786"/>
                    <a:pt x="7426703" y="1879305"/>
                  </a:cubicBezTo>
                  <a:cubicBezTo>
                    <a:pt x="7426703" y="1848824"/>
                    <a:pt x="7451413" y="1824114"/>
                    <a:pt x="7481895" y="1824114"/>
                  </a:cubicBezTo>
                  <a:close/>
                  <a:moveTo>
                    <a:pt x="7341579" y="1824114"/>
                  </a:moveTo>
                  <a:cubicBezTo>
                    <a:pt x="7372061" y="1824114"/>
                    <a:pt x="7396771" y="1848824"/>
                    <a:pt x="7396771" y="1879305"/>
                  </a:cubicBezTo>
                  <a:cubicBezTo>
                    <a:pt x="7396771" y="1909786"/>
                    <a:pt x="7372061" y="1934496"/>
                    <a:pt x="7341579" y="1934496"/>
                  </a:cubicBezTo>
                  <a:cubicBezTo>
                    <a:pt x="7311097" y="1934496"/>
                    <a:pt x="7286387" y="1909786"/>
                    <a:pt x="7286387" y="1879305"/>
                  </a:cubicBezTo>
                  <a:cubicBezTo>
                    <a:pt x="7286387" y="1848824"/>
                    <a:pt x="7311097" y="1824114"/>
                    <a:pt x="7341579" y="1824114"/>
                  </a:cubicBezTo>
                  <a:close/>
                  <a:moveTo>
                    <a:pt x="7211286" y="1824114"/>
                  </a:moveTo>
                  <a:cubicBezTo>
                    <a:pt x="7241768" y="1824114"/>
                    <a:pt x="7266478" y="1848824"/>
                    <a:pt x="7266478" y="1879305"/>
                  </a:cubicBezTo>
                  <a:cubicBezTo>
                    <a:pt x="7266478" y="1909786"/>
                    <a:pt x="7241768" y="1934496"/>
                    <a:pt x="7211286" y="1934496"/>
                  </a:cubicBezTo>
                  <a:cubicBezTo>
                    <a:pt x="7180804" y="1934496"/>
                    <a:pt x="7156094" y="1909786"/>
                    <a:pt x="7156094" y="1879305"/>
                  </a:cubicBezTo>
                  <a:cubicBezTo>
                    <a:pt x="7156094" y="1848824"/>
                    <a:pt x="7180804" y="1824114"/>
                    <a:pt x="7211286" y="1824114"/>
                  </a:cubicBezTo>
                  <a:close/>
                  <a:moveTo>
                    <a:pt x="7080993" y="1824114"/>
                  </a:moveTo>
                  <a:cubicBezTo>
                    <a:pt x="7111475" y="1824114"/>
                    <a:pt x="7136185" y="1848824"/>
                    <a:pt x="7136185" y="1879305"/>
                  </a:cubicBezTo>
                  <a:cubicBezTo>
                    <a:pt x="7136185" y="1909786"/>
                    <a:pt x="7111475" y="1934496"/>
                    <a:pt x="7080993" y="1934496"/>
                  </a:cubicBezTo>
                  <a:cubicBezTo>
                    <a:pt x="7050511" y="1934496"/>
                    <a:pt x="7025801" y="1909786"/>
                    <a:pt x="7025801" y="1879305"/>
                  </a:cubicBezTo>
                  <a:cubicBezTo>
                    <a:pt x="7025801" y="1848824"/>
                    <a:pt x="7050511" y="1824114"/>
                    <a:pt x="7080993" y="1824114"/>
                  </a:cubicBezTo>
                  <a:close/>
                  <a:moveTo>
                    <a:pt x="6947357" y="1824114"/>
                  </a:moveTo>
                  <a:cubicBezTo>
                    <a:pt x="6977839" y="1824114"/>
                    <a:pt x="7002549" y="1848824"/>
                    <a:pt x="7002549" y="1879305"/>
                  </a:cubicBezTo>
                  <a:cubicBezTo>
                    <a:pt x="7002549" y="1909786"/>
                    <a:pt x="6977839" y="1934496"/>
                    <a:pt x="6947357" y="1934496"/>
                  </a:cubicBezTo>
                  <a:cubicBezTo>
                    <a:pt x="6916875" y="1934496"/>
                    <a:pt x="6892165" y="1909786"/>
                    <a:pt x="6892165" y="1879305"/>
                  </a:cubicBezTo>
                  <a:cubicBezTo>
                    <a:pt x="6892165" y="1848824"/>
                    <a:pt x="6916875" y="1824114"/>
                    <a:pt x="6947357" y="1824114"/>
                  </a:cubicBezTo>
                  <a:close/>
                  <a:moveTo>
                    <a:pt x="6817063" y="1824114"/>
                  </a:moveTo>
                  <a:cubicBezTo>
                    <a:pt x="6847545" y="1824114"/>
                    <a:pt x="6872255" y="1848824"/>
                    <a:pt x="6872255" y="1879305"/>
                  </a:cubicBezTo>
                  <a:cubicBezTo>
                    <a:pt x="6872255" y="1909786"/>
                    <a:pt x="6847545" y="1934496"/>
                    <a:pt x="6817063" y="1934496"/>
                  </a:cubicBezTo>
                  <a:cubicBezTo>
                    <a:pt x="6786581" y="1934496"/>
                    <a:pt x="6761871" y="1909786"/>
                    <a:pt x="6761871" y="1879305"/>
                  </a:cubicBezTo>
                  <a:cubicBezTo>
                    <a:pt x="6761871" y="1848824"/>
                    <a:pt x="6786581" y="1824114"/>
                    <a:pt x="6817063" y="1824114"/>
                  </a:cubicBezTo>
                  <a:close/>
                  <a:moveTo>
                    <a:pt x="6683431" y="1824114"/>
                  </a:moveTo>
                  <a:cubicBezTo>
                    <a:pt x="6713913" y="1824114"/>
                    <a:pt x="6738623" y="1848824"/>
                    <a:pt x="6738623" y="1879305"/>
                  </a:cubicBezTo>
                  <a:cubicBezTo>
                    <a:pt x="6738623" y="1909786"/>
                    <a:pt x="6713913" y="1934496"/>
                    <a:pt x="6683431" y="1934496"/>
                  </a:cubicBezTo>
                  <a:cubicBezTo>
                    <a:pt x="6652949" y="1934496"/>
                    <a:pt x="6628239" y="1909786"/>
                    <a:pt x="6628239" y="1879305"/>
                  </a:cubicBezTo>
                  <a:cubicBezTo>
                    <a:pt x="6628239" y="1848824"/>
                    <a:pt x="6652949" y="1824114"/>
                    <a:pt x="6683431" y="1824114"/>
                  </a:cubicBezTo>
                  <a:close/>
                  <a:moveTo>
                    <a:pt x="6553137" y="1824114"/>
                  </a:moveTo>
                  <a:cubicBezTo>
                    <a:pt x="6583619" y="1824114"/>
                    <a:pt x="6608329" y="1848824"/>
                    <a:pt x="6608329" y="1879305"/>
                  </a:cubicBezTo>
                  <a:cubicBezTo>
                    <a:pt x="6608329" y="1909786"/>
                    <a:pt x="6583619" y="1934496"/>
                    <a:pt x="6553137" y="1934496"/>
                  </a:cubicBezTo>
                  <a:cubicBezTo>
                    <a:pt x="6522655" y="1934496"/>
                    <a:pt x="6497945" y="1909786"/>
                    <a:pt x="6497945" y="1879305"/>
                  </a:cubicBezTo>
                  <a:cubicBezTo>
                    <a:pt x="6497945" y="1848824"/>
                    <a:pt x="6522655" y="1824114"/>
                    <a:pt x="6553137" y="1824114"/>
                  </a:cubicBezTo>
                  <a:close/>
                  <a:moveTo>
                    <a:pt x="6289207" y="1824114"/>
                  </a:moveTo>
                  <a:cubicBezTo>
                    <a:pt x="6319689" y="1824114"/>
                    <a:pt x="6344399" y="1848824"/>
                    <a:pt x="6344399" y="1879305"/>
                  </a:cubicBezTo>
                  <a:cubicBezTo>
                    <a:pt x="6344399" y="1909786"/>
                    <a:pt x="6319689" y="1934496"/>
                    <a:pt x="6289207" y="1934496"/>
                  </a:cubicBezTo>
                  <a:cubicBezTo>
                    <a:pt x="6258725" y="1934496"/>
                    <a:pt x="6234015" y="1909786"/>
                    <a:pt x="6234015" y="1879305"/>
                  </a:cubicBezTo>
                  <a:cubicBezTo>
                    <a:pt x="6234015" y="1848824"/>
                    <a:pt x="6258725" y="1824114"/>
                    <a:pt x="6289207" y="1824114"/>
                  </a:cubicBezTo>
                  <a:close/>
                  <a:moveTo>
                    <a:pt x="6155572" y="1824114"/>
                  </a:moveTo>
                  <a:cubicBezTo>
                    <a:pt x="6186054" y="1824114"/>
                    <a:pt x="6210764" y="1848824"/>
                    <a:pt x="6210764" y="1879305"/>
                  </a:cubicBezTo>
                  <a:cubicBezTo>
                    <a:pt x="6210764" y="1909786"/>
                    <a:pt x="6186054" y="1934496"/>
                    <a:pt x="6155572" y="1934496"/>
                  </a:cubicBezTo>
                  <a:cubicBezTo>
                    <a:pt x="6125090" y="1934496"/>
                    <a:pt x="6100380" y="1909786"/>
                    <a:pt x="6100380" y="1879305"/>
                  </a:cubicBezTo>
                  <a:cubicBezTo>
                    <a:pt x="6100380" y="1848824"/>
                    <a:pt x="6125090" y="1824114"/>
                    <a:pt x="6155572" y="1824114"/>
                  </a:cubicBezTo>
                  <a:close/>
                  <a:moveTo>
                    <a:pt x="6021938" y="1824114"/>
                  </a:moveTo>
                  <a:cubicBezTo>
                    <a:pt x="6052420" y="1824114"/>
                    <a:pt x="6077130" y="1848824"/>
                    <a:pt x="6077130" y="1879305"/>
                  </a:cubicBezTo>
                  <a:cubicBezTo>
                    <a:pt x="6077130" y="1909786"/>
                    <a:pt x="6052420" y="1934496"/>
                    <a:pt x="6021938" y="1934496"/>
                  </a:cubicBezTo>
                  <a:cubicBezTo>
                    <a:pt x="5991456" y="1934496"/>
                    <a:pt x="5966746" y="1909786"/>
                    <a:pt x="5966746" y="1879305"/>
                  </a:cubicBezTo>
                  <a:cubicBezTo>
                    <a:pt x="5966746" y="1848824"/>
                    <a:pt x="5991456" y="1824114"/>
                    <a:pt x="6021938" y="1824114"/>
                  </a:cubicBezTo>
                  <a:close/>
                  <a:moveTo>
                    <a:pt x="5884964" y="1824114"/>
                  </a:moveTo>
                  <a:cubicBezTo>
                    <a:pt x="5915446" y="1824114"/>
                    <a:pt x="5940156" y="1848824"/>
                    <a:pt x="5940156" y="1879305"/>
                  </a:cubicBezTo>
                  <a:cubicBezTo>
                    <a:pt x="5940156" y="1909786"/>
                    <a:pt x="5915446" y="1934496"/>
                    <a:pt x="5884964" y="1934496"/>
                  </a:cubicBezTo>
                  <a:cubicBezTo>
                    <a:pt x="5854482" y="1934496"/>
                    <a:pt x="5829772" y="1909786"/>
                    <a:pt x="5829772" y="1879305"/>
                  </a:cubicBezTo>
                  <a:cubicBezTo>
                    <a:pt x="5829772" y="1848824"/>
                    <a:pt x="5854482" y="1824114"/>
                    <a:pt x="5884964" y="1824114"/>
                  </a:cubicBezTo>
                  <a:close/>
                  <a:moveTo>
                    <a:pt x="5754670" y="1824114"/>
                  </a:moveTo>
                  <a:cubicBezTo>
                    <a:pt x="5785152" y="1824114"/>
                    <a:pt x="5809862" y="1848824"/>
                    <a:pt x="5809862" y="1879305"/>
                  </a:cubicBezTo>
                  <a:cubicBezTo>
                    <a:pt x="5809862" y="1909786"/>
                    <a:pt x="5785152" y="1934496"/>
                    <a:pt x="5754670" y="1934496"/>
                  </a:cubicBezTo>
                  <a:cubicBezTo>
                    <a:pt x="5724188" y="1934496"/>
                    <a:pt x="5699478" y="1909786"/>
                    <a:pt x="5699478" y="1879305"/>
                  </a:cubicBezTo>
                  <a:cubicBezTo>
                    <a:pt x="5699478" y="1848824"/>
                    <a:pt x="5724188" y="1824114"/>
                    <a:pt x="5754670" y="1824114"/>
                  </a:cubicBezTo>
                  <a:close/>
                  <a:moveTo>
                    <a:pt x="5487399" y="1824114"/>
                  </a:moveTo>
                  <a:cubicBezTo>
                    <a:pt x="5517881" y="1824114"/>
                    <a:pt x="5542591" y="1848824"/>
                    <a:pt x="5542591" y="1879305"/>
                  </a:cubicBezTo>
                  <a:cubicBezTo>
                    <a:pt x="5542591" y="1909786"/>
                    <a:pt x="5517881" y="1934496"/>
                    <a:pt x="5487399" y="1934496"/>
                  </a:cubicBezTo>
                  <a:cubicBezTo>
                    <a:pt x="5456917" y="1934496"/>
                    <a:pt x="5432207" y="1909786"/>
                    <a:pt x="5432207" y="1879305"/>
                  </a:cubicBezTo>
                  <a:cubicBezTo>
                    <a:pt x="5432207" y="1848824"/>
                    <a:pt x="5456917" y="1824114"/>
                    <a:pt x="5487399" y="1824114"/>
                  </a:cubicBezTo>
                  <a:close/>
                  <a:moveTo>
                    <a:pt x="5357105" y="1824114"/>
                  </a:moveTo>
                  <a:cubicBezTo>
                    <a:pt x="5387587" y="1824114"/>
                    <a:pt x="5412297" y="1848824"/>
                    <a:pt x="5412297" y="1879305"/>
                  </a:cubicBezTo>
                  <a:cubicBezTo>
                    <a:pt x="5412297" y="1909786"/>
                    <a:pt x="5387587" y="1934496"/>
                    <a:pt x="5357105" y="1934496"/>
                  </a:cubicBezTo>
                  <a:cubicBezTo>
                    <a:pt x="5326623" y="1934496"/>
                    <a:pt x="5301913" y="1909786"/>
                    <a:pt x="5301913" y="1879305"/>
                  </a:cubicBezTo>
                  <a:cubicBezTo>
                    <a:pt x="5301913" y="1848824"/>
                    <a:pt x="5326623" y="1824114"/>
                    <a:pt x="5357105" y="1824114"/>
                  </a:cubicBezTo>
                  <a:close/>
                  <a:moveTo>
                    <a:pt x="5223473" y="1824114"/>
                  </a:moveTo>
                  <a:cubicBezTo>
                    <a:pt x="5253955" y="1824114"/>
                    <a:pt x="5278665" y="1848824"/>
                    <a:pt x="5278665" y="1879305"/>
                  </a:cubicBezTo>
                  <a:cubicBezTo>
                    <a:pt x="5278665" y="1909786"/>
                    <a:pt x="5253955" y="1934496"/>
                    <a:pt x="5223473" y="1934496"/>
                  </a:cubicBezTo>
                  <a:cubicBezTo>
                    <a:pt x="5192991" y="1934496"/>
                    <a:pt x="5168281" y="1909786"/>
                    <a:pt x="5168281" y="1879305"/>
                  </a:cubicBezTo>
                  <a:cubicBezTo>
                    <a:pt x="5168281" y="1848824"/>
                    <a:pt x="5192991" y="1824114"/>
                    <a:pt x="5223473" y="1824114"/>
                  </a:cubicBezTo>
                  <a:close/>
                  <a:moveTo>
                    <a:pt x="5093178" y="1824114"/>
                  </a:moveTo>
                  <a:cubicBezTo>
                    <a:pt x="5123660" y="1824114"/>
                    <a:pt x="5148370" y="1848824"/>
                    <a:pt x="5148370" y="1879305"/>
                  </a:cubicBezTo>
                  <a:cubicBezTo>
                    <a:pt x="5148370" y="1909786"/>
                    <a:pt x="5123660" y="1934496"/>
                    <a:pt x="5093178" y="1934496"/>
                  </a:cubicBezTo>
                  <a:cubicBezTo>
                    <a:pt x="5062696" y="1934496"/>
                    <a:pt x="5037986" y="1909786"/>
                    <a:pt x="5037986" y="1879305"/>
                  </a:cubicBezTo>
                  <a:cubicBezTo>
                    <a:pt x="5037986" y="1848824"/>
                    <a:pt x="5062696" y="1824114"/>
                    <a:pt x="5093178" y="1824114"/>
                  </a:cubicBezTo>
                  <a:close/>
                  <a:moveTo>
                    <a:pt x="4959543" y="1824114"/>
                  </a:moveTo>
                  <a:cubicBezTo>
                    <a:pt x="4990025" y="1824114"/>
                    <a:pt x="5014735" y="1848824"/>
                    <a:pt x="5014735" y="1879305"/>
                  </a:cubicBezTo>
                  <a:cubicBezTo>
                    <a:pt x="5014735" y="1909786"/>
                    <a:pt x="4990025" y="1934496"/>
                    <a:pt x="4959543" y="1934496"/>
                  </a:cubicBezTo>
                  <a:cubicBezTo>
                    <a:pt x="4929061" y="1934496"/>
                    <a:pt x="4904351" y="1909786"/>
                    <a:pt x="4904351" y="1879305"/>
                  </a:cubicBezTo>
                  <a:cubicBezTo>
                    <a:pt x="4904351" y="1848824"/>
                    <a:pt x="4929061" y="1824114"/>
                    <a:pt x="4959543" y="1824114"/>
                  </a:cubicBezTo>
                  <a:close/>
                  <a:moveTo>
                    <a:pt x="4829250" y="1824114"/>
                  </a:moveTo>
                  <a:cubicBezTo>
                    <a:pt x="4859732" y="1824114"/>
                    <a:pt x="4884442" y="1848824"/>
                    <a:pt x="4884442" y="1879305"/>
                  </a:cubicBezTo>
                  <a:cubicBezTo>
                    <a:pt x="4884442" y="1909786"/>
                    <a:pt x="4859732" y="1934496"/>
                    <a:pt x="4829250" y="1934496"/>
                  </a:cubicBezTo>
                  <a:cubicBezTo>
                    <a:pt x="4798768" y="1934496"/>
                    <a:pt x="4774058" y="1909786"/>
                    <a:pt x="4774058" y="1879305"/>
                  </a:cubicBezTo>
                  <a:cubicBezTo>
                    <a:pt x="4774058" y="1848824"/>
                    <a:pt x="4798768" y="1824114"/>
                    <a:pt x="4829250" y="1824114"/>
                  </a:cubicBezTo>
                  <a:close/>
                  <a:moveTo>
                    <a:pt x="4695613" y="1824114"/>
                  </a:moveTo>
                  <a:cubicBezTo>
                    <a:pt x="4726095" y="1824114"/>
                    <a:pt x="4750805" y="1848824"/>
                    <a:pt x="4750805" y="1879305"/>
                  </a:cubicBezTo>
                  <a:cubicBezTo>
                    <a:pt x="4750805" y="1909786"/>
                    <a:pt x="4726095" y="1934496"/>
                    <a:pt x="4695613" y="1934496"/>
                  </a:cubicBezTo>
                  <a:cubicBezTo>
                    <a:pt x="4665131" y="1934496"/>
                    <a:pt x="4640421" y="1909786"/>
                    <a:pt x="4640421" y="1879305"/>
                  </a:cubicBezTo>
                  <a:cubicBezTo>
                    <a:pt x="4640421" y="1848824"/>
                    <a:pt x="4665131" y="1824114"/>
                    <a:pt x="4695613" y="1824114"/>
                  </a:cubicBezTo>
                  <a:close/>
                  <a:moveTo>
                    <a:pt x="2834762" y="1824114"/>
                  </a:moveTo>
                  <a:cubicBezTo>
                    <a:pt x="2865244" y="1824114"/>
                    <a:pt x="2889954" y="1848824"/>
                    <a:pt x="2889954" y="1879305"/>
                  </a:cubicBezTo>
                  <a:cubicBezTo>
                    <a:pt x="2889954" y="1909786"/>
                    <a:pt x="2865244" y="1934496"/>
                    <a:pt x="2834762" y="1934496"/>
                  </a:cubicBezTo>
                  <a:cubicBezTo>
                    <a:pt x="2804280" y="1934496"/>
                    <a:pt x="2779570" y="1909786"/>
                    <a:pt x="2779570" y="1879305"/>
                  </a:cubicBezTo>
                  <a:cubicBezTo>
                    <a:pt x="2779570" y="1848824"/>
                    <a:pt x="2804280" y="1824114"/>
                    <a:pt x="2834762" y="1824114"/>
                  </a:cubicBezTo>
                  <a:close/>
                  <a:moveTo>
                    <a:pt x="2707807" y="1824114"/>
                  </a:moveTo>
                  <a:cubicBezTo>
                    <a:pt x="2738289" y="1824114"/>
                    <a:pt x="2762999" y="1848824"/>
                    <a:pt x="2762999" y="1879305"/>
                  </a:cubicBezTo>
                  <a:cubicBezTo>
                    <a:pt x="2762999" y="1909786"/>
                    <a:pt x="2738289" y="1934496"/>
                    <a:pt x="2707807" y="1934496"/>
                  </a:cubicBezTo>
                  <a:cubicBezTo>
                    <a:pt x="2677325" y="1934496"/>
                    <a:pt x="2652615" y="1909786"/>
                    <a:pt x="2652615" y="1879305"/>
                  </a:cubicBezTo>
                  <a:cubicBezTo>
                    <a:pt x="2652615" y="1848824"/>
                    <a:pt x="2677325" y="1824114"/>
                    <a:pt x="2707807" y="1824114"/>
                  </a:cubicBezTo>
                  <a:close/>
                  <a:moveTo>
                    <a:pt x="2570834" y="1824114"/>
                  </a:moveTo>
                  <a:cubicBezTo>
                    <a:pt x="2601315" y="1824114"/>
                    <a:pt x="2626025" y="1848824"/>
                    <a:pt x="2626025" y="1879305"/>
                  </a:cubicBezTo>
                  <a:cubicBezTo>
                    <a:pt x="2626025" y="1909786"/>
                    <a:pt x="2601315" y="1934496"/>
                    <a:pt x="2570834" y="1934496"/>
                  </a:cubicBezTo>
                  <a:cubicBezTo>
                    <a:pt x="2540351" y="1934496"/>
                    <a:pt x="2515641" y="1909786"/>
                    <a:pt x="2515641" y="1879305"/>
                  </a:cubicBezTo>
                  <a:cubicBezTo>
                    <a:pt x="2515641" y="1848824"/>
                    <a:pt x="2540351" y="1824114"/>
                    <a:pt x="2570834" y="1824114"/>
                  </a:cubicBezTo>
                  <a:close/>
                  <a:moveTo>
                    <a:pt x="2437196" y="1824114"/>
                  </a:moveTo>
                  <a:cubicBezTo>
                    <a:pt x="2467679" y="1824114"/>
                    <a:pt x="2492389" y="1848824"/>
                    <a:pt x="2492389" y="1879305"/>
                  </a:cubicBezTo>
                  <a:cubicBezTo>
                    <a:pt x="2492389" y="1909786"/>
                    <a:pt x="2467679" y="1934496"/>
                    <a:pt x="2437196" y="1934496"/>
                  </a:cubicBezTo>
                  <a:cubicBezTo>
                    <a:pt x="2406715" y="1934496"/>
                    <a:pt x="2382005" y="1909786"/>
                    <a:pt x="2382005" y="1879305"/>
                  </a:cubicBezTo>
                  <a:cubicBezTo>
                    <a:pt x="2382005" y="1848824"/>
                    <a:pt x="2406715" y="1824114"/>
                    <a:pt x="2437196" y="1824114"/>
                  </a:cubicBezTo>
                  <a:close/>
                  <a:moveTo>
                    <a:pt x="2303564" y="1824114"/>
                  </a:moveTo>
                  <a:cubicBezTo>
                    <a:pt x="2334046" y="1824114"/>
                    <a:pt x="2358756" y="1848824"/>
                    <a:pt x="2358756" y="1879305"/>
                  </a:cubicBezTo>
                  <a:cubicBezTo>
                    <a:pt x="2358756" y="1909786"/>
                    <a:pt x="2334046" y="1934496"/>
                    <a:pt x="2303564" y="1934496"/>
                  </a:cubicBezTo>
                  <a:cubicBezTo>
                    <a:pt x="2273082" y="1934496"/>
                    <a:pt x="2248372" y="1909786"/>
                    <a:pt x="2248372" y="1879305"/>
                  </a:cubicBezTo>
                  <a:cubicBezTo>
                    <a:pt x="2248372" y="1848824"/>
                    <a:pt x="2273082" y="1824114"/>
                    <a:pt x="2303564" y="1824114"/>
                  </a:cubicBezTo>
                  <a:close/>
                  <a:moveTo>
                    <a:pt x="2173271" y="1824114"/>
                  </a:moveTo>
                  <a:cubicBezTo>
                    <a:pt x="2203753" y="1824114"/>
                    <a:pt x="2228463" y="1848824"/>
                    <a:pt x="2228463" y="1879305"/>
                  </a:cubicBezTo>
                  <a:cubicBezTo>
                    <a:pt x="2228463" y="1909786"/>
                    <a:pt x="2203753" y="1934496"/>
                    <a:pt x="2173271" y="1934496"/>
                  </a:cubicBezTo>
                  <a:cubicBezTo>
                    <a:pt x="2142789" y="1934496"/>
                    <a:pt x="2118079" y="1909786"/>
                    <a:pt x="2118079" y="1879305"/>
                  </a:cubicBezTo>
                  <a:cubicBezTo>
                    <a:pt x="2118079" y="1848824"/>
                    <a:pt x="2142789" y="1824114"/>
                    <a:pt x="2173271" y="1824114"/>
                  </a:cubicBezTo>
                  <a:close/>
                  <a:moveTo>
                    <a:pt x="2039637" y="1824114"/>
                  </a:moveTo>
                  <a:cubicBezTo>
                    <a:pt x="2070119" y="1824114"/>
                    <a:pt x="2094830" y="1848824"/>
                    <a:pt x="2094830" y="1879305"/>
                  </a:cubicBezTo>
                  <a:cubicBezTo>
                    <a:pt x="2094830" y="1909786"/>
                    <a:pt x="2070119" y="1934496"/>
                    <a:pt x="2039637" y="1934496"/>
                  </a:cubicBezTo>
                  <a:cubicBezTo>
                    <a:pt x="2009155" y="1934496"/>
                    <a:pt x="1984445" y="1909786"/>
                    <a:pt x="1984445" y="1879305"/>
                  </a:cubicBezTo>
                  <a:cubicBezTo>
                    <a:pt x="1984445" y="1848824"/>
                    <a:pt x="2009155" y="1824114"/>
                    <a:pt x="2039637" y="1824114"/>
                  </a:cubicBezTo>
                  <a:close/>
                  <a:moveTo>
                    <a:pt x="1909341" y="1824114"/>
                  </a:moveTo>
                  <a:cubicBezTo>
                    <a:pt x="1939823" y="1824114"/>
                    <a:pt x="1964533" y="1848824"/>
                    <a:pt x="1964533" y="1879305"/>
                  </a:cubicBezTo>
                  <a:cubicBezTo>
                    <a:pt x="1964533" y="1909786"/>
                    <a:pt x="1939823" y="1934496"/>
                    <a:pt x="1909341" y="1934496"/>
                  </a:cubicBezTo>
                  <a:cubicBezTo>
                    <a:pt x="1878859" y="1934496"/>
                    <a:pt x="1854149" y="1909786"/>
                    <a:pt x="1854149" y="1879305"/>
                  </a:cubicBezTo>
                  <a:cubicBezTo>
                    <a:pt x="1854149" y="1848824"/>
                    <a:pt x="1878859" y="1824114"/>
                    <a:pt x="1909341" y="1824114"/>
                  </a:cubicBezTo>
                  <a:close/>
                  <a:moveTo>
                    <a:pt x="1779049" y="1824114"/>
                  </a:moveTo>
                  <a:cubicBezTo>
                    <a:pt x="1809531" y="1824114"/>
                    <a:pt x="1834241" y="1848824"/>
                    <a:pt x="1834241" y="1879305"/>
                  </a:cubicBezTo>
                  <a:cubicBezTo>
                    <a:pt x="1834241" y="1909786"/>
                    <a:pt x="1809531" y="1934496"/>
                    <a:pt x="1779049" y="1934496"/>
                  </a:cubicBezTo>
                  <a:cubicBezTo>
                    <a:pt x="1748566" y="1934496"/>
                    <a:pt x="1723856" y="1909786"/>
                    <a:pt x="1723856" y="1879305"/>
                  </a:cubicBezTo>
                  <a:cubicBezTo>
                    <a:pt x="1723856" y="1848824"/>
                    <a:pt x="1748566" y="1824114"/>
                    <a:pt x="1779049" y="1824114"/>
                  </a:cubicBezTo>
                  <a:close/>
                  <a:moveTo>
                    <a:pt x="1645413" y="1824114"/>
                  </a:moveTo>
                  <a:cubicBezTo>
                    <a:pt x="1675895" y="1824114"/>
                    <a:pt x="1700604" y="1848824"/>
                    <a:pt x="1700604" y="1879305"/>
                  </a:cubicBezTo>
                  <a:cubicBezTo>
                    <a:pt x="1700604" y="1909786"/>
                    <a:pt x="1675895" y="1934496"/>
                    <a:pt x="1645413" y="1934496"/>
                  </a:cubicBezTo>
                  <a:cubicBezTo>
                    <a:pt x="1614930" y="1934496"/>
                    <a:pt x="1590220" y="1909786"/>
                    <a:pt x="1590220" y="1879305"/>
                  </a:cubicBezTo>
                  <a:cubicBezTo>
                    <a:pt x="1590220" y="1848824"/>
                    <a:pt x="1614930" y="1824114"/>
                    <a:pt x="1645413" y="1824114"/>
                  </a:cubicBezTo>
                  <a:close/>
                  <a:moveTo>
                    <a:pt x="1515120" y="1824114"/>
                  </a:moveTo>
                  <a:cubicBezTo>
                    <a:pt x="1545602" y="1824114"/>
                    <a:pt x="1570311" y="1848824"/>
                    <a:pt x="1570311" y="1879305"/>
                  </a:cubicBezTo>
                  <a:cubicBezTo>
                    <a:pt x="1570311" y="1909786"/>
                    <a:pt x="1545602" y="1934496"/>
                    <a:pt x="1515120" y="1934496"/>
                  </a:cubicBezTo>
                  <a:cubicBezTo>
                    <a:pt x="1484638" y="1934496"/>
                    <a:pt x="1459927" y="1909786"/>
                    <a:pt x="1459927" y="1879305"/>
                  </a:cubicBezTo>
                  <a:cubicBezTo>
                    <a:pt x="1459927" y="1848824"/>
                    <a:pt x="1484638" y="1824114"/>
                    <a:pt x="1515120" y="1824114"/>
                  </a:cubicBezTo>
                  <a:close/>
                  <a:moveTo>
                    <a:pt x="1381486" y="1824114"/>
                  </a:moveTo>
                  <a:cubicBezTo>
                    <a:pt x="1411968" y="1824114"/>
                    <a:pt x="1436678" y="1848824"/>
                    <a:pt x="1436678" y="1879305"/>
                  </a:cubicBezTo>
                  <a:cubicBezTo>
                    <a:pt x="1436678" y="1909786"/>
                    <a:pt x="1411968" y="1934496"/>
                    <a:pt x="1381486" y="1934496"/>
                  </a:cubicBezTo>
                  <a:cubicBezTo>
                    <a:pt x="1351005" y="1934496"/>
                    <a:pt x="1326294" y="1909786"/>
                    <a:pt x="1326294" y="1879305"/>
                  </a:cubicBezTo>
                  <a:cubicBezTo>
                    <a:pt x="1326294" y="1848824"/>
                    <a:pt x="1351005" y="1824114"/>
                    <a:pt x="1381486" y="1824114"/>
                  </a:cubicBezTo>
                  <a:close/>
                  <a:moveTo>
                    <a:pt x="1251193" y="1824114"/>
                  </a:moveTo>
                  <a:cubicBezTo>
                    <a:pt x="1281674" y="1824114"/>
                    <a:pt x="1306386" y="1848824"/>
                    <a:pt x="1306386" y="1879305"/>
                  </a:cubicBezTo>
                  <a:cubicBezTo>
                    <a:pt x="1306386" y="1909786"/>
                    <a:pt x="1281674" y="1934496"/>
                    <a:pt x="1251193" y="1934496"/>
                  </a:cubicBezTo>
                  <a:cubicBezTo>
                    <a:pt x="1220711" y="1934496"/>
                    <a:pt x="1196001" y="1909786"/>
                    <a:pt x="1196001" y="1879305"/>
                  </a:cubicBezTo>
                  <a:cubicBezTo>
                    <a:pt x="1196001" y="1848824"/>
                    <a:pt x="1220711" y="1824114"/>
                    <a:pt x="1251193" y="1824114"/>
                  </a:cubicBezTo>
                  <a:close/>
                  <a:moveTo>
                    <a:pt x="4565336" y="1824106"/>
                  </a:moveTo>
                  <a:cubicBezTo>
                    <a:pt x="4595818" y="1824106"/>
                    <a:pt x="4620528" y="1848816"/>
                    <a:pt x="4620528" y="1879297"/>
                  </a:cubicBezTo>
                  <a:cubicBezTo>
                    <a:pt x="4620528" y="1909778"/>
                    <a:pt x="4595818" y="1934488"/>
                    <a:pt x="4565336" y="1934488"/>
                  </a:cubicBezTo>
                  <a:cubicBezTo>
                    <a:pt x="4534854" y="1934488"/>
                    <a:pt x="4510144" y="1909778"/>
                    <a:pt x="4510144" y="1879297"/>
                  </a:cubicBezTo>
                  <a:cubicBezTo>
                    <a:pt x="4510144" y="1848816"/>
                    <a:pt x="4534854" y="1824106"/>
                    <a:pt x="4565336" y="1824106"/>
                  </a:cubicBezTo>
                  <a:close/>
                  <a:moveTo>
                    <a:pt x="4431689" y="1824098"/>
                  </a:moveTo>
                  <a:cubicBezTo>
                    <a:pt x="4462171" y="1824098"/>
                    <a:pt x="4486881" y="1848808"/>
                    <a:pt x="4486881" y="1879289"/>
                  </a:cubicBezTo>
                  <a:cubicBezTo>
                    <a:pt x="4486881" y="1909770"/>
                    <a:pt x="4462171" y="1934480"/>
                    <a:pt x="4431689" y="1934480"/>
                  </a:cubicBezTo>
                  <a:cubicBezTo>
                    <a:pt x="4401207" y="1934480"/>
                    <a:pt x="4376497" y="1909770"/>
                    <a:pt x="4376497" y="1879289"/>
                  </a:cubicBezTo>
                  <a:cubicBezTo>
                    <a:pt x="4376497" y="1848808"/>
                    <a:pt x="4401207" y="1824098"/>
                    <a:pt x="4431689" y="1824098"/>
                  </a:cubicBezTo>
                  <a:close/>
                  <a:moveTo>
                    <a:pt x="8801537" y="1707182"/>
                  </a:moveTo>
                  <a:cubicBezTo>
                    <a:pt x="8832019" y="1707182"/>
                    <a:pt x="8856729" y="1731892"/>
                    <a:pt x="8856729" y="1762373"/>
                  </a:cubicBezTo>
                  <a:cubicBezTo>
                    <a:pt x="8856729" y="1792854"/>
                    <a:pt x="8832019" y="1817564"/>
                    <a:pt x="8801537" y="1817564"/>
                  </a:cubicBezTo>
                  <a:cubicBezTo>
                    <a:pt x="8771055" y="1817564"/>
                    <a:pt x="8746345" y="1792854"/>
                    <a:pt x="8746345" y="1762373"/>
                  </a:cubicBezTo>
                  <a:cubicBezTo>
                    <a:pt x="8746345" y="1731892"/>
                    <a:pt x="8771055" y="1707182"/>
                    <a:pt x="8801537" y="1707182"/>
                  </a:cubicBezTo>
                  <a:close/>
                  <a:moveTo>
                    <a:pt x="8671243" y="1707182"/>
                  </a:moveTo>
                  <a:cubicBezTo>
                    <a:pt x="8701725" y="1707182"/>
                    <a:pt x="8726435" y="1731892"/>
                    <a:pt x="8726435" y="1762373"/>
                  </a:cubicBezTo>
                  <a:cubicBezTo>
                    <a:pt x="8726435" y="1792854"/>
                    <a:pt x="8701725" y="1817564"/>
                    <a:pt x="8671243" y="1817564"/>
                  </a:cubicBezTo>
                  <a:cubicBezTo>
                    <a:pt x="8640761" y="1817564"/>
                    <a:pt x="8616051" y="1792854"/>
                    <a:pt x="8616051" y="1762373"/>
                  </a:cubicBezTo>
                  <a:cubicBezTo>
                    <a:pt x="8616051" y="1731892"/>
                    <a:pt x="8640761" y="1707182"/>
                    <a:pt x="8671243" y="1707182"/>
                  </a:cubicBezTo>
                  <a:close/>
                  <a:moveTo>
                    <a:pt x="8537609" y="1707182"/>
                  </a:moveTo>
                  <a:cubicBezTo>
                    <a:pt x="8568091" y="1707182"/>
                    <a:pt x="8592801" y="1731892"/>
                    <a:pt x="8592801" y="1762373"/>
                  </a:cubicBezTo>
                  <a:cubicBezTo>
                    <a:pt x="8592801" y="1792854"/>
                    <a:pt x="8568091" y="1817564"/>
                    <a:pt x="8537609" y="1817564"/>
                  </a:cubicBezTo>
                  <a:cubicBezTo>
                    <a:pt x="8507127" y="1817564"/>
                    <a:pt x="8482417" y="1792854"/>
                    <a:pt x="8482417" y="1762373"/>
                  </a:cubicBezTo>
                  <a:cubicBezTo>
                    <a:pt x="8482417" y="1731892"/>
                    <a:pt x="8507127" y="1707182"/>
                    <a:pt x="8537609" y="1707182"/>
                  </a:cubicBezTo>
                  <a:close/>
                  <a:moveTo>
                    <a:pt x="8407318" y="1707182"/>
                  </a:moveTo>
                  <a:cubicBezTo>
                    <a:pt x="8437800" y="1707182"/>
                    <a:pt x="8462510" y="1731892"/>
                    <a:pt x="8462510" y="1762373"/>
                  </a:cubicBezTo>
                  <a:cubicBezTo>
                    <a:pt x="8462510" y="1792854"/>
                    <a:pt x="8437800" y="1817564"/>
                    <a:pt x="8407318" y="1817564"/>
                  </a:cubicBezTo>
                  <a:cubicBezTo>
                    <a:pt x="8376836" y="1817564"/>
                    <a:pt x="8352126" y="1792854"/>
                    <a:pt x="8352126" y="1762373"/>
                  </a:cubicBezTo>
                  <a:cubicBezTo>
                    <a:pt x="8352126" y="1731892"/>
                    <a:pt x="8376836" y="1707182"/>
                    <a:pt x="8407318" y="1707182"/>
                  </a:cubicBezTo>
                  <a:close/>
                  <a:moveTo>
                    <a:pt x="8273682" y="1707182"/>
                  </a:moveTo>
                  <a:cubicBezTo>
                    <a:pt x="8304164" y="1707182"/>
                    <a:pt x="8328874" y="1731892"/>
                    <a:pt x="8328874" y="1762373"/>
                  </a:cubicBezTo>
                  <a:cubicBezTo>
                    <a:pt x="8328874" y="1792854"/>
                    <a:pt x="8304164" y="1817564"/>
                    <a:pt x="8273682" y="1817564"/>
                  </a:cubicBezTo>
                  <a:cubicBezTo>
                    <a:pt x="8243200" y="1817564"/>
                    <a:pt x="8218490" y="1792854"/>
                    <a:pt x="8218490" y="1762373"/>
                  </a:cubicBezTo>
                  <a:cubicBezTo>
                    <a:pt x="8218490" y="1731892"/>
                    <a:pt x="8243200" y="1707182"/>
                    <a:pt x="8273682" y="1707182"/>
                  </a:cubicBezTo>
                  <a:close/>
                  <a:moveTo>
                    <a:pt x="8143386" y="1707182"/>
                  </a:moveTo>
                  <a:cubicBezTo>
                    <a:pt x="8173868" y="1707182"/>
                    <a:pt x="8198578" y="1731892"/>
                    <a:pt x="8198578" y="1762373"/>
                  </a:cubicBezTo>
                  <a:cubicBezTo>
                    <a:pt x="8198578" y="1792854"/>
                    <a:pt x="8173868" y="1817564"/>
                    <a:pt x="8143386" y="1817564"/>
                  </a:cubicBezTo>
                  <a:cubicBezTo>
                    <a:pt x="8112904" y="1817564"/>
                    <a:pt x="8088194" y="1792854"/>
                    <a:pt x="8088194" y="1762373"/>
                  </a:cubicBezTo>
                  <a:cubicBezTo>
                    <a:pt x="8088194" y="1731892"/>
                    <a:pt x="8112904" y="1707182"/>
                    <a:pt x="8143386" y="1707182"/>
                  </a:cubicBezTo>
                  <a:close/>
                  <a:moveTo>
                    <a:pt x="8009752" y="1707182"/>
                  </a:moveTo>
                  <a:cubicBezTo>
                    <a:pt x="8040234" y="1707182"/>
                    <a:pt x="8064944" y="1731892"/>
                    <a:pt x="8064944" y="1762373"/>
                  </a:cubicBezTo>
                  <a:cubicBezTo>
                    <a:pt x="8064944" y="1792854"/>
                    <a:pt x="8040234" y="1817564"/>
                    <a:pt x="8009752" y="1817564"/>
                  </a:cubicBezTo>
                  <a:cubicBezTo>
                    <a:pt x="7979270" y="1817564"/>
                    <a:pt x="7954560" y="1792854"/>
                    <a:pt x="7954560" y="1762373"/>
                  </a:cubicBezTo>
                  <a:cubicBezTo>
                    <a:pt x="7954560" y="1731892"/>
                    <a:pt x="7979270" y="1707182"/>
                    <a:pt x="8009752" y="1707182"/>
                  </a:cubicBezTo>
                  <a:close/>
                  <a:moveTo>
                    <a:pt x="7876117" y="1707182"/>
                  </a:moveTo>
                  <a:cubicBezTo>
                    <a:pt x="7906599" y="1707182"/>
                    <a:pt x="7931309" y="1731892"/>
                    <a:pt x="7931309" y="1762373"/>
                  </a:cubicBezTo>
                  <a:cubicBezTo>
                    <a:pt x="7931309" y="1792854"/>
                    <a:pt x="7906599" y="1817564"/>
                    <a:pt x="7876117" y="1817564"/>
                  </a:cubicBezTo>
                  <a:cubicBezTo>
                    <a:pt x="7845635" y="1817564"/>
                    <a:pt x="7820925" y="1792854"/>
                    <a:pt x="7820925" y="1762373"/>
                  </a:cubicBezTo>
                  <a:cubicBezTo>
                    <a:pt x="7820925" y="1731892"/>
                    <a:pt x="7845635" y="1707182"/>
                    <a:pt x="7876117" y="1707182"/>
                  </a:cubicBezTo>
                  <a:close/>
                  <a:moveTo>
                    <a:pt x="7745824" y="1707182"/>
                  </a:moveTo>
                  <a:cubicBezTo>
                    <a:pt x="7776306" y="1707182"/>
                    <a:pt x="7801016" y="1731892"/>
                    <a:pt x="7801016" y="1762373"/>
                  </a:cubicBezTo>
                  <a:cubicBezTo>
                    <a:pt x="7801016" y="1792854"/>
                    <a:pt x="7776306" y="1817564"/>
                    <a:pt x="7745824" y="1817564"/>
                  </a:cubicBezTo>
                  <a:cubicBezTo>
                    <a:pt x="7715342" y="1817564"/>
                    <a:pt x="7690632" y="1792854"/>
                    <a:pt x="7690632" y="1762373"/>
                  </a:cubicBezTo>
                  <a:cubicBezTo>
                    <a:pt x="7690632" y="1731892"/>
                    <a:pt x="7715342" y="1707182"/>
                    <a:pt x="7745824" y="1707182"/>
                  </a:cubicBezTo>
                  <a:close/>
                  <a:moveTo>
                    <a:pt x="7608849" y="1707182"/>
                  </a:moveTo>
                  <a:cubicBezTo>
                    <a:pt x="7639331" y="1707182"/>
                    <a:pt x="7664041" y="1731892"/>
                    <a:pt x="7664041" y="1762373"/>
                  </a:cubicBezTo>
                  <a:cubicBezTo>
                    <a:pt x="7664041" y="1792854"/>
                    <a:pt x="7639331" y="1817564"/>
                    <a:pt x="7608849" y="1817564"/>
                  </a:cubicBezTo>
                  <a:cubicBezTo>
                    <a:pt x="7578367" y="1817564"/>
                    <a:pt x="7553657" y="1792854"/>
                    <a:pt x="7553657" y="1762373"/>
                  </a:cubicBezTo>
                  <a:cubicBezTo>
                    <a:pt x="7553657" y="1731892"/>
                    <a:pt x="7578367" y="1707182"/>
                    <a:pt x="7608849" y="1707182"/>
                  </a:cubicBezTo>
                  <a:close/>
                  <a:moveTo>
                    <a:pt x="7481895" y="1707182"/>
                  </a:moveTo>
                  <a:cubicBezTo>
                    <a:pt x="7512377" y="1707182"/>
                    <a:pt x="7537087" y="1731892"/>
                    <a:pt x="7537087" y="1762373"/>
                  </a:cubicBezTo>
                  <a:cubicBezTo>
                    <a:pt x="7537087" y="1792854"/>
                    <a:pt x="7512377" y="1817564"/>
                    <a:pt x="7481895" y="1817564"/>
                  </a:cubicBezTo>
                  <a:cubicBezTo>
                    <a:pt x="7451413" y="1817564"/>
                    <a:pt x="7426703" y="1792854"/>
                    <a:pt x="7426703" y="1762373"/>
                  </a:cubicBezTo>
                  <a:cubicBezTo>
                    <a:pt x="7426703" y="1731892"/>
                    <a:pt x="7451413" y="1707182"/>
                    <a:pt x="7481895" y="1707182"/>
                  </a:cubicBezTo>
                  <a:close/>
                  <a:moveTo>
                    <a:pt x="7341579" y="1707182"/>
                  </a:moveTo>
                  <a:cubicBezTo>
                    <a:pt x="7372061" y="1707182"/>
                    <a:pt x="7396771" y="1731892"/>
                    <a:pt x="7396771" y="1762373"/>
                  </a:cubicBezTo>
                  <a:cubicBezTo>
                    <a:pt x="7396771" y="1792854"/>
                    <a:pt x="7372061" y="1817564"/>
                    <a:pt x="7341579" y="1817564"/>
                  </a:cubicBezTo>
                  <a:cubicBezTo>
                    <a:pt x="7311097" y="1817564"/>
                    <a:pt x="7286387" y="1792854"/>
                    <a:pt x="7286387" y="1762373"/>
                  </a:cubicBezTo>
                  <a:cubicBezTo>
                    <a:pt x="7286387" y="1731892"/>
                    <a:pt x="7311097" y="1707182"/>
                    <a:pt x="7341579" y="1707182"/>
                  </a:cubicBezTo>
                  <a:close/>
                  <a:moveTo>
                    <a:pt x="7211286" y="1707182"/>
                  </a:moveTo>
                  <a:cubicBezTo>
                    <a:pt x="7241768" y="1707182"/>
                    <a:pt x="7266478" y="1731892"/>
                    <a:pt x="7266478" y="1762373"/>
                  </a:cubicBezTo>
                  <a:cubicBezTo>
                    <a:pt x="7266478" y="1792854"/>
                    <a:pt x="7241768" y="1817564"/>
                    <a:pt x="7211286" y="1817564"/>
                  </a:cubicBezTo>
                  <a:cubicBezTo>
                    <a:pt x="7180804" y="1817564"/>
                    <a:pt x="7156094" y="1792854"/>
                    <a:pt x="7156094" y="1762373"/>
                  </a:cubicBezTo>
                  <a:cubicBezTo>
                    <a:pt x="7156094" y="1731892"/>
                    <a:pt x="7180804" y="1707182"/>
                    <a:pt x="7211286" y="1707182"/>
                  </a:cubicBezTo>
                  <a:close/>
                  <a:moveTo>
                    <a:pt x="7080993" y="1707182"/>
                  </a:moveTo>
                  <a:cubicBezTo>
                    <a:pt x="7111475" y="1707182"/>
                    <a:pt x="7136185" y="1731892"/>
                    <a:pt x="7136185" y="1762373"/>
                  </a:cubicBezTo>
                  <a:cubicBezTo>
                    <a:pt x="7136185" y="1792854"/>
                    <a:pt x="7111475" y="1817564"/>
                    <a:pt x="7080993" y="1817564"/>
                  </a:cubicBezTo>
                  <a:cubicBezTo>
                    <a:pt x="7050511" y="1817564"/>
                    <a:pt x="7025801" y="1792854"/>
                    <a:pt x="7025801" y="1762373"/>
                  </a:cubicBezTo>
                  <a:cubicBezTo>
                    <a:pt x="7025801" y="1731892"/>
                    <a:pt x="7050511" y="1707182"/>
                    <a:pt x="7080993" y="1707182"/>
                  </a:cubicBezTo>
                  <a:close/>
                  <a:moveTo>
                    <a:pt x="6947357" y="1707182"/>
                  </a:moveTo>
                  <a:cubicBezTo>
                    <a:pt x="6977839" y="1707182"/>
                    <a:pt x="7002549" y="1731892"/>
                    <a:pt x="7002549" y="1762373"/>
                  </a:cubicBezTo>
                  <a:cubicBezTo>
                    <a:pt x="7002549" y="1792854"/>
                    <a:pt x="6977839" y="1817564"/>
                    <a:pt x="6947357" y="1817564"/>
                  </a:cubicBezTo>
                  <a:cubicBezTo>
                    <a:pt x="6916875" y="1817564"/>
                    <a:pt x="6892165" y="1792854"/>
                    <a:pt x="6892165" y="1762373"/>
                  </a:cubicBezTo>
                  <a:cubicBezTo>
                    <a:pt x="6892165" y="1731892"/>
                    <a:pt x="6916875" y="1707182"/>
                    <a:pt x="6947357" y="1707182"/>
                  </a:cubicBezTo>
                  <a:close/>
                  <a:moveTo>
                    <a:pt x="6817063" y="1707182"/>
                  </a:moveTo>
                  <a:cubicBezTo>
                    <a:pt x="6847545" y="1707182"/>
                    <a:pt x="6872255" y="1731892"/>
                    <a:pt x="6872255" y="1762373"/>
                  </a:cubicBezTo>
                  <a:cubicBezTo>
                    <a:pt x="6872255" y="1792854"/>
                    <a:pt x="6847545" y="1817564"/>
                    <a:pt x="6817063" y="1817564"/>
                  </a:cubicBezTo>
                  <a:cubicBezTo>
                    <a:pt x="6786581" y="1817564"/>
                    <a:pt x="6761871" y="1792854"/>
                    <a:pt x="6761871" y="1762373"/>
                  </a:cubicBezTo>
                  <a:cubicBezTo>
                    <a:pt x="6761871" y="1731892"/>
                    <a:pt x="6786581" y="1707182"/>
                    <a:pt x="6817063" y="1707182"/>
                  </a:cubicBezTo>
                  <a:close/>
                  <a:moveTo>
                    <a:pt x="6683431" y="1707182"/>
                  </a:moveTo>
                  <a:cubicBezTo>
                    <a:pt x="6713913" y="1707182"/>
                    <a:pt x="6738623" y="1731892"/>
                    <a:pt x="6738623" y="1762373"/>
                  </a:cubicBezTo>
                  <a:cubicBezTo>
                    <a:pt x="6738623" y="1792854"/>
                    <a:pt x="6713913" y="1817564"/>
                    <a:pt x="6683431" y="1817564"/>
                  </a:cubicBezTo>
                  <a:cubicBezTo>
                    <a:pt x="6652949" y="1817564"/>
                    <a:pt x="6628239" y="1792854"/>
                    <a:pt x="6628239" y="1762373"/>
                  </a:cubicBezTo>
                  <a:cubicBezTo>
                    <a:pt x="6628239" y="1731892"/>
                    <a:pt x="6652949" y="1707182"/>
                    <a:pt x="6683431" y="1707182"/>
                  </a:cubicBezTo>
                  <a:close/>
                  <a:moveTo>
                    <a:pt x="6553137" y="1707182"/>
                  </a:moveTo>
                  <a:cubicBezTo>
                    <a:pt x="6583619" y="1707182"/>
                    <a:pt x="6608329" y="1731892"/>
                    <a:pt x="6608329" y="1762373"/>
                  </a:cubicBezTo>
                  <a:cubicBezTo>
                    <a:pt x="6608329" y="1792854"/>
                    <a:pt x="6583619" y="1817564"/>
                    <a:pt x="6553137" y="1817564"/>
                  </a:cubicBezTo>
                  <a:cubicBezTo>
                    <a:pt x="6522655" y="1817564"/>
                    <a:pt x="6497945" y="1792854"/>
                    <a:pt x="6497945" y="1762373"/>
                  </a:cubicBezTo>
                  <a:cubicBezTo>
                    <a:pt x="6497945" y="1731892"/>
                    <a:pt x="6522655" y="1707182"/>
                    <a:pt x="6553137" y="1707182"/>
                  </a:cubicBezTo>
                  <a:close/>
                  <a:moveTo>
                    <a:pt x="6419502" y="1707182"/>
                  </a:moveTo>
                  <a:cubicBezTo>
                    <a:pt x="6449984" y="1707182"/>
                    <a:pt x="6474694" y="1731892"/>
                    <a:pt x="6474694" y="1762373"/>
                  </a:cubicBezTo>
                  <a:cubicBezTo>
                    <a:pt x="6474694" y="1792854"/>
                    <a:pt x="6449984" y="1817564"/>
                    <a:pt x="6419502" y="1817564"/>
                  </a:cubicBezTo>
                  <a:cubicBezTo>
                    <a:pt x="6389020" y="1817564"/>
                    <a:pt x="6364310" y="1792854"/>
                    <a:pt x="6364310" y="1762373"/>
                  </a:cubicBezTo>
                  <a:cubicBezTo>
                    <a:pt x="6364310" y="1731892"/>
                    <a:pt x="6389020" y="1707182"/>
                    <a:pt x="6419502" y="1707182"/>
                  </a:cubicBezTo>
                  <a:close/>
                  <a:moveTo>
                    <a:pt x="6289207" y="1707182"/>
                  </a:moveTo>
                  <a:cubicBezTo>
                    <a:pt x="6319689" y="1707182"/>
                    <a:pt x="6344399" y="1731892"/>
                    <a:pt x="6344399" y="1762373"/>
                  </a:cubicBezTo>
                  <a:cubicBezTo>
                    <a:pt x="6344399" y="1792854"/>
                    <a:pt x="6319689" y="1817564"/>
                    <a:pt x="6289207" y="1817564"/>
                  </a:cubicBezTo>
                  <a:cubicBezTo>
                    <a:pt x="6258725" y="1817564"/>
                    <a:pt x="6234015" y="1792854"/>
                    <a:pt x="6234015" y="1762373"/>
                  </a:cubicBezTo>
                  <a:cubicBezTo>
                    <a:pt x="6234015" y="1731892"/>
                    <a:pt x="6258725" y="1707182"/>
                    <a:pt x="6289207" y="1707182"/>
                  </a:cubicBezTo>
                  <a:close/>
                  <a:moveTo>
                    <a:pt x="6155572" y="1707182"/>
                  </a:moveTo>
                  <a:cubicBezTo>
                    <a:pt x="6186054" y="1707182"/>
                    <a:pt x="6210764" y="1731892"/>
                    <a:pt x="6210764" y="1762373"/>
                  </a:cubicBezTo>
                  <a:cubicBezTo>
                    <a:pt x="6210764" y="1792854"/>
                    <a:pt x="6186054" y="1817564"/>
                    <a:pt x="6155572" y="1817564"/>
                  </a:cubicBezTo>
                  <a:cubicBezTo>
                    <a:pt x="6125090" y="1817564"/>
                    <a:pt x="6100380" y="1792854"/>
                    <a:pt x="6100380" y="1762373"/>
                  </a:cubicBezTo>
                  <a:cubicBezTo>
                    <a:pt x="6100380" y="1731892"/>
                    <a:pt x="6125090" y="1707182"/>
                    <a:pt x="6155572" y="1707182"/>
                  </a:cubicBezTo>
                  <a:close/>
                  <a:moveTo>
                    <a:pt x="6021938" y="1707182"/>
                  </a:moveTo>
                  <a:cubicBezTo>
                    <a:pt x="6052420" y="1707182"/>
                    <a:pt x="6077130" y="1731892"/>
                    <a:pt x="6077130" y="1762373"/>
                  </a:cubicBezTo>
                  <a:cubicBezTo>
                    <a:pt x="6077130" y="1792854"/>
                    <a:pt x="6052420" y="1817564"/>
                    <a:pt x="6021938" y="1817564"/>
                  </a:cubicBezTo>
                  <a:cubicBezTo>
                    <a:pt x="5991456" y="1817564"/>
                    <a:pt x="5966746" y="1792854"/>
                    <a:pt x="5966746" y="1762373"/>
                  </a:cubicBezTo>
                  <a:cubicBezTo>
                    <a:pt x="5966746" y="1731892"/>
                    <a:pt x="5991456" y="1707182"/>
                    <a:pt x="6021938" y="1707182"/>
                  </a:cubicBezTo>
                  <a:close/>
                  <a:moveTo>
                    <a:pt x="5884964" y="1707182"/>
                  </a:moveTo>
                  <a:cubicBezTo>
                    <a:pt x="5915446" y="1707182"/>
                    <a:pt x="5940156" y="1731892"/>
                    <a:pt x="5940156" y="1762373"/>
                  </a:cubicBezTo>
                  <a:cubicBezTo>
                    <a:pt x="5940156" y="1792854"/>
                    <a:pt x="5915446" y="1817564"/>
                    <a:pt x="5884964" y="1817564"/>
                  </a:cubicBezTo>
                  <a:cubicBezTo>
                    <a:pt x="5854482" y="1817564"/>
                    <a:pt x="5829772" y="1792854"/>
                    <a:pt x="5829772" y="1762373"/>
                  </a:cubicBezTo>
                  <a:cubicBezTo>
                    <a:pt x="5829772" y="1731892"/>
                    <a:pt x="5854482" y="1707182"/>
                    <a:pt x="5884964" y="1707182"/>
                  </a:cubicBezTo>
                  <a:close/>
                  <a:moveTo>
                    <a:pt x="5754670" y="1707182"/>
                  </a:moveTo>
                  <a:cubicBezTo>
                    <a:pt x="5785152" y="1707182"/>
                    <a:pt x="5809862" y="1731892"/>
                    <a:pt x="5809862" y="1762373"/>
                  </a:cubicBezTo>
                  <a:cubicBezTo>
                    <a:pt x="5809862" y="1792854"/>
                    <a:pt x="5785152" y="1817564"/>
                    <a:pt x="5754670" y="1817564"/>
                  </a:cubicBezTo>
                  <a:cubicBezTo>
                    <a:pt x="5724188" y="1817564"/>
                    <a:pt x="5699478" y="1792854"/>
                    <a:pt x="5699478" y="1762373"/>
                  </a:cubicBezTo>
                  <a:cubicBezTo>
                    <a:pt x="5699478" y="1731892"/>
                    <a:pt x="5724188" y="1707182"/>
                    <a:pt x="5754670" y="1707182"/>
                  </a:cubicBezTo>
                  <a:close/>
                  <a:moveTo>
                    <a:pt x="5621035" y="1707182"/>
                  </a:moveTo>
                  <a:cubicBezTo>
                    <a:pt x="5651517" y="1707182"/>
                    <a:pt x="5676227" y="1731892"/>
                    <a:pt x="5676227" y="1762373"/>
                  </a:cubicBezTo>
                  <a:cubicBezTo>
                    <a:pt x="5676227" y="1792854"/>
                    <a:pt x="5651517" y="1817564"/>
                    <a:pt x="5621035" y="1817564"/>
                  </a:cubicBezTo>
                  <a:cubicBezTo>
                    <a:pt x="5590553" y="1817564"/>
                    <a:pt x="5565843" y="1792854"/>
                    <a:pt x="5565843" y="1762373"/>
                  </a:cubicBezTo>
                  <a:cubicBezTo>
                    <a:pt x="5565843" y="1731892"/>
                    <a:pt x="5590553" y="1707182"/>
                    <a:pt x="5621035" y="1707182"/>
                  </a:cubicBezTo>
                  <a:close/>
                  <a:moveTo>
                    <a:pt x="5487399" y="1707182"/>
                  </a:moveTo>
                  <a:cubicBezTo>
                    <a:pt x="5517881" y="1707182"/>
                    <a:pt x="5542591" y="1731892"/>
                    <a:pt x="5542591" y="1762373"/>
                  </a:cubicBezTo>
                  <a:cubicBezTo>
                    <a:pt x="5542591" y="1792854"/>
                    <a:pt x="5517881" y="1817564"/>
                    <a:pt x="5487399" y="1817564"/>
                  </a:cubicBezTo>
                  <a:cubicBezTo>
                    <a:pt x="5456917" y="1817564"/>
                    <a:pt x="5432207" y="1792854"/>
                    <a:pt x="5432207" y="1762373"/>
                  </a:cubicBezTo>
                  <a:cubicBezTo>
                    <a:pt x="5432207" y="1731892"/>
                    <a:pt x="5456917" y="1707182"/>
                    <a:pt x="5487399" y="1707182"/>
                  </a:cubicBezTo>
                  <a:close/>
                  <a:moveTo>
                    <a:pt x="5357105" y="1707182"/>
                  </a:moveTo>
                  <a:cubicBezTo>
                    <a:pt x="5387587" y="1707182"/>
                    <a:pt x="5412297" y="1731892"/>
                    <a:pt x="5412297" y="1762373"/>
                  </a:cubicBezTo>
                  <a:cubicBezTo>
                    <a:pt x="5412297" y="1792854"/>
                    <a:pt x="5387587" y="1817564"/>
                    <a:pt x="5357105" y="1817564"/>
                  </a:cubicBezTo>
                  <a:cubicBezTo>
                    <a:pt x="5326623" y="1817564"/>
                    <a:pt x="5301913" y="1792854"/>
                    <a:pt x="5301913" y="1762373"/>
                  </a:cubicBezTo>
                  <a:cubicBezTo>
                    <a:pt x="5301913" y="1731892"/>
                    <a:pt x="5326623" y="1707182"/>
                    <a:pt x="5357105" y="1707182"/>
                  </a:cubicBezTo>
                  <a:close/>
                  <a:moveTo>
                    <a:pt x="5223473" y="1707182"/>
                  </a:moveTo>
                  <a:cubicBezTo>
                    <a:pt x="5253955" y="1707182"/>
                    <a:pt x="5278665" y="1731892"/>
                    <a:pt x="5278665" y="1762373"/>
                  </a:cubicBezTo>
                  <a:cubicBezTo>
                    <a:pt x="5278665" y="1792854"/>
                    <a:pt x="5253955" y="1817564"/>
                    <a:pt x="5223473" y="1817564"/>
                  </a:cubicBezTo>
                  <a:cubicBezTo>
                    <a:pt x="5192991" y="1817564"/>
                    <a:pt x="5168281" y="1792854"/>
                    <a:pt x="5168281" y="1762373"/>
                  </a:cubicBezTo>
                  <a:cubicBezTo>
                    <a:pt x="5168281" y="1731892"/>
                    <a:pt x="5192991" y="1707182"/>
                    <a:pt x="5223473" y="1707182"/>
                  </a:cubicBezTo>
                  <a:close/>
                  <a:moveTo>
                    <a:pt x="5093178" y="1707182"/>
                  </a:moveTo>
                  <a:cubicBezTo>
                    <a:pt x="5123660" y="1707182"/>
                    <a:pt x="5148370" y="1731892"/>
                    <a:pt x="5148370" y="1762373"/>
                  </a:cubicBezTo>
                  <a:cubicBezTo>
                    <a:pt x="5148370" y="1792854"/>
                    <a:pt x="5123660" y="1817564"/>
                    <a:pt x="5093178" y="1817564"/>
                  </a:cubicBezTo>
                  <a:cubicBezTo>
                    <a:pt x="5062696" y="1817564"/>
                    <a:pt x="5037986" y="1792854"/>
                    <a:pt x="5037986" y="1762373"/>
                  </a:cubicBezTo>
                  <a:cubicBezTo>
                    <a:pt x="5037986" y="1731892"/>
                    <a:pt x="5062696" y="1707182"/>
                    <a:pt x="5093178" y="1707182"/>
                  </a:cubicBezTo>
                  <a:close/>
                  <a:moveTo>
                    <a:pt x="4959543" y="1707182"/>
                  </a:moveTo>
                  <a:cubicBezTo>
                    <a:pt x="4990025" y="1707182"/>
                    <a:pt x="5014735" y="1731892"/>
                    <a:pt x="5014735" y="1762373"/>
                  </a:cubicBezTo>
                  <a:cubicBezTo>
                    <a:pt x="5014735" y="1792854"/>
                    <a:pt x="4990025" y="1817564"/>
                    <a:pt x="4959543" y="1817564"/>
                  </a:cubicBezTo>
                  <a:cubicBezTo>
                    <a:pt x="4929061" y="1817564"/>
                    <a:pt x="4904351" y="1792854"/>
                    <a:pt x="4904351" y="1762373"/>
                  </a:cubicBezTo>
                  <a:cubicBezTo>
                    <a:pt x="4904351" y="1731892"/>
                    <a:pt x="4929061" y="1707182"/>
                    <a:pt x="4959543" y="1707182"/>
                  </a:cubicBezTo>
                  <a:close/>
                  <a:moveTo>
                    <a:pt x="4829251" y="1707182"/>
                  </a:moveTo>
                  <a:cubicBezTo>
                    <a:pt x="4859733" y="1707182"/>
                    <a:pt x="4884443" y="1731892"/>
                    <a:pt x="4884443" y="1762373"/>
                  </a:cubicBezTo>
                  <a:cubicBezTo>
                    <a:pt x="4884443" y="1792854"/>
                    <a:pt x="4859733" y="1817564"/>
                    <a:pt x="4829251" y="1817564"/>
                  </a:cubicBezTo>
                  <a:cubicBezTo>
                    <a:pt x="4798769" y="1817564"/>
                    <a:pt x="4774059" y="1792854"/>
                    <a:pt x="4774059" y="1762373"/>
                  </a:cubicBezTo>
                  <a:cubicBezTo>
                    <a:pt x="4774059" y="1731892"/>
                    <a:pt x="4798769" y="1707182"/>
                    <a:pt x="4829251" y="1707182"/>
                  </a:cubicBezTo>
                  <a:close/>
                  <a:moveTo>
                    <a:pt x="4695613" y="1707182"/>
                  </a:moveTo>
                  <a:cubicBezTo>
                    <a:pt x="4726095" y="1707182"/>
                    <a:pt x="4750805" y="1731892"/>
                    <a:pt x="4750805" y="1762373"/>
                  </a:cubicBezTo>
                  <a:cubicBezTo>
                    <a:pt x="4750805" y="1792854"/>
                    <a:pt x="4726095" y="1817564"/>
                    <a:pt x="4695613" y="1817564"/>
                  </a:cubicBezTo>
                  <a:cubicBezTo>
                    <a:pt x="4665131" y="1817564"/>
                    <a:pt x="4640421" y="1792854"/>
                    <a:pt x="4640421" y="1762373"/>
                  </a:cubicBezTo>
                  <a:cubicBezTo>
                    <a:pt x="4640421" y="1731892"/>
                    <a:pt x="4665131" y="1707182"/>
                    <a:pt x="4695613" y="1707182"/>
                  </a:cubicBezTo>
                  <a:close/>
                  <a:moveTo>
                    <a:pt x="3098681" y="1707182"/>
                  </a:moveTo>
                  <a:cubicBezTo>
                    <a:pt x="3129163" y="1707182"/>
                    <a:pt x="3153873" y="1731892"/>
                    <a:pt x="3153873" y="1762373"/>
                  </a:cubicBezTo>
                  <a:cubicBezTo>
                    <a:pt x="3153873" y="1792854"/>
                    <a:pt x="3129163" y="1817564"/>
                    <a:pt x="3098681" y="1817564"/>
                  </a:cubicBezTo>
                  <a:cubicBezTo>
                    <a:pt x="3068199" y="1817564"/>
                    <a:pt x="3043489" y="1792854"/>
                    <a:pt x="3043489" y="1762373"/>
                  </a:cubicBezTo>
                  <a:cubicBezTo>
                    <a:pt x="3043489" y="1731892"/>
                    <a:pt x="3068199" y="1707182"/>
                    <a:pt x="3098681" y="1707182"/>
                  </a:cubicBezTo>
                  <a:close/>
                  <a:moveTo>
                    <a:pt x="2971729" y="1707182"/>
                  </a:moveTo>
                  <a:cubicBezTo>
                    <a:pt x="3002211" y="1707182"/>
                    <a:pt x="3026921" y="1731892"/>
                    <a:pt x="3026921" y="1762373"/>
                  </a:cubicBezTo>
                  <a:cubicBezTo>
                    <a:pt x="3026921" y="1792854"/>
                    <a:pt x="3002211" y="1817564"/>
                    <a:pt x="2971729" y="1817564"/>
                  </a:cubicBezTo>
                  <a:cubicBezTo>
                    <a:pt x="2941247" y="1817564"/>
                    <a:pt x="2916537" y="1792854"/>
                    <a:pt x="2916537" y="1762373"/>
                  </a:cubicBezTo>
                  <a:cubicBezTo>
                    <a:pt x="2916537" y="1731892"/>
                    <a:pt x="2941247" y="1707182"/>
                    <a:pt x="2971729" y="1707182"/>
                  </a:cubicBezTo>
                  <a:close/>
                  <a:moveTo>
                    <a:pt x="2834772" y="1707182"/>
                  </a:moveTo>
                  <a:cubicBezTo>
                    <a:pt x="2865254" y="1707182"/>
                    <a:pt x="2889964" y="1731892"/>
                    <a:pt x="2889964" y="1762373"/>
                  </a:cubicBezTo>
                  <a:cubicBezTo>
                    <a:pt x="2889964" y="1792854"/>
                    <a:pt x="2865254" y="1817564"/>
                    <a:pt x="2834772" y="1817564"/>
                  </a:cubicBezTo>
                  <a:cubicBezTo>
                    <a:pt x="2804290" y="1817564"/>
                    <a:pt x="2779580" y="1792854"/>
                    <a:pt x="2779580" y="1762373"/>
                  </a:cubicBezTo>
                  <a:cubicBezTo>
                    <a:pt x="2779580" y="1731892"/>
                    <a:pt x="2804290" y="1707182"/>
                    <a:pt x="2834772" y="1707182"/>
                  </a:cubicBezTo>
                  <a:close/>
                  <a:moveTo>
                    <a:pt x="2707817" y="1707182"/>
                  </a:moveTo>
                  <a:cubicBezTo>
                    <a:pt x="2738299" y="1707182"/>
                    <a:pt x="2763009" y="1731892"/>
                    <a:pt x="2763009" y="1762373"/>
                  </a:cubicBezTo>
                  <a:cubicBezTo>
                    <a:pt x="2763009" y="1792854"/>
                    <a:pt x="2738299" y="1817564"/>
                    <a:pt x="2707817" y="1817564"/>
                  </a:cubicBezTo>
                  <a:cubicBezTo>
                    <a:pt x="2677336" y="1817564"/>
                    <a:pt x="2652625" y="1792854"/>
                    <a:pt x="2652625" y="1762373"/>
                  </a:cubicBezTo>
                  <a:cubicBezTo>
                    <a:pt x="2652625" y="1731892"/>
                    <a:pt x="2677336" y="1707182"/>
                    <a:pt x="2707817" y="1707182"/>
                  </a:cubicBezTo>
                  <a:close/>
                  <a:moveTo>
                    <a:pt x="2570843" y="1707182"/>
                  </a:moveTo>
                  <a:cubicBezTo>
                    <a:pt x="2601326" y="1707182"/>
                    <a:pt x="2626036" y="1731892"/>
                    <a:pt x="2626036" y="1762373"/>
                  </a:cubicBezTo>
                  <a:cubicBezTo>
                    <a:pt x="2626036" y="1792854"/>
                    <a:pt x="2601326" y="1817564"/>
                    <a:pt x="2570843" y="1817564"/>
                  </a:cubicBezTo>
                  <a:cubicBezTo>
                    <a:pt x="2540362" y="1817564"/>
                    <a:pt x="2515651" y="1792854"/>
                    <a:pt x="2515651" y="1762373"/>
                  </a:cubicBezTo>
                  <a:cubicBezTo>
                    <a:pt x="2515651" y="1731892"/>
                    <a:pt x="2540362" y="1707182"/>
                    <a:pt x="2570843" y="1707182"/>
                  </a:cubicBezTo>
                  <a:close/>
                  <a:moveTo>
                    <a:pt x="2437207" y="1707182"/>
                  </a:moveTo>
                  <a:cubicBezTo>
                    <a:pt x="2467689" y="1707182"/>
                    <a:pt x="2492398" y="1731892"/>
                    <a:pt x="2492398" y="1762373"/>
                  </a:cubicBezTo>
                  <a:cubicBezTo>
                    <a:pt x="2492398" y="1792854"/>
                    <a:pt x="2467689" y="1817564"/>
                    <a:pt x="2437207" y="1817564"/>
                  </a:cubicBezTo>
                  <a:cubicBezTo>
                    <a:pt x="2406725" y="1817564"/>
                    <a:pt x="2382015" y="1792854"/>
                    <a:pt x="2382015" y="1762373"/>
                  </a:cubicBezTo>
                  <a:cubicBezTo>
                    <a:pt x="2382015" y="1731892"/>
                    <a:pt x="2406725" y="1707182"/>
                    <a:pt x="2437207" y="1707182"/>
                  </a:cubicBezTo>
                  <a:close/>
                  <a:moveTo>
                    <a:pt x="2303575" y="1707182"/>
                  </a:moveTo>
                  <a:cubicBezTo>
                    <a:pt x="2334057" y="1707182"/>
                    <a:pt x="2358767" y="1731892"/>
                    <a:pt x="2358767" y="1762373"/>
                  </a:cubicBezTo>
                  <a:cubicBezTo>
                    <a:pt x="2358767" y="1792854"/>
                    <a:pt x="2334057" y="1817564"/>
                    <a:pt x="2303575" y="1817564"/>
                  </a:cubicBezTo>
                  <a:cubicBezTo>
                    <a:pt x="2273093" y="1817564"/>
                    <a:pt x="2248383" y="1792854"/>
                    <a:pt x="2248383" y="1762373"/>
                  </a:cubicBezTo>
                  <a:cubicBezTo>
                    <a:pt x="2248383" y="1731892"/>
                    <a:pt x="2273093" y="1707182"/>
                    <a:pt x="2303575" y="1707182"/>
                  </a:cubicBezTo>
                  <a:close/>
                  <a:moveTo>
                    <a:pt x="2173282" y="1707182"/>
                  </a:moveTo>
                  <a:cubicBezTo>
                    <a:pt x="2203764" y="1707182"/>
                    <a:pt x="2228474" y="1731892"/>
                    <a:pt x="2228474" y="1762373"/>
                  </a:cubicBezTo>
                  <a:cubicBezTo>
                    <a:pt x="2228474" y="1792854"/>
                    <a:pt x="2203764" y="1817564"/>
                    <a:pt x="2173282" y="1817564"/>
                  </a:cubicBezTo>
                  <a:cubicBezTo>
                    <a:pt x="2142800" y="1817564"/>
                    <a:pt x="2118090" y="1792854"/>
                    <a:pt x="2118090" y="1762373"/>
                  </a:cubicBezTo>
                  <a:cubicBezTo>
                    <a:pt x="2118090" y="1731892"/>
                    <a:pt x="2142800" y="1707182"/>
                    <a:pt x="2173282" y="1707182"/>
                  </a:cubicBezTo>
                  <a:close/>
                  <a:moveTo>
                    <a:pt x="2039648" y="1707182"/>
                  </a:moveTo>
                  <a:cubicBezTo>
                    <a:pt x="2070129" y="1707182"/>
                    <a:pt x="2094840" y="1731892"/>
                    <a:pt x="2094840" y="1762373"/>
                  </a:cubicBezTo>
                  <a:cubicBezTo>
                    <a:pt x="2094840" y="1792854"/>
                    <a:pt x="2070129" y="1817564"/>
                    <a:pt x="2039648" y="1817564"/>
                  </a:cubicBezTo>
                  <a:cubicBezTo>
                    <a:pt x="2009165" y="1817564"/>
                    <a:pt x="1984455" y="1792854"/>
                    <a:pt x="1984455" y="1762373"/>
                  </a:cubicBezTo>
                  <a:cubicBezTo>
                    <a:pt x="1984455" y="1731892"/>
                    <a:pt x="2009165" y="1707182"/>
                    <a:pt x="2039648" y="1707182"/>
                  </a:cubicBezTo>
                  <a:close/>
                  <a:moveTo>
                    <a:pt x="1909353" y="1707182"/>
                  </a:moveTo>
                  <a:cubicBezTo>
                    <a:pt x="1939835" y="1707182"/>
                    <a:pt x="1964545" y="1731892"/>
                    <a:pt x="1964545" y="1762373"/>
                  </a:cubicBezTo>
                  <a:cubicBezTo>
                    <a:pt x="1964545" y="1792854"/>
                    <a:pt x="1939835" y="1817564"/>
                    <a:pt x="1909353" y="1817564"/>
                  </a:cubicBezTo>
                  <a:cubicBezTo>
                    <a:pt x="1878870" y="1817564"/>
                    <a:pt x="1854161" y="1792854"/>
                    <a:pt x="1854161" y="1762373"/>
                  </a:cubicBezTo>
                  <a:cubicBezTo>
                    <a:pt x="1854161" y="1731892"/>
                    <a:pt x="1878870" y="1707182"/>
                    <a:pt x="1909353" y="1707182"/>
                  </a:cubicBezTo>
                  <a:close/>
                  <a:moveTo>
                    <a:pt x="1779058" y="1707182"/>
                  </a:moveTo>
                  <a:cubicBezTo>
                    <a:pt x="1809540" y="1707182"/>
                    <a:pt x="1834251" y="1731892"/>
                    <a:pt x="1834251" y="1762373"/>
                  </a:cubicBezTo>
                  <a:cubicBezTo>
                    <a:pt x="1834251" y="1792854"/>
                    <a:pt x="1809540" y="1817564"/>
                    <a:pt x="1779058" y="1817564"/>
                  </a:cubicBezTo>
                  <a:cubicBezTo>
                    <a:pt x="1748577" y="1817564"/>
                    <a:pt x="1723867" y="1792854"/>
                    <a:pt x="1723867" y="1762373"/>
                  </a:cubicBezTo>
                  <a:cubicBezTo>
                    <a:pt x="1723867" y="1731892"/>
                    <a:pt x="1748577" y="1707182"/>
                    <a:pt x="1779058" y="1707182"/>
                  </a:cubicBezTo>
                  <a:close/>
                  <a:moveTo>
                    <a:pt x="1645422" y="1707182"/>
                  </a:moveTo>
                  <a:cubicBezTo>
                    <a:pt x="1675906" y="1707182"/>
                    <a:pt x="1700617" y="1731892"/>
                    <a:pt x="1700617" y="1762373"/>
                  </a:cubicBezTo>
                  <a:cubicBezTo>
                    <a:pt x="1700617" y="1792854"/>
                    <a:pt x="1675906" y="1817564"/>
                    <a:pt x="1645422" y="1817564"/>
                  </a:cubicBezTo>
                  <a:cubicBezTo>
                    <a:pt x="1614940" y="1817564"/>
                    <a:pt x="1590230" y="1792854"/>
                    <a:pt x="1590230" y="1762373"/>
                  </a:cubicBezTo>
                  <a:cubicBezTo>
                    <a:pt x="1590230" y="1731892"/>
                    <a:pt x="1614940" y="1707182"/>
                    <a:pt x="1645422" y="1707182"/>
                  </a:cubicBezTo>
                  <a:close/>
                  <a:moveTo>
                    <a:pt x="1515130" y="1707182"/>
                  </a:moveTo>
                  <a:cubicBezTo>
                    <a:pt x="1545612" y="1707182"/>
                    <a:pt x="1570322" y="1731892"/>
                    <a:pt x="1570322" y="1762373"/>
                  </a:cubicBezTo>
                  <a:cubicBezTo>
                    <a:pt x="1570322" y="1792854"/>
                    <a:pt x="1545612" y="1817564"/>
                    <a:pt x="1515130" y="1817564"/>
                  </a:cubicBezTo>
                  <a:cubicBezTo>
                    <a:pt x="1484648" y="1817564"/>
                    <a:pt x="1459938" y="1792854"/>
                    <a:pt x="1459938" y="1762373"/>
                  </a:cubicBezTo>
                  <a:cubicBezTo>
                    <a:pt x="1459938" y="1731892"/>
                    <a:pt x="1484648" y="1707182"/>
                    <a:pt x="1515130" y="1707182"/>
                  </a:cubicBezTo>
                  <a:close/>
                  <a:moveTo>
                    <a:pt x="1381494" y="1707182"/>
                  </a:moveTo>
                  <a:cubicBezTo>
                    <a:pt x="1411978" y="1707182"/>
                    <a:pt x="1436688" y="1731892"/>
                    <a:pt x="1436688" y="1762373"/>
                  </a:cubicBezTo>
                  <a:cubicBezTo>
                    <a:pt x="1436688" y="1792854"/>
                    <a:pt x="1411978" y="1817564"/>
                    <a:pt x="1381494" y="1817564"/>
                  </a:cubicBezTo>
                  <a:cubicBezTo>
                    <a:pt x="1351014" y="1817564"/>
                    <a:pt x="1326303" y="1792854"/>
                    <a:pt x="1326303" y="1762373"/>
                  </a:cubicBezTo>
                  <a:cubicBezTo>
                    <a:pt x="1326303" y="1731892"/>
                    <a:pt x="1351014" y="1707182"/>
                    <a:pt x="1381494" y="1707182"/>
                  </a:cubicBezTo>
                  <a:close/>
                  <a:moveTo>
                    <a:pt x="1251201" y="1707182"/>
                  </a:moveTo>
                  <a:cubicBezTo>
                    <a:pt x="1281685" y="1707182"/>
                    <a:pt x="1306393" y="1731892"/>
                    <a:pt x="1306393" y="1762373"/>
                  </a:cubicBezTo>
                  <a:cubicBezTo>
                    <a:pt x="1306393" y="1792854"/>
                    <a:pt x="1281685" y="1817564"/>
                    <a:pt x="1251201" y="1817564"/>
                  </a:cubicBezTo>
                  <a:cubicBezTo>
                    <a:pt x="1220721" y="1817564"/>
                    <a:pt x="1196010" y="1792854"/>
                    <a:pt x="1196010" y="1762373"/>
                  </a:cubicBezTo>
                  <a:cubicBezTo>
                    <a:pt x="1196010" y="1731892"/>
                    <a:pt x="1220721" y="1707182"/>
                    <a:pt x="1251201" y="1707182"/>
                  </a:cubicBezTo>
                  <a:close/>
                  <a:moveTo>
                    <a:pt x="1909361" y="1580232"/>
                  </a:moveTo>
                  <a:cubicBezTo>
                    <a:pt x="1939843" y="1580232"/>
                    <a:pt x="1964554" y="1604942"/>
                    <a:pt x="1964554" y="1635423"/>
                  </a:cubicBezTo>
                  <a:cubicBezTo>
                    <a:pt x="1964554" y="1665904"/>
                    <a:pt x="1939843" y="1690614"/>
                    <a:pt x="1909361" y="1690614"/>
                  </a:cubicBezTo>
                  <a:cubicBezTo>
                    <a:pt x="1878879" y="1690614"/>
                    <a:pt x="1854168" y="1665904"/>
                    <a:pt x="1854168" y="1635423"/>
                  </a:cubicBezTo>
                  <a:cubicBezTo>
                    <a:pt x="1854168" y="1604942"/>
                    <a:pt x="1878879" y="1580232"/>
                    <a:pt x="1909361" y="1580232"/>
                  </a:cubicBezTo>
                  <a:close/>
                  <a:moveTo>
                    <a:pt x="1779065" y="1580232"/>
                  </a:moveTo>
                  <a:cubicBezTo>
                    <a:pt x="1809547" y="1580232"/>
                    <a:pt x="1834257" y="1604942"/>
                    <a:pt x="1834257" y="1635423"/>
                  </a:cubicBezTo>
                  <a:cubicBezTo>
                    <a:pt x="1834257" y="1665904"/>
                    <a:pt x="1809547" y="1690614"/>
                    <a:pt x="1779065" y="1690614"/>
                  </a:cubicBezTo>
                  <a:cubicBezTo>
                    <a:pt x="1748583" y="1690614"/>
                    <a:pt x="1723872" y="1665904"/>
                    <a:pt x="1723872" y="1635423"/>
                  </a:cubicBezTo>
                  <a:cubicBezTo>
                    <a:pt x="1723872" y="1604942"/>
                    <a:pt x="1748583" y="1580232"/>
                    <a:pt x="1779065" y="1580232"/>
                  </a:cubicBezTo>
                  <a:close/>
                  <a:moveTo>
                    <a:pt x="1645431" y="1580232"/>
                  </a:moveTo>
                  <a:cubicBezTo>
                    <a:pt x="1675914" y="1580232"/>
                    <a:pt x="1700623" y="1604942"/>
                    <a:pt x="1700623" y="1635423"/>
                  </a:cubicBezTo>
                  <a:cubicBezTo>
                    <a:pt x="1700623" y="1665904"/>
                    <a:pt x="1675914" y="1690614"/>
                    <a:pt x="1645431" y="1690614"/>
                  </a:cubicBezTo>
                  <a:cubicBezTo>
                    <a:pt x="1614950" y="1690614"/>
                    <a:pt x="1590238" y="1665904"/>
                    <a:pt x="1590238" y="1635423"/>
                  </a:cubicBezTo>
                  <a:cubicBezTo>
                    <a:pt x="1590238" y="1604942"/>
                    <a:pt x="1614950" y="1580232"/>
                    <a:pt x="1645431" y="1580232"/>
                  </a:cubicBezTo>
                  <a:close/>
                  <a:moveTo>
                    <a:pt x="1515140" y="1580232"/>
                  </a:moveTo>
                  <a:cubicBezTo>
                    <a:pt x="1545619" y="1580232"/>
                    <a:pt x="1570329" y="1604942"/>
                    <a:pt x="1570329" y="1635423"/>
                  </a:cubicBezTo>
                  <a:cubicBezTo>
                    <a:pt x="1570329" y="1665904"/>
                    <a:pt x="1545619" y="1690614"/>
                    <a:pt x="1515140" y="1690614"/>
                  </a:cubicBezTo>
                  <a:cubicBezTo>
                    <a:pt x="1484656" y="1690614"/>
                    <a:pt x="1459945" y="1665904"/>
                    <a:pt x="1459945" y="1635423"/>
                  </a:cubicBezTo>
                  <a:cubicBezTo>
                    <a:pt x="1459945" y="1604942"/>
                    <a:pt x="1484656" y="1580232"/>
                    <a:pt x="1515140" y="1580232"/>
                  </a:cubicBezTo>
                  <a:close/>
                  <a:moveTo>
                    <a:pt x="1381504" y="1580232"/>
                  </a:moveTo>
                  <a:cubicBezTo>
                    <a:pt x="1411984" y="1580232"/>
                    <a:pt x="1436697" y="1604942"/>
                    <a:pt x="1436697" y="1635423"/>
                  </a:cubicBezTo>
                  <a:cubicBezTo>
                    <a:pt x="1436697" y="1665904"/>
                    <a:pt x="1411984" y="1690614"/>
                    <a:pt x="1381504" y="1690614"/>
                  </a:cubicBezTo>
                  <a:cubicBezTo>
                    <a:pt x="1351022" y="1690614"/>
                    <a:pt x="1326312" y="1665904"/>
                    <a:pt x="1326312" y="1635423"/>
                  </a:cubicBezTo>
                  <a:cubicBezTo>
                    <a:pt x="1326312" y="1604942"/>
                    <a:pt x="1351022" y="1580232"/>
                    <a:pt x="1381504" y="1580232"/>
                  </a:cubicBezTo>
                  <a:close/>
                  <a:moveTo>
                    <a:pt x="1251210" y="1580232"/>
                  </a:moveTo>
                  <a:cubicBezTo>
                    <a:pt x="1281690" y="1580232"/>
                    <a:pt x="1306401" y="1604942"/>
                    <a:pt x="1306401" y="1635423"/>
                  </a:cubicBezTo>
                  <a:cubicBezTo>
                    <a:pt x="1306401" y="1665904"/>
                    <a:pt x="1281690" y="1690614"/>
                    <a:pt x="1251210" y="1690614"/>
                  </a:cubicBezTo>
                  <a:cubicBezTo>
                    <a:pt x="1220727" y="1690614"/>
                    <a:pt x="1196016" y="1665904"/>
                    <a:pt x="1196016" y="1635423"/>
                  </a:cubicBezTo>
                  <a:cubicBezTo>
                    <a:pt x="1196016" y="1604942"/>
                    <a:pt x="1220727" y="1580232"/>
                    <a:pt x="1251210" y="1580232"/>
                  </a:cubicBezTo>
                  <a:close/>
                  <a:moveTo>
                    <a:pt x="9068806" y="1580228"/>
                  </a:moveTo>
                  <a:cubicBezTo>
                    <a:pt x="9099288" y="1580228"/>
                    <a:pt x="9123998" y="1604938"/>
                    <a:pt x="9123998" y="1635419"/>
                  </a:cubicBezTo>
                  <a:cubicBezTo>
                    <a:pt x="9123998" y="1665900"/>
                    <a:pt x="9099288" y="1690610"/>
                    <a:pt x="9068806" y="1690610"/>
                  </a:cubicBezTo>
                  <a:cubicBezTo>
                    <a:pt x="9038324" y="1690610"/>
                    <a:pt x="9013614" y="1665900"/>
                    <a:pt x="9013614" y="1635419"/>
                  </a:cubicBezTo>
                  <a:cubicBezTo>
                    <a:pt x="9013614" y="1604938"/>
                    <a:pt x="9038324" y="1580228"/>
                    <a:pt x="9068806" y="1580228"/>
                  </a:cubicBezTo>
                  <a:close/>
                  <a:moveTo>
                    <a:pt x="8671243" y="1580228"/>
                  </a:moveTo>
                  <a:cubicBezTo>
                    <a:pt x="8701725" y="1580228"/>
                    <a:pt x="8726435" y="1604938"/>
                    <a:pt x="8726435" y="1635419"/>
                  </a:cubicBezTo>
                  <a:cubicBezTo>
                    <a:pt x="8726435" y="1665900"/>
                    <a:pt x="8701725" y="1690610"/>
                    <a:pt x="8671243" y="1690610"/>
                  </a:cubicBezTo>
                  <a:cubicBezTo>
                    <a:pt x="8640761" y="1690610"/>
                    <a:pt x="8616051" y="1665900"/>
                    <a:pt x="8616051" y="1635419"/>
                  </a:cubicBezTo>
                  <a:cubicBezTo>
                    <a:pt x="8616051" y="1604938"/>
                    <a:pt x="8640761" y="1580228"/>
                    <a:pt x="8671243" y="1580228"/>
                  </a:cubicBezTo>
                  <a:close/>
                  <a:moveTo>
                    <a:pt x="8537609" y="1580228"/>
                  </a:moveTo>
                  <a:cubicBezTo>
                    <a:pt x="8568091" y="1580228"/>
                    <a:pt x="8592801" y="1604938"/>
                    <a:pt x="8592801" y="1635419"/>
                  </a:cubicBezTo>
                  <a:cubicBezTo>
                    <a:pt x="8592801" y="1665900"/>
                    <a:pt x="8568091" y="1690610"/>
                    <a:pt x="8537609" y="1690610"/>
                  </a:cubicBezTo>
                  <a:cubicBezTo>
                    <a:pt x="8507127" y="1690610"/>
                    <a:pt x="8482417" y="1665900"/>
                    <a:pt x="8482417" y="1635419"/>
                  </a:cubicBezTo>
                  <a:cubicBezTo>
                    <a:pt x="8482417" y="1604938"/>
                    <a:pt x="8507127" y="1580228"/>
                    <a:pt x="8537609" y="1580228"/>
                  </a:cubicBezTo>
                  <a:close/>
                  <a:moveTo>
                    <a:pt x="8407318" y="1580228"/>
                  </a:moveTo>
                  <a:cubicBezTo>
                    <a:pt x="8437800" y="1580228"/>
                    <a:pt x="8462510" y="1604938"/>
                    <a:pt x="8462510" y="1635419"/>
                  </a:cubicBezTo>
                  <a:cubicBezTo>
                    <a:pt x="8462510" y="1665900"/>
                    <a:pt x="8437800" y="1690610"/>
                    <a:pt x="8407318" y="1690610"/>
                  </a:cubicBezTo>
                  <a:cubicBezTo>
                    <a:pt x="8376836" y="1690610"/>
                    <a:pt x="8352126" y="1665900"/>
                    <a:pt x="8352126" y="1635419"/>
                  </a:cubicBezTo>
                  <a:cubicBezTo>
                    <a:pt x="8352126" y="1604938"/>
                    <a:pt x="8376836" y="1580228"/>
                    <a:pt x="8407318" y="1580228"/>
                  </a:cubicBezTo>
                  <a:close/>
                  <a:moveTo>
                    <a:pt x="8273682" y="1580228"/>
                  </a:moveTo>
                  <a:cubicBezTo>
                    <a:pt x="8304164" y="1580228"/>
                    <a:pt x="8328874" y="1604938"/>
                    <a:pt x="8328874" y="1635419"/>
                  </a:cubicBezTo>
                  <a:cubicBezTo>
                    <a:pt x="8328874" y="1665900"/>
                    <a:pt x="8304164" y="1690610"/>
                    <a:pt x="8273682" y="1690610"/>
                  </a:cubicBezTo>
                  <a:cubicBezTo>
                    <a:pt x="8243200" y="1690610"/>
                    <a:pt x="8218490" y="1665900"/>
                    <a:pt x="8218490" y="1635419"/>
                  </a:cubicBezTo>
                  <a:cubicBezTo>
                    <a:pt x="8218490" y="1604938"/>
                    <a:pt x="8243200" y="1580228"/>
                    <a:pt x="8273682" y="1580228"/>
                  </a:cubicBezTo>
                  <a:close/>
                  <a:moveTo>
                    <a:pt x="8143386" y="1580228"/>
                  </a:moveTo>
                  <a:cubicBezTo>
                    <a:pt x="8173868" y="1580228"/>
                    <a:pt x="8198578" y="1604938"/>
                    <a:pt x="8198578" y="1635419"/>
                  </a:cubicBezTo>
                  <a:cubicBezTo>
                    <a:pt x="8198578" y="1665900"/>
                    <a:pt x="8173868" y="1690610"/>
                    <a:pt x="8143386" y="1690610"/>
                  </a:cubicBezTo>
                  <a:cubicBezTo>
                    <a:pt x="8112904" y="1690610"/>
                    <a:pt x="8088194" y="1665900"/>
                    <a:pt x="8088194" y="1635419"/>
                  </a:cubicBezTo>
                  <a:cubicBezTo>
                    <a:pt x="8088194" y="1604938"/>
                    <a:pt x="8112904" y="1580228"/>
                    <a:pt x="8143386" y="1580228"/>
                  </a:cubicBezTo>
                  <a:close/>
                  <a:moveTo>
                    <a:pt x="8009752" y="1580228"/>
                  </a:moveTo>
                  <a:cubicBezTo>
                    <a:pt x="8040234" y="1580228"/>
                    <a:pt x="8064944" y="1604938"/>
                    <a:pt x="8064944" y="1635419"/>
                  </a:cubicBezTo>
                  <a:cubicBezTo>
                    <a:pt x="8064944" y="1665900"/>
                    <a:pt x="8040234" y="1690610"/>
                    <a:pt x="8009752" y="1690610"/>
                  </a:cubicBezTo>
                  <a:cubicBezTo>
                    <a:pt x="7979270" y="1690610"/>
                    <a:pt x="7954560" y="1665900"/>
                    <a:pt x="7954560" y="1635419"/>
                  </a:cubicBezTo>
                  <a:cubicBezTo>
                    <a:pt x="7954560" y="1604938"/>
                    <a:pt x="7979270" y="1580228"/>
                    <a:pt x="8009752" y="1580228"/>
                  </a:cubicBezTo>
                  <a:close/>
                  <a:moveTo>
                    <a:pt x="7876117" y="1580228"/>
                  </a:moveTo>
                  <a:cubicBezTo>
                    <a:pt x="7906599" y="1580228"/>
                    <a:pt x="7931309" y="1604938"/>
                    <a:pt x="7931309" y="1635419"/>
                  </a:cubicBezTo>
                  <a:cubicBezTo>
                    <a:pt x="7931309" y="1665900"/>
                    <a:pt x="7906599" y="1690610"/>
                    <a:pt x="7876117" y="1690610"/>
                  </a:cubicBezTo>
                  <a:cubicBezTo>
                    <a:pt x="7845635" y="1690610"/>
                    <a:pt x="7820925" y="1665900"/>
                    <a:pt x="7820925" y="1635419"/>
                  </a:cubicBezTo>
                  <a:cubicBezTo>
                    <a:pt x="7820925" y="1604938"/>
                    <a:pt x="7845635" y="1580228"/>
                    <a:pt x="7876117" y="1580228"/>
                  </a:cubicBezTo>
                  <a:close/>
                  <a:moveTo>
                    <a:pt x="7745824" y="1580228"/>
                  </a:moveTo>
                  <a:cubicBezTo>
                    <a:pt x="7776306" y="1580228"/>
                    <a:pt x="7801016" y="1604938"/>
                    <a:pt x="7801016" y="1635419"/>
                  </a:cubicBezTo>
                  <a:cubicBezTo>
                    <a:pt x="7801016" y="1665900"/>
                    <a:pt x="7776306" y="1690610"/>
                    <a:pt x="7745824" y="1690610"/>
                  </a:cubicBezTo>
                  <a:cubicBezTo>
                    <a:pt x="7715342" y="1690610"/>
                    <a:pt x="7690632" y="1665900"/>
                    <a:pt x="7690632" y="1635419"/>
                  </a:cubicBezTo>
                  <a:cubicBezTo>
                    <a:pt x="7690632" y="1604938"/>
                    <a:pt x="7715342" y="1580228"/>
                    <a:pt x="7745824" y="1580228"/>
                  </a:cubicBezTo>
                  <a:close/>
                  <a:moveTo>
                    <a:pt x="7608849" y="1580228"/>
                  </a:moveTo>
                  <a:cubicBezTo>
                    <a:pt x="7639331" y="1580228"/>
                    <a:pt x="7664041" y="1604938"/>
                    <a:pt x="7664041" y="1635419"/>
                  </a:cubicBezTo>
                  <a:cubicBezTo>
                    <a:pt x="7664041" y="1665900"/>
                    <a:pt x="7639331" y="1690610"/>
                    <a:pt x="7608849" y="1690610"/>
                  </a:cubicBezTo>
                  <a:cubicBezTo>
                    <a:pt x="7578367" y="1690610"/>
                    <a:pt x="7553657" y="1665900"/>
                    <a:pt x="7553657" y="1635419"/>
                  </a:cubicBezTo>
                  <a:cubicBezTo>
                    <a:pt x="7553657" y="1604938"/>
                    <a:pt x="7578367" y="1580228"/>
                    <a:pt x="7608849" y="1580228"/>
                  </a:cubicBezTo>
                  <a:close/>
                  <a:moveTo>
                    <a:pt x="7481895" y="1580228"/>
                  </a:moveTo>
                  <a:cubicBezTo>
                    <a:pt x="7512377" y="1580228"/>
                    <a:pt x="7537087" y="1604938"/>
                    <a:pt x="7537087" y="1635419"/>
                  </a:cubicBezTo>
                  <a:cubicBezTo>
                    <a:pt x="7537087" y="1665900"/>
                    <a:pt x="7512377" y="1690610"/>
                    <a:pt x="7481895" y="1690610"/>
                  </a:cubicBezTo>
                  <a:cubicBezTo>
                    <a:pt x="7451413" y="1690610"/>
                    <a:pt x="7426703" y="1665900"/>
                    <a:pt x="7426703" y="1635419"/>
                  </a:cubicBezTo>
                  <a:cubicBezTo>
                    <a:pt x="7426703" y="1604938"/>
                    <a:pt x="7451413" y="1580228"/>
                    <a:pt x="7481895" y="1580228"/>
                  </a:cubicBezTo>
                  <a:close/>
                  <a:moveTo>
                    <a:pt x="7341579" y="1580228"/>
                  </a:moveTo>
                  <a:cubicBezTo>
                    <a:pt x="7372061" y="1580228"/>
                    <a:pt x="7396771" y="1604938"/>
                    <a:pt x="7396771" y="1635419"/>
                  </a:cubicBezTo>
                  <a:cubicBezTo>
                    <a:pt x="7396771" y="1665900"/>
                    <a:pt x="7372061" y="1690610"/>
                    <a:pt x="7341579" y="1690610"/>
                  </a:cubicBezTo>
                  <a:cubicBezTo>
                    <a:pt x="7311097" y="1690610"/>
                    <a:pt x="7286387" y="1665900"/>
                    <a:pt x="7286387" y="1635419"/>
                  </a:cubicBezTo>
                  <a:cubicBezTo>
                    <a:pt x="7286387" y="1604938"/>
                    <a:pt x="7311097" y="1580228"/>
                    <a:pt x="7341579" y="1580228"/>
                  </a:cubicBezTo>
                  <a:close/>
                  <a:moveTo>
                    <a:pt x="7211286" y="1580228"/>
                  </a:moveTo>
                  <a:cubicBezTo>
                    <a:pt x="7241768" y="1580228"/>
                    <a:pt x="7266478" y="1604938"/>
                    <a:pt x="7266478" y="1635419"/>
                  </a:cubicBezTo>
                  <a:cubicBezTo>
                    <a:pt x="7266478" y="1665900"/>
                    <a:pt x="7241768" y="1690610"/>
                    <a:pt x="7211286" y="1690610"/>
                  </a:cubicBezTo>
                  <a:cubicBezTo>
                    <a:pt x="7180804" y="1690610"/>
                    <a:pt x="7156094" y="1665900"/>
                    <a:pt x="7156094" y="1635419"/>
                  </a:cubicBezTo>
                  <a:cubicBezTo>
                    <a:pt x="7156094" y="1604938"/>
                    <a:pt x="7180804" y="1580228"/>
                    <a:pt x="7211286" y="1580228"/>
                  </a:cubicBezTo>
                  <a:close/>
                  <a:moveTo>
                    <a:pt x="7080993" y="1580228"/>
                  </a:moveTo>
                  <a:cubicBezTo>
                    <a:pt x="7111475" y="1580228"/>
                    <a:pt x="7136185" y="1604938"/>
                    <a:pt x="7136185" y="1635419"/>
                  </a:cubicBezTo>
                  <a:cubicBezTo>
                    <a:pt x="7136185" y="1665900"/>
                    <a:pt x="7111475" y="1690610"/>
                    <a:pt x="7080993" y="1690610"/>
                  </a:cubicBezTo>
                  <a:cubicBezTo>
                    <a:pt x="7050511" y="1690610"/>
                    <a:pt x="7025801" y="1665900"/>
                    <a:pt x="7025801" y="1635419"/>
                  </a:cubicBezTo>
                  <a:cubicBezTo>
                    <a:pt x="7025801" y="1604938"/>
                    <a:pt x="7050511" y="1580228"/>
                    <a:pt x="7080993" y="1580228"/>
                  </a:cubicBezTo>
                  <a:close/>
                  <a:moveTo>
                    <a:pt x="6947357" y="1580228"/>
                  </a:moveTo>
                  <a:cubicBezTo>
                    <a:pt x="6977839" y="1580228"/>
                    <a:pt x="7002549" y="1604938"/>
                    <a:pt x="7002549" y="1635419"/>
                  </a:cubicBezTo>
                  <a:cubicBezTo>
                    <a:pt x="7002549" y="1665900"/>
                    <a:pt x="6977839" y="1690610"/>
                    <a:pt x="6947357" y="1690610"/>
                  </a:cubicBezTo>
                  <a:cubicBezTo>
                    <a:pt x="6916875" y="1690610"/>
                    <a:pt x="6892165" y="1665900"/>
                    <a:pt x="6892165" y="1635419"/>
                  </a:cubicBezTo>
                  <a:cubicBezTo>
                    <a:pt x="6892165" y="1604938"/>
                    <a:pt x="6916875" y="1580228"/>
                    <a:pt x="6947357" y="1580228"/>
                  </a:cubicBezTo>
                  <a:close/>
                  <a:moveTo>
                    <a:pt x="6817063" y="1580228"/>
                  </a:moveTo>
                  <a:cubicBezTo>
                    <a:pt x="6847545" y="1580228"/>
                    <a:pt x="6872255" y="1604938"/>
                    <a:pt x="6872255" y="1635419"/>
                  </a:cubicBezTo>
                  <a:cubicBezTo>
                    <a:pt x="6872255" y="1665900"/>
                    <a:pt x="6847545" y="1690610"/>
                    <a:pt x="6817063" y="1690610"/>
                  </a:cubicBezTo>
                  <a:cubicBezTo>
                    <a:pt x="6786581" y="1690610"/>
                    <a:pt x="6761871" y="1665900"/>
                    <a:pt x="6761871" y="1635419"/>
                  </a:cubicBezTo>
                  <a:cubicBezTo>
                    <a:pt x="6761871" y="1604938"/>
                    <a:pt x="6786581" y="1580228"/>
                    <a:pt x="6817063" y="1580228"/>
                  </a:cubicBezTo>
                  <a:close/>
                  <a:moveTo>
                    <a:pt x="6683431" y="1580228"/>
                  </a:moveTo>
                  <a:cubicBezTo>
                    <a:pt x="6713913" y="1580228"/>
                    <a:pt x="6738623" y="1604938"/>
                    <a:pt x="6738623" y="1635419"/>
                  </a:cubicBezTo>
                  <a:cubicBezTo>
                    <a:pt x="6738623" y="1665900"/>
                    <a:pt x="6713913" y="1690610"/>
                    <a:pt x="6683431" y="1690610"/>
                  </a:cubicBezTo>
                  <a:cubicBezTo>
                    <a:pt x="6652949" y="1690610"/>
                    <a:pt x="6628239" y="1665900"/>
                    <a:pt x="6628239" y="1635419"/>
                  </a:cubicBezTo>
                  <a:cubicBezTo>
                    <a:pt x="6628239" y="1604938"/>
                    <a:pt x="6652949" y="1580228"/>
                    <a:pt x="6683431" y="1580228"/>
                  </a:cubicBezTo>
                  <a:close/>
                  <a:moveTo>
                    <a:pt x="6553137" y="1580228"/>
                  </a:moveTo>
                  <a:cubicBezTo>
                    <a:pt x="6583619" y="1580228"/>
                    <a:pt x="6608329" y="1604938"/>
                    <a:pt x="6608329" y="1635419"/>
                  </a:cubicBezTo>
                  <a:cubicBezTo>
                    <a:pt x="6608329" y="1665900"/>
                    <a:pt x="6583619" y="1690610"/>
                    <a:pt x="6553137" y="1690610"/>
                  </a:cubicBezTo>
                  <a:cubicBezTo>
                    <a:pt x="6522655" y="1690610"/>
                    <a:pt x="6497945" y="1665900"/>
                    <a:pt x="6497945" y="1635419"/>
                  </a:cubicBezTo>
                  <a:cubicBezTo>
                    <a:pt x="6497945" y="1604938"/>
                    <a:pt x="6522655" y="1580228"/>
                    <a:pt x="6553137" y="1580228"/>
                  </a:cubicBezTo>
                  <a:close/>
                  <a:moveTo>
                    <a:pt x="6419502" y="1580228"/>
                  </a:moveTo>
                  <a:cubicBezTo>
                    <a:pt x="6449984" y="1580228"/>
                    <a:pt x="6474694" y="1604938"/>
                    <a:pt x="6474694" y="1635419"/>
                  </a:cubicBezTo>
                  <a:cubicBezTo>
                    <a:pt x="6474694" y="1665900"/>
                    <a:pt x="6449984" y="1690610"/>
                    <a:pt x="6419502" y="1690610"/>
                  </a:cubicBezTo>
                  <a:cubicBezTo>
                    <a:pt x="6389020" y="1690610"/>
                    <a:pt x="6364310" y="1665900"/>
                    <a:pt x="6364310" y="1635419"/>
                  </a:cubicBezTo>
                  <a:cubicBezTo>
                    <a:pt x="6364310" y="1604938"/>
                    <a:pt x="6389020" y="1580228"/>
                    <a:pt x="6419502" y="1580228"/>
                  </a:cubicBezTo>
                  <a:close/>
                  <a:moveTo>
                    <a:pt x="6289208" y="1580228"/>
                  </a:moveTo>
                  <a:cubicBezTo>
                    <a:pt x="6319690" y="1580228"/>
                    <a:pt x="6344400" y="1604938"/>
                    <a:pt x="6344400" y="1635419"/>
                  </a:cubicBezTo>
                  <a:cubicBezTo>
                    <a:pt x="6344400" y="1665900"/>
                    <a:pt x="6319690" y="1690610"/>
                    <a:pt x="6289208" y="1690610"/>
                  </a:cubicBezTo>
                  <a:cubicBezTo>
                    <a:pt x="6258726" y="1690610"/>
                    <a:pt x="6234016" y="1665900"/>
                    <a:pt x="6234016" y="1635419"/>
                  </a:cubicBezTo>
                  <a:cubicBezTo>
                    <a:pt x="6234016" y="1604938"/>
                    <a:pt x="6258726" y="1580228"/>
                    <a:pt x="6289208" y="1580228"/>
                  </a:cubicBezTo>
                  <a:close/>
                  <a:moveTo>
                    <a:pt x="6155572" y="1580228"/>
                  </a:moveTo>
                  <a:cubicBezTo>
                    <a:pt x="6186054" y="1580228"/>
                    <a:pt x="6210764" y="1604938"/>
                    <a:pt x="6210764" y="1635419"/>
                  </a:cubicBezTo>
                  <a:cubicBezTo>
                    <a:pt x="6210764" y="1665900"/>
                    <a:pt x="6186054" y="1690610"/>
                    <a:pt x="6155572" y="1690610"/>
                  </a:cubicBezTo>
                  <a:cubicBezTo>
                    <a:pt x="6125090" y="1690610"/>
                    <a:pt x="6100380" y="1665900"/>
                    <a:pt x="6100380" y="1635419"/>
                  </a:cubicBezTo>
                  <a:cubicBezTo>
                    <a:pt x="6100380" y="1604938"/>
                    <a:pt x="6125090" y="1580228"/>
                    <a:pt x="6155572" y="1580228"/>
                  </a:cubicBezTo>
                  <a:close/>
                  <a:moveTo>
                    <a:pt x="6021938" y="1580228"/>
                  </a:moveTo>
                  <a:cubicBezTo>
                    <a:pt x="6052420" y="1580228"/>
                    <a:pt x="6077130" y="1604938"/>
                    <a:pt x="6077130" y="1635419"/>
                  </a:cubicBezTo>
                  <a:cubicBezTo>
                    <a:pt x="6077130" y="1665900"/>
                    <a:pt x="6052420" y="1690610"/>
                    <a:pt x="6021938" y="1690610"/>
                  </a:cubicBezTo>
                  <a:cubicBezTo>
                    <a:pt x="5991456" y="1690610"/>
                    <a:pt x="5966746" y="1665900"/>
                    <a:pt x="5966746" y="1635419"/>
                  </a:cubicBezTo>
                  <a:cubicBezTo>
                    <a:pt x="5966746" y="1604938"/>
                    <a:pt x="5991456" y="1580228"/>
                    <a:pt x="6021938" y="1580228"/>
                  </a:cubicBezTo>
                  <a:close/>
                  <a:moveTo>
                    <a:pt x="5884964" y="1580228"/>
                  </a:moveTo>
                  <a:cubicBezTo>
                    <a:pt x="5915446" y="1580228"/>
                    <a:pt x="5940156" y="1604938"/>
                    <a:pt x="5940156" y="1635419"/>
                  </a:cubicBezTo>
                  <a:cubicBezTo>
                    <a:pt x="5940156" y="1665900"/>
                    <a:pt x="5915446" y="1690610"/>
                    <a:pt x="5884964" y="1690610"/>
                  </a:cubicBezTo>
                  <a:cubicBezTo>
                    <a:pt x="5854482" y="1690610"/>
                    <a:pt x="5829772" y="1665900"/>
                    <a:pt x="5829772" y="1635419"/>
                  </a:cubicBezTo>
                  <a:cubicBezTo>
                    <a:pt x="5829772" y="1604938"/>
                    <a:pt x="5854482" y="1580228"/>
                    <a:pt x="5884964" y="1580228"/>
                  </a:cubicBezTo>
                  <a:close/>
                  <a:moveTo>
                    <a:pt x="5754670" y="1580228"/>
                  </a:moveTo>
                  <a:cubicBezTo>
                    <a:pt x="5785152" y="1580228"/>
                    <a:pt x="5809862" y="1604938"/>
                    <a:pt x="5809862" y="1635419"/>
                  </a:cubicBezTo>
                  <a:cubicBezTo>
                    <a:pt x="5809862" y="1665900"/>
                    <a:pt x="5785152" y="1690610"/>
                    <a:pt x="5754670" y="1690610"/>
                  </a:cubicBezTo>
                  <a:cubicBezTo>
                    <a:pt x="5724188" y="1690610"/>
                    <a:pt x="5699478" y="1665900"/>
                    <a:pt x="5699478" y="1635419"/>
                  </a:cubicBezTo>
                  <a:cubicBezTo>
                    <a:pt x="5699478" y="1604938"/>
                    <a:pt x="5724188" y="1580228"/>
                    <a:pt x="5754670" y="1580228"/>
                  </a:cubicBezTo>
                  <a:close/>
                  <a:moveTo>
                    <a:pt x="5621035" y="1580228"/>
                  </a:moveTo>
                  <a:cubicBezTo>
                    <a:pt x="5651517" y="1580228"/>
                    <a:pt x="5676227" y="1604938"/>
                    <a:pt x="5676227" y="1635419"/>
                  </a:cubicBezTo>
                  <a:cubicBezTo>
                    <a:pt x="5676227" y="1665900"/>
                    <a:pt x="5651517" y="1690610"/>
                    <a:pt x="5621035" y="1690610"/>
                  </a:cubicBezTo>
                  <a:cubicBezTo>
                    <a:pt x="5590553" y="1690610"/>
                    <a:pt x="5565843" y="1665900"/>
                    <a:pt x="5565843" y="1635419"/>
                  </a:cubicBezTo>
                  <a:cubicBezTo>
                    <a:pt x="5565843" y="1604938"/>
                    <a:pt x="5590553" y="1580228"/>
                    <a:pt x="5621035" y="1580228"/>
                  </a:cubicBezTo>
                  <a:close/>
                  <a:moveTo>
                    <a:pt x="5357105" y="1580228"/>
                  </a:moveTo>
                  <a:cubicBezTo>
                    <a:pt x="5387587" y="1580228"/>
                    <a:pt x="5412297" y="1604938"/>
                    <a:pt x="5412297" y="1635419"/>
                  </a:cubicBezTo>
                  <a:cubicBezTo>
                    <a:pt x="5412297" y="1665900"/>
                    <a:pt x="5387587" y="1690610"/>
                    <a:pt x="5357105" y="1690610"/>
                  </a:cubicBezTo>
                  <a:cubicBezTo>
                    <a:pt x="5326623" y="1690610"/>
                    <a:pt x="5301913" y="1665900"/>
                    <a:pt x="5301913" y="1635419"/>
                  </a:cubicBezTo>
                  <a:cubicBezTo>
                    <a:pt x="5301913" y="1604938"/>
                    <a:pt x="5326623" y="1580228"/>
                    <a:pt x="5357105" y="1580228"/>
                  </a:cubicBezTo>
                  <a:close/>
                  <a:moveTo>
                    <a:pt x="5223473" y="1580228"/>
                  </a:moveTo>
                  <a:cubicBezTo>
                    <a:pt x="5253955" y="1580228"/>
                    <a:pt x="5278665" y="1604938"/>
                    <a:pt x="5278665" y="1635419"/>
                  </a:cubicBezTo>
                  <a:cubicBezTo>
                    <a:pt x="5278665" y="1665900"/>
                    <a:pt x="5253955" y="1690610"/>
                    <a:pt x="5223473" y="1690610"/>
                  </a:cubicBezTo>
                  <a:cubicBezTo>
                    <a:pt x="5192991" y="1690610"/>
                    <a:pt x="5168281" y="1665900"/>
                    <a:pt x="5168281" y="1635419"/>
                  </a:cubicBezTo>
                  <a:cubicBezTo>
                    <a:pt x="5168281" y="1604938"/>
                    <a:pt x="5192991" y="1580228"/>
                    <a:pt x="5223473" y="1580228"/>
                  </a:cubicBezTo>
                  <a:close/>
                  <a:moveTo>
                    <a:pt x="5093178" y="1580228"/>
                  </a:moveTo>
                  <a:cubicBezTo>
                    <a:pt x="5123660" y="1580228"/>
                    <a:pt x="5148370" y="1604938"/>
                    <a:pt x="5148370" y="1635419"/>
                  </a:cubicBezTo>
                  <a:cubicBezTo>
                    <a:pt x="5148370" y="1665900"/>
                    <a:pt x="5123660" y="1690610"/>
                    <a:pt x="5093178" y="1690610"/>
                  </a:cubicBezTo>
                  <a:cubicBezTo>
                    <a:pt x="5062696" y="1690610"/>
                    <a:pt x="5037986" y="1665900"/>
                    <a:pt x="5037986" y="1635419"/>
                  </a:cubicBezTo>
                  <a:cubicBezTo>
                    <a:pt x="5037986" y="1604938"/>
                    <a:pt x="5062696" y="1580228"/>
                    <a:pt x="5093178" y="1580228"/>
                  </a:cubicBezTo>
                  <a:close/>
                  <a:moveTo>
                    <a:pt x="4959543" y="1580228"/>
                  </a:moveTo>
                  <a:cubicBezTo>
                    <a:pt x="4990025" y="1580228"/>
                    <a:pt x="5014735" y="1604938"/>
                    <a:pt x="5014735" y="1635419"/>
                  </a:cubicBezTo>
                  <a:cubicBezTo>
                    <a:pt x="5014735" y="1665900"/>
                    <a:pt x="4990025" y="1690610"/>
                    <a:pt x="4959543" y="1690610"/>
                  </a:cubicBezTo>
                  <a:cubicBezTo>
                    <a:pt x="4929061" y="1690610"/>
                    <a:pt x="4904351" y="1665900"/>
                    <a:pt x="4904351" y="1635419"/>
                  </a:cubicBezTo>
                  <a:cubicBezTo>
                    <a:pt x="4904351" y="1604938"/>
                    <a:pt x="4929061" y="1580228"/>
                    <a:pt x="4959543" y="1580228"/>
                  </a:cubicBezTo>
                  <a:close/>
                  <a:moveTo>
                    <a:pt x="4829251" y="1580228"/>
                  </a:moveTo>
                  <a:cubicBezTo>
                    <a:pt x="4859733" y="1580228"/>
                    <a:pt x="4884443" y="1604938"/>
                    <a:pt x="4884443" y="1635419"/>
                  </a:cubicBezTo>
                  <a:cubicBezTo>
                    <a:pt x="4884443" y="1665900"/>
                    <a:pt x="4859733" y="1690610"/>
                    <a:pt x="4829251" y="1690610"/>
                  </a:cubicBezTo>
                  <a:cubicBezTo>
                    <a:pt x="4798769" y="1690610"/>
                    <a:pt x="4774059" y="1665900"/>
                    <a:pt x="4774059" y="1635419"/>
                  </a:cubicBezTo>
                  <a:cubicBezTo>
                    <a:pt x="4774059" y="1604938"/>
                    <a:pt x="4798769" y="1580228"/>
                    <a:pt x="4829251" y="1580228"/>
                  </a:cubicBezTo>
                  <a:close/>
                  <a:moveTo>
                    <a:pt x="4695613" y="1580228"/>
                  </a:moveTo>
                  <a:cubicBezTo>
                    <a:pt x="4726095" y="1580228"/>
                    <a:pt x="4750805" y="1604938"/>
                    <a:pt x="4750805" y="1635419"/>
                  </a:cubicBezTo>
                  <a:cubicBezTo>
                    <a:pt x="4750805" y="1665900"/>
                    <a:pt x="4726095" y="1690610"/>
                    <a:pt x="4695613" y="1690610"/>
                  </a:cubicBezTo>
                  <a:cubicBezTo>
                    <a:pt x="4665131" y="1690610"/>
                    <a:pt x="4640421" y="1665900"/>
                    <a:pt x="4640421" y="1635419"/>
                  </a:cubicBezTo>
                  <a:cubicBezTo>
                    <a:pt x="4640421" y="1604938"/>
                    <a:pt x="4665131" y="1580228"/>
                    <a:pt x="4695613" y="1580228"/>
                  </a:cubicBezTo>
                  <a:close/>
                  <a:moveTo>
                    <a:pt x="4565322" y="1580228"/>
                  </a:moveTo>
                  <a:cubicBezTo>
                    <a:pt x="4595804" y="1580228"/>
                    <a:pt x="4620514" y="1604938"/>
                    <a:pt x="4620514" y="1635419"/>
                  </a:cubicBezTo>
                  <a:cubicBezTo>
                    <a:pt x="4620514" y="1665900"/>
                    <a:pt x="4595804" y="1690610"/>
                    <a:pt x="4565322" y="1690610"/>
                  </a:cubicBezTo>
                  <a:cubicBezTo>
                    <a:pt x="4534840" y="1690610"/>
                    <a:pt x="4510130" y="1665900"/>
                    <a:pt x="4510130" y="1635419"/>
                  </a:cubicBezTo>
                  <a:cubicBezTo>
                    <a:pt x="4510130" y="1604938"/>
                    <a:pt x="4534840" y="1580228"/>
                    <a:pt x="4565322" y="1580228"/>
                  </a:cubicBezTo>
                  <a:close/>
                  <a:moveTo>
                    <a:pt x="3098681" y="1580228"/>
                  </a:moveTo>
                  <a:cubicBezTo>
                    <a:pt x="3129163" y="1580228"/>
                    <a:pt x="3153873" y="1604938"/>
                    <a:pt x="3153873" y="1635419"/>
                  </a:cubicBezTo>
                  <a:cubicBezTo>
                    <a:pt x="3153873" y="1665900"/>
                    <a:pt x="3129163" y="1690610"/>
                    <a:pt x="3098681" y="1690610"/>
                  </a:cubicBezTo>
                  <a:cubicBezTo>
                    <a:pt x="3068199" y="1690610"/>
                    <a:pt x="3043489" y="1665900"/>
                    <a:pt x="3043489" y="1635419"/>
                  </a:cubicBezTo>
                  <a:cubicBezTo>
                    <a:pt x="3043489" y="1604938"/>
                    <a:pt x="3068199" y="1580228"/>
                    <a:pt x="3098681" y="1580228"/>
                  </a:cubicBezTo>
                  <a:close/>
                  <a:moveTo>
                    <a:pt x="2971729" y="1580228"/>
                  </a:moveTo>
                  <a:cubicBezTo>
                    <a:pt x="3002211" y="1580228"/>
                    <a:pt x="3026921" y="1604938"/>
                    <a:pt x="3026921" y="1635419"/>
                  </a:cubicBezTo>
                  <a:cubicBezTo>
                    <a:pt x="3026921" y="1665900"/>
                    <a:pt x="3002211" y="1690610"/>
                    <a:pt x="2971729" y="1690610"/>
                  </a:cubicBezTo>
                  <a:cubicBezTo>
                    <a:pt x="2941247" y="1690610"/>
                    <a:pt x="2916537" y="1665900"/>
                    <a:pt x="2916537" y="1635419"/>
                  </a:cubicBezTo>
                  <a:cubicBezTo>
                    <a:pt x="2916537" y="1604938"/>
                    <a:pt x="2941247" y="1580228"/>
                    <a:pt x="2971729" y="1580228"/>
                  </a:cubicBezTo>
                  <a:close/>
                  <a:moveTo>
                    <a:pt x="2834783" y="1580228"/>
                  </a:moveTo>
                  <a:cubicBezTo>
                    <a:pt x="2865264" y="1580228"/>
                    <a:pt x="2889974" y="1604938"/>
                    <a:pt x="2889974" y="1635419"/>
                  </a:cubicBezTo>
                  <a:cubicBezTo>
                    <a:pt x="2889974" y="1665900"/>
                    <a:pt x="2865264" y="1690610"/>
                    <a:pt x="2834783" y="1690610"/>
                  </a:cubicBezTo>
                  <a:cubicBezTo>
                    <a:pt x="2804300" y="1690610"/>
                    <a:pt x="2779590" y="1665900"/>
                    <a:pt x="2779590" y="1635419"/>
                  </a:cubicBezTo>
                  <a:cubicBezTo>
                    <a:pt x="2779590" y="1604938"/>
                    <a:pt x="2804300" y="1580228"/>
                    <a:pt x="2834783" y="1580228"/>
                  </a:cubicBezTo>
                  <a:close/>
                  <a:moveTo>
                    <a:pt x="2707828" y="1580228"/>
                  </a:moveTo>
                  <a:cubicBezTo>
                    <a:pt x="2738310" y="1580228"/>
                    <a:pt x="2763021" y="1604938"/>
                    <a:pt x="2763021" y="1635419"/>
                  </a:cubicBezTo>
                  <a:cubicBezTo>
                    <a:pt x="2763021" y="1665900"/>
                    <a:pt x="2738310" y="1690610"/>
                    <a:pt x="2707828" y="1690610"/>
                  </a:cubicBezTo>
                  <a:cubicBezTo>
                    <a:pt x="2677345" y="1690610"/>
                    <a:pt x="2652636" y="1665900"/>
                    <a:pt x="2652636" y="1635419"/>
                  </a:cubicBezTo>
                  <a:cubicBezTo>
                    <a:pt x="2652636" y="1604938"/>
                    <a:pt x="2677345" y="1580228"/>
                    <a:pt x="2707828" y="1580228"/>
                  </a:cubicBezTo>
                  <a:close/>
                  <a:moveTo>
                    <a:pt x="2570854" y="1580228"/>
                  </a:moveTo>
                  <a:cubicBezTo>
                    <a:pt x="2601336" y="1580228"/>
                    <a:pt x="2626046" y="1604938"/>
                    <a:pt x="2626046" y="1635419"/>
                  </a:cubicBezTo>
                  <a:cubicBezTo>
                    <a:pt x="2626046" y="1665900"/>
                    <a:pt x="2601336" y="1690610"/>
                    <a:pt x="2570854" y="1690610"/>
                  </a:cubicBezTo>
                  <a:cubicBezTo>
                    <a:pt x="2540372" y="1690610"/>
                    <a:pt x="2515662" y="1665900"/>
                    <a:pt x="2515662" y="1635419"/>
                  </a:cubicBezTo>
                  <a:cubicBezTo>
                    <a:pt x="2515662" y="1604938"/>
                    <a:pt x="2540372" y="1580228"/>
                    <a:pt x="2570854" y="1580228"/>
                  </a:cubicBezTo>
                  <a:close/>
                  <a:moveTo>
                    <a:pt x="2437218" y="1580228"/>
                  </a:moveTo>
                  <a:cubicBezTo>
                    <a:pt x="2467700" y="1580228"/>
                    <a:pt x="2492409" y="1604938"/>
                    <a:pt x="2492409" y="1635419"/>
                  </a:cubicBezTo>
                  <a:cubicBezTo>
                    <a:pt x="2492409" y="1665900"/>
                    <a:pt x="2467700" y="1690610"/>
                    <a:pt x="2437218" y="1690610"/>
                  </a:cubicBezTo>
                  <a:cubicBezTo>
                    <a:pt x="2406736" y="1690610"/>
                    <a:pt x="2382026" y="1665900"/>
                    <a:pt x="2382026" y="1635419"/>
                  </a:cubicBezTo>
                  <a:cubicBezTo>
                    <a:pt x="2382026" y="1604938"/>
                    <a:pt x="2406736" y="1580228"/>
                    <a:pt x="2437218" y="1580228"/>
                  </a:cubicBezTo>
                  <a:close/>
                  <a:moveTo>
                    <a:pt x="2303586" y="1580228"/>
                  </a:moveTo>
                  <a:cubicBezTo>
                    <a:pt x="2334067" y="1580228"/>
                    <a:pt x="2358778" y="1604938"/>
                    <a:pt x="2358778" y="1635419"/>
                  </a:cubicBezTo>
                  <a:cubicBezTo>
                    <a:pt x="2358778" y="1665900"/>
                    <a:pt x="2334067" y="1690610"/>
                    <a:pt x="2303586" y="1690610"/>
                  </a:cubicBezTo>
                  <a:cubicBezTo>
                    <a:pt x="2273104" y="1690610"/>
                    <a:pt x="2248394" y="1665900"/>
                    <a:pt x="2248394" y="1635419"/>
                  </a:cubicBezTo>
                  <a:cubicBezTo>
                    <a:pt x="2248394" y="1604938"/>
                    <a:pt x="2273104" y="1580228"/>
                    <a:pt x="2303586" y="1580228"/>
                  </a:cubicBezTo>
                  <a:close/>
                  <a:moveTo>
                    <a:pt x="2173293" y="1580228"/>
                  </a:moveTo>
                  <a:cubicBezTo>
                    <a:pt x="2203775" y="1580228"/>
                    <a:pt x="2228486" y="1604938"/>
                    <a:pt x="2228486" y="1635419"/>
                  </a:cubicBezTo>
                  <a:cubicBezTo>
                    <a:pt x="2228486" y="1665900"/>
                    <a:pt x="2203775" y="1690610"/>
                    <a:pt x="2173293" y="1690610"/>
                  </a:cubicBezTo>
                  <a:cubicBezTo>
                    <a:pt x="2142811" y="1690610"/>
                    <a:pt x="2118101" y="1665900"/>
                    <a:pt x="2118101" y="1635419"/>
                  </a:cubicBezTo>
                  <a:cubicBezTo>
                    <a:pt x="2118101" y="1604938"/>
                    <a:pt x="2142811" y="1580228"/>
                    <a:pt x="2173293" y="1580228"/>
                  </a:cubicBezTo>
                  <a:close/>
                  <a:moveTo>
                    <a:pt x="2039658" y="1580228"/>
                  </a:moveTo>
                  <a:cubicBezTo>
                    <a:pt x="2070140" y="1580228"/>
                    <a:pt x="2094851" y="1604938"/>
                    <a:pt x="2094851" y="1635419"/>
                  </a:cubicBezTo>
                  <a:cubicBezTo>
                    <a:pt x="2094851" y="1665900"/>
                    <a:pt x="2070140" y="1690610"/>
                    <a:pt x="2039658" y="1690610"/>
                  </a:cubicBezTo>
                  <a:cubicBezTo>
                    <a:pt x="2009176" y="1690610"/>
                    <a:pt x="1984465" y="1665900"/>
                    <a:pt x="1984465" y="1635419"/>
                  </a:cubicBezTo>
                  <a:cubicBezTo>
                    <a:pt x="1984465" y="1604938"/>
                    <a:pt x="2009176" y="1580228"/>
                    <a:pt x="2039658" y="1580228"/>
                  </a:cubicBezTo>
                  <a:close/>
                  <a:moveTo>
                    <a:pt x="9068807" y="1459958"/>
                  </a:moveTo>
                  <a:cubicBezTo>
                    <a:pt x="9099289" y="1459958"/>
                    <a:pt x="9123999" y="1484668"/>
                    <a:pt x="9123999" y="1515149"/>
                  </a:cubicBezTo>
                  <a:cubicBezTo>
                    <a:pt x="9123999" y="1545630"/>
                    <a:pt x="9099289" y="1570340"/>
                    <a:pt x="9068807" y="1570340"/>
                  </a:cubicBezTo>
                  <a:cubicBezTo>
                    <a:pt x="9038325" y="1570340"/>
                    <a:pt x="9013615" y="1545630"/>
                    <a:pt x="9013615" y="1515149"/>
                  </a:cubicBezTo>
                  <a:cubicBezTo>
                    <a:pt x="9013615" y="1484668"/>
                    <a:pt x="9038325" y="1459958"/>
                    <a:pt x="9068807" y="1459958"/>
                  </a:cubicBezTo>
                  <a:close/>
                  <a:moveTo>
                    <a:pt x="8671244" y="1459958"/>
                  </a:moveTo>
                  <a:cubicBezTo>
                    <a:pt x="8701726" y="1459958"/>
                    <a:pt x="8726436" y="1484668"/>
                    <a:pt x="8726436" y="1515149"/>
                  </a:cubicBezTo>
                  <a:cubicBezTo>
                    <a:pt x="8726436" y="1545630"/>
                    <a:pt x="8701726" y="1570340"/>
                    <a:pt x="8671244" y="1570340"/>
                  </a:cubicBezTo>
                  <a:cubicBezTo>
                    <a:pt x="8640762" y="1570340"/>
                    <a:pt x="8616052" y="1545630"/>
                    <a:pt x="8616052" y="1515149"/>
                  </a:cubicBezTo>
                  <a:cubicBezTo>
                    <a:pt x="8616052" y="1484668"/>
                    <a:pt x="8640762" y="1459958"/>
                    <a:pt x="8671244" y="1459958"/>
                  </a:cubicBezTo>
                  <a:close/>
                  <a:moveTo>
                    <a:pt x="8537612" y="1459958"/>
                  </a:moveTo>
                  <a:cubicBezTo>
                    <a:pt x="8568094" y="1459958"/>
                    <a:pt x="8592804" y="1484668"/>
                    <a:pt x="8592804" y="1515149"/>
                  </a:cubicBezTo>
                  <a:cubicBezTo>
                    <a:pt x="8592804" y="1545630"/>
                    <a:pt x="8568094" y="1570340"/>
                    <a:pt x="8537612" y="1570340"/>
                  </a:cubicBezTo>
                  <a:cubicBezTo>
                    <a:pt x="8507130" y="1570340"/>
                    <a:pt x="8482420" y="1545630"/>
                    <a:pt x="8482420" y="1515149"/>
                  </a:cubicBezTo>
                  <a:cubicBezTo>
                    <a:pt x="8482420" y="1484668"/>
                    <a:pt x="8507130" y="1459958"/>
                    <a:pt x="8537612" y="1459958"/>
                  </a:cubicBezTo>
                  <a:close/>
                  <a:moveTo>
                    <a:pt x="8407316" y="1459958"/>
                  </a:moveTo>
                  <a:cubicBezTo>
                    <a:pt x="8437798" y="1459958"/>
                    <a:pt x="8462508" y="1484668"/>
                    <a:pt x="8462508" y="1515149"/>
                  </a:cubicBezTo>
                  <a:cubicBezTo>
                    <a:pt x="8462508" y="1545630"/>
                    <a:pt x="8437798" y="1570340"/>
                    <a:pt x="8407316" y="1570340"/>
                  </a:cubicBezTo>
                  <a:cubicBezTo>
                    <a:pt x="8376834" y="1570340"/>
                    <a:pt x="8352124" y="1545630"/>
                    <a:pt x="8352124" y="1515149"/>
                  </a:cubicBezTo>
                  <a:cubicBezTo>
                    <a:pt x="8352124" y="1484668"/>
                    <a:pt x="8376834" y="1459958"/>
                    <a:pt x="8407316" y="1459958"/>
                  </a:cubicBezTo>
                  <a:close/>
                  <a:moveTo>
                    <a:pt x="8273682" y="1459958"/>
                  </a:moveTo>
                  <a:cubicBezTo>
                    <a:pt x="8304164" y="1459958"/>
                    <a:pt x="8328874" y="1484668"/>
                    <a:pt x="8328874" y="1515149"/>
                  </a:cubicBezTo>
                  <a:cubicBezTo>
                    <a:pt x="8328874" y="1545630"/>
                    <a:pt x="8304164" y="1570340"/>
                    <a:pt x="8273682" y="1570340"/>
                  </a:cubicBezTo>
                  <a:cubicBezTo>
                    <a:pt x="8243200" y="1570340"/>
                    <a:pt x="8218490" y="1545630"/>
                    <a:pt x="8218490" y="1515149"/>
                  </a:cubicBezTo>
                  <a:cubicBezTo>
                    <a:pt x="8218490" y="1484668"/>
                    <a:pt x="8243200" y="1459958"/>
                    <a:pt x="8273682" y="1459958"/>
                  </a:cubicBezTo>
                  <a:close/>
                  <a:moveTo>
                    <a:pt x="8143388" y="1459958"/>
                  </a:moveTo>
                  <a:cubicBezTo>
                    <a:pt x="8173870" y="1459958"/>
                    <a:pt x="8198580" y="1484668"/>
                    <a:pt x="8198580" y="1515149"/>
                  </a:cubicBezTo>
                  <a:cubicBezTo>
                    <a:pt x="8198580" y="1545630"/>
                    <a:pt x="8173870" y="1570340"/>
                    <a:pt x="8143388" y="1570340"/>
                  </a:cubicBezTo>
                  <a:cubicBezTo>
                    <a:pt x="8112906" y="1570340"/>
                    <a:pt x="8088196" y="1545630"/>
                    <a:pt x="8088196" y="1515149"/>
                  </a:cubicBezTo>
                  <a:cubicBezTo>
                    <a:pt x="8088196" y="1484668"/>
                    <a:pt x="8112906" y="1459958"/>
                    <a:pt x="8143388" y="1459958"/>
                  </a:cubicBezTo>
                  <a:close/>
                  <a:moveTo>
                    <a:pt x="8009753" y="1459958"/>
                  </a:moveTo>
                  <a:cubicBezTo>
                    <a:pt x="8040235" y="1459958"/>
                    <a:pt x="8064945" y="1484668"/>
                    <a:pt x="8064945" y="1515149"/>
                  </a:cubicBezTo>
                  <a:cubicBezTo>
                    <a:pt x="8064945" y="1545630"/>
                    <a:pt x="8040235" y="1570340"/>
                    <a:pt x="8009753" y="1570340"/>
                  </a:cubicBezTo>
                  <a:cubicBezTo>
                    <a:pt x="7979271" y="1570340"/>
                    <a:pt x="7954561" y="1545630"/>
                    <a:pt x="7954561" y="1515149"/>
                  </a:cubicBezTo>
                  <a:cubicBezTo>
                    <a:pt x="7954561" y="1484668"/>
                    <a:pt x="7979271" y="1459958"/>
                    <a:pt x="8009753" y="1459958"/>
                  </a:cubicBezTo>
                  <a:close/>
                  <a:moveTo>
                    <a:pt x="7876118" y="1459958"/>
                  </a:moveTo>
                  <a:cubicBezTo>
                    <a:pt x="7906600" y="1459958"/>
                    <a:pt x="7931310" y="1484668"/>
                    <a:pt x="7931310" y="1515149"/>
                  </a:cubicBezTo>
                  <a:cubicBezTo>
                    <a:pt x="7931310" y="1545630"/>
                    <a:pt x="7906600" y="1570340"/>
                    <a:pt x="7876118" y="1570340"/>
                  </a:cubicBezTo>
                  <a:cubicBezTo>
                    <a:pt x="7845636" y="1570340"/>
                    <a:pt x="7820926" y="1545630"/>
                    <a:pt x="7820926" y="1515149"/>
                  </a:cubicBezTo>
                  <a:cubicBezTo>
                    <a:pt x="7820926" y="1484668"/>
                    <a:pt x="7845636" y="1459958"/>
                    <a:pt x="7876118" y="1459958"/>
                  </a:cubicBezTo>
                  <a:close/>
                  <a:moveTo>
                    <a:pt x="7745823" y="1459958"/>
                  </a:moveTo>
                  <a:cubicBezTo>
                    <a:pt x="7776305" y="1459958"/>
                    <a:pt x="7801015" y="1484668"/>
                    <a:pt x="7801015" y="1515149"/>
                  </a:cubicBezTo>
                  <a:cubicBezTo>
                    <a:pt x="7801015" y="1545630"/>
                    <a:pt x="7776305" y="1570340"/>
                    <a:pt x="7745823" y="1570340"/>
                  </a:cubicBezTo>
                  <a:cubicBezTo>
                    <a:pt x="7715341" y="1570340"/>
                    <a:pt x="7690631" y="1545630"/>
                    <a:pt x="7690631" y="1515149"/>
                  </a:cubicBezTo>
                  <a:cubicBezTo>
                    <a:pt x="7690631" y="1484668"/>
                    <a:pt x="7715341" y="1459958"/>
                    <a:pt x="7745823" y="1459958"/>
                  </a:cubicBezTo>
                  <a:close/>
                  <a:moveTo>
                    <a:pt x="7608849" y="1459958"/>
                  </a:moveTo>
                  <a:cubicBezTo>
                    <a:pt x="7639331" y="1459958"/>
                    <a:pt x="7664041" y="1484668"/>
                    <a:pt x="7664041" y="1515149"/>
                  </a:cubicBezTo>
                  <a:cubicBezTo>
                    <a:pt x="7664041" y="1545630"/>
                    <a:pt x="7639331" y="1570340"/>
                    <a:pt x="7608849" y="1570340"/>
                  </a:cubicBezTo>
                  <a:cubicBezTo>
                    <a:pt x="7578367" y="1570340"/>
                    <a:pt x="7553657" y="1545630"/>
                    <a:pt x="7553657" y="1515149"/>
                  </a:cubicBezTo>
                  <a:cubicBezTo>
                    <a:pt x="7553657" y="1484668"/>
                    <a:pt x="7578367" y="1459958"/>
                    <a:pt x="7608849" y="1459958"/>
                  </a:cubicBezTo>
                  <a:close/>
                  <a:moveTo>
                    <a:pt x="7481897" y="1459958"/>
                  </a:moveTo>
                  <a:cubicBezTo>
                    <a:pt x="7512379" y="1459958"/>
                    <a:pt x="7537089" y="1484668"/>
                    <a:pt x="7537089" y="1515149"/>
                  </a:cubicBezTo>
                  <a:cubicBezTo>
                    <a:pt x="7537089" y="1545630"/>
                    <a:pt x="7512379" y="1570340"/>
                    <a:pt x="7481897" y="1570340"/>
                  </a:cubicBezTo>
                  <a:cubicBezTo>
                    <a:pt x="7451415" y="1570340"/>
                    <a:pt x="7426705" y="1545630"/>
                    <a:pt x="7426705" y="1515149"/>
                  </a:cubicBezTo>
                  <a:cubicBezTo>
                    <a:pt x="7426705" y="1484668"/>
                    <a:pt x="7451415" y="1459958"/>
                    <a:pt x="7481897" y="1459958"/>
                  </a:cubicBezTo>
                  <a:close/>
                  <a:moveTo>
                    <a:pt x="7341579" y="1459958"/>
                  </a:moveTo>
                  <a:cubicBezTo>
                    <a:pt x="7372061" y="1459958"/>
                    <a:pt x="7396771" y="1484668"/>
                    <a:pt x="7396771" y="1515149"/>
                  </a:cubicBezTo>
                  <a:cubicBezTo>
                    <a:pt x="7396771" y="1545630"/>
                    <a:pt x="7372061" y="1570340"/>
                    <a:pt x="7341579" y="1570340"/>
                  </a:cubicBezTo>
                  <a:cubicBezTo>
                    <a:pt x="7311097" y="1570340"/>
                    <a:pt x="7286387" y="1545630"/>
                    <a:pt x="7286387" y="1515149"/>
                  </a:cubicBezTo>
                  <a:cubicBezTo>
                    <a:pt x="7286387" y="1484668"/>
                    <a:pt x="7311097" y="1459958"/>
                    <a:pt x="7341579" y="1459958"/>
                  </a:cubicBezTo>
                  <a:close/>
                  <a:moveTo>
                    <a:pt x="7211286" y="1459958"/>
                  </a:moveTo>
                  <a:cubicBezTo>
                    <a:pt x="7241768" y="1459958"/>
                    <a:pt x="7266478" y="1484668"/>
                    <a:pt x="7266478" y="1515149"/>
                  </a:cubicBezTo>
                  <a:cubicBezTo>
                    <a:pt x="7266478" y="1545630"/>
                    <a:pt x="7241768" y="1570340"/>
                    <a:pt x="7211286" y="1570340"/>
                  </a:cubicBezTo>
                  <a:cubicBezTo>
                    <a:pt x="7180804" y="1570340"/>
                    <a:pt x="7156094" y="1545630"/>
                    <a:pt x="7156094" y="1515149"/>
                  </a:cubicBezTo>
                  <a:cubicBezTo>
                    <a:pt x="7156094" y="1484668"/>
                    <a:pt x="7180804" y="1459958"/>
                    <a:pt x="7211286" y="1459958"/>
                  </a:cubicBezTo>
                  <a:close/>
                  <a:moveTo>
                    <a:pt x="7080993" y="1459958"/>
                  </a:moveTo>
                  <a:cubicBezTo>
                    <a:pt x="7111475" y="1459958"/>
                    <a:pt x="7136185" y="1484668"/>
                    <a:pt x="7136185" y="1515149"/>
                  </a:cubicBezTo>
                  <a:cubicBezTo>
                    <a:pt x="7136185" y="1545630"/>
                    <a:pt x="7111475" y="1570340"/>
                    <a:pt x="7080993" y="1570340"/>
                  </a:cubicBezTo>
                  <a:cubicBezTo>
                    <a:pt x="7050511" y="1570340"/>
                    <a:pt x="7025801" y="1545630"/>
                    <a:pt x="7025801" y="1515149"/>
                  </a:cubicBezTo>
                  <a:cubicBezTo>
                    <a:pt x="7025801" y="1484668"/>
                    <a:pt x="7050511" y="1459958"/>
                    <a:pt x="7080993" y="1459958"/>
                  </a:cubicBezTo>
                  <a:close/>
                  <a:moveTo>
                    <a:pt x="6947357" y="1459958"/>
                  </a:moveTo>
                  <a:cubicBezTo>
                    <a:pt x="6977839" y="1459958"/>
                    <a:pt x="7002549" y="1484668"/>
                    <a:pt x="7002549" y="1515149"/>
                  </a:cubicBezTo>
                  <a:cubicBezTo>
                    <a:pt x="7002549" y="1545630"/>
                    <a:pt x="6977839" y="1570340"/>
                    <a:pt x="6947357" y="1570340"/>
                  </a:cubicBezTo>
                  <a:cubicBezTo>
                    <a:pt x="6916875" y="1570340"/>
                    <a:pt x="6892165" y="1545630"/>
                    <a:pt x="6892165" y="1515149"/>
                  </a:cubicBezTo>
                  <a:cubicBezTo>
                    <a:pt x="6892165" y="1484668"/>
                    <a:pt x="6916875" y="1459958"/>
                    <a:pt x="6947357" y="1459958"/>
                  </a:cubicBezTo>
                  <a:close/>
                  <a:moveTo>
                    <a:pt x="6817064" y="1459958"/>
                  </a:moveTo>
                  <a:cubicBezTo>
                    <a:pt x="6847546" y="1459958"/>
                    <a:pt x="6872256" y="1484668"/>
                    <a:pt x="6872256" y="1515149"/>
                  </a:cubicBezTo>
                  <a:cubicBezTo>
                    <a:pt x="6872256" y="1545630"/>
                    <a:pt x="6847546" y="1570340"/>
                    <a:pt x="6817064" y="1570340"/>
                  </a:cubicBezTo>
                  <a:cubicBezTo>
                    <a:pt x="6786582" y="1570340"/>
                    <a:pt x="6761872" y="1545630"/>
                    <a:pt x="6761872" y="1515149"/>
                  </a:cubicBezTo>
                  <a:cubicBezTo>
                    <a:pt x="6761872" y="1484668"/>
                    <a:pt x="6786582" y="1459958"/>
                    <a:pt x="6817064" y="1459958"/>
                  </a:cubicBezTo>
                  <a:close/>
                  <a:moveTo>
                    <a:pt x="6683431" y="1459958"/>
                  </a:moveTo>
                  <a:cubicBezTo>
                    <a:pt x="6713913" y="1459958"/>
                    <a:pt x="6738623" y="1484668"/>
                    <a:pt x="6738623" y="1515149"/>
                  </a:cubicBezTo>
                  <a:cubicBezTo>
                    <a:pt x="6738623" y="1545630"/>
                    <a:pt x="6713913" y="1570340"/>
                    <a:pt x="6683431" y="1570340"/>
                  </a:cubicBezTo>
                  <a:cubicBezTo>
                    <a:pt x="6652949" y="1570340"/>
                    <a:pt x="6628239" y="1545630"/>
                    <a:pt x="6628239" y="1515149"/>
                  </a:cubicBezTo>
                  <a:cubicBezTo>
                    <a:pt x="6628239" y="1484668"/>
                    <a:pt x="6652949" y="1459958"/>
                    <a:pt x="6683431" y="1459958"/>
                  </a:cubicBezTo>
                  <a:close/>
                  <a:moveTo>
                    <a:pt x="6553137" y="1459958"/>
                  </a:moveTo>
                  <a:cubicBezTo>
                    <a:pt x="6583619" y="1459958"/>
                    <a:pt x="6608329" y="1484668"/>
                    <a:pt x="6608329" y="1515149"/>
                  </a:cubicBezTo>
                  <a:cubicBezTo>
                    <a:pt x="6608329" y="1545630"/>
                    <a:pt x="6583619" y="1570340"/>
                    <a:pt x="6553137" y="1570340"/>
                  </a:cubicBezTo>
                  <a:cubicBezTo>
                    <a:pt x="6522655" y="1570340"/>
                    <a:pt x="6497945" y="1545630"/>
                    <a:pt x="6497945" y="1515149"/>
                  </a:cubicBezTo>
                  <a:cubicBezTo>
                    <a:pt x="6497945" y="1484668"/>
                    <a:pt x="6522655" y="1459958"/>
                    <a:pt x="6553137" y="1459958"/>
                  </a:cubicBezTo>
                  <a:close/>
                  <a:moveTo>
                    <a:pt x="6419502" y="1459958"/>
                  </a:moveTo>
                  <a:cubicBezTo>
                    <a:pt x="6449984" y="1459958"/>
                    <a:pt x="6474694" y="1484668"/>
                    <a:pt x="6474694" y="1515149"/>
                  </a:cubicBezTo>
                  <a:cubicBezTo>
                    <a:pt x="6474694" y="1545630"/>
                    <a:pt x="6449984" y="1570340"/>
                    <a:pt x="6419502" y="1570340"/>
                  </a:cubicBezTo>
                  <a:cubicBezTo>
                    <a:pt x="6389020" y="1570340"/>
                    <a:pt x="6364310" y="1545630"/>
                    <a:pt x="6364310" y="1515149"/>
                  </a:cubicBezTo>
                  <a:cubicBezTo>
                    <a:pt x="6364310" y="1484668"/>
                    <a:pt x="6389020" y="1459958"/>
                    <a:pt x="6419502" y="1459958"/>
                  </a:cubicBezTo>
                  <a:close/>
                  <a:moveTo>
                    <a:pt x="6289207" y="1459958"/>
                  </a:moveTo>
                  <a:cubicBezTo>
                    <a:pt x="6319689" y="1459958"/>
                    <a:pt x="6344399" y="1484668"/>
                    <a:pt x="6344399" y="1515149"/>
                  </a:cubicBezTo>
                  <a:cubicBezTo>
                    <a:pt x="6344399" y="1545630"/>
                    <a:pt x="6319689" y="1570340"/>
                    <a:pt x="6289207" y="1570340"/>
                  </a:cubicBezTo>
                  <a:cubicBezTo>
                    <a:pt x="6258725" y="1570340"/>
                    <a:pt x="6234015" y="1545630"/>
                    <a:pt x="6234015" y="1515149"/>
                  </a:cubicBezTo>
                  <a:cubicBezTo>
                    <a:pt x="6234015" y="1484668"/>
                    <a:pt x="6258725" y="1459958"/>
                    <a:pt x="6289207" y="1459958"/>
                  </a:cubicBezTo>
                  <a:close/>
                  <a:moveTo>
                    <a:pt x="6155573" y="1459958"/>
                  </a:moveTo>
                  <a:cubicBezTo>
                    <a:pt x="6186055" y="1459958"/>
                    <a:pt x="6210765" y="1484668"/>
                    <a:pt x="6210765" y="1515149"/>
                  </a:cubicBezTo>
                  <a:cubicBezTo>
                    <a:pt x="6210765" y="1545630"/>
                    <a:pt x="6186055" y="1570340"/>
                    <a:pt x="6155573" y="1570340"/>
                  </a:cubicBezTo>
                  <a:cubicBezTo>
                    <a:pt x="6125091" y="1570340"/>
                    <a:pt x="6100381" y="1545630"/>
                    <a:pt x="6100381" y="1515149"/>
                  </a:cubicBezTo>
                  <a:cubicBezTo>
                    <a:pt x="6100381" y="1484668"/>
                    <a:pt x="6125091" y="1459958"/>
                    <a:pt x="6155573" y="1459958"/>
                  </a:cubicBezTo>
                  <a:close/>
                  <a:moveTo>
                    <a:pt x="6021939" y="1459958"/>
                  </a:moveTo>
                  <a:cubicBezTo>
                    <a:pt x="6052421" y="1459958"/>
                    <a:pt x="6077131" y="1484668"/>
                    <a:pt x="6077131" y="1515149"/>
                  </a:cubicBezTo>
                  <a:cubicBezTo>
                    <a:pt x="6077131" y="1545630"/>
                    <a:pt x="6052421" y="1570340"/>
                    <a:pt x="6021939" y="1570340"/>
                  </a:cubicBezTo>
                  <a:cubicBezTo>
                    <a:pt x="5991457" y="1570340"/>
                    <a:pt x="5966747" y="1545630"/>
                    <a:pt x="5966747" y="1515149"/>
                  </a:cubicBezTo>
                  <a:cubicBezTo>
                    <a:pt x="5966747" y="1484668"/>
                    <a:pt x="5991457" y="1459958"/>
                    <a:pt x="6021939" y="1459958"/>
                  </a:cubicBezTo>
                  <a:close/>
                  <a:moveTo>
                    <a:pt x="5884964" y="1459958"/>
                  </a:moveTo>
                  <a:cubicBezTo>
                    <a:pt x="5915446" y="1459958"/>
                    <a:pt x="5940156" y="1484668"/>
                    <a:pt x="5940156" y="1515149"/>
                  </a:cubicBezTo>
                  <a:cubicBezTo>
                    <a:pt x="5940156" y="1545630"/>
                    <a:pt x="5915446" y="1570340"/>
                    <a:pt x="5884964" y="1570340"/>
                  </a:cubicBezTo>
                  <a:cubicBezTo>
                    <a:pt x="5854482" y="1570340"/>
                    <a:pt x="5829772" y="1545630"/>
                    <a:pt x="5829772" y="1515149"/>
                  </a:cubicBezTo>
                  <a:cubicBezTo>
                    <a:pt x="5829772" y="1484668"/>
                    <a:pt x="5854482" y="1459958"/>
                    <a:pt x="5884964" y="1459958"/>
                  </a:cubicBezTo>
                  <a:close/>
                  <a:moveTo>
                    <a:pt x="5754668" y="1459958"/>
                  </a:moveTo>
                  <a:cubicBezTo>
                    <a:pt x="5785150" y="1459958"/>
                    <a:pt x="5809860" y="1484668"/>
                    <a:pt x="5809860" y="1515149"/>
                  </a:cubicBezTo>
                  <a:cubicBezTo>
                    <a:pt x="5809860" y="1545630"/>
                    <a:pt x="5785150" y="1570340"/>
                    <a:pt x="5754668" y="1570340"/>
                  </a:cubicBezTo>
                  <a:cubicBezTo>
                    <a:pt x="5724186" y="1570340"/>
                    <a:pt x="5699476" y="1545630"/>
                    <a:pt x="5699476" y="1515149"/>
                  </a:cubicBezTo>
                  <a:cubicBezTo>
                    <a:pt x="5699476" y="1484668"/>
                    <a:pt x="5724186" y="1459958"/>
                    <a:pt x="5754668" y="1459958"/>
                  </a:cubicBezTo>
                  <a:close/>
                  <a:moveTo>
                    <a:pt x="5621034" y="1459958"/>
                  </a:moveTo>
                  <a:cubicBezTo>
                    <a:pt x="5651516" y="1459958"/>
                    <a:pt x="5676226" y="1484668"/>
                    <a:pt x="5676226" y="1515149"/>
                  </a:cubicBezTo>
                  <a:cubicBezTo>
                    <a:pt x="5676226" y="1545630"/>
                    <a:pt x="5651516" y="1570340"/>
                    <a:pt x="5621034" y="1570340"/>
                  </a:cubicBezTo>
                  <a:cubicBezTo>
                    <a:pt x="5590552" y="1570340"/>
                    <a:pt x="5565842" y="1545630"/>
                    <a:pt x="5565842" y="1515149"/>
                  </a:cubicBezTo>
                  <a:cubicBezTo>
                    <a:pt x="5565842" y="1484668"/>
                    <a:pt x="5590552" y="1459958"/>
                    <a:pt x="5621034" y="1459958"/>
                  </a:cubicBezTo>
                  <a:close/>
                  <a:moveTo>
                    <a:pt x="5487399" y="1459958"/>
                  </a:moveTo>
                  <a:cubicBezTo>
                    <a:pt x="5517881" y="1459958"/>
                    <a:pt x="5542591" y="1484668"/>
                    <a:pt x="5542591" y="1515149"/>
                  </a:cubicBezTo>
                  <a:cubicBezTo>
                    <a:pt x="5542591" y="1545630"/>
                    <a:pt x="5517881" y="1570340"/>
                    <a:pt x="5487399" y="1570340"/>
                  </a:cubicBezTo>
                  <a:cubicBezTo>
                    <a:pt x="5456917" y="1570340"/>
                    <a:pt x="5432207" y="1545630"/>
                    <a:pt x="5432207" y="1515149"/>
                  </a:cubicBezTo>
                  <a:cubicBezTo>
                    <a:pt x="5432207" y="1484668"/>
                    <a:pt x="5456917" y="1459958"/>
                    <a:pt x="5487399" y="1459958"/>
                  </a:cubicBezTo>
                  <a:close/>
                  <a:moveTo>
                    <a:pt x="5357106" y="1459958"/>
                  </a:moveTo>
                  <a:cubicBezTo>
                    <a:pt x="5387588" y="1459958"/>
                    <a:pt x="5412298" y="1484668"/>
                    <a:pt x="5412298" y="1515149"/>
                  </a:cubicBezTo>
                  <a:cubicBezTo>
                    <a:pt x="5412298" y="1545630"/>
                    <a:pt x="5387588" y="1570340"/>
                    <a:pt x="5357106" y="1570340"/>
                  </a:cubicBezTo>
                  <a:cubicBezTo>
                    <a:pt x="5326624" y="1570340"/>
                    <a:pt x="5301914" y="1545630"/>
                    <a:pt x="5301914" y="1515149"/>
                  </a:cubicBezTo>
                  <a:cubicBezTo>
                    <a:pt x="5301914" y="1484668"/>
                    <a:pt x="5326624" y="1459958"/>
                    <a:pt x="5357106" y="1459958"/>
                  </a:cubicBezTo>
                  <a:close/>
                  <a:moveTo>
                    <a:pt x="5223473" y="1459958"/>
                  </a:moveTo>
                  <a:cubicBezTo>
                    <a:pt x="5253955" y="1459958"/>
                    <a:pt x="5278665" y="1484668"/>
                    <a:pt x="5278665" y="1515149"/>
                  </a:cubicBezTo>
                  <a:cubicBezTo>
                    <a:pt x="5278665" y="1545630"/>
                    <a:pt x="5253955" y="1570340"/>
                    <a:pt x="5223473" y="1570340"/>
                  </a:cubicBezTo>
                  <a:cubicBezTo>
                    <a:pt x="5192991" y="1570340"/>
                    <a:pt x="5168281" y="1545630"/>
                    <a:pt x="5168281" y="1515149"/>
                  </a:cubicBezTo>
                  <a:cubicBezTo>
                    <a:pt x="5168281" y="1484668"/>
                    <a:pt x="5192991" y="1459958"/>
                    <a:pt x="5223473" y="1459958"/>
                  </a:cubicBezTo>
                  <a:close/>
                  <a:moveTo>
                    <a:pt x="5093178" y="1459958"/>
                  </a:moveTo>
                  <a:cubicBezTo>
                    <a:pt x="5123660" y="1459958"/>
                    <a:pt x="5148370" y="1484668"/>
                    <a:pt x="5148370" y="1515149"/>
                  </a:cubicBezTo>
                  <a:cubicBezTo>
                    <a:pt x="5148370" y="1545630"/>
                    <a:pt x="5123660" y="1570340"/>
                    <a:pt x="5093178" y="1570340"/>
                  </a:cubicBezTo>
                  <a:cubicBezTo>
                    <a:pt x="5062696" y="1570340"/>
                    <a:pt x="5037986" y="1545630"/>
                    <a:pt x="5037986" y="1515149"/>
                  </a:cubicBezTo>
                  <a:cubicBezTo>
                    <a:pt x="5037986" y="1484668"/>
                    <a:pt x="5062696" y="1459958"/>
                    <a:pt x="5093178" y="1459958"/>
                  </a:cubicBezTo>
                  <a:close/>
                  <a:moveTo>
                    <a:pt x="4959542" y="1459958"/>
                  </a:moveTo>
                  <a:cubicBezTo>
                    <a:pt x="4990024" y="1459958"/>
                    <a:pt x="5014734" y="1484668"/>
                    <a:pt x="5014734" y="1515149"/>
                  </a:cubicBezTo>
                  <a:cubicBezTo>
                    <a:pt x="5014734" y="1545630"/>
                    <a:pt x="4990024" y="1570340"/>
                    <a:pt x="4959542" y="1570340"/>
                  </a:cubicBezTo>
                  <a:cubicBezTo>
                    <a:pt x="4929060" y="1570340"/>
                    <a:pt x="4904350" y="1545630"/>
                    <a:pt x="4904350" y="1515149"/>
                  </a:cubicBezTo>
                  <a:cubicBezTo>
                    <a:pt x="4904350" y="1484668"/>
                    <a:pt x="4929060" y="1459958"/>
                    <a:pt x="4959542" y="1459958"/>
                  </a:cubicBezTo>
                  <a:close/>
                  <a:moveTo>
                    <a:pt x="4829250" y="1459958"/>
                  </a:moveTo>
                  <a:cubicBezTo>
                    <a:pt x="4859732" y="1459958"/>
                    <a:pt x="4884442" y="1484668"/>
                    <a:pt x="4884442" y="1515149"/>
                  </a:cubicBezTo>
                  <a:cubicBezTo>
                    <a:pt x="4884442" y="1545630"/>
                    <a:pt x="4859732" y="1570340"/>
                    <a:pt x="4829250" y="1570340"/>
                  </a:cubicBezTo>
                  <a:cubicBezTo>
                    <a:pt x="4798768" y="1570340"/>
                    <a:pt x="4774058" y="1545630"/>
                    <a:pt x="4774058" y="1515149"/>
                  </a:cubicBezTo>
                  <a:cubicBezTo>
                    <a:pt x="4774058" y="1484668"/>
                    <a:pt x="4798768" y="1459958"/>
                    <a:pt x="4829250" y="1459958"/>
                  </a:cubicBezTo>
                  <a:close/>
                  <a:moveTo>
                    <a:pt x="4695614" y="1459958"/>
                  </a:moveTo>
                  <a:cubicBezTo>
                    <a:pt x="4726096" y="1459958"/>
                    <a:pt x="4750806" y="1484668"/>
                    <a:pt x="4750806" y="1515149"/>
                  </a:cubicBezTo>
                  <a:cubicBezTo>
                    <a:pt x="4750806" y="1545630"/>
                    <a:pt x="4726096" y="1570340"/>
                    <a:pt x="4695614" y="1570340"/>
                  </a:cubicBezTo>
                  <a:cubicBezTo>
                    <a:pt x="4665132" y="1570340"/>
                    <a:pt x="4640422" y="1545630"/>
                    <a:pt x="4640422" y="1515149"/>
                  </a:cubicBezTo>
                  <a:cubicBezTo>
                    <a:pt x="4640422" y="1484668"/>
                    <a:pt x="4665132" y="1459958"/>
                    <a:pt x="4695614" y="1459958"/>
                  </a:cubicBezTo>
                  <a:close/>
                  <a:moveTo>
                    <a:pt x="4565322" y="1459958"/>
                  </a:moveTo>
                  <a:cubicBezTo>
                    <a:pt x="4595804" y="1459958"/>
                    <a:pt x="4620514" y="1484668"/>
                    <a:pt x="4620514" y="1515149"/>
                  </a:cubicBezTo>
                  <a:cubicBezTo>
                    <a:pt x="4620514" y="1545630"/>
                    <a:pt x="4595804" y="1570340"/>
                    <a:pt x="4565322" y="1570340"/>
                  </a:cubicBezTo>
                  <a:cubicBezTo>
                    <a:pt x="4534840" y="1570340"/>
                    <a:pt x="4510130" y="1545630"/>
                    <a:pt x="4510130" y="1515149"/>
                  </a:cubicBezTo>
                  <a:cubicBezTo>
                    <a:pt x="4510130" y="1484668"/>
                    <a:pt x="4534840" y="1459958"/>
                    <a:pt x="4565322" y="1459958"/>
                  </a:cubicBezTo>
                  <a:close/>
                  <a:moveTo>
                    <a:pt x="4431687" y="1459958"/>
                  </a:moveTo>
                  <a:cubicBezTo>
                    <a:pt x="4462169" y="1459958"/>
                    <a:pt x="4486879" y="1484668"/>
                    <a:pt x="4486879" y="1515149"/>
                  </a:cubicBezTo>
                  <a:cubicBezTo>
                    <a:pt x="4486879" y="1545630"/>
                    <a:pt x="4462169" y="1570340"/>
                    <a:pt x="4431687" y="1570340"/>
                  </a:cubicBezTo>
                  <a:cubicBezTo>
                    <a:pt x="4401205" y="1570340"/>
                    <a:pt x="4376495" y="1545630"/>
                    <a:pt x="4376495" y="1515149"/>
                  </a:cubicBezTo>
                  <a:cubicBezTo>
                    <a:pt x="4376495" y="1484668"/>
                    <a:pt x="4401205" y="1459958"/>
                    <a:pt x="4431687" y="1459958"/>
                  </a:cubicBezTo>
                  <a:close/>
                  <a:moveTo>
                    <a:pt x="3098681" y="1459958"/>
                  </a:moveTo>
                  <a:cubicBezTo>
                    <a:pt x="3129163" y="1459958"/>
                    <a:pt x="3153873" y="1484668"/>
                    <a:pt x="3153873" y="1515149"/>
                  </a:cubicBezTo>
                  <a:cubicBezTo>
                    <a:pt x="3153873" y="1545630"/>
                    <a:pt x="3129163" y="1570340"/>
                    <a:pt x="3098681" y="1570340"/>
                  </a:cubicBezTo>
                  <a:cubicBezTo>
                    <a:pt x="3068199" y="1570340"/>
                    <a:pt x="3043489" y="1545630"/>
                    <a:pt x="3043489" y="1515149"/>
                  </a:cubicBezTo>
                  <a:cubicBezTo>
                    <a:pt x="3043489" y="1484668"/>
                    <a:pt x="3068199" y="1459958"/>
                    <a:pt x="3098681" y="1459958"/>
                  </a:cubicBezTo>
                  <a:close/>
                  <a:moveTo>
                    <a:pt x="2971729" y="1459958"/>
                  </a:moveTo>
                  <a:cubicBezTo>
                    <a:pt x="3002211" y="1459958"/>
                    <a:pt x="3026921" y="1484668"/>
                    <a:pt x="3026921" y="1515149"/>
                  </a:cubicBezTo>
                  <a:cubicBezTo>
                    <a:pt x="3026921" y="1545630"/>
                    <a:pt x="3002211" y="1570340"/>
                    <a:pt x="2971729" y="1570340"/>
                  </a:cubicBezTo>
                  <a:cubicBezTo>
                    <a:pt x="2941247" y="1570340"/>
                    <a:pt x="2916537" y="1545630"/>
                    <a:pt x="2916537" y="1515149"/>
                  </a:cubicBezTo>
                  <a:cubicBezTo>
                    <a:pt x="2916537" y="1484668"/>
                    <a:pt x="2941247" y="1459958"/>
                    <a:pt x="2971729" y="1459958"/>
                  </a:cubicBezTo>
                  <a:close/>
                  <a:moveTo>
                    <a:pt x="2834792" y="1459958"/>
                  </a:moveTo>
                  <a:cubicBezTo>
                    <a:pt x="2865274" y="1459958"/>
                    <a:pt x="2889984" y="1484668"/>
                    <a:pt x="2889984" y="1515149"/>
                  </a:cubicBezTo>
                  <a:cubicBezTo>
                    <a:pt x="2889984" y="1545630"/>
                    <a:pt x="2865274" y="1570340"/>
                    <a:pt x="2834792" y="1570340"/>
                  </a:cubicBezTo>
                  <a:cubicBezTo>
                    <a:pt x="2804310" y="1570340"/>
                    <a:pt x="2779600" y="1545630"/>
                    <a:pt x="2779600" y="1515149"/>
                  </a:cubicBezTo>
                  <a:cubicBezTo>
                    <a:pt x="2779600" y="1484668"/>
                    <a:pt x="2804310" y="1459958"/>
                    <a:pt x="2834792" y="1459958"/>
                  </a:cubicBezTo>
                  <a:close/>
                  <a:moveTo>
                    <a:pt x="2707839" y="1459958"/>
                  </a:moveTo>
                  <a:cubicBezTo>
                    <a:pt x="2738320" y="1459958"/>
                    <a:pt x="2763031" y="1484668"/>
                    <a:pt x="2763031" y="1515149"/>
                  </a:cubicBezTo>
                  <a:cubicBezTo>
                    <a:pt x="2763031" y="1545630"/>
                    <a:pt x="2738320" y="1570340"/>
                    <a:pt x="2707839" y="1570340"/>
                  </a:cubicBezTo>
                  <a:cubicBezTo>
                    <a:pt x="2677357" y="1570340"/>
                    <a:pt x="2652646" y="1545630"/>
                    <a:pt x="2652646" y="1515149"/>
                  </a:cubicBezTo>
                  <a:cubicBezTo>
                    <a:pt x="2652646" y="1484668"/>
                    <a:pt x="2677357" y="1459958"/>
                    <a:pt x="2707839" y="1459958"/>
                  </a:cubicBezTo>
                  <a:close/>
                  <a:moveTo>
                    <a:pt x="2570864" y="1459958"/>
                  </a:moveTo>
                  <a:cubicBezTo>
                    <a:pt x="2601346" y="1459958"/>
                    <a:pt x="2626056" y="1484668"/>
                    <a:pt x="2626056" y="1515149"/>
                  </a:cubicBezTo>
                  <a:cubicBezTo>
                    <a:pt x="2626056" y="1545630"/>
                    <a:pt x="2601346" y="1570340"/>
                    <a:pt x="2570864" y="1570340"/>
                  </a:cubicBezTo>
                  <a:cubicBezTo>
                    <a:pt x="2540381" y="1570340"/>
                    <a:pt x="2515671" y="1545630"/>
                    <a:pt x="2515671" y="1515149"/>
                  </a:cubicBezTo>
                  <a:cubicBezTo>
                    <a:pt x="2515671" y="1484668"/>
                    <a:pt x="2540381" y="1459958"/>
                    <a:pt x="2570864" y="1459958"/>
                  </a:cubicBezTo>
                  <a:close/>
                  <a:moveTo>
                    <a:pt x="2437228" y="1459958"/>
                  </a:moveTo>
                  <a:cubicBezTo>
                    <a:pt x="2467711" y="1459958"/>
                    <a:pt x="2492419" y="1484668"/>
                    <a:pt x="2492419" y="1515149"/>
                  </a:cubicBezTo>
                  <a:cubicBezTo>
                    <a:pt x="2492419" y="1545630"/>
                    <a:pt x="2467711" y="1570340"/>
                    <a:pt x="2437228" y="1570340"/>
                  </a:cubicBezTo>
                  <a:cubicBezTo>
                    <a:pt x="2406748" y="1570340"/>
                    <a:pt x="2382037" y="1545630"/>
                    <a:pt x="2382037" y="1515149"/>
                  </a:cubicBezTo>
                  <a:cubicBezTo>
                    <a:pt x="2382037" y="1484668"/>
                    <a:pt x="2406748" y="1459958"/>
                    <a:pt x="2437228" y="1459958"/>
                  </a:cubicBezTo>
                  <a:close/>
                  <a:moveTo>
                    <a:pt x="2303596" y="1459958"/>
                  </a:moveTo>
                  <a:cubicBezTo>
                    <a:pt x="2334078" y="1459958"/>
                    <a:pt x="2358787" y="1484668"/>
                    <a:pt x="2358787" y="1515149"/>
                  </a:cubicBezTo>
                  <a:cubicBezTo>
                    <a:pt x="2358787" y="1545630"/>
                    <a:pt x="2334078" y="1570340"/>
                    <a:pt x="2303596" y="1570340"/>
                  </a:cubicBezTo>
                  <a:cubicBezTo>
                    <a:pt x="2273113" y="1570340"/>
                    <a:pt x="2248404" y="1545630"/>
                    <a:pt x="2248404" y="1515149"/>
                  </a:cubicBezTo>
                  <a:cubicBezTo>
                    <a:pt x="2248404" y="1484668"/>
                    <a:pt x="2273113" y="1459958"/>
                    <a:pt x="2303596" y="1459958"/>
                  </a:cubicBezTo>
                  <a:close/>
                  <a:moveTo>
                    <a:pt x="2173305" y="1459958"/>
                  </a:moveTo>
                  <a:cubicBezTo>
                    <a:pt x="2203787" y="1459958"/>
                    <a:pt x="2228497" y="1484668"/>
                    <a:pt x="2228497" y="1515149"/>
                  </a:cubicBezTo>
                  <a:cubicBezTo>
                    <a:pt x="2228497" y="1545630"/>
                    <a:pt x="2203787" y="1570340"/>
                    <a:pt x="2173305" y="1570340"/>
                  </a:cubicBezTo>
                  <a:cubicBezTo>
                    <a:pt x="2142822" y="1570340"/>
                    <a:pt x="2118111" y="1545630"/>
                    <a:pt x="2118111" y="1515149"/>
                  </a:cubicBezTo>
                  <a:cubicBezTo>
                    <a:pt x="2118111" y="1484668"/>
                    <a:pt x="2142822" y="1459958"/>
                    <a:pt x="2173305" y="1459958"/>
                  </a:cubicBezTo>
                  <a:close/>
                  <a:moveTo>
                    <a:pt x="2039668" y="1459958"/>
                  </a:moveTo>
                  <a:cubicBezTo>
                    <a:pt x="2070150" y="1459958"/>
                    <a:pt x="2094860" y="1484668"/>
                    <a:pt x="2094860" y="1515149"/>
                  </a:cubicBezTo>
                  <a:cubicBezTo>
                    <a:pt x="2094860" y="1545630"/>
                    <a:pt x="2070150" y="1570340"/>
                    <a:pt x="2039668" y="1570340"/>
                  </a:cubicBezTo>
                  <a:cubicBezTo>
                    <a:pt x="2009185" y="1570340"/>
                    <a:pt x="1984475" y="1545630"/>
                    <a:pt x="1984475" y="1515149"/>
                  </a:cubicBezTo>
                  <a:cubicBezTo>
                    <a:pt x="1984475" y="1484668"/>
                    <a:pt x="2009185" y="1459958"/>
                    <a:pt x="2039668" y="1459958"/>
                  </a:cubicBezTo>
                  <a:close/>
                  <a:moveTo>
                    <a:pt x="1909371" y="1459958"/>
                  </a:moveTo>
                  <a:cubicBezTo>
                    <a:pt x="1939853" y="1459958"/>
                    <a:pt x="1964564" y="1484668"/>
                    <a:pt x="1964564" y="1515149"/>
                  </a:cubicBezTo>
                  <a:cubicBezTo>
                    <a:pt x="1964564" y="1545630"/>
                    <a:pt x="1939853" y="1570340"/>
                    <a:pt x="1909371" y="1570340"/>
                  </a:cubicBezTo>
                  <a:cubicBezTo>
                    <a:pt x="1878889" y="1570340"/>
                    <a:pt x="1854178" y="1545630"/>
                    <a:pt x="1854178" y="1515149"/>
                  </a:cubicBezTo>
                  <a:cubicBezTo>
                    <a:pt x="1854178" y="1484668"/>
                    <a:pt x="1878889" y="1459958"/>
                    <a:pt x="1909371" y="1459958"/>
                  </a:cubicBezTo>
                  <a:close/>
                  <a:moveTo>
                    <a:pt x="1779076" y="1459958"/>
                  </a:moveTo>
                  <a:cubicBezTo>
                    <a:pt x="1809559" y="1459958"/>
                    <a:pt x="1834269" y="1484668"/>
                    <a:pt x="1834269" y="1515149"/>
                  </a:cubicBezTo>
                  <a:cubicBezTo>
                    <a:pt x="1834269" y="1545630"/>
                    <a:pt x="1809559" y="1570340"/>
                    <a:pt x="1779076" y="1570340"/>
                  </a:cubicBezTo>
                  <a:cubicBezTo>
                    <a:pt x="1748595" y="1570340"/>
                    <a:pt x="1723884" y="1545630"/>
                    <a:pt x="1723884" y="1515149"/>
                  </a:cubicBezTo>
                  <a:cubicBezTo>
                    <a:pt x="1723884" y="1484668"/>
                    <a:pt x="1748595" y="1459958"/>
                    <a:pt x="1779076" y="1459958"/>
                  </a:cubicBezTo>
                  <a:close/>
                  <a:moveTo>
                    <a:pt x="1645440" y="1459958"/>
                  </a:moveTo>
                  <a:cubicBezTo>
                    <a:pt x="1675922" y="1459958"/>
                    <a:pt x="1700637" y="1484668"/>
                    <a:pt x="1700637" y="1515149"/>
                  </a:cubicBezTo>
                  <a:cubicBezTo>
                    <a:pt x="1700637" y="1545630"/>
                    <a:pt x="1675922" y="1570340"/>
                    <a:pt x="1645440" y="1570340"/>
                  </a:cubicBezTo>
                  <a:cubicBezTo>
                    <a:pt x="1614959" y="1570340"/>
                    <a:pt x="1590248" y="1545630"/>
                    <a:pt x="1590248" y="1515149"/>
                  </a:cubicBezTo>
                  <a:cubicBezTo>
                    <a:pt x="1590248" y="1484668"/>
                    <a:pt x="1614959" y="1459958"/>
                    <a:pt x="1645440" y="1459958"/>
                  </a:cubicBezTo>
                  <a:close/>
                  <a:moveTo>
                    <a:pt x="1515149" y="1459958"/>
                  </a:moveTo>
                  <a:cubicBezTo>
                    <a:pt x="1545630" y="1459958"/>
                    <a:pt x="1570338" y="1484668"/>
                    <a:pt x="1570338" y="1515149"/>
                  </a:cubicBezTo>
                  <a:cubicBezTo>
                    <a:pt x="1570338" y="1545630"/>
                    <a:pt x="1545630" y="1570340"/>
                    <a:pt x="1515149" y="1570340"/>
                  </a:cubicBezTo>
                  <a:cubicBezTo>
                    <a:pt x="1484666" y="1570340"/>
                    <a:pt x="1459956" y="1545630"/>
                    <a:pt x="1459956" y="1515149"/>
                  </a:cubicBezTo>
                  <a:cubicBezTo>
                    <a:pt x="1459956" y="1484668"/>
                    <a:pt x="1484666" y="1459958"/>
                    <a:pt x="1515149" y="1459958"/>
                  </a:cubicBezTo>
                  <a:close/>
                  <a:moveTo>
                    <a:pt x="1381511" y="1459958"/>
                  </a:moveTo>
                  <a:cubicBezTo>
                    <a:pt x="1411994" y="1459958"/>
                    <a:pt x="1436705" y="1484668"/>
                    <a:pt x="1436705" y="1515149"/>
                  </a:cubicBezTo>
                  <a:cubicBezTo>
                    <a:pt x="1436705" y="1545630"/>
                    <a:pt x="1411994" y="1570340"/>
                    <a:pt x="1381511" y="1570340"/>
                  </a:cubicBezTo>
                  <a:cubicBezTo>
                    <a:pt x="1351035" y="1570340"/>
                    <a:pt x="1326322" y="1545630"/>
                    <a:pt x="1326322" y="1515149"/>
                  </a:cubicBezTo>
                  <a:cubicBezTo>
                    <a:pt x="1326322" y="1484668"/>
                    <a:pt x="1351035" y="1459958"/>
                    <a:pt x="1381511" y="1459958"/>
                  </a:cubicBezTo>
                  <a:close/>
                  <a:moveTo>
                    <a:pt x="1251220" y="1459958"/>
                  </a:moveTo>
                  <a:cubicBezTo>
                    <a:pt x="1281702" y="1459958"/>
                    <a:pt x="1306413" y="1484668"/>
                    <a:pt x="1306413" y="1515149"/>
                  </a:cubicBezTo>
                  <a:cubicBezTo>
                    <a:pt x="1306413" y="1545630"/>
                    <a:pt x="1281702" y="1570340"/>
                    <a:pt x="1251220" y="1570340"/>
                  </a:cubicBezTo>
                  <a:cubicBezTo>
                    <a:pt x="1220737" y="1570340"/>
                    <a:pt x="1196028" y="1545630"/>
                    <a:pt x="1196028" y="1515149"/>
                  </a:cubicBezTo>
                  <a:cubicBezTo>
                    <a:pt x="1196028" y="1484668"/>
                    <a:pt x="1220737" y="1459958"/>
                    <a:pt x="1251220" y="1459958"/>
                  </a:cubicBezTo>
                  <a:close/>
                  <a:moveTo>
                    <a:pt x="1117583" y="1459958"/>
                  </a:moveTo>
                  <a:cubicBezTo>
                    <a:pt x="1148066" y="1459958"/>
                    <a:pt x="1172776" y="1484668"/>
                    <a:pt x="1172776" y="1515149"/>
                  </a:cubicBezTo>
                  <a:cubicBezTo>
                    <a:pt x="1172776" y="1545630"/>
                    <a:pt x="1148066" y="1570340"/>
                    <a:pt x="1117583" y="1570340"/>
                  </a:cubicBezTo>
                  <a:cubicBezTo>
                    <a:pt x="1087101" y="1570340"/>
                    <a:pt x="1062390" y="1545630"/>
                    <a:pt x="1062390" y="1515149"/>
                  </a:cubicBezTo>
                  <a:cubicBezTo>
                    <a:pt x="1062390" y="1484668"/>
                    <a:pt x="1087101" y="1459958"/>
                    <a:pt x="1117583" y="1459958"/>
                  </a:cubicBezTo>
                  <a:close/>
                  <a:moveTo>
                    <a:pt x="980607" y="1459958"/>
                  </a:moveTo>
                  <a:cubicBezTo>
                    <a:pt x="1011090" y="1459958"/>
                    <a:pt x="1035800" y="1484668"/>
                    <a:pt x="1035800" y="1515149"/>
                  </a:cubicBezTo>
                  <a:cubicBezTo>
                    <a:pt x="1035800" y="1545630"/>
                    <a:pt x="1011090" y="1570340"/>
                    <a:pt x="980607" y="1570340"/>
                  </a:cubicBezTo>
                  <a:cubicBezTo>
                    <a:pt x="950125" y="1570340"/>
                    <a:pt x="925415" y="1545630"/>
                    <a:pt x="925415" y="1515149"/>
                  </a:cubicBezTo>
                  <a:cubicBezTo>
                    <a:pt x="925415" y="1484668"/>
                    <a:pt x="950125" y="1459958"/>
                    <a:pt x="980607" y="1459958"/>
                  </a:cubicBezTo>
                  <a:close/>
                  <a:moveTo>
                    <a:pt x="7608849" y="1336350"/>
                  </a:moveTo>
                  <a:cubicBezTo>
                    <a:pt x="7639331" y="1336350"/>
                    <a:pt x="7664041" y="1361060"/>
                    <a:pt x="7664041" y="1391541"/>
                  </a:cubicBezTo>
                  <a:cubicBezTo>
                    <a:pt x="7664041" y="1422022"/>
                    <a:pt x="7639331" y="1446732"/>
                    <a:pt x="7608849" y="1446732"/>
                  </a:cubicBezTo>
                  <a:cubicBezTo>
                    <a:pt x="7578367" y="1446732"/>
                    <a:pt x="7553657" y="1422022"/>
                    <a:pt x="7553657" y="1391541"/>
                  </a:cubicBezTo>
                  <a:cubicBezTo>
                    <a:pt x="7553657" y="1361060"/>
                    <a:pt x="7578367" y="1336350"/>
                    <a:pt x="7608849" y="1336350"/>
                  </a:cubicBezTo>
                  <a:close/>
                  <a:moveTo>
                    <a:pt x="7481897" y="1336350"/>
                  </a:moveTo>
                  <a:cubicBezTo>
                    <a:pt x="7512379" y="1336350"/>
                    <a:pt x="7537089" y="1361060"/>
                    <a:pt x="7537089" y="1391541"/>
                  </a:cubicBezTo>
                  <a:cubicBezTo>
                    <a:pt x="7537089" y="1422022"/>
                    <a:pt x="7512379" y="1446732"/>
                    <a:pt x="7481897" y="1446732"/>
                  </a:cubicBezTo>
                  <a:cubicBezTo>
                    <a:pt x="7451415" y="1446732"/>
                    <a:pt x="7426705" y="1422022"/>
                    <a:pt x="7426705" y="1391541"/>
                  </a:cubicBezTo>
                  <a:cubicBezTo>
                    <a:pt x="7426705" y="1361060"/>
                    <a:pt x="7451415" y="1336350"/>
                    <a:pt x="7481897" y="1336350"/>
                  </a:cubicBezTo>
                  <a:close/>
                  <a:moveTo>
                    <a:pt x="7341579" y="1336350"/>
                  </a:moveTo>
                  <a:cubicBezTo>
                    <a:pt x="7372061" y="1336350"/>
                    <a:pt x="7396771" y="1361060"/>
                    <a:pt x="7396771" y="1391541"/>
                  </a:cubicBezTo>
                  <a:cubicBezTo>
                    <a:pt x="7396771" y="1422022"/>
                    <a:pt x="7372061" y="1446732"/>
                    <a:pt x="7341579" y="1446732"/>
                  </a:cubicBezTo>
                  <a:cubicBezTo>
                    <a:pt x="7311097" y="1446732"/>
                    <a:pt x="7286387" y="1422022"/>
                    <a:pt x="7286387" y="1391541"/>
                  </a:cubicBezTo>
                  <a:cubicBezTo>
                    <a:pt x="7286387" y="1361060"/>
                    <a:pt x="7311097" y="1336350"/>
                    <a:pt x="7341579" y="1336350"/>
                  </a:cubicBezTo>
                  <a:close/>
                  <a:moveTo>
                    <a:pt x="7211286" y="1336350"/>
                  </a:moveTo>
                  <a:cubicBezTo>
                    <a:pt x="7241768" y="1336350"/>
                    <a:pt x="7266478" y="1361060"/>
                    <a:pt x="7266478" y="1391541"/>
                  </a:cubicBezTo>
                  <a:cubicBezTo>
                    <a:pt x="7266478" y="1422022"/>
                    <a:pt x="7241768" y="1446732"/>
                    <a:pt x="7211286" y="1446732"/>
                  </a:cubicBezTo>
                  <a:cubicBezTo>
                    <a:pt x="7180804" y="1446732"/>
                    <a:pt x="7156094" y="1422022"/>
                    <a:pt x="7156094" y="1391541"/>
                  </a:cubicBezTo>
                  <a:cubicBezTo>
                    <a:pt x="7156094" y="1361060"/>
                    <a:pt x="7180804" y="1336350"/>
                    <a:pt x="7211286" y="1336350"/>
                  </a:cubicBezTo>
                  <a:close/>
                  <a:moveTo>
                    <a:pt x="7080993" y="1336350"/>
                  </a:moveTo>
                  <a:cubicBezTo>
                    <a:pt x="7111475" y="1336350"/>
                    <a:pt x="7136185" y="1361060"/>
                    <a:pt x="7136185" y="1391541"/>
                  </a:cubicBezTo>
                  <a:cubicBezTo>
                    <a:pt x="7136185" y="1422022"/>
                    <a:pt x="7111475" y="1446732"/>
                    <a:pt x="7080993" y="1446732"/>
                  </a:cubicBezTo>
                  <a:cubicBezTo>
                    <a:pt x="7050511" y="1446732"/>
                    <a:pt x="7025801" y="1422022"/>
                    <a:pt x="7025801" y="1391541"/>
                  </a:cubicBezTo>
                  <a:cubicBezTo>
                    <a:pt x="7025801" y="1361060"/>
                    <a:pt x="7050511" y="1336350"/>
                    <a:pt x="7080993" y="1336350"/>
                  </a:cubicBezTo>
                  <a:close/>
                  <a:moveTo>
                    <a:pt x="6947357" y="1336350"/>
                  </a:moveTo>
                  <a:cubicBezTo>
                    <a:pt x="6977839" y="1336350"/>
                    <a:pt x="7002549" y="1361060"/>
                    <a:pt x="7002549" y="1391541"/>
                  </a:cubicBezTo>
                  <a:cubicBezTo>
                    <a:pt x="7002549" y="1422022"/>
                    <a:pt x="6977839" y="1446732"/>
                    <a:pt x="6947357" y="1446732"/>
                  </a:cubicBezTo>
                  <a:cubicBezTo>
                    <a:pt x="6916875" y="1446732"/>
                    <a:pt x="6892165" y="1422022"/>
                    <a:pt x="6892165" y="1391541"/>
                  </a:cubicBezTo>
                  <a:cubicBezTo>
                    <a:pt x="6892165" y="1361060"/>
                    <a:pt x="6916875" y="1336350"/>
                    <a:pt x="6947357" y="1336350"/>
                  </a:cubicBezTo>
                  <a:close/>
                  <a:moveTo>
                    <a:pt x="6817064" y="1336350"/>
                  </a:moveTo>
                  <a:cubicBezTo>
                    <a:pt x="6847546" y="1336350"/>
                    <a:pt x="6872256" y="1361060"/>
                    <a:pt x="6872256" y="1391541"/>
                  </a:cubicBezTo>
                  <a:cubicBezTo>
                    <a:pt x="6872256" y="1422022"/>
                    <a:pt x="6847546" y="1446732"/>
                    <a:pt x="6817064" y="1446732"/>
                  </a:cubicBezTo>
                  <a:cubicBezTo>
                    <a:pt x="6786582" y="1446732"/>
                    <a:pt x="6761872" y="1422022"/>
                    <a:pt x="6761872" y="1391541"/>
                  </a:cubicBezTo>
                  <a:cubicBezTo>
                    <a:pt x="6761872" y="1361060"/>
                    <a:pt x="6786582" y="1336350"/>
                    <a:pt x="6817064" y="1336350"/>
                  </a:cubicBezTo>
                  <a:close/>
                  <a:moveTo>
                    <a:pt x="6683431" y="1336350"/>
                  </a:moveTo>
                  <a:cubicBezTo>
                    <a:pt x="6713913" y="1336350"/>
                    <a:pt x="6738623" y="1361060"/>
                    <a:pt x="6738623" y="1391541"/>
                  </a:cubicBezTo>
                  <a:cubicBezTo>
                    <a:pt x="6738623" y="1422022"/>
                    <a:pt x="6713913" y="1446732"/>
                    <a:pt x="6683431" y="1446732"/>
                  </a:cubicBezTo>
                  <a:cubicBezTo>
                    <a:pt x="6652949" y="1446732"/>
                    <a:pt x="6628239" y="1422022"/>
                    <a:pt x="6628239" y="1391541"/>
                  </a:cubicBezTo>
                  <a:cubicBezTo>
                    <a:pt x="6628239" y="1361060"/>
                    <a:pt x="6652949" y="1336350"/>
                    <a:pt x="6683431" y="1336350"/>
                  </a:cubicBezTo>
                  <a:close/>
                  <a:moveTo>
                    <a:pt x="6553137" y="1336350"/>
                  </a:moveTo>
                  <a:cubicBezTo>
                    <a:pt x="6583619" y="1336350"/>
                    <a:pt x="6608329" y="1361060"/>
                    <a:pt x="6608329" y="1391541"/>
                  </a:cubicBezTo>
                  <a:cubicBezTo>
                    <a:pt x="6608329" y="1422022"/>
                    <a:pt x="6583619" y="1446732"/>
                    <a:pt x="6553137" y="1446732"/>
                  </a:cubicBezTo>
                  <a:cubicBezTo>
                    <a:pt x="6522655" y="1446732"/>
                    <a:pt x="6497945" y="1422022"/>
                    <a:pt x="6497945" y="1391541"/>
                  </a:cubicBezTo>
                  <a:cubicBezTo>
                    <a:pt x="6497945" y="1361060"/>
                    <a:pt x="6522655" y="1336350"/>
                    <a:pt x="6553137" y="1336350"/>
                  </a:cubicBezTo>
                  <a:close/>
                  <a:moveTo>
                    <a:pt x="6419502" y="1336350"/>
                  </a:moveTo>
                  <a:cubicBezTo>
                    <a:pt x="6449984" y="1336350"/>
                    <a:pt x="6474694" y="1361060"/>
                    <a:pt x="6474694" y="1391541"/>
                  </a:cubicBezTo>
                  <a:cubicBezTo>
                    <a:pt x="6474694" y="1422022"/>
                    <a:pt x="6449984" y="1446732"/>
                    <a:pt x="6419502" y="1446732"/>
                  </a:cubicBezTo>
                  <a:cubicBezTo>
                    <a:pt x="6389020" y="1446732"/>
                    <a:pt x="6364310" y="1422022"/>
                    <a:pt x="6364310" y="1391541"/>
                  </a:cubicBezTo>
                  <a:cubicBezTo>
                    <a:pt x="6364310" y="1361060"/>
                    <a:pt x="6389020" y="1336350"/>
                    <a:pt x="6419502" y="1336350"/>
                  </a:cubicBezTo>
                  <a:close/>
                  <a:moveTo>
                    <a:pt x="6289207" y="1336350"/>
                  </a:moveTo>
                  <a:cubicBezTo>
                    <a:pt x="6319689" y="1336350"/>
                    <a:pt x="6344399" y="1361060"/>
                    <a:pt x="6344399" y="1391541"/>
                  </a:cubicBezTo>
                  <a:cubicBezTo>
                    <a:pt x="6344399" y="1422022"/>
                    <a:pt x="6319689" y="1446732"/>
                    <a:pt x="6289207" y="1446732"/>
                  </a:cubicBezTo>
                  <a:cubicBezTo>
                    <a:pt x="6258725" y="1446732"/>
                    <a:pt x="6234015" y="1422022"/>
                    <a:pt x="6234015" y="1391541"/>
                  </a:cubicBezTo>
                  <a:cubicBezTo>
                    <a:pt x="6234015" y="1361060"/>
                    <a:pt x="6258725" y="1336350"/>
                    <a:pt x="6289207" y="1336350"/>
                  </a:cubicBezTo>
                  <a:close/>
                  <a:moveTo>
                    <a:pt x="6155573" y="1336350"/>
                  </a:moveTo>
                  <a:cubicBezTo>
                    <a:pt x="6186055" y="1336350"/>
                    <a:pt x="6210765" y="1361060"/>
                    <a:pt x="6210765" y="1391541"/>
                  </a:cubicBezTo>
                  <a:cubicBezTo>
                    <a:pt x="6210765" y="1422022"/>
                    <a:pt x="6186055" y="1446732"/>
                    <a:pt x="6155573" y="1446732"/>
                  </a:cubicBezTo>
                  <a:cubicBezTo>
                    <a:pt x="6125091" y="1446732"/>
                    <a:pt x="6100381" y="1422022"/>
                    <a:pt x="6100381" y="1391541"/>
                  </a:cubicBezTo>
                  <a:cubicBezTo>
                    <a:pt x="6100381" y="1361060"/>
                    <a:pt x="6125091" y="1336350"/>
                    <a:pt x="6155573" y="1336350"/>
                  </a:cubicBezTo>
                  <a:close/>
                  <a:moveTo>
                    <a:pt x="6021939" y="1336350"/>
                  </a:moveTo>
                  <a:cubicBezTo>
                    <a:pt x="6052421" y="1336350"/>
                    <a:pt x="6077131" y="1361060"/>
                    <a:pt x="6077131" y="1391541"/>
                  </a:cubicBezTo>
                  <a:cubicBezTo>
                    <a:pt x="6077131" y="1422022"/>
                    <a:pt x="6052421" y="1446732"/>
                    <a:pt x="6021939" y="1446732"/>
                  </a:cubicBezTo>
                  <a:cubicBezTo>
                    <a:pt x="5991457" y="1446732"/>
                    <a:pt x="5966747" y="1422022"/>
                    <a:pt x="5966747" y="1391541"/>
                  </a:cubicBezTo>
                  <a:cubicBezTo>
                    <a:pt x="5966747" y="1361060"/>
                    <a:pt x="5991457" y="1336350"/>
                    <a:pt x="6021939" y="1336350"/>
                  </a:cubicBezTo>
                  <a:close/>
                  <a:moveTo>
                    <a:pt x="5884964" y="1336350"/>
                  </a:moveTo>
                  <a:cubicBezTo>
                    <a:pt x="5915446" y="1336350"/>
                    <a:pt x="5940156" y="1361060"/>
                    <a:pt x="5940156" y="1391541"/>
                  </a:cubicBezTo>
                  <a:cubicBezTo>
                    <a:pt x="5940156" y="1422022"/>
                    <a:pt x="5915446" y="1446732"/>
                    <a:pt x="5884964" y="1446732"/>
                  </a:cubicBezTo>
                  <a:cubicBezTo>
                    <a:pt x="5854482" y="1446732"/>
                    <a:pt x="5829772" y="1422022"/>
                    <a:pt x="5829772" y="1391541"/>
                  </a:cubicBezTo>
                  <a:cubicBezTo>
                    <a:pt x="5829772" y="1361060"/>
                    <a:pt x="5854482" y="1336350"/>
                    <a:pt x="5884964" y="1336350"/>
                  </a:cubicBezTo>
                  <a:close/>
                  <a:moveTo>
                    <a:pt x="5754668" y="1336350"/>
                  </a:moveTo>
                  <a:cubicBezTo>
                    <a:pt x="5785150" y="1336350"/>
                    <a:pt x="5809860" y="1361060"/>
                    <a:pt x="5809860" y="1391541"/>
                  </a:cubicBezTo>
                  <a:cubicBezTo>
                    <a:pt x="5809860" y="1422022"/>
                    <a:pt x="5785150" y="1446732"/>
                    <a:pt x="5754668" y="1446732"/>
                  </a:cubicBezTo>
                  <a:cubicBezTo>
                    <a:pt x="5724186" y="1446732"/>
                    <a:pt x="5699476" y="1422022"/>
                    <a:pt x="5699476" y="1391541"/>
                  </a:cubicBezTo>
                  <a:cubicBezTo>
                    <a:pt x="5699476" y="1361060"/>
                    <a:pt x="5724186" y="1336350"/>
                    <a:pt x="5754668" y="1336350"/>
                  </a:cubicBezTo>
                  <a:close/>
                  <a:moveTo>
                    <a:pt x="5621035" y="1336350"/>
                  </a:moveTo>
                  <a:cubicBezTo>
                    <a:pt x="5651517" y="1336350"/>
                    <a:pt x="5676227" y="1361060"/>
                    <a:pt x="5676227" y="1391541"/>
                  </a:cubicBezTo>
                  <a:cubicBezTo>
                    <a:pt x="5676227" y="1422022"/>
                    <a:pt x="5651517" y="1446732"/>
                    <a:pt x="5621035" y="1446732"/>
                  </a:cubicBezTo>
                  <a:cubicBezTo>
                    <a:pt x="5590553" y="1446732"/>
                    <a:pt x="5565843" y="1422022"/>
                    <a:pt x="5565843" y="1391541"/>
                  </a:cubicBezTo>
                  <a:cubicBezTo>
                    <a:pt x="5565843" y="1361060"/>
                    <a:pt x="5590553" y="1336350"/>
                    <a:pt x="5621035" y="1336350"/>
                  </a:cubicBezTo>
                  <a:close/>
                  <a:moveTo>
                    <a:pt x="5487399" y="1336350"/>
                  </a:moveTo>
                  <a:cubicBezTo>
                    <a:pt x="5517881" y="1336350"/>
                    <a:pt x="5542591" y="1361060"/>
                    <a:pt x="5542591" y="1391541"/>
                  </a:cubicBezTo>
                  <a:cubicBezTo>
                    <a:pt x="5542591" y="1422022"/>
                    <a:pt x="5517881" y="1446732"/>
                    <a:pt x="5487399" y="1446732"/>
                  </a:cubicBezTo>
                  <a:cubicBezTo>
                    <a:pt x="5456917" y="1446732"/>
                    <a:pt x="5432207" y="1422022"/>
                    <a:pt x="5432207" y="1391541"/>
                  </a:cubicBezTo>
                  <a:cubicBezTo>
                    <a:pt x="5432207" y="1361060"/>
                    <a:pt x="5456917" y="1336350"/>
                    <a:pt x="5487399" y="1336350"/>
                  </a:cubicBezTo>
                  <a:close/>
                  <a:moveTo>
                    <a:pt x="5357106" y="1336350"/>
                  </a:moveTo>
                  <a:cubicBezTo>
                    <a:pt x="5387588" y="1336350"/>
                    <a:pt x="5412298" y="1361060"/>
                    <a:pt x="5412298" y="1391541"/>
                  </a:cubicBezTo>
                  <a:cubicBezTo>
                    <a:pt x="5412298" y="1422022"/>
                    <a:pt x="5387588" y="1446732"/>
                    <a:pt x="5357106" y="1446732"/>
                  </a:cubicBezTo>
                  <a:cubicBezTo>
                    <a:pt x="5326624" y="1446732"/>
                    <a:pt x="5301914" y="1422022"/>
                    <a:pt x="5301914" y="1391541"/>
                  </a:cubicBezTo>
                  <a:cubicBezTo>
                    <a:pt x="5301914" y="1361060"/>
                    <a:pt x="5326624" y="1336350"/>
                    <a:pt x="5357106" y="1336350"/>
                  </a:cubicBezTo>
                  <a:close/>
                  <a:moveTo>
                    <a:pt x="4959543" y="1336350"/>
                  </a:moveTo>
                  <a:cubicBezTo>
                    <a:pt x="4990025" y="1336350"/>
                    <a:pt x="5014735" y="1361060"/>
                    <a:pt x="5014735" y="1391541"/>
                  </a:cubicBezTo>
                  <a:cubicBezTo>
                    <a:pt x="5014735" y="1422022"/>
                    <a:pt x="4990025" y="1446732"/>
                    <a:pt x="4959543" y="1446732"/>
                  </a:cubicBezTo>
                  <a:cubicBezTo>
                    <a:pt x="4929061" y="1446732"/>
                    <a:pt x="4904351" y="1422022"/>
                    <a:pt x="4904351" y="1391541"/>
                  </a:cubicBezTo>
                  <a:cubicBezTo>
                    <a:pt x="4904351" y="1361060"/>
                    <a:pt x="4929061" y="1336350"/>
                    <a:pt x="4959543" y="1336350"/>
                  </a:cubicBezTo>
                  <a:close/>
                  <a:moveTo>
                    <a:pt x="4565322" y="1336350"/>
                  </a:moveTo>
                  <a:cubicBezTo>
                    <a:pt x="4595804" y="1336350"/>
                    <a:pt x="4620514" y="1361060"/>
                    <a:pt x="4620514" y="1391541"/>
                  </a:cubicBezTo>
                  <a:cubicBezTo>
                    <a:pt x="4620514" y="1422022"/>
                    <a:pt x="4595804" y="1446732"/>
                    <a:pt x="4565322" y="1446732"/>
                  </a:cubicBezTo>
                  <a:cubicBezTo>
                    <a:pt x="4534840" y="1446732"/>
                    <a:pt x="4510130" y="1422022"/>
                    <a:pt x="4510130" y="1391541"/>
                  </a:cubicBezTo>
                  <a:cubicBezTo>
                    <a:pt x="4510130" y="1361060"/>
                    <a:pt x="4534840" y="1336350"/>
                    <a:pt x="4565322" y="1336350"/>
                  </a:cubicBezTo>
                  <a:close/>
                  <a:moveTo>
                    <a:pt x="2971729" y="1336350"/>
                  </a:moveTo>
                  <a:cubicBezTo>
                    <a:pt x="3002211" y="1336350"/>
                    <a:pt x="3026921" y="1361060"/>
                    <a:pt x="3026921" y="1391541"/>
                  </a:cubicBezTo>
                  <a:cubicBezTo>
                    <a:pt x="3026921" y="1422022"/>
                    <a:pt x="3002211" y="1446732"/>
                    <a:pt x="2971729" y="1446732"/>
                  </a:cubicBezTo>
                  <a:cubicBezTo>
                    <a:pt x="2941247" y="1446732"/>
                    <a:pt x="2916537" y="1422022"/>
                    <a:pt x="2916537" y="1391541"/>
                  </a:cubicBezTo>
                  <a:cubicBezTo>
                    <a:pt x="2916537" y="1361060"/>
                    <a:pt x="2941247" y="1336350"/>
                    <a:pt x="2971729" y="1336350"/>
                  </a:cubicBezTo>
                  <a:close/>
                  <a:moveTo>
                    <a:pt x="2834801" y="1336350"/>
                  </a:moveTo>
                  <a:cubicBezTo>
                    <a:pt x="2865283" y="1336350"/>
                    <a:pt x="2889994" y="1361060"/>
                    <a:pt x="2889994" y="1391541"/>
                  </a:cubicBezTo>
                  <a:cubicBezTo>
                    <a:pt x="2889994" y="1422022"/>
                    <a:pt x="2865283" y="1446732"/>
                    <a:pt x="2834801" y="1446732"/>
                  </a:cubicBezTo>
                  <a:cubicBezTo>
                    <a:pt x="2804320" y="1446732"/>
                    <a:pt x="2779610" y="1422022"/>
                    <a:pt x="2779610" y="1391541"/>
                  </a:cubicBezTo>
                  <a:cubicBezTo>
                    <a:pt x="2779610" y="1361060"/>
                    <a:pt x="2804320" y="1336350"/>
                    <a:pt x="2834801" y="1336350"/>
                  </a:cubicBezTo>
                  <a:close/>
                  <a:moveTo>
                    <a:pt x="2707848" y="1336350"/>
                  </a:moveTo>
                  <a:cubicBezTo>
                    <a:pt x="2738330" y="1336350"/>
                    <a:pt x="2763042" y="1361060"/>
                    <a:pt x="2763042" y="1391541"/>
                  </a:cubicBezTo>
                  <a:cubicBezTo>
                    <a:pt x="2763042" y="1422022"/>
                    <a:pt x="2738330" y="1446732"/>
                    <a:pt x="2707848" y="1446732"/>
                  </a:cubicBezTo>
                  <a:cubicBezTo>
                    <a:pt x="2677367" y="1446732"/>
                    <a:pt x="2652656" y="1422022"/>
                    <a:pt x="2652656" y="1391541"/>
                  </a:cubicBezTo>
                  <a:cubicBezTo>
                    <a:pt x="2652656" y="1361060"/>
                    <a:pt x="2677367" y="1336350"/>
                    <a:pt x="2707848" y="1336350"/>
                  </a:cubicBezTo>
                  <a:close/>
                  <a:moveTo>
                    <a:pt x="2570875" y="1336350"/>
                  </a:moveTo>
                  <a:cubicBezTo>
                    <a:pt x="2601357" y="1336350"/>
                    <a:pt x="2626067" y="1361060"/>
                    <a:pt x="2626067" y="1391541"/>
                  </a:cubicBezTo>
                  <a:cubicBezTo>
                    <a:pt x="2626067" y="1422022"/>
                    <a:pt x="2601357" y="1446732"/>
                    <a:pt x="2570875" y="1446732"/>
                  </a:cubicBezTo>
                  <a:cubicBezTo>
                    <a:pt x="2540392" y="1446732"/>
                    <a:pt x="2515683" y="1422022"/>
                    <a:pt x="2515683" y="1391541"/>
                  </a:cubicBezTo>
                  <a:cubicBezTo>
                    <a:pt x="2515683" y="1361060"/>
                    <a:pt x="2540392" y="1336350"/>
                    <a:pt x="2570875" y="1336350"/>
                  </a:cubicBezTo>
                  <a:close/>
                  <a:moveTo>
                    <a:pt x="2173314" y="1336350"/>
                  </a:moveTo>
                  <a:cubicBezTo>
                    <a:pt x="2203797" y="1336350"/>
                    <a:pt x="2228507" y="1361060"/>
                    <a:pt x="2228507" y="1391541"/>
                  </a:cubicBezTo>
                  <a:cubicBezTo>
                    <a:pt x="2228507" y="1422022"/>
                    <a:pt x="2203797" y="1446732"/>
                    <a:pt x="2173314" y="1446732"/>
                  </a:cubicBezTo>
                  <a:cubicBezTo>
                    <a:pt x="2142832" y="1446732"/>
                    <a:pt x="2118122" y="1422022"/>
                    <a:pt x="2118122" y="1391541"/>
                  </a:cubicBezTo>
                  <a:cubicBezTo>
                    <a:pt x="2118122" y="1361060"/>
                    <a:pt x="2142832" y="1336350"/>
                    <a:pt x="2173314" y="1336350"/>
                  </a:cubicBezTo>
                  <a:close/>
                  <a:moveTo>
                    <a:pt x="2039678" y="1336350"/>
                  </a:moveTo>
                  <a:cubicBezTo>
                    <a:pt x="2070160" y="1336350"/>
                    <a:pt x="2094870" y="1361060"/>
                    <a:pt x="2094870" y="1391541"/>
                  </a:cubicBezTo>
                  <a:cubicBezTo>
                    <a:pt x="2094870" y="1422022"/>
                    <a:pt x="2070160" y="1446732"/>
                    <a:pt x="2039678" y="1446732"/>
                  </a:cubicBezTo>
                  <a:cubicBezTo>
                    <a:pt x="2009195" y="1446732"/>
                    <a:pt x="1984484" y="1422022"/>
                    <a:pt x="1984484" y="1391541"/>
                  </a:cubicBezTo>
                  <a:cubicBezTo>
                    <a:pt x="1984484" y="1361060"/>
                    <a:pt x="2009195" y="1336350"/>
                    <a:pt x="2039678" y="1336350"/>
                  </a:cubicBezTo>
                  <a:close/>
                  <a:moveTo>
                    <a:pt x="1909381" y="1336350"/>
                  </a:moveTo>
                  <a:cubicBezTo>
                    <a:pt x="1939864" y="1336350"/>
                    <a:pt x="1964575" y="1361060"/>
                    <a:pt x="1964575" y="1391541"/>
                  </a:cubicBezTo>
                  <a:cubicBezTo>
                    <a:pt x="1964575" y="1422022"/>
                    <a:pt x="1939864" y="1446732"/>
                    <a:pt x="1909381" y="1446732"/>
                  </a:cubicBezTo>
                  <a:cubicBezTo>
                    <a:pt x="1878899" y="1446732"/>
                    <a:pt x="1854188" y="1422022"/>
                    <a:pt x="1854188" y="1391541"/>
                  </a:cubicBezTo>
                  <a:cubicBezTo>
                    <a:pt x="1854188" y="1361060"/>
                    <a:pt x="1878899" y="1336350"/>
                    <a:pt x="1909381" y="1336350"/>
                  </a:cubicBezTo>
                  <a:close/>
                  <a:moveTo>
                    <a:pt x="1779086" y="1336350"/>
                  </a:moveTo>
                  <a:cubicBezTo>
                    <a:pt x="1809568" y="1336350"/>
                    <a:pt x="1834278" y="1361060"/>
                    <a:pt x="1834278" y="1391541"/>
                  </a:cubicBezTo>
                  <a:cubicBezTo>
                    <a:pt x="1834278" y="1422022"/>
                    <a:pt x="1809568" y="1446732"/>
                    <a:pt x="1779086" y="1446732"/>
                  </a:cubicBezTo>
                  <a:cubicBezTo>
                    <a:pt x="1748603" y="1446732"/>
                    <a:pt x="1723892" y="1422022"/>
                    <a:pt x="1723892" y="1391541"/>
                  </a:cubicBezTo>
                  <a:cubicBezTo>
                    <a:pt x="1723892" y="1361060"/>
                    <a:pt x="1748603" y="1336350"/>
                    <a:pt x="1779086" y="1336350"/>
                  </a:cubicBezTo>
                  <a:close/>
                  <a:moveTo>
                    <a:pt x="1645448" y="1336350"/>
                  </a:moveTo>
                  <a:cubicBezTo>
                    <a:pt x="1675933" y="1336350"/>
                    <a:pt x="1700644" y="1361060"/>
                    <a:pt x="1700644" y="1391541"/>
                  </a:cubicBezTo>
                  <a:cubicBezTo>
                    <a:pt x="1700644" y="1422022"/>
                    <a:pt x="1675933" y="1446732"/>
                    <a:pt x="1645448" y="1446732"/>
                  </a:cubicBezTo>
                  <a:cubicBezTo>
                    <a:pt x="1614967" y="1446732"/>
                    <a:pt x="1590256" y="1422022"/>
                    <a:pt x="1590256" y="1391541"/>
                  </a:cubicBezTo>
                  <a:cubicBezTo>
                    <a:pt x="1590256" y="1361060"/>
                    <a:pt x="1614967" y="1336350"/>
                    <a:pt x="1645448" y="1336350"/>
                  </a:cubicBezTo>
                  <a:close/>
                  <a:moveTo>
                    <a:pt x="1515160" y="1336350"/>
                  </a:moveTo>
                  <a:cubicBezTo>
                    <a:pt x="1545636" y="1336350"/>
                    <a:pt x="1570346" y="1361060"/>
                    <a:pt x="1570346" y="1391541"/>
                  </a:cubicBezTo>
                  <a:cubicBezTo>
                    <a:pt x="1570346" y="1422022"/>
                    <a:pt x="1545636" y="1446732"/>
                    <a:pt x="1515160" y="1446732"/>
                  </a:cubicBezTo>
                  <a:cubicBezTo>
                    <a:pt x="1484676" y="1446732"/>
                    <a:pt x="1459963" y="1422022"/>
                    <a:pt x="1459963" y="1391541"/>
                  </a:cubicBezTo>
                  <a:cubicBezTo>
                    <a:pt x="1459963" y="1361060"/>
                    <a:pt x="1484676" y="1336350"/>
                    <a:pt x="1515160" y="1336350"/>
                  </a:cubicBezTo>
                  <a:close/>
                  <a:moveTo>
                    <a:pt x="1381522" y="1336350"/>
                  </a:moveTo>
                  <a:cubicBezTo>
                    <a:pt x="1412004" y="1336350"/>
                    <a:pt x="1436714" y="1361060"/>
                    <a:pt x="1436714" y="1391541"/>
                  </a:cubicBezTo>
                  <a:cubicBezTo>
                    <a:pt x="1436714" y="1422022"/>
                    <a:pt x="1412004" y="1446732"/>
                    <a:pt x="1381522" y="1446732"/>
                  </a:cubicBezTo>
                  <a:cubicBezTo>
                    <a:pt x="1351043" y="1446732"/>
                    <a:pt x="1326330" y="1422022"/>
                    <a:pt x="1326330" y="1391541"/>
                  </a:cubicBezTo>
                  <a:cubicBezTo>
                    <a:pt x="1326330" y="1361060"/>
                    <a:pt x="1351043" y="1336350"/>
                    <a:pt x="1381522" y="1336350"/>
                  </a:cubicBezTo>
                  <a:close/>
                  <a:moveTo>
                    <a:pt x="1251229" y="1336350"/>
                  </a:moveTo>
                  <a:cubicBezTo>
                    <a:pt x="1281711" y="1336350"/>
                    <a:pt x="1306421" y="1361060"/>
                    <a:pt x="1306421" y="1391541"/>
                  </a:cubicBezTo>
                  <a:cubicBezTo>
                    <a:pt x="1306421" y="1422022"/>
                    <a:pt x="1281711" y="1446732"/>
                    <a:pt x="1251229" y="1446732"/>
                  </a:cubicBezTo>
                  <a:cubicBezTo>
                    <a:pt x="1220747" y="1446732"/>
                    <a:pt x="1196037" y="1422022"/>
                    <a:pt x="1196037" y="1391541"/>
                  </a:cubicBezTo>
                  <a:cubicBezTo>
                    <a:pt x="1196037" y="1361060"/>
                    <a:pt x="1220747" y="1336350"/>
                    <a:pt x="1251229" y="1336350"/>
                  </a:cubicBezTo>
                  <a:close/>
                  <a:moveTo>
                    <a:pt x="1117592" y="1336350"/>
                  </a:moveTo>
                  <a:cubicBezTo>
                    <a:pt x="1148075" y="1336350"/>
                    <a:pt x="1172785" y="1361060"/>
                    <a:pt x="1172785" y="1391541"/>
                  </a:cubicBezTo>
                  <a:cubicBezTo>
                    <a:pt x="1172785" y="1422022"/>
                    <a:pt x="1148075" y="1446732"/>
                    <a:pt x="1117592" y="1446732"/>
                  </a:cubicBezTo>
                  <a:cubicBezTo>
                    <a:pt x="1087110" y="1446732"/>
                    <a:pt x="1062400" y="1422022"/>
                    <a:pt x="1062400" y="1391541"/>
                  </a:cubicBezTo>
                  <a:cubicBezTo>
                    <a:pt x="1062400" y="1361060"/>
                    <a:pt x="1087110" y="1336350"/>
                    <a:pt x="1117592" y="1336350"/>
                  </a:cubicBezTo>
                  <a:close/>
                  <a:moveTo>
                    <a:pt x="980615" y="1336350"/>
                  </a:moveTo>
                  <a:cubicBezTo>
                    <a:pt x="1011098" y="1336350"/>
                    <a:pt x="1035808" y="1361060"/>
                    <a:pt x="1035808" y="1391541"/>
                  </a:cubicBezTo>
                  <a:cubicBezTo>
                    <a:pt x="1035808" y="1422022"/>
                    <a:pt x="1011098" y="1446732"/>
                    <a:pt x="980615" y="1446732"/>
                  </a:cubicBezTo>
                  <a:cubicBezTo>
                    <a:pt x="950133" y="1446732"/>
                    <a:pt x="925422" y="1422022"/>
                    <a:pt x="925422" y="1391541"/>
                  </a:cubicBezTo>
                  <a:cubicBezTo>
                    <a:pt x="925422" y="1361060"/>
                    <a:pt x="950133" y="1336350"/>
                    <a:pt x="980615" y="1336350"/>
                  </a:cubicBezTo>
                  <a:close/>
                  <a:moveTo>
                    <a:pt x="9199101" y="1336348"/>
                  </a:moveTo>
                  <a:cubicBezTo>
                    <a:pt x="9229583" y="1336348"/>
                    <a:pt x="9254293" y="1361058"/>
                    <a:pt x="9254293" y="1391539"/>
                  </a:cubicBezTo>
                  <a:cubicBezTo>
                    <a:pt x="9254293" y="1422020"/>
                    <a:pt x="9229583" y="1446730"/>
                    <a:pt x="9199101" y="1446730"/>
                  </a:cubicBezTo>
                  <a:cubicBezTo>
                    <a:pt x="9168619" y="1446730"/>
                    <a:pt x="9143909" y="1422020"/>
                    <a:pt x="9143909" y="1391539"/>
                  </a:cubicBezTo>
                  <a:cubicBezTo>
                    <a:pt x="9143909" y="1361058"/>
                    <a:pt x="9168619" y="1336348"/>
                    <a:pt x="9199101" y="1336348"/>
                  </a:cubicBezTo>
                  <a:close/>
                  <a:moveTo>
                    <a:pt x="9068807" y="1336348"/>
                  </a:moveTo>
                  <a:cubicBezTo>
                    <a:pt x="9099289" y="1336348"/>
                    <a:pt x="9123999" y="1361058"/>
                    <a:pt x="9123999" y="1391539"/>
                  </a:cubicBezTo>
                  <a:cubicBezTo>
                    <a:pt x="9123999" y="1422020"/>
                    <a:pt x="9099289" y="1446730"/>
                    <a:pt x="9068807" y="1446730"/>
                  </a:cubicBezTo>
                  <a:cubicBezTo>
                    <a:pt x="9038325" y="1446730"/>
                    <a:pt x="9013615" y="1422020"/>
                    <a:pt x="9013615" y="1391539"/>
                  </a:cubicBezTo>
                  <a:cubicBezTo>
                    <a:pt x="9013615" y="1361058"/>
                    <a:pt x="9038325" y="1336348"/>
                    <a:pt x="9068807" y="1336348"/>
                  </a:cubicBezTo>
                  <a:close/>
                  <a:moveTo>
                    <a:pt x="8407316" y="1336348"/>
                  </a:moveTo>
                  <a:cubicBezTo>
                    <a:pt x="8437798" y="1336348"/>
                    <a:pt x="8462508" y="1361058"/>
                    <a:pt x="8462508" y="1391539"/>
                  </a:cubicBezTo>
                  <a:cubicBezTo>
                    <a:pt x="8462508" y="1422020"/>
                    <a:pt x="8437798" y="1446730"/>
                    <a:pt x="8407316" y="1446730"/>
                  </a:cubicBezTo>
                  <a:cubicBezTo>
                    <a:pt x="8376834" y="1446730"/>
                    <a:pt x="8352124" y="1422020"/>
                    <a:pt x="8352124" y="1391539"/>
                  </a:cubicBezTo>
                  <a:cubicBezTo>
                    <a:pt x="8352124" y="1361058"/>
                    <a:pt x="8376834" y="1336348"/>
                    <a:pt x="8407316" y="1336348"/>
                  </a:cubicBezTo>
                  <a:close/>
                  <a:moveTo>
                    <a:pt x="8273682" y="1336348"/>
                  </a:moveTo>
                  <a:cubicBezTo>
                    <a:pt x="8304164" y="1336348"/>
                    <a:pt x="8328874" y="1361058"/>
                    <a:pt x="8328874" y="1391539"/>
                  </a:cubicBezTo>
                  <a:cubicBezTo>
                    <a:pt x="8328874" y="1422020"/>
                    <a:pt x="8304164" y="1446730"/>
                    <a:pt x="8273682" y="1446730"/>
                  </a:cubicBezTo>
                  <a:cubicBezTo>
                    <a:pt x="8243200" y="1446730"/>
                    <a:pt x="8218490" y="1422020"/>
                    <a:pt x="8218490" y="1391539"/>
                  </a:cubicBezTo>
                  <a:cubicBezTo>
                    <a:pt x="8218490" y="1361058"/>
                    <a:pt x="8243200" y="1336348"/>
                    <a:pt x="8273682" y="1336348"/>
                  </a:cubicBezTo>
                  <a:close/>
                  <a:moveTo>
                    <a:pt x="8143388" y="1336348"/>
                  </a:moveTo>
                  <a:cubicBezTo>
                    <a:pt x="8173870" y="1336348"/>
                    <a:pt x="8198580" y="1361058"/>
                    <a:pt x="8198580" y="1391539"/>
                  </a:cubicBezTo>
                  <a:cubicBezTo>
                    <a:pt x="8198580" y="1422020"/>
                    <a:pt x="8173870" y="1446730"/>
                    <a:pt x="8143388" y="1446730"/>
                  </a:cubicBezTo>
                  <a:cubicBezTo>
                    <a:pt x="8112906" y="1446730"/>
                    <a:pt x="8088196" y="1422020"/>
                    <a:pt x="8088196" y="1391539"/>
                  </a:cubicBezTo>
                  <a:cubicBezTo>
                    <a:pt x="8088196" y="1361058"/>
                    <a:pt x="8112906" y="1336348"/>
                    <a:pt x="8143388" y="1336348"/>
                  </a:cubicBezTo>
                  <a:close/>
                  <a:moveTo>
                    <a:pt x="8009753" y="1336348"/>
                  </a:moveTo>
                  <a:cubicBezTo>
                    <a:pt x="8040235" y="1336348"/>
                    <a:pt x="8064945" y="1361058"/>
                    <a:pt x="8064945" y="1391539"/>
                  </a:cubicBezTo>
                  <a:cubicBezTo>
                    <a:pt x="8064945" y="1422020"/>
                    <a:pt x="8040235" y="1446730"/>
                    <a:pt x="8009753" y="1446730"/>
                  </a:cubicBezTo>
                  <a:cubicBezTo>
                    <a:pt x="7979271" y="1446730"/>
                    <a:pt x="7954561" y="1422020"/>
                    <a:pt x="7954561" y="1391539"/>
                  </a:cubicBezTo>
                  <a:cubicBezTo>
                    <a:pt x="7954561" y="1361058"/>
                    <a:pt x="7979271" y="1336348"/>
                    <a:pt x="8009753" y="1336348"/>
                  </a:cubicBezTo>
                  <a:close/>
                  <a:moveTo>
                    <a:pt x="7876118" y="1336348"/>
                  </a:moveTo>
                  <a:cubicBezTo>
                    <a:pt x="7906600" y="1336348"/>
                    <a:pt x="7931310" y="1361058"/>
                    <a:pt x="7931310" y="1391539"/>
                  </a:cubicBezTo>
                  <a:cubicBezTo>
                    <a:pt x="7931310" y="1422020"/>
                    <a:pt x="7906600" y="1446730"/>
                    <a:pt x="7876118" y="1446730"/>
                  </a:cubicBezTo>
                  <a:cubicBezTo>
                    <a:pt x="7845636" y="1446730"/>
                    <a:pt x="7820926" y="1422020"/>
                    <a:pt x="7820926" y="1391539"/>
                  </a:cubicBezTo>
                  <a:cubicBezTo>
                    <a:pt x="7820926" y="1361058"/>
                    <a:pt x="7845636" y="1336348"/>
                    <a:pt x="7876118" y="1336348"/>
                  </a:cubicBezTo>
                  <a:close/>
                  <a:moveTo>
                    <a:pt x="7745823" y="1336348"/>
                  </a:moveTo>
                  <a:cubicBezTo>
                    <a:pt x="7776305" y="1336348"/>
                    <a:pt x="7801015" y="1361058"/>
                    <a:pt x="7801015" y="1391539"/>
                  </a:cubicBezTo>
                  <a:cubicBezTo>
                    <a:pt x="7801015" y="1422020"/>
                    <a:pt x="7776305" y="1446730"/>
                    <a:pt x="7745823" y="1446730"/>
                  </a:cubicBezTo>
                  <a:cubicBezTo>
                    <a:pt x="7715341" y="1446730"/>
                    <a:pt x="7690631" y="1422020"/>
                    <a:pt x="7690631" y="1391539"/>
                  </a:cubicBezTo>
                  <a:cubicBezTo>
                    <a:pt x="7690631" y="1361058"/>
                    <a:pt x="7715341" y="1336348"/>
                    <a:pt x="7745823" y="1336348"/>
                  </a:cubicBezTo>
                  <a:close/>
                  <a:moveTo>
                    <a:pt x="185475" y="1336348"/>
                  </a:moveTo>
                  <a:cubicBezTo>
                    <a:pt x="215957" y="1336348"/>
                    <a:pt x="240666" y="1361058"/>
                    <a:pt x="240666" y="1391539"/>
                  </a:cubicBezTo>
                  <a:cubicBezTo>
                    <a:pt x="240666" y="1422020"/>
                    <a:pt x="215957" y="1446730"/>
                    <a:pt x="185475" y="1446730"/>
                  </a:cubicBezTo>
                  <a:cubicBezTo>
                    <a:pt x="154994" y="1446730"/>
                    <a:pt x="130283" y="1422020"/>
                    <a:pt x="130283" y="1391539"/>
                  </a:cubicBezTo>
                  <a:cubicBezTo>
                    <a:pt x="130283" y="1361058"/>
                    <a:pt x="154994" y="1336348"/>
                    <a:pt x="185475" y="1336348"/>
                  </a:cubicBezTo>
                  <a:close/>
                  <a:moveTo>
                    <a:pt x="9199101" y="1219421"/>
                  </a:moveTo>
                  <a:cubicBezTo>
                    <a:pt x="9229583" y="1219421"/>
                    <a:pt x="9254293" y="1244131"/>
                    <a:pt x="9254293" y="1274612"/>
                  </a:cubicBezTo>
                  <a:cubicBezTo>
                    <a:pt x="9254293" y="1305093"/>
                    <a:pt x="9229583" y="1329803"/>
                    <a:pt x="9199101" y="1329803"/>
                  </a:cubicBezTo>
                  <a:cubicBezTo>
                    <a:pt x="9168619" y="1329803"/>
                    <a:pt x="9143909" y="1305093"/>
                    <a:pt x="9143909" y="1274612"/>
                  </a:cubicBezTo>
                  <a:cubicBezTo>
                    <a:pt x="9143909" y="1244131"/>
                    <a:pt x="9168619" y="1219421"/>
                    <a:pt x="9199101" y="1219421"/>
                  </a:cubicBezTo>
                  <a:close/>
                  <a:moveTo>
                    <a:pt x="9068807" y="1219421"/>
                  </a:moveTo>
                  <a:cubicBezTo>
                    <a:pt x="9099289" y="1219421"/>
                    <a:pt x="9123999" y="1244131"/>
                    <a:pt x="9123999" y="1274612"/>
                  </a:cubicBezTo>
                  <a:cubicBezTo>
                    <a:pt x="9123999" y="1305093"/>
                    <a:pt x="9099289" y="1329803"/>
                    <a:pt x="9068807" y="1329803"/>
                  </a:cubicBezTo>
                  <a:cubicBezTo>
                    <a:pt x="9038325" y="1329803"/>
                    <a:pt x="9013615" y="1305093"/>
                    <a:pt x="9013615" y="1274612"/>
                  </a:cubicBezTo>
                  <a:cubicBezTo>
                    <a:pt x="9013615" y="1244131"/>
                    <a:pt x="9038325" y="1219421"/>
                    <a:pt x="9068807" y="1219421"/>
                  </a:cubicBezTo>
                  <a:close/>
                  <a:moveTo>
                    <a:pt x="8537612" y="1219421"/>
                  </a:moveTo>
                  <a:cubicBezTo>
                    <a:pt x="8568094" y="1219421"/>
                    <a:pt x="8592804" y="1244131"/>
                    <a:pt x="8592804" y="1274612"/>
                  </a:cubicBezTo>
                  <a:cubicBezTo>
                    <a:pt x="8592804" y="1305093"/>
                    <a:pt x="8568094" y="1329803"/>
                    <a:pt x="8537612" y="1329803"/>
                  </a:cubicBezTo>
                  <a:cubicBezTo>
                    <a:pt x="8507130" y="1329803"/>
                    <a:pt x="8482420" y="1305093"/>
                    <a:pt x="8482420" y="1274612"/>
                  </a:cubicBezTo>
                  <a:cubicBezTo>
                    <a:pt x="8482420" y="1244131"/>
                    <a:pt x="8507130" y="1219421"/>
                    <a:pt x="8537612" y="1219421"/>
                  </a:cubicBezTo>
                  <a:close/>
                  <a:moveTo>
                    <a:pt x="8407316" y="1219421"/>
                  </a:moveTo>
                  <a:cubicBezTo>
                    <a:pt x="8437798" y="1219421"/>
                    <a:pt x="8462508" y="1244131"/>
                    <a:pt x="8462508" y="1274612"/>
                  </a:cubicBezTo>
                  <a:cubicBezTo>
                    <a:pt x="8462508" y="1305093"/>
                    <a:pt x="8437798" y="1329803"/>
                    <a:pt x="8407316" y="1329803"/>
                  </a:cubicBezTo>
                  <a:cubicBezTo>
                    <a:pt x="8376834" y="1329803"/>
                    <a:pt x="8352124" y="1305093"/>
                    <a:pt x="8352124" y="1274612"/>
                  </a:cubicBezTo>
                  <a:cubicBezTo>
                    <a:pt x="8352124" y="1244131"/>
                    <a:pt x="8376834" y="1219421"/>
                    <a:pt x="8407316" y="1219421"/>
                  </a:cubicBezTo>
                  <a:close/>
                  <a:moveTo>
                    <a:pt x="8273682" y="1219421"/>
                  </a:moveTo>
                  <a:cubicBezTo>
                    <a:pt x="8304164" y="1219421"/>
                    <a:pt x="8328874" y="1244131"/>
                    <a:pt x="8328874" y="1274612"/>
                  </a:cubicBezTo>
                  <a:cubicBezTo>
                    <a:pt x="8328874" y="1305093"/>
                    <a:pt x="8304164" y="1329803"/>
                    <a:pt x="8273682" y="1329803"/>
                  </a:cubicBezTo>
                  <a:cubicBezTo>
                    <a:pt x="8243200" y="1329803"/>
                    <a:pt x="8218490" y="1305093"/>
                    <a:pt x="8218490" y="1274612"/>
                  </a:cubicBezTo>
                  <a:cubicBezTo>
                    <a:pt x="8218490" y="1244131"/>
                    <a:pt x="8243200" y="1219421"/>
                    <a:pt x="8273682" y="1219421"/>
                  </a:cubicBezTo>
                  <a:close/>
                  <a:moveTo>
                    <a:pt x="8143388" y="1219421"/>
                  </a:moveTo>
                  <a:cubicBezTo>
                    <a:pt x="8173870" y="1219421"/>
                    <a:pt x="8198580" y="1244131"/>
                    <a:pt x="8198580" y="1274612"/>
                  </a:cubicBezTo>
                  <a:cubicBezTo>
                    <a:pt x="8198580" y="1305093"/>
                    <a:pt x="8173870" y="1329803"/>
                    <a:pt x="8143388" y="1329803"/>
                  </a:cubicBezTo>
                  <a:cubicBezTo>
                    <a:pt x="8112906" y="1329803"/>
                    <a:pt x="8088196" y="1305093"/>
                    <a:pt x="8088196" y="1274612"/>
                  </a:cubicBezTo>
                  <a:cubicBezTo>
                    <a:pt x="8088196" y="1244131"/>
                    <a:pt x="8112906" y="1219421"/>
                    <a:pt x="8143388" y="1219421"/>
                  </a:cubicBezTo>
                  <a:close/>
                  <a:moveTo>
                    <a:pt x="8009753" y="1219421"/>
                  </a:moveTo>
                  <a:cubicBezTo>
                    <a:pt x="8040235" y="1219421"/>
                    <a:pt x="8064945" y="1244131"/>
                    <a:pt x="8064945" y="1274612"/>
                  </a:cubicBezTo>
                  <a:cubicBezTo>
                    <a:pt x="8064945" y="1305093"/>
                    <a:pt x="8040235" y="1329803"/>
                    <a:pt x="8009753" y="1329803"/>
                  </a:cubicBezTo>
                  <a:cubicBezTo>
                    <a:pt x="7979271" y="1329803"/>
                    <a:pt x="7954561" y="1305093"/>
                    <a:pt x="7954561" y="1274612"/>
                  </a:cubicBezTo>
                  <a:cubicBezTo>
                    <a:pt x="7954561" y="1244131"/>
                    <a:pt x="7979271" y="1219421"/>
                    <a:pt x="8009753" y="1219421"/>
                  </a:cubicBezTo>
                  <a:close/>
                  <a:moveTo>
                    <a:pt x="7876118" y="1219421"/>
                  </a:moveTo>
                  <a:cubicBezTo>
                    <a:pt x="7906600" y="1219421"/>
                    <a:pt x="7931310" y="1244131"/>
                    <a:pt x="7931310" y="1274612"/>
                  </a:cubicBezTo>
                  <a:cubicBezTo>
                    <a:pt x="7931310" y="1305093"/>
                    <a:pt x="7906600" y="1329803"/>
                    <a:pt x="7876118" y="1329803"/>
                  </a:cubicBezTo>
                  <a:cubicBezTo>
                    <a:pt x="7845636" y="1329803"/>
                    <a:pt x="7820926" y="1305093"/>
                    <a:pt x="7820926" y="1274612"/>
                  </a:cubicBezTo>
                  <a:cubicBezTo>
                    <a:pt x="7820926" y="1244131"/>
                    <a:pt x="7845636" y="1219421"/>
                    <a:pt x="7876118" y="1219421"/>
                  </a:cubicBezTo>
                  <a:close/>
                  <a:moveTo>
                    <a:pt x="7745823" y="1219421"/>
                  </a:moveTo>
                  <a:cubicBezTo>
                    <a:pt x="7776305" y="1219421"/>
                    <a:pt x="7801015" y="1244131"/>
                    <a:pt x="7801015" y="1274612"/>
                  </a:cubicBezTo>
                  <a:cubicBezTo>
                    <a:pt x="7801015" y="1305093"/>
                    <a:pt x="7776305" y="1329803"/>
                    <a:pt x="7745823" y="1329803"/>
                  </a:cubicBezTo>
                  <a:cubicBezTo>
                    <a:pt x="7715341" y="1329803"/>
                    <a:pt x="7690631" y="1305093"/>
                    <a:pt x="7690631" y="1274612"/>
                  </a:cubicBezTo>
                  <a:cubicBezTo>
                    <a:pt x="7690631" y="1244131"/>
                    <a:pt x="7715341" y="1219421"/>
                    <a:pt x="7745823" y="1219421"/>
                  </a:cubicBezTo>
                  <a:close/>
                  <a:moveTo>
                    <a:pt x="7608849" y="1219421"/>
                  </a:moveTo>
                  <a:cubicBezTo>
                    <a:pt x="7639331" y="1219421"/>
                    <a:pt x="7664041" y="1244131"/>
                    <a:pt x="7664041" y="1274612"/>
                  </a:cubicBezTo>
                  <a:cubicBezTo>
                    <a:pt x="7664041" y="1305093"/>
                    <a:pt x="7639331" y="1329803"/>
                    <a:pt x="7608849" y="1329803"/>
                  </a:cubicBezTo>
                  <a:cubicBezTo>
                    <a:pt x="7578367" y="1329803"/>
                    <a:pt x="7553657" y="1305093"/>
                    <a:pt x="7553657" y="1274612"/>
                  </a:cubicBezTo>
                  <a:cubicBezTo>
                    <a:pt x="7553657" y="1244131"/>
                    <a:pt x="7578367" y="1219421"/>
                    <a:pt x="7608849" y="1219421"/>
                  </a:cubicBezTo>
                  <a:close/>
                  <a:moveTo>
                    <a:pt x="7481897" y="1219421"/>
                  </a:moveTo>
                  <a:cubicBezTo>
                    <a:pt x="7512379" y="1219421"/>
                    <a:pt x="7537089" y="1244131"/>
                    <a:pt x="7537089" y="1274612"/>
                  </a:cubicBezTo>
                  <a:cubicBezTo>
                    <a:pt x="7537089" y="1305093"/>
                    <a:pt x="7512379" y="1329803"/>
                    <a:pt x="7481897" y="1329803"/>
                  </a:cubicBezTo>
                  <a:cubicBezTo>
                    <a:pt x="7451415" y="1329803"/>
                    <a:pt x="7426705" y="1305093"/>
                    <a:pt x="7426705" y="1274612"/>
                  </a:cubicBezTo>
                  <a:cubicBezTo>
                    <a:pt x="7426705" y="1244131"/>
                    <a:pt x="7451415" y="1219421"/>
                    <a:pt x="7481897" y="1219421"/>
                  </a:cubicBezTo>
                  <a:close/>
                  <a:moveTo>
                    <a:pt x="7341579" y="1219421"/>
                  </a:moveTo>
                  <a:cubicBezTo>
                    <a:pt x="7372061" y="1219421"/>
                    <a:pt x="7396771" y="1244131"/>
                    <a:pt x="7396771" y="1274612"/>
                  </a:cubicBezTo>
                  <a:cubicBezTo>
                    <a:pt x="7396771" y="1305093"/>
                    <a:pt x="7372061" y="1329803"/>
                    <a:pt x="7341579" y="1329803"/>
                  </a:cubicBezTo>
                  <a:cubicBezTo>
                    <a:pt x="7311097" y="1329803"/>
                    <a:pt x="7286387" y="1305093"/>
                    <a:pt x="7286387" y="1274612"/>
                  </a:cubicBezTo>
                  <a:cubicBezTo>
                    <a:pt x="7286387" y="1244131"/>
                    <a:pt x="7311097" y="1219421"/>
                    <a:pt x="7341579" y="1219421"/>
                  </a:cubicBezTo>
                  <a:close/>
                  <a:moveTo>
                    <a:pt x="7211286" y="1219421"/>
                  </a:moveTo>
                  <a:cubicBezTo>
                    <a:pt x="7241768" y="1219421"/>
                    <a:pt x="7266478" y="1244131"/>
                    <a:pt x="7266478" y="1274612"/>
                  </a:cubicBezTo>
                  <a:cubicBezTo>
                    <a:pt x="7266478" y="1305093"/>
                    <a:pt x="7241768" y="1329803"/>
                    <a:pt x="7211286" y="1329803"/>
                  </a:cubicBezTo>
                  <a:cubicBezTo>
                    <a:pt x="7180804" y="1329803"/>
                    <a:pt x="7156094" y="1305093"/>
                    <a:pt x="7156094" y="1274612"/>
                  </a:cubicBezTo>
                  <a:cubicBezTo>
                    <a:pt x="7156094" y="1244131"/>
                    <a:pt x="7180804" y="1219421"/>
                    <a:pt x="7211286" y="1219421"/>
                  </a:cubicBezTo>
                  <a:close/>
                  <a:moveTo>
                    <a:pt x="7080993" y="1219421"/>
                  </a:moveTo>
                  <a:cubicBezTo>
                    <a:pt x="7111475" y="1219421"/>
                    <a:pt x="7136185" y="1244131"/>
                    <a:pt x="7136185" y="1274612"/>
                  </a:cubicBezTo>
                  <a:cubicBezTo>
                    <a:pt x="7136185" y="1305093"/>
                    <a:pt x="7111475" y="1329803"/>
                    <a:pt x="7080993" y="1329803"/>
                  </a:cubicBezTo>
                  <a:cubicBezTo>
                    <a:pt x="7050511" y="1329803"/>
                    <a:pt x="7025801" y="1305093"/>
                    <a:pt x="7025801" y="1274612"/>
                  </a:cubicBezTo>
                  <a:cubicBezTo>
                    <a:pt x="7025801" y="1244131"/>
                    <a:pt x="7050511" y="1219421"/>
                    <a:pt x="7080993" y="1219421"/>
                  </a:cubicBezTo>
                  <a:close/>
                  <a:moveTo>
                    <a:pt x="6947357" y="1219421"/>
                  </a:moveTo>
                  <a:cubicBezTo>
                    <a:pt x="6977839" y="1219421"/>
                    <a:pt x="7002549" y="1244131"/>
                    <a:pt x="7002549" y="1274612"/>
                  </a:cubicBezTo>
                  <a:cubicBezTo>
                    <a:pt x="7002549" y="1305093"/>
                    <a:pt x="6977839" y="1329803"/>
                    <a:pt x="6947357" y="1329803"/>
                  </a:cubicBezTo>
                  <a:cubicBezTo>
                    <a:pt x="6916875" y="1329803"/>
                    <a:pt x="6892165" y="1305093"/>
                    <a:pt x="6892165" y="1274612"/>
                  </a:cubicBezTo>
                  <a:cubicBezTo>
                    <a:pt x="6892165" y="1244131"/>
                    <a:pt x="6916875" y="1219421"/>
                    <a:pt x="6947357" y="1219421"/>
                  </a:cubicBezTo>
                  <a:close/>
                  <a:moveTo>
                    <a:pt x="6817064" y="1219421"/>
                  </a:moveTo>
                  <a:cubicBezTo>
                    <a:pt x="6847546" y="1219421"/>
                    <a:pt x="6872256" y="1244131"/>
                    <a:pt x="6872256" y="1274612"/>
                  </a:cubicBezTo>
                  <a:cubicBezTo>
                    <a:pt x="6872256" y="1305093"/>
                    <a:pt x="6847546" y="1329803"/>
                    <a:pt x="6817064" y="1329803"/>
                  </a:cubicBezTo>
                  <a:cubicBezTo>
                    <a:pt x="6786582" y="1329803"/>
                    <a:pt x="6761872" y="1305093"/>
                    <a:pt x="6761872" y="1274612"/>
                  </a:cubicBezTo>
                  <a:cubicBezTo>
                    <a:pt x="6761872" y="1244131"/>
                    <a:pt x="6786582" y="1219421"/>
                    <a:pt x="6817064" y="1219421"/>
                  </a:cubicBezTo>
                  <a:close/>
                  <a:moveTo>
                    <a:pt x="6683431" y="1219421"/>
                  </a:moveTo>
                  <a:cubicBezTo>
                    <a:pt x="6713913" y="1219421"/>
                    <a:pt x="6738623" y="1244131"/>
                    <a:pt x="6738623" y="1274612"/>
                  </a:cubicBezTo>
                  <a:cubicBezTo>
                    <a:pt x="6738623" y="1305093"/>
                    <a:pt x="6713913" y="1329803"/>
                    <a:pt x="6683431" y="1329803"/>
                  </a:cubicBezTo>
                  <a:cubicBezTo>
                    <a:pt x="6652949" y="1329803"/>
                    <a:pt x="6628239" y="1305093"/>
                    <a:pt x="6628239" y="1274612"/>
                  </a:cubicBezTo>
                  <a:cubicBezTo>
                    <a:pt x="6628239" y="1244131"/>
                    <a:pt x="6652949" y="1219421"/>
                    <a:pt x="6683431" y="1219421"/>
                  </a:cubicBezTo>
                  <a:close/>
                  <a:moveTo>
                    <a:pt x="6553137" y="1219421"/>
                  </a:moveTo>
                  <a:cubicBezTo>
                    <a:pt x="6583619" y="1219421"/>
                    <a:pt x="6608329" y="1244131"/>
                    <a:pt x="6608329" y="1274612"/>
                  </a:cubicBezTo>
                  <a:cubicBezTo>
                    <a:pt x="6608329" y="1305093"/>
                    <a:pt x="6583619" y="1329803"/>
                    <a:pt x="6553137" y="1329803"/>
                  </a:cubicBezTo>
                  <a:cubicBezTo>
                    <a:pt x="6522655" y="1329803"/>
                    <a:pt x="6497945" y="1305093"/>
                    <a:pt x="6497945" y="1274612"/>
                  </a:cubicBezTo>
                  <a:cubicBezTo>
                    <a:pt x="6497945" y="1244131"/>
                    <a:pt x="6522655" y="1219421"/>
                    <a:pt x="6553137" y="1219421"/>
                  </a:cubicBezTo>
                  <a:close/>
                  <a:moveTo>
                    <a:pt x="6419502" y="1219421"/>
                  </a:moveTo>
                  <a:cubicBezTo>
                    <a:pt x="6449984" y="1219421"/>
                    <a:pt x="6474694" y="1244131"/>
                    <a:pt x="6474694" y="1274612"/>
                  </a:cubicBezTo>
                  <a:cubicBezTo>
                    <a:pt x="6474694" y="1305093"/>
                    <a:pt x="6449984" y="1329803"/>
                    <a:pt x="6419502" y="1329803"/>
                  </a:cubicBezTo>
                  <a:cubicBezTo>
                    <a:pt x="6389020" y="1329803"/>
                    <a:pt x="6364310" y="1305093"/>
                    <a:pt x="6364310" y="1274612"/>
                  </a:cubicBezTo>
                  <a:cubicBezTo>
                    <a:pt x="6364310" y="1244131"/>
                    <a:pt x="6389020" y="1219421"/>
                    <a:pt x="6419502" y="1219421"/>
                  </a:cubicBezTo>
                  <a:close/>
                  <a:moveTo>
                    <a:pt x="6289207" y="1219421"/>
                  </a:moveTo>
                  <a:cubicBezTo>
                    <a:pt x="6319689" y="1219421"/>
                    <a:pt x="6344399" y="1244131"/>
                    <a:pt x="6344399" y="1274612"/>
                  </a:cubicBezTo>
                  <a:cubicBezTo>
                    <a:pt x="6344399" y="1305093"/>
                    <a:pt x="6319689" y="1329803"/>
                    <a:pt x="6289207" y="1329803"/>
                  </a:cubicBezTo>
                  <a:cubicBezTo>
                    <a:pt x="6258725" y="1329803"/>
                    <a:pt x="6234015" y="1305093"/>
                    <a:pt x="6234015" y="1274612"/>
                  </a:cubicBezTo>
                  <a:cubicBezTo>
                    <a:pt x="6234015" y="1244131"/>
                    <a:pt x="6258725" y="1219421"/>
                    <a:pt x="6289207" y="1219421"/>
                  </a:cubicBezTo>
                  <a:close/>
                  <a:moveTo>
                    <a:pt x="6155573" y="1219421"/>
                  </a:moveTo>
                  <a:cubicBezTo>
                    <a:pt x="6186055" y="1219421"/>
                    <a:pt x="6210765" y="1244131"/>
                    <a:pt x="6210765" y="1274612"/>
                  </a:cubicBezTo>
                  <a:cubicBezTo>
                    <a:pt x="6210765" y="1305093"/>
                    <a:pt x="6186055" y="1329803"/>
                    <a:pt x="6155573" y="1329803"/>
                  </a:cubicBezTo>
                  <a:cubicBezTo>
                    <a:pt x="6125091" y="1329803"/>
                    <a:pt x="6100381" y="1305093"/>
                    <a:pt x="6100381" y="1274612"/>
                  </a:cubicBezTo>
                  <a:cubicBezTo>
                    <a:pt x="6100381" y="1244131"/>
                    <a:pt x="6125091" y="1219421"/>
                    <a:pt x="6155573" y="1219421"/>
                  </a:cubicBezTo>
                  <a:close/>
                  <a:moveTo>
                    <a:pt x="6021939" y="1219421"/>
                  </a:moveTo>
                  <a:cubicBezTo>
                    <a:pt x="6052421" y="1219421"/>
                    <a:pt x="6077131" y="1244131"/>
                    <a:pt x="6077131" y="1274612"/>
                  </a:cubicBezTo>
                  <a:cubicBezTo>
                    <a:pt x="6077131" y="1305093"/>
                    <a:pt x="6052421" y="1329803"/>
                    <a:pt x="6021939" y="1329803"/>
                  </a:cubicBezTo>
                  <a:cubicBezTo>
                    <a:pt x="5991457" y="1329803"/>
                    <a:pt x="5966747" y="1305093"/>
                    <a:pt x="5966747" y="1274612"/>
                  </a:cubicBezTo>
                  <a:cubicBezTo>
                    <a:pt x="5966747" y="1244131"/>
                    <a:pt x="5991457" y="1219421"/>
                    <a:pt x="6021939" y="1219421"/>
                  </a:cubicBezTo>
                  <a:close/>
                  <a:moveTo>
                    <a:pt x="5884964" y="1219421"/>
                  </a:moveTo>
                  <a:cubicBezTo>
                    <a:pt x="5915446" y="1219421"/>
                    <a:pt x="5940156" y="1244131"/>
                    <a:pt x="5940156" y="1274612"/>
                  </a:cubicBezTo>
                  <a:cubicBezTo>
                    <a:pt x="5940156" y="1305093"/>
                    <a:pt x="5915446" y="1329803"/>
                    <a:pt x="5884964" y="1329803"/>
                  </a:cubicBezTo>
                  <a:cubicBezTo>
                    <a:pt x="5854482" y="1329803"/>
                    <a:pt x="5829772" y="1305093"/>
                    <a:pt x="5829772" y="1274612"/>
                  </a:cubicBezTo>
                  <a:cubicBezTo>
                    <a:pt x="5829772" y="1244131"/>
                    <a:pt x="5854482" y="1219421"/>
                    <a:pt x="5884964" y="1219421"/>
                  </a:cubicBezTo>
                  <a:close/>
                  <a:moveTo>
                    <a:pt x="5754668" y="1219421"/>
                  </a:moveTo>
                  <a:cubicBezTo>
                    <a:pt x="5785150" y="1219421"/>
                    <a:pt x="5809860" y="1244131"/>
                    <a:pt x="5809860" y="1274612"/>
                  </a:cubicBezTo>
                  <a:cubicBezTo>
                    <a:pt x="5809860" y="1305093"/>
                    <a:pt x="5785150" y="1329803"/>
                    <a:pt x="5754668" y="1329803"/>
                  </a:cubicBezTo>
                  <a:cubicBezTo>
                    <a:pt x="5724186" y="1329803"/>
                    <a:pt x="5699476" y="1305093"/>
                    <a:pt x="5699476" y="1274612"/>
                  </a:cubicBezTo>
                  <a:cubicBezTo>
                    <a:pt x="5699476" y="1244131"/>
                    <a:pt x="5724186" y="1219421"/>
                    <a:pt x="5754668" y="1219421"/>
                  </a:cubicBezTo>
                  <a:close/>
                  <a:moveTo>
                    <a:pt x="5621034" y="1219421"/>
                  </a:moveTo>
                  <a:cubicBezTo>
                    <a:pt x="5651516" y="1219421"/>
                    <a:pt x="5676226" y="1244131"/>
                    <a:pt x="5676226" y="1274612"/>
                  </a:cubicBezTo>
                  <a:cubicBezTo>
                    <a:pt x="5676226" y="1305093"/>
                    <a:pt x="5651516" y="1329803"/>
                    <a:pt x="5621034" y="1329803"/>
                  </a:cubicBezTo>
                  <a:cubicBezTo>
                    <a:pt x="5590552" y="1329803"/>
                    <a:pt x="5565842" y="1305093"/>
                    <a:pt x="5565842" y="1274612"/>
                  </a:cubicBezTo>
                  <a:cubicBezTo>
                    <a:pt x="5565842" y="1244131"/>
                    <a:pt x="5590552" y="1219421"/>
                    <a:pt x="5621034" y="1219421"/>
                  </a:cubicBezTo>
                  <a:close/>
                  <a:moveTo>
                    <a:pt x="5487399" y="1219421"/>
                  </a:moveTo>
                  <a:cubicBezTo>
                    <a:pt x="5517881" y="1219421"/>
                    <a:pt x="5542591" y="1244131"/>
                    <a:pt x="5542591" y="1274612"/>
                  </a:cubicBezTo>
                  <a:cubicBezTo>
                    <a:pt x="5542591" y="1305093"/>
                    <a:pt x="5517881" y="1329803"/>
                    <a:pt x="5487399" y="1329803"/>
                  </a:cubicBezTo>
                  <a:cubicBezTo>
                    <a:pt x="5456917" y="1329803"/>
                    <a:pt x="5432207" y="1305093"/>
                    <a:pt x="5432207" y="1274612"/>
                  </a:cubicBezTo>
                  <a:cubicBezTo>
                    <a:pt x="5432207" y="1244131"/>
                    <a:pt x="5456917" y="1219421"/>
                    <a:pt x="5487399" y="1219421"/>
                  </a:cubicBezTo>
                  <a:close/>
                  <a:moveTo>
                    <a:pt x="5357106" y="1219421"/>
                  </a:moveTo>
                  <a:cubicBezTo>
                    <a:pt x="5387588" y="1219421"/>
                    <a:pt x="5412298" y="1244131"/>
                    <a:pt x="5412298" y="1274612"/>
                  </a:cubicBezTo>
                  <a:cubicBezTo>
                    <a:pt x="5412298" y="1305093"/>
                    <a:pt x="5387588" y="1329803"/>
                    <a:pt x="5357106" y="1329803"/>
                  </a:cubicBezTo>
                  <a:cubicBezTo>
                    <a:pt x="5326624" y="1329803"/>
                    <a:pt x="5301914" y="1305093"/>
                    <a:pt x="5301914" y="1274612"/>
                  </a:cubicBezTo>
                  <a:cubicBezTo>
                    <a:pt x="5301914" y="1244131"/>
                    <a:pt x="5326624" y="1219421"/>
                    <a:pt x="5357106" y="1219421"/>
                  </a:cubicBezTo>
                  <a:close/>
                  <a:moveTo>
                    <a:pt x="5093178" y="1219421"/>
                  </a:moveTo>
                  <a:cubicBezTo>
                    <a:pt x="5123660" y="1219421"/>
                    <a:pt x="5148370" y="1244131"/>
                    <a:pt x="5148370" y="1274612"/>
                  </a:cubicBezTo>
                  <a:cubicBezTo>
                    <a:pt x="5148370" y="1305093"/>
                    <a:pt x="5123660" y="1329803"/>
                    <a:pt x="5093178" y="1329803"/>
                  </a:cubicBezTo>
                  <a:cubicBezTo>
                    <a:pt x="5062696" y="1329803"/>
                    <a:pt x="5037986" y="1305093"/>
                    <a:pt x="5037986" y="1274612"/>
                  </a:cubicBezTo>
                  <a:cubicBezTo>
                    <a:pt x="5037986" y="1244131"/>
                    <a:pt x="5062696" y="1219421"/>
                    <a:pt x="5093178" y="1219421"/>
                  </a:cubicBezTo>
                  <a:close/>
                  <a:moveTo>
                    <a:pt x="4959542" y="1219421"/>
                  </a:moveTo>
                  <a:cubicBezTo>
                    <a:pt x="4990024" y="1219421"/>
                    <a:pt x="5014734" y="1244131"/>
                    <a:pt x="5014734" y="1274612"/>
                  </a:cubicBezTo>
                  <a:cubicBezTo>
                    <a:pt x="5014734" y="1305093"/>
                    <a:pt x="4990024" y="1329803"/>
                    <a:pt x="4959542" y="1329803"/>
                  </a:cubicBezTo>
                  <a:cubicBezTo>
                    <a:pt x="4929060" y="1329803"/>
                    <a:pt x="4904350" y="1305093"/>
                    <a:pt x="4904350" y="1274612"/>
                  </a:cubicBezTo>
                  <a:cubicBezTo>
                    <a:pt x="4904350" y="1244131"/>
                    <a:pt x="4929060" y="1219421"/>
                    <a:pt x="4959542" y="1219421"/>
                  </a:cubicBezTo>
                  <a:close/>
                  <a:moveTo>
                    <a:pt x="4829250" y="1219421"/>
                  </a:moveTo>
                  <a:cubicBezTo>
                    <a:pt x="4859732" y="1219421"/>
                    <a:pt x="4884442" y="1244131"/>
                    <a:pt x="4884442" y="1274612"/>
                  </a:cubicBezTo>
                  <a:cubicBezTo>
                    <a:pt x="4884442" y="1305093"/>
                    <a:pt x="4859732" y="1329803"/>
                    <a:pt x="4829250" y="1329803"/>
                  </a:cubicBezTo>
                  <a:cubicBezTo>
                    <a:pt x="4798768" y="1329803"/>
                    <a:pt x="4774058" y="1305093"/>
                    <a:pt x="4774058" y="1274612"/>
                  </a:cubicBezTo>
                  <a:cubicBezTo>
                    <a:pt x="4774058" y="1244131"/>
                    <a:pt x="4798768" y="1219421"/>
                    <a:pt x="4829250" y="1219421"/>
                  </a:cubicBezTo>
                  <a:close/>
                  <a:moveTo>
                    <a:pt x="319111" y="1219421"/>
                  </a:moveTo>
                  <a:cubicBezTo>
                    <a:pt x="349594" y="1219421"/>
                    <a:pt x="374305" y="1244131"/>
                    <a:pt x="374305" y="1274612"/>
                  </a:cubicBezTo>
                  <a:cubicBezTo>
                    <a:pt x="374305" y="1305093"/>
                    <a:pt x="349594" y="1329803"/>
                    <a:pt x="319111" y="1329803"/>
                  </a:cubicBezTo>
                  <a:cubicBezTo>
                    <a:pt x="288629" y="1329803"/>
                    <a:pt x="263920" y="1305093"/>
                    <a:pt x="263920" y="1274612"/>
                  </a:cubicBezTo>
                  <a:cubicBezTo>
                    <a:pt x="263920" y="1244131"/>
                    <a:pt x="288629" y="1219421"/>
                    <a:pt x="319111" y="1219421"/>
                  </a:cubicBezTo>
                  <a:close/>
                  <a:moveTo>
                    <a:pt x="185480" y="1219421"/>
                  </a:moveTo>
                  <a:cubicBezTo>
                    <a:pt x="215961" y="1219421"/>
                    <a:pt x="240671" y="1244131"/>
                    <a:pt x="240671" y="1274612"/>
                  </a:cubicBezTo>
                  <a:cubicBezTo>
                    <a:pt x="240671" y="1305093"/>
                    <a:pt x="215961" y="1329803"/>
                    <a:pt x="185480" y="1329803"/>
                  </a:cubicBezTo>
                  <a:cubicBezTo>
                    <a:pt x="154998" y="1329803"/>
                    <a:pt x="130288" y="1305093"/>
                    <a:pt x="130288" y="1274612"/>
                  </a:cubicBezTo>
                  <a:cubicBezTo>
                    <a:pt x="130288" y="1244131"/>
                    <a:pt x="154998" y="1219421"/>
                    <a:pt x="185480" y="1219421"/>
                  </a:cubicBezTo>
                  <a:close/>
                  <a:moveTo>
                    <a:pt x="449407" y="1219419"/>
                  </a:moveTo>
                  <a:cubicBezTo>
                    <a:pt x="479889" y="1219419"/>
                    <a:pt x="504600" y="1244129"/>
                    <a:pt x="504600" y="1274610"/>
                  </a:cubicBezTo>
                  <a:cubicBezTo>
                    <a:pt x="504600" y="1305091"/>
                    <a:pt x="479889" y="1329801"/>
                    <a:pt x="449407" y="1329801"/>
                  </a:cubicBezTo>
                  <a:cubicBezTo>
                    <a:pt x="418924" y="1329801"/>
                    <a:pt x="394214" y="1305091"/>
                    <a:pt x="394214" y="1274610"/>
                  </a:cubicBezTo>
                  <a:cubicBezTo>
                    <a:pt x="394214" y="1244129"/>
                    <a:pt x="418924" y="1219419"/>
                    <a:pt x="449407" y="1219419"/>
                  </a:cubicBezTo>
                  <a:close/>
                  <a:moveTo>
                    <a:pt x="4565322" y="1219417"/>
                  </a:moveTo>
                  <a:cubicBezTo>
                    <a:pt x="4595804" y="1219417"/>
                    <a:pt x="4620514" y="1244127"/>
                    <a:pt x="4620514" y="1274608"/>
                  </a:cubicBezTo>
                  <a:cubicBezTo>
                    <a:pt x="4620514" y="1305089"/>
                    <a:pt x="4595804" y="1329799"/>
                    <a:pt x="4565322" y="1329799"/>
                  </a:cubicBezTo>
                  <a:cubicBezTo>
                    <a:pt x="4534840" y="1329799"/>
                    <a:pt x="4510130" y="1305089"/>
                    <a:pt x="4510130" y="1274608"/>
                  </a:cubicBezTo>
                  <a:cubicBezTo>
                    <a:pt x="4510130" y="1244127"/>
                    <a:pt x="4534840" y="1219417"/>
                    <a:pt x="4565322" y="1219417"/>
                  </a:cubicBezTo>
                  <a:close/>
                  <a:moveTo>
                    <a:pt x="2834811" y="1219417"/>
                  </a:moveTo>
                  <a:cubicBezTo>
                    <a:pt x="2865293" y="1219417"/>
                    <a:pt x="2890003" y="1244127"/>
                    <a:pt x="2890003" y="1274608"/>
                  </a:cubicBezTo>
                  <a:cubicBezTo>
                    <a:pt x="2890003" y="1305089"/>
                    <a:pt x="2865293" y="1329799"/>
                    <a:pt x="2834811" y="1329799"/>
                  </a:cubicBezTo>
                  <a:cubicBezTo>
                    <a:pt x="2804329" y="1329799"/>
                    <a:pt x="2779620" y="1305089"/>
                    <a:pt x="2779620" y="1274608"/>
                  </a:cubicBezTo>
                  <a:cubicBezTo>
                    <a:pt x="2779620" y="1244127"/>
                    <a:pt x="2804329" y="1219417"/>
                    <a:pt x="2834811" y="1219417"/>
                  </a:cubicBezTo>
                  <a:close/>
                  <a:moveTo>
                    <a:pt x="2707858" y="1219417"/>
                  </a:moveTo>
                  <a:cubicBezTo>
                    <a:pt x="2738341" y="1219417"/>
                    <a:pt x="2763052" y="1244127"/>
                    <a:pt x="2763052" y="1274608"/>
                  </a:cubicBezTo>
                  <a:cubicBezTo>
                    <a:pt x="2763052" y="1305089"/>
                    <a:pt x="2738341" y="1329799"/>
                    <a:pt x="2707858" y="1329799"/>
                  </a:cubicBezTo>
                  <a:cubicBezTo>
                    <a:pt x="2677377" y="1329799"/>
                    <a:pt x="2652667" y="1305089"/>
                    <a:pt x="2652667" y="1274608"/>
                  </a:cubicBezTo>
                  <a:cubicBezTo>
                    <a:pt x="2652667" y="1244127"/>
                    <a:pt x="2677377" y="1219417"/>
                    <a:pt x="2707858" y="1219417"/>
                  </a:cubicBezTo>
                  <a:close/>
                  <a:moveTo>
                    <a:pt x="2570885" y="1219417"/>
                  </a:moveTo>
                  <a:cubicBezTo>
                    <a:pt x="2601367" y="1219417"/>
                    <a:pt x="2626075" y="1244127"/>
                    <a:pt x="2626075" y="1274608"/>
                  </a:cubicBezTo>
                  <a:cubicBezTo>
                    <a:pt x="2626075" y="1305089"/>
                    <a:pt x="2601367" y="1329799"/>
                    <a:pt x="2570885" y="1329799"/>
                  </a:cubicBezTo>
                  <a:cubicBezTo>
                    <a:pt x="2540401" y="1329799"/>
                    <a:pt x="2515692" y="1305089"/>
                    <a:pt x="2515692" y="1274608"/>
                  </a:cubicBezTo>
                  <a:cubicBezTo>
                    <a:pt x="2515692" y="1244127"/>
                    <a:pt x="2540401" y="1219417"/>
                    <a:pt x="2570885" y="1219417"/>
                  </a:cubicBezTo>
                  <a:close/>
                  <a:moveTo>
                    <a:pt x="2039686" y="1219417"/>
                  </a:moveTo>
                  <a:cubicBezTo>
                    <a:pt x="2070169" y="1219417"/>
                    <a:pt x="2094880" y="1244127"/>
                    <a:pt x="2094880" y="1274608"/>
                  </a:cubicBezTo>
                  <a:cubicBezTo>
                    <a:pt x="2094880" y="1305089"/>
                    <a:pt x="2070169" y="1329799"/>
                    <a:pt x="2039686" y="1329799"/>
                  </a:cubicBezTo>
                  <a:cubicBezTo>
                    <a:pt x="2009204" y="1329799"/>
                    <a:pt x="1984493" y="1305089"/>
                    <a:pt x="1984493" y="1274608"/>
                  </a:cubicBezTo>
                  <a:cubicBezTo>
                    <a:pt x="1984493" y="1244127"/>
                    <a:pt x="2009204" y="1219417"/>
                    <a:pt x="2039686" y="1219417"/>
                  </a:cubicBezTo>
                  <a:close/>
                  <a:moveTo>
                    <a:pt x="1909390" y="1219417"/>
                  </a:moveTo>
                  <a:cubicBezTo>
                    <a:pt x="1939873" y="1219417"/>
                    <a:pt x="1964583" y="1244127"/>
                    <a:pt x="1964583" y="1274608"/>
                  </a:cubicBezTo>
                  <a:cubicBezTo>
                    <a:pt x="1964583" y="1305089"/>
                    <a:pt x="1939873" y="1329799"/>
                    <a:pt x="1909390" y="1329799"/>
                  </a:cubicBezTo>
                  <a:cubicBezTo>
                    <a:pt x="1878908" y="1329799"/>
                    <a:pt x="1854197" y="1305089"/>
                    <a:pt x="1854197" y="1274608"/>
                  </a:cubicBezTo>
                  <a:cubicBezTo>
                    <a:pt x="1854197" y="1244127"/>
                    <a:pt x="1878908" y="1219417"/>
                    <a:pt x="1909390" y="1219417"/>
                  </a:cubicBezTo>
                  <a:close/>
                  <a:moveTo>
                    <a:pt x="1779095" y="1219417"/>
                  </a:moveTo>
                  <a:cubicBezTo>
                    <a:pt x="1809577" y="1219417"/>
                    <a:pt x="1834287" y="1244127"/>
                    <a:pt x="1834287" y="1274608"/>
                  </a:cubicBezTo>
                  <a:cubicBezTo>
                    <a:pt x="1834287" y="1305089"/>
                    <a:pt x="1809577" y="1329799"/>
                    <a:pt x="1779095" y="1329799"/>
                  </a:cubicBezTo>
                  <a:cubicBezTo>
                    <a:pt x="1748613" y="1329799"/>
                    <a:pt x="1723902" y="1305089"/>
                    <a:pt x="1723902" y="1274608"/>
                  </a:cubicBezTo>
                  <a:cubicBezTo>
                    <a:pt x="1723902" y="1244127"/>
                    <a:pt x="1748613" y="1219417"/>
                    <a:pt x="1779095" y="1219417"/>
                  </a:cubicBezTo>
                  <a:close/>
                  <a:moveTo>
                    <a:pt x="1645457" y="1219417"/>
                  </a:moveTo>
                  <a:cubicBezTo>
                    <a:pt x="1675941" y="1219417"/>
                    <a:pt x="1700655" y="1244127"/>
                    <a:pt x="1700655" y="1274608"/>
                  </a:cubicBezTo>
                  <a:cubicBezTo>
                    <a:pt x="1700655" y="1305089"/>
                    <a:pt x="1675941" y="1329799"/>
                    <a:pt x="1645457" y="1329799"/>
                  </a:cubicBezTo>
                  <a:cubicBezTo>
                    <a:pt x="1614977" y="1329799"/>
                    <a:pt x="1590265" y="1305089"/>
                    <a:pt x="1590265" y="1274608"/>
                  </a:cubicBezTo>
                  <a:cubicBezTo>
                    <a:pt x="1590265" y="1244127"/>
                    <a:pt x="1614977" y="1219417"/>
                    <a:pt x="1645457" y="1219417"/>
                  </a:cubicBezTo>
                  <a:close/>
                  <a:moveTo>
                    <a:pt x="1515168" y="1219417"/>
                  </a:moveTo>
                  <a:cubicBezTo>
                    <a:pt x="1545647" y="1219417"/>
                    <a:pt x="1570354" y="1244127"/>
                    <a:pt x="1570354" y="1274608"/>
                  </a:cubicBezTo>
                  <a:cubicBezTo>
                    <a:pt x="1570354" y="1305089"/>
                    <a:pt x="1545647" y="1329799"/>
                    <a:pt x="1515168" y="1329799"/>
                  </a:cubicBezTo>
                  <a:cubicBezTo>
                    <a:pt x="1484683" y="1329799"/>
                    <a:pt x="1459973" y="1305089"/>
                    <a:pt x="1459973" y="1274608"/>
                  </a:cubicBezTo>
                  <a:cubicBezTo>
                    <a:pt x="1459973" y="1244127"/>
                    <a:pt x="1484683" y="1219417"/>
                    <a:pt x="1515168" y="1219417"/>
                  </a:cubicBezTo>
                  <a:close/>
                  <a:moveTo>
                    <a:pt x="1381528" y="1219417"/>
                  </a:moveTo>
                  <a:cubicBezTo>
                    <a:pt x="1412011" y="1219417"/>
                    <a:pt x="1436723" y="1244127"/>
                    <a:pt x="1436723" y="1274608"/>
                  </a:cubicBezTo>
                  <a:cubicBezTo>
                    <a:pt x="1436723" y="1305089"/>
                    <a:pt x="1412011" y="1329799"/>
                    <a:pt x="1381528" y="1329799"/>
                  </a:cubicBezTo>
                  <a:cubicBezTo>
                    <a:pt x="1351052" y="1329799"/>
                    <a:pt x="1326339" y="1305089"/>
                    <a:pt x="1326339" y="1274608"/>
                  </a:cubicBezTo>
                  <a:cubicBezTo>
                    <a:pt x="1326339" y="1244127"/>
                    <a:pt x="1351052" y="1219417"/>
                    <a:pt x="1381528" y="1219417"/>
                  </a:cubicBezTo>
                  <a:close/>
                  <a:moveTo>
                    <a:pt x="1251239" y="1219417"/>
                  </a:moveTo>
                  <a:cubicBezTo>
                    <a:pt x="1281721" y="1219417"/>
                    <a:pt x="1306431" y="1244127"/>
                    <a:pt x="1306431" y="1274608"/>
                  </a:cubicBezTo>
                  <a:cubicBezTo>
                    <a:pt x="1306431" y="1305089"/>
                    <a:pt x="1281721" y="1329799"/>
                    <a:pt x="1251239" y="1329799"/>
                  </a:cubicBezTo>
                  <a:cubicBezTo>
                    <a:pt x="1220756" y="1329799"/>
                    <a:pt x="1196046" y="1305089"/>
                    <a:pt x="1196046" y="1274608"/>
                  </a:cubicBezTo>
                  <a:cubicBezTo>
                    <a:pt x="1196046" y="1244127"/>
                    <a:pt x="1220756" y="1219417"/>
                    <a:pt x="1251239" y="1219417"/>
                  </a:cubicBezTo>
                  <a:close/>
                  <a:moveTo>
                    <a:pt x="1117601" y="1219417"/>
                  </a:moveTo>
                  <a:cubicBezTo>
                    <a:pt x="1148084" y="1219417"/>
                    <a:pt x="1172794" y="1244127"/>
                    <a:pt x="1172794" y="1274608"/>
                  </a:cubicBezTo>
                  <a:cubicBezTo>
                    <a:pt x="1172794" y="1305089"/>
                    <a:pt x="1148084" y="1329799"/>
                    <a:pt x="1117601" y="1329799"/>
                  </a:cubicBezTo>
                  <a:cubicBezTo>
                    <a:pt x="1087119" y="1329799"/>
                    <a:pt x="1062408" y="1305089"/>
                    <a:pt x="1062408" y="1274608"/>
                  </a:cubicBezTo>
                  <a:cubicBezTo>
                    <a:pt x="1062408" y="1244127"/>
                    <a:pt x="1087119" y="1219417"/>
                    <a:pt x="1117601" y="1219417"/>
                  </a:cubicBezTo>
                  <a:close/>
                  <a:moveTo>
                    <a:pt x="980622" y="1219417"/>
                  </a:moveTo>
                  <a:cubicBezTo>
                    <a:pt x="1011105" y="1219417"/>
                    <a:pt x="1035816" y="1244127"/>
                    <a:pt x="1035816" y="1274608"/>
                  </a:cubicBezTo>
                  <a:cubicBezTo>
                    <a:pt x="1035816" y="1305089"/>
                    <a:pt x="1011105" y="1329799"/>
                    <a:pt x="980622" y="1329799"/>
                  </a:cubicBezTo>
                  <a:cubicBezTo>
                    <a:pt x="950140" y="1329799"/>
                    <a:pt x="925429" y="1305089"/>
                    <a:pt x="925429" y="1274608"/>
                  </a:cubicBezTo>
                  <a:cubicBezTo>
                    <a:pt x="925429" y="1244127"/>
                    <a:pt x="950140" y="1219417"/>
                    <a:pt x="980622" y="1219417"/>
                  </a:cubicBezTo>
                  <a:close/>
                  <a:moveTo>
                    <a:pt x="9469710" y="1099147"/>
                  </a:moveTo>
                  <a:cubicBezTo>
                    <a:pt x="9500192" y="1099147"/>
                    <a:pt x="9524902" y="1123857"/>
                    <a:pt x="9524902" y="1154338"/>
                  </a:cubicBezTo>
                  <a:cubicBezTo>
                    <a:pt x="9524902" y="1184819"/>
                    <a:pt x="9500192" y="1209529"/>
                    <a:pt x="9469710" y="1209529"/>
                  </a:cubicBezTo>
                  <a:cubicBezTo>
                    <a:pt x="9439228" y="1209529"/>
                    <a:pt x="9414518" y="1184819"/>
                    <a:pt x="9414518" y="1154338"/>
                  </a:cubicBezTo>
                  <a:cubicBezTo>
                    <a:pt x="9414518" y="1123857"/>
                    <a:pt x="9439228" y="1099147"/>
                    <a:pt x="9469710" y="1099147"/>
                  </a:cubicBezTo>
                  <a:close/>
                  <a:moveTo>
                    <a:pt x="9336075" y="1099147"/>
                  </a:moveTo>
                  <a:cubicBezTo>
                    <a:pt x="9366557" y="1099147"/>
                    <a:pt x="9391267" y="1123857"/>
                    <a:pt x="9391267" y="1154338"/>
                  </a:cubicBezTo>
                  <a:cubicBezTo>
                    <a:pt x="9391267" y="1184819"/>
                    <a:pt x="9366557" y="1209529"/>
                    <a:pt x="9336075" y="1209529"/>
                  </a:cubicBezTo>
                  <a:cubicBezTo>
                    <a:pt x="9305593" y="1209529"/>
                    <a:pt x="9280883" y="1184819"/>
                    <a:pt x="9280883" y="1154338"/>
                  </a:cubicBezTo>
                  <a:cubicBezTo>
                    <a:pt x="9280883" y="1123857"/>
                    <a:pt x="9305593" y="1099147"/>
                    <a:pt x="9336075" y="1099147"/>
                  </a:cubicBezTo>
                  <a:close/>
                  <a:moveTo>
                    <a:pt x="9199100" y="1099147"/>
                  </a:moveTo>
                  <a:cubicBezTo>
                    <a:pt x="9229582" y="1099147"/>
                    <a:pt x="9254292" y="1123857"/>
                    <a:pt x="9254292" y="1154338"/>
                  </a:cubicBezTo>
                  <a:cubicBezTo>
                    <a:pt x="9254292" y="1184819"/>
                    <a:pt x="9229582" y="1209529"/>
                    <a:pt x="9199100" y="1209529"/>
                  </a:cubicBezTo>
                  <a:cubicBezTo>
                    <a:pt x="9168618" y="1209529"/>
                    <a:pt x="9143908" y="1184819"/>
                    <a:pt x="9143908" y="1154338"/>
                  </a:cubicBezTo>
                  <a:cubicBezTo>
                    <a:pt x="9143908" y="1123857"/>
                    <a:pt x="9168618" y="1099147"/>
                    <a:pt x="9199100" y="1099147"/>
                  </a:cubicBezTo>
                  <a:close/>
                  <a:moveTo>
                    <a:pt x="9068805" y="1099147"/>
                  </a:moveTo>
                  <a:cubicBezTo>
                    <a:pt x="9099287" y="1099147"/>
                    <a:pt x="9123997" y="1123857"/>
                    <a:pt x="9123997" y="1154338"/>
                  </a:cubicBezTo>
                  <a:cubicBezTo>
                    <a:pt x="9123997" y="1184819"/>
                    <a:pt x="9099287" y="1209529"/>
                    <a:pt x="9068805" y="1209529"/>
                  </a:cubicBezTo>
                  <a:cubicBezTo>
                    <a:pt x="9038323" y="1209529"/>
                    <a:pt x="9013613" y="1184819"/>
                    <a:pt x="9013613" y="1154338"/>
                  </a:cubicBezTo>
                  <a:cubicBezTo>
                    <a:pt x="9013613" y="1123857"/>
                    <a:pt x="9038323" y="1099147"/>
                    <a:pt x="9068805" y="1099147"/>
                  </a:cubicBezTo>
                  <a:close/>
                  <a:moveTo>
                    <a:pt x="8935170" y="1099147"/>
                  </a:moveTo>
                  <a:cubicBezTo>
                    <a:pt x="8965652" y="1099147"/>
                    <a:pt x="8990362" y="1123857"/>
                    <a:pt x="8990362" y="1154338"/>
                  </a:cubicBezTo>
                  <a:cubicBezTo>
                    <a:pt x="8990362" y="1184819"/>
                    <a:pt x="8965652" y="1209529"/>
                    <a:pt x="8935170" y="1209529"/>
                  </a:cubicBezTo>
                  <a:cubicBezTo>
                    <a:pt x="8904688" y="1209529"/>
                    <a:pt x="8879978" y="1184819"/>
                    <a:pt x="8879978" y="1154338"/>
                  </a:cubicBezTo>
                  <a:cubicBezTo>
                    <a:pt x="8879978" y="1123857"/>
                    <a:pt x="8904688" y="1099147"/>
                    <a:pt x="8935170" y="1099147"/>
                  </a:cubicBezTo>
                  <a:close/>
                  <a:moveTo>
                    <a:pt x="8801536" y="1099147"/>
                  </a:moveTo>
                  <a:cubicBezTo>
                    <a:pt x="8832018" y="1099147"/>
                    <a:pt x="8856728" y="1123857"/>
                    <a:pt x="8856728" y="1154338"/>
                  </a:cubicBezTo>
                  <a:cubicBezTo>
                    <a:pt x="8856728" y="1184819"/>
                    <a:pt x="8832018" y="1209529"/>
                    <a:pt x="8801536" y="1209529"/>
                  </a:cubicBezTo>
                  <a:cubicBezTo>
                    <a:pt x="8771054" y="1209529"/>
                    <a:pt x="8746344" y="1184819"/>
                    <a:pt x="8746344" y="1154338"/>
                  </a:cubicBezTo>
                  <a:cubicBezTo>
                    <a:pt x="8746344" y="1123857"/>
                    <a:pt x="8771054" y="1099147"/>
                    <a:pt x="8801536" y="1099147"/>
                  </a:cubicBezTo>
                  <a:close/>
                  <a:moveTo>
                    <a:pt x="8671243" y="1099147"/>
                  </a:moveTo>
                  <a:cubicBezTo>
                    <a:pt x="8701725" y="1099147"/>
                    <a:pt x="8726435" y="1123857"/>
                    <a:pt x="8726435" y="1154338"/>
                  </a:cubicBezTo>
                  <a:cubicBezTo>
                    <a:pt x="8726435" y="1184819"/>
                    <a:pt x="8701725" y="1209529"/>
                    <a:pt x="8671243" y="1209529"/>
                  </a:cubicBezTo>
                  <a:cubicBezTo>
                    <a:pt x="8640761" y="1209529"/>
                    <a:pt x="8616051" y="1184819"/>
                    <a:pt x="8616051" y="1154338"/>
                  </a:cubicBezTo>
                  <a:cubicBezTo>
                    <a:pt x="8616051" y="1123857"/>
                    <a:pt x="8640761" y="1099147"/>
                    <a:pt x="8671243" y="1099147"/>
                  </a:cubicBezTo>
                  <a:close/>
                  <a:moveTo>
                    <a:pt x="8537609" y="1099147"/>
                  </a:moveTo>
                  <a:cubicBezTo>
                    <a:pt x="8568091" y="1099147"/>
                    <a:pt x="8592801" y="1123857"/>
                    <a:pt x="8592801" y="1154338"/>
                  </a:cubicBezTo>
                  <a:cubicBezTo>
                    <a:pt x="8592801" y="1184819"/>
                    <a:pt x="8568091" y="1209529"/>
                    <a:pt x="8537609" y="1209529"/>
                  </a:cubicBezTo>
                  <a:cubicBezTo>
                    <a:pt x="8507127" y="1209529"/>
                    <a:pt x="8482417" y="1184819"/>
                    <a:pt x="8482417" y="1154338"/>
                  </a:cubicBezTo>
                  <a:cubicBezTo>
                    <a:pt x="8482417" y="1123857"/>
                    <a:pt x="8507127" y="1099147"/>
                    <a:pt x="8537609" y="1099147"/>
                  </a:cubicBezTo>
                  <a:close/>
                  <a:moveTo>
                    <a:pt x="8407315" y="1099147"/>
                  </a:moveTo>
                  <a:cubicBezTo>
                    <a:pt x="8437797" y="1099147"/>
                    <a:pt x="8462507" y="1123857"/>
                    <a:pt x="8462507" y="1154338"/>
                  </a:cubicBezTo>
                  <a:cubicBezTo>
                    <a:pt x="8462507" y="1184819"/>
                    <a:pt x="8437797" y="1209529"/>
                    <a:pt x="8407315" y="1209529"/>
                  </a:cubicBezTo>
                  <a:cubicBezTo>
                    <a:pt x="8376833" y="1209529"/>
                    <a:pt x="8352123" y="1184819"/>
                    <a:pt x="8352123" y="1154338"/>
                  </a:cubicBezTo>
                  <a:cubicBezTo>
                    <a:pt x="8352123" y="1123857"/>
                    <a:pt x="8376833" y="1099147"/>
                    <a:pt x="8407315" y="1099147"/>
                  </a:cubicBezTo>
                  <a:close/>
                  <a:moveTo>
                    <a:pt x="8273681" y="1099147"/>
                  </a:moveTo>
                  <a:cubicBezTo>
                    <a:pt x="8304163" y="1099147"/>
                    <a:pt x="8328873" y="1123857"/>
                    <a:pt x="8328873" y="1154338"/>
                  </a:cubicBezTo>
                  <a:cubicBezTo>
                    <a:pt x="8328873" y="1184819"/>
                    <a:pt x="8304163" y="1209529"/>
                    <a:pt x="8273681" y="1209529"/>
                  </a:cubicBezTo>
                  <a:cubicBezTo>
                    <a:pt x="8243199" y="1209529"/>
                    <a:pt x="8218489" y="1184819"/>
                    <a:pt x="8218489" y="1154338"/>
                  </a:cubicBezTo>
                  <a:cubicBezTo>
                    <a:pt x="8218489" y="1123857"/>
                    <a:pt x="8243199" y="1099147"/>
                    <a:pt x="8273681" y="1099147"/>
                  </a:cubicBezTo>
                  <a:close/>
                  <a:moveTo>
                    <a:pt x="8143386" y="1099147"/>
                  </a:moveTo>
                  <a:cubicBezTo>
                    <a:pt x="8173868" y="1099147"/>
                    <a:pt x="8198578" y="1123857"/>
                    <a:pt x="8198578" y="1154338"/>
                  </a:cubicBezTo>
                  <a:cubicBezTo>
                    <a:pt x="8198578" y="1184819"/>
                    <a:pt x="8173868" y="1209529"/>
                    <a:pt x="8143386" y="1209529"/>
                  </a:cubicBezTo>
                  <a:cubicBezTo>
                    <a:pt x="8112904" y="1209529"/>
                    <a:pt x="8088194" y="1184819"/>
                    <a:pt x="8088194" y="1154338"/>
                  </a:cubicBezTo>
                  <a:cubicBezTo>
                    <a:pt x="8088194" y="1123857"/>
                    <a:pt x="8112904" y="1099147"/>
                    <a:pt x="8143386" y="1099147"/>
                  </a:cubicBezTo>
                  <a:close/>
                  <a:moveTo>
                    <a:pt x="8009752" y="1099147"/>
                  </a:moveTo>
                  <a:cubicBezTo>
                    <a:pt x="8040234" y="1099147"/>
                    <a:pt x="8064944" y="1123857"/>
                    <a:pt x="8064944" y="1154338"/>
                  </a:cubicBezTo>
                  <a:cubicBezTo>
                    <a:pt x="8064944" y="1184819"/>
                    <a:pt x="8040234" y="1209529"/>
                    <a:pt x="8009752" y="1209529"/>
                  </a:cubicBezTo>
                  <a:cubicBezTo>
                    <a:pt x="7979270" y="1209529"/>
                    <a:pt x="7954560" y="1184819"/>
                    <a:pt x="7954560" y="1154338"/>
                  </a:cubicBezTo>
                  <a:cubicBezTo>
                    <a:pt x="7954560" y="1123857"/>
                    <a:pt x="7979270" y="1099147"/>
                    <a:pt x="8009752" y="1099147"/>
                  </a:cubicBezTo>
                  <a:close/>
                  <a:moveTo>
                    <a:pt x="7876117" y="1099147"/>
                  </a:moveTo>
                  <a:cubicBezTo>
                    <a:pt x="7906599" y="1099147"/>
                    <a:pt x="7931309" y="1123857"/>
                    <a:pt x="7931309" y="1154338"/>
                  </a:cubicBezTo>
                  <a:cubicBezTo>
                    <a:pt x="7931309" y="1184819"/>
                    <a:pt x="7906599" y="1209529"/>
                    <a:pt x="7876117" y="1209529"/>
                  </a:cubicBezTo>
                  <a:cubicBezTo>
                    <a:pt x="7845635" y="1209529"/>
                    <a:pt x="7820925" y="1184819"/>
                    <a:pt x="7820925" y="1154338"/>
                  </a:cubicBezTo>
                  <a:cubicBezTo>
                    <a:pt x="7820925" y="1123857"/>
                    <a:pt x="7845635" y="1099147"/>
                    <a:pt x="7876117" y="1099147"/>
                  </a:cubicBezTo>
                  <a:close/>
                  <a:moveTo>
                    <a:pt x="7745822" y="1099147"/>
                  </a:moveTo>
                  <a:cubicBezTo>
                    <a:pt x="7776304" y="1099147"/>
                    <a:pt x="7801014" y="1123857"/>
                    <a:pt x="7801014" y="1154338"/>
                  </a:cubicBezTo>
                  <a:cubicBezTo>
                    <a:pt x="7801014" y="1184819"/>
                    <a:pt x="7776304" y="1209529"/>
                    <a:pt x="7745822" y="1209529"/>
                  </a:cubicBezTo>
                  <a:cubicBezTo>
                    <a:pt x="7715340" y="1209529"/>
                    <a:pt x="7690630" y="1184819"/>
                    <a:pt x="7690630" y="1154338"/>
                  </a:cubicBezTo>
                  <a:cubicBezTo>
                    <a:pt x="7690630" y="1123857"/>
                    <a:pt x="7715340" y="1099147"/>
                    <a:pt x="7745822" y="1099147"/>
                  </a:cubicBezTo>
                  <a:close/>
                  <a:moveTo>
                    <a:pt x="7608847" y="1099147"/>
                  </a:moveTo>
                  <a:cubicBezTo>
                    <a:pt x="7639329" y="1099147"/>
                    <a:pt x="7664039" y="1123857"/>
                    <a:pt x="7664039" y="1154338"/>
                  </a:cubicBezTo>
                  <a:cubicBezTo>
                    <a:pt x="7664039" y="1184819"/>
                    <a:pt x="7639329" y="1209529"/>
                    <a:pt x="7608847" y="1209529"/>
                  </a:cubicBezTo>
                  <a:cubicBezTo>
                    <a:pt x="7578365" y="1209529"/>
                    <a:pt x="7553655" y="1184819"/>
                    <a:pt x="7553655" y="1154338"/>
                  </a:cubicBezTo>
                  <a:cubicBezTo>
                    <a:pt x="7553655" y="1123857"/>
                    <a:pt x="7578365" y="1099147"/>
                    <a:pt x="7608847" y="1099147"/>
                  </a:cubicBezTo>
                  <a:close/>
                  <a:moveTo>
                    <a:pt x="7481895" y="1099147"/>
                  </a:moveTo>
                  <a:cubicBezTo>
                    <a:pt x="7512377" y="1099147"/>
                    <a:pt x="7537087" y="1123857"/>
                    <a:pt x="7537087" y="1154338"/>
                  </a:cubicBezTo>
                  <a:cubicBezTo>
                    <a:pt x="7537087" y="1184819"/>
                    <a:pt x="7512377" y="1209529"/>
                    <a:pt x="7481895" y="1209529"/>
                  </a:cubicBezTo>
                  <a:cubicBezTo>
                    <a:pt x="7451413" y="1209529"/>
                    <a:pt x="7426703" y="1184819"/>
                    <a:pt x="7426703" y="1154338"/>
                  </a:cubicBezTo>
                  <a:cubicBezTo>
                    <a:pt x="7426703" y="1123857"/>
                    <a:pt x="7451413" y="1099147"/>
                    <a:pt x="7481895" y="1099147"/>
                  </a:cubicBezTo>
                  <a:close/>
                  <a:moveTo>
                    <a:pt x="7341578" y="1099147"/>
                  </a:moveTo>
                  <a:cubicBezTo>
                    <a:pt x="7372060" y="1099147"/>
                    <a:pt x="7396770" y="1123857"/>
                    <a:pt x="7396770" y="1154338"/>
                  </a:cubicBezTo>
                  <a:cubicBezTo>
                    <a:pt x="7396770" y="1184819"/>
                    <a:pt x="7372060" y="1209529"/>
                    <a:pt x="7341578" y="1209529"/>
                  </a:cubicBezTo>
                  <a:cubicBezTo>
                    <a:pt x="7311096" y="1209529"/>
                    <a:pt x="7286386" y="1184819"/>
                    <a:pt x="7286386" y="1154338"/>
                  </a:cubicBezTo>
                  <a:cubicBezTo>
                    <a:pt x="7286386" y="1123857"/>
                    <a:pt x="7311096" y="1099147"/>
                    <a:pt x="7341578" y="1099147"/>
                  </a:cubicBezTo>
                  <a:close/>
                  <a:moveTo>
                    <a:pt x="7211285" y="1099147"/>
                  </a:moveTo>
                  <a:cubicBezTo>
                    <a:pt x="7241767" y="1099147"/>
                    <a:pt x="7266477" y="1123857"/>
                    <a:pt x="7266477" y="1154338"/>
                  </a:cubicBezTo>
                  <a:cubicBezTo>
                    <a:pt x="7266477" y="1184819"/>
                    <a:pt x="7241767" y="1209529"/>
                    <a:pt x="7211285" y="1209529"/>
                  </a:cubicBezTo>
                  <a:cubicBezTo>
                    <a:pt x="7180803" y="1209529"/>
                    <a:pt x="7156093" y="1184819"/>
                    <a:pt x="7156093" y="1154338"/>
                  </a:cubicBezTo>
                  <a:cubicBezTo>
                    <a:pt x="7156093" y="1123857"/>
                    <a:pt x="7180803" y="1099147"/>
                    <a:pt x="7211285" y="1099147"/>
                  </a:cubicBezTo>
                  <a:close/>
                  <a:moveTo>
                    <a:pt x="7080991" y="1099147"/>
                  </a:moveTo>
                  <a:cubicBezTo>
                    <a:pt x="7111473" y="1099147"/>
                    <a:pt x="7136183" y="1123857"/>
                    <a:pt x="7136183" y="1154338"/>
                  </a:cubicBezTo>
                  <a:cubicBezTo>
                    <a:pt x="7136183" y="1184819"/>
                    <a:pt x="7111473" y="1209529"/>
                    <a:pt x="7080991" y="1209529"/>
                  </a:cubicBezTo>
                  <a:cubicBezTo>
                    <a:pt x="7050509" y="1209529"/>
                    <a:pt x="7025799" y="1184819"/>
                    <a:pt x="7025799" y="1154338"/>
                  </a:cubicBezTo>
                  <a:cubicBezTo>
                    <a:pt x="7025799" y="1123857"/>
                    <a:pt x="7050509" y="1099147"/>
                    <a:pt x="7080991" y="1099147"/>
                  </a:cubicBezTo>
                  <a:close/>
                  <a:moveTo>
                    <a:pt x="6947356" y="1099147"/>
                  </a:moveTo>
                  <a:cubicBezTo>
                    <a:pt x="6977838" y="1099147"/>
                    <a:pt x="7002548" y="1123857"/>
                    <a:pt x="7002548" y="1154338"/>
                  </a:cubicBezTo>
                  <a:cubicBezTo>
                    <a:pt x="7002548" y="1184819"/>
                    <a:pt x="6977838" y="1209529"/>
                    <a:pt x="6947356" y="1209529"/>
                  </a:cubicBezTo>
                  <a:cubicBezTo>
                    <a:pt x="6916874" y="1209529"/>
                    <a:pt x="6892164" y="1184819"/>
                    <a:pt x="6892164" y="1154338"/>
                  </a:cubicBezTo>
                  <a:cubicBezTo>
                    <a:pt x="6892164" y="1123857"/>
                    <a:pt x="6916874" y="1099147"/>
                    <a:pt x="6947356" y="1099147"/>
                  </a:cubicBezTo>
                  <a:close/>
                  <a:moveTo>
                    <a:pt x="6817063" y="1099147"/>
                  </a:moveTo>
                  <a:cubicBezTo>
                    <a:pt x="6847545" y="1099147"/>
                    <a:pt x="6872255" y="1123857"/>
                    <a:pt x="6872255" y="1154338"/>
                  </a:cubicBezTo>
                  <a:cubicBezTo>
                    <a:pt x="6872255" y="1184819"/>
                    <a:pt x="6847545" y="1209529"/>
                    <a:pt x="6817063" y="1209529"/>
                  </a:cubicBezTo>
                  <a:cubicBezTo>
                    <a:pt x="6786581" y="1209529"/>
                    <a:pt x="6761871" y="1184819"/>
                    <a:pt x="6761871" y="1154338"/>
                  </a:cubicBezTo>
                  <a:cubicBezTo>
                    <a:pt x="6761871" y="1123857"/>
                    <a:pt x="6786581" y="1099147"/>
                    <a:pt x="6817063" y="1099147"/>
                  </a:cubicBezTo>
                  <a:close/>
                  <a:moveTo>
                    <a:pt x="6683430" y="1099147"/>
                  </a:moveTo>
                  <a:cubicBezTo>
                    <a:pt x="6713912" y="1099147"/>
                    <a:pt x="6738622" y="1123857"/>
                    <a:pt x="6738622" y="1154338"/>
                  </a:cubicBezTo>
                  <a:cubicBezTo>
                    <a:pt x="6738622" y="1184819"/>
                    <a:pt x="6713912" y="1209529"/>
                    <a:pt x="6683430" y="1209529"/>
                  </a:cubicBezTo>
                  <a:cubicBezTo>
                    <a:pt x="6652948" y="1209529"/>
                    <a:pt x="6628238" y="1184819"/>
                    <a:pt x="6628238" y="1154338"/>
                  </a:cubicBezTo>
                  <a:cubicBezTo>
                    <a:pt x="6628238" y="1123857"/>
                    <a:pt x="6652948" y="1099147"/>
                    <a:pt x="6683430" y="1099147"/>
                  </a:cubicBezTo>
                  <a:close/>
                  <a:moveTo>
                    <a:pt x="6553135" y="1099147"/>
                  </a:moveTo>
                  <a:cubicBezTo>
                    <a:pt x="6583617" y="1099147"/>
                    <a:pt x="6608327" y="1123857"/>
                    <a:pt x="6608327" y="1154338"/>
                  </a:cubicBezTo>
                  <a:cubicBezTo>
                    <a:pt x="6608327" y="1184819"/>
                    <a:pt x="6583617" y="1209529"/>
                    <a:pt x="6553135" y="1209529"/>
                  </a:cubicBezTo>
                  <a:cubicBezTo>
                    <a:pt x="6522653" y="1209529"/>
                    <a:pt x="6497943" y="1184819"/>
                    <a:pt x="6497943" y="1154338"/>
                  </a:cubicBezTo>
                  <a:cubicBezTo>
                    <a:pt x="6497943" y="1123857"/>
                    <a:pt x="6522653" y="1099147"/>
                    <a:pt x="6553135" y="1099147"/>
                  </a:cubicBezTo>
                  <a:close/>
                  <a:moveTo>
                    <a:pt x="6419501" y="1099147"/>
                  </a:moveTo>
                  <a:cubicBezTo>
                    <a:pt x="6449983" y="1099147"/>
                    <a:pt x="6474693" y="1123857"/>
                    <a:pt x="6474693" y="1154338"/>
                  </a:cubicBezTo>
                  <a:cubicBezTo>
                    <a:pt x="6474693" y="1184819"/>
                    <a:pt x="6449983" y="1209529"/>
                    <a:pt x="6419501" y="1209529"/>
                  </a:cubicBezTo>
                  <a:cubicBezTo>
                    <a:pt x="6389019" y="1209529"/>
                    <a:pt x="6364309" y="1184819"/>
                    <a:pt x="6364309" y="1154338"/>
                  </a:cubicBezTo>
                  <a:cubicBezTo>
                    <a:pt x="6364309" y="1123857"/>
                    <a:pt x="6389019" y="1099147"/>
                    <a:pt x="6419501" y="1099147"/>
                  </a:cubicBezTo>
                  <a:close/>
                  <a:moveTo>
                    <a:pt x="6289206" y="1099147"/>
                  </a:moveTo>
                  <a:cubicBezTo>
                    <a:pt x="6319688" y="1099147"/>
                    <a:pt x="6344398" y="1123857"/>
                    <a:pt x="6344398" y="1154338"/>
                  </a:cubicBezTo>
                  <a:cubicBezTo>
                    <a:pt x="6344398" y="1184819"/>
                    <a:pt x="6319688" y="1209529"/>
                    <a:pt x="6289206" y="1209529"/>
                  </a:cubicBezTo>
                  <a:cubicBezTo>
                    <a:pt x="6258724" y="1209529"/>
                    <a:pt x="6234014" y="1184819"/>
                    <a:pt x="6234014" y="1154338"/>
                  </a:cubicBezTo>
                  <a:cubicBezTo>
                    <a:pt x="6234014" y="1123857"/>
                    <a:pt x="6258724" y="1099147"/>
                    <a:pt x="6289206" y="1099147"/>
                  </a:cubicBezTo>
                  <a:close/>
                  <a:moveTo>
                    <a:pt x="6155571" y="1099147"/>
                  </a:moveTo>
                  <a:cubicBezTo>
                    <a:pt x="6186053" y="1099147"/>
                    <a:pt x="6210763" y="1123857"/>
                    <a:pt x="6210763" y="1154338"/>
                  </a:cubicBezTo>
                  <a:cubicBezTo>
                    <a:pt x="6210763" y="1184819"/>
                    <a:pt x="6186053" y="1209529"/>
                    <a:pt x="6155571" y="1209529"/>
                  </a:cubicBezTo>
                  <a:cubicBezTo>
                    <a:pt x="6125089" y="1209529"/>
                    <a:pt x="6100379" y="1184819"/>
                    <a:pt x="6100379" y="1154338"/>
                  </a:cubicBezTo>
                  <a:cubicBezTo>
                    <a:pt x="6100379" y="1123857"/>
                    <a:pt x="6125089" y="1099147"/>
                    <a:pt x="6155571" y="1099147"/>
                  </a:cubicBezTo>
                  <a:close/>
                  <a:moveTo>
                    <a:pt x="6021938" y="1099147"/>
                  </a:moveTo>
                  <a:cubicBezTo>
                    <a:pt x="6052420" y="1099147"/>
                    <a:pt x="6077130" y="1123857"/>
                    <a:pt x="6077130" y="1154338"/>
                  </a:cubicBezTo>
                  <a:cubicBezTo>
                    <a:pt x="6077130" y="1184819"/>
                    <a:pt x="6052420" y="1209529"/>
                    <a:pt x="6021938" y="1209529"/>
                  </a:cubicBezTo>
                  <a:cubicBezTo>
                    <a:pt x="5991456" y="1209529"/>
                    <a:pt x="5966746" y="1184819"/>
                    <a:pt x="5966746" y="1154338"/>
                  </a:cubicBezTo>
                  <a:cubicBezTo>
                    <a:pt x="5966746" y="1123857"/>
                    <a:pt x="5991456" y="1099147"/>
                    <a:pt x="6021938" y="1099147"/>
                  </a:cubicBezTo>
                  <a:close/>
                  <a:moveTo>
                    <a:pt x="5884963" y="1099147"/>
                  </a:moveTo>
                  <a:cubicBezTo>
                    <a:pt x="5915445" y="1099147"/>
                    <a:pt x="5940155" y="1123857"/>
                    <a:pt x="5940155" y="1154338"/>
                  </a:cubicBezTo>
                  <a:cubicBezTo>
                    <a:pt x="5940155" y="1184819"/>
                    <a:pt x="5915445" y="1209529"/>
                    <a:pt x="5884963" y="1209529"/>
                  </a:cubicBezTo>
                  <a:cubicBezTo>
                    <a:pt x="5854481" y="1209529"/>
                    <a:pt x="5829771" y="1184819"/>
                    <a:pt x="5829771" y="1154338"/>
                  </a:cubicBezTo>
                  <a:cubicBezTo>
                    <a:pt x="5829771" y="1123857"/>
                    <a:pt x="5854481" y="1099147"/>
                    <a:pt x="5884963" y="1099147"/>
                  </a:cubicBezTo>
                  <a:close/>
                  <a:moveTo>
                    <a:pt x="5754668" y="1099147"/>
                  </a:moveTo>
                  <a:cubicBezTo>
                    <a:pt x="5785150" y="1099147"/>
                    <a:pt x="5809860" y="1123857"/>
                    <a:pt x="5809860" y="1154338"/>
                  </a:cubicBezTo>
                  <a:cubicBezTo>
                    <a:pt x="5809860" y="1184819"/>
                    <a:pt x="5785150" y="1209529"/>
                    <a:pt x="5754668" y="1209529"/>
                  </a:cubicBezTo>
                  <a:cubicBezTo>
                    <a:pt x="5724186" y="1209529"/>
                    <a:pt x="5699476" y="1184819"/>
                    <a:pt x="5699476" y="1154338"/>
                  </a:cubicBezTo>
                  <a:cubicBezTo>
                    <a:pt x="5699476" y="1123857"/>
                    <a:pt x="5724186" y="1099147"/>
                    <a:pt x="5754668" y="1099147"/>
                  </a:cubicBezTo>
                  <a:close/>
                  <a:moveTo>
                    <a:pt x="5621031" y="1099147"/>
                  </a:moveTo>
                  <a:cubicBezTo>
                    <a:pt x="5651513" y="1099147"/>
                    <a:pt x="5676223" y="1123857"/>
                    <a:pt x="5676223" y="1154338"/>
                  </a:cubicBezTo>
                  <a:cubicBezTo>
                    <a:pt x="5676223" y="1184819"/>
                    <a:pt x="5651513" y="1209529"/>
                    <a:pt x="5621031" y="1209529"/>
                  </a:cubicBezTo>
                  <a:cubicBezTo>
                    <a:pt x="5590549" y="1209529"/>
                    <a:pt x="5565839" y="1184819"/>
                    <a:pt x="5565839" y="1154338"/>
                  </a:cubicBezTo>
                  <a:cubicBezTo>
                    <a:pt x="5565839" y="1123857"/>
                    <a:pt x="5590549" y="1099147"/>
                    <a:pt x="5621031" y="1099147"/>
                  </a:cubicBezTo>
                  <a:close/>
                  <a:moveTo>
                    <a:pt x="5487398" y="1099147"/>
                  </a:moveTo>
                  <a:cubicBezTo>
                    <a:pt x="5517880" y="1099147"/>
                    <a:pt x="5542590" y="1123857"/>
                    <a:pt x="5542590" y="1154338"/>
                  </a:cubicBezTo>
                  <a:cubicBezTo>
                    <a:pt x="5542590" y="1184819"/>
                    <a:pt x="5517880" y="1209529"/>
                    <a:pt x="5487398" y="1209529"/>
                  </a:cubicBezTo>
                  <a:cubicBezTo>
                    <a:pt x="5456916" y="1209529"/>
                    <a:pt x="5432206" y="1184819"/>
                    <a:pt x="5432206" y="1154338"/>
                  </a:cubicBezTo>
                  <a:cubicBezTo>
                    <a:pt x="5432206" y="1123857"/>
                    <a:pt x="5456916" y="1099147"/>
                    <a:pt x="5487398" y="1099147"/>
                  </a:cubicBezTo>
                  <a:close/>
                  <a:moveTo>
                    <a:pt x="5357105" y="1099147"/>
                  </a:moveTo>
                  <a:cubicBezTo>
                    <a:pt x="5387587" y="1099147"/>
                    <a:pt x="5412297" y="1123857"/>
                    <a:pt x="5412297" y="1154338"/>
                  </a:cubicBezTo>
                  <a:cubicBezTo>
                    <a:pt x="5412297" y="1184819"/>
                    <a:pt x="5387587" y="1209529"/>
                    <a:pt x="5357105" y="1209529"/>
                  </a:cubicBezTo>
                  <a:cubicBezTo>
                    <a:pt x="5326623" y="1209529"/>
                    <a:pt x="5301913" y="1184819"/>
                    <a:pt x="5301913" y="1154338"/>
                  </a:cubicBezTo>
                  <a:cubicBezTo>
                    <a:pt x="5301913" y="1123857"/>
                    <a:pt x="5326623" y="1099147"/>
                    <a:pt x="5357105" y="1099147"/>
                  </a:cubicBezTo>
                  <a:close/>
                  <a:moveTo>
                    <a:pt x="5093176" y="1099147"/>
                  </a:moveTo>
                  <a:cubicBezTo>
                    <a:pt x="5123658" y="1099147"/>
                    <a:pt x="5148368" y="1123857"/>
                    <a:pt x="5148368" y="1154338"/>
                  </a:cubicBezTo>
                  <a:cubicBezTo>
                    <a:pt x="5148368" y="1184819"/>
                    <a:pt x="5123658" y="1209529"/>
                    <a:pt x="5093176" y="1209529"/>
                  </a:cubicBezTo>
                  <a:cubicBezTo>
                    <a:pt x="5062694" y="1209529"/>
                    <a:pt x="5037984" y="1184819"/>
                    <a:pt x="5037984" y="1154338"/>
                  </a:cubicBezTo>
                  <a:cubicBezTo>
                    <a:pt x="5037984" y="1123857"/>
                    <a:pt x="5062694" y="1099147"/>
                    <a:pt x="5093176" y="1099147"/>
                  </a:cubicBezTo>
                  <a:close/>
                  <a:moveTo>
                    <a:pt x="4959540" y="1099147"/>
                  </a:moveTo>
                  <a:cubicBezTo>
                    <a:pt x="4990022" y="1099147"/>
                    <a:pt x="5014732" y="1123857"/>
                    <a:pt x="5014732" y="1154338"/>
                  </a:cubicBezTo>
                  <a:cubicBezTo>
                    <a:pt x="5014732" y="1184819"/>
                    <a:pt x="4990022" y="1209529"/>
                    <a:pt x="4959540" y="1209529"/>
                  </a:cubicBezTo>
                  <a:cubicBezTo>
                    <a:pt x="4929058" y="1209529"/>
                    <a:pt x="4904348" y="1184819"/>
                    <a:pt x="4904348" y="1154338"/>
                  </a:cubicBezTo>
                  <a:cubicBezTo>
                    <a:pt x="4904348" y="1123857"/>
                    <a:pt x="4929058" y="1099147"/>
                    <a:pt x="4959540" y="1099147"/>
                  </a:cubicBezTo>
                  <a:close/>
                  <a:moveTo>
                    <a:pt x="4829246" y="1099147"/>
                  </a:moveTo>
                  <a:cubicBezTo>
                    <a:pt x="4859728" y="1099147"/>
                    <a:pt x="4884438" y="1123857"/>
                    <a:pt x="4884438" y="1154338"/>
                  </a:cubicBezTo>
                  <a:cubicBezTo>
                    <a:pt x="4884438" y="1184819"/>
                    <a:pt x="4859728" y="1209529"/>
                    <a:pt x="4829246" y="1209529"/>
                  </a:cubicBezTo>
                  <a:cubicBezTo>
                    <a:pt x="4798764" y="1209529"/>
                    <a:pt x="4774054" y="1184819"/>
                    <a:pt x="4774054" y="1154338"/>
                  </a:cubicBezTo>
                  <a:cubicBezTo>
                    <a:pt x="4774054" y="1123857"/>
                    <a:pt x="4798764" y="1099147"/>
                    <a:pt x="4829246" y="1099147"/>
                  </a:cubicBezTo>
                  <a:close/>
                  <a:moveTo>
                    <a:pt x="319117" y="1099147"/>
                  </a:moveTo>
                  <a:cubicBezTo>
                    <a:pt x="349600" y="1099147"/>
                    <a:pt x="374310" y="1123857"/>
                    <a:pt x="374310" y="1154338"/>
                  </a:cubicBezTo>
                  <a:cubicBezTo>
                    <a:pt x="374310" y="1184819"/>
                    <a:pt x="349600" y="1209529"/>
                    <a:pt x="319117" y="1209529"/>
                  </a:cubicBezTo>
                  <a:cubicBezTo>
                    <a:pt x="288635" y="1209529"/>
                    <a:pt x="263926" y="1184819"/>
                    <a:pt x="263926" y="1154338"/>
                  </a:cubicBezTo>
                  <a:cubicBezTo>
                    <a:pt x="263926" y="1123857"/>
                    <a:pt x="288635" y="1099147"/>
                    <a:pt x="319117" y="1099147"/>
                  </a:cubicBezTo>
                  <a:close/>
                  <a:moveTo>
                    <a:pt x="185484" y="1099147"/>
                  </a:moveTo>
                  <a:cubicBezTo>
                    <a:pt x="215966" y="1099147"/>
                    <a:pt x="240675" y="1123857"/>
                    <a:pt x="240675" y="1154338"/>
                  </a:cubicBezTo>
                  <a:cubicBezTo>
                    <a:pt x="240675" y="1184819"/>
                    <a:pt x="215966" y="1209529"/>
                    <a:pt x="185484" y="1209529"/>
                  </a:cubicBezTo>
                  <a:cubicBezTo>
                    <a:pt x="155003" y="1209529"/>
                    <a:pt x="130292" y="1184819"/>
                    <a:pt x="130292" y="1154338"/>
                  </a:cubicBezTo>
                  <a:cubicBezTo>
                    <a:pt x="130292" y="1123857"/>
                    <a:pt x="155003" y="1099147"/>
                    <a:pt x="185484" y="1099147"/>
                  </a:cubicBezTo>
                  <a:close/>
                  <a:moveTo>
                    <a:pt x="55190" y="1099147"/>
                  </a:moveTo>
                  <a:cubicBezTo>
                    <a:pt x="85672" y="1099147"/>
                    <a:pt x="110381" y="1123857"/>
                    <a:pt x="110381" y="1154338"/>
                  </a:cubicBezTo>
                  <a:cubicBezTo>
                    <a:pt x="110381" y="1184819"/>
                    <a:pt x="85672" y="1209529"/>
                    <a:pt x="55190" y="1209529"/>
                  </a:cubicBezTo>
                  <a:cubicBezTo>
                    <a:pt x="24708" y="1209529"/>
                    <a:pt x="0" y="1184819"/>
                    <a:pt x="0" y="1154338"/>
                  </a:cubicBezTo>
                  <a:cubicBezTo>
                    <a:pt x="0" y="1123857"/>
                    <a:pt x="24708" y="1099147"/>
                    <a:pt x="55190" y="1099147"/>
                  </a:cubicBezTo>
                  <a:close/>
                  <a:moveTo>
                    <a:pt x="3499584" y="1099146"/>
                  </a:moveTo>
                  <a:cubicBezTo>
                    <a:pt x="3530066" y="1099146"/>
                    <a:pt x="3554776" y="1123856"/>
                    <a:pt x="3554776" y="1154337"/>
                  </a:cubicBezTo>
                  <a:cubicBezTo>
                    <a:pt x="3554776" y="1184818"/>
                    <a:pt x="3530066" y="1209528"/>
                    <a:pt x="3499584" y="1209528"/>
                  </a:cubicBezTo>
                  <a:cubicBezTo>
                    <a:pt x="3469102" y="1209528"/>
                    <a:pt x="3444392" y="1184818"/>
                    <a:pt x="3444392" y="1154337"/>
                  </a:cubicBezTo>
                  <a:cubicBezTo>
                    <a:pt x="3444392" y="1123856"/>
                    <a:pt x="3469102" y="1099146"/>
                    <a:pt x="3499584" y="1099146"/>
                  </a:cubicBezTo>
                  <a:close/>
                  <a:moveTo>
                    <a:pt x="2570894" y="1099146"/>
                  </a:moveTo>
                  <a:cubicBezTo>
                    <a:pt x="2601377" y="1099146"/>
                    <a:pt x="2626086" y="1123856"/>
                    <a:pt x="2626086" y="1154337"/>
                  </a:cubicBezTo>
                  <a:cubicBezTo>
                    <a:pt x="2626086" y="1184818"/>
                    <a:pt x="2601377" y="1209528"/>
                    <a:pt x="2570894" y="1209528"/>
                  </a:cubicBezTo>
                  <a:cubicBezTo>
                    <a:pt x="2540412" y="1209528"/>
                    <a:pt x="2515701" y="1184818"/>
                    <a:pt x="2515701" y="1154337"/>
                  </a:cubicBezTo>
                  <a:cubicBezTo>
                    <a:pt x="2515701" y="1123856"/>
                    <a:pt x="2540412" y="1099146"/>
                    <a:pt x="2570894" y="1099146"/>
                  </a:cubicBezTo>
                  <a:close/>
                  <a:moveTo>
                    <a:pt x="2039698" y="1099146"/>
                  </a:moveTo>
                  <a:cubicBezTo>
                    <a:pt x="2070180" y="1099146"/>
                    <a:pt x="2094891" y="1123856"/>
                    <a:pt x="2094891" y="1154337"/>
                  </a:cubicBezTo>
                  <a:cubicBezTo>
                    <a:pt x="2094891" y="1184818"/>
                    <a:pt x="2070180" y="1209528"/>
                    <a:pt x="2039698" y="1209528"/>
                  </a:cubicBezTo>
                  <a:cubicBezTo>
                    <a:pt x="2009214" y="1209528"/>
                    <a:pt x="1984505" y="1184818"/>
                    <a:pt x="1984505" y="1154337"/>
                  </a:cubicBezTo>
                  <a:cubicBezTo>
                    <a:pt x="1984505" y="1123856"/>
                    <a:pt x="2009214" y="1099146"/>
                    <a:pt x="2039698" y="1099146"/>
                  </a:cubicBezTo>
                  <a:close/>
                  <a:moveTo>
                    <a:pt x="1909401" y="1099146"/>
                  </a:moveTo>
                  <a:cubicBezTo>
                    <a:pt x="1939883" y="1099146"/>
                    <a:pt x="1964592" y="1123856"/>
                    <a:pt x="1964592" y="1154337"/>
                  </a:cubicBezTo>
                  <a:cubicBezTo>
                    <a:pt x="1964592" y="1184818"/>
                    <a:pt x="1939883" y="1209528"/>
                    <a:pt x="1909401" y="1209528"/>
                  </a:cubicBezTo>
                  <a:cubicBezTo>
                    <a:pt x="1878917" y="1209528"/>
                    <a:pt x="1854207" y="1184818"/>
                    <a:pt x="1854207" y="1154337"/>
                  </a:cubicBezTo>
                  <a:cubicBezTo>
                    <a:pt x="1854207" y="1123856"/>
                    <a:pt x="1878917" y="1099146"/>
                    <a:pt x="1909401" y="1099146"/>
                  </a:cubicBezTo>
                  <a:close/>
                  <a:moveTo>
                    <a:pt x="1779104" y="1099146"/>
                  </a:moveTo>
                  <a:cubicBezTo>
                    <a:pt x="1809585" y="1099146"/>
                    <a:pt x="1834296" y="1123856"/>
                    <a:pt x="1834296" y="1154337"/>
                  </a:cubicBezTo>
                  <a:cubicBezTo>
                    <a:pt x="1834296" y="1184818"/>
                    <a:pt x="1809585" y="1209528"/>
                    <a:pt x="1779104" y="1209528"/>
                  </a:cubicBezTo>
                  <a:cubicBezTo>
                    <a:pt x="1748623" y="1209528"/>
                    <a:pt x="1723910" y="1184818"/>
                    <a:pt x="1723910" y="1154337"/>
                  </a:cubicBezTo>
                  <a:cubicBezTo>
                    <a:pt x="1723910" y="1123856"/>
                    <a:pt x="1748623" y="1099146"/>
                    <a:pt x="1779104" y="1099146"/>
                  </a:cubicBezTo>
                  <a:close/>
                  <a:moveTo>
                    <a:pt x="1645469" y="1099146"/>
                  </a:moveTo>
                  <a:cubicBezTo>
                    <a:pt x="1675950" y="1099146"/>
                    <a:pt x="1700664" y="1123856"/>
                    <a:pt x="1700664" y="1154337"/>
                  </a:cubicBezTo>
                  <a:cubicBezTo>
                    <a:pt x="1700664" y="1184818"/>
                    <a:pt x="1675950" y="1209528"/>
                    <a:pt x="1645469" y="1209528"/>
                  </a:cubicBezTo>
                  <a:cubicBezTo>
                    <a:pt x="1614986" y="1209528"/>
                    <a:pt x="1590275" y="1184818"/>
                    <a:pt x="1590275" y="1154337"/>
                  </a:cubicBezTo>
                  <a:cubicBezTo>
                    <a:pt x="1590275" y="1123856"/>
                    <a:pt x="1614986" y="1099146"/>
                    <a:pt x="1645469" y="1099146"/>
                  </a:cubicBezTo>
                  <a:close/>
                  <a:moveTo>
                    <a:pt x="1515179" y="1099146"/>
                  </a:moveTo>
                  <a:cubicBezTo>
                    <a:pt x="1545657" y="1099146"/>
                    <a:pt x="1570364" y="1123856"/>
                    <a:pt x="1570364" y="1154337"/>
                  </a:cubicBezTo>
                  <a:cubicBezTo>
                    <a:pt x="1570364" y="1184818"/>
                    <a:pt x="1545657" y="1209528"/>
                    <a:pt x="1515179" y="1209528"/>
                  </a:cubicBezTo>
                  <a:cubicBezTo>
                    <a:pt x="1484695" y="1209528"/>
                    <a:pt x="1459982" y="1184818"/>
                    <a:pt x="1459982" y="1154337"/>
                  </a:cubicBezTo>
                  <a:cubicBezTo>
                    <a:pt x="1459982" y="1123856"/>
                    <a:pt x="1484695" y="1099146"/>
                    <a:pt x="1515179" y="1099146"/>
                  </a:cubicBezTo>
                  <a:close/>
                  <a:moveTo>
                    <a:pt x="1381539" y="1099146"/>
                  </a:moveTo>
                  <a:cubicBezTo>
                    <a:pt x="1412022" y="1099146"/>
                    <a:pt x="1436731" y="1123856"/>
                    <a:pt x="1436731" y="1154337"/>
                  </a:cubicBezTo>
                  <a:cubicBezTo>
                    <a:pt x="1436731" y="1184818"/>
                    <a:pt x="1412022" y="1209528"/>
                    <a:pt x="1381539" y="1209528"/>
                  </a:cubicBezTo>
                  <a:cubicBezTo>
                    <a:pt x="1351062" y="1209528"/>
                    <a:pt x="1326349" y="1184818"/>
                    <a:pt x="1326349" y="1154337"/>
                  </a:cubicBezTo>
                  <a:cubicBezTo>
                    <a:pt x="1326349" y="1123856"/>
                    <a:pt x="1351062" y="1099146"/>
                    <a:pt x="1381539" y="1099146"/>
                  </a:cubicBezTo>
                  <a:close/>
                  <a:moveTo>
                    <a:pt x="1251245" y="1099146"/>
                  </a:moveTo>
                  <a:cubicBezTo>
                    <a:pt x="1281728" y="1099146"/>
                    <a:pt x="1306439" y="1123856"/>
                    <a:pt x="1306439" y="1154337"/>
                  </a:cubicBezTo>
                  <a:cubicBezTo>
                    <a:pt x="1306439" y="1184818"/>
                    <a:pt x="1281728" y="1209528"/>
                    <a:pt x="1251245" y="1209528"/>
                  </a:cubicBezTo>
                  <a:cubicBezTo>
                    <a:pt x="1220763" y="1209528"/>
                    <a:pt x="1196054" y="1184818"/>
                    <a:pt x="1196054" y="1154337"/>
                  </a:cubicBezTo>
                  <a:cubicBezTo>
                    <a:pt x="1196054" y="1123856"/>
                    <a:pt x="1220763" y="1099146"/>
                    <a:pt x="1251245" y="1099146"/>
                  </a:cubicBezTo>
                  <a:close/>
                  <a:moveTo>
                    <a:pt x="1117610" y="1099146"/>
                  </a:moveTo>
                  <a:cubicBezTo>
                    <a:pt x="1148093" y="1099146"/>
                    <a:pt x="1172803" y="1123856"/>
                    <a:pt x="1172803" y="1154337"/>
                  </a:cubicBezTo>
                  <a:cubicBezTo>
                    <a:pt x="1172803" y="1184818"/>
                    <a:pt x="1148093" y="1209528"/>
                    <a:pt x="1117610" y="1209528"/>
                  </a:cubicBezTo>
                  <a:cubicBezTo>
                    <a:pt x="1087127" y="1209528"/>
                    <a:pt x="1062416" y="1184818"/>
                    <a:pt x="1062416" y="1154337"/>
                  </a:cubicBezTo>
                  <a:cubicBezTo>
                    <a:pt x="1062416" y="1123856"/>
                    <a:pt x="1087127" y="1099146"/>
                    <a:pt x="1117610" y="1099146"/>
                  </a:cubicBezTo>
                  <a:close/>
                  <a:moveTo>
                    <a:pt x="980631" y="1099146"/>
                  </a:moveTo>
                  <a:cubicBezTo>
                    <a:pt x="1011115" y="1099146"/>
                    <a:pt x="1035825" y="1123856"/>
                    <a:pt x="1035825" y="1154337"/>
                  </a:cubicBezTo>
                  <a:cubicBezTo>
                    <a:pt x="1035825" y="1184818"/>
                    <a:pt x="1011115" y="1209528"/>
                    <a:pt x="980631" y="1209528"/>
                  </a:cubicBezTo>
                  <a:cubicBezTo>
                    <a:pt x="950149" y="1209528"/>
                    <a:pt x="925438" y="1184818"/>
                    <a:pt x="925438" y="1154337"/>
                  </a:cubicBezTo>
                  <a:cubicBezTo>
                    <a:pt x="925438" y="1123856"/>
                    <a:pt x="950149" y="1099146"/>
                    <a:pt x="980631" y="1099146"/>
                  </a:cubicBezTo>
                  <a:close/>
                  <a:moveTo>
                    <a:pt x="846993" y="1099146"/>
                  </a:moveTo>
                  <a:cubicBezTo>
                    <a:pt x="877476" y="1099146"/>
                    <a:pt x="902186" y="1123856"/>
                    <a:pt x="902186" y="1154337"/>
                  </a:cubicBezTo>
                  <a:cubicBezTo>
                    <a:pt x="902186" y="1184818"/>
                    <a:pt x="877476" y="1209528"/>
                    <a:pt x="846993" y="1209528"/>
                  </a:cubicBezTo>
                  <a:cubicBezTo>
                    <a:pt x="816511" y="1209528"/>
                    <a:pt x="791796" y="1184818"/>
                    <a:pt x="791796" y="1154337"/>
                  </a:cubicBezTo>
                  <a:cubicBezTo>
                    <a:pt x="791796" y="1123856"/>
                    <a:pt x="816511" y="1099146"/>
                    <a:pt x="846993" y="1099146"/>
                  </a:cubicBezTo>
                  <a:close/>
                  <a:moveTo>
                    <a:pt x="716690" y="1099146"/>
                  </a:moveTo>
                  <a:cubicBezTo>
                    <a:pt x="747176" y="1099146"/>
                    <a:pt x="771886" y="1123856"/>
                    <a:pt x="771886" y="1154337"/>
                  </a:cubicBezTo>
                  <a:cubicBezTo>
                    <a:pt x="771886" y="1184818"/>
                    <a:pt x="747176" y="1209528"/>
                    <a:pt x="716690" y="1209528"/>
                  </a:cubicBezTo>
                  <a:cubicBezTo>
                    <a:pt x="686211" y="1209528"/>
                    <a:pt x="661502" y="1184818"/>
                    <a:pt x="661502" y="1154337"/>
                  </a:cubicBezTo>
                  <a:cubicBezTo>
                    <a:pt x="661502" y="1123856"/>
                    <a:pt x="686211" y="1099146"/>
                    <a:pt x="716690" y="1099146"/>
                  </a:cubicBezTo>
                  <a:close/>
                  <a:moveTo>
                    <a:pt x="583057" y="1099146"/>
                  </a:moveTo>
                  <a:cubicBezTo>
                    <a:pt x="613540" y="1099146"/>
                    <a:pt x="638250" y="1123856"/>
                    <a:pt x="638250" y="1154337"/>
                  </a:cubicBezTo>
                  <a:cubicBezTo>
                    <a:pt x="638250" y="1184818"/>
                    <a:pt x="613540" y="1209528"/>
                    <a:pt x="583057" y="1209528"/>
                  </a:cubicBezTo>
                  <a:cubicBezTo>
                    <a:pt x="552573" y="1209528"/>
                    <a:pt x="527863" y="1184818"/>
                    <a:pt x="527863" y="1154337"/>
                  </a:cubicBezTo>
                  <a:cubicBezTo>
                    <a:pt x="527863" y="1123856"/>
                    <a:pt x="552573" y="1099146"/>
                    <a:pt x="583057" y="1099146"/>
                  </a:cubicBezTo>
                  <a:close/>
                  <a:moveTo>
                    <a:pt x="449413" y="1099146"/>
                  </a:moveTo>
                  <a:cubicBezTo>
                    <a:pt x="479896" y="1099146"/>
                    <a:pt x="504606" y="1123856"/>
                    <a:pt x="504606" y="1154337"/>
                  </a:cubicBezTo>
                  <a:cubicBezTo>
                    <a:pt x="504606" y="1184818"/>
                    <a:pt x="479896" y="1209528"/>
                    <a:pt x="449413" y="1209528"/>
                  </a:cubicBezTo>
                  <a:cubicBezTo>
                    <a:pt x="418931" y="1209528"/>
                    <a:pt x="394220" y="1184818"/>
                    <a:pt x="394220" y="1154337"/>
                  </a:cubicBezTo>
                  <a:cubicBezTo>
                    <a:pt x="394220" y="1123856"/>
                    <a:pt x="418931" y="1099146"/>
                    <a:pt x="449413" y="1099146"/>
                  </a:cubicBezTo>
                  <a:close/>
                  <a:moveTo>
                    <a:pt x="9603343" y="975533"/>
                  </a:moveTo>
                  <a:cubicBezTo>
                    <a:pt x="9633825" y="975533"/>
                    <a:pt x="9658535" y="1000243"/>
                    <a:pt x="9658535" y="1030724"/>
                  </a:cubicBezTo>
                  <a:cubicBezTo>
                    <a:pt x="9658535" y="1061205"/>
                    <a:pt x="9633825" y="1085915"/>
                    <a:pt x="9603343" y="1085915"/>
                  </a:cubicBezTo>
                  <a:cubicBezTo>
                    <a:pt x="9572861" y="1085915"/>
                    <a:pt x="9548151" y="1061205"/>
                    <a:pt x="9548151" y="1030724"/>
                  </a:cubicBezTo>
                  <a:cubicBezTo>
                    <a:pt x="9548151" y="1000243"/>
                    <a:pt x="9572861" y="975533"/>
                    <a:pt x="9603343" y="975533"/>
                  </a:cubicBezTo>
                  <a:close/>
                  <a:moveTo>
                    <a:pt x="9469708" y="975533"/>
                  </a:moveTo>
                  <a:cubicBezTo>
                    <a:pt x="9500190" y="975533"/>
                    <a:pt x="9524900" y="1000243"/>
                    <a:pt x="9524900" y="1030724"/>
                  </a:cubicBezTo>
                  <a:cubicBezTo>
                    <a:pt x="9524900" y="1061205"/>
                    <a:pt x="9500190" y="1085915"/>
                    <a:pt x="9469708" y="1085915"/>
                  </a:cubicBezTo>
                  <a:cubicBezTo>
                    <a:pt x="9439226" y="1085915"/>
                    <a:pt x="9414516" y="1061205"/>
                    <a:pt x="9414516" y="1030724"/>
                  </a:cubicBezTo>
                  <a:cubicBezTo>
                    <a:pt x="9414516" y="1000243"/>
                    <a:pt x="9439226" y="975533"/>
                    <a:pt x="9469708" y="975533"/>
                  </a:cubicBezTo>
                  <a:close/>
                  <a:moveTo>
                    <a:pt x="8935170" y="975533"/>
                  </a:moveTo>
                  <a:cubicBezTo>
                    <a:pt x="8965652" y="975533"/>
                    <a:pt x="8990362" y="1000243"/>
                    <a:pt x="8990362" y="1030724"/>
                  </a:cubicBezTo>
                  <a:cubicBezTo>
                    <a:pt x="8990362" y="1061205"/>
                    <a:pt x="8965652" y="1085915"/>
                    <a:pt x="8935170" y="1085915"/>
                  </a:cubicBezTo>
                  <a:cubicBezTo>
                    <a:pt x="8904688" y="1085915"/>
                    <a:pt x="8879978" y="1061205"/>
                    <a:pt x="8879978" y="1030724"/>
                  </a:cubicBezTo>
                  <a:cubicBezTo>
                    <a:pt x="8879978" y="1000243"/>
                    <a:pt x="8904688" y="975533"/>
                    <a:pt x="8935170" y="975533"/>
                  </a:cubicBezTo>
                  <a:close/>
                  <a:moveTo>
                    <a:pt x="8407315" y="975533"/>
                  </a:moveTo>
                  <a:cubicBezTo>
                    <a:pt x="8437797" y="975533"/>
                    <a:pt x="8462507" y="1000243"/>
                    <a:pt x="8462507" y="1030724"/>
                  </a:cubicBezTo>
                  <a:cubicBezTo>
                    <a:pt x="8462507" y="1061205"/>
                    <a:pt x="8437797" y="1085915"/>
                    <a:pt x="8407315" y="1085915"/>
                  </a:cubicBezTo>
                  <a:cubicBezTo>
                    <a:pt x="8376833" y="1085915"/>
                    <a:pt x="8352123" y="1061205"/>
                    <a:pt x="8352123" y="1030724"/>
                  </a:cubicBezTo>
                  <a:cubicBezTo>
                    <a:pt x="8352123" y="1000243"/>
                    <a:pt x="8376833" y="975533"/>
                    <a:pt x="8407315" y="975533"/>
                  </a:cubicBezTo>
                  <a:close/>
                  <a:moveTo>
                    <a:pt x="7876116" y="975533"/>
                  </a:moveTo>
                  <a:cubicBezTo>
                    <a:pt x="7906598" y="975533"/>
                    <a:pt x="7931308" y="1000243"/>
                    <a:pt x="7931308" y="1030724"/>
                  </a:cubicBezTo>
                  <a:cubicBezTo>
                    <a:pt x="7931308" y="1061205"/>
                    <a:pt x="7906598" y="1085915"/>
                    <a:pt x="7876116" y="1085915"/>
                  </a:cubicBezTo>
                  <a:cubicBezTo>
                    <a:pt x="7845634" y="1085915"/>
                    <a:pt x="7820924" y="1061205"/>
                    <a:pt x="7820924" y="1030724"/>
                  </a:cubicBezTo>
                  <a:cubicBezTo>
                    <a:pt x="7820924" y="1000243"/>
                    <a:pt x="7845634" y="975533"/>
                    <a:pt x="7876116" y="975533"/>
                  </a:cubicBezTo>
                  <a:close/>
                  <a:moveTo>
                    <a:pt x="7745822" y="975533"/>
                  </a:moveTo>
                  <a:cubicBezTo>
                    <a:pt x="7776304" y="975533"/>
                    <a:pt x="7801014" y="1000243"/>
                    <a:pt x="7801014" y="1030724"/>
                  </a:cubicBezTo>
                  <a:cubicBezTo>
                    <a:pt x="7801014" y="1061205"/>
                    <a:pt x="7776304" y="1085915"/>
                    <a:pt x="7745822" y="1085915"/>
                  </a:cubicBezTo>
                  <a:cubicBezTo>
                    <a:pt x="7715340" y="1085915"/>
                    <a:pt x="7690630" y="1061205"/>
                    <a:pt x="7690630" y="1030724"/>
                  </a:cubicBezTo>
                  <a:cubicBezTo>
                    <a:pt x="7690630" y="1000243"/>
                    <a:pt x="7715340" y="975533"/>
                    <a:pt x="7745822" y="975533"/>
                  </a:cubicBezTo>
                  <a:close/>
                  <a:moveTo>
                    <a:pt x="7481894" y="975533"/>
                  </a:moveTo>
                  <a:cubicBezTo>
                    <a:pt x="7512376" y="975533"/>
                    <a:pt x="7537086" y="1000243"/>
                    <a:pt x="7537086" y="1030724"/>
                  </a:cubicBezTo>
                  <a:cubicBezTo>
                    <a:pt x="7537086" y="1061205"/>
                    <a:pt x="7512376" y="1085915"/>
                    <a:pt x="7481894" y="1085915"/>
                  </a:cubicBezTo>
                  <a:cubicBezTo>
                    <a:pt x="7451412" y="1085915"/>
                    <a:pt x="7426702" y="1061205"/>
                    <a:pt x="7426702" y="1030724"/>
                  </a:cubicBezTo>
                  <a:cubicBezTo>
                    <a:pt x="7426702" y="1000243"/>
                    <a:pt x="7451412" y="975533"/>
                    <a:pt x="7481894" y="975533"/>
                  </a:cubicBezTo>
                  <a:close/>
                  <a:moveTo>
                    <a:pt x="7341578" y="975533"/>
                  </a:moveTo>
                  <a:cubicBezTo>
                    <a:pt x="7372060" y="975533"/>
                    <a:pt x="7396770" y="1000243"/>
                    <a:pt x="7396770" y="1030724"/>
                  </a:cubicBezTo>
                  <a:cubicBezTo>
                    <a:pt x="7396770" y="1061205"/>
                    <a:pt x="7372060" y="1085915"/>
                    <a:pt x="7341578" y="1085915"/>
                  </a:cubicBezTo>
                  <a:cubicBezTo>
                    <a:pt x="7311096" y="1085915"/>
                    <a:pt x="7286386" y="1061205"/>
                    <a:pt x="7286386" y="1030724"/>
                  </a:cubicBezTo>
                  <a:cubicBezTo>
                    <a:pt x="7286386" y="1000243"/>
                    <a:pt x="7311096" y="975533"/>
                    <a:pt x="7341578" y="975533"/>
                  </a:cubicBezTo>
                  <a:close/>
                  <a:moveTo>
                    <a:pt x="7211285" y="975533"/>
                  </a:moveTo>
                  <a:cubicBezTo>
                    <a:pt x="7241767" y="975533"/>
                    <a:pt x="7266477" y="1000243"/>
                    <a:pt x="7266477" y="1030724"/>
                  </a:cubicBezTo>
                  <a:cubicBezTo>
                    <a:pt x="7266477" y="1061205"/>
                    <a:pt x="7241767" y="1085915"/>
                    <a:pt x="7211285" y="1085915"/>
                  </a:cubicBezTo>
                  <a:cubicBezTo>
                    <a:pt x="7180803" y="1085915"/>
                    <a:pt x="7156093" y="1061205"/>
                    <a:pt x="7156093" y="1030724"/>
                  </a:cubicBezTo>
                  <a:cubicBezTo>
                    <a:pt x="7156093" y="1000243"/>
                    <a:pt x="7180803" y="975533"/>
                    <a:pt x="7211285" y="975533"/>
                  </a:cubicBezTo>
                  <a:close/>
                  <a:moveTo>
                    <a:pt x="6947356" y="975533"/>
                  </a:moveTo>
                  <a:cubicBezTo>
                    <a:pt x="6977838" y="975533"/>
                    <a:pt x="7002548" y="1000243"/>
                    <a:pt x="7002548" y="1030724"/>
                  </a:cubicBezTo>
                  <a:cubicBezTo>
                    <a:pt x="7002548" y="1061205"/>
                    <a:pt x="6977838" y="1085915"/>
                    <a:pt x="6947356" y="1085915"/>
                  </a:cubicBezTo>
                  <a:cubicBezTo>
                    <a:pt x="6916874" y="1085915"/>
                    <a:pt x="6892164" y="1061205"/>
                    <a:pt x="6892164" y="1030724"/>
                  </a:cubicBezTo>
                  <a:cubicBezTo>
                    <a:pt x="6892164" y="1000243"/>
                    <a:pt x="6916874" y="975533"/>
                    <a:pt x="6947356" y="975533"/>
                  </a:cubicBezTo>
                  <a:close/>
                  <a:moveTo>
                    <a:pt x="6817063" y="975533"/>
                  </a:moveTo>
                  <a:cubicBezTo>
                    <a:pt x="6847545" y="975533"/>
                    <a:pt x="6872255" y="1000243"/>
                    <a:pt x="6872255" y="1030724"/>
                  </a:cubicBezTo>
                  <a:cubicBezTo>
                    <a:pt x="6872255" y="1061205"/>
                    <a:pt x="6847545" y="1085915"/>
                    <a:pt x="6817063" y="1085915"/>
                  </a:cubicBezTo>
                  <a:cubicBezTo>
                    <a:pt x="6786581" y="1085915"/>
                    <a:pt x="6761871" y="1061205"/>
                    <a:pt x="6761871" y="1030724"/>
                  </a:cubicBezTo>
                  <a:cubicBezTo>
                    <a:pt x="6761871" y="1000243"/>
                    <a:pt x="6786581" y="975533"/>
                    <a:pt x="6817063" y="975533"/>
                  </a:cubicBezTo>
                  <a:close/>
                  <a:moveTo>
                    <a:pt x="6683430" y="975533"/>
                  </a:moveTo>
                  <a:cubicBezTo>
                    <a:pt x="6713912" y="975533"/>
                    <a:pt x="6738622" y="1000243"/>
                    <a:pt x="6738622" y="1030724"/>
                  </a:cubicBezTo>
                  <a:cubicBezTo>
                    <a:pt x="6738622" y="1061205"/>
                    <a:pt x="6713912" y="1085915"/>
                    <a:pt x="6683430" y="1085915"/>
                  </a:cubicBezTo>
                  <a:cubicBezTo>
                    <a:pt x="6652948" y="1085915"/>
                    <a:pt x="6628238" y="1061205"/>
                    <a:pt x="6628238" y="1030724"/>
                  </a:cubicBezTo>
                  <a:cubicBezTo>
                    <a:pt x="6628238" y="1000243"/>
                    <a:pt x="6652948" y="975533"/>
                    <a:pt x="6683430" y="975533"/>
                  </a:cubicBezTo>
                  <a:close/>
                  <a:moveTo>
                    <a:pt x="6289206" y="975533"/>
                  </a:moveTo>
                  <a:cubicBezTo>
                    <a:pt x="6319688" y="975533"/>
                    <a:pt x="6344398" y="1000243"/>
                    <a:pt x="6344398" y="1030724"/>
                  </a:cubicBezTo>
                  <a:cubicBezTo>
                    <a:pt x="6344398" y="1061205"/>
                    <a:pt x="6319688" y="1085915"/>
                    <a:pt x="6289206" y="1085915"/>
                  </a:cubicBezTo>
                  <a:cubicBezTo>
                    <a:pt x="6258724" y="1085915"/>
                    <a:pt x="6234014" y="1061205"/>
                    <a:pt x="6234014" y="1030724"/>
                  </a:cubicBezTo>
                  <a:cubicBezTo>
                    <a:pt x="6234014" y="1000243"/>
                    <a:pt x="6258724" y="975533"/>
                    <a:pt x="6289206" y="975533"/>
                  </a:cubicBezTo>
                  <a:close/>
                  <a:moveTo>
                    <a:pt x="5754667" y="975533"/>
                  </a:moveTo>
                  <a:cubicBezTo>
                    <a:pt x="5785149" y="975533"/>
                    <a:pt x="5809859" y="1000243"/>
                    <a:pt x="5809859" y="1030724"/>
                  </a:cubicBezTo>
                  <a:cubicBezTo>
                    <a:pt x="5809859" y="1061205"/>
                    <a:pt x="5785149" y="1085915"/>
                    <a:pt x="5754667" y="1085915"/>
                  </a:cubicBezTo>
                  <a:cubicBezTo>
                    <a:pt x="5724185" y="1085915"/>
                    <a:pt x="5699475" y="1061205"/>
                    <a:pt x="5699475" y="1030724"/>
                  </a:cubicBezTo>
                  <a:cubicBezTo>
                    <a:pt x="5699475" y="1000243"/>
                    <a:pt x="5724185" y="975533"/>
                    <a:pt x="5754667" y="975533"/>
                  </a:cubicBezTo>
                  <a:close/>
                  <a:moveTo>
                    <a:pt x="5487398" y="975533"/>
                  </a:moveTo>
                  <a:cubicBezTo>
                    <a:pt x="5517880" y="975533"/>
                    <a:pt x="5542590" y="1000243"/>
                    <a:pt x="5542590" y="1030724"/>
                  </a:cubicBezTo>
                  <a:cubicBezTo>
                    <a:pt x="5542590" y="1061205"/>
                    <a:pt x="5517880" y="1085915"/>
                    <a:pt x="5487398" y="1085915"/>
                  </a:cubicBezTo>
                  <a:cubicBezTo>
                    <a:pt x="5456916" y="1085915"/>
                    <a:pt x="5432206" y="1061205"/>
                    <a:pt x="5432206" y="1030724"/>
                  </a:cubicBezTo>
                  <a:cubicBezTo>
                    <a:pt x="5432206" y="1000243"/>
                    <a:pt x="5456916" y="975533"/>
                    <a:pt x="5487398" y="975533"/>
                  </a:cubicBezTo>
                  <a:close/>
                  <a:moveTo>
                    <a:pt x="5357105" y="975533"/>
                  </a:moveTo>
                  <a:cubicBezTo>
                    <a:pt x="5387587" y="975533"/>
                    <a:pt x="5412297" y="1000243"/>
                    <a:pt x="5412297" y="1030724"/>
                  </a:cubicBezTo>
                  <a:cubicBezTo>
                    <a:pt x="5412297" y="1061205"/>
                    <a:pt x="5387587" y="1085915"/>
                    <a:pt x="5357105" y="1085915"/>
                  </a:cubicBezTo>
                  <a:cubicBezTo>
                    <a:pt x="5326623" y="1085915"/>
                    <a:pt x="5301913" y="1061205"/>
                    <a:pt x="5301913" y="1030724"/>
                  </a:cubicBezTo>
                  <a:cubicBezTo>
                    <a:pt x="5301913" y="1000243"/>
                    <a:pt x="5326623" y="975533"/>
                    <a:pt x="5357105" y="975533"/>
                  </a:cubicBezTo>
                  <a:close/>
                  <a:moveTo>
                    <a:pt x="5093176" y="975533"/>
                  </a:moveTo>
                  <a:cubicBezTo>
                    <a:pt x="5123658" y="975533"/>
                    <a:pt x="5148368" y="1000243"/>
                    <a:pt x="5148368" y="1030724"/>
                  </a:cubicBezTo>
                  <a:cubicBezTo>
                    <a:pt x="5148368" y="1061205"/>
                    <a:pt x="5123658" y="1085915"/>
                    <a:pt x="5093176" y="1085915"/>
                  </a:cubicBezTo>
                  <a:cubicBezTo>
                    <a:pt x="5062694" y="1085915"/>
                    <a:pt x="5037984" y="1061205"/>
                    <a:pt x="5037984" y="1030724"/>
                  </a:cubicBezTo>
                  <a:cubicBezTo>
                    <a:pt x="5037984" y="1000243"/>
                    <a:pt x="5062694" y="975533"/>
                    <a:pt x="5093176" y="975533"/>
                  </a:cubicBezTo>
                  <a:close/>
                  <a:moveTo>
                    <a:pt x="4959540" y="975533"/>
                  </a:moveTo>
                  <a:cubicBezTo>
                    <a:pt x="4990022" y="975533"/>
                    <a:pt x="5014732" y="1000243"/>
                    <a:pt x="5014732" y="1030724"/>
                  </a:cubicBezTo>
                  <a:cubicBezTo>
                    <a:pt x="5014732" y="1061205"/>
                    <a:pt x="4990022" y="1085915"/>
                    <a:pt x="4959540" y="1085915"/>
                  </a:cubicBezTo>
                  <a:cubicBezTo>
                    <a:pt x="4929058" y="1085915"/>
                    <a:pt x="4904348" y="1061205"/>
                    <a:pt x="4904348" y="1030724"/>
                  </a:cubicBezTo>
                  <a:cubicBezTo>
                    <a:pt x="4904348" y="1000243"/>
                    <a:pt x="4929058" y="975533"/>
                    <a:pt x="4959540" y="975533"/>
                  </a:cubicBezTo>
                  <a:close/>
                  <a:moveTo>
                    <a:pt x="4161075" y="975533"/>
                  </a:moveTo>
                  <a:cubicBezTo>
                    <a:pt x="4191557" y="975533"/>
                    <a:pt x="4216267" y="1000243"/>
                    <a:pt x="4216267" y="1030724"/>
                  </a:cubicBezTo>
                  <a:cubicBezTo>
                    <a:pt x="4216267" y="1061205"/>
                    <a:pt x="4191557" y="1085915"/>
                    <a:pt x="4161075" y="1085915"/>
                  </a:cubicBezTo>
                  <a:cubicBezTo>
                    <a:pt x="4130593" y="1085915"/>
                    <a:pt x="4105883" y="1061205"/>
                    <a:pt x="4105883" y="1030724"/>
                  </a:cubicBezTo>
                  <a:cubicBezTo>
                    <a:pt x="4105883" y="1000243"/>
                    <a:pt x="4130593" y="975533"/>
                    <a:pt x="4161075" y="975533"/>
                  </a:cubicBezTo>
                  <a:close/>
                  <a:moveTo>
                    <a:pt x="4030782" y="975533"/>
                  </a:moveTo>
                  <a:cubicBezTo>
                    <a:pt x="4061264" y="975533"/>
                    <a:pt x="4085974" y="1000243"/>
                    <a:pt x="4085974" y="1030724"/>
                  </a:cubicBezTo>
                  <a:cubicBezTo>
                    <a:pt x="4085974" y="1061205"/>
                    <a:pt x="4061264" y="1085915"/>
                    <a:pt x="4030782" y="1085915"/>
                  </a:cubicBezTo>
                  <a:cubicBezTo>
                    <a:pt x="4000300" y="1085915"/>
                    <a:pt x="3975590" y="1061205"/>
                    <a:pt x="3975590" y="1030724"/>
                  </a:cubicBezTo>
                  <a:cubicBezTo>
                    <a:pt x="3975590" y="1000243"/>
                    <a:pt x="4000300" y="975533"/>
                    <a:pt x="4030782" y="975533"/>
                  </a:cubicBezTo>
                  <a:close/>
                  <a:moveTo>
                    <a:pt x="3369290" y="975533"/>
                  </a:moveTo>
                  <a:cubicBezTo>
                    <a:pt x="3399772" y="975533"/>
                    <a:pt x="3424482" y="1000243"/>
                    <a:pt x="3424482" y="1030724"/>
                  </a:cubicBezTo>
                  <a:cubicBezTo>
                    <a:pt x="3424482" y="1061205"/>
                    <a:pt x="3399772" y="1085915"/>
                    <a:pt x="3369290" y="1085915"/>
                  </a:cubicBezTo>
                  <a:cubicBezTo>
                    <a:pt x="3338808" y="1085915"/>
                    <a:pt x="3314098" y="1061205"/>
                    <a:pt x="3314098" y="1030724"/>
                  </a:cubicBezTo>
                  <a:cubicBezTo>
                    <a:pt x="3314098" y="1000243"/>
                    <a:pt x="3338808" y="975533"/>
                    <a:pt x="3369290" y="975533"/>
                  </a:cubicBezTo>
                  <a:close/>
                  <a:moveTo>
                    <a:pt x="2707880" y="975533"/>
                  </a:moveTo>
                  <a:cubicBezTo>
                    <a:pt x="2738363" y="975533"/>
                    <a:pt x="2763074" y="1000243"/>
                    <a:pt x="2763074" y="1030724"/>
                  </a:cubicBezTo>
                  <a:cubicBezTo>
                    <a:pt x="2763074" y="1061205"/>
                    <a:pt x="2738363" y="1085915"/>
                    <a:pt x="2707880" y="1085915"/>
                  </a:cubicBezTo>
                  <a:cubicBezTo>
                    <a:pt x="2677401" y="1085915"/>
                    <a:pt x="2652689" y="1061205"/>
                    <a:pt x="2652689" y="1030724"/>
                  </a:cubicBezTo>
                  <a:cubicBezTo>
                    <a:pt x="2652689" y="1000243"/>
                    <a:pt x="2677401" y="975533"/>
                    <a:pt x="2707880" y="975533"/>
                  </a:cubicBezTo>
                  <a:close/>
                  <a:moveTo>
                    <a:pt x="2173347" y="975533"/>
                  </a:moveTo>
                  <a:cubicBezTo>
                    <a:pt x="2203830" y="975533"/>
                    <a:pt x="2228540" y="1000243"/>
                    <a:pt x="2228540" y="1030724"/>
                  </a:cubicBezTo>
                  <a:cubicBezTo>
                    <a:pt x="2228540" y="1061205"/>
                    <a:pt x="2203830" y="1085915"/>
                    <a:pt x="2173347" y="1085915"/>
                  </a:cubicBezTo>
                  <a:cubicBezTo>
                    <a:pt x="2142865" y="1085915"/>
                    <a:pt x="2118154" y="1061205"/>
                    <a:pt x="2118154" y="1030724"/>
                  </a:cubicBezTo>
                  <a:cubicBezTo>
                    <a:pt x="2118154" y="1000243"/>
                    <a:pt x="2142865" y="975533"/>
                    <a:pt x="2173347" y="975533"/>
                  </a:cubicBezTo>
                  <a:close/>
                  <a:moveTo>
                    <a:pt x="1251258" y="975533"/>
                  </a:moveTo>
                  <a:cubicBezTo>
                    <a:pt x="1281740" y="975533"/>
                    <a:pt x="1306450" y="1000243"/>
                    <a:pt x="1306450" y="1030724"/>
                  </a:cubicBezTo>
                  <a:cubicBezTo>
                    <a:pt x="1306450" y="1061205"/>
                    <a:pt x="1281740" y="1085915"/>
                    <a:pt x="1251258" y="1085915"/>
                  </a:cubicBezTo>
                  <a:cubicBezTo>
                    <a:pt x="1220775" y="1085915"/>
                    <a:pt x="1196066" y="1061205"/>
                    <a:pt x="1196066" y="1030724"/>
                  </a:cubicBezTo>
                  <a:cubicBezTo>
                    <a:pt x="1196066" y="1000243"/>
                    <a:pt x="1220775" y="975533"/>
                    <a:pt x="1251258" y="975533"/>
                  </a:cubicBezTo>
                  <a:close/>
                  <a:moveTo>
                    <a:pt x="847001" y="975533"/>
                  </a:moveTo>
                  <a:cubicBezTo>
                    <a:pt x="877484" y="975533"/>
                    <a:pt x="902196" y="1000243"/>
                    <a:pt x="902196" y="1030724"/>
                  </a:cubicBezTo>
                  <a:cubicBezTo>
                    <a:pt x="902196" y="1061205"/>
                    <a:pt x="877484" y="1085915"/>
                    <a:pt x="847001" y="1085915"/>
                  </a:cubicBezTo>
                  <a:cubicBezTo>
                    <a:pt x="816519" y="1085915"/>
                    <a:pt x="791804" y="1061205"/>
                    <a:pt x="791804" y="1030724"/>
                  </a:cubicBezTo>
                  <a:cubicBezTo>
                    <a:pt x="791804" y="1000243"/>
                    <a:pt x="816519" y="975533"/>
                    <a:pt x="847001" y="975533"/>
                  </a:cubicBezTo>
                  <a:close/>
                  <a:moveTo>
                    <a:pt x="9336074" y="975532"/>
                  </a:moveTo>
                  <a:cubicBezTo>
                    <a:pt x="9366556" y="975532"/>
                    <a:pt x="9391266" y="1000242"/>
                    <a:pt x="9391266" y="1030723"/>
                  </a:cubicBezTo>
                  <a:cubicBezTo>
                    <a:pt x="9391266" y="1061204"/>
                    <a:pt x="9366556" y="1085914"/>
                    <a:pt x="9336074" y="1085914"/>
                  </a:cubicBezTo>
                  <a:cubicBezTo>
                    <a:pt x="9305592" y="1085914"/>
                    <a:pt x="9280882" y="1061204"/>
                    <a:pt x="9280882" y="1030723"/>
                  </a:cubicBezTo>
                  <a:cubicBezTo>
                    <a:pt x="9280882" y="1000242"/>
                    <a:pt x="9305592" y="975532"/>
                    <a:pt x="9336074" y="975532"/>
                  </a:cubicBezTo>
                  <a:close/>
                  <a:moveTo>
                    <a:pt x="9199098" y="975532"/>
                  </a:moveTo>
                  <a:cubicBezTo>
                    <a:pt x="9229580" y="975532"/>
                    <a:pt x="9254290" y="1000242"/>
                    <a:pt x="9254290" y="1030723"/>
                  </a:cubicBezTo>
                  <a:cubicBezTo>
                    <a:pt x="9254290" y="1061204"/>
                    <a:pt x="9229580" y="1085914"/>
                    <a:pt x="9199098" y="1085914"/>
                  </a:cubicBezTo>
                  <a:cubicBezTo>
                    <a:pt x="9168616" y="1085914"/>
                    <a:pt x="9143906" y="1061204"/>
                    <a:pt x="9143906" y="1030723"/>
                  </a:cubicBezTo>
                  <a:cubicBezTo>
                    <a:pt x="9143906" y="1000242"/>
                    <a:pt x="9168616" y="975532"/>
                    <a:pt x="9199098" y="975532"/>
                  </a:cubicBezTo>
                  <a:close/>
                  <a:moveTo>
                    <a:pt x="9068805" y="975532"/>
                  </a:moveTo>
                  <a:cubicBezTo>
                    <a:pt x="9099287" y="975532"/>
                    <a:pt x="9123997" y="1000242"/>
                    <a:pt x="9123997" y="1030723"/>
                  </a:cubicBezTo>
                  <a:cubicBezTo>
                    <a:pt x="9123997" y="1061204"/>
                    <a:pt x="9099287" y="1085914"/>
                    <a:pt x="9068805" y="1085914"/>
                  </a:cubicBezTo>
                  <a:cubicBezTo>
                    <a:pt x="9038323" y="1085914"/>
                    <a:pt x="9013613" y="1061204"/>
                    <a:pt x="9013613" y="1030723"/>
                  </a:cubicBezTo>
                  <a:cubicBezTo>
                    <a:pt x="9013613" y="1000242"/>
                    <a:pt x="9038323" y="975532"/>
                    <a:pt x="9068805" y="975532"/>
                  </a:cubicBezTo>
                  <a:close/>
                  <a:moveTo>
                    <a:pt x="8801536" y="975532"/>
                  </a:moveTo>
                  <a:cubicBezTo>
                    <a:pt x="8832018" y="975532"/>
                    <a:pt x="8856728" y="1000242"/>
                    <a:pt x="8856728" y="1030723"/>
                  </a:cubicBezTo>
                  <a:cubicBezTo>
                    <a:pt x="8856728" y="1061204"/>
                    <a:pt x="8832018" y="1085914"/>
                    <a:pt x="8801536" y="1085914"/>
                  </a:cubicBezTo>
                  <a:cubicBezTo>
                    <a:pt x="8771054" y="1085914"/>
                    <a:pt x="8746344" y="1061204"/>
                    <a:pt x="8746344" y="1030723"/>
                  </a:cubicBezTo>
                  <a:cubicBezTo>
                    <a:pt x="8746344" y="1000242"/>
                    <a:pt x="8771054" y="975532"/>
                    <a:pt x="8801536" y="975532"/>
                  </a:cubicBezTo>
                  <a:close/>
                  <a:moveTo>
                    <a:pt x="8671243" y="975532"/>
                  </a:moveTo>
                  <a:cubicBezTo>
                    <a:pt x="8701725" y="975532"/>
                    <a:pt x="8726435" y="1000242"/>
                    <a:pt x="8726435" y="1030723"/>
                  </a:cubicBezTo>
                  <a:cubicBezTo>
                    <a:pt x="8726435" y="1061204"/>
                    <a:pt x="8701725" y="1085914"/>
                    <a:pt x="8671243" y="1085914"/>
                  </a:cubicBezTo>
                  <a:cubicBezTo>
                    <a:pt x="8640761" y="1085914"/>
                    <a:pt x="8616051" y="1061204"/>
                    <a:pt x="8616051" y="1030723"/>
                  </a:cubicBezTo>
                  <a:cubicBezTo>
                    <a:pt x="8616051" y="1000242"/>
                    <a:pt x="8640761" y="975532"/>
                    <a:pt x="8671243" y="975532"/>
                  </a:cubicBezTo>
                  <a:close/>
                  <a:moveTo>
                    <a:pt x="8537608" y="975532"/>
                  </a:moveTo>
                  <a:cubicBezTo>
                    <a:pt x="8568090" y="975532"/>
                    <a:pt x="8592800" y="1000242"/>
                    <a:pt x="8592800" y="1030723"/>
                  </a:cubicBezTo>
                  <a:cubicBezTo>
                    <a:pt x="8592800" y="1061204"/>
                    <a:pt x="8568090" y="1085914"/>
                    <a:pt x="8537608" y="1085914"/>
                  </a:cubicBezTo>
                  <a:cubicBezTo>
                    <a:pt x="8507126" y="1085914"/>
                    <a:pt x="8482416" y="1061204"/>
                    <a:pt x="8482416" y="1030723"/>
                  </a:cubicBezTo>
                  <a:cubicBezTo>
                    <a:pt x="8482416" y="1000242"/>
                    <a:pt x="8507126" y="975532"/>
                    <a:pt x="8537608" y="975532"/>
                  </a:cubicBezTo>
                  <a:close/>
                  <a:moveTo>
                    <a:pt x="8273681" y="975532"/>
                  </a:moveTo>
                  <a:cubicBezTo>
                    <a:pt x="8304163" y="975532"/>
                    <a:pt x="8328873" y="1000242"/>
                    <a:pt x="8328873" y="1030723"/>
                  </a:cubicBezTo>
                  <a:cubicBezTo>
                    <a:pt x="8328873" y="1061204"/>
                    <a:pt x="8304163" y="1085914"/>
                    <a:pt x="8273681" y="1085914"/>
                  </a:cubicBezTo>
                  <a:cubicBezTo>
                    <a:pt x="8243199" y="1085914"/>
                    <a:pt x="8218489" y="1061204"/>
                    <a:pt x="8218489" y="1030723"/>
                  </a:cubicBezTo>
                  <a:cubicBezTo>
                    <a:pt x="8218489" y="1000242"/>
                    <a:pt x="8243199" y="975532"/>
                    <a:pt x="8273681" y="975532"/>
                  </a:cubicBezTo>
                  <a:close/>
                  <a:moveTo>
                    <a:pt x="8143385" y="975532"/>
                  </a:moveTo>
                  <a:cubicBezTo>
                    <a:pt x="8173867" y="975532"/>
                    <a:pt x="8198577" y="1000242"/>
                    <a:pt x="8198577" y="1030723"/>
                  </a:cubicBezTo>
                  <a:cubicBezTo>
                    <a:pt x="8198577" y="1061204"/>
                    <a:pt x="8173867" y="1085914"/>
                    <a:pt x="8143385" y="1085914"/>
                  </a:cubicBezTo>
                  <a:cubicBezTo>
                    <a:pt x="8112903" y="1085914"/>
                    <a:pt x="8088193" y="1061204"/>
                    <a:pt x="8088193" y="1030723"/>
                  </a:cubicBezTo>
                  <a:cubicBezTo>
                    <a:pt x="8088193" y="1000242"/>
                    <a:pt x="8112903" y="975532"/>
                    <a:pt x="8143385" y="975532"/>
                  </a:cubicBezTo>
                  <a:close/>
                  <a:moveTo>
                    <a:pt x="8009751" y="975532"/>
                  </a:moveTo>
                  <a:cubicBezTo>
                    <a:pt x="8040233" y="975532"/>
                    <a:pt x="8064943" y="1000242"/>
                    <a:pt x="8064943" y="1030723"/>
                  </a:cubicBezTo>
                  <a:cubicBezTo>
                    <a:pt x="8064943" y="1061204"/>
                    <a:pt x="8040233" y="1085914"/>
                    <a:pt x="8009751" y="1085914"/>
                  </a:cubicBezTo>
                  <a:cubicBezTo>
                    <a:pt x="7979269" y="1085914"/>
                    <a:pt x="7954559" y="1061204"/>
                    <a:pt x="7954559" y="1030723"/>
                  </a:cubicBezTo>
                  <a:cubicBezTo>
                    <a:pt x="7954559" y="1000242"/>
                    <a:pt x="7979269" y="975532"/>
                    <a:pt x="8009751" y="975532"/>
                  </a:cubicBezTo>
                  <a:close/>
                  <a:moveTo>
                    <a:pt x="7608847" y="975532"/>
                  </a:moveTo>
                  <a:cubicBezTo>
                    <a:pt x="7639329" y="975532"/>
                    <a:pt x="7664039" y="1000242"/>
                    <a:pt x="7664039" y="1030723"/>
                  </a:cubicBezTo>
                  <a:cubicBezTo>
                    <a:pt x="7664039" y="1061204"/>
                    <a:pt x="7639329" y="1085914"/>
                    <a:pt x="7608847" y="1085914"/>
                  </a:cubicBezTo>
                  <a:cubicBezTo>
                    <a:pt x="7578365" y="1085914"/>
                    <a:pt x="7553655" y="1061204"/>
                    <a:pt x="7553655" y="1030723"/>
                  </a:cubicBezTo>
                  <a:cubicBezTo>
                    <a:pt x="7553655" y="1000242"/>
                    <a:pt x="7578365" y="975532"/>
                    <a:pt x="7608847" y="975532"/>
                  </a:cubicBezTo>
                  <a:close/>
                  <a:moveTo>
                    <a:pt x="7080991" y="975532"/>
                  </a:moveTo>
                  <a:cubicBezTo>
                    <a:pt x="7111473" y="975532"/>
                    <a:pt x="7136183" y="1000242"/>
                    <a:pt x="7136183" y="1030723"/>
                  </a:cubicBezTo>
                  <a:cubicBezTo>
                    <a:pt x="7136183" y="1061204"/>
                    <a:pt x="7111473" y="1085914"/>
                    <a:pt x="7080991" y="1085914"/>
                  </a:cubicBezTo>
                  <a:cubicBezTo>
                    <a:pt x="7050509" y="1085914"/>
                    <a:pt x="7025799" y="1061204"/>
                    <a:pt x="7025799" y="1030723"/>
                  </a:cubicBezTo>
                  <a:cubicBezTo>
                    <a:pt x="7025799" y="1000242"/>
                    <a:pt x="7050509" y="975532"/>
                    <a:pt x="7080991" y="975532"/>
                  </a:cubicBezTo>
                  <a:close/>
                  <a:moveTo>
                    <a:pt x="6553135" y="975532"/>
                  </a:moveTo>
                  <a:cubicBezTo>
                    <a:pt x="6583617" y="975532"/>
                    <a:pt x="6608327" y="1000242"/>
                    <a:pt x="6608327" y="1030723"/>
                  </a:cubicBezTo>
                  <a:cubicBezTo>
                    <a:pt x="6608327" y="1061204"/>
                    <a:pt x="6583617" y="1085914"/>
                    <a:pt x="6553135" y="1085914"/>
                  </a:cubicBezTo>
                  <a:cubicBezTo>
                    <a:pt x="6522653" y="1085914"/>
                    <a:pt x="6497943" y="1061204"/>
                    <a:pt x="6497943" y="1030723"/>
                  </a:cubicBezTo>
                  <a:cubicBezTo>
                    <a:pt x="6497943" y="1000242"/>
                    <a:pt x="6522653" y="975532"/>
                    <a:pt x="6553135" y="975532"/>
                  </a:cubicBezTo>
                  <a:close/>
                  <a:moveTo>
                    <a:pt x="6419501" y="975532"/>
                  </a:moveTo>
                  <a:cubicBezTo>
                    <a:pt x="6449983" y="975532"/>
                    <a:pt x="6474693" y="1000242"/>
                    <a:pt x="6474693" y="1030723"/>
                  </a:cubicBezTo>
                  <a:cubicBezTo>
                    <a:pt x="6474693" y="1061204"/>
                    <a:pt x="6449983" y="1085914"/>
                    <a:pt x="6419501" y="1085914"/>
                  </a:cubicBezTo>
                  <a:cubicBezTo>
                    <a:pt x="6389019" y="1085914"/>
                    <a:pt x="6364309" y="1061204"/>
                    <a:pt x="6364309" y="1030723"/>
                  </a:cubicBezTo>
                  <a:cubicBezTo>
                    <a:pt x="6364309" y="1000242"/>
                    <a:pt x="6389019" y="975532"/>
                    <a:pt x="6419501" y="975532"/>
                  </a:cubicBezTo>
                  <a:close/>
                  <a:moveTo>
                    <a:pt x="6155571" y="975532"/>
                  </a:moveTo>
                  <a:cubicBezTo>
                    <a:pt x="6186053" y="975532"/>
                    <a:pt x="6210763" y="1000242"/>
                    <a:pt x="6210763" y="1030723"/>
                  </a:cubicBezTo>
                  <a:cubicBezTo>
                    <a:pt x="6210763" y="1061204"/>
                    <a:pt x="6186053" y="1085914"/>
                    <a:pt x="6155571" y="1085914"/>
                  </a:cubicBezTo>
                  <a:cubicBezTo>
                    <a:pt x="6125089" y="1085914"/>
                    <a:pt x="6100379" y="1061204"/>
                    <a:pt x="6100379" y="1030723"/>
                  </a:cubicBezTo>
                  <a:cubicBezTo>
                    <a:pt x="6100379" y="1000242"/>
                    <a:pt x="6125089" y="975532"/>
                    <a:pt x="6155571" y="975532"/>
                  </a:cubicBezTo>
                  <a:close/>
                  <a:moveTo>
                    <a:pt x="6021936" y="975532"/>
                  </a:moveTo>
                  <a:cubicBezTo>
                    <a:pt x="6052418" y="975532"/>
                    <a:pt x="6077128" y="1000242"/>
                    <a:pt x="6077128" y="1030723"/>
                  </a:cubicBezTo>
                  <a:cubicBezTo>
                    <a:pt x="6077128" y="1061204"/>
                    <a:pt x="6052418" y="1085914"/>
                    <a:pt x="6021936" y="1085914"/>
                  </a:cubicBezTo>
                  <a:cubicBezTo>
                    <a:pt x="5991454" y="1085914"/>
                    <a:pt x="5966744" y="1061204"/>
                    <a:pt x="5966744" y="1030723"/>
                  </a:cubicBezTo>
                  <a:cubicBezTo>
                    <a:pt x="5966744" y="1000242"/>
                    <a:pt x="5991454" y="975532"/>
                    <a:pt x="6021936" y="975532"/>
                  </a:cubicBezTo>
                  <a:close/>
                  <a:moveTo>
                    <a:pt x="5884963" y="975532"/>
                  </a:moveTo>
                  <a:cubicBezTo>
                    <a:pt x="5915445" y="975532"/>
                    <a:pt x="5940155" y="1000242"/>
                    <a:pt x="5940155" y="1030723"/>
                  </a:cubicBezTo>
                  <a:cubicBezTo>
                    <a:pt x="5940155" y="1061204"/>
                    <a:pt x="5915445" y="1085914"/>
                    <a:pt x="5884963" y="1085914"/>
                  </a:cubicBezTo>
                  <a:cubicBezTo>
                    <a:pt x="5854481" y="1085914"/>
                    <a:pt x="5829771" y="1061204"/>
                    <a:pt x="5829771" y="1030723"/>
                  </a:cubicBezTo>
                  <a:cubicBezTo>
                    <a:pt x="5829771" y="1000242"/>
                    <a:pt x="5854481" y="975532"/>
                    <a:pt x="5884963" y="975532"/>
                  </a:cubicBezTo>
                  <a:close/>
                  <a:moveTo>
                    <a:pt x="5621031" y="975532"/>
                  </a:moveTo>
                  <a:cubicBezTo>
                    <a:pt x="5651513" y="975532"/>
                    <a:pt x="5676223" y="1000242"/>
                    <a:pt x="5676223" y="1030723"/>
                  </a:cubicBezTo>
                  <a:cubicBezTo>
                    <a:pt x="5676223" y="1061204"/>
                    <a:pt x="5651513" y="1085914"/>
                    <a:pt x="5621031" y="1085914"/>
                  </a:cubicBezTo>
                  <a:cubicBezTo>
                    <a:pt x="5590549" y="1085914"/>
                    <a:pt x="5565839" y="1061204"/>
                    <a:pt x="5565839" y="1030723"/>
                  </a:cubicBezTo>
                  <a:cubicBezTo>
                    <a:pt x="5565839" y="1000242"/>
                    <a:pt x="5590549" y="975532"/>
                    <a:pt x="5621031" y="975532"/>
                  </a:cubicBezTo>
                  <a:close/>
                  <a:moveTo>
                    <a:pt x="5223472" y="975532"/>
                  </a:moveTo>
                  <a:cubicBezTo>
                    <a:pt x="5253954" y="975532"/>
                    <a:pt x="5278664" y="1000242"/>
                    <a:pt x="5278664" y="1030723"/>
                  </a:cubicBezTo>
                  <a:cubicBezTo>
                    <a:pt x="5278664" y="1061204"/>
                    <a:pt x="5253954" y="1085914"/>
                    <a:pt x="5223472" y="1085914"/>
                  </a:cubicBezTo>
                  <a:cubicBezTo>
                    <a:pt x="5192990" y="1085914"/>
                    <a:pt x="5168280" y="1061204"/>
                    <a:pt x="5168280" y="1030723"/>
                  </a:cubicBezTo>
                  <a:cubicBezTo>
                    <a:pt x="5168280" y="1000242"/>
                    <a:pt x="5192990" y="975532"/>
                    <a:pt x="5223472" y="975532"/>
                  </a:cubicBezTo>
                  <a:close/>
                  <a:moveTo>
                    <a:pt x="4294710" y="975532"/>
                  </a:moveTo>
                  <a:cubicBezTo>
                    <a:pt x="4325192" y="975532"/>
                    <a:pt x="4349902" y="1000242"/>
                    <a:pt x="4349902" y="1030723"/>
                  </a:cubicBezTo>
                  <a:cubicBezTo>
                    <a:pt x="4349902" y="1061204"/>
                    <a:pt x="4325192" y="1085914"/>
                    <a:pt x="4294710" y="1085914"/>
                  </a:cubicBezTo>
                  <a:cubicBezTo>
                    <a:pt x="4264228" y="1085914"/>
                    <a:pt x="4239518" y="1061204"/>
                    <a:pt x="4239518" y="1030723"/>
                  </a:cubicBezTo>
                  <a:cubicBezTo>
                    <a:pt x="4239518" y="1000242"/>
                    <a:pt x="4264228" y="975532"/>
                    <a:pt x="4294710" y="975532"/>
                  </a:cubicBezTo>
                  <a:close/>
                  <a:moveTo>
                    <a:pt x="3499584" y="975532"/>
                  </a:moveTo>
                  <a:cubicBezTo>
                    <a:pt x="3530066" y="975532"/>
                    <a:pt x="3554776" y="1000242"/>
                    <a:pt x="3554776" y="1030723"/>
                  </a:cubicBezTo>
                  <a:cubicBezTo>
                    <a:pt x="3554776" y="1061204"/>
                    <a:pt x="3530066" y="1085914"/>
                    <a:pt x="3499584" y="1085914"/>
                  </a:cubicBezTo>
                  <a:cubicBezTo>
                    <a:pt x="3469102" y="1085914"/>
                    <a:pt x="3444392" y="1061204"/>
                    <a:pt x="3444392" y="1030723"/>
                  </a:cubicBezTo>
                  <a:cubicBezTo>
                    <a:pt x="3444392" y="1000242"/>
                    <a:pt x="3469102" y="975532"/>
                    <a:pt x="3499584" y="975532"/>
                  </a:cubicBezTo>
                  <a:close/>
                  <a:moveTo>
                    <a:pt x="2834836" y="975532"/>
                  </a:moveTo>
                  <a:cubicBezTo>
                    <a:pt x="2865318" y="975532"/>
                    <a:pt x="2890028" y="1000242"/>
                    <a:pt x="2890028" y="1030723"/>
                  </a:cubicBezTo>
                  <a:cubicBezTo>
                    <a:pt x="2890028" y="1061204"/>
                    <a:pt x="2865318" y="1085914"/>
                    <a:pt x="2834836" y="1085914"/>
                  </a:cubicBezTo>
                  <a:cubicBezTo>
                    <a:pt x="2804354" y="1085914"/>
                    <a:pt x="2779643" y="1061204"/>
                    <a:pt x="2779643" y="1030723"/>
                  </a:cubicBezTo>
                  <a:cubicBezTo>
                    <a:pt x="2779643" y="1000242"/>
                    <a:pt x="2804354" y="975532"/>
                    <a:pt x="2834836" y="975532"/>
                  </a:cubicBezTo>
                  <a:close/>
                  <a:moveTo>
                    <a:pt x="2303639" y="975532"/>
                  </a:moveTo>
                  <a:cubicBezTo>
                    <a:pt x="2334120" y="975532"/>
                    <a:pt x="2358830" y="1000242"/>
                    <a:pt x="2358830" y="1030723"/>
                  </a:cubicBezTo>
                  <a:cubicBezTo>
                    <a:pt x="2358830" y="1061204"/>
                    <a:pt x="2334120" y="1085914"/>
                    <a:pt x="2303639" y="1085914"/>
                  </a:cubicBezTo>
                  <a:cubicBezTo>
                    <a:pt x="2273157" y="1085914"/>
                    <a:pt x="2248448" y="1061204"/>
                    <a:pt x="2248448" y="1030723"/>
                  </a:cubicBezTo>
                  <a:cubicBezTo>
                    <a:pt x="2248448" y="1000242"/>
                    <a:pt x="2273157" y="975532"/>
                    <a:pt x="2303639" y="975532"/>
                  </a:cubicBezTo>
                  <a:close/>
                  <a:moveTo>
                    <a:pt x="2039712" y="975532"/>
                  </a:moveTo>
                  <a:cubicBezTo>
                    <a:pt x="2070195" y="975532"/>
                    <a:pt x="2094905" y="1000242"/>
                    <a:pt x="2094905" y="1030723"/>
                  </a:cubicBezTo>
                  <a:cubicBezTo>
                    <a:pt x="2094905" y="1061204"/>
                    <a:pt x="2070195" y="1085914"/>
                    <a:pt x="2039712" y="1085914"/>
                  </a:cubicBezTo>
                  <a:cubicBezTo>
                    <a:pt x="2009228" y="1085914"/>
                    <a:pt x="1984518" y="1061204"/>
                    <a:pt x="1984518" y="1030723"/>
                  </a:cubicBezTo>
                  <a:cubicBezTo>
                    <a:pt x="1984518" y="1000242"/>
                    <a:pt x="2009228" y="975532"/>
                    <a:pt x="2039712" y="975532"/>
                  </a:cubicBezTo>
                  <a:close/>
                  <a:moveTo>
                    <a:pt x="1909414" y="975532"/>
                  </a:moveTo>
                  <a:cubicBezTo>
                    <a:pt x="1939897" y="975532"/>
                    <a:pt x="1964607" y="1000242"/>
                    <a:pt x="1964607" y="1030723"/>
                  </a:cubicBezTo>
                  <a:cubicBezTo>
                    <a:pt x="1964607" y="1061204"/>
                    <a:pt x="1939897" y="1085914"/>
                    <a:pt x="1909414" y="1085914"/>
                  </a:cubicBezTo>
                  <a:cubicBezTo>
                    <a:pt x="1878931" y="1085914"/>
                    <a:pt x="1854220" y="1061204"/>
                    <a:pt x="1854220" y="1030723"/>
                  </a:cubicBezTo>
                  <a:cubicBezTo>
                    <a:pt x="1854220" y="1000242"/>
                    <a:pt x="1878931" y="975532"/>
                    <a:pt x="1909414" y="975532"/>
                  </a:cubicBezTo>
                  <a:close/>
                  <a:moveTo>
                    <a:pt x="1779117" y="975532"/>
                  </a:moveTo>
                  <a:cubicBezTo>
                    <a:pt x="1809599" y="975532"/>
                    <a:pt x="1834310" y="1000242"/>
                    <a:pt x="1834310" y="1030723"/>
                  </a:cubicBezTo>
                  <a:cubicBezTo>
                    <a:pt x="1834310" y="1061204"/>
                    <a:pt x="1809599" y="1085914"/>
                    <a:pt x="1779117" y="1085914"/>
                  </a:cubicBezTo>
                  <a:cubicBezTo>
                    <a:pt x="1748635" y="1085914"/>
                    <a:pt x="1723923" y="1061204"/>
                    <a:pt x="1723923" y="1030723"/>
                  </a:cubicBezTo>
                  <a:cubicBezTo>
                    <a:pt x="1723923" y="1000242"/>
                    <a:pt x="1748635" y="975532"/>
                    <a:pt x="1779117" y="975532"/>
                  </a:cubicBezTo>
                  <a:close/>
                  <a:moveTo>
                    <a:pt x="1645480" y="975532"/>
                  </a:moveTo>
                  <a:cubicBezTo>
                    <a:pt x="1675963" y="975532"/>
                    <a:pt x="1700679" y="1000242"/>
                    <a:pt x="1700679" y="1030723"/>
                  </a:cubicBezTo>
                  <a:cubicBezTo>
                    <a:pt x="1700679" y="1061204"/>
                    <a:pt x="1675963" y="1085914"/>
                    <a:pt x="1645480" y="1085914"/>
                  </a:cubicBezTo>
                  <a:cubicBezTo>
                    <a:pt x="1615000" y="1085914"/>
                    <a:pt x="1590287" y="1061204"/>
                    <a:pt x="1590287" y="1030723"/>
                  </a:cubicBezTo>
                  <a:cubicBezTo>
                    <a:pt x="1590287" y="1000242"/>
                    <a:pt x="1615000" y="975532"/>
                    <a:pt x="1645480" y="975532"/>
                  </a:cubicBezTo>
                  <a:close/>
                  <a:moveTo>
                    <a:pt x="1515189" y="975532"/>
                  </a:moveTo>
                  <a:cubicBezTo>
                    <a:pt x="1545668" y="975532"/>
                    <a:pt x="1570378" y="1000242"/>
                    <a:pt x="1570378" y="1030723"/>
                  </a:cubicBezTo>
                  <a:cubicBezTo>
                    <a:pt x="1570378" y="1061204"/>
                    <a:pt x="1545668" y="1085914"/>
                    <a:pt x="1515189" y="1085914"/>
                  </a:cubicBezTo>
                  <a:cubicBezTo>
                    <a:pt x="1484708" y="1085914"/>
                    <a:pt x="1459995" y="1061204"/>
                    <a:pt x="1459995" y="1030723"/>
                  </a:cubicBezTo>
                  <a:cubicBezTo>
                    <a:pt x="1459995" y="1000242"/>
                    <a:pt x="1484708" y="975532"/>
                    <a:pt x="1515189" y="975532"/>
                  </a:cubicBezTo>
                  <a:close/>
                  <a:moveTo>
                    <a:pt x="1381549" y="975532"/>
                  </a:moveTo>
                  <a:cubicBezTo>
                    <a:pt x="1412033" y="975532"/>
                    <a:pt x="1436744" y="1000242"/>
                    <a:pt x="1436744" y="1030723"/>
                  </a:cubicBezTo>
                  <a:cubicBezTo>
                    <a:pt x="1436744" y="1061204"/>
                    <a:pt x="1412033" y="1085914"/>
                    <a:pt x="1381549" y="1085914"/>
                  </a:cubicBezTo>
                  <a:cubicBezTo>
                    <a:pt x="1351074" y="1085914"/>
                    <a:pt x="1326361" y="1061204"/>
                    <a:pt x="1326361" y="1030723"/>
                  </a:cubicBezTo>
                  <a:cubicBezTo>
                    <a:pt x="1326361" y="1000242"/>
                    <a:pt x="1351074" y="975532"/>
                    <a:pt x="1381549" y="975532"/>
                  </a:cubicBezTo>
                  <a:close/>
                  <a:moveTo>
                    <a:pt x="1117621" y="975532"/>
                  </a:moveTo>
                  <a:cubicBezTo>
                    <a:pt x="1148103" y="975532"/>
                    <a:pt x="1172814" y="1000242"/>
                    <a:pt x="1172814" y="1030723"/>
                  </a:cubicBezTo>
                  <a:cubicBezTo>
                    <a:pt x="1172814" y="1061204"/>
                    <a:pt x="1148103" y="1085914"/>
                    <a:pt x="1117621" y="1085914"/>
                  </a:cubicBezTo>
                  <a:cubicBezTo>
                    <a:pt x="1087137" y="1085914"/>
                    <a:pt x="1062427" y="1061204"/>
                    <a:pt x="1062427" y="1030723"/>
                  </a:cubicBezTo>
                  <a:cubicBezTo>
                    <a:pt x="1062427" y="1000242"/>
                    <a:pt x="1087137" y="975532"/>
                    <a:pt x="1117621" y="975532"/>
                  </a:cubicBezTo>
                  <a:close/>
                  <a:moveTo>
                    <a:pt x="980643" y="975532"/>
                  </a:moveTo>
                  <a:cubicBezTo>
                    <a:pt x="1011125" y="975532"/>
                    <a:pt x="1035836" y="1000242"/>
                    <a:pt x="1035836" y="1030723"/>
                  </a:cubicBezTo>
                  <a:cubicBezTo>
                    <a:pt x="1035836" y="1061204"/>
                    <a:pt x="1011125" y="1085914"/>
                    <a:pt x="980643" y="1085914"/>
                  </a:cubicBezTo>
                  <a:cubicBezTo>
                    <a:pt x="950159" y="1085914"/>
                    <a:pt x="925449" y="1061204"/>
                    <a:pt x="925449" y="1030723"/>
                  </a:cubicBezTo>
                  <a:cubicBezTo>
                    <a:pt x="925449" y="1000242"/>
                    <a:pt x="950159" y="975532"/>
                    <a:pt x="980643" y="975532"/>
                  </a:cubicBezTo>
                  <a:close/>
                  <a:moveTo>
                    <a:pt x="716703" y="975532"/>
                  </a:moveTo>
                  <a:cubicBezTo>
                    <a:pt x="747185" y="975532"/>
                    <a:pt x="771897" y="1000242"/>
                    <a:pt x="771897" y="1030723"/>
                  </a:cubicBezTo>
                  <a:cubicBezTo>
                    <a:pt x="771897" y="1061204"/>
                    <a:pt x="747185" y="1085914"/>
                    <a:pt x="716703" y="1085914"/>
                  </a:cubicBezTo>
                  <a:cubicBezTo>
                    <a:pt x="686222" y="1085914"/>
                    <a:pt x="661511" y="1061204"/>
                    <a:pt x="661511" y="1030723"/>
                  </a:cubicBezTo>
                  <a:cubicBezTo>
                    <a:pt x="661511" y="1000242"/>
                    <a:pt x="686222" y="975532"/>
                    <a:pt x="716703" y="975532"/>
                  </a:cubicBezTo>
                  <a:close/>
                  <a:moveTo>
                    <a:pt x="583065" y="975532"/>
                  </a:moveTo>
                  <a:cubicBezTo>
                    <a:pt x="613549" y="975532"/>
                    <a:pt x="638258" y="1000242"/>
                    <a:pt x="638258" y="1030723"/>
                  </a:cubicBezTo>
                  <a:cubicBezTo>
                    <a:pt x="638258" y="1061204"/>
                    <a:pt x="613549" y="1085914"/>
                    <a:pt x="583065" y="1085914"/>
                  </a:cubicBezTo>
                  <a:cubicBezTo>
                    <a:pt x="552583" y="1085914"/>
                    <a:pt x="527871" y="1061204"/>
                    <a:pt x="527871" y="1030723"/>
                  </a:cubicBezTo>
                  <a:cubicBezTo>
                    <a:pt x="527871" y="1000242"/>
                    <a:pt x="552583" y="975532"/>
                    <a:pt x="583065" y="975532"/>
                  </a:cubicBezTo>
                  <a:close/>
                  <a:moveTo>
                    <a:pt x="449419" y="975532"/>
                  </a:moveTo>
                  <a:cubicBezTo>
                    <a:pt x="479902" y="975532"/>
                    <a:pt x="504612" y="1000242"/>
                    <a:pt x="504612" y="1030723"/>
                  </a:cubicBezTo>
                  <a:cubicBezTo>
                    <a:pt x="504612" y="1061204"/>
                    <a:pt x="479902" y="1085914"/>
                    <a:pt x="449419" y="1085914"/>
                  </a:cubicBezTo>
                  <a:cubicBezTo>
                    <a:pt x="418936" y="1085914"/>
                    <a:pt x="394227" y="1061204"/>
                    <a:pt x="394227" y="1030723"/>
                  </a:cubicBezTo>
                  <a:cubicBezTo>
                    <a:pt x="394227" y="1000242"/>
                    <a:pt x="418936" y="975532"/>
                    <a:pt x="449419" y="975532"/>
                  </a:cubicBezTo>
                  <a:close/>
                  <a:moveTo>
                    <a:pt x="319124" y="975532"/>
                  </a:moveTo>
                  <a:cubicBezTo>
                    <a:pt x="349606" y="975532"/>
                    <a:pt x="374317" y="1000242"/>
                    <a:pt x="374317" y="1030723"/>
                  </a:cubicBezTo>
                  <a:cubicBezTo>
                    <a:pt x="374317" y="1061204"/>
                    <a:pt x="349606" y="1085914"/>
                    <a:pt x="319124" y="1085914"/>
                  </a:cubicBezTo>
                  <a:cubicBezTo>
                    <a:pt x="288640" y="1085914"/>
                    <a:pt x="263931" y="1061204"/>
                    <a:pt x="263931" y="1030723"/>
                  </a:cubicBezTo>
                  <a:cubicBezTo>
                    <a:pt x="263931" y="1000242"/>
                    <a:pt x="288640" y="975532"/>
                    <a:pt x="319124" y="975532"/>
                  </a:cubicBezTo>
                  <a:close/>
                  <a:moveTo>
                    <a:pt x="185492" y="975532"/>
                  </a:moveTo>
                  <a:cubicBezTo>
                    <a:pt x="215972" y="975532"/>
                    <a:pt x="240682" y="1000242"/>
                    <a:pt x="240682" y="1030723"/>
                  </a:cubicBezTo>
                  <a:cubicBezTo>
                    <a:pt x="240682" y="1061204"/>
                    <a:pt x="215972" y="1085914"/>
                    <a:pt x="185492" y="1085914"/>
                  </a:cubicBezTo>
                  <a:cubicBezTo>
                    <a:pt x="155010" y="1085914"/>
                    <a:pt x="130299" y="1061204"/>
                    <a:pt x="130299" y="1030723"/>
                  </a:cubicBezTo>
                  <a:cubicBezTo>
                    <a:pt x="130299" y="1000242"/>
                    <a:pt x="155010" y="975532"/>
                    <a:pt x="185492" y="975532"/>
                  </a:cubicBezTo>
                  <a:close/>
                  <a:moveTo>
                    <a:pt x="55197" y="975532"/>
                  </a:moveTo>
                  <a:cubicBezTo>
                    <a:pt x="85679" y="975532"/>
                    <a:pt x="110388" y="1000242"/>
                    <a:pt x="110388" y="1030723"/>
                  </a:cubicBezTo>
                  <a:cubicBezTo>
                    <a:pt x="110388" y="1061204"/>
                    <a:pt x="85679" y="1085914"/>
                    <a:pt x="55197" y="1085914"/>
                  </a:cubicBezTo>
                  <a:cubicBezTo>
                    <a:pt x="24715" y="1085914"/>
                    <a:pt x="7" y="1061204"/>
                    <a:pt x="7" y="1030723"/>
                  </a:cubicBezTo>
                  <a:cubicBezTo>
                    <a:pt x="7" y="1000242"/>
                    <a:pt x="24715" y="975532"/>
                    <a:pt x="55197" y="975532"/>
                  </a:cubicBezTo>
                  <a:close/>
                  <a:moveTo>
                    <a:pt x="9469710" y="855263"/>
                  </a:moveTo>
                  <a:cubicBezTo>
                    <a:pt x="9500192" y="855263"/>
                    <a:pt x="9524902" y="879973"/>
                    <a:pt x="9524902" y="910454"/>
                  </a:cubicBezTo>
                  <a:cubicBezTo>
                    <a:pt x="9524902" y="940935"/>
                    <a:pt x="9500192" y="965645"/>
                    <a:pt x="9469710" y="965645"/>
                  </a:cubicBezTo>
                  <a:cubicBezTo>
                    <a:pt x="9439228" y="965645"/>
                    <a:pt x="9414518" y="940935"/>
                    <a:pt x="9414518" y="910454"/>
                  </a:cubicBezTo>
                  <a:cubicBezTo>
                    <a:pt x="9414518" y="879973"/>
                    <a:pt x="9439228" y="855263"/>
                    <a:pt x="9469710" y="855263"/>
                  </a:cubicBezTo>
                  <a:close/>
                  <a:moveTo>
                    <a:pt x="9336075" y="855263"/>
                  </a:moveTo>
                  <a:cubicBezTo>
                    <a:pt x="9366557" y="855263"/>
                    <a:pt x="9391267" y="879973"/>
                    <a:pt x="9391267" y="910454"/>
                  </a:cubicBezTo>
                  <a:cubicBezTo>
                    <a:pt x="9391267" y="940935"/>
                    <a:pt x="9366557" y="965645"/>
                    <a:pt x="9336075" y="965645"/>
                  </a:cubicBezTo>
                  <a:cubicBezTo>
                    <a:pt x="9305593" y="965645"/>
                    <a:pt x="9280883" y="940935"/>
                    <a:pt x="9280883" y="910454"/>
                  </a:cubicBezTo>
                  <a:cubicBezTo>
                    <a:pt x="9280883" y="879973"/>
                    <a:pt x="9305593" y="855263"/>
                    <a:pt x="9336075" y="855263"/>
                  </a:cubicBezTo>
                  <a:close/>
                  <a:moveTo>
                    <a:pt x="9199100" y="855263"/>
                  </a:moveTo>
                  <a:cubicBezTo>
                    <a:pt x="9229582" y="855263"/>
                    <a:pt x="9254292" y="879973"/>
                    <a:pt x="9254292" y="910454"/>
                  </a:cubicBezTo>
                  <a:cubicBezTo>
                    <a:pt x="9254292" y="940935"/>
                    <a:pt x="9229582" y="965645"/>
                    <a:pt x="9199100" y="965645"/>
                  </a:cubicBezTo>
                  <a:cubicBezTo>
                    <a:pt x="9168618" y="965645"/>
                    <a:pt x="9143908" y="940935"/>
                    <a:pt x="9143908" y="910454"/>
                  </a:cubicBezTo>
                  <a:cubicBezTo>
                    <a:pt x="9143908" y="879973"/>
                    <a:pt x="9168618" y="855263"/>
                    <a:pt x="9199100" y="855263"/>
                  </a:cubicBezTo>
                  <a:close/>
                  <a:moveTo>
                    <a:pt x="9068806" y="855263"/>
                  </a:moveTo>
                  <a:cubicBezTo>
                    <a:pt x="9099288" y="855263"/>
                    <a:pt x="9123998" y="879973"/>
                    <a:pt x="9123998" y="910454"/>
                  </a:cubicBezTo>
                  <a:cubicBezTo>
                    <a:pt x="9123998" y="940935"/>
                    <a:pt x="9099288" y="965645"/>
                    <a:pt x="9068806" y="965645"/>
                  </a:cubicBezTo>
                  <a:cubicBezTo>
                    <a:pt x="9038324" y="965645"/>
                    <a:pt x="9013614" y="940935"/>
                    <a:pt x="9013614" y="910454"/>
                  </a:cubicBezTo>
                  <a:cubicBezTo>
                    <a:pt x="9013614" y="879973"/>
                    <a:pt x="9038324" y="855263"/>
                    <a:pt x="9068806" y="855263"/>
                  </a:cubicBezTo>
                  <a:close/>
                  <a:moveTo>
                    <a:pt x="8935170" y="855263"/>
                  </a:moveTo>
                  <a:cubicBezTo>
                    <a:pt x="8965652" y="855263"/>
                    <a:pt x="8990362" y="879973"/>
                    <a:pt x="8990362" y="910454"/>
                  </a:cubicBezTo>
                  <a:cubicBezTo>
                    <a:pt x="8990362" y="940935"/>
                    <a:pt x="8965652" y="965645"/>
                    <a:pt x="8935170" y="965645"/>
                  </a:cubicBezTo>
                  <a:cubicBezTo>
                    <a:pt x="8904688" y="965645"/>
                    <a:pt x="8879978" y="940935"/>
                    <a:pt x="8879978" y="910454"/>
                  </a:cubicBezTo>
                  <a:cubicBezTo>
                    <a:pt x="8879978" y="879973"/>
                    <a:pt x="8904688" y="855263"/>
                    <a:pt x="8935170" y="855263"/>
                  </a:cubicBezTo>
                  <a:close/>
                  <a:moveTo>
                    <a:pt x="8801536" y="855263"/>
                  </a:moveTo>
                  <a:cubicBezTo>
                    <a:pt x="8832018" y="855263"/>
                    <a:pt x="8856728" y="879973"/>
                    <a:pt x="8856728" y="910454"/>
                  </a:cubicBezTo>
                  <a:cubicBezTo>
                    <a:pt x="8856728" y="940935"/>
                    <a:pt x="8832018" y="965645"/>
                    <a:pt x="8801536" y="965645"/>
                  </a:cubicBezTo>
                  <a:cubicBezTo>
                    <a:pt x="8771054" y="965645"/>
                    <a:pt x="8746344" y="940935"/>
                    <a:pt x="8746344" y="910454"/>
                  </a:cubicBezTo>
                  <a:cubicBezTo>
                    <a:pt x="8746344" y="879973"/>
                    <a:pt x="8771054" y="855263"/>
                    <a:pt x="8801536" y="855263"/>
                  </a:cubicBezTo>
                  <a:close/>
                  <a:moveTo>
                    <a:pt x="8671243" y="855263"/>
                  </a:moveTo>
                  <a:cubicBezTo>
                    <a:pt x="8701725" y="855263"/>
                    <a:pt x="8726435" y="879973"/>
                    <a:pt x="8726435" y="910454"/>
                  </a:cubicBezTo>
                  <a:cubicBezTo>
                    <a:pt x="8726435" y="940935"/>
                    <a:pt x="8701725" y="965645"/>
                    <a:pt x="8671243" y="965645"/>
                  </a:cubicBezTo>
                  <a:cubicBezTo>
                    <a:pt x="8640761" y="965645"/>
                    <a:pt x="8616051" y="940935"/>
                    <a:pt x="8616051" y="910454"/>
                  </a:cubicBezTo>
                  <a:cubicBezTo>
                    <a:pt x="8616051" y="879973"/>
                    <a:pt x="8640761" y="855263"/>
                    <a:pt x="8671243" y="855263"/>
                  </a:cubicBezTo>
                  <a:close/>
                  <a:moveTo>
                    <a:pt x="8537609" y="855263"/>
                  </a:moveTo>
                  <a:cubicBezTo>
                    <a:pt x="8568091" y="855263"/>
                    <a:pt x="8592801" y="879973"/>
                    <a:pt x="8592801" y="910454"/>
                  </a:cubicBezTo>
                  <a:cubicBezTo>
                    <a:pt x="8592801" y="940935"/>
                    <a:pt x="8568091" y="965645"/>
                    <a:pt x="8537609" y="965645"/>
                  </a:cubicBezTo>
                  <a:cubicBezTo>
                    <a:pt x="8507127" y="965645"/>
                    <a:pt x="8482417" y="940935"/>
                    <a:pt x="8482417" y="910454"/>
                  </a:cubicBezTo>
                  <a:cubicBezTo>
                    <a:pt x="8482417" y="879973"/>
                    <a:pt x="8507127" y="855263"/>
                    <a:pt x="8537609" y="855263"/>
                  </a:cubicBezTo>
                  <a:close/>
                  <a:moveTo>
                    <a:pt x="8407315" y="855263"/>
                  </a:moveTo>
                  <a:cubicBezTo>
                    <a:pt x="8437797" y="855263"/>
                    <a:pt x="8462507" y="879973"/>
                    <a:pt x="8462507" y="910454"/>
                  </a:cubicBezTo>
                  <a:cubicBezTo>
                    <a:pt x="8462507" y="940935"/>
                    <a:pt x="8437797" y="965645"/>
                    <a:pt x="8407315" y="965645"/>
                  </a:cubicBezTo>
                  <a:cubicBezTo>
                    <a:pt x="8376833" y="965645"/>
                    <a:pt x="8352123" y="940935"/>
                    <a:pt x="8352123" y="910454"/>
                  </a:cubicBezTo>
                  <a:cubicBezTo>
                    <a:pt x="8352123" y="879973"/>
                    <a:pt x="8376833" y="855263"/>
                    <a:pt x="8407315" y="855263"/>
                  </a:cubicBezTo>
                  <a:close/>
                  <a:moveTo>
                    <a:pt x="8273681" y="855263"/>
                  </a:moveTo>
                  <a:cubicBezTo>
                    <a:pt x="8304163" y="855263"/>
                    <a:pt x="8328873" y="879973"/>
                    <a:pt x="8328873" y="910454"/>
                  </a:cubicBezTo>
                  <a:cubicBezTo>
                    <a:pt x="8328873" y="940935"/>
                    <a:pt x="8304163" y="965645"/>
                    <a:pt x="8273681" y="965645"/>
                  </a:cubicBezTo>
                  <a:cubicBezTo>
                    <a:pt x="8243199" y="965645"/>
                    <a:pt x="8218489" y="940935"/>
                    <a:pt x="8218489" y="910454"/>
                  </a:cubicBezTo>
                  <a:cubicBezTo>
                    <a:pt x="8218489" y="879973"/>
                    <a:pt x="8243199" y="855263"/>
                    <a:pt x="8273681" y="855263"/>
                  </a:cubicBezTo>
                  <a:close/>
                  <a:moveTo>
                    <a:pt x="8143386" y="855263"/>
                  </a:moveTo>
                  <a:cubicBezTo>
                    <a:pt x="8173868" y="855263"/>
                    <a:pt x="8198578" y="879973"/>
                    <a:pt x="8198578" y="910454"/>
                  </a:cubicBezTo>
                  <a:cubicBezTo>
                    <a:pt x="8198578" y="940935"/>
                    <a:pt x="8173868" y="965645"/>
                    <a:pt x="8143386" y="965645"/>
                  </a:cubicBezTo>
                  <a:cubicBezTo>
                    <a:pt x="8112904" y="965645"/>
                    <a:pt x="8088194" y="940935"/>
                    <a:pt x="8088194" y="910454"/>
                  </a:cubicBezTo>
                  <a:cubicBezTo>
                    <a:pt x="8088194" y="879973"/>
                    <a:pt x="8112904" y="855263"/>
                    <a:pt x="8143386" y="855263"/>
                  </a:cubicBezTo>
                  <a:close/>
                  <a:moveTo>
                    <a:pt x="8009752" y="855263"/>
                  </a:moveTo>
                  <a:cubicBezTo>
                    <a:pt x="8040234" y="855263"/>
                    <a:pt x="8064944" y="879973"/>
                    <a:pt x="8064944" y="910454"/>
                  </a:cubicBezTo>
                  <a:cubicBezTo>
                    <a:pt x="8064944" y="940935"/>
                    <a:pt x="8040234" y="965645"/>
                    <a:pt x="8009752" y="965645"/>
                  </a:cubicBezTo>
                  <a:cubicBezTo>
                    <a:pt x="7979270" y="965645"/>
                    <a:pt x="7954560" y="940935"/>
                    <a:pt x="7954560" y="910454"/>
                  </a:cubicBezTo>
                  <a:cubicBezTo>
                    <a:pt x="7954560" y="879973"/>
                    <a:pt x="7979270" y="855263"/>
                    <a:pt x="8009752" y="855263"/>
                  </a:cubicBezTo>
                  <a:close/>
                  <a:moveTo>
                    <a:pt x="7876117" y="855263"/>
                  </a:moveTo>
                  <a:cubicBezTo>
                    <a:pt x="7906599" y="855263"/>
                    <a:pt x="7931309" y="879973"/>
                    <a:pt x="7931309" y="910454"/>
                  </a:cubicBezTo>
                  <a:cubicBezTo>
                    <a:pt x="7931309" y="940935"/>
                    <a:pt x="7906599" y="965645"/>
                    <a:pt x="7876117" y="965645"/>
                  </a:cubicBezTo>
                  <a:cubicBezTo>
                    <a:pt x="7845635" y="965645"/>
                    <a:pt x="7820925" y="940935"/>
                    <a:pt x="7820925" y="910454"/>
                  </a:cubicBezTo>
                  <a:cubicBezTo>
                    <a:pt x="7820925" y="879973"/>
                    <a:pt x="7845635" y="855263"/>
                    <a:pt x="7876117" y="855263"/>
                  </a:cubicBezTo>
                  <a:close/>
                  <a:moveTo>
                    <a:pt x="7745822" y="855263"/>
                  </a:moveTo>
                  <a:cubicBezTo>
                    <a:pt x="7776304" y="855263"/>
                    <a:pt x="7801014" y="879973"/>
                    <a:pt x="7801014" y="910454"/>
                  </a:cubicBezTo>
                  <a:cubicBezTo>
                    <a:pt x="7801014" y="940935"/>
                    <a:pt x="7776304" y="965645"/>
                    <a:pt x="7745822" y="965645"/>
                  </a:cubicBezTo>
                  <a:cubicBezTo>
                    <a:pt x="7715340" y="965645"/>
                    <a:pt x="7690630" y="940935"/>
                    <a:pt x="7690630" y="910454"/>
                  </a:cubicBezTo>
                  <a:cubicBezTo>
                    <a:pt x="7690630" y="879973"/>
                    <a:pt x="7715340" y="855263"/>
                    <a:pt x="7745822" y="855263"/>
                  </a:cubicBezTo>
                  <a:close/>
                  <a:moveTo>
                    <a:pt x="7608849" y="855263"/>
                  </a:moveTo>
                  <a:cubicBezTo>
                    <a:pt x="7639331" y="855263"/>
                    <a:pt x="7664041" y="879973"/>
                    <a:pt x="7664041" y="910454"/>
                  </a:cubicBezTo>
                  <a:cubicBezTo>
                    <a:pt x="7664041" y="940935"/>
                    <a:pt x="7639331" y="965645"/>
                    <a:pt x="7608849" y="965645"/>
                  </a:cubicBezTo>
                  <a:cubicBezTo>
                    <a:pt x="7578367" y="965645"/>
                    <a:pt x="7553657" y="940935"/>
                    <a:pt x="7553657" y="910454"/>
                  </a:cubicBezTo>
                  <a:cubicBezTo>
                    <a:pt x="7553657" y="879973"/>
                    <a:pt x="7578367" y="855263"/>
                    <a:pt x="7608849" y="855263"/>
                  </a:cubicBezTo>
                  <a:close/>
                  <a:moveTo>
                    <a:pt x="7481895" y="855263"/>
                  </a:moveTo>
                  <a:cubicBezTo>
                    <a:pt x="7512377" y="855263"/>
                    <a:pt x="7537087" y="879973"/>
                    <a:pt x="7537087" y="910454"/>
                  </a:cubicBezTo>
                  <a:cubicBezTo>
                    <a:pt x="7537087" y="940935"/>
                    <a:pt x="7512377" y="965645"/>
                    <a:pt x="7481895" y="965645"/>
                  </a:cubicBezTo>
                  <a:cubicBezTo>
                    <a:pt x="7451413" y="965645"/>
                    <a:pt x="7426703" y="940935"/>
                    <a:pt x="7426703" y="910454"/>
                  </a:cubicBezTo>
                  <a:cubicBezTo>
                    <a:pt x="7426703" y="879973"/>
                    <a:pt x="7451413" y="855263"/>
                    <a:pt x="7481895" y="855263"/>
                  </a:cubicBezTo>
                  <a:close/>
                  <a:moveTo>
                    <a:pt x="7341578" y="855263"/>
                  </a:moveTo>
                  <a:cubicBezTo>
                    <a:pt x="7372060" y="855263"/>
                    <a:pt x="7396770" y="879973"/>
                    <a:pt x="7396770" y="910454"/>
                  </a:cubicBezTo>
                  <a:cubicBezTo>
                    <a:pt x="7396770" y="940935"/>
                    <a:pt x="7372060" y="965645"/>
                    <a:pt x="7341578" y="965645"/>
                  </a:cubicBezTo>
                  <a:cubicBezTo>
                    <a:pt x="7311096" y="965645"/>
                    <a:pt x="7286386" y="940935"/>
                    <a:pt x="7286386" y="910454"/>
                  </a:cubicBezTo>
                  <a:cubicBezTo>
                    <a:pt x="7286386" y="879973"/>
                    <a:pt x="7311096" y="855263"/>
                    <a:pt x="7341578" y="855263"/>
                  </a:cubicBezTo>
                  <a:close/>
                  <a:moveTo>
                    <a:pt x="7211285" y="855263"/>
                  </a:moveTo>
                  <a:cubicBezTo>
                    <a:pt x="7241767" y="855263"/>
                    <a:pt x="7266477" y="879973"/>
                    <a:pt x="7266477" y="910454"/>
                  </a:cubicBezTo>
                  <a:cubicBezTo>
                    <a:pt x="7266477" y="940935"/>
                    <a:pt x="7241767" y="965645"/>
                    <a:pt x="7211285" y="965645"/>
                  </a:cubicBezTo>
                  <a:cubicBezTo>
                    <a:pt x="7180803" y="965645"/>
                    <a:pt x="7156093" y="940935"/>
                    <a:pt x="7156093" y="910454"/>
                  </a:cubicBezTo>
                  <a:cubicBezTo>
                    <a:pt x="7156093" y="879973"/>
                    <a:pt x="7180803" y="855263"/>
                    <a:pt x="7211285" y="855263"/>
                  </a:cubicBezTo>
                  <a:close/>
                  <a:moveTo>
                    <a:pt x="7080993" y="855263"/>
                  </a:moveTo>
                  <a:cubicBezTo>
                    <a:pt x="7111475" y="855263"/>
                    <a:pt x="7136185" y="879973"/>
                    <a:pt x="7136185" y="910454"/>
                  </a:cubicBezTo>
                  <a:cubicBezTo>
                    <a:pt x="7136185" y="940935"/>
                    <a:pt x="7111475" y="965645"/>
                    <a:pt x="7080993" y="965645"/>
                  </a:cubicBezTo>
                  <a:cubicBezTo>
                    <a:pt x="7050511" y="965645"/>
                    <a:pt x="7025801" y="940935"/>
                    <a:pt x="7025801" y="910454"/>
                  </a:cubicBezTo>
                  <a:cubicBezTo>
                    <a:pt x="7025801" y="879973"/>
                    <a:pt x="7050511" y="855263"/>
                    <a:pt x="7080993" y="855263"/>
                  </a:cubicBezTo>
                  <a:close/>
                  <a:moveTo>
                    <a:pt x="6947357" y="855263"/>
                  </a:moveTo>
                  <a:cubicBezTo>
                    <a:pt x="6977839" y="855263"/>
                    <a:pt x="7002549" y="879973"/>
                    <a:pt x="7002549" y="910454"/>
                  </a:cubicBezTo>
                  <a:cubicBezTo>
                    <a:pt x="7002549" y="940935"/>
                    <a:pt x="6977839" y="965645"/>
                    <a:pt x="6947357" y="965645"/>
                  </a:cubicBezTo>
                  <a:cubicBezTo>
                    <a:pt x="6916875" y="965645"/>
                    <a:pt x="6892165" y="940935"/>
                    <a:pt x="6892165" y="910454"/>
                  </a:cubicBezTo>
                  <a:cubicBezTo>
                    <a:pt x="6892165" y="879973"/>
                    <a:pt x="6916875" y="855263"/>
                    <a:pt x="6947357" y="855263"/>
                  </a:cubicBezTo>
                  <a:close/>
                  <a:moveTo>
                    <a:pt x="6817063" y="855263"/>
                  </a:moveTo>
                  <a:cubicBezTo>
                    <a:pt x="6847545" y="855263"/>
                    <a:pt x="6872255" y="879973"/>
                    <a:pt x="6872255" y="910454"/>
                  </a:cubicBezTo>
                  <a:cubicBezTo>
                    <a:pt x="6872255" y="940935"/>
                    <a:pt x="6847545" y="965645"/>
                    <a:pt x="6817063" y="965645"/>
                  </a:cubicBezTo>
                  <a:cubicBezTo>
                    <a:pt x="6786581" y="965645"/>
                    <a:pt x="6761871" y="940935"/>
                    <a:pt x="6761871" y="910454"/>
                  </a:cubicBezTo>
                  <a:cubicBezTo>
                    <a:pt x="6761871" y="879973"/>
                    <a:pt x="6786581" y="855263"/>
                    <a:pt x="6817063" y="855263"/>
                  </a:cubicBezTo>
                  <a:close/>
                  <a:moveTo>
                    <a:pt x="6683430" y="855263"/>
                  </a:moveTo>
                  <a:cubicBezTo>
                    <a:pt x="6713912" y="855263"/>
                    <a:pt x="6738622" y="879973"/>
                    <a:pt x="6738622" y="910454"/>
                  </a:cubicBezTo>
                  <a:cubicBezTo>
                    <a:pt x="6738622" y="940935"/>
                    <a:pt x="6713912" y="965645"/>
                    <a:pt x="6683430" y="965645"/>
                  </a:cubicBezTo>
                  <a:cubicBezTo>
                    <a:pt x="6652948" y="965645"/>
                    <a:pt x="6628238" y="940935"/>
                    <a:pt x="6628238" y="910454"/>
                  </a:cubicBezTo>
                  <a:cubicBezTo>
                    <a:pt x="6628238" y="879973"/>
                    <a:pt x="6652948" y="855263"/>
                    <a:pt x="6683430" y="855263"/>
                  </a:cubicBezTo>
                  <a:close/>
                  <a:moveTo>
                    <a:pt x="6553135" y="855263"/>
                  </a:moveTo>
                  <a:cubicBezTo>
                    <a:pt x="6583617" y="855263"/>
                    <a:pt x="6608327" y="879973"/>
                    <a:pt x="6608327" y="910454"/>
                  </a:cubicBezTo>
                  <a:cubicBezTo>
                    <a:pt x="6608327" y="940935"/>
                    <a:pt x="6583617" y="965645"/>
                    <a:pt x="6553135" y="965645"/>
                  </a:cubicBezTo>
                  <a:cubicBezTo>
                    <a:pt x="6522653" y="965645"/>
                    <a:pt x="6497943" y="940935"/>
                    <a:pt x="6497943" y="910454"/>
                  </a:cubicBezTo>
                  <a:cubicBezTo>
                    <a:pt x="6497943" y="879973"/>
                    <a:pt x="6522653" y="855263"/>
                    <a:pt x="6553135" y="855263"/>
                  </a:cubicBezTo>
                  <a:close/>
                  <a:moveTo>
                    <a:pt x="6419502" y="855263"/>
                  </a:moveTo>
                  <a:cubicBezTo>
                    <a:pt x="6449984" y="855263"/>
                    <a:pt x="6474694" y="879973"/>
                    <a:pt x="6474694" y="910454"/>
                  </a:cubicBezTo>
                  <a:cubicBezTo>
                    <a:pt x="6474694" y="940935"/>
                    <a:pt x="6449984" y="965645"/>
                    <a:pt x="6419502" y="965645"/>
                  </a:cubicBezTo>
                  <a:cubicBezTo>
                    <a:pt x="6389020" y="965645"/>
                    <a:pt x="6364310" y="940935"/>
                    <a:pt x="6364310" y="910454"/>
                  </a:cubicBezTo>
                  <a:cubicBezTo>
                    <a:pt x="6364310" y="879973"/>
                    <a:pt x="6389020" y="855263"/>
                    <a:pt x="6419502" y="855263"/>
                  </a:cubicBezTo>
                  <a:close/>
                  <a:moveTo>
                    <a:pt x="6289206" y="855263"/>
                  </a:moveTo>
                  <a:cubicBezTo>
                    <a:pt x="6319688" y="855263"/>
                    <a:pt x="6344398" y="879973"/>
                    <a:pt x="6344398" y="910454"/>
                  </a:cubicBezTo>
                  <a:cubicBezTo>
                    <a:pt x="6344398" y="940935"/>
                    <a:pt x="6319688" y="965645"/>
                    <a:pt x="6289206" y="965645"/>
                  </a:cubicBezTo>
                  <a:cubicBezTo>
                    <a:pt x="6258724" y="965645"/>
                    <a:pt x="6234014" y="940935"/>
                    <a:pt x="6234014" y="910454"/>
                  </a:cubicBezTo>
                  <a:cubicBezTo>
                    <a:pt x="6234014" y="879973"/>
                    <a:pt x="6258724" y="855263"/>
                    <a:pt x="6289206" y="855263"/>
                  </a:cubicBezTo>
                  <a:close/>
                  <a:moveTo>
                    <a:pt x="6155571" y="855263"/>
                  </a:moveTo>
                  <a:cubicBezTo>
                    <a:pt x="6186053" y="855263"/>
                    <a:pt x="6210763" y="879973"/>
                    <a:pt x="6210763" y="910454"/>
                  </a:cubicBezTo>
                  <a:cubicBezTo>
                    <a:pt x="6210763" y="940935"/>
                    <a:pt x="6186053" y="965645"/>
                    <a:pt x="6155571" y="965645"/>
                  </a:cubicBezTo>
                  <a:cubicBezTo>
                    <a:pt x="6125089" y="965645"/>
                    <a:pt x="6100379" y="940935"/>
                    <a:pt x="6100379" y="910454"/>
                  </a:cubicBezTo>
                  <a:cubicBezTo>
                    <a:pt x="6100379" y="879973"/>
                    <a:pt x="6125089" y="855263"/>
                    <a:pt x="6155571" y="855263"/>
                  </a:cubicBezTo>
                  <a:close/>
                  <a:moveTo>
                    <a:pt x="6021938" y="855263"/>
                  </a:moveTo>
                  <a:cubicBezTo>
                    <a:pt x="6052420" y="855263"/>
                    <a:pt x="6077130" y="879973"/>
                    <a:pt x="6077130" y="910454"/>
                  </a:cubicBezTo>
                  <a:cubicBezTo>
                    <a:pt x="6077130" y="940935"/>
                    <a:pt x="6052420" y="965645"/>
                    <a:pt x="6021938" y="965645"/>
                  </a:cubicBezTo>
                  <a:cubicBezTo>
                    <a:pt x="5991456" y="965645"/>
                    <a:pt x="5966746" y="940935"/>
                    <a:pt x="5966746" y="910454"/>
                  </a:cubicBezTo>
                  <a:cubicBezTo>
                    <a:pt x="5966746" y="879973"/>
                    <a:pt x="5991456" y="855263"/>
                    <a:pt x="6021938" y="855263"/>
                  </a:cubicBezTo>
                  <a:close/>
                  <a:moveTo>
                    <a:pt x="5884961" y="855263"/>
                  </a:moveTo>
                  <a:cubicBezTo>
                    <a:pt x="5915443" y="855263"/>
                    <a:pt x="5940153" y="879973"/>
                    <a:pt x="5940153" y="910454"/>
                  </a:cubicBezTo>
                  <a:cubicBezTo>
                    <a:pt x="5940153" y="940935"/>
                    <a:pt x="5915443" y="965645"/>
                    <a:pt x="5884961" y="965645"/>
                  </a:cubicBezTo>
                  <a:cubicBezTo>
                    <a:pt x="5854479" y="965645"/>
                    <a:pt x="5829769" y="940935"/>
                    <a:pt x="5829769" y="910454"/>
                  </a:cubicBezTo>
                  <a:cubicBezTo>
                    <a:pt x="5829769" y="879973"/>
                    <a:pt x="5854479" y="855263"/>
                    <a:pt x="5884961" y="855263"/>
                  </a:cubicBezTo>
                  <a:close/>
                  <a:moveTo>
                    <a:pt x="5754668" y="855263"/>
                  </a:moveTo>
                  <a:cubicBezTo>
                    <a:pt x="5785150" y="855263"/>
                    <a:pt x="5809860" y="879973"/>
                    <a:pt x="5809860" y="910454"/>
                  </a:cubicBezTo>
                  <a:cubicBezTo>
                    <a:pt x="5809860" y="940935"/>
                    <a:pt x="5785150" y="965645"/>
                    <a:pt x="5754668" y="965645"/>
                  </a:cubicBezTo>
                  <a:cubicBezTo>
                    <a:pt x="5724186" y="965645"/>
                    <a:pt x="5699476" y="940935"/>
                    <a:pt x="5699476" y="910454"/>
                  </a:cubicBezTo>
                  <a:cubicBezTo>
                    <a:pt x="5699476" y="879973"/>
                    <a:pt x="5724186" y="855263"/>
                    <a:pt x="5754668" y="855263"/>
                  </a:cubicBezTo>
                  <a:close/>
                  <a:moveTo>
                    <a:pt x="5621034" y="855263"/>
                  </a:moveTo>
                  <a:cubicBezTo>
                    <a:pt x="5651516" y="855263"/>
                    <a:pt x="5676226" y="879973"/>
                    <a:pt x="5676226" y="910454"/>
                  </a:cubicBezTo>
                  <a:cubicBezTo>
                    <a:pt x="5676226" y="940935"/>
                    <a:pt x="5651516" y="965645"/>
                    <a:pt x="5621034" y="965645"/>
                  </a:cubicBezTo>
                  <a:cubicBezTo>
                    <a:pt x="5590552" y="965645"/>
                    <a:pt x="5565842" y="940935"/>
                    <a:pt x="5565842" y="910454"/>
                  </a:cubicBezTo>
                  <a:cubicBezTo>
                    <a:pt x="5565842" y="879973"/>
                    <a:pt x="5590552" y="855263"/>
                    <a:pt x="5621034" y="855263"/>
                  </a:cubicBezTo>
                  <a:close/>
                  <a:moveTo>
                    <a:pt x="5487399" y="855263"/>
                  </a:moveTo>
                  <a:cubicBezTo>
                    <a:pt x="5517881" y="855263"/>
                    <a:pt x="5542591" y="879973"/>
                    <a:pt x="5542591" y="910454"/>
                  </a:cubicBezTo>
                  <a:cubicBezTo>
                    <a:pt x="5542591" y="940935"/>
                    <a:pt x="5517881" y="965645"/>
                    <a:pt x="5487399" y="965645"/>
                  </a:cubicBezTo>
                  <a:cubicBezTo>
                    <a:pt x="5456917" y="965645"/>
                    <a:pt x="5432207" y="940935"/>
                    <a:pt x="5432207" y="910454"/>
                  </a:cubicBezTo>
                  <a:cubicBezTo>
                    <a:pt x="5432207" y="879973"/>
                    <a:pt x="5456917" y="855263"/>
                    <a:pt x="5487399" y="855263"/>
                  </a:cubicBezTo>
                  <a:close/>
                  <a:moveTo>
                    <a:pt x="5357105" y="855263"/>
                  </a:moveTo>
                  <a:cubicBezTo>
                    <a:pt x="5387587" y="855263"/>
                    <a:pt x="5412297" y="879973"/>
                    <a:pt x="5412297" y="910454"/>
                  </a:cubicBezTo>
                  <a:cubicBezTo>
                    <a:pt x="5412297" y="940935"/>
                    <a:pt x="5387587" y="965645"/>
                    <a:pt x="5357105" y="965645"/>
                  </a:cubicBezTo>
                  <a:cubicBezTo>
                    <a:pt x="5326623" y="965645"/>
                    <a:pt x="5301913" y="940935"/>
                    <a:pt x="5301913" y="910454"/>
                  </a:cubicBezTo>
                  <a:cubicBezTo>
                    <a:pt x="5301913" y="879973"/>
                    <a:pt x="5326623" y="855263"/>
                    <a:pt x="5357105" y="855263"/>
                  </a:cubicBezTo>
                  <a:close/>
                  <a:moveTo>
                    <a:pt x="5223472" y="855263"/>
                  </a:moveTo>
                  <a:cubicBezTo>
                    <a:pt x="5253954" y="855263"/>
                    <a:pt x="5278664" y="879973"/>
                    <a:pt x="5278664" y="910454"/>
                  </a:cubicBezTo>
                  <a:cubicBezTo>
                    <a:pt x="5278664" y="940935"/>
                    <a:pt x="5253954" y="965645"/>
                    <a:pt x="5223472" y="965645"/>
                  </a:cubicBezTo>
                  <a:cubicBezTo>
                    <a:pt x="5192990" y="965645"/>
                    <a:pt x="5168280" y="940935"/>
                    <a:pt x="5168280" y="910454"/>
                  </a:cubicBezTo>
                  <a:cubicBezTo>
                    <a:pt x="5168280" y="879973"/>
                    <a:pt x="5192990" y="855263"/>
                    <a:pt x="5223472" y="855263"/>
                  </a:cubicBezTo>
                  <a:close/>
                  <a:moveTo>
                    <a:pt x="5093178" y="855263"/>
                  </a:moveTo>
                  <a:cubicBezTo>
                    <a:pt x="5123660" y="855263"/>
                    <a:pt x="5148370" y="879973"/>
                    <a:pt x="5148370" y="910454"/>
                  </a:cubicBezTo>
                  <a:cubicBezTo>
                    <a:pt x="5148370" y="940935"/>
                    <a:pt x="5123660" y="965645"/>
                    <a:pt x="5093178" y="965645"/>
                  </a:cubicBezTo>
                  <a:cubicBezTo>
                    <a:pt x="5062696" y="965645"/>
                    <a:pt x="5037986" y="940935"/>
                    <a:pt x="5037986" y="910454"/>
                  </a:cubicBezTo>
                  <a:cubicBezTo>
                    <a:pt x="5037986" y="879973"/>
                    <a:pt x="5062696" y="855263"/>
                    <a:pt x="5093178" y="855263"/>
                  </a:cubicBezTo>
                  <a:close/>
                  <a:moveTo>
                    <a:pt x="4161076" y="855263"/>
                  </a:moveTo>
                  <a:cubicBezTo>
                    <a:pt x="4191558" y="855263"/>
                    <a:pt x="4216268" y="879973"/>
                    <a:pt x="4216268" y="910454"/>
                  </a:cubicBezTo>
                  <a:cubicBezTo>
                    <a:pt x="4216268" y="940935"/>
                    <a:pt x="4191558" y="965645"/>
                    <a:pt x="4161076" y="965645"/>
                  </a:cubicBezTo>
                  <a:cubicBezTo>
                    <a:pt x="4130594" y="965645"/>
                    <a:pt x="4105884" y="940935"/>
                    <a:pt x="4105884" y="910454"/>
                  </a:cubicBezTo>
                  <a:cubicBezTo>
                    <a:pt x="4105884" y="879973"/>
                    <a:pt x="4130594" y="855263"/>
                    <a:pt x="4161076" y="855263"/>
                  </a:cubicBezTo>
                  <a:close/>
                  <a:moveTo>
                    <a:pt x="3633218" y="855263"/>
                  </a:moveTo>
                  <a:cubicBezTo>
                    <a:pt x="3663700" y="855263"/>
                    <a:pt x="3688410" y="879973"/>
                    <a:pt x="3688410" y="910454"/>
                  </a:cubicBezTo>
                  <a:cubicBezTo>
                    <a:pt x="3688410" y="940935"/>
                    <a:pt x="3663700" y="965645"/>
                    <a:pt x="3633218" y="965645"/>
                  </a:cubicBezTo>
                  <a:cubicBezTo>
                    <a:pt x="3602736" y="965645"/>
                    <a:pt x="3578026" y="940935"/>
                    <a:pt x="3578026" y="910454"/>
                  </a:cubicBezTo>
                  <a:cubicBezTo>
                    <a:pt x="3578026" y="879973"/>
                    <a:pt x="3602736" y="855263"/>
                    <a:pt x="3633218" y="855263"/>
                  </a:cubicBezTo>
                  <a:close/>
                  <a:moveTo>
                    <a:pt x="3499586" y="855263"/>
                  </a:moveTo>
                  <a:cubicBezTo>
                    <a:pt x="3530068" y="855263"/>
                    <a:pt x="3554778" y="879973"/>
                    <a:pt x="3554778" y="910454"/>
                  </a:cubicBezTo>
                  <a:cubicBezTo>
                    <a:pt x="3554778" y="940935"/>
                    <a:pt x="3530068" y="965645"/>
                    <a:pt x="3499586" y="965645"/>
                  </a:cubicBezTo>
                  <a:cubicBezTo>
                    <a:pt x="3469104" y="965645"/>
                    <a:pt x="3444394" y="940935"/>
                    <a:pt x="3444394" y="910454"/>
                  </a:cubicBezTo>
                  <a:cubicBezTo>
                    <a:pt x="3444394" y="879973"/>
                    <a:pt x="3469104" y="855263"/>
                    <a:pt x="3499586" y="855263"/>
                  </a:cubicBezTo>
                  <a:close/>
                  <a:moveTo>
                    <a:pt x="3369290" y="855263"/>
                  </a:moveTo>
                  <a:cubicBezTo>
                    <a:pt x="3399772" y="855263"/>
                    <a:pt x="3424482" y="879973"/>
                    <a:pt x="3424482" y="910454"/>
                  </a:cubicBezTo>
                  <a:cubicBezTo>
                    <a:pt x="3424482" y="940935"/>
                    <a:pt x="3399772" y="965645"/>
                    <a:pt x="3369290" y="965645"/>
                  </a:cubicBezTo>
                  <a:cubicBezTo>
                    <a:pt x="3338808" y="965645"/>
                    <a:pt x="3314098" y="940935"/>
                    <a:pt x="3314098" y="910454"/>
                  </a:cubicBezTo>
                  <a:cubicBezTo>
                    <a:pt x="3314098" y="879973"/>
                    <a:pt x="3338808" y="855263"/>
                    <a:pt x="3369290" y="855263"/>
                  </a:cubicBezTo>
                  <a:close/>
                  <a:moveTo>
                    <a:pt x="2834849" y="855263"/>
                  </a:moveTo>
                  <a:cubicBezTo>
                    <a:pt x="2865329" y="855263"/>
                    <a:pt x="2890040" y="879973"/>
                    <a:pt x="2890040" y="910454"/>
                  </a:cubicBezTo>
                  <a:cubicBezTo>
                    <a:pt x="2890040" y="940935"/>
                    <a:pt x="2865329" y="965645"/>
                    <a:pt x="2834849" y="965645"/>
                  </a:cubicBezTo>
                  <a:cubicBezTo>
                    <a:pt x="2804367" y="965645"/>
                    <a:pt x="2779655" y="940935"/>
                    <a:pt x="2779655" y="910454"/>
                  </a:cubicBezTo>
                  <a:cubicBezTo>
                    <a:pt x="2779655" y="879973"/>
                    <a:pt x="2804367" y="855263"/>
                    <a:pt x="2834849" y="855263"/>
                  </a:cubicBezTo>
                  <a:close/>
                  <a:moveTo>
                    <a:pt x="2707895" y="855263"/>
                  </a:moveTo>
                  <a:cubicBezTo>
                    <a:pt x="2738377" y="855263"/>
                    <a:pt x="2763087" y="879973"/>
                    <a:pt x="2763087" y="910454"/>
                  </a:cubicBezTo>
                  <a:cubicBezTo>
                    <a:pt x="2763087" y="940935"/>
                    <a:pt x="2738377" y="965645"/>
                    <a:pt x="2707895" y="965645"/>
                  </a:cubicBezTo>
                  <a:cubicBezTo>
                    <a:pt x="2677411" y="965645"/>
                    <a:pt x="2652702" y="940935"/>
                    <a:pt x="2652702" y="910454"/>
                  </a:cubicBezTo>
                  <a:cubicBezTo>
                    <a:pt x="2652702" y="879973"/>
                    <a:pt x="2677411" y="855263"/>
                    <a:pt x="2707895" y="855263"/>
                  </a:cubicBezTo>
                  <a:close/>
                  <a:moveTo>
                    <a:pt x="2570919" y="855263"/>
                  </a:moveTo>
                  <a:cubicBezTo>
                    <a:pt x="2601400" y="855263"/>
                    <a:pt x="2626110" y="879973"/>
                    <a:pt x="2626110" y="910454"/>
                  </a:cubicBezTo>
                  <a:cubicBezTo>
                    <a:pt x="2626110" y="940935"/>
                    <a:pt x="2601400" y="965645"/>
                    <a:pt x="2570919" y="965645"/>
                  </a:cubicBezTo>
                  <a:cubicBezTo>
                    <a:pt x="2540436" y="965645"/>
                    <a:pt x="2515724" y="940935"/>
                    <a:pt x="2515724" y="910454"/>
                  </a:cubicBezTo>
                  <a:cubicBezTo>
                    <a:pt x="2515724" y="879973"/>
                    <a:pt x="2540436" y="855263"/>
                    <a:pt x="2570919" y="855263"/>
                  </a:cubicBezTo>
                  <a:close/>
                  <a:moveTo>
                    <a:pt x="2303651" y="855263"/>
                  </a:moveTo>
                  <a:cubicBezTo>
                    <a:pt x="2334134" y="855263"/>
                    <a:pt x="2358843" y="879973"/>
                    <a:pt x="2358843" y="910454"/>
                  </a:cubicBezTo>
                  <a:cubicBezTo>
                    <a:pt x="2358843" y="940935"/>
                    <a:pt x="2334134" y="965645"/>
                    <a:pt x="2303651" y="965645"/>
                  </a:cubicBezTo>
                  <a:cubicBezTo>
                    <a:pt x="2273169" y="965645"/>
                    <a:pt x="2248461" y="940935"/>
                    <a:pt x="2248461" y="910454"/>
                  </a:cubicBezTo>
                  <a:cubicBezTo>
                    <a:pt x="2248461" y="879973"/>
                    <a:pt x="2273169" y="855263"/>
                    <a:pt x="2303651" y="855263"/>
                  </a:cubicBezTo>
                  <a:close/>
                  <a:moveTo>
                    <a:pt x="2173362" y="855263"/>
                  </a:moveTo>
                  <a:cubicBezTo>
                    <a:pt x="2203845" y="855263"/>
                    <a:pt x="2228554" y="879973"/>
                    <a:pt x="2228554" y="910454"/>
                  </a:cubicBezTo>
                  <a:cubicBezTo>
                    <a:pt x="2228554" y="940935"/>
                    <a:pt x="2203845" y="965645"/>
                    <a:pt x="2173362" y="965645"/>
                  </a:cubicBezTo>
                  <a:cubicBezTo>
                    <a:pt x="2142879" y="965645"/>
                    <a:pt x="2118170" y="940935"/>
                    <a:pt x="2118170" y="910454"/>
                  </a:cubicBezTo>
                  <a:cubicBezTo>
                    <a:pt x="2118170" y="879973"/>
                    <a:pt x="2142879" y="855263"/>
                    <a:pt x="2173362" y="855263"/>
                  </a:cubicBezTo>
                  <a:close/>
                  <a:moveTo>
                    <a:pt x="2039725" y="855263"/>
                  </a:moveTo>
                  <a:cubicBezTo>
                    <a:pt x="2070208" y="855263"/>
                    <a:pt x="2094919" y="879973"/>
                    <a:pt x="2094919" y="910454"/>
                  </a:cubicBezTo>
                  <a:cubicBezTo>
                    <a:pt x="2094919" y="940935"/>
                    <a:pt x="2070208" y="965645"/>
                    <a:pt x="2039725" y="965645"/>
                  </a:cubicBezTo>
                  <a:cubicBezTo>
                    <a:pt x="2009244" y="965645"/>
                    <a:pt x="1984533" y="940935"/>
                    <a:pt x="1984533" y="910454"/>
                  </a:cubicBezTo>
                  <a:cubicBezTo>
                    <a:pt x="1984533" y="879973"/>
                    <a:pt x="2009244" y="855263"/>
                    <a:pt x="2039725" y="855263"/>
                  </a:cubicBezTo>
                  <a:close/>
                  <a:moveTo>
                    <a:pt x="1909428" y="855263"/>
                  </a:moveTo>
                  <a:cubicBezTo>
                    <a:pt x="1939911" y="855263"/>
                    <a:pt x="1964620" y="879973"/>
                    <a:pt x="1964620" y="910454"/>
                  </a:cubicBezTo>
                  <a:cubicBezTo>
                    <a:pt x="1964620" y="940935"/>
                    <a:pt x="1939911" y="965645"/>
                    <a:pt x="1909428" y="965645"/>
                  </a:cubicBezTo>
                  <a:cubicBezTo>
                    <a:pt x="1878945" y="965645"/>
                    <a:pt x="1854234" y="940935"/>
                    <a:pt x="1854234" y="910454"/>
                  </a:cubicBezTo>
                  <a:cubicBezTo>
                    <a:pt x="1854234" y="879973"/>
                    <a:pt x="1878945" y="855263"/>
                    <a:pt x="1909428" y="855263"/>
                  </a:cubicBezTo>
                  <a:close/>
                  <a:moveTo>
                    <a:pt x="1779130" y="855263"/>
                  </a:moveTo>
                  <a:cubicBezTo>
                    <a:pt x="1809614" y="855263"/>
                    <a:pt x="1834324" y="879973"/>
                    <a:pt x="1834324" y="910454"/>
                  </a:cubicBezTo>
                  <a:cubicBezTo>
                    <a:pt x="1834324" y="940935"/>
                    <a:pt x="1809614" y="965645"/>
                    <a:pt x="1779130" y="965645"/>
                  </a:cubicBezTo>
                  <a:cubicBezTo>
                    <a:pt x="1748649" y="965645"/>
                    <a:pt x="1723937" y="940935"/>
                    <a:pt x="1723937" y="910454"/>
                  </a:cubicBezTo>
                  <a:cubicBezTo>
                    <a:pt x="1723937" y="879973"/>
                    <a:pt x="1748649" y="855263"/>
                    <a:pt x="1779130" y="855263"/>
                  </a:cubicBezTo>
                  <a:close/>
                  <a:moveTo>
                    <a:pt x="1645495" y="855263"/>
                  </a:moveTo>
                  <a:cubicBezTo>
                    <a:pt x="1675980" y="855263"/>
                    <a:pt x="1700693" y="879973"/>
                    <a:pt x="1700693" y="910454"/>
                  </a:cubicBezTo>
                  <a:cubicBezTo>
                    <a:pt x="1700693" y="940935"/>
                    <a:pt x="1675980" y="965645"/>
                    <a:pt x="1645495" y="965645"/>
                  </a:cubicBezTo>
                  <a:cubicBezTo>
                    <a:pt x="1615015" y="965645"/>
                    <a:pt x="1590303" y="940935"/>
                    <a:pt x="1590303" y="910454"/>
                  </a:cubicBezTo>
                  <a:cubicBezTo>
                    <a:pt x="1590303" y="879973"/>
                    <a:pt x="1615015" y="855263"/>
                    <a:pt x="1645495" y="855263"/>
                  </a:cubicBezTo>
                  <a:close/>
                  <a:moveTo>
                    <a:pt x="1515206" y="855263"/>
                  </a:moveTo>
                  <a:cubicBezTo>
                    <a:pt x="1545685" y="855263"/>
                    <a:pt x="1570391" y="879973"/>
                    <a:pt x="1570391" y="910454"/>
                  </a:cubicBezTo>
                  <a:cubicBezTo>
                    <a:pt x="1570391" y="940935"/>
                    <a:pt x="1545685" y="965645"/>
                    <a:pt x="1515206" y="965645"/>
                  </a:cubicBezTo>
                  <a:cubicBezTo>
                    <a:pt x="1484723" y="965645"/>
                    <a:pt x="1460009" y="940935"/>
                    <a:pt x="1460009" y="910454"/>
                  </a:cubicBezTo>
                  <a:cubicBezTo>
                    <a:pt x="1460009" y="879973"/>
                    <a:pt x="1484723" y="855263"/>
                    <a:pt x="1515206" y="855263"/>
                  </a:cubicBezTo>
                  <a:close/>
                  <a:moveTo>
                    <a:pt x="1381566" y="855263"/>
                  </a:moveTo>
                  <a:cubicBezTo>
                    <a:pt x="1412046" y="855263"/>
                    <a:pt x="1436758" y="879973"/>
                    <a:pt x="1436758" y="910454"/>
                  </a:cubicBezTo>
                  <a:cubicBezTo>
                    <a:pt x="1436758" y="940935"/>
                    <a:pt x="1412046" y="965645"/>
                    <a:pt x="1381566" y="965645"/>
                  </a:cubicBezTo>
                  <a:cubicBezTo>
                    <a:pt x="1351086" y="965645"/>
                    <a:pt x="1326375" y="940935"/>
                    <a:pt x="1326375" y="910454"/>
                  </a:cubicBezTo>
                  <a:cubicBezTo>
                    <a:pt x="1326375" y="879973"/>
                    <a:pt x="1351086" y="855263"/>
                    <a:pt x="1381566" y="855263"/>
                  </a:cubicBezTo>
                  <a:close/>
                  <a:moveTo>
                    <a:pt x="1251271" y="855263"/>
                  </a:moveTo>
                  <a:cubicBezTo>
                    <a:pt x="1281752" y="855263"/>
                    <a:pt x="1306464" y="879973"/>
                    <a:pt x="1306464" y="910454"/>
                  </a:cubicBezTo>
                  <a:cubicBezTo>
                    <a:pt x="1306464" y="940935"/>
                    <a:pt x="1281752" y="965645"/>
                    <a:pt x="1251271" y="965645"/>
                  </a:cubicBezTo>
                  <a:cubicBezTo>
                    <a:pt x="1220788" y="965645"/>
                    <a:pt x="1196078" y="940935"/>
                    <a:pt x="1196078" y="910454"/>
                  </a:cubicBezTo>
                  <a:cubicBezTo>
                    <a:pt x="1196078" y="879973"/>
                    <a:pt x="1220788" y="855263"/>
                    <a:pt x="1251271" y="855263"/>
                  </a:cubicBezTo>
                  <a:close/>
                  <a:moveTo>
                    <a:pt x="1117634" y="855263"/>
                  </a:moveTo>
                  <a:cubicBezTo>
                    <a:pt x="1148117" y="855263"/>
                    <a:pt x="1172828" y="879973"/>
                    <a:pt x="1172828" y="910454"/>
                  </a:cubicBezTo>
                  <a:cubicBezTo>
                    <a:pt x="1172828" y="940935"/>
                    <a:pt x="1148117" y="965645"/>
                    <a:pt x="1117634" y="965645"/>
                  </a:cubicBezTo>
                  <a:cubicBezTo>
                    <a:pt x="1087150" y="965645"/>
                    <a:pt x="1062440" y="940935"/>
                    <a:pt x="1062440" y="910454"/>
                  </a:cubicBezTo>
                  <a:cubicBezTo>
                    <a:pt x="1062440" y="879973"/>
                    <a:pt x="1087150" y="855263"/>
                    <a:pt x="1117634" y="855263"/>
                  </a:cubicBezTo>
                  <a:close/>
                  <a:moveTo>
                    <a:pt x="980654" y="855263"/>
                  </a:moveTo>
                  <a:cubicBezTo>
                    <a:pt x="1011137" y="855263"/>
                    <a:pt x="1035848" y="879973"/>
                    <a:pt x="1035848" y="910454"/>
                  </a:cubicBezTo>
                  <a:cubicBezTo>
                    <a:pt x="1035848" y="940935"/>
                    <a:pt x="1011137" y="965645"/>
                    <a:pt x="980654" y="965645"/>
                  </a:cubicBezTo>
                  <a:cubicBezTo>
                    <a:pt x="950172" y="965645"/>
                    <a:pt x="925460" y="940935"/>
                    <a:pt x="925460" y="910454"/>
                  </a:cubicBezTo>
                  <a:cubicBezTo>
                    <a:pt x="925460" y="879973"/>
                    <a:pt x="950172" y="855263"/>
                    <a:pt x="980654" y="855263"/>
                  </a:cubicBezTo>
                  <a:close/>
                  <a:moveTo>
                    <a:pt x="847016" y="855263"/>
                  </a:moveTo>
                  <a:cubicBezTo>
                    <a:pt x="877497" y="855263"/>
                    <a:pt x="902209" y="879973"/>
                    <a:pt x="902209" y="910454"/>
                  </a:cubicBezTo>
                  <a:cubicBezTo>
                    <a:pt x="902209" y="940935"/>
                    <a:pt x="877497" y="965645"/>
                    <a:pt x="847016" y="965645"/>
                  </a:cubicBezTo>
                  <a:cubicBezTo>
                    <a:pt x="816533" y="965645"/>
                    <a:pt x="791816" y="940935"/>
                    <a:pt x="791816" y="910454"/>
                  </a:cubicBezTo>
                  <a:cubicBezTo>
                    <a:pt x="791816" y="879973"/>
                    <a:pt x="816533" y="855263"/>
                    <a:pt x="847016" y="855263"/>
                  </a:cubicBezTo>
                  <a:close/>
                  <a:moveTo>
                    <a:pt x="716709" y="855263"/>
                  </a:moveTo>
                  <a:cubicBezTo>
                    <a:pt x="747196" y="855263"/>
                    <a:pt x="771907" y="879973"/>
                    <a:pt x="771907" y="910454"/>
                  </a:cubicBezTo>
                  <a:cubicBezTo>
                    <a:pt x="771907" y="940935"/>
                    <a:pt x="747196" y="965645"/>
                    <a:pt x="716709" y="965645"/>
                  </a:cubicBezTo>
                  <a:cubicBezTo>
                    <a:pt x="686233" y="965645"/>
                    <a:pt x="661522" y="940935"/>
                    <a:pt x="661522" y="910454"/>
                  </a:cubicBezTo>
                  <a:cubicBezTo>
                    <a:pt x="661522" y="879973"/>
                    <a:pt x="686233" y="855263"/>
                    <a:pt x="716709" y="855263"/>
                  </a:cubicBezTo>
                  <a:close/>
                  <a:moveTo>
                    <a:pt x="583074" y="855263"/>
                  </a:moveTo>
                  <a:cubicBezTo>
                    <a:pt x="613557" y="855263"/>
                    <a:pt x="638268" y="879973"/>
                    <a:pt x="638268" y="910454"/>
                  </a:cubicBezTo>
                  <a:cubicBezTo>
                    <a:pt x="638268" y="940935"/>
                    <a:pt x="613557" y="965645"/>
                    <a:pt x="583074" y="965645"/>
                  </a:cubicBezTo>
                  <a:cubicBezTo>
                    <a:pt x="552591" y="965645"/>
                    <a:pt x="527881" y="940935"/>
                    <a:pt x="527881" y="910454"/>
                  </a:cubicBezTo>
                  <a:cubicBezTo>
                    <a:pt x="527881" y="879973"/>
                    <a:pt x="552591" y="855263"/>
                    <a:pt x="583074" y="855263"/>
                  </a:cubicBezTo>
                  <a:close/>
                  <a:moveTo>
                    <a:pt x="9867273" y="855260"/>
                  </a:moveTo>
                  <a:cubicBezTo>
                    <a:pt x="9897755" y="855260"/>
                    <a:pt x="9922465" y="879970"/>
                    <a:pt x="9922465" y="910451"/>
                  </a:cubicBezTo>
                  <a:cubicBezTo>
                    <a:pt x="9922465" y="940932"/>
                    <a:pt x="9897755" y="965642"/>
                    <a:pt x="9867273" y="965642"/>
                  </a:cubicBezTo>
                  <a:cubicBezTo>
                    <a:pt x="9836791" y="965642"/>
                    <a:pt x="9812081" y="940932"/>
                    <a:pt x="9812081" y="910451"/>
                  </a:cubicBezTo>
                  <a:cubicBezTo>
                    <a:pt x="9812081" y="879970"/>
                    <a:pt x="9836791" y="855260"/>
                    <a:pt x="9867273" y="855260"/>
                  </a:cubicBezTo>
                  <a:close/>
                  <a:moveTo>
                    <a:pt x="9733637" y="855260"/>
                  </a:moveTo>
                  <a:cubicBezTo>
                    <a:pt x="9764119" y="855260"/>
                    <a:pt x="9788829" y="879970"/>
                    <a:pt x="9788829" y="910451"/>
                  </a:cubicBezTo>
                  <a:cubicBezTo>
                    <a:pt x="9788829" y="940932"/>
                    <a:pt x="9764119" y="965642"/>
                    <a:pt x="9733637" y="965642"/>
                  </a:cubicBezTo>
                  <a:cubicBezTo>
                    <a:pt x="9703155" y="965642"/>
                    <a:pt x="9678445" y="940932"/>
                    <a:pt x="9678445" y="910451"/>
                  </a:cubicBezTo>
                  <a:cubicBezTo>
                    <a:pt x="9678445" y="879970"/>
                    <a:pt x="9703155" y="855260"/>
                    <a:pt x="9733637" y="855260"/>
                  </a:cubicBezTo>
                  <a:close/>
                  <a:moveTo>
                    <a:pt x="9603343" y="855260"/>
                  </a:moveTo>
                  <a:cubicBezTo>
                    <a:pt x="9633825" y="855260"/>
                    <a:pt x="9658535" y="879970"/>
                    <a:pt x="9658535" y="910451"/>
                  </a:cubicBezTo>
                  <a:cubicBezTo>
                    <a:pt x="9658535" y="940932"/>
                    <a:pt x="9633825" y="965642"/>
                    <a:pt x="9603343" y="965642"/>
                  </a:cubicBezTo>
                  <a:cubicBezTo>
                    <a:pt x="9572861" y="965642"/>
                    <a:pt x="9548151" y="940932"/>
                    <a:pt x="9548151" y="910451"/>
                  </a:cubicBezTo>
                  <a:cubicBezTo>
                    <a:pt x="9548151" y="879970"/>
                    <a:pt x="9572861" y="855260"/>
                    <a:pt x="9603343" y="855260"/>
                  </a:cubicBezTo>
                  <a:close/>
                  <a:moveTo>
                    <a:pt x="449429" y="855260"/>
                  </a:moveTo>
                  <a:cubicBezTo>
                    <a:pt x="479910" y="855260"/>
                    <a:pt x="504621" y="879970"/>
                    <a:pt x="504621" y="910451"/>
                  </a:cubicBezTo>
                  <a:cubicBezTo>
                    <a:pt x="504621" y="940932"/>
                    <a:pt x="479910" y="965642"/>
                    <a:pt x="449429" y="965642"/>
                  </a:cubicBezTo>
                  <a:cubicBezTo>
                    <a:pt x="418945" y="965642"/>
                    <a:pt x="394234" y="940932"/>
                    <a:pt x="394234" y="910451"/>
                  </a:cubicBezTo>
                  <a:cubicBezTo>
                    <a:pt x="394234" y="879970"/>
                    <a:pt x="418945" y="855260"/>
                    <a:pt x="449429" y="855260"/>
                  </a:cubicBezTo>
                  <a:close/>
                  <a:moveTo>
                    <a:pt x="319132" y="855260"/>
                  </a:moveTo>
                  <a:cubicBezTo>
                    <a:pt x="349615" y="855260"/>
                    <a:pt x="374326" y="879970"/>
                    <a:pt x="374326" y="910451"/>
                  </a:cubicBezTo>
                  <a:cubicBezTo>
                    <a:pt x="374326" y="940932"/>
                    <a:pt x="349615" y="965642"/>
                    <a:pt x="319132" y="965642"/>
                  </a:cubicBezTo>
                  <a:cubicBezTo>
                    <a:pt x="288649" y="965642"/>
                    <a:pt x="263940" y="940932"/>
                    <a:pt x="263940" y="910451"/>
                  </a:cubicBezTo>
                  <a:cubicBezTo>
                    <a:pt x="263940" y="879970"/>
                    <a:pt x="288649" y="855260"/>
                    <a:pt x="319132" y="855260"/>
                  </a:cubicBezTo>
                  <a:close/>
                  <a:moveTo>
                    <a:pt x="185499" y="855260"/>
                  </a:moveTo>
                  <a:cubicBezTo>
                    <a:pt x="215981" y="855260"/>
                    <a:pt x="240690" y="879970"/>
                    <a:pt x="240690" y="910451"/>
                  </a:cubicBezTo>
                  <a:cubicBezTo>
                    <a:pt x="240690" y="940932"/>
                    <a:pt x="215981" y="965642"/>
                    <a:pt x="185499" y="965642"/>
                  </a:cubicBezTo>
                  <a:cubicBezTo>
                    <a:pt x="155018" y="965642"/>
                    <a:pt x="130308" y="940932"/>
                    <a:pt x="130308" y="910451"/>
                  </a:cubicBezTo>
                  <a:cubicBezTo>
                    <a:pt x="130308" y="879970"/>
                    <a:pt x="155018" y="855260"/>
                    <a:pt x="185499" y="855260"/>
                  </a:cubicBezTo>
                  <a:close/>
                  <a:moveTo>
                    <a:pt x="9733637" y="724970"/>
                  </a:moveTo>
                  <a:cubicBezTo>
                    <a:pt x="9764119" y="724970"/>
                    <a:pt x="9788829" y="749680"/>
                    <a:pt x="9788829" y="780161"/>
                  </a:cubicBezTo>
                  <a:cubicBezTo>
                    <a:pt x="9788829" y="810642"/>
                    <a:pt x="9764119" y="835352"/>
                    <a:pt x="9733637" y="835352"/>
                  </a:cubicBezTo>
                  <a:cubicBezTo>
                    <a:pt x="9703155" y="835352"/>
                    <a:pt x="9678445" y="810642"/>
                    <a:pt x="9678445" y="780161"/>
                  </a:cubicBezTo>
                  <a:cubicBezTo>
                    <a:pt x="9678445" y="749680"/>
                    <a:pt x="9703155" y="724970"/>
                    <a:pt x="9733637" y="724970"/>
                  </a:cubicBezTo>
                  <a:close/>
                  <a:moveTo>
                    <a:pt x="9603344" y="724970"/>
                  </a:moveTo>
                  <a:cubicBezTo>
                    <a:pt x="9633826" y="724970"/>
                    <a:pt x="9658536" y="749680"/>
                    <a:pt x="9658536" y="780161"/>
                  </a:cubicBezTo>
                  <a:cubicBezTo>
                    <a:pt x="9658536" y="810642"/>
                    <a:pt x="9633826" y="835352"/>
                    <a:pt x="9603344" y="835352"/>
                  </a:cubicBezTo>
                  <a:cubicBezTo>
                    <a:pt x="9572862" y="835352"/>
                    <a:pt x="9548152" y="810642"/>
                    <a:pt x="9548152" y="780161"/>
                  </a:cubicBezTo>
                  <a:cubicBezTo>
                    <a:pt x="9548152" y="749680"/>
                    <a:pt x="9572862" y="724970"/>
                    <a:pt x="9603344" y="724970"/>
                  </a:cubicBezTo>
                  <a:close/>
                  <a:moveTo>
                    <a:pt x="9469710" y="724970"/>
                  </a:moveTo>
                  <a:cubicBezTo>
                    <a:pt x="9500192" y="724970"/>
                    <a:pt x="9524902" y="749680"/>
                    <a:pt x="9524902" y="780161"/>
                  </a:cubicBezTo>
                  <a:cubicBezTo>
                    <a:pt x="9524902" y="810642"/>
                    <a:pt x="9500192" y="835352"/>
                    <a:pt x="9469710" y="835352"/>
                  </a:cubicBezTo>
                  <a:cubicBezTo>
                    <a:pt x="9439228" y="835352"/>
                    <a:pt x="9414518" y="810642"/>
                    <a:pt x="9414518" y="780161"/>
                  </a:cubicBezTo>
                  <a:cubicBezTo>
                    <a:pt x="9414518" y="749680"/>
                    <a:pt x="9439228" y="724970"/>
                    <a:pt x="9469710" y="724970"/>
                  </a:cubicBezTo>
                  <a:close/>
                  <a:moveTo>
                    <a:pt x="9336075" y="724970"/>
                  </a:moveTo>
                  <a:cubicBezTo>
                    <a:pt x="9366557" y="724970"/>
                    <a:pt x="9391267" y="749680"/>
                    <a:pt x="9391267" y="780161"/>
                  </a:cubicBezTo>
                  <a:cubicBezTo>
                    <a:pt x="9391267" y="810642"/>
                    <a:pt x="9366557" y="835352"/>
                    <a:pt x="9336075" y="835352"/>
                  </a:cubicBezTo>
                  <a:cubicBezTo>
                    <a:pt x="9305593" y="835352"/>
                    <a:pt x="9280883" y="810642"/>
                    <a:pt x="9280883" y="780161"/>
                  </a:cubicBezTo>
                  <a:cubicBezTo>
                    <a:pt x="9280883" y="749680"/>
                    <a:pt x="9305593" y="724970"/>
                    <a:pt x="9336075" y="724970"/>
                  </a:cubicBezTo>
                  <a:close/>
                  <a:moveTo>
                    <a:pt x="9199100" y="724970"/>
                  </a:moveTo>
                  <a:cubicBezTo>
                    <a:pt x="9229582" y="724970"/>
                    <a:pt x="9254292" y="749680"/>
                    <a:pt x="9254292" y="780161"/>
                  </a:cubicBezTo>
                  <a:cubicBezTo>
                    <a:pt x="9254292" y="810642"/>
                    <a:pt x="9229582" y="835352"/>
                    <a:pt x="9199100" y="835352"/>
                  </a:cubicBezTo>
                  <a:cubicBezTo>
                    <a:pt x="9168618" y="835352"/>
                    <a:pt x="9143908" y="810642"/>
                    <a:pt x="9143908" y="780161"/>
                  </a:cubicBezTo>
                  <a:cubicBezTo>
                    <a:pt x="9143908" y="749680"/>
                    <a:pt x="9168618" y="724970"/>
                    <a:pt x="9199100" y="724970"/>
                  </a:cubicBezTo>
                  <a:close/>
                  <a:moveTo>
                    <a:pt x="9068806" y="724970"/>
                  </a:moveTo>
                  <a:cubicBezTo>
                    <a:pt x="9099288" y="724970"/>
                    <a:pt x="9123998" y="749680"/>
                    <a:pt x="9123998" y="780161"/>
                  </a:cubicBezTo>
                  <a:cubicBezTo>
                    <a:pt x="9123998" y="810642"/>
                    <a:pt x="9099288" y="835352"/>
                    <a:pt x="9068806" y="835352"/>
                  </a:cubicBezTo>
                  <a:cubicBezTo>
                    <a:pt x="9038324" y="835352"/>
                    <a:pt x="9013614" y="810642"/>
                    <a:pt x="9013614" y="780161"/>
                  </a:cubicBezTo>
                  <a:cubicBezTo>
                    <a:pt x="9013614" y="749680"/>
                    <a:pt x="9038324" y="724970"/>
                    <a:pt x="9068806" y="724970"/>
                  </a:cubicBezTo>
                  <a:close/>
                  <a:moveTo>
                    <a:pt x="8935170" y="724970"/>
                  </a:moveTo>
                  <a:cubicBezTo>
                    <a:pt x="8965652" y="724970"/>
                    <a:pt x="8990362" y="749680"/>
                    <a:pt x="8990362" y="780161"/>
                  </a:cubicBezTo>
                  <a:cubicBezTo>
                    <a:pt x="8990362" y="810642"/>
                    <a:pt x="8965652" y="835352"/>
                    <a:pt x="8935170" y="835352"/>
                  </a:cubicBezTo>
                  <a:cubicBezTo>
                    <a:pt x="8904688" y="835352"/>
                    <a:pt x="8879978" y="810642"/>
                    <a:pt x="8879978" y="780161"/>
                  </a:cubicBezTo>
                  <a:cubicBezTo>
                    <a:pt x="8879978" y="749680"/>
                    <a:pt x="8904688" y="724970"/>
                    <a:pt x="8935170" y="724970"/>
                  </a:cubicBezTo>
                  <a:close/>
                  <a:moveTo>
                    <a:pt x="8801536" y="724970"/>
                  </a:moveTo>
                  <a:cubicBezTo>
                    <a:pt x="8832018" y="724970"/>
                    <a:pt x="8856728" y="749680"/>
                    <a:pt x="8856728" y="780161"/>
                  </a:cubicBezTo>
                  <a:cubicBezTo>
                    <a:pt x="8856728" y="810642"/>
                    <a:pt x="8832018" y="835352"/>
                    <a:pt x="8801536" y="835352"/>
                  </a:cubicBezTo>
                  <a:cubicBezTo>
                    <a:pt x="8771054" y="835352"/>
                    <a:pt x="8746344" y="810642"/>
                    <a:pt x="8746344" y="780161"/>
                  </a:cubicBezTo>
                  <a:cubicBezTo>
                    <a:pt x="8746344" y="749680"/>
                    <a:pt x="8771054" y="724970"/>
                    <a:pt x="8801536" y="724970"/>
                  </a:cubicBezTo>
                  <a:close/>
                  <a:moveTo>
                    <a:pt x="8671243" y="724970"/>
                  </a:moveTo>
                  <a:cubicBezTo>
                    <a:pt x="8701725" y="724970"/>
                    <a:pt x="8726435" y="749680"/>
                    <a:pt x="8726435" y="780161"/>
                  </a:cubicBezTo>
                  <a:cubicBezTo>
                    <a:pt x="8726435" y="810642"/>
                    <a:pt x="8701725" y="835352"/>
                    <a:pt x="8671243" y="835352"/>
                  </a:cubicBezTo>
                  <a:cubicBezTo>
                    <a:pt x="8640761" y="835352"/>
                    <a:pt x="8616051" y="810642"/>
                    <a:pt x="8616051" y="780161"/>
                  </a:cubicBezTo>
                  <a:cubicBezTo>
                    <a:pt x="8616051" y="749680"/>
                    <a:pt x="8640761" y="724970"/>
                    <a:pt x="8671243" y="724970"/>
                  </a:cubicBezTo>
                  <a:close/>
                  <a:moveTo>
                    <a:pt x="8537609" y="724970"/>
                  </a:moveTo>
                  <a:cubicBezTo>
                    <a:pt x="8568091" y="724970"/>
                    <a:pt x="8592801" y="749680"/>
                    <a:pt x="8592801" y="780161"/>
                  </a:cubicBezTo>
                  <a:cubicBezTo>
                    <a:pt x="8592801" y="810642"/>
                    <a:pt x="8568091" y="835352"/>
                    <a:pt x="8537609" y="835352"/>
                  </a:cubicBezTo>
                  <a:cubicBezTo>
                    <a:pt x="8507127" y="835352"/>
                    <a:pt x="8482417" y="810642"/>
                    <a:pt x="8482417" y="780161"/>
                  </a:cubicBezTo>
                  <a:cubicBezTo>
                    <a:pt x="8482417" y="749680"/>
                    <a:pt x="8507127" y="724970"/>
                    <a:pt x="8537609" y="724970"/>
                  </a:cubicBezTo>
                  <a:close/>
                  <a:moveTo>
                    <a:pt x="8407318" y="724970"/>
                  </a:moveTo>
                  <a:cubicBezTo>
                    <a:pt x="8437800" y="724970"/>
                    <a:pt x="8462510" y="749680"/>
                    <a:pt x="8462510" y="780161"/>
                  </a:cubicBezTo>
                  <a:cubicBezTo>
                    <a:pt x="8462510" y="810642"/>
                    <a:pt x="8437800" y="835352"/>
                    <a:pt x="8407318" y="835352"/>
                  </a:cubicBezTo>
                  <a:cubicBezTo>
                    <a:pt x="8376836" y="835352"/>
                    <a:pt x="8352126" y="810642"/>
                    <a:pt x="8352126" y="780161"/>
                  </a:cubicBezTo>
                  <a:cubicBezTo>
                    <a:pt x="8352126" y="749680"/>
                    <a:pt x="8376836" y="724970"/>
                    <a:pt x="8407318" y="724970"/>
                  </a:cubicBezTo>
                  <a:close/>
                  <a:moveTo>
                    <a:pt x="8273682" y="724970"/>
                  </a:moveTo>
                  <a:cubicBezTo>
                    <a:pt x="8304164" y="724970"/>
                    <a:pt x="8328874" y="749680"/>
                    <a:pt x="8328874" y="780161"/>
                  </a:cubicBezTo>
                  <a:cubicBezTo>
                    <a:pt x="8328874" y="810642"/>
                    <a:pt x="8304164" y="835352"/>
                    <a:pt x="8273682" y="835352"/>
                  </a:cubicBezTo>
                  <a:cubicBezTo>
                    <a:pt x="8243200" y="835352"/>
                    <a:pt x="8218490" y="810642"/>
                    <a:pt x="8218490" y="780161"/>
                  </a:cubicBezTo>
                  <a:cubicBezTo>
                    <a:pt x="8218490" y="749680"/>
                    <a:pt x="8243200" y="724970"/>
                    <a:pt x="8273682" y="724970"/>
                  </a:cubicBezTo>
                  <a:close/>
                  <a:moveTo>
                    <a:pt x="8143386" y="724970"/>
                  </a:moveTo>
                  <a:cubicBezTo>
                    <a:pt x="8173868" y="724970"/>
                    <a:pt x="8198578" y="749680"/>
                    <a:pt x="8198578" y="780161"/>
                  </a:cubicBezTo>
                  <a:cubicBezTo>
                    <a:pt x="8198578" y="810642"/>
                    <a:pt x="8173868" y="835352"/>
                    <a:pt x="8143386" y="835352"/>
                  </a:cubicBezTo>
                  <a:cubicBezTo>
                    <a:pt x="8112904" y="835352"/>
                    <a:pt x="8088194" y="810642"/>
                    <a:pt x="8088194" y="780161"/>
                  </a:cubicBezTo>
                  <a:cubicBezTo>
                    <a:pt x="8088194" y="749680"/>
                    <a:pt x="8112904" y="724970"/>
                    <a:pt x="8143386" y="724970"/>
                  </a:cubicBezTo>
                  <a:close/>
                  <a:moveTo>
                    <a:pt x="8009753" y="724970"/>
                  </a:moveTo>
                  <a:cubicBezTo>
                    <a:pt x="8040235" y="724970"/>
                    <a:pt x="8064945" y="749680"/>
                    <a:pt x="8064945" y="780161"/>
                  </a:cubicBezTo>
                  <a:cubicBezTo>
                    <a:pt x="8064945" y="810642"/>
                    <a:pt x="8040235" y="835352"/>
                    <a:pt x="8009753" y="835352"/>
                  </a:cubicBezTo>
                  <a:cubicBezTo>
                    <a:pt x="7979271" y="835352"/>
                    <a:pt x="7954561" y="810642"/>
                    <a:pt x="7954561" y="780161"/>
                  </a:cubicBezTo>
                  <a:cubicBezTo>
                    <a:pt x="7954561" y="749680"/>
                    <a:pt x="7979271" y="724970"/>
                    <a:pt x="8009753" y="724970"/>
                  </a:cubicBezTo>
                  <a:close/>
                  <a:moveTo>
                    <a:pt x="7876118" y="724970"/>
                  </a:moveTo>
                  <a:cubicBezTo>
                    <a:pt x="7906600" y="724970"/>
                    <a:pt x="7931310" y="749680"/>
                    <a:pt x="7931310" y="780161"/>
                  </a:cubicBezTo>
                  <a:cubicBezTo>
                    <a:pt x="7931310" y="810642"/>
                    <a:pt x="7906600" y="835352"/>
                    <a:pt x="7876118" y="835352"/>
                  </a:cubicBezTo>
                  <a:cubicBezTo>
                    <a:pt x="7845636" y="835352"/>
                    <a:pt x="7820926" y="810642"/>
                    <a:pt x="7820926" y="780161"/>
                  </a:cubicBezTo>
                  <a:cubicBezTo>
                    <a:pt x="7820926" y="749680"/>
                    <a:pt x="7845636" y="724970"/>
                    <a:pt x="7876118" y="724970"/>
                  </a:cubicBezTo>
                  <a:close/>
                  <a:moveTo>
                    <a:pt x="7745824" y="724970"/>
                  </a:moveTo>
                  <a:cubicBezTo>
                    <a:pt x="7776306" y="724970"/>
                    <a:pt x="7801016" y="749680"/>
                    <a:pt x="7801016" y="780161"/>
                  </a:cubicBezTo>
                  <a:cubicBezTo>
                    <a:pt x="7801016" y="810642"/>
                    <a:pt x="7776306" y="835352"/>
                    <a:pt x="7745824" y="835352"/>
                  </a:cubicBezTo>
                  <a:cubicBezTo>
                    <a:pt x="7715342" y="835352"/>
                    <a:pt x="7690632" y="810642"/>
                    <a:pt x="7690632" y="780161"/>
                  </a:cubicBezTo>
                  <a:cubicBezTo>
                    <a:pt x="7690632" y="749680"/>
                    <a:pt x="7715342" y="724970"/>
                    <a:pt x="7745824" y="724970"/>
                  </a:cubicBezTo>
                  <a:close/>
                  <a:moveTo>
                    <a:pt x="7608850" y="724970"/>
                  </a:moveTo>
                  <a:cubicBezTo>
                    <a:pt x="7639332" y="724970"/>
                    <a:pt x="7664042" y="749680"/>
                    <a:pt x="7664042" y="780161"/>
                  </a:cubicBezTo>
                  <a:cubicBezTo>
                    <a:pt x="7664042" y="810642"/>
                    <a:pt x="7639332" y="835352"/>
                    <a:pt x="7608850" y="835352"/>
                  </a:cubicBezTo>
                  <a:cubicBezTo>
                    <a:pt x="7578368" y="835352"/>
                    <a:pt x="7553658" y="810642"/>
                    <a:pt x="7553658" y="780161"/>
                  </a:cubicBezTo>
                  <a:cubicBezTo>
                    <a:pt x="7553658" y="749680"/>
                    <a:pt x="7578368" y="724970"/>
                    <a:pt x="7608850" y="724970"/>
                  </a:cubicBezTo>
                  <a:close/>
                  <a:moveTo>
                    <a:pt x="7481895" y="724970"/>
                  </a:moveTo>
                  <a:cubicBezTo>
                    <a:pt x="7512377" y="724970"/>
                    <a:pt x="7537087" y="749680"/>
                    <a:pt x="7537087" y="780161"/>
                  </a:cubicBezTo>
                  <a:cubicBezTo>
                    <a:pt x="7537087" y="810642"/>
                    <a:pt x="7512377" y="835352"/>
                    <a:pt x="7481895" y="835352"/>
                  </a:cubicBezTo>
                  <a:cubicBezTo>
                    <a:pt x="7451413" y="835352"/>
                    <a:pt x="7426703" y="810642"/>
                    <a:pt x="7426703" y="780161"/>
                  </a:cubicBezTo>
                  <a:cubicBezTo>
                    <a:pt x="7426703" y="749680"/>
                    <a:pt x="7451413" y="724970"/>
                    <a:pt x="7481895" y="724970"/>
                  </a:cubicBezTo>
                  <a:close/>
                  <a:moveTo>
                    <a:pt x="7341579" y="724970"/>
                  </a:moveTo>
                  <a:cubicBezTo>
                    <a:pt x="7372061" y="724970"/>
                    <a:pt x="7396771" y="749680"/>
                    <a:pt x="7396771" y="780161"/>
                  </a:cubicBezTo>
                  <a:cubicBezTo>
                    <a:pt x="7396771" y="810642"/>
                    <a:pt x="7372061" y="835352"/>
                    <a:pt x="7341579" y="835352"/>
                  </a:cubicBezTo>
                  <a:cubicBezTo>
                    <a:pt x="7311097" y="835352"/>
                    <a:pt x="7286387" y="810642"/>
                    <a:pt x="7286387" y="780161"/>
                  </a:cubicBezTo>
                  <a:cubicBezTo>
                    <a:pt x="7286387" y="749680"/>
                    <a:pt x="7311097" y="724970"/>
                    <a:pt x="7341579" y="724970"/>
                  </a:cubicBezTo>
                  <a:close/>
                  <a:moveTo>
                    <a:pt x="7211286" y="724970"/>
                  </a:moveTo>
                  <a:cubicBezTo>
                    <a:pt x="7241768" y="724970"/>
                    <a:pt x="7266478" y="749680"/>
                    <a:pt x="7266478" y="780161"/>
                  </a:cubicBezTo>
                  <a:cubicBezTo>
                    <a:pt x="7266478" y="810642"/>
                    <a:pt x="7241768" y="835352"/>
                    <a:pt x="7211286" y="835352"/>
                  </a:cubicBezTo>
                  <a:cubicBezTo>
                    <a:pt x="7180804" y="835352"/>
                    <a:pt x="7156094" y="810642"/>
                    <a:pt x="7156094" y="780161"/>
                  </a:cubicBezTo>
                  <a:cubicBezTo>
                    <a:pt x="7156094" y="749680"/>
                    <a:pt x="7180804" y="724970"/>
                    <a:pt x="7211286" y="724970"/>
                  </a:cubicBezTo>
                  <a:close/>
                  <a:moveTo>
                    <a:pt x="7080994" y="724970"/>
                  </a:moveTo>
                  <a:cubicBezTo>
                    <a:pt x="7111476" y="724970"/>
                    <a:pt x="7136186" y="749680"/>
                    <a:pt x="7136186" y="780161"/>
                  </a:cubicBezTo>
                  <a:cubicBezTo>
                    <a:pt x="7136186" y="810642"/>
                    <a:pt x="7111476" y="835352"/>
                    <a:pt x="7080994" y="835352"/>
                  </a:cubicBezTo>
                  <a:cubicBezTo>
                    <a:pt x="7050512" y="835352"/>
                    <a:pt x="7025802" y="810642"/>
                    <a:pt x="7025802" y="780161"/>
                  </a:cubicBezTo>
                  <a:cubicBezTo>
                    <a:pt x="7025802" y="749680"/>
                    <a:pt x="7050512" y="724970"/>
                    <a:pt x="7080994" y="724970"/>
                  </a:cubicBezTo>
                  <a:close/>
                  <a:moveTo>
                    <a:pt x="6947358" y="724970"/>
                  </a:moveTo>
                  <a:cubicBezTo>
                    <a:pt x="6977840" y="724970"/>
                    <a:pt x="7002550" y="749680"/>
                    <a:pt x="7002550" y="780161"/>
                  </a:cubicBezTo>
                  <a:cubicBezTo>
                    <a:pt x="7002550" y="810642"/>
                    <a:pt x="6977840" y="835352"/>
                    <a:pt x="6947358" y="835352"/>
                  </a:cubicBezTo>
                  <a:cubicBezTo>
                    <a:pt x="6916876" y="835352"/>
                    <a:pt x="6892166" y="810642"/>
                    <a:pt x="6892166" y="780161"/>
                  </a:cubicBezTo>
                  <a:cubicBezTo>
                    <a:pt x="6892166" y="749680"/>
                    <a:pt x="6916876" y="724970"/>
                    <a:pt x="6947358" y="724970"/>
                  </a:cubicBezTo>
                  <a:close/>
                  <a:moveTo>
                    <a:pt x="6817064" y="724970"/>
                  </a:moveTo>
                  <a:cubicBezTo>
                    <a:pt x="6847546" y="724970"/>
                    <a:pt x="6872256" y="749680"/>
                    <a:pt x="6872256" y="780161"/>
                  </a:cubicBezTo>
                  <a:cubicBezTo>
                    <a:pt x="6872256" y="810642"/>
                    <a:pt x="6847546" y="835352"/>
                    <a:pt x="6817064" y="835352"/>
                  </a:cubicBezTo>
                  <a:cubicBezTo>
                    <a:pt x="6786582" y="835352"/>
                    <a:pt x="6761872" y="810642"/>
                    <a:pt x="6761872" y="780161"/>
                  </a:cubicBezTo>
                  <a:cubicBezTo>
                    <a:pt x="6761872" y="749680"/>
                    <a:pt x="6786582" y="724970"/>
                    <a:pt x="6817064" y="724970"/>
                  </a:cubicBezTo>
                  <a:close/>
                  <a:moveTo>
                    <a:pt x="6683431" y="724970"/>
                  </a:moveTo>
                  <a:cubicBezTo>
                    <a:pt x="6713913" y="724970"/>
                    <a:pt x="6738623" y="749680"/>
                    <a:pt x="6738623" y="780161"/>
                  </a:cubicBezTo>
                  <a:cubicBezTo>
                    <a:pt x="6738623" y="810642"/>
                    <a:pt x="6713913" y="835352"/>
                    <a:pt x="6683431" y="835352"/>
                  </a:cubicBezTo>
                  <a:cubicBezTo>
                    <a:pt x="6652949" y="835352"/>
                    <a:pt x="6628239" y="810642"/>
                    <a:pt x="6628239" y="780161"/>
                  </a:cubicBezTo>
                  <a:cubicBezTo>
                    <a:pt x="6628239" y="749680"/>
                    <a:pt x="6652949" y="724970"/>
                    <a:pt x="6683431" y="724970"/>
                  </a:cubicBezTo>
                  <a:close/>
                  <a:moveTo>
                    <a:pt x="6553137" y="724970"/>
                  </a:moveTo>
                  <a:cubicBezTo>
                    <a:pt x="6583619" y="724970"/>
                    <a:pt x="6608329" y="749680"/>
                    <a:pt x="6608329" y="780161"/>
                  </a:cubicBezTo>
                  <a:cubicBezTo>
                    <a:pt x="6608329" y="810642"/>
                    <a:pt x="6583619" y="835352"/>
                    <a:pt x="6553137" y="835352"/>
                  </a:cubicBezTo>
                  <a:cubicBezTo>
                    <a:pt x="6522655" y="835352"/>
                    <a:pt x="6497945" y="810642"/>
                    <a:pt x="6497945" y="780161"/>
                  </a:cubicBezTo>
                  <a:cubicBezTo>
                    <a:pt x="6497945" y="749680"/>
                    <a:pt x="6522655" y="724970"/>
                    <a:pt x="6553137" y="724970"/>
                  </a:cubicBezTo>
                  <a:close/>
                  <a:moveTo>
                    <a:pt x="6419503" y="724970"/>
                  </a:moveTo>
                  <a:cubicBezTo>
                    <a:pt x="6449985" y="724970"/>
                    <a:pt x="6474695" y="749680"/>
                    <a:pt x="6474695" y="780161"/>
                  </a:cubicBezTo>
                  <a:cubicBezTo>
                    <a:pt x="6474695" y="810642"/>
                    <a:pt x="6449985" y="835352"/>
                    <a:pt x="6419503" y="835352"/>
                  </a:cubicBezTo>
                  <a:cubicBezTo>
                    <a:pt x="6389021" y="835352"/>
                    <a:pt x="6364311" y="810642"/>
                    <a:pt x="6364311" y="780161"/>
                  </a:cubicBezTo>
                  <a:cubicBezTo>
                    <a:pt x="6364311" y="749680"/>
                    <a:pt x="6389021" y="724970"/>
                    <a:pt x="6419503" y="724970"/>
                  </a:cubicBezTo>
                  <a:close/>
                  <a:moveTo>
                    <a:pt x="6289207" y="724970"/>
                  </a:moveTo>
                  <a:cubicBezTo>
                    <a:pt x="6319689" y="724970"/>
                    <a:pt x="6344399" y="749680"/>
                    <a:pt x="6344399" y="780161"/>
                  </a:cubicBezTo>
                  <a:cubicBezTo>
                    <a:pt x="6344399" y="810642"/>
                    <a:pt x="6319689" y="835352"/>
                    <a:pt x="6289207" y="835352"/>
                  </a:cubicBezTo>
                  <a:cubicBezTo>
                    <a:pt x="6258725" y="835352"/>
                    <a:pt x="6234015" y="810642"/>
                    <a:pt x="6234015" y="780161"/>
                  </a:cubicBezTo>
                  <a:cubicBezTo>
                    <a:pt x="6234015" y="749680"/>
                    <a:pt x="6258725" y="724970"/>
                    <a:pt x="6289207" y="724970"/>
                  </a:cubicBezTo>
                  <a:close/>
                  <a:moveTo>
                    <a:pt x="6155573" y="724970"/>
                  </a:moveTo>
                  <a:cubicBezTo>
                    <a:pt x="6186055" y="724970"/>
                    <a:pt x="6210765" y="749680"/>
                    <a:pt x="6210765" y="780161"/>
                  </a:cubicBezTo>
                  <a:cubicBezTo>
                    <a:pt x="6210765" y="810642"/>
                    <a:pt x="6186055" y="835352"/>
                    <a:pt x="6155573" y="835352"/>
                  </a:cubicBezTo>
                  <a:cubicBezTo>
                    <a:pt x="6125091" y="835352"/>
                    <a:pt x="6100381" y="810642"/>
                    <a:pt x="6100381" y="780161"/>
                  </a:cubicBezTo>
                  <a:cubicBezTo>
                    <a:pt x="6100381" y="749680"/>
                    <a:pt x="6125091" y="724970"/>
                    <a:pt x="6155573" y="724970"/>
                  </a:cubicBezTo>
                  <a:close/>
                  <a:moveTo>
                    <a:pt x="5621035" y="724970"/>
                  </a:moveTo>
                  <a:cubicBezTo>
                    <a:pt x="5651517" y="724970"/>
                    <a:pt x="5676227" y="749680"/>
                    <a:pt x="5676227" y="780161"/>
                  </a:cubicBezTo>
                  <a:cubicBezTo>
                    <a:pt x="5676227" y="810642"/>
                    <a:pt x="5651517" y="835352"/>
                    <a:pt x="5621035" y="835352"/>
                  </a:cubicBezTo>
                  <a:cubicBezTo>
                    <a:pt x="5590553" y="835352"/>
                    <a:pt x="5565843" y="810642"/>
                    <a:pt x="5565843" y="780161"/>
                  </a:cubicBezTo>
                  <a:cubicBezTo>
                    <a:pt x="5565843" y="749680"/>
                    <a:pt x="5590553" y="724970"/>
                    <a:pt x="5621035" y="724970"/>
                  </a:cubicBezTo>
                  <a:close/>
                  <a:moveTo>
                    <a:pt x="5487399" y="724970"/>
                  </a:moveTo>
                  <a:cubicBezTo>
                    <a:pt x="5517881" y="724970"/>
                    <a:pt x="5542591" y="749680"/>
                    <a:pt x="5542591" y="780161"/>
                  </a:cubicBezTo>
                  <a:cubicBezTo>
                    <a:pt x="5542591" y="810642"/>
                    <a:pt x="5517881" y="835352"/>
                    <a:pt x="5487399" y="835352"/>
                  </a:cubicBezTo>
                  <a:cubicBezTo>
                    <a:pt x="5456917" y="835352"/>
                    <a:pt x="5432207" y="810642"/>
                    <a:pt x="5432207" y="780161"/>
                  </a:cubicBezTo>
                  <a:cubicBezTo>
                    <a:pt x="5432207" y="749680"/>
                    <a:pt x="5456917" y="724970"/>
                    <a:pt x="5487399" y="724970"/>
                  </a:cubicBezTo>
                  <a:close/>
                  <a:moveTo>
                    <a:pt x="5357106" y="724970"/>
                  </a:moveTo>
                  <a:cubicBezTo>
                    <a:pt x="5387588" y="724970"/>
                    <a:pt x="5412298" y="749680"/>
                    <a:pt x="5412298" y="780161"/>
                  </a:cubicBezTo>
                  <a:cubicBezTo>
                    <a:pt x="5412298" y="810642"/>
                    <a:pt x="5387588" y="835352"/>
                    <a:pt x="5357106" y="835352"/>
                  </a:cubicBezTo>
                  <a:cubicBezTo>
                    <a:pt x="5326624" y="835352"/>
                    <a:pt x="5301914" y="810642"/>
                    <a:pt x="5301914" y="780161"/>
                  </a:cubicBezTo>
                  <a:cubicBezTo>
                    <a:pt x="5301914" y="749680"/>
                    <a:pt x="5326624" y="724970"/>
                    <a:pt x="5357106" y="724970"/>
                  </a:cubicBezTo>
                  <a:close/>
                  <a:moveTo>
                    <a:pt x="5223473" y="724970"/>
                  </a:moveTo>
                  <a:cubicBezTo>
                    <a:pt x="5253955" y="724970"/>
                    <a:pt x="5278665" y="749680"/>
                    <a:pt x="5278665" y="780161"/>
                  </a:cubicBezTo>
                  <a:cubicBezTo>
                    <a:pt x="5278665" y="810642"/>
                    <a:pt x="5253955" y="835352"/>
                    <a:pt x="5223473" y="835352"/>
                  </a:cubicBezTo>
                  <a:cubicBezTo>
                    <a:pt x="5192991" y="835352"/>
                    <a:pt x="5168281" y="810642"/>
                    <a:pt x="5168281" y="780161"/>
                  </a:cubicBezTo>
                  <a:cubicBezTo>
                    <a:pt x="5168281" y="749680"/>
                    <a:pt x="5192991" y="724970"/>
                    <a:pt x="5223473" y="724970"/>
                  </a:cubicBezTo>
                  <a:close/>
                  <a:moveTo>
                    <a:pt x="5093178" y="724970"/>
                  </a:moveTo>
                  <a:cubicBezTo>
                    <a:pt x="5123660" y="724970"/>
                    <a:pt x="5148370" y="749680"/>
                    <a:pt x="5148370" y="780161"/>
                  </a:cubicBezTo>
                  <a:cubicBezTo>
                    <a:pt x="5148370" y="810642"/>
                    <a:pt x="5123660" y="835352"/>
                    <a:pt x="5093178" y="835352"/>
                  </a:cubicBezTo>
                  <a:cubicBezTo>
                    <a:pt x="5062696" y="835352"/>
                    <a:pt x="5037986" y="810642"/>
                    <a:pt x="5037986" y="780161"/>
                  </a:cubicBezTo>
                  <a:cubicBezTo>
                    <a:pt x="5037986" y="749680"/>
                    <a:pt x="5062696" y="724970"/>
                    <a:pt x="5093178" y="724970"/>
                  </a:cubicBezTo>
                  <a:close/>
                  <a:moveTo>
                    <a:pt x="3897148" y="724970"/>
                  </a:moveTo>
                  <a:cubicBezTo>
                    <a:pt x="3927630" y="724970"/>
                    <a:pt x="3952340" y="749680"/>
                    <a:pt x="3952340" y="780161"/>
                  </a:cubicBezTo>
                  <a:cubicBezTo>
                    <a:pt x="3952340" y="810642"/>
                    <a:pt x="3927630" y="835352"/>
                    <a:pt x="3897148" y="835352"/>
                  </a:cubicBezTo>
                  <a:cubicBezTo>
                    <a:pt x="3866666" y="835352"/>
                    <a:pt x="3841956" y="810642"/>
                    <a:pt x="3841956" y="780161"/>
                  </a:cubicBezTo>
                  <a:cubicBezTo>
                    <a:pt x="3841956" y="749680"/>
                    <a:pt x="3866666" y="724970"/>
                    <a:pt x="3897148" y="724970"/>
                  </a:cubicBezTo>
                  <a:close/>
                  <a:moveTo>
                    <a:pt x="3763514" y="724970"/>
                  </a:moveTo>
                  <a:cubicBezTo>
                    <a:pt x="3793996" y="724970"/>
                    <a:pt x="3818706" y="749680"/>
                    <a:pt x="3818706" y="780161"/>
                  </a:cubicBezTo>
                  <a:cubicBezTo>
                    <a:pt x="3818706" y="810642"/>
                    <a:pt x="3793996" y="835352"/>
                    <a:pt x="3763514" y="835352"/>
                  </a:cubicBezTo>
                  <a:cubicBezTo>
                    <a:pt x="3733032" y="835352"/>
                    <a:pt x="3708322" y="810642"/>
                    <a:pt x="3708322" y="780161"/>
                  </a:cubicBezTo>
                  <a:cubicBezTo>
                    <a:pt x="3708322" y="749680"/>
                    <a:pt x="3733032" y="724970"/>
                    <a:pt x="3763514" y="724970"/>
                  </a:cubicBezTo>
                  <a:close/>
                  <a:moveTo>
                    <a:pt x="3633221" y="724970"/>
                  </a:moveTo>
                  <a:cubicBezTo>
                    <a:pt x="3663703" y="724970"/>
                    <a:pt x="3688413" y="749680"/>
                    <a:pt x="3688413" y="780161"/>
                  </a:cubicBezTo>
                  <a:cubicBezTo>
                    <a:pt x="3688413" y="810642"/>
                    <a:pt x="3663703" y="835352"/>
                    <a:pt x="3633221" y="835352"/>
                  </a:cubicBezTo>
                  <a:cubicBezTo>
                    <a:pt x="3602739" y="835352"/>
                    <a:pt x="3578029" y="810642"/>
                    <a:pt x="3578029" y="780161"/>
                  </a:cubicBezTo>
                  <a:cubicBezTo>
                    <a:pt x="3578029" y="749680"/>
                    <a:pt x="3602739" y="724970"/>
                    <a:pt x="3633221" y="724970"/>
                  </a:cubicBezTo>
                  <a:close/>
                  <a:moveTo>
                    <a:pt x="3499586" y="724970"/>
                  </a:moveTo>
                  <a:cubicBezTo>
                    <a:pt x="3530068" y="724970"/>
                    <a:pt x="3554778" y="749680"/>
                    <a:pt x="3554778" y="780161"/>
                  </a:cubicBezTo>
                  <a:cubicBezTo>
                    <a:pt x="3554778" y="810642"/>
                    <a:pt x="3530068" y="835352"/>
                    <a:pt x="3499586" y="835352"/>
                  </a:cubicBezTo>
                  <a:cubicBezTo>
                    <a:pt x="3469104" y="835352"/>
                    <a:pt x="3444394" y="810642"/>
                    <a:pt x="3444394" y="780161"/>
                  </a:cubicBezTo>
                  <a:cubicBezTo>
                    <a:pt x="3444394" y="749680"/>
                    <a:pt x="3469104" y="724970"/>
                    <a:pt x="3499586" y="724970"/>
                  </a:cubicBezTo>
                  <a:close/>
                  <a:moveTo>
                    <a:pt x="3369292" y="724970"/>
                  </a:moveTo>
                  <a:cubicBezTo>
                    <a:pt x="3399774" y="724970"/>
                    <a:pt x="3424484" y="749680"/>
                    <a:pt x="3424484" y="780161"/>
                  </a:cubicBezTo>
                  <a:cubicBezTo>
                    <a:pt x="3424484" y="810642"/>
                    <a:pt x="3399774" y="835352"/>
                    <a:pt x="3369292" y="835352"/>
                  </a:cubicBezTo>
                  <a:cubicBezTo>
                    <a:pt x="3338810" y="835352"/>
                    <a:pt x="3314100" y="810642"/>
                    <a:pt x="3314100" y="780161"/>
                  </a:cubicBezTo>
                  <a:cubicBezTo>
                    <a:pt x="3314100" y="749680"/>
                    <a:pt x="3338810" y="724970"/>
                    <a:pt x="3369292" y="724970"/>
                  </a:cubicBezTo>
                  <a:close/>
                  <a:moveTo>
                    <a:pt x="2834856" y="724970"/>
                  </a:moveTo>
                  <a:cubicBezTo>
                    <a:pt x="2865340" y="724970"/>
                    <a:pt x="2890049" y="749680"/>
                    <a:pt x="2890049" y="780161"/>
                  </a:cubicBezTo>
                  <a:cubicBezTo>
                    <a:pt x="2890049" y="810642"/>
                    <a:pt x="2865340" y="835352"/>
                    <a:pt x="2834856" y="835352"/>
                  </a:cubicBezTo>
                  <a:cubicBezTo>
                    <a:pt x="2804376" y="835352"/>
                    <a:pt x="2779665" y="810642"/>
                    <a:pt x="2779665" y="780161"/>
                  </a:cubicBezTo>
                  <a:cubicBezTo>
                    <a:pt x="2779665" y="749680"/>
                    <a:pt x="2804376" y="724970"/>
                    <a:pt x="2834856" y="724970"/>
                  </a:cubicBezTo>
                  <a:close/>
                  <a:moveTo>
                    <a:pt x="2707901" y="724970"/>
                  </a:moveTo>
                  <a:cubicBezTo>
                    <a:pt x="2738385" y="724970"/>
                    <a:pt x="2763094" y="749680"/>
                    <a:pt x="2763094" y="780161"/>
                  </a:cubicBezTo>
                  <a:cubicBezTo>
                    <a:pt x="2763094" y="810642"/>
                    <a:pt x="2738385" y="835352"/>
                    <a:pt x="2707901" y="835352"/>
                  </a:cubicBezTo>
                  <a:cubicBezTo>
                    <a:pt x="2677420" y="835352"/>
                    <a:pt x="2652711" y="810642"/>
                    <a:pt x="2652711" y="780161"/>
                  </a:cubicBezTo>
                  <a:cubicBezTo>
                    <a:pt x="2652711" y="749680"/>
                    <a:pt x="2677420" y="724970"/>
                    <a:pt x="2707901" y="724970"/>
                  </a:cubicBezTo>
                  <a:close/>
                  <a:moveTo>
                    <a:pt x="2570929" y="724970"/>
                  </a:moveTo>
                  <a:cubicBezTo>
                    <a:pt x="2601412" y="724970"/>
                    <a:pt x="2626122" y="749680"/>
                    <a:pt x="2626122" y="780161"/>
                  </a:cubicBezTo>
                  <a:cubicBezTo>
                    <a:pt x="2626122" y="810642"/>
                    <a:pt x="2601412" y="835352"/>
                    <a:pt x="2570929" y="835352"/>
                  </a:cubicBezTo>
                  <a:cubicBezTo>
                    <a:pt x="2540446" y="835352"/>
                    <a:pt x="2515735" y="810642"/>
                    <a:pt x="2515735" y="780161"/>
                  </a:cubicBezTo>
                  <a:cubicBezTo>
                    <a:pt x="2515735" y="749680"/>
                    <a:pt x="2540446" y="724970"/>
                    <a:pt x="2570929" y="724970"/>
                  </a:cubicBezTo>
                  <a:close/>
                  <a:moveTo>
                    <a:pt x="2437294" y="724970"/>
                  </a:moveTo>
                  <a:cubicBezTo>
                    <a:pt x="2467777" y="724970"/>
                    <a:pt x="2492487" y="749680"/>
                    <a:pt x="2492487" y="780161"/>
                  </a:cubicBezTo>
                  <a:cubicBezTo>
                    <a:pt x="2492487" y="810642"/>
                    <a:pt x="2467777" y="835352"/>
                    <a:pt x="2437294" y="835352"/>
                  </a:cubicBezTo>
                  <a:cubicBezTo>
                    <a:pt x="2406815" y="835352"/>
                    <a:pt x="2382104" y="810642"/>
                    <a:pt x="2382104" y="780161"/>
                  </a:cubicBezTo>
                  <a:cubicBezTo>
                    <a:pt x="2382104" y="749680"/>
                    <a:pt x="2406815" y="724970"/>
                    <a:pt x="2437294" y="724970"/>
                  </a:cubicBezTo>
                  <a:close/>
                  <a:moveTo>
                    <a:pt x="2303662" y="724970"/>
                  </a:moveTo>
                  <a:cubicBezTo>
                    <a:pt x="2334145" y="724970"/>
                    <a:pt x="2358853" y="749680"/>
                    <a:pt x="2358853" y="780161"/>
                  </a:cubicBezTo>
                  <a:cubicBezTo>
                    <a:pt x="2358853" y="810642"/>
                    <a:pt x="2334145" y="835352"/>
                    <a:pt x="2303662" y="835352"/>
                  </a:cubicBezTo>
                  <a:cubicBezTo>
                    <a:pt x="2273180" y="835352"/>
                    <a:pt x="2248471" y="810642"/>
                    <a:pt x="2248471" y="780161"/>
                  </a:cubicBezTo>
                  <a:cubicBezTo>
                    <a:pt x="2248471" y="749680"/>
                    <a:pt x="2273180" y="724970"/>
                    <a:pt x="2303662" y="724970"/>
                  </a:cubicBezTo>
                  <a:close/>
                  <a:moveTo>
                    <a:pt x="2173371" y="724970"/>
                  </a:moveTo>
                  <a:cubicBezTo>
                    <a:pt x="2203851" y="724970"/>
                    <a:pt x="2228562" y="749680"/>
                    <a:pt x="2228562" y="780161"/>
                  </a:cubicBezTo>
                  <a:cubicBezTo>
                    <a:pt x="2228562" y="810642"/>
                    <a:pt x="2203851" y="835352"/>
                    <a:pt x="2173371" y="835352"/>
                  </a:cubicBezTo>
                  <a:cubicBezTo>
                    <a:pt x="2142888" y="835352"/>
                    <a:pt x="2118177" y="810642"/>
                    <a:pt x="2118177" y="780161"/>
                  </a:cubicBezTo>
                  <a:cubicBezTo>
                    <a:pt x="2118177" y="749680"/>
                    <a:pt x="2142888" y="724970"/>
                    <a:pt x="2173371" y="724970"/>
                  </a:cubicBezTo>
                  <a:close/>
                  <a:moveTo>
                    <a:pt x="2039733" y="724970"/>
                  </a:moveTo>
                  <a:cubicBezTo>
                    <a:pt x="2070216" y="724970"/>
                    <a:pt x="2094927" y="749680"/>
                    <a:pt x="2094927" y="780161"/>
                  </a:cubicBezTo>
                  <a:cubicBezTo>
                    <a:pt x="2094927" y="810642"/>
                    <a:pt x="2070216" y="835352"/>
                    <a:pt x="2039733" y="835352"/>
                  </a:cubicBezTo>
                  <a:cubicBezTo>
                    <a:pt x="2009252" y="835352"/>
                    <a:pt x="1984539" y="810642"/>
                    <a:pt x="1984539" y="780161"/>
                  </a:cubicBezTo>
                  <a:cubicBezTo>
                    <a:pt x="1984539" y="749680"/>
                    <a:pt x="2009252" y="724970"/>
                    <a:pt x="2039733" y="724970"/>
                  </a:cubicBezTo>
                  <a:close/>
                  <a:moveTo>
                    <a:pt x="1909436" y="724970"/>
                  </a:moveTo>
                  <a:cubicBezTo>
                    <a:pt x="1939919" y="724970"/>
                    <a:pt x="1964630" y="749680"/>
                    <a:pt x="1964630" y="780161"/>
                  </a:cubicBezTo>
                  <a:cubicBezTo>
                    <a:pt x="1964630" y="810642"/>
                    <a:pt x="1939919" y="835352"/>
                    <a:pt x="1909436" y="835352"/>
                  </a:cubicBezTo>
                  <a:cubicBezTo>
                    <a:pt x="1878955" y="835352"/>
                    <a:pt x="1854243" y="810642"/>
                    <a:pt x="1854243" y="780161"/>
                  </a:cubicBezTo>
                  <a:cubicBezTo>
                    <a:pt x="1854243" y="749680"/>
                    <a:pt x="1878955" y="724970"/>
                    <a:pt x="1909436" y="724970"/>
                  </a:cubicBezTo>
                  <a:close/>
                  <a:moveTo>
                    <a:pt x="1779142" y="724970"/>
                  </a:moveTo>
                  <a:cubicBezTo>
                    <a:pt x="1809623" y="724970"/>
                    <a:pt x="1834335" y="749680"/>
                    <a:pt x="1834335" y="780161"/>
                  </a:cubicBezTo>
                  <a:cubicBezTo>
                    <a:pt x="1834335" y="810642"/>
                    <a:pt x="1809623" y="835352"/>
                    <a:pt x="1779142" y="835352"/>
                  </a:cubicBezTo>
                  <a:cubicBezTo>
                    <a:pt x="1748660" y="835352"/>
                    <a:pt x="1723947" y="810642"/>
                    <a:pt x="1723947" y="780161"/>
                  </a:cubicBezTo>
                  <a:cubicBezTo>
                    <a:pt x="1723947" y="749680"/>
                    <a:pt x="1748660" y="724970"/>
                    <a:pt x="1779142" y="724970"/>
                  </a:cubicBezTo>
                  <a:close/>
                  <a:moveTo>
                    <a:pt x="1645501" y="724970"/>
                  </a:moveTo>
                  <a:cubicBezTo>
                    <a:pt x="1675988" y="724970"/>
                    <a:pt x="1700699" y="749680"/>
                    <a:pt x="1700699" y="780161"/>
                  </a:cubicBezTo>
                  <a:cubicBezTo>
                    <a:pt x="1700699" y="810642"/>
                    <a:pt x="1675988" y="835352"/>
                    <a:pt x="1645501" y="835352"/>
                  </a:cubicBezTo>
                  <a:cubicBezTo>
                    <a:pt x="1615024" y="835352"/>
                    <a:pt x="1590310" y="810642"/>
                    <a:pt x="1590310" y="780161"/>
                  </a:cubicBezTo>
                  <a:cubicBezTo>
                    <a:pt x="1590310" y="749680"/>
                    <a:pt x="1615024" y="724970"/>
                    <a:pt x="1645501" y="724970"/>
                  </a:cubicBezTo>
                  <a:close/>
                  <a:moveTo>
                    <a:pt x="1515213" y="724970"/>
                  </a:moveTo>
                  <a:cubicBezTo>
                    <a:pt x="1545692" y="724970"/>
                    <a:pt x="1570399" y="749680"/>
                    <a:pt x="1570399" y="780161"/>
                  </a:cubicBezTo>
                  <a:cubicBezTo>
                    <a:pt x="1570399" y="810642"/>
                    <a:pt x="1545692" y="835352"/>
                    <a:pt x="1515213" y="835352"/>
                  </a:cubicBezTo>
                  <a:cubicBezTo>
                    <a:pt x="1484730" y="835352"/>
                    <a:pt x="1460016" y="810642"/>
                    <a:pt x="1460016" y="780161"/>
                  </a:cubicBezTo>
                  <a:cubicBezTo>
                    <a:pt x="1460016" y="749680"/>
                    <a:pt x="1484730" y="724970"/>
                    <a:pt x="1515213" y="724970"/>
                  </a:cubicBezTo>
                  <a:close/>
                  <a:moveTo>
                    <a:pt x="1381573" y="724970"/>
                  </a:moveTo>
                  <a:cubicBezTo>
                    <a:pt x="1412052" y="724970"/>
                    <a:pt x="1436767" y="749680"/>
                    <a:pt x="1436767" y="780161"/>
                  </a:cubicBezTo>
                  <a:cubicBezTo>
                    <a:pt x="1436767" y="810642"/>
                    <a:pt x="1412052" y="835352"/>
                    <a:pt x="1381573" y="835352"/>
                  </a:cubicBezTo>
                  <a:cubicBezTo>
                    <a:pt x="1351096" y="835352"/>
                    <a:pt x="1326381" y="810642"/>
                    <a:pt x="1326381" y="780161"/>
                  </a:cubicBezTo>
                  <a:cubicBezTo>
                    <a:pt x="1326381" y="749680"/>
                    <a:pt x="1351096" y="724970"/>
                    <a:pt x="1381573" y="724970"/>
                  </a:cubicBezTo>
                  <a:close/>
                  <a:moveTo>
                    <a:pt x="1251282" y="724970"/>
                  </a:moveTo>
                  <a:cubicBezTo>
                    <a:pt x="1281764" y="724970"/>
                    <a:pt x="1306475" y="749680"/>
                    <a:pt x="1306475" y="780161"/>
                  </a:cubicBezTo>
                  <a:cubicBezTo>
                    <a:pt x="1306475" y="810642"/>
                    <a:pt x="1281764" y="835352"/>
                    <a:pt x="1251282" y="835352"/>
                  </a:cubicBezTo>
                  <a:cubicBezTo>
                    <a:pt x="1220800" y="835352"/>
                    <a:pt x="1196089" y="810642"/>
                    <a:pt x="1196089" y="780161"/>
                  </a:cubicBezTo>
                  <a:cubicBezTo>
                    <a:pt x="1196089" y="749680"/>
                    <a:pt x="1220800" y="724970"/>
                    <a:pt x="1251282" y="724970"/>
                  </a:cubicBezTo>
                  <a:close/>
                  <a:moveTo>
                    <a:pt x="1117642" y="724970"/>
                  </a:moveTo>
                  <a:cubicBezTo>
                    <a:pt x="1148126" y="724970"/>
                    <a:pt x="1172836" y="749680"/>
                    <a:pt x="1172836" y="780161"/>
                  </a:cubicBezTo>
                  <a:cubicBezTo>
                    <a:pt x="1172836" y="810642"/>
                    <a:pt x="1148126" y="835352"/>
                    <a:pt x="1117642" y="835352"/>
                  </a:cubicBezTo>
                  <a:cubicBezTo>
                    <a:pt x="1087161" y="835352"/>
                    <a:pt x="1062448" y="810642"/>
                    <a:pt x="1062448" y="780161"/>
                  </a:cubicBezTo>
                  <a:cubicBezTo>
                    <a:pt x="1062448" y="749680"/>
                    <a:pt x="1087161" y="724970"/>
                    <a:pt x="1117642" y="724970"/>
                  </a:cubicBezTo>
                  <a:close/>
                  <a:moveTo>
                    <a:pt x="980664" y="724970"/>
                  </a:moveTo>
                  <a:cubicBezTo>
                    <a:pt x="1011146" y="724970"/>
                    <a:pt x="1035857" y="749680"/>
                    <a:pt x="1035857" y="780161"/>
                  </a:cubicBezTo>
                  <a:cubicBezTo>
                    <a:pt x="1035857" y="810642"/>
                    <a:pt x="1011146" y="835352"/>
                    <a:pt x="980664" y="835352"/>
                  </a:cubicBezTo>
                  <a:cubicBezTo>
                    <a:pt x="950180" y="835352"/>
                    <a:pt x="925471" y="810642"/>
                    <a:pt x="925471" y="780161"/>
                  </a:cubicBezTo>
                  <a:cubicBezTo>
                    <a:pt x="925471" y="749680"/>
                    <a:pt x="950180" y="724970"/>
                    <a:pt x="980664" y="724970"/>
                  </a:cubicBezTo>
                  <a:close/>
                  <a:moveTo>
                    <a:pt x="847022" y="724970"/>
                  </a:moveTo>
                  <a:cubicBezTo>
                    <a:pt x="877506" y="724970"/>
                    <a:pt x="902217" y="749680"/>
                    <a:pt x="902217" y="780161"/>
                  </a:cubicBezTo>
                  <a:cubicBezTo>
                    <a:pt x="902217" y="810642"/>
                    <a:pt x="877506" y="835352"/>
                    <a:pt x="847022" y="835352"/>
                  </a:cubicBezTo>
                  <a:cubicBezTo>
                    <a:pt x="816540" y="835352"/>
                    <a:pt x="791823" y="810642"/>
                    <a:pt x="791823" y="780161"/>
                  </a:cubicBezTo>
                  <a:cubicBezTo>
                    <a:pt x="791823" y="749680"/>
                    <a:pt x="816540" y="724970"/>
                    <a:pt x="847022" y="724970"/>
                  </a:cubicBezTo>
                  <a:close/>
                  <a:moveTo>
                    <a:pt x="716722" y="724970"/>
                  </a:moveTo>
                  <a:cubicBezTo>
                    <a:pt x="747204" y="724970"/>
                    <a:pt x="771916" y="749680"/>
                    <a:pt x="771916" y="780161"/>
                  </a:cubicBezTo>
                  <a:cubicBezTo>
                    <a:pt x="771916" y="810642"/>
                    <a:pt x="747204" y="835352"/>
                    <a:pt x="716722" y="835352"/>
                  </a:cubicBezTo>
                  <a:cubicBezTo>
                    <a:pt x="686240" y="835352"/>
                    <a:pt x="661530" y="810642"/>
                    <a:pt x="661530" y="780161"/>
                  </a:cubicBezTo>
                  <a:cubicBezTo>
                    <a:pt x="661530" y="749680"/>
                    <a:pt x="686240" y="724970"/>
                    <a:pt x="716722" y="724970"/>
                  </a:cubicBezTo>
                  <a:close/>
                  <a:moveTo>
                    <a:pt x="583085" y="724970"/>
                  </a:moveTo>
                  <a:cubicBezTo>
                    <a:pt x="613567" y="724970"/>
                    <a:pt x="638278" y="749680"/>
                    <a:pt x="638278" y="780161"/>
                  </a:cubicBezTo>
                  <a:cubicBezTo>
                    <a:pt x="638278" y="810642"/>
                    <a:pt x="613567" y="835352"/>
                    <a:pt x="583085" y="835352"/>
                  </a:cubicBezTo>
                  <a:cubicBezTo>
                    <a:pt x="552602" y="835352"/>
                    <a:pt x="527891" y="810642"/>
                    <a:pt x="527891" y="780161"/>
                  </a:cubicBezTo>
                  <a:cubicBezTo>
                    <a:pt x="527891" y="749680"/>
                    <a:pt x="552602" y="724970"/>
                    <a:pt x="583085" y="724970"/>
                  </a:cubicBezTo>
                  <a:close/>
                  <a:moveTo>
                    <a:pt x="449437" y="724970"/>
                  </a:moveTo>
                  <a:cubicBezTo>
                    <a:pt x="479919" y="724970"/>
                    <a:pt x="504629" y="749680"/>
                    <a:pt x="504629" y="780161"/>
                  </a:cubicBezTo>
                  <a:cubicBezTo>
                    <a:pt x="504629" y="810642"/>
                    <a:pt x="479919" y="835352"/>
                    <a:pt x="449437" y="835352"/>
                  </a:cubicBezTo>
                  <a:cubicBezTo>
                    <a:pt x="418954" y="835352"/>
                    <a:pt x="394244" y="810642"/>
                    <a:pt x="394244" y="780161"/>
                  </a:cubicBezTo>
                  <a:cubicBezTo>
                    <a:pt x="394244" y="749680"/>
                    <a:pt x="418954" y="724970"/>
                    <a:pt x="449437" y="724970"/>
                  </a:cubicBezTo>
                  <a:close/>
                  <a:moveTo>
                    <a:pt x="319140" y="724970"/>
                  </a:moveTo>
                  <a:cubicBezTo>
                    <a:pt x="349624" y="724970"/>
                    <a:pt x="374334" y="749680"/>
                    <a:pt x="374334" y="780161"/>
                  </a:cubicBezTo>
                  <a:cubicBezTo>
                    <a:pt x="374334" y="810642"/>
                    <a:pt x="349624" y="835352"/>
                    <a:pt x="319140" y="835352"/>
                  </a:cubicBezTo>
                  <a:cubicBezTo>
                    <a:pt x="288658" y="835352"/>
                    <a:pt x="263948" y="810642"/>
                    <a:pt x="263948" y="780161"/>
                  </a:cubicBezTo>
                  <a:cubicBezTo>
                    <a:pt x="263948" y="749680"/>
                    <a:pt x="288658" y="724970"/>
                    <a:pt x="319140" y="724970"/>
                  </a:cubicBezTo>
                  <a:close/>
                  <a:moveTo>
                    <a:pt x="185509" y="724970"/>
                  </a:moveTo>
                  <a:cubicBezTo>
                    <a:pt x="215993" y="724970"/>
                    <a:pt x="240701" y="749680"/>
                    <a:pt x="240701" y="780161"/>
                  </a:cubicBezTo>
                  <a:cubicBezTo>
                    <a:pt x="240701" y="810642"/>
                    <a:pt x="215993" y="835352"/>
                    <a:pt x="185509" y="835352"/>
                  </a:cubicBezTo>
                  <a:cubicBezTo>
                    <a:pt x="155029" y="835352"/>
                    <a:pt x="130319" y="810642"/>
                    <a:pt x="130319" y="780161"/>
                  </a:cubicBezTo>
                  <a:cubicBezTo>
                    <a:pt x="130319" y="749680"/>
                    <a:pt x="155029" y="724970"/>
                    <a:pt x="185509" y="724970"/>
                  </a:cubicBezTo>
                  <a:close/>
                  <a:moveTo>
                    <a:pt x="8801538" y="608039"/>
                  </a:moveTo>
                  <a:cubicBezTo>
                    <a:pt x="8832020" y="608039"/>
                    <a:pt x="8856730" y="632749"/>
                    <a:pt x="8856730" y="663230"/>
                  </a:cubicBezTo>
                  <a:cubicBezTo>
                    <a:pt x="8856730" y="693711"/>
                    <a:pt x="8832020" y="718421"/>
                    <a:pt x="8801538" y="718421"/>
                  </a:cubicBezTo>
                  <a:cubicBezTo>
                    <a:pt x="8771056" y="718421"/>
                    <a:pt x="8746346" y="693711"/>
                    <a:pt x="8746346" y="663230"/>
                  </a:cubicBezTo>
                  <a:cubicBezTo>
                    <a:pt x="8746346" y="632749"/>
                    <a:pt x="8771056" y="608039"/>
                    <a:pt x="8801538" y="608039"/>
                  </a:cubicBezTo>
                  <a:close/>
                  <a:moveTo>
                    <a:pt x="8671244" y="608039"/>
                  </a:moveTo>
                  <a:cubicBezTo>
                    <a:pt x="8701726" y="608039"/>
                    <a:pt x="8726436" y="632749"/>
                    <a:pt x="8726436" y="663230"/>
                  </a:cubicBezTo>
                  <a:cubicBezTo>
                    <a:pt x="8726436" y="693711"/>
                    <a:pt x="8701726" y="718421"/>
                    <a:pt x="8671244" y="718421"/>
                  </a:cubicBezTo>
                  <a:cubicBezTo>
                    <a:pt x="8640762" y="718421"/>
                    <a:pt x="8616052" y="693711"/>
                    <a:pt x="8616052" y="663230"/>
                  </a:cubicBezTo>
                  <a:cubicBezTo>
                    <a:pt x="8616052" y="632749"/>
                    <a:pt x="8640762" y="608039"/>
                    <a:pt x="8671244" y="608039"/>
                  </a:cubicBezTo>
                  <a:close/>
                  <a:moveTo>
                    <a:pt x="8537609" y="608039"/>
                  </a:moveTo>
                  <a:cubicBezTo>
                    <a:pt x="8568091" y="608039"/>
                    <a:pt x="8592801" y="632749"/>
                    <a:pt x="8592801" y="663230"/>
                  </a:cubicBezTo>
                  <a:cubicBezTo>
                    <a:pt x="8592801" y="693711"/>
                    <a:pt x="8568091" y="718421"/>
                    <a:pt x="8537609" y="718421"/>
                  </a:cubicBezTo>
                  <a:cubicBezTo>
                    <a:pt x="8507127" y="718421"/>
                    <a:pt x="8482417" y="693711"/>
                    <a:pt x="8482417" y="663230"/>
                  </a:cubicBezTo>
                  <a:cubicBezTo>
                    <a:pt x="8482417" y="632749"/>
                    <a:pt x="8507127" y="608039"/>
                    <a:pt x="8537609" y="608039"/>
                  </a:cubicBezTo>
                  <a:close/>
                  <a:moveTo>
                    <a:pt x="8407318" y="608039"/>
                  </a:moveTo>
                  <a:cubicBezTo>
                    <a:pt x="8437800" y="608039"/>
                    <a:pt x="8462510" y="632749"/>
                    <a:pt x="8462510" y="663230"/>
                  </a:cubicBezTo>
                  <a:cubicBezTo>
                    <a:pt x="8462510" y="693711"/>
                    <a:pt x="8437800" y="718421"/>
                    <a:pt x="8407318" y="718421"/>
                  </a:cubicBezTo>
                  <a:cubicBezTo>
                    <a:pt x="8376836" y="718421"/>
                    <a:pt x="8352126" y="693711"/>
                    <a:pt x="8352126" y="663230"/>
                  </a:cubicBezTo>
                  <a:cubicBezTo>
                    <a:pt x="8352126" y="632749"/>
                    <a:pt x="8376836" y="608039"/>
                    <a:pt x="8407318" y="608039"/>
                  </a:cubicBezTo>
                  <a:close/>
                  <a:moveTo>
                    <a:pt x="8273682" y="608039"/>
                  </a:moveTo>
                  <a:cubicBezTo>
                    <a:pt x="8304164" y="608039"/>
                    <a:pt x="8328874" y="632749"/>
                    <a:pt x="8328874" y="663230"/>
                  </a:cubicBezTo>
                  <a:cubicBezTo>
                    <a:pt x="8328874" y="693711"/>
                    <a:pt x="8304164" y="718421"/>
                    <a:pt x="8273682" y="718421"/>
                  </a:cubicBezTo>
                  <a:cubicBezTo>
                    <a:pt x="8243200" y="718421"/>
                    <a:pt x="8218490" y="693711"/>
                    <a:pt x="8218490" y="663230"/>
                  </a:cubicBezTo>
                  <a:cubicBezTo>
                    <a:pt x="8218490" y="632749"/>
                    <a:pt x="8243200" y="608039"/>
                    <a:pt x="8273682" y="608039"/>
                  </a:cubicBezTo>
                  <a:close/>
                  <a:moveTo>
                    <a:pt x="8143386" y="608039"/>
                  </a:moveTo>
                  <a:cubicBezTo>
                    <a:pt x="8173868" y="608039"/>
                    <a:pt x="8198578" y="632749"/>
                    <a:pt x="8198578" y="663230"/>
                  </a:cubicBezTo>
                  <a:cubicBezTo>
                    <a:pt x="8198578" y="693711"/>
                    <a:pt x="8173868" y="718421"/>
                    <a:pt x="8143386" y="718421"/>
                  </a:cubicBezTo>
                  <a:cubicBezTo>
                    <a:pt x="8112904" y="718421"/>
                    <a:pt x="8088194" y="693711"/>
                    <a:pt x="8088194" y="663230"/>
                  </a:cubicBezTo>
                  <a:cubicBezTo>
                    <a:pt x="8088194" y="632749"/>
                    <a:pt x="8112904" y="608039"/>
                    <a:pt x="8143386" y="608039"/>
                  </a:cubicBezTo>
                  <a:close/>
                  <a:moveTo>
                    <a:pt x="8009753" y="608039"/>
                  </a:moveTo>
                  <a:cubicBezTo>
                    <a:pt x="8040235" y="608039"/>
                    <a:pt x="8064945" y="632749"/>
                    <a:pt x="8064945" y="663230"/>
                  </a:cubicBezTo>
                  <a:cubicBezTo>
                    <a:pt x="8064945" y="693711"/>
                    <a:pt x="8040235" y="718421"/>
                    <a:pt x="8009753" y="718421"/>
                  </a:cubicBezTo>
                  <a:cubicBezTo>
                    <a:pt x="7979271" y="718421"/>
                    <a:pt x="7954561" y="693711"/>
                    <a:pt x="7954561" y="663230"/>
                  </a:cubicBezTo>
                  <a:cubicBezTo>
                    <a:pt x="7954561" y="632749"/>
                    <a:pt x="7979271" y="608039"/>
                    <a:pt x="8009753" y="608039"/>
                  </a:cubicBezTo>
                  <a:close/>
                  <a:moveTo>
                    <a:pt x="7876118" y="608039"/>
                  </a:moveTo>
                  <a:cubicBezTo>
                    <a:pt x="7906600" y="608039"/>
                    <a:pt x="7931310" y="632749"/>
                    <a:pt x="7931310" y="663230"/>
                  </a:cubicBezTo>
                  <a:cubicBezTo>
                    <a:pt x="7931310" y="693711"/>
                    <a:pt x="7906600" y="718421"/>
                    <a:pt x="7876118" y="718421"/>
                  </a:cubicBezTo>
                  <a:cubicBezTo>
                    <a:pt x="7845636" y="718421"/>
                    <a:pt x="7820926" y="693711"/>
                    <a:pt x="7820926" y="663230"/>
                  </a:cubicBezTo>
                  <a:cubicBezTo>
                    <a:pt x="7820926" y="632749"/>
                    <a:pt x="7845636" y="608039"/>
                    <a:pt x="7876118" y="608039"/>
                  </a:cubicBezTo>
                  <a:close/>
                  <a:moveTo>
                    <a:pt x="7745824" y="608039"/>
                  </a:moveTo>
                  <a:cubicBezTo>
                    <a:pt x="7776306" y="608039"/>
                    <a:pt x="7801016" y="632749"/>
                    <a:pt x="7801016" y="663230"/>
                  </a:cubicBezTo>
                  <a:cubicBezTo>
                    <a:pt x="7801016" y="693711"/>
                    <a:pt x="7776306" y="718421"/>
                    <a:pt x="7745824" y="718421"/>
                  </a:cubicBezTo>
                  <a:cubicBezTo>
                    <a:pt x="7715342" y="718421"/>
                    <a:pt x="7690632" y="693711"/>
                    <a:pt x="7690632" y="663230"/>
                  </a:cubicBezTo>
                  <a:cubicBezTo>
                    <a:pt x="7690632" y="632749"/>
                    <a:pt x="7715342" y="608039"/>
                    <a:pt x="7745824" y="608039"/>
                  </a:cubicBezTo>
                  <a:close/>
                  <a:moveTo>
                    <a:pt x="7608850" y="608039"/>
                  </a:moveTo>
                  <a:cubicBezTo>
                    <a:pt x="7639332" y="608039"/>
                    <a:pt x="7664042" y="632749"/>
                    <a:pt x="7664042" y="663230"/>
                  </a:cubicBezTo>
                  <a:cubicBezTo>
                    <a:pt x="7664042" y="693711"/>
                    <a:pt x="7639332" y="718421"/>
                    <a:pt x="7608850" y="718421"/>
                  </a:cubicBezTo>
                  <a:cubicBezTo>
                    <a:pt x="7578368" y="718421"/>
                    <a:pt x="7553658" y="693711"/>
                    <a:pt x="7553658" y="663230"/>
                  </a:cubicBezTo>
                  <a:cubicBezTo>
                    <a:pt x="7553658" y="632749"/>
                    <a:pt x="7578368" y="608039"/>
                    <a:pt x="7608850" y="608039"/>
                  </a:cubicBezTo>
                  <a:close/>
                  <a:moveTo>
                    <a:pt x="7481895" y="608039"/>
                  </a:moveTo>
                  <a:cubicBezTo>
                    <a:pt x="7512377" y="608039"/>
                    <a:pt x="7537087" y="632749"/>
                    <a:pt x="7537087" y="663230"/>
                  </a:cubicBezTo>
                  <a:cubicBezTo>
                    <a:pt x="7537087" y="693711"/>
                    <a:pt x="7512377" y="718421"/>
                    <a:pt x="7481895" y="718421"/>
                  </a:cubicBezTo>
                  <a:cubicBezTo>
                    <a:pt x="7451413" y="718421"/>
                    <a:pt x="7426703" y="693711"/>
                    <a:pt x="7426703" y="663230"/>
                  </a:cubicBezTo>
                  <a:cubicBezTo>
                    <a:pt x="7426703" y="632749"/>
                    <a:pt x="7451413" y="608039"/>
                    <a:pt x="7481895" y="608039"/>
                  </a:cubicBezTo>
                  <a:close/>
                  <a:moveTo>
                    <a:pt x="7341579" y="608039"/>
                  </a:moveTo>
                  <a:cubicBezTo>
                    <a:pt x="7372061" y="608039"/>
                    <a:pt x="7396771" y="632749"/>
                    <a:pt x="7396771" y="663230"/>
                  </a:cubicBezTo>
                  <a:cubicBezTo>
                    <a:pt x="7396771" y="693711"/>
                    <a:pt x="7372061" y="718421"/>
                    <a:pt x="7341579" y="718421"/>
                  </a:cubicBezTo>
                  <a:cubicBezTo>
                    <a:pt x="7311097" y="718421"/>
                    <a:pt x="7286387" y="693711"/>
                    <a:pt x="7286387" y="663230"/>
                  </a:cubicBezTo>
                  <a:cubicBezTo>
                    <a:pt x="7286387" y="632749"/>
                    <a:pt x="7311097" y="608039"/>
                    <a:pt x="7341579" y="608039"/>
                  </a:cubicBezTo>
                  <a:close/>
                  <a:moveTo>
                    <a:pt x="7211286" y="608039"/>
                  </a:moveTo>
                  <a:cubicBezTo>
                    <a:pt x="7241768" y="608039"/>
                    <a:pt x="7266478" y="632749"/>
                    <a:pt x="7266478" y="663230"/>
                  </a:cubicBezTo>
                  <a:cubicBezTo>
                    <a:pt x="7266478" y="693711"/>
                    <a:pt x="7241768" y="718421"/>
                    <a:pt x="7211286" y="718421"/>
                  </a:cubicBezTo>
                  <a:cubicBezTo>
                    <a:pt x="7180804" y="718421"/>
                    <a:pt x="7156094" y="693711"/>
                    <a:pt x="7156094" y="663230"/>
                  </a:cubicBezTo>
                  <a:cubicBezTo>
                    <a:pt x="7156094" y="632749"/>
                    <a:pt x="7180804" y="608039"/>
                    <a:pt x="7211286" y="608039"/>
                  </a:cubicBezTo>
                  <a:close/>
                  <a:moveTo>
                    <a:pt x="7080994" y="608039"/>
                  </a:moveTo>
                  <a:cubicBezTo>
                    <a:pt x="7111476" y="608039"/>
                    <a:pt x="7136186" y="632749"/>
                    <a:pt x="7136186" y="663230"/>
                  </a:cubicBezTo>
                  <a:cubicBezTo>
                    <a:pt x="7136186" y="693711"/>
                    <a:pt x="7111476" y="718421"/>
                    <a:pt x="7080994" y="718421"/>
                  </a:cubicBezTo>
                  <a:cubicBezTo>
                    <a:pt x="7050512" y="718421"/>
                    <a:pt x="7025802" y="693711"/>
                    <a:pt x="7025802" y="663230"/>
                  </a:cubicBezTo>
                  <a:cubicBezTo>
                    <a:pt x="7025802" y="632749"/>
                    <a:pt x="7050512" y="608039"/>
                    <a:pt x="7080994" y="608039"/>
                  </a:cubicBezTo>
                  <a:close/>
                  <a:moveTo>
                    <a:pt x="6947358" y="608039"/>
                  </a:moveTo>
                  <a:cubicBezTo>
                    <a:pt x="6977840" y="608039"/>
                    <a:pt x="7002550" y="632749"/>
                    <a:pt x="7002550" y="663230"/>
                  </a:cubicBezTo>
                  <a:cubicBezTo>
                    <a:pt x="7002550" y="693711"/>
                    <a:pt x="6977840" y="718421"/>
                    <a:pt x="6947358" y="718421"/>
                  </a:cubicBezTo>
                  <a:cubicBezTo>
                    <a:pt x="6916876" y="718421"/>
                    <a:pt x="6892166" y="693711"/>
                    <a:pt x="6892166" y="663230"/>
                  </a:cubicBezTo>
                  <a:cubicBezTo>
                    <a:pt x="6892166" y="632749"/>
                    <a:pt x="6916876" y="608039"/>
                    <a:pt x="6947358" y="608039"/>
                  </a:cubicBezTo>
                  <a:close/>
                  <a:moveTo>
                    <a:pt x="6817064" y="608039"/>
                  </a:moveTo>
                  <a:cubicBezTo>
                    <a:pt x="6847546" y="608039"/>
                    <a:pt x="6872256" y="632749"/>
                    <a:pt x="6872256" y="663230"/>
                  </a:cubicBezTo>
                  <a:cubicBezTo>
                    <a:pt x="6872256" y="693711"/>
                    <a:pt x="6847546" y="718421"/>
                    <a:pt x="6817064" y="718421"/>
                  </a:cubicBezTo>
                  <a:cubicBezTo>
                    <a:pt x="6786582" y="718421"/>
                    <a:pt x="6761872" y="693711"/>
                    <a:pt x="6761872" y="663230"/>
                  </a:cubicBezTo>
                  <a:cubicBezTo>
                    <a:pt x="6761872" y="632749"/>
                    <a:pt x="6786582" y="608039"/>
                    <a:pt x="6817064" y="608039"/>
                  </a:cubicBezTo>
                  <a:close/>
                  <a:moveTo>
                    <a:pt x="6683431" y="608039"/>
                  </a:moveTo>
                  <a:cubicBezTo>
                    <a:pt x="6713913" y="608039"/>
                    <a:pt x="6738623" y="632749"/>
                    <a:pt x="6738623" y="663230"/>
                  </a:cubicBezTo>
                  <a:cubicBezTo>
                    <a:pt x="6738623" y="693711"/>
                    <a:pt x="6713913" y="718421"/>
                    <a:pt x="6683431" y="718421"/>
                  </a:cubicBezTo>
                  <a:cubicBezTo>
                    <a:pt x="6652949" y="718421"/>
                    <a:pt x="6628239" y="693711"/>
                    <a:pt x="6628239" y="663230"/>
                  </a:cubicBezTo>
                  <a:cubicBezTo>
                    <a:pt x="6628239" y="632749"/>
                    <a:pt x="6652949" y="608039"/>
                    <a:pt x="6683431" y="608039"/>
                  </a:cubicBezTo>
                  <a:close/>
                  <a:moveTo>
                    <a:pt x="6155573" y="608039"/>
                  </a:moveTo>
                  <a:cubicBezTo>
                    <a:pt x="6186055" y="608039"/>
                    <a:pt x="6210765" y="632749"/>
                    <a:pt x="6210765" y="663230"/>
                  </a:cubicBezTo>
                  <a:cubicBezTo>
                    <a:pt x="6210765" y="693711"/>
                    <a:pt x="6186055" y="718421"/>
                    <a:pt x="6155573" y="718421"/>
                  </a:cubicBezTo>
                  <a:cubicBezTo>
                    <a:pt x="6125091" y="718421"/>
                    <a:pt x="6100381" y="693711"/>
                    <a:pt x="6100381" y="663230"/>
                  </a:cubicBezTo>
                  <a:cubicBezTo>
                    <a:pt x="6100381" y="632749"/>
                    <a:pt x="6125091" y="608039"/>
                    <a:pt x="6155573" y="608039"/>
                  </a:cubicBezTo>
                  <a:close/>
                  <a:moveTo>
                    <a:pt x="5487399" y="608039"/>
                  </a:moveTo>
                  <a:cubicBezTo>
                    <a:pt x="5517881" y="608039"/>
                    <a:pt x="5542591" y="632749"/>
                    <a:pt x="5542591" y="663230"/>
                  </a:cubicBezTo>
                  <a:cubicBezTo>
                    <a:pt x="5542591" y="693711"/>
                    <a:pt x="5517881" y="718421"/>
                    <a:pt x="5487399" y="718421"/>
                  </a:cubicBezTo>
                  <a:cubicBezTo>
                    <a:pt x="5456917" y="718421"/>
                    <a:pt x="5432207" y="693711"/>
                    <a:pt x="5432207" y="663230"/>
                  </a:cubicBezTo>
                  <a:cubicBezTo>
                    <a:pt x="5432207" y="632749"/>
                    <a:pt x="5456917" y="608039"/>
                    <a:pt x="5487399" y="608039"/>
                  </a:cubicBezTo>
                  <a:close/>
                  <a:moveTo>
                    <a:pt x="5357106" y="608039"/>
                  </a:moveTo>
                  <a:cubicBezTo>
                    <a:pt x="5387588" y="608039"/>
                    <a:pt x="5412298" y="632749"/>
                    <a:pt x="5412298" y="663230"/>
                  </a:cubicBezTo>
                  <a:cubicBezTo>
                    <a:pt x="5412298" y="693711"/>
                    <a:pt x="5387588" y="718421"/>
                    <a:pt x="5357106" y="718421"/>
                  </a:cubicBezTo>
                  <a:cubicBezTo>
                    <a:pt x="5326624" y="718421"/>
                    <a:pt x="5301914" y="693711"/>
                    <a:pt x="5301914" y="663230"/>
                  </a:cubicBezTo>
                  <a:cubicBezTo>
                    <a:pt x="5301914" y="632749"/>
                    <a:pt x="5326624" y="608039"/>
                    <a:pt x="5357106" y="608039"/>
                  </a:cubicBezTo>
                  <a:close/>
                  <a:moveTo>
                    <a:pt x="5223473" y="608038"/>
                  </a:moveTo>
                  <a:cubicBezTo>
                    <a:pt x="5253955" y="608038"/>
                    <a:pt x="5278665" y="632748"/>
                    <a:pt x="5278665" y="663229"/>
                  </a:cubicBezTo>
                  <a:cubicBezTo>
                    <a:pt x="5278665" y="693710"/>
                    <a:pt x="5253955" y="718420"/>
                    <a:pt x="5223473" y="718420"/>
                  </a:cubicBezTo>
                  <a:cubicBezTo>
                    <a:pt x="5192991" y="718420"/>
                    <a:pt x="5168281" y="693710"/>
                    <a:pt x="5168281" y="663229"/>
                  </a:cubicBezTo>
                  <a:cubicBezTo>
                    <a:pt x="5168281" y="632748"/>
                    <a:pt x="5192991" y="608038"/>
                    <a:pt x="5223473" y="608038"/>
                  </a:cubicBezTo>
                  <a:close/>
                  <a:moveTo>
                    <a:pt x="4030786" y="608038"/>
                  </a:moveTo>
                  <a:cubicBezTo>
                    <a:pt x="4061268" y="608038"/>
                    <a:pt x="4085978" y="632748"/>
                    <a:pt x="4085978" y="663229"/>
                  </a:cubicBezTo>
                  <a:cubicBezTo>
                    <a:pt x="4085978" y="693710"/>
                    <a:pt x="4061268" y="718420"/>
                    <a:pt x="4030786" y="718420"/>
                  </a:cubicBezTo>
                  <a:cubicBezTo>
                    <a:pt x="4000304" y="718420"/>
                    <a:pt x="3975594" y="693710"/>
                    <a:pt x="3975594" y="663229"/>
                  </a:cubicBezTo>
                  <a:cubicBezTo>
                    <a:pt x="3975594" y="632748"/>
                    <a:pt x="4000304" y="608038"/>
                    <a:pt x="4030786" y="608038"/>
                  </a:cubicBezTo>
                  <a:close/>
                  <a:moveTo>
                    <a:pt x="3897148" y="608038"/>
                  </a:moveTo>
                  <a:cubicBezTo>
                    <a:pt x="3927630" y="608038"/>
                    <a:pt x="3952340" y="632748"/>
                    <a:pt x="3952340" y="663229"/>
                  </a:cubicBezTo>
                  <a:cubicBezTo>
                    <a:pt x="3952340" y="693710"/>
                    <a:pt x="3927630" y="718420"/>
                    <a:pt x="3897148" y="718420"/>
                  </a:cubicBezTo>
                  <a:cubicBezTo>
                    <a:pt x="3866666" y="718420"/>
                    <a:pt x="3841956" y="693710"/>
                    <a:pt x="3841956" y="663229"/>
                  </a:cubicBezTo>
                  <a:cubicBezTo>
                    <a:pt x="3841956" y="632748"/>
                    <a:pt x="3866666" y="608038"/>
                    <a:pt x="3897148" y="608038"/>
                  </a:cubicBezTo>
                  <a:close/>
                  <a:moveTo>
                    <a:pt x="3763514" y="608038"/>
                  </a:moveTo>
                  <a:cubicBezTo>
                    <a:pt x="3793996" y="608038"/>
                    <a:pt x="3818706" y="632748"/>
                    <a:pt x="3818706" y="663229"/>
                  </a:cubicBezTo>
                  <a:cubicBezTo>
                    <a:pt x="3818706" y="693710"/>
                    <a:pt x="3793996" y="718420"/>
                    <a:pt x="3763514" y="718420"/>
                  </a:cubicBezTo>
                  <a:cubicBezTo>
                    <a:pt x="3733032" y="718420"/>
                    <a:pt x="3708322" y="693710"/>
                    <a:pt x="3708322" y="663229"/>
                  </a:cubicBezTo>
                  <a:cubicBezTo>
                    <a:pt x="3708322" y="632748"/>
                    <a:pt x="3733032" y="608038"/>
                    <a:pt x="3763514" y="608038"/>
                  </a:cubicBezTo>
                  <a:close/>
                  <a:moveTo>
                    <a:pt x="3633221" y="608038"/>
                  </a:moveTo>
                  <a:cubicBezTo>
                    <a:pt x="3663703" y="608038"/>
                    <a:pt x="3688413" y="632748"/>
                    <a:pt x="3688413" y="663229"/>
                  </a:cubicBezTo>
                  <a:cubicBezTo>
                    <a:pt x="3688413" y="693710"/>
                    <a:pt x="3663703" y="718420"/>
                    <a:pt x="3633221" y="718420"/>
                  </a:cubicBezTo>
                  <a:cubicBezTo>
                    <a:pt x="3602739" y="718420"/>
                    <a:pt x="3578029" y="693710"/>
                    <a:pt x="3578029" y="663229"/>
                  </a:cubicBezTo>
                  <a:cubicBezTo>
                    <a:pt x="3578029" y="632748"/>
                    <a:pt x="3602739" y="608038"/>
                    <a:pt x="3633221" y="608038"/>
                  </a:cubicBezTo>
                  <a:close/>
                  <a:moveTo>
                    <a:pt x="3499589" y="608038"/>
                  </a:moveTo>
                  <a:cubicBezTo>
                    <a:pt x="3530071" y="608038"/>
                    <a:pt x="3554781" y="632748"/>
                    <a:pt x="3554781" y="663229"/>
                  </a:cubicBezTo>
                  <a:cubicBezTo>
                    <a:pt x="3554781" y="693710"/>
                    <a:pt x="3530071" y="718420"/>
                    <a:pt x="3499589" y="718420"/>
                  </a:cubicBezTo>
                  <a:cubicBezTo>
                    <a:pt x="3469107" y="718420"/>
                    <a:pt x="3444397" y="693710"/>
                    <a:pt x="3444397" y="663229"/>
                  </a:cubicBezTo>
                  <a:cubicBezTo>
                    <a:pt x="3444397" y="632748"/>
                    <a:pt x="3469107" y="608038"/>
                    <a:pt x="3499589" y="608038"/>
                  </a:cubicBezTo>
                  <a:close/>
                  <a:moveTo>
                    <a:pt x="3369292" y="608038"/>
                  </a:moveTo>
                  <a:cubicBezTo>
                    <a:pt x="3399774" y="608038"/>
                    <a:pt x="3424484" y="632748"/>
                    <a:pt x="3424484" y="663229"/>
                  </a:cubicBezTo>
                  <a:cubicBezTo>
                    <a:pt x="3424484" y="693710"/>
                    <a:pt x="3399774" y="718420"/>
                    <a:pt x="3369292" y="718420"/>
                  </a:cubicBezTo>
                  <a:cubicBezTo>
                    <a:pt x="3338810" y="718420"/>
                    <a:pt x="3314100" y="693710"/>
                    <a:pt x="3314100" y="663229"/>
                  </a:cubicBezTo>
                  <a:cubicBezTo>
                    <a:pt x="3314100" y="632748"/>
                    <a:pt x="3338810" y="608038"/>
                    <a:pt x="3369292" y="608038"/>
                  </a:cubicBezTo>
                  <a:close/>
                  <a:moveTo>
                    <a:pt x="3235657" y="608038"/>
                  </a:moveTo>
                  <a:cubicBezTo>
                    <a:pt x="3266139" y="608038"/>
                    <a:pt x="3290849" y="632748"/>
                    <a:pt x="3290849" y="663229"/>
                  </a:cubicBezTo>
                  <a:cubicBezTo>
                    <a:pt x="3290849" y="693710"/>
                    <a:pt x="3266139" y="718420"/>
                    <a:pt x="3235657" y="718420"/>
                  </a:cubicBezTo>
                  <a:cubicBezTo>
                    <a:pt x="3205175" y="718420"/>
                    <a:pt x="3180465" y="693710"/>
                    <a:pt x="3180465" y="663229"/>
                  </a:cubicBezTo>
                  <a:cubicBezTo>
                    <a:pt x="3180465" y="632748"/>
                    <a:pt x="3205175" y="608038"/>
                    <a:pt x="3235657" y="608038"/>
                  </a:cubicBezTo>
                  <a:close/>
                  <a:moveTo>
                    <a:pt x="2570932" y="608038"/>
                  </a:moveTo>
                  <a:cubicBezTo>
                    <a:pt x="2601414" y="608038"/>
                    <a:pt x="2626123" y="632748"/>
                    <a:pt x="2626123" y="663229"/>
                  </a:cubicBezTo>
                  <a:cubicBezTo>
                    <a:pt x="2626123" y="693710"/>
                    <a:pt x="2601414" y="718420"/>
                    <a:pt x="2570932" y="718420"/>
                  </a:cubicBezTo>
                  <a:cubicBezTo>
                    <a:pt x="2540449" y="718420"/>
                    <a:pt x="2515738" y="693710"/>
                    <a:pt x="2515738" y="663229"/>
                  </a:cubicBezTo>
                  <a:cubicBezTo>
                    <a:pt x="2515738" y="632748"/>
                    <a:pt x="2540449" y="608038"/>
                    <a:pt x="2570932" y="608038"/>
                  </a:cubicBezTo>
                  <a:close/>
                  <a:moveTo>
                    <a:pt x="2437297" y="608038"/>
                  </a:moveTo>
                  <a:cubicBezTo>
                    <a:pt x="2467779" y="608038"/>
                    <a:pt x="2492487" y="632748"/>
                    <a:pt x="2492487" y="663229"/>
                  </a:cubicBezTo>
                  <a:cubicBezTo>
                    <a:pt x="2492487" y="693710"/>
                    <a:pt x="2467779" y="718420"/>
                    <a:pt x="2437297" y="718420"/>
                  </a:cubicBezTo>
                  <a:cubicBezTo>
                    <a:pt x="2406818" y="718420"/>
                    <a:pt x="2382108" y="693710"/>
                    <a:pt x="2382108" y="663229"/>
                  </a:cubicBezTo>
                  <a:cubicBezTo>
                    <a:pt x="2382108" y="632748"/>
                    <a:pt x="2406818" y="608038"/>
                    <a:pt x="2437297" y="608038"/>
                  </a:cubicBezTo>
                  <a:close/>
                  <a:moveTo>
                    <a:pt x="2303664" y="608038"/>
                  </a:moveTo>
                  <a:cubicBezTo>
                    <a:pt x="2334145" y="608038"/>
                    <a:pt x="2358856" y="632748"/>
                    <a:pt x="2358856" y="663229"/>
                  </a:cubicBezTo>
                  <a:cubicBezTo>
                    <a:pt x="2358856" y="693710"/>
                    <a:pt x="2334145" y="718420"/>
                    <a:pt x="2303664" y="718420"/>
                  </a:cubicBezTo>
                  <a:cubicBezTo>
                    <a:pt x="2273182" y="718420"/>
                    <a:pt x="2248473" y="693710"/>
                    <a:pt x="2248473" y="663229"/>
                  </a:cubicBezTo>
                  <a:cubicBezTo>
                    <a:pt x="2248473" y="632748"/>
                    <a:pt x="2273182" y="608038"/>
                    <a:pt x="2303664" y="608038"/>
                  </a:cubicBezTo>
                  <a:close/>
                  <a:moveTo>
                    <a:pt x="2173372" y="608038"/>
                  </a:moveTo>
                  <a:cubicBezTo>
                    <a:pt x="2203854" y="608038"/>
                    <a:pt x="2228565" y="632748"/>
                    <a:pt x="2228565" y="663229"/>
                  </a:cubicBezTo>
                  <a:cubicBezTo>
                    <a:pt x="2228565" y="693710"/>
                    <a:pt x="2203854" y="718420"/>
                    <a:pt x="2173372" y="718420"/>
                  </a:cubicBezTo>
                  <a:cubicBezTo>
                    <a:pt x="2142889" y="718420"/>
                    <a:pt x="2118180" y="693710"/>
                    <a:pt x="2118180" y="663229"/>
                  </a:cubicBezTo>
                  <a:cubicBezTo>
                    <a:pt x="2118180" y="632748"/>
                    <a:pt x="2142889" y="608038"/>
                    <a:pt x="2173372" y="608038"/>
                  </a:cubicBezTo>
                  <a:close/>
                  <a:moveTo>
                    <a:pt x="2039736" y="608038"/>
                  </a:moveTo>
                  <a:cubicBezTo>
                    <a:pt x="2070218" y="608038"/>
                    <a:pt x="2094930" y="632748"/>
                    <a:pt x="2094930" y="663229"/>
                  </a:cubicBezTo>
                  <a:cubicBezTo>
                    <a:pt x="2094930" y="693710"/>
                    <a:pt x="2070218" y="718420"/>
                    <a:pt x="2039736" y="718420"/>
                  </a:cubicBezTo>
                  <a:cubicBezTo>
                    <a:pt x="2009254" y="718420"/>
                    <a:pt x="1984543" y="693710"/>
                    <a:pt x="1984543" y="663229"/>
                  </a:cubicBezTo>
                  <a:cubicBezTo>
                    <a:pt x="1984543" y="632748"/>
                    <a:pt x="2009254" y="608038"/>
                    <a:pt x="2039736" y="608038"/>
                  </a:cubicBezTo>
                  <a:close/>
                  <a:moveTo>
                    <a:pt x="1909437" y="608038"/>
                  </a:moveTo>
                  <a:cubicBezTo>
                    <a:pt x="1939921" y="608038"/>
                    <a:pt x="1964630" y="632748"/>
                    <a:pt x="1964630" y="663229"/>
                  </a:cubicBezTo>
                  <a:cubicBezTo>
                    <a:pt x="1964630" y="693710"/>
                    <a:pt x="1939921" y="718420"/>
                    <a:pt x="1909437" y="718420"/>
                  </a:cubicBezTo>
                  <a:cubicBezTo>
                    <a:pt x="1878955" y="718420"/>
                    <a:pt x="1854244" y="693710"/>
                    <a:pt x="1854244" y="663229"/>
                  </a:cubicBezTo>
                  <a:cubicBezTo>
                    <a:pt x="1854244" y="632748"/>
                    <a:pt x="1878955" y="608038"/>
                    <a:pt x="1909437" y="608038"/>
                  </a:cubicBezTo>
                  <a:close/>
                  <a:moveTo>
                    <a:pt x="1779142" y="608038"/>
                  </a:moveTo>
                  <a:cubicBezTo>
                    <a:pt x="1809626" y="608038"/>
                    <a:pt x="1834335" y="632748"/>
                    <a:pt x="1834335" y="663229"/>
                  </a:cubicBezTo>
                  <a:cubicBezTo>
                    <a:pt x="1834335" y="693710"/>
                    <a:pt x="1809626" y="718420"/>
                    <a:pt x="1779142" y="718420"/>
                  </a:cubicBezTo>
                  <a:cubicBezTo>
                    <a:pt x="1748663" y="718420"/>
                    <a:pt x="1723950" y="693710"/>
                    <a:pt x="1723950" y="663229"/>
                  </a:cubicBezTo>
                  <a:cubicBezTo>
                    <a:pt x="1723950" y="632748"/>
                    <a:pt x="1748663" y="608038"/>
                    <a:pt x="1779142" y="608038"/>
                  </a:cubicBezTo>
                  <a:close/>
                  <a:moveTo>
                    <a:pt x="1645508" y="608038"/>
                  </a:moveTo>
                  <a:cubicBezTo>
                    <a:pt x="1675988" y="608038"/>
                    <a:pt x="1700702" y="632748"/>
                    <a:pt x="1700702" y="663229"/>
                  </a:cubicBezTo>
                  <a:cubicBezTo>
                    <a:pt x="1700702" y="693710"/>
                    <a:pt x="1675988" y="718420"/>
                    <a:pt x="1645508" y="718420"/>
                  </a:cubicBezTo>
                  <a:cubicBezTo>
                    <a:pt x="1615024" y="718420"/>
                    <a:pt x="1590311" y="693710"/>
                    <a:pt x="1590311" y="663229"/>
                  </a:cubicBezTo>
                  <a:cubicBezTo>
                    <a:pt x="1590311" y="632748"/>
                    <a:pt x="1615024" y="608038"/>
                    <a:pt x="1645508" y="608038"/>
                  </a:cubicBezTo>
                  <a:close/>
                  <a:moveTo>
                    <a:pt x="1515217" y="608038"/>
                  </a:moveTo>
                  <a:cubicBezTo>
                    <a:pt x="1545695" y="608038"/>
                    <a:pt x="1570402" y="632748"/>
                    <a:pt x="1570402" y="663229"/>
                  </a:cubicBezTo>
                  <a:cubicBezTo>
                    <a:pt x="1570402" y="693710"/>
                    <a:pt x="1545695" y="718420"/>
                    <a:pt x="1515217" y="718420"/>
                  </a:cubicBezTo>
                  <a:cubicBezTo>
                    <a:pt x="1484732" y="718420"/>
                    <a:pt x="1460020" y="693710"/>
                    <a:pt x="1460020" y="663229"/>
                  </a:cubicBezTo>
                  <a:cubicBezTo>
                    <a:pt x="1460020" y="632748"/>
                    <a:pt x="1484732" y="608038"/>
                    <a:pt x="1515217" y="608038"/>
                  </a:cubicBezTo>
                  <a:close/>
                  <a:moveTo>
                    <a:pt x="1381573" y="608038"/>
                  </a:moveTo>
                  <a:cubicBezTo>
                    <a:pt x="1412057" y="608038"/>
                    <a:pt x="1436767" y="632748"/>
                    <a:pt x="1436767" y="663229"/>
                  </a:cubicBezTo>
                  <a:cubicBezTo>
                    <a:pt x="1436767" y="693710"/>
                    <a:pt x="1412057" y="718420"/>
                    <a:pt x="1381573" y="718420"/>
                  </a:cubicBezTo>
                  <a:cubicBezTo>
                    <a:pt x="1351097" y="718420"/>
                    <a:pt x="1326384" y="693710"/>
                    <a:pt x="1326384" y="663229"/>
                  </a:cubicBezTo>
                  <a:cubicBezTo>
                    <a:pt x="1326384" y="632748"/>
                    <a:pt x="1351097" y="608038"/>
                    <a:pt x="1381573" y="608038"/>
                  </a:cubicBezTo>
                  <a:close/>
                  <a:moveTo>
                    <a:pt x="1251282" y="608038"/>
                  </a:moveTo>
                  <a:cubicBezTo>
                    <a:pt x="1281766" y="608038"/>
                    <a:pt x="1306476" y="632748"/>
                    <a:pt x="1306476" y="663229"/>
                  </a:cubicBezTo>
                  <a:cubicBezTo>
                    <a:pt x="1306476" y="693710"/>
                    <a:pt x="1281766" y="718420"/>
                    <a:pt x="1251282" y="718420"/>
                  </a:cubicBezTo>
                  <a:cubicBezTo>
                    <a:pt x="1220801" y="718420"/>
                    <a:pt x="1196089" y="693710"/>
                    <a:pt x="1196089" y="663229"/>
                  </a:cubicBezTo>
                  <a:cubicBezTo>
                    <a:pt x="1196089" y="632748"/>
                    <a:pt x="1220801" y="608038"/>
                    <a:pt x="1251282" y="608038"/>
                  </a:cubicBezTo>
                  <a:close/>
                  <a:moveTo>
                    <a:pt x="8143386" y="494447"/>
                  </a:moveTo>
                  <a:cubicBezTo>
                    <a:pt x="8173868" y="494447"/>
                    <a:pt x="8198578" y="519157"/>
                    <a:pt x="8198578" y="549638"/>
                  </a:cubicBezTo>
                  <a:cubicBezTo>
                    <a:pt x="8198578" y="580119"/>
                    <a:pt x="8173868" y="604829"/>
                    <a:pt x="8143386" y="604829"/>
                  </a:cubicBezTo>
                  <a:cubicBezTo>
                    <a:pt x="8112904" y="604829"/>
                    <a:pt x="8088194" y="580119"/>
                    <a:pt x="8088194" y="549638"/>
                  </a:cubicBezTo>
                  <a:cubicBezTo>
                    <a:pt x="8088194" y="519157"/>
                    <a:pt x="8112904" y="494447"/>
                    <a:pt x="8143386" y="494447"/>
                  </a:cubicBezTo>
                  <a:close/>
                  <a:moveTo>
                    <a:pt x="8009753" y="494447"/>
                  </a:moveTo>
                  <a:cubicBezTo>
                    <a:pt x="8040235" y="494447"/>
                    <a:pt x="8064945" y="519157"/>
                    <a:pt x="8064945" y="549638"/>
                  </a:cubicBezTo>
                  <a:cubicBezTo>
                    <a:pt x="8064945" y="580119"/>
                    <a:pt x="8040235" y="604829"/>
                    <a:pt x="8009753" y="604829"/>
                  </a:cubicBezTo>
                  <a:cubicBezTo>
                    <a:pt x="7979271" y="604829"/>
                    <a:pt x="7954561" y="580119"/>
                    <a:pt x="7954561" y="549638"/>
                  </a:cubicBezTo>
                  <a:cubicBezTo>
                    <a:pt x="7954561" y="519157"/>
                    <a:pt x="7979271" y="494447"/>
                    <a:pt x="8009753" y="494447"/>
                  </a:cubicBezTo>
                  <a:close/>
                  <a:moveTo>
                    <a:pt x="7876118" y="494447"/>
                  </a:moveTo>
                  <a:cubicBezTo>
                    <a:pt x="7906600" y="494447"/>
                    <a:pt x="7931310" y="519157"/>
                    <a:pt x="7931310" y="549638"/>
                  </a:cubicBezTo>
                  <a:cubicBezTo>
                    <a:pt x="7931310" y="580119"/>
                    <a:pt x="7906600" y="604829"/>
                    <a:pt x="7876118" y="604829"/>
                  </a:cubicBezTo>
                  <a:cubicBezTo>
                    <a:pt x="7845636" y="604829"/>
                    <a:pt x="7820926" y="580119"/>
                    <a:pt x="7820926" y="549638"/>
                  </a:cubicBezTo>
                  <a:cubicBezTo>
                    <a:pt x="7820926" y="519157"/>
                    <a:pt x="7845636" y="494447"/>
                    <a:pt x="7876118" y="494447"/>
                  </a:cubicBezTo>
                  <a:close/>
                  <a:moveTo>
                    <a:pt x="7745824" y="494447"/>
                  </a:moveTo>
                  <a:cubicBezTo>
                    <a:pt x="7776306" y="494447"/>
                    <a:pt x="7801016" y="519157"/>
                    <a:pt x="7801016" y="549638"/>
                  </a:cubicBezTo>
                  <a:cubicBezTo>
                    <a:pt x="7801016" y="580119"/>
                    <a:pt x="7776306" y="604829"/>
                    <a:pt x="7745824" y="604829"/>
                  </a:cubicBezTo>
                  <a:cubicBezTo>
                    <a:pt x="7715342" y="604829"/>
                    <a:pt x="7690632" y="580119"/>
                    <a:pt x="7690632" y="549638"/>
                  </a:cubicBezTo>
                  <a:cubicBezTo>
                    <a:pt x="7690632" y="519157"/>
                    <a:pt x="7715342" y="494447"/>
                    <a:pt x="7745824" y="494447"/>
                  </a:cubicBezTo>
                  <a:close/>
                  <a:moveTo>
                    <a:pt x="7608850" y="494447"/>
                  </a:moveTo>
                  <a:cubicBezTo>
                    <a:pt x="7639332" y="494447"/>
                    <a:pt x="7664042" y="519157"/>
                    <a:pt x="7664042" y="549638"/>
                  </a:cubicBezTo>
                  <a:cubicBezTo>
                    <a:pt x="7664042" y="580119"/>
                    <a:pt x="7639332" y="604829"/>
                    <a:pt x="7608850" y="604829"/>
                  </a:cubicBezTo>
                  <a:cubicBezTo>
                    <a:pt x="7578368" y="604829"/>
                    <a:pt x="7553658" y="580119"/>
                    <a:pt x="7553658" y="549638"/>
                  </a:cubicBezTo>
                  <a:cubicBezTo>
                    <a:pt x="7553658" y="519157"/>
                    <a:pt x="7578368" y="494447"/>
                    <a:pt x="7608850" y="494447"/>
                  </a:cubicBezTo>
                  <a:close/>
                  <a:moveTo>
                    <a:pt x="7481895" y="494447"/>
                  </a:moveTo>
                  <a:cubicBezTo>
                    <a:pt x="7512377" y="494447"/>
                    <a:pt x="7537087" y="519157"/>
                    <a:pt x="7537087" y="549638"/>
                  </a:cubicBezTo>
                  <a:cubicBezTo>
                    <a:pt x="7537087" y="580119"/>
                    <a:pt x="7512377" y="604829"/>
                    <a:pt x="7481895" y="604829"/>
                  </a:cubicBezTo>
                  <a:cubicBezTo>
                    <a:pt x="7451413" y="604829"/>
                    <a:pt x="7426703" y="580119"/>
                    <a:pt x="7426703" y="549638"/>
                  </a:cubicBezTo>
                  <a:cubicBezTo>
                    <a:pt x="7426703" y="519157"/>
                    <a:pt x="7451413" y="494447"/>
                    <a:pt x="7481895" y="494447"/>
                  </a:cubicBezTo>
                  <a:close/>
                  <a:moveTo>
                    <a:pt x="7341580" y="494447"/>
                  </a:moveTo>
                  <a:cubicBezTo>
                    <a:pt x="7372062" y="494447"/>
                    <a:pt x="7396772" y="519157"/>
                    <a:pt x="7396772" y="549638"/>
                  </a:cubicBezTo>
                  <a:cubicBezTo>
                    <a:pt x="7396772" y="580119"/>
                    <a:pt x="7372062" y="604829"/>
                    <a:pt x="7341580" y="604829"/>
                  </a:cubicBezTo>
                  <a:cubicBezTo>
                    <a:pt x="7311098" y="604829"/>
                    <a:pt x="7286388" y="580119"/>
                    <a:pt x="7286388" y="549638"/>
                  </a:cubicBezTo>
                  <a:cubicBezTo>
                    <a:pt x="7286388" y="519157"/>
                    <a:pt x="7311098" y="494447"/>
                    <a:pt x="7341580" y="494447"/>
                  </a:cubicBezTo>
                  <a:close/>
                  <a:moveTo>
                    <a:pt x="7211286" y="494447"/>
                  </a:moveTo>
                  <a:cubicBezTo>
                    <a:pt x="7241768" y="494447"/>
                    <a:pt x="7266478" y="519157"/>
                    <a:pt x="7266478" y="549638"/>
                  </a:cubicBezTo>
                  <a:cubicBezTo>
                    <a:pt x="7266478" y="580119"/>
                    <a:pt x="7241768" y="604829"/>
                    <a:pt x="7211286" y="604829"/>
                  </a:cubicBezTo>
                  <a:cubicBezTo>
                    <a:pt x="7180804" y="604829"/>
                    <a:pt x="7156094" y="580119"/>
                    <a:pt x="7156094" y="549638"/>
                  </a:cubicBezTo>
                  <a:cubicBezTo>
                    <a:pt x="7156094" y="519157"/>
                    <a:pt x="7180804" y="494447"/>
                    <a:pt x="7211286" y="494447"/>
                  </a:cubicBezTo>
                  <a:close/>
                  <a:moveTo>
                    <a:pt x="7080994" y="494447"/>
                  </a:moveTo>
                  <a:cubicBezTo>
                    <a:pt x="7111476" y="494447"/>
                    <a:pt x="7136186" y="519157"/>
                    <a:pt x="7136186" y="549638"/>
                  </a:cubicBezTo>
                  <a:cubicBezTo>
                    <a:pt x="7136186" y="580119"/>
                    <a:pt x="7111476" y="604829"/>
                    <a:pt x="7080994" y="604829"/>
                  </a:cubicBezTo>
                  <a:cubicBezTo>
                    <a:pt x="7050512" y="604829"/>
                    <a:pt x="7025802" y="580119"/>
                    <a:pt x="7025802" y="549638"/>
                  </a:cubicBezTo>
                  <a:cubicBezTo>
                    <a:pt x="7025802" y="519157"/>
                    <a:pt x="7050512" y="494447"/>
                    <a:pt x="7080994" y="494447"/>
                  </a:cubicBezTo>
                  <a:close/>
                  <a:moveTo>
                    <a:pt x="6947358" y="494447"/>
                  </a:moveTo>
                  <a:cubicBezTo>
                    <a:pt x="6977840" y="494447"/>
                    <a:pt x="7002550" y="519157"/>
                    <a:pt x="7002550" y="549638"/>
                  </a:cubicBezTo>
                  <a:cubicBezTo>
                    <a:pt x="7002550" y="580119"/>
                    <a:pt x="6977840" y="604829"/>
                    <a:pt x="6947358" y="604829"/>
                  </a:cubicBezTo>
                  <a:cubicBezTo>
                    <a:pt x="6916876" y="604829"/>
                    <a:pt x="6892166" y="580119"/>
                    <a:pt x="6892166" y="549638"/>
                  </a:cubicBezTo>
                  <a:cubicBezTo>
                    <a:pt x="6892166" y="519157"/>
                    <a:pt x="6916876" y="494447"/>
                    <a:pt x="6947358" y="494447"/>
                  </a:cubicBezTo>
                  <a:close/>
                  <a:moveTo>
                    <a:pt x="6289207" y="494447"/>
                  </a:moveTo>
                  <a:cubicBezTo>
                    <a:pt x="6319689" y="494447"/>
                    <a:pt x="6344399" y="519157"/>
                    <a:pt x="6344399" y="549638"/>
                  </a:cubicBezTo>
                  <a:cubicBezTo>
                    <a:pt x="6344399" y="580119"/>
                    <a:pt x="6319689" y="604829"/>
                    <a:pt x="6289207" y="604829"/>
                  </a:cubicBezTo>
                  <a:cubicBezTo>
                    <a:pt x="6258725" y="604829"/>
                    <a:pt x="6234015" y="580119"/>
                    <a:pt x="6234015" y="549638"/>
                  </a:cubicBezTo>
                  <a:cubicBezTo>
                    <a:pt x="6234015" y="519157"/>
                    <a:pt x="6258725" y="494447"/>
                    <a:pt x="6289207" y="494447"/>
                  </a:cubicBezTo>
                  <a:close/>
                  <a:moveTo>
                    <a:pt x="4030786" y="494447"/>
                  </a:moveTo>
                  <a:cubicBezTo>
                    <a:pt x="4061268" y="494447"/>
                    <a:pt x="4085978" y="519157"/>
                    <a:pt x="4085978" y="549638"/>
                  </a:cubicBezTo>
                  <a:cubicBezTo>
                    <a:pt x="4085978" y="580119"/>
                    <a:pt x="4061268" y="604829"/>
                    <a:pt x="4030786" y="604829"/>
                  </a:cubicBezTo>
                  <a:cubicBezTo>
                    <a:pt x="4000304" y="604829"/>
                    <a:pt x="3975594" y="580119"/>
                    <a:pt x="3975594" y="549638"/>
                  </a:cubicBezTo>
                  <a:cubicBezTo>
                    <a:pt x="3975594" y="519157"/>
                    <a:pt x="4000304" y="494447"/>
                    <a:pt x="4030786" y="494447"/>
                  </a:cubicBezTo>
                  <a:close/>
                  <a:moveTo>
                    <a:pt x="3897148" y="494447"/>
                  </a:moveTo>
                  <a:cubicBezTo>
                    <a:pt x="3927630" y="494447"/>
                    <a:pt x="3952340" y="519157"/>
                    <a:pt x="3952340" y="549638"/>
                  </a:cubicBezTo>
                  <a:cubicBezTo>
                    <a:pt x="3952340" y="580119"/>
                    <a:pt x="3927630" y="604829"/>
                    <a:pt x="3897148" y="604829"/>
                  </a:cubicBezTo>
                  <a:cubicBezTo>
                    <a:pt x="3866666" y="604829"/>
                    <a:pt x="3841956" y="580119"/>
                    <a:pt x="3841956" y="549638"/>
                  </a:cubicBezTo>
                  <a:cubicBezTo>
                    <a:pt x="3841956" y="519157"/>
                    <a:pt x="3866666" y="494447"/>
                    <a:pt x="3897148" y="494447"/>
                  </a:cubicBezTo>
                  <a:close/>
                  <a:moveTo>
                    <a:pt x="3763514" y="494447"/>
                  </a:moveTo>
                  <a:cubicBezTo>
                    <a:pt x="3793996" y="494447"/>
                    <a:pt x="3818706" y="519157"/>
                    <a:pt x="3818706" y="549638"/>
                  </a:cubicBezTo>
                  <a:cubicBezTo>
                    <a:pt x="3818706" y="580119"/>
                    <a:pt x="3793996" y="604829"/>
                    <a:pt x="3763514" y="604829"/>
                  </a:cubicBezTo>
                  <a:cubicBezTo>
                    <a:pt x="3733032" y="604829"/>
                    <a:pt x="3708322" y="580119"/>
                    <a:pt x="3708322" y="549638"/>
                  </a:cubicBezTo>
                  <a:cubicBezTo>
                    <a:pt x="3708322" y="519157"/>
                    <a:pt x="3733032" y="494447"/>
                    <a:pt x="3763514" y="494447"/>
                  </a:cubicBezTo>
                  <a:close/>
                  <a:moveTo>
                    <a:pt x="3633221" y="494447"/>
                  </a:moveTo>
                  <a:cubicBezTo>
                    <a:pt x="3663703" y="494447"/>
                    <a:pt x="3688413" y="519157"/>
                    <a:pt x="3688413" y="549638"/>
                  </a:cubicBezTo>
                  <a:cubicBezTo>
                    <a:pt x="3688413" y="580119"/>
                    <a:pt x="3663703" y="604829"/>
                    <a:pt x="3633221" y="604829"/>
                  </a:cubicBezTo>
                  <a:cubicBezTo>
                    <a:pt x="3602739" y="604829"/>
                    <a:pt x="3578029" y="580119"/>
                    <a:pt x="3578029" y="549638"/>
                  </a:cubicBezTo>
                  <a:cubicBezTo>
                    <a:pt x="3578029" y="519157"/>
                    <a:pt x="3602739" y="494447"/>
                    <a:pt x="3633221" y="494447"/>
                  </a:cubicBezTo>
                  <a:close/>
                  <a:moveTo>
                    <a:pt x="3499589" y="494447"/>
                  </a:moveTo>
                  <a:cubicBezTo>
                    <a:pt x="3530071" y="494447"/>
                    <a:pt x="3554781" y="519157"/>
                    <a:pt x="3554781" y="549638"/>
                  </a:cubicBezTo>
                  <a:cubicBezTo>
                    <a:pt x="3554781" y="580119"/>
                    <a:pt x="3530071" y="604829"/>
                    <a:pt x="3499589" y="604829"/>
                  </a:cubicBezTo>
                  <a:cubicBezTo>
                    <a:pt x="3469107" y="604829"/>
                    <a:pt x="3444397" y="580119"/>
                    <a:pt x="3444397" y="549638"/>
                  </a:cubicBezTo>
                  <a:cubicBezTo>
                    <a:pt x="3444397" y="519157"/>
                    <a:pt x="3469107" y="494447"/>
                    <a:pt x="3499589" y="494447"/>
                  </a:cubicBezTo>
                  <a:close/>
                  <a:moveTo>
                    <a:pt x="3369292" y="494447"/>
                  </a:moveTo>
                  <a:cubicBezTo>
                    <a:pt x="3399774" y="494447"/>
                    <a:pt x="3424484" y="519157"/>
                    <a:pt x="3424484" y="549638"/>
                  </a:cubicBezTo>
                  <a:cubicBezTo>
                    <a:pt x="3424484" y="580119"/>
                    <a:pt x="3399774" y="604829"/>
                    <a:pt x="3369292" y="604829"/>
                  </a:cubicBezTo>
                  <a:cubicBezTo>
                    <a:pt x="3338810" y="604829"/>
                    <a:pt x="3314100" y="580119"/>
                    <a:pt x="3314100" y="549638"/>
                  </a:cubicBezTo>
                  <a:cubicBezTo>
                    <a:pt x="3314100" y="519157"/>
                    <a:pt x="3338810" y="494447"/>
                    <a:pt x="3369292" y="494447"/>
                  </a:cubicBezTo>
                  <a:close/>
                  <a:moveTo>
                    <a:pt x="3235657" y="494447"/>
                  </a:moveTo>
                  <a:cubicBezTo>
                    <a:pt x="3266139" y="494447"/>
                    <a:pt x="3290849" y="519157"/>
                    <a:pt x="3290849" y="549638"/>
                  </a:cubicBezTo>
                  <a:cubicBezTo>
                    <a:pt x="3290849" y="580119"/>
                    <a:pt x="3266139" y="604829"/>
                    <a:pt x="3235657" y="604829"/>
                  </a:cubicBezTo>
                  <a:cubicBezTo>
                    <a:pt x="3205175" y="604829"/>
                    <a:pt x="3180465" y="580119"/>
                    <a:pt x="3180465" y="549638"/>
                  </a:cubicBezTo>
                  <a:cubicBezTo>
                    <a:pt x="3180465" y="519157"/>
                    <a:pt x="3205175" y="494447"/>
                    <a:pt x="3235657" y="494447"/>
                  </a:cubicBezTo>
                  <a:close/>
                  <a:moveTo>
                    <a:pt x="2437297" y="494447"/>
                  </a:moveTo>
                  <a:cubicBezTo>
                    <a:pt x="2467779" y="494447"/>
                    <a:pt x="2492487" y="519157"/>
                    <a:pt x="2492487" y="549638"/>
                  </a:cubicBezTo>
                  <a:cubicBezTo>
                    <a:pt x="2492487" y="580119"/>
                    <a:pt x="2467779" y="604829"/>
                    <a:pt x="2437297" y="604829"/>
                  </a:cubicBezTo>
                  <a:cubicBezTo>
                    <a:pt x="2406818" y="604829"/>
                    <a:pt x="2382108" y="580119"/>
                    <a:pt x="2382108" y="549638"/>
                  </a:cubicBezTo>
                  <a:cubicBezTo>
                    <a:pt x="2382108" y="519157"/>
                    <a:pt x="2406818" y="494447"/>
                    <a:pt x="2437297" y="494447"/>
                  </a:cubicBezTo>
                  <a:close/>
                  <a:moveTo>
                    <a:pt x="2303664" y="494447"/>
                  </a:moveTo>
                  <a:cubicBezTo>
                    <a:pt x="2334145" y="494447"/>
                    <a:pt x="2358856" y="519157"/>
                    <a:pt x="2358856" y="549638"/>
                  </a:cubicBezTo>
                  <a:cubicBezTo>
                    <a:pt x="2358856" y="580119"/>
                    <a:pt x="2334145" y="604829"/>
                    <a:pt x="2303664" y="604829"/>
                  </a:cubicBezTo>
                  <a:cubicBezTo>
                    <a:pt x="2273182" y="604829"/>
                    <a:pt x="2248473" y="580119"/>
                    <a:pt x="2248473" y="549638"/>
                  </a:cubicBezTo>
                  <a:cubicBezTo>
                    <a:pt x="2248473" y="519157"/>
                    <a:pt x="2273182" y="494447"/>
                    <a:pt x="2303664" y="494447"/>
                  </a:cubicBezTo>
                  <a:close/>
                  <a:moveTo>
                    <a:pt x="2173372" y="494447"/>
                  </a:moveTo>
                  <a:cubicBezTo>
                    <a:pt x="2203854" y="494447"/>
                    <a:pt x="2228565" y="519157"/>
                    <a:pt x="2228565" y="549638"/>
                  </a:cubicBezTo>
                  <a:cubicBezTo>
                    <a:pt x="2228565" y="580119"/>
                    <a:pt x="2203854" y="604829"/>
                    <a:pt x="2173372" y="604829"/>
                  </a:cubicBezTo>
                  <a:cubicBezTo>
                    <a:pt x="2142889" y="604829"/>
                    <a:pt x="2118180" y="580119"/>
                    <a:pt x="2118180" y="549638"/>
                  </a:cubicBezTo>
                  <a:cubicBezTo>
                    <a:pt x="2118180" y="519157"/>
                    <a:pt x="2142889" y="494447"/>
                    <a:pt x="2173372" y="494447"/>
                  </a:cubicBezTo>
                  <a:close/>
                  <a:moveTo>
                    <a:pt x="2039736" y="494447"/>
                  </a:moveTo>
                  <a:cubicBezTo>
                    <a:pt x="2070218" y="494447"/>
                    <a:pt x="2094930" y="519157"/>
                    <a:pt x="2094930" y="549638"/>
                  </a:cubicBezTo>
                  <a:cubicBezTo>
                    <a:pt x="2094930" y="580119"/>
                    <a:pt x="2070218" y="604829"/>
                    <a:pt x="2039736" y="604829"/>
                  </a:cubicBezTo>
                  <a:cubicBezTo>
                    <a:pt x="2009254" y="604829"/>
                    <a:pt x="1984543" y="580119"/>
                    <a:pt x="1984543" y="549638"/>
                  </a:cubicBezTo>
                  <a:cubicBezTo>
                    <a:pt x="1984543" y="519157"/>
                    <a:pt x="2009254" y="494447"/>
                    <a:pt x="2039736" y="494447"/>
                  </a:cubicBezTo>
                  <a:close/>
                  <a:moveTo>
                    <a:pt x="1909437" y="494447"/>
                  </a:moveTo>
                  <a:cubicBezTo>
                    <a:pt x="1939921" y="494447"/>
                    <a:pt x="1964630" y="519157"/>
                    <a:pt x="1964630" y="549638"/>
                  </a:cubicBezTo>
                  <a:cubicBezTo>
                    <a:pt x="1964630" y="580119"/>
                    <a:pt x="1939921" y="604829"/>
                    <a:pt x="1909437" y="604829"/>
                  </a:cubicBezTo>
                  <a:cubicBezTo>
                    <a:pt x="1878955" y="604829"/>
                    <a:pt x="1854244" y="580119"/>
                    <a:pt x="1854244" y="549638"/>
                  </a:cubicBezTo>
                  <a:cubicBezTo>
                    <a:pt x="1854244" y="519157"/>
                    <a:pt x="1878955" y="494447"/>
                    <a:pt x="1909437" y="494447"/>
                  </a:cubicBezTo>
                  <a:close/>
                  <a:moveTo>
                    <a:pt x="1779142" y="494447"/>
                  </a:moveTo>
                  <a:cubicBezTo>
                    <a:pt x="1809626" y="494447"/>
                    <a:pt x="1834335" y="519157"/>
                    <a:pt x="1834335" y="549638"/>
                  </a:cubicBezTo>
                  <a:cubicBezTo>
                    <a:pt x="1834335" y="580119"/>
                    <a:pt x="1809626" y="604829"/>
                    <a:pt x="1779142" y="604829"/>
                  </a:cubicBezTo>
                  <a:cubicBezTo>
                    <a:pt x="1748663" y="604829"/>
                    <a:pt x="1723950" y="580119"/>
                    <a:pt x="1723950" y="549638"/>
                  </a:cubicBezTo>
                  <a:cubicBezTo>
                    <a:pt x="1723950" y="519157"/>
                    <a:pt x="1748663" y="494447"/>
                    <a:pt x="1779142" y="494447"/>
                  </a:cubicBezTo>
                  <a:close/>
                  <a:moveTo>
                    <a:pt x="1645508" y="494447"/>
                  </a:moveTo>
                  <a:cubicBezTo>
                    <a:pt x="1675988" y="494447"/>
                    <a:pt x="1700702" y="519157"/>
                    <a:pt x="1700702" y="549638"/>
                  </a:cubicBezTo>
                  <a:cubicBezTo>
                    <a:pt x="1700702" y="580119"/>
                    <a:pt x="1675988" y="604829"/>
                    <a:pt x="1645508" y="604829"/>
                  </a:cubicBezTo>
                  <a:cubicBezTo>
                    <a:pt x="1615024" y="604829"/>
                    <a:pt x="1590311" y="580119"/>
                    <a:pt x="1590311" y="549638"/>
                  </a:cubicBezTo>
                  <a:cubicBezTo>
                    <a:pt x="1590311" y="519157"/>
                    <a:pt x="1615024" y="494447"/>
                    <a:pt x="1645508" y="494447"/>
                  </a:cubicBezTo>
                  <a:close/>
                  <a:moveTo>
                    <a:pt x="1515217" y="494447"/>
                  </a:moveTo>
                  <a:cubicBezTo>
                    <a:pt x="1545695" y="494447"/>
                    <a:pt x="1570402" y="519157"/>
                    <a:pt x="1570402" y="549638"/>
                  </a:cubicBezTo>
                  <a:cubicBezTo>
                    <a:pt x="1570402" y="580119"/>
                    <a:pt x="1545695" y="604829"/>
                    <a:pt x="1515217" y="604829"/>
                  </a:cubicBezTo>
                  <a:cubicBezTo>
                    <a:pt x="1484732" y="604829"/>
                    <a:pt x="1460020" y="580119"/>
                    <a:pt x="1460020" y="549638"/>
                  </a:cubicBezTo>
                  <a:cubicBezTo>
                    <a:pt x="1460020" y="519157"/>
                    <a:pt x="1484732" y="494447"/>
                    <a:pt x="1515217" y="494447"/>
                  </a:cubicBezTo>
                  <a:close/>
                  <a:moveTo>
                    <a:pt x="1381573" y="494447"/>
                  </a:moveTo>
                  <a:cubicBezTo>
                    <a:pt x="1412057" y="494447"/>
                    <a:pt x="1436767" y="519157"/>
                    <a:pt x="1436767" y="549638"/>
                  </a:cubicBezTo>
                  <a:cubicBezTo>
                    <a:pt x="1436767" y="580119"/>
                    <a:pt x="1412057" y="604829"/>
                    <a:pt x="1381573" y="604829"/>
                  </a:cubicBezTo>
                  <a:cubicBezTo>
                    <a:pt x="1351097" y="604829"/>
                    <a:pt x="1326384" y="580119"/>
                    <a:pt x="1326384" y="549638"/>
                  </a:cubicBezTo>
                  <a:cubicBezTo>
                    <a:pt x="1326384" y="519157"/>
                    <a:pt x="1351097" y="494447"/>
                    <a:pt x="1381573" y="494447"/>
                  </a:cubicBezTo>
                  <a:close/>
                  <a:moveTo>
                    <a:pt x="1251282" y="494447"/>
                  </a:moveTo>
                  <a:cubicBezTo>
                    <a:pt x="1281766" y="494447"/>
                    <a:pt x="1306476" y="519157"/>
                    <a:pt x="1306476" y="549638"/>
                  </a:cubicBezTo>
                  <a:cubicBezTo>
                    <a:pt x="1306476" y="580119"/>
                    <a:pt x="1281766" y="604829"/>
                    <a:pt x="1251282" y="604829"/>
                  </a:cubicBezTo>
                  <a:cubicBezTo>
                    <a:pt x="1220801" y="604829"/>
                    <a:pt x="1196089" y="580119"/>
                    <a:pt x="1196089" y="549638"/>
                  </a:cubicBezTo>
                  <a:cubicBezTo>
                    <a:pt x="1196089" y="519157"/>
                    <a:pt x="1220801" y="494447"/>
                    <a:pt x="1251282" y="494447"/>
                  </a:cubicBezTo>
                  <a:close/>
                  <a:moveTo>
                    <a:pt x="8801538" y="364154"/>
                  </a:moveTo>
                  <a:cubicBezTo>
                    <a:pt x="8832020" y="364154"/>
                    <a:pt x="8856730" y="388864"/>
                    <a:pt x="8856730" y="419345"/>
                  </a:cubicBezTo>
                  <a:cubicBezTo>
                    <a:pt x="8856730" y="449826"/>
                    <a:pt x="8832020" y="474536"/>
                    <a:pt x="8801538" y="474536"/>
                  </a:cubicBezTo>
                  <a:cubicBezTo>
                    <a:pt x="8771056" y="474536"/>
                    <a:pt x="8746346" y="449826"/>
                    <a:pt x="8746346" y="419345"/>
                  </a:cubicBezTo>
                  <a:cubicBezTo>
                    <a:pt x="8746346" y="388864"/>
                    <a:pt x="8771056" y="364154"/>
                    <a:pt x="8801538" y="364154"/>
                  </a:cubicBezTo>
                  <a:close/>
                  <a:moveTo>
                    <a:pt x="8671244" y="364154"/>
                  </a:moveTo>
                  <a:cubicBezTo>
                    <a:pt x="8701726" y="364154"/>
                    <a:pt x="8726436" y="388864"/>
                    <a:pt x="8726436" y="419345"/>
                  </a:cubicBezTo>
                  <a:cubicBezTo>
                    <a:pt x="8726436" y="449826"/>
                    <a:pt x="8701726" y="474536"/>
                    <a:pt x="8671244" y="474536"/>
                  </a:cubicBezTo>
                  <a:cubicBezTo>
                    <a:pt x="8640762" y="474536"/>
                    <a:pt x="8616052" y="449826"/>
                    <a:pt x="8616052" y="419345"/>
                  </a:cubicBezTo>
                  <a:cubicBezTo>
                    <a:pt x="8616052" y="388864"/>
                    <a:pt x="8640762" y="364154"/>
                    <a:pt x="8671244" y="364154"/>
                  </a:cubicBezTo>
                  <a:close/>
                  <a:moveTo>
                    <a:pt x="8537609" y="364154"/>
                  </a:moveTo>
                  <a:cubicBezTo>
                    <a:pt x="8568091" y="364154"/>
                    <a:pt x="8592801" y="388864"/>
                    <a:pt x="8592801" y="419345"/>
                  </a:cubicBezTo>
                  <a:cubicBezTo>
                    <a:pt x="8592801" y="449826"/>
                    <a:pt x="8568091" y="474536"/>
                    <a:pt x="8537609" y="474536"/>
                  </a:cubicBezTo>
                  <a:cubicBezTo>
                    <a:pt x="8507127" y="474536"/>
                    <a:pt x="8482417" y="449826"/>
                    <a:pt x="8482417" y="419345"/>
                  </a:cubicBezTo>
                  <a:cubicBezTo>
                    <a:pt x="8482417" y="388864"/>
                    <a:pt x="8507127" y="364154"/>
                    <a:pt x="8537609" y="364154"/>
                  </a:cubicBezTo>
                  <a:close/>
                  <a:moveTo>
                    <a:pt x="7745824" y="364154"/>
                  </a:moveTo>
                  <a:cubicBezTo>
                    <a:pt x="7776306" y="364154"/>
                    <a:pt x="7801016" y="388864"/>
                    <a:pt x="7801016" y="419345"/>
                  </a:cubicBezTo>
                  <a:cubicBezTo>
                    <a:pt x="7801016" y="449826"/>
                    <a:pt x="7776306" y="474536"/>
                    <a:pt x="7745824" y="474536"/>
                  </a:cubicBezTo>
                  <a:cubicBezTo>
                    <a:pt x="7715342" y="474536"/>
                    <a:pt x="7690632" y="449826"/>
                    <a:pt x="7690632" y="419345"/>
                  </a:cubicBezTo>
                  <a:cubicBezTo>
                    <a:pt x="7690632" y="388864"/>
                    <a:pt x="7715342" y="364154"/>
                    <a:pt x="7745824" y="364154"/>
                  </a:cubicBezTo>
                  <a:close/>
                  <a:moveTo>
                    <a:pt x="7608850" y="364154"/>
                  </a:moveTo>
                  <a:cubicBezTo>
                    <a:pt x="7639332" y="364154"/>
                    <a:pt x="7664042" y="388864"/>
                    <a:pt x="7664042" y="419345"/>
                  </a:cubicBezTo>
                  <a:cubicBezTo>
                    <a:pt x="7664042" y="449826"/>
                    <a:pt x="7639332" y="474536"/>
                    <a:pt x="7608850" y="474536"/>
                  </a:cubicBezTo>
                  <a:cubicBezTo>
                    <a:pt x="7578368" y="474536"/>
                    <a:pt x="7553658" y="449826"/>
                    <a:pt x="7553658" y="419345"/>
                  </a:cubicBezTo>
                  <a:cubicBezTo>
                    <a:pt x="7553658" y="388864"/>
                    <a:pt x="7578368" y="364154"/>
                    <a:pt x="7608850" y="364154"/>
                  </a:cubicBezTo>
                  <a:close/>
                  <a:moveTo>
                    <a:pt x="7481895" y="364154"/>
                  </a:moveTo>
                  <a:cubicBezTo>
                    <a:pt x="7512377" y="364154"/>
                    <a:pt x="7537087" y="388864"/>
                    <a:pt x="7537087" y="419345"/>
                  </a:cubicBezTo>
                  <a:cubicBezTo>
                    <a:pt x="7537087" y="449826"/>
                    <a:pt x="7512377" y="474536"/>
                    <a:pt x="7481895" y="474536"/>
                  </a:cubicBezTo>
                  <a:cubicBezTo>
                    <a:pt x="7451413" y="474536"/>
                    <a:pt x="7426703" y="449826"/>
                    <a:pt x="7426703" y="419345"/>
                  </a:cubicBezTo>
                  <a:cubicBezTo>
                    <a:pt x="7426703" y="388864"/>
                    <a:pt x="7451413" y="364154"/>
                    <a:pt x="7481895" y="364154"/>
                  </a:cubicBezTo>
                  <a:close/>
                  <a:moveTo>
                    <a:pt x="7341580" y="364154"/>
                  </a:moveTo>
                  <a:cubicBezTo>
                    <a:pt x="7372062" y="364154"/>
                    <a:pt x="7396772" y="388864"/>
                    <a:pt x="7396772" y="419345"/>
                  </a:cubicBezTo>
                  <a:cubicBezTo>
                    <a:pt x="7396772" y="449826"/>
                    <a:pt x="7372062" y="474536"/>
                    <a:pt x="7341580" y="474536"/>
                  </a:cubicBezTo>
                  <a:cubicBezTo>
                    <a:pt x="7311098" y="474536"/>
                    <a:pt x="7286388" y="449826"/>
                    <a:pt x="7286388" y="419345"/>
                  </a:cubicBezTo>
                  <a:cubicBezTo>
                    <a:pt x="7286388" y="388864"/>
                    <a:pt x="7311098" y="364154"/>
                    <a:pt x="7341580" y="364154"/>
                  </a:cubicBezTo>
                  <a:close/>
                  <a:moveTo>
                    <a:pt x="6553137" y="364154"/>
                  </a:moveTo>
                  <a:cubicBezTo>
                    <a:pt x="6583619" y="364154"/>
                    <a:pt x="6608329" y="388864"/>
                    <a:pt x="6608329" y="419345"/>
                  </a:cubicBezTo>
                  <a:cubicBezTo>
                    <a:pt x="6608329" y="449826"/>
                    <a:pt x="6583619" y="474536"/>
                    <a:pt x="6553137" y="474536"/>
                  </a:cubicBezTo>
                  <a:cubicBezTo>
                    <a:pt x="6522655" y="474536"/>
                    <a:pt x="6497945" y="449826"/>
                    <a:pt x="6497945" y="419345"/>
                  </a:cubicBezTo>
                  <a:cubicBezTo>
                    <a:pt x="6497945" y="388864"/>
                    <a:pt x="6522655" y="364154"/>
                    <a:pt x="6553137" y="364154"/>
                  </a:cubicBezTo>
                  <a:close/>
                  <a:moveTo>
                    <a:pt x="6419503" y="364154"/>
                  </a:moveTo>
                  <a:cubicBezTo>
                    <a:pt x="6449985" y="364154"/>
                    <a:pt x="6474695" y="388864"/>
                    <a:pt x="6474695" y="419345"/>
                  </a:cubicBezTo>
                  <a:cubicBezTo>
                    <a:pt x="6474695" y="449826"/>
                    <a:pt x="6449985" y="474536"/>
                    <a:pt x="6419503" y="474536"/>
                  </a:cubicBezTo>
                  <a:cubicBezTo>
                    <a:pt x="6389021" y="474536"/>
                    <a:pt x="6364311" y="449826"/>
                    <a:pt x="6364311" y="419345"/>
                  </a:cubicBezTo>
                  <a:cubicBezTo>
                    <a:pt x="6364311" y="388864"/>
                    <a:pt x="6389021" y="364154"/>
                    <a:pt x="6419503" y="364154"/>
                  </a:cubicBezTo>
                  <a:close/>
                  <a:moveTo>
                    <a:pt x="4030786" y="364154"/>
                  </a:moveTo>
                  <a:cubicBezTo>
                    <a:pt x="4061268" y="364154"/>
                    <a:pt x="4085978" y="388864"/>
                    <a:pt x="4085978" y="419345"/>
                  </a:cubicBezTo>
                  <a:cubicBezTo>
                    <a:pt x="4085978" y="449826"/>
                    <a:pt x="4061268" y="474536"/>
                    <a:pt x="4030786" y="474536"/>
                  </a:cubicBezTo>
                  <a:cubicBezTo>
                    <a:pt x="4000304" y="474536"/>
                    <a:pt x="3975594" y="449826"/>
                    <a:pt x="3975594" y="419345"/>
                  </a:cubicBezTo>
                  <a:cubicBezTo>
                    <a:pt x="3975594" y="388864"/>
                    <a:pt x="4000304" y="364154"/>
                    <a:pt x="4030786" y="364154"/>
                  </a:cubicBezTo>
                  <a:close/>
                  <a:moveTo>
                    <a:pt x="3897148" y="364154"/>
                  </a:moveTo>
                  <a:cubicBezTo>
                    <a:pt x="3927630" y="364154"/>
                    <a:pt x="3952340" y="388864"/>
                    <a:pt x="3952340" y="419345"/>
                  </a:cubicBezTo>
                  <a:cubicBezTo>
                    <a:pt x="3952340" y="449826"/>
                    <a:pt x="3927630" y="474536"/>
                    <a:pt x="3897148" y="474536"/>
                  </a:cubicBezTo>
                  <a:cubicBezTo>
                    <a:pt x="3866666" y="474536"/>
                    <a:pt x="3841956" y="449826"/>
                    <a:pt x="3841956" y="419345"/>
                  </a:cubicBezTo>
                  <a:cubicBezTo>
                    <a:pt x="3841956" y="388864"/>
                    <a:pt x="3866666" y="364154"/>
                    <a:pt x="3897148" y="364154"/>
                  </a:cubicBezTo>
                  <a:close/>
                  <a:moveTo>
                    <a:pt x="3763514" y="364154"/>
                  </a:moveTo>
                  <a:cubicBezTo>
                    <a:pt x="3793996" y="364154"/>
                    <a:pt x="3818706" y="388864"/>
                    <a:pt x="3818706" y="419345"/>
                  </a:cubicBezTo>
                  <a:cubicBezTo>
                    <a:pt x="3818706" y="449826"/>
                    <a:pt x="3793996" y="474536"/>
                    <a:pt x="3763514" y="474536"/>
                  </a:cubicBezTo>
                  <a:cubicBezTo>
                    <a:pt x="3733032" y="474536"/>
                    <a:pt x="3708322" y="449826"/>
                    <a:pt x="3708322" y="419345"/>
                  </a:cubicBezTo>
                  <a:cubicBezTo>
                    <a:pt x="3708322" y="388864"/>
                    <a:pt x="3733032" y="364154"/>
                    <a:pt x="3763514" y="364154"/>
                  </a:cubicBezTo>
                  <a:close/>
                  <a:moveTo>
                    <a:pt x="3633221" y="364154"/>
                  </a:moveTo>
                  <a:cubicBezTo>
                    <a:pt x="3663703" y="364154"/>
                    <a:pt x="3688413" y="388864"/>
                    <a:pt x="3688413" y="419345"/>
                  </a:cubicBezTo>
                  <a:cubicBezTo>
                    <a:pt x="3688413" y="449826"/>
                    <a:pt x="3663703" y="474536"/>
                    <a:pt x="3633221" y="474536"/>
                  </a:cubicBezTo>
                  <a:cubicBezTo>
                    <a:pt x="3602739" y="474536"/>
                    <a:pt x="3578029" y="449826"/>
                    <a:pt x="3578029" y="419345"/>
                  </a:cubicBezTo>
                  <a:cubicBezTo>
                    <a:pt x="3578029" y="388864"/>
                    <a:pt x="3602739" y="364154"/>
                    <a:pt x="3633221" y="364154"/>
                  </a:cubicBezTo>
                  <a:close/>
                  <a:moveTo>
                    <a:pt x="3499589" y="364154"/>
                  </a:moveTo>
                  <a:cubicBezTo>
                    <a:pt x="3530071" y="364154"/>
                    <a:pt x="3554781" y="388864"/>
                    <a:pt x="3554781" y="419345"/>
                  </a:cubicBezTo>
                  <a:cubicBezTo>
                    <a:pt x="3554781" y="449826"/>
                    <a:pt x="3530071" y="474536"/>
                    <a:pt x="3499589" y="474536"/>
                  </a:cubicBezTo>
                  <a:cubicBezTo>
                    <a:pt x="3469107" y="474536"/>
                    <a:pt x="3444397" y="449826"/>
                    <a:pt x="3444397" y="419345"/>
                  </a:cubicBezTo>
                  <a:cubicBezTo>
                    <a:pt x="3444397" y="388864"/>
                    <a:pt x="3469107" y="364154"/>
                    <a:pt x="3499589" y="364154"/>
                  </a:cubicBezTo>
                  <a:close/>
                  <a:moveTo>
                    <a:pt x="3369292" y="364154"/>
                  </a:moveTo>
                  <a:cubicBezTo>
                    <a:pt x="3399774" y="364154"/>
                    <a:pt x="3424484" y="388864"/>
                    <a:pt x="3424484" y="419345"/>
                  </a:cubicBezTo>
                  <a:cubicBezTo>
                    <a:pt x="3424484" y="449826"/>
                    <a:pt x="3399774" y="474536"/>
                    <a:pt x="3369292" y="474536"/>
                  </a:cubicBezTo>
                  <a:cubicBezTo>
                    <a:pt x="3338810" y="474536"/>
                    <a:pt x="3314100" y="449826"/>
                    <a:pt x="3314100" y="419345"/>
                  </a:cubicBezTo>
                  <a:cubicBezTo>
                    <a:pt x="3314100" y="388864"/>
                    <a:pt x="3338810" y="364154"/>
                    <a:pt x="3369292" y="364154"/>
                  </a:cubicBezTo>
                  <a:close/>
                  <a:moveTo>
                    <a:pt x="3235657" y="364154"/>
                  </a:moveTo>
                  <a:cubicBezTo>
                    <a:pt x="3266139" y="364154"/>
                    <a:pt x="3290849" y="388864"/>
                    <a:pt x="3290849" y="419345"/>
                  </a:cubicBezTo>
                  <a:cubicBezTo>
                    <a:pt x="3290849" y="449826"/>
                    <a:pt x="3266139" y="474536"/>
                    <a:pt x="3235657" y="474536"/>
                  </a:cubicBezTo>
                  <a:cubicBezTo>
                    <a:pt x="3205175" y="474536"/>
                    <a:pt x="3180465" y="449826"/>
                    <a:pt x="3180465" y="419345"/>
                  </a:cubicBezTo>
                  <a:cubicBezTo>
                    <a:pt x="3180465" y="388864"/>
                    <a:pt x="3205175" y="364154"/>
                    <a:pt x="3235657" y="364154"/>
                  </a:cubicBezTo>
                  <a:close/>
                  <a:moveTo>
                    <a:pt x="3098681" y="364154"/>
                  </a:moveTo>
                  <a:cubicBezTo>
                    <a:pt x="3129163" y="364154"/>
                    <a:pt x="3153873" y="388864"/>
                    <a:pt x="3153873" y="419345"/>
                  </a:cubicBezTo>
                  <a:cubicBezTo>
                    <a:pt x="3153873" y="449826"/>
                    <a:pt x="3129163" y="474536"/>
                    <a:pt x="3098681" y="474536"/>
                  </a:cubicBezTo>
                  <a:cubicBezTo>
                    <a:pt x="3068199" y="474536"/>
                    <a:pt x="3043489" y="449826"/>
                    <a:pt x="3043489" y="419345"/>
                  </a:cubicBezTo>
                  <a:cubicBezTo>
                    <a:pt x="3043489" y="388864"/>
                    <a:pt x="3068199" y="364154"/>
                    <a:pt x="3098681" y="364154"/>
                  </a:cubicBezTo>
                  <a:close/>
                  <a:moveTo>
                    <a:pt x="2971729" y="364154"/>
                  </a:moveTo>
                  <a:cubicBezTo>
                    <a:pt x="3002211" y="364154"/>
                    <a:pt x="3026921" y="388864"/>
                    <a:pt x="3026921" y="419345"/>
                  </a:cubicBezTo>
                  <a:cubicBezTo>
                    <a:pt x="3026921" y="449826"/>
                    <a:pt x="3002211" y="474536"/>
                    <a:pt x="2971729" y="474536"/>
                  </a:cubicBezTo>
                  <a:cubicBezTo>
                    <a:pt x="2941247" y="474536"/>
                    <a:pt x="2916537" y="449826"/>
                    <a:pt x="2916537" y="419345"/>
                  </a:cubicBezTo>
                  <a:cubicBezTo>
                    <a:pt x="2916537" y="388864"/>
                    <a:pt x="2941247" y="364154"/>
                    <a:pt x="2971729" y="364154"/>
                  </a:cubicBezTo>
                  <a:close/>
                  <a:moveTo>
                    <a:pt x="2834862" y="364154"/>
                  </a:moveTo>
                  <a:cubicBezTo>
                    <a:pt x="2865342" y="364154"/>
                    <a:pt x="2890052" y="388864"/>
                    <a:pt x="2890052" y="419345"/>
                  </a:cubicBezTo>
                  <a:cubicBezTo>
                    <a:pt x="2890052" y="449826"/>
                    <a:pt x="2865342" y="474536"/>
                    <a:pt x="2834862" y="474536"/>
                  </a:cubicBezTo>
                  <a:cubicBezTo>
                    <a:pt x="2804379" y="474536"/>
                    <a:pt x="2779671" y="449826"/>
                    <a:pt x="2779671" y="419345"/>
                  </a:cubicBezTo>
                  <a:cubicBezTo>
                    <a:pt x="2779671" y="388864"/>
                    <a:pt x="2804379" y="364154"/>
                    <a:pt x="2834862" y="364154"/>
                  </a:cubicBezTo>
                  <a:close/>
                  <a:moveTo>
                    <a:pt x="2437297" y="364154"/>
                  </a:moveTo>
                  <a:cubicBezTo>
                    <a:pt x="2467781" y="364154"/>
                    <a:pt x="2492487" y="388864"/>
                    <a:pt x="2492487" y="419345"/>
                  </a:cubicBezTo>
                  <a:cubicBezTo>
                    <a:pt x="2492487" y="449826"/>
                    <a:pt x="2467781" y="474536"/>
                    <a:pt x="2437297" y="474536"/>
                  </a:cubicBezTo>
                  <a:cubicBezTo>
                    <a:pt x="2406818" y="474536"/>
                    <a:pt x="2382108" y="449826"/>
                    <a:pt x="2382108" y="419345"/>
                  </a:cubicBezTo>
                  <a:cubicBezTo>
                    <a:pt x="2382108" y="388864"/>
                    <a:pt x="2406818" y="364154"/>
                    <a:pt x="2437297" y="364154"/>
                  </a:cubicBezTo>
                  <a:close/>
                  <a:moveTo>
                    <a:pt x="2303664" y="364154"/>
                  </a:moveTo>
                  <a:cubicBezTo>
                    <a:pt x="2334146" y="364154"/>
                    <a:pt x="2358856" y="388864"/>
                    <a:pt x="2358856" y="419345"/>
                  </a:cubicBezTo>
                  <a:cubicBezTo>
                    <a:pt x="2358856" y="449826"/>
                    <a:pt x="2334146" y="474536"/>
                    <a:pt x="2303664" y="474536"/>
                  </a:cubicBezTo>
                  <a:cubicBezTo>
                    <a:pt x="2273184" y="474536"/>
                    <a:pt x="2248473" y="449826"/>
                    <a:pt x="2248473" y="419345"/>
                  </a:cubicBezTo>
                  <a:cubicBezTo>
                    <a:pt x="2248473" y="388864"/>
                    <a:pt x="2273184" y="364154"/>
                    <a:pt x="2303664" y="364154"/>
                  </a:cubicBezTo>
                  <a:close/>
                  <a:moveTo>
                    <a:pt x="2173372" y="364154"/>
                  </a:moveTo>
                  <a:cubicBezTo>
                    <a:pt x="2203854" y="364154"/>
                    <a:pt x="2228565" y="388864"/>
                    <a:pt x="2228565" y="419345"/>
                  </a:cubicBezTo>
                  <a:cubicBezTo>
                    <a:pt x="2228565" y="449826"/>
                    <a:pt x="2203854" y="474536"/>
                    <a:pt x="2173372" y="474536"/>
                  </a:cubicBezTo>
                  <a:cubicBezTo>
                    <a:pt x="2142892" y="474536"/>
                    <a:pt x="2118180" y="449826"/>
                    <a:pt x="2118180" y="419345"/>
                  </a:cubicBezTo>
                  <a:cubicBezTo>
                    <a:pt x="2118180" y="388864"/>
                    <a:pt x="2142892" y="364154"/>
                    <a:pt x="2173372" y="364154"/>
                  </a:cubicBezTo>
                  <a:close/>
                  <a:moveTo>
                    <a:pt x="2039736" y="364154"/>
                  </a:moveTo>
                  <a:cubicBezTo>
                    <a:pt x="2070218" y="364154"/>
                    <a:pt x="2094930" y="388864"/>
                    <a:pt x="2094930" y="419345"/>
                  </a:cubicBezTo>
                  <a:cubicBezTo>
                    <a:pt x="2094930" y="449826"/>
                    <a:pt x="2070218" y="474536"/>
                    <a:pt x="2039736" y="474536"/>
                  </a:cubicBezTo>
                  <a:cubicBezTo>
                    <a:pt x="2009254" y="474536"/>
                    <a:pt x="1984543" y="449826"/>
                    <a:pt x="1984543" y="419345"/>
                  </a:cubicBezTo>
                  <a:cubicBezTo>
                    <a:pt x="1984543" y="388864"/>
                    <a:pt x="2009254" y="364154"/>
                    <a:pt x="2039736" y="364154"/>
                  </a:cubicBezTo>
                  <a:close/>
                  <a:moveTo>
                    <a:pt x="1909440" y="364154"/>
                  </a:moveTo>
                  <a:cubicBezTo>
                    <a:pt x="1939922" y="364154"/>
                    <a:pt x="1964634" y="388864"/>
                    <a:pt x="1964634" y="419345"/>
                  </a:cubicBezTo>
                  <a:cubicBezTo>
                    <a:pt x="1964634" y="449826"/>
                    <a:pt x="1939922" y="474536"/>
                    <a:pt x="1909440" y="474536"/>
                  </a:cubicBezTo>
                  <a:cubicBezTo>
                    <a:pt x="1878957" y="474536"/>
                    <a:pt x="1854246" y="449826"/>
                    <a:pt x="1854246" y="419345"/>
                  </a:cubicBezTo>
                  <a:cubicBezTo>
                    <a:pt x="1854246" y="388864"/>
                    <a:pt x="1878957" y="364154"/>
                    <a:pt x="1909440" y="364154"/>
                  </a:cubicBezTo>
                  <a:close/>
                  <a:moveTo>
                    <a:pt x="1779142" y="364154"/>
                  </a:moveTo>
                  <a:cubicBezTo>
                    <a:pt x="1809626" y="364154"/>
                    <a:pt x="1834337" y="388864"/>
                    <a:pt x="1834337" y="419345"/>
                  </a:cubicBezTo>
                  <a:cubicBezTo>
                    <a:pt x="1834337" y="449826"/>
                    <a:pt x="1809626" y="474536"/>
                    <a:pt x="1779142" y="474536"/>
                  </a:cubicBezTo>
                  <a:cubicBezTo>
                    <a:pt x="1748663" y="474536"/>
                    <a:pt x="1723951" y="449826"/>
                    <a:pt x="1723951" y="419345"/>
                  </a:cubicBezTo>
                  <a:cubicBezTo>
                    <a:pt x="1723951" y="388864"/>
                    <a:pt x="1748663" y="364154"/>
                    <a:pt x="1779142" y="364154"/>
                  </a:cubicBezTo>
                  <a:close/>
                  <a:moveTo>
                    <a:pt x="1645508" y="364154"/>
                  </a:moveTo>
                  <a:cubicBezTo>
                    <a:pt x="1675988" y="364154"/>
                    <a:pt x="1700702" y="388864"/>
                    <a:pt x="1700702" y="419345"/>
                  </a:cubicBezTo>
                  <a:cubicBezTo>
                    <a:pt x="1700702" y="449826"/>
                    <a:pt x="1675988" y="474536"/>
                    <a:pt x="1645508" y="474536"/>
                  </a:cubicBezTo>
                  <a:cubicBezTo>
                    <a:pt x="1615024" y="474536"/>
                    <a:pt x="1590313" y="449826"/>
                    <a:pt x="1590313" y="419345"/>
                  </a:cubicBezTo>
                  <a:cubicBezTo>
                    <a:pt x="1590313" y="388864"/>
                    <a:pt x="1615024" y="364154"/>
                    <a:pt x="1645508" y="364154"/>
                  </a:cubicBezTo>
                  <a:close/>
                  <a:moveTo>
                    <a:pt x="1515217" y="364154"/>
                  </a:moveTo>
                  <a:cubicBezTo>
                    <a:pt x="1545695" y="364154"/>
                    <a:pt x="1570405" y="388864"/>
                    <a:pt x="1570405" y="419345"/>
                  </a:cubicBezTo>
                  <a:cubicBezTo>
                    <a:pt x="1570405" y="449826"/>
                    <a:pt x="1545695" y="474536"/>
                    <a:pt x="1515217" y="474536"/>
                  </a:cubicBezTo>
                  <a:cubicBezTo>
                    <a:pt x="1484732" y="474536"/>
                    <a:pt x="1460020" y="449826"/>
                    <a:pt x="1460020" y="419345"/>
                  </a:cubicBezTo>
                  <a:cubicBezTo>
                    <a:pt x="1460020" y="388864"/>
                    <a:pt x="1484732" y="364154"/>
                    <a:pt x="1515217" y="364154"/>
                  </a:cubicBezTo>
                  <a:close/>
                  <a:moveTo>
                    <a:pt x="1381573" y="364154"/>
                  </a:moveTo>
                  <a:cubicBezTo>
                    <a:pt x="1412060" y="364154"/>
                    <a:pt x="1436767" y="388864"/>
                    <a:pt x="1436767" y="419345"/>
                  </a:cubicBezTo>
                  <a:cubicBezTo>
                    <a:pt x="1436767" y="449826"/>
                    <a:pt x="1412060" y="474536"/>
                    <a:pt x="1381573" y="474536"/>
                  </a:cubicBezTo>
                  <a:cubicBezTo>
                    <a:pt x="1351097" y="474536"/>
                    <a:pt x="1326384" y="449826"/>
                    <a:pt x="1326384" y="419345"/>
                  </a:cubicBezTo>
                  <a:cubicBezTo>
                    <a:pt x="1326384" y="388864"/>
                    <a:pt x="1351097" y="364154"/>
                    <a:pt x="1381573" y="364154"/>
                  </a:cubicBezTo>
                  <a:close/>
                  <a:moveTo>
                    <a:pt x="1251283" y="364154"/>
                  </a:moveTo>
                  <a:cubicBezTo>
                    <a:pt x="1281766" y="364154"/>
                    <a:pt x="1306476" y="388864"/>
                    <a:pt x="1306476" y="419345"/>
                  </a:cubicBezTo>
                  <a:cubicBezTo>
                    <a:pt x="1306476" y="449826"/>
                    <a:pt x="1281766" y="474536"/>
                    <a:pt x="1251283" y="474536"/>
                  </a:cubicBezTo>
                  <a:cubicBezTo>
                    <a:pt x="1220801" y="474536"/>
                    <a:pt x="1196091" y="449826"/>
                    <a:pt x="1196091" y="419345"/>
                  </a:cubicBezTo>
                  <a:cubicBezTo>
                    <a:pt x="1196091" y="388864"/>
                    <a:pt x="1220801" y="364154"/>
                    <a:pt x="1251283" y="364154"/>
                  </a:cubicBezTo>
                  <a:close/>
                  <a:moveTo>
                    <a:pt x="7608850" y="247225"/>
                  </a:moveTo>
                  <a:cubicBezTo>
                    <a:pt x="7639332" y="247225"/>
                    <a:pt x="7664042" y="271935"/>
                    <a:pt x="7664042" y="302416"/>
                  </a:cubicBezTo>
                  <a:cubicBezTo>
                    <a:pt x="7664042" y="332897"/>
                    <a:pt x="7639332" y="357607"/>
                    <a:pt x="7608850" y="357607"/>
                  </a:cubicBezTo>
                  <a:cubicBezTo>
                    <a:pt x="7578368" y="357607"/>
                    <a:pt x="7553658" y="332897"/>
                    <a:pt x="7553658" y="302416"/>
                  </a:cubicBezTo>
                  <a:cubicBezTo>
                    <a:pt x="7553658" y="271935"/>
                    <a:pt x="7578368" y="247225"/>
                    <a:pt x="7608850" y="247225"/>
                  </a:cubicBezTo>
                  <a:close/>
                  <a:moveTo>
                    <a:pt x="7481898" y="247225"/>
                  </a:moveTo>
                  <a:cubicBezTo>
                    <a:pt x="7512380" y="247225"/>
                    <a:pt x="7537090" y="271935"/>
                    <a:pt x="7537090" y="302416"/>
                  </a:cubicBezTo>
                  <a:cubicBezTo>
                    <a:pt x="7537090" y="332897"/>
                    <a:pt x="7512380" y="357607"/>
                    <a:pt x="7481898" y="357607"/>
                  </a:cubicBezTo>
                  <a:cubicBezTo>
                    <a:pt x="7451416" y="357607"/>
                    <a:pt x="7426706" y="332897"/>
                    <a:pt x="7426706" y="302416"/>
                  </a:cubicBezTo>
                  <a:cubicBezTo>
                    <a:pt x="7426706" y="271935"/>
                    <a:pt x="7451416" y="247225"/>
                    <a:pt x="7481898" y="247225"/>
                  </a:cubicBezTo>
                  <a:close/>
                  <a:moveTo>
                    <a:pt x="5093178" y="247225"/>
                  </a:moveTo>
                  <a:cubicBezTo>
                    <a:pt x="5123660" y="247225"/>
                    <a:pt x="5148370" y="271935"/>
                    <a:pt x="5148370" y="302416"/>
                  </a:cubicBezTo>
                  <a:cubicBezTo>
                    <a:pt x="5148370" y="332897"/>
                    <a:pt x="5123660" y="357607"/>
                    <a:pt x="5093178" y="357607"/>
                  </a:cubicBezTo>
                  <a:cubicBezTo>
                    <a:pt x="5062696" y="357607"/>
                    <a:pt x="5037986" y="332897"/>
                    <a:pt x="5037986" y="302416"/>
                  </a:cubicBezTo>
                  <a:cubicBezTo>
                    <a:pt x="5037986" y="271935"/>
                    <a:pt x="5062696" y="247225"/>
                    <a:pt x="5093178" y="247225"/>
                  </a:cubicBezTo>
                  <a:close/>
                  <a:moveTo>
                    <a:pt x="4030786" y="247225"/>
                  </a:moveTo>
                  <a:cubicBezTo>
                    <a:pt x="4061268" y="247225"/>
                    <a:pt x="4085978" y="271935"/>
                    <a:pt x="4085978" y="302416"/>
                  </a:cubicBezTo>
                  <a:cubicBezTo>
                    <a:pt x="4085978" y="332897"/>
                    <a:pt x="4061268" y="357607"/>
                    <a:pt x="4030786" y="357607"/>
                  </a:cubicBezTo>
                  <a:cubicBezTo>
                    <a:pt x="4000304" y="357607"/>
                    <a:pt x="3975594" y="332897"/>
                    <a:pt x="3975594" y="302416"/>
                  </a:cubicBezTo>
                  <a:cubicBezTo>
                    <a:pt x="3975594" y="271935"/>
                    <a:pt x="4000304" y="247225"/>
                    <a:pt x="4030786" y="247225"/>
                  </a:cubicBezTo>
                  <a:close/>
                  <a:moveTo>
                    <a:pt x="3897148" y="247225"/>
                  </a:moveTo>
                  <a:cubicBezTo>
                    <a:pt x="3927630" y="247225"/>
                    <a:pt x="3952340" y="271935"/>
                    <a:pt x="3952340" y="302416"/>
                  </a:cubicBezTo>
                  <a:cubicBezTo>
                    <a:pt x="3952340" y="332897"/>
                    <a:pt x="3927630" y="357607"/>
                    <a:pt x="3897148" y="357607"/>
                  </a:cubicBezTo>
                  <a:cubicBezTo>
                    <a:pt x="3866666" y="357607"/>
                    <a:pt x="3841956" y="332897"/>
                    <a:pt x="3841956" y="302416"/>
                  </a:cubicBezTo>
                  <a:cubicBezTo>
                    <a:pt x="3841956" y="271935"/>
                    <a:pt x="3866666" y="247225"/>
                    <a:pt x="3897148" y="247225"/>
                  </a:cubicBezTo>
                  <a:close/>
                  <a:moveTo>
                    <a:pt x="3763514" y="247225"/>
                  </a:moveTo>
                  <a:cubicBezTo>
                    <a:pt x="3793996" y="247225"/>
                    <a:pt x="3818706" y="271935"/>
                    <a:pt x="3818706" y="302416"/>
                  </a:cubicBezTo>
                  <a:cubicBezTo>
                    <a:pt x="3818706" y="332897"/>
                    <a:pt x="3793996" y="357607"/>
                    <a:pt x="3763514" y="357607"/>
                  </a:cubicBezTo>
                  <a:cubicBezTo>
                    <a:pt x="3733032" y="357607"/>
                    <a:pt x="3708322" y="332897"/>
                    <a:pt x="3708322" y="302416"/>
                  </a:cubicBezTo>
                  <a:cubicBezTo>
                    <a:pt x="3708322" y="271935"/>
                    <a:pt x="3733032" y="247225"/>
                    <a:pt x="3763514" y="247225"/>
                  </a:cubicBezTo>
                  <a:close/>
                  <a:moveTo>
                    <a:pt x="3633221" y="247225"/>
                  </a:moveTo>
                  <a:cubicBezTo>
                    <a:pt x="3663703" y="247225"/>
                    <a:pt x="3688413" y="271935"/>
                    <a:pt x="3688413" y="302416"/>
                  </a:cubicBezTo>
                  <a:cubicBezTo>
                    <a:pt x="3688413" y="332897"/>
                    <a:pt x="3663703" y="357607"/>
                    <a:pt x="3633221" y="357607"/>
                  </a:cubicBezTo>
                  <a:cubicBezTo>
                    <a:pt x="3602739" y="357607"/>
                    <a:pt x="3578029" y="332897"/>
                    <a:pt x="3578029" y="302416"/>
                  </a:cubicBezTo>
                  <a:cubicBezTo>
                    <a:pt x="3578029" y="271935"/>
                    <a:pt x="3602739" y="247225"/>
                    <a:pt x="3633221" y="247225"/>
                  </a:cubicBezTo>
                  <a:close/>
                  <a:moveTo>
                    <a:pt x="3499589" y="247225"/>
                  </a:moveTo>
                  <a:cubicBezTo>
                    <a:pt x="3530071" y="247225"/>
                    <a:pt x="3554781" y="271935"/>
                    <a:pt x="3554781" y="302416"/>
                  </a:cubicBezTo>
                  <a:cubicBezTo>
                    <a:pt x="3554781" y="332897"/>
                    <a:pt x="3530071" y="357607"/>
                    <a:pt x="3499589" y="357607"/>
                  </a:cubicBezTo>
                  <a:cubicBezTo>
                    <a:pt x="3469107" y="357607"/>
                    <a:pt x="3444397" y="332897"/>
                    <a:pt x="3444397" y="302416"/>
                  </a:cubicBezTo>
                  <a:cubicBezTo>
                    <a:pt x="3444397" y="271935"/>
                    <a:pt x="3469107" y="247225"/>
                    <a:pt x="3499589" y="247225"/>
                  </a:cubicBezTo>
                  <a:close/>
                  <a:moveTo>
                    <a:pt x="3369293" y="247225"/>
                  </a:moveTo>
                  <a:cubicBezTo>
                    <a:pt x="3399775" y="247225"/>
                    <a:pt x="3424485" y="271935"/>
                    <a:pt x="3424485" y="302416"/>
                  </a:cubicBezTo>
                  <a:cubicBezTo>
                    <a:pt x="3424485" y="332897"/>
                    <a:pt x="3399775" y="357607"/>
                    <a:pt x="3369293" y="357607"/>
                  </a:cubicBezTo>
                  <a:cubicBezTo>
                    <a:pt x="3338811" y="357607"/>
                    <a:pt x="3314101" y="332897"/>
                    <a:pt x="3314101" y="302416"/>
                  </a:cubicBezTo>
                  <a:cubicBezTo>
                    <a:pt x="3314101" y="271935"/>
                    <a:pt x="3338811" y="247225"/>
                    <a:pt x="3369293" y="247225"/>
                  </a:cubicBezTo>
                  <a:close/>
                  <a:moveTo>
                    <a:pt x="3235657" y="247225"/>
                  </a:moveTo>
                  <a:cubicBezTo>
                    <a:pt x="3266139" y="247225"/>
                    <a:pt x="3290849" y="271935"/>
                    <a:pt x="3290849" y="302416"/>
                  </a:cubicBezTo>
                  <a:cubicBezTo>
                    <a:pt x="3290849" y="332897"/>
                    <a:pt x="3266139" y="357607"/>
                    <a:pt x="3235657" y="357607"/>
                  </a:cubicBezTo>
                  <a:cubicBezTo>
                    <a:pt x="3205175" y="357607"/>
                    <a:pt x="3180465" y="332897"/>
                    <a:pt x="3180465" y="302416"/>
                  </a:cubicBezTo>
                  <a:cubicBezTo>
                    <a:pt x="3180465" y="271935"/>
                    <a:pt x="3205175" y="247225"/>
                    <a:pt x="3235657" y="247225"/>
                  </a:cubicBezTo>
                  <a:close/>
                  <a:moveTo>
                    <a:pt x="3098682" y="247225"/>
                  </a:moveTo>
                  <a:cubicBezTo>
                    <a:pt x="3129164" y="247225"/>
                    <a:pt x="3153874" y="271935"/>
                    <a:pt x="3153874" y="302416"/>
                  </a:cubicBezTo>
                  <a:cubicBezTo>
                    <a:pt x="3153874" y="332897"/>
                    <a:pt x="3129164" y="357607"/>
                    <a:pt x="3098682" y="357607"/>
                  </a:cubicBezTo>
                  <a:cubicBezTo>
                    <a:pt x="3068200" y="357607"/>
                    <a:pt x="3043490" y="332897"/>
                    <a:pt x="3043490" y="302416"/>
                  </a:cubicBezTo>
                  <a:cubicBezTo>
                    <a:pt x="3043490" y="271935"/>
                    <a:pt x="3068200" y="247225"/>
                    <a:pt x="3098682" y="247225"/>
                  </a:cubicBezTo>
                  <a:close/>
                  <a:moveTo>
                    <a:pt x="2971729" y="247225"/>
                  </a:moveTo>
                  <a:cubicBezTo>
                    <a:pt x="3002211" y="247225"/>
                    <a:pt x="3026921" y="271935"/>
                    <a:pt x="3026921" y="302416"/>
                  </a:cubicBezTo>
                  <a:cubicBezTo>
                    <a:pt x="3026921" y="332897"/>
                    <a:pt x="3002211" y="357607"/>
                    <a:pt x="2971729" y="357607"/>
                  </a:cubicBezTo>
                  <a:cubicBezTo>
                    <a:pt x="2941247" y="357607"/>
                    <a:pt x="2916537" y="332897"/>
                    <a:pt x="2916537" y="302416"/>
                  </a:cubicBezTo>
                  <a:cubicBezTo>
                    <a:pt x="2916537" y="271935"/>
                    <a:pt x="2941247" y="247225"/>
                    <a:pt x="2971729" y="247225"/>
                  </a:cubicBezTo>
                  <a:close/>
                  <a:moveTo>
                    <a:pt x="2834862" y="247225"/>
                  </a:moveTo>
                  <a:cubicBezTo>
                    <a:pt x="2865342" y="247225"/>
                    <a:pt x="2890052" y="271935"/>
                    <a:pt x="2890052" y="302416"/>
                  </a:cubicBezTo>
                  <a:cubicBezTo>
                    <a:pt x="2890052" y="332897"/>
                    <a:pt x="2865342" y="357607"/>
                    <a:pt x="2834862" y="357607"/>
                  </a:cubicBezTo>
                  <a:cubicBezTo>
                    <a:pt x="2804379" y="357607"/>
                    <a:pt x="2779671" y="332897"/>
                    <a:pt x="2779671" y="302416"/>
                  </a:cubicBezTo>
                  <a:cubicBezTo>
                    <a:pt x="2779671" y="271935"/>
                    <a:pt x="2804379" y="247225"/>
                    <a:pt x="2834862" y="247225"/>
                  </a:cubicBezTo>
                  <a:close/>
                  <a:moveTo>
                    <a:pt x="2570933" y="247225"/>
                  </a:moveTo>
                  <a:cubicBezTo>
                    <a:pt x="2601414" y="247225"/>
                    <a:pt x="2626123" y="271935"/>
                    <a:pt x="2626123" y="302416"/>
                  </a:cubicBezTo>
                  <a:cubicBezTo>
                    <a:pt x="2626123" y="332897"/>
                    <a:pt x="2601414" y="357607"/>
                    <a:pt x="2570933" y="357607"/>
                  </a:cubicBezTo>
                  <a:cubicBezTo>
                    <a:pt x="2540449" y="357607"/>
                    <a:pt x="2515738" y="332897"/>
                    <a:pt x="2515738" y="302416"/>
                  </a:cubicBezTo>
                  <a:cubicBezTo>
                    <a:pt x="2515738" y="271935"/>
                    <a:pt x="2540449" y="247225"/>
                    <a:pt x="2570933" y="247225"/>
                  </a:cubicBezTo>
                  <a:close/>
                  <a:moveTo>
                    <a:pt x="2437297" y="247225"/>
                  </a:moveTo>
                  <a:cubicBezTo>
                    <a:pt x="2467781" y="247225"/>
                    <a:pt x="2492487" y="271935"/>
                    <a:pt x="2492487" y="302416"/>
                  </a:cubicBezTo>
                  <a:cubicBezTo>
                    <a:pt x="2492487" y="332897"/>
                    <a:pt x="2467781" y="357607"/>
                    <a:pt x="2437297" y="357607"/>
                  </a:cubicBezTo>
                  <a:cubicBezTo>
                    <a:pt x="2406818" y="357607"/>
                    <a:pt x="2382108" y="332897"/>
                    <a:pt x="2382108" y="302416"/>
                  </a:cubicBezTo>
                  <a:cubicBezTo>
                    <a:pt x="2382108" y="271935"/>
                    <a:pt x="2406818" y="247225"/>
                    <a:pt x="2437297" y="247225"/>
                  </a:cubicBezTo>
                  <a:close/>
                  <a:moveTo>
                    <a:pt x="2303666" y="247225"/>
                  </a:moveTo>
                  <a:cubicBezTo>
                    <a:pt x="2334146" y="247225"/>
                    <a:pt x="2358856" y="271935"/>
                    <a:pt x="2358856" y="302416"/>
                  </a:cubicBezTo>
                  <a:cubicBezTo>
                    <a:pt x="2358856" y="332897"/>
                    <a:pt x="2334146" y="357607"/>
                    <a:pt x="2303666" y="357607"/>
                  </a:cubicBezTo>
                  <a:cubicBezTo>
                    <a:pt x="2273184" y="357607"/>
                    <a:pt x="2248473" y="332897"/>
                    <a:pt x="2248473" y="302416"/>
                  </a:cubicBezTo>
                  <a:cubicBezTo>
                    <a:pt x="2248473" y="271935"/>
                    <a:pt x="2273184" y="247225"/>
                    <a:pt x="2303666" y="247225"/>
                  </a:cubicBezTo>
                  <a:close/>
                  <a:moveTo>
                    <a:pt x="2173372" y="247225"/>
                  </a:moveTo>
                  <a:cubicBezTo>
                    <a:pt x="2203857" y="247225"/>
                    <a:pt x="2228566" y="271935"/>
                    <a:pt x="2228566" y="302416"/>
                  </a:cubicBezTo>
                  <a:cubicBezTo>
                    <a:pt x="2228566" y="332897"/>
                    <a:pt x="2203857" y="357607"/>
                    <a:pt x="2173372" y="357607"/>
                  </a:cubicBezTo>
                  <a:cubicBezTo>
                    <a:pt x="2142892" y="357607"/>
                    <a:pt x="2118180" y="332897"/>
                    <a:pt x="2118180" y="302416"/>
                  </a:cubicBezTo>
                  <a:cubicBezTo>
                    <a:pt x="2118180" y="271935"/>
                    <a:pt x="2142892" y="247225"/>
                    <a:pt x="2173372" y="247225"/>
                  </a:cubicBezTo>
                  <a:close/>
                  <a:moveTo>
                    <a:pt x="1909440" y="247225"/>
                  </a:moveTo>
                  <a:cubicBezTo>
                    <a:pt x="1939922" y="247225"/>
                    <a:pt x="1964634" y="271935"/>
                    <a:pt x="1964634" y="302416"/>
                  </a:cubicBezTo>
                  <a:cubicBezTo>
                    <a:pt x="1964634" y="332897"/>
                    <a:pt x="1939922" y="357607"/>
                    <a:pt x="1909440" y="357607"/>
                  </a:cubicBezTo>
                  <a:cubicBezTo>
                    <a:pt x="1878957" y="357607"/>
                    <a:pt x="1854246" y="332897"/>
                    <a:pt x="1854246" y="302416"/>
                  </a:cubicBezTo>
                  <a:cubicBezTo>
                    <a:pt x="1854246" y="271935"/>
                    <a:pt x="1878957" y="247225"/>
                    <a:pt x="1909440" y="247225"/>
                  </a:cubicBezTo>
                  <a:close/>
                  <a:moveTo>
                    <a:pt x="1779142" y="247225"/>
                  </a:moveTo>
                  <a:cubicBezTo>
                    <a:pt x="1809626" y="247225"/>
                    <a:pt x="1834337" y="271935"/>
                    <a:pt x="1834337" y="302416"/>
                  </a:cubicBezTo>
                  <a:cubicBezTo>
                    <a:pt x="1834337" y="332897"/>
                    <a:pt x="1809626" y="357607"/>
                    <a:pt x="1779142" y="357607"/>
                  </a:cubicBezTo>
                  <a:cubicBezTo>
                    <a:pt x="1748663" y="357607"/>
                    <a:pt x="1723951" y="332897"/>
                    <a:pt x="1723951" y="302416"/>
                  </a:cubicBezTo>
                  <a:cubicBezTo>
                    <a:pt x="1723951" y="271935"/>
                    <a:pt x="1748663" y="247225"/>
                    <a:pt x="1779142" y="247225"/>
                  </a:cubicBezTo>
                  <a:close/>
                  <a:moveTo>
                    <a:pt x="1645508" y="247225"/>
                  </a:moveTo>
                  <a:cubicBezTo>
                    <a:pt x="1675988" y="247225"/>
                    <a:pt x="1700702" y="271935"/>
                    <a:pt x="1700702" y="302416"/>
                  </a:cubicBezTo>
                  <a:cubicBezTo>
                    <a:pt x="1700702" y="332897"/>
                    <a:pt x="1675988" y="357607"/>
                    <a:pt x="1645508" y="357607"/>
                  </a:cubicBezTo>
                  <a:cubicBezTo>
                    <a:pt x="1615027" y="357607"/>
                    <a:pt x="1590313" y="332897"/>
                    <a:pt x="1590313" y="302416"/>
                  </a:cubicBezTo>
                  <a:cubicBezTo>
                    <a:pt x="1590313" y="271935"/>
                    <a:pt x="1615027" y="247225"/>
                    <a:pt x="1645508" y="247225"/>
                  </a:cubicBezTo>
                  <a:close/>
                  <a:moveTo>
                    <a:pt x="1515217" y="247225"/>
                  </a:moveTo>
                  <a:cubicBezTo>
                    <a:pt x="1545695" y="247225"/>
                    <a:pt x="1570405" y="271935"/>
                    <a:pt x="1570405" y="302416"/>
                  </a:cubicBezTo>
                  <a:cubicBezTo>
                    <a:pt x="1570405" y="332897"/>
                    <a:pt x="1545695" y="357607"/>
                    <a:pt x="1515217" y="357607"/>
                  </a:cubicBezTo>
                  <a:cubicBezTo>
                    <a:pt x="1484732" y="357607"/>
                    <a:pt x="1460020" y="332897"/>
                    <a:pt x="1460020" y="302416"/>
                  </a:cubicBezTo>
                  <a:cubicBezTo>
                    <a:pt x="1460020" y="271935"/>
                    <a:pt x="1484732" y="247225"/>
                    <a:pt x="1515217" y="247225"/>
                  </a:cubicBezTo>
                  <a:close/>
                  <a:moveTo>
                    <a:pt x="1381573" y="247225"/>
                  </a:moveTo>
                  <a:cubicBezTo>
                    <a:pt x="1412060" y="247225"/>
                    <a:pt x="1436767" y="271935"/>
                    <a:pt x="1436767" y="302416"/>
                  </a:cubicBezTo>
                  <a:cubicBezTo>
                    <a:pt x="1436767" y="332897"/>
                    <a:pt x="1412060" y="357607"/>
                    <a:pt x="1381573" y="357607"/>
                  </a:cubicBezTo>
                  <a:cubicBezTo>
                    <a:pt x="1351097" y="357607"/>
                    <a:pt x="1326384" y="332897"/>
                    <a:pt x="1326384" y="302416"/>
                  </a:cubicBezTo>
                  <a:cubicBezTo>
                    <a:pt x="1326384" y="271935"/>
                    <a:pt x="1351097" y="247225"/>
                    <a:pt x="1381573" y="247225"/>
                  </a:cubicBezTo>
                  <a:close/>
                  <a:moveTo>
                    <a:pt x="7481898" y="120271"/>
                  </a:moveTo>
                  <a:cubicBezTo>
                    <a:pt x="7512380" y="120271"/>
                    <a:pt x="7537090" y="144981"/>
                    <a:pt x="7537090" y="175462"/>
                  </a:cubicBezTo>
                  <a:cubicBezTo>
                    <a:pt x="7537090" y="205943"/>
                    <a:pt x="7512380" y="230653"/>
                    <a:pt x="7481898" y="230653"/>
                  </a:cubicBezTo>
                  <a:cubicBezTo>
                    <a:pt x="7451416" y="230653"/>
                    <a:pt x="7426706" y="205943"/>
                    <a:pt x="7426706" y="175462"/>
                  </a:cubicBezTo>
                  <a:cubicBezTo>
                    <a:pt x="7426706" y="144981"/>
                    <a:pt x="7451416" y="120271"/>
                    <a:pt x="7481898" y="120271"/>
                  </a:cubicBezTo>
                  <a:close/>
                  <a:moveTo>
                    <a:pt x="7341580" y="120271"/>
                  </a:moveTo>
                  <a:cubicBezTo>
                    <a:pt x="7372062" y="120271"/>
                    <a:pt x="7396772" y="144981"/>
                    <a:pt x="7396772" y="175462"/>
                  </a:cubicBezTo>
                  <a:cubicBezTo>
                    <a:pt x="7396772" y="205943"/>
                    <a:pt x="7372062" y="230653"/>
                    <a:pt x="7341580" y="230653"/>
                  </a:cubicBezTo>
                  <a:cubicBezTo>
                    <a:pt x="7311098" y="230653"/>
                    <a:pt x="7286388" y="205943"/>
                    <a:pt x="7286388" y="175462"/>
                  </a:cubicBezTo>
                  <a:cubicBezTo>
                    <a:pt x="7286388" y="144981"/>
                    <a:pt x="7311098" y="120271"/>
                    <a:pt x="7341580" y="120271"/>
                  </a:cubicBezTo>
                  <a:close/>
                  <a:moveTo>
                    <a:pt x="7211288" y="120271"/>
                  </a:moveTo>
                  <a:cubicBezTo>
                    <a:pt x="7241770" y="120271"/>
                    <a:pt x="7266480" y="144981"/>
                    <a:pt x="7266480" y="175462"/>
                  </a:cubicBezTo>
                  <a:cubicBezTo>
                    <a:pt x="7266480" y="205943"/>
                    <a:pt x="7241770" y="230653"/>
                    <a:pt x="7211288" y="230653"/>
                  </a:cubicBezTo>
                  <a:cubicBezTo>
                    <a:pt x="7180806" y="230653"/>
                    <a:pt x="7156096" y="205943"/>
                    <a:pt x="7156096" y="175462"/>
                  </a:cubicBezTo>
                  <a:cubicBezTo>
                    <a:pt x="7156096" y="144981"/>
                    <a:pt x="7180806" y="120271"/>
                    <a:pt x="7211288" y="120271"/>
                  </a:cubicBezTo>
                  <a:close/>
                  <a:moveTo>
                    <a:pt x="5223474" y="120271"/>
                  </a:moveTo>
                  <a:cubicBezTo>
                    <a:pt x="5253956" y="120271"/>
                    <a:pt x="5278666" y="144981"/>
                    <a:pt x="5278666" y="175462"/>
                  </a:cubicBezTo>
                  <a:cubicBezTo>
                    <a:pt x="5278666" y="205943"/>
                    <a:pt x="5253956" y="230653"/>
                    <a:pt x="5223474" y="230653"/>
                  </a:cubicBezTo>
                  <a:cubicBezTo>
                    <a:pt x="5192992" y="230653"/>
                    <a:pt x="5168282" y="205943"/>
                    <a:pt x="5168282" y="175462"/>
                  </a:cubicBezTo>
                  <a:cubicBezTo>
                    <a:pt x="5168282" y="144981"/>
                    <a:pt x="5192992" y="120271"/>
                    <a:pt x="5223474" y="120271"/>
                  </a:cubicBezTo>
                  <a:close/>
                  <a:moveTo>
                    <a:pt x="5093178" y="120271"/>
                  </a:moveTo>
                  <a:cubicBezTo>
                    <a:pt x="5123660" y="120271"/>
                    <a:pt x="5148370" y="144981"/>
                    <a:pt x="5148370" y="175462"/>
                  </a:cubicBezTo>
                  <a:cubicBezTo>
                    <a:pt x="5148370" y="205943"/>
                    <a:pt x="5123660" y="230653"/>
                    <a:pt x="5093178" y="230653"/>
                  </a:cubicBezTo>
                  <a:cubicBezTo>
                    <a:pt x="5062696" y="230653"/>
                    <a:pt x="5037986" y="205943"/>
                    <a:pt x="5037986" y="175462"/>
                  </a:cubicBezTo>
                  <a:cubicBezTo>
                    <a:pt x="5037986" y="144981"/>
                    <a:pt x="5062696" y="120271"/>
                    <a:pt x="5093178" y="120271"/>
                  </a:cubicBezTo>
                  <a:close/>
                  <a:moveTo>
                    <a:pt x="4161077" y="120271"/>
                  </a:moveTo>
                  <a:cubicBezTo>
                    <a:pt x="4191559" y="120271"/>
                    <a:pt x="4216269" y="144981"/>
                    <a:pt x="4216269" y="175462"/>
                  </a:cubicBezTo>
                  <a:cubicBezTo>
                    <a:pt x="4216269" y="205943"/>
                    <a:pt x="4191559" y="230653"/>
                    <a:pt x="4161077" y="230653"/>
                  </a:cubicBezTo>
                  <a:cubicBezTo>
                    <a:pt x="4130595" y="230653"/>
                    <a:pt x="4105885" y="205943"/>
                    <a:pt x="4105885" y="175462"/>
                  </a:cubicBezTo>
                  <a:cubicBezTo>
                    <a:pt x="4105885" y="144981"/>
                    <a:pt x="4130595" y="120271"/>
                    <a:pt x="4161077" y="120271"/>
                  </a:cubicBezTo>
                  <a:close/>
                  <a:moveTo>
                    <a:pt x="4030786" y="120271"/>
                  </a:moveTo>
                  <a:cubicBezTo>
                    <a:pt x="4061268" y="120271"/>
                    <a:pt x="4085978" y="144981"/>
                    <a:pt x="4085978" y="175462"/>
                  </a:cubicBezTo>
                  <a:cubicBezTo>
                    <a:pt x="4085978" y="205943"/>
                    <a:pt x="4061268" y="230653"/>
                    <a:pt x="4030786" y="230653"/>
                  </a:cubicBezTo>
                  <a:cubicBezTo>
                    <a:pt x="4000304" y="230653"/>
                    <a:pt x="3975594" y="205943"/>
                    <a:pt x="3975594" y="175462"/>
                  </a:cubicBezTo>
                  <a:cubicBezTo>
                    <a:pt x="3975594" y="144981"/>
                    <a:pt x="4000304" y="120271"/>
                    <a:pt x="4030786" y="120271"/>
                  </a:cubicBezTo>
                  <a:close/>
                  <a:moveTo>
                    <a:pt x="3897148" y="120271"/>
                  </a:moveTo>
                  <a:cubicBezTo>
                    <a:pt x="3927630" y="120271"/>
                    <a:pt x="3952340" y="144981"/>
                    <a:pt x="3952340" y="175462"/>
                  </a:cubicBezTo>
                  <a:cubicBezTo>
                    <a:pt x="3952340" y="205943"/>
                    <a:pt x="3927630" y="230653"/>
                    <a:pt x="3897148" y="230653"/>
                  </a:cubicBezTo>
                  <a:cubicBezTo>
                    <a:pt x="3866666" y="230653"/>
                    <a:pt x="3841956" y="205943"/>
                    <a:pt x="3841956" y="175462"/>
                  </a:cubicBezTo>
                  <a:cubicBezTo>
                    <a:pt x="3841956" y="144981"/>
                    <a:pt x="3866666" y="120271"/>
                    <a:pt x="3897148" y="120271"/>
                  </a:cubicBezTo>
                  <a:close/>
                  <a:moveTo>
                    <a:pt x="3763514" y="120271"/>
                  </a:moveTo>
                  <a:cubicBezTo>
                    <a:pt x="3793996" y="120271"/>
                    <a:pt x="3818706" y="144981"/>
                    <a:pt x="3818706" y="175462"/>
                  </a:cubicBezTo>
                  <a:cubicBezTo>
                    <a:pt x="3818706" y="205943"/>
                    <a:pt x="3793996" y="230653"/>
                    <a:pt x="3763514" y="230653"/>
                  </a:cubicBezTo>
                  <a:cubicBezTo>
                    <a:pt x="3733032" y="230653"/>
                    <a:pt x="3708322" y="205943"/>
                    <a:pt x="3708322" y="175462"/>
                  </a:cubicBezTo>
                  <a:cubicBezTo>
                    <a:pt x="3708322" y="144981"/>
                    <a:pt x="3733032" y="120271"/>
                    <a:pt x="3763514" y="120271"/>
                  </a:cubicBezTo>
                  <a:close/>
                  <a:moveTo>
                    <a:pt x="3633221" y="120271"/>
                  </a:moveTo>
                  <a:cubicBezTo>
                    <a:pt x="3663703" y="120271"/>
                    <a:pt x="3688413" y="144981"/>
                    <a:pt x="3688413" y="175462"/>
                  </a:cubicBezTo>
                  <a:cubicBezTo>
                    <a:pt x="3688413" y="205943"/>
                    <a:pt x="3663703" y="230653"/>
                    <a:pt x="3633221" y="230653"/>
                  </a:cubicBezTo>
                  <a:cubicBezTo>
                    <a:pt x="3602739" y="230653"/>
                    <a:pt x="3578029" y="205943"/>
                    <a:pt x="3578029" y="175462"/>
                  </a:cubicBezTo>
                  <a:cubicBezTo>
                    <a:pt x="3578029" y="144981"/>
                    <a:pt x="3602739" y="120271"/>
                    <a:pt x="3633221" y="120271"/>
                  </a:cubicBezTo>
                  <a:close/>
                  <a:moveTo>
                    <a:pt x="3499589" y="120271"/>
                  </a:moveTo>
                  <a:cubicBezTo>
                    <a:pt x="3530071" y="120271"/>
                    <a:pt x="3554781" y="144981"/>
                    <a:pt x="3554781" y="175462"/>
                  </a:cubicBezTo>
                  <a:cubicBezTo>
                    <a:pt x="3554781" y="205943"/>
                    <a:pt x="3530071" y="230653"/>
                    <a:pt x="3499589" y="230653"/>
                  </a:cubicBezTo>
                  <a:cubicBezTo>
                    <a:pt x="3469107" y="230653"/>
                    <a:pt x="3444397" y="205943"/>
                    <a:pt x="3444397" y="175462"/>
                  </a:cubicBezTo>
                  <a:cubicBezTo>
                    <a:pt x="3444397" y="144981"/>
                    <a:pt x="3469107" y="120271"/>
                    <a:pt x="3499589" y="120271"/>
                  </a:cubicBezTo>
                  <a:close/>
                  <a:moveTo>
                    <a:pt x="3369293" y="120271"/>
                  </a:moveTo>
                  <a:cubicBezTo>
                    <a:pt x="3399775" y="120271"/>
                    <a:pt x="3424485" y="144981"/>
                    <a:pt x="3424485" y="175462"/>
                  </a:cubicBezTo>
                  <a:cubicBezTo>
                    <a:pt x="3424485" y="205943"/>
                    <a:pt x="3399775" y="230653"/>
                    <a:pt x="3369293" y="230653"/>
                  </a:cubicBezTo>
                  <a:cubicBezTo>
                    <a:pt x="3338811" y="230653"/>
                    <a:pt x="3314101" y="205943"/>
                    <a:pt x="3314101" y="175462"/>
                  </a:cubicBezTo>
                  <a:cubicBezTo>
                    <a:pt x="3314101" y="144981"/>
                    <a:pt x="3338811" y="120271"/>
                    <a:pt x="3369293" y="120271"/>
                  </a:cubicBezTo>
                  <a:close/>
                  <a:moveTo>
                    <a:pt x="3235657" y="120271"/>
                  </a:moveTo>
                  <a:cubicBezTo>
                    <a:pt x="3266139" y="120271"/>
                    <a:pt x="3290849" y="144981"/>
                    <a:pt x="3290849" y="175462"/>
                  </a:cubicBezTo>
                  <a:cubicBezTo>
                    <a:pt x="3290849" y="205943"/>
                    <a:pt x="3266139" y="230653"/>
                    <a:pt x="3235657" y="230653"/>
                  </a:cubicBezTo>
                  <a:cubicBezTo>
                    <a:pt x="3205175" y="230653"/>
                    <a:pt x="3180465" y="205943"/>
                    <a:pt x="3180465" y="175462"/>
                  </a:cubicBezTo>
                  <a:cubicBezTo>
                    <a:pt x="3180465" y="144981"/>
                    <a:pt x="3205175" y="120271"/>
                    <a:pt x="3235657" y="120271"/>
                  </a:cubicBezTo>
                  <a:close/>
                  <a:moveTo>
                    <a:pt x="3098682" y="120271"/>
                  </a:moveTo>
                  <a:cubicBezTo>
                    <a:pt x="3129164" y="120271"/>
                    <a:pt x="3153874" y="144981"/>
                    <a:pt x="3153874" y="175462"/>
                  </a:cubicBezTo>
                  <a:cubicBezTo>
                    <a:pt x="3153874" y="205943"/>
                    <a:pt x="3129164" y="230653"/>
                    <a:pt x="3098682" y="230653"/>
                  </a:cubicBezTo>
                  <a:cubicBezTo>
                    <a:pt x="3068200" y="230653"/>
                    <a:pt x="3043490" y="205943"/>
                    <a:pt x="3043490" y="175462"/>
                  </a:cubicBezTo>
                  <a:cubicBezTo>
                    <a:pt x="3043490" y="144981"/>
                    <a:pt x="3068200" y="120271"/>
                    <a:pt x="3098682" y="120271"/>
                  </a:cubicBezTo>
                  <a:close/>
                  <a:moveTo>
                    <a:pt x="2971729" y="120271"/>
                  </a:moveTo>
                  <a:cubicBezTo>
                    <a:pt x="3002211" y="120271"/>
                    <a:pt x="3026921" y="144981"/>
                    <a:pt x="3026921" y="175462"/>
                  </a:cubicBezTo>
                  <a:cubicBezTo>
                    <a:pt x="3026921" y="205943"/>
                    <a:pt x="3002211" y="230653"/>
                    <a:pt x="2971729" y="230653"/>
                  </a:cubicBezTo>
                  <a:cubicBezTo>
                    <a:pt x="2941247" y="230653"/>
                    <a:pt x="2916537" y="205943"/>
                    <a:pt x="2916537" y="175462"/>
                  </a:cubicBezTo>
                  <a:cubicBezTo>
                    <a:pt x="2916537" y="144981"/>
                    <a:pt x="2941247" y="120271"/>
                    <a:pt x="2971729" y="120271"/>
                  </a:cubicBezTo>
                  <a:close/>
                  <a:moveTo>
                    <a:pt x="2707903" y="120271"/>
                  </a:moveTo>
                  <a:cubicBezTo>
                    <a:pt x="2738390" y="120271"/>
                    <a:pt x="2763100" y="144981"/>
                    <a:pt x="2763100" y="175462"/>
                  </a:cubicBezTo>
                  <a:cubicBezTo>
                    <a:pt x="2763100" y="205943"/>
                    <a:pt x="2738390" y="230653"/>
                    <a:pt x="2707903" y="230653"/>
                  </a:cubicBezTo>
                  <a:cubicBezTo>
                    <a:pt x="2677427" y="230653"/>
                    <a:pt x="2652715" y="205943"/>
                    <a:pt x="2652715" y="175462"/>
                  </a:cubicBezTo>
                  <a:cubicBezTo>
                    <a:pt x="2652715" y="144981"/>
                    <a:pt x="2677427" y="120271"/>
                    <a:pt x="2707903" y="120271"/>
                  </a:cubicBezTo>
                  <a:close/>
                  <a:moveTo>
                    <a:pt x="2570933" y="120271"/>
                  </a:moveTo>
                  <a:cubicBezTo>
                    <a:pt x="2601414" y="120271"/>
                    <a:pt x="2626123" y="144981"/>
                    <a:pt x="2626123" y="175462"/>
                  </a:cubicBezTo>
                  <a:cubicBezTo>
                    <a:pt x="2626123" y="205943"/>
                    <a:pt x="2601414" y="230653"/>
                    <a:pt x="2570933" y="230653"/>
                  </a:cubicBezTo>
                  <a:cubicBezTo>
                    <a:pt x="2540449" y="230653"/>
                    <a:pt x="2515738" y="205943"/>
                    <a:pt x="2515738" y="175462"/>
                  </a:cubicBezTo>
                  <a:cubicBezTo>
                    <a:pt x="2515738" y="144981"/>
                    <a:pt x="2540449" y="120271"/>
                    <a:pt x="2570933" y="120271"/>
                  </a:cubicBezTo>
                  <a:close/>
                  <a:moveTo>
                    <a:pt x="2437297" y="120271"/>
                  </a:moveTo>
                  <a:cubicBezTo>
                    <a:pt x="2467781" y="120271"/>
                    <a:pt x="2492487" y="144981"/>
                    <a:pt x="2492487" y="175462"/>
                  </a:cubicBezTo>
                  <a:cubicBezTo>
                    <a:pt x="2492487" y="205943"/>
                    <a:pt x="2467781" y="230653"/>
                    <a:pt x="2437297" y="230653"/>
                  </a:cubicBezTo>
                  <a:cubicBezTo>
                    <a:pt x="2406818" y="230653"/>
                    <a:pt x="2382108" y="205943"/>
                    <a:pt x="2382108" y="175462"/>
                  </a:cubicBezTo>
                  <a:cubicBezTo>
                    <a:pt x="2382108" y="144981"/>
                    <a:pt x="2406818" y="120271"/>
                    <a:pt x="2437297" y="120271"/>
                  </a:cubicBezTo>
                  <a:close/>
                  <a:moveTo>
                    <a:pt x="2303666" y="120271"/>
                  </a:moveTo>
                  <a:cubicBezTo>
                    <a:pt x="2334146" y="120271"/>
                    <a:pt x="2358856" y="144981"/>
                    <a:pt x="2358856" y="175462"/>
                  </a:cubicBezTo>
                  <a:cubicBezTo>
                    <a:pt x="2358856" y="205943"/>
                    <a:pt x="2334146" y="230653"/>
                    <a:pt x="2303666" y="230653"/>
                  </a:cubicBezTo>
                  <a:cubicBezTo>
                    <a:pt x="2273184" y="230653"/>
                    <a:pt x="2248473" y="205943"/>
                    <a:pt x="2248473" y="175462"/>
                  </a:cubicBezTo>
                  <a:cubicBezTo>
                    <a:pt x="2248473" y="144981"/>
                    <a:pt x="2273184" y="120271"/>
                    <a:pt x="2303666" y="120271"/>
                  </a:cubicBezTo>
                  <a:close/>
                  <a:moveTo>
                    <a:pt x="2173372" y="120271"/>
                  </a:moveTo>
                  <a:cubicBezTo>
                    <a:pt x="2203857" y="120271"/>
                    <a:pt x="2228566" y="144981"/>
                    <a:pt x="2228566" y="175462"/>
                  </a:cubicBezTo>
                  <a:cubicBezTo>
                    <a:pt x="2228566" y="205943"/>
                    <a:pt x="2203857" y="230653"/>
                    <a:pt x="2173372" y="230653"/>
                  </a:cubicBezTo>
                  <a:cubicBezTo>
                    <a:pt x="2142892" y="230653"/>
                    <a:pt x="2118180" y="205943"/>
                    <a:pt x="2118180" y="175462"/>
                  </a:cubicBezTo>
                  <a:cubicBezTo>
                    <a:pt x="2118180" y="144981"/>
                    <a:pt x="2142892" y="120271"/>
                    <a:pt x="2173372" y="120271"/>
                  </a:cubicBezTo>
                  <a:close/>
                  <a:moveTo>
                    <a:pt x="7341580" y="0"/>
                  </a:moveTo>
                  <a:cubicBezTo>
                    <a:pt x="7372062" y="0"/>
                    <a:pt x="7396772" y="24710"/>
                    <a:pt x="7396772" y="55191"/>
                  </a:cubicBezTo>
                  <a:cubicBezTo>
                    <a:pt x="7396772" y="85672"/>
                    <a:pt x="7372062" y="110382"/>
                    <a:pt x="7341580" y="110382"/>
                  </a:cubicBezTo>
                  <a:cubicBezTo>
                    <a:pt x="7311098" y="110382"/>
                    <a:pt x="7286388" y="85672"/>
                    <a:pt x="7286388" y="55191"/>
                  </a:cubicBezTo>
                  <a:cubicBezTo>
                    <a:pt x="7286388" y="24710"/>
                    <a:pt x="7311098" y="0"/>
                    <a:pt x="7341580" y="0"/>
                  </a:cubicBezTo>
                  <a:close/>
                  <a:moveTo>
                    <a:pt x="4294713" y="0"/>
                  </a:moveTo>
                  <a:cubicBezTo>
                    <a:pt x="4325195" y="0"/>
                    <a:pt x="4349905" y="24710"/>
                    <a:pt x="4349905" y="55191"/>
                  </a:cubicBezTo>
                  <a:cubicBezTo>
                    <a:pt x="4349905" y="85672"/>
                    <a:pt x="4325195" y="110382"/>
                    <a:pt x="4294713" y="110382"/>
                  </a:cubicBezTo>
                  <a:cubicBezTo>
                    <a:pt x="4264231" y="110382"/>
                    <a:pt x="4239521" y="85672"/>
                    <a:pt x="4239521" y="55191"/>
                  </a:cubicBezTo>
                  <a:cubicBezTo>
                    <a:pt x="4239521" y="24710"/>
                    <a:pt x="4264231" y="0"/>
                    <a:pt x="4294713" y="0"/>
                  </a:cubicBezTo>
                  <a:close/>
                  <a:moveTo>
                    <a:pt x="4161077" y="0"/>
                  </a:moveTo>
                  <a:cubicBezTo>
                    <a:pt x="4191559" y="0"/>
                    <a:pt x="4216269" y="24710"/>
                    <a:pt x="4216269" y="55191"/>
                  </a:cubicBezTo>
                  <a:cubicBezTo>
                    <a:pt x="4216269" y="85672"/>
                    <a:pt x="4191559" y="110382"/>
                    <a:pt x="4161077" y="110382"/>
                  </a:cubicBezTo>
                  <a:cubicBezTo>
                    <a:pt x="4130595" y="110382"/>
                    <a:pt x="4105885" y="85672"/>
                    <a:pt x="4105885" y="55191"/>
                  </a:cubicBezTo>
                  <a:cubicBezTo>
                    <a:pt x="4105885" y="24710"/>
                    <a:pt x="4130595" y="0"/>
                    <a:pt x="4161077" y="0"/>
                  </a:cubicBezTo>
                  <a:close/>
                  <a:moveTo>
                    <a:pt x="4030786" y="0"/>
                  </a:moveTo>
                  <a:cubicBezTo>
                    <a:pt x="4061268" y="0"/>
                    <a:pt x="4085978" y="24710"/>
                    <a:pt x="4085978" y="55191"/>
                  </a:cubicBezTo>
                  <a:cubicBezTo>
                    <a:pt x="4085978" y="85672"/>
                    <a:pt x="4061268" y="110382"/>
                    <a:pt x="4030786" y="110382"/>
                  </a:cubicBezTo>
                  <a:cubicBezTo>
                    <a:pt x="4000304" y="110382"/>
                    <a:pt x="3975594" y="85672"/>
                    <a:pt x="3975594" y="55191"/>
                  </a:cubicBezTo>
                  <a:cubicBezTo>
                    <a:pt x="3975594" y="24710"/>
                    <a:pt x="4000304" y="0"/>
                    <a:pt x="4030786" y="0"/>
                  </a:cubicBezTo>
                  <a:close/>
                  <a:moveTo>
                    <a:pt x="3897148" y="0"/>
                  </a:moveTo>
                  <a:cubicBezTo>
                    <a:pt x="3927630" y="0"/>
                    <a:pt x="3952340" y="24710"/>
                    <a:pt x="3952340" y="55191"/>
                  </a:cubicBezTo>
                  <a:cubicBezTo>
                    <a:pt x="3952340" y="85672"/>
                    <a:pt x="3927630" y="110382"/>
                    <a:pt x="3897148" y="110382"/>
                  </a:cubicBezTo>
                  <a:cubicBezTo>
                    <a:pt x="3866666" y="110382"/>
                    <a:pt x="3841956" y="85672"/>
                    <a:pt x="3841956" y="55191"/>
                  </a:cubicBezTo>
                  <a:cubicBezTo>
                    <a:pt x="3841956" y="24710"/>
                    <a:pt x="3866666" y="0"/>
                    <a:pt x="3897148" y="0"/>
                  </a:cubicBezTo>
                  <a:close/>
                  <a:moveTo>
                    <a:pt x="3763514" y="0"/>
                  </a:moveTo>
                  <a:cubicBezTo>
                    <a:pt x="3793996" y="0"/>
                    <a:pt x="3818706" y="24710"/>
                    <a:pt x="3818706" y="55191"/>
                  </a:cubicBezTo>
                  <a:cubicBezTo>
                    <a:pt x="3818706" y="85672"/>
                    <a:pt x="3793996" y="110382"/>
                    <a:pt x="3763514" y="110382"/>
                  </a:cubicBezTo>
                  <a:cubicBezTo>
                    <a:pt x="3733032" y="110382"/>
                    <a:pt x="3708322" y="85672"/>
                    <a:pt x="3708322" y="55191"/>
                  </a:cubicBezTo>
                  <a:cubicBezTo>
                    <a:pt x="3708322" y="24710"/>
                    <a:pt x="3733032" y="0"/>
                    <a:pt x="3763514" y="0"/>
                  </a:cubicBezTo>
                  <a:close/>
                  <a:moveTo>
                    <a:pt x="3633221" y="0"/>
                  </a:moveTo>
                  <a:cubicBezTo>
                    <a:pt x="3663703" y="0"/>
                    <a:pt x="3688413" y="24710"/>
                    <a:pt x="3688413" y="55191"/>
                  </a:cubicBezTo>
                  <a:cubicBezTo>
                    <a:pt x="3688413" y="85672"/>
                    <a:pt x="3663703" y="110382"/>
                    <a:pt x="3633221" y="110382"/>
                  </a:cubicBezTo>
                  <a:cubicBezTo>
                    <a:pt x="3602739" y="110382"/>
                    <a:pt x="3578029" y="85672"/>
                    <a:pt x="3578029" y="55191"/>
                  </a:cubicBezTo>
                  <a:cubicBezTo>
                    <a:pt x="3578029" y="24710"/>
                    <a:pt x="3602739" y="0"/>
                    <a:pt x="3633221" y="0"/>
                  </a:cubicBezTo>
                  <a:close/>
                  <a:moveTo>
                    <a:pt x="3499589" y="0"/>
                  </a:moveTo>
                  <a:cubicBezTo>
                    <a:pt x="3530071" y="0"/>
                    <a:pt x="3554781" y="24710"/>
                    <a:pt x="3554781" y="55191"/>
                  </a:cubicBezTo>
                  <a:cubicBezTo>
                    <a:pt x="3554781" y="85672"/>
                    <a:pt x="3530071" y="110382"/>
                    <a:pt x="3499589" y="110382"/>
                  </a:cubicBezTo>
                  <a:cubicBezTo>
                    <a:pt x="3469107" y="110382"/>
                    <a:pt x="3444397" y="85672"/>
                    <a:pt x="3444397" y="55191"/>
                  </a:cubicBezTo>
                  <a:cubicBezTo>
                    <a:pt x="3444397" y="24710"/>
                    <a:pt x="3469107" y="0"/>
                    <a:pt x="3499589" y="0"/>
                  </a:cubicBezTo>
                  <a:close/>
                  <a:moveTo>
                    <a:pt x="3369293" y="0"/>
                  </a:moveTo>
                  <a:cubicBezTo>
                    <a:pt x="3399775" y="0"/>
                    <a:pt x="3424485" y="24710"/>
                    <a:pt x="3424485" y="55191"/>
                  </a:cubicBezTo>
                  <a:cubicBezTo>
                    <a:pt x="3424485" y="85672"/>
                    <a:pt x="3399775" y="110382"/>
                    <a:pt x="3369293" y="110382"/>
                  </a:cubicBezTo>
                  <a:cubicBezTo>
                    <a:pt x="3338811" y="110382"/>
                    <a:pt x="3314101" y="85672"/>
                    <a:pt x="3314101" y="55191"/>
                  </a:cubicBezTo>
                  <a:cubicBezTo>
                    <a:pt x="3314101" y="24710"/>
                    <a:pt x="3338811" y="0"/>
                    <a:pt x="3369293" y="0"/>
                  </a:cubicBezTo>
                  <a:close/>
                  <a:moveTo>
                    <a:pt x="3235657" y="0"/>
                  </a:moveTo>
                  <a:cubicBezTo>
                    <a:pt x="3266139" y="0"/>
                    <a:pt x="3290849" y="24710"/>
                    <a:pt x="3290849" y="55191"/>
                  </a:cubicBezTo>
                  <a:cubicBezTo>
                    <a:pt x="3290849" y="85672"/>
                    <a:pt x="3266139" y="110382"/>
                    <a:pt x="3235657" y="110382"/>
                  </a:cubicBezTo>
                  <a:cubicBezTo>
                    <a:pt x="3205175" y="110382"/>
                    <a:pt x="3180465" y="85672"/>
                    <a:pt x="3180465" y="55191"/>
                  </a:cubicBezTo>
                  <a:cubicBezTo>
                    <a:pt x="3180465" y="24710"/>
                    <a:pt x="3205175" y="0"/>
                    <a:pt x="3235657" y="0"/>
                  </a:cubicBezTo>
                  <a:close/>
                  <a:moveTo>
                    <a:pt x="2834862" y="0"/>
                  </a:moveTo>
                  <a:cubicBezTo>
                    <a:pt x="2865342" y="0"/>
                    <a:pt x="2890052" y="24710"/>
                    <a:pt x="2890052" y="55191"/>
                  </a:cubicBezTo>
                  <a:cubicBezTo>
                    <a:pt x="2890052" y="85672"/>
                    <a:pt x="2865342" y="110382"/>
                    <a:pt x="2834862" y="110382"/>
                  </a:cubicBezTo>
                  <a:cubicBezTo>
                    <a:pt x="2804379" y="110382"/>
                    <a:pt x="2779671" y="85672"/>
                    <a:pt x="2779671" y="55191"/>
                  </a:cubicBezTo>
                  <a:cubicBezTo>
                    <a:pt x="2779671" y="24710"/>
                    <a:pt x="2804379" y="0"/>
                    <a:pt x="2834862" y="0"/>
                  </a:cubicBezTo>
                  <a:close/>
                  <a:moveTo>
                    <a:pt x="2707903" y="0"/>
                  </a:moveTo>
                  <a:cubicBezTo>
                    <a:pt x="2738390" y="0"/>
                    <a:pt x="2763100" y="24710"/>
                    <a:pt x="2763100" y="55191"/>
                  </a:cubicBezTo>
                  <a:cubicBezTo>
                    <a:pt x="2763100" y="85672"/>
                    <a:pt x="2738390" y="110382"/>
                    <a:pt x="2707903" y="110382"/>
                  </a:cubicBezTo>
                  <a:cubicBezTo>
                    <a:pt x="2677427" y="110382"/>
                    <a:pt x="2652715" y="85672"/>
                    <a:pt x="2652715" y="55191"/>
                  </a:cubicBezTo>
                  <a:cubicBezTo>
                    <a:pt x="2652715" y="24710"/>
                    <a:pt x="2677427" y="0"/>
                    <a:pt x="2707903" y="0"/>
                  </a:cubicBezTo>
                  <a:close/>
                  <a:moveTo>
                    <a:pt x="2570933" y="0"/>
                  </a:moveTo>
                  <a:cubicBezTo>
                    <a:pt x="2601414" y="0"/>
                    <a:pt x="2626123" y="24710"/>
                    <a:pt x="2626123" y="55191"/>
                  </a:cubicBezTo>
                  <a:cubicBezTo>
                    <a:pt x="2626123" y="85672"/>
                    <a:pt x="2601414" y="110382"/>
                    <a:pt x="2570933" y="110382"/>
                  </a:cubicBezTo>
                  <a:cubicBezTo>
                    <a:pt x="2540449" y="110382"/>
                    <a:pt x="2515738" y="85672"/>
                    <a:pt x="2515738" y="55191"/>
                  </a:cubicBezTo>
                  <a:cubicBezTo>
                    <a:pt x="2515738" y="24710"/>
                    <a:pt x="2540449" y="0"/>
                    <a:pt x="2570933" y="0"/>
                  </a:cubicBezTo>
                  <a:close/>
                  <a:moveTo>
                    <a:pt x="2437297" y="0"/>
                  </a:moveTo>
                  <a:cubicBezTo>
                    <a:pt x="2467781" y="0"/>
                    <a:pt x="2492487" y="24710"/>
                    <a:pt x="2492487" y="55191"/>
                  </a:cubicBezTo>
                  <a:cubicBezTo>
                    <a:pt x="2492487" y="85672"/>
                    <a:pt x="2467781" y="110382"/>
                    <a:pt x="2437297" y="110382"/>
                  </a:cubicBezTo>
                  <a:cubicBezTo>
                    <a:pt x="2406818" y="110382"/>
                    <a:pt x="2382108" y="85672"/>
                    <a:pt x="2382108" y="55191"/>
                  </a:cubicBezTo>
                  <a:cubicBezTo>
                    <a:pt x="2382108" y="24710"/>
                    <a:pt x="2406818" y="0"/>
                    <a:pt x="2437297" y="0"/>
                  </a:cubicBezTo>
                  <a:close/>
                </a:path>
              </a:pathLst>
            </a:custGeom>
            <a:solidFill>
              <a:schemeClr val="bg1"/>
            </a:solidFill>
            <a:ln w="0">
              <a:noFill/>
              <a:prstDash val="solid"/>
              <a:round/>
              <a:headEnd/>
              <a:tailEnd/>
            </a:ln>
          </p:spPr>
          <p:txBody>
            <a:bodyPr vert="horz" wrap="square" lIns="85713" tIns="42857" rIns="85713" bIns="42857" numCol="1" anchor="t" anchorCtr="0" compatLnSpc="1">
              <a:prstTxWarp prst="textNoShape">
                <a:avLst/>
              </a:prstTxWarp>
              <a:noAutofit/>
            </a:bodyPr>
            <a:lstStyle/>
            <a:p>
              <a:pPr defTabSz="857124">
                <a:defRPr/>
              </a:pPr>
              <a:endParaRPr lang="en-US" sz="1687">
                <a:solidFill>
                  <a:srgbClr val="505050"/>
                </a:solidFill>
                <a:latin typeface="Segoe UI"/>
              </a:endParaRPr>
            </a:p>
          </p:txBody>
        </p:sp>
        <p:grpSp>
          <p:nvGrpSpPr>
            <p:cNvPr id="311" name="Group 3"/>
            <p:cNvGrpSpPr/>
            <p:nvPr/>
          </p:nvGrpSpPr>
          <p:grpSpPr>
            <a:xfrm>
              <a:off x="2273352" y="5335141"/>
              <a:ext cx="719897" cy="719896"/>
              <a:chOff x="-4594157" y="2516834"/>
              <a:chExt cx="1070585" cy="1070585"/>
            </a:xfrm>
          </p:grpSpPr>
          <p:sp>
            <p:nvSpPr>
              <p:cNvPr id="312"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defTabSz="857124">
                  <a:defRPr/>
                </a:pPr>
                <a:endParaRPr lang="en-US" sz="1687" kern="0">
                  <a:solidFill>
                    <a:srgbClr val="FFFFFF"/>
                  </a:solidFill>
                  <a:latin typeface="Segoe UI"/>
                </a:endParaRPr>
              </a:p>
            </p:txBody>
          </p:sp>
          <p:grpSp>
            <p:nvGrpSpPr>
              <p:cNvPr id="313" name="Group 5"/>
              <p:cNvGrpSpPr/>
              <p:nvPr/>
            </p:nvGrpSpPr>
            <p:grpSpPr>
              <a:xfrm>
                <a:off x="-4594157" y="2516834"/>
                <a:ext cx="1070585" cy="1070585"/>
                <a:chOff x="10232415" y="2527090"/>
                <a:chExt cx="1070585" cy="1070585"/>
              </a:xfrm>
            </p:grpSpPr>
            <p:sp>
              <p:nvSpPr>
                <p:cNvPr id="314" name="Oval 6"/>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defTabSz="857124">
                    <a:defRPr/>
                  </a:pPr>
                  <a:endParaRPr lang="en-US" sz="1687" kern="0">
                    <a:solidFill>
                      <a:srgbClr val="FFFFFF"/>
                    </a:solidFill>
                    <a:latin typeface="Segoe UI"/>
                  </a:endParaRPr>
                </a:p>
              </p:txBody>
            </p:sp>
            <p:pic>
              <p:nvPicPr>
                <p:cNvPr id="315" name="Graphic 908" descr="Marke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32415" y="2527090"/>
                  <a:ext cx="1070585" cy="1070585"/>
                </a:xfrm>
                <a:prstGeom prst="rect">
                  <a:avLst/>
                </a:prstGeom>
              </p:spPr>
            </p:pic>
          </p:grpSp>
        </p:grpSp>
        <p:grpSp>
          <p:nvGrpSpPr>
            <p:cNvPr id="316" name="Group 14"/>
            <p:cNvGrpSpPr/>
            <p:nvPr/>
          </p:nvGrpSpPr>
          <p:grpSpPr>
            <a:xfrm>
              <a:off x="7101573" y="5451297"/>
              <a:ext cx="719897" cy="719896"/>
              <a:chOff x="-4594157" y="2516834"/>
              <a:chExt cx="1070585" cy="1070585"/>
            </a:xfrm>
          </p:grpSpPr>
          <p:sp>
            <p:nvSpPr>
              <p:cNvPr id="317"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defTabSz="857124">
                  <a:defRPr/>
                </a:pPr>
                <a:endParaRPr lang="en-US" sz="1687" kern="0">
                  <a:solidFill>
                    <a:srgbClr val="FFFFFF"/>
                  </a:solidFill>
                  <a:latin typeface="Segoe UI"/>
                </a:endParaRPr>
              </a:p>
            </p:txBody>
          </p:sp>
          <p:grpSp>
            <p:nvGrpSpPr>
              <p:cNvPr id="318" name="Group 16"/>
              <p:cNvGrpSpPr/>
              <p:nvPr/>
            </p:nvGrpSpPr>
            <p:grpSpPr>
              <a:xfrm>
                <a:off x="-4594157" y="2516834"/>
                <a:ext cx="1070585" cy="1070585"/>
                <a:chOff x="10232415" y="2527090"/>
                <a:chExt cx="1070585" cy="1070585"/>
              </a:xfrm>
            </p:grpSpPr>
            <p:sp>
              <p:nvSpPr>
                <p:cNvPr id="319" name="Oval 1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defTabSz="857124">
                    <a:defRPr/>
                  </a:pPr>
                  <a:endParaRPr lang="en-US" sz="1687" kern="0">
                    <a:solidFill>
                      <a:srgbClr val="FFFFFF"/>
                    </a:solidFill>
                    <a:latin typeface="Segoe UI"/>
                  </a:endParaRPr>
                </a:p>
              </p:txBody>
            </p:sp>
            <p:pic>
              <p:nvPicPr>
                <p:cNvPr id="320" name="Graphic 913" descr="Marke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32415" y="2527090"/>
                  <a:ext cx="1070585" cy="1070585"/>
                </a:xfrm>
                <a:prstGeom prst="rect">
                  <a:avLst/>
                </a:prstGeom>
              </p:spPr>
            </p:pic>
          </p:grpSp>
        </p:grpSp>
        <p:grpSp>
          <p:nvGrpSpPr>
            <p:cNvPr id="321" name="Group 24"/>
            <p:cNvGrpSpPr/>
            <p:nvPr/>
          </p:nvGrpSpPr>
          <p:grpSpPr>
            <a:xfrm>
              <a:off x="6073667" y="5106520"/>
              <a:ext cx="719897" cy="719896"/>
              <a:chOff x="-4594157" y="2516834"/>
              <a:chExt cx="1070585" cy="1070585"/>
            </a:xfrm>
          </p:grpSpPr>
          <p:sp>
            <p:nvSpPr>
              <p:cNvPr id="322"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defTabSz="857124">
                  <a:defRPr/>
                </a:pPr>
                <a:endParaRPr lang="en-US" sz="1687" kern="0">
                  <a:solidFill>
                    <a:srgbClr val="FFFFFF"/>
                  </a:solidFill>
                  <a:latin typeface="Segoe UI"/>
                </a:endParaRPr>
              </a:p>
            </p:txBody>
          </p:sp>
          <p:grpSp>
            <p:nvGrpSpPr>
              <p:cNvPr id="323" name="Group 26"/>
              <p:cNvGrpSpPr/>
              <p:nvPr/>
            </p:nvGrpSpPr>
            <p:grpSpPr>
              <a:xfrm>
                <a:off x="-4594157" y="2516834"/>
                <a:ext cx="1070585" cy="1070585"/>
                <a:chOff x="10232415" y="2527090"/>
                <a:chExt cx="1070585" cy="1070585"/>
              </a:xfrm>
            </p:grpSpPr>
            <p:sp>
              <p:nvSpPr>
                <p:cNvPr id="324" name="Oval 2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defTabSz="857124">
                    <a:defRPr/>
                  </a:pPr>
                  <a:endParaRPr lang="en-US" sz="1687" kern="0">
                    <a:solidFill>
                      <a:srgbClr val="FFFFFF"/>
                    </a:solidFill>
                    <a:latin typeface="Segoe UI"/>
                  </a:endParaRPr>
                </a:p>
              </p:txBody>
            </p:sp>
            <p:pic>
              <p:nvPicPr>
                <p:cNvPr id="325" name="Graphic 918" descr="Marke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32415" y="2527090"/>
                  <a:ext cx="1070585" cy="1070585"/>
                </a:xfrm>
                <a:prstGeom prst="rect">
                  <a:avLst/>
                </a:prstGeom>
              </p:spPr>
            </p:pic>
          </p:grpSp>
        </p:grpSp>
        <p:grpSp>
          <p:nvGrpSpPr>
            <p:cNvPr id="326" name="Group 900"/>
            <p:cNvGrpSpPr/>
            <p:nvPr/>
          </p:nvGrpSpPr>
          <p:grpSpPr>
            <a:xfrm>
              <a:off x="9117436" y="5106520"/>
              <a:ext cx="719897" cy="719896"/>
              <a:chOff x="-4594157" y="2516834"/>
              <a:chExt cx="1070585" cy="1070585"/>
            </a:xfrm>
          </p:grpSpPr>
          <p:sp>
            <p:nvSpPr>
              <p:cNvPr id="327"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defTabSz="857124">
                  <a:defRPr/>
                </a:pPr>
                <a:endParaRPr lang="en-US" sz="1687" kern="0">
                  <a:solidFill>
                    <a:srgbClr val="FFFFFF"/>
                  </a:solidFill>
                  <a:latin typeface="Segoe UI"/>
                </a:endParaRPr>
              </a:p>
            </p:txBody>
          </p:sp>
          <p:grpSp>
            <p:nvGrpSpPr>
              <p:cNvPr id="328" name="Group 902"/>
              <p:cNvGrpSpPr/>
              <p:nvPr/>
            </p:nvGrpSpPr>
            <p:grpSpPr>
              <a:xfrm>
                <a:off x="-4594157" y="2516834"/>
                <a:ext cx="1070585" cy="1070585"/>
                <a:chOff x="10232415" y="2527090"/>
                <a:chExt cx="1070585" cy="1070585"/>
              </a:xfrm>
            </p:grpSpPr>
            <p:sp>
              <p:nvSpPr>
                <p:cNvPr id="329" name="Oval 903"/>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defTabSz="857124">
                    <a:defRPr/>
                  </a:pPr>
                  <a:endParaRPr lang="en-US" sz="1687" kern="0">
                    <a:solidFill>
                      <a:srgbClr val="FFFFFF"/>
                    </a:solidFill>
                    <a:latin typeface="Segoe UI"/>
                  </a:endParaRPr>
                </a:p>
              </p:txBody>
            </p:sp>
            <p:pic>
              <p:nvPicPr>
                <p:cNvPr id="330" name="Graphic 923" descr="Marke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32415" y="2527090"/>
                  <a:ext cx="1070585" cy="1070585"/>
                </a:xfrm>
                <a:prstGeom prst="rect">
                  <a:avLst/>
                </a:prstGeom>
              </p:spPr>
            </p:pic>
          </p:grpSp>
        </p:grpSp>
      </p:grpSp>
      <p:sp>
        <p:nvSpPr>
          <p:cNvPr id="2" name="Title 1"/>
          <p:cNvSpPr>
            <a:spLocks noGrp="1"/>
          </p:cNvSpPr>
          <p:nvPr>
            <p:ph type="title"/>
          </p:nvPr>
        </p:nvSpPr>
        <p:spPr/>
        <p:txBody>
          <a:bodyPr/>
          <a:lstStyle/>
          <a:p>
            <a:pPr algn="l"/>
            <a:r>
              <a:rPr lang="en-US" dirty="0"/>
              <a:t>Azure Cosmos DB</a:t>
            </a:r>
          </a:p>
        </p:txBody>
      </p:sp>
      <p:sp>
        <p:nvSpPr>
          <p:cNvPr id="92" name="TextBox 91">
            <a:extLst/>
          </p:cNvPr>
          <p:cNvSpPr txBox="1"/>
          <p:nvPr/>
        </p:nvSpPr>
        <p:spPr>
          <a:xfrm>
            <a:off x="310854" y="1170577"/>
            <a:ext cx="8878868" cy="388276"/>
          </a:xfrm>
          <a:prstGeom prst="rect">
            <a:avLst/>
          </a:prstGeom>
          <a:noFill/>
        </p:spPr>
        <p:txBody>
          <a:bodyPr wrap="square" lIns="85713" tIns="85713" rIns="0" bIns="0" rtlCol="0">
            <a:spAutoFit/>
          </a:bodyPr>
          <a:lstStyle/>
          <a:p>
            <a:pPr defTabSz="857124">
              <a:defRPr/>
            </a:pPr>
            <a:r>
              <a:rPr lang="en-US" sz="1961" kern="0">
                <a:solidFill>
                  <a:srgbClr val="353535"/>
                </a:solidFill>
                <a:latin typeface="Segoe UI Semilight"/>
                <a:cs typeface="Segoe UI Semibold" panose="020B0702040204020203" pitchFamily="34" charset="0"/>
              </a:rPr>
              <a:t>Microsoft’s globally distributed, massively scalable, multi-model database service</a:t>
            </a:r>
          </a:p>
        </p:txBody>
      </p:sp>
      <p:grpSp>
        <p:nvGrpSpPr>
          <p:cNvPr id="14" name="Group 13">
            <a:extLst>
              <a:ext uri="{FF2B5EF4-FFF2-40B4-BE49-F238E27FC236}">
                <a16:creationId xmlns:a16="http://schemas.microsoft.com/office/drawing/2014/main" id="{0EFED4F1-AB08-4F5E-B508-59144DE68031}"/>
              </a:ext>
            </a:extLst>
          </p:cNvPr>
          <p:cNvGrpSpPr/>
          <p:nvPr/>
        </p:nvGrpSpPr>
        <p:grpSpPr>
          <a:xfrm>
            <a:off x="1" y="3745875"/>
            <a:ext cx="12191999" cy="1698637"/>
            <a:chOff x="1" y="3587307"/>
            <a:chExt cx="12436474" cy="1732698"/>
          </a:xfrm>
        </p:grpSpPr>
        <p:grpSp>
          <p:nvGrpSpPr>
            <p:cNvPr id="9" name="Group 8">
              <a:extLst>
                <a:ext uri="{FF2B5EF4-FFF2-40B4-BE49-F238E27FC236}">
                  <a16:creationId xmlns:a16="http://schemas.microsoft.com/office/drawing/2014/main" id="{A165350F-6BAC-474E-A425-1807C1B7F0C7}"/>
                </a:ext>
              </a:extLst>
            </p:cNvPr>
            <p:cNvGrpSpPr/>
            <p:nvPr/>
          </p:nvGrpSpPr>
          <p:grpSpPr>
            <a:xfrm>
              <a:off x="655854" y="3848176"/>
              <a:ext cx="11070877" cy="1471829"/>
              <a:chOff x="655854" y="3848176"/>
              <a:chExt cx="11070877" cy="1471829"/>
            </a:xfrm>
          </p:grpSpPr>
          <p:sp>
            <p:nvSpPr>
              <p:cNvPr id="306" name="TextBox 305"/>
              <p:cNvSpPr txBox="1"/>
              <p:nvPr/>
            </p:nvSpPr>
            <p:spPr>
              <a:xfrm>
                <a:off x="655854" y="4858340"/>
                <a:ext cx="1403543" cy="461665"/>
              </a:xfrm>
              <a:prstGeom prst="rect">
                <a:avLst/>
              </a:prstGeom>
              <a:noFill/>
            </p:spPr>
            <p:txBody>
              <a:bodyPr wrap="square" rtlCol="0">
                <a:spAutoFit/>
              </a:bodyPr>
              <a:lstStyle/>
              <a:p>
                <a:pPr algn="ctr" defTabSz="803436">
                  <a:defRPr/>
                </a:pPr>
                <a:r>
                  <a:rPr lang="en-US" sz="1176" kern="0">
                    <a:solidFill>
                      <a:srgbClr val="353535"/>
                    </a:solidFill>
                    <a:latin typeface="Segoe UI Semilight"/>
                    <a:cs typeface="Segoe UI Light" panose="020B0502040204020203" pitchFamily="34" charset="0"/>
                  </a:rPr>
                  <a:t>Turnkey global distribution</a:t>
                </a:r>
              </a:p>
            </p:txBody>
          </p:sp>
          <p:sp>
            <p:nvSpPr>
              <p:cNvPr id="307" name="TextBox 306"/>
              <p:cNvSpPr txBox="1"/>
              <p:nvPr/>
            </p:nvSpPr>
            <p:spPr>
              <a:xfrm>
                <a:off x="2256685" y="4178648"/>
                <a:ext cx="1932447" cy="461665"/>
              </a:xfrm>
              <a:prstGeom prst="rect">
                <a:avLst/>
              </a:prstGeom>
              <a:noFill/>
            </p:spPr>
            <p:txBody>
              <a:bodyPr wrap="square" rtlCol="0">
                <a:spAutoFit/>
              </a:bodyPr>
              <a:lstStyle/>
              <a:p>
                <a:pPr algn="ctr" defTabSz="803436">
                  <a:defRPr/>
                </a:pPr>
                <a:r>
                  <a:rPr lang="en-US" sz="1176" kern="0">
                    <a:solidFill>
                      <a:srgbClr val="353535"/>
                    </a:solidFill>
                    <a:latin typeface="Segoe UI Semilight"/>
                    <a:cs typeface="Segoe UI Light" panose="020B0502040204020203" pitchFamily="34" charset="0"/>
                  </a:rPr>
                  <a:t>Elastic scale out of storage &amp; throughput</a:t>
                </a:r>
              </a:p>
            </p:txBody>
          </p:sp>
          <p:sp>
            <p:nvSpPr>
              <p:cNvPr id="308" name="TextBox 307"/>
              <p:cNvSpPr txBox="1"/>
              <p:nvPr/>
            </p:nvSpPr>
            <p:spPr>
              <a:xfrm>
                <a:off x="5111598" y="3848176"/>
                <a:ext cx="2128817" cy="461665"/>
              </a:xfrm>
              <a:prstGeom prst="rect">
                <a:avLst/>
              </a:prstGeom>
              <a:noFill/>
            </p:spPr>
            <p:txBody>
              <a:bodyPr wrap="square" rtlCol="0">
                <a:spAutoFit/>
              </a:bodyPr>
              <a:lstStyle/>
              <a:p>
                <a:pPr algn="ctr" defTabSz="803436">
                  <a:defRPr/>
                </a:pPr>
                <a:r>
                  <a:rPr lang="en-US" sz="1176" kern="0">
                    <a:solidFill>
                      <a:srgbClr val="353535"/>
                    </a:solidFill>
                    <a:latin typeface="Segoe UI Semilight"/>
                    <a:cs typeface="Segoe UI Light" panose="020B0502040204020203" pitchFamily="34" charset="0"/>
                  </a:rPr>
                  <a:t>Guaranteed low latency at the 99</a:t>
                </a:r>
                <a:r>
                  <a:rPr lang="en-US" sz="1176" kern="0" baseline="30000">
                    <a:solidFill>
                      <a:srgbClr val="353535"/>
                    </a:solidFill>
                    <a:latin typeface="Segoe UI Semilight"/>
                    <a:cs typeface="Segoe UI Light" panose="020B0502040204020203" pitchFamily="34" charset="0"/>
                  </a:rPr>
                  <a:t>th</a:t>
                </a:r>
                <a:r>
                  <a:rPr lang="en-US" sz="1176" kern="0">
                    <a:solidFill>
                      <a:srgbClr val="353535"/>
                    </a:solidFill>
                    <a:latin typeface="Segoe UI Semilight"/>
                    <a:cs typeface="Segoe UI Light" panose="020B0502040204020203" pitchFamily="34" charset="0"/>
                  </a:rPr>
                  <a:t> percentile</a:t>
                </a:r>
              </a:p>
            </p:txBody>
          </p:sp>
          <p:sp>
            <p:nvSpPr>
              <p:cNvPr id="309" name="TextBox 308"/>
              <p:cNvSpPr txBox="1"/>
              <p:nvPr/>
            </p:nvSpPr>
            <p:spPr>
              <a:xfrm>
                <a:off x="10492442" y="4858340"/>
                <a:ext cx="1234289" cy="461665"/>
              </a:xfrm>
              <a:prstGeom prst="rect">
                <a:avLst/>
              </a:prstGeom>
              <a:noFill/>
            </p:spPr>
            <p:txBody>
              <a:bodyPr wrap="square" rtlCol="0">
                <a:spAutoFit/>
              </a:bodyPr>
              <a:lstStyle/>
              <a:p>
                <a:pPr algn="ctr" defTabSz="803436">
                  <a:defRPr/>
                </a:pPr>
                <a:r>
                  <a:rPr lang="en-US" sz="1176" kern="0">
                    <a:solidFill>
                      <a:srgbClr val="353535"/>
                    </a:solidFill>
                    <a:latin typeface="Segoe UI Semilight"/>
                    <a:cs typeface="Segoe UI Light" panose="020B0502040204020203" pitchFamily="34" charset="0"/>
                  </a:rPr>
                  <a:t>Comprehensive SLAs</a:t>
                </a:r>
              </a:p>
            </p:txBody>
          </p:sp>
          <p:sp>
            <p:nvSpPr>
              <p:cNvPr id="310" name="TextBox 309"/>
              <p:cNvSpPr txBox="1"/>
              <p:nvPr/>
            </p:nvSpPr>
            <p:spPr>
              <a:xfrm>
                <a:off x="8416088" y="4132348"/>
                <a:ext cx="1601656" cy="461665"/>
              </a:xfrm>
              <a:prstGeom prst="rect">
                <a:avLst/>
              </a:prstGeom>
              <a:noFill/>
            </p:spPr>
            <p:txBody>
              <a:bodyPr wrap="square" rtlCol="0">
                <a:spAutoFit/>
              </a:bodyPr>
              <a:lstStyle/>
              <a:p>
                <a:pPr algn="ctr" defTabSz="803436">
                  <a:defRPr/>
                </a:pPr>
                <a:r>
                  <a:rPr lang="en-US" sz="1176" kern="0">
                    <a:solidFill>
                      <a:srgbClr val="353535"/>
                    </a:solidFill>
                    <a:latin typeface="Segoe UI Semilight"/>
                    <a:cs typeface="Segoe UI Light" panose="020B0502040204020203" pitchFamily="34" charset="0"/>
                  </a:rPr>
                  <a:t>Five well-defined consistency models</a:t>
                </a:r>
              </a:p>
            </p:txBody>
          </p:sp>
        </p:grpSp>
        <p:sp>
          <p:nvSpPr>
            <p:cNvPr id="331" name="Freeform: Shape 8"/>
            <p:cNvSpPr/>
            <p:nvPr/>
          </p:nvSpPr>
          <p:spPr>
            <a:xfrm>
              <a:off x="1" y="3587307"/>
              <a:ext cx="12436474" cy="1517108"/>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defRPr/>
              </a:pPr>
              <a:endParaRPr lang="en-US" sz="1687">
                <a:solidFill>
                  <a:srgbClr val="FFFFFF"/>
                </a:solidFill>
                <a:latin typeface="Segoe UI"/>
              </a:endParaRPr>
            </a:p>
          </p:txBody>
        </p:sp>
      </p:grpSp>
      <p:grpSp>
        <p:nvGrpSpPr>
          <p:cNvPr id="4" name="Group 3">
            <a:extLst>
              <a:ext uri="{FF2B5EF4-FFF2-40B4-BE49-F238E27FC236}">
                <a16:creationId xmlns:a16="http://schemas.microsoft.com/office/drawing/2014/main" id="{2934BBBE-4D20-4886-8A76-2BE6559D6413}"/>
              </a:ext>
            </a:extLst>
          </p:cNvPr>
          <p:cNvGrpSpPr/>
          <p:nvPr/>
        </p:nvGrpSpPr>
        <p:grpSpPr>
          <a:xfrm>
            <a:off x="498206" y="1861184"/>
            <a:ext cx="5378751" cy="1670311"/>
            <a:chOff x="508196" y="1664824"/>
            <a:chExt cx="5486606" cy="1703804"/>
          </a:xfrm>
        </p:grpSpPr>
        <p:pic>
          <p:nvPicPr>
            <p:cNvPr id="276" name="Picture 2" descr="https://c2.staticflickr.com/4/3701/19224697601_d03ecccf71_o.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3945" r="13945"/>
            <a:stretch/>
          </p:blipFill>
          <p:spPr bwMode="auto">
            <a:xfrm>
              <a:off x="577534" y="2410219"/>
              <a:ext cx="564887" cy="783372"/>
            </a:xfrm>
            <a:prstGeom prst="rect">
              <a:avLst/>
            </a:prstGeom>
            <a:noFill/>
            <a:extLst>
              <a:ext uri="{909E8E84-426E-40DD-AFC4-6F175D3DCCD1}">
                <a14:hiddenFill xmlns:a14="http://schemas.microsoft.com/office/drawing/2010/main">
                  <a:solidFill>
                    <a:srgbClr val="FFFFFF"/>
                  </a:solidFill>
                </a14:hiddenFill>
              </a:ext>
            </a:extLst>
          </p:spPr>
        </p:pic>
        <p:pic>
          <p:nvPicPr>
            <p:cNvPr id="278" name="Picture 277" descr="https://upload.wikimedia.org/wikipedia/en/thumb/5/54/Gremlin_%28programming_language%29.png/383px-Gremlin_%28programming_language%29.png"/>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4404437" y="1664824"/>
              <a:ext cx="1590365" cy="618707"/>
            </a:xfrm>
            <a:prstGeom prst="rect">
              <a:avLst/>
            </a:prstGeom>
            <a:extLst>
              <a:ext uri="{909E8E84-426E-40DD-AFC4-6F175D3DCCD1}">
                <a14:hiddenFill xmlns:a14="http://schemas.microsoft.com/office/drawing/2010/main">
                  <a:solidFill>
                    <a:srgbClr val="FFFFFF"/>
                  </a:solidFill>
                </a14:hiddenFill>
              </a:ext>
            </a:extLst>
          </p:spPr>
        </p:pic>
        <p:pic>
          <p:nvPicPr>
            <p:cNvPr id="279" name="Picture 4" descr="File:MongoDB-Logo.sv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80284" y="2267034"/>
              <a:ext cx="1594746" cy="432730"/>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a:extLst>
                <a:ext uri="{FF2B5EF4-FFF2-40B4-BE49-F238E27FC236}">
                  <a16:creationId xmlns:a16="http://schemas.microsoft.com/office/drawing/2014/main" id="{3859C90E-88B7-4E63-8D43-551D10ABEDDD}"/>
                </a:ext>
              </a:extLst>
            </p:cNvPr>
            <p:cNvGrpSpPr/>
            <p:nvPr/>
          </p:nvGrpSpPr>
          <p:grpSpPr>
            <a:xfrm>
              <a:off x="3228250" y="1683753"/>
              <a:ext cx="1079066" cy="851066"/>
              <a:chOff x="3466432" y="1767439"/>
              <a:chExt cx="1079066" cy="851066"/>
            </a:xfrm>
          </p:grpSpPr>
          <p:sp>
            <p:nvSpPr>
              <p:cNvPr id="277" name="Freeform: Shape 28"/>
              <p:cNvSpPr/>
              <p:nvPr/>
            </p:nvSpPr>
            <p:spPr>
              <a:xfrm>
                <a:off x="3758841" y="1767439"/>
                <a:ext cx="559593" cy="482439"/>
              </a:xfrm>
              <a:custGeom>
                <a:avLst/>
                <a:gdLst>
                  <a:gd name="connsiteX0" fmla="*/ 4283739 w 6912012"/>
                  <a:gd name="connsiteY0" fmla="*/ 3558282 h 5959009"/>
                  <a:gd name="connsiteX1" fmla="*/ 4283739 w 6912012"/>
                  <a:gd name="connsiteY1" fmla="*/ 4359666 h 5959009"/>
                  <a:gd name="connsiteX2" fmla="*/ 5085123 w 6912012"/>
                  <a:gd name="connsiteY2" fmla="*/ 4359666 h 5959009"/>
                  <a:gd name="connsiteX3" fmla="*/ 5085123 w 6912012"/>
                  <a:gd name="connsiteY3" fmla="*/ 3558282 h 5959009"/>
                  <a:gd name="connsiteX4" fmla="*/ 3285434 w 6912012"/>
                  <a:gd name="connsiteY4" fmla="*/ 3558282 h 5959009"/>
                  <a:gd name="connsiteX5" fmla="*/ 3285434 w 6912012"/>
                  <a:gd name="connsiteY5" fmla="*/ 4359666 h 5959009"/>
                  <a:gd name="connsiteX6" fmla="*/ 4086818 w 6912012"/>
                  <a:gd name="connsiteY6" fmla="*/ 4359666 h 5959009"/>
                  <a:gd name="connsiteX7" fmla="*/ 4086818 w 6912012"/>
                  <a:gd name="connsiteY7" fmla="*/ 3558282 h 5959009"/>
                  <a:gd name="connsiteX8" fmla="*/ 2287129 w 6912012"/>
                  <a:gd name="connsiteY8" fmla="*/ 3558282 h 5959009"/>
                  <a:gd name="connsiteX9" fmla="*/ 2287129 w 6912012"/>
                  <a:gd name="connsiteY9" fmla="*/ 4359666 h 5959009"/>
                  <a:gd name="connsiteX10" fmla="*/ 3088513 w 6912012"/>
                  <a:gd name="connsiteY10" fmla="*/ 4359666 h 5959009"/>
                  <a:gd name="connsiteX11" fmla="*/ 3088513 w 6912012"/>
                  <a:gd name="connsiteY11" fmla="*/ 3558282 h 5959009"/>
                  <a:gd name="connsiteX12" fmla="*/ 4283739 w 6912012"/>
                  <a:gd name="connsiteY12" fmla="*/ 2561689 h 5959009"/>
                  <a:gd name="connsiteX13" fmla="*/ 4283739 w 6912012"/>
                  <a:gd name="connsiteY13" fmla="*/ 3363073 h 5959009"/>
                  <a:gd name="connsiteX14" fmla="*/ 5085123 w 6912012"/>
                  <a:gd name="connsiteY14" fmla="*/ 3363073 h 5959009"/>
                  <a:gd name="connsiteX15" fmla="*/ 5085123 w 6912012"/>
                  <a:gd name="connsiteY15" fmla="*/ 2561689 h 5959009"/>
                  <a:gd name="connsiteX16" fmla="*/ 3285434 w 6912012"/>
                  <a:gd name="connsiteY16" fmla="*/ 2561689 h 5959009"/>
                  <a:gd name="connsiteX17" fmla="*/ 3285434 w 6912012"/>
                  <a:gd name="connsiteY17" fmla="*/ 3363073 h 5959009"/>
                  <a:gd name="connsiteX18" fmla="*/ 4086818 w 6912012"/>
                  <a:gd name="connsiteY18" fmla="*/ 3363073 h 5959009"/>
                  <a:gd name="connsiteX19" fmla="*/ 4086818 w 6912012"/>
                  <a:gd name="connsiteY19" fmla="*/ 2561689 h 5959009"/>
                  <a:gd name="connsiteX20" fmla="*/ 2287129 w 6912012"/>
                  <a:gd name="connsiteY20" fmla="*/ 2561689 h 5959009"/>
                  <a:gd name="connsiteX21" fmla="*/ 2287129 w 6912012"/>
                  <a:gd name="connsiteY21" fmla="*/ 3363073 h 5959009"/>
                  <a:gd name="connsiteX22" fmla="*/ 3088513 w 6912012"/>
                  <a:gd name="connsiteY22" fmla="*/ 3363073 h 5959009"/>
                  <a:gd name="connsiteX23" fmla="*/ 3088513 w 6912012"/>
                  <a:gd name="connsiteY23" fmla="*/ 2561689 h 5959009"/>
                  <a:gd name="connsiteX24" fmla="*/ 4283739 w 6912012"/>
                  <a:gd name="connsiteY24" fmla="*/ 1565096 h 5959009"/>
                  <a:gd name="connsiteX25" fmla="*/ 4283739 w 6912012"/>
                  <a:gd name="connsiteY25" fmla="*/ 2366480 h 5959009"/>
                  <a:gd name="connsiteX26" fmla="*/ 5085123 w 6912012"/>
                  <a:gd name="connsiteY26" fmla="*/ 2366480 h 5959009"/>
                  <a:gd name="connsiteX27" fmla="*/ 5085123 w 6912012"/>
                  <a:gd name="connsiteY27" fmla="*/ 1565096 h 5959009"/>
                  <a:gd name="connsiteX28" fmla="*/ 3285434 w 6912012"/>
                  <a:gd name="connsiteY28" fmla="*/ 1565096 h 5959009"/>
                  <a:gd name="connsiteX29" fmla="*/ 3285434 w 6912012"/>
                  <a:gd name="connsiteY29" fmla="*/ 2366480 h 5959009"/>
                  <a:gd name="connsiteX30" fmla="*/ 4086818 w 6912012"/>
                  <a:gd name="connsiteY30" fmla="*/ 2366480 h 5959009"/>
                  <a:gd name="connsiteX31" fmla="*/ 4086818 w 6912012"/>
                  <a:gd name="connsiteY31" fmla="*/ 1565096 h 5959009"/>
                  <a:gd name="connsiteX32" fmla="*/ 2287129 w 6912012"/>
                  <a:gd name="connsiteY32" fmla="*/ 1565096 h 5959009"/>
                  <a:gd name="connsiteX33" fmla="*/ 2287129 w 6912012"/>
                  <a:gd name="connsiteY33" fmla="*/ 2366480 h 5959009"/>
                  <a:gd name="connsiteX34" fmla="*/ 3088513 w 6912012"/>
                  <a:gd name="connsiteY34" fmla="*/ 2366480 h 5959009"/>
                  <a:gd name="connsiteX35" fmla="*/ 3088513 w 6912012"/>
                  <a:gd name="connsiteY35" fmla="*/ 1565096 h 5959009"/>
                  <a:gd name="connsiteX36" fmla="*/ 1826890 w 6912012"/>
                  <a:gd name="connsiteY36" fmla="*/ 1539635 h 5959009"/>
                  <a:gd name="connsiteX37" fmla="*/ 1826890 w 6912012"/>
                  <a:gd name="connsiteY37" fmla="*/ 4787206 h 5959009"/>
                  <a:gd name="connsiteX38" fmla="*/ 5085123 w 6912012"/>
                  <a:gd name="connsiteY38" fmla="*/ 4787206 h 5959009"/>
                  <a:gd name="connsiteX39" fmla="*/ 5085123 w 6912012"/>
                  <a:gd name="connsiteY39" fmla="*/ 4567677 h 5959009"/>
                  <a:gd name="connsiteX40" fmla="*/ 2046419 w 6912012"/>
                  <a:gd name="connsiteY40" fmla="*/ 4567677 h 5959009"/>
                  <a:gd name="connsiteX41" fmla="*/ 2046419 w 6912012"/>
                  <a:gd name="connsiteY41" fmla="*/ 1539635 h 5959009"/>
                  <a:gd name="connsiteX42" fmla="*/ 1743189 w 6912012"/>
                  <a:gd name="connsiteY42" fmla="*/ 0 h 5959009"/>
                  <a:gd name="connsiteX43" fmla="*/ 5168823 w 6912012"/>
                  <a:gd name="connsiteY43" fmla="*/ 0 h 5959009"/>
                  <a:gd name="connsiteX44" fmla="*/ 6912012 w 6912012"/>
                  <a:gd name="connsiteY44" fmla="*/ 2979505 h 5959009"/>
                  <a:gd name="connsiteX45" fmla="*/ 5168823 w 6912012"/>
                  <a:gd name="connsiteY45" fmla="*/ 5959009 h 5959009"/>
                  <a:gd name="connsiteX46" fmla="*/ 1743189 w 6912012"/>
                  <a:gd name="connsiteY46" fmla="*/ 5959009 h 5959009"/>
                  <a:gd name="connsiteX47" fmla="*/ 0 w 6912012"/>
                  <a:gd name="connsiteY47" fmla="*/ 2979505 h 5959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912012" h="5959009">
                    <a:moveTo>
                      <a:pt x="4283739" y="3558282"/>
                    </a:moveTo>
                    <a:lnTo>
                      <a:pt x="4283739" y="4359666"/>
                    </a:lnTo>
                    <a:lnTo>
                      <a:pt x="5085123" y="4359666"/>
                    </a:lnTo>
                    <a:lnTo>
                      <a:pt x="5085123" y="3558282"/>
                    </a:lnTo>
                    <a:close/>
                    <a:moveTo>
                      <a:pt x="3285434" y="3558282"/>
                    </a:moveTo>
                    <a:lnTo>
                      <a:pt x="3285434" y="4359666"/>
                    </a:lnTo>
                    <a:lnTo>
                      <a:pt x="4086818" y="4359666"/>
                    </a:lnTo>
                    <a:lnTo>
                      <a:pt x="4086818" y="3558282"/>
                    </a:lnTo>
                    <a:close/>
                    <a:moveTo>
                      <a:pt x="2287129" y="3558282"/>
                    </a:moveTo>
                    <a:lnTo>
                      <a:pt x="2287129" y="4359666"/>
                    </a:lnTo>
                    <a:lnTo>
                      <a:pt x="3088513" y="4359666"/>
                    </a:lnTo>
                    <a:lnTo>
                      <a:pt x="3088513" y="3558282"/>
                    </a:lnTo>
                    <a:close/>
                    <a:moveTo>
                      <a:pt x="4283739" y="2561689"/>
                    </a:moveTo>
                    <a:lnTo>
                      <a:pt x="4283739" y="3363073"/>
                    </a:lnTo>
                    <a:lnTo>
                      <a:pt x="5085123" y="3363073"/>
                    </a:lnTo>
                    <a:lnTo>
                      <a:pt x="5085123" y="2561689"/>
                    </a:lnTo>
                    <a:close/>
                    <a:moveTo>
                      <a:pt x="3285434" y="2561689"/>
                    </a:moveTo>
                    <a:lnTo>
                      <a:pt x="3285434" y="3363073"/>
                    </a:lnTo>
                    <a:lnTo>
                      <a:pt x="4086818" y="3363073"/>
                    </a:lnTo>
                    <a:lnTo>
                      <a:pt x="4086818" y="2561689"/>
                    </a:lnTo>
                    <a:close/>
                    <a:moveTo>
                      <a:pt x="2287129" y="2561689"/>
                    </a:moveTo>
                    <a:lnTo>
                      <a:pt x="2287129" y="3363073"/>
                    </a:lnTo>
                    <a:lnTo>
                      <a:pt x="3088513" y="3363073"/>
                    </a:lnTo>
                    <a:lnTo>
                      <a:pt x="3088513" y="2561689"/>
                    </a:lnTo>
                    <a:close/>
                    <a:moveTo>
                      <a:pt x="4283739" y="1565096"/>
                    </a:moveTo>
                    <a:lnTo>
                      <a:pt x="4283739" y="2366480"/>
                    </a:lnTo>
                    <a:lnTo>
                      <a:pt x="5085123" y="2366480"/>
                    </a:lnTo>
                    <a:lnTo>
                      <a:pt x="5085123" y="1565096"/>
                    </a:lnTo>
                    <a:close/>
                    <a:moveTo>
                      <a:pt x="3285434" y="1565096"/>
                    </a:moveTo>
                    <a:lnTo>
                      <a:pt x="3285434" y="2366480"/>
                    </a:lnTo>
                    <a:lnTo>
                      <a:pt x="4086818" y="2366480"/>
                    </a:lnTo>
                    <a:lnTo>
                      <a:pt x="4086818" y="1565096"/>
                    </a:lnTo>
                    <a:close/>
                    <a:moveTo>
                      <a:pt x="2287129" y="1565096"/>
                    </a:moveTo>
                    <a:lnTo>
                      <a:pt x="2287129" y="2366480"/>
                    </a:lnTo>
                    <a:lnTo>
                      <a:pt x="3088513" y="2366480"/>
                    </a:lnTo>
                    <a:lnTo>
                      <a:pt x="3088513" y="1565096"/>
                    </a:lnTo>
                    <a:close/>
                    <a:moveTo>
                      <a:pt x="1826890" y="1539635"/>
                    </a:moveTo>
                    <a:lnTo>
                      <a:pt x="1826890" y="4787206"/>
                    </a:lnTo>
                    <a:lnTo>
                      <a:pt x="5085123" y="4787206"/>
                    </a:lnTo>
                    <a:lnTo>
                      <a:pt x="5085123" y="4567677"/>
                    </a:lnTo>
                    <a:lnTo>
                      <a:pt x="2046419" y="4567677"/>
                    </a:lnTo>
                    <a:lnTo>
                      <a:pt x="2046419" y="1539635"/>
                    </a:lnTo>
                    <a:close/>
                    <a:moveTo>
                      <a:pt x="1743189" y="0"/>
                    </a:moveTo>
                    <a:lnTo>
                      <a:pt x="5168823" y="0"/>
                    </a:lnTo>
                    <a:lnTo>
                      <a:pt x="6912012" y="2979505"/>
                    </a:lnTo>
                    <a:lnTo>
                      <a:pt x="5168823" y="5959009"/>
                    </a:lnTo>
                    <a:lnTo>
                      <a:pt x="1743189" y="5959009"/>
                    </a:lnTo>
                    <a:lnTo>
                      <a:pt x="0" y="297950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defRPr/>
                </a:pPr>
                <a:endParaRPr lang="en-US" sz="1687">
                  <a:solidFill>
                    <a:srgbClr val="FFFFFF"/>
                  </a:solidFill>
                  <a:latin typeface="Segoe UI"/>
                </a:endParaRPr>
              </a:p>
            </p:txBody>
          </p:sp>
          <p:sp>
            <p:nvSpPr>
              <p:cNvPr id="333" name="TextBox 332"/>
              <p:cNvSpPr txBox="1"/>
              <p:nvPr/>
            </p:nvSpPr>
            <p:spPr>
              <a:xfrm>
                <a:off x="3466432" y="2259492"/>
                <a:ext cx="1079066" cy="359013"/>
              </a:xfrm>
              <a:prstGeom prst="rect">
                <a:avLst/>
              </a:prstGeom>
              <a:noFill/>
            </p:spPr>
            <p:txBody>
              <a:bodyPr wrap="none" rtlCol="0">
                <a:spAutoFit/>
              </a:bodyPr>
              <a:lstStyle/>
              <a:p>
                <a:pPr defTabSz="857124">
                  <a:defRPr/>
                </a:pPr>
                <a:r>
                  <a:rPr lang="en-US" sz="1687">
                    <a:solidFill>
                      <a:prstClr val="black"/>
                    </a:solidFill>
                    <a:latin typeface="Segoe UI"/>
                  </a:rPr>
                  <a:t>Table API</a:t>
                </a:r>
              </a:p>
            </p:txBody>
          </p:sp>
        </p:grpSp>
        <p:sp>
          <p:nvSpPr>
            <p:cNvPr id="275" name="Freeform: Shape 827"/>
            <p:cNvSpPr/>
            <p:nvPr/>
          </p:nvSpPr>
          <p:spPr>
            <a:xfrm>
              <a:off x="508196" y="3052934"/>
              <a:ext cx="682889" cy="315694"/>
            </a:xfrm>
            <a:custGeom>
              <a:avLst/>
              <a:gdLst>
                <a:gd name="connsiteX0" fmla="*/ 333618 w 531187"/>
                <a:gd name="connsiteY0" fmla="*/ 682320 h 835576"/>
                <a:gd name="connsiteX1" fmla="*/ 303480 w 531187"/>
                <a:gd name="connsiteY1" fmla="*/ 696608 h 835576"/>
                <a:gd name="connsiteX2" fmla="*/ 292318 w 531187"/>
                <a:gd name="connsiteY2" fmla="*/ 734224 h 835576"/>
                <a:gd name="connsiteX3" fmla="*/ 303480 w 531187"/>
                <a:gd name="connsiteY3" fmla="*/ 771840 h 835576"/>
                <a:gd name="connsiteX4" fmla="*/ 332725 w 531187"/>
                <a:gd name="connsiteY4" fmla="*/ 785681 h 835576"/>
                <a:gd name="connsiteX5" fmla="*/ 362305 w 531187"/>
                <a:gd name="connsiteY5" fmla="*/ 772287 h 835576"/>
                <a:gd name="connsiteX6" fmla="*/ 373243 w 531187"/>
                <a:gd name="connsiteY6" fmla="*/ 734894 h 835576"/>
                <a:gd name="connsiteX7" fmla="*/ 362639 w 531187"/>
                <a:gd name="connsiteY7" fmla="*/ 696161 h 835576"/>
                <a:gd name="connsiteX8" fmla="*/ 333618 w 531187"/>
                <a:gd name="connsiteY8" fmla="*/ 682320 h 835576"/>
                <a:gd name="connsiteX9" fmla="*/ 435863 w 531187"/>
                <a:gd name="connsiteY9" fmla="*/ 653968 h 835576"/>
                <a:gd name="connsiteX10" fmla="*/ 471917 w 531187"/>
                <a:gd name="connsiteY10" fmla="*/ 653968 h 835576"/>
                <a:gd name="connsiteX11" fmla="*/ 471917 w 531187"/>
                <a:gd name="connsiteY11" fmla="*/ 784788 h 835576"/>
                <a:gd name="connsiteX12" fmla="*/ 531187 w 531187"/>
                <a:gd name="connsiteY12" fmla="*/ 784788 h 835576"/>
                <a:gd name="connsiteX13" fmla="*/ 531187 w 531187"/>
                <a:gd name="connsiteY13" fmla="*/ 814033 h 835576"/>
                <a:gd name="connsiteX14" fmla="*/ 435863 w 531187"/>
                <a:gd name="connsiteY14" fmla="*/ 814033 h 835576"/>
                <a:gd name="connsiteX15" fmla="*/ 435863 w 531187"/>
                <a:gd name="connsiteY15" fmla="*/ 653968 h 835576"/>
                <a:gd name="connsiteX16" fmla="*/ 334623 w 531187"/>
                <a:gd name="connsiteY16" fmla="*/ 651290 h 835576"/>
                <a:gd name="connsiteX17" fmla="*/ 389987 w 531187"/>
                <a:gd name="connsiteY17" fmla="*/ 673725 h 835576"/>
                <a:gd name="connsiteX18" fmla="*/ 411195 w 531187"/>
                <a:gd name="connsiteY18" fmla="*/ 732885 h 835576"/>
                <a:gd name="connsiteX19" fmla="*/ 389205 w 531187"/>
                <a:gd name="connsiteY19" fmla="*/ 793718 h 835576"/>
                <a:gd name="connsiteX20" fmla="*/ 387754 w 531187"/>
                <a:gd name="connsiteY20" fmla="*/ 795225 h 835576"/>
                <a:gd name="connsiteX21" fmla="*/ 386303 w 531187"/>
                <a:gd name="connsiteY21" fmla="*/ 796620 h 835576"/>
                <a:gd name="connsiteX22" fmla="*/ 426822 w 531187"/>
                <a:gd name="connsiteY22" fmla="*/ 835576 h 835576"/>
                <a:gd name="connsiteX23" fmla="*/ 376369 w 531187"/>
                <a:gd name="connsiteY23" fmla="*/ 835576 h 835576"/>
                <a:gd name="connsiteX24" fmla="*/ 355161 w 531187"/>
                <a:gd name="connsiteY24" fmla="*/ 814033 h 835576"/>
                <a:gd name="connsiteX25" fmla="*/ 332055 w 531187"/>
                <a:gd name="connsiteY25" fmla="*/ 816824 h 835576"/>
                <a:gd name="connsiteX26" fmla="*/ 276021 w 531187"/>
                <a:gd name="connsiteY26" fmla="*/ 794499 h 835576"/>
                <a:gd name="connsiteX27" fmla="*/ 254367 w 531187"/>
                <a:gd name="connsiteY27" fmla="*/ 736122 h 835576"/>
                <a:gd name="connsiteX28" fmla="*/ 276356 w 531187"/>
                <a:gd name="connsiteY28" fmla="*/ 674730 h 835576"/>
                <a:gd name="connsiteX29" fmla="*/ 334623 w 531187"/>
                <a:gd name="connsiteY29" fmla="*/ 651290 h 835576"/>
                <a:gd name="connsiteX30" fmla="*/ 195394 w 531187"/>
                <a:gd name="connsiteY30" fmla="*/ 651290 h 835576"/>
                <a:gd name="connsiteX31" fmla="*/ 217551 w 531187"/>
                <a:gd name="connsiteY31" fmla="*/ 652796 h 835576"/>
                <a:gd name="connsiteX32" fmla="*/ 235354 w 531187"/>
                <a:gd name="connsiteY32" fmla="*/ 657429 h 835576"/>
                <a:gd name="connsiteX33" fmla="*/ 235354 w 531187"/>
                <a:gd name="connsiteY33" fmla="*/ 690803 h 835576"/>
                <a:gd name="connsiteX34" fmla="*/ 226592 w 531187"/>
                <a:gd name="connsiteY34" fmla="*/ 685892 h 835576"/>
                <a:gd name="connsiteX35" fmla="*/ 216825 w 531187"/>
                <a:gd name="connsiteY35" fmla="*/ 682376 h 835576"/>
                <a:gd name="connsiteX36" fmla="*/ 206835 w 531187"/>
                <a:gd name="connsiteY36" fmla="*/ 680311 h 835576"/>
                <a:gd name="connsiteX37" fmla="*/ 197403 w 531187"/>
                <a:gd name="connsiteY37" fmla="*/ 679641 h 835576"/>
                <a:gd name="connsiteX38" fmla="*/ 186241 w 531187"/>
                <a:gd name="connsiteY38" fmla="*/ 680813 h 835576"/>
                <a:gd name="connsiteX39" fmla="*/ 177758 w 531187"/>
                <a:gd name="connsiteY39" fmla="*/ 684106 h 835576"/>
                <a:gd name="connsiteX40" fmla="*/ 172400 w 531187"/>
                <a:gd name="connsiteY40" fmla="*/ 689185 h 835576"/>
                <a:gd name="connsiteX41" fmla="*/ 170502 w 531187"/>
                <a:gd name="connsiteY41" fmla="*/ 695826 h 835576"/>
                <a:gd name="connsiteX42" fmla="*/ 172623 w 531187"/>
                <a:gd name="connsiteY42" fmla="*/ 703026 h 835576"/>
                <a:gd name="connsiteX43" fmla="*/ 178651 w 531187"/>
                <a:gd name="connsiteY43" fmla="*/ 709053 h 835576"/>
                <a:gd name="connsiteX44" fmla="*/ 188138 w 531187"/>
                <a:gd name="connsiteY44" fmla="*/ 714635 h 835576"/>
                <a:gd name="connsiteX45" fmla="*/ 200752 w 531187"/>
                <a:gd name="connsiteY45" fmla="*/ 720271 h 835576"/>
                <a:gd name="connsiteX46" fmla="*/ 217997 w 531187"/>
                <a:gd name="connsiteY46" fmla="*/ 728810 h 835576"/>
                <a:gd name="connsiteX47" fmla="*/ 231113 w 531187"/>
                <a:gd name="connsiteY47" fmla="*/ 739024 h 835576"/>
                <a:gd name="connsiteX48" fmla="*/ 239484 w 531187"/>
                <a:gd name="connsiteY48" fmla="*/ 752028 h 835576"/>
                <a:gd name="connsiteX49" fmla="*/ 242386 w 531187"/>
                <a:gd name="connsiteY49" fmla="*/ 769050 h 835576"/>
                <a:gd name="connsiteX50" fmla="*/ 237308 w 531187"/>
                <a:gd name="connsiteY50" fmla="*/ 791541 h 835576"/>
                <a:gd name="connsiteX51" fmla="*/ 223522 w 531187"/>
                <a:gd name="connsiteY51" fmla="*/ 806275 h 835576"/>
                <a:gd name="connsiteX52" fmla="*/ 203263 w 531187"/>
                <a:gd name="connsiteY52" fmla="*/ 814368 h 835576"/>
                <a:gd name="connsiteX53" fmla="*/ 178874 w 531187"/>
                <a:gd name="connsiteY53" fmla="*/ 816824 h 835576"/>
                <a:gd name="connsiteX54" fmla="*/ 153815 w 531187"/>
                <a:gd name="connsiteY54" fmla="*/ 814591 h 835576"/>
                <a:gd name="connsiteX55" fmla="*/ 133221 w 531187"/>
                <a:gd name="connsiteY55" fmla="*/ 807894 h 835576"/>
                <a:gd name="connsiteX56" fmla="*/ 133221 w 531187"/>
                <a:gd name="connsiteY56" fmla="*/ 772175 h 835576"/>
                <a:gd name="connsiteX57" fmla="*/ 154317 w 531187"/>
                <a:gd name="connsiteY57" fmla="*/ 784398 h 835576"/>
                <a:gd name="connsiteX58" fmla="*/ 177311 w 531187"/>
                <a:gd name="connsiteY58" fmla="*/ 788472 h 835576"/>
                <a:gd name="connsiteX59" fmla="*/ 189199 w 531187"/>
                <a:gd name="connsiteY59" fmla="*/ 787244 h 835576"/>
                <a:gd name="connsiteX60" fmla="*/ 197682 w 531187"/>
                <a:gd name="connsiteY60" fmla="*/ 783840 h 835576"/>
                <a:gd name="connsiteX61" fmla="*/ 202761 w 531187"/>
                <a:gd name="connsiteY61" fmla="*/ 778705 h 835576"/>
                <a:gd name="connsiteX62" fmla="*/ 204435 w 531187"/>
                <a:gd name="connsiteY62" fmla="*/ 772287 h 835576"/>
                <a:gd name="connsiteX63" fmla="*/ 201756 w 531187"/>
                <a:gd name="connsiteY63" fmla="*/ 763915 h 835576"/>
                <a:gd name="connsiteX64" fmla="*/ 194445 w 531187"/>
                <a:gd name="connsiteY64" fmla="*/ 757106 h 835576"/>
                <a:gd name="connsiteX65" fmla="*/ 183450 w 531187"/>
                <a:gd name="connsiteY65" fmla="*/ 751079 h 835576"/>
                <a:gd name="connsiteX66" fmla="*/ 169721 w 531187"/>
                <a:gd name="connsiteY66" fmla="*/ 745163 h 835576"/>
                <a:gd name="connsiteX67" fmla="*/ 141760 w 531187"/>
                <a:gd name="connsiteY67" fmla="*/ 726076 h 835576"/>
                <a:gd name="connsiteX68" fmla="*/ 132551 w 531187"/>
                <a:gd name="connsiteY68" fmla="*/ 698840 h 835576"/>
                <a:gd name="connsiteX69" fmla="*/ 137574 w 531187"/>
                <a:gd name="connsiteY69" fmla="*/ 677353 h 835576"/>
                <a:gd name="connsiteX70" fmla="*/ 151248 w 531187"/>
                <a:gd name="connsiteY70" fmla="*/ 662563 h 835576"/>
                <a:gd name="connsiteX71" fmla="*/ 171284 w 531187"/>
                <a:gd name="connsiteY71" fmla="*/ 654024 h 835576"/>
                <a:gd name="connsiteX72" fmla="*/ 195394 w 531187"/>
                <a:gd name="connsiteY72" fmla="*/ 651290 h 835576"/>
                <a:gd name="connsiteX73" fmla="*/ 0 w 531187"/>
                <a:gd name="connsiteY73" fmla="*/ 0 h 835576"/>
                <a:gd name="connsiteX74" fmla="*/ 248557 w 531187"/>
                <a:gd name="connsiteY74" fmla="*/ 591457 h 835576"/>
                <a:gd name="connsiteX75" fmla="*/ 0 w 531187"/>
                <a:gd name="connsiteY75" fmla="*/ 0 h 835576"/>
                <a:gd name="connsiteX0" fmla="*/ 201067 w 398636"/>
                <a:gd name="connsiteY0" fmla="*/ 31030 h 184286"/>
                <a:gd name="connsiteX1" fmla="*/ 170929 w 398636"/>
                <a:gd name="connsiteY1" fmla="*/ 45318 h 184286"/>
                <a:gd name="connsiteX2" fmla="*/ 159767 w 398636"/>
                <a:gd name="connsiteY2" fmla="*/ 82934 h 184286"/>
                <a:gd name="connsiteX3" fmla="*/ 170929 w 398636"/>
                <a:gd name="connsiteY3" fmla="*/ 120550 h 184286"/>
                <a:gd name="connsiteX4" fmla="*/ 200174 w 398636"/>
                <a:gd name="connsiteY4" fmla="*/ 134391 h 184286"/>
                <a:gd name="connsiteX5" fmla="*/ 229754 w 398636"/>
                <a:gd name="connsiteY5" fmla="*/ 120997 h 184286"/>
                <a:gd name="connsiteX6" fmla="*/ 240692 w 398636"/>
                <a:gd name="connsiteY6" fmla="*/ 83604 h 184286"/>
                <a:gd name="connsiteX7" fmla="*/ 230088 w 398636"/>
                <a:gd name="connsiteY7" fmla="*/ 44871 h 184286"/>
                <a:gd name="connsiteX8" fmla="*/ 201067 w 398636"/>
                <a:gd name="connsiteY8" fmla="*/ 31030 h 184286"/>
                <a:gd name="connsiteX9" fmla="*/ 303312 w 398636"/>
                <a:gd name="connsiteY9" fmla="*/ 2678 h 184286"/>
                <a:gd name="connsiteX10" fmla="*/ 339366 w 398636"/>
                <a:gd name="connsiteY10" fmla="*/ 2678 h 184286"/>
                <a:gd name="connsiteX11" fmla="*/ 339366 w 398636"/>
                <a:gd name="connsiteY11" fmla="*/ 133498 h 184286"/>
                <a:gd name="connsiteX12" fmla="*/ 398636 w 398636"/>
                <a:gd name="connsiteY12" fmla="*/ 133498 h 184286"/>
                <a:gd name="connsiteX13" fmla="*/ 398636 w 398636"/>
                <a:gd name="connsiteY13" fmla="*/ 162743 h 184286"/>
                <a:gd name="connsiteX14" fmla="*/ 303312 w 398636"/>
                <a:gd name="connsiteY14" fmla="*/ 162743 h 184286"/>
                <a:gd name="connsiteX15" fmla="*/ 303312 w 398636"/>
                <a:gd name="connsiteY15" fmla="*/ 2678 h 184286"/>
                <a:gd name="connsiteX16" fmla="*/ 202072 w 398636"/>
                <a:gd name="connsiteY16" fmla="*/ 0 h 184286"/>
                <a:gd name="connsiteX17" fmla="*/ 257436 w 398636"/>
                <a:gd name="connsiteY17" fmla="*/ 22435 h 184286"/>
                <a:gd name="connsiteX18" fmla="*/ 278644 w 398636"/>
                <a:gd name="connsiteY18" fmla="*/ 81595 h 184286"/>
                <a:gd name="connsiteX19" fmla="*/ 256654 w 398636"/>
                <a:gd name="connsiteY19" fmla="*/ 142428 h 184286"/>
                <a:gd name="connsiteX20" fmla="*/ 255203 w 398636"/>
                <a:gd name="connsiteY20" fmla="*/ 143935 h 184286"/>
                <a:gd name="connsiteX21" fmla="*/ 253752 w 398636"/>
                <a:gd name="connsiteY21" fmla="*/ 145330 h 184286"/>
                <a:gd name="connsiteX22" fmla="*/ 294271 w 398636"/>
                <a:gd name="connsiteY22" fmla="*/ 184286 h 184286"/>
                <a:gd name="connsiteX23" fmla="*/ 243818 w 398636"/>
                <a:gd name="connsiteY23" fmla="*/ 184286 h 184286"/>
                <a:gd name="connsiteX24" fmla="*/ 222610 w 398636"/>
                <a:gd name="connsiteY24" fmla="*/ 162743 h 184286"/>
                <a:gd name="connsiteX25" fmla="*/ 199504 w 398636"/>
                <a:gd name="connsiteY25" fmla="*/ 165534 h 184286"/>
                <a:gd name="connsiteX26" fmla="*/ 143470 w 398636"/>
                <a:gd name="connsiteY26" fmla="*/ 143209 h 184286"/>
                <a:gd name="connsiteX27" fmla="*/ 121816 w 398636"/>
                <a:gd name="connsiteY27" fmla="*/ 84832 h 184286"/>
                <a:gd name="connsiteX28" fmla="*/ 143805 w 398636"/>
                <a:gd name="connsiteY28" fmla="*/ 23440 h 184286"/>
                <a:gd name="connsiteX29" fmla="*/ 202072 w 398636"/>
                <a:gd name="connsiteY29" fmla="*/ 0 h 184286"/>
                <a:gd name="connsiteX30" fmla="*/ 62843 w 398636"/>
                <a:gd name="connsiteY30" fmla="*/ 0 h 184286"/>
                <a:gd name="connsiteX31" fmla="*/ 85000 w 398636"/>
                <a:gd name="connsiteY31" fmla="*/ 1506 h 184286"/>
                <a:gd name="connsiteX32" fmla="*/ 102803 w 398636"/>
                <a:gd name="connsiteY32" fmla="*/ 6139 h 184286"/>
                <a:gd name="connsiteX33" fmla="*/ 102803 w 398636"/>
                <a:gd name="connsiteY33" fmla="*/ 39513 h 184286"/>
                <a:gd name="connsiteX34" fmla="*/ 94041 w 398636"/>
                <a:gd name="connsiteY34" fmla="*/ 34602 h 184286"/>
                <a:gd name="connsiteX35" fmla="*/ 84274 w 398636"/>
                <a:gd name="connsiteY35" fmla="*/ 31086 h 184286"/>
                <a:gd name="connsiteX36" fmla="*/ 74284 w 398636"/>
                <a:gd name="connsiteY36" fmla="*/ 29021 h 184286"/>
                <a:gd name="connsiteX37" fmla="*/ 64852 w 398636"/>
                <a:gd name="connsiteY37" fmla="*/ 28351 h 184286"/>
                <a:gd name="connsiteX38" fmla="*/ 53690 w 398636"/>
                <a:gd name="connsiteY38" fmla="*/ 29523 h 184286"/>
                <a:gd name="connsiteX39" fmla="*/ 45207 w 398636"/>
                <a:gd name="connsiteY39" fmla="*/ 32816 h 184286"/>
                <a:gd name="connsiteX40" fmla="*/ 39849 w 398636"/>
                <a:gd name="connsiteY40" fmla="*/ 37895 h 184286"/>
                <a:gd name="connsiteX41" fmla="*/ 37951 w 398636"/>
                <a:gd name="connsiteY41" fmla="*/ 44536 h 184286"/>
                <a:gd name="connsiteX42" fmla="*/ 40072 w 398636"/>
                <a:gd name="connsiteY42" fmla="*/ 51736 h 184286"/>
                <a:gd name="connsiteX43" fmla="*/ 46100 w 398636"/>
                <a:gd name="connsiteY43" fmla="*/ 57763 h 184286"/>
                <a:gd name="connsiteX44" fmla="*/ 55587 w 398636"/>
                <a:gd name="connsiteY44" fmla="*/ 63345 h 184286"/>
                <a:gd name="connsiteX45" fmla="*/ 68201 w 398636"/>
                <a:gd name="connsiteY45" fmla="*/ 68981 h 184286"/>
                <a:gd name="connsiteX46" fmla="*/ 85446 w 398636"/>
                <a:gd name="connsiteY46" fmla="*/ 77520 h 184286"/>
                <a:gd name="connsiteX47" fmla="*/ 98562 w 398636"/>
                <a:gd name="connsiteY47" fmla="*/ 87734 h 184286"/>
                <a:gd name="connsiteX48" fmla="*/ 106933 w 398636"/>
                <a:gd name="connsiteY48" fmla="*/ 100738 h 184286"/>
                <a:gd name="connsiteX49" fmla="*/ 109835 w 398636"/>
                <a:gd name="connsiteY49" fmla="*/ 117760 h 184286"/>
                <a:gd name="connsiteX50" fmla="*/ 104757 w 398636"/>
                <a:gd name="connsiteY50" fmla="*/ 140251 h 184286"/>
                <a:gd name="connsiteX51" fmla="*/ 90971 w 398636"/>
                <a:gd name="connsiteY51" fmla="*/ 154985 h 184286"/>
                <a:gd name="connsiteX52" fmla="*/ 70712 w 398636"/>
                <a:gd name="connsiteY52" fmla="*/ 163078 h 184286"/>
                <a:gd name="connsiteX53" fmla="*/ 46323 w 398636"/>
                <a:gd name="connsiteY53" fmla="*/ 165534 h 184286"/>
                <a:gd name="connsiteX54" fmla="*/ 21264 w 398636"/>
                <a:gd name="connsiteY54" fmla="*/ 163301 h 184286"/>
                <a:gd name="connsiteX55" fmla="*/ 670 w 398636"/>
                <a:gd name="connsiteY55" fmla="*/ 156604 h 184286"/>
                <a:gd name="connsiteX56" fmla="*/ 670 w 398636"/>
                <a:gd name="connsiteY56" fmla="*/ 120885 h 184286"/>
                <a:gd name="connsiteX57" fmla="*/ 21766 w 398636"/>
                <a:gd name="connsiteY57" fmla="*/ 133108 h 184286"/>
                <a:gd name="connsiteX58" fmla="*/ 44760 w 398636"/>
                <a:gd name="connsiteY58" fmla="*/ 137182 h 184286"/>
                <a:gd name="connsiteX59" fmla="*/ 56648 w 398636"/>
                <a:gd name="connsiteY59" fmla="*/ 135954 h 184286"/>
                <a:gd name="connsiteX60" fmla="*/ 65131 w 398636"/>
                <a:gd name="connsiteY60" fmla="*/ 132550 h 184286"/>
                <a:gd name="connsiteX61" fmla="*/ 70210 w 398636"/>
                <a:gd name="connsiteY61" fmla="*/ 127415 h 184286"/>
                <a:gd name="connsiteX62" fmla="*/ 71884 w 398636"/>
                <a:gd name="connsiteY62" fmla="*/ 120997 h 184286"/>
                <a:gd name="connsiteX63" fmla="*/ 69205 w 398636"/>
                <a:gd name="connsiteY63" fmla="*/ 112625 h 184286"/>
                <a:gd name="connsiteX64" fmla="*/ 61894 w 398636"/>
                <a:gd name="connsiteY64" fmla="*/ 105816 h 184286"/>
                <a:gd name="connsiteX65" fmla="*/ 50899 w 398636"/>
                <a:gd name="connsiteY65" fmla="*/ 99789 h 184286"/>
                <a:gd name="connsiteX66" fmla="*/ 37170 w 398636"/>
                <a:gd name="connsiteY66" fmla="*/ 93873 h 184286"/>
                <a:gd name="connsiteX67" fmla="*/ 9209 w 398636"/>
                <a:gd name="connsiteY67" fmla="*/ 74786 h 184286"/>
                <a:gd name="connsiteX68" fmla="*/ 0 w 398636"/>
                <a:gd name="connsiteY68" fmla="*/ 47550 h 184286"/>
                <a:gd name="connsiteX69" fmla="*/ 5023 w 398636"/>
                <a:gd name="connsiteY69" fmla="*/ 26063 h 184286"/>
                <a:gd name="connsiteX70" fmla="*/ 18697 w 398636"/>
                <a:gd name="connsiteY70" fmla="*/ 11273 h 184286"/>
                <a:gd name="connsiteX71" fmla="*/ 38733 w 398636"/>
                <a:gd name="connsiteY71" fmla="*/ 2734 h 184286"/>
                <a:gd name="connsiteX72" fmla="*/ 62843 w 398636"/>
                <a:gd name="connsiteY72" fmla="*/ 0 h 18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8636" h="184286">
                  <a:moveTo>
                    <a:pt x="201067" y="31030"/>
                  </a:moveTo>
                  <a:cubicBezTo>
                    <a:pt x="188491" y="31030"/>
                    <a:pt x="178445" y="35793"/>
                    <a:pt x="170929" y="45318"/>
                  </a:cubicBezTo>
                  <a:cubicBezTo>
                    <a:pt x="163488" y="54768"/>
                    <a:pt x="159767" y="67307"/>
                    <a:pt x="159767" y="82934"/>
                  </a:cubicBezTo>
                  <a:cubicBezTo>
                    <a:pt x="159767" y="98784"/>
                    <a:pt x="163488" y="111323"/>
                    <a:pt x="170929" y="120550"/>
                  </a:cubicBezTo>
                  <a:cubicBezTo>
                    <a:pt x="178371" y="129778"/>
                    <a:pt x="188119" y="134391"/>
                    <a:pt x="200174" y="134391"/>
                  </a:cubicBezTo>
                  <a:cubicBezTo>
                    <a:pt x="212601" y="134391"/>
                    <a:pt x="222461" y="129927"/>
                    <a:pt x="229754" y="120997"/>
                  </a:cubicBezTo>
                  <a:cubicBezTo>
                    <a:pt x="237046" y="111918"/>
                    <a:pt x="240692" y="99454"/>
                    <a:pt x="240692" y="83604"/>
                  </a:cubicBezTo>
                  <a:cubicBezTo>
                    <a:pt x="240692" y="67084"/>
                    <a:pt x="237158" y="54173"/>
                    <a:pt x="230088" y="44871"/>
                  </a:cubicBezTo>
                  <a:cubicBezTo>
                    <a:pt x="223094" y="35644"/>
                    <a:pt x="213420" y="31030"/>
                    <a:pt x="201067" y="31030"/>
                  </a:cubicBezTo>
                  <a:close/>
                  <a:moveTo>
                    <a:pt x="303312" y="2678"/>
                  </a:moveTo>
                  <a:lnTo>
                    <a:pt x="339366" y="2678"/>
                  </a:lnTo>
                  <a:lnTo>
                    <a:pt x="339366" y="133498"/>
                  </a:lnTo>
                  <a:lnTo>
                    <a:pt x="398636" y="133498"/>
                  </a:lnTo>
                  <a:lnTo>
                    <a:pt x="398636" y="162743"/>
                  </a:lnTo>
                  <a:lnTo>
                    <a:pt x="303312" y="162743"/>
                  </a:lnTo>
                  <a:lnTo>
                    <a:pt x="303312" y="2678"/>
                  </a:lnTo>
                  <a:close/>
                  <a:moveTo>
                    <a:pt x="202072" y="0"/>
                  </a:moveTo>
                  <a:cubicBezTo>
                    <a:pt x="224917" y="0"/>
                    <a:pt x="243371" y="7478"/>
                    <a:pt x="257436" y="22435"/>
                  </a:cubicBezTo>
                  <a:cubicBezTo>
                    <a:pt x="271574" y="37318"/>
                    <a:pt x="278644" y="57038"/>
                    <a:pt x="278644" y="81595"/>
                  </a:cubicBezTo>
                  <a:cubicBezTo>
                    <a:pt x="278644" y="106672"/>
                    <a:pt x="271314" y="126950"/>
                    <a:pt x="256654" y="142428"/>
                  </a:cubicBezTo>
                  <a:cubicBezTo>
                    <a:pt x="256133" y="142949"/>
                    <a:pt x="255650" y="143451"/>
                    <a:pt x="255203" y="143935"/>
                  </a:cubicBezTo>
                  <a:cubicBezTo>
                    <a:pt x="254757" y="144419"/>
                    <a:pt x="254273" y="144884"/>
                    <a:pt x="253752" y="145330"/>
                  </a:cubicBezTo>
                  <a:lnTo>
                    <a:pt x="294271" y="184286"/>
                  </a:lnTo>
                  <a:lnTo>
                    <a:pt x="243818" y="184286"/>
                  </a:lnTo>
                  <a:lnTo>
                    <a:pt x="222610" y="162743"/>
                  </a:lnTo>
                  <a:cubicBezTo>
                    <a:pt x="215615" y="164603"/>
                    <a:pt x="207913" y="165534"/>
                    <a:pt x="199504" y="165534"/>
                  </a:cubicBezTo>
                  <a:cubicBezTo>
                    <a:pt x="176585" y="165534"/>
                    <a:pt x="157907" y="158092"/>
                    <a:pt x="143470" y="143209"/>
                  </a:cubicBezTo>
                  <a:cubicBezTo>
                    <a:pt x="129034" y="128178"/>
                    <a:pt x="121816" y="108719"/>
                    <a:pt x="121816" y="84832"/>
                  </a:cubicBezTo>
                  <a:cubicBezTo>
                    <a:pt x="121816" y="59605"/>
                    <a:pt x="129146" y="39141"/>
                    <a:pt x="143805" y="23440"/>
                  </a:cubicBezTo>
                  <a:cubicBezTo>
                    <a:pt x="158391" y="7813"/>
                    <a:pt x="177813" y="0"/>
                    <a:pt x="202072" y="0"/>
                  </a:cubicBezTo>
                  <a:close/>
                  <a:moveTo>
                    <a:pt x="62843" y="0"/>
                  </a:moveTo>
                  <a:cubicBezTo>
                    <a:pt x="71177" y="0"/>
                    <a:pt x="78563" y="502"/>
                    <a:pt x="85000" y="1506"/>
                  </a:cubicBezTo>
                  <a:cubicBezTo>
                    <a:pt x="91436" y="2511"/>
                    <a:pt x="97371" y="4055"/>
                    <a:pt x="102803" y="6139"/>
                  </a:cubicBezTo>
                  <a:lnTo>
                    <a:pt x="102803" y="39513"/>
                  </a:lnTo>
                  <a:cubicBezTo>
                    <a:pt x="100124" y="37653"/>
                    <a:pt x="97204" y="36016"/>
                    <a:pt x="94041" y="34602"/>
                  </a:cubicBezTo>
                  <a:cubicBezTo>
                    <a:pt x="90878" y="33188"/>
                    <a:pt x="87623" y="32016"/>
                    <a:pt x="84274" y="31086"/>
                  </a:cubicBezTo>
                  <a:cubicBezTo>
                    <a:pt x="80925" y="30156"/>
                    <a:pt x="77595" y="29468"/>
                    <a:pt x="74284" y="29021"/>
                  </a:cubicBezTo>
                  <a:cubicBezTo>
                    <a:pt x="70973" y="28575"/>
                    <a:pt x="67829" y="28351"/>
                    <a:pt x="64852" y="28351"/>
                  </a:cubicBezTo>
                  <a:cubicBezTo>
                    <a:pt x="60759" y="28351"/>
                    <a:pt x="57039" y="28742"/>
                    <a:pt x="53690" y="29523"/>
                  </a:cubicBezTo>
                  <a:cubicBezTo>
                    <a:pt x="50341" y="30305"/>
                    <a:pt x="47514" y="31402"/>
                    <a:pt x="45207" y="32816"/>
                  </a:cubicBezTo>
                  <a:cubicBezTo>
                    <a:pt x="42900" y="34230"/>
                    <a:pt x="41114" y="35923"/>
                    <a:pt x="39849" y="37895"/>
                  </a:cubicBezTo>
                  <a:cubicBezTo>
                    <a:pt x="38584" y="39867"/>
                    <a:pt x="37951" y="42081"/>
                    <a:pt x="37951" y="44536"/>
                  </a:cubicBezTo>
                  <a:cubicBezTo>
                    <a:pt x="37951" y="47215"/>
                    <a:pt x="38658" y="49615"/>
                    <a:pt x="40072" y="51736"/>
                  </a:cubicBezTo>
                  <a:cubicBezTo>
                    <a:pt x="41486" y="53857"/>
                    <a:pt x="43495" y="55866"/>
                    <a:pt x="46100" y="57763"/>
                  </a:cubicBezTo>
                  <a:cubicBezTo>
                    <a:pt x="48704" y="59661"/>
                    <a:pt x="51867" y="61521"/>
                    <a:pt x="55587" y="63345"/>
                  </a:cubicBezTo>
                  <a:cubicBezTo>
                    <a:pt x="59308" y="65168"/>
                    <a:pt x="63513" y="67047"/>
                    <a:pt x="68201" y="68981"/>
                  </a:cubicBezTo>
                  <a:cubicBezTo>
                    <a:pt x="74600" y="71660"/>
                    <a:pt x="80349" y="74507"/>
                    <a:pt x="85446" y="77520"/>
                  </a:cubicBezTo>
                  <a:cubicBezTo>
                    <a:pt x="90543" y="80534"/>
                    <a:pt x="94915" y="83939"/>
                    <a:pt x="98562" y="87734"/>
                  </a:cubicBezTo>
                  <a:cubicBezTo>
                    <a:pt x="102208" y="91529"/>
                    <a:pt x="104998" y="95863"/>
                    <a:pt x="106933" y="100738"/>
                  </a:cubicBezTo>
                  <a:cubicBezTo>
                    <a:pt x="108868" y="105612"/>
                    <a:pt x="109835" y="111286"/>
                    <a:pt x="109835" y="117760"/>
                  </a:cubicBezTo>
                  <a:cubicBezTo>
                    <a:pt x="109835" y="126690"/>
                    <a:pt x="108142" y="134187"/>
                    <a:pt x="104757" y="140251"/>
                  </a:cubicBezTo>
                  <a:cubicBezTo>
                    <a:pt x="101371" y="146316"/>
                    <a:pt x="96776" y="151228"/>
                    <a:pt x="90971" y="154985"/>
                  </a:cubicBezTo>
                  <a:cubicBezTo>
                    <a:pt x="85167" y="158743"/>
                    <a:pt x="78414" y="161441"/>
                    <a:pt x="70712" y="163078"/>
                  </a:cubicBezTo>
                  <a:cubicBezTo>
                    <a:pt x="63010" y="164715"/>
                    <a:pt x="54881" y="165534"/>
                    <a:pt x="46323" y="165534"/>
                  </a:cubicBezTo>
                  <a:cubicBezTo>
                    <a:pt x="37542" y="165534"/>
                    <a:pt x="29189" y="164790"/>
                    <a:pt x="21264" y="163301"/>
                  </a:cubicBezTo>
                  <a:cubicBezTo>
                    <a:pt x="13339" y="161813"/>
                    <a:pt x="6474" y="159581"/>
                    <a:pt x="670" y="156604"/>
                  </a:cubicBezTo>
                  <a:lnTo>
                    <a:pt x="670" y="120885"/>
                  </a:lnTo>
                  <a:cubicBezTo>
                    <a:pt x="7144" y="126317"/>
                    <a:pt x="14176" y="130392"/>
                    <a:pt x="21766" y="133108"/>
                  </a:cubicBezTo>
                  <a:cubicBezTo>
                    <a:pt x="29357" y="135824"/>
                    <a:pt x="37021" y="137182"/>
                    <a:pt x="44760" y="137182"/>
                  </a:cubicBezTo>
                  <a:cubicBezTo>
                    <a:pt x="49299" y="137182"/>
                    <a:pt x="53262" y="136773"/>
                    <a:pt x="56648" y="135954"/>
                  </a:cubicBezTo>
                  <a:cubicBezTo>
                    <a:pt x="60034" y="135136"/>
                    <a:pt x="62861" y="134001"/>
                    <a:pt x="65131" y="132550"/>
                  </a:cubicBezTo>
                  <a:cubicBezTo>
                    <a:pt x="67401" y="131099"/>
                    <a:pt x="69094" y="129387"/>
                    <a:pt x="70210" y="127415"/>
                  </a:cubicBezTo>
                  <a:cubicBezTo>
                    <a:pt x="71326" y="125443"/>
                    <a:pt x="71884" y="123304"/>
                    <a:pt x="71884" y="120997"/>
                  </a:cubicBezTo>
                  <a:cubicBezTo>
                    <a:pt x="71884" y="117871"/>
                    <a:pt x="70991" y="115081"/>
                    <a:pt x="69205" y="112625"/>
                  </a:cubicBezTo>
                  <a:cubicBezTo>
                    <a:pt x="67419" y="110170"/>
                    <a:pt x="64982" y="107900"/>
                    <a:pt x="61894" y="105816"/>
                  </a:cubicBezTo>
                  <a:cubicBezTo>
                    <a:pt x="58806" y="103733"/>
                    <a:pt x="55141" y="101724"/>
                    <a:pt x="50899" y="99789"/>
                  </a:cubicBezTo>
                  <a:cubicBezTo>
                    <a:pt x="46658" y="97854"/>
                    <a:pt x="42081" y="95882"/>
                    <a:pt x="37170" y="93873"/>
                  </a:cubicBezTo>
                  <a:cubicBezTo>
                    <a:pt x="24668" y="88664"/>
                    <a:pt x="15348" y="82302"/>
                    <a:pt x="9209" y="74786"/>
                  </a:cubicBezTo>
                  <a:cubicBezTo>
                    <a:pt x="3070" y="67270"/>
                    <a:pt x="0" y="58191"/>
                    <a:pt x="0" y="47550"/>
                  </a:cubicBezTo>
                  <a:cubicBezTo>
                    <a:pt x="0" y="39216"/>
                    <a:pt x="1674" y="32053"/>
                    <a:pt x="5023" y="26063"/>
                  </a:cubicBezTo>
                  <a:cubicBezTo>
                    <a:pt x="8372" y="20073"/>
                    <a:pt x="12930" y="15143"/>
                    <a:pt x="18697" y="11273"/>
                  </a:cubicBezTo>
                  <a:cubicBezTo>
                    <a:pt x="24464" y="7404"/>
                    <a:pt x="31142" y="4557"/>
                    <a:pt x="38733" y="2734"/>
                  </a:cubicBezTo>
                  <a:cubicBezTo>
                    <a:pt x="46323" y="911"/>
                    <a:pt x="54360" y="0"/>
                    <a:pt x="62843"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defRPr/>
              </a:pPr>
              <a:endParaRPr lang="en-US" sz="1687">
                <a:solidFill>
                  <a:srgbClr val="FFFFFF"/>
                </a:solidFill>
                <a:latin typeface="Segoe UI"/>
              </a:endParaRPr>
            </a:p>
          </p:txBody>
        </p:sp>
      </p:grpSp>
      <p:grpSp>
        <p:nvGrpSpPr>
          <p:cNvPr id="7" name="Group 6">
            <a:extLst>
              <a:ext uri="{FF2B5EF4-FFF2-40B4-BE49-F238E27FC236}">
                <a16:creationId xmlns:a16="http://schemas.microsoft.com/office/drawing/2014/main" id="{B9B1509A-9A24-4679-AD07-0BFD55097150}"/>
              </a:ext>
            </a:extLst>
          </p:cNvPr>
          <p:cNvGrpSpPr/>
          <p:nvPr/>
        </p:nvGrpSpPr>
        <p:grpSpPr>
          <a:xfrm>
            <a:off x="6087330" y="1841501"/>
            <a:ext cx="5806409" cy="1631634"/>
            <a:chOff x="6209393" y="1644746"/>
            <a:chExt cx="5922840" cy="1664352"/>
          </a:xfrm>
        </p:grpSpPr>
        <p:sp>
          <p:nvSpPr>
            <p:cNvPr id="96" name="TextBox 95">
              <a:extLst>
                <a:ext uri="{FF2B5EF4-FFF2-40B4-BE49-F238E27FC236}">
                  <a16:creationId xmlns:a16="http://schemas.microsoft.com/office/drawing/2014/main" id="{453D24EA-CE85-47A1-8136-E3BC400698ED}"/>
                </a:ext>
              </a:extLst>
            </p:cNvPr>
            <p:cNvSpPr txBox="1"/>
            <p:nvPr/>
          </p:nvSpPr>
          <p:spPr>
            <a:xfrm rot="1329648">
              <a:off x="9463887" y="1736655"/>
              <a:ext cx="2668346" cy="667679"/>
            </a:xfrm>
            <a:prstGeom prst="rect">
              <a:avLst/>
            </a:prstGeom>
            <a:noFill/>
          </p:spPr>
          <p:txBody>
            <a:bodyPr wrap="square" lIns="171426" tIns="137141" rIns="171426" bIns="137141" rtlCol="0">
              <a:noAutofit/>
            </a:bodyPr>
            <a:lstStyle/>
            <a:p>
              <a:pPr algn="ctr" defTabSz="857124">
                <a:lnSpc>
                  <a:spcPct val="90000"/>
                </a:lnSpc>
                <a:defRPr/>
              </a:pPr>
              <a:r>
                <a:rPr lang="en-US" sz="2624" dirty="0">
                  <a:solidFill>
                    <a:srgbClr val="002050"/>
                  </a:solidFill>
                  <a:latin typeface="Segoe UI Semibold" panose="020B0702040204020203" pitchFamily="34" charset="0"/>
                  <a:cs typeface="Segoe UI Semibold" panose="020B0702040204020203" pitchFamily="34" charset="0"/>
                </a:rPr>
                <a:t>Future APIs</a:t>
              </a:r>
            </a:p>
          </p:txBody>
        </p:sp>
        <p:pic>
          <p:nvPicPr>
            <p:cNvPr id="78852" name="Picture 4" descr="https://cdn-images-1.medium.com/max/1200/1*H0bauGpKqo3A-0vMOwaYSQ.jpeg">
              <a:extLst>
                <a:ext uri="{FF2B5EF4-FFF2-40B4-BE49-F238E27FC236}">
                  <a16:creationId xmlns:a16="http://schemas.microsoft.com/office/drawing/2014/main" id="{3D10FD3E-AFC0-40B4-ABE9-155D97836CCB}"/>
                </a:ext>
              </a:extLst>
            </p:cNvPr>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925801" y="2453869"/>
              <a:ext cx="1473503" cy="4911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27364DB4-A83C-4E45-9AD3-82A0A8055FE7}"/>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10873304" y="2927857"/>
              <a:ext cx="950597" cy="381241"/>
            </a:xfrm>
            <a:prstGeom prst="rect">
              <a:avLst/>
            </a:prstGeom>
          </p:spPr>
        </p:pic>
        <p:pic>
          <p:nvPicPr>
            <p:cNvPr id="352" name="Picture 4" descr="Image result for cassandra logo">
              <a:extLst>
                <a:ext uri="{FF2B5EF4-FFF2-40B4-BE49-F238E27FC236}">
                  <a16:creationId xmlns:a16="http://schemas.microsoft.com/office/drawing/2014/main" id="{42F40478-300F-49F0-B1BD-AA193E7242F0}"/>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209393" y="1644746"/>
              <a:ext cx="951203" cy="637610"/>
            </a:xfrm>
            <a:prstGeom prst="rect">
              <a:avLst/>
            </a:prstGeom>
            <a:noFill/>
            <a:extLst>
              <a:ext uri="{909E8E84-426E-40DD-AFC4-6F175D3DCCD1}">
                <a14:hiddenFill xmlns:a14="http://schemas.microsoft.com/office/drawing/2010/main">
                  <a:solidFill>
                    <a:srgbClr val="FFFFFF"/>
                  </a:solidFill>
                </a14:hiddenFill>
              </a:ext>
            </a:extLst>
          </p:spPr>
        </p:pic>
        <p:pic>
          <p:nvPicPr>
            <p:cNvPr id="29700" name="Picture 4" descr="Image result for HBase">
              <a:extLst>
                <a:ext uri="{FF2B5EF4-FFF2-40B4-BE49-F238E27FC236}">
                  <a16:creationId xmlns:a16="http://schemas.microsoft.com/office/drawing/2014/main" id="{D3154356-4D2B-4744-8116-F71EC6AFCAE4}"/>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394857" y="1835496"/>
              <a:ext cx="1278441" cy="326411"/>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85A081FA-3740-4B1C-ADB9-8C604AE710AC}"/>
                </a:ext>
              </a:extLst>
            </p:cNvPr>
            <p:cNvSpPr txBox="1"/>
            <p:nvPr/>
          </p:nvSpPr>
          <p:spPr>
            <a:xfrm>
              <a:off x="8674928" y="2057655"/>
              <a:ext cx="1698667" cy="507162"/>
            </a:xfrm>
            <a:prstGeom prst="rect">
              <a:avLst/>
            </a:prstGeom>
            <a:noFill/>
          </p:spPr>
          <p:txBody>
            <a:bodyPr wrap="none" lIns="171426" tIns="137141" rIns="171426" bIns="137141" rtlCol="0">
              <a:noAutofit/>
            </a:bodyPr>
            <a:lstStyle/>
            <a:p>
              <a:pPr defTabSz="857124">
                <a:lnSpc>
                  <a:spcPct val="90000"/>
                </a:lnSpc>
                <a:defRPr/>
              </a:pPr>
              <a:r>
                <a:rPr lang="en-US" sz="1961" b="1">
                  <a:solidFill>
                    <a:srgbClr val="00B050"/>
                  </a:solidFill>
                  <a:latin typeface="Segoe UI"/>
                </a:rPr>
                <a:t>ANSI SQL</a:t>
              </a:r>
            </a:p>
          </p:txBody>
        </p:sp>
      </p:grpSp>
      <p:grpSp>
        <p:nvGrpSpPr>
          <p:cNvPr id="15" name="Group 14">
            <a:extLst>
              <a:ext uri="{FF2B5EF4-FFF2-40B4-BE49-F238E27FC236}">
                <a16:creationId xmlns:a16="http://schemas.microsoft.com/office/drawing/2014/main" id="{72050CC2-5D3E-4BC6-90AD-579434FF7C92}"/>
              </a:ext>
            </a:extLst>
          </p:cNvPr>
          <p:cNvGrpSpPr/>
          <p:nvPr/>
        </p:nvGrpSpPr>
        <p:grpSpPr>
          <a:xfrm>
            <a:off x="1" y="2789814"/>
            <a:ext cx="12191999" cy="1487285"/>
            <a:chOff x="1" y="2612075"/>
            <a:chExt cx="12436474" cy="1517108"/>
          </a:xfrm>
        </p:grpSpPr>
        <p:grpSp>
          <p:nvGrpSpPr>
            <p:cNvPr id="13" name="Group 12">
              <a:extLst>
                <a:ext uri="{FF2B5EF4-FFF2-40B4-BE49-F238E27FC236}">
                  <a16:creationId xmlns:a16="http://schemas.microsoft.com/office/drawing/2014/main" id="{18EEB803-1CFD-4DB0-B38B-4F2C0FB0DEC3}"/>
                </a:ext>
              </a:extLst>
            </p:cNvPr>
            <p:cNvGrpSpPr/>
            <p:nvPr/>
          </p:nvGrpSpPr>
          <p:grpSpPr>
            <a:xfrm>
              <a:off x="2566573" y="2822977"/>
              <a:ext cx="7116408" cy="1146680"/>
              <a:chOff x="2566573" y="2822977"/>
              <a:chExt cx="7116408" cy="1146680"/>
            </a:xfrm>
          </p:grpSpPr>
          <p:grpSp>
            <p:nvGrpSpPr>
              <p:cNvPr id="11" name="Group 10">
                <a:extLst>
                  <a:ext uri="{FF2B5EF4-FFF2-40B4-BE49-F238E27FC236}">
                    <a16:creationId xmlns:a16="http://schemas.microsoft.com/office/drawing/2014/main" id="{C8E28005-97E1-4DBF-9818-3770D0736893}"/>
                  </a:ext>
                </a:extLst>
              </p:cNvPr>
              <p:cNvGrpSpPr/>
              <p:nvPr/>
            </p:nvGrpSpPr>
            <p:grpSpPr>
              <a:xfrm>
                <a:off x="6871577" y="2822977"/>
                <a:ext cx="703078" cy="738357"/>
                <a:chOff x="6871577" y="2741952"/>
                <a:chExt cx="703078" cy="738357"/>
              </a:xfrm>
            </p:grpSpPr>
            <p:grpSp>
              <p:nvGrpSpPr>
                <p:cNvPr id="289" name="Group 288"/>
                <p:cNvGrpSpPr/>
                <p:nvPr/>
              </p:nvGrpSpPr>
              <p:grpSpPr>
                <a:xfrm>
                  <a:off x="6897060" y="2741952"/>
                  <a:ext cx="508915" cy="482527"/>
                  <a:chOff x="7128988" y="4166153"/>
                  <a:chExt cx="604908" cy="573541"/>
                </a:xfrm>
              </p:grpSpPr>
              <p:cxnSp>
                <p:nvCxnSpPr>
                  <p:cNvPr id="290" name="Straight Connector 289"/>
                  <p:cNvCxnSpPr>
                    <a:cxnSpLocks/>
                  </p:cNvCxnSpPr>
                  <p:nvPr/>
                </p:nvCxnSpPr>
                <p:spPr>
                  <a:xfrm>
                    <a:off x="7128988" y="4451736"/>
                    <a:ext cx="238107" cy="72556"/>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291" name="Straight Connector 290"/>
                  <p:cNvCxnSpPr>
                    <a:cxnSpLocks/>
                  </p:cNvCxnSpPr>
                  <p:nvPr/>
                </p:nvCxnSpPr>
                <p:spPr>
                  <a:xfrm flipV="1">
                    <a:off x="7128988" y="4379180"/>
                    <a:ext cx="233873" cy="72556"/>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292" name="Oval 291"/>
                  <p:cNvSpPr/>
                  <p:nvPr/>
                </p:nvSpPr>
                <p:spPr bwMode="auto">
                  <a:xfrm>
                    <a:off x="7128988" y="4383154"/>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solidFill>
                        <a:srgbClr val="FFFFFF"/>
                      </a:solidFill>
                      <a:latin typeface="Segoe UI"/>
                    </a:endParaRPr>
                  </a:p>
                </p:txBody>
              </p:sp>
              <p:cxnSp>
                <p:nvCxnSpPr>
                  <p:cNvPr id="293" name="Straight Connector 292"/>
                  <p:cNvCxnSpPr>
                    <a:cxnSpLocks/>
                  </p:cNvCxnSpPr>
                  <p:nvPr/>
                </p:nvCxnSpPr>
                <p:spPr>
                  <a:xfrm>
                    <a:off x="7367095" y="4524292"/>
                    <a:ext cx="241432" cy="108368"/>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294" name="Straight Connector 293"/>
                  <p:cNvCxnSpPr>
                    <a:cxnSpLocks/>
                  </p:cNvCxnSpPr>
                  <p:nvPr/>
                </p:nvCxnSpPr>
                <p:spPr>
                  <a:xfrm>
                    <a:off x="7367095" y="4524292"/>
                    <a:ext cx="229638" cy="1361"/>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295" name="Oval 294"/>
                  <p:cNvSpPr/>
                  <p:nvPr/>
                </p:nvSpPr>
                <p:spPr bwMode="auto">
                  <a:xfrm rot="20946206">
                    <a:off x="7596733" y="460253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solidFill>
                        <a:srgbClr val="FFFFFF"/>
                      </a:solidFill>
                      <a:latin typeface="Segoe UI"/>
                    </a:endParaRPr>
                  </a:p>
                </p:txBody>
              </p:sp>
              <p:sp>
                <p:nvSpPr>
                  <p:cNvPr id="296" name="Oval 295"/>
                  <p:cNvSpPr/>
                  <p:nvPr/>
                </p:nvSpPr>
                <p:spPr bwMode="auto">
                  <a:xfrm>
                    <a:off x="7596733" y="445707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solidFill>
                        <a:srgbClr val="FFFFFF"/>
                      </a:solidFill>
                      <a:latin typeface="Segoe UI"/>
                    </a:endParaRPr>
                  </a:p>
                </p:txBody>
              </p:sp>
              <p:cxnSp>
                <p:nvCxnSpPr>
                  <p:cNvPr id="297" name="Straight Connector 296"/>
                  <p:cNvCxnSpPr>
                    <a:cxnSpLocks/>
                  </p:cNvCxnSpPr>
                  <p:nvPr/>
                </p:nvCxnSpPr>
                <p:spPr>
                  <a:xfrm>
                    <a:off x="7362861" y="4379181"/>
                    <a:ext cx="233872" cy="1013"/>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298" name="Oval 297"/>
                  <p:cNvSpPr/>
                  <p:nvPr/>
                </p:nvSpPr>
                <p:spPr bwMode="auto">
                  <a:xfrm>
                    <a:off x="7367095" y="4455710"/>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solidFill>
                        <a:srgbClr val="FFFFFF"/>
                      </a:solidFill>
                      <a:latin typeface="Segoe UI"/>
                    </a:endParaRPr>
                  </a:p>
                </p:txBody>
              </p:sp>
              <p:cxnSp>
                <p:nvCxnSpPr>
                  <p:cNvPr id="299" name="Straight Connector 298"/>
                  <p:cNvCxnSpPr>
                    <a:cxnSpLocks/>
                  </p:cNvCxnSpPr>
                  <p:nvPr/>
                </p:nvCxnSpPr>
                <p:spPr>
                  <a:xfrm flipV="1">
                    <a:off x="7362861" y="4277619"/>
                    <a:ext cx="248934" cy="101562"/>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300" name="Oval 299"/>
                  <p:cNvSpPr/>
                  <p:nvPr/>
                </p:nvSpPr>
                <p:spPr bwMode="auto">
                  <a:xfrm>
                    <a:off x="7362861" y="4310599"/>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solidFill>
                        <a:srgbClr val="FFFFFF"/>
                      </a:solidFill>
                      <a:latin typeface="Segoe UI"/>
                    </a:endParaRPr>
                  </a:p>
                </p:txBody>
              </p:sp>
              <p:sp>
                <p:nvSpPr>
                  <p:cNvPr id="301" name="Oval 300"/>
                  <p:cNvSpPr/>
                  <p:nvPr/>
                </p:nvSpPr>
                <p:spPr bwMode="auto">
                  <a:xfrm>
                    <a:off x="7596733" y="4311612"/>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solidFill>
                        <a:srgbClr val="FFFFFF"/>
                      </a:solidFill>
                      <a:latin typeface="Segoe UI"/>
                    </a:endParaRPr>
                  </a:p>
                </p:txBody>
              </p:sp>
              <p:sp>
                <p:nvSpPr>
                  <p:cNvPr id="302" name="Oval 301"/>
                  <p:cNvSpPr/>
                  <p:nvPr/>
                </p:nvSpPr>
                <p:spPr bwMode="auto">
                  <a:xfrm rot="377738">
                    <a:off x="7596733" y="4166153"/>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solidFill>
                        <a:srgbClr val="FFFFFF"/>
                      </a:solidFill>
                      <a:latin typeface="Segoe UI"/>
                    </a:endParaRPr>
                  </a:p>
                </p:txBody>
              </p:sp>
            </p:grpSp>
            <p:sp>
              <p:nvSpPr>
                <p:cNvPr id="304" name="TextBox 303"/>
                <p:cNvSpPr txBox="1"/>
                <p:nvPr/>
              </p:nvSpPr>
              <p:spPr>
                <a:xfrm>
                  <a:off x="6871577" y="3233447"/>
                  <a:ext cx="703078" cy="246862"/>
                </a:xfrm>
                <a:prstGeom prst="rect">
                  <a:avLst/>
                </a:prstGeom>
                <a:noFill/>
              </p:spPr>
              <p:txBody>
                <a:bodyPr wrap="none" lIns="0" rtlCol="0">
                  <a:spAutoFit/>
                </a:bodyPr>
                <a:lstStyle/>
                <a:p>
                  <a:pPr algn="ctr" defTabSz="857124">
                    <a:defRPr/>
                  </a:pPr>
                  <a:r>
                    <a:rPr lang="en-US" sz="984">
                      <a:solidFill>
                        <a:srgbClr val="002050"/>
                      </a:solidFill>
                      <a:latin typeface="Segoe UI Semibold" panose="020B0702040204020203" pitchFamily="34" charset="0"/>
                      <a:cs typeface="Segoe UI Semibold" panose="020B0702040204020203" pitchFamily="34" charset="0"/>
                    </a:rPr>
                    <a:t>Document</a:t>
                  </a:r>
                </a:p>
              </p:txBody>
            </p:sp>
          </p:grpSp>
          <p:grpSp>
            <p:nvGrpSpPr>
              <p:cNvPr id="12" name="Group 11">
                <a:extLst>
                  <a:ext uri="{FF2B5EF4-FFF2-40B4-BE49-F238E27FC236}">
                    <a16:creationId xmlns:a16="http://schemas.microsoft.com/office/drawing/2014/main" id="{D29C818F-C51F-4907-80D2-08615A5AD5C1}"/>
                  </a:ext>
                </a:extLst>
              </p:cNvPr>
              <p:cNvGrpSpPr/>
              <p:nvPr/>
            </p:nvGrpSpPr>
            <p:grpSpPr>
              <a:xfrm>
                <a:off x="9050432" y="3131975"/>
                <a:ext cx="632549" cy="733025"/>
                <a:chOff x="9050432" y="3050950"/>
                <a:chExt cx="632549" cy="733025"/>
              </a:xfrm>
            </p:grpSpPr>
            <p:grpSp>
              <p:nvGrpSpPr>
                <p:cNvPr id="280" name="Group 279"/>
                <p:cNvGrpSpPr/>
                <p:nvPr/>
              </p:nvGrpSpPr>
              <p:grpSpPr>
                <a:xfrm>
                  <a:off x="9050432" y="3050950"/>
                  <a:ext cx="597703" cy="384497"/>
                  <a:chOff x="7117181" y="5146654"/>
                  <a:chExt cx="663064" cy="426544"/>
                </a:xfrm>
                <a:solidFill>
                  <a:srgbClr val="59B4D9"/>
                </a:solidFill>
              </p:grpSpPr>
              <p:sp>
                <p:nvSpPr>
                  <p:cNvPr id="281" name="Oval 280"/>
                  <p:cNvSpPr/>
                  <p:nvPr/>
                </p:nvSpPr>
                <p:spPr bwMode="auto">
                  <a:xfrm rot="715722">
                    <a:off x="7117181" y="5146654"/>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gradFill>
                        <a:gsLst>
                          <a:gs pos="0">
                            <a:srgbClr val="FFFFFF"/>
                          </a:gs>
                          <a:gs pos="100000">
                            <a:srgbClr val="FFFFFF"/>
                          </a:gs>
                        </a:gsLst>
                        <a:lin ang="5400000" scaled="0"/>
                      </a:gradFill>
                      <a:latin typeface="Segoe UI"/>
                    </a:endParaRPr>
                  </a:p>
                </p:txBody>
              </p:sp>
              <p:sp>
                <p:nvSpPr>
                  <p:cNvPr id="282" name="Oval 281"/>
                  <p:cNvSpPr/>
                  <p:nvPr/>
                </p:nvSpPr>
                <p:spPr bwMode="auto">
                  <a:xfrm>
                    <a:off x="7476127" y="5224668"/>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gradFill>
                        <a:gsLst>
                          <a:gs pos="0">
                            <a:srgbClr val="FFFFFF"/>
                          </a:gs>
                          <a:gs pos="100000">
                            <a:srgbClr val="FFFFFF"/>
                          </a:gs>
                        </a:gsLst>
                        <a:lin ang="5400000" scaled="0"/>
                      </a:gradFill>
                      <a:latin typeface="Segoe UI"/>
                    </a:endParaRPr>
                  </a:p>
                </p:txBody>
              </p:sp>
              <p:sp>
                <p:nvSpPr>
                  <p:cNvPr id="283" name="Oval 282"/>
                  <p:cNvSpPr/>
                  <p:nvPr/>
                </p:nvSpPr>
                <p:spPr bwMode="auto">
                  <a:xfrm>
                    <a:off x="7296654"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gradFill>
                        <a:gsLst>
                          <a:gs pos="0">
                            <a:srgbClr val="FFFFFF"/>
                          </a:gs>
                          <a:gs pos="100000">
                            <a:srgbClr val="FFFFFF"/>
                          </a:gs>
                        </a:gsLst>
                        <a:lin ang="5400000" scaled="0"/>
                      </a:gradFill>
                      <a:latin typeface="Segoe UI"/>
                    </a:endParaRPr>
                  </a:p>
                </p:txBody>
              </p:sp>
              <p:sp>
                <p:nvSpPr>
                  <p:cNvPr id="284" name="Oval 283"/>
                  <p:cNvSpPr/>
                  <p:nvPr/>
                </p:nvSpPr>
                <p:spPr bwMode="auto">
                  <a:xfrm>
                    <a:off x="7655599"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gradFill>
                        <a:gsLst>
                          <a:gs pos="0">
                            <a:srgbClr val="FFFFFF"/>
                          </a:gs>
                          <a:gs pos="100000">
                            <a:srgbClr val="FFFFFF"/>
                          </a:gs>
                        </a:gsLst>
                        <a:lin ang="5400000" scaled="0"/>
                      </a:gradFill>
                      <a:latin typeface="Segoe UI"/>
                    </a:endParaRPr>
                  </a:p>
                </p:txBody>
              </p:sp>
              <p:cxnSp>
                <p:nvCxnSpPr>
                  <p:cNvPr id="285" name="Straight Connector 284"/>
                  <p:cNvCxnSpPr>
                    <a:cxnSpLocks/>
                  </p:cNvCxnSpPr>
                  <p:nvPr/>
                </p:nvCxnSpPr>
                <p:spPr>
                  <a:xfrm>
                    <a:off x="7240481" y="5221859"/>
                    <a:ext cx="235646" cy="65132"/>
                  </a:xfrm>
                  <a:prstGeom prst="line">
                    <a:avLst/>
                  </a:prstGeom>
                  <a:grpFill/>
                  <a:ln w="12700" cap="flat" cmpd="sng" algn="ctr">
                    <a:solidFill>
                      <a:schemeClr val="tx2"/>
                    </a:solidFill>
                    <a:prstDash val="sysDot"/>
                    <a:miter lim="800000"/>
                    <a:headEnd type="none"/>
                    <a:tailEnd type="none"/>
                  </a:ln>
                  <a:effectLst/>
                </p:spPr>
              </p:cxnSp>
              <p:cxnSp>
                <p:nvCxnSpPr>
                  <p:cNvPr id="286" name="Straight Connector 285"/>
                  <p:cNvCxnSpPr>
                    <a:cxnSpLocks/>
                  </p:cNvCxnSpPr>
                  <p:nvPr/>
                </p:nvCxnSpPr>
                <p:spPr>
                  <a:xfrm>
                    <a:off x="7421300" y="5510875"/>
                    <a:ext cx="234299" cy="0"/>
                  </a:xfrm>
                  <a:prstGeom prst="line">
                    <a:avLst/>
                  </a:prstGeom>
                  <a:grpFill/>
                  <a:ln w="12700" cap="flat" cmpd="sng" algn="ctr">
                    <a:solidFill>
                      <a:schemeClr val="tx2"/>
                    </a:solidFill>
                    <a:prstDash val="sysDot"/>
                    <a:miter lim="800000"/>
                    <a:headEnd type="none"/>
                    <a:tailEnd type="none"/>
                  </a:ln>
                  <a:effectLst/>
                </p:spPr>
              </p:cxnSp>
              <p:cxnSp>
                <p:nvCxnSpPr>
                  <p:cNvPr id="287" name="Straight Connector 286"/>
                  <p:cNvCxnSpPr>
                    <a:cxnSpLocks/>
                  </p:cNvCxnSpPr>
                  <p:nvPr/>
                </p:nvCxnSpPr>
                <p:spPr>
                  <a:xfrm>
                    <a:off x="7582519" y="5331060"/>
                    <a:ext cx="91334" cy="135746"/>
                  </a:xfrm>
                  <a:prstGeom prst="line">
                    <a:avLst/>
                  </a:prstGeom>
                  <a:grpFill/>
                  <a:ln w="12700" cap="flat" cmpd="sng" algn="ctr">
                    <a:solidFill>
                      <a:schemeClr val="tx2"/>
                    </a:solidFill>
                    <a:prstDash val="sysDot"/>
                    <a:miter lim="800000"/>
                    <a:headEnd type="none"/>
                    <a:tailEnd type="none"/>
                  </a:ln>
                  <a:effectLst/>
                </p:spPr>
              </p:cxnSp>
              <p:cxnSp>
                <p:nvCxnSpPr>
                  <p:cNvPr id="288" name="Straight Connector 287"/>
                  <p:cNvCxnSpPr>
                    <a:cxnSpLocks/>
                  </p:cNvCxnSpPr>
                  <p:nvPr/>
                </p:nvCxnSpPr>
                <p:spPr>
                  <a:xfrm flipV="1">
                    <a:off x="7403046" y="5331060"/>
                    <a:ext cx="91335" cy="135746"/>
                  </a:xfrm>
                  <a:prstGeom prst="line">
                    <a:avLst/>
                  </a:prstGeom>
                  <a:grpFill/>
                  <a:ln w="12700" cap="flat" cmpd="sng" algn="ctr">
                    <a:solidFill>
                      <a:schemeClr val="tx2"/>
                    </a:solidFill>
                    <a:prstDash val="sysDot"/>
                    <a:miter lim="800000"/>
                    <a:headEnd type="none"/>
                    <a:tailEnd type="none"/>
                  </a:ln>
                  <a:effectLst/>
                </p:spPr>
              </p:cxnSp>
            </p:grpSp>
            <p:sp>
              <p:nvSpPr>
                <p:cNvPr id="305" name="TextBox 304"/>
                <p:cNvSpPr txBox="1"/>
                <p:nvPr/>
              </p:nvSpPr>
              <p:spPr>
                <a:xfrm>
                  <a:off x="9233178" y="3537113"/>
                  <a:ext cx="449803" cy="246862"/>
                </a:xfrm>
                <a:prstGeom prst="rect">
                  <a:avLst/>
                </a:prstGeom>
                <a:noFill/>
              </p:spPr>
              <p:txBody>
                <a:bodyPr wrap="none" lIns="0" rtlCol="0">
                  <a:spAutoFit/>
                </a:bodyPr>
                <a:lstStyle/>
                <a:p>
                  <a:pPr algn="ctr" defTabSz="857124">
                    <a:defRPr/>
                  </a:pPr>
                  <a:r>
                    <a:rPr lang="en-US" sz="984">
                      <a:solidFill>
                        <a:srgbClr val="002050"/>
                      </a:solidFill>
                      <a:latin typeface="Segoe UI Semibold" panose="020B0702040204020203" pitchFamily="34" charset="0"/>
                      <a:cs typeface="Segoe UI Semibold" panose="020B0702040204020203" pitchFamily="34" charset="0"/>
                    </a:rPr>
                    <a:t>Graph</a:t>
                  </a:r>
                </a:p>
              </p:txBody>
            </p:sp>
          </p:grpSp>
          <p:grpSp>
            <p:nvGrpSpPr>
              <p:cNvPr id="10" name="Group 9">
                <a:extLst>
                  <a:ext uri="{FF2B5EF4-FFF2-40B4-BE49-F238E27FC236}">
                    <a16:creationId xmlns:a16="http://schemas.microsoft.com/office/drawing/2014/main" id="{E016D080-2B23-485E-A2C7-A56914C67A98}"/>
                  </a:ext>
                </a:extLst>
              </p:cNvPr>
              <p:cNvGrpSpPr/>
              <p:nvPr/>
            </p:nvGrpSpPr>
            <p:grpSpPr>
              <a:xfrm>
                <a:off x="4562888" y="3014955"/>
                <a:ext cx="957955" cy="485179"/>
                <a:chOff x="4562888" y="2933930"/>
                <a:chExt cx="957955" cy="485179"/>
              </a:xfrm>
            </p:grpSpPr>
            <p:sp>
              <p:nvSpPr>
                <p:cNvPr id="303" name="TextBox 302"/>
                <p:cNvSpPr txBox="1"/>
                <p:nvPr/>
              </p:nvSpPr>
              <p:spPr>
                <a:xfrm>
                  <a:off x="4562888" y="3172247"/>
                  <a:ext cx="957955" cy="246862"/>
                </a:xfrm>
                <a:prstGeom prst="rect">
                  <a:avLst/>
                </a:prstGeom>
                <a:noFill/>
              </p:spPr>
              <p:txBody>
                <a:bodyPr wrap="none" lIns="0" rtlCol="0">
                  <a:spAutoFit/>
                </a:bodyPr>
                <a:lstStyle/>
                <a:p>
                  <a:pPr algn="ctr" defTabSz="857124">
                    <a:defRPr/>
                  </a:pPr>
                  <a:r>
                    <a:rPr lang="en-US" sz="984">
                      <a:solidFill>
                        <a:srgbClr val="002050"/>
                      </a:solidFill>
                      <a:latin typeface="Segoe UI Semibold" panose="020B0702040204020203" pitchFamily="34" charset="0"/>
                      <a:cs typeface="Segoe UI Semibold" panose="020B0702040204020203" pitchFamily="34" charset="0"/>
                    </a:rPr>
                    <a:t>Column-family</a:t>
                  </a:r>
                </a:p>
              </p:txBody>
            </p:sp>
            <p:grpSp>
              <p:nvGrpSpPr>
                <p:cNvPr id="334" name="Group 333"/>
                <p:cNvGrpSpPr/>
                <p:nvPr/>
              </p:nvGrpSpPr>
              <p:grpSpPr>
                <a:xfrm>
                  <a:off x="4637390" y="2933930"/>
                  <a:ext cx="661579" cy="127070"/>
                  <a:chOff x="4937947" y="5178778"/>
                  <a:chExt cx="733930" cy="124646"/>
                </a:xfrm>
              </p:grpSpPr>
              <p:cxnSp>
                <p:nvCxnSpPr>
                  <p:cNvPr id="335" name="Straight Connector 334"/>
                  <p:cNvCxnSpPr>
                    <a:cxnSpLocks/>
                  </p:cNvCxnSpPr>
                  <p:nvPr/>
                </p:nvCxnSpPr>
                <p:spPr>
                  <a:xfrm>
                    <a:off x="5062593" y="5241101"/>
                    <a:ext cx="187117" cy="0"/>
                  </a:xfrm>
                  <a:prstGeom prst="line">
                    <a:avLst/>
                  </a:prstGeom>
                  <a:noFill/>
                  <a:ln w="12700" cap="flat" cmpd="sng" algn="ctr">
                    <a:solidFill>
                      <a:schemeClr val="tx2"/>
                    </a:solidFill>
                    <a:prstDash val="sysDot"/>
                    <a:miter lim="800000"/>
                    <a:headEnd type="none"/>
                    <a:tailEnd type="none"/>
                  </a:ln>
                  <a:effectLst/>
                </p:spPr>
              </p:cxnSp>
              <p:sp>
                <p:nvSpPr>
                  <p:cNvPr id="336" name="Oval 335"/>
                  <p:cNvSpPr/>
                  <p:nvPr/>
                </p:nvSpPr>
                <p:spPr bwMode="auto">
                  <a:xfrm>
                    <a:off x="4937947" y="5178778"/>
                    <a:ext cx="124646" cy="124646"/>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gradFill>
                        <a:gsLst>
                          <a:gs pos="0">
                            <a:srgbClr val="FFFFFF"/>
                          </a:gs>
                          <a:gs pos="100000">
                            <a:srgbClr val="FFFFFF"/>
                          </a:gs>
                        </a:gsLst>
                        <a:lin ang="5400000" scaled="0"/>
                      </a:gradFill>
                      <a:latin typeface="Segoe UI"/>
                    </a:endParaRPr>
                  </a:p>
                </p:txBody>
              </p:sp>
              <p:sp>
                <p:nvSpPr>
                  <p:cNvPr id="337" name="Oval 336"/>
                  <p:cNvSpPr/>
                  <p:nvPr/>
                </p:nvSpPr>
                <p:spPr bwMode="auto">
                  <a:xfrm>
                    <a:off x="5249710"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gradFill>
                        <a:gsLst>
                          <a:gs pos="0">
                            <a:srgbClr val="FFFFFF"/>
                          </a:gs>
                          <a:gs pos="100000">
                            <a:srgbClr val="FFFFFF"/>
                          </a:gs>
                        </a:gsLst>
                        <a:lin ang="5400000" scaled="0"/>
                      </a:gradFill>
                      <a:latin typeface="Segoe UI"/>
                    </a:endParaRPr>
                  </a:p>
                </p:txBody>
              </p:sp>
              <p:sp>
                <p:nvSpPr>
                  <p:cNvPr id="338" name="Oval 337"/>
                  <p:cNvSpPr/>
                  <p:nvPr/>
                </p:nvSpPr>
                <p:spPr bwMode="auto">
                  <a:xfrm>
                    <a:off x="5404122"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gradFill>
                        <a:gsLst>
                          <a:gs pos="0">
                            <a:srgbClr val="FFFFFF"/>
                          </a:gs>
                          <a:gs pos="100000">
                            <a:srgbClr val="FFFFFF"/>
                          </a:gs>
                        </a:gsLst>
                        <a:lin ang="5400000" scaled="0"/>
                      </a:gradFill>
                      <a:latin typeface="Segoe UI"/>
                    </a:endParaRPr>
                  </a:p>
                </p:txBody>
              </p:sp>
              <p:sp>
                <p:nvSpPr>
                  <p:cNvPr id="339" name="Oval 338"/>
                  <p:cNvSpPr/>
                  <p:nvPr/>
                </p:nvSpPr>
                <p:spPr bwMode="auto">
                  <a:xfrm>
                    <a:off x="5558535"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gradFill>
                        <a:gsLst>
                          <a:gs pos="0">
                            <a:srgbClr val="FFFFFF"/>
                          </a:gs>
                          <a:gs pos="100000">
                            <a:srgbClr val="FFFFFF"/>
                          </a:gs>
                        </a:gsLst>
                        <a:lin ang="5400000" scaled="0"/>
                      </a:gradFill>
                      <a:latin typeface="Segoe UI"/>
                    </a:endParaRPr>
                  </a:p>
                </p:txBody>
              </p:sp>
            </p:grpSp>
          </p:grpSp>
          <p:grpSp>
            <p:nvGrpSpPr>
              <p:cNvPr id="340" name="Group 339"/>
              <p:cNvGrpSpPr/>
              <p:nvPr/>
            </p:nvGrpSpPr>
            <p:grpSpPr>
              <a:xfrm>
                <a:off x="2566573" y="3242713"/>
                <a:ext cx="717511" cy="726944"/>
                <a:chOff x="4511512" y="6316301"/>
                <a:chExt cx="650036" cy="1482505"/>
              </a:xfrm>
            </p:grpSpPr>
            <p:grpSp>
              <p:nvGrpSpPr>
                <p:cNvPr id="341" name="Group 340"/>
                <p:cNvGrpSpPr/>
                <p:nvPr/>
              </p:nvGrpSpPr>
              <p:grpSpPr>
                <a:xfrm>
                  <a:off x="4511512" y="6316301"/>
                  <a:ext cx="617679" cy="892977"/>
                  <a:chOff x="4066669" y="5178779"/>
                  <a:chExt cx="1357897" cy="892977"/>
                </a:xfrm>
              </p:grpSpPr>
              <p:cxnSp>
                <p:nvCxnSpPr>
                  <p:cNvPr id="343" name="Straight Connector 342"/>
                  <p:cNvCxnSpPr>
                    <a:cxnSpLocks/>
                  </p:cNvCxnSpPr>
                  <p:nvPr/>
                </p:nvCxnSpPr>
                <p:spPr>
                  <a:xfrm>
                    <a:off x="4308965" y="5299925"/>
                    <a:ext cx="895279" cy="0"/>
                  </a:xfrm>
                  <a:prstGeom prst="line">
                    <a:avLst/>
                  </a:prstGeom>
                  <a:noFill/>
                  <a:ln w="12700" cap="flat" cmpd="sng" algn="ctr">
                    <a:solidFill>
                      <a:schemeClr val="tx2"/>
                    </a:solidFill>
                    <a:prstDash val="sysDot"/>
                    <a:miter lim="800000"/>
                    <a:headEnd type="none"/>
                    <a:tailEnd type="none"/>
                  </a:ln>
                  <a:effectLst/>
                </p:spPr>
              </p:cxnSp>
              <p:sp>
                <p:nvSpPr>
                  <p:cNvPr id="344" name="Oval 343"/>
                  <p:cNvSpPr/>
                  <p:nvPr/>
                </p:nvSpPr>
                <p:spPr bwMode="auto">
                  <a:xfrm>
                    <a:off x="4066669" y="517877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solidFill>
                        <a:srgbClr val="002050"/>
                      </a:solidFill>
                      <a:latin typeface="Segoe UI Semibold" panose="020B0702040204020203" pitchFamily="34" charset="0"/>
                      <a:cs typeface="Segoe UI Semibold" panose="020B0702040204020203" pitchFamily="34" charset="0"/>
                    </a:endParaRPr>
                  </a:p>
                </p:txBody>
              </p:sp>
              <p:sp>
                <p:nvSpPr>
                  <p:cNvPr id="345" name="Oval 344"/>
                  <p:cNvSpPr/>
                  <p:nvPr/>
                </p:nvSpPr>
                <p:spPr bwMode="auto">
                  <a:xfrm>
                    <a:off x="5204244" y="5189764"/>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solidFill>
                        <a:srgbClr val="002050"/>
                      </a:solidFill>
                      <a:latin typeface="Segoe UI Semibold" panose="020B0702040204020203" pitchFamily="34" charset="0"/>
                      <a:cs typeface="Segoe UI Semibold" panose="020B0702040204020203" pitchFamily="34" charset="0"/>
                    </a:endParaRPr>
                  </a:p>
                </p:txBody>
              </p:sp>
              <p:cxnSp>
                <p:nvCxnSpPr>
                  <p:cNvPr id="346" name="Straight Connector 345"/>
                  <p:cNvCxnSpPr>
                    <a:cxnSpLocks/>
                  </p:cNvCxnSpPr>
                  <p:nvPr/>
                </p:nvCxnSpPr>
                <p:spPr>
                  <a:xfrm>
                    <a:off x="4308965" y="5620439"/>
                    <a:ext cx="895279" cy="0"/>
                  </a:xfrm>
                  <a:prstGeom prst="line">
                    <a:avLst/>
                  </a:prstGeom>
                  <a:noFill/>
                  <a:ln w="12700" cap="flat" cmpd="sng" algn="ctr">
                    <a:solidFill>
                      <a:schemeClr val="tx2"/>
                    </a:solidFill>
                    <a:prstDash val="sysDot"/>
                    <a:miter lim="800000"/>
                    <a:headEnd type="none"/>
                    <a:tailEnd type="none"/>
                  </a:ln>
                  <a:effectLst/>
                </p:spPr>
              </p:cxnSp>
              <p:sp>
                <p:nvSpPr>
                  <p:cNvPr id="347" name="Oval 346"/>
                  <p:cNvSpPr/>
                  <p:nvPr/>
                </p:nvSpPr>
                <p:spPr bwMode="auto">
                  <a:xfrm>
                    <a:off x="4066669" y="5499293"/>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solidFill>
                        <a:srgbClr val="002050"/>
                      </a:solidFill>
                      <a:latin typeface="Segoe UI Semibold" panose="020B0702040204020203" pitchFamily="34" charset="0"/>
                      <a:cs typeface="Segoe UI Semibold" panose="020B0702040204020203" pitchFamily="34" charset="0"/>
                    </a:endParaRPr>
                  </a:p>
                </p:txBody>
              </p:sp>
              <p:sp>
                <p:nvSpPr>
                  <p:cNvPr id="348" name="Oval 347"/>
                  <p:cNvSpPr/>
                  <p:nvPr/>
                </p:nvSpPr>
                <p:spPr bwMode="auto">
                  <a:xfrm>
                    <a:off x="5204244" y="5510278"/>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solidFill>
                        <a:srgbClr val="002050"/>
                      </a:solidFill>
                      <a:latin typeface="Segoe UI Semibold" panose="020B0702040204020203" pitchFamily="34" charset="0"/>
                      <a:cs typeface="Segoe UI Semibold" panose="020B0702040204020203" pitchFamily="34" charset="0"/>
                    </a:endParaRPr>
                  </a:p>
                </p:txBody>
              </p:sp>
              <p:cxnSp>
                <p:nvCxnSpPr>
                  <p:cNvPr id="349" name="Straight Connector 348"/>
                  <p:cNvCxnSpPr>
                    <a:cxnSpLocks/>
                  </p:cNvCxnSpPr>
                  <p:nvPr/>
                </p:nvCxnSpPr>
                <p:spPr>
                  <a:xfrm>
                    <a:off x="4308965" y="5950606"/>
                    <a:ext cx="895279" cy="0"/>
                  </a:xfrm>
                  <a:prstGeom prst="line">
                    <a:avLst/>
                  </a:prstGeom>
                  <a:noFill/>
                  <a:ln w="12700" cap="flat" cmpd="sng" algn="ctr">
                    <a:solidFill>
                      <a:schemeClr val="tx2"/>
                    </a:solidFill>
                    <a:prstDash val="sysDot"/>
                    <a:miter lim="800000"/>
                    <a:headEnd type="none"/>
                    <a:tailEnd type="none"/>
                  </a:ln>
                  <a:effectLst/>
                </p:spPr>
              </p:cxnSp>
              <p:sp>
                <p:nvSpPr>
                  <p:cNvPr id="350" name="Oval 349"/>
                  <p:cNvSpPr/>
                  <p:nvPr/>
                </p:nvSpPr>
                <p:spPr bwMode="auto">
                  <a:xfrm>
                    <a:off x="4066669" y="582945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solidFill>
                        <a:srgbClr val="002050"/>
                      </a:solidFill>
                      <a:latin typeface="Segoe UI Semibold" panose="020B0702040204020203" pitchFamily="34" charset="0"/>
                      <a:cs typeface="Segoe UI Semibold" panose="020B0702040204020203" pitchFamily="34" charset="0"/>
                    </a:endParaRPr>
                  </a:p>
                </p:txBody>
              </p:sp>
              <p:sp>
                <p:nvSpPr>
                  <p:cNvPr id="351" name="Oval 350"/>
                  <p:cNvSpPr/>
                  <p:nvPr/>
                </p:nvSpPr>
                <p:spPr bwMode="auto">
                  <a:xfrm>
                    <a:off x="5204244" y="5840445"/>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2857" rIns="0" bIns="42857" numCol="1" rtlCol="0" anchor="ctr" anchorCtr="0" compatLnSpc="1">
                    <a:prstTxWarp prst="textNoShape">
                      <a:avLst/>
                    </a:prstTxWarp>
                  </a:bodyPr>
                  <a:lstStyle/>
                  <a:p>
                    <a:pPr algn="ctr" defTabSz="856845" fontAlgn="base">
                      <a:spcBef>
                        <a:spcPct val="0"/>
                      </a:spcBef>
                      <a:spcAft>
                        <a:spcPct val="0"/>
                      </a:spcAft>
                      <a:defRPr/>
                    </a:pPr>
                    <a:endParaRPr lang="en-US" sz="1838" kern="0">
                      <a:solidFill>
                        <a:srgbClr val="002050"/>
                      </a:solidFill>
                      <a:latin typeface="Segoe UI Semibold" panose="020B0702040204020203" pitchFamily="34" charset="0"/>
                      <a:cs typeface="Segoe UI Semibold" panose="020B0702040204020203" pitchFamily="34" charset="0"/>
                    </a:endParaRPr>
                  </a:p>
                </p:txBody>
              </p:sp>
            </p:grpSp>
            <p:sp>
              <p:nvSpPr>
                <p:cNvPr id="342" name="TextBox 341"/>
                <p:cNvSpPr txBox="1"/>
                <p:nvPr/>
              </p:nvSpPr>
              <p:spPr>
                <a:xfrm>
                  <a:off x="4556538" y="7295364"/>
                  <a:ext cx="605010" cy="503442"/>
                </a:xfrm>
                <a:prstGeom prst="rect">
                  <a:avLst/>
                </a:prstGeom>
                <a:noFill/>
              </p:spPr>
              <p:txBody>
                <a:bodyPr wrap="none" lIns="0" rtlCol="0">
                  <a:spAutoFit/>
                </a:bodyPr>
                <a:lstStyle/>
                <a:p>
                  <a:pPr algn="ctr" defTabSz="857124">
                    <a:defRPr/>
                  </a:pPr>
                  <a:r>
                    <a:rPr lang="en-US" sz="984">
                      <a:solidFill>
                        <a:srgbClr val="002050"/>
                      </a:solidFill>
                      <a:latin typeface="Segoe UI Semibold" panose="020B0702040204020203" pitchFamily="34" charset="0"/>
                      <a:cs typeface="Segoe UI Semibold" panose="020B0702040204020203" pitchFamily="34" charset="0"/>
                    </a:rPr>
                    <a:t>Key-value</a:t>
                  </a:r>
                </a:p>
              </p:txBody>
            </p:sp>
          </p:grpSp>
        </p:grpSp>
        <p:sp>
          <p:nvSpPr>
            <p:cNvPr id="94" name="Freeform: Shape 8">
              <a:extLst>
                <a:ext uri="{FF2B5EF4-FFF2-40B4-BE49-F238E27FC236}">
                  <a16:creationId xmlns:a16="http://schemas.microsoft.com/office/drawing/2014/main" id="{167B8C7C-A606-43F6-9214-8DBE1469540A}"/>
                </a:ext>
              </a:extLst>
            </p:cNvPr>
            <p:cNvSpPr/>
            <p:nvPr/>
          </p:nvSpPr>
          <p:spPr>
            <a:xfrm>
              <a:off x="1" y="2612075"/>
              <a:ext cx="12436474" cy="1517108"/>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124">
                <a:defRPr/>
              </a:pPr>
              <a:endParaRPr lang="en-US" sz="1687">
                <a:solidFill>
                  <a:srgbClr val="FFFFFF"/>
                </a:solidFill>
                <a:latin typeface="Segoe UI"/>
              </a:endParaRPr>
            </a:p>
          </p:txBody>
        </p:sp>
      </p:grpSp>
    </p:spTree>
    <p:extLst>
      <p:ext uri="{BB962C8B-B14F-4D97-AF65-F5344CB8AC3E}">
        <p14:creationId xmlns:p14="http://schemas.microsoft.com/office/powerpoint/2010/main" val="451677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par>
                                <p:cTn id="10" presetID="22" presetClass="entr" presetSubtype="8" fill="hold" nodeType="withEffect">
                                  <p:stCondLst>
                                    <p:cond delay="500"/>
                                  </p:stCondLst>
                                  <p:childTnLst>
                                    <p:set>
                                      <p:cBhvr>
                                        <p:cTn id="11" dur="1" fill="hold">
                                          <p:stCondLst>
                                            <p:cond delay="0"/>
                                          </p:stCondLst>
                                        </p:cTn>
                                        <p:tgtEl>
                                          <p:spTgt spid="14"/>
                                        </p:tgtEl>
                                        <p:attrNameLst>
                                          <p:attrName>style.visibility</p:attrName>
                                        </p:attrNameLst>
                                      </p:cBhvr>
                                      <p:to>
                                        <p:strVal val="visible"/>
                                      </p:to>
                                    </p:set>
                                    <p:animEffect transition="in" filter="wipe(left)">
                                      <p:cBhvr>
                                        <p:cTn id="12" dur="125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wipe(left)">
                                      <p:cBhvr>
                                        <p:cTn id="17" dur="1250"/>
                                        <p:tgtEl>
                                          <p:spTgt spid="15"/>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wipe(left)">
                                      <p:cBhvr>
                                        <p:cTn id="22" dur="1250"/>
                                        <p:tgtEl>
                                          <p:spTgt spid="4"/>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wipe(left)">
                                      <p:cBhvr>
                                        <p:cTn id="27" dur="125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863589" y="360762"/>
            <a:ext cx="6865111" cy="974774"/>
          </a:xfrm>
        </p:spPr>
        <p:txBody>
          <a:bodyPr>
            <a:noAutofit/>
          </a:bodyPr>
          <a:lstStyle/>
          <a:p>
            <a:pPr algn="ctr"/>
            <a:r>
              <a:rPr lang="en-US" sz="5882" spc="-281" dirty="0">
                <a:solidFill>
                  <a:schemeClr val="tx1"/>
                </a:solidFill>
                <a:latin typeface="Segoe UI Light" panose="020B0502040204020203" pitchFamily="34" charset="0"/>
                <a:ea typeface="Segoe UI Black" panose="020B0A02040204020203" pitchFamily="34" charset="0"/>
                <a:cs typeface="Segoe UI Light" panose="020B0502040204020203" pitchFamily="34" charset="0"/>
              </a:rPr>
              <a:t>Why Multi-Model?</a:t>
            </a:r>
          </a:p>
        </p:txBody>
      </p:sp>
      <p:grpSp>
        <p:nvGrpSpPr>
          <p:cNvPr id="49" name="Group 48"/>
          <p:cNvGrpSpPr/>
          <p:nvPr/>
        </p:nvGrpSpPr>
        <p:grpSpPr>
          <a:xfrm>
            <a:off x="6373911" y="1864750"/>
            <a:ext cx="5196240" cy="3638557"/>
            <a:chOff x="2598654" y="2223105"/>
            <a:chExt cx="6111461" cy="4468313"/>
          </a:xfrm>
        </p:grpSpPr>
        <p:sp>
          <p:nvSpPr>
            <p:cNvPr id="50" name="Rectangle 49"/>
            <p:cNvSpPr/>
            <p:nvPr/>
          </p:nvSpPr>
          <p:spPr>
            <a:xfrm>
              <a:off x="3062270" y="2683443"/>
              <a:ext cx="4718784" cy="3471581"/>
            </a:xfrm>
            <a:prstGeom prst="rect">
              <a:avLst/>
            </a:prstGeom>
            <a:solidFill>
              <a:srgbClr val="59B4D9"/>
            </a:solidFill>
            <a:ln w="12700" cap="flat" cmpd="sng" algn="ctr">
              <a:solidFill>
                <a:srgbClr val="59B4D9">
                  <a:shade val="50000"/>
                </a:srgbClr>
              </a:solidFill>
              <a:prstDash val="solid"/>
              <a:miter lim="800000"/>
            </a:ln>
            <a:effectLst/>
          </p:spPr>
          <p:txBody>
            <a:bodyPr rtlCol="0" anchor="ctr"/>
            <a:lstStyle/>
            <a:p>
              <a:pPr algn="ctr" defTabSz="896386">
                <a:defRPr/>
              </a:pPr>
              <a:endParaRPr lang="en-US" sz="1765" kern="0">
                <a:solidFill>
                  <a:srgbClr val="FFFFFF"/>
                </a:solidFill>
                <a:latin typeface="Segoe UI"/>
              </a:endParaRPr>
            </a:p>
          </p:txBody>
        </p:sp>
        <p:sp>
          <p:nvSpPr>
            <p:cNvPr id="51" name="Rectangle 50"/>
            <p:cNvSpPr/>
            <p:nvPr/>
          </p:nvSpPr>
          <p:spPr>
            <a:xfrm>
              <a:off x="3055990" y="4072432"/>
              <a:ext cx="2590800" cy="2082592"/>
            </a:xfrm>
            <a:prstGeom prst="rect">
              <a:avLst/>
            </a:prstGeom>
            <a:solidFill>
              <a:srgbClr val="59B4D9">
                <a:lumMod val="40000"/>
                <a:lumOff val="60000"/>
              </a:srgbClr>
            </a:solidFill>
            <a:ln w="12700" cap="flat" cmpd="sng" algn="ctr">
              <a:solidFill>
                <a:srgbClr val="59B4D9">
                  <a:shade val="50000"/>
                </a:srgbClr>
              </a:solidFill>
              <a:prstDash val="solid"/>
              <a:miter lim="800000"/>
            </a:ln>
            <a:effectLst/>
          </p:spPr>
          <p:txBody>
            <a:bodyPr rtlCol="0" anchor="ctr"/>
            <a:lstStyle/>
            <a:p>
              <a:pPr algn="ctr" defTabSz="896386">
                <a:defRPr/>
              </a:pPr>
              <a:endParaRPr lang="en-US" sz="1765" kern="0">
                <a:solidFill>
                  <a:srgbClr val="FFFFFF"/>
                </a:solidFill>
                <a:latin typeface="Segoe UI"/>
              </a:endParaRPr>
            </a:p>
          </p:txBody>
        </p:sp>
        <p:sp>
          <p:nvSpPr>
            <p:cNvPr id="52" name="Rectangle 51"/>
            <p:cNvSpPr/>
            <p:nvPr/>
          </p:nvSpPr>
          <p:spPr>
            <a:xfrm>
              <a:off x="3055990" y="5088225"/>
              <a:ext cx="1295400" cy="1066800"/>
            </a:xfrm>
            <a:prstGeom prst="rect">
              <a:avLst/>
            </a:prstGeom>
            <a:solidFill>
              <a:srgbClr val="59B4D9">
                <a:lumMod val="20000"/>
                <a:lumOff val="80000"/>
              </a:srgbClr>
            </a:solidFill>
            <a:ln w="12700" cap="flat" cmpd="sng" algn="ctr">
              <a:solidFill>
                <a:srgbClr val="59B4D9">
                  <a:shade val="50000"/>
                </a:srgbClr>
              </a:solidFill>
              <a:prstDash val="solid"/>
              <a:miter lim="800000"/>
            </a:ln>
            <a:effectLst/>
          </p:spPr>
          <p:txBody>
            <a:bodyPr rtlCol="0" anchor="ctr"/>
            <a:lstStyle/>
            <a:p>
              <a:pPr algn="ctr" defTabSz="896386">
                <a:defRPr/>
              </a:pPr>
              <a:endParaRPr lang="en-US" sz="1765" kern="0">
                <a:solidFill>
                  <a:srgbClr val="FFFFFF"/>
                </a:solidFill>
                <a:latin typeface="Segoe UI"/>
              </a:endParaRPr>
            </a:p>
          </p:txBody>
        </p:sp>
        <p:cxnSp>
          <p:nvCxnSpPr>
            <p:cNvPr id="53" name="Straight Arrow Connector 52"/>
            <p:cNvCxnSpPr/>
            <p:nvPr/>
          </p:nvCxnSpPr>
          <p:spPr>
            <a:xfrm flipV="1">
              <a:off x="3055990" y="2223105"/>
              <a:ext cx="0" cy="3931920"/>
            </a:xfrm>
            <a:prstGeom prst="straightConnector1">
              <a:avLst/>
            </a:prstGeom>
            <a:noFill/>
            <a:ln w="38100" cap="flat" cmpd="sng" algn="ctr">
              <a:solidFill>
                <a:srgbClr val="FFC000"/>
              </a:solidFill>
              <a:prstDash val="solid"/>
              <a:miter lim="800000"/>
              <a:tailEnd type="triangle"/>
            </a:ln>
            <a:effectLst/>
          </p:spPr>
        </p:cxnSp>
        <p:cxnSp>
          <p:nvCxnSpPr>
            <p:cNvPr id="54" name="Straight Arrow Connector 53"/>
            <p:cNvCxnSpPr/>
            <p:nvPr/>
          </p:nvCxnSpPr>
          <p:spPr>
            <a:xfrm>
              <a:off x="3055990" y="6155025"/>
              <a:ext cx="5486400" cy="0"/>
            </a:xfrm>
            <a:prstGeom prst="straightConnector1">
              <a:avLst/>
            </a:prstGeom>
            <a:noFill/>
            <a:ln w="38100" cap="flat" cmpd="sng" algn="ctr">
              <a:solidFill>
                <a:srgbClr val="FFC000"/>
              </a:solidFill>
              <a:prstDash val="solid"/>
              <a:miter lim="800000"/>
              <a:tailEnd type="triangle"/>
            </a:ln>
            <a:effectLst/>
          </p:spPr>
        </p:cxnSp>
        <p:sp>
          <p:nvSpPr>
            <p:cNvPr id="55" name="Freeform: Shape 54"/>
            <p:cNvSpPr/>
            <p:nvPr/>
          </p:nvSpPr>
          <p:spPr>
            <a:xfrm>
              <a:off x="3523475" y="2237006"/>
              <a:ext cx="4717774" cy="3670853"/>
            </a:xfrm>
            <a:custGeom>
              <a:avLst/>
              <a:gdLst>
                <a:gd name="connsiteX0" fmla="*/ 0 w 4717774"/>
                <a:gd name="connsiteY0" fmla="*/ 3670853 h 3670853"/>
                <a:gd name="connsiteX1" fmla="*/ 304800 w 4717774"/>
                <a:gd name="connsiteY1" fmla="*/ 3611218 h 3670853"/>
                <a:gd name="connsiteX2" fmla="*/ 834887 w 4717774"/>
                <a:gd name="connsiteY2" fmla="*/ 3366053 h 3670853"/>
                <a:gd name="connsiteX3" fmla="*/ 1550504 w 4717774"/>
                <a:gd name="connsiteY3" fmla="*/ 2802835 h 3670853"/>
                <a:gd name="connsiteX4" fmla="*/ 2716695 w 4717774"/>
                <a:gd name="connsiteY4" fmla="*/ 1802296 h 3670853"/>
                <a:gd name="connsiteX5" fmla="*/ 4717774 w 4717774"/>
                <a:gd name="connsiteY5" fmla="*/ 0 h 3670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17774" h="3670853">
                  <a:moveTo>
                    <a:pt x="0" y="3670853"/>
                  </a:moveTo>
                  <a:cubicBezTo>
                    <a:pt x="82826" y="3666435"/>
                    <a:pt x="165652" y="3662018"/>
                    <a:pt x="304800" y="3611218"/>
                  </a:cubicBezTo>
                  <a:cubicBezTo>
                    <a:pt x="443948" y="3560418"/>
                    <a:pt x="627270" y="3500783"/>
                    <a:pt x="834887" y="3366053"/>
                  </a:cubicBezTo>
                  <a:cubicBezTo>
                    <a:pt x="1042504" y="3231322"/>
                    <a:pt x="1236869" y="3063461"/>
                    <a:pt x="1550504" y="2802835"/>
                  </a:cubicBezTo>
                  <a:cubicBezTo>
                    <a:pt x="1864139" y="2542209"/>
                    <a:pt x="2188817" y="2269435"/>
                    <a:pt x="2716695" y="1802296"/>
                  </a:cubicBezTo>
                  <a:cubicBezTo>
                    <a:pt x="3244573" y="1335157"/>
                    <a:pt x="3981173" y="667578"/>
                    <a:pt x="4717774" y="0"/>
                  </a:cubicBezTo>
                </a:path>
              </a:pathLst>
            </a:custGeom>
            <a:noFill/>
            <a:ln w="57150" cap="flat" cmpd="sng" algn="ctr">
              <a:solidFill>
                <a:srgbClr val="0070C0"/>
              </a:solidFill>
              <a:prstDash val="solid"/>
              <a:miter lim="800000"/>
              <a:headEnd type="none" w="med" len="med"/>
              <a:tailEnd type="triangle" w="med" len="med"/>
            </a:ln>
            <a:effectLst/>
          </p:spPr>
          <p:txBody>
            <a:bodyPr rtlCol="0" anchor="ctr"/>
            <a:lstStyle/>
            <a:p>
              <a:pPr algn="ctr" defTabSz="896386">
                <a:defRPr/>
              </a:pPr>
              <a:endParaRPr lang="en-US" sz="1765" kern="0">
                <a:solidFill>
                  <a:srgbClr val="FFFFFF"/>
                </a:solidFill>
                <a:latin typeface="Segoe UI"/>
              </a:endParaRPr>
            </a:p>
          </p:txBody>
        </p:sp>
        <p:sp>
          <p:nvSpPr>
            <p:cNvPr id="56" name="TextBox 55"/>
            <p:cNvSpPr txBox="1"/>
            <p:nvPr/>
          </p:nvSpPr>
          <p:spPr>
            <a:xfrm>
              <a:off x="2995248" y="5088224"/>
              <a:ext cx="1404957" cy="631987"/>
            </a:xfrm>
            <a:prstGeom prst="rect">
              <a:avLst/>
            </a:prstGeom>
            <a:noFill/>
          </p:spPr>
          <p:txBody>
            <a:bodyPr wrap="none" rtlCol="0">
              <a:spAutoFit/>
            </a:bodyPr>
            <a:lstStyle/>
            <a:p>
              <a:pPr algn="ctr" defTabSz="896386">
                <a:defRPr/>
              </a:pPr>
              <a:r>
                <a:rPr lang="en-US" sz="1372" b="1" kern="0" dirty="0">
                  <a:solidFill>
                    <a:srgbClr val="000000"/>
                  </a:solidFill>
                  <a:latin typeface="Segoe UI"/>
                </a:rPr>
                <a:t>Transaction </a:t>
              </a:r>
            </a:p>
            <a:p>
              <a:pPr algn="ctr" defTabSz="896386">
                <a:defRPr/>
              </a:pPr>
              <a:r>
                <a:rPr lang="en-US" sz="1372" b="1" kern="0" dirty="0">
                  <a:solidFill>
                    <a:srgbClr val="000000"/>
                  </a:solidFill>
                  <a:latin typeface="Segoe UI"/>
                </a:rPr>
                <a:t>data</a:t>
              </a:r>
            </a:p>
          </p:txBody>
        </p:sp>
        <p:sp>
          <p:nvSpPr>
            <p:cNvPr id="57" name="TextBox 56"/>
            <p:cNvSpPr txBox="1"/>
            <p:nvPr/>
          </p:nvSpPr>
          <p:spPr>
            <a:xfrm>
              <a:off x="3286791" y="4058867"/>
              <a:ext cx="1993184" cy="372688"/>
            </a:xfrm>
            <a:prstGeom prst="rect">
              <a:avLst/>
            </a:prstGeom>
            <a:noFill/>
          </p:spPr>
          <p:txBody>
            <a:bodyPr wrap="none" rtlCol="0">
              <a:spAutoFit/>
            </a:bodyPr>
            <a:lstStyle/>
            <a:p>
              <a:pPr defTabSz="896386">
                <a:defRPr/>
              </a:pPr>
              <a:r>
                <a:rPr lang="en-US" sz="1372" b="1" kern="0" dirty="0">
                  <a:solidFill>
                    <a:srgbClr val="000000"/>
                  </a:solidFill>
                  <a:latin typeface="Segoe UI"/>
                </a:rPr>
                <a:t>Web/content data</a:t>
              </a:r>
            </a:p>
          </p:txBody>
        </p:sp>
        <p:sp>
          <p:nvSpPr>
            <p:cNvPr id="58" name="TextBox 57"/>
            <p:cNvSpPr txBox="1"/>
            <p:nvPr/>
          </p:nvSpPr>
          <p:spPr>
            <a:xfrm>
              <a:off x="3265891" y="2772955"/>
              <a:ext cx="3757864" cy="372688"/>
            </a:xfrm>
            <a:prstGeom prst="rect">
              <a:avLst/>
            </a:prstGeom>
            <a:noFill/>
          </p:spPr>
          <p:txBody>
            <a:bodyPr wrap="none" rtlCol="0">
              <a:spAutoFit/>
            </a:bodyPr>
            <a:lstStyle/>
            <a:p>
              <a:pPr defTabSz="896386">
                <a:defRPr/>
              </a:pPr>
              <a:r>
                <a:rPr lang="en-US" sz="1372" b="1" kern="0" dirty="0">
                  <a:solidFill>
                    <a:srgbClr val="000000"/>
                  </a:solidFill>
                  <a:latin typeface="Segoe UI"/>
                </a:rPr>
                <a:t>Social data/Machine-generated data</a:t>
              </a:r>
            </a:p>
          </p:txBody>
        </p:sp>
        <p:sp>
          <p:nvSpPr>
            <p:cNvPr id="59" name="TextBox 58"/>
            <p:cNvSpPr txBox="1"/>
            <p:nvPr/>
          </p:nvSpPr>
          <p:spPr>
            <a:xfrm>
              <a:off x="3100779" y="5729346"/>
              <a:ext cx="483025" cy="372688"/>
            </a:xfrm>
            <a:prstGeom prst="rect">
              <a:avLst/>
            </a:prstGeom>
            <a:noFill/>
          </p:spPr>
          <p:txBody>
            <a:bodyPr wrap="none" rtlCol="0">
              <a:spAutoFit/>
            </a:bodyPr>
            <a:lstStyle/>
            <a:p>
              <a:pPr defTabSz="896386">
                <a:defRPr/>
              </a:pPr>
              <a:r>
                <a:rPr lang="en-US" sz="1372" b="1" kern="0" dirty="0">
                  <a:solidFill>
                    <a:srgbClr val="000000"/>
                  </a:solidFill>
                  <a:latin typeface="Segoe UI"/>
                </a:rPr>
                <a:t>KB</a:t>
              </a:r>
            </a:p>
          </p:txBody>
        </p:sp>
        <p:sp>
          <p:nvSpPr>
            <p:cNvPr id="60" name="TextBox 59"/>
            <p:cNvSpPr txBox="1"/>
            <p:nvPr/>
          </p:nvSpPr>
          <p:spPr>
            <a:xfrm rot="19736087">
              <a:off x="4057850" y="5196093"/>
              <a:ext cx="547127" cy="372688"/>
            </a:xfrm>
            <a:prstGeom prst="rect">
              <a:avLst/>
            </a:prstGeom>
            <a:noFill/>
          </p:spPr>
          <p:txBody>
            <a:bodyPr wrap="none" rtlCol="0">
              <a:spAutoFit/>
            </a:bodyPr>
            <a:lstStyle/>
            <a:p>
              <a:pPr defTabSz="896386">
                <a:defRPr/>
              </a:pPr>
              <a:r>
                <a:rPr lang="en-US" sz="1372" b="1" kern="0" dirty="0">
                  <a:solidFill>
                    <a:srgbClr val="000000"/>
                  </a:solidFill>
                  <a:latin typeface="Segoe UI"/>
                </a:rPr>
                <a:t>MB</a:t>
              </a:r>
            </a:p>
          </p:txBody>
        </p:sp>
        <p:sp>
          <p:nvSpPr>
            <p:cNvPr id="61" name="TextBox 60"/>
            <p:cNvSpPr txBox="1"/>
            <p:nvPr/>
          </p:nvSpPr>
          <p:spPr>
            <a:xfrm rot="19736087">
              <a:off x="4910698" y="4472895"/>
              <a:ext cx="496222" cy="372688"/>
            </a:xfrm>
            <a:prstGeom prst="rect">
              <a:avLst/>
            </a:prstGeom>
            <a:noFill/>
          </p:spPr>
          <p:txBody>
            <a:bodyPr wrap="none" rtlCol="0">
              <a:spAutoFit/>
            </a:bodyPr>
            <a:lstStyle/>
            <a:p>
              <a:pPr defTabSz="896386">
                <a:defRPr/>
              </a:pPr>
              <a:r>
                <a:rPr lang="en-US" sz="1372" b="1" kern="0" dirty="0">
                  <a:solidFill>
                    <a:srgbClr val="000000"/>
                  </a:solidFill>
                  <a:latin typeface="Segoe UI"/>
                </a:rPr>
                <a:t>GB</a:t>
              </a:r>
            </a:p>
          </p:txBody>
        </p:sp>
        <p:sp>
          <p:nvSpPr>
            <p:cNvPr id="62" name="TextBox 61"/>
            <p:cNvSpPr txBox="1"/>
            <p:nvPr/>
          </p:nvSpPr>
          <p:spPr>
            <a:xfrm rot="19147365">
              <a:off x="5996587" y="3610260"/>
              <a:ext cx="469827" cy="372688"/>
            </a:xfrm>
            <a:prstGeom prst="rect">
              <a:avLst/>
            </a:prstGeom>
            <a:noFill/>
          </p:spPr>
          <p:txBody>
            <a:bodyPr wrap="none" rtlCol="0">
              <a:spAutoFit/>
            </a:bodyPr>
            <a:lstStyle/>
            <a:p>
              <a:pPr defTabSz="896386">
                <a:defRPr/>
              </a:pPr>
              <a:r>
                <a:rPr lang="en-US" sz="1372" b="1" kern="0" dirty="0">
                  <a:solidFill>
                    <a:srgbClr val="000000"/>
                  </a:solidFill>
                  <a:latin typeface="Segoe UI"/>
                </a:rPr>
                <a:t>TB</a:t>
              </a:r>
            </a:p>
          </p:txBody>
        </p:sp>
        <p:sp>
          <p:nvSpPr>
            <p:cNvPr id="63" name="TextBox 62"/>
            <p:cNvSpPr txBox="1"/>
            <p:nvPr/>
          </p:nvSpPr>
          <p:spPr>
            <a:xfrm rot="19147365">
              <a:off x="6944393" y="2740500"/>
              <a:ext cx="475484" cy="372688"/>
            </a:xfrm>
            <a:prstGeom prst="rect">
              <a:avLst/>
            </a:prstGeom>
            <a:noFill/>
          </p:spPr>
          <p:txBody>
            <a:bodyPr wrap="none" rtlCol="0">
              <a:spAutoFit/>
            </a:bodyPr>
            <a:lstStyle/>
            <a:p>
              <a:pPr defTabSz="896386">
                <a:defRPr/>
              </a:pPr>
              <a:r>
                <a:rPr lang="en-US" sz="1372" b="1" kern="0" dirty="0">
                  <a:solidFill>
                    <a:srgbClr val="000000"/>
                  </a:solidFill>
                  <a:latin typeface="Segoe UI"/>
                </a:rPr>
                <a:t>PB</a:t>
              </a:r>
            </a:p>
          </p:txBody>
        </p:sp>
        <p:cxnSp>
          <p:nvCxnSpPr>
            <p:cNvPr id="64" name="Straight Arrow Connector 63"/>
            <p:cNvCxnSpPr/>
            <p:nvPr/>
          </p:nvCxnSpPr>
          <p:spPr>
            <a:xfrm flipV="1">
              <a:off x="8542390" y="2926844"/>
              <a:ext cx="0" cy="1393633"/>
            </a:xfrm>
            <a:prstGeom prst="straightConnector1">
              <a:avLst/>
            </a:prstGeom>
            <a:noFill/>
            <a:ln w="6350" cap="flat" cmpd="sng" algn="ctr">
              <a:solidFill>
                <a:srgbClr val="FFC000"/>
              </a:solidFill>
              <a:prstDash val="solid"/>
              <a:miter lim="800000"/>
              <a:tailEnd type="triangle"/>
            </a:ln>
            <a:effectLst/>
          </p:spPr>
        </p:cxnSp>
        <p:sp>
          <p:nvSpPr>
            <p:cNvPr id="65" name="TextBox 64"/>
            <p:cNvSpPr txBox="1"/>
            <p:nvPr/>
          </p:nvSpPr>
          <p:spPr>
            <a:xfrm>
              <a:off x="4670414" y="6318730"/>
              <a:ext cx="2377794" cy="372688"/>
            </a:xfrm>
            <a:prstGeom prst="rect">
              <a:avLst/>
            </a:prstGeom>
            <a:noFill/>
          </p:spPr>
          <p:txBody>
            <a:bodyPr wrap="none" rtlCol="0">
              <a:spAutoFit/>
            </a:bodyPr>
            <a:lstStyle/>
            <a:p>
              <a:pPr defTabSz="896386">
                <a:defRPr/>
              </a:pPr>
              <a:r>
                <a:rPr lang="en-US" sz="1372" kern="0" dirty="0">
                  <a:solidFill>
                    <a:srgbClr val="FFFFFF"/>
                  </a:solidFill>
                  <a:latin typeface="Segoe UI"/>
                </a:rPr>
                <a:t>Data variety/complexity</a:t>
              </a:r>
            </a:p>
          </p:txBody>
        </p:sp>
        <p:sp>
          <p:nvSpPr>
            <p:cNvPr id="66" name="TextBox 65"/>
            <p:cNvSpPr txBox="1"/>
            <p:nvPr/>
          </p:nvSpPr>
          <p:spPr>
            <a:xfrm rot="16200000">
              <a:off x="2059384" y="4142010"/>
              <a:ext cx="1435474" cy="356934"/>
            </a:xfrm>
            <a:prstGeom prst="rect">
              <a:avLst/>
            </a:prstGeom>
            <a:noFill/>
          </p:spPr>
          <p:txBody>
            <a:bodyPr wrap="none" rtlCol="0">
              <a:spAutoFit/>
            </a:bodyPr>
            <a:lstStyle/>
            <a:p>
              <a:pPr defTabSz="896386">
                <a:defRPr/>
              </a:pPr>
              <a:r>
                <a:rPr lang="en-US" sz="1372" kern="0" dirty="0">
                  <a:solidFill>
                    <a:srgbClr val="FFFFFF"/>
                  </a:solidFill>
                  <a:latin typeface="Segoe UI"/>
                </a:rPr>
                <a:t>Data volume</a:t>
              </a:r>
            </a:p>
          </p:txBody>
        </p:sp>
        <p:sp>
          <p:nvSpPr>
            <p:cNvPr id="67" name="TextBox 66"/>
            <p:cNvSpPr txBox="1"/>
            <p:nvPr/>
          </p:nvSpPr>
          <p:spPr>
            <a:xfrm rot="16200000">
              <a:off x="7830642" y="4692963"/>
              <a:ext cx="1402009" cy="356934"/>
            </a:xfrm>
            <a:prstGeom prst="rect">
              <a:avLst/>
            </a:prstGeom>
            <a:noFill/>
          </p:spPr>
          <p:txBody>
            <a:bodyPr wrap="none" rtlCol="0">
              <a:spAutoFit/>
            </a:bodyPr>
            <a:lstStyle/>
            <a:p>
              <a:pPr defTabSz="896386">
                <a:defRPr/>
              </a:pPr>
              <a:r>
                <a:rPr lang="en-US" sz="1372" kern="0" dirty="0">
                  <a:solidFill>
                    <a:srgbClr val="FFFFFF"/>
                  </a:solidFill>
                  <a:latin typeface="Segoe UI"/>
                </a:rPr>
                <a:t>Log 10 scale</a:t>
              </a:r>
            </a:p>
          </p:txBody>
        </p:sp>
        <p:sp>
          <p:nvSpPr>
            <p:cNvPr id="68" name="TextBox 67"/>
            <p:cNvSpPr txBox="1"/>
            <p:nvPr/>
          </p:nvSpPr>
          <p:spPr>
            <a:xfrm rot="16200000">
              <a:off x="8360186" y="5729391"/>
              <a:ext cx="342924" cy="356934"/>
            </a:xfrm>
            <a:prstGeom prst="rect">
              <a:avLst/>
            </a:prstGeom>
            <a:noFill/>
          </p:spPr>
          <p:txBody>
            <a:bodyPr wrap="none" rtlCol="0">
              <a:spAutoFit/>
            </a:bodyPr>
            <a:lstStyle/>
            <a:p>
              <a:pPr defTabSz="896386">
                <a:defRPr/>
              </a:pPr>
              <a:r>
                <a:rPr lang="en-US" sz="1372" kern="0" dirty="0">
                  <a:solidFill>
                    <a:srgbClr val="FFFFFF"/>
                  </a:solidFill>
                  <a:latin typeface="Segoe UI"/>
                </a:rPr>
                <a:t>1</a:t>
              </a:r>
            </a:p>
          </p:txBody>
        </p:sp>
        <p:sp>
          <p:nvSpPr>
            <p:cNvPr id="69" name="TextBox 68"/>
            <p:cNvSpPr txBox="1"/>
            <p:nvPr/>
          </p:nvSpPr>
          <p:spPr>
            <a:xfrm rot="16200000">
              <a:off x="8302113" y="2504975"/>
              <a:ext cx="459068" cy="356934"/>
            </a:xfrm>
            <a:prstGeom prst="rect">
              <a:avLst/>
            </a:prstGeom>
            <a:noFill/>
          </p:spPr>
          <p:txBody>
            <a:bodyPr wrap="none" rtlCol="0">
              <a:spAutoFit/>
            </a:bodyPr>
            <a:lstStyle/>
            <a:p>
              <a:pPr defTabSz="896386">
                <a:defRPr/>
              </a:pPr>
              <a:r>
                <a:rPr lang="en-US" sz="1372" kern="0" dirty="0">
                  <a:solidFill>
                    <a:srgbClr val="FFFFFF"/>
                  </a:solidFill>
                  <a:latin typeface="Segoe UI"/>
                </a:rPr>
                <a:t>15</a:t>
              </a:r>
            </a:p>
          </p:txBody>
        </p:sp>
      </p:grpSp>
      <p:grpSp>
        <p:nvGrpSpPr>
          <p:cNvPr id="71" name="Group 70"/>
          <p:cNvGrpSpPr/>
          <p:nvPr/>
        </p:nvGrpSpPr>
        <p:grpSpPr>
          <a:xfrm>
            <a:off x="928462" y="2737005"/>
            <a:ext cx="1038854" cy="1621938"/>
            <a:chOff x="5529713" y="3032425"/>
            <a:chExt cx="1056938" cy="2012187"/>
          </a:xfrm>
        </p:grpSpPr>
        <p:sp>
          <p:nvSpPr>
            <p:cNvPr id="73" name="Rectangle 17"/>
            <p:cNvSpPr>
              <a:spLocks noChangeArrowheads="1"/>
            </p:cNvSpPr>
            <p:nvPr/>
          </p:nvSpPr>
          <p:spPr bwMode="auto">
            <a:xfrm>
              <a:off x="5619964" y="3195764"/>
              <a:ext cx="876439" cy="1588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defRPr/>
              </a:pPr>
              <a:endParaRPr lang="en-US" sz="1687" kern="0">
                <a:solidFill>
                  <a:sysClr val="windowText" lastClr="000000"/>
                </a:solidFill>
                <a:latin typeface="Calibri" panose="020F0502020204030204"/>
              </a:endParaRPr>
            </a:p>
          </p:txBody>
        </p:sp>
        <p:sp>
          <p:nvSpPr>
            <p:cNvPr id="74" name="Freeform 19"/>
            <p:cNvSpPr>
              <a:spLocks/>
            </p:cNvSpPr>
            <p:nvPr/>
          </p:nvSpPr>
          <p:spPr bwMode="auto">
            <a:xfrm>
              <a:off x="5619964" y="3195764"/>
              <a:ext cx="876439" cy="1588903"/>
            </a:xfrm>
            <a:custGeom>
              <a:avLst/>
              <a:gdLst>
                <a:gd name="T0" fmla="*/ 1379 w 1379"/>
                <a:gd name="T1" fmla="*/ 2500 h 2500"/>
                <a:gd name="T2" fmla="*/ 0 w 1379"/>
                <a:gd name="T3" fmla="*/ 2500 h 2500"/>
                <a:gd name="T4" fmla="*/ 1379 w 1379"/>
                <a:gd name="T5" fmla="*/ 0 h 2500"/>
                <a:gd name="T6" fmla="*/ 1379 w 1379"/>
                <a:gd name="T7" fmla="*/ 2500 h 2500"/>
              </a:gdLst>
              <a:ahLst/>
              <a:cxnLst>
                <a:cxn ang="0">
                  <a:pos x="T0" y="T1"/>
                </a:cxn>
                <a:cxn ang="0">
                  <a:pos x="T2" y="T3"/>
                </a:cxn>
                <a:cxn ang="0">
                  <a:pos x="T4" y="T5"/>
                </a:cxn>
                <a:cxn ang="0">
                  <a:pos x="T6" y="T7"/>
                </a:cxn>
              </a:cxnLst>
              <a:rect l="0" t="0" r="r" b="b"/>
              <a:pathLst>
                <a:path w="1379" h="2500">
                  <a:moveTo>
                    <a:pt x="1379" y="2500"/>
                  </a:moveTo>
                  <a:lnTo>
                    <a:pt x="0" y="2500"/>
                  </a:lnTo>
                  <a:lnTo>
                    <a:pt x="1379" y="0"/>
                  </a:lnTo>
                  <a:lnTo>
                    <a:pt x="1379" y="250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defRPr/>
              </a:pPr>
              <a:endParaRPr lang="en-US" sz="1687" kern="0">
                <a:solidFill>
                  <a:sysClr val="windowText" lastClr="000000"/>
                </a:solidFill>
                <a:latin typeface="Calibri" panose="020F0502020204030204"/>
              </a:endParaRPr>
            </a:p>
          </p:txBody>
        </p:sp>
        <p:grpSp>
          <p:nvGrpSpPr>
            <p:cNvPr id="75" name="Group 74"/>
            <p:cNvGrpSpPr/>
            <p:nvPr/>
          </p:nvGrpSpPr>
          <p:grpSpPr>
            <a:xfrm>
              <a:off x="5529713" y="3032425"/>
              <a:ext cx="1056938" cy="2012187"/>
              <a:chOff x="5529713" y="3032425"/>
              <a:chExt cx="1056938" cy="2012187"/>
            </a:xfrm>
          </p:grpSpPr>
          <p:sp>
            <p:nvSpPr>
              <p:cNvPr id="76" name="Freeform 10"/>
              <p:cNvSpPr>
                <a:spLocks/>
              </p:cNvSpPr>
              <p:nvPr/>
            </p:nvSpPr>
            <p:spPr bwMode="auto">
              <a:xfrm>
                <a:off x="5529713" y="3032425"/>
                <a:ext cx="1056938" cy="2012187"/>
              </a:xfrm>
              <a:custGeom>
                <a:avLst/>
                <a:gdLst>
                  <a:gd name="T0" fmla="*/ 629 w 703"/>
                  <a:gd name="T1" fmla="*/ 0 h 1339"/>
                  <a:gd name="T2" fmla="*/ 74 w 703"/>
                  <a:gd name="T3" fmla="*/ 0 h 1339"/>
                  <a:gd name="T4" fmla="*/ 0 w 703"/>
                  <a:gd name="T5" fmla="*/ 82 h 1339"/>
                  <a:gd name="T6" fmla="*/ 0 w 703"/>
                  <a:gd name="T7" fmla="*/ 1258 h 1339"/>
                  <a:gd name="T8" fmla="*/ 74 w 703"/>
                  <a:gd name="T9" fmla="*/ 1339 h 1339"/>
                  <a:gd name="T10" fmla="*/ 629 w 703"/>
                  <a:gd name="T11" fmla="*/ 1339 h 1339"/>
                  <a:gd name="T12" fmla="*/ 703 w 703"/>
                  <a:gd name="T13" fmla="*/ 1258 h 1339"/>
                  <a:gd name="T14" fmla="*/ 703 w 703"/>
                  <a:gd name="T15" fmla="*/ 82 h 1339"/>
                  <a:gd name="T16" fmla="*/ 629 w 703"/>
                  <a:gd name="T17" fmla="*/ 0 h 1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3" h="1339">
                    <a:moveTo>
                      <a:pt x="629" y="0"/>
                    </a:moveTo>
                    <a:cubicBezTo>
                      <a:pt x="74" y="0"/>
                      <a:pt x="74" y="0"/>
                      <a:pt x="74" y="0"/>
                    </a:cubicBezTo>
                    <a:cubicBezTo>
                      <a:pt x="33" y="0"/>
                      <a:pt x="0" y="37"/>
                      <a:pt x="0" y="82"/>
                    </a:cubicBezTo>
                    <a:cubicBezTo>
                      <a:pt x="0" y="1258"/>
                      <a:pt x="0" y="1258"/>
                      <a:pt x="0" y="1258"/>
                    </a:cubicBezTo>
                    <a:cubicBezTo>
                      <a:pt x="0" y="1303"/>
                      <a:pt x="33" y="1339"/>
                      <a:pt x="74" y="1339"/>
                    </a:cubicBezTo>
                    <a:cubicBezTo>
                      <a:pt x="629" y="1339"/>
                      <a:pt x="629" y="1339"/>
                      <a:pt x="629" y="1339"/>
                    </a:cubicBezTo>
                    <a:cubicBezTo>
                      <a:pt x="670" y="1339"/>
                      <a:pt x="703" y="1303"/>
                      <a:pt x="703" y="1258"/>
                    </a:cubicBezTo>
                    <a:cubicBezTo>
                      <a:pt x="703" y="82"/>
                      <a:pt x="703" y="82"/>
                      <a:pt x="703" y="82"/>
                    </a:cubicBezTo>
                    <a:cubicBezTo>
                      <a:pt x="703" y="37"/>
                      <a:pt x="670" y="0"/>
                      <a:pt x="629" y="0"/>
                    </a:cubicBezTo>
                  </a:path>
                </a:pathLst>
              </a:custGeom>
              <a:solidFill>
                <a:srgbClr val="4454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defRPr/>
                </a:pPr>
                <a:endParaRPr lang="en-US" sz="1687" kern="0">
                  <a:solidFill>
                    <a:sysClr val="windowText" lastClr="000000"/>
                  </a:solidFill>
                  <a:latin typeface="Calibri" panose="020F0502020204030204"/>
                </a:endParaRPr>
              </a:p>
            </p:txBody>
          </p:sp>
          <p:sp>
            <p:nvSpPr>
              <p:cNvPr id="77" name="Oval 11"/>
              <p:cNvSpPr>
                <a:spLocks noChangeArrowheads="1"/>
              </p:cNvSpPr>
              <p:nvPr/>
            </p:nvSpPr>
            <p:spPr bwMode="auto">
              <a:xfrm>
                <a:off x="6348953" y="3071194"/>
                <a:ext cx="66098" cy="68005"/>
              </a:xfrm>
              <a:prstGeom prst="ellipse">
                <a:avLst/>
              </a:prstGeom>
              <a:solidFill>
                <a:srgbClr val="44546A">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defRPr/>
                </a:pPr>
                <a:endParaRPr lang="en-US" sz="1687" kern="0">
                  <a:solidFill>
                    <a:sysClr val="windowText" lastClr="000000"/>
                  </a:solidFill>
                  <a:latin typeface="Calibri" panose="020F0502020204030204"/>
                </a:endParaRPr>
              </a:p>
            </p:txBody>
          </p:sp>
          <p:sp>
            <p:nvSpPr>
              <p:cNvPr id="78" name="Freeform 12"/>
              <p:cNvSpPr>
                <a:spLocks noEditPoints="1"/>
              </p:cNvSpPr>
              <p:nvPr/>
            </p:nvSpPr>
            <p:spPr bwMode="auto">
              <a:xfrm>
                <a:off x="6344504" y="3066745"/>
                <a:ext cx="74996" cy="74996"/>
              </a:xfrm>
              <a:custGeom>
                <a:avLst/>
                <a:gdLst>
                  <a:gd name="T0" fmla="*/ 25 w 50"/>
                  <a:gd name="T1" fmla="*/ 50 h 50"/>
                  <a:gd name="T2" fmla="*/ 0 w 50"/>
                  <a:gd name="T3" fmla="*/ 25 h 50"/>
                  <a:gd name="T4" fmla="*/ 25 w 50"/>
                  <a:gd name="T5" fmla="*/ 0 h 50"/>
                  <a:gd name="T6" fmla="*/ 50 w 50"/>
                  <a:gd name="T7" fmla="*/ 25 h 50"/>
                  <a:gd name="T8" fmla="*/ 25 w 50"/>
                  <a:gd name="T9" fmla="*/ 50 h 50"/>
                  <a:gd name="T10" fmla="*/ 25 w 50"/>
                  <a:gd name="T11" fmla="*/ 6 h 50"/>
                  <a:gd name="T12" fmla="*/ 5 w 50"/>
                  <a:gd name="T13" fmla="*/ 25 h 50"/>
                  <a:gd name="T14" fmla="*/ 25 w 50"/>
                  <a:gd name="T15" fmla="*/ 45 h 50"/>
                  <a:gd name="T16" fmla="*/ 45 w 50"/>
                  <a:gd name="T17" fmla="*/ 25 h 50"/>
                  <a:gd name="T18" fmla="*/ 25 w 50"/>
                  <a:gd name="T19"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25" y="50"/>
                    </a:moveTo>
                    <a:cubicBezTo>
                      <a:pt x="11" y="50"/>
                      <a:pt x="0" y="39"/>
                      <a:pt x="0" y="25"/>
                    </a:cubicBezTo>
                    <a:cubicBezTo>
                      <a:pt x="0" y="11"/>
                      <a:pt x="11" y="0"/>
                      <a:pt x="25" y="0"/>
                    </a:cubicBezTo>
                    <a:cubicBezTo>
                      <a:pt x="39" y="0"/>
                      <a:pt x="50" y="11"/>
                      <a:pt x="50" y="25"/>
                    </a:cubicBezTo>
                    <a:cubicBezTo>
                      <a:pt x="50" y="39"/>
                      <a:pt x="39" y="50"/>
                      <a:pt x="25" y="50"/>
                    </a:cubicBezTo>
                    <a:close/>
                    <a:moveTo>
                      <a:pt x="25" y="6"/>
                    </a:moveTo>
                    <a:cubicBezTo>
                      <a:pt x="14" y="6"/>
                      <a:pt x="5" y="14"/>
                      <a:pt x="5" y="25"/>
                    </a:cubicBezTo>
                    <a:cubicBezTo>
                      <a:pt x="5" y="36"/>
                      <a:pt x="14" y="45"/>
                      <a:pt x="25" y="45"/>
                    </a:cubicBezTo>
                    <a:cubicBezTo>
                      <a:pt x="36" y="45"/>
                      <a:pt x="45" y="36"/>
                      <a:pt x="45" y="25"/>
                    </a:cubicBezTo>
                    <a:cubicBezTo>
                      <a:pt x="45" y="14"/>
                      <a:pt x="36" y="6"/>
                      <a:pt x="25" y="6"/>
                    </a:cubicBezTo>
                    <a:close/>
                  </a:path>
                </a:pathLst>
              </a:custGeom>
              <a:solidFill>
                <a:srgbClr val="44546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defRPr/>
                </a:pPr>
                <a:endParaRPr lang="en-US" sz="1687" kern="0">
                  <a:solidFill>
                    <a:sysClr val="windowText" lastClr="000000"/>
                  </a:solidFill>
                  <a:latin typeface="Calibri" panose="020F0502020204030204"/>
                </a:endParaRPr>
              </a:p>
            </p:txBody>
          </p:sp>
          <p:sp>
            <p:nvSpPr>
              <p:cNvPr id="79" name="Freeform 13"/>
              <p:cNvSpPr>
                <a:spLocks/>
              </p:cNvSpPr>
              <p:nvPr/>
            </p:nvSpPr>
            <p:spPr bwMode="auto">
              <a:xfrm>
                <a:off x="5914865" y="3089625"/>
                <a:ext cx="277740" cy="29871"/>
              </a:xfrm>
              <a:custGeom>
                <a:avLst/>
                <a:gdLst>
                  <a:gd name="T0" fmla="*/ 185 w 185"/>
                  <a:gd name="T1" fmla="*/ 10 h 20"/>
                  <a:gd name="T2" fmla="*/ 175 w 185"/>
                  <a:gd name="T3" fmla="*/ 20 h 20"/>
                  <a:gd name="T4" fmla="*/ 10 w 185"/>
                  <a:gd name="T5" fmla="*/ 20 h 20"/>
                  <a:gd name="T6" fmla="*/ 0 w 185"/>
                  <a:gd name="T7" fmla="*/ 10 h 20"/>
                  <a:gd name="T8" fmla="*/ 10 w 185"/>
                  <a:gd name="T9" fmla="*/ 0 h 20"/>
                  <a:gd name="T10" fmla="*/ 175 w 185"/>
                  <a:gd name="T11" fmla="*/ 0 h 20"/>
                  <a:gd name="T12" fmla="*/ 185 w 185"/>
                  <a:gd name="T13" fmla="*/ 10 h 20"/>
                </a:gdLst>
                <a:ahLst/>
                <a:cxnLst>
                  <a:cxn ang="0">
                    <a:pos x="T0" y="T1"/>
                  </a:cxn>
                  <a:cxn ang="0">
                    <a:pos x="T2" y="T3"/>
                  </a:cxn>
                  <a:cxn ang="0">
                    <a:pos x="T4" y="T5"/>
                  </a:cxn>
                  <a:cxn ang="0">
                    <a:pos x="T6" y="T7"/>
                  </a:cxn>
                  <a:cxn ang="0">
                    <a:pos x="T8" y="T9"/>
                  </a:cxn>
                  <a:cxn ang="0">
                    <a:pos x="T10" y="T11"/>
                  </a:cxn>
                  <a:cxn ang="0">
                    <a:pos x="T12" y="T13"/>
                  </a:cxn>
                </a:cxnLst>
                <a:rect l="0" t="0" r="r" b="b"/>
                <a:pathLst>
                  <a:path w="185" h="20">
                    <a:moveTo>
                      <a:pt x="185" y="10"/>
                    </a:moveTo>
                    <a:cubicBezTo>
                      <a:pt x="185" y="16"/>
                      <a:pt x="181" y="20"/>
                      <a:pt x="175" y="20"/>
                    </a:cubicBezTo>
                    <a:cubicBezTo>
                      <a:pt x="10" y="20"/>
                      <a:pt x="10" y="20"/>
                      <a:pt x="10" y="20"/>
                    </a:cubicBezTo>
                    <a:cubicBezTo>
                      <a:pt x="4" y="20"/>
                      <a:pt x="0" y="16"/>
                      <a:pt x="0" y="10"/>
                    </a:cubicBezTo>
                    <a:cubicBezTo>
                      <a:pt x="0" y="5"/>
                      <a:pt x="4" y="0"/>
                      <a:pt x="10" y="0"/>
                    </a:cubicBezTo>
                    <a:cubicBezTo>
                      <a:pt x="175" y="0"/>
                      <a:pt x="175" y="0"/>
                      <a:pt x="175" y="0"/>
                    </a:cubicBezTo>
                    <a:cubicBezTo>
                      <a:pt x="181" y="0"/>
                      <a:pt x="185" y="5"/>
                      <a:pt x="185" y="10"/>
                    </a:cubicBezTo>
                    <a:close/>
                  </a:path>
                </a:pathLst>
              </a:custGeom>
              <a:solidFill>
                <a:srgbClr val="44546A">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defRPr/>
                </a:pPr>
                <a:endParaRPr lang="en-US" sz="1687" kern="0">
                  <a:solidFill>
                    <a:sysClr val="windowText" lastClr="000000"/>
                  </a:solidFill>
                  <a:latin typeface="Calibri" panose="020F0502020204030204"/>
                </a:endParaRPr>
              </a:p>
            </p:txBody>
          </p:sp>
          <p:sp>
            <p:nvSpPr>
              <p:cNvPr id="80" name="Freeform 14"/>
              <p:cNvSpPr>
                <a:spLocks noEditPoints="1"/>
              </p:cNvSpPr>
              <p:nvPr/>
            </p:nvSpPr>
            <p:spPr bwMode="auto">
              <a:xfrm>
                <a:off x="5910416" y="3086447"/>
                <a:ext cx="286638" cy="37498"/>
              </a:xfrm>
              <a:custGeom>
                <a:avLst/>
                <a:gdLst>
                  <a:gd name="T0" fmla="*/ 178 w 191"/>
                  <a:gd name="T1" fmla="*/ 25 h 25"/>
                  <a:gd name="T2" fmla="*/ 13 w 191"/>
                  <a:gd name="T3" fmla="*/ 25 h 25"/>
                  <a:gd name="T4" fmla="*/ 0 w 191"/>
                  <a:gd name="T5" fmla="*/ 12 h 25"/>
                  <a:gd name="T6" fmla="*/ 13 w 191"/>
                  <a:gd name="T7" fmla="*/ 0 h 25"/>
                  <a:gd name="T8" fmla="*/ 178 w 191"/>
                  <a:gd name="T9" fmla="*/ 0 h 25"/>
                  <a:gd name="T10" fmla="*/ 191 w 191"/>
                  <a:gd name="T11" fmla="*/ 12 h 25"/>
                  <a:gd name="T12" fmla="*/ 178 w 191"/>
                  <a:gd name="T13" fmla="*/ 25 h 25"/>
                  <a:gd name="T14" fmla="*/ 13 w 191"/>
                  <a:gd name="T15" fmla="*/ 5 h 25"/>
                  <a:gd name="T16" fmla="*/ 6 w 191"/>
                  <a:gd name="T17" fmla="*/ 12 h 25"/>
                  <a:gd name="T18" fmla="*/ 13 w 191"/>
                  <a:gd name="T19" fmla="*/ 19 h 25"/>
                  <a:gd name="T20" fmla="*/ 178 w 191"/>
                  <a:gd name="T21" fmla="*/ 19 h 25"/>
                  <a:gd name="T22" fmla="*/ 185 w 191"/>
                  <a:gd name="T23" fmla="*/ 12 h 25"/>
                  <a:gd name="T24" fmla="*/ 178 w 191"/>
                  <a:gd name="T25" fmla="*/ 5 h 25"/>
                  <a:gd name="T26" fmla="*/ 13 w 191"/>
                  <a:gd name="T2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1" h="25">
                    <a:moveTo>
                      <a:pt x="178" y="25"/>
                    </a:moveTo>
                    <a:cubicBezTo>
                      <a:pt x="13" y="25"/>
                      <a:pt x="13" y="25"/>
                      <a:pt x="13" y="25"/>
                    </a:cubicBezTo>
                    <a:cubicBezTo>
                      <a:pt x="6" y="25"/>
                      <a:pt x="0" y="19"/>
                      <a:pt x="0" y="12"/>
                    </a:cubicBezTo>
                    <a:cubicBezTo>
                      <a:pt x="0" y="5"/>
                      <a:pt x="6" y="0"/>
                      <a:pt x="13" y="0"/>
                    </a:cubicBezTo>
                    <a:cubicBezTo>
                      <a:pt x="178" y="0"/>
                      <a:pt x="178" y="0"/>
                      <a:pt x="178" y="0"/>
                    </a:cubicBezTo>
                    <a:cubicBezTo>
                      <a:pt x="185" y="0"/>
                      <a:pt x="191" y="5"/>
                      <a:pt x="191" y="12"/>
                    </a:cubicBezTo>
                    <a:cubicBezTo>
                      <a:pt x="191" y="19"/>
                      <a:pt x="185" y="25"/>
                      <a:pt x="178" y="25"/>
                    </a:cubicBezTo>
                    <a:close/>
                    <a:moveTo>
                      <a:pt x="13" y="5"/>
                    </a:moveTo>
                    <a:cubicBezTo>
                      <a:pt x="9" y="5"/>
                      <a:pt x="6" y="8"/>
                      <a:pt x="6" y="12"/>
                    </a:cubicBezTo>
                    <a:cubicBezTo>
                      <a:pt x="6" y="16"/>
                      <a:pt x="9" y="19"/>
                      <a:pt x="13" y="19"/>
                    </a:cubicBezTo>
                    <a:cubicBezTo>
                      <a:pt x="178" y="19"/>
                      <a:pt x="178" y="19"/>
                      <a:pt x="178" y="19"/>
                    </a:cubicBezTo>
                    <a:cubicBezTo>
                      <a:pt x="182" y="19"/>
                      <a:pt x="185" y="16"/>
                      <a:pt x="185" y="12"/>
                    </a:cubicBezTo>
                    <a:cubicBezTo>
                      <a:pt x="185" y="8"/>
                      <a:pt x="182" y="5"/>
                      <a:pt x="178" y="5"/>
                    </a:cubicBezTo>
                    <a:lnTo>
                      <a:pt x="13" y="5"/>
                    </a:lnTo>
                    <a:close/>
                  </a:path>
                </a:pathLst>
              </a:custGeom>
              <a:solidFill>
                <a:srgbClr val="44546A">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defRPr/>
                </a:pPr>
                <a:endParaRPr lang="en-US" sz="1687" kern="0">
                  <a:solidFill>
                    <a:sysClr val="windowText" lastClr="000000"/>
                  </a:solidFill>
                  <a:latin typeface="Calibri" panose="020F0502020204030204"/>
                </a:endParaRPr>
              </a:p>
            </p:txBody>
          </p:sp>
          <p:sp>
            <p:nvSpPr>
              <p:cNvPr id="81" name="Oval 15"/>
              <p:cNvSpPr>
                <a:spLocks noChangeArrowheads="1"/>
              </p:cNvSpPr>
              <p:nvPr/>
            </p:nvSpPr>
            <p:spPr bwMode="auto">
              <a:xfrm>
                <a:off x="6362935" y="3084541"/>
                <a:ext cx="38769" cy="39405"/>
              </a:xfrm>
              <a:prstGeom prst="ellipse">
                <a:avLst/>
              </a:prstGeom>
              <a:solidFill>
                <a:srgbClr val="44546A">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defRPr/>
                </a:pPr>
                <a:endParaRPr lang="en-US" sz="1687" kern="0">
                  <a:solidFill>
                    <a:sysClr val="windowText" lastClr="000000"/>
                  </a:solidFill>
                  <a:latin typeface="Calibri" panose="020F0502020204030204"/>
                </a:endParaRPr>
              </a:p>
            </p:txBody>
          </p:sp>
          <p:sp>
            <p:nvSpPr>
              <p:cNvPr id="82" name="Rectangle 16"/>
              <p:cNvSpPr>
                <a:spLocks noChangeArrowheads="1"/>
              </p:cNvSpPr>
              <p:nvPr/>
            </p:nvSpPr>
            <p:spPr bwMode="auto">
              <a:xfrm>
                <a:off x="5619964" y="3195764"/>
                <a:ext cx="876439" cy="1588903"/>
              </a:xfrm>
              <a:prstGeom prst="rect">
                <a:avLst/>
              </a:prstGeom>
              <a:solidFill>
                <a:srgbClr val="44546A">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defRPr/>
                </a:pPr>
                <a:endParaRPr lang="en-US" sz="1687" kern="0">
                  <a:solidFill>
                    <a:sysClr val="windowText" lastClr="000000"/>
                  </a:solidFill>
                  <a:latin typeface="Calibri" panose="020F0502020204030204"/>
                </a:endParaRPr>
              </a:p>
            </p:txBody>
          </p:sp>
          <p:sp>
            <p:nvSpPr>
              <p:cNvPr id="83" name="Freeform 18"/>
              <p:cNvSpPr>
                <a:spLocks/>
              </p:cNvSpPr>
              <p:nvPr/>
            </p:nvSpPr>
            <p:spPr bwMode="auto">
              <a:xfrm>
                <a:off x="5619964" y="3195764"/>
                <a:ext cx="876439" cy="1588903"/>
              </a:xfrm>
              <a:custGeom>
                <a:avLst/>
                <a:gdLst>
                  <a:gd name="T0" fmla="*/ 1379 w 1379"/>
                  <a:gd name="T1" fmla="*/ 2500 h 2500"/>
                  <a:gd name="T2" fmla="*/ 0 w 1379"/>
                  <a:gd name="T3" fmla="*/ 2500 h 2500"/>
                  <a:gd name="T4" fmla="*/ 1379 w 1379"/>
                  <a:gd name="T5" fmla="*/ 0 h 2500"/>
                  <a:gd name="T6" fmla="*/ 1379 w 1379"/>
                  <a:gd name="T7" fmla="*/ 2500 h 2500"/>
                </a:gdLst>
                <a:ahLst/>
                <a:cxnLst>
                  <a:cxn ang="0">
                    <a:pos x="T0" y="T1"/>
                  </a:cxn>
                  <a:cxn ang="0">
                    <a:pos x="T2" y="T3"/>
                  </a:cxn>
                  <a:cxn ang="0">
                    <a:pos x="T4" y="T5"/>
                  </a:cxn>
                  <a:cxn ang="0">
                    <a:pos x="T6" y="T7"/>
                  </a:cxn>
                </a:cxnLst>
                <a:rect l="0" t="0" r="r" b="b"/>
                <a:pathLst>
                  <a:path w="1379" h="2500">
                    <a:moveTo>
                      <a:pt x="1379" y="2500"/>
                    </a:moveTo>
                    <a:lnTo>
                      <a:pt x="0" y="2500"/>
                    </a:lnTo>
                    <a:lnTo>
                      <a:pt x="1379" y="0"/>
                    </a:lnTo>
                    <a:lnTo>
                      <a:pt x="1379" y="2500"/>
                    </a:lnTo>
                    <a:close/>
                  </a:path>
                </a:pathLst>
              </a:custGeom>
              <a:solidFill>
                <a:srgbClr val="44546A">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defRPr/>
                </a:pPr>
                <a:endParaRPr lang="en-US" sz="1687" kern="0">
                  <a:solidFill>
                    <a:sysClr val="windowText" lastClr="000000"/>
                  </a:solidFill>
                  <a:latin typeface="Calibri" panose="020F0502020204030204"/>
                </a:endParaRPr>
              </a:p>
            </p:txBody>
          </p:sp>
          <p:sp>
            <p:nvSpPr>
              <p:cNvPr id="84" name="Freeform 20"/>
              <p:cNvSpPr>
                <a:spLocks noEditPoints="1"/>
              </p:cNvSpPr>
              <p:nvPr/>
            </p:nvSpPr>
            <p:spPr bwMode="auto">
              <a:xfrm>
                <a:off x="5976514" y="4829792"/>
                <a:ext cx="162068" cy="162068"/>
              </a:xfrm>
              <a:custGeom>
                <a:avLst/>
                <a:gdLst>
                  <a:gd name="T0" fmla="*/ 54 w 108"/>
                  <a:gd name="T1" fmla="*/ 108 h 108"/>
                  <a:gd name="T2" fmla="*/ 0 w 108"/>
                  <a:gd name="T3" fmla="*/ 54 h 108"/>
                  <a:gd name="T4" fmla="*/ 54 w 108"/>
                  <a:gd name="T5" fmla="*/ 0 h 108"/>
                  <a:gd name="T6" fmla="*/ 108 w 108"/>
                  <a:gd name="T7" fmla="*/ 54 h 108"/>
                  <a:gd name="T8" fmla="*/ 54 w 108"/>
                  <a:gd name="T9" fmla="*/ 108 h 108"/>
                  <a:gd name="T10" fmla="*/ 54 w 108"/>
                  <a:gd name="T11" fmla="*/ 5 h 108"/>
                  <a:gd name="T12" fmla="*/ 6 w 108"/>
                  <a:gd name="T13" fmla="*/ 54 h 108"/>
                  <a:gd name="T14" fmla="*/ 54 w 108"/>
                  <a:gd name="T15" fmla="*/ 103 h 108"/>
                  <a:gd name="T16" fmla="*/ 103 w 108"/>
                  <a:gd name="T17" fmla="*/ 54 h 108"/>
                  <a:gd name="T18" fmla="*/ 54 w 108"/>
                  <a:gd name="T19" fmla="*/ 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54" y="108"/>
                    </a:moveTo>
                    <a:cubicBezTo>
                      <a:pt x="25" y="108"/>
                      <a:pt x="0" y="84"/>
                      <a:pt x="0" y="54"/>
                    </a:cubicBezTo>
                    <a:cubicBezTo>
                      <a:pt x="0" y="24"/>
                      <a:pt x="25" y="0"/>
                      <a:pt x="54" y="0"/>
                    </a:cubicBezTo>
                    <a:cubicBezTo>
                      <a:pt x="84" y="0"/>
                      <a:pt x="108" y="24"/>
                      <a:pt x="108" y="54"/>
                    </a:cubicBezTo>
                    <a:cubicBezTo>
                      <a:pt x="108" y="84"/>
                      <a:pt x="84" y="108"/>
                      <a:pt x="54" y="108"/>
                    </a:cubicBezTo>
                    <a:close/>
                    <a:moveTo>
                      <a:pt x="54" y="5"/>
                    </a:moveTo>
                    <a:cubicBezTo>
                      <a:pt x="28" y="5"/>
                      <a:pt x="6" y="27"/>
                      <a:pt x="6" y="54"/>
                    </a:cubicBezTo>
                    <a:cubicBezTo>
                      <a:pt x="6" y="81"/>
                      <a:pt x="28" y="103"/>
                      <a:pt x="54" y="103"/>
                    </a:cubicBezTo>
                    <a:cubicBezTo>
                      <a:pt x="81" y="103"/>
                      <a:pt x="103" y="81"/>
                      <a:pt x="103" y="54"/>
                    </a:cubicBezTo>
                    <a:cubicBezTo>
                      <a:pt x="103" y="27"/>
                      <a:pt x="81" y="5"/>
                      <a:pt x="54" y="5"/>
                    </a:cubicBezTo>
                    <a:close/>
                  </a:path>
                </a:pathLst>
              </a:custGeom>
              <a:solidFill>
                <a:srgbClr val="44546A">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13" tIns="42857" rIns="85713" bIns="42857" numCol="1" anchor="t" anchorCtr="0" compatLnSpc="1">
                <a:prstTxWarp prst="textNoShape">
                  <a:avLst/>
                </a:prstTxWarp>
              </a:bodyPr>
              <a:lstStyle/>
              <a:p>
                <a:pPr defTabSz="857124">
                  <a:defRPr/>
                </a:pPr>
                <a:endParaRPr lang="en-US" sz="1687" kern="0">
                  <a:solidFill>
                    <a:sysClr val="windowText" lastClr="000000"/>
                  </a:solidFill>
                  <a:latin typeface="Calibri" panose="020F0502020204030204"/>
                </a:endParaRPr>
              </a:p>
            </p:txBody>
          </p:sp>
          <p:sp>
            <p:nvSpPr>
              <p:cNvPr id="85" name="Rectangle 21"/>
              <p:cNvSpPr>
                <a:spLocks noChangeArrowheads="1"/>
              </p:cNvSpPr>
              <p:nvPr/>
            </p:nvSpPr>
            <p:spPr bwMode="auto">
              <a:xfrm>
                <a:off x="5619964" y="4656919"/>
                <a:ext cx="291723" cy="127748"/>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defRPr/>
                </a:pPr>
                <a:endParaRPr lang="en-US" sz="1687" kern="0">
                  <a:solidFill>
                    <a:sysClr val="windowText" lastClr="000000"/>
                  </a:solidFill>
                  <a:latin typeface="Calibri" panose="020F0502020204030204"/>
                </a:endParaRPr>
              </a:p>
            </p:txBody>
          </p:sp>
          <p:sp>
            <p:nvSpPr>
              <p:cNvPr id="86" name="Rectangle 22"/>
              <p:cNvSpPr>
                <a:spLocks noChangeArrowheads="1"/>
              </p:cNvSpPr>
              <p:nvPr/>
            </p:nvSpPr>
            <p:spPr bwMode="auto">
              <a:xfrm>
                <a:off x="5911687" y="4656919"/>
                <a:ext cx="292994" cy="127748"/>
              </a:xfrm>
              <a:prstGeom prst="rect">
                <a:avLst/>
              </a:prstGeom>
              <a:solidFill>
                <a:srgbClr val="ED7D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defRPr/>
                </a:pPr>
                <a:endParaRPr lang="en-US" sz="1687" kern="0">
                  <a:solidFill>
                    <a:sysClr val="windowText" lastClr="000000"/>
                  </a:solidFill>
                  <a:latin typeface="Calibri" panose="020F0502020204030204"/>
                </a:endParaRPr>
              </a:p>
            </p:txBody>
          </p:sp>
          <p:sp>
            <p:nvSpPr>
              <p:cNvPr id="87" name="Rectangle 23"/>
              <p:cNvSpPr>
                <a:spLocks noChangeArrowheads="1"/>
              </p:cNvSpPr>
              <p:nvPr/>
            </p:nvSpPr>
            <p:spPr bwMode="auto">
              <a:xfrm>
                <a:off x="5911687" y="4656919"/>
                <a:ext cx="292994" cy="127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defRPr/>
                </a:pPr>
                <a:endParaRPr lang="en-US" sz="1687" kern="0">
                  <a:solidFill>
                    <a:sysClr val="windowText" lastClr="000000"/>
                  </a:solidFill>
                  <a:latin typeface="Calibri" panose="020F0502020204030204"/>
                </a:endParaRPr>
              </a:p>
            </p:txBody>
          </p:sp>
          <p:sp>
            <p:nvSpPr>
              <p:cNvPr id="88" name="Rectangle 24"/>
              <p:cNvSpPr>
                <a:spLocks noChangeArrowheads="1"/>
              </p:cNvSpPr>
              <p:nvPr/>
            </p:nvSpPr>
            <p:spPr bwMode="auto">
              <a:xfrm>
                <a:off x="6204680" y="4656919"/>
                <a:ext cx="291723" cy="127748"/>
              </a:xfrm>
              <a:prstGeom prst="rect">
                <a:avLst/>
              </a:prstGeom>
              <a:solidFill>
                <a:srgbClr val="4472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defRPr/>
                </a:pPr>
                <a:endParaRPr lang="en-US" sz="1687" kern="0">
                  <a:solidFill>
                    <a:sysClr val="windowText" lastClr="000000"/>
                  </a:solidFill>
                  <a:latin typeface="Calibri" panose="020F0502020204030204"/>
                </a:endParaRPr>
              </a:p>
            </p:txBody>
          </p:sp>
          <p:sp>
            <p:nvSpPr>
              <p:cNvPr id="89" name="Rectangle 25"/>
              <p:cNvSpPr>
                <a:spLocks noChangeArrowheads="1"/>
              </p:cNvSpPr>
              <p:nvPr/>
            </p:nvSpPr>
            <p:spPr bwMode="auto">
              <a:xfrm>
                <a:off x="6204680" y="4656919"/>
                <a:ext cx="291723" cy="127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5713" tIns="42857" rIns="85713" bIns="42857" numCol="1" anchor="t" anchorCtr="0" compatLnSpc="1">
                <a:prstTxWarp prst="textNoShape">
                  <a:avLst/>
                </a:prstTxWarp>
              </a:bodyPr>
              <a:lstStyle/>
              <a:p>
                <a:pPr defTabSz="857124">
                  <a:defRPr/>
                </a:pPr>
                <a:endParaRPr lang="en-US" sz="1687" kern="0">
                  <a:solidFill>
                    <a:sysClr val="windowText" lastClr="000000"/>
                  </a:solidFill>
                  <a:latin typeface="Calibri" panose="020F0502020204030204"/>
                </a:endParaRPr>
              </a:p>
            </p:txBody>
          </p:sp>
        </p:grpSp>
      </p:grpSp>
      <p:cxnSp>
        <p:nvCxnSpPr>
          <p:cNvPr id="91" name="Straight Arrow Connector 90"/>
          <p:cNvCxnSpPr/>
          <p:nvPr/>
        </p:nvCxnSpPr>
        <p:spPr>
          <a:xfrm flipV="1">
            <a:off x="4556848" y="2868666"/>
            <a:ext cx="2481679" cy="297799"/>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p:nvPr/>
        </p:nvCxnSpPr>
        <p:spPr>
          <a:xfrm>
            <a:off x="4570803" y="3621048"/>
            <a:ext cx="2635230" cy="264067"/>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a:off x="4377852" y="4008824"/>
            <a:ext cx="2563373" cy="655296"/>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1" name="Straight Arrow Connector 110"/>
          <p:cNvCxnSpPr/>
          <p:nvPr/>
        </p:nvCxnSpPr>
        <p:spPr>
          <a:xfrm>
            <a:off x="2096294" y="3565280"/>
            <a:ext cx="862219" cy="7363"/>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3" name="TextBox 112"/>
          <p:cNvSpPr txBox="1"/>
          <p:nvPr/>
        </p:nvSpPr>
        <p:spPr>
          <a:xfrm>
            <a:off x="34412" y="5970589"/>
            <a:ext cx="12190271" cy="838532"/>
          </a:xfrm>
          <a:prstGeom prst="rect">
            <a:avLst/>
          </a:prstGeom>
          <a:noFill/>
        </p:spPr>
        <p:txBody>
          <a:bodyPr wrap="square" lIns="182854" tIns="146284" rIns="182854" bIns="146284" rtlCol="0">
            <a:spAutoFit/>
          </a:bodyPr>
          <a:lstStyle/>
          <a:p>
            <a:pPr algn="ctr" defTabSz="914367">
              <a:lnSpc>
                <a:spcPct val="90000"/>
              </a:lnSpc>
              <a:spcAft>
                <a:spcPts val="600"/>
              </a:spcAft>
            </a:pPr>
            <a:r>
              <a:rPr lang="en-US" sz="3921" dirty="0">
                <a:solidFill>
                  <a:srgbClr val="FFFFFF"/>
                </a:solidFill>
                <a:latin typeface="Segoe UI Light"/>
              </a:rPr>
              <a:t>Who Wants to Have 3-5 Different Backend Databases?</a:t>
            </a:r>
          </a:p>
        </p:txBody>
      </p:sp>
      <p:pic>
        <p:nvPicPr>
          <p:cNvPr id="48" name="Picture 2" descr="https://azure.microsoft.com/svghandler/cosmos-db/?width=600&amp;height=315">
            <a:extLst>
              <a:ext uri="{FF2B5EF4-FFF2-40B4-BE49-F238E27FC236}">
                <a16:creationId xmlns:a16="http://schemas.microsoft.com/office/drawing/2014/main" id="{E1E9E9AE-CF90-4C4C-B21B-B78875AF7EB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48801" y="3092873"/>
            <a:ext cx="1968728" cy="10335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58608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4079044" y="233756"/>
            <a:ext cx="7571301" cy="3546159"/>
          </a:xfrm>
          <a:prstGeom prst="rect">
            <a:avLst/>
          </a:prstGeom>
          <a:solidFill>
            <a:srgbClr val="000000">
              <a:alpha val="77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716" rIns="0" bIns="43716" numCol="1" rtlCol="0" anchor="ctr" anchorCtr="0" compatLnSpc="1">
            <a:prstTxWarp prst="textNoShape">
              <a:avLst/>
            </a:prstTxWarp>
          </a:bodyPr>
          <a:lstStyle/>
          <a:p>
            <a:pPr algn="ctr" defTabSz="874065" fontAlgn="base">
              <a:spcBef>
                <a:spcPct val="0"/>
              </a:spcBef>
              <a:spcAft>
                <a:spcPct val="0"/>
              </a:spcAft>
            </a:pPr>
            <a:endParaRPr lang="en-US" sz="1874" dirty="0">
              <a:solidFill>
                <a:prstClr val="white"/>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6" name="Title 5"/>
          <p:cNvSpPr>
            <a:spLocks noGrp="1"/>
          </p:cNvSpPr>
          <p:nvPr>
            <p:ph type="title"/>
          </p:nvPr>
        </p:nvSpPr>
        <p:spPr>
          <a:xfrm>
            <a:off x="194537" y="466771"/>
            <a:ext cx="11802927" cy="974774"/>
          </a:xfrm>
        </p:spPr>
        <p:txBody>
          <a:bodyPr>
            <a:noAutofit/>
          </a:bodyPr>
          <a:lstStyle/>
          <a:p>
            <a:pPr algn="ctr"/>
            <a:r>
              <a:rPr lang="en-US" sz="5882" spc="-281" dirty="0">
                <a:solidFill>
                  <a:schemeClr val="bg1"/>
                </a:solidFill>
                <a:latin typeface="Segoe UI Light" panose="020B0502040204020203" pitchFamily="34" charset="0"/>
                <a:ea typeface="Segoe UI Black" panose="020B0A02040204020203" pitchFamily="34" charset="0"/>
                <a:cs typeface="Segoe UI Light" panose="020B0502040204020203" pitchFamily="34" charset="0"/>
              </a:rPr>
              <a:t>Native Support for Multiple Data Models</a:t>
            </a:r>
          </a:p>
        </p:txBody>
      </p:sp>
      <p:sp>
        <p:nvSpPr>
          <p:cNvPr id="2" name="Content Placeholder 1"/>
          <p:cNvSpPr>
            <a:spLocks noGrp="1"/>
          </p:cNvSpPr>
          <p:nvPr>
            <p:ph idx="1"/>
          </p:nvPr>
        </p:nvSpPr>
        <p:spPr>
          <a:xfrm>
            <a:off x="941558" y="1819262"/>
            <a:ext cx="10531171" cy="2338371"/>
          </a:xfrm>
          <a:noFill/>
        </p:spPr>
        <p:txBody>
          <a:bodyPr>
            <a:normAutofit fontScale="62500" lnSpcReduction="20000"/>
          </a:bodyPr>
          <a:lstStyle/>
          <a:p>
            <a:pPr lvl="0"/>
            <a:r>
              <a:rPr lang="en-US" sz="4313" dirty="0">
                <a:solidFill>
                  <a:schemeClr val="bg1"/>
                </a:solidFill>
                <a:latin typeface="Segoe UI Light" panose="020B0502040204020203" pitchFamily="34" charset="0"/>
                <a:cs typeface="Segoe UI Light" panose="020B0502040204020203" pitchFamily="34" charset="0"/>
              </a:rPr>
              <a:t>Database engine operates on </a:t>
            </a:r>
            <a:r>
              <a:rPr lang="en-US" sz="4313" dirty="0">
                <a:solidFill>
                  <a:srgbClr val="92D050"/>
                </a:solidFill>
                <a:latin typeface="Segoe UI Light" panose="020B0502040204020203" pitchFamily="34" charset="0"/>
                <a:cs typeface="Segoe UI Light" panose="020B0502040204020203" pitchFamily="34" charset="0"/>
              </a:rPr>
              <a:t>atom-record-sequence (ARS)</a:t>
            </a:r>
            <a:r>
              <a:rPr lang="en-US" sz="4313" dirty="0">
                <a:solidFill>
                  <a:schemeClr val="bg1"/>
                </a:solidFill>
                <a:latin typeface="Segoe UI Light" panose="020B0502040204020203" pitchFamily="34" charset="0"/>
                <a:cs typeface="Segoe UI Light" panose="020B0502040204020203" pitchFamily="34" charset="0"/>
              </a:rPr>
              <a:t> based type system</a:t>
            </a:r>
          </a:p>
          <a:p>
            <a:pPr lvl="1"/>
            <a:r>
              <a:rPr lang="en-US" sz="3529" dirty="0">
                <a:solidFill>
                  <a:schemeClr val="bg1"/>
                </a:solidFill>
                <a:latin typeface="Segoe UI Light" panose="020B0502040204020203" pitchFamily="34" charset="0"/>
                <a:cs typeface="Segoe UI Light" panose="020B0502040204020203" pitchFamily="34" charset="0"/>
              </a:rPr>
              <a:t>All data models are </a:t>
            </a:r>
            <a:r>
              <a:rPr lang="en-US" sz="3529" b="1" dirty="0">
                <a:solidFill>
                  <a:schemeClr val="bg1"/>
                </a:solidFill>
                <a:latin typeface="Segoe UI Light" panose="020B0502040204020203" pitchFamily="34" charset="0"/>
                <a:cs typeface="Segoe UI Light" panose="020B0502040204020203" pitchFamily="34" charset="0"/>
              </a:rPr>
              <a:t>efficiently</a:t>
            </a:r>
            <a:r>
              <a:rPr lang="en-US" sz="3529" dirty="0">
                <a:solidFill>
                  <a:schemeClr val="bg1"/>
                </a:solidFill>
                <a:latin typeface="Segoe UI Light" panose="020B0502040204020203" pitchFamily="34" charset="0"/>
                <a:cs typeface="Segoe UI Light" panose="020B0502040204020203" pitchFamily="34" charset="0"/>
              </a:rPr>
              <a:t> translated to ARS</a:t>
            </a:r>
          </a:p>
          <a:p>
            <a:pPr lvl="0"/>
            <a:r>
              <a:rPr lang="en-US" sz="4313" dirty="0">
                <a:solidFill>
                  <a:srgbClr val="92D050"/>
                </a:solidFill>
                <a:latin typeface="Segoe UI Light" panose="020B0502040204020203" pitchFamily="34" charset="0"/>
                <a:cs typeface="Segoe UI Light" panose="020B0502040204020203" pitchFamily="34" charset="0"/>
              </a:rPr>
              <a:t>API</a:t>
            </a:r>
            <a:r>
              <a:rPr lang="en-US" sz="4313" dirty="0">
                <a:solidFill>
                  <a:schemeClr val="bg1"/>
                </a:solidFill>
                <a:latin typeface="Segoe UI Light" panose="020B0502040204020203" pitchFamily="34" charset="0"/>
                <a:cs typeface="Segoe UI Light" panose="020B0502040204020203" pitchFamily="34" charset="0"/>
              </a:rPr>
              <a:t> and </a:t>
            </a:r>
            <a:r>
              <a:rPr lang="en-US" sz="4313" dirty="0">
                <a:solidFill>
                  <a:srgbClr val="92D050"/>
                </a:solidFill>
                <a:latin typeface="Segoe UI Light" panose="020B0502040204020203" pitchFamily="34" charset="0"/>
                <a:cs typeface="Segoe UI Light" panose="020B0502040204020203" pitchFamily="34" charset="0"/>
              </a:rPr>
              <a:t>wire protocols </a:t>
            </a:r>
            <a:r>
              <a:rPr lang="en-US" sz="4313" dirty="0">
                <a:solidFill>
                  <a:schemeClr val="bg1"/>
                </a:solidFill>
                <a:latin typeface="Segoe UI Light" panose="020B0502040204020203" pitchFamily="34" charset="0"/>
                <a:cs typeface="Segoe UI Light" panose="020B0502040204020203" pitchFamily="34" charset="0"/>
              </a:rPr>
              <a:t>are supported via extensible modules</a:t>
            </a:r>
          </a:p>
          <a:p>
            <a:pPr lvl="0"/>
            <a:r>
              <a:rPr lang="en-US" sz="4313" dirty="0">
                <a:solidFill>
                  <a:schemeClr val="bg1"/>
                </a:solidFill>
                <a:latin typeface="Segoe UI Light" panose="020B0502040204020203" pitchFamily="34" charset="0"/>
                <a:cs typeface="Segoe UI Light" panose="020B0502040204020203" pitchFamily="34" charset="0"/>
              </a:rPr>
              <a:t>Instance of a given data model can be materialized as </a:t>
            </a:r>
            <a:r>
              <a:rPr lang="en-US" sz="4313" dirty="0">
                <a:solidFill>
                  <a:srgbClr val="92D050"/>
                </a:solidFill>
                <a:latin typeface="Segoe UI Light" panose="020B0502040204020203" pitchFamily="34" charset="0"/>
                <a:cs typeface="Segoe UI Light" panose="020B0502040204020203" pitchFamily="34" charset="0"/>
              </a:rPr>
              <a:t>trees</a:t>
            </a:r>
          </a:p>
          <a:p>
            <a:pPr lvl="0"/>
            <a:r>
              <a:rPr lang="en-US" sz="4313" dirty="0">
                <a:solidFill>
                  <a:schemeClr val="bg1"/>
                </a:solidFill>
                <a:latin typeface="Segoe UI Light" panose="020B0502040204020203" pitchFamily="34" charset="0"/>
                <a:cs typeface="Segoe UI Light" panose="020B0502040204020203" pitchFamily="34" charset="0"/>
              </a:rPr>
              <a:t>Graph, documents, key-value, column-family, … </a:t>
            </a:r>
            <a:r>
              <a:rPr lang="en-US" sz="4313" i="1" dirty="0">
                <a:solidFill>
                  <a:srgbClr val="92D050"/>
                </a:solidFill>
                <a:latin typeface="Segoe UI Light" panose="020B0502040204020203" pitchFamily="34" charset="0"/>
                <a:cs typeface="Segoe UI Light" panose="020B0502040204020203" pitchFamily="34" charset="0"/>
              </a:rPr>
              <a:t>more to come</a:t>
            </a:r>
          </a:p>
          <a:p>
            <a:pPr marL="262575" indent="-262575" defTabSz="840239"/>
            <a:endParaRPr lang="en-US" sz="2250" kern="0" dirty="0">
              <a:solidFill>
                <a:schemeClr val="bg1"/>
              </a:solidFill>
              <a:latin typeface="Segoe UI Light" panose="020B0502040204020203" pitchFamily="34" charset="0"/>
              <a:cs typeface="Segoe UI Light" panose="020B0502040204020203" pitchFamily="34" charset="0"/>
            </a:endParaRPr>
          </a:p>
        </p:txBody>
      </p:sp>
      <p:grpSp>
        <p:nvGrpSpPr>
          <p:cNvPr id="5" name="Group 4"/>
          <p:cNvGrpSpPr/>
          <p:nvPr/>
        </p:nvGrpSpPr>
        <p:grpSpPr>
          <a:xfrm>
            <a:off x="1848307" y="4685621"/>
            <a:ext cx="1419925" cy="1329769"/>
            <a:chOff x="6320820" y="3015862"/>
            <a:chExt cx="1420126" cy="1329958"/>
          </a:xfrm>
        </p:grpSpPr>
        <p:cxnSp>
          <p:nvCxnSpPr>
            <p:cNvPr id="7" name="Straight Connector 6"/>
            <p:cNvCxnSpPr>
              <a:cxnSpLocks/>
            </p:cNvCxnSpPr>
            <p:nvPr/>
          </p:nvCxnSpPr>
          <p:spPr>
            <a:xfrm>
              <a:off x="6572187" y="3141543"/>
              <a:ext cx="928793" cy="0"/>
            </a:xfrm>
            <a:prstGeom prst="line">
              <a:avLst/>
            </a:prstGeom>
            <a:noFill/>
            <a:ln w="38100" cap="flat" cmpd="sng" algn="ctr">
              <a:solidFill>
                <a:srgbClr val="59B4D9"/>
              </a:solidFill>
              <a:prstDash val="sysDot"/>
              <a:miter lim="800000"/>
              <a:headEnd type="none"/>
              <a:tailEnd type="none"/>
            </a:ln>
            <a:effectLst/>
          </p:spPr>
        </p:cxnSp>
        <p:sp>
          <p:nvSpPr>
            <p:cNvPr id="8" name="Oval 7"/>
            <p:cNvSpPr/>
            <p:nvPr/>
          </p:nvSpPr>
          <p:spPr bwMode="auto">
            <a:xfrm>
              <a:off x="6320820" y="3015863"/>
              <a:ext cx="251367" cy="251367"/>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 name="Circle: Hollow 67"/>
            <p:cNvSpPr/>
            <p:nvPr/>
          </p:nvSpPr>
          <p:spPr bwMode="auto">
            <a:xfrm>
              <a:off x="7489581" y="3015862"/>
              <a:ext cx="251365" cy="251365"/>
            </a:xfrm>
            <a:prstGeom prst="donut">
              <a:avLst/>
            </a:prstGeom>
            <a:solidFill>
              <a:srgbClr val="B8D432"/>
            </a:solidFill>
            <a:ln w="38100"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10" name="Straight Connector 9"/>
            <p:cNvCxnSpPr>
              <a:cxnSpLocks/>
            </p:cNvCxnSpPr>
            <p:nvPr/>
          </p:nvCxnSpPr>
          <p:spPr>
            <a:xfrm>
              <a:off x="6572187" y="3474055"/>
              <a:ext cx="928793" cy="0"/>
            </a:xfrm>
            <a:prstGeom prst="line">
              <a:avLst/>
            </a:prstGeom>
            <a:noFill/>
            <a:ln w="38100" cap="flat" cmpd="sng" algn="ctr">
              <a:solidFill>
                <a:srgbClr val="59B4D9"/>
              </a:solidFill>
              <a:prstDash val="sysDot"/>
              <a:miter lim="800000"/>
              <a:headEnd type="none"/>
              <a:tailEnd type="none"/>
            </a:ln>
            <a:effectLst/>
          </p:spPr>
        </p:cxnSp>
        <p:sp>
          <p:nvSpPr>
            <p:cNvPr id="11" name="Oval 10"/>
            <p:cNvSpPr/>
            <p:nvPr/>
          </p:nvSpPr>
          <p:spPr bwMode="auto">
            <a:xfrm>
              <a:off x="6320820" y="3348374"/>
              <a:ext cx="251367" cy="251367"/>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 name="Circle: Hollow 70"/>
            <p:cNvSpPr/>
            <p:nvPr/>
          </p:nvSpPr>
          <p:spPr bwMode="auto">
            <a:xfrm>
              <a:off x="7489581" y="3348373"/>
              <a:ext cx="251365" cy="251365"/>
            </a:xfrm>
            <a:prstGeom prst="donut">
              <a:avLst/>
            </a:prstGeom>
            <a:solidFill>
              <a:srgbClr val="B8D432"/>
            </a:solidFill>
            <a:ln w="38100"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13" name="Straight Connector 12"/>
            <p:cNvCxnSpPr>
              <a:cxnSpLocks/>
            </p:cNvCxnSpPr>
            <p:nvPr/>
          </p:nvCxnSpPr>
          <p:spPr>
            <a:xfrm>
              <a:off x="6572187" y="3816580"/>
              <a:ext cx="928793" cy="0"/>
            </a:xfrm>
            <a:prstGeom prst="line">
              <a:avLst/>
            </a:prstGeom>
            <a:noFill/>
            <a:ln w="38100" cap="flat" cmpd="sng" algn="ctr">
              <a:solidFill>
                <a:srgbClr val="59B4D9"/>
              </a:solidFill>
              <a:prstDash val="sysDot"/>
              <a:miter lim="800000"/>
              <a:headEnd type="none"/>
              <a:tailEnd type="none"/>
            </a:ln>
            <a:effectLst/>
          </p:spPr>
        </p:cxnSp>
        <p:sp>
          <p:nvSpPr>
            <p:cNvPr id="14" name="Oval 13"/>
            <p:cNvSpPr/>
            <p:nvPr/>
          </p:nvSpPr>
          <p:spPr bwMode="auto">
            <a:xfrm>
              <a:off x="6320820" y="3690898"/>
              <a:ext cx="251367" cy="251367"/>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5" name="Circle: Hollow 73"/>
            <p:cNvSpPr/>
            <p:nvPr/>
          </p:nvSpPr>
          <p:spPr bwMode="auto">
            <a:xfrm>
              <a:off x="7489581" y="3690898"/>
              <a:ext cx="251365" cy="251365"/>
            </a:xfrm>
            <a:prstGeom prst="donut">
              <a:avLst/>
            </a:prstGeom>
            <a:solidFill>
              <a:srgbClr val="B8D432"/>
            </a:solidFill>
            <a:ln w="38100"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6" name="TextBox 15"/>
            <p:cNvSpPr txBox="1"/>
            <p:nvPr/>
          </p:nvSpPr>
          <p:spPr>
            <a:xfrm>
              <a:off x="6320820" y="4002328"/>
              <a:ext cx="1131079" cy="343492"/>
            </a:xfrm>
            <a:prstGeom prst="rect">
              <a:avLst/>
            </a:prstGeom>
            <a:noFill/>
          </p:spPr>
          <p:txBody>
            <a:bodyPr wrap="none" lIns="0" rtlCol="0">
              <a:spAutoFit/>
            </a:bodyPr>
            <a:lstStyle/>
            <a:p>
              <a:pPr defTabSz="914225"/>
              <a:r>
                <a:rPr lang="en-US" sz="1600" kern="0" dirty="0">
                  <a:solidFill>
                    <a:srgbClr val="59B4D9"/>
                  </a:solidFill>
                  <a:latin typeface="Segoe UI" charset="0"/>
                  <a:ea typeface="Segoe UI" charset="0"/>
                  <a:cs typeface="Segoe UI" charset="0"/>
                </a:rPr>
                <a:t>KEY-VALUE</a:t>
              </a:r>
            </a:p>
          </p:txBody>
        </p:sp>
      </p:grpSp>
      <p:grpSp>
        <p:nvGrpSpPr>
          <p:cNvPr id="17" name="Group 16"/>
          <p:cNvGrpSpPr/>
          <p:nvPr/>
        </p:nvGrpSpPr>
        <p:grpSpPr>
          <a:xfrm>
            <a:off x="4303151" y="5002238"/>
            <a:ext cx="1743179" cy="1013153"/>
            <a:chOff x="9255136" y="3332523"/>
            <a:chExt cx="1743426" cy="1013297"/>
          </a:xfrm>
        </p:grpSpPr>
        <p:cxnSp>
          <p:nvCxnSpPr>
            <p:cNvPr id="18" name="Straight Connector 17"/>
            <p:cNvCxnSpPr>
              <a:cxnSpLocks/>
            </p:cNvCxnSpPr>
            <p:nvPr/>
          </p:nvCxnSpPr>
          <p:spPr>
            <a:xfrm>
              <a:off x="9541821" y="3458204"/>
              <a:ext cx="377347" cy="0"/>
            </a:xfrm>
            <a:prstGeom prst="line">
              <a:avLst/>
            </a:prstGeom>
            <a:noFill/>
            <a:ln w="38100" cap="flat" cmpd="sng" algn="ctr">
              <a:solidFill>
                <a:srgbClr val="59B4D9"/>
              </a:solidFill>
              <a:prstDash val="sysDot"/>
              <a:miter lim="800000"/>
              <a:headEnd type="none"/>
              <a:tailEnd type="none"/>
            </a:ln>
            <a:effectLst/>
          </p:spPr>
        </p:cxnSp>
        <p:sp>
          <p:nvSpPr>
            <p:cNvPr id="19" name="Oval 18"/>
            <p:cNvSpPr/>
            <p:nvPr/>
          </p:nvSpPr>
          <p:spPr bwMode="auto">
            <a:xfrm>
              <a:off x="9255136" y="3332523"/>
              <a:ext cx="251367" cy="251363"/>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20" name="Circle: Hollow 61"/>
            <p:cNvSpPr/>
            <p:nvPr/>
          </p:nvSpPr>
          <p:spPr bwMode="auto">
            <a:xfrm>
              <a:off x="9907772" y="3332523"/>
              <a:ext cx="251365" cy="251363"/>
            </a:xfrm>
            <a:prstGeom prst="donut">
              <a:avLst/>
            </a:prstGeom>
            <a:solidFill>
              <a:srgbClr val="B8D432"/>
            </a:solidFill>
            <a:ln w="38100"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21" name="Circle: Hollow 62"/>
            <p:cNvSpPr/>
            <p:nvPr/>
          </p:nvSpPr>
          <p:spPr bwMode="auto">
            <a:xfrm>
              <a:off x="10178270" y="3332523"/>
              <a:ext cx="251365" cy="251363"/>
            </a:xfrm>
            <a:prstGeom prst="donut">
              <a:avLst/>
            </a:prstGeom>
            <a:solidFill>
              <a:srgbClr val="B8D432"/>
            </a:solidFill>
            <a:ln w="38100"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22" name="Circle: Hollow 63"/>
            <p:cNvSpPr/>
            <p:nvPr/>
          </p:nvSpPr>
          <p:spPr bwMode="auto">
            <a:xfrm>
              <a:off x="10448770" y="3332523"/>
              <a:ext cx="251365" cy="251363"/>
            </a:xfrm>
            <a:prstGeom prst="donut">
              <a:avLst/>
            </a:prstGeom>
            <a:solidFill>
              <a:srgbClr val="B8D432"/>
            </a:solidFill>
            <a:ln w="38100"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23" name="TextBox 22"/>
            <p:cNvSpPr txBox="1"/>
            <p:nvPr/>
          </p:nvSpPr>
          <p:spPr>
            <a:xfrm>
              <a:off x="9255136" y="4002328"/>
              <a:ext cx="1743426" cy="343492"/>
            </a:xfrm>
            <a:prstGeom prst="rect">
              <a:avLst/>
            </a:prstGeom>
            <a:noFill/>
          </p:spPr>
          <p:txBody>
            <a:bodyPr wrap="none" lIns="0" rtlCol="0">
              <a:spAutoFit/>
            </a:bodyPr>
            <a:lstStyle/>
            <a:p>
              <a:pPr defTabSz="914225"/>
              <a:r>
                <a:rPr lang="en-US" sz="1600" kern="0" dirty="0">
                  <a:solidFill>
                    <a:srgbClr val="59B4D9"/>
                  </a:solidFill>
                  <a:latin typeface="Segoe UI" charset="0"/>
                  <a:ea typeface="Segoe UI" charset="0"/>
                  <a:cs typeface="Segoe UI" charset="0"/>
                </a:rPr>
                <a:t>COLUMN-FAMILY</a:t>
              </a:r>
            </a:p>
          </p:txBody>
        </p:sp>
      </p:grpSp>
      <p:grpSp>
        <p:nvGrpSpPr>
          <p:cNvPr id="24" name="Group 23"/>
          <p:cNvGrpSpPr/>
          <p:nvPr/>
        </p:nvGrpSpPr>
        <p:grpSpPr>
          <a:xfrm>
            <a:off x="7081248" y="4533787"/>
            <a:ext cx="1230290" cy="1481604"/>
            <a:chOff x="6320820" y="4918446"/>
            <a:chExt cx="1230465" cy="1481814"/>
          </a:xfrm>
        </p:grpSpPr>
        <p:cxnSp>
          <p:nvCxnSpPr>
            <p:cNvPr id="25" name="Straight Connector 24"/>
            <p:cNvCxnSpPr>
              <a:cxnSpLocks/>
            </p:cNvCxnSpPr>
            <p:nvPr/>
          </p:nvCxnSpPr>
          <p:spPr>
            <a:xfrm>
              <a:off x="6320820" y="5455959"/>
              <a:ext cx="448156" cy="136562"/>
            </a:xfrm>
            <a:prstGeom prst="line">
              <a:avLst/>
            </a:prstGeom>
            <a:solidFill>
              <a:srgbClr val="B8D432"/>
            </a:solidFill>
            <a:ln w="38100" cap="flat" cmpd="sng" algn="ctr">
              <a:solidFill>
                <a:srgbClr val="59B4D9"/>
              </a:solidFill>
              <a:prstDash val="sysDot"/>
              <a:miter lim="800000"/>
              <a:headEnd type="none"/>
              <a:tailEnd type="none"/>
            </a:ln>
            <a:effectLst/>
          </p:spPr>
        </p:cxnSp>
        <p:cxnSp>
          <p:nvCxnSpPr>
            <p:cNvPr id="26" name="Straight Connector 25"/>
            <p:cNvCxnSpPr>
              <a:cxnSpLocks/>
            </p:cNvCxnSpPr>
            <p:nvPr/>
          </p:nvCxnSpPr>
          <p:spPr>
            <a:xfrm flipV="1">
              <a:off x="6320820" y="5319397"/>
              <a:ext cx="440187" cy="136562"/>
            </a:xfrm>
            <a:prstGeom prst="line">
              <a:avLst/>
            </a:prstGeom>
            <a:solidFill>
              <a:srgbClr val="B8D432"/>
            </a:solidFill>
            <a:ln w="38100" cap="flat" cmpd="sng" algn="ctr">
              <a:solidFill>
                <a:srgbClr val="59B4D9"/>
              </a:solidFill>
              <a:prstDash val="sysDot"/>
              <a:miter lim="800000"/>
              <a:headEnd type="none"/>
              <a:tailEnd type="none"/>
            </a:ln>
            <a:effectLst/>
          </p:spPr>
        </p:cxnSp>
        <p:sp>
          <p:nvSpPr>
            <p:cNvPr id="27" name="Oval 26"/>
            <p:cNvSpPr/>
            <p:nvPr/>
          </p:nvSpPr>
          <p:spPr bwMode="auto">
            <a:xfrm>
              <a:off x="6320820" y="5326877"/>
              <a:ext cx="258162" cy="258162"/>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solidFill>
                  <a:srgbClr val="FFFFFF"/>
                </a:solidFill>
                <a:latin typeface="Segoe UI"/>
              </a:endParaRPr>
            </a:p>
          </p:txBody>
        </p:sp>
        <p:cxnSp>
          <p:nvCxnSpPr>
            <p:cNvPr id="28" name="Straight Connector 27"/>
            <p:cNvCxnSpPr>
              <a:cxnSpLocks/>
            </p:cNvCxnSpPr>
            <p:nvPr/>
          </p:nvCxnSpPr>
          <p:spPr>
            <a:xfrm>
              <a:off x="6768976" y="5592521"/>
              <a:ext cx="454413" cy="203966"/>
            </a:xfrm>
            <a:prstGeom prst="line">
              <a:avLst/>
            </a:prstGeom>
            <a:solidFill>
              <a:srgbClr val="B8D432"/>
            </a:solidFill>
            <a:ln w="38100" cap="flat" cmpd="sng" algn="ctr">
              <a:solidFill>
                <a:srgbClr val="59B4D9"/>
              </a:solidFill>
              <a:prstDash val="sysDot"/>
              <a:miter lim="800000"/>
              <a:headEnd type="none"/>
              <a:tailEnd type="none"/>
            </a:ln>
            <a:effectLst/>
          </p:spPr>
        </p:cxnSp>
        <p:cxnSp>
          <p:nvCxnSpPr>
            <p:cNvPr id="29" name="Straight Connector 28"/>
            <p:cNvCxnSpPr>
              <a:cxnSpLocks/>
            </p:cNvCxnSpPr>
            <p:nvPr/>
          </p:nvCxnSpPr>
          <p:spPr>
            <a:xfrm>
              <a:off x="6768976" y="5592521"/>
              <a:ext cx="432215" cy="2561"/>
            </a:xfrm>
            <a:prstGeom prst="line">
              <a:avLst/>
            </a:prstGeom>
            <a:solidFill>
              <a:srgbClr val="B8D432"/>
            </a:solidFill>
            <a:ln w="38100" cap="flat" cmpd="sng" algn="ctr">
              <a:solidFill>
                <a:srgbClr val="59B4D9"/>
              </a:solidFill>
              <a:prstDash val="sysDot"/>
              <a:miter lim="800000"/>
              <a:headEnd type="none"/>
              <a:tailEnd type="none"/>
            </a:ln>
            <a:effectLst/>
          </p:spPr>
        </p:cxnSp>
        <p:sp>
          <p:nvSpPr>
            <p:cNvPr id="30" name="Oval 29"/>
            <p:cNvSpPr/>
            <p:nvPr/>
          </p:nvSpPr>
          <p:spPr bwMode="auto">
            <a:xfrm rot="20946206">
              <a:off x="7201191" y="5739779"/>
              <a:ext cx="258162" cy="258162"/>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solidFill>
                  <a:srgbClr val="FFFFFF"/>
                </a:solidFill>
                <a:latin typeface="Segoe UI"/>
              </a:endParaRPr>
            </a:p>
          </p:txBody>
        </p:sp>
        <p:sp>
          <p:nvSpPr>
            <p:cNvPr id="31" name="Oval 30"/>
            <p:cNvSpPr/>
            <p:nvPr/>
          </p:nvSpPr>
          <p:spPr bwMode="auto">
            <a:xfrm>
              <a:off x="7201191" y="5466001"/>
              <a:ext cx="258162" cy="258162"/>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solidFill>
                  <a:srgbClr val="FFFFFF"/>
                </a:solidFill>
                <a:latin typeface="Segoe UI"/>
              </a:endParaRPr>
            </a:p>
          </p:txBody>
        </p:sp>
        <p:cxnSp>
          <p:nvCxnSpPr>
            <p:cNvPr id="32" name="Straight Connector 31"/>
            <p:cNvCxnSpPr>
              <a:cxnSpLocks/>
            </p:cNvCxnSpPr>
            <p:nvPr/>
          </p:nvCxnSpPr>
          <p:spPr>
            <a:xfrm>
              <a:off x="6761007" y="5319399"/>
              <a:ext cx="440184" cy="1906"/>
            </a:xfrm>
            <a:prstGeom prst="line">
              <a:avLst/>
            </a:prstGeom>
            <a:solidFill>
              <a:srgbClr val="B8D432"/>
            </a:solidFill>
            <a:ln w="38100" cap="flat" cmpd="sng" algn="ctr">
              <a:solidFill>
                <a:srgbClr val="59B4D9"/>
              </a:solidFill>
              <a:prstDash val="sysDot"/>
              <a:miter lim="800000"/>
              <a:headEnd type="none"/>
              <a:tailEnd type="none"/>
            </a:ln>
            <a:effectLst/>
          </p:spPr>
        </p:cxnSp>
        <p:sp>
          <p:nvSpPr>
            <p:cNvPr id="33" name="Oval 32"/>
            <p:cNvSpPr/>
            <p:nvPr/>
          </p:nvSpPr>
          <p:spPr bwMode="auto">
            <a:xfrm>
              <a:off x="6768976" y="5463438"/>
              <a:ext cx="258162" cy="258162"/>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solidFill>
                  <a:srgbClr val="FFFFFF"/>
                </a:solidFill>
                <a:latin typeface="Segoe UI"/>
              </a:endParaRPr>
            </a:p>
          </p:txBody>
        </p:sp>
        <p:cxnSp>
          <p:nvCxnSpPr>
            <p:cNvPr id="34" name="Straight Connector 33"/>
            <p:cNvCxnSpPr>
              <a:cxnSpLocks/>
            </p:cNvCxnSpPr>
            <p:nvPr/>
          </p:nvCxnSpPr>
          <p:spPr>
            <a:xfrm flipV="1">
              <a:off x="6761007" y="5128243"/>
              <a:ext cx="468533" cy="191156"/>
            </a:xfrm>
            <a:prstGeom prst="line">
              <a:avLst/>
            </a:prstGeom>
            <a:solidFill>
              <a:srgbClr val="B8D432"/>
            </a:solidFill>
            <a:ln w="38100" cap="flat" cmpd="sng" algn="ctr">
              <a:solidFill>
                <a:srgbClr val="59B4D9"/>
              </a:solidFill>
              <a:prstDash val="sysDot"/>
              <a:miter lim="800000"/>
              <a:headEnd type="none"/>
              <a:tailEnd type="none"/>
            </a:ln>
            <a:effectLst/>
          </p:spPr>
        </p:cxnSp>
        <p:sp>
          <p:nvSpPr>
            <p:cNvPr id="35" name="Oval 34"/>
            <p:cNvSpPr/>
            <p:nvPr/>
          </p:nvSpPr>
          <p:spPr bwMode="auto">
            <a:xfrm>
              <a:off x="6761007" y="5190316"/>
              <a:ext cx="258162" cy="258162"/>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solidFill>
                  <a:srgbClr val="FFFFFF"/>
                </a:solidFill>
                <a:latin typeface="Segoe UI"/>
              </a:endParaRPr>
            </a:p>
          </p:txBody>
        </p:sp>
        <p:sp>
          <p:nvSpPr>
            <p:cNvPr id="36" name="Oval 35"/>
            <p:cNvSpPr/>
            <p:nvPr/>
          </p:nvSpPr>
          <p:spPr bwMode="auto">
            <a:xfrm>
              <a:off x="7201191" y="5192224"/>
              <a:ext cx="258162" cy="258162"/>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solidFill>
                  <a:srgbClr val="FFFFFF"/>
                </a:solidFill>
                <a:latin typeface="Segoe UI"/>
              </a:endParaRPr>
            </a:p>
          </p:txBody>
        </p:sp>
        <p:sp>
          <p:nvSpPr>
            <p:cNvPr id="37" name="Oval 36"/>
            <p:cNvSpPr/>
            <p:nvPr/>
          </p:nvSpPr>
          <p:spPr bwMode="auto">
            <a:xfrm rot="377738">
              <a:off x="7201191" y="4918446"/>
              <a:ext cx="258162" cy="258162"/>
            </a:xfrm>
            <a:prstGeom prst="ellipse">
              <a:avLst/>
            </a:prstGeom>
            <a:solidFill>
              <a:srgbClr val="B8D432"/>
            </a:solidFill>
            <a:ln w="12700"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solidFill>
                  <a:srgbClr val="FFFFFF"/>
                </a:solidFill>
                <a:latin typeface="Segoe UI"/>
              </a:endParaRPr>
            </a:p>
          </p:txBody>
        </p:sp>
        <p:sp>
          <p:nvSpPr>
            <p:cNvPr id="38" name="TextBox 37"/>
            <p:cNvSpPr txBox="1"/>
            <p:nvPr/>
          </p:nvSpPr>
          <p:spPr>
            <a:xfrm>
              <a:off x="6320820" y="6056768"/>
              <a:ext cx="1230465" cy="343492"/>
            </a:xfrm>
            <a:prstGeom prst="rect">
              <a:avLst/>
            </a:prstGeom>
            <a:noFill/>
          </p:spPr>
          <p:txBody>
            <a:bodyPr wrap="none" lIns="0" rtlCol="0">
              <a:spAutoFit/>
            </a:bodyPr>
            <a:lstStyle/>
            <a:p>
              <a:pPr defTabSz="914225"/>
              <a:r>
                <a:rPr lang="en-US" sz="1600" kern="0" dirty="0">
                  <a:solidFill>
                    <a:srgbClr val="59B4D9"/>
                  </a:solidFill>
                  <a:latin typeface="Segoe UI" charset="0"/>
                  <a:ea typeface="Segoe UI" charset="0"/>
                  <a:cs typeface="Segoe UI" charset="0"/>
                </a:rPr>
                <a:t>DOCUMENT</a:t>
              </a:r>
            </a:p>
          </p:txBody>
        </p:sp>
      </p:grpSp>
      <p:grpSp>
        <p:nvGrpSpPr>
          <p:cNvPr id="39" name="Group 38"/>
          <p:cNvGrpSpPr/>
          <p:nvPr/>
        </p:nvGrpSpPr>
        <p:grpSpPr>
          <a:xfrm>
            <a:off x="9346458" y="4651248"/>
            <a:ext cx="1360235" cy="1364143"/>
            <a:chOff x="9255136" y="5035923"/>
            <a:chExt cx="1360428" cy="1364337"/>
          </a:xfrm>
        </p:grpSpPr>
        <p:sp>
          <p:nvSpPr>
            <p:cNvPr id="40" name="Oval 39"/>
            <p:cNvSpPr/>
            <p:nvPr/>
          </p:nvSpPr>
          <p:spPr bwMode="auto">
            <a:xfrm rot="715722">
              <a:off x="9278401" y="5035923"/>
              <a:ext cx="251367" cy="251367"/>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41" name="Oval 40"/>
            <p:cNvSpPr/>
            <p:nvPr/>
          </p:nvSpPr>
          <p:spPr bwMode="auto">
            <a:xfrm>
              <a:off x="10002267" y="5193250"/>
              <a:ext cx="251367" cy="251367"/>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42" name="Oval 41"/>
            <p:cNvSpPr/>
            <p:nvPr/>
          </p:nvSpPr>
          <p:spPr bwMode="auto">
            <a:xfrm>
              <a:off x="9640334" y="5644746"/>
              <a:ext cx="251367" cy="251367"/>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43" name="Oval 42"/>
            <p:cNvSpPr/>
            <p:nvPr/>
          </p:nvSpPr>
          <p:spPr bwMode="auto">
            <a:xfrm>
              <a:off x="10364197" y="5644746"/>
              <a:ext cx="251367" cy="251367"/>
            </a:xfrm>
            <a:prstGeom prst="ellipse">
              <a:avLst/>
            </a:prstGeom>
            <a:solidFill>
              <a:srgbClr val="FFFFFF"/>
            </a:solidFill>
            <a:ln w="3175" cap="flat" cmpd="sng" algn="ctr">
              <a:noFill/>
              <a:prstDash val="solid"/>
              <a:miter lim="800000"/>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44" name="Straight Connector 43"/>
            <p:cNvCxnSpPr>
              <a:cxnSpLocks/>
            </p:cNvCxnSpPr>
            <p:nvPr/>
          </p:nvCxnSpPr>
          <p:spPr>
            <a:xfrm>
              <a:off x="9527053" y="5187586"/>
              <a:ext cx="475213" cy="131349"/>
            </a:xfrm>
            <a:prstGeom prst="line">
              <a:avLst/>
            </a:prstGeom>
            <a:solidFill>
              <a:srgbClr val="59B4D9"/>
            </a:solidFill>
            <a:ln w="38100" cap="flat" cmpd="sng" algn="ctr">
              <a:solidFill>
                <a:srgbClr val="59B4D9"/>
              </a:solidFill>
              <a:prstDash val="sysDot"/>
              <a:miter lim="800000"/>
              <a:headEnd type="none"/>
              <a:tailEnd type="none"/>
            </a:ln>
            <a:effectLst/>
          </p:spPr>
        </p:cxnSp>
        <p:cxnSp>
          <p:nvCxnSpPr>
            <p:cNvPr id="45" name="Straight Connector 44"/>
            <p:cNvCxnSpPr>
              <a:cxnSpLocks/>
            </p:cNvCxnSpPr>
            <p:nvPr/>
          </p:nvCxnSpPr>
          <p:spPr>
            <a:xfrm>
              <a:off x="9891700" y="5770429"/>
              <a:ext cx="472496" cy="0"/>
            </a:xfrm>
            <a:prstGeom prst="line">
              <a:avLst/>
            </a:prstGeom>
            <a:solidFill>
              <a:srgbClr val="59B4D9"/>
            </a:solidFill>
            <a:ln w="38100" cap="flat" cmpd="sng" algn="ctr">
              <a:solidFill>
                <a:srgbClr val="59B4D9"/>
              </a:solidFill>
              <a:prstDash val="sysDot"/>
              <a:miter lim="800000"/>
              <a:headEnd type="none"/>
              <a:tailEnd type="none"/>
            </a:ln>
            <a:effectLst/>
          </p:spPr>
        </p:cxnSp>
        <p:cxnSp>
          <p:nvCxnSpPr>
            <p:cNvPr id="46" name="Straight Connector 45"/>
            <p:cNvCxnSpPr>
              <a:cxnSpLocks/>
            </p:cNvCxnSpPr>
            <p:nvPr/>
          </p:nvCxnSpPr>
          <p:spPr>
            <a:xfrm>
              <a:off x="10216821" y="5407806"/>
              <a:ext cx="184188" cy="273752"/>
            </a:xfrm>
            <a:prstGeom prst="line">
              <a:avLst/>
            </a:prstGeom>
            <a:solidFill>
              <a:srgbClr val="59B4D9"/>
            </a:solidFill>
            <a:ln w="38100" cap="flat" cmpd="sng" algn="ctr">
              <a:solidFill>
                <a:srgbClr val="59B4D9"/>
              </a:solidFill>
              <a:prstDash val="sysDot"/>
              <a:miter lim="800000"/>
              <a:headEnd type="none"/>
              <a:tailEnd type="none"/>
            </a:ln>
            <a:effectLst/>
          </p:spPr>
        </p:cxnSp>
        <p:cxnSp>
          <p:nvCxnSpPr>
            <p:cNvPr id="47" name="Straight Connector 46"/>
            <p:cNvCxnSpPr>
              <a:cxnSpLocks/>
            </p:cNvCxnSpPr>
            <p:nvPr/>
          </p:nvCxnSpPr>
          <p:spPr>
            <a:xfrm flipV="1">
              <a:off x="9854889" y="5407806"/>
              <a:ext cx="184190" cy="273752"/>
            </a:xfrm>
            <a:prstGeom prst="line">
              <a:avLst/>
            </a:prstGeom>
            <a:solidFill>
              <a:srgbClr val="59B4D9"/>
            </a:solidFill>
            <a:ln w="38100" cap="flat" cmpd="sng" algn="ctr">
              <a:solidFill>
                <a:srgbClr val="59B4D9"/>
              </a:solidFill>
              <a:prstDash val="sysDot"/>
              <a:miter lim="800000"/>
              <a:headEnd type="none"/>
              <a:tailEnd type="none"/>
            </a:ln>
            <a:effectLst/>
          </p:spPr>
        </p:cxnSp>
        <p:sp>
          <p:nvSpPr>
            <p:cNvPr id="48" name="TextBox 47"/>
            <p:cNvSpPr txBox="1"/>
            <p:nvPr/>
          </p:nvSpPr>
          <p:spPr>
            <a:xfrm>
              <a:off x="9255136" y="6056768"/>
              <a:ext cx="762388" cy="343492"/>
            </a:xfrm>
            <a:prstGeom prst="rect">
              <a:avLst/>
            </a:prstGeom>
            <a:noFill/>
          </p:spPr>
          <p:txBody>
            <a:bodyPr wrap="none" lIns="0" rtlCol="0">
              <a:spAutoFit/>
            </a:bodyPr>
            <a:lstStyle/>
            <a:p>
              <a:pPr defTabSz="914225"/>
              <a:r>
                <a:rPr lang="en-US" sz="1600" kern="0" dirty="0">
                  <a:solidFill>
                    <a:srgbClr val="59B4D9"/>
                  </a:solidFill>
                  <a:latin typeface="Segoe UI" charset="0"/>
                  <a:ea typeface="Segoe UI" charset="0"/>
                  <a:cs typeface="Segoe UI" charset="0"/>
                </a:rPr>
                <a:t>GRAPH</a:t>
              </a:r>
            </a:p>
          </p:txBody>
        </p:sp>
      </p:grpSp>
    </p:spTree>
    <p:extLst>
      <p:ext uri="{BB962C8B-B14F-4D97-AF65-F5344CB8AC3E}">
        <p14:creationId xmlns:p14="http://schemas.microsoft.com/office/powerpoint/2010/main" val="188285299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381000" y="228602"/>
            <a:ext cx="7213840" cy="3598439"/>
          </a:xfrm>
          <a:prstGeom prst="rect">
            <a:avLst/>
          </a:prstGeom>
        </p:spPr>
      </p:pic>
      <p:pic>
        <p:nvPicPr>
          <p:cNvPr id="3" name="Picture 2"/>
          <p:cNvPicPr>
            <a:picLocks noChangeAspect="1"/>
          </p:cNvPicPr>
          <p:nvPr/>
        </p:nvPicPr>
        <p:blipFill>
          <a:blip r:embed="rId4"/>
          <a:stretch>
            <a:fillRect/>
          </a:stretch>
        </p:blipFill>
        <p:spPr>
          <a:xfrm>
            <a:off x="5405888" y="3366601"/>
            <a:ext cx="6405113" cy="3720000"/>
          </a:xfrm>
          <a:prstGeom prst="rect">
            <a:avLst/>
          </a:prstGeom>
        </p:spPr>
      </p:pic>
      <p:sp>
        <p:nvSpPr>
          <p:cNvPr id="4" name="TextBox 3"/>
          <p:cNvSpPr txBox="1"/>
          <p:nvPr/>
        </p:nvSpPr>
        <p:spPr>
          <a:xfrm>
            <a:off x="8307256" y="1425385"/>
            <a:ext cx="2957543" cy="744435"/>
          </a:xfrm>
          <a:prstGeom prst="rect">
            <a:avLst/>
          </a:prstGeom>
          <a:noFill/>
        </p:spPr>
        <p:txBody>
          <a:bodyPr wrap="none" lIns="171451" tIns="137160" rIns="171451" bIns="137160" rtlCol="0">
            <a:spAutoFit/>
          </a:bodyPr>
          <a:lstStyle/>
          <a:p>
            <a:pPr defTabSz="857199">
              <a:lnSpc>
                <a:spcPct val="90000"/>
              </a:lnSpc>
              <a:spcAft>
                <a:spcPts val="563"/>
              </a:spcAft>
            </a:pPr>
            <a:r>
              <a:rPr lang="en-US" sz="3375" dirty="0">
                <a:gradFill>
                  <a:gsLst>
                    <a:gs pos="2917">
                      <a:prstClr val="white"/>
                    </a:gs>
                    <a:gs pos="30000">
                      <a:prstClr val="white"/>
                    </a:gs>
                  </a:gsLst>
                  <a:lin ang="5400000" scaled="0"/>
                </a:gradFill>
                <a:latin typeface="Segoe UI Light"/>
                <a:sym typeface="Segoe UI"/>
              </a:rPr>
              <a:t>Simple Graphs</a:t>
            </a:r>
          </a:p>
        </p:txBody>
      </p:sp>
      <p:sp>
        <p:nvSpPr>
          <p:cNvPr id="5" name="TextBox 4"/>
          <p:cNvSpPr txBox="1"/>
          <p:nvPr/>
        </p:nvSpPr>
        <p:spPr>
          <a:xfrm>
            <a:off x="1413623" y="5084603"/>
            <a:ext cx="3348676" cy="744435"/>
          </a:xfrm>
          <a:prstGeom prst="rect">
            <a:avLst/>
          </a:prstGeom>
          <a:noFill/>
        </p:spPr>
        <p:txBody>
          <a:bodyPr wrap="none" lIns="171451" tIns="137160" rIns="171451" bIns="137160" rtlCol="0">
            <a:spAutoFit/>
          </a:bodyPr>
          <a:lstStyle/>
          <a:p>
            <a:pPr defTabSz="857199">
              <a:lnSpc>
                <a:spcPct val="90000"/>
              </a:lnSpc>
              <a:spcAft>
                <a:spcPts val="563"/>
              </a:spcAft>
            </a:pPr>
            <a:r>
              <a:rPr lang="en-US" sz="3375" dirty="0">
                <a:gradFill>
                  <a:gsLst>
                    <a:gs pos="2917">
                      <a:prstClr val="white"/>
                    </a:gs>
                    <a:gs pos="30000">
                      <a:prstClr val="white"/>
                    </a:gs>
                  </a:gsLst>
                  <a:lin ang="5400000" scaled="0"/>
                </a:gradFill>
                <a:latin typeface="Segoe UI Light"/>
                <a:sym typeface="Segoe UI"/>
              </a:rPr>
              <a:t>Complex Graphs</a:t>
            </a:r>
          </a:p>
        </p:txBody>
      </p:sp>
    </p:spTree>
    <p:extLst>
      <p:ext uri="{BB962C8B-B14F-4D97-AF65-F5344CB8AC3E}">
        <p14:creationId xmlns:p14="http://schemas.microsoft.com/office/powerpoint/2010/main" val="1062758172"/>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2436" y="105850"/>
            <a:ext cx="11642721" cy="978747"/>
          </a:xfrm>
        </p:spPr>
        <p:txBody>
          <a:bodyPr/>
          <a:lstStyle/>
          <a:p>
            <a:r>
              <a:rPr lang="en-US" dirty="0">
                <a:solidFill>
                  <a:schemeClr val="bg1"/>
                </a:solidFill>
                <a:latin typeface="+mj-lt"/>
              </a:rPr>
              <a:t>How To Do Multi-Model</a:t>
            </a:r>
          </a:p>
        </p:txBody>
      </p:sp>
      <p:pic>
        <p:nvPicPr>
          <p:cNvPr id="3" name="Picture 2"/>
          <p:cNvPicPr>
            <a:picLocks noChangeAspect="1"/>
          </p:cNvPicPr>
          <p:nvPr/>
        </p:nvPicPr>
        <p:blipFill>
          <a:blip r:embed="rId3"/>
          <a:stretch>
            <a:fillRect/>
          </a:stretch>
        </p:blipFill>
        <p:spPr>
          <a:xfrm>
            <a:off x="440740" y="957943"/>
            <a:ext cx="10718672" cy="6216472"/>
          </a:xfrm>
          <a:prstGeom prst="rect">
            <a:avLst/>
          </a:prstGeom>
        </p:spPr>
      </p:pic>
      <p:sp>
        <p:nvSpPr>
          <p:cNvPr id="13" name="Rectangle: Rounded Corners 12"/>
          <p:cNvSpPr/>
          <p:nvPr/>
        </p:nvSpPr>
        <p:spPr>
          <a:xfrm>
            <a:off x="1807028" y="5306008"/>
            <a:ext cx="5231363" cy="1505339"/>
          </a:xfrm>
          <a:prstGeom prst="roundRect">
            <a:avLst>
              <a:gd name="adj" fmla="val 8403"/>
            </a:avLst>
          </a:prstGeom>
          <a:noFill/>
          <a:ln w="381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Rectangle: Rounded Corners 13"/>
          <p:cNvSpPr/>
          <p:nvPr/>
        </p:nvSpPr>
        <p:spPr>
          <a:xfrm>
            <a:off x="1807029" y="3579845"/>
            <a:ext cx="5231363" cy="1505339"/>
          </a:xfrm>
          <a:prstGeom prst="roundRect">
            <a:avLst>
              <a:gd name="adj" fmla="val 8403"/>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 name="TextBox 14"/>
          <p:cNvSpPr txBox="1"/>
          <p:nvPr/>
        </p:nvSpPr>
        <p:spPr>
          <a:xfrm>
            <a:off x="7143759" y="4147848"/>
            <a:ext cx="252184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highlight>
                  <a:srgbClr val="FF9900"/>
                </a:highlight>
                <a:uLnTx/>
                <a:uFillTx/>
                <a:latin typeface="Segoe UI"/>
                <a:ea typeface="+mn-ea"/>
                <a:cs typeface="+mn-cs"/>
              </a:rPr>
              <a:t>Using it as Documents </a:t>
            </a:r>
          </a:p>
        </p:txBody>
      </p:sp>
      <p:sp>
        <p:nvSpPr>
          <p:cNvPr id="16" name="TextBox 15"/>
          <p:cNvSpPr txBox="1"/>
          <p:nvPr/>
        </p:nvSpPr>
        <p:spPr>
          <a:xfrm>
            <a:off x="7172130" y="5874011"/>
            <a:ext cx="198483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highlight>
                  <a:srgbClr val="00FF00"/>
                </a:highlight>
                <a:uLnTx/>
                <a:uFillTx/>
                <a:latin typeface="Segoe UI"/>
                <a:ea typeface="+mn-ea"/>
                <a:cs typeface="+mn-cs"/>
              </a:rPr>
              <a:t>Using it as Graph </a:t>
            </a:r>
          </a:p>
        </p:txBody>
      </p:sp>
    </p:spTree>
    <p:extLst>
      <p:ext uri="{BB962C8B-B14F-4D97-AF65-F5344CB8AC3E}">
        <p14:creationId xmlns:p14="http://schemas.microsoft.com/office/powerpoint/2010/main" val="36113803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Oval 1"/>
          <p:cNvSpPr/>
          <p:nvPr/>
        </p:nvSpPr>
        <p:spPr>
          <a:xfrm>
            <a:off x="-953066" y="1861315"/>
            <a:ext cx="14166669" cy="795528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Freeform: Shape 99"/>
          <p:cNvSpPr/>
          <p:nvPr/>
        </p:nvSpPr>
        <p:spPr>
          <a:xfrm>
            <a:off x="35631" y="5341026"/>
            <a:ext cx="12189302" cy="1745574"/>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15361" h="1745574">
                <a:moveTo>
                  <a:pt x="5907680" y="0"/>
                </a:moveTo>
                <a:cubicBezTo>
                  <a:pt x="8502236" y="0"/>
                  <a:pt x="10736988" y="686989"/>
                  <a:pt x="11747164" y="1675322"/>
                </a:cubicBezTo>
                <a:lnTo>
                  <a:pt x="11815361" y="1745574"/>
                </a:lnTo>
                <a:lnTo>
                  <a:pt x="0" y="1745574"/>
                </a:lnTo>
                <a:lnTo>
                  <a:pt x="68197" y="1675322"/>
                </a:lnTo>
                <a:cubicBezTo>
                  <a:pt x="1078372" y="686989"/>
                  <a:pt x="3313125" y="0"/>
                  <a:pt x="5907680" y="0"/>
                </a:cubicBezTo>
                <a:close/>
              </a:path>
            </a:pathLst>
          </a:cu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925" name="Freeform: Shape 924"/>
          <p:cNvSpPr>
            <a:spLocks/>
          </p:cNvSpPr>
          <p:nvPr/>
        </p:nvSpPr>
        <p:spPr bwMode="auto">
          <a:xfrm>
            <a:off x="1281629" y="5592603"/>
            <a:ext cx="9922465" cy="1934496"/>
          </a:xfrm>
          <a:custGeom>
            <a:avLst/>
            <a:gdLst>
              <a:gd name="connsiteX0" fmla="*/ 8407318 w 9922465"/>
              <a:gd name="connsiteY0" fmla="*/ 1824114 h 1934496"/>
              <a:gd name="connsiteX1" fmla="*/ 8462510 w 9922465"/>
              <a:gd name="connsiteY1" fmla="*/ 1879305 h 1934496"/>
              <a:gd name="connsiteX2" fmla="*/ 8407318 w 9922465"/>
              <a:gd name="connsiteY2" fmla="*/ 1934496 h 1934496"/>
              <a:gd name="connsiteX3" fmla="*/ 8352126 w 9922465"/>
              <a:gd name="connsiteY3" fmla="*/ 1879305 h 1934496"/>
              <a:gd name="connsiteX4" fmla="*/ 8407318 w 9922465"/>
              <a:gd name="connsiteY4" fmla="*/ 1824114 h 1934496"/>
              <a:gd name="connsiteX5" fmla="*/ 8273682 w 9922465"/>
              <a:gd name="connsiteY5" fmla="*/ 1824114 h 1934496"/>
              <a:gd name="connsiteX6" fmla="*/ 8328874 w 9922465"/>
              <a:gd name="connsiteY6" fmla="*/ 1879305 h 1934496"/>
              <a:gd name="connsiteX7" fmla="*/ 8273682 w 9922465"/>
              <a:gd name="connsiteY7" fmla="*/ 1934496 h 1934496"/>
              <a:gd name="connsiteX8" fmla="*/ 8218490 w 9922465"/>
              <a:gd name="connsiteY8" fmla="*/ 1879305 h 1934496"/>
              <a:gd name="connsiteX9" fmla="*/ 8273682 w 9922465"/>
              <a:gd name="connsiteY9" fmla="*/ 1824114 h 1934496"/>
              <a:gd name="connsiteX10" fmla="*/ 8143386 w 9922465"/>
              <a:gd name="connsiteY10" fmla="*/ 1824114 h 1934496"/>
              <a:gd name="connsiteX11" fmla="*/ 8198578 w 9922465"/>
              <a:gd name="connsiteY11" fmla="*/ 1879305 h 1934496"/>
              <a:gd name="connsiteX12" fmla="*/ 8143386 w 9922465"/>
              <a:gd name="connsiteY12" fmla="*/ 1934496 h 1934496"/>
              <a:gd name="connsiteX13" fmla="*/ 8088194 w 9922465"/>
              <a:gd name="connsiteY13" fmla="*/ 1879305 h 1934496"/>
              <a:gd name="connsiteX14" fmla="*/ 8143386 w 9922465"/>
              <a:gd name="connsiteY14" fmla="*/ 1824114 h 1934496"/>
              <a:gd name="connsiteX15" fmla="*/ 8009752 w 9922465"/>
              <a:gd name="connsiteY15" fmla="*/ 1824114 h 1934496"/>
              <a:gd name="connsiteX16" fmla="*/ 8064944 w 9922465"/>
              <a:gd name="connsiteY16" fmla="*/ 1879305 h 1934496"/>
              <a:gd name="connsiteX17" fmla="*/ 8009752 w 9922465"/>
              <a:gd name="connsiteY17" fmla="*/ 1934496 h 1934496"/>
              <a:gd name="connsiteX18" fmla="*/ 7954560 w 9922465"/>
              <a:gd name="connsiteY18" fmla="*/ 1879305 h 1934496"/>
              <a:gd name="connsiteX19" fmla="*/ 8009752 w 9922465"/>
              <a:gd name="connsiteY19" fmla="*/ 1824114 h 1934496"/>
              <a:gd name="connsiteX20" fmla="*/ 7876117 w 9922465"/>
              <a:gd name="connsiteY20" fmla="*/ 1824114 h 1934496"/>
              <a:gd name="connsiteX21" fmla="*/ 7931309 w 9922465"/>
              <a:gd name="connsiteY21" fmla="*/ 1879305 h 1934496"/>
              <a:gd name="connsiteX22" fmla="*/ 7876117 w 9922465"/>
              <a:gd name="connsiteY22" fmla="*/ 1934496 h 1934496"/>
              <a:gd name="connsiteX23" fmla="*/ 7820925 w 9922465"/>
              <a:gd name="connsiteY23" fmla="*/ 1879305 h 1934496"/>
              <a:gd name="connsiteX24" fmla="*/ 7876117 w 9922465"/>
              <a:gd name="connsiteY24" fmla="*/ 1824114 h 1934496"/>
              <a:gd name="connsiteX25" fmla="*/ 7745824 w 9922465"/>
              <a:gd name="connsiteY25" fmla="*/ 1824114 h 1934496"/>
              <a:gd name="connsiteX26" fmla="*/ 7801016 w 9922465"/>
              <a:gd name="connsiteY26" fmla="*/ 1879305 h 1934496"/>
              <a:gd name="connsiteX27" fmla="*/ 7745824 w 9922465"/>
              <a:gd name="connsiteY27" fmla="*/ 1934496 h 1934496"/>
              <a:gd name="connsiteX28" fmla="*/ 7690632 w 9922465"/>
              <a:gd name="connsiteY28" fmla="*/ 1879305 h 1934496"/>
              <a:gd name="connsiteX29" fmla="*/ 7745824 w 9922465"/>
              <a:gd name="connsiteY29" fmla="*/ 1824114 h 1934496"/>
              <a:gd name="connsiteX30" fmla="*/ 7608849 w 9922465"/>
              <a:gd name="connsiteY30" fmla="*/ 1824114 h 1934496"/>
              <a:gd name="connsiteX31" fmla="*/ 7664041 w 9922465"/>
              <a:gd name="connsiteY31" fmla="*/ 1879305 h 1934496"/>
              <a:gd name="connsiteX32" fmla="*/ 7608849 w 9922465"/>
              <a:gd name="connsiteY32" fmla="*/ 1934496 h 1934496"/>
              <a:gd name="connsiteX33" fmla="*/ 7553657 w 9922465"/>
              <a:gd name="connsiteY33" fmla="*/ 1879305 h 1934496"/>
              <a:gd name="connsiteX34" fmla="*/ 7608849 w 9922465"/>
              <a:gd name="connsiteY34" fmla="*/ 1824114 h 1934496"/>
              <a:gd name="connsiteX35" fmla="*/ 7481895 w 9922465"/>
              <a:gd name="connsiteY35" fmla="*/ 1824114 h 1934496"/>
              <a:gd name="connsiteX36" fmla="*/ 7537087 w 9922465"/>
              <a:gd name="connsiteY36" fmla="*/ 1879305 h 1934496"/>
              <a:gd name="connsiteX37" fmla="*/ 7481895 w 9922465"/>
              <a:gd name="connsiteY37" fmla="*/ 1934496 h 1934496"/>
              <a:gd name="connsiteX38" fmla="*/ 7426703 w 9922465"/>
              <a:gd name="connsiteY38" fmla="*/ 1879305 h 1934496"/>
              <a:gd name="connsiteX39" fmla="*/ 7481895 w 9922465"/>
              <a:gd name="connsiteY39" fmla="*/ 1824114 h 1934496"/>
              <a:gd name="connsiteX40" fmla="*/ 7341579 w 9922465"/>
              <a:gd name="connsiteY40" fmla="*/ 1824114 h 1934496"/>
              <a:gd name="connsiteX41" fmla="*/ 7396771 w 9922465"/>
              <a:gd name="connsiteY41" fmla="*/ 1879305 h 1934496"/>
              <a:gd name="connsiteX42" fmla="*/ 7341579 w 9922465"/>
              <a:gd name="connsiteY42" fmla="*/ 1934496 h 1934496"/>
              <a:gd name="connsiteX43" fmla="*/ 7286387 w 9922465"/>
              <a:gd name="connsiteY43" fmla="*/ 1879305 h 1934496"/>
              <a:gd name="connsiteX44" fmla="*/ 7341579 w 9922465"/>
              <a:gd name="connsiteY44" fmla="*/ 1824114 h 1934496"/>
              <a:gd name="connsiteX45" fmla="*/ 7211286 w 9922465"/>
              <a:gd name="connsiteY45" fmla="*/ 1824114 h 1934496"/>
              <a:gd name="connsiteX46" fmla="*/ 7266478 w 9922465"/>
              <a:gd name="connsiteY46" fmla="*/ 1879305 h 1934496"/>
              <a:gd name="connsiteX47" fmla="*/ 7211286 w 9922465"/>
              <a:gd name="connsiteY47" fmla="*/ 1934496 h 1934496"/>
              <a:gd name="connsiteX48" fmla="*/ 7156094 w 9922465"/>
              <a:gd name="connsiteY48" fmla="*/ 1879305 h 1934496"/>
              <a:gd name="connsiteX49" fmla="*/ 7211286 w 9922465"/>
              <a:gd name="connsiteY49" fmla="*/ 1824114 h 1934496"/>
              <a:gd name="connsiteX50" fmla="*/ 7080993 w 9922465"/>
              <a:gd name="connsiteY50" fmla="*/ 1824114 h 1934496"/>
              <a:gd name="connsiteX51" fmla="*/ 7136185 w 9922465"/>
              <a:gd name="connsiteY51" fmla="*/ 1879305 h 1934496"/>
              <a:gd name="connsiteX52" fmla="*/ 7080993 w 9922465"/>
              <a:gd name="connsiteY52" fmla="*/ 1934496 h 1934496"/>
              <a:gd name="connsiteX53" fmla="*/ 7025801 w 9922465"/>
              <a:gd name="connsiteY53" fmla="*/ 1879305 h 1934496"/>
              <a:gd name="connsiteX54" fmla="*/ 7080993 w 9922465"/>
              <a:gd name="connsiteY54" fmla="*/ 1824114 h 1934496"/>
              <a:gd name="connsiteX55" fmla="*/ 6947357 w 9922465"/>
              <a:gd name="connsiteY55" fmla="*/ 1824114 h 1934496"/>
              <a:gd name="connsiteX56" fmla="*/ 7002549 w 9922465"/>
              <a:gd name="connsiteY56" fmla="*/ 1879305 h 1934496"/>
              <a:gd name="connsiteX57" fmla="*/ 6947357 w 9922465"/>
              <a:gd name="connsiteY57" fmla="*/ 1934496 h 1934496"/>
              <a:gd name="connsiteX58" fmla="*/ 6892165 w 9922465"/>
              <a:gd name="connsiteY58" fmla="*/ 1879305 h 1934496"/>
              <a:gd name="connsiteX59" fmla="*/ 6947357 w 9922465"/>
              <a:gd name="connsiteY59" fmla="*/ 1824114 h 1934496"/>
              <a:gd name="connsiteX60" fmla="*/ 6817063 w 9922465"/>
              <a:gd name="connsiteY60" fmla="*/ 1824114 h 1934496"/>
              <a:gd name="connsiteX61" fmla="*/ 6872255 w 9922465"/>
              <a:gd name="connsiteY61" fmla="*/ 1879305 h 1934496"/>
              <a:gd name="connsiteX62" fmla="*/ 6817063 w 9922465"/>
              <a:gd name="connsiteY62" fmla="*/ 1934496 h 1934496"/>
              <a:gd name="connsiteX63" fmla="*/ 6761871 w 9922465"/>
              <a:gd name="connsiteY63" fmla="*/ 1879305 h 1934496"/>
              <a:gd name="connsiteX64" fmla="*/ 6817063 w 9922465"/>
              <a:gd name="connsiteY64" fmla="*/ 1824114 h 1934496"/>
              <a:gd name="connsiteX65" fmla="*/ 6683431 w 9922465"/>
              <a:gd name="connsiteY65" fmla="*/ 1824114 h 1934496"/>
              <a:gd name="connsiteX66" fmla="*/ 6738623 w 9922465"/>
              <a:gd name="connsiteY66" fmla="*/ 1879305 h 1934496"/>
              <a:gd name="connsiteX67" fmla="*/ 6683431 w 9922465"/>
              <a:gd name="connsiteY67" fmla="*/ 1934496 h 1934496"/>
              <a:gd name="connsiteX68" fmla="*/ 6628239 w 9922465"/>
              <a:gd name="connsiteY68" fmla="*/ 1879305 h 1934496"/>
              <a:gd name="connsiteX69" fmla="*/ 6683431 w 9922465"/>
              <a:gd name="connsiteY69" fmla="*/ 1824114 h 1934496"/>
              <a:gd name="connsiteX70" fmla="*/ 6553137 w 9922465"/>
              <a:gd name="connsiteY70" fmla="*/ 1824114 h 1934496"/>
              <a:gd name="connsiteX71" fmla="*/ 6608329 w 9922465"/>
              <a:gd name="connsiteY71" fmla="*/ 1879305 h 1934496"/>
              <a:gd name="connsiteX72" fmla="*/ 6553137 w 9922465"/>
              <a:gd name="connsiteY72" fmla="*/ 1934496 h 1934496"/>
              <a:gd name="connsiteX73" fmla="*/ 6497945 w 9922465"/>
              <a:gd name="connsiteY73" fmla="*/ 1879305 h 1934496"/>
              <a:gd name="connsiteX74" fmla="*/ 6553137 w 9922465"/>
              <a:gd name="connsiteY74" fmla="*/ 1824114 h 1934496"/>
              <a:gd name="connsiteX75" fmla="*/ 6289207 w 9922465"/>
              <a:gd name="connsiteY75" fmla="*/ 1824114 h 1934496"/>
              <a:gd name="connsiteX76" fmla="*/ 6344399 w 9922465"/>
              <a:gd name="connsiteY76" fmla="*/ 1879305 h 1934496"/>
              <a:gd name="connsiteX77" fmla="*/ 6289207 w 9922465"/>
              <a:gd name="connsiteY77" fmla="*/ 1934496 h 1934496"/>
              <a:gd name="connsiteX78" fmla="*/ 6234015 w 9922465"/>
              <a:gd name="connsiteY78" fmla="*/ 1879305 h 1934496"/>
              <a:gd name="connsiteX79" fmla="*/ 6289207 w 9922465"/>
              <a:gd name="connsiteY79" fmla="*/ 1824114 h 1934496"/>
              <a:gd name="connsiteX80" fmla="*/ 6155572 w 9922465"/>
              <a:gd name="connsiteY80" fmla="*/ 1824114 h 1934496"/>
              <a:gd name="connsiteX81" fmla="*/ 6210764 w 9922465"/>
              <a:gd name="connsiteY81" fmla="*/ 1879305 h 1934496"/>
              <a:gd name="connsiteX82" fmla="*/ 6155572 w 9922465"/>
              <a:gd name="connsiteY82" fmla="*/ 1934496 h 1934496"/>
              <a:gd name="connsiteX83" fmla="*/ 6100380 w 9922465"/>
              <a:gd name="connsiteY83" fmla="*/ 1879305 h 1934496"/>
              <a:gd name="connsiteX84" fmla="*/ 6155572 w 9922465"/>
              <a:gd name="connsiteY84" fmla="*/ 1824114 h 1934496"/>
              <a:gd name="connsiteX85" fmla="*/ 6021938 w 9922465"/>
              <a:gd name="connsiteY85" fmla="*/ 1824114 h 1934496"/>
              <a:gd name="connsiteX86" fmla="*/ 6077130 w 9922465"/>
              <a:gd name="connsiteY86" fmla="*/ 1879305 h 1934496"/>
              <a:gd name="connsiteX87" fmla="*/ 6021938 w 9922465"/>
              <a:gd name="connsiteY87" fmla="*/ 1934496 h 1934496"/>
              <a:gd name="connsiteX88" fmla="*/ 5966746 w 9922465"/>
              <a:gd name="connsiteY88" fmla="*/ 1879305 h 1934496"/>
              <a:gd name="connsiteX89" fmla="*/ 6021938 w 9922465"/>
              <a:gd name="connsiteY89" fmla="*/ 1824114 h 1934496"/>
              <a:gd name="connsiteX90" fmla="*/ 5884964 w 9922465"/>
              <a:gd name="connsiteY90" fmla="*/ 1824114 h 1934496"/>
              <a:gd name="connsiteX91" fmla="*/ 5940156 w 9922465"/>
              <a:gd name="connsiteY91" fmla="*/ 1879305 h 1934496"/>
              <a:gd name="connsiteX92" fmla="*/ 5884964 w 9922465"/>
              <a:gd name="connsiteY92" fmla="*/ 1934496 h 1934496"/>
              <a:gd name="connsiteX93" fmla="*/ 5829772 w 9922465"/>
              <a:gd name="connsiteY93" fmla="*/ 1879305 h 1934496"/>
              <a:gd name="connsiteX94" fmla="*/ 5884964 w 9922465"/>
              <a:gd name="connsiteY94" fmla="*/ 1824114 h 1934496"/>
              <a:gd name="connsiteX95" fmla="*/ 5754670 w 9922465"/>
              <a:gd name="connsiteY95" fmla="*/ 1824114 h 1934496"/>
              <a:gd name="connsiteX96" fmla="*/ 5809862 w 9922465"/>
              <a:gd name="connsiteY96" fmla="*/ 1879305 h 1934496"/>
              <a:gd name="connsiteX97" fmla="*/ 5754670 w 9922465"/>
              <a:gd name="connsiteY97" fmla="*/ 1934496 h 1934496"/>
              <a:gd name="connsiteX98" fmla="*/ 5699478 w 9922465"/>
              <a:gd name="connsiteY98" fmla="*/ 1879305 h 1934496"/>
              <a:gd name="connsiteX99" fmla="*/ 5754670 w 9922465"/>
              <a:gd name="connsiteY99" fmla="*/ 1824114 h 1934496"/>
              <a:gd name="connsiteX100" fmla="*/ 5487399 w 9922465"/>
              <a:gd name="connsiteY100" fmla="*/ 1824114 h 1934496"/>
              <a:gd name="connsiteX101" fmla="*/ 5542591 w 9922465"/>
              <a:gd name="connsiteY101" fmla="*/ 1879305 h 1934496"/>
              <a:gd name="connsiteX102" fmla="*/ 5487399 w 9922465"/>
              <a:gd name="connsiteY102" fmla="*/ 1934496 h 1934496"/>
              <a:gd name="connsiteX103" fmla="*/ 5432207 w 9922465"/>
              <a:gd name="connsiteY103" fmla="*/ 1879305 h 1934496"/>
              <a:gd name="connsiteX104" fmla="*/ 5487399 w 9922465"/>
              <a:gd name="connsiteY104" fmla="*/ 1824114 h 1934496"/>
              <a:gd name="connsiteX105" fmla="*/ 5357105 w 9922465"/>
              <a:gd name="connsiteY105" fmla="*/ 1824114 h 1934496"/>
              <a:gd name="connsiteX106" fmla="*/ 5412297 w 9922465"/>
              <a:gd name="connsiteY106" fmla="*/ 1879305 h 1934496"/>
              <a:gd name="connsiteX107" fmla="*/ 5357105 w 9922465"/>
              <a:gd name="connsiteY107" fmla="*/ 1934496 h 1934496"/>
              <a:gd name="connsiteX108" fmla="*/ 5301913 w 9922465"/>
              <a:gd name="connsiteY108" fmla="*/ 1879305 h 1934496"/>
              <a:gd name="connsiteX109" fmla="*/ 5357105 w 9922465"/>
              <a:gd name="connsiteY109" fmla="*/ 1824114 h 1934496"/>
              <a:gd name="connsiteX110" fmla="*/ 5223473 w 9922465"/>
              <a:gd name="connsiteY110" fmla="*/ 1824114 h 1934496"/>
              <a:gd name="connsiteX111" fmla="*/ 5278665 w 9922465"/>
              <a:gd name="connsiteY111" fmla="*/ 1879305 h 1934496"/>
              <a:gd name="connsiteX112" fmla="*/ 5223473 w 9922465"/>
              <a:gd name="connsiteY112" fmla="*/ 1934496 h 1934496"/>
              <a:gd name="connsiteX113" fmla="*/ 5168281 w 9922465"/>
              <a:gd name="connsiteY113" fmla="*/ 1879305 h 1934496"/>
              <a:gd name="connsiteX114" fmla="*/ 5223473 w 9922465"/>
              <a:gd name="connsiteY114" fmla="*/ 1824114 h 1934496"/>
              <a:gd name="connsiteX115" fmla="*/ 5093178 w 9922465"/>
              <a:gd name="connsiteY115" fmla="*/ 1824114 h 1934496"/>
              <a:gd name="connsiteX116" fmla="*/ 5148370 w 9922465"/>
              <a:gd name="connsiteY116" fmla="*/ 1879305 h 1934496"/>
              <a:gd name="connsiteX117" fmla="*/ 5093178 w 9922465"/>
              <a:gd name="connsiteY117" fmla="*/ 1934496 h 1934496"/>
              <a:gd name="connsiteX118" fmla="*/ 5037986 w 9922465"/>
              <a:gd name="connsiteY118" fmla="*/ 1879305 h 1934496"/>
              <a:gd name="connsiteX119" fmla="*/ 5093178 w 9922465"/>
              <a:gd name="connsiteY119" fmla="*/ 1824114 h 1934496"/>
              <a:gd name="connsiteX120" fmla="*/ 4959543 w 9922465"/>
              <a:gd name="connsiteY120" fmla="*/ 1824114 h 1934496"/>
              <a:gd name="connsiteX121" fmla="*/ 5014735 w 9922465"/>
              <a:gd name="connsiteY121" fmla="*/ 1879305 h 1934496"/>
              <a:gd name="connsiteX122" fmla="*/ 4959543 w 9922465"/>
              <a:gd name="connsiteY122" fmla="*/ 1934496 h 1934496"/>
              <a:gd name="connsiteX123" fmla="*/ 4904351 w 9922465"/>
              <a:gd name="connsiteY123" fmla="*/ 1879305 h 1934496"/>
              <a:gd name="connsiteX124" fmla="*/ 4959543 w 9922465"/>
              <a:gd name="connsiteY124" fmla="*/ 1824114 h 1934496"/>
              <a:gd name="connsiteX125" fmla="*/ 4829250 w 9922465"/>
              <a:gd name="connsiteY125" fmla="*/ 1824114 h 1934496"/>
              <a:gd name="connsiteX126" fmla="*/ 4884442 w 9922465"/>
              <a:gd name="connsiteY126" fmla="*/ 1879305 h 1934496"/>
              <a:gd name="connsiteX127" fmla="*/ 4829250 w 9922465"/>
              <a:gd name="connsiteY127" fmla="*/ 1934496 h 1934496"/>
              <a:gd name="connsiteX128" fmla="*/ 4774058 w 9922465"/>
              <a:gd name="connsiteY128" fmla="*/ 1879305 h 1934496"/>
              <a:gd name="connsiteX129" fmla="*/ 4829250 w 9922465"/>
              <a:gd name="connsiteY129" fmla="*/ 1824114 h 1934496"/>
              <a:gd name="connsiteX130" fmla="*/ 4695613 w 9922465"/>
              <a:gd name="connsiteY130" fmla="*/ 1824114 h 1934496"/>
              <a:gd name="connsiteX131" fmla="*/ 4750805 w 9922465"/>
              <a:gd name="connsiteY131" fmla="*/ 1879305 h 1934496"/>
              <a:gd name="connsiteX132" fmla="*/ 4695613 w 9922465"/>
              <a:gd name="connsiteY132" fmla="*/ 1934496 h 1934496"/>
              <a:gd name="connsiteX133" fmla="*/ 4640421 w 9922465"/>
              <a:gd name="connsiteY133" fmla="*/ 1879305 h 1934496"/>
              <a:gd name="connsiteX134" fmla="*/ 4695613 w 9922465"/>
              <a:gd name="connsiteY134" fmla="*/ 1824114 h 1934496"/>
              <a:gd name="connsiteX135" fmla="*/ 2834762 w 9922465"/>
              <a:gd name="connsiteY135" fmla="*/ 1824114 h 1934496"/>
              <a:gd name="connsiteX136" fmla="*/ 2889954 w 9922465"/>
              <a:gd name="connsiteY136" fmla="*/ 1879305 h 1934496"/>
              <a:gd name="connsiteX137" fmla="*/ 2834762 w 9922465"/>
              <a:gd name="connsiteY137" fmla="*/ 1934496 h 1934496"/>
              <a:gd name="connsiteX138" fmla="*/ 2779570 w 9922465"/>
              <a:gd name="connsiteY138" fmla="*/ 1879305 h 1934496"/>
              <a:gd name="connsiteX139" fmla="*/ 2834762 w 9922465"/>
              <a:gd name="connsiteY139" fmla="*/ 1824114 h 1934496"/>
              <a:gd name="connsiteX140" fmla="*/ 2707807 w 9922465"/>
              <a:gd name="connsiteY140" fmla="*/ 1824114 h 1934496"/>
              <a:gd name="connsiteX141" fmla="*/ 2762999 w 9922465"/>
              <a:gd name="connsiteY141" fmla="*/ 1879305 h 1934496"/>
              <a:gd name="connsiteX142" fmla="*/ 2707807 w 9922465"/>
              <a:gd name="connsiteY142" fmla="*/ 1934496 h 1934496"/>
              <a:gd name="connsiteX143" fmla="*/ 2652615 w 9922465"/>
              <a:gd name="connsiteY143" fmla="*/ 1879305 h 1934496"/>
              <a:gd name="connsiteX144" fmla="*/ 2707807 w 9922465"/>
              <a:gd name="connsiteY144" fmla="*/ 1824114 h 1934496"/>
              <a:gd name="connsiteX145" fmla="*/ 2570834 w 9922465"/>
              <a:gd name="connsiteY145" fmla="*/ 1824114 h 1934496"/>
              <a:gd name="connsiteX146" fmla="*/ 2626025 w 9922465"/>
              <a:gd name="connsiteY146" fmla="*/ 1879305 h 1934496"/>
              <a:gd name="connsiteX147" fmla="*/ 2570834 w 9922465"/>
              <a:gd name="connsiteY147" fmla="*/ 1934496 h 1934496"/>
              <a:gd name="connsiteX148" fmla="*/ 2515641 w 9922465"/>
              <a:gd name="connsiteY148" fmla="*/ 1879305 h 1934496"/>
              <a:gd name="connsiteX149" fmla="*/ 2570834 w 9922465"/>
              <a:gd name="connsiteY149" fmla="*/ 1824114 h 1934496"/>
              <a:gd name="connsiteX150" fmla="*/ 2437196 w 9922465"/>
              <a:gd name="connsiteY150" fmla="*/ 1824114 h 1934496"/>
              <a:gd name="connsiteX151" fmla="*/ 2492389 w 9922465"/>
              <a:gd name="connsiteY151" fmla="*/ 1879305 h 1934496"/>
              <a:gd name="connsiteX152" fmla="*/ 2437196 w 9922465"/>
              <a:gd name="connsiteY152" fmla="*/ 1934496 h 1934496"/>
              <a:gd name="connsiteX153" fmla="*/ 2382005 w 9922465"/>
              <a:gd name="connsiteY153" fmla="*/ 1879305 h 1934496"/>
              <a:gd name="connsiteX154" fmla="*/ 2437196 w 9922465"/>
              <a:gd name="connsiteY154" fmla="*/ 1824114 h 1934496"/>
              <a:gd name="connsiteX155" fmla="*/ 2303564 w 9922465"/>
              <a:gd name="connsiteY155" fmla="*/ 1824114 h 1934496"/>
              <a:gd name="connsiteX156" fmla="*/ 2358756 w 9922465"/>
              <a:gd name="connsiteY156" fmla="*/ 1879305 h 1934496"/>
              <a:gd name="connsiteX157" fmla="*/ 2303564 w 9922465"/>
              <a:gd name="connsiteY157" fmla="*/ 1934496 h 1934496"/>
              <a:gd name="connsiteX158" fmla="*/ 2248372 w 9922465"/>
              <a:gd name="connsiteY158" fmla="*/ 1879305 h 1934496"/>
              <a:gd name="connsiteX159" fmla="*/ 2303564 w 9922465"/>
              <a:gd name="connsiteY159" fmla="*/ 1824114 h 1934496"/>
              <a:gd name="connsiteX160" fmla="*/ 2173271 w 9922465"/>
              <a:gd name="connsiteY160" fmla="*/ 1824114 h 1934496"/>
              <a:gd name="connsiteX161" fmla="*/ 2228463 w 9922465"/>
              <a:gd name="connsiteY161" fmla="*/ 1879305 h 1934496"/>
              <a:gd name="connsiteX162" fmla="*/ 2173271 w 9922465"/>
              <a:gd name="connsiteY162" fmla="*/ 1934496 h 1934496"/>
              <a:gd name="connsiteX163" fmla="*/ 2118079 w 9922465"/>
              <a:gd name="connsiteY163" fmla="*/ 1879305 h 1934496"/>
              <a:gd name="connsiteX164" fmla="*/ 2173271 w 9922465"/>
              <a:gd name="connsiteY164" fmla="*/ 1824114 h 1934496"/>
              <a:gd name="connsiteX165" fmla="*/ 2039637 w 9922465"/>
              <a:gd name="connsiteY165" fmla="*/ 1824114 h 1934496"/>
              <a:gd name="connsiteX166" fmla="*/ 2094830 w 9922465"/>
              <a:gd name="connsiteY166" fmla="*/ 1879305 h 1934496"/>
              <a:gd name="connsiteX167" fmla="*/ 2039637 w 9922465"/>
              <a:gd name="connsiteY167" fmla="*/ 1934496 h 1934496"/>
              <a:gd name="connsiteX168" fmla="*/ 1984445 w 9922465"/>
              <a:gd name="connsiteY168" fmla="*/ 1879305 h 1934496"/>
              <a:gd name="connsiteX169" fmla="*/ 2039637 w 9922465"/>
              <a:gd name="connsiteY169" fmla="*/ 1824114 h 1934496"/>
              <a:gd name="connsiteX170" fmla="*/ 1909341 w 9922465"/>
              <a:gd name="connsiteY170" fmla="*/ 1824114 h 1934496"/>
              <a:gd name="connsiteX171" fmla="*/ 1964533 w 9922465"/>
              <a:gd name="connsiteY171" fmla="*/ 1879305 h 1934496"/>
              <a:gd name="connsiteX172" fmla="*/ 1909341 w 9922465"/>
              <a:gd name="connsiteY172" fmla="*/ 1934496 h 1934496"/>
              <a:gd name="connsiteX173" fmla="*/ 1854149 w 9922465"/>
              <a:gd name="connsiteY173" fmla="*/ 1879305 h 1934496"/>
              <a:gd name="connsiteX174" fmla="*/ 1909341 w 9922465"/>
              <a:gd name="connsiteY174" fmla="*/ 1824114 h 1934496"/>
              <a:gd name="connsiteX175" fmla="*/ 1779049 w 9922465"/>
              <a:gd name="connsiteY175" fmla="*/ 1824114 h 1934496"/>
              <a:gd name="connsiteX176" fmla="*/ 1834241 w 9922465"/>
              <a:gd name="connsiteY176" fmla="*/ 1879305 h 1934496"/>
              <a:gd name="connsiteX177" fmla="*/ 1779049 w 9922465"/>
              <a:gd name="connsiteY177" fmla="*/ 1934496 h 1934496"/>
              <a:gd name="connsiteX178" fmla="*/ 1723856 w 9922465"/>
              <a:gd name="connsiteY178" fmla="*/ 1879305 h 1934496"/>
              <a:gd name="connsiteX179" fmla="*/ 1779049 w 9922465"/>
              <a:gd name="connsiteY179" fmla="*/ 1824114 h 1934496"/>
              <a:gd name="connsiteX180" fmla="*/ 1645413 w 9922465"/>
              <a:gd name="connsiteY180" fmla="*/ 1824114 h 1934496"/>
              <a:gd name="connsiteX181" fmla="*/ 1700604 w 9922465"/>
              <a:gd name="connsiteY181" fmla="*/ 1879305 h 1934496"/>
              <a:gd name="connsiteX182" fmla="*/ 1645413 w 9922465"/>
              <a:gd name="connsiteY182" fmla="*/ 1934496 h 1934496"/>
              <a:gd name="connsiteX183" fmla="*/ 1590220 w 9922465"/>
              <a:gd name="connsiteY183" fmla="*/ 1879305 h 1934496"/>
              <a:gd name="connsiteX184" fmla="*/ 1645413 w 9922465"/>
              <a:gd name="connsiteY184" fmla="*/ 1824114 h 1934496"/>
              <a:gd name="connsiteX185" fmla="*/ 1515120 w 9922465"/>
              <a:gd name="connsiteY185" fmla="*/ 1824114 h 1934496"/>
              <a:gd name="connsiteX186" fmla="*/ 1570311 w 9922465"/>
              <a:gd name="connsiteY186" fmla="*/ 1879305 h 1934496"/>
              <a:gd name="connsiteX187" fmla="*/ 1515120 w 9922465"/>
              <a:gd name="connsiteY187" fmla="*/ 1934496 h 1934496"/>
              <a:gd name="connsiteX188" fmla="*/ 1459927 w 9922465"/>
              <a:gd name="connsiteY188" fmla="*/ 1879305 h 1934496"/>
              <a:gd name="connsiteX189" fmla="*/ 1515120 w 9922465"/>
              <a:gd name="connsiteY189" fmla="*/ 1824114 h 1934496"/>
              <a:gd name="connsiteX190" fmla="*/ 1381486 w 9922465"/>
              <a:gd name="connsiteY190" fmla="*/ 1824114 h 1934496"/>
              <a:gd name="connsiteX191" fmla="*/ 1436678 w 9922465"/>
              <a:gd name="connsiteY191" fmla="*/ 1879305 h 1934496"/>
              <a:gd name="connsiteX192" fmla="*/ 1381486 w 9922465"/>
              <a:gd name="connsiteY192" fmla="*/ 1934496 h 1934496"/>
              <a:gd name="connsiteX193" fmla="*/ 1326294 w 9922465"/>
              <a:gd name="connsiteY193" fmla="*/ 1879305 h 1934496"/>
              <a:gd name="connsiteX194" fmla="*/ 1381486 w 9922465"/>
              <a:gd name="connsiteY194" fmla="*/ 1824114 h 1934496"/>
              <a:gd name="connsiteX195" fmla="*/ 1251193 w 9922465"/>
              <a:gd name="connsiteY195" fmla="*/ 1824114 h 1934496"/>
              <a:gd name="connsiteX196" fmla="*/ 1306386 w 9922465"/>
              <a:gd name="connsiteY196" fmla="*/ 1879305 h 1934496"/>
              <a:gd name="connsiteX197" fmla="*/ 1251193 w 9922465"/>
              <a:gd name="connsiteY197" fmla="*/ 1934496 h 1934496"/>
              <a:gd name="connsiteX198" fmla="*/ 1196001 w 9922465"/>
              <a:gd name="connsiteY198" fmla="*/ 1879305 h 1934496"/>
              <a:gd name="connsiteX199" fmla="*/ 1251193 w 9922465"/>
              <a:gd name="connsiteY199" fmla="*/ 1824114 h 1934496"/>
              <a:gd name="connsiteX200" fmla="*/ 4565336 w 9922465"/>
              <a:gd name="connsiteY200" fmla="*/ 1824106 h 1934496"/>
              <a:gd name="connsiteX201" fmla="*/ 4620528 w 9922465"/>
              <a:gd name="connsiteY201" fmla="*/ 1879297 h 1934496"/>
              <a:gd name="connsiteX202" fmla="*/ 4565336 w 9922465"/>
              <a:gd name="connsiteY202" fmla="*/ 1934488 h 1934496"/>
              <a:gd name="connsiteX203" fmla="*/ 4510144 w 9922465"/>
              <a:gd name="connsiteY203" fmla="*/ 1879297 h 1934496"/>
              <a:gd name="connsiteX204" fmla="*/ 4565336 w 9922465"/>
              <a:gd name="connsiteY204" fmla="*/ 1824106 h 1934496"/>
              <a:gd name="connsiteX205" fmla="*/ 4431689 w 9922465"/>
              <a:gd name="connsiteY205" fmla="*/ 1824098 h 1934496"/>
              <a:gd name="connsiteX206" fmla="*/ 4486881 w 9922465"/>
              <a:gd name="connsiteY206" fmla="*/ 1879289 h 1934496"/>
              <a:gd name="connsiteX207" fmla="*/ 4431689 w 9922465"/>
              <a:gd name="connsiteY207" fmla="*/ 1934480 h 1934496"/>
              <a:gd name="connsiteX208" fmla="*/ 4376497 w 9922465"/>
              <a:gd name="connsiteY208" fmla="*/ 1879289 h 1934496"/>
              <a:gd name="connsiteX209" fmla="*/ 4431689 w 9922465"/>
              <a:gd name="connsiteY209" fmla="*/ 1824098 h 1934496"/>
              <a:gd name="connsiteX210" fmla="*/ 8801537 w 9922465"/>
              <a:gd name="connsiteY210" fmla="*/ 1707182 h 1934496"/>
              <a:gd name="connsiteX211" fmla="*/ 8856729 w 9922465"/>
              <a:gd name="connsiteY211" fmla="*/ 1762373 h 1934496"/>
              <a:gd name="connsiteX212" fmla="*/ 8801537 w 9922465"/>
              <a:gd name="connsiteY212" fmla="*/ 1817564 h 1934496"/>
              <a:gd name="connsiteX213" fmla="*/ 8746345 w 9922465"/>
              <a:gd name="connsiteY213" fmla="*/ 1762373 h 1934496"/>
              <a:gd name="connsiteX214" fmla="*/ 8801537 w 9922465"/>
              <a:gd name="connsiteY214" fmla="*/ 1707182 h 1934496"/>
              <a:gd name="connsiteX215" fmla="*/ 8671243 w 9922465"/>
              <a:gd name="connsiteY215" fmla="*/ 1707182 h 1934496"/>
              <a:gd name="connsiteX216" fmla="*/ 8726435 w 9922465"/>
              <a:gd name="connsiteY216" fmla="*/ 1762373 h 1934496"/>
              <a:gd name="connsiteX217" fmla="*/ 8671243 w 9922465"/>
              <a:gd name="connsiteY217" fmla="*/ 1817564 h 1934496"/>
              <a:gd name="connsiteX218" fmla="*/ 8616051 w 9922465"/>
              <a:gd name="connsiteY218" fmla="*/ 1762373 h 1934496"/>
              <a:gd name="connsiteX219" fmla="*/ 8671243 w 9922465"/>
              <a:gd name="connsiteY219" fmla="*/ 1707182 h 1934496"/>
              <a:gd name="connsiteX220" fmla="*/ 8537609 w 9922465"/>
              <a:gd name="connsiteY220" fmla="*/ 1707182 h 1934496"/>
              <a:gd name="connsiteX221" fmla="*/ 8592801 w 9922465"/>
              <a:gd name="connsiteY221" fmla="*/ 1762373 h 1934496"/>
              <a:gd name="connsiteX222" fmla="*/ 8537609 w 9922465"/>
              <a:gd name="connsiteY222" fmla="*/ 1817564 h 1934496"/>
              <a:gd name="connsiteX223" fmla="*/ 8482417 w 9922465"/>
              <a:gd name="connsiteY223" fmla="*/ 1762373 h 1934496"/>
              <a:gd name="connsiteX224" fmla="*/ 8537609 w 9922465"/>
              <a:gd name="connsiteY224" fmla="*/ 1707182 h 1934496"/>
              <a:gd name="connsiteX225" fmla="*/ 8407318 w 9922465"/>
              <a:gd name="connsiteY225" fmla="*/ 1707182 h 1934496"/>
              <a:gd name="connsiteX226" fmla="*/ 8462510 w 9922465"/>
              <a:gd name="connsiteY226" fmla="*/ 1762373 h 1934496"/>
              <a:gd name="connsiteX227" fmla="*/ 8407318 w 9922465"/>
              <a:gd name="connsiteY227" fmla="*/ 1817564 h 1934496"/>
              <a:gd name="connsiteX228" fmla="*/ 8352126 w 9922465"/>
              <a:gd name="connsiteY228" fmla="*/ 1762373 h 1934496"/>
              <a:gd name="connsiteX229" fmla="*/ 8407318 w 9922465"/>
              <a:gd name="connsiteY229" fmla="*/ 1707182 h 1934496"/>
              <a:gd name="connsiteX230" fmla="*/ 8273682 w 9922465"/>
              <a:gd name="connsiteY230" fmla="*/ 1707182 h 1934496"/>
              <a:gd name="connsiteX231" fmla="*/ 8328874 w 9922465"/>
              <a:gd name="connsiteY231" fmla="*/ 1762373 h 1934496"/>
              <a:gd name="connsiteX232" fmla="*/ 8273682 w 9922465"/>
              <a:gd name="connsiteY232" fmla="*/ 1817564 h 1934496"/>
              <a:gd name="connsiteX233" fmla="*/ 8218490 w 9922465"/>
              <a:gd name="connsiteY233" fmla="*/ 1762373 h 1934496"/>
              <a:gd name="connsiteX234" fmla="*/ 8273682 w 9922465"/>
              <a:gd name="connsiteY234" fmla="*/ 1707182 h 1934496"/>
              <a:gd name="connsiteX235" fmla="*/ 8143386 w 9922465"/>
              <a:gd name="connsiteY235" fmla="*/ 1707182 h 1934496"/>
              <a:gd name="connsiteX236" fmla="*/ 8198578 w 9922465"/>
              <a:gd name="connsiteY236" fmla="*/ 1762373 h 1934496"/>
              <a:gd name="connsiteX237" fmla="*/ 8143386 w 9922465"/>
              <a:gd name="connsiteY237" fmla="*/ 1817564 h 1934496"/>
              <a:gd name="connsiteX238" fmla="*/ 8088194 w 9922465"/>
              <a:gd name="connsiteY238" fmla="*/ 1762373 h 1934496"/>
              <a:gd name="connsiteX239" fmla="*/ 8143386 w 9922465"/>
              <a:gd name="connsiteY239" fmla="*/ 1707182 h 1934496"/>
              <a:gd name="connsiteX240" fmla="*/ 8009752 w 9922465"/>
              <a:gd name="connsiteY240" fmla="*/ 1707182 h 1934496"/>
              <a:gd name="connsiteX241" fmla="*/ 8064944 w 9922465"/>
              <a:gd name="connsiteY241" fmla="*/ 1762373 h 1934496"/>
              <a:gd name="connsiteX242" fmla="*/ 8009752 w 9922465"/>
              <a:gd name="connsiteY242" fmla="*/ 1817564 h 1934496"/>
              <a:gd name="connsiteX243" fmla="*/ 7954560 w 9922465"/>
              <a:gd name="connsiteY243" fmla="*/ 1762373 h 1934496"/>
              <a:gd name="connsiteX244" fmla="*/ 8009752 w 9922465"/>
              <a:gd name="connsiteY244" fmla="*/ 1707182 h 1934496"/>
              <a:gd name="connsiteX245" fmla="*/ 7876117 w 9922465"/>
              <a:gd name="connsiteY245" fmla="*/ 1707182 h 1934496"/>
              <a:gd name="connsiteX246" fmla="*/ 7931309 w 9922465"/>
              <a:gd name="connsiteY246" fmla="*/ 1762373 h 1934496"/>
              <a:gd name="connsiteX247" fmla="*/ 7876117 w 9922465"/>
              <a:gd name="connsiteY247" fmla="*/ 1817564 h 1934496"/>
              <a:gd name="connsiteX248" fmla="*/ 7820925 w 9922465"/>
              <a:gd name="connsiteY248" fmla="*/ 1762373 h 1934496"/>
              <a:gd name="connsiteX249" fmla="*/ 7876117 w 9922465"/>
              <a:gd name="connsiteY249" fmla="*/ 1707182 h 1934496"/>
              <a:gd name="connsiteX250" fmla="*/ 7745824 w 9922465"/>
              <a:gd name="connsiteY250" fmla="*/ 1707182 h 1934496"/>
              <a:gd name="connsiteX251" fmla="*/ 7801016 w 9922465"/>
              <a:gd name="connsiteY251" fmla="*/ 1762373 h 1934496"/>
              <a:gd name="connsiteX252" fmla="*/ 7745824 w 9922465"/>
              <a:gd name="connsiteY252" fmla="*/ 1817564 h 1934496"/>
              <a:gd name="connsiteX253" fmla="*/ 7690632 w 9922465"/>
              <a:gd name="connsiteY253" fmla="*/ 1762373 h 1934496"/>
              <a:gd name="connsiteX254" fmla="*/ 7745824 w 9922465"/>
              <a:gd name="connsiteY254" fmla="*/ 1707182 h 1934496"/>
              <a:gd name="connsiteX255" fmla="*/ 7608849 w 9922465"/>
              <a:gd name="connsiteY255" fmla="*/ 1707182 h 1934496"/>
              <a:gd name="connsiteX256" fmla="*/ 7664041 w 9922465"/>
              <a:gd name="connsiteY256" fmla="*/ 1762373 h 1934496"/>
              <a:gd name="connsiteX257" fmla="*/ 7608849 w 9922465"/>
              <a:gd name="connsiteY257" fmla="*/ 1817564 h 1934496"/>
              <a:gd name="connsiteX258" fmla="*/ 7553657 w 9922465"/>
              <a:gd name="connsiteY258" fmla="*/ 1762373 h 1934496"/>
              <a:gd name="connsiteX259" fmla="*/ 7608849 w 9922465"/>
              <a:gd name="connsiteY259" fmla="*/ 1707182 h 1934496"/>
              <a:gd name="connsiteX260" fmla="*/ 7481895 w 9922465"/>
              <a:gd name="connsiteY260" fmla="*/ 1707182 h 1934496"/>
              <a:gd name="connsiteX261" fmla="*/ 7537087 w 9922465"/>
              <a:gd name="connsiteY261" fmla="*/ 1762373 h 1934496"/>
              <a:gd name="connsiteX262" fmla="*/ 7481895 w 9922465"/>
              <a:gd name="connsiteY262" fmla="*/ 1817564 h 1934496"/>
              <a:gd name="connsiteX263" fmla="*/ 7426703 w 9922465"/>
              <a:gd name="connsiteY263" fmla="*/ 1762373 h 1934496"/>
              <a:gd name="connsiteX264" fmla="*/ 7481895 w 9922465"/>
              <a:gd name="connsiteY264" fmla="*/ 1707182 h 1934496"/>
              <a:gd name="connsiteX265" fmla="*/ 7341579 w 9922465"/>
              <a:gd name="connsiteY265" fmla="*/ 1707182 h 1934496"/>
              <a:gd name="connsiteX266" fmla="*/ 7396771 w 9922465"/>
              <a:gd name="connsiteY266" fmla="*/ 1762373 h 1934496"/>
              <a:gd name="connsiteX267" fmla="*/ 7341579 w 9922465"/>
              <a:gd name="connsiteY267" fmla="*/ 1817564 h 1934496"/>
              <a:gd name="connsiteX268" fmla="*/ 7286387 w 9922465"/>
              <a:gd name="connsiteY268" fmla="*/ 1762373 h 1934496"/>
              <a:gd name="connsiteX269" fmla="*/ 7341579 w 9922465"/>
              <a:gd name="connsiteY269" fmla="*/ 1707182 h 1934496"/>
              <a:gd name="connsiteX270" fmla="*/ 7211286 w 9922465"/>
              <a:gd name="connsiteY270" fmla="*/ 1707182 h 1934496"/>
              <a:gd name="connsiteX271" fmla="*/ 7266478 w 9922465"/>
              <a:gd name="connsiteY271" fmla="*/ 1762373 h 1934496"/>
              <a:gd name="connsiteX272" fmla="*/ 7211286 w 9922465"/>
              <a:gd name="connsiteY272" fmla="*/ 1817564 h 1934496"/>
              <a:gd name="connsiteX273" fmla="*/ 7156094 w 9922465"/>
              <a:gd name="connsiteY273" fmla="*/ 1762373 h 1934496"/>
              <a:gd name="connsiteX274" fmla="*/ 7211286 w 9922465"/>
              <a:gd name="connsiteY274" fmla="*/ 1707182 h 1934496"/>
              <a:gd name="connsiteX275" fmla="*/ 7080993 w 9922465"/>
              <a:gd name="connsiteY275" fmla="*/ 1707182 h 1934496"/>
              <a:gd name="connsiteX276" fmla="*/ 7136185 w 9922465"/>
              <a:gd name="connsiteY276" fmla="*/ 1762373 h 1934496"/>
              <a:gd name="connsiteX277" fmla="*/ 7080993 w 9922465"/>
              <a:gd name="connsiteY277" fmla="*/ 1817564 h 1934496"/>
              <a:gd name="connsiteX278" fmla="*/ 7025801 w 9922465"/>
              <a:gd name="connsiteY278" fmla="*/ 1762373 h 1934496"/>
              <a:gd name="connsiteX279" fmla="*/ 7080993 w 9922465"/>
              <a:gd name="connsiteY279" fmla="*/ 1707182 h 1934496"/>
              <a:gd name="connsiteX280" fmla="*/ 6947357 w 9922465"/>
              <a:gd name="connsiteY280" fmla="*/ 1707182 h 1934496"/>
              <a:gd name="connsiteX281" fmla="*/ 7002549 w 9922465"/>
              <a:gd name="connsiteY281" fmla="*/ 1762373 h 1934496"/>
              <a:gd name="connsiteX282" fmla="*/ 6947357 w 9922465"/>
              <a:gd name="connsiteY282" fmla="*/ 1817564 h 1934496"/>
              <a:gd name="connsiteX283" fmla="*/ 6892165 w 9922465"/>
              <a:gd name="connsiteY283" fmla="*/ 1762373 h 1934496"/>
              <a:gd name="connsiteX284" fmla="*/ 6947357 w 9922465"/>
              <a:gd name="connsiteY284" fmla="*/ 1707182 h 1934496"/>
              <a:gd name="connsiteX285" fmla="*/ 6817063 w 9922465"/>
              <a:gd name="connsiteY285" fmla="*/ 1707182 h 1934496"/>
              <a:gd name="connsiteX286" fmla="*/ 6872255 w 9922465"/>
              <a:gd name="connsiteY286" fmla="*/ 1762373 h 1934496"/>
              <a:gd name="connsiteX287" fmla="*/ 6817063 w 9922465"/>
              <a:gd name="connsiteY287" fmla="*/ 1817564 h 1934496"/>
              <a:gd name="connsiteX288" fmla="*/ 6761871 w 9922465"/>
              <a:gd name="connsiteY288" fmla="*/ 1762373 h 1934496"/>
              <a:gd name="connsiteX289" fmla="*/ 6817063 w 9922465"/>
              <a:gd name="connsiteY289" fmla="*/ 1707182 h 1934496"/>
              <a:gd name="connsiteX290" fmla="*/ 6683431 w 9922465"/>
              <a:gd name="connsiteY290" fmla="*/ 1707182 h 1934496"/>
              <a:gd name="connsiteX291" fmla="*/ 6738623 w 9922465"/>
              <a:gd name="connsiteY291" fmla="*/ 1762373 h 1934496"/>
              <a:gd name="connsiteX292" fmla="*/ 6683431 w 9922465"/>
              <a:gd name="connsiteY292" fmla="*/ 1817564 h 1934496"/>
              <a:gd name="connsiteX293" fmla="*/ 6628239 w 9922465"/>
              <a:gd name="connsiteY293" fmla="*/ 1762373 h 1934496"/>
              <a:gd name="connsiteX294" fmla="*/ 6683431 w 9922465"/>
              <a:gd name="connsiteY294" fmla="*/ 1707182 h 1934496"/>
              <a:gd name="connsiteX295" fmla="*/ 6553137 w 9922465"/>
              <a:gd name="connsiteY295" fmla="*/ 1707182 h 1934496"/>
              <a:gd name="connsiteX296" fmla="*/ 6608329 w 9922465"/>
              <a:gd name="connsiteY296" fmla="*/ 1762373 h 1934496"/>
              <a:gd name="connsiteX297" fmla="*/ 6553137 w 9922465"/>
              <a:gd name="connsiteY297" fmla="*/ 1817564 h 1934496"/>
              <a:gd name="connsiteX298" fmla="*/ 6497945 w 9922465"/>
              <a:gd name="connsiteY298" fmla="*/ 1762373 h 1934496"/>
              <a:gd name="connsiteX299" fmla="*/ 6553137 w 9922465"/>
              <a:gd name="connsiteY299" fmla="*/ 1707182 h 1934496"/>
              <a:gd name="connsiteX300" fmla="*/ 6419502 w 9922465"/>
              <a:gd name="connsiteY300" fmla="*/ 1707182 h 1934496"/>
              <a:gd name="connsiteX301" fmla="*/ 6474694 w 9922465"/>
              <a:gd name="connsiteY301" fmla="*/ 1762373 h 1934496"/>
              <a:gd name="connsiteX302" fmla="*/ 6419502 w 9922465"/>
              <a:gd name="connsiteY302" fmla="*/ 1817564 h 1934496"/>
              <a:gd name="connsiteX303" fmla="*/ 6364310 w 9922465"/>
              <a:gd name="connsiteY303" fmla="*/ 1762373 h 1934496"/>
              <a:gd name="connsiteX304" fmla="*/ 6419502 w 9922465"/>
              <a:gd name="connsiteY304" fmla="*/ 1707182 h 1934496"/>
              <a:gd name="connsiteX305" fmla="*/ 6289207 w 9922465"/>
              <a:gd name="connsiteY305" fmla="*/ 1707182 h 1934496"/>
              <a:gd name="connsiteX306" fmla="*/ 6344399 w 9922465"/>
              <a:gd name="connsiteY306" fmla="*/ 1762373 h 1934496"/>
              <a:gd name="connsiteX307" fmla="*/ 6289207 w 9922465"/>
              <a:gd name="connsiteY307" fmla="*/ 1817564 h 1934496"/>
              <a:gd name="connsiteX308" fmla="*/ 6234015 w 9922465"/>
              <a:gd name="connsiteY308" fmla="*/ 1762373 h 1934496"/>
              <a:gd name="connsiteX309" fmla="*/ 6289207 w 9922465"/>
              <a:gd name="connsiteY309" fmla="*/ 1707182 h 1934496"/>
              <a:gd name="connsiteX310" fmla="*/ 6155572 w 9922465"/>
              <a:gd name="connsiteY310" fmla="*/ 1707182 h 1934496"/>
              <a:gd name="connsiteX311" fmla="*/ 6210764 w 9922465"/>
              <a:gd name="connsiteY311" fmla="*/ 1762373 h 1934496"/>
              <a:gd name="connsiteX312" fmla="*/ 6155572 w 9922465"/>
              <a:gd name="connsiteY312" fmla="*/ 1817564 h 1934496"/>
              <a:gd name="connsiteX313" fmla="*/ 6100380 w 9922465"/>
              <a:gd name="connsiteY313" fmla="*/ 1762373 h 1934496"/>
              <a:gd name="connsiteX314" fmla="*/ 6155572 w 9922465"/>
              <a:gd name="connsiteY314" fmla="*/ 1707182 h 1934496"/>
              <a:gd name="connsiteX315" fmla="*/ 6021938 w 9922465"/>
              <a:gd name="connsiteY315" fmla="*/ 1707182 h 1934496"/>
              <a:gd name="connsiteX316" fmla="*/ 6077130 w 9922465"/>
              <a:gd name="connsiteY316" fmla="*/ 1762373 h 1934496"/>
              <a:gd name="connsiteX317" fmla="*/ 6021938 w 9922465"/>
              <a:gd name="connsiteY317" fmla="*/ 1817564 h 1934496"/>
              <a:gd name="connsiteX318" fmla="*/ 5966746 w 9922465"/>
              <a:gd name="connsiteY318" fmla="*/ 1762373 h 1934496"/>
              <a:gd name="connsiteX319" fmla="*/ 6021938 w 9922465"/>
              <a:gd name="connsiteY319" fmla="*/ 1707182 h 1934496"/>
              <a:gd name="connsiteX320" fmla="*/ 5884964 w 9922465"/>
              <a:gd name="connsiteY320" fmla="*/ 1707182 h 1934496"/>
              <a:gd name="connsiteX321" fmla="*/ 5940156 w 9922465"/>
              <a:gd name="connsiteY321" fmla="*/ 1762373 h 1934496"/>
              <a:gd name="connsiteX322" fmla="*/ 5884964 w 9922465"/>
              <a:gd name="connsiteY322" fmla="*/ 1817564 h 1934496"/>
              <a:gd name="connsiteX323" fmla="*/ 5829772 w 9922465"/>
              <a:gd name="connsiteY323" fmla="*/ 1762373 h 1934496"/>
              <a:gd name="connsiteX324" fmla="*/ 5884964 w 9922465"/>
              <a:gd name="connsiteY324" fmla="*/ 1707182 h 1934496"/>
              <a:gd name="connsiteX325" fmla="*/ 5754670 w 9922465"/>
              <a:gd name="connsiteY325" fmla="*/ 1707182 h 1934496"/>
              <a:gd name="connsiteX326" fmla="*/ 5809862 w 9922465"/>
              <a:gd name="connsiteY326" fmla="*/ 1762373 h 1934496"/>
              <a:gd name="connsiteX327" fmla="*/ 5754670 w 9922465"/>
              <a:gd name="connsiteY327" fmla="*/ 1817564 h 1934496"/>
              <a:gd name="connsiteX328" fmla="*/ 5699478 w 9922465"/>
              <a:gd name="connsiteY328" fmla="*/ 1762373 h 1934496"/>
              <a:gd name="connsiteX329" fmla="*/ 5754670 w 9922465"/>
              <a:gd name="connsiteY329" fmla="*/ 1707182 h 1934496"/>
              <a:gd name="connsiteX330" fmla="*/ 5621035 w 9922465"/>
              <a:gd name="connsiteY330" fmla="*/ 1707182 h 1934496"/>
              <a:gd name="connsiteX331" fmla="*/ 5676227 w 9922465"/>
              <a:gd name="connsiteY331" fmla="*/ 1762373 h 1934496"/>
              <a:gd name="connsiteX332" fmla="*/ 5621035 w 9922465"/>
              <a:gd name="connsiteY332" fmla="*/ 1817564 h 1934496"/>
              <a:gd name="connsiteX333" fmla="*/ 5565843 w 9922465"/>
              <a:gd name="connsiteY333" fmla="*/ 1762373 h 1934496"/>
              <a:gd name="connsiteX334" fmla="*/ 5621035 w 9922465"/>
              <a:gd name="connsiteY334" fmla="*/ 1707182 h 1934496"/>
              <a:gd name="connsiteX335" fmla="*/ 5487399 w 9922465"/>
              <a:gd name="connsiteY335" fmla="*/ 1707182 h 1934496"/>
              <a:gd name="connsiteX336" fmla="*/ 5542591 w 9922465"/>
              <a:gd name="connsiteY336" fmla="*/ 1762373 h 1934496"/>
              <a:gd name="connsiteX337" fmla="*/ 5487399 w 9922465"/>
              <a:gd name="connsiteY337" fmla="*/ 1817564 h 1934496"/>
              <a:gd name="connsiteX338" fmla="*/ 5432207 w 9922465"/>
              <a:gd name="connsiteY338" fmla="*/ 1762373 h 1934496"/>
              <a:gd name="connsiteX339" fmla="*/ 5487399 w 9922465"/>
              <a:gd name="connsiteY339" fmla="*/ 1707182 h 1934496"/>
              <a:gd name="connsiteX340" fmla="*/ 5357105 w 9922465"/>
              <a:gd name="connsiteY340" fmla="*/ 1707182 h 1934496"/>
              <a:gd name="connsiteX341" fmla="*/ 5412297 w 9922465"/>
              <a:gd name="connsiteY341" fmla="*/ 1762373 h 1934496"/>
              <a:gd name="connsiteX342" fmla="*/ 5357105 w 9922465"/>
              <a:gd name="connsiteY342" fmla="*/ 1817564 h 1934496"/>
              <a:gd name="connsiteX343" fmla="*/ 5301913 w 9922465"/>
              <a:gd name="connsiteY343" fmla="*/ 1762373 h 1934496"/>
              <a:gd name="connsiteX344" fmla="*/ 5357105 w 9922465"/>
              <a:gd name="connsiteY344" fmla="*/ 1707182 h 1934496"/>
              <a:gd name="connsiteX345" fmla="*/ 5223473 w 9922465"/>
              <a:gd name="connsiteY345" fmla="*/ 1707182 h 1934496"/>
              <a:gd name="connsiteX346" fmla="*/ 5278665 w 9922465"/>
              <a:gd name="connsiteY346" fmla="*/ 1762373 h 1934496"/>
              <a:gd name="connsiteX347" fmla="*/ 5223473 w 9922465"/>
              <a:gd name="connsiteY347" fmla="*/ 1817564 h 1934496"/>
              <a:gd name="connsiteX348" fmla="*/ 5168281 w 9922465"/>
              <a:gd name="connsiteY348" fmla="*/ 1762373 h 1934496"/>
              <a:gd name="connsiteX349" fmla="*/ 5223473 w 9922465"/>
              <a:gd name="connsiteY349" fmla="*/ 1707182 h 1934496"/>
              <a:gd name="connsiteX350" fmla="*/ 5093178 w 9922465"/>
              <a:gd name="connsiteY350" fmla="*/ 1707182 h 1934496"/>
              <a:gd name="connsiteX351" fmla="*/ 5148370 w 9922465"/>
              <a:gd name="connsiteY351" fmla="*/ 1762373 h 1934496"/>
              <a:gd name="connsiteX352" fmla="*/ 5093178 w 9922465"/>
              <a:gd name="connsiteY352" fmla="*/ 1817564 h 1934496"/>
              <a:gd name="connsiteX353" fmla="*/ 5037986 w 9922465"/>
              <a:gd name="connsiteY353" fmla="*/ 1762373 h 1934496"/>
              <a:gd name="connsiteX354" fmla="*/ 5093178 w 9922465"/>
              <a:gd name="connsiteY354" fmla="*/ 1707182 h 1934496"/>
              <a:gd name="connsiteX355" fmla="*/ 4959543 w 9922465"/>
              <a:gd name="connsiteY355" fmla="*/ 1707182 h 1934496"/>
              <a:gd name="connsiteX356" fmla="*/ 5014735 w 9922465"/>
              <a:gd name="connsiteY356" fmla="*/ 1762373 h 1934496"/>
              <a:gd name="connsiteX357" fmla="*/ 4959543 w 9922465"/>
              <a:gd name="connsiteY357" fmla="*/ 1817564 h 1934496"/>
              <a:gd name="connsiteX358" fmla="*/ 4904351 w 9922465"/>
              <a:gd name="connsiteY358" fmla="*/ 1762373 h 1934496"/>
              <a:gd name="connsiteX359" fmla="*/ 4959543 w 9922465"/>
              <a:gd name="connsiteY359" fmla="*/ 1707182 h 1934496"/>
              <a:gd name="connsiteX360" fmla="*/ 4829251 w 9922465"/>
              <a:gd name="connsiteY360" fmla="*/ 1707182 h 1934496"/>
              <a:gd name="connsiteX361" fmla="*/ 4884443 w 9922465"/>
              <a:gd name="connsiteY361" fmla="*/ 1762373 h 1934496"/>
              <a:gd name="connsiteX362" fmla="*/ 4829251 w 9922465"/>
              <a:gd name="connsiteY362" fmla="*/ 1817564 h 1934496"/>
              <a:gd name="connsiteX363" fmla="*/ 4774059 w 9922465"/>
              <a:gd name="connsiteY363" fmla="*/ 1762373 h 1934496"/>
              <a:gd name="connsiteX364" fmla="*/ 4829251 w 9922465"/>
              <a:gd name="connsiteY364" fmla="*/ 1707182 h 1934496"/>
              <a:gd name="connsiteX365" fmla="*/ 4695613 w 9922465"/>
              <a:gd name="connsiteY365" fmla="*/ 1707182 h 1934496"/>
              <a:gd name="connsiteX366" fmla="*/ 4750805 w 9922465"/>
              <a:gd name="connsiteY366" fmla="*/ 1762373 h 1934496"/>
              <a:gd name="connsiteX367" fmla="*/ 4695613 w 9922465"/>
              <a:gd name="connsiteY367" fmla="*/ 1817564 h 1934496"/>
              <a:gd name="connsiteX368" fmla="*/ 4640421 w 9922465"/>
              <a:gd name="connsiteY368" fmla="*/ 1762373 h 1934496"/>
              <a:gd name="connsiteX369" fmla="*/ 4695613 w 9922465"/>
              <a:gd name="connsiteY369" fmla="*/ 1707182 h 1934496"/>
              <a:gd name="connsiteX370" fmla="*/ 3098681 w 9922465"/>
              <a:gd name="connsiteY370" fmla="*/ 1707182 h 1934496"/>
              <a:gd name="connsiteX371" fmla="*/ 3153873 w 9922465"/>
              <a:gd name="connsiteY371" fmla="*/ 1762373 h 1934496"/>
              <a:gd name="connsiteX372" fmla="*/ 3098681 w 9922465"/>
              <a:gd name="connsiteY372" fmla="*/ 1817564 h 1934496"/>
              <a:gd name="connsiteX373" fmla="*/ 3043489 w 9922465"/>
              <a:gd name="connsiteY373" fmla="*/ 1762373 h 1934496"/>
              <a:gd name="connsiteX374" fmla="*/ 3098681 w 9922465"/>
              <a:gd name="connsiteY374" fmla="*/ 1707182 h 1934496"/>
              <a:gd name="connsiteX375" fmla="*/ 2971729 w 9922465"/>
              <a:gd name="connsiteY375" fmla="*/ 1707182 h 1934496"/>
              <a:gd name="connsiteX376" fmla="*/ 3026921 w 9922465"/>
              <a:gd name="connsiteY376" fmla="*/ 1762373 h 1934496"/>
              <a:gd name="connsiteX377" fmla="*/ 2971729 w 9922465"/>
              <a:gd name="connsiteY377" fmla="*/ 1817564 h 1934496"/>
              <a:gd name="connsiteX378" fmla="*/ 2916537 w 9922465"/>
              <a:gd name="connsiteY378" fmla="*/ 1762373 h 1934496"/>
              <a:gd name="connsiteX379" fmla="*/ 2971729 w 9922465"/>
              <a:gd name="connsiteY379" fmla="*/ 1707182 h 1934496"/>
              <a:gd name="connsiteX380" fmla="*/ 2834772 w 9922465"/>
              <a:gd name="connsiteY380" fmla="*/ 1707182 h 1934496"/>
              <a:gd name="connsiteX381" fmla="*/ 2889964 w 9922465"/>
              <a:gd name="connsiteY381" fmla="*/ 1762373 h 1934496"/>
              <a:gd name="connsiteX382" fmla="*/ 2834772 w 9922465"/>
              <a:gd name="connsiteY382" fmla="*/ 1817564 h 1934496"/>
              <a:gd name="connsiteX383" fmla="*/ 2779580 w 9922465"/>
              <a:gd name="connsiteY383" fmla="*/ 1762373 h 1934496"/>
              <a:gd name="connsiteX384" fmla="*/ 2834772 w 9922465"/>
              <a:gd name="connsiteY384" fmla="*/ 1707182 h 1934496"/>
              <a:gd name="connsiteX385" fmla="*/ 2707817 w 9922465"/>
              <a:gd name="connsiteY385" fmla="*/ 1707182 h 1934496"/>
              <a:gd name="connsiteX386" fmla="*/ 2763009 w 9922465"/>
              <a:gd name="connsiteY386" fmla="*/ 1762373 h 1934496"/>
              <a:gd name="connsiteX387" fmla="*/ 2707817 w 9922465"/>
              <a:gd name="connsiteY387" fmla="*/ 1817564 h 1934496"/>
              <a:gd name="connsiteX388" fmla="*/ 2652625 w 9922465"/>
              <a:gd name="connsiteY388" fmla="*/ 1762373 h 1934496"/>
              <a:gd name="connsiteX389" fmla="*/ 2707817 w 9922465"/>
              <a:gd name="connsiteY389" fmla="*/ 1707182 h 1934496"/>
              <a:gd name="connsiteX390" fmla="*/ 2570843 w 9922465"/>
              <a:gd name="connsiteY390" fmla="*/ 1707182 h 1934496"/>
              <a:gd name="connsiteX391" fmla="*/ 2626036 w 9922465"/>
              <a:gd name="connsiteY391" fmla="*/ 1762373 h 1934496"/>
              <a:gd name="connsiteX392" fmla="*/ 2570843 w 9922465"/>
              <a:gd name="connsiteY392" fmla="*/ 1817564 h 1934496"/>
              <a:gd name="connsiteX393" fmla="*/ 2515651 w 9922465"/>
              <a:gd name="connsiteY393" fmla="*/ 1762373 h 1934496"/>
              <a:gd name="connsiteX394" fmla="*/ 2570843 w 9922465"/>
              <a:gd name="connsiteY394" fmla="*/ 1707182 h 1934496"/>
              <a:gd name="connsiteX395" fmla="*/ 2437207 w 9922465"/>
              <a:gd name="connsiteY395" fmla="*/ 1707182 h 1934496"/>
              <a:gd name="connsiteX396" fmla="*/ 2492398 w 9922465"/>
              <a:gd name="connsiteY396" fmla="*/ 1762373 h 1934496"/>
              <a:gd name="connsiteX397" fmla="*/ 2437207 w 9922465"/>
              <a:gd name="connsiteY397" fmla="*/ 1817564 h 1934496"/>
              <a:gd name="connsiteX398" fmla="*/ 2382015 w 9922465"/>
              <a:gd name="connsiteY398" fmla="*/ 1762373 h 1934496"/>
              <a:gd name="connsiteX399" fmla="*/ 2437207 w 9922465"/>
              <a:gd name="connsiteY399" fmla="*/ 1707182 h 1934496"/>
              <a:gd name="connsiteX400" fmla="*/ 2303575 w 9922465"/>
              <a:gd name="connsiteY400" fmla="*/ 1707182 h 1934496"/>
              <a:gd name="connsiteX401" fmla="*/ 2358767 w 9922465"/>
              <a:gd name="connsiteY401" fmla="*/ 1762373 h 1934496"/>
              <a:gd name="connsiteX402" fmla="*/ 2303575 w 9922465"/>
              <a:gd name="connsiteY402" fmla="*/ 1817564 h 1934496"/>
              <a:gd name="connsiteX403" fmla="*/ 2248383 w 9922465"/>
              <a:gd name="connsiteY403" fmla="*/ 1762373 h 1934496"/>
              <a:gd name="connsiteX404" fmla="*/ 2303575 w 9922465"/>
              <a:gd name="connsiteY404" fmla="*/ 1707182 h 1934496"/>
              <a:gd name="connsiteX405" fmla="*/ 2173282 w 9922465"/>
              <a:gd name="connsiteY405" fmla="*/ 1707182 h 1934496"/>
              <a:gd name="connsiteX406" fmla="*/ 2228474 w 9922465"/>
              <a:gd name="connsiteY406" fmla="*/ 1762373 h 1934496"/>
              <a:gd name="connsiteX407" fmla="*/ 2173282 w 9922465"/>
              <a:gd name="connsiteY407" fmla="*/ 1817564 h 1934496"/>
              <a:gd name="connsiteX408" fmla="*/ 2118090 w 9922465"/>
              <a:gd name="connsiteY408" fmla="*/ 1762373 h 1934496"/>
              <a:gd name="connsiteX409" fmla="*/ 2173282 w 9922465"/>
              <a:gd name="connsiteY409" fmla="*/ 1707182 h 1934496"/>
              <a:gd name="connsiteX410" fmla="*/ 2039648 w 9922465"/>
              <a:gd name="connsiteY410" fmla="*/ 1707182 h 1934496"/>
              <a:gd name="connsiteX411" fmla="*/ 2094840 w 9922465"/>
              <a:gd name="connsiteY411" fmla="*/ 1762373 h 1934496"/>
              <a:gd name="connsiteX412" fmla="*/ 2039648 w 9922465"/>
              <a:gd name="connsiteY412" fmla="*/ 1817564 h 1934496"/>
              <a:gd name="connsiteX413" fmla="*/ 1984455 w 9922465"/>
              <a:gd name="connsiteY413" fmla="*/ 1762373 h 1934496"/>
              <a:gd name="connsiteX414" fmla="*/ 2039648 w 9922465"/>
              <a:gd name="connsiteY414" fmla="*/ 1707182 h 1934496"/>
              <a:gd name="connsiteX415" fmla="*/ 1909353 w 9922465"/>
              <a:gd name="connsiteY415" fmla="*/ 1707182 h 1934496"/>
              <a:gd name="connsiteX416" fmla="*/ 1964545 w 9922465"/>
              <a:gd name="connsiteY416" fmla="*/ 1762373 h 1934496"/>
              <a:gd name="connsiteX417" fmla="*/ 1909353 w 9922465"/>
              <a:gd name="connsiteY417" fmla="*/ 1817564 h 1934496"/>
              <a:gd name="connsiteX418" fmla="*/ 1854161 w 9922465"/>
              <a:gd name="connsiteY418" fmla="*/ 1762373 h 1934496"/>
              <a:gd name="connsiteX419" fmla="*/ 1909353 w 9922465"/>
              <a:gd name="connsiteY419" fmla="*/ 1707182 h 1934496"/>
              <a:gd name="connsiteX420" fmla="*/ 1779058 w 9922465"/>
              <a:gd name="connsiteY420" fmla="*/ 1707182 h 1934496"/>
              <a:gd name="connsiteX421" fmla="*/ 1834251 w 9922465"/>
              <a:gd name="connsiteY421" fmla="*/ 1762373 h 1934496"/>
              <a:gd name="connsiteX422" fmla="*/ 1779058 w 9922465"/>
              <a:gd name="connsiteY422" fmla="*/ 1817564 h 1934496"/>
              <a:gd name="connsiteX423" fmla="*/ 1723867 w 9922465"/>
              <a:gd name="connsiteY423" fmla="*/ 1762373 h 1934496"/>
              <a:gd name="connsiteX424" fmla="*/ 1779058 w 9922465"/>
              <a:gd name="connsiteY424" fmla="*/ 1707182 h 1934496"/>
              <a:gd name="connsiteX425" fmla="*/ 1645422 w 9922465"/>
              <a:gd name="connsiteY425" fmla="*/ 1707182 h 1934496"/>
              <a:gd name="connsiteX426" fmla="*/ 1700617 w 9922465"/>
              <a:gd name="connsiteY426" fmla="*/ 1762373 h 1934496"/>
              <a:gd name="connsiteX427" fmla="*/ 1645422 w 9922465"/>
              <a:gd name="connsiteY427" fmla="*/ 1817564 h 1934496"/>
              <a:gd name="connsiteX428" fmla="*/ 1590230 w 9922465"/>
              <a:gd name="connsiteY428" fmla="*/ 1762373 h 1934496"/>
              <a:gd name="connsiteX429" fmla="*/ 1645422 w 9922465"/>
              <a:gd name="connsiteY429" fmla="*/ 1707182 h 1934496"/>
              <a:gd name="connsiteX430" fmla="*/ 1515130 w 9922465"/>
              <a:gd name="connsiteY430" fmla="*/ 1707182 h 1934496"/>
              <a:gd name="connsiteX431" fmla="*/ 1570322 w 9922465"/>
              <a:gd name="connsiteY431" fmla="*/ 1762373 h 1934496"/>
              <a:gd name="connsiteX432" fmla="*/ 1515130 w 9922465"/>
              <a:gd name="connsiteY432" fmla="*/ 1817564 h 1934496"/>
              <a:gd name="connsiteX433" fmla="*/ 1459938 w 9922465"/>
              <a:gd name="connsiteY433" fmla="*/ 1762373 h 1934496"/>
              <a:gd name="connsiteX434" fmla="*/ 1515130 w 9922465"/>
              <a:gd name="connsiteY434" fmla="*/ 1707182 h 1934496"/>
              <a:gd name="connsiteX435" fmla="*/ 1381494 w 9922465"/>
              <a:gd name="connsiteY435" fmla="*/ 1707182 h 1934496"/>
              <a:gd name="connsiteX436" fmla="*/ 1436688 w 9922465"/>
              <a:gd name="connsiteY436" fmla="*/ 1762373 h 1934496"/>
              <a:gd name="connsiteX437" fmla="*/ 1381494 w 9922465"/>
              <a:gd name="connsiteY437" fmla="*/ 1817564 h 1934496"/>
              <a:gd name="connsiteX438" fmla="*/ 1326303 w 9922465"/>
              <a:gd name="connsiteY438" fmla="*/ 1762373 h 1934496"/>
              <a:gd name="connsiteX439" fmla="*/ 1381494 w 9922465"/>
              <a:gd name="connsiteY439" fmla="*/ 1707182 h 1934496"/>
              <a:gd name="connsiteX440" fmla="*/ 1251201 w 9922465"/>
              <a:gd name="connsiteY440" fmla="*/ 1707182 h 1934496"/>
              <a:gd name="connsiteX441" fmla="*/ 1306393 w 9922465"/>
              <a:gd name="connsiteY441" fmla="*/ 1762373 h 1934496"/>
              <a:gd name="connsiteX442" fmla="*/ 1251201 w 9922465"/>
              <a:gd name="connsiteY442" fmla="*/ 1817564 h 1934496"/>
              <a:gd name="connsiteX443" fmla="*/ 1196010 w 9922465"/>
              <a:gd name="connsiteY443" fmla="*/ 1762373 h 1934496"/>
              <a:gd name="connsiteX444" fmla="*/ 1251201 w 9922465"/>
              <a:gd name="connsiteY444" fmla="*/ 1707182 h 1934496"/>
              <a:gd name="connsiteX445" fmla="*/ 1909361 w 9922465"/>
              <a:gd name="connsiteY445" fmla="*/ 1580232 h 1934496"/>
              <a:gd name="connsiteX446" fmla="*/ 1964554 w 9922465"/>
              <a:gd name="connsiteY446" fmla="*/ 1635423 h 1934496"/>
              <a:gd name="connsiteX447" fmla="*/ 1909361 w 9922465"/>
              <a:gd name="connsiteY447" fmla="*/ 1690614 h 1934496"/>
              <a:gd name="connsiteX448" fmla="*/ 1854168 w 9922465"/>
              <a:gd name="connsiteY448" fmla="*/ 1635423 h 1934496"/>
              <a:gd name="connsiteX449" fmla="*/ 1909361 w 9922465"/>
              <a:gd name="connsiteY449" fmla="*/ 1580232 h 1934496"/>
              <a:gd name="connsiteX450" fmla="*/ 1779065 w 9922465"/>
              <a:gd name="connsiteY450" fmla="*/ 1580232 h 1934496"/>
              <a:gd name="connsiteX451" fmla="*/ 1834257 w 9922465"/>
              <a:gd name="connsiteY451" fmla="*/ 1635423 h 1934496"/>
              <a:gd name="connsiteX452" fmla="*/ 1779065 w 9922465"/>
              <a:gd name="connsiteY452" fmla="*/ 1690614 h 1934496"/>
              <a:gd name="connsiteX453" fmla="*/ 1723872 w 9922465"/>
              <a:gd name="connsiteY453" fmla="*/ 1635423 h 1934496"/>
              <a:gd name="connsiteX454" fmla="*/ 1779065 w 9922465"/>
              <a:gd name="connsiteY454" fmla="*/ 1580232 h 1934496"/>
              <a:gd name="connsiteX455" fmla="*/ 1645431 w 9922465"/>
              <a:gd name="connsiteY455" fmla="*/ 1580232 h 1934496"/>
              <a:gd name="connsiteX456" fmla="*/ 1700623 w 9922465"/>
              <a:gd name="connsiteY456" fmla="*/ 1635423 h 1934496"/>
              <a:gd name="connsiteX457" fmla="*/ 1645431 w 9922465"/>
              <a:gd name="connsiteY457" fmla="*/ 1690614 h 1934496"/>
              <a:gd name="connsiteX458" fmla="*/ 1590238 w 9922465"/>
              <a:gd name="connsiteY458" fmla="*/ 1635423 h 1934496"/>
              <a:gd name="connsiteX459" fmla="*/ 1645431 w 9922465"/>
              <a:gd name="connsiteY459" fmla="*/ 1580232 h 1934496"/>
              <a:gd name="connsiteX460" fmla="*/ 1515140 w 9922465"/>
              <a:gd name="connsiteY460" fmla="*/ 1580232 h 1934496"/>
              <a:gd name="connsiteX461" fmla="*/ 1570329 w 9922465"/>
              <a:gd name="connsiteY461" fmla="*/ 1635423 h 1934496"/>
              <a:gd name="connsiteX462" fmla="*/ 1515140 w 9922465"/>
              <a:gd name="connsiteY462" fmla="*/ 1690614 h 1934496"/>
              <a:gd name="connsiteX463" fmla="*/ 1459945 w 9922465"/>
              <a:gd name="connsiteY463" fmla="*/ 1635423 h 1934496"/>
              <a:gd name="connsiteX464" fmla="*/ 1515140 w 9922465"/>
              <a:gd name="connsiteY464" fmla="*/ 1580232 h 1934496"/>
              <a:gd name="connsiteX465" fmla="*/ 1381504 w 9922465"/>
              <a:gd name="connsiteY465" fmla="*/ 1580232 h 1934496"/>
              <a:gd name="connsiteX466" fmla="*/ 1436697 w 9922465"/>
              <a:gd name="connsiteY466" fmla="*/ 1635423 h 1934496"/>
              <a:gd name="connsiteX467" fmla="*/ 1381504 w 9922465"/>
              <a:gd name="connsiteY467" fmla="*/ 1690614 h 1934496"/>
              <a:gd name="connsiteX468" fmla="*/ 1326312 w 9922465"/>
              <a:gd name="connsiteY468" fmla="*/ 1635423 h 1934496"/>
              <a:gd name="connsiteX469" fmla="*/ 1381504 w 9922465"/>
              <a:gd name="connsiteY469" fmla="*/ 1580232 h 1934496"/>
              <a:gd name="connsiteX470" fmla="*/ 1251210 w 9922465"/>
              <a:gd name="connsiteY470" fmla="*/ 1580232 h 1934496"/>
              <a:gd name="connsiteX471" fmla="*/ 1306401 w 9922465"/>
              <a:gd name="connsiteY471" fmla="*/ 1635423 h 1934496"/>
              <a:gd name="connsiteX472" fmla="*/ 1251210 w 9922465"/>
              <a:gd name="connsiteY472" fmla="*/ 1690614 h 1934496"/>
              <a:gd name="connsiteX473" fmla="*/ 1196016 w 9922465"/>
              <a:gd name="connsiteY473" fmla="*/ 1635423 h 1934496"/>
              <a:gd name="connsiteX474" fmla="*/ 1251210 w 9922465"/>
              <a:gd name="connsiteY474" fmla="*/ 1580232 h 1934496"/>
              <a:gd name="connsiteX475" fmla="*/ 9068806 w 9922465"/>
              <a:gd name="connsiteY475" fmla="*/ 1580228 h 1934496"/>
              <a:gd name="connsiteX476" fmla="*/ 9123998 w 9922465"/>
              <a:gd name="connsiteY476" fmla="*/ 1635419 h 1934496"/>
              <a:gd name="connsiteX477" fmla="*/ 9068806 w 9922465"/>
              <a:gd name="connsiteY477" fmla="*/ 1690610 h 1934496"/>
              <a:gd name="connsiteX478" fmla="*/ 9013614 w 9922465"/>
              <a:gd name="connsiteY478" fmla="*/ 1635419 h 1934496"/>
              <a:gd name="connsiteX479" fmla="*/ 9068806 w 9922465"/>
              <a:gd name="connsiteY479" fmla="*/ 1580228 h 1934496"/>
              <a:gd name="connsiteX480" fmla="*/ 8671243 w 9922465"/>
              <a:gd name="connsiteY480" fmla="*/ 1580228 h 1934496"/>
              <a:gd name="connsiteX481" fmla="*/ 8726435 w 9922465"/>
              <a:gd name="connsiteY481" fmla="*/ 1635419 h 1934496"/>
              <a:gd name="connsiteX482" fmla="*/ 8671243 w 9922465"/>
              <a:gd name="connsiteY482" fmla="*/ 1690610 h 1934496"/>
              <a:gd name="connsiteX483" fmla="*/ 8616051 w 9922465"/>
              <a:gd name="connsiteY483" fmla="*/ 1635419 h 1934496"/>
              <a:gd name="connsiteX484" fmla="*/ 8671243 w 9922465"/>
              <a:gd name="connsiteY484" fmla="*/ 1580228 h 1934496"/>
              <a:gd name="connsiteX485" fmla="*/ 8537609 w 9922465"/>
              <a:gd name="connsiteY485" fmla="*/ 1580228 h 1934496"/>
              <a:gd name="connsiteX486" fmla="*/ 8592801 w 9922465"/>
              <a:gd name="connsiteY486" fmla="*/ 1635419 h 1934496"/>
              <a:gd name="connsiteX487" fmla="*/ 8537609 w 9922465"/>
              <a:gd name="connsiteY487" fmla="*/ 1690610 h 1934496"/>
              <a:gd name="connsiteX488" fmla="*/ 8482417 w 9922465"/>
              <a:gd name="connsiteY488" fmla="*/ 1635419 h 1934496"/>
              <a:gd name="connsiteX489" fmla="*/ 8537609 w 9922465"/>
              <a:gd name="connsiteY489" fmla="*/ 1580228 h 1934496"/>
              <a:gd name="connsiteX490" fmla="*/ 8407318 w 9922465"/>
              <a:gd name="connsiteY490" fmla="*/ 1580228 h 1934496"/>
              <a:gd name="connsiteX491" fmla="*/ 8462510 w 9922465"/>
              <a:gd name="connsiteY491" fmla="*/ 1635419 h 1934496"/>
              <a:gd name="connsiteX492" fmla="*/ 8407318 w 9922465"/>
              <a:gd name="connsiteY492" fmla="*/ 1690610 h 1934496"/>
              <a:gd name="connsiteX493" fmla="*/ 8352126 w 9922465"/>
              <a:gd name="connsiteY493" fmla="*/ 1635419 h 1934496"/>
              <a:gd name="connsiteX494" fmla="*/ 8407318 w 9922465"/>
              <a:gd name="connsiteY494" fmla="*/ 1580228 h 1934496"/>
              <a:gd name="connsiteX495" fmla="*/ 8273682 w 9922465"/>
              <a:gd name="connsiteY495" fmla="*/ 1580228 h 1934496"/>
              <a:gd name="connsiteX496" fmla="*/ 8328874 w 9922465"/>
              <a:gd name="connsiteY496" fmla="*/ 1635419 h 1934496"/>
              <a:gd name="connsiteX497" fmla="*/ 8273682 w 9922465"/>
              <a:gd name="connsiteY497" fmla="*/ 1690610 h 1934496"/>
              <a:gd name="connsiteX498" fmla="*/ 8218490 w 9922465"/>
              <a:gd name="connsiteY498" fmla="*/ 1635419 h 1934496"/>
              <a:gd name="connsiteX499" fmla="*/ 8273682 w 9922465"/>
              <a:gd name="connsiteY499" fmla="*/ 1580228 h 1934496"/>
              <a:gd name="connsiteX500" fmla="*/ 8143386 w 9922465"/>
              <a:gd name="connsiteY500" fmla="*/ 1580228 h 1934496"/>
              <a:gd name="connsiteX501" fmla="*/ 8198578 w 9922465"/>
              <a:gd name="connsiteY501" fmla="*/ 1635419 h 1934496"/>
              <a:gd name="connsiteX502" fmla="*/ 8143386 w 9922465"/>
              <a:gd name="connsiteY502" fmla="*/ 1690610 h 1934496"/>
              <a:gd name="connsiteX503" fmla="*/ 8088194 w 9922465"/>
              <a:gd name="connsiteY503" fmla="*/ 1635419 h 1934496"/>
              <a:gd name="connsiteX504" fmla="*/ 8143386 w 9922465"/>
              <a:gd name="connsiteY504" fmla="*/ 1580228 h 1934496"/>
              <a:gd name="connsiteX505" fmla="*/ 8009752 w 9922465"/>
              <a:gd name="connsiteY505" fmla="*/ 1580228 h 1934496"/>
              <a:gd name="connsiteX506" fmla="*/ 8064944 w 9922465"/>
              <a:gd name="connsiteY506" fmla="*/ 1635419 h 1934496"/>
              <a:gd name="connsiteX507" fmla="*/ 8009752 w 9922465"/>
              <a:gd name="connsiteY507" fmla="*/ 1690610 h 1934496"/>
              <a:gd name="connsiteX508" fmla="*/ 7954560 w 9922465"/>
              <a:gd name="connsiteY508" fmla="*/ 1635419 h 1934496"/>
              <a:gd name="connsiteX509" fmla="*/ 8009752 w 9922465"/>
              <a:gd name="connsiteY509" fmla="*/ 1580228 h 1934496"/>
              <a:gd name="connsiteX510" fmla="*/ 7876117 w 9922465"/>
              <a:gd name="connsiteY510" fmla="*/ 1580228 h 1934496"/>
              <a:gd name="connsiteX511" fmla="*/ 7931309 w 9922465"/>
              <a:gd name="connsiteY511" fmla="*/ 1635419 h 1934496"/>
              <a:gd name="connsiteX512" fmla="*/ 7876117 w 9922465"/>
              <a:gd name="connsiteY512" fmla="*/ 1690610 h 1934496"/>
              <a:gd name="connsiteX513" fmla="*/ 7820925 w 9922465"/>
              <a:gd name="connsiteY513" fmla="*/ 1635419 h 1934496"/>
              <a:gd name="connsiteX514" fmla="*/ 7876117 w 9922465"/>
              <a:gd name="connsiteY514" fmla="*/ 1580228 h 1934496"/>
              <a:gd name="connsiteX515" fmla="*/ 7745824 w 9922465"/>
              <a:gd name="connsiteY515" fmla="*/ 1580228 h 1934496"/>
              <a:gd name="connsiteX516" fmla="*/ 7801016 w 9922465"/>
              <a:gd name="connsiteY516" fmla="*/ 1635419 h 1934496"/>
              <a:gd name="connsiteX517" fmla="*/ 7745824 w 9922465"/>
              <a:gd name="connsiteY517" fmla="*/ 1690610 h 1934496"/>
              <a:gd name="connsiteX518" fmla="*/ 7690632 w 9922465"/>
              <a:gd name="connsiteY518" fmla="*/ 1635419 h 1934496"/>
              <a:gd name="connsiteX519" fmla="*/ 7745824 w 9922465"/>
              <a:gd name="connsiteY519" fmla="*/ 1580228 h 1934496"/>
              <a:gd name="connsiteX520" fmla="*/ 7608849 w 9922465"/>
              <a:gd name="connsiteY520" fmla="*/ 1580228 h 1934496"/>
              <a:gd name="connsiteX521" fmla="*/ 7664041 w 9922465"/>
              <a:gd name="connsiteY521" fmla="*/ 1635419 h 1934496"/>
              <a:gd name="connsiteX522" fmla="*/ 7608849 w 9922465"/>
              <a:gd name="connsiteY522" fmla="*/ 1690610 h 1934496"/>
              <a:gd name="connsiteX523" fmla="*/ 7553657 w 9922465"/>
              <a:gd name="connsiteY523" fmla="*/ 1635419 h 1934496"/>
              <a:gd name="connsiteX524" fmla="*/ 7608849 w 9922465"/>
              <a:gd name="connsiteY524" fmla="*/ 1580228 h 1934496"/>
              <a:gd name="connsiteX525" fmla="*/ 7481895 w 9922465"/>
              <a:gd name="connsiteY525" fmla="*/ 1580228 h 1934496"/>
              <a:gd name="connsiteX526" fmla="*/ 7537087 w 9922465"/>
              <a:gd name="connsiteY526" fmla="*/ 1635419 h 1934496"/>
              <a:gd name="connsiteX527" fmla="*/ 7481895 w 9922465"/>
              <a:gd name="connsiteY527" fmla="*/ 1690610 h 1934496"/>
              <a:gd name="connsiteX528" fmla="*/ 7426703 w 9922465"/>
              <a:gd name="connsiteY528" fmla="*/ 1635419 h 1934496"/>
              <a:gd name="connsiteX529" fmla="*/ 7481895 w 9922465"/>
              <a:gd name="connsiteY529" fmla="*/ 1580228 h 1934496"/>
              <a:gd name="connsiteX530" fmla="*/ 7341579 w 9922465"/>
              <a:gd name="connsiteY530" fmla="*/ 1580228 h 1934496"/>
              <a:gd name="connsiteX531" fmla="*/ 7396771 w 9922465"/>
              <a:gd name="connsiteY531" fmla="*/ 1635419 h 1934496"/>
              <a:gd name="connsiteX532" fmla="*/ 7341579 w 9922465"/>
              <a:gd name="connsiteY532" fmla="*/ 1690610 h 1934496"/>
              <a:gd name="connsiteX533" fmla="*/ 7286387 w 9922465"/>
              <a:gd name="connsiteY533" fmla="*/ 1635419 h 1934496"/>
              <a:gd name="connsiteX534" fmla="*/ 7341579 w 9922465"/>
              <a:gd name="connsiteY534" fmla="*/ 1580228 h 1934496"/>
              <a:gd name="connsiteX535" fmla="*/ 7211286 w 9922465"/>
              <a:gd name="connsiteY535" fmla="*/ 1580228 h 1934496"/>
              <a:gd name="connsiteX536" fmla="*/ 7266478 w 9922465"/>
              <a:gd name="connsiteY536" fmla="*/ 1635419 h 1934496"/>
              <a:gd name="connsiteX537" fmla="*/ 7211286 w 9922465"/>
              <a:gd name="connsiteY537" fmla="*/ 1690610 h 1934496"/>
              <a:gd name="connsiteX538" fmla="*/ 7156094 w 9922465"/>
              <a:gd name="connsiteY538" fmla="*/ 1635419 h 1934496"/>
              <a:gd name="connsiteX539" fmla="*/ 7211286 w 9922465"/>
              <a:gd name="connsiteY539" fmla="*/ 1580228 h 1934496"/>
              <a:gd name="connsiteX540" fmla="*/ 7080993 w 9922465"/>
              <a:gd name="connsiteY540" fmla="*/ 1580228 h 1934496"/>
              <a:gd name="connsiteX541" fmla="*/ 7136185 w 9922465"/>
              <a:gd name="connsiteY541" fmla="*/ 1635419 h 1934496"/>
              <a:gd name="connsiteX542" fmla="*/ 7080993 w 9922465"/>
              <a:gd name="connsiteY542" fmla="*/ 1690610 h 1934496"/>
              <a:gd name="connsiteX543" fmla="*/ 7025801 w 9922465"/>
              <a:gd name="connsiteY543" fmla="*/ 1635419 h 1934496"/>
              <a:gd name="connsiteX544" fmla="*/ 7080993 w 9922465"/>
              <a:gd name="connsiteY544" fmla="*/ 1580228 h 1934496"/>
              <a:gd name="connsiteX545" fmla="*/ 6947357 w 9922465"/>
              <a:gd name="connsiteY545" fmla="*/ 1580228 h 1934496"/>
              <a:gd name="connsiteX546" fmla="*/ 7002549 w 9922465"/>
              <a:gd name="connsiteY546" fmla="*/ 1635419 h 1934496"/>
              <a:gd name="connsiteX547" fmla="*/ 6947357 w 9922465"/>
              <a:gd name="connsiteY547" fmla="*/ 1690610 h 1934496"/>
              <a:gd name="connsiteX548" fmla="*/ 6892165 w 9922465"/>
              <a:gd name="connsiteY548" fmla="*/ 1635419 h 1934496"/>
              <a:gd name="connsiteX549" fmla="*/ 6947357 w 9922465"/>
              <a:gd name="connsiteY549" fmla="*/ 1580228 h 1934496"/>
              <a:gd name="connsiteX550" fmla="*/ 6817063 w 9922465"/>
              <a:gd name="connsiteY550" fmla="*/ 1580228 h 1934496"/>
              <a:gd name="connsiteX551" fmla="*/ 6872255 w 9922465"/>
              <a:gd name="connsiteY551" fmla="*/ 1635419 h 1934496"/>
              <a:gd name="connsiteX552" fmla="*/ 6817063 w 9922465"/>
              <a:gd name="connsiteY552" fmla="*/ 1690610 h 1934496"/>
              <a:gd name="connsiteX553" fmla="*/ 6761871 w 9922465"/>
              <a:gd name="connsiteY553" fmla="*/ 1635419 h 1934496"/>
              <a:gd name="connsiteX554" fmla="*/ 6817063 w 9922465"/>
              <a:gd name="connsiteY554" fmla="*/ 1580228 h 1934496"/>
              <a:gd name="connsiteX555" fmla="*/ 6683431 w 9922465"/>
              <a:gd name="connsiteY555" fmla="*/ 1580228 h 1934496"/>
              <a:gd name="connsiteX556" fmla="*/ 6738623 w 9922465"/>
              <a:gd name="connsiteY556" fmla="*/ 1635419 h 1934496"/>
              <a:gd name="connsiteX557" fmla="*/ 6683431 w 9922465"/>
              <a:gd name="connsiteY557" fmla="*/ 1690610 h 1934496"/>
              <a:gd name="connsiteX558" fmla="*/ 6628239 w 9922465"/>
              <a:gd name="connsiteY558" fmla="*/ 1635419 h 1934496"/>
              <a:gd name="connsiteX559" fmla="*/ 6683431 w 9922465"/>
              <a:gd name="connsiteY559" fmla="*/ 1580228 h 1934496"/>
              <a:gd name="connsiteX560" fmla="*/ 6553137 w 9922465"/>
              <a:gd name="connsiteY560" fmla="*/ 1580228 h 1934496"/>
              <a:gd name="connsiteX561" fmla="*/ 6608329 w 9922465"/>
              <a:gd name="connsiteY561" fmla="*/ 1635419 h 1934496"/>
              <a:gd name="connsiteX562" fmla="*/ 6553137 w 9922465"/>
              <a:gd name="connsiteY562" fmla="*/ 1690610 h 1934496"/>
              <a:gd name="connsiteX563" fmla="*/ 6497945 w 9922465"/>
              <a:gd name="connsiteY563" fmla="*/ 1635419 h 1934496"/>
              <a:gd name="connsiteX564" fmla="*/ 6553137 w 9922465"/>
              <a:gd name="connsiteY564" fmla="*/ 1580228 h 1934496"/>
              <a:gd name="connsiteX565" fmla="*/ 6419502 w 9922465"/>
              <a:gd name="connsiteY565" fmla="*/ 1580228 h 1934496"/>
              <a:gd name="connsiteX566" fmla="*/ 6474694 w 9922465"/>
              <a:gd name="connsiteY566" fmla="*/ 1635419 h 1934496"/>
              <a:gd name="connsiteX567" fmla="*/ 6419502 w 9922465"/>
              <a:gd name="connsiteY567" fmla="*/ 1690610 h 1934496"/>
              <a:gd name="connsiteX568" fmla="*/ 6364310 w 9922465"/>
              <a:gd name="connsiteY568" fmla="*/ 1635419 h 1934496"/>
              <a:gd name="connsiteX569" fmla="*/ 6419502 w 9922465"/>
              <a:gd name="connsiteY569" fmla="*/ 1580228 h 1934496"/>
              <a:gd name="connsiteX570" fmla="*/ 6289208 w 9922465"/>
              <a:gd name="connsiteY570" fmla="*/ 1580228 h 1934496"/>
              <a:gd name="connsiteX571" fmla="*/ 6344400 w 9922465"/>
              <a:gd name="connsiteY571" fmla="*/ 1635419 h 1934496"/>
              <a:gd name="connsiteX572" fmla="*/ 6289208 w 9922465"/>
              <a:gd name="connsiteY572" fmla="*/ 1690610 h 1934496"/>
              <a:gd name="connsiteX573" fmla="*/ 6234016 w 9922465"/>
              <a:gd name="connsiteY573" fmla="*/ 1635419 h 1934496"/>
              <a:gd name="connsiteX574" fmla="*/ 6289208 w 9922465"/>
              <a:gd name="connsiteY574" fmla="*/ 1580228 h 1934496"/>
              <a:gd name="connsiteX575" fmla="*/ 6155572 w 9922465"/>
              <a:gd name="connsiteY575" fmla="*/ 1580228 h 1934496"/>
              <a:gd name="connsiteX576" fmla="*/ 6210764 w 9922465"/>
              <a:gd name="connsiteY576" fmla="*/ 1635419 h 1934496"/>
              <a:gd name="connsiteX577" fmla="*/ 6155572 w 9922465"/>
              <a:gd name="connsiteY577" fmla="*/ 1690610 h 1934496"/>
              <a:gd name="connsiteX578" fmla="*/ 6100380 w 9922465"/>
              <a:gd name="connsiteY578" fmla="*/ 1635419 h 1934496"/>
              <a:gd name="connsiteX579" fmla="*/ 6155572 w 9922465"/>
              <a:gd name="connsiteY579" fmla="*/ 1580228 h 1934496"/>
              <a:gd name="connsiteX580" fmla="*/ 6021938 w 9922465"/>
              <a:gd name="connsiteY580" fmla="*/ 1580228 h 1934496"/>
              <a:gd name="connsiteX581" fmla="*/ 6077130 w 9922465"/>
              <a:gd name="connsiteY581" fmla="*/ 1635419 h 1934496"/>
              <a:gd name="connsiteX582" fmla="*/ 6021938 w 9922465"/>
              <a:gd name="connsiteY582" fmla="*/ 1690610 h 1934496"/>
              <a:gd name="connsiteX583" fmla="*/ 5966746 w 9922465"/>
              <a:gd name="connsiteY583" fmla="*/ 1635419 h 1934496"/>
              <a:gd name="connsiteX584" fmla="*/ 6021938 w 9922465"/>
              <a:gd name="connsiteY584" fmla="*/ 1580228 h 1934496"/>
              <a:gd name="connsiteX585" fmla="*/ 5884964 w 9922465"/>
              <a:gd name="connsiteY585" fmla="*/ 1580228 h 1934496"/>
              <a:gd name="connsiteX586" fmla="*/ 5940156 w 9922465"/>
              <a:gd name="connsiteY586" fmla="*/ 1635419 h 1934496"/>
              <a:gd name="connsiteX587" fmla="*/ 5884964 w 9922465"/>
              <a:gd name="connsiteY587" fmla="*/ 1690610 h 1934496"/>
              <a:gd name="connsiteX588" fmla="*/ 5829772 w 9922465"/>
              <a:gd name="connsiteY588" fmla="*/ 1635419 h 1934496"/>
              <a:gd name="connsiteX589" fmla="*/ 5884964 w 9922465"/>
              <a:gd name="connsiteY589" fmla="*/ 1580228 h 1934496"/>
              <a:gd name="connsiteX590" fmla="*/ 5754670 w 9922465"/>
              <a:gd name="connsiteY590" fmla="*/ 1580228 h 1934496"/>
              <a:gd name="connsiteX591" fmla="*/ 5809862 w 9922465"/>
              <a:gd name="connsiteY591" fmla="*/ 1635419 h 1934496"/>
              <a:gd name="connsiteX592" fmla="*/ 5754670 w 9922465"/>
              <a:gd name="connsiteY592" fmla="*/ 1690610 h 1934496"/>
              <a:gd name="connsiteX593" fmla="*/ 5699478 w 9922465"/>
              <a:gd name="connsiteY593" fmla="*/ 1635419 h 1934496"/>
              <a:gd name="connsiteX594" fmla="*/ 5754670 w 9922465"/>
              <a:gd name="connsiteY594" fmla="*/ 1580228 h 1934496"/>
              <a:gd name="connsiteX595" fmla="*/ 5621035 w 9922465"/>
              <a:gd name="connsiteY595" fmla="*/ 1580228 h 1934496"/>
              <a:gd name="connsiteX596" fmla="*/ 5676227 w 9922465"/>
              <a:gd name="connsiteY596" fmla="*/ 1635419 h 1934496"/>
              <a:gd name="connsiteX597" fmla="*/ 5621035 w 9922465"/>
              <a:gd name="connsiteY597" fmla="*/ 1690610 h 1934496"/>
              <a:gd name="connsiteX598" fmla="*/ 5565843 w 9922465"/>
              <a:gd name="connsiteY598" fmla="*/ 1635419 h 1934496"/>
              <a:gd name="connsiteX599" fmla="*/ 5621035 w 9922465"/>
              <a:gd name="connsiteY599" fmla="*/ 1580228 h 1934496"/>
              <a:gd name="connsiteX600" fmla="*/ 5357105 w 9922465"/>
              <a:gd name="connsiteY600" fmla="*/ 1580228 h 1934496"/>
              <a:gd name="connsiteX601" fmla="*/ 5412297 w 9922465"/>
              <a:gd name="connsiteY601" fmla="*/ 1635419 h 1934496"/>
              <a:gd name="connsiteX602" fmla="*/ 5357105 w 9922465"/>
              <a:gd name="connsiteY602" fmla="*/ 1690610 h 1934496"/>
              <a:gd name="connsiteX603" fmla="*/ 5301913 w 9922465"/>
              <a:gd name="connsiteY603" fmla="*/ 1635419 h 1934496"/>
              <a:gd name="connsiteX604" fmla="*/ 5357105 w 9922465"/>
              <a:gd name="connsiteY604" fmla="*/ 1580228 h 1934496"/>
              <a:gd name="connsiteX605" fmla="*/ 5223473 w 9922465"/>
              <a:gd name="connsiteY605" fmla="*/ 1580228 h 1934496"/>
              <a:gd name="connsiteX606" fmla="*/ 5278665 w 9922465"/>
              <a:gd name="connsiteY606" fmla="*/ 1635419 h 1934496"/>
              <a:gd name="connsiteX607" fmla="*/ 5223473 w 9922465"/>
              <a:gd name="connsiteY607" fmla="*/ 1690610 h 1934496"/>
              <a:gd name="connsiteX608" fmla="*/ 5168281 w 9922465"/>
              <a:gd name="connsiteY608" fmla="*/ 1635419 h 1934496"/>
              <a:gd name="connsiteX609" fmla="*/ 5223473 w 9922465"/>
              <a:gd name="connsiteY609" fmla="*/ 1580228 h 1934496"/>
              <a:gd name="connsiteX610" fmla="*/ 5093178 w 9922465"/>
              <a:gd name="connsiteY610" fmla="*/ 1580228 h 1934496"/>
              <a:gd name="connsiteX611" fmla="*/ 5148370 w 9922465"/>
              <a:gd name="connsiteY611" fmla="*/ 1635419 h 1934496"/>
              <a:gd name="connsiteX612" fmla="*/ 5093178 w 9922465"/>
              <a:gd name="connsiteY612" fmla="*/ 1690610 h 1934496"/>
              <a:gd name="connsiteX613" fmla="*/ 5037986 w 9922465"/>
              <a:gd name="connsiteY613" fmla="*/ 1635419 h 1934496"/>
              <a:gd name="connsiteX614" fmla="*/ 5093178 w 9922465"/>
              <a:gd name="connsiteY614" fmla="*/ 1580228 h 1934496"/>
              <a:gd name="connsiteX615" fmla="*/ 4959543 w 9922465"/>
              <a:gd name="connsiteY615" fmla="*/ 1580228 h 1934496"/>
              <a:gd name="connsiteX616" fmla="*/ 5014735 w 9922465"/>
              <a:gd name="connsiteY616" fmla="*/ 1635419 h 1934496"/>
              <a:gd name="connsiteX617" fmla="*/ 4959543 w 9922465"/>
              <a:gd name="connsiteY617" fmla="*/ 1690610 h 1934496"/>
              <a:gd name="connsiteX618" fmla="*/ 4904351 w 9922465"/>
              <a:gd name="connsiteY618" fmla="*/ 1635419 h 1934496"/>
              <a:gd name="connsiteX619" fmla="*/ 4959543 w 9922465"/>
              <a:gd name="connsiteY619" fmla="*/ 1580228 h 1934496"/>
              <a:gd name="connsiteX620" fmla="*/ 4829251 w 9922465"/>
              <a:gd name="connsiteY620" fmla="*/ 1580228 h 1934496"/>
              <a:gd name="connsiteX621" fmla="*/ 4884443 w 9922465"/>
              <a:gd name="connsiteY621" fmla="*/ 1635419 h 1934496"/>
              <a:gd name="connsiteX622" fmla="*/ 4829251 w 9922465"/>
              <a:gd name="connsiteY622" fmla="*/ 1690610 h 1934496"/>
              <a:gd name="connsiteX623" fmla="*/ 4774059 w 9922465"/>
              <a:gd name="connsiteY623" fmla="*/ 1635419 h 1934496"/>
              <a:gd name="connsiteX624" fmla="*/ 4829251 w 9922465"/>
              <a:gd name="connsiteY624" fmla="*/ 1580228 h 1934496"/>
              <a:gd name="connsiteX625" fmla="*/ 4695613 w 9922465"/>
              <a:gd name="connsiteY625" fmla="*/ 1580228 h 1934496"/>
              <a:gd name="connsiteX626" fmla="*/ 4750805 w 9922465"/>
              <a:gd name="connsiteY626" fmla="*/ 1635419 h 1934496"/>
              <a:gd name="connsiteX627" fmla="*/ 4695613 w 9922465"/>
              <a:gd name="connsiteY627" fmla="*/ 1690610 h 1934496"/>
              <a:gd name="connsiteX628" fmla="*/ 4640421 w 9922465"/>
              <a:gd name="connsiteY628" fmla="*/ 1635419 h 1934496"/>
              <a:gd name="connsiteX629" fmla="*/ 4695613 w 9922465"/>
              <a:gd name="connsiteY629" fmla="*/ 1580228 h 1934496"/>
              <a:gd name="connsiteX630" fmla="*/ 4565322 w 9922465"/>
              <a:gd name="connsiteY630" fmla="*/ 1580228 h 1934496"/>
              <a:gd name="connsiteX631" fmla="*/ 4620514 w 9922465"/>
              <a:gd name="connsiteY631" fmla="*/ 1635419 h 1934496"/>
              <a:gd name="connsiteX632" fmla="*/ 4565322 w 9922465"/>
              <a:gd name="connsiteY632" fmla="*/ 1690610 h 1934496"/>
              <a:gd name="connsiteX633" fmla="*/ 4510130 w 9922465"/>
              <a:gd name="connsiteY633" fmla="*/ 1635419 h 1934496"/>
              <a:gd name="connsiteX634" fmla="*/ 4565322 w 9922465"/>
              <a:gd name="connsiteY634" fmla="*/ 1580228 h 1934496"/>
              <a:gd name="connsiteX635" fmla="*/ 3098681 w 9922465"/>
              <a:gd name="connsiteY635" fmla="*/ 1580228 h 1934496"/>
              <a:gd name="connsiteX636" fmla="*/ 3153873 w 9922465"/>
              <a:gd name="connsiteY636" fmla="*/ 1635419 h 1934496"/>
              <a:gd name="connsiteX637" fmla="*/ 3098681 w 9922465"/>
              <a:gd name="connsiteY637" fmla="*/ 1690610 h 1934496"/>
              <a:gd name="connsiteX638" fmla="*/ 3043489 w 9922465"/>
              <a:gd name="connsiteY638" fmla="*/ 1635419 h 1934496"/>
              <a:gd name="connsiteX639" fmla="*/ 3098681 w 9922465"/>
              <a:gd name="connsiteY639" fmla="*/ 1580228 h 1934496"/>
              <a:gd name="connsiteX640" fmla="*/ 2971729 w 9922465"/>
              <a:gd name="connsiteY640" fmla="*/ 1580228 h 1934496"/>
              <a:gd name="connsiteX641" fmla="*/ 3026921 w 9922465"/>
              <a:gd name="connsiteY641" fmla="*/ 1635419 h 1934496"/>
              <a:gd name="connsiteX642" fmla="*/ 2971729 w 9922465"/>
              <a:gd name="connsiteY642" fmla="*/ 1690610 h 1934496"/>
              <a:gd name="connsiteX643" fmla="*/ 2916537 w 9922465"/>
              <a:gd name="connsiteY643" fmla="*/ 1635419 h 1934496"/>
              <a:gd name="connsiteX644" fmla="*/ 2971729 w 9922465"/>
              <a:gd name="connsiteY644" fmla="*/ 1580228 h 1934496"/>
              <a:gd name="connsiteX645" fmla="*/ 2834783 w 9922465"/>
              <a:gd name="connsiteY645" fmla="*/ 1580228 h 1934496"/>
              <a:gd name="connsiteX646" fmla="*/ 2889974 w 9922465"/>
              <a:gd name="connsiteY646" fmla="*/ 1635419 h 1934496"/>
              <a:gd name="connsiteX647" fmla="*/ 2834783 w 9922465"/>
              <a:gd name="connsiteY647" fmla="*/ 1690610 h 1934496"/>
              <a:gd name="connsiteX648" fmla="*/ 2779590 w 9922465"/>
              <a:gd name="connsiteY648" fmla="*/ 1635419 h 1934496"/>
              <a:gd name="connsiteX649" fmla="*/ 2834783 w 9922465"/>
              <a:gd name="connsiteY649" fmla="*/ 1580228 h 1934496"/>
              <a:gd name="connsiteX650" fmla="*/ 2707828 w 9922465"/>
              <a:gd name="connsiteY650" fmla="*/ 1580228 h 1934496"/>
              <a:gd name="connsiteX651" fmla="*/ 2763021 w 9922465"/>
              <a:gd name="connsiteY651" fmla="*/ 1635419 h 1934496"/>
              <a:gd name="connsiteX652" fmla="*/ 2707828 w 9922465"/>
              <a:gd name="connsiteY652" fmla="*/ 1690610 h 1934496"/>
              <a:gd name="connsiteX653" fmla="*/ 2652636 w 9922465"/>
              <a:gd name="connsiteY653" fmla="*/ 1635419 h 1934496"/>
              <a:gd name="connsiteX654" fmla="*/ 2707828 w 9922465"/>
              <a:gd name="connsiteY654" fmla="*/ 1580228 h 1934496"/>
              <a:gd name="connsiteX655" fmla="*/ 2570854 w 9922465"/>
              <a:gd name="connsiteY655" fmla="*/ 1580228 h 1934496"/>
              <a:gd name="connsiteX656" fmla="*/ 2626046 w 9922465"/>
              <a:gd name="connsiteY656" fmla="*/ 1635419 h 1934496"/>
              <a:gd name="connsiteX657" fmla="*/ 2570854 w 9922465"/>
              <a:gd name="connsiteY657" fmla="*/ 1690610 h 1934496"/>
              <a:gd name="connsiteX658" fmla="*/ 2515662 w 9922465"/>
              <a:gd name="connsiteY658" fmla="*/ 1635419 h 1934496"/>
              <a:gd name="connsiteX659" fmla="*/ 2570854 w 9922465"/>
              <a:gd name="connsiteY659" fmla="*/ 1580228 h 1934496"/>
              <a:gd name="connsiteX660" fmla="*/ 2437218 w 9922465"/>
              <a:gd name="connsiteY660" fmla="*/ 1580228 h 1934496"/>
              <a:gd name="connsiteX661" fmla="*/ 2492409 w 9922465"/>
              <a:gd name="connsiteY661" fmla="*/ 1635419 h 1934496"/>
              <a:gd name="connsiteX662" fmla="*/ 2437218 w 9922465"/>
              <a:gd name="connsiteY662" fmla="*/ 1690610 h 1934496"/>
              <a:gd name="connsiteX663" fmla="*/ 2382026 w 9922465"/>
              <a:gd name="connsiteY663" fmla="*/ 1635419 h 1934496"/>
              <a:gd name="connsiteX664" fmla="*/ 2437218 w 9922465"/>
              <a:gd name="connsiteY664" fmla="*/ 1580228 h 1934496"/>
              <a:gd name="connsiteX665" fmla="*/ 2303586 w 9922465"/>
              <a:gd name="connsiteY665" fmla="*/ 1580228 h 1934496"/>
              <a:gd name="connsiteX666" fmla="*/ 2358778 w 9922465"/>
              <a:gd name="connsiteY666" fmla="*/ 1635419 h 1934496"/>
              <a:gd name="connsiteX667" fmla="*/ 2303586 w 9922465"/>
              <a:gd name="connsiteY667" fmla="*/ 1690610 h 1934496"/>
              <a:gd name="connsiteX668" fmla="*/ 2248394 w 9922465"/>
              <a:gd name="connsiteY668" fmla="*/ 1635419 h 1934496"/>
              <a:gd name="connsiteX669" fmla="*/ 2303586 w 9922465"/>
              <a:gd name="connsiteY669" fmla="*/ 1580228 h 1934496"/>
              <a:gd name="connsiteX670" fmla="*/ 2173293 w 9922465"/>
              <a:gd name="connsiteY670" fmla="*/ 1580228 h 1934496"/>
              <a:gd name="connsiteX671" fmla="*/ 2228486 w 9922465"/>
              <a:gd name="connsiteY671" fmla="*/ 1635419 h 1934496"/>
              <a:gd name="connsiteX672" fmla="*/ 2173293 w 9922465"/>
              <a:gd name="connsiteY672" fmla="*/ 1690610 h 1934496"/>
              <a:gd name="connsiteX673" fmla="*/ 2118101 w 9922465"/>
              <a:gd name="connsiteY673" fmla="*/ 1635419 h 1934496"/>
              <a:gd name="connsiteX674" fmla="*/ 2173293 w 9922465"/>
              <a:gd name="connsiteY674" fmla="*/ 1580228 h 1934496"/>
              <a:gd name="connsiteX675" fmla="*/ 2039658 w 9922465"/>
              <a:gd name="connsiteY675" fmla="*/ 1580228 h 1934496"/>
              <a:gd name="connsiteX676" fmla="*/ 2094851 w 9922465"/>
              <a:gd name="connsiteY676" fmla="*/ 1635419 h 1934496"/>
              <a:gd name="connsiteX677" fmla="*/ 2039658 w 9922465"/>
              <a:gd name="connsiteY677" fmla="*/ 1690610 h 1934496"/>
              <a:gd name="connsiteX678" fmla="*/ 1984465 w 9922465"/>
              <a:gd name="connsiteY678" fmla="*/ 1635419 h 1934496"/>
              <a:gd name="connsiteX679" fmla="*/ 2039658 w 9922465"/>
              <a:gd name="connsiteY679" fmla="*/ 1580228 h 1934496"/>
              <a:gd name="connsiteX680" fmla="*/ 9068807 w 9922465"/>
              <a:gd name="connsiteY680" fmla="*/ 1459958 h 1934496"/>
              <a:gd name="connsiteX681" fmla="*/ 9123999 w 9922465"/>
              <a:gd name="connsiteY681" fmla="*/ 1515149 h 1934496"/>
              <a:gd name="connsiteX682" fmla="*/ 9068807 w 9922465"/>
              <a:gd name="connsiteY682" fmla="*/ 1570340 h 1934496"/>
              <a:gd name="connsiteX683" fmla="*/ 9013615 w 9922465"/>
              <a:gd name="connsiteY683" fmla="*/ 1515149 h 1934496"/>
              <a:gd name="connsiteX684" fmla="*/ 9068807 w 9922465"/>
              <a:gd name="connsiteY684" fmla="*/ 1459958 h 1934496"/>
              <a:gd name="connsiteX685" fmla="*/ 8671244 w 9922465"/>
              <a:gd name="connsiteY685" fmla="*/ 1459958 h 1934496"/>
              <a:gd name="connsiteX686" fmla="*/ 8726436 w 9922465"/>
              <a:gd name="connsiteY686" fmla="*/ 1515149 h 1934496"/>
              <a:gd name="connsiteX687" fmla="*/ 8671244 w 9922465"/>
              <a:gd name="connsiteY687" fmla="*/ 1570340 h 1934496"/>
              <a:gd name="connsiteX688" fmla="*/ 8616052 w 9922465"/>
              <a:gd name="connsiteY688" fmla="*/ 1515149 h 1934496"/>
              <a:gd name="connsiteX689" fmla="*/ 8671244 w 9922465"/>
              <a:gd name="connsiteY689" fmla="*/ 1459958 h 1934496"/>
              <a:gd name="connsiteX690" fmla="*/ 8537612 w 9922465"/>
              <a:gd name="connsiteY690" fmla="*/ 1459958 h 1934496"/>
              <a:gd name="connsiteX691" fmla="*/ 8592804 w 9922465"/>
              <a:gd name="connsiteY691" fmla="*/ 1515149 h 1934496"/>
              <a:gd name="connsiteX692" fmla="*/ 8537612 w 9922465"/>
              <a:gd name="connsiteY692" fmla="*/ 1570340 h 1934496"/>
              <a:gd name="connsiteX693" fmla="*/ 8482420 w 9922465"/>
              <a:gd name="connsiteY693" fmla="*/ 1515149 h 1934496"/>
              <a:gd name="connsiteX694" fmla="*/ 8537612 w 9922465"/>
              <a:gd name="connsiteY694" fmla="*/ 1459958 h 1934496"/>
              <a:gd name="connsiteX695" fmla="*/ 8407316 w 9922465"/>
              <a:gd name="connsiteY695" fmla="*/ 1459958 h 1934496"/>
              <a:gd name="connsiteX696" fmla="*/ 8462508 w 9922465"/>
              <a:gd name="connsiteY696" fmla="*/ 1515149 h 1934496"/>
              <a:gd name="connsiteX697" fmla="*/ 8407316 w 9922465"/>
              <a:gd name="connsiteY697" fmla="*/ 1570340 h 1934496"/>
              <a:gd name="connsiteX698" fmla="*/ 8352124 w 9922465"/>
              <a:gd name="connsiteY698" fmla="*/ 1515149 h 1934496"/>
              <a:gd name="connsiteX699" fmla="*/ 8407316 w 9922465"/>
              <a:gd name="connsiteY699" fmla="*/ 1459958 h 1934496"/>
              <a:gd name="connsiteX700" fmla="*/ 8273682 w 9922465"/>
              <a:gd name="connsiteY700" fmla="*/ 1459958 h 1934496"/>
              <a:gd name="connsiteX701" fmla="*/ 8328874 w 9922465"/>
              <a:gd name="connsiteY701" fmla="*/ 1515149 h 1934496"/>
              <a:gd name="connsiteX702" fmla="*/ 8273682 w 9922465"/>
              <a:gd name="connsiteY702" fmla="*/ 1570340 h 1934496"/>
              <a:gd name="connsiteX703" fmla="*/ 8218490 w 9922465"/>
              <a:gd name="connsiteY703" fmla="*/ 1515149 h 1934496"/>
              <a:gd name="connsiteX704" fmla="*/ 8273682 w 9922465"/>
              <a:gd name="connsiteY704" fmla="*/ 1459958 h 1934496"/>
              <a:gd name="connsiteX705" fmla="*/ 8143388 w 9922465"/>
              <a:gd name="connsiteY705" fmla="*/ 1459958 h 1934496"/>
              <a:gd name="connsiteX706" fmla="*/ 8198580 w 9922465"/>
              <a:gd name="connsiteY706" fmla="*/ 1515149 h 1934496"/>
              <a:gd name="connsiteX707" fmla="*/ 8143388 w 9922465"/>
              <a:gd name="connsiteY707" fmla="*/ 1570340 h 1934496"/>
              <a:gd name="connsiteX708" fmla="*/ 8088196 w 9922465"/>
              <a:gd name="connsiteY708" fmla="*/ 1515149 h 1934496"/>
              <a:gd name="connsiteX709" fmla="*/ 8143388 w 9922465"/>
              <a:gd name="connsiteY709" fmla="*/ 1459958 h 1934496"/>
              <a:gd name="connsiteX710" fmla="*/ 8009753 w 9922465"/>
              <a:gd name="connsiteY710" fmla="*/ 1459958 h 1934496"/>
              <a:gd name="connsiteX711" fmla="*/ 8064945 w 9922465"/>
              <a:gd name="connsiteY711" fmla="*/ 1515149 h 1934496"/>
              <a:gd name="connsiteX712" fmla="*/ 8009753 w 9922465"/>
              <a:gd name="connsiteY712" fmla="*/ 1570340 h 1934496"/>
              <a:gd name="connsiteX713" fmla="*/ 7954561 w 9922465"/>
              <a:gd name="connsiteY713" fmla="*/ 1515149 h 1934496"/>
              <a:gd name="connsiteX714" fmla="*/ 8009753 w 9922465"/>
              <a:gd name="connsiteY714" fmla="*/ 1459958 h 1934496"/>
              <a:gd name="connsiteX715" fmla="*/ 7876118 w 9922465"/>
              <a:gd name="connsiteY715" fmla="*/ 1459958 h 1934496"/>
              <a:gd name="connsiteX716" fmla="*/ 7931310 w 9922465"/>
              <a:gd name="connsiteY716" fmla="*/ 1515149 h 1934496"/>
              <a:gd name="connsiteX717" fmla="*/ 7876118 w 9922465"/>
              <a:gd name="connsiteY717" fmla="*/ 1570340 h 1934496"/>
              <a:gd name="connsiteX718" fmla="*/ 7820926 w 9922465"/>
              <a:gd name="connsiteY718" fmla="*/ 1515149 h 1934496"/>
              <a:gd name="connsiteX719" fmla="*/ 7876118 w 9922465"/>
              <a:gd name="connsiteY719" fmla="*/ 1459958 h 1934496"/>
              <a:gd name="connsiteX720" fmla="*/ 7745823 w 9922465"/>
              <a:gd name="connsiteY720" fmla="*/ 1459958 h 1934496"/>
              <a:gd name="connsiteX721" fmla="*/ 7801015 w 9922465"/>
              <a:gd name="connsiteY721" fmla="*/ 1515149 h 1934496"/>
              <a:gd name="connsiteX722" fmla="*/ 7745823 w 9922465"/>
              <a:gd name="connsiteY722" fmla="*/ 1570340 h 1934496"/>
              <a:gd name="connsiteX723" fmla="*/ 7690631 w 9922465"/>
              <a:gd name="connsiteY723" fmla="*/ 1515149 h 1934496"/>
              <a:gd name="connsiteX724" fmla="*/ 7745823 w 9922465"/>
              <a:gd name="connsiteY724" fmla="*/ 1459958 h 1934496"/>
              <a:gd name="connsiteX725" fmla="*/ 7608849 w 9922465"/>
              <a:gd name="connsiteY725" fmla="*/ 1459958 h 1934496"/>
              <a:gd name="connsiteX726" fmla="*/ 7664041 w 9922465"/>
              <a:gd name="connsiteY726" fmla="*/ 1515149 h 1934496"/>
              <a:gd name="connsiteX727" fmla="*/ 7608849 w 9922465"/>
              <a:gd name="connsiteY727" fmla="*/ 1570340 h 1934496"/>
              <a:gd name="connsiteX728" fmla="*/ 7553657 w 9922465"/>
              <a:gd name="connsiteY728" fmla="*/ 1515149 h 1934496"/>
              <a:gd name="connsiteX729" fmla="*/ 7608849 w 9922465"/>
              <a:gd name="connsiteY729" fmla="*/ 1459958 h 1934496"/>
              <a:gd name="connsiteX730" fmla="*/ 7481897 w 9922465"/>
              <a:gd name="connsiteY730" fmla="*/ 1459958 h 1934496"/>
              <a:gd name="connsiteX731" fmla="*/ 7537089 w 9922465"/>
              <a:gd name="connsiteY731" fmla="*/ 1515149 h 1934496"/>
              <a:gd name="connsiteX732" fmla="*/ 7481897 w 9922465"/>
              <a:gd name="connsiteY732" fmla="*/ 1570340 h 1934496"/>
              <a:gd name="connsiteX733" fmla="*/ 7426705 w 9922465"/>
              <a:gd name="connsiteY733" fmla="*/ 1515149 h 1934496"/>
              <a:gd name="connsiteX734" fmla="*/ 7481897 w 9922465"/>
              <a:gd name="connsiteY734" fmla="*/ 1459958 h 1934496"/>
              <a:gd name="connsiteX735" fmla="*/ 7341579 w 9922465"/>
              <a:gd name="connsiteY735" fmla="*/ 1459958 h 1934496"/>
              <a:gd name="connsiteX736" fmla="*/ 7396771 w 9922465"/>
              <a:gd name="connsiteY736" fmla="*/ 1515149 h 1934496"/>
              <a:gd name="connsiteX737" fmla="*/ 7341579 w 9922465"/>
              <a:gd name="connsiteY737" fmla="*/ 1570340 h 1934496"/>
              <a:gd name="connsiteX738" fmla="*/ 7286387 w 9922465"/>
              <a:gd name="connsiteY738" fmla="*/ 1515149 h 1934496"/>
              <a:gd name="connsiteX739" fmla="*/ 7341579 w 9922465"/>
              <a:gd name="connsiteY739" fmla="*/ 1459958 h 1934496"/>
              <a:gd name="connsiteX740" fmla="*/ 7211286 w 9922465"/>
              <a:gd name="connsiteY740" fmla="*/ 1459958 h 1934496"/>
              <a:gd name="connsiteX741" fmla="*/ 7266478 w 9922465"/>
              <a:gd name="connsiteY741" fmla="*/ 1515149 h 1934496"/>
              <a:gd name="connsiteX742" fmla="*/ 7211286 w 9922465"/>
              <a:gd name="connsiteY742" fmla="*/ 1570340 h 1934496"/>
              <a:gd name="connsiteX743" fmla="*/ 7156094 w 9922465"/>
              <a:gd name="connsiteY743" fmla="*/ 1515149 h 1934496"/>
              <a:gd name="connsiteX744" fmla="*/ 7211286 w 9922465"/>
              <a:gd name="connsiteY744" fmla="*/ 1459958 h 1934496"/>
              <a:gd name="connsiteX745" fmla="*/ 7080993 w 9922465"/>
              <a:gd name="connsiteY745" fmla="*/ 1459958 h 1934496"/>
              <a:gd name="connsiteX746" fmla="*/ 7136185 w 9922465"/>
              <a:gd name="connsiteY746" fmla="*/ 1515149 h 1934496"/>
              <a:gd name="connsiteX747" fmla="*/ 7080993 w 9922465"/>
              <a:gd name="connsiteY747" fmla="*/ 1570340 h 1934496"/>
              <a:gd name="connsiteX748" fmla="*/ 7025801 w 9922465"/>
              <a:gd name="connsiteY748" fmla="*/ 1515149 h 1934496"/>
              <a:gd name="connsiteX749" fmla="*/ 7080993 w 9922465"/>
              <a:gd name="connsiteY749" fmla="*/ 1459958 h 1934496"/>
              <a:gd name="connsiteX750" fmla="*/ 6947357 w 9922465"/>
              <a:gd name="connsiteY750" fmla="*/ 1459958 h 1934496"/>
              <a:gd name="connsiteX751" fmla="*/ 7002549 w 9922465"/>
              <a:gd name="connsiteY751" fmla="*/ 1515149 h 1934496"/>
              <a:gd name="connsiteX752" fmla="*/ 6947357 w 9922465"/>
              <a:gd name="connsiteY752" fmla="*/ 1570340 h 1934496"/>
              <a:gd name="connsiteX753" fmla="*/ 6892165 w 9922465"/>
              <a:gd name="connsiteY753" fmla="*/ 1515149 h 1934496"/>
              <a:gd name="connsiteX754" fmla="*/ 6947357 w 9922465"/>
              <a:gd name="connsiteY754" fmla="*/ 1459958 h 1934496"/>
              <a:gd name="connsiteX755" fmla="*/ 6817064 w 9922465"/>
              <a:gd name="connsiteY755" fmla="*/ 1459958 h 1934496"/>
              <a:gd name="connsiteX756" fmla="*/ 6872256 w 9922465"/>
              <a:gd name="connsiteY756" fmla="*/ 1515149 h 1934496"/>
              <a:gd name="connsiteX757" fmla="*/ 6817064 w 9922465"/>
              <a:gd name="connsiteY757" fmla="*/ 1570340 h 1934496"/>
              <a:gd name="connsiteX758" fmla="*/ 6761872 w 9922465"/>
              <a:gd name="connsiteY758" fmla="*/ 1515149 h 1934496"/>
              <a:gd name="connsiteX759" fmla="*/ 6817064 w 9922465"/>
              <a:gd name="connsiteY759" fmla="*/ 1459958 h 1934496"/>
              <a:gd name="connsiteX760" fmla="*/ 6683431 w 9922465"/>
              <a:gd name="connsiteY760" fmla="*/ 1459958 h 1934496"/>
              <a:gd name="connsiteX761" fmla="*/ 6738623 w 9922465"/>
              <a:gd name="connsiteY761" fmla="*/ 1515149 h 1934496"/>
              <a:gd name="connsiteX762" fmla="*/ 6683431 w 9922465"/>
              <a:gd name="connsiteY762" fmla="*/ 1570340 h 1934496"/>
              <a:gd name="connsiteX763" fmla="*/ 6628239 w 9922465"/>
              <a:gd name="connsiteY763" fmla="*/ 1515149 h 1934496"/>
              <a:gd name="connsiteX764" fmla="*/ 6683431 w 9922465"/>
              <a:gd name="connsiteY764" fmla="*/ 1459958 h 1934496"/>
              <a:gd name="connsiteX765" fmla="*/ 6553137 w 9922465"/>
              <a:gd name="connsiteY765" fmla="*/ 1459958 h 1934496"/>
              <a:gd name="connsiteX766" fmla="*/ 6608329 w 9922465"/>
              <a:gd name="connsiteY766" fmla="*/ 1515149 h 1934496"/>
              <a:gd name="connsiteX767" fmla="*/ 6553137 w 9922465"/>
              <a:gd name="connsiteY767" fmla="*/ 1570340 h 1934496"/>
              <a:gd name="connsiteX768" fmla="*/ 6497945 w 9922465"/>
              <a:gd name="connsiteY768" fmla="*/ 1515149 h 1934496"/>
              <a:gd name="connsiteX769" fmla="*/ 6553137 w 9922465"/>
              <a:gd name="connsiteY769" fmla="*/ 1459958 h 1934496"/>
              <a:gd name="connsiteX770" fmla="*/ 6419502 w 9922465"/>
              <a:gd name="connsiteY770" fmla="*/ 1459958 h 1934496"/>
              <a:gd name="connsiteX771" fmla="*/ 6474694 w 9922465"/>
              <a:gd name="connsiteY771" fmla="*/ 1515149 h 1934496"/>
              <a:gd name="connsiteX772" fmla="*/ 6419502 w 9922465"/>
              <a:gd name="connsiteY772" fmla="*/ 1570340 h 1934496"/>
              <a:gd name="connsiteX773" fmla="*/ 6364310 w 9922465"/>
              <a:gd name="connsiteY773" fmla="*/ 1515149 h 1934496"/>
              <a:gd name="connsiteX774" fmla="*/ 6419502 w 9922465"/>
              <a:gd name="connsiteY774" fmla="*/ 1459958 h 1934496"/>
              <a:gd name="connsiteX775" fmla="*/ 6289207 w 9922465"/>
              <a:gd name="connsiteY775" fmla="*/ 1459958 h 1934496"/>
              <a:gd name="connsiteX776" fmla="*/ 6344399 w 9922465"/>
              <a:gd name="connsiteY776" fmla="*/ 1515149 h 1934496"/>
              <a:gd name="connsiteX777" fmla="*/ 6289207 w 9922465"/>
              <a:gd name="connsiteY777" fmla="*/ 1570340 h 1934496"/>
              <a:gd name="connsiteX778" fmla="*/ 6234015 w 9922465"/>
              <a:gd name="connsiteY778" fmla="*/ 1515149 h 1934496"/>
              <a:gd name="connsiteX779" fmla="*/ 6289207 w 9922465"/>
              <a:gd name="connsiteY779" fmla="*/ 1459958 h 1934496"/>
              <a:gd name="connsiteX780" fmla="*/ 6155573 w 9922465"/>
              <a:gd name="connsiteY780" fmla="*/ 1459958 h 1934496"/>
              <a:gd name="connsiteX781" fmla="*/ 6210765 w 9922465"/>
              <a:gd name="connsiteY781" fmla="*/ 1515149 h 1934496"/>
              <a:gd name="connsiteX782" fmla="*/ 6155573 w 9922465"/>
              <a:gd name="connsiteY782" fmla="*/ 1570340 h 1934496"/>
              <a:gd name="connsiteX783" fmla="*/ 6100381 w 9922465"/>
              <a:gd name="connsiteY783" fmla="*/ 1515149 h 1934496"/>
              <a:gd name="connsiteX784" fmla="*/ 6155573 w 9922465"/>
              <a:gd name="connsiteY784" fmla="*/ 1459958 h 1934496"/>
              <a:gd name="connsiteX785" fmla="*/ 6021939 w 9922465"/>
              <a:gd name="connsiteY785" fmla="*/ 1459958 h 1934496"/>
              <a:gd name="connsiteX786" fmla="*/ 6077131 w 9922465"/>
              <a:gd name="connsiteY786" fmla="*/ 1515149 h 1934496"/>
              <a:gd name="connsiteX787" fmla="*/ 6021939 w 9922465"/>
              <a:gd name="connsiteY787" fmla="*/ 1570340 h 1934496"/>
              <a:gd name="connsiteX788" fmla="*/ 5966747 w 9922465"/>
              <a:gd name="connsiteY788" fmla="*/ 1515149 h 1934496"/>
              <a:gd name="connsiteX789" fmla="*/ 6021939 w 9922465"/>
              <a:gd name="connsiteY789" fmla="*/ 1459958 h 1934496"/>
              <a:gd name="connsiteX790" fmla="*/ 5884964 w 9922465"/>
              <a:gd name="connsiteY790" fmla="*/ 1459958 h 1934496"/>
              <a:gd name="connsiteX791" fmla="*/ 5940156 w 9922465"/>
              <a:gd name="connsiteY791" fmla="*/ 1515149 h 1934496"/>
              <a:gd name="connsiteX792" fmla="*/ 5884964 w 9922465"/>
              <a:gd name="connsiteY792" fmla="*/ 1570340 h 1934496"/>
              <a:gd name="connsiteX793" fmla="*/ 5829772 w 9922465"/>
              <a:gd name="connsiteY793" fmla="*/ 1515149 h 1934496"/>
              <a:gd name="connsiteX794" fmla="*/ 5884964 w 9922465"/>
              <a:gd name="connsiteY794" fmla="*/ 1459958 h 1934496"/>
              <a:gd name="connsiteX795" fmla="*/ 5754668 w 9922465"/>
              <a:gd name="connsiteY795" fmla="*/ 1459958 h 1934496"/>
              <a:gd name="connsiteX796" fmla="*/ 5809860 w 9922465"/>
              <a:gd name="connsiteY796" fmla="*/ 1515149 h 1934496"/>
              <a:gd name="connsiteX797" fmla="*/ 5754668 w 9922465"/>
              <a:gd name="connsiteY797" fmla="*/ 1570340 h 1934496"/>
              <a:gd name="connsiteX798" fmla="*/ 5699476 w 9922465"/>
              <a:gd name="connsiteY798" fmla="*/ 1515149 h 1934496"/>
              <a:gd name="connsiteX799" fmla="*/ 5754668 w 9922465"/>
              <a:gd name="connsiteY799" fmla="*/ 1459958 h 1934496"/>
              <a:gd name="connsiteX800" fmla="*/ 5621034 w 9922465"/>
              <a:gd name="connsiteY800" fmla="*/ 1459958 h 1934496"/>
              <a:gd name="connsiteX801" fmla="*/ 5676226 w 9922465"/>
              <a:gd name="connsiteY801" fmla="*/ 1515149 h 1934496"/>
              <a:gd name="connsiteX802" fmla="*/ 5621034 w 9922465"/>
              <a:gd name="connsiteY802" fmla="*/ 1570340 h 1934496"/>
              <a:gd name="connsiteX803" fmla="*/ 5565842 w 9922465"/>
              <a:gd name="connsiteY803" fmla="*/ 1515149 h 1934496"/>
              <a:gd name="connsiteX804" fmla="*/ 5621034 w 9922465"/>
              <a:gd name="connsiteY804" fmla="*/ 1459958 h 1934496"/>
              <a:gd name="connsiteX805" fmla="*/ 5487399 w 9922465"/>
              <a:gd name="connsiteY805" fmla="*/ 1459958 h 1934496"/>
              <a:gd name="connsiteX806" fmla="*/ 5542591 w 9922465"/>
              <a:gd name="connsiteY806" fmla="*/ 1515149 h 1934496"/>
              <a:gd name="connsiteX807" fmla="*/ 5487399 w 9922465"/>
              <a:gd name="connsiteY807" fmla="*/ 1570340 h 1934496"/>
              <a:gd name="connsiteX808" fmla="*/ 5432207 w 9922465"/>
              <a:gd name="connsiteY808" fmla="*/ 1515149 h 1934496"/>
              <a:gd name="connsiteX809" fmla="*/ 5487399 w 9922465"/>
              <a:gd name="connsiteY809" fmla="*/ 1459958 h 1934496"/>
              <a:gd name="connsiteX810" fmla="*/ 5357106 w 9922465"/>
              <a:gd name="connsiteY810" fmla="*/ 1459958 h 1934496"/>
              <a:gd name="connsiteX811" fmla="*/ 5412298 w 9922465"/>
              <a:gd name="connsiteY811" fmla="*/ 1515149 h 1934496"/>
              <a:gd name="connsiteX812" fmla="*/ 5357106 w 9922465"/>
              <a:gd name="connsiteY812" fmla="*/ 1570340 h 1934496"/>
              <a:gd name="connsiteX813" fmla="*/ 5301914 w 9922465"/>
              <a:gd name="connsiteY813" fmla="*/ 1515149 h 1934496"/>
              <a:gd name="connsiteX814" fmla="*/ 5357106 w 9922465"/>
              <a:gd name="connsiteY814" fmla="*/ 1459958 h 1934496"/>
              <a:gd name="connsiteX815" fmla="*/ 5223473 w 9922465"/>
              <a:gd name="connsiteY815" fmla="*/ 1459958 h 1934496"/>
              <a:gd name="connsiteX816" fmla="*/ 5278665 w 9922465"/>
              <a:gd name="connsiteY816" fmla="*/ 1515149 h 1934496"/>
              <a:gd name="connsiteX817" fmla="*/ 5223473 w 9922465"/>
              <a:gd name="connsiteY817" fmla="*/ 1570340 h 1934496"/>
              <a:gd name="connsiteX818" fmla="*/ 5168281 w 9922465"/>
              <a:gd name="connsiteY818" fmla="*/ 1515149 h 1934496"/>
              <a:gd name="connsiteX819" fmla="*/ 5223473 w 9922465"/>
              <a:gd name="connsiteY819" fmla="*/ 1459958 h 1934496"/>
              <a:gd name="connsiteX820" fmla="*/ 5093178 w 9922465"/>
              <a:gd name="connsiteY820" fmla="*/ 1459958 h 1934496"/>
              <a:gd name="connsiteX821" fmla="*/ 5148370 w 9922465"/>
              <a:gd name="connsiteY821" fmla="*/ 1515149 h 1934496"/>
              <a:gd name="connsiteX822" fmla="*/ 5093178 w 9922465"/>
              <a:gd name="connsiteY822" fmla="*/ 1570340 h 1934496"/>
              <a:gd name="connsiteX823" fmla="*/ 5037986 w 9922465"/>
              <a:gd name="connsiteY823" fmla="*/ 1515149 h 1934496"/>
              <a:gd name="connsiteX824" fmla="*/ 5093178 w 9922465"/>
              <a:gd name="connsiteY824" fmla="*/ 1459958 h 1934496"/>
              <a:gd name="connsiteX825" fmla="*/ 4959542 w 9922465"/>
              <a:gd name="connsiteY825" fmla="*/ 1459958 h 1934496"/>
              <a:gd name="connsiteX826" fmla="*/ 5014734 w 9922465"/>
              <a:gd name="connsiteY826" fmla="*/ 1515149 h 1934496"/>
              <a:gd name="connsiteX827" fmla="*/ 4959542 w 9922465"/>
              <a:gd name="connsiteY827" fmla="*/ 1570340 h 1934496"/>
              <a:gd name="connsiteX828" fmla="*/ 4904350 w 9922465"/>
              <a:gd name="connsiteY828" fmla="*/ 1515149 h 1934496"/>
              <a:gd name="connsiteX829" fmla="*/ 4959542 w 9922465"/>
              <a:gd name="connsiteY829" fmla="*/ 1459958 h 1934496"/>
              <a:gd name="connsiteX830" fmla="*/ 4829250 w 9922465"/>
              <a:gd name="connsiteY830" fmla="*/ 1459958 h 1934496"/>
              <a:gd name="connsiteX831" fmla="*/ 4884442 w 9922465"/>
              <a:gd name="connsiteY831" fmla="*/ 1515149 h 1934496"/>
              <a:gd name="connsiteX832" fmla="*/ 4829250 w 9922465"/>
              <a:gd name="connsiteY832" fmla="*/ 1570340 h 1934496"/>
              <a:gd name="connsiteX833" fmla="*/ 4774058 w 9922465"/>
              <a:gd name="connsiteY833" fmla="*/ 1515149 h 1934496"/>
              <a:gd name="connsiteX834" fmla="*/ 4829250 w 9922465"/>
              <a:gd name="connsiteY834" fmla="*/ 1459958 h 1934496"/>
              <a:gd name="connsiteX835" fmla="*/ 4695614 w 9922465"/>
              <a:gd name="connsiteY835" fmla="*/ 1459958 h 1934496"/>
              <a:gd name="connsiteX836" fmla="*/ 4750806 w 9922465"/>
              <a:gd name="connsiteY836" fmla="*/ 1515149 h 1934496"/>
              <a:gd name="connsiteX837" fmla="*/ 4695614 w 9922465"/>
              <a:gd name="connsiteY837" fmla="*/ 1570340 h 1934496"/>
              <a:gd name="connsiteX838" fmla="*/ 4640422 w 9922465"/>
              <a:gd name="connsiteY838" fmla="*/ 1515149 h 1934496"/>
              <a:gd name="connsiteX839" fmla="*/ 4695614 w 9922465"/>
              <a:gd name="connsiteY839" fmla="*/ 1459958 h 1934496"/>
              <a:gd name="connsiteX840" fmla="*/ 4565322 w 9922465"/>
              <a:gd name="connsiteY840" fmla="*/ 1459958 h 1934496"/>
              <a:gd name="connsiteX841" fmla="*/ 4620514 w 9922465"/>
              <a:gd name="connsiteY841" fmla="*/ 1515149 h 1934496"/>
              <a:gd name="connsiteX842" fmla="*/ 4565322 w 9922465"/>
              <a:gd name="connsiteY842" fmla="*/ 1570340 h 1934496"/>
              <a:gd name="connsiteX843" fmla="*/ 4510130 w 9922465"/>
              <a:gd name="connsiteY843" fmla="*/ 1515149 h 1934496"/>
              <a:gd name="connsiteX844" fmla="*/ 4565322 w 9922465"/>
              <a:gd name="connsiteY844" fmla="*/ 1459958 h 1934496"/>
              <a:gd name="connsiteX845" fmla="*/ 4431687 w 9922465"/>
              <a:gd name="connsiteY845" fmla="*/ 1459958 h 1934496"/>
              <a:gd name="connsiteX846" fmla="*/ 4486879 w 9922465"/>
              <a:gd name="connsiteY846" fmla="*/ 1515149 h 1934496"/>
              <a:gd name="connsiteX847" fmla="*/ 4431687 w 9922465"/>
              <a:gd name="connsiteY847" fmla="*/ 1570340 h 1934496"/>
              <a:gd name="connsiteX848" fmla="*/ 4376495 w 9922465"/>
              <a:gd name="connsiteY848" fmla="*/ 1515149 h 1934496"/>
              <a:gd name="connsiteX849" fmla="*/ 4431687 w 9922465"/>
              <a:gd name="connsiteY849" fmla="*/ 1459958 h 1934496"/>
              <a:gd name="connsiteX850" fmla="*/ 3098681 w 9922465"/>
              <a:gd name="connsiteY850" fmla="*/ 1459958 h 1934496"/>
              <a:gd name="connsiteX851" fmla="*/ 3153873 w 9922465"/>
              <a:gd name="connsiteY851" fmla="*/ 1515149 h 1934496"/>
              <a:gd name="connsiteX852" fmla="*/ 3098681 w 9922465"/>
              <a:gd name="connsiteY852" fmla="*/ 1570340 h 1934496"/>
              <a:gd name="connsiteX853" fmla="*/ 3043489 w 9922465"/>
              <a:gd name="connsiteY853" fmla="*/ 1515149 h 1934496"/>
              <a:gd name="connsiteX854" fmla="*/ 3098681 w 9922465"/>
              <a:gd name="connsiteY854" fmla="*/ 1459958 h 1934496"/>
              <a:gd name="connsiteX855" fmla="*/ 2971729 w 9922465"/>
              <a:gd name="connsiteY855" fmla="*/ 1459958 h 1934496"/>
              <a:gd name="connsiteX856" fmla="*/ 3026921 w 9922465"/>
              <a:gd name="connsiteY856" fmla="*/ 1515149 h 1934496"/>
              <a:gd name="connsiteX857" fmla="*/ 2971729 w 9922465"/>
              <a:gd name="connsiteY857" fmla="*/ 1570340 h 1934496"/>
              <a:gd name="connsiteX858" fmla="*/ 2916537 w 9922465"/>
              <a:gd name="connsiteY858" fmla="*/ 1515149 h 1934496"/>
              <a:gd name="connsiteX859" fmla="*/ 2971729 w 9922465"/>
              <a:gd name="connsiteY859" fmla="*/ 1459958 h 1934496"/>
              <a:gd name="connsiteX860" fmla="*/ 2834792 w 9922465"/>
              <a:gd name="connsiteY860" fmla="*/ 1459958 h 1934496"/>
              <a:gd name="connsiteX861" fmla="*/ 2889984 w 9922465"/>
              <a:gd name="connsiteY861" fmla="*/ 1515149 h 1934496"/>
              <a:gd name="connsiteX862" fmla="*/ 2834792 w 9922465"/>
              <a:gd name="connsiteY862" fmla="*/ 1570340 h 1934496"/>
              <a:gd name="connsiteX863" fmla="*/ 2779600 w 9922465"/>
              <a:gd name="connsiteY863" fmla="*/ 1515149 h 1934496"/>
              <a:gd name="connsiteX864" fmla="*/ 2834792 w 9922465"/>
              <a:gd name="connsiteY864" fmla="*/ 1459958 h 1934496"/>
              <a:gd name="connsiteX865" fmla="*/ 2707839 w 9922465"/>
              <a:gd name="connsiteY865" fmla="*/ 1459958 h 1934496"/>
              <a:gd name="connsiteX866" fmla="*/ 2763031 w 9922465"/>
              <a:gd name="connsiteY866" fmla="*/ 1515149 h 1934496"/>
              <a:gd name="connsiteX867" fmla="*/ 2707839 w 9922465"/>
              <a:gd name="connsiteY867" fmla="*/ 1570340 h 1934496"/>
              <a:gd name="connsiteX868" fmla="*/ 2652646 w 9922465"/>
              <a:gd name="connsiteY868" fmla="*/ 1515149 h 1934496"/>
              <a:gd name="connsiteX869" fmla="*/ 2707839 w 9922465"/>
              <a:gd name="connsiteY869" fmla="*/ 1459958 h 1934496"/>
              <a:gd name="connsiteX870" fmla="*/ 2570864 w 9922465"/>
              <a:gd name="connsiteY870" fmla="*/ 1459958 h 1934496"/>
              <a:gd name="connsiteX871" fmla="*/ 2626056 w 9922465"/>
              <a:gd name="connsiteY871" fmla="*/ 1515149 h 1934496"/>
              <a:gd name="connsiteX872" fmla="*/ 2570864 w 9922465"/>
              <a:gd name="connsiteY872" fmla="*/ 1570340 h 1934496"/>
              <a:gd name="connsiteX873" fmla="*/ 2515671 w 9922465"/>
              <a:gd name="connsiteY873" fmla="*/ 1515149 h 1934496"/>
              <a:gd name="connsiteX874" fmla="*/ 2570864 w 9922465"/>
              <a:gd name="connsiteY874" fmla="*/ 1459958 h 1934496"/>
              <a:gd name="connsiteX875" fmla="*/ 2437228 w 9922465"/>
              <a:gd name="connsiteY875" fmla="*/ 1459958 h 1934496"/>
              <a:gd name="connsiteX876" fmla="*/ 2492419 w 9922465"/>
              <a:gd name="connsiteY876" fmla="*/ 1515149 h 1934496"/>
              <a:gd name="connsiteX877" fmla="*/ 2437228 w 9922465"/>
              <a:gd name="connsiteY877" fmla="*/ 1570340 h 1934496"/>
              <a:gd name="connsiteX878" fmla="*/ 2382037 w 9922465"/>
              <a:gd name="connsiteY878" fmla="*/ 1515149 h 1934496"/>
              <a:gd name="connsiteX879" fmla="*/ 2437228 w 9922465"/>
              <a:gd name="connsiteY879" fmla="*/ 1459958 h 1934496"/>
              <a:gd name="connsiteX880" fmla="*/ 2303596 w 9922465"/>
              <a:gd name="connsiteY880" fmla="*/ 1459958 h 1934496"/>
              <a:gd name="connsiteX881" fmla="*/ 2358787 w 9922465"/>
              <a:gd name="connsiteY881" fmla="*/ 1515149 h 1934496"/>
              <a:gd name="connsiteX882" fmla="*/ 2303596 w 9922465"/>
              <a:gd name="connsiteY882" fmla="*/ 1570340 h 1934496"/>
              <a:gd name="connsiteX883" fmla="*/ 2248404 w 9922465"/>
              <a:gd name="connsiteY883" fmla="*/ 1515149 h 1934496"/>
              <a:gd name="connsiteX884" fmla="*/ 2303596 w 9922465"/>
              <a:gd name="connsiteY884" fmla="*/ 1459958 h 1934496"/>
              <a:gd name="connsiteX885" fmla="*/ 2173305 w 9922465"/>
              <a:gd name="connsiteY885" fmla="*/ 1459958 h 1934496"/>
              <a:gd name="connsiteX886" fmla="*/ 2228497 w 9922465"/>
              <a:gd name="connsiteY886" fmla="*/ 1515149 h 1934496"/>
              <a:gd name="connsiteX887" fmla="*/ 2173305 w 9922465"/>
              <a:gd name="connsiteY887" fmla="*/ 1570340 h 1934496"/>
              <a:gd name="connsiteX888" fmla="*/ 2118111 w 9922465"/>
              <a:gd name="connsiteY888" fmla="*/ 1515149 h 1934496"/>
              <a:gd name="connsiteX889" fmla="*/ 2173305 w 9922465"/>
              <a:gd name="connsiteY889" fmla="*/ 1459958 h 1934496"/>
              <a:gd name="connsiteX890" fmla="*/ 2039668 w 9922465"/>
              <a:gd name="connsiteY890" fmla="*/ 1459958 h 1934496"/>
              <a:gd name="connsiteX891" fmla="*/ 2094860 w 9922465"/>
              <a:gd name="connsiteY891" fmla="*/ 1515149 h 1934496"/>
              <a:gd name="connsiteX892" fmla="*/ 2039668 w 9922465"/>
              <a:gd name="connsiteY892" fmla="*/ 1570340 h 1934496"/>
              <a:gd name="connsiteX893" fmla="*/ 1984475 w 9922465"/>
              <a:gd name="connsiteY893" fmla="*/ 1515149 h 1934496"/>
              <a:gd name="connsiteX894" fmla="*/ 2039668 w 9922465"/>
              <a:gd name="connsiteY894" fmla="*/ 1459958 h 1934496"/>
              <a:gd name="connsiteX895" fmla="*/ 1909371 w 9922465"/>
              <a:gd name="connsiteY895" fmla="*/ 1459958 h 1934496"/>
              <a:gd name="connsiteX896" fmla="*/ 1964564 w 9922465"/>
              <a:gd name="connsiteY896" fmla="*/ 1515149 h 1934496"/>
              <a:gd name="connsiteX897" fmla="*/ 1909371 w 9922465"/>
              <a:gd name="connsiteY897" fmla="*/ 1570340 h 1934496"/>
              <a:gd name="connsiteX898" fmla="*/ 1854178 w 9922465"/>
              <a:gd name="connsiteY898" fmla="*/ 1515149 h 1934496"/>
              <a:gd name="connsiteX899" fmla="*/ 1909371 w 9922465"/>
              <a:gd name="connsiteY899" fmla="*/ 1459958 h 1934496"/>
              <a:gd name="connsiteX900" fmla="*/ 1779076 w 9922465"/>
              <a:gd name="connsiteY900" fmla="*/ 1459958 h 1934496"/>
              <a:gd name="connsiteX901" fmla="*/ 1834269 w 9922465"/>
              <a:gd name="connsiteY901" fmla="*/ 1515149 h 1934496"/>
              <a:gd name="connsiteX902" fmla="*/ 1779076 w 9922465"/>
              <a:gd name="connsiteY902" fmla="*/ 1570340 h 1934496"/>
              <a:gd name="connsiteX903" fmla="*/ 1723884 w 9922465"/>
              <a:gd name="connsiteY903" fmla="*/ 1515149 h 1934496"/>
              <a:gd name="connsiteX904" fmla="*/ 1779076 w 9922465"/>
              <a:gd name="connsiteY904" fmla="*/ 1459958 h 1934496"/>
              <a:gd name="connsiteX905" fmla="*/ 1645440 w 9922465"/>
              <a:gd name="connsiteY905" fmla="*/ 1459958 h 1934496"/>
              <a:gd name="connsiteX906" fmla="*/ 1700637 w 9922465"/>
              <a:gd name="connsiteY906" fmla="*/ 1515149 h 1934496"/>
              <a:gd name="connsiteX907" fmla="*/ 1645440 w 9922465"/>
              <a:gd name="connsiteY907" fmla="*/ 1570340 h 1934496"/>
              <a:gd name="connsiteX908" fmla="*/ 1590248 w 9922465"/>
              <a:gd name="connsiteY908" fmla="*/ 1515149 h 1934496"/>
              <a:gd name="connsiteX909" fmla="*/ 1645440 w 9922465"/>
              <a:gd name="connsiteY909" fmla="*/ 1459958 h 1934496"/>
              <a:gd name="connsiteX910" fmla="*/ 1515149 w 9922465"/>
              <a:gd name="connsiteY910" fmla="*/ 1459958 h 1934496"/>
              <a:gd name="connsiteX911" fmla="*/ 1570338 w 9922465"/>
              <a:gd name="connsiteY911" fmla="*/ 1515149 h 1934496"/>
              <a:gd name="connsiteX912" fmla="*/ 1515149 w 9922465"/>
              <a:gd name="connsiteY912" fmla="*/ 1570340 h 1934496"/>
              <a:gd name="connsiteX913" fmla="*/ 1459956 w 9922465"/>
              <a:gd name="connsiteY913" fmla="*/ 1515149 h 1934496"/>
              <a:gd name="connsiteX914" fmla="*/ 1515149 w 9922465"/>
              <a:gd name="connsiteY914" fmla="*/ 1459958 h 1934496"/>
              <a:gd name="connsiteX915" fmla="*/ 1381511 w 9922465"/>
              <a:gd name="connsiteY915" fmla="*/ 1459958 h 1934496"/>
              <a:gd name="connsiteX916" fmla="*/ 1436705 w 9922465"/>
              <a:gd name="connsiteY916" fmla="*/ 1515149 h 1934496"/>
              <a:gd name="connsiteX917" fmla="*/ 1381511 w 9922465"/>
              <a:gd name="connsiteY917" fmla="*/ 1570340 h 1934496"/>
              <a:gd name="connsiteX918" fmla="*/ 1326322 w 9922465"/>
              <a:gd name="connsiteY918" fmla="*/ 1515149 h 1934496"/>
              <a:gd name="connsiteX919" fmla="*/ 1381511 w 9922465"/>
              <a:gd name="connsiteY919" fmla="*/ 1459958 h 1934496"/>
              <a:gd name="connsiteX920" fmla="*/ 1251220 w 9922465"/>
              <a:gd name="connsiteY920" fmla="*/ 1459958 h 1934496"/>
              <a:gd name="connsiteX921" fmla="*/ 1306413 w 9922465"/>
              <a:gd name="connsiteY921" fmla="*/ 1515149 h 1934496"/>
              <a:gd name="connsiteX922" fmla="*/ 1251220 w 9922465"/>
              <a:gd name="connsiteY922" fmla="*/ 1570340 h 1934496"/>
              <a:gd name="connsiteX923" fmla="*/ 1196028 w 9922465"/>
              <a:gd name="connsiteY923" fmla="*/ 1515149 h 1934496"/>
              <a:gd name="connsiteX924" fmla="*/ 1251220 w 9922465"/>
              <a:gd name="connsiteY924" fmla="*/ 1459958 h 1934496"/>
              <a:gd name="connsiteX925" fmla="*/ 1117583 w 9922465"/>
              <a:gd name="connsiteY925" fmla="*/ 1459958 h 1934496"/>
              <a:gd name="connsiteX926" fmla="*/ 1172776 w 9922465"/>
              <a:gd name="connsiteY926" fmla="*/ 1515149 h 1934496"/>
              <a:gd name="connsiteX927" fmla="*/ 1117583 w 9922465"/>
              <a:gd name="connsiteY927" fmla="*/ 1570340 h 1934496"/>
              <a:gd name="connsiteX928" fmla="*/ 1062390 w 9922465"/>
              <a:gd name="connsiteY928" fmla="*/ 1515149 h 1934496"/>
              <a:gd name="connsiteX929" fmla="*/ 1117583 w 9922465"/>
              <a:gd name="connsiteY929" fmla="*/ 1459958 h 1934496"/>
              <a:gd name="connsiteX930" fmla="*/ 980607 w 9922465"/>
              <a:gd name="connsiteY930" fmla="*/ 1459958 h 1934496"/>
              <a:gd name="connsiteX931" fmla="*/ 1035800 w 9922465"/>
              <a:gd name="connsiteY931" fmla="*/ 1515149 h 1934496"/>
              <a:gd name="connsiteX932" fmla="*/ 980607 w 9922465"/>
              <a:gd name="connsiteY932" fmla="*/ 1570340 h 1934496"/>
              <a:gd name="connsiteX933" fmla="*/ 925415 w 9922465"/>
              <a:gd name="connsiteY933" fmla="*/ 1515149 h 1934496"/>
              <a:gd name="connsiteX934" fmla="*/ 980607 w 9922465"/>
              <a:gd name="connsiteY934" fmla="*/ 1459958 h 1934496"/>
              <a:gd name="connsiteX935" fmla="*/ 7608849 w 9922465"/>
              <a:gd name="connsiteY935" fmla="*/ 1336350 h 1934496"/>
              <a:gd name="connsiteX936" fmla="*/ 7664041 w 9922465"/>
              <a:gd name="connsiteY936" fmla="*/ 1391541 h 1934496"/>
              <a:gd name="connsiteX937" fmla="*/ 7608849 w 9922465"/>
              <a:gd name="connsiteY937" fmla="*/ 1446732 h 1934496"/>
              <a:gd name="connsiteX938" fmla="*/ 7553657 w 9922465"/>
              <a:gd name="connsiteY938" fmla="*/ 1391541 h 1934496"/>
              <a:gd name="connsiteX939" fmla="*/ 7608849 w 9922465"/>
              <a:gd name="connsiteY939" fmla="*/ 1336350 h 1934496"/>
              <a:gd name="connsiteX940" fmla="*/ 7481897 w 9922465"/>
              <a:gd name="connsiteY940" fmla="*/ 1336350 h 1934496"/>
              <a:gd name="connsiteX941" fmla="*/ 7537089 w 9922465"/>
              <a:gd name="connsiteY941" fmla="*/ 1391541 h 1934496"/>
              <a:gd name="connsiteX942" fmla="*/ 7481897 w 9922465"/>
              <a:gd name="connsiteY942" fmla="*/ 1446732 h 1934496"/>
              <a:gd name="connsiteX943" fmla="*/ 7426705 w 9922465"/>
              <a:gd name="connsiteY943" fmla="*/ 1391541 h 1934496"/>
              <a:gd name="connsiteX944" fmla="*/ 7481897 w 9922465"/>
              <a:gd name="connsiteY944" fmla="*/ 1336350 h 1934496"/>
              <a:gd name="connsiteX945" fmla="*/ 7341579 w 9922465"/>
              <a:gd name="connsiteY945" fmla="*/ 1336350 h 1934496"/>
              <a:gd name="connsiteX946" fmla="*/ 7396771 w 9922465"/>
              <a:gd name="connsiteY946" fmla="*/ 1391541 h 1934496"/>
              <a:gd name="connsiteX947" fmla="*/ 7341579 w 9922465"/>
              <a:gd name="connsiteY947" fmla="*/ 1446732 h 1934496"/>
              <a:gd name="connsiteX948" fmla="*/ 7286387 w 9922465"/>
              <a:gd name="connsiteY948" fmla="*/ 1391541 h 1934496"/>
              <a:gd name="connsiteX949" fmla="*/ 7341579 w 9922465"/>
              <a:gd name="connsiteY949" fmla="*/ 1336350 h 1934496"/>
              <a:gd name="connsiteX950" fmla="*/ 7211286 w 9922465"/>
              <a:gd name="connsiteY950" fmla="*/ 1336350 h 1934496"/>
              <a:gd name="connsiteX951" fmla="*/ 7266478 w 9922465"/>
              <a:gd name="connsiteY951" fmla="*/ 1391541 h 1934496"/>
              <a:gd name="connsiteX952" fmla="*/ 7211286 w 9922465"/>
              <a:gd name="connsiteY952" fmla="*/ 1446732 h 1934496"/>
              <a:gd name="connsiteX953" fmla="*/ 7156094 w 9922465"/>
              <a:gd name="connsiteY953" fmla="*/ 1391541 h 1934496"/>
              <a:gd name="connsiteX954" fmla="*/ 7211286 w 9922465"/>
              <a:gd name="connsiteY954" fmla="*/ 1336350 h 1934496"/>
              <a:gd name="connsiteX955" fmla="*/ 7080993 w 9922465"/>
              <a:gd name="connsiteY955" fmla="*/ 1336350 h 1934496"/>
              <a:gd name="connsiteX956" fmla="*/ 7136185 w 9922465"/>
              <a:gd name="connsiteY956" fmla="*/ 1391541 h 1934496"/>
              <a:gd name="connsiteX957" fmla="*/ 7080993 w 9922465"/>
              <a:gd name="connsiteY957" fmla="*/ 1446732 h 1934496"/>
              <a:gd name="connsiteX958" fmla="*/ 7025801 w 9922465"/>
              <a:gd name="connsiteY958" fmla="*/ 1391541 h 1934496"/>
              <a:gd name="connsiteX959" fmla="*/ 7080993 w 9922465"/>
              <a:gd name="connsiteY959" fmla="*/ 1336350 h 1934496"/>
              <a:gd name="connsiteX960" fmla="*/ 6947357 w 9922465"/>
              <a:gd name="connsiteY960" fmla="*/ 1336350 h 1934496"/>
              <a:gd name="connsiteX961" fmla="*/ 7002549 w 9922465"/>
              <a:gd name="connsiteY961" fmla="*/ 1391541 h 1934496"/>
              <a:gd name="connsiteX962" fmla="*/ 6947357 w 9922465"/>
              <a:gd name="connsiteY962" fmla="*/ 1446732 h 1934496"/>
              <a:gd name="connsiteX963" fmla="*/ 6892165 w 9922465"/>
              <a:gd name="connsiteY963" fmla="*/ 1391541 h 1934496"/>
              <a:gd name="connsiteX964" fmla="*/ 6947357 w 9922465"/>
              <a:gd name="connsiteY964" fmla="*/ 1336350 h 1934496"/>
              <a:gd name="connsiteX965" fmla="*/ 6817064 w 9922465"/>
              <a:gd name="connsiteY965" fmla="*/ 1336350 h 1934496"/>
              <a:gd name="connsiteX966" fmla="*/ 6872256 w 9922465"/>
              <a:gd name="connsiteY966" fmla="*/ 1391541 h 1934496"/>
              <a:gd name="connsiteX967" fmla="*/ 6817064 w 9922465"/>
              <a:gd name="connsiteY967" fmla="*/ 1446732 h 1934496"/>
              <a:gd name="connsiteX968" fmla="*/ 6761872 w 9922465"/>
              <a:gd name="connsiteY968" fmla="*/ 1391541 h 1934496"/>
              <a:gd name="connsiteX969" fmla="*/ 6817064 w 9922465"/>
              <a:gd name="connsiteY969" fmla="*/ 1336350 h 1934496"/>
              <a:gd name="connsiteX970" fmla="*/ 6683431 w 9922465"/>
              <a:gd name="connsiteY970" fmla="*/ 1336350 h 1934496"/>
              <a:gd name="connsiteX971" fmla="*/ 6738623 w 9922465"/>
              <a:gd name="connsiteY971" fmla="*/ 1391541 h 1934496"/>
              <a:gd name="connsiteX972" fmla="*/ 6683431 w 9922465"/>
              <a:gd name="connsiteY972" fmla="*/ 1446732 h 1934496"/>
              <a:gd name="connsiteX973" fmla="*/ 6628239 w 9922465"/>
              <a:gd name="connsiteY973" fmla="*/ 1391541 h 1934496"/>
              <a:gd name="connsiteX974" fmla="*/ 6683431 w 9922465"/>
              <a:gd name="connsiteY974" fmla="*/ 1336350 h 1934496"/>
              <a:gd name="connsiteX975" fmla="*/ 6553137 w 9922465"/>
              <a:gd name="connsiteY975" fmla="*/ 1336350 h 1934496"/>
              <a:gd name="connsiteX976" fmla="*/ 6608329 w 9922465"/>
              <a:gd name="connsiteY976" fmla="*/ 1391541 h 1934496"/>
              <a:gd name="connsiteX977" fmla="*/ 6553137 w 9922465"/>
              <a:gd name="connsiteY977" fmla="*/ 1446732 h 1934496"/>
              <a:gd name="connsiteX978" fmla="*/ 6497945 w 9922465"/>
              <a:gd name="connsiteY978" fmla="*/ 1391541 h 1934496"/>
              <a:gd name="connsiteX979" fmla="*/ 6553137 w 9922465"/>
              <a:gd name="connsiteY979" fmla="*/ 1336350 h 1934496"/>
              <a:gd name="connsiteX980" fmla="*/ 6419502 w 9922465"/>
              <a:gd name="connsiteY980" fmla="*/ 1336350 h 1934496"/>
              <a:gd name="connsiteX981" fmla="*/ 6474694 w 9922465"/>
              <a:gd name="connsiteY981" fmla="*/ 1391541 h 1934496"/>
              <a:gd name="connsiteX982" fmla="*/ 6419502 w 9922465"/>
              <a:gd name="connsiteY982" fmla="*/ 1446732 h 1934496"/>
              <a:gd name="connsiteX983" fmla="*/ 6364310 w 9922465"/>
              <a:gd name="connsiteY983" fmla="*/ 1391541 h 1934496"/>
              <a:gd name="connsiteX984" fmla="*/ 6419502 w 9922465"/>
              <a:gd name="connsiteY984" fmla="*/ 1336350 h 1934496"/>
              <a:gd name="connsiteX985" fmla="*/ 6289207 w 9922465"/>
              <a:gd name="connsiteY985" fmla="*/ 1336350 h 1934496"/>
              <a:gd name="connsiteX986" fmla="*/ 6344399 w 9922465"/>
              <a:gd name="connsiteY986" fmla="*/ 1391541 h 1934496"/>
              <a:gd name="connsiteX987" fmla="*/ 6289207 w 9922465"/>
              <a:gd name="connsiteY987" fmla="*/ 1446732 h 1934496"/>
              <a:gd name="connsiteX988" fmla="*/ 6234015 w 9922465"/>
              <a:gd name="connsiteY988" fmla="*/ 1391541 h 1934496"/>
              <a:gd name="connsiteX989" fmla="*/ 6289207 w 9922465"/>
              <a:gd name="connsiteY989" fmla="*/ 1336350 h 1934496"/>
              <a:gd name="connsiteX990" fmla="*/ 6155573 w 9922465"/>
              <a:gd name="connsiteY990" fmla="*/ 1336350 h 1934496"/>
              <a:gd name="connsiteX991" fmla="*/ 6210765 w 9922465"/>
              <a:gd name="connsiteY991" fmla="*/ 1391541 h 1934496"/>
              <a:gd name="connsiteX992" fmla="*/ 6155573 w 9922465"/>
              <a:gd name="connsiteY992" fmla="*/ 1446732 h 1934496"/>
              <a:gd name="connsiteX993" fmla="*/ 6100381 w 9922465"/>
              <a:gd name="connsiteY993" fmla="*/ 1391541 h 1934496"/>
              <a:gd name="connsiteX994" fmla="*/ 6155573 w 9922465"/>
              <a:gd name="connsiteY994" fmla="*/ 1336350 h 1934496"/>
              <a:gd name="connsiteX995" fmla="*/ 6021939 w 9922465"/>
              <a:gd name="connsiteY995" fmla="*/ 1336350 h 1934496"/>
              <a:gd name="connsiteX996" fmla="*/ 6077131 w 9922465"/>
              <a:gd name="connsiteY996" fmla="*/ 1391541 h 1934496"/>
              <a:gd name="connsiteX997" fmla="*/ 6021939 w 9922465"/>
              <a:gd name="connsiteY997" fmla="*/ 1446732 h 1934496"/>
              <a:gd name="connsiteX998" fmla="*/ 5966747 w 9922465"/>
              <a:gd name="connsiteY998" fmla="*/ 1391541 h 1934496"/>
              <a:gd name="connsiteX999" fmla="*/ 6021939 w 9922465"/>
              <a:gd name="connsiteY999" fmla="*/ 1336350 h 1934496"/>
              <a:gd name="connsiteX1000" fmla="*/ 5884964 w 9922465"/>
              <a:gd name="connsiteY1000" fmla="*/ 1336350 h 1934496"/>
              <a:gd name="connsiteX1001" fmla="*/ 5940156 w 9922465"/>
              <a:gd name="connsiteY1001" fmla="*/ 1391541 h 1934496"/>
              <a:gd name="connsiteX1002" fmla="*/ 5884964 w 9922465"/>
              <a:gd name="connsiteY1002" fmla="*/ 1446732 h 1934496"/>
              <a:gd name="connsiteX1003" fmla="*/ 5829772 w 9922465"/>
              <a:gd name="connsiteY1003" fmla="*/ 1391541 h 1934496"/>
              <a:gd name="connsiteX1004" fmla="*/ 5884964 w 9922465"/>
              <a:gd name="connsiteY1004" fmla="*/ 1336350 h 1934496"/>
              <a:gd name="connsiteX1005" fmla="*/ 5754668 w 9922465"/>
              <a:gd name="connsiteY1005" fmla="*/ 1336350 h 1934496"/>
              <a:gd name="connsiteX1006" fmla="*/ 5809860 w 9922465"/>
              <a:gd name="connsiteY1006" fmla="*/ 1391541 h 1934496"/>
              <a:gd name="connsiteX1007" fmla="*/ 5754668 w 9922465"/>
              <a:gd name="connsiteY1007" fmla="*/ 1446732 h 1934496"/>
              <a:gd name="connsiteX1008" fmla="*/ 5699476 w 9922465"/>
              <a:gd name="connsiteY1008" fmla="*/ 1391541 h 1934496"/>
              <a:gd name="connsiteX1009" fmla="*/ 5754668 w 9922465"/>
              <a:gd name="connsiteY1009" fmla="*/ 1336350 h 1934496"/>
              <a:gd name="connsiteX1010" fmla="*/ 5621035 w 9922465"/>
              <a:gd name="connsiteY1010" fmla="*/ 1336350 h 1934496"/>
              <a:gd name="connsiteX1011" fmla="*/ 5676227 w 9922465"/>
              <a:gd name="connsiteY1011" fmla="*/ 1391541 h 1934496"/>
              <a:gd name="connsiteX1012" fmla="*/ 5621035 w 9922465"/>
              <a:gd name="connsiteY1012" fmla="*/ 1446732 h 1934496"/>
              <a:gd name="connsiteX1013" fmla="*/ 5565843 w 9922465"/>
              <a:gd name="connsiteY1013" fmla="*/ 1391541 h 1934496"/>
              <a:gd name="connsiteX1014" fmla="*/ 5621035 w 9922465"/>
              <a:gd name="connsiteY1014" fmla="*/ 1336350 h 1934496"/>
              <a:gd name="connsiteX1015" fmla="*/ 5487399 w 9922465"/>
              <a:gd name="connsiteY1015" fmla="*/ 1336350 h 1934496"/>
              <a:gd name="connsiteX1016" fmla="*/ 5542591 w 9922465"/>
              <a:gd name="connsiteY1016" fmla="*/ 1391541 h 1934496"/>
              <a:gd name="connsiteX1017" fmla="*/ 5487399 w 9922465"/>
              <a:gd name="connsiteY1017" fmla="*/ 1446732 h 1934496"/>
              <a:gd name="connsiteX1018" fmla="*/ 5432207 w 9922465"/>
              <a:gd name="connsiteY1018" fmla="*/ 1391541 h 1934496"/>
              <a:gd name="connsiteX1019" fmla="*/ 5487399 w 9922465"/>
              <a:gd name="connsiteY1019" fmla="*/ 1336350 h 1934496"/>
              <a:gd name="connsiteX1020" fmla="*/ 5357106 w 9922465"/>
              <a:gd name="connsiteY1020" fmla="*/ 1336350 h 1934496"/>
              <a:gd name="connsiteX1021" fmla="*/ 5412298 w 9922465"/>
              <a:gd name="connsiteY1021" fmla="*/ 1391541 h 1934496"/>
              <a:gd name="connsiteX1022" fmla="*/ 5357106 w 9922465"/>
              <a:gd name="connsiteY1022" fmla="*/ 1446732 h 1934496"/>
              <a:gd name="connsiteX1023" fmla="*/ 5301914 w 9922465"/>
              <a:gd name="connsiteY1023" fmla="*/ 1391541 h 1934496"/>
              <a:gd name="connsiteX1024" fmla="*/ 5357106 w 9922465"/>
              <a:gd name="connsiteY1024" fmla="*/ 1336350 h 1934496"/>
              <a:gd name="connsiteX1025" fmla="*/ 4959543 w 9922465"/>
              <a:gd name="connsiteY1025" fmla="*/ 1336350 h 1934496"/>
              <a:gd name="connsiteX1026" fmla="*/ 5014735 w 9922465"/>
              <a:gd name="connsiteY1026" fmla="*/ 1391541 h 1934496"/>
              <a:gd name="connsiteX1027" fmla="*/ 4959543 w 9922465"/>
              <a:gd name="connsiteY1027" fmla="*/ 1446732 h 1934496"/>
              <a:gd name="connsiteX1028" fmla="*/ 4904351 w 9922465"/>
              <a:gd name="connsiteY1028" fmla="*/ 1391541 h 1934496"/>
              <a:gd name="connsiteX1029" fmla="*/ 4959543 w 9922465"/>
              <a:gd name="connsiteY1029" fmla="*/ 1336350 h 1934496"/>
              <a:gd name="connsiteX1030" fmla="*/ 4565322 w 9922465"/>
              <a:gd name="connsiteY1030" fmla="*/ 1336350 h 1934496"/>
              <a:gd name="connsiteX1031" fmla="*/ 4620514 w 9922465"/>
              <a:gd name="connsiteY1031" fmla="*/ 1391541 h 1934496"/>
              <a:gd name="connsiteX1032" fmla="*/ 4565322 w 9922465"/>
              <a:gd name="connsiteY1032" fmla="*/ 1446732 h 1934496"/>
              <a:gd name="connsiteX1033" fmla="*/ 4510130 w 9922465"/>
              <a:gd name="connsiteY1033" fmla="*/ 1391541 h 1934496"/>
              <a:gd name="connsiteX1034" fmla="*/ 4565322 w 9922465"/>
              <a:gd name="connsiteY1034" fmla="*/ 1336350 h 1934496"/>
              <a:gd name="connsiteX1035" fmla="*/ 2971729 w 9922465"/>
              <a:gd name="connsiteY1035" fmla="*/ 1336350 h 1934496"/>
              <a:gd name="connsiteX1036" fmla="*/ 3026921 w 9922465"/>
              <a:gd name="connsiteY1036" fmla="*/ 1391541 h 1934496"/>
              <a:gd name="connsiteX1037" fmla="*/ 2971729 w 9922465"/>
              <a:gd name="connsiteY1037" fmla="*/ 1446732 h 1934496"/>
              <a:gd name="connsiteX1038" fmla="*/ 2916537 w 9922465"/>
              <a:gd name="connsiteY1038" fmla="*/ 1391541 h 1934496"/>
              <a:gd name="connsiteX1039" fmla="*/ 2971729 w 9922465"/>
              <a:gd name="connsiteY1039" fmla="*/ 1336350 h 1934496"/>
              <a:gd name="connsiteX1040" fmla="*/ 2834801 w 9922465"/>
              <a:gd name="connsiteY1040" fmla="*/ 1336350 h 1934496"/>
              <a:gd name="connsiteX1041" fmla="*/ 2889994 w 9922465"/>
              <a:gd name="connsiteY1041" fmla="*/ 1391541 h 1934496"/>
              <a:gd name="connsiteX1042" fmla="*/ 2834801 w 9922465"/>
              <a:gd name="connsiteY1042" fmla="*/ 1446732 h 1934496"/>
              <a:gd name="connsiteX1043" fmla="*/ 2779610 w 9922465"/>
              <a:gd name="connsiteY1043" fmla="*/ 1391541 h 1934496"/>
              <a:gd name="connsiteX1044" fmla="*/ 2834801 w 9922465"/>
              <a:gd name="connsiteY1044" fmla="*/ 1336350 h 1934496"/>
              <a:gd name="connsiteX1045" fmla="*/ 2707848 w 9922465"/>
              <a:gd name="connsiteY1045" fmla="*/ 1336350 h 1934496"/>
              <a:gd name="connsiteX1046" fmla="*/ 2763042 w 9922465"/>
              <a:gd name="connsiteY1046" fmla="*/ 1391541 h 1934496"/>
              <a:gd name="connsiteX1047" fmla="*/ 2707848 w 9922465"/>
              <a:gd name="connsiteY1047" fmla="*/ 1446732 h 1934496"/>
              <a:gd name="connsiteX1048" fmla="*/ 2652656 w 9922465"/>
              <a:gd name="connsiteY1048" fmla="*/ 1391541 h 1934496"/>
              <a:gd name="connsiteX1049" fmla="*/ 2707848 w 9922465"/>
              <a:gd name="connsiteY1049" fmla="*/ 1336350 h 1934496"/>
              <a:gd name="connsiteX1050" fmla="*/ 2570875 w 9922465"/>
              <a:gd name="connsiteY1050" fmla="*/ 1336350 h 1934496"/>
              <a:gd name="connsiteX1051" fmla="*/ 2626067 w 9922465"/>
              <a:gd name="connsiteY1051" fmla="*/ 1391541 h 1934496"/>
              <a:gd name="connsiteX1052" fmla="*/ 2570875 w 9922465"/>
              <a:gd name="connsiteY1052" fmla="*/ 1446732 h 1934496"/>
              <a:gd name="connsiteX1053" fmla="*/ 2515683 w 9922465"/>
              <a:gd name="connsiteY1053" fmla="*/ 1391541 h 1934496"/>
              <a:gd name="connsiteX1054" fmla="*/ 2570875 w 9922465"/>
              <a:gd name="connsiteY1054" fmla="*/ 1336350 h 1934496"/>
              <a:gd name="connsiteX1055" fmla="*/ 2173314 w 9922465"/>
              <a:gd name="connsiteY1055" fmla="*/ 1336350 h 1934496"/>
              <a:gd name="connsiteX1056" fmla="*/ 2228507 w 9922465"/>
              <a:gd name="connsiteY1056" fmla="*/ 1391541 h 1934496"/>
              <a:gd name="connsiteX1057" fmla="*/ 2173314 w 9922465"/>
              <a:gd name="connsiteY1057" fmla="*/ 1446732 h 1934496"/>
              <a:gd name="connsiteX1058" fmla="*/ 2118122 w 9922465"/>
              <a:gd name="connsiteY1058" fmla="*/ 1391541 h 1934496"/>
              <a:gd name="connsiteX1059" fmla="*/ 2173314 w 9922465"/>
              <a:gd name="connsiteY1059" fmla="*/ 1336350 h 1934496"/>
              <a:gd name="connsiteX1060" fmla="*/ 2039678 w 9922465"/>
              <a:gd name="connsiteY1060" fmla="*/ 1336350 h 1934496"/>
              <a:gd name="connsiteX1061" fmla="*/ 2094870 w 9922465"/>
              <a:gd name="connsiteY1061" fmla="*/ 1391541 h 1934496"/>
              <a:gd name="connsiteX1062" fmla="*/ 2039678 w 9922465"/>
              <a:gd name="connsiteY1062" fmla="*/ 1446732 h 1934496"/>
              <a:gd name="connsiteX1063" fmla="*/ 1984484 w 9922465"/>
              <a:gd name="connsiteY1063" fmla="*/ 1391541 h 1934496"/>
              <a:gd name="connsiteX1064" fmla="*/ 2039678 w 9922465"/>
              <a:gd name="connsiteY1064" fmla="*/ 1336350 h 1934496"/>
              <a:gd name="connsiteX1065" fmla="*/ 1909381 w 9922465"/>
              <a:gd name="connsiteY1065" fmla="*/ 1336350 h 1934496"/>
              <a:gd name="connsiteX1066" fmla="*/ 1964575 w 9922465"/>
              <a:gd name="connsiteY1066" fmla="*/ 1391541 h 1934496"/>
              <a:gd name="connsiteX1067" fmla="*/ 1909381 w 9922465"/>
              <a:gd name="connsiteY1067" fmla="*/ 1446732 h 1934496"/>
              <a:gd name="connsiteX1068" fmla="*/ 1854188 w 9922465"/>
              <a:gd name="connsiteY1068" fmla="*/ 1391541 h 1934496"/>
              <a:gd name="connsiteX1069" fmla="*/ 1909381 w 9922465"/>
              <a:gd name="connsiteY1069" fmla="*/ 1336350 h 1934496"/>
              <a:gd name="connsiteX1070" fmla="*/ 1779086 w 9922465"/>
              <a:gd name="connsiteY1070" fmla="*/ 1336350 h 1934496"/>
              <a:gd name="connsiteX1071" fmla="*/ 1834278 w 9922465"/>
              <a:gd name="connsiteY1071" fmla="*/ 1391541 h 1934496"/>
              <a:gd name="connsiteX1072" fmla="*/ 1779086 w 9922465"/>
              <a:gd name="connsiteY1072" fmla="*/ 1446732 h 1934496"/>
              <a:gd name="connsiteX1073" fmla="*/ 1723892 w 9922465"/>
              <a:gd name="connsiteY1073" fmla="*/ 1391541 h 1934496"/>
              <a:gd name="connsiteX1074" fmla="*/ 1779086 w 9922465"/>
              <a:gd name="connsiteY1074" fmla="*/ 1336350 h 1934496"/>
              <a:gd name="connsiteX1075" fmla="*/ 1645448 w 9922465"/>
              <a:gd name="connsiteY1075" fmla="*/ 1336350 h 1934496"/>
              <a:gd name="connsiteX1076" fmla="*/ 1700644 w 9922465"/>
              <a:gd name="connsiteY1076" fmla="*/ 1391541 h 1934496"/>
              <a:gd name="connsiteX1077" fmla="*/ 1645448 w 9922465"/>
              <a:gd name="connsiteY1077" fmla="*/ 1446732 h 1934496"/>
              <a:gd name="connsiteX1078" fmla="*/ 1590256 w 9922465"/>
              <a:gd name="connsiteY1078" fmla="*/ 1391541 h 1934496"/>
              <a:gd name="connsiteX1079" fmla="*/ 1645448 w 9922465"/>
              <a:gd name="connsiteY1079" fmla="*/ 1336350 h 1934496"/>
              <a:gd name="connsiteX1080" fmla="*/ 1515160 w 9922465"/>
              <a:gd name="connsiteY1080" fmla="*/ 1336350 h 1934496"/>
              <a:gd name="connsiteX1081" fmla="*/ 1570346 w 9922465"/>
              <a:gd name="connsiteY1081" fmla="*/ 1391541 h 1934496"/>
              <a:gd name="connsiteX1082" fmla="*/ 1515160 w 9922465"/>
              <a:gd name="connsiteY1082" fmla="*/ 1446732 h 1934496"/>
              <a:gd name="connsiteX1083" fmla="*/ 1459963 w 9922465"/>
              <a:gd name="connsiteY1083" fmla="*/ 1391541 h 1934496"/>
              <a:gd name="connsiteX1084" fmla="*/ 1515160 w 9922465"/>
              <a:gd name="connsiteY1084" fmla="*/ 1336350 h 1934496"/>
              <a:gd name="connsiteX1085" fmla="*/ 1381522 w 9922465"/>
              <a:gd name="connsiteY1085" fmla="*/ 1336350 h 1934496"/>
              <a:gd name="connsiteX1086" fmla="*/ 1436714 w 9922465"/>
              <a:gd name="connsiteY1086" fmla="*/ 1391541 h 1934496"/>
              <a:gd name="connsiteX1087" fmla="*/ 1381522 w 9922465"/>
              <a:gd name="connsiteY1087" fmla="*/ 1446732 h 1934496"/>
              <a:gd name="connsiteX1088" fmla="*/ 1326330 w 9922465"/>
              <a:gd name="connsiteY1088" fmla="*/ 1391541 h 1934496"/>
              <a:gd name="connsiteX1089" fmla="*/ 1381522 w 9922465"/>
              <a:gd name="connsiteY1089" fmla="*/ 1336350 h 1934496"/>
              <a:gd name="connsiteX1090" fmla="*/ 1251229 w 9922465"/>
              <a:gd name="connsiteY1090" fmla="*/ 1336350 h 1934496"/>
              <a:gd name="connsiteX1091" fmla="*/ 1306421 w 9922465"/>
              <a:gd name="connsiteY1091" fmla="*/ 1391541 h 1934496"/>
              <a:gd name="connsiteX1092" fmla="*/ 1251229 w 9922465"/>
              <a:gd name="connsiteY1092" fmla="*/ 1446732 h 1934496"/>
              <a:gd name="connsiteX1093" fmla="*/ 1196037 w 9922465"/>
              <a:gd name="connsiteY1093" fmla="*/ 1391541 h 1934496"/>
              <a:gd name="connsiteX1094" fmla="*/ 1251229 w 9922465"/>
              <a:gd name="connsiteY1094" fmla="*/ 1336350 h 1934496"/>
              <a:gd name="connsiteX1095" fmla="*/ 1117592 w 9922465"/>
              <a:gd name="connsiteY1095" fmla="*/ 1336350 h 1934496"/>
              <a:gd name="connsiteX1096" fmla="*/ 1172785 w 9922465"/>
              <a:gd name="connsiteY1096" fmla="*/ 1391541 h 1934496"/>
              <a:gd name="connsiteX1097" fmla="*/ 1117592 w 9922465"/>
              <a:gd name="connsiteY1097" fmla="*/ 1446732 h 1934496"/>
              <a:gd name="connsiteX1098" fmla="*/ 1062400 w 9922465"/>
              <a:gd name="connsiteY1098" fmla="*/ 1391541 h 1934496"/>
              <a:gd name="connsiteX1099" fmla="*/ 1117592 w 9922465"/>
              <a:gd name="connsiteY1099" fmla="*/ 1336350 h 1934496"/>
              <a:gd name="connsiteX1100" fmla="*/ 980615 w 9922465"/>
              <a:gd name="connsiteY1100" fmla="*/ 1336350 h 1934496"/>
              <a:gd name="connsiteX1101" fmla="*/ 1035808 w 9922465"/>
              <a:gd name="connsiteY1101" fmla="*/ 1391541 h 1934496"/>
              <a:gd name="connsiteX1102" fmla="*/ 980615 w 9922465"/>
              <a:gd name="connsiteY1102" fmla="*/ 1446732 h 1934496"/>
              <a:gd name="connsiteX1103" fmla="*/ 925422 w 9922465"/>
              <a:gd name="connsiteY1103" fmla="*/ 1391541 h 1934496"/>
              <a:gd name="connsiteX1104" fmla="*/ 980615 w 9922465"/>
              <a:gd name="connsiteY1104" fmla="*/ 1336350 h 1934496"/>
              <a:gd name="connsiteX1105" fmla="*/ 9199101 w 9922465"/>
              <a:gd name="connsiteY1105" fmla="*/ 1336348 h 1934496"/>
              <a:gd name="connsiteX1106" fmla="*/ 9254293 w 9922465"/>
              <a:gd name="connsiteY1106" fmla="*/ 1391539 h 1934496"/>
              <a:gd name="connsiteX1107" fmla="*/ 9199101 w 9922465"/>
              <a:gd name="connsiteY1107" fmla="*/ 1446730 h 1934496"/>
              <a:gd name="connsiteX1108" fmla="*/ 9143909 w 9922465"/>
              <a:gd name="connsiteY1108" fmla="*/ 1391539 h 1934496"/>
              <a:gd name="connsiteX1109" fmla="*/ 9199101 w 9922465"/>
              <a:gd name="connsiteY1109" fmla="*/ 1336348 h 1934496"/>
              <a:gd name="connsiteX1110" fmla="*/ 9068807 w 9922465"/>
              <a:gd name="connsiteY1110" fmla="*/ 1336348 h 1934496"/>
              <a:gd name="connsiteX1111" fmla="*/ 9123999 w 9922465"/>
              <a:gd name="connsiteY1111" fmla="*/ 1391539 h 1934496"/>
              <a:gd name="connsiteX1112" fmla="*/ 9068807 w 9922465"/>
              <a:gd name="connsiteY1112" fmla="*/ 1446730 h 1934496"/>
              <a:gd name="connsiteX1113" fmla="*/ 9013615 w 9922465"/>
              <a:gd name="connsiteY1113" fmla="*/ 1391539 h 1934496"/>
              <a:gd name="connsiteX1114" fmla="*/ 9068807 w 9922465"/>
              <a:gd name="connsiteY1114" fmla="*/ 1336348 h 1934496"/>
              <a:gd name="connsiteX1115" fmla="*/ 8407316 w 9922465"/>
              <a:gd name="connsiteY1115" fmla="*/ 1336348 h 1934496"/>
              <a:gd name="connsiteX1116" fmla="*/ 8462508 w 9922465"/>
              <a:gd name="connsiteY1116" fmla="*/ 1391539 h 1934496"/>
              <a:gd name="connsiteX1117" fmla="*/ 8407316 w 9922465"/>
              <a:gd name="connsiteY1117" fmla="*/ 1446730 h 1934496"/>
              <a:gd name="connsiteX1118" fmla="*/ 8352124 w 9922465"/>
              <a:gd name="connsiteY1118" fmla="*/ 1391539 h 1934496"/>
              <a:gd name="connsiteX1119" fmla="*/ 8407316 w 9922465"/>
              <a:gd name="connsiteY1119" fmla="*/ 1336348 h 1934496"/>
              <a:gd name="connsiteX1120" fmla="*/ 8273682 w 9922465"/>
              <a:gd name="connsiteY1120" fmla="*/ 1336348 h 1934496"/>
              <a:gd name="connsiteX1121" fmla="*/ 8328874 w 9922465"/>
              <a:gd name="connsiteY1121" fmla="*/ 1391539 h 1934496"/>
              <a:gd name="connsiteX1122" fmla="*/ 8273682 w 9922465"/>
              <a:gd name="connsiteY1122" fmla="*/ 1446730 h 1934496"/>
              <a:gd name="connsiteX1123" fmla="*/ 8218490 w 9922465"/>
              <a:gd name="connsiteY1123" fmla="*/ 1391539 h 1934496"/>
              <a:gd name="connsiteX1124" fmla="*/ 8273682 w 9922465"/>
              <a:gd name="connsiteY1124" fmla="*/ 1336348 h 1934496"/>
              <a:gd name="connsiteX1125" fmla="*/ 8143388 w 9922465"/>
              <a:gd name="connsiteY1125" fmla="*/ 1336348 h 1934496"/>
              <a:gd name="connsiteX1126" fmla="*/ 8198580 w 9922465"/>
              <a:gd name="connsiteY1126" fmla="*/ 1391539 h 1934496"/>
              <a:gd name="connsiteX1127" fmla="*/ 8143388 w 9922465"/>
              <a:gd name="connsiteY1127" fmla="*/ 1446730 h 1934496"/>
              <a:gd name="connsiteX1128" fmla="*/ 8088196 w 9922465"/>
              <a:gd name="connsiteY1128" fmla="*/ 1391539 h 1934496"/>
              <a:gd name="connsiteX1129" fmla="*/ 8143388 w 9922465"/>
              <a:gd name="connsiteY1129" fmla="*/ 1336348 h 1934496"/>
              <a:gd name="connsiteX1130" fmla="*/ 8009753 w 9922465"/>
              <a:gd name="connsiteY1130" fmla="*/ 1336348 h 1934496"/>
              <a:gd name="connsiteX1131" fmla="*/ 8064945 w 9922465"/>
              <a:gd name="connsiteY1131" fmla="*/ 1391539 h 1934496"/>
              <a:gd name="connsiteX1132" fmla="*/ 8009753 w 9922465"/>
              <a:gd name="connsiteY1132" fmla="*/ 1446730 h 1934496"/>
              <a:gd name="connsiteX1133" fmla="*/ 7954561 w 9922465"/>
              <a:gd name="connsiteY1133" fmla="*/ 1391539 h 1934496"/>
              <a:gd name="connsiteX1134" fmla="*/ 8009753 w 9922465"/>
              <a:gd name="connsiteY1134" fmla="*/ 1336348 h 1934496"/>
              <a:gd name="connsiteX1135" fmla="*/ 7876118 w 9922465"/>
              <a:gd name="connsiteY1135" fmla="*/ 1336348 h 1934496"/>
              <a:gd name="connsiteX1136" fmla="*/ 7931310 w 9922465"/>
              <a:gd name="connsiteY1136" fmla="*/ 1391539 h 1934496"/>
              <a:gd name="connsiteX1137" fmla="*/ 7876118 w 9922465"/>
              <a:gd name="connsiteY1137" fmla="*/ 1446730 h 1934496"/>
              <a:gd name="connsiteX1138" fmla="*/ 7820926 w 9922465"/>
              <a:gd name="connsiteY1138" fmla="*/ 1391539 h 1934496"/>
              <a:gd name="connsiteX1139" fmla="*/ 7876118 w 9922465"/>
              <a:gd name="connsiteY1139" fmla="*/ 1336348 h 1934496"/>
              <a:gd name="connsiteX1140" fmla="*/ 7745823 w 9922465"/>
              <a:gd name="connsiteY1140" fmla="*/ 1336348 h 1934496"/>
              <a:gd name="connsiteX1141" fmla="*/ 7801015 w 9922465"/>
              <a:gd name="connsiteY1141" fmla="*/ 1391539 h 1934496"/>
              <a:gd name="connsiteX1142" fmla="*/ 7745823 w 9922465"/>
              <a:gd name="connsiteY1142" fmla="*/ 1446730 h 1934496"/>
              <a:gd name="connsiteX1143" fmla="*/ 7690631 w 9922465"/>
              <a:gd name="connsiteY1143" fmla="*/ 1391539 h 1934496"/>
              <a:gd name="connsiteX1144" fmla="*/ 7745823 w 9922465"/>
              <a:gd name="connsiteY1144" fmla="*/ 1336348 h 1934496"/>
              <a:gd name="connsiteX1145" fmla="*/ 185475 w 9922465"/>
              <a:gd name="connsiteY1145" fmla="*/ 1336348 h 1934496"/>
              <a:gd name="connsiteX1146" fmla="*/ 240666 w 9922465"/>
              <a:gd name="connsiteY1146" fmla="*/ 1391539 h 1934496"/>
              <a:gd name="connsiteX1147" fmla="*/ 185475 w 9922465"/>
              <a:gd name="connsiteY1147" fmla="*/ 1446730 h 1934496"/>
              <a:gd name="connsiteX1148" fmla="*/ 130283 w 9922465"/>
              <a:gd name="connsiteY1148" fmla="*/ 1391539 h 1934496"/>
              <a:gd name="connsiteX1149" fmla="*/ 185475 w 9922465"/>
              <a:gd name="connsiteY1149" fmla="*/ 1336348 h 1934496"/>
              <a:gd name="connsiteX1150" fmla="*/ 9199101 w 9922465"/>
              <a:gd name="connsiteY1150" fmla="*/ 1219421 h 1934496"/>
              <a:gd name="connsiteX1151" fmla="*/ 9254293 w 9922465"/>
              <a:gd name="connsiteY1151" fmla="*/ 1274612 h 1934496"/>
              <a:gd name="connsiteX1152" fmla="*/ 9199101 w 9922465"/>
              <a:gd name="connsiteY1152" fmla="*/ 1329803 h 1934496"/>
              <a:gd name="connsiteX1153" fmla="*/ 9143909 w 9922465"/>
              <a:gd name="connsiteY1153" fmla="*/ 1274612 h 1934496"/>
              <a:gd name="connsiteX1154" fmla="*/ 9199101 w 9922465"/>
              <a:gd name="connsiteY1154" fmla="*/ 1219421 h 1934496"/>
              <a:gd name="connsiteX1155" fmla="*/ 9068807 w 9922465"/>
              <a:gd name="connsiteY1155" fmla="*/ 1219421 h 1934496"/>
              <a:gd name="connsiteX1156" fmla="*/ 9123999 w 9922465"/>
              <a:gd name="connsiteY1156" fmla="*/ 1274612 h 1934496"/>
              <a:gd name="connsiteX1157" fmla="*/ 9068807 w 9922465"/>
              <a:gd name="connsiteY1157" fmla="*/ 1329803 h 1934496"/>
              <a:gd name="connsiteX1158" fmla="*/ 9013615 w 9922465"/>
              <a:gd name="connsiteY1158" fmla="*/ 1274612 h 1934496"/>
              <a:gd name="connsiteX1159" fmla="*/ 9068807 w 9922465"/>
              <a:gd name="connsiteY1159" fmla="*/ 1219421 h 1934496"/>
              <a:gd name="connsiteX1160" fmla="*/ 8537612 w 9922465"/>
              <a:gd name="connsiteY1160" fmla="*/ 1219421 h 1934496"/>
              <a:gd name="connsiteX1161" fmla="*/ 8592804 w 9922465"/>
              <a:gd name="connsiteY1161" fmla="*/ 1274612 h 1934496"/>
              <a:gd name="connsiteX1162" fmla="*/ 8537612 w 9922465"/>
              <a:gd name="connsiteY1162" fmla="*/ 1329803 h 1934496"/>
              <a:gd name="connsiteX1163" fmla="*/ 8482420 w 9922465"/>
              <a:gd name="connsiteY1163" fmla="*/ 1274612 h 1934496"/>
              <a:gd name="connsiteX1164" fmla="*/ 8537612 w 9922465"/>
              <a:gd name="connsiteY1164" fmla="*/ 1219421 h 1934496"/>
              <a:gd name="connsiteX1165" fmla="*/ 8407316 w 9922465"/>
              <a:gd name="connsiteY1165" fmla="*/ 1219421 h 1934496"/>
              <a:gd name="connsiteX1166" fmla="*/ 8462508 w 9922465"/>
              <a:gd name="connsiteY1166" fmla="*/ 1274612 h 1934496"/>
              <a:gd name="connsiteX1167" fmla="*/ 8407316 w 9922465"/>
              <a:gd name="connsiteY1167" fmla="*/ 1329803 h 1934496"/>
              <a:gd name="connsiteX1168" fmla="*/ 8352124 w 9922465"/>
              <a:gd name="connsiteY1168" fmla="*/ 1274612 h 1934496"/>
              <a:gd name="connsiteX1169" fmla="*/ 8407316 w 9922465"/>
              <a:gd name="connsiteY1169" fmla="*/ 1219421 h 1934496"/>
              <a:gd name="connsiteX1170" fmla="*/ 8273682 w 9922465"/>
              <a:gd name="connsiteY1170" fmla="*/ 1219421 h 1934496"/>
              <a:gd name="connsiteX1171" fmla="*/ 8328874 w 9922465"/>
              <a:gd name="connsiteY1171" fmla="*/ 1274612 h 1934496"/>
              <a:gd name="connsiteX1172" fmla="*/ 8273682 w 9922465"/>
              <a:gd name="connsiteY1172" fmla="*/ 1329803 h 1934496"/>
              <a:gd name="connsiteX1173" fmla="*/ 8218490 w 9922465"/>
              <a:gd name="connsiteY1173" fmla="*/ 1274612 h 1934496"/>
              <a:gd name="connsiteX1174" fmla="*/ 8273682 w 9922465"/>
              <a:gd name="connsiteY1174" fmla="*/ 1219421 h 1934496"/>
              <a:gd name="connsiteX1175" fmla="*/ 8143388 w 9922465"/>
              <a:gd name="connsiteY1175" fmla="*/ 1219421 h 1934496"/>
              <a:gd name="connsiteX1176" fmla="*/ 8198580 w 9922465"/>
              <a:gd name="connsiteY1176" fmla="*/ 1274612 h 1934496"/>
              <a:gd name="connsiteX1177" fmla="*/ 8143388 w 9922465"/>
              <a:gd name="connsiteY1177" fmla="*/ 1329803 h 1934496"/>
              <a:gd name="connsiteX1178" fmla="*/ 8088196 w 9922465"/>
              <a:gd name="connsiteY1178" fmla="*/ 1274612 h 1934496"/>
              <a:gd name="connsiteX1179" fmla="*/ 8143388 w 9922465"/>
              <a:gd name="connsiteY1179" fmla="*/ 1219421 h 1934496"/>
              <a:gd name="connsiteX1180" fmla="*/ 8009753 w 9922465"/>
              <a:gd name="connsiteY1180" fmla="*/ 1219421 h 1934496"/>
              <a:gd name="connsiteX1181" fmla="*/ 8064945 w 9922465"/>
              <a:gd name="connsiteY1181" fmla="*/ 1274612 h 1934496"/>
              <a:gd name="connsiteX1182" fmla="*/ 8009753 w 9922465"/>
              <a:gd name="connsiteY1182" fmla="*/ 1329803 h 1934496"/>
              <a:gd name="connsiteX1183" fmla="*/ 7954561 w 9922465"/>
              <a:gd name="connsiteY1183" fmla="*/ 1274612 h 1934496"/>
              <a:gd name="connsiteX1184" fmla="*/ 8009753 w 9922465"/>
              <a:gd name="connsiteY1184" fmla="*/ 1219421 h 1934496"/>
              <a:gd name="connsiteX1185" fmla="*/ 7876118 w 9922465"/>
              <a:gd name="connsiteY1185" fmla="*/ 1219421 h 1934496"/>
              <a:gd name="connsiteX1186" fmla="*/ 7931310 w 9922465"/>
              <a:gd name="connsiteY1186" fmla="*/ 1274612 h 1934496"/>
              <a:gd name="connsiteX1187" fmla="*/ 7876118 w 9922465"/>
              <a:gd name="connsiteY1187" fmla="*/ 1329803 h 1934496"/>
              <a:gd name="connsiteX1188" fmla="*/ 7820926 w 9922465"/>
              <a:gd name="connsiteY1188" fmla="*/ 1274612 h 1934496"/>
              <a:gd name="connsiteX1189" fmla="*/ 7876118 w 9922465"/>
              <a:gd name="connsiteY1189" fmla="*/ 1219421 h 1934496"/>
              <a:gd name="connsiteX1190" fmla="*/ 7745823 w 9922465"/>
              <a:gd name="connsiteY1190" fmla="*/ 1219421 h 1934496"/>
              <a:gd name="connsiteX1191" fmla="*/ 7801015 w 9922465"/>
              <a:gd name="connsiteY1191" fmla="*/ 1274612 h 1934496"/>
              <a:gd name="connsiteX1192" fmla="*/ 7745823 w 9922465"/>
              <a:gd name="connsiteY1192" fmla="*/ 1329803 h 1934496"/>
              <a:gd name="connsiteX1193" fmla="*/ 7690631 w 9922465"/>
              <a:gd name="connsiteY1193" fmla="*/ 1274612 h 1934496"/>
              <a:gd name="connsiteX1194" fmla="*/ 7745823 w 9922465"/>
              <a:gd name="connsiteY1194" fmla="*/ 1219421 h 1934496"/>
              <a:gd name="connsiteX1195" fmla="*/ 7608849 w 9922465"/>
              <a:gd name="connsiteY1195" fmla="*/ 1219421 h 1934496"/>
              <a:gd name="connsiteX1196" fmla="*/ 7664041 w 9922465"/>
              <a:gd name="connsiteY1196" fmla="*/ 1274612 h 1934496"/>
              <a:gd name="connsiteX1197" fmla="*/ 7608849 w 9922465"/>
              <a:gd name="connsiteY1197" fmla="*/ 1329803 h 1934496"/>
              <a:gd name="connsiteX1198" fmla="*/ 7553657 w 9922465"/>
              <a:gd name="connsiteY1198" fmla="*/ 1274612 h 1934496"/>
              <a:gd name="connsiteX1199" fmla="*/ 7608849 w 9922465"/>
              <a:gd name="connsiteY1199" fmla="*/ 1219421 h 1934496"/>
              <a:gd name="connsiteX1200" fmla="*/ 7481897 w 9922465"/>
              <a:gd name="connsiteY1200" fmla="*/ 1219421 h 1934496"/>
              <a:gd name="connsiteX1201" fmla="*/ 7537089 w 9922465"/>
              <a:gd name="connsiteY1201" fmla="*/ 1274612 h 1934496"/>
              <a:gd name="connsiteX1202" fmla="*/ 7481897 w 9922465"/>
              <a:gd name="connsiteY1202" fmla="*/ 1329803 h 1934496"/>
              <a:gd name="connsiteX1203" fmla="*/ 7426705 w 9922465"/>
              <a:gd name="connsiteY1203" fmla="*/ 1274612 h 1934496"/>
              <a:gd name="connsiteX1204" fmla="*/ 7481897 w 9922465"/>
              <a:gd name="connsiteY1204" fmla="*/ 1219421 h 1934496"/>
              <a:gd name="connsiteX1205" fmla="*/ 7341579 w 9922465"/>
              <a:gd name="connsiteY1205" fmla="*/ 1219421 h 1934496"/>
              <a:gd name="connsiteX1206" fmla="*/ 7396771 w 9922465"/>
              <a:gd name="connsiteY1206" fmla="*/ 1274612 h 1934496"/>
              <a:gd name="connsiteX1207" fmla="*/ 7341579 w 9922465"/>
              <a:gd name="connsiteY1207" fmla="*/ 1329803 h 1934496"/>
              <a:gd name="connsiteX1208" fmla="*/ 7286387 w 9922465"/>
              <a:gd name="connsiteY1208" fmla="*/ 1274612 h 1934496"/>
              <a:gd name="connsiteX1209" fmla="*/ 7341579 w 9922465"/>
              <a:gd name="connsiteY1209" fmla="*/ 1219421 h 1934496"/>
              <a:gd name="connsiteX1210" fmla="*/ 7211286 w 9922465"/>
              <a:gd name="connsiteY1210" fmla="*/ 1219421 h 1934496"/>
              <a:gd name="connsiteX1211" fmla="*/ 7266478 w 9922465"/>
              <a:gd name="connsiteY1211" fmla="*/ 1274612 h 1934496"/>
              <a:gd name="connsiteX1212" fmla="*/ 7211286 w 9922465"/>
              <a:gd name="connsiteY1212" fmla="*/ 1329803 h 1934496"/>
              <a:gd name="connsiteX1213" fmla="*/ 7156094 w 9922465"/>
              <a:gd name="connsiteY1213" fmla="*/ 1274612 h 1934496"/>
              <a:gd name="connsiteX1214" fmla="*/ 7211286 w 9922465"/>
              <a:gd name="connsiteY1214" fmla="*/ 1219421 h 1934496"/>
              <a:gd name="connsiteX1215" fmla="*/ 7080993 w 9922465"/>
              <a:gd name="connsiteY1215" fmla="*/ 1219421 h 1934496"/>
              <a:gd name="connsiteX1216" fmla="*/ 7136185 w 9922465"/>
              <a:gd name="connsiteY1216" fmla="*/ 1274612 h 1934496"/>
              <a:gd name="connsiteX1217" fmla="*/ 7080993 w 9922465"/>
              <a:gd name="connsiteY1217" fmla="*/ 1329803 h 1934496"/>
              <a:gd name="connsiteX1218" fmla="*/ 7025801 w 9922465"/>
              <a:gd name="connsiteY1218" fmla="*/ 1274612 h 1934496"/>
              <a:gd name="connsiteX1219" fmla="*/ 7080993 w 9922465"/>
              <a:gd name="connsiteY1219" fmla="*/ 1219421 h 1934496"/>
              <a:gd name="connsiteX1220" fmla="*/ 6947357 w 9922465"/>
              <a:gd name="connsiteY1220" fmla="*/ 1219421 h 1934496"/>
              <a:gd name="connsiteX1221" fmla="*/ 7002549 w 9922465"/>
              <a:gd name="connsiteY1221" fmla="*/ 1274612 h 1934496"/>
              <a:gd name="connsiteX1222" fmla="*/ 6947357 w 9922465"/>
              <a:gd name="connsiteY1222" fmla="*/ 1329803 h 1934496"/>
              <a:gd name="connsiteX1223" fmla="*/ 6892165 w 9922465"/>
              <a:gd name="connsiteY1223" fmla="*/ 1274612 h 1934496"/>
              <a:gd name="connsiteX1224" fmla="*/ 6947357 w 9922465"/>
              <a:gd name="connsiteY1224" fmla="*/ 1219421 h 1934496"/>
              <a:gd name="connsiteX1225" fmla="*/ 6817064 w 9922465"/>
              <a:gd name="connsiteY1225" fmla="*/ 1219421 h 1934496"/>
              <a:gd name="connsiteX1226" fmla="*/ 6872256 w 9922465"/>
              <a:gd name="connsiteY1226" fmla="*/ 1274612 h 1934496"/>
              <a:gd name="connsiteX1227" fmla="*/ 6817064 w 9922465"/>
              <a:gd name="connsiteY1227" fmla="*/ 1329803 h 1934496"/>
              <a:gd name="connsiteX1228" fmla="*/ 6761872 w 9922465"/>
              <a:gd name="connsiteY1228" fmla="*/ 1274612 h 1934496"/>
              <a:gd name="connsiteX1229" fmla="*/ 6817064 w 9922465"/>
              <a:gd name="connsiteY1229" fmla="*/ 1219421 h 1934496"/>
              <a:gd name="connsiteX1230" fmla="*/ 6683431 w 9922465"/>
              <a:gd name="connsiteY1230" fmla="*/ 1219421 h 1934496"/>
              <a:gd name="connsiteX1231" fmla="*/ 6738623 w 9922465"/>
              <a:gd name="connsiteY1231" fmla="*/ 1274612 h 1934496"/>
              <a:gd name="connsiteX1232" fmla="*/ 6683431 w 9922465"/>
              <a:gd name="connsiteY1232" fmla="*/ 1329803 h 1934496"/>
              <a:gd name="connsiteX1233" fmla="*/ 6628239 w 9922465"/>
              <a:gd name="connsiteY1233" fmla="*/ 1274612 h 1934496"/>
              <a:gd name="connsiteX1234" fmla="*/ 6683431 w 9922465"/>
              <a:gd name="connsiteY1234" fmla="*/ 1219421 h 1934496"/>
              <a:gd name="connsiteX1235" fmla="*/ 6553137 w 9922465"/>
              <a:gd name="connsiteY1235" fmla="*/ 1219421 h 1934496"/>
              <a:gd name="connsiteX1236" fmla="*/ 6608329 w 9922465"/>
              <a:gd name="connsiteY1236" fmla="*/ 1274612 h 1934496"/>
              <a:gd name="connsiteX1237" fmla="*/ 6553137 w 9922465"/>
              <a:gd name="connsiteY1237" fmla="*/ 1329803 h 1934496"/>
              <a:gd name="connsiteX1238" fmla="*/ 6497945 w 9922465"/>
              <a:gd name="connsiteY1238" fmla="*/ 1274612 h 1934496"/>
              <a:gd name="connsiteX1239" fmla="*/ 6553137 w 9922465"/>
              <a:gd name="connsiteY1239" fmla="*/ 1219421 h 1934496"/>
              <a:gd name="connsiteX1240" fmla="*/ 6419502 w 9922465"/>
              <a:gd name="connsiteY1240" fmla="*/ 1219421 h 1934496"/>
              <a:gd name="connsiteX1241" fmla="*/ 6474694 w 9922465"/>
              <a:gd name="connsiteY1241" fmla="*/ 1274612 h 1934496"/>
              <a:gd name="connsiteX1242" fmla="*/ 6419502 w 9922465"/>
              <a:gd name="connsiteY1242" fmla="*/ 1329803 h 1934496"/>
              <a:gd name="connsiteX1243" fmla="*/ 6364310 w 9922465"/>
              <a:gd name="connsiteY1243" fmla="*/ 1274612 h 1934496"/>
              <a:gd name="connsiteX1244" fmla="*/ 6419502 w 9922465"/>
              <a:gd name="connsiteY1244" fmla="*/ 1219421 h 1934496"/>
              <a:gd name="connsiteX1245" fmla="*/ 6289207 w 9922465"/>
              <a:gd name="connsiteY1245" fmla="*/ 1219421 h 1934496"/>
              <a:gd name="connsiteX1246" fmla="*/ 6344399 w 9922465"/>
              <a:gd name="connsiteY1246" fmla="*/ 1274612 h 1934496"/>
              <a:gd name="connsiteX1247" fmla="*/ 6289207 w 9922465"/>
              <a:gd name="connsiteY1247" fmla="*/ 1329803 h 1934496"/>
              <a:gd name="connsiteX1248" fmla="*/ 6234015 w 9922465"/>
              <a:gd name="connsiteY1248" fmla="*/ 1274612 h 1934496"/>
              <a:gd name="connsiteX1249" fmla="*/ 6289207 w 9922465"/>
              <a:gd name="connsiteY1249" fmla="*/ 1219421 h 1934496"/>
              <a:gd name="connsiteX1250" fmla="*/ 6155573 w 9922465"/>
              <a:gd name="connsiteY1250" fmla="*/ 1219421 h 1934496"/>
              <a:gd name="connsiteX1251" fmla="*/ 6210765 w 9922465"/>
              <a:gd name="connsiteY1251" fmla="*/ 1274612 h 1934496"/>
              <a:gd name="connsiteX1252" fmla="*/ 6155573 w 9922465"/>
              <a:gd name="connsiteY1252" fmla="*/ 1329803 h 1934496"/>
              <a:gd name="connsiteX1253" fmla="*/ 6100381 w 9922465"/>
              <a:gd name="connsiteY1253" fmla="*/ 1274612 h 1934496"/>
              <a:gd name="connsiteX1254" fmla="*/ 6155573 w 9922465"/>
              <a:gd name="connsiteY1254" fmla="*/ 1219421 h 1934496"/>
              <a:gd name="connsiteX1255" fmla="*/ 6021939 w 9922465"/>
              <a:gd name="connsiteY1255" fmla="*/ 1219421 h 1934496"/>
              <a:gd name="connsiteX1256" fmla="*/ 6077131 w 9922465"/>
              <a:gd name="connsiteY1256" fmla="*/ 1274612 h 1934496"/>
              <a:gd name="connsiteX1257" fmla="*/ 6021939 w 9922465"/>
              <a:gd name="connsiteY1257" fmla="*/ 1329803 h 1934496"/>
              <a:gd name="connsiteX1258" fmla="*/ 5966747 w 9922465"/>
              <a:gd name="connsiteY1258" fmla="*/ 1274612 h 1934496"/>
              <a:gd name="connsiteX1259" fmla="*/ 6021939 w 9922465"/>
              <a:gd name="connsiteY1259" fmla="*/ 1219421 h 1934496"/>
              <a:gd name="connsiteX1260" fmla="*/ 5884964 w 9922465"/>
              <a:gd name="connsiteY1260" fmla="*/ 1219421 h 1934496"/>
              <a:gd name="connsiteX1261" fmla="*/ 5940156 w 9922465"/>
              <a:gd name="connsiteY1261" fmla="*/ 1274612 h 1934496"/>
              <a:gd name="connsiteX1262" fmla="*/ 5884964 w 9922465"/>
              <a:gd name="connsiteY1262" fmla="*/ 1329803 h 1934496"/>
              <a:gd name="connsiteX1263" fmla="*/ 5829772 w 9922465"/>
              <a:gd name="connsiteY1263" fmla="*/ 1274612 h 1934496"/>
              <a:gd name="connsiteX1264" fmla="*/ 5884964 w 9922465"/>
              <a:gd name="connsiteY1264" fmla="*/ 1219421 h 1934496"/>
              <a:gd name="connsiteX1265" fmla="*/ 5754668 w 9922465"/>
              <a:gd name="connsiteY1265" fmla="*/ 1219421 h 1934496"/>
              <a:gd name="connsiteX1266" fmla="*/ 5809860 w 9922465"/>
              <a:gd name="connsiteY1266" fmla="*/ 1274612 h 1934496"/>
              <a:gd name="connsiteX1267" fmla="*/ 5754668 w 9922465"/>
              <a:gd name="connsiteY1267" fmla="*/ 1329803 h 1934496"/>
              <a:gd name="connsiteX1268" fmla="*/ 5699476 w 9922465"/>
              <a:gd name="connsiteY1268" fmla="*/ 1274612 h 1934496"/>
              <a:gd name="connsiteX1269" fmla="*/ 5754668 w 9922465"/>
              <a:gd name="connsiteY1269" fmla="*/ 1219421 h 1934496"/>
              <a:gd name="connsiteX1270" fmla="*/ 5621034 w 9922465"/>
              <a:gd name="connsiteY1270" fmla="*/ 1219421 h 1934496"/>
              <a:gd name="connsiteX1271" fmla="*/ 5676226 w 9922465"/>
              <a:gd name="connsiteY1271" fmla="*/ 1274612 h 1934496"/>
              <a:gd name="connsiteX1272" fmla="*/ 5621034 w 9922465"/>
              <a:gd name="connsiteY1272" fmla="*/ 1329803 h 1934496"/>
              <a:gd name="connsiteX1273" fmla="*/ 5565842 w 9922465"/>
              <a:gd name="connsiteY1273" fmla="*/ 1274612 h 1934496"/>
              <a:gd name="connsiteX1274" fmla="*/ 5621034 w 9922465"/>
              <a:gd name="connsiteY1274" fmla="*/ 1219421 h 1934496"/>
              <a:gd name="connsiteX1275" fmla="*/ 5487399 w 9922465"/>
              <a:gd name="connsiteY1275" fmla="*/ 1219421 h 1934496"/>
              <a:gd name="connsiteX1276" fmla="*/ 5542591 w 9922465"/>
              <a:gd name="connsiteY1276" fmla="*/ 1274612 h 1934496"/>
              <a:gd name="connsiteX1277" fmla="*/ 5487399 w 9922465"/>
              <a:gd name="connsiteY1277" fmla="*/ 1329803 h 1934496"/>
              <a:gd name="connsiteX1278" fmla="*/ 5432207 w 9922465"/>
              <a:gd name="connsiteY1278" fmla="*/ 1274612 h 1934496"/>
              <a:gd name="connsiteX1279" fmla="*/ 5487399 w 9922465"/>
              <a:gd name="connsiteY1279" fmla="*/ 1219421 h 1934496"/>
              <a:gd name="connsiteX1280" fmla="*/ 5357106 w 9922465"/>
              <a:gd name="connsiteY1280" fmla="*/ 1219421 h 1934496"/>
              <a:gd name="connsiteX1281" fmla="*/ 5412298 w 9922465"/>
              <a:gd name="connsiteY1281" fmla="*/ 1274612 h 1934496"/>
              <a:gd name="connsiteX1282" fmla="*/ 5357106 w 9922465"/>
              <a:gd name="connsiteY1282" fmla="*/ 1329803 h 1934496"/>
              <a:gd name="connsiteX1283" fmla="*/ 5301914 w 9922465"/>
              <a:gd name="connsiteY1283" fmla="*/ 1274612 h 1934496"/>
              <a:gd name="connsiteX1284" fmla="*/ 5357106 w 9922465"/>
              <a:gd name="connsiteY1284" fmla="*/ 1219421 h 1934496"/>
              <a:gd name="connsiteX1285" fmla="*/ 5093178 w 9922465"/>
              <a:gd name="connsiteY1285" fmla="*/ 1219421 h 1934496"/>
              <a:gd name="connsiteX1286" fmla="*/ 5148370 w 9922465"/>
              <a:gd name="connsiteY1286" fmla="*/ 1274612 h 1934496"/>
              <a:gd name="connsiteX1287" fmla="*/ 5093178 w 9922465"/>
              <a:gd name="connsiteY1287" fmla="*/ 1329803 h 1934496"/>
              <a:gd name="connsiteX1288" fmla="*/ 5037986 w 9922465"/>
              <a:gd name="connsiteY1288" fmla="*/ 1274612 h 1934496"/>
              <a:gd name="connsiteX1289" fmla="*/ 5093178 w 9922465"/>
              <a:gd name="connsiteY1289" fmla="*/ 1219421 h 1934496"/>
              <a:gd name="connsiteX1290" fmla="*/ 4959542 w 9922465"/>
              <a:gd name="connsiteY1290" fmla="*/ 1219421 h 1934496"/>
              <a:gd name="connsiteX1291" fmla="*/ 5014734 w 9922465"/>
              <a:gd name="connsiteY1291" fmla="*/ 1274612 h 1934496"/>
              <a:gd name="connsiteX1292" fmla="*/ 4959542 w 9922465"/>
              <a:gd name="connsiteY1292" fmla="*/ 1329803 h 1934496"/>
              <a:gd name="connsiteX1293" fmla="*/ 4904350 w 9922465"/>
              <a:gd name="connsiteY1293" fmla="*/ 1274612 h 1934496"/>
              <a:gd name="connsiteX1294" fmla="*/ 4959542 w 9922465"/>
              <a:gd name="connsiteY1294" fmla="*/ 1219421 h 1934496"/>
              <a:gd name="connsiteX1295" fmla="*/ 4829250 w 9922465"/>
              <a:gd name="connsiteY1295" fmla="*/ 1219421 h 1934496"/>
              <a:gd name="connsiteX1296" fmla="*/ 4884442 w 9922465"/>
              <a:gd name="connsiteY1296" fmla="*/ 1274612 h 1934496"/>
              <a:gd name="connsiteX1297" fmla="*/ 4829250 w 9922465"/>
              <a:gd name="connsiteY1297" fmla="*/ 1329803 h 1934496"/>
              <a:gd name="connsiteX1298" fmla="*/ 4774058 w 9922465"/>
              <a:gd name="connsiteY1298" fmla="*/ 1274612 h 1934496"/>
              <a:gd name="connsiteX1299" fmla="*/ 4829250 w 9922465"/>
              <a:gd name="connsiteY1299" fmla="*/ 1219421 h 1934496"/>
              <a:gd name="connsiteX1300" fmla="*/ 319111 w 9922465"/>
              <a:gd name="connsiteY1300" fmla="*/ 1219421 h 1934496"/>
              <a:gd name="connsiteX1301" fmla="*/ 374305 w 9922465"/>
              <a:gd name="connsiteY1301" fmla="*/ 1274612 h 1934496"/>
              <a:gd name="connsiteX1302" fmla="*/ 319111 w 9922465"/>
              <a:gd name="connsiteY1302" fmla="*/ 1329803 h 1934496"/>
              <a:gd name="connsiteX1303" fmla="*/ 263920 w 9922465"/>
              <a:gd name="connsiteY1303" fmla="*/ 1274612 h 1934496"/>
              <a:gd name="connsiteX1304" fmla="*/ 319111 w 9922465"/>
              <a:gd name="connsiteY1304" fmla="*/ 1219421 h 1934496"/>
              <a:gd name="connsiteX1305" fmla="*/ 185480 w 9922465"/>
              <a:gd name="connsiteY1305" fmla="*/ 1219421 h 1934496"/>
              <a:gd name="connsiteX1306" fmla="*/ 240671 w 9922465"/>
              <a:gd name="connsiteY1306" fmla="*/ 1274612 h 1934496"/>
              <a:gd name="connsiteX1307" fmla="*/ 185480 w 9922465"/>
              <a:gd name="connsiteY1307" fmla="*/ 1329803 h 1934496"/>
              <a:gd name="connsiteX1308" fmla="*/ 130288 w 9922465"/>
              <a:gd name="connsiteY1308" fmla="*/ 1274612 h 1934496"/>
              <a:gd name="connsiteX1309" fmla="*/ 185480 w 9922465"/>
              <a:gd name="connsiteY1309" fmla="*/ 1219421 h 1934496"/>
              <a:gd name="connsiteX1310" fmla="*/ 449407 w 9922465"/>
              <a:gd name="connsiteY1310" fmla="*/ 1219419 h 1934496"/>
              <a:gd name="connsiteX1311" fmla="*/ 504600 w 9922465"/>
              <a:gd name="connsiteY1311" fmla="*/ 1274610 h 1934496"/>
              <a:gd name="connsiteX1312" fmla="*/ 449407 w 9922465"/>
              <a:gd name="connsiteY1312" fmla="*/ 1329801 h 1934496"/>
              <a:gd name="connsiteX1313" fmla="*/ 394214 w 9922465"/>
              <a:gd name="connsiteY1313" fmla="*/ 1274610 h 1934496"/>
              <a:gd name="connsiteX1314" fmla="*/ 449407 w 9922465"/>
              <a:gd name="connsiteY1314" fmla="*/ 1219419 h 1934496"/>
              <a:gd name="connsiteX1315" fmla="*/ 4565322 w 9922465"/>
              <a:gd name="connsiteY1315" fmla="*/ 1219417 h 1934496"/>
              <a:gd name="connsiteX1316" fmla="*/ 4620514 w 9922465"/>
              <a:gd name="connsiteY1316" fmla="*/ 1274608 h 1934496"/>
              <a:gd name="connsiteX1317" fmla="*/ 4565322 w 9922465"/>
              <a:gd name="connsiteY1317" fmla="*/ 1329799 h 1934496"/>
              <a:gd name="connsiteX1318" fmla="*/ 4510130 w 9922465"/>
              <a:gd name="connsiteY1318" fmla="*/ 1274608 h 1934496"/>
              <a:gd name="connsiteX1319" fmla="*/ 4565322 w 9922465"/>
              <a:gd name="connsiteY1319" fmla="*/ 1219417 h 1934496"/>
              <a:gd name="connsiteX1320" fmla="*/ 2834811 w 9922465"/>
              <a:gd name="connsiteY1320" fmla="*/ 1219417 h 1934496"/>
              <a:gd name="connsiteX1321" fmla="*/ 2890003 w 9922465"/>
              <a:gd name="connsiteY1321" fmla="*/ 1274608 h 1934496"/>
              <a:gd name="connsiteX1322" fmla="*/ 2834811 w 9922465"/>
              <a:gd name="connsiteY1322" fmla="*/ 1329799 h 1934496"/>
              <a:gd name="connsiteX1323" fmla="*/ 2779620 w 9922465"/>
              <a:gd name="connsiteY1323" fmla="*/ 1274608 h 1934496"/>
              <a:gd name="connsiteX1324" fmla="*/ 2834811 w 9922465"/>
              <a:gd name="connsiteY1324" fmla="*/ 1219417 h 1934496"/>
              <a:gd name="connsiteX1325" fmla="*/ 2707858 w 9922465"/>
              <a:gd name="connsiteY1325" fmla="*/ 1219417 h 1934496"/>
              <a:gd name="connsiteX1326" fmla="*/ 2763052 w 9922465"/>
              <a:gd name="connsiteY1326" fmla="*/ 1274608 h 1934496"/>
              <a:gd name="connsiteX1327" fmla="*/ 2707858 w 9922465"/>
              <a:gd name="connsiteY1327" fmla="*/ 1329799 h 1934496"/>
              <a:gd name="connsiteX1328" fmla="*/ 2652667 w 9922465"/>
              <a:gd name="connsiteY1328" fmla="*/ 1274608 h 1934496"/>
              <a:gd name="connsiteX1329" fmla="*/ 2707858 w 9922465"/>
              <a:gd name="connsiteY1329" fmla="*/ 1219417 h 1934496"/>
              <a:gd name="connsiteX1330" fmla="*/ 2570885 w 9922465"/>
              <a:gd name="connsiteY1330" fmla="*/ 1219417 h 1934496"/>
              <a:gd name="connsiteX1331" fmla="*/ 2626075 w 9922465"/>
              <a:gd name="connsiteY1331" fmla="*/ 1274608 h 1934496"/>
              <a:gd name="connsiteX1332" fmla="*/ 2570885 w 9922465"/>
              <a:gd name="connsiteY1332" fmla="*/ 1329799 h 1934496"/>
              <a:gd name="connsiteX1333" fmla="*/ 2515692 w 9922465"/>
              <a:gd name="connsiteY1333" fmla="*/ 1274608 h 1934496"/>
              <a:gd name="connsiteX1334" fmla="*/ 2570885 w 9922465"/>
              <a:gd name="connsiteY1334" fmla="*/ 1219417 h 1934496"/>
              <a:gd name="connsiteX1335" fmla="*/ 2039686 w 9922465"/>
              <a:gd name="connsiteY1335" fmla="*/ 1219417 h 1934496"/>
              <a:gd name="connsiteX1336" fmla="*/ 2094880 w 9922465"/>
              <a:gd name="connsiteY1336" fmla="*/ 1274608 h 1934496"/>
              <a:gd name="connsiteX1337" fmla="*/ 2039686 w 9922465"/>
              <a:gd name="connsiteY1337" fmla="*/ 1329799 h 1934496"/>
              <a:gd name="connsiteX1338" fmla="*/ 1984493 w 9922465"/>
              <a:gd name="connsiteY1338" fmla="*/ 1274608 h 1934496"/>
              <a:gd name="connsiteX1339" fmla="*/ 2039686 w 9922465"/>
              <a:gd name="connsiteY1339" fmla="*/ 1219417 h 1934496"/>
              <a:gd name="connsiteX1340" fmla="*/ 1909390 w 9922465"/>
              <a:gd name="connsiteY1340" fmla="*/ 1219417 h 1934496"/>
              <a:gd name="connsiteX1341" fmla="*/ 1964583 w 9922465"/>
              <a:gd name="connsiteY1341" fmla="*/ 1274608 h 1934496"/>
              <a:gd name="connsiteX1342" fmla="*/ 1909390 w 9922465"/>
              <a:gd name="connsiteY1342" fmla="*/ 1329799 h 1934496"/>
              <a:gd name="connsiteX1343" fmla="*/ 1854197 w 9922465"/>
              <a:gd name="connsiteY1343" fmla="*/ 1274608 h 1934496"/>
              <a:gd name="connsiteX1344" fmla="*/ 1909390 w 9922465"/>
              <a:gd name="connsiteY1344" fmla="*/ 1219417 h 1934496"/>
              <a:gd name="connsiteX1345" fmla="*/ 1779095 w 9922465"/>
              <a:gd name="connsiteY1345" fmla="*/ 1219417 h 1934496"/>
              <a:gd name="connsiteX1346" fmla="*/ 1834287 w 9922465"/>
              <a:gd name="connsiteY1346" fmla="*/ 1274608 h 1934496"/>
              <a:gd name="connsiteX1347" fmla="*/ 1779095 w 9922465"/>
              <a:gd name="connsiteY1347" fmla="*/ 1329799 h 1934496"/>
              <a:gd name="connsiteX1348" fmla="*/ 1723902 w 9922465"/>
              <a:gd name="connsiteY1348" fmla="*/ 1274608 h 1934496"/>
              <a:gd name="connsiteX1349" fmla="*/ 1779095 w 9922465"/>
              <a:gd name="connsiteY1349" fmla="*/ 1219417 h 1934496"/>
              <a:gd name="connsiteX1350" fmla="*/ 1645457 w 9922465"/>
              <a:gd name="connsiteY1350" fmla="*/ 1219417 h 1934496"/>
              <a:gd name="connsiteX1351" fmla="*/ 1700655 w 9922465"/>
              <a:gd name="connsiteY1351" fmla="*/ 1274608 h 1934496"/>
              <a:gd name="connsiteX1352" fmla="*/ 1645457 w 9922465"/>
              <a:gd name="connsiteY1352" fmla="*/ 1329799 h 1934496"/>
              <a:gd name="connsiteX1353" fmla="*/ 1590265 w 9922465"/>
              <a:gd name="connsiteY1353" fmla="*/ 1274608 h 1934496"/>
              <a:gd name="connsiteX1354" fmla="*/ 1645457 w 9922465"/>
              <a:gd name="connsiteY1354" fmla="*/ 1219417 h 1934496"/>
              <a:gd name="connsiteX1355" fmla="*/ 1515168 w 9922465"/>
              <a:gd name="connsiteY1355" fmla="*/ 1219417 h 1934496"/>
              <a:gd name="connsiteX1356" fmla="*/ 1570354 w 9922465"/>
              <a:gd name="connsiteY1356" fmla="*/ 1274608 h 1934496"/>
              <a:gd name="connsiteX1357" fmla="*/ 1515168 w 9922465"/>
              <a:gd name="connsiteY1357" fmla="*/ 1329799 h 1934496"/>
              <a:gd name="connsiteX1358" fmla="*/ 1459973 w 9922465"/>
              <a:gd name="connsiteY1358" fmla="*/ 1274608 h 1934496"/>
              <a:gd name="connsiteX1359" fmla="*/ 1515168 w 9922465"/>
              <a:gd name="connsiteY1359" fmla="*/ 1219417 h 1934496"/>
              <a:gd name="connsiteX1360" fmla="*/ 1381528 w 9922465"/>
              <a:gd name="connsiteY1360" fmla="*/ 1219417 h 1934496"/>
              <a:gd name="connsiteX1361" fmla="*/ 1436723 w 9922465"/>
              <a:gd name="connsiteY1361" fmla="*/ 1274608 h 1934496"/>
              <a:gd name="connsiteX1362" fmla="*/ 1381528 w 9922465"/>
              <a:gd name="connsiteY1362" fmla="*/ 1329799 h 1934496"/>
              <a:gd name="connsiteX1363" fmla="*/ 1326339 w 9922465"/>
              <a:gd name="connsiteY1363" fmla="*/ 1274608 h 1934496"/>
              <a:gd name="connsiteX1364" fmla="*/ 1381528 w 9922465"/>
              <a:gd name="connsiteY1364" fmla="*/ 1219417 h 1934496"/>
              <a:gd name="connsiteX1365" fmla="*/ 1251239 w 9922465"/>
              <a:gd name="connsiteY1365" fmla="*/ 1219417 h 1934496"/>
              <a:gd name="connsiteX1366" fmla="*/ 1306431 w 9922465"/>
              <a:gd name="connsiteY1366" fmla="*/ 1274608 h 1934496"/>
              <a:gd name="connsiteX1367" fmla="*/ 1251239 w 9922465"/>
              <a:gd name="connsiteY1367" fmla="*/ 1329799 h 1934496"/>
              <a:gd name="connsiteX1368" fmla="*/ 1196046 w 9922465"/>
              <a:gd name="connsiteY1368" fmla="*/ 1274608 h 1934496"/>
              <a:gd name="connsiteX1369" fmla="*/ 1251239 w 9922465"/>
              <a:gd name="connsiteY1369" fmla="*/ 1219417 h 1934496"/>
              <a:gd name="connsiteX1370" fmla="*/ 1117601 w 9922465"/>
              <a:gd name="connsiteY1370" fmla="*/ 1219417 h 1934496"/>
              <a:gd name="connsiteX1371" fmla="*/ 1172794 w 9922465"/>
              <a:gd name="connsiteY1371" fmla="*/ 1274608 h 1934496"/>
              <a:gd name="connsiteX1372" fmla="*/ 1117601 w 9922465"/>
              <a:gd name="connsiteY1372" fmla="*/ 1329799 h 1934496"/>
              <a:gd name="connsiteX1373" fmla="*/ 1062408 w 9922465"/>
              <a:gd name="connsiteY1373" fmla="*/ 1274608 h 1934496"/>
              <a:gd name="connsiteX1374" fmla="*/ 1117601 w 9922465"/>
              <a:gd name="connsiteY1374" fmla="*/ 1219417 h 1934496"/>
              <a:gd name="connsiteX1375" fmla="*/ 980622 w 9922465"/>
              <a:gd name="connsiteY1375" fmla="*/ 1219417 h 1934496"/>
              <a:gd name="connsiteX1376" fmla="*/ 1035816 w 9922465"/>
              <a:gd name="connsiteY1376" fmla="*/ 1274608 h 1934496"/>
              <a:gd name="connsiteX1377" fmla="*/ 980622 w 9922465"/>
              <a:gd name="connsiteY1377" fmla="*/ 1329799 h 1934496"/>
              <a:gd name="connsiteX1378" fmla="*/ 925429 w 9922465"/>
              <a:gd name="connsiteY1378" fmla="*/ 1274608 h 1934496"/>
              <a:gd name="connsiteX1379" fmla="*/ 980622 w 9922465"/>
              <a:gd name="connsiteY1379" fmla="*/ 1219417 h 1934496"/>
              <a:gd name="connsiteX1380" fmla="*/ 9469710 w 9922465"/>
              <a:gd name="connsiteY1380" fmla="*/ 1099147 h 1934496"/>
              <a:gd name="connsiteX1381" fmla="*/ 9524902 w 9922465"/>
              <a:gd name="connsiteY1381" fmla="*/ 1154338 h 1934496"/>
              <a:gd name="connsiteX1382" fmla="*/ 9469710 w 9922465"/>
              <a:gd name="connsiteY1382" fmla="*/ 1209529 h 1934496"/>
              <a:gd name="connsiteX1383" fmla="*/ 9414518 w 9922465"/>
              <a:gd name="connsiteY1383" fmla="*/ 1154338 h 1934496"/>
              <a:gd name="connsiteX1384" fmla="*/ 9469710 w 9922465"/>
              <a:gd name="connsiteY1384" fmla="*/ 1099147 h 1934496"/>
              <a:gd name="connsiteX1385" fmla="*/ 9336075 w 9922465"/>
              <a:gd name="connsiteY1385" fmla="*/ 1099147 h 1934496"/>
              <a:gd name="connsiteX1386" fmla="*/ 9391267 w 9922465"/>
              <a:gd name="connsiteY1386" fmla="*/ 1154338 h 1934496"/>
              <a:gd name="connsiteX1387" fmla="*/ 9336075 w 9922465"/>
              <a:gd name="connsiteY1387" fmla="*/ 1209529 h 1934496"/>
              <a:gd name="connsiteX1388" fmla="*/ 9280883 w 9922465"/>
              <a:gd name="connsiteY1388" fmla="*/ 1154338 h 1934496"/>
              <a:gd name="connsiteX1389" fmla="*/ 9336075 w 9922465"/>
              <a:gd name="connsiteY1389" fmla="*/ 1099147 h 1934496"/>
              <a:gd name="connsiteX1390" fmla="*/ 9199100 w 9922465"/>
              <a:gd name="connsiteY1390" fmla="*/ 1099147 h 1934496"/>
              <a:gd name="connsiteX1391" fmla="*/ 9254292 w 9922465"/>
              <a:gd name="connsiteY1391" fmla="*/ 1154338 h 1934496"/>
              <a:gd name="connsiteX1392" fmla="*/ 9199100 w 9922465"/>
              <a:gd name="connsiteY1392" fmla="*/ 1209529 h 1934496"/>
              <a:gd name="connsiteX1393" fmla="*/ 9143908 w 9922465"/>
              <a:gd name="connsiteY1393" fmla="*/ 1154338 h 1934496"/>
              <a:gd name="connsiteX1394" fmla="*/ 9199100 w 9922465"/>
              <a:gd name="connsiteY1394" fmla="*/ 1099147 h 1934496"/>
              <a:gd name="connsiteX1395" fmla="*/ 9068805 w 9922465"/>
              <a:gd name="connsiteY1395" fmla="*/ 1099147 h 1934496"/>
              <a:gd name="connsiteX1396" fmla="*/ 9123997 w 9922465"/>
              <a:gd name="connsiteY1396" fmla="*/ 1154338 h 1934496"/>
              <a:gd name="connsiteX1397" fmla="*/ 9068805 w 9922465"/>
              <a:gd name="connsiteY1397" fmla="*/ 1209529 h 1934496"/>
              <a:gd name="connsiteX1398" fmla="*/ 9013613 w 9922465"/>
              <a:gd name="connsiteY1398" fmla="*/ 1154338 h 1934496"/>
              <a:gd name="connsiteX1399" fmla="*/ 9068805 w 9922465"/>
              <a:gd name="connsiteY1399" fmla="*/ 1099147 h 1934496"/>
              <a:gd name="connsiteX1400" fmla="*/ 8935170 w 9922465"/>
              <a:gd name="connsiteY1400" fmla="*/ 1099147 h 1934496"/>
              <a:gd name="connsiteX1401" fmla="*/ 8990362 w 9922465"/>
              <a:gd name="connsiteY1401" fmla="*/ 1154338 h 1934496"/>
              <a:gd name="connsiteX1402" fmla="*/ 8935170 w 9922465"/>
              <a:gd name="connsiteY1402" fmla="*/ 1209529 h 1934496"/>
              <a:gd name="connsiteX1403" fmla="*/ 8879978 w 9922465"/>
              <a:gd name="connsiteY1403" fmla="*/ 1154338 h 1934496"/>
              <a:gd name="connsiteX1404" fmla="*/ 8935170 w 9922465"/>
              <a:gd name="connsiteY1404" fmla="*/ 1099147 h 1934496"/>
              <a:gd name="connsiteX1405" fmla="*/ 8801536 w 9922465"/>
              <a:gd name="connsiteY1405" fmla="*/ 1099147 h 1934496"/>
              <a:gd name="connsiteX1406" fmla="*/ 8856728 w 9922465"/>
              <a:gd name="connsiteY1406" fmla="*/ 1154338 h 1934496"/>
              <a:gd name="connsiteX1407" fmla="*/ 8801536 w 9922465"/>
              <a:gd name="connsiteY1407" fmla="*/ 1209529 h 1934496"/>
              <a:gd name="connsiteX1408" fmla="*/ 8746344 w 9922465"/>
              <a:gd name="connsiteY1408" fmla="*/ 1154338 h 1934496"/>
              <a:gd name="connsiteX1409" fmla="*/ 8801536 w 9922465"/>
              <a:gd name="connsiteY1409" fmla="*/ 1099147 h 1934496"/>
              <a:gd name="connsiteX1410" fmla="*/ 8671243 w 9922465"/>
              <a:gd name="connsiteY1410" fmla="*/ 1099147 h 1934496"/>
              <a:gd name="connsiteX1411" fmla="*/ 8726435 w 9922465"/>
              <a:gd name="connsiteY1411" fmla="*/ 1154338 h 1934496"/>
              <a:gd name="connsiteX1412" fmla="*/ 8671243 w 9922465"/>
              <a:gd name="connsiteY1412" fmla="*/ 1209529 h 1934496"/>
              <a:gd name="connsiteX1413" fmla="*/ 8616051 w 9922465"/>
              <a:gd name="connsiteY1413" fmla="*/ 1154338 h 1934496"/>
              <a:gd name="connsiteX1414" fmla="*/ 8671243 w 9922465"/>
              <a:gd name="connsiteY1414" fmla="*/ 1099147 h 1934496"/>
              <a:gd name="connsiteX1415" fmla="*/ 8537609 w 9922465"/>
              <a:gd name="connsiteY1415" fmla="*/ 1099147 h 1934496"/>
              <a:gd name="connsiteX1416" fmla="*/ 8592801 w 9922465"/>
              <a:gd name="connsiteY1416" fmla="*/ 1154338 h 1934496"/>
              <a:gd name="connsiteX1417" fmla="*/ 8537609 w 9922465"/>
              <a:gd name="connsiteY1417" fmla="*/ 1209529 h 1934496"/>
              <a:gd name="connsiteX1418" fmla="*/ 8482417 w 9922465"/>
              <a:gd name="connsiteY1418" fmla="*/ 1154338 h 1934496"/>
              <a:gd name="connsiteX1419" fmla="*/ 8537609 w 9922465"/>
              <a:gd name="connsiteY1419" fmla="*/ 1099147 h 1934496"/>
              <a:gd name="connsiteX1420" fmla="*/ 8407315 w 9922465"/>
              <a:gd name="connsiteY1420" fmla="*/ 1099147 h 1934496"/>
              <a:gd name="connsiteX1421" fmla="*/ 8462507 w 9922465"/>
              <a:gd name="connsiteY1421" fmla="*/ 1154338 h 1934496"/>
              <a:gd name="connsiteX1422" fmla="*/ 8407315 w 9922465"/>
              <a:gd name="connsiteY1422" fmla="*/ 1209529 h 1934496"/>
              <a:gd name="connsiteX1423" fmla="*/ 8352123 w 9922465"/>
              <a:gd name="connsiteY1423" fmla="*/ 1154338 h 1934496"/>
              <a:gd name="connsiteX1424" fmla="*/ 8407315 w 9922465"/>
              <a:gd name="connsiteY1424" fmla="*/ 1099147 h 1934496"/>
              <a:gd name="connsiteX1425" fmla="*/ 8273681 w 9922465"/>
              <a:gd name="connsiteY1425" fmla="*/ 1099147 h 1934496"/>
              <a:gd name="connsiteX1426" fmla="*/ 8328873 w 9922465"/>
              <a:gd name="connsiteY1426" fmla="*/ 1154338 h 1934496"/>
              <a:gd name="connsiteX1427" fmla="*/ 8273681 w 9922465"/>
              <a:gd name="connsiteY1427" fmla="*/ 1209529 h 1934496"/>
              <a:gd name="connsiteX1428" fmla="*/ 8218489 w 9922465"/>
              <a:gd name="connsiteY1428" fmla="*/ 1154338 h 1934496"/>
              <a:gd name="connsiteX1429" fmla="*/ 8273681 w 9922465"/>
              <a:gd name="connsiteY1429" fmla="*/ 1099147 h 1934496"/>
              <a:gd name="connsiteX1430" fmla="*/ 8143386 w 9922465"/>
              <a:gd name="connsiteY1430" fmla="*/ 1099147 h 1934496"/>
              <a:gd name="connsiteX1431" fmla="*/ 8198578 w 9922465"/>
              <a:gd name="connsiteY1431" fmla="*/ 1154338 h 1934496"/>
              <a:gd name="connsiteX1432" fmla="*/ 8143386 w 9922465"/>
              <a:gd name="connsiteY1432" fmla="*/ 1209529 h 1934496"/>
              <a:gd name="connsiteX1433" fmla="*/ 8088194 w 9922465"/>
              <a:gd name="connsiteY1433" fmla="*/ 1154338 h 1934496"/>
              <a:gd name="connsiteX1434" fmla="*/ 8143386 w 9922465"/>
              <a:gd name="connsiteY1434" fmla="*/ 1099147 h 1934496"/>
              <a:gd name="connsiteX1435" fmla="*/ 8009752 w 9922465"/>
              <a:gd name="connsiteY1435" fmla="*/ 1099147 h 1934496"/>
              <a:gd name="connsiteX1436" fmla="*/ 8064944 w 9922465"/>
              <a:gd name="connsiteY1436" fmla="*/ 1154338 h 1934496"/>
              <a:gd name="connsiteX1437" fmla="*/ 8009752 w 9922465"/>
              <a:gd name="connsiteY1437" fmla="*/ 1209529 h 1934496"/>
              <a:gd name="connsiteX1438" fmla="*/ 7954560 w 9922465"/>
              <a:gd name="connsiteY1438" fmla="*/ 1154338 h 1934496"/>
              <a:gd name="connsiteX1439" fmla="*/ 8009752 w 9922465"/>
              <a:gd name="connsiteY1439" fmla="*/ 1099147 h 1934496"/>
              <a:gd name="connsiteX1440" fmla="*/ 7876117 w 9922465"/>
              <a:gd name="connsiteY1440" fmla="*/ 1099147 h 1934496"/>
              <a:gd name="connsiteX1441" fmla="*/ 7931309 w 9922465"/>
              <a:gd name="connsiteY1441" fmla="*/ 1154338 h 1934496"/>
              <a:gd name="connsiteX1442" fmla="*/ 7876117 w 9922465"/>
              <a:gd name="connsiteY1442" fmla="*/ 1209529 h 1934496"/>
              <a:gd name="connsiteX1443" fmla="*/ 7820925 w 9922465"/>
              <a:gd name="connsiteY1443" fmla="*/ 1154338 h 1934496"/>
              <a:gd name="connsiteX1444" fmla="*/ 7876117 w 9922465"/>
              <a:gd name="connsiteY1444" fmla="*/ 1099147 h 1934496"/>
              <a:gd name="connsiteX1445" fmla="*/ 7745822 w 9922465"/>
              <a:gd name="connsiteY1445" fmla="*/ 1099147 h 1934496"/>
              <a:gd name="connsiteX1446" fmla="*/ 7801014 w 9922465"/>
              <a:gd name="connsiteY1446" fmla="*/ 1154338 h 1934496"/>
              <a:gd name="connsiteX1447" fmla="*/ 7745822 w 9922465"/>
              <a:gd name="connsiteY1447" fmla="*/ 1209529 h 1934496"/>
              <a:gd name="connsiteX1448" fmla="*/ 7690630 w 9922465"/>
              <a:gd name="connsiteY1448" fmla="*/ 1154338 h 1934496"/>
              <a:gd name="connsiteX1449" fmla="*/ 7745822 w 9922465"/>
              <a:gd name="connsiteY1449" fmla="*/ 1099147 h 1934496"/>
              <a:gd name="connsiteX1450" fmla="*/ 7608847 w 9922465"/>
              <a:gd name="connsiteY1450" fmla="*/ 1099147 h 1934496"/>
              <a:gd name="connsiteX1451" fmla="*/ 7664039 w 9922465"/>
              <a:gd name="connsiteY1451" fmla="*/ 1154338 h 1934496"/>
              <a:gd name="connsiteX1452" fmla="*/ 7608847 w 9922465"/>
              <a:gd name="connsiteY1452" fmla="*/ 1209529 h 1934496"/>
              <a:gd name="connsiteX1453" fmla="*/ 7553655 w 9922465"/>
              <a:gd name="connsiteY1453" fmla="*/ 1154338 h 1934496"/>
              <a:gd name="connsiteX1454" fmla="*/ 7608847 w 9922465"/>
              <a:gd name="connsiteY1454" fmla="*/ 1099147 h 1934496"/>
              <a:gd name="connsiteX1455" fmla="*/ 7481895 w 9922465"/>
              <a:gd name="connsiteY1455" fmla="*/ 1099147 h 1934496"/>
              <a:gd name="connsiteX1456" fmla="*/ 7537087 w 9922465"/>
              <a:gd name="connsiteY1456" fmla="*/ 1154338 h 1934496"/>
              <a:gd name="connsiteX1457" fmla="*/ 7481895 w 9922465"/>
              <a:gd name="connsiteY1457" fmla="*/ 1209529 h 1934496"/>
              <a:gd name="connsiteX1458" fmla="*/ 7426703 w 9922465"/>
              <a:gd name="connsiteY1458" fmla="*/ 1154338 h 1934496"/>
              <a:gd name="connsiteX1459" fmla="*/ 7481895 w 9922465"/>
              <a:gd name="connsiteY1459" fmla="*/ 1099147 h 1934496"/>
              <a:gd name="connsiteX1460" fmla="*/ 7341578 w 9922465"/>
              <a:gd name="connsiteY1460" fmla="*/ 1099147 h 1934496"/>
              <a:gd name="connsiteX1461" fmla="*/ 7396770 w 9922465"/>
              <a:gd name="connsiteY1461" fmla="*/ 1154338 h 1934496"/>
              <a:gd name="connsiteX1462" fmla="*/ 7341578 w 9922465"/>
              <a:gd name="connsiteY1462" fmla="*/ 1209529 h 1934496"/>
              <a:gd name="connsiteX1463" fmla="*/ 7286386 w 9922465"/>
              <a:gd name="connsiteY1463" fmla="*/ 1154338 h 1934496"/>
              <a:gd name="connsiteX1464" fmla="*/ 7341578 w 9922465"/>
              <a:gd name="connsiteY1464" fmla="*/ 1099147 h 1934496"/>
              <a:gd name="connsiteX1465" fmla="*/ 7211285 w 9922465"/>
              <a:gd name="connsiteY1465" fmla="*/ 1099147 h 1934496"/>
              <a:gd name="connsiteX1466" fmla="*/ 7266477 w 9922465"/>
              <a:gd name="connsiteY1466" fmla="*/ 1154338 h 1934496"/>
              <a:gd name="connsiteX1467" fmla="*/ 7211285 w 9922465"/>
              <a:gd name="connsiteY1467" fmla="*/ 1209529 h 1934496"/>
              <a:gd name="connsiteX1468" fmla="*/ 7156093 w 9922465"/>
              <a:gd name="connsiteY1468" fmla="*/ 1154338 h 1934496"/>
              <a:gd name="connsiteX1469" fmla="*/ 7211285 w 9922465"/>
              <a:gd name="connsiteY1469" fmla="*/ 1099147 h 1934496"/>
              <a:gd name="connsiteX1470" fmla="*/ 7080991 w 9922465"/>
              <a:gd name="connsiteY1470" fmla="*/ 1099147 h 1934496"/>
              <a:gd name="connsiteX1471" fmla="*/ 7136183 w 9922465"/>
              <a:gd name="connsiteY1471" fmla="*/ 1154338 h 1934496"/>
              <a:gd name="connsiteX1472" fmla="*/ 7080991 w 9922465"/>
              <a:gd name="connsiteY1472" fmla="*/ 1209529 h 1934496"/>
              <a:gd name="connsiteX1473" fmla="*/ 7025799 w 9922465"/>
              <a:gd name="connsiteY1473" fmla="*/ 1154338 h 1934496"/>
              <a:gd name="connsiteX1474" fmla="*/ 7080991 w 9922465"/>
              <a:gd name="connsiteY1474" fmla="*/ 1099147 h 1934496"/>
              <a:gd name="connsiteX1475" fmla="*/ 6947356 w 9922465"/>
              <a:gd name="connsiteY1475" fmla="*/ 1099147 h 1934496"/>
              <a:gd name="connsiteX1476" fmla="*/ 7002548 w 9922465"/>
              <a:gd name="connsiteY1476" fmla="*/ 1154338 h 1934496"/>
              <a:gd name="connsiteX1477" fmla="*/ 6947356 w 9922465"/>
              <a:gd name="connsiteY1477" fmla="*/ 1209529 h 1934496"/>
              <a:gd name="connsiteX1478" fmla="*/ 6892164 w 9922465"/>
              <a:gd name="connsiteY1478" fmla="*/ 1154338 h 1934496"/>
              <a:gd name="connsiteX1479" fmla="*/ 6947356 w 9922465"/>
              <a:gd name="connsiteY1479" fmla="*/ 1099147 h 1934496"/>
              <a:gd name="connsiteX1480" fmla="*/ 6817063 w 9922465"/>
              <a:gd name="connsiteY1480" fmla="*/ 1099147 h 1934496"/>
              <a:gd name="connsiteX1481" fmla="*/ 6872255 w 9922465"/>
              <a:gd name="connsiteY1481" fmla="*/ 1154338 h 1934496"/>
              <a:gd name="connsiteX1482" fmla="*/ 6817063 w 9922465"/>
              <a:gd name="connsiteY1482" fmla="*/ 1209529 h 1934496"/>
              <a:gd name="connsiteX1483" fmla="*/ 6761871 w 9922465"/>
              <a:gd name="connsiteY1483" fmla="*/ 1154338 h 1934496"/>
              <a:gd name="connsiteX1484" fmla="*/ 6817063 w 9922465"/>
              <a:gd name="connsiteY1484" fmla="*/ 1099147 h 1934496"/>
              <a:gd name="connsiteX1485" fmla="*/ 6683430 w 9922465"/>
              <a:gd name="connsiteY1485" fmla="*/ 1099147 h 1934496"/>
              <a:gd name="connsiteX1486" fmla="*/ 6738622 w 9922465"/>
              <a:gd name="connsiteY1486" fmla="*/ 1154338 h 1934496"/>
              <a:gd name="connsiteX1487" fmla="*/ 6683430 w 9922465"/>
              <a:gd name="connsiteY1487" fmla="*/ 1209529 h 1934496"/>
              <a:gd name="connsiteX1488" fmla="*/ 6628238 w 9922465"/>
              <a:gd name="connsiteY1488" fmla="*/ 1154338 h 1934496"/>
              <a:gd name="connsiteX1489" fmla="*/ 6683430 w 9922465"/>
              <a:gd name="connsiteY1489" fmla="*/ 1099147 h 1934496"/>
              <a:gd name="connsiteX1490" fmla="*/ 6553135 w 9922465"/>
              <a:gd name="connsiteY1490" fmla="*/ 1099147 h 1934496"/>
              <a:gd name="connsiteX1491" fmla="*/ 6608327 w 9922465"/>
              <a:gd name="connsiteY1491" fmla="*/ 1154338 h 1934496"/>
              <a:gd name="connsiteX1492" fmla="*/ 6553135 w 9922465"/>
              <a:gd name="connsiteY1492" fmla="*/ 1209529 h 1934496"/>
              <a:gd name="connsiteX1493" fmla="*/ 6497943 w 9922465"/>
              <a:gd name="connsiteY1493" fmla="*/ 1154338 h 1934496"/>
              <a:gd name="connsiteX1494" fmla="*/ 6553135 w 9922465"/>
              <a:gd name="connsiteY1494" fmla="*/ 1099147 h 1934496"/>
              <a:gd name="connsiteX1495" fmla="*/ 6419501 w 9922465"/>
              <a:gd name="connsiteY1495" fmla="*/ 1099147 h 1934496"/>
              <a:gd name="connsiteX1496" fmla="*/ 6474693 w 9922465"/>
              <a:gd name="connsiteY1496" fmla="*/ 1154338 h 1934496"/>
              <a:gd name="connsiteX1497" fmla="*/ 6419501 w 9922465"/>
              <a:gd name="connsiteY1497" fmla="*/ 1209529 h 1934496"/>
              <a:gd name="connsiteX1498" fmla="*/ 6364309 w 9922465"/>
              <a:gd name="connsiteY1498" fmla="*/ 1154338 h 1934496"/>
              <a:gd name="connsiteX1499" fmla="*/ 6419501 w 9922465"/>
              <a:gd name="connsiteY1499" fmla="*/ 1099147 h 1934496"/>
              <a:gd name="connsiteX1500" fmla="*/ 6289206 w 9922465"/>
              <a:gd name="connsiteY1500" fmla="*/ 1099147 h 1934496"/>
              <a:gd name="connsiteX1501" fmla="*/ 6344398 w 9922465"/>
              <a:gd name="connsiteY1501" fmla="*/ 1154338 h 1934496"/>
              <a:gd name="connsiteX1502" fmla="*/ 6289206 w 9922465"/>
              <a:gd name="connsiteY1502" fmla="*/ 1209529 h 1934496"/>
              <a:gd name="connsiteX1503" fmla="*/ 6234014 w 9922465"/>
              <a:gd name="connsiteY1503" fmla="*/ 1154338 h 1934496"/>
              <a:gd name="connsiteX1504" fmla="*/ 6289206 w 9922465"/>
              <a:gd name="connsiteY1504" fmla="*/ 1099147 h 1934496"/>
              <a:gd name="connsiteX1505" fmla="*/ 6155571 w 9922465"/>
              <a:gd name="connsiteY1505" fmla="*/ 1099147 h 1934496"/>
              <a:gd name="connsiteX1506" fmla="*/ 6210763 w 9922465"/>
              <a:gd name="connsiteY1506" fmla="*/ 1154338 h 1934496"/>
              <a:gd name="connsiteX1507" fmla="*/ 6155571 w 9922465"/>
              <a:gd name="connsiteY1507" fmla="*/ 1209529 h 1934496"/>
              <a:gd name="connsiteX1508" fmla="*/ 6100379 w 9922465"/>
              <a:gd name="connsiteY1508" fmla="*/ 1154338 h 1934496"/>
              <a:gd name="connsiteX1509" fmla="*/ 6155571 w 9922465"/>
              <a:gd name="connsiteY1509" fmla="*/ 1099147 h 1934496"/>
              <a:gd name="connsiteX1510" fmla="*/ 6021938 w 9922465"/>
              <a:gd name="connsiteY1510" fmla="*/ 1099147 h 1934496"/>
              <a:gd name="connsiteX1511" fmla="*/ 6077130 w 9922465"/>
              <a:gd name="connsiteY1511" fmla="*/ 1154338 h 1934496"/>
              <a:gd name="connsiteX1512" fmla="*/ 6021938 w 9922465"/>
              <a:gd name="connsiteY1512" fmla="*/ 1209529 h 1934496"/>
              <a:gd name="connsiteX1513" fmla="*/ 5966746 w 9922465"/>
              <a:gd name="connsiteY1513" fmla="*/ 1154338 h 1934496"/>
              <a:gd name="connsiteX1514" fmla="*/ 6021938 w 9922465"/>
              <a:gd name="connsiteY1514" fmla="*/ 1099147 h 1934496"/>
              <a:gd name="connsiteX1515" fmla="*/ 5884963 w 9922465"/>
              <a:gd name="connsiteY1515" fmla="*/ 1099147 h 1934496"/>
              <a:gd name="connsiteX1516" fmla="*/ 5940155 w 9922465"/>
              <a:gd name="connsiteY1516" fmla="*/ 1154338 h 1934496"/>
              <a:gd name="connsiteX1517" fmla="*/ 5884963 w 9922465"/>
              <a:gd name="connsiteY1517" fmla="*/ 1209529 h 1934496"/>
              <a:gd name="connsiteX1518" fmla="*/ 5829771 w 9922465"/>
              <a:gd name="connsiteY1518" fmla="*/ 1154338 h 1934496"/>
              <a:gd name="connsiteX1519" fmla="*/ 5884963 w 9922465"/>
              <a:gd name="connsiteY1519" fmla="*/ 1099147 h 1934496"/>
              <a:gd name="connsiteX1520" fmla="*/ 5754668 w 9922465"/>
              <a:gd name="connsiteY1520" fmla="*/ 1099147 h 1934496"/>
              <a:gd name="connsiteX1521" fmla="*/ 5809860 w 9922465"/>
              <a:gd name="connsiteY1521" fmla="*/ 1154338 h 1934496"/>
              <a:gd name="connsiteX1522" fmla="*/ 5754668 w 9922465"/>
              <a:gd name="connsiteY1522" fmla="*/ 1209529 h 1934496"/>
              <a:gd name="connsiteX1523" fmla="*/ 5699476 w 9922465"/>
              <a:gd name="connsiteY1523" fmla="*/ 1154338 h 1934496"/>
              <a:gd name="connsiteX1524" fmla="*/ 5754668 w 9922465"/>
              <a:gd name="connsiteY1524" fmla="*/ 1099147 h 1934496"/>
              <a:gd name="connsiteX1525" fmla="*/ 5621031 w 9922465"/>
              <a:gd name="connsiteY1525" fmla="*/ 1099147 h 1934496"/>
              <a:gd name="connsiteX1526" fmla="*/ 5676223 w 9922465"/>
              <a:gd name="connsiteY1526" fmla="*/ 1154338 h 1934496"/>
              <a:gd name="connsiteX1527" fmla="*/ 5621031 w 9922465"/>
              <a:gd name="connsiteY1527" fmla="*/ 1209529 h 1934496"/>
              <a:gd name="connsiteX1528" fmla="*/ 5565839 w 9922465"/>
              <a:gd name="connsiteY1528" fmla="*/ 1154338 h 1934496"/>
              <a:gd name="connsiteX1529" fmla="*/ 5621031 w 9922465"/>
              <a:gd name="connsiteY1529" fmla="*/ 1099147 h 1934496"/>
              <a:gd name="connsiteX1530" fmla="*/ 5487398 w 9922465"/>
              <a:gd name="connsiteY1530" fmla="*/ 1099147 h 1934496"/>
              <a:gd name="connsiteX1531" fmla="*/ 5542590 w 9922465"/>
              <a:gd name="connsiteY1531" fmla="*/ 1154338 h 1934496"/>
              <a:gd name="connsiteX1532" fmla="*/ 5487398 w 9922465"/>
              <a:gd name="connsiteY1532" fmla="*/ 1209529 h 1934496"/>
              <a:gd name="connsiteX1533" fmla="*/ 5432206 w 9922465"/>
              <a:gd name="connsiteY1533" fmla="*/ 1154338 h 1934496"/>
              <a:gd name="connsiteX1534" fmla="*/ 5487398 w 9922465"/>
              <a:gd name="connsiteY1534" fmla="*/ 1099147 h 1934496"/>
              <a:gd name="connsiteX1535" fmla="*/ 5357105 w 9922465"/>
              <a:gd name="connsiteY1535" fmla="*/ 1099147 h 1934496"/>
              <a:gd name="connsiteX1536" fmla="*/ 5412297 w 9922465"/>
              <a:gd name="connsiteY1536" fmla="*/ 1154338 h 1934496"/>
              <a:gd name="connsiteX1537" fmla="*/ 5357105 w 9922465"/>
              <a:gd name="connsiteY1537" fmla="*/ 1209529 h 1934496"/>
              <a:gd name="connsiteX1538" fmla="*/ 5301913 w 9922465"/>
              <a:gd name="connsiteY1538" fmla="*/ 1154338 h 1934496"/>
              <a:gd name="connsiteX1539" fmla="*/ 5357105 w 9922465"/>
              <a:gd name="connsiteY1539" fmla="*/ 1099147 h 1934496"/>
              <a:gd name="connsiteX1540" fmla="*/ 5093176 w 9922465"/>
              <a:gd name="connsiteY1540" fmla="*/ 1099147 h 1934496"/>
              <a:gd name="connsiteX1541" fmla="*/ 5148368 w 9922465"/>
              <a:gd name="connsiteY1541" fmla="*/ 1154338 h 1934496"/>
              <a:gd name="connsiteX1542" fmla="*/ 5093176 w 9922465"/>
              <a:gd name="connsiteY1542" fmla="*/ 1209529 h 1934496"/>
              <a:gd name="connsiteX1543" fmla="*/ 5037984 w 9922465"/>
              <a:gd name="connsiteY1543" fmla="*/ 1154338 h 1934496"/>
              <a:gd name="connsiteX1544" fmla="*/ 5093176 w 9922465"/>
              <a:gd name="connsiteY1544" fmla="*/ 1099147 h 1934496"/>
              <a:gd name="connsiteX1545" fmla="*/ 4959540 w 9922465"/>
              <a:gd name="connsiteY1545" fmla="*/ 1099147 h 1934496"/>
              <a:gd name="connsiteX1546" fmla="*/ 5014732 w 9922465"/>
              <a:gd name="connsiteY1546" fmla="*/ 1154338 h 1934496"/>
              <a:gd name="connsiteX1547" fmla="*/ 4959540 w 9922465"/>
              <a:gd name="connsiteY1547" fmla="*/ 1209529 h 1934496"/>
              <a:gd name="connsiteX1548" fmla="*/ 4904348 w 9922465"/>
              <a:gd name="connsiteY1548" fmla="*/ 1154338 h 1934496"/>
              <a:gd name="connsiteX1549" fmla="*/ 4959540 w 9922465"/>
              <a:gd name="connsiteY1549" fmla="*/ 1099147 h 1934496"/>
              <a:gd name="connsiteX1550" fmla="*/ 4829246 w 9922465"/>
              <a:gd name="connsiteY1550" fmla="*/ 1099147 h 1934496"/>
              <a:gd name="connsiteX1551" fmla="*/ 4884438 w 9922465"/>
              <a:gd name="connsiteY1551" fmla="*/ 1154338 h 1934496"/>
              <a:gd name="connsiteX1552" fmla="*/ 4829246 w 9922465"/>
              <a:gd name="connsiteY1552" fmla="*/ 1209529 h 1934496"/>
              <a:gd name="connsiteX1553" fmla="*/ 4774054 w 9922465"/>
              <a:gd name="connsiteY1553" fmla="*/ 1154338 h 1934496"/>
              <a:gd name="connsiteX1554" fmla="*/ 4829246 w 9922465"/>
              <a:gd name="connsiteY1554" fmla="*/ 1099147 h 1934496"/>
              <a:gd name="connsiteX1555" fmla="*/ 319117 w 9922465"/>
              <a:gd name="connsiteY1555" fmla="*/ 1099147 h 1934496"/>
              <a:gd name="connsiteX1556" fmla="*/ 374310 w 9922465"/>
              <a:gd name="connsiteY1556" fmla="*/ 1154338 h 1934496"/>
              <a:gd name="connsiteX1557" fmla="*/ 319117 w 9922465"/>
              <a:gd name="connsiteY1557" fmla="*/ 1209529 h 1934496"/>
              <a:gd name="connsiteX1558" fmla="*/ 263926 w 9922465"/>
              <a:gd name="connsiteY1558" fmla="*/ 1154338 h 1934496"/>
              <a:gd name="connsiteX1559" fmla="*/ 319117 w 9922465"/>
              <a:gd name="connsiteY1559" fmla="*/ 1099147 h 1934496"/>
              <a:gd name="connsiteX1560" fmla="*/ 185484 w 9922465"/>
              <a:gd name="connsiteY1560" fmla="*/ 1099147 h 1934496"/>
              <a:gd name="connsiteX1561" fmla="*/ 240675 w 9922465"/>
              <a:gd name="connsiteY1561" fmla="*/ 1154338 h 1934496"/>
              <a:gd name="connsiteX1562" fmla="*/ 185484 w 9922465"/>
              <a:gd name="connsiteY1562" fmla="*/ 1209529 h 1934496"/>
              <a:gd name="connsiteX1563" fmla="*/ 130292 w 9922465"/>
              <a:gd name="connsiteY1563" fmla="*/ 1154338 h 1934496"/>
              <a:gd name="connsiteX1564" fmla="*/ 185484 w 9922465"/>
              <a:gd name="connsiteY1564" fmla="*/ 1099147 h 1934496"/>
              <a:gd name="connsiteX1565" fmla="*/ 55190 w 9922465"/>
              <a:gd name="connsiteY1565" fmla="*/ 1099147 h 1934496"/>
              <a:gd name="connsiteX1566" fmla="*/ 110381 w 9922465"/>
              <a:gd name="connsiteY1566" fmla="*/ 1154338 h 1934496"/>
              <a:gd name="connsiteX1567" fmla="*/ 55190 w 9922465"/>
              <a:gd name="connsiteY1567" fmla="*/ 1209529 h 1934496"/>
              <a:gd name="connsiteX1568" fmla="*/ 0 w 9922465"/>
              <a:gd name="connsiteY1568" fmla="*/ 1154338 h 1934496"/>
              <a:gd name="connsiteX1569" fmla="*/ 55190 w 9922465"/>
              <a:gd name="connsiteY1569" fmla="*/ 1099147 h 1934496"/>
              <a:gd name="connsiteX1570" fmla="*/ 3499584 w 9922465"/>
              <a:gd name="connsiteY1570" fmla="*/ 1099146 h 1934496"/>
              <a:gd name="connsiteX1571" fmla="*/ 3554776 w 9922465"/>
              <a:gd name="connsiteY1571" fmla="*/ 1154337 h 1934496"/>
              <a:gd name="connsiteX1572" fmla="*/ 3499584 w 9922465"/>
              <a:gd name="connsiteY1572" fmla="*/ 1209528 h 1934496"/>
              <a:gd name="connsiteX1573" fmla="*/ 3444392 w 9922465"/>
              <a:gd name="connsiteY1573" fmla="*/ 1154337 h 1934496"/>
              <a:gd name="connsiteX1574" fmla="*/ 3499584 w 9922465"/>
              <a:gd name="connsiteY1574" fmla="*/ 1099146 h 1934496"/>
              <a:gd name="connsiteX1575" fmla="*/ 2570894 w 9922465"/>
              <a:gd name="connsiteY1575" fmla="*/ 1099146 h 1934496"/>
              <a:gd name="connsiteX1576" fmla="*/ 2626086 w 9922465"/>
              <a:gd name="connsiteY1576" fmla="*/ 1154337 h 1934496"/>
              <a:gd name="connsiteX1577" fmla="*/ 2570894 w 9922465"/>
              <a:gd name="connsiteY1577" fmla="*/ 1209528 h 1934496"/>
              <a:gd name="connsiteX1578" fmla="*/ 2515701 w 9922465"/>
              <a:gd name="connsiteY1578" fmla="*/ 1154337 h 1934496"/>
              <a:gd name="connsiteX1579" fmla="*/ 2570894 w 9922465"/>
              <a:gd name="connsiteY1579" fmla="*/ 1099146 h 1934496"/>
              <a:gd name="connsiteX1580" fmla="*/ 2039698 w 9922465"/>
              <a:gd name="connsiteY1580" fmla="*/ 1099146 h 1934496"/>
              <a:gd name="connsiteX1581" fmla="*/ 2094891 w 9922465"/>
              <a:gd name="connsiteY1581" fmla="*/ 1154337 h 1934496"/>
              <a:gd name="connsiteX1582" fmla="*/ 2039698 w 9922465"/>
              <a:gd name="connsiteY1582" fmla="*/ 1209528 h 1934496"/>
              <a:gd name="connsiteX1583" fmla="*/ 1984505 w 9922465"/>
              <a:gd name="connsiteY1583" fmla="*/ 1154337 h 1934496"/>
              <a:gd name="connsiteX1584" fmla="*/ 2039698 w 9922465"/>
              <a:gd name="connsiteY1584" fmla="*/ 1099146 h 1934496"/>
              <a:gd name="connsiteX1585" fmla="*/ 1909401 w 9922465"/>
              <a:gd name="connsiteY1585" fmla="*/ 1099146 h 1934496"/>
              <a:gd name="connsiteX1586" fmla="*/ 1964592 w 9922465"/>
              <a:gd name="connsiteY1586" fmla="*/ 1154337 h 1934496"/>
              <a:gd name="connsiteX1587" fmla="*/ 1909401 w 9922465"/>
              <a:gd name="connsiteY1587" fmla="*/ 1209528 h 1934496"/>
              <a:gd name="connsiteX1588" fmla="*/ 1854207 w 9922465"/>
              <a:gd name="connsiteY1588" fmla="*/ 1154337 h 1934496"/>
              <a:gd name="connsiteX1589" fmla="*/ 1909401 w 9922465"/>
              <a:gd name="connsiteY1589" fmla="*/ 1099146 h 1934496"/>
              <a:gd name="connsiteX1590" fmla="*/ 1779104 w 9922465"/>
              <a:gd name="connsiteY1590" fmla="*/ 1099146 h 1934496"/>
              <a:gd name="connsiteX1591" fmla="*/ 1834296 w 9922465"/>
              <a:gd name="connsiteY1591" fmla="*/ 1154337 h 1934496"/>
              <a:gd name="connsiteX1592" fmla="*/ 1779104 w 9922465"/>
              <a:gd name="connsiteY1592" fmla="*/ 1209528 h 1934496"/>
              <a:gd name="connsiteX1593" fmla="*/ 1723910 w 9922465"/>
              <a:gd name="connsiteY1593" fmla="*/ 1154337 h 1934496"/>
              <a:gd name="connsiteX1594" fmla="*/ 1779104 w 9922465"/>
              <a:gd name="connsiteY1594" fmla="*/ 1099146 h 1934496"/>
              <a:gd name="connsiteX1595" fmla="*/ 1645469 w 9922465"/>
              <a:gd name="connsiteY1595" fmla="*/ 1099146 h 1934496"/>
              <a:gd name="connsiteX1596" fmla="*/ 1700664 w 9922465"/>
              <a:gd name="connsiteY1596" fmla="*/ 1154337 h 1934496"/>
              <a:gd name="connsiteX1597" fmla="*/ 1645469 w 9922465"/>
              <a:gd name="connsiteY1597" fmla="*/ 1209528 h 1934496"/>
              <a:gd name="connsiteX1598" fmla="*/ 1590275 w 9922465"/>
              <a:gd name="connsiteY1598" fmla="*/ 1154337 h 1934496"/>
              <a:gd name="connsiteX1599" fmla="*/ 1645469 w 9922465"/>
              <a:gd name="connsiteY1599" fmla="*/ 1099146 h 1934496"/>
              <a:gd name="connsiteX1600" fmla="*/ 1515179 w 9922465"/>
              <a:gd name="connsiteY1600" fmla="*/ 1099146 h 1934496"/>
              <a:gd name="connsiteX1601" fmla="*/ 1570364 w 9922465"/>
              <a:gd name="connsiteY1601" fmla="*/ 1154337 h 1934496"/>
              <a:gd name="connsiteX1602" fmla="*/ 1515179 w 9922465"/>
              <a:gd name="connsiteY1602" fmla="*/ 1209528 h 1934496"/>
              <a:gd name="connsiteX1603" fmla="*/ 1459982 w 9922465"/>
              <a:gd name="connsiteY1603" fmla="*/ 1154337 h 1934496"/>
              <a:gd name="connsiteX1604" fmla="*/ 1515179 w 9922465"/>
              <a:gd name="connsiteY1604" fmla="*/ 1099146 h 1934496"/>
              <a:gd name="connsiteX1605" fmla="*/ 1381539 w 9922465"/>
              <a:gd name="connsiteY1605" fmla="*/ 1099146 h 1934496"/>
              <a:gd name="connsiteX1606" fmla="*/ 1436731 w 9922465"/>
              <a:gd name="connsiteY1606" fmla="*/ 1154337 h 1934496"/>
              <a:gd name="connsiteX1607" fmla="*/ 1381539 w 9922465"/>
              <a:gd name="connsiteY1607" fmla="*/ 1209528 h 1934496"/>
              <a:gd name="connsiteX1608" fmla="*/ 1326349 w 9922465"/>
              <a:gd name="connsiteY1608" fmla="*/ 1154337 h 1934496"/>
              <a:gd name="connsiteX1609" fmla="*/ 1381539 w 9922465"/>
              <a:gd name="connsiteY1609" fmla="*/ 1099146 h 1934496"/>
              <a:gd name="connsiteX1610" fmla="*/ 1251245 w 9922465"/>
              <a:gd name="connsiteY1610" fmla="*/ 1099146 h 1934496"/>
              <a:gd name="connsiteX1611" fmla="*/ 1306439 w 9922465"/>
              <a:gd name="connsiteY1611" fmla="*/ 1154337 h 1934496"/>
              <a:gd name="connsiteX1612" fmla="*/ 1251245 w 9922465"/>
              <a:gd name="connsiteY1612" fmla="*/ 1209528 h 1934496"/>
              <a:gd name="connsiteX1613" fmla="*/ 1196054 w 9922465"/>
              <a:gd name="connsiteY1613" fmla="*/ 1154337 h 1934496"/>
              <a:gd name="connsiteX1614" fmla="*/ 1251245 w 9922465"/>
              <a:gd name="connsiteY1614" fmla="*/ 1099146 h 1934496"/>
              <a:gd name="connsiteX1615" fmla="*/ 1117610 w 9922465"/>
              <a:gd name="connsiteY1615" fmla="*/ 1099146 h 1934496"/>
              <a:gd name="connsiteX1616" fmla="*/ 1172803 w 9922465"/>
              <a:gd name="connsiteY1616" fmla="*/ 1154337 h 1934496"/>
              <a:gd name="connsiteX1617" fmla="*/ 1117610 w 9922465"/>
              <a:gd name="connsiteY1617" fmla="*/ 1209528 h 1934496"/>
              <a:gd name="connsiteX1618" fmla="*/ 1062416 w 9922465"/>
              <a:gd name="connsiteY1618" fmla="*/ 1154337 h 1934496"/>
              <a:gd name="connsiteX1619" fmla="*/ 1117610 w 9922465"/>
              <a:gd name="connsiteY1619" fmla="*/ 1099146 h 1934496"/>
              <a:gd name="connsiteX1620" fmla="*/ 980631 w 9922465"/>
              <a:gd name="connsiteY1620" fmla="*/ 1099146 h 1934496"/>
              <a:gd name="connsiteX1621" fmla="*/ 1035825 w 9922465"/>
              <a:gd name="connsiteY1621" fmla="*/ 1154337 h 1934496"/>
              <a:gd name="connsiteX1622" fmla="*/ 980631 w 9922465"/>
              <a:gd name="connsiteY1622" fmla="*/ 1209528 h 1934496"/>
              <a:gd name="connsiteX1623" fmla="*/ 925438 w 9922465"/>
              <a:gd name="connsiteY1623" fmla="*/ 1154337 h 1934496"/>
              <a:gd name="connsiteX1624" fmla="*/ 980631 w 9922465"/>
              <a:gd name="connsiteY1624" fmla="*/ 1099146 h 1934496"/>
              <a:gd name="connsiteX1625" fmla="*/ 846993 w 9922465"/>
              <a:gd name="connsiteY1625" fmla="*/ 1099146 h 1934496"/>
              <a:gd name="connsiteX1626" fmla="*/ 902186 w 9922465"/>
              <a:gd name="connsiteY1626" fmla="*/ 1154337 h 1934496"/>
              <a:gd name="connsiteX1627" fmla="*/ 846993 w 9922465"/>
              <a:gd name="connsiteY1627" fmla="*/ 1209528 h 1934496"/>
              <a:gd name="connsiteX1628" fmla="*/ 791796 w 9922465"/>
              <a:gd name="connsiteY1628" fmla="*/ 1154337 h 1934496"/>
              <a:gd name="connsiteX1629" fmla="*/ 846993 w 9922465"/>
              <a:gd name="connsiteY1629" fmla="*/ 1099146 h 1934496"/>
              <a:gd name="connsiteX1630" fmla="*/ 716690 w 9922465"/>
              <a:gd name="connsiteY1630" fmla="*/ 1099146 h 1934496"/>
              <a:gd name="connsiteX1631" fmla="*/ 771886 w 9922465"/>
              <a:gd name="connsiteY1631" fmla="*/ 1154337 h 1934496"/>
              <a:gd name="connsiteX1632" fmla="*/ 716690 w 9922465"/>
              <a:gd name="connsiteY1632" fmla="*/ 1209528 h 1934496"/>
              <a:gd name="connsiteX1633" fmla="*/ 661502 w 9922465"/>
              <a:gd name="connsiteY1633" fmla="*/ 1154337 h 1934496"/>
              <a:gd name="connsiteX1634" fmla="*/ 716690 w 9922465"/>
              <a:gd name="connsiteY1634" fmla="*/ 1099146 h 1934496"/>
              <a:gd name="connsiteX1635" fmla="*/ 583057 w 9922465"/>
              <a:gd name="connsiteY1635" fmla="*/ 1099146 h 1934496"/>
              <a:gd name="connsiteX1636" fmla="*/ 638250 w 9922465"/>
              <a:gd name="connsiteY1636" fmla="*/ 1154337 h 1934496"/>
              <a:gd name="connsiteX1637" fmla="*/ 583057 w 9922465"/>
              <a:gd name="connsiteY1637" fmla="*/ 1209528 h 1934496"/>
              <a:gd name="connsiteX1638" fmla="*/ 527863 w 9922465"/>
              <a:gd name="connsiteY1638" fmla="*/ 1154337 h 1934496"/>
              <a:gd name="connsiteX1639" fmla="*/ 583057 w 9922465"/>
              <a:gd name="connsiteY1639" fmla="*/ 1099146 h 1934496"/>
              <a:gd name="connsiteX1640" fmla="*/ 449413 w 9922465"/>
              <a:gd name="connsiteY1640" fmla="*/ 1099146 h 1934496"/>
              <a:gd name="connsiteX1641" fmla="*/ 504606 w 9922465"/>
              <a:gd name="connsiteY1641" fmla="*/ 1154337 h 1934496"/>
              <a:gd name="connsiteX1642" fmla="*/ 449413 w 9922465"/>
              <a:gd name="connsiteY1642" fmla="*/ 1209528 h 1934496"/>
              <a:gd name="connsiteX1643" fmla="*/ 394220 w 9922465"/>
              <a:gd name="connsiteY1643" fmla="*/ 1154337 h 1934496"/>
              <a:gd name="connsiteX1644" fmla="*/ 449413 w 9922465"/>
              <a:gd name="connsiteY1644" fmla="*/ 1099146 h 1934496"/>
              <a:gd name="connsiteX1645" fmla="*/ 9603343 w 9922465"/>
              <a:gd name="connsiteY1645" fmla="*/ 975533 h 1934496"/>
              <a:gd name="connsiteX1646" fmla="*/ 9658535 w 9922465"/>
              <a:gd name="connsiteY1646" fmla="*/ 1030724 h 1934496"/>
              <a:gd name="connsiteX1647" fmla="*/ 9603343 w 9922465"/>
              <a:gd name="connsiteY1647" fmla="*/ 1085915 h 1934496"/>
              <a:gd name="connsiteX1648" fmla="*/ 9548151 w 9922465"/>
              <a:gd name="connsiteY1648" fmla="*/ 1030724 h 1934496"/>
              <a:gd name="connsiteX1649" fmla="*/ 9603343 w 9922465"/>
              <a:gd name="connsiteY1649" fmla="*/ 975533 h 1934496"/>
              <a:gd name="connsiteX1650" fmla="*/ 9469708 w 9922465"/>
              <a:gd name="connsiteY1650" fmla="*/ 975533 h 1934496"/>
              <a:gd name="connsiteX1651" fmla="*/ 9524900 w 9922465"/>
              <a:gd name="connsiteY1651" fmla="*/ 1030724 h 1934496"/>
              <a:gd name="connsiteX1652" fmla="*/ 9469708 w 9922465"/>
              <a:gd name="connsiteY1652" fmla="*/ 1085915 h 1934496"/>
              <a:gd name="connsiteX1653" fmla="*/ 9414516 w 9922465"/>
              <a:gd name="connsiteY1653" fmla="*/ 1030724 h 1934496"/>
              <a:gd name="connsiteX1654" fmla="*/ 9469708 w 9922465"/>
              <a:gd name="connsiteY1654" fmla="*/ 975533 h 1934496"/>
              <a:gd name="connsiteX1655" fmla="*/ 8935170 w 9922465"/>
              <a:gd name="connsiteY1655" fmla="*/ 975533 h 1934496"/>
              <a:gd name="connsiteX1656" fmla="*/ 8990362 w 9922465"/>
              <a:gd name="connsiteY1656" fmla="*/ 1030724 h 1934496"/>
              <a:gd name="connsiteX1657" fmla="*/ 8935170 w 9922465"/>
              <a:gd name="connsiteY1657" fmla="*/ 1085915 h 1934496"/>
              <a:gd name="connsiteX1658" fmla="*/ 8879978 w 9922465"/>
              <a:gd name="connsiteY1658" fmla="*/ 1030724 h 1934496"/>
              <a:gd name="connsiteX1659" fmla="*/ 8935170 w 9922465"/>
              <a:gd name="connsiteY1659" fmla="*/ 975533 h 1934496"/>
              <a:gd name="connsiteX1660" fmla="*/ 8407315 w 9922465"/>
              <a:gd name="connsiteY1660" fmla="*/ 975533 h 1934496"/>
              <a:gd name="connsiteX1661" fmla="*/ 8462507 w 9922465"/>
              <a:gd name="connsiteY1661" fmla="*/ 1030724 h 1934496"/>
              <a:gd name="connsiteX1662" fmla="*/ 8407315 w 9922465"/>
              <a:gd name="connsiteY1662" fmla="*/ 1085915 h 1934496"/>
              <a:gd name="connsiteX1663" fmla="*/ 8352123 w 9922465"/>
              <a:gd name="connsiteY1663" fmla="*/ 1030724 h 1934496"/>
              <a:gd name="connsiteX1664" fmla="*/ 8407315 w 9922465"/>
              <a:gd name="connsiteY1664" fmla="*/ 975533 h 1934496"/>
              <a:gd name="connsiteX1665" fmla="*/ 7876116 w 9922465"/>
              <a:gd name="connsiteY1665" fmla="*/ 975533 h 1934496"/>
              <a:gd name="connsiteX1666" fmla="*/ 7931308 w 9922465"/>
              <a:gd name="connsiteY1666" fmla="*/ 1030724 h 1934496"/>
              <a:gd name="connsiteX1667" fmla="*/ 7876116 w 9922465"/>
              <a:gd name="connsiteY1667" fmla="*/ 1085915 h 1934496"/>
              <a:gd name="connsiteX1668" fmla="*/ 7820924 w 9922465"/>
              <a:gd name="connsiteY1668" fmla="*/ 1030724 h 1934496"/>
              <a:gd name="connsiteX1669" fmla="*/ 7876116 w 9922465"/>
              <a:gd name="connsiteY1669" fmla="*/ 975533 h 1934496"/>
              <a:gd name="connsiteX1670" fmla="*/ 7745822 w 9922465"/>
              <a:gd name="connsiteY1670" fmla="*/ 975533 h 1934496"/>
              <a:gd name="connsiteX1671" fmla="*/ 7801014 w 9922465"/>
              <a:gd name="connsiteY1671" fmla="*/ 1030724 h 1934496"/>
              <a:gd name="connsiteX1672" fmla="*/ 7745822 w 9922465"/>
              <a:gd name="connsiteY1672" fmla="*/ 1085915 h 1934496"/>
              <a:gd name="connsiteX1673" fmla="*/ 7690630 w 9922465"/>
              <a:gd name="connsiteY1673" fmla="*/ 1030724 h 1934496"/>
              <a:gd name="connsiteX1674" fmla="*/ 7745822 w 9922465"/>
              <a:gd name="connsiteY1674" fmla="*/ 975533 h 1934496"/>
              <a:gd name="connsiteX1675" fmla="*/ 7481894 w 9922465"/>
              <a:gd name="connsiteY1675" fmla="*/ 975533 h 1934496"/>
              <a:gd name="connsiteX1676" fmla="*/ 7537086 w 9922465"/>
              <a:gd name="connsiteY1676" fmla="*/ 1030724 h 1934496"/>
              <a:gd name="connsiteX1677" fmla="*/ 7481894 w 9922465"/>
              <a:gd name="connsiteY1677" fmla="*/ 1085915 h 1934496"/>
              <a:gd name="connsiteX1678" fmla="*/ 7426702 w 9922465"/>
              <a:gd name="connsiteY1678" fmla="*/ 1030724 h 1934496"/>
              <a:gd name="connsiteX1679" fmla="*/ 7481894 w 9922465"/>
              <a:gd name="connsiteY1679" fmla="*/ 975533 h 1934496"/>
              <a:gd name="connsiteX1680" fmla="*/ 7341578 w 9922465"/>
              <a:gd name="connsiteY1680" fmla="*/ 975533 h 1934496"/>
              <a:gd name="connsiteX1681" fmla="*/ 7396770 w 9922465"/>
              <a:gd name="connsiteY1681" fmla="*/ 1030724 h 1934496"/>
              <a:gd name="connsiteX1682" fmla="*/ 7341578 w 9922465"/>
              <a:gd name="connsiteY1682" fmla="*/ 1085915 h 1934496"/>
              <a:gd name="connsiteX1683" fmla="*/ 7286386 w 9922465"/>
              <a:gd name="connsiteY1683" fmla="*/ 1030724 h 1934496"/>
              <a:gd name="connsiteX1684" fmla="*/ 7341578 w 9922465"/>
              <a:gd name="connsiteY1684" fmla="*/ 975533 h 1934496"/>
              <a:gd name="connsiteX1685" fmla="*/ 7211285 w 9922465"/>
              <a:gd name="connsiteY1685" fmla="*/ 975533 h 1934496"/>
              <a:gd name="connsiteX1686" fmla="*/ 7266477 w 9922465"/>
              <a:gd name="connsiteY1686" fmla="*/ 1030724 h 1934496"/>
              <a:gd name="connsiteX1687" fmla="*/ 7211285 w 9922465"/>
              <a:gd name="connsiteY1687" fmla="*/ 1085915 h 1934496"/>
              <a:gd name="connsiteX1688" fmla="*/ 7156093 w 9922465"/>
              <a:gd name="connsiteY1688" fmla="*/ 1030724 h 1934496"/>
              <a:gd name="connsiteX1689" fmla="*/ 7211285 w 9922465"/>
              <a:gd name="connsiteY1689" fmla="*/ 975533 h 1934496"/>
              <a:gd name="connsiteX1690" fmla="*/ 6947356 w 9922465"/>
              <a:gd name="connsiteY1690" fmla="*/ 975533 h 1934496"/>
              <a:gd name="connsiteX1691" fmla="*/ 7002548 w 9922465"/>
              <a:gd name="connsiteY1691" fmla="*/ 1030724 h 1934496"/>
              <a:gd name="connsiteX1692" fmla="*/ 6947356 w 9922465"/>
              <a:gd name="connsiteY1692" fmla="*/ 1085915 h 1934496"/>
              <a:gd name="connsiteX1693" fmla="*/ 6892164 w 9922465"/>
              <a:gd name="connsiteY1693" fmla="*/ 1030724 h 1934496"/>
              <a:gd name="connsiteX1694" fmla="*/ 6947356 w 9922465"/>
              <a:gd name="connsiteY1694" fmla="*/ 975533 h 1934496"/>
              <a:gd name="connsiteX1695" fmla="*/ 6817063 w 9922465"/>
              <a:gd name="connsiteY1695" fmla="*/ 975533 h 1934496"/>
              <a:gd name="connsiteX1696" fmla="*/ 6872255 w 9922465"/>
              <a:gd name="connsiteY1696" fmla="*/ 1030724 h 1934496"/>
              <a:gd name="connsiteX1697" fmla="*/ 6817063 w 9922465"/>
              <a:gd name="connsiteY1697" fmla="*/ 1085915 h 1934496"/>
              <a:gd name="connsiteX1698" fmla="*/ 6761871 w 9922465"/>
              <a:gd name="connsiteY1698" fmla="*/ 1030724 h 1934496"/>
              <a:gd name="connsiteX1699" fmla="*/ 6817063 w 9922465"/>
              <a:gd name="connsiteY1699" fmla="*/ 975533 h 1934496"/>
              <a:gd name="connsiteX1700" fmla="*/ 6683430 w 9922465"/>
              <a:gd name="connsiteY1700" fmla="*/ 975533 h 1934496"/>
              <a:gd name="connsiteX1701" fmla="*/ 6738622 w 9922465"/>
              <a:gd name="connsiteY1701" fmla="*/ 1030724 h 1934496"/>
              <a:gd name="connsiteX1702" fmla="*/ 6683430 w 9922465"/>
              <a:gd name="connsiteY1702" fmla="*/ 1085915 h 1934496"/>
              <a:gd name="connsiteX1703" fmla="*/ 6628238 w 9922465"/>
              <a:gd name="connsiteY1703" fmla="*/ 1030724 h 1934496"/>
              <a:gd name="connsiteX1704" fmla="*/ 6683430 w 9922465"/>
              <a:gd name="connsiteY1704" fmla="*/ 975533 h 1934496"/>
              <a:gd name="connsiteX1705" fmla="*/ 6289206 w 9922465"/>
              <a:gd name="connsiteY1705" fmla="*/ 975533 h 1934496"/>
              <a:gd name="connsiteX1706" fmla="*/ 6344398 w 9922465"/>
              <a:gd name="connsiteY1706" fmla="*/ 1030724 h 1934496"/>
              <a:gd name="connsiteX1707" fmla="*/ 6289206 w 9922465"/>
              <a:gd name="connsiteY1707" fmla="*/ 1085915 h 1934496"/>
              <a:gd name="connsiteX1708" fmla="*/ 6234014 w 9922465"/>
              <a:gd name="connsiteY1708" fmla="*/ 1030724 h 1934496"/>
              <a:gd name="connsiteX1709" fmla="*/ 6289206 w 9922465"/>
              <a:gd name="connsiteY1709" fmla="*/ 975533 h 1934496"/>
              <a:gd name="connsiteX1710" fmla="*/ 5754667 w 9922465"/>
              <a:gd name="connsiteY1710" fmla="*/ 975533 h 1934496"/>
              <a:gd name="connsiteX1711" fmla="*/ 5809859 w 9922465"/>
              <a:gd name="connsiteY1711" fmla="*/ 1030724 h 1934496"/>
              <a:gd name="connsiteX1712" fmla="*/ 5754667 w 9922465"/>
              <a:gd name="connsiteY1712" fmla="*/ 1085915 h 1934496"/>
              <a:gd name="connsiteX1713" fmla="*/ 5699475 w 9922465"/>
              <a:gd name="connsiteY1713" fmla="*/ 1030724 h 1934496"/>
              <a:gd name="connsiteX1714" fmla="*/ 5754667 w 9922465"/>
              <a:gd name="connsiteY1714" fmla="*/ 975533 h 1934496"/>
              <a:gd name="connsiteX1715" fmla="*/ 5487398 w 9922465"/>
              <a:gd name="connsiteY1715" fmla="*/ 975533 h 1934496"/>
              <a:gd name="connsiteX1716" fmla="*/ 5542590 w 9922465"/>
              <a:gd name="connsiteY1716" fmla="*/ 1030724 h 1934496"/>
              <a:gd name="connsiteX1717" fmla="*/ 5487398 w 9922465"/>
              <a:gd name="connsiteY1717" fmla="*/ 1085915 h 1934496"/>
              <a:gd name="connsiteX1718" fmla="*/ 5432206 w 9922465"/>
              <a:gd name="connsiteY1718" fmla="*/ 1030724 h 1934496"/>
              <a:gd name="connsiteX1719" fmla="*/ 5487398 w 9922465"/>
              <a:gd name="connsiteY1719" fmla="*/ 975533 h 1934496"/>
              <a:gd name="connsiteX1720" fmla="*/ 5357105 w 9922465"/>
              <a:gd name="connsiteY1720" fmla="*/ 975533 h 1934496"/>
              <a:gd name="connsiteX1721" fmla="*/ 5412297 w 9922465"/>
              <a:gd name="connsiteY1721" fmla="*/ 1030724 h 1934496"/>
              <a:gd name="connsiteX1722" fmla="*/ 5357105 w 9922465"/>
              <a:gd name="connsiteY1722" fmla="*/ 1085915 h 1934496"/>
              <a:gd name="connsiteX1723" fmla="*/ 5301913 w 9922465"/>
              <a:gd name="connsiteY1723" fmla="*/ 1030724 h 1934496"/>
              <a:gd name="connsiteX1724" fmla="*/ 5357105 w 9922465"/>
              <a:gd name="connsiteY1724" fmla="*/ 975533 h 1934496"/>
              <a:gd name="connsiteX1725" fmla="*/ 5093176 w 9922465"/>
              <a:gd name="connsiteY1725" fmla="*/ 975533 h 1934496"/>
              <a:gd name="connsiteX1726" fmla="*/ 5148368 w 9922465"/>
              <a:gd name="connsiteY1726" fmla="*/ 1030724 h 1934496"/>
              <a:gd name="connsiteX1727" fmla="*/ 5093176 w 9922465"/>
              <a:gd name="connsiteY1727" fmla="*/ 1085915 h 1934496"/>
              <a:gd name="connsiteX1728" fmla="*/ 5037984 w 9922465"/>
              <a:gd name="connsiteY1728" fmla="*/ 1030724 h 1934496"/>
              <a:gd name="connsiteX1729" fmla="*/ 5093176 w 9922465"/>
              <a:gd name="connsiteY1729" fmla="*/ 975533 h 1934496"/>
              <a:gd name="connsiteX1730" fmla="*/ 4959540 w 9922465"/>
              <a:gd name="connsiteY1730" fmla="*/ 975533 h 1934496"/>
              <a:gd name="connsiteX1731" fmla="*/ 5014732 w 9922465"/>
              <a:gd name="connsiteY1731" fmla="*/ 1030724 h 1934496"/>
              <a:gd name="connsiteX1732" fmla="*/ 4959540 w 9922465"/>
              <a:gd name="connsiteY1732" fmla="*/ 1085915 h 1934496"/>
              <a:gd name="connsiteX1733" fmla="*/ 4904348 w 9922465"/>
              <a:gd name="connsiteY1733" fmla="*/ 1030724 h 1934496"/>
              <a:gd name="connsiteX1734" fmla="*/ 4959540 w 9922465"/>
              <a:gd name="connsiteY1734" fmla="*/ 975533 h 1934496"/>
              <a:gd name="connsiteX1735" fmla="*/ 4161075 w 9922465"/>
              <a:gd name="connsiteY1735" fmla="*/ 975533 h 1934496"/>
              <a:gd name="connsiteX1736" fmla="*/ 4216267 w 9922465"/>
              <a:gd name="connsiteY1736" fmla="*/ 1030724 h 1934496"/>
              <a:gd name="connsiteX1737" fmla="*/ 4161075 w 9922465"/>
              <a:gd name="connsiteY1737" fmla="*/ 1085915 h 1934496"/>
              <a:gd name="connsiteX1738" fmla="*/ 4105883 w 9922465"/>
              <a:gd name="connsiteY1738" fmla="*/ 1030724 h 1934496"/>
              <a:gd name="connsiteX1739" fmla="*/ 4161075 w 9922465"/>
              <a:gd name="connsiteY1739" fmla="*/ 975533 h 1934496"/>
              <a:gd name="connsiteX1740" fmla="*/ 4030782 w 9922465"/>
              <a:gd name="connsiteY1740" fmla="*/ 975533 h 1934496"/>
              <a:gd name="connsiteX1741" fmla="*/ 4085974 w 9922465"/>
              <a:gd name="connsiteY1741" fmla="*/ 1030724 h 1934496"/>
              <a:gd name="connsiteX1742" fmla="*/ 4030782 w 9922465"/>
              <a:gd name="connsiteY1742" fmla="*/ 1085915 h 1934496"/>
              <a:gd name="connsiteX1743" fmla="*/ 3975590 w 9922465"/>
              <a:gd name="connsiteY1743" fmla="*/ 1030724 h 1934496"/>
              <a:gd name="connsiteX1744" fmla="*/ 4030782 w 9922465"/>
              <a:gd name="connsiteY1744" fmla="*/ 975533 h 1934496"/>
              <a:gd name="connsiteX1745" fmla="*/ 3369290 w 9922465"/>
              <a:gd name="connsiteY1745" fmla="*/ 975533 h 1934496"/>
              <a:gd name="connsiteX1746" fmla="*/ 3424482 w 9922465"/>
              <a:gd name="connsiteY1746" fmla="*/ 1030724 h 1934496"/>
              <a:gd name="connsiteX1747" fmla="*/ 3369290 w 9922465"/>
              <a:gd name="connsiteY1747" fmla="*/ 1085915 h 1934496"/>
              <a:gd name="connsiteX1748" fmla="*/ 3314098 w 9922465"/>
              <a:gd name="connsiteY1748" fmla="*/ 1030724 h 1934496"/>
              <a:gd name="connsiteX1749" fmla="*/ 3369290 w 9922465"/>
              <a:gd name="connsiteY1749" fmla="*/ 975533 h 1934496"/>
              <a:gd name="connsiteX1750" fmla="*/ 2707880 w 9922465"/>
              <a:gd name="connsiteY1750" fmla="*/ 975533 h 1934496"/>
              <a:gd name="connsiteX1751" fmla="*/ 2763074 w 9922465"/>
              <a:gd name="connsiteY1751" fmla="*/ 1030724 h 1934496"/>
              <a:gd name="connsiteX1752" fmla="*/ 2707880 w 9922465"/>
              <a:gd name="connsiteY1752" fmla="*/ 1085915 h 1934496"/>
              <a:gd name="connsiteX1753" fmla="*/ 2652689 w 9922465"/>
              <a:gd name="connsiteY1753" fmla="*/ 1030724 h 1934496"/>
              <a:gd name="connsiteX1754" fmla="*/ 2707880 w 9922465"/>
              <a:gd name="connsiteY1754" fmla="*/ 975533 h 1934496"/>
              <a:gd name="connsiteX1755" fmla="*/ 2173347 w 9922465"/>
              <a:gd name="connsiteY1755" fmla="*/ 975533 h 1934496"/>
              <a:gd name="connsiteX1756" fmla="*/ 2228540 w 9922465"/>
              <a:gd name="connsiteY1756" fmla="*/ 1030724 h 1934496"/>
              <a:gd name="connsiteX1757" fmla="*/ 2173347 w 9922465"/>
              <a:gd name="connsiteY1757" fmla="*/ 1085915 h 1934496"/>
              <a:gd name="connsiteX1758" fmla="*/ 2118154 w 9922465"/>
              <a:gd name="connsiteY1758" fmla="*/ 1030724 h 1934496"/>
              <a:gd name="connsiteX1759" fmla="*/ 2173347 w 9922465"/>
              <a:gd name="connsiteY1759" fmla="*/ 975533 h 1934496"/>
              <a:gd name="connsiteX1760" fmla="*/ 1251258 w 9922465"/>
              <a:gd name="connsiteY1760" fmla="*/ 975533 h 1934496"/>
              <a:gd name="connsiteX1761" fmla="*/ 1306450 w 9922465"/>
              <a:gd name="connsiteY1761" fmla="*/ 1030724 h 1934496"/>
              <a:gd name="connsiteX1762" fmla="*/ 1251258 w 9922465"/>
              <a:gd name="connsiteY1762" fmla="*/ 1085915 h 1934496"/>
              <a:gd name="connsiteX1763" fmla="*/ 1196066 w 9922465"/>
              <a:gd name="connsiteY1763" fmla="*/ 1030724 h 1934496"/>
              <a:gd name="connsiteX1764" fmla="*/ 1251258 w 9922465"/>
              <a:gd name="connsiteY1764" fmla="*/ 975533 h 1934496"/>
              <a:gd name="connsiteX1765" fmla="*/ 847001 w 9922465"/>
              <a:gd name="connsiteY1765" fmla="*/ 975533 h 1934496"/>
              <a:gd name="connsiteX1766" fmla="*/ 902196 w 9922465"/>
              <a:gd name="connsiteY1766" fmla="*/ 1030724 h 1934496"/>
              <a:gd name="connsiteX1767" fmla="*/ 847001 w 9922465"/>
              <a:gd name="connsiteY1767" fmla="*/ 1085915 h 1934496"/>
              <a:gd name="connsiteX1768" fmla="*/ 791804 w 9922465"/>
              <a:gd name="connsiteY1768" fmla="*/ 1030724 h 1934496"/>
              <a:gd name="connsiteX1769" fmla="*/ 847001 w 9922465"/>
              <a:gd name="connsiteY1769" fmla="*/ 975533 h 1934496"/>
              <a:gd name="connsiteX1770" fmla="*/ 9336074 w 9922465"/>
              <a:gd name="connsiteY1770" fmla="*/ 975532 h 1934496"/>
              <a:gd name="connsiteX1771" fmla="*/ 9391266 w 9922465"/>
              <a:gd name="connsiteY1771" fmla="*/ 1030723 h 1934496"/>
              <a:gd name="connsiteX1772" fmla="*/ 9336074 w 9922465"/>
              <a:gd name="connsiteY1772" fmla="*/ 1085914 h 1934496"/>
              <a:gd name="connsiteX1773" fmla="*/ 9280882 w 9922465"/>
              <a:gd name="connsiteY1773" fmla="*/ 1030723 h 1934496"/>
              <a:gd name="connsiteX1774" fmla="*/ 9336074 w 9922465"/>
              <a:gd name="connsiteY1774" fmla="*/ 975532 h 1934496"/>
              <a:gd name="connsiteX1775" fmla="*/ 9199098 w 9922465"/>
              <a:gd name="connsiteY1775" fmla="*/ 975532 h 1934496"/>
              <a:gd name="connsiteX1776" fmla="*/ 9254290 w 9922465"/>
              <a:gd name="connsiteY1776" fmla="*/ 1030723 h 1934496"/>
              <a:gd name="connsiteX1777" fmla="*/ 9199098 w 9922465"/>
              <a:gd name="connsiteY1777" fmla="*/ 1085914 h 1934496"/>
              <a:gd name="connsiteX1778" fmla="*/ 9143906 w 9922465"/>
              <a:gd name="connsiteY1778" fmla="*/ 1030723 h 1934496"/>
              <a:gd name="connsiteX1779" fmla="*/ 9199098 w 9922465"/>
              <a:gd name="connsiteY1779" fmla="*/ 975532 h 1934496"/>
              <a:gd name="connsiteX1780" fmla="*/ 9068805 w 9922465"/>
              <a:gd name="connsiteY1780" fmla="*/ 975532 h 1934496"/>
              <a:gd name="connsiteX1781" fmla="*/ 9123997 w 9922465"/>
              <a:gd name="connsiteY1781" fmla="*/ 1030723 h 1934496"/>
              <a:gd name="connsiteX1782" fmla="*/ 9068805 w 9922465"/>
              <a:gd name="connsiteY1782" fmla="*/ 1085914 h 1934496"/>
              <a:gd name="connsiteX1783" fmla="*/ 9013613 w 9922465"/>
              <a:gd name="connsiteY1783" fmla="*/ 1030723 h 1934496"/>
              <a:gd name="connsiteX1784" fmla="*/ 9068805 w 9922465"/>
              <a:gd name="connsiteY1784" fmla="*/ 975532 h 1934496"/>
              <a:gd name="connsiteX1785" fmla="*/ 8801536 w 9922465"/>
              <a:gd name="connsiteY1785" fmla="*/ 975532 h 1934496"/>
              <a:gd name="connsiteX1786" fmla="*/ 8856728 w 9922465"/>
              <a:gd name="connsiteY1786" fmla="*/ 1030723 h 1934496"/>
              <a:gd name="connsiteX1787" fmla="*/ 8801536 w 9922465"/>
              <a:gd name="connsiteY1787" fmla="*/ 1085914 h 1934496"/>
              <a:gd name="connsiteX1788" fmla="*/ 8746344 w 9922465"/>
              <a:gd name="connsiteY1788" fmla="*/ 1030723 h 1934496"/>
              <a:gd name="connsiteX1789" fmla="*/ 8801536 w 9922465"/>
              <a:gd name="connsiteY1789" fmla="*/ 975532 h 1934496"/>
              <a:gd name="connsiteX1790" fmla="*/ 8671243 w 9922465"/>
              <a:gd name="connsiteY1790" fmla="*/ 975532 h 1934496"/>
              <a:gd name="connsiteX1791" fmla="*/ 8726435 w 9922465"/>
              <a:gd name="connsiteY1791" fmla="*/ 1030723 h 1934496"/>
              <a:gd name="connsiteX1792" fmla="*/ 8671243 w 9922465"/>
              <a:gd name="connsiteY1792" fmla="*/ 1085914 h 1934496"/>
              <a:gd name="connsiteX1793" fmla="*/ 8616051 w 9922465"/>
              <a:gd name="connsiteY1793" fmla="*/ 1030723 h 1934496"/>
              <a:gd name="connsiteX1794" fmla="*/ 8671243 w 9922465"/>
              <a:gd name="connsiteY1794" fmla="*/ 975532 h 1934496"/>
              <a:gd name="connsiteX1795" fmla="*/ 8537608 w 9922465"/>
              <a:gd name="connsiteY1795" fmla="*/ 975532 h 1934496"/>
              <a:gd name="connsiteX1796" fmla="*/ 8592800 w 9922465"/>
              <a:gd name="connsiteY1796" fmla="*/ 1030723 h 1934496"/>
              <a:gd name="connsiteX1797" fmla="*/ 8537608 w 9922465"/>
              <a:gd name="connsiteY1797" fmla="*/ 1085914 h 1934496"/>
              <a:gd name="connsiteX1798" fmla="*/ 8482416 w 9922465"/>
              <a:gd name="connsiteY1798" fmla="*/ 1030723 h 1934496"/>
              <a:gd name="connsiteX1799" fmla="*/ 8537608 w 9922465"/>
              <a:gd name="connsiteY1799" fmla="*/ 975532 h 1934496"/>
              <a:gd name="connsiteX1800" fmla="*/ 8273681 w 9922465"/>
              <a:gd name="connsiteY1800" fmla="*/ 975532 h 1934496"/>
              <a:gd name="connsiteX1801" fmla="*/ 8328873 w 9922465"/>
              <a:gd name="connsiteY1801" fmla="*/ 1030723 h 1934496"/>
              <a:gd name="connsiteX1802" fmla="*/ 8273681 w 9922465"/>
              <a:gd name="connsiteY1802" fmla="*/ 1085914 h 1934496"/>
              <a:gd name="connsiteX1803" fmla="*/ 8218489 w 9922465"/>
              <a:gd name="connsiteY1803" fmla="*/ 1030723 h 1934496"/>
              <a:gd name="connsiteX1804" fmla="*/ 8273681 w 9922465"/>
              <a:gd name="connsiteY1804" fmla="*/ 975532 h 1934496"/>
              <a:gd name="connsiteX1805" fmla="*/ 8143385 w 9922465"/>
              <a:gd name="connsiteY1805" fmla="*/ 975532 h 1934496"/>
              <a:gd name="connsiteX1806" fmla="*/ 8198577 w 9922465"/>
              <a:gd name="connsiteY1806" fmla="*/ 1030723 h 1934496"/>
              <a:gd name="connsiteX1807" fmla="*/ 8143385 w 9922465"/>
              <a:gd name="connsiteY1807" fmla="*/ 1085914 h 1934496"/>
              <a:gd name="connsiteX1808" fmla="*/ 8088193 w 9922465"/>
              <a:gd name="connsiteY1808" fmla="*/ 1030723 h 1934496"/>
              <a:gd name="connsiteX1809" fmla="*/ 8143385 w 9922465"/>
              <a:gd name="connsiteY1809" fmla="*/ 975532 h 1934496"/>
              <a:gd name="connsiteX1810" fmla="*/ 8009751 w 9922465"/>
              <a:gd name="connsiteY1810" fmla="*/ 975532 h 1934496"/>
              <a:gd name="connsiteX1811" fmla="*/ 8064943 w 9922465"/>
              <a:gd name="connsiteY1811" fmla="*/ 1030723 h 1934496"/>
              <a:gd name="connsiteX1812" fmla="*/ 8009751 w 9922465"/>
              <a:gd name="connsiteY1812" fmla="*/ 1085914 h 1934496"/>
              <a:gd name="connsiteX1813" fmla="*/ 7954559 w 9922465"/>
              <a:gd name="connsiteY1813" fmla="*/ 1030723 h 1934496"/>
              <a:gd name="connsiteX1814" fmla="*/ 8009751 w 9922465"/>
              <a:gd name="connsiteY1814" fmla="*/ 975532 h 1934496"/>
              <a:gd name="connsiteX1815" fmla="*/ 7608847 w 9922465"/>
              <a:gd name="connsiteY1815" fmla="*/ 975532 h 1934496"/>
              <a:gd name="connsiteX1816" fmla="*/ 7664039 w 9922465"/>
              <a:gd name="connsiteY1816" fmla="*/ 1030723 h 1934496"/>
              <a:gd name="connsiteX1817" fmla="*/ 7608847 w 9922465"/>
              <a:gd name="connsiteY1817" fmla="*/ 1085914 h 1934496"/>
              <a:gd name="connsiteX1818" fmla="*/ 7553655 w 9922465"/>
              <a:gd name="connsiteY1818" fmla="*/ 1030723 h 1934496"/>
              <a:gd name="connsiteX1819" fmla="*/ 7608847 w 9922465"/>
              <a:gd name="connsiteY1819" fmla="*/ 975532 h 1934496"/>
              <a:gd name="connsiteX1820" fmla="*/ 7080991 w 9922465"/>
              <a:gd name="connsiteY1820" fmla="*/ 975532 h 1934496"/>
              <a:gd name="connsiteX1821" fmla="*/ 7136183 w 9922465"/>
              <a:gd name="connsiteY1821" fmla="*/ 1030723 h 1934496"/>
              <a:gd name="connsiteX1822" fmla="*/ 7080991 w 9922465"/>
              <a:gd name="connsiteY1822" fmla="*/ 1085914 h 1934496"/>
              <a:gd name="connsiteX1823" fmla="*/ 7025799 w 9922465"/>
              <a:gd name="connsiteY1823" fmla="*/ 1030723 h 1934496"/>
              <a:gd name="connsiteX1824" fmla="*/ 7080991 w 9922465"/>
              <a:gd name="connsiteY1824" fmla="*/ 975532 h 1934496"/>
              <a:gd name="connsiteX1825" fmla="*/ 6553135 w 9922465"/>
              <a:gd name="connsiteY1825" fmla="*/ 975532 h 1934496"/>
              <a:gd name="connsiteX1826" fmla="*/ 6608327 w 9922465"/>
              <a:gd name="connsiteY1826" fmla="*/ 1030723 h 1934496"/>
              <a:gd name="connsiteX1827" fmla="*/ 6553135 w 9922465"/>
              <a:gd name="connsiteY1827" fmla="*/ 1085914 h 1934496"/>
              <a:gd name="connsiteX1828" fmla="*/ 6497943 w 9922465"/>
              <a:gd name="connsiteY1828" fmla="*/ 1030723 h 1934496"/>
              <a:gd name="connsiteX1829" fmla="*/ 6553135 w 9922465"/>
              <a:gd name="connsiteY1829" fmla="*/ 975532 h 1934496"/>
              <a:gd name="connsiteX1830" fmla="*/ 6419501 w 9922465"/>
              <a:gd name="connsiteY1830" fmla="*/ 975532 h 1934496"/>
              <a:gd name="connsiteX1831" fmla="*/ 6474693 w 9922465"/>
              <a:gd name="connsiteY1831" fmla="*/ 1030723 h 1934496"/>
              <a:gd name="connsiteX1832" fmla="*/ 6419501 w 9922465"/>
              <a:gd name="connsiteY1832" fmla="*/ 1085914 h 1934496"/>
              <a:gd name="connsiteX1833" fmla="*/ 6364309 w 9922465"/>
              <a:gd name="connsiteY1833" fmla="*/ 1030723 h 1934496"/>
              <a:gd name="connsiteX1834" fmla="*/ 6419501 w 9922465"/>
              <a:gd name="connsiteY1834" fmla="*/ 975532 h 1934496"/>
              <a:gd name="connsiteX1835" fmla="*/ 6155571 w 9922465"/>
              <a:gd name="connsiteY1835" fmla="*/ 975532 h 1934496"/>
              <a:gd name="connsiteX1836" fmla="*/ 6210763 w 9922465"/>
              <a:gd name="connsiteY1836" fmla="*/ 1030723 h 1934496"/>
              <a:gd name="connsiteX1837" fmla="*/ 6155571 w 9922465"/>
              <a:gd name="connsiteY1837" fmla="*/ 1085914 h 1934496"/>
              <a:gd name="connsiteX1838" fmla="*/ 6100379 w 9922465"/>
              <a:gd name="connsiteY1838" fmla="*/ 1030723 h 1934496"/>
              <a:gd name="connsiteX1839" fmla="*/ 6155571 w 9922465"/>
              <a:gd name="connsiteY1839" fmla="*/ 975532 h 1934496"/>
              <a:gd name="connsiteX1840" fmla="*/ 6021936 w 9922465"/>
              <a:gd name="connsiteY1840" fmla="*/ 975532 h 1934496"/>
              <a:gd name="connsiteX1841" fmla="*/ 6077128 w 9922465"/>
              <a:gd name="connsiteY1841" fmla="*/ 1030723 h 1934496"/>
              <a:gd name="connsiteX1842" fmla="*/ 6021936 w 9922465"/>
              <a:gd name="connsiteY1842" fmla="*/ 1085914 h 1934496"/>
              <a:gd name="connsiteX1843" fmla="*/ 5966744 w 9922465"/>
              <a:gd name="connsiteY1843" fmla="*/ 1030723 h 1934496"/>
              <a:gd name="connsiteX1844" fmla="*/ 6021936 w 9922465"/>
              <a:gd name="connsiteY1844" fmla="*/ 975532 h 1934496"/>
              <a:gd name="connsiteX1845" fmla="*/ 5884963 w 9922465"/>
              <a:gd name="connsiteY1845" fmla="*/ 975532 h 1934496"/>
              <a:gd name="connsiteX1846" fmla="*/ 5940155 w 9922465"/>
              <a:gd name="connsiteY1846" fmla="*/ 1030723 h 1934496"/>
              <a:gd name="connsiteX1847" fmla="*/ 5884963 w 9922465"/>
              <a:gd name="connsiteY1847" fmla="*/ 1085914 h 1934496"/>
              <a:gd name="connsiteX1848" fmla="*/ 5829771 w 9922465"/>
              <a:gd name="connsiteY1848" fmla="*/ 1030723 h 1934496"/>
              <a:gd name="connsiteX1849" fmla="*/ 5884963 w 9922465"/>
              <a:gd name="connsiteY1849" fmla="*/ 975532 h 1934496"/>
              <a:gd name="connsiteX1850" fmla="*/ 5621031 w 9922465"/>
              <a:gd name="connsiteY1850" fmla="*/ 975532 h 1934496"/>
              <a:gd name="connsiteX1851" fmla="*/ 5676223 w 9922465"/>
              <a:gd name="connsiteY1851" fmla="*/ 1030723 h 1934496"/>
              <a:gd name="connsiteX1852" fmla="*/ 5621031 w 9922465"/>
              <a:gd name="connsiteY1852" fmla="*/ 1085914 h 1934496"/>
              <a:gd name="connsiteX1853" fmla="*/ 5565839 w 9922465"/>
              <a:gd name="connsiteY1853" fmla="*/ 1030723 h 1934496"/>
              <a:gd name="connsiteX1854" fmla="*/ 5621031 w 9922465"/>
              <a:gd name="connsiteY1854" fmla="*/ 975532 h 1934496"/>
              <a:gd name="connsiteX1855" fmla="*/ 5223472 w 9922465"/>
              <a:gd name="connsiteY1855" fmla="*/ 975532 h 1934496"/>
              <a:gd name="connsiteX1856" fmla="*/ 5278664 w 9922465"/>
              <a:gd name="connsiteY1856" fmla="*/ 1030723 h 1934496"/>
              <a:gd name="connsiteX1857" fmla="*/ 5223472 w 9922465"/>
              <a:gd name="connsiteY1857" fmla="*/ 1085914 h 1934496"/>
              <a:gd name="connsiteX1858" fmla="*/ 5168280 w 9922465"/>
              <a:gd name="connsiteY1858" fmla="*/ 1030723 h 1934496"/>
              <a:gd name="connsiteX1859" fmla="*/ 5223472 w 9922465"/>
              <a:gd name="connsiteY1859" fmla="*/ 975532 h 1934496"/>
              <a:gd name="connsiteX1860" fmla="*/ 4294710 w 9922465"/>
              <a:gd name="connsiteY1860" fmla="*/ 975532 h 1934496"/>
              <a:gd name="connsiteX1861" fmla="*/ 4349902 w 9922465"/>
              <a:gd name="connsiteY1861" fmla="*/ 1030723 h 1934496"/>
              <a:gd name="connsiteX1862" fmla="*/ 4294710 w 9922465"/>
              <a:gd name="connsiteY1862" fmla="*/ 1085914 h 1934496"/>
              <a:gd name="connsiteX1863" fmla="*/ 4239518 w 9922465"/>
              <a:gd name="connsiteY1863" fmla="*/ 1030723 h 1934496"/>
              <a:gd name="connsiteX1864" fmla="*/ 4294710 w 9922465"/>
              <a:gd name="connsiteY1864" fmla="*/ 975532 h 1934496"/>
              <a:gd name="connsiteX1865" fmla="*/ 3499584 w 9922465"/>
              <a:gd name="connsiteY1865" fmla="*/ 975532 h 1934496"/>
              <a:gd name="connsiteX1866" fmla="*/ 3554776 w 9922465"/>
              <a:gd name="connsiteY1866" fmla="*/ 1030723 h 1934496"/>
              <a:gd name="connsiteX1867" fmla="*/ 3499584 w 9922465"/>
              <a:gd name="connsiteY1867" fmla="*/ 1085914 h 1934496"/>
              <a:gd name="connsiteX1868" fmla="*/ 3444392 w 9922465"/>
              <a:gd name="connsiteY1868" fmla="*/ 1030723 h 1934496"/>
              <a:gd name="connsiteX1869" fmla="*/ 3499584 w 9922465"/>
              <a:gd name="connsiteY1869" fmla="*/ 975532 h 1934496"/>
              <a:gd name="connsiteX1870" fmla="*/ 2834836 w 9922465"/>
              <a:gd name="connsiteY1870" fmla="*/ 975532 h 1934496"/>
              <a:gd name="connsiteX1871" fmla="*/ 2890028 w 9922465"/>
              <a:gd name="connsiteY1871" fmla="*/ 1030723 h 1934496"/>
              <a:gd name="connsiteX1872" fmla="*/ 2834836 w 9922465"/>
              <a:gd name="connsiteY1872" fmla="*/ 1085914 h 1934496"/>
              <a:gd name="connsiteX1873" fmla="*/ 2779643 w 9922465"/>
              <a:gd name="connsiteY1873" fmla="*/ 1030723 h 1934496"/>
              <a:gd name="connsiteX1874" fmla="*/ 2834836 w 9922465"/>
              <a:gd name="connsiteY1874" fmla="*/ 975532 h 1934496"/>
              <a:gd name="connsiteX1875" fmla="*/ 2303639 w 9922465"/>
              <a:gd name="connsiteY1875" fmla="*/ 975532 h 1934496"/>
              <a:gd name="connsiteX1876" fmla="*/ 2358830 w 9922465"/>
              <a:gd name="connsiteY1876" fmla="*/ 1030723 h 1934496"/>
              <a:gd name="connsiteX1877" fmla="*/ 2303639 w 9922465"/>
              <a:gd name="connsiteY1877" fmla="*/ 1085914 h 1934496"/>
              <a:gd name="connsiteX1878" fmla="*/ 2248448 w 9922465"/>
              <a:gd name="connsiteY1878" fmla="*/ 1030723 h 1934496"/>
              <a:gd name="connsiteX1879" fmla="*/ 2303639 w 9922465"/>
              <a:gd name="connsiteY1879" fmla="*/ 975532 h 1934496"/>
              <a:gd name="connsiteX1880" fmla="*/ 2039712 w 9922465"/>
              <a:gd name="connsiteY1880" fmla="*/ 975532 h 1934496"/>
              <a:gd name="connsiteX1881" fmla="*/ 2094905 w 9922465"/>
              <a:gd name="connsiteY1881" fmla="*/ 1030723 h 1934496"/>
              <a:gd name="connsiteX1882" fmla="*/ 2039712 w 9922465"/>
              <a:gd name="connsiteY1882" fmla="*/ 1085914 h 1934496"/>
              <a:gd name="connsiteX1883" fmla="*/ 1984518 w 9922465"/>
              <a:gd name="connsiteY1883" fmla="*/ 1030723 h 1934496"/>
              <a:gd name="connsiteX1884" fmla="*/ 2039712 w 9922465"/>
              <a:gd name="connsiteY1884" fmla="*/ 975532 h 1934496"/>
              <a:gd name="connsiteX1885" fmla="*/ 1909414 w 9922465"/>
              <a:gd name="connsiteY1885" fmla="*/ 975532 h 1934496"/>
              <a:gd name="connsiteX1886" fmla="*/ 1964607 w 9922465"/>
              <a:gd name="connsiteY1886" fmla="*/ 1030723 h 1934496"/>
              <a:gd name="connsiteX1887" fmla="*/ 1909414 w 9922465"/>
              <a:gd name="connsiteY1887" fmla="*/ 1085914 h 1934496"/>
              <a:gd name="connsiteX1888" fmla="*/ 1854220 w 9922465"/>
              <a:gd name="connsiteY1888" fmla="*/ 1030723 h 1934496"/>
              <a:gd name="connsiteX1889" fmla="*/ 1909414 w 9922465"/>
              <a:gd name="connsiteY1889" fmla="*/ 975532 h 1934496"/>
              <a:gd name="connsiteX1890" fmla="*/ 1779117 w 9922465"/>
              <a:gd name="connsiteY1890" fmla="*/ 975532 h 1934496"/>
              <a:gd name="connsiteX1891" fmla="*/ 1834310 w 9922465"/>
              <a:gd name="connsiteY1891" fmla="*/ 1030723 h 1934496"/>
              <a:gd name="connsiteX1892" fmla="*/ 1779117 w 9922465"/>
              <a:gd name="connsiteY1892" fmla="*/ 1085914 h 1934496"/>
              <a:gd name="connsiteX1893" fmla="*/ 1723923 w 9922465"/>
              <a:gd name="connsiteY1893" fmla="*/ 1030723 h 1934496"/>
              <a:gd name="connsiteX1894" fmla="*/ 1779117 w 9922465"/>
              <a:gd name="connsiteY1894" fmla="*/ 975532 h 1934496"/>
              <a:gd name="connsiteX1895" fmla="*/ 1645480 w 9922465"/>
              <a:gd name="connsiteY1895" fmla="*/ 975532 h 1934496"/>
              <a:gd name="connsiteX1896" fmla="*/ 1700679 w 9922465"/>
              <a:gd name="connsiteY1896" fmla="*/ 1030723 h 1934496"/>
              <a:gd name="connsiteX1897" fmla="*/ 1645480 w 9922465"/>
              <a:gd name="connsiteY1897" fmla="*/ 1085914 h 1934496"/>
              <a:gd name="connsiteX1898" fmla="*/ 1590287 w 9922465"/>
              <a:gd name="connsiteY1898" fmla="*/ 1030723 h 1934496"/>
              <a:gd name="connsiteX1899" fmla="*/ 1645480 w 9922465"/>
              <a:gd name="connsiteY1899" fmla="*/ 975532 h 1934496"/>
              <a:gd name="connsiteX1900" fmla="*/ 1515189 w 9922465"/>
              <a:gd name="connsiteY1900" fmla="*/ 975532 h 1934496"/>
              <a:gd name="connsiteX1901" fmla="*/ 1570378 w 9922465"/>
              <a:gd name="connsiteY1901" fmla="*/ 1030723 h 1934496"/>
              <a:gd name="connsiteX1902" fmla="*/ 1515189 w 9922465"/>
              <a:gd name="connsiteY1902" fmla="*/ 1085914 h 1934496"/>
              <a:gd name="connsiteX1903" fmla="*/ 1459995 w 9922465"/>
              <a:gd name="connsiteY1903" fmla="*/ 1030723 h 1934496"/>
              <a:gd name="connsiteX1904" fmla="*/ 1515189 w 9922465"/>
              <a:gd name="connsiteY1904" fmla="*/ 975532 h 1934496"/>
              <a:gd name="connsiteX1905" fmla="*/ 1381549 w 9922465"/>
              <a:gd name="connsiteY1905" fmla="*/ 975532 h 1934496"/>
              <a:gd name="connsiteX1906" fmla="*/ 1436744 w 9922465"/>
              <a:gd name="connsiteY1906" fmla="*/ 1030723 h 1934496"/>
              <a:gd name="connsiteX1907" fmla="*/ 1381549 w 9922465"/>
              <a:gd name="connsiteY1907" fmla="*/ 1085914 h 1934496"/>
              <a:gd name="connsiteX1908" fmla="*/ 1326361 w 9922465"/>
              <a:gd name="connsiteY1908" fmla="*/ 1030723 h 1934496"/>
              <a:gd name="connsiteX1909" fmla="*/ 1381549 w 9922465"/>
              <a:gd name="connsiteY1909" fmla="*/ 975532 h 1934496"/>
              <a:gd name="connsiteX1910" fmla="*/ 1117621 w 9922465"/>
              <a:gd name="connsiteY1910" fmla="*/ 975532 h 1934496"/>
              <a:gd name="connsiteX1911" fmla="*/ 1172814 w 9922465"/>
              <a:gd name="connsiteY1911" fmla="*/ 1030723 h 1934496"/>
              <a:gd name="connsiteX1912" fmla="*/ 1117621 w 9922465"/>
              <a:gd name="connsiteY1912" fmla="*/ 1085914 h 1934496"/>
              <a:gd name="connsiteX1913" fmla="*/ 1062427 w 9922465"/>
              <a:gd name="connsiteY1913" fmla="*/ 1030723 h 1934496"/>
              <a:gd name="connsiteX1914" fmla="*/ 1117621 w 9922465"/>
              <a:gd name="connsiteY1914" fmla="*/ 975532 h 1934496"/>
              <a:gd name="connsiteX1915" fmla="*/ 980643 w 9922465"/>
              <a:gd name="connsiteY1915" fmla="*/ 975532 h 1934496"/>
              <a:gd name="connsiteX1916" fmla="*/ 1035836 w 9922465"/>
              <a:gd name="connsiteY1916" fmla="*/ 1030723 h 1934496"/>
              <a:gd name="connsiteX1917" fmla="*/ 980643 w 9922465"/>
              <a:gd name="connsiteY1917" fmla="*/ 1085914 h 1934496"/>
              <a:gd name="connsiteX1918" fmla="*/ 925449 w 9922465"/>
              <a:gd name="connsiteY1918" fmla="*/ 1030723 h 1934496"/>
              <a:gd name="connsiteX1919" fmla="*/ 980643 w 9922465"/>
              <a:gd name="connsiteY1919" fmla="*/ 975532 h 1934496"/>
              <a:gd name="connsiteX1920" fmla="*/ 716703 w 9922465"/>
              <a:gd name="connsiteY1920" fmla="*/ 975532 h 1934496"/>
              <a:gd name="connsiteX1921" fmla="*/ 771897 w 9922465"/>
              <a:gd name="connsiteY1921" fmla="*/ 1030723 h 1934496"/>
              <a:gd name="connsiteX1922" fmla="*/ 716703 w 9922465"/>
              <a:gd name="connsiteY1922" fmla="*/ 1085914 h 1934496"/>
              <a:gd name="connsiteX1923" fmla="*/ 661511 w 9922465"/>
              <a:gd name="connsiteY1923" fmla="*/ 1030723 h 1934496"/>
              <a:gd name="connsiteX1924" fmla="*/ 716703 w 9922465"/>
              <a:gd name="connsiteY1924" fmla="*/ 975532 h 1934496"/>
              <a:gd name="connsiteX1925" fmla="*/ 583065 w 9922465"/>
              <a:gd name="connsiteY1925" fmla="*/ 975532 h 1934496"/>
              <a:gd name="connsiteX1926" fmla="*/ 638258 w 9922465"/>
              <a:gd name="connsiteY1926" fmla="*/ 1030723 h 1934496"/>
              <a:gd name="connsiteX1927" fmla="*/ 583065 w 9922465"/>
              <a:gd name="connsiteY1927" fmla="*/ 1085914 h 1934496"/>
              <a:gd name="connsiteX1928" fmla="*/ 527871 w 9922465"/>
              <a:gd name="connsiteY1928" fmla="*/ 1030723 h 1934496"/>
              <a:gd name="connsiteX1929" fmla="*/ 583065 w 9922465"/>
              <a:gd name="connsiteY1929" fmla="*/ 975532 h 1934496"/>
              <a:gd name="connsiteX1930" fmla="*/ 449419 w 9922465"/>
              <a:gd name="connsiteY1930" fmla="*/ 975532 h 1934496"/>
              <a:gd name="connsiteX1931" fmla="*/ 504612 w 9922465"/>
              <a:gd name="connsiteY1931" fmla="*/ 1030723 h 1934496"/>
              <a:gd name="connsiteX1932" fmla="*/ 449419 w 9922465"/>
              <a:gd name="connsiteY1932" fmla="*/ 1085914 h 1934496"/>
              <a:gd name="connsiteX1933" fmla="*/ 394227 w 9922465"/>
              <a:gd name="connsiteY1933" fmla="*/ 1030723 h 1934496"/>
              <a:gd name="connsiteX1934" fmla="*/ 449419 w 9922465"/>
              <a:gd name="connsiteY1934" fmla="*/ 975532 h 1934496"/>
              <a:gd name="connsiteX1935" fmla="*/ 319124 w 9922465"/>
              <a:gd name="connsiteY1935" fmla="*/ 975532 h 1934496"/>
              <a:gd name="connsiteX1936" fmla="*/ 374317 w 9922465"/>
              <a:gd name="connsiteY1936" fmla="*/ 1030723 h 1934496"/>
              <a:gd name="connsiteX1937" fmla="*/ 319124 w 9922465"/>
              <a:gd name="connsiteY1937" fmla="*/ 1085914 h 1934496"/>
              <a:gd name="connsiteX1938" fmla="*/ 263931 w 9922465"/>
              <a:gd name="connsiteY1938" fmla="*/ 1030723 h 1934496"/>
              <a:gd name="connsiteX1939" fmla="*/ 319124 w 9922465"/>
              <a:gd name="connsiteY1939" fmla="*/ 975532 h 1934496"/>
              <a:gd name="connsiteX1940" fmla="*/ 185492 w 9922465"/>
              <a:gd name="connsiteY1940" fmla="*/ 975532 h 1934496"/>
              <a:gd name="connsiteX1941" fmla="*/ 240682 w 9922465"/>
              <a:gd name="connsiteY1941" fmla="*/ 1030723 h 1934496"/>
              <a:gd name="connsiteX1942" fmla="*/ 185492 w 9922465"/>
              <a:gd name="connsiteY1942" fmla="*/ 1085914 h 1934496"/>
              <a:gd name="connsiteX1943" fmla="*/ 130299 w 9922465"/>
              <a:gd name="connsiteY1943" fmla="*/ 1030723 h 1934496"/>
              <a:gd name="connsiteX1944" fmla="*/ 185492 w 9922465"/>
              <a:gd name="connsiteY1944" fmla="*/ 975532 h 1934496"/>
              <a:gd name="connsiteX1945" fmla="*/ 55197 w 9922465"/>
              <a:gd name="connsiteY1945" fmla="*/ 975532 h 1934496"/>
              <a:gd name="connsiteX1946" fmla="*/ 110388 w 9922465"/>
              <a:gd name="connsiteY1946" fmla="*/ 1030723 h 1934496"/>
              <a:gd name="connsiteX1947" fmla="*/ 55197 w 9922465"/>
              <a:gd name="connsiteY1947" fmla="*/ 1085914 h 1934496"/>
              <a:gd name="connsiteX1948" fmla="*/ 7 w 9922465"/>
              <a:gd name="connsiteY1948" fmla="*/ 1030723 h 1934496"/>
              <a:gd name="connsiteX1949" fmla="*/ 55197 w 9922465"/>
              <a:gd name="connsiteY1949" fmla="*/ 975532 h 1934496"/>
              <a:gd name="connsiteX1950" fmla="*/ 9469710 w 9922465"/>
              <a:gd name="connsiteY1950" fmla="*/ 855263 h 1934496"/>
              <a:gd name="connsiteX1951" fmla="*/ 9524902 w 9922465"/>
              <a:gd name="connsiteY1951" fmla="*/ 910454 h 1934496"/>
              <a:gd name="connsiteX1952" fmla="*/ 9469710 w 9922465"/>
              <a:gd name="connsiteY1952" fmla="*/ 965645 h 1934496"/>
              <a:gd name="connsiteX1953" fmla="*/ 9414518 w 9922465"/>
              <a:gd name="connsiteY1953" fmla="*/ 910454 h 1934496"/>
              <a:gd name="connsiteX1954" fmla="*/ 9469710 w 9922465"/>
              <a:gd name="connsiteY1954" fmla="*/ 855263 h 1934496"/>
              <a:gd name="connsiteX1955" fmla="*/ 9336075 w 9922465"/>
              <a:gd name="connsiteY1955" fmla="*/ 855263 h 1934496"/>
              <a:gd name="connsiteX1956" fmla="*/ 9391267 w 9922465"/>
              <a:gd name="connsiteY1956" fmla="*/ 910454 h 1934496"/>
              <a:gd name="connsiteX1957" fmla="*/ 9336075 w 9922465"/>
              <a:gd name="connsiteY1957" fmla="*/ 965645 h 1934496"/>
              <a:gd name="connsiteX1958" fmla="*/ 9280883 w 9922465"/>
              <a:gd name="connsiteY1958" fmla="*/ 910454 h 1934496"/>
              <a:gd name="connsiteX1959" fmla="*/ 9336075 w 9922465"/>
              <a:gd name="connsiteY1959" fmla="*/ 855263 h 1934496"/>
              <a:gd name="connsiteX1960" fmla="*/ 9199100 w 9922465"/>
              <a:gd name="connsiteY1960" fmla="*/ 855263 h 1934496"/>
              <a:gd name="connsiteX1961" fmla="*/ 9254292 w 9922465"/>
              <a:gd name="connsiteY1961" fmla="*/ 910454 h 1934496"/>
              <a:gd name="connsiteX1962" fmla="*/ 9199100 w 9922465"/>
              <a:gd name="connsiteY1962" fmla="*/ 965645 h 1934496"/>
              <a:gd name="connsiteX1963" fmla="*/ 9143908 w 9922465"/>
              <a:gd name="connsiteY1963" fmla="*/ 910454 h 1934496"/>
              <a:gd name="connsiteX1964" fmla="*/ 9199100 w 9922465"/>
              <a:gd name="connsiteY1964" fmla="*/ 855263 h 1934496"/>
              <a:gd name="connsiteX1965" fmla="*/ 9068806 w 9922465"/>
              <a:gd name="connsiteY1965" fmla="*/ 855263 h 1934496"/>
              <a:gd name="connsiteX1966" fmla="*/ 9123998 w 9922465"/>
              <a:gd name="connsiteY1966" fmla="*/ 910454 h 1934496"/>
              <a:gd name="connsiteX1967" fmla="*/ 9068806 w 9922465"/>
              <a:gd name="connsiteY1967" fmla="*/ 965645 h 1934496"/>
              <a:gd name="connsiteX1968" fmla="*/ 9013614 w 9922465"/>
              <a:gd name="connsiteY1968" fmla="*/ 910454 h 1934496"/>
              <a:gd name="connsiteX1969" fmla="*/ 9068806 w 9922465"/>
              <a:gd name="connsiteY1969" fmla="*/ 855263 h 1934496"/>
              <a:gd name="connsiteX1970" fmla="*/ 8935170 w 9922465"/>
              <a:gd name="connsiteY1970" fmla="*/ 855263 h 1934496"/>
              <a:gd name="connsiteX1971" fmla="*/ 8990362 w 9922465"/>
              <a:gd name="connsiteY1971" fmla="*/ 910454 h 1934496"/>
              <a:gd name="connsiteX1972" fmla="*/ 8935170 w 9922465"/>
              <a:gd name="connsiteY1972" fmla="*/ 965645 h 1934496"/>
              <a:gd name="connsiteX1973" fmla="*/ 8879978 w 9922465"/>
              <a:gd name="connsiteY1973" fmla="*/ 910454 h 1934496"/>
              <a:gd name="connsiteX1974" fmla="*/ 8935170 w 9922465"/>
              <a:gd name="connsiteY1974" fmla="*/ 855263 h 1934496"/>
              <a:gd name="connsiteX1975" fmla="*/ 8801536 w 9922465"/>
              <a:gd name="connsiteY1975" fmla="*/ 855263 h 1934496"/>
              <a:gd name="connsiteX1976" fmla="*/ 8856728 w 9922465"/>
              <a:gd name="connsiteY1976" fmla="*/ 910454 h 1934496"/>
              <a:gd name="connsiteX1977" fmla="*/ 8801536 w 9922465"/>
              <a:gd name="connsiteY1977" fmla="*/ 965645 h 1934496"/>
              <a:gd name="connsiteX1978" fmla="*/ 8746344 w 9922465"/>
              <a:gd name="connsiteY1978" fmla="*/ 910454 h 1934496"/>
              <a:gd name="connsiteX1979" fmla="*/ 8801536 w 9922465"/>
              <a:gd name="connsiteY1979" fmla="*/ 855263 h 1934496"/>
              <a:gd name="connsiteX1980" fmla="*/ 8671243 w 9922465"/>
              <a:gd name="connsiteY1980" fmla="*/ 855263 h 1934496"/>
              <a:gd name="connsiteX1981" fmla="*/ 8726435 w 9922465"/>
              <a:gd name="connsiteY1981" fmla="*/ 910454 h 1934496"/>
              <a:gd name="connsiteX1982" fmla="*/ 8671243 w 9922465"/>
              <a:gd name="connsiteY1982" fmla="*/ 965645 h 1934496"/>
              <a:gd name="connsiteX1983" fmla="*/ 8616051 w 9922465"/>
              <a:gd name="connsiteY1983" fmla="*/ 910454 h 1934496"/>
              <a:gd name="connsiteX1984" fmla="*/ 8671243 w 9922465"/>
              <a:gd name="connsiteY1984" fmla="*/ 855263 h 1934496"/>
              <a:gd name="connsiteX1985" fmla="*/ 8537609 w 9922465"/>
              <a:gd name="connsiteY1985" fmla="*/ 855263 h 1934496"/>
              <a:gd name="connsiteX1986" fmla="*/ 8592801 w 9922465"/>
              <a:gd name="connsiteY1986" fmla="*/ 910454 h 1934496"/>
              <a:gd name="connsiteX1987" fmla="*/ 8537609 w 9922465"/>
              <a:gd name="connsiteY1987" fmla="*/ 965645 h 1934496"/>
              <a:gd name="connsiteX1988" fmla="*/ 8482417 w 9922465"/>
              <a:gd name="connsiteY1988" fmla="*/ 910454 h 1934496"/>
              <a:gd name="connsiteX1989" fmla="*/ 8537609 w 9922465"/>
              <a:gd name="connsiteY1989" fmla="*/ 855263 h 1934496"/>
              <a:gd name="connsiteX1990" fmla="*/ 8407315 w 9922465"/>
              <a:gd name="connsiteY1990" fmla="*/ 855263 h 1934496"/>
              <a:gd name="connsiteX1991" fmla="*/ 8462507 w 9922465"/>
              <a:gd name="connsiteY1991" fmla="*/ 910454 h 1934496"/>
              <a:gd name="connsiteX1992" fmla="*/ 8407315 w 9922465"/>
              <a:gd name="connsiteY1992" fmla="*/ 965645 h 1934496"/>
              <a:gd name="connsiteX1993" fmla="*/ 8352123 w 9922465"/>
              <a:gd name="connsiteY1993" fmla="*/ 910454 h 1934496"/>
              <a:gd name="connsiteX1994" fmla="*/ 8407315 w 9922465"/>
              <a:gd name="connsiteY1994" fmla="*/ 855263 h 1934496"/>
              <a:gd name="connsiteX1995" fmla="*/ 8273681 w 9922465"/>
              <a:gd name="connsiteY1995" fmla="*/ 855263 h 1934496"/>
              <a:gd name="connsiteX1996" fmla="*/ 8328873 w 9922465"/>
              <a:gd name="connsiteY1996" fmla="*/ 910454 h 1934496"/>
              <a:gd name="connsiteX1997" fmla="*/ 8273681 w 9922465"/>
              <a:gd name="connsiteY1997" fmla="*/ 965645 h 1934496"/>
              <a:gd name="connsiteX1998" fmla="*/ 8218489 w 9922465"/>
              <a:gd name="connsiteY1998" fmla="*/ 910454 h 1934496"/>
              <a:gd name="connsiteX1999" fmla="*/ 8273681 w 9922465"/>
              <a:gd name="connsiteY1999" fmla="*/ 855263 h 1934496"/>
              <a:gd name="connsiteX2000" fmla="*/ 8143386 w 9922465"/>
              <a:gd name="connsiteY2000" fmla="*/ 855263 h 1934496"/>
              <a:gd name="connsiteX2001" fmla="*/ 8198578 w 9922465"/>
              <a:gd name="connsiteY2001" fmla="*/ 910454 h 1934496"/>
              <a:gd name="connsiteX2002" fmla="*/ 8143386 w 9922465"/>
              <a:gd name="connsiteY2002" fmla="*/ 965645 h 1934496"/>
              <a:gd name="connsiteX2003" fmla="*/ 8088194 w 9922465"/>
              <a:gd name="connsiteY2003" fmla="*/ 910454 h 1934496"/>
              <a:gd name="connsiteX2004" fmla="*/ 8143386 w 9922465"/>
              <a:gd name="connsiteY2004" fmla="*/ 855263 h 1934496"/>
              <a:gd name="connsiteX2005" fmla="*/ 8009752 w 9922465"/>
              <a:gd name="connsiteY2005" fmla="*/ 855263 h 1934496"/>
              <a:gd name="connsiteX2006" fmla="*/ 8064944 w 9922465"/>
              <a:gd name="connsiteY2006" fmla="*/ 910454 h 1934496"/>
              <a:gd name="connsiteX2007" fmla="*/ 8009752 w 9922465"/>
              <a:gd name="connsiteY2007" fmla="*/ 965645 h 1934496"/>
              <a:gd name="connsiteX2008" fmla="*/ 7954560 w 9922465"/>
              <a:gd name="connsiteY2008" fmla="*/ 910454 h 1934496"/>
              <a:gd name="connsiteX2009" fmla="*/ 8009752 w 9922465"/>
              <a:gd name="connsiteY2009" fmla="*/ 855263 h 1934496"/>
              <a:gd name="connsiteX2010" fmla="*/ 7876117 w 9922465"/>
              <a:gd name="connsiteY2010" fmla="*/ 855263 h 1934496"/>
              <a:gd name="connsiteX2011" fmla="*/ 7931309 w 9922465"/>
              <a:gd name="connsiteY2011" fmla="*/ 910454 h 1934496"/>
              <a:gd name="connsiteX2012" fmla="*/ 7876117 w 9922465"/>
              <a:gd name="connsiteY2012" fmla="*/ 965645 h 1934496"/>
              <a:gd name="connsiteX2013" fmla="*/ 7820925 w 9922465"/>
              <a:gd name="connsiteY2013" fmla="*/ 910454 h 1934496"/>
              <a:gd name="connsiteX2014" fmla="*/ 7876117 w 9922465"/>
              <a:gd name="connsiteY2014" fmla="*/ 855263 h 1934496"/>
              <a:gd name="connsiteX2015" fmla="*/ 7745822 w 9922465"/>
              <a:gd name="connsiteY2015" fmla="*/ 855263 h 1934496"/>
              <a:gd name="connsiteX2016" fmla="*/ 7801014 w 9922465"/>
              <a:gd name="connsiteY2016" fmla="*/ 910454 h 1934496"/>
              <a:gd name="connsiteX2017" fmla="*/ 7745822 w 9922465"/>
              <a:gd name="connsiteY2017" fmla="*/ 965645 h 1934496"/>
              <a:gd name="connsiteX2018" fmla="*/ 7690630 w 9922465"/>
              <a:gd name="connsiteY2018" fmla="*/ 910454 h 1934496"/>
              <a:gd name="connsiteX2019" fmla="*/ 7745822 w 9922465"/>
              <a:gd name="connsiteY2019" fmla="*/ 855263 h 1934496"/>
              <a:gd name="connsiteX2020" fmla="*/ 7608849 w 9922465"/>
              <a:gd name="connsiteY2020" fmla="*/ 855263 h 1934496"/>
              <a:gd name="connsiteX2021" fmla="*/ 7664041 w 9922465"/>
              <a:gd name="connsiteY2021" fmla="*/ 910454 h 1934496"/>
              <a:gd name="connsiteX2022" fmla="*/ 7608849 w 9922465"/>
              <a:gd name="connsiteY2022" fmla="*/ 965645 h 1934496"/>
              <a:gd name="connsiteX2023" fmla="*/ 7553657 w 9922465"/>
              <a:gd name="connsiteY2023" fmla="*/ 910454 h 1934496"/>
              <a:gd name="connsiteX2024" fmla="*/ 7608849 w 9922465"/>
              <a:gd name="connsiteY2024" fmla="*/ 855263 h 1934496"/>
              <a:gd name="connsiteX2025" fmla="*/ 7481895 w 9922465"/>
              <a:gd name="connsiteY2025" fmla="*/ 855263 h 1934496"/>
              <a:gd name="connsiteX2026" fmla="*/ 7537087 w 9922465"/>
              <a:gd name="connsiteY2026" fmla="*/ 910454 h 1934496"/>
              <a:gd name="connsiteX2027" fmla="*/ 7481895 w 9922465"/>
              <a:gd name="connsiteY2027" fmla="*/ 965645 h 1934496"/>
              <a:gd name="connsiteX2028" fmla="*/ 7426703 w 9922465"/>
              <a:gd name="connsiteY2028" fmla="*/ 910454 h 1934496"/>
              <a:gd name="connsiteX2029" fmla="*/ 7481895 w 9922465"/>
              <a:gd name="connsiteY2029" fmla="*/ 855263 h 1934496"/>
              <a:gd name="connsiteX2030" fmla="*/ 7341578 w 9922465"/>
              <a:gd name="connsiteY2030" fmla="*/ 855263 h 1934496"/>
              <a:gd name="connsiteX2031" fmla="*/ 7396770 w 9922465"/>
              <a:gd name="connsiteY2031" fmla="*/ 910454 h 1934496"/>
              <a:gd name="connsiteX2032" fmla="*/ 7341578 w 9922465"/>
              <a:gd name="connsiteY2032" fmla="*/ 965645 h 1934496"/>
              <a:gd name="connsiteX2033" fmla="*/ 7286386 w 9922465"/>
              <a:gd name="connsiteY2033" fmla="*/ 910454 h 1934496"/>
              <a:gd name="connsiteX2034" fmla="*/ 7341578 w 9922465"/>
              <a:gd name="connsiteY2034" fmla="*/ 855263 h 1934496"/>
              <a:gd name="connsiteX2035" fmla="*/ 7211285 w 9922465"/>
              <a:gd name="connsiteY2035" fmla="*/ 855263 h 1934496"/>
              <a:gd name="connsiteX2036" fmla="*/ 7266477 w 9922465"/>
              <a:gd name="connsiteY2036" fmla="*/ 910454 h 1934496"/>
              <a:gd name="connsiteX2037" fmla="*/ 7211285 w 9922465"/>
              <a:gd name="connsiteY2037" fmla="*/ 965645 h 1934496"/>
              <a:gd name="connsiteX2038" fmla="*/ 7156093 w 9922465"/>
              <a:gd name="connsiteY2038" fmla="*/ 910454 h 1934496"/>
              <a:gd name="connsiteX2039" fmla="*/ 7211285 w 9922465"/>
              <a:gd name="connsiteY2039" fmla="*/ 855263 h 1934496"/>
              <a:gd name="connsiteX2040" fmla="*/ 7080993 w 9922465"/>
              <a:gd name="connsiteY2040" fmla="*/ 855263 h 1934496"/>
              <a:gd name="connsiteX2041" fmla="*/ 7136185 w 9922465"/>
              <a:gd name="connsiteY2041" fmla="*/ 910454 h 1934496"/>
              <a:gd name="connsiteX2042" fmla="*/ 7080993 w 9922465"/>
              <a:gd name="connsiteY2042" fmla="*/ 965645 h 1934496"/>
              <a:gd name="connsiteX2043" fmla="*/ 7025801 w 9922465"/>
              <a:gd name="connsiteY2043" fmla="*/ 910454 h 1934496"/>
              <a:gd name="connsiteX2044" fmla="*/ 7080993 w 9922465"/>
              <a:gd name="connsiteY2044" fmla="*/ 855263 h 1934496"/>
              <a:gd name="connsiteX2045" fmla="*/ 6947357 w 9922465"/>
              <a:gd name="connsiteY2045" fmla="*/ 855263 h 1934496"/>
              <a:gd name="connsiteX2046" fmla="*/ 7002549 w 9922465"/>
              <a:gd name="connsiteY2046" fmla="*/ 910454 h 1934496"/>
              <a:gd name="connsiteX2047" fmla="*/ 6947357 w 9922465"/>
              <a:gd name="connsiteY2047" fmla="*/ 965645 h 1934496"/>
              <a:gd name="connsiteX2048" fmla="*/ 6892165 w 9922465"/>
              <a:gd name="connsiteY2048" fmla="*/ 910454 h 1934496"/>
              <a:gd name="connsiteX2049" fmla="*/ 6947357 w 9922465"/>
              <a:gd name="connsiteY2049" fmla="*/ 855263 h 1934496"/>
              <a:gd name="connsiteX2050" fmla="*/ 6817063 w 9922465"/>
              <a:gd name="connsiteY2050" fmla="*/ 855263 h 1934496"/>
              <a:gd name="connsiteX2051" fmla="*/ 6872255 w 9922465"/>
              <a:gd name="connsiteY2051" fmla="*/ 910454 h 1934496"/>
              <a:gd name="connsiteX2052" fmla="*/ 6817063 w 9922465"/>
              <a:gd name="connsiteY2052" fmla="*/ 965645 h 1934496"/>
              <a:gd name="connsiteX2053" fmla="*/ 6761871 w 9922465"/>
              <a:gd name="connsiteY2053" fmla="*/ 910454 h 1934496"/>
              <a:gd name="connsiteX2054" fmla="*/ 6817063 w 9922465"/>
              <a:gd name="connsiteY2054" fmla="*/ 855263 h 1934496"/>
              <a:gd name="connsiteX2055" fmla="*/ 6683430 w 9922465"/>
              <a:gd name="connsiteY2055" fmla="*/ 855263 h 1934496"/>
              <a:gd name="connsiteX2056" fmla="*/ 6738622 w 9922465"/>
              <a:gd name="connsiteY2056" fmla="*/ 910454 h 1934496"/>
              <a:gd name="connsiteX2057" fmla="*/ 6683430 w 9922465"/>
              <a:gd name="connsiteY2057" fmla="*/ 965645 h 1934496"/>
              <a:gd name="connsiteX2058" fmla="*/ 6628238 w 9922465"/>
              <a:gd name="connsiteY2058" fmla="*/ 910454 h 1934496"/>
              <a:gd name="connsiteX2059" fmla="*/ 6683430 w 9922465"/>
              <a:gd name="connsiteY2059" fmla="*/ 855263 h 1934496"/>
              <a:gd name="connsiteX2060" fmla="*/ 6553135 w 9922465"/>
              <a:gd name="connsiteY2060" fmla="*/ 855263 h 1934496"/>
              <a:gd name="connsiteX2061" fmla="*/ 6608327 w 9922465"/>
              <a:gd name="connsiteY2061" fmla="*/ 910454 h 1934496"/>
              <a:gd name="connsiteX2062" fmla="*/ 6553135 w 9922465"/>
              <a:gd name="connsiteY2062" fmla="*/ 965645 h 1934496"/>
              <a:gd name="connsiteX2063" fmla="*/ 6497943 w 9922465"/>
              <a:gd name="connsiteY2063" fmla="*/ 910454 h 1934496"/>
              <a:gd name="connsiteX2064" fmla="*/ 6553135 w 9922465"/>
              <a:gd name="connsiteY2064" fmla="*/ 855263 h 1934496"/>
              <a:gd name="connsiteX2065" fmla="*/ 6419502 w 9922465"/>
              <a:gd name="connsiteY2065" fmla="*/ 855263 h 1934496"/>
              <a:gd name="connsiteX2066" fmla="*/ 6474694 w 9922465"/>
              <a:gd name="connsiteY2066" fmla="*/ 910454 h 1934496"/>
              <a:gd name="connsiteX2067" fmla="*/ 6419502 w 9922465"/>
              <a:gd name="connsiteY2067" fmla="*/ 965645 h 1934496"/>
              <a:gd name="connsiteX2068" fmla="*/ 6364310 w 9922465"/>
              <a:gd name="connsiteY2068" fmla="*/ 910454 h 1934496"/>
              <a:gd name="connsiteX2069" fmla="*/ 6419502 w 9922465"/>
              <a:gd name="connsiteY2069" fmla="*/ 855263 h 1934496"/>
              <a:gd name="connsiteX2070" fmla="*/ 6289206 w 9922465"/>
              <a:gd name="connsiteY2070" fmla="*/ 855263 h 1934496"/>
              <a:gd name="connsiteX2071" fmla="*/ 6344398 w 9922465"/>
              <a:gd name="connsiteY2071" fmla="*/ 910454 h 1934496"/>
              <a:gd name="connsiteX2072" fmla="*/ 6289206 w 9922465"/>
              <a:gd name="connsiteY2072" fmla="*/ 965645 h 1934496"/>
              <a:gd name="connsiteX2073" fmla="*/ 6234014 w 9922465"/>
              <a:gd name="connsiteY2073" fmla="*/ 910454 h 1934496"/>
              <a:gd name="connsiteX2074" fmla="*/ 6289206 w 9922465"/>
              <a:gd name="connsiteY2074" fmla="*/ 855263 h 1934496"/>
              <a:gd name="connsiteX2075" fmla="*/ 6155571 w 9922465"/>
              <a:gd name="connsiteY2075" fmla="*/ 855263 h 1934496"/>
              <a:gd name="connsiteX2076" fmla="*/ 6210763 w 9922465"/>
              <a:gd name="connsiteY2076" fmla="*/ 910454 h 1934496"/>
              <a:gd name="connsiteX2077" fmla="*/ 6155571 w 9922465"/>
              <a:gd name="connsiteY2077" fmla="*/ 965645 h 1934496"/>
              <a:gd name="connsiteX2078" fmla="*/ 6100379 w 9922465"/>
              <a:gd name="connsiteY2078" fmla="*/ 910454 h 1934496"/>
              <a:gd name="connsiteX2079" fmla="*/ 6155571 w 9922465"/>
              <a:gd name="connsiteY2079" fmla="*/ 855263 h 1934496"/>
              <a:gd name="connsiteX2080" fmla="*/ 6021938 w 9922465"/>
              <a:gd name="connsiteY2080" fmla="*/ 855263 h 1934496"/>
              <a:gd name="connsiteX2081" fmla="*/ 6077130 w 9922465"/>
              <a:gd name="connsiteY2081" fmla="*/ 910454 h 1934496"/>
              <a:gd name="connsiteX2082" fmla="*/ 6021938 w 9922465"/>
              <a:gd name="connsiteY2082" fmla="*/ 965645 h 1934496"/>
              <a:gd name="connsiteX2083" fmla="*/ 5966746 w 9922465"/>
              <a:gd name="connsiteY2083" fmla="*/ 910454 h 1934496"/>
              <a:gd name="connsiteX2084" fmla="*/ 6021938 w 9922465"/>
              <a:gd name="connsiteY2084" fmla="*/ 855263 h 1934496"/>
              <a:gd name="connsiteX2085" fmla="*/ 5884961 w 9922465"/>
              <a:gd name="connsiteY2085" fmla="*/ 855263 h 1934496"/>
              <a:gd name="connsiteX2086" fmla="*/ 5940153 w 9922465"/>
              <a:gd name="connsiteY2086" fmla="*/ 910454 h 1934496"/>
              <a:gd name="connsiteX2087" fmla="*/ 5884961 w 9922465"/>
              <a:gd name="connsiteY2087" fmla="*/ 965645 h 1934496"/>
              <a:gd name="connsiteX2088" fmla="*/ 5829769 w 9922465"/>
              <a:gd name="connsiteY2088" fmla="*/ 910454 h 1934496"/>
              <a:gd name="connsiteX2089" fmla="*/ 5884961 w 9922465"/>
              <a:gd name="connsiteY2089" fmla="*/ 855263 h 1934496"/>
              <a:gd name="connsiteX2090" fmla="*/ 5754668 w 9922465"/>
              <a:gd name="connsiteY2090" fmla="*/ 855263 h 1934496"/>
              <a:gd name="connsiteX2091" fmla="*/ 5809860 w 9922465"/>
              <a:gd name="connsiteY2091" fmla="*/ 910454 h 1934496"/>
              <a:gd name="connsiteX2092" fmla="*/ 5754668 w 9922465"/>
              <a:gd name="connsiteY2092" fmla="*/ 965645 h 1934496"/>
              <a:gd name="connsiteX2093" fmla="*/ 5699476 w 9922465"/>
              <a:gd name="connsiteY2093" fmla="*/ 910454 h 1934496"/>
              <a:gd name="connsiteX2094" fmla="*/ 5754668 w 9922465"/>
              <a:gd name="connsiteY2094" fmla="*/ 855263 h 1934496"/>
              <a:gd name="connsiteX2095" fmla="*/ 5621034 w 9922465"/>
              <a:gd name="connsiteY2095" fmla="*/ 855263 h 1934496"/>
              <a:gd name="connsiteX2096" fmla="*/ 5676226 w 9922465"/>
              <a:gd name="connsiteY2096" fmla="*/ 910454 h 1934496"/>
              <a:gd name="connsiteX2097" fmla="*/ 5621034 w 9922465"/>
              <a:gd name="connsiteY2097" fmla="*/ 965645 h 1934496"/>
              <a:gd name="connsiteX2098" fmla="*/ 5565842 w 9922465"/>
              <a:gd name="connsiteY2098" fmla="*/ 910454 h 1934496"/>
              <a:gd name="connsiteX2099" fmla="*/ 5621034 w 9922465"/>
              <a:gd name="connsiteY2099" fmla="*/ 855263 h 1934496"/>
              <a:gd name="connsiteX2100" fmla="*/ 5487399 w 9922465"/>
              <a:gd name="connsiteY2100" fmla="*/ 855263 h 1934496"/>
              <a:gd name="connsiteX2101" fmla="*/ 5542591 w 9922465"/>
              <a:gd name="connsiteY2101" fmla="*/ 910454 h 1934496"/>
              <a:gd name="connsiteX2102" fmla="*/ 5487399 w 9922465"/>
              <a:gd name="connsiteY2102" fmla="*/ 965645 h 1934496"/>
              <a:gd name="connsiteX2103" fmla="*/ 5432207 w 9922465"/>
              <a:gd name="connsiteY2103" fmla="*/ 910454 h 1934496"/>
              <a:gd name="connsiteX2104" fmla="*/ 5487399 w 9922465"/>
              <a:gd name="connsiteY2104" fmla="*/ 855263 h 1934496"/>
              <a:gd name="connsiteX2105" fmla="*/ 5357105 w 9922465"/>
              <a:gd name="connsiteY2105" fmla="*/ 855263 h 1934496"/>
              <a:gd name="connsiteX2106" fmla="*/ 5412297 w 9922465"/>
              <a:gd name="connsiteY2106" fmla="*/ 910454 h 1934496"/>
              <a:gd name="connsiteX2107" fmla="*/ 5357105 w 9922465"/>
              <a:gd name="connsiteY2107" fmla="*/ 965645 h 1934496"/>
              <a:gd name="connsiteX2108" fmla="*/ 5301913 w 9922465"/>
              <a:gd name="connsiteY2108" fmla="*/ 910454 h 1934496"/>
              <a:gd name="connsiteX2109" fmla="*/ 5357105 w 9922465"/>
              <a:gd name="connsiteY2109" fmla="*/ 855263 h 1934496"/>
              <a:gd name="connsiteX2110" fmla="*/ 5223472 w 9922465"/>
              <a:gd name="connsiteY2110" fmla="*/ 855263 h 1934496"/>
              <a:gd name="connsiteX2111" fmla="*/ 5278664 w 9922465"/>
              <a:gd name="connsiteY2111" fmla="*/ 910454 h 1934496"/>
              <a:gd name="connsiteX2112" fmla="*/ 5223472 w 9922465"/>
              <a:gd name="connsiteY2112" fmla="*/ 965645 h 1934496"/>
              <a:gd name="connsiteX2113" fmla="*/ 5168280 w 9922465"/>
              <a:gd name="connsiteY2113" fmla="*/ 910454 h 1934496"/>
              <a:gd name="connsiteX2114" fmla="*/ 5223472 w 9922465"/>
              <a:gd name="connsiteY2114" fmla="*/ 855263 h 1934496"/>
              <a:gd name="connsiteX2115" fmla="*/ 5093178 w 9922465"/>
              <a:gd name="connsiteY2115" fmla="*/ 855263 h 1934496"/>
              <a:gd name="connsiteX2116" fmla="*/ 5148370 w 9922465"/>
              <a:gd name="connsiteY2116" fmla="*/ 910454 h 1934496"/>
              <a:gd name="connsiteX2117" fmla="*/ 5093178 w 9922465"/>
              <a:gd name="connsiteY2117" fmla="*/ 965645 h 1934496"/>
              <a:gd name="connsiteX2118" fmla="*/ 5037986 w 9922465"/>
              <a:gd name="connsiteY2118" fmla="*/ 910454 h 1934496"/>
              <a:gd name="connsiteX2119" fmla="*/ 5093178 w 9922465"/>
              <a:gd name="connsiteY2119" fmla="*/ 855263 h 1934496"/>
              <a:gd name="connsiteX2120" fmla="*/ 4161076 w 9922465"/>
              <a:gd name="connsiteY2120" fmla="*/ 855263 h 1934496"/>
              <a:gd name="connsiteX2121" fmla="*/ 4216268 w 9922465"/>
              <a:gd name="connsiteY2121" fmla="*/ 910454 h 1934496"/>
              <a:gd name="connsiteX2122" fmla="*/ 4161076 w 9922465"/>
              <a:gd name="connsiteY2122" fmla="*/ 965645 h 1934496"/>
              <a:gd name="connsiteX2123" fmla="*/ 4105884 w 9922465"/>
              <a:gd name="connsiteY2123" fmla="*/ 910454 h 1934496"/>
              <a:gd name="connsiteX2124" fmla="*/ 4161076 w 9922465"/>
              <a:gd name="connsiteY2124" fmla="*/ 855263 h 1934496"/>
              <a:gd name="connsiteX2125" fmla="*/ 3633218 w 9922465"/>
              <a:gd name="connsiteY2125" fmla="*/ 855263 h 1934496"/>
              <a:gd name="connsiteX2126" fmla="*/ 3688410 w 9922465"/>
              <a:gd name="connsiteY2126" fmla="*/ 910454 h 1934496"/>
              <a:gd name="connsiteX2127" fmla="*/ 3633218 w 9922465"/>
              <a:gd name="connsiteY2127" fmla="*/ 965645 h 1934496"/>
              <a:gd name="connsiteX2128" fmla="*/ 3578026 w 9922465"/>
              <a:gd name="connsiteY2128" fmla="*/ 910454 h 1934496"/>
              <a:gd name="connsiteX2129" fmla="*/ 3633218 w 9922465"/>
              <a:gd name="connsiteY2129" fmla="*/ 855263 h 1934496"/>
              <a:gd name="connsiteX2130" fmla="*/ 3499586 w 9922465"/>
              <a:gd name="connsiteY2130" fmla="*/ 855263 h 1934496"/>
              <a:gd name="connsiteX2131" fmla="*/ 3554778 w 9922465"/>
              <a:gd name="connsiteY2131" fmla="*/ 910454 h 1934496"/>
              <a:gd name="connsiteX2132" fmla="*/ 3499586 w 9922465"/>
              <a:gd name="connsiteY2132" fmla="*/ 965645 h 1934496"/>
              <a:gd name="connsiteX2133" fmla="*/ 3444394 w 9922465"/>
              <a:gd name="connsiteY2133" fmla="*/ 910454 h 1934496"/>
              <a:gd name="connsiteX2134" fmla="*/ 3499586 w 9922465"/>
              <a:gd name="connsiteY2134" fmla="*/ 855263 h 1934496"/>
              <a:gd name="connsiteX2135" fmla="*/ 3369290 w 9922465"/>
              <a:gd name="connsiteY2135" fmla="*/ 855263 h 1934496"/>
              <a:gd name="connsiteX2136" fmla="*/ 3424482 w 9922465"/>
              <a:gd name="connsiteY2136" fmla="*/ 910454 h 1934496"/>
              <a:gd name="connsiteX2137" fmla="*/ 3369290 w 9922465"/>
              <a:gd name="connsiteY2137" fmla="*/ 965645 h 1934496"/>
              <a:gd name="connsiteX2138" fmla="*/ 3314098 w 9922465"/>
              <a:gd name="connsiteY2138" fmla="*/ 910454 h 1934496"/>
              <a:gd name="connsiteX2139" fmla="*/ 3369290 w 9922465"/>
              <a:gd name="connsiteY2139" fmla="*/ 855263 h 1934496"/>
              <a:gd name="connsiteX2140" fmla="*/ 2834849 w 9922465"/>
              <a:gd name="connsiteY2140" fmla="*/ 855263 h 1934496"/>
              <a:gd name="connsiteX2141" fmla="*/ 2890040 w 9922465"/>
              <a:gd name="connsiteY2141" fmla="*/ 910454 h 1934496"/>
              <a:gd name="connsiteX2142" fmla="*/ 2834849 w 9922465"/>
              <a:gd name="connsiteY2142" fmla="*/ 965645 h 1934496"/>
              <a:gd name="connsiteX2143" fmla="*/ 2779655 w 9922465"/>
              <a:gd name="connsiteY2143" fmla="*/ 910454 h 1934496"/>
              <a:gd name="connsiteX2144" fmla="*/ 2834849 w 9922465"/>
              <a:gd name="connsiteY2144" fmla="*/ 855263 h 1934496"/>
              <a:gd name="connsiteX2145" fmla="*/ 2707895 w 9922465"/>
              <a:gd name="connsiteY2145" fmla="*/ 855263 h 1934496"/>
              <a:gd name="connsiteX2146" fmla="*/ 2763087 w 9922465"/>
              <a:gd name="connsiteY2146" fmla="*/ 910454 h 1934496"/>
              <a:gd name="connsiteX2147" fmla="*/ 2707895 w 9922465"/>
              <a:gd name="connsiteY2147" fmla="*/ 965645 h 1934496"/>
              <a:gd name="connsiteX2148" fmla="*/ 2652702 w 9922465"/>
              <a:gd name="connsiteY2148" fmla="*/ 910454 h 1934496"/>
              <a:gd name="connsiteX2149" fmla="*/ 2707895 w 9922465"/>
              <a:gd name="connsiteY2149" fmla="*/ 855263 h 1934496"/>
              <a:gd name="connsiteX2150" fmla="*/ 2570919 w 9922465"/>
              <a:gd name="connsiteY2150" fmla="*/ 855263 h 1934496"/>
              <a:gd name="connsiteX2151" fmla="*/ 2626110 w 9922465"/>
              <a:gd name="connsiteY2151" fmla="*/ 910454 h 1934496"/>
              <a:gd name="connsiteX2152" fmla="*/ 2570919 w 9922465"/>
              <a:gd name="connsiteY2152" fmla="*/ 965645 h 1934496"/>
              <a:gd name="connsiteX2153" fmla="*/ 2515724 w 9922465"/>
              <a:gd name="connsiteY2153" fmla="*/ 910454 h 1934496"/>
              <a:gd name="connsiteX2154" fmla="*/ 2570919 w 9922465"/>
              <a:gd name="connsiteY2154" fmla="*/ 855263 h 1934496"/>
              <a:gd name="connsiteX2155" fmla="*/ 2303651 w 9922465"/>
              <a:gd name="connsiteY2155" fmla="*/ 855263 h 1934496"/>
              <a:gd name="connsiteX2156" fmla="*/ 2358843 w 9922465"/>
              <a:gd name="connsiteY2156" fmla="*/ 910454 h 1934496"/>
              <a:gd name="connsiteX2157" fmla="*/ 2303651 w 9922465"/>
              <a:gd name="connsiteY2157" fmla="*/ 965645 h 1934496"/>
              <a:gd name="connsiteX2158" fmla="*/ 2248461 w 9922465"/>
              <a:gd name="connsiteY2158" fmla="*/ 910454 h 1934496"/>
              <a:gd name="connsiteX2159" fmla="*/ 2303651 w 9922465"/>
              <a:gd name="connsiteY2159" fmla="*/ 855263 h 1934496"/>
              <a:gd name="connsiteX2160" fmla="*/ 2173362 w 9922465"/>
              <a:gd name="connsiteY2160" fmla="*/ 855263 h 1934496"/>
              <a:gd name="connsiteX2161" fmla="*/ 2228554 w 9922465"/>
              <a:gd name="connsiteY2161" fmla="*/ 910454 h 1934496"/>
              <a:gd name="connsiteX2162" fmla="*/ 2173362 w 9922465"/>
              <a:gd name="connsiteY2162" fmla="*/ 965645 h 1934496"/>
              <a:gd name="connsiteX2163" fmla="*/ 2118170 w 9922465"/>
              <a:gd name="connsiteY2163" fmla="*/ 910454 h 1934496"/>
              <a:gd name="connsiteX2164" fmla="*/ 2173362 w 9922465"/>
              <a:gd name="connsiteY2164" fmla="*/ 855263 h 1934496"/>
              <a:gd name="connsiteX2165" fmla="*/ 2039725 w 9922465"/>
              <a:gd name="connsiteY2165" fmla="*/ 855263 h 1934496"/>
              <a:gd name="connsiteX2166" fmla="*/ 2094919 w 9922465"/>
              <a:gd name="connsiteY2166" fmla="*/ 910454 h 1934496"/>
              <a:gd name="connsiteX2167" fmla="*/ 2039725 w 9922465"/>
              <a:gd name="connsiteY2167" fmla="*/ 965645 h 1934496"/>
              <a:gd name="connsiteX2168" fmla="*/ 1984533 w 9922465"/>
              <a:gd name="connsiteY2168" fmla="*/ 910454 h 1934496"/>
              <a:gd name="connsiteX2169" fmla="*/ 2039725 w 9922465"/>
              <a:gd name="connsiteY2169" fmla="*/ 855263 h 1934496"/>
              <a:gd name="connsiteX2170" fmla="*/ 1909428 w 9922465"/>
              <a:gd name="connsiteY2170" fmla="*/ 855263 h 1934496"/>
              <a:gd name="connsiteX2171" fmla="*/ 1964620 w 9922465"/>
              <a:gd name="connsiteY2171" fmla="*/ 910454 h 1934496"/>
              <a:gd name="connsiteX2172" fmla="*/ 1909428 w 9922465"/>
              <a:gd name="connsiteY2172" fmla="*/ 965645 h 1934496"/>
              <a:gd name="connsiteX2173" fmla="*/ 1854234 w 9922465"/>
              <a:gd name="connsiteY2173" fmla="*/ 910454 h 1934496"/>
              <a:gd name="connsiteX2174" fmla="*/ 1909428 w 9922465"/>
              <a:gd name="connsiteY2174" fmla="*/ 855263 h 1934496"/>
              <a:gd name="connsiteX2175" fmla="*/ 1779130 w 9922465"/>
              <a:gd name="connsiteY2175" fmla="*/ 855263 h 1934496"/>
              <a:gd name="connsiteX2176" fmla="*/ 1834324 w 9922465"/>
              <a:gd name="connsiteY2176" fmla="*/ 910454 h 1934496"/>
              <a:gd name="connsiteX2177" fmla="*/ 1779130 w 9922465"/>
              <a:gd name="connsiteY2177" fmla="*/ 965645 h 1934496"/>
              <a:gd name="connsiteX2178" fmla="*/ 1723937 w 9922465"/>
              <a:gd name="connsiteY2178" fmla="*/ 910454 h 1934496"/>
              <a:gd name="connsiteX2179" fmla="*/ 1779130 w 9922465"/>
              <a:gd name="connsiteY2179" fmla="*/ 855263 h 1934496"/>
              <a:gd name="connsiteX2180" fmla="*/ 1645495 w 9922465"/>
              <a:gd name="connsiteY2180" fmla="*/ 855263 h 1934496"/>
              <a:gd name="connsiteX2181" fmla="*/ 1700693 w 9922465"/>
              <a:gd name="connsiteY2181" fmla="*/ 910454 h 1934496"/>
              <a:gd name="connsiteX2182" fmla="*/ 1645495 w 9922465"/>
              <a:gd name="connsiteY2182" fmla="*/ 965645 h 1934496"/>
              <a:gd name="connsiteX2183" fmla="*/ 1590303 w 9922465"/>
              <a:gd name="connsiteY2183" fmla="*/ 910454 h 1934496"/>
              <a:gd name="connsiteX2184" fmla="*/ 1645495 w 9922465"/>
              <a:gd name="connsiteY2184" fmla="*/ 855263 h 1934496"/>
              <a:gd name="connsiteX2185" fmla="*/ 1515206 w 9922465"/>
              <a:gd name="connsiteY2185" fmla="*/ 855263 h 1934496"/>
              <a:gd name="connsiteX2186" fmla="*/ 1570391 w 9922465"/>
              <a:gd name="connsiteY2186" fmla="*/ 910454 h 1934496"/>
              <a:gd name="connsiteX2187" fmla="*/ 1515206 w 9922465"/>
              <a:gd name="connsiteY2187" fmla="*/ 965645 h 1934496"/>
              <a:gd name="connsiteX2188" fmla="*/ 1460009 w 9922465"/>
              <a:gd name="connsiteY2188" fmla="*/ 910454 h 1934496"/>
              <a:gd name="connsiteX2189" fmla="*/ 1515206 w 9922465"/>
              <a:gd name="connsiteY2189" fmla="*/ 855263 h 1934496"/>
              <a:gd name="connsiteX2190" fmla="*/ 1381566 w 9922465"/>
              <a:gd name="connsiteY2190" fmla="*/ 855263 h 1934496"/>
              <a:gd name="connsiteX2191" fmla="*/ 1436758 w 9922465"/>
              <a:gd name="connsiteY2191" fmla="*/ 910454 h 1934496"/>
              <a:gd name="connsiteX2192" fmla="*/ 1381566 w 9922465"/>
              <a:gd name="connsiteY2192" fmla="*/ 965645 h 1934496"/>
              <a:gd name="connsiteX2193" fmla="*/ 1326375 w 9922465"/>
              <a:gd name="connsiteY2193" fmla="*/ 910454 h 1934496"/>
              <a:gd name="connsiteX2194" fmla="*/ 1381566 w 9922465"/>
              <a:gd name="connsiteY2194" fmla="*/ 855263 h 1934496"/>
              <a:gd name="connsiteX2195" fmla="*/ 1251271 w 9922465"/>
              <a:gd name="connsiteY2195" fmla="*/ 855263 h 1934496"/>
              <a:gd name="connsiteX2196" fmla="*/ 1306464 w 9922465"/>
              <a:gd name="connsiteY2196" fmla="*/ 910454 h 1934496"/>
              <a:gd name="connsiteX2197" fmla="*/ 1251271 w 9922465"/>
              <a:gd name="connsiteY2197" fmla="*/ 965645 h 1934496"/>
              <a:gd name="connsiteX2198" fmla="*/ 1196078 w 9922465"/>
              <a:gd name="connsiteY2198" fmla="*/ 910454 h 1934496"/>
              <a:gd name="connsiteX2199" fmla="*/ 1251271 w 9922465"/>
              <a:gd name="connsiteY2199" fmla="*/ 855263 h 1934496"/>
              <a:gd name="connsiteX2200" fmla="*/ 1117634 w 9922465"/>
              <a:gd name="connsiteY2200" fmla="*/ 855263 h 1934496"/>
              <a:gd name="connsiteX2201" fmla="*/ 1172828 w 9922465"/>
              <a:gd name="connsiteY2201" fmla="*/ 910454 h 1934496"/>
              <a:gd name="connsiteX2202" fmla="*/ 1117634 w 9922465"/>
              <a:gd name="connsiteY2202" fmla="*/ 965645 h 1934496"/>
              <a:gd name="connsiteX2203" fmla="*/ 1062440 w 9922465"/>
              <a:gd name="connsiteY2203" fmla="*/ 910454 h 1934496"/>
              <a:gd name="connsiteX2204" fmla="*/ 1117634 w 9922465"/>
              <a:gd name="connsiteY2204" fmla="*/ 855263 h 1934496"/>
              <a:gd name="connsiteX2205" fmla="*/ 980654 w 9922465"/>
              <a:gd name="connsiteY2205" fmla="*/ 855263 h 1934496"/>
              <a:gd name="connsiteX2206" fmla="*/ 1035848 w 9922465"/>
              <a:gd name="connsiteY2206" fmla="*/ 910454 h 1934496"/>
              <a:gd name="connsiteX2207" fmla="*/ 980654 w 9922465"/>
              <a:gd name="connsiteY2207" fmla="*/ 965645 h 1934496"/>
              <a:gd name="connsiteX2208" fmla="*/ 925460 w 9922465"/>
              <a:gd name="connsiteY2208" fmla="*/ 910454 h 1934496"/>
              <a:gd name="connsiteX2209" fmla="*/ 980654 w 9922465"/>
              <a:gd name="connsiteY2209" fmla="*/ 855263 h 1934496"/>
              <a:gd name="connsiteX2210" fmla="*/ 847016 w 9922465"/>
              <a:gd name="connsiteY2210" fmla="*/ 855263 h 1934496"/>
              <a:gd name="connsiteX2211" fmla="*/ 902209 w 9922465"/>
              <a:gd name="connsiteY2211" fmla="*/ 910454 h 1934496"/>
              <a:gd name="connsiteX2212" fmla="*/ 847016 w 9922465"/>
              <a:gd name="connsiteY2212" fmla="*/ 965645 h 1934496"/>
              <a:gd name="connsiteX2213" fmla="*/ 791816 w 9922465"/>
              <a:gd name="connsiteY2213" fmla="*/ 910454 h 1934496"/>
              <a:gd name="connsiteX2214" fmla="*/ 847016 w 9922465"/>
              <a:gd name="connsiteY2214" fmla="*/ 855263 h 1934496"/>
              <a:gd name="connsiteX2215" fmla="*/ 716709 w 9922465"/>
              <a:gd name="connsiteY2215" fmla="*/ 855263 h 1934496"/>
              <a:gd name="connsiteX2216" fmla="*/ 771907 w 9922465"/>
              <a:gd name="connsiteY2216" fmla="*/ 910454 h 1934496"/>
              <a:gd name="connsiteX2217" fmla="*/ 716709 w 9922465"/>
              <a:gd name="connsiteY2217" fmla="*/ 965645 h 1934496"/>
              <a:gd name="connsiteX2218" fmla="*/ 661522 w 9922465"/>
              <a:gd name="connsiteY2218" fmla="*/ 910454 h 1934496"/>
              <a:gd name="connsiteX2219" fmla="*/ 716709 w 9922465"/>
              <a:gd name="connsiteY2219" fmla="*/ 855263 h 1934496"/>
              <a:gd name="connsiteX2220" fmla="*/ 583074 w 9922465"/>
              <a:gd name="connsiteY2220" fmla="*/ 855263 h 1934496"/>
              <a:gd name="connsiteX2221" fmla="*/ 638268 w 9922465"/>
              <a:gd name="connsiteY2221" fmla="*/ 910454 h 1934496"/>
              <a:gd name="connsiteX2222" fmla="*/ 583074 w 9922465"/>
              <a:gd name="connsiteY2222" fmla="*/ 965645 h 1934496"/>
              <a:gd name="connsiteX2223" fmla="*/ 527881 w 9922465"/>
              <a:gd name="connsiteY2223" fmla="*/ 910454 h 1934496"/>
              <a:gd name="connsiteX2224" fmla="*/ 583074 w 9922465"/>
              <a:gd name="connsiteY2224" fmla="*/ 855263 h 1934496"/>
              <a:gd name="connsiteX2225" fmla="*/ 9867273 w 9922465"/>
              <a:gd name="connsiteY2225" fmla="*/ 855260 h 1934496"/>
              <a:gd name="connsiteX2226" fmla="*/ 9922465 w 9922465"/>
              <a:gd name="connsiteY2226" fmla="*/ 910451 h 1934496"/>
              <a:gd name="connsiteX2227" fmla="*/ 9867273 w 9922465"/>
              <a:gd name="connsiteY2227" fmla="*/ 965642 h 1934496"/>
              <a:gd name="connsiteX2228" fmla="*/ 9812081 w 9922465"/>
              <a:gd name="connsiteY2228" fmla="*/ 910451 h 1934496"/>
              <a:gd name="connsiteX2229" fmla="*/ 9867273 w 9922465"/>
              <a:gd name="connsiteY2229" fmla="*/ 855260 h 1934496"/>
              <a:gd name="connsiteX2230" fmla="*/ 9733637 w 9922465"/>
              <a:gd name="connsiteY2230" fmla="*/ 855260 h 1934496"/>
              <a:gd name="connsiteX2231" fmla="*/ 9788829 w 9922465"/>
              <a:gd name="connsiteY2231" fmla="*/ 910451 h 1934496"/>
              <a:gd name="connsiteX2232" fmla="*/ 9733637 w 9922465"/>
              <a:gd name="connsiteY2232" fmla="*/ 965642 h 1934496"/>
              <a:gd name="connsiteX2233" fmla="*/ 9678445 w 9922465"/>
              <a:gd name="connsiteY2233" fmla="*/ 910451 h 1934496"/>
              <a:gd name="connsiteX2234" fmla="*/ 9733637 w 9922465"/>
              <a:gd name="connsiteY2234" fmla="*/ 855260 h 1934496"/>
              <a:gd name="connsiteX2235" fmla="*/ 9603343 w 9922465"/>
              <a:gd name="connsiteY2235" fmla="*/ 855260 h 1934496"/>
              <a:gd name="connsiteX2236" fmla="*/ 9658535 w 9922465"/>
              <a:gd name="connsiteY2236" fmla="*/ 910451 h 1934496"/>
              <a:gd name="connsiteX2237" fmla="*/ 9603343 w 9922465"/>
              <a:gd name="connsiteY2237" fmla="*/ 965642 h 1934496"/>
              <a:gd name="connsiteX2238" fmla="*/ 9548151 w 9922465"/>
              <a:gd name="connsiteY2238" fmla="*/ 910451 h 1934496"/>
              <a:gd name="connsiteX2239" fmla="*/ 9603343 w 9922465"/>
              <a:gd name="connsiteY2239" fmla="*/ 855260 h 1934496"/>
              <a:gd name="connsiteX2240" fmla="*/ 449429 w 9922465"/>
              <a:gd name="connsiteY2240" fmla="*/ 855260 h 1934496"/>
              <a:gd name="connsiteX2241" fmla="*/ 504621 w 9922465"/>
              <a:gd name="connsiteY2241" fmla="*/ 910451 h 1934496"/>
              <a:gd name="connsiteX2242" fmla="*/ 449429 w 9922465"/>
              <a:gd name="connsiteY2242" fmla="*/ 965642 h 1934496"/>
              <a:gd name="connsiteX2243" fmla="*/ 394234 w 9922465"/>
              <a:gd name="connsiteY2243" fmla="*/ 910451 h 1934496"/>
              <a:gd name="connsiteX2244" fmla="*/ 449429 w 9922465"/>
              <a:gd name="connsiteY2244" fmla="*/ 855260 h 1934496"/>
              <a:gd name="connsiteX2245" fmla="*/ 319132 w 9922465"/>
              <a:gd name="connsiteY2245" fmla="*/ 855260 h 1934496"/>
              <a:gd name="connsiteX2246" fmla="*/ 374326 w 9922465"/>
              <a:gd name="connsiteY2246" fmla="*/ 910451 h 1934496"/>
              <a:gd name="connsiteX2247" fmla="*/ 319132 w 9922465"/>
              <a:gd name="connsiteY2247" fmla="*/ 965642 h 1934496"/>
              <a:gd name="connsiteX2248" fmla="*/ 263940 w 9922465"/>
              <a:gd name="connsiteY2248" fmla="*/ 910451 h 1934496"/>
              <a:gd name="connsiteX2249" fmla="*/ 319132 w 9922465"/>
              <a:gd name="connsiteY2249" fmla="*/ 855260 h 1934496"/>
              <a:gd name="connsiteX2250" fmla="*/ 185499 w 9922465"/>
              <a:gd name="connsiteY2250" fmla="*/ 855260 h 1934496"/>
              <a:gd name="connsiteX2251" fmla="*/ 240690 w 9922465"/>
              <a:gd name="connsiteY2251" fmla="*/ 910451 h 1934496"/>
              <a:gd name="connsiteX2252" fmla="*/ 185499 w 9922465"/>
              <a:gd name="connsiteY2252" fmla="*/ 965642 h 1934496"/>
              <a:gd name="connsiteX2253" fmla="*/ 130308 w 9922465"/>
              <a:gd name="connsiteY2253" fmla="*/ 910451 h 1934496"/>
              <a:gd name="connsiteX2254" fmla="*/ 185499 w 9922465"/>
              <a:gd name="connsiteY2254" fmla="*/ 855260 h 1934496"/>
              <a:gd name="connsiteX2255" fmla="*/ 9733637 w 9922465"/>
              <a:gd name="connsiteY2255" fmla="*/ 724970 h 1934496"/>
              <a:gd name="connsiteX2256" fmla="*/ 9788829 w 9922465"/>
              <a:gd name="connsiteY2256" fmla="*/ 780161 h 1934496"/>
              <a:gd name="connsiteX2257" fmla="*/ 9733637 w 9922465"/>
              <a:gd name="connsiteY2257" fmla="*/ 835352 h 1934496"/>
              <a:gd name="connsiteX2258" fmla="*/ 9678445 w 9922465"/>
              <a:gd name="connsiteY2258" fmla="*/ 780161 h 1934496"/>
              <a:gd name="connsiteX2259" fmla="*/ 9733637 w 9922465"/>
              <a:gd name="connsiteY2259" fmla="*/ 724970 h 1934496"/>
              <a:gd name="connsiteX2260" fmla="*/ 9603344 w 9922465"/>
              <a:gd name="connsiteY2260" fmla="*/ 724970 h 1934496"/>
              <a:gd name="connsiteX2261" fmla="*/ 9658536 w 9922465"/>
              <a:gd name="connsiteY2261" fmla="*/ 780161 h 1934496"/>
              <a:gd name="connsiteX2262" fmla="*/ 9603344 w 9922465"/>
              <a:gd name="connsiteY2262" fmla="*/ 835352 h 1934496"/>
              <a:gd name="connsiteX2263" fmla="*/ 9548152 w 9922465"/>
              <a:gd name="connsiteY2263" fmla="*/ 780161 h 1934496"/>
              <a:gd name="connsiteX2264" fmla="*/ 9603344 w 9922465"/>
              <a:gd name="connsiteY2264" fmla="*/ 724970 h 1934496"/>
              <a:gd name="connsiteX2265" fmla="*/ 9469710 w 9922465"/>
              <a:gd name="connsiteY2265" fmla="*/ 724970 h 1934496"/>
              <a:gd name="connsiteX2266" fmla="*/ 9524902 w 9922465"/>
              <a:gd name="connsiteY2266" fmla="*/ 780161 h 1934496"/>
              <a:gd name="connsiteX2267" fmla="*/ 9469710 w 9922465"/>
              <a:gd name="connsiteY2267" fmla="*/ 835352 h 1934496"/>
              <a:gd name="connsiteX2268" fmla="*/ 9414518 w 9922465"/>
              <a:gd name="connsiteY2268" fmla="*/ 780161 h 1934496"/>
              <a:gd name="connsiteX2269" fmla="*/ 9469710 w 9922465"/>
              <a:gd name="connsiteY2269" fmla="*/ 724970 h 1934496"/>
              <a:gd name="connsiteX2270" fmla="*/ 9336075 w 9922465"/>
              <a:gd name="connsiteY2270" fmla="*/ 724970 h 1934496"/>
              <a:gd name="connsiteX2271" fmla="*/ 9391267 w 9922465"/>
              <a:gd name="connsiteY2271" fmla="*/ 780161 h 1934496"/>
              <a:gd name="connsiteX2272" fmla="*/ 9336075 w 9922465"/>
              <a:gd name="connsiteY2272" fmla="*/ 835352 h 1934496"/>
              <a:gd name="connsiteX2273" fmla="*/ 9280883 w 9922465"/>
              <a:gd name="connsiteY2273" fmla="*/ 780161 h 1934496"/>
              <a:gd name="connsiteX2274" fmla="*/ 9336075 w 9922465"/>
              <a:gd name="connsiteY2274" fmla="*/ 724970 h 1934496"/>
              <a:gd name="connsiteX2275" fmla="*/ 9199100 w 9922465"/>
              <a:gd name="connsiteY2275" fmla="*/ 724970 h 1934496"/>
              <a:gd name="connsiteX2276" fmla="*/ 9254292 w 9922465"/>
              <a:gd name="connsiteY2276" fmla="*/ 780161 h 1934496"/>
              <a:gd name="connsiteX2277" fmla="*/ 9199100 w 9922465"/>
              <a:gd name="connsiteY2277" fmla="*/ 835352 h 1934496"/>
              <a:gd name="connsiteX2278" fmla="*/ 9143908 w 9922465"/>
              <a:gd name="connsiteY2278" fmla="*/ 780161 h 1934496"/>
              <a:gd name="connsiteX2279" fmla="*/ 9199100 w 9922465"/>
              <a:gd name="connsiteY2279" fmla="*/ 724970 h 1934496"/>
              <a:gd name="connsiteX2280" fmla="*/ 9068806 w 9922465"/>
              <a:gd name="connsiteY2280" fmla="*/ 724970 h 1934496"/>
              <a:gd name="connsiteX2281" fmla="*/ 9123998 w 9922465"/>
              <a:gd name="connsiteY2281" fmla="*/ 780161 h 1934496"/>
              <a:gd name="connsiteX2282" fmla="*/ 9068806 w 9922465"/>
              <a:gd name="connsiteY2282" fmla="*/ 835352 h 1934496"/>
              <a:gd name="connsiteX2283" fmla="*/ 9013614 w 9922465"/>
              <a:gd name="connsiteY2283" fmla="*/ 780161 h 1934496"/>
              <a:gd name="connsiteX2284" fmla="*/ 9068806 w 9922465"/>
              <a:gd name="connsiteY2284" fmla="*/ 724970 h 1934496"/>
              <a:gd name="connsiteX2285" fmla="*/ 8935170 w 9922465"/>
              <a:gd name="connsiteY2285" fmla="*/ 724970 h 1934496"/>
              <a:gd name="connsiteX2286" fmla="*/ 8990362 w 9922465"/>
              <a:gd name="connsiteY2286" fmla="*/ 780161 h 1934496"/>
              <a:gd name="connsiteX2287" fmla="*/ 8935170 w 9922465"/>
              <a:gd name="connsiteY2287" fmla="*/ 835352 h 1934496"/>
              <a:gd name="connsiteX2288" fmla="*/ 8879978 w 9922465"/>
              <a:gd name="connsiteY2288" fmla="*/ 780161 h 1934496"/>
              <a:gd name="connsiteX2289" fmla="*/ 8935170 w 9922465"/>
              <a:gd name="connsiteY2289" fmla="*/ 724970 h 1934496"/>
              <a:gd name="connsiteX2290" fmla="*/ 8801536 w 9922465"/>
              <a:gd name="connsiteY2290" fmla="*/ 724970 h 1934496"/>
              <a:gd name="connsiteX2291" fmla="*/ 8856728 w 9922465"/>
              <a:gd name="connsiteY2291" fmla="*/ 780161 h 1934496"/>
              <a:gd name="connsiteX2292" fmla="*/ 8801536 w 9922465"/>
              <a:gd name="connsiteY2292" fmla="*/ 835352 h 1934496"/>
              <a:gd name="connsiteX2293" fmla="*/ 8746344 w 9922465"/>
              <a:gd name="connsiteY2293" fmla="*/ 780161 h 1934496"/>
              <a:gd name="connsiteX2294" fmla="*/ 8801536 w 9922465"/>
              <a:gd name="connsiteY2294" fmla="*/ 724970 h 1934496"/>
              <a:gd name="connsiteX2295" fmla="*/ 8671243 w 9922465"/>
              <a:gd name="connsiteY2295" fmla="*/ 724970 h 1934496"/>
              <a:gd name="connsiteX2296" fmla="*/ 8726435 w 9922465"/>
              <a:gd name="connsiteY2296" fmla="*/ 780161 h 1934496"/>
              <a:gd name="connsiteX2297" fmla="*/ 8671243 w 9922465"/>
              <a:gd name="connsiteY2297" fmla="*/ 835352 h 1934496"/>
              <a:gd name="connsiteX2298" fmla="*/ 8616051 w 9922465"/>
              <a:gd name="connsiteY2298" fmla="*/ 780161 h 1934496"/>
              <a:gd name="connsiteX2299" fmla="*/ 8671243 w 9922465"/>
              <a:gd name="connsiteY2299" fmla="*/ 724970 h 1934496"/>
              <a:gd name="connsiteX2300" fmla="*/ 8537609 w 9922465"/>
              <a:gd name="connsiteY2300" fmla="*/ 724970 h 1934496"/>
              <a:gd name="connsiteX2301" fmla="*/ 8592801 w 9922465"/>
              <a:gd name="connsiteY2301" fmla="*/ 780161 h 1934496"/>
              <a:gd name="connsiteX2302" fmla="*/ 8537609 w 9922465"/>
              <a:gd name="connsiteY2302" fmla="*/ 835352 h 1934496"/>
              <a:gd name="connsiteX2303" fmla="*/ 8482417 w 9922465"/>
              <a:gd name="connsiteY2303" fmla="*/ 780161 h 1934496"/>
              <a:gd name="connsiteX2304" fmla="*/ 8537609 w 9922465"/>
              <a:gd name="connsiteY2304" fmla="*/ 724970 h 1934496"/>
              <a:gd name="connsiteX2305" fmla="*/ 8407318 w 9922465"/>
              <a:gd name="connsiteY2305" fmla="*/ 724970 h 1934496"/>
              <a:gd name="connsiteX2306" fmla="*/ 8462510 w 9922465"/>
              <a:gd name="connsiteY2306" fmla="*/ 780161 h 1934496"/>
              <a:gd name="connsiteX2307" fmla="*/ 8407318 w 9922465"/>
              <a:gd name="connsiteY2307" fmla="*/ 835352 h 1934496"/>
              <a:gd name="connsiteX2308" fmla="*/ 8352126 w 9922465"/>
              <a:gd name="connsiteY2308" fmla="*/ 780161 h 1934496"/>
              <a:gd name="connsiteX2309" fmla="*/ 8407318 w 9922465"/>
              <a:gd name="connsiteY2309" fmla="*/ 724970 h 1934496"/>
              <a:gd name="connsiteX2310" fmla="*/ 8273682 w 9922465"/>
              <a:gd name="connsiteY2310" fmla="*/ 724970 h 1934496"/>
              <a:gd name="connsiteX2311" fmla="*/ 8328874 w 9922465"/>
              <a:gd name="connsiteY2311" fmla="*/ 780161 h 1934496"/>
              <a:gd name="connsiteX2312" fmla="*/ 8273682 w 9922465"/>
              <a:gd name="connsiteY2312" fmla="*/ 835352 h 1934496"/>
              <a:gd name="connsiteX2313" fmla="*/ 8218490 w 9922465"/>
              <a:gd name="connsiteY2313" fmla="*/ 780161 h 1934496"/>
              <a:gd name="connsiteX2314" fmla="*/ 8273682 w 9922465"/>
              <a:gd name="connsiteY2314" fmla="*/ 724970 h 1934496"/>
              <a:gd name="connsiteX2315" fmla="*/ 8143386 w 9922465"/>
              <a:gd name="connsiteY2315" fmla="*/ 724970 h 1934496"/>
              <a:gd name="connsiteX2316" fmla="*/ 8198578 w 9922465"/>
              <a:gd name="connsiteY2316" fmla="*/ 780161 h 1934496"/>
              <a:gd name="connsiteX2317" fmla="*/ 8143386 w 9922465"/>
              <a:gd name="connsiteY2317" fmla="*/ 835352 h 1934496"/>
              <a:gd name="connsiteX2318" fmla="*/ 8088194 w 9922465"/>
              <a:gd name="connsiteY2318" fmla="*/ 780161 h 1934496"/>
              <a:gd name="connsiteX2319" fmla="*/ 8143386 w 9922465"/>
              <a:gd name="connsiteY2319" fmla="*/ 724970 h 1934496"/>
              <a:gd name="connsiteX2320" fmla="*/ 8009753 w 9922465"/>
              <a:gd name="connsiteY2320" fmla="*/ 724970 h 1934496"/>
              <a:gd name="connsiteX2321" fmla="*/ 8064945 w 9922465"/>
              <a:gd name="connsiteY2321" fmla="*/ 780161 h 1934496"/>
              <a:gd name="connsiteX2322" fmla="*/ 8009753 w 9922465"/>
              <a:gd name="connsiteY2322" fmla="*/ 835352 h 1934496"/>
              <a:gd name="connsiteX2323" fmla="*/ 7954561 w 9922465"/>
              <a:gd name="connsiteY2323" fmla="*/ 780161 h 1934496"/>
              <a:gd name="connsiteX2324" fmla="*/ 8009753 w 9922465"/>
              <a:gd name="connsiteY2324" fmla="*/ 724970 h 1934496"/>
              <a:gd name="connsiteX2325" fmla="*/ 7876118 w 9922465"/>
              <a:gd name="connsiteY2325" fmla="*/ 724970 h 1934496"/>
              <a:gd name="connsiteX2326" fmla="*/ 7931310 w 9922465"/>
              <a:gd name="connsiteY2326" fmla="*/ 780161 h 1934496"/>
              <a:gd name="connsiteX2327" fmla="*/ 7876118 w 9922465"/>
              <a:gd name="connsiteY2327" fmla="*/ 835352 h 1934496"/>
              <a:gd name="connsiteX2328" fmla="*/ 7820926 w 9922465"/>
              <a:gd name="connsiteY2328" fmla="*/ 780161 h 1934496"/>
              <a:gd name="connsiteX2329" fmla="*/ 7876118 w 9922465"/>
              <a:gd name="connsiteY2329" fmla="*/ 724970 h 1934496"/>
              <a:gd name="connsiteX2330" fmla="*/ 7745824 w 9922465"/>
              <a:gd name="connsiteY2330" fmla="*/ 724970 h 1934496"/>
              <a:gd name="connsiteX2331" fmla="*/ 7801016 w 9922465"/>
              <a:gd name="connsiteY2331" fmla="*/ 780161 h 1934496"/>
              <a:gd name="connsiteX2332" fmla="*/ 7745824 w 9922465"/>
              <a:gd name="connsiteY2332" fmla="*/ 835352 h 1934496"/>
              <a:gd name="connsiteX2333" fmla="*/ 7690632 w 9922465"/>
              <a:gd name="connsiteY2333" fmla="*/ 780161 h 1934496"/>
              <a:gd name="connsiteX2334" fmla="*/ 7745824 w 9922465"/>
              <a:gd name="connsiteY2334" fmla="*/ 724970 h 1934496"/>
              <a:gd name="connsiteX2335" fmla="*/ 7608850 w 9922465"/>
              <a:gd name="connsiteY2335" fmla="*/ 724970 h 1934496"/>
              <a:gd name="connsiteX2336" fmla="*/ 7664042 w 9922465"/>
              <a:gd name="connsiteY2336" fmla="*/ 780161 h 1934496"/>
              <a:gd name="connsiteX2337" fmla="*/ 7608850 w 9922465"/>
              <a:gd name="connsiteY2337" fmla="*/ 835352 h 1934496"/>
              <a:gd name="connsiteX2338" fmla="*/ 7553658 w 9922465"/>
              <a:gd name="connsiteY2338" fmla="*/ 780161 h 1934496"/>
              <a:gd name="connsiteX2339" fmla="*/ 7608850 w 9922465"/>
              <a:gd name="connsiteY2339" fmla="*/ 724970 h 1934496"/>
              <a:gd name="connsiteX2340" fmla="*/ 7481895 w 9922465"/>
              <a:gd name="connsiteY2340" fmla="*/ 724970 h 1934496"/>
              <a:gd name="connsiteX2341" fmla="*/ 7537087 w 9922465"/>
              <a:gd name="connsiteY2341" fmla="*/ 780161 h 1934496"/>
              <a:gd name="connsiteX2342" fmla="*/ 7481895 w 9922465"/>
              <a:gd name="connsiteY2342" fmla="*/ 835352 h 1934496"/>
              <a:gd name="connsiteX2343" fmla="*/ 7426703 w 9922465"/>
              <a:gd name="connsiteY2343" fmla="*/ 780161 h 1934496"/>
              <a:gd name="connsiteX2344" fmla="*/ 7481895 w 9922465"/>
              <a:gd name="connsiteY2344" fmla="*/ 724970 h 1934496"/>
              <a:gd name="connsiteX2345" fmla="*/ 7341579 w 9922465"/>
              <a:gd name="connsiteY2345" fmla="*/ 724970 h 1934496"/>
              <a:gd name="connsiteX2346" fmla="*/ 7396771 w 9922465"/>
              <a:gd name="connsiteY2346" fmla="*/ 780161 h 1934496"/>
              <a:gd name="connsiteX2347" fmla="*/ 7341579 w 9922465"/>
              <a:gd name="connsiteY2347" fmla="*/ 835352 h 1934496"/>
              <a:gd name="connsiteX2348" fmla="*/ 7286387 w 9922465"/>
              <a:gd name="connsiteY2348" fmla="*/ 780161 h 1934496"/>
              <a:gd name="connsiteX2349" fmla="*/ 7341579 w 9922465"/>
              <a:gd name="connsiteY2349" fmla="*/ 724970 h 1934496"/>
              <a:gd name="connsiteX2350" fmla="*/ 7211286 w 9922465"/>
              <a:gd name="connsiteY2350" fmla="*/ 724970 h 1934496"/>
              <a:gd name="connsiteX2351" fmla="*/ 7266478 w 9922465"/>
              <a:gd name="connsiteY2351" fmla="*/ 780161 h 1934496"/>
              <a:gd name="connsiteX2352" fmla="*/ 7211286 w 9922465"/>
              <a:gd name="connsiteY2352" fmla="*/ 835352 h 1934496"/>
              <a:gd name="connsiteX2353" fmla="*/ 7156094 w 9922465"/>
              <a:gd name="connsiteY2353" fmla="*/ 780161 h 1934496"/>
              <a:gd name="connsiteX2354" fmla="*/ 7211286 w 9922465"/>
              <a:gd name="connsiteY2354" fmla="*/ 724970 h 1934496"/>
              <a:gd name="connsiteX2355" fmla="*/ 7080994 w 9922465"/>
              <a:gd name="connsiteY2355" fmla="*/ 724970 h 1934496"/>
              <a:gd name="connsiteX2356" fmla="*/ 7136186 w 9922465"/>
              <a:gd name="connsiteY2356" fmla="*/ 780161 h 1934496"/>
              <a:gd name="connsiteX2357" fmla="*/ 7080994 w 9922465"/>
              <a:gd name="connsiteY2357" fmla="*/ 835352 h 1934496"/>
              <a:gd name="connsiteX2358" fmla="*/ 7025802 w 9922465"/>
              <a:gd name="connsiteY2358" fmla="*/ 780161 h 1934496"/>
              <a:gd name="connsiteX2359" fmla="*/ 7080994 w 9922465"/>
              <a:gd name="connsiteY2359" fmla="*/ 724970 h 1934496"/>
              <a:gd name="connsiteX2360" fmla="*/ 6947358 w 9922465"/>
              <a:gd name="connsiteY2360" fmla="*/ 724970 h 1934496"/>
              <a:gd name="connsiteX2361" fmla="*/ 7002550 w 9922465"/>
              <a:gd name="connsiteY2361" fmla="*/ 780161 h 1934496"/>
              <a:gd name="connsiteX2362" fmla="*/ 6947358 w 9922465"/>
              <a:gd name="connsiteY2362" fmla="*/ 835352 h 1934496"/>
              <a:gd name="connsiteX2363" fmla="*/ 6892166 w 9922465"/>
              <a:gd name="connsiteY2363" fmla="*/ 780161 h 1934496"/>
              <a:gd name="connsiteX2364" fmla="*/ 6947358 w 9922465"/>
              <a:gd name="connsiteY2364" fmla="*/ 724970 h 1934496"/>
              <a:gd name="connsiteX2365" fmla="*/ 6817064 w 9922465"/>
              <a:gd name="connsiteY2365" fmla="*/ 724970 h 1934496"/>
              <a:gd name="connsiteX2366" fmla="*/ 6872256 w 9922465"/>
              <a:gd name="connsiteY2366" fmla="*/ 780161 h 1934496"/>
              <a:gd name="connsiteX2367" fmla="*/ 6817064 w 9922465"/>
              <a:gd name="connsiteY2367" fmla="*/ 835352 h 1934496"/>
              <a:gd name="connsiteX2368" fmla="*/ 6761872 w 9922465"/>
              <a:gd name="connsiteY2368" fmla="*/ 780161 h 1934496"/>
              <a:gd name="connsiteX2369" fmla="*/ 6817064 w 9922465"/>
              <a:gd name="connsiteY2369" fmla="*/ 724970 h 1934496"/>
              <a:gd name="connsiteX2370" fmla="*/ 6683431 w 9922465"/>
              <a:gd name="connsiteY2370" fmla="*/ 724970 h 1934496"/>
              <a:gd name="connsiteX2371" fmla="*/ 6738623 w 9922465"/>
              <a:gd name="connsiteY2371" fmla="*/ 780161 h 1934496"/>
              <a:gd name="connsiteX2372" fmla="*/ 6683431 w 9922465"/>
              <a:gd name="connsiteY2372" fmla="*/ 835352 h 1934496"/>
              <a:gd name="connsiteX2373" fmla="*/ 6628239 w 9922465"/>
              <a:gd name="connsiteY2373" fmla="*/ 780161 h 1934496"/>
              <a:gd name="connsiteX2374" fmla="*/ 6683431 w 9922465"/>
              <a:gd name="connsiteY2374" fmla="*/ 724970 h 1934496"/>
              <a:gd name="connsiteX2375" fmla="*/ 6553137 w 9922465"/>
              <a:gd name="connsiteY2375" fmla="*/ 724970 h 1934496"/>
              <a:gd name="connsiteX2376" fmla="*/ 6608329 w 9922465"/>
              <a:gd name="connsiteY2376" fmla="*/ 780161 h 1934496"/>
              <a:gd name="connsiteX2377" fmla="*/ 6553137 w 9922465"/>
              <a:gd name="connsiteY2377" fmla="*/ 835352 h 1934496"/>
              <a:gd name="connsiteX2378" fmla="*/ 6497945 w 9922465"/>
              <a:gd name="connsiteY2378" fmla="*/ 780161 h 1934496"/>
              <a:gd name="connsiteX2379" fmla="*/ 6553137 w 9922465"/>
              <a:gd name="connsiteY2379" fmla="*/ 724970 h 1934496"/>
              <a:gd name="connsiteX2380" fmla="*/ 6419503 w 9922465"/>
              <a:gd name="connsiteY2380" fmla="*/ 724970 h 1934496"/>
              <a:gd name="connsiteX2381" fmla="*/ 6474695 w 9922465"/>
              <a:gd name="connsiteY2381" fmla="*/ 780161 h 1934496"/>
              <a:gd name="connsiteX2382" fmla="*/ 6419503 w 9922465"/>
              <a:gd name="connsiteY2382" fmla="*/ 835352 h 1934496"/>
              <a:gd name="connsiteX2383" fmla="*/ 6364311 w 9922465"/>
              <a:gd name="connsiteY2383" fmla="*/ 780161 h 1934496"/>
              <a:gd name="connsiteX2384" fmla="*/ 6419503 w 9922465"/>
              <a:gd name="connsiteY2384" fmla="*/ 724970 h 1934496"/>
              <a:gd name="connsiteX2385" fmla="*/ 6289207 w 9922465"/>
              <a:gd name="connsiteY2385" fmla="*/ 724970 h 1934496"/>
              <a:gd name="connsiteX2386" fmla="*/ 6344399 w 9922465"/>
              <a:gd name="connsiteY2386" fmla="*/ 780161 h 1934496"/>
              <a:gd name="connsiteX2387" fmla="*/ 6289207 w 9922465"/>
              <a:gd name="connsiteY2387" fmla="*/ 835352 h 1934496"/>
              <a:gd name="connsiteX2388" fmla="*/ 6234015 w 9922465"/>
              <a:gd name="connsiteY2388" fmla="*/ 780161 h 1934496"/>
              <a:gd name="connsiteX2389" fmla="*/ 6289207 w 9922465"/>
              <a:gd name="connsiteY2389" fmla="*/ 724970 h 1934496"/>
              <a:gd name="connsiteX2390" fmla="*/ 6155573 w 9922465"/>
              <a:gd name="connsiteY2390" fmla="*/ 724970 h 1934496"/>
              <a:gd name="connsiteX2391" fmla="*/ 6210765 w 9922465"/>
              <a:gd name="connsiteY2391" fmla="*/ 780161 h 1934496"/>
              <a:gd name="connsiteX2392" fmla="*/ 6155573 w 9922465"/>
              <a:gd name="connsiteY2392" fmla="*/ 835352 h 1934496"/>
              <a:gd name="connsiteX2393" fmla="*/ 6100381 w 9922465"/>
              <a:gd name="connsiteY2393" fmla="*/ 780161 h 1934496"/>
              <a:gd name="connsiteX2394" fmla="*/ 6155573 w 9922465"/>
              <a:gd name="connsiteY2394" fmla="*/ 724970 h 1934496"/>
              <a:gd name="connsiteX2395" fmla="*/ 5621035 w 9922465"/>
              <a:gd name="connsiteY2395" fmla="*/ 724970 h 1934496"/>
              <a:gd name="connsiteX2396" fmla="*/ 5676227 w 9922465"/>
              <a:gd name="connsiteY2396" fmla="*/ 780161 h 1934496"/>
              <a:gd name="connsiteX2397" fmla="*/ 5621035 w 9922465"/>
              <a:gd name="connsiteY2397" fmla="*/ 835352 h 1934496"/>
              <a:gd name="connsiteX2398" fmla="*/ 5565843 w 9922465"/>
              <a:gd name="connsiteY2398" fmla="*/ 780161 h 1934496"/>
              <a:gd name="connsiteX2399" fmla="*/ 5621035 w 9922465"/>
              <a:gd name="connsiteY2399" fmla="*/ 724970 h 1934496"/>
              <a:gd name="connsiteX2400" fmla="*/ 5487399 w 9922465"/>
              <a:gd name="connsiteY2400" fmla="*/ 724970 h 1934496"/>
              <a:gd name="connsiteX2401" fmla="*/ 5542591 w 9922465"/>
              <a:gd name="connsiteY2401" fmla="*/ 780161 h 1934496"/>
              <a:gd name="connsiteX2402" fmla="*/ 5487399 w 9922465"/>
              <a:gd name="connsiteY2402" fmla="*/ 835352 h 1934496"/>
              <a:gd name="connsiteX2403" fmla="*/ 5432207 w 9922465"/>
              <a:gd name="connsiteY2403" fmla="*/ 780161 h 1934496"/>
              <a:gd name="connsiteX2404" fmla="*/ 5487399 w 9922465"/>
              <a:gd name="connsiteY2404" fmla="*/ 724970 h 1934496"/>
              <a:gd name="connsiteX2405" fmla="*/ 5357106 w 9922465"/>
              <a:gd name="connsiteY2405" fmla="*/ 724970 h 1934496"/>
              <a:gd name="connsiteX2406" fmla="*/ 5412298 w 9922465"/>
              <a:gd name="connsiteY2406" fmla="*/ 780161 h 1934496"/>
              <a:gd name="connsiteX2407" fmla="*/ 5357106 w 9922465"/>
              <a:gd name="connsiteY2407" fmla="*/ 835352 h 1934496"/>
              <a:gd name="connsiteX2408" fmla="*/ 5301914 w 9922465"/>
              <a:gd name="connsiteY2408" fmla="*/ 780161 h 1934496"/>
              <a:gd name="connsiteX2409" fmla="*/ 5357106 w 9922465"/>
              <a:gd name="connsiteY2409" fmla="*/ 724970 h 1934496"/>
              <a:gd name="connsiteX2410" fmla="*/ 5223473 w 9922465"/>
              <a:gd name="connsiteY2410" fmla="*/ 724970 h 1934496"/>
              <a:gd name="connsiteX2411" fmla="*/ 5278665 w 9922465"/>
              <a:gd name="connsiteY2411" fmla="*/ 780161 h 1934496"/>
              <a:gd name="connsiteX2412" fmla="*/ 5223473 w 9922465"/>
              <a:gd name="connsiteY2412" fmla="*/ 835352 h 1934496"/>
              <a:gd name="connsiteX2413" fmla="*/ 5168281 w 9922465"/>
              <a:gd name="connsiteY2413" fmla="*/ 780161 h 1934496"/>
              <a:gd name="connsiteX2414" fmla="*/ 5223473 w 9922465"/>
              <a:gd name="connsiteY2414" fmla="*/ 724970 h 1934496"/>
              <a:gd name="connsiteX2415" fmla="*/ 5093178 w 9922465"/>
              <a:gd name="connsiteY2415" fmla="*/ 724970 h 1934496"/>
              <a:gd name="connsiteX2416" fmla="*/ 5148370 w 9922465"/>
              <a:gd name="connsiteY2416" fmla="*/ 780161 h 1934496"/>
              <a:gd name="connsiteX2417" fmla="*/ 5093178 w 9922465"/>
              <a:gd name="connsiteY2417" fmla="*/ 835352 h 1934496"/>
              <a:gd name="connsiteX2418" fmla="*/ 5037986 w 9922465"/>
              <a:gd name="connsiteY2418" fmla="*/ 780161 h 1934496"/>
              <a:gd name="connsiteX2419" fmla="*/ 5093178 w 9922465"/>
              <a:gd name="connsiteY2419" fmla="*/ 724970 h 1934496"/>
              <a:gd name="connsiteX2420" fmla="*/ 3897148 w 9922465"/>
              <a:gd name="connsiteY2420" fmla="*/ 724970 h 1934496"/>
              <a:gd name="connsiteX2421" fmla="*/ 3952340 w 9922465"/>
              <a:gd name="connsiteY2421" fmla="*/ 780161 h 1934496"/>
              <a:gd name="connsiteX2422" fmla="*/ 3897148 w 9922465"/>
              <a:gd name="connsiteY2422" fmla="*/ 835352 h 1934496"/>
              <a:gd name="connsiteX2423" fmla="*/ 3841956 w 9922465"/>
              <a:gd name="connsiteY2423" fmla="*/ 780161 h 1934496"/>
              <a:gd name="connsiteX2424" fmla="*/ 3897148 w 9922465"/>
              <a:gd name="connsiteY2424" fmla="*/ 724970 h 1934496"/>
              <a:gd name="connsiteX2425" fmla="*/ 3763514 w 9922465"/>
              <a:gd name="connsiteY2425" fmla="*/ 724970 h 1934496"/>
              <a:gd name="connsiteX2426" fmla="*/ 3818706 w 9922465"/>
              <a:gd name="connsiteY2426" fmla="*/ 780161 h 1934496"/>
              <a:gd name="connsiteX2427" fmla="*/ 3763514 w 9922465"/>
              <a:gd name="connsiteY2427" fmla="*/ 835352 h 1934496"/>
              <a:gd name="connsiteX2428" fmla="*/ 3708322 w 9922465"/>
              <a:gd name="connsiteY2428" fmla="*/ 780161 h 1934496"/>
              <a:gd name="connsiteX2429" fmla="*/ 3763514 w 9922465"/>
              <a:gd name="connsiteY2429" fmla="*/ 724970 h 1934496"/>
              <a:gd name="connsiteX2430" fmla="*/ 3633221 w 9922465"/>
              <a:gd name="connsiteY2430" fmla="*/ 724970 h 1934496"/>
              <a:gd name="connsiteX2431" fmla="*/ 3688413 w 9922465"/>
              <a:gd name="connsiteY2431" fmla="*/ 780161 h 1934496"/>
              <a:gd name="connsiteX2432" fmla="*/ 3633221 w 9922465"/>
              <a:gd name="connsiteY2432" fmla="*/ 835352 h 1934496"/>
              <a:gd name="connsiteX2433" fmla="*/ 3578029 w 9922465"/>
              <a:gd name="connsiteY2433" fmla="*/ 780161 h 1934496"/>
              <a:gd name="connsiteX2434" fmla="*/ 3633221 w 9922465"/>
              <a:gd name="connsiteY2434" fmla="*/ 724970 h 1934496"/>
              <a:gd name="connsiteX2435" fmla="*/ 3499586 w 9922465"/>
              <a:gd name="connsiteY2435" fmla="*/ 724970 h 1934496"/>
              <a:gd name="connsiteX2436" fmla="*/ 3554778 w 9922465"/>
              <a:gd name="connsiteY2436" fmla="*/ 780161 h 1934496"/>
              <a:gd name="connsiteX2437" fmla="*/ 3499586 w 9922465"/>
              <a:gd name="connsiteY2437" fmla="*/ 835352 h 1934496"/>
              <a:gd name="connsiteX2438" fmla="*/ 3444394 w 9922465"/>
              <a:gd name="connsiteY2438" fmla="*/ 780161 h 1934496"/>
              <a:gd name="connsiteX2439" fmla="*/ 3499586 w 9922465"/>
              <a:gd name="connsiteY2439" fmla="*/ 724970 h 1934496"/>
              <a:gd name="connsiteX2440" fmla="*/ 3369292 w 9922465"/>
              <a:gd name="connsiteY2440" fmla="*/ 724970 h 1934496"/>
              <a:gd name="connsiteX2441" fmla="*/ 3424484 w 9922465"/>
              <a:gd name="connsiteY2441" fmla="*/ 780161 h 1934496"/>
              <a:gd name="connsiteX2442" fmla="*/ 3369292 w 9922465"/>
              <a:gd name="connsiteY2442" fmla="*/ 835352 h 1934496"/>
              <a:gd name="connsiteX2443" fmla="*/ 3314100 w 9922465"/>
              <a:gd name="connsiteY2443" fmla="*/ 780161 h 1934496"/>
              <a:gd name="connsiteX2444" fmla="*/ 3369292 w 9922465"/>
              <a:gd name="connsiteY2444" fmla="*/ 724970 h 1934496"/>
              <a:gd name="connsiteX2445" fmla="*/ 2834856 w 9922465"/>
              <a:gd name="connsiteY2445" fmla="*/ 724970 h 1934496"/>
              <a:gd name="connsiteX2446" fmla="*/ 2890049 w 9922465"/>
              <a:gd name="connsiteY2446" fmla="*/ 780161 h 1934496"/>
              <a:gd name="connsiteX2447" fmla="*/ 2834856 w 9922465"/>
              <a:gd name="connsiteY2447" fmla="*/ 835352 h 1934496"/>
              <a:gd name="connsiteX2448" fmla="*/ 2779665 w 9922465"/>
              <a:gd name="connsiteY2448" fmla="*/ 780161 h 1934496"/>
              <a:gd name="connsiteX2449" fmla="*/ 2834856 w 9922465"/>
              <a:gd name="connsiteY2449" fmla="*/ 724970 h 1934496"/>
              <a:gd name="connsiteX2450" fmla="*/ 2707901 w 9922465"/>
              <a:gd name="connsiteY2450" fmla="*/ 724970 h 1934496"/>
              <a:gd name="connsiteX2451" fmla="*/ 2763094 w 9922465"/>
              <a:gd name="connsiteY2451" fmla="*/ 780161 h 1934496"/>
              <a:gd name="connsiteX2452" fmla="*/ 2707901 w 9922465"/>
              <a:gd name="connsiteY2452" fmla="*/ 835352 h 1934496"/>
              <a:gd name="connsiteX2453" fmla="*/ 2652711 w 9922465"/>
              <a:gd name="connsiteY2453" fmla="*/ 780161 h 1934496"/>
              <a:gd name="connsiteX2454" fmla="*/ 2707901 w 9922465"/>
              <a:gd name="connsiteY2454" fmla="*/ 724970 h 1934496"/>
              <a:gd name="connsiteX2455" fmla="*/ 2570929 w 9922465"/>
              <a:gd name="connsiteY2455" fmla="*/ 724970 h 1934496"/>
              <a:gd name="connsiteX2456" fmla="*/ 2626122 w 9922465"/>
              <a:gd name="connsiteY2456" fmla="*/ 780161 h 1934496"/>
              <a:gd name="connsiteX2457" fmla="*/ 2570929 w 9922465"/>
              <a:gd name="connsiteY2457" fmla="*/ 835352 h 1934496"/>
              <a:gd name="connsiteX2458" fmla="*/ 2515735 w 9922465"/>
              <a:gd name="connsiteY2458" fmla="*/ 780161 h 1934496"/>
              <a:gd name="connsiteX2459" fmla="*/ 2570929 w 9922465"/>
              <a:gd name="connsiteY2459" fmla="*/ 724970 h 1934496"/>
              <a:gd name="connsiteX2460" fmla="*/ 2437294 w 9922465"/>
              <a:gd name="connsiteY2460" fmla="*/ 724970 h 1934496"/>
              <a:gd name="connsiteX2461" fmla="*/ 2492487 w 9922465"/>
              <a:gd name="connsiteY2461" fmla="*/ 780161 h 1934496"/>
              <a:gd name="connsiteX2462" fmla="*/ 2437294 w 9922465"/>
              <a:gd name="connsiteY2462" fmla="*/ 835352 h 1934496"/>
              <a:gd name="connsiteX2463" fmla="*/ 2382104 w 9922465"/>
              <a:gd name="connsiteY2463" fmla="*/ 780161 h 1934496"/>
              <a:gd name="connsiteX2464" fmla="*/ 2437294 w 9922465"/>
              <a:gd name="connsiteY2464" fmla="*/ 724970 h 1934496"/>
              <a:gd name="connsiteX2465" fmla="*/ 2303662 w 9922465"/>
              <a:gd name="connsiteY2465" fmla="*/ 724970 h 1934496"/>
              <a:gd name="connsiteX2466" fmla="*/ 2358853 w 9922465"/>
              <a:gd name="connsiteY2466" fmla="*/ 780161 h 1934496"/>
              <a:gd name="connsiteX2467" fmla="*/ 2303662 w 9922465"/>
              <a:gd name="connsiteY2467" fmla="*/ 835352 h 1934496"/>
              <a:gd name="connsiteX2468" fmla="*/ 2248471 w 9922465"/>
              <a:gd name="connsiteY2468" fmla="*/ 780161 h 1934496"/>
              <a:gd name="connsiteX2469" fmla="*/ 2303662 w 9922465"/>
              <a:gd name="connsiteY2469" fmla="*/ 724970 h 1934496"/>
              <a:gd name="connsiteX2470" fmla="*/ 2173371 w 9922465"/>
              <a:gd name="connsiteY2470" fmla="*/ 724970 h 1934496"/>
              <a:gd name="connsiteX2471" fmla="*/ 2228562 w 9922465"/>
              <a:gd name="connsiteY2471" fmla="*/ 780161 h 1934496"/>
              <a:gd name="connsiteX2472" fmla="*/ 2173371 w 9922465"/>
              <a:gd name="connsiteY2472" fmla="*/ 835352 h 1934496"/>
              <a:gd name="connsiteX2473" fmla="*/ 2118177 w 9922465"/>
              <a:gd name="connsiteY2473" fmla="*/ 780161 h 1934496"/>
              <a:gd name="connsiteX2474" fmla="*/ 2173371 w 9922465"/>
              <a:gd name="connsiteY2474" fmla="*/ 724970 h 1934496"/>
              <a:gd name="connsiteX2475" fmla="*/ 2039733 w 9922465"/>
              <a:gd name="connsiteY2475" fmla="*/ 724970 h 1934496"/>
              <a:gd name="connsiteX2476" fmla="*/ 2094927 w 9922465"/>
              <a:gd name="connsiteY2476" fmla="*/ 780161 h 1934496"/>
              <a:gd name="connsiteX2477" fmla="*/ 2039733 w 9922465"/>
              <a:gd name="connsiteY2477" fmla="*/ 835352 h 1934496"/>
              <a:gd name="connsiteX2478" fmla="*/ 1984539 w 9922465"/>
              <a:gd name="connsiteY2478" fmla="*/ 780161 h 1934496"/>
              <a:gd name="connsiteX2479" fmla="*/ 2039733 w 9922465"/>
              <a:gd name="connsiteY2479" fmla="*/ 724970 h 1934496"/>
              <a:gd name="connsiteX2480" fmla="*/ 1909436 w 9922465"/>
              <a:gd name="connsiteY2480" fmla="*/ 724970 h 1934496"/>
              <a:gd name="connsiteX2481" fmla="*/ 1964630 w 9922465"/>
              <a:gd name="connsiteY2481" fmla="*/ 780161 h 1934496"/>
              <a:gd name="connsiteX2482" fmla="*/ 1909436 w 9922465"/>
              <a:gd name="connsiteY2482" fmla="*/ 835352 h 1934496"/>
              <a:gd name="connsiteX2483" fmla="*/ 1854243 w 9922465"/>
              <a:gd name="connsiteY2483" fmla="*/ 780161 h 1934496"/>
              <a:gd name="connsiteX2484" fmla="*/ 1909436 w 9922465"/>
              <a:gd name="connsiteY2484" fmla="*/ 724970 h 1934496"/>
              <a:gd name="connsiteX2485" fmla="*/ 1779142 w 9922465"/>
              <a:gd name="connsiteY2485" fmla="*/ 724970 h 1934496"/>
              <a:gd name="connsiteX2486" fmla="*/ 1834335 w 9922465"/>
              <a:gd name="connsiteY2486" fmla="*/ 780161 h 1934496"/>
              <a:gd name="connsiteX2487" fmla="*/ 1779142 w 9922465"/>
              <a:gd name="connsiteY2487" fmla="*/ 835352 h 1934496"/>
              <a:gd name="connsiteX2488" fmla="*/ 1723947 w 9922465"/>
              <a:gd name="connsiteY2488" fmla="*/ 780161 h 1934496"/>
              <a:gd name="connsiteX2489" fmla="*/ 1779142 w 9922465"/>
              <a:gd name="connsiteY2489" fmla="*/ 724970 h 1934496"/>
              <a:gd name="connsiteX2490" fmla="*/ 1645501 w 9922465"/>
              <a:gd name="connsiteY2490" fmla="*/ 724970 h 1934496"/>
              <a:gd name="connsiteX2491" fmla="*/ 1700699 w 9922465"/>
              <a:gd name="connsiteY2491" fmla="*/ 780161 h 1934496"/>
              <a:gd name="connsiteX2492" fmla="*/ 1645501 w 9922465"/>
              <a:gd name="connsiteY2492" fmla="*/ 835352 h 1934496"/>
              <a:gd name="connsiteX2493" fmla="*/ 1590310 w 9922465"/>
              <a:gd name="connsiteY2493" fmla="*/ 780161 h 1934496"/>
              <a:gd name="connsiteX2494" fmla="*/ 1645501 w 9922465"/>
              <a:gd name="connsiteY2494" fmla="*/ 724970 h 1934496"/>
              <a:gd name="connsiteX2495" fmla="*/ 1515213 w 9922465"/>
              <a:gd name="connsiteY2495" fmla="*/ 724970 h 1934496"/>
              <a:gd name="connsiteX2496" fmla="*/ 1570399 w 9922465"/>
              <a:gd name="connsiteY2496" fmla="*/ 780161 h 1934496"/>
              <a:gd name="connsiteX2497" fmla="*/ 1515213 w 9922465"/>
              <a:gd name="connsiteY2497" fmla="*/ 835352 h 1934496"/>
              <a:gd name="connsiteX2498" fmla="*/ 1460016 w 9922465"/>
              <a:gd name="connsiteY2498" fmla="*/ 780161 h 1934496"/>
              <a:gd name="connsiteX2499" fmla="*/ 1515213 w 9922465"/>
              <a:gd name="connsiteY2499" fmla="*/ 724970 h 1934496"/>
              <a:gd name="connsiteX2500" fmla="*/ 1381573 w 9922465"/>
              <a:gd name="connsiteY2500" fmla="*/ 724970 h 1934496"/>
              <a:gd name="connsiteX2501" fmla="*/ 1436767 w 9922465"/>
              <a:gd name="connsiteY2501" fmla="*/ 780161 h 1934496"/>
              <a:gd name="connsiteX2502" fmla="*/ 1381573 w 9922465"/>
              <a:gd name="connsiteY2502" fmla="*/ 835352 h 1934496"/>
              <a:gd name="connsiteX2503" fmla="*/ 1326381 w 9922465"/>
              <a:gd name="connsiteY2503" fmla="*/ 780161 h 1934496"/>
              <a:gd name="connsiteX2504" fmla="*/ 1381573 w 9922465"/>
              <a:gd name="connsiteY2504" fmla="*/ 724970 h 1934496"/>
              <a:gd name="connsiteX2505" fmla="*/ 1251282 w 9922465"/>
              <a:gd name="connsiteY2505" fmla="*/ 724970 h 1934496"/>
              <a:gd name="connsiteX2506" fmla="*/ 1306475 w 9922465"/>
              <a:gd name="connsiteY2506" fmla="*/ 780161 h 1934496"/>
              <a:gd name="connsiteX2507" fmla="*/ 1251282 w 9922465"/>
              <a:gd name="connsiteY2507" fmla="*/ 835352 h 1934496"/>
              <a:gd name="connsiteX2508" fmla="*/ 1196089 w 9922465"/>
              <a:gd name="connsiteY2508" fmla="*/ 780161 h 1934496"/>
              <a:gd name="connsiteX2509" fmla="*/ 1251282 w 9922465"/>
              <a:gd name="connsiteY2509" fmla="*/ 724970 h 1934496"/>
              <a:gd name="connsiteX2510" fmla="*/ 1117642 w 9922465"/>
              <a:gd name="connsiteY2510" fmla="*/ 724970 h 1934496"/>
              <a:gd name="connsiteX2511" fmla="*/ 1172836 w 9922465"/>
              <a:gd name="connsiteY2511" fmla="*/ 780161 h 1934496"/>
              <a:gd name="connsiteX2512" fmla="*/ 1117642 w 9922465"/>
              <a:gd name="connsiteY2512" fmla="*/ 835352 h 1934496"/>
              <a:gd name="connsiteX2513" fmla="*/ 1062448 w 9922465"/>
              <a:gd name="connsiteY2513" fmla="*/ 780161 h 1934496"/>
              <a:gd name="connsiteX2514" fmla="*/ 1117642 w 9922465"/>
              <a:gd name="connsiteY2514" fmla="*/ 724970 h 1934496"/>
              <a:gd name="connsiteX2515" fmla="*/ 980664 w 9922465"/>
              <a:gd name="connsiteY2515" fmla="*/ 724970 h 1934496"/>
              <a:gd name="connsiteX2516" fmla="*/ 1035857 w 9922465"/>
              <a:gd name="connsiteY2516" fmla="*/ 780161 h 1934496"/>
              <a:gd name="connsiteX2517" fmla="*/ 980664 w 9922465"/>
              <a:gd name="connsiteY2517" fmla="*/ 835352 h 1934496"/>
              <a:gd name="connsiteX2518" fmla="*/ 925471 w 9922465"/>
              <a:gd name="connsiteY2518" fmla="*/ 780161 h 1934496"/>
              <a:gd name="connsiteX2519" fmla="*/ 980664 w 9922465"/>
              <a:gd name="connsiteY2519" fmla="*/ 724970 h 1934496"/>
              <a:gd name="connsiteX2520" fmla="*/ 847022 w 9922465"/>
              <a:gd name="connsiteY2520" fmla="*/ 724970 h 1934496"/>
              <a:gd name="connsiteX2521" fmla="*/ 902217 w 9922465"/>
              <a:gd name="connsiteY2521" fmla="*/ 780161 h 1934496"/>
              <a:gd name="connsiteX2522" fmla="*/ 847022 w 9922465"/>
              <a:gd name="connsiteY2522" fmla="*/ 835352 h 1934496"/>
              <a:gd name="connsiteX2523" fmla="*/ 791823 w 9922465"/>
              <a:gd name="connsiteY2523" fmla="*/ 780161 h 1934496"/>
              <a:gd name="connsiteX2524" fmla="*/ 847022 w 9922465"/>
              <a:gd name="connsiteY2524" fmla="*/ 724970 h 1934496"/>
              <a:gd name="connsiteX2525" fmla="*/ 716722 w 9922465"/>
              <a:gd name="connsiteY2525" fmla="*/ 724970 h 1934496"/>
              <a:gd name="connsiteX2526" fmla="*/ 771916 w 9922465"/>
              <a:gd name="connsiteY2526" fmla="*/ 780161 h 1934496"/>
              <a:gd name="connsiteX2527" fmla="*/ 716722 w 9922465"/>
              <a:gd name="connsiteY2527" fmla="*/ 835352 h 1934496"/>
              <a:gd name="connsiteX2528" fmla="*/ 661530 w 9922465"/>
              <a:gd name="connsiteY2528" fmla="*/ 780161 h 1934496"/>
              <a:gd name="connsiteX2529" fmla="*/ 716722 w 9922465"/>
              <a:gd name="connsiteY2529" fmla="*/ 724970 h 1934496"/>
              <a:gd name="connsiteX2530" fmla="*/ 583085 w 9922465"/>
              <a:gd name="connsiteY2530" fmla="*/ 724970 h 1934496"/>
              <a:gd name="connsiteX2531" fmla="*/ 638278 w 9922465"/>
              <a:gd name="connsiteY2531" fmla="*/ 780161 h 1934496"/>
              <a:gd name="connsiteX2532" fmla="*/ 583085 w 9922465"/>
              <a:gd name="connsiteY2532" fmla="*/ 835352 h 1934496"/>
              <a:gd name="connsiteX2533" fmla="*/ 527891 w 9922465"/>
              <a:gd name="connsiteY2533" fmla="*/ 780161 h 1934496"/>
              <a:gd name="connsiteX2534" fmla="*/ 583085 w 9922465"/>
              <a:gd name="connsiteY2534" fmla="*/ 724970 h 1934496"/>
              <a:gd name="connsiteX2535" fmla="*/ 449437 w 9922465"/>
              <a:gd name="connsiteY2535" fmla="*/ 724970 h 1934496"/>
              <a:gd name="connsiteX2536" fmla="*/ 504629 w 9922465"/>
              <a:gd name="connsiteY2536" fmla="*/ 780161 h 1934496"/>
              <a:gd name="connsiteX2537" fmla="*/ 449437 w 9922465"/>
              <a:gd name="connsiteY2537" fmla="*/ 835352 h 1934496"/>
              <a:gd name="connsiteX2538" fmla="*/ 394244 w 9922465"/>
              <a:gd name="connsiteY2538" fmla="*/ 780161 h 1934496"/>
              <a:gd name="connsiteX2539" fmla="*/ 449437 w 9922465"/>
              <a:gd name="connsiteY2539" fmla="*/ 724970 h 1934496"/>
              <a:gd name="connsiteX2540" fmla="*/ 319140 w 9922465"/>
              <a:gd name="connsiteY2540" fmla="*/ 724970 h 1934496"/>
              <a:gd name="connsiteX2541" fmla="*/ 374334 w 9922465"/>
              <a:gd name="connsiteY2541" fmla="*/ 780161 h 1934496"/>
              <a:gd name="connsiteX2542" fmla="*/ 319140 w 9922465"/>
              <a:gd name="connsiteY2542" fmla="*/ 835352 h 1934496"/>
              <a:gd name="connsiteX2543" fmla="*/ 263948 w 9922465"/>
              <a:gd name="connsiteY2543" fmla="*/ 780161 h 1934496"/>
              <a:gd name="connsiteX2544" fmla="*/ 319140 w 9922465"/>
              <a:gd name="connsiteY2544" fmla="*/ 724970 h 1934496"/>
              <a:gd name="connsiteX2545" fmla="*/ 185509 w 9922465"/>
              <a:gd name="connsiteY2545" fmla="*/ 724970 h 1934496"/>
              <a:gd name="connsiteX2546" fmla="*/ 240701 w 9922465"/>
              <a:gd name="connsiteY2546" fmla="*/ 780161 h 1934496"/>
              <a:gd name="connsiteX2547" fmla="*/ 185509 w 9922465"/>
              <a:gd name="connsiteY2547" fmla="*/ 835352 h 1934496"/>
              <a:gd name="connsiteX2548" fmla="*/ 130319 w 9922465"/>
              <a:gd name="connsiteY2548" fmla="*/ 780161 h 1934496"/>
              <a:gd name="connsiteX2549" fmla="*/ 185509 w 9922465"/>
              <a:gd name="connsiteY2549" fmla="*/ 724970 h 1934496"/>
              <a:gd name="connsiteX2550" fmla="*/ 8801538 w 9922465"/>
              <a:gd name="connsiteY2550" fmla="*/ 608039 h 1934496"/>
              <a:gd name="connsiteX2551" fmla="*/ 8856730 w 9922465"/>
              <a:gd name="connsiteY2551" fmla="*/ 663230 h 1934496"/>
              <a:gd name="connsiteX2552" fmla="*/ 8801538 w 9922465"/>
              <a:gd name="connsiteY2552" fmla="*/ 718421 h 1934496"/>
              <a:gd name="connsiteX2553" fmla="*/ 8746346 w 9922465"/>
              <a:gd name="connsiteY2553" fmla="*/ 663230 h 1934496"/>
              <a:gd name="connsiteX2554" fmla="*/ 8801538 w 9922465"/>
              <a:gd name="connsiteY2554" fmla="*/ 608039 h 1934496"/>
              <a:gd name="connsiteX2555" fmla="*/ 8671244 w 9922465"/>
              <a:gd name="connsiteY2555" fmla="*/ 608039 h 1934496"/>
              <a:gd name="connsiteX2556" fmla="*/ 8726436 w 9922465"/>
              <a:gd name="connsiteY2556" fmla="*/ 663230 h 1934496"/>
              <a:gd name="connsiteX2557" fmla="*/ 8671244 w 9922465"/>
              <a:gd name="connsiteY2557" fmla="*/ 718421 h 1934496"/>
              <a:gd name="connsiteX2558" fmla="*/ 8616052 w 9922465"/>
              <a:gd name="connsiteY2558" fmla="*/ 663230 h 1934496"/>
              <a:gd name="connsiteX2559" fmla="*/ 8671244 w 9922465"/>
              <a:gd name="connsiteY2559" fmla="*/ 608039 h 1934496"/>
              <a:gd name="connsiteX2560" fmla="*/ 8537609 w 9922465"/>
              <a:gd name="connsiteY2560" fmla="*/ 608039 h 1934496"/>
              <a:gd name="connsiteX2561" fmla="*/ 8592801 w 9922465"/>
              <a:gd name="connsiteY2561" fmla="*/ 663230 h 1934496"/>
              <a:gd name="connsiteX2562" fmla="*/ 8537609 w 9922465"/>
              <a:gd name="connsiteY2562" fmla="*/ 718421 h 1934496"/>
              <a:gd name="connsiteX2563" fmla="*/ 8482417 w 9922465"/>
              <a:gd name="connsiteY2563" fmla="*/ 663230 h 1934496"/>
              <a:gd name="connsiteX2564" fmla="*/ 8537609 w 9922465"/>
              <a:gd name="connsiteY2564" fmla="*/ 608039 h 1934496"/>
              <a:gd name="connsiteX2565" fmla="*/ 8407318 w 9922465"/>
              <a:gd name="connsiteY2565" fmla="*/ 608039 h 1934496"/>
              <a:gd name="connsiteX2566" fmla="*/ 8462510 w 9922465"/>
              <a:gd name="connsiteY2566" fmla="*/ 663230 h 1934496"/>
              <a:gd name="connsiteX2567" fmla="*/ 8407318 w 9922465"/>
              <a:gd name="connsiteY2567" fmla="*/ 718421 h 1934496"/>
              <a:gd name="connsiteX2568" fmla="*/ 8352126 w 9922465"/>
              <a:gd name="connsiteY2568" fmla="*/ 663230 h 1934496"/>
              <a:gd name="connsiteX2569" fmla="*/ 8407318 w 9922465"/>
              <a:gd name="connsiteY2569" fmla="*/ 608039 h 1934496"/>
              <a:gd name="connsiteX2570" fmla="*/ 8273682 w 9922465"/>
              <a:gd name="connsiteY2570" fmla="*/ 608039 h 1934496"/>
              <a:gd name="connsiteX2571" fmla="*/ 8328874 w 9922465"/>
              <a:gd name="connsiteY2571" fmla="*/ 663230 h 1934496"/>
              <a:gd name="connsiteX2572" fmla="*/ 8273682 w 9922465"/>
              <a:gd name="connsiteY2572" fmla="*/ 718421 h 1934496"/>
              <a:gd name="connsiteX2573" fmla="*/ 8218490 w 9922465"/>
              <a:gd name="connsiteY2573" fmla="*/ 663230 h 1934496"/>
              <a:gd name="connsiteX2574" fmla="*/ 8273682 w 9922465"/>
              <a:gd name="connsiteY2574" fmla="*/ 608039 h 1934496"/>
              <a:gd name="connsiteX2575" fmla="*/ 8143386 w 9922465"/>
              <a:gd name="connsiteY2575" fmla="*/ 608039 h 1934496"/>
              <a:gd name="connsiteX2576" fmla="*/ 8198578 w 9922465"/>
              <a:gd name="connsiteY2576" fmla="*/ 663230 h 1934496"/>
              <a:gd name="connsiteX2577" fmla="*/ 8143386 w 9922465"/>
              <a:gd name="connsiteY2577" fmla="*/ 718421 h 1934496"/>
              <a:gd name="connsiteX2578" fmla="*/ 8088194 w 9922465"/>
              <a:gd name="connsiteY2578" fmla="*/ 663230 h 1934496"/>
              <a:gd name="connsiteX2579" fmla="*/ 8143386 w 9922465"/>
              <a:gd name="connsiteY2579" fmla="*/ 608039 h 1934496"/>
              <a:gd name="connsiteX2580" fmla="*/ 8009753 w 9922465"/>
              <a:gd name="connsiteY2580" fmla="*/ 608039 h 1934496"/>
              <a:gd name="connsiteX2581" fmla="*/ 8064945 w 9922465"/>
              <a:gd name="connsiteY2581" fmla="*/ 663230 h 1934496"/>
              <a:gd name="connsiteX2582" fmla="*/ 8009753 w 9922465"/>
              <a:gd name="connsiteY2582" fmla="*/ 718421 h 1934496"/>
              <a:gd name="connsiteX2583" fmla="*/ 7954561 w 9922465"/>
              <a:gd name="connsiteY2583" fmla="*/ 663230 h 1934496"/>
              <a:gd name="connsiteX2584" fmla="*/ 8009753 w 9922465"/>
              <a:gd name="connsiteY2584" fmla="*/ 608039 h 1934496"/>
              <a:gd name="connsiteX2585" fmla="*/ 7876118 w 9922465"/>
              <a:gd name="connsiteY2585" fmla="*/ 608039 h 1934496"/>
              <a:gd name="connsiteX2586" fmla="*/ 7931310 w 9922465"/>
              <a:gd name="connsiteY2586" fmla="*/ 663230 h 1934496"/>
              <a:gd name="connsiteX2587" fmla="*/ 7876118 w 9922465"/>
              <a:gd name="connsiteY2587" fmla="*/ 718421 h 1934496"/>
              <a:gd name="connsiteX2588" fmla="*/ 7820926 w 9922465"/>
              <a:gd name="connsiteY2588" fmla="*/ 663230 h 1934496"/>
              <a:gd name="connsiteX2589" fmla="*/ 7876118 w 9922465"/>
              <a:gd name="connsiteY2589" fmla="*/ 608039 h 1934496"/>
              <a:gd name="connsiteX2590" fmla="*/ 7745824 w 9922465"/>
              <a:gd name="connsiteY2590" fmla="*/ 608039 h 1934496"/>
              <a:gd name="connsiteX2591" fmla="*/ 7801016 w 9922465"/>
              <a:gd name="connsiteY2591" fmla="*/ 663230 h 1934496"/>
              <a:gd name="connsiteX2592" fmla="*/ 7745824 w 9922465"/>
              <a:gd name="connsiteY2592" fmla="*/ 718421 h 1934496"/>
              <a:gd name="connsiteX2593" fmla="*/ 7690632 w 9922465"/>
              <a:gd name="connsiteY2593" fmla="*/ 663230 h 1934496"/>
              <a:gd name="connsiteX2594" fmla="*/ 7745824 w 9922465"/>
              <a:gd name="connsiteY2594" fmla="*/ 608039 h 1934496"/>
              <a:gd name="connsiteX2595" fmla="*/ 7608850 w 9922465"/>
              <a:gd name="connsiteY2595" fmla="*/ 608039 h 1934496"/>
              <a:gd name="connsiteX2596" fmla="*/ 7664042 w 9922465"/>
              <a:gd name="connsiteY2596" fmla="*/ 663230 h 1934496"/>
              <a:gd name="connsiteX2597" fmla="*/ 7608850 w 9922465"/>
              <a:gd name="connsiteY2597" fmla="*/ 718421 h 1934496"/>
              <a:gd name="connsiteX2598" fmla="*/ 7553658 w 9922465"/>
              <a:gd name="connsiteY2598" fmla="*/ 663230 h 1934496"/>
              <a:gd name="connsiteX2599" fmla="*/ 7608850 w 9922465"/>
              <a:gd name="connsiteY2599" fmla="*/ 608039 h 1934496"/>
              <a:gd name="connsiteX2600" fmla="*/ 7481895 w 9922465"/>
              <a:gd name="connsiteY2600" fmla="*/ 608039 h 1934496"/>
              <a:gd name="connsiteX2601" fmla="*/ 7537087 w 9922465"/>
              <a:gd name="connsiteY2601" fmla="*/ 663230 h 1934496"/>
              <a:gd name="connsiteX2602" fmla="*/ 7481895 w 9922465"/>
              <a:gd name="connsiteY2602" fmla="*/ 718421 h 1934496"/>
              <a:gd name="connsiteX2603" fmla="*/ 7426703 w 9922465"/>
              <a:gd name="connsiteY2603" fmla="*/ 663230 h 1934496"/>
              <a:gd name="connsiteX2604" fmla="*/ 7481895 w 9922465"/>
              <a:gd name="connsiteY2604" fmla="*/ 608039 h 1934496"/>
              <a:gd name="connsiteX2605" fmla="*/ 7341579 w 9922465"/>
              <a:gd name="connsiteY2605" fmla="*/ 608039 h 1934496"/>
              <a:gd name="connsiteX2606" fmla="*/ 7396771 w 9922465"/>
              <a:gd name="connsiteY2606" fmla="*/ 663230 h 1934496"/>
              <a:gd name="connsiteX2607" fmla="*/ 7341579 w 9922465"/>
              <a:gd name="connsiteY2607" fmla="*/ 718421 h 1934496"/>
              <a:gd name="connsiteX2608" fmla="*/ 7286387 w 9922465"/>
              <a:gd name="connsiteY2608" fmla="*/ 663230 h 1934496"/>
              <a:gd name="connsiteX2609" fmla="*/ 7341579 w 9922465"/>
              <a:gd name="connsiteY2609" fmla="*/ 608039 h 1934496"/>
              <a:gd name="connsiteX2610" fmla="*/ 7211286 w 9922465"/>
              <a:gd name="connsiteY2610" fmla="*/ 608039 h 1934496"/>
              <a:gd name="connsiteX2611" fmla="*/ 7266478 w 9922465"/>
              <a:gd name="connsiteY2611" fmla="*/ 663230 h 1934496"/>
              <a:gd name="connsiteX2612" fmla="*/ 7211286 w 9922465"/>
              <a:gd name="connsiteY2612" fmla="*/ 718421 h 1934496"/>
              <a:gd name="connsiteX2613" fmla="*/ 7156094 w 9922465"/>
              <a:gd name="connsiteY2613" fmla="*/ 663230 h 1934496"/>
              <a:gd name="connsiteX2614" fmla="*/ 7211286 w 9922465"/>
              <a:gd name="connsiteY2614" fmla="*/ 608039 h 1934496"/>
              <a:gd name="connsiteX2615" fmla="*/ 7080994 w 9922465"/>
              <a:gd name="connsiteY2615" fmla="*/ 608039 h 1934496"/>
              <a:gd name="connsiteX2616" fmla="*/ 7136186 w 9922465"/>
              <a:gd name="connsiteY2616" fmla="*/ 663230 h 1934496"/>
              <a:gd name="connsiteX2617" fmla="*/ 7080994 w 9922465"/>
              <a:gd name="connsiteY2617" fmla="*/ 718421 h 1934496"/>
              <a:gd name="connsiteX2618" fmla="*/ 7025802 w 9922465"/>
              <a:gd name="connsiteY2618" fmla="*/ 663230 h 1934496"/>
              <a:gd name="connsiteX2619" fmla="*/ 7080994 w 9922465"/>
              <a:gd name="connsiteY2619" fmla="*/ 608039 h 1934496"/>
              <a:gd name="connsiteX2620" fmla="*/ 6947358 w 9922465"/>
              <a:gd name="connsiteY2620" fmla="*/ 608039 h 1934496"/>
              <a:gd name="connsiteX2621" fmla="*/ 7002550 w 9922465"/>
              <a:gd name="connsiteY2621" fmla="*/ 663230 h 1934496"/>
              <a:gd name="connsiteX2622" fmla="*/ 6947358 w 9922465"/>
              <a:gd name="connsiteY2622" fmla="*/ 718421 h 1934496"/>
              <a:gd name="connsiteX2623" fmla="*/ 6892166 w 9922465"/>
              <a:gd name="connsiteY2623" fmla="*/ 663230 h 1934496"/>
              <a:gd name="connsiteX2624" fmla="*/ 6947358 w 9922465"/>
              <a:gd name="connsiteY2624" fmla="*/ 608039 h 1934496"/>
              <a:gd name="connsiteX2625" fmla="*/ 6817064 w 9922465"/>
              <a:gd name="connsiteY2625" fmla="*/ 608039 h 1934496"/>
              <a:gd name="connsiteX2626" fmla="*/ 6872256 w 9922465"/>
              <a:gd name="connsiteY2626" fmla="*/ 663230 h 1934496"/>
              <a:gd name="connsiteX2627" fmla="*/ 6817064 w 9922465"/>
              <a:gd name="connsiteY2627" fmla="*/ 718421 h 1934496"/>
              <a:gd name="connsiteX2628" fmla="*/ 6761872 w 9922465"/>
              <a:gd name="connsiteY2628" fmla="*/ 663230 h 1934496"/>
              <a:gd name="connsiteX2629" fmla="*/ 6817064 w 9922465"/>
              <a:gd name="connsiteY2629" fmla="*/ 608039 h 1934496"/>
              <a:gd name="connsiteX2630" fmla="*/ 6683431 w 9922465"/>
              <a:gd name="connsiteY2630" fmla="*/ 608039 h 1934496"/>
              <a:gd name="connsiteX2631" fmla="*/ 6738623 w 9922465"/>
              <a:gd name="connsiteY2631" fmla="*/ 663230 h 1934496"/>
              <a:gd name="connsiteX2632" fmla="*/ 6683431 w 9922465"/>
              <a:gd name="connsiteY2632" fmla="*/ 718421 h 1934496"/>
              <a:gd name="connsiteX2633" fmla="*/ 6628239 w 9922465"/>
              <a:gd name="connsiteY2633" fmla="*/ 663230 h 1934496"/>
              <a:gd name="connsiteX2634" fmla="*/ 6683431 w 9922465"/>
              <a:gd name="connsiteY2634" fmla="*/ 608039 h 1934496"/>
              <a:gd name="connsiteX2635" fmla="*/ 6155573 w 9922465"/>
              <a:gd name="connsiteY2635" fmla="*/ 608039 h 1934496"/>
              <a:gd name="connsiteX2636" fmla="*/ 6210765 w 9922465"/>
              <a:gd name="connsiteY2636" fmla="*/ 663230 h 1934496"/>
              <a:gd name="connsiteX2637" fmla="*/ 6155573 w 9922465"/>
              <a:gd name="connsiteY2637" fmla="*/ 718421 h 1934496"/>
              <a:gd name="connsiteX2638" fmla="*/ 6100381 w 9922465"/>
              <a:gd name="connsiteY2638" fmla="*/ 663230 h 1934496"/>
              <a:gd name="connsiteX2639" fmla="*/ 6155573 w 9922465"/>
              <a:gd name="connsiteY2639" fmla="*/ 608039 h 1934496"/>
              <a:gd name="connsiteX2640" fmla="*/ 5487399 w 9922465"/>
              <a:gd name="connsiteY2640" fmla="*/ 608039 h 1934496"/>
              <a:gd name="connsiteX2641" fmla="*/ 5542591 w 9922465"/>
              <a:gd name="connsiteY2641" fmla="*/ 663230 h 1934496"/>
              <a:gd name="connsiteX2642" fmla="*/ 5487399 w 9922465"/>
              <a:gd name="connsiteY2642" fmla="*/ 718421 h 1934496"/>
              <a:gd name="connsiteX2643" fmla="*/ 5432207 w 9922465"/>
              <a:gd name="connsiteY2643" fmla="*/ 663230 h 1934496"/>
              <a:gd name="connsiteX2644" fmla="*/ 5487399 w 9922465"/>
              <a:gd name="connsiteY2644" fmla="*/ 608039 h 1934496"/>
              <a:gd name="connsiteX2645" fmla="*/ 5357106 w 9922465"/>
              <a:gd name="connsiteY2645" fmla="*/ 608039 h 1934496"/>
              <a:gd name="connsiteX2646" fmla="*/ 5412298 w 9922465"/>
              <a:gd name="connsiteY2646" fmla="*/ 663230 h 1934496"/>
              <a:gd name="connsiteX2647" fmla="*/ 5357106 w 9922465"/>
              <a:gd name="connsiteY2647" fmla="*/ 718421 h 1934496"/>
              <a:gd name="connsiteX2648" fmla="*/ 5301914 w 9922465"/>
              <a:gd name="connsiteY2648" fmla="*/ 663230 h 1934496"/>
              <a:gd name="connsiteX2649" fmla="*/ 5357106 w 9922465"/>
              <a:gd name="connsiteY2649" fmla="*/ 608039 h 1934496"/>
              <a:gd name="connsiteX2650" fmla="*/ 5223473 w 9922465"/>
              <a:gd name="connsiteY2650" fmla="*/ 608038 h 1934496"/>
              <a:gd name="connsiteX2651" fmla="*/ 5278665 w 9922465"/>
              <a:gd name="connsiteY2651" fmla="*/ 663229 h 1934496"/>
              <a:gd name="connsiteX2652" fmla="*/ 5223473 w 9922465"/>
              <a:gd name="connsiteY2652" fmla="*/ 718420 h 1934496"/>
              <a:gd name="connsiteX2653" fmla="*/ 5168281 w 9922465"/>
              <a:gd name="connsiteY2653" fmla="*/ 663229 h 1934496"/>
              <a:gd name="connsiteX2654" fmla="*/ 5223473 w 9922465"/>
              <a:gd name="connsiteY2654" fmla="*/ 608038 h 1934496"/>
              <a:gd name="connsiteX2655" fmla="*/ 4030786 w 9922465"/>
              <a:gd name="connsiteY2655" fmla="*/ 608038 h 1934496"/>
              <a:gd name="connsiteX2656" fmla="*/ 4085978 w 9922465"/>
              <a:gd name="connsiteY2656" fmla="*/ 663229 h 1934496"/>
              <a:gd name="connsiteX2657" fmla="*/ 4030786 w 9922465"/>
              <a:gd name="connsiteY2657" fmla="*/ 718420 h 1934496"/>
              <a:gd name="connsiteX2658" fmla="*/ 3975594 w 9922465"/>
              <a:gd name="connsiteY2658" fmla="*/ 663229 h 1934496"/>
              <a:gd name="connsiteX2659" fmla="*/ 4030786 w 9922465"/>
              <a:gd name="connsiteY2659" fmla="*/ 608038 h 1934496"/>
              <a:gd name="connsiteX2660" fmla="*/ 3897148 w 9922465"/>
              <a:gd name="connsiteY2660" fmla="*/ 608038 h 1934496"/>
              <a:gd name="connsiteX2661" fmla="*/ 3952340 w 9922465"/>
              <a:gd name="connsiteY2661" fmla="*/ 663229 h 1934496"/>
              <a:gd name="connsiteX2662" fmla="*/ 3897148 w 9922465"/>
              <a:gd name="connsiteY2662" fmla="*/ 718420 h 1934496"/>
              <a:gd name="connsiteX2663" fmla="*/ 3841956 w 9922465"/>
              <a:gd name="connsiteY2663" fmla="*/ 663229 h 1934496"/>
              <a:gd name="connsiteX2664" fmla="*/ 3897148 w 9922465"/>
              <a:gd name="connsiteY2664" fmla="*/ 608038 h 1934496"/>
              <a:gd name="connsiteX2665" fmla="*/ 3763514 w 9922465"/>
              <a:gd name="connsiteY2665" fmla="*/ 608038 h 1934496"/>
              <a:gd name="connsiteX2666" fmla="*/ 3818706 w 9922465"/>
              <a:gd name="connsiteY2666" fmla="*/ 663229 h 1934496"/>
              <a:gd name="connsiteX2667" fmla="*/ 3763514 w 9922465"/>
              <a:gd name="connsiteY2667" fmla="*/ 718420 h 1934496"/>
              <a:gd name="connsiteX2668" fmla="*/ 3708322 w 9922465"/>
              <a:gd name="connsiteY2668" fmla="*/ 663229 h 1934496"/>
              <a:gd name="connsiteX2669" fmla="*/ 3763514 w 9922465"/>
              <a:gd name="connsiteY2669" fmla="*/ 608038 h 1934496"/>
              <a:gd name="connsiteX2670" fmla="*/ 3633221 w 9922465"/>
              <a:gd name="connsiteY2670" fmla="*/ 608038 h 1934496"/>
              <a:gd name="connsiteX2671" fmla="*/ 3688413 w 9922465"/>
              <a:gd name="connsiteY2671" fmla="*/ 663229 h 1934496"/>
              <a:gd name="connsiteX2672" fmla="*/ 3633221 w 9922465"/>
              <a:gd name="connsiteY2672" fmla="*/ 718420 h 1934496"/>
              <a:gd name="connsiteX2673" fmla="*/ 3578029 w 9922465"/>
              <a:gd name="connsiteY2673" fmla="*/ 663229 h 1934496"/>
              <a:gd name="connsiteX2674" fmla="*/ 3633221 w 9922465"/>
              <a:gd name="connsiteY2674" fmla="*/ 608038 h 1934496"/>
              <a:gd name="connsiteX2675" fmla="*/ 3499589 w 9922465"/>
              <a:gd name="connsiteY2675" fmla="*/ 608038 h 1934496"/>
              <a:gd name="connsiteX2676" fmla="*/ 3554781 w 9922465"/>
              <a:gd name="connsiteY2676" fmla="*/ 663229 h 1934496"/>
              <a:gd name="connsiteX2677" fmla="*/ 3499589 w 9922465"/>
              <a:gd name="connsiteY2677" fmla="*/ 718420 h 1934496"/>
              <a:gd name="connsiteX2678" fmla="*/ 3444397 w 9922465"/>
              <a:gd name="connsiteY2678" fmla="*/ 663229 h 1934496"/>
              <a:gd name="connsiteX2679" fmla="*/ 3499589 w 9922465"/>
              <a:gd name="connsiteY2679" fmla="*/ 608038 h 1934496"/>
              <a:gd name="connsiteX2680" fmla="*/ 3369292 w 9922465"/>
              <a:gd name="connsiteY2680" fmla="*/ 608038 h 1934496"/>
              <a:gd name="connsiteX2681" fmla="*/ 3424484 w 9922465"/>
              <a:gd name="connsiteY2681" fmla="*/ 663229 h 1934496"/>
              <a:gd name="connsiteX2682" fmla="*/ 3369292 w 9922465"/>
              <a:gd name="connsiteY2682" fmla="*/ 718420 h 1934496"/>
              <a:gd name="connsiteX2683" fmla="*/ 3314100 w 9922465"/>
              <a:gd name="connsiteY2683" fmla="*/ 663229 h 1934496"/>
              <a:gd name="connsiteX2684" fmla="*/ 3369292 w 9922465"/>
              <a:gd name="connsiteY2684" fmla="*/ 608038 h 1934496"/>
              <a:gd name="connsiteX2685" fmla="*/ 3235657 w 9922465"/>
              <a:gd name="connsiteY2685" fmla="*/ 608038 h 1934496"/>
              <a:gd name="connsiteX2686" fmla="*/ 3290849 w 9922465"/>
              <a:gd name="connsiteY2686" fmla="*/ 663229 h 1934496"/>
              <a:gd name="connsiteX2687" fmla="*/ 3235657 w 9922465"/>
              <a:gd name="connsiteY2687" fmla="*/ 718420 h 1934496"/>
              <a:gd name="connsiteX2688" fmla="*/ 3180465 w 9922465"/>
              <a:gd name="connsiteY2688" fmla="*/ 663229 h 1934496"/>
              <a:gd name="connsiteX2689" fmla="*/ 3235657 w 9922465"/>
              <a:gd name="connsiteY2689" fmla="*/ 608038 h 1934496"/>
              <a:gd name="connsiteX2690" fmla="*/ 2570932 w 9922465"/>
              <a:gd name="connsiteY2690" fmla="*/ 608038 h 1934496"/>
              <a:gd name="connsiteX2691" fmla="*/ 2626123 w 9922465"/>
              <a:gd name="connsiteY2691" fmla="*/ 663229 h 1934496"/>
              <a:gd name="connsiteX2692" fmla="*/ 2570932 w 9922465"/>
              <a:gd name="connsiteY2692" fmla="*/ 718420 h 1934496"/>
              <a:gd name="connsiteX2693" fmla="*/ 2515738 w 9922465"/>
              <a:gd name="connsiteY2693" fmla="*/ 663229 h 1934496"/>
              <a:gd name="connsiteX2694" fmla="*/ 2570932 w 9922465"/>
              <a:gd name="connsiteY2694" fmla="*/ 608038 h 1934496"/>
              <a:gd name="connsiteX2695" fmla="*/ 2437297 w 9922465"/>
              <a:gd name="connsiteY2695" fmla="*/ 608038 h 1934496"/>
              <a:gd name="connsiteX2696" fmla="*/ 2492487 w 9922465"/>
              <a:gd name="connsiteY2696" fmla="*/ 663229 h 1934496"/>
              <a:gd name="connsiteX2697" fmla="*/ 2437297 w 9922465"/>
              <a:gd name="connsiteY2697" fmla="*/ 718420 h 1934496"/>
              <a:gd name="connsiteX2698" fmla="*/ 2382108 w 9922465"/>
              <a:gd name="connsiteY2698" fmla="*/ 663229 h 1934496"/>
              <a:gd name="connsiteX2699" fmla="*/ 2437297 w 9922465"/>
              <a:gd name="connsiteY2699" fmla="*/ 608038 h 1934496"/>
              <a:gd name="connsiteX2700" fmla="*/ 2303664 w 9922465"/>
              <a:gd name="connsiteY2700" fmla="*/ 608038 h 1934496"/>
              <a:gd name="connsiteX2701" fmla="*/ 2358856 w 9922465"/>
              <a:gd name="connsiteY2701" fmla="*/ 663229 h 1934496"/>
              <a:gd name="connsiteX2702" fmla="*/ 2303664 w 9922465"/>
              <a:gd name="connsiteY2702" fmla="*/ 718420 h 1934496"/>
              <a:gd name="connsiteX2703" fmla="*/ 2248473 w 9922465"/>
              <a:gd name="connsiteY2703" fmla="*/ 663229 h 1934496"/>
              <a:gd name="connsiteX2704" fmla="*/ 2303664 w 9922465"/>
              <a:gd name="connsiteY2704" fmla="*/ 608038 h 1934496"/>
              <a:gd name="connsiteX2705" fmla="*/ 2173372 w 9922465"/>
              <a:gd name="connsiteY2705" fmla="*/ 608038 h 1934496"/>
              <a:gd name="connsiteX2706" fmla="*/ 2228565 w 9922465"/>
              <a:gd name="connsiteY2706" fmla="*/ 663229 h 1934496"/>
              <a:gd name="connsiteX2707" fmla="*/ 2173372 w 9922465"/>
              <a:gd name="connsiteY2707" fmla="*/ 718420 h 1934496"/>
              <a:gd name="connsiteX2708" fmla="*/ 2118180 w 9922465"/>
              <a:gd name="connsiteY2708" fmla="*/ 663229 h 1934496"/>
              <a:gd name="connsiteX2709" fmla="*/ 2173372 w 9922465"/>
              <a:gd name="connsiteY2709" fmla="*/ 608038 h 1934496"/>
              <a:gd name="connsiteX2710" fmla="*/ 2039736 w 9922465"/>
              <a:gd name="connsiteY2710" fmla="*/ 608038 h 1934496"/>
              <a:gd name="connsiteX2711" fmla="*/ 2094930 w 9922465"/>
              <a:gd name="connsiteY2711" fmla="*/ 663229 h 1934496"/>
              <a:gd name="connsiteX2712" fmla="*/ 2039736 w 9922465"/>
              <a:gd name="connsiteY2712" fmla="*/ 718420 h 1934496"/>
              <a:gd name="connsiteX2713" fmla="*/ 1984543 w 9922465"/>
              <a:gd name="connsiteY2713" fmla="*/ 663229 h 1934496"/>
              <a:gd name="connsiteX2714" fmla="*/ 2039736 w 9922465"/>
              <a:gd name="connsiteY2714" fmla="*/ 608038 h 1934496"/>
              <a:gd name="connsiteX2715" fmla="*/ 1909437 w 9922465"/>
              <a:gd name="connsiteY2715" fmla="*/ 608038 h 1934496"/>
              <a:gd name="connsiteX2716" fmla="*/ 1964630 w 9922465"/>
              <a:gd name="connsiteY2716" fmla="*/ 663229 h 1934496"/>
              <a:gd name="connsiteX2717" fmla="*/ 1909437 w 9922465"/>
              <a:gd name="connsiteY2717" fmla="*/ 718420 h 1934496"/>
              <a:gd name="connsiteX2718" fmla="*/ 1854244 w 9922465"/>
              <a:gd name="connsiteY2718" fmla="*/ 663229 h 1934496"/>
              <a:gd name="connsiteX2719" fmla="*/ 1909437 w 9922465"/>
              <a:gd name="connsiteY2719" fmla="*/ 608038 h 1934496"/>
              <a:gd name="connsiteX2720" fmla="*/ 1779142 w 9922465"/>
              <a:gd name="connsiteY2720" fmla="*/ 608038 h 1934496"/>
              <a:gd name="connsiteX2721" fmla="*/ 1834335 w 9922465"/>
              <a:gd name="connsiteY2721" fmla="*/ 663229 h 1934496"/>
              <a:gd name="connsiteX2722" fmla="*/ 1779142 w 9922465"/>
              <a:gd name="connsiteY2722" fmla="*/ 718420 h 1934496"/>
              <a:gd name="connsiteX2723" fmla="*/ 1723950 w 9922465"/>
              <a:gd name="connsiteY2723" fmla="*/ 663229 h 1934496"/>
              <a:gd name="connsiteX2724" fmla="*/ 1779142 w 9922465"/>
              <a:gd name="connsiteY2724" fmla="*/ 608038 h 1934496"/>
              <a:gd name="connsiteX2725" fmla="*/ 1645508 w 9922465"/>
              <a:gd name="connsiteY2725" fmla="*/ 608038 h 1934496"/>
              <a:gd name="connsiteX2726" fmla="*/ 1700702 w 9922465"/>
              <a:gd name="connsiteY2726" fmla="*/ 663229 h 1934496"/>
              <a:gd name="connsiteX2727" fmla="*/ 1645508 w 9922465"/>
              <a:gd name="connsiteY2727" fmla="*/ 718420 h 1934496"/>
              <a:gd name="connsiteX2728" fmla="*/ 1590311 w 9922465"/>
              <a:gd name="connsiteY2728" fmla="*/ 663229 h 1934496"/>
              <a:gd name="connsiteX2729" fmla="*/ 1645508 w 9922465"/>
              <a:gd name="connsiteY2729" fmla="*/ 608038 h 1934496"/>
              <a:gd name="connsiteX2730" fmla="*/ 1515217 w 9922465"/>
              <a:gd name="connsiteY2730" fmla="*/ 608038 h 1934496"/>
              <a:gd name="connsiteX2731" fmla="*/ 1570402 w 9922465"/>
              <a:gd name="connsiteY2731" fmla="*/ 663229 h 1934496"/>
              <a:gd name="connsiteX2732" fmla="*/ 1515217 w 9922465"/>
              <a:gd name="connsiteY2732" fmla="*/ 718420 h 1934496"/>
              <a:gd name="connsiteX2733" fmla="*/ 1460020 w 9922465"/>
              <a:gd name="connsiteY2733" fmla="*/ 663229 h 1934496"/>
              <a:gd name="connsiteX2734" fmla="*/ 1515217 w 9922465"/>
              <a:gd name="connsiteY2734" fmla="*/ 608038 h 1934496"/>
              <a:gd name="connsiteX2735" fmla="*/ 1381573 w 9922465"/>
              <a:gd name="connsiteY2735" fmla="*/ 608038 h 1934496"/>
              <a:gd name="connsiteX2736" fmla="*/ 1436767 w 9922465"/>
              <a:gd name="connsiteY2736" fmla="*/ 663229 h 1934496"/>
              <a:gd name="connsiteX2737" fmla="*/ 1381573 w 9922465"/>
              <a:gd name="connsiteY2737" fmla="*/ 718420 h 1934496"/>
              <a:gd name="connsiteX2738" fmla="*/ 1326384 w 9922465"/>
              <a:gd name="connsiteY2738" fmla="*/ 663229 h 1934496"/>
              <a:gd name="connsiteX2739" fmla="*/ 1381573 w 9922465"/>
              <a:gd name="connsiteY2739" fmla="*/ 608038 h 1934496"/>
              <a:gd name="connsiteX2740" fmla="*/ 1251282 w 9922465"/>
              <a:gd name="connsiteY2740" fmla="*/ 608038 h 1934496"/>
              <a:gd name="connsiteX2741" fmla="*/ 1306476 w 9922465"/>
              <a:gd name="connsiteY2741" fmla="*/ 663229 h 1934496"/>
              <a:gd name="connsiteX2742" fmla="*/ 1251282 w 9922465"/>
              <a:gd name="connsiteY2742" fmla="*/ 718420 h 1934496"/>
              <a:gd name="connsiteX2743" fmla="*/ 1196089 w 9922465"/>
              <a:gd name="connsiteY2743" fmla="*/ 663229 h 1934496"/>
              <a:gd name="connsiteX2744" fmla="*/ 1251282 w 9922465"/>
              <a:gd name="connsiteY2744" fmla="*/ 608038 h 1934496"/>
              <a:gd name="connsiteX2745" fmla="*/ 8143386 w 9922465"/>
              <a:gd name="connsiteY2745" fmla="*/ 494447 h 1934496"/>
              <a:gd name="connsiteX2746" fmla="*/ 8198578 w 9922465"/>
              <a:gd name="connsiteY2746" fmla="*/ 549638 h 1934496"/>
              <a:gd name="connsiteX2747" fmla="*/ 8143386 w 9922465"/>
              <a:gd name="connsiteY2747" fmla="*/ 604829 h 1934496"/>
              <a:gd name="connsiteX2748" fmla="*/ 8088194 w 9922465"/>
              <a:gd name="connsiteY2748" fmla="*/ 549638 h 1934496"/>
              <a:gd name="connsiteX2749" fmla="*/ 8143386 w 9922465"/>
              <a:gd name="connsiteY2749" fmla="*/ 494447 h 1934496"/>
              <a:gd name="connsiteX2750" fmla="*/ 8009753 w 9922465"/>
              <a:gd name="connsiteY2750" fmla="*/ 494447 h 1934496"/>
              <a:gd name="connsiteX2751" fmla="*/ 8064945 w 9922465"/>
              <a:gd name="connsiteY2751" fmla="*/ 549638 h 1934496"/>
              <a:gd name="connsiteX2752" fmla="*/ 8009753 w 9922465"/>
              <a:gd name="connsiteY2752" fmla="*/ 604829 h 1934496"/>
              <a:gd name="connsiteX2753" fmla="*/ 7954561 w 9922465"/>
              <a:gd name="connsiteY2753" fmla="*/ 549638 h 1934496"/>
              <a:gd name="connsiteX2754" fmla="*/ 8009753 w 9922465"/>
              <a:gd name="connsiteY2754" fmla="*/ 494447 h 1934496"/>
              <a:gd name="connsiteX2755" fmla="*/ 7876118 w 9922465"/>
              <a:gd name="connsiteY2755" fmla="*/ 494447 h 1934496"/>
              <a:gd name="connsiteX2756" fmla="*/ 7931310 w 9922465"/>
              <a:gd name="connsiteY2756" fmla="*/ 549638 h 1934496"/>
              <a:gd name="connsiteX2757" fmla="*/ 7876118 w 9922465"/>
              <a:gd name="connsiteY2757" fmla="*/ 604829 h 1934496"/>
              <a:gd name="connsiteX2758" fmla="*/ 7820926 w 9922465"/>
              <a:gd name="connsiteY2758" fmla="*/ 549638 h 1934496"/>
              <a:gd name="connsiteX2759" fmla="*/ 7876118 w 9922465"/>
              <a:gd name="connsiteY2759" fmla="*/ 494447 h 1934496"/>
              <a:gd name="connsiteX2760" fmla="*/ 7745824 w 9922465"/>
              <a:gd name="connsiteY2760" fmla="*/ 494447 h 1934496"/>
              <a:gd name="connsiteX2761" fmla="*/ 7801016 w 9922465"/>
              <a:gd name="connsiteY2761" fmla="*/ 549638 h 1934496"/>
              <a:gd name="connsiteX2762" fmla="*/ 7745824 w 9922465"/>
              <a:gd name="connsiteY2762" fmla="*/ 604829 h 1934496"/>
              <a:gd name="connsiteX2763" fmla="*/ 7690632 w 9922465"/>
              <a:gd name="connsiteY2763" fmla="*/ 549638 h 1934496"/>
              <a:gd name="connsiteX2764" fmla="*/ 7745824 w 9922465"/>
              <a:gd name="connsiteY2764" fmla="*/ 494447 h 1934496"/>
              <a:gd name="connsiteX2765" fmla="*/ 7608850 w 9922465"/>
              <a:gd name="connsiteY2765" fmla="*/ 494447 h 1934496"/>
              <a:gd name="connsiteX2766" fmla="*/ 7664042 w 9922465"/>
              <a:gd name="connsiteY2766" fmla="*/ 549638 h 1934496"/>
              <a:gd name="connsiteX2767" fmla="*/ 7608850 w 9922465"/>
              <a:gd name="connsiteY2767" fmla="*/ 604829 h 1934496"/>
              <a:gd name="connsiteX2768" fmla="*/ 7553658 w 9922465"/>
              <a:gd name="connsiteY2768" fmla="*/ 549638 h 1934496"/>
              <a:gd name="connsiteX2769" fmla="*/ 7608850 w 9922465"/>
              <a:gd name="connsiteY2769" fmla="*/ 494447 h 1934496"/>
              <a:gd name="connsiteX2770" fmla="*/ 7481895 w 9922465"/>
              <a:gd name="connsiteY2770" fmla="*/ 494447 h 1934496"/>
              <a:gd name="connsiteX2771" fmla="*/ 7537087 w 9922465"/>
              <a:gd name="connsiteY2771" fmla="*/ 549638 h 1934496"/>
              <a:gd name="connsiteX2772" fmla="*/ 7481895 w 9922465"/>
              <a:gd name="connsiteY2772" fmla="*/ 604829 h 1934496"/>
              <a:gd name="connsiteX2773" fmla="*/ 7426703 w 9922465"/>
              <a:gd name="connsiteY2773" fmla="*/ 549638 h 1934496"/>
              <a:gd name="connsiteX2774" fmla="*/ 7481895 w 9922465"/>
              <a:gd name="connsiteY2774" fmla="*/ 494447 h 1934496"/>
              <a:gd name="connsiteX2775" fmla="*/ 7341580 w 9922465"/>
              <a:gd name="connsiteY2775" fmla="*/ 494447 h 1934496"/>
              <a:gd name="connsiteX2776" fmla="*/ 7396772 w 9922465"/>
              <a:gd name="connsiteY2776" fmla="*/ 549638 h 1934496"/>
              <a:gd name="connsiteX2777" fmla="*/ 7341580 w 9922465"/>
              <a:gd name="connsiteY2777" fmla="*/ 604829 h 1934496"/>
              <a:gd name="connsiteX2778" fmla="*/ 7286388 w 9922465"/>
              <a:gd name="connsiteY2778" fmla="*/ 549638 h 1934496"/>
              <a:gd name="connsiteX2779" fmla="*/ 7341580 w 9922465"/>
              <a:gd name="connsiteY2779" fmla="*/ 494447 h 1934496"/>
              <a:gd name="connsiteX2780" fmla="*/ 7211286 w 9922465"/>
              <a:gd name="connsiteY2780" fmla="*/ 494447 h 1934496"/>
              <a:gd name="connsiteX2781" fmla="*/ 7266478 w 9922465"/>
              <a:gd name="connsiteY2781" fmla="*/ 549638 h 1934496"/>
              <a:gd name="connsiteX2782" fmla="*/ 7211286 w 9922465"/>
              <a:gd name="connsiteY2782" fmla="*/ 604829 h 1934496"/>
              <a:gd name="connsiteX2783" fmla="*/ 7156094 w 9922465"/>
              <a:gd name="connsiteY2783" fmla="*/ 549638 h 1934496"/>
              <a:gd name="connsiteX2784" fmla="*/ 7211286 w 9922465"/>
              <a:gd name="connsiteY2784" fmla="*/ 494447 h 1934496"/>
              <a:gd name="connsiteX2785" fmla="*/ 7080994 w 9922465"/>
              <a:gd name="connsiteY2785" fmla="*/ 494447 h 1934496"/>
              <a:gd name="connsiteX2786" fmla="*/ 7136186 w 9922465"/>
              <a:gd name="connsiteY2786" fmla="*/ 549638 h 1934496"/>
              <a:gd name="connsiteX2787" fmla="*/ 7080994 w 9922465"/>
              <a:gd name="connsiteY2787" fmla="*/ 604829 h 1934496"/>
              <a:gd name="connsiteX2788" fmla="*/ 7025802 w 9922465"/>
              <a:gd name="connsiteY2788" fmla="*/ 549638 h 1934496"/>
              <a:gd name="connsiteX2789" fmla="*/ 7080994 w 9922465"/>
              <a:gd name="connsiteY2789" fmla="*/ 494447 h 1934496"/>
              <a:gd name="connsiteX2790" fmla="*/ 6947358 w 9922465"/>
              <a:gd name="connsiteY2790" fmla="*/ 494447 h 1934496"/>
              <a:gd name="connsiteX2791" fmla="*/ 7002550 w 9922465"/>
              <a:gd name="connsiteY2791" fmla="*/ 549638 h 1934496"/>
              <a:gd name="connsiteX2792" fmla="*/ 6947358 w 9922465"/>
              <a:gd name="connsiteY2792" fmla="*/ 604829 h 1934496"/>
              <a:gd name="connsiteX2793" fmla="*/ 6892166 w 9922465"/>
              <a:gd name="connsiteY2793" fmla="*/ 549638 h 1934496"/>
              <a:gd name="connsiteX2794" fmla="*/ 6947358 w 9922465"/>
              <a:gd name="connsiteY2794" fmla="*/ 494447 h 1934496"/>
              <a:gd name="connsiteX2795" fmla="*/ 6289207 w 9922465"/>
              <a:gd name="connsiteY2795" fmla="*/ 494447 h 1934496"/>
              <a:gd name="connsiteX2796" fmla="*/ 6344399 w 9922465"/>
              <a:gd name="connsiteY2796" fmla="*/ 549638 h 1934496"/>
              <a:gd name="connsiteX2797" fmla="*/ 6289207 w 9922465"/>
              <a:gd name="connsiteY2797" fmla="*/ 604829 h 1934496"/>
              <a:gd name="connsiteX2798" fmla="*/ 6234015 w 9922465"/>
              <a:gd name="connsiteY2798" fmla="*/ 549638 h 1934496"/>
              <a:gd name="connsiteX2799" fmla="*/ 6289207 w 9922465"/>
              <a:gd name="connsiteY2799" fmla="*/ 494447 h 1934496"/>
              <a:gd name="connsiteX2800" fmla="*/ 4030786 w 9922465"/>
              <a:gd name="connsiteY2800" fmla="*/ 494447 h 1934496"/>
              <a:gd name="connsiteX2801" fmla="*/ 4085978 w 9922465"/>
              <a:gd name="connsiteY2801" fmla="*/ 549638 h 1934496"/>
              <a:gd name="connsiteX2802" fmla="*/ 4030786 w 9922465"/>
              <a:gd name="connsiteY2802" fmla="*/ 604829 h 1934496"/>
              <a:gd name="connsiteX2803" fmla="*/ 3975594 w 9922465"/>
              <a:gd name="connsiteY2803" fmla="*/ 549638 h 1934496"/>
              <a:gd name="connsiteX2804" fmla="*/ 4030786 w 9922465"/>
              <a:gd name="connsiteY2804" fmla="*/ 494447 h 1934496"/>
              <a:gd name="connsiteX2805" fmla="*/ 3897148 w 9922465"/>
              <a:gd name="connsiteY2805" fmla="*/ 494447 h 1934496"/>
              <a:gd name="connsiteX2806" fmla="*/ 3952340 w 9922465"/>
              <a:gd name="connsiteY2806" fmla="*/ 549638 h 1934496"/>
              <a:gd name="connsiteX2807" fmla="*/ 3897148 w 9922465"/>
              <a:gd name="connsiteY2807" fmla="*/ 604829 h 1934496"/>
              <a:gd name="connsiteX2808" fmla="*/ 3841956 w 9922465"/>
              <a:gd name="connsiteY2808" fmla="*/ 549638 h 1934496"/>
              <a:gd name="connsiteX2809" fmla="*/ 3897148 w 9922465"/>
              <a:gd name="connsiteY2809" fmla="*/ 494447 h 1934496"/>
              <a:gd name="connsiteX2810" fmla="*/ 3763514 w 9922465"/>
              <a:gd name="connsiteY2810" fmla="*/ 494447 h 1934496"/>
              <a:gd name="connsiteX2811" fmla="*/ 3818706 w 9922465"/>
              <a:gd name="connsiteY2811" fmla="*/ 549638 h 1934496"/>
              <a:gd name="connsiteX2812" fmla="*/ 3763514 w 9922465"/>
              <a:gd name="connsiteY2812" fmla="*/ 604829 h 1934496"/>
              <a:gd name="connsiteX2813" fmla="*/ 3708322 w 9922465"/>
              <a:gd name="connsiteY2813" fmla="*/ 549638 h 1934496"/>
              <a:gd name="connsiteX2814" fmla="*/ 3763514 w 9922465"/>
              <a:gd name="connsiteY2814" fmla="*/ 494447 h 1934496"/>
              <a:gd name="connsiteX2815" fmla="*/ 3633221 w 9922465"/>
              <a:gd name="connsiteY2815" fmla="*/ 494447 h 1934496"/>
              <a:gd name="connsiteX2816" fmla="*/ 3688413 w 9922465"/>
              <a:gd name="connsiteY2816" fmla="*/ 549638 h 1934496"/>
              <a:gd name="connsiteX2817" fmla="*/ 3633221 w 9922465"/>
              <a:gd name="connsiteY2817" fmla="*/ 604829 h 1934496"/>
              <a:gd name="connsiteX2818" fmla="*/ 3578029 w 9922465"/>
              <a:gd name="connsiteY2818" fmla="*/ 549638 h 1934496"/>
              <a:gd name="connsiteX2819" fmla="*/ 3633221 w 9922465"/>
              <a:gd name="connsiteY2819" fmla="*/ 494447 h 1934496"/>
              <a:gd name="connsiteX2820" fmla="*/ 3499589 w 9922465"/>
              <a:gd name="connsiteY2820" fmla="*/ 494447 h 1934496"/>
              <a:gd name="connsiteX2821" fmla="*/ 3554781 w 9922465"/>
              <a:gd name="connsiteY2821" fmla="*/ 549638 h 1934496"/>
              <a:gd name="connsiteX2822" fmla="*/ 3499589 w 9922465"/>
              <a:gd name="connsiteY2822" fmla="*/ 604829 h 1934496"/>
              <a:gd name="connsiteX2823" fmla="*/ 3444397 w 9922465"/>
              <a:gd name="connsiteY2823" fmla="*/ 549638 h 1934496"/>
              <a:gd name="connsiteX2824" fmla="*/ 3499589 w 9922465"/>
              <a:gd name="connsiteY2824" fmla="*/ 494447 h 1934496"/>
              <a:gd name="connsiteX2825" fmla="*/ 3369292 w 9922465"/>
              <a:gd name="connsiteY2825" fmla="*/ 494447 h 1934496"/>
              <a:gd name="connsiteX2826" fmla="*/ 3424484 w 9922465"/>
              <a:gd name="connsiteY2826" fmla="*/ 549638 h 1934496"/>
              <a:gd name="connsiteX2827" fmla="*/ 3369292 w 9922465"/>
              <a:gd name="connsiteY2827" fmla="*/ 604829 h 1934496"/>
              <a:gd name="connsiteX2828" fmla="*/ 3314100 w 9922465"/>
              <a:gd name="connsiteY2828" fmla="*/ 549638 h 1934496"/>
              <a:gd name="connsiteX2829" fmla="*/ 3369292 w 9922465"/>
              <a:gd name="connsiteY2829" fmla="*/ 494447 h 1934496"/>
              <a:gd name="connsiteX2830" fmla="*/ 3235657 w 9922465"/>
              <a:gd name="connsiteY2830" fmla="*/ 494447 h 1934496"/>
              <a:gd name="connsiteX2831" fmla="*/ 3290849 w 9922465"/>
              <a:gd name="connsiteY2831" fmla="*/ 549638 h 1934496"/>
              <a:gd name="connsiteX2832" fmla="*/ 3235657 w 9922465"/>
              <a:gd name="connsiteY2832" fmla="*/ 604829 h 1934496"/>
              <a:gd name="connsiteX2833" fmla="*/ 3180465 w 9922465"/>
              <a:gd name="connsiteY2833" fmla="*/ 549638 h 1934496"/>
              <a:gd name="connsiteX2834" fmla="*/ 3235657 w 9922465"/>
              <a:gd name="connsiteY2834" fmla="*/ 494447 h 1934496"/>
              <a:gd name="connsiteX2835" fmla="*/ 2437297 w 9922465"/>
              <a:gd name="connsiteY2835" fmla="*/ 494447 h 1934496"/>
              <a:gd name="connsiteX2836" fmla="*/ 2492487 w 9922465"/>
              <a:gd name="connsiteY2836" fmla="*/ 549638 h 1934496"/>
              <a:gd name="connsiteX2837" fmla="*/ 2437297 w 9922465"/>
              <a:gd name="connsiteY2837" fmla="*/ 604829 h 1934496"/>
              <a:gd name="connsiteX2838" fmla="*/ 2382108 w 9922465"/>
              <a:gd name="connsiteY2838" fmla="*/ 549638 h 1934496"/>
              <a:gd name="connsiteX2839" fmla="*/ 2437297 w 9922465"/>
              <a:gd name="connsiteY2839" fmla="*/ 494447 h 1934496"/>
              <a:gd name="connsiteX2840" fmla="*/ 2303664 w 9922465"/>
              <a:gd name="connsiteY2840" fmla="*/ 494447 h 1934496"/>
              <a:gd name="connsiteX2841" fmla="*/ 2358856 w 9922465"/>
              <a:gd name="connsiteY2841" fmla="*/ 549638 h 1934496"/>
              <a:gd name="connsiteX2842" fmla="*/ 2303664 w 9922465"/>
              <a:gd name="connsiteY2842" fmla="*/ 604829 h 1934496"/>
              <a:gd name="connsiteX2843" fmla="*/ 2248473 w 9922465"/>
              <a:gd name="connsiteY2843" fmla="*/ 549638 h 1934496"/>
              <a:gd name="connsiteX2844" fmla="*/ 2303664 w 9922465"/>
              <a:gd name="connsiteY2844" fmla="*/ 494447 h 1934496"/>
              <a:gd name="connsiteX2845" fmla="*/ 2173372 w 9922465"/>
              <a:gd name="connsiteY2845" fmla="*/ 494447 h 1934496"/>
              <a:gd name="connsiteX2846" fmla="*/ 2228565 w 9922465"/>
              <a:gd name="connsiteY2846" fmla="*/ 549638 h 1934496"/>
              <a:gd name="connsiteX2847" fmla="*/ 2173372 w 9922465"/>
              <a:gd name="connsiteY2847" fmla="*/ 604829 h 1934496"/>
              <a:gd name="connsiteX2848" fmla="*/ 2118180 w 9922465"/>
              <a:gd name="connsiteY2848" fmla="*/ 549638 h 1934496"/>
              <a:gd name="connsiteX2849" fmla="*/ 2173372 w 9922465"/>
              <a:gd name="connsiteY2849" fmla="*/ 494447 h 1934496"/>
              <a:gd name="connsiteX2850" fmla="*/ 2039736 w 9922465"/>
              <a:gd name="connsiteY2850" fmla="*/ 494447 h 1934496"/>
              <a:gd name="connsiteX2851" fmla="*/ 2094930 w 9922465"/>
              <a:gd name="connsiteY2851" fmla="*/ 549638 h 1934496"/>
              <a:gd name="connsiteX2852" fmla="*/ 2039736 w 9922465"/>
              <a:gd name="connsiteY2852" fmla="*/ 604829 h 1934496"/>
              <a:gd name="connsiteX2853" fmla="*/ 1984543 w 9922465"/>
              <a:gd name="connsiteY2853" fmla="*/ 549638 h 1934496"/>
              <a:gd name="connsiteX2854" fmla="*/ 2039736 w 9922465"/>
              <a:gd name="connsiteY2854" fmla="*/ 494447 h 1934496"/>
              <a:gd name="connsiteX2855" fmla="*/ 1909437 w 9922465"/>
              <a:gd name="connsiteY2855" fmla="*/ 494447 h 1934496"/>
              <a:gd name="connsiteX2856" fmla="*/ 1964630 w 9922465"/>
              <a:gd name="connsiteY2856" fmla="*/ 549638 h 1934496"/>
              <a:gd name="connsiteX2857" fmla="*/ 1909437 w 9922465"/>
              <a:gd name="connsiteY2857" fmla="*/ 604829 h 1934496"/>
              <a:gd name="connsiteX2858" fmla="*/ 1854244 w 9922465"/>
              <a:gd name="connsiteY2858" fmla="*/ 549638 h 1934496"/>
              <a:gd name="connsiteX2859" fmla="*/ 1909437 w 9922465"/>
              <a:gd name="connsiteY2859" fmla="*/ 494447 h 1934496"/>
              <a:gd name="connsiteX2860" fmla="*/ 1779142 w 9922465"/>
              <a:gd name="connsiteY2860" fmla="*/ 494447 h 1934496"/>
              <a:gd name="connsiteX2861" fmla="*/ 1834335 w 9922465"/>
              <a:gd name="connsiteY2861" fmla="*/ 549638 h 1934496"/>
              <a:gd name="connsiteX2862" fmla="*/ 1779142 w 9922465"/>
              <a:gd name="connsiteY2862" fmla="*/ 604829 h 1934496"/>
              <a:gd name="connsiteX2863" fmla="*/ 1723950 w 9922465"/>
              <a:gd name="connsiteY2863" fmla="*/ 549638 h 1934496"/>
              <a:gd name="connsiteX2864" fmla="*/ 1779142 w 9922465"/>
              <a:gd name="connsiteY2864" fmla="*/ 494447 h 1934496"/>
              <a:gd name="connsiteX2865" fmla="*/ 1645508 w 9922465"/>
              <a:gd name="connsiteY2865" fmla="*/ 494447 h 1934496"/>
              <a:gd name="connsiteX2866" fmla="*/ 1700702 w 9922465"/>
              <a:gd name="connsiteY2866" fmla="*/ 549638 h 1934496"/>
              <a:gd name="connsiteX2867" fmla="*/ 1645508 w 9922465"/>
              <a:gd name="connsiteY2867" fmla="*/ 604829 h 1934496"/>
              <a:gd name="connsiteX2868" fmla="*/ 1590311 w 9922465"/>
              <a:gd name="connsiteY2868" fmla="*/ 549638 h 1934496"/>
              <a:gd name="connsiteX2869" fmla="*/ 1645508 w 9922465"/>
              <a:gd name="connsiteY2869" fmla="*/ 494447 h 1934496"/>
              <a:gd name="connsiteX2870" fmla="*/ 1515217 w 9922465"/>
              <a:gd name="connsiteY2870" fmla="*/ 494447 h 1934496"/>
              <a:gd name="connsiteX2871" fmla="*/ 1570402 w 9922465"/>
              <a:gd name="connsiteY2871" fmla="*/ 549638 h 1934496"/>
              <a:gd name="connsiteX2872" fmla="*/ 1515217 w 9922465"/>
              <a:gd name="connsiteY2872" fmla="*/ 604829 h 1934496"/>
              <a:gd name="connsiteX2873" fmla="*/ 1460020 w 9922465"/>
              <a:gd name="connsiteY2873" fmla="*/ 549638 h 1934496"/>
              <a:gd name="connsiteX2874" fmla="*/ 1515217 w 9922465"/>
              <a:gd name="connsiteY2874" fmla="*/ 494447 h 1934496"/>
              <a:gd name="connsiteX2875" fmla="*/ 1381573 w 9922465"/>
              <a:gd name="connsiteY2875" fmla="*/ 494447 h 1934496"/>
              <a:gd name="connsiteX2876" fmla="*/ 1436767 w 9922465"/>
              <a:gd name="connsiteY2876" fmla="*/ 549638 h 1934496"/>
              <a:gd name="connsiteX2877" fmla="*/ 1381573 w 9922465"/>
              <a:gd name="connsiteY2877" fmla="*/ 604829 h 1934496"/>
              <a:gd name="connsiteX2878" fmla="*/ 1326384 w 9922465"/>
              <a:gd name="connsiteY2878" fmla="*/ 549638 h 1934496"/>
              <a:gd name="connsiteX2879" fmla="*/ 1381573 w 9922465"/>
              <a:gd name="connsiteY2879" fmla="*/ 494447 h 1934496"/>
              <a:gd name="connsiteX2880" fmla="*/ 1251282 w 9922465"/>
              <a:gd name="connsiteY2880" fmla="*/ 494447 h 1934496"/>
              <a:gd name="connsiteX2881" fmla="*/ 1306476 w 9922465"/>
              <a:gd name="connsiteY2881" fmla="*/ 549638 h 1934496"/>
              <a:gd name="connsiteX2882" fmla="*/ 1251282 w 9922465"/>
              <a:gd name="connsiteY2882" fmla="*/ 604829 h 1934496"/>
              <a:gd name="connsiteX2883" fmla="*/ 1196089 w 9922465"/>
              <a:gd name="connsiteY2883" fmla="*/ 549638 h 1934496"/>
              <a:gd name="connsiteX2884" fmla="*/ 1251282 w 9922465"/>
              <a:gd name="connsiteY2884" fmla="*/ 494447 h 1934496"/>
              <a:gd name="connsiteX2885" fmla="*/ 8801538 w 9922465"/>
              <a:gd name="connsiteY2885" fmla="*/ 364154 h 1934496"/>
              <a:gd name="connsiteX2886" fmla="*/ 8856730 w 9922465"/>
              <a:gd name="connsiteY2886" fmla="*/ 419345 h 1934496"/>
              <a:gd name="connsiteX2887" fmla="*/ 8801538 w 9922465"/>
              <a:gd name="connsiteY2887" fmla="*/ 474536 h 1934496"/>
              <a:gd name="connsiteX2888" fmla="*/ 8746346 w 9922465"/>
              <a:gd name="connsiteY2888" fmla="*/ 419345 h 1934496"/>
              <a:gd name="connsiteX2889" fmla="*/ 8801538 w 9922465"/>
              <a:gd name="connsiteY2889" fmla="*/ 364154 h 1934496"/>
              <a:gd name="connsiteX2890" fmla="*/ 8671244 w 9922465"/>
              <a:gd name="connsiteY2890" fmla="*/ 364154 h 1934496"/>
              <a:gd name="connsiteX2891" fmla="*/ 8726436 w 9922465"/>
              <a:gd name="connsiteY2891" fmla="*/ 419345 h 1934496"/>
              <a:gd name="connsiteX2892" fmla="*/ 8671244 w 9922465"/>
              <a:gd name="connsiteY2892" fmla="*/ 474536 h 1934496"/>
              <a:gd name="connsiteX2893" fmla="*/ 8616052 w 9922465"/>
              <a:gd name="connsiteY2893" fmla="*/ 419345 h 1934496"/>
              <a:gd name="connsiteX2894" fmla="*/ 8671244 w 9922465"/>
              <a:gd name="connsiteY2894" fmla="*/ 364154 h 1934496"/>
              <a:gd name="connsiteX2895" fmla="*/ 8537609 w 9922465"/>
              <a:gd name="connsiteY2895" fmla="*/ 364154 h 1934496"/>
              <a:gd name="connsiteX2896" fmla="*/ 8592801 w 9922465"/>
              <a:gd name="connsiteY2896" fmla="*/ 419345 h 1934496"/>
              <a:gd name="connsiteX2897" fmla="*/ 8537609 w 9922465"/>
              <a:gd name="connsiteY2897" fmla="*/ 474536 h 1934496"/>
              <a:gd name="connsiteX2898" fmla="*/ 8482417 w 9922465"/>
              <a:gd name="connsiteY2898" fmla="*/ 419345 h 1934496"/>
              <a:gd name="connsiteX2899" fmla="*/ 8537609 w 9922465"/>
              <a:gd name="connsiteY2899" fmla="*/ 364154 h 1934496"/>
              <a:gd name="connsiteX2900" fmla="*/ 7745824 w 9922465"/>
              <a:gd name="connsiteY2900" fmla="*/ 364154 h 1934496"/>
              <a:gd name="connsiteX2901" fmla="*/ 7801016 w 9922465"/>
              <a:gd name="connsiteY2901" fmla="*/ 419345 h 1934496"/>
              <a:gd name="connsiteX2902" fmla="*/ 7745824 w 9922465"/>
              <a:gd name="connsiteY2902" fmla="*/ 474536 h 1934496"/>
              <a:gd name="connsiteX2903" fmla="*/ 7690632 w 9922465"/>
              <a:gd name="connsiteY2903" fmla="*/ 419345 h 1934496"/>
              <a:gd name="connsiteX2904" fmla="*/ 7745824 w 9922465"/>
              <a:gd name="connsiteY2904" fmla="*/ 364154 h 1934496"/>
              <a:gd name="connsiteX2905" fmla="*/ 7608850 w 9922465"/>
              <a:gd name="connsiteY2905" fmla="*/ 364154 h 1934496"/>
              <a:gd name="connsiteX2906" fmla="*/ 7664042 w 9922465"/>
              <a:gd name="connsiteY2906" fmla="*/ 419345 h 1934496"/>
              <a:gd name="connsiteX2907" fmla="*/ 7608850 w 9922465"/>
              <a:gd name="connsiteY2907" fmla="*/ 474536 h 1934496"/>
              <a:gd name="connsiteX2908" fmla="*/ 7553658 w 9922465"/>
              <a:gd name="connsiteY2908" fmla="*/ 419345 h 1934496"/>
              <a:gd name="connsiteX2909" fmla="*/ 7608850 w 9922465"/>
              <a:gd name="connsiteY2909" fmla="*/ 364154 h 1934496"/>
              <a:gd name="connsiteX2910" fmla="*/ 7481895 w 9922465"/>
              <a:gd name="connsiteY2910" fmla="*/ 364154 h 1934496"/>
              <a:gd name="connsiteX2911" fmla="*/ 7537087 w 9922465"/>
              <a:gd name="connsiteY2911" fmla="*/ 419345 h 1934496"/>
              <a:gd name="connsiteX2912" fmla="*/ 7481895 w 9922465"/>
              <a:gd name="connsiteY2912" fmla="*/ 474536 h 1934496"/>
              <a:gd name="connsiteX2913" fmla="*/ 7426703 w 9922465"/>
              <a:gd name="connsiteY2913" fmla="*/ 419345 h 1934496"/>
              <a:gd name="connsiteX2914" fmla="*/ 7481895 w 9922465"/>
              <a:gd name="connsiteY2914" fmla="*/ 364154 h 1934496"/>
              <a:gd name="connsiteX2915" fmla="*/ 7341580 w 9922465"/>
              <a:gd name="connsiteY2915" fmla="*/ 364154 h 1934496"/>
              <a:gd name="connsiteX2916" fmla="*/ 7396772 w 9922465"/>
              <a:gd name="connsiteY2916" fmla="*/ 419345 h 1934496"/>
              <a:gd name="connsiteX2917" fmla="*/ 7341580 w 9922465"/>
              <a:gd name="connsiteY2917" fmla="*/ 474536 h 1934496"/>
              <a:gd name="connsiteX2918" fmla="*/ 7286388 w 9922465"/>
              <a:gd name="connsiteY2918" fmla="*/ 419345 h 1934496"/>
              <a:gd name="connsiteX2919" fmla="*/ 7341580 w 9922465"/>
              <a:gd name="connsiteY2919" fmla="*/ 364154 h 1934496"/>
              <a:gd name="connsiteX2920" fmla="*/ 6553137 w 9922465"/>
              <a:gd name="connsiteY2920" fmla="*/ 364154 h 1934496"/>
              <a:gd name="connsiteX2921" fmla="*/ 6608329 w 9922465"/>
              <a:gd name="connsiteY2921" fmla="*/ 419345 h 1934496"/>
              <a:gd name="connsiteX2922" fmla="*/ 6553137 w 9922465"/>
              <a:gd name="connsiteY2922" fmla="*/ 474536 h 1934496"/>
              <a:gd name="connsiteX2923" fmla="*/ 6497945 w 9922465"/>
              <a:gd name="connsiteY2923" fmla="*/ 419345 h 1934496"/>
              <a:gd name="connsiteX2924" fmla="*/ 6553137 w 9922465"/>
              <a:gd name="connsiteY2924" fmla="*/ 364154 h 1934496"/>
              <a:gd name="connsiteX2925" fmla="*/ 6419503 w 9922465"/>
              <a:gd name="connsiteY2925" fmla="*/ 364154 h 1934496"/>
              <a:gd name="connsiteX2926" fmla="*/ 6474695 w 9922465"/>
              <a:gd name="connsiteY2926" fmla="*/ 419345 h 1934496"/>
              <a:gd name="connsiteX2927" fmla="*/ 6419503 w 9922465"/>
              <a:gd name="connsiteY2927" fmla="*/ 474536 h 1934496"/>
              <a:gd name="connsiteX2928" fmla="*/ 6364311 w 9922465"/>
              <a:gd name="connsiteY2928" fmla="*/ 419345 h 1934496"/>
              <a:gd name="connsiteX2929" fmla="*/ 6419503 w 9922465"/>
              <a:gd name="connsiteY2929" fmla="*/ 364154 h 1934496"/>
              <a:gd name="connsiteX2930" fmla="*/ 4030786 w 9922465"/>
              <a:gd name="connsiteY2930" fmla="*/ 364154 h 1934496"/>
              <a:gd name="connsiteX2931" fmla="*/ 4085978 w 9922465"/>
              <a:gd name="connsiteY2931" fmla="*/ 419345 h 1934496"/>
              <a:gd name="connsiteX2932" fmla="*/ 4030786 w 9922465"/>
              <a:gd name="connsiteY2932" fmla="*/ 474536 h 1934496"/>
              <a:gd name="connsiteX2933" fmla="*/ 3975594 w 9922465"/>
              <a:gd name="connsiteY2933" fmla="*/ 419345 h 1934496"/>
              <a:gd name="connsiteX2934" fmla="*/ 4030786 w 9922465"/>
              <a:gd name="connsiteY2934" fmla="*/ 364154 h 1934496"/>
              <a:gd name="connsiteX2935" fmla="*/ 3897148 w 9922465"/>
              <a:gd name="connsiteY2935" fmla="*/ 364154 h 1934496"/>
              <a:gd name="connsiteX2936" fmla="*/ 3952340 w 9922465"/>
              <a:gd name="connsiteY2936" fmla="*/ 419345 h 1934496"/>
              <a:gd name="connsiteX2937" fmla="*/ 3897148 w 9922465"/>
              <a:gd name="connsiteY2937" fmla="*/ 474536 h 1934496"/>
              <a:gd name="connsiteX2938" fmla="*/ 3841956 w 9922465"/>
              <a:gd name="connsiteY2938" fmla="*/ 419345 h 1934496"/>
              <a:gd name="connsiteX2939" fmla="*/ 3897148 w 9922465"/>
              <a:gd name="connsiteY2939" fmla="*/ 364154 h 1934496"/>
              <a:gd name="connsiteX2940" fmla="*/ 3763514 w 9922465"/>
              <a:gd name="connsiteY2940" fmla="*/ 364154 h 1934496"/>
              <a:gd name="connsiteX2941" fmla="*/ 3818706 w 9922465"/>
              <a:gd name="connsiteY2941" fmla="*/ 419345 h 1934496"/>
              <a:gd name="connsiteX2942" fmla="*/ 3763514 w 9922465"/>
              <a:gd name="connsiteY2942" fmla="*/ 474536 h 1934496"/>
              <a:gd name="connsiteX2943" fmla="*/ 3708322 w 9922465"/>
              <a:gd name="connsiteY2943" fmla="*/ 419345 h 1934496"/>
              <a:gd name="connsiteX2944" fmla="*/ 3763514 w 9922465"/>
              <a:gd name="connsiteY2944" fmla="*/ 364154 h 1934496"/>
              <a:gd name="connsiteX2945" fmla="*/ 3633221 w 9922465"/>
              <a:gd name="connsiteY2945" fmla="*/ 364154 h 1934496"/>
              <a:gd name="connsiteX2946" fmla="*/ 3688413 w 9922465"/>
              <a:gd name="connsiteY2946" fmla="*/ 419345 h 1934496"/>
              <a:gd name="connsiteX2947" fmla="*/ 3633221 w 9922465"/>
              <a:gd name="connsiteY2947" fmla="*/ 474536 h 1934496"/>
              <a:gd name="connsiteX2948" fmla="*/ 3578029 w 9922465"/>
              <a:gd name="connsiteY2948" fmla="*/ 419345 h 1934496"/>
              <a:gd name="connsiteX2949" fmla="*/ 3633221 w 9922465"/>
              <a:gd name="connsiteY2949" fmla="*/ 364154 h 1934496"/>
              <a:gd name="connsiteX2950" fmla="*/ 3499589 w 9922465"/>
              <a:gd name="connsiteY2950" fmla="*/ 364154 h 1934496"/>
              <a:gd name="connsiteX2951" fmla="*/ 3554781 w 9922465"/>
              <a:gd name="connsiteY2951" fmla="*/ 419345 h 1934496"/>
              <a:gd name="connsiteX2952" fmla="*/ 3499589 w 9922465"/>
              <a:gd name="connsiteY2952" fmla="*/ 474536 h 1934496"/>
              <a:gd name="connsiteX2953" fmla="*/ 3444397 w 9922465"/>
              <a:gd name="connsiteY2953" fmla="*/ 419345 h 1934496"/>
              <a:gd name="connsiteX2954" fmla="*/ 3499589 w 9922465"/>
              <a:gd name="connsiteY2954" fmla="*/ 364154 h 1934496"/>
              <a:gd name="connsiteX2955" fmla="*/ 3369292 w 9922465"/>
              <a:gd name="connsiteY2955" fmla="*/ 364154 h 1934496"/>
              <a:gd name="connsiteX2956" fmla="*/ 3424484 w 9922465"/>
              <a:gd name="connsiteY2956" fmla="*/ 419345 h 1934496"/>
              <a:gd name="connsiteX2957" fmla="*/ 3369292 w 9922465"/>
              <a:gd name="connsiteY2957" fmla="*/ 474536 h 1934496"/>
              <a:gd name="connsiteX2958" fmla="*/ 3314100 w 9922465"/>
              <a:gd name="connsiteY2958" fmla="*/ 419345 h 1934496"/>
              <a:gd name="connsiteX2959" fmla="*/ 3369292 w 9922465"/>
              <a:gd name="connsiteY2959" fmla="*/ 364154 h 1934496"/>
              <a:gd name="connsiteX2960" fmla="*/ 3235657 w 9922465"/>
              <a:gd name="connsiteY2960" fmla="*/ 364154 h 1934496"/>
              <a:gd name="connsiteX2961" fmla="*/ 3290849 w 9922465"/>
              <a:gd name="connsiteY2961" fmla="*/ 419345 h 1934496"/>
              <a:gd name="connsiteX2962" fmla="*/ 3235657 w 9922465"/>
              <a:gd name="connsiteY2962" fmla="*/ 474536 h 1934496"/>
              <a:gd name="connsiteX2963" fmla="*/ 3180465 w 9922465"/>
              <a:gd name="connsiteY2963" fmla="*/ 419345 h 1934496"/>
              <a:gd name="connsiteX2964" fmla="*/ 3235657 w 9922465"/>
              <a:gd name="connsiteY2964" fmla="*/ 364154 h 1934496"/>
              <a:gd name="connsiteX2965" fmla="*/ 3098681 w 9922465"/>
              <a:gd name="connsiteY2965" fmla="*/ 364154 h 1934496"/>
              <a:gd name="connsiteX2966" fmla="*/ 3153873 w 9922465"/>
              <a:gd name="connsiteY2966" fmla="*/ 419345 h 1934496"/>
              <a:gd name="connsiteX2967" fmla="*/ 3098681 w 9922465"/>
              <a:gd name="connsiteY2967" fmla="*/ 474536 h 1934496"/>
              <a:gd name="connsiteX2968" fmla="*/ 3043489 w 9922465"/>
              <a:gd name="connsiteY2968" fmla="*/ 419345 h 1934496"/>
              <a:gd name="connsiteX2969" fmla="*/ 3098681 w 9922465"/>
              <a:gd name="connsiteY2969" fmla="*/ 364154 h 1934496"/>
              <a:gd name="connsiteX2970" fmla="*/ 2971729 w 9922465"/>
              <a:gd name="connsiteY2970" fmla="*/ 364154 h 1934496"/>
              <a:gd name="connsiteX2971" fmla="*/ 3026921 w 9922465"/>
              <a:gd name="connsiteY2971" fmla="*/ 419345 h 1934496"/>
              <a:gd name="connsiteX2972" fmla="*/ 2971729 w 9922465"/>
              <a:gd name="connsiteY2972" fmla="*/ 474536 h 1934496"/>
              <a:gd name="connsiteX2973" fmla="*/ 2916537 w 9922465"/>
              <a:gd name="connsiteY2973" fmla="*/ 419345 h 1934496"/>
              <a:gd name="connsiteX2974" fmla="*/ 2971729 w 9922465"/>
              <a:gd name="connsiteY2974" fmla="*/ 364154 h 1934496"/>
              <a:gd name="connsiteX2975" fmla="*/ 2834862 w 9922465"/>
              <a:gd name="connsiteY2975" fmla="*/ 364154 h 1934496"/>
              <a:gd name="connsiteX2976" fmla="*/ 2890052 w 9922465"/>
              <a:gd name="connsiteY2976" fmla="*/ 419345 h 1934496"/>
              <a:gd name="connsiteX2977" fmla="*/ 2834862 w 9922465"/>
              <a:gd name="connsiteY2977" fmla="*/ 474536 h 1934496"/>
              <a:gd name="connsiteX2978" fmla="*/ 2779671 w 9922465"/>
              <a:gd name="connsiteY2978" fmla="*/ 419345 h 1934496"/>
              <a:gd name="connsiteX2979" fmla="*/ 2834862 w 9922465"/>
              <a:gd name="connsiteY2979" fmla="*/ 364154 h 1934496"/>
              <a:gd name="connsiteX2980" fmla="*/ 2437297 w 9922465"/>
              <a:gd name="connsiteY2980" fmla="*/ 364154 h 1934496"/>
              <a:gd name="connsiteX2981" fmla="*/ 2492487 w 9922465"/>
              <a:gd name="connsiteY2981" fmla="*/ 419345 h 1934496"/>
              <a:gd name="connsiteX2982" fmla="*/ 2437297 w 9922465"/>
              <a:gd name="connsiteY2982" fmla="*/ 474536 h 1934496"/>
              <a:gd name="connsiteX2983" fmla="*/ 2382108 w 9922465"/>
              <a:gd name="connsiteY2983" fmla="*/ 419345 h 1934496"/>
              <a:gd name="connsiteX2984" fmla="*/ 2437297 w 9922465"/>
              <a:gd name="connsiteY2984" fmla="*/ 364154 h 1934496"/>
              <a:gd name="connsiteX2985" fmla="*/ 2303664 w 9922465"/>
              <a:gd name="connsiteY2985" fmla="*/ 364154 h 1934496"/>
              <a:gd name="connsiteX2986" fmla="*/ 2358856 w 9922465"/>
              <a:gd name="connsiteY2986" fmla="*/ 419345 h 1934496"/>
              <a:gd name="connsiteX2987" fmla="*/ 2303664 w 9922465"/>
              <a:gd name="connsiteY2987" fmla="*/ 474536 h 1934496"/>
              <a:gd name="connsiteX2988" fmla="*/ 2248473 w 9922465"/>
              <a:gd name="connsiteY2988" fmla="*/ 419345 h 1934496"/>
              <a:gd name="connsiteX2989" fmla="*/ 2303664 w 9922465"/>
              <a:gd name="connsiteY2989" fmla="*/ 364154 h 1934496"/>
              <a:gd name="connsiteX2990" fmla="*/ 2173372 w 9922465"/>
              <a:gd name="connsiteY2990" fmla="*/ 364154 h 1934496"/>
              <a:gd name="connsiteX2991" fmla="*/ 2228565 w 9922465"/>
              <a:gd name="connsiteY2991" fmla="*/ 419345 h 1934496"/>
              <a:gd name="connsiteX2992" fmla="*/ 2173372 w 9922465"/>
              <a:gd name="connsiteY2992" fmla="*/ 474536 h 1934496"/>
              <a:gd name="connsiteX2993" fmla="*/ 2118180 w 9922465"/>
              <a:gd name="connsiteY2993" fmla="*/ 419345 h 1934496"/>
              <a:gd name="connsiteX2994" fmla="*/ 2173372 w 9922465"/>
              <a:gd name="connsiteY2994" fmla="*/ 364154 h 1934496"/>
              <a:gd name="connsiteX2995" fmla="*/ 2039736 w 9922465"/>
              <a:gd name="connsiteY2995" fmla="*/ 364154 h 1934496"/>
              <a:gd name="connsiteX2996" fmla="*/ 2094930 w 9922465"/>
              <a:gd name="connsiteY2996" fmla="*/ 419345 h 1934496"/>
              <a:gd name="connsiteX2997" fmla="*/ 2039736 w 9922465"/>
              <a:gd name="connsiteY2997" fmla="*/ 474536 h 1934496"/>
              <a:gd name="connsiteX2998" fmla="*/ 1984543 w 9922465"/>
              <a:gd name="connsiteY2998" fmla="*/ 419345 h 1934496"/>
              <a:gd name="connsiteX2999" fmla="*/ 2039736 w 9922465"/>
              <a:gd name="connsiteY2999" fmla="*/ 364154 h 1934496"/>
              <a:gd name="connsiteX3000" fmla="*/ 1909440 w 9922465"/>
              <a:gd name="connsiteY3000" fmla="*/ 364154 h 1934496"/>
              <a:gd name="connsiteX3001" fmla="*/ 1964634 w 9922465"/>
              <a:gd name="connsiteY3001" fmla="*/ 419345 h 1934496"/>
              <a:gd name="connsiteX3002" fmla="*/ 1909440 w 9922465"/>
              <a:gd name="connsiteY3002" fmla="*/ 474536 h 1934496"/>
              <a:gd name="connsiteX3003" fmla="*/ 1854246 w 9922465"/>
              <a:gd name="connsiteY3003" fmla="*/ 419345 h 1934496"/>
              <a:gd name="connsiteX3004" fmla="*/ 1909440 w 9922465"/>
              <a:gd name="connsiteY3004" fmla="*/ 364154 h 1934496"/>
              <a:gd name="connsiteX3005" fmla="*/ 1779142 w 9922465"/>
              <a:gd name="connsiteY3005" fmla="*/ 364154 h 1934496"/>
              <a:gd name="connsiteX3006" fmla="*/ 1834337 w 9922465"/>
              <a:gd name="connsiteY3006" fmla="*/ 419345 h 1934496"/>
              <a:gd name="connsiteX3007" fmla="*/ 1779142 w 9922465"/>
              <a:gd name="connsiteY3007" fmla="*/ 474536 h 1934496"/>
              <a:gd name="connsiteX3008" fmla="*/ 1723951 w 9922465"/>
              <a:gd name="connsiteY3008" fmla="*/ 419345 h 1934496"/>
              <a:gd name="connsiteX3009" fmla="*/ 1779142 w 9922465"/>
              <a:gd name="connsiteY3009" fmla="*/ 364154 h 1934496"/>
              <a:gd name="connsiteX3010" fmla="*/ 1645508 w 9922465"/>
              <a:gd name="connsiteY3010" fmla="*/ 364154 h 1934496"/>
              <a:gd name="connsiteX3011" fmla="*/ 1700702 w 9922465"/>
              <a:gd name="connsiteY3011" fmla="*/ 419345 h 1934496"/>
              <a:gd name="connsiteX3012" fmla="*/ 1645508 w 9922465"/>
              <a:gd name="connsiteY3012" fmla="*/ 474536 h 1934496"/>
              <a:gd name="connsiteX3013" fmla="*/ 1590313 w 9922465"/>
              <a:gd name="connsiteY3013" fmla="*/ 419345 h 1934496"/>
              <a:gd name="connsiteX3014" fmla="*/ 1645508 w 9922465"/>
              <a:gd name="connsiteY3014" fmla="*/ 364154 h 1934496"/>
              <a:gd name="connsiteX3015" fmla="*/ 1515217 w 9922465"/>
              <a:gd name="connsiteY3015" fmla="*/ 364154 h 1934496"/>
              <a:gd name="connsiteX3016" fmla="*/ 1570405 w 9922465"/>
              <a:gd name="connsiteY3016" fmla="*/ 419345 h 1934496"/>
              <a:gd name="connsiteX3017" fmla="*/ 1515217 w 9922465"/>
              <a:gd name="connsiteY3017" fmla="*/ 474536 h 1934496"/>
              <a:gd name="connsiteX3018" fmla="*/ 1460020 w 9922465"/>
              <a:gd name="connsiteY3018" fmla="*/ 419345 h 1934496"/>
              <a:gd name="connsiteX3019" fmla="*/ 1515217 w 9922465"/>
              <a:gd name="connsiteY3019" fmla="*/ 364154 h 1934496"/>
              <a:gd name="connsiteX3020" fmla="*/ 1381573 w 9922465"/>
              <a:gd name="connsiteY3020" fmla="*/ 364154 h 1934496"/>
              <a:gd name="connsiteX3021" fmla="*/ 1436767 w 9922465"/>
              <a:gd name="connsiteY3021" fmla="*/ 419345 h 1934496"/>
              <a:gd name="connsiteX3022" fmla="*/ 1381573 w 9922465"/>
              <a:gd name="connsiteY3022" fmla="*/ 474536 h 1934496"/>
              <a:gd name="connsiteX3023" fmla="*/ 1326384 w 9922465"/>
              <a:gd name="connsiteY3023" fmla="*/ 419345 h 1934496"/>
              <a:gd name="connsiteX3024" fmla="*/ 1381573 w 9922465"/>
              <a:gd name="connsiteY3024" fmla="*/ 364154 h 1934496"/>
              <a:gd name="connsiteX3025" fmla="*/ 1251283 w 9922465"/>
              <a:gd name="connsiteY3025" fmla="*/ 364154 h 1934496"/>
              <a:gd name="connsiteX3026" fmla="*/ 1306476 w 9922465"/>
              <a:gd name="connsiteY3026" fmla="*/ 419345 h 1934496"/>
              <a:gd name="connsiteX3027" fmla="*/ 1251283 w 9922465"/>
              <a:gd name="connsiteY3027" fmla="*/ 474536 h 1934496"/>
              <a:gd name="connsiteX3028" fmla="*/ 1196091 w 9922465"/>
              <a:gd name="connsiteY3028" fmla="*/ 419345 h 1934496"/>
              <a:gd name="connsiteX3029" fmla="*/ 1251283 w 9922465"/>
              <a:gd name="connsiteY3029" fmla="*/ 364154 h 1934496"/>
              <a:gd name="connsiteX3030" fmla="*/ 7608850 w 9922465"/>
              <a:gd name="connsiteY3030" fmla="*/ 247225 h 1934496"/>
              <a:gd name="connsiteX3031" fmla="*/ 7664042 w 9922465"/>
              <a:gd name="connsiteY3031" fmla="*/ 302416 h 1934496"/>
              <a:gd name="connsiteX3032" fmla="*/ 7608850 w 9922465"/>
              <a:gd name="connsiteY3032" fmla="*/ 357607 h 1934496"/>
              <a:gd name="connsiteX3033" fmla="*/ 7553658 w 9922465"/>
              <a:gd name="connsiteY3033" fmla="*/ 302416 h 1934496"/>
              <a:gd name="connsiteX3034" fmla="*/ 7608850 w 9922465"/>
              <a:gd name="connsiteY3034" fmla="*/ 247225 h 1934496"/>
              <a:gd name="connsiteX3035" fmla="*/ 7481898 w 9922465"/>
              <a:gd name="connsiteY3035" fmla="*/ 247225 h 1934496"/>
              <a:gd name="connsiteX3036" fmla="*/ 7537090 w 9922465"/>
              <a:gd name="connsiteY3036" fmla="*/ 302416 h 1934496"/>
              <a:gd name="connsiteX3037" fmla="*/ 7481898 w 9922465"/>
              <a:gd name="connsiteY3037" fmla="*/ 357607 h 1934496"/>
              <a:gd name="connsiteX3038" fmla="*/ 7426706 w 9922465"/>
              <a:gd name="connsiteY3038" fmla="*/ 302416 h 1934496"/>
              <a:gd name="connsiteX3039" fmla="*/ 7481898 w 9922465"/>
              <a:gd name="connsiteY3039" fmla="*/ 247225 h 1934496"/>
              <a:gd name="connsiteX3040" fmla="*/ 5093178 w 9922465"/>
              <a:gd name="connsiteY3040" fmla="*/ 247225 h 1934496"/>
              <a:gd name="connsiteX3041" fmla="*/ 5148370 w 9922465"/>
              <a:gd name="connsiteY3041" fmla="*/ 302416 h 1934496"/>
              <a:gd name="connsiteX3042" fmla="*/ 5093178 w 9922465"/>
              <a:gd name="connsiteY3042" fmla="*/ 357607 h 1934496"/>
              <a:gd name="connsiteX3043" fmla="*/ 5037986 w 9922465"/>
              <a:gd name="connsiteY3043" fmla="*/ 302416 h 1934496"/>
              <a:gd name="connsiteX3044" fmla="*/ 5093178 w 9922465"/>
              <a:gd name="connsiteY3044" fmla="*/ 247225 h 1934496"/>
              <a:gd name="connsiteX3045" fmla="*/ 4030786 w 9922465"/>
              <a:gd name="connsiteY3045" fmla="*/ 247225 h 1934496"/>
              <a:gd name="connsiteX3046" fmla="*/ 4085978 w 9922465"/>
              <a:gd name="connsiteY3046" fmla="*/ 302416 h 1934496"/>
              <a:gd name="connsiteX3047" fmla="*/ 4030786 w 9922465"/>
              <a:gd name="connsiteY3047" fmla="*/ 357607 h 1934496"/>
              <a:gd name="connsiteX3048" fmla="*/ 3975594 w 9922465"/>
              <a:gd name="connsiteY3048" fmla="*/ 302416 h 1934496"/>
              <a:gd name="connsiteX3049" fmla="*/ 4030786 w 9922465"/>
              <a:gd name="connsiteY3049" fmla="*/ 247225 h 1934496"/>
              <a:gd name="connsiteX3050" fmla="*/ 3897148 w 9922465"/>
              <a:gd name="connsiteY3050" fmla="*/ 247225 h 1934496"/>
              <a:gd name="connsiteX3051" fmla="*/ 3952340 w 9922465"/>
              <a:gd name="connsiteY3051" fmla="*/ 302416 h 1934496"/>
              <a:gd name="connsiteX3052" fmla="*/ 3897148 w 9922465"/>
              <a:gd name="connsiteY3052" fmla="*/ 357607 h 1934496"/>
              <a:gd name="connsiteX3053" fmla="*/ 3841956 w 9922465"/>
              <a:gd name="connsiteY3053" fmla="*/ 302416 h 1934496"/>
              <a:gd name="connsiteX3054" fmla="*/ 3897148 w 9922465"/>
              <a:gd name="connsiteY3054" fmla="*/ 247225 h 1934496"/>
              <a:gd name="connsiteX3055" fmla="*/ 3763514 w 9922465"/>
              <a:gd name="connsiteY3055" fmla="*/ 247225 h 1934496"/>
              <a:gd name="connsiteX3056" fmla="*/ 3818706 w 9922465"/>
              <a:gd name="connsiteY3056" fmla="*/ 302416 h 1934496"/>
              <a:gd name="connsiteX3057" fmla="*/ 3763514 w 9922465"/>
              <a:gd name="connsiteY3057" fmla="*/ 357607 h 1934496"/>
              <a:gd name="connsiteX3058" fmla="*/ 3708322 w 9922465"/>
              <a:gd name="connsiteY3058" fmla="*/ 302416 h 1934496"/>
              <a:gd name="connsiteX3059" fmla="*/ 3763514 w 9922465"/>
              <a:gd name="connsiteY3059" fmla="*/ 247225 h 1934496"/>
              <a:gd name="connsiteX3060" fmla="*/ 3633221 w 9922465"/>
              <a:gd name="connsiteY3060" fmla="*/ 247225 h 1934496"/>
              <a:gd name="connsiteX3061" fmla="*/ 3688413 w 9922465"/>
              <a:gd name="connsiteY3061" fmla="*/ 302416 h 1934496"/>
              <a:gd name="connsiteX3062" fmla="*/ 3633221 w 9922465"/>
              <a:gd name="connsiteY3062" fmla="*/ 357607 h 1934496"/>
              <a:gd name="connsiteX3063" fmla="*/ 3578029 w 9922465"/>
              <a:gd name="connsiteY3063" fmla="*/ 302416 h 1934496"/>
              <a:gd name="connsiteX3064" fmla="*/ 3633221 w 9922465"/>
              <a:gd name="connsiteY3064" fmla="*/ 247225 h 1934496"/>
              <a:gd name="connsiteX3065" fmla="*/ 3499589 w 9922465"/>
              <a:gd name="connsiteY3065" fmla="*/ 247225 h 1934496"/>
              <a:gd name="connsiteX3066" fmla="*/ 3554781 w 9922465"/>
              <a:gd name="connsiteY3066" fmla="*/ 302416 h 1934496"/>
              <a:gd name="connsiteX3067" fmla="*/ 3499589 w 9922465"/>
              <a:gd name="connsiteY3067" fmla="*/ 357607 h 1934496"/>
              <a:gd name="connsiteX3068" fmla="*/ 3444397 w 9922465"/>
              <a:gd name="connsiteY3068" fmla="*/ 302416 h 1934496"/>
              <a:gd name="connsiteX3069" fmla="*/ 3499589 w 9922465"/>
              <a:gd name="connsiteY3069" fmla="*/ 247225 h 1934496"/>
              <a:gd name="connsiteX3070" fmla="*/ 3369293 w 9922465"/>
              <a:gd name="connsiteY3070" fmla="*/ 247225 h 1934496"/>
              <a:gd name="connsiteX3071" fmla="*/ 3424485 w 9922465"/>
              <a:gd name="connsiteY3071" fmla="*/ 302416 h 1934496"/>
              <a:gd name="connsiteX3072" fmla="*/ 3369293 w 9922465"/>
              <a:gd name="connsiteY3072" fmla="*/ 357607 h 1934496"/>
              <a:gd name="connsiteX3073" fmla="*/ 3314101 w 9922465"/>
              <a:gd name="connsiteY3073" fmla="*/ 302416 h 1934496"/>
              <a:gd name="connsiteX3074" fmla="*/ 3369293 w 9922465"/>
              <a:gd name="connsiteY3074" fmla="*/ 247225 h 1934496"/>
              <a:gd name="connsiteX3075" fmla="*/ 3235657 w 9922465"/>
              <a:gd name="connsiteY3075" fmla="*/ 247225 h 1934496"/>
              <a:gd name="connsiteX3076" fmla="*/ 3290849 w 9922465"/>
              <a:gd name="connsiteY3076" fmla="*/ 302416 h 1934496"/>
              <a:gd name="connsiteX3077" fmla="*/ 3235657 w 9922465"/>
              <a:gd name="connsiteY3077" fmla="*/ 357607 h 1934496"/>
              <a:gd name="connsiteX3078" fmla="*/ 3180465 w 9922465"/>
              <a:gd name="connsiteY3078" fmla="*/ 302416 h 1934496"/>
              <a:gd name="connsiteX3079" fmla="*/ 3235657 w 9922465"/>
              <a:gd name="connsiteY3079" fmla="*/ 247225 h 1934496"/>
              <a:gd name="connsiteX3080" fmla="*/ 3098682 w 9922465"/>
              <a:gd name="connsiteY3080" fmla="*/ 247225 h 1934496"/>
              <a:gd name="connsiteX3081" fmla="*/ 3153874 w 9922465"/>
              <a:gd name="connsiteY3081" fmla="*/ 302416 h 1934496"/>
              <a:gd name="connsiteX3082" fmla="*/ 3098682 w 9922465"/>
              <a:gd name="connsiteY3082" fmla="*/ 357607 h 1934496"/>
              <a:gd name="connsiteX3083" fmla="*/ 3043490 w 9922465"/>
              <a:gd name="connsiteY3083" fmla="*/ 302416 h 1934496"/>
              <a:gd name="connsiteX3084" fmla="*/ 3098682 w 9922465"/>
              <a:gd name="connsiteY3084" fmla="*/ 247225 h 1934496"/>
              <a:gd name="connsiteX3085" fmla="*/ 2971729 w 9922465"/>
              <a:gd name="connsiteY3085" fmla="*/ 247225 h 1934496"/>
              <a:gd name="connsiteX3086" fmla="*/ 3026921 w 9922465"/>
              <a:gd name="connsiteY3086" fmla="*/ 302416 h 1934496"/>
              <a:gd name="connsiteX3087" fmla="*/ 2971729 w 9922465"/>
              <a:gd name="connsiteY3087" fmla="*/ 357607 h 1934496"/>
              <a:gd name="connsiteX3088" fmla="*/ 2916537 w 9922465"/>
              <a:gd name="connsiteY3088" fmla="*/ 302416 h 1934496"/>
              <a:gd name="connsiteX3089" fmla="*/ 2971729 w 9922465"/>
              <a:gd name="connsiteY3089" fmla="*/ 247225 h 1934496"/>
              <a:gd name="connsiteX3090" fmla="*/ 2834862 w 9922465"/>
              <a:gd name="connsiteY3090" fmla="*/ 247225 h 1934496"/>
              <a:gd name="connsiteX3091" fmla="*/ 2890052 w 9922465"/>
              <a:gd name="connsiteY3091" fmla="*/ 302416 h 1934496"/>
              <a:gd name="connsiteX3092" fmla="*/ 2834862 w 9922465"/>
              <a:gd name="connsiteY3092" fmla="*/ 357607 h 1934496"/>
              <a:gd name="connsiteX3093" fmla="*/ 2779671 w 9922465"/>
              <a:gd name="connsiteY3093" fmla="*/ 302416 h 1934496"/>
              <a:gd name="connsiteX3094" fmla="*/ 2834862 w 9922465"/>
              <a:gd name="connsiteY3094" fmla="*/ 247225 h 1934496"/>
              <a:gd name="connsiteX3095" fmla="*/ 2570933 w 9922465"/>
              <a:gd name="connsiteY3095" fmla="*/ 247225 h 1934496"/>
              <a:gd name="connsiteX3096" fmla="*/ 2626123 w 9922465"/>
              <a:gd name="connsiteY3096" fmla="*/ 302416 h 1934496"/>
              <a:gd name="connsiteX3097" fmla="*/ 2570933 w 9922465"/>
              <a:gd name="connsiteY3097" fmla="*/ 357607 h 1934496"/>
              <a:gd name="connsiteX3098" fmla="*/ 2515738 w 9922465"/>
              <a:gd name="connsiteY3098" fmla="*/ 302416 h 1934496"/>
              <a:gd name="connsiteX3099" fmla="*/ 2570933 w 9922465"/>
              <a:gd name="connsiteY3099" fmla="*/ 247225 h 1934496"/>
              <a:gd name="connsiteX3100" fmla="*/ 2437297 w 9922465"/>
              <a:gd name="connsiteY3100" fmla="*/ 247225 h 1934496"/>
              <a:gd name="connsiteX3101" fmla="*/ 2492487 w 9922465"/>
              <a:gd name="connsiteY3101" fmla="*/ 302416 h 1934496"/>
              <a:gd name="connsiteX3102" fmla="*/ 2437297 w 9922465"/>
              <a:gd name="connsiteY3102" fmla="*/ 357607 h 1934496"/>
              <a:gd name="connsiteX3103" fmla="*/ 2382108 w 9922465"/>
              <a:gd name="connsiteY3103" fmla="*/ 302416 h 1934496"/>
              <a:gd name="connsiteX3104" fmla="*/ 2437297 w 9922465"/>
              <a:gd name="connsiteY3104" fmla="*/ 247225 h 1934496"/>
              <a:gd name="connsiteX3105" fmla="*/ 2303666 w 9922465"/>
              <a:gd name="connsiteY3105" fmla="*/ 247225 h 1934496"/>
              <a:gd name="connsiteX3106" fmla="*/ 2358856 w 9922465"/>
              <a:gd name="connsiteY3106" fmla="*/ 302416 h 1934496"/>
              <a:gd name="connsiteX3107" fmla="*/ 2303666 w 9922465"/>
              <a:gd name="connsiteY3107" fmla="*/ 357607 h 1934496"/>
              <a:gd name="connsiteX3108" fmla="*/ 2248473 w 9922465"/>
              <a:gd name="connsiteY3108" fmla="*/ 302416 h 1934496"/>
              <a:gd name="connsiteX3109" fmla="*/ 2303666 w 9922465"/>
              <a:gd name="connsiteY3109" fmla="*/ 247225 h 1934496"/>
              <a:gd name="connsiteX3110" fmla="*/ 2173372 w 9922465"/>
              <a:gd name="connsiteY3110" fmla="*/ 247225 h 1934496"/>
              <a:gd name="connsiteX3111" fmla="*/ 2228566 w 9922465"/>
              <a:gd name="connsiteY3111" fmla="*/ 302416 h 1934496"/>
              <a:gd name="connsiteX3112" fmla="*/ 2173372 w 9922465"/>
              <a:gd name="connsiteY3112" fmla="*/ 357607 h 1934496"/>
              <a:gd name="connsiteX3113" fmla="*/ 2118180 w 9922465"/>
              <a:gd name="connsiteY3113" fmla="*/ 302416 h 1934496"/>
              <a:gd name="connsiteX3114" fmla="*/ 2173372 w 9922465"/>
              <a:gd name="connsiteY3114" fmla="*/ 247225 h 1934496"/>
              <a:gd name="connsiteX3115" fmla="*/ 1909440 w 9922465"/>
              <a:gd name="connsiteY3115" fmla="*/ 247225 h 1934496"/>
              <a:gd name="connsiteX3116" fmla="*/ 1964634 w 9922465"/>
              <a:gd name="connsiteY3116" fmla="*/ 302416 h 1934496"/>
              <a:gd name="connsiteX3117" fmla="*/ 1909440 w 9922465"/>
              <a:gd name="connsiteY3117" fmla="*/ 357607 h 1934496"/>
              <a:gd name="connsiteX3118" fmla="*/ 1854246 w 9922465"/>
              <a:gd name="connsiteY3118" fmla="*/ 302416 h 1934496"/>
              <a:gd name="connsiteX3119" fmla="*/ 1909440 w 9922465"/>
              <a:gd name="connsiteY3119" fmla="*/ 247225 h 1934496"/>
              <a:gd name="connsiteX3120" fmla="*/ 1779142 w 9922465"/>
              <a:gd name="connsiteY3120" fmla="*/ 247225 h 1934496"/>
              <a:gd name="connsiteX3121" fmla="*/ 1834337 w 9922465"/>
              <a:gd name="connsiteY3121" fmla="*/ 302416 h 1934496"/>
              <a:gd name="connsiteX3122" fmla="*/ 1779142 w 9922465"/>
              <a:gd name="connsiteY3122" fmla="*/ 357607 h 1934496"/>
              <a:gd name="connsiteX3123" fmla="*/ 1723951 w 9922465"/>
              <a:gd name="connsiteY3123" fmla="*/ 302416 h 1934496"/>
              <a:gd name="connsiteX3124" fmla="*/ 1779142 w 9922465"/>
              <a:gd name="connsiteY3124" fmla="*/ 247225 h 1934496"/>
              <a:gd name="connsiteX3125" fmla="*/ 1645508 w 9922465"/>
              <a:gd name="connsiteY3125" fmla="*/ 247225 h 1934496"/>
              <a:gd name="connsiteX3126" fmla="*/ 1700702 w 9922465"/>
              <a:gd name="connsiteY3126" fmla="*/ 302416 h 1934496"/>
              <a:gd name="connsiteX3127" fmla="*/ 1645508 w 9922465"/>
              <a:gd name="connsiteY3127" fmla="*/ 357607 h 1934496"/>
              <a:gd name="connsiteX3128" fmla="*/ 1590313 w 9922465"/>
              <a:gd name="connsiteY3128" fmla="*/ 302416 h 1934496"/>
              <a:gd name="connsiteX3129" fmla="*/ 1645508 w 9922465"/>
              <a:gd name="connsiteY3129" fmla="*/ 247225 h 1934496"/>
              <a:gd name="connsiteX3130" fmla="*/ 1515217 w 9922465"/>
              <a:gd name="connsiteY3130" fmla="*/ 247225 h 1934496"/>
              <a:gd name="connsiteX3131" fmla="*/ 1570405 w 9922465"/>
              <a:gd name="connsiteY3131" fmla="*/ 302416 h 1934496"/>
              <a:gd name="connsiteX3132" fmla="*/ 1515217 w 9922465"/>
              <a:gd name="connsiteY3132" fmla="*/ 357607 h 1934496"/>
              <a:gd name="connsiteX3133" fmla="*/ 1460020 w 9922465"/>
              <a:gd name="connsiteY3133" fmla="*/ 302416 h 1934496"/>
              <a:gd name="connsiteX3134" fmla="*/ 1515217 w 9922465"/>
              <a:gd name="connsiteY3134" fmla="*/ 247225 h 1934496"/>
              <a:gd name="connsiteX3135" fmla="*/ 1381573 w 9922465"/>
              <a:gd name="connsiteY3135" fmla="*/ 247225 h 1934496"/>
              <a:gd name="connsiteX3136" fmla="*/ 1436767 w 9922465"/>
              <a:gd name="connsiteY3136" fmla="*/ 302416 h 1934496"/>
              <a:gd name="connsiteX3137" fmla="*/ 1381573 w 9922465"/>
              <a:gd name="connsiteY3137" fmla="*/ 357607 h 1934496"/>
              <a:gd name="connsiteX3138" fmla="*/ 1326384 w 9922465"/>
              <a:gd name="connsiteY3138" fmla="*/ 302416 h 1934496"/>
              <a:gd name="connsiteX3139" fmla="*/ 1381573 w 9922465"/>
              <a:gd name="connsiteY3139" fmla="*/ 247225 h 1934496"/>
              <a:gd name="connsiteX3140" fmla="*/ 7481898 w 9922465"/>
              <a:gd name="connsiteY3140" fmla="*/ 120271 h 1934496"/>
              <a:gd name="connsiteX3141" fmla="*/ 7537090 w 9922465"/>
              <a:gd name="connsiteY3141" fmla="*/ 175462 h 1934496"/>
              <a:gd name="connsiteX3142" fmla="*/ 7481898 w 9922465"/>
              <a:gd name="connsiteY3142" fmla="*/ 230653 h 1934496"/>
              <a:gd name="connsiteX3143" fmla="*/ 7426706 w 9922465"/>
              <a:gd name="connsiteY3143" fmla="*/ 175462 h 1934496"/>
              <a:gd name="connsiteX3144" fmla="*/ 7481898 w 9922465"/>
              <a:gd name="connsiteY3144" fmla="*/ 120271 h 1934496"/>
              <a:gd name="connsiteX3145" fmla="*/ 7341580 w 9922465"/>
              <a:gd name="connsiteY3145" fmla="*/ 120271 h 1934496"/>
              <a:gd name="connsiteX3146" fmla="*/ 7396772 w 9922465"/>
              <a:gd name="connsiteY3146" fmla="*/ 175462 h 1934496"/>
              <a:gd name="connsiteX3147" fmla="*/ 7341580 w 9922465"/>
              <a:gd name="connsiteY3147" fmla="*/ 230653 h 1934496"/>
              <a:gd name="connsiteX3148" fmla="*/ 7286388 w 9922465"/>
              <a:gd name="connsiteY3148" fmla="*/ 175462 h 1934496"/>
              <a:gd name="connsiteX3149" fmla="*/ 7341580 w 9922465"/>
              <a:gd name="connsiteY3149" fmla="*/ 120271 h 1934496"/>
              <a:gd name="connsiteX3150" fmla="*/ 7211288 w 9922465"/>
              <a:gd name="connsiteY3150" fmla="*/ 120271 h 1934496"/>
              <a:gd name="connsiteX3151" fmla="*/ 7266480 w 9922465"/>
              <a:gd name="connsiteY3151" fmla="*/ 175462 h 1934496"/>
              <a:gd name="connsiteX3152" fmla="*/ 7211288 w 9922465"/>
              <a:gd name="connsiteY3152" fmla="*/ 230653 h 1934496"/>
              <a:gd name="connsiteX3153" fmla="*/ 7156096 w 9922465"/>
              <a:gd name="connsiteY3153" fmla="*/ 175462 h 1934496"/>
              <a:gd name="connsiteX3154" fmla="*/ 7211288 w 9922465"/>
              <a:gd name="connsiteY3154" fmla="*/ 120271 h 1934496"/>
              <a:gd name="connsiteX3155" fmla="*/ 5223474 w 9922465"/>
              <a:gd name="connsiteY3155" fmla="*/ 120271 h 1934496"/>
              <a:gd name="connsiteX3156" fmla="*/ 5278666 w 9922465"/>
              <a:gd name="connsiteY3156" fmla="*/ 175462 h 1934496"/>
              <a:gd name="connsiteX3157" fmla="*/ 5223474 w 9922465"/>
              <a:gd name="connsiteY3157" fmla="*/ 230653 h 1934496"/>
              <a:gd name="connsiteX3158" fmla="*/ 5168282 w 9922465"/>
              <a:gd name="connsiteY3158" fmla="*/ 175462 h 1934496"/>
              <a:gd name="connsiteX3159" fmla="*/ 5223474 w 9922465"/>
              <a:gd name="connsiteY3159" fmla="*/ 120271 h 1934496"/>
              <a:gd name="connsiteX3160" fmla="*/ 5093178 w 9922465"/>
              <a:gd name="connsiteY3160" fmla="*/ 120271 h 1934496"/>
              <a:gd name="connsiteX3161" fmla="*/ 5148370 w 9922465"/>
              <a:gd name="connsiteY3161" fmla="*/ 175462 h 1934496"/>
              <a:gd name="connsiteX3162" fmla="*/ 5093178 w 9922465"/>
              <a:gd name="connsiteY3162" fmla="*/ 230653 h 1934496"/>
              <a:gd name="connsiteX3163" fmla="*/ 5037986 w 9922465"/>
              <a:gd name="connsiteY3163" fmla="*/ 175462 h 1934496"/>
              <a:gd name="connsiteX3164" fmla="*/ 5093178 w 9922465"/>
              <a:gd name="connsiteY3164" fmla="*/ 120271 h 1934496"/>
              <a:gd name="connsiteX3165" fmla="*/ 4161077 w 9922465"/>
              <a:gd name="connsiteY3165" fmla="*/ 120271 h 1934496"/>
              <a:gd name="connsiteX3166" fmla="*/ 4216269 w 9922465"/>
              <a:gd name="connsiteY3166" fmla="*/ 175462 h 1934496"/>
              <a:gd name="connsiteX3167" fmla="*/ 4161077 w 9922465"/>
              <a:gd name="connsiteY3167" fmla="*/ 230653 h 1934496"/>
              <a:gd name="connsiteX3168" fmla="*/ 4105885 w 9922465"/>
              <a:gd name="connsiteY3168" fmla="*/ 175462 h 1934496"/>
              <a:gd name="connsiteX3169" fmla="*/ 4161077 w 9922465"/>
              <a:gd name="connsiteY3169" fmla="*/ 120271 h 1934496"/>
              <a:gd name="connsiteX3170" fmla="*/ 4030786 w 9922465"/>
              <a:gd name="connsiteY3170" fmla="*/ 120271 h 1934496"/>
              <a:gd name="connsiteX3171" fmla="*/ 4085978 w 9922465"/>
              <a:gd name="connsiteY3171" fmla="*/ 175462 h 1934496"/>
              <a:gd name="connsiteX3172" fmla="*/ 4030786 w 9922465"/>
              <a:gd name="connsiteY3172" fmla="*/ 230653 h 1934496"/>
              <a:gd name="connsiteX3173" fmla="*/ 3975594 w 9922465"/>
              <a:gd name="connsiteY3173" fmla="*/ 175462 h 1934496"/>
              <a:gd name="connsiteX3174" fmla="*/ 4030786 w 9922465"/>
              <a:gd name="connsiteY3174" fmla="*/ 120271 h 1934496"/>
              <a:gd name="connsiteX3175" fmla="*/ 3897148 w 9922465"/>
              <a:gd name="connsiteY3175" fmla="*/ 120271 h 1934496"/>
              <a:gd name="connsiteX3176" fmla="*/ 3952340 w 9922465"/>
              <a:gd name="connsiteY3176" fmla="*/ 175462 h 1934496"/>
              <a:gd name="connsiteX3177" fmla="*/ 3897148 w 9922465"/>
              <a:gd name="connsiteY3177" fmla="*/ 230653 h 1934496"/>
              <a:gd name="connsiteX3178" fmla="*/ 3841956 w 9922465"/>
              <a:gd name="connsiteY3178" fmla="*/ 175462 h 1934496"/>
              <a:gd name="connsiteX3179" fmla="*/ 3897148 w 9922465"/>
              <a:gd name="connsiteY3179" fmla="*/ 120271 h 1934496"/>
              <a:gd name="connsiteX3180" fmla="*/ 3763514 w 9922465"/>
              <a:gd name="connsiteY3180" fmla="*/ 120271 h 1934496"/>
              <a:gd name="connsiteX3181" fmla="*/ 3818706 w 9922465"/>
              <a:gd name="connsiteY3181" fmla="*/ 175462 h 1934496"/>
              <a:gd name="connsiteX3182" fmla="*/ 3763514 w 9922465"/>
              <a:gd name="connsiteY3182" fmla="*/ 230653 h 1934496"/>
              <a:gd name="connsiteX3183" fmla="*/ 3708322 w 9922465"/>
              <a:gd name="connsiteY3183" fmla="*/ 175462 h 1934496"/>
              <a:gd name="connsiteX3184" fmla="*/ 3763514 w 9922465"/>
              <a:gd name="connsiteY3184" fmla="*/ 120271 h 1934496"/>
              <a:gd name="connsiteX3185" fmla="*/ 3633221 w 9922465"/>
              <a:gd name="connsiteY3185" fmla="*/ 120271 h 1934496"/>
              <a:gd name="connsiteX3186" fmla="*/ 3688413 w 9922465"/>
              <a:gd name="connsiteY3186" fmla="*/ 175462 h 1934496"/>
              <a:gd name="connsiteX3187" fmla="*/ 3633221 w 9922465"/>
              <a:gd name="connsiteY3187" fmla="*/ 230653 h 1934496"/>
              <a:gd name="connsiteX3188" fmla="*/ 3578029 w 9922465"/>
              <a:gd name="connsiteY3188" fmla="*/ 175462 h 1934496"/>
              <a:gd name="connsiteX3189" fmla="*/ 3633221 w 9922465"/>
              <a:gd name="connsiteY3189" fmla="*/ 120271 h 1934496"/>
              <a:gd name="connsiteX3190" fmla="*/ 3499589 w 9922465"/>
              <a:gd name="connsiteY3190" fmla="*/ 120271 h 1934496"/>
              <a:gd name="connsiteX3191" fmla="*/ 3554781 w 9922465"/>
              <a:gd name="connsiteY3191" fmla="*/ 175462 h 1934496"/>
              <a:gd name="connsiteX3192" fmla="*/ 3499589 w 9922465"/>
              <a:gd name="connsiteY3192" fmla="*/ 230653 h 1934496"/>
              <a:gd name="connsiteX3193" fmla="*/ 3444397 w 9922465"/>
              <a:gd name="connsiteY3193" fmla="*/ 175462 h 1934496"/>
              <a:gd name="connsiteX3194" fmla="*/ 3499589 w 9922465"/>
              <a:gd name="connsiteY3194" fmla="*/ 120271 h 1934496"/>
              <a:gd name="connsiteX3195" fmla="*/ 3369293 w 9922465"/>
              <a:gd name="connsiteY3195" fmla="*/ 120271 h 1934496"/>
              <a:gd name="connsiteX3196" fmla="*/ 3424485 w 9922465"/>
              <a:gd name="connsiteY3196" fmla="*/ 175462 h 1934496"/>
              <a:gd name="connsiteX3197" fmla="*/ 3369293 w 9922465"/>
              <a:gd name="connsiteY3197" fmla="*/ 230653 h 1934496"/>
              <a:gd name="connsiteX3198" fmla="*/ 3314101 w 9922465"/>
              <a:gd name="connsiteY3198" fmla="*/ 175462 h 1934496"/>
              <a:gd name="connsiteX3199" fmla="*/ 3369293 w 9922465"/>
              <a:gd name="connsiteY3199" fmla="*/ 120271 h 1934496"/>
              <a:gd name="connsiteX3200" fmla="*/ 3235657 w 9922465"/>
              <a:gd name="connsiteY3200" fmla="*/ 120271 h 1934496"/>
              <a:gd name="connsiteX3201" fmla="*/ 3290849 w 9922465"/>
              <a:gd name="connsiteY3201" fmla="*/ 175462 h 1934496"/>
              <a:gd name="connsiteX3202" fmla="*/ 3235657 w 9922465"/>
              <a:gd name="connsiteY3202" fmla="*/ 230653 h 1934496"/>
              <a:gd name="connsiteX3203" fmla="*/ 3180465 w 9922465"/>
              <a:gd name="connsiteY3203" fmla="*/ 175462 h 1934496"/>
              <a:gd name="connsiteX3204" fmla="*/ 3235657 w 9922465"/>
              <a:gd name="connsiteY3204" fmla="*/ 120271 h 1934496"/>
              <a:gd name="connsiteX3205" fmla="*/ 3098682 w 9922465"/>
              <a:gd name="connsiteY3205" fmla="*/ 120271 h 1934496"/>
              <a:gd name="connsiteX3206" fmla="*/ 3153874 w 9922465"/>
              <a:gd name="connsiteY3206" fmla="*/ 175462 h 1934496"/>
              <a:gd name="connsiteX3207" fmla="*/ 3098682 w 9922465"/>
              <a:gd name="connsiteY3207" fmla="*/ 230653 h 1934496"/>
              <a:gd name="connsiteX3208" fmla="*/ 3043490 w 9922465"/>
              <a:gd name="connsiteY3208" fmla="*/ 175462 h 1934496"/>
              <a:gd name="connsiteX3209" fmla="*/ 3098682 w 9922465"/>
              <a:gd name="connsiteY3209" fmla="*/ 120271 h 1934496"/>
              <a:gd name="connsiteX3210" fmla="*/ 2971729 w 9922465"/>
              <a:gd name="connsiteY3210" fmla="*/ 120271 h 1934496"/>
              <a:gd name="connsiteX3211" fmla="*/ 3026921 w 9922465"/>
              <a:gd name="connsiteY3211" fmla="*/ 175462 h 1934496"/>
              <a:gd name="connsiteX3212" fmla="*/ 2971729 w 9922465"/>
              <a:gd name="connsiteY3212" fmla="*/ 230653 h 1934496"/>
              <a:gd name="connsiteX3213" fmla="*/ 2916537 w 9922465"/>
              <a:gd name="connsiteY3213" fmla="*/ 175462 h 1934496"/>
              <a:gd name="connsiteX3214" fmla="*/ 2971729 w 9922465"/>
              <a:gd name="connsiteY3214" fmla="*/ 120271 h 1934496"/>
              <a:gd name="connsiteX3215" fmla="*/ 2707903 w 9922465"/>
              <a:gd name="connsiteY3215" fmla="*/ 120271 h 1934496"/>
              <a:gd name="connsiteX3216" fmla="*/ 2763100 w 9922465"/>
              <a:gd name="connsiteY3216" fmla="*/ 175462 h 1934496"/>
              <a:gd name="connsiteX3217" fmla="*/ 2707903 w 9922465"/>
              <a:gd name="connsiteY3217" fmla="*/ 230653 h 1934496"/>
              <a:gd name="connsiteX3218" fmla="*/ 2652715 w 9922465"/>
              <a:gd name="connsiteY3218" fmla="*/ 175462 h 1934496"/>
              <a:gd name="connsiteX3219" fmla="*/ 2707903 w 9922465"/>
              <a:gd name="connsiteY3219" fmla="*/ 120271 h 1934496"/>
              <a:gd name="connsiteX3220" fmla="*/ 2570933 w 9922465"/>
              <a:gd name="connsiteY3220" fmla="*/ 120271 h 1934496"/>
              <a:gd name="connsiteX3221" fmla="*/ 2626123 w 9922465"/>
              <a:gd name="connsiteY3221" fmla="*/ 175462 h 1934496"/>
              <a:gd name="connsiteX3222" fmla="*/ 2570933 w 9922465"/>
              <a:gd name="connsiteY3222" fmla="*/ 230653 h 1934496"/>
              <a:gd name="connsiteX3223" fmla="*/ 2515738 w 9922465"/>
              <a:gd name="connsiteY3223" fmla="*/ 175462 h 1934496"/>
              <a:gd name="connsiteX3224" fmla="*/ 2570933 w 9922465"/>
              <a:gd name="connsiteY3224" fmla="*/ 120271 h 1934496"/>
              <a:gd name="connsiteX3225" fmla="*/ 2437297 w 9922465"/>
              <a:gd name="connsiteY3225" fmla="*/ 120271 h 1934496"/>
              <a:gd name="connsiteX3226" fmla="*/ 2492487 w 9922465"/>
              <a:gd name="connsiteY3226" fmla="*/ 175462 h 1934496"/>
              <a:gd name="connsiteX3227" fmla="*/ 2437297 w 9922465"/>
              <a:gd name="connsiteY3227" fmla="*/ 230653 h 1934496"/>
              <a:gd name="connsiteX3228" fmla="*/ 2382108 w 9922465"/>
              <a:gd name="connsiteY3228" fmla="*/ 175462 h 1934496"/>
              <a:gd name="connsiteX3229" fmla="*/ 2437297 w 9922465"/>
              <a:gd name="connsiteY3229" fmla="*/ 120271 h 1934496"/>
              <a:gd name="connsiteX3230" fmla="*/ 2303666 w 9922465"/>
              <a:gd name="connsiteY3230" fmla="*/ 120271 h 1934496"/>
              <a:gd name="connsiteX3231" fmla="*/ 2358856 w 9922465"/>
              <a:gd name="connsiteY3231" fmla="*/ 175462 h 1934496"/>
              <a:gd name="connsiteX3232" fmla="*/ 2303666 w 9922465"/>
              <a:gd name="connsiteY3232" fmla="*/ 230653 h 1934496"/>
              <a:gd name="connsiteX3233" fmla="*/ 2248473 w 9922465"/>
              <a:gd name="connsiteY3233" fmla="*/ 175462 h 1934496"/>
              <a:gd name="connsiteX3234" fmla="*/ 2303666 w 9922465"/>
              <a:gd name="connsiteY3234" fmla="*/ 120271 h 1934496"/>
              <a:gd name="connsiteX3235" fmla="*/ 2173372 w 9922465"/>
              <a:gd name="connsiteY3235" fmla="*/ 120271 h 1934496"/>
              <a:gd name="connsiteX3236" fmla="*/ 2228566 w 9922465"/>
              <a:gd name="connsiteY3236" fmla="*/ 175462 h 1934496"/>
              <a:gd name="connsiteX3237" fmla="*/ 2173372 w 9922465"/>
              <a:gd name="connsiteY3237" fmla="*/ 230653 h 1934496"/>
              <a:gd name="connsiteX3238" fmla="*/ 2118180 w 9922465"/>
              <a:gd name="connsiteY3238" fmla="*/ 175462 h 1934496"/>
              <a:gd name="connsiteX3239" fmla="*/ 2173372 w 9922465"/>
              <a:gd name="connsiteY3239" fmla="*/ 120271 h 1934496"/>
              <a:gd name="connsiteX3240" fmla="*/ 7341580 w 9922465"/>
              <a:gd name="connsiteY3240" fmla="*/ 0 h 1934496"/>
              <a:gd name="connsiteX3241" fmla="*/ 7396772 w 9922465"/>
              <a:gd name="connsiteY3241" fmla="*/ 55191 h 1934496"/>
              <a:gd name="connsiteX3242" fmla="*/ 7341580 w 9922465"/>
              <a:gd name="connsiteY3242" fmla="*/ 110382 h 1934496"/>
              <a:gd name="connsiteX3243" fmla="*/ 7286388 w 9922465"/>
              <a:gd name="connsiteY3243" fmla="*/ 55191 h 1934496"/>
              <a:gd name="connsiteX3244" fmla="*/ 7341580 w 9922465"/>
              <a:gd name="connsiteY3244" fmla="*/ 0 h 1934496"/>
              <a:gd name="connsiteX3245" fmla="*/ 4294713 w 9922465"/>
              <a:gd name="connsiteY3245" fmla="*/ 0 h 1934496"/>
              <a:gd name="connsiteX3246" fmla="*/ 4349905 w 9922465"/>
              <a:gd name="connsiteY3246" fmla="*/ 55191 h 1934496"/>
              <a:gd name="connsiteX3247" fmla="*/ 4294713 w 9922465"/>
              <a:gd name="connsiteY3247" fmla="*/ 110382 h 1934496"/>
              <a:gd name="connsiteX3248" fmla="*/ 4239521 w 9922465"/>
              <a:gd name="connsiteY3248" fmla="*/ 55191 h 1934496"/>
              <a:gd name="connsiteX3249" fmla="*/ 4294713 w 9922465"/>
              <a:gd name="connsiteY3249" fmla="*/ 0 h 1934496"/>
              <a:gd name="connsiteX3250" fmla="*/ 4161077 w 9922465"/>
              <a:gd name="connsiteY3250" fmla="*/ 0 h 1934496"/>
              <a:gd name="connsiteX3251" fmla="*/ 4216269 w 9922465"/>
              <a:gd name="connsiteY3251" fmla="*/ 55191 h 1934496"/>
              <a:gd name="connsiteX3252" fmla="*/ 4161077 w 9922465"/>
              <a:gd name="connsiteY3252" fmla="*/ 110382 h 1934496"/>
              <a:gd name="connsiteX3253" fmla="*/ 4105885 w 9922465"/>
              <a:gd name="connsiteY3253" fmla="*/ 55191 h 1934496"/>
              <a:gd name="connsiteX3254" fmla="*/ 4161077 w 9922465"/>
              <a:gd name="connsiteY3254" fmla="*/ 0 h 1934496"/>
              <a:gd name="connsiteX3255" fmla="*/ 4030786 w 9922465"/>
              <a:gd name="connsiteY3255" fmla="*/ 0 h 1934496"/>
              <a:gd name="connsiteX3256" fmla="*/ 4085978 w 9922465"/>
              <a:gd name="connsiteY3256" fmla="*/ 55191 h 1934496"/>
              <a:gd name="connsiteX3257" fmla="*/ 4030786 w 9922465"/>
              <a:gd name="connsiteY3257" fmla="*/ 110382 h 1934496"/>
              <a:gd name="connsiteX3258" fmla="*/ 3975594 w 9922465"/>
              <a:gd name="connsiteY3258" fmla="*/ 55191 h 1934496"/>
              <a:gd name="connsiteX3259" fmla="*/ 4030786 w 9922465"/>
              <a:gd name="connsiteY3259" fmla="*/ 0 h 1934496"/>
              <a:gd name="connsiteX3260" fmla="*/ 3897148 w 9922465"/>
              <a:gd name="connsiteY3260" fmla="*/ 0 h 1934496"/>
              <a:gd name="connsiteX3261" fmla="*/ 3952340 w 9922465"/>
              <a:gd name="connsiteY3261" fmla="*/ 55191 h 1934496"/>
              <a:gd name="connsiteX3262" fmla="*/ 3897148 w 9922465"/>
              <a:gd name="connsiteY3262" fmla="*/ 110382 h 1934496"/>
              <a:gd name="connsiteX3263" fmla="*/ 3841956 w 9922465"/>
              <a:gd name="connsiteY3263" fmla="*/ 55191 h 1934496"/>
              <a:gd name="connsiteX3264" fmla="*/ 3897148 w 9922465"/>
              <a:gd name="connsiteY3264" fmla="*/ 0 h 1934496"/>
              <a:gd name="connsiteX3265" fmla="*/ 3763514 w 9922465"/>
              <a:gd name="connsiteY3265" fmla="*/ 0 h 1934496"/>
              <a:gd name="connsiteX3266" fmla="*/ 3818706 w 9922465"/>
              <a:gd name="connsiteY3266" fmla="*/ 55191 h 1934496"/>
              <a:gd name="connsiteX3267" fmla="*/ 3763514 w 9922465"/>
              <a:gd name="connsiteY3267" fmla="*/ 110382 h 1934496"/>
              <a:gd name="connsiteX3268" fmla="*/ 3708322 w 9922465"/>
              <a:gd name="connsiteY3268" fmla="*/ 55191 h 1934496"/>
              <a:gd name="connsiteX3269" fmla="*/ 3763514 w 9922465"/>
              <a:gd name="connsiteY3269" fmla="*/ 0 h 1934496"/>
              <a:gd name="connsiteX3270" fmla="*/ 3633221 w 9922465"/>
              <a:gd name="connsiteY3270" fmla="*/ 0 h 1934496"/>
              <a:gd name="connsiteX3271" fmla="*/ 3688413 w 9922465"/>
              <a:gd name="connsiteY3271" fmla="*/ 55191 h 1934496"/>
              <a:gd name="connsiteX3272" fmla="*/ 3633221 w 9922465"/>
              <a:gd name="connsiteY3272" fmla="*/ 110382 h 1934496"/>
              <a:gd name="connsiteX3273" fmla="*/ 3578029 w 9922465"/>
              <a:gd name="connsiteY3273" fmla="*/ 55191 h 1934496"/>
              <a:gd name="connsiteX3274" fmla="*/ 3633221 w 9922465"/>
              <a:gd name="connsiteY3274" fmla="*/ 0 h 1934496"/>
              <a:gd name="connsiteX3275" fmla="*/ 3499589 w 9922465"/>
              <a:gd name="connsiteY3275" fmla="*/ 0 h 1934496"/>
              <a:gd name="connsiteX3276" fmla="*/ 3554781 w 9922465"/>
              <a:gd name="connsiteY3276" fmla="*/ 55191 h 1934496"/>
              <a:gd name="connsiteX3277" fmla="*/ 3499589 w 9922465"/>
              <a:gd name="connsiteY3277" fmla="*/ 110382 h 1934496"/>
              <a:gd name="connsiteX3278" fmla="*/ 3444397 w 9922465"/>
              <a:gd name="connsiteY3278" fmla="*/ 55191 h 1934496"/>
              <a:gd name="connsiteX3279" fmla="*/ 3499589 w 9922465"/>
              <a:gd name="connsiteY3279" fmla="*/ 0 h 1934496"/>
              <a:gd name="connsiteX3280" fmla="*/ 3369293 w 9922465"/>
              <a:gd name="connsiteY3280" fmla="*/ 0 h 1934496"/>
              <a:gd name="connsiteX3281" fmla="*/ 3424485 w 9922465"/>
              <a:gd name="connsiteY3281" fmla="*/ 55191 h 1934496"/>
              <a:gd name="connsiteX3282" fmla="*/ 3369293 w 9922465"/>
              <a:gd name="connsiteY3282" fmla="*/ 110382 h 1934496"/>
              <a:gd name="connsiteX3283" fmla="*/ 3314101 w 9922465"/>
              <a:gd name="connsiteY3283" fmla="*/ 55191 h 1934496"/>
              <a:gd name="connsiteX3284" fmla="*/ 3369293 w 9922465"/>
              <a:gd name="connsiteY3284" fmla="*/ 0 h 1934496"/>
              <a:gd name="connsiteX3285" fmla="*/ 3235657 w 9922465"/>
              <a:gd name="connsiteY3285" fmla="*/ 0 h 1934496"/>
              <a:gd name="connsiteX3286" fmla="*/ 3290849 w 9922465"/>
              <a:gd name="connsiteY3286" fmla="*/ 55191 h 1934496"/>
              <a:gd name="connsiteX3287" fmla="*/ 3235657 w 9922465"/>
              <a:gd name="connsiteY3287" fmla="*/ 110382 h 1934496"/>
              <a:gd name="connsiteX3288" fmla="*/ 3180465 w 9922465"/>
              <a:gd name="connsiteY3288" fmla="*/ 55191 h 1934496"/>
              <a:gd name="connsiteX3289" fmla="*/ 3235657 w 9922465"/>
              <a:gd name="connsiteY3289" fmla="*/ 0 h 1934496"/>
              <a:gd name="connsiteX3290" fmla="*/ 2834862 w 9922465"/>
              <a:gd name="connsiteY3290" fmla="*/ 0 h 1934496"/>
              <a:gd name="connsiteX3291" fmla="*/ 2890052 w 9922465"/>
              <a:gd name="connsiteY3291" fmla="*/ 55191 h 1934496"/>
              <a:gd name="connsiteX3292" fmla="*/ 2834862 w 9922465"/>
              <a:gd name="connsiteY3292" fmla="*/ 110382 h 1934496"/>
              <a:gd name="connsiteX3293" fmla="*/ 2779671 w 9922465"/>
              <a:gd name="connsiteY3293" fmla="*/ 55191 h 1934496"/>
              <a:gd name="connsiteX3294" fmla="*/ 2834862 w 9922465"/>
              <a:gd name="connsiteY3294" fmla="*/ 0 h 1934496"/>
              <a:gd name="connsiteX3295" fmla="*/ 2707903 w 9922465"/>
              <a:gd name="connsiteY3295" fmla="*/ 0 h 1934496"/>
              <a:gd name="connsiteX3296" fmla="*/ 2763100 w 9922465"/>
              <a:gd name="connsiteY3296" fmla="*/ 55191 h 1934496"/>
              <a:gd name="connsiteX3297" fmla="*/ 2707903 w 9922465"/>
              <a:gd name="connsiteY3297" fmla="*/ 110382 h 1934496"/>
              <a:gd name="connsiteX3298" fmla="*/ 2652715 w 9922465"/>
              <a:gd name="connsiteY3298" fmla="*/ 55191 h 1934496"/>
              <a:gd name="connsiteX3299" fmla="*/ 2707903 w 9922465"/>
              <a:gd name="connsiteY3299" fmla="*/ 0 h 1934496"/>
              <a:gd name="connsiteX3300" fmla="*/ 2570933 w 9922465"/>
              <a:gd name="connsiteY3300" fmla="*/ 0 h 1934496"/>
              <a:gd name="connsiteX3301" fmla="*/ 2626123 w 9922465"/>
              <a:gd name="connsiteY3301" fmla="*/ 55191 h 1934496"/>
              <a:gd name="connsiteX3302" fmla="*/ 2570933 w 9922465"/>
              <a:gd name="connsiteY3302" fmla="*/ 110382 h 1934496"/>
              <a:gd name="connsiteX3303" fmla="*/ 2515738 w 9922465"/>
              <a:gd name="connsiteY3303" fmla="*/ 55191 h 1934496"/>
              <a:gd name="connsiteX3304" fmla="*/ 2570933 w 9922465"/>
              <a:gd name="connsiteY3304" fmla="*/ 0 h 1934496"/>
              <a:gd name="connsiteX3305" fmla="*/ 2437297 w 9922465"/>
              <a:gd name="connsiteY3305" fmla="*/ 0 h 1934496"/>
              <a:gd name="connsiteX3306" fmla="*/ 2492487 w 9922465"/>
              <a:gd name="connsiteY3306" fmla="*/ 55191 h 1934496"/>
              <a:gd name="connsiteX3307" fmla="*/ 2437297 w 9922465"/>
              <a:gd name="connsiteY3307" fmla="*/ 110382 h 1934496"/>
              <a:gd name="connsiteX3308" fmla="*/ 2382108 w 9922465"/>
              <a:gd name="connsiteY3308" fmla="*/ 55191 h 1934496"/>
              <a:gd name="connsiteX3309" fmla="*/ 2437297 w 9922465"/>
              <a:gd name="connsiteY3309" fmla="*/ 0 h 1934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Lst>
            <a:rect l="l" t="t" r="r" b="b"/>
            <a:pathLst>
              <a:path w="9922465" h="1934496">
                <a:moveTo>
                  <a:pt x="8407318" y="1824114"/>
                </a:moveTo>
                <a:cubicBezTo>
                  <a:pt x="8437800" y="1824114"/>
                  <a:pt x="8462510" y="1848824"/>
                  <a:pt x="8462510" y="1879305"/>
                </a:cubicBezTo>
                <a:cubicBezTo>
                  <a:pt x="8462510" y="1909786"/>
                  <a:pt x="8437800" y="1934496"/>
                  <a:pt x="8407318" y="1934496"/>
                </a:cubicBezTo>
                <a:cubicBezTo>
                  <a:pt x="8376836" y="1934496"/>
                  <a:pt x="8352126" y="1909786"/>
                  <a:pt x="8352126" y="1879305"/>
                </a:cubicBezTo>
                <a:cubicBezTo>
                  <a:pt x="8352126" y="1848824"/>
                  <a:pt x="8376836" y="1824114"/>
                  <a:pt x="8407318" y="1824114"/>
                </a:cubicBezTo>
                <a:close/>
                <a:moveTo>
                  <a:pt x="8273682" y="1824114"/>
                </a:moveTo>
                <a:cubicBezTo>
                  <a:pt x="8304164" y="1824114"/>
                  <a:pt x="8328874" y="1848824"/>
                  <a:pt x="8328874" y="1879305"/>
                </a:cubicBezTo>
                <a:cubicBezTo>
                  <a:pt x="8328874" y="1909786"/>
                  <a:pt x="8304164" y="1934496"/>
                  <a:pt x="8273682" y="1934496"/>
                </a:cubicBezTo>
                <a:cubicBezTo>
                  <a:pt x="8243200" y="1934496"/>
                  <a:pt x="8218490" y="1909786"/>
                  <a:pt x="8218490" y="1879305"/>
                </a:cubicBezTo>
                <a:cubicBezTo>
                  <a:pt x="8218490" y="1848824"/>
                  <a:pt x="8243200" y="1824114"/>
                  <a:pt x="8273682" y="1824114"/>
                </a:cubicBezTo>
                <a:close/>
                <a:moveTo>
                  <a:pt x="8143386" y="1824114"/>
                </a:moveTo>
                <a:cubicBezTo>
                  <a:pt x="8173868" y="1824114"/>
                  <a:pt x="8198578" y="1848824"/>
                  <a:pt x="8198578" y="1879305"/>
                </a:cubicBezTo>
                <a:cubicBezTo>
                  <a:pt x="8198578" y="1909786"/>
                  <a:pt x="8173868" y="1934496"/>
                  <a:pt x="8143386" y="1934496"/>
                </a:cubicBezTo>
                <a:cubicBezTo>
                  <a:pt x="8112904" y="1934496"/>
                  <a:pt x="8088194" y="1909786"/>
                  <a:pt x="8088194" y="1879305"/>
                </a:cubicBezTo>
                <a:cubicBezTo>
                  <a:pt x="8088194" y="1848824"/>
                  <a:pt x="8112904" y="1824114"/>
                  <a:pt x="8143386" y="1824114"/>
                </a:cubicBezTo>
                <a:close/>
                <a:moveTo>
                  <a:pt x="8009752" y="1824114"/>
                </a:moveTo>
                <a:cubicBezTo>
                  <a:pt x="8040234" y="1824114"/>
                  <a:pt x="8064944" y="1848824"/>
                  <a:pt x="8064944" y="1879305"/>
                </a:cubicBezTo>
                <a:cubicBezTo>
                  <a:pt x="8064944" y="1909786"/>
                  <a:pt x="8040234" y="1934496"/>
                  <a:pt x="8009752" y="1934496"/>
                </a:cubicBezTo>
                <a:cubicBezTo>
                  <a:pt x="7979270" y="1934496"/>
                  <a:pt x="7954560" y="1909786"/>
                  <a:pt x="7954560" y="1879305"/>
                </a:cubicBezTo>
                <a:cubicBezTo>
                  <a:pt x="7954560" y="1848824"/>
                  <a:pt x="7979270" y="1824114"/>
                  <a:pt x="8009752" y="1824114"/>
                </a:cubicBezTo>
                <a:close/>
                <a:moveTo>
                  <a:pt x="7876117" y="1824114"/>
                </a:moveTo>
                <a:cubicBezTo>
                  <a:pt x="7906599" y="1824114"/>
                  <a:pt x="7931309" y="1848824"/>
                  <a:pt x="7931309" y="1879305"/>
                </a:cubicBezTo>
                <a:cubicBezTo>
                  <a:pt x="7931309" y="1909786"/>
                  <a:pt x="7906599" y="1934496"/>
                  <a:pt x="7876117" y="1934496"/>
                </a:cubicBezTo>
                <a:cubicBezTo>
                  <a:pt x="7845635" y="1934496"/>
                  <a:pt x="7820925" y="1909786"/>
                  <a:pt x="7820925" y="1879305"/>
                </a:cubicBezTo>
                <a:cubicBezTo>
                  <a:pt x="7820925" y="1848824"/>
                  <a:pt x="7845635" y="1824114"/>
                  <a:pt x="7876117" y="1824114"/>
                </a:cubicBezTo>
                <a:close/>
                <a:moveTo>
                  <a:pt x="7745824" y="1824114"/>
                </a:moveTo>
                <a:cubicBezTo>
                  <a:pt x="7776306" y="1824114"/>
                  <a:pt x="7801016" y="1848824"/>
                  <a:pt x="7801016" y="1879305"/>
                </a:cubicBezTo>
                <a:cubicBezTo>
                  <a:pt x="7801016" y="1909786"/>
                  <a:pt x="7776306" y="1934496"/>
                  <a:pt x="7745824" y="1934496"/>
                </a:cubicBezTo>
                <a:cubicBezTo>
                  <a:pt x="7715342" y="1934496"/>
                  <a:pt x="7690632" y="1909786"/>
                  <a:pt x="7690632" y="1879305"/>
                </a:cubicBezTo>
                <a:cubicBezTo>
                  <a:pt x="7690632" y="1848824"/>
                  <a:pt x="7715342" y="1824114"/>
                  <a:pt x="7745824" y="1824114"/>
                </a:cubicBezTo>
                <a:close/>
                <a:moveTo>
                  <a:pt x="7608849" y="1824114"/>
                </a:moveTo>
                <a:cubicBezTo>
                  <a:pt x="7639331" y="1824114"/>
                  <a:pt x="7664041" y="1848824"/>
                  <a:pt x="7664041" y="1879305"/>
                </a:cubicBezTo>
                <a:cubicBezTo>
                  <a:pt x="7664041" y="1909786"/>
                  <a:pt x="7639331" y="1934496"/>
                  <a:pt x="7608849" y="1934496"/>
                </a:cubicBezTo>
                <a:cubicBezTo>
                  <a:pt x="7578367" y="1934496"/>
                  <a:pt x="7553657" y="1909786"/>
                  <a:pt x="7553657" y="1879305"/>
                </a:cubicBezTo>
                <a:cubicBezTo>
                  <a:pt x="7553657" y="1848824"/>
                  <a:pt x="7578367" y="1824114"/>
                  <a:pt x="7608849" y="1824114"/>
                </a:cubicBezTo>
                <a:close/>
                <a:moveTo>
                  <a:pt x="7481895" y="1824114"/>
                </a:moveTo>
                <a:cubicBezTo>
                  <a:pt x="7512377" y="1824114"/>
                  <a:pt x="7537087" y="1848824"/>
                  <a:pt x="7537087" y="1879305"/>
                </a:cubicBezTo>
                <a:cubicBezTo>
                  <a:pt x="7537087" y="1909786"/>
                  <a:pt x="7512377" y="1934496"/>
                  <a:pt x="7481895" y="1934496"/>
                </a:cubicBezTo>
                <a:cubicBezTo>
                  <a:pt x="7451413" y="1934496"/>
                  <a:pt x="7426703" y="1909786"/>
                  <a:pt x="7426703" y="1879305"/>
                </a:cubicBezTo>
                <a:cubicBezTo>
                  <a:pt x="7426703" y="1848824"/>
                  <a:pt x="7451413" y="1824114"/>
                  <a:pt x="7481895" y="1824114"/>
                </a:cubicBezTo>
                <a:close/>
                <a:moveTo>
                  <a:pt x="7341579" y="1824114"/>
                </a:moveTo>
                <a:cubicBezTo>
                  <a:pt x="7372061" y="1824114"/>
                  <a:pt x="7396771" y="1848824"/>
                  <a:pt x="7396771" y="1879305"/>
                </a:cubicBezTo>
                <a:cubicBezTo>
                  <a:pt x="7396771" y="1909786"/>
                  <a:pt x="7372061" y="1934496"/>
                  <a:pt x="7341579" y="1934496"/>
                </a:cubicBezTo>
                <a:cubicBezTo>
                  <a:pt x="7311097" y="1934496"/>
                  <a:pt x="7286387" y="1909786"/>
                  <a:pt x="7286387" y="1879305"/>
                </a:cubicBezTo>
                <a:cubicBezTo>
                  <a:pt x="7286387" y="1848824"/>
                  <a:pt x="7311097" y="1824114"/>
                  <a:pt x="7341579" y="1824114"/>
                </a:cubicBezTo>
                <a:close/>
                <a:moveTo>
                  <a:pt x="7211286" y="1824114"/>
                </a:moveTo>
                <a:cubicBezTo>
                  <a:pt x="7241768" y="1824114"/>
                  <a:pt x="7266478" y="1848824"/>
                  <a:pt x="7266478" y="1879305"/>
                </a:cubicBezTo>
                <a:cubicBezTo>
                  <a:pt x="7266478" y="1909786"/>
                  <a:pt x="7241768" y="1934496"/>
                  <a:pt x="7211286" y="1934496"/>
                </a:cubicBezTo>
                <a:cubicBezTo>
                  <a:pt x="7180804" y="1934496"/>
                  <a:pt x="7156094" y="1909786"/>
                  <a:pt x="7156094" y="1879305"/>
                </a:cubicBezTo>
                <a:cubicBezTo>
                  <a:pt x="7156094" y="1848824"/>
                  <a:pt x="7180804" y="1824114"/>
                  <a:pt x="7211286" y="1824114"/>
                </a:cubicBezTo>
                <a:close/>
                <a:moveTo>
                  <a:pt x="7080993" y="1824114"/>
                </a:moveTo>
                <a:cubicBezTo>
                  <a:pt x="7111475" y="1824114"/>
                  <a:pt x="7136185" y="1848824"/>
                  <a:pt x="7136185" y="1879305"/>
                </a:cubicBezTo>
                <a:cubicBezTo>
                  <a:pt x="7136185" y="1909786"/>
                  <a:pt x="7111475" y="1934496"/>
                  <a:pt x="7080993" y="1934496"/>
                </a:cubicBezTo>
                <a:cubicBezTo>
                  <a:pt x="7050511" y="1934496"/>
                  <a:pt x="7025801" y="1909786"/>
                  <a:pt x="7025801" y="1879305"/>
                </a:cubicBezTo>
                <a:cubicBezTo>
                  <a:pt x="7025801" y="1848824"/>
                  <a:pt x="7050511" y="1824114"/>
                  <a:pt x="7080993" y="1824114"/>
                </a:cubicBezTo>
                <a:close/>
                <a:moveTo>
                  <a:pt x="6947357" y="1824114"/>
                </a:moveTo>
                <a:cubicBezTo>
                  <a:pt x="6977839" y="1824114"/>
                  <a:pt x="7002549" y="1848824"/>
                  <a:pt x="7002549" y="1879305"/>
                </a:cubicBezTo>
                <a:cubicBezTo>
                  <a:pt x="7002549" y="1909786"/>
                  <a:pt x="6977839" y="1934496"/>
                  <a:pt x="6947357" y="1934496"/>
                </a:cubicBezTo>
                <a:cubicBezTo>
                  <a:pt x="6916875" y="1934496"/>
                  <a:pt x="6892165" y="1909786"/>
                  <a:pt x="6892165" y="1879305"/>
                </a:cubicBezTo>
                <a:cubicBezTo>
                  <a:pt x="6892165" y="1848824"/>
                  <a:pt x="6916875" y="1824114"/>
                  <a:pt x="6947357" y="1824114"/>
                </a:cubicBezTo>
                <a:close/>
                <a:moveTo>
                  <a:pt x="6817063" y="1824114"/>
                </a:moveTo>
                <a:cubicBezTo>
                  <a:pt x="6847545" y="1824114"/>
                  <a:pt x="6872255" y="1848824"/>
                  <a:pt x="6872255" y="1879305"/>
                </a:cubicBezTo>
                <a:cubicBezTo>
                  <a:pt x="6872255" y="1909786"/>
                  <a:pt x="6847545" y="1934496"/>
                  <a:pt x="6817063" y="1934496"/>
                </a:cubicBezTo>
                <a:cubicBezTo>
                  <a:pt x="6786581" y="1934496"/>
                  <a:pt x="6761871" y="1909786"/>
                  <a:pt x="6761871" y="1879305"/>
                </a:cubicBezTo>
                <a:cubicBezTo>
                  <a:pt x="6761871" y="1848824"/>
                  <a:pt x="6786581" y="1824114"/>
                  <a:pt x="6817063" y="1824114"/>
                </a:cubicBezTo>
                <a:close/>
                <a:moveTo>
                  <a:pt x="6683431" y="1824114"/>
                </a:moveTo>
                <a:cubicBezTo>
                  <a:pt x="6713913" y="1824114"/>
                  <a:pt x="6738623" y="1848824"/>
                  <a:pt x="6738623" y="1879305"/>
                </a:cubicBezTo>
                <a:cubicBezTo>
                  <a:pt x="6738623" y="1909786"/>
                  <a:pt x="6713913" y="1934496"/>
                  <a:pt x="6683431" y="1934496"/>
                </a:cubicBezTo>
                <a:cubicBezTo>
                  <a:pt x="6652949" y="1934496"/>
                  <a:pt x="6628239" y="1909786"/>
                  <a:pt x="6628239" y="1879305"/>
                </a:cubicBezTo>
                <a:cubicBezTo>
                  <a:pt x="6628239" y="1848824"/>
                  <a:pt x="6652949" y="1824114"/>
                  <a:pt x="6683431" y="1824114"/>
                </a:cubicBezTo>
                <a:close/>
                <a:moveTo>
                  <a:pt x="6553137" y="1824114"/>
                </a:moveTo>
                <a:cubicBezTo>
                  <a:pt x="6583619" y="1824114"/>
                  <a:pt x="6608329" y="1848824"/>
                  <a:pt x="6608329" y="1879305"/>
                </a:cubicBezTo>
                <a:cubicBezTo>
                  <a:pt x="6608329" y="1909786"/>
                  <a:pt x="6583619" y="1934496"/>
                  <a:pt x="6553137" y="1934496"/>
                </a:cubicBezTo>
                <a:cubicBezTo>
                  <a:pt x="6522655" y="1934496"/>
                  <a:pt x="6497945" y="1909786"/>
                  <a:pt x="6497945" y="1879305"/>
                </a:cubicBezTo>
                <a:cubicBezTo>
                  <a:pt x="6497945" y="1848824"/>
                  <a:pt x="6522655" y="1824114"/>
                  <a:pt x="6553137" y="1824114"/>
                </a:cubicBezTo>
                <a:close/>
                <a:moveTo>
                  <a:pt x="6289207" y="1824114"/>
                </a:moveTo>
                <a:cubicBezTo>
                  <a:pt x="6319689" y="1824114"/>
                  <a:pt x="6344399" y="1848824"/>
                  <a:pt x="6344399" y="1879305"/>
                </a:cubicBezTo>
                <a:cubicBezTo>
                  <a:pt x="6344399" y="1909786"/>
                  <a:pt x="6319689" y="1934496"/>
                  <a:pt x="6289207" y="1934496"/>
                </a:cubicBezTo>
                <a:cubicBezTo>
                  <a:pt x="6258725" y="1934496"/>
                  <a:pt x="6234015" y="1909786"/>
                  <a:pt x="6234015" y="1879305"/>
                </a:cubicBezTo>
                <a:cubicBezTo>
                  <a:pt x="6234015" y="1848824"/>
                  <a:pt x="6258725" y="1824114"/>
                  <a:pt x="6289207" y="1824114"/>
                </a:cubicBezTo>
                <a:close/>
                <a:moveTo>
                  <a:pt x="6155572" y="1824114"/>
                </a:moveTo>
                <a:cubicBezTo>
                  <a:pt x="6186054" y="1824114"/>
                  <a:pt x="6210764" y="1848824"/>
                  <a:pt x="6210764" y="1879305"/>
                </a:cubicBezTo>
                <a:cubicBezTo>
                  <a:pt x="6210764" y="1909786"/>
                  <a:pt x="6186054" y="1934496"/>
                  <a:pt x="6155572" y="1934496"/>
                </a:cubicBezTo>
                <a:cubicBezTo>
                  <a:pt x="6125090" y="1934496"/>
                  <a:pt x="6100380" y="1909786"/>
                  <a:pt x="6100380" y="1879305"/>
                </a:cubicBezTo>
                <a:cubicBezTo>
                  <a:pt x="6100380" y="1848824"/>
                  <a:pt x="6125090" y="1824114"/>
                  <a:pt x="6155572" y="1824114"/>
                </a:cubicBezTo>
                <a:close/>
                <a:moveTo>
                  <a:pt x="6021938" y="1824114"/>
                </a:moveTo>
                <a:cubicBezTo>
                  <a:pt x="6052420" y="1824114"/>
                  <a:pt x="6077130" y="1848824"/>
                  <a:pt x="6077130" y="1879305"/>
                </a:cubicBezTo>
                <a:cubicBezTo>
                  <a:pt x="6077130" y="1909786"/>
                  <a:pt x="6052420" y="1934496"/>
                  <a:pt x="6021938" y="1934496"/>
                </a:cubicBezTo>
                <a:cubicBezTo>
                  <a:pt x="5991456" y="1934496"/>
                  <a:pt x="5966746" y="1909786"/>
                  <a:pt x="5966746" y="1879305"/>
                </a:cubicBezTo>
                <a:cubicBezTo>
                  <a:pt x="5966746" y="1848824"/>
                  <a:pt x="5991456" y="1824114"/>
                  <a:pt x="6021938" y="1824114"/>
                </a:cubicBezTo>
                <a:close/>
                <a:moveTo>
                  <a:pt x="5884964" y="1824114"/>
                </a:moveTo>
                <a:cubicBezTo>
                  <a:pt x="5915446" y="1824114"/>
                  <a:pt x="5940156" y="1848824"/>
                  <a:pt x="5940156" y="1879305"/>
                </a:cubicBezTo>
                <a:cubicBezTo>
                  <a:pt x="5940156" y="1909786"/>
                  <a:pt x="5915446" y="1934496"/>
                  <a:pt x="5884964" y="1934496"/>
                </a:cubicBezTo>
                <a:cubicBezTo>
                  <a:pt x="5854482" y="1934496"/>
                  <a:pt x="5829772" y="1909786"/>
                  <a:pt x="5829772" y="1879305"/>
                </a:cubicBezTo>
                <a:cubicBezTo>
                  <a:pt x="5829772" y="1848824"/>
                  <a:pt x="5854482" y="1824114"/>
                  <a:pt x="5884964" y="1824114"/>
                </a:cubicBezTo>
                <a:close/>
                <a:moveTo>
                  <a:pt x="5754670" y="1824114"/>
                </a:moveTo>
                <a:cubicBezTo>
                  <a:pt x="5785152" y="1824114"/>
                  <a:pt x="5809862" y="1848824"/>
                  <a:pt x="5809862" y="1879305"/>
                </a:cubicBezTo>
                <a:cubicBezTo>
                  <a:pt x="5809862" y="1909786"/>
                  <a:pt x="5785152" y="1934496"/>
                  <a:pt x="5754670" y="1934496"/>
                </a:cubicBezTo>
                <a:cubicBezTo>
                  <a:pt x="5724188" y="1934496"/>
                  <a:pt x="5699478" y="1909786"/>
                  <a:pt x="5699478" y="1879305"/>
                </a:cubicBezTo>
                <a:cubicBezTo>
                  <a:pt x="5699478" y="1848824"/>
                  <a:pt x="5724188" y="1824114"/>
                  <a:pt x="5754670" y="1824114"/>
                </a:cubicBezTo>
                <a:close/>
                <a:moveTo>
                  <a:pt x="5487399" y="1824114"/>
                </a:moveTo>
                <a:cubicBezTo>
                  <a:pt x="5517881" y="1824114"/>
                  <a:pt x="5542591" y="1848824"/>
                  <a:pt x="5542591" y="1879305"/>
                </a:cubicBezTo>
                <a:cubicBezTo>
                  <a:pt x="5542591" y="1909786"/>
                  <a:pt x="5517881" y="1934496"/>
                  <a:pt x="5487399" y="1934496"/>
                </a:cubicBezTo>
                <a:cubicBezTo>
                  <a:pt x="5456917" y="1934496"/>
                  <a:pt x="5432207" y="1909786"/>
                  <a:pt x="5432207" y="1879305"/>
                </a:cubicBezTo>
                <a:cubicBezTo>
                  <a:pt x="5432207" y="1848824"/>
                  <a:pt x="5456917" y="1824114"/>
                  <a:pt x="5487399" y="1824114"/>
                </a:cubicBezTo>
                <a:close/>
                <a:moveTo>
                  <a:pt x="5357105" y="1824114"/>
                </a:moveTo>
                <a:cubicBezTo>
                  <a:pt x="5387587" y="1824114"/>
                  <a:pt x="5412297" y="1848824"/>
                  <a:pt x="5412297" y="1879305"/>
                </a:cubicBezTo>
                <a:cubicBezTo>
                  <a:pt x="5412297" y="1909786"/>
                  <a:pt x="5387587" y="1934496"/>
                  <a:pt x="5357105" y="1934496"/>
                </a:cubicBezTo>
                <a:cubicBezTo>
                  <a:pt x="5326623" y="1934496"/>
                  <a:pt x="5301913" y="1909786"/>
                  <a:pt x="5301913" y="1879305"/>
                </a:cubicBezTo>
                <a:cubicBezTo>
                  <a:pt x="5301913" y="1848824"/>
                  <a:pt x="5326623" y="1824114"/>
                  <a:pt x="5357105" y="1824114"/>
                </a:cubicBezTo>
                <a:close/>
                <a:moveTo>
                  <a:pt x="5223473" y="1824114"/>
                </a:moveTo>
                <a:cubicBezTo>
                  <a:pt x="5253955" y="1824114"/>
                  <a:pt x="5278665" y="1848824"/>
                  <a:pt x="5278665" y="1879305"/>
                </a:cubicBezTo>
                <a:cubicBezTo>
                  <a:pt x="5278665" y="1909786"/>
                  <a:pt x="5253955" y="1934496"/>
                  <a:pt x="5223473" y="1934496"/>
                </a:cubicBezTo>
                <a:cubicBezTo>
                  <a:pt x="5192991" y="1934496"/>
                  <a:pt x="5168281" y="1909786"/>
                  <a:pt x="5168281" y="1879305"/>
                </a:cubicBezTo>
                <a:cubicBezTo>
                  <a:pt x="5168281" y="1848824"/>
                  <a:pt x="5192991" y="1824114"/>
                  <a:pt x="5223473" y="1824114"/>
                </a:cubicBezTo>
                <a:close/>
                <a:moveTo>
                  <a:pt x="5093178" y="1824114"/>
                </a:moveTo>
                <a:cubicBezTo>
                  <a:pt x="5123660" y="1824114"/>
                  <a:pt x="5148370" y="1848824"/>
                  <a:pt x="5148370" y="1879305"/>
                </a:cubicBezTo>
                <a:cubicBezTo>
                  <a:pt x="5148370" y="1909786"/>
                  <a:pt x="5123660" y="1934496"/>
                  <a:pt x="5093178" y="1934496"/>
                </a:cubicBezTo>
                <a:cubicBezTo>
                  <a:pt x="5062696" y="1934496"/>
                  <a:pt x="5037986" y="1909786"/>
                  <a:pt x="5037986" y="1879305"/>
                </a:cubicBezTo>
                <a:cubicBezTo>
                  <a:pt x="5037986" y="1848824"/>
                  <a:pt x="5062696" y="1824114"/>
                  <a:pt x="5093178" y="1824114"/>
                </a:cubicBezTo>
                <a:close/>
                <a:moveTo>
                  <a:pt x="4959543" y="1824114"/>
                </a:moveTo>
                <a:cubicBezTo>
                  <a:pt x="4990025" y="1824114"/>
                  <a:pt x="5014735" y="1848824"/>
                  <a:pt x="5014735" y="1879305"/>
                </a:cubicBezTo>
                <a:cubicBezTo>
                  <a:pt x="5014735" y="1909786"/>
                  <a:pt x="4990025" y="1934496"/>
                  <a:pt x="4959543" y="1934496"/>
                </a:cubicBezTo>
                <a:cubicBezTo>
                  <a:pt x="4929061" y="1934496"/>
                  <a:pt x="4904351" y="1909786"/>
                  <a:pt x="4904351" y="1879305"/>
                </a:cubicBezTo>
                <a:cubicBezTo>
                  <a:pt x="4904351" y="1848824"/>
                  <a:pt x="4929061" y="1824114"/>
                  <a:pt x="4959543" y="1824114"/>
                </a:cubicBezTo>
                <a:close/>
                <a:moveTo>
                  <a:pt x="4829250" y="1824114"/>
                </a:moveTo>
                <a:cubicBezTo>
                  <a:pt x="4859732" y="1824114"/>
                  <a:pt x="4884442" y="1848824"/>
                  <a:pt x="4884442" y="1879305"/>
                </a:cubicBezTo>
                <a:cubicBezTo>
                  <a:pt x="4884442" y="1909786"/>
                  <a:pt x="4859732" y="1934496"/>
                  <a:pt x="4829250" y="1934496"/>
                </a:cubicBezTo>
                <a:cubicBezTo>
                  <a:pt x="4798768" y="1934496"/>
                  <a:pt x="4774058" y="1909786"/>
                  <a:pt x="4774058" y="1879305"/>
                </a:cubicBezTo>
                <a:cubicBezTo>
                  <a:pt x="4774058" y="1848824"/>
                  <a:pt x="4798768" y="1824114"/>
                  <a:pt x="4829250" y="1824114"/>
                </a:cubicBezTo>
                <a:close/>
                <a:moveTo>
                  <a:pt x="4695613" y="1824114"/>
                </a:moveTo>
                <a:cubicBezTo>
                  <a:pt x="4726095" y="1824114"/>
                  <a:pt x="4750805" y="1848824"/>
                  <a:pt x="4750805" y="1879305"/>
                </a:cubicBezTo>
                <a:cubicBezTo>
                  <a:pt x="4750805" y="1909786"/>
                  <a:pt x="4726095" y="1934496"/>
                  <a:pt x="4695613" y="1934496"/>
                </a:cubicBezTo>
                <a:cubicBezTo>
                  <a:pt x="4665131" y="1934496"/>
                  <a:pt x="4640421" y="1909786"/>
                  <a:pt x="4640421" y="1879305"/>
                </a:cubicBezTo>
                <a:cubicBezTo>
                  <a:pt x="4640421" y="1848824"/>
                  <a:pt x="4665131" y="1824114"/>
                  <a:pt x="4695613" y="1824114"/>
                </a:cubicBezTo>
                <a:close/>
                <a:moveTo>
                  <a:pt x="2834762" y="1824114"/>
                </a:moveTo>
                <a:cubicBezTo>
                  <a:pt x="2865244" y="1824114"/>
                  <a:pt x="2889954" y="1848824"/>
                  <a:pt x="2889954" y="1879305"/>
                </a:cubicBezTo>
                <a:cubicBezTo>
                  <a:pt x="2889954" y="1909786"/>
                  <a:pt x="2865244" y="1934496"/>
                  <a:pt x="2834762" y="1934496"/>
                </a:cubicBezTo>
                <a:cubicBezTo>
                  <a:pt x="2804280" y="1934496"/>
                  <a:pt x="2779570" y="1909786"/>
                  <a:pt x="2779570" y="1879305"/>
                </a:cubicBezTo>
                <a:cubicBezTo>
                  <a:pt x="2779570" y="1848824"/>
                  <a:pt x="2804280" y="1824114"/>
                  <a:pt x="2834762" y="1824114"/>
                </a:cubicBezTo>
                <a:close/>
                <a:moveTo>
                  <a:pt x="2707807" y="1824114"/>
                </a:moveTo>
                <a:cubicBezTo>
                  <a:pt x="2738289" y="1824114"/>
                  <a:pt x="2762999" y="1848824"/>
                  <a:pt x="2762999" y="1879305"/>
                </a:cubicBezTo>
                <a:cubicBezTo>
                  <a:pt x="2762999" y="1909786"/>
                  <a:pt x="2738289" y="1934496"/>
                  <a:pt x="2707807" y="1934496"/>
                </a:cubicBezTo>
                <a:cubicBezTo>
                  <a:pt x="2677325" y="1934496"/>
                  <a:pt x="2652615" y="1909786"/>
                  <a:pt x="2652615" y="1879305"/>
                </a:cubicBezTo>
                <a:cubicBezTo>
                  <a:pt x="2652615" y="1848824"/>
                  <a:pt x="2677325" y="1824114"/>
                  <a:pt x="2707807" y="1824114"/>
                </a:cubicBezTo>
                <a:close/>
                <a:moveTo>
                  <a:pt x="2570834" y="1824114"/>
                </a:moveTo>
                <a:cubicBezTo>
                  <a:pt x="2601315" y="1824114"/>
                  <a:pt x="2626025" y="1848824"/>
                  <a:pt x="2626025" y="1879305"/>
                </a:cubicBezTo>
                <a:cubicBezTo>
                  <a:pt x="2626025" y="1909786"/>
                  <a:pt x="2601315" y="1934496"/>
                  <a:pt x="2570834" y="1934496"/>
                </a:cubicBezTo>
                <a:cubicBezTo>
                  <a:pt x="2540351" y="1934496"/>
                  <a:pt x="2515641" y="1909786"/>
                  <a:pt x="2515641" y="1879305"/>
                </a:cubicBezTo>
                <a:cubicBezTo>
                  <a:pt x="2515641" y="1848824"/>
                  <a:pt x="2540351" y="1824114"/>
                  <a:pt x="2570834" y="1824114"/>
                </a:cubicBezTo>
                <a:close/>
                <a:moveTo>
                  <a:pt x="2437196" y="1824114"/>
                </a:moveTo>
                <a:cubicBezTo>
                  <a:pt x="2467679" y="1824114"/>
                  <a:pt x="2492389" y="1848824"/>
                  <a:pt x="2492389" y="1879305"/>
                </a:cubicBezTo>
                <a:cubicBezTo>
                  <a:pt x="2492389" y="1909786"/>
                  <a:pt x="2467679" y="1934496"/>
                  <a:pt x="2437196" y="1934496"/>
                </a:cubicBezTo>
                <a:cubicBezTo>
                  <a:pt x="2406715" y="1934496"/>
                  <a:pt x="2382005" y="1909786"/>
                  <a:pt x="2382005" y="1879305"/>
                </a:cubicBezTo>
                <a:cubicBezTo>
                  <a:pt x="2382005" y="1848824"/>
                  <a:pt x="2406715" y="1824114"/>
                  <a:pt x="2437196" y="1824114"/>
                </a:cubicBezTo>
                <a:close/>
                <a:moveTo>
                  <a:pt x="2303564" y="1824114"/>
                </a:moveTo>
                <a:cubicBezTo>
                  <a:pt x="2334046" y="1824114"/>
                  <a:pt x="2358756" y="1848824"/>
                  <a:pt x="2358756" y="1879305"/>
                </a:cubicBezTo>
                <a:cubicBezTo>
                  <a:pt x="2358756" y="1909786"/>
                  <a:pt x="2334046" y="1934496"/>
                  <a:pt x="2303564" y="1934496"/>
                </a:cubicBezTo>
                <a:cubicBezTo>
                  <a:pt x="2273082" y="1934496"/>
                  <a:pt x="2248372" y="1909786"/>
                  <a:pt x="2248372" y="1879305"/>
                </a:cubicBezTo>
                <a:cubicBezTo>
                  <a:pt x="2248372" y="1848824"/>
                  <a:pt x="2273082" y="1824114"/>
                  <a:pt x="2303564" y="1824114"/>
                </a:cubicBezTo>
                <a:close/>
                <a:moveTo>
                  <a:pt x="2173271" y="1824114"/>
                </a:moveTo>
                <a:cubicBezTo>
                  <a:pt x="2203753" y="1824114"/>
                  <a:pt x="2228463" y="1848824"/>
                  <a:pt x="2228463" y="1879305"/>
                </a:cubicBezTo>
                <a:cubicBezTo>
                  <a:pt x="2228463" y="1909786"/>
                  <a:pt x="2203753" y="1934496"/>
                  <a:pt x="2173271" y="1934496"/>
                </a:cubicBezTo>
                <a:cubicBezTo>
                  <a:pt x="2142789" y="1934496"/>
                  <a:pt x="2118079" y="1909786"/>
                  <a:pt x="2118079" y="1879305"/>
                </a:cubicBezTo>
                <a:cubicBezTo>
                  <a:pt x="2118079" y="1848824"/>
                  <a:pt x="2142789" y="1824114"/>
                  <a:pt x="2173271" y="1824114"/>
                </a:cubicBezTo>
                <a:close/>
                <a:moveTo>
                  <a:pt x="2039637" y="1824114"/>
                </a:moveTo>
                <a:cubicBezTo>
                  <a:pt x="2070119" y="1824114"/>
                  <a:pt x="2094830" y="1848824"/>
                  <a:pt x="2094830" y="1879305"/>
                </a:cubicBezTo>
                <a:cubicBezTo>
                  <a:pt x="2094830" y="1909786"/>
                  <a:pt x="2070119" y="1934496"/>
                  <a:pt x="2039637" y="1934496"/>
                </a:cubicBezTo>
                <a:cubicBezTo>
                  <a:pt x="2009155" y="1934496"/>
                  <a:pt x="1984445" y="1909786"/>
                  <a:pt x="1984445" y="1879305"/>
                </a:cubicBezTo>
                <a:cubicBezTo>
                  <a:pt x="1984445" y="1848824"/>
                  <a:pt x="2009155" y="1824114"/>
                  <a:pt x="2039637" y="1824114"/>
                </a:cubicBezTo>
                <a:close/>
                <a:moveTo>
                  <a:pt x="1909341" y="1824114"/>
                </a:moveTo>
                <a:cubicBezTo>
                  <a:pt x="1939823" y="1824114"/>
                  <a:pt x="1964533" y="1848824"/>
                  <a:pt x="1964533" y="1879305"/>
                </a:cubicBezTo>
                <a:cubicBezTo>
                  <a:pt x="1964533" y="1909786"/>
                  <a:pt x="1939823" y="1934496"/>
                  <a:pt x="1909341" y="1934496"/>
                </a:cubicBezTo>
                <a:cubicBezTo>
                  <a:pt x="1878859" y="1934496"/>
                  <a:pt x="1854149" y="1909786"/>
                  <a:pt x="1854149" y="1879305"/>
                </a:cubicBezTo>
                <a:cubicBezTo>
                  <a:pt x="1854149" y="1848824"/>
                  <a:pt x="1878859" y="1824114"/>
                  <a:pt x="1909341" y="1824114"/>
                </a:cubicBezTo>
                <a:close/>
                <a:moveTo>
                  <a:pt x="1779049" y="1824114"/>
                </a:moveTo>
                <a:cubicBezTo>
                  <a:pt x="1809531" y="1824114"/>
                  <a:pt x="1834241" y="1848824"/>
                  <a:pt x="1834241" y="1879305"/>
                </a:cubicBezTo>
                <a:cubicBezTo>
                  <a:pt x="1834241" y="1909786"/>
                  <a:pt x="1809531" y="1934496"/>
                  <a:pt x="1779049" y="1934496"/>
                </a:cubicBezTo>
                <a:cubicBezTo>
                  <a:pt x="1748566" y="1934496"/>
                  <a:pt x="1723856" y="1909786"/>
                  <a:pt x="1723856" y="1879305"/>
                </a:cubicBezTo>
                <a:cubicBezTo>
                  <a:pt x="1723856" y="1848824"/>
                  <a:pt x="1748566" y="1824114"/>
                  <a:pt x="1779049" y="1824114"/>
                </a:cubicBezTo>
                <a:close/>
                <a:moveTo>
                  <a:pt x="1645413" y="1824114"/>
                </a:moveTo>
                <a:cubicBezTo>
                  <a:pt x="1675895" y="1824114"/>
                  <a:pt x="1700604" y="1848824"/>
                  <a:pt x="1700604" y="1879305"/>
                </a:cubicBezTo>
                <a:cubicBezTo>
                  <a:pt x="1700604" y="1909786"/>
                  <a:pt x="1675895" y="1934496"/>
                  <a:pt x="1645413" y="1934496"/>
                </a:cubicBezTo>
                <a:cubicBezTo>
                  <a:pt x="1614930" y="1934496"/>
                  <a:pt x="1590220" y="1909786"/>
                  <a:pt x="1590220" y="1879305"/>
                </a:cubicBezTo>
                <a:cubicBezTo>
                  <a:pt x="1590220" y="1848824"/>
                  <a:pt x="1614930" y="1824114"/>
                  <a:pt x="1645413" y="1824114"/>
                </a:cubicBezTo>
                <a:close/>
                <a:moveTo>
                  <a:pt x="1515120" y="1824114"/>
                </a:moveTo>
                <a:cubicBezTo>
                  <a:pt x="1545602" y="1824114"/>
                  <a:pt x="1570311" y="1848824"/>
                  <a:pt x="1570311" y="1879305"/>
                </a:cubicBezTo>
                <a:cubicBezTo>
                  <a:pt x="1570311" y="1909786"/>
                  <a:pt x="1545602" y="1934496"/>
                  <a:pt x="1515120" y="1934496"/>
                </a:cubicBezTo>
                <a:cubicBezTo>
                  <a:pt x="1484638" y="1934496"/>
                  <a:pt x="1459927" y="1909786"/>
                  <a:pt x="1459927" y="1879305"/>
                </a:cubicBezTo>
                <a:cubicBezTo>
                  <a:pt x="1459927" y="1848824"/>
                  <a:pt x="1484638" y="1824114"/>
                  <a:pt x="1515120" y="1824114"/>
                </a:cubicBezTo>
                <a:close/>
                <a:moveTo>
                  <a:pt x="1381486" y="1824114"/>
                </a:moveTo>
                <a:cubicBezTo>
                  <a:pt x="1411968" y="1824114"/>
                  <a:pt x="1436678" y="1848824"/>
                  <a:pt x="1436678" y="1879305"/>
                </a:cubicBezTo>
                <a:cubicBezTo>
                  <a:pt x="1436678" y="1909786"/>
                  <a:pt x="1411968" y="1934496"/>
                  <a:pt x="1381486" y="1934496"/>
                </a:cubicBezTo>
                <a:cubicBezTo>
                  <a:pt x="1351005" y="1934496"/>
                  <a:pt x="1326294" y="1909786"/>
                  <a:pt x="1326294" y="1879305"/>
                </a:cubicBezTo>
                <a:cubicBezTo>
                  <a:pt x="1326294" y="1848824"/>
                  <a:pt x="1351005" y="1824114"/>
                  <a:pt x="1381486" y="1824114"/>
                </a:cubicBezTo>
                <a:close/>
                <a:moveTo>
                  <a:pt x="1251193" y="1824114"/>
                </a:moveTo>
                <a:cubicBezTo>
                  <a:pt x="1281674" y="1824114"/>
                  <a:pt x="1306386" y="1848824"/>
                  <a:pt x="1306386" y="1879305"/>
                </a:cubicBezTo>
                <a:cubicBezTo>
                  <a:pt x="1306386" y="1909786"/>
                  <a:pt x="1281674" y="1934496"/>
                  <a:pt x="1251193" y="1934496"/>
                </a:cubicBezTo>
                <a:cubicBezTo>
                  <a:pt x="1220711" y="1934496"/>
                  <a:pt x="1196001" y="1909786"/>
                  <a:pt x="1196001" y="1879305"/>
                </a:cubicBezTo>
                <a:cubicBezTo>
                  <a:pt x="1196001" y="1848824"/>
                  <a:pt x="1220711" y="1824114"/>
                  <a:pt x="1251193" y="1824114"/>
                </a:cubicBezTo>
                <a:close/>
                <a:moveTo>
                  <a:pt x="4565336" y="1824106"/>
                </a:moveTo>
                <a:cubicBezTo>
                  <a:pt x="4595818" y="1824106"/>
                  <a:pt x="4620528" y="1848816"/>
                  <a:pt x="4620528" y="1879297"/>
                </a:cubicBezTo>
                <a:cubicBezTo>
                  <a:pt x="4620528" y="1909778"/>
                  <a:pt x="4595818" y="1934488"/>
                  <a:pt x="4565336" y="1934488"/>
                </a:cubicBezTo>
                <a:cubicBezTo>
                  <a:pt x="4534854" y="1934488"/>
                  <a:pt x="4510144" y="1909778"/>
                  <a:pt x="4510144" y="1879297"/>
                </a:cubicBezTo>
                <a:cubicBezTo>
                  <a:pt x="4510144" y="1848816"/>
                  <a:pt x="4534854" y="1824106"/>
                  <a:pt x="4565336" y="1824106"/>
                </a:cubicBezTo>
                <a:close/>
                <a:moveTo>
                  <a:pt x="4431689" y="1824098"/>
                </a:moveTo>
                <a:cubicBezTo>
                  <a:pt x="4462171" y="1824098"/>
                  <a:pt x="4486881" y="1848808"/>
                  <a:pt x="4486881" y="1879289"/>
                </a:cubicBezTo>
                <a:cubicBezTo>
                  <a:pt x="4486881" y="1909770"/>
                  <a:pt x="4462171" y="1934480"/>
                  <a:pt x="4431689" y="1934480"/>
                </a:cubicBezTo>
                <a:cubicBezTo>
                  <a:pt x="4401207" y="1934480"/>
                  <a:pt x="4376497" y="1909770"/>
                  <a:pt x="4376497" y="1879289"/>
                </a:cubicBezTo>
                <a:cubicBezTo>
                  <a:pt x="4376497" y="1848808"/>
                  <a:pt x="4401207" y="1824098"/>
                  <a:pt x="4431689" y="1824098"/>
                </a:cubicBezTo>
                <a:close/>
                <a:moveTo>
                  <a:pt x="8801537" y="1707182"/>
                </a:moveTo>
                <a:cubicBezTo>
                  <a:pt x="8832019" y="1707182"/>
                  <a:pt x="8856729" y="1731892"/>
                  <a:pt x="8856729" y="1762373"/>
                </a:cubicBezTo>
                <a:cubicBezTo>
                  <a:pt x="8856729" y="1792854"/>
                  <a:pt x="8832019" y="1817564"/>
                  <a:pt x="8801537" y="1817564"/>
                </a:cubicBezTo>
                <a:cubicBezTo>
                  <a:pt x="8771055" y="1817564"/>
                  <a:pt x="8746345" y="1792854"/>
                  <a:pt x="8746345" y="1762373"/>
                </a:cubicBezTo>
                <a:cubicBezTo>
                  <a:pt x="8746345" y="1731892"/>
                  <a:pt x="8771055" y="1707182"/>
                  <a:pt x="8801537" y="1707182"/>
                </a:cubicBezTo>
                <a:close/>
                <a:moveTo>
                  <a:pt x="8671243" y="1707182"/>
                </a:moveTo>
                <a:cubicBezTo>
                  <a:pt x="8701725" y="1707182"/>
                  <a:pt x="8726435" y="1731892"/>
                  <a:pt x="8726435" y="1762373"/>
                </a:cubicBezTo>
                <a:cubicBezTo>
                  <a:pt x="8726435" y="1792854"/>
                  <a:pt x="8701725" y="1817564"/>
                  <a:pt x="8671243" y="1817564"/>
                </a:cubicBezTo>
                <a:cubicBezTo>
                  <a:pt x="8640761" y="1817564"/>
                  <a:pt x="8616051" y="1792854"/>
                  <a:pt x="8616051" y="1762373"/>
                </a:cubicBezTo>
                <a:cubicBezTo>
                  <a:pt x="8616051" y="1731892"/>
                  <a:pt x="8640761" y="1707182"/>
                  <a:pt x="8671243" y="1707182"/>
                </a:cubicBezTo>
                <a:close/>
                <a:moveTo>
                  <a:pt x="8537609" y="1707182"/>
                </a:moveTo>
                <a:cubicBezTo>
                  <a:pt x="8568091" y="1707182"/>
                  <a:pt x="8592801" y="1731892"/>
                  <a:pt x="8592801" y="1762373"/>
                </a:cubicBezTo>
                <a:cubicBezTo>
                  <a:pt x="8592801" y="1792854"/>
                  <a:pt x="8568091" y="1817564"/>
                  <a:pt x="8537609" y="1817564"/>
                </a:cubicBezTo>
                <a:cubicBezTo>
                  <a:pt x="8507127" y="1817564"/>
                  <a:pt x="8482417" y="1792854"/>
                  <a:pt x="8482417" y="1762373"/>
                </a:cubicBezTo>
                <a:cubicBezTo>
                  <a:pt x="8482417" y="1731892"/>
                  <a:pt x="8507127" y="1707182"/>
                  <a:pt x="8537609" y="1707182"/>
                </a:cubicBezTo>
                <a:close/>
                <a:moveTo>
                  <a:pt x="8407318" y="1707182"/>
                </a:moveTo>
                <a:cubicBezTo>
                  <a:pt x="8437800" y="1707182"/>
                  <a:pt x="8462510" y="1731892"/>
                  <a:pt x="8462510" y="1762373"/>
                </a:cubicBezTo>
                <a:cubicBezTo>
                  <a:pt x="8462510" y="1792854"/>
                  <a:pt x="8437800" y="1817564"/>
                  <a:pt x="8407318" y="1817564"/>
                </a:cubicBezTo>
                <a:cubicBezTo>
                  <a:pt x="8376836" y="1817564"/>
                  <a:pt x="8352126" y="1792854"/>
                  <a:pt x="8352126" y="1762373"/>
                </a:cubicBezTo>
                <a:cubicBezTo>
                  <a:pt x="8352126" y="1731892"/>
                  <a:pt x="8376836" y="1707182"/>
                  <a:pt x="8407318" y="1707182"/>
                </a:cubicBezTo>
                <a:close/>
                <a:moveTo>
                  <a:pt x="8273682" y="1707182"/>
                </a:moveTo>
                <a:cubicBezTo>
                  <a:pt x="8304164" y="1707182"/>
                  <a:pt x="8328874" y="1731892"/>
                  <a:pt x="8328874" y="1762373"/>
                </a:cubicBezTo>
                <a:cubicBezTo>
                  <a:pt x="8328874" y="1792854"/>
                  <a:pt x="8304164" y="1817564"/>
                  <a:pt x="8273682" y="1817564"/>
                </a:cubicBezTo>
                <a:cubicBezTo>
                  <a:pt x="8243200" y="1817564"/>
                  <a:pt x="8218490" y="1792854"/>
                  <a:pt x="8218490" y="1762373"/>
                </a:cubicBezTo>
                <a:cubicBezTo>
                  <a:pt x="8218490" y="1731892"/>
                  <a:pt x="8243200" y="1707182"/>
                  <a:pt x="8273682" y="1707182"/>
                </a:cubicBezTo>
                <a:close/>
                <a:moveTo>
                  <a:pt x="8143386" y="1707182"/>
                </a:moveTo>
                <a:cubicBezTo>
                  <a:pt x="8173868" y="1707182"/>
                  <a:pt x="8198578" y="1731892"/>
                  <a:pt x="8198578" y="1762373"/>
                </a:cubicBezTo>
                <a:cubicBezTo>
                  <a:pt x="8198578" y="1792854"/>
                  <a:pt x="8173868" y="1817564"/>
                  <a:pt x="8143386" y="1817564"/>
                </a:cubicBezTo>
                <a:cubicBezTo>
                  <a:pt x="8112904" y="1817564"/>
                  <a:pt x="8088194" y="1792854"/>
                  <a:pt x="8088194" y="1762373"/>
                </a:cubicBezTo>
                <a:cubicBezTo>
                  <a:pt x="8088194" y="1731892"/>
                  <a:pt x="8112904" y="1707182"/>
                  <a:pt x="8143386" y="1707182"/>
                </a:cubicBezTo>
                <a:close/>
                <a:moveTo>
                  <a:pt x="8009752" y="1707182"/>
                </a:moveTo>
                <a:cubicBezTo>
                  <a:pt x="8040234" y="1707182"/>
                  <a:pt x="8064944" y="1731892"/>
                  <a:pt x="8064944" y="1762373"/>
                </a:cubicBezTo>
                <a:cubicBezTo>
                  <a:pt x="8064944" y="1792854"/>
                  <a:pt x="8040234" y="1817564"/>
                  <a:pt x="8009752" y="1817564"/>
                </a:cubicBezTo>
                <a:cubicBezTo>
                  <a:pt x="7979270" y="1817564"/>
                  <a:pt x="7954560" y="1792854"/>
                  <a:pt x="7954560" y="1762373"/>
                </a:cubicBezTo>
                <a:cubicBezTo>
                  <a:pt x="7954560" y="1731892"/>
                  <a:pt x="7979270" y="1707182"/>
                  <a:pt x="8009752" y="1707182"/>
                </a:cubicBezTo>
                <a:close/>
                <a:moveTo>
                  <a:pt x="7876117" y="1707182"/>
                </a:moveTo>
                <a:cubicBezTo>
                  <a:pt x="7906599" y="1707182"/>
                  <a:pt x="7931309" y="1731892"/>
                  <a:pt x="7931309" y="1762373"/>
                </a:cubicBezTo>
                <a:cubicBezTo>
                  <a:pt x="7931309" y="1792854"/>
                  <a:pt x="7906599" y="1817564"/>
                  <a:pt x="7876117" y="1817564"/>
                </a:cubicBezTo>
                <a:cubicBezTo>
                  <a:pt x="7845635" y="1817564"/>
                  <a:pt x="7820925" y="1792854"/>
                  <a:pt x="7820925" y="1762373"/>
                </a:cubicBezTo>
                <a:cubicBezTo>
                  <a:pt x="7820925" y="1731892"/>
                  <a:pt x="7845635" y="1707182"/>
                  <a:pt x="7876117" y="1707182"/>
                </a:cubicBezTo>
                <a:close/>
                <a:moveTo>
                  <a:pt x="7745824" y="1707182"/>
                </a:moveTo>
                <a:cubicBezTo>
                  <a:pt x="7776306" y="1707182"/>
                  <a:pt x="7801016" y="1731892"/>
                  <a:pt x="7801016" y="1762373"/>
                </a:cubicBezTo>
                <a:cubicBezTo>
                  <a:pt x="7801016" y="1792854"/>
                  <a:pt x="7776306" y="1817564"/>
                  <a:pt x="7745824" y="1817564"/>
                </a:cubicBezTo>
                <a:cubicBezTo>
                  <a:pt x="7715342" y="1817564"/>
                  <a:pt x="7690632" y="1792854"/>
                  <a:pt x="7690632" y="1762373"/>
                </a:cubicBezTo>
                <a:cubicBezTo>
                  <a:pt x="7690632" y="1731892"/>
                  <a:pt x="7715342" y="1707182"/>
                  <a:pt x="7745824" y="1707182"/>
                </a:cubicBezTo>
                <a:close/>
                <a:moveTo>
                  <a:pt x="7608849" y="1707182"/>
                </a:moveTo>
                <a:cubicBezTo>
                  <a:pt x="7639331" y="1707182"/>
                  <a:pt x="7664041" y="1731892"/>
                  <a:pt x="7664041" y="1762373"/>
                </a:cubicBezTo>
                <a:cubicBezTo>
                  <a:pt x="7664041" y="1792854"/>
                  <a:pt x="7639331" y="1817564"/>
                  <a:pt x="7608849" y="1817564"/>
                </a:cubicBezTo>
                <a:cubicBezTo>
                  <a:pt x="7578367" y="1817564"/>
                  <a:pt x="7553657" y="1792854"/>
                  <a:pt x="7553657" y="1762373"/>
                </a:cubicBezTo>
                <a:cubicBezTo>
                  <a:pt x="7553657" y="1731892"/>
                  <a:pt x="7578367" y="1707182"/>
                  <a:pt x="7608849" y="1707182"/>
                </a:cubicBezTo>
                <a:close/>
                <a:moveTo>
                  <a:pt x="7481895" y="1707182"/>
                </a:moveTo>
                <a:cubicBezTo>
                  <a:pt x="7512377" y="1707182"/>
                  <a:pt x="7537087" y="1731892"/>
                  <a:pt x="7537087" y="1762373"/>
                </a:cubicBezTo>
                <a:cubicBezTo>
                  <a:pt x="7537087" y="1792854"/>
                  <a:pt x="7512377" y="1817564"/>
                  <a:pt x="7481895" y="1817564"/>
                </a:cubicBezTo>
                <a:cubicBezTo>
                  <a:pt x="7451413" y="1817564"/>
                  <a:pt x="7426703" y="1792854"/>
                  <a:pt x="7426703" y="1762373"/>
                </a:cubicBezTo>
                <a:cubicBezTo>
                  <a:pt x="7426703" y="1731892"/>
                  <a:pt x="7451413" y="1707182"/>
                  <a:pt x="7481895" y="1707182"/>
                </a:cubicBezTo>
                <a:close/>
                <a:moveTo>
                  <a:pt x="7341579" y="1707182"/>
                </a:moveTo>
                <a:cubicBezTo>
                  <a:pt x="7372061" y="1707182"/>
                  <a:pt x="7396771" y="1731892"/>
                  <a:pt x="7396771" y="1762373"/>
                </a:cubicBezTo>
                <a:cubicBezTo>
                  <a:pt x="7396771" y="1792854"/>
                  <a:pt x="7372061" y="1817564"/>
                  <a:pt x="7341579" y="1817564"/>
                </a:cubicBezTo>
                <a:cubicBezTo>
                  <a:pt x="7311097" y="1817564"/>
                  <a:pt x="7286387" y="1792854"/>
                  <a:pt x="7286387" y="1762373"/>
                </a:cubicBezTo>
                <a:cubicBezTo>
                  <a:pt x="7286387" y="1731892"/>
                  <a:pt x="7311097" y="1707182"/>
                  <a:pt x="7341579" y="1707182"/>
                </a:cubicBezTo>
                <a:close/>
                <a:moveTo>
                  <a:pt x="7211286" y="1707182"/>
                </a:moveTo>
                <a:cubicBezTo>
                  <a:pt x="7241768" y="1707182"/>
                  <a:pt x="7266478" y="1731892"/>
                  <a:pt x="7266478" y="1762373"/>
                </a:cubicBezTo>
                <a:cubicBezTo>
                  <a:pt x="7266478" y="1792854"/>
                  <a:pt x="7241768" y="1817564"/>
                  <a:pt x="7211286" y="1817564"/>
                </a:cubicBezTo>
                <a:cubicBezTo>
                  <a:pt x="7180804" y="1817564"/>
                  <a:pt x="7156094" y="1792854"/>
                  <a:pt x="7156094" y="1762373"/>
                </a:cubicBezTo>
                <a:cubicBezTo>
                  <a:pt x="7156094" y="1731892"/>
                  <a:pt x="7180804" y="1707182"/>
                  <a:pt x="7211286" y="1707182"/>
                </a:cubicBezTo>
                <a:close/>
                <a:moveTo>
                  <a:pt x="7080993" y="1707182"/>
                </a:moveTo>
                <a:cubicBezTo>
                  <a:pt x="7111475" y="1707182"/>
                  <a:pt x="7136185" y="1731892"/>
                  <a:pt x="7136185" y="1762373"/>
                </a:cubicBezTo>
                <a:cubicBezTo>
                  <a:pt x="7136185" y="1792854"/>
                  <a:pt x="7111475" y="1817564"/>
                  <a:pt x="7080993" y="1817564"/>
                </a:cubicBezTo>
                <a:cubicBezTo>
                  <a:pt x="7050511" y="1817564"/>
                  <a:pt x="7025801" y="1792854"/>
                  <a:pt x="7025801" y="1762373"/>
                </a:cubicBezTo>
                <a:cubicBezTo>
                  <a:pt x="7025801" y="1731892"/>
                  <a:pt x="7050511" y="1707182"/>
                  <a:pt x="7080993" y="1707182"/>
                </a:cubicBezTo>
                <a:close/>
                <a:moveTo>
                  <a:pt x="6947357" y="1707182"/>
                </a:moveTo>
                <a:cubicBezTo>
                  <a:pt x="6977839" y="1707182"/>
                  <a:pt x="7002549" y="1731892"/>
                  <a:pt x="7002549" y="1762373"/>
                </a:cubicBezTo>
                <a:cubicBezTo>
                  <a:pt x="7002549" y="1792854"/>
                  <a:pt x="6977839" y="1817564"/>
                  <a:pt x="6947357" y="1817564"/>
                </a:cubicBezTo>
                <a:cubicBezTo>
                  <a:pt x="6916875" y="1817564"/>
                  <a:pt x="6892165" y="1792854"/>
                  <a:pt x="6892165" y="1762373"/>
                </a:cubicBezTo>
                <a:cubicBezTo>
                  <a:pt x="6892165" y="1731892"/>
                  <a:pt x="6916875" y="1707182"/>
                  <a:pt x="6947357" y="1707182"/>
                </a:cubicBezTo>
                <a:close/>
                <a:moveTo>
                  <a:pt x="6817063" y="1707182"/>
                </a:moveTo>
                <a:cubicBezTo>
                  <a:pt x="6847545" y="1707182"/>
                  <a:pt x="6872255" y="1731892"/>
                  <a:pt x="6872255" y="1762373"/>
                </a:cubicBezTo>
                <a:cubicBezTo>
                  <a:pt x="6872255" y="1792854"/>
                  <a:pt x="6847545" y="1817564"/>
                  <a:pt x="6817063" y="1817564"/>
                </a:cubicBezTo>
                <a:cubicBezTo>
                  <a:pt x="6786581" y="1817564"/>
                  <a:pt x="6761871" y="1792854"/>
                  <a:pt x="6761871" y="1762373"/>
                </a:cubicBezTo>
                <a:cubicBezTo>
                  <a:pt x="6761871" y="1731892"/>
                  <a:pt x="6786581" y="1707182"/>
                  <a:pt x="6817063" y="1707182"/>
                </a:cubicBezTo>
                <a:close/>
                <a:moveTo>
                  <a:pt x="6683431" y="1707182"/>
                </a:moveTo>
                <a:cubicBezTo>
                  <a:pt x="6713913" y="1707182"/>
                  <a:pt x="6738623" y="1731892"/>
                  <a:pt x="6738623" y="1762373"/>
                </a:cubicBezTo>
                <a:cubicBezTo>
                  <a:pt x="6738623" y="1792854"/>
                  <a:pt x="6713913" y="1817564"/>
                  <a:pt x="6683431" y="1817564"/>
                </a:cubicBezTo>
                <a:cubicBezTo>
                  <a:pt x="6652949" y="1817564"/>
                  <a:pt x="6628239" y="1792854"/>
                  <a:pt x="6628239" y="1762373"/>
                </a:cubicBezTo>
                <a:cubicBezTo>
                  <a:pt x="6628239" y="1731892"/>
                  <a:pt x="6652949" y="1707182"/>
                  <a:pt x="6683431" y="1707182"/>
                </a:cubicBezTo>
                <a:close/>
                <a:moveTo>
                  <a:pt x="6553137" y="1707182"/>
                </a:moveTo>
                <a:cubicBezTo>
                  <a:pt x="6583619" y="1707182"/>
                  <a:pt x="6608329" y="1731892"/>
                  <a:pt x="6608329" y="1762373"/>
                </a:cubicBezTo>
                <a:cubicBezTo>
                  <a:pt x="6608329" y="1792854"/>
                  <a:pt x="6583619" y="1817564"/>
                  <a:pt x="6553137" y="1817564"/>
                </a:cubicBezTo>
                <a:cubicBezTo>
                  <a:pt x="6522655" y="1817564"/>
                  <a:pt x="6497945" y="1792854"/>
                  <a:pt x="6497945" y="1762373"/>
                </a:cubicBezTo>
                <a:cubicBezTo>
                  <a:pt x="6497945" y="1731892"/>
                  <a:pt x="6522655" y="1707182"/>
                  <a:pt x="6553137" y="1707182"/>
                </a:cubicBezTo>
                <a:close/>
                <a:moveTo>
                  <a:pt x="6419502" y="1707182"/>
                </a:moveTo>
                <a:cubicBezTo>
                  <a:pt x="6449984" y="1707182"/>
                  <a:pt x="6474694" y="1731892"/>
                  <a:pt x="6474694" y="1762373"/>
                </a:cubicBezTo>
                <a:cubicBezTo>
                  <a:pt x="6474694" y="1792854"/>
                  <a:pt x="6449984" y="1817564"/>
                  <a:pt x="6419502" y="1817564"/>
                </a:cubicBezTo>
                <a:cubicBezTo>
                  <a:pt x="6389020" y="1817564"/>
                  <a:pt x="6364310" y="1792854"/>
                  <a:pt x="6364310" y="1762373"/>
                </a:cubicBezTo>
                <a:cubicBezTo>
                  <a:pt x="6364310" y="1731892"/>
                  <a:pt x="6389020" y="1707182"/>
                  <a:pt x="6419502" y="1707182"/>
                </a:cubicBezTo>
                <a:close/>
                <a:moveTo>
                  <a:pt x="6289207" y="1707182"/>
                </a:moveTo>
                <a:cubicBezTo>
                  <a:pt x="6319689" y="1707182"/>
                  <a:pt x="6344399" y="1731892"/>
                  <a:pt x="6344399" y="1762373"/>
                </a:cubicBezTo>
                <a:cubicBezTo>
                  <a:pt x="6344399" y="1792854"/>
                  <a:pt x="6319689" y="1817564"/>
                  <a:pt x="6289207" y="1817564"/>
                </a:cubicBezTo>
                <a:cubicBezTo>
                  <a:pt x="6258725" y="1817564"/>
                  <a:pt x="6234015" y="1792854"/>
                  <a:pt x="6234015" y="1762373"/>
                </a:cubicBezTo>
                <a:cubicBezTo>
                  <a:pt x="6234015" y="1731892"/>
                  <a:pt x="6258725" y="1707182"/>
                  <a:pt x="6289207" y="1707182"/>
                </a:cubicBezTo>
                <a:close/>
                <a:moveTo>
                  <a:pt x="6155572" y="1707182"/>
                </a:moveTo>
                <a:cubicBezTo>
                  <a:pt x="6186054" y="1707182"/>
                  <a:pt x="6210764" y="1731892"/>
                  <a:pt x="6210764" y="1762373"/>
                </a:cubicBezTo>
                <a:cubicBezTo>
                  <a:pt x="6210764" y="1792854"/>
                  <a:pt x="6186054" y="1817564"/>
                  <a:pt x="6155572" y="1817564"/>
                </a:cubicBezTo>
                <a:cubicBezTo>
                  <a:pt x="6125090" y="1817564"/>
                  <a:pt x="6100380" y="1792854"/>
                  <a:pt x="6100380" y="1762373"/>
                </a:cubicBezTo>
                <a:cubicBezTo>
                  <a:pt x="6100380" y="1731892"/>
                  <a:pt x="6125090" y="1707182"/>
                  <a:pt x="6155572" y="1707182"/>
                </a:cubicBezTo>
                <a:close/>
                <a:moveTo>
                  <a:pt x="6021938" y="1707182"/>
                </a:moveTo>
                <a:cubicBezTo>
                  <a:pt x="6052420" y="1707182"/>
                  <a:pt x="6077130" y="1731892"/>
                  <a:pt x="6077130" y="1762373"/>
                </a:cubicBezTo>
                <a:cubicBezTo>
                  <a:pt x="6077130" y="1792854"/>
                  <a:pt x="6052420" y="1817564"/>
                  <a:pt x="6021938" y="1817564"/>
                </a:cubicBezTo>
                <a:cubicBezTo>
                  <a:pt x="5991456" y="1817564"/>
                  <a:pt x="5966746" y="1792854"/>
                  <a:pt x="5966746" y="1762373"/>
                </a:cubicBezTo>
                <a:cubicBezTo>
                  <a:pt x="5966746" y="1731892"/>
                  <a:pt x="5991456" y="1707182"/>
                  <a:pt x="6021938" y="1707182"/>
                </a:cubicBezTo>
                <a:close/>
                <a:moveTo>
                  <a:pt x="5884964" y="1707182"/>
                </a:moveTo>
                <a:cubicBezTo>
                  <a:pt x="5915446" y="1707182"/>
                  <a:pt x="5940156" y="1731892"/>
                  <a:pt x="5940156" y="1762373"/>
                </a:cubicBezTo>
                <a:cubicBezTo>
                  <a:pt x="5940156" y="1792854"/>
                  <a:pt x="5915446" y="1817564"/>
                  <a:pt x="5884964" y="1817564"/>
                </a:cubicBezTo>
                <a:cubicBezTo>
                  <a:pt x="5854482" y="1817564"/>
                  <a:pt x="5829772" y="1792854"/>
                  <a:pt x="5829772" y="1762373"/>
                </a:cubicBezTo>
                <a:cubicBezTo>
                  <a:pt x="5829772" y="1731892"/>
                  <a:pt x="5854482" y="1707182"/>
                  <a:pt x="5884964" y="1707182"/>
                </a:cubicBezTo>
                <a:close/>
                <a:moveTo>
                  <a:pt x="5754670" y="1707182"/>
                </a:moveTo>
                <a:cubicBezTo>
                  <a:pt x="5785152" y="1707182"/>
                  <a:pt x="5809862" y="1731892"/>
                  <a:pt x="5809862" y="1762373"/>
                </a:cubicBezTo>
                <a:cubicBezTo>
                  <a:pt x="5809862" y="1792854"/>
                  <a:pt x="5785152" y="1817564"/>
                  <a:pt x="5754670" y="1817564"/>
                </a:cubicBezTo>
                <a:cubicBezTo>
                  <a:pt x="5724188" y="1817564"/>
                  <a:pt x="5699478" y="1792854"/>
                  <a:pt x="5699478" y="1762373"/>
                </a:cubicBezTo>
                <a:cubicBezTo>
                  <a:pt x="5699478" y="1731892"/>
                  <a:pt x="5724188" y="1707182"/>
                  <a:pt x="5754670" y="1707182"/>
                </a:cubicBezTo>
                <a:close/>
                <a:moveTo>
                  <a:pt x="5621035" y="1707182"/>
                </a:moveTo>
                <a:cubicBezTo>
                  <a:pt x="5651517" y="1707182"/>
                  <a:pt x="5676227" y="1731892"/>
                  <a:pt x="5676227" y="1762373"/>
                </a:cubicBezTo>
                <a:cubicBezTo>
                  <a:pt x="5676227" y="1792854"/>
                  <a:pt x="5651517" y="1817564"/>
                  <a:pt x="5621035" y="1817564"/>
                </a:cubicBezTo>
                <a:cubicBezTo>
                  <a:pt x="5590553" y="1817564"/>
                  <a:pt x="5565843" y="1792854"/>
                  <a:pt x="5565843" y="1762373"/>
                </a:cubicBezTo>
                <a:cubicBezTo>
                  <a:pt x="5565843" y="1731892"/>
                  <a:pt x="5590553" y="1707182"/>
                  <a:pt x="5621035" y="1707182"/>
                </a:cubicBezTo>
                <a:close/>
                <a:moveTo>
                  <a:pt x="5487399" y="1707182"/>
                </a:moveTo>
                <a:cubicBezTo>
                  <a:pt x="5517881" y="1707182"/>
                  <a:pt x="5542591" y="1731892"/>
                  <a:pt x="5542591" y="1762373"/>
                </a:cubicBezTo>
                <a:cubicBezTo>
                  <a:pt x="5542591" y="1792854"/>
                  <a:pt x="5517881" y="1817564"/>
                  <a:pt x="5487399" y="1817564"/>
                </a:cubicBezTo>
                <a:cubicBezTo>
                  <a:pt x="5456917" y="1817564"/>
                  <a:pt x="5432207" y="1792854"/>
                  <a:pt x="5432207" y="1762373"/>
                </a:cubicBezTo>
                <a:cubicBezTo>
                  <a:pt x="5432207" y="1731892"/>
                  <a:pt x="5456917" y="1707182"/>
                  <a:pt x="5487399" y="1707182"/>
                </a:cubicBezTo>
                <a:close/>
                <a:moveTo>
                  <a:pt x="5357105" y="1707182"/>
                </a:moveTo>
                <a:cubicBezTo>
                  <a:pt x="5387587" y="1707182"/>
                  <a:pt x="5412297" y="1731892"/>
                  <a:pt x="5412297" y="1762373"/>
                </a:cubicBezTo>
                <a:cubicBezTo>
                  <a:pt x="5412297" y="1792854"/>
                  <a:pt x="5387587" y="1817564"/>
                  <a:pt x="5357105" y="1817564"/>
                </a:cubicBezTo>
                <a:cubicBezTo>
                  <a:pt x="5326623" y="1817564"/>
                  <a:pt x="5301913" y="1792854"/>
                  <a:pt x="5301913" y="1762373"/>
                </a:cubicBezTo>
                <a:cubicBezTo>
                  <a:pt x="5301913" y="1731892"/>
                  <a:pt x="5326623" y="1707182"/>
                  <a:pt x="5357105" y="1707182"/>
                </a:cubicBezTo>
                <a:close/>
                <a:moveTo>
                  <a:pt x="5223473" y="1707182"/>
                </a:moveTo>
                <a:cubicBezTo>
                  <a:pt x="5253955" y="1707182"/>
                  <a:pt x="5278665" y="1731892"/>
                  <a:pt x="5278665" y="1762373"/>
                </a:cubicBezTo>
                <a:cubicBezTo>
                  <a:pt x="5278665" y="1792854"/>
                  <a:pt x="5253955" y="1817564"/>
                  <a:pt x="5223473" y="1817564"/>
                </a:cubicBezTo>
                <a:cubicBezTo>
                  <a:pt x="5192991" y="1817564"/>
                  <a:pt x="5168281" y="1792854"/>
                  <a:pt x="5168281" y="1762373"/>
                </a:cubicBezTo>
                <a:cubicBezTo>
                  <a:pt x="5168281" y="1731892"/>
                  <a:pt x="5192991" y="1707182"/>
                  <a:pt x="5223473" y="1707182"/>
                </a:cubicBezTo>
                <a:close/>
                <a:moveTo>
                  <a:pt x="5093178" y="1707182"/>
                </a:moveTo>
                <a:cubicBezTo>
                  <a:pt x="5123660" y="1707182"/>
                  <a:pt x="5148370" y="1731892"/>
                  <a:pt x="5148370" y="1762373"/>
                </a:cubicBezTo>
                <a:cubicBezTo>
                  <a:pt x="5148370" y="1792854"/>
                  <a:pt x="5123660" y="1817564"/>
                  <a:pt x="5093178" y="1817564"/>
                </a:cubicBezTo>
                <a:cubicBezTo>
                  <a:pt x="5062696" y="1817564"/>
                  <a:pt x="5037986" y="1792854"/>
                  <a:pt x="5037986" y="1762373"/>
                </a:cubicBezTo>
                <a:cubicBezTo>
                  <a:pt x="5037986" y="1731892"/>
                  <a:pt x="5062696" y="1707182"/>
                  <a:pt x="5093178" y="1707182"/>
                </a:cubicBezTo>
                <a:close/>
                <a:moveTo>
                  <a:pt x="4959543" y="1707182"/>
                </a:moveTo>
                <a:cubicBezTo>
                  <a:pt x="4990025" y="1707182"/>
                  <a:pt x="5014735" y="1731892"/>
                  <a:pt x="5014735" y="1762373"/>
                </a:cubicBezTo>
                <a:cubicBezTo>
                  <a:pt x="5014735" y="1792854"/>
                  <a:pt x="4990025" y="1817564"/>
                  <a:pt x="4959543" y="1817564"/>
                </a:cubicBezTo>
                <a:cubicBezTo>
                  <a:pt x="4929061" y="1817564"/>
                  <a:pt x="4904351" y="1792854"/>
                  <a:pt x="4904351" y="1762373"/>
                </a:cubicBezTo>
                <a:cubicBezTo>
                  <a:pt x="4904351" y="1731892"/>
                  <a:pt x="4929061" y="1707182"/>
                  <a:pt x="4959543" y="1707182"/>
                </a:cubicBezTo>
                <a:close/>
                <a:moveTo>
                  <a:pt x="4829251" y="1707182"/>
                </a:moveTo>
                <a:cubicBezTo>
                  <a:pt x="4859733" y="1707182"/>
                  <a:pt x="4884443" y="1731892"/>
                  <a:pt x="4884443" y="1762373"/>
                </a:cubicBezTo>
                <a:cubicBezTo>
                  <a:pt x="4884443" y="1792854"/>
                  <a:pt x="4859733" y="1817564"/>
                  <a:pt x="4829251" y="1817564"/>
                </a:cubicBezTo>
                <a:cubicBezTo>
                  <a:pt x="4798769" y="1817564"/>
                  <a:pt x="4774059" y="1792854"/>
                  <a:pt x="4774059" y="1762373"/>
                </a:cubicBezTo>
                <a:cubicBezTo>
                  <a:pt x="4774059" y="1731892"/>
                  <a:pt x="4798769" y="1707182"/>
                  <a:pt x="4829251" y="1707182"/>
                </a:cubicBezTo>
                <a:close/>
                <a:moveTo>
                  <a:pt x="4695613" y="1707182"/>
                </a:moveTo>
                <a:cubicBezTo>
                  <a:pt x="4726095" y="1707182"/>
                  <a:pt x="4750805" y="1731892"/>
                  <a:pt x="4750805" y="1762373"/>
                </a:cubicBezTo>
                <a:cubicBezTo>
                  <a:pt x="4750805" y="1792854"/>
                  <a:pt x="4726095" y="1817564"/>
                  <a:pt x="4695613" y="1817564"/>
                </a:cubicBezTo>
                <a:cubicBezTo>
                  <a:pt x="4665131" y="1817564"/>
                  <a:pt x="4640421" y="1792854"/>
                  <a:pt x="4640421" y="1762373"/>
                </a:cubicBezTo>
                <a:cubicBezTo>
                  <a:pt x="4640421" y="1731892"/>
                  <a:pt x="4665131" y="1707182"/>
                  <a:pt x="4695613" y="1707182"/>
                </a:cubicBezTo>
                <a:close/>
                <a:moveTo>
                  <a:pt x="3098681" y="1707182"/>
                </a:moveTo>
                <a:cubicBezTo>
                  <a:pt x="3129163" y="1707182"/>
                  <a:pt x="3153873" y="1731892"/>
                  <a:pt x="3153873" y="1762373"/>
                </a:cubicBezTo>
                <a:cubicBezTo>
                  <a:pt x="3153873" y="1792854"/>
                  <a:pt x="3129163" y="1817564"/>
                  <a:pt x="3098681" y="1817564"/>
                </a:cubicBezTo>
                <a:cubicBezTo>
                  <a:pt x="3068199" y="1817564"/>
                  <a:pt x="3043489" y="1792854"/>
                  <a:pt x="3043489" y="1762373"/>
                </a:cubicBezTo>
                <a:cubicBezTo>
                  <a:pt x="3043489" y="1731892"/>
                  <a:pt x="3068199" y="1707182"/>
                  <a:pt x="3098681" y="1707182"/>
                </a:cubicBezTo>
                <a:close/>
                <a:moveTo>
                  <a:pt x="2971729" y="1707182"/>
                </a:moveTo>
                <a:cubicBezTo>
                  <a:pt x="3002211" y="1707182"/>
                  <a:pt x="3026921" y="1731892"/>
                  <a:pt x="3026921" y="1762373"/>
                </a:cubicBezTo>
                <a:cubicBezTo>
                  <a:pt x="3026921" y="1792854"/>
                  <a:pt x="3002211" y="1817564"/>
                  <a:pt x="2971729" y="1817564"/>
                </a:cubicBezTo>
                <a:cubicBezTo>
                  <a:pt x="2941247" y="1817564"/>
                  <a:pt x="2916537" y="1792854"/>
                  <a:pt x="2916537" y="1762373"/>
                </a:cubicBezTo>
                <a:cubicBezTo>
                  <a:pt x="2916537" y="1731892"/>
                  <a:pt x="2941247" y="1707182"/>
                  <a:pt x="2971729" y="1707182"/>
                </a:cubicBezTo>
                <a:close/>
                <a:moveTo>
                  <a:pt x="2834772" y="1707182"/>
                </a:moveTo>
                <a:cubicBezTo>
                  <a:pt x="2865254" y="1707182"/>
                  <a:pt x="2889964" y="1731892"/>
                  <a:pt x="2889964" y="1762373"/>
                </a:cubicBezTo>
                <a:cubicBezTo>
                  <a:pt x="2889964" y="1792854"/>
                  <a:pt x="2865254" y="1817564"/>
                  <a:pt x="2834772" y="1817564"/>
                </a:cubicBezTo>
                <a:cubicBezTo>
                  <a:pt x="2804290" y="1817564"/>
                  <a:pt x="2779580" y="1792854"/>
                  <a:pt x="2779580" y="1762373"/>
                </a:cubicBezTo>
                <a:cubicBezTo>
                  <a:pt x="2779580" y="1731892"/>
                  <a:pt x="2804290" y="1707182"/>
                  <a:pt x="2834772" y="1707182"/>
                </a:cubicBezTo>
                <a:close/>
                <a:moveTo>
                  <a:pt x="2707817" y="1707182"/>
                </a:moveTo>
                <a:cubicBezTo>
                  <a:pt x="2738299" y="1707182"/>
                  <a:pt x="2763009" y="1731892"/>
                  <a:pt x="2763009" y="1762373"/>
                </a:cubicBezTo>
                <a:cubicBezTo>
                  <a:pt x="2763009" y="1792854"/>
                  <a:pt x="2738299" y="1817564"/>
                  <a:pt x="2707817" y="1817564"/>
                </a:cubicBezTo>
                <a:cubicBezTo>
                  <a:pt x="2677336" y="1817564"/>
                  <a:pt x="2652625" y="1792854"/>
                  <a:pt x="2652625" y="1762373"/>
                </a:cubicBezTo>
                <a:cubicBezTo>
                  <a:pt x="2652625" y="1731892"/>
                  <a:pt x="2677336" y="1707182"/>
                  <a:pt x="2707817" y="1707182"/>
                </a:cubicBezTo>
                <a:close/>
                <a:moveTo>
                  <a:pt x="2570843" y="1707182"/>
                </a:moveTo>
                <a:cubicBezTo>
                  <a:pt x="2601326" y="1707182"/>
                  <a:pt x="2626036" y="1731892"/>
                  <a:pt x="2626036" y="1762373"/>
                </a:cubicBezTo>
                <a:cubicBezTo>
                  <a:pt x="2626036" y="1792854"/>
                  <a:pt x="2601326" y="1817564"/>
                  <a:pt x="2570843" y="1817564"/>
                </a:cubicBezTo>
                <a:cubicBezTo>
                  <a:pt x="2540362" y="1817564"/>
                  <a:pt x="2515651" y="1792854"/>
                  <a:pt x="2515651" y="1762373"/>
                </a:cubicBezTo>
                <a:cubicBezTo>
                  <a:pt x="2515651" y="1731892"/>
                  <a:pt x="2540362" y="1707182"/>
                  <a:pt x="2570843" y="1707182"/>
                </a:cubicBezTo>
                <a:close/>
                <a:moveTo>
                  <a:pt x="2437207" y="1707182"/>
                </a:moveTo>
                <a:cubicBezTo>
                  <a:pt x="2467689" y="1707182"/>
                  <a:pt x="2492398" y="1731892"/>
                  <a:pt x="2492398" y="1762373"/>
                </a:cubicBezTo>
                <a:cubicBezTo>
                  <a:pt x="2492398" y="1792854"/>
                  <a:pt x="2467689" y="1817564"/>
                  <a:pt x="2437207" y="1817564"/>
                </a:cubicBezTo>
                <a:cubicBezTo>
                  <a:pt x="2406725" y="1817564"/>
                  <a:pt x="2382015" y="1792854"/>
                  <a:pt x="2382015" y="1762373"/>
                </a:cubicBezTo>
                <a:cubicBezTo>
                  <a:pt x="2382015" y="1731892"/>
                  <a:pt x="2406725" y="1707182"/>
                  <a:pt x="2437207" y="1707182"/>
                </a:cubicBezTo>
                <a:close/>
                <a:moveTo>
                  <a:pt x="2303575" y="1707182"/>
                </a:moveTo>
                <a:cubicBezTo>
                  <a:pt x="2334057" y="1707182"/>
                  <a:pt x="2358767" y="1731892"/>
                  <a:pt x="2358767" y="1762373"/>
                </a:cubicBezTo>
                <a:cubicBezTo>
                  <a:pt x="2358767" y="1792854"/>
                  <a:pt x="2334057" y="1817564"/>
                  <a:pt x="2303575" y="1817564"/>
                </a:cubicBezTo>
                <a:cubicBezTo>
                  <a:pt x="2273093" y="1817564"/>
                  <a:pt x="2248383" y="1792854"/>
                  <a:pt x="2248383" y="1762373"/>
                </a:cubicBezTo>
                <a:cubicBezTo>
                  <a:pt x="2248383" y="1731892"/>
                  <a:pt x="2273093" y="1707182"/>
                  <a:pt x="2303575" y="1707182"/>
                </a:cubicBezTo>
                <a:close/>
                <a:moveTo>
                  <a:pt x="2173282" y="1707182"/>
                </a:moveTo>
                <a:cubicBezTo>
                  <a:pt x="2203764" y="1707182"/>
                  <a:pt x="2228474" y="1731892"/>
                  <a:pt x="2228474" y="1762373"/>
                </a:cubicBezTo>
                <a:cubicBezTo>
                  <a:pt x="2228474" y="1792854"/>
                  <a:pt x="2203764" y="1817564"/>
                  <a:pt x="2173282" y="1817564"/>
                </a:cubicBezTo>
                <a:cubicBezTo>
                  <a:pt x="2142800" y="1817564"/>
                  <a:pt x="2118090" y="1792854"/>
                  <a:pt x="2118090" y="1762373"/>
                </a:cubicBezTo>
                <a:cubicBezTo>
                  <a:pt x="2118090" y="1731892"/>
                  <a:pt x="2142800" y="1707182"/>
                  <a:pt x="2173282" y="1707182"/>
                </a:cubicBezTo>
                <a:close/>
                <a:moveTo>
                  <a:pt x="2039648" y="1707182"/>
                </a:moveTo>
                <a:cubicBezTo>
                  <a:pt x="2070129" y="1707182"/>
                  <a:pt x="2094840" y="1731892"/>
                  <a:pt x="2094840" y="1762373"/>
                </a:cubicBezTo>
                <a:cubicBezTo>
                  <a:pt x="2094840" y="1792854"/>
                  <a:pt x="2070129" y="1817564"/>
                  <a:pt x="2039648" y="1817564"/>
                </a:cubicBezTo>
                <a:cubicBezTo>
                  <a:pt x="2009165" y="1817564"/>
                  <a:pt x="1984455" y="1792854"/>
                  <a:pt x="1984455" y="1762373"/>
                </a:cubicBezTo>
                <a:cubicBezTo>
                  <a:pt x="1984455" y="1731892"/>
                  <a:pt x="2009165" y="1707182"/>
                  <a:pt x="2039648" y="1707182"/>
                </a:cubicBezTo>
                <a:close/>
                <a:moveTo>
                  <a:pt x="1909353" y="1707182"/>
                </a:moveTo>
                <a:cubicBezTo>
                  <a:pt x="1939835" y="1707182"/>
                  <a:pt x="1964545" y="1731892"/>
                  <a:pt x="1964545" y="1762373"/>
                </a:cubicBezTo>
                <a:cubicBezTo>
                  <a:pt x="1964545" y="1792854"/>
                  <a:pt x="1939835" y="1817564"/>
                  <a:pt x="1909353" y="1817564"/>
                </a:cubicBezTo>
                <a:cubicBezTo>
                  <a:pt x="1878870" y="1817564"/>
                  <a:pt x="1854161" y="1792854"/>
                  <a:pt x="1854161" y="1762373"/>
                </a:cubicBezTo>
                <a:cubicBezTo>
                  <a:pt x="1854161" y="1731892"/>
                  <a:pt x="1878870" y="1707182"/>
                  <a:pt x="1909353" y="1707182"/>
                </a:cubicBezTo>
                <a:close/>
                <a:moveTo>
                  <a:pt x="1779058" y="1707182"/>
                </a:moveTo>
                <a:cubicBezTo>
                  <a:pt x="1809540" y="1707182"/>
                  <a:pt x="1834251" y="1731892"/>
                  <a:pt x="1834251" y="1762373"/>
                </a:cubicBezTo>
                <a:cubicBezTo>
                  <a:pt x="1834251" y="1792854"/>
                  <a:pt x="1809540" y="1817564"/>
                  <a:pt x="1779058" y="1817564"/>
                </a:cubicBezTo>
                <a:cubicBezTo>
                  <a:pt x="1748577" y="1817564"/>
                  <a:pt x="1723867" y="1792854"/>
                  <a:pt x="1723867" y="1762373"/>
                </a:cubicBezTo>
                <a:cubicBezTo>
                  <a:pt x="1723867" y="1731892"/>
                  <a:pt x="1748577" y="1707182"/>
                  <a:pt x="1779058" y="1707182"/>
                </a:cubicBezTo>
                <a:close/>
                <a:moveTo>
                  <a:pt x="1645422" y="1707182"/>
                </a:moveTo>
                <a:cubicBezTo>
                  <a:pt x="1675906" y="1707182"/>
                  <a:pt x="1700617" y="1731892"/>
                  <a:pt x="1700617" y="1762373"/>
                </a:cubicBezTo>
                <a:cubicBezTo>
                  <a:pt x="1700617" y="1792854"/>
                  <a:pt x="1675906" y="1817564"/>
                  <a:pt x="1645422" y="1817564"/>
                </a:cubicBezTo>
                <a:cubicBezTo>
                  <a:pt x="1614940" y="1817564"/>
                  <a:pt x="1590230" y="1792854"/>
                  <a:pt x="1590230" y="1762373"/>
                </a:cubicBezTo>
                <a:cubicBezTo>
                  <a:pt x="1590230" y="1731892"/>
                  <a:pt x="1614940" y="1707182"/>
                  <a:pt x="1645422" y="1707182"/>
                </a:cubicBezTo>
                <a:close/>
                <a:moveTo>
                  <a:pt x="1515130" y="1707182"/>
                </a:moveTo>
                <a:cubicBezTo>
                  <a:pt x="1545612" y="1707182"/>
                  <a:pt x="1570322" y="1731892"/>
                  <a:pt x="1570322" y="1762373"/>
                </a:cubicBezTo>
                <a:cubicBezTo>
                  <a:pt x="1570322" y="1792854"/>
                  <a:pt x="1545612" y="1817564"/>
                  <a:pt x="1515130" y="1817564"/>
                </a:cubicBezTo>
                <a:cubicBezTo>
                  <a:pt x="1484648" y="1817564"/>
                  <a:pt x="1459938" y="1792854"/>
                  <a:pt x="1459938" y="1762373"/>
                </a:cubicBezTo>
                <a:cubicBezTo>
                  <a:pt x="1459938" y="1731892"/>
                  <a:pt x="1484648" y="1707182"/>
                  <a:pt x="1515130" y="1707182"/>
                </a:cubicBezTo>
                <a:close/>
                <a:moveTo>
                  <a:pt x="1381494" y="1707182"/>
                </a:moveTo>
                <a:cubicBezTo>
                  <a:pt x="1411978" y="1707182"/>
                  <a:pt x="1436688" y="1731892"/>
                  <a:pt x="1436688" y="1762373"/>
                </a:cubicBezTo>
                <a:cubicBezTo>
                  <a:pt x="1436688" y="1792854"/>
                  <a:pt x="1411978" y="1817564"/>
                  <a:pt x="1381494" y="1817564"/>
                </a:cubicBezTo>
                <a:cubicBezTo>
                  <a:pt x="1351014" y="1817564"/>
                  <a:pt x="1326303" y="1792854"/>
                  <a:pt x="1326303" y="1762373"/>
                </a:cubicBezTo>
                <a:cubicBezTo>
                  <a:pt x="1326303" y="1731892"/>
                  <a:pt x="1351014" y="1707182"/>
                  <a:pt x="1381494" y="1707182"/>
                </a:cubicBezTo>
                <a:close/>
                <a:moveTo>
                  <a:pt x="1251201" y="1707182"/>
                </a:moveTo>
                <a:cubicBezTo>
                  <a:pt x="1281685" y="1707182"/>
                  <a:pt x="1306393" y="1731892"/>
                  <a:pt x="1306393" y="1762373"/>
                </a:cubicBezTo>
                <a:cubicBezTo>
                  <a:pt x="1306393" y="1792854"/>
                  <a:pt x="1281685" y="1817564"/>
                  <a:pt x="1251201" y="1817564"/>
                </a:cubicBezTo>
                <a:cubicBezTo>
                  <a:pt x="1220721" y="1817564"/>
                  <a:pt x="1196010" y="1792854"/>
                  <a:pt x="1196010" y="1762373"/>
                </a:cubicBezTo>
                <a:cubicBezTo>
                  <a:pt x="1196010" y="1731892"/>
                  <a:pt x="1220721" y="1707182"/>
                  <a:pt x="1251201" y="1707182"/>
                </a:cubicBezTo>
                <a:close/>
                <a:moveTo>
                  <a:pt x="1909361" y="1580232"/>
                </a:moveTo>
                <a:cubicBezTo>
                  <a:pt x="1939843" y="1580232"/>
                  <a:pt x="1964554" y="1604942"/>
                  <a:pt x="1964554" y="1635423"/>
                </a:cubicBezTo>
                <a:cubicBezTo>
                  <a:pt x="1964554" y="1665904"/>
                  <a:pt x="1939843" y="1690614"/>
                  <a:pt x="1909361" y="1690614"/>
                </a:cubicBezTo>
                <a:cubicBezTo>
                  <a:pt x="1878879" y="1690614"/>
                  <a:pt x="1854168" y="1665904"/>
                  <a:pt x="1854168" y="1635423"/>
                </a:cubicBezTo>
                <a:cubicBezTo>
                  <a:pt x="1854168" y="1604942"/>
                  <a:pt x="1878879" y="1580232"/>
                  <a:pt x="1909361" y="1580232"/>
                </a:cubicBezTo>
                <a:close/>
                <a:moveTo>
                  <a:pt x="1779065" y="1580232"/>
                </a:moveTo>
                <a:cubicBezTo>
                  <a:pt x="1809547" y="1580232"/>
                  <a:pt x="1834257" y="1604942"/>
                  <a:pt x="1834257" y="1635423"/>
                </a:cubicBezTo>
                <a:cubicBezTo>
                  <a:pt x="1834257" y="1665904"/>
                  <a:pt x="1809547" y="1690614"/>
                  <a:pt x="1779065" y="1690614"/>
                </a:cubicBezTo>
                <a:cubicBezTo>
                  <a:pt x="1748583" y="1690614"/>
                  <a:pt x="1723872" y="1665904"/>
                  <a:pt x="1723872" y="1635423"/>
                </a:cubicBezTo>
                <a:cubicBezTo>
                  <a:pt x="1723872" y="1604942"/>
                  <a:pt x="1748583" y="1580232"/>
                  <a:pt x="1779065" y="1580232"/>
                </a:cubicBezTo>
                <a:close/>
                <a:moveTo>
                  <a:pt x="1645431" y="1580232"/>
                </a:moveTo>
                <a:cubicBezTo>
                  <a:pt x="1675914" y="1580232"/>
                  <a:pt x="1700623" y="1604942"/>
                  <a:pt x="1700623" y="1635423"/>
                </a:cubicBezTo>
                <a:cubicBezTo>
                  <a:pt x="1700623" y="1665904"/>
                  <a:pt x="1675914" y="1690614"/>
                  <a:pt x="1645431" y="1690614"/>
                </a:cubicBezTo>
                <a:cubicBezTo>
                  <a:pt x="1614950" y="1690614"/>
                  <a:pt x="1590238" y="1665904"/>
                  <a:pt x="1590238" y="1635423"/>
                </a:cubicBezTo>
                <a:cubicBezTo>
                  <a:pt x="1590238" y="1604942"/>
                  <a:pt x="1614950" y="1580232"/>
                  <a:pt x="1645431" y="1580232"/>
                </a:cubicBezTo>
                <a:close/>
                <a:moveTo>
                  <a:pt x="1515140" y="1580232"/>
                </a:moveTo>
                <a:cubicBezTo>
                  <a:pt x="1545619" y="1580232"/>
                  <a:pt x="1570329" y="1604942"/>
                  <a:pt x="1570329" y="1635423"/>
                </a:cubicBezTo>
                <a:cubicBezTo>
                  <a:pt x="1570329" y="1665904"/>
                  <a:pt x="1545619" y="1690614"/>
                  <a:pt x="1515140" y="1690614"/>
                </a:cubicBezTo>
                <a:cubicBezTo>
                  <a:pt x="1484656" y="1690614"/>
                  <a:pt x="1459945" y="1665904"/>
                  <a:pt x="1459945" y="1635423"/>
                </a:cubicBezTo>
                <a:cubicBezTo>
                  <a:pt x="1459945" y="1604942"/>
                  <a:pt x="1484656" y="1580232"/>
                  <a:pt x="1515140" y="1580232"/>
                </a:cubicBezTo>
                <a:close/>
                <a:moveTo>
                  <a:pt x="1381504" y="1580232"/>
                </a:moveTo>
                <a:cubicBezTo>
                  <a:pt x="1411984" y="1580232"/>
                  <a:pt x="1436697" y="1604942"/>
                  <a:pt x="1436697" y="1635423"/>
                </a:cubicBezTo>
                <a:cubicBezTo>
                  <a:pt x="1436697" y="1665904"/>
                  <a:pt x="1411984" y="1690614"/>
                  <a:pt x="1381504" y="1690614"/>
                </a:cubicBezTo>
                <a:cubicBezTo>
                  <a:pt x="1351022" y="1690614"/>
                  <a:pt x="1326312" y="1665904"/>
                  <a:pt x="1326312" y="1635423"/>
                </a:cubicBezTo>
                <a:cubicBezTo>
                  <a:pt x="1326312" y="1604942"/>
                  <a:pt x="1351022" y="1580232"/>
                  <a:pt x="1381504" y="1580232"/>
                </a:cubicBezTo>
                <a:close/>
                <a:moveTo>
                  <a:pt x="1251210" y="1580232"/>
                </a:moveTo>
                <a:cubicBezTo>
                  <a:pt x="1281690" y="1580232"/>
                  <a:pt x="1306401" y="1604942"/>
                  <a:pt x="1306401" y="1635423"/>
                </a:cubicBezTo>
                <a:cubicBezTo>
                  <a:pt x="1306401" y="1665904"/>
                  <a:pt x="1281690" y="1690614"/>
                  <a:pt x="1251210" y="1690614"/>
                </a:cubicBezTo>
                <a:cubicBezTo>
                  <a:pt x="1220727" y="1690614"/>
                  <a:pt x="1196016" y="1665904"/>
                  <a:pt x="1196016" y="1635423"/>
                </a:cubicBezTo>
                <a:cubicBezTo>
                  <a:pt x="1196016" y="1604942"/>
                  <a:pt x="1220727" y="1580232"/>
                  <a:pt x="1251210" y="1580232"/>
                </a:cubicBezTo>
                <a:close/>
                <a:moveTo>
                  <a:pt x="9068806" y="1580228"/>
                </a:moveTo>
                <a:cubicBezTo>
                  <a:pt x="9099288" y="1580228"/>
                  <a:pt x="9123998" y="1604938"/>
                  <a:pt x="9123998" y="1635419"/>
                </a:cubicBezTo>
                <a:cubicBezTo>
                  <a:pt x="9123998" y="1665900"/>
                  <a:pt x="9099288" y="1690610"/>
                  <a:pt x="9068806" y="1690610"/>
                </a:cubicBezTo>
                <a:cubicBezTo>
                  <a:pt x="9038324" y="1690610"/>
                  <a:pt x="9013614" y="1665900"/>
                  <a:pt x="9013614" y="1635419"/>
                </a:cubicBezTo>
                <a:cubicBezTo>
                  <a:pt x="9013614" y="1604938"/>
                  <a:pt x="9038324" y="1580228"/>
                  <a:pt x="9068806" y="1580228"/>
                </a:cubicBezTo>
                <a:close/>
                <a:moveTo>
                  <a:pt x="8671243" y="1580228"/>
                </a:moveTo>
                <a:cubicBezTo>
                  <a:pt x="8701725" y="1580228"/>
                  <a:pt x="8726435" y="1604938"/>
                  <a:pt x="8726435" y="1635419"/>
                </a:cubicBezTo>
                <a:cubicBezTo>
                  <a:pt x="8726435" y="1665900"/>
                  <a:pt x="8701725" y="1690610"/>
                  <a:pt x="8671243" y="1690610"/>
                </a:cubicBezTo>
                <a:cubicBezTo>
                  <a:pt x="8640761" y="1690610"/>
                  <a:pt x="8616051" y="1665900"/>
                  <a:pt x="8616051" y="1635419"/>
                </a:cubicBezTo>
                <a:cubicBezTo>
                  <a:pt x="8616051" y="1604938"/>
                  <a:pt x="8640761" y="1580228"/>
                  <a:pt x="8671243" y="1580228"/>
                </a:cubicBezTo>
                <a:close/>
                <a:moveTo>
                  <a:pt x="8537609" y="1580228"/>
                </a:moveTo>
                <a:cubicBezTo>
                  <a:pt x="8568091" y="1580228"/>
                  <a:pt x="8592801" y="1604938"/>
                  <a:pt x="8592801" y="1635419"/>
                </a:cubicBezTo>
                <a:cubicBezTo>
                  <a:pt x="8592801" y="1665900"/>
                  <a:pt x="8568091" y="1690610"/>
                  <a:pt x="8537609" y="1690610"/>
                </a:cubicBezTo>
                <a:cubicBezTo>
                  <a:pt x="8507127" y="1690610"/>
                  <a:pt x="8482417" y="1665900"/>
                  <a:pt x="8482417" y="1635419"/>
                </a:cubicBezTo>
                <a:cubicBezTo>
                  <a:pt x="8482417" y="1604938"/>
                  <a:pt x="8507127" y="1580228"/>
                  <a:pt x="8537609" y="1580228"/>
                </a:cubicBezTo>
                <a:close/>
                <a:moveTo>
                  <a:pt x="8407318" y="1580228"/>
                </a:moveTo>
                <a:cubicBezTo>
                  <a:pt x="8437800" y="1580228"/>
                  <a:pt x="8462510" y="1604938"/>
                  <a:pt x="8462510" y="1635419"/>
                </a:cubicBezTo>
                <a:cubicBezTo>
                  <a:pt x="8462510" y="1665900"/>
                  <a:pt x="8437800" y="1690610"/>
                  <a:pt x="8407318" y="1690610"/>
                </a:cubicBezTo>
                <a:cubicBezTo>
                  <a:pt x="8376836" y="1690610"/>
                  <a:pt x="8352126" y="1665900"/>
                  <a:pt x="8352126" y="1635419"/>
                </a:cubicBezTo>
                <a:cubicBezTo>
                  <a:pt x="8352126" y="1604938"/>
                  <a:pt x="8376836" y="1580228"/>
                  <a:pt x="8407318" y="1580228"/>
                </a:cubicBezTo>
                <a:close/>
                <a:moveTo>
                  <a:pt x="8273682" y="1580228"/>
                </a:moveTo>
                <a:cubicBezTo>
                  <a:pt x="8304164" y="1580228"/>
                  <a:pt x="8328874" y="1604938"/>
                  <a:pt x="8328874" y="1635419"/>
                </a:cubicBezTo>
                <a:cubicBezTo>
                  <a:pt x="8328874" y="1665900"/>
                  <a:pt x="8304164" y="1690610"/>
                  <a:pt x="8273682" y="1690610"/>
                </a:cubicBezTo>
                <a:cubicBezTo>
                  <a:pt x="8243200" y="1690610"/>
                  <a:pt x="8218490" y="1665900"/>
                  <a:pt x="8218490" y="1635419"/>
                </a:cubicBezTo>
                <a:cubicBezTo>
                  <a:pt x="8218490" y="1604938"/>
                  <a:pt x="8243200" y="1580228"/>
                  <a:pt x="8273682" y="1580228"/>
                </a:cubicBezTo>
                <a:close/>
                <a:moveTo>
                  <a:pt x="8143386" y="1580228"/>
                </a:moveTo>
                <a:cubicBezTo>
                  <a:pt x="8173868" y="1580228"/>
                  <a:pt x="8198578" y="1604938"/>
                  <a:pt x="8198578" y="1635419"/>
                </a:cubicBezTo>
                <a:cubicBezTo>
                  <a:pt x="8198578" y="1665900"/>
                  <a:pt x="8173868" y="1690610"/>
                  <a:pt x="8143386" y="1690610"/>
                </a:cubicBezTo>
                <a:cubicBezTo>
                  <a:pt x="8112904" y="1690610"/>
                  <a:pt x="8088194" y="1665900"/>
                  <a:pt x="8088194" y="1635419"/>
                </a:cubicBezTo>
                <a:cubicBezTo>
                  <a:pt x="8088194" y="1604938"/>
                  <a:pt x="8112904" y="1580228"/>
                  <a:pt x="8143386" y="1580228"/>
                </a:cubicBezTo>
                <a:close/>
                <a:moveTo>
                  <a:pt x="8009752" y="1580228"/>
                </a:moveTo>
                <a:cubicBezTo>
                  <a:pt x="8040234" y="1580228"/>
                  <a:pt x="8064944" y="1604938"/>
                  <a:pt x="8064944" y="1635419"/>
                </a:cubicBezTo>
                <a:cubicBezTo>
                  <a:pt x="8064944" y="1665900"/>
                  <a:pt x="8040234" y="1690610"/>
                  <a:pt x="8009752" y="1690610"/>
                </a:cubicBezTo>
                <a:cubicBezTo>
                  <a:pt x="7979270" y="1690610"/>
                  <a:pt x="7954560" y="1665900"/>
                  <a:pt x="7954560" y="1635419"/>
                </a:cubicBezTo>
                <a:cubicBezTo>
                  <a:pt x="7954560" y="1604938"/>
                  <a:pt x="7979270" y="1580228"/>
                  <a:pt x="8009752" y="1580228"/>
                </a:cubicBezTo>
                <a:close/>
                <a:moveTo>
                  <a:pt x="7876117" y="1580228"/>
                </a:moveTo>
                <a:cubicBezTo>
                  <a:pt x="7906599" y="1580228"/>
                  <a:pt x="7931309" y="1604938"/>
                  <a:pt x="7931309" y="1635419"/>
                </a:cubicBezTo>
                <a:cubicBezTo>
                  <a:pt x="7931309" y="1665900"/>
                  <a:pt x="7906599" y="1690610"/>
                  <a:pt x="7876117" y="1690610"/>
                </a:cubicBezTo>
                <a:cubicBezTo>
                  <a:pt x="7845635" y="1690610"/>
                  <a:pt x="7820925" y="1665900"/>
                  <a:pt x="7820925" y="1635419"/>
                </a:cubicBezTo>
                <a:cubicBezTo>
                  <a:pt x="7820925" y="1604938"/>
                  <a:pt x="7845635" y="1580228"/>
                  <a:pt x="7876117" y="1580228"/>
                </a:cubicBezTo>
                <a:close/>
                <a:moveTo>
                  <a:pt x="7745824" y="1580228"/>
                </a:moveTo>
                <a:cubicBezTo>
                  <a:pt x="7776306" y="1580228"/>
                  <a:pt x="7801016" y="1604938"/>
                  <a:pt x="7801016" y="1635419"/>
                </a:cubicBezTo>
                <a:cubicBezTo>
                  <a:pt x="7801016" y="1665900"/>
                  <a:pt x="7776306" y="1690610"/>
                  <a:pt x="7745824" y="1690610"/>
                </a:cubicBezTo>
                <a:cubicBezTo>
                  <a:pt x="7715342" y="1690610"/>
                  <a:pt x="7690632" y="1665900"/>
                  <a:pt x="7690632" y="1635419"/>
                </a:cubicBezTo>
                <a:cubicBezTo>
                  <a:pt x="7690632" y="1604938"/>
                  <a:pt x="7715342" y="1580228"/>
                  <a:pt x="7745824" y="1580228"/>
                </a:cubicBezTo>
                <a:close/>
                <a:moveTo>
                  <a:pt x="7608849" y="1580228"/>
                </a:moveTo>
                <a:cubicBezTo>
                  <a:pt x="7639331" y="1580228"/>
                  <a:pt x="7664041" y="1604938"/>
                  <a:pt x="7664041" y="1635419"/>
                </a:cubicBezTo>
                <a:cubicBezTo>
                  <a:pt x="7664041" y="1665900"/>
                  <a:pt x="7639331" y="1690610"/>
                  <a:pt x="7608849" y="1690610"/>
                </a:cubicBezTo>
                <a:cubicBezTo>
                  <a:pt x="7578367" y="1690610"/>
                  <a:pt x="7553657" y="1665900"/>
                  <a:pt x="7553657" y="1635419"/>
                </a:cubicBezTo>
                <a:cubicBezTo>
                  <a:pt x="7553657" y="1604938"/>
                  <a:pt x="7578367" y="1580228"/>
                  <a:pt x="7608849" y="1580228"/>
                </a:cubicBezTo>
                <a:close/>
                <a:moveTo>
                  <a:pt x="7481895" y="1580228"/>
                </a:moveTo>
                <a:cubicBezTo>
                  <a:pt x="7512377" y="1580228"/>
                  <a:pt x="7537087" y="1604938"/>
                  <a:pt x="7537087" y="1635419"/>
                </a:cubicBezTo>
                <a:cubicBezTo>
                  <a:pt x="7537087" y="1665900"/>
                  <a:pt x="7512377" y="1690610"/>
                  <a:pt x="7481895" y="1690610"/>
                </a:cubicBezTo>
                <a:cubicBezTo>
                  <a:pt x="7451413" y="1690610"/>
                  <a:pt x="7426703" y="1665900"/>
                  <a:pt x="7426703" y="1635419"/>
                </a:cubicBezTo>
                <a:cubicBezTo>
                  <a:pt x="7426703" y="1604938"/>
                  <a:pt x="7451413" y="1580228"/>
                  <a:pt x="7481895" y="1580228"/>
                </a:cubicBezTo>
                <a:close/>
                <a:moveTo>
                  <a:pt x="7341579" y="1580228"/>
                </a:moveTo>
                <a:cubicBezTo>
                  <a:pt x="7372061" y="1580228"/>
                  <a:pt x="7396771" y="1604938"/>
                  <a:pt x="7396771" y="1635419"/>
                </a:cubicBezTo>
                <a:cubicBezTo>
                  <a:pt x="7396771" y="1665900"/>
                  <a:pt x="7372061" y="1690610"/>
                  <a:pt x="7341579" y="1690610"/>
                </a:cubicBezTo>
                <a:cubicBezTo>
                  <a:pt x="7311097" y="1690610"/>
                  <a:pt x="7286387" y="1665900"/>
                  <a:pt x="7286387" y="1635419"/>
                </a:cubicBezTo>
                <a:cubicBezTo>
                  <a:pt x="7286387" y="1604938"/>
                  <a:pt x="7311097" y="1580228"/>
                  <a:pt x="7341579" y="1580228"/>
                </a:cubicBezTo>
                <a:close/>
                <a:moveTo>
                  <a:pt x="7211286" y="1580228"/>
                </a:moveTo>
                <a:cubicBezTo>
                  <a:pt x="7241768" y="1580228"/>
                  <a:pt x="7266478" y="1604938"/>
                  <a:pt x="7266478" y="1635419"/>
                </a:cubicBezTo>
                <a:cubicBezTo>
                  <a:pt x="7266478" y="1665900"/>
                  <a:pt x="7241768" y="1690610"/>
                  <a:pt x="7211286" y="1690610"/>
                </a:cubicBezTo>
                <a:cubicBezTo>
                  <a:pt x="7180804" y="1690610"/>
                  <a:pt x="7156094" y="1665900"/>
                  <a:pt x="7156094" y="1635419"/>
                </a:cubicBezTo>
                <a:cubicBezTo>
                  <a:pt x="7156094" y="1604938"/>
                  <a:pt x="7180804" y="1580228"/>
                  <a:pt x="7211286" y="1580228"/>
                </a:cubicBezTo>
                <a:close/>
                <a:moveTo>
                  <a:pt x="7080993" y="1580228"/>
                </a:moveTo>
                <a:cubicBezTo>
                  <a:pt x="7111475" y="1580228"/>
                  <a:pt x="7136185" y="1604938"/>
                  <a:pt x="7136185" y="1635419"/>
                </a:cubicBezTo>
                <a:cubicBezTo>
                  <a:pt x="7136185" y="1665900"/>
                  <a:pt x="7111475" y="1690610"/>
                  <a:pt x="7080993" y="1690610"/>
                </a:cubicBezTo>
                <a:cubicBezTo>
                  <a:pt x="7050511" y="1690610"/>
                  <a:pt x="7025801" y="1665900"/>
                  <a:pt x="7025801" y="1635419"/>
                </a:cubicBezTo>
                <a:cubicBezTo>
                  <a:pt x="7025801" y="1604938"/>
                  <a:pt x="7050511" y="1580228"/>
                  <a:pt x="7080993" y="1580228"/>
                </a:cubicBezTo>
                <a:close/>
                <a:moveTo>
                  <a:pt x="6947357" y="1580228"/>
                </a:moveTo>
                <a:cubicBezTo>
                  <a:pt x="6977839" y="1580228"/>
                  <a:pt x="7002549" y="1604938"/>
                  <a:pt x="7002549" y="1635419"/>
                </a:cubicBezTo>
                <a:cubicBezTo>
                  <a:pt x="7002549" y="1665900"/>
                  <a:pt x="6977839" y="1690610"/>
                  <a:pt x="6947357" y="1690610"/>
                </a:cubicBezTo>
                <a:cubicBezTo>
                  <a:pt x="6916875" y="1690610"/>
                  <a:pt x="6892165" y="1665900"/>
                  <a:pt x="6892165" y="1635419"/>
                </a:cubicBezTo>
                <a:cubicBezTo>
                  <a:pt x="6892165" y="1604938"/>
                  <a:pt x="6916875" y="1580228"/>
                  <a:pt x="6947357" y="1580228"/>
                </a:cubicBezTo>
                <a:close/>
                <a:moveTo>
                  <a:pt x="6817063" y="1580228"/>
                </a:moveTo>
                <a:cubicBezTo>
                  <a:pt x="6847545" y="1580228"/>
                  <a:pt x="6872255" y="1604938"/>
                  <a:pt x="6872255" y="1635419"/>
                </a:cubicBezTo>
                <a:cubicBezTo>
                  <a:pt x="6872255" y="1665900"/>
                  <a:pt x="6847545" y="1690610"/>
                  <a:pt x="6817063" y="1690610"/>
                </a:cubicBezTo>
                <a:cubicBezTo>
                  <a:pt x="6786581" y="1690610"/>
                  <a:pt x="6761871" y="1665900"/>
                  <a:pt x="6761871" y="1635419"/>
                </a:cubicBezTo>
                <a:cubicBezTo>
                  <a:pt x="6761871" y="1604938"/>
                  <a:pt x="6786581" y="1580228"/>
                  <a:pt x="6817063" y="1580228"/>
                </a:cubicBezTo>
                <a:close/>
                <a:moveTo>
                  <a:pt x="6683431" y="1580228"/>
                </a:moveTo>
                <a:cubicBezTo>
                  <a:pt x="6713913" y="1580228"/>
                  <a:pt x="6738623" y="1604938"/>
                  <a:pt x="6738623" y="1635419"/>
                </a:cubicBezTo>
                <a:cubicBezTo>
                  <a:pt x="6738623" y="1665900"/>
                  <a:pt x="6713913" y="1690610"/>
                  <a:pt x="6683431" y="1690610"/>
                </a:cubicBezTo>
                <a:cubicBezTo>
                  <a:pt x="6652949" y="1690610"/>
                  <a:pt x="6628239" y="1665900"/>
                  <a:pt x="6628239" y="1635419"/>
                </a:cubicBezTo>
                <a:cubicBezTo>
                  <a:pt x="6628239" y="1604938"/>
                  <a:pt x="6652949" y="1580228"/>
                  <a:pt x="6683431" y="1580228"/>
                </a:cubicBezTo>
                <a:close/>
                <a:moveTo>
                  <a:pt x="6553137" y="1580228"/>
                </a:moveTo>
                <a:cubicBezTo>
                  <a:pt x="6583619" y="1580228"/>
                  <a:pt x="6608329" y="1604938"/>
                  <a:pt x="6608329" y="1635419"/>
                </a:cubicBezTo>
                <a:cubicBezTo>
                  <a:pt x="6608329" y="1665900"/>
                  <a:pt x="6583619" y="1690610"/>
                  <a:pt x="6553137" y="1690610"/>
                </a:cubicBezTo>
                <a:cubicBezTo>
                  <a:pt x="6522655" y="1690610"/>
                  <a:pt x="6497945" y="1665900"/>
                  <a:pt x="6497945" y="1635419"/>
                </a:cubicBezTo>
                <a:cubicBezTo>
                  <a:pt x="6497945" y="1604938"/>
                  <a:pt x="6522655" y="1580228"/>
                  <a:pt x="6553137" y="1580228"/>
                </a:cubicBezTo>
                <a:close/>
                <a:moveTo>
                  <a:pt x="6419502" y="1580228"/>
                </a:moveTo>
                <a:cubicBezTo>
                  <a:pt x="6449984" y="1580228"/>
                  <a:pt x="6474694" y="1604938"/>
                  <a:pt x="6474694" y="1635419"/>
                </a:cubicBezTo>
                <a:cubicBezTo>
                  <a:pt x="6474694" y="1665900"/>
                  <a:pt x="6449984" y="1690610"/>
                  <a:pt x="6419502" y="1690610"/>
                </a:cubicBezTo>
                <a:cubicBezTo>
                  <a:pt x="6389020" y="1690610"/>
                  <a:pt x="6364310" y="1665900"/>
                  <a:pt x="6364310" y="1635419"/>
                </a:cubicBezTo>
                <a:cubicBezTo>
                  <a:pt x="6364310" y="1604938"/>
                  <a:pt x="6389020" y="1580228"/>
                  <a:pt x="6419502" y="1580228"/>
                </a:cubicBezTo>
                <a:close/>
                <a:moveTo>
                  <a:pt x="6289208" y="1580228"/>
                </a:moveTo>
                <a:cubicBezTo>
                  <a:pt x="6319690" y="1580228"/>
                  <a:pt x="6344400" y="1604938"/>
                  <a:pt x="6344400" y="1635419"/>
                </a:cubicBezTo>
                <a:cubicBezTo>
                  <a:pt x="6344400" y="1665900"/>
                  <a:pt x="6319690" y="1690610"/>
                  <a:pt x="6289208" y="1690610"/>
                </a:cubicBezTo>
                <a:cubicBezTo>
                  <a:pt x="6258726" y="1690610"/>
                  <a:pt x="6234016" y="1665900"/>
                  <a:pt x="6234016" y="1635419"/>
                </a:cubicBezTo>
                <a:cubicBezTo>
                  <a:pt x="6234016" y="1604938"/>
                  <a:pt x="6258726" y="1580228"/>
                  <a:pt x="6289208" y="1580228"/>
                </a:cubicBezTo>
                <a:close/>
                <a:moveTo>
                  <a:pt x="6155572" y="1580228"/>
                </a:moveTo>
                <a:cubicBezTo>
                  <a:pt x="6186054" y="1580228"/>
                  <a:pt x="6210764" y="1604938"/>
                  <a:pt x="6210764" y="1635419"/>
                </a:cubicBezTo>
                <a:cubicBezTo>
                  <a:pt x="6210764" y="1665900"/>
                  <a:pt x="6186054" y="1690610"/>
                  <a:pt x="6155572" y="1690610"/>
                </a:cubicBezTo>
                <a:cubicBezTo>
                  <a:pt x="6125090" y="1690610"/>
                  <a:pt x="6100380" y="1665900"/>
                  <a:pt x="6100380" y="1635419"/>
                </a:cubicBezTo>
                <a:cubicBezTo>
                  <a:pt x="6100380" y="1604938"/>
                  <a:pt x="6125090" y="1580228"/>
                  <a:pt x="6155572" y="1580228"/>
                </a:cubicBezTo>
                <a:close/>
                <a:moveTo>
                  <a:pt x="6021938" y="1580228"/>
                </a:moveTo>
                <a:cubicBezTo>
                  <a:pt x="6052420" y="1580228"/>
                  <a:pt x="6077130" y="1604938"/>
                  <a:pt x="6077130" y="1635419"/>
                </a:cubicBezTo>
                <a:cubicBezTo>
                  <a:pt x="6077130" y="1665900"/>
                  <a:pt x="6052420" y="1690610"/>
                  <a:pt x="6021938" y="1690610"/>
                </a:cubicBezTo>
                <a:cubicBezTo>
                  <a:pt x="5991456" y="1690610"/>
                  <a:pt x="5966746" y="1665900"/>
                  <a:pt x="5966746" y="1635419"/>
                </a:cubicBezTo>
                <a:cubicBezTo>
                  <a:pt x="5966746" y="1604938"/>
                  <a:pt x="5991456" y="1580228"/>
                  <a:pt x="6021938" y="1580228"/>
                </a:cubicBezTo>
                <a:close/>
                <a:moveTo>
                  <a:pt x="5884964" y="1580228"/>
                </a:moveTo>
                <a:cubicBezTo>
                  <a:pt x="5915446" y="1580228"/>
                  <a:pt x="5940156" y="1604938"/>
                  <a:pt x="5940156" y="1635419"/>
                </a:cubicBezTo>
                <a:cubicBezTo>
                  <a:pt x="5940156" y="1665900"/>
                  <a:pt x="5915446" y="1690610"/>
                  <a:pt x="5884964" y="1690610"/>
                </a:cubicBezTo>
                <a:cubicBezTo>
                  <a:pt x="5854482" y="1690610"/>
                  <a:pt x="5829772" y="1665900"/>
                  <a:pt x="5829772" y="1635419"/>
                </a:cubicBezTo>
                <a:cubicBezTo>
                  <a:pt x="5829772" y="1604938"/>
                  <a:pt x="5854482" y="1580228"/>
                  <a:pt x="5884964" y="1580228"/>
                </a:cubicBezTo>
                <a:close/>
                <a:moveTo>
                  <a:pt x="5754670" y="1580228"/>
                </a:moveTo>
                <a:cubicBezTo>
                  <a:pt x="5785152" y="1580228"/>
                  <a:pt x="5809862" y="1604938"/>
                  <a:pt x="5809862" y="1635419"/>
                </a:cubicBezTo>
                <a:cubicBezTo>
                  <a:pt x="5809862" y="1665900"/>
                  <a:pt x="5785152" y="1690610"/>
                  <a:pt x="5754670" y="1690610"/>
                </a:cubicBezTo>
                <a:cubicBezTo>
                  <a:pt x="5724188" y="1690610"/>
                  <a:pt x="5699478" y="1665900"/>
                  <a:pt x="5699478" y="1635419"/>
                </a:cubicBezTo>
                <a:cubicBezTo>
                  <a:pt x="5699478" y="1604938"/>
                  <a:pt x="5724188" y="1580228"/>
                  <a:pt x="5754670" y="1580228"/>
                </a:cubicBezTo>
                <a:close/>
                <a:moveTo>
                  <a:pt x="5621035" y="1580228"/>
                </a:moveTo>
                <a:cubicBezTo>
                  <a:pt x="5651517" y="1580228"/>
                  <a:pt x="5676227" y="1604938"/>
                  <a:pt x="5676227" y="1635419"/>
                </a:cubicBezTo>
                <a:cubicBezTo>
                  <a:pt x="5676227" y="1665900"/>
                  <a:pt x="5651517" y="1690610"/>
                  <a:pt x="5621035" y="1690610"/>
                </a:cubicBezTo>
                <a:cubicBezTo>
                  <a:pt x="5590553" y="1690610"/>
                  <a:pt x="5565843" y="1665900"/>
                  <a:pt x="5565843" y="1635419"/>
                </a:cubicBezTo>
                <a:cubicBezTo>
                  <a:pt x="5565843" y="1604938"/>
                  <a:pt x="5590553" y="1580228"/>
                  <a:pt x="5621035" y="1580228"/>
                </a:cubicBezTo>
                <a:close/>
                <a:moveTo>
                  <a:pt x="5357105" y="1580228"/>
                </a:moveTo>
                <a:cubicBezTo>
                  <a:pt x="5387587" y="1580228"/>
                  <a:pt x="5412297" y="1604938"/>
                  <a:pt x="5412297" y="1635419"/>
                </a:cubicBezTo>
                <a:cubicBezTo>
                  <a:pt x="5412297" y="1665900"/>
                  <a:pt x="5387587" y="1690610"/>
                  <a:pt x="5357105" y="1690610"/>
                </a:cubicBezTo>
                <a:cubicBezTo>
                  <a:pt x="5326623" y="1690610"/>
                  <a:pt x="5301913" y="1665900"/>
                  <a:pt x="5301913" y="1635419"/>
                </a:cubicBezTo>
                <a:cubicBezTo>
                  <a:pt x="5301913" y="1604938"/>
                  <a:pt x="5326623" y="1580228"/>
                  <a:pt x="5357105" y="1580228"/>
                </a:cubicBezTo>
                <a:close/>
                <a:moveTo>
                  <a:pt x="5223473" y="1580228"/>
                </a:moveTo>
                <a:cubicBezTo>
                  <a:pt x="5253955" y="1580228"/>
                  <a:pt x="5278665" y="1604938"/>
                  <a:pt x="5278665" y="1635419"/>
                </a:cubicBezTo>
                <a:cubicBezTo>
                  <a:pt x="5278665" y="1665900"/>
                  <a:pt x="5253955" y="1690610"/>
                  <a:pt x="5223473" y="1690610"/>
                </a:cubicBezTo>
                <a:cubicBezTo>
                  <a:pt x="5192991" y="1690610"/>
                  <a:pt x="5168281" y="1665900"/>
                  <a:pt x="5168281" y="1635419"/>
                </a:cubicBezTo>
                <a:cubicBezTo>
                  <a:pt x="5168281" y="1604938"/>
                  <a:pt x="5192991" y="1580228"/>
                  <a:pt x="5223473" y="1580228"/>
                </a:cubicBezTo>
                <a:close/>
                <a:moveTo>
                  <a:pt x="5093178" y="1580228"/>
                </a:moveTo>
                <a:cubicBezTo>
                  <a:pt x="5123660" y="1580228"/>
                  <a:pt x="5148370" y="1604938"/>
                  <a:pt x="5148370" y="1635419"/>
                </a:cubicBezTo>
                <a:cubicBezTo>
                  <a:pt x="5148370" y="1665900"/>
                  <a:pt x="5123660" y="1690610"/>
                  <a:pt x="5093178" y="1690610"/>
                </a:cubicBezTo>
                <a:cubicBezTo>
                  <a:pt x="5062696" y="1690610"/>
                  <a:pt x="5037986" y="1665900"/>
                  <a:pt x="5037986" y="1635419"/>
                </a:cubicBezTo>
                <a:cubicBezTo>
                  <a:pt x="5037986" y="1604938"/>
                  <a:pt x="5062696" y="1580228"/>
                  <a:pt x="5093178" y="1580228"/>
                </a:cubicBezTo>
                <a:close/>
                <a:moveTo>
                  <a:pt x="4959543" y="1580228"/>
                </a:moveTo>
                <a:cubicBezTo>
                  <a:pt x="4990025" y="1580228"/>
                  <a:pt x="5014735" y="1604938"/>
                  <a:pt x="5014735" y="1635419"/>
                </a:cubicBezTo>
                <a:cubicBezTo>
                  <a:pt x="5014735" y="1665900"/>
                  <a:pt x="4990025" y="1690610"/>
                  <a:pt x="4959543" y="1690610"/>
                </a:cubicBezTo>
                <a:cubicBezTo>
                  <a:pt x="4929061" y="1690610"/>
                  <a:pt x="4904351" y="1665900"/>
                  <a:pt x="4904351" y="1635419"/>
                </a:cubicBezTo>
                <a:cubicBezTo>
                  <a:pt x="4904351" y="1604938"/>
                  <a:pt x="4929061" y="1580228"/>
                  <a:pt x="4959543" y="1580228"/>
                </a:cubicBezTo>
                <a:close/>
                <a:moveTo>
                  <a:pt x="4829251" y="1580228"/>
                </a:moveTo>
                <a:cubicBezTo>
                  <a:pt x="4859733" y="1580228"/>
                  <a:pt x="4884443" y="1604938"/>
                  <a:pt x="4884443" y="1635419"/>
                </a:cubicBezTo>
                <a:cubicBezTo>
                  <a:pt x="4884443" y="1665900"/>
                  <a:pt x="4859733" y="1690610"/>
                  <a:pt x="4829251" y="1690610"/>
                </a:cubicBezTo>
                <a:cubicBezTo>
                  <a:pt x="4798769" y="1690610"/>
                  <a:pt x="4774059" y="1665900"/>
                  <a:pt x="4774059" y="1635419"/>
                </a:cubicBezTo>
                <a:cubicBezTo>
                  <a:pt x="4774059" y="1604938"/>
                  <a:pt x="4798769" y="1580228"/>
                  <a:pt x="4829251" y="1580228"/>
                </a:cubicBezTo>
                <a:close/>
                <a:moveTo>
                  <a:pt x="4695613" y="1580228"/>
                </a:moveTo>
                <a:cubicBezTo>
                  <a:pt x="4726095" y="1580228"/>
                  <a:pt x="4750805" y="1604938"/>
                  <a:pt x="4750805" y="1635419"/>
                </a:cubicBezTo>
                <a:cubicBezTo>
                  <a:pt x="4750805" y="1665900"/>
                  <a:pt x="4726095" y="1690610"/>
                  <a:pt x="4695613" y="1690610"/>
                </a:cubicBezTo>
                <a:cubicBezTo>
                  <a:pt x="4665131" y="1690610"/>
                  <a:pt x="4640421" y="1665900"/>
                  <a:pt x="4640421" y="1635419"/>
                </a:cubicBezTo>
                <a:cubicBezTo>
                  <a:pt x="4640421" y="1604938"/>
                  <a:pt x="4665131" y="1580228"/>
                  <a:pt x="4695613" y="1580228"/>
                </a:cubicBezTo>
                <a:close/>
                <a:moveTo>
                  <a:pt x="4565322" y="1580228"/>
                </a:moveTo>
                <a:cubicBezTo>
                  <a:pt x="4595804" y="1580228"/>
                  <a:pt x="4620514" y="1604938"/>
                  <a:pt x="4620514" y="1635419"/>
                </a:cubicBezTo>
                <a:cubicBezTo>
                  <a:pt x="4620514" y="1665900"/>
                  <a:pt x="4595804" y="1690610"/>
                  <a:pt x="4565322" y="1690610"/>
                </a:cubicBezTo>
                <a:cubicBezTo>
                  <a:pt x="4534840" y="1690610"/>
                  <a:pt x="4510130" y="1665900"/>
                  <a:pt x="4510130" y="1635419"/>
                </a:cubicBezTo>
                <a:cubicBezTo>
                  <a:pt x="4510130" y="1604938"/>
                  <a:pt x="4534840" y="1580228"/>
                  <a:pt x="4565322" y="1580228"/>
                </a:cubicBezTo>
                <a:close/>
                <a:moveTo>
                  <a:pt x="3098681" y="1580228"/>
                </a:moveTo>
                <a:cubicBezTo>
                  <a:pt x="3129163" y="1580228"/>
                  <a:pt x="3153873" y="1604938"/>
                  <a:pt x="3153873" y="1635419"/>
                </a:cubicBezTo>
                <a:cubicBezTo>
                  <a:pt x="3153873" y="1665900"/>
                  <a:pt x="3129163" y="1690610"/>
                  <a:pt x="3098681" y="1690610"/>
                </a:cubicBezTo>
                <a:cubicBezTo>
                  <a:pt x="3068199" y="1690610"/>
                  <a:pt x="3043489" y="1665900"/>
                  <a:pt x="3043489" y="1635419"/>
                </a:cubicBezTo>
                <a:cubicBezTo>
                  <a:pt x="3043489" y="1604938"/>
                  <a:pt x="3068199" y="1580228"/>
                  <a:pt x="3098681" y="1580228"/>
                </a:cubicBezTo>
                <a:close/>
                <a:moveTo>
                  <a:pt x="2971729" y="1580228"/>
                </a:moveTo>
                <a:cubicBezTo>
                  <a:pt x="3002211" y="1580228"/>
                  <a:pt x="3026921" y="1604938"/>
                  <a:pt x="3026921" y="1635419"/>
                </a:cubicBezTo>
                <a:cubicBezTo>
                  <a:pt x="3026921" y="1665900"/>
                  <a:pt x="3002211" y="1690610"/>
                  <a:pt x="2971729" y="1690610"/>
                </a:cubicBezTo>
                <a:cubicBezTo>
                  <a:pt x="2941247" y="1690610"/>
                  <a:pt x="2916537" y="1665900"/>
                  <a:pt x="2916537" y="1635419"/>
                </a:cubicBezTo>
                <a:cubicBezTo>
                  <a:pt x="2916537" y="1604938"/>
                  <a:pt x="2941247" y="1580228"/>
                  <a:pt x="2971729" y="1580228"/>
                </a:cubicBezTo>
                <a:close/>
                <a:moveTo>
                  <a:pt x="2834783" y="1580228"/>
                </a:moveTo>
                <a:cubicBezTo>
                  <a:pt x="2865264" y="1580228"/>
                  <a:pt x="2889974" y="1604938"/>
                  <a:pt x="2889974" y="1635419"/>
                </a:cubicBezTo>
                <a:cubicBezTo>
                  <a:pt x="2889974" y="1665900"/>
                  <a:pt x="2865264" y="1690610"/>
                  <a:pt x="2834783" y="1690610"/>
                </a:cubicBezTo>
                <a:cubicBezTo>
                  <a:pt x="2804300" y="1690610"/>
                  <a:pt x="2779590" y="1665900"/>
                  <a:pt x="2779590" y="1635419"/>
                </a:cubicBezTo>
                <a:cubicBezTo>
                  <a:pt x="2779590" y="1604938"/>
                  <a:pt x="2804300" y="1580228"/>
                  <a:pt x="2834783" y="1580228"/>
                </a:cubicBezTo>
                <a:close/>
                <a:moveTo>
                  <a:pt x="2707828" y="1580228"/>
                </a:moveTo>
                <a:cubicBezTo>
                  <a:pt x="2738310" y="1580228"/>
                  <a:pt x="2763021" y="1604938"/>
                  <a:pt x="2763021" y="1635419"/>
                </a:cubicBezTo>
                <a:cubicBezTo>
                  <a:pt x="2763021" y="1665900"/>
                  <a:pt x="2738310" y="1690610"/>
                  <a:pt x="2707828" y="1690610"/>
                </a:cubicBezTo>
                <a:cubicBezTo>
                  <a:pt x="2677345" y="1690610"/>
                  <a:pt x="2652636" y="1665900"/>
                  <a:pt x="2652636" y="1635419"/>
                </a:cubicBezTo>
                <a:cubicBezTo>
                  <a:pt x="2652636" y="1604938"/>
                  <a:pt x="2677345" y="1580228"/>
                  <a:pt x="2707828" y="1580228"/>
                </a:cubicBezTo>
                <a:close/>
                <a:moveTo>
                  <a:pt x="2570854" y="1580228"/>
                </a:moveTo>
                <a:cubicBezTo>
                  <a:pt x="2601336" y="1580228"/>
                  <a:pt x="2626046" y="1604938"/>
                  <a:pt x="2626046" y="1635419"/>
                </a:cubicBezTo>
                <a:cubicBezTo>
                  <a:pt x="2626046" y="1665900"/>
                  <a:pt x="2601336" y="1690610"/>
                  <a:pt x="2570854" y="1690610"/>
                </a:cubicBezTo>
                <a:cubicBezTo>
                  <a:pt x="2540372" y="1690610"/>
                  <a:pt x="2515662" y="1665900"/>
                  <a:pt x="2515662" y="1635419"/>
                </a:cubicBezTo>
                <a:cubicBezTo>
                  <a:pt x="2515662" y="1604938"/>
                  <a:pt x="2540372" y="1580228"/>
                  <a:pt x="2570854" y="1580228"/>
                </a:cubicBezTo>
                <a:close/>
                <a:moveTo>
                  <a:pt x="2437218" y="1580228"/>
                </a:moveTo>
                <a:cubicBezTo>
                  <a:pt x="2467700" y="1580228"/>
                  <a:pt x="2492409" y="1604938"/>
                  <a:pt x="2492409" y="1635419"/>
                </a:cubicBezTo>
                <a:cubicBezTo>
                  <a:pt x="2492409" y="1665900"/>
                  <a:pt x="2467700" y="1690610"/>
                  <a:pt x="2437218" y="1690610"/>
                </a:cubicBezTo>
                <a:cubicBezTo>
                  <a:pt x="2406736" y="1690610"/>
                  <a:pt x="2382026" y="1665900"/>
                  <a:pt x="2382026" y="1635419"/>
                </a:cubicBezTo>
                <a:cubicBezTo>
                  <a:pt x="2382026" y="1604938"/>
                  <a:pt x="2406736" y="1580228"/>
                  <a:pt x="2437218" y="1580228"/>
                </a:cubicBezTo>
                <a:close/>
                <a:moveTo>
                  <a:pt x="2303586" y="1580228"/>
                </a:moveTo>
                <a:cubicBezTo>
                  <a:pt x="2334067" y="1580228"/>
                  <a:pt x="2358778" y="1604938"/>
                  <a:pt x="2358778" y="1635419"/>
                </a:cubicBezTo>
                <a:cubicBezTo>
                  <a:pt x="2358778" y="1665900"/>
                  <a:pt x="2334067" y="1690610"/>
                  <a:pt x="2303586" y="1690610"/>
                </a:cubicBezTo>
                <a:cubicBezTo>
                  <a:pt x="2273104" y="1690610"/>
                  <a:pt x="2248394" y="1665900"/>
                  <a:pt x="2248394" y="1635419"/>
                </a:cubicBezTo>
                <a:cubicBezTo>
                  <a:pt x="2248394" y="1604938"/>
                  <a:pt x="2273104" y="1580228"/>
                  <a:pt x="2303586" y="1580228"/>
                </a:cubicBezTo>
                <a:close/>
                <a:moveTo>
                  <a:pt x="2173293" y="1580228"/>
                </a:moveTo>
                <a:cubicBezTo>
                  <a:pt x="2203775" y="1580228"/>
                  <a:pt x="2228486" y="1604938"/>
                  <a:pt x="2228486" y="1635419"/>
                </a:cubicBezTo>
                <a:cubicBezTo>
                  <a:pt x="2228486" y="1665900"/>
                  <a:pt x="2203775" y="1690610"/>
                  <a:pt x="2173293" y="1690610"/>
                </a:cubicBezTo>
                <a:cubicBezTo>
                  <a:pt x="2142811" y="1690610"/>
                  <a:pt x="2118101" y="1665900"/>
                  <a:pt x="2118101" y="1635419"/>
                </a:cubicBezTo>
                <a:cubicBezTo>
                  <a:pt x="2118101" y="1604938"/>
                  <a:pt x="2142811" y="1580228"/>
                  <a:pt x="2173293" y="1580228"/>
                </a:cubicBezTo>
                <a:close/>
                <a:moveTo>
                  <a:pt x="2039658" y="1580228"/>
                </a:moveTo>
                <a:cubicBezTo>
                  <a:pt x="2070140" y="1580228"/>
                  <a:pt x="2094851" y="1604938"/>
                  <a:pt x="2094851" y="1635419"/>
                </a:cubicBezTo>
                <a:cubicBezTo>
                  <a:pt x="2094851" y="1665900"/>
                  <a:pt x="2070140" y="1690610"/>
                  <a:pt x="2039658" y="1690610"/>
                </a:cubicBezTo>
                <a:cubicBezTo>
                  <a:pt x="2009176" y="1690610"/>
                  <a:pt x="1984465" y="1665900"/>
                  <a:pt x="1984465" y="1635419"/>
                </a:cubicBezTo>
                <a:cubicBezTo>
                  <a:pt x="1984465" y="1604938"/>
                  <a:pt x="2009176" y="1580228"/>
                  <a:pt x="2039658" y="1580228"/>
                </a:cubicBezTo>
                <a:close/>
                <a:moveTo>
                  <a:pt x="9068807" y="1459958"/>
                </a:moveTo>
                <a:cubicBezTo>
                  <a:pt x="9099289" y="1459958"/>
                  <a:pt x="9123999" y="1484668"/>
                  <a:pt x="9123999" y="1515149"/>
                </a:cubicBezTo>
                <a:cubicBezTo>
                  <a:pt x="9123999" y="1545630"/>
                  <a:pt x="9099289" y="1570340"/>
                  <a:pt x="9068807" y="1570340"/>
                </a:cubicBezTo>
                <a:cubicBezTo>
                  <a:pt x="9038325" y="1570340"/>
                  <a:pt x="9013615" y="1545630"/>
                  <a:pt x="9013615" y="1515149"/>
                </a:cubicBezTo>
                <a:cubicBezTo>
                  <a:pt x="9013615" y="1484668"/>
                  <a:pt x="9038325" y="1459958"/>
                  <a:pt x="9068807" y="1459958"/>
                </a:cubicBezTo>
                <a:close/>
                <a:moveTo>
                  <a:pt x="8671244" y="1459958"/>
                </a:moveTo>
                <a:cubicBezTo>
                  <a:pt x="8701726" y="1459958"/>
                  <a:pt x="8726436" y="1484668"/>
                  <a:pt x="8726436" y="1515149"/>
                </a:cubicBezTo>
                <a:cubicBezTo>
                  <a:pt x="8726436" y="1545630"/>
                  <a:pt x="8701726" y="1570340"/>
                  <a:pt x="8671244" y="1570340"/>
                </a:cubicBezTo>
                <a:cubicBezTo>
                  <a:pt x="8640762" y="1570340"/>
                  <a:pt x="8616052" y="1545630"/>
                  <a:pt x="8616052" y="1515149"/>
                </a:cubicBezTo>
                <a:cubicBezTo>
                  <a:pt x="8616052" y="1484668"/>
                  <a:pt x="8640762" y="1459958"/>
                  <a:pt x="8671244" y="1459958"/>
                </a:cubicBezTo>
                <a:close/>
                <a:moveTo>
                  <a:pt x="8537612" y="1459958"/>
                </a:moveTo>
                <a:cubicBezTo>
                  <a:pt x="8568094" y="1459958"/>
                  <a:pt x="8592804" y="1484668"/>
                  <a:pt x="8592804" y="1515149"/>
                </a:cubicBezTo>
                <a:cubicBezTo>
                  <a:pt x="8592804" y="1545630"/>
                  <a:pt x="8568094" y="1570340"/>
                  <a:pt x="8537612" y="1570340"/>
                </a:cubicBezTo>
                <a:cubicBezTo>
                  <a:pt x="8507130" y="1570340"/>
                  <a:pt x="8482420" y="1545630"/>
                  <a:pt x="8482420" y="1515149"/>
                </a:cubicBezTo>
                <a:cubicBezTo>
                  <a:pt x="8482420" y="1484668"/>
                  <a:pt x="8507130" y="1459958"/>
                  <a:pt x="8537612" y="1459958"/>
                </a:cubicBezTo>
                <a:close/>
                <a:moveTo>
                  <a:pt x="8407316" y="1459958"/>
                </a:moveTo>
                <a:cubicBezTo>
                  <a:pt x="8437798" y="1459958"/>
                  <a:pt x="8462508" y="1484668"/>
                  <a:pt x="8462508" y="1515149"/>
                </a:cubicBezTo>
                <a:cubicBezTo>
                  <a:pt x="8462508" y="1545630"/>
                  <a:pt x="8437798" y="1570340"/>
                  <a:pt x="8407316" y="1570340"/>
                </a:cubicBezTo>
                <a:cubicBezTo>
                  <a:pt x="8376834" y="1570340"/>
                  <a:pt x="8352124" y="1545630"/>
                  <a:pt x="8352124" y="1515149"/>
                </a:cubicBezTo>
                <a:cubicBezTo>
                  <a:pt x="8352124" y="1484668"/>
                  <a:pt x="8376834" y="1459958"/>
                  <a:pt x="8407316" y="1459958"/>
                </a:cubicBezTo>
                <a:close/>
                <a:moveTo>
                  <a:pt x="8273682" y="1459958"/>
                </a:moveTo>
                <a:cubicBezTo>
                  <a:pt x="8304164" y="1459958"/>
                  <a:pt x="8328874" y="1484668"/>
                  <a:pt x="8328874" y="1515149"/>
                </a:cubicBezTo>
                <a:cubicBezTo>
                  <a:pt x="8328874" y="1545630"/>
                  <a:pt x="8304164" y="1570340"/>
                  <a:pt x="8273682" y="1570340"/>
                </a:cubicBezTo>
                <a:cubicBezTo>
                  <a:pt x="8243200" y="1570340"/>
                  <a:pt x="8218490" y="1545630"/>
                  <a:pt x="8218490" y="1515149"/>
                </a:cubicBezTo>
                <a:cubicBezTo>
                  <a:pt x="8218490" y="1484668"/>
                  <a:pt x="8243200" y="1459958"/>
                  <a:pt x="8273682" y="1459958"/>
                </a:cubicBezTo>
                <a:close/>
                <a:moveTo>
                  <a:pt x="8143388" y="1459958"/>
                </a:moveTo>
                <a:cubicBezTo>
                  <a:pt x="8173870" y="1459958"/>
                  <a:pt x="8198580" y="1484668"/>
                  <a:pt x="8198580" y="1515149"/>
                </a:cubicBezTo>
                <a:cubicBezTo>
                  <a:pt x="8198580" y="1545630"/>
                  <a:pt x="8173870" y="1570340"/>
                  <a:pt x="8143388" y="1570340"/>
                </a:cubicBezTo>
                <a:cubicBezTo>
                  <a:pt x="8112906" y="1570340"/>
                  <a:pt x="8088196" y="1545630"/>
                  <a:pt x="8088196" y="1515149"/>
                </a:cubicBezTo>
                <a:cubicBezTo>
                  <a:pt x="8088196" y="1484668"/>
                  <a:pt x="8112906" y="1459958"/>
                  <a:pt x="8143388" y="1459958"/>
                </a:cubicBezTo>
                <a:close/>
                <a:moveTo>
                  <a:pt x="8009753" y="1459958"/>
                </a:moveTo>
                <a:cubicBezTo>
                  <a:pt x="8040235" y="1459958"/>
                  <a:pt x="8064945" y="1484668"/>
                  <a:pt x="8064945" y="1515149"/>
                </a:cubicBezTo>
                <a:cubicBezTo>
                  <a:pt x="8064945" y="1545630"/>
                  <a:pt x="8040235" y="1570340"/>
                  <a:pt x="8009753" y="1570340"/>
                </a:cubicBezTo>
                <a:cubicBezTo>
                  <a:pt x="7979271" y="1570340"/>
                  <a:pt x="7954561" y="1545630"/>
                  <a:pt x="7954561" y="1515149"/>
                </a:cubicBezTo>
                <a:cubicBezTo>
                  <a:pt x="7954561" y="1484668"/>
                  <a:pt x="7979271" y="1459958"/>
                  <a:pt x="8009753" y="1459958"/>
                </a:cubicBezTo>
                <a:close/>
                <a:moveTo>
                  <a:pt x="7876118" y="1459958"/>
                </a:moveTo>
                <a:cubicBezTo>
                  <a:pt x="7906600" y="1459958"/>
                  <a:pt x="7931310" y="1484668"/>
                  <a:pt x="7931310" y="1515149"/>
                </a:cubicBezTo>
                <a:cubicBezTo>
                  <a:pt x="7931310" y="1545630"/>
                  <a:pt x="7906600" y="1570340"/>
                  <a:pt x="7876118" y="1570340"/>
                </a:cubicBezTo>
                <a:cubicBezTo>
                  <a:pt x="7845636" y="1570340"/>
                  <a:pt x="7820926" y="1545630"/>
                  <a:pt x="7820926" y="1515149"/>
                </a:cubicBezTo>
                <a:cubicBezTo>
                  <a:pt x="7820926" y="1484668"/>
                  <a:pt x="7845636" y="1459958"/>
                  <a:pt x="7876118" y="1459958"/>
                </a:cubicBezTo>
                <a:close/>
                <a:moveTo>
                  <a:pt x="7745823" y="1459958"/>
                </a:moveTo>
                <a:cubicBezTo>
                  <a:pt x="7776305" y="1459958"/>
                  <a:pt x="7801015" y="1484668"/>
                  <a:pt x="7801015" y="1515149"/>
                </a:cubicBezTo>
                <a:cubicBezTo>
                  <a:pt x="7801015" y="1545630"/>
                  <a:pt x="7776305" y="1570340"/>
                  <a:pt x="7745823" y="1570340"/>
                </a:cubicBezTo>
                <a:cubicBezTo>
                  <a:pt x="7715341" y="1570340"/>
                  <a:pt x="7690631" y="1545630"/>
                  <a:pt x="7690631" y="1515149"/>
                </a:cubicBezTo>
                <a:cubicBezTo>
                  <a:pt x="7690631" y="1484668"/>
                  <a:pt x="7715341" y="1459958"/>
                  <a:pt x="7745823" y="1459958"/>
                </a:cubicBezTo>
                <a:close/>
                <a:moveTo>
                  <a:pt x="7608849" y="1459958"/>
                </a:moveTo>
                <a:cubicBezTo>
                  <a:pt x="7639331" y="1459958"/>
                  <a:pt x="7664041" y="1484668"/>
                  <a:pt x="7664041" y="1515149"/>
                </a:cubicBezTo>
                <a:cubicBezTo>
                  <a:pt x="7664041" y="1545630"/>
                  <a:pt x="7639331" y="1570340"/>
                  <a:pt x="7608849" y="1570340"/>
                </a:cubicBezTo>
                <a:cubicBezTo>
                  <a:pt x="7578367" y="1570340"/>
                  <a:pt x="7553657" y="1545630"/>
                  <a:pt x="7553657" y="1515149"/>
                </a:cubicBezTo>
                <a:cubicBezTo>
                  <a:pt x="7553657" y="1484668"/>
                  <a:pt x="7578367" y="1459958"/>
                  <a:pt x="7608849" y="1459958"/>
                </a:cubicBezTo>
                <a:close/>
                <a:moveTo>
                  <a:pt x="7481897" y="1459958"/>
                </a:moveTo>
                <a:cubicBezTo>
                  <a:pt x="7512379" y="1459958"/>
                  <a:pt x="7537089" y="1484668"/>
                  <a:pt x="7537089" y="1515149"/>
                </a:cubicBezTo>
                <a:cubicBezTo>
                  <a:pt x="7537089" y="1545630"/>
                  <a:pt x="7512379" y="1570340"/>
                  <a:pt x="7481897" y="1570340"/>
                </a:cubicBezTo>
                <a:cubicBezTo>
                  <a:pt x="7451415" y="1570340"/>
                  <a:pt x="7426705" y="1545630"/>
                  <a:pt x="7426705" y="1515149"/>
                </a:cubicBezTo>
                <a:cubicBezTo>
                  <a:pt x="7426705" y="1484668"/>
                  <a:pt x="7451415" y="1459958"/>
                  <a:pt x="7481897" y="1459958"/>
                </a:cubicBezTo>
                <a:close/>
                <a:moveTo>
                  <a:pt x="7341579" y="1459958"/>
                </a:moveTo>
                <a:cubicBezTo>
                  <a:pt x="7372061" y="1459958"/>
                  <a:pt x="7396771" y="1484668"/>
                  <a:pt x="7396771" y="1515149"/>
                </a:cubicBezTo>
                <a:cubicBezTo>
                  <a:pt x="7396771" y="1545630"/>
                  <a:pt x="7372061" y="1570340"/>
                  <a:pt x="7341579" y="1570340"/>
                </a:cubicBezTo>
                <a:cubicBezTo>
                  <a:pt x="7311097" y="1570340"/>
                  <a:pt x="7286387" y="1545630"/>
                  <a:pt x="7286387" y="1515149"/>
                </a:cubicBezTo>
                <a:cubicBezTo>
                  <a:pt x="7286387" y="1484668"/>
                  <a:pt x="7311097" y="1459958"/>
                  <a:pt x="7341579" y="1459958"/>
                </a:cubicBezTo>
                <a:close/>
                <a:moveTo>
                  <a:pt x="7211286" y="1459958"/>
                </a:moveTo>
                <a:cubicBezTo>
                  <a:pt x="7241768" y="1459958"/>
                  <a:pt x="7266478" y="1484668"/>
                  <a:pt x="7266478" y="1515149"/>
                </a:cubicBezTo>
                <a:cubicBezTo>
                  <a:pt x="7266478" y="1545630"/>
                  <a:pt x="7241768" y="1570340"/>
                  <a:pt x="7211286" y="1570340"/>
                </a:cubicBezTo>
                <a:cubicBezTo>
                  <a:pt x="7180804" y="1570340"/>
                  <a:pt x="7156094" y="1545630"/>
                  <a:pt x="7156094" y="1515149"/>
                </a:cubicBezTo>
                <a:cubicBezTo>
                  <a:pt x="7156094" y="1484668"/>
                  <a:pt x="7180804" y="1459958"/>
                  <a:pt x="7211286" y="1459958"/>
                </a:cubicBezTo>
                <a:close/>
                <a:moveTo>
                  <a:pt x="7080993" y="1459958"/>
                </a:moveTo>
                <a:cubicBezTo>
                  <a:pt x="7111475" y="1459958"/>
                  <a:pt x="7136185" y="1484668"/>
                  <a:pt x="7136185" y="1515149"/>
                </a:cubicBezTo>
                <a:cubicBezTo>
                  <a:pt x="7136185" y="1545630"/>
                  <a:pt x="7111475" y="1570340"/>
                  <a:pt x="7080993" y="1570340"/>
                </a:cubicBezTo>
                <a:cubicBezTo>
                  <a:pt x="7050511" y="1570340"/>
                  <a:pt x="7025801" y="1545630"/>
                  <a:pt x="7025801" y="1515149"/>
                </a:cubicBezTo>
                <a:cubicBezTo>
                  <a:pt x="7025801" y="1484668"/>
                  <a:pt x="7050511" y="1459958"/>
                  <a:pt x="7080993" y="1459958"/>
                </a:cubicBezTo>
                <a:close/>
                <a:moveTo>
                  <a:pt x="6947357" y="1459958"/>
                </a:moveTo>
                <a:cubicBezTo>
                  <a:pt x="6977839" y="1459958"/>
                  <a:pt x="7002549" y="1484668"/>
                  <a:pt x="7002549" y="1515149"/>
                </a:cubicBezTo>
                <a:cubicBezTo>
                  <a:pt x="7002549" y="1545630"/>
                  <a:pt x="6977839" y="1570340"/>
                  <a:pt x="6947357" y="1570340"/>
                </a:cubicBezTo>
                <a:cubicBezTo>
                  <a:pt x="6916875" y="1570340"/>
                  <a:pt x="6892165" y="1545630"/>
                  <a:pt x="6892165" y="1515149"/>
                </a:cubicBezTo>
                <a:cubicBezTo>
                  <a:pt x="6892165" y="1484668"/>
                  <a:pt x="6916875" y="1459958"/>
                  <a:pt x="6947357" y="1459958"/>
                </a:cubicBezTo>
                <a:close/>
                <a:moveTo>
                  <a:pt x="6817064" y="1459958"/>
                </a:moveTo>
                <a:cubicBezTo>
                  <a:pt x="6847546" y="1459958"/>
                  <a:pt x="6872256" y="1484668"/>
                  <a:pt x="6872256" y="1515149"/>
                </a:cubicBezTo>
                <a:cubicBezTo>
                  <a:pt x="6872256" y="1545630"/>
                  <a:pt x="6847546" y="1570340"/>
                  <a:pt x="6817064" y="1570340"/>
                </a:cubicBezTo>
                <a:cubicBezTo>
                  <a:pt x="6786582" y="1570340"/>
                  <a:pt x="6761872" y="1545630"/>
                  <a:pt x="6761872" y="1515149"/>
                </a:cubicBezTo>
                <a:cubicBezTo>
                  <a:pt x="6761872" y="1484668"/>
                  <a:pt x="6786582" y="1459958"/>
                  <a:pt x="6817064" y="1459958"/>
                </a:cubicBezTo>
                <a:close/>
                <a:moveTo>
                  <a:pt x="6683431" y="1459958"/>
                </a:moveTo>
                <a:cubicBezTo>
                  <a:pt x="6713913" y="1459958"/>
                  <a:pt x="6738623" y="1484668"/>
                  <a:pt x="6738623" y="1515149"/>
                </a:cubicBezTo>
                <a:cubicBezTo>
                  <a:pt x="6738623" y="1545630"/>
                  <a:pt x="6713913" y="1570340"/>
                  <a:pt x="6683431" y="1570340"/>
                </a:cubicBezTo>
                <a:cubicBezTo>
                  <a:pt x="6652949" y="1570340"/>
                  <a:pt x="6628239" y="1545630"/>
                  <a:pt x="6628239" y="1515149"/>
                </a:cubicBezTo>
                <a:cubicBezTo>
                  <a:pt x="6628239" y="1484668"/>
                  <a:pt x="6652949" y="1459958"/>
                  <a:pt x="6683431" y="1459958"/>
                </a:cubicBezTo>
                <a:close/>
                <a:moveTo>
                  <a:pt x="6553137" y="1459958"/>
                </a:moveTo>
                <a:cubicBezTo>
                  <a:pt x="6583619" y="1459958"/>
                  <a:pt x="6608329" y="1484668"/>
                  <a:pt x="6608329" y="1515149"/>
                </a:cubicBezTo>
                <a:cubicBezTo>
                  <a:pt x="6608329" y="1545630"/>
                  <a:pt x="6583619" y="1570340"/>
                  <a:pt x="6553137" y="1570340"/>
                </a:cubicBezTo>
                <a:cubicBezTo>
                  <a:pt x="6522655" y="1570340"/>
                  <a:pt x="6497945" y="1545630"/>
                  <a:pt x="6497945" y="1515149"/>
                </a:cubicBezTo>
                <a:cubicBezTo>
                  <a:pt x="6497945" y="1484668"/>
                  <a:pt x="6522655" y="1459958"/>
                  <a:pt x="6553137" y="1459958"/>
                </a:cubicBezTo>
                <a:close/>
                <a:moveTo>
                  <a:pt x="6419502" y="1459958"/>
                </a:moveTo>
                <a:cubicBezTo>
                  <a:pt x="6449984" y="1459958"/>
                  <a:pt x="6474694" y="1484668"/>
                  <a:pt x="6474694" y="1515149"/>
                </a:cubicBezTo>
                <a:cubicBezTo>
                  <a:pt x="6474694" y="1545630"/>
                  <a:pt x="6449984" y="1570340"/>
                  <a:pt x="6419502" y="1570340"/>
                </a:cubicBezTo>
                <a:cubicBezTo>
                  <a:pt x="6389020" y="1570340"/>
                  <a:pt x="6364310" y="1545630"/>
                  <a:pt x="6364310" y="1515149"/>
                </a:cubicBezTo>
                <a:cubicBezTo>
                  <a:pt x="6364310" y="1484668"/>
                  <a:pt x="6389020" y="1459958"/>
                  <a:pt x="6419502" y="1459958"/>
                </a:cubicBezTo>
                <a:close/>
                <a:moveTo>
                  <a:pt x="6289207" y="1459958"/>
                </a:moveTo>
                <a:cubicBezTo>
                  <a:pt x="6319689" y="1459958"/>
                  <a:pt x="6344399" y="1484668"/>
                  <a:pt x="6344399" y="1515149"/>
                </a:cubicBezTo>
                <a:cubicBezTo>
                  <a:pt x="6344399" y="1545630"/>
                  <a:pt x="6319689" y="1570340"/>
                  <a:pt x="6289207" y="1570340"/>
                </a:cubicBezTo>
                <a:cubicBezTo>
                  <a:pt x="6258725" y="1570340"/>
                  <a:pt x="6234015" y="1545630"/>
                  <a:pt x="6234015" y="1515149"/>
                </a:cubicBezTo>
                <a:cubicBezTo>
                  <a:pt x="6234015" y="1484668"/>
                  <a:pt x="6258725" y="1459958"/>
                  <a:pt x="6289207" y="1459958"/>
                </a:cubicBezTo>
                <a:close/>
                <a:moveTo>
                  <a:pt x="6155573" y="1459958"/>
                </a:moveTo>
                <a:cubicBezTo>
                  <a:pt x="6186055" y="1459958"/>
                  <a:pt x="6210765" y="1484668"/>
                  <a:pt x="6210765" y="1515149"/>
                </a:cubicBezTo>
                <a:cubicBezTo>
                  <a:pt x="6210765" y="1545630"/>
                  <a:pt x="6186055" y="1570340"/>
                  <a:pt x="6155573" y="1570340"/>
                </a:cubicBezTo>
                <a:cubicBezTo>
                  <a:pt x="6125091" y="1570340"/>
                  <a:pt x="6100381" y="1545630"/>
                  <a:pt x="6100381" y="1515149"/>
                </a:cubicBezTo>
                <a:cubicBezTo>
                  <a:pt x="6100381" y="1484668"/>
                  <a:pt x="6125091" y="1459958"/>
                  <a:pt x="6155573" y="1459958"/>
                </a:cubicBezTo>
                <a:close/>
                <a:moveTo>
                  <a:pt x="6021939" y="1459958"/>
                </a:moveTo>
                <a:cubicBezTo>
                  <a:pt x="6052421" y="1459958"/>
                  <a:pt x="6077131" y="1484668"/>
                  <a:pt x="6077131" y="1515149"/>
                </a:cubicBezTo>
                <a:cubicBezTo>
                  <a:pt x="6077131" y="1545630"/>
                  <a:pt x="6052421" y="1570340"/>
                  <a:pt x="6021939" y="1570340"/>
                </a:cubicBezTo>
                <a:cubicBezTo>
                  <a:pt x="5991457" y="1570340"/>
                  <a:pt x="5966747" y="1545630"/>
                  <a:pt x="5966747" y="1515149"/>
                </a:cubicBezTo>
                <a:cubicBezTo>
                  <a:pt x="5966747" y="1484668"/>
                  <a:pt x="5991457" y="1459958"/>
                  <a:pt x="6021939" y="1459958"/>
                </a:cubicBezTo>
                <a:close/>
                <a:moveTo>
                  <a:pt x="5884964" y="1459958"/>
                </a:moveTo>
                <a:cubicBezTo>
                  <a:pt x="5915446" y="1459958"/>
                  <a:pt x="5940156" y="1484668"/>
                  <a:pt x="5940156" y="1515149"/>
                </a:cubicBezTo>
                <a:cubicBezTo>
                  <a:pt x="5940156" y="1545630"/>
                  <a:pt x="5915446" y="1570340"/>
                  <a:pt x="5884964" y="1570340"/>
                </a:cubicBezTo>
                <a:cubicBezTo>
                  <a:pt x="5854482" y="1570340"/>
                  <a:pt x="5829772" y="1545630"/>
                  <a:pt x="5829772" y="1515149"/>
                </a:cubicBezTo>
                <a:cubicBezTo>
                  <a:pt x="5829772" y="1484668"/>
                  <a:pt x="5854482" y="1459958"/>
                  <a:pt x="5884964" y="1459958"/>
                </a:cubicBezTo>
                <a:close/>
                <a:moveTo>
                  <a:pt x="5754668" y="1459958"/>
                </a:moveTo>
                <a:cubicBezTo>
                  <a:pt x="5785150" y="1459958"/>
                  <a:pt x="5809860" y="1484668"/>
                  <a:pt x="5809860" y="1515149"/>
                </a:cubicBezTo>
                <a:cubicBezTo>
                  <a:pt x="5809860" y="1545630"/>
                  <a:pt x="5785150" y="1570340"/>
                  <a:pt x="5754668" y="1570340"/>
                </a:cubicBezTo>
                <a:cubicBezTo>
                  <a:pt x="5724186" y="1570340"/>
                  <a:pt x="5699476" y="1545630"/>
                  <a:pt x="5699476" y="1515149"/>
                </a:cubicBezTo>
                <a:cubicBezTo>
                  <a:pt x="5699476" y="1484668"/>
                  <a:pt x="5724186" y="1459958"/>
                  <a:pt x="5754668" y="1459958"/>
                </a:cubicBezTo>
                <a:close/>
                <a:moveTo>
                  <a:pt x="5621034" y="1459958"/>
                </a:moveTo>
                <a:cubicBezTo>
                  <a:pt x="5651516" y="1459958"/>
                  <a:pt x="5676226" y="1484668"/>
                  <a:pt x="5676226" y="1515149"/>
                </a:cubicBezTo>
                <a:cubicBezTo>
                  <a:pt x="5676226" y="1545630"/>
                  <a:pt x="5651516" y="1570340"/>
                  <a:pt x="5621034" y="1570340"/>
                </a:cubicBezTo>
                <a:cubicBezTo>
                  <a:pt x="5590552" y="1570340"/>
                  <a:pt x="5565842" y="1545630"/>
                  <a:pt x="5565842" y="1515149"/>
                </a:cubicBezTo>
                <a:cubicBezTo>
                  <a:pt x="5565842" y="1484668"/>
                  <a:pt x="5590552" y="1459958"/>
                  <a:pt x="5621034" y="1459958"/>
                </a:cubicBezTo>
                <a:close/>
                <a:moveTo>
                  <a:pt x="5487399" y="1459958"/>
                </a:moveTo>
                <a:cubicBezTo>
                  <a:pt x="5517881" y="1459958"/>
                  <a:pt x="5542591" y="1484668"/>
                  <a:pt x="5542591" y="1515149"/>
                </a:cubicBezTo>
                <a:cubicBezTo>
                  <a:pt x="5542591" y="1545630"/>
                  <a:pt x="5517881" y="1570340"/>
                  <a:pt x="5487399" y="1570340"/>
                </a:cubicBezTo>
                <a:cubicBezTo>
                  <a:pt x="5456917" y="1570340"/>
                  <a:pt x="5432207" y="1545630"/>
                  <a:pt x="5432207" y="1515149"/>
                </a:cubicBezTo>
                <a:cubicBezTo>
                  <a:pt x="5432207" y="1484668"/>
                  <a:pt x="5456917" y="1459958"/>
                  <a:pt x="5487399" y="1459958"/>
                </a:cubicBezTo>
                <a:close/>
                <a:moveTo>
                  <a:pt x="5357106" y="1459958"/>
                </a:moveTo>
                <a:cubicBezTo>
                  <a:pt x="5387588" y="1459958"/>
                  <a:pt x="5412298" y="1484668"/>
                  <a:pt x="5412298" y="1515149"/>
                </a:cubicBezTo>
                <a:cubicBezTo>
                  <a:pt x="5412298" y="1545630"/>
                  <a:pt x="5387588" y="1570340"/>
                  <a:pt x="5357106" y="1570340"/>
                </a:cubicBezTo>
                <a:cubicBezTo>
                  <a:pt x="5326624" y="1570340"/>
                  <a:pt x="5301914" y="1545630"/>
                  <a:pt x="5301914" y="1515149"/>
                </a:cubicBezTo>
                <a:cubicBezTo>
                  <a:pt x="5301914" y="1484668"/>
                  <a:pt x="5326624" y="1459958"/>
                  <a:pt x="5357106" y="1459958"/>
                </a:cubicBezTo>
                <a:close/>
                <a:moveTo>
                  <a:pt x="5223473" y="1459958"/>
                </a:moveTo>
                <a:cubicBezTo>
                  <a:pt x="5253955" y="1459958"/>
                  <a:pt x="5278665" y="1484668"/>
                  <a:pt x="5278665" y="1515149"/>
                </a:cubicBezTo>
                <a:cubicBezTo>
                  <a:pt x="5278665" y="1545630"/>
                  <a:pt x="5253955" y="1570340"/>
                  <a:pt x="5223473" y="1570340"/>
                </a:cubicBezTo>
                <a:cubicBezTo>
                  <a:pt x="5192991" y="1570340"/>
                  <a:pt x="5168281" y="1545630"/>
                  <a:pt x="5168281" y="1515149"/>
                </a:cubicBezTo>
                <a:cubicBezTo>
                  <a:pt x="5168281" y="1484668"/>
                  <a:pt x="5192991" y="1459958"/>
                  <a:pt x="5223473" y="1459958"/>
                </a:cubicBezTo>
                <a:close/>
                <a:moveTo>
                  <a:pt x="5093178" y="1459958"/>
                </a:moveTo>
                <a:cubicBezTo>
                  <a:pt x="5123660" y="1459958"/>
                  <a:pt x="5148370" y="1484668"/>
                  <a:pt x="5148370" y="1515149"/>
                </a:cubicBezTo>
                <a:cubicBezTo>
                  <a:pt x="5148370" y="1545630"/>
                  <a:pt x="5123660" y="1570340"/>
                  <a:pt x="5093178" y="1570340"/>
                </a:cubicBezTo>
                <a:cubicBezTo>
                  <a:pt x="5062696" y="1570340"/>
                  <a:pt x="5037986" y="1545630"/>
                  <a:pt x="5037986" y="1515149"/>
                </a:cubicBezTo>
                <a:cubicBezTo>
                  <a:pt x="5037986" y="1484668"/>
                  <a:pt x="5062696" y="1459958"/>
                  <a:pt x="5093178" y="1459958"/>
                </a:cubicBezTo>
                <a:close/>
                <a:moveTo>
                  <a:pt x="4959542" y="1459958"/>
                </a:moveTo>
                <a:cubicBezTo>
                  <a:pt x="4990024" y="1459958"/>
                  <a:pt x="5014734" y="1484668"/>
                  <a:pt x="5014734" y="1515149"/>
                </a:cubicBezTo>
                <a:cubicBezTo>
                  <a:pt x="5014734" y="1545630"/>
                  <a:pt x="4990024" y="1570340"/>
                  <a:pt x="4959542" y="1570340"/>
                </a:cubicBezTo>
                <a:cubicBezTo>
                  <a:pt x="4929060" y="1570340"/>
                  <a:pt x="4904350" y="1545630"/>
                  <a:pt x="4904350" y="1515149"/>
                </a:cubicBezTo>
                <a:cubicBezTo>
                  <a:pt x="4904350" y="1484668"/>
                  <a:pt x="4929060" y="1459958"/>
                  <a:pt x="4959542" y="1459958"/>
                </a:cubicBezTo>
                <a:close/>
                <a:moveTo>
                  <a:pt x="4829250" y="1459958"/>
                </a:moveTo>
                <a:cubicBezTo>
                  <a:pt x="4859732" y="1459958"/>
                  <a:pt x="4884442" y="1484668"/>
                  <a:pt x="4884442" y="1515149"/>
                </a:cubicBezTo>
                <a:cubicBezTo>
                  <a:pt x="4884442" y="1545630"/>
                  <a:pt x="4859732" y="1570340"/>
                  <a:pt x="4829250" y="1570340"/>
                </a:cubicBezTo>
                <a:cubicBezTo>
                  <a:pt x="4798768" y="1570340"/>
                  <a:pt x="4774058" y="1545630"/>
                  <a:pt x="4774058" y="1515149"/>
                </a:cubicBezTo>
                <a:cubicBezTo>
                  <a:pt x="4774058" y="1484668"/>
                  <a:pt x="4798768" y="1459958"/>
                  <a:pt x="4829250" y="1459958"/>
                </a:cubicBezTo>
                <a:close/>
                <a:moveTo>
                  <a:pt x="4695614" y="1459958"/>
                </a:moveTo>
                <a:cubicBezTo>
                  <a:pt x="4726096" y="1459958"/>
                  <a:pt x="4750806" y="1484668"/>
                  <a:pt x="4750806" y="1515149"/>
                </a:cubicBezTo>
                <a:cubicBezTo>
                  <a:pt x="4750806" y="1545630"/>
                  <a:pt x="4726096" y="1570340"/>
                  <a:pt x="4695614" y="1570340"/>
                </a:cubicBezTo>
                <a:cubicBezTo>
                  <a:pt x="4665132" y="1570340"/>
                  <a:pt x="4640422" y="1545630"/>
                  <a:pt x="4640422" y="1515149"/>
                </a:cubicBezTo>
                <a:cubicBezTo>
                  <a:pt x="4640422" y="1484668"/>
                  <a:pt x="4665132" y="1459958"/>
                  <a:pt x="4695614" y="1459958"/>
                </a:cubicBezTo>
                <a:close/>
                <a:moveTo>
                  <a:pt x="4565322" y="1459958"/>
                </a:moveTo>
                <a:cubicBezTo>
                  <a:pt x="4595804" y="1459958"/>
                  <a:pt x="4620514" y="1484668"/>
                  <a:pt x="4620514" y="1515149"/>
                </a:cubicBezTo>
                <a:cubicBezTo>
                  <a:pt x="4620514" y="1545630"/>
                  <a:pt x="4595804" y="1570340"/>
                  <a:pt x="4565322" y="1570340"/>
                </a:cubicBezTo>
                <a:cubicBezTo>
                  <a:pt x="4534840" y="1570340"/>
                  <a:pt x="4510130" y="1545630"/>
                  <a:pt x="4510130" y="1515149"/>
                </a:cubicBezTo>
                <a:cubicBezTo>
                  <a:pt x="4510130" y="1484668"/>
                  <a:pt x="4534840" y="1459958"/>
                  <a:pt x="4565322" y="1459958"/>
                </a:cubicBezTo>
                <a:close/>
                <a:moveTo>
                  <a:pt x="4431687" y="1459958"/>
                </a:moveTo>
                <a:cubicBezTo>
                  <a:pt x="4462169" y="1459958"/>
                  <a:pt x="4486879" y="1484668"/>
                  <a:pt x="4486879" y="1515149"/>
                </a:cubicBezTo>
                <a:cubicBezTo>
                  <a:pt x="4486879" y="1545630"/>
                  <a:pt x="4462169" y="1570340"/>
                  <a:pt x="4431687" y="1570340"/>
                </a:cubicBezTo>
                <a:cubicBezTo>
                  <a:pt x="4401205" y="1570340"/>
                  <a:pt x="4376495" y="1545630"/>
                  <a:pt x="4376495" y="1515149"/>
                </a:cubicBezTo>
                <a:cubicBezTo>
                  <a:pt x="4376495" y="1484668"/>
                  <a:pt x="4401205" y="1459958"/>
                  <a:pt x="4431687" y="1459958"/>
                </a:cubicBezTo>
                <a:close/>
                <a:moveTo>
                  <a:pt x="3098681" y="1459958"/>
                </a:moveTo>
                <a:cubicBezTo>
                  <a:pt x="3129163" y="1459958"/>
                  <a:pt x="3153873" y="1484668"/>
                  <a:pt x="3153873" y="1515149"/>
                </a:cubicBezTo>
                <a:cubicBezTo>
                  <a:pt x="3153873" y="1545630"/>
                  <a:pt x="3129163" y="1570340"/>
                  <a:pt x="3098681" y="1570340"/>
                </a:cubicBezTo>
                <a:cubicBezTo>
                  <a:pt x="3068199" y="1570340"/>
                  <a:pt x="3043489" y="1545630"/>
                  <a:pt x="3043489" y="1515149"/>
                </a:cubicBezTo>
                <a:cubicBezTo>
                  <a:pt x="3043489" y="1484668"/>
                  <a:pt x="3068199" y="1459958"/>
                  <a:pt x="3098681" y="1459958"/>
                </a:cubicBezTo>
                <a:close/>
                <a:moveTo>
                  <a:pt x="2971729" y="1459958"/>
                </a:moveTo>
                <a:cubicBezTo>
                  <a:pt x="3002211" y="1459958"/>
                  <a:pt x="3026921" y="1484668"/>
                  <a:pt x="3026921" y="1515149"/>
                </a:cubicBezTo>
                <a:cubicBezTo>
                  <a:pt x="3026921" y="1545630"/>
                  <a:pt x="3002211" y="1570340"/>
                  <a:pt x="2971729" y="1570340"/>
                </a:cubicBezTo>
                <a:cubicBezTo>
                  <a:pt x="2941247" y="1570340"/>
                  <a:pt x="2916537" y="1545630"/>
                  <a:pt x="2916537" y="1515149"/>
                </a:cubicBezTo>
                <a:cubicBezTo>
                  <a:pt x="2916537" y="1484668"/>
                  <a:pt x="2941247" y="1459958"/>
                  <a:pt x="2971729" y="1459958"/>
                </a:cubicBezTo>
                <a:close/>
                <a:moveTo>
                  <a:pt x="2834792" y="1459958"/>
                </a:moveTo>
                <a:cubicBezTo>
                  <a:pt x="2865274" y="1459958"/>
                  <a:pt x="2889984" y="1484668"/>
                  <a:pt x="2889984" y="1515149"/>
                </a:cubicBezTo>
                <a:cubicBezTo>
                  <a:pt x="2889984" y="1545630"/>
                  <a:pt x="2865274" y="1570340"/>
                  <a:pt x="2834792" y="1570340"/>
                </a:cubicBezTo>
                <a:cubicBezTo>
                  <a:pt x="2804310" y="1570340"/>
                  <a:pt x="2779600" y="1545630"/>
                  <a:pt x="2779600" y="1515149"/>
                </a:cubicBezTo>
                <a:cubicBezTo>
                  <a:pt x="2779600" y="1484668"/>
                  <a:pt x="2804310" y="1459958"/>
                  <a:pt x="2834792" y="1459958"/>
                </a:cubicBezTo>
                <a:close/>
                <a:moveTo>
                  <a:pt x="2707839" y="1459958"/>
                </a:moveTo>
                <a:cubicBezTo>
                  <a:pt x="2738320" y="1459958"/>
                  <a:pt x="2763031" y="1484668"/>
                  <a:pt x="2763031" y="1515149"/>
                </a:cubicBezTo>
                <a:cubicBezTo>
                  <a:pt x="2763031" y="1545630"/>
                  <a:pt x="2738320" y="1570340"/>
                  <a:pt x="2707839" y="1570340"/>
                </a:cubicBezTo>
                <a:cubicBezTo>
                  <a:pt x="2677357" y="1570340"/>
                  <a:pt x="2652646" y="1545630"/>
                  <a:pt x="2652646" y="1515149"/>
                </a:cubicBezTo>
                <a:cubicBezTo>
                  <a:pt x="2652646" y="1484668"/>
                  <a:pt x="2677357" y="1459958"/>
                  <a:pt x="2707839" y="1459958"/>
                </a:cubicBezTo>
                <a:close/>
                <a:moveTo>
                  <a:pt x="2570864" y="1459958"/>
                </a:moveTo>
                <a:cubicBezTo>
                  <a:pt x="2601346" y="1459958"/>
                  <a:pt x="2626056" y="1484668"/>
                  <a:pt x="2626056" y="1515149"/>
                </a:cubicBezTo>
                <a:cubicBezTo>
                  <a:pt x="2626056" y="1545630"/>
                  <a:pt x="2601346" y="1570340"/>
                  <a:pt x="2570864" y="1570340"/>
                </a:cubicBezTo>
                <a:cubicBezTo>
                  <a:pt x="2540381" y="1570340"/>
                  <a:pt x="2515671" y="1545630"/>
                  <a:pt x="2515671" y="1515149"/>
                </a:cubicBezTo>
                <a:cubicBezTo>
                  <a:pt x="2515671" y="1484668"/>
                  <a:pt x="2540381" y="1459958"/>
                  <a:pt x="2570864" y="1459958"/>
                </a:cubicBezTo>
                <a:close/>
                <a:moveTo>
                  <a:pt x="2437228" y="1459958"/>
                </a:moveTo>
                <a:cubicBezTo>
                  <a:pt x="2467711" y="1459958"/>
                  <a:pt x="2492419" y="1484668"/>
                  <a:pt x="2492419" y="1515149"/>
                </a:cubicBezTo>
                <a:cubicBezTo>
                  <a:pt x="2492419" y="1545630"/>
                  <a:pt x="2467711" y="1570340"/>
                  <a:pt x="2437228" y="1570340"/>
                </a:cubicBezTo>
                <a:cubicBezTo>
                  <a:pt x="2406748" y="1570340"/>
                  <a:pt x="2382037" y="1545630"/>
                  <a:pt x="2382037" y="1515149"/>
                </a:cubicBezTo>
                <a:cubicBezTo>
                  <a:pt x="2382037" y="1484668"/>
                  <a:pt x="2406748" y="1459958"/>
                  <a:pt x="2437228" y="1459958"/>
                </a:cubicBezTo>
                <a:close/>
                <a:moveTo>
                  <a:pt x="2303596" y="1459958"/>
                </a:moveTo>
                <a:cubicBezTo>
                  <a:pt x="2334078" y="1459958"/>
                  <a:pt x="2358787" y="1484668"/>
                  <a:pt x="2358787" y="1515149"/>
                </a:cubicBezTo>
                <a:cubicBezTo>
                  <a:pt x="2358787" y="1545630"/>
                  <a:pt x="2334078" y="1570340"/>
                  <a:pt x="2303596" y="1570340"/>
                </a:cubicBezTo>
                <a:cubicBezTo>
                  <a:pt x="2273113" y="1570340"/>
                  <a:pt x="2248404" y="1545630"/>
                  <a:pt x="2248404" y="1515149"/>
                </a:cubicBezTo>
                <a:cubicBezTo>
                  <a:pt x="2248404" y="1484668"/>
                  <a:pt x="2273113" y="1459958"/>
                  <a:pt x="2303596" y="1459958"/>
                </a:cubicBezTo>
                <a:close/>
                <a:moveTo>
                  <a:pt x="2173305" y="1459958"/>
                </a:moveTo>
                <a:cubicBezTo>
                  <a:pt x="2203787" y="1459958"/>
                  <a:pt x="2228497" y="1484668"/>
                  <a:pt x="2228497" y="1515149"/>
                </a:cubicBezTo>
                <a:cubicBezTo>
                  <a:pt x="2228497" y="1545630"/>
                  <a:pt x="2203787" y="1570340"/>
                  <a:pt x="2173305" y="1570340"/>
                </a:cubicBezTo>
                <a:cubicBezTo>
                  <a:pt x="2142822" y="1570340"/>
                  <a:pt x="2118111" y="1545630"/>
                  <a:pt x="2118111" y="1515149"/>
                </a:cubicBezTo>
                <a:cubicBezTo>
                  <a:pt x="2118111" y="1484668"/>
                  <a:pt x="2142822" y="1459958"/>
                  <a:pt x="2173305" y="1459958"/>
                </a:cubicBezTo>
                <a:close/>
                <a:moveTo>
                  <a:pt x="2039668" y="1459958"/>
                </a:moveTo>
                <a:cubicBezTo>
                  <a:pt x="2070150" y="1459958"/>
                  <a:pt x="2094860" y="1484668"/>
                  <a:pt x="2094860" y="1515149"/>
                </a:cubicBezTo>
                <a:cubicBezTo>
                  <a:pt x="2094860" y="1545630"/>
                  <a:pt x="2070150" y="1570340"/>
                  <a:pt x="2039668" y="1570340"/>
                </a:cubicBezTo>
                <a:cubicBezTo>
                  <a:pt x="2009185" y="1570340"/>
                  <a:pt x="1984475" y="1545630"/>
                  <a:pt x="1984475" y="1515149"/>
                </a:cubicBezTo>
                <a:cubicBezTo>
                  <a:pt x="1984475" y="1484668"/>
                  <a:pt x="2009185" y="1459958"/>
                  <a:pt x="2039668" y="1459958"/>
                </a:cubicBezTo>
                <a:close/>
                <a:moveTo>
                  <a:pt x="1909371" y="1459958"/>
                </a:moveTo>
                <a:cubicBezTo>
                  <a:pt x="1939853" y="1459958"/>
                  <a:pt x="1964564" y="1484668"/>
                  <a:pt x="1964564" y="1515149"/>
                </a:cubicBezTo>
                <a:cubicBezTo>
                  <a:pt x="1964564" y="1545630"/>
                  <a:pt x="1939853" y="1570340"/>
                  <a:pt x="1909371" y="1570340"/>
                </a:cubicBezTo>
                <a:cubicBezTo>
                  <a:pt x="1878889" y="1570340"/>
                  <a:pt x="1854178" y="1545630"/>
                  <a:pt x="1854178" y="1515149"/>
                </a:cubicBezTo>
                <a:cubicBezTo>
                  <a:pt x="1854178" y="1484668"/>
                  <a:pt x="1878889" y="1459958"/>
                  <a:pt x="1909371" y="1459958"/>
                </a:cubicBezTo>
                <a:close/>
                <a:moveTo>
                  <a:pt x="1779076" y="1459958"/>
                </a:moveTo>
                <a:cubicBezTo>
                  <a:pt x="1809559" y="1459958"/>
                  <a:pt x="1834269" y="1484668"/>
                  <a:pt x="1834269" y="1515149"/>
                </a:cubicBezTo>
                <a:cubicBezTo>
                  <a:pt x="1834269" y="1545630"/>
                  <a:pt x="1809559" y="1570340"/>
                  <a:pt x="1779076" y="1570340"/>
                </a:cubicBezTo>
                <a:cubicBezTo>
                  <a:pt x="1748595" y="1570340"/>
                  <a:pt x="1723884" y="1545630"/>
                  <a:pt x="1723884" y="1515149"/>
                </a:cubicBezTo>
                <a:cubicBezTo>
                  <a:pt x="1723884" y="1484668"/>
                  <a:pt x="1748595" y="1459958"/>
                  <a:pt x="1779076" y="1459958"/>
                </a:cubicBezTo>
                <a:close/>
                <a:moveTo>
                  <a:pt x="1645440" y="1459958"/>
                </a:moveTo>
                <a:cubicBezTo>
                  <a:pt x="1675922" y="1459958"/>
                  <a:pt x="1700637" y="1484668"/>
                  <a:pt x="1700637" y="1515149"/>
                </a:cubicBezTo>
                <a:cubicBezTo>
                  <a:pt x="1700637" y="1545630"/>
                  <a:pt x="1675922" y="1570340"/>
                  <a:pt x="1645440" y="1570340"/>
                </a:cubicBezTo>
                <a:cubicBezTo>
                  <a:pt x="1614959" y="1570340"/>
                  <a:pt x="1590248" y="1545630"/>
                  <a:pt x="1590248" y="1515149"/>
                </a:cubicBezTo>
                <a:cubicBezTo>
                  <a:pt x="1590248" y="1484668"/>
                  <a:pt x="1614959" y="1459958"/>
                  <a:pt x="1645440" y="1459958"/>
                </a:cubicBezTo>
                <a:close/>
                <a:moveTo>
                  <a:pt x="1515149" y="1459958"/>
                </a:moveTo>
                <a:cubicBezTo>
                  <a:pt x="1545630" y="1459958"/>
                  <a:pt x="1570338" y="1484668"/>
                  <a:pt x="1570338" y="1515149"/>
                </a:cubicBezTo>
                <a:cubicBezTo>
                  <a:pt x="1570338" y="1545630"/>
                  <a:pt x="1545630" y="1570340"/>
                  <a:pt x="1515149" y="1570340"/>
                </a:cubicBezTo>
                <a:cubicBezTo>
                  <a:pt x="1484666" y="1570340"/>
                  <a:pt x="1459956" y="1545630"/>
                  <a:pt x="1459956" y="1515149"/>
                </a:cubicBezTo>
                <a:cubicBezTo>
                  <a:pt x="1459956" y="1484668"/>
                  <a:pt x="1484666" y="1459958"/>
                  <a:pt x="1515149" y="1459958"/>
                </a:cubicBezTo>
                <a:close/>
                <a:moveTo>
                  <a:pt x="1381511" y="1459958"/>
                </a:moveTo>
                <a:cubicBezTo>
                  <a:pt x="1411994" y="1459958"/>
                  <a:pt x="1436705" y="1484668"/>
                  <a:pt x="1436705" y="1515149"/>
                </a:cubicBezTo>
                <a:cubicBezTo>
                  <a:pt x="1436705" y="1545630"/>
                  <a:pt x="1411994" y="1570340"/>
                  <a:pt x="1381511" y="1570340"/>
                </a:cubicBezTo>
                <a:cubicBezTo>
                  <a:pt x="1351035" y="1570340"/>
                  <a:pt x="1326322" y="1545630"/>
                  <a:pt x="1326322" y="1515149"/>
                </a:cubicBezTo>
                <a:cubicBezTo>
                  <a:pt x="1326322" y="1484668"/>
                  <a:pt x="1351035" y="1459958"/>
                  <a:pt x="1381511" y="1459958"/>
                </a:cubicBezTo>
                <a:close/>
                <a:moveTo>
                  <a:pt x="1251220" y="1459958"/>
                </a:moveTo>
                <a:cubicBezTo>
                  <a:pt x="1281702" y="1459958"/>
                  <a:pt x="1306413" y="1484668"/>
                  <a:pt x="1306413" y="1515149"/>
                </a:cubicBezTo>
                <a:cubicBezTo>
                  <a:pt x="1306413" y="1545630"/>
                  <a:pt x="1281702" y="1570340"/>
                  <a:pt x="1251220" y="1570340"/>
                </a:cubicBezTo>
                <a:cubicBezTo>
                  <a:pt x="1220737" y="1570340"/>
                  <a:pt x="1196028" y="1545630"/>
                  <a:pt x="1196028" y="1515149"/>
                </a:cubicBezTo>
                <a:cubicBezTo>
                  <a:pt x="1196028" y="1484668"/>
                  <a:pt x="1220737" y="1459958"/>
                  <a:pt x="1251220" y="1459958"/>
                </a:cubicBezTo>
                <a:close/>
                <a:moveTo>
                  <a:pt x="1117583" y="1459958"/>
                </a:moveTo>
                <a:cubicBezTo>
                  <a:pt x="1148066" y="1459958"/>
                  <a:pt x="1172776" y="1484668"/>
                  <a:pt x="1172776" y="1515149"/>
                </a:cubicBezTo>
                <a:cubicBezTo>
                  <a:pt x="1172776" y="1545630"/>
                  <a:pt x="1148066" y="1570340"/>
                  <a:pt x="1117583" y="1570340"/>
                </a:cubicBezTo>
                <a:cubicBezTo>
                  <a:pt x="1087101" y="1570340"/>
                  <a:pt x="1062390" y="1545630"/>
                  <a:pt x="1062390" y="1515149"/>
                </a:cubicBezTo>
                <a:cubicBezTo>
                  <a:pt x="1062390" y="1484668"/>
                  <a:pt x="1087101" y="1459958"/>
                  <a:pt x="1117583" y="1459958"/>
                </a:cubicBezTo>
                <a:close/>
                <a:moveTo>
                  <a:pt x="980607" y="1459958"/>
                </a:moveTo>
                <a:cubicBezTo>
                  <a:pt x="1011090" y="1459958"/>
                  <a:pt x="1035800" y="1484668"/>
                  <a:pt x="1035800" y="1515149"/>
                </a:cubicBezTo>
                <a:cubicBezTo>
                  <a:pt x="1035800" y="1545630"/>
                  <a:pt x="1011090" y="1570340"/>
                  <a:pt x="980607" y="1570340"/>
                </a:cubicBezTo>
                <a:cubicBezTo>
                  <a:pt x="950125" y="1570340"/>
                  <a:pt x="925415" y="1545630"/>
                  <a:pt x="925415" y="1515149"/>
                </a:cubicBezTo>
                <a:cubicBezTo>
                  <a:pt x="925415" y="1484668"/>
                  <a:pt x="950125" y="1459958"/>
                  <a:pt x="980607" y="1459958"/>
                </a:cubicBezTo>
                <a:close/>
                <a:moveTo>
                  <a:pt x="7608849" y="1336350"/>
                </a:moveTo>
                <a:cubicBezTo>
                  <a:pt x="7639331" y="1336350"/>
                  <a:pt x="7664041" y="1361060"/>
                  <a:pt x="7664041" y="1391541"/>
                </a:cubicBezTo>
                <a:cubicBezTo>
                  <a:pt x="7664041" y="1422022"/>
                  <a:pt x="7639331" y="1446732"/>
                  <a:pt x="7608849" y="1446732"/>
                </a:cubicBezTo>
                <a:cubicBezTo>
                  <a:pt x="7578367" y="1446732"/>
                  <a:pt x="7553657" y="1422022"/>
                  <a:pt x="7553657" y="1391541"/>
                </a:cubicBezTo>
                <a:cubicBezTo>
                  <a:pt x="7553657" y="1361060"/>
                  <a:pt x="7578367" y="1336350"/>
                  <a:pt x="7608849" y="1336350"/>
                </a:cubicBezTo>
                <a:close/>
                <a:moveTo>
                  <a:pt x="7481897" y="1336350"/>
                </a:moveTo>
                <a:cubicBezTo>
                  <a:pt x="7512379" y="1336350"/>
                  <a:pt x="7537089" y="1361060"/>
                  <a:pt x="7537089" y="1391541"/>
                </a:cubicBezTo>
                <a:cubicBezTo>
                  <a:pt x="7537089" y="1422022"/>
                  <a:pt x="7512379" y="1446732"/>
                  <a:pt x="7481897" y="1446732"/>
                </a:cubicBezTo>
                <a:cubicBezTo>
                  <a:pt x="7451415" y="1446732"/>
                  <a:pt x="7426705" y="1422022"/>
                  <a:pt x="7426705" y="1391541"/>
                </a:cubicBezTo>
                <a:cubicBezTo>
                  <a:pt x="7426705" y="1361060"/>
                  <a:pt x="7451415" y="1336350"/>
                  <a:pt x="7481897" y="1336350"/>
                </a:cubicBezTo>
                <a:close/>
                <a:moveTo>
                  <a:pt x="7341579" y="1336350"/>
                </a:moveTo>
                <a:cubicBezTo>
                  <a:pt x="7372061" y="1336350"/>
                  <a:pt x="7396771" y="1361060"/>
                  <a:pt x="7396771" y="1391541"/>
                </a:cubicBezTo>
                <a:cubicBezTo>
                  <a:pt x="7396771" y="1422022"/>
                  <a:pt x="7372061" y="1446732"/>
                  <a:pt x="7341579" y="1446732"/>
                </a:cubicBezTo>
                <a:cubicBezTo>
                  <a:pt x="7311097" y="1446732"/>
                  <a:pt x="7286387" y="1422022"/>
                  <a:pt x="7286387" y="1391541"/>
                </a:cubicBezTo>
                <a:cubicBezTo>
                  <a:pt x="7286387" y="1361060"/>
                  <a:pt x="7311097" y="1336350"/>
                  <a:pt x="7341579" y="1336350"/>
                </a:cubicBezTo>
                <a:close/>
                <a:moveTo>
                  <a:pt x="7211286" y="1336350"/>
                </a:moveTo>
                <a:cubicBezTo>
                  <a:pt x="7241768" y="1336350"/>
                  <a:pt x="7266478" y="1361060"/>
                  <a:pt x="7266478" y="1391541"/>
                </a:cubicBezTo>
                <a:cubicBezTo>
                  <a:pt x="7266478" y="1422022"/>
                  <a:pt x="7241768" y="1446732"/>
                  <a:pt x="7211286" y="1446732"/>
                </a:cubicBezTo>
                <a:cubicBezTo>
                  <a:pt x="7180804" y="1446732"/>
                  <a:pt x="7156094" y="1422022"/>
                  <a:pt x="7156094" y="1391541"/>
                </a:cubicBezTo>
                <a:cubicBezTo>
                  <a:pt x="7156094" y="1361060"/>
                  <a:pt x="7180804" y="1336350"/>
                  <a:pt x="7211286" y="1336350"/>
                </a:cubicBezTo>
                <a:close/>
                <a:moveTo>
                  <a:pt x="7080993" y="1336350"/>
                </a:moveTo>
                <a:cubicBezTo>
                  <a:pt x="7111475" y="1336350"/>
                  <a:pt x="7136185" y="1361060"/>
                  <a:pt x="7136185" y="1391541"/>
                </a:cubicBezTo>
                <a:cubicBezTo>
                  <a:pt x="7136185" y="1422022"/>
                  <a:pt x="7111475" y="1446732"/>
                  <a:pt x="7080993" y="1446732"/>
                </a:cubicBezTo>
                <a:cubicBezTo>
                  <a:pt x="7050511" y="1446732"/>
                  <a:pt x="7025801" y="1422022"/>
                  <a:pt x="7025801" y="1391541"/>
                </a:cubicBezTo>
                <a:cubicBezTo>
                  <a:pt x="7025801" y="1361060"/>
                  <a:pt x="7050511" y="1336350"/>
                  <a:pt x="7080993" y="1336350"/>
                </a:cubicBezTo>
                <a:close/>
                <a:moveTo>
                  <a:pt x="6947357" y="1336350"/>
                </a:moveTo>
                <a:cubicBezTo>
                  <a:pt x="6977839" y="1336350"/>
                  <a:pt x="7002549" y="1361060"/>
                  <a:pt x="7002549" y="1391541"/>
                </a:cubicBezTo>
                <a:cubicBezTo>
                  <a:pt x="7002549" y="1422022"/>
                  <a:pt x="6977839" y="1446732"/>
                  <a:pt x="6947357" y="1446732"/>
                </a:cubicBezTo>
                <a:cubicBezTo>
                  <a:pt x="6916875" y="1446732"/>
                  <a:pt x="6892165" y="1422022"/>
                  <a:pt x="6892165" y="1391541"/>
                </a:cubicBezTo>
                <a:cubicBezTo>
                  <a:pt x="6892165" y="1361060"/>
                  <a:pt x="6916875" y="1336350"/>
                  <a:pt x="6947357" y="1336350"/>
                </a:cubicBezTo>
                <a:close/>
                <a:moveTo>
                  <a:pt x="6817064" y="1336350"/>
                </a:moveTo>
                <a:cubicBezTo>
                  <a:pt x="6847546" y="1336350"/>
                  <a:pt x="6872256" y="1361060"/>
                  <a:pt x="6872256" y="1391541"/>
                </a:cubicBezTo>
                <a:cubicBezTo>
                  <a:pt x="6872256" y="1422022"/>
                  <a:pt x="6847546" y="1446732"/>
                  <a:pt x="6817064" y="1446732"/>
                </a:cubicBezTo>
                <a:cubicBezTo>
                  <a:pt x="6786582" y="1446732"/>
                  <a:pt x="6761872" y="1422022"/>
                  <a:pt x="6761872" y="1391541"/>
                </a:cubicBezTo>
                <a:cubicBezTo>
                  <a:pt x="6761872" y="1361060"/>
                  <a:pt x="6786582" y="1336350"/>
                  <a:pt x="6817064" y="1336350"/>
                </a:cubicBezTo>
                <a:close/>
                <a:moveTo>
                  <a:pt x="6683431" y="1336350"/>
                </a:moveTo>
                <a:cubicBezTo>
                  <a:pt x="6713913" y="1336350"/>
                  <a:pt x="6738623" y="1361060"/>
                  <a:pt x="6738623" y="1391541"/>
                </a:cubicBezTo>
                <a:cubicBezTo>
                  <a:pt x="6738623" y="1422022"/>
                  <a:pt x="6713913" y="1446732"/>
                  <a:pt x="6683431" y="1446732"/>
                </a:cubicBezTo>
                <a:cubicBezTo>
                  <a:pt x="6652949" y="1446732"/>
                  <a:pt x="6628239" y="1422022"/>
                  <a:pt x="6628239" y="1391541"/>
                </a:cubicBezTo>
                <a:cubicBezTo>
                  <a:pt x="6628239" y="1361060"/>
                  <a:pt x="6652949" y="1336350"/>
                  <a:pt x="6683431" y="1336350"/>
                </a:cubicBezTo>
                <a:close/>
                <a:moveTo>
                  <a:pt x="6553137" y="1336350"/>
                </a:moveTo>
                <a:cubicBezTo>
                  <a:pt x="6583619" y="1336350"/>
                  <a:pt x="6608329" y="1361060"/>
                  <a:pt x="6608329" y="1391541"/>
                </a:cubicBezTo>
                <a:cubicBezTo>
                  <a:pt x="6608329" y="1422022"/>
                  <a:pt x="6583619" y="1446732"/>
                  <a:pt x="6553137" y="1446732"/>
                </a:cubicBezTo>
                <a:cubicBezTo>
                  <a:pt x="6522655" y="1446732"/>
                  <a:pt x="6497945" y="1422022"/>
                  <a:pt x="6497945" y="1391541"/>
                </a:cubicBezTo>
                <a:cubicBezTo>
                  <a:pt x="6497945" y="1361060"/>
                  <a:pt x="6522655" y="1336350"/>
                  <a:pt x="6553137" y="1336350"/>
                </a:cubicBezTo>
                <a:close/>
                <a:moveTo>
                  <a:pt x="6419502" y="1336350"/>
                </a:moveTo>
                <a:cubicBezTo>
                  <a:pt x="6449984" y="1336350"/>
                  <a:pt x="6474694" y="1361060"/>
                  <a:pt x="6474694" y="1391541"/>
                </a:cubicBezTo>
                <a:cubicBezTo>
                  <a:pt x="6474694" y="1422022"/>
                  <a:pt x="6449984" y="1446732"/>
                  <a:pt x="6419502" y="1446732"/>
                </a:cubicBezTo>
                <a:cubicBezTo>
                  <a:pt x="6389020" y="1446732"/>
                  <a:pt x="6364310" y="1422022"/>
                  <a:pt x="6364310" y="1391541"/>
                </a:cubicBezTo>
                <a:cubicBezTo>
                  <a:pt x="6364310" y="1361060"/>
                  <a:pt x="6389020" y="1336350"/>
                  <a:pt x="6419502" y="1336350"/>
                </a:cubicBezTo>
                <a:close/>
                <a:moveTo>
                  <a:pt x="6289207" y="1336350"/>
                </a:moveTo>
                <a:cubicBezTo>
                  <a:pt x="6319689" y="1336350"/>
                  <a:pt x="6344399" y="1361060"/>
                  <a:pt x="6344399" y="1391541"/>
                </a:cubicBezTo>
                <a:cubicBezTo>
                  <a:pt x="6344399" y="1422022"/>
                  <a:pt x="6319689" y="1446732"/>
                  <a:pt x="6289207" y="1446732"/>
                </a:cubicBezTo>
                <a:cubicBezTo>
                  <a:pt x="6258725" y="1446732"/>
                  <a:pt x="6234015" y="1422022"/>
                  <a:pt x="6234015" y="1391541"/>
                </a:cubicBezTo>
                <a:cubicBezTo>
                  <a:pt x="6234015" y="1361060"/>
                  <a:pt x="6258725" y="1336350"/>
                  <a:pt x="6289207" y="1336350"/>
                </a:cubicBezTo>
                <a:close/>
                <a:moveTo>
                  <a:pt x="6155573" y="1336350"/>
                </a:moveTo>
                <a:cubicBezTo>
                  <a:pt x="6186055" y="1336350"/>
                  <a:pt x="6210765" y="1361060"/>
                  <a:pt x="6210765" y="1391541"/>
                </a:cubicBezTo>
                <a:cubicBezTo>
                  <a:pt x="6210765" y="1422022"/>
                  <a:pt x="6186055" y="1446732"/>
                  <a:pt x="6155573" y="1446732"/>
                </a:cubicBezTo>
                <a:cubicBezTo>
                  <a:pt x="6125091" y="1446732"/>
                  <a:pt x="6100381" y="1422022"/>
                  <a:pt x="6100381" y="1391541"/>
                </a:cubicBezTo>
                <a:cubicBezTo>
                  <a:pt x="6100381" y="1361060"/>
                  <a:pt x="6125091" y="1336350"/>
                  <a:pt x="6155573" y="1336350"/>
                </a:cubicBezTo>
                <a:close/>
                <a:moveTo>
                  <a:pt x="6021939" y="1336350"/>
                </a:moveTo>
                <a:cubicBezTo>
                  <a:pt x="6052421" y="1336350"/>
                  <a:pt x="6077131" y="1361060"/>
                  <a:pt x="6077131" y="1391541"/>
                </a:cubicBezTo>
                <a:cubicBezTo>
                  <a:pt x="6077131" y="1422022"/>
                  <a:pt x="6052421" y="1446732"/>
                  <a:pt x="6021939" y="1446732"/>
                </a:cubicBezTo>
                <a:cubicBezTo>
                  <a:pt x="5991457" y="1446732"/>
                  <a:pt x="5966747" y="1422022"/>
                  <a:pt x="5966747" y="1391541"/>
                </a:cubicBezTo>
                <a:cubicBezTo>
                  <a:pt x="5966747" y="1361060"/>
                  <a:pt x="5991457" y="1336350"/>
                  <a:pt x="6021939" y="1336350"/>
                </a:cubicBezTo>
                <a:close/>
                <a:moveTo>
                  <a:pt x="5884964" y="1336350"/>
                </a:moveTo>
                <a:cubicBezTo>
                  <a:pt x="5915446" y="1336350"/>
                  <a:pt x="5940156" y="1361060"/>
                  <a:pt x="5940156" y="1391541"/>
                </a:cubicBezTo>
                <a:cubicBezTo>
                  <a:pt x="5940156" y="1422022"/>
                  <a:pt x="5915446" y="1446732"/>
                  <a:pt x="5884964" y="1446732"/>
                </a:cubicBezTo>
                <a:cubicBezTo>
                  <a:pt x="5854482" y="1446732"/>
                  <a:pt x="5829772" y="1422022"/>
                  <a:pt x="5829772" y="1391541"/>
                </a:cubicBezTo>
                <a:cubicBezTo>
                  <a:pt x="5829772" y="1361060"/>
                  <a:pt x="5854482" y="1336350"/>
                  <a:pt x="5884964" y="1336350"/>
                </a:cubicBezTo>
                <a:close/>
                <a:moveTo>
                  <a:pt x="5754668" y="1336350"/>
                </a:moveTo>
                <a:cubicBezTo>
                  <a:pt x="5785150" y="1336350"/>
                  <a:pt x="5809860" y="1361060"/>
                  <a:pt x="5809860" y="1391541"/>
                </a:cubicBezTo>
                <a:cubicBezTo>
                  <a:pt x="5809860" y="1422022"/>
                  <a:pt x="5785150" y="1446732"/>
                  <a:pt x="5754668" y="1446732"/>
                </a:cubicBezTo>
                <a:cubicBezTo>
                  <a:pt x="5724186" y="1446732"/>
                  <a:pt x="5699476" y="1422022"/>
                  <a:pt x="5699476" y="1391541"/>
                </a:cubicBezTo>
                <a:cubicBezTo>
                  <a:pt x="5699476" y="1361060"/>
                  <a:pt x="5724186" y="1336350"/>
                  <a:pt x="5754668" y="1336350"/>
                </a:cubicBezTo>
                <a:close/>
                <a:moveTo>
                  <a:pt x="5621035" y="1336350"/>
                </a:moveTo>
                <a:cubicBezTo>
                  <a:pt x="5651517" y="1336350"/>
                  <a:pt x="5676227" y="1361060"/>
                  <a:pt x="5676227" y="1391541"/>
                </a:cubicBezTo>
                <a:cubicBezTo>
                  <a:pt x="5676227" y="1422022"/>
                  <a:pt x="5651517" y="1446732"/>
                  <a:pt x="5621035" y="1446732"/>
                </a:cubicBezTo>
                <a:cubicBezTo>
                  <a:pt x="5590553" y="1446732"/>
                  <a:pt x="5565843" y="1422022"/>
                  <a:pt x="5565843" y="1391541"/>
                </a:cubicBezTo>
                <a:cubicBezTo>
                  <a:pt x="5565843" y="1361060"/>
                  <a:pt x="5590553" y="1336350"/>
                  <a:pt x="5621035" y="1336350"/>
                </a:cubicBezTo>
                <a:close/>
                <a:moveTo>
                  <a:pt x="5487399" y="1336350"/>
                </a:moveTo>
                <a:cubicBezTo>
                  <a:pt x="5517881" y="1336350"/>
                  <a:pt x="5542591" y="1361060"/>
                  <a:pt x="5542591" y="1391541"/>
                </a:cubicBezTo>
                <a:cubicBezTo>
                  <a:pt x="5542591" y="1422022"/>
                  <a:pt x="5517881" y="1446732"/>
                  <a:pt x="5487399" y="1446732"/>
                </a:cubicBezTo>
                <a:cubicBezTo>
                  <a:pt x="5456917" y="1446732"/>
                  <a:pt x="5432207" y="1422022"/>
                  <a:pt x="5432207" y="1391541"/>
                </a:cubicBezTo>
                <a:cubicBezTo>
                  <a:pt x="5432207" y="1361060"/>
                  <a:pt x="5456917" y="1336350"/>
                  <a:pt x="5487399" y="1336350"/>
                </a:cubicBezTo>
                <a:close/>
                <a:moveTo>
                  <a:pt x="5357106" y="1336350"/>
                </a:moveTo>
                <a:cubicBezTo>
                  <a:pt x="5387588" y="1336350"/>
                  <a:pt x="5412298" y="1361060"/>
                  <a:pt x="5412298" y="1391541"/>
                </a:cubicBezTo>
                <a:cubicBezTo>
                  <a:pt x="5412298" y="1422022"/>
                  <a:pt x="5387588" y="1446732"/>
                  <a:pt x="5357106" y="1446732"/>
                </a:cubicBezTo>
                <a:cubicBezTo>
                  <a:pt x="5326624" y="1446732"/>
                  <a:pt x="5301914" y="1422022"/>
                  <a:pt x="5301914" y="1391541"/>
                </a:cubicBezTo>
                <a:cubicBezTo>
                  <a:pt x="5301914" y="1361060"/>
                  <a:pt x="5326624" y="1336350"/>
                  <a:pt x="5357106" y="1336350"/>
                </a:cubicBezTo>
                <a:close/>
                <a:moveTo>
                  <a:pt x="4959543" y="1336350"/>
                </a:moveTo>
                <a:cubicBezTo>
                  <a:pt x="4990025" y="1336350"/>
                  <a:pt x="5014735" y="1361060"/>
                  <a:pt x="5014735" y="1391541"/>
                </a:cubicBezTo>
                <a:cubicBezTo>
                  <a:pt x="5014735" y="1422022"/>
                  <a:pt x="4990025" y="1446732"/>
                  <a:pt x="4959543" y="1446732"/>
                </a:cubicBezTo>
                <a:cubicBezTo>
                  <a:pt x="4929061" y="1446732"/>
                  <a:pt x="4904351" y="1422022"/>
                  <a:pt x="4904351" y="1391541"/>
                </a:cubicBezTo>
                <a:cubicBezTo>
                  <a:pt x="4904351" y="1361060"/>
                  <a:pt x="4929061" y="1336350"/>
                  <a:pt x="4959543" y="1336350"/>
                </a:cubicBezTo>
                <a:close/>
                <a:moveTo>
                  <a:pt x="4565322" y="1336350"/>
                </a:moveTo>
                <a:cubicBezTo>
                  <a:pt x="4595804" y="1336350"/>
                  <a:pt x="4620514" y="1361060"/>
                  <a:pt x="4620514" y="1391541"/>
                </a:cubicBezTo>
                <a:cubicBezTo>
                  <a:pt x="4620514" y="1422022"/>
                  <a:pt x="4595804" y="1446732"/>
                  <a:pt x="4565322" y="1446732"/>
                </a:cubicBezTo>
                <a:cubicBezTo>
                  <a:pt x="4534840" y="1446732"/>
                  <a:pt x="4510130" y="1422022"/>
                  <a:pt x="4510130" y="1391541"/>
                </a:cubicBezTo>
                <a:cubicBezTo>
                  <a:pt x="4510130" y="1361060"/>
                  <a:pt x="4534840" y="1336350"/>
                  <a:pt x="4565322" y="1336350"/>
                </a:cubicBezTo>
                <a:close/>
                <a:moveTo>
                  <a:pt x="2971729" y="1336350"/>
                </a:moveTo>
                <a:cubicBezTo>
                  <a:pt x="3002211" y="1336350"/>
                  <a:pt x="3026921" y="1361060"/>
                  <a:pt x="3026921" y="1391541"/>
                </a:cubicBezTo>
                <a:cubicBezTo>
                  <a:pt x="3026921" y="1422022"/>
                  <a:pt x="3002211" y="1446732"/>
                  <a:pt x="2971729" y="1446732"/>
                </a:cubicBezTo>
                <a:cubicBezTo>
                  <a:pt x="2941247" y="1446732"/>
                  <a:pt x="2916537" y="1422022"/>
                  <a:pt x="2916537" y="1391541"/>
                </a:cubicBezTo>
                <a:cubicBezTo>
                  <a:pt x="2916537" y="1361060"/>
                  <a:pt x="2941247" y="1336350"/>
                  <a:pt x="2971729" y="1336350"/>
                </a:cubicBezTo>
                <a:close/>
                <a:moveTo>
                  <a:pt x="2834801" y="1336350"/>
                </a:moveTo>
                <a:cubicBezTo>
                  <a:pt x="2865283" y="1336350"/>
                  <a:pt x="2889994" y="1361060"/>
                  <a:pt x="2889994" y="1391541"/>
                </a:cubicBezTo>
                <a:cubicBezTo>
                  <a:pt x="2889994" y="1422022"/>
                  <a:pt x="2865283" y="1446732"/>
                  <a:pt x="2834801" y="1446732"/>
                </a:cubicBezTo>
                <a:cubicBezTo>
                  <a:pt x="2804320" y="1446732"/>
                  <a:pt x="2779610" y="1422022"/>
                  <a:pt x="2779610" y="1391541"/>
                </a:cubicBezTo>
                <a:cubicBezTo>
                  <a:pt x="2779610" y="1361060"/>
                  <a:pt x="2804320" y="1336350"/>
                  <a:pt x="2834801" y="1336350"/>
                </a:cubicBezTo>
                <a:close/>
                <a:moveTo>
                  <a:pt x="2707848" y="1336350"/>
                </a:moveTo>
                <a:cubicBezTo>
                  <a:pt x="2738330" y="1336350"/>
                  <a:pt x="2763042" y="1361060"/>
                  <a:pt x="2763042" y="1391541"/>
                </a:cubicBezTo>
                <a:cubicBezTo>
                  <a:pt x="2763042" y="1422022"/>
                  <a:pt x="2738330" y="1446732"/>
                  <a:pt x="2707848" y="1446732"/>
                </a:cubicBezTo>
                <a:cubicBezTo>
                  <a:pt x="2677367" y="1446732"/>
                  <a:pt x="2652656" y="1422022"/>
                  <a:pt x="2652656" y="1391541"/>
                </a:cubicBezTo>
                <a:cubicBezTo>
                  <a:pt x="2652656" y="1361060"/>
                  <a:pt x="2677367" y="1336350"/>
                  <a:pt x="2707848" y="1336350"/>
                </a:cubicBezTo>
                <a:close/>
                <a:moveTo>
                  <a:pt x="2570875" y="1336350"/>
                </a:moveTo>
                <a:cubicBezTo>
                  <a:pt x="2601357" y="1336350"/>
                  <a:pt x="2626067" y="1361060"/>
                  <a:pt x="2626067" y="1391541"/>
                </a:cubicBezTo>
                <a:cubicBezTo>
                  <a:pt x="2626067" y="1422022"/>
                  <a:pt x="2601357" y="1446732"/>
                  <a:pt x="2570875" y="1446732"/>
                </a:cubicBezTo>
                <a:cubicBezTo>
                  <a:pt x="2540392" y="1446732"/>
                  <a:pt x="2515683" y="1422022"/>
                  <a:pt x="2515683" y="1391541"/>
                </a:cubicBezTo>
                <a:cubicBezTo>
                  <a:pt x="2515683" y="1361060"/>
                  <a:pt x="2540392" y="1336350"/>
                  <a:pt x="2570875" y="1336350"/>
                </a:cubicBezTo>
                <a:close/>
                <a:moveTo>
                  <a:pt x="2173314" y="1336350"/>
                </a:moveTo>
                <a:cubicBezTo>
                  <a:pt x="2203797" y="1336350"/>
                  <a:pt x="2228507" y="1361060"/>
                  <a:pt x="2228507" y="1391541"/>
                </a:cubicBezTo>
                <a:cubicBezTo>
                  <a:pt x="2228507" y="1422022"/>
                  <a:pt x="2203797" y="1446732"/>
                  <a:pt x="2173314" y="1446732"/>
                </a:cubicBezTo>
                <a:cubicBezTo>
                  <a:pt x="2142832" y="1446732"/>
                  <a:pt x="2118122" y="1422022"/>
                  <a:pt x="2118122" y="1391541"/>
                </a:cubicBezTo>
                <a:cubicBezTo>
                  <a:pt x="2118122" y="1361060"/>
                  <a:pt x="2142832" y="1336350"/>
                  <a:pt x="2173314" y="1336350"/>
                </a:cubicBezTo>
                <a:close/>
                <a:moveTo>
                  <a:pt x="2039678" y="1336350"/>
                </a:moveTo>
                <a:cubicBezTo>
                  <a:pt x="2070160" y="1336350"/>
                  <a:pt x="2094870" y="1361060"/>
                  <a:pt x="2094870" y="1391541"/>
                </a:cubicBezTo>
                <a:cubicBezTo>
                  <a:pt x="2094870" y="1422022"/>
                  <a:pt x="2070160" y="1446732"/>
                  <a:pt x="2039678" y="1446732"/>
                </a:cubicBezTo>
                <a:cubicBezTo>
                  <a:pt x="2009195" y="1446732"/>
                  <a:pt x="1984484" y="1422022"/>
                  <a:pt x="1984484" y="1391541"/>
                </a:cubicBezTo>
                <a:cubicBezTo>
                  <a:pt x="1984484" y="1361060"/>
                  <a:pt x="2009195" y="1336350"/>
                  <a:pt x="2039678" y="1336350"/>
                </a:cubicBezTo>
                <a:close/>
                <a:moveTo>
                  <a:pt x="1909381" y="1336350"/>
                </a:moveTo>
                <a:cubicBezTo>
                  <a:pt x="1939864" y="1336350"/>
                  <a:pt x="1964575" y="1361060"/>
                  <a:pt x="1964575" y="1391541"/>
                </a:cubicBezTo>
                <a:cubicBezTo>
                  <a:pt x="1964575" y="1422022"/>
                  <a:pt x="1939864" y="1446732"/>
                  <a:pt x="1909381" y="1446732"/>
                </a:cubicBezTo>
                <a:cubicBezTo>
                  <a:pt x="1878899" y="1446732"/>
                  <a:pt x="1854188" y="1422022"/>
                  <a:pt x="1854188" y="1391541"/>
                </a:cubicBezTo>
                <a:cubicBezTo>
                  <a:pt x="1854188" y="1361060"/>
                  <a:pt x="1878899" y="1336350"/>
                  <a:pt x="1909381" y="1336350"/>
                </a:cubicBezTo>
                <a:close/>
                <a:moveTo>
                  <a:pt x="1779086" y="1336350"/>
                </a:moveTo>
                <a:cubicBezTo>
                  <a:pt x="1809568" y="1336350"/>
                  <a:pt x="1834278" y="1361060"/>
                  <a:pt x="1834278" y="1391541"/>
                </a:cubicBezTo>
                <a:cubicBezTo>
                  <a:pt x="1834278" y="1422022"/>
                  <a:pt x="1809568" y="1446732"/>
                  <a:pt x="1779086" y="1446732"/>
                </a:cubicBezTo>
                <a:cubicBezTo>
                  <a:pt x="1748603" y="1446732"/>
                  <a:pt x="1723892" y="1422022"/>
                  <a:pt x="1723892" y="1391541"/>
                </a:cubicBezTo>
                <a:cubicBezTo>
                  <a:pt x="1723892" y="1361060"/>
                  <a:pt x="1748603" y="1336350"/>
                  <a:pt x="1779086" y="1336350"/>
                </a:cubicBezTo>
                <a:close/>
                <a:moveTo>
                  <a:pt x="1645448" y="1336350"/>
                </a:moveTo>
                <a:cubicBezTo>
                  <a:pt x="1675933" y="1336350"/>
                  <a:pt x="1700644" y="1361060"/>
                  <a:pt x="1700644" y="1391541"/>
                </a:cubicBezTo>
                <a:cubicBezTo>
                  <a:pt x="1700644" y="1422022"/>
                  <a:pt x="1675933" y="1446732"/>
                  <a:pt x="1645448" y="1446732"/>
                </a:cubicBezTo>
                <a:cubicBezTo>
                  <a:pt x="1614967" y="1446732"/>
                  <a:pt x="1590256" y="1422022"/>
                  <a:pt x="1590256" y="1391541"/>
                </a:cubicBezTo>
                <a:cubicBezTo>
                  <a:pt x="1590256" y="1361060"/>
                  <a:pt x="1614967" y="1336350"/>
                  <a:pt x="1645448" y="1336350"/>
                </a:cubicBezTo>
                <a:close/>
                <a:moveTo>
                  <a:pt x="1515160" y="1336350"/>
                </a:moveTo>
                <a:cubicBezTo>
                  <a:pt x="1545636" y="1336350"/>
                  <a:pt x="1570346" y="1361060"/>
                  <a:pt x="1570346" y="1391541"/>
                </a:cubicBezTo>
                <a:cubicBezTo>
                  <a:pt x="1570346" y="1422022"/>
                  <a:pt x="1545636" y="1446732"/>
                  <a:pt x="1515160" y="1446732"/>
                </a:cubicBezTo>
                <a:cubicBezTo>
                  <a:pt x="1484676" y="1446732"/>
                  <a:pt x="1459963" y="1422022"/>
                  <a:pt x="1459963" y="1391541"/>
                </a:cubicBezTo>
                <a:cubicBezTo>
                  <a:pt x="1459963" y="1361060"/>
                  <a:pt x="1484676" y="1336350"/>
                  <a:pt x="1515160" y="1336350"/>
                </a:cubicBezTo>
                <a:close/>
                <a:moveTo>
                  <a:pt x="1381522" y="1336350"/>
                </a:moveTo>
                <a:cubicBezTo>
                  <a:pt x="1412004" y="1336350"/>
                  <a:pt x="1436714" y="1361060"/>
                  <a:pt x="1436714" y="1391541"/>
                </a:cubicBezTo>
                <a:cubicBezTo>
                  <a:pt x="1436714" y="1422022"/>
                  <a:pt x="1412004" y="1446732"/>
                  <a:pt x="1381522" y="1446732"/>
                </a:cubicBezTo>
                <a:cubicBezTo>
                  <a:pt x="1351043" y="1446732"/>
                  <a:pt x="1326330" y="1422022"/>
                  <a:pt x="1326330" y="1391541"/>
                </a:cubicBezTo>
                <a:cubicBezTo>
                  <a:pt x="1326330" y="1361060"/>
                  <a:pt x="1351043" y="1336350"/>
                  <a:pt x="1381522" y="1336350"/>
                </a:cubicBezTo>
                <a:close/>
                <a:moveTo>
                  <a:pt x="1251229" y="1336350"/>
                </a:moveTo>
                <a:cubicBezTo>
                  <a:pt x="1281711" y="1336350"/>
                  <a:pt x="1306421" y="1361060"/>
                  <a:pt x="1306421" y="1391541"/>
                </a:cubicBezTo>
                <a:cubicBezTo>
                  <a:pt x="1306421" y="1422022"/>
                  <a:pt x="1281711" y="1446732"/>
                  <a:pt x="1251229" y="1446732"/>
                </a:cubicBezTo>
                <a:cubicBezTo>
                  <a:pt x="1220747" y="1446732"/>
                  <a:pt x="1196037" y="1422022"/>
                  <a:pt x="1196037" y="1391541"/>
                </a:cubicBezTo>
                <a:cubicBezTo>
                  <a:pt x="1196037" y="1361060"/>
                  <a:pt x="1220747" y="1336350"/>
                  <a:pt x="1251229" y="1336350"/>
                </a:cubicBezTo>
                <a:close/>
                <a:moveTo>
                  <a:pt x="1117592" y="1336350"/>
                </a:moveTo>
                <a:cubicBezTo>
                  <a:pt x="1148075" y="1336350"/>
                  <a:pt x="1172785" y="1361060"/>
                  <a:pt x="1172785" y="1391541"/>
                </a:cubicBezTo>
                <a:cubicBezTo>
                  <a:pt x="1172785" y="1422022"/>
                  <a:pt x="1148075" y="1446732"/>
                  <a:pt x="1117592" y="1446732"/>
                </a:cubicBezTo>
                <a:cubicBezTo>
                  <a:pt x="1087110" y="1446732"/>
                  <a:pt x="1062400" y="1422022"/>
                  <a:pt x="1062400" y="1391541"/>
                </a:cubicBezTo>
                <a:cubicBezTo>
                  <a:pt x="1062400" y="1361060"/>
                  <a:pt x="1087110" y="1336350"/>
                  <a:pt x="1117592" y="1336350"/>
                </a:cubicBezTo>
                <a:close/>
                <a:moveTo>
                  <a:pt x="980615" y="1336350"/>
                </a:moveTo>
                <a:cubicBezTo>
                  <a:pt x="1011098" y="1336350"/>
                  <a:pt x="1035808" y="1361060"/>
                  <a:pt x="1035808" y="1391541"/>
                </a:cubicBezTo>
                <a:cubicBezTo>
                  <a:pt x="1035808" y="1422022"/>
                  <a:pt x="1011098" y="1446732"/>
                  <a:pt x="980615" y="1446732"/>
                </a:cubicBezTo>
                <a:cubicBezTo>
                  <a:pt x="950133" y="1446732"/>
                  <a:pt x="925422" y="1422022"/>
                  <a:pt x="925422" y="1391541"/>
                </a:cubicBezTo>
                <a:cubicBezTo>
                  <a:pt x="925422" y="1361060"/>
                  <a:pt x="950133" y="1336350"/>
                  <a:pt x="980615" y="1336350"/>
                </a:cubicBezTo>
                <a:close/>
                <a:moveTo>
                  <a:pt x="9199101" y="1336348"/>
                </a:moveTo>
                <a:cubicBezTo>
                  <a:pt x="9229583" y="1336348"/>
                  <a:pt x="9254293" y="1361058"/>
                  <a:pt x="9254293" y="1391539"/>
                </a:cubicBezTo>
                <a:cubicBezTo>
                  <a:pt x="9254293" y="1422020"/>
                  <a:pt x="9229583" y="1446730"/>
                  <a:pt x="9199101" y="1446730"/>
                </a:cubicBezTo>
                <a:cubicBezTo>
                  <a:pt x="9168619" y="1446730"/>
                  <a:pt x="9143909" y="1422020"/>
                  <a:pt x="9143909" y="1391539"/>
                </a:cubicBezTo>
                <a:cubicBezTo>
                  <a:pt x="9143909" y="1361058"/>
                  <a:pt x="9168619" y="1336348"/>
                  <a:pt x="9199101" y="1336348"/>
                </a:cubicBezTo>
                <a:close/>
                <a:moveTo>
                  <a:pt x="9068807" y="1336348"/>
                </a:moveTo>
                <a:cubicBezTo>
                  <a:pt x="9099289" y="1336348"/>
                  <a:pt x="9123999" y="1361058"/>
                  <a:pt x="9123999" y="1391539"/>
                </a:cubicBezTo>
                <a:cubicBezTo>
                  <a:pt x="9123999" y="1422020"/>
                  <a:pt x="9099289" y="1446730"/>
                  <a:pt x="9068807" y="1446730"/>
                </a:cubicBezTo>
                <a:cubicBezTo>
                  <a:pt x="9038325" y="1446730"/>
                  <a:pt x="9013615" y="1422020"/>
                  <a:pt x="9013615" y="1391539"/>
                </a:cubicBezTo>
                <a:cubicBezTo>
                  <a:pt x="9013615" y="1361058"/>
                  <a:pt x="9038325" y="1336348"/>
                  <a:pt x="9068807" y="1336348"/>
                </a:cubicBezTo>
                <a:close/>
                <a:moveTo>
                  <a:pt x="8407316" y="1336348"/>
                </a:moveTo>
                <a:cubicBezTo>
                  <a:pt x="8437798" y="1336348"/>
                  <a:pt x="8462508" y="1361058"/>
                  <a:pt x="8462508" y="1391539"/>
                </a:cubicBezTo>
                <a:cubicBezTo>
                  <a:pt x="8462508" y="1422020"/>
                  <a:pt x="8437798" y="1446730"/>
                  <a:pt x="8407316" y="1446730"/>
                </a:cubicBezTo>
                <a:cubicBezTo>
                  <a:pt x="8376834" y="1446730"/>
                  <a:pt x="8352124" y="1422020"/>
                  <a:pt x="8352124" y="1391539"/>
                </a:cubicBezTo>
                <a:cubicBezTo>
                  <a:pt x="8352124" y="1361058"/>
                  <a:pt x="8376834" y="1336348"/>
                  <a:pt x="8407316" y="1336348"/>
                </a:cubicBezTo>
                <a:close/>
                <a:moveTo>
                  <a:pt x="8273682" y="1336348"/>
                </a:moveTo>
                <a:cubicBezTo>
                  <a:pt x="8304164" y="1336348"/>
                  <a:pt x="8328874" y="1361058"/>
                  <a:pt x="8328874" y="1391539"/>
                </a:cubicBezTo>
                <a:cubicBezTo>
                  <a:pt x="8328874" y="1422020"/>
                  <a:pt x="8304164" y="1446730"/>
                  <a:pt x="8273682" y="1446730"/>
                </a:cubicBezTo>
                <a:cubicBezTo>
                  <a:pt x="8243200" y="1446730"/>
                  <a:pt x="8218490" y="1422020"/>
                  <a:pt x="8218490" y="1391539"/>
                </a:cubicBezTo>
                <a:cubicBezTo>
                  <a:pt x="8218490" y="1361058"/>
                  <a:pt x="8243200" y="1336348"/>
                  <a:pt x="8273682" y="1336348"/>
                </a:cubicBezTo>
                <a:close/>
                <a:moveTo>
                  <a:pt x="8143388" y="1336348"/>
                </a:moveTo>
                <a:cubicBezTo>
                  <a:pt x="8173870" y="1336348"/>
                  <a:pt x="8198580" y="1361058"/>
                  <a:pt x="8198580" y="1391539"/>
                </a:cubicBezTo>
                <a:cubicBezTo>
                  <a:pt x="8198580" y="1422020"/>
                  <a:pt x="8173870" y="1446730"/>
                  <a:pt x="8143388" y="1446730"/>
                </a:cubicBezTo>
                <a:cubicBezTo>
                  <a:pt x="8112906" y="1446730"/>
                  <a:pt x="8088196" y="1422020"/>
                  <a:pt x="8088196" y="1391539"/>
                </a:cubicBezTo>
                <a:cubicBezTo>
                  <a:pt x="8088196" y="1361058"/>
                  <a:pt x="8112906" y="1336348"/>
                  <a:pt x="8143388" y="1336348"/>
                </a:cubicBezTo>
                <a:close/>
                <a:moveTo>
                  <a:pt x="8009753" y="1336348"/>
                </a:moveTo>
                <a:cubicBezTo>
                  <a:pt x="8040235" y="1336348"/>
                  <a:pt x="8064945" y="1361058"/>
                  <a:pt x="8064945" y="1391539"/>
                </a:cubicBezTo>
                <a:cubicBezTo>
                  <a:pt x="8064945" y="1422020"/>
                  <a:pt x="8040235" y="1446730"/>
                  <a:pt x="8009753" y="1446730"/>
                </a:cubicBezTo>
                <a:cubicBezTo>
                  <a:pt x="7979271" y="1446730"/>
                  <a:pt x="7954561" y="1422020"/>
                  <a:pt x="7954561" y="1391539"/>
                </a:cubicBezTo>
                <a:cubicBezTo>
                  <a:pt x="7954561" y="1361058"/>
                  <a:pt x="7979271" y="1336348"/>
                  <a:pt x="8009753" y="1336348"/>
                </a:cubicBezTo>
                <a:close/>
                <a:moveTo>
                  <a:pt x="7876118" y="1336348"/>
                </a:moveTo>
                <a:cubicBezTo>
                  <a:pt x="7906600" y="1336348"/>
                  <a:pt x="7931310" y="1361058"/>
                  <a:pt x="7931310" y="1391539"/>
                </a:cubicBezTo>
                <a:cubicBezTo>
                  <a:pt x="7931310" y="1422020"/>
                  <a:pt x="7906600" y="1446730"/>
                  <a:pt x="7876118" y="1446730"/>
                </a:cubicBezTo>
                <a:cubicBezTo>
                  <a:pt x="7845636" y="1446730"/>
                  <a:pt x="7820926" y="1422020"/>
                  <a:pt x="7820926" y="1391539"/>
                </a:cubicBezTo>
                <a:cubicBezTo>
                  <a:pt x="7820926" y="1361058"/>
                  <a:pt x="7845636" y="1336348"/>
                  <a:pt x="7876118" y="1336348"/>
                </a:cubicBezTo>
                <a:close/>
                <a:moveTo>
                  <a:pt x="7745823" y="1336348"/>
                </a:moveTo>
                <a:cubicBezTo>
                  <a:pt x="7776305" y="1336348"/>
                  <a:pt x="7801015" y="1361058"/>
                  <a:pt x="7801015" y="1391539"/>
                </a:cubicBezTo>
                <a:cubicBezTo>
                  <a:pt x="7801015" y="1422020"/>
                  <a:pt x="7776305" y="1446730"/>
                  <a:pt x="7745823" y="1446730"/>
                </a:cubicBezTo>
                <a:cubicBezTo>
                  <a:pt x="7715341" y="1446730"/>
                  <a:pt x="7690631" y="1422020"/>
                  <a:pt x="7690631" y="1391539"/>
                </a:cubicBezTo>
                <a:cubicBezTo>
                  <a:pt x="7690631" y="1361058"/>
                  <a:pt x="7715341" y="1336348"/>
                  <a:pt x="7745823" y="1336348"/>
                </a:cubicBezTo>
                <a:close/>
                <a:moveTo>
                  <a:pt x="185475" y="1336348"/>
                </a:moveTo>
                <a:cubicBezTo>
                  <a:pt x="215957" y="1336348"/>
                  <a:pt x="240666" y="1361058"/>
                  <a:pt x="240666" y="1391539"/>
                </a:cubicBezTo>
                <a:cubicBezTo>
                  <a:pt x="240666" y="1422020"/>
                  <a:pt x="215957" y="1446730"/>
                  <a:pt x="185475" y="1446730"/>
                </a:cubicBezTo>
                <a:cubicBezTo>
                  <a:pt x="154994" y="1446730"/>
                  <a:pt x="130283" y="1422020"/>
                  <a:pt x="130283" y="1391539"/>
                </a:cubicBezTo>
                <a:cubicBezTo>
                  <a:pt x="130283" y="1361058"/>
                  <a:pt x="154994" y="1336348"/>
                  <a:pt x="185475" y="1336348"/>
                </a:cubicBezTo>
                <a:close/>
                <a:moveTo>
                  <a:pt x="9199101" y="1219421"/>
                </a:moveTo>
                <a:cubicBezTo>
                  <a:pt x="9229583" y="1219421"/>
                  <a:pt x="9254293" y="1244131"/>
                  <a:pt x="9254293" y="1274612"/>
                </a:cubicBezTo>
                <a:cubicBezTo>
                  <a:pt x="9254293" y="1305093"/>
                  <a:pt x="9229583" y="1329803"/>
                  <a:pt x="9199101" y="1329803"/>
                </a:cubicBezTo>
                <a:cubicBezTo>
                  <a:pt x="9168619" y="1329803"/>
                  <a:pt x="9143909" y="1305093"/>
                  <a:pt x="9143909" y="1274612"/>
                </a:cubicBezTo>
                <a:cubicBezTo>
                  <a:pt x="9143909" y="1244131"/>
                  <a:pt x="9168619" y="1219421"/>
                  <a:pt x="9199101" y="1219421"/>
                </a:cubicBezTo>
                <a:close/>
                <a:moveTo>
                  <a:pt x="9068807" y="1219421"/>
                </a:moveTo>
                <a:cubicBezTo>
                  <a:pt x="9099289" y="1219421"/>
                  <a:pt x="9123999" y="1244131"/>
                  <a:pt x="9123999" y="1274612"/>
                </a:cubicBezTo>
                <a:cubicBezTo>
                  <a:pt x="9123999" y="1305093"/>
                  <a:pt x="9099289" y="1329803"/>
                  <a:pt x="9068807" y="1329803"/>
                </a:cubicBezTo>
                <a:cubicBezTo>
                  <a:pt x="9038325" y="1329803"/>
                  <a:pt x="9013615" y="1305093"/>
                  <a:pt x="9013615" y="1274612"/>
                </a:cubicBezTo>
                <a:cubicBezTo>
                  <a:pt x="9013615" y="1244131"/>
                  <a:pt x="9038325" y="1219421"/>
                  <a:pt x="9068807" y="1219421"/>
                </a:cubicBezTo>
                <a:close/>
                <a:moveTo>
                  <a:pt x="8537612" y="1219421"/>
                </a:moveTo>
                <a:cubicBezTo>
                  <a:pt x="8568094" y="1219421"/>
                  <a:pt x="8592804" y="1244131"/>
                  <a:pt x="8592804" y="1274612"/>
                </a:cubicBezTo>
                <a:cubicBezTo>
                  <a:pt x="8592804" y="1305093"/>
                  <a:pt x="8568094" y="1329803"/>
                  <a:pt x="8537612" y="1329803"/>
                </a:cubicBezTo>
                <a:cubicBezTo>
                  <a:pt x="8507130" y="1329803"/>
                  <a:pt x="8482420" y="1305093"/>
                  <a:pt x="8482420" y="1274612"/>
                </a:cubicBezTo>
                <a:cubicBezTo>
                  <a:pt x="8482420" y="1244131"/>
                  <a:pt x="8507130" y="1219421"/>
                  <a:pt x="8537612" y="1219421"/>
                </a:cubicBezTo>
                <a:close/>
                <a:moveTo>
                  <a:pt x="8407316" y="1219421"/>
                </a:moveTo>
                <a:cubicBezTo>
                  <a:pt x="8437798" y="1219421"/>
                  <a:pt x="8462508" y="1244131"/>
                  <a:pt x="8462508" y="1274612"/>
                </a:cubicBezTo>
                <a:cubicBezTo>
                  <a:pt x="8462508" y="1305093"/>
                  <a:pt x="8437798" y="1329803"/>
                  <a:pt x="8407316" y="1329803"/>
                </a:cubicBezTo>
                <a:cubicBezTo>
                  <a:pt x="8376834" y="1329803"/>
                  <a:pt x="8352124" y="1305093"/>
                  <a:pt x="8352124" y="1274612"/>
                </a:cubicBezTo>
                <a:cubicBezTo>
                  <a:pt x="8352124" y="1244131"/>
                  <a:pt x="8376834" y="1219421"/>
                  <a:pt x="8407316" y="1219421"/>
                </a:cubicBezTo>
                <a:close/>
                <a:moveTo>
                  <a:pt x="8273682" y="1219421"/>
                </a:moveTo>
                <a:cubicBezTo>
                  <a:pt x="8304164" y="1219421"/>
                  <a:pt x="8328874" y="1244131"/>
                  <a:pt x="8328874" y="1274612"/>
                </a:cubicBezTo>
                <a:cubicBezTo>
                  <a:pt x="8328874" y="1305093"/>
                  <a:pt x="8304164" y="1329803"/>
                  <a:pt x="8273682" y="1329803"/>
                </a:cubicBezTo>
                <a:cubicBezTo>
                  <a:pt x="8243200" y="1329803"/>
                  <a:pt x="8218490" y="1305093"/>
                  <a:pt x="8218490" y="1274612"/>
                </a:cubicBezTo>
                <a:cubicBezTo>
                  <a:pt x="8218490" y="1244131"/>
                  <a:pt x="8243200" y="1219421"/>
                  <a:pt x="8273682" y="1219421"/>
                </a:cubicBezTo>
                <a:close/>
                <a:moveTo>
                  <a:pt x="8143388" y="1219421"/>
                </a:moveTo>
                <a:cubicBezTo>
                  <a:pt x="8173870" y="1219421"/>
                  <a:pt x="8198580" y="1244131"/>
                  <a:pt x="8198580" y="1274612"/>
                </a:cubicBezTo>
                <a:cubicBezTo>
                  <a:pt x="8198580" y="1305093"/>
                  <a:pt x="8173870" y="1329803"/>
                  <a:pt x="8143388" y="1329803"/>
                </a:cubicBezTo>
                <a:cubicBezTo>
                  <a:pt x="8112906" y="1329803"/>
                  <a:pt x="8088196" y="1305093"/>
                  <a:pt x="8088196" y="1274612"/>
                </a:cubicBezTo>
                <a:cubicBezTo>
                  <a:pt x="8088196" y="1244131"/>
                  <a:pt x="8112906" y="1219421"/>
                  <a:pt x="8143388" y="1219421"/>
                </a:cubicBezTo>
                <a:close/>
                <a:moveTo>
                  <a:pt x="8009753" y="1219421"/>
                </a:moveTo>
                <a:cubicBezTo>
                  <a:pt x="8040235" y="1219421"/>
                  <a:pt x="8064945" y="1244131"/>
                  <a:pt x="8064945" y="1274612"/>
                </a:cubicBezTo>
                <a:cubicBezTo>
                  <a:pt x="8064945" y="1305093"/>
                  <a:pt x="8040235" y="1329803"/>
                  <a:pt x="8009753" y="1329803"/>
                </a:cubicBezTo>
                <a:cubicBezTo>
                  <a:pt x="7979271" y="1329803"/>
                  <a:pt x="7954561" y="1305093"/>
                  <a:pt x="7954561" y="1274612"/>
                </a:cubicBezTo>
                <a:cubicBezTo>
                  <a:pt x="7954561" y="1244131"/>
                  <a:pt x="7979271" y="1219421"/>
                  <a:pt x="8009753" y="1219421"/>
                </a:cubicBezTo>
                <a:close/>
                <a:moveTo>
                  <a:pt x="7876118" y="1219421"/>
                </a:moveTo>
                <a:cubicBezTo>
                  <a:pt x="7906600" y="1219421"/>
                  <a:pt x="7931310" y="1244131"/>
                  <a:pt x="7931310" y="1274612"/>
                </a:cubicBezTo>
                <a:cubicBezTo>
                  <a:pt x="7931310" y="1305093"/>
                  <a:pt x="7906600" y="1329803"/>
                  <a:pt x="7876118" y="1329803"/>
                </a:cubicBezTo>
                <a:cubicBezTo>
                  <a:pt x="7845636" y="1329803"/>
                  <a:pt x="7820926" y="1305093"/>
                  <a:pt x="7820926" y="1274612"/>
                </a:cubicBezTo>
                <a:cubicBezTo>
                  <a:pt x="7820926" y="1244131"/>
                  <a:pt x="7845636" y="1219421"/>
                  <a:pt x="7876118" y="1219421"/>
                </a:cubicBezTo>
                <a:close/>
                <a:moveTo>
                  <a:pt x="7745823" y="1219421"/>
                </a:moveTo>
                <a:cubicBezTo>
                  <a:pt x="7776305" y="1219421"/>
                  <a:pt x="7801015" y="1244131"/>
                  <a:pt x="7801015" y="1274612"/>
                </a:cubicBezTo>
                <a:cubicBezTo>
                  <a:pt x="7801015" y="1305093"/>
                  <a:pt x="7776305" y="1329803"/>
                  <a:pt x="7745823" y="1329803"/>
                </a:cubicBezTo>
                <a:cubicBezTo>
                  <a:pt x="7715341" y="1329803"/>
                  <a:pt x="7690631" y="1305093"/>
                  <a:pt x="7690631" y="1274612"/>
                </a:cubicBezTo>
                <a:cubicBezTo>
                  <a:pt x="7690631" y="1244131"/>
                  <a:pt x="7715341" y="1219421"/>
                  <a:pt x="7745823" y="1219421"/>
                </a:cubicBezTo>
                <a:close/>
                <a:moveTo>
                  <a:pt x="7608849" y="1219421"/>
                </a:moveTo>
                <a:cubicBezTo>
                  <a:pt x="7639331" y="1219421"/>
                  <a:pt x="7664041" y="1244131"/>
                  <a:pt x="7664041" y="1274612"/>
                </a:cubicBezTo>
                <a:cubicBezTo>
                  <a:pt x="7664041" y="1305093"/>
                  <a:pt x="7639331" y="1329803"/>
                  <a:pt x="7608849" y="1329803"/>
                </a:cubicBezTo>
                <a:cubicBezTo>
                  <a:pt x="7578367" y="1329803"/>
                  <a:pt x="7553657" y="1305093"/>
                  <a:pt x="7553657" y="1274612"/>
                </a:cubicBezTo>
                <a:cubicBezTo>
                  <a:pt x="7553657" y="1244131"/>
                  <a:pt x="7578367" y="1219421"/>
                  <a:pt x="7608849" y="1219421"/>
                </a:cubicBezTo>
                <a:close/>
                <a:moveTo>
                  <a:pt x="7481897" y="1219421"/>
                </a:moveTo>
                <a:cubicBezTo>
                  <a:pt x="7512379" y="1219421"/>
                  <a:pt x="7537089" y="1244131"/>
                  <a:pt x="7537089" y="1274612"/>
                </a:cubicBezTo>
                <a:cubicBezTo>
                  <a:pt x="7537089" y="1305093"/>
                  <a:pt x="7512379" y="1329803"/>
                  <a:pt x="7481897" y="1329803"/>
                </a:cubicBezTo>
                <a:cubicBezTo>
                  <a:pt x="7451415" y="1329803"/>
                  <a:pt x="7426705" y="1305093"/>
                  <a:pt x="7426705" y="1274612"/>
                </a:cubicBezTo>
                <a:cubicBezTo>
                  <a:pt x="7426705" y="1244131"/>
                  <a:pt x="7451415" y="1219421"/>
                  <a:pt x="7481897" y="1219421"/>
                </a:cubicBezTo>
                <a:close/>
                <a:moveTo>
                  <a:pt x="7341579" y="1219421"/>
                </a:moveTo>
                <a:cubicBezTo>
                  <a:pt x="7372061" y="1219421"/>
                  <a:pt x="7396771" y="1244131"/>
                  <a:pt x="7396771" y="1274612"/>
                </a:cubicBezTo>
                <a:cubicBezTo>
                  <a:pt x="7396771" y="1305093"/>
                  <a:pt x="7372061" y="1329803"/>
                  <a:pt x="7341579" y="1329803"/>
                </a:cubicBezTo>
                <a:cubicBezTo>
                  <a:pt x="7311097" y="1329803"/>
                  <a:pt x="7286387" y="1305093"/>
                  <a:pt x="7286387" y="1274612"/>
                </a:cubicBezTo>
                <a:cubicBezTo>
                  <a:pt x="7286387" y="1244131"/>
                  <a:pt x="7311097" y="1219421"/>
                  <a:pt x="7341579" y="1219421"/>
                </a:cubicBezTo>
                <a:close/>
                <a:moveTo>
                  <a:pt x="7211286" y="1219421"/>
                </a:moveTo>
                <a:cubicBezTo>
                  <a:pt x="7241768" y="1219421"/>
                  <a:pt x="7266478" y="1244131"/>
                  <a:pt x="7266478" y="1274612"/>
                </a:cubicBezTo>
                <a:cubicBezTo>
                  <a:pt x="7266478" y="1305093"/>
                  <a:pt x="7241768" y="1329803"/>
                  <a:pt x="7211286" y="1329803"/>
                </a:cubicBezTo>
                <a:cubicBezTo>
                  <a:pt x="7180804" y="1329803"/>
                  <a:pt x="7156094" y="1305093"/>
                  <a:pt x="7156094" y="1274612"/>
                </a:cubicBezTo>
                <a:cubicBezTo>
                  <a:pt x="7156094" y="1244131"/>
                  <a:pt x="7180804" y="1219421"/>
                  <a:pt x="7211286" y="1219421"/>
                </a:cubicBezTo>
                <a:close/>
                <a:moveTo>
                  <a:pt x="7080993" y="1219421"/>
                </a:moveTo>
                <a:cubicBezTo>
                  <a:pt x="7111475" y="1219421"/>
                  <a:pt x="7136185" y="1244131"/>
                  <a:pt x="7136185" y="1274612"/>
                </a:cubicBezTo>
                <a:cubicBezTo>
                  <a:pt x="7136185" y="1305093"/>
                  <a:pt x="7111475" y="1329803"/>
                  <a:pt x="7080993" y="1329803"/>
                </a:cubicBezTo>
                <a:cubicBezTo>
                  <a:pt x="7050511" y="1329803"/>
                  <a:pt x="7025801" y="1305093"/>
                  <a:pt x="7025801" y="1274612"/>
                </a:cubicBezTo>
                <a:cubicBezTo>
                  <a:pt x="7025801" y="1244131"/>
                  <a:pt x="7050511" y="1219421"/>
                  <a:pt x="7080993" y="1219421"/>
                </a:cubicBezTo>
                <a:close/>
                <a:moveTo>
                  <a:pt x="6947357" y="1219421"/>
                </a:moveTo>
                <a:cubicBezTo>
                  <a:pt x="6977839" y="1219421"/>
                  <a:pt x="7002549" y="1244131"/>
                  <a:pt x="7002549" y="1274612"/>
                </a:cubicBezTo>
                <a:cubicBezTo>
                  <a:pt x="7002549" y="1305093"/>
                  <a:pt x="6977839" y="1329803"/>
                  <a:pt x="6947357" y="1329803"/>
                </a:cubicBezTo>
                <a:cubicBezTo>
                  <a:pt x="6916875" y="1329803"/>
                  <a:pt x="6892165" y="1305093"/>
                  <a:pt x="6892165" y="1274612"/>
                </a:cubicBezTo>
                <a:cubicBezTo>
                  <a:pt x="6892165" y="1244131"/>
                  <a:pt x="6916875" y="1219421"/>
                  <a:pt x="6947357" y="1219421"/>
                </a:cubicBezTo>
                <a:close/>
                <a:moveTo>
                  <a:pt x="6817064" y="1219421"/>
                </a:moveTo>
                <a:cubicBezTo>
                  <a:pt x="6847546" y="1219421"/>
                  <a:pt x="6872256" y="1244131"/>
                  <a:pt x="6872256" y="1274612"/>
                </a:cubicBezTo>
                <a:cubicBezTo>
                  <a:pt x="6872256" y="1305093"/>
                  <a:pt x="6847546" y="1329803"/>
                  <a:pt x="6817064" y="1329803"/>
                </a:cubicBezTo>
                <a:cubicBezTo>
                  <a:pt x="6786582" y="1329803"/>
                  <a:pt x="6761872" y="1305093"/>
                  <a:pt x="6761872" y="1274612"/>
                </a:cubicBezTo>
                <a:cubicBezTo>
                  <a:pt x="6761872" y="1244131"/>
                  <a:pt x="6786582" y="1219421"/>
                  <a:pt x="6817064" y="1219421"/>
                </a:cubicBezTo>
                <a:close/>
                <a:moveTo>
                  <a:pt x="6683431" y="1219421"/>
                </a:moveTo>
                <a:cubicBezTo>
                  <a:pt x="6713913" y="1219421"/>
                  <a:pt x="6738623" y="1244131"/>
                  <a:pt x="6738623" y="1274612"/>
                </a:cubicBezTo>
                <a:cubicBezTo>
                  <a:pt x="6738623" y="1305093"/>
                  <a:pt x="6713913" y="1329803"/>
                  <a:pt x="6683431" y="1329803"/>
                </a:cubicBezTo>
                <a:cubicBezTo>
                  <a:pt x="6652949" y="1329803"/>
                  <a:pt x="6628239" y="1305093"/>
                  <a:pt x="6628239" y="1274612"/>
                </a:cubicBezTo>
                <a:cubicBezTo>
                  <a:pt x="6628239" y="1244131"/>
                  <a:pt x="6652949" y="1219421"/>
                  <a:pt x="6683431" y="1219421"/>
                </a:cubicBezTo>
                <a:close/>
                <a:moveTo>
                  <a:pt x="6553137" y="1219421"/>
                </a:moveTo>
                <a:cubicBezTo>
                  <a:pt x="6583619" y="1219421"/>
                  <a:pt x="6608329" y="1244131"/>
                  <a:pt x="6608329" y="1274612"/>
                </a:cubicBezTo>
                <a:cubicBezTo>
                  <a:pt x="6608329" y="1305093"/>
                  <a:pt x="6583619" y="1329803"/>
                  <a:pt x="6553137" y="1329803"/>
                </a:cubicBezTo>
                <a:cubicBezTo>
                  <a:pt x="6522655" y="1329803"/>
                  <a:pt x="6497945" y="1305093"/>
                  <a:pt x="6497945" y="1274612"/>
                </a:cubicBezTo>
                <a:cubicBezTo>
                  <a:pt x="6497945" y="1244131"/>
                  <a:pt x="6522655" y="1219421"/>
                  <a:pt x="6553137" y="1219421"/>
                </a:cubicBezTo>
                <a:close/>
                <a:moveTo>
                  <a:pt x="6419502" y="1219421"/>
                </a:moveTo>
                <a:cubicBezTo>
                  <a:pt x="6449984" y="1219421"/>
                  <a:pt x="6474694" y="1244131"/>
                  <a:pt x="6474694" y="1274612"/>
                </a:cubicBezTo>
                <a:cubicBezTo>
                  <a:pt x="6474694" y="1305093"/>
                  <a:pt x="6449984" y="1329803"/>
                  <a:pt x="6419502" y="1329803"/>
                </a:cubicBezTo>
                <a:cubicBezTo>
                  <a:pt x="6389020" y="1329803"/>
                  <a:pt x="6364310" y="1305093"/>
                  <a:pt x="6364310" y="1274612"/>
                </a:cubicBezTo>
                <a:cubicBezTo>
                  <a:pt x="6364310" y="1244131"/>
                  <a:pt x="6389020" y="1219421"/>
                  <a:pt x="6419502" y="1219421"/>
                </a:cubicBezTo>
                <a:close/>
                <a:moveTo>
                  <a:pt x="6289207" y="1219421"/>
                </a:moveTo>
                <a:cubicBezTo>
                  <a:pt x="6319689" y="1219421"/>
                  <a:pt x="6344399" y="1244131"/>
                  <a:pt x="6344399" y="1274612"/>
                </a:cubicBezTo>
                <a:cubicBezTo>
                  <a:pt x="6344399" y="1305093"/>
                  <a:pt x="6319689" y="1329803"/>
                  <a:pt x="6289207" y="1329803"/>
                </a:cubicBezTo>
                <a:cubicBezTo>
                  <a:pt x="6258725" y="1329803"/>
                  <a:pt x="6234015" y="1305093"/>
                  <a:pt x="6234015" y="1274612"/>
                </a:cubicBezTo>
                <a:cubicBezTo>
                  <a:pt x="6234015" y="1244131"/>
                  <a:pt x="6258725" y="1219421"/>
                  <a:pt x="6289207" y="1219421"/>
                </a:cubicBezTo>
                <a:close/>
                <a:moveTo>
                  <a:pt x="6155573" y="1219421"/>
                </a:moveTo>
                <a:cubicBezTo>
                  <a:pt x="6186055" y="1219421"/>
                  <a:pt x="6210765" y="1244131"/>
                  <a:pt x="6210765" y="1274612"/>
                </a:cubicBezTo>
                <a:cubicBezTo>
                  <a:pt x="6210765" y="1305093"/>
                  <a:pt x="6186055" y="1329803"/>
                  <a:pt x="6155573" y="1329803"/>
                </a:cubicBezTo>
                <a:cubicBezTo>
                  <a:pt x="6125091" y="1329803"/>
                  <a:pt x="6100381" y="1305093"/>
                  <a:pt x="6100381" y="1274612"/>
                </a:cubicBezTo>
                <a:cubicBezTo>
                  <a:pt x="6100381" y="1244131"/>
                  <a:pt x="6125091" y="1219421"/>
                  <a:pt x="6155573" y="1219421"/>
                </a:cubicBezTo>
                <a:close/>
                <a:moveTo>
                  <a:pt x="6021939" y="1219421"/>
                </a:moveTo>
                <a:cubicBezTo>
                  <a:pt x="6052421" y="1219421"/>
                  <a:pt x="6077131" y="1244131"/>
                  <a:pt x="6077131" y="1274612"/>
                </a:cubicBezTo>
                <a:cubicBezTo>
                  <a:pt x="6077131" y="1305093"/>
                  <a:pt x="6052421" y="1329803"/>
                  <a:pt x="6021939" y="1329803"/>
                </a:cubicBezTo>
                <a:cubicBezTo>
                  <a:pt x="5991457" y="1329803"/>
                  <a:pt x="5966747" y="1305093"/>
                  <a:pt x="5966747" y="1274612"/>
                </a:cubicBezTo>
                <a:cubicBezTo>
                  <a:pt x="5966747" y="1244131"/>
                  <a:pt x="5991457" y="1219421"/>
                  <a:pt x="6021939" y="1219421"/>
                </a:cubicBezTo>
                <a:close/>
                <a:moveTo>
                  <a:pt x="5884964" y="1219421"/>
                </a:moveTo>
                <a:cubicBezTo>
                  <a:pt x="5915446" y="1219421"/>
                  <a:pt x="5940156" y="1244131"/>
                  <a:pt x="5940156" y="1274612"/>
                </a:cubicBezTo>
                <a:cubicBezTo>
                  <a:pt x="5940156" y="1305093"/>
                  <a:pt x="5915446" y="1329803"/>
                  <a:pt x="5884964" y="1329803"/>
                </a:cubicBezTo>
                <a:cubicBezTo>
                  <a:pt x="5854482" y="1329803"/>
                  <a:pt x="5829772" y="1305093"/>
                  <a:pt x="5829772" y="1274612"/>
                </a:cubicBezTo>
                <a:cubicBezTo>
                  <a:pt x="5829772" y="1244131"/>
                  <a:pt x="5854482" y="1219421"/>
                  <a:pt x="5884964" y="1219421"/>
                </a:cubicBezTo>
                <a:close/>
                <a:moveTo>
                  <a:pt x="5754668" y="1219421"/>
                </a:moveTo>
                <a:cubicBezTo>
                  <a:pt x="5785150" y="1219421"/>
                  <a:pt x="5809860" y="1244131"/>
                  <a:pt x="5809860" y="1274612"/>
                </a:cubicBezTo>
                <a:cubicBezTo>
                  <a:pt x="5809860" y="1305093"/>
                  <a:pt x="5785150" y="1329803"/>
                  <a:pt x="5754668" y="1329803"/>
                </a:cubicBezTo>
                <a:cubicBezTo>
                  <a:pt x="5724186" y="1329803"/>
                  <a:pt x="5699476" y="1305093"/>
                  <a:pt x="5699476" y="1274612"/>
                </a:cubicBezTo>
                <a:cubicBezTo>
                  <a:pt x="5699476" y="1244131"/>
                  <a:pt x="5724186" y="1219421"/>
                  <a:pt x="5754668" y="1219421"/>
                </a:cubicBezTo>
                <a:close/>
                <a:moveTo>
                  <a:pt x="5621034" y="1219421"/>
                </a:moveTo>
                <a:cubicBezTo>
                  <a:pt x="5651516" y="1219421"/>
                  <a:pt x="5676226" y="1244131"/>
                  <a:pt x="5676226" y="1274612"/>
                </a:cubicBezTo>
                <a:cubicBezTo>
                  <a:pt x="5676226" y="1305093"/>
                  <a:pt x="5651516" y="1329803"/>
                  <a:pt x="5621034" y="1329803"/>
                </a:cubicBezTo>
                <a:cubicBezTo>
                  <a:pt x="5590552" y="1329803"/>
                  <a:pt x="5565842" y="1305093"/>
                  <a:pt x="5565842" y="1274612"/>
                </a:cubicBezTo>
                <a:cubicBezTo>
                  <a:pt x="5565842" y="1244131"/>
                  <a:pt x="5590552" y="1219421"/>
                  <a:pt x="5621034" y="1219421"/>
                </a:cubicBezTo>
                <a:close/>
                <a:moveTo>
                  <a:pt x="5487399" y="1219421"/>
                </a:moveTo>
                <a:cubicBezTo>
                  <a:pt x="5517881" y="1219421"/>
                  <a:pt x="5542591" y="1244131"/>
                  <a:pt x="5542591" y="1274612"/>
                </a:cubicBezTo>
                <a:cubicBezTo>
                  <a:pt x="5542591" y="1305093"/>
                  <a:pt x="5517881" y="1329803"/>
                  <a:pt x="5487399" y="1329803"/>
                </a:cubicBezTo>
                <a:cubicBezTo>
                  <a:pt x="5456917" y="1329803"/>
                  <a:pt x="5432207" y="1305093"/>
                  <a:pt x="5432207" y="1274612"/>
                </a:cubicBezTo>
                <a:cubicBezTo>
                  <a:pt x="5432207" y="1244131"/>
                  <a:pt x="5456917" y="1219421"/>
                  <a:pt x="5487399" y="1219421"/>
                </a:cubicBezTo>
                <a:close/>
                <a:moveTo>
                  <a:pt x="5357106" y="1219421"/>
                </a:moveTo>
                <a:cubicBezTo>
                  <a:pt x="5387588" y="1219421"/>
                  <a:pt x="5412298" y="1244131"/>
                  <a:pt x="5412298" y="1274612"/>
                </a:cubicBezTo>
                <a:cubicBezTo>
                  <a:pt x="5412298" y="1305093"/>
                  <a:pt x="5387588" y="1329803"/>
                  <a:pt x="5357106" y="1329803"/>
                </a:cubicBezTo>
                <a:cubicBezTo>
                  <a:pt x="5326624" y="1329803"/>
                  <a:pt x="5301914" y="1305093"/>
                  <a:pt x="5301914" y="1274612"/>
                </a:cubicBezTo>
                <a:cubicBezTo>
                  <a:pt x="5301914" y="1244131"/>
                  <a:pt x="5326624" y="1219421"/>
                  <a:pt x="5357106" y="1219421"/>
                </a:cubicBezTo>
                <a:close/>
                <a:moveTo>
                  <a:pt x="5093178" y="1219421"/>
                </a:moveTo>
                <a:cubicBezTo>
                  <a:pt x="5123660" y="1219421"/>
                  <a:pt x="5148370" y="1244131"/>
                  <a:pt x="5148370" y="1274612"/>
                </a:cubicBezTo>
                <a:cubicBezTo>
                  <a:pt x="5148370" y="1305093"/>
                  <a:pt x="5123660" y="1329803"/>
                  <a:pt x="5093178" y="1329803"/>
                </a:cubicBezTo>
                <a:cubicBezTo>
                  <a:pt x="5062696" y="1329803"/>
                  <a:pt x="5037986" y="1305093"/>
                  <a:pt x="5037986" y="1274612"/>
                </a:cubicBezTo>
                <a:cubicBezTo>
                  <a:pt x="5037986" y="1244131"/>
                  <a:pt x="5062696" y="1219421"/>
                  <a:pt x="5093178" y="1219421"/>
                </a:cubicBezTo>
                <a:close/>
                <a:moveTo>
                  <a:pt x="4959542" y="1219421"/>
                </a:moveTo>
                <a:cubicBezTo>
                  <a:pt x="4990024" y="1219421"/>
                  <a:pt x="5014734" y="1244131"/>
                  <a:pt x="5014734" y="1274612"/>
                </a:cubicBezTo>
                <a:cubicBezTo>
                  <a:pt x="5014734" y="1305093"/>
                  <a:pt x="4990024" y="1329803"/>
                  <a:pt x="4959542" y="1329803"/>
                </a:cubicBezTo>
                <a:cubicBezTo>
                  <a:pt x="4929060" y="1329803"/>
                  <a:pt x="4904350" y="1305093"/>
                  <a:pt x="4904350" y="1274612"/>
                </a:cubicBezTo>
                <a:cubicBezTo>
                  <a:pt x="4904350" y="1244131"/>
                  <a:pt x="4929060" y="1219421"/>
                  <a:pt x="4959542" y="1219421"/>
                </a:cubicBezTo>
                <a:close/>
                <a:moveTo>
                  <a:pt x="4829250" y="1219421"/>
                </a:moveTo>
                <a:cubicBezTo>
                  <a:pt x="4859732" y="1219421"/>
                  <a:pt x="4884442" y="1244131"/>
                  <a:pt x="4884442" y="1274612"/>
                </a:cubicBezTo>
                <a:cubicBezTo>
                  <a:pt x="4884442" y="1305093"/>
                  <a:pt x="4859732" y="1329803"/>
                  <a:pt x="4829250" y="1329803"/>
                </a:cubicBezTo>
                <a:cubicBezTo>
                  <a:pt x="4798768" y="1329803"/>
                  <a:pt x="4774058" y="1305093"/>
                  <a:pt x="4774058" y="1274612"/>
                </a:cubicBezTo>
                <a:cubicBezTo>
                  <a:pt x="4774058" y="1244131"/>
                  <a:pt x="4798768" y="1219421"/>
                  <a:pt x="4829250" y="1219421"/>
                </a:cubicBezTo>
                <a:close/>
                <a:moveTo>
                  <a:pt x="319111" y="1219421"/>
                </a:moveTo>
                <a:cubicBezTo>
                  <a:pt x="349594" y="1219421"/>
                  <a:pt x="374305" y="1244131"/>
                  <a:pt x="374305" y="1274612"/>
                </a:cubicBezTo>
                <a:cubicBezTo>
                  <a:pt x="374305" y="1305093"/>
                  <a:pt x="349594" y="1329803"/>
                  <a:pt x="319111" y="1329803"/>
                </a:cubicBezTo>
                <a:cubicBezTo>
                  <a:pt x="288629" y="1329803"/>
                  <a:pt x="263920" y="1305093"/>
                  <a:pt x="263920" y="1274612"/>
                </a:cubicBezTo>
                <a:cubicBezTo>
                  <a:pt x="263920" y="1244131"/>
                  <a:pt x="288629" y="1219421"/>
                  <a:pt x="319111" y="1219421"/>
                </a:cubicBezTo>
                <a:close/>
                <a:moveTo>
                  <a:pt x="185480" y="1219421"/>
                </a:moveTo>
                <a:cubicBezTo>
                  <a:pt x="215961" y="1219421"/>
                  <a:pt x="240671" y="1244131"/>
                  <a:pt x="240671" y="1274612"/>
                </a:cubicBezTo>
                <a:cubicBezTo>
                  <a:pt x="240671" y="1305093"/>
                  <a:pt x="215961" y="1329803"/>
                  <a:pt x="185480" y="1329803"/>
                </a:cubicBezTo>
                <a:cubicBezTo>
                  <a:pt x="154998" y="1329803"/>
                  <a:pt x="130288" y="1305093"/>
                  <a:pt x="130288" y="1274612"/>
                </a:cubicBezTo>
                <a:cubicBezTo>
                  <a:pt x="130288" y="1244131"/>
                  <a:pt x="154998" y="1219421"/>
                  <a:pt x="185480" y="1219421"/>
                </a:cubicBezTo>
                <a:close/>
                <a:moveTo>
                  <a:pt x="449407" y="1219419"/>
                </a:moveTo>
                <a:cubicBezTo>
                  <a:pt x="479889" y="1219419"/>
                  <a:pt x="504600" y="1244129"/>
                  <a:pt x="504600" y="1274610"/>
                </a:cubicBezTo>
                <a:cubicBezTo>
                  <a:pt x="504600" y="1305091"/>
                  <a:pt x="479889" y="1329801"/>
                  <a:pt x="449407" y="1329801"/>
                </a:cubicBezTo>
                <a:cubicBezTo>
                  <a:pt x="418924" y="1329801"/>
                  <a:pt x="394214" y="1305091"/>
                  <a:pt x="394214" y="1274610"/>
                </a:cubicBezTo>
                <a:cubicBezTo>
                  <a:pt x="394214" y="1244129"/>
                  <a:pt x="418924" y="1219419"/>
                  <a:pt x="449407" y="1219419"/>
                </a:cubicBezTo>
                <a:close/>
                <a:moveTo>
                  <a:pt x="4565322" y="1219417"/>
                </a:moveTo>
                <a:cubicBezTo>
                  <a:pt x="4595804" y="1219417"/>
                  <a:pt x="4620514" y="1244127"/>
                  <a:pt x="4620514" y="1274608"/>
                </a:cubicBezTo>
                <a:cubicBezTo>
                  <a:pt x="4620514" y="1305089"/>
                  <a:pt x="4595804" y="1329799"/>
                  <a:pt x="4565322" y="1329799"/>
                </a:cubicBezTo>
                <a:cubicBezTo>
                  <a:pt x="4534840" y="1329799"/>
                  <a:pt x="4510130" y="1305089"/>
                  <a:pt x="4510130" y="1274608"/>
                </a:cubicBezTo>
                <a:cubicBezTo>
                  <a:pt x="4510130" y="1244127"/>
                  <a:pt x="4534840" y="1219417"/>
                  <a:pt x="4565322" y="1219417"/>
                </a:cubicBezTo>
                <a:close/>
                <a:moveTo>
                  <a:pt x="2834811" y="1219417"/>
                </a:moveTo>
                <a:cubicBezTo>
                  <a:pt x="2865293" y="1219417"/>
                  <a:pt x="2890003" y="1244127"/>
                  <a:pt x="2890003" y="1274608"/>
                </a:cubicBezTo>
                <a:cubicBezTo>
                  <a:pt x="2890003" y="1305089"/>
                  <a:pt x="2865293" y="1329799"/>
                  <a:pt x="2834811" y="1329799"/>
                </a:cubicBezTo>
                <a:cubicBezTo>
                  <a:pt x="2804329" y="1329799"/>
                  <a:pt x="2779620" y="1305089"/>
                  <a:pt x="2779620" y="1274608"/>
                </a:cubicBezTo>
                <a:cubicBezTo>
                  <a:pt x="2779620" y="1244127"/>
                  <a:pt x="2804329" y="1219417"/>
                  <a:pt x="2834811" y="1219417"/>
                </a:cubicBezTo>
                <a:close/>
                <a:moveTo>
                  <a:pt x="2707858" y="1219417"/>
                </a:moveTo>
                <a:cubicBezTo>
                  <a:pt x="2738341" y="1219417"/>
                  <a:pt x="2763052" y="1244127"/>
                  <a:pt x="2763052" y="1274608"/>
                </a:cubicBezTo>
                <a:cubicBezTo>
                  <a:pt x="2763052" y="1305089"/>
                  <a:pt x="2738341" y="1329799"/>
                  <a:pt x="2707858" y="1329799"/>
                </a:cubicBezTo>
                <a:cubicBezTo>
                  <a:pt x="2677377" y="1329799"/>
                  <a:pt x="2652667" y="1305089"/>
                  <a:pt x="2652667" y="1274608"/>
                </a:cubicBezTo>
                <a:cubicBezTo>
                  <a:pt x="2652667" y="1244127"/>
                  <a:pt x="2677377" y="1219417"/>
                  <a:pt x="2707858" y="1219417"/>
                </a:cubicBezTo>
                <a:close/>
                <a:moveTo>
                  <a:pt x="2570885" y="1219417"/>
                </a:moveTo>
                <a:cubicBezTo>
                  <a:pt x="2601367" y="1219417"/>
                  <a:pt x="2626075" y="1244127"/>
                  <a:pt x="2626075" y="1274608"/>
                </a:cubicBezTo>
                <a:cubicBezTo>
                  <a:pt x="2626075" y="1305089"/>
                  <a:pt x="2601367" y="1329799"/>
                  <a:pt x="2570885" y="1329799"/>
                </a:cubicBezTo>
                <a:cubicBezTo>
                  <a:pt x="2540401" y="1329799"/>
                  <a:pt x="2515692" y="1305089"/>
                  <a:pt x="2515692" y="1274608"/>
                </a:cubicBezTo>
                <a:cubicBezTo>
                  <a:pt x="2515692" y="1244127"/>
                  <a:pt x="2540401" y="1219417"/>
                  <a:pt x="2570885" y="1219417"/>
                </a:cubicBezTo>
                <a:close/>
                <a:moveTo>
                  <a:pt x="2039686" y="1219417"/>
                </a:moveTo>
                <a:cubicBezTo>
                  <a:pt x="2070169" y="1219417"/>
                  <a:pt x="2094880" y="1244127"/>
                  <a:pt x="2094880" y="1274608"/>
                </a:cubicBezTo>
                <a:cubicBezTo>
                  <a:pt x="2094880" y="1305089"/>
                  <a:pt x="2070169" y="1329799"/>
                  <a:pt x="2039686" y="1329799"/>
                </a:cubicBezTo>
                <a:cubicBezTo>
                  <a:pt x="2009204" y="1329799"/>
                  <a:pt x="1984493" y="1305089"/>
                  <a:pt x="1984493" y="1274608"/>
                </a:cubicBezTo>
                <a:cubicBezTo>
                  <a:pt x="1984493" y="1244127"/>
                  <a:pt x="2009204" y="1219417"/>
                  <a:pt x="2039686" y="1219417"/>
                </a:cubicBezTo>
                <a:close/>
                <a:moveTo>
                  <a:pt x="1909390" y="1219417"/>
                </a:moveTo>
                <a:cubicBezTo>
                  <a:pt x="1939873" y="1219417"/>
                  <a:pt x="1964583" y="1244127"/>
                  <a:pt x="1964583" y="1274608"/>
                </a:cubicBezTo>
                <a:cubicBezTo>
                  <a:pt x="1964583" y="1305089"/>
                  <a:pt x="1939873" y="1329799"/>
                  <a:pt x="1909390" y="1329799"/>
                </a:cubicBezTo>
                <a:cubicBezTo>
                  <a:pt x="1878908" y="1329799"/>
                  <a:pt x="1854197" y="1305089"/>
                  <a:pt x="1854197" y="1274608"/>
                </a:cubicBezTo>
                <a:cubicBezTo>
                  <a:pt x="1854197" y="1244127"/>
                  <a:pt x="1878908" y="1219417"/>
                  <a:pt x="1909390" y="1219417"/>
                </a:cubicBezTo>
                <a:close/>
                <a:moveTo>
                  <a:pt x="1779095" y="1219417"/>
                </a:moveTo>
                <a:cubicBezTo>
                  <a:pt x="1809577" y="1219417"/>
                  <a:pt x="1834287" y="1244127"/>
                  <a:pt x="1834287" y="1274608"/>
                </a:cubicBezTo>
                <a:cubicBezTo>
                  <a:pt x="1834287" y="1305089"/>
                  <a:pt x="1809577" y="1329799"/>
                  <a:pt x="1779095" y="1329799"/>
                </a:cubicBezTo>
                <a:cubicBezTo>
                  <a:pt x="1748613" y="1329799"/>
                  <a:pt x="1723902" y="1305089"/>
                  <a:pt x="1723902" y="1274608"/>
                </a:cubicBezTo>
                <a:cubicBezTo>
                  <a:pt x="1723902" y="1244127"/>
                  <a:pt x="1748613" y="1219417"/>
                  <a:pt x="1779095" y="1219417"/>
                </a:cubicBezTo>
                <a:close/>
                <a:moveTo>
                  <a:pt x="1645457" y="1219417"/>
                </a:moveTo>
                <a:cubicBezTo>
                  <a:pt x="1675941" y="1219417"/>
                  <a:pt x="1700655" y="1244127"/>
                  <a:pt x="1700655" y="1274608"/>
                </a:cubicBezTo>
                <a:cubicBezTo>
                  <a:pt x="1700655" y="1305089"/>
                  <a:pt x="1675941" y="1329799"/>
                  <a:pt x="1645457" y="1329799"/>
                </a:cubicBezTo>
                <a:cubicBezTo>
                  <a:pt x="1614977" y="1329799"/>
                  <a:pt x="1590265" y="1305089"/>
                  <a:pt x="1590265" y="1274608"/>
                </a:cubicBezTo>
                <a:cubicBezTo>
                  <a:pt x="1590265" y="1244127"/>
                  <a:pt x="1614977" y="1219417"/>
                  <a:pt x="1645457" y="1219417"/>
                </a:cubicBezTo>
                <a:close/>
                <a:moveTo>
                  <a:pt x="1515168" y="1219417"/>
                </a:moveTo>
                <a:cubicBezTo>
                  <a:pt x="1545647" y="1219417"/>
                  <a:pt x="1570354" y="1244127"/>
                  <a:pt x="1570354" y="1274608"/>
                </a:cubicBezTo>
                <a:cubicBezTo>
                  <a:pt x="1570354" y="1305089"/>
                  <a:pt x="1545647" y="1329799"/>
                  <a:pt x="1515168" y="1329799"/>
                </a:cubicBezTo>
                <a:cubicBezTo>
                  <a:pt x="1484683" y="1329799"/>
                  <a:pt x="1459973" y="1305089"/>
                  <a:pt x="1459973" y="1274608"/>
                </a:cubicBezTo>
                <a:cubicBezTo>
                  <a:pt x="1459973" y="1244127"/>
                  <a:pt x="1484683" y="1219417"/>
                  <a:pt x="1515168" y="1219417"/>
                </a:cubicBezTo>
                <a:close/>
                <a:moveTo>
                  <a:pt x="1381528" y="1219417"/>
                </a:moveTo>
                <a:cubicBezTo>
                  <a:pt x="1412011" y="1219417"/>
                  <a:pt x="1436723" y="1244127"/>
                  <a:pt x="1436723" y="1274608"/>
                </a:cubicBezTo>
                <a:cubicBezTo>
                  <a:pt x="1436723" y="1305089"/>
                  <a:pt x="1412011" y="1329799"/>
                  <a:pt x="1381528" y="1329799"/>
                </a:cubicBezTo>
                <a:cubicBezTo>
                  <a:pt x="1351052" y="1329799"/>
                  <a:pt x="1326339" y="1305089"/>
                  <a:pt x="1326339" y="1274608"/>
                </a:cubicBezTo>
                <a:cubicBezTo>
                  <a:pt x="1326339" y="1244127"/>
                  <a:pt x="1351052" y="1219417"/>
                  <a:pt x="1381528" y="1219417"/>
                </a:cubicBezTo>
                <a:close/>
                <a:moveTo>
                  <a:pt x="1251239" y="1219417"/>
                </a:moveTo>
                <a:cubicBezTo>
                  <a:pt x="1281721" y="1219417"/>
                  <a:pt x="1306431" y="1244127"/>
                  <a:pt x="1306431" y="1274608"/>
                </a:cubicBezTo>
                <a:cubicBezTo>
                  <a:pt x="1306431" y="1305089"/>
                  <a:pt x="1281721" y="1329799"/>
                  <a:pt x="1251239" y="1329799"/>
                </a:cubicBezTo>
                <a:cubicBezTo>
                  <a:pt x="1220756" y="1329799"/>
                  <a:pt x="1196046" y="1305089"/>
                  <a:pt x="1196046" y="1274608"/>
                </a:cubicBezTo>
                <a:cubicBezTo>
                  <a:pt x="1196046" y="1244127"/>
                  <a:pt x="1220756" y="1219417"/>
                  <a:pt x="1251239" y="1219417"/>
                </a:cubicBezTo>
                <a:close/>
                <a:moveTo>
                  <a:pt x="1117601" y="1219417"/>
                </a:moveTo>
                <a:cubicBezTo>
                  <a:pt x="1148084" y="1219417"/>
                  <a:pt x="1172794" y="1244127"/>
                  <a:pt x="1172794" y="1274608"/>
                </a:cubicBezTo>
                <a:cubicBezTo>
                  <a:pt x="1172794" y="1305089"/>
                  <a:pt x="1148084" y="1329799"/>
                  <a:pt x="1117601" y="1329799"/>
                </a:cubicBezTo>
                <a:cubicBezTo>
                  <a:pt x="1087119" y="1329799"/>
                  <a:pt x="1062408" y="1305089"/>
                  <a:pt x="1062408" y="1274608"/>
                </a:cubicBezTo>
                <a:cubicBezTo>
                  <a:pt x="1062408" y="1244127"/>
                  <a:pt x="1087119" y="1219417"/>
                  <a:pt x="1117601" y="1219417"/>
                </a:cubicBezTo>
                <a:close/>
                <a:moveTo>
                  <a:pt x="980622" y="1219417"/>
                </a:moveTo>
                <a:cubicBezTo>
                  <a:pt x="1011105" y="1219417"/>
                  <a:pt x="1035816" y="1244127"/>
                  <a:pt x="1035816" y="1274608"/>
                </a:cubicBezTo>
                <a:cubicBezTo>
                  <a:pt x="1035816" y="1305089"/>
                  <a:pt x="1011105" y="1329799"/>
                  <a:pt x="980622" y="1329799"/>
                </a:cubicBezTo>
                <a:cubicBezTo>
                  <a:pt x="950140" y="1329799"/>
                  <a:pt x="925429" y="1305089"/>
                  <a:pt x="925429" y="1274608"/>
                </a:cubicBezTo>
                <a:cubicBezTo>
                  <a:pt x="925429" y="1244127"/>
                  <a:pt x="950140" y="1219417"/>
                  <a:pt x="980622" y="1219417"/>
                </a:cubicBezTo>
                <a:close/>
                <a:moveTo>
                  <a:pt x="9469710" y="1099147"/>
                </a:moveTo>
                <a:cubicBezTo>
                  <a:pt x="9500192" y="1099147"/>
                  <a:pt x="9524902" y="1123857"/>
                  <a:pt x="9524902" y="1154338"/>
                </a:cubicBezTo>
                <a:cubicBezTo>
                  <a:pt x="9524902" y="1184819"/>
                  <a:pt x="9500192" y="1209529"/>
                  <a:pt x="9469710" y="1209529"/>
                </a:cubicBezTo>
                <a:cubicBezTo>
                  <a:pt x="9439228" y="1209529"/>
                  <a:pt x="9414518" y="1184819"/>
                  <a:pt x="9414518" y="1154338"/>
                </a:cubicBezTo>
                <a:cubicBezTo>
                  <a:pt x="9414518" y="1123857"/>
                  <a:pt x="9439228" y="1099147"/>
                  <a:pt x="9469710" y="1099147"/>
                </a:cubicBezTo>
                <a:close/>
                <a:moveTo>
                  <a:pt x="9336075" y="1099147"/>
                </a:moveTo>
                <a:cubicBezTo>
                  <a:pt x="9366557" y="1099147"/>
                  <a:pt x="9391267" y="1123857"/>
                  <a:pt x="9391267" y="1154338"/>
                </a:cubicBezTo>
                <a:cubicBezTo>
                  <a:pt x="9391267" y="1184819"/>
                  <a:pt x="9366557" y="1209529"/>
                  <a:pt x="9336075" y="1209529"/>
                </a:cubicBezTo>
                <a:cubicBezTo>
                  <a:pt x="9305593" y="1209529"/>
                  <a:pt x="9280883" y="1184819"/>
                  <a:pt x="9280883" y="1154338"/>
                </a:cubicBezTo>
                <a:cubicBezTo>
                  <a:pt x="9280883" y="1123857"/>
                  <a:pt x="9305593" y="1099147"/>
                  <a:pt x="9336075" y="1099147"/>
                </a:cubicBezTo>
                <a:close/>
                <a:moveTo>
                  <a:pt x="9199100" y="1099147"/>
                </a:moveTo>
                <a:cubicBezTo>
                  <a:pt x="9229582" y="1099147"/>
                  <a:pt x="9254292" y="1123857"/>
                  <a:pt x="9254292" y="1154338"/>
                </a:cubicBezTo>
                <a:cubicBezTo>
                  <a:pt x="9254292" y="1184819"/>
                  <a:pt x="9229582" y="1209529"/>
                  <a:pt x="9199100" y="1209529"/>
                </a:cubicBezTo>
                <a:cubicBezTo>
                  <a:pt x="9168618" y="1209529"/>
                  <a:pt x="9143908" y="1184819"/>
                  <a:pt x="9143908" y="1154338"/>
                </a:cubicBezTo>
                <a:cubicBezTo>
                  <a:pt x="9143908" y="1123857"/>
                  <a:pt x="9168618" y="1099147"/>
                  <a:pt x="9199100" y="1099147"/>
                </a:cubicBezTo>
                <a:close/>
                <a:moveTo>
                  <a:pt x="9068805" y="1099147"/>
                </a:moveTo>
                <a:cubicBezTo>
                  <a:pt x="9099287" y="1099147"/>
                  <a:pt x="9123997" y="1123857"/>
                  <a:pt x="9123997" y="1154338"/>
                </a:cubicBezTo>
                <a:cubicBezTo>
                  <a:pt x="9123997" y="1184819"/>
                  <a:pt x="9099287" y="1209529"/>
                  <a:pt x="9068805" y="1209529"/>
                </a:cubicBezTo>
                <a:cubicBezTo>
                  <a:pt x="9038323" y="1209529"/>
                  <a:pt x="9013613" y="1184819"/>
                  <a:pt x="9013613" y="1154338"/>
                </a:cubicBezTo>
                <a:cubicBezTo>
                  <a:pt x="9013613" y="1123857"/>
                  <a:pt x="9038323" y="1099147"/>
                  <a:pt x="9068805" y="1099147"/>
                </a:cubicBezTo>
                <a:close/>
                <a:moveTo>
                  <a:pt x="8935170" y="1099147"/>
                </a:moveTo>
                <a:cubicBezTo>
                  <a:pt x="8965652" y="1099147"/>
                  <a:pt x="8990362" y="1123857"/>
                  <a:pt x="8990362" y="1154338"/>
                </a:cubicBezTo>
                <a:cubicBezTo>
                  <a:pt x="8990362" y="1184819"/>
                  <a:pt x="8965652" y="1209529"/>
                  <a:pt x="8935170" y="1209529"/>
                </a:cubicBezTo>
                <a:cubicBezTo>
                  <a:pt x="8904688" y="1209529"/>
                  <a:pt x="8879978" y="1184819"/>
                  <a:pt x="8879978" y="1154338"/>
                </a:cubicBezTo>
                <a:cubicBezTo>
                  <a:pt x="8879978" y="1123857"/>
                  <a:pt x="8904688" y="1099147"/>
                  <a:pt x="8935170" y="1099147"/>
                </a:cubicBezTo>
                <a:close/>
                <a:moveTo>
                  <a:pt x="8801536" y="1099147"/>
                </a:moveTo>
                <a:cubicBezTo>
                  <a:pt x="8832018" y="1099147"/>
                  <a:pt x="8856728" y="1123857"/>
                  <a:pt x="8856728" y="1154338"/>
                </a:cubicBezTo>
                <a:cubicBezTo>
                  <a:pt x="8856728" y="1184819"/>
                  <a:pt x="8832018" y="1209529"/>
                  <a:pt x="8801536" y="1209529"/>
                </a:cubicBezTo>
                <a:cubicBezTo>
                  <a:pt x="8771054" y="1209529"/>
                  <a:pt x="8746344" y="1184819"/>
                  <a:pt x="8746344" y="1154338"/>
                </a:cubicBezTo>
                <a:cubicBezTo>
                  <a:pt x="8746344" y="1123857"/>
                  <a:pt x="8771054" y="1099147"/>
                  <a:pt x="8801536" y="1099147"/>
                </a:cubicBezTo>
                <a:close/>
                <a:moveTo>
                  <a:pt x="8671243" y="1099147"/>
                </a:moveTo>
                <a:cubicBezTo>
                  <a:pt x="8701725" y="1099147"/>
                  <a:pt x="8726435" y="1123857"/>
                  <a:pt x="8726435" y="1154338"/>
                </a:cubicBezTo>
                <a:cubicBezTo>
                  <a:pt x="8726435" y="1184819"/>
                  <a:pt x="8701725" y="1209529"/>
                  <a:pt x="8671243" y="1209529"/>
                </a:cubicBezTo>
                <a:cubicBezTo>
                  <a:pt x="8640761" y="1209529"/>
                  <a:pt x="8616051" y="1184819"/>
                  <a:pt x="8616051" y="1154338"/>
                </a:cubicBezTo>
                <a:cubicBezTo>
                  <a:pt x="8616051" y="1123857"/>
                  <a:pt x="8640761" y="1099147"/>
                  <a:pt x="8671243" y="1099147"/>
                </a:cubicBezTo>
                <a:close/>
                <a:moveTo>
                  <a:pt x="8537609" y="1099147"/>
                </a:moveTo>
                <a:cubicBezTo>
                  <a:pt x="8568091" y="1099147"/>
                  <a:pt x="8592801" y="1123857"/>
                  <a:pt x="8592801" y="1154338"/>
                </a:cubicBezTo>
                <a:cubicBezTo>
                  <a:pt x="8592801" y="1184819"/>
                  <a:pt x="8568091" y="1209529"/>
                  <a:pt x="8537609" y="1209529"/>
                </a:cubicBezTo>
                <a:cubicBezTo>
                  <a:pt x="8507127" y="1209529"/>
                  <a:pt x="8482417" y="1184819"/>
                  <a:pt x="8482417" y="1154338"/>
                </a:cubicBezTo>
                <a:cubicBezTo>
                  <a:pt x="8482417" y="1123857"/>
                  <a:pt x="8507127" y="1099147"/>
                  <a:pt x="8537609" y="1099147"/>
                </a:cubicBezTo>
                <a:close/>
                <a:moveTo>
                  <a:pt x="8407315" y="1099147"/>
                </a:moveTo>
                <a:cubicBezTo>
                  <a:pt x="8437797" y="1099147"/>
                  <a:pt x="8462507" y="1123857"/>
                  <a:pt x="8462507" y="1154338"/>
                </a:cubicBezTo>
                <a:cubicBezTo>
                  <a:pt x="8462507" y="1184819"/>
                  <a:pt x="8437797" y="1209529"/>
                  <a:pt x="8407315" y="1209529"/>
                </a:cubicBezTo>
                <a:cubicBezTo>
                  <a:pt x="8376833" y="1209529"/>
                  <a:pt x="8352123" y="1184819"/>
                  <a:pt x="8352123" y="1154338"/>
                </a:cubicBezTo>
                <a:cubicBezTo>
                  <a:pt x="8352123" y="1123857"/>
                  <a:pt x="8376833" y="1099147"/>
                  <a:pt x="8407315" y="1099147"/>
                </a:cubicBezTo>
                <a:close/>
                <a:moveTo>
                  <a:pt x="8273681" y="1099147"/>
                </a:moveTo>
                <a:cubicBezTo>
                  <a:pt x="8304163" y="1099147"/>
                  <a:pt x="8328873" y="1123857"/>
                  <a:pt x="8328873" y="1154338"/>
                </a:cubicBezTo>
                <a:cubicBezTo>
                  <a:pt x="8328873" y="1184819"/>
                  <a:pt x="8304163" y="1209529"/>
                  <a:pt x="8273681" y="1209529"/>
                </a:cubicBezTo>
                <a:cubicBezTo>
                  <a:pt x="8243199" y="1209529"/>
                  <a:pt x="8218489" y="1184819"/>
                  <a:pt x="8218489" y="1154338"/>
                </a:cubicBezTo>
                <a:cubicBezTo>
                  <a:pt x="8218489" y="1123857"/>
                  <a:pt x="8243199" y="1099147"/>
                  <a:pt x="8273681" y="1099147"/>
                </a:cubicBezTo>
                <a:close/>
                <a:moveTo>
                  <a:pt x="8143386" y="1099147"/>
                </a:moveTo>
                <a:cubicBezTo>
                  <a:pt x="8173868" y="1099147"/>
                  <a:pt x="8198578" y="1123857"/>
                  <a:pt x="8198578" y="1154338"/>
                </a:cubicBezTo>
                <a:cubicBezTo>
                  <a:pt x="8198578" y="1184819"/>
                  <a:pt x="8173868" y="1209529"/>
                  <a:pt x="8143386" y="1209529"/>
                </a:cubicBezTo>
                <a:cubicBezTo>
                  <a:pt x="8112904" y="1209529"/>
                  <a:pt x="8088194" y="1184819"/>
                  <a:pt x="8088194" y="1154338"/>
                </a:cubicBezTo>
                <a:cubicBezTo>
                  <a:pt x="8088194" y="1123857"/>
                  <a:pt x="8112904" y="1099147"/>
                  <a:pt x="8143386" y="1099147"/>
                </a:cubicBezTo>
                <a:close/>
                <a:moveTo>
                  <a:pt x="8009752" y="1099147"/>
                </a:moveTo>
                <a:cubicBezTo>
                  <a:pt x="8040234" y="1099147"/>
                  <a:pt x="8064944" y="1123857"/>
                  <a:pt x="8064944" y="1154338"/>
                </a:cubicBezTo>
                <a:cubicBezTo>
                  <a:pt x="8064944" y="1184819"/>
                  <a:pt x="8040234" y="1209529"/>
                  <a:pt x="8009752" y="1209529"/>
                </a:cubicBezTo>
                <a:cubicBezTo>
                  <a:pt x="7979270" y="1209529"/>
                  <a:pt x="7954560" y="1184819"/>
                  <a:pt x="7954560" y="1154338"/>
                </a:cubicBezTo>
                <a:cubicBezTo>
                  <a:pt x="7954560" y="1123857"/>
                  <a:pt x="7979270" y="1099147"/>
                  <a:pt x="8009752" y="1099147"/>
                </a:cubicBezTo>
                <a:close/>
                <a:moveTo>
                  <a:pt x="7876117" y="1099147"/>
                </a:moveTo>
                <a:cubicBezTo>
                  <a:pt x="7906599" y="1099147"/>
                  <a:pt x="7931309" y="1123857"/>
                  <a:pt x="7931309" y="1154338"/>
                </a:cubicBezTo>
                <a:cubicBezTo>
                  <a:pt x="7931309" y="1184819"/>
                  <a:pt x="7906599" y="1209529"/>
                  <a:pt x="7876117" y="1209529"/>
                </a:cubicBezTo>
                <a:cubicBezTo>
                  <a:pt x="7845635" y="1209529"/>
                  <a:pt x="7820925" y="1184819"/>
                  <a:pt x="7820925" y="1154338"/>
                </a:cubicBezTo>
                <a:cubicBezTo>
                  <a:pt x="7820925" y="1123857"/>
                  <a:pt x="7845635" y="1099147"/>
                  <a:pt x="7876117" y="1099147"/>
                </a:cubicBezTo>
                <a:close/>
                <a:moveTo>
                  <a:pt x="7745822" y="1099147"/>
                </a:moveTo>
                <a:cubicBezTo>
                  <a:pt x="7776304" y="1099147"/>
                  <a:pt x="7801014" y="1123857"/>
                  <a:pt x="7801014" y="1154338"/>
                </a:cubicBezTo>
                <a:cubicBezTo>
                  <a:pt x="7801014" y="1184819"/>
                  <a:pt x="7776304" y="1209529"/>
                  <a:pt x="7745822" y="1209529"/>
                </a:cubicBezTo>
                <a:cubicBezTo>
                  <a:pt x="7715340" y="1209529"/>
                  <a:pt x="7690630" y="1184819"/>
                  <a:pt x="7690630" y="1154338"/>
                </a:cubicBezTo>
                <a:cubicBezTo>
                  <a:pt x="7690630" y="1123857"/>
                  <a:pt x="7715340" y="1099147"/>
                  <a:pt x="7745822" y="1099147"/>
                </a:cubicBezTo>
                <a:close/>
                <a:moveTo>
                  <a:pt x="7608847" y="1099147"/>
                </a:moveTo>
                <a:cubicBezTo>
                  <a:pt x="7639329" y="1099147"/>
                  <a:pt x="7664039" y="1123857"/>
                  <a:pt x="7664039" y="1154338"/>
                </a:cubicBezTo>
                <a:cubicBezTo>
                  <a:pt x="7664039" y="1184819"/>
                  <a:pt x="7639329" y="1209529"/>
                  <a:pt x="7608847" y="1209529"/>
                </a:cubicBezTo>
                <a:cubicBezTo>
                  <a:pt x="7578365" y="1209529"/>
                  <a:pt x="7553655" y="1184819"/>
                  <a:pt x="7553655" y="1154338"/>
                </a:cubicBezTo>
                <a:cubicBezTo>
                  <a:pt x="7553655" y="1123857"/>
                  <a:pt x="7578365" y="1099147"/>
                  <a:pt x="7608847" y="1099147"/>
                </a:cubicBezTo>
                <a:close/>
                <a:moveTo>
                  <a:pt x="7481895" y="1099147"/>
                </a:moveTo>
                <a:cubicBezTo>
                  <a:pt x="7512377" y="1099147"/>
                  <a:pt x="7537087" y="1123857"/>
                  <a:pt x="7537087" y="1154338"/>
                </a:cubicBezTo>
                <a:cubicBezTo>
                  <a:pt x="7537087" y="1184819"/>
                  <a:pt x="7512377" y="1209529"/>
                  <a:pt x="7481895" y="1209529"/>
                </a:cubicBezTo>
                <a:cubicBezTo>
                  <a:pt x="7451413" y="1209529"/>
                  <a:pt x="7426703" y="1184819"/>
                  <a:pt x="7426703" y="1154338"/>
                </a:cubicBezTo>
                <a:cubicBezTo>
                  <a:pt x="7426703" y="1123857"/>
                  <a:pt x="7451413" y="1099147"/>
                  <a:pt x="7481895" y="1099147"/>
                </a:cubicBezTo>
                <a:close/>
                <a:moveTo>
                  <a:pt x="7341578" y="1099147"/>
                </a:moveTo>
                <a:cubicBezTo>
                  <a:pt x="7372060" y="1099147"/>
                  <a:pt x="7396770" y="1123857"/>
                  <a:pt x="7396770" y="1154338"/>
                </a:cubicBezTo>
                <a:cubicBezTo>
                  <a:pt x="7396770" y="1184819"/>
                  <a:pt x="7372060" y="1209529"/>
                  <a:pt x="7341578" y="1209529"/>
                </a:cubicBezTo>
                <a:cubicBezTo>
                  <a:pt x="7311096" y="1209529"/>
                  <a:pt x="7286386" y="1184819"/>
                  <a:pt x="7286386" y="1154338"/>
                </a:cubicBezTo>
                <a:cubicBezTo>
                  <a:pt x="7286386" y="1123857"/>
                  <a:pt x="7311096" y="1099147"/>
                  <a:pt x="7341578" y="1099147"/>
                </a:cubicBezTo>
                <a:close/>
                <a:moveTo>
                  <a:pt x="7211285" y="1099147"/>
                </a:moveTo>
                <a:cubicBezTo>
                  <a:pt x="7241767" y="1099147"/>
                  <a:pt x="7266477" y="1123857"/>
                  <a:pt x="7266477" y="1154338"/>
                </a:cubicBezTo>
                <a:cubicBezTo>
                  <a:pt x="7266477" y="1184819"/>
                  <a:pt x="7241767" y="1209529"/>
                  <a:pt x="7211285" y="1209529"/>
                </a:cubicBezTo>
                <a:cubicBezTo>
                  <a:pt x="7180803" y="1209529"/>
                  <a:pt x="7156093" y="1184819"/>
                  <a:pt x="7156093" y="1154338"/>
                </a:cubicBezTo>
                <a:cubicBezTo>
                  <a:pt x="7156093" y="1123857"/>
                  <a:pt x="7180803" y="1099147"/>
                  <a:pt x="7211285" y="1099147"/>
                </a:cubicBezTo>
                <a:close/>
                <a:moveTo>
                  <a:pt x="7080991" y="1099147"/>
                </a:moveTo>
                <a:cubicBezTo>
                  <a:pt x="7111473" y="1099147"/>
                  <a:pt x="7136183" y="1123857"/>
                  <a:pt x="7136183" y="1154338"/>
                </a:cubicBezTo>
                <a:cubicBezTo>
                  <a:pt x="7136183" y="1184819"/>
                  <a:pt x="7111473" y="1209529"/>
                  <a:pt x="7080991" y="1209529"/>
                </a:cubicBezTo>
                <a:cubicBezTo>
                  <a:pt x="7050509" y="1209529"/>
                  <a:pt x="7025799" y="1184819"/>
                  <a:pt x="7025799" y="1154338"/>
                </a:cubicBezTo>
                <a:cubicBezTo>
                  <a:pt x="7025799" y="1123857"/>
                  <a:pt x="7050509" y="1099147"/>
                  <a:pt x="7080991" y="1099147"/>
                </a:cubicBezTo>
                <a:close/>
                <a:moveTo>
                  <a:pt x="6947356" y="1099147"/>
                </a:moveTo>
                <a:cubicBezTo>
                  <a:pt x="6977838" y="1099147"/>
                  <a:pt x="7002548" y="1123857"/>
                  <a:pt x="7002548" y="1154338"/>
                </a:cubicBezTo>
                <a:cubicBezTo>
                  <a:pt x="7002548" y="1184819"/>
                  <a:pt x="6977838" y="1209529"/>
                  <a:pt x="6947356" y="1209529"/>
                </a:cubicBezTo>
                <a:cubicBezTo>
                  <a:pt x="6916874" y="1209529"/>
                  <a:pt x="6892164" y="1184819"/>
                  <a:pt x="6892164" y="1154338"/>
                </a:cubicBezTo>
                <a:cubicBezTo>
                  <a:pt x="6892164" y="1123857"/>
                  <a:pt x="6916874" y="1099147"/>
                  <a:pt x="6947356" y="1099147"/>
                </a:cubicBezTo>
                <a:close/>
                <a:moveTo>
                  <a:pt x="6817063" y="1099147"/>
                </a:moveTo>
                <a:cubicBezTo>
                  <a:pt x="6847545" y="1099147"/>
                  <a:pt x="6872255" y="1123857"/>
                  <a:pt x="6872255" y="1154338"/>
                </a:cubicBezTo>
                <a:cubicBezTo>
                  <a:pt x="6872255" y="1184819"/>
                  <a:pt x="6847545" y="1209529"/>
                  <a:pt x="6817063" y="1209529"/>
                </a:cubicBezTo>
                <a:cubicBezTo>
                  <a:pt x="6786581" y="1209529"/>
                  <a:pt x="6761871" y="1184819"/>
                  <a:pt x="6761871" y="1154338"/>
                </a:cubicBezTo>
                <a:cubicBezTo>
                  <a:pt x="6761871" y="1123857"/>
                  <a:pt x="6786581" y="1099147"/>
                  <a:pt x="6817063" y="1099147"/>
                </a:cubicBezTo>
                <a:close/>
                <a:moveTo>
                  <a:pt x="6683430" y="1099147"/>
                </a:moveTo>
                <a:cubicBezTo>
                  <a:pt x="6713912" y="1099147"/>
                  <a:pt x="6738622" y="1123857"/>
                  <a:pt x="6738622" y="1154338"/>
                </a:cubicBezTo>
                <a:cubicBezTo>
                  <a:pt x="6738622" y="1184819"/>
                  <a:pt x="6713912" y="1209529"/>
                  <a:pt x="6683430" y="1209529"/>
                </a:cubicBezTo>
                <a:cubicBezTo>
                  <a:pt x="6652948" y="1209529"/>
                  <a:pt x="6628238" y="1184819"/>
                  <a:pt x="6628238" y="1154338"/>
                </a:cubicBezTo>
                <a:cubicBezTo>
                  <a:pt x="6628238" y="1123857"/>
                  <a:pt x="6652948" y="1099147"/>
                  <a:pt x="6683430" y="1099147"/>
                </a:cubicBezTo>
                <a:close/>
                <a:moveTo>
                  <a:pt x="6553135" y="1099147"/>
                </a:moveTo>
                <a:cubicBezTo>
                  <a:pt x="6583617" y="1099147"/>
                  <a:pt x="6608327" y="1123857"/>
                  <a:pt x="6608327" y="1154338"/>
                </a:cubicBezTo>
                <a:cubicBezTo>
                  <a:pt x="6608327" y="1184819"/>
                  <a:pt x="6583617" y="1209529"/>
                  <a:pt x="6553135" y="1209529"/>
                </a:cubicBezTo>
                <a:cubicBezTo>
                  <a:pt x="6522653" y="1209529"/>
                  <a:pt x="6497943" y="1184819"/>
                  <a:pt x="6497943" y="1154338"/>
                </a:cubicBezTo>
                <a:cubicBezTo>
                  <a:pt x="6497943" y="1123857"/>
                  <a:pt x="6522653" y="1099147"/>
                  <a:pt x="6553135" y="1099147"/>
                </a:cubicBezTo>
                <a:close/>
                <a:moveTo>
                  <a:pt x="6419501" y="1099147"/>
                </a:moveTo>
                <a:cubicBezTo>
                  <a:pt x="6449983" y="1099147"/>
                  <a:pt x="6474693" y="1123857"/>
                  <a:pt x="6474693" y="1154338"/>
                </a:cubicBezTo>
                <a:cubicBezTo>
                  <a:pt x="6474693" y="1184819"/>
                  <a:pt x="6449983" y="1209529"/>
                  <a:pt x="6419501" y="1209529"/>
                </a:cubicBezTo>
                <a:cubicBezTo>
                  <a:pt x="6389019" y="1209529"/>
                  <a:pt x="6364309" y="1184819"/>
                  <a:pt x="6364309" y="1154338"/>
                </a:cubicBezTo>
                <a:cubicBezTo>
                  <a:pt x="6364309" y="1123857"/>
                  <a:pt x="6389019" y="1099147"/>
                  <a:pt x="6419501" y="1099147"/>
                </a:cubicBezTo>
                <a:close/>
                <a:moveTo>
                  <a:pt x="6289206" y="1099147"/>
                </a:moveTo>
                <a:cubicBezTo>
                  <a:pt x="6319688" y="1099147"/>
                  <a:pt x="6344398" y="1123857"/>
                  <a:pt x="6344398" y="1154338"/>
                </a:cubicBezTo>
                <a:cubicBezTo>
                  <a:pt x="6344398" y="1184819"/>
                  <a:pt x="6319688" y="1209529"/>
                  <a:pt x="6289206" y="1209529"/>
                </a:cubicBezTo>
                <a:cubicBezTo>
                  <a:pt x="6258724" y="1209529"/>
                  <a:pt x="6234014" y="1184819"/>
                  <a:pt x="6234014" y="1154338"/>
                </a:cubicBezTo>
                <a:cubicBezTo>
                  <a:pt x="6234014" y="1123857"/>
                  <a:pt x="6258724" y="1099147"/>
                  <a:pt x="6289206" y="1099147"/>
                </a:cubicBezTo>
                <a:close/>
                <a:moveTo>
                  <a:pt x="6155571" y="1099147"/>
                </a:moveTo>
                <a:cubicBezTo>
                  <a:pt x="6186053" y="1099147"/>
                  <a:pt x="6210763" y="1123857"/>
                  <a:pt x="6210763" y="1154338"/>
                </a:cubicBezTo>
                <a:cubicBezTo>
                  <a:pt x="6210763" y="1184819"/>
                  <a:pt x="6186053" y="1209529"/>
                  <a:pt x="6155571" y="1209529"/>
                </a:cubicBezTo>
                <a:cubicBezTo>
                  <a:pt x="6125089" y="1209529"/>
                  <a:pt x="6100379" y="1184819"/>
                  <a:pt x="6100379" y="1154338"/>
                </a:cubicBezTo>
                <a:cubicBezTo>
                  <a:pt x="6100379" y="1123857"/>
                  <a:pt x="6125089" y="1099147"/>
                  <a:pt x="6155571" y="1099147"/>
                </a:cubicBezTo>
                <a:close/>
                <a:moveTo>
                  <a:pt x="6021938" y="1099147"/>
                </a:moveTo>
                <a:cubicBezTo>
                  <a:pt x="6052420" y="1099147"/>
                  <a:pt x="6077130" y="1123857"/>
                  <a:pt x="6077130" y="1154338"/>
                </a:cubicBezTo>
                <a:cubicBezTo>
                  <a:pt x="6077130" y="1184819"/>
                  <a:pt x="6052420" y="1209529"/>
                  <a:pt x="6021938" y="1209529"/>
                </a:cubicBezTo>
                <a:cubicBezTo>
                  <a:pt x="5991456" y="1209529"/>
                  <a:pt x="5966746" y="1184819"/>
                  <a:pt x="5966746" y="1154338"/>
                </a:cubicBezTo>
                <a:cubicBezTo>
                  <a:pt x="5966746" y="1123857"/>
                  <a:pt x="5991456" y="1099147"/>
                  <a:pt x="6021938" y="1099147"/>
                </a:cubicBezTo>
                <a:close/>
                <a:moveTo>
                  <a:pt x="5884963" y="1099147"/>
                </a:moveTo>
                <a:cubicBezTo>
                  <a:pt x="5915445" y="1099147"/>
                  <a:pt x="5940155" y="1123857"/>
                  <a:pt x="5940155" y="1154338"/>
                </a:cubicBezTo>
                <a:cubicBezTo>
                  <a:pt x="5940155" y="1184819"/>
                  <a:pt x="5915445" y="1209529"/>
                  <a:pt x="5884963" y="1209529"/>
                </a:cubicBezTo>
                <a:cubicBezTo>
                  <a:pt x="5854481" y="1209529"/>
                  <a:pt x="5829771" y="1184819"/>
                  <a:pt x="5829771" y="1154338"/>
                </a:cubicBezTo>
                <a:cubicBezTo>
                  <a:pt x="5829771" y="1123857"/>
                  <a:pt x="5854481" y="1099147"/>
                  <a:pt x="5884963" y="1099147"/>
                </a:cubicBezTo>
                <a:close/>
                <a:moveTo>
                  <a:pt x="5754668" y="1099147"/>
                </a:moveTo>
                <a:cubicBezTo>
                  <a:pt x="5785150" y="1099147"/>
                  <a:pt x="5809860" y="1123857"/>
                  <a:pt x="5809860" y="1154338"/>
                </a:cubicBezTo>
                <a:cubicBezTo>
                  <a:pt x="5809860" y="1184819"/>
                  <a:pt x="5785150" y="1209529"/>
                  <a:pt x="5754668" y="1209529"/>
                </a:cubicBezTo>
                <a:cubicBezTo>
                  <a:pt x="5724186" y="1209529"/>
                  <a:pt x="5699476" y="1184819"/>
                  <a:pt x="5699476" y="1154338"/>
                </a:cubicBezTo>
                <a:cubicBezTo>
                  <a:pt x="5699476" y="1123857"/>
                  <a:pt x="5724186" y="1099147"/>
                  <a:pt x="5754668" y="1099147"/>
                </a:cubicBezTo>
                <a:close/>
                <a:moveTo>
                  <a:pt x="5621031" y="1099147"/>
                </a:moveTo>
                <a:cubicBezTo>
                  <a:pt x="5651513" y="1099147"/>
                  <a:pt x="5676223" y="1123857"/>
                  <a:pt x="5676223" y="1154338"/>
                </a:cubicBezTo>
                <a:cubicBezTo>
                  <a:pt x="5676223" y="1184819"/>
                  <a:pt x="5651513" y="1209529"/>
                  <a:pt x="5621031" y="1209529"/>
                </a:cubicBezTo>
                <a:cubicBezTo>
                  <a:pt x="5590549" y="1209529"/>
                  <a:pt x="5565839" y="1184819"/>
                  <a:pt x="5565839" y="1154338"/>
                </a:cubicBezTo>
                <a:cubicBezTo>
                  <a:pt x="5565839" y="1123857"/>
                  <a:pt x="5590549" y="1099147"/>
                  <a:pt x="5621031" y="1099147"/>
                </a:cubicBezTo>
                <a:close/>
                <a:moveTo>
                  <a:pt x="5487398" y="1099147"/>
                </a:moveTo>
                <a:cubicBezTo>
                  <a:pt x="5517880" y="1099147"/>
                  <a:pt x="5542590" y="1123857"/>
                  <a:pt x="5542590" y="1154338"/>
                </a:cubicBezTo>
                <a:cubicBezTo>
                  <a:pt x="5542590" y="1184819"/>
                  <a:pt x="5517880" y="1209529"/>
                  <a:pt x="5487398" y="1209529"/>
                </a:cubicBezTo>
                <a:cubicBezTo>
                  <a:pt x="5456916" y="1209529"/>
                  <a:pt x="5432206" y="1184819"/>
                  <a:pt x="5432206" y="1154338"/>
                </a:cubicBezTo>
                <a:cubicBezTo>
                  <a:pt x="5432206" y="1123857"/>
                  <a:pt x="5456916" y="1099147"/>
                  <a:pt x="5487398" y="1099147"/>
                </a:cubicBezTo>
                <a:close/>
                <a:moveTo>
                  <a:pt x="5357105" y="1099147"/>
                </a:moveTo>
                <a:cubicBezTo>
                  <a:pt x="5387587" y="1099147"/>
                  <a:pt x="5412297" y="1123857"/>
                  <a:pt x="5412297" y="1154338"/>
                </a:cubicBezTo>
                <a:cubicBezTo>
                  <a:pt x="5412297" y="1184819"/>
                  <a:pt x="5387587" y="1209529"/>
                  <a:pt x="5357105" y="1209529"/>
                </a:cubicBezTo>
                <a:cubicBezTo>
                  <a:pt x="5326623" y="1209529"/>
                  <a:pt x="5301913" y="1184819"/>
                  <a:pt x="5301913" y="1154338"/>
                </a:cubicBezTo>
                <a:cubicBezTo>
                  <a:pt x="5301913" y="1123857"/>
                  <a:pt x="5326623" y="1099147"/>
                  <a:pt x="5357105" y="1099147"/>
                </a:cubicBezTo>
                <a:close/>
                <a:moveTo>
                  <a:pt x="5093176" y="1099147"/>
                </a:moveTo>
                <a:cubicBezTo>
                  <a:pt x="5123658" y="1099147"/>
                  <a:pt x="5148368" y="1123857"/>
                  <a:pt x="5148368" y="1154338"/>
                </a:cubicBezTo>
                <a:cubicBezTo>
                  <a:pt x="5148368" y="1184819"/>
                  <a:pt x="5123658" y="1209529"/>
                  <a:pt x="5093176" y="1209529"/>
                </a:cubicBezTo>
                <a:cubicBezTo>
                  <a:pt x="5062694" y="1209529"/>
                  <a:pt x="5037984" y="1184819"/>
                  <a:pt x="5037984" y="1154338"/>
                </a:cubicBezTo>
                <a:cubicBezTo>
                  <a:pt x="5037984" y="1123857"/>
                  <a:pt x="5062694" y="1099147"/>
                  <a:pt x="5093176" y="1099147"/>
                </a:cubicBezTo>
                <a:close/>
                <a:moveTo>
                  <a:pt x="4959540" y="1099147"/>
                </a:moveTo>
                <a:cubicBezTo>
                  <a:pt x="4990022" y="1099147"/>
                  <a:pt x="5014732" y="1123857"/>
                  <a:pt x="5014732" y="1154338"/>
                </a:cubicBezTo>
                <a:cubicBezTo>
                  <a:pt x="5014732" y="1184819"/>
                  <a:pt x="4990022" y="1209529"/>
                  <a:pt x="4959540" y="1209529"/>
                </a:cubicBezTo>
                <a:cubicBezTo>
                  <a:pt x="4929058" y="1209529"/>
                  <a:pt x="4904348" y="1184819"/>
                  <a:pt x="4904348" y="1154338"/>
                </a:cubicBezTo>
                <a:cubicBezTo>
                  <a:pt x="4904348" y="1123857"/>
                  <a:pt x="4929058" y="1099147"/>
                  <a:pt x="4959540" y="1099147"/>
                </a:cubicBezTo>
                <a:close/>
                <a:moveTo>
                  <a:pt x="4829246" y="1099147"/>
                </a:moveTo>
                <a:cubicBezTo>
                  <a:pt x="4859728" y="1099147"/>
                  <a:pt x="4884438" y="1123857"/>
                  <a:pt x="4884438" y="1154338"/>
                </a:cubicBezTo>
                <a:cubicBezTo>
                  <a:pt x="4884438" y="1184819"/>
                  <a:pt x="4859728" y="1209529"/>
                  <a:pt x="4829246" y="1209529"/>
                </a:cubicBezTo>
                <a:cubicBezTo>
                  <a:pt x="4798764" y="1209529"/>
                  <a:pt x="4774054" y="1184819"/>
                  <a:pt x="4774054" y="1154338"/>
                </a:cubicBezTo>
                <a:cubicBezTo>
                  <a:pt x="4774054" y="1123857"/>
                  <a:pt x="4798764" y="1099147"/>
                  <a:pt x="4829246" y="1099147"/>
                </a:cubicBezTo>
                <a:close/>
                <a:moveTo>
                  <a:pt x="319117" y="1099147"/>
                </a:moveTo>
                <a:cubicBezTo>
                  <a:pt x="349600" y="1099147"/>
                  <a:pt x="374310" y="1123857"/>
                  <a:pt x="374310" y="1154338"/>
                </a:cubicBezTo>
                <a:cubicBezTo>
                  <a:pt x="374310" y="1184819"/>
                  <a:pt x="349600" y="1209529"/>
                  <a:pt x="319117" y="1209529"/>
                </a:cubicBezTo>
                <a:cubicBezTo>
                  <a:pt x="288635" y="1209529"/>
                  <a:pt x="263926" y="1184819"/>
                  <a:pt x="263926" y="1154338"/>
                </a:cubicBezTo>
                <a:cubicBezTo>
                  <a:pt x="263926" y="1123857"/>
                  <a:pt x="288635" y="1099147"/>
                  <a:pt x="319117" y="1099147"/>
                </a:cubicBezTo>
                <a:close/>
                <a:moveTo>
                  <a:pt x="185484" y="1099147"/>
                </a:moveTo>
                <a:cubicBezTo>
                  <a:pt x="215966" y="1099147"/>
                  <a:pt x="240675" y="1123857"/>
                  <a:pt x="240675" y="1154338"/>
                </a:cubicBezTo>
                <a:cubicBezTo>
                  <a:pt x="240675" y="1184819"/>
                  <a:pt x="215966" y="1209529"/>
                  <a:pt x="185484" y="1209529"/>
                </a:cubicBezTo>
                <a:cubicBezTo>
                  <a:pt x="155003" y="1209529"/>
                  <a:pt x="130292" y="1184819"/>
                  <a:pt x="130292" y="1154338"/>
                </a:cubicBezTo>
                <a:cubicBezTo>
                  <a:pt x="130292" y="1123857"/>
                  <a:pt x="155003" y="1099147"/>
                  <a:pt x="185484" y="1099147"/>
                </a:cubicBezTo>
                <a:close/>
                <a:moveTo>
                  <a:pt x="55190" y="1099147"/>
                </a:moveTo>
                <a:cubicBezTo>
                  <a:pt x="85672" y="1099147"/>
                  <a:pt x="110381" y="1123857"/>
                  <a:pt x="110381" y="1154338"/>
                </a:cubicBezTo>
                <a:cubicBezTo>
                  <a:pt x="110381" y="1184819"/>
                  <a:pt x="85672" y="1209529"/>
                  <a:pt x="55190" y="1209529"/>
                </a:cubicBezTo>
                <a:cubicBezTo>
                  <a:pt x="24708" y="1209529"/>
                  <a:pt x="0" y="1184819"/>
                  <a:pt x="0" y="1154338"/>
                </a:cubicBezTo>
                <a:cubicBezTo>
                  <a:pt x="0" y="1123857"/>
                  <a:pt x="24708" y="1099147"/>
                  <a:pt x="55190" y="1099147"/>
                </a:cubicBezTo>
                <a:close/>
                <a:moveTo>
                  <a:pt x="3499584" y="1099146"/>
                </a:moveTo>
                <a:cubicBezTo>
                  <a:pt x="3530066" y="1099146"/>
                  <a:pt x="3554776" y="1123856"/>
                  <a:pt x="3554776" y="1154337"/>
                </a:cubicBezTo>
                <a:cubicBezTo>
                  <a:pt x="3554776" y="1184818"/>
                  <a:pt x="3530066" y="1209528"/>
                  <a:pt x="3499584" y="1209528"/>
                </a:cubicBezTo>
                <a:cubicBezTo>
                  <a:pt x="3469102" y="1209528"/>
                  <a:pt x="3444392" y="1184818"/>
                  <a:pt x="3444392" y="1154337"/>
                </a:cubicBezTo>
                <a:cubicBezTo>
                  <a:pt x="3444392" y="1123856"/>
                  <a:pt x="3469102" y="1099146"/>
                  <a:pt x="3499584" y="1099146"/>
                </a:cubicBezTo>
                <a:close/>
                <a:moveTo>
                  <a:pt x="2570894" y="1099146"/>
                </a:moveTo>
                <a:cubicBezTo>
                  <a:pt x="2601377" y="1099146"/>
                  <a:pt x="2626086" y="1123856"/>
                  <a:pt x="2626086" y="1154337"/>
                </a:cubicBezTo>
                <a:cubicBezTo>
                  <a:pt x="2626086" y="1184818"/>
                  <a:pt x="2601377" y="1209528"/>
                  <a:pt x="2570894" y="1209528"/>
                </a:cubicBezTo>
                <a:cubicBezTo>
                  <a:pt x="2540412" y="1209528"/>
                  <a:pt x="2515701" y="1184818"/>
                  <a:pt x="2515701" y="1154337"/>
                </a:cubicBezTo>
                <a:cubicBezTo>
                  <a:pt x="2515701" y="1123856"/>
                  <a:pt x="2540412" y="1099146"/>
                  <a:pt x="2570894" y="1099146"/>
                </a:cubicBezTo>
                <a:close/>
                <a:moveTo>
                  <a:pt x="2039698" y="1099146"/>
                </a:moveTo>
                <a:cubicBezTo>
                  <a:pt x="2070180" y="1099146"/>
                  <a:pt x="2094891" y="1123856"/>
                  <a:pt x="2094891" y="1154337"/>
                </a:cubicBezTo>
                <a:cubicBezTo>
                  <a:pt x="2094891" y="1184818"/>
                  <a:pt x="2070180" y="1209528"/>
                  <a:pt x="2039698" y="1209528"/>
                </a:cubicBezTo>
                <a:cubicBezTo>
                  <a:pt x="2009214" y="1209528"/>
                  <a:pt x="1984505" y="1184818"/>
                  <a:pt x="1984505" y="1154337"/>
                </a:cubicBezTo>
                <a:cubicBezTo>
                  <a:pt x="1984505" y="1123856"/>
                  <a:pt x="2009214" y="1099146"/>
                  <a:pt x="2039698" y="1099146"/>
                </a:cubicBezTo>
                <a:close/>
                <a:moveTo>
                  <a:pt x="1909401" y="1099146"/>
                </a:moveTo>
                <a:cubicBezTo>
                  <a:pt x="1939883" y="1099146"/>
                  <a:pt x="1964592" y="1123856"/>
                  <a:pt x="1964592" y="1154337"/>
                </a:cubicBezTo>
                <a:cubicBezTo>
                  <a:pt x="1964592" y="1184818"/>
                  <a:pt x="1939883" y="1209528"/>
                  <a:pt x="1909401" y="1209528"/>
                </a:cubicBezTo>
                <a:cubicBezTo>
                  <a:pt x="1878917" y="1209528"/>
                  <a:pt x="1854207" y="1184818"/>
                  <a:pt x="1854207" y="1154337"/>
                </a:cubicBezTo>
                <a:cubicBezTo>
                  <a:pt x="1854207" y="1123856"/>
                  <a:pt x="1878917" y="1099146"/>
                  <a:pt x="1909401" y="1099146"/>
                </a:cubicBezTo>
                <a:close/>
                <a:moveTo>
                  <a:pt x="1779104" y="1099146"/>
                </a:moveTo>
                <a:cubicBezTo>
                  <a:pt x="1809585" y="1099146"/>
                  <a:pt x="1834296" y="1123856"/>
                  <a:pt x="1834296" y="1154337"/>
                </a:cubicBezTo>
                <a:cubicBezTo>
                  <a:pt x="1834296" y="1184818"/>
                  <a:pt x="1809585" y="1209528"/>
                  <a:pt x="1779104" y="1209528"/>
                </a:cubicBezTo>
                <a:cubicBezTo>
                  <a:pt x="1748623" y="1209528"/>
                  <a:pt x="1723910" y="1184818"/>
                  <a:pt x="1723910" y="1154337"/>
                </a:cubicBezTo>
                <a:cubicBezTo>
                  <a:pt x="1723910" y="1123856"/>
                  <a:pt x="1748623" y="1099146"/>
                  <a:pt x="1779104" y="1099146"/>
                </a:cubicBezTo>
                <a:close/>
                <a:moveTo>
                  <a:pt x="1645469" y="1099146"/>
                </a:moveTo>
                <a:cubicBezTo>
                  <a:pt x="1675950" y="1099146"/>
                  <a:pt x="1700664" y="1123856"/>
                  <a:pt x="1700664" y="1154337"/>
                </a:cubicBezTo>
                <a:cubicBezTo>
                  <a:pt x="1700664" y="1184818"/>
                  <a:pt x="1675950" y="1209528"/>
                  <a:pt x="1645469" y="1209528"/>
                </a:cubicBezTo>
                <a:cubicBezTo>
                  <a:pt x="1614986" y="1209528"/>
                  <a:pt x="1590275" y="1184818"/>
                  <a:pt x="1590275" y="1154337"/>
                </a:cubicBezTo>
                <a:cubicBezTo>
                  <a:pt x="1590275" y="1123856"/>
                  <a:pt x="1614986" y="1099146"/>
                  <a:pt x="1645469" y="1099146"/>
                </a:cubicBezTo>
                <a:close/>
                <a:moveTo>
                  <a:pt x="1515179" y="1099146"/>
                </a:moveTo>
                <a:cubicBezTo>
                  <a:pt x="1545657" y="1099146"/>
                  <a:pt x="1570364" y="1123856"/>
                  <a:pt x="1570364" y="1154337"/>
                </a:cubicBezTo>
                <a:cubicBezTo>
                  <a:pt x="1570364" y="1184818"/>
                  <a:pt x="1545657" y="1209528"/>
                  <a:pt x="1515179" y="1209528"/>
                </a:cubicBezTo>
                <a:cubicBezTo>
                  <a:pt x="1484695" y="1209528"/>
                  <a:pt x="1459982" y="1184818"/>
                  <a:pt x="1459982" y="1154337"/>
                </a:cubicBezTo>
                <a:cubicBezTo>
                  <a:pt x="1459982" y="1123856"/>
                  <a:pt x="1484695" y="1099146"/>
                  <a:pt x="1515179" y="1099146"/>
                </a:cubicBezTo>
                <a:close/>
                <a:moveTo>
                  <a:pt x="1381539" y="1099146"/>
                </a:moveTo>
                <a:cubicBezTo>
                  <a:pt x="1412022" y="1099146"/>
                  <a:pt x="1436731" y="1123856"/>
                  <a:pt x="1436731" y="1154337"/>
                </a:cubicBezTo>
                <a:cubicBezTo>
                  <a:pt x="1436731" y="1184818"/>
                  <a:pt x="1412022" y="1209528"/>
                  <a:pt x="1381539" y="1209528"/>
                </a:cubicBezTo>
                <a:cubicBezTo>
                  <a:pt x="1351062" y="1209528"/>
                  <a:pt x="1326349" y="1184818"/>
                  <a:pt x="1326349" y="1154337"/>
                </a:cubicBezTo>
                <a:cubicBezTo>
                  <a:pt x="1326349" y="1123856"/>
                  <a:pt x="1351062" y="1099146"/>
                  <a:pt x="1381539" y="1099146"/>
                </a:cubicBezTo>
                <a:close/>
                <a:moveTo>
                  <a:pt x="1251245" y="1099146"/>
                </a:moveTo>
                <a:cubicBezTo>
                  <a:pt x="1281728" y="1099146"/>
                  <a:pt x="1306439" y="1123856"/>
                  <a:pt x="1306439" y="1154337"/>
                </a:cubicBezTo>
                <a:cubicBezTo>
                  <a:pt x="1306439" y="1184818"/>
                  <a:pt x="1281728" y="1209528"/>
                  <a:pt x="1251245" y="1209528"/>
                </a:cubicBezTo>
                <a:cubicBezTo>
                  <a:pt x="1220763" y="1209528"/>
                  <a:pt x="1196054" y="1184818"/>
                  <a:pt x="1196054" y="1154337"/>
                </a:cubicBezTo>
                <a:cubicBezTo>
                  <a:pt x="1196054" y="1123856"/>
                  <a:pt x="1220763" y="1099146"/>
                  <a:pt x="1251245" y="1099146"/>
                </a:cubicBezTo>
                <a:close/>
                <a:moveTo>
                  <a:pt x="1117610" y="1099146"/>
                </a:moveTo>
                <a:cubicBezTo>
                  <a:pt x="1148093" y="1099146"/>
                  <a:pt x="1172803" y="1123856"/>
                  <a:pt x="1172803" y="1154337"/>
                </a:cubicBezTo>
                <a:cubicBezTo>
                  <a:pt x="1172803" y="1184818"/>
                  <a:pt x="1148093" y="1209528"/>
                  <a:pt x="1117610" y="1209528"/>
                </a:cubicBezTo>
                <a:cubicBezTo>
                  <a:pt x="1087127" y="1209528"/>
                  <a:pt x="1062416" y="1184818"/>
                  <a:pt x="1062416" y="1154337"/>
                </a:cubicBezTo>
                <a:cubicBezTo>
                  <a:pt x="1062416" y="1123856"/>
                  <a:pt x="1087127" y="1099146"/>
                  <a:pt x="1117610" y="1099146"/>
                </a:cubicBezTo>
                <a:close/>
                <a:moveTo>
                  <a:pt x="980631" y="1099146"/>
                </a:moveTo>
                <a:cubicBezTo>
                  <a:pt x="1011115" y="1099146"/>
                  <a:pt x="1035825" y="1123856"/>
                  <a:pt x="1035825" y="1154337"/>
                </a:cubicBezTo>
                <a:cubicBezTo>
                  <a:pt x="1035825" y="1184818"/>
                  <a:pt x="1011115" y="1209528"/>
                  <a:pt x="980631" y="1209528"/>
                </a:cubicBezTo>
                <a:cubicBezTo>
                  <a:pt x="950149" y="1209528"/>
                  <a:pt x="925438" y="1184818"/>
                  <a:pt x="925438" y="1154337"/>
                </a:cubicBezTo>
                <a:cubicBezTo>
                  <a:pt x="925438" y="1123856"/>
                  <a:pt x="950149" y="1099146"/>
                  <a:pt x="980631" y="1099146"/>
                </a:cubicBezTo>
                <a:close/>
                <a:moveTo>
                  <a:pt x="846993" y="1099146"/>
                </a:moveTo>
                <a:cubicBezTo>
                  <a:pt x="877476" y="1099146"/>
                  <a:pt x="902186" y="1123856"/>
                  <a:pt x="902186" y="1154337"/>
                </a:cubicBezTo>
                <a:cubicBezTo>
                  <a:pt x="902186" y="1184818"/>
                  <a:pt x="877476" y="1209528"/>
                  <a:pt x="846993" y="1209528"/>
                </a:cubicBezTo>
                <a:cubicBezTo>
                  <a:pt x="816511" y="1209528"/>
                  <a:pt x="791796" y="1184818"/>
                  <a:pt x="791796" y="1154337"/>
                </a:cubicBezTo>
                <a:cubicBezTo>
                  <a:pt x="791796" y="1123856"/>
                  <a:pt x="816511" y="1099146"/>
                  <a:pt x="846993" y="1099146"/>
                </a:cubicBezTo>
                <a:close/>
                <a:moveTo>
                  <a:pt x="716690" y="1099146"/>
                </a:moveTo>
                <a:cubicBezTo>
                  <a:pt x="747176" y="1099146"/>
                  <a:pt x="771886" y="1123856"/>
                  <a:pt x="771886" y="1154337"/>
                </a:cubicBezTo>
                <a:cubicBezTo>
                  <a:pt x="771886" y="1184818"/>
                  <a:pt x="747176" y="1209528"/>
                  <a:pt x="716690" y="1209528"/>
                </a:cubicBezTo>
                <a:cubicBezTo>
                  <a:pt x="686211" y="1209528"/>
                  <a:pt x="661502" y="1184818"/>
                  <a:pt x="661502" y="1154337"/>
                </a:cubicBezTo>
                <a:cubicBezTo>
                  <a:pt x="661502" y="1123856"/>
                  <a:pt x="686211" y="1099146"/>
                  <a:pt x="716690" y="1099146"/>
                </a:cubicBezTo>
                <a:close/>
                <a:moveTo>
                  <a:pt x="583057" y="1099146"/>
                </a:moveTo>
                <a:cubicBezTo>
                  <a:pt x="613540" y="1099146"/>
                  <a:pt x="638250" y="1123856"/>
                  <a:pt x="638250" y="1154337"/>
                </a:cubicBezTo>
                <a:cubicBezTo>
                  <a:pt x="638250" y="1184818"/>
                  <a:pt x="613540" y="1209528"/>
                  <a:pt x="583057" y="1209528"/>
                </a:cubicBezTo>
                <a:cubicBezTo>
                  <a:pt x="552573" y="1209528"/>
                  <a:pt x="527863" y="1184818"/>
                  <a:pt x="527863" y="1154337"/>
                </a:cubicBezTo>
                <a:cubicBezTo>
                  <a:pt x="527863" y="1123856"/>
                  <a:pt x="552573" y="1099146"/>
                  <a:pt x="583057" y="1099146"/>
                </a:cubicBezTo>
                <a:close/>
                <a:moveTo>
                  <a:pt x="449413" y="1099146"/>
                </a:moveTo>
                <a:cubicBezTo>
                  <a:pt x="479896" y="1099146"/>
                  <a:pt x="504606" y="1123856"/>
                  <a:pt x="504606" y="1154337"/>
                </a:cubicBezTo>
                <a:cubicBezTo>
                  <a:pt x="504606" y="1184818"/>
                  <a:pt x="479896" y="1209528"/>
                  <a:pt x="449413" y="1209528"/>
                </a:cubicBezTo>
                <a:cubicBezTo>
                  <a:pt x="418931" y="1209528"/>
                  <a:pt x="394220" y="1184818"/>
                  <a:pt x="394220" y="1154337"/>
                </a:cubicBezTo>
                <a:cubicBezTo>
                  <a:pt x="394220" y="1123856"/>
                  <a:pt x="418931" y="1099146"/>
                  <a:pt x="449413" y="1099146"/>
                </a:cubicBezTo>
                <a:close/>
                <a:moveTo>
                  <a:pt x="9603343" y="975533"/>
                </a:moveTo>
                <a:cubicBezTo>
                  <a:pt x="9633825" y="975533"/>
                  <a:pt x="9658535" y="1000243"/>
                  <a:pt x="9658535" y="1030724"/>
                </a:cubicBezTo>
                <a:cubicBezTo>
                  <a:pt x="9658535" y="1061205"/>
                  <a:pt x="9633825" y="1085915"/>
                  <a:pt x="9603343" y="1085915"/>
                </a:cubicBezTo>
                <a:cubicBezTo>
                  <a:pt x="9572861" y="1085915"/>
                  <a:pt x="9548151" y="1061205"/>
                  <a:pt x="9548151" y="1030724"/>
                </a:cubicBezTo>
                <a:cubicBezTo>
                  <a:pt x="9548151" y="1000243"/>
                  <a:pt x="9572861" y="975533"/>
                  <a:pt x="9603343" y="975533"/>
                </a:cubicBezTo>
                <a:close/>
                <a:moveTo>
                  <a:pt x="9469708" y="975533"/>
                </a:moveTo>
                <a:cubicBezTo>
                  <a:pt x="9500190" y="975533"/>
                  <a:pt x="9524900" y="1000243"/>
                  <a:pt x="9524900" y="1030724"/>
                </a:cubicBezTo>
                <a:cubicBezTo>
                  <a:pt x="9524900" y="1061205"/>
                  <a:pt x="9500190" y="1085915"/>
                  <a:pt x="9469708" y="1085915"/>
                </a:cubicBezTo>
                <a:cubicBezTo>
                  <a:pt x="9439226" y="1085915"/>
                  <a:pt x="9414516" y="1061205"/>
                  <a:pt x="9414516" y="1030724"/>
                </a:cubicBezTo>
                <a:cubicBezTo>
                  <a:pt x="9414516" y="1000243"/>
                  <a:pt x="9439226" y="975533"/>
                  <a:pt x="9469708" y="975533"/>
                </a:cubicBezTo>
                <a:close/>
                <a:moveTo>
                  <a:pt x="8935170" y="975533"/>
                </a:moveTo>
                <a:cubicBezTo>
                  <a:pt x="8965652" y="975533"/>
                  <a:pt x="8990362" y="1000243"/>
                  <a:pt x="8990362" y="1030724"/>
                </a:cubicBezTo>
                <a:cubicBezTo>
                  <a:pt x="8990362" y="1061205"/>
                  <a:pt x="8965652" y="1085915"/>
                  <a:pt x="8935170" y="1085915"/>
                </a:cubicBezTo>
                <a:cubicBezTo>
                  <a:pt x="8904688" y="1085915"/>
                  <a:pt x="8879978" y="1061205"/>
                  <a:pt x="8879978" y="1030724"/>
                </a:cubicBezTo>
                <a:cubicBezTo>
                  <a:pt x="8879978" y="1000243"/>
                  <a:pt x="8904688" y="975533"/>
                  <a:pt x="8935170" y="975533"/>
                </a:cubicBezTo>
                <a:close/>
                <a:moveTo>
                  <a:pt x="8407315" y="975533"/>
                </a:moveTo>
                <a:cubicBezTo>
                  <a:pt x="8437797" y="975533"/>
                  <a:pt x="8462507" y="1000243"/>
                  <a:pt x="8462507" y="1030724"/>
                </a:cubicBezTo>
                <a:cubicBezTo>
                  <a:pt x="8462507" y="1061205"/>
                  <a:pt x="8437797" y="1085915"/>
                  <a:pt x="8407315" y="1085915"/>
                </a:cubicBezTo>
                <a:cubicBezTo>
                  <a:pt x="8376833" y="1085915"/>
                  <a:pt x="8352123" y="1061205"/>
                  <a:pt x="8352123" y="1030724"/>
                </a:cubicBezTo>
                <a:cubicBezTo>
                  <a:pt x="8352123" y="1000243"/>
                  <a:pt x="8376833" y="975533"/>
                  <a:pt x="8407315" y="975533"/>
                </a:cubicBezTo>
                <a:close/>
                <a:moveTo>
                  <a:pt x="7876116" y="975533"/>
                </a:moveTo>
                <a:cubicBezTo>
                  <a:pt x="7906598" y="975533"/>
                  <a:pt x="7931308" y="1000243"/>
                  <a:pt x="7931308" y="1030724"/>
                </a:cubicBezTo>
                <a:cubicBezTo>
                  <a:pt x="7931308" y="1061205"/>
                  <a:pt x="7906598" y="1085915"/>
                  <a:pt x="7876116" y="1085915"/>
                </a:cubicBezTo>
                <a:cubicBezTo>
                  <a:pt x="7845634" y="1085915"/>
                  <a:pt x="7820924" y="1061205"/>
                  <a:pt x="7820924" y="1030724"/>
                </a:cubicBezTo>
                <a:cubicBezTo>
                  <a:pt x="7820924" y="1000243"/>
                  <a:pt x="7845634" y="975533"/>
                  <a:pt x="7876116" y="975533"/>
                </a:cubicBezTo>
                <a:close/>
                <a:moveTo>
                  <a:pt x="7745822" y="975533"/>
                </a:moveTo>
                <a:cubicBezTo>
                  <a:pt x="7776304" y="975533"/>
                  <a:pt x="7801014" y="1000243"/>
                  <a:pt x="7801014" y="1030724"/>
                </a:cubicBezTo>
                <a:cubicBezTo>
                  <a:pt x="7801014" y="1061205"/>
                  <a:pt x="7776304" y="1085915"/>
                  <a:pt x="7745822" y="1085915"/>
                </a:cubicBezTo>
                <a:cubicBezTo>
                  <a:pt x="7715340" y="1085915"/>
                  <a:pt x="7690630" y="1061205"/>
                  <a:pt x="7690630" y="1030724"/>
                </a:cubicBezTo>
                <a:cubicBezTo>
                  <a:pt x="7690630" y="1000243"/>
                  <a:pt x="7715340" y="975533"/>
                  <a:pt x="7745822" y="975533"/>
                </a:cubicBezTo>
                <a:close/>
                <a:moveTo>
                  <a:pt x="7481894" y="975533"/>
                </a:moveTo>
                <a:cubicBezTo>
                  <a:pt x="7512376" y="975533"/>
                  <a:pt x="7537086" y="1000243"/>
                  <a:pt x="7537086" y="1030724"/>
                </a:cubicBezTo>
                <a:cubicBezTo>
                  <a:pt x="7537086" y="1061205"/>
                  <a:pt x="7512376" y="1085915"/>
                  <a:pt x="7481894" y="1085915"/>
                </a:cubicBezTo>
                <a:cubicBezTo>
                  <a:pt x="7451412" y="1085915"/>
                  <a:pt x="7426702" y="1061205"/>
                  <a:pt x="7426702" y="1030724"/>
                </a:cubicBezTo>
                <a:cubicBezTo>
                  <a:pt x="7426702" y="1000243"/>
                  <a:pt x="7451412" y="975533"/>
                  <a:pt x="7481894" y="975533"/>
                </a:cubicBezTo>
                <a:close/>
                <a:moveTo>
                  <a:pt x="7341578" y="975533"/>
                </a:moveTo>
                <a:cubicBezTo>
                  <a:pt x="7372060" y="975533"/>
                  <a:pt x="7396770" y="1000243"/>
                  <a:pt x="7396770" y="1030724"/>
                </a:cubicBezTo>
                <a:cubicBezTo>
                  <a:pt x="7396770" y="1061205"/>
                  <a:pt x="7372060" y="1085915"/>
                  <a:pt x="7341578" y="1085915"/>
                </a:cubicBezTo>
                <a:cubicBezTo>
                  <a:pt x="7311096" y="1085915"/>
                  <a:pt x="7286386" y="1061205"/>
                  <a:pt x="7286386" y="1030724"/>
                </a:cubicBezTo>
                <a:cubicBezTo>
                  <a:pt x="7286386" y="1000243"/>
                  <a:pt x="7311096" y="975533"/>
                  <a:pt x="7341578" y="975533"/>
                </a:cubicBezTo>
                <a:close/>
                <a:moveTo>
                  <a:pt x="7211285" y="975533"/>
                </a:moveTo>
                <a:cubicBezTo>
                  <a:pt x="7241767" y="975533"/>
                  <a:pt x="7266477" y="1000243"/>
                  <a:pt x="7266477" y="1030724"/>
                </a:cubicBezTo>
                <a:cubicBezTo>
                  <a:pt x="7266477" y="1061205"/>
                  <a:pt x="7241767" y="1085915"/>
                  <a:pt x="7211285" y="1085915"/>
                </a:cubicBezTo>
                <a:cubicBezTo>
                  <a:pt x="7180803" y="1085915"/>
                  <a:pt x="7156093" y="1061205"/>
                  <a:pt x="7156093" y="1030724"/>
                </a:cubicBezTo>
                <a:cubicBezTo>
                  <a:pt x="7156093" y="1000243"/>
                  <a:pt x="7180803" y="975533"/>
                  <a:pt x="7211285" y="975533"/>
                </a:cubicBezTo>
                <a:close/>
                <a:moveTo>
                  <a:pt x="6947356" y="975533"/>
                </a:moveTo>
                <a:cubicBezTo>
                  <a:pt x="6977838" y="975533"/>
                  <a:pt x="7002548" y="1000243"/>
                  <a:pt x="7002548" y="1030724"/>
                </a:cubicBezTo>
                <a:cubicBezTo>
                  <a:pt x="7002548" y="1061205"/>
                  <a:pt x="6977838" y="1085915"/>
                  <a:pt x="6947356" y="1085915"/>
                </a:cubicBezTo>
                <a:cubicBezTo>
                  <a:pt x="6916874" y="1085915"/>
                  <a:pt x="6892164" y="1061205"/>
                  <a:pt x="6892164" y="1030724"/>
                </a:cubicBezTo>
                <a:cubicBezTo>
                  <a:pt x="6892164" y="1000243"/>
                  <a:pt x="6916874" y="975533"/>
                  <a:pt x="6947356" y="975533"/>
                </a:cubicBezTo>
                <a:close/>
                <a:moveTo>
                  <a:pt x="6817063" y="975533"/>
                </a:moveTo>
                <a:cubicBezTo>
                  <a:pt x="6847545" y="975533"/>
                  <a:pt x="6872255" y="1000243"/>
                  <a:pt x="6872255" y="1030724"/>
                </a:cubicBezTo>
                <a:cubicBezTo>
                  <a:pt x="6872255" y="1061205"/>
                  <a:pt x="6847545" y="1085915"/>
                  <a:pt x="6817063" y="1085915"/>
                </a:cubicBezTo>
                <a:cubicBezTo>
                  <a:pt x="6786581" y="1085915"/>
                  <a:pt x="6761871" y="1061205"/>
                  <a:pt x="6761871" y="1030724"/>
                </a:cubicBezTo>
                <a:cubicBezTo>
                  <a:pt x="6761871" y="1000243"/>
                  <a:pt x="6786581" y="975533"/>
                  <a:pt x="6817063" y="975533"/>
                </a:cubicBezTo>
                <a:close/>
                <a:moveTo>
                  <a:pt x="6683430" y="975533"/>
                </a:moveTo>
                <a:cubicBezTo>
                  <a:pt x="6713912" y="975533"/>
                  <a:pt x="6738622" y="1000243"/>
                  <a:pt x="6738622" y="1030724"/>
                </a:cubicBezTo>
                <a:cubicBezTo>
                  <a:pt x="6738622" y="1061205"/>
                  <a:pt x="6713912" y="1085915"/>
                  <a:pt x="6683430" y="1085915"/>
                </a:cubicBezTo>
                <a:cubicBezTo>
                  <a:pt x="6652948" y="1085915"/>
                  <a:pt x="6628238" y="1061205"/>
                  <a:pt x="6628238" y="1030724"/>
                </a:cubicBezTo>
                <a:cubicBezTo>
                  <a:pt x="6628238" y="1000243"/>
                  <a:pt x="6652948" y="975533"/>
                  <a:pt x="6683430" y="975533"/>
                </a:cubicBezTo>
                <a:close/>
                <a:moveTo>
                  <a:pt x="6289206" y="975533"/>
                </a:moveTo>
                <a:cubicBezTo>
                  <a:pt x="6319688" y="975533"/>
                  <a:pt x="6344398" y="1000243"/>
                  <a:pt x="6344398" y="1030724"/>
                </a:cubicBezTo>
                <a:cubicBezTo>
                  <a:pt x="6344398" y="1061205"/>
                  <a:pt x="6319688" y="1085915"/>
                  <a:pt x="6289206" y="1085915"/>
                </a:cubicBezTo>
                <a:cubicBezTo>
                  <a:pt x="6258724" y="1085915"/>
                  <a:pt x="6234014" y="1061205"/>
                  <a:pt x="6234014" y="1030724"/>
                </a:cubicBezTo>
                <a:cubicBezTo>
                  <a:pt x="6234014" y="1000243"/>
                  <a:pt x="6258724" y="975533"/>
                  <a:pt x="6289206" y="975533"/>
                </a:cubicBezTo>
                <a:close/>
                <a:moveTo>
                  <a:pt x="5754667" y="975533"/>
                </a:moveTo>
                <a:cubicBezTo>
                  <a:pt x="5785149" y="975533"/>
                  <a:pt x="5809859" y="1000243"/>
                  <a:pt x="5809859" y="1030724"/>
                </a:cubicBezTo>
                <a:cubicBezTo>
                  <a:pt x="5809859" y="1061205"/>
                  <a:pt x="5785149" y="1085915"/>
                  <a:pt x="5754667" y="1085915"/>
                </a:cubicBezTo>
                <a:cubicBezTo>
                  <a:pt x="5724185" y="1085915"/>
                  <a:pt x="5699475" y="1061205"/>
                  <a:pt x="5699475" y="1030724"/>
                </a:cubicBezTo>
                <a:cubicBezTo>
                  <a:pt x="5699475" y="1000243"/>
                  <a:pt x="5724185" y="975533"/>
                  <a:pt x="5754667" y="975533"/>
                </a:cubicBezTo>
                <a:close/>
                <a:moveTo>
                  <a:pt x="5487398" y="975533"/>
                </a:moveTo>
                <a:cubicBezTo>
                  <a:pt x="5517880" y="975533"/>
                  <a:pt x="5542590" y="1000243"/>
                  <a:pt x="5542590" y="1030724"/>
                </a:cubicBezTo>
                <a:cubicBezTo>
                  <a:pt x="5542590" y="1061205"/>
                  <a:pt x="5517880" y="1085915"/>
                  <a:pt x="5487398" y="1085915"/>
                </a:cubicBezTo>
                <a:cubicBezTo>
                  <a:pt x="5456916" y="1085915"/>
                  <a:pt x="5432206" y="1061205"/>
                  <a:pt x="5432206" y="1030724"/>
                </a:cubicBezTo>
                <a:cubicBezTo>
                  <a:pt x="5432206" y="1000243"/>
                  <a:pt x="5456916" y="975533"/>
                  <a:pt x="5487398" y="975533"/>
                </a:cubicBezTo>
                <a:close/>
                <a:moveTo>
                  <a:pt x="5357105" y="975533"/>
                </a:moveTo>
                <a:cubicBezTo>
                  <a:pt x="5387587" y="975533"/>
                  <a:pt x="5412297" y="1000243"/>
                  <a:pt x="5412297" y="1030724"/>
                </a:cubicBezTo>
                <a:cubicBezTo>
                  <a:pt x="5412297" y="1061205"/>
                  <a:pt x="5387587" y="1085915"/>
                  <a:pt x="5357105" y="1085915"/>
                </a:cubicBezTo>
                <a:cubicBezTo>
                  <a:pt x="5326623" y="1085915"/>
                  <a:pt x="5301913" y="1061205"/>
                  <a:pt x="5301913" y="1030724"/>
                </a:cubicBezTo>
                <a:cubicBezTo>
                  <a:pt x="5301913" y="1000243"/>
                  <a:pt x="5326623" y="975533"/>
                  <a:pt x="5357105" y="975533"/>
                </a:cubicBezTo>
                <a:close/>
                <a:moveTo>
                  <a:pt x="5093176" y="975533"/>
                </a:moveTo>
                <a:cubicBezTo>
                  <a:pt x="5123658" y="975533"/>
                  <a:pt x="5148368" y="1000243"/>
                  <a:pt x="5148368" y="1030724"/>
                </a:cubicBezTo>
                <a:cubicBezTo>
                  <a:pt x="5148368" y="1061205"/>
                  <a:pt x="5123658" y="1085915"/>
                  <a:pt x="5093176" y="1085915"/>
                </a:cubicBezTo>
                <a:cubicBezTo>
                  <a:pt x="5062694" y="1085915"/>
                  <a:pt x="5037984" y="1061205"/>
                  <a:pt x="5037984" y="1030724"/>
                </a:cubicBezTo>
                <a:cubicBezTo>
                  <a:pt x="5037984" y="1000243"/>
                  <a:pt x="5062694" y="975533"/>
                  <a:pt x="5093176" y="975533"/>
                </a:cubicBezTo>
                <a:close/>
                <a:moveTo>
                  <a:pt x="4959540" y="975533"/>
                </a:moveTo>
                <a:cubicBezTo>
                  <a:pt x="4990022" y="975533"/>
                  <a:pt x="5014732" y="1000243"/>
                  <a:pt x="5014732" y="1030724"/>
                </a:cubicBezTo>
                <a:cubicBezTo>
                  <a:pt x="5014732" y="1061205"/>
                  <a:pt x="4990022" y="1085915"/>
                  <a:pt x="4959540" y="1085915"/>
                </a:cubicBezTo>
                <a:cubicBezTo>
                  <a:pt x="4929058" y="1085915"/>
                  <a:pt x="4904348" y="1061205"/>
                  <a:pt x="4904348" y="1030724"/>
                </a:cubicBezTo>
                <a:cubicBezTo>
                  <a:pt x="4904348" y="1000243"/>
                  <a:pt x="4929058" y="975533"/>
                  <a:pt x="4959540" y="975533"/>
                </a:cubicBezTo>
                <a:close/>
                <a:moveTo>
                  <a:pt x="4161075" y="975533"/>
                </a:moveTo>
                <a:cubicBezTo>
                  <a:pt x="4191557" y="975533"/>
                  <a:pt x="4216267" y="1000243"/>
                  <a:pt x="4216267" y="1030724"/>
                </a:cubicBezTo>
                <a:cubicBezTo>
                  <a:pt x="4216267" y="1061205"/>
                  <a:pt x="4191557" y="1085915"/>
                  <a:pt x="4161075" y="1085915"/>
                </a:cubicBezTo>
                <a:cubicBezTo>
                  <a:pt x="4130593" y="1085915"/>
                  <a:pt x="4105883" y="1061205"/>
                  <a:pt x="4105883" y="1030724"/>
                </a:cubicBezTo>
                <a:cubicBezTo>
                  <a:pt x="4105883" y="1000243"/>
                  <a:pt x="4130593" y="975533"/>
                  <a:pt x="4161075" y="975533"/>
                </a:cubicBezTo>
                <a:close/>
                <a:moveTo>
                  <a:pt x="4030782" y="975533"/>
                </a:moveTo>
                <a:cubicBezTo>
                  <a:pt x="4061264" y="975533"/>
                  <a:pt x="4085974" y="1000243"/>
                  <a:pt x="4085974" y="1030724"/>
                </a:cubicBezTo>
                <a:cubicBezTo>
                  <a:pt x="4085974" y="1061205"/>
                  <a:pt x="4061264" y="1085915"/>
                  <a:pt x="4030782" y="1085915"/>
                </a:cubicBezTo>
                <a:cubicBezTo>
                  <a:pt x="4000300" y="1085915"/>
                  <a:pt x="3975590" y="1061205"/>
                  <a:pt x="3975590" y="1030724"/>
                </a:cubicBezTo>
                <a:cubicBezTo>
                  <a:pt x="3975590" y="1000243"/>
                  <a:pt x="4000300" y="975533"/>
                  <a:pt x="4030782" y="975533"/>
                </a:cubicBezTo>
                <a:close/>
                <a:moveTo>
                  <a:pt x="3369290" y="975533"/>
                </a:moveTo>
                <a:cubicBezTo>
                  <a:pt x="3399772" y="975533"/>
                  <a:pt x="3424482" y="1000243"/>
                  <a:pt x="3424482" y="1030724"/>
                </a:cubicBezTo>
                <a:cubicBezTo>
                  <a:pt x="3424482" y="1061205"/>
                  <a:pt x="3399772" y="1085915"/>
                  <a:pt x="3369290" y="1085915"/>
                </a:cubicBezTo>
                <a:cubicBezTo>
                  <a:pt x="3338808" y="1085915"/>
                  <a:pt x="3314098" y="1061205"/>
                  <a:pt x="3314098" y="1030724"/>
                </a:cubicBezTo>
                <a:cubicBezTo>
                  <a:pt x="3314098" y="1000243"/>
                  <a:pt x="3338808" y="975533"/>
                  <a:pt x="3369290" y="975533"/>
                </a:cubicBezTo>
                <a:close/>
                <a:moveTo>
                  <a:pt x="2707880" y="975533"/>
                </a:moveTo>
                <a:cubicBezTo>
                  <a:pt x="2738363" y="975533"/>
                  <a:pt x="2763074" y="1000243"/>
                  <a:pt x="2763074" y="1030724"/>
                </a:cubicBezTo>
                <a:cubicBezTo>
                  <a:pt x="2763074" y="1061205"/>
                  <a:pt x="2738363" y="1085915"/>
                  <a:pt x="2707880" y="1085915"/>
                </a:cubicBezTo>
                <a:cubicBezTo>
                  <a:pt x="2677401" y="1085915"/>
                  <a:pt x="2652689" y="1061205"/>
                  <a:pt x="2652689" y="1030724"/>
                </a:cubicBezTo>
                <a:cubicBezTo>
                  <a:pt x="2652689" y="1000243"/>
                  <a:pt x="2677401" y="975533"/>
                  <a:pt x="2707880" y="975533"/>
                </a:cubicBezTo>
                <a:close/>
                <a:moveTo>
                  <a:pt x="2173347" y="975533"/>
                </a:moveTo>
                <a:cubicBezTo>
                  <a:pt x="2203830" y="975533"/>
                  <a:pt x="2228540" y="1000243"/>
                  <a:pt x="2228540" y="1030724"/>
                </a:cubicBezTo>
                <a:cubicBezTo>
                  <a:pt x="2228540" y="1061205"/>
                  <a:pt x="2203830" y="1085915"/>
                  <a:pt x="2173347" y="1085915"/>
                </a:cubicBezTo>
                <a:cubicBezTo>
                  <a:pt x="2142865" y="1085915"/>
                  <a:pt x="2118154" y="1061205"/>
                  <a:pt x="2118154" y="1030724"/>
                </a:cubicBezTo>
                <a:cubicBezTo>
                  <a:pt x="2118154" y="1000243"/>
                  <a:pt x="2142865" y="975533"/>
                  <a:pt x="2173347" y="975533"/>
                </a:cubicBezTo>
                <a:close/>
                <a:moveTo>
                  <a:pt x="1251258" y="975533"/>
                </a:moveTo>
                <a:cubicBezTo>
                  <a:pt x="1281740" y="975533"/>
                  <a:pt x="1306450" y="1000243"/>
                  <a:pt x="1306450" y="1030724"/>
                </a:cubicBezTo>
                <a:cubicBezTo>
                  <a:pt x="1306450" y="1061205"/>
                  <a:pt x="1281740" y="1085915"/>
                  <a:pt x="1251258" y="1085915"/>
                </a:cubicBezTo>
                <a:cubicBezTo>
                  <a:pt x="1220775" y="1085915"/>
                  <a:pt x="1196066" y="1061205"/>
                  <a:pt x="1196066" y="1030724"/>
                </a:cubicBezTo>
                <a:cubicBezTo>
                  <a:pt x="1196066" y="1000243"/>
                  <a:pt x="1220775" y="975533"/>
                  <a:pt x="1251258" y="975533"/>
                </a:cubicBezTo>
                <a:close/>
                <a:moveTo>
                  <a:pt x="847001" y="975533"/>
                </a:moveTo>
                <a:cubicBezTo>
                  <a:pt x="877484" y="975533"/>
                  <a:pt x="902196" y="1000243"/>
                  <a:pt x="902196" y="1030724"/>
                </a:cubicBezTo>
                <a:cubicBezTo>
                  <a:pt x="902196" y="1061205"/>
                  <a:pt x="877484" y="1085915"/>
                  <a:pt x="847001" y="1085915"/>
                </a:cubicBezTo>
                <a:cubicBezTo>
                  <a:pt x="816519" y="1085915"/>
                  <a:pt x="791804" y="1061205"/>
                  <a:pt x="791804" y="1030724"/>
                </a:cubicBezTo>
                <a:cubicBezTo>
                  <a:pt x="791804" y="1000243"/>
                  <a:pt x="816519" y="975533"/>
                  <a:pt x="847001" y="975533"/>
                </a:cubicBezTo>
                <a:close/>
                <a:moveTo>
                  <a:pt x="9336074" y="975532"/>
                </a:moveTo>
                <a:cubicBezTo>
                  <a:pt x="9366556" y="975532"/>
                  <a:pt x="9391266" y="1000242"/>
                  <a:pt x="9391266" y="1030723"/>
                </a:cubicBezTo>
                <a:cubicBezTo>
                  <a:pt x="9391266" y="1061204"/>
                  <a:pt x="9366556" y="1085914"/>
                  <a:pt x="9336074" y="1085914"/>
                </a:cubicBezTo>
                <a:cubicBezTo>
                  <a:pt x="9305592" y="1085914"/>
                  <a:pt x="9280882" y="1061204"/>
                  <a:pt x="9280882" y="1030723"/>
                </a:cubicBezTo>
                <a:cubicBezTo>
                  <a:pt x="9280882" y="1000242"/>
                  <a:pt x="9305592" y="975532"/>
                  <a:pt x="9336074" y="975532"/>
                </a:cubicBezTo>
                <a:close/>
                <a:moveTo>
                  <a:pt x="9199098" y="975532"/>
                </a:moveTo>
                <a:cubicBezTo>
                  <a:pt x="9229580" y="975532"/>
                  <a:pt x="9254290" y="1000242"/>
                  <a:pt x="9254290" y="1030723"/>
                </a:cubicBezTo>
                <a:cubicBezTo>
                  <a:pt x="9254290" y="1061204"/>
                  <a:pt x="9229580" y="1085914"/>
                  <a:pt x="9199098" y="1085914"/>
                </a:cubicBezTo>
                <a:cubicBezTo>
                  <a:pt x="9168616" y="1085914"/>
                  <a:pt x="9143906" y="1061204"/>
                  <a:pt x="9143906" y="1030723"/>
                </a:cubicBezTo>
                <a:cubicBezTo>
                  <a:pt x="9143906" y="1000242"/>
                  <a:pt x="9168616" y="975532"/>
                  <a:pt x="9199098" y="975532"/>
                </a:cubicBezTo>
                <a:close/>
                <a:moveTo>
                  <a:pt x="9068805" y="975532"/>
                </a:moveTo>
                <a:cubicBezTo>
                  <a:pt x="9099287" y="975532"/>
                  <a:pt x="9123997" y="1000242"/>
                  <a:pt x="9123997" y="1030723"/>
                </a:cubicBezTo>
                <a:cubicBezTo>
                  <a:pt x="9123997" y="1061204"/>
                  <a:pt x="9099287" y="1085914"/>
                  <a:pt x="9068805" y="1085914"/>
                </a:cubicBezTo>
                <a:cubicBezTo>
                  <a:pt x="9038323" y="1085914"/>
                  <a:pt x="9013613" y="1061204"/>
                  <a:pt x="9013613" y="1030723"/>
                </a:cubicBezTo>
                <a:cubicBezTo>
                  <a:pt x="9013613" y="1000242"/>
                  <a:pt x="9038323" y="975532"/>
                  <a:pt x="9068805" y="975532"/>
                </a:cubicBezTo>
                <a:close/>
                <a:moveTo>
                  <a:pt x="8801536" y="975532"/>
                </a:moveTo>
                <a:cubicBezTo>
                  <a:pt x="8832018" y="975532"/>
                  <a:pt x="8856728" y="1000242"/>
                  <a:pt x="8856728" y="1030723"/>
                </a:cubicBezTo>
                <a:cubicBezTo>
                  <a:pt x="8856728" y="1061204"/>
                  <a:pt x="8832018" y="1085914"/>
                  <a:pt x="8801536" y="1085914"/>
                </a:cubicBezTo>
                <a:cubicBezTo>
                  <a:pt x="8771054" y="1085914"/>
                  <a:pt x="8746344" y="1061204"/>
                  <a:pt x="8746344" y="1030723"/>
                </a:cubicBezTo>
                <a:cubicBezTo>
                  <a:pt x="8746344" y="1000242"/>
                  <a:pt x="8771054" y="975532"/>
                  <a:pt x="8801536" y="975532"/>
                </a:cubicBezTo>
                <a:close/>
                <a:moveTo>
                  <a:pt x="8671243" y="975532"/>
                </a:moveTo>
                <a:cubicBezTo>
                  <a:pt x="8701725" y="975532"/>
                  <a:pt x="8726435" y="1000242"/>
                  <a:pt x="8726435" y="1030723"/>
                </a:cubicBezTo>
                <a:cubicBezTo>
                  <a:pt x="8726435" y="1061204"/>
                  <a:pt x="8701725" y="1085914"/>
                  <a:pt x="8671243" y="1085914"/>
                </a:cubicBezTo>
                <a:cubicBezTo>
                  <a:pt x="8640761" y="1085914"/>
                  <a:pt x="8616051" y="1061204"/>
                  <a:pt x="8616051" y="1030723"/>
                </a:cubicBezTo>
                <a:cubicBezTo>
                  <a:pt x="8616051" y="1000242"/>
                  <a:pt x="8640761" y="975532"/>
                  <a:pt x="8671243" y="975532"/>
                </a:cubicBezTo>
                <a:close/>
                <a:moveTo>
                  <a:pt x="8537608" y="975532"/>
                </a:moveTo>
                <a:cubicBezTo>
                  <a:pt x="8568090" y="975532"/>
                  <a:pt x="8592800" y="1000242"/>
                  <a:pt x="8592800" y="1030723"/>
                </a:cubicBezTo>
                <a:cubicBezTo>
                  <a:pt x="8592800" y="1061204"/>
                  <a:pt x="8568090" y="1085914"/>
                  <a:pt x="8537608" y="1085914"/>
                </a:cubicBezTo>
                <a:cubicBezTo>
                  <a:pt x="8507126" y="1085914"/>
                  <a:pt x="8482416" y="1061204"/>
                  <a:pt x="8482416" y="1030723"/>
                </a:cubicBezTo>
                <a:cubicBezTo>
                  <a:pt x="8482416" y="1000242"/>
                  <a:pt x="8507126" y="975532"/>
                  <a:pt x="8537608" y="975532"/>
                </a:cubicBezTo>
                <a:close/>
                <a:moveTo>
                  <a:pt x="8273681" y="975532"/>
                </a:moveTo>
                <a:cubicBezTo>
                  <a:pt x="8304163" y="975532"/>
                  <a:pt x="8328873" y="1000242"/>
                  <a:pt x="8328873" y="1030723"/>
                </a:cubicBezTo>
                <a:cubicBezTo>
                  <a:pt x="8328873" y="1061204"/>
                  <a:pt x="8304163" y="1085914"/>
                  <a:pt x="8273681" y="1085914"/>
                </a:cubicBezTo>
                <a:cubicBezTo>
                  <a:pt x="8243199" y="1085914"/>
                  <a:pt x="8218489" y="1061204"/>
                  <a:pt x="8218489" y="1030723"/>
                </a:cubicBezTo>
                <a:cubicBezTo>
                  <a:pt x="8218489" y="1000242"/>
                  <a:pt x="8243199" y="975532"/>
                  <a:pt x="8273681" y="975532"/>
                </a:cubicBezTo>
                <a:close/>
                <a:moveTo>
                  <a:pt x="8143385" y="975532"/>
                </a:moveTo>
                <a:cubicBezTo>
                  <a:pt x="8173867" y="975532"/>
                  <a:pt x="8198577" y="1000242"/>
                  <a:pt x="8198577" y="1030723"/>
                </a:cubicBezTo>
                <a:cubicBezTo>
                  <a:pt x="8198577" y="1061204"/>
                  <a:pt x="8173867" y="1085914"/>
                  <a:pt x="8143385" y="1085914"/>
                </a:cubicBezTo>
                <a:cubicBezTo>
                  <a:pt x="8112903" y="1085914"/>
                  <a:pt x="8088193" y="1061204"/>
                  <a:pt x="8088193" y="1030723"/>
                </a:cubicBezTo>
                <a:cubicBezTo>
                  <a:pt x="8088193" y="1000242"/>
                  <a:pt x="8112903" y="975532"/>
                  <a:pt x="8143385" y="975532"/>
                </a:cubicBezTo>
                <a:close/>
                <a:moveTo>
                  <a:pt x="8009751" y="975532"/>
                </a:moveTo>
                <a:cubicBezTo>
                  <a:pt x="8040233" y="975532"/>
                  <a:pt x="8064943" y="1000242"/>
                  <a:pt x="8064943" y="1030723"/>
                </a:cubicBezTo>
                <a:cubicBezTo>
                  <a:pt x="8064943" y="1061204"/>
                  <a:pt x="8040233" y="1085914"/>
                  <a:pt x="8009751" y="1085914"/>
                </a:cubicBezTo>
                <a:cubicBezTo>
                  <a:pt x="7979269" y="1085914"/>
                  <a:pt x="7954559" y="1061204"/>
                  <a:pt x="7954559" y="1030723"/>
                </a:cubicBezTo>
                <a:cubicBezTo>
                  <a:pt x="7954559" y="1000242"/>
                  <a:pt x="7979269" y="975532"/>
                  <a:pt x="8009751" y="975532"/>
                </a:cubicBezTo>
                <a:close/>
                <a:moveTo>
                  <a:pt x="7608847" y="975532"/>
                </a:moveTo>
                <a:cubicBezTo>
                  <a:pt x="7639329" y="975532"/>
                  <a:pt x="7664039" y="1000242"/>
                  <a:pt x="7664039" y="1030723"/>
                </a:cubicBezTo>
                <a:cubicBezTo>
                  <a:pt x="7664039" y="1061204"/>
                  <a:pt x="7639329" y="1085914"/>
                  <a:pt x="7608847" y="1085914"/>
                </a:cubicBezTo>
                <a:cubicBezTo>
                  <a:pt x="7578365" y="1085914"/>
                  <a:pt x="7553655" y="1061204"/>
                  <a:pt x="7553655" y="1030723"/>
                </a:cubicBezTo>
                <a:cubicBezTo>
                  <a:pt x="7553655" y="1000242"/>
                  <a:pt x="7578365" y="975532"/>
                  <a:pt x="7608847" y="975532"/>
                </a:cubicBezTo>
                <a:close/>
                <a:moveTo>
                  <a:pt x="7080991" y="975532"/>
                </a:moveTo>
                <a:cubicBezTo>
                  <a:pt x="7111473" y="975532"/>
                  <a:pt x="7136183" y="1000242"/>
                  <a:pt x="7136183" y="1030723"/>
                </a:cubicBezTo>
                <a:cubicBezTo>
                  <a:pt x="7136183" y="1061204"/>
                  <a:pt x="7111473" y="1085914"/>
                  <a:pt x="7080991" y="1085914"/>
                </a:cubicBezTo>
                <a:cubicBezTo>
                  <a:pt x="7050509" y="1085914"/>
                  <a:pt x="7025799" y="1061204"/>
                  <a:pt x="7025799" y="1030723"/>
                </a:cubicBezTo>
                <a:cubicBezTo>
                  <a:pt x="7025799" y="1000242"/>
                  <a:pt x="7050509" y="975532"/>
                  <a:pt x="7080991" y="975532"/>
                </a:cubicBezTo>
                <a:close/>
                <a:moveTo>
                  <a:pt x="6553135" y="975532"/>
                </a:moveTo>
                <a:cubicBezTo>
                  <a:pt x="6583617" y="975532"/>
                  <a:pt x="6608327" y="1000242"/>
                  <a:pt x="6608327" y="1030723"/>
                </a:cubicBezTo>
                <a:cubicBezTo>
                  <a:pt x="6608327" y="1061204"/>
                  <a:pt x="6583617" y="1085914"/>
                  <a:pt x="6553135" y="1085914"/>
                </a:cubicBezTo>
                <a:cubicBezTo>
                  <a:pt x="6522653" y="1085914"/>
                  <a:pt x="6497943" y="1061204"/>
                  <a:pt x="6497943" y="1030723"/>
                </a:cubicBezTo>
                <a:cubicBezTo>
                  <a:pt x="6497943" y="1000242"/>
                  <a:pt x="6522653" y="975532"/>
                  <a:pt x="6553135" y="975532"/>
                </a:cubicBezTo>
                <a:close/>
                <a:moveTo>
                  <a:pt x="6419501" y="975532"/>
                </a:moveTo>
                <a:cubicBezTo>
                  <a:pt x="6449983" y="975532"/>
                  <a:pt x="6474693" y="1000242"/>
                  <a:pt x="6474693" y="1030723"/>
                </a:cubicBezTo>
                <a:cubicBezTo>
                  <a:pt x="6474693" y="1061204"/>
                  <a:pt x="6449983" y="1085914"/>
                  <a:pt x="6419501" y="1085914"/>
                </a:cubicBezTo>
                <a:cubicBezTo>
                  <a:pt x="6389019" y="1085914"/>
                  <a:pt x="6364309" y="1061204"/>
                  <a:pt x="6364309" y="1030723"/>
                </a:cubicBezTo>
                <a:cubicBezTo>
                  <a:pt x="6364309" y="1000242"/>
                  <a:pt x="6389019" y="975532"/>
                  <a:pt x="6419501" y="975532"/>
                </a:cubicBezTo>
                <a:close/>
                <a:moveTo>
                  <a:pt x="6155571" y="975532"/>
                </a:moveTo>
                <a:cubicBezTo>
                  <a:pt x="6186053" y="975532"/>
                  <a:pt x="6210763" y="1000242"/>
                  <a:pt x="6210763" y="1030723"/>
                </a:cubicBezTo>
                <a:cubicBezTo>
                  <a:pt x="6210763" y="1061204"/>
                  <a:pt x="6186053" y="1085914"/>
                  <a:pt x="6155571" y="1085914"/>
                </a:cubicBezTo>
                <a:cubicBezTo>
                  <a:pt x="6125089" y="1085914"/>
                  <a:pt x="6100379" y="1061204"/>
                  <a:pt x="6100379" y="1030723"/>
                </a:cubicBezTo>
                <a:cubicBezTo>
                  <a:pt x="6100379" y="1000242"/>
                  <a:pt x="6125089" y="975532"/>
                  <a:pt x="6155571" y="975532"/>
                </a:cubicBezTo>
                <a:close/>
                <a:moveTo>
                  <a:pt x="6021936" y="975532"/>
                </a:moveTo>
                <a:cubicBezTo>
                  <a:pt x="6052418" y="975532"/>
                  <a:pt x="6077128" y="1000242"/>
                  <a:pt x="6077128" y="1030723"/>
                </a:cubicBezTo>
                <a:cubicBezTo>
                  <a:pt x="6077128" y="1061204"/>
                  <a:pt x="6052418" y="1085914"/>
                  <a:pt x="6021936" y="1085914"/>
                </a:cubicBezTo>
                <a:cubicBezTo>
                  <a:pt x="5991454" y="1085914"/>
                  <a:pt x="5966744" y="1061204"/>
                  <a:pt x="5966744" y="1030723"/>
                </a:cubicBezTo>
                <a:cubicBezTo>
                  <a:pt x="5966744" y="1000242"/>
                  <a:pt x="5991454" y="975532"/>
                  <a:pt x="6021936" y="975532"/>
                </a:cubicBezTo>
                <a:close/>
                <a:moveTo>
                  <a:pt x="5884963" y="975532"/>
                </a:moveTo>
                <a:cubicBezTo>
                  <a:pt x="5915445" y="975532"/>
                  <a:pt x="5940155" y="1000242"/>
                  <a:pt x="5940155" y="1030723"/>
                </a:cubicBezTo>
                <a:cubicBezTo>
                  <a:pt x="5940155" y="1061204"/>
                  <a:pt x="5915445" y="1085914"/>
                  <a:pt x="5884963" y="1085914"/>
                </a:cubicBezTo>
                <a:cubicBezTo>
                  <a:pt x="5854481" y="1085914"/>
                  <a:pt x="5829771" y="1061204"/>
                  <a:pt x="5829771" y="1030723"/>
                </a:cubicBezTo>
                <a:cubicBezTo>
                  <a:pt x="5829771" y="1000242"/>
                  <a:pt x="5854481" y="975532"/>
                  <a:pt x="5884963" y="975532"/>
                </a:cubicBezTo>
                <a:close/>
                <a:moveTo>
                  <a:pt x="5621031" y="975532"/>
                </a:moveTo>
                <a:cubicBezTo>
                  <a:pt x="5651513" y="975532"/>
                  <a:pt x="5676223" y="1000242"/>
                  <a:pt x="5676223" y="1030723"/>
                </a:cubicBezTo>
                <a:cubicBezTo>
                  <a:pt x="5676223" y="1061204"/>
                  <a:pt x="5651513" y="1085914"/>
                  <a:pt x="5621031" y="1085914"/>
                </a:cubicBezTo>
                <a:cubicBezTo>
                  <a:pt x="5590549" y="1085914"/>
                  <a:pt x="5565839" y="1061204"/>
                  <a:pt x="5565839" y="1030723"/>
                </a:cubicBezTo>
                <a:cubicBezTo>
                  <a:pt x="5565839" y="1000242"/>
                  <a:pt x="5590549" y="975532"/>
                  <a:pt x="5621031" y="975532"/>
                </a:cubicBezTo>
                <a:close/>
                <a:moveTo>
                  <a:pt x="5223472" y="975532"/>
                </a:moveTo>
                <a:cubicBezTo>
                  <a:pt x="5253954" y="975532"/>
                  <a:pt x="5278664" y="1000242"/>
                  <a:pt x="5278664" y="1030723"/>
                </a:cubicBezTo>
                <a:cubicBezTo>
                  <a:pt x="5278664" y="1061204"/>
                  <a:pt x="5253954" y="1085914"/>
                  <a:pt x="5223472" y="1085914"/>
                </a:cubicBezTo>
                <a:cubicBezTo>
                  <a:pt x="5192990" y="1085914"/>
                  <a:pt x="5168280" y="1061204"/>
                  <a:pt x="5168280" y="1030723"/>
                </a:cubicBezTo>
                <a:cubicBezTo>
                  <a:pt x="5168280" y="1000242"/>
                  <a:pt x="5192990" y="975532"/>
                  <a:pt x="5223472" y="975532"/>
                </a:cubicBezTo>
                <a:close/>
                <a:moveTo>
                  <a:pt x="4294710" y="975532"/>
                </a:moveTo>
                <a:cubicBezTo>
                  <a:pt x="4325192" y="975532"/>
                  <a:pt x="4349902" y="1000242"/>
                  <a:pt x="4349902" y="1030723"/>
                </a:cubicBezTo>
                <a:cubicBezTo>
                  <a:pt x="4349902" y="1061204"/>
                  <a:pt x="4325192" y="1085914"/>
                  <a:pt x="4294710" y="1085914"/>
                </a:cubicBezTo>
                <a:cubicBezTo>
                  <a:pt x="4264228" y="1085914"/>
                  <a:pt x="4239518" y="1061204"/>
                  <a:pt x="4239518" y="1030723"/>
                </a:cubicBezTo>
                <a:cubicBezTo>
                  <a:pt x="4239518" y="1000242"/>
                  <a:pt x="4264228" y="975532"/>
                  <a:pt x="4294710" y="975532"/>
                </a:cubicBezTo>
                <a:close/>
                <a:moveTo>
                  <a:pt x="3499584" y="975532"/>
                </a:moveTo>
                <a:cubicBezTo>
                  <a:pt x="3530066" y="975532"/>
                  <a:pt x="3554776" y="1000242"/>
                  <a:pt x="3554776" y="1030723"/>
                </a:cubicBezTo>
                <a:cubicBezTo>
                  <a:pt x="3554776" y="1061204"/>
                  <a:pt x="3530066" y="1085914"/>
                  <a:pt x="3499584" y="1085914"/>
                </a:cubicBezTo>
                <a:cubicBezTo>
                  <a:pt x="3469102" y="1085914"/>
                  <a:pt x="3444392" y="1061204"/>
                  <a:pt x="3444392" y="1030723"/>
                </a:cubicBezTo>
                <a:cubicBezTo>
                  <a:pt x="3444392" y="1000242"/>
                  <a:pt x="3469102" y="975532"/>
                  <a:pt x="3499584" y="975532"/>
                </a:cubicBezTo>
                <a:close/>
                <a:moveTo>
                  <a:pt x="2834836" y="975532"/>
                </a:moveTo>
                <a:cubicBezTo>
                  <a:pt x="2865318" y="975532"/>
                  <a:pt x="2890028" y="1000242"/>
                  <a:pt x="2890028" y="1030723"/>
                </a:cubicBezTo>
                <a:cubicBezTo>
                  <a:pt x="2890028" y="1061204"/>
                  <a:pt x="2865318" y="1085914"/>
                  <a:pt x="2834836" y="1085914"/>
                </a:cubicBezTo>
                <a:cubicBezTo>
                  <a:pt x="2804354" y="1085914"/>
                  <a:pt x="2779643" y="1061204"/>
                  <a:pt x="2779643" y="1030723"/>
                </a:cubicBezTo>
                <a:cubicBezTo>
                  <a:pt x="2779643" y="1000242"/>
                  <a:pt x="2804354" y="975532"/>
                  <a:pt x="2834836" y="975532"/>
                </a:cubicBezTo>
                <a:close/>
                <a:moveTo>
                  <a:pt x="2303639" y="975532"/>
                </a:moveTo>
                <a:cubicBezTo>
                  <a:pt x="2334120" y="975532"/>
                  <a:pt x="2358830" y="1000242"/>
                  <a:pt x="2358830" y="1030723"/>
                </a:cubicBezTo>
                <a:cubicBezTo>
                  <a:pt x="2358830" y="1061204"/>
                  <a:pt x="2334120" y="1085914"/>
                  <a:pt x="2303639" y="1085914"/>
                </a:cubicBezTo>
                <a:cubicBezTo>
                  <a:pt x="2273157" y="1085914"/>
                  <a:pt x="2248448" y="1061204"/>
                  <a:pt x="2248448" y="1030723"/>
                </a:cubicBezTo>
                <a:cubicBezTo>
                  <a:pt x="2248448" y="1000242"/>
                  <a:pt x="2273157" y="975532"/>
                  <a:pt x="2303639" y="975532"/>
                </a:cubicBezTo>
                <a:close/>
                <a:moveTo>
                  <a:pt x="2039712" y="975532"/>
                </a:moveTo>
                <a:cubicBezTo>
                  <a:pt x="2070195" y="975532"/>
                  <a:pt x="2094905" y="1000242"/>
                  <a:pt x="2094905" y="1030723"/>
                </a:cubicBezTo>
                <a:cubicBezTo>
                  <a:pt x="2094905" y="1061204"/>
                  <a:pt x="2070195" y="1085914"/>
                  <a:pt x="2039712" y="1085914"/>
                </a:cubicBezTo>
                <a:cubicBezTo>
                  <a:pt x="2009228" y="1085914"/>
                  <a:pt x="1984518" y="1061204"/>
                  <a:pt x="1984518" y="1030723"/>
                </a:cubicBezTo>
                <a:cubicBezTo>
                  <a:pt x="1984518" y="1000242"/>
                  <a:pt x="2009228" y="975532"/>
                  <a:pt x="2039712" y="975532"/>
                </a:cubicBezTo>
                <a:close/>
                <a:moveTo>
                  <a:pt x="1909414" y="975532"/>
                </a:moveTo>
                <a:cubicBezTo>
                  <a:pt x="1939897" y="975532"/>
                  <a:pt x="1964607" y="1000242"/>
                  <a:pt x="1964607" y="1030723"/>
                </a:cubicBezTo>
                <a:cubicBezTo>
                  <a:pt x="1964607" y="1061204"/>
                  <a:pt x="1939897" y="1085914"/>
                  <a:pt x="1909414" y="1085914"/>
                </a:cubicBezTo>
                <a:cubicBezTo>
                  <a:pt x="1878931" y="1085914"/>
                  <a:pt x="1854220" y="1061204"/>
                  <a:pt x="1854220" y="1030723"/>
                </a:cubicBezTo>
                <a:cubicBezTo>
                  <a:pt x="1854220" y="1000242"/>
                  <a:pt x="1878931" y="975532"/>
                  <a:pt x="1909414" y="975532"/>
                </a:cubicBezTo>
                <a:close/>
                <a:moveTo>
                  <a:pt x="1779117" y="975532"/>
                </a:moveTo>
                <a:cubicBezTo>
                  <a:pt x="1809599" y="975532"/>
                  <a:pt x="1834310" y="1000242"/>
                  <a:pt x="1834310" y="1030723"/>
                </a:cubicBezTo>
                <a:cubicBezTo>
                  <a:pt x="1834310" y="1061204"/>
                  <a:pt x="1809599" y="1085914"/>
                  <a:pt x="1779117" y="1085914"/>
                </a:cubicBezTo>
                <a:cubicBezTo>
                  <a:pt x="1748635" y="1085914"/>
                  <a:pt x="1723923" y="1061204"/>
                  <a:pt x="1723923" y="1030723"/>
                </a:cubicBezTo>
                <a:cubicBezTo>
                  <a:pt x="1723923" y="1000242"/>
                  <a:pt x="1748635" y="975532"/>
                  <a:pt x="1779117" y="975532"/>
                </a:cubicBezTo>
                <a:close/>
                <a:moveTo>
                  <a:pt x="1645480" y="975532"/>
                </a:moveTo>
                <a:cubicBezTo>
                  <a:pt x="1675963" y="975532"/>
                  <a:pt x="1700679" y="1000242"/>
                  <a:pt x="1700679" y="1030723"/>
                </a:cubicBezTo>
                <a:cubicBezTo>
                  <a:pt x="1700679" y="1061204"/>
                  <a:pt x="1675963" y="1085914"/>
                  <a:pt x="1645480" y="1085914"/>
                </a:cubicBezTo>
                <a:cubicBezTo>
                  <a:pt x="1615000" y="1085914"/>
                  <a:pt x="1590287" y="1061204"/>
                  <a:pt x="1590287" y="1030723"/>
                </a:cubicBezTo>
                <a:cubicBezTo>
                  <a:pt x="1590287" y="1000242"/>
                  <a:pt x="1615000" y="975532"/>
                  <a:pt x="1645480" y="975532"/>
                </a:cubicBezTo>
                <a:close/>
                <a:moveTo>
                  <a:pt x="1515189" y="975532"/>
                </a:moveTo>
                <a:cubicBezTo>
                  <a:pt x="1545668" y="975532"/>
                  <a:pt x="1570378" y="1000242"/>
                  <a:pt x="1570378" y="1030723"/>
                </a:cubicBezTo>
                <a:cubicBezTo>
                  <a:pt x="1570378" y="1061204"/>
                  <a:pt x="1545668" y="1085914"/>
                  <a:pt x="1515189" y="1085914"/>
                </a:cubicBezTo>
                <a:cubicBezTo>
                  <a:pt x="1484708" y="1085914"/>
                  <a:pt x="1459995" y="1061204"/>
                  <a:pt x="1459995" y="1030723"/>
                </a:cubicBezTo>
                <a:cubicBezTo>
                  <a:pt x="1459995" y="1000242"/>
                  <a:pt x="1484708" y="975532"/>
                  <a:pt x="1515189" y="975532"/>
                </a:cubicBezTo>
                <a:close/>
                <a:moveTo>
                  <a:pt x="1381549" y="975532"/>
                </a:moveTo>
                <a:cubicBezTo>
                  <a:pt x="1412033" y="975532"/>
                  <a:pt x="1436744" y="1000242"/>
                  <a:pt x="1436744" y="1030723"/>
                </a:cubicBezTo>
                <a:cubicBezTo>
                  <a:pt x="1436744" y="1061204"/>
                  <a:pt x="1412033" y="1085914"/>
                  <a:pt x="1381549" y="1085914"/>
                </a:cubicBezTo>
                <a:cubicBezTo>
                  <a:pt x="1351074" y="1085914"/>
                  <a:pt x="1326361" y="1061204"/>
                  <a:pt x="1326361" y="1030723"/>
                </a:cubicBezTo>
                <a:cubicBezTo>
                  <a:pt x="1326361" y="1000242"/>
                  <a:pt x="1351074" y="975532"/>
                  <a:pt x="1381549" y="975532"/>
                </a:cubicBezTo>
                <a:close/>
                <a:moveTo>
                  <a:pt x="1117621" y="975532"/>
                </a:moveTo>
                <a:cubicBezTo>
                  <a:pt x="1148103" y="975532"/>
                  <a:pt x="1172814" y="1000242"/>
                  <a:pt x="1172814" y="1030723"/>
                </a:cubicBezTo>
                <a:cubicBezTo>
                  <a:pt x="1172814" y="1061204"/>
                  <a:pt x="1148103" y="1085914"/>
                  <a:pt x="1117621" y="1085914"/>
                </a:cubicBezTo>
                <a:cubicBezTo>
                  <a:pt x="1087137" y="1085914"/>
                  <a:pt x="1062427" y="1061204"/>
                  <a:pt x="1062427" y="1030723"/>
                </a:cubicBezTo>
                <a:cubicBezTo>
                  <a:pt x="1062427" y="1000242"/>
                  <a:pt x="1087137" y="975532"/>
                  <a:pt x="1117621" y="975532"/>
                </a:cubicBezTo>
                <a:close/>
                <a:moveTo>
                  <a:pt x="980643" y="975532"/>
                </a:moveTo>
                <a:cubicBezTo>
                  <a:pt x="1011125" y="975532"/>
                  <a:pt x="1035836" y="1000242"/>
                  <a:pt x="1035836" y="1030723"/>
                </a:cubicBezTo>
                <a:cubicBezTo>
                  <a:pt x="1035836" y="1061204"/>
                  <a:pt x="1011125" y="1085914"/>
                  <a:pt x="980643" y="1085914"/>
                </a:cubicBezTo>
                <a:cubicBezTo>
                  <a:pt x="950159" y="1085914"/>
                  <a:pt x="925449" y="1061204"/>
                  <a:pt x="925449" y="1030723"/>
                </a:cubicBezTo>
                <a:cubicBezTo>
                  <a:pt x="925449" y="1000242"/>
                  <a:pt x="950159" y="975532"/>
                  <a:pt x="980643" y="975532"/>
                </a:cubicBezTo>
                <a:close/>
                <a:moveTo>
                  <a:pt x="716703" y="975532"/>
                </a:moveTo>
                <a:cubicBezTo>
                  <a:pt x="747185" y="975532"/>
                  <a:pt x="771897" y="1000242"/>
                  <a:pt x="771897" y="1030723"/>
                </a:cubicBezTo>
                <a:cubicBezTo>
                  <a:pt x="771897" y="1061204"/>
                  <a:pt x="747185" y="1085914"/>
                  <a:pt x="716703" y="1085914"/>
                </a:cubicBezTo>
                <a:cubicBezTo>
                  <a:pt x="686222" y="1085914"/>
                  <a:pt x="661511" y="1061204"/>
                  <a:pt x="661511" y="1030723"/>
                </a:cubicBezTo>
                <a:cubicBezTo>
                  <a:pt x="661511" y="1000242"/>
                  <a:pt x="686222" y="975532"/>
                  <a:pt x="716703" y="975532"/>
                </a:cubicBezTo>
                <a:close/>
                <a:moveTo>
                  <a:pt x="583065" y="975532"/>
                </a:moveTo>
                <a:cubicBezTo>
                  <a:pt x="613549" y="975532"/>
                  <a:pt x="638258" y="1000242"/>
                  <a:pt x="638258" y="1030723"/>
                </a:cubicBezTo>
                <a:cubicBezTo>
                  <a:pt x="638258" y="1061204"/>
                  <a:pt x="613549" y="1085914"/>
                  <a:pt x="583065" y="1085914"/>
                </a:cubicBezTo>
                <a:cubicBezTo>
                  <a:pt x="552583" y="1085914"/>
                  <a:pt x="527871" y="1061204"/>
                  <a:pt x="527871" y="1030723"/>
                </a:cubicBezTo>
                <a:cubicBezTo>
                  <a:pt x="527871" y="1000242"/>
                  <a:pt x="552583" y="975532"/>
                  <a:pt x="583065" y="975532"/>
                </a:cubicBezTo>
                <a:close/>
                <a:moveTo>
                  <a:pt x="449419" y="975532"/>
                </a:moveTo>
                <a:cubicBezTo>
                  <a:pt x="479902" y="975532"/>
                  <a:pt x="504612" y="1000242"/>
                  <a:pt x="504612" y="1030723"/>
                </a:cubicBezTo>
                <a:cubicBezTo>
                  <a:pt x="504612" y="1061204"/>
                  <a:pt x="479902" y="1085914"/>
                  <a:pt x="449419" y="1085914"/>
                </a:cubicBezTo>
                <a:cubicBezTo>
                  <a:pt x="418936" y="1085914"/>
                  <a:pt x="394227" y="1061204"/>
                  <a:pt x="394227" y="1030723"/>
                </a:cubicBezTo>
                <a:cubicBezTo>
                  <a:pt x="394227" y="1000242"/>
                  <a:pt x="418936" y="975532"/>
                  <a:pt x="449419" y="975532"/>
                </a:cubicBezTo>
                <a:close/>
                <a:moveTo>
                  <a:pt x="319124" y="975532"/>
                </a:moveTo>
                <a:cubicBezTo>
                  <a:pt x="349606" y="975532"/>
                  <a:pt x="374317" y="1000242"/>
                  <a:pt x="374317" y="1030723"/>
                </a:cubicBezTo>
                <a:cubicBezTo>
                  <a:pt x="374317" y="1061204"/>
                  <a:pt x="349606" y="1085914"/>
                  <a:pt x="319124" y="1085914"/>
                </a:cubicBezTo>
                <a:cubicBezTo>
                  <a:pt x="288640" y="1085914"/>
                  <a:pt x="263931" y="1061204"/>
                  <a:pt x="263931" y="1030723"/>
                </a:cubicBezTo>
                <a:cubicBezTo>
                  <a:pt x="263931" y="1000242"/>
                  <a:pt x="288640" y="975532"/>
                  <a:pt x="319124" y="975532"/>
                </a:cubicBezTo>
                <a:close/>
                <a:moveTo>
                  <a:pt x="185492" y="975532"/>
                </a:moveTo>
                <a:cubicBezTo>
                  <a:pt x="215972" y="975532"/>
                  <a:pt x="240682" y="1000242"/>
                  <a:pt x="240682" y="1030723"/>
                </a:cubicBezTo>
                <a:cubicBezTo>
                  <a:pt x="240682" y="1061204"/>
                  <a:pt x="215972" y="1085914"/>
                  <a:pt x="185492" y="1085914"/>
                </a:cubicBezTo>
                <a:cubicBezTo>
                  <a:pt x="155010" y="1085914"/>
                  <a:pt x="130299" y="1061204"/>
                  <a:pt x="130299" y="1030723"/>
                </a:cubicBezTo>
                <a:cubicBezTo>
                  <a:pt x="130299" y="1000242"/>
                  <a:pt x="155010" y="975532"/>
                  <a:pt x="185492" y="975532"/>
                </a:cubicBezTo>
                <a:close/>
                <a:moveTo>
                  <a:pt x="55197" y="975532"/>
                </a:moveTo>
                <a:cubicBezTo>
                  <a:pt x="85679" y="975532"/>
                  <a:pt x="110388" y="1000242"/>
                  <a:pt x="110388" y="1030723"/>
                </a:cubicBezTo>
                <a:cubicBezTo>
                  <a:pt x="110388" y="1061204"/>
                  <a:pt x="85679" y="1085914"/>
                  <a:pt x="55197" y="1085914"/>
                </a:cubicBezTo>
                <a:cubicBezTo>
                  <a:pt x="24715" y="1085914"/>
                  <a:pt x="7" y="1061204"/>
                  <a:pt x="7" y="1030723"/>
                </a:cubicBezTo>
                <a:cubicBezTo>
                  <a:pt x="7" y="1000242"/>
                  <a:pt x="24715" y="975532"/>
                  <a:pt x="55197" y="975532"/>
                </a:cubicBezTo>
                <a:close/>
                <a:moveTo>
                  <a:pt x="9469710" y="855263"/>
                </a:moveTo>
                <a:cubicBezTo>
                  <a:pt x="9500192" y="855263"/>
                  <a:pt x="9524902" y="879973"/>
                  <a:pt x="9524902" y="910454"/>
                </a:cubicBezTo>
                <a:cubicBezTo>
                  <a:pt x="9524902" y="940935"/>
                  <a:pt x="9500192" y="965645"/>
                  <a:pt x="9469710" y="965645"/>
                </a:cubicBezTo>
                <a:cubicBezTo>
                  <a:pt x="9439228" y="965645"/>
                  <a:pt x="9414518" y="940935"/>
                  <a:pt x="9414518" y="910454"/>
                </a:cubicBezTo>
                <a:cubicBezTo>
                  <a:pt x="9414518" y="879973"/>
                  <a:pt x="9439228" y="855263"/>
                  <a:pt x="9469710" y="855263"/>
                </a:cubicBezTo>
                <a:close/>
                <a:moveTo>
                  <a:pt x="9336075" y="855263"/>
                </a:moveTo>
                <a:cubicBezTo>
                  <a:pt x="9366557" y="855263"/>
                  <a:pt x="9391267" y="879973"/>
                  <a:pt x="9391267" y="910454"/>
                </a:cubicBezTo>
                <a:cubicBezTo>
                  <a:pt x="9391267" y="940935"/>
                  <a:pt x="9366557" y="965645"/>
                  <a:pt x="9336075" y="965645"/>
                </a:cubicBezTo>
                <a:cubicBezTo>
                  <a:pt x="9305593" y="965645"/>
                  <a:pt x="9280883" y="940935"/>
                  <a:pt x="9280883" y="910454"/>
                </a:cubicBezTo>
                <a:cubicBezTo>
                  <a:pt x="9280883" y="879973"/>
                  <a:pt x="9305593" y="855263"/>
                  <a:pt x="9336075" y="855263"/>
                </a:cubicBezTo>
                <a:close/>
                <a:moveTo>
                  <a:pt x="9199100" y="855263"/>
                </a:moveTo>
                <a:cubicBezTo>
                  <a:pt x="9229582" y="855263"/>
                  <a:pt x="9254292" y="879973"/>
                  <a:pt x="9254292" y="910454"/>
                </a:cubicBezTo>
                <a:cubicBezTo>
                  <a:pt x="9254292" y="940935"/>
                  <a:pt x="9229582" y="965645"/>
                  <a:pt x="9199100" y="965645"/>
                </a:cubicBezTo>
                <a:cubicBezTo>
                  <a:pt x="9168618" y="965645"/>
                  <a:pt x="9143908" y="940935"/>
                  <a:pt x="9143908" y="910454"/>
                </a:cubicBezTo>
                <a:cubicBezTo>
                  <a:pt x="9143908" y="879973"/>
                  <a:pt x="9168618" y="855263"/>
                  <a:pt x="9199100" y="855263"/>
                </a:cubicBezTo>
                <a:close/>
                <a:moveTo>
                  <a:pt x="9068806" y="855263"/>
                </a:moveTo>
                <a:cubicBezTo>
                  <a:pt x="9099288" y="855263"/>
                  <a:pt x="9123998" y="879973"/>
                  <a:pt x="9123998" y="910454"/>
                </a:cubicBezTo>
                <a:cubicBezTo>
                  <a:pt x="9123998" y="940935"/>
                  <a:pt x="9099288" y="965645"/>
                  <a:pt x="9068806" y="965645"/>
                </a:cubicBezTo>
                <a:cubicBezTo>
                  <a:pt x="9038324" y="965645"/>
                  <a:pt x="9013614" y="940935"/>
                  <a:pt x="9013614" y="910454"/>
                </a:cubicBezTo>
                <a:cubicBezTo>
                  <a:pt x="9013614" y="879973"/>
                  <a:pt x="9038324" y="855263"/>
                  <a:pt x="9068806" y="855263"/>
                </a:cubicBezTo>
                <a:close/>
                <a:moveTo>
                  <a:pt x="8935170" y="855263"/>
                </a:moveTo>
                <a:cubicBezTo>
                  <a:pt x="8965652" y="855263"/>
                  <a:pt x="8990362" y="879973"/>
                  <a:pt x="8990362" y="910454"/>
                </a:cubicBezTo>
                <a:cubicBezTo>
                  <a:pt x="8990362" y="940935"/>
                  <a:pt x="8965652" y="965645"/>
                  <a:pt x="8935170" y="965645"/>
                </a:cubicBezTo>
                <a:cubicBezTo>
                  <a:pt x="8904688" y="965645"/>
                  <a:pt x="8879978" y="940935"/>
                  <a:pt x="8879978" y="910454"/>
                </a:cubicBezTo>
                <a:cubicBezTo>
                  <a:pt x="8879978" y="879973"/>
                  <a:pt x="8904688" y="855263"/>
                  <a:pt x="8935170" y="855263"/>
                </a:cubicBezTo>
                <a:close/>
                <a:moveTo>
                  <a:pt x="8801536" y="855263"/>
                </a:moveTo>
                <a:cubicBezTo>
                  <a:pt x="8832018" y="855263"/>
                  <a:pt x="8856728" y="879973"/>
                  <a:pt x="8856728" y="910454"/>
                </a:cubicBezTo>
                <a:cubicBezTo>
                  <a:pt x="8856728" y="940935"/>
                  <a:pt x="8832018" y="965645"/>
                  <a:pt x="8801536" y="965645"/>
                </a:cubicBezTo>
                <a:cubicBezTo>
                  <a:pt x="8771054" y="965645"/>
                  <a:pt x="8746344" y="940935"/>
                  <a:pt x="8746344" y="910454"/>
                </a:cubicBezTo>
                <a:cubicBezTo>
                  <a:pt x="8746344" y="879973"/>
                  <a:pt x="8771054" y="855263"/>
                  <a:pt x="8801536" y="855263"/>
                </a:cubicBezTo>
                <a:close/>
                <a:moveTo>
                  <a:pt x="8671243" y="855263"/>
                </a:moveTo>
                <a:cubicBezTo>
                  <a:pt x="8701725" y="855263"/>
                  <a:pt x="8726435" y="879973"/>
                  <a:pt x="8726435" y="910454"/>
                </a:cubicBezTo>
                <a:cubicBezTo>
                  <a:pt x="8726435" y="940935"/>
                  <a:pt x="8701725" y="965645"/>
                  <a:pt x="8671243" y="965645"/>
                </a:cubicBezTo>
                <a:cubicBezTo>
                  <a:pt x="8640761" y="965645"/>
                  <a:pt x="8616051" y="940935"/>
                  <a:pt x="8616051" y="910454"/>
                </a:cubicBezTo>
                <a:cubicBezTo>
                  <a:pt x="8616051" y="879973"/>
                  <a:pt x="8640761" y="855263"/>
                  <a:pt x="8671243" y="855263"/>
                </a:cubicBezTo>
                <a:close/>
                <a:moveTo>
                  <a:pt x="8537609" y="855263"/>
                </a:moveTo>
                <a:cubicBezTo>
                  <a:pt x="8568091" y="855263"/>
                  <a:pt x="8592801" y="879973"/>
                  <a:pt x="8592801" y="910454"/>
                </a:cubicBezTo>
                <a:cubicBezTo>
                  <a:pt x="8592801" y="940935"/>
                  <a:pt x="8568091" y="965645"/>
                  <a:pt x="8537609" y="965645"/>
                </a:cubicBezTo>
                <a:cubicBezTo>
                  <a:pt x="8507127" y="965645"/>
                  <a:pt x="8482417" y="940935"/>
                  <a:pt x="8482417" y="910454"/>
                </a:cubicBezTo>
                <a:cubicBezTo>
                  <a:pt x="8482417" y="879973"/>
                  <a:pt x="8507127" y="855263"/>
                  <a:pt x="8537609" y="855263"/>
                </a:cubicBezTo>
                <a:close/>
                <a:moveTo>
                  <a:pt x="8407315" y="855263"/>
                </a:moveTo>
                <a:cubicBezTo>
                  <a:pt x="8437797" y="855263"/>
                  <a:pt x="8462507" y="879973"/>
                  <a:pt x="8462507" y="910454"/>
                </a:cubicBezTo>
                <a:cubicBezTo>
                  <a:pt x="8462507" y="940935"/>
                  <a:pt x="8437797" y="965645"/>
                  <a:pt x="8407315" y="965645"/>
                </a:cubicBezTo>
                <a:cubicBezTo>
                  <a:pt x="8376833" y="965645"/>
                  <a:pt x="8352123" y="940935"/>
                  <a:pt x="8352123" y="910454"/>
                </a:cubicBezTo>
                <a:cubicBezTo>
                  <a:pt x="8352123" y="879973"/>
                  <a:pt x="8376833" y="855263"/>
                  <a:pt x="8407315" y="855263"/>
                </a:cubicBezTo>
                <a:close/>
                <a:moveTo>
                  <a:pt x="8273681" y="855263"/>
                </a:moveTo>
                <a:cubicBezTo>
                  <a:pt x="8304163" y="855263"/>
                  <a:pt x="8328873" y="879973"/>
                  <a:pt x="8328873" y="910454"/>
                </a:cubicBezTo>
                <a:cubicBezTo>
                  <a:pt x="8328873" y="940935"/>
                  <a:pt x="8304163" y="965645"/>
                  <a:pt x="8273681" y="965645"/>
                </a:cubicBezTo>
                <a:cubicBezTo>
                  <a:pt x="8243199" y="965645"/>
                  <a:pt x="8218489" y="940935"/>
                  <a:pt x="8218489" y="910454"/>
                </a:cubicBezTo>
                <a:cubicBezTo>
                  <a:pt x="8218489" y="879973"/>
                  <a:pt x="8243199" y="855263"/>
                  <a:pt x="8273681" y="855263"/>
                </a:cubicBezTo>
                <a:close/>
                <a:moveTo>
                  <a:pt x="8143386" y="855263"/>
                </a:moveTo>
                <a:cubicBezTo>
                  <a:pt x="8173868" y="855263"/>
                  <a:pt x="8198578" y="879973"/>
                  <a:pt x="8198578" y="910454"/>
                </a:cubicBezTo>
                <a:cubicBezTo>
                  <a:pt x="8198578" y="940935"/>
                  <a:pt x="8173868" y="965645"/>
                  <a:pt x="8143386" y="965645"/>
                </a:cubicBezTo>
                <a:cubicBezTo>
                  <a:pt x="8112904" y="965645"/>
                  <a:pt x="8088194" y="940935"/>
                  <a:pt x="8088194" y="910454"/>
                </a:cubicBezTo>
                <a:cubicBezTo>
                  <a:pt x="8088194" y="879973"/>
                  <a:pt x="8112904" y="855263"/>
                  <a:pt x="8143386" y="855263"/>
                </a:cubicBezTo>
                <a:close/>
                <a:moveTo>
                  <a:pt x="8009752" y="855263"/>
                </a:moveTo>
                <a:cubicBezTo>
                  <a:pt x="8040234" y="855263"/>
                  <a:pt x="8064944" y="879973"/>
                  <a:pt x="8064944" y="910454"/>
                </a:cubicBezTo>
                <a:cubicBezTo>
                  <a:pt x="8064944" y="940935"/>
                  <a:pt x="8040234" y="965645"/>
                  <a:pt x="8009752" y="965645"/>
                </a:cubicBezTo>
                <a:cubicBezTo>
                  <a:pt x="7979270" y="965645"/>
                  <a:pt x="7954560" y="940935"/>
                  <a:pt x="7954560" y="910454"/>
                </a:cubicBezTo>
                <a:cubicBezTo>
                  <a:pt x="7954560" y="879973"/>
                  <a:pt x="7979270" y="855263"/>
                  <a:pt x="8009752" y="855263"/>
                </a:cubicBezTo>
                <a:close/>
                <a:moveTo>
                  <a:pt x="7876117" y="855263"/>
                </a:moveTo>
                <a:cubicBezTo>
                  <a:pt x="7906599" y="855263"/>
                  <a:pt x="7931309" y="879973"/>
                  <a:pt x="7931309" y="910454"/>
                </a:cubicBezTo>
                <a:cubicBezTo>
                  <a:pt x="7931309" y="940935"/>
                  <a:pt x="7906599" y="965645"/>
                  <a:pt x="7876117" y="965645"/>
                </a:cubicBezTo>
                <a:cubicBezTo>
                  <a:pt x="7845635" y="965645"/>
                  <a:pt x="7820925" y="940935"/>
                  <a:pt x="7820925" y="910454"/>
                </a:cubicBezTo>
                <a:cubicBezTo>
                  <a:pt x="7820925" y="879973"/>
                  <a:pt x="7845635" y="855263"/>
                  <a:pt x="7876117" y="855263"/>
                </a:cubicBezTo>
                <a:close/>
                <a:moveTo>
                  <a:pt x="7745822" y="855263"/>
                </a:moveTo>
                <a:cubicBezTo>
                  <a:pt x="7776304" y="855263"/>
                  <a:pt x="7801014" y="879973"/>
                  <a:pt x="7801014" y="910454"/>
                </a:cubicBezTo>
                <a:cubicBezTo>
                  <a:pt x="7801014" y="940935"/>
                  <a:pt x="7776304" y="965645"/>
                  <a:pt x="7745822" y="965645"/>
                </a:cubicBezTo>
                <a:cubicBezTo>
                  <a:pt x="7715340" y="965645"/>
                  <a:pt x="7690630" y="940935"/>
                  <a:pt x="7690630" y="910454"/>
                </a:cubicBezTo>
                <a:cubicBezTo>
                  <a:pt x="7690630" y="879973"/>
                  <a:pt x="7715340" y="855263"/>
                  <a:pt x="7745822" y="855263"/>
                </a:cubicBezTo>
                <a:close/>
                <a:moveTo>
                  <a:pt x="7608849" y="855263"/>
                </a:moveTo>
                <a:cubicBezTo>
                  <a:pt x="7639331" y="855263"/>
                  <a:pt x="7664041" y="879973"/>
                  <a:pt x="7664041" y="910454"/>
                </a:cubicBezTo>
                <a:cubicBezTo>
                  <a:pt x="7664041" y="940935"/>
                  <a:pt x="7639331" y="965645"/>
                  <a:pt x="7608849" y="965645"/>
                </a:cubicBezTo>
                <a:cubicBezTo>
                  <a:pt x="7578367" y="965645"/>
                  <a:pt x="7553657" y="940935"/>
                  <a:pt x="7553657" y="910454"/>
                </a:cubicBezTo>
                <a:cubicBezTo>
                  <a:pt x="7553657" y="879973"/>
                  <a:pt x="7578367" y="855263"/>
                  <a:pt x="7608849" y="855263"/>
                </a:cubicBezTo>
                <a:close/>
                <a:moveTo>
                  <a:pt x="7481895" y="855263"/>
                </a:moveTo>
                <a:cubicBezTo>
                  <a:pt x="7512377" y="855263"/>
                  <a:pt x="7537087" y="879973"/>
                  <a:pt x="7537087" y="910454"/>
                </a:cubicBezTo>
                <a:cubicBezTo>
                  <a:pt x="7537087" y="940935"/>
                  <a:pt x="7512377" y="965645"/>
                  <a:pt x="7481895" y="965645"/>
                </a:cubicBezTo>
                <a:cubicBezTo>
                  <a:pt x="7451413" y="965645"/>
                  <a:pt x="7426703" y="940935"/>
                  <a:pt x="7426703" y="910454"/>
                </a:cubicBezTo>
                <a:cubicBezTo>
                  <a:pt x="7426703" y="879973"/>
                  <a:pt x="7451413" y="855263"/>
                  <a:pt x="7481895" y="855263"/>
                </a:cubicBezTo>
                <a:close/>
                <a:moveTo>
                  <a:pt x="7341578" y="855263"/>
                </a:moveTo>
                <a:cubicBezTo>
                  <a:pt x="7372060" y="855263"/>
                  <a:pt x="7396770" y="879973"/>
                  <a:pt x="7396770" y="910454"/>
                </a:cubicBezTo>
                <a:cubicBezTo>
                  <a:pt x="7396770" y="940935"/>
                  <a:pt x="7372060" y="965645"/>
                  <a:pt x="7341578" y="965645"/>
                </a:cubicBezTo>
                <a:cubicBezTo>
                  <a:pt x="7311096" y="965645"/>
                  <a:pt x="7286386" y="940935"/>
                  <a:pt x="7286386" y="910454"/>
                </a:cubicBezTo>
                <a:cubicBezTo>
                  <a:pt x="7286386" y="879973"/>
                  <a:pt x="7311096" y="855263"/>
                  <a:pt x="7341578" y="855263"/>
                </a:cubicBezTo>
                <a:close/>
                <a:moveTo>
                  <a:pt x="7211285" y="855263"/>
                </a:moveTo>
                <a:cubicBezTo>
                  <a:pt x="7241767" y="855263"/>
                  <a:pt x="7266477" y="879973"/>
                  <a:pt x="7266477" y="910454"/>
                </a:cubicBezTo>
                <a:cubicBezTo>
                  <a:pt x="7266477" y="940935"/>
                  <a:pt x="7241767" y="965645"/>
                  <a:pt x="7211285" y="965645"/>
                </a:cubicBezTo>
                <a:cubicBezTo>
                  <a:pt x="7180803" y="965645"/>
                  <a:pt x="7156093" y="940935"/>
                  <a:pt x="7156093" y="910454"/>
                </a:cubicBezTo>
                <a:cubicBezTo>
                  <a:pt x="7156093" y="879973"/>
                  <a:pt x="7180803" y="855263"/>
                  <a:pt x="7211285" y="855263"/>
                </a:cubicBezTo>
                <a:close/>
                <a:moveTo>
                  <a:pt x="7080993" y="855263"/>
                </a:moveTo>
                <a:cubicBezTo>
                  <a:pt x="7111475" y="855263"/>
                  <a:pt x="7136185" y="879973"/>
                  <a:pt x="7136185" y="910454"/>
                </a:cubicBezTo>
                <a:cubicBezTo>
                  <a:pt x="7136185" y="940935"/>
                  <a:pt x="7111475" y="965645"/>
                  <a:pt x="7080993" y="965645"/>
                </a:cubicBezTo>
                <a:cubicBezTo>
                  <a:pt x="7050511" y="965645"/>
                  <a:pt x="7025801" y="940935"/>
                  <a:pt x="7025801" y="910454"/>
                </a:cubicBezTo>
                <a:cubicBezTo>
                  <a:pt x="7025801" y="879973"/>
                  <a:pt x="7050511" y="855263"/>
                  <a:pt x="7080993" y="855263"/>
                </a:cubicBezTo>
                <a:close/>
                <a:moveTo>
                  <a:pt x="6947357" y="855263"/>
                </a:moveTo>
                <a:cubicBezTo>
                  <a:pt x="6977839" y="855263"/>
                  <a:pt x="7002549" y="879973"/>
                  <a:pt x="7002549" y="910454"/>
                </a:cubicBezTo>
                <a:cubicBezTo>
                  <a:pt x="7002549" y="940935"/>
                  <a:pt x="6977839" y="965645"/>
                  <a:pt x="6947357" y="965645"/>
                </a:cubicBezTo>
                <a:cubicBezTo>
                  <a:pt x="6916875" y="965645"/>
                  <a:pt x="6892165" y="940935"/>
                  <a:pt x="6892165" y="910454"/>
                </a:cubicBezTo>
                <a:cubicBezTo>
                  <a:pt x="6892165" y="879973"/>
                  <a:pt x="6916875" y="855263"/>
                  <a:pt x="6947357" y="855263"/>
                </a:cubicBezTo>
                <a:close/>
                <a:moveTo>
                  <a:pt x="6817063" y="855263"/>
                </a:moveTo>
                <a:cubicBezTo>
                  <a:pt x="6847545" y="855263"/>
                  <a:pt x="6872255" y="879973"/>
                  <a:pt x="6872255" y="910454"/>
                </a:cubicBezTo>
                <a:cubicBezTo>
                  <a:pt x="6872255" y="940935"/>
                  <a:pt x="6847545" y="965645"/>
                  <a:pt x="6817063" y="965645"/>
                </a:cubicBezTo>
                <a:cubicBezTo>
                  <a:pt x="6786581" y="965645"/>
                  <a:pt x="6761871" y="940935"/>
                  <a:pt x="6761871" y="910454"/>
                </a:cubicBezTo>
                <a:cubicBezTo>
                  <a:pt x="6761871" y="879973"/>
                  <a:pt x="6786581" y="855263"/>
                  <a:pt x="6817063" y="855263"/>
                </a:cubicBezTo>
                <a:close/>
                <a:moveTo>
                  <a:pt x="6683430" y="855263"/>
                </a:moveTo>
                <a:cubicBezTo>
                  <a:pt x="6713912" y="855263"/>
                  <a:pt x="6738622" y="879973"/>
                  <a:pt x="6738622" y="910454"/>
                </a:cubicBezTo>
                <a:cubicBezTo>
                  <a:pt x="6738622" y="940935"/>
                  <a:pt x="6713912" y="965645"/>
                  <a:pt x="6683430" y="965645"/>
                </a:cubicBezTo>
                <a:cubicBezTo>
                  <a:pt x="6652948" y="965645"/>
                  <a:pt x="6628238" y="940935"/>
                  <a:pt x="6628238" y="910454"/>
                </a:cubicBezTo>
                <a:cubicBezTo>
                  <a:pt x="6628238" y="879973"/>
                  <a:pt x="6652948" y="855263"/>
                  <a:pt x="6683430" y="855263"/>
                </a:cubicBezTo>
                <a:close/>
                <a:moveTo>
                  <a:pt x="6553135" y="855263"/>
                </a:moveTo>
                <a:cubicBezTo>
                  <a:pt x="6583617" y="855263"/>
                  <a:pt x="6608327" y="879973"/>
                  <a:pt x="6608327" y="910454"/>
                </a:cubicBezTo>
                <a:cubicBezTo>
                  <a:pt x="6608327" y="940935"/>
                  <a:pt x="6583617" y="965645"/>
                  <a:pt x="6553135" y="965645"/>
                </a:cubicBezTo>
                <a:cubicBezTo>
                  <a:pt x="6522653" y="965645"/>
                  <a:pt x="6497943" y="940935"/>
                  <a:pt x="6497943" y="910454"/>
                </a:cubicBezTo>
                <a:cubicBezTo>
                  <a:pt x="6497943" y="879973"/>
                  <a:pt x="6522653" y="855263"/>
                  <a:pt x="6553135" y="855263"/>
                </a:cubicBezTo>
                <a:close/>
                <a:moveTo>
                  <a:pt x="6419502" y="855263"/>
                </a:moveTo>
                <a:cubicBezTo>
                  <a:pt x="6449984" y="855263"/>
                  <a:pt x="6474694" y="879973"/>
                  <a:pt x="6474694" y="910454"/>
                </a:cubicBezTo>
                <a:cubicBezTo>
                  <a:pt x="6474694" y="940935"/>
                  <a:pt x="6449984" y="965645"/>
                  <a:pt x="6419502" y="965645"/>
                </a:cubicBezTo>
                <a:cubicBezTo>
                  <a:pt x="6389020" y="965645"/>
                  <a:pt x="6364310" y="940935"/>
                  <a:pt x="6364310" y="910454"/>
                </a:cubicBezTo>
                <a:cubicBezTo>
                  <a:pt x="6364310" y="879973"/>
                  <a:pt x="6389020" y="855263"/>
                  <a:pt x="6419502" y="855263"/>
                </a:cubicBezTo>
                <a:close/>
                <a:moveTo>
                  <a:pt x="6289206" y="855263"/>
                </a:moveTo>
                <a:cubicBezTo>
                  <a:pt x="6319688" y="855263"/>
                  <a:pt x="6344398" y="879973"/>
                  <a:pt x="6344398" y="910454"/>
                </a:cubicBezTo>
                <a:cubicBezTo>
                  <a:pt x="6344398" y="940935"/>
                  <a:pt x="6319688" y="965645"/>
                  <a:pt x="6289206" y="965645"/>
                </a:cubicBezTo>
                <a:cubicBezTo>
                  <a:pt x="6258724" y="965645"/>
                  <a:pt x="6234014" y="940935"/>
                  <a:pt x="6234014" y="910454"/>
                </a:cubicBezTo>
                <a:cubicBezTo>
                  <a:pt x="6234014" y="879973"/>
                  <a:pt x="6258724" y="855263"/>
                  <a:pt x="6289206" y="855263"/>
                </a:cubicBezTo>
                <a:close/>
                <a:moveTo>
                  <a:pt x="6155571" y="855263"/>
                </a:moveTo>
                <a:cubicBezTo>
                  <a:pt x="6186053" y="855263"/>
                  <a:pt x="6210763" y="879973"/>
                  <a:pt x="6210763" y="910454"/>
                </a:cubicBezTo>
                <a:cubicBezTo>
                  <a:pt x="6210763" y="940935"/>
                  <a:pt x="6186053" y="965645"/>
                  <a:pt x="6155571" y="965645"/>
                </a:cubicBezTo>
                <a:cubicBezTo>
                  <a:pt x="6125089" y="965645"/>
                  <a:pt x="6100379" y="940935"/>
                  <a:pt x="6100379" y="910454"/>
                </a:cubicBezTo>
                <a:cubicBezTo>
                  <a:pt x="6100379" y="879973"/>
                  <a:pt x="6125089" y="855263"/>
                  <a:pt x="6155571" y="855263"/>
                </a:cubicBezTo>
                <a:close/>
                <a:moveTo>
                  <a:pt x="6021938" y="855263"/>
                </a:moveTo>
                <a:cubicBezTo>
                  <a:pt x="6052420" y="855263"/>
                  <a:pt x="6077130" y="879973"/>
                  <a:pt x="6077130" y="910454"/>
                </a:cubicBezTo>
                <a:cubicBezTo>
                  <a:pt x="6077130" y="940935"/>
                  <a:pt x="6052420" y="965645"/>
                  <a:pt x="6021938" y="965645"/>
                </a:cubicBezTo>
                <a:cubicBezTo>
                  <a:pt x="5991456" y="965645"/>
                  <a:pt x="5966746" y="940935"/>
                  <a:pt x="5966746" y="910454"/>
                </a:cubicBezTo>
                <a:cubicBezTo>
                  <a:pt x="5966746" y="879973"/>
                  <a:pt x="5991456" y="855263"/>
                  <a:pt x="6021938" y="855263"/>
                </a:cubicBezTo>
                <a:close/>
                <a:moveTo>
                  <a:pt x="5884961" y="855263"/>
                </a:moveTo>
                <a:cubicBezTo>
                  <a:pt x="5915443" y="855263"/>
                  <a:pt x="5940153" y="879973"/>
                  <a:pt x="5940153" y="910454"/>
                </a:cubicBezTo>
                <a:cubicBezTo>
                  <a:pt x="5940153" y="940935"/>
                  <a:pt x="5915443" y="965645"/>
                  <a:pt x="5884961" y="965645"/>
                </a:cubicBezTo>
                <a:cubicBezTo>
                  <a:pt x="5854479" y="965645"/>
                  <a:pt x="5829769" y="940935"/>
                  <a:pt x="5829769" y="910454"/>
                </a:cubicBezTo>
                <a:cubicBezTo>
                  <a:pt x="5829769" y="879973"/>
                  <a:pt x="5854479" y="855263"/>
                  <a:pt x="5884961" y="855263"/>
                </a:cubicBezTo>
                <a:close/>
                <a:moveTo>
                  <a:pt x="5754668" y="855263"/>
                </a:moveTo>
                <a:cubicBezTo>
                  <a:pt x="5785150" y="855263"/>
                  <a:pt x="5809860" y="879973"/>
                  <a:pt x="5809860" y="910454"/>
                </a:cubicBezTo>
                <a:cubicBezTo>
                  <a:pt x="5809860" y="940935"/>
                  <a:pt x="5785150" y="965645"/>
                  <a:pt x="5754668" y="965645"/>
                </a:cubicBezTo>
                <a:cubicBezTo>
                  <a:pt x="5724186" y="965645"/>
                  <a:pt x="5699476" y="940935"/>
                  <a:pt x="5699476" y="910454"/>
                </a:cubicBezTo>
                <a:cubicBezTo>
                  <a:pt x="5699476" y="879973"/>
                  <a:pt x="5724186" y="855263"/>
                  <a:pt x="5754668" y="855263"/>
                </a:cubicBezTo>
                <a:close/>
                <a:moveTo>
                  <a:pt x="5621034" y="855263"/>
                </a:moveTo>
                <a:cubicBezTo>
                  <a:pt x="5651516" y="855263"/>
                  <a:pt x="5676226" y="879973"/>
                  <a:pt x="5676226" y="910454"/>
                </a:cubicBezTo>
                <a:cubicBezTo>
                  <a:pt x="5676226" y="940935"/>
                  <a:pt x="5651516" y="965645"/>
                  <a:pt x="5621034" y="965645"/>
                </a:cubicBezTo>
                <a:cubicBezTo>
                  <a:pt x="5590552" y="965645"/>
                  <a:pt x="5565842" y="940935"/>
                  <a:pt x="5565842" y="910454"/>
                </a:cubicBezTo>
                <a:cubicBezTo>
                  <a:pt x="5565842" y="879973"/>
                  <a:pt x="5590552" y="855263"/>
                  <a:pt x="5621034" y="855263"/>
                </a:cubicBezTo>
                <a:close/>
                <a:moveTo>
                  <a:pt x="5487399" y="855263"/>
                </a:moveTo>
                <a:cubicBezTo>
                  <a:pt x="5517881" y="855263"/>
                  <a:pt x="5542591" y="879973"/>
                  <a:pt x="5542591" y="910454"/>
                </a:cubicBezTo>
                <a:cubicBezTo>
                  <a:pt x="5542591" y="940935"/>
                  <a:pt x="5517881" y="965645"/>
                  <a:pt x="5487399" y="965645"/>
                </a:cubicBezTo>
                <a:cubicBezTo>
                  <a:pt x="5456917" y="965645"/>
                  <a:pt x="5432207" y="940935"/>
                  <a:pt x="5432207" y="910454"/>
                </a:cubicBezTo>
                <a:cubicBezTo>
                  <a:pt x="5432207" y="879973"/>
                  <a:pt x="5456917" y="855263"/>
                  <a:pt x="5487399" y="855263"/>
                </a:cubicBezTo>
                <a:close/>
                <a:moveTo>
                  <a:pt x="5357105" y="855263"/>
                </a:moveTo>
                <a:cubicBezTo>
                  <a:pt x="5387587" y="855263"/>
                  <a:pt x="5412297" y="879973"/>
                  <a:pt x="5412297" y="910454"/>
                </a:cubicBezTo>
                <a:cubicBezTo>
                  <a:pt x="5412297" y="940935"/>
                  <a:pt x="5387587" y="965645"/>
                  <a:pt x="5357105" y="965645"/>
                </a:cubicBezTo>
                <a:cubicBezTo>
                  <a:pt x="5326623" y="965645"/>
                  <a:pt x="5301913" y="940935"/>
                  <a:pt x="5301913" y="910454"/>
                </a:cubicBezTo>
                <a:cubicBezTo>
                  <a:pt x="5301913" y="879973"/>
                  <a:pt x="5326623" y="855263"/>
                  <a:pt x="5357105" y="855263"/>
                </a:cubicBezTo>
                <a:close/>
                <a:moveTo>
                  <a:pt x="5223472" y="855263"/>
                </a:moveTo>
                <a:cubicBezTo>
                  <a:pt x="5253954" y="855263"/>
                  <a:pt x="5278664" y="879973"/>
                  <a:pt x="5278664" y="910454"/>
                </a:cubicBezTo>
                <a:cubicBezTo>
                  <a:pt x="5278664" y="940935"/>
                  <a:pt x="5253954" y="965645"/>
                  <a:pt x="5223472" y="965645"/>
                </a:cubicBezTo>
                <a:cubicBezTo>
                  <a:pt x="5192990" y="965645"/>
                  <a:pt x="5168280" y="940935"/>
                  <a:pt x="5168280" y="910454"/>
                </a:cubicBezTo>
                <a:cubicBezTo>
                  <a:pt x="5168280" y="879973"/>
                  <a:pt x="5192990" y="855263"/>
                  <a:pt x="5223472" y="855263"/>
                </a:cubicBezTo>
                <a:close/>
                <a:moveTo>
                  <a:pt x="5093178" y="855263"/>
                </a:moveTo>
                <a:cubicBezTo>
                  <a:pt x="5123660" y="855263"/>
                  <a:pt x="5148370" y="879973"/>
                  <a:pt x="5148370" y="910454"/>
                </a:cubicBezTo>
                <a:cubicBezTo>
                  <a:pt x="5148370" y="940935"/>
                  <a:pt x="5123660" y="965645"/>
                  <a:pt x="5093178" y="965645"/>
                </a:cubicBezTo>
                <a:cubicBezTo>
                  <a:pt x="5062696" y="965645"/>
                  <a:pt x="5037986" y="940935"/>
                  <a:pt x="5037986" y="910454"/>
                </a:cubicBezTo>
                <a:cubicBezTo>
                  <a:pt x="5037986" y="879973"/>
                  <a:pt x="5062696" y="855263"/>
                  <a:pt x="5093178" y="855263"/>
                </a:cubicBezTo>
                <a:close/>
                <a:moveTo>
                  <a:pt x="4161076" y="855263"/>
                </a:moveTo>
                <a:cubicBezTo>
                  <a:pt x="4191558" y="855263"/>
                  <a:pt x="4216268" y="879973"/>
                  <a:pt x="4216268" y="910454"/>
                </a:cubicBezTo>
                <a:cubicBezTo>
                  <a:pt x="4216268" y="940935"/>
                  <a:pt x="4191558" y="965645"/>
                  <a:pt x="4161076" y="965645"/>
                </a:cubicBezTo>
                <a:cubicBezTo>
                  <a:pt x="4130594" y="965645"/>
                  <a:pt x="4105884" y="940935"/>
                  <a:pt x="4105884" y="910454"/>
                </a:cubicBezTo>
                <a:cubicBezTo>
                  <a:pt x="4105884" y="879973"/>
                  <a:pt x="4130594" y="855263"/>
                  <a:pt x="4161076" y="855263"/>
                </a:cubicBezTo>
                <a:close/>
                <a:moveTo>
                  <a:pt x="3633218" y="855263"/>
                </a:moveTo>
                <a:cubicBezTo>
                  <a:pt x="3663700" y="855263"/>
                  <a:pt x="3688410" y="879973"/>
                  <a:pt x="3688410" y="910454"/>
                </a:cubicBezTo>
                <a:cubicBezTo>
                  <a:pt x="3688410" y="940935"/>
                  <a:pt x="3663700" y="965645"/>
                  <a:pt x="3633218" y="965645"/>
                </a:cubicBezTo>
                <a:cubicBezTo>
                  <a:pt x="3602736" y="965645"/>
                  <a:pt x="3578026" y="940935"/>
                  <a:pt x="3578026" y="910454"/>
                </a:cubicBezTo>
                <a:cubicBezTo>
                  <a:pt x="3578026" y="879973"/>
                  <a:pt x="3602736" y="855263"/>
                  <a:pt x="3633218" y="855263"/>
                </a:cubicBezTo>
                <a:close/>
                <a:moveTo>
                  <a:pt x="3499586" y="855263"/>
                </a:moveTo>
                <a:cubicBezTo>
                  <a:pt x="3530068" y="855263"/>
                  <a:pt x="3554778" y="879973"/>
                  <a:pt x="3554778" y="910454"/>
                </a:cubicBezTo>
                <a:cubicBezTo>
                  <a:pt x="3554778" y="940935"/>
                  <a:pt x="3530068" y="965645"/>
                  <a:pt x="3499586" y="965645"/>
                </a:cubicBezTo>
                <a:cubicBezTo>
                  <a:pt x="3469104" y="965645"/>
                  <a:pt x="3444394" y="940935"/>
                  <a:pt x="3444394" y="910454"/>
                </a:cubicBezTo>
                <a:cubicBezTo>
                  <a:pt x="3444394" y="879973"/>
                  <a:pt x="3469104" y="855263"/>
                  <a:pt x="3499586" y="855263"/>
                </a:cubicBezTo>
                <a:close/>
                <a:moveTo>
                  <a:pt x="3369290" y="855263"/>
                </a:moveTo>
                <a:cubicBezTo>
                  <a:pt x="3399772" y="855263"/>
                  <a:pt x="3424482" y="879973"/>
                  <a:pt x="3424482" y="910454"/>
                </a:cubicBezTo>
                <a:cubicBezTo>
                  <a:pt x="3424482" y="940935"/>
                  <a:pt x="3399772" y="965645"/>
                  <a:pt x="3369290" y="965645"/>
                </a:cubicBezTo>
                <a:cubicBezTo>
                  <a:pt x="3338808" y="965645"/>
                  <a:pt x="3314098" y="940935"/>
                  <a:pt x="3314098" y="910454"/>
                </a:cubicBezTo>
                <a:cubicBezTo>
                  <a:pt x="3314098" y="879973"/>
                  <a:pt x="3338808" y="855263"/>
                  <a:pt x="3369290" y="855263"/>
                </a:cubicBezTo>
                <a:close/>
                <a:moveTo>
                  <a:pt x="2834849" y="855263"/>
                </a:moveTo>
                <a:cubicBezTo>
                  <a:pt x="2865329" y="855263"/>
                  <a:pt x="2890040" y="879973"/>
                  <a:pt x="2890040" y="910454"/>
                </a:cubicBezTo>
                <a:cubicBezTo>
                  <a:pt x="2890040" y="940935"/>
                  <a:pt x="2865329" y="965645"/>
                  <a:pt x="2834849" y="965645"/>
                </a:cubicBezTo>
                <a:cubicBezTo>
                  <a:pt x="2804367" y="965645"/>
                  <a:pt x="2779655" y="940935"/>
                  <a:pt x="2779655" y="910454"/>
                </a:cubicBezTo>
                <a:cubicBezTo>
                  <a:pt x="2779655" y="879973"/>
                  <a:pt x="2804367" y="855263"/>
                  <a:pt x="2834849" y="855263"/>
                </a:cubicBezTo>
                <a:close/>
                <a:moveTo>
                  <a:pt x="2707895" y="855263"/>
                </a:moveTo>
                <a:cubicBezTo>
                  <a:pt x="2738377" y="855263"/>
                  <a:pt x="2763087" y="879973"/>
                  <a:pt x="2763087" y="910454"/>
                </a:cubicBezTo>
                <a:cubicBezTo>
                  <a:pt x="2763087" y="940935"/>
                  <a:pt x="2738377" y="965645"/>
                  <a:pt x="2707895" y="965645"/>
                </a:cubicBezTo>
                <a:cubicBezTo>
                  <a:pt x="2677411" y="965645"/>
                  <a:pt x="2652702" y="940935"/>
                  <a:pt x="2652702" y="910454"/>
                </a:cubicBezTo>
                <a:cubicBezTo>
                  <a:pt x="2652702" y="879973"/>
                  <a:pt x="2677411" y="855263"/>
                  <a:pt x="2707895" y="855263"/>
                </a:cubicBezTo>
                <a:close/>
                <a:moveTo>
                  <a:pt x="2570919" y="855263"/>
                </a:moveTo>
                <a:cubicBezTo>
                  <a:pt x="2601400" y="855263"/>
                  <a:pt x="2626110" y="879973"/>
                  <a:pt x="2626110" y="910454"/>
                </a:cubicBezTo>
                <a:cubicBezTo>
                  <a:pt x="2626110" y="940935"/>
                  <a:pt x="2601400" y="965645"/>
                  <a:pt x="2570919" y="965645"/>
                </a:cubicBezTo>
                <a:cubicBezTo>
                  <a:pt x="2540436" y="965645"/>
                  <a:pt x="2515724" y="940935"/>
                  <a:pt x="2515724" y="910454"/>
                </a:cubicBezTo>
                <a:cubicBezTo>
                  <a:pt x="2515724" y="879973"/>
                  <a:pt x="2540436" y="855263"/>
                  <a:pt x="2570919" y="855263"/>
                </a:cubicBezTo>
                <a:close/>
                <a:moveTo>
                  <a:pt x="2303651" y="855263"/>
                </a:moveTo>
                <a:cubicBezTo>
                  <a:pt x="2334134" y="855263"/>
                  <a:pt x="2358843" y="879973"/>
                  <a:pt x="2358843" y="910454"/>
                </a:cubicBezTo>
                <a:cubicBezTo>
                  <a:pt x="2358843" y="940935"/>
                  <a:pt x="2334134" y="965645"/>
                  <a:pt x="2303651" y="965645"/>
                </a:cubicBezTo>
                <a:cubicBezTo>
                  <a:pt x="2273169" y="965645"/>
                  <a:pt x="2248461" y="940935"/>
                  <a:pt x="2248461" y="910454"/>
                </a:cubicBezTo>
                <a:cubicBezTo>
                  <a:pt x="2248461" y="879973"/>
                  <a:pt x="2273169" y="855263"/>
                  <a:pt x="2303651" y="855263"/>
                </a:cubicBezTo>
                <a:close/>
                <a:moveTo>
                  <a:pt x="2173362" y="855263"/>
                </a:moveTo>
                <a:cubicBezTo>
                  <a:pt x="2203845" y="855263"/>
                  <a:pt x="2228554" y="879973"/>
                  <a:pt x="2228554" y="910454"/>
                </a:cubicBezTo>
                <a:cubicBezTo>
                  <a:pt x="2228554" y="940935"/>
                  <a:pt x="2203845" y="965645"/>
                  <a:pt x="2173362" y="965645"/>
                </a:cubicBezTo>
                <a:cubicBezTo>
                  <a:pt x="2142879" y="965645"/>
                  <a:pt x="2118170" y="940935"/>
                  <a:pt x="2118170" y="910454"/>
                </a:cubicBezTo>
                <a:cubicBezTo>
                  <a:pt x="2118170" y="879973"/>
                  <a:pt x="2142879" y="855263"/>
                  <a:pt x="2173362" y="855263"/>
                </a:cubicBezTo>
                <a:close/>
                <a:moveTo>
                  <a:pt x="2039725" y="855263"/>
                </a:moveTo>
                <a:cubicBezTo>
                  <a:pt x="2070208" y="855263"/>
                  <a:pt x="2094919" y="879973"/>
                  <a:pt x="2094919" y="910454"/>
                </a:cubicBezTo>
                <a:cubicBezTo>
                  <a:pt x="2094919" y="940935"/>
                  <a:pt x="2070208" y="965645"/>
                  <a:pt x="2039725" y="965645"/>
                </a:cubicBezTo>
                <a:cubicBezTo>
                  <a:pt x="2009244" y="965645"/>
                  <a:pt x="1984533" y="940935"/>
                  <a:pt x="1984533" y="910454"/>
                </a:cubicBezTo>
                <a:cubicBezTo>
                  <a:pt x="1984533" y="879973"/>
                  <a:pt x="2009244" y="855263"/>
                  <a:pt x="2039725" y="855263"/>
                </a:cubicBezTo>
                <a:close/>
                <a:moveTo>
                  <a:pt x="1909428" y="855263"/>
                </a:moveTo>
                <a:cubicBezTo>
                  <a:pt x="1939911" y="855263"/>
                  <a:pt x="1964620" y="879973"/>
                  <a:pt x="1964620" y="910454"/>
                </a:cubicBezTo>
                <a:cubicBezTo>
                  <a:pt x="1964620" y="940935"/>
                  <a:pt x="1939911" y="965645"/>
                  <a:pt x="1909428" y="965645"/>
                </a:cubicBezTo>
                <a:cubicBezTo>
                  <a:pt x="1878945" y="965645"/>
                  <a:pt x="1854234" y="940935"/>
                  <a:pt x="1854234" y="910454"/>
                </a:cubicBezTo>
                <a:cubicBezTo>
                  <a:pt x="1854234" y="879973"/>
                  <a:pt x="1878945" y="855263"/>
                  <a:pt x="1909428" y="855263"/>
                </a:cubicBezTo>
                <a:close/>
                <a:moveTo>
                  <a:pt x="1779130" y="855263"/>
                </a:moveTo>
                <a:cubicBezTo>
                  <a:pt x="1809614" y="855263"/>
                  <a:pt x="1834324" y="879973"/>
                  <a:pt x="1834324" y="910454"/>
                </a:cubicBezTo>
                <a:cubicBezTo>
                  <a:pt x="1834324" y="940935"/>
                  <a:pt x="1809614" y="965645"/>
                  <a:pt x="1779130" y="965645"/>
                </a:cubicBezTo>
                <a:cubicBezTo>
                  <a:pt x="1748649" y="965645"/>
                  <a:pt x="1723937" y="940935"/>
                  <a:pt x="1723937" y="910454"/>
                </a:cubicBezTo>
                <a:cubicBezTo>
                  <a:pt x="1723937" y="879973"/>
                  <a:pt x="1748649" y="855263"/>
                  <a:pt x="1779130" y="855263"/>
                </a:cubicBezTo>
                <a:close/>
                <a:moveTo>
                  <a:pt x="1645495" y="855263"/>
                </a:moveTo>
                <a:cubicBezTo>
                  <a:pt x="1675980" y="855263"/>
                  <a:pt x="1700693" y="879973"/>
                  <a:pt x="1700693" y="910454"/>
                </a:cubicBezTo>
                <a:cubicBezTo>
                  <a:pt x="1700693" y="940935"/>
                  <a:pt x="1675980" y="965645"/>
                  <a:pt x="1645495" y="965645"/>
                </a:cubicBezTo>
                <a:cubicBezTo>
                  <a:pt x="1615015" y="965645"/>
                  <a:pt x="1590303" y="940935"/>
                  <a:pt x="1590303" y="910454"/>
                </a:cubicBezTo>
                <a:cubicBezTo>
                  <a:pt x="1590303" y="879973"/>
                  <a:pt x="1615015" y="855263"/>
                  <a:pt x="1645495" y="855263"/>
                </a:cubicBezTo>
                <a:close/>
                <a:moveTo>
                  <a:pt x="1515206" y="855263"/>
                </a:moveTo>
                <a:cubicBezTo>
                  <a:pt x="1545685" y="855263"/>
                  <a:pt x="1570391" y="879973"/>
                  <a:pt x="1570391" y="910454"/>
                </a:cubicBezTo>
                <a:cubicBezTo>
                  <a:pt x="1570391" y="940935"/>
                  <a:pt x="1545685" y="965645"/>
                  <a:pt x="1515206" y="965645"/>
                </a:cubicBezTo>
                <a:cubicBezTo>
                  <a:pt x="1484723" y="965645"/>
                  <a:pt x="1460009" y="940935"/>
                  <a:pt x="1460009" y="910454"/>
                </a:cubicBezTo>
                <a:cubicBezTo>
                  <a:pt x="1460009" y="879973"/>
                  <a:pt x="1484723" y="855263"/>
                  <a:pt x="1515206" y="855263"/>
                </a:cubicBezTo>
                <a:close/>
                <a:moveTo>
                  <a:pt x="1381566" y="855263"/>
                </a:moveTo>
                <a:cubicBezTo>
                  <a:pt x="1412046" y="855263"/>
                  <a:pt x="1436758" y="879973"/>
                  <a:pt x="1436758" y="910454"/>
                </a:cubicBezTo>
                <a:cubicBezTo>
                  <a:pt x="1436758" y="940935"/>
                  <a:pt x="1412046" y="965645"/>
                  <a:pt x="1381566" y="965645"/>
                </a:cubicBezTo>
                <a:cubicBezTo>
                  <a:pt x="1351086" y="965645"/>
                  <a:pt x="1326375" y="940935"/>
                  <a:pt x="1326375" y="910454"/>
                </a:cubicBezTo>
                <a:cubicBezTo>
                  <a:pt x="1326375" y="879973"/>
                  <a:pt x="1351086" y="855263"/>
                  <a:pt x="1381566" y="855263"/>
                </a:cubicBezTo>
                <a:close/>
                <a:moveTo>
                  <a:pt x="1251271" y="855263"/>
                </a:moveTo>
                <a:cubicBezTo>
                  <a:pt x="1281752" y="855263"/>
                  <a:pt x="1306464" y="879973"/>
                  <a:pt x="1306464" y="910454"/>
                </a:cubicBezTo>
                <a:cubicBezTo>
                  <a:pt x="1306464" y="940935"/>
                  <a:pt x="1281752" y="965645"/>
                  <a:pt x="1251271" y="965645"/>
                </a:cubicBezTo>
                <a:cubicBezTo>
                  <a:pt x="1220788" y="965645"/>
                  <a:pt x="1196078" y="940935"/>
                  <a:pt x="1196078" y="910454"/>
                </a:cubicBezTo>
                <a:cubicBezTo>
                  <a:pt x="1196078" y="879973"/>
                  <a:pt x="1220788" y="855263"/>
                  <a:pt x="1251271" y="855263"/>
                </a:cubicBezTo>
                <a:close/>
                <a:moveTo>
                  <a:pt x="1117634" y="855263"/>
                </a:moveTo>
                <a:cubicBezTo>
                  <a:pt x="1148117" y="855263"/>
                  <a:pt x="1172828" y="879973"/>
                  <a:pt x="1172828" y="910454"/>
                </a:cubicBezTo>
                <a:cubicBezTo>
                  <a:pt x="1172828" y="940935"/>
                  <a:pt x="1148117" y="965645"/>
                  <a:pt x="1117634" y="965645"/>
                </a:cubicBezTo>
                <a:cubicBezTo>
                  <a:pt x="1087150" y="965645"/>
                  <a:pt x="1062440" y="940935"/>
                  <a:pt x="1062440" y="910454"/>
                </a:cubicBezTo>
                <a:cubicBezTo>
                  <a:pt x="1062440" y="879973"/>
                  <a:pt x="1087150" y="855263"/>
                  <a:pt x="1117634" y="855263"/>
                </a:cubicBezTo>
                <a:close/>
                <a:moveTo>
                  <a:pt x="980654" y="855263"/>
                </a:moveTo>
                <a:cubicBezTo>
                  <a:pt x="1011137" y="855263"/>
                  <a:pt x="1035848" y="879973"/>
                  <a:pt x="1035848" y="910454"/>
                </a:cubicBezTo>
                <a:cubicBezTo>
                  <a:pt x="1035848" y="940935"/>
                  <a:pt x="1011137" y="965645"/>
                  <a:pt x="980654" y="965645"/>
                </a:cubicBezTo>
                <a:cubicBezTo>
                  <a:pt x="950172" y="965645"/>
                  <a:pt x="925460" y="940935"/>
                  <a:pt x="925460" y="910454"/>
                </a:cubicBezTo>
                <a:cubicBezTo>
                  <a:pt x="925460" y="879973"/>
                  <a:pt x="950172" y="855263"/>
                  <a:pt x="980654" y="855263"/>
                </a:cubicBezTo>
                <a:close/>
                <a:moveTo>
                  <a:pt x="847016" y="855263"/>
                </a:moveTo>
                <a:cubicBezTo>
                  <a:pt x="877497" y="855263"/>
                  <a:pt x="902209" y="879973"/>
                  <a:pt x="902209" y="910454"/>
                </a:cubicBezTo>
                <a:cubicBezTo>
                  <a:pt x="902209" y="940935"/>
                  <a:pt x="877497" y="965645"/>
                  <a:pt x="847016" y="965645"/>
                </a:cubicBezTo>
                <a:cubicBezTo>
                  <a:pt x="816533" y="965645"/>
                  <a:pt x="791816" y="940935"/>
                  <a:pt x="791816" y="910454"/>
                </a:cubicBezTo>
                <a:cubicBezTo>
                  <a:pt x="791816" y="879973"/>
                  <a:pt x="816533" y="855263"/>
                  <a:pt x="847016" y="855263"/>
                </a:cubicBezTo>
                <a:close/>
                <a:moveTo>
                  <a:pt x="716709" y="855263"/>
                </a:moveTo>
                <a:cubicBezTo>
                  <a:pt x="747196" y="855263"/>
                  <a:pt x="771907" y="879973"/>
                  <a:pt x="771907" y="910454"/>
                </a:cubicBezTo>
                <a:cubicBezTo>
                  <a:pt x="771907" y="940935"/>
                  <a:pt x="747196" y="965645"/>
                  <a:pt x="716709" y="965645"/>
                </a:cubicBezTo>
                <a:cubicBezTo>
                  <a:pt x="686233" y="965645"/>
                  <a:pt x="661522" y="940935"/>
                  <a:pt x="661522" y="910454"/>
                </a:cubicBezTo>
                <a:cubicBezTo>
                  <a:pt x="661522" y="879973"/>
                  <a:pt x="686233" y="855263"/>
                  <a:pt x="716709" y="855263"/>
                </a:cubicBezTo>
                <a:close/>
                <a:moveTo>
                  <a:pt x="583074" y="855263"/>
                </a:moveTo>
                <a:cubicBezTo>
                  <a:pt x="613557" y="855263"/>
                  <a:pt x="638268" y="879973"/>
                  <a:pt x="638268" y="910454"/>
                </a:cubicBezTo>
                <a:cubicBezTo>
                  <a:pt x="638268" y="940935"/>
                  <a:pt x="613557" y="965645"/>
                  <a:pt x="583074" y="965645"/>
                </a:cubicBezTo>
                <a:cubicBezTo>
                  <a:pt x="552591" y="965645"/>
                  <a:pt x="527881" y="940935"/>
                  <a:pt x="527881" y="910454"/>
                </a:cubicBezTo>
                <a:cubicBezTo>
                  <a:pt x="527881" y="879973"/>
                  <a:pt x="552591" y="855263"/>
                  <a:pt x="583074" y="855263"/>
                </a:cubicBezTo>
                <a:close/>
                <a:moveTo>
                  <a:pt x="9867273" y="855260"/>
                </a:moveTo>
                <a:cubicBezTo>
                  <a:pt x="9897755" y="855260"/>
                  <a:pt x="9922465" y="879970"/>
                  <a:pt x="9922465" y="910451"/>
                </a:cubicBezTo>
                <a:cubicBezTo>
                  <a:pt x="9922465" y="940932"/>
                  <a:pt x="9897755" y="965642"/>
                  <a:pt x="9867273" y="965642"/>
                </a:cubicBezTo>
                <a:cubicBezTo>
                  <a:pt x="9836791" y="965642"/>
                  <a:pt x="9812081" y="940932"/>
                  <a:pt x="9812081" y="910451"/>
                </a:cubicBezTo>
                <a:cubicBezTo>
                  <a:pt x="9812081" y="879970"/>
                  <a:pt x="9836791" y="855260"/>
                  <a:pt x="9867273" y="855260"/>
                </a:cubicBezTo>
                <a:close/>
                <a:moveTo>
                  <a:pt x="9733637" y="855260"/>
                </a:moveTo>
                <a:cubicBezTo>
                  <a:pt x="9764119" y="855260"/>
                  <a:pt x="9788829" y="879970"/>
                  <a:pt x="9788829" y="910451"/>
                </a:cubicBezTo>
                <a:cubicBezTo>
                  <a:pt x="9788829" y="940932"/>
                  <a:pt x="9764119" y="965642"/>
                  <a:pt x="9733637" y="965642"/>
                </a:cubicBezTo>
                <a:cubicBezTo>
                  <a:pt x="9703155" y="965642"/>
                  <a:pt x="9678445" y="940932"/>
                  <a:pt x="9678445" y="910451"/>
                </a:cubicBezTo>
                <a:cubicBezTo>
                  <a:pt x="9678445" y="879970"/>
                  <a:pt x="9703155" y="855260"/>
                  <a:pt x="9733637" y="855260"/>
                </a:cubicBezTo>
                <a:close/>
                <a:moveTo>
                  <a:pt x="9603343" y="855260"/>
                </a:moveTo>
                <a:cubicBezTo>
                  <a:pt x="9633825" y="855260"/>
                  <a:pt x="9658535" y="879970"/>
                  <a:pt x="9658535" y="910451"/>
                </a:cubicBezTo>
                <a:cubicBezTo>
                  <a:pt x="9658535" y="940932"/>
                  <a:pt x="9633825" y="965642"/>
                  <a:pt x="9603343" y="965642"/>
                </a:cubicBezTo>
                <a:cubicBezTo>
                  <a:pt x="9572861" y="965642"/>
                  <a:pt x="9548151" y="940932"/>
                  <a:pt x="9548151" y="910451"/>
                </a:cubicBezTo>
                <a:cubicBezTo>
                  <a:pt x="9548151" y="879970"/>
                  <a:pt x="9572861" y="855260"/>
                  <a:pt x="9603343" y="855260"/>
                </a:cubicBezTo>
                <a:close/>
                <a:moveTo>
                  <a:pt x="449429" y="855260"/>
                </a:moveTo>
                <a:cubicBezTo>
                  <a:pt x="479910" y="855260"/>
                  <a:pt x="504621" y="879970"/>
                  <a:pt x="504621" y="910451"/>
                </a:cubicBezTo>
                <a:cubicBezTo>
                  <a:pt x="504621" y="940932"/>
                  <a:pt x="479910" y="965642"/>
                  <a:pt x="449429" y="965642"/>
                </a:cubicBezTo>
                <a:cubicBezTo>
                  <a:pt x="418945" y="965642"/>
                  <a:pt x="394234" y="940932"/>
                  <a:pt x="394234" y="910451"/>
                </a:cubicBezTo>
                <a:cubicBezTo>
                  <a:pt x="394234" y="879970"/>
                  <a:pt x="418945" y="855260"/>
                  <a:pt x="449429" y="855260"/>
                </a:cubicBezTo>
                <a:close/>
                <a:moveTo>
                  <a:pt x="319132" y="855260"/>
                </a:moveTo>
                <a:cubicBezTo>
                  <a:pt x="349615" y="855260"/>
                  <a:pt x="374326" y="879970"/>
                  <a:pt x="374326" y="910451"/>
                </a:cubicBezTo>
                <a:cubicBezTo>
                  <a:pt x="374326" y="940932"/>
                  <a:pt x="349615" y="965642"/>
                  <a:pt x="319132" y="965642"/>
                </a:cubicBezTo>
                <a:cubicBezTo>
                  <a:pt x="288649" y="965642"/>
                  <a:pt x="263940" y="940932"/>
                  <a:pt x="263940" y="910451"/>
                </a:cubicBezTo>
                <a:cubicBezTo>
                  <a:pt x="263940" y="879970"/>
                  <a:pt x="288649" y="855260"/>
                  <a:pt x="319132" y="855260"/>
                </a:cubicBezTo>
                <a:close/>
                <a:moveTo>
                  <a:pt x="185499" y="855260"/>
                </a:moveTo>
                <a:cubicBezTo>
                  <a:pt x="215981" y="855260"/>
                  <a:pt x="240690" y="879970"/>
                  <a:pt x="240690" y="910451"/>
                </a:cubicBezTo>
                <a:cubicBezTo>
                  <a:pt x="240690" y="940932"/>
                  <a:pt x="215981" y="965642"/>
                  <a:pt x="185499" y="965642"/>
                </a:cubicBezTo>
                <a:cubicBezTo>
                  <a:pt x="155018" y="965642"/>
                  <a:pt x="130308" y="940932"/>
                  <a:pt x="130308" y="910451"/>
                </a:cubicBezTo>
                <a:cubicBezTo>
                  <a:pt x="130308" y="879970"/>
                  <a:pt x="155018" y="855260"/>
                  <a:pt x="185499" y="855260"/>
                </a:cubicBezTo>
                <a:close/>
                <a:moveTo>
                  <a:pt x="9733637" y="724970"/>
                </a:moveTo>
                <a:cubicBezTo>
                  <a:pt x="9764119" y="724970"/>
                  <a:pt x="9788829" y="749680"/>
                  <a:pt x="9788829" y="780161"/>
                </a:cubicBezTo>
                <a:cubicBezTo>
                  <a:pt x="9788829" y="810642"/>
                  <a:pt x="9764119" y="835352"/>
                  <a:pt x="9733637" y="835352"/>
                </a:cubicBezTo>
                <a:cubicBezTo>
                  <a:pt x="9703155" y="835352"/>
                  <a:pt x="9678445" y="810642"/>
                  <a:pt x="9678445" y="780161"/>
                </a:cubicBezTo>
                <a:cubicBezTo>
                  <a:pt x="9678445" y="749680"/>
                  <a:pt x="9703155" y="724970"/>
                  <a:pt x="9733637" y="724970"/>
                </a:cubicBezTo>
                <a:close/>
                <a:moveTo>
                  <a:pt x="9603344" y="724970"/>
                </a:moveTo>
                <a:cubicBezTo>
                  <a:pt x="9633826" y="724970"/>
                  <a:pt x="9658536" y="749680"/>
                  <a:pt x="9658536" y="780161"/>
                </a:cubicBezTo>
                <a:cubicBezTo>
                  <a:pt x="9658536" y="810642"/>
                  <a:pt x="9633826" y="835352"/>
                  <a:pt x="9603344" y="835352"/>
                </a:cubicBezTo>
                <a:cubicBezTo>
                  <a:pt x="9572862" y="835352"/>
                  <a:pt x="9548152" y="810642"/>
                  <a:pt x="9548152" y="780161"/>
                </a:cubicBezTo>
                <a:cubicBezTo>
                  <a:pt x="9548152" y="749680"/>
                  <a:pt x="9572862" y="724970"/>
                  <a:pt x="9603344" y="724970"/>
                </a:cubicBezTo>
                <a:close/>
                <a:moveTo>
                  <a:pt x="9469710" y="724970"/>
                </a:moveTo>
                <a:cubicBezTo>
                  <a:pt x="9500192" y="724970"/>
                  <a:pt x="9524902" y="749680"/>
                  <a:pt x="9524902" y="780161"/>
                </a:cubicBezTo>
                <a:cubicBezTo>
                  <a:pt x="9524902" y="810642"/>
                  <a:pt x="9500192" y="835352"/>
                  <a:pt x="9469710" y="835352"/>
                </a:cubicBezTo>
                <a:cubicBezTo>
                  <a:pt x="9439228" y="835352"/>
                  <a:pt x="9414518" y="810642"/>
                  <a:pt x="9414518" y="780161"/>
                </a:cubicBezTo>
                <a:cubicBezTo>
                  <a:pt x="9414518" y="749680"/>
                  <a:pt x="9439228" y="724970"/>
                  <a:pt x="9469710" y="724970"/>
                </a:cubicBezTo>
                <a:close/>
                <a:moveTo>
                  <a:pt x="9336075" y="724970"/>
                </a:moveTo>
                <a:cubicBezTo>
                  <a:pt x="9366557" y="724970"/>
                  <a:pt x="9391267" y="749680"/>
                  <a:pt x="9391267" y="780161"/>
                </a:cubicBezTo>
                <a:cubicBezTo>
                  <a:pt x="9391267" y="810642"/>
                  <a:pt x="9366557" y="835352"/>
                  <a:pt x="9336075" y="835352"/>
                </a:cubicBezTo>
                <a:cubicBezTo>
                  <a:pt x="9305593" y="835352"/>
                  <a:pt x="9280883" y="810642"/>
                  <a:pt x="9280883" y="780161"/>
                </a:cubicBezTo>
                <a:cubicBezTo>
                  <a:pt x="9280883" y="749680"/>
                  <a:pt x="9305593" y="724970"/>
                  <a:pt x="9336075" y="724970"/>
                </a:cubicBezTo>
                <a:close/>
                <a:moveTo>
                  <a:pt x="9199100" y="724970"/>
                </a:moveTo>
                <a:cubicBezTo>
                  <a:pt x="9229582" y="724970"/>
                  <a:pt x="9254292" y="749680"/>
                  <a:pt x="9254292" y="780161"/>
                </a:cubicBezTo>
                <a:cubicBezTo>
                  <a:pt x="9254292" y="810642"/>
                  <a:pt x="9229582" y="835352"/>
                  <a:pt x="9199100" y="835352"/>
                </a:cubicBezTo>
                <a:cubicBezTo>
                  <a:pt x="9168618" y="835352"/>
                  <a:pt x="9143908" y="810642"/>
                  <a:pt x="9143908" y="780161"/>
                </a:cubicBezTo>
                <a:cubicBezTo>
                  <a:pt x="9143908" y="749680"/>
                  <a:pt x="9168618" y="724970"/>
                  <a:pt x="9199100" y="724970"/>
                </a:cubicBezTo>
                <a:close/>
                <a:moveTo>
                  <a:pt x="9068806" y="724970"/>
                </a:moveTo>
                <a:cubicBezTo>
                  <a:pt x="9099288" y="724970"/>
                  <a:pt x="9123998" y="749680"/>
                  <a:pt x="9123998" y="780161"/>
                </a:cubicBezTo>
                <a:cubicBezTo>
                  <a:pt x="9123998" y="810642"/>
                  <a:pt x="9099288" y="835352"/>
                  <a:pt x="9068806" y="835352"/>
                </a:cubicBezTo>
                <a:cubicBezTo>
                  <a:pt x="9038324" y="835352"/>
                  <a:pt x="9013614" y="810642"/>
                  <a:pt x="9013614" y="780161"/>
                </a:cubicBezTo>
                <a:cubicBezTo>
                  <a:pt x="9013614" y="749680"/>
                  <a:pt x="9038324" y="724970"/>
                  <a:pt x="9068806" y="724970"/>
                </a:cubicBezTo>
                <a:close/>
                <a:moveTo>
                  <a:pt x="8935170" y="724970"/>
                </a:moveTo>
                <a:cubicBezTo>
                  <a:pt x="8965652" y="724970"/>
                  <a:pt x="8990362" y="749680"/>
                  <a:pt x="8990362" y="780161"/>
                </a:cubicBezTo>
                <a:cubicBezTo>
                  <a:pt x="8990362" y="810642"/>
                  <a:pt x="8965652" y="835352"/>
                  <a:pt x="8935170" y="835352"/>
                </a:cubicBezTo>
                <a:cubicBezTo>
                  <a:pt x="8904688" y="835352"/>
                  <a:pt x="8879978" y="810642"/>
                  <a:pt x="8879978" y="780161"/>
                </a:cubicBezTo>
                <a:cubicBezTo>
                  <a:pt x="8879978" y="749680"/>
                  <a:pt x="8904688" y="724970"/>
                  <a:pt x="8935170" y="724970"/>
                </a:cubicBezTo>
                <a:close/>
                <a:moveTo>
                  <a:pt x="8801536" y="724970"/>
                </a:moveTo>
                <a:cubicBezTo>
                  <a:pt x="8832018" y="724970"/>
                  <a:pt x="8856728" y="749680"/>
                  <a:pt x="8856728" y="780161"/>
                </a:cubicBezTo>
                <a:cubicBezTo>
                  <a:pt x="8856728" y="810642"/>
                  <a:pt x="8832018" y="835352"/>
                  <a:pt x="8801536" y="835352"/>
                </a:cubicBezTo>
                <a:cubicBezTo>
                  <a:pt x="8771054" y="835352"/>
                  <a:pt x="8746344" y="810642"/>
                  <a:pt x="8746344" y="780161"/>
                </a:cubicBezTo>
                <a:cubicBezTo>
                  <a:pt x="8746344" y="749680"/>
                  <a:pt x="8771054" y="724970"/>
                  <a:pt x="8801536" y="724970"/>
                </a:cubicBezTo>
                <a:close/>
                <a:moveTo>
                  <a:pt x="8671243" y="724970"/>
                </a:moveTo>
                <a:cubicBezTo>
                  <a:pt x="8701725" y="724970"/>
                  <a:pt x="8726435" y="749680"/>
                  <a:pt x="8726435" y="780161"/>
                </a:cubicBezTo>
                <a:cubicBezTo>
                  <a:pt x="8726435" y="810642"/>
                  <a:pt x="8701725" y="835352"/>
                  <a:pt x="8671243" y="835352"/>
                </a:cubicBezTo>
                <a:cubicBezTo>
                  <a:pt x="8640761" y="835352"/>
                  <a:pt x="8616051" y="810642"/>
                  <a:pt x="8616051" y="780161"/>
                </a:cubicBezTo>
                <a:cubicBezTo>
                  <a:pt x="8616051" y="749680"/>
                  <a:pt x="8640761" y="724970"/>
                  <a:pt x="8671243" y="724970"/>
                </a:cubicBezTo>
                <a:close/>
                <a:moveTo>
                  <a:pt x="8537609" y="724970"/>
                </a:moveTo>
                <a:cubicBezTo>
                  <a:pt x="8568091" y="724970"/>
                  <a:pt x="8592801" y="749680"/>
                  <a:pt x="8592801" y="780161"/>
                </a:cubicBezTo>
                <a:cubicBezTo>
                  <a:pt x="8592801" y="810642"/>
                  <a:pt x="8568091" y="835352"/>
                  <a:pt x="8537609" y="835352"/>
                </a:cubicBezTo>
                <a:cubicBezTo>
                  <a:pt x="8507127" y="835352"/>
                  <a:pt x="8482417" y="810642"/>
                  <a:pt x="8482417" y="780161"/>
                </a:cubicBezTo>
                <a:cubicBezTo>
                  <a:pt x="8482417" y="749680"/>
                  <a:pt x="8507127" y="724970"/>
                  <a:pt x="8537609" y="724970"/>
                </a:cubicBezTo>
                <a:close/>
                <a:moveTo>
                  <a:pt x="8407318" y="724970"/>
                </a:moveTo>
                <a:cubicBezTo>
                  <a:pt x="8437800" y="724970"/>
                  <a:pt x="8462510" y="749680"/>
                  <a:pt x="8462510" y="780161"/>
                </a:cubicBezTo>
                <a:cubicBezTo>
                  <a:pt x="8462510" y="810642"/>
                  <a:pt x="8437800" y="835352"/>
                  <a:pt x="8407318" y="835352"/>
                </a:cubicBezTo>
                <a:cubicBezTo>
                  <a:pt x="8376836" y="835352"/>
                  <a:pt x="8352126" y="810642"/>
                  <a:pt x="8352126" y="780161"/>
                </a:cubicBezTo>
                <a:cubicBezTo>
                  <a:pt x="8352126" y="749680"/>
                  <a:pt x="8376836" y="724970"/>
                  <a:pt x="8407318" y="724970"/>
                </a:cubicBezTo>
                <a:close/>
                <a:moveTo>
                  <a:pt x="8273682" y="724970"/>
                </a:moveTo>
                <a:cubicBezTo>
                  <a:pt x="8304164" y="724970"/>
                  <a:pt x="8328874" y="749680"/>
                  <a:pt x="8328874" y="780161"/>
                </a:cubicBezTo>
                <a:cubicBezTo>
                  <a:pt x="8328874" y="810642"/>
                  <a:pt x="8304164" y="835352"/>
                  <a:pt x="8273682" y="835352"/>
                </a:cubicBezTo>
                <a:cubicBezTo>
                  <a:pt x="8243200" y="835352"/>
                  <a:pt x="8218490" y="810642"/>
                  <a:pt x="8218490" y="780161"/>
                </a:cubicBezTo>
                <a:cubicBezTo>
                  <a:pt x="8218490" y="749680"/>
                  <a:pt x="8243200" y="724970"/>
                  <a:pt x="8273682" y="724970"/>
                </a:cubicBezTo>
                <a:close/>
                <a:moveTo>
                  <a:pt x="8143386" y="724970"/>
                </a:moveTo>
                <a:cubicBezTo>
                  <a:pt x="8173868" y="724970"/>
                  <a:pt x="8198578" y="749680"/>
                  <a:pt x="8198578" y="780161"/>
                </a:cubicBezTo>
                <a:cubicBezTo>
                  <a:pt x="8198578" y="810642"/>
                  <a:pt x="8173868" y="835352"/>
                  <a:pt x="8143386" y="835352"/>
                </a:cubicBezTo>
                <a:cubicBezTo>
                  <a:pt x="8112904" y="835352"/>
                  <a:pt x="8088194" y="810642"/>
                  <a:pt x="8088194" y="780161"/>
                </a:cubicBezTo>
                <a:cubicBezTo>
                  <a:pt x="8088194" y="749680"/>
                  <a:pt x="8112904" y="724970"/>
                  <a:pt x="8143386" y="724970"/>
                </a:cubicBezTo>
                <a:close/>
                <a:moveTo>
                  <a:pt x="8009753" y="724970"/>
                </a:moveTo>
                <a:cubicBezTo>
                  <a:pt x="8040235" y="724970"/>
                  <a:pt x="8064945" y="749680"/>
                  <a:pt x="8064945" y="780161"/>
                </a:cubicBezTo>
                <a:cubicBezTo>
                  <a:pt x="8064945" y="810642"/>
                  <a:pt x="8040235" y="835352"/>
                  <a:pt x="8009753" y="835352"/>
                </a:cubicBezTo>
                <a:cubicBezTo>
                  <a:pt x="7979271" y="835352"/>
                  <a:pt x="7954561" y="810642"/>
                  <a:pt x="7954561" y="780161"/>
                </a:cubicBezTo>
                <a:cubicBezTo>
                  <a:pt x="7954561" y="749680"/>
                  <a:pt x="7979271" y="724970"/>
                  <a:pt x="8009753" y="724970"/>
                </a:cubicBezTo>
                <a:close/>
                <a:moveTo>
                  <a:pt x="7876118" y="724970"/>
                </a:moveTo>
                <a:cubicBezTo>
                  <a:pt x="7906600" y="724970"/>
                  <a:pt x="7931310" y="749680"/>
                  <a:pt x="7931310" y="780161"/>
                </a:cubicBezTo>
                <a:cubicBezTo>
                  <a:pt x="7931310" y="810642"/>
                  <a:pt x="7906600" y="835352"/>
                  <a:pt x="7876118" y="835352"/>
                </a:cubicBezTo>
                <a:cubicBezTo>
                  <a:pt x="7845636" y="835352"/>
                  <a:pt x="7820926" y="810642"/>
                  <a:pt x="7820926" y="780161"/>
                </a:cubicBezTo>
                <a:cubicBezTo>
                  <a:pt x="7820926" y="749680"/>
                  <a:pt x="7845636" y="724970"/>
                  <a:pt x="7876118" y="724970"/>
                </a:cubicBezTo>
                <a:close/>
                <a:moveTo>
                  <a:pt x="7745824" y="724970"/>
                </a:moveTo>
                <a:cubicBezTo>
                  <a:pt x="7776306" y="724970"/>
                  <a:pt x="7801016" y="749680"/>
                  <a:pt x="7801016" y="780161"/>
                </a:cubicBezTo>
                <a:cubicBezTo>
                  <a:pt x="7801016" y="810642"/>
                  <a:pt x="7776306" y="835352"/>
                  <a:pt x="7745824" y="835352"/>
                </a:cubicBezTo>
                <a:cubicBezTo>
                  <a:pt x="7715342" y="835352"/>
                  <a:pt x="7690632" y="810642"/>
                  <a:pt x="7690632" y="780161"/>
                </a:cubicBezTo>
                <a:cubicBezTo>
                  <a:pt x="7690632" y="749680"/>
                  <a:pt x="7715342" y="724970"/>
                  <a:pt x="7745824" y="724970"/>
                </a:cubicBezTo>
                <a:close/>
                <a:moveTo>
                  <a:pt x="7608850" y="724970"/>
                </a:moveTo>
                <a:cubicBezTo>
                  <a:pt x="7639332" y="724970"/>
                  <a:pt x="7664042" y="749680"/>
                  <a:pt x="7664042" y="780161"/>
                </a:cubicBezTo>
                <a:cubicBezTo>
                  <a:pt x="7664042" y="810642"/>
                  <a:pt x="7639332" y="835352"/>
                  <a:pt x="7608850" y="835352"/>
                </a:cubicBezTo>
                <a:cubicBezTo>
                  <a:pt x="7578368" y="835352"/>
                  <a:pt x="7553658" y="810642"/>
                  <a:pt x="7553658" y="780161"/>
                </a:cubicBezTo>
                <a:cubicBezTo>
                  <a:pt x="7553658" y="749680"/>
                  <a:pt x="7578368" y="724970"/>
                  <a:pt x="7608850" y="724970"/>
                </a:cubicBezTo>
                <a:close/>
                <a:moveTo>
                  <a:pt x="7481895" y="724970"/>
                </a:moveTo>
                <a:cubicBezTo>
                  <a:pt x="7512377" y="724970"/>
                  <a:pt x="7537087" y="749680"/>
                  <a:pt x="7537087" y="780161"/>
                </a:cubicBezTo>
                <a:cubicBezTo>
                  <a:pt x="7537087" y="810642"/>
                  <a:pt x="7512377" y="835352"/>
                  <a:pt x="7481895" y="835352"/>
                </a:cubicBezTo>
                <a:cubicBezTo>
                  <a:pt x="7451413" y="835352"/>
                  <a:pt x="7426703" y="810642"/>
                  <a:pt x="7426703" y="780161"/>
                </a:cubicBezTo>
                <a:cubicBezTo>
                  <a:pt x="7426703" y="749680"/>
                  <a:pt x="7451413" y="724970"/>
                  <a:pt x="7481895" y="724970"/>
                </a:cubicBezTo>
                <a:close/>
                <a:moveTo>
                  <a:pt x="7341579" y="724970"/>
                </a:moveTo>
                <a:cubicBezTo>
                  <a:pt x="7372061" y="724970"/>
                  <a:pt x="7396771" y="749680"/>
                  <a:pt x="7396771" y="780161"/>
                </a:cubicBezTo>
                <a:cubicBezTo>
                  <a:pt x="7396771" y="810642"/>
                  <a:pt x="7372061" y="835352"/>
                  <a:pt x="7341579" y="835352"/>
                </a:cubicBezTo>
                <a:cubicBezTo>
                  <a:pt x="7311097" y="835352"/>
                  <a:pt x="7286387" y="810642"/>
                  <a:pt x="7286387" y="780161"/>
                </a:cubicBezTo>
                <a:cubicBezTo>
                  <a:pt x="7286387" y="749680"/>
                  <a:pt x="7311097" y="724970"/>
                  <a:pt x="7341579" y="724970"/>
                </a:cubicBezTo>
                <a:close/>
                <a:moveTo>
                  <a:pt x="7211286" y="724970"/>
                </a:moveTo>
                <a:cubicBezTo>
                  <a:pt x="7241768" y="724970"/>
                  <a:pt x="7266478" y="749680"/>
                  <a:pt x="7266478" y="780161"/>
                </a:cubicBezTo>
                <a:cubicBezTo>
                  <a:pt x="7266478" y="810642"/>
                  <a:pt x="7241768" y="835352"/>
                  <a:pt x="7211286" y="835352"/>
                </a:cubicBezTo>
                <a:cubicBezTo>
                  <a:pt x="7180804" y="835352"/>
                  <a:pt x="7156094" y="810642"/>
                  <a:pt x="7156094" y="780161"/>
                </a:cubicBezTo>
                <a:cubicBezTo>
                  <a:pt x="7156094" y="749680"/>
                  <a:pt x="7180804" y="724970"/>
                  <a:pt x="7211286" y="724970"/>
                </a:cubicBezTo>
                <a:close/>
                <a:moveTo>
                  <a:pt x="7080994" y="724970"/>
                </a:moveTo>
                <a:cubicBezTo>
                  <a:pt x="7111476" y="724970"/>
                  <a:pt x="7136186" y="749680"/>
                  <a:pt x="7136186" y="780161"/>
                </a:cubicBezTo>
                <a:cubicBezTo>
                  <a:pt x="7136186" y="810642"/>
                  <a:pt x="7111476" y="835352"/>
                  <a:pt x="7080994" y="835352"/>
                </a:cubicBezTo>
                <a:cubicBezTo>
                  <a:pt x="7050512" y="835352"/>
                  <a:pt x="7025802" y="810642"/>
                  <a:pt x="7025802" y="780161"/>
                </a:cubicBezTo>
                <a:cubicBezTo>
                  <a:pt x="7025802" y="749680"/>
                  <a:pt x="7050512" y="724970"/>
                  <a:pt x="7080994" y="724970"/>
                </a:cubicBezTo>
                <a:close/>
                <a:moveTo>
                  <a:pt x="6947358" y="724970"/>
                </a:moveTo>
                <a:cubicBezTo>
                  <a:pt x="6977840" y="724970"/>
                  <a:pt x="7002550" y="749680"/>
                  <a:pt x="7002550" y="780161"/>
                </a:cubicBezTo>
                <a:cubicBezTo>
                  <a:pt x="7002550" y="810642"/>
                  <a:pt x="6977840" y="835352"/>
                  <a:pt x="6947358" y="835352"/>
                </a:cubicBezTo>
                <a:cubicBezTo>
                  <a:pt x="6916876" y="835352"/>
                  <a:pt x="6892166" y="810642"/>
                  <a:pt x="6892166" y="780161"/>
                </a:cubicBezTo>
                <a:cubicBezTo>
                  <a:pt x="6892166" y="749680"/>
                  <a:pt x="6916876" y="724970"/>
                  <a:pt x="6947358" y="724970"/>
                </a:cubicBezTo>
                <a:close/>
                <a:moveTo>
                  <a:pt x="6817064" y="724970"/>
                </a:moveTo>
                <a:cubicBezTo>
                  <a:pt x="6847546" y="724970"/>
                  <a:pt x="6872256" y="749680"/>
                  <a:pt x="6872256" y="780161"/>
                </a:cubicBezTo>
                <a:cubicBezTo>
                  <a:pt x="6872256" y="810642"/>
                  <a:pt x="6847546" y="835352"/>
                  <a:pt x="6817064" y="835352"/>
                </a:cubicBezTo>
                <a:cubicBezTo>
                  <a:pt x="6786582" y="835352"/>
                  <a:pt x="6761872" y="810642"/>
                  <a:pt x="6761872" y="780161"/>
                </a:cubicBezTo>
                <a:cubicBezTo>
                  <a:pt x="6761872" y="749680"/>
                  <a:pt x="6786582" y="724970"/>
                  <a:pt x="6817064" y="724970"/>
                </a:cubicBezTo>
                <a:close/>
                <a:moveTo>
                  <a:pt x="6683431" y="724970"/>
                </a:moveTo>
                <a:cubicBezTo>
                  <a:pt x="6713913" y="724970"/>
                  <a:pt x="6738623" y="749680"/>
                  <a:pt x="6738623" y="780161"/>
                </a:cubicBezTo>
                <a:cubicBezTo>
                  <a:pt x="6738623" y="810642"/>
                  <a:pt x="6713913" y="835352"/>
                  <a:pt x="6683431" y="835352"/>
                </a:cubicBezTo>
                <a:cubicBezTo>
                  <a:pt x="6652949" y="835352"/>
                  <a:pt x="6628239" y="810642"/>
                  <a:pt x="6628239" y="780161"/>
                </a:cubicBezTo>
                <a:cubicBezTo>
                  <a:pt x="6628239" y="749680"/>
                  <a:pt x="6652949" y="724970"/>
                  <a:pt x="6683431" y="724970"/>
                </a:cubicBezTo>
                <a:close/>
                <a:moveTo>
                  <a:pt x="6553137" y="724970"/>
                </a:moveTo>
                <a:cubicBezTo>
                  <a:pt x="6583619" y="724970"/>
                  <a:pt x="6608329" y="749680"/>
                  <a:pt x="6608329" y="780161"/>
                </a:cubicBezTo>
                <a:cubicBezTo>
                  <a:pt x="6608329" y="810642"/>
                  <a:pt x="6583619" y="835352"/>
                  <a:pt x="6553137" y="835352"/>
                </a:cubicBezTo>
                <a:cubicBezTo>
                  <a:pt x="6522655" y="835352"/>
                  <a:pt x="6497945" y="810642"/>
                  <a:pt x="6497945" y="780161"/>
                </a:cubicBezTo>
                <a:cubicBezTo>
                  <a:pt x="6497945" y="749680"/>
                  <a:pt x="6522655" y="724970"/>
                  <a:pt x="6553137" y="724970"/>
                </a:cubicBezTo>
                <a:close/>
                <a:moveTo>
                  <a:pt x="6419503" y="724970"/>
                </a:moveTo>
                <a:cubicBezTo>
                  <a:pt x="6449985" y="724970"/>
                  <a:pt x="6474695" y="749680"/>
                  <a:pt x="6474695" y="780161"/>
                </a:cubicBezTo>
                <a:cubicBezTo>
                  <a:pt x="6474695" y="810642"/>
                  <a:pt x="6449985" y="835352"/>
                  <a:pt x="6419503" y="835352"/>
                </a:cubicBezTo>
                <a:cubicBezTo>
                  <a:pt x="6389021" y="835352"/>
                  <a:pt x="6364311" y="810642"/>
                  <a:pt x="6364311" y="780161"/>
                </a:cubicBezTo>
                <a:cubicBezTo>
                  <a:pt x="6364311" y="749680"/>
                  <a:pt x="6389021" y="724970"/>
                  <a:pt x="6419503" y="724970"/>
                </a:cubicBezTo>
                <a:close/>
                <a:moveTo>
                  <a:pt x="6289207" y="724970"/>
                </a:moveTo>
                <a:cubicBezTo>
                  <a:pt x="6319689" y="724970"/>
                  <a:pt x="6344399" y="749680"/>
                  <a:pt x="6344399" y="780161"/>
                </a:cubicBezTo>
                <a:cubicBezTo>
                  <a:pt x="6344399" y="810642"/>
                  <a:pt x="6319689" y="835352"/>
                  <a:pt x="6289207" y="835352"/>
                </a:cubicBezTo>
                <a:cubicBezTo>
                  <a:pt x="6258725" y="835352"/>
                  <a:pt x="6234015" y="810642"/>
                  <a:pt x="6234015" y="780161"/>
                </a:cubicBezTo>
                <a:cubicBezTo>
                  <a:pt x="6234015" y="749680"/>
                  <a:pt x="6258725" y="724970"/>
                  <a:pt x="6289207" y="724970"/>
                </a:cubicBezTo>
                <a:close/>
                <a:moveTo>
                  <a:pt x="6155573" y="724970"/>
                </a:moveTo>
                <a:cubicBezTo>
                  <a:pt x="6186055" y="724970"/>
                  <a:pt x="6210765" y="749680"/>
                  <a:pt x="6210765" y="780161"/>
                </a:cubicBezTo>
                <a:cubicBezTo>
                  <a:pt x="6210765" y="810642"/>
                  <a:pt x="6186055" y="835352"/>
                  <a:pt x="6155573" y="835352"/>
                </a:cubicBezTo>
                <a:cubicBezTo>
                  <a:pt x="6125091" y="835352"/>
                  <a:pt x="6100381" y="810642"/>
                  <a:pt x="6100381" y="780161"/>
                </a:cubicBezTo>
                <a:cubicBezTo>
                  <a:pt x="6100381" y="749680"/>
                  <a:pt x="6125091" y="724970"/>
                  <a:pt x="6155573" y="724970"/>
                </a:cubicBezTo>
                <a:close/>
                <a:moveTo>
                  <a:pt x="5621035" y="724970"/>
                </a:moveTo>
                <a:cubicBezTo>
                  <a:pt x="5651517" y="724970"/>
                  <a:pt x="5676227" y="749680"/>
                  <a:pt x="5676227" y="780161"/>
                </a:cubicBezTo>
                <a:cubicBezTo>
                  <a:pt x="5676227" y="810642"/>
                  <a:pt x="5651517" y="835352"/>
                  <a:pt x="5621035" y="835352"/>
                </a:cubicBezTo>
                <a:cubicBezTo>
                  <a:pt x="5590553" y="835352"/>
                  <a:pt x="5565843" y="810642"/>
                  <a:pt x="5565843" y="780161"/>
                </a:cubicBezTo>
                <a:cubicBezTo>
                  <a:pt x="5565843" y="749680"/>
                  <a:pt x="5590553" y="724970"/>
                  <a:pt x="5621035" y="724970"/>
                </a:cubicBezTo>
                <a:close/>
                <a:moveTo>
                  <a:pt x="5487399" y="724970"/>
                </a:moveTo>
                <a:cubicBezTo>
                  <a:pt x="5517881" y="724970"/>
                  <a:pt x="5542591" y="749680"/>
                  <a:pt x="5542591" y="780161"/>
                </a:cubicBezTo>
                <a:cubicBezTo>
                  <a:pt x="5542591" y="810642"/>
                  <a:pt x="5517881" y="835352"/>
                  <a:pt x="5487399" y="835352"/>
                </a:cubicBezTo>
                <a:cubicBezTo>
                  <a:pt x="5456917" y="835352"/>
                  <a:pt x="5432207" y="810642"/>
                  <a:pt x="5432207" y="780161"/>
                </a:cubicBezTo>
                <a:cubicBezTo>
                  <a:pt x="5432207" y="749680"/>
                  <a:pt x="5456917" y="724970"/>
                  <a:pt x="5487399" y="724970"/>
                </a:cubicBezTo>
                <a:close/>
                <a:moveTo>
                  <a:pt x="5357106" y="724970"/>
                </a:moveTo>
                <a:cubicBezTo>
                  <a:pt x="5387588" y="724970"/>
                  <a:pt x="5412298" y="749680"/>
                  <a:pt x="5412298" y="780161"/>
                </a:cubicBezTo>
                <a:cubicBezTo>
                  <a:pt x="5412298" y="810642"/>
                  <a:pt x="5387588" y="835352"/>
                  <a:pt x="5357106" y="835352"/>
                </a:cubicBezTo>
                <a:cubicBezTo>
                  <a:pt x="5326624" y="835352"/>
                  <a:pt x="5301914" y="810642"/>
                  <a:pt x="5301914" y="780161"/>
                </a:cubicBezTo>
                <a:cubicBezTo>
                  <a:pt x="5301914" y="749680"/>
                  <a:pt x="5326624" y="724970"/>
                  <a:pt x="5357106" y="724970"/>
                </a:cubicBezTo>
                <a:close/>
                <a:moveTo>
                  <a:pt x="5223473" y="724970"/>
                </a:moveTo>
                <a:cubicBezTo>
                  <a:pt x="5253955" y="724970"/>
                  <a:pt x="5278665" y="749680"/>
                  <a:pt x="5278665" y="780161"/>
                </a:cubicBezTo>
                <a:cubicBezTo>
                  <a:pt x="5278665" y="810642"/>
                  <a:pt x="5253955" y="835352"/>
                  <a:pt x="5223473" y="835352"/>
                </a:cubicBezTo>
                <a:cubicBezTo>
                  <a:pt x="5192991" y="835352"/>
                  <a:pt x="5168281" y="810642"/>
                  <a:pt x="5168281" y="780161"/>
                </a:cubicBezTo>
                <a:cubicBezTo>
                  <a:pt x="5168281" y="749680"/>
                  <a:pt x="5192991" y="724970"/>
                  <a:pt x="5223473" y="724970"/>
                </a:cubicBezTo>
                <a:close/>
                <a:moveTo>
                  <a:pt x="5093178" y="724970"/>
                </a:moveTo>
                <a:cubicBezTo>
                  <a:pt x="5123660" y="724970"/>
                  <a:pt x="5148370" y="749680"/>
                  <a:pt x="5148370" y="780161"/>
                </a:cubicBezTo>
                <a:cubicBezTo>
                  <a:pt x="5148370" y="810642"/>
                  <a:pt x="5123660" y="835352"/>
                  <a:pt x="5093178" y="835352"/>
                </a:cubicBezTo>
                <a:cubicBezTo>
                  <a:pt x="5062696" y="835352"/>
                  <a:pt x="5037986" y="810642"/>
                  <a:pt x="5037986" y="780161"/>
                </a:cubicBezTo>
                <a:cubicBezTo>
                  <a:pt x="5037986" y="749680"/>
                  <a:pt x="5062696" y="724970"/>
                  <a:pt x="5093178" y="724970"/>
                </a:cubicBezTo>
                <a:close/>
                <a:moveTo>
                  <a:pt x="3897148" y="724970"/>
                </a:moveTo>
                <a:cubicBezTo>
                  <a:pt x="3927630" y="724970"/>
                  <a:pt x="3952340" y="749680"/>
                  <a:pt x="3952340" y="780161"/>
                </a:cubicBezTo>
                <a:cubicBezTo>
                  <a:pt x="3952340" y="810642"/>
                  <a:pt x="3927630" y="835352"/>
                  <a:pt x="3897148" y="835352"/>
                </a:cubicBezTo>
                <a:cubicBezTo>
                  <a:pt x="3866666" y="835352"/>
                  <a:pt x="3841956" y="810642"/>
                  <a:pt x="3841956" y="780161"/>
                </a:cubicBezTo>
                <a:cubicBezTo>
                  <a:pt x="3841956" y="749680"/>
                  <a:pt x="3866666" y="724970"/>
                  <a:pt x="3897148" y="724970"/>
                </a:cubicBezTo>
                <a:close/>
                <a:moveTo>
                  <a:pt x="3763514" y="724970"/>
                </a:moveTo>
                <a:cubicBezTo>
                  <a:pt x="3793996" y="724970"/>
                  <a:pt x="3818706" y="749680"/>
                  <a:pt x="3818706" y="780161"/>
                </a:cubicBezTo>
                <a:cubicBezTo>
                  <a:pt x="3818706" y="810642"/>
                  <a:pt x="3793996" y="835352"/>
                  <a:pt x="3763514" y="835352"/>
                </a:cubicBezTo>
                <a:cubicBezTo>
                  <a:pt x="3733032" y="835352"/>
                  <a:pt x="3708322" y="810642"/>
                  <a:pt x="3708322" y="780161"/>
                </a:cubicBezTo>
                <a:cubicBezTo>
                  <a:pt x="3708322" y="749680"/>
                  <a:pt x="3733032" y="724970"/>
                  <a:pt x="3763514" y="724970"/>
                </a:cubicBezTo>
                <a:close/>
                <a:moveTo>
                  <a:pt x="3633221" y="724970"/>
                </a:moveTo>
                <a:cubicBezTo>
                  <a:pt x="3663703" y="724970"/>
                  <a:pt x="3688413" y="749680"/>
                  <a:pt x="3688413" y="780161"/>
                </a:cubicBezTo>
                <a:cubicBezTo>
                  <a:pt x="3688413" y="810642"/>
                  <a:pt x="3663703" y="835352"/>
                  <a:pt x="3633221" y="835352"/>
                </a:cubicBezTo>
                <a:cubicBezTo>
                  <a:pt x="3602739" y="835352"/>
                  <a:pt x="3578029" y="810642"/>
                  <a:pt x="3578029" y="780161"/>
                </a:cubicBezTo>
                <a:cubicBezTo>
                  <a:pt x="3578029" y="749680"/>
                  <a:pt x="3602739" y="724970"/>
                  <a:pt x="3633221" y="724970"/>
                </a:cubicBezTo>
                <a:close/>
                <a:moveTo>
                  <a:pt x="3499586" y="724970"/>
                </a:moveTo>
                <a:cubicBezTo>
                  <a:pt x="3530068" y="724970"/>
                  <a:pt x="3554778" y="749680"/>
                  <a:pt x="3554778" y="780161"/>
                </a:cubicBezTo>
                <a:cubicBezTo>
                  <a:pt x="3554778" y="810642"/>
                  <a:pt x="3530068" y="835352"/>
                  <a:pt x="3499586" y="835352"/>
                </a:cubicBezTo>
                <a:cubicBezTo>
                  <a:pt x="3469104" y="835352"/>
                  <a:pt x="3444394" y="810642"/>
                  <a:pt x="3444394" y="780161"/>
                </a:cubicBezTo>
                <a:cubicBezTo>
                  <a:pt x="3444394" y="749680"/>
                  <a:pt x="3469104" y="724970"/>
                  <a:pt x="3499586" y="724970"/>
                </a:cubicBezTo>
                <a:close/>
                <a:moveTo>
                  <a:pt x="3369292" y="724970"/>
                </a:moveTo>
                <a:cubicBezTo>
                  <a:pt x="3399774" y="724970"/>
                  <a:pt x="3424484" y="749680"/>
                  <a:pt x="3424484" y="780161"/>
                </a:cubicBezTo>
                <a:cubicBezTo>
                  <a:pt x="3424484" y="810642"/>
                  <a:pt x="3399774" y="835352"/>
                  <a:pt x="3369292" y="835352"/>
                </a:cubicBezTo>
                <a:cubicBezTo>
                  <a:pt x="3338810" y="835352"/>
                  <a:pt x="3314100" y="810642"/>
                  <a:pt x="3314100" y="780161"/>
                </a:cubicBezTo>
                <a:cubicBezTo>
                  <a:pt x="3314100" y="749680"/>
                  <a:pt x="3338810" y="724970"/>
                  <a:pt x="3369292" y="724970"/>
                </a:cubicBezTo>
                <a:close/>
                <a:moveTo>
                  <a:pt x="2834856" y="724970"/>
                </a:moveTo>
                <a:cubicBezTo>
                  <a:pt x="2865340" y="724970"/>
                  <a:pt x="2890049" y="749680"/>
                  <a:pt x="2890049" y="780161"/>
                </a:cubicBezTo>
                <a:cubicBezTo>
                  <a:pt x="2890049" y="810642"/>
                  <a:pt x="2865340" y="835352"/>
                  <a:pt x="2834856" y="835352"/>
                </a:cubicBezTo>
                <a:cubicBezTo>
                  <a:pt x="2804376" y="835352"/>
                  <a:pt x="2779665" y="810642"/>
                  <a:pt x="2779665" y="780161"/>
                </a:cubicBezTo>
                <a:cubicBezTo>
                  <a:pt x="2779665" y="749680"/>
                  <a:pt x="2804376" y="724970"/>
                  <a:pt x="2834856" y="724970"/>
                </a:cubicBezTo>
                <a:close/>
                <a:moveTo>
                  <a:pt x="2707901" y="724970"/>
                </a:moveTo>
                <a:cubicBezTo>
                  <a:pt x="2738385" y="724970"/>
                  <a:pt x="2763094" y="749680"/>
                  <a:pt x="2763094" y="780161"/>
                </a:cubicBezTo>
                <a:cubicBezTo>
                  <a:pt x="2763094" y="810642"/>
                  <a:pt x="2738385" y="835352"/>
                  <a:pt x="2707901" y="835352"/>
                </a:cubicBezTo>
                <a:cubicBezTo>
                  <a:pt x="2677420" y="835352"/>
                  <a:pt x="2652711" y="810642"/>
                  <a:pt x="2652711" y="780161"/>
                </a:cubicBezTo>
                <a:cubicBezTo>
                  <a:pt x="2652711" y="749680"/>
                  <a:pt x="2677420" y="724970"/>
                  <a:pt x="2707901" y="724970"/>
                </a:cubicBezTo>
                <a:close/>
                <a:moveTo>
                  <a:pt x="2570929" y="724970"/>
                </a:moveTo>
                <a:cubicBezTo>
                  <a:pt x="2601412" y="724970"/>
                  <a:pt x="2626122" y="749680"/>
                  <a:pt x="2626122" y="780161"/>
                </a:cubicBezTo>
                <a:cubicBezTo>
                  <a:pt x="2626122" y="810642"/>
                  <a:pt x="2601412" y="835352"/>
                  <a:pt x="2570929" y="835352"/>
                </a:cubicBezTo>
                <a:cubicBezTo>
                  <a:pt x="2540446" y="835352"/>
                  <a:pt x="2515735" y="810642"/>
                  <a:pt x="2515735" y="780161"/>
                </a:cubicBezTo>
                <a:cubicBezTo>
                  <a:pt x="2515735" y="749680"/>
                  <a:pt x="2540446" y="724970"/>
                  <a:pt x="2570929" y="724970"/>
                </a:cubicBezTo>
                <a:close/>
                <a:moveTo>
                  <a:pt x="2437294" y="724970"/>
                </a:moveTo>
                <a:cubicBezTo>
                  <a:pt x="2467777" y="724970"/>
                  <a:pt x="2492487" y="749680"/>
                  <a:pt x="2492487" y="780161"/>
                </a:cubicBezTo>
                <a:cubicBezTo>
                  <a:pt x="2492487" y="810642"/>
                  <a:pt x="2467777" y="835352"/>
                  <a:pt x="2437294" y="835352"/>
                </a:cubicBezTo>
                <a:cubicBezTo>
                  <a:pt x="2406815" y="835352"/>
                  <a:pt x="2382104" y="810642"/>
                  <a:pt x="2382104" y="780161"/>
                </a:cubicBezTo>
                <a:cubicBezTo>
                  <a:pt x="2382104" y="749680"/>
                  <a:pt x="2406815" y="724970"/>
                  <a:pt x="2437294" y="724970"/>
                </a:cubicBezTo>
                <a:close/>
                <a:moveTo>
                  <a:pt x="2303662" y="724970"/>
                </a:moveTo>
                <a:cubicBezTo>
                  <a:pt x="2334145" y="724970"/>
                  <a:pt x="2358853" y="749680"/>
                  <a:pt x="2358853" y="780161"/>
                </a:cubicBezTo>
                <a:cubicBezTo>
                  <a:pt x="2358853" y="810642"/>
                  <a:pt x="2334145" y="835352"/>
                  <a:pt x="2303662" y="835352"/>
                </a:cubicBezTo>
                <a:cubicBezTo>
                  <a:pt x="2273180" y="835352"/>
                  <a:pt x="2248471" y="810642"/>
                  <a:pt x="2248471" y="780161"/>
                </a:cubicBezTo>
                <a:cubicBezTo>
                  <a:pt x="2248471" y="749680"/>
                  <a:pt x="2273180" y="724970"/>
                  <a:pt x="2303662" y="724970"/>
                </a:cubicBezTo>
                <a:close/>
                <a:moveTo>
                  <a:pt x="2173371" y="724970"/>
                </a:moveTo>
                <a:cubicBezTo>
                  <a:pt x="2203851" y="724970"/>
                  <a:pt x="2228562" y="749680"/>
                  <a:pt x="2228562" y="780161"/>
                </a:cubicBezTo>
                <a:cubicBezTo>
                  <a:pt x="2228562" y="810642"/>
                  <a:pt x="2203851" y="835352"/>
                  <a:pt x="2173371" y="835352"/>
                </a:cubicBezTo>
                <a:cubicBezTo>
                  <a:pt x="2142888" y="835352"/>
                  <a:pt x="2118177" y="810642"/>
                  <a:pt x="2118177" y="780161"/>
                </a:cubicBezTo>
                <a:cubicBezTo>
                  <a:pt x="2118177" y="749680"/>
                  <a:pt x="2142888" y="724970"/>
                  <a:pt x="2173371" y="724970"/>
                </a:cubicBezTo>
                <a:close/>
                <a:moveTo>
                  <a:pt x="2039733" y="724970"/>
                </a:moveTo>
                <a:cubicBezTo>
                  <a:pt x="2070216" y="724970"/>
                  <a:pt x="2094927" y="749680"/>
                  <a:pt x="2094927" y="780161"/>
                </a:cubicBezTo>
                <a:cubicBezTo>
                  <a:pt x="2094927" y="810642"/>
                  <a:pt x="2070216" y="835352"/>
                  <a:pt x="2039733" y="835352"/>
                </a:cubicBezTo>
                <a:cubicBezTo>
                  <a:pt x="2009252" y="835352"/>
                  <a:pt x="1984539" y="810642"/>
                  <a:pt x="1984539" y="780161"/>
                </a:cubicBezTo>
                <a:cubicBezTo>
                  <a:pt x="1984539" y="749680"/>
                  <a:pt x="2009252" y="724970"/>
                  <a:pt x="2039733" y="724970"/>
                </a:cubicBezTo>
                <a:close/>
                <a:moveTo>
                  <a:pt x="1909436" y="724970"/>
                </a:moveTo>
                <a:cubicBezTo>
                  <a:pt x="1939919" y="724970"/>
                  <a:pt x="1964630" y="749680"/>
                  <a:pt x="1964630" y="780161"/>
                </a:cubicBezTo>
                <a:cubicBezTo>
                  <a:pt x="1964630" y="810642"/>
                  <a:pt x="1939919" y="835352"/>
                  <a:pt x="1909436" y="835352"/>
                </a:cubicBezTo>
                <a:cubicBezTo>
                  <a:pt x="1878955" y="835352"/>
                  <a:pt x="1854243" y="810642"/>
                  <a:pt x="1854243" y="780161"/>
                </a:cubicBezTo>
                <a:cubicBezTo>
                  <a:pt x="1854243" y="749680"/>
                  <a:pt x="1878955" y="724970"/>
                  <a:pt x="1909436" y="724970"/>
                </a:cubicBezTo>
                <a:close/>
                <a:moveTo>
                  <a:pt x="1779142" y="724970"/>
                </a:moveTo>
                <a:cubicBezTo>
                  <a:pt x="1809623" y="724970"/>
                  <a:pt x="1834335" y="749680"/>
                  <a:pt x="1834335" y="780161"/>
                </a:cubicBezTo>
                <a:cubicBezTo>
                  <a:pt x="1834335" y="810642"/>
                  <a:pt x="1809623" y="835352"/>
                  <a:pt x="1779142" y="835352"/>
                </a:cubicBezTo>
                <a:cubicBezTo>
                  <a:pt x="1748660" y="835352"/>
                  <a:pt x="1723947" y="810642"/>
                  <a:pt x="1723947" y="780161"/>
                </a:cubicBezTo>
                <a:cubicBezTo>
                  <a:pt x="1723947" y="749680"/>
                  <a:pt x="1748660" y="724970"/>
                  <a:pt x="1779142" y="724970"/>
                </a:cubicBezTo>
                <a:close/>
                <a:moveTo>
                  <a:pt x="1645501" y="724970"/>
                </a:moveTo>
                <a:cubicBezTo>
                  <a:pt x="1675988" y="724970"/>
                  <a:pt x="1700699" y="749680"/>
                  <a:pt x="1700699" y="780161"/>
                </a:cubicBezTo>
                <a:cubicBezTo>
                  <a:pt x="1700699" y="810642"/>
                  <a:pt x="1675988" y="835352"/>
                  <a:pt x="1645501" y="835352"/>
                </a:cubicBezTo>
                <a:cubicBezTo>
                  <a:pt x="1615024" y="835352"/>
                  <a:pt x="1590310" y="810642"/>
                  <a:pt x="1590310" y="780161"/>
                </a:cubicBezTo>
                <a:cubicBezTo>
                  <a:pt x="1590310" y="749680"/>
                  <a:pt x="1615024" y="724970"/>
                  <a:pt x="1645501" y="724970"/>
                </a:cubicBezTo>
                <a:close/>
                <a:moveTo>
                  <a:pt x="1515213" y="724970"/>
                </a:moveTo>
                <a:cubicBezTo>
                  <a:pt x="1545692" y="724970"/>
                  <a:pt x="1570399" y="749680"/>
                  <a:pt x="1570399" y="780161"/>
                </a:cubicBezTo>
                <a:cubicBezTo>
                  <a:pt x="1570399" y="810642"/>
                  <a:pt x="1545692" y="835352"/>
                  <a:pt x="1515213" y="835352"/>
                </a:cubicBezTo>
                <a:cubicBezTo>
                  <a:pt x="1484730" y="835352"/>
                  <a:pt x="1460016" y="810642"/>
                  <a:pt x="1460016" y="780161"/>
                </a:cubicBezTo>
                <a:cubicBezTo>
                  <a:pt x="1460016" y="749680"/>
                  <a:pt x="1484730" y="724970"/>
                  <a:pt x="1515213" y="724970"/>
                </a:cubicBezTo>
                <a:close/>
                <a:moveTo>
                  <a:pt x="1381573" y="724970"/>
                </a:moveTo>
                <a:cubicBezTo>
                  <a:pt x="1412052" y="724970"/>
                  <a:pt x="1436767" y="749680"/>
                  <a:pt x="1436767" y="780161"/>
                </a:cubicBezTo>
                <a:cubicBezTo>
                  <a:pt x="1436767" y="810642"/>
                  <a:pt x="1412052" y="835352"/>
                  <a:pt x="1381573" y="835352"/>
                </a:cubicBezTo>
                <a:cubicBezTo>
                  <a:pt x="1351096" y="835352"/>
                  <a:pt x="1326381" y="810642"/>
                  <a:pt x="1326381" y="780161"/>
                </a:cubicBezTo>
                <a:cubicBezTo>
                  <a:pt x="1326381" y="749680"/>
                  <a:pt x="1351096" y="724970"/>
                  <a:pt x="1381573" y="724970"/>
                </a:cubicBezTo>
                <a:close/>
                <a:moveTo>
                  <a:pt x="1251282" y="724970"/>
                </a:moveTo>
                <a:cubicBezTo>
                  <a:pt x="1281764" y="724970"/>
                  <a:pt x="1306475" y="749680"/>
                  <a:pt x="1306475" y="780161"/>
                </a:cubicBezTo>
                <a:cubicBezTo>
                  <a:pt x="1306475" y="810642"/>
                  <a:pt x="1281764" y="835352"/>
                  <a:pt x="1251282" y="835352"/>
                </a:cubicBezTo>
                <a:cubicBezTo>
                  <a:pt x="1220800" y="835352"/>
                  <a:pt x="1196089" y="810642"/>
                  <a:pt x="1196089" y="780161"/>
                </a:cubicBezTo>
                <a:cubicBezTo>
                  <a:pt x="1196089" y="749680"/>
                  <a:pt x="1220800" y="724970"/>
                  <a:pt x="1251282" y="724970"/>
                </a:cubicBezTo>
                <a:close/>
                <a:moveTo>
                  <a:pt x="1117642" y="724970"/>
                </a:moveTo>
                <a:cubicBezTo>
                  <a:pt x="1148126" y="724970"/>
                  <a:pt x="1172836" y="749680"/>
                  <a:pt x="1172836" y="780161"/>
                </a:cubicBezTo>
                <a:cubicBezTo>
                  <a:pt x="1172836" y="810642"/>
                  <a:pt x="1148126" y="835352"/>
                  <a:pt x="1117642" y="835352"/>
                </a:cubicBezTo>
                <a:cubicBezTo>
                  <a:pt x="1087161" y="835352"/>
                  <a:pt x="1062448" y="810642"/>
                  <a:pt x="1062448" y="780161"/>
                </a:cubicBezTo>
                <a:cubicBezTo>
                  <a:pt x="1062448" y="749680"/>
                  <a:pt x="1087161" y="724970"/>
                  <a:pt x="1117642" y="724970"/>
                </a:cubicBezTo>
                <a:close/>
                <a:moveTo>
                  <a:pt x="980664" y="724970"/>
                </a:moveTo>
                <a:cubicBezTo>
                  <a:pt x="1011146" y="724970"/>
                  <a:pt x="1035857" y="749680"/>
                  <a:pt x="1035857" y="780161"/>
                </a:cubicBezTo>
                <a:cubicBezTo>
                  <a:pt x="1035857" y="810642"/>
                  <a:pt x="1011146" y="835352"/>
                  <a:pt x="980664" y="835352"/>
                </a:cubicBezTo>
                <a:cubicBezTo>
                  <a:pt x="950180" y="835352"/>
                  <a:pt x="925471" y="810642"/>
                  <a:pt x="925471" y="780161"/>
                </a:cubicBezTo>
                <a:cubicBezTo>
                  <a:pt x="925471" y="749680"/>
                  <a:pt x="950180" y="724970"/>
                  <a:pt x="980664" y="724970"/>
                </a:cubicBezTo>
                <a:close/>
                <a:moveTo>
                  <a:pt x="847022" y="724970"/>
                </a:moveTo>
                <a:cubicBezTo>
                  <a:pt x="877506" y="724970"/>
                  <a:pt x="902217" y="749680"/>
                  <a:pt x="902217" y="780161"/>
                </a:cubicBezTo>
                <a:cubicBezTo>
                  <a:pt x="902217" y="810642"/>
                  <a:pt x="877506" y="835352"/>
                  <a:pt x="847022" y="835352"/>
                </a:cubicBezTo>
                <a:cubicBezTo>
                  <a:pt x="816540" y="835352"/>
                  <a:pt x="791823" y="810642"/>
                  <a:pt x="791823" y="780161"/>
                </a:cubicBezTo>
                <a:cubicBezTo>
                  <a:pt x="791823" y="749680"/>
                  <a:pt x="816540" y="724970"/>
                  <a:pt x="847022" y="724970"/>
                </a:cubicBezTo>
                <a:close/>
                <a:moveTo>
                  <a:pt x="716722" y="724970"/>
                </a:moveTo>
                <a:cubicBezTo>
                  <a:pt x="747204" y="724970"/>
                  <a:pt x="771916" y="749680"/>
                  <a:pt x="771916" y="780161"/>
                </a:cubicBezTo>
                <a:cubicBezTo>
                  <a:pt x="771916" y="810642"/>
                  <a:pt x="747204" y="835352"/>
                  <a:pt x="716722" y="835352"/>
                </a:cubicBezTo>
                <a:cubicBezTo>
                  <a:pt x="686240" y="835352"/>
                  <a:pt x="661530" y="810642"/>
                  <a:pt x="661530" y="780161"/>
                </a:cubicBezTo>
                <a:cubicBezTo>
                  <a:pt x="661530" y="749680"/>
                  <a:pt x="686240" y="724970"/>
                  <a:pt x="716722" y="724970"/>
                </a:cubicBezTo>
                <a:close/>
                <a:moveTo>
                  <a:pt x="583085" y="724970"/>
                </a:moveTo>
                <a:cubicBezTo>
                  <a:pt x="613567" y="724970"/>
                  <a:pt x="638278" y="749680"/>
                  <a:pt x="638278" y="780161"/>
                </a:cubicBezTo>
                <a:cubicBezTo>
                  <a:pt x="638278" y="810642"/>
                  <a:pt x="613567" y="835352"/>
                  <a:pt x="583085" y="835352"/>
                </a:cubicBezTo>
                <a:cubicBezTo>
                  <a:pt x="552602" y="835352"/>
                  <a:pt x="527891" y="810642"/>
                  <a:pt x="527891" y="780161"/>
                </a:cubicBezTo>
                <a:cubicBezTo>
                  <a:pt x="527891" y="749680"/>
                  <a:pt x="552602" y="724970"/>
                  <a:pt x="583085" y="724970"/>
                </a:cubicBezTo>
                <a:close/>
                <a:moveTo>
                  <a:pt x="449437" y="724970"/>
                </a:moveTo>
                <a:cubicBezTo>
                  <a:pt x="479919" y="724970"/>
                  <a:pt x="504629" y="749680"/>
                  <a:pt x="504629" y="780161"/>
                </a:cubicBezTo>
                <a:cubicBezTo>
                  <a:pt x="504629" y="810642"/>
                  <a:pt x="479919" y="835352"/>
                  <a:pt x="449437" y="835352"/>
                </a:cubicBezTo>
                <a:cubicBezTo>
                  <a:pt x="418954" y="835352"/>
                  <a:pt x="394244" y="810642"/>
                  <a:pt x="394244" y="780161"/>
                </a:cubicBezTo>
                <a:cubicBezTo>
                  <a:pt x="394244" y="749680"/>
                  <a:pt x="418954" y="724970"/>
                  <a:pt x="449437" y="724970"/>
                </a:cubicBezTo>
                <a:close/>
                <a:moveTo>
                  <a:pt x="319140" y="724970"/>
                </a:moveTo>
                <a:cubicBezTo>
                  <a:pt x="349624" y="724970"/>
                  <a:pt x="374334" y="749680"/>
                  <a:pt x="374334" y="780161"/>
                </a:cubicBezTo>
                <a:cubicBezTo>
                  <a:pt x="374334" y="810642"/>
                  <a:pt x="349624" y="835352"/>
                  <a:pt x="319140" y="835352"/>
                </a:cubicBezTo>
                <a:cubicBezTo>
                  <a:pt x="288658" y="835352"/>
                  <a:pt x="263948" y="810642"/>
                  <a:pt x="263948" y="780161"/>
                </a:cubicBezTo>
                <a:cubicBezTo>
                  <a:pt x="263948" y="749680"/>
                  <a:pt x="288658" y="724970"/>
                  <a:pt x="319140" y="724970"/>
                </a:cubicBezTo>
                <a:close/>
                <a:moveTo>
                  <a:pt x="185509" y="724970"/>
                </a:moveTo>
                <a:cubicBezTo>
                  <a:pt x="215993" y="724970"/>
                  <a:pt x="240701" y="749680"/>
                  <a:pt x="240701" y="780161"/>
                </a:cubicBezTo>
                <a:cubicBezTo>
                  <a:pt x="240701" y="810642"/>
                  <a:pt x="215993" y="835352"/>
                  <a:pt x="185509" y="835352"/>
                </a:cubicBezTo>
                <a:cubicBezTo>
                  <a:pt x="155029" y="835352"/>
                  <a:pt x="130319" y="810642"/>
                  <a:pt x="130319" y="780161"/>
                </a:cubicBezTo>
                <a:cubicBezTo>
                  <a:pt x="130319" y="749680"/>
                  <a:pt x="155029" y="724970"/>
                  <a:pt x="185509" y="724970"/>
                </a:cubicBezTo>
                <a:close/>
                <a:moveTo>
                  <a:pt x="8801538" y="608039"/>
                </a:moveTo>
                <a:cubicBezTo>
                  <a:pt x="8832020" y="608039"/>
                  <a:pt x="8856730" y="632749"/>
                  <a:pt x="8856730" y="663230"/>
                </a:cubicBezTo>
                <a:cubicBezTo>
                  <a:pt x="8856730" y="693711"/>
                  <a:pt x="8832020" y="718421"/>
                  <a:pt x="8801538" y="718421"/>
                </a:cubicBezTo>
                <a:cubicBezTo>
                  <a:pt x="8771056" y="718421"/>
                  <a:pt x="8746346" y="693711"/>
                  <a:pt x="8746346" y="663230"/>
                </a:cubicBezTo>
                <a:cubicBezTo>
                  <a:pt x="8746346" y="632749"/>
                  <a:pt x="8771056" y="608039"/>
                  <a:pt x="8801538" y="608039"/>
                </a:cubicBezTo>
                <a:close/>
                <a:moveTo>
                  <a:pt x="8671244" y="608039"/>
                </a:moveTo>
                <a:cubicBezTo>
                  <a:pt x="8701726" y="608039"/>
                  <a:pt x="8726436" y="632749"/>
                  <a:pt x="8726436" y="663230"/>
                </a:cubicBezTo>
                <a:cubicBezTo>
                  <a:pt x="8726436" y="693711"/>
                  <a:pt x="8701726" y="718421"/>
                  <a:pt x="8671244" y="718421"/>
                </a:cubicBezTo>
                <a:cubicBezTo>
                  <a:pt x="8640762" y="718421"/>
                  <a:pt x="8616052" y="693711"/>
                  <a:pt x="8616052" y="663230"/>
                </a:cubicBezTo>
                <a:cubicBezTo>
                  <a:pt x="8616052" y="632749"/>
                  <a:pt x="8640762" y="608039"/>
                  <a:pt x="8671244" y="608039"/>
                </a:cubicBezTo>
                <a:close/>
                <a:moveTo>
                  <a:pt x="8537609" y="608039"/>
                </a:moveTo>
                <a:cubicBezTo>
                  <a:pt x="8568091" y="608039"/>
                  <a:pt x="8592801" y="632749"/>
                  <a:pt x="8592801" y="663230"/>
                </a:cubicBezTo>
                <a:cubicBezTo>
                  <a:pt x="8592801" y="693711"/>
                  <a:pt x="8568091" y="718421"/>
                  <a:pt x="8537609" y="718421"/>
                </a:cubicBezTo>
                <a:cubicBezTo>
                  <a:pt x="8507127" y="718421"/>
                  <a:pt x="8482417" y="693711"/>
                  <a:pt x="8482417" y="663230"/>
                </a:cubicBezTo>
                <a:cubicBezTo>
                  <a:pt x="8482417" y="632749"/>
                  <a:pt x="8507127" y="608039"/>
                  <a:pt x="8537609" y="608039"/>
                </a:cubicBezTo>
                <a:close/>
                <a:moveTo>
                  <a:pt x="8407318" y="608039"/>
                </a:moveTo>
                <a:cubicBezTo>
                  <a:pt x="8437800" y="608039"/>
                  <a:pt x="8462510" y="632749"/>
                  <a:pt x="8462510" y="663230"/>
                </a:cubicBezTo>
                <a:cubicBezTo>
                  <a:pt x="8462510" y="693711"/>
                  <a:pt x="8437800" y="718421"/>
                  <a:pt x="8407318" y="718421"/>
                </a:cubicBezTo>
                <a:cubicBezTo>
                  <a:pt x="8376836" y="718421"/>
                  <a:pt x="8352126" y="693711"/>
                  <a:pt x="8352126" y="663230"/>
                </a:cubicBezTo>
                <a:cubicBezTo>
                  <a:pt x="8352126" y="632749"/>
                  <a:pt x="8376836" y="608039"/>
                  <a:pt x="8407318" y="608039"/>
                </a:cubicBezTo>
                <a:close/>
                <a:moveTo>
                  <a:pt x="8273682" y="608039"/>
                </a:moveTo>
                <a:cubicBezTo>
                  <a:pt x="8304164" y="608039"/>
                  <a:pt x="8328874" y="632749"/>
                  <a:pt x="8328874" y="663230"/>
                </a:cubicBezTo>
                <a:cubicBezTo>
                  <a:pt x="8328874" y="693711"/>
                  <a:pt x="8304164" y="718421"/>
                  <a:pt x="8273682" y="718421"/>
                </a:cubicBezTo>
                <a:cubicBezTo>
                  <a:pt x="8243200" y="718421"/>
                  <a:pt x="8218490" y="693711"/>
                  <a:pt x="8218490" y="663230"/>
                </a:cubicBezTo>
                <a:cubicBezTo>
                  <a:pt x="8218490" y="632749"/>
                  <a:pt x="8243200" y="608039"/>
                  <a:pt x="8273682" y="608039"/>
                </a:cubicBezTo>
                <a:close/>
                <a:moveTo>
                  <a:pt x="8143386" y="608039"/>
                </a:moveTo>
                <a:cubicBezTo>
                  <a:pt x="8173868" y="608039"/>
                  <a:pt x="8198578" y="632749"/>
                  <a:pt x="8198578" y="663230"/>
                </a:cubicBezTo>
                <a:cubicBezTo>
                  <a:pt x="8198578" y="693711"/>
                  <a:pt x="8173868" y="718421"/>
                  <a:pt x="8143386" y="718421"/>
                </a:cubicBezTo>
                <a:cubicBezTo>
                  <a:pt x="8112904" y="718421"/>
                  <a:pt x="8088194" y="693711"/>
                  <a:pt x="8088194" y="663230"/>
                </a:cubicBezTo>
                <a:cubicBezTo>
                  <a:pt x="8088194" y="632749"/>
                  <a:pt x="8112904" y="608039"/>
                  <a:pt x="8143386" y="608039"/>
                </a:cubicBezTo>
                <a:close/>
                <a:moveTo>
                  <a:pt x="8009753" y="608039"/>
                </a:moveTo>
                <a:cubicBezTo>
                  <a:pt x="8040235" y="608039"/>
                  <a:pt x="8064945" y="632749"/>
                  <a:pt x="8064945" y="663230"/>
                </a:cubicBezTo>
                <a:cubicBezTo>
                  <a:pt x="8064945" y="693711"/>
                  <a:pt x="8040235" y="718421"/>
                  <a:pt x="8009753" y="718421"/>
                </a:cubicBezTo>
                <a:cubicBezTo>
                  <a:pt x="7979271" y="718421"/>
                  <a:pt x="7954561" y="693711"/>
                  <a:pt x="7954561" y="663230"/>
                </a:cubicBezTo>
                <a:cubicBezTo>
                  <a:pt x="7954561" y="632749"/>
                  <a:pt x="7979271" y="608039"/>
                  <a:pt x="8009753" y="608039"/>
                </a:cubicBezTo>
                <a:close/>
                <a:moveTo>
                  <a:pt x="7876118" y="608039"/>
                </a:moveTo>
                <a:cubicBezTo>
                  <a:pt x="7906600" y="608039"/>
                  <a:pt x="7931310" y="632749"/>
                  <a:pt x="7931310" y="663230"/>
                </a:cubicBezTo>
                <a:cubicBezTo>
                  <a:pt x="7931310" y="693711"/>
                  <a:pt x="7906600" y="718421"/>
                  <a:pt x="7876118" y="718421"/>
                </a:cubicBezTo>
                <a:cubicBezTo>
                  <a:pt x="7845636" y="718421"/>
                  <a:pt x="7820926" y="693711"/>
                  <a:pt x="7820926" y="663230"/>
                </a:cubicBezTo>
                <a:cubicBezTo>
                  <a:pt x="7820926" y="632749"/>
                  <a:pt x="7845636" y="608039"/>
                  <a:pt x="7876118" y="608039"/>
                </a:cubicBezTo>
                <a:close/>
                <a:moveTo>
                  <a:pt x="7745824" y="608039"/>
                </a:moveTo>
                <a:cubicBezTo>
                  <a:pt x="7776306" y="608039"/>
                  <a:pt x="7801016" y="632749"/>
                  <a:pt x="7801016" y="663230"/>
                </a:cubicBezTo>
                <a:cubicBezTo>
                  <a:pt x="7801016" y="693711"/>
                  <a:pt x="7776306" y="718421"/>
                  <a:pt x="7745824" y="718421"/>
                </a:cubicBezTo>
                <a:cubicBezTo>
                  <a:pt x="7715342" y="718421"/>
                  <a:pt x="7690632" y="693711"/>
                  <a:pt x="7690632" y="663230"/>
                </a:cubicBezTo>
                <a:cubicBezTo>
                  <a:pt x="7690632" y="632749"/>
                  <a:pt x="7715342" y="608039"/>
                  <a:pt x="7745824" y="608039"/>
                </a:cubicBezTo>
                <a:close/>
                <a:moveTo>
                  <a:pt x="7608850" y="608039"/>
                </a:moveTo>
                <a:cubicBezTo>
                  <a:pt x="7639332" y="608039"/>
                  <a:pt x="7664042" y="632749"/>
                  <a:pt x="7664042" y="663230"/>
                </a:cubicBezTo>
                <a:cubicBezTo>
                  <a:pt x="7664042" y="693711"/>
                  <a:pt x="7639332" y="718421"/>
                  <a:pt x="7608850" y="718421"/>
                </a:cubicBezTo>
                <a:cubicBezTo>
                  <a:pt x="7578368" y="718421"/>
                  <a:pt x="7553658" y="693711"/>
                  <a:pt x="7553658" y="663230"/>
                </a:cubicBezTo>
                <a:cubicBezTo>
                  <a:pt x="7553658" y="632749"/>
                  <a:pt x="7578368" y="608039"/>
                  <a:pt x="7608850" y="608039"/>
                </a:cubicBezTo>
                <a:close/>
                <a:moveTo>
                  <a:pt x="7481895" y="608039"/>
                </a:moveTo>
                <a:cubicBezTo>
                  <a:pt x="7512377" y="608039"/>
                  <a:pt x="7537087" y="632749"/>
                  <a:pt x="7537087" y="663230"/>
                </a:cubicBezTo>
                <a:cubicBezTo>
                  <a:pt x="7537087" y="693711"/>
                  <a:pt x="7512377" y="718421"/>
                  <a:pt x="7481895" y="718421"/>
                </a:cubicBezTo>
                <a:cubicBezTo>
                  <a:pt x="7451413" y="718421"/>
                  <a:pt x="7426703" y="693711"/>
                  <a:pt x="7426703" y="663230"/>
                </a:cubicBezTo>
                <a:cubicBezTo>
                  <a:pt x="7426703" y="632749"/>
                  <a:pt x="7451413" y="608039"/>
                  <a:pt x="7481895" y="608039"/>
                </a:cubicBezTo>
                <a:close/>
                <a:moveTo>
                  <a:pt x="7341579" y="608039"/>
                </a:moveTo>
                <a:cubicBezTo>
                  <a:pt x="7372061" y="608039"/>
                  <a:pt x="7396771" y="632749"/>
                  <a:pt x="7396771" y="663230"/>
                </a:cubicBezTo>
                <a:cubicBezTo>
                  <a:pt x="7396771" y="693711"/>
                  <a:pt x="7372061" y="718421"/>
                  <a:pt x="7341579" y="718421"/>
                </a:cubicBezTo>
                <a:cubicBezTo>
                  <a:pt x="7311097" y="718421"/>
                  <a:pt x="7286387" y="693711"/>
                  <a:pt x="7286387" y="663230"/>
                </a:cubicBezTo>
                <a:cubicBezTo>
                  <a:pt x="7286387" y="632749"/>
                  <a:pt x="7311097" y="608039"/>
                  <a:pt x="7341579" y="608039"/>
                </a:cubicBezTo>
                <a:close/>
                <a:moveTo>
                  <a:pt x="7211286" y="608039"/>
                </a:moveTo>
                <a:cubicBezTo>
                  <a:pt x="7241768" y="608039"/>
                  <a:pt x="7266478" y="632749"/>
                  <a:pt x="7266478" y="663230"/>
                </a:cubicBezTo>
                <a:cubicBezTo>
                  <a:pt x="7266478" y="693711"/>
                  <a:pt x="7241768" y="718421"/>
                  <a:pt x="7211286" y="718421"/>
                </a:cubicBezTo>
                <a:cubicBezTo>
                  <a:pt x="7180804" y="718421"/>
                  <a:pt x="7156094" y="693711"/>
                  <a:pt x="7156094" y="663230"/>
                </a:cubicBezTo>
                <a:cubicBezTo>
                  <a:pt x="7156094" y="632749"/>
                  <a:pt x="7180804" y="608039"/>
                  <a:pt x="7211286" y="608039"/>
                </a:cubicBezTo>
                <a:close/>
                <a:moveTo>
                  <a:pt x="7080994" y="608039"/>
                </a:moveTo>
                <a:cubicBezTo>
                  <a:pt x="7111476" y="608039"/>
                  <a:pt x="7136186" y="632749"/>
                  <a:pt x="7136186" y="663230"/>
                </a:cubicBezTo>
                <a:cubicBezTo>
                  <a:pt x="7136186" y="693711"/>
                  <a:pt x="7111476" y="718421"/>
                  <a:pt x="7080994" y="718421"/>
                </a:cubicBezTo>
                <a:cubicBezTo>
                  <a:pt x="7050512" y="718421"/>
                  <a:pt x="7025802" y="693711"/>
                  <a:pt x="7025802" y="663230"/>
                </a:cubicBezTo>
                <a:cubicBezTo>
                  <a:pt x="7025802" y="632749"/>
                  <a:pt x="7050512" y="608039"/>
                  <a:pt x="7080994" y="608039"/>
                </a:cubicBezTo>
                <a:close/>
                <a:moveTo>
                  <a:pt x="6947358" y="608039"/>
                </a:moveTo>
                <a:cubicBezTo>
                  <a:pt x="6977840" y="608039"/>
                  <a:pt x="7002550" y="632749"/>
                  <a:pt x="7002550" y="663230"/>
                </a:cubicBezTo>
                <a:cubicBezTo>
                  <a:pt x="7002550" y="693711"/>
                  <a:pt x="6977840" y="718421"/>
                  <a:pt x="6947358" y="718421"/>
                </a:cubicBezTo>
                <a:cubicBezTo>
                  <a:pt x="6916876" y="718421"/>
                  <a:pt x="6892166" y="693711"/>
                  <a:pt x="6892166" y="663230"/>
                </a:cubicBezTo>
                <a:cubicBezTo>
                  <a:pt x="6892166" y="632749"/>
                  <a:pt x="6916876" y="608039"/>
                  <a:pt x="6947358" y="608039"/>
                </a:cubicBezTo>
                <a:close/>
                <a:moveTo>
                  <a:pt x="6817064" y="608039"/>
                </a:moveTo>
                <a:cubicBezTo>
                  <a:pt x="6847546" y="608039"/>
                  <a:pt x="6872256" y="632749"/>
                  <a:pt x="6872256" y="663230"/>
                </a:cubicBezTo>
                <a:cubicBezTo>
                  <a:pt x="6872256" y="693711"/>
                  <a:pt x="6847546" y="718421"/>
                  <a:pt x="6817064" y="718421"/>
                </a:cubicBezTo>
                <a:cubicBezTo>
                  <a:pt x="6786582" y="718421"/>
                  <a:pt x="6761872" y="693711"/>
                  <a:pt x="6761872" y="663230"/>
                </a:cubicBezTo>
                <a:cubicBezTo>
                  <a:pt x="6761872" y="632749"/>
                  <a:pt x="6786582" y="608039"/>
                  <a:pt x="6817064" y="608039"/>
                </a:cubicBezTo>
                <a:close/>
                <a:moveTo>
                  <a:pt x="6683431" y="608039"/>
                </a:moveTo>
                <a:cubicBezTo>
                  <a:pt x="6713913" y="608039"/>
                  <a:pt x="6738623" y="632749"/>
                  <a:pt x="6738623" y="663230"/>
                </a:cubicBezTo>
                <a:cubicBezTo>
                  <a:pt x="6738623" y="693711"/>
                  <a:pt x="6713913" y="718421"/>
                  <a:pt x="6683431" y="718421"/>
                </a:cubicBezTo>
                <a:cubicBezTo>
                  <a:pt x="6652949" y="718421"/>
                  <a:pt x="6628239" y="693711"/>
                  <a:pt x="6628239" y="663230"/>
                </a:cubicBezTo>
                <a:cubicBezTo>
                  <a:pt x="6628239" y="632749"/>
                  <a:pt x="6652949" y="608039"/>
                  <a:pt x="6683431" y="608039"/>
                </a:cubicBezTo>
                <a:close/>
                <a:moveTo>
                  <a:pt x="6155573" y="608039"/>
                </a:moveTo>
                <a:cubicBezTo>
                  <a:pt x="6186055" y="608039"/>
                  <a:pt x="6210765" y="632749"/>
                  <a:pt x="6210765" y="663230"/>
                </a:cubicBezTo>
                <a:cubicBezTo>
                  <a:pt x="6210765" y="693711"/>
                  <a:pt x="6186055" y="718421"/>
                  <a:pt x="6155573" y="718421"/>
                </a:cubicBezTo>
                <a:cubicBezTo>
                  <a:pt x="6125091" y="718421"/>
                  <a:pt x="6100381" y="693711"/>
                  <a:pt x="6100381" y="663230"/>
                </a:cubicBezTo>
                <a:cubicBezTo>
                  <a:pt x="6100381" y="632749"/>
                  <a:pt x="6125091" y="608039"/>
                  <a:pt x="6155573" y="608039"/>
                </a:cubicBezTo>
                <a:close/>
                <a:moveTo>
                  <a:pt x="5487399" y="608039"/>
                </a:moveTo>
                <a:cubicBezTo>
                  <a:pt x="5517881" y="608039"/>
                  <a:pt x="5542591" y="632749"/>
                  <a:pt x="5542591" y="663230"/>
                </a:cubicBezTo>
                <a:cubicBezTo>
                  <a:pt x="5542591" y="693711"/>
                  <a:pt x="5517881" y="718421"/>
                  <a:pt x="5487399" y="718421"/>
                </a:cubicBezTo>
                <a:cubicBezTo>
                  <a:pt x="5456917" y="718421"/>
                  <a:pt x="5432207" y="693711"/>
                  <a:pt x="5432207" y="663230"/>
                </a:cubicBezTo>
                <a:cubicBezTo>
                  <a:pt x="5432207" y="632749"/>
                  <a:pt x="5456917" y="608039"/>
                  <a:pt x="5487399" y="608039"/>
                </a:cubicBezTo>
                <a:close/>
                <a:moveTo>
                  <a:pt x="5357106" y="608039"/>
                </a:moveTo>
                <a:cubicBezTo>
                  <a:pt x="5387588" y="608039"/>
                  <a:pt x="5412298" y="632749"/>
                  <a:pt x="5412298" y="663230"/>
                </a:cubicBezTo>
                <a:cubicBezTo>
                  <a:pt x="5412298" y="693711"/>
                  <a:pt x="5387588" y="718421"/>
                  <a:pt x="5357106" y="718421"/>
                </a:cubicBezTo>
                <a:cubicBezTo>
                  <a:pt x="5326624" y="718421"/>
                  <a:pt x="5301914" y="693711"/>
                  <a:pt x="5301914" y="663230"/>
                </a:cubicBezTo>
                <a:cubicBezTo>
                  <a:pt x="5301914" y="632749"/>
                  <a:pt x="5326624" y="608039"/>
                  <a:pt x="5357106" y="608039"/>
                </a:cubicBezTo>
                <a:close/>
                <a:moveTo>
                  <a:pt x="5223473" y="608038"/>
                </a:moveTo>
                <a:cubicBezTo>
                  <a:pt x="5253955" y="608038"/>
                  <a:pt x="5278665" y="632748"/>
                  <a:pt x="5278665" y="663229"/>
                </a:cubicBezTo>
                <a:cubicBezTo>
                  <a:pt x="5278665" y="693710"/>
                  <a:pt x="5253955" y="718420"/>
                  <a:pt x="5223473" y="718420"/>
                </a:cubicBezTo>
                <a:cubicBezTo>
                  <a:pt x="5192991" y="718420"/>
                  <a:pt x="5168281" y="693710"/>
                  <a:pt x="5168281" y="663229"/>
                </a:cubicBezTo>
                <a:cubicBezTo>
                  <a:pt x="5168281" y="632748"/>
                  <a:pt x="5192991" y="608038"/>
                  <a:pt x="5223473" y="608038"/>
                </a:cubicBezTo>
                <a:close/>
                <a:moveTo>
                  <a:pt x="4030786" y="608038"/>
                </a:moveTo>
                <a:cubicBezTo>
                  <a:pt x="4061268" y="608038"/>
                  <a:pt x="4085978" y="632748"/>
                  <a:pt x="4085978" y="663229"/>
                </a:cubicBezTo>
                <a:cubicBezTo>
                  <a:pt x="4085978" y="693710"/>
                  <a:pt x="4061268" y="718420"/>
                  <a:pt x="4030786" y="718420"/>
                </a:cubicBezTo>
                <a:cubicBezTo>
                  <a:pt x="4000304" y="718420"/>
                  <a:pt x="3975594" y="693710"/>
                  <a:pt x="3975594" y="663229"/>
                </a:cubicBezTo>
                <a:cubicBezTo>
                  <a:pt x="3975594" y="632748"/>
                  <a:pt x="4000304" y="608038"/>
                  <a:pt x="4030786" y="608038"/>
                </a:cubicBezTo>
                <a:close/>
                <a:moveTo>
                  <a:pt x="3897148" y="608038"/>
                </a:moveTo>
                <a:cubicBezTo>
                  <a:pt x="3927630" y="608038"/>
                  <a:pt x="3952340" y="632748"/>
                  <a:pt x="3952340" y="663229"/>
                </a:cubicBezTo>
                <a:cubicBezTo>
                  <a:pt x="3952340" y="693710"/>
                  <a:pt x="3927630" y="718420"/>
                  <a:pt x="3897148" y="718420"/>
                </a:cubicBezTo>
                <a:cubicBezTo>
                  <a:pt x="3866666" y="718420"/>
                  <a:pt x="3841956" y="693710"/>
                  <a:pt x="3841956" y="663229"/>
                </a:cubicBezTo>
                <a:cubicBezTo>
                  <a:pt x="3841956" y="632748"/>
                  <a:pt x="3866666" y="608038"/>
                  <a:pt x="3897148" y="608038"/>
                </a:cubicBezTo>
                <a:close/>
                <a:moveTo>
                  <a:pt x="3763514" y="608038"/>
                </a:moveTo>
                <a:cubicBezTo>
                  <a:pt x="3793996" y="608038"/>
                  <a:pt x="3818706" y="632748"/>
                  <a:pt x="3818706" y="663229"/>
                </a:cubicBezTo>
                <a:cubicBezTo>
                  <a:pt x="3818706" y="693710"/>
                  <a:pt x="3793996" y="718420"/>
                  <a:pt x="3763514" y="718420"/>
                </a:cubicBezTo>
                <a:cubicBezTo>
                  <a:pt x="3733032" y="718420"/>
                  <a:pt x="3708322" y="693710"/>
                  <a:pt x="3708322" y="663229"/>
                </a:cubicBezTo>
                <a:cubicBezTo>
                  <a:pt x="3708322" y="632748"/>
                  <a:pt x="3733032" y="608038"/>
                  <a:pt x="3763514" y="608038"/>
                </a:cubicBezTo>
                <a:close/>
                <a:moveTo>
                  <a:pt x="3633221" y="608038"/>
                </a:moveTo>
                <a:cubicBezTo>
                  <a:pt x="3663703" y="608038"/>
                  <a:pt x="3688413" y="632748"/>
                  <a:pt x="3688413" y="663229"/>
                </a:cubicBezTo>
                <a:cubicBezTo>
                  <a:pt x="3688413" y="693710"/>
                  <a:pt x="3663703" y="718420"/>
                  <a:pt x="3633221" y="718420"/>
                </a:cubicBezTo>
                <a:cubicBezTo>
                  <a:pt x="3602739" y="718420"/>
                  <a:pt x="3578029" y="693710"/>
                  <a:pt x="3578029" y="663229"/>
                </a:cubicBezTo>
                <a:cubicBezTo>
                  <a:pt x="3578029" y="632748"/>
                  <a:pt x="3602739" y="608038"/>
                  <a:pt x="3633221" y="608038"/>
                </a:cubicBezTo>
                <a:close/>
                <a:moveTo>
                  <a:pt x="3499589" y="608038"/>
                </a:moveTo>
                <a:cubicBezTo>
                  <a:pt x="3530071" y="608038"/>
                  <a:pt x="3554781" y="632748"/>
                  <a:pt x="3554781" y="663229"/>
                </a:cubicBezTo>
                <a:cubicBezTo>
                  <a:pt x="3554781" y="693710"/>
                  <a:pt x="3530071" y="718420"/>
                  <a:pt x="3499589" y="718420"/>
                </a:cubicBezTo>
                <a:cubicBezTo>
                  <a:pt x="3469107" y="718420"/>
                  <a:pt x="3444397" y="693710"/>
                  <a:pt x="3444397" y="663229"/>
                </a:cubicBezTo>
                <a:cubicBezTo>
                  <a:pt x="3444397" y="632748"/>
                  <a:pt x="3469107" y="608038"/>
                  <a:pt x="3499589" y="608038"/>
                </a:cubicBezTo>
                <a:close/>
                <a:moveTo>
                  <a:pt x="3369292" y="608038"/>
                </a:moveTo>
                <a:cubicBezTo>
                  <a:pt x="3399774" y="608038"/>
                  <a:pt x="3424484" y="632748"/>
                  <a:pt x="3424484" y="663229"/>
                </a:cubicBezTo>
                <a:cubicBezTo>
                  <a:pt x="3424484" y="693710"/>
                  <a:pt x="3399774" y="718420"/>
                  <a:pt x="3369292" y="718420"/>
                </a:cubicBezTo>
                <a:cubicBezTo>
                  <a:pt x="3338810" y="718420"/>
                  <a:pt x="3314100" y="693710"/>
                  <a:pt x="3314100" y="663229"/>
                </a:cubicBezTo>
                <a:cubicBezTo>
                  <a:pt x="3314100" y="632748"/>
                  <a:pt x="3338810" y="608038"/>
                  <a:pt x="3369292" y="608038"/>
                </a:cubicBezTo>
                <a:close/>
                <a:moveTo>
                  <a:pt x="3235657" y="608038"/>
                </a:moveTo>
                <a:cubicBezTo>
                  <a:pt x="3266139" y="608038"/>
                  <a:pt x="3290849" y="632748"/>
                  <a:pt x="3290849" y="663229"/>
                </a:cubicBezTo>
                <a:cubicBezTo>
                  <a:pt x="3290849" y="693710"/>
                  <a:pt x="3266139" y="718420"/>
                  <a:pt x="3235657" y="718420"/>
                </a:cubicBezTo>
                <a:cubicBezTo>
                  <a:pt x="3205175" y="718420"/>
                  <a:pt x="3180465" y="693710"/>
                  <a:pt x="3180465" y="663229"/>
                </a:cubicBezTo>
                <a:cubicBezTo>
                  <a:pt x="3180465" y="632748"/>
                  <a:pt x="3205175" y="608038"/>
                  <a:pt x="3235657" y="608038"/>
                </a:cubicBezTo>
                <a:close/>
                <a:moveTo>
                  <a:pt x="2570932" y="608038"/>
                </a:moveTo>
                <a:cubicBezTo>
                  <a:pt x="2601414" y="608038"/>
                  <a:pt x="2626123" y="632748"/>
                  <a:pt x="2626123" y="663229"/>
                </a:cubicBezTo>
                <a:cubicBezTo>
                  <a:pt x="2626123" y="693710"/>
                  <a:pt x="2601414" y="718420"/>
                  <a:pt x="2570932" y="718420"/>
                </a:cubicBezTo>
                <a:cubicBezTo>
                  <a:pt x="2540449" y="718420"/>
                  <a:pt x="2515738" y="693710"/>
                  <a:pt x="2515738" y="663229"/>
                </a:cubicBezTo>
                <a:cubicBezTo>
                  <a:pt x="2515738" y="632748"/>
                  <a:pt x="2540449" y="608038"/>
                  <a:pt x="2570932" y="608038"/>
                </a:cubicBezTo>
                <a:close/>
                <a:moveTo>
                  <a:pt x="2437297" y="608038"/>
                </a:moveTo>
                <a:cubicBezTo>
                  <a:pt x="2467779" y="608038"/>
                  <a:pt x="2492487" y="632748"/>
                  <a:pt x="2492487" y="663229"/>
                </a:cubicBezTo>
                <a:cubicBezTo>
                  <a:pt x="2492487" y="693710"/>
                  <a:pt x="2467779" y="718420"/>
                  <a:pt x="2437297" y="718420"/>
                </a:cubicBezTo>
                <a:cubicBezTo>
                  <a:pt x="2406818" y="718420"/>
                  <a:pt x="2382108" y="693710"/>
                  <a:pt x="2382108" y="663229"/>
                </a:cubicBezTo>
                <a:cubicBezTo>
                  <a:pt x="2382108" y="632748"/>
                  <a:pt x="2406818" y="608038"/>
                  <a:pt x="2437297" y="608038"/>
                </a:cubicBezTo>
                <a:close/>
                <a:moveTo>
                  <a:pt x="2303664" y="608038"/>
                </a:moveTo>
                <a:cubicBezTo>
                  <a:pt x="2334145" y="608038"/>
                  <a:pt x="2358856" y="632748"/>
                  <a:pt x="2358856" y="663229"/>
                </a:cubicBezTo>
                <a:cubicBezTo>
                  <a:pt x="2358856" y="693710"/>
                  <a:pt x="2334145" y="718420"/>
                  <a:pt x="2303664" y="718420"/>
                </a:cubicBezTo>
                <a:cubicBezTo>
                  <a:pt x="2273182" y="718420"/>
                  <a:pt x="2248473" y="693710"/>
                  <a:pt x="2248473" y="663229"/>
                </a:cubicBezTo>
                <a:cubicBezTo>
                  <a:pt x="2248473" y="632748"/>
                  <a:pt x="2273182" y="608038"/>
                  <a:pt x="2303664" y="608038"/>
                </a:cubicBezTo>
                <a:close/>
                <a:moveTo>
                  <a:pt x="2173372" y="608038"/>
                </a:moveTo>
                <a:cubicBezTo>
                  <a:pt x="2203854" y="608038"/>
                  <a:pt x="2228565" y="632748"/>
                  <a:pt x="2228565" y="663229"/>
                </a:cubicBezTo>
                <a:cubicBezTo>
                  <a:pt x="2228565" y="693710"/>
                  <a:pt x="2203854" y="718420"/>
                  <a:pt x="2173372" y="718420"/>
                </a:cubicBezTo>
                <a:cubicBezTo>
                  <a:pt x="2142889" y="718420"/>
                  <a:pt x="2118180" y="693710"/>
                  <a:pt x="2118180" y="663229"/>
                </a:cubicBezTo>
                <a:cubicBezTo>
                  <a:pt x="2118180" y="632748"/>
                  <a:pt x="2142889" y="608038"/>
                  <a:pt x="2173372" y="608038"/>
                </a:cubicBezTo>
                <a:close/>
                <a:moveTo>
                  <a:pt x="2039736" y="608038"/>
                </a:moveTo>
                <a:cubicBezTo>
                  <a:pt x="2070218" y="608038"/>
                  <a:pt x="2094930" y="632748"/>
                  <a:pt x="2094930" y="663229"/>
                </a:cubicBezTo>
                <a:cubicBezTo>
                  <a:pt x="2094930" y="693710"/>
                  <a:pt x="2070218" y="718420"/>
                  <a:pt x="2039736" y="718420"/>
                </a:cubicBezTo>
                <a:cubicBezTo>
                  <a:pt x="2009254" y="718420"/>
                  <a:pt x="1984543" y="693710"/>
                  <a:pt x="1984543" y="663229"/>
                </a:cubicBezTo>
                <a:cubicBezTo>
                  <a:pt x="1984543" y="632748"/>
                  <a:pt x="2009254" y="608038"/>
                  <a:pt x="2039736" y="608038"/>
                </a:cubicBezTo>
                <a:close/>
                <a:moveTo>
                  <a:pt x="1909437" y="608038"/>
                </a:moveTo>
                <a:cubicBezTo>
                  <a:pt x="1939921" y="608038"/>
                  <a:pt x="1964630" y="632748"/>
                  <a:pt x="1964630" y="663229"/>
                </a:cubicBezTo>
                <a:cubicBezTo>
                  <a:pt x="1964630" y="693710"/>
                  <a:pt x="1939921" y="718420"/>
                  <a:pt x="1909437" y="718420"/>
                </a:cubicBezTo>
                <a:cubicBezTo>
                  <a:pt x="1878955" y="718420"/>
                  <a:pt x="1854244" y="693710"/>
                  <a:pt x="1854244" y="663229"/>
                </a:cubicBezTo>
                <a:cubicBezTo>
                  <a:pt x="1854244" y="632748"/>
                  <a:pt x="1878955" y="608038"/>
                  <a:pt x="1909437" y="608038"/>
                </a:cubicBezTo>
                <a:close/>
                <a:moveTo>
                  <a:pt x="1779142" y="608038"/>
                </a:moveTo>
                <a:cubicBezTo>
                  <a:pt x="1809626" y="608038"/>
                  <a:pt x="1834335" y="632748"/>
                  <a:pt x="1834335" y="663229"/>
                </a:cubicBezTo>
                <a:cubicBezTo>
                  <a:pt x="1834335" y="693710"/>
                  <a:pt x="1809626" y="718420"/>
                  <a:pt x="1779142" y="718420"/>
                </a:cubicBezTo>
                <a:cubicBezTo>
                  <a:pt x="1748663" y="718420"/>
                  <a:pt x="1723950" y="693710"/>
                  <a:pt x="1723950" y="663229"/>
                </a:cubicBezTo>
                <a:cubicBezTo>
                  <a:pt x="1723950" y="632748"/>
                  <a:pt x="1748663" y="608038"/>
                  <a:pt x="1779142" y="608038"/>
                </a:cubicBezTo>
                <a:close/>
                <a:moveTo>
                  <a:pt x="1645508" y="608038"/>
                </a:moveTo>
                <a:cubicBezTo>
                  <a:pt x="1675988" y="608038"/>
                  <a:pt x="1700702" y="632748"/>
                  <a:pt x="1700702" y="663229"/>
                </a:cubicBezTo>
                <a:cubicBezTo>
                  <a:pt x="1700702" y="693710"/>
                  <a:pt x="1675988" y="718420"/>
                  <a:pt x="1645508" y="718420"/>
                </a:cubicBezTo>
                <a:cubicBezTo>
                  <a:pt x="1615024" y="718420"/>
                  <a:pt x="1590311" y="693710"/>
                  <a:pt x="1590311" y="663229"/>
                </a:cubicBezTo>
                <a:cubicBezTo>
                  <a:pt x="1590311" y="632748"/>
                  <a:pt x="1615024" y="608038"/>
                  <a:pt x="1645508" y="608038"/>
                </a:cubicBezTo>
                <a:close/>
                <a:moveTo>
                  <a:pt x="1515217" y="608038"/>
                </a:moveTo>
                <a:cubicBezTo>
                  <a:pt x="1545695" y="608038"/>
                  <a:pt x="1570402" y="632748"/>
                  <a:pt x="1570402" y="663229"/>
                </a:cubicBezTo>
                <a:cubicBezTo>
                  <a:pt x="1570402" y="693710"/>
                  <a:pt x="1545695" y="718420"/>
                  <a:pt x="1515217" y="718420"/>
                </a:cubicBezTo>
                <a:cubicBezTo>
                  <a:pt x="1484732" y="718420"/>
                  <a:pt x="1460020" y="693710"/>
                  <a:pt x="1460020" y="663229"/>
                </a:cubicBezTo>
                <a:cubicBezTo>
                  <a:pt x="1460020" y="632748"/>
                  <a:pt x="1484732" y="608038"/>
                  <a:pt x="1515217" y="608038"/>
                </a:cubicBezTo>
                <a:close/>
                <a:moveTo>
                  <a:pt x="1381573" y="608038"/>
                </a:moveTo>
                <a:cubicBezTo>
                  <a:pt x="1412057" y="608038"/>
                  <a:pt x="1436767" y="632748"/>
                  <a:pt x="1436767" y="663229"/>
                </a:cubicBezTo>
                <a:cubicBezTo>
                  <a:pt x="1436767" y="693710"/>
                  <a:pt x="1412057" y="718420"/>
                  <a:pt x="1381573" y="718420"/>
                </a:cubicBezTo>
                <a:cubicBezTo>
                  <a:pt x="1351097" y="718420"/>
                  <a:pt x="1326384" y="693710"/>
                  <a:pt x="1326384" y="663229"/>
                </a:cubicBezTo>
                <a:cubicBezTo>
                  <a:pt x="1326384" y="632748"/>
                  <a:pt x="1351097" y="608038"/>
                  <a:pt x="1381573" y="608038"/>
                </a:cubicBezTo>
                <a:close/>
                <a:moveTo>
                  <a:pt x="1251282" y="608038"/>
                </a:moveTo>
                <a:cubicBezTo>
                  <a:pt x="1281766" y="608038"/>
                  <a:pt x="1306476" y="632748"/>
                  <a:pt x="1306476" y="663229"/>
                </a:cubicBezTo>
                <a:cubicBezTo>
                  <a:pt x="1306476" y="693710"/>
                  <a:pt x="1281766" y="718420"/>
                  <a:pt x="1251282" y="718420"/>
                </a:cubicBezTo>
                <a:cubicBezTo>
                  <a:pt x="1220801" y="718420"/>
                  <a:pt x="1196089" y="693710"/>
                  <a:pt x="1196089" y="663229"/>
                </a:cubicBezTo>
                <a:cubicBezTo>
                  <a:pt x="1196089" y="632748"/>
                  <a:pt x="1220801" y="608038"/>
                  <a:pt x="1251282" y="608038"/>
                </a:cubicBezTo>
                <a:close/>
                <a:moveTo>
                  <a:pt x="8143386" y="494447"/>
                </a:moveTo>
                <a:cubicBezTo>
                  <a:pt x="8173868" y="494447"/>
                  <a:pt x="8198578" y="519157"/>
                  <a:pt x="8198578" y="549638"/>
                </a:cubicBezTo>
                <a:cubicBezTo>
                  <a:pt x="8198578" y="580119"/>
                  <a:pt x="8173868" y="604829"/>
                  <a:pt x="8143386" y="604829"/>
                </a:cubicBezTo>
                <a:cubicBezTo>
                  <a:pt x="8112904" y="604829"/>
                  <a:pt x="8088194" y="580119"/>
                  <a:pt x="8088194" y="549638"/>
                </a:cubicBezTo>
                <a:cubicBezTo>
                  <a:pt x="8088194" y="519157"/>
                  <a:pt x="8112904" y="494447"/>
                  <a:pt x="8143386" y="494447"/>
                </a:cubicBezTo>
                <a:close/>
                <a:moveTo>
                  <a:pt x="8009753" y="494447"/>
                </a:moveTo>
                <a:cubicBezTo>
                  <a:pt x="8040235" y="494447"/>
                  <a:pt x="8064945" y="519157"/>
                  <a:pt x="8064945" y="549638"/>
                </a:cubicBezTo>
                <a:cubicBezTo>
                  <a:pt x="8064945" y="580119"/>
                  <a:pt x="8040235" y="604829"/>
                  <a:pt x="8009753" y="604829"/>
                </a:cubicBezTo>
                <a:cubicBezTo>
                  <a:pt x="7979271" y="604829"/>
                  <a:pt x="7954561" y="580119"/>
                  <a:pt x="7954561" y="549638"/>
                </a:cubicBezTo>
                <a:cubicBezTo>
                  <a:pt x="7954561" y="519157"/>
                  <a:pt x="7979271" y="494447"/>
                  <a:pt x="8009753" y="494447"/>
                </a:cubicBezTo>
                <a:close/>
                <a:moveTo>
                  <a:pt x="7876118" y="494447"/>
                </a:moveTo>
                <a:cubicBezTo>
                  <a:pt x="7906600" y="494447"/>
                  <a:pt x="7931310" y="519157"/>
                  <a:pt x="7931310" y="549638"/>
                </a:cubicBezTo>
                <a:cubicBezTo>
                  <a:pt x="7931310" y="580119"/>
                  <a:pt x="7906600" y="604829"/>
                  <a:pt x="7876118" y="604829"/>
                </a:cubicBezTo>
                <a:cubicBezTo>
                  <a:pt x="7845636" y="604829"/>
                  <a:pt x="7820926" y="580119"/>
                  <a:pt x="7820926" y="549638"/>
                </a:cubicBezTo>
                <a:cubicBezTo>
                  <a:pt x="7820926" y="519157"/>
                  <a:pt x="7845636" y="494447"/>
                  <a:pt x="7876118" y="494447"/>
                </a:cubicBezTo>
                <a:close/>
                <a:moveTo>
                  <a:pt x="7745824" y="494447"/>
                </a:moveTo>
                <a:cubicBezTo>
                  <a:pt x="7776306" y="494447"/>
                  <a:pt x="7801016" y="519157"/>
                  <a:pt x="7801016" y="549638"/>
                </a:cubicBezTo>
                <a:cubicBezTo>
                  <a:pt x="7801016" y="580119"/>
                  <a:pt x="7776306" y="604829"/>
                  <a:pt x="7745824" y="604829"/>
                </a:cubicBezTo>
                <a:cubicBezTo>
                  <a:pt x="7715342" y="604829"/>
                  <a:pt x="7690632" y="580119"/>
                  <a:pt x="7690632" y="549638"/>
                </a:cubicBezTo>
                <a:cubicBezTo>
                  <a:pt x="7690632" y="519157"/>
                  <a:pt x="7715342" y="494447"/>
                  <a:pt x="7745824" y="494447"/>
                </a:cubicBezTo>
                <a:close/>
                <a:moveTo>
                  <a:pt x="7608850" y="494447"/>
                </a:moveTo>
                <a:cubicBezTo>
                  <a:pt x="7639332" y="494447"/>
                  <a:pt x="7664042" y="519157"/>
                  <a:pt x="7664042" y="549638"/>
                </a:cubicBezTo>
                <a:cubicBezTo>
                  <a:pt x="7664042" y="580119"/>
                  <a:pt x="7639332" y="604829"/>
                  <a:pt x="7608850" y="604829"/>
                </a:cubicBezTo>
                <a:cubicBezTo>
                  <a:pt x="7578368" y="604829"/>
                  <a:pt x="7553658" y="580119"/>
                  <a:pt x="7553658" y="549638"/>
                </a:cubicBezTo>
                <a:cubicBezTo>
                  <a:pt x="7553658" y="519157"/>
                  <a:pt x="7578368" y="494447"/>
                  <a:pt x="7608850" y="494447"/>
                </a:cubicBezTo>
                <a:close/>
                <a:moveTo>
                  <a:pt x="7481895" y="494447"/>
                </a:moveTo>
                <a:cubicBezTo>
                  <a:pt x="7512377" y="494447"/>
                  <a:pt x="7537087" y="519157"/>
                  <a:pt x="7537087" y="549638"/>
                </a:cubicBezTo>
                <a:cubicBezTo>
                  <a:pt x="7537087" y="580119"/>
                  <a:pt x="7512377" y="604829"/>
                  <a:pt x="7481895" y="604829"/>
                </a:cubicBezTo>
                <a:cubicBezTo>
                  <a:pt x="7451413" y="604829"/>
                  <a:pt x="7426703" y="580119"/>
                  <a:pt x="7426703" y="549638"/>
                </a:cubicBezTo>
                <a:cubicBezTo>
                  <a:pt x="7426703" y="519157"/>
                  <a:pt x="7451413" y="494447"/>
                  <a:pt x="7481895" y="494447"/>
                </a:cubicBezTo>
                <a:close/>
                <a:moveTo>
                  <a:pt x="7341580" y="494447"/>
                </a:moveTo>
                <a:cubicBezTo>
                  <a:pt x="7372062" y="494447"/>
                  <a:pt x="7396772" y="519157"/>
                  <a:pt x="7396772" y="549638"/>
                </a:cubicBezTo>
                <a:cubicBezTo>
                  <a:pt x="7396772" y="580119"/>
                  <a:pt x="7372062" y="604829"/>
                  <a:pt x="7341580" y="604829"/>
                </a:cubicBezTo>
                <a:cubicBezTo>
                  <a:pt x="7311098" y="604829"/>
                  <a:pt x="7286388" y="580119"/>
                  <a:pt x="7286388" y="549638"/>
                </a:cubicBezTo>
                <a:cubicBezTo>
                  <a:pt x="7286388" y="519157"/>
                  <a:pt x="7311098" y="494447"/>
                  <a:pt x="7341580" y="494447"/>
                </a:cubicBezTo>
                <a:close/>
                <a:moveTo>
                  <a:pt x="7211286" y="494447"/>
                </a:moveTo>
                <a:cubicBezTo>
                  <a:pt x="7241768" y="494447"/>
                  <a:pt x="7266478" y="519157"/>
                  <a:pt x="7266478" y="549638"/>
                </a:cubicBezTo>
                <a:cubicBezTo>
                  <a:pt x="7266478" y="580119"/>
                  <a:pt x="7241768" y="604829"/>
                  <a:pt x="7211286" y="604829"/>
                </a:cubicBezTo>
                <a:cubicBezTo>
                  <a:pt x="7180804" y="604829"/>
                  <a:pt x="7156094" y="580119"/>
                  <a:pt x="7156094" y="549638"/>
                </a:cubicBezTo>
                <a:cubicBezTo>
                  <a:pt x="7156094" y="519157"/>
                  <a:pt x="7180804" y="494447"/>
                  <a:pt x="7211286" y="494447"/>
                </a:cubicBezTo>
                <a:close/>
                <a:moveTo>
                  <a:pt x="7080994" y="494447"/>
                </a:moveTo>
                <a:cubicBezTo>
                  <a:pt x="7111476" y="494447"/>
                  <a:pt x="7136186" y="519157"/>
                  <a:pt x="7136186" y="549638"/>
                </a:cubicBezTo>
                <a:cubicBezTo>
                  <a:pt x="7136186" y="580119"/>
                  <a:pt x="7111476" y="604829"/>
                  <a:pt x="7080994" y="604829"/>
                </a:cubicBezTo>
                <a:cubicBezTo>
                  <a:pt x="7050512" y="604829"/>
                  <a:pt x="7025802" y="580119"/>
                  <a:pt x="7025802" y="549638"/>
                </a:cubicBezTo>
                <a:cubicBezTo>
                  <a:pt x="7025802" y="519157"/>
                  <a:pt x="7050512" y="494447"/>
                  <a:pt x="7080994" y="494447"/>
                </a:cubicBezTo>
                <a:close/>
                <a:moveTo>
                  <a:pt x="6947358" y="494447"/>
                </a:moveTo>
                <a:cubicBezTo>
                  <a:pt x="6977840" y="494447"/>
                  <a:pt x="7002550" y="519157"/>
                  <a:pt x="7002550" y="549638"/>
                </a:cubicBezTo>
                <a:cubicBezTo>
                  <a:pt x="7002550" y="580119"/>
                  <a:pt x="6977840" y="604829"/>
                  <a:pt x="6947358" y="604829"/>
                </a:cubicBezTo>
                <a:cubicBezTo>
                  <a:pt x="6916876" y="604829"/>
                  <a:pt x="6892166" y="580119"/>
                  <a:pt x="6892166" y="549638"/>
                </a:cubicBezTo>
                <a:cubicBezTo>
                  <a:pt x="6892166" y="519157"/>
                  <a:pt x="6916876" y="494447"/>
                  <a:pt x="6947358" y="494447"/>
                </a:cubicBezTo>
                <a:close/>
                <a:moveTo>
                  <a:pt x="6289207" y="494447"/>
                </a:moveTo>
                <a:cubicBezTo>
                  <a:pt x="6319689" y="494447"/>
                  <a:pt x="6344399" y="519157"/>
                  <a:pt x="6344399" y="549638"/>
                </a:cubicBezTo>
                <a:cubicBezTo>
                  <a:pt x="6344399" y="580119"/>
                  <a:pt x="6319689" y="604829"/>
                  <a:pt x="6289207" y="604829"/>
                </a:cubicBezTo>
                <a:cubicBezTo>
                  <a:pt x="6258725" y="604829"/>
                  <a:pt x="6234015" y="580119"/>
                  <a:pt x="6234015" y="549638"/>
                </a:cubicBezTo>
                <a:cubicBezTo>
                  <a:pt x="6234015" y="519157"/>
                  <a:pt x="6258725" y="494447"/>
                  <a:pt x="6289207" y="494447"/>
                </a:cubicBezTo>
                <a:close/>
                <a:moveTo>
                  <a:pt x="4030786" y="494447"/>
                </a:moveTo>
                <a:cubicBezTo>
                  <a:pt x="4061268" y="494447"/>
                  <a:pt x="4085978" y="519157"/>
                  <a:pt x="4085978" y="549638"/>
                </a:cubicBezTo>
                <a:cubicBezTo>
                  <a:pt x="4085978" y="580119"/>
                  <a:pt x="4061268" y="604829"/>
                  <a:pt x="4030786" y="604829"/>
                </a:cubicBezTo>
                <a:cubicBezTo>
                  <a:pt x="4000304" y="604829"/>
                  <a:pt x="3975594" y="580119"/>
                  <a:pt x="3975594" y="549638"/>
                </a:cubicBezTo>
                <a:cubicBezTo>
                  <a:pt x="3975594" y="519157"/>
                  <a:pt x="4000304" y="494447"/>
                  <a:pt x="4030786" y="494447"/>
                </a:cubicBezTo>
                <a:close/>
                <a:moveTo>
                  <a:pt x="3897148" y="494447"/>
                </a:moveTo>
                <a:cubicBezTo>
                  <a:pt x="3927630" y="494447"/>
                  <a:pt x="3952340" y="519157"/>
                  <a:pt x="3952340" y="549638"/>
                </a:cubicBezTo>
                <a:cubicBezTo>
                  <a:pt x="3952340" y="580119"/>
                  <a:pt x="3927630" y="604829"/>
                  <a:pt x="3897148" y="604829"/>
                </a:cubicBezTo>
                <a:cubicBezTo>
                  <a:pt x="3866666" y="604829"/>
                  <a:pt x="3841956" y="580119"/>
                  <a:pt x="3841956" y="549638"/>
                </a:cubicBezTo>
                <a:cubicBezTo>
                  <a:pt x="3841956" y="519157"/>
                  <a:pt x="3866666" y="494447"/>
                  <a:pt x="3897148" y="494447"/>
                </a:cubicBezTo>
                <a:close/>
                <a:moveTo>
                  <a:pt x="3763514" y="494447"/>
                </a:moveTo>
                <a:cubicBezTo>
                  <a:pt x="3793996" y="494447"/>
                  <a:pt x="3818706" y="519157"/>
                  <a:pt x="3818706" y="549638"/>
                </a:cubicBezTo>
                <a:cubicBezTo>
                  <a:pt x="3818706" y="580119"/>
                  <a:pt x="3793996" y="604829"/>
                  <a:pt x="3763514" y="604829"/>
                </a:cubicBezTo>
                <a:cubicBezTo>
                  <a:pt x="3733032" y="604829"/>
                  <a:pt x="3708322" y="580119"/>
                  <a:pt x="3708322" y="549638"/>
                </a:cubicBezTo>
                <a:cubicBezTo>
                  <a:pt x="3708322" y="519157"/>
                  <a:pt x="3733032" y="494447"/>
                  <a:pt x="3763514" y="494447"/>
                </a:cubicBezTo>
                <a:close/>
                <a:moveTo>
                  <a:pt x="3633221" y="494447"/>
                </a:moveTo>
                <a:cubicBezTo>
                  <a:pt x="3663703" y="494447"/>
                  <a:pt x="3688413" y="519157"/>
                  <a:pt x="3688413" y="549638"/>
                </a:cubicBezTo>
                <a:cubicBezTo>
                  <a:pt x="3688413" y="580119"/>
                  <a:pt x="3663703" y="604829"/>
                  <a:pt x="3633221" y="604829"/>
                </a:cubicBezTo>
                <a:cubicBezTo>
                  <a:pt x="3602739" y="604829"/>
                  <a:pt x="3578029" y="580119"/>
                  <a:pt x="3578029" y="549638"/>
                </a:cubicBezTo>
                <a:cubicBezTo>
                  <a:pt x="3578029" y="519157"/>
                  <a:pt x="3602739" y="494447"/>
                  <a:pt x="3633221" y="494447"/>
                </a:cubicBezTo>
                <a:close/>
                <a:moveTo>
                  <a:pt x="3499589" y="494447"/>
                </a:moveTo>
                <a:cubicBezTo>
                  <a:pt x="3530071" y="494447"/>
                  <a:pt x="3554781" y="519157"/>
                  <a:pt x="3554781" y="549638"/>
                </a:cubicBezTo>
                <a:cubicBezTo>
                  <a:pt x="3554781" y="580119"/>
                  <a:pt x="3530071" y="604829"/>
                  <a:pt x="3499589" y="604829"/>
                </a:cubicBezTo>
                <a:cubicBezTo>
                  <a:pt x="3469107" y="604829"/>
                  <a:pt x="3444397" y="580119"/>
                  <a:pt x="3444397" y="549638"/>
                </a:cubicBezTo>
                <a:cubicBezTo>
                  <a:pt x="3444397" y="519157"/>
                  <a:pt x="3469107" y="494447"/>
                  <a:pt x="3499589" y="494447"/>
                </a:cubicBezTo>
                <a:close/>
                <a:moveTo>
                  <a:pt x="3369292" y="494447"/>
                </a:moveTo>
                <a:cubicBezTo>
                  <a:pt x="3399774" y="494447"/>
                  <a:pt x="3424484" y="519157"/>
                  <a:pt x="3424484" y="549638"/>
                </a:cubicBezTo>
                <a:cubicBezTo>
                  <a:pt x="3424484" y="580119"/>
                  <a:pt x="3399774" y="604829"/>
                  <a:pt x="3369292" y="604829"/>
                </a:cubicBezTo>
                <a:cubicBezTo>
                  <a:pt x="3338810" y="604829"/>
                  <a:pt x="3314100" y="580119"/>
                  <a:pt x="3314100" y="549638"/>
                </a:cubicBezTo>
                <a:cubicBezTo>
                  <a:pt x="3314100" y="519157"/>
                  <a:pt x="3338810" y="494447"/>
                  <a:pt x="3369292" y="494447"/>
                </a:cubicBezTo>
                <a:close/>
                <a:moveTo>
                  <a:pt x="3235657" y="494447"/>
                </a:moveTo>
                <a:cubicBezTo>
                  <a:pt x="3266139" y="494447"/>
                  <a:pt x="3290849" y="519157"/>
                  <a:pt x="3290849" y="549638"/>
                </a:cubicBezTo>
                <a:cubicBezTo>
                  <a:pt x="3290849" y="580119"/>
                  <a:pt x="3266139" y="604829"/>
                  <a:pt x="3235657" y="604829"/>
                </a:cubicBezTo>
                <a:cubicBezTo>
                  <a:pt x="3205175" y="604829"/>
                  <a:pt x="3180465" y="580119"/>
                  <a:pt x="3180465" y="549638"/>
                </a:cubicBezTo>
                <a:cubicBezTo>
                  <a:pt x="3180465" y="519157"/>
                  <a:pt x="3205175" y="494447"/>
                  <a:pt x="3235657" y="494447"/>
                </a:cubicBezTo>
                <a:close/>
                <a:moveTo>
                  <a:pt x="2437297" y="494447"/>
                </a:moveTo>
                <a:cubicBezTo>
                  <a:pt x="2467779" y="494447"/>
                  <a:pt x="2492487" y="519157"/>
                  <a:pt x="2492487" y="549638"/>
                </a:cubicBezTo>
                <a:cubicBezTo>
                  <a:pt x="2492487" y="580119"/>
                  <a:pt x="2467779" y="604829"/>
                  <a:pt x="2437297" y="604829"/>
                </a:cubicBezTo>
                <a:cubicBezTo>
                  <a:pt x="2406818" y="604829"/>
                  <a:pt x="2382108" y="580119"/>
                  <a:pt x="2382108" y="549638"/>
                </a:cubicBezTo>
                <a:cubicBezTo>
                  <a:pt x="2382108" y="519157"/>
                  <a:pt x="2406818" y="494447"/>
                  <a:pt x="2437297" y="494447"/>
                </a:cubicBezTo>
                <a:close/>
                <a:moveTo>
                  <a:pt x="2303664" y="494447"/>
                </a:moveTo>
                <a:cubicBezTo>
                  <a:pt x="2334145" y="494447"/>
                  <a:pt x="2358856" y="519157"/>
                  <a:pt x="2358856" y="549638"/>
                </a:cubicBezTo>
                <a:cubicBezTo>
                  <a:pt x="2358856" y="580119"/>
                  <a:pt x="2334145" y="604829"/>
                  <a:pt x="2303664" y="604829"/>
                </a:cubicBezTo>
                <a:cubicBezTo>
                  <a:pt x="2273182" y="604829"/>
                  <a:pt x="2248473" y="580119"/>
                  <a:pt x="2248473" y="549638"/>
                </a:cubicBezTo>
                <a:cubicBezTo>
                  <a:pt x="2248473" y="519157"/>
                  <a:pt x="2273182" y="494447"/>
                  <a:pt x="2303664" y="494447"/>
                </a:cubicBezTo>
                <a:close/>
                <a:moveTo>
                  <a:pt x="2173372" y="494447"/>
                </a:moveTo>
                <a:cubicBezTo>
                  <a:pt x="2203854" y="494447"/>
                  <a:pt x="2228565" y="519157"/>
                  <a:pt x="2228565" y="549638"/>
                </a:cubicBezTo>
                <a:cubicBezTo>
                  <a:pt x="2228565" y="580119"/>
                  <a:pt x="2203854" y="604829"/>
                  <a:pt x="2173372" y="604829"/>
                </a:cubicBezTo>
                <a:cubicBezTo>
                  <a:pt x="2142889" y="604829"/>
                  <a:pt x="2118180" y="580119"/>
                  <a:pt x="2118180" y="549638"/>
                </a:cubicBezTo>
                <a:cubicBezTo>
                  <a:pt x="2118180" y="519157"/>
                  <a:pt x="2142889" y="494447"/>
                  <a:pt x="2173372" y="494447"/>
                </a:cubicBezTo>
                <a:close/>
                <a:moveTo>
                  <a:pt x="2039736" y="494447"/>
                </a:moveTo>
                <a:cubicBezTo>
                  <a:pt x="2070218" y="494447"/>
                  <a:pt x="2094930" y="519157"/>
                  <a:pt x="2094930" y="549638"/>
                </a:cubicBezTo>
                <a:cubicBezTo>
                  <a:pt x="2094930" y="580119"/>
                  <a:pt x="2070218" y="604829"/>
                  <a:pt x="2039736" y="604829"/>
                </a:cubicBezTo>
                <a:cubicBezTo>
                  <a:pt x="2009254" y="604829"/>
                  <a:pt x="1984543" y="580119"/>
                  <a:pt x="1984543" y="549638"/>
                </a:cubicBezTo>
                <a:cubicBezTo>
                  <a:pt x="1984543" y="519157"/>
                  <a:pt x="2009254" y="494447"/>
                  <a:pt x="2039736" y="494447"/>
                </a:cubicBezTo>
                <a:close/>
                <a:moveTo>
                  <a:pt x="1909437" y="494447"/>
                </a:moveTo>
                <a:cubicBezTo>
                  <a:pt x="1939921" y="494447"/>
                  <a:pt x="1964630" y="519157"/>
                  <a:pt x="1964630" y="549638"/>
                </a:cubicBezTo>
                <a:cubicBezTo>
                  <a:pt x="1964630" y="580119"/>
                  <a:pt x="1939921" y="604829"/>
                  <a:pt x="1909437" y="604829"/>
                </a:cubicBezTo>
                <a:cubicBezTo>
                  <a:pt x="1878955" y="604829"/>
                  <a:pt x="1854244" y="580119"/>
                  <a:pt x="1854244" y="549638"/>
                </a:cubicBezTo>
                <a:cubicBezTo>
                  <a:pt x="1854244" y="519157"/>
                  <a:pt x="1878955" y="494447"/>
                  <a:pt x="1909437" y="494447"/>
                </a:cubicBezTo>
                <a:close/>
                <a:moveTo>
                  <a:pt x="1779142" y="494447"/>
                </a:moveTo>
                <a:cubicBezTo>
                  <a:pt x="1809626" y="494447"/>
                  <a:pt x="1834335" y="519157"/>
                  <a:pt x="1834335" y="549638"/>
                </a:cubicBezTo>
                <a:cubicBezTo>
                  <a:pt x="1834335" y="580119"/>
                  <a:pt x="1809626" y="604829"/>
                  <a:pt x="1779142" y="604829"/>
                </a:cubicBezTo>
                <a:cubicBezTo>
                  <a:pt x="1748663" y="604829"/>
                  <a:pt x="1723950" y="580119"/>
                  <a:pt x="1723950" y="549638"/>
                </a:cubicBezTo>
                <a:cubicBezTo>
                  <a:pt x="1723950" y="519157"/>
                  <a:pt x="1748663" y="494447"/>
                  <a:pt x="1779142" y="494447"/>
                </a:cubicBezTo>
                <a:close/>
                <a:moveTo>
                  <a:pt x="1645508" y="494447"/>
                </a:moveTo>
                <a:cubicBezTo>
                  <a:pt x="1675988" y="494447"/>
                  <a:pt x="1700702" y="519157"/>
                  <a:pt x="1700702" y="549638"/>
                </a:cubicBezTo>
                <a:cubicBezTo>
                  <a:pt x="1700702" y="580119"/>
                  <a:pt x="1675988" y="604829"/>
                  <a:pt x="1645508" y="604829"/>
                </a:cubicBezTo>
                <a:cubicBezTo>
                  <a:pt x="1615024" y="604829"/>
                  <a:pt x="1590311" y="580119"/>
                  <a:pt x="1590311" y="549638"/>
                </a:cubicBezTo>
                <a:cubicBezTo>
                  <a:pt x="1590311" y="519157"/>
                  <a:pt x="1615024" y="494447"/>
                  <a:pt x="1645508" y="494447"/>
                </a:cubicBezTo>
                <a:close/>
                <a:moveTo>
                  <a:pt x="1515217" y="494447"/>
                </a:moveTo>
                <a:cubicBezTo>
                  <a:pt x="1545695" y="494447"/>
                  <a:pt x="1570402" y="519157"/>
                  <a:pt x="1570402" y="549638"/>
                </a:cubicBezTo>
                <a:cubicBezTo>
                  <a:pt x="1570402" y="580119"/>
                  <a:pt x="1545695" y="604829"/>
                  <a:pt x="1515217" y="604829"/>
                </a:cubicBezTo>
                <a:cubicBezTo>
                  <a:pt x="1484732" y="604829"/>
                  <a:pt x="1460020" y="580119"/>
                  <a:pt x="1460020" y="549638"/>
                </a:cubicBezTo>
                <a:cubicBezTo>
                  <a:pt x="1460020" y="519157"/>
                  <a:pt x="1484732" y="494447"/>
                  <a:pt x="1515217" y="494447"/>
                </a:cubicBezTo>
                <a:close/>
                <a:moveTo>
                  <a:pt x="1381573" y="494447"/>
                </a:moveTo>
                <a:cubicBezTo>
                  <a:pt x="1412057" y="494447"/>
                  <a:pt x="1436767" y="519157"/>
                  <a:pt x="1436767" y="549638"/>
                </a:cubicBezTo>
                <a:cubicBezTo>
                  <a:pt x="1436767" y="580119"/>
                  <a:pt x="1412057" y="604829"/>
                  <a:pt x="1381573" y="604829"/>
                </a:cubicBezTo>
                <a:cubicBezTo>
                  <a:pt x="1351097" y="604829"/>
                  <a:pt x="1326384" y="580119"/>
                  <a:pt x="1326384" y="549638"/>
                </a:cubicBezTo>
                <a:cubicBezTo>
                  <a:pt x="1326384" y="519157"/>
                  <a:pt x="1351097" y="494447"/>
                  <a:pt x="1381573" y="494447"/>
                </a:cubicBezTo>
                <a:close/>
                <a:moveTo>
                  <a:pt x="1251282" y="494447"/>
                </a:moveTo>
                <a:cubicBezTo>
                  <a:pt x="1281766" y="494447"/>
                  <a:pt x="1306476" y="519157"/>
                  <a:pt x="1306476" y="549638"/>
                </a:cubicBezTo>
                <a:cubicBezTo>
                  <a:pt x="1306476" y="580119"/>
                  <a:pt x="1281766" y="604829"/>
                  <a:pt x="1251282" y="604829"/>
                </a:cubicBezTo>
                <a:cubicBezTo>
                  <a:pt x="1220801" y="604829"/>
                  <a:pt x="1196089" y="580119"/>
                  <a:pt x="1196089" y="549638"/>
                </a:cubicBezTo>
                <a:cubicBezTo>
                  <a:pt x="1196089" y="519157"/>
                  <a:pt x="1220801" y="494447"/>
                  <a:pt x="1251282" y="494447"/>
                </a:cubicBezTo>
                <a:close/>
                <a:moveTo>
                  <a:pt x="8801538" y="364154"/>
                </a:moveTo>
                <a:cubicBezTo>
                  <a:pt x="8832020" y="364154"/>
                  <a:pt x="8856730" y="388864"/>
                  <a:pt x="8856730" y="419345"/>
                </a:cubicBezTo>
                <a:cubicBezTo>
                  <a:pt x="8856730" y="449826"/>
                  <a:pt x="8832020" y="474536"/>
                  <a:pt x="8801538" y="474536"/>
                </a:cubicBezTo>
                <a:cubicBezTo>
                  <a:pt x="8771056" y="474536"/>
                  <a:pt x="8746346" y="449826"/>
                  <a:pt x="8746346" y="419345"/>
                </a:cubicBezTo>
                <a:cubicBezTo>
                  <a:pt x="8746346" y="388864"/>
                  <a:pt x="8771056" y="364154"/>
                  <a:pt x="8801538" y="364154"/>
                </a:cubicBezTo>
                <a:close/>
                <a:moveTo>
                  <a:pt x="8671244" y="364154"/>
                </a:moveTo>
                <a:cubicBezTo>
                  <a:pt x="8701726" y="364154"/>
                  <a:pt x="8726436" y="388864"/>
                  <a:pt x="8726436" y="419345"/>
                </a:cubicBezTo>
                <a:cubicBezTo>
                  <a:pt x="8726436" y="449826"/>
                  <a:pt x="8701726" y="474536"/>
                  <a:pt x="8671244" y="474536"/>
                </a:cubicBezTo>
                <a:cubicBezTo>
                  <a:pt x="8640762" y="474536"/>
                  <a:pt x="8616052" y="449826"/>
                  <a:pt x="8616052" y="419345"/>
                </a:cubicBezTo>
                <a:cubicBezTo>
                  <a:pt x="8616052" y="388864"/>
                  <a:pt x="8640762" y="364154"/>
                  <a:pt x="8671244" y="364154"/>
                </a:cubicBezTo>
                <a:close/>
                <a:moveTo>
                  <a:pt x="8537609" y="364154"/>
                </a:moveTo>
                <a:cubicBezTo>
                  <a:pt x="8568091" y="364154"/>
                  <a:pt x="8592801" y="388864"/>
                  <a:pt x="8592801" y="419345"/>
                </a:cubicBezTo>
                <a:cubicBezTo>
                  <a:pt x="8592801" y="449826"/>
                  <a:pt x="8568091" y="474536"/>
                  <a:pt x="8537609" y="474536"/>
                </a:cubicBezTo>
                <a:cubicBezTo>
                  <a:pt x="8507127" y="474536"/>
                  <a:pt x="8482417" y="449826"/>
                  <a:pt x="8482417" y="419345"/>
                </a:cubicBezTo>
                <a:cubicBezTo>
                  <a:pt x="8482417" y="388864"/>
                  <a:pt x="8507127" y="364154"/>
                  <a:pt x="8537609" y="364154"/>
                </a:cubicBezTo>
                <a:close/>
                <a:moveTo>
                  <a:pt x="7745824" y="364154"/>
                </a:moveTo>
                <a:cubicBezTo>
                  <a:pt x="7776306" y="364154"/>
                  <a:pt x="7801016" y="388864"/>
                  <a:pt x="7801016" y="419345"/>
                </a:cubicBezTo>
                <a:cubicBezTo>
                  <a:pt x="7801016" y="449826"/>
                  <a:pt x="7776306" y="474536"/>
                  <a:pt x="7745824" y="474536"/>
                </a:cubicBezTo>
                <a:cubicBezTo>
                  <a:pt x="7715342" y="474536"/>
                  <a:pt x="7690632" y="449826"/>
                  <a:pt x="7690632" y="419345"/>
                </a:cubicBezTo>
                <a:cubicBezTo>
                  <a:pt x="7690632" y="388864"/>
                  <a:pt x="7715342" y="364154"/>
                  <a:pt x="7745824" y="364154"/>
                </a:cubicBezTo>
                <a:close/>
                <a:moveTo>
                  <a:pt x="7608850" y="364154"/>
                </a:moveTo>
                <a:cubicBezTo>
                  <a:pt x="7639332" y="364154"/>
                  <a:pt x="7664042" y="388864"/>
                  <a:pt x="7664042" y="419345"/>
                </a:cubicBezTo>
                <a:cubicBezTo>
                  <a:pt x="7664042" y="449826"/>
                  <a:pt x="7639332" y="474536"/>
                  <a:pt x="7608850" y="474536"/>
                </a:cubicBezTo>
                <a:cubicBezTo>
                  <a:pt x="7578368" y="474536"/>
                  <a:pt x="7553658" y="449826"/>
                  <a:pt x="7553658" y="419345"/>
                </a:cubicBezTo>
                <a:cubicBezTo>
                  <a:pt x="7553658" y="388864"/>
                  <a:pt x="7578368" y="364154"/>
                  <a:pt x="7608850" y="364154"/>
                </a:cubicBezTo>
                <a:close/>
                <a:moveTo>
                  <a:pt x="7481895" y="364154"/>
                </a:moveTo>
                <a:cubicBezTo>
                  <a:pt x="7512377" y="364154"/>
                  <a:pt x="7537087" y="388864"/>
                  <a:pt x="7537087" y="419345"/>
                </a:cubicBezTo>
                <a:cubicBezTo>
                  <a:pt x="7537087" y="449826"/>
                  <a:pt x="7512377" y="474536"/>
                  <a:pt x="7481895" y="474536"/>
                </a:cubicBezTo>
                <a:cubicBezTo>
                  <a:pt x="7451413" y="474536"/>
                  <a:pt x="7426703" y="449826"/>
                  <a:pt x="7426703" y="419345"/>
                </a:cubicBezTo>
                <a:cubicBezTo>
                  <a:pt x="7426703" y="388864"/>
                  <a:pt x="7451413" y="364154"/>
                  <a:pt x="7481895" y="364154"/>
                </a:cubicBezTo>
                <a:close/>
                <a:moveTo>
                  <a:pt x="7341580" y="364154"/>
                </a:moveTo>
                <a:cubicBezTo>
                  <a:pt x="7372062" y="364154"/>
                  <a:pt x="7396772" y="388864"/>
                  <a:pt x="7396772" y="419345"/>
                </a:cubicBezTo>
                <a:cubicBezTo>
                  <a:pt x="7396772" y="449826"/>
                  <a:pt x="7372062" y="474536"/>
                  <a:pt x="7341580" y="474536"/>
                </a:cubicBezTo>
                <a:cubicBezTo>
                  <a:pt x="7311098" y="474536"/>
                  <a:pt x="7286388" y="449826"/>
                  <a:pt x="7286388" y="419345"/>
                </a:cubicBezTo>
                <a:cubicBezTo>
                  <a:pt x="7286388" y="388864"/>
                  <a:pt x="7311098" y="364154"/>
                  <a:pt x="7341580" y="364154"/>
                </a:cubicBezTo>
                <a:close/>
                <a:moveTo>
                  <a:pt x="6553137" y="364154"/>
                </a:moveTo>
                <a:cubicBezTo>
                  <a:pt x="6583619" y="364154"/>
                  <a:pt x="6608329" y="388864"/>
                  <a:pt x="6608329" y="419345"/>
                </a:cubicBezTo>
                <a:cubicBezTo>
                  <a:pt x="6608329" y="449826"/>
                  <a:pt x="6583619" y="474536"/>
                  <a:pt x="6553137" y="474536"/>
                </a:cubicBezTo>
                <a:cubicBezTo>
                  <a:pt x="6522655" y="474536"/>
                  <a:pt x="6497945" y="449826"/>
                  <a:pt x="6497945" y="419345"/>
                </a:cubicBezTo>
                <a:cubicBezTo>
                  <a:pt x="6497945" y="388864"/>
                  <a:pt x="6522655" y="364154"/>
                  <a:pt x="6553137" y="364154"/>
                </a:cubicBezTo>
                <a:close/>
                <a:moveTo>
                  <a:pt x="6419503" y="364154"/>
                </a:moveTo>
                <a:cubicBezTo>
                  <a:pt x="6449985" y="364154"/>
                  <a:pt x="6474695" y="388864"/>
                  <a:pt x="6474695" y="419345"/>
                </a:cubicBezTo>
                <a:cubicBezTo>
                  <a:pt x="6474695" y="449826"/>
                  <a:pt x="6449985" y="474536"/>
                  <a:pt x="6419503" y="474536"/>
                </a:cubicBezTo>
                <a:cubicBezTo>
                  <a:pt x="6389021" y="474536"/>
                  <a:pt x="6364311" y="449826"/>
                  <a:pt x="6364311" y="419345"/>
                </a:cubicBezTo>
                <a:cubicBezTo>
                  <a:pt x="6364311" y="388864"/>
                  <a:pt x="6389021" y="364154"/>
                  <a:pt x="6419503" y="364154"/>
                </a:cubicBezTo>
                <a:close/>
                <a:moveTo>
                  <a:pt x="4030786" y="364154"/>
                </a:moveTo>
                <a:cubicBezTo>
                  <a:pt x="4061268" y="364154"/>
                  <a:pt x="4085978" y="388864"/>
                  <a:pt x="4085978" y="419345"/>
                </a:cubicBezTo>
                <a:cubicBezTo>
                  <a:pt x="4085978" y="449826"/>
                  <a:pt x="4061268" y="474536"/>
                  <a:pt x="4030786" y="474536"/>
                </a:cubicBezTo>
                <a:cubicBezTo>
                  <a:pt x="4000304" y="474536"/>
                  <a:pt x="3975594" y="449826"/>
                  <a:pt x="3975594" y="419345"/>
                </a:cubicBezTo>
                <a:cubicBezTo>
                  <a:pt x="3975594" y="388864"/>
                  <a:pt x="4000304" y="364154"/>
                  <a:pt x="4030786" y="364154"/>
                </a:cubicBezTo>
                <a:close/>
                <a:moveTo>
                  <a:pt x="3897148" y="364154"/>
                </a:moveTo>
                <a:cubicBezTo>
                  <a:pt x="3927630" y="364154"/>
                  <a:pt x="3952340" y="388864"/>
                  <a:pt x="3952340" y="419345"/>
                </a:cubicBezTo>
                <a:cubicBezTo>
                  <a:pt x="3952340" y="449826"/>
                  <a:pt x="3927630" y="474536"/>
                  <a:pt x="3897148" y="474536"/>
                </a:cubicBezTo>
                <a:cubicBezTo>
                  <a:pt x="3866666" y="474536"/>
                  <a:pt x="3841956" y="449826"/>
                  <a:pt x="3841956" y="419345"/>
                </a:cubicBezTo>
                <a:cubicBezTo>
                  <a:pt x="3841956" y="388864"/>
                  <a:pt x="3866666" y="364154"/>
                  <a:pt x="3897148" y="364154"/>
                </a:cubicBezTo>
                <a:close/>
                <a:moveTo>
                  <a:pt x="3763514" y="364154"/>
                </a:moveTo>
                <a:cubicBezTo>
                  <a:pt x="3793996" y="364154"/>
                  <a:pt x="3818706" y="388864"/>
                  <a:pt x="3818706" y="419345"/>
                </a:cubicBezTo>
                <a:cubicBezTo>
                  <a:pt x="3818706" y="449826"/>
                  <a:pt x="3793996" y="474536"/>
                  <a:pt x="3763514" y="474536"/>
                </a:cubicBezTo>
                <a:cubicBezTo>
                  <a:pt x="3733032" y="474536"/>
                  <a:pt x="3708322" y="449826"/>
                  <a:pt x="3708322" y="419345"/>
                </a:cubicBezTo>
                <a:cubicBezTo>
                  <a:pt x="3708322" y="388864"/>
                  <a:pt x="3733032" y="364154"/>
                  <a:pt x="3763514" y="364154"/>
                </a:cubicBezTo>
                <a:close/>
                <a:moveTo>
                  <a:pt x="3633221" y="364154"/>
                </a:moveTo>
                <a:cubicBezTo>
                  <a:pt x="3663703" y="364154"/>
                  <a:pt x="3688413" y="388864"/>
                  <a:pt x="3688413" y="419345"/>
                </a:cubicBezTo>
                <a:cubicBezTo>
                  <a:pt x="3688413" y="449826"/>
                  <a:pt x="3663703" y="474536"/>
                  <a:pt x="3633221" y="474536"/>
                </a:cubicBezTo>
                <a:cubicBezTo>
                  <a:pt x="3602739" y="474536"/>
                  <a:pt x="3578029" y="449826"/>
                  <a:pt x="3578029" y="419345"/>
                </a:cubicBezTo>
                <a:cubicBezTo>
                  <a:pt x="3578029" y="388864"/>
                  <a:pt x="3602739" y="364154"/>
                  <a:pt x="3633221" y="364154"/>
                </a:cubicBezTo>
                <a:close/>
                <a:moveTo>
                  <a:pt x="3499589" y="364154"/>
                </a:moveTo>
                <a:cubicBezTo>
                  <a:pt x="3530071" y="364154"/>
                  <a:pt x="3554781" y="388864"/>
                  <a:pt x="3554781" y="419345"/>
                </a:cubicBezTo>
                <a:cubicBezTo>
                  <a:pt x="3554781" y="449826"/>
                  <a:pt x="3530071" y="474536"/>
                  <a:pt x="3499589" y="474536"/>
                </a:cubicBezTo>
                <a:cubicBezTo>
                  <a:pt x="3469107" y="474536"/>
                  <a:pt x="3444397" y="449826"/>
                  <a:pt x="3444397" y="419345"/>
                </a:cubicBezTo>
                <a:cubicBezTo>
                  <a:pt x="3444397" y="388864"/>
                  <a:pt x="3469107" y="364154"/>
                  <a:pt x="3499589" y="364154"/>
                </a:cubicBezTo>
                <a:close/>
                <a:moveTo>
                  <a:pt x="3369292" y="364154"/>
                </a:moveTo>
                <a:cubicBezTo>
                  <a:pt x="3399774" y="364154"/>
                  <a:pt x="3424484" y="388864"/>
                  <a:pt x="3424484" y="419345"/>
                </a:cubicBezTo>
                <a:cubicBezTo>
                  <a:pt x="3424484" y="449826"/>
                  <a:pt x="3399774" y="474536"/>
                  <a:pt x="3369292" y="474536"/>
                </a:cubicBezTo>
                <a:cubicBezTo>
                  <a:pt x="3338810" y="474536"/>
                  <a:pt x="3314100" y="449826"/>
                  <a:pt x="3314100" y="419345"/>
                </a:cubicBezTo>
                <a:cubicBezTo>
                  <a:pt x="3314100" y="388864"/>
                  <a:pt x="3338810" y="364154"/>
                  <a:pt x="3369292" y="364154"/>
                </a:cubicBezTo>
                <a:close/>
                <a:moveTo>
                  <a:pt x="3235657" y="364154"/>
                </a:moveTo>
                <a:cubicBezTo>
                  <a:pt x="3266139" y="364154"/>
                  <a:pt x="3290849" y="388864"/>
                  <a:pt x="3290849" y="419345"/>
                </a:cubicBezTo>
                <a:cubicBezTo>
                  <a:pt x="3290849" y="449826"/>
                  <a:pt x="3266139" y="474536"/>
                  <a:pt x="3235657" y="474536"/>
                </a:cubicBezTo>
                <a:cubicBezTo>
                  <a:pt x="3205175" y="474536"/>
                  <a:pt x="3180465" y="449826"/>
                  <a:pt x="3180465" y="419345"/>
                </a:cubicBezTo>
                <a:cubicBezTo>
                  <a:pt x="3180465" y="388864"/>
                  <a:pt x="3205175" y="364154"/>
                  <a:pt x="3235657" y="364154"/>
                </a:cubicBezTo>
                <a:close/>
                <a:moveTo>
                  <a:pt x="3098681" y="364154"/>
                </a:moveTo>
                <a:cubicBezTo>
                  <a:pt x="3129163" y="364154"/>
                  <a:pt x="3153873" y="388864"/>
                  <a:pt x="3153873" y="419345"/>
                </a:cubicBezTo>
                <a:cubicBezTo>
                  <a:pt x="3153873" y="449826"/>
                  <a:pt x="3129163" y="474536"/>
                  <a:pt x="3098681" y="474536"/>
                </a:cubicBezTo>
                <a:cubicBezTo>
                  <a:pt x="3068199" y="474536"/>
                  <a:pt x="3043489" y="449826"/>
                  <a:pt x="3043489" y="419345"/>
                </a:cubicBezTo>
                <a:cubicBezTo>
                  <a:pt x="3043489" y="388864"/>
                  <a:pt x="3068199" y="364154"/>
                  <a:pt x="3098681" y="364154"/>
                </a:cubicBezTo>
                <a:close/>
                <a:moveTo>
                  <a:pt x="2971729" y="364154"/>
                </a:moveTo>
                <a:cubicBezTo>
                  <a:pt x="3002211" y="364154"/>
                  <a:pt x="3026921" y="388864"/>
                  <a:pt x="3026921" y="419345"/>
                </a:cubicBezTo>
                <a:cubicBezTo>
                  <a:pt x="3026921" y="449826"/>
                  <a:pt x="3002211" y="474536"/>
                  <a:pt x="2971729" y="474536"/>
                </a:cubicBezTo>
                <a:cubicBezTo>
                  <a:pt x="2941247" y="474536"/>
                  <a:pt x="2916537" y="449826"/>
                  <a:pt x="2916537" y="419345"/>
                </a:cubicBezTo>
                <a:cubicBezTo>
                  <a:pt x="2916537" y="388864"/>
                  <a:pt x="2941247" y="364154"/>
                  <a:pt x="2971729" y="364154"/>
                </a:cubicBezTo>
                <a:close/>
                <a:moveTo>
                  <a:pt x="2834862" y="364154"/>
                </a:moveTo>
                <a:cubicBezTo>
                  <a:pt x="2865342" y="364154"/>
                  <a:pt x="2890052" y="388864"/>
                  <a:pt x="2890052" y="419345"/>
                </a:cubicBezTo>
                <a:cubicBezTo>
                  <a:pt x="2890052" y="449826"/>
                  <a:pt x="2865342" y="474536"/>
                  <a:pt x="2834862" y="474536"/>
                </a:cubicBezTo>
                <a:cubicBezTo>
                  <a:pt x="2804379" y="474536"/>
                  <a:pt x="2779671" y="449826"/>
                  <a:pt x="2779671" y="419345"/>
                </a:cubicBezTo>
                <a:cubicBezTo>
                  <a:pt x="2779671" y="388864"/>
                  <a:pt x="2804379" y="364154"/>
                  <a:pt x="2834862" y="364154"/>
                </a:cubicBezTo>
                <a:close/>
                <a:moveTo>
                  <a:pt x="2437297" y="364154"/>
                </a:moveTo>
                <a:cubicBezTo>
                  <a:pt x="2467781" y="364154"/>
                  <a:pt x="2492487" y="388864"/>
                  <a:pt x="2492487" y="419345"/>
                </a:cubicBezTo>
                <a:cubicBezTo>
                  <a:pt x="2492487" y="449826"/>
                  <a:pt x="2467781" y="474536"/>
                  <a:pt x="2437297" y="474536"/>
                </a:cubicBezTo>
                <a:cubicBezTo>
                  <a:pt x="2406818" y="474536"/>
                  <a:pt x="2382108" y="449826"/>
                  <a:pt x="2382108" y="419345"/>
                </a:cubicBezTo>
                <a:cubicBezTo>
                  <a:pt x="2382108" y="388864"/>
                  <a:pt x="2406818" y="364154"/>
                  <a:pt x="2437297" y="364154"/>
                </a:cubicBezTo>
                <a:close/>
                <a:moveTo>
                  <a:pt x="2303664" y="364154"/>
                </a:moveTo>
                <a:cubicBezTo>
                  <a:pt x="2334146" y="364154"/>
                  <a:pt x="2358856" y="388864"/>
                  <a:pt x="2358856" y="419345"/>
                </a:cubicBezTo>
                <a:cubicBezTo>
                  <a:pt x="2358856" y="449826"/>
                  <a:pt x="2334146" y="474536"/>
                  <a:pt x="2303664" y="474536"/>
                </a:cubicBezTo>
                <a:cubicBezTo>
                  <a:pt x="2273184" y="474536"/>
                  <a:pt x="2248473" y="449826"/>
                  <a:pt x="2248473" y="419345"/>
                </a:cubicBezTo>
                <a:cubicBezTo>
                  <a:pt x="2248473" y="388864"/>
                  <a:pt x="2273184" y="364154"/>
                  <a:pt x="2303664" y="364154"/>
                </a:cubicBezTo>
                <a:close/>
                <a:moveTo>
                  <a:pt x="2173372" y="364154"/>
                </a:moveTo>
                <a:cubicBezTo>
                  <a:pt x="2203854" y="364154"/>
                  <a:pt x="2228565" y="388864"/>
                  <a:pt x="2228565" y="419345"/>
                </a:cubicBezTo>
                <a:cubicBezTo>
                  <a:pt x="2228565" y="449826"/>
                  <a:pt x="2203854" y="474536"/>
                  <a:pt x="2173372" y="474536"/>
                </a:cubicBezTo>
                <a:cubicBezTo>
                  <a:pt x="2142892" y="474536"/>
                  <a:pt x="2118180" y="449826"/>
                  <a:pt x="2118180" y="419345"/>
                </a:cubicBezTo>
                <a:cubicBezTo>
                  <a:pt x="2118180" y="388864"/>
                  <a:pt x="2142892" y="364154"/>
                  <a:pt x="2173372" y="364154"/>
                </a:cubicBezTo>
                <a:close/>
                <a:moveTo>
                  <a:pt x="2039736" y="364154"/>
                </a:moveTo>
                <a:cubicBezTo>
                  <a:pt x="2070218" y="364154"/>
                  <a:pt x="2094930" y="388864"/>
                  <a:pt x="2094930" y="419345"/>
                </a:cubicBezTo>
                <a:cubicBezTo>
                  <a:pt x="2094930" y="449826"/>
                  <a:pt x="2070218" y="474536"/>
                  <a:pt x="2039736" y="474536"/>
                </a:cubicBezTo>
                <a:cubicBezTo>
                  <a:pt x="2009254" y="474536"/>
                  <a:pt x="1984543" y="449826"/>
                  <a:pt x="1984543" y="419345"/>
                </a:cubicBezTo>
                <a:cubicBezTo>
                  <a:pt x="1984543" y="388864"/>
                  <a:pt x="2009254" y="364154"/>
                  <a:pt x="2039736" y="364154"/>
                </a:cubicBezTo>
                <a:close/>
                <a:moveTo>
                  <a:pt x="1909440" y="364154"/>
                </a:moveTo>
                <a:cubicBezTo>
                  <a:pt x="1939922" y="364154"/>
                  <a:pt x="1964634" y="388864"/>
                  <a:pt x="1964634" y="419345"/>
                </a:cubicBezTo>
                <a:cubicBezTo>
                  <a:pt x="1964634" y="449826"/>
                  <a:pt x="1939922" y="474536"/>
                  <a:pt x="1909440" y="474536"/>
                </a:cubicBezTo>
                <a:cubicBezTo>
                  <a:pt x="1878957" y="474536"/>
                  <a:pt x="1854246" y="449826"/>
                  <a:pt x="1854246" y="419345"/>
                </a:cubicBezTo>
                <a:cubicBezTo>
                  <a:pt x="1854246" y="388864"/>
                  <a:pt x="1878957" y="364154"/>
                  <a:pt x="1909440" y="364154"/>
                </a:cubicBezTo>
                <a:close/>
                <a:moveTo>
                  <a:pt x="1779142" y="364154"/>
                </a:moveTo>
                <a:cubicBezTo>
                  <a:pt x="1809626" y="364154"/>
                  <a:pt x="1834337" y="388864"/>
                  <a:pt x="1834337" y="419345"/>
                </a:cubicBezTo>
                <a:cubicBezTo>
                  <a:pt x="1834337" y="449826"/>
                  <a:pt x="1809626" y="474536"/>
                  <a:pt x="1779142" y="474536"/>
                </a:cubicBezTo>
                <a:cubicBezTo>
                  <a:pt x="1748663" y="474536"/>
                  <a:pt x="1723951" y="449826"/>
                  <a:pt x="1723951" y="419345"/>
                </a:cubicBezTo>
                <a:cubicBezTo>
                  <a:pt x="1723951" y="388864"/>
                  <a:pt x="1748663" y="364154"/>
                  <a:pt x="1779142" y="364154"/>
                </a:cubicBezTo>
                <a:close/>
                <a:moveTo>
                  <a:pt x="1645508" y="364154"/>
                </a:moveTo>
                <a:cubicBezTo>
                  <a:pt x="1675988" y="364154"/>
                  <a:pt x="1700702" y="388864"/>
                  <a:pt x="1700702" y="419345"/>
                </a:cubicBezTo>
                <a:cubicBezTo>
                  <a:pt x="1700702" y="449826"/>
                  <a:pt x="1675988" y="474536"/>
                  <a:pt x="1645508" y="474536"/>
                </a:cubicBezTo>
                <a:cubicBezTo>
                  <a:pt x="1615024" y="474536"/>
                  <a:pt x="1590313" y="449826"/>
                  <a:pt x="1590313" y="419345"/>
                </a:cubicBezTo>
                <a:cubicBezTo>
                  <a:pt x="1590313" y="388864"/>
                  <a:pt x="1615024" y="364154"/>
                  <a:pt x="1645508" y="364154"/>
                </a:cubicBezTo>
                <a:close/>
                <a:moveTo>
                  <a:pt x="1515217" y="364154"/>
                </a:moveTo>
                <a:cubicBezTo>
                  <a:pt x="1545695" y="364154"/>
                  <a:pt x="1570405" y="388864"/>
                  <a:pt x="1570405" y="419345"/>
                </a:cubicBezTo>
                <a:cubicBezTo>
                  <a:pt x="1570405" y="449826"/>
                  <a:pt x="1545695" y="474536"/>
                  <a:pt x="1515217" y="474536"/>
                </a:cubicBezTo>
                <a:cubicBezTo>
                  <a:pt x="1484732" y="474536"/>
                  <a:pt x="1460020" y="449826"/>
                  <a:pt x="1460020" y="419345"/>
                </a:cubicBezTo>
                <a:cubicBezTo>
                  <a:pt x="1460020" y="388864"/>
                  <a:pt x="1484732" y="364154"/>
                  <a:pt x="1515217" y="364154"/>
                </a:cubicBezTo>
                <a:close/>
                <a:moveTo>
                  <a:pt x="1381573" y="364154"/>
                </a:moveTo>
                <a:cubicBezTo>
                  <a:pt x="1412060" y="364154"/>
                  <a:pt x="1436767" y="388864"/>
                  <a:pt x="1436767" y="419345"/>
                </a:cubicBezTo>
                <a:cubicBezTo>
                  <a:pt x="1436767" y="449826"/>
                  <a:pt x="1412060" y="474536"/>
                  <a:pt x="1381573" y="474536"/>
                </a:cubicBezTo>
                <a:cubicBezTo>
                  <a:pt x="1351097" y="474536"/>
                  <a:pt x="1326384" y="449826"/>
                  <a:pt x="1326384" y="419345"/>
                </a:cubicBezTo>
                <a:cubicBezTo>
                  <a:pt x="1326384" y="388864"/>
                  <a:pt x="1351097" y="364154"/>
                  <a:pt x="1381573" y="364154"/>
                </a:cubicBezTo>
                <a:close/>
                <a:moveTo>
                  <a:pt x="1251283" y="364154"/>
                </a:moveTo>
                <a:cubicBezTo>
                  <a:pt x="1281766" y="364154"/>
                  <a:pt x="1306476" y="388864"/>
                  <a:pt x="1306476" y="419345"/>
                </a:cubicBezTo>
                <a:cubicBezTo>
                  <a:pt x="1306476" y="449826"/>
                  <a:pt x="1281766" y="474536"/>
                  <a:pt x="1251283" y="474536"/>
                </a:cubicBezTo>
                <a:cubicBezTo>
                  <a:pt x="1220801" y="474536"/>
                  <a:pt x="1196091" y="449826"/>
                  <a:pt x="1196091" y="419345"/>
                </a:cubicBezTo>
                <a:cubicBezTo>
                  <a:pt x="1196091" y="388864"/>
                  <a:pt x="1220801" y="364154"/>
                  <a:pt x="1251283" y="364154"/>
                </a:cubicBezTo>
                <a:close/>
                <a:moveTo>
                  <a:pt x="7608850" y="247225"/>
                </a:moveTo>
                <a:cubicBezTo>
                  <a:pt x="7639332" y="247225"/>
                  <a:pt x="7664042" y="271935"/>
                  <a:pt x="7664042" y="302416"/>
                </a:cubicBezTo>
                <a:cubicBezTo>
                  <a:pt x="7664042" y="332897"/>
                  <a:pt x="7639332" y="357607"/>
                  <a:pt x="7608850" y="357607"/>
                </a:cubicBezTo>
                <a:cubicBezTo>
                  <a:pt x="7578368" y="357607"/>
                  <a:pt x="7553658" y="332897"/>
                  <a:pt x="7553658" y="302416"/>
                </a:cubicBezTo>
                <a:cubicBezTo>
                  <a:pt x="7553658" y="271935"/>
                  <a:pt x="7578368" y="247225"/>
                  <a:pt x="7608850" y="247225"/>
                </a:cubicBezTo>
                <a:close/>
                <a:moveTo>
                  <a:pt x="7481898" y="247225"/>
                </a:moveTo>
                <a:cubicBezTo>
                  <a:pt x="7512380" y="247225"/>
                  <a:pt x="7537090" y="271935"/>
                  <a:pt x="7537090" y="302416"/>
                </a:cubicBezTo>
                <a:cubicBezTo>
                  <a:pt x="7537090" y="332897"/>
                  <a:pt x="7512380" y="357607"/>
                  <a:pt x="7481898" y="357607"/>
                </a:cubicBezTo>
                <a:cubicBezTo>
                  <a:pt x="7451416" y="357607"/>
                  <a:pt x="7426706" y="332897"/>
                  <a:pt x="7426706" y="302416"/>
                </a:cubicBezTo>
                <a:cubicBezTo>
                  <a:pt x="7426706" y="271935"/>
                  <a:pt x="7451416" y="247225"/>
                  <a:pt x="7481898" y="247225"/>
                </a:cubicBezTo>
                <a:close/>
                <a:moveTo>
                  <a:pt x="5093178" y="247225"/>
                </a:moveTo>
                <a:cubicBezTo>
                  <a:pt x="5123660" y="247225"/>
                  <a:pt x="5148370" y="271935"/>
                  <a:pt x="5148370" y="302416"/>
                </a:cubicBezTo>
                <a:cubicBezTo>
                  <a:pt x="5148370" y="332897"/>
                  <a:pt x="5123660" y="357607"/>
                  <a:pt x="5093178" y="357607"/>
                </a:cubicBezTo>
                <a:cubicBezTo>
                  <a:pt x="5062696" y="357607"/>
                  <a:pt x="5037986" y="332897"/>
                  <a:pt x="5037986" y="302416"/>
                </a:cubicBezTo>
                <a:cubicBezTo>
                  <a:pt x="5037986" y="271935"/>
                  <a:pt x="5062696" y="247225"/>
                  <a:pt x="5093178" y="247225"/>
                </a:cubicBezTo>
                <a:close/>
                <a:moveTo>
                  <a:pt x="4030786" y="247225"/>
                </a:moveTo>
                <a:cubicBezTo>
                  <a:pt x="4061268" y="247225"/>
                  <a:pt x="4085978" y="271935"/>
                  <a:pt x="4085978" y="302416"/>
                </a:cubicBezTo>
                <a:cubicBezTo>
                  <a:pt x="4085978" y="332897"/>
                  <a:pt x="4061268" y="357607"/>
                  <a:pt x="4030786" y="357607"/>
                </a:cubicBezTo>
                <a:cubicBezTo>
                  <a:pt x="4000304" y="357607"/>
                  <a:pt x="3975594" y="332897"/>
                  <a:pt x="3975594" y="302416"/>
                </a:cubicBezTo>
                <a:cubicBezTo>
                  <a:pt x="3975594" y="271935"/>
                  <a:pt x="4000304" y="247225"/>
                  <a:pt x="4030786" y="247225"/>
                </a:cubicBezTo>
                <a:close/>
                <a:moveTo>
                  <a:pt x="3897148" y="247225"/>
                </a:moveTo>
                <a:cubicBezTo>
                  <a:pt x="3927630" y="247225"/>
                  <a:pt x="3952340" y="271935"/>
                  <a:pt x="3952340" y="302416"/>
                </a:cubicBezTo>
                <a:cubicBezTo>
                  <a:pt x="3952340" y="332897"/>
                  <a:pt x="3927630" y="357607"/>
                  <a:pt x="3897148" y="357607"/>
                </a:cubicBezTo>
                <a:cubicBezTo>
                  <a:pt x="3866666" y="357607"/>
                  <a:pt x="3841956" y="332897"/>
                  <a:pt x="3841956" y="302416"/>
                </a:cubicBezTo>
                <a:cubicBezTo>
                  <a:pt x="3841956" y="271935"/>
                  <a:pt x="3866666" y="247225"/>
                  <a:pt x="3897148" y="247225"/>
                </a:cubicBezTo>
                <a:close/>
                <a:moveTo>
                  <a:pt x="3763514" y="247225"/>
                </a:moveTo>
                <a:cubicBezTo>
                  <a:pt x="3793996" y="247225"/>
                  <a:pt x="3818706" y="271935"/>
                  <a:pt x="3818706" y="302416"/>
                </a:cubicBezTo>
                <a:cubicBezTo>
                  <a:pt x="3818706" y="332897"/>
                  <a:pt x="3793996" y="357607"/>
                  <a:pt x="3763514" y="357607"/>
                </a:cubicBezTo>
                <a:cubicBezTo>
                  <a:pt x="3733032" y="357607"/>
                  <a:pt x="3708322" y="332897"/>
                  <a:pt x="3708322" y="302416"/>
                </a:cubicBezTo>
                <a:cubicBezTo>
                  <a:pt x="3708322" y="271935"/>
                  <a:pt x="3733032" y="247225"/>
                  <a:pt x="3763514" y="247225"/>
                </a:cubicBezTo>
                <a:close/>
                <a:moveTo>
                  <a:pt x="3633221" y="247225"/>
                </a:moveTo>
                <a:cubicBezTo>
                  <a:pt x="3663703" y="247225"/>
                  <a:pt x="3688413" y="271935"/>
                  <a:pt x="3688413" y="302416"/>
                </a:cubicBezTo>
                <a:cubicBezTo>
                  <a:pt x="3688413" y="332897"/>
                  <a:pt x="3663703" y="357607"/>
                  <a:pt x="3633221" y="357607"/>
                </a:cubicBezTo>
                <a:cubicBezTo>
                  <a:pt x="3602739" y="357607"/>
                  <a:pt x="3578029" y="332897"/>
                  <a:pt x="3578029" y="302416"/>
                </a:cubicBezTo>
                <a:cubicBezTo>
                  <a:pt x="3578029" y="271935"/>
                  <a:pt x="3602739" y="247225"/>
                  <a:pt x="3633221" y="247225"/>
                </a:cubicBezTo>
                <a:close/>
                <a:moveTo>
                  <a:pt x="3499589" y="247225"/>
                </a:moveTo>
                <a:cubicBezTo>
                  <a:pt x="3530071" y="247225"/>
                  <a:pt x="3554781" y="271935"/>
                  <a:pt x="3554781" y="302416"/>
                </a:cubicBezTo>
                <a:cubicBezTo>
                  <a:pt x="3554781" y="332897"/>
                  <a:pt x="3530071" y="357607"/>
                  <a:pt x="3499589" y="357607"/>
                </a:cubicBezTo>
                <a:cubicBezTo>
                  <a:pt x="3469107" y="357607"/>
                  <a:pt x="3444397" y="332897"/>
                  <a:pt x="3444397" y="302416"/>
                </a:cubicBezTo>
                <a:cubicBezTo>
                  <a:pt x="3444397" y="271935"/>
                  <a:pt x="3469107" y="247225"/>
                  <a:pt x="3499589" y="247225"/>
                </a:cubicBezTo>
                <a:close/>
                <a:moveTo>
                  <a:pt x="3369293" y="247225"/>
                </a:moveTo>
                <a:cubicBezTo>
                  <a:pt x="3399775" y="247225"/>
                  <a:pt x="3424485" y="271935"/>
                  <a:pt x="3424485" y="302416"/>
                </a:cubicBezTo>
                <a:cubicBezTo>
                  <a:pt x="3424485" y="332897"/>
                  <a:pt x="3399775" y="357607"/>
                  <a:pt x="3369293" y="357607"/>
                </a:cubicBezTo>
                <a:cubicBezTo>
                  <a:pt x="3338811" y="357607"/>
                  <a:pt x="3314101" y="332897"/>
                  <a:pt x="3314101" y="302416"/>
                </a:cubicBezTo>
                <a:cubicBezTo>
                  <a:pt x="3314101" y="271935"/>
                  <a:pt x="3338811" y="247225"/>
                  <a:pt x="3369293" y="247225"/>
                </a:cubicBezTo>
                <a:close/>
                <a:moveTo>
                  <a:pt x="3235657" y="247225"/>
                </a:moveTo>
                <a:cubicBezTo>
                  <a:pt x="3266139" y="247225"/>
                  <a:pt x="3290849" y="271935"/>
                  <a:pt x="3290849" y="302416"/>
                </a:cubicBezTo>
                <a:cubicBezTo>
                  <a:pt x="3290849" y="332897"/>
                  <a:pt x="3266139" y="357607"/>
                  <a:pt x="3235657" y="357607"/>
                </a:cubicBezTo>
                <a:cubicBezTo>
                  <a:pt x="3205175" y="357607"/>
                  <a:pt x="3180465" y="332897"/>
                  <a:pt x="3180465" y="302416"/>
                </a:cubicBezTo>
                <a:cubicBezTo>
                  <a:pt x="3180465" y="271935"/>
                  <a:pt x="3205175" y="247225"/>
                  <a:pt x="3235657" y="247225"/>
                </a:cubicBezTo>
                <a:close/>
                <a:moveTo>
                  <a:pt x="3098682" y="247225"/>
                </a:moveTo>
                <a:cubicBezTo>
                  <a:pt x="3129164" y="247225"/>
                  <a:pt x="3153874" y="271935"/>
                  <a:pt x="3153874" y="302416"/>
                </a:cubicBezTo>
                <a:cubicBezTo>
                  <a:pt x="3153874" y="332897"/>
                  <a:pt x="3129164" y="357607"/>
                  <a:pt x="3098682" y="357607"/>
                </a:cubicBezTo>
                <a:cubicBezTo>
                  <a:pt x="3068200" y="357607"/>
                  <a:pt x="3043490" y="332897"/>
                  <a:pt x="3043490" y="302416"/>
                </a:cubicBezTo>
                <a:cubicBezTo>
                  <a:pt x="3043490" y="271935"/>
                  <a:pt x="3068200" y="247225"/>
                  <a:pt x="3098682" y="247225"/>
                </a:cubicBezTo>
                <a:close/>
                <a:moveTo>
                  <a:pt x="2971729" y="247225"/>
                </a:moveTo>
                <a:cubicBezTo>
                  <a:pt x="3002211" y="247225"/>
                  <a:pt x="3026921" y="271935"/>
                  <a:pt x="3026921" y="302416"/>
                </a:cubicBezTo>
                <a:cubicBezTo>
                  <a:pt x="3026921" y="332897"/>
                  <a:pt x="3002211" y="357607"/>
                  <a:pt x="2971729" y="357607"/>
                </a:cubicBezTo>
                <a:cubicBezTo>
                  <a:pt x="2941247" y="357607"/>
                  <a:pt x="2916537" y="332897"/>
                  <a:pt x="2916537" y="302416"/>
                </a:cubicBezTo>
                <a:cubicBezTo>
                  <a:pt x="2916537" y="271935"/>
                  <a:pt x="2941247" y="247225"/>
                  <a:pt x="2971729" y="247225"/>
                </a:cubicBezTo>
                <a:close/>
                <a:moveTo>
                  <a:pt x="2834862" y="247225"/>
                </a:moveTo>
                <a:cubicBezTo>
                  <a:pt x="2865342" y="247225"/>
                  <a:pt x="2890052" y="271935"/>
                  <a:pt x="2890052" y="302416"/>
                </a:cubicBezTo>
                <a:cubicBezTo>
                  <a:pt x="2890052" y="332897"/>
                  <a:pt x="2865342" y="357607"/>
                  <a:pt x="2834862" y="357607"/>
                </a:cubicBezTo>
                <a:cubicBezTo>
                  <a:pt x="2804379" y="357607"/>
                  <a:pt x="2779671" y="332897"/>
                  <a:pt x="2779671" y="302416"/>
                </a:cubicBezTo>
                <a:cubicBezTo>
                  <a:pt x="2779671" y="271935"/>
                  <a:pt x="2804379" y="247225"/>
                  <a:pt x="2834862" y="247225"/>
                </a:cubicBezTo>
                <a:close/>
                <a:moveTo>
                  <a:pt x="2570933" y="247225"/>
                </a:moveTo>
                <a:cubicBezTo>
                  <a:pt x="2601414" y="247225"/>
                  <a:pt x="2626123" y="271935"/>
                  <a:pt x="2626123" y="302416"/>
                </a:cubicBezTo>
                <a:cubicBezTo>
                  <a:pt x="2626123" y="332897"/>
                  <a:pt x="2601414" y="357607"/>
                  <a:pt x="2570933" y="357607"/>
                </a:cubicBezTo>
                <a:cubicBezTo>
                  <a:pt x="2540449" y="357607"/>
                  <a:pt x="2515738" y="332897"/>
                  <a:pt x="2515738" y="302416"/>
                </a:cubicBezTo>
                <a:cubicBezTo>
                  <a:pt x="2515738" y="271935"/>
                  <a:pt x="2540449" y="247225"/>
                  <a:pt x="2570933" y="247225"/>
                </a:cubicBezTo>
                <a:close/>
                <a:moveTo>
                  <a:pt x="2437297" y="247225"/>
                </a:moveTo>
                <a:cubicBezTo>
                  <a:pt x="2467781" y="247225"/>
                  <a:pt x="2492487" y="271935"/>
                  <a:pt x="2492487" y="302416"/>
                </a:cubicBezTo>
                <a:cubicBezTo>
                  <a:pt x="2492487" y="332897"/>
                  <a:pt x="2467781" y="357607"/>
                  <a:pt x="2437297" y="357607"/>
                </a:cubicBezTo>
                <a:cubicBezTo>
                  <a:pt x="2406818" y="357607"/>
                  <a:pt x="2382108" y="332897"/>
                  <a:pt x="2382108" y="302416"/>
                </a:cubicBezTo>
                <a:cubicBezTo>
                  <a:pt x="2382108" y="271935"/>
                  <a:pt x="2406818" y="247225"/>
                  <a:pt x="2437297" y="247225"/>
                </a:cubicBezTo>
                <a:close/>
                <a:moveTo>
                  <a:pt x="2303666" y="247225"/>
                </a:moveTo>
                <a:cubicBezTo>
                  <a:pt x="2334146" y="247225"/>
                  <a:pt x="2358856" y="271935"/>
                  <a:pt x="2358856" y="302416"/>
                </a:cubicBezTo>
                <a:cubicBezTo>
                  <a:pt x="2358856" y="332897"/>
                  <a:pt x="2334146" y="357607"/>
                  <a:pt x="2303666" y="357607"/>
                </a:cubicBezTo>
                <a:cubicBezTo>
                  <a:pt x="2273184" y="357607"/>
                  <a:pt x="2248473" y="332897"/>
                  <a:pt x="2248473" y="302416"/>
                </a:cubicBezTo>
                <a:cubicBezTo>
                  <a:pt x="2248473" y="271935"/>
                  <a:pt x="2273184" y="247225"/>
                  <a:pt x="2303666" y="247225"/>
                </a:cubicBezTo>
                <a:close/>
                <a:moveTo>
                  <a:pt x="2173372" y="247225"/>
                </a:moveTo>
                <a:cubicBezTo>
                  <a:pt x="2203857" y="247225"/>
                  <a:pt x="2228566" y="271935"/>
                  <a:pt x="2228566" y="302416"/>
                </a:cubicBezTo>
                <a:cubicBezTo>
                  <a:pt x="2228566" y="332897"/>
                  <a:pt x="2203857" y="357607"/>
                  <a:pt x="2173372" y="357607"/>
                </a:cubicBezTo>
                <a:cubicBezTo>
                  <a:pt x="2142892" y="357607"/>
                  <a:pt x="2118180" y="332897"/>
                  <a:pt x="2118180" y="302416"/>
                </a:cubicBezTo>
                <a:cubicBezTo>
                  <a:pt x="2118180" y="271935"/>
                  <a:pt x="2142892" y="247225"/>
                  <a:pt x="2173372" y="247225"/>
                </a:cubicBezTo>
                <a:close/>
                <a:moveTo>
                  <a:pt x="1909440" y="247225"/>
                </a:moveTo>
                <a:cubicBezTo>
                  <a:pt x="1939922" y="247225"/>
                  <a:pt x="1964634" y="271935"/>
                  <a:pt x="1964634" y="302416"/>
                </a:cubicBezTo>
                <a:cubicBezTo>
                  <a:pt x="1964634" y="332897"/>
                  <a:pt x="1939922" y="357607"/>
                  <a:pt x="1909440" y="357607"/>
                </a:cubicBezTo>
                <a:cubicBezTo>
                  <a:pt x="1878957" y="357607"/>
                  <a:pt x="1854246" y="332897"/>
                  <a:pt x="1854246" y="302416"/>
                </a:cubicBezTo>
                <a:cubicBezTo>
                  <a:pt x="1854246" y="271935"/>
                  <a:pt x="1878957" y="247225"/>
                  <a:pt x="1909440" y="247225"/>
                </a:cubicBezTo>
                <a:close/>
                <a:moveTo>
                  <a:pt x="1779142" y="247225"/>
                </a:moveTo>
                <a:cubicBezTo>
                  <a:pt x="1809626" y="247225"/>
                  <a:pt x="1834337" y="271935"/>
                  <a:pt x="1834337" y="302416"/>
                </a:cubicBezTo>
                <a:cubicBezTo>
                  <a:pt x="1834337" y="332897"/>
                  <a:pt x="1809626" y="357607"/>
                  <a:pt x="1779142" y="357607"/>
                </a:cubicBezTo>
                <a:cubicBezTo>
                  <a:pt x="1748663" y="357607"/>
                  <a:pt x="1723951" y="332897"/>
                  <a:pt x="1723951" y="302416"/>
                </a:cubicBezTo>
                <a:cubicBezTo>
                  <a:pt x="1723951" y="271935"/>
                  <a:pt x="1748663" y="247225"/>
                  <a:pt x="1779142" y="247225"/>
                </a:cubicBezTo>
                <a:close/>
                <a:moveTo>
                  <a:pt x="1645508" y="247225"/>
                </a:moveTo>
                <a:cubicBezTo>
                  <a:pt x="1675988" y="247225"/>
                  <a:pt x="1700702" y="271935"/>
                  <a:pt x="1700702" y="302416"/>
                </a:cubicBezTo>
                <a:cubicBezTo>
                  <a:pt x="1700702" y="332897"/>
                  <a:pt x="1675988" y="357607"/>
                  <a:pt x="1645508" y="357607"/>
                </a:cubicBezTo>
                <a:cubicBezTo>
                  <a:pt x="1615027" y="357607"/>
                  <a:pt x="1590313" y="332897"/>
                  <a:pt x="1590313" y="302416"/>
                </a:cubicBezTo>
                <a:cubicBezTo>
                  <a:pt x="1590313" y="271935"/>
                  <a:pt x="1615027" y="247225"/>
                  <a:pt x="1645508" y="247225"/>
                </a:cubicBezTo>
                <a:close/>
                <a:moveTo>
                  <a:pt x="1515217" y="247225"/>
                </a:moveTo>
                <a:cubicBezTo>
                  <a:pt x="1545695" y="247225"/>
                  <a:pt x="1570405" y="271935"/>
                  <a:pt x="1570405" y="302416"/>
                </a:cubicBezTo>
                <a:cubicBezTo>
                  <a:pt x="1570405" y="332897"/>
                  <a:pt x="1545695" y="357607"/>
                  <a:pt x="1515217" y="357607"/>
                </a:cubicBezTo>
                <a:cubicBezTo>
                  <a:pt x="1484732" y="357607"/>
                  <a:pt x="1460020" y="332897"/>
                  <a:pt x="1460020" y="302416"/>
                </a:cubicBezTo>
                <a:cubicBezTo>
                  <a:pt x="1460020" y="271935"/>
                  <a:pt x="1484732" y="247225"/>
                  <a:pt x="1515217" y="247225"/>
                </a:cubicBezTo>
                <a:close/>
                <a:moveTo>
                  <a:pt x="1381573" y="247225"/>
                </a:moveTo>
                <a:cubicBezTo>
                  <a:pt x="1412060" y="247225"/>
                  <a:pt x="1436767" y="271935"/>
                  <a:pt x="1436767" y="302416"/>
                </a:cubicBezTo>
                <a:cubicBezTo>
                  <a:pt x="1436767" y="332897"/>
                  <a:pt x="1412060" y="357607"/>
                  <a:pt x="1381573" y="357607"/>
                </a:cubicBezTo>
                <a:cubicBezTo>
                  <a:pt x="1351097" y="357607"/>
                  <a:pt x="1326384" y="332897"/>
                  <a:pt x="1326384" y="302416"/>
                </a:cubicBezTo>
                <a:cubicBezTo>
                  <a:pt x="1326384" y="271935"/>
                  <a:pt x="1351097" y="247225"/>
                  <a:pt x="1381573" y="247225"/>
                </a:cubicBezTo>
                <a:close/>
                <a:moveTo>
                  <a:pt x="7481898" y="120271"/>
                </a:moveTo>
                <a:cubicBezTo>
                  <a:pt x="7512380" y="120271"/>
                  <a:pt x="7537090" y="144981"/>
                  <a:pt x="7537090" y="175462"/>
                </a:cubicBezTo>
                <a:cubicBezTo>
                  <a:pt x="7537090" y="205943"/>
                  <a:pt x="7512380" y="230653"/>
                  <a:pt x="7481898" y="230653"/>
                </a:cubicBezTo>
                <a:cubicBezTo>
                  <a:pt x="7451416" y="230653"/>
                  <a:pt x="7426706" y="205943"/>
                  <a:pt x="7426706" y="175462"/>
                </a:cubicBezTo>
                <a:cubicBezTo>
                  <a:pt x="7426706" y="144981"/>
                  <a:pt x="7451416" y="120271"/>
                  <a:pt x="7481898" y="120271"/>
                </a:cubicBezTo>
                <a:close/>
                <a:moveTo>
                  <a:pt x="7341580" y="120271"/>
                </a:moveTo>
                <a:cubicBezTo>
                  <a:pt x="7372062" y="120271"/>
                  <a:pt x="7396772" y="144981"/>
                  <a:pt x="7396772" y="175462"/>
                </a:cubicBezTo>
                <a:cubicBezTo>
                  <a:pt x="7396772" y="205943"/>
                  <a:pt x="7372062" y="230653"/>
                  <a:pt x="7341580" y="230653"/>
                </a:cubicBezTo>
                <a:cubicBezTo>
                  <a:pt x="7311098" y="230653"/>
                  <a:pt x="7286388" y="205943"/>
                  <a:pt x="7286388" y="175462"/>
                </a:cubicBezTo>
                <a:cubicBezTo>
                  <a:pt x="7286388" y="144981"/>
                  <a:pt x="7311098" y="120271"/>
                  <a:pt x="7341580" y="120271"/>
                </a:cubicBezTo>
                <a:close/>
                <a:moveTo>
                  <a:pt x="7211288" y="120271"/>
                </a:moveTo>
                <a:cubicBezTo>
                  <a:pt x="7241770" y="120271"/>
                  <a:pt x="7266480" y="144981"/>
                  <a:pt x="7266480" y="175462"/>
                </a:cubicBezTo>
                <a:cubicBezTo>
                  <a:pt x="7266480" y="205943"/>
                  <a:pt x="7241770" y="230653"/>
                  <a:pt x="7211288" y="230653"/>
                </a:cubicBezTo>
                <a:cubicBezTo>
                  <a:pt x="7180806" y="230653"/>
                  <a:pt x="7156096" y="205943"/>
                  <a:pt x="7156096" y="175462"/>
                </a:cubicBezTo>
                <a:cubicBezTo>
                  <a:pt x="7156096" y="144981"/>
                  <a:pt x="7180806" y="120271"/>
                  <a:pt x="7211288" y="120271"/>
                </a:cubicBezTo>
                <a:close/>
                <a:moveTo>
                  <a:pt x="5223474" y="120271"/>
                </a:moveTo>
                <a:cubicBezTo>
                  <a:pt x="5253956" y="120271"/>
                  <a:pt x="5278666" y="144981"/>
                  <a:pt x="5278666" y="175462"/>
                </a:cubicBezTo>
                <a:cubicBezTo>
                  <a:pt x="5278666" y="205943"/>
                  <a:pt x="5253956" y="230653"/>
                  <a:pt x="5223474" y="230653"/>
                </a:cubicBezTo>
                <a:cubicBezTo>
                  <a:pt x="5192992" y="230653"/>
                  <a:pt x="5168282" y="205943"/>
                  <a:pt x="5168282" y="175462"/>
                </a:cubicBezTo>
                <a:cubicBezTo>
                  <a:pt x="5168282" y="144981"/>
                  <a:pt x="5192992" y="120271"/>
                  <a:pt x="5223474" y="120271"/>
                </a:cubicBezTo>
                <a:close/>
                <a:moveTo>
                  <a:pt x="5093178" y="120271"/>
                </a:moveTo>
                <a:cubicBezTo>
                  <a:pt x="5123660" y="120271"/>
                  <a:pt x="5148370" y="144981"/>
                  <a:pt x="5148370" y="175462"/>
                </a:cubicBezTo>
                <a:cubicBezTo>
                  <a:pt x="5148370" y="205943"/>
                  <a:pt x="5123660" y="230653"/>
                  <a:pt x="5093178" y="230653"/>
                </a:cubicBezTo>
                <a:cubicBezTo>
                  <a:pt x="5062696" y="230653"/>
                  <a:pt x="5037986" y="205943"/>
                  <a:pt x="5037986" y="175462"/>
                </a:cubicBezTo>
                <a:cubicBezTo>
                  <a:pt x="5037986" y="144981"/>
                  <a:pt x="5062696" y="120271"/>
                  <a:pt x="5093178" y="120271"/>
                </a:cubicBezTo>
                <a:close/>
                <a:moveTo>
                  <a:pt x="4161077" y="120271"/>
                </a:moveTo>
                <a:cubicBezTo>
                  <a:pt x="4191559" y="120271"/>
                  <a:pt x="4216269" y="144981"/>
                  <a:pt x="4216269" y="175462"/>
                </a:cubicBezTo>
                <a:cubicBezTo>
                  <a:pt x="4216269" y="205943"/>
                  <a:pt x="4191559" y="230653"/>
                  <a:pt x="4161077" y="230653"/>
                </a:cubicBezTo>
                <a:cubicBezTo>
                  <a:pt x="4130595" y="230653"/>
                  <a:pt x="4105885" y="205943"/>
                  <a:pt x="4105885" y="175462"/>
                </a:cubicBezTo>
                <a:cubicBezTo>
                  <a:pt x="4105885" y="144981"/>
                  <a:pt x="4130595" y="120271"/>
                  <a:pt x="4161077" y="120271"/>
                </a:cubicBezTo>
                <a:close/>
                <a:moveTo>
                  <a:pt x="4030786" y="120271"/>
                </a:moveTo>
                <a:cubicBezTo>
                  <a:pt x="4061268" y="120271"/>
                  <a:pt x="4085978" y="144981"/>
                  <a:pt x="4085978" y="175462"/>
                </a:cubicBezTo>
                <a:cubicBezTo>
                  <a:pt x="4085978" y="205943"/>
                  <a:pt x="4061268" y="230653"/>
                  <a:pt x="4030786" y="230653"/>
                </a:cubicBezTo>
                <a:cubicBezTo>
                  <a:pt x="4000304" y="230653"/>
                  <a:pt x="3975594" y="205943"/>
                  <a:pt x="3975594" y="175462"/>
                </a:cubicBezTo>
                <a:cubicBezTo>
                  <a:pt x="3975594" y="144981"/>
                  <a:pt x="4000304" y="120271"/>
                  <a:pt x="4030786" y="120271"/>
                </a:cubicBezTo>
                <a:close/>
                <a:moveTo>
                  <a:pt x="3897148" y="120271"/>
                </a:moveTo>
                <a:cubicBezTo>
                  <a:pt x="3927630" y="120271"/>
                  <a:pt x="3952340" y="144981"/>
                  <a:pt x="3952340" y="175462"/>
                </a:cubicBezTo>
                <a:cubicBezTo>
                  <a:pt x="3952340" y="205943"/>
                  <a:pt x="3927630" y="230653"/>
                  <a:pt x="3897148" y="230653"/>
                </a:cubicBezTo>
                <a:cubicBezTo>
                  <a:pt x="3866666" y="230653"/>
                  <a:pt x="3841956" y="205943"/>
                  <a:pt x="3841956" y="175462"/>
                </a:cubicBezTo>
                <a:cubicBezTo>
                  <a:pt x="3841956" y="144981"/>
                  <a:pt x="3866666" y="120271"/>
                  <a:pt x="3897148" y="120271"/>
                </a:cubicBezTo>
                <a:close/>
                <a:moveTo>
                  <a:pt x="3763514" y="120271"/>
                </a:moveTo>
                <a:cubicBezTo>
                  <a:pt x="3793996" y="120271"/>
                  <a:pt x="3818706" y="144981"/>
                  <a:pt x="3818706" y="175462"/>
                </a:cubicBezTo>
                <a:cubicBezTo>
                  <a:pt x="3818706" y="205943"/>
                  <a:pt x="3793996" y="230653"/>
                  <a:pt x="3763514" y="230653"/>
                </a:cubicBezTo>
                <a:cubicBezTo>
                  <a:pt x="3733032" y="230653"/>
                  <a:pt x="3708322" y="205943"/>
                  <a:pt x="3708322" y="175462"/>
                </a:cubicBezTo>
                <a:cubicBezTo>
                  <a:pt x="3708322" y="144981"/>
                  <a:pt x="3733032" y="120271"/>
                  <a:pt x="3763514" y="120271"/>
                </a:cubicBezTo>
                <a:close/>
                <a:moveTo>
                  <a:pt x="3633221" y="120271"/>
                </a:moveTo>
                <a:cubicBezTo>
                  <a:pt x="3663703" y="120271"/>
                  <a:pt x="3688413" y="144981"/>
                  <a:pt x="3688413" y="175462"/>
                </a:cubicBezTo>
                <a:cubicBezTo>
                  <a:pt x="3688413" y="205943"/>
                  <a:pt x="3663703" y="230653"/>
                  <a:pt x="3633221" y="230653"/>
                </a:cubicBezTo>
                <a:cubicBezTo>
                  <a:pt x="3602739" y="230653"/>
                  <a:pt x="3578029" y="205943"/>
                  <a:pt x="3578029" y="175462"/>
                </a:cubicBezTo>
                <a:cubicBezTo>
                  <a:pt x="3578029" y="144981"/>
                  <a:pt x="3602739" y="120271"/>
                  <a:pt x="3633221" y="120271"/>
                </a:cubicBezTo>
                <a:close/>
                <a:moveTo>
                  <a:pt x="3499589" y="120271"/>
                </a:moveTo>
                <a:cubicBezTo>
                  <a:pt x="3530071" y="120271"/>
                  <a:pt x="3554781" y="144981"/>
                  <a:pt x="3554781" y="175462"/>
                </a:cubicBezTo>
                <a:cubicBezTo>
                  <a:pt x="3554781" y="205943"/>
                  <a:pt x="3530071" y="230653"/>
                  <a:pt x="3499589" y="230653"/>
                </a:cubicBezTo>
                <a:cubicBezTo>
                  <a:pt x="3469107" y="230653"/>
                  <a:pt x="3444397" y="205943"/>
                  <a:pt x="3444397" y="175462"/>
                </a:cubicBezTo>
                <a:cubicBezTo>
                  <a:pt x="3444397" y="144981"/>
                  <a:pt x="3469107" y="120271"/>
                  <a:pt x="3499589" y="120271"/>
                </a:cubicBezTo>
                <a:close/>
                <a:moveTo>
                  <a:pt x="3369293" y="120271"/>
                </a:moveTo>
                <a:cubicBezTo>
                  <a:pt x="3399775" y="120271"/>
                  <a:pt x="3424485" y="144981"/>
                  <a:pt x="3424485" y="175462"/>
                </a:cubicBezTo>
                <a:cubicBezTo>
                  <a:pt x="3424485" y="205943"/>
                  <a:pt x="3399775" y="230653"/>
                  <a:pt x="3369293" y="230653"/>
                </a:cubicBezTo>
                <a:cubicBezTo>
                  <a:pt x="3338811" y="230653"/>
                  <a:pt x="3314101" y="205943"/>
                  <a:pt x="3314101" y="175462"/>
                </a:cubicBezTo>
                <a:cubicBezTo>
                  <a:pt x="3314101" y="144981"/>
                  <a:pt x="3338811" y="120271"/>
                  <a:pt x="3369293" y="120271"/>
                </a:cubicBezTo>
                <a:close/>
                <a:moveTo>
                  <a:pt x="3235657" y="120271"/>
                </a:moveTo>
                <a:cubicBezTo>
                  <a:pt x="3266139" y="120271"/>
                  <a:pt x="3290849" y="144981"/>
                  <a:pt x="3290849" y="175462"/>
                </a:cubicBezTo>
                <a:cubicBezTo>
                  <a:pt x="3290849" y="205943"/>
                  <a:pt x="3266139" y="230653"/>
                  <a:pt x="3235657" y="230653"/>
                </a:cubicBezTo>
                <a:cubicBezTo>
                  <a:pt x="3205175" y="230653"/>
                  <a:pt x="3180465" y="205943"/>
                  <a:pt x="3180465" y="175462"/>
                </a:cubicBezTo>
                <a:cubicBezTo>
                  <a:pt x="3180465" y="144981"/>
                  <a:pt x="3205175" y="120271"/>
                  <a:pt x="3235657" y="120271"/>
                </a:cubicBezTo>
                <a:close/>
                <a:moveTo>
                  <a:pt x="3098682" y="120271"/>
                </a:moveTo>
                <a:cubicBezTo>
                  <a:pt x="3129164" y="120271"/>
                  <a:pt x="3153874" y="144981"/>
                  <a:pt x="3153874" y="175462"/>
                </a:cubicBezTo>
                <a:cubicBezTo>
                  <a:pt x="3153874" y="205943"/>
                  <a:pt x="3129164" y="230653"/>
                  <a:pt x="3098682" y="230653"/>
                </a:cubicBezTo>
                <a:cubicBezTo>
                  <a:pt x="3068200" y="230653"/>
                  <a:pt x="3043490" y="205943"/>
                  <a:pt x="3043490" y="175462"/>
                </a:cubicBezTo>
                <a:cubicBezTo>
                  <a:pt x="3043490" y="144981"/>
                  <a:pt x="3068200" y="120271"/>
                  <a:pt x="3098682" y="120271"/>
                </a:cubicBezTo>
                <a:close/>
                <a:moveTo>
                  <a:pt x="2971729" y="120271"/>
                </a:moveTo>
                <a:cubicBezTo>
                  <a:pt x="3002211" y="120271"/>
                  <a:pt x="3026921" y="144981"/>
                  <a:pt x="3026921" y="175462"/>
                </a:cubicBezTo>
                <a:cubicBezTo>
                  <a:pt x="3026921" y="205943"/>
                  <a:pt x="3002211" y="230653"/>
                  <a:pt x="2971729" y="230653"/>
                </a:cubicBezTo>
                <a:cubicBezTo>
                  <a:pt x="2941247" y="230653"/>
                  <a:pt x="2916537" y="205943"/>
                  <a:pt x="2916537" y="175462"/>
                </a:cubicBezTo>
                <a:cubicBezTo>
                  <a:pt x="2916537" y="144981"/>
                  <a:pt x="2941247" y="120271"/>
                  <a:pt x="2971729" y="120271"/>
                </a:cubicBezTo>
                <a:close/>
                <a:moveTo>
                  <a:pt x="2707903" y="120271"/>
                </a:moveTo>
                <a:cubicBezTo>
                  <a:pt x="2738390" y="120271"/>
                  <a:pt x="2763100" y="144981"/>
                  <a:pt x="2763100" y="175462"/>
                </a:cubicBezTo>
                <a:cubicBezTo>
                  <a:pt x="2763100" y="205943"/>
                  <a:pt x="2738390" y="230653"/>
                  <a:pt x="2707903" y="230653"/>
                </a:cubicBezTo>
                <a:cubicBezTo>
                  <a:pt x="2677427" y="230653"/>
                  <a:pt x="2652715" y="205943"/>
                  <a:pt x="2652715" y="175462"/>
                </a:cubicBezTo>
                <a:cubicBezTo>
                  <a:pt x="2652715" y="144981"/>
                  <a:pt x="2677427" y="120271"/>
                  <a:pt x="2707903" y="120271"/>
                </a:cubicBezTo>
                <a:close/>
                <a:moveTo>
                  <a:pt x="2570933" y="120271"/>
                </a:moveTo>
                <a:cubicBezTo>
                  <a:pt x="2601414" y="120271"/>
                  <a:pt x="2626123" y="144981"/>
                  <a:pt x="2626123" y="175462"/>
                </a:cubicBezTo>
                <a:cubicBezTo>
                  <a:pt x="2626123" y="205943"/>
                  <a:pt x="2601414" y="230653"/>
                  <a:pt x="2570933" y="230653"/>
                </a:cubicBezTo>
                <a:cubicBezTo>
                  <a:pt x="2540449" y="230653"/>
                  <a:pt x="2515738" y="205943"/>
                  <a:pt x="2515738" y="175462"/>
                </a:cubicBezTo>
                <a:cubicBezTo>
                  <a:pt x="2515738" y="144981"/>
                  <a:pt x="2540449" y="120271"/>
                  <a:pt x="2570933" y="120271"/>
                </a:cubicBezTo>
                <a:close/>
                <a:moveTo>
                  <a:pt x="2437297" y="120271"/>
                </a:moveTo>
                <a:cubicBezTo>
                  <a:pt x="2467781" y="120271"/>
                  <a:pt x="2492487" y="144981"/>
                  <a:pt x="2492487" y="175462"/>
                </a:cubicBezTo>
                <a:cubicBezTo>
                  <a:pt x="2492487" y="205943"/>
                  <a:pt x="2467781" y="230653"/>
                  <a:pt x="2437297" y="230653"/>
                </a:cubicBezTo>
                <a:cubicBezTo>
                  <a:pt x="2406818" y="230653"/>
                  <a:pt x="2382108" y="205943"/>
                  <a:pt x="2382108" y="175462"/>
                </a:cubicBezTo>
                <a:cubicBezTo>
                  <a:pt x="2382108" y="144981"/>
                  <a:pt x="2406818" y="120271"/>
                  <a:pt x="2437297" y="120271"/>
                </a:cubicBezTo>
                <a:close/>
                <a:moveTo>
                  <a:pt x="2303666" y="120271"/>
                </a:moveTo>
                <a:cubicBezTo>
                  <a:pt x="2334146" y="120271"/>
                  <a:pt x="2358856" y="144981"/>
                  <a:pt x="2358856" y="175462"/>
                </a:cubicBezTo>
                <a:cubicBezTo>
                  <a:pt x="2358856" y="205943"/>
                  <a:pt x="2334146" y="230653"/>
                  <a:pt x="2303666" y="230653"/>
                </a:cubicBezTo>
                <a:cubicBezTo>
                  <a:pt x="2273184" y="230653"/>
                  <a:pt x="2248473" y="205943"/>
                  <a:pt x="2248473" y="175462"/>
                </a:cubicBezTo>
                <a:cubicBezTo>
                  <a:pt x="2248473" y="144981"/>
                  <a:pt x="2273184" y="120271"/>
                  <a:pt x="2303666" y="120271"/>
                </a:cubicBezTo>
                <a:close/>
                <a:moveTo>
                  <a:pt x="2173372" y="120271"/>
                </a:moveTo>
                <a:cubicBezTo>
                  <a:pt x="2203857" y="120271"/>
                  <a:pt x="2228566" y="144981"/>
                  <a:pt x="2228566" y="175462"/>
                </a:cubicBezTo>
                <a:cubicBezTo>
                  <a:pt x="2228566" y="205943"/>
                  <a:pt x="2203857" y="230653"/>
                  <a:pt x="2173372" y="230653"/>
                </a:cubicBezTo>
                <a:cubicBezTo>
                  <a:pt x="2142892" y="230653"/>
                  <a:pt x="2118180" y="205943"/>
                  <a:pt x="2118180" y="175462"/>
                </a:cubicBezTo>
                <a:cubicBezTo>
                  <a:pt x="2118180" y="144981"/>
                  <a:pt x="2142892" y="120271"/>
                  <a:pt x="2173372" y="120271"/>
                </a:cubicBezTo>
                <a:close/>
                <a:moveTo>
                  <a:pt x="7341580" y="0"/>
                </a:moveTo>
                <a:cubicBezTo>
                  <a:pt x="7372062" y="0"/>
                  <a:pt x="7396772" y="24710"/>
                  <a:pt x="7396772" y="55191"/>
                </a:cubicBezTo>
                <a:cubicBezTo>
                  <a:pt x="7396772" y="85672"/>
                  <a:pt x="7372062" y="110382"/>
                  <a:pt x="7341580" y="110382"/>
                </a:cubicBezTo>
                <a:cubicBezTo>
                  <a:pt x="7311098" y="110382"/>
                  <a:pt x="7286388" y="85672"/>
                  <a:pt x="7286388" y="55191"/>
                </a:cubicBezTo>
                <a:cubicBezTo>
                  <a:pt x="7286388" y="24710"/>
                  <a:pt x="7311098" y="0"/>
                  <a:pt x="7341580" y="0"/>
                </a:cubicBezTo>
                <a:close/>
                <a:moveTo>
                  <a:pt x="4294713" y="0"/>
                </a:moveTo>
                <a:cubicBezTo>
                  <a:pt x="4325195" y="0"/>
                  <a:pt x="4349905" y="24710"/>
                  <a:pt x="4349905" y="55191"/>
                </a:cubicBezTo>
                <a:cubicBezTo>
                  <a:pt x="4349905" y="85672"/>
                  <a:pt x="4325195" y="110382"/>
                  <a:pt x="4294713" y="110382"/>
                </a:cubicBezTo>
                <a:cubicBezTo>
                  <a:pt x="4264231" y="110382"/>
                  <a:pt x="4239521" y="85672"/>
                  <a:pt x="4239521" y="55191"/>
                </a:cubicBezTo>
                <a:cubicBezTo>
                  <a:pt x="4239521" y="24710"/>
                  <a:pt x="4264231" y="0"/>
                  <a:pt x="4294713" y="0"/>
                </a:cubicBezTo>
                <a:close/>
                <a:moveTo>
                  <a:pt x="4161077" y="0"/>
                </a:moveTo>
                <a:cubicBezTo>
                  <a:pt x="4191559" y="0"/>
                  <a:pt x="4216269" y="24710"/>
                  <a:pt x="4216269" y="55191"/>
                </a:cubicBezTo>
                <a:cubicBezTo>
                  <a:pt x="4216269" y="85672"/>
                  <a:pt x="4191559" y="110382"/>
                  <a:pt x="4161077" y="110382"/>
                </a:cubicBezTo>
                <a:cubicBezTo>
                  <a:pt x="4130595" y="110382"/>
                  <a:pt x="4105885" y="85672"/>
                  <a:pt x="4105885" y="55191"/>
                </a:cubicBezTo>
                <a:cubicBezTo>
                  <a:pt x="4105885" y="24710"/>
                  <a:pt x="4130595" y="0"/>
                  <a:pt x="4161077" y="0"/>
                </a:cubicBezTo>
                <a:close/>
                <a:moveTo>
                  <a:pt x="4030786" y="0"/>
                </a:moveTo>
                <a:cubicBezTo>
                  <a:pt x="4061268" y="0"/>
                  <a:pt x="4085978" y="24710"/>
                  <a:pt x="4085978" y="55191"/>
                </a:cubicBezTo>
                <a:cubicBezTo>
                  <a:pt x="4085978" y="85672"/>
                  <a:pt x="4061268" y="110382"/>
                  <a:pt x="4030786" y="110382"/>
                </a:cubicBezTo>
                <a:cubicBezTo>
                  <a:pt x="4000304" y="110382"/>
                  <a:pt x="3975594" y="85672"/>
                  <a:pt x="3975594" y="55191"/>
                </a:cubicBezTo>
                <a:cubicBezTo>
                  <a:pt x="3975594" y="24710"/>
                  <a:pt x="4000304" y="0"/>
                  <a:pt x="4030786" y="0"/>
                </a:cubicBezTo>
                <a:close/>
                <a:moveTo>
                  <a:pt x="3897148" y="0"/>
                </a:moveTo>
                <a:cubicBezTo>
                  <a:pt x="3927630" y="0"/>
                  <a:pt x="3952340" y="24710"/>
                  <a:pt x="3952340" y="55191"/>
                </a:cubicBezTo>
                <a:cubicBezTo>
                  <a:pt x="3952340" y="85672"/>
                  <a:pt x="3927630" y="110382"/>
                  <a:pt x="3897148" y="110382"/>
                </a:cubicBezTo>
                <a:cubicBezTo>
                  <a:pt x="3866666" y="110382"/>
                  <a:pt x="3841956" y="85672"/>
                  <a:pt x="3841956" y="55191"/>
                </a:cubicBezTo>
                <a:cubicBezTo>
                  <a:pt x="3841956" y="24710"/>
                  <a:pt x="3866666" y="0"/>
                  <a:pt x="3897148" y="0"/>
                </a:cubicBezTo>
                <a:close/>
                <a:moveTo>
                  <a:pt x="3763514" y="0"/>
                </a:moveTo>
                <a:cubicBezTo>
                  <a:pt x="3793996" y="0"/>
                  <a:pt x="3818706" y="24710"/>
                  <a:pt x="3818706" y="55191"/>
                </a:cubicBezTo>
                <a:cubicBezTo>
                  <a:pt x="3818706" y="85672"/>
                  <a:pt x="3793996" y="110382"/>
                  <a:pt x="3763514" y="110382"/>
                </a:cubicBezTo>
                <a:cubicBezTo>
                  <a:pt x="3733032" y="110382"/>
                  <a:pt x="3708322" y="85672"/>
                  <a:pt x="3708322" y="55191"/>
                </a:cubicBezTo>
                <a:cubicBezTo>
                  <a:pt x="3708322" y="24710"/>
                  <a:pt x="3733032" y="0"/>
                  <a:pt x="3763514" y="0"/>
                </a:cubicBezTo>
                <a:close/>
                <a:moveTo>
                  <a:pt x="3633221" y="0"/>
                </a:moveTo>
                <a:cubicBezTo>
                  <a:pt x="3663703" y="0"/>
                  <a:pt x="3688413" y="24710"/>
                  <a:pt x="3688413" y="55191"/>
                </a:cubicBezTo>
                <a:cubicBezTo>
                  <a:pt x="3688413" y="85672"/>
                  <a:pt x="3663703" y="110382"/>
                  <a:pt x="3633221" y="110382"/>
                </a:cubicBezTo>
                <a:cubicBezTo>
                  <a:pt x="3602739" y="110382"/>
                  <a:pt x="3578029" y="85672"/>
                  <a:pt x="3578029" y="55191"/>
                </a:cubicBezTo>
                <a:cubicBezTo>
                  <a:pt x="3578029" y="24710"/>
                  <a:pt x="3602739" y="0"/>
                  <a:pt x="3633221" y="0"/>
                </a:cubicBezTo>
                <a:close/>
                <a:moveTo>
                  <a:pt x="3499589" y="0"/>
                </a:moveTo>
                <a:cubicBezTo>
                  <a:pt x="3530071" y="0"/>
                  <a:pt x="3554781" y="24710"/>
                  <a:pt x="3554781" y="55191"/>
                </a:cubicBezTo>
                <a:cubicBezTo>
                  <a:pt x="3554781" y="85672"/>
                  <a:pt x="3530071" y="110382"/>
                  <a:pt x="3499589" y="110382"/>
                </a:cubicBezTo>
                <a:cubicBezTo>
                  <a:pt x="3469107" y="110382"/>
                  <a:pt x="3444397" y="85672"/>
                  <a:pt x="3444397" y="55191"/>
                </a:cubicBezTo>
                <a:cubicBezTo>
                  <a:pt x="3444397" y="24710"/>
                  <a:pt x="3469107" y="0"/>
                  <a:pt x="3499589" y="0"/>
                </a:cubicBezTo>
                <a:close/>
                <a:moveTo>
                  <a:pt x="3369293" y="0"/>
                </a:moveTo>
                <a:cubicBezTo>
                  <a:pt x="3399775" y="0"/>
                  <a:pt x="3424485" y="24710"/>
                  <a:pt x="3424485" y="55191"/>
                </a:cubicBezTo>
                <a:cubicBezTo>
                  <a:pt x="3424485" y="85672"/>
                  <a:pt x="3399775" y="110382"/>
                  <a:pt x="3369293" y="110382"/>
                </a:cubicBezTo>
                <a:cubicBezTo>
                  <a:pt x="3338811" y="110382"/>
                  <a:pt x="3314101" y="85672"/>
                  <a:pt x="3314101" y="55191"/>
                </a:cubicBezTo>
                <a:cubicBezTo>
                  <a:pt x="3314101" y="24710"/>
                  <a:pt x="3338811" y="0"/>
                  <a:pt x="3369293" y="0"/>
                </a:cubicBezTo>
                <a:close/>
                <a:moveTo>
                  <a:pt x="3235657" y="0"/>
                </a:moveTo>
                <a:cubicBezTo>
                  <a:pt x="3266139" y="0"/>
                  <a:pt x="3290849" y="24710"/>
                  <a:pt x="3290849" y="55191"/>
                </a:cubicBezTo>
                <a:cubicBezTo>
                  <a:pt x="3290849" y="85672"/>
                  <a:pt x="3266139" y="110382"/>
                  <a:pt x="3235657" y="110382"/>
                </a:cubicBezTo>
                <a:cubicBezTo>
                  <a:pt x="3205175" y="110382"/>
                  <a:pt x="3180465" y="85672"/>
                  <a:pt x="3180465" y="55191"/>
                </a:cubicBezTo>
                <a:cubicBezTo>
                  <a:pt x="3180465" y="24710"/>
                  <a:pt x="3205175" y="0"/>
                  <a:pt x="3235657" y="0"/>
                </a:cubicBezTo>
                <a:close/>
                <a:moveTo>
                  <a:pt x="2834862" y="0"/>
                </a:moveTo>
                <a:cubicBezTo>
                  <a:pt x="2865342" y="0"/>
                  <a:pt x="2890052" y="24710"/>
                  <a:pt x="2890052" y="55191"/>
                </a:cubicBezTo>
                <a:cubicBezTo>
                  <a:pt x="2890052" y="85672"/>
                  <a:pt x="2865342" y="110382"/>
                  <a:pt x="2834862" y="110382"/>
                </a:cubicBezTo>
                <a:cubicBezTo>
                  <a:pt x="2804379" y="110382"/>
                  <a:pt x="2779671" y="85672"/>
                  <a:pt x="2779671" y="55191"/>
                </a:cubicBezTo>
                <a:cubicBezTo>
                  <a:pt x="2779671" y="24710"/>
                  <a:pt x="2804379" y="0"/>
                  <a:pt x="2834862" y="0"/>
                </a:cubicBezTo>
                <a:close/>
                <a:moveTo>
                  <a:pt x="2707903" y="0"/>
                </a:moveTo>
                <a:cubicBezTo>
                  <a:pt x="2738390" y="0"/>
                  <a:pt x="2763100" y="24710"/>
                  <a:pt x="2763100" y="55191"/>
                </a:cubicBezTo>
                <a:cubicBezTo>
                  <a:pt x="2763100" y="85672"/>
                  <a:pt x="2738390" y="110382"/>
                  <a:pt x="2707903" y="110382"/>
                </a:cubicBezTo>
                <a:cubicBezTo>
                  <a:pt x="2677427" y="110382"/>
                  <a:pt x="2652715" y="85672"/>
                  <a:pt x="2652715" y="55191"/>
                </a:cubicBezTo>
                <a:cubicBezTo>
                  <a:pt x="2652715" y="24710"/>
                  <a:pt x="2677427" y="0"/>
                  <a:pt x="2707903" y="0"/>
                </a:cubicBezTo>
                <a:close/>
                <a:moveTo>
                  <a:pt x="2570933" y="0"/>
                </a:moveTo>
                <a:cubicBezTo>
                  <a:pt x="2601414" y="0"/>
                  <a:pt x="2626123" y="24710"/>
                  <a:pt x="2626123" y="55191"/>
                </a:cubicBezTo>
                <a:cubicBezTo>
                  <a:pt x="2626123" y="85672"/>
                  <a:pt x="2601414" y="110382"/>
                  <a:pt x="2570933" y="110382"/>
                </a:cubicBezTo>
                <a:cubicBezTo>
                  <a:pt x="2540449" y="110382"/>
                  <a:pt x="2515738" y="85672"/>
                  <a:pt x="2515738" y="55191"/>
                </a:cubicBezTo>
                <a:cubicBezTo>
                  <a:pt x="2515738" y="24710"/>
                  <a:pt x="2540449" y="0"/>
                  <a:pt x="2570933" y="0"/>
                </a:cubicBezTo>
                <a:close/>
                <a:moveTo>
                  <a:pt x="2437297" y="0"/>
                </a:moveTo>
                <a:cubicBezTo>
                  <a:pt x="2467781" y="0"/>
                  <a:pt x="2492487" y="24710"/>
                  <a:pt x="2492487" y="55191"/>
                </a:cubicBezTo>
                <a:cubicBezTo>
                  <a:pt x="2492487" y="85672"/>
                  <a:pt x="2467781" y="110382"/>
                  <a:pt x="2437297" y="110382"/>
                </a:cubicBezTo>
                <a:cubicBezTo>
                  <a:pt x="2406818" y="110382"/>
                  <a:pt x="2382108" y="85672"/>
                  <a:pt x="2382108" y="55191"/>
                </a:cubicBezTo>
                <a:cubicBezTo>
                  <a:pt x="2382108" y="24710"/>
                  <a:pt x="2406818" y="0"/>
                  <a:pt x="2437297"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a:defRPr/>
            </a:pPr>
            <a:endParaRPr lang="en-US" dirty="0">
              <a:solidFill>
                <a:srgbClr val="505050"/>
              </a:solidFill>
              <a:latin typeface="Segoe UI"/>
            </a:endParaRPr>
          </a:p>
        </p:txBody>
      </p:sp>
      <p:sp>
        <p:nvSpPr>
          <p:cNvPr id="828" name="Freeform: Shape 827"/>
          <p:cNvSpPr/>
          <p:nvPr/>
        </p:nvSpPr>
        <p:spPr>
          <a:xfrm>
            <a:off x="1297836" y="3120127"/>
            <a:ext cx="669864" cy="309672"/>
          </a:xfrm>
          <a:custGeom>
            <a:avLst/>
            <a:gdLst>
              <a:gd name="connsiteX0" fmla="*/ 333618 w 531187"/>
              <a:gd name="connsiteY0" fmla="*/ 682320 h 835576"/>
              <a:gd name="connsiteX1" fmla="*/ 303480 w 531187"/>
              <a:gd name="connsiteY1" fmla="*/ 696608 h 835576"/>
              <a:gd name="connsiteX2" fmla="*/ 292318 w 531187"/>
              <a:gd name="connsiteY2" fmla="*/ 734224 h 835576"/>
              <a:gd name="connsiteX3" fmla="*/ 303480 w 531187"/>
              <a:gd name="connsiteY3" fmla="*/ 771840 h 835576"/>
              <a:gd name="connsiteX4" fmla="*/ 332725 w 531187"/>
              <a:gd name="connsiteY4" fmla="*/ 785681 h 835576"/>
              <a:gd name="connsiteX5" fmla="*/ 362305 w 531187"/>
              <a:gd name="connsiteY5" fmla="*/ 772287 h 835576"/>
              <a:gd name="connsiteX6" fmla="*/ 373243 w 531187"/>
              <a:gd name="connsiteY6" fmla="*/ 734894 h 835576"/>
              <a:gd name="connsiteX7" fmla="*/ 362639 w 531187"/>
              <a:gd name="connsiteY7" fmla="*/ 696161 h 835576"/>
              <a:gd name="connsiteX8" fmla="*/ 333618 w 531187"/>
              <a:gd name="connsiteY8" fmla="*/ 682320 h 835576"/>
              <a:gd name="connsiteX9" fmla="*/ 435863 w 531187"/>
              <a:gd name="connsiteY9" fmla="*/ 653968 h 835576"/>
              <a:gd name="connsiteX10" fmla="*/ 471917 w 531187"/>
              <a:gd name="connsiteY10" fmla="*/ 653968 h 835576"/>
              <a:gd name="connsiteX11" fmla="*/ 471917 w 531187"/>
              <a:gd name="connsiteY11" fmla="*/ 784788 h 835576"/>
              <a:gd name="connsiteX12" fmla="*/ 531187 w 531187"/>
              <a:gd name="connsiteY12" fmla="*/ 784788 h 835576"/>
              <a:gd name="connsiteX13" fmla="*/ 531187 w 531187"/>
              <a:gd name="connsiteY13" fmla="*/ 814033 h 835576"/>
              <a:gd name="connsiteX14" fmla="*/ 435863 w 531187"/>
              <a:gd name="connsiteY14" fmla="*/ 814033 h 835576"/>
              <a:gd name="connsiteX15" fmla="*/ 435863 w 531187"/>
              <a:gd name="connsiteY15" fmla="*/ 653968 h 835576"/>
              <a:gd name="connsiteX16" fmla="*/ 334623 w 531187"/>
              <a:gd name="connsiteY16" fmla="*/ 651290 h 835576"/>
              <a:gd name="connsiteX17" fmla="*/ 389987 w 531187"/>
              <a:gd name="connsiteY17" fmla="*/ 673725 h 835576"/>
              <a:gd name="connsiteX18" fmla="*/ 411195 w 531187"/>
              <a:gd name="connsiteY18" fmla="*/ 732885 h 835576"/>
              <a:gd name="connsiteX19" fmla="*/ 389205 w 531187"/>
              <a:gd name="connsiteY19" fmla="*/ 793718 h 835576"/>
              <a:gd name="connsiteX20" fmla="*/ 387754 w 531187"/>
              <a:gd name="connsiteY20" fmla="*/ 795225 h 835576"/>
              <a:gd name="connsiteX21" fmla="*/ 386303 w 531187"/>
              <a:gd name="connsiteY21" fmla="*/ 796620 h 835576"/>
              <a:gd name="connsiteX22" fmla="*/ 426822 w 531187"/>
              <a:gd name="connsiteY22" fmla="*/ 835576 h 835576"/>
              <a:gd name="connsiteX23" fmla="*/ 376369 w 531187"/>
              <a:gd name="connsiteY23" fmla="*/ 835576 h 835576"/>
              <a:gd name="connsiteX24" fmla="*/ 355161 w 531187"/>
              <a:gd name="connsiteY24" fmla="*/ 814033 h 835576"/>
              <a:gd name="connsiteX25" fmla="*/ 332055 w 531187"/>
              <a:gd name="connsiteY25" fmla="*/ 816824 h 835576"/>
              <a:gd name="connsiteX26" fmla="*/ 276021 w 531187"/>
              <a:gd name="connsiteY26" fmla="*/ 794499 h 835576"/>
              <a:gd name="connsiteX27" fmla="*/ 254367 w 531187"/>
              <a:gd name="connsiteY27" fmla="*/ 736122 h 835576"/>
              <a:gd name="connsiteX28" fmla="*/ 276356 w 531187"/>
              <a:gd name="connsiteY28" fmla="*/ 674730 h 835576"/>
              <a:gd name="connsiteX29" fmla="*/ 334623 w 531187"/>
              <a:gd name="connsiteY29" fmla="*/ 651290 h 835576"/>
              <a:gd name="connsiteX30" fmla="*/ 195394 w 531187"/>
              <a:gd name="connsiteY30" fmla="*/ 651290 h 835576"/>
              <a:gd name="connsiteX31" fmla="*/ 217551 w 531187"/>
              <a:gd name="connsiteY31" fmla="*/ 652796 h 835576"/>
              <a:gd name="connsiteX32" fmla="*/ 235354 w 531187"/>
              <a:gd name="connsiteY32" fmla="*/ 657429 h 835576"/>
              <a:gd name="connsiteX33" fmla="*/ 235354 w 531187"/>
              <a:gd name="connsiteY33" fmla="*/ 690803 h 835576"/>
              <a:gd name="connsiteX34" fmla="*/ 226592 w 531187"/>
              <a:gd name="connsiteY34" fmla="*/ 685892 h 835576"/>
              <a:gd name="connsiteX35" fmla="*/ 216825 w 531187"/>
              <a:gd name="connsiteY35" fmla="*/ 682376 h 835576"/>
              <a:gd name="connsiteX36" fmla="*/ 206835 w 531187"/>
              <a:gd name="connsiteY36" fmla="*/ 680311 h 835576"/>
              <a:gd name="connsiteX37" fmla="*/ 197403 w 531187"/>
              <a:gd name="connsiteY37" fmla="*/ 679641 h 835576"/>
              <a:gd name="connsiteX38" fmla="*/ 186241 w 531187"/>
              <a:gd name="connsiteY38" fmla="*/ 680813 h 835576"/>
              <a:gd name="connsiteX39" fmla="*/ 177758 w 531187"/>
              <a:gd name="connsiteY39" fmla="*/ 684106 h 835576"/>
              <a:gd name="connsiteX40" fmla="*/ 172400 w 531187"/>
              <a:gd name="connsiteY40" fmla="*/ 689185 h 835576"/>
              <a:gd name="connsiteX41" fmla="*/ 170502 w 531187"/>
              <a:gd name="connsiteY41" fmla="*/ 695826 h 835576"/>
              <a:gd name="connsiteX42" fmla="*/ 172623 w 531187"/>
              <a:gd name="connsiteY42" fmla="*/ 703026 h 835576"/>
              <a:gd name="connsiteX43" fmla="*/ 178651 w 531187"/>
              <a:gd name="connsiteY43" fmla="*/ 709053 h 835576"/>
              <a:gd name="connsiteX44" fmla="*/ 188138 w 531187"/>
              <a:gd name="connsiteY44" fmla="*/ 714635 h 835576"/>
              <a:gd name="connsiteX45" fmla="*/ 200752 w 531187"/>
              <a:gd name="connsiteY45" fmla="*/ 720271 h 835576"/>
              <a:gd name="connsiteX46" fmla="*/ 217997 w 531187"/>
              <a:gd name="connsiteY46" fmla="*/ 728810 h 835576"/>
              <a:gd name="connsiteX47" fmla="*/ 231113 w 531187"/>
              <a:gd name="connsiteY47" fmla="*/ 739024 h 835576"/>
              <a:gd name="connsiteX48" fmla="*/ 239484 w 531187"/>
              <a:gd name="connsiteY48" fmla="*/ 752028 h 835576"/>
              <a:gd name="connsiteX49" fmla="*/ 242386 w 531187"/>
              <a:gd name="connsiteY49" fmla="*/ 769050 h 835576"/>
              <a:gd name="connsiteX50" fmla="*/ 237308 w 531187"/>
              <a:gd name="connsiteY50" fmla="*/ 791541 h 835576"/>
              <a:gd name="connsiteX51" fmla="*/ 223522 w 531187"/>
              <a:gd name="connsiteY51" fmla="*/ 806275 h 835576"/>
              <a:gd name="connsiteX52" fmla="*/ 203263 w 531187"/>
              <a:gd name="connsiteY52" fmla="*/ 814368 h 835576"/>
              <a:gd name="connsiteX53" fmla="*/ 178874 w 531187"/>
              <a:gd name="connsiteY53" fmla="*/ 816824 h 835576"/>
              <a:gd name="connsiteX54" fmla="*/ 153815 w 531187"/>
              <a:gd name="connsiteY54" fmla="*/ 814591 h 835576"/>
              <a:gd name="connsiteX55" fmla="*/ 133221 w 531187"/>
              <a:gd name="connsiteY55" fmla="*/ 807894 h 835576"/>
              <a:gd name="connsiteX56" fmla="*/ 133221 w 531187"/>
              <a:gd name="connsiteY56" fmla="*/ 772175 h 835576"/>
              <a:gd name="connsiteX57" fmla="*/ 154317 w 531187"/>
              <a:gd name="connsiteY57" fmla="*/ 784398 h 835576"/>
              <a:gd name="connsiteX58" fmla="*/ 177311 w 531187"/>
              <a:gd name="connsiteY58" fmla="*/ 788472 h 835576"/>
              <a:gd name="connsiteX59" fmla="*/ 189199 w 531187"/>
              <a:gd name="connsiteY59" fmla="*/ 787244 h 835576"/>
              <a:gd name="connsiteX60" fmla="*/ 197682 w 531187"/>
              <a:gd name="connsiteY60" fmla="*/ 783840 h 835576"/>
              <a:gd name="connsiteX61" fmla="*/ 202761 w 531187"/>
              <a:gd name="connsiteY61" fmla="*/ 778705 h 835576"/>
              <a:gd name="connsiteX62" fmla="*/ 204435 w 531187"/>
              <a:gd name="connsiteY62" fmla="*/ 772287 h 835576"/>
              <a:gd name="connsiteX63" fmla="*/ 201756 w 531187"/>
              <a:gd name="connsiteY63" fmla="*/ 763915 h 835576"/>
              <a:gd name="connsiteX64" fmla="*/ 194445 w 531187"/>
              <a:gd name="connsiteY64" fmla="*/ 757106 h 835576"/>
              <a:gd name="connsiteX65" fmla="*/ 183450 w 531187"/>
              <a:gd name="connsiteY65" fmla="*/ 751079 h 835576"/>
              <a:gd name="connsiteX66" fmla="*/ 169721 w 531187"/>
              <a:gd name="connsiteY66" fmla="*/ 745163 h 835576"/>
              <a:gd name="connsiteX67" fmla="*/ 141760 w 531187"/>
              <a:gd name="connsiteY67" fmla="*/ 726076 h 835576"/>
              <a:gd name="connsiteX68" fmla="*/ 132551 w 531187"/>
              <a:gd name="connsiteY68" fmla="*/ 698840 h 835576"/>
              <a:gd name="connsiteX69" fmla="*/ 137574 w 531187"/>
              <a:gd name="connsiteY69" fmla="*/ 677353 h 835576"/>
              <a:gd name="connsiteX70" fmla="*/ 151248 w 531187"/>
              <a:gd name="connsiteY70" fmla="*/ 662563 h 835576"/>
              <a:gd name="connsiteX71" fmla="*/ 171284 w 531187"/>
              <a:gd name="connsiteY71" fmla="*/ 654024 h 835576"/>
              <a:gd name="connsiteX72" fmla="*/ 195394 w 531187"/>
              <a:gd name="connsiteY72" fmla="*/ 651290 h 835576"/>
              <a:gd name="connsiteX73" fmla="*/ 0 w 531187"/>
              <a:gd name="connsiteY73" fmla="*/ 0 h 835576"/>
              <a:gd name="connsiteX74" fmla="*/ 248557 w 531187"/>
              <a:gd name="connsiteY74" fmla="*/ 591457 h 835576"/>
              <a:gd name="connsiteX75" fmla="*/ 0 w 531187"/>
              <a:gd name="connsiteY75" fmla="*/ 0 h 835576"/>
              <a:gd name="connsiteX0" fmla="*/ 201067 w 398636"/>
              <a:gd name="connsiteY0" fmla="*/ 31030 h 184286"/>
              <a:gd name="connsiteX1" fmla="*/ 170929 w 398636"/>
              <a:gd name="connsiteY1" fmla="*/ 45318 h 184286"/>
              <a:gd name="connsiteX2" fmla="*/ 159767 w 398636"/>
              <a:gd name="connsiteY2" fmla="*/ 82934 h 184286"/>
              <a:gd name="connsiteX3" fmla="*/ 170929 w 398636"/>
              <a:gd name="connsiteY3" fmla="*/ 120550 h 184286"/>
              <a:gd name="connsiteX4" fmla="*/ 200174 w 398636"/>
              <a:gd name="connsiteY4" fmla="*/ 134391 h 184286"/>
              <a:gd name="connsiteX5" fmla="*/ 229754 w 398636"/>
              <a:gd name="connsiteY5" fmla="*/ 120997 h 184286"/>
              <a:gd name="connsiteX6" fmla="*/ 240692 w 398636"/>
              <a:gd name="connsiteY6" fmla="*/ 83604 h 184286"/>
              <a:gd name="connsiteX7" fmla="*/ 230088 w 398636"/>
              <a:gd name="connsiteY7" fmla="*/ 44871 h 184286"/>
              <a:gd name="connsiteX8" fmla="*/ 201067 w 398636"/>
              <a:gd name="connsiteY8" fmla="*/ 31030 h 184286"/>
              <a:gd name="connsiteX9" fmla="*/ 303312 w 398636"/>
              <a:gd name="connsiteY9" fmla="*/ 2678 h 184286"/>
              <a:gd name="connsiteX10" fmla="*/ 339366 w 398636"/>
              <a:gd name="connsiteY10" fmla="*/ 2678 h 184286"/>
              <a:gd name="connsiteX11" fmla="*/ 339366 w 398636"/>
              <a:gd name="connsiteY11" fmla="*/ 133498 h 184286"/>
              <a:gd name="connsiteX12" fmla="*/ 398636 w 398636"/>
              <a:gd name="connsiteY12" fmla="*/ 133498 h 184286"/>
              <a:gd name="connsiteX13" fmla="*/ 398636 w 398636"/>
              <a:gd name="connsiteY13" fmla="*/ 162743 h 184286"/>
              <a:gd name="connsiteX14" fmla="*/ 303312 w 398636"/>
              <a:gd name="connsiteY14" fmla="*/ 162743 h 184286"/>
              <a:gd name="connsiteX15" fmla="*/ 303312 w 398636"/>
              <a:gd name="connsiteY15" fmla="*/ 2678 h 184286"/>
              <a:gd name="connsiteX16" fmla="*/ 202072 w 398636"/>
              <a:gd name="connsiteY16" fmla="*/ 0 h 184286"/>
              <a:gd name="connsiteX17" fmla="*/ 257436 w 398636"/>
              <a:gd name="connsiteY17" fmla="*/ 22435 h 184286"/>
              <a:gd name="connsiteX18" fmla="*/ 278644 w 398636"/>
              <a:gd name="connsiteY18" fmla="*/ 81595 h 184286"/>
              <a:gd name="connsiteX19" fmla="*/ 256654 w 398636"/>
              <a:gd name="connsiteY19" fmla="*/ 142428 h 184286"/>
              <a:gd name="connsiteX20" fmla="*/ 255203 w 398636"/>
              <a:gd name="connsiteY20" fmla="*/ 143935 h 184286"/>
              <a:gd name="connsiteX21" fmla="*/ 253752 w 398636"/>
              <a:gd name="connsiteY21" fmla="*/ 145330 h 184286"/>
              <a:gd name="connsiteX22" fmla="*/ 294271 w 398636"/>
              <a:gd name="connsiteY22" fmla="*/ 184286 h 184286"/>
              <a:gd name="connsiteX23" fmla="*/ 243818 w 398636"/>
              <a:gd name="connsiteY23" fmla="*/ 184286 h 184286"/>
              <a:gd name="connsiteX24" fmla="*/ 222610 w 398636"/>
              <a:gd name="connsiteY24" fmla="*/ 162743 h 184286"/>
              <a:gd name="connsiteX25" fmla="*/ 199504 w 398636"/>
              <a:gd name="connsiteY25" fmla="*/ 165534 h 184286"/>
              <a:gd name="connsiteX26" fmla="*/ 143470 w 398636"/>
              <a:gd name="connsiteY26" fmla="*/ 143209 h 184286"/>
              <a:gd name="connsiteX27" fmla="*/ 121816 w 398636"/>
              <a:gd name="connsiteY27" fmla="*/ 84832 h 184286"/>
              <a:gd name="connsiteX28" fmla="*/ 143805 w 398636"/>
              <a:gd name="connsiteY28" fmla="*/ 23440 h 184286"/>
              <a:gd name="connsiteX29" fmla="*/ 202072 w 398636"/>
              <a:gd name="connsiteY29" fmla="*/ 0 h 184286"/>
              <a:gd name="connsiteX30" fmla="*/ 62843 w 398636"/>
              <a:gd name="connsiteY30" fmla="*/ 0 h 184286"/>
              <a:gd name="connsiteX31" fmla="*/ 85000 w 398636"/>
              <a:gd name="connsiteY31" fmla="*/ 1506 h 184286"/>
              <a:gd name="connsiteX32" fmla="*/ 102803 w 398636"/>
              <a:gd name="connsiteY32" fmla="*/ 6139 h 184286"/>
              <a:gd name="connsiteX33" fmla="*/ 102803 w 398636"/>
              <a:gd name="connsiteY33" fmla="*/ 39513 h 184286"/>
              <a:gd name="connsiteX34" fmla="*/ 94041 w 398636"/>
              <a:gd name="connsiteY34" fmla="*/ 34602 h 184286"/>
              <a:gd name="connsiteX35" fmla="*/ 84274 w 398636"/>
              <a:gd name="connsiteY35" fmla="*/ 31086 h 184286"/>
              <a:gd name="connsiteX36" fmla="*/ 74284 w 398636"/>
              <a:gd name="connsiteY36" fmla="*/ 29021 h 184286"/>
              <a:gd name="connsiteX37" fmla="*/ 64852 w 398636"/>
              <a:gd name="connsiteY37" fmla="*/ 28351 h 184286"/>
              <a:gd name="connsiteX38" fmla="*/ 53690 w 398636"/>
              <a:gd name="connsiteY38" fmla="*/ 29523 h 184286"/>
              <a:gd name="connsiteX39" fmla="*/ 45207 w 398636"/>
              <a:gd name="connsiteY39" fmla="*/ 32816 h 184286"/>
              <a:gd name="connsiteX40" fmla="*/ 39849 w 398636"/>
              <a:gd name="connsiteY40" fmla="*/ 37895 h 184286"/>
              <a:gd name="connsiteX41" fmla="*/ 37951 w 398636"/>
              <a:gd name="connsiteY41" fmla="*/ 44536 h 184286"/>
              <a:gd name="connsiteX42" fmla="*/ 40072 w 398636"/>
              <a:gd name="connsiteY42" fmla="*/ 51736 h 184286"/>
              <a:gd name="connsiteX43" fmla="*/ 46100 w 398636"/>
              <a:gd name="connsiteY43" fmla="*/ 57763 h 184286"/>
              <a:gd name="connsiteX44" fmla="*/ 55587 w 398636"/>
              <a:gd name="connsiteY44" fmla="*/ 63345 h 184286"/>
              <a:gd name="connsiteX45" fmla="*/ 68201 w 398636"/>
              <a:gd name="connsiteY45" fmla="*/ 68981 h 184286"/>
              <a:gd name="connsiteX46" fmla="*/ 85446 w 398636"/>
              <a:gd name="connsiteY46" fmla="*/ 77520 h 184286"/>
              <a:gd name="connsiteX47" fmla="*/ 98562 w 398636"/>
              <a:gd name="connsiteY47" fmla="*/ 87734 h 184286"/>
              <a:gd name="connsiteX48" fmla="*/ 106933 w 398636"/>
              <a:gd name="connsiteY48" fmla="*/ 100738 h 184286"/>
              <a:gd name="connsiteX49" fmla="*/ 109835 w 398636"/>
              <a:gd name="connsiteY49" fmla="*/ 117760 h 184286"/>
              <a:gd name="connsiteX50" fmla="*/ 104757 w 398636"/>
              <a:gd name="connsiteY50" fmla="*/ 140251 h 184286"/>
              <a:gd name="connsiteX51" fmla="*/ 90971 w 398636"/>
              <a:gd name="connsiteY51" fmla="*/ 154985 h 184286"/>
              <a:gd name="connsiteX52" fmla="*/ 70712 w 398636"/>
              <a:gd name="connsiteY52" fmla="*/ 163078 h 184286"/>
              <a:gd name="connsiteX53" fmla="*/ 46323 w 398636"/>
              <a:gd name="connsiteY53" fmla="*/ 165534 h 184286"/>
              <a:gd name="connsiteX54" fmla="*/ 21264 w 398636"/>
              <a:gd name="connsiteY54" fmla="*/ 163301 h 184286"/>
              <a:gd name="connsiteX55" fmla="*/ 670 w 398636"/>
              <a:gd name="connsiteY55" fmla="*/ 156604 h 184286"/>
              <a:gd name="connsiteX56" fmla="*/ 670 w 398636"/>
              <a:gd name="connsiteY56" fmla="*/ 120885 h 184286"/>
              <a:gd name="connsiteX57" fmla="*/ 21766 w 398636"/>
              <a:gd name="connsiteY57" fmla="*/ 133108 h 184286"/>
              <a:gd name="connsiteX58" fmla="*/ 44760 w 398636"/>
              <a:gd name="connsiteY58" fmla="*/ 137182 h 184286"/>
              <a:gd name="connsiteX59" fmla="*/ 56648 w 398636"/>
              <a:gd name="connsiteY59" fmla="*/ 135954 h 184286"/>
              <a:gd name="connsiteX60" fmla="*/ 65131 w 398636"/>
              <a:gd name="connsiteY60" fmla="*/ 132550 h 184286"/>
              <a:gd name="connsiteX61" fmla="*/ 70210 w 398636"/>
              <a:gd name="connsiteY61" fmla="*/ 127415 h 184286"/>
              <a:gd name="connsiteX62" fmla="*/ 71884 w 398636"/>
              <a:gd name="connsiteY62" fmla="*/ 120997 h 184286"/>
              <a:gd name="connsiteX63" fmla="*/ 69205 w 398636"/>
              <a:gd name="connsiteY63" fmla="*/ 112625 h 184286"/>
              <a:gd name="connsiteX64" fmla="*/ 61894 w 398636"/>
              <a:gd name="connsiteY64" fmla="*/ 105816 h 184286"/>
              <a:gd name="connsiteX65" fmla="*/ 50899 w 398636"/>
              <a:gd name="connsiteY65" fmla="*/ 99789 h 184286"/>
              <a:gd name="connsiteX66" fmla="*/ 37170 w 398636"/>
              <a:gd name="connsiteY66" fmla="*/ 93873 h 184286"/>
              <a:gd name="connsiteX67" fmla="*/ 9209 w 398636"/>
              <a:gd name="connsiteY67" fmla="*/ 74786 h 184286"/>
              <a:gd name="connsiteX68" fmla="*/ 0 w 398636"/>
              <a:gd name="connsiteY68" fmla="*/ 47550 h 184286"/>
              <a:gd name="connsiteX69" fmla="*/ 5023 w 398636"/>
              <a:gd name="connsiteY69" fmla="*/ 26063 h 184286"/>
              <a:gd name="connsiteX70" fmla="*/ 18697 w 398636"/>
              <a:gd name="connsiteY70" fmla="*/ 11273 h 184286"/>
              <a:gd name="connsiteX71" fmla="*/ 38733 w 398636"/>
              <a:gd name="connsiteY71" fmla="*/ 2734 h 184286"/>
              <a:gd name="connsiteX72" fmla="*/ 62843 w 398636"/>
              <a:gd name="connsiteY72" fmla="*/ 0 h 18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8636" h="184286">
                <a:moveTo>
                  <a:pt x="201067" y="31030"/>
                </a:moveTo>
                <a:cubicBezTo>
                  <a:pt x="188491" y="31030"/>
                  <a:pt x="178445" y="35793"/>
                  <a:pt x="170929" y="45318"/>
                </a:cubicBezTo>
                <a:cubicBezTo>
                  <a:pt x="163488" y="54768"/>
                  <a:pt x="159767" y="67307"/>
                  <a:pt x="159767" y="82934"/>
                </a:cubicBezTo>
                <a:cubicBezTo>
                  <a:pt x="159767" y="98784"/>
                  <a:pt x="163488" y="111323"/>
                  <a:pt x="170929" y="120550"/>
                </a:cubicBezTo>
                <a:cubicBezTo>
                  <a:pt x="178371" y="129778"/>
                  <a:pt x="188119" y="134391"/>
                  <a:pt x="200174" y="134391"/>
                </a:cubicBezTo>
                <a:cubicBezTo>
                  <a:pt x="212601" y="134391"/>
                  <a:pt x="222461" y="129927"/>
                  <a:pt x="229754" y="120997"/>
                </a:cubicBezTo>
                <a:cubicBezTo>
                  <a:pt x="237046" y="111918"/>
                  <a:pt x="240692" y="99454"/>
                  <a:pt x="240692" y="83604"/>
                </a:cubicBezTo>
                <a:cubicBezTo>
                  <a:pt x="240692" y="67084"/>
                  <a:pt x="237158" y="54173"/>
                  <a:pt x="230088" y="44871"/>
                </a:cubicBezTo>
                <a:cubicBezTo>
                  <a:pt x="223094" y="35644"/>
                  <a:pt x="213420" y="31030"/>
                  <a:pt x="201067" y="31030"/>
                </a:cubicBezTo>
                <a:close/>
                <a:moveTo>
                  <a:pt x="303312" y="2678"/>
                </a:moveTo>
                <a:lnTo>
                  <a:pt x="339366" y="2678"/>
                </a:lnTo>
                <a:lnTo>
                  <a:pt x="339366" y="133498"/>
                </a:lnTo>
                <a:lnTo>
                  <a:pt x="398636" y="133498"/>
                </a:lnTo>
                <a:lnTo>
                  <a:pt x="398636" y="162743"/>
                </a:lnTo>
                <a:lnTo>
                  <a:pt x="303312" y="162743"/>
                </a:lnTo>
                <a:lnTo>
                  <a:pt x="303312" y="2678"/>
                </a:lnTo>
                <a:close/>
                <a:moveTo>
                  <a:pt x="202072" y="0"/>
                </a:moveTo>
                <a:cubicBezTo>
                  <a:pt x="224917" y="0"/>
                  <a:pt x="243371" y="7478"/>
                  <a:pt x="257436" y="22435"/>
                </a:cubicBezTo>
                <a:cubicBezTo>
                  <a:pt x="271574" y="37318"/>
                  <a:pt x="278644" y="57038"/>
                  <a:pt x="278644" y="81595"/>
                </a:cubicBezTo>
                <a:cubicBezTo>
                  <a:pt x="278644" y="106672"/>
                  <a:pt x="271314" y="126950"/>
                  <a:pt x="256654" y="142428"/>
                </a:cubicBezTo>
                <a:cubicBezTo>
                  <a:pt x="256133" y="142949"/>
                  <a:pt x="255650" y="143451"/>
                  <a:pt x="255203" y="143935"/>
                </a:cubicBezTo>
                <a:cubicBezTo>
                  <a:pt x="254757" y="144419"/>
                  <a:pt x="254273" y="144884"/>
                  <a:pt x="253752" y="145330"/>
                </a:cubicBezTo>
                <a:lnTo>
                  <a:pt x="294271" y="184286"/>
                </a:lnTo>
                <a:lnTo>
                  <a:pt x="243818" y="184286"/>
                </a:lnTo>
                <a:lnTo>
                  <a:pt x="222610" y="162743"/>
                </a:lnTo>
                <a:cubicBezTo>
                  <a:pt x="215615" y="164603"/>
                  <a:pt x="207913" y="165534"/>
                  <a:pt x="199504" y="165534"/>
                </a:cubicBezTo>
                <a:cubicBezTo>
                  <a:pt x="176585" y="165534"/>
                  <a:pt x="157907" y="158092"/>
                  <a:pt x="143470" y="143209"/>
                </a:cubicBezTo>
                <a:cubicBezTo>
                  <a:pt x="129034" y="128178"/>
                  <a:pt x="121816" y="108719"/>
                  <a:pt x="121816" y="84832"/>
                </a:cubicBezTo>
                <a:cubicBezTo>
                  <a:pt x="121816" y="59605"/>
                  <a:pt x="129146" y="39141"/>
                  <a:pt x="143805" y="23440"/>
                </a:cubicBezTo>
                <a:cubicBezTo>
                  <a:pt x="158391" y="7813"/>
                  <a:pt x="177813" y="0"/>
                  <a:pt x="202072" y="0"/>
                </a:cubicBezTo>
                <a:close/>
                <a:moveTo>
                  <a:pt x="62843" y="0"/>
                </a:moveTo>
                <a:cubicBezTo>
                  <a:pt x="71177" y="0"/>
                  <a:pt x="78563" y="502"/>
                  <a:pt x="85000" y="1506"/>
                </a:cubicBezTo>
                <a:cubicBezTo>
                  <a:pt x="91436" y="2511"/>
                  <a:pt x="97371" y="4055"/>
                  <a:pt x="102803" y="6139"/>
                </a:cubicBezTo>
                <a:lnTo>
                  <a:pt x="102803" y="39513"/>
                </a:lnTo>
                <a:cubicBezTo>
                  <a:pt x="100124" y="37653"/>
                  <a:pt x="97204" y="36016"/>
                  <a:pt x="94041" y="34602"/>
                </a:cubicBezTo>
                <a:cubicBezTo>
                  <a:pt x="90878" y="33188"/>
                  <a:pt x="87623" y="32016"/>
                  <a:pt x="84274" y="31086"/>
                </a:cubicBezTo>
                <a:cubicBezTo>
                  <a:pt x="80925" y="30156"/>
                  <a:pt x="77595" y="29468"/>
                  <a:pt x="74284" y="29021"/>
                </a:cubicBezTo>
                <a:cubicBezTo>
                  <a:pt x="70973" y="28575"/>
                  <a:pt x="67829" y="28351"/>
                  <a:pt x="64852" y="28351"/>
                </a:cubicBezTo>
                <a:cubicBezTo>
                  <a:pt x="60759" y="28351"/>
                  <a:pt x="57039" y="28742"/>
                  <a:pt x="53690" y="29523"/>
                </a:cubicBezTo>
                <a:cubicBezTo>
                  <a:pt x="50341" y="30305"/>
                  <a:pt x="47514" y="31402"/>
                  <a:pt x="45207" y="32816"/>
                </a:cubicBezTo>
                <a:cubicBezTo>
                  <a:pt x="42900" y="34230"/>
                  <a:pt x="41114" y="35923"/>
                  <a:pt x="39849" y="37895"/>
                </a:cubicBezTo>
                <a:cubicBezTo>
                  <a:pt x="38584" y="39867"/>
                  <a:pt x="37951" y="42081"/>
                  <a:pt x="37951" y="44536"/>
                </a:cubicBezTo>
                <a:cubicBezTo>
                  <a:pt x="37951" y="47215"/>
                  <a:pt x="38658" y="49615"/>
                  <a:pt x="40072" y="51736"/>
                </a:cubicBezTo>
                <a:cubicBezTo>
                  <a:pt x="41486" y="53857"/>
                  <a:pt x="43495" y="55866"/>
                  <a:pt x="46100" y="57763"/>
                </a:cubicBezTo>
                <a:cubicBezTo>
                  <a:pt x="48704" y="59661"/>
                  <a:pt x="51867" y="61521"/>
                  <a:pt x="55587" y="63345"/>
                </a:cubicBezTo>
                <a:cubicBezTo>
                  <a:pt x="59308" y="65168"/>
                  <a:pt x="63513" y="67047"/>
                  <a:pt x="68201" y="68981"/>
                </a:cubicBezTo>
                <a:cubicBezTo>
                  <a:pt x="74600" y="71660"/>
                  <a:pt x="80349" y="74507"/>
                  <a:pt x="85446" y="77520"/>
                </a:cubicBezTo>
                <a:cubicBezTo>
                  <a:pt x="90543" y="80534"/>
                  <a:pt x="94915" y="83939"/>
                  <a:pt x="98562" y="87734"/>
                </a:cubicBezTo>
                <a:cubicBezTo>
                  <a:pt x="102208" y="91529"/>
                  <a:pt x="104998" y="95863"/>
                  <a:pt x="106933" y="100738"/>
                </a:cubicBezTo>
                <a:cubicBezTo>
                  <a:pt x="108868" y="105612"/>
                  <a:pt x="109835" y="111286"/>
                  <a:pt x="109835" y="117760"/>
                </a:cubicBezTo>
                <a:cubicBezTo>
                  <a:pt x="109835" y="126690"/>
                  <a:pt x="108142" y="134187"/>
                  <a:pt x="104757" y="140251"/>
                </a:cubicBezTo>
                <a:cubicBezTo>
                  <a:pt x="101371" y="146316"/>
                  <a:pt x="96776" y="151228"/>
                  <a:pt x="90971" y="154985"/>
                </a:cubicBezTo>
                <a:cubicBezTo>
                  <a:pt x="85167" y="158743"/>
                  <a:pt x="78414" y="161441"/>
                  <a:pt x="70712" y="163078"/>
                </a:cubicBezTo>
                <a:cubicBezTo>
                  <a:pt x="63010" y="164715"/>
                  <a:pt x="54881" y="165534"/>
                  <a:pt x="46323" y="165534"/>
                </a:cubicBezTo>
                <a:cubicBezTo>
                  <a:pt x="37542" y="165534"/>
                  <a:pt x="29189" y="164790"/>
                  <a:pt x="21264" y="163301"/>
                </a:cubicBezTo>
                <a:cubicBezTo>
                  <a:pt x="13339" y="161813"/>
                  <a:pt x="6474" y="159581"/>
                  <a:pt x="670" y="156604"/>
                </a:cubicBezTo>
                <a:lnTo>
                  <a:pt x="670" y="120885"/>
                </a:lnTo>
                <a:cubicBezTo>
                  <a:pt x="7144" y="126317"/>
                  <a:pt x="14176" y="130392"/>
                  <a:pt x="21766" y="133108"/>
                </a:cubicBezTo>
                <a:cubicBezTo>
                  <a:pt x="29357" y="135824"/>
                  <a:pt x="37021" y="137182"/>
                  <a:pt x="44760" y="137182"/>
                </a:cubicBezTo>
                <a:cubicBezTo>
                  <a:pt x="49299" y="137182"/>
                  <a:pt x="53262" y="136773"/>
                  <a:pt x="56648" y="135954"/>
                </a:cubicBezTo>
                <a:cubicBezTo>
                  <a:pt x="60034" y="135136"/>
                  <a:pt x="62861" y="134001"/>
                  <a:pt x="65131" y="132550"/>
                </a:cubicBezTo>
                <a:cubicBezTo>
                  <a:pt x="67401" y="131099"/>
                  <a:pt x="69094" y="129387"/>
                  <a:pt x="70210" y="127415"/>
                </a:cubicBezTo>
                <a:cubicBezTo>
                  <a:pt x="71326" y="125443"/>
                  <a:pt x="71884" y="123304"/>
                  <a:pt x="71884" y="120997"/>
                </a:cubicBezTo>
                <a:cubicBezTo>
                  <a:pt x="71884" y="117871"/>
                  <a:pt x="70991" y="115081"/>
                  <a:pt x="69205" y="112625"/>
                </a:cubicBezTo>
                <a:cubicBezTo>
                  <a:pt x="67419" y="110170"/>
                  <a:pt x="64982" y="107900"/>
                  <a:pt x="61894" y="105816"/>
                </a:cubicBezTo>
                <a:cubicBezTo>
                  <a:pt x="58806" y="103733"/>
                  <a:pt x="55141" y="101724"/>
                  <a:pt x="50899" y="99789"/>
                </a:cubicBezTo>
                <a:cubicBezTo>
                  <a:pt x="46658" y="97854"/>
                  <a:pt x="42081" y="95882"/>
                  <a:pt x="37170" y="93873"/>
                </a:cubicBezTo>
                <a:cubicBezTo>
                  <a:pt x="24668" y="88664"/>
                  <a:pt x="15348" y="82302"/>
                  <a:pt x="9209" y="74786"/>
                </a:cubicBezTo>
                <a:cubicBezTo>
                  <a:pt x="3070" y="67270"/>
                  <a:pt x="0" y="58191"/>
                  <a:pt x="0" y="47550"/>
                </a:cubicBezTo>
                <a:cubicBezTo>
                  <a:pt x="0" y="39216"/>
                  <a:pt x="1674" y="32053"/>
                  <a:pt x="5023" y="26063"/>
                </a:cubicBezTo>
                <a:cubicBezTo>
                  <a:pt x="8372" y="20073"/>
                  <a:pt x="12930" y="15143"/>
                  <a:pt x="18697" y="11273"/>
                </a:cubicBezTo>
                <a:cubicBezTo>
                  <a:pt x="24464" y="7404"/>
                  <a:pt x="31142" y="4557"/>
                  <a:pt x="38733" y="2734"/>
                </a:cubicBezTo>
                <a:cubicBezTo>
                  <a:pt x="46323" y="911"/>
                  <a:pt x="54360" y="0"/>
                  <a:pt x="62843"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latin typeface="Segoe UI"/>
            </a:endParaRPr>
          </a:p>
        </p:txBody>
      </p:sp>
      <p:pic>
        <p:nvPicPr>
          <p:cNvPr id="829" name="Picture 2" descr="https://c2.staticflickr.com/4/3701/19224697601_d03ecccf71_o.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3945" r="13945"/>
          <a:stretch/>
        </p:blipFill>
        <p:spPr bwMode="auto">
          <a:xfrm>
            <a:off x="10649982" y="2960873"/>
            <a:ext cx="554112" cy="768430"/>
          </a:xfrm>
          <a:prstGeom prst="rect">
            <a:avLst/>
          </a:prstGeom>
          <a:noFill/>
          <a:extLst>
            <a:ext uri="{909E8E84-426E-40DD-AFC4-6F175D3DCCD1}">
              <a14:hiddenFill xmlns:a14="http://schemas.microsoft.com/office/drawing/2010/main">
                <a:solidFill>
                  <a:srgbClr val="FFFFFF"/>
                </a:solidFill>
              </a14:hiddenFill>
            </a:ext>
          </a:extLst>
        </p:spPr>
      </p:pic>
      <p:pic>
        <p:nvPicPr>
          <p:cNvPr id="839" name="Picture 838" descr="https://upload.wikimedia.org/wikipedia/en/thumb/5/54/Gremlin_%28programming_language%29.png/383px-Gremlin_%28programming_language%29.png"/>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6633434" y="2518312"/>
            <a:ext cx="1560030" cy="606906"/>
          </a:xfrm>
          <a:prstGeom prst="rect">
            <a:avLst/>
          </a:prstGeom>
          <a:extLst>
            <a:ext uri="{909E8E84-426E-40DD-AFC4-6F175D3DCCD1}">
              <a14:hiddenFill xmlns:a14="http://schemas.microsoft.com/office/drawing/2010/main">
                <a:solidFill>
                  <a:srgbClr val="FFFFFF"/>
                </a:solidFill>
              </a14:hiddenFill>
            </a:ext>
          </a:extLst>
        </p:spPr>
      </p:pic>
      <p:pic>
        <p:nvPicPr>
          <p:cNvPr id="840" name="Picture 4" descr="File:MongoDB-Logo.sv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472264" y="2811809"/>
            <a:ext cx="1564327" cy="424476"/>
          </a:xfrm>
          <a:prstGeom prst="rect">
            <a:avLst/>
          </a:prstGeom>
          <a:noFill/>
          <a:extLst>
            <a:ext uri="{909E8E84-426E-40DD-AFC4-6F175D3DCCD1}">
              <a14:hiddenFill xmlns:a14="http://schemas.microsoft.com/office/drawing/2010/main">
                <a:solidFill>
                  <a:srgbClr val="FFFFFF"/>
                </a:solidFill>
              </a14:hiddenFill>
            </a:ext>
          </a:extLst>
        </p:spPr>
      </p:pic>
      <p:grpSp>
        <p:nvGrpSpPr>
          <p:cNvPr id="865" name="Group 864"/>
          <p:cNvGrpSpPr/>
          <p:nvPr/>
        </p:nvGrpSpPr>
        <p:grpSpPr>
          <a:xfrm>
            <a:off x="8764941" y="3950037"/>
            <a:ext cx="586303" cy="377163"/>
            <a:chOff x="7117181" y="5146654"/>
            <a:chExt cx="663064" cy="426544"/>
          </a:xfrm>
          <a:solidFill>
            <a:srgbClr val="59B4D9"/>
          </a:solidFill>
        </p:grpSpPr>
        <p:sp>
          <p:nvSpPr>
            <p:cNvPr id="866" name="Oval 865"/>
            <p:cNvSpPr/>
            <p:nvPr/>
          </p:nvSpPr>
          <p:spPr bwMode="auto">
            <a:xfrm rot="715722">
              <a:off x="7117181" y="5146654"/>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7" name="Oval 866"/>
            <p:cNvSpPr/>
            <p:nvPr/>
          </p:nvSpPr>
          <p:spPr bwMode="auto">
            <a:xfrm>
              <a:off x="7476127" y="5224668"/>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8" name="Oval 867"/>
            <p:cNvSpPr/>
            <p:nvPr/>
          </p:nvSpPr>
          <p:spPr bwMode="auto">
            <a:xfrm>
              <a:off x="7296654"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9" name="Oval 868"/>
            <p:cNvSpPr/>
            <p:nvPr/>
          </p:nvSpPr>
          <p:spPr bwMode="auto">
            <a:xfrm>
              <a:off x="7655599"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870" name="Straight Connector 869"/>
            <p:cNvCxnSpPr>
              <a:cxnSpLocks/>
            </p:cNvCxnSpPr>
            <p:nvPr/>
          </p:nvCxnSpPr>
          <p:spPr>
            <a:xfrm>
              <a:off x="7240481" y="5221859"/>
              <a:ext cx="235646" cy="65132"/>
            </a:xfrm>
            <a:prstGeom prst="line">
              <a:avLst/>
            </a:prstGeom>
            <a:grpFill/>
            <a:ln w="12700" cap="flat" cmpd="sng" algn="ctr">
              <a:solidFill>
                <a:schemeClr val="tx2"/>
              </a:solidFill>
              <a:prstDash val="sysDot"/>
              <a:miter lim="800000"/>
              <a:headEnd type="none"/>
              <a:tailEnd type="none"/>
            </a:ln>
            <a:effectLst/>
          </p:spPr>
        </p:cxnSp>
        <p:cxnSp>
          <p:nvCxnSpPr>
            <p:cNvPr id="871" name="Straight Connector 870"/>
            <p:cNvCxnSpPr>
              <a:cxnSpLocks/>
            </p:cNvCxnSpPr>
            <p:nvPr/>
          </p:nvCxnSpPr>
          <p:spPr>
            <a:xfrm>
              <a:off x="7421300" y="5510875"/>
              <a:ext cx="234299" cy="0"/>
            </a:xfrm>
            <a:prstGeom prst="line">
              <a:avLst/>
            </a:prstGeom>
            <a:grpFill/>
            <a:ln w="12700" cap="flat" cmpd="sng" algn="ctr">
              <a:solidFill>
                <a:schemeClr val="tx2"/>
              </a:solidFill>
              <a:prstDash val="sysDot"/>
              <a:miter lim="800000"/>
              <a:headEnd type="none"/>
              <a:tailEnd type="none"/>
            </a:ln>
            <a:effectLst/>
          </p:spPr>
        </p:cxnSp>
        <p:cxnSp>
          <p:nvCxnSpPr>
            <p:cNvPr id="872" name="Straight Connector 871"/>
            <p:cNvCxnSpPr>
              <a:cxnSpLocks/>
            </p:cNvCxnSpPr>
            <p:nvPr/>
          </p:nvCxnSpPr>
          <p:spPr>
            <a:xfrm>
              <a:off x="7582519" y="5331060"/>
              <a:ext cx="91334" cy="135746"/>
            </a:xfrm>
            <a:prstGeom prst="line">
              <a:avLst/>
            </a:prstGeom>
            <a:grpFill/>
            <a:ln w="12700" cap="flat" cmpd="sng" algn="ctr">
              <a:solidFill>
                <a:schemeClr val="tx2"/>
              </a:solidFill>
              <a:prstDash val="sysDot"/>
              <a:miter lim="800000"/>
              <a:headEnd type="none"/>
              <a:tailEnd type="none"/>
            </a:ln>
            <a:effectLst/>
          </p:spPr>
        </p:cxnSp>
        <p:cxnSp>
          <p:nvCxnSpPr>
            <p:cNvPr id="873" name="Straight Connector 872"/>
            <p:cNvCxnSpPr>
              <a:cxnSpLocks/>
            </p:cNvCxnSpPr>
            <p:nvPr/>
          </p:nvCxnSpPr>
          <p:spPr>
            <a:xfrm flipV="1">
              <a:off x="7403046" y="5331060"/>
              <a:ext cx="91335" cy="135746"/>
            </a:xfrm>
            <a:prstGeom prst="line">
              <a:avLst/>
            </a:prstGeom>
            <a:grpFill/>
            <a:ln w="12700" cap="flat" cmpd="sng" algn="ctr">
              <a:solidFill>
                <a:schemeClr val="tx2"/>
              </a:solidFill>
              <a:prstDash val="sysDot"/>
              <a:miter lim="800000"/>
              <a:headEnd type="none"/>
              <a:tailEnd type="none"/>
            </a:ln>
            <a:effectLst/>
          </p:spPr>
        </p:cxnSp>
      </p:grpSp>
      <p:grpSp>
        <p:nvGrpSpPr>
          <p:cNvPr id="874" name="Group 873"/>
          <p:cNvGrpSpPr/>
          <p:nvPr/>
        </p:nvGrpSpPr>
        <p:grpSpPr>
          <a:xfrm>
            <a:off x="6876015" y="3656510"/>
            <a:ext cx="499208" cy="473323"/>
            <a:chOff x="7128988" y="4166153"/>
            <a:chExt cx="604908" cy="573541"/>
          </a:xfrm>
        </p:grpSpPr>
        <p:cxnSp>
          <p:nvCxnSpPr>
            <p:cNvPr id="875" name="Straight Connector 874"/>
            <p:cNvCxnSpPr>
              <a:cxnSpLocks/>
            </p:cNvCxnSpPr>
            <p:nvPr/>
          </p:nvCxnSpPr>
          <p:spPr>
            <a:xfrm>
              <a:off x="7128988" y="4451736"/>
              <a:ext cx="238107" cy="72556"/>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6" name="Straight Connector 875"/>
            <p:cNvCxnSpPr>
              <a:cxnSpLocks/>
            </p:cNvCxnSpPr>
            <p:nvPr/>
          </p:nvCxnSpPr>
          <p:spPr>
            <a:xfrm flipV="1">
              <a:off x="7128988" y="4379180"/>
              <a:ext cx="233873" cy="72556"/>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77" name="Oval 876"/>
            <p:cNvSpPr/>
            <p:nvPr/>
          </p:nvSpPr>
          <p:spPr bwMode="auto">
            <a:xfrm>
              <a:off x="7128988" y="4383154"/>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78" name="Straight Connector 877"/>
            <p:cNvCxnSpPr>
              <a:cxnSpLocks/>
            </p:cNvCxnSpPr>
            <p:nvPr/>
          </p:nvCxnSpPr>
          <p:spPr>
            <a:xfrm>
              <a:off x="7367095" y="4524292"/>
              <a:ext cx="241432" cy="108368"/>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9" name="Straight Connector 878"/>
            <p:cNvCxnSpPr>
              <a:cxnSpLocks/>
            </p:cNvCxnSpPr>
            <p:nvPr/>
          </p:nvCxnSpPr>
          <p:spPr>
            <a:xfrm>
              <a:off x="7367095" y="4524292"/>
              <a:ext cx="229638" cy="1361"/>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0" name="Oval 879"/>
            <p:cNvSpPr/>
            <p:nvPr/>
          </p:nvSpPr>
          <p:spPr bwMode="auto">
            <a:xfrm rot="20946206">
              <a:off x="7596733" y="460253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1" name="Oval 880"/>
            <p:cNvSpPr/>
            <p:nvPr/>
          </p:nvSpPr>
          <p:spPr bwMode="auto">
            <a:xfrm>
              <a:off x="7596733" y="445707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82" name="Straight Connector 881"/>
            <p:cNvCxnSpPr>
              <a:cxnSpLocks/>
            </p:cNvCxnSpPr>
            <p:nvPr/>
          </p:nvCxnSpPr>
          <p:spPr>
            <a:xfrm>
              <a:off x="7362861" y="4379181"/>
              <a:ext cx="233872" cy="1013"/>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3" name="Oval 882"/>
            <p:cNvSpPr/>
            <p:nvPr/>
          </p:nvSpPr>
          <p:spPr bwMode="auto">
            <a:xfrm>
              <a:off x="7367095" y="4455710"/>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cxnSp>
          <p:nvCxnSpPr>
            <p:cNvPr id="884" name="Straight Connector 883"/>
            <p:cNvCxnSpPr>
              <a:cxnSpLocks/>
            </p:cNvCxnSpPr>
            <p:nvPr/>
          </p:nvCxnSpPr>
          <p:spPr>
            <a:xfrm flipV="1">
              <a:off x="7362861" y="4277619"/>
              <a:ext cx="248934" cy="101562"/>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5" name="Oval 884"/>
            <p:cNvSpPr/>
            <p:nvPr/>
          </p:nvSpPr>
          <p:spPr bwMode="auto">
            <a:xfrm>
              <a:off x="7362861" y="4310599"/>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6" name="Oval 885"/>
            <p:cNvSpPr/>
            <p:nvPr/>
          </p:nvSpPr>
          <p:spPr bwMode="auto">
            <a:xfrm>
              <a:off x="7596733" y="4311612"/>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sp>
          <p:nvSpPr>
            <p:cNvPr id="887" name="Oval 886"/>
            <p:cNvSpPr/>
            <p:nvPr/>
          </p:nvSpPr>
          <p:spPr bwMode="auto">
            <a:xfrm rot="377738">
              <a:off x="7596733" y="4166153"/>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solidFill>
                  <a:srgbClr val="FFFFFF"/>
                </a:solidFill>
                <a:latin typeface="Segoe UI"/>
              </a:endParaRPr>
            </a:p>
          </p:txBody>
        </p:sp>
      </p:grpSp>
      <p:sp>
        <p:nvSpPr>
          <p:cNvPr id="889" name="TextBox 888"/>
          <p:cNvSpPr txBox="1"/>
          <p:nvPr/>
        </p:nvSpPr>
        <p:spPr>
          <a:xfrm>
            <a:off x="4367177" y="4063639"/>
            <a:ext cx="996428"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Column-family</a:t>
            </a:r>
          </a:p>
        </p:txBody>
      </p:sp>
      <p:sp>
        <p:nvSpPr>
          <p:cNvPr id="890" name="TextBox 889"/>
          <p:cNvSpPr txBox="1"/>
          <p:nvPr/>
        </p:nvSpPr>
        <p:spPr>
          <a:xfrm>
            <a:off x="6832290" y="4138630"/>
            <a:ext cx="727122"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Document</a:t>
            </a:r>
          </a:p>
        </p:txBody>
      </p:sp>
      <p:sp>
        <p:nvSpPr>
          <p:cNvPr id="891" name="TextBox 890"/>
          <p:cNvSpPr txBox="1"/>
          <p:nvPr/>
        </p:nvSpPr>
        <p:spPr>
          <a:xfrm>
            <a:off x="8931096" y="4426926"/>
            <a:ext cx="467436" cy="253916"/>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Graph</a:t>
            </a:r>
          </a:p>
        </p:txBody>
      </p:sp>
      <p:sp>
        <p:nvSpPr>
          <p:cNvPr id="893" name="TextBox 892"/>
          <p:cNvSpPr txBox="1"/>
          <p:nvPr/>
        </p:nvSpPr>
        <p:spPr>
          <a:xfrm>
            <a:off x="819605" y="5509878"/>
            <a:ext cx="2021708"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Turnkey global distribution</a:t>
            </a:r>
          </a:p>
        </p:txBody>
      </p:sp>
      <p:sp>
        <p:nvSpPr>
          <p:cNvPr id="894" name="TextBox 893"/>
          <p:cNvSpPr txBox="1"/>
          <p:nvPr/>
        </p:nvSpPr>
        <p:spPr>
          <a:xfrm>
            <a:off x="2665537" y="4952921"/>
            <a:ext cx="1858201" cy="461665"/>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Elastic scale out </a:t>
            </a:r>
          </a:p>
          <a:p>
            <a:pPr algn="ctr" defTabSz="857124">
              <a:defRPr/>
            </a:pPr>
            <a:r>
              <a:rPr lang="en-US" sz="1200" kern="0" dirty="0">
                <a:solidFill>
                  <a:srgbClr val="002050"/>
                </a:solidFill>
                <a:latin typeface="Segoe UI"/>
                <a:cs typeface="Segoe UI Light" panose="020B0502040204020203" pitchFamily="34" charset="0"/>
              </a:rPr>
              <a:t>of storage &amp; throughput</a:t>
            </a:r>
          </a:p>
        </p:txBody>
      </p:sp>
      <p:sp>
        <p:nvSpPr>
          <p:cNvPr id="895" name="TextBox 894"/>
          <p:cNvSpPr txBox="1"/>
          <p:nvPr/>
        </p:nvSpPr>
        <p:spPr>
          <a:xfrm>
            <a:off x="4395442" y="4830534"/>
            <a:ext cx="3222357"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Guaranteed low latency at the 99</a:t>
            </a:r>
            <a:r>
              <a:rPr lang="en-US" sz="1200" kern="0" baseline="30000" dirty="0">
                <a:solidFill>
                  <a:srgbClr val="002050"/>
                </a:solidFill>
                <a:latin typeface="Segoe UI"/>
                <a:cs typeface="Segoe UI Light" panose="020B0502040204020203" pitchFamily="34" charset="0"/>
              </a:rPr>
              <a:t>th</a:t>
            </a:r>
            <a:r>
              <a:rPr lang="en-US" sz="1200" kern="0" dirty="0">
                <a:solidFill>
                  <a:srgbClr val="002050"/>
                </a:solidFill>
                <a:latin typeface="Segoe UI"/>
                <a:cs typeface="Segoe UI Light" panose="020B0502040204020203" pitchFamily="34" charset="0"/>
              </a:rPr>
              <a:t> percentile</a:t>
            </a:r>
          </a:p>
        </p:txBody>
      </p:sp>
      <p:sp>
        <p:nvSpPr>
          <p:cNvPr id="896" name="TextBox 895"/>
          <p:cNvSpPr txBox="1"/>
          <p:nvPr/>
        </p:nvSpPr>
        <p:spPr>
          <a:xfrm>
            <a:off x="9784424" y="5509878"/>
            <a:ext cx="1595309"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Comprehensive SLAs</a:t>
            </a:r>
          </a:p>
        </p:txBody>
      </p:sp>
      <p:sp>
        <p:nvSpPr>
          <p:cNvPr id="897" name="TextBox 896"/>
          <p:cNvSpPr txBox="1"/>
          <p:nvPr/>
        </p:nvSpPr>
        <p:spPr>
          <a:xfrm>
            <a:off x="7239920" y="5081896"/>
            <a:ext cx="2691764" cy="276999"/>
          </a:xfrm>
          <a:prstGeom prst="rect">
            <a:avLst/>
          </a:prstGeom>
          <a:noFill/>
        </p:spPr>
        <p:txBody>
          <a:bodyPr wrap="none" rtlCol="0">
            <a:spAutoFit/>
          </a:bodyPr>
          <a:lstStyle/>
          <a:p>
            <a:pPr algn="ctr" defTabSz="857124">
              <a:defRPr/>
            </a:pPr>
            <a:r>
              <a:rPr lang="en-US" sz="1200" kern="0" dirty="0">
                <a:solidFill>
                  <a:srgbClr val="002050"/>
                </a:solidFill>
                <a:latin typeface="Segoe UI"/>
                <a:cs typeface="Segoe UI Light" panose="020B0502040204020203" pitchFamily="34" charset="0"/>
              </a:rPr>
              <a:t>Five well-defined consistency models</a:t>
            </a:r>
          </a:p>
        </p:txBody>
      </p:sp>
      <p:grpSp>
        <p:nvGrpSpPr>
          <p:cNvPr id="905" name="Group 3"/>
          <p:cNvGrpSpPr/>
          <p:nvPr/>
        </p:nvGrpSpPr>
        <p:grpSpPr>
          <a:xfrm>
            <a:off x="2155722" y="6201962"/>
            <a:ext cx="752902" cy="752901"/>
            <a:chOff x="-4594157" y="2516834"/>
            <a:chExt cx="1070585" cy="1070585"/>
          </a:xfrm>
        </p:grpSpPr>
        <p:sp>
          <p:nvSpPr>
            <p:cNvPr id="90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07" name="Group 5"/>
            <p:cNvGrpSpPr/>
            <p:nvPr/>
          </p:nvGrpSpPr>
          <p:grpSpPr>
            <a:xfrm>
              <a:off x="-4594157" y="2516834"/>
              <a:ext cx="1070585" cy="1070585"/>
              <a:chOff x="10232415" y="2527090"/>
              <a:chExt cx="1070585" cy="1070585"/>
            </a:xfrm>
          </p:grpSpPr>
          <p:sp>
            <p:nvSpPr>
              <p:cNvPr id="908" name="Oval 6"/>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09" name="Graphic 90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0" name="Group 14"/>
          <p:cNvGrpSpPr/>
          <p:nvPr/>
        </p:nvGrpSpPr>
        <p:grpSpPr>
          <a:xfrm>
            <a:off x="7205301" y="6323443"/>
            <a:ext cx="752902" cy="752901"/>
            <a:chOff x="-4594157" y="2516834"/>
            <a:chExt cx="1070585" cy="1070585"/>
          </a:xfrm>
        </p:grpSpPr>
        <p:sp>
          <p:nvSpPr>
            <p:cNvPr id="91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12" name="Group 16"/>
            <p:cNvGrpSpPr/>
            <p:nvPr/>
          </p:nvGrpSpPr>
          <p:grpSpPr>
            <a:xfrm>
              <a:off x="-4594157" y="2516834"/>
              <a:ext cx="1070585" cy="1070585"/>
              <a:chOff x="10232415" y="2527090"/>
              <a:chExt cx="1070585" cy="1070585"/>
            </a:xfrm>
          </p:grpSpPr>
          <p:sp>
            <p:nvSpPr>
              <p:cNvPr id="913" name="Oval 1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14" name="Graphic 91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15" name="Group 24"/>
          <p:cNvGrpSpPr/>
          <p:nvPr/>
        </p:nvGrpSpPr>
        <p:grpSpPr>
          <a:xfrm>
            <a:off x="6130269" y="5962859"/>
            <a:ext cx="752902" cy="752901"/>
            <a:chOff x="-4594157" y="2516834"/>
            <a:chExt cx="1070585" cy="1070585"/>
          </a:xfrm>
        </p:grpSpPr>
        <p:sp>
          <p:nvSpPr>
            <p:cNvPr id="916"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17" name="Group 26"/>
            <p:cNvGrpSpPr/>
            <p:nvPr/>
          </p:nvGrpSpPr>
          <p:grpSpPr>
            <a:xfrm>
              <a:off x="-4594157" y="2516834"/>
              <a:ext cx="1070585" cy="1070585"/>
              <a:chOff x="10232415" y="2527090"/>
              <a:chExt cx="1070585" cy="1070585"/>
            </a:xfrm>
          </p:grpSpPr>
          <p:sp>
            <p:nvSpPr>
              <p:cNvPr id="918" name="Oval 27"/>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19" name="Graphic 918"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grpSp>
        <p:nvGrpSpPr>
          <p:cNvPr id="920" name="Group 900"/>
          <p:cNvGrpSpPr/>
          <p:nvPr/>
        </p:nvGrpSpPr>
        <p:grpSpPr>
          <a:xfrm>
            <a:off x="9313584" y="5962859"/>
            <a:ext cx="752902" cy="752901"/>
            <a:chOff x="-4594157" y="2516834"/>
            <a:chExt cx="1070585" cy="1070585"/>
          </a:xfrm>
        </p:grpSpPr>
        <p:sp>
          <p:nvSpPr>
            <p:cNvPr id="921" name="Freeform: Shape 411"/>
            <p:cNvSpPr/>
            <p:nvPr/>
          </p:nvSpPr>
          <p:spPr>
            <a:xfrm>
              <a:off x="-4158004" y="3347237"/>
              <a:ext cx="192371" cy="192371"/>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2"/>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grpSp>
          <p:nvGrpSpPr>
            <p:cNvPr id="922" name="Group 902"/>
            <p:cNvGrpSpPr/>
            <p:nvPr/>
          </p:nvGrpSpPr>
          <p:grpSpPr>
            <a:xfrm>
              <a:off x="-4594157" y="2516834"/>
              <a:ext cx="1070585" cy="1070585"/>
              <a:chOff x="10232415" y="2527090"/>
              <a:chExt cx="1070585" cy="1070585"/>
            </a:xfrm>
          </p:grpSpPr>
          <p:sp>
            <p:nvSpPr>
              <p:cNvPr id="923" name="Oval 903"/>
              <p:cNvSpPr/>
              <p:nvPr/>
            </p:nvSpPr>
            <p:spPr>
              <a:xfrm>
                <a:off x="10627604" y="2770027"/>
                <a:ext cx="274303" cy="274303"/>
              </a:xfrm>
              <a:prstGeom prst="ellipse">
                <a:avLst/>
              </a:prstGeom>
              <a:solidFill>
                <a:srgbClr val="FFFFFF"/>
              </a:solidFill>
              <a:ln w="12700" cap="flat" cmpd="sng" algn="ctr">
                <a:noFill/>
                <a:prstDash val="solid"/>
                <a:miter lim="800000"/>
              </a:ln>
              <a:effectLst/>
            </p:spPr>
            <p:txBody>
              <a:bodyPr rtlCol="0" anchor="ctr"/>
              <a:lstStyle/>
              <a:p>
                <a:pPr algn="ctr">
                  <a:defRPr/>
                </a:pPr>
                <a:endParaRPr lang="en-US" kern="0">
                  <a:solidFill>
                    <a:srgbClr val="FFFFFF"/>
                  </a:solidFill>
                  <a:latin typeface="Segoe UI"/>
                </a:endParaRPr>
              </a:p>
            </p:txBody>
          </p:sp>
          <p:pic>
            <p:nvPicPr>
              <p:cNvPr id="924" name="Graphic 923" descr="Marke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32415" y="2527090"/>
                <a:ext cx="1070585" cy="1070585"/>
              </a:xfrm>
              <a:prstGeom prst="rect">
                <a:avLst/>
              </a:prstGeom>
            </p:spPr>
          </p:pic>
        </p:grpSp>
      </p:grpSp>
      <p:sp>
        <p:nvSpPr>
          <p:cNvPr id="9" name="Freeform: Shape 8"/>
          <p:cNvSpPr/>
          <p:nvPr/>
        </p:nvSpPr>
        <p:spPr>
          <a:xfrm>
            <a:off x="-7257" y="4536008"/>
            <a:ext cx="12199257" cy="1037701"/>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sp>
        <p:nvSpPr>
          <p:cNvPr id="928" name="Freeform: Shape 927"/>
          <p:cNvSpPr/>
          <p:nvPr/>
        </p:nvSpPr>
        <p:spPr>
          <a:xfrm>
            <a:off x="-7257" y="3439656"/>
            <a:ext cx="12199257" cy="1020029"/>
          </a:xfrm>
          <a:custGeom>
            <a:avLst/>
            <a:gdLst>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 name="connsiteX0" fmla="*/ 0 w 12162971"/>
              <a:gd name="connsiteY0" fmla="*/ 1240986 h 1240986"/>
              <a:gd name="connsiteX1" fmla="*/ 6146800 w 12162971"/>
              <a:gd name="connsiteY1" fmla="*/ 15 h 1240986"/>
              <a:gd name="connsiteX2" fmla="*/ 12162971 w 12162971"/>
              <a:gd name="connsiteY2" fmla="*/ 1211958 h 1240986"/>
            </a:gdLst>
            <a:ahLst/>
            <a:cxnLst>
              <a:cxn ang="0">
                <a:pos x="connsiteX0" y="connsiteY0"/>
              </a:cxn>
              <a:cxn ang="0">
                <a:pos x="connsiteX1" y="connsiteY1"/>
              </a:cxn>
              <a:cxn ang="0">
                <a:pos x="connsiteX2" y="connsiteY2"/>
              </a:cxn>
            </a:cxnLst>
            <a:rect l="l" t="t" r="r" b="b"/>
            <a:pathLst>
              <a:path w="12162971" h="1240986">
                <a:moveTo>
                  <a:pt x="0" y="1240986"/>
                </a:moveTo>
                <a:cubicBezTo>
                  <a:pt x="231019" y="1123662"/>
                  <a:pt x="2820610" y="4853"/>
                  <a:pt x="6146800" y="15"/>
                </a:cubicBezTo>
                <a:cubicBezTo>
                  <a:pt x="9472990" y="-4823"/>
                  <a:pt x="11957352" y="1121244"/>
                  <a:pt x="12162971" y="1211958"/>
                </a:cubicBezTo>
              </a:path>
            </a:pathLst>
          </a:cu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a:endParaRPr>
          </a:p>
        </p:txBody>
      </p:sp>
      <p:grpSp>
        <p:nvGrpSpPr>
          <p:cNvPr id="4" name="Group 3">
            <a:extLst>
              <a:ext uri="{FF2B5EF4-FFF2-40B4-BE49-F238E27FC236}">
                <a16:creationId xmlns:a16="http://schemas.microsoft.com/office/drawing/2014/main" id="{7D36419D-4E65-490E-964F-849D184132D2}"/>
              </a:ext>
            </a:extLst>
          </p:cNvPr>
          <p:cNvGrpSpPr/>
          <p:nvPr/>
        </p:nvGrpSpPr>
        <p:grpSpPr>
          <a:xfrm>
            <a:off x="4325018" y="2532134"/>
            <a:ext cx="1897954" cy="623188"/>
            <a:chOff x="5645189" y="2644649"/>
            <a:chExt cx="1897954" cy="623188"/>
          </a:xfrm>
        </p:grpSpPr>
        <p:sp>
          <p:nvSpPr>
            <p:cNvPr id="830" name="Freeform: Shape 28"/>
            <p:cNvSpPr/>
            <p:nvPr/>
          </p:nvSpPr>
          <p:spPr>
            <a:xfrm>
              <a:off x="5645189" y="2644649"/>
              <a:ext cx="722852" cy="623188"/>
            </a:xfrm>
            <a:custGeom>
              <a:avLst/>
              <a:gdLst>
                <a:gd name="connsiteX0" fmla="*/ 4283739 w 6912012"/>
                <a:gd name="connsiteY0" fmla="*/ 3558282 h 5959009"/>
                <a:gd name="connsiteX1" fmla="*/ 4283739 w 6912012"/>
                <a:gd name="connsiteY1" fmla="*/ 4359666 h 5959009"/>
                <a:gd name="connsiteX2" fmla="*/ 5085123 w 6912012"/>
                <a:gd name="connsiteY2" fmla="*/ 4359666 h 5959009"/>
                <a:gd name="connsiteX3" fmla="*/ 5085123 w 6912012"/>
                <a:gd name="connsiteY3" fmla="*/ 3558282 h 5959009"/>
                <a:gd name="connsiteX4" fmla="*/ 3285434 w 6912012"/>
                <a:gd name="connsiteY4" fmla="*/ 3558282 h 5959009"/>
                <a:gd name="connsiteX5" fmla="*/ 3285434 w 6912012"/>
                <a:gd name="connsiteY5" fmla="*/ 4359666 h 5959009"/>
                <a:gd name="connsiteX6" fmla="*/ 4086818 w 6912012"/>
                <a:gd name="connsiteY6" fmla="*/ 4359666 h 5959009"/>
                <a:gd name="connsiteX7" fmla="*/ 4086818 w 6912012"/>
                <a:gd name="connsiteY7" fmla="*/ 3558282 h 5959009"/>
                <a:gd name="connsiteX8" fmla="*/ 2287129 w 6912012"/>
                <a:gd name="connsiteY8" fmla="*/ 3558282 h 5959009"/>
                <a:gd name="connsiteX9" fmla="*/ 2287129 w 6912012"/>
                <a:gd name="connsiteY9" fmla="*/ 4359666 h 5959009"/>
                <a:gd name="connsiteX10" fmla="*/ 3088513 w 6912012"/>
                <a:gd name="connsiteY10" fmla="*/ 4359666 h 5959009"/>
                <a:gd name="connsiteX11" fmla="*/ 3088513 w 6912012"/>
                <a:gd name="connsiteY11" fmla="*/ 3558282 h 5959009"/>
                <a:gd name="connsiteX12" fmla="*/ 4283739 w 6912012"/>
                <a:gd name="connsiteY12" fmla="*/ 2561689 h 5959009"/>
                <a:gd name="connsiteX13" fmla="*/ 4283739 w 6912012"/>
                <a:gd name="connsiteY13" fmla="*/ 3363073 h 5959009"/>
                <a:gd name="connsiteX14" fmla="*/ 5085123 w 6912012"/>
                <a:gd name="connsiteY14" fmla="*/ 3363073 h 5959009"/>
                <a:gd name="connsiteX15" fmla="*/ 5085123 w 6912012"/>
                <a:gd name="connsiteY15" fmla="*/ 2561689 h 5959009"/>
                <a:gd name="connsiteX16" fmla="*/ 3285434 w 6912012"/>
                <a:gd name="connsiteY16" fmla="*/ 2561689 h 5959009"/>
                <a:gd name="connsiteX17" fmla="*/ 3285434 w 6912012"/>
                <a:gd name="connsiteY17" fmla="*/ 3363073 h 5959009"/>
                <a:gd name="connsiteX18" fmla="*/ 4086818 w 6912012"/>
                <a:gd name="connsiteY18" fmla="*/ 3363073 h 5959009"/>
                <a:gd name="connsiteX19" fmla="*/ 4086818 w 6912012"/>
                <a:gd name="connsiteY19" fmla="*/ 2561689 h 5959009"/>
                <a:gd name="connsiteX20" fmla="*/ 2287129 w 6912012"/>
                <a:gd name="connsiteY20" fmla="*/ 2561689 h 5959009"/>
                <a:gd name="connsiteX21" fmla="*/ 2287129 w 6912012"/>
                <a:gd name="connsiteY21" fmla="*/ 3363073 h 5959009"/>
                <a:gd name="connsiteX22" fmla="*/ 3088513 w 6912012"/>
                <a:gd name="connsiteY22" fmla="*/ 3363073 h 5959009"/>
                <a:gd name="connsiteX23" fmla="*/ 3088513 w 6912012"/>
                <a:gd name="connsiteY23" fmla="*/ 2561689 h 5959009"/>
                <a:gd name="connsiteX24" fmla="*/ 4283739 w 6912012"/>
                <a:gd name="connsiteY24" fmla="*/ 1565096 h 5959009"/>
                <a:gd name="connsiteX25" fmla="*/ 4283739 w 6912012"/>
                <a:gd name="connsiteY25" fmla="*/ 2366480 h 5959009"/>
                <a:gd name="connsiteX26" fmla="*/ 5085123 w 6912012"/>
                <a:gd name="connsiteY26" fmla="*/ 2366480 h 5959009"/>
                <a:gd name="connsiteX27" fmla="*/ 5085123 w 6912012"/>
                <a:gd name="connsiteY27" fmla="*/ 1565096 h 5959009"/>
                <a:gd name="connsiteX28" fmla="*/ 3285434 w 6912012"/>
                <a:gd name="connsiteY28" fmla="*/ 1565096 h 5959009"/>
                <a:gd name="connsiteX29" fmla="*/ 3285434 w 6912012"/>
                <a:gd name="connsiteY29" fmla="*/ 2366480 h 5959009"/>
                <a:gd name="connsiteX30" fmla="*/ 4086818 w 6912012"/>
                <a:gd name="connsiteY30" fmla="*/ 2366480 h 5959009"/>
                <a:gd name="connsiteX31" fmla="*/ 4086818 w 6912012"/>
                <a:gd name="connsiteY31" fmla="*/ 1565096 h 5959009"/>
                <a:gd name="connsiteX32" fmla="*/ 2287129 w 6912012"/>
                <a:gd name="connsiteY32" fmla="*/ 1565096 h 5959009"/>
                <a:gd name="connsiteX33" fmla="*/ 2287129 w 6912012"/>
                <a:gd name="connsiteY33" fmla="*/ 2366480 h 5959009"/>
                <a:gd name="connsiteX34" fmla="*/ 3088513 w 6912012"/>
                <a:gd name="connsiteY34" fmla="*/ 2366480 h 5959009"/>
                <a:gd name="connsiteX35" fmla="*/ 3088513 w 6912012"/>
                <a:gd name="connsiteY35" fmla="*/ 1565096 h 5959009"/>
                <a:gd name="connsiteX36" fmla="*/ 1826890 w 6912012"/>
                <a:gd name="connsiteY36" fmla="*/ 1539635 h 5959009"/>
                <a:gd name="connsiteX37" fmla="*/ 1826890 w 6912012"/>
                <a:gd name="connsiteY37" fmla="*/ 4787206 h 5959009"/>
                <a:gd name="connsiteX38" fmla="*/ 5085123 w 6912012"/>
                <a:gd name="connsiteY38" fmla="*/ 4787206 h 5959009"/>
                <a:gd name="connsiteX39" fmla="*/ 5085123 w 6912012"/>
                <a:gd name="connsiteY39" fmla="*/ 4567677 h 5959009"/>
                <a:gd name="connsiteX40" fmla="*/ 2046419 w 6912012"/>
                <a:gd name="connsiteY40" fmla="*/ 4567677 h 5959009"/>
                <a:gd name="connsiteX41" fmla="*/ 2046419 w 6912012"/>
                <a:gd name="connsiteY41" fmla="*/ 1539635 h 5959009"/>
                <a:gd name="connsiteX42" fmla="*/ 1743189 w 6912012"/>
                <a:gd name="connsiteY42" fmla="*/ 0 h 5959009"/>
                <a:gd name="connsiteX43" fmla="*/ 5168823 w 6912012"/>
                <a:gd name="connsiteY43" fmla="*/ 0 h 5959009"/>
                <a:gd name="connsiteX44" fmla="*/ 6912012 w 6912012"/>
                <a:gd name="connsiteY44" fmla="*/ 2979505 h 5959009"/>
                <a:gd name="connsiteX45" fmla="*/ 5168823 w 6912012"/>
                <a:gd name="connsiteY45" fmla="*/ 5959009 h 5959009"/>
                <a:gd name="connsiteX46" fmla="*/ 1743189 w 6912012"/>
                <a:gd name="connsiteY46" fmla="*/ 5959009 h 5959009"/>
                <a:gd name="connsiteX47" fmla="*/ 0 w 6912012"/>
                <a:gd name="connsiteY47" fmla="*/ 2979505 h 5959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912012" h="5959009">
                  <a:moveTo>
                    <a:pt x="4283739" y="3558282"/>
                  </a:moveTo>
                  <a:lnTo>
                    <a:pt x="4283739" y="4359666"/>
                  </a:lnTo>
                  <a:lnTo>
                    <a:pt x="5085123" y="4359666"/>
                  </a:lnTo>
                  <a:lnTo>
                    <a:pt x="5085123" y="3558282"/>
                  </a:lnTo>
                  <a:close/>
                  <a:moveTo>
                    <a:pt x="3285434" y="3558282"/>
                  </a:moveTo>
                  <a:lnTo>
                    <a:pt x="3285434" y="4359666"/>
                  </a:lnTo>
                  <a:lnTo>
                    <a:pt x="4086818" y="4359666"/>
                  </a:lnTo>
                  <a:lnTo>
                    <a:pt x="4086818" y="3558282"/>
                  </a:lnTo>
                  <a:close/>
                  <a:moveTo>
                    <a:pt x="2287129" y="3558282"/>
                  </a:moveTo>
                  <a:lnTo>
                    <a:pt x="2287129" y="4359666"/>
                  </a:lnTo>
                  <a:lnTo>
                    <a:pt x="3088513" y="4359666"/>
                  </a:lnTo>
                  <a:lnTo>
                    <a:pt x="3088513" y="3558282"/>
                  </a:lnTo>
                  <a:close/>
                  <a:moveTo>
                    <a:pt x="4283739" y="2561689"/>
                  </a:moveTo>
                  <a:lnTo>
                    <a:pt x="4283739" y="3363073"/>
                  </a:lnTo>
                  <a:lnTo>
                    <a:pt x="5085123" y="3363073"/>
                  </a:lnTo>
                  <a:lnTo>
                    <a:pt x="5085123" y="2561689"/>
                  </a:lnTo>
                  <a:close/>
                  <a:moveTo>
                    <a:pt x="3285434" y="2561689"/>
                  </a:moveTo>
                  <a:lnTo>
                    <a:pt x="3285434" y="3363073"/>
                  </a:lnTo>
                  <a:lnTo>
                    <a:pt x="4086818" y="3363073"/>
                  </a:lnTo>
                  <a:lnTo>
                    <a:pt x="4086818" y="2561689"/>
                  </a:lnTo>
                  <a:close/>
                  <a:moveTo>
                    <a:pt x="2287129" y="2561689"/>
                  </a:moveTo>
                  <a:lnTo>
                    <a:pt x="2287129" y="3363073"/>
                  </a:lnTo>
                  <a:lnTo>
                    <a:pt x="3088513" y="3363073"/>
                  </a:lnTo>
                  <a:lnTo>
                    <a:pt x="3088513" y="2561689"/>
                  </a:lnTo>
                  <a:close/>
                  <a:moveTo>
                    <a:pt x="4283739" y="1565096"/>
                  </a:moveTo>
                  <a:lnTo>
                    <a:pt x="4283739" y="2366480"/>
                  </a:lnTo>
                  <a:lnTo>
                    <a:pt x="5085123" y="2366480"/>
                  </a:lnTo>
                  <a:lnTo>
                    <a:pt x="5085123" y="1565096"/>
                  </a:lnTo>
                  <a:close/>
                  <a:moveTo>
                    <a:pt x="3285434" y="1565096"/>
                  </a:moveTo>
                  <a:lnTo>
                    <a:pt x="3285434" y="2366480"/>
                  </a:lnTo>
                  <a:lnTo>
                    <a:pt x="4086818" y="2366480"/>
                  </a:lnTo>
                  <a:lnTo>
                    <a:pt x="4086818" y="1565096"/>
                  </a:lnTo>
                  <a:close/>
                  <a:moveTo>
                    <a:pt x="2287129" y="1565096"/>
                  </a:moveTo>
                  <a:lnTo>
                    <a:pt x="2287129" y="2366480"/>
                  </a:lnTo>
                  <a:lnTo>
                    <a:pt x="3088513" y="2366480"/>
                  </a:lnTo>
                  <a:lnTo>
                    <a:pt x="3088513" y="1565096"/>
                  </a:lnTo>
                  <a:close/>
                  <a:moveTo>
                    <a:pt x="1826890" y="1539635"/>
                  </a:moveTo>
                  <a:lnTo>
                    <a:pt x="1826890" y="4787206"/>
                  </a:lnTo>
                  <a:lnTo>
                    <a:pt x="5085123" y="4787206"/>
                  </a:lnTo>
                  <a:lnTo>
                    <a:pt x="5085123" y="4567677"/>
                  </a:lnTo>
                  <a:lnTo>
                    <a:pt x="2046419" y="4567677"/>
                  </a:lnTo>
                  <a:lnTo>
                    <a:pt x="2046419" y="1539635"/>
                  </a:lnTo>
                  <a:close/>
                  <a:moveTo>
                    <a:pt x="1743189" y="0"/>
                  </a:moveTo>
                  <a:lnTo>
                    <a:pt x="5168823" y="0"/>
                  </a:lnTo>
                  <a:lnTo>
                    <a:pt x="6912012" y="2979505"/>
                  </a:lnTo>
                  <a:lnTo>
                    <a:pt x="5168823" y="5959009"/>
                  </a:lnTo>
                  <a:lnTo>
                    <a:pt x="1743189" y="5959009"/>
                  </a:lnTo>
                  <a:lnTo>
                    <a:pt x="0" y="297950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latin typeface="Segoe UI"/>
              </a:endParaRPr>
            </a:p>
          </p:txBody>
        </p:sp>
        <p:sp>
          <p:nvSpPr>
            <p:cNvPr id="3" name="TextBox 2"/>
            <p:cNvSpPr txBox="1"/>
            <p:nvPr/>
          </p:nvSpPr>
          <p:spPr>
            <a:xfrm>
              <a:off x="6430723" y="2787717"/>
              <a:ext cx="1112420" cy="369332"/>
            </a:xfrm>
            <a:prstGeom prst="rect">
              <a:avLst/>
            </a:prstGeom>
            <a:noFill/>
          </p:spPr>
          <p:txBody>
            <a:bodyPr wrap="none" rtlCol="0">
              <a:spAutoFit/>
            </a:bodyPr>
            <a:lstStyle/>
            <a:p>
              <a:r>
                <a:rPr lang="en-US" dirty="0">
                  <a:solidFill>
                    <a:srgbClr val="000000"/>
                  </a:solidFill>
                  <a:latin typeface="Segoe UI"/>
                </a:rPr>
                <a:t>Table API</a:t>
              </a:r>
            </a:p>
          </p:txBody>
        </p:sp>
      </p:grpSp>
      <p:grpSp>
        <p:nvGrpSpPr>
          <p:cNvPr id="93" name="Group 92"/>
          <p:cNvGrpSpPr/>
          <p:nvPr/>
        </p:nvGrpSpPr>
        <p:grpSpPr>
          <a:xfrm>
            <a:off x="4468630" y="3829867"/>
            <a:ext cx="648960" cy="124646"/>
            <a:chOff x="4937947" y="5178778"/>
            <a:chExt cx="733930" cy="124646"/>
          </a:xfrm>
        </p:grpSpPr>
        <p:cxnSp>
          <p:nvCxnSpPr>
            <p:cNvPr id="94" name="Straight Connector 93"/>
            <p:cNvCxnSpPr>
              <a:cxnSpLocks/>
            </p:cNvCxnSpPr>
            <p:nvPr/>
          </p:nvCxnSpPr>
          <p:spPr>
            <a:xfrm>
              <a:off x="5062593" y="5241101"/>
              <a:ext cx="187117" cy="0"/>
            </a:xfrm>
            <a:prstGeom prst="line">
              <a:avLst/>
            </a:prstGeom>
            <a:noFill/>
            <a:ln w="12700" cap="flat" cmpd="sng" algn="ctr">
              <a:solidFill>
                <a:schemeClr val="tx2"/>
              </a:solidFill>
              <a:prstDash val="sysDot"/>
              <a:miter lim="800000"/>
              <a:headEnd type="none"/>
              <a:tailEnd type="none"/>
            </a:ln>
            <a:effectLst/>
          </p:spPr>
        </p:cxnSp>
        <p:sp>
          <p:nvSpPr>
            <p:cNvPr id="95" name="Oval 94"/>
            <p:cNvSpPr/>
            <p:nvPr/>
          </p:nvSpPr>
          <p:spPr bwMode="auto">
            <a:xfrm>
              <a:off x="4937947" y="5178778"/>
              <a:ext cx="124646" cy="124646"/>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6" name="Oval 95"/>
            <p:cNvSpPr/>
            <p:nvPr/>
          </p:nvSpPr>
          <p:spPr bwMode="auto">
            <a:xfrm>
              <a:off x="5249710"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7" name="Oval 96"/>
            <p:cNvSpPr/>
            <p:nvPr/>
          </p:nvSpPr>
          <p:spPr bwMode="auto">
            <a:xfrm>
              <a:off x="5404122"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8" name="Oval 97"/>
            <p:cNvSpPr/>
            <p:nvPr/>
          </p:nvSpPr>
          <p:spPr bwMode="auto">
            <a:xfrm>
              <a:off x="5558535"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grpSp>
        <p:nvGrpSpPr>
          <p:cNvPr id="118" name="Group 117"/>
          <p:cNvGrpSpPr/>
          <p:nvPr/>
        </p:nvGrpSpPr>
        <p:grpSpPr>
          <a:xfrm>
            <a:off x="2522203" y="3918617"/>
            <a:ext cx="723819" cy="774671"/>
            <a:chOff x="4511512" y="6316301"/>
            <a:chExt cx="668502" cy="1610561"/>
          </a:xfrm>
        </p:grpSpPr>
        <p:grpSp>
          <p:nvGrpSpPr>
            <p:cNvPr id="119" name="Group 118"/>
            <p:cNvGrpSpPr/>
            <p:nvPr/>
          </p:nvGrpSpPr>
          <p:grpSpPr>
            <a:xfrm>
              <a:off x="4511512" y="6316301"/>
              <a:ext cx="617679" cy="892977"/>
              <a:chOff x="4066669" y="5178779"/>
              <a:chExt cx="1357897" cy="892977"/>
            </a:xfrm>
          </p:grpSpPr>
          <p:cxnSp>
            <p:nvCxnSpPr>
              <p:cNvPr id="121" name="Straight Connector 120"/>
              <p:cNvCxnSpPr>
                <a:cxnSpLocks/>
              </p:cNvCxnSpPr>
              <p:nvPr/>
            </p:nvCxnSpPr>
            <p:spPr>
              <a:xfrm>
                <a:off x="4308965" y="5299925"/>
                <a:ext cx="895279" cy="0"/>
              </a:xfrm>
              <a:prstGeom prst="line">
                <a:avLst/>
              </a:prstGeom>
              <a:noFill/>
              <a:ln w="12700" cap="flat" cmpd="sng" algn="ctr">
                <a:solidFill>
                  <a:schemeClr val="tx2"/>
                </a:solidFill>
                <a:prstDash val="sysDot"/>
                <a:miter lim="800000"/>
                <a:headEnd type="none"/>
                <a:tailEnd type="none"/>
              </a:ln>
              <a:effectLst/>
            </p:spPr>
          </p:cxnSp>
          <p:sp>
            <p:nvSpPr>
              <p:cNvPr id="122" name="Oval 121"/>
              <p:cNvSpPr/>
              <p:nvPr/>
            </p:nvSpPr>
            <p:spPr bwMode="auto">
              <a:xfrm>
                <a:off x="4066669" y="517877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3" name="Oval 122"/>
              <p:cNvSpPr/>
              <p:nvPr/>
            </p:nvSpPr>
            <p:spPr bwMode="auto">
              <a:xfrm>
                <a:off x="5204244" y="5189764"/>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124" name="Straight Connector 123"/>
              <p:cNvCxnSpPr>
                <a:cxnSpLocks/>
              </p:cNvCxnSpPr>
              <p:nvPr/>
            </p:nvCxnSpPr>
            <p:spPr>
              <a:xfrm>
                <a:off x="4308965" y="5620439"/>
                <a:ext cx="895279" cy="0"/>
              </a:xfrm>
              <a:prstGeom prst="line">
                <a:avLst/>
              </a:prstGeom>
              <a:noFill/>
              <a:ln w="12700" cap="flat" cmpd="sng" algn="ctr">
                <a:solidFill>
                  <a:schemeClr val="tx2"/>
                </a:solidFill>
                <a:prstDash val="sysDot"/>
                <a:miter lim="800000"/>
                <a:headEnd type="none"/>
                <a:tailEnd type="none"/>
              </a:ln>
              <a:effectLst/>
            </p:spPr>
          </p:cxnSp>
          <p:sp>
            <p:nvSpPr>
              <p:cNvPr id="125" name="Oval 124"/>
              <p:cNvSpPr/>
              <p:nvPr/>
            </p:nvSpPr>
            <p:spPr bwMode="auto">
              <a:xfrm>
                <a:off x="4066669" y="5499293"/>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6" name="Oval 125"/>
              <p:cNvSpPr/>
              <p:nvPr/>
            </p:nvSpPr>
            <p:spPr bwMode="auto">
              <a:xfrm>
                <a:off x="5204244" y="5510278"/>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127" name="Straight Connector 126"/>
              <p:cNvCxnSpPr>
                <a:cxnSpLocks/>
              </p:cNvCxnSpPr>
              <p:nvPr/>
            </p:nvCxnSpPr>
            <p:spPr>
              <a:xfrm>
                <a:off x="4308965" y="5950606"/>
                <a:ext cx="895279" cy="0"/>
              </a:xfrm>
              <a:prstGeom prst="line">
                <a:avLst/>
              </a:prstGeom>
              <a:noFill/>
              <a:ln w="12700" cap="flat" cmpd="sng" algn="ctr">
                <a:solidFill>
                  <a:schemeClr val="tx2"/>
                </a:solidFill>
                <a:prstDash val="sysDot"/>
                <a:miter lim="800000"/>
                <a:headEnd type="none"/>
                <a:tailEnd type="none"/>
              </a:ln>
              <a:effectLst/>
            </p:spPr>
          </p:cxnSp>
          <p:sp>
            <p:nvSpPr>
              <p:cNvPr id="128" name="Oval 127"/>
              <p:cNvSpPr/>
              <p:nvPr/>
            </p:nvSpPr>
            <p:spPr bwMode="auto">
              <a:xfrm>
                <a:off x="4066669" y="5829459"/>
                <a:ext cx="242296" cy="242297"/>
              </a:xfrm>
              <a:prstGeom prst="ellipse">
                <a:avLst/>
              </a:prstGeom>
              <a:solidFill>
                <a:schemeClr val="tx2"/>
              </a:solidFill>
              <a:ln w="3175" cap="flat" cmpd="sng" algn="ctr">
                <a:no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29" name="Oval 128"/>
              <p:cNvSpPr/>
              <p:nvPr/>
            </p:nvSpPr>
            <p:spPr bwMode="auto">
              <a:xfrm>
                <a:off x="5204244" y="5840445"/>
                <a:ext cx="220322"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sp>
          <p:nvSpPr>
            <p:cNvPr id="120" name="TextBox 119"/>
            <p:cNvSpPr txBox="1"/>
            <p:nvPr/>
          </p:nvSpPr>
          <p:spPr>
            <a:xfrm>
              <a:off x="4538071" y="7398964"/>
              <a:ext cx="641943" cy="527898"/>
            </a:xfrm>
            <a:prstGeom prst="rect">
              <a:avLst/>
            </a:prstGeom>
            <a:noFill/>
          </p:spPr>
          <p:txBody>
            <a:bodyPr wrap="none" lIns="0" rtlCol="0">
              <a:spAutoFit/>
            </a:bodyPr>
            <a:lstStyle/>
            <a:p>
              <a:pPr algn="ctr">
                <a:defRPr/>
              </a:pPr>
              <a:r>
                <a:rPr lang="en-US" sz="1050" dirty="0">
                  <a:solidFill>
                    <a:srgbClr val="0078D7"/>
                  </a:solidFill>
                  <a:latin typeface="Segoe UI Semibold" panose="020B0702040204020203" pitchFamily="34" charset="0"/>
                  <a:cs typeface="Segoe UI Semibold" panose="020B0702040204020203" pitchFamily="34" charset="0"/>
                </a:rPr>
                <a:t>Key-value</a:t>
              </a:r>
            </a:p>
          </p:txBody>
        </p:sp>
      </p:grpSp>
      <p:sp>
        <p:nvSpPr>
          <p:cNvPr id="84" name="Title 10"/>
          <p:cNvSpPr>
            <a:spLocks noGrp="1"/>
          </p:cNvSpPr>
          <p:nvPr>
            <p:ph type="title"/>
          </p:nvPr>
        </p:nvSpPr>
        <p:spPr>
          <a:xfrm>
            <a:off x="185254" y="296723"/>
            <a:ext cx="11642721" cy="917575"/>
          </a:xfrm>
        </p:spPr>
        <p:txBody>
          <a:bodyPr>
            <a:noAutofit/>
          </a:bodyPr>
          <a:lstStyle/>
          <a:p>
            <a:pPr algn="ctr"/>
            <a:r>
              <a:rPr lang="en-US" dirty="0">
                <a:solidFill>
                  <a:schemeClr val="bg1"/>
                </a:solidFill>
              </a:rPr>
              <a:t>Azure Cosmos DB</a:t>
            </a:r>
            <a:br>
              <a:rPr lang="en-US" dirty="0">
                <a:solidFill>
                  <a:schemeClr val="bg1"/>
                </a:solidFill>
              </a:rPr>
            </a:br>
            <a:r>
              <a:rPr lang="en-US" sz="2400" dirty="0">
                <a:solidFill>
                  <a:schemeClr val="bg1"/>
                </a:solidFill>
              </a:rPr>
              <a:t>A globally distributed, massively scalable, multi-model database service</a:t>
            </a:r>
          </a:p>
        </p:txBody>
      </p:sp>
      <p:sp>
        <p:nvSpPr>
          <p:cNvPr id="5" name="Freeform: Shape 4"/>
          <p:cNvSpPr/>
          <p:nvPr/>
        </p:nvSpPr>
        <p:spPr>
          <a:xfrm>
            <a:off x="802038" y="2116183"/>
            <a:ext cx="10833832" cy="1800969"/>
          </a:xfrm>
          <a:custGeom>
            <a:avLst/>
            <a:gdLst>
              <a:gd name="connsiteX0" fmla="*/ 4945619 w 10833832"/>
              <a:gd name="connsiteY0" fmla="*/ 202474 h 1800969"/>
              <a:gd name="connsiteX1" fmla="*/ 3978968 w 10833832"/>
              <a:gd name="connsiteY1" fmla="*/ 117566 h 1800969"/>
              <a:gd name="connsiteX2" fmla="*/ 1634185 w 10833832"/>
              <a:gd name="connsiteY2" fmla="*/ 398417 h 1800969"/>
              <a:gd name="connsiteX3" fmla="*/ 164613 w 10833832"/>
              <a:gd name="connsiteY3" fmla="*/ 718457 h 1800969"/>
              <a:gd name="connsiteX4" fmla="*/ 66642 w 10833832"/>
              <a:gd name="connsiteY4" fmla="*/ 1312817 h 1800969"/>
              <a:gd name="connsiteX5" fmla="*/ 445465 w 10833832"/>
              <a:gd name="connsiteY5" fmla="*/ 1574074 h 1800969"/>
              <a:gd name="connsiteX6" fmla="*/ 1686436 w 10833832"/>
              <a:gd name="connsiteY6" fmla="*/ 1561011 h 1800969"/>
              <a:gd name="connsiteX7" fmla="*/ 3534831 w 10833832"/>
              <a:gd name="connsiteY7" fmla="*/ 1221377 h 1800969"/>
              <a:gd name="connsiteX8" fmla="*/ 5095842 w 10833832"/>
              <a:gd name="connsiteY8" fmla="*/ 1208314 h 1800969"/>
              <a:gd name="connsiteX9" fmla="*/ 7159773 w 10833832"/>
              <a:gd name="connsiteY9" fmla="*/ 1280160 h 1800969"/>
              <a:gd name="connsiteX10" fmla="*/ 9674373 w 10833832"/>
              <a:gd name="connsiteY10" fmla="*/ 1665514 h 1800969"/>
              <a:gd name="connsiteX11" fmla="*/ 10327516 w 10833832"/>
              <a:gd name="connsiteY11" fmla="*/ 1796143 h 1800969"/>
              <a:gd name="connsiteX12" fmla="*/ 10719402 w 10833832"/>
              <a:gd name="connsiteY12" fmla="*/ 1521823 h 1800969"/>
              <a:gd name="connsiteX13" fmla="*/ 10693276 w 10833832"/>
              <a:gd name="connsiteY13" fmla="*/ 960120 h 1800969"/>
              <a:gd name="connsiteX14" fmla="*/ 9138796 w 10833832"/>
              <a:gd name="connsiteY14" fmla="*/ 489857 h 1800969"/>
              <a:gd name="connsiteX15" fmla="*/ 4743145 w 10833832"/>
              <a:gd name="connsiteY15" fmla="*/ 0 h 1800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833832" h="1800969">
                <a:moveTo>
                  <a:pt x="4945619" y="202474"/>
                </a:moveTo>
                <a:cubicBezTo>
                  <a:pt x="4738246" y="143691"/>
                  <a:pt x="4530874" y="84909"/>
                  <a:pt x="3978968" y="117566"/>
                </a:cubicBezTo>
                <a:cubicBezTo>
                  <a:pt x="3427062" y="150223"/>
                  <a:pt x="2269911" y="298268"/>
                  <a:pt x="1634185" y="398417"/>
                </a:cubicBezTo>
                <a:cubicBezTo>
                  <a:pt x="998459" y="498566"/>
                  <a:pt x="425870" y="566057"/>
                  <a:pt x="164613" y="718457"/>
                </a:cubicBezTo>
                <a:cubicBezTo>
                  <a:pt x="-96644" y="870857"/>
                  <a:pt x="19833" y="1170214"/>
                  <a:pt x="66642" y="1312817"/>
                </a:cubicBezTo>
                <a:cubicBezTo>
                  <a:pt x="113451" y="1455420"/>
                  <a:pt x="175499" y="1532708"/>
                  <a:pt x="445465" y="1574074"/>
                </a:cubicBezTo>
                <a:cubicBezTo>
                  <a:pt x="715431" y="1615440"/>
                  <a:pt x="1171542" y="1619794"/>
                  <a:pt x="1686436" y="1561011"/>
                </a:cubicBezTo>
                <a:cubicBezTo>
                  <a:pt x="2201330" y="1502228"/>
                  <a:pt x="2966597" y="1280160"/>
                  <a:pt x="3534831" y="1221377"/>
                </a:cubicBezTo>
                <a:cubicBezTo>
                  <a:pt x="4103065" y="1162594"/>
                  <a:pt x="4491685" y="1198517"/>
                  <a:pt x="5095842" y="1208314"/>
                </a:cubicBezTo>
                <a:cubicBezTo>
                  <a:pt x="5699999" y="1218111"/>
                  <a:pt x="6396685" y="1203960"/>
                  <a:pt x="7159773" y="1280160"/>
                </a:cubicBezTo>
                <a:cubicBezTo>
                  <a:pt x="7922862" y="1356360"/>
                  <a:pt x="9146416" y="1579517"/>
                  <a:pt x="9674373" y="1665514"/>
                </a:cubicBezTo>
                <a:cubicBezTo>
                  <a:pt x="10202330" y="1751511"/>
                  <a:pt x="10153345" y="1820092"/>
                  <a:pt x="10327516" y="1796143"/>
                </a:cubicBezTo>
                <a:cubicBezTo>
                  <a:pt x="10501688" y="1772195"/>
                  <a:pt x="10658442" y="1661160"/>
                  <a:pt x="10719402" y="1521823"/>
                </a:cubicBezTo>
                <a:cubicBezTo>
                  <a:pt x="10780362" y="1382486"/>
                  <a:pt x="10956710" y="1132114"/>
                  <a:pt x="10693276" y="960120"/>
                </a:cubicBezTo>
                <a:cubicBezTo>
                  <a:pt x="10429842" y="788126"/>
                  <a:pt x="10130484" y="649877"/>
                  <a:pt x="9138796" y="489857"/>
                </a:cubicBezTo>
                <a:cubicBezTo>
                  <a:pt x="8147108" y="329837"/>
                  <a:pt x="6445126" y="164918"/>
                  <a:pt x="4743145" y="0"/>
                </a:cubicBezTo>
              </a:path>
            </a:pathLst>
          </a:custGeom>
          <a:no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8" name="Picture 2" descr="Image result for cassandra logo">
            <a:extLst>
              <a:ext uri="{FF2B5EF4-FFF2-40B4-BE49-F238E27FC236}">
                <a16:creationId xmlns:a16="http://schemas.microsoft.com/office/drawing/2014/main" id="{B4180BA0-E1BF-45E0-8139-756396C333C7}"/>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655984" y="2599690"/>
            <a:ext cx="1202369" cy="8062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495785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0"/>
            <a:ext cx="10972800" cy="1219200"/>
          </a:xfrm>
        </p:spPr>
        <p:txBody>
          <a:bodyPr/>
          <a:lstStyle/>
          <a:p>
            <a:r>
              <a:rPr lang="en-US" dirty="0">
                <a:solidFill>
                  <a:schemeClr val="bg1"/>
                </a:solidFill>
                <a:latin typeface="Segoe UI Light" panose="020B0502040204020203" pitchFamily="34" charset="0"/>
                <a:cs typeface="Segoe UI Light" panose="020B0502040204020203" pitchFamily="34" charset="0"/>
              </a:rPr>
              <a:t>What Does our API Strategy Enable? </a:t>
            </a:r>
          </a:p>
        </p:txBody>
      </p:sp>
      <p:sp>
        <p:nvSpPr>
          <p:cNvPr id="3" name="Content Placeholder 2"/>
          <p:cNvSpPr>
            <a:spLocks noGrp="1"/>
          </p:cNvSpPr>
          <p:nvPr>
            <p:ph idx="1"/>
          </p:nvPr>
        </p:nvSpPr>
        <p:spPr>
          <a:xfrm>
            <a:off x="609600" y="1215108"/>
            <a:ext cx="10972800" cy="4741919"/>
          </a:xfrm>
        </p:spPr>
        <p:txBody>
          <a:bodyPr>
            <a:noAutofit/>
          </a:bodyPr>
          <a:lstStyle/>
          <a:p>
            <a:pPr lvl="0"/>
            <a:r>
              <a:rPr lang="en-US" sz="2400" dirty="0">
                <a:solidFill>
                  <a:schemeClr val="bg1"/>
                </a:solidFill>
                <a:latin typeface="Segoe UI Light" panose="020B0502040204020203" pitchFamily="34" charset="0"/>
                <a:cs typeface="Segoe UI Light" panose="020B0502040204020203" pitchFamily="34" charset="0"/>
              </a:rPr>
              <a:t>No recompilation needed!</a:t>
            </a:r>
          </a:p>
          <a:p>
            <a:pPr lvl="0"/>
            <a:endParaRPr lang="en-US" sz="2400" dirty="0">
              <a:solidFill>
                <a:schemeClr val="bg1"/>
              </a:solidFill>
              <a:latin typeface="Segoe UI Light" panose="020B0502040204020203" pitchFamily="34" charset="0"/>
              <a:cs typeface="Segoe UI Light" panose="020B0502040204020203" pitchFamily="34" charset="0"/>
            </a:endParaRPr>
          </a:p>
          <a:p>
            <a:pPr lvl="0"/>
            <a:r>
              <a:rPr lang="en-US" sz="2400" dirty="0">
                <a:solidFill>
                  <a:schemeClr val="bg1"/>
                </a:solidFill>
                <a:latin typeface="Segoe UI Light" panose="020B0502040204020203" pitchFamily="34" charset="0"/>
                <a:cs typeface="Segoe UI Light" panose="020B0502040204020203" pitchFamily="34" charset="0"/>
              </a:rPr>
              <a:t>Better SLAs, lower TCO, enterprise grade security and amazing capabilities without requiring to change the app code or data access layer</a:t>
            </a:r>
          </a:p>
          <a:p>
            <a:pPr lvl="0"/>
            <a:endParaRPr lang="en-US" sz="2400" dirty="0">
              <a:solidFill>
                <a:schemeClr val="bg1"/>
              </a:solidFill>
              <a:latin typeface="Segoe UI Light" panose="020B0502040204020203" pitchFamily="34" charset="0"/>
              <a:cs typeface="Segoe UI Light" panose="020B0502040204020203" pitchFamily="34" charset="0"/>
            </a:endParaRPr>
          </a:p>
          <a:p>
            <a:pPr lvl="0"/>
            <a:r>
              <a:rPr lang="en-US" sz="2400" dirty="0">
                <a:solidFill>
                  <a:schemeClr val="bg1"/>
                </a:solidFill>
                <a:latin typeface="Segoe UI Light" panose="020B0502040204020203" pitchFamily="34" charset="0"/>
                <a:cs typeface="Segoe UI Light" panose="020B0502040204020203" pitchFamily="34" charset="0"/>
              </a:rPr>
              <a:t>Leverage the existing OSS toolchain and ecosystem and development IT expertise</a:t>
            </a:r>
          </a:p>
          <a:p>
            <a:pPr lvl="0"/>
            <a:endParaRPr lang="en-US" sz="2400" dirty="0">
              <a:solidFill>
                <a:schemeClr val="bg1"/>
              </a:solidFill>
              <a:latin typeface="Segoe UI Light" panose="020B0502040204020203" pitchFamily="34" charset="0"/>
              <a:cs typeface="Segoe UI Light" panose="020B0502040204020203" pitchFamily="34" charset="0"/>
            </a:endParaRPr>
          </a:p>
          <a:p>
            <a:pPr lvl="0"/>
            <a:r>
              <a:rPr lang="en-US" sz="2400" dirty="0">
                <a:solidFill>
                  <a:schemeClr val="bg1"/>
                </a:solidFill>
                <a:latin typeface="Segoe UI Light" panose="020B0502040204020203" pitchFamily="34" charset="0"/>
                <a:cs typeface="Segoe UI Light" panose="020B0502040204020203" pitchFamily="34" charset="0"/>
              </a:rPr>
              <a:t>Lift and shift from on-premises to cloud</a:t>
            </a:r>
          </a:p>
          <a:p>
            <a:pPr lvl="0"/>
            <a:endParaRPr lang="en-US" sz="2400" dirty="0">
              <a:solidFill>
                <a:schemeClr val="bg1"/>
              </a:solidFill>
              <a:latin typeface="Segoe UI Light" panose="020B0502040204020203" pitchFamily="34" charset="0"/>
              <a:cs typeface="Segoe UI Light" panose="020B0502040204020203" pitchFamily="34" charset="0"/>
            </a:endParaRPr>
          </a:p>
          <a:p>
            <a:pPr lvl="0"/>
            <a:r>
              <a:rPr lang="en-US" sz="2400" dirty="0">
                <a:solidFill>
                  <a:schemeClr val="bg1"/>
                </a:solidFill>
                <a:latin typeface="Segoe UI Light" panose="020B0502040204020203" pitchFamily="34" charset="0"/>
                <a:cs typeface="Segoe UI Light" panose="020B0502040204020203" pitchFamily="34" charset="0"/>
              </a:rPr>
              <a:t>No vendor lock-in</a:t>
            </a:r>
          </a:p>
          <a:p>
            <a:pPr lvl="0"/>
            <a:endParaRPr lang="en-US" sz="2400" dirty="0">
              <a:solidFill>
                <a:schemeClr val="bg1"/>
              </a:solidFill>
              <a:latin typeface="Segoe UI Light" panose="020B0502040204020203" pitchFamily="34" charset="0"/>
              <a:cs typeface="Segoe UI Light" panose="020B0502040204020203" pitchFamily="34" charset="0"/>
            </a:endParaRPr>
          </a:p>
          <a:p>
            <a:pPr lvl="0"/>
            <a:r>
              <a:rPr lang="en-US" sz="2400" dirty="0">
                <a:solidFill>
                  <a:schemeClr val="bg1"/>
                </a:solidFill>
                <a:latin typeface="Segoe UI Light" panose="020B0502040204020203" pitchFamily="34" charset="0"/>
                <a:cs typeface="Segoe UI Light" panose="020B0502040204020203" pitchFamily="34" charset="0"/>
              </a:rPr>
              <a:t>Symmetric on-premises and cloud database development </a:t>
            </a:r>
          </a:p>
          <a:p>
            <a:pPr lvl="1"/>
            <a:r>
              <a:rPr lang="en-US" sz="1800" dirty="0">
                <a:solidFill>
                  <a:schemeClr val="bg1"/>
                </a:solidFill>
                <a:latin typeface="Segoe UI Light" panose="020B0502040204020203" pitchFamily="34" charset="0"/>
                <a:cs typeface="Segoe UI Light" panose="020B0502040204020203" pitchFamily="34" charset="0"/>
              </a:rPr>
              <a:t>Use popular on-premises database (e.g. Cassandra) on premises and Cosmos DB on Azure </a:t>
            </a:r>
          </a:p>
          <a:p>
            <a:endParaRPr lang="en-US" sz="2000" dirty="0">
              <a:solidFill>
                <a:schemeClr val="bg1"/>
              </a:solidFill>
            </a:endParaRPr>
          </a:p>
        </p:txBody>
      </p:sp>
    </p:spTree>
    <p:extLst>
      <p:ext uri="{BB962C8B-B14F-4D97-AF65-F5344CB8AC3E}">
        <p14:creationId xmlns:p14="http://schemas.microsoft.com/office/powerpoint/2010/main" val="27813724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326880" y="5031500"/>
            <a:ext cx="6946925" cy="553998"/>
          </a:xfrm>
          <a:prstGeom prst="rect">
            <a:avLst/>
          </a:prstGeom>
          <a:noFill/>
        </p:spPr>
        <p:txBody>
          <a:bodyPr wrap="square" rtlCol="0">
            <a:spAutoFit/>
          </a:bodyPr>
          <a:lstStyle/>
          <a:p>
            <a:pPr algn="ctr">
              <a:defRPr/>
            </a:pPr>
            <a:r>
              <a:rPr lang="en-US" sz="3000" dirty="0">
                <a:solidFill>
                  <a:srgbClr val="00B0F0"/>
                </a:solidFill>
                <a:latin typeface="Segoe UI Semibold" panose="020B0702040204020203" pitchFamily="34" charset="0"/>
                <a:cs typeface="Segoe UI Semibold" panose="020B0702040204020203" pitchFamily="34" charset="0"/>
              </a:rPr>
              <a:t>Object Model Design</a:t>
            </a:r>
            <a:endParaRPr lang="en-US" sz="3000" u="sng" dirty="0">
              <a:solidFill>
                <a:srgbClr val="00B0F0"/>
              </a:solidFill>
              <a:latin typeface="Segoe UI Semibold" panose="020B0702040204020203" pitchFamily="34" charset="0"/>
              <a:cs typeface="Segoe UI Semibold" panose="020B0702040204020203" pitchFamily="34" charset="0"/>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93084" y="3825782"/>
            <a:ext cx="1759716" cy="1759716"/>
          </a:xfrm>
          <a:prstGeom prst="rect">
            <a:avLst/>
          </a:prstGeom>
        </p:spPr>
      </p:pic>
    </p:spTree>
    <p:extLst>
      <p:ext uri="{BB962C8B-B14F-4D97-AF65-F5344CB8AC3E}">
        <p14:creationId xmlns:p14="http://schemas.microsoft.com/office/powerpoint/2010/main" val="297036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Box 1"/>
          <p:cNvSpPr txBox="1"/>
          <p:nvPr/>
        </p:nvSpPr>
        <p:spPr>
          <a:xfrm>
            <a:off x="964555" y="2457530"/>
            <a:ext cx="10625304" cy="633625"/>
          </a:xfrm>
          <a:prstGeom prst="rect">
            <a:avLst/>
          </a:prstGeom>
          <a:noFill/>
        </p:spPr>
        <p:txBody>
          <a:bodyPr wrap="square" rtlCol="0">
            <a:spAutoFit/>
          </a:bodyPr>
          <a:lstStyle/>
          <a:p>
            <a:pPr algn="ctr" defTabSz="914225">
              <a:defRPr/>
            </a:pPr>
            <a:r>
              <a:rPr lang="en-US" sz="3529" dirty="0">
                <a:solidFill>
                  <a:srgbClr val="00B0F0"/>
                </a:solidFill>
                <a:latin typeface="Segoe UI Light" panose="020B0502040204020203" pitchFamily="34" charset="0"/>
                <a:cs typeface="Segoe UI Light" panose="020B0502040204020203" pitchFamily="34" charset="0"/>
              </a:rPr>
              <a:t>A few notes about containers</a:t>
            </a:r>
            <a:endParaRPr lang="en-US" sz="3529" u="sng" dirty="0">
              <a:solidFill>
                <a:srgbClr val="00B0F0"/>
              </a:solidFill>
              <a:latin typeface="Segoe UI Light" panose="020B0502040204020203" pitchFamily="34" charset="0"/>
              <a:cs typeface="Segoe UI Light" panose="020B0502040204020203" pitchFamily="34" charset="0"/>
            </a:endParaRPr>
          </a:p>
        </p:txBody>
      </p:sp>
      <p:sp>
        <p:nvSpPr>
          <p:cNvPr id="3" name="TextBox 2"/>
          <p:cNvSpPr txBox="1"/>
          <p:nvPr/>
        </p:nvSpPr>
        <p:spPr>
          <a:xfrm>
            <a:off x="1113439" y="3798785"/>
            <a:ext cx="10625304" cy="1599150"/>
          </a:xfrm>
          <a:prstGeom prst="rect">
            <a:avLst/>
          </a:prstGeom>
          <a:noFill/>
        </p:spPr>
        <p:txBody>
          <a:bodyPr wrap="square" rtlCol="0">
            <a:spAutoFit/>
          </a:bodyPr>
          <a:lstStyle/>
          <a:p>
            <a:pPr algn="ctr" defTabSz="914225">
              <a:defRPr/>
            </a:pPr>
            <a:r>
              <a:rPr lang="en-US" sz="1961" dirty="0">
                <a:solidFill>
                  <a:srgbClr val="505050"/>
                </a:solidFill>
                <a:latin typeface="Segoe UI Light" panose="020B0502040204020203" pitchFamily="34" charset="0"/>
                <a:cs typeface="Segoe UI Light" panose="020B0502040204020203" pitchFamily="34" charset="0"/>
              </a:rPr>
              <a:t>Containers do </a:t>
            </a:r>
            <a:r>
              <a:rPr lang="en-US" sz="1961" b="1" u="sng" dirty="0">
                <a:solidFill>
                  <a:srgbClr val="505050"/>
                </a:solidFill>
                <a:latin typeface="Segoe UI Light" panose="020B0502040204020203" pitchFamily="34" charset="0"/>
                <a:cs typeface="Segoe UI Light" panose="020B0502040204020203" pitchFamily="34" charset="0"/>
              </a:rPr>
              <a:t>NOT</a:t>
            </a:r>
            <a:r>
              <a:rPr lang="en-US" sz="1961" dirty="0">
                <a:solidFill>
                  <a:srgbClr val="505050"/>
                </a:solidFill>
                <a:latin typeface="Segoe UI Light" panose="020B0502040204020203" pitchFamily="34" charset="0"/>
                <a:cs typeface="Segoe UI Light" panose="020B0502040204020203" pitchFamily="34" charset="0"/>
              </a:rPr>
              <a:t> enforce schema</a:t>
            </a:r>
          </a:p>
          <a:p>
            <a:pPr algn="ctr" defTabSz="914225">
              <a:defRPr/>
            </a:pPr>
            <a:endParaRPr lang="en-US" sz="1961" u="sng" dirty="0">
              <a:solidFill>
                <a:srgbClr val="505050"/>
              </a:solidFill>
              <a:latin typeface="Segoe UI Light" panose="020B0502040204020203" pitchFamily="34" charset="0"/>
              <a:cs typeface="Segoe UI Light" panose="020B0502040204020203" pitchFamily="34" charset="0"/>
            </a:endParaRPr>
          </a:p>
          <a:p>
            <a:pPr algn="ctr" defTabSz="914225">
              <a:defRPr/>
            </a:pPr>
            <a:r>
              <a:rPr lang="en-US" sz="1961" dirty="0">
                <a:solidFill>
                  <a:srgbClr val="505050"/>
                </a:solidFill>
                <a:latin typeface="Segoe UI Light" panose="020B0502040204020203" pitchFamily="34" charset="0"/>
                <a:cs typeface="Segoe UI Light" panose="020B0502040204020203" pitchFamily="34" charset="0"/>
              </a:rPr>
              <a:t>There are benefits to co-locate multiple types in a container</a:t>
            </a:r>
          </a:p>
          <a:p>
            <a:pPr algn="ctr" defTabSz="914225">
              <a:defRPr/>
            </a:pPr>
            <a:endParaRPr lang="en-US" sz="1961" dirty="0">
              <a:solidFill>
                <a:srgbClr val="505050"/>
              </a:solidFill>
              <a:latin typeface="Segoe UI Light" panose="020B0502040204020203" pitchFamily="34" charset="0"/>
              <a:cs typeface="Segoe UI Light" panose="020B0502040204020203" pitchFamily="34" charset="0"/>
            </a:endParaRPr>
          </a:p>
          <a:p>
            <a:pPr algn="ctr" defTabSz="914225">
              <a:defRPr/>
            </a:pPr>
            <a:r>
              <a:rPr lang="en-US" sz="1961" dirty="0">
                <a:solidFill>
                  <a:srgbClr val="505050"/>
                </a:solidFill>
                <a:latin typeface="Segoe UI Light" panose="020B0502040204020203" pitchFamily="34" charset="0"/>
                <a:cs typeface="Segoe UI Light" panose="020B0502040204020203" pitchFamily="34" charset="0"/>
              </a:rPr>
              <a:t>Annotate records with a "type" property</a:t>
            </a:r>
            <a:endParaRPr lang="en-US" sz="1961" u="sng" dirty="0">
              <a:solidFill>
                <a:srgbClr val="505050"/>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3391935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6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Box 1"/>
          <p:cNvSpPr txBox="1"/>
          <p:nvPr/>
        </p:nvSpPr>
        <p:spPr>
          <a:xfrm>
            <a:off x="964555" y="2457530"/>
            <a:ext cx="10625304" cy="633625"/>
          </a:xfrm>
          <a:prstGeom prst="rect">
            <a:avLst/>
          </a:prstGeom>
          <a:noFill/>
        </p:spPr>
        <p:txBody>
          <a:bodyPr wrap="square" rtlCol="0">
            <a:spAutoFit/>
          </a:bodyPr>
          <a:lstStyle/>
          <a:p>
            <a:pPr algn="ctr" defTabSz="914225">
              <a:defRPr/>
            </a:pPr>
            <a:r>
              <a:rPr lang="en-US" sz="3529" dirty="0">
                <a:solidFill>
                  <a:srgbClr val="00B0F0"/>
                </a:solidFill>
                <a:latin typeface="Segoe UI Light" panose="020B0502040204020203" pitchFamily="34" charset="0"/>
                <a:cs typeface="Segoe UI Light" panose="020B0502040204020203" pitchFamily="34" charset="0"/>
              </a:rPr>
              <a:t>Co-locating types in the same container</a:t>
            </a:r>
            <a:endParaRPr lang="en-US" sz="3529" u="sng" dirty="0">
              <a:solidFill>
                <a:srgbClr val="00B0F0"/>
              </a:solidFill>
              <a:latin typeface="Segoe UI Light" panose="020B0502040204020203" pitchFamily="34" charset="0"/>
              <a:cs typeface="Segoe UI Light" panose="020B0502040204020203" pitchFamily="34" charset="0"/>
            </a:endParaRPr>
          </a:p>
        </p:txBody>
      </p:sp>
      <p:sp>
        <p:nvSpPr>
          <p:cNvPr id="3" name="TextBox 2"/>
          <p:cNvSpPr txBox="1"/>
          <p:nvPr/>
        </p:nvSpPr>
        <p:spPr>
          <a:xfrm>
            <a:off x="1113439" y="3798785"/>
            <a:ext cx="10625304" cy="362072"/>
          </a:xfrm>
          <a:prstGeom prst="rect">
            <a:avLst/>
          </a:prstGeom>
          <a:noFill/>
        </p:spPr>
        <p:txBody>
          <a:bodyPr wrap="square" rtlCol="0">
            <a:spAutoFit/>
          </a:bodyPr>
          <a:lstStyle/>
          <a:p>
            <a:pPr algn="ctr" defTabSz="914225">
              <a:defRPr/>
            </a:pPr>
            <a:r>
              <a:rPr lang="en-US" sz="1765" dirty="0">
                <a:solidFill>
                  <a:srgbClr val="505050"/>
                </a:solidFill>
                <a:latin typeface="Segoe UI"/>
              </a:rPr>
              <a:t>Ability to query across multiple entity types with a single network request.</a:t>
            </a:r>
            <a:endParaRPr lang="en-US" sz="1961" dirty="0">
              <a:solidFill>
                <a:srgbClr val="D83B0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4569160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6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802177" y="2365860"/>
            <a:ext cx="6094444" cy="1991393"/>
          </a:xfrm>
          <a:prstGeom prst="rect">
            <a:avLst/>
          </a:prstGeom>
        </p:spPr>
        <p:txBody>
          <a:bodyPr>
            <a:spAutoFit/>
          </a:bodyPr>
          <a:lstStyle/>
          <a:p>
            <a:pPr marL="672290" defTabSz="914367"/>
            <a:r>
              <a:rPr lang="en-US" sz="1765" dirty="0">
                <a:solidFill>
                  <a:srgbClr val="505050"/>
                </a:solidFill>
                <a:latin typeface="Consolas" panose="020B0609020204030204" pitchFamily="49" charset="0"/>
                <a:ea typeface="Calibri" panose="020F0502020204030204" pitchFamily="34" charset="0"/>
              </a:rPr>
              <a:t>{</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id": "Andrew",</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type": "Person",</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a:t>
            </a:r>
            <a:r>
              <a:rPr lang="en-US" sz="1765" dirty="0" err="1">
                <a:solidFill>
                  <a:srgbClr val="505050"/>
                </a:solidFill>
                <a:latin typeface="Consolas" panose="020B0609020204030204" pitchFamily="49" charset="0"/>
                <a:ea typeface="Calibri" panose="020F0502020204030204" pitchFamily="34" charset="0"/>
              </a:rPr>
              <a:t>familyId</a:t>
            </a:r>
            <a:r>
              <a:rPr lang="en-US" sz="1765" dirty="0">
                <a:solidFill>
                  <a:srgbClr val="505050"/>
                </a:solidFill>
                <a:latin typeface="Consolas" panose="020B0609020204030204" pitchFamily="49" charset="0"/>
                <a:ea typeface="Calibri" panose="020F0502020204030204" pitchFamily="34" charset="0"/>
              </a:rPr>
              <a:t>": "Liu",</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a:t>
            </a:r>
            <a:r>
              <a:rPr lang="en-US" sz="1765" dirty="0" err="1">
                <a:solidFill>
                  <a:srgbClr val="505050"/>
                </a:solidFill>
                <a:latin typeface="Consolas" panose="020B0609020204030204" pitchFamily="49" charset="0"/>
                <a:ea typeface="Calibri" panose="020F0502020204030204" pitchFamily="34" charset="0"/>
              </a:rPr>
              <a:t>worksOn</a:t>
            </a:r>
            <a:r>
              <a:rPr lang="en-US" sz="1765" dirty="0">
                <a:solidFill>
                  <a:srgbClr val="505050"/>
                </a:solidFill>
                <a:latin typeface="Consolas" panose="020B0609020204030204" pitchFamily="49" charset="0"/>
                <a:ea typeface="Calibri" panose="020F0502020204030204" pitchFamily="34" charset="0"/>
              </a:rPr>
              <a:t>": "Azure Cosmos DB"</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a:t>
            </a:r>
            <a:endParaRPr lang="en-US" sz="1765" dirty="0">
              <a:solidFill>
                <a:srgbClr val="505050"/>
              </a:solidFill>
              <a:latin typeface="Calibri" panose="020F0502020204030204" pitchFamily="34" charset="0"/>
              <a:ea typeface="Calibri" panose="020F0502020204030204" pitchFamily="34" charset="0"/>
            </a:endParaRPr>
          </a:p>
          <a:p>
            <a:pPr marL="672290" defTabSz="914367"/>
            <a:endParaRPr lang="en-US" sz="1765" dirty="0">
              <a:solidFill>
                <a:srgbClr val="505050"/>
              </a:solidFill>
              <a:latin typeface="Calibri" panose="020F0502020204030204" pitchFamily="34" charset="0"/>
              <a:ea typeface="Calibri" panose="020F0502020204030204" pitchFamily="34" charset="0"/>
            </a:endParaRPr>
          </a:p>
        </p:txBody>
      </p:sp>
      <p:sp>
        <p:nvSpPr>
          <p:cNvPr id="5" name="Rectangle 4"/>
          <p:cNvSpPr/>
          <p:nvPr/>
        </p:nvSpPr>
        <p:spPr>
          <a:xfrm>
            <a:off x="6864562" y="2245751"/>
            <a:ext cx="6094444" cy="2806055"/>
          </a:xfrm>
          <a:prstGeom prst="rect">
            <a:avLst/>
          </a:prstGeom>
        </p:spPr>
        <p:txBody>
          <a:bodyPr>
            <a:spAutoFit/>
          </a:bodyPr>
          <a:lstStyle/>
          <a:p>
            <a:pPr marL="672290" defTabSz="914367"/>
            <a:r>
              <a:rPr lang="en-US" sz="1765" dirty="0">
                <a:solidFill>
                  <a:srgbClr val="505050"/>
                </a:solidFill>
                <a:latin typeface="Consolas" panose="020B0609020204030204" pitchFamily="49" charset="0"/>
                <a:ea typeface="Calibri" panose="020F0502020204030204" pitchFamily="34" charset="0"/>
              </a:rPr>
              <a:t> </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id": "Ralph",</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type": "Cat",</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a:t>
            </a:r>
            <a:r>
              <a:rPr lang="en-US" sz="1765" dirty="0" err="1">
                <a:solidFill>
                  <a:srgbClr val="505050"/>
                </a:solidFill>
                <a:latin typeface="Consolas" panose="020B0609020204030204" pitchFamily="49" charset="0"/>
                <a:ea typeface="Calibri" panose="020F0502020204030204" pitchFamily="34" charset="0"/>
              </a:rPr>
              <a:t>familyId</a:t>
            </a:r>
            <a:r>
              <a:rPr lang="en-US" sz="1765" dirty="0">
                <a:solidFill>
                  <a:srgbClr val="505050"/>
                </a:solidFill>
                <a:latin typeface="Consolas" panose="020B0609020204030204" pitchFamily="49" charset="0"/>
                <a:ea typeface="Calibri" panose="020F0502020204030204" pitchFamily="34" charset="0"/>
              </a:rPr>
              <a:t>": "Liu",</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fur": {</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length": "short",</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color": "brown"</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a:t>
            </a:r>
            <a:endParaRPr lang="en-US" sz="1765" dirty="0">
              <a:solidFill>
                <a:srgbClr val="505050"/>
              </a:solidFill>
              <a:latin typeface="Segoe UI"/>
            </a:endParaRPr>
          </a:p>
        </p:txBody>
      </p:sp>
      <p:sp>
        <p:nvSpPr>
          <p:cNvPr id="6" name="Rectangle 5"/>
          <p:cNvSpPr/>
          <p:nvPr/>
        </p:nvSpPr>
        <p:spPr>
          <a:xfrm>
            <a:off x="1925478" y="975086"/>
            <a:ext cx="8341046" cy="362072"/>
          </a:xfrm>
          <a:prstGeom prst="rect">
            <a:avLst/>
          </a:prstGeom>
        </p:spPr>
        <p:txBody>
          <a:bodyPr wrap="square">
            <a:spAutoFit/>
          </a:bodyPr>
          <a:lstStyle/>
          <a:p>
            <a:pPr algn="ctr" defTabSz="914225">
              <a:defRPr/>
            </a:pPr>
            <a:r>
              <a:rPr lang="en-US" sz="1765" b="1" dirty="0">
                <a:solidFill>
                  <a:srgbClr val="505050"/>
                </a:solidFill>
                <a:latin typeface="Segoe UI"/>
              </a:rPr>
              <a:t>Ability to query across multiple entity types with a single network request.</a:t>
            </a:r>
            <a:endParaRPr lang="en-US" sz="1961" b="1" dirty="0">
              <a:solidFill>
                <a:srgbClr val="D83B01"/>
              </a:solidFill>
              <a:latin typeface="Segoe UI Light" panose="020B0502040204020203" pitchFamily="34" charset="0"/>
              <a:cs typeface="Segoe UI Light" panose="020B0502040204020203" pitchFamily="34" charset="0"/>
            </a:endParaRPr>
          </a:p>
        </p:txBody>
      </p:sp>
      <p:sp>
        <p:nvSpPr>
          <p:cNvPr id="7" name="Rectangle 6"/>
          <p:cNvSpPr/>
          <p:nvPr/>
        </p:nvSpPr>
        <p:spPr>
          <a:xfrm>
            <a:off x="3102500" y="1732830"/>
            <a:ext cx="6862765" cy="362072"/>
          </a:xfrm>
          <a:prstGeom prst="rect">
            <a:avLst/>
          </a:prstGeom>
        </p:spPr>
        <p:txBody>
          <a:bodyPr wrap="none">
            <a:spAutoFit/>
          </a:bodyPr>
          <a:lstStyle/>
          <a:p>
            <a:pPr defTabSz="914367"/>
            <a:r>
              <a:rPr lang="en-US" sz="1765" b="1" dirty="0">
                <a:solidFill>
                  <a:srgbClr val="505050"/>
                </a:solidFill>
                <a:latin typeface="Segoe UI"/>
                <a:ea typeface="Calibri" panose="020F0502020204030204" pitchFamily="34" charset="0"/>
              </a:rPr>
              <a:t>For example, we have two types of documents: cat and person.</a:t>
            </a:r>
            <a:endParaRPr lang="en-US" sz="1765" b="1" dirty="0">
              <a:solidFill>
                <a:srgbClr val="505050"/>
              </a:solidFill>
              <a:latin typeface="Segoe UI"/>
            </a:endParaRPr>
          </a:p>
        </p:txBody>
      </p:sp>
    </p:spTree>
    <p:extLst>
      <p:ext uri="{BB962C8B-B14F-4D97-AF65-F5344CB8AC3E}">
        <p14:creationId xmlns:p14="http://schemas.microsoft.com/office/powerpoint/2010/main" val="29063742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9263B8-7B6D-4390-AD8C-D8E1B4B5B145}"/>
              </a:ext>
            </a:extLst>
          </p:cNvPr>
          <p:cNvSpPr>
            <a:spLocks noGrp="1"/>
          </p:cNvSpPr>
          <p:nvPr>
            <p:ph type="title"/>
          </p:nvPr>
        </p:nvSpPr>
        <p:spPr>
          <a:xfrm>
            <a:off x="501441" y="42999"/>
            <a:ext cx="10936849" cy="836907"/>
          </a:xfrm>
        </p:spPr>
        <p:txBody>
          <a:bodyPr/>
          <a:lstStyle/>
          <a:p>
            <a:r>
              <a:rPr lang="en-US" dirty="0"/>
              <a:t>Why Azure Cosmos DB?</a:t>
            </a:r>
          </a:p>
        </p:txBody>
      </p:sp>
      <p:pic>
        <p:nvPicPr>
          <p:cNvPr id="10242" name="Picture 2" descr="cid:image010.jpg@01D3A80E.FF1CC380">
            <a:extLst>
              <a:ext uri="{FF2B5EF4-FFF2-40B4-BE49-F238E27FC236}">
                <a16:creationId xmlns:a16="http://schemas.microsoft.com/office/drawing/2014/main" id="{F9C226AD-D433-4133-80AD-816E359EBE4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457"/>
          <a:stretch/>
        </p:blipFill>
        <p:spPr bwMode="auto">
          <a:xfrm>
            <a:off x="421581" y="821635"/>
            <a:ext cx="10748887" cy="56719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844650B4-5908-4465-8687-45D219D6119D}"/>
              </a:ext>
            </a:extLst>
          </p:cNvPr>
          <p:cNvPicPr>
            <a:picLocks noChangeAspect="1"/>
          </p:cNvPicPr>
          <p:nvPr/>
        </p:nvPicPr>
        <p:blipFill>
          <a:blip r:embed="rId4"/>
          <a:stretch>
            <a:fillRect/>
          </a:stretch>
        </p:blipFill>
        <p:spPr>
          <a:xfrm>
            <a:off x="6839560" y="3249282"/>
            <a:ext cx="4866553" cy="3651565"/>
          </a:xfrm>
          <a:prstGeom prst="rect">
            <a:avLst/>
          </a:prstGeom>
        </p:spPr>
      </p:pic>
    </p:spTree>
    <p:extLst>
      <p:ext uri="{BB962C8B-B14F-4D97-AF65-F5344CB8AC3E}">
        <p14:creationId xmlns:p14="http://schemas.microsoft.com/office/powerpoint/2010/main" val="11094847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500"/>
                                        <p:tgtEl>
                                          <p:spTgt spid="4"/>
                                        </p:tgtEl>
                                      </p:cBhvr>
                                    </p:animEffect>
                                    <p:set>
                                      <p:cBhvr>
                                        <p:cTn id="12" dur="1" fill="hold">
                                          <p:stCondLst>
                                            <p:cond delay="4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802177" y="2365860"/>
            <a:ext cx="6094444" cy="1991393"/>
          </a:xfrm>
          <a:prstGeom prst="rect">
            <a:avLst/>
          </a:prstGeom>
        </p:spPr>
        <p:txBody>
          <a:bodyPr>
            <a:spAutoFit/>
          </a:bodyPr>
          <a:lstStyle/>
          <a:p>
            <a:pPr marL="672290" defTabSz="914367"/>
            <a:r>
              <a:rPr lang="en-US" sz="1765" dirty="0">
                <a:solidFill>
                  <a:srgbClr val="505050"/>
                </a:solidFill>
                <a:latin typeface="Consolas" panose="020B0609020204030204" pitchFamily="49" charset="0"/>
                <a:ea typeface="Calibri" panose="020F0502020204030204" pitchFamily="34" charset="0"/>
              </a:rPr>
              <a:t>{</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id": "Andrew",</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type": "Person",</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a:t>
            </a:r>
            <a:r>
              <a:rPr lang="en-US" sz="1765" dirty="0" err="1">
                <a:solidFill>
                  <a:srgbClr val="505050"/>
                </a:solidFill>
                <a:latin typeface="Consolas" panose="020B0609020204030204" pitchFamily="49" charset="0"/>
                <a:ea typeface="Calibri" panose="020F0502020204030204" pitchFamily="34" charset="0"/>
              </a:rPr>
              <a:t>familyId</a:t>
            </a:r>
            <a:r>
              <a:rPr lang="en-US" sz="1765" dirty="0">
                <a:solidFill>
                  <a:srgbClr val="505050"/>
                </a:solidFill>
                <a:latin typeface="Consolas" panose="020B0609020204030204" pitchFamily="49" charset="0"/>
                <a:ea typeface="Calibri" panose="020F0502020204030204" pitchFamily="34" charset="0"/>
              </a:rPr>
              <a:t>": "Liu",</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a:t>
            </a:r>
            <a:r>
              <a:rPr lang="en-US" sz="1765" dirty="0" err="1">
                <a:solidFill>
                  <a:srgbClr val="505050"/>
                </a:solidFill>
                <a:latin typeface="Consolas" panose="020B0609020204030204" pitchFamily="49" charset="0"/>
                <a:ea typeface="Calibri" panose="020F0502020204030204" pitchFamily="34" charset="0"/>
              </a:rPr>
              <a:t>worksOn</a:t>
            </a:r>
            <a:r>
              <a:rPr lang="en-US" sz="1765" dirty="0">
                <a:solidFill>
                  <a:srgbClr val="505050"/>
                </a:solidFill>
                <a:latin typeface="Consolas" panose="020B0609020204030204" pitchFamily="49" charset="0"/>
                <a:ea typeface="Calibri" panose="020F0502020204030204" pitchFamily="34" charset="0"/>
              </a:rPr>
              <a:t>": "Azure Cosmos DB"</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a:t>
            </a:r>
            <a:endParaRPr lang="en-US" sz="1765" dirty="0">
              <a:solidFill>
                <a:srgbClr val="505050"/>
              </a:solidFill>
              <a:latin typeface="Calibri" panose="020F0502020204030204" pitchFamily="34" charset="0"/>
              <a:ea typeface="Calibri" panose="020F0502020204030204" pitchFamily="34" charset="0"/>
            </a:endParaRPr>
          </a:p>
          <a:p>
            <a:pPr marL="672290" defTabSz="914367"/>
            <a:endParaRPr lang="en-US" sz="1765" dirty="0">
              <a:solidFill>
                <a:srgbClr val="505050"/>
              </a:solidFill>
              <a:latin typeface="Calibri" panose="020F0502020204030204" pitchFamily="34" charset="0"/>
              <a:ea typeface="Calibri" panose="020F0502020204030204" pitchFamily="34" charset="0"/>
            </a:endParaRPr>
          </a:p>
        </p:txBody>
      </p:sp>
      <p:sp>
        <p:nvSpPr>
          <p:cNvPr id="5" name="Rectangle 4"/>
          <p:cNvSpPr/>
          <p:nvPr/>
        </p:nvSpPr>
        <p:spPr>
          <a:xfrm>
            <a:off x="6864562" y="2245751"/>
            <a:ext cx="6094444" cy="2806055"/>
          </a:xfrm>
          <a:prstGeom prst="rect">
            <a:avLst/>
          </a:prstGeom>
        </p:spPr>
        <p:txBody>
          <a:bodyPr>
            <a:spAutoFit/>
          </a:bodyPr>
          <a:lstStyle/>
          <a:p>
            <a:pPr marL="672290" defTabSz="914367"/>
            <a:r>
              <a:rPr lang="en-US" sz="1765" dirty="0">
                <a:solidFill>
                  <a:srgbClr val="505050"/>
                </a:solidFill>
                <a:latin typeface="Consolas" panose="020B0609020204030204" pitchFamily="49" charset="0"/>
                <a:ea typeface="Calibri" panose="020F0502020204030204" pitchFamily="34" charset="0"/>
              </a:rPr>
              <a:t> </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id": "Ralph",</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type": "Cat",</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a:t>
            </a:r>
            <a:r>
              <a:rPr lang="en-US" sz="1765" dirty="0" err="1">
                <a:solidFill>
                  <a:srgbClr val="505050"/>
                </a:solidFill>
                <a:latin typeface="Consolas" panose="020B0609020204030204" pitchFamily="49" charset="0"/>
                <a:ea typeface="Calibri" panose="020F0502020204030204" pitchFamily="34" charset="0"/>
              </a:rPr>
              <a:t>familyId</a:t>
            </a:r>
            <a:r>
              <a:rPr lang="en-US" sz="1765" dirty="0">
                <a:solidFill>
                  <a:srgbClr val="505050"/>
                </a:solidFill>
                <a:latin typeface="Consolas" panose="020B0609020204030204" pitchFamily="49" charset="0"/>
                <a:ea typeface="Calibri" panose="020F0502020204030204" pitchFamily="34" charset="0"/>
              </a:rPr>
              <a:t>": "Liu",</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fur": {</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length": "short",</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color": "brown"</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a:t>
            </a:r>
            <a:endParaRPr lang="en-US" sz="1765" dirty="0">
              <a:solidFill>
                <a:srgbClr val="505050"/>
              </a:solidFill>
              <a:latin typeface="Segoe UI"/>
            </a:endParaRPr>
          </a:p>
        </p:txBody>
      </p:sp>
      <p:sp>
        <p:nvSpPr>
          <p:cNvPr id="6" name="Rectangle 5"/>
          <p:cNvSpPr/>
          <p:nvPr/>
        </p:nvSpPr>
        <p:spPr>
          <a:xfrm>
            <a:off x="1925478" y="975086"/>
            <a:ext cx="8341046" cy="362072"/>
          </a:xfrm>
          <a:prstGeom prst="rect">
            <a:avLst/>
          </a:prstGeom>
        </p:spPr>
        <p:txBody>
          <a:bodyPr wrap="square">
            <a:spAutoFit/>
          </a:bodyPr>
          <a:lstStyle/>
          <a:p>
            <a:pPr algn="ctr" defTabSz="914225">
              <a:defRPr/>
            </a:pPr>
            <a:r>
              <a:rPr lang="en-US" sz="1765" b="1" dirty="0">
                <a:solidFill>
                  <a:srgbClr val="505050"/>
                </a:solidFill>
                <a:latin typeface="Segoe UI"/>
              </a:rPr>
              <a:t>Ability to query across multiple entity types with a single network request.</a:t>
            </a:r>
            <a:endParaRPr lang="en-US" sz="1961" b="1" dirty="0">
              <a:solidFill>
                <a:srgbClr val="D83B01"/>
              </a:solidFill>
              <a:latin typeface="Segoe UI Light" panose="020B0502040204020203" pitchFamily="34" charset="0"/>
              <a:cs typeface="Segoe UI Light" panose="020B0502040204020203" pitchFamily="34" charset="0"/>
            </a:endParaRPr>
          </a:p>
        </p:txBody>
      </p:sp>
      <p:sp>
        <p:nvSpPr>
          <p:cNvPr id="7" name="Rectangle 6"/>
          <p:cNvSpPr/>
          <p:nvPr/>
        </p:nvSpPr>
        <p:spPr>
          <a:xfrm>
            <a:off x="3102500" y="1732830"/>
            <a:ext cx="6862765" cy="362072"/>
          </a:xfrm>
          <a:prstGeom prst="rect">
            <a:avLst/>
          </a:prstGeom>
        </p:spPr>
        <p:txBody>
          <a:bodyPr wrap="none">
            <a:spAutoFit/>
          </a:bodyPr>
          <a:lstStyle/>
          <a:p>
            <a:pPr defTabSz="914367"/>
            <a:r>
              <a:rPr lang="en-US" sz="1765" b="1" dirty="0">
                <a:solidFill>
                  <a:srgbClr val="505050"/>
                </a:solidFill>
                <a:latin typeface="Segoe UI"/>
                <a:ea typeface="Calibri" panose="020F0502020204030204" pitchFamily="34" charset="0"/>
              </a:rPr>
              <a:t>For example, we have two types of documents: cat and person.</a:t>
            </a:r>
            <a:endParaRPr lang="en-US" sz="1765" b="1" dirty="0">
              <a:solidFill>
                <a:srgbClr val="505050"/>
              </a:solidFill>
              <a:latin typeface="Segoe UI"/>
            </a:endParaRPr>
          </a:p>
        </p:txBody>
      </p:sp>
      <p:sp>
        <p:nvSpPr>
          <p:cNvPr id="8" name="Rectangle 7"/>
          <p:cNvSpPr/>
          <p:nvPr/>
        </p:nvSpPr>
        <p:spPr>
          <a:xfrm>
            <a:off x="272121" y="5322763"/>
            <a:ext cx="11647758" cy="331899"/>
          </a:xfrm>
          <a:prstGeom prst="rect">
            <a:avLst/>
          </a:prstGeom>
        </p:spPr>
        <p:txBody>
          <a:bodyPr wrap="square">
            <a:spAutoFit/>
          </a:bodyPr>
          <a:lstStyle/>
          <a:p>
            <a:pPr marL="448193" algn="ctr" defTabSz="914367"/>
            <a:r>
              <a:rPr lang="en-US" sz="1568" b="1" dirty="0">
                <a:solidFill>
                  <a:srgbClr val="505050"/>
                </a:solidFill>
                <a:latin typeface="Segoe UI"/>
                <a:ea typeface="Calibri" panose="020F0502020204030204" pitchFamily="34" charset="0"/>
              </a:rPr>
              <a:t>We can query both types of documents without needing a JOIN simply by running a query without a filter on type:</a:t>
            </a:r>
          </a:p>
        </p:txBody>
      </p:sp>
      <p:sp>
        <p:nvSpPr>
          <p:cNvPr id="2" name="Rectangle 1"/>
          <p:cNvSpPr/>
          <p:nvPr/>
        </p:nvSpPr>
        <p:spPr>
          <a:xfrm>
            <a:off x="3593211" y="5955790"/>
            <a:ext cx="5005578" cy="362072"/>
          </a:xfrm>
          <a:prstGeom prst="rect">
            <a:avLst/>
          </a:prstGeom>
        </p:spPr>
        <p:txBody>
          <a:bodyPr wrap="none">
            <a:spAutoFit/>
          </a:bodyPr>
          <a:lstStyle/>
          <a:p>
            <a:pPr marL="896386" algn="ctr" defTabSz="914367"/>
            <a:r>
              <a:rPr lang="en-US" sz="1765" dirty="0">
                <a:solidFill>
                  <a:srgbClr val="505050"/>
                </a:solidFill>
                <a:latin typeface="Calibri" panose="020F0502020204030204" pitchFamily="34" charset="0"/>
                <a:ea typeface="Calibri" panose="020F0502020204030204" pitchFamily="34" charset="0"/>
              </a:rPr>
              <a:t>SELECT * FROM c WHERE </a:t>
            </a:r>
            <a:r>
              <a:rPr lang="en-US" sz="1765" dirty="0" err="1">
                <a:solidFill>
                  <a:srgbClr val="505050"/>
                </a:solidFill>
                <a:latin typeface="Calibri" panose="020F0502020204030204" pitchFamily="34" charset="0"/>
                <a:ea typeface="Calibri" panose="020F0502020204030204" pitchFamily="34" charset="0"/>
              </a:rPr>
              <a:t>c.familyId</a:t>
            </a:r>
            <a:r>
              <a:rPr lang="en-US" sz="1765" dirty="0">
                <a:solidFill>
                  <a:srgbClr val="505050"/>
                </a:solidFill>
                <a:latin typeface="Calibri" panose="020F0502020204030204" pitchFamily="34" charset="0"/>
                <a:ea typeface="Calibri" panose="020F0502020204030204" pitchFamily="34" charset="0"/>
              </a:rPr>
              <a:t> = "Liu"</a:t>
            </a:r>
          </a:p>
        </p:txBody>
      </p:sp>
    </p:spTree>
    <p:extLst>
      <p:ext uri="{BB962C8B-B14F-4D97-AF65-F5344CB8AC3E}">
        <p14:creationId xmlns:p14="http://schemas.microsoft.com/office/powerpoint/2010/main" val="35278926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802177" y="2365859"/>
            <a:ext cx="6094444" cy="1722010"/>
          </a:xfrm>
          <a:prstGeom prst="rect">
            <a:avLst/>
          </a:prstGeom>
        </p:spPr>
        <p:txBody>
          <a:bodyPr>
            <a:spAutoFit/>
          </a:bodyPr>
          <a:lstStyle/>
          <a:p>
            <a:pPr marL="672290" defTabSz="914367"/>
            <a:r>
              <a:rPr lang="en-US" sz="1765" dirty="0">
                <a:solidFill>
                  <a:srgbClr val="505050"/>
                </a:solidFill>
                <a:latin typeface="Consolas" panose="020B0609020204030204" pitchFamily="49" charset="0"/>
                <a:ea typeface="Calibri" panose="020F0502020204030204" pitchFamily="34" charset="0"/>
              </a:rPr>
              <a:t>{</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id": "Andrew",</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a:t>
            </a:r>
            <a:r>
              <a:rPr lang="en-US" sz="1765" b="1" dirty="0">
                <a:solidFill>
                  <a:srgbClr val="505050"/>
                </a:solidFill>
                <a:latin typeface="Consolas" panose="020B0609020204030204" pitchFamily="49" charset="0"/>
                <a:ea typeface="Calibri" panose="020F0502020204030204" pitchFamily="34" charset="0"/>
              </a:rPr>
              <a:t>"type": "Person",</a:t>
            </a:r>
            <a:endParaRPr lang="en-US" sz="1765" b="1"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a:t>
            </a:r>
            <a:r>
              <a:rPr lang="en-US" sz="1765" dirty="0" err="1">
                <a:solidFill>
                  <a:srgbClr val="505050"/>
                </a:solidFill>
                <a:latin typeface="Consolas" panose="020B0609020204030204" pitchFamily="49" charset="0"/>
                <a:ea typeface="Calibri" panose="020F0502020204030204" pitchFamily="34" charset="0"/>
              </a:rPr>
              <a:t>familyId</a:t>
            </a:r>
            <a:r>
              <a:rPr lang="en-US" sz="1765" dirty="0">
                <a:solidFill>
                  <a:srgbClr val="505050"/>
                </a:solidFill>
                <a:latin typeface="Consolas" panose="020B0609020204030204" pitchFamily="49" charset="0"/>
                <a:ea typeface="Calibri" panose="020F0502020204030204" pitchFamily="34" charset="0"/>
              </a:rPr>
              <a:t>": "Liu",</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a:t>
            </a:r>
            <a:r>
              <a:rPr lang="en-US" sz="1765" dirty="0" err="1">
                <a:solidFill>
                  <a:srgbClr val="505050"/>
                </a:solidFill>
                <a:latin typeface="Consolas" panose="020B0609020204030204" pitchFamily="49" charset="0"/>
                <a:ea typeface="Calibri" panose="020F0502020204030204" pitchFamily="34" charset="0"/>
              </a:rPr>
              <a:t>worksOn</a:t>
            </a:r>
            <a:r>
              <a:rPr lang="en-US" sz="1765" dirty="0">
                <a:solidFill>
                  <a:srgbClr val="505050"/>
                </a:solidFill>
                <a:latin typeface="Consolas" panose="020B0609020204030204" pitchFamily="49" charset="0"/>
                <a:ea typeface="Calibri" panose="020F0502020204030204" pitchFamily="34" charset="0"/>
              </a:rPr>
              <a:t>": "Azure Cosmos DB“</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a:solidFill>
                  <a:srgbClr val="505050"/>
                </a:solidFill>
                <a:latin typeface="Consolas" panose="020B0609020204030204" pitchFamily="49" charset="0"/>
                <a:ea typeface="Calibri" panose="020F0502020204030204" pitchFamily="34" charset="0"/>
              </a:rPr>
              <a:t>}</a:t>
            </a:r>
            <a:endParaRPr lang="en-US" sz="1765" dirty="0">
              <a:solidFill>
                <a:srgbClr val="505050"/>
              </a:solidFill>
              <a:latin typeface="Calibri" panose="020F0502020204030204" pitchFamily="34" charset="0"/>
              <a:ea typeface="Calibri" panose="020F0502020204030204" pitchFamily="34" charset="0"/>
            </a:endParaRPr>
          </a:p>
        </p:txBody>
      </p:sp>
      <p:sp>
        <p:nvSpPr>
          <p:cNvPr id="5" name="Rectangle 4"/>
          <p:cNvSpPr/>
          <p:nvPr/>
        </p:nvSpPr>
        <p:spPr>
          <a:xfrm>
            <a:off x="6864562" y="2245751"/>
            <a:ext cx="6094444" cy="2806055"/>
          </a:xfrm>
          <a:prstGeom prst="rect">
            <a:avLst/>
          </a:prstGeom>
        </p:spPr>
        <p:txBody>
          <a:bodyPr>
            <a:spAutoFit/>
          </a:bodyPr>
          <a:lstStyle/>
          <a:p>
            <a:pPr marL="672290" defTabSz="914367"/>
            <a:r>
              <a:rPr lang="en-US" sz="1765" dirty="0">
                <a:solidFill>
                  <a:srgbClr val="505050"/>
                </a:solidFill>
                <a:latin typeface="Consolas" panose="020B0609020204030204" pitchFamily="49" charset="0"/>
                <a:ea typeface="Calibri" panose="020F0502020204030204" pitchFamily="34" charset="0"/>
              </a:rPr>
              <a:t> </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id": "Ralph",</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a:t>
            </a:r>
            <a:r>
              <a:rPr lang="en-US" sz="1765" b="1" dirty="0">
                <a:solidFill>
                  <a:srgbClr val="505050"/>
                </a:solidFill>
                <a:latin typeface="Consolas" panose="020B0609020204030204" pitchFamily="49" charset="0"/>
                <a:ea typeface="Calibri" panose="020F0502020204030204" pitchFamily="34" charset="0"/>
              </a:rPr>
              <a:t>  "type": "Cat",</a:t>
            </a:r>
            <a:endParaRPr lang="en-US" sz="1765" b="1"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a:t>
            </a:r>
            <a:r>
              <a:rPr lang="en-US" sz="1765" dirty="0" err="1">
                <a:solidFill>
                  <a:srgbClr val="505050"/>
                </a:solidFill>
                <a:latin typeface="Consolas" panose="020B0609020204030204" pitchFamily="49" charset="0"/>
                <a:ea typeface="Calibri" panose="020F0502020204030204" pitchFamily="34" charset="0"/>
              </a:rPr>
              <a:t>familyId</a:t>
            </a:r>
            <a:r>
              <a:rPr lang="en-US" sz="1765" dirty="0">
                <a:solidFill>
                  <a:srgbClr val="505050"/>
                </a:solidFill>
                <a:latin typeface="Consolas" panose="020B0609020204030204" pitchFamily="49" charset="0"/>
                <a:ea typeface="Calibri" panose="020F0502020204030204" pitchFamily="34" charset="0"/>
              </a:rPr>
              <a:t>": "Liu",</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fur": {</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length": "short",</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color": "brown"</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   }</a:t>
            </a:r>
            <a:endParaRPr lang="en-US" sz="1765" dirty="0">
              <a:solidFill>
                <a:srgbClr val="505050"/>
              </a:solidFill>
              <a:latin typeface="Calibri" panose="020F0502020204030204" pitchFamily="34" charset="0"/>
              <a:ea typeface="Calibri" panose="020F0502020204030204" pitchFamily="34" charset="0"/>
            </a:endParaRPr>
          </a:p>
          <a:p>
            <a:pPr marL="672290" defTabSz="914367"/>
            <a:r>
              <a:rPr lang="en-US" sz="1765" dirty="0">
                <a:solidFill>
                  <a:srgbClr val="505050"/>
                </a:solidFill>
                <a:latin typeface="Consolas" panose="020B0609020204030204" pitchFamily="49" charset="0"/>
                <a:ea typeface="Calibri" panose="020F0502020204030204" pitchFamily="34" charset="0"/>
              </a:rPr>
              <a:t>}</a:t>
            </a:r>
            <a:endParaRPr lang="en-US" sz="1765" dirty="0">
              <a:solidFill>
                <a:srgbClr val="505050"/>
              </a:solidFill>
              <a:latin typeface="Segoe UI"/>
            </a:endParaRPr>
          </a:p>
        </p:txBody>
      </p:sp>
      <p:sp>
        <p:nvSpPr>
          <p:cNvPr id="6" name="Rectangle 5"/>
          <p:cNvSpPr/>
          <p:nvPr/>
        </p:nvSpPr>
        <p:spPr>
          <a:xfrm>
            <a:off x="1925478" y="975086"/>
            <a:ext cx="8341046" cy="362072"/>
          </a:xfrm>
          <a:prstGeom prst="rect">
            <a:avLst/>
          </a:prstGeom>
        </p:spPr>
        <p:txBody>
          <a:bodyPr wrap="square">
            <a:spAutoFit/>
          </a:bodyPr>
          <a:lstStyle/>
          <a:p>
            <a:pPr algn="ctr" defTabSz="914225">
              <a:defRPr/>
            </a:pPr>
            <a:r>
              <a:rPr lang="en-US" sz="1765" b="1" dirty="0">
                <a:solidFill>
                  <a:srgbClr val="505050"/>
                </a:solidFill>
                <a:latin typeface="Segoe UI"/>
              </a:rPr>
              <a:t>Ability to query across multiple entity types with a single network request.</a:t>
            </a:r>
            <a:endParaRPr lang="en-US" sz="1961" b="1" dirty="0">
              <a:solidFill>
                <a:srgbClr val="D83B01"/>
              </a:solidFill>
              <a:latin typeface="Segoe UI Light" panose="020B0502040204020203" pitchFamily="34" charset="0"/>
              <a:cs typeface="Segoe UI Light" panose="020B0502040204020203" pitchFamily="34" charset="0"/>
            </a:endParaRPr>
          </a:p>
        </p:txBody>
      </p:sp>
      <p:sp>
        <p:nvSpPr>
          <p:cNvPr id="7" name="Rectangle 6"/>
          <p:cNvSpPr/>
          <p:nvPr/>
        </p:nvSpPr>
        <p:spPr>
          <a:xfrm>
            <a:off x="3102500" y="1732830"/>
            <a:ext cx="6862765" cy="362072"/>
          </a:xfrm>
          <a:prstGeom prst="rect">
            <a:avLst/>
          </a:prstGeom>
        </p:spPr>
        <p:txBody>
          <a:bodyPr wrap="none">
            <a:spAutoFit/>
          </a:bodyPr>
          <a:lstStyle/>
          <a:p>
            <a:pPr defTabSz="914367"/>
            <a:r>
              <a:rPr lang="en-US" sz="1765" b="1" dirty="0">
                <a:solidFill>
                  <a:srgbClr val="505050"/>
                </a:solidFill>
                <a:latin typeface="Segoe UI"/>
                <a:ea typeface="Calibri" panose="020F0502020204030204" pitchFamily="34" charset="0"/>
              </a:rPr>
              <a:t>For example, we have two types of documents: cat and person.</a:t>
            </a:r>
            <a:endParaRPr lang="en-US" sz="1765" b="1" dirty="0">
              <a:solidFill>
                <a:srgbClr val="505050"/>
              </a:solidFill>
              <a:latin typeface="Segoe UI"/>
            </a:endParaRPr>
          </a:p>
        </p:txBody>
      </p:sp>
      <p:sp>
        <p:nvSpPr>
          <p:cNvPr id="8" name="Rectangle 7"/>
          <p:cNvSpPr/>
          <p:nvPr/>
        </p:nvSpPr>
        <p:spPr>
          <a:xfrm>
            <a:off x="272121" y="5322763"/>
            <a:ext cx="11647758" cy="331899"/>
          </a:xfrm>
          <a:prstGeom prst="rect">
            <a:avLst/>
          </a:prstGeom>
        </p:spPr>
        <p:txBody>
          <a:bodyPr wrap="square">
            <a:spAutoFit/>
          </a:bodyPr>
          <a:lstStyle/>
          <a:p>
            <a:pPr algn="ctr" defTabSz="914367"/>
            <a:r>
              <a:rPr lang="en-US" sz="1568" b="1" dirty="0">
                <a:solidFill>
                  <a:srgbClr val="505050"/>
                </a:solidFill>
                <a:latin typeface="Segoe UI"/>
              </a:rPr>
              <a:t>                If we wanted to filter on type = “Person”, we can simply add a filter on type to our query:</a:t>
            </a:r>
          </a:p>
        </p:txBody>
      </p:sp>
      <p:sp>
        <p:nvSpPr>
          <p:cNvPr id="2" name="Rectangle 1"/>
          <p:cNvSpPr/>
          <p:nvPr/>
        </p:nvSpPr>
        <p:spPr>
          <a:xfrm>
            <a:off x="2723988" y="5955790"/>
            <a:ext cx="6928642" cy="362072"/>
          </a:xfrm>
          <a:prstGeom prst="rect">
            <a:avLst/>
          </a:prstGeom>
        </p:spPr>
        <p:txBody>
          <a:bodyPr wrap="none">
            <a:spAutoFit/>
          </a:bodyPr>
          <a:lstStyle/>
          <a:p>
            <a:pPr algn="ctr" defTabSz="914367"/>
            <a:r>
              <a:rPr lang="en-US" sz="1765" dirty="0">
                <a:solidFill>
                  <a:srgbClr val="505050"/>
                </a:solidFill>
                <a:latin typeface="Segoe UI"/>
              </a:rPr>
              <a:t>SELECT * FROM c WHERE </a:t>
            </a:r>
            <a:r>
              <a:rPr lang="en-US" sz="1765" dirty="0" err="1">
                <a:solidFill>
                  <a:srgbClr val="505050"/>
                </a:solidFill>
                <a:latin typeface="Segoe UI"/>
              </a:rPr>
              <a:t>c.familyId</a:t>
            </a:r>
            <a:r>
              <a:rPr lang="en-US" sz="1765" dirty="0">
                <a:solidFill>
                  <a:srgbClr val="505050"/>
                </a:solidFill>
                <a:latin typeface="Segoe UI"/>
              </a:rPr>
              <a:t> = "Liu" </a:t>
            </a:r>
            <a:r>
              <a:rPr lang="en-US" sz="1765" b="1" dirty="0">
                <a:solidFill>
                  <a:srgbClr val="505050"/>
                </a:solidFill>
                <a:latin typeface="Segoe UI"/>
              </a:rPr>
              <a:t>AND </a:t>
            </a:r>
            <a:r>
              <a:rPr lang="en-US" sz="1765" b="1" dirty="0" err="1">
                <a:solidFill>
                  <a:srgbClr val="505050"/>
                </a:solidFill>
                <a:latin typeface="Segoe UI"/>
              </a:rPr>
              <a:t>c.type</a:t>
            </a:r>
            <a:r>
              <a:rPr lang="en-US" sz="1765" b="1" dirty="0">
                <a:solidFill>
                  <a:srgbClr val="505050"/>
                </a:solidFill>
                <a:latin typeface="Segoe UI"/>
              </a:rPr>
              <a:t> = "Person"</a:t>
            </a:r>
          </a:p>
        </p:txBody>
      </p:sp>
    </p:spTree>
    <p:extLst>
      <p:ext uri="{BB962C8B-B14F-4D97-AF65-F5344CB8AC3E}">
        <p14:creationId xmlns:p14="http://schemas.microsoft.com/office/powerpoint/2010/main" val="129418259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Box 1"/>
          <p:cNvSpPr txBox="1"/>
          <p:nvPr/>
        </p:nvSpPr>
        <p:spPr>
          <a:xfrm>
            <a:off x="964555" y="2457530"/>
            <a:ext cx="10625304" cy="633625"/>
          </a:xfrm>
          <a:prstGeom prst="rect">
            <a:avLst/>
          </a:prstGeom>
          <a:noFill/>
        </p:spPr>
        <p:txBody>
          <a:bodyPr wrap="square" rtlCol="0">
            <a:spAutoFit/>
          </a:bodyPr>
          <a:lstStyle/>
          <a:p>
            <a:pPr algn="ctr" defTabSz="914225">
              <a:defRPr/>
            </a:pPr>
            <a:r>
              <a:rPr lang="en-US" sz="3529" dirty="0">
                <a:solidFill>
                  <a:srgbClr val="00B0F0"/>
                </a:solidFill>
                <a:latin typeface="Segoe UI Light" panose="020B0502040204020203" pitchFamily="34" charset="0"/>
                <a:cs typeface="Segoe UI Light" panose="020B0502040204020203" pitchFamily="34" charset="0"/>
              </a:rPr>
              <a:t>Co-locating types in the same container</a:t>
            </a:r>
            <a:endParaRPr lang="en-US" sz="3529" u="sng" dirty="0">
              <a:solidFill>
                <a:srgbClr val="00B0F0"/>
              </a:solidFill>
              <a:latin typeface="Segoe UI Light" panose="020B0502040204020203" pitchFamily="34" charset="0"/>
              <a:cs typeface="Segoe UI Light" panose="020B0502040204020203" pitchFamily="34" charset="0"/>
            </a:endParaRPr>
          </a:p>
        </p:txBody>
      </p:sp>
      <p:sp>
        <p:nvSpPr>
          <p:cNvPr id="3" name="TextBox 2"/>
          <p:cNvSpPr txBox="1"/>
          <p:nvPr/>
        </p:nvSpPr>
        <p:spPr>
          <a:xfrm>
            <a:off x="1113439" y="3798785"/>
            <a:ext cx="10625304" cy="362072"/>
          </a:xfrm>
          <a:prstGeom prst="rect">
            <a:avLst/>
          </a:prstGeom>
          <a:noFill/>
        </p:spPr>
        <p:txBody>
          <a:bodyPr wrap="square" rtlCol="0">
            <a:spAutoFit/>
          </a:bodyPr>
          <a:lstStyle/>
          <a:p>
            <a:pPr algn="ctr" defTabSz="914225">
              <a:defRPr/>
            </a:pPr>
            <a:r>
              <a:rPr lang="en-US" sz="1765" dirty="0">
                <a:solidFill>
                  <a:srgbClr val="505050"/>
                </a:solidFill>
                <a:latin typeface="Segoe UI"/>
              </a:rPr>
              <a:t>Ability to query across multiple entity types with a single network request.</a:t>
            </a:r>
            <a:endParaRPr lang="en-US" sz="1961" dirty="0">
              <a:solidFill>
                <a:srgbClr val="D83B01"/>
              </a:solidFill>
              <a:latin typeface="Segoe UI Light" panose="020B0502040204020203" pitchFamily="34" charset="0"/>
              <a:cs typeface="Segoe UI Light" panose="020B0502040204020203" pitchFamily="34" charset="0"/>
            </a:endParaRPr>
          </a:p>
        </p:txBody>
      </p:sp>
      <p:sp>
        <p:nvSpPr>
          <p:cNvPr id="4" name="TextBox 3"/>
          <p:cNvSpPr txBox="1"/>
          <p:nvPr/>
        </p:nvSpPr>
        <p:spPr>
          <a:xfrm>
            <a:off x="783349" y="4488483"/>
            <a:ext cx="10625304" cy="362072"/>
          </a:xfrm>
          <a:prstGeom prst="rect">
            <a:avLst/>
          </a:prstGeom>
          <a:noFill/>
        </p:spPr>
        <p:txBody>
          <a:bodyPr wrap="square" rtlCol="0">
            <a:spAutoFit/>
          </a:bodyPr>
          <a:lstStyle/>
          <a:p>
            <a:pPr algn="ctr" defTabSz="914225">
              <a:defRPr/>
            </a:pPr>
            <a:r>
              <a:rPr lang="en-US" sz="1765" dirty="0">
                <a:solidFill>
                  <a:srgbClr val="505050"/>
                </a:solidFill>
                <a:latin typeface="Segoe UI"/>
              </a:rPr>
              <a:t>Ability to perform transactions across multiple types</a:t>
            </a:r>
            <a:endParaRPr lang="en-US" sz="1961" dirty="0">
              <a:solidFill>
                <a:srgbClr val="D83B0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8809560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326880" y="5031500"/>
            <a:ext cx="6946925" cy="553998"/>
          </a:xfrm>
          <a:prstGeom prst="rect">
            <a:avLst/>
          </a:prstGeom>
          <a:noFill/>
        </p:spPr>
        <p:txBody>
          <a:bodyPr wrap="square" rtlCol="0">
            <a:spAutoFit/>
          </a:bodyPr>
          <a:lstStyle/>
          <a:p>
            <a:pPr algn="ctr">
              <a:defRPr/>
            </a:pPr>
            <a:r>
              <a:rPr lang="en-US" sz="3000" dirty="0">
                <a:solidFill>
                  <a:srgbClr val="00B0F0"/>
                </a:solidFill>
                <a:latin typeface="Segoe UI Semibold" panose="020B0702040204020203" pitchFamily="34" charset="0"/>
                <a:cs typeface="Segoe UI Semibold" panose="020B0702040204020203" pitchFamily="34" charset="0"/>
              </a:rPr>
              <a:t>Indexing</a:t>
            </a:r>
            <a:endParaRPr lang="en-US" sz="3000" u="sng" dirty="0">
              <a:solidFill>
                <a:srgbClr val="00B0F0"/>
              </a:solidFill>
              <a:latin typeface="Segoe UI Semibold" panose="020B0702040204020203" pitchFamily="34" charset="0"/>
              <a:cs typeface="Segoe UI Semibold" panose="020B0702040204020203" pitchFamily="34" charset="0"/>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93084" y="3825782"/>
            <a:ext cx="1759716" cy="1759716"/>
          </a:xfrm>
          <a:prstGeom prst="rect">
            <a:avLst/>
          </a:prstGeom>
        </p:spPr>
      </p:pic>
    </p:spTree>
    <p:extLst>
      <p:ext uri="{BB962C8B-B14F-4D97-AF65-F5344CB8AC3E}">
        <p14:creationId xmlns:p14="http://schemas.microsoft.com/office/powerpoint/2010/main" val="2918325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565087" y="1816100"/>
            <a:ext cx="0" cy="3493350"/>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711516" y="1816100"/>
            <a:ext cx="4280453" cy="369332"/>
          </a:xfrm>
          <a:prstGeom prst="rect">
            <a:avLst/>
          </a:prstGeom>
          <a:noFill/>
        </p:spPr>
        <p:txBody>
          <a:bodyPr wrap="square" rtlCol="0">
            <a:spAutoFit/>
          </a:bodyPr>
          <a:lstStyle/>
          <a:p>
            <a:pPr>
              <a:defRPr/>
            </a:pPr>
            <a:r>
              <a:rPr lang="en-US" dirty="0">
                <a:solidFill>
                  <a:srgbClr val="7030A0"/>
                </a:solidFill>
                <a:latin typeface="Segoe UI Light" panose="020B0502040204020203" pitchFamily="34" charset="0"/>
                <a:cs typeface="Segoe UI Light" panose="020B0502040204020203" pitchFamily="34" charset="0"/>
              </a:rPr>
              <a:t>Schema-agnostic, automatic indexing</a:t>
            </a:r>
          </a:p>
        </p:txBody>
      </p:sp>
      <p:sp>
        <p:nvSpPr>
          <p:cNvPr id="4" name="TextBox 3"/>
          <p:cNvSpPr txBox="1"/>
          <p:nvPr/>
        </p:nvSpPr>
        <p:spPr>
          <a:xfrm>
            <a:off x="5711515" y="2279010"/>
            <a:ext cx="6050994" cy="3046988"/>
          </a:xfrm>
          <a:prstGeom prst="rect">
            <a:avLst/>
          </a:prstGeom>
          <a:noFill/>
        </p:spPr>
        <p:txBody>
          <a:bodyPr wrap="square" rtlCol="0">
            <a:spAutoFit/>
          </a:bodyPr>
          <a:lstStyle/>
          <a:p>
            <a:pPr>
              <a:defRPr/>
            </a:pPr>
            <a:r>
              <a:rPr lang="en-US" sz="1600" dirty="0">
                <a:solidFill>
                  <a:prstClr val="black">
                    <a:lumMod val="75000"/>
                    <a:lumOff val="25000"/>
                  </a:prstClr>
                </a:solidFill>
                <a:latin typeface="Segoe UI Light" panose="020B0502040204020203" pitchFamily="34" charset="0"/>
                <a:cs typeface="Segoe UI Light" panose="020B0502040204020203" pitchFamily="34" charset="0"/>
              </a:rPr>
              <a:t>Automatically index every property of every record without having to define schemas and indices upfront.</a:t>
            </a:r>
          </a:p>
          <a:p>
            <a:pPr>
              <a:defRPr/>
            </a:pPr>
            <a:endParaRPr lang="en-US" sz="1600" dirty="0">
              <a:solidFill>
                <a:prstClr val="black">
                  <a:lumMod val="75000"/>
                  <a:lumOff val="25000"/>
                </a:prstClr>
              </a:solidFill>
              <a:latin typeface="Segoe UI Light" panose="020B0502040204020203" pitchFamily="34" charset="0"/>
              <a:cs typeface="Segoe UI Light" panose="020B0502040204020203" pitchFamily="34" charset="0"/>
            </a:endParaRPr>
          </a:p>
          <a:p>
            <a:pPr>
              <a:defRPr/>
            </a:pPr>
            <a:r>
              <a:rPr lang="en-US" sz="1600" dirty="0">
                <a:solidFill>
                  <a:prstClr val="black">
                    <a:lumMod val="75000"/>
                    <a:lumOff val="25000"/>
                  </a:prstClr>
                </a:solidFill>
                <a:latin typeface="Segoe UI Light" panose="020B0502040204020203" pitchFamily="34" charset="0"/>
                <a:cs typeface="Segoe UI Light" panose="020B0502040204020203" pitchFamily="34" charset="0"/>
              </a:rPr>
              <a:t>No need for schema and index management</a:t>
            </a:r>
          </a:p>
          <a:p>
            <a:pPr>
              <a:defRPr/>
            </a:pPr>
            <a:endParaRPr lang="en-US" sz="1600" dirty="0">
              <a:solidFill>
                <a:prstClr val="black">
                  <a:lumMod val="75000"/>
                  <a:lumOff val="25000"/>
                </a:prstClr>
              </a:solidFill>
              <a:latin typeface="Segoe UI Light" panose="020B0502040204020203" pitchFamily="34" charset="0"/>
              <a:cs typeface="Segoe UI Light" panose="020B0502040204020203" pitchFamily="34" charset="0"/>
            </a:endParaRPr>
          </a:p>
          <a:p>
            <a:r>
              <a:rPr lang="en-US" sz="1600" dirty="0">
                <a:solidFill>
                  <a:prstClr val="black">
                    <a:lumMod val="75000"/>
                    <a:lumOff val="25000"/>
                  </a:prstClr>
                </a:solidFill>
                <a:latin typeface="Segoe UI Light" panose="020B0502040204020203" pitchFamily="34" charset="0"/>
                <a:cs typeface="Segoe UI Light" panose="020B0502040204020203" pitchFamily="34" charset="0"/>
              </a:rPr>
              <a:t>Works across every data model</a:t>
            </a:r>
          </a:p>
          <a:p>
            <a:pPr>
              <a:defRPr/>
            </a:pPr>
            <a:endParaRPr lang="en-US" sz="1600" dirty="0">
              <a:solidFill>
                <a:prstClr val="black">
                  <a:lumMod val="75000"/>
                  <a:lumOff val="25000"/>
                </a:prstClr>
              </a:solidFill>
              <a:latin typeface="Segoe UI Light" panose="020B0502040204020203" pitchFamily="34" charset="0"/>
              <a:cs typeface="Segoe UI Light" panose="020B0502040204020203" pitchFamily="34" charset="0"/>
            </a:endParaRPr>
          </a:p>
          <a:p>
            <a:r>
              <a:rPr lang="en-US" sz="1600" dirty="0">
                <a:solidFill>
                  <a:prstClr val="black">
                    <a:lumMod val="75000"/>
                    <a:lumOff val="25000"/>
                  </a:prstClr>
                </a:solidFill>
                <a:latin typeface="Segoe UI Light" panose="020B0502040204020203" pitchFamily="34" charset="0"/>
                <a:cs typeface="Segoe UI Light" panose="020B0502040204020203" pitchFamily="34" charset="0"/>
              </a:rPr>
              <a:t>Latch free data structure for highly write-optimized database engine</a:t>
            </a:r>
          </a:p>
          <a:p>
            <a:pPr>
              <a:defRPr/>
            </a:pPr>
            <a:endParaRPr lang="en-US" sz="1600" dirty="0">
              <a:solidFill>
                <a:prstClr val="black">
                  <a:lumMod val="75000"/>
                  <a:lumOff val="25000"/>
                </a:prstClr>
              </a:solidFill>
              <a:latin typeface="Segoe UI Light" panose="020B0502040204020203" pitchFamily="34" charset="0"/>
              <a:cs typeface="Segoe UI Light" panose="020B0502040204020203" pitchFamily="34" charset="0"/>
            </a:endParaRPr>
          </a:p>
          <a:p>
            <a:pPr>
              <a:defRPr/>
            </a:pPr>
            <a:r>
              <a:rPr lang="en-US" sz="1600" dirty="0">
                <a:solidFill>
                  <a:prstClr val="black">
                    <a:lumMod val="75000"/>
                    <a:lumOff val="25000"/>
                  </a:prstClr>
                </a:solidFill>
                <a:latin typeface="Segoe UI Light" panose="020B0502040204020203" pitchFamily="34" charset="0"/>
                <a:cs typeface="Segoe UI Light" panose="020B0502040204020203" pitchFamily="34" charset="0"/>
              </a:rPr>
              <a:t>Multiple index types: Hash, range, and geospatial</a:t>
            </a:r>
          </a:p>
          <a:p>
            <a:pPr>
              <a:defRPr/>
            </a:pPr>
            <a:endParaRPr lang="en-US" sz="1600" dirty="0">
              <a:solidFill>
                <a:prstClr val="black">
                  <a:lumMod val="75000"/>
                  <a:lumOff val="25000"/>
                </a:prstClr>
              </a:solidFill>
              <a:latin typeface="Segoe UI Light" panose="020B0502040204020203" pitchFamily="34" charset="0"/>
              <a:cs typeface="Segoe UI Light" panose="020B0502040204020203" pitchFamily="34" charset="0"/>
            </a:endParaRPr>
          </a:p>
          <a:p>
            <a:pPr>
              <a:defRPr/>
            </a:pPr>
            <a:endParaRPr lang="en-US" sz="1600" dirty="0">
              <a:solidFill>
                <a:prstClr val="black">
                  <a:lumMod val="75000"/>
                  <a:lumOff val="25000"/>
                </a:prstClr>
              </a:solidFill>
              <a:latin typeface="Segoe UI Light" panose="020B0502040204020203" pitchFamily="34" charset="0"/>
              <a:cs typeface="Segoe UI Light" panose="020B0502040204020203" pitchFamily="34" charset="0"/>
            </a:endParaRPr>
          </a:p>
        </p:txBody>
      </p:sp>
      <p:grpSp>
        <p:nvGrpSpPr>
          <p:cNvPr id="75" name="Group 74"/>
          <p:cNvGrpSpPr/>
          <p:nvPr/>
        </p:nvGrpSpPr>
        <p:grpSpPr>
          <a:xfrm>
            <a:off x="742176" y="1659656"/>
            <a:ext cx="4092248" cy="3598678"/>
            <a:chOff x="561760" y="2238844"/>
            <a:chExt cx="4092248" cy="3598678"/>
          </a:xfrm>
        </p:grpSpPr>
        <p:sp>
          <p:nvSpPr>
            <p:cNvPr id="5" name="Rectangle 4"/>
            <p:cNvSpPr/>
            <p:nvPr/>
          </p:nvSpPr>
          <p:spPr>
            <a:xfrm>
              <a:off x="1837001" y="2238844"/>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7" name="Rectangle 6"/>
            <p:cNvSpPr/>
            <p:nvPr/>
          </p:nvSpPr>
          <p:spPr>
            <a:xfrm>
              <a:off x="1012810"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8" name="Rectangle 7"/>
            <p:cNvSpPr/>
            <p:nvPr/>
          </p:nvSpPr>
          <p:spPr>
            <a:xfrm>
              <a:off x="1837000"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9" name="Rectangle 8"/>
            <p:cNvSpPr/>
            <p:nvPr/>
          </p:nvSpPr>
          <p:spPr>
            <a:xfrm>
              <a:off x="2719946"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10" name="Rectangle 9"/>
            <p:cNvSpPr/>
            <p:nvPr/>
          </p:nvSpPr>
          <p:spPr>
            <a:xfrm>
              <a:off x="787285"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11" name="Rectangle 10"/>
            <p:cNvSpPr/>
            <p:nvPr/>
          </p:nvSpPr>
          <p:spPr>
            <a:xfrm>
              <a:off x="1178761" y="3050732"/>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12" name="Rectangle 11"/>
            <p:cNvSpPr/>
            <p:nvPr/>
          </p:nvSpPr>
          <p:spPr>
            <a:xfrm>
              <a:off x="1570237" y="3050732"/>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13" name="Rectangle 12"/>
            <p:cNvSpPr/>
            <p:nvPr/>
          </p:nvSpPr>
          <p:spPr>
            <a:xfrm>
              <a:off x="2035406" y="3050732"/>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14" name="Rectangle 13"/>
            <p:cNvSpPr/>
            <p:nvPr/>
          </p:nvSpPr>
          <p:spPr>
            <a:xfrm>
              <a:off x="2494421"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15" name="Rectangle 14"/>
            <p:cNvSpPr/>
            <p:nvPr/>
          </p:nvSpPr>
          <p:spPr>
            <a:xfrm>
              <a:off x="2945471"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16" name="Rectangle 15"/>
            <p:cNvSpPr/>
            <p:nvPr/>
          </p:nvSpPr>
          <p:spPr>
            <a:xfrm>
              <a:off x="561760" y="350998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17" name="Rectangle 16"/>
            <p:cNvSpPr/>
            <p:nvPr/>
          </p:nvSpPr>
          <p:spPr>
            <a:xfrm>
              <a:off x="1139691" y="350998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18" name="Rectangle 17"/>
            <p:cNvSpPr/>
            <p:nvPr/>
          </p:nvSpPr>
          <p:spPr>
            <a:xfrm>
              <a:off x="561760" y="3969234"/>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19" name="Rectangle 18"/>
            <p:cNvSpPr/>
            <p:nvPr/>
          </p:nvSpPr>
          <p:spPr>
            <a:xfrm>
              <a:off x="939117" y="3969234"/>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20" name="Rectangle 19"/>
            <p:cNvSpPr/>
            <p:nvPr/>
          </p:nvSpPr>
          <p:spPr>
            <a:xfrm>
              <a:off x="1311069" y="3969234"/>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cxnSp>
          <p:nvCxnSpPr>
            <p:cNvPr id="21" name="Straight Arrow Connector 20"/>
            <p:cNvCxnSpPr>
              <a:stCxn id="5" idx="2"/>
              <a:endCxn id="8" idx="0"/>
            </p:cNvCxnSpPr>
            <p:nvPr/>
          </p:nvCxnSpPr>
          <p:spPr>
            <a:xfrm flipH="1">
              <a:off x="1949763" y="2382360"/>
              <a:ext cx="1"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5" idx="2"/>
              <a:endCxn id="9" idx="0"/>
            </p:cNvCxnSpPr>
            <p:nvPr/>
          </p:nvCxnSpPr>
          <p:spPr>
            <a:xfrm>
              <a:off x="1949764" y="2382360"/>
              <a:ext cx="882945"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5" idx="2"/>
              <a:endCxn id="7" idx="0"/>
            </p:cNvCxnSpPr>
            <p:nvPr/>
          </p:nvCxnSpPr>
          <p:spPr>
            <a:xfrm flipH="1">
              <a:off x="1125573" y="2382360"/>
              <a:ext cx="824191"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7" idx="2"/>
            </p:cNvCxnSpPr>
            <p:nvPr/>
          </p:nvCxnSpPr>
          <p:spPr>
            <a:xfrm flipH="1">
              <a:off x="888187" y="2800605"/>
              <a:ext cx="237386" cy="26857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7" idx="2"/>
              <a:endCxn id="11" idx="0"/>
            </p:cNvCxnSpPr>
            <p:nvPr/>
          </p:nvCxnSpPr>
          <p:spPr>
            <a:xfrm>
              <a:off x="1125573" y="2800605"/>
              <a:ext cx="165951"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H="1">
              <a:off x="2573519" y="2799577"/>
              <a:ext cx="237386" cy="26857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endCxn id="15" idx="0"/>
            </p:cNvCxnSpPr>
            <p:nvPr/>
          </p:nvCxnSpPr>
          <p:spPr>
            <a:xfrm>
              <a:off x="2826856" y="2799576"/>
              <a:ext cx="231378" cy="251156"/>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8" idx="2"/>
              <a:endCxn id="12" idx="0"/>
            </p:cNvCxnSpPr>
            <p:nvPr/>
          </p:nvCxnSpPr>
          <p:spPr>
            <a:xfrm flipH="1">
              <a:off x="1683000" y="2800605"/>
              <a:ext cx="266763"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endCxn id="13" idx="0"/>
            </p:cNvCxnSpPr>
            <p:nvPr/>
          </p:nvCxnSpPr>
          <p:spPr>
            <a:xfrm>
              <a:off x="1948945" y="2800605"/>
              <a:ext cx="199224"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10" idx="2"/>
              <a:endCxn id="16" idx="0"/>
            </p:cNvCxnSpPr>
            <p:nvPr/>
          </p:nvCxnSpPr>
          <p:spPr>
            <a:xfrm flipH="1">
              <a:off x="674523" y="3194248"/>
              <a:ext cx="225525"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a:stCxn id="10" idx="2"/>
              <a:endCxn id="17" idx="0"/>
            </p:cNvCxnSpPr>
            <p:nvPr/>
          </p:nvCxnSpPr>
          <p:spPr>
            <a:xfrm>
              <a:off x="900048" y="3194248"/>
              <a:ext cx="352406"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16" idx="2"/>
              <a:endCxn id="18" idx="0"/>
            </p:cNvCxnSpPr>
            <p:nvPr/>
          </p:nvCxnSpPr>
          <p:spPr>
            <a:xfrm>
              <a:off x="674523" y="3653499"/>
              <a:ext cx="0"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17" idx="2"/>
            </p:cNvCxnSpPr>
            <p:nvPr/>
          </p:nvCxnSpPr>
          <p:spPr>
            <a:xfrm flipH="1">
              <a:off x="1032355" y="3653499"/>
              <a:ext cx="220099" cy="315734"/>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stCxn id="17" idx="2"/>
              <a:endCxn id="20" idx="0"/>
            </p:cNvCxnSpPr>
            <p:nvPr/>
          </p:nvCxnSpPr>
          <p:spPr>
            <a:xfrm>
              <a:off x="1252454" y="3653499"/>
              <a:ext cx="171378"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2278473" y="345079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60" name="Rectangle 59"/>
            <p:cNvSpPr/>
            <p:nvPr/>
          </p:nvSpPr>
          <p:spPr>
            <a:xfrm>
              <a:off x="2705721" y="3450793"/>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cxnSp>
          <p:nvCxnSpPr>
            <p:cNvPr id="61" name="Straight Arrow Connector 60"/>
            <p:cNvCxnSpPr/>
            <p:nvPr/>
          </p:nvCxnSpPr>
          <p:spPr>
            <a:xfrm>
              <a:off x="2611681" y="3194248"/>
              <a:ext cx="199224"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stCxn id="14" idx="2"/>
            </p:cNvCxnSpPr>
            <p:nvPr/>
          </p:nvCxnSpPr>
          <p:spPr>
            <a:xfrm flipH="1">
              <a:off x="2411208" y="3194248"/>
              <a:ext cx="195976" cy="27294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a:xfrm>
              <a:off x="2705721" y="3827547"/>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65" name="Rectangle 64"/>
            <p:cNvSpPr/>
            <p:nvPr/>
          </p:nvSpPr>
          <p:spPr>
            <a:xfrm>
              <a:off x="2705721" y="4172739"/>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cxnSp>
          <p:nvCxnSpPr>
            <p:cNvPr id="66" name="Straight Arrow Connector 65"/>
            <p:cNvCxnSpPr>
              <a:stCxn id="60" idx="2"/>
              <a:endCxn id="64" idx="0"/>
            </p:cNvCxnSpPr>
            <p:nvPr/>
          </p:nvCxnSpPr>
          <p:spPr>
            <a:xfrm>
              <a:off x="2818484" y="3594309"/>
              <a:ext cx="0" cy="233238"/>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2818484" y="3969233"/>
              <a:ext cx="0" cy="233238"/>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a:xfrm>
              <a:off x="3068613" y="3450793"/>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71" name="Rectangle 70"/>
            <p:cNvSpPr/>
            <p:nvPr/>
          </p:nvSpPr>
          <p:spPr>
            <a:xfrm>
              <a:off x="3533782" y="3450793"/>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cxnSp>
          <p:nvCxnSpPr>
            <p:cNvPr id="72" name="Straight Arrow Connector 71"/>
            <p:cNvCxnSpPr>
              <a:endCxn id="70" idx="0"/>
            </p:cNvCxnSpPr>
            <p:nvPr/>
          </p:nvCxnSpPr>
          <p:spPr>
            <a:xfrm>
              <a:off x="3089619" y="3196431"/>
              <a:ext cx="91757" cy="254362"/>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a:stCxn id="15" idx="2"/>
            </p:cNvCxnSpPr>
            <p:nvPr/>
          </p:nvCxnSpPr>
          <p:spPr>
            <a:xfrm>
              <a:off x="3058234" y="3194248"/>
              <a:ext cx="601750" cy="263653"/>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9" name="Rectangle 78"/>
            <p:cNvSpPr/>
            <p:nvPr/>
          </p:nvSpPr>
          <p:spPr>
            <a:xfrm>
              <a:off x="2257890" y="4752419"/>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80" name="Rectangle 79"/>
            <p:cNvSpPr/>
            <p:nvPr/>
          </p:nvSpPr>
          <p:spPr>
            <a:xfrm>
              <a:off x="3273595" y="4752419"/>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81" name="Rectangle 80"/>
            <p:cNvSpPr/>
            <p:nvPr/>
          </p:nvSpPr>
          <p:spPr>
            <a:xfrm>
              <a:off x="2257890" y="5055852"/>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82" name="Rectangle 81"/>
            <p:cNvSpPr/>
            <p:nvPr/>
          </p:nvSpPr>
          <p:spPr>
            <a:xfrm>
              <a:off x="3273595" y="5055852"/>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83" name="Rectangle 82"/>
            <p:cNvSpPr/>
            <p:nvPr/>
          </p:nvSpPr>
          <p:spPr>
            <a:xfrm>
              <a:off x="2257890" y="5344714"/>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84" name="Rectangle 83"/>
            <p:cNvSpPr/>
            <p:nvPr/>
          </p:nvSpPr>
          <p:spPr>
            <a:xfrm>
              <a:off x="3273595" y="5344714"/>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85" name="Rectangle 84"/>
            <p:cNvSpPr/>
            <p:nvPr/>
          </p:nvSpPr>
          <p:spPr>
            <a:xfrm>
              <a:off x="2257890" y="5624299"/>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86" name="Rectangle 85"/>
            <p:cNvSpPr/>
            <p:nvPr/>
          </p:nvSpPr>
          <p:spPr>
            <a:xfrm>
              <a:off x="3273595" y="5624299"/>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87" name="Rectangle 86"/>
            <p:cNvSpPr/>
            <p:nvPr/>
          </p:nvSpPr>
          <p:spPr>
            <a:xfrm>
              <a:off x="3338241" y="478054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88" name="Rectangle 87"/>
            <p:cNvSpPr/>
            <p:nvPr/>
          </p:nvSpPr>
          <p:spPr>
            <a:xfrm>
              <a:off x="3803410" y="4780540"/>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92" name="Rectangle 91"/>
            <p:cNvSpPr/>
            <p:nvPr/>
          </p:nvSpPr>
          <p:spPr>
            <a:xfrm>
              <a:off x="3338241" y="508640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93" name="Rectangle 92"/>
            <p:cNvSpPr/>
            <p:nvPr/>
          </p:nvSpPr>
          <p:spPr>
            <a:xfrm>
              <a:off x="3803410" y="508640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94" name="Rectangle 93"/>
            <p:cNvSpPr/>
            <p:nvPr/>
          </p:nvSpPr>
          <p:spPr>
            <a:xfrm>
              <a:off x="4275961" y="5080516"/>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97" name="Rectangle 96"/>
            <p:cNvSpPr/>
            <p:nvPr/>
          </p:nvSpPr>
          <p:spPr>
            <a:xfrm>
              <a:off x="3345475" y="5375844"/>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99" name="Rectangle 98"/>
            <p:cNvSpPr/>
            <p:nvPr/>
          </p:nvSpPr>
          <p:spPr>
            <a:xfrm>
              <a:off x="3821068" y="5384235"/>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sp>
          <p:nvSpPr>
            <p:cNvPr id="101" name="Rectangle 100"/>
            <p:cNvSpPr/>
            <p:nvPr/>
          </p:nvSpPr>
          <p:spPr>
            <a:xfrm>
              <a:off x="3338240" y="5659152"/>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panose="020F0502020204030204"/>
              </a:endParaRPr>
            </a:p>
          </p:txBody>
        </p:sp>
      </p:grpSp>
      <p:cxnSp>
        <p:nvCxnSpPr>
          <p:cNvPr id="89" name="Straight Arrow Connector 88"/>
          <p:cNvCxnSpPr>
            <a:stCxn id="87" idx="3"/>
            <a:endCxn id="88" idx="1"/>
          </p:cNvCxnSpPr>
          <p:nvPr/>
        </p:nvCxnSpPr>
        <p:spPr>
          <a:xfrm>
            <a:off x="3744182" y="4273110"/>
            <a:ext cx="239644"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a:off x="3744182" y="4573086"/>
            <a:ext cx="239644"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a:off x="4209351" y="4573086"/>
            <a:ext cx="239644"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a:off x="3755587" y="4868414"/>
            <a:ext cx="239644"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00" name="Arc 99"/>
          <p:cNvSpPr/>
          <p:nvPr/>
        </p:nvSpPr>
        <p:spPr>
          <a:xfrm>
            <a:off x="1278972" y="3390045"/>
            <a:ext cx="1577369" cy="1524990"/>
          </a:xfrm>
          <a:prstGeom prst="arc">
            <a:avLst>
              <a:gd name="adj1" fmla="val 5276172"/>
              <a:gd name="adj2" fmla="val 11197224"/>
            </a:avLst>
          </a:prstGeom>
          <a:ln>
            <a:solidFill>
              <a:srgbClr val="0B8172"/>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defRPr/>
            </a:pPr>
            <a:endParaRPr lang="en-US" dirty="0">
              <a:solidFill>
                <a:prstClr val="black"/>
              </a:solidFill>
              <a:latin typeface="Calibri" panose="020F0502020204030204"/>
            </a:endParaRPr>
          </a:p>
        </p:txBody>
      </p:sp>
      <p:sp>
        <p:nvSpPr>
          <p:cNvPr id="103" name="TextBox 102"/>
          <p:cNvSpPr txBox="1"/>
          <p:nvPr/>
        </p:nvSpPr>
        <p:spPr>
          <a:xfrm>
            <a:off x="2318165" y="5417500"/>
            <a:ext cx="1071127" cy="276999"/>
          </a:xfrm>
          <a:prstGeom prst="rect">
            <a:avLst/>
          </a:prstGeom>
          <a:noFill/>
        </p:spPr>
        <p:txBody>
          <a:bodyPr wrap="none" rtlCol="0">
            <a:spAutoFit/>
          </a:bodyPr>
          <a:lstStyle/>
          <a:p>
            <a:pPr>
              <a:defRPr/>
            </a:pPr>
            <a:r>
              <a:rPr lang="en-US" sz="1200" dirty="0">
                <a:solidFill>
                  <a:prstClr val="black"/>
                </a:solidFill>
                <a:latin typeface="Segoe UI Light" panose="020B0502040204020203" pitchFamily="34" charset="0"/>
                <a:cs typeface="Segoe UI Light" panose="020B0502040204020203" pitchFamily="34" charset="0"/>
              </a:rPr>
              <a:t>Physical index</a:t>
            </a:r>
          </a:p>
        </p:txBody>
      </p:sp>
      <p:sp>
        <p:nvSpPr>
          <p:cNvPr id="104" name="TextBox 103"/>
          <p:cNvSpPr txBox="1"/>
          <p:nvPr/>
        </p:nvSpPr>
        <p:spPr>
          <a:xfrm>
            <a:off x="677208" y="3700160"/>
            <a:ext cx="691215" cy="276999"/>
          </a:xfrm>
          <a:prstGeom prst="rect">
            <a:avLst/>
          </a:prstGeom>
          <a:noFill/>
        </p:spPr>
        <p:txBody>
          <a:bodyPr wrap="none" rtlCol="0">
            <a:spAutoFit/>
          </a:bodyPr>
          <a:lstStyle/>
          <a:p>
            <a:pPr>
              <a:defRPr/>
            </a:pPr>
            <a:r>
              <a:rPr lang="en-US" sz="1200" dirty="0">
                <a:solidFill>
                  <a:prstClr val="black"/>
                </a:solidFill>
                <a:latin typeface="Segoe UI Light" panose="020B0502040204020203" pitchFamily="34" charset="0"/>
                <a:cs typeface="Segoe UI Light" panose="020B0502040204020203" pitchFamily="34" charset="0"/>
              </a:rPr>
              <a:t>Schema</a:t>
            </a:r>
          </a:p>
        </p:txBody>
      </p:sp>
    </p:spTree>
    <p:extLst>
      <p:ext uri="{BB962C8B-B14F-4D97-AF65-F5344CB8AC3E}">
        <p14:creationId xmlns:p14="http://schemas.microsoft.com/office/powerpoint/2010/main" val="2548406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3A784F3-5762-4588-A5FC-2300F67ACF21}"/>
              </a:ext>
            </a:extLst>
          </p:cNvPr>
          <p:cNvPicPr>
            <a:picLocks noChangeAspect="1"/>
          </p:cNvPicPr>
          <p:nvPr/>
        </p:nvPicPr>
        <p:blipFill>
          <a:blip r:embed="rId3"/>
          <a:stretch>
            <a:fillRect/>
          </a:stretch>
        </p:blipFill>
        <p:spPr>
          <a:xfrm>
            <a:off x="947738" y="1252538"/>
            <a:ext cx="10296525" cy="4810125"/>
          </a:xfrm>
          <a:prstGeom prst="rect">
            <a:avLst/>
          </a:prstGeom>
        </p:spPr>
      </p:pic>
    </p:spTree>
    <p:extLst>
      <p:ext uri="{BB962C8B-B14F-4D97-AF65-F5344CB8AC3E}">
        <p14:creationId xmlns:p14="http://schemas.microsoft.com/office/powerpoint/2010/main" val="356167959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3C5A8EF-CF7C-497C-A986-F249A66DDADA}"/>
              </a:ext>
            </a:extLst>
          </p:cNvPr>
          <p:cNvPicPr>
            <a:picLocks noChangeAspect="1"/>
          </p:cNvPicPr>
          <p:nvPr/>
        </p:nvPicPr>
        <p:blipFill>
          <a:blip r:embed="rId3"/>
          <a:stretch>
            <a:fillRect/>
          </a:stretch>
        </p:blipFill>
        <p:spPr>
          <a:xfrm>
            <a:off x="1195388" y="495300"/>
            <a:ext cx="9801225" cy="6324600"/>
          </a:xfrm>
          <a:prstGeom prst="rect">
            <a:avLst/>
          </a:prstGeom>
        </p:spPr>
      </p:pic>
    </p:spTree>
    <p:extLst>
      <p:ext uri="{BB962C8B-B14F-4D97-AF65-F5344CB8AC3E}">
        <p14:creationId xmlns:p14="http://schemas.microsoft.com/office/powerpoint/2010/main" val="281038206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187E524-718D-4BF6-97A4-A856B97B211A}"/>
              </a:ext>
            </a:extLst>
          </p:cNvPr>
          <p:cNvPicPr>
            <a:picLocks noChangeAspect="1"/>
          </p:cNvPicPr>
          <p:nvPr/>
        </p:nvPicPr>
        <p:blipFill>
          <a:blip r:embed="rId3"/>
          <a:stretch>
            <a:fillRect/>
          </a:stretch>
        </p:blipFill>
        <p:spPr>
          <a:xfrm>
            <a:off x="1227821" y="228600"/>
            <a:ext cx="9736358" cy="6858000"/>
          </a:xfrm>
          <a:prstGeom prst="rect">
            <a:avLst/>
          </a:prstGeom>
        </p:spPr>
      </p:pic>
    </p:spTree>
    <p:extLst>
      <p:ext uri="{BB962C8B-B14F-4D97-AF65-F5344CB8AC3E}">
        <p14:creationId xmlns:p14="http://schemas.microsoft.com/office/powerpoint/2010/main" val="307711903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326880" y="5031500"/>
            <a:ext cx="6946925" cy="553998"/>
          </a:xfrm>
          <a:prstGeom prst="rect">
            <a:avLst/>
          </a:prstGeom>
          <a:noFill/>
        </p:spPr>
        <p:txBody>
          <a:bodyPr wrap="square" rtlCol="0">
            <a:spAutoFit/>
          </a:bodyPr>
          <a:lstStyle/>
          <a:p>
            <a:pPr algn="ctr">
              <a:defRPr/>
            </a:pPr>
            <a:r>
              <a:rPr lang="en-US" sz="3000" dirty="0">
                <a:solidFill>
                  <a:srgbClr val="00B0F0"/>
                </a:solidFill>
                <a:latin typeface="Segoe UI Semibold" panose="020B0702040204020203" pitchFamily="34" charset="0"/>
                <a:cs typeface="Segoe UI Semibold" panose="020B0702040204020203" pitchFamily="34" charset="0"/>
              </a:rPr>
              <a:t>Change Feed</a:t>
            </a:r>
            <a:endParaRPr lang="en-US" sz="3000" u="sng" dirty="0">
              <a:solidFill>
                <a:srgbClr val="00B0F0"/>
              </a:solidFill>
              <a:latin typeface="Segoe UI Semibold" panose="020B0702040204020203" pitchFamily="34" charset="0"/>
              <a:cs typeface="Segoe UI Semibold" panose="020B0702040204020203" pitchFamily="34" charset="0"/>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93084" y="3825782"/>
            <a:ext cx="1759716" cy="1759716"/>
          </a:xfrm>
          <a:prstGeom prst="rect">
            <a:avLst/>
          </a:prstGeom>
        </p:spPr>
      </p:pic>
    </p:spTree>
    <p:extLst>
      <p:ext uri="{BB962C8B-B14F-4D97-AF65-F5344CB8AC3E}">
        <p14:creationId xmlns:p14="http://schemas.microsoft.com/office/powerpoint/2010/main" val="304881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creenshot of a cell phone&#10;&#10;Description generated with very high confidence">
            <a:extLst>
              <a:ext uri="{FF2B5EF4-FFF2-40B4-BE49-F238E27FC236}">
                <a16:creationId xmlns:a16="http://schemas.microsoft.com/office/drawing/2014/main" id="{56C68ED2-678A-4E88-8C51-B6E8540E1083}"/>
              </a:ext>
            </a:extLst>
          </p:cNvPr>
          <p:cNvPicPr>
            <a:picLocks noChangeAspect="1"/>
          </p:cNvPicPr>
          <p:nvPr/>
        </p:nvPicPr>
        <p:blipFill rotWithShape="1">
          <a:blip r:embed="rId3"/>
          <a:srcRect t="35900" r="65113" b="31587"/>
          <a:stretch/>
        </p:blipFill>
        <p:spPr>
          <a:xfrm>
            <a:off x="3406727" y="2088858"/>
            <a:ext cx="4482123" cy="2241063"/>
          </a:xfrm>
          <a:prstGeom prst="rect">
            <a:avLst/>
          </a:prstGeom>
        </p:spPr>
      </p:pic>
      <p:sp>
        <p:nvSpPr>
          <p:cNvPr id="7" name="TextBox 6">
            <a:extLst>
              <a:ext uri="{FF2B5EF4-FFF2-40B4-BE49-F238E27FC236}">
                <a16:creationId xmlns:a16="http://schemas.microsoft.com/office/drawing/2014/main" id="{DDA66530-2B05-42F4-B68D-4AB8B5863E3B}"/>
              </a:ext>
            </a:extLst>
          </p:cNvPr>
          <p:cNvSpPr txBox="1"/>
          <p:nvPr/>
        </p:nvSpPr>
        <p:spPr>
          <a:xfrm>
            <a:off x="1240366" y="5226344"/>
            <a:ext cx="9188354" cy="941386"/>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2353" dirty="0">
                <a:gradFill>
                  <a:gsLst>
                    <a:gs pos="2917">
                      <a:srgbClr val="353535"/>
                    </a:gs>
                    <a:gs pos="30000">
                      <a:srgbClr val="353535"/>
                    </a:gs>
                  </a:gsLst>
                  <a:lin ang="5400000" scaled="0"/>
                </a:gradFill>
                <a:latin typeface="Segoe UI Semilight"/>
              </a:rPr>
              <a:t>Persistent log of records within an Azure Cosmos DB container in the order in which they were modified</a:t>
            </a:r>
          </a:p>
        </p:txBody>
      </p:sp>
      <p:sp>
        <p:nvSpPr>
          <p:cNvPr id="8" name="Title 1">
            <a:extLst>
              <a:ext uri="{FF2B5EF4-FFF2-40B4-BE49-F238E27FC236}">
                <a16:creationId xmlns:a16="http://schemas.microsoft.com/office/drawing/2014/main" id="{37E5187C-D655-46BC-979B-6C5A20C3B8C0}"/>
              </a:ext>
            </a:extLst>
          </p:cNvPr>
          <p:cNvSpPr txBox="1">
            <a:spLocks/>
          </p:cNvSpPr>
          <p:nvPr/>
        </p:nvSpPr>
        <p:spPr>
          <a:xfrm>
            <a:off x="536923" y="518559"/>
            <a:ext cx="11655078"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r>
              <a:rPr lang="en-US" sz="4705" spc="-100" dirty="0">
                <a:gradFill>
                  <a:gsLst>
                    <a:gs pos="1250">
                      <a:srgbClr val="353535"/>
                    </a:gs>
                    <a:gs pos="100000">
                      <a:srgbClr val="353535"/>
                    </a:gs>
                  </a:gsLst>
                  <a:lin ang="5400000" scaled="0"/>
                </a:gradFill>
                <a:latin typeface="Segoe UI Light"/>
              </a:rPr>
              <a:t>Azure Cosmos DB Change Feed</a:t>
            </a:r>
          </a:p>
        </p:txBody>
      </p:sp>
    </p:spTree>
    <p:extLst>
      <p:ext uri="{BB962C8B-B14F-4D97-AF65-F5344CB8AC3E}">
        <p14:creationId xmlns:p14="http://schemas.microsoft.com/office/powerpoint/2010/main" val="895908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0">
  <p:cSld>
    <p:bg>
      <p:bgPr>
        <a:solidFill>
          <a:srgbClr val="000000"/>
        </a:solidFill>
        <a:effectLst/>
      </p:bgPr>
    </p:bg>
    <p:spTree>
      <p:nvGrpSpPr>
        <p:cNvPr id="1" name=""/>
        <p:cNvGrpSpPr/>
        <p:nvPr/>
      </p:nvGrpSpPr>
      <p:grpSpPr>
        <a:xfrm>
          <a:off x="0" y="0"/>
          <a:ext cx="0" cy="0"/>
          <a:chOff x="0" y="0"/>
          <a:chExt cx="0" cy="0"/>
        </a:xfrm>
      </p:grpSpPr>
      <p:sp>
        <p:nvSpPr>
          <p:cNvPr id="57" name="Title 1"/>
          <p:cNvSpPr txBox="1">
            <a:spLocks/>
          </p:cNvSpPr>
          <p:nvPr/>
        </p:nvSpPr>
        <p:spPr>
          <a:xfrm>
            <a:off x="131047" y="368497"/>
            <a:ext cx="9965454" cy="574378"/>
          </a:xfrm>
          <a:prstGeom prst="rect">
            <a:avLst/>
          </a:prstGeom>
        </p:spPr>
        <p:txBody>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pPr defTabSz="1243478"/>
            <a:r>
              <a:rPr lang="en-US" sz="4000" dirty="0">
                <a:solidFill>
                  <a:prstClr val="white"/>
                </a:solidFill>
                <a:latin typeface="Segoe UI Light" panose="020B0502040204020203" pitchFamily="34" charset="0"/>
                <a:cs typeface="Segoe UI Light" panose="020B0502040204020203" pitchFamily="34" charset="0"/>
                <a:sym typeface="Gill Sans" charset="0"/>
              </a:rPr>
              <a:t>Designing the database for the cloud</a:t>
            </a:r>
          </a:p>
        </p:txBody>
      </p:sp>
      <p:sp>
        <p:nvSpPr>
          <p:cNvPr id="58" name="Text Placeholder 2"/>
          <p:cNvSpPr txBox="1">
            <a:spLocks/>
          </p:cNvSpPr>
          <p:nvPr/>
        </p:nvSpPr>
        <p:spPr>
          <a:xfrm>
            <a:off x="3613378" y="5599794"/>
            <a:ext cx="11655079" cy="4175390"/>
          </a:xfrm>
          <a:prstGeom prst="rect">
            <a:avLst/>
          </a:prstGeom>
        </p:spPr>
        <p:txBody>
          <a:bodyPr/>
          <a:lst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310869" indent="-310869" defTabSz="1243478">
              <a:spcBef>
                <a:spcPts val="1360"/>
              </a:spcBef>
            </a:pPr>
            <a:endParaRPr lang="en-US" sz="2800" dirty="0">
              <a:solidFill>
                <a:prstClr val="white"/>
              </a:solidFill>
              <a:latin typeface="Calibri" panose="020F0502020204030204"/>
              <a:sym typeface="Gill Sans" charset="0"/>
            </a:endParaRPr>
          </a:p>
        </p:txBody>
      </p:sp>
      <p:grpSp>
        <p:nvGrpSpPr>
          <p:cNvPr id="6" name="Group 5"/>
          <p:cNvGrpSpPr/>
          <p:nvPr/>
        </p:nvGrpSpPr>
        <p:grpSpPr>
          <a:xfrm>
            <a:off x="-266700" y="3292836"/>
            <a:ext cx="12624650" cy="4260251"/>
            <a:chOff x="-533400" y="6128471"/>
            <a:chExt cx="25249299" cy="8520501"/>
          </a:xfrm>
        </p:grpSpPr>
        <p:grpSp>
          <p:nvGrpSpPr>
            <p:cNvPr id="75" name="Group 74"/>
            <p:cNvGrpSpPr/>
            <p:nvPr/>
          </p:nvGrpSpPr>
          <p:grpSpPr>
            <a:xfrm>
              <a:off x="-533400" y="6128471"/>
              <a:ext cx="25249299" cy="8520501"/>
              <a:chOff x="-608435" y="4060268"/>
              <a:chExt cx="11949156" cy="4345678"/>
            </a:xfrm>
          </p:grpSpPr>
          <p:sp>
            <p:nvSpPr>
              <p:cNvPr id="76" name="Freeform 611"/>
              <p:cNvSpPr>
                <a:spLocks/>
              </p:cNvSpPr>
              <p:nvPr/>
            </p:nvSpPr>
            <p:spPr bwMode="auto">
              <a:xfrm>
                <a:off x="-353974" y="4060268"/>
                <a:ext cx="11694695" cy="3876444"/>
              </a:xfrm>
              <a:custGeom>
                <a:avLst/>
                <a:gdLst>
                  <a:gd name="T0" fmla="*/ 0 w 4239"/>
                  <a:gd name="T1" fmla="*/ 587 h 1404"/>
                  <a:gd name="T2" fmla="*/ 4228 w 4239"/>
                  <a:gd name="T3" fmla="*/ 1374 h 1404"/>
                  <a:gd name="T4" fmla="*/ 4239 w 4239"/>
                  <a:gd name="T5" fmla="*/ 1404 h 1404"/>
                  <a:gd name="T6" fmla="*/ 3673 w 4239"/>
                  <a:gd name="T7" fmla="*/ 1381 h 1404"/>
                  <a:gd name="T8" fmla="*/ 4 w 4239"/>
                  <a:gd name="T9" fmla="*/ 1389 h 1404"/>
                  <a:gd name="T10" fmla="*/ 0 w 4239"/>
                  <a:gd name="T11" fmla="*/ 587 h 1404"/>
                </a:gdLst>
                <a:ahLst/>
                <a:cxnLst>
                  <a:cxn ang="0">
                    <a:pos x="T0" y="T1"/>
                  </a:cxn>
                  <a:cxn ang="0">
                    <a:pos x="T2" y="T3"/>
                  </a:cxn>
                  <a:cxn ang="0">
                    <a:pos x="T4" y="T5"/>
                  </a:cxn>
                  <a:cxn ang="0">
                    <a:pos x="T6" y="T7"/>
                  </a:cxn>
                  <a:cxn ang="0">
                    <a:pos x="T8" y="T9"/>
                  </a:cxn>
                  <a:cxn ang="0">
                    <a:pos x="T10" y="T11"/>
                  </a:cxn>
                </a:cxnLst>
                <a:rect l="0" t="0" r="r" b="b"/>
                <a:pathLst>
                  <a:path w="4239" h="1404">
                    <a:moveTo>
                      <a:pt x="0" y="587"/>
                    </a:moveTo>
                    <a:cubicBezTo>
                      <a:pt x="0" y="587"/>
                      <a:pt x="2987" y="0"/>
                      <a:pt x="4228" y="1374"/>
                    </a:cubicBezTo>
                    <a:cubicBezTo>
                      <a:pt x="4228" y="1374"/>
                      <a:pt x="4236" y="1341"/>
                      <a:pt x="4239" y="1404"/>
                    </a:cubicBezTo>
                    <a:cubicBezTo>
                      <a:pt x="4032" y="1382"/>
                      <a:pt x="3673" y="1381"/>
                      <a:pt x="3673" y="1381"/>
                    </a:cubicBezTo>
                    <a:cubicBezTo>
                      <a:pt x="4" y="1389"/>
                      <a:pt x="4" y="1389"/>
                      <a:pt x="4" y="1389"/>
                    </a:cubicBezTo>
                    <a:cubicBezTo>
                      <a:pt x="0" y="587"/>
                      <a:pt x="0" y="587"/>
                      <a:pt x="0" y="587"/>
                    </a:cubicBezTo>
                  </a:path>
                </a:pathLst>
              </a:custGeom>
              <a:solidFill>
                <a:schemeClr val="tx2">
                  <a:lumMod val="75000"/>
                </a:schemeClr>
              </a:solidFill>
              <a:ln>
                <a:noFill/>
              </a:ln>
            </p:spPr>
            <p:txBody>
              <a:bodyPr vert="horz" wrap="square" lIns="89643" tIns="44822" rIns="89643" bIns="44822" numCol="1" anchor="t" anchorCtr="0" compatLnSpc="1">
                <a:prstTxWarp prst="textNoShape">
                  <a:avLst/>
                </a:prstTxWarp>
              </a:bodyPr>
              <a:lstStyle/>
              <a:p>
                <a:pPr defTabSz="914348"/>
                <a:endParaRPr lang="en-US" sz="1298" dirty="0">
                  <a:solidFill>
                    <a:prstClr val="black"/>
                  </a:solidFill>
                  <a:latin typeface="Calibri" panose="020F0502020204030204"/>
                  <a:ea typeface="Heiti SC Light" charset="-122"/>
                  <a:sym typeface="Gill Sans" charset="0"/>
                </a:endParaRPr>
              </a:p>
            </p:txBody>
          </p:sp>
          <p:sp>
            <p:nvSpPr>
              <p:cNvPr id="77" name="Freeform 614"/>
              <p:cNvSpPr>
                <a:spLocks noEditPoints="1"/>
              </p:cNvSpPr>
              <p:nvPr/>
            </p:nvSpPr>
            <p:spPr bwMode="auto">
              <a:xfrm>
                <a:off x="1000038" y="5471475"/>
                <a:ext cx="5905127" cy="2368353"/>
              </a:xfrm>
              <a:custGeom>
                <a:avLst/>
                <a:gdLst>
                  <a:gd name="T0" fmla="*/ 16 w 2140"/>
                  <a:gd name="T1" fmla="*/ 7 h 858"/>
                  <a:gd name="T2" fmla="*/ 82 w 2140"/>
                  <a:gd name="T3" fmla="*/ 4 h 858"/>
                  <a:gd name="T4" fmla="*/ 113 w 2140"/>
                  <a:gd name="T5" fmla="*/ 3 h 858"/>
                  <a:gd name="T6" fmla="*/ 148 w 2140"/>
                  <a:gd name="T7" fmla="*/ 0 h 858"/>
                  <a:gd name="T8" fmla="*/ 214 w 2140"/>
                  <a:gd name="T9" fmla="*/ 9 h 858"/>
                  <a:gd name="T10" fmla="*/ 178 w 2140"/>
                  <a:gd name="T11" fmla="*/ 4 h 858"/>
                  <a:gd name="T12" fmla="*/ 284 w 2140"/>
                  <a:gd name="T13" fmla="*/ 8 h 858"/>
                  <a:gd name="T14" fmla="*/ 312 w 2140"/>
                  <a:gd name="T15" fmla="*/ 15 h 858"/>
                  <a:gd name="T16" fmla="*/ 313 w 2140"/>
                  <a:gd name="T17" fmla="*/ 6 h 858"/>
                  <a:gd name="T18" fmla="*/ 410 w 2140"/>
                  <a:gd name="T19" fmla="*/ 26 h 858"/>
                  <a:gd name="T20" fmla="*/ 437 w 2140"/>
                  <a:gd name="T21" fmla="*/ 23 h 858"/>
                  <a:gd name="T22" fmla="*/ 477 w 2140"/>
                  <a:gd name="T23" fmla="*/ 22 h 858"/>
                  <a:gd name="T24" fmla="*/ 540 w 2140"/>
                  <a:gd name="T25" fmla="*/ 45 h 858"/>
                  <a:gd name="T26" fmla="*/ 502 w 2140"/>
                  <a:gd name="T27" fmla="*/ 32 h 858"/>
                  <a:gd name="T28" fmla="*/ 613 w 2140"/>
                  <a:gd name="T29" fmla="*/ 50 h 858"/>
                  <a:gd name="T30" fmla="*/ 637 w 2140"/>
                  <a:gd name="T31" fmla="*/ 63 h 858"/>
                  <a:gd name="T32" fmla="*/ 640 w 2140"/>
                  <a:gd name="T33" fmla="*/ 48 h 858"/>
                  <a:gd name="T34" fmla="*/ 733 w 2140"/>
                  <a:gd name="T35" fmla="*/ 84 h 858"/>
                  <a:gd name="T36" fmla="*/ 759 w 2140"/>
                  <a:gd name="T37" fmla="*/ 81 h 858"/>
                  <a:gd name="T38" fmla="*/ 801 w 2140"/>
                  <a:gd name="T39" fmla="*/ 83 h 858"/>
                  <a:gd name="T40" fmla="*/ 860 w 2140"/>
                  <a:gd name="T41" fmla="*/ 117 h 858"/>
                  <a:gd name="T42" fmla="*/ 822 w 2140"/>
                  <a:gd name="T43" fmla="*/ 97 h 858"/>
                  <a:gd name="T44" fmla="*/ 935 w 2140"/>
                  <a:gd name="T45" fmla="*/ 129 h 858"/>
                  <a:gd name="T46" fmla="*/ 954 w 2140"/>
                  <a:gd name="T47" fmla="*/ 145 h 858"/>
                  <a:gd name="T48" fmla="*/ 960 w 2140"/>
                  <a:gd name="T49" fmla="*/ 127 h 858"/>
                  <a:gd name="T50" fmla="*/ 1048 w 2140"/>
                  <a:gd name="T51" fmla="*/ 176 h 858"/>
                  <a:gd name="T52" fmla="*/ 1073 w 2140"/>
                  <a:gd name="T53" fmla="*/ 175 h 858"/>
                  <a:gd name="T54" fmla="*/ 1116 w 2140"/>
                  <a:gd name="T55" fmla="*/ 181 h 858"/>
                  <a:gd name="T56" fmla="*/ 1170 w 2140"/>
                  <a:gd name="T57" fmla="*/ 222 h 858"/>
                  <a:gd name="T58" fmla="*/ 1135 w 2140"/>
                  <a:gd name="T59" fmla="*/ 198 h 858"/>
                  <a:gd name="T60" fmla="*/ 1243 w 2140"/>
                  <a:gd name="T61" fmla="*/ 243 h 858"/>
                  <a:gd name="T62" fmla="*/ 1256 w 2140"/>
                  <a:gd name="T63" fmla="*/ 249 h 858"/>
                  <a:gd name="T64" fmla="*/ 1269 w 2140"/>
                  <a:gd name="T65" fmla="*/ 244 h 858"/>
                  <a:gd name="T66" fmla="*/ 1350 w 2140"/>
                  <a:gd name="T67" fmla="*/ 302 h 858"/>
                  <a:gd name="T68" fmla="*/ 1388 w 2140"/>
                  <a:gd name="T69" fmla="*/ 301 h 858"/>
                  <a:gd name="T70" fmla="*/ 1417 w 2140"/>
                  <a:gd name="T71" fmla="*/ 316 h 858"/>
                  <a:gd name="T72" fmla="*/ 1438 w 2140"/>
                  <a:gd name="T73" fmla="*/ 347 h 858"/>
                  <a:gd name="T74" fmla="*/ 1447 w 2140"/>
                  <a:gd name="T75" fmla="*/ 331 h 858"/>
                  <a:gd name="T76" fmla="*/ 1536 w 2140"/>
                  <a:gd name="T77" fmla="*/ 391 h 858"/>
                  <a:gd name="T78" fmla="*/ 1550 w 2140"/>
                  <a:gd name="T79" fmla="*/ 399 h 858"/>
                  <a:gd name="T80" fmla="*/ 1562 w 2140"/>
                  <a:gd name="T81" fmla="*/ 396 h 858"/>
                  <a:gd name="T82" fmla="*/ 1637 w 2140"/>
                  <a:gd name="T83" fmla="*/ 461 h 858"/>
                  <a:gd name="T84" fmla="*/ 1673 w 2140"/>
                  <a:gd name="T85" fmla="*/ 466 h 858"/>
                  <a:gd name="T86" fmla="*/ 1701 w 2140"/>
                  <a:gd name="T87" fmla="*/ 485 h 858"/>
                  <a:gd name="T88" fmla="*/ 1720 w 2140"/>
                  <a:gd name="T89" fmla="*/ 515 h 858"/>
                  <a:gd name="T90" fmla="*/ 1728 w 2140"/>
                  <a:gd name="T91" fmla="*/ 504 h 858"/>
                  <a:gd name="T92" fmla="*/ 1809 w 2140"/>
                  <a:gd name="T93" fmla="*/ 570 h 858"/>
                  <a:gd name="T94" fmla="*/ 1826 w 2140"/>
                  <a:gd name="T95" fmla="*/ 583 h 858"/>
                  <a:gd name="T96" fmla="*/ 1834 w 2140"/>
                  <a:gd name="T97" fmla="*/ 582 h 858"/>
                  <a:gd name="T98" fmla="*/ 1905 w 2140"/>
                  <a:gd name="T99" fmla="*/ 651 h 858"/>
                  <a:gd name="T100" fmla="*/ 1937 w 2140"/>
                  <a:gd name="T101" fmla="*/ 665 h 858"/>
                  <a:gd name="T102" fmla="*/ 1962 w 2140"/>
                  <a:gd name="T103" fmla="*/ 687 h 858"/>
                  <a:gd name="T104" fmla="*/ 1982 w 2140"/>
                  <a:gd name="T105" fmla="*/ 714 h 858"/>
                  <a:gd name="T106" fmla="*/ 1986 w 2140"/>
                  <a:gd name="T107" fmla="*/ 708 h 858"/>
                  <a:gd name="T108" fmla="*/ 2059 w 2140"/>
                  <a:gd name="T109" fmla="*/ 778 h 858"/>
                  <a:gd name="T110" fmla="*/ 2080 w 2140"/>
                  <a:gd name="T111" fmla="*/ 799 h 858"/>
                  <a:gd name="T112" fmla="*/ 2082 w 2140"/>
                  <a:gd name="T113" fmla="*/ 799 h 858"/>
                  <a:gd name="T114" fmla="*/ 2140 w 2140"/>
                  <a:gd name="T115" fmla="*/ 858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40" h="858">
                    <a:moveTo>
                      <a:pt x="0" y="7"/>
                    </a:moveTo>
                    <a:cubicBezTo>
                      <a:pt x="16" y="6"/>
                      <a:pt x="16" y="6"/>
                      <a:pt x="16" y="6"/>
                    </a:cubicBezTo>
                    <a:cubicBezTo>
                      <a:pt x="17" y="6"/>
                      <a:pt x="17" y="6"/>
                      <a:pt x="17" y="6"/>
                    </a:cubicBezTo>
                    <a:cubicBezTo>
                      <a:pt x="16" y="7"/>
                      <a:pt x="16" y="7"/>
                      <a:pt x="16" y="7"/>
                    </a:cubicBezTo>
                    <a:cubicBezTo>
                      <a:pt x="16" y="7"/>
                      <a:pt x="16" y="7"/>
                      <a:pt x="16" y="7"/>
                    </a:cubicBezTo>
                    <a:cubicBezTo>
                      <a:pt x="0" y="7"/>
                      <a:pt x="0" y="7"/>
                      <a:pt x="0" y="7"/>
                    </a:cubicBezTo>
                    <a:moveTo>
                      <a:pt x="48" y="4"/>
                    </a:moveTo>
                    <a:cubicBezTo>
                      <a:pt x="48" y="4"/>
                      <a:pt x="49" y="5"/>
                      <a:pt x="49" y="5"/>
                    </a:cubicBezTo>
                    <a:cubicBezTo>
                      <a:pt x="82" y="4"/>
                      <a:pt x="82" y="4"/>
                      <a:pt x="82" y="4"/>
                    </a:cubicBezTo>
                    <a:cubicBezTo>
                      <a:pt x="82" y="4"/>
                      <a:pt x="82" y="4"/>
                      <a:pt x="82" y="4"/>
                    </a:cubicBezTo>
                    <a:cubicBezTo>
                      <a:pt x="83" y="4"/>
                      <a:pt x="84" y="3"/>
                      <a:pt x="84" y="3"/>
                    </a:cubicBezTo>
                    <a:cubicBezTo>
                      <a:pt x="84" y="2"/>
                      <a:pt x="83" y="1"/>
                      <a:pt x="82" y="1"/>
                    </a:cubicBezTo>
                    <a:cubicBezTo>
                      <a:pt x="49" y="3"/>
                      <a:pt x="49" y="3"/>
                      <a:pt x="49" y="3"/>
                    </a:cubicBezTo>
                    <a:cubicBezTo>
                      <a:pt x="49" y="3"/>
                      <a:pt x="48" y="3"/>
                      <a:pt x="48" y="4"/>
                    </a:cubicBezTo>
                    <a:moveTo>
                      <a:pt x="113" y="3"/>
                    </a:moveTo>
                    <a:cubicBezTo>
                      <a:pt x="113" y="4"/>
                      <a:pt x="114" y="5"/>
                      <a:pt x="115" y="5"/>
                    </a:cubicBezTo>
                    <a:cubicBezTo>
                      <a:pt x="148" y="7"/>
                      <a:pt x="148" y="7"/>
                      <a:pt x="148" y="7"/>
                    </a:cubicBezTo>
                    <a:cubicBezTo>
                      <a:pt x="148" y="7"/>
                      <a:pt x="148" y="7"/>
                      <a:pt x="148" y="7"/>
                    </a:cubicBezTo>
                    <a:cubicBezTo>
                      <a:pt x="149" y="7"/>
                      <a:pt x="151" y="5"/>
                      <a:pt x="150" y="3"/>
                    </a:cubicBezTo>
                    <a:cubicBezTo>
                      <a:pt x="150" y="2"/>
                      <a:pt x="149" y="0"/>
                      <a:pt x="148" y="0"/>
                    </a:cubicBezTo>
                    <a:cubicBezTo>
                      <a:pt x="115" y="1"/>
                      <a:pt x="115" y="1"/>
                      <a:pt x="115" y="1"/>
                    </a:cubicBezTo>
                    <a:cubicBezTo>
                      <a:pt x="114" y="1"/>
                      <a:pt x="113" y="2"/>
                      <a:pt x="113" y="3"/>
                    </a:cubicBezTo>
                    <a:moveTo>
                      <a:pt x="178" y="4"/>
                    </a:moveTo>
                    <a:cubicBezTo>
                      <a:pt x="178" y="5"/>
                      <a:pt x="179" y="7"/>
                      <a:pt x="181" y="7"/>
                    </a:cubicBezTo>
                    <a:cubicBezTo>
                      <a:pt x="214" y="9"/>
                      <a:pt x="214" y="9"/>
                      <a:pt x="214" y="9"/>
                    </a:cubicBezTo>
                    <a:cubicBezTo>
                      <a:pt x="214" y="9"/>
                      <a:pt x="214" y="9"/>
                      <a:pt x="214" y="9"/>
                    </a:cubicBezTo>
                    <a:cubicBezTo>
                      <a:pt x="216" y="9"/>
                      <a:pt x="217" y="7"/>
                      <a:pt x="217" y="5"/>
                    </a:cubicBezTo>
                    <a:cubicBezTo>
                      <a:pt x="217" y="3"/>
                      <a:pt x="216" y="1"/>
                      <a:pt x="214" y="1"/>
                    </a:cubicBezTo>
                    <a:cubicBezTo>
                      <a:pt x="181" y="0"/>
                      <a:pt x="181" y="0"/>
                      <a:pt x="181" y="0"/>
                    </a:cubicBezTo>
                    <a:cubicBezTo>
                      <a:pt x="179" y="0"/>
                      <a:pt x="178" y="2"/>
                      <a:pt x="178" y="4"/>
                    </a:cubicBezTo>
                    <a:moveTo>
                      <a:pt x="243" y="6"/>
                    </a:moveTo>
                    <a:cubicBezTo>
                      <a:pt x="243" y="8"/>
                      <a:pt x="244" y="10"/>
                      <a:pt x="246" y="10"/>
                    </a:cubicBezTo>
                    <a:cubicBezTo>
                      <a:pt x="279" y="12"/>
                      <a:pt x="279" y="12"/>
                      <a:pt x="279" y="12"/>
                    </a:cubicBezTo>
                    <a:cubicBezTo>
                      <a:pt x="279" y="12"/>
                      <a:pt x="279" y="12"/>
                      <a:pt x="279" y="12"/>
                    </a:cubicBezTo>
                    <a:cubicBezTo>
                      <a:pt x="282" y="13"/>
                      <a:pt x="284" y="11"/>
                      <a:pt x="284" y="8"/>
                    </a:cubicBezTo>
                    <a:cubicBezTo>
                      <a:pt x="284" y="6"/>
                      <a:pt x="282" y="4"/>
                      <a:pt x="280" y="4"/>
                    </a:cubicBezTo>
                    <a:cubicBezTo>
                      <a:pt x="247" y="2"/>
                      <a:pt x="247" y="2"/>
                      <a:pt x="247" y="2"/>
                    </a:cubicBezTo>
                    <a:cubicBezTo>
                      <a:pt x="245" y="2"/>
                      <a:pt x="243" y="4"/>
                      <a:pt x="243" y="6"/>
                    </a:cubicBezTo>
                    <a:moveTo>
                      <a:pt x="308" y="10"/>
                    </a:moveTo>
                    <a:cubicBezTo>
                      <a:pt x="307" y="13"/>
                      <a:pt x="309" y="15"/>
                      <a:pt x="312" y="15"/>
                    </a:cubicBezTo>
                    <a:cubicBezTo>
                      <a:pt x="345" y="18"/>
                      <a:pt x="345" y="18"/>
                      <a:pt x="345" y="18"/>
                    </a:cubicBezTo>
                    <a:cubicBezTo>
                      <a:pt x="345" y="18"/>
                      <a:pt x="345" y="18"/>
                      <a:pt x="345" y="18"/>
                    </a:cubicBezTo>
                    <a:cubicBezTo>
                      <a:pt x="348" y="19"/>
                      <a:pt x="350" y="16"/>
                      <a:pt x="350" y="14"/>
                    </a:cubicBezTo>
                    <a:cubicBezTo>
                      <a:pt x="351" y="11"/>
                      <a:pt x="348" y="8"/>
                      <a:pt x="346" y="8"/>
                    </a:cubicBezTo>
                    <a:cubicBezTo>
                      <a:pt x="313" y="6"/>
                      <a:pt x="313" y="6"/>
                      <a:pt x="313" y="6"/>
                    </a:cubicBezTo>
                    <a:cubicBezTo>
                      <a:pt x="310" y="5"/>
                      <a:pt x="308" y="7"/>
                      <a:pt x="308" y="10"/>
                    </a:cubicBezTo>
                    <a:moveTo>
                      <a:pt x="372" y="16"/>
                    </a:moveTo>
                    <a:cubicBezTo>
                      <a:pt x="372" y="19"/>
                      <a:pt x="374" y="22"/>
                      <a:pt x="377" y="22"/>
                    </a:cubicBezTo>
                    <a:cubicBezTo>
                      <a:pt x="410" y="26"/>
                      <a:pt x="410" y="26"/>
                      <a:pt x="410" y="26"/>
                    </a:cubicBezTo>
                    <a:cubicBezTo>
                      <a:pt x="410" y="26"/>
                      <a:pt x="410" y="26"/>
                      <a:pt x="410" y="26"/>
                    </a:cubicBezTo>
                    <a:cubicBezTo>
                      <a:pt x="413" y="26"/>
                      <a:pt x="416" y="24"/>
                      <a:pt x="417" y="20"/>
                    </a:cubicBezTo>
                    <a:cubicBezTo>
                      <a:pt x="417" y="17"/>
                      <a:pt x="414" y="14"/>
                      <a:pt x="411" y="14"/>
                    </a:cubicBezTo>
                    <a:cubicBezTo>
                      <a:pt x="378" y="11"/>
                      <a:pt x="378" y="11"/>
                      <a:pt x="378" y="11"/>
                    </a:cubicBezTo>
                    <a:cubicBezTo>
                      <a:pt x="375" y="11"/>
                      <a:pt x="373" y="13"/>
                      <a:pt x="372" y="16"/>
                    </a:cubicBezTo>
                    <a:moveTo>
                      <a:pt x="437" y="23"/>
                    </a:moveTo>
                    <a:cubicBezTo>
                      <a:pt x="437" y="26"/>
                      <a:pt x="439" y="30"/>
                      <a:pt x="442" y="30"/>
                    </a:cubicBezTo>
                    <a:cubicBezTo>
                      <a:pt x="475" y="35"/>
                      <a:pt x="475" y="35"/>
                      <a:pt x="475" y="35"/>
                    </a:cubicBezTo>
                    <a:cubicBezTo>
                      <a:pt x="475" y="35"/>
                      <a:pt x="475" y="35"/>
                      <a:pt x="475" y="35"/>
                    </a:cubicBezTo>
                    <a:cubicBezTo>
                      <a:pt x="479" y="35"/>
                      <a:pt x="482" y="33"/>
                      <a:pt x="483" y="29"/>
                    </a:cubicBezTo>
                    <a:cubicBezTo>
                      <a:pt x="483" y="25"/>
                      <a:pt x="480" y="22"/>
                      <a:pt x="477" y="22"/>
                    </a:cubicBezTo>
                    <a:cubicBezTo>
                      <a:pt x="444" y="18"/>
                      <a:pt x="444" y="18"/>
                      <a:pt x="444" y="18"/>
                    </a:cubicBezTo>
                    <a:cubicBezTo>
                      <a:pt x="441" y="17"/>
                      <a:pt x="438" y="20"/>
                      <a:pt x="437" y="23"/>
                    </a:cubicBezTo>
                    <a:moveTo>
                      <a:pt x="502" y="32"/>
                    </a:moveTo>
                    <a:cubicBezTo>
                      <a:pt x="501" y="35"/>
                      <a:pt x="504" y="39"/>
                      <a:pt x="507" y="40"/>
                    </a:cubicBezTo>
                    <a:cubicBezTo>
                      <a:pt x="540" y="45"/>
                      <a:pt x="540" y="45"/>
                      <a:pt x="540" y="45"/>
                    </a:cubicBezTo>
                    <a:cubicBezTo>
                      <a:pt x="540" y="45"/>
                      <a:pt x="540" y="45"/>
                      <a:pt x="540" y="45"/>
                    </a:cubicBezTo>
                    <a:cubicBezTo>
                      <a:pt x="544" y="45"/>
                      <a:pt x="548" y="43"/>
                      <a:pt x="548" y="39"/>
                    </a:cubicBezTo>
                    <a:cubicBezTo>
                      <a:pt x="549" y="35"/>
                      <a:pt x="546" y="31"/>
                      <a:pt x="542" y="31"/>
                    </a:cubicBezTo>
                    <a:cubicBezTo>
                      <a:pt x="510" y="26"/>
                      <a:pt x="510" y="26"/>
                      <a:pt x="510" y="26"/>
                    </a:cubicBezTo>
                    <a:cubicBezTo>
                      <a:pt x="506" y="26"/>
                      <a:pt x="502" y="28"/>
                      <a:pt x="502" y="32"/>
                    </a:cubicBezTo>
                    <a:moveTo>
                      <a:pt x="566" y="42"/>
                    </a:moveTo>
                    <a:cubicBezTo>
                      <a:pt x="566" y="46"/>
                      <a:pt x="568" y="50"/>
                      <a:pt x="572" y="50"/>
                    </a:cubicBezTo>
                    <a:cubicBezTo>
                      <a:pt x="605" y="56"/>
                      <a:pt x="605" y="56"/>
                      <a:pt x="605" y="56"/>
                    </a:cubicBezTo>
                    <a:cubicBezTo>
                      <a:pt x="605" y="56"/>
                      <a:pt x="605" y="56"/>
                      <a:pt x="605" y="56"/>
                    </a:cubicBezTo>
                    <a:cubicBezTo>
                      <a:pt x="609" y="57"/>
                      <a:pt x="613" y="54"/>
                      <a:pt x="613" y="50"/>
                    </a:cubicBezTo>
                    <a:cubicBezTo>
                      <a:pt x="614" y="46"/>
                      <a:pt x="611" y="42"/>
                      <a:pt x="607" y="42"/>
                    </a:cubicBezTo>
                    <a:cubicBezTo>
                      <a:pt x="575" y="36"/>
                      <a:pt x="575" y="36"/>
                      <a:pt x="575" y="36"/>
                    </a:cubicBezTo>
                    <a:cubicBezTo>
                      <a:pt x="571" y="35"/>
                      <a:pt x="567" y="38"/>
                      <a:pt x="566" y="42"/>
                    </a:cubicBezTo>
                    <a:moveTo>
                      <a:pt x="631" y="54"/>
                    </a:moveTo>
                    <a:cubicBezTo>
                      <a:pt x="630" y="58"/>
                      <a:pt x="633" y="62"/>
                      <a:pt x="637" y="63"/>
                    </a:cubicBezTo>
                    <a:cubicBezTo>
                      <a:pt x="669" y="70"/>
                      <a:pt x="669" y="70"/>
                      <a:pt x="669" y="70"/>
                    </a:cubicBezTo>
                    <a:cubicBezTo>
                      <a:pt x="669" y="70"/>
                      <a:pt x="669" y="70"/>
                      <a:pt x="669" y="70"/>
                    </a:cubicBezTo>
                    <a:cubicBezTo>
                      <a:pt x="673" y="70"/>
                      <a:pt x="678" y="68"/>
                      <a:pt x="678" y="63"/>
                    </a:cubicBezTo>
                    <a:cubicBezTo>
                      <a:pt x="679" y="59"/>
                      <a:pt x="676" y="55"/>
                      <a:pt x="672" y="54"/>
                    </a:cubicBezTo>
                    <a:cubicBezTo>
                      <a:pt x="640" y="48"/>
                      <a:pt x="640" y="48"/>
                      <a:pt x="640" y="48"/>
                    </a:cubicBezTo>
                    <a:cubicBezTo>
                      <a:pt x="636" y="47"/>
                      <a:pt x="632" y="49"/>
                      <a:pt x="631" y="54"/>
                    </a:cubicBezTo>
                    <a:moveTo>
                      <a:pt x="695" y="67"/>
                    </a:moveTo>
                    <a:cubicBezTo>
                      <a:pt x="694" y="71"/>
                      <a:pt x="697" y="76"/>
                      <a:pt x="701" y="77"/>
                    </a:cubicBezTo>
                    <a:cubicBezTo>
                      <a:pt x="733" y="84"/>
                      <a:pt x="733" y="84"/>
                      <a:pt x="733" y="84"/>
                    </a:cubicBezTo>
                    <a:cubicBezTo>
                      <a:pt x="733" y="84"/>
                      <a:pt x="733" y="84"/>
                      <a:pt x="733" y="84"/>
                    </a:cubicBezTo>
                    <a:cubicBezTo>
                      <a:pt x="738" y="85"/>
                      <a:pt x="742" y="82"/>
                      <a:pt x="743" y="78"/>
                    </a:cubicBezTo>
                    <a:cubicBezTo>
                      <a:pt x="744" y="73"/>
                      <a:pt x="741" y="69"/>
                      <a:pt x="737" y="68"/>
                    </a:cubicBezTo>
                    <a:cubicBezTo>
                      <a:pt x="705" y="61"/>
                      <a:pt x="705" y="61"/>
                      <a:pt x="705" y="61"/>
                    </a:cubicBezTo>
                    <a:cubicBezTo>
                      <a:pt x="700" y="60"/>
                      <a:pt x="696" y="62"/>
                      <a:pt x="695" y="67"/>
                    </a:cubicBezTo>
                    <a:moveTo>
                      <a:pt x="759" y="81"/>
                    </a:moveTo>
                    <a:cubicBezTo>
                      <a:pt x="758" y="86"/>
                      <a:pt x="760" y="90"/>
                      <a:pt x="765" y="92"/>
                    </a:cubicBezTo>
                    <a:cubicBezTo>
                      <a:pt x="797" y="100"/>
                      <a:pt x="797" y="100"/>
                      <a:pt x="797" y="100"/>
                    </a:cubicBezTo>
                    <a:cubicBezTo>
                      <a:pt x="797" y="100"/>
                      <a:pt x="797" y="100"/>
                      <a:pt x="797" y="100"/>
                    </a:cubicBezTo>
                    <a:cubicBezTo>
                      <a:pt x="801" y="101"/>
                      <a:pt x="806" y="98"/>
                      <a:pt x="807" y="93"/>
                    </a:cubicBezTo>
                    <a:cubicBezTo>
                      <a:pt x="808" y="89"/>
                      <a:pt x="806" y="84"/>
                      <a:pt x="801" y="83"/>
                    </a:cubicBezTo>
                    <a:cubicBezTo>
                      <a:pt x="769" y="75"/>
                      <a:pt x="769" y="75"/>
                      <a:pt x="769" y="75"/>
                    </a:cubicBezTo>
                    <a:cubicBezTo>
                      <a:pt x="764" y="74"/>
                      <a:pt x="760" y="77"/>
                      <a:pt x="759" y="81"/>
                    </a:cubicBezTo>
                    <a:moveTo>
                      <a:pt x="822" y="97"/>
                    </a:moveTo>
                    <a:cubicBezTo>
                      <a:pt x="821" y="102"/>
                      <a:pt x="824" y="107"/>
                      <a:pt x="828" y="108"/>
                    </a:cubicBezTo>
                    <a:cubicBezTo>
                      <a:pt x="860" y="117"/>
                      <a:pt x="860" y="117"/>
                      <a:pt x="860" y="117"/>
                    </a:cubicBezTo>
                    <a:cubicBezTo>
                      <a:pt x="860" y="117"/>
                      <a:pt x="860" y="117"/>
                      <a:pt x="860" y="117"/>
                    </a:cubicBezTo>
                    <a:cubicBezTo>
                      <a:pt x="865" y="118"/>
                      <a:pt x="870" y="115"/>
                      <a:pt x="871" y="110"/>
                    </a:cubicBezTo>
                    <a:cubicBezTo>
                      <a:pt x="872" y="106"/>
                      <a:pt x="870" y="101"/>
                      <a:pt x="865" y="100"/>
                    </a:cubicBezTo>
                    <a:cubicBezTo>
                      <a:pt x="833" y="91"/>
                      <a:pt x="833" y="91"/>
                      <a:pt x="833" y="91"/>
                    </a:cubicBezTo>
                    <a:cubicBezTo>
                      <a:pt x="828" y="90"/>
                      <a:pt x="824" y="93"/>
                      <a:pt x="822" y="97"/>
                    </a:cubicBezTo>
                    <a:moveTo>
                      <a:pt x="885" y="115"/>
                    </a:moveTo>
                    <a:cubicBezTo>
                      <a:pt x="884" y="119"/>
                      <a:pt x="887" y="124"/>
                      <a:pt x="892" y="126"/>
                    </a:cubicBezTo>
                    <a:cubicBezTo>
                      <a:pt x="923" y="135"/>
                      <a:pt x="923" y="135"/>
                      <a:pt x="923" y="135"/>
                    </a:cubicBezTo>
                    <a:cubicBezTo>
                      <a:pt x="923" y="135"/>
                      <a:pt x="923" y="135"/>
                      <a:pt x="923" y="135"/>
                    </a:cubicBezTo>
                    <a:cubicBezTo>
                      <a:pt x="928" y="137"/>
                      <a:pt x="933" y="134"/>
                      <a:pt x="935" y="129"/>
                    </a:cubicBezTo>
                    <a:cubicBezTo>
                      <a:pt x="936" y="124"/>
                      <a:pt x="933" y="119"/>
                      <a:pt x="928" y="118"/>
                    </a:cubicBezTo>
                    <a:cubicBezTo>
                      <a:pt x="897" y="108"/>
                      <a:pt x="897" y="108"/>
                      <a:pt x="897" y="108"/>
                    </a:cubicBezTo>
                    <a:cubicBezTo>
                      <a:pt x="892" y="107"/>
                      <a:pt x="887" y="110"/>
                      <a:pt x="885" y="115"/>
                    </a:cubicBezTo>
                    <a:moveTo>
                      <a:pt x="948" y="133"/>
                    </a:moveTo>
                    <a:cubicBezTo>
                      <a:pt x="947" y="138"/>
                      <a:pt x="949" y="143"/>
                      <a:pt x="954" y="145"/>
                    </a:cubicBezTo>
                    <a:cubicBezTo>
                      <a:pt x="986" y="155"/>
                      <a:pt x="986" y="155"/>
                      <a:pt x="986" y="155"/>
                    </a:cubicBezTo>
                    <a:cubicBezTo>
                      <a:pt x="986" y="155"/>
                      <a:pt x="986" y="155"/>
                      <a:pt x="986" y="155"/>
                    </a:cubicBezTo>
                    <a:cubicBezTo>
                      <a:pt x="991" y="157"/>
                      <a:pt x="996" y="154"/>
                      <a:pt x="997" y="149"/>
                    </a:cubicBezTo>
                    <a:cubicBezTo>
                      <a:pt x="999" y="144"/>
                      <a:pt x="996" y="139"/>
                      <a:pt x="991" y="137"/>
                    </a:cubicBezTo>
                    <a:cubicBezTo>
                      <a:pt x="960" y="127"/>
                      <a:pt x="960" y="127"/>
                      <a:pt x="960" y="127"/>
                    </a:cubicBezTo>
                    <a:cubicBezTo>
                      <a:pt x="955" y="126"/>
                      <a:pt x="950" y="129"/>
                      <a:pt x="948" y="133"/>
                    </a:cubicBezTo>
                    <a:moveTo>
                      <a:pt x="1011" y="154"/>
                    </a:moveTo>
                    <a:cubicBezTo>
                      <a:pt x="1009" y="158"/>
                      <a:pt x="1012" y="164"/>
                      <a:pt x="1017" y="165"/>
                    </a:cubicBezTo>
                    <a:cubicBezTo>
                      <a:pt x="1048" y="176"/>
                      <a:pt x="1048" y="176"/>
                      <a:pt x="1048" y="176"/>
                    </a:cubicBezTo>
                    <a:cubicBezTo>
                      <a:pt x="1048" y="176"/>
                      <a:pt x="1048" y="176"/>
                      <a:pt x="1048" y="176"/>
                    </a:cubicBezTo>
                    <a:cubicBezTo>
                      <a:pt x="1053" y="178"/>
                      <a:pt x="1058" y="175"/>
                      <a:pt x="1060" y="171"/>
                    </a:cubicBezTo>
                    <a:cubicBezTo>
                      <a:pt x="1061" y="166"/>
                      <a:pt x="1059" y="160"/>
                      <a:pt x="1054" y="159"/>
                    </a:cubicBezTo>
                    <a:cubicBezTo>
                      <a:pt x="1023" y="148"/>
                      <a:pt x="1023" y="148"/>
                      <a:pt x="1023" y="148"/>
                    </a:cubicBezTo>
                    <a:cubicBezTo>
                      <a:pt x="1018" y="146"/>
                      <a:pt x="1013" y="149"/>
                      <a:pt x="1011" y="154"/>
                    </a:cubicBezTo>
                    <a:moveTo>
                      <a:pt x="1073" y="175"/>
                    </a:moveTo>
                    <a:cubicBezTo>
                      <a:pt x="1071" y="180"/>
                      <a:pt x="1074" y="186"/>
                      <a:pt x="1079" y="187"/>
                    </a:cubicBezTo>
                    <a:cubicBezTo>
                      <a:pt x="1109" y="199"/>
                      <a:pt x="1109" y="199"/>
                      <a:pt x="1109" y="199"/>
                    </a:cubicBezTo>
                    <a:cubicBezTo>
                      <a:pt x="1109" y="199"/>
                      <a:pt x="1109" y="199"/>
                      <a:pt x="1109" y="199"/>
                    </a:cubicBezTo>
                    <a:cubicBezTo>
                      <a:pt x="1114" y="201"/>
                      <a:pt x="1120" y="198"/>
                      <a:pt x="1122" y="193"/>
                    </a:cubicBezTo>
                    <a:cubicBezTo>
                      <a:pt x="1123" y="188"/>
                      <a:pt x="1121" y="183"/>
                      <a:pt x="1116" y="181"/>
                    </a:cubicBezTo>
                    <a:cubicBezTo>
                      <a:pt x="1085" y="170"/>
                      <a:pt x="1085" y="170"/>
                      <a:pt x="1085" y="170"/>
                    </a:cubicBezTo>
                    <a:cubicBezTo>
                      <a:pt x="1080" y="168"/>
                      <a:pt x="1075" y="170"/>
                      <a:pt x="1073" y="175"/>
                    </a:cubicBezTo>
                    <a:moveTo>
                      <a:pt x="1135" y="198"/>
                    </a:moveTo>
                    <a:cubicBezTo>
                      <a:pt x="1133" y="203"/>
                      <a:pt x="1135" y="208"/>
                      <a:pt x="1140" y="210"/>
                    </a:cubicBezTo>
                    <a:cubicBezTo>
                      <a:pt x="1170" y="222"/>
                      <a:pt x="1170" y="222"/>
                      <a:pt x="1170" y="222"/>
                    </a:cubicBezTo>
                    <a:cubicBezTo>
                      <a:pt x="1171" y="222"/>
                      <a:pt x="1171" y="222"/>
                      <a:pt x="1171" y="222"/>
                    </a:cubicBezTo>
                    <a:cubicBezTo>
                      <a:pt x="1175" y="225"/>
                      <a:pt x="1181" y="222"/>
                      <a:pt x="1183" y="217"/>
                    </a:cubicBezTo>
                    <a:cubicBezTo>
                      <a:pt x="1185" y="212"/>
                      <a:pt x="1182" y="207"/>
                      <a:pt x="1178" y="205"/>
                    </a:cubicBezTo>
                    <a:cubicBezTo>
                      <a:pt x="1147" y="193"/>
                      <a:pt x="1147" y="193"/>
                      <a:pt x="1147" y="193"/>
                    </a:cubicBezTo>
                    <a:cubicBezTo>
                      <a:pt x="1142" y="191"/>
                      <a:pt x="1137" y="193"/>
                      <a:pt x="1135" y="198"/>
                    </a:cubicBezTo>
                    <a:moveTo>
                      <a:pt x="1208" y="218"/>
                    </a:moveTo>
                    <a:cubicBezTo>
                      <a:pt x="1203" y="216"/>
                      <a:pt x="1198" y="218"/>
                      <a:pt x="1196" y="223"/>
                    </a:cubicBezTo>
                    <a:cubicBezTo>
                      <a:pt x="1194" y="228"/>
                      <a:pt x="1196" y="233"/>
                      <a:pt x="1201" y="235"/>
                    </a:cubicBezTo>
                    <a:cubicBezTo>
                      <a:pt x="1231" y="248"/>
                      <a:pt x="1231" y="248"/>
                      <a:pt x="1231" y="248"/>
                    </a:cubicBezTo>
                    <a:cubicBezTo>
                      <a:pt x="1236" y="250"/>
                      <a:pt x="1241" y="248"/>
                      <a:pt x="1243" y="243"/>
                    </a:cubicBezTo>
                    <a:cubicBezTo>
                      <a:pt x="1245" y="238"/>
                      <a:pt x="1243" y="233"/>
                      <a:pt x="1238" y="231"/>
                    </a:cubicBezTo>
                    <a:cubicBezTo>
                      <a:pt x="1208" y="218"/>
                      <a:pt x="1208" y="218"/>
                      <a:pt x="1208" y="218"/>
                    </a:cubicBezTo>
                    <a:cubicBezTo>
                      <a:pt x="1208" y="218"/>
                      <a:pt x="1208" y="218"/>
                      <a:pt x="1208" y="218"/>
                    </a:cubicBezTo>
                    <a:moveTo>
                      <a:pt x="1269" y="244"/>
                    </a:moveTo>
                    <a:cubicBezTo>
                      <a:pt x="1264" y="242"/>
                      <a:pt x="1258" y="244"/>
                      <a:pt x="1256" y="249"/>
                    </a:cubicBezTo>
                    <a:cubicBezTo>
                      <a:pt x="1254" y="253"/>
                      <a:pt x="1256" y="259"/>
                      <a:pt x="1261" y="261"/>
                    </a:cubicBezTo>
                    <a:cubicBezTo>
                      <a:pt x="1291" y="275"/>
                      <a:pt x="1291" y="275"/>
                      <a:pt x="1291" y="275"/>
                    </a:cubicBezTo>
                    <a:cubicBezTo>
                      <a:pt x="1296" y="277"/>
                      <a:pt x="1301" y="275"/>
                      <a:pt x="1303" y="270"/>
                    </a:cubicBezTo>
                    <a:cubicBezTo>
                      <a:pt x="1306" y="265"/>
                      <a:pt x="1303" y="260"/>
                      <a:pt x="1299" y="258"/>
                    </a:cubicBezTo>
                    <a:cubicBezTo>
                      <a:pt x="1269" y="244"/>
                      <a:pt x="1269" y="244"/>
                      <a:pt x="1269" y="244"/>
                    </a:cubicBezTo>
                    <a:cubicBezTo>
                      <a:pt x="1269" y="244"/>
                      <a:pt x="1269" y="244"/>
                      <a:pt x="1269" y="244"/>
                    </a:cubicBezTo>
                    <a:moveTo>
                      <a:pt x="1329" y="272"/>
                    </a:moveTo>
                    <a:cubicBezTo>
                      <a:pt x="1324" y="269"/>
                      <a:pt x="1319" y="271"/>
                      <a:pt x="1316" y="276"/>
                    </a:cubicBezTo>
                    <a:cubicBezTo>
                      <a:pt x="1314" y="281"/>
                      <a:pt x="1316" y="286"/>
                      <a:pt x="1321" y="288"/>
                    </a:cubicBezTo>
                    <a:cubicBezTo>
                      <a:pt x="1350" y="302"/>
                      <a:pt x="1350" y="302"/>
                      <a:pt x="1350" y="302"/>
                    </a:cubicBezTo>
                    <a:cubicBezTo>
                      <a:pt x="1355" y="305"/>
                      <a:pt x="1361" y="303"/>
                      <a:pt x="1363" y="298"/>
                    </a:cubicBezTo>
                    <a:cubicBezTo>
                      <a:pt x="1365" y="294"/>
                      <a:pt x="1363" y="288"/>
                      <a:pt x="1358" y="286"/>
                    </a:cubicBezTo>
                    <a:cubicBezTo>
                      <a:pt x="1329" y="272"/>
                      <a:pt x="1329" y="272"/>
                      <a:pt x="1329" y="272"/>
                    </a:cubicBezTo>
                    <a:cubicBezTo>
                      <a:pt x="1329" y="272"/>
                      <a:pt x="1329" y="272"/>
                      <a:pt x="1329" y="272"/>
                    </a:cubicBezTo>
                    <a:moveTo>
                      <a:pt x="1388" y="301"/>
                    </a:moveTo>
                    <a:cubicBezTo>
                      <a:pt x="1384" y="298"/>
                      <a:pt x="1378" y="300"/>
                      <a:pt x="1376" y="305"/>
                    </a:cubicBezTo>
                    <a:cubicBezTo>
                      <a:pt x="1374" y="309"/>
                      <a:pt x="1375" y="315"/>
                      <a:pt x="1380" y="317"/>
                    </a:cubicBezTo>
                    <a:cubicBezTo>
                      <a:pt x="1409" y="332"/>
                      <a:pt x="1409" y="332"/>
                      <a:pt x="1409" y="332"/>
                    </a:cubicBezTo>
                    <a:cubicBezTo>
                      <a:pt x="1414" y="334"/>
                      <a:pt x="1419" y="332"/>
                      <a:pt x="1421" y="328"/>
                    </a:cubicBezTo>
                    <a:cubicBezTo>
                      <a:pt x="1424" y="323"/>
                      <a:pt x="1422" y="318"/>
                      <a:pt x="1417" y="316"/>
                    </a:cubicBezTo>
                    <a:cubicBezTo>
                      <a:pt x="1388" y="301"/>
                      <a:pt x="1388" y="301"/>
                      <a:pt x="1388" y="301"/>
                    </a:cubicBezTo>
                    <a:cubicBezTo>
                      <a:pt x="1388" y="301"/>
                      <a:pt x="1388" y="301"/>
                      <a:pt x="1388" y="301"/>
                    </a:cubicBezTo>
                    <a:moveTo>
                      <a:pt x="1447" y="331"/>
                    </a:moveTo>
                    <a:cubicBezTo>
                      <a:pt x="1442" y="329"/>
                      <a:pt x="1437" y="330"/>
                      <a:pt x="1435" y="335"/>
                    </a:cubicBezTo>
                    <a:cubicBezTo>
                      <a:pt x="1432" y="339"/>
                      <a:pt x="1434" y="344"/>
                      <a:pt x="1438" y="347"/>
                    </a:cubicBezTo>
                    <a:cubicBezTo>
                      <a:pt x="1467" y="362"/>
                      <a:pt x="1467" y="362"/>
                      <a:pt x="1467" y="362"/>
                    </a:cubicBezTo>
                    <a:cubicBezTo>
                      <a:pt x="1472" y="364"/>
                      <a:pt x="1477" y="363"/>
                      <a:pt x="1479" y="359"/>
                    </a:cubicBezTo>
                    <a:cubicBezTo>
                      <a:pt x="1482" y="354"/>
                      <a:pt x="1480" y="349"/>
                      <a:pt x="1476" y="347"/>
                    </a:cubicBezTo>
                    <a:cubicBezTo>
                      <a:pt x="1447" y="331"/>
                      <a:pt x="1447" y="331"/>
                      <a:pt x="1447" y="331"/>
                    </a:cubicBezTo>
                    <a:cubicBezTo>
                      <a:pt x="1447" y="331"/>
                      <a:pt x="1447" y="331"/>
                      <a:pt x="1447" y="331"/>
                    </a:cubicBezTo>
                    <a:moveTo>
                      <a:pt x="1505" y="363"/>
                    </a:moveTo>
                    <a:cubicBezTo>
                      <a:pt x="1500" y="360"/>
                      <a:pt x="1495" y="362"/>
                      <a:pt x="1493" y="366"/>
                    </a:cubicBezTo>
                    <a:cubicBezTo>
                      <a:pt x="1490" y="370"/>
                      <a:pt x="1492" y="376"/>
                      <a:pt x="1496" y="378"/>
                    </a:cubicBezTo>
                    <a:cubicBezTo>
                      <a:pt x="1525" y="394"/>
                      <a:pt x="1525" y="394"/>
                      <a:pt x="1525" y="394"/>
                    </a:cubicBezTo>
                    <a:cubicBezTo>
                      <a:pt x="1529" y="396"/>
                      <a:pt x="1534" y="395"/>
                      <a:pt x="1536" y="391"/>
                    </a:cubicBezTo>
                    <a:cubicBezTo>
                      <a:pt x="1539" y="387"/>
                      <a:pt x="1537" y="382"/>
                      <a:pt x="1533" y="379"/>
                    </a:cubicBezTo>
                    <a:cubicBezTo>
                      <a:pt x="1505" y="363"/>
                      <a:pt x="1505" y="363"/>
                      <a:pt x="1505" y="363"/>
                    </a:cubicBezTo>
                    <a:cubicBezTo>
                      <a:pt x="1505" y="363"/>
                      <a:pt x="1505" y="363"/>
                      <a:pt x="1505" y="363"/>
                    </a:cubicBezTo>
                    <a:moveTo>
                      <a:pt x="1562" y="396"/>
                    </a:moveTo>
                    <a:cubicBezTo>
                      <a:pt x="1558" y="394"/>
                      <a:pt x="1553" y="395"/>
                      <a:pt x="1550" y="399"/>
                    </a:cubicBezTo>
                    <a:cubicBezTo>
                      <a:pt x="1548" y="403"/>
                      <a:pt x="1549" y="408"/>
                      <a:pt x="1553" y="410"/>
                    </a:cubicBezTo>
                    <a:cubicBezTo>
                      <a:pt x="1582" y="427"/>
                      <a:pt x="1582" y="427"/>
                      <a:pt x="1582" y="427"/>
                    </a:cubicBezTo>
                    <a:cubicBezTo>
                      <a:pt x="1585" y="429"/>
                      <a:pt x="1590" y="428"/>
                      <a:pt x="1593" y="424"/>
                    </a:cubicBezTo>
                    <a:cubicBezTo>
                      <a:pt x="1595" y="420"/>
                      <a:pt x="1594" y="415"/>
                      <a:pt x="1590" y="413"/>
                    </a:cubicBezTo>
                    <a:cubicBezTo>
                      <a:pt x="1562" y="396"/>
                      <a:pt x="1562" y="396"/>
                      <a:pt x="1562" y="396"/>
                    </a:cubicBezTo>
                    <a:cubicBezTo>
                      <a:pt x="1562" y="396"/>
                      <a:pt x="1562" y="396"/>
                      <a:pt x="1562" y="396"/>
                    </a:cubicBezTo>
                    <a:moveTo>
                      <a:pt x="1618" y="430"/>
                    </a:moveTo>
                    <a:cubicBezTo>
                      <a:pt x="1614" y="428"/>
                      <a:pt x="1609" y="429"/>
                      <a:pt x="1607" y="433"/>
                    </a:cubicBezTo>
                    <a:cubicBezTo>
                      <a:pt x="1605" y="437"/>
                      <a:pt x="1606" y="442"/>
                      <a:pt x="1609" y="444"/>
                    </a:cubicBezTo>
                    <a:cubicBezTo>
                      <a:pt x="1637" y="461"/>
                      <a:pt x="1637" y="461"/>
                      <a:pt x="1637" y="461"/>
                    </a:cubicBezTo>
                    <a:cubicBezTo>
                      <a:pt x="1641" y="464"/>
                      <a:pt x="1646" y="463"/>
                      <a:pt x="1648" y="459"/>
                    </a:cubicBezTo>
                    <a:cubicBezTo>
                      <a:pt x="1650" y="455"/>
                      <a:pt x="1649" y="451"/>
                      <a:pt x="1646" y="448"/>
                    </a:cubicBezTo>
                    <a:cubicBezTo>
                      <a:pt x="1618" y="430"/>
                      <a:pt x="1618" y="430"/>
                      <a:pt x="1618" y="430"/>
                    </a:cubicBezTo>
                    <a:cubicBezTo>
                      <a:pt x="1618" y="430"/>
                      <a:pt x="1618" y="430"/>
                      <a:pt x="1618" y="430"/>
                    </a:cubicBezTo>
                    <a:moveTo>
                      <a:pt x="1673" y="466"/>
                    </a:moveTo>
                    <a:cubicBezTo>
                      <a:pt x="1670" y="464"/>
                      <a:pt x="1665" y="465"/>
                      <a:pt x="1663" y="469"/>
                    </a:cubicBezTo>
                    <a:cubicBezTo>
                      <a:pt x="1661" y="472"/>
                      <a:pt x="1662" y="477"/>
                      <a:pt x="1665" y="479"/>
                    </a:cubicBezTo>
                    <a:cubicBezTo>
                      <a:pt x="1693" y="497"/>
                      <a:pt x="1693" y="497"/>
                      <a:pt x="1693" y="497"/>
                    </a:cubicBezTo>
                    <a:cubicBezTo>
                      <a:pt x="1696" y="499"/>
                      <a:pt x="1701" y="498"/>
                      <a:pt x="1703" y="495"/>
                    </a:cubicBezTo>
                    <a:cubicBezTo>
                      <a:pt x="1705" y="492"/>
                      <a:pt x="1704" y="487"/>
                      <a:pt x="1701" y="485"/>
                    </a:cubicBezTo>
                    <a:cubicBezTo>
                      <a:pt x="1673" y="466"/>
                      <a:pt x="1673" y="466"/>
                      <a:pt x="1673" y="466"/>
                    </a:cubicBezTo>
                    <a:cubicBezTo>
                      <a:pt x="1673" y="466"/>
                      <a:pt x="1673" y="466"/>
                      <a:pt x="1673" y="466"/>
                    </a:cubicBezTo>
                    <a:moveTo>
                      <a:pt x="1728" y="504"/>
                    </a:moveTo>
                    <a:cubicBezTo>
                      <a:pt x="1725" y="501"/>
                      <a:pt x="1720" y="502"/>
                      <a:pt x="1718" y="505"/>
                    </a:cubicBezTo>
                    <a:cubicBezTo>
                      <a:pt x="1716" y="509"/>
                      <a:pt x="1717" y="513"/>
                      <a:pt x="1720" y="515"/>
                    </a:cubicBezTo>
                    <a:cubicBezTo>
                      <a:pt x="1747" y="534"/>
                      <a:pt x="1747" y="534"/>
                      <a:pt x="1747" y="534"/>
                    </a:cubicBezTo>
                    <a:cubicBezTo>
                      <a:pt x="1750" y="536"/>
                      <a:pt x="1754" y="535"/>
                      <a:pt x="1757" y="532"/>
                    </a:cubicBezTo>
                    <a:cubicBezTo>
                      <a:pt x="1759" y="529"/>
                      <a:pt x="1758" y="525"/>
                      <a:pt x="1755" y="523"/>
                    </a:cubicBezTo>
                    <a:cubicBezTo>
                      <a:pt x="1728" y="504"/>
                      <a:pt x="1728" y="504"/>
                      <a:pt x="1728" y="504"/>
                    </a:cubicBezTo>
                    <a:cubicBezTo>
                      <a:pt x="1728" y="504"/>
                      <a:pt x="1728" y="504"/>
                      <a:pt x="1728" y="504"/>
                    </a:cubicBezTo>
                    <a:moveTo>
                      <a:pt x="1782" y="542"/>
                    </a:moveTo>
                    <a:cubicBezTo>
                      <a:pt x="1779" y="540"/>
                      <a:pt x="1774" y="540"/>
                      <a:pt x="1772" y="543"/>
                    </a:cubicBezTo>
                    <a:cubicBezTo>
                      <a:pt x="1770" y="546"/>
                      <a:pt x="1771" y="551"/>
                      <a:pt x="1774" y="553"/>
                    </a:cubicBezTo>
                    <a:cubicBezTo>
                      <a:pt x="1801" y="572"/>
                      <a:pt x="1801" y="572"/>
                      <a:pt x="1801" y="572"/>
                    </a:cubicBezTo>
                    <a:cubicBezTo>
                      <a:pt x="1803" y="574"/>
                      <a:pt x="1807" y="573"/>
                      <a:pt x="1809" y="570"/>
                    </a:cubicBezTo>
                    <a:cubicBezTo>
                      <a:pt x="1811" y="568"/>
                      <a:pt x="1811" y="564"/>
                      <a:pt x="1808" y="562"/>
                    </a:cubicBezTo>
                    <a:cubicBezTo>
                      <a:pt x="1782" y="542"/>
                      <a:pt x="1782" y="542"/>
                      <a:pt x="1782" y="542"/>
                    </a:cubicBezTo>
                    <a:cubicBezTo>
                      <a:pt x="1782" y="542"/>
                      <a:pt x="1782" y="542"/>
                      <a:pt x="1782" y="542"/>
                    </a:cubicBezTo>
                    <a:moveTo>
                      <a:pt x="1834" y="582"/>
                    </a:moveTo>
                    <a:cubicBezTo>
                      <a:pt x="1832" y="580"/>
                      <a:pt x="1828" y="580"/>
                      <a:pt x="1826" y="583"/>
                    </a:cubicBezTo>
                    <a:cubicBezTo>
                      <a:pt x="1824" y="585"/>
                      <a:pt x="1825" y="589"/>
                      <a:pt x="1827" y="591"/>
                    </a:cubicBezTo>
                    <a:cubicBezTo>
                      <a:pt x="1853" y="611"/>
                      <a:pt x="1853" y="611"/>
                      <a:pt x="1853" y="611"/>
                    </a:cubicBezTo>
                    <a:cubicBezTo>
                      <a:pt x="1856" y="613"/>
                      <a:pt x="1859" y="612"/>
                      <a:pt x="1861" y="610"/>
                    </a:cubicBezTo>
                    <a:cubicBezTo>
                      <a:pt x="1863" y="607"/>
                      <a:pt x="1863" y="604"/>
                      <a:pt x="1860" y="602"/>
                    </a:cubicBezTo>
                    <a:cubicBezTo>
                      <a:pt x="1834" y="582"/>
                      <a:pt x="1834" y="582"/>
                      <a:pt x="1834" y="582"/>
                    </a:cubicBezTo>
                    <a:cubicBezTo>
                      <a:pt x="1834" y="582"/>
                      <a:pt x="1834" y="582"/>
                      <a:pt x="1834" y="582"/>
                    </a:cubicBezTo>
                    <a:moveTo>
                      <a:pt x="1886" y="623"/>
                    </a:moveTo>
                    <a:cubicBezTo>
                      <a:pt x="1884" y="621"/>
                      <a:pt x="1880" y="621"/>
                      <a:pt x="1879" y="624"/>
                    </a:cubicBezTo>
                    <a:cubicBezTo>
                      <a:pt x="1877" y="626"/>
                      <a:pt x="1877" y="629"/>
                      <a:pt x="1879" y="631"/>
                    </a:cubicBezTo>
                    <a:cubicBezTo>
                      <a:pt x="1905" y="651"/>
                      <a:pt x="1905" y="651"/>
                      <a:pt x="1905" y="651"/>
                    </a:cubicBezTo>
                    <a:cubicBezTo>
                      <a:pt x="1907" y="653"/>
                      <a:pt x="1910" y="653"/>
                      <a:pt x="1912" y="651"/>
                    </a:cubicBezTo>
                    <a:cubicBezTo>
                      <a:pt x="1914" y="648"/>
                      <a:pt x="1914" y="645"/>
                      <a:pt x="1911" y="644"/>
                    </a:cubicBezTo>
                    <a:cubicBezTo>
                      <a:pt x="1886" y="623"/>
                      <a:pt x="1886" y="623"/>
                      <a:pt x="1886" y="623"/>
                    </a:cubicBezTo>
                    <a:cubicBezTo>
                      <a:pt x="1886" y="623"/>
                      <a:pt x="1886" y="623"/>
                      <a:pt x="1886" y="623"/>
                    </a:cubicBezTo>
                    <a:moveTo>
                      <a:pt x="1937" y="665"/>
                    </a:moveTo>
                    <a:cubicBezTo>
                      <a:pt x="1935" y="663"/>
                      <a:pt x="1932" y="664"/>
                      <a:pt x="1930" y="666"/>
                    </a:cubicBezTo>
                    <a:cubicBezTo>
                      <a:pt x="1929" y="667"/>
                      <a:pt x="1929" y="670"/>
                      <a:pt x="1931" y="672"/>
                    </a:cubicBezTo>
                    <a:cubicBezTo>
                      <a:pt x="1956" y="693"/>
                      <a:pt x="1956" y="693"/>
                      <a:pt x="1956" y="693"/>
                    </a:cubicBezTo>
                    <a:cubicBezTo>
                      <a:pt x="1958" y="694"/>
                      <a:pt x="1961" y="694"/>
                      <a:pt x="1962" y="692"/>
                    </a:cubicBezTo>
                    <a:cubicBezTo>
                      <a:pt x="1963" y="690"/>
                      <a:pt x="1963" y="688"/>
                      <a:pt x="1962" y="687"/>
                    </a:cubicBezTo>
                    <a:cubicBezTo>
                      <a:pt x="1937" y="665"/>
                      <a:pt x="1937" y="665"/>
                      <a:pt x="1937" y="665"/>
                    </a:cubicBezTo>
                    <a:cubicBezTo>
                      <a:pt x="1937" y="665"/>
                      <a:pt x="1937" y="665"/>
                      <a:pt x="1937" y="665"/>
                    </a:cubicBezTo>
                    <a:moveTo>
                      <a:pt x="1986" y="708"/>
                    </a:moveTo>
                    <a:cubicBezTo>
                      <a:pt x="1985" y="707"/>
                      <a:pt x="1983" y="707"/>
                      <a:pt x="1981" y="709"/>
                    </a:cubicBezTo>
                    <a:cubicBezTo>
                      <a:pt x="1980" y="710"/>
                      <a:pt x="1980" y="712"/>
                      <a:pt x="1982" y="714"/>
                    </a:cubicBezTo>
                    <a:cubicBezTo>
                      <a:pt x="2007" y="735"/>
                      <a:pt x="2007" y="735"/>
                      <a:pt x="2007" y="735"/>
                    </a:cubicBezTo>
                    <a:cubicBezTo>
                      <a:pt x="2008" y="736"/>
                      <a:pt x="2010" y="736"/>
                      <a:pt x="2011" y="735"/>
                    </a:cubicBezTo>
                    <a:cubicBezTo>
                      <a:pt x="2012" y="734"/>
                      <a:pt x="2012" y="732"/>
                      <a:pt x="2011" y="731"/>
                    </a:cubicBezTo>
                    <a:cubicBezTo>
                      <a:pt x="1986" y="708"/>
                      <a:pt x="1986" y="708"/>
                      <a:pt x="1986" y="708"/>
                    </a:cubicBezTo>
                    <a:cubicBezTo>
                      <a:pt x="1986" y="708"/>
                      <a:pt x="1986" y="708"/>
                      <a:pt x="1986" y="708"/>
                    </a:cubicBezTo>
                    <a:moveTo>
                      <a:pt x="2035" y="753"/>
                    </a:moveTo>
                    <a:cubicBezTo>
                      <a:pt x="2034" y="752"/>
                      <a:pt x="2032" y="752"/>
                      <a:pt x="2031" y="753"/>
                    </a:cubicBezTo>
                    <a:cubicBezTo>
                      <a:pt x="2030" y="754"/>
                      <a:pt x="2030" y="756"/>
                      <a:pt x="2031" y="757"/>
                    </a:cubicBezTo>
                    <a:cubicBezTo>
                      <a:pt x="2056" y="779"/>
                      <a:pt x="2056" y="779"/>
                      <a:pt x="2056" y="779"/>
                    </a:cubicBezTo>
                    <a:cubicBezTo>
                      <a:pt x="2057" y="779"/>
                      <a:pt x="2058" y="779"/>
                      <a:pt x="2059" y="778"/>
                    </a:cubicBezTo>
                    <a:cubicBezTo>
                      <a:pt x="2060" y="778"/>
                      <a:pt x="2060" y="776"/>
                      <a:pt x="2059" y="776"/>
                    </a:cubicBezTo>
                    <a:cubicBezTo>
                      <a:pt x="2035" y="753"/>
                      <a:pt x="2035" y="753"/>
                      <a:pt x="2035" y="753"/>
                    </a:cubicBezTo>
                    <a:cubicBezTo>
                      <a:pt x="2035" y="753"/>
                      <a:pt x="2035" y="753"/>
                      <a:pt x="2035" y="753"/>
                    </a:cubicBezTo>
                    <a:moveTo>
                      <a:pt x="2082" y="798"/>
                    </a:moveTo>
                    <a:cubicBezTo>
                      <a:pt x="2082" y="798"/>
                      <a:pt x="2081" y="798"/>
                      <a:pt x="2080" y="799"/>
                    </a:cubicBezTo>
                    <a:cubicBezTo>
                      <a:pt x="2080" y="799"/>
                      <a:pt x="2080" y="800"/>
                      <a:pt x="2080" y="801"/>
                    </a:cubicBezTo>
                    <a:cubicBezTo>
                      <a:pt x="2104" y="823"/>
                      <a:pt x="2104" y="823"/>
                      <a:pt x="2104" y="823"/>
                    </a:cubicBezTo>
                    <a:cubicBezTo>
                      <a:pt x="2105" y="824"/>
                      <a:pt x="2105" y="824"/>
                      <a:pt x="2106" y="823"/>
                    </a:cubicBezTo>
                    <a:cubicBezTo>
                      <a:pt x="2106" y="823"/>
                      <a:pt x="2106" y="822"/>
                      <a:pt x="2106" y="822"/>
                    </a:cubicBezTo>
                    <a:cubicBezTo>
                      <a:pt x="2082" y="799"/>
                      <a:pt x="2082" y="799"/>
                      <a:pt x="2082" y="799"/>
                    </a:cubicBezTo>
                    <a:cubicBezTo>
                      <a:pt x="2082" y="798"/>
                      <a:pt x="2082" y="798"/>
                      <a:pt x="2082" y="798"/>
                    </a:cubicBezTo>
                    <a:moveTo>
                      <a:pt x="2129" y="846"/>
                    </a:moveTo>
                    <a:cubicBezTo>
                      <a:pt x="2129" y="846"/>
                      <a:pt x="2129" y="846"/>
                      <a:pt x="2129" y="846"/>
                    </a:cubicBezTo>
                    <a:cubicBezTo>
                      <a:pt x="2129" y="846"/>
                      <a:pt x="2129" y="846"/>
                      <a:pt x="2129" y="846"/>
                    </a:cubicBezTo>
                    <a:cubicBezTo>
                      <a:pt x="2140" y="858"/>
                      <a:pt x="2140" y="858"/>
                      <a:pt x="2140" y="858"/>
                    </a:cubicBezTo>
                    <a:cubicBezTo>
                      <a:pt x="2129" y="846"/>
                      <a:pt x="2129" y="846"/>
                      <a:pt x="2129" y="846"/>
                    </a:cubicBezTo>
                    <a:cubicBezTo>
                      <a:pt x="2129" y="846"/>
                      <a:pt x="2129" y="846"/>
                      <a:pt x="2129" y="846"/>
                    </a:cubicBezTo>
                  </a:path>
                </a:pathLst>
              </a:custGeom>
              <a:solidFill>
                <a:srgbClr val="FFFFFF">
                  <a:alpha val="84000"/>
                </a:srgbClr>
              </a:solidFill>
              <a:ln>
                <a:noFill/>
              </a:ln>
            </p:spPr>
            <p:txBody>
              <a:bodyPr vert="horz" wrap="square" lIns="89643" tIns="44822" rIns="89643" bIns="44822" numCol="1" anchor="t" anchorCtr="0" compatLnSpc="1">
                <a:prstTxWarp prst="textNoShape">
                  <a:avLst/>
                </a:prstTxWarp>
              </a:bodyPr>
              <a:lstStyle/>
              <a:p>
                <a:pPr defTabSz="914348"/>
                <a:endParaRPr lang="en-US" sz="1298" dirty="0">
                  <a:solidFill>
                    <a:prstClr val="black"/>
                  </a:solidFill>
                  <a:latin typeface="Calibri" panose="020F0502020204030204"/>
                  <a:ea typeface="Heiti SC Light" charset="-122"/>
                  <a:sym typeface="Gill Sans" charset="0"/>
                </a:endParaRPr>
              </a:p>
            </p:txBody>
          </p:sp>
          <p:sp>
            <p:nvSpPr>
              <p:cNvPr id="78" name="Freeform 616"/>
              <p:cNvSpPr>
                <a:spLocks noEditPoints="1"/>
              </p:cNvSpPr>
              <p:nvPr/>
            </p:nvSpPr>
            <p:spPr bwMode="auto">
              <a:xfrm>
                <a:off x="6874815" y="5833323"/>
                <a:ext cx="4099388" cy="1840756"/>
              </a:xfrm>
              <a:custGeom>
                <a:avLst/>
                <a:gdLst>
                  <a:gd name="T0" fmla="*/ 552 w 1486"/>
                  <a:gd name="T1" fmla="*/ 119 h 667"/>
                  <a:gd name="T2" fmla="*/ 552 w 1486"/>
                  <a:gd name="T3" fmla="*/ 118 h 667"/>
                  <a:gd name="T4" fmla="*/ 568 w 1486"/>
                  <a:gd name="T5" fmla="*/ 121 h 667"/>
                  <a:gd name="T6" fmla="*/ 519 w 1486"/>
                  <a:gd name="T7" fmla="*/ 116 h 667"/>
                  <a:gd name="T8" fmla="*/ 485 w 1486"/>
                  <a:gd name="T9" fmla="*/ 110 h 667"/>
                  <a:gd name="T10" fmla="*/ 487 w 1486"/>
                  <a:gd name="T11" fmla="*/ 109 h 667"/>
                  <a:gd name="T12" fmla="*/ 519 w 1486"/>
                  <a:gd name="T13" fmla="*/ 113 h 667"/>
                  <a:gd name="T14" fmla="*/ 519 w 1486"/>
                  <a:gd name="T15" fmla="*/ 116 h 667"/>
                  <a:gd name="T16" fmla="*/ 455 w 1486"/>
                  <a:gd name="T17" fmla="*/ 109 h 667"/>
                  <a:gd name="T18" fmla="*/ 420 w 1486"/>
                  <a:gd name="T19" fmla="*/ 103 h 667"/>
                  <a:gd name="T20" fmla="*/ 423 w 1486"/>
                  <a:gd name="T21" fmla="*/ 100 h 667"/>
                  <a:gd name="T22" fmla="*/ 455 w 1486"/>
                  <a:gd name="T23" fmla="*/ 104 h 667"/>
                  <a:gd name="T24" fmla="*/ 455 w 1486"/>
                  <a:gd name="T25" fmla="*/ 109 h 667"/>
                  <a:gd name="T26" fmla="*/ 390 w 1486"/>
                  <a:gd name="T27" fmla="*/ 103 h 667"/>
                  <a:gd name="T28" fmla="*/ 355 w 1486"/>
                  <a:gd name="T29" fmla="*/ 96 h 667"/>
                  <a:gd name="T30" fmla="*/ 359 w 1486"/>
                  <a:gd name="T31" fmla="*/ 93 h 667"/>
                  <a:gd name="T32" fmla="*/ 391 w 1486"/>
                  <a:gd name="T33" fmla="*/ 96 h 667"/>
                  <a:gd name="T34" fmla="*/ 391 w 1486"/>
                  <a:gd name="T35" fmla="*/ 103 h 667"/>
                  <a:gd name="T36" fmla="*/ 326 w 1486"/>
                  <a:gd name="T37" fmla="*/ 99 h 667"/>
                  <a:gd name="T38" fmla="*/ 289 w 1486"/>
                  <a:gd name="T39" fmla="*/ 91 h 667"/>
                  <a:gd name="T40" fmla="*/ 294 w 1486"/>
                  <a:gd name="T41" fmla="*/ 87 h 667"/>
                  <a:gd name="T42" fmla="*/ 327 w 1486"/>
                  <a:gd name="T43" fmla="*/ 90 h 667"/>
                  <a:gd name="T44" fmla="*/ 326 w 1486"/>
                  <a:gd name="T45" fmla="*/ 99 h 667"/>
                  <a:gd name="T46" fmla="*/ 262 w 1486"/>
                  <a:gd name="T47" fmla="*/ 95 h 667"/>
                  <a:gd name="T48" fmla="*/ 224 w 1486"/>
                  <a:gd name="T49" fmla="*/ 88 h 667"/>
                  <a:gd name="T50" fmla="*/ 230 w 1486"/>
                  <a:gd name="T51" fmla="*/ 82 h 667"/>
                  <a:gd name="T52" fmla="*/ 262 w 1486"/>
                  <a:gd name="T53" fmla="*/ 84 h 667"/>
                  <a:gd name="T54" fmla="*/ 262 w 1486"/>
                  <a:gd name="T55" fmla="*/ 95 h 667"/>
                  <a:gd name="T56" fmla="*/ 197 w 1486"/>
                  <a:gd name="T57" fmla="*/ 93 h 667"/>
                  <a:gd name="T58" fmla="*/ 158 w 1486"/>
                  <a:gd name="T59" fmla="*/ 85 h 667"/>
                  <a:gd name="T60" fmla="*/ 165 w 1486"/>
                  <a:gd name="T61" fmla="*/ 79 h 667"/>
                  <a:gd name="T62" fmla="*/ 197 w 1486"/>
                  <a:gd name="T63" fmla="*/ 80 h 667"/>
                  <a:gd name="T64" fmla="*/ 197 w 1486"/>
                  <a:gd name="T65" fmla="*/ 93 h 667"/>
                  <a:gd name="T66" fmla="*/ 133 w 1486"/>
                  <a:gd name="T67" fmla="*/ 91 h 667"/>
                  <a:gd name="T68" fmla="*/ 93 w 1486"/>
                  <a:gd name="T69" fmla="*/ 84 h 667"/>
                  <a:gd name="T70" fmla="*/ 100 w 1486"/>
                  <a:gd name="T71" fmla="*/ 77 h 667"/>
                  <a:gd name="T72" fmla="*/ 139 w 1486"/>
                  <a:gd name="T73" fmla="*/ 85 h 667"/>
                  <a:gd name="T74" fmla="*/ 36 w 1486"/>
                  <a:gd name="T75" fmla="*/ 92 h 667"/>
                  <a:gd name="T76" fmla="*/ 35 w 1486"/>
                  <a:gd name="T77" fmla="*/ 77 h 667"/>
                  <a:gd name="T78" fmla="*/ 68 w 1486"/>
                  <a:gd name="T79" fmla="*/ 77 h 667"/>
                  <a:gd name="T80" fmla="*/ 68 w 1486"/>
                  <a:gd name="T81" fmla="*/ 91 h 667"/>
                  <a:gd name="T82" fmla="*/ 36 w 1486"/>
                  <a:gd name="T83" fmla="*/ 92 h 667"/>
                  <a:gd name="T84" fmla="*/ 295 w 1486"/>
                  <a:gd name="T85" fmla="*/ 19 h 667"/>
                  <a:gd name="T86" fmla="*/ 701 w 1486"/>
                  <a:gd name="T87" fmla="*/ 582 h 667"/>
                  <a:gd name="T88" fmla="*/ 1450 w 1486"/>
                  <a:gd name="T89" fmla="*/ 596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86" h="667">
                    <a:moveTo>
                      <a:pt x="568" y="121"/>
                    </a:moveTo>
                    <a:cubicBezTo>
                      <a:pt x="552" y="119"/>
                      <a:pt x="552" y="119"/>
                      <a:pt x="552" y="119"/>
                    </a:cubicBezTo>
                    <a:cubicBezTo>
                      <a:pt x="551" y="119"/>
                      <a:pt x="551" y="119"/>
                      <a:pt x="551" y="119"/>
                    </a:cubicBezTo>
                    <a:cubicBezTo>
                      <a:pt x="552" y="118"/>
                      <a:pt x="552" y="118"/>
                      <a:pt x="552" y="118"/>
                    </a:cubicBezTo>
                    <a:cubicBezTo>
                      <a:pt x="552" y="118"/>
                      <a:pt x="552" y="118"/>
                      <a:pt x="552" y="118"/>
                    </a:cubicBezTo>
                    <a:cubicBezTo>
                      <a:pt x="568" y="121"/>
                      <a:pt x="568" y="121"/>
                      <a:pt x="568" y="121"/>
                    </a:cubicBezTo>
                    <a:moveTo>
                      <a:pt x="519" y="116"/>
                    </a:moveTo>
                    <a:cubicBezTo>
                      <a:pt x="519" y="116"/>
                      <a:pt x="519" y="116"/>
                      <a:pt x="519" y="116"/>
                    </a:cubicBezTo>
                    <a:cubicBezTo>
                      <a:pt x="487" y="112"/>
                      <a:pt x="487" y="112"/>
                      <a:pt x="487" y="112"/>
                    </a:cubicBezTo>
                    <a:cubicBezTo>
                      <a:pt x="486" y="112"/>
                      <a:pt x="485" y="111"/>
                      <a:pt x="485" y="110"/>
                    </a:cubicBezTo>
                    <a:cubicBezTo>
                      <a:pt x="485" y="109"/>
                      <a:pt x="486" y="109"/>
                      <a:pt x="487" y="109"/>
                    </a:cubicBezTo>
                    <a:cubicBezTo>
                      <a:pt x="487" y="109"/>
                      <a:pt x="487" y="109"/>
                      <a:pt x="487" y="109"/>
                    </a:cubicBezTo>
                    <a:cubicBezTo>
                      <a:pt x="487" y="109"/>
                      <a:pt x="487" y="109"/>
                      <a:pt x="487" y="109"/>
                    </a:cubicBezTo>
                    <a:cubicBezTo>
                      <a:pt x="519" y="113"/>
                      <a:pt x="519" y="113"/>
                      <a:pt x="519" y="113"/>
                    </a:cubicBezTo>
                    <a:cubicBezTo>
                      <a:pt x="520" y="114"/>
                      <a:pt x="520" y="114"/>
                      <a:pt x="520" y="115"/>
                    </a:cubicBezTo>
                    <a:cubicBezTo>
                      <a:pt x="520" y="115"/>
                      <a:pt x="520" y="116"/>
                      <a:pt x="519" y="116"/>
                    </a:cubicBezTo>
                    <a:moveTo>
                      <a:pt x="455" y="109"/>
                    </a:moveTo>
                    <a:cubicBezTo>
                      <a:pt x="455" y="109"/>
                      <a:pt x="455" y="109"/>
                      <a:pt x="455" y="109"/>
                    </a:cubicBezTo>
                    <a:cubicBezTo>
                      <a:pt x="423" y="106"/>
                      <a:pt x="423" y="106"/>
                      <a:pt x="423" y="106"/>
                    </a:cubicBezTo>
                    <a:cubicBezTo>
                      <a:pt x="421" y="106"/>
                      <a:pt x="420" y="104"/>
                      <a:pt x="420" y="103"/>
                    </a:cubicBezTo>
                    <a:cubicBezTo>
                      <a:pt x="420" y="101"/>
                      <a:pt x="421" y="100"/>
                      <a:pt x="423" y="100"/>
                    </a:cubicBezTo>
                    <a:cubicBezTo>
                      <a:pt x="423" y="100"/>
                      <a:pt x="423" y="100"/>
                      <a:pt x="423" y="100"/>
                    </a:cubicBezTo>
                    <a:cubicBezTo>
                      <a:pt x="423" y="100"/>
                      <a:pt x="423" y="100"/>
                      <a:pt x="423" y="100"/>
                    </a:cubicBezTo>
                    <a:cubicBezTo>
                      <a:pt x="455" y="104"/>
                      <a:pt x="455" y="104"/>
                      <a:pt x="455" y="104"/>
                    </a:cubicBezTo>
                    <a:cubicBezTo>
                      <a:pt x="457" y="104"/>
                      <a:pt x="457" y="106"/>
                      <a:pt x="457" y="107"/>
                    </a:cubicBezTo>
                    <a:cubicBezTo>
                      <a:pt x="457" y="108"/>
                      <a:pt x="456" y="109"/>
                      <a:pt x="455" y="109"/>
                    </a:cubicBezTo>
                    <a:moveTo>
                      <a:pt x="391" y="103"/>
                    </a:moveTo>
                    <a:cubicBezTo>
                      <a:pt x="391" y="103"/>
                      <a:pt x="391" y="103"/>
                      <a:pt x="390" y="103"/>
                    </a:cubicBezTo>
                    <a:cubicBezTo>
                      <a:pt x="358" y="101"/>
                      <a:pt x="358" y="101"/>
                      <a:pt x="358" y="101"/>
                    </a:cubicBezTo>
                    <a:cubicBezTo>
                      <a:pt x="356" y="100"/>
                      <a:pt x="354" y="99"/>
                      <a:pt x="355" y="96"/>
                    </a:cubicBezTo>
                    <a:cubicBezTo>
                      <a:pt x="355" y="94"/>
                      <a:pt x="356" y="93"/>
                      <a:pt x="358" y="93"/>
                    </a:cubicBezTo>
                    <a:cubicBezTo>
                      <a:pt x="359" y="93"/>
                      <a:pt x="359" y="93"/>
                      <a:pt x="359" y="93"/>
                    </a:cubicBezTo>
                    <a:cubicBezTo>
                      <a:pt x="359" y="93"/>
                      <a:pt x="359" y="93"/>
                      <a:pt x="359" y="93"/>
                    </a:cubicBezTo>
                    <a:cubicBezTo>
                      <a:pt x="391" y="96"/>
                      <a:pt x="391" y="96"/>
                      <a:pt x="391" y="96"/>
                    </a:cubicBezTo>
                    <a:cubicBezTo>
                      <a:pt x="393" y="97"/>
                      <a:pt x="394" y="98"/>
                      <a:pt x="394" y="100"/>
                    </a:cubicBezTo>
                    <a:cubicBezTo>
                      <a:pt x="394" y="102"/>
                      <a:pt x="392" y="103"/>
                      <a:pt x="391" y="103"/>
                    </a:cubicBezTo>
                    <a:moveTo>
                      <a:pt x="326" y="99"/>
                    </a:moveTo>
                    <a:cubicBezTo>
                      <a:pt x="326" y="99"/>
                      <a:pt x="326" y="99"/>
                      <a:pt x="326" y="99"/>
                    </a:cubicBezTo>
                    <a:cubicBezTo>
                      <a:pt x="294" y="97"/>
                      <a:pt x="294" y="97"/>
                      <a:pt x="294" y="97"/>
                    </a:cubicBezTo>
                    <a:cubicBezTo>
                      <a:pt x="291" y="96"/>
                      <a:pt x="289" y="94"/>
                      <a:pt x="289" y="91"/>
                    </a:cubicBezTo>
                    <a:cubicBezTo>
                      <a:pt x="289" y="89"/>
                      <a:pt x="291" y="87"/>
                      <a:pt x="294" y="87"/>
                    </a:cubicBezTo>
                    <a:cubicBezTo>
                      <a:pt x="294" y="87"/>
                      <a:pt x="294" y="87"/>
                      <a:pt x="294" y="87"/>
                    </a:cubicBezTo>
                    <a:cubicBezTo>
                      <a:pt x="294" y="87"/>
                      <a:pt x="294" y="87"/>
                      <a:pt x="294" y="87"/>
                    </a:cubicBezTo>
                    <a:cubicBezTo>
                      <a:pt x="327" y="90"/>
                      <a:pt x="327" y="90"/>
                      <a:pt x="327" y="90"/>
                    </a:cubicBezTo>
                    <a:cubicBezTo>
                      <a:pt x="329" y="90"/>
                      <a:pt x="331" y="92"/>
                      <a:pt x="331" y="94"/>
                    </a:cubicBezTo>
                    <a:cubicBezTo>
                      <a:pt x="330" y="97"/>
                      <a:pt x="329" y="99"/>
                      <a:pt x="326" y="99"/>
                    </a:cubicBezTo>
                    <a:moveTo>
                      <a:pt x="262" y="95"/>
                    </a:moveTo>
                    <a:cubicBezTo>
                      <a:pt x="262" y="95"/>
                      <a:pt x="262" y="95"/>
                      <a:pt x="262" y="95"/>
                    </a:cubicBezTo>
                    <a:cubicBezTo>
                      <a:pt x="229" y="94"/>
                      <a:pt x="229" y="94"/>
                      <a:pt x="229" y="94"/>
                    </a:cubicBezTo>
                    <a:cubicBezTo>
                      <a:pt x="226" y="93"/>
                      <a:pt x="224" y="91"/>
                      <a:pt x="224" y="88"/>
                    </a:cubicBezTo>
                    <a:cubicBezTo>
                      <a:pt x="224" y="85"/>
                      <a:pt x="226" y="82"/>
                      <a:pt x="229" y="82"/>
                    </a:cubicBezTo>
                    <a:cubicBezTo>
                      <a:pt x="230" y="82"/>
                      <a:pt x="230" y="82"/>
                      <a:pt x="230" y="82"/>
                    </a:cubicBezTo>
                    <a:cubicBezTo>
                      <a:pt x="230" y="82"/>
                      <a:pt x="230" y="82"/>
                      <a:pt x="230" y="82"/>
                    </a:cubicBezTo>
                    <a:cubicBezTo>
                      <a:pt x="262" y="84"/>
                      <a:pt x="262" y="84"/>
                      <a:pt x="262" y="84"/>
                    </a:cubicBezTo>
                    <a:cubicBezTo>
                      <a:pt x="265" y="85"/>
                      <a:pt x="267" y="87"/>
                      <a:pt x="267" y="90"/>
                    </a:cubicBezTo>
                    <a:cubicBezTo>
                      <a:pt x="267" y="93"/>
                      <a:pt x="265" y="95"/>
                      <a:pt x="262" y="95"/>
                    </a:cubicBezTo>
                    <a:moveTo>
                      <a:pt x="197" y="93"/>
                    </a:moveTo>
                    <a:cubicBezTo>
                      <a:pt x="197" y="93"/>
                      <a:pt x="197" y="93"/>
                      <a:pt x="197" y="93"/>
                    </a:cubicBezTo>
                    <a:cubicBezTo>
                      <a:pt x="165" y="92"/>
                      <a:pt x="165" y="92"/>
                      <a:pt x="165" y="92"/>
                    </a:cubicBezTo>
                    <a:cubicBezTo>
                      <a:pt x="161" y="92"/>
                      <a:pt x="158" y="89"/>
                      <a:pt x="158" y="85"/>
                    </a:cubicBezTo>
                    <a:cubicBezTo>
                      <a:pt x="158" y="82"/>
                      <a:pt x="161" y="79"/>
                      <a:pt x="165" y="79"/>
                    </a:cubicBezTo>
                    <a:cubicBezTo>
                      <a:pt x="165" y="79"/>
                      <a:pt x="165" y="79"/>
                      <a:pt x="165" y="79"/>
                    </a:cubicBezTo>
                    <a:cubicBezTo>
                      <a:pt x="165" y="79"/>
                      <a:pt x="165" y="79"/>
                      <a:pt x="165" y="79"/>
                    </a:cubicBezTo>
                    <a:cubicBezTo>
                      <a:pt x="197" y="80"/>
                      <a:pt x="197" y="80"/>
                      <a:pt x="197" y="80"/>
                    </a:cubicBezTo>
                    <a:cubicBezTo>
                      <a:pt x="201" y="81"/>
                      <a:pt x="203" y="83"/>
                      <a:pt x="203" y="87"/>
                    </a:cubicBezTo>
                    <a:cubicBezTo>
                      <a:pt x="203" y="90"/>
                      <a:pt x="200" y="93"/>
                      <a:pt x="197" y="93"/>
                    </a:cubicBezTo>
                    <a:moveTo>
                      <a:pt x="133" y="91"/>
                    </a:moveTo>
                    <a:cubicBezTo>
                      <a:pt x="133" y="91"/>
                      <a:pt x="133" y="91"/>
                      <a:pt x="133" y="91"/>
                    </a:cubicBezTo>
                    <a:cubicBezTo>
                      <a:pt x="100" y="91"/>
                      <a:pt x="100" y="91"/>
                      <a:pt x="100" y="91"/>
                    </a:cubicBezTo>
                    <a:cubicBezTo>
                      <a:pt x="96" y="91"/>
                      <a:pt x="93" y="88"/>
                      <a:pt x="93" y="84"/>
                    </a:cubicBezTo>
                    <a:cubicBezTo>
                      <a:pt x="93" y="80"/>
                      <a:pt x="96" y="77"/>
                      <a:pt x="100" y="77"/>
                    </a:cubicBezTo>
                    <a:cubicBezTo>
                      <a:pt x="100" y="77"/>
                      <a:pt x="100" y="77"/>
                      <a:pt x="100" y="77"/>
                    </a:cubicBezTo>
                    <a:cubicBezTo>
                      <a:pt x="133" y="78"/>
                      <a:pt x="133" y="78"/>
                      <a:pt x="133" y="78"/>
                    </a:cubicBezTo>
                    <a:cubicBezTo>
                      <a:pt x="136" y="78"/>
                      <a:pt x="139" y="81"/>
                      <a:pt x="139" y="85"/>
                    </a:cubicBezTo>
                    <a:cubicBezTo>
                      <a:pt x="139" y="89"/>
                      <a:pt x="136" y="91"/>
                      <a:pt x="133" y="91"/>
                    </a:cubicBezTo>
                    <a:moveTo>
                      <a:pt x="36" y="92"/>
                    </a:moveTo>
                    <a:cubicBezTo>
                      <a:pt x="31" y="92"/>
                      <a:pt x="28" y="89"/>
                      <a:pt x="28" y="85"/>
                    </a:cubicBezTo>
                    <a:cubicBezTo>
                      <a:pt x="28" y="81"/>
                      <a:pt x="31" y="77"/>
                      <a:pt x="35" y="77"/>
                    </a:cubicBezTo>
                    <a:cubicBezTo>
                      <a:pt x="36" y="77"/>
                      <a:pt x="36" y="77"/>
                      <a:pt x="36" y="77"/>
                    </a:cubicBezTo>
                    <a:cubicBezTo>
                      <a:pt x="68" y="77"/>
                      <a:pt x="68" y="77"/>
                      <a:pt x="68" y="77"/>
                    </a:cubicBezTo>
                    <a:cubicBezTo>
                      <a:pt x="72" y="77"/>
                      <a:pt x="75" y="80"/>
                      <a:pt x="75" y="84"/>
                    </a:cubicBezTo>
                    <a:cubicBezTo>
                      <a:pt x="75" y="88"/>
                      <a:pt x="72" y="91"/>
                      <a:pt x="68" y="91"/>
                    </a:cubicBezTo>
                    <a:cubicBezTo>
                      <a:pt x="36" y="92"/>
                      <a:pt x="36" y="92"/>
                      <a:pt x="36" y="92"/>
                    </a:cubicBezTo>
                    <a:cubicBezTo>
                      <a:pt x="36" y="92"/>
                      <a:pt x="36" y="92"/>
                      <a:pt x="36" y="92"/>
                    </a:cubicBezTo>
                    <a:moveTo>
                      <a:pt x="299" y="19"/>
                    </a:moveTo>
                    <a:cubicBezTo>
                      <a:pt x="298" y="19"/>
                      <a:pt x="296" y="19"/>
                      <a:pt x="295" y="19"/>
                    </a:cubicBezTo>
                    <a:cubicBezTo>
                      <a:pt x="143" y="33"/>
                      <a:pt x="31" y="0"/>
                      <a:pt x="20" y="88"/>
                    </a:cubicBezTo>
                    <a:cubicBezTo>
                      <a:pt x="0" y="235"/>
                      <a:pt x="382" y="507"/>
                      <a:pt x="701" y="582"/>
                    </a:cubicBezTo>
                    <a:cubicBezTo>
                      <a:pt x="890" y="626"/>
                      <a:pt x="1148" y="667"/>
                      <a:pt x="1309" y="667"/>
                    </a:cubicBezTo>
                    <a:cubicBezTo>
                      <a:pt x="1420" y="667"/>
                      <a:pt x="1486" y="647"/>
                      <a:pt x="1450" y="596"/>
                    </a:cubicBezTo>
                    <a:cubicBezTo>
                      <a:pt x="1304" y="385"/>
                      <a:pt x="416" y="19"/>
                      <a:pt x="299" y="19"/>
                    </a:cubicBezTo>
                  </a:path>
                </a:pathLst>
              </a:custGeom>
              <a:solidFill>
                <a:schemeClr val="tx2"/>
              </a:solidFill>
              <a:ln>
                <a:noFill/>
              </a:ln>
            </p:spPr>
            <p:txBody>
              <a:bodyPr vert="horz" wrap="square" lIns="89643" tIns="44822" rIns="89643" bIns="44822" numCol="1" anchor="t" anchorCtr="0" compatLnSpc="1">
                <a:prstTxWarp prst="textNoShape">
                  <a:avLst/>
                </a:prstTxWarp>
              </a:bodyPr>
              <a:lstStyle/>
              <a:p>
                <a:pPr defTabSz="914348"/>
                <a:endParaRPr lang="en-US" sz="1298" dirty="0">
                  <a:solidFill>
                    <a:prstClr val="black"/>
                  </a:solidFill>
                  <a:latin typeface="Calibri" panose="020F0502020204030204"/>
                  <a:ea typeface="Heiti SC Light" charset="-122"/>
                  <a:sym typeface="Gill Sans" charset="0"/>
                </a:endParaRPr>
              </a:p>
            </p:txBody>
          </p:sp>
          <p:sp>
            <p:nvSpPr>
              <p:cNvPr id="79" name="Freeform 617"/>
              <p:cNvSpPr>
                <a:spLocks noEditPoints="1"/>
              </p:cNvSpPr>
              <p:nvPr/>
            </p:nvSpPr>
            <p:spPr bwMode="auto">
              <a:xfrm>
                <a:off x="3138444" y="5338409"/>
                <a:ext cx="6911297" cy="2528267"/>
              </a:xfrm>
              <a:custGeom>
                <a:avLst/>
                <a:gdLst>
                  <a:gd name="T0" fmla="*/ 0 w 2505"/>
                  <a:gd name="T1" fmla="*/ 3 h 916"/>
                  <a:gd name="T2" fmla="*/ 81 w 2505"/>
                  <a:gd name="T3" fmla="*/ 0 h 916"/>
                  <a:gd name="T4" fmla="*/ 146 w 2505"/>
                  <a:gd name="T5" fmla="*/ 6 h 916"/>
                  <a:gd name="T6" fmla="*/ 178 w 2505"/>
                  <a:gd name="T7" fmla="*/ 6 h 916"/>
                  <a:gd name="T8" fmla="*/ 176 w 2505"/>
                  <a:gd name="T9" fmla="*/ 3 h 916"/>
                  <a:gd name="T10" fmla="*/ 276 w 2505"/>
                  <a:gd name="T11" fmla="*/ 5 h 916"/>
                  <a:gd name="T12" fmla="*/ 340 w 2505"/>
                  <a:gd name="T13" fmla="*/ 18 h 916"/>
                  <a:gd name="T14" fmla="*/ 372 w 2505"/>
                  <a:gd name="T15" fmla="*/ 21 h 916"/>
                  <a:gd name="T16" fmla="*/ 368 w 2505"/>
                  <a:gd name="T17" fmla="*/ 15 h 916"/>
                  <a:gd name="T18" fmla="*/ 470 w 2505"/>
                  <a:gd name="T19" fmla="*/ 20 h 916"/>
                  <a:gd name="T20" fmla="*/ 534 w 2505"/>
                  <a:gd name="T21" fmla="*/ 40 h 916"/>
                  <a:gd name="T22" fmla="*/ 565 w 2505"/>
                  <a:gd name="T23" fmla="*/ 45 h 916"/>
                  <a:gd name="T24" fmla="*/ 560 w 2505"/>
                  <a:gd name="T25" fmla="*/ 37 h 916"/>
                  <a:gd name="T26" fmla="*/ 664 w 2505"/>
                  <a:gd name="T27" fmla="*/ 46 h 916"/>
                  <a:gd name="T28" fmla="*/ 726 w 2505"/>
                  <a:gd name="T29" fmla="*/ 71 h 916"/>
                  <a:gd name="T30" fmla="*/ 757 w 2505"/>
                  <a:gd name="T31" fmla="*/ 78 h 916"/>
                  <a:gd name="T32" fmla="*/ 751 w 2505"/>
                  <a:gd name="T33" fmla="*/ 68 h 916"/>
                  <a:gd name="T34" fmla="*/ 856 w 2505"/>
                  <a:gd name="T35" fmla="*/ 81 h 916"/>
                  <a:gd name="T36" fmla="*/ 916 w 2505"/>
                  <a:gd name="T37" fmla="*/ 111 h 916"/>
                  <a:gd name="T38" fmla="*/ 947 w 2505"/>
                  <a:gd name="T39" fmla="*/ 119 h 916"/>
                  <a:gd name="T40" fmla="*/ 941 w 2505"/>
                  <a:gd name="T41" fmla="*/ 108 h 916"/>
                  <a:gd name="T42" fmla="*/ 1046 w 2505"/>
                  <a:gd name="T43" fmla="*/ 125 h 916"/>
                  <a:gd name="T44" fmla="*/ 1104 w 2505"/>
                  <a:gd name="T45" fmla="*/ 160 h 916"/>
                  <a:gd name="T46" fmla="*/ 1135 w 2505"/>
                  <a:gd name="T47" fmla="*/ 169 h 916"/>
                  <a:gd name="T48" fmla="*/ 1129 w 2505"/>
                  <a:gd name="T49" fmla="*/ 158 h 916"/>
                  <a:gd name="T50" fmla="*/ 1234 w 2505"/>
                  <a:gd name="T51" fmla="*/ 180 h 916"/>
                  <a:gd name="T52" fmla="*/ 1290 w 2505"/>
                  <a:gd name="T53" fmla="*/ 218 h 916"/>
                  <a:gd name="T54" fmla="*/ 1320 w 2505"/>
                  <a:gd name="T55" fmla="*/ 229 h 916"/>
                  <a:gd name="T56" fmla="*/ 1314 w 2505"/>
                  <a:gd name="T57" fmla="*/ 217 h 916"/>
                  <a:gd name="T58" fmla="*/ 1418 w 2505"/>
                  <a:gd name="T59" fmla="*/ 244 h 916"/>
                  <a:gd name="T60" fmla="*/ 1484 w 2505"/>
                  <a:gd name="T61" fmla="*/ 280 h 916"/>
                  <a:gd name="T62" fmla="*/ 1532 w 2505"/>
                  <a:gd name="T63" fmla="*/ 310 h 916"/>
                  <a:gd name="T64" fmla="*/ 1562 w 2505"/>
                  <a:gd name="T65" fmla="*/ 322 h 916"/>
                  <a:gd name="T66" fmla="*/ 1617 w 2505"/>
                  <a:gd name="T67" fmla="*/ 336 h 916"/>
                  <a:gd name="T68" fmla="*/ 1688 w 2505"/>
                  <a:gd name="T69" fmla="*/ 359 h 916"/>
                  <a:gd name="T70" fmla="*/ 1688 w 2505"/>
                  <a:gd name="T71" fmla="*/ 359 h 916"/>
                  <a:gd name="T72" fmla="*/ 1776 w 2505"/>
                  <a:gd name="T73" fmla="*/ 402 h 916"/>
                  <a:gd name="T74" fmla="*/ 1837 w 2505"/>
                  <a:gd name="T75" fmla="*/ 444 h 916"/>
                  <a:gd name="T76" fmla="*/ 1883 w 2505"/>
                  <a:gd name="T77" fmla="*/ 478 h 916"/>
                  <a:gd name="T78" fmla="*/ 1911 w 2505"/>
                  <a:gd name="T79" fmla="*/ 494 h 916"/>
                  <a:gd name="T80" fmla="*/ 1965 w 2505"/>
                  <a:gd name="T81" fmla="*/ 516 h 916"/>
                  <a:gd name="T82" fmla="*/ 2030 w 2505"/>
                  <a:gd name="T83" fmla="*/ 547 h 916"/>
                  <a:gd name="T84" fmla="*/ 2030 w 2505"/>
                  <a:gd name="T85" fmla="*/ 547 h 916"/>
                  <a:gd name="T86" fmla="*/ 2112 w 2505"/>
                  <a:gd name="T87" fmla="*/ 601 h 916"/>
                  <a:gd name="T88" fmla="*/ 2167 w 2505"/>
                  <a:gd name="T89" fmla="*/ 646 h 916"/>
                  <a:gd name="T90" fmla="*/ 2213 w 2505"/>
                  <a:gd name="T91" fmla="*/ 684 h 916"/>
                  <a:gd name="T92" fmla="*/ 2239 w 2505"/>
                  <a:gd name="T93" fmla="*/ 703 h 916"/>
                  <a:gd name="T94" fmla="*/ 2296 w 2505"/>
                  <a:gd name="T95" fmla="*/ 735 h 916"/>
                  <a:gd name="T96" fmla="*/ 2296 w 2505"/>
                  <a:gd name="T97" fmla="*/ 735 h 916"/>
                  <a:gd name="T98" fmla="*/ 2372 w 2505"/>
                  <a:gd name="T99" fmla="*/ 797 h 916"/>
                  <a:gd name="T100" fmla="*/ 2421 w 2505"/>
                  <a:gd name="T101" fmla="*/ 842 h 916"/>
                  <a:gd name="T102" fmla="*/ 2468 w 2505"/>
                  <a:gd name="T103" fmla="*/ 884 h 916"/>
                  <a:gd name="T104" fmla="*/ 2493 w 2505"/>
                  <a:gd name="T105" fmla="*/ 90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05" h="916">
                    <a:moveTo>
                      <a:pt x="0" y="3"/>
                    </a:moveTo>
                    <a:cubicBezTo>
                      <a:pt x="16" y="2"/>
                      <a:pt x="16" y="2"/>
                      <a:pt x="16" y="2"/>
                    </a:cubicBezTo>
                    <a:cubicBezTo>
                      <a:pt x="16" y="3"/>
                      <a:pt x="16" y="3"/>
                      <a:pt x="16" y="3"/>
                    </a:cubicBezTo>
                    <a:cubicBezTo>
                      <a:pt x="16" y="3"/>
                      <a:pt x="16" y="3"/>
                      <a:pt x="16" y="3"/>
                    </a:cubicBezTo>
                    <a:cubicBezTo>
                      <a:pt x="16" y="3"/>
                      <a:pt x="16" y="3"/>
                      <a:pt x="16" y="3"/>
                    </a:cubicBezTo>
                    <a:lnTo>
                      <a:pt x="0" y="3"/>
                    </a:lnTo>
                    <a:close/>
                    <a:moveTo>
                      <a:pt x="48" y="2"/>
                    </a:moveTo>
                    <a:cubicBezTo>
                      <a:pt x="48" y="2"/>
                      <a:pt x="48" y="3"/>
                      <a:pt x="48" y="3"/>
                    </a:cubicBezTo>
                    <a:cubicBezTo>
                      <a:pt x="81" y="3"/>
                      <a:pt x="81" y="3"/>
                      <a:pt x="81" y="3"/>
                    </a:cubicBezTo>
                    <a:cubicBezTo>
                      <a:pt x="81" y="3"/>
                      <a:pt x="81" y="3"/>
                      <a:pt x="81" y="3"/>
                    </a:cubicBezTo>
                    <a:cubicBezTo>
                      <a:pt x="82" y="3"/>
                      <a:pt x="82" y="2"/>
                      <a:pt x="82" y="2"/>
                    </a:cubicBezTo>
                    <a:cubicBezTo>
                      <a:pt x="82" y="1"/>
                      <a:pt x="82" y="0"/>
                      <a:pt x="81" y="0"/>
                    </a:cubicBezTo>
                    <a:cubicBezTo>
                      <a:pt x="48" y="1"/>
                      <a:pt x="48" y="1"/>
                      <a:pt x="48" y="1"/>
                    </a:cubicBezTo>
                    <a:cubicBezTo>
                      <a:pt x="48" y="1"/>
                      <a:pt x="48" y="1"/>
                      <a:pt x="48" y="2"/>
                    </a:cubicBezTo>
                    <a:close/>
                    <a:moveTo>
                      <a:pt x="112" y="2"/>
                    </a:moveTo>
                    <a:cubicBezTo>
                      <a:pt x="111" y="3"/>
                      <a:pt x="112" y="4"/>
                      <a:pt x="113" y="4"/>
                    </a:cubicBezTo>
                    <a:cubicBezTo>
                      <a:pt x="146" y="6"/>
                      <a:pt x="146" y="6"/>
                      <a:pt x="146" y="6"/>
                    </a:cubicBezTo>
                    <a:cubicBezTo>
                      <a:pt x="146" y="6"/>
                      <a:pt x="146" y="6"/>
                      <a:pt x="146" y="6"/>
                    </a:cubicBezTo>
                    <a:cubicBezTo>
                      <a:pt x="147" y="6"/>
                      <a:pt x="148" y="4"/>
                      <a:pt x="148" y="3"/>
                    </a:cubicBezTo>
                    <a:cubicBezTo>
                      <a:pt x="148" y="2"/>
                      <a:pt x="147" y="0"/>
                      <a:pt x="146" y="0"/>
                    </a:cubicBezTo>
                    <a:cubicBezTo>
                      <a:pt x="113" y="0"/>
                      <a:pt x="113" y="0"/>
                      <a:pt x="113" y="0"/>
                    </a:cubicBezTo>
                    <a:cubicBezTo>
                      <a:pt x="112" y="0"/>
                      <a:pt x="112" y="1"/>
                      <a:pt x="112" y="2"/>
                    </a:cubicBezTo>
                    <a:close/>
                    <a:moveTo>
                      <a:pt x="176" y="3"/>
                    </a:moveTo>
                    <a:cubicBezTo>
                      <a:pt x="176" y="5"/>
                      <a:pt x="177" y="6"/>
                      <a:pt x="178" y="6"/>
                    </a:cubicBezTo>
                    <a:cubicBezTo>
                      <a:pt x="211" y="8"/>
                      <a:pt x="211" y="8"/>
                      <a:pt x="211" y="8"/>
                    </a:cubicBezTo>
                    <a:cubicBezTo>
                      <a:pt x="211" y="8"/>
                      <a:pt x="211" y="8"/>
                      <a:pt x="211" y="8"/>
                    </a:cubicBezTo>
                    <a:cubicBezTo>
                      <a:pt x="212" y="8"/>
                      <a:pt x="214" y="7"/>
                      <a:pt x="214" y="5"/>
                    </a:cubicBezTo>
                    <a:cubicBezTo>
                      <a:pt x="214" y="3"/>
                      <a:pt x="213" y="2"/>
                      <a:pt x="211" y="2"/>
                    </a:cubicBezTo>
                    <a:cubicBezTo>
                      <a:pt x="178" y="1"/>
                      <a:pt x="178" y="1"/>
                      <a:pt x="178" y="1"/>
                    </a:cubicBezTo>
                    <a:cubicBezTo>
                      <a:pt x="177" y="1"/>
                      <a:pt x="176" y="2"/>
                      <a:pt x="176" y="3"/>
                    </a:cubicBezTo>
                    <a:close/>
                    <a:moveTo>
                      <a:pt x="240" y="6"/>
                    </a:moveTo>
                    <a:cubicBezTo>
                      <a:pt x="240" y="8"/>
                      <a:pt x="241" y="10"/>
                      <a:pt x="243" y="10"/>
                    </a:cubicBezTo>
                    <a:cubicBezTo>
                      <a:pt x="275" y="12"/>
                      <a:pt x="275" y="12"/>
                      <a:pt x="275" y="12"/>
                    </a:cubicBezTo>
                    <a:cubicBezTo>
                      <a:pt x="275" y="12"/>
                      <a:pt x="275" y="12"/>
                      <a:pt x="275" y="12"/>
                    </a:cubicBezTo>
                    <a:cubicBezTo>
                      <a:pt x="278" y="12"/>
                      <a:pt x="279" y="11"/>
                      <a:pt x="279" y="9"/>
                    </a:cubicBezTo>
                    <a:cubicBezTo>
                      <a:pt x="280" y="6"/>
                      <a:pt x="278" y="5"/>
                      <a:pt x="276" y="5"/>
                    </a:cubicBezTo>
                    <a:cubicBezTo>
                      <a:pt x="243" y="3"/>
                      <a:pt x="243" y="3"/>
                      <a:pt x="243" y="3"/>
                    </a:cubicBezTo>
                    <a:cubicBezTo>
                      <a:pt x="242" y="3"/>
                      <a:pt x="240" y="4"/>
                      <a:pt x="240" y="6"/>
                    </a:cubicBezTo>
                    <a:close/>
                    <a:moveTo>
                      <a:pt x="304" y="10"/>
                    </a:moveTo>
                    <a:cubicBezTo>
                      <a:pt x="304" y="13"/>
                      <a:pt x="305" y="15"/>
                      <a:pt x="308" y="15"/>
                    </a:cubicBezTo>
                    <a:cubicBezTo>
                      <a:pt x="340" y="18"/>
                      <a:pt x="340" y="18"/>
                      <a:pt x="340" y="18"/>
                    </a:cubicBezTo>
                    <a:cubicBezTo>
                      <a:pt x="340" y="18"/>
                      <a:pt x="340" y="18"/>
                      <a:pt x="340" y="18"/>
                    </a:cubicBezTo>
                    <a:cubicBezTo>
                      <a:pt x="343" y="18"/>
                      <a:pt x="345" y="16"/>
                      <a:pt x="345" y="13"/>
                    </a:cubicBezTo>
                    <a:cubicBezTo>
                      <a:pt x="345" y="11"/>
                      <a:pt x="343" y="9"/>
                      <a:pt x="341" y="8"/>
                    </a:cubicBezTo>
                    <a:cubicBezTo>
                      <a:pt x="308" y="6"/>
                      <a:pt x="308" y="6"/>
                      <a:pt x="308" y="6"/>
                    </a:cubicBezTo>
                    <a:cubicBezTo>
                      <a:pt x="306" y="6"/>
                      <a:pt x="304" y="8"/>
                      <a:pt x="304" y="10"/>
                    </a:cubicBezTo>
                    <a:close/>
                    <a:moveTo>
                      <a:pt x="368" y="15"/>
                    </a:moveTo>
                    <a:cubicBezTo>
                      <a:pt x="368" y="18"/>
                      <a:pt x="370" y="21"/>
                      <a:pt x="372" y="21"/>
                    </a:cubicBezTo>
                    <a:cubicBezTo>
                      <a:pt x="405" y="24"/>
                      <a:pt x="405" y="24"/>
                      <a:pt x="405" y="24"/>
                    </a:cubicBezTo>
                    <a:cubicBezTo>
                      <a:pt x="405" y="24"/>
                      <a:pt x="405" y="24"/>
                      <a:pt x="405" y="24"/>
                    </a:cubicBezTo>
                    <a:cubicBezTo>
                      <a:pt x="408" y="24"/>
                      <a:pt x="410" y="22"/>
                      <a:pt x="410" y="19"/>
                    </a:cubicBezTo>
                    <a:cubicBezTo>
                      <a:pt x="411" y="16"/>
                      <a:pt x="409" y="14"/>
                      <a:pt x="406" y="14"/>
                    </a:cubicBezTo>
                    <a:cubicBezTo>
                      <a:pt x="373" y="11"/>
                      <a:pt x="373" y="11"/>
                      <a:pt x="373" y="11"/>
                    </a:cubicBezTo>
                    <a:cubicBezTo>
                      <a:pt x="371" y="11"/>
                      <a:pt x="368" y="13"/>
                      <a:pt x="368" y="15"/>
                    </a:cubicBezTo>
                    <a:close/>
                    <a:moveTo>
                      <a:pt x="432" y="22"/>
                    </a:moveTo>
                    <a:cubicBezTo>
                      <a:pt x="432" y="25"/>
                      <a:pt x="434" y="27"/>
                      <a:pt x="437" y="28"/>
                    </a:cubicBezTo>
                    <a:cubicBezTo>
                      <a:pt x="469" y="32"/>
                      <a:pt x="469" y="32"/>
                      <a:pt x="469" y="32"/>
                    </a:cubicBezTo>
                    <a:cubicBezTo>
                      <a:pt x="469" y="32"/>
                      <a:pt x="469" y="32"/>
                      <a:pt x="469" y="32"/>
                    </a:cubicBezTo>
                    <a:cubicBezTo>
                      <a:pt x="472" y="32"/>
                      <a:pt x="475" y="30"/>
                      <a:pt x="476" y="26"/>
                    </a:cubicBezTo>
                    <a:cubicBezTo>
                      <a:pt x="476" y="23"/>
                      <a:pt x="474" y="20"/>
                      <a:pt x="470" y="20"/>
                    </a:cubicBezTo>
                    <a:cubicBezTo>
                      <a:pt x="438" y="17"/>
                      <a:pt x="438" y="17"/>
                      <a:pt x="438" y="17"/>
                    </a:cubicBezTo>
                    <a:cubicBezTo>
                      <a:pt x="435" y="16"/>
                      <a:pt x="432" y="19"/>
                      <a:pt x="432" y="22"/>
                    </a:cubicBezTo>
                    <a:close/>
                    <a:moveTo>
                      <a:pt x="496" y="29"/>
                    </a:moveTo>
                    <a:cubicBezTo>
                      <a:pt x="495" y="32"/>
                      <a:pt x="498" y="35"/>
                      <a:pt x="501" y="36"/>
                    </a:cubicBezTo>
                    <a:cubicBezTo>
                      <a:pt x="533" y="40"/>
                      <a:pt x="533" y="40"/>
                      <a:pt x="533" y="40"/>
                    </a:cubicBezTo>
                    <a:cubicBezTo>
                      <a:pt x="534" y="40"/>
                      <a:pt x="534" y="40"/>
                      <a:pt x="534" y="40"/>
                    </a:cubicBezTo>
                    <a:cubicBezTo>
                      <a:pt x="537" y="41"/>
                      <a:pt x="540" y="38"/>
                      <a:pt x="541" y="35"/>
                    </a:cubicBezTo>
                    <a:cubicBezTo>
                      <a:pt x="541" y="31"/>
                      <a:pt x="539" y="28"/>
                      <a:pt x="535" y="27"/>
                    </a:cubicBezTo>
                    <a:cubicBezTo>
                      <a:pt x="503" y="24"/>
                      <a:pt x="503" y="24"/>
                      <a:pt x="503" y="24"/>
                    </a:cubicBezTo>
                    <a:cubicBezTo>
                      <a:pt x="499" y="23"/>
                      <a:pt x="496" y="25"/>
                      <a:pt x="496" y="29"/>
                    </a:cubicBezTo>
                    <a:close/>
                    <a:moveTo>
                      <a:pt x="560" y="37"/>
                    </a:moveTo>
                    <a:cubicBezTo>
                      <a:pt x="559" y="41"/>
                      <a:pt x="562" y="44"/>
                      <a:pt x="565" y="45"/>
                    </a:cubicBezTo>
                    <a:cubicBezTo>
                      <a:pt x="598" y="50"/>
                      <a:pt x="598" y="50"/>
                      <a:pt x="598" y="50"/>
                    </a:cubicBezTo>
                    <a:cubicBezTo>
                      <a:pt x="598" y="50"/>
                      <a:pt x="598" y="50"/>
                      <a:pt x="598" y="50"/>
                    </a:cubicBezTo>
                    <a:cubicBezTo>
                      <a:pt x="601" y="50"/>
                      <a:pt x="605" y="47"/>
                      <a:pt x="605" y="44"/>
                    </a:cubicBezTo>
                    <a:cubicBezTo>
                      <a:pt x="606" y="40"/>
                      <a:pt x="603" y="36"/>
                      <a:pt x="600" y="36"/>
                    </a:cubicBezTo>
                    <a:cubicBezTo>
                      <a:pt x="567" y="32"/>
                      <a:pt x="567" y="32"/>
                      <a:pt x="567" y="32"/>
                    </a:cubicBezTo>
                    <a:cubicBezTo>
                      <a:pt x="564" y="31"/>
                      <a:pt x="560" y="34"/>
                      <a:pt x="560" y="37"/>
                    </a:cubicBezTo>
                    <a:close/>
                    <a:moveTo>
                      <a:pt x="624" y="46"/>
                    </a:moveTo>
                    <a:cubicBezTo>
                      <a:pt x="623" y="50"/>
                      <a:pt x="626" y="54"/>
                      <a:pt x="630" y="55"/>
                    </a:cubicBezTo>
                    <a:cubicBezTo>
                      <a:pt x="662" y="60"/>
                      <a:pt x="662" y="60"/>
                      <a:pt x="662" y="60"/>
                    </a:cubicBezTo>
                    <a:cubicBezTo>
                      <a:pt x="662" y="60"/>
                      <a:pt x="662" y="60"/>
                      <a:pt x="662" y="60"/>
                    </a:cubicBezTo>
                    <a:cubicBezTo>
                      <a:pt x="666" y="61"/>
                      <a:pt x="669" y="58"/>
                      <a:pt x="670" y="54"/>
                    </a:cubicBezTo>
                    <a:cubicBezTo>
                      <a:pt x="671" y="50"/>
                      <a:pt x="668" y="46"/>
                      <a:pt x="664" y="46"/>
                    </a:cubicBezTo>
                    <a:cubicBezTo>
                      <a:pt x="632" y="41"/>
                      <a:pt x="632" y="41"/>
                      <a:pt x="632" y="41"/>
                    </a:cubicBezTo>
                    <a:cubicBezTo>
                      <a:pt x="628" y="40"/>
                      <a:pt x="624" y="43"/>
                      <a:pt x="624" y="46"/>
                    </a:cubicBezTo>
                    <a:close/>
                    <a:moveTo>
                      <a:pt x="687" y="57"/>
                    </a:moveTo>
                    <a:cubicBezTo>
                      <a:pt x="687" y="61"/>
                      <a:pt x="689" y="65"/>
                      <a:pt x="693" y="66"/>
                    </a:cubicBezTo>
                    <a:cubicBezTo>
                      <a:pt x="725" y="71"/>
                      <a:pt x="725" y="71"/>
                      <a:pt x="725" y="71"/>
                    </a:cubicBezTo>
                    <a:cubicBezTo>
                      <a:pt x="726" y="71"/>
                      <a:pt x="726" y="71"/>
                      <a:pt x="726" y="71"/>
                    </a:cubicBezTo>
                    <a:cubicBezTo>
                      <a:pt x="730" y="72"/>
                      <a:pt x="734" y="69"/>
                      <a:pt x="734" y="65"/>
                    </a:cubicBezTo>
                    <a:cubicBezTo>
                      <a:pt x="735" y="61"/>
                      <a:pt x="732" y="57"/>
                      <a:pt x="728" y="56"/>
                    </a:cubicBezTo>
                    <a:cubicBezTo>
                      <a:pt x="696" y="51"/>
                      <a:pt x="696" y="51"/>
                      <a:pt x="696" y="51"/>
                    </a:cubicBezTo>
                    <a:cubicBezTo>
                      <a:pt x="692" y="50"/>
                      <a:pt x="688" y="53"/>
                      <a:pt x="687" y="57"/>
                    </a:cubicBezTo>
                    <a:close/>
                    <a:moveTo>
                      <a:pt x="751" y="68"/>
                    </a:moveTo>
                    <a:cubicBezTo>
                      <a:pt x="750" y="72"/>
                      <a:pt x="753" y="77"/>
                      <a:pt x="757" y="78"/>
                    </a:cubicBezTo>
                    <a:cubicBezTo>
                      <a:pt x="789" y="84"/>
                      <a:pt x="789" y="84"/>
                      <a:pt x="789" y="84"/>
                    </a:cubicBezTo>
                    <a:cubicBezTo>
                      <a:pt x="789" y="84"/>
                      <a:pt x="789" y="84"/>
                      <a:pt x="789" y="84"/>
                    </a:cubicBezTo>
                    <a:cubicBezTo>
                      <a:pt x="794" y="85"/>
                      <a:pt x="798" y="82"/>
                      <a:pt x="799" y="77"/>
                    </a:cubicBezTo>
                    <a:cubicBezTo>
                      <a:pt x="799" y="73"/>
                      <a:pt x="797" y="69"/>
                      <a:pt x="792" y="68"/>
                    </a:cubicBezTo>
                    <a:cubicBezTo>
                      <a:pt x="760" y="62"/>
                      <a:pt x="760" y="62"/>
                      <a:pt x="760" y="62"/>
                    </a:cubicBezTo>
                    <a:cubicBezTo>
                      <a:pt x="756" y="61"/>
                      <a:pt x="752" y="64"/>
                      <a:pt x="751" y="68"/>
                    </a:cubicBezTo>
                    <a:close/>
                    <a:moveTo>
                      <a:pt x="814" y="81"/>
                    </a:moveTo>
                    <a:cubicBezTo>
                      <a:pt x="814" y="85"/>
                      <a:pt x="816" y="89"/>
                      <a:pt x="821" y="90"/>
                    </a:cubicBezTo>
                    <a:cubicBezTo>
                      <a:pt x="853" y="97"/>
                      <a:pt x="853" y="97"/>
                      <a:pt x="853" y="97"/>
                    </a:cubicBezTo>
                    <a:cubicBezTo>
                      <a:pt x="853" y="97"/>
                      <a:pt x="853" y="97"/>
                      <a:pt x="853" y="97"/>
                    </a:cubicBezTo>
                    <a:cubicBezTo>
                      <a:pt x="857" y="98"/>
                      <a:pt x="862" y="95"/>
                      <a:pt x="863" y="91"/>
                    </a:cubicBezTo>
                    <a:cubicBezTo>
                      <a:pt x="863" y="86"/>
                      <a:pt x="861" y="82"/>
                      <a:pt x="856" y="81"/>
                    </a:cubicBezTo>
                    <a:cubicBezTo>
                      <a:pt x="824" y="74"/>
                      <a:pt x="824" y="74"/>
                      <a:pt x="824" y="74"/>
                    </a:cubicBezTo>
                    <a:cubicBezTo>
                      <a:pt x="820" y="73"/>
                      <a:pt x="815" y="76"/>
                      <a:pt x="814" y="81"/>
                    </a:cubicBezTo>
                    <a:close/>
                    <a:moveTo>
                      <a:pt x="878" y="94"/>
                    </a:moveTo>
                    <a:cubicBezTo>
                      <a:pt x="877" y="99"/>
                      <a:pt x="880" y="103"/>
                      <a:pt x="884" y="104"/>
                    </a:cubicBezTo>
                    <a:cubicBezTo>
                      <a:pt x="916" y="111"/>
                      <a:pt x="916" y="111"/>
                      <a:pt x="916" y="111"/>
                    </a:cubicBezTo>
                    <a:cubicBezTo>
                      <a:pt x="916" y="111"/>
                      <a:pt x="916" y="111"/>
                      <a:pt x="916" y="111"/>
                    </a:cubicBezTo>
                    <a:cubicBezTo>
                      <a:pt x="921" y="113"/>
                      <a:pt x="925" y="110"/>
                      <a:pt x="926" y="105"/>
                    </a:cubicBezTo>
                    <a:cubicBezTo>
                      <a:pt x="927" y="100"/>
                      <a:pt x="924" y="96"/>
                      <a:pt x="920" y="95"/>
                    </a:cubicBezTo>
                    <a:cubicBezTo>
                      <a:pt x="888" y="88"/>
                      <a:pt x="888" y="88"/>
                      <a:pt x="888" y="88"/>
                    </a:cubicBezTo>
                    <a:cubicBezTo>
                      <a:pt x="883" y="87"/>
                      <a:pt x="879" y="89"/>
                      <a:pt x="878" y="94"/>
                    </a:cubicBezTo>
                    <a:close/>
                    <a:moveTo>
                      <a:pt x="941" y="108"/>
                    </a:moveTo>
                    <a:cubicBezTo>
                      <a:pt x="940" y="113"/>
                      <a:pt x="943" y="118"/>
                      <a:pt x="947" y="119"/>
                    </a:cubicBezTo>
                    <a:cubicBezTo>
                      <a:pt x="979" y="127"/>
                      <a:pt x="979" y="127"/>
                      <a:pt x="979" y="127"/>
                    </a:cubicBezTo>
                    <a:cubicBezTo>
                      <a:pt x="979" y="127"/>
                      <a:pt x="979" y="127"/>
                      <a:pt x="979" y="127"/>
                    </a:cubicBezTo>
                    <a:cubicBezTo>
                      <a:pt x="984" y="128"/>
                      <a:pt x="988" y="125"/>
                      <a:pt x="990" y="120"/>
                    </a:cubicBezTo>
                    <a:cubicBezTo>
                      <a:pt x="991" y="115"/>
                      <a:pt x="988" y="111"/>
                      <a:pt x="983" y="110"/>
                    </a:cubicBezTo>
                    <a:cubicBezTo>
                      <a:pt x="951" y="102"/>
                      <a:pt x="951" y="102"/>
                      <a:pt x="951" y="102"/>
                    </a:cubicBezTo>
                    <a:cubicBezTo>
                      <a:pt x="947" y="101"/>
                      <a:pt x="942" y="104"/>
                      <a:pt x="941" y="108"/>
                    </a:cubicBezTo>
                    <a:close/>
                    <a:moveTo>
                      <a:pt x="1004" y="124"/>
                    </a:moveTo>
                    <a:cubicBezTo>
                      <a:pt x="1002" y="129"/>
                      <a:pt x="1005" y="134"/>
                      <a:pt x="1010" y="135"/>
                    </a:cubicBezTo>
                    <a:cubicBezTo>
                      <a:pt x="1042" y="143"/>
                      <a:pt x="1042" y="143"/>
                      <a:pt x="1042" y="143"/>
                    </a:cubicBezTo>
                    <a:cubicBezTo>
                      <a:pt x="1042" y="143"/>
                      <a:pt x="1042" y="143"/>
                      <a:pt x="1042" y="143"/>
                    </a:cubicBezTo>
                    <a:cubicBezTo>
                      <a:pt x="1047" y="144"/>
                      <a:pt x="1051" y="142"/>
                      <a:pt x="1053" y="137"/>
                    </a:cubicBezTo>
                    <a:cubicBezTo>
                      <a:pt x="1054" y="132"/>
                      <a:pt x="1051" y="127"/>
                      <a:pt x="1046" y="125"/>
                    </a:cubicBezTo>
                    <a:cubicBezTo>
                      <a:pt x="1015" y="117"/>
                      <a:pt x="1015" y="117"/>
                      <a:pt x="1015" y="117"/>
                    </a:cubicBezTo>
                    <a:cubicBezTo>
                      <a:pt x="1010" y="116"/>
                      <a:pt x="1005" y="119"/>
                      <a:pt x="1004" y="124"/>
                    </a:cubicBezTo>
                    <a:close/>
                    <a:moveTo>
                      <a:pt x="1066" y="140"/>
                    </a:moveTo>
                    <a:cubicBezTo>
                      <a:pt x="1065" y="145"/>
                      <a:pt x="1068" y="150"/>
                      <a:pt x="1073" y="152"/>
                    </a:cubicBezTo>
                    <a:cubicBezTo>
                      <a:pt x="1104" y="160"/>
                      <a:pt x="1104" y="160"/>
                      <a:pt x="1104" y="160"/>
                    </a:cubicBezTo>
                    <a:cubicBezTo>
                      <a:pt x="1104" y="160"/>
                      <a:pt x="1104" y="160"/>
                      <a:pt x="1104" y="160"/>
                    </a:cubicBezTo>
                    <a:cubicBezTo>
                      <a:pt x="1109" y="162"/>
                      <a:pt x="1114" y="159"/>
                      <a:pt x="1115" y="154"/>
                    </a:cubicBezTo>
                    <a:cubicBezTo>
                      <a:pt x="1117" y="149"/>
                      <a:pt x="1114" y="144"/>
                      <a:pt x="1109" y="143"/>
                    </a:cubicBezTo>
                    <a:cubicBezTo>
                      <a:pt x="1078" y="134"/>
                      <a:pt x="1078" y="134"/>
                      <a:pt x="1078" y="134"/>
                    </a:cubicBezTo>
                    <a:cubicBezTo>
                      <a:pt x="1073" y="133"/>
                      <a:pt x="1068" y="135"/>
                      <a:pt x="1066" y="140"/>
                    </a:cubicBezTo>
                    <a:close/>
                    <a:moveTo>
                      <a:pt x="1129" y="158"/>
                    </a:moveTo>
                    <a:cubicBezTo>
                      <a:pt x="1127" y="163"/>
                      <a:pt x="1130" y="168"/>
                      <a:pt x="1135" y="169"/>
                    </a:cubicBezTo>
                    <a:cubicBezTo>
                      <a:pt x="1166" y="179"/>
                      <a:pt x="1166" y="179"/>
                      <a:pt x="1166" y="179"/>
                    </a:cubicBezTo>
                    <a:cubicBezTo>
                      <a:pt x="1166" y="179"/>
                      <a:pt x="1166" y="179"/>
                      <a:pt x="1166" y="179"/>
                    </a:cubicBezTo>
                    <a:cubicBezTo>
                      <a:pt x="1171" y="180"/>
                      <a:pt x="1176" y="177"/>
                      <a:pt x="1178" y="172"/>
                    </a:cubicBezTo>
                    <a:cubicBezTo>
                      <a:pt x="1179" y="167"/>
                      <a:pt x="1176" y="162"/>
                      <a:pt x="1172" y="161"/>
                    </a:cubicBezTo>
                    <a:cubicBezTo>
                      <a:pt x="1140" y="152"/>
                      <a:pt x="1140" y="152"/>
                      <a:pt x="1140" y="152"/>
                    </a:cubicBezTo>
                    <a:cubicBezTo>
                      <a:pt x="1135" y="150"/>
                      <a:pt x="1130" y="153"/>
                      <a:pt x="1129" y="158"/>
                    </a:cubicBezTo>
                    <a:close/>
                    <a:moveTo>
                      <a:pt x="1191" y="176"/>
                    </a:moveTo>
                    <a:cubicBezTo>
                      <a:pt x="1190" y="181"/>
                      <a:pt x="1192" y="187"/>
                      <a:pt x="1197" y="188"/>
                    </a:cubicBezTo>
                    <a:cubicBezTo>
                      <a:pt x="1228" y="198"/>
                      <a:pt x="1228" y="198"/>
                      <a:pt x="1228" y="198"/>
                    </a:cubicBezTo>
                    <a:cubicBezTo>
                      <a:pt x="1228" y="198"/>
                      <a:pt x="1228" y="198"/>
                      <a:pt x="1228" y="198"/>
                    </a:cubicBezTo>
                    <a:cubicBezTo>
                      <a:pt x="1233" y="199"/>
                      <a:pt x="1238" y="197"/>
                      <a:pt x="1240" y="192"/>
                    </a:cubicBezTo>
                    <a:cubicBezTo>
                      <a:pt x="1241" y="187"/>
                      <a:pt x="1239" y="182"/>
                      <a:pt x="1234" y="180"/>
                    </a:cubicBezTo>
                    <a:cubicBezTo>
                      <a:pt x="1203" y="170"/>
                      <a:pt x="1203" y="170"/>
                      <a:pt x="1203" y="170"/>
                    </a:cubicBezTo>
                    <a:cubicBezTo>
                      <a:pt x="1198" y="169"/>
                      <a:pt x="1193" y="171"/>
                      <a:pt x="1191" y="176"/>
                    </a:cubicBezTo>
                    <a:close/>
                    <a:moveTo>
                      <a:pt x="1253" y="196"/>
                    </a:moveTo>
                    <a:cubicBezTo>
                      <a:pt x="1251" y="201"/>
                      <a:pt x="1254" y="206"/>
                      <a:pt x="1259" y="208"/>
                    </a:cubicBezTo>
                    <a:cubicBezTo>
                      <a:pt x="1290" y="218"/>
                      <a:pt x="1290" y="218"/>
                      <a:pt x="1290" y="218"/>
                    </a:cubicBezTo>
                    <a:cubicBezTo>
                      <a:pt x="1290" y="218"/>
                      <a:pt x="1290" y="218"/>
                      <a:pt x="1290" y="218"/>
                    </a:cubicBezTo>
                    <a:cubicBezTo>
                      <a:pt x="1295" y="220"/>
                      <a:pt x="1300" y="217"/>
                      <a:pt x="1302" y="212"/>
                    </a:cubicBezTo>
                    <a:cubicBezTo>
                      <a:pt x="1303" y="207"/>
                      <a:pt x="1301" y="202"/>
                      <a:pt x="1296" y="200"/>
                    </a:cubicBezTo>
                    <a:cubicBezTo>
                      <a:pt x="1265" y="190"/>
                      <a:pt x="1265" y="190"/>
                      <a:pt x="1265" y="190"/>
                    </a:cubicBezTo>
                    <a:cubicBezTo>
                      <a:pt x="1260" y="188"/>
                      <a:pt x="1255" y="191"/>
                      <a:pt x="1253" y="196"/>
                    </a:cubicBezTo>
                    <a:close/>
                    <a:moveTo>
                      <a:pt x="1314" y="217"/>
                    </a:moveTo>
                    <a:cubicBezTo>
                      <a:pt x="1313" y="222"/>
                      <a:pt x="1315" y="227"/>
                      <a:pt x="1320" y="229"/>
                    </a:cubicBezTo>
                    <a:cubicBezTo>
                      <a:pt x="1351" y="240"/>
                      <a:pt x="1351" y="240"/>
                      <a:pt x="1351" y="240"/>
                    </a:cubicBezTo>
                    <a:cubicBezTo>
                      <a:pt x="1351" y="240"/>
                      <a:pt x="1351" y="240"/>
                      <a:pt x="1351" y="240"/>
                    </a:cubicBezTo>
                    <a:cubicBezTo>
                      <a:pt x="1356" y="240"/>
                      <a:pt x="1361" y="239"/>
                      <a:pt x="1363" y="234"/>
                    </a:cubicBezTo>
                    <a:cubicBezTo>
                      <a:pt x="1365" y="229"/>
                      <a:pt x="1362" y="223"/>
                      <a:pt x="1357" y="222"/>
                    </a:cubicBezTo>
                    <a:cubicBezTo>
                      <a:pt x="1327" y="211"/>
                      <a:pt x="1327" y="211"/>
                      <a:pt x="1327" y="211"/>
                    </a:cubicBezTo>
                    <a:cubicBezTo>
                      <a:pt x="1322" y="209"/>
                      <a:pt x="1316" y="212"/>
                      <a:pt x="1314" y="217"/>
                    </a:cubicBezTo>
                    <a:close/>
                    <a:moveTo>
                      <a:pt x="1388" y="233"/>
                    </a:moveTo>
                    <a:cubicBezTo>
                      <a:pt x="1383" y="231"/>
                      <a:pt x="1378" y="233"/>
                      <a:pt x="1376" y="238"/>
                    </a:cubicBezTo>
                    <a:cubicBezTo>
                      <a:pt x="1374" y="243"/>
                      <a:pt x="1376" y="249"/>
                      <a:pt x="1381" y="251"/>
                    </a:cubicBezTo>
                    <a:cubicBezTo>
                      <a:pt x="1412" y="262"/>
                      <a:pt x="1412" y="262"/>
                      <a:pt x="1412" y="262"/>
                    </a:cubicBezTo>
                    <a:cubicBezTo>
                      <a:pt x="1417" y="264"/>
                      <a:pt x="1422" y="261"/>
                      <a:pt x="1424" y="256"/>
                    </a:cubicBezTo>
                    <a:cubicBezTo>
                      <a:pt x="1426" y="251"/>
                      <a:pt x="1423" y="246"/>
                      <a:pt x="1418" y="244"/>
                    </a:cubicBezTo>
                    <a:cubicBezTo>
                      <a:pt x="1388" y="233"/>
                      <a:pt x="1388" y="233"/>
                      <a:pt x="1388" y="233"/>
                    </a:cubicBezTo>
                    <a:close/>
                    <a:moveTo>
                      <a:pt x="1449" y="256"/>
                    </a:moveTo>
                    <a:cubicBezTo>
                      <a:pt x="1444" y="254"/>
                      <a:pt x="1439" y="256"/>
                      <a:pt x="1437" y="261"/>
                    </a:cubicBezTo>
                    <a:cubicBezTo>
                      <a:pt x="1435" y="266"/>
                      <a:pt x="1437" y="271"/>
                      <a:pt x="1442" y="273"/>
                    </a:cubicBezTo>
                    <a:cubicBezTo>
                      <a:pt x="1472" y="285"/>
                      <a:pt x="1472" y="285"/>
                      <a:pt x="1472" y="285"/>
                    </a:cubicBezTo>
                    <a:cubicBezTo>
                      <a:pt x="1477" y="287"/>
                      <a:pt x="1482" y="285"/>
                      <a:pt x="1484" y="280"/>
                    </a:cubicBezTo>
                    <a:cubicBezTo>
                      <a:pt x="1486" y="275"/>
                      <a:pt x="1484" y="270"/>
                      <a:pt x="1479" y="268"/>
                    </a:cubicBezTo>
                    <a:cubicBezTo>
                      <a:pt x="1449" y="256"/>
                      <a:pt x="1449" y="256"/>
                      <a:pt x="1449" y="256"/>
                    </a:cubicBezTo>
                    <a:close/>
                    <a:moveTo>
                      <a:pt x="1509" y="280"/>
                    </a:moveTo>
                    <a:cubicBezTo>
                      <a:pt x="1505" y="278"/>
                      <a:pt x="1499" y="280"/>
                      <a:pt x="1497" y="285"/>
                    </a:cubicBezTo>
                    <a:cubicBezTo>
                      <a:pt x="1495" y="290"/>
                      <a:pt x="1497" y="295"/>
                      <a:pt x="1502" y="297"/>
                    </a:cubicBezTo>
                    <a:cubicBezTo>
                      <a:pt x="1532" y="310"/>
                      <a:pt x="1532" y="310"/>
                      <a:pt x="1532" y="310"/>
                    </a:cubicBezTo>
                    <a:cubicBezTo>
                      <a:pt x="1537" y="312"/>
                      <a:pt x="1542" y="309"/>
                      <a:pt x="1544" y="305"/>
                    </a:cubicBezTo>
                    <a:cubicBezTo>
                      <a:pt x="1546" y="300"/>
                      <a:pt x="1544" y="294"/>
                      <a:pt x="1539" y="292"/>
                    </a:cubicBezTo>
                    <a:cubicBezTo>
                      <a:pt x="1509" y="280"/>
                      <a:pt x="1509" y="280"/>
                      <a:pt x="1509" y="280"/>
                    </a:cubicBezTo>
                    <a:close/>
                    <a:moveTo>
                      <a:pt x="1569" y="305"/>
                    </a:moveTo>
                    <a:cubicBezTo>
                      <a:pt x="1565" y="303"/>
                      <a:pt x="1559" y="305"/>
                      <a:pt x="1557" y="310"/>
                    </a:cubicBezTo>
                    <a:cubicBezTo>
                      <a:pt x="1555" y="315"/>
                      <a:pt x="1557" y="320"/>
                      <a:pt x="1562" y="322"/>
                    </a:cubicBezTo>
                    <a:cubicBezTo>
                      <a:pt x="1592" y="335"/>
                      <a:pt x="1592" y="335"/>
                      <a:pt x="1592" y="335"/>
                    </a:cubicBezTo>
                    <a:cubicBezTo>
                      <a:pt x="1597" y="337"/>
                      <a:pt x="1602" y="335"/>
                      <a:pt x="1604" y="330"/>
                    </a:cubicBezTo>
                    <a:cubicBezTo>
                      <a:pt x="1606" y="326"/>
                      <a:pt x="1604" y="320"/>
                      <a:pt x="1599" y="318"/>
                    </a:cubicBezTo>
                    <a:cubicBezTo>
                      <a:pt x="1569" y="305"/>
                      <a:pt x="1569" y="305"/>
                      <a:pt x="1569" y="305"/>
                    </a:cubicBezTo>
                    <a:close/>
                    <a:moveTo>
                      <a:pt x="1629" y="332"/>
                    </a:moveTo>
                    <a:cubicBezTo>
                      <a:pt x="1624" y="329"/>
                      <a:pt x="1619" y="331"/>
                      <a:pt x="1617" y="336"/>
                    </a:cubicBezTo>
                    <a:cubicBezTo>
                      <a:pt x="1615" y="341"/>
                      <a:pt x="1617" y="346"/>
                      <a:pt x="1621" y="348"/>
                    </a:cubicBezTo>
                    <a:cubicBezTo>
                      <a:pt x="1651" y="362"/>
                      <a:pt x="1651" y="362"/>
                      <a:pt x="1651" y="362"/>
                    </a:cubicBezTo>
                    <a:cubicBezTo>
                      <a:pt x="1656" y="364"/>
                      <a:pt x="1661" y="362"/>
                      <a:pt x="1663" y="357"/>
                    </a:cubicBezTo>
                    <a:cubicBezTo>
                      <a:pt x="1665" y="353"/>
                      <a:pt x="1663" y="347"/>
                      <a:pt x="1659" y="345"/>
                    </a:cubicBezTo>
                    <a:cubicBezTo>
                      <a:pt x="1629" y="332"/>
                      <a:pt x="1629" y="332"/>
                      <a:pt x="1629" y="332"/>
                    </a:cubicBezTo>
                    <a:close/>
                    <a:moveTo>
                      <a:pt x="1688" y="359"/>
                    </a:moveTo>
                    <a:cubicBezTo>
                      <a:pt x="1684" y="357"/>
                      <a:pt x="1678" y="359"/>
                      <a:pt x="1676" y="363"/>
                    </a:cubicBezTo>
                    <a:cubicBezTo>
                      <a:pt x="1674" y="368"/>
                      <a:pt x="1676" y="373"/>
                      <a:pt x="1680" y="375"/>
                    </a:cubicBezTo>
                    <a:cubicBezTo>
                      <a:pt x="1710" y="389"/>
                      <a:pt x="1710" y="389"/>
                      <a:pt x="1710" y="389"/>
                    </a:cubicBezTo>
                    <a:cubicBezTo>
                      <a:pt x="1714" y="391"/>
                      <a:pt x="1719" y="389"/>
                      <a:pt x="1721" y="385"/>
                    </a:cubicBezTo>
                    <a:cubicBezTo>
                      <a:pt x="1724" y="381"/>
                      <a:pt x="1722" y="375"/>
                      <a:pt x="1717" y="373"/>
                    </a:cubicBezTo>
                    <a:cubicBezTo>
                      <a:pt x="1688" y="359"/>
                      <a:pt x="1688" y="359"/>
                      <a:pt x="1688" y="359"/>
                    </a:cubicBezTo>
                    <a:close/>
                    <a:moveTo>
                      <a:pt x="1747" y="388"/>
                    </a:moveTo>
                    <a:cubicBezTo>
                      <a:pt x="1742" y="386"/>
                      <a:pt x="1737" y="387"/>
                      <a:pt x="1735" y="392"/>
                    </a:cubicBezTo>
                    <a:cubicBezTo>
                      <a:pt x="1733" y="396"/>
                      <a:pt x="1735" y="401"/>
                      <a:pt x="1739" y="403"/>
                    </a:cubicBezTo>
                    <a:cubicBezTo>
                      <a:pt x="1768" y="418"/>
                      <a:pt x="1768" y="418"/>
                      <a:pt x="1768" y="418"/>
                    </a:cubicBezTo>
                    <a:cubicBezTo>
                      <a:pt x="1772" y="420"/>
                      <a:pt x="1777" y="418"/>
                      <a:pt x="1779" y="414"/>
                    </a:cubicBezTo>
                    <a:cubicBezTo>
                      <a:pt x="1781" y="410"/>
                      <a:pt x="1780" y="404"/>
                      <a:pt x="1776" y="402"/>
                    </a:cubicBezTo>
                    <a:cubicBezTo>
                      <a:pt x="1747" y="388"/>
                      <a:pt x="1747" y="388"/>
                      <a:pt x="1747" y="388"/>
                    </a:cubicBezTo>
                    <a:close/>
                    <a:moveTo>
                      <a:pt x="1805" y="417"/>
                    </a:moveTo>
                    <a:cubicBezTo>
                      <a:pt x="1800" y="415"/>
                      <a:pt x="1795" y="417"/>
                      <a:pt x="1793" y="421"/>
                    </a:cubicBezTo>
                    <a:cubicBezTo>
                      <a:pt x="1791" y="425"/>
                      <a:pt x="1793" y="430"/>
                      <a:pt x="1797" y="432"/>
                    </a:cubicBezTo>
                    <a:cubicBezTo>
                      <a:pt x="1826" y="447"/>
                      <a:pt x="1826" y="447"/>
                      <a:pt x="1826" y="447"/>
                    </a:cubicBezTo>
                    <a:cubicBezTo>
                      <a:pt x="1830" y="449"/>
                      <a:pt x="1835" y="448"/>
                      <a:pt x="1837" y="444"/>
                    </a:cubicBezTo>
                    <a:cubicBezTo>
                      <a:pt x="1839" y="440"/>
                      <a:pt x="1837" y="435"/>
                      <a:pt x="1833" y="433"/>
                    </a:cubicBezTo>
                    <a:cubicBezTo>
                      <a:pt x="1805" y="417"/>
                      <a:pt x="1805" y="417"/>
                      <a:pt x="1805" y="417"/>
                    </a:cubicBezTo>
                    <a:close/>
                    <a:moveTo>
                      <a:pt x="1862" y="448"/>
                    </a:moveTo>
                    <a:cubicBezTo>
                      <a:pt x="1858" y="446"/>
                      <a:pt x="1853" y="447"/>
                      <a:pt x="1851" y="451"/>
                    </a:cubicBezTo>
                    <a:cubicBezTo>
                      <a:pt x="1849" y="455"/>
                      <a:pt x="1850" y="460"/>
                      <a:pt x="1854" y="462"/>
                    </a:cubicBezTo>
                    <a:cubicBezTo>
                      <a:pt x="1883" y="478"/>
                      <a:pt x="1883" y="478"/>
                      <a:pt x="1883" y="478"/>
                    </a:cubicBezTo>
                    <a:cubicBezTo>
                      <a:pt x="1887" y="480"/>
                      <a:pt x="1891" y="479"/>
                      <a:pt x="1893" y="475"/>
                    </a:cubicBezTo>
                    <a:cubicBezTo>
                      <a:pt x="1896" y="471"/>
                      <a:pt x="1894" y="466"/>
                      <a:pt x="1890" y="464"/>
                    </a:cubicBezTo>
                    <a:cubicBezTo>
                      <a:pt x="1862" y="448"/>
                      <a:pt x="1862" y="448"/>
                      <a:pt x="1862" y="448"/>
                    </a:cubicBezTo>
                    <a:close/>
                    <a:moveTo>
                      <a:pt x="1919" y="480"/>
                    </a:moveTo>
                    <a:cubicBezTo>
                      <a:pt x="1915" y="478"/>
                      <a:pt x="1910" y="479"/>
                      <a:pt x="1908" y="483"/>
                    </a:cubicBezTo>
                    <a:cubicBezTo>
                      <a:pt x="1906" y="487"/>
                      <a:pt x="1907" y="491"/>
                      <a:pt x="1911" y="494"/>
                    </a:cubicBezTo>
                    <a:cubicBezTo>
                      <a:pt x="1939" y="510"/>
                      <a:pt x="1939" y="510"/>
                      <a:pt x="1939" y="510"/>
                    </a:cubicBezTo>
                    <a:cubicBezTo>
                      <a:pt x="1943" y="512"/>
                      <a:pt x="1947" y="510"/>
                      <a:pt x="1950" y="507"/>
                    </a:cubicBezTo>
                    <a:cubicBezTo>
                      <a:pt x="1952" y="503"/>
                      <a:pt x="1950" y="499"/>
                      <a:pt x="1947" y="497"/>
                    </a:cubicBezTo>
                    <a:cubicBezTo>
                      <a:pt x="1919" y="480"/>
                      <a:pt x="1919" y="480"/>
                      <a:pt x="1919" y="480"/>
                    </a:cubicBezTo>
                    <a:close/>
                    <a:moveTo>
                      <a:pt x="1975" y="513"/>
                    </a:moveTo>
                    <a:cubicBezTo>
                      <a:pt x="1971" y="511"/>
                      <a:pt x="1967" y="512"/>
                      <a:pt x="1965" y="516"/>
                    </a:cubicBezTo>
                    <a:cubicBezTo>
                      <a:pt x="1963" y="519"/>
                      <a:pt x="1964" y="524"/>
                      <a:pt x="1967" y="526"/>
                    </a:cubicBezTo>
                    <a:cubicBezTo>
                      <a:pt x="1995" y="542"/>
                      <a:pt x="1995" y="542"/>
                      <a:pt x="1995" y="542"/>
                    </a:cubicBezTo>
                    <a:cubicBezTo>
                      <a:pt x="1999" y="544"/>
                      <a:pt x="2003" y="543"/>
                      <a:pt x="2005" y="540"/>
                    </a:cubicBezTo>
                    <a:cubicBezTo>
                      <a:pt x="2007" y="537"/>
                      <a:pt x="2006" y="532"/>
                      <a:pt x="2003" y="530"/>
                    </a:cubicBezTo>
                    <a:cubicBezTo>
                      <a:pt x="1975" y="513"/>
                      <a:pt x="1975" y="513"/>
                      <a:pt x="1975" y="513"/>
                    </a:cubicBezTo>
                    <a:close/>
                    <a:moveTo>
                      <a:pt x="2030" y="547"/>
                    </a:moveTo>
                    <a:cubicBezTo>
                      <a:pt x="2027" y="545"/>
                      <a:pt x="2023" y="546"/>
                      <a:pt x="2021" y="550"/>
                    </a:cubicBezTo>
                    <a:cubicBezTo>
                      <a:pt x="2019" y="553"/>
                      <a:pt x="2020" y="557"/>
                      <a:pt x="2023" y="559"/>
                    </a:cubicBezTo>
                    <a:cubicBezTo>
                      <a:pt x="2051" y="576"/>
                      <a:pt x="2051" y="576"/>
                      <a:pt x="2051" y="576"/>
                    </a:cubicBezTo>
                    <a:cubicBezTo>
                      <a:pt x="2054" y="578"/>
                      <a:pt x="2058" y="577"/>
                      <a:pt x="2060" y="574"/>
                    </a:cubicBezTo>
                    <a:cubicBezTo>
                      <a:pt x="2062" y="571"/>
                      <a:pt x="2061" y="567"/>
                      <a:pt x="2058" y="565"/>
                    </a:cubicBezTo>
                    <a:cubicBezTo>
                      <a:pt x="2030" y="547"/>
                      <a:pt x="2030" y="547"/>
                      <a:pt x="2030" y="547"/>
                    </a:cubicBezTo>
                    <a:close/>
                    <a:moveTo>
                      <a:pt x="2085" y="583"/>
                    </a:moveTo>
                    <a:cubicBezTo>
                      <a:pt x="2082" y="581"/>
                      <a:pt x="2078" y="582"/>
                      <a:pt x="2076" y="585"/>
                    </a:cubicBezTo>
                    <a:cubicBezTo>
                      <a:pt x="2074" y="588"/>
                      <a:pt x="2075" y="592"/>
                      <a:pt x="2078" y="594"/>
                    </a:cubicBezTo>
                    <a:cubicBezTo>
                      <a:pt x="2105" y="611"/>
                      <a:pt x="2105" y="611"/>
                      <a:pt x="2105" y="611"/>
                    </a:cubicBezTo>
                    <a:cubicBezTo>
                      <a:pt x="2108" y="613"/>
                      <a:pt x="2112" y="612"/>
                      <a:pt x="2114" y="609"/>
                    </a:cubicBezTo>
                    <a:cubicBezTo>
                      <a:pt x="2116" y="607"/>
                      <a:pt x="2115" y="603"/>
                      <a:pt x="2112" y="601"/>
                    </a:cubicBezTo>
                    <a:cubicBezTo>
                      <a:pt x="2085" y="583"/>
                      <a:pt x="2085" y="583"/>
                      <a:pt x="2085" y="583"/>
                    </a:cubicBezTo>
                    <a:close/>
                    <a:moveTo>
                      <a:pt x="2139" y="619"/>
                    </a:moveTo>
                    <a:cubicBezTo>
                      <a:pt x="2136" y="617"/>
                      <a:pt x="2132" y="618"/>
                      <a:pt x="2131" y="621"/>
                    </a:cubicBezTo>
                    <a:cubicBezTo>
                      <a:pt x="2129" y="623"/>
                      <a:pt x="2130" y="627"/>
                      <a:pt x="2132" y="629"/>
                    </a:cubicBezTo>
                    <a:cubicBezTo>
                      <a:pt x="2159" y="647"/>
                      <a:pt x="2159" y="647"/>
                      <a:pt x="2159" y="647"/>
                    </a:cubicBezTo>
                    <a:cubicBezTo>
                      <a:pt x="2162" y="649"/>
                      <a:pt x="2165" y="648"/>
                      <a:pt x="2167" y="646"/>
                    </a:cubicBezTo>
                    <a:cubicBezTo>
                      <a:pt x="2169" y="643"/>
                      <a:pt x="2168" y="640"/>
                      <a:pt x="2166" y="638"/>
                    </a:cubicBezTo>
                    <a:cubicBezTo>
                      <a:pt x="2139" y="619"/>
                      <a:pt x="2139" y="619"/>
                      <a:pt x="2139" y="619"/>
                    </a:cubicBezTo>
                    <a:close/>
                    <a:moveTo>
                      <a:pt x="2192" y="657"/>
                    </a:moveTo>
                    <a:cubicBezTo>
                      <a:pt x="2190" y="655"/>
                      <a:pt x="2186" y="656"/>
                      <a:pt x="2185" y="658"/>
                    </a:cubicBezTo>
                    <a:cubicBezTo>
                      <a:pt x="2183" y="660"/>
                      <a:pt x="2184" y="664"/>
                      <a:pt x="2186" y="665"/>
                    </a:cubicBezTo>
                    <a:cubicBezTo>
                      <a:pt x="2213" y="684"/>
                      <a:pt x="2213" y="684"/>
                      <a:pt x="2213" y="684"/>
                    </a:cubicBezTo>
                    <a:cubicBezTo>
                      <a:pt x="2215" y="686"/>
                      <a:pt x="2218" y="685"/>
                      <a:pt x="2219" y="683"/>
                    </a:cubicBezTo>
                    <a:cubicBezTo>
                      <a:pt x="2221" y="681"/>
                      <a:pt x="2221" y="677"/>
                      <a:pt x="2218" y="676"/>
                    </a:cubicBezTo>
                    <a:cubicBezTo>
                      <a:pt x="2192" y="657"/>
                      <a:pt x="2192" y="657"/>
                      <a:pt x="2192" y="657"/>
                    </a:cubicBezTo>
                    <a:close/>
                    <a:moveTo>
                      <a:pt x="2244" y="695"/>
                    </a:moveTo>
                    <a:cubicBezTo>
                      <a:pt x="2242" y="694"/>
                      <a:pt x="2239" y="694"/>
                      <a:pt x="2238" y="696"/>
                    </a:cubicBezTo>
                    <a:cubicBezTo>
                      <a:pt x="2236" y="698"/>
                      <a:pt x="2237" y="701"/>
                      <a:pt x="2239" y="703"/>
                    </a:cubicBezTo>
                    <a:cubicBezTo>
                      <a:pt x="2265" y="722"/>
                      <a:pt x="2265" y="722"/>
                      <a:pt x="2265" y="722"/>
                    </a:cubicBezTo>
                    <a:cubicBezTo>
                      <a:pt x="2267" y="723"/>
                      <a:pt x="2270" y="723"/>
                      <a:pt x="2271" y="721"/>
                    </a:cubicBezTo>
                    <a:cubicBezTo>
                      <a:pt x="2273" y="719"/>
                      <a:pt x="2272" y="717"/>
                      <a:pt x="2270" y="715"/>
                    </a:cubicBezTo>
                    <a:cubicBezTo>
                      <a:pt x="2245" y="695"/>
                      <a:pt x="2245" y="695"/>
                      <a:pt x="2245" y="695"/>
                    </a:cubicBezTo>
                    <a:lnTo>
                      <a:pt x="2244" y="695"/>
                    </a:lnTo>
                    <a:close/>
                    <a:moveTo>
                      <a:pt x="2296" y="735"/>
                    </a:moveTo>
                    <a:cubicBezTo>
                      <a:pt x="2294" y="734"/>
                      <a:pt x="2292" y="734"/>
                      <a:pt x="2290" y="736"/>
                    </a:cubicBezTo>
                    <a:cubicBezTo>
                      <a:pt x="2289" y="738"/>
                      <a:pt x="2290" y="740"/>
                      <a:pt x="2291" y="741"/>
                    </a:cubicBezTo>
                    <a:cubicBezTo>
                      <a:pt x="2317" y="761"/>
                      <a:pt x="2317" y="761"/>
                      <a:pt x="2317" y="761"/>
                    </a:cubicBezTo>
                    <a:cubicBezTo>
                      <a:pt x="2319" y="762"/>
                      <a:pt x="2321" y="762"/>
                      <a:pt x="2322" y="760"/>
                    </a:cubicBezTo>
                    <a:cubicBezTo>
                      <a:pt x="2323" y="759"/>
                      <a:pt x="2323" y="757"/>
                      <a:pt x="2321" y="755"/>
                    </a:cubicBezTo>
                    <a:cubicBezTo>
                      <a:pt x="2296" y="735"/>
                      <a:pt x="2296" y="735"/>
                      <a:pt x="2296" y="735"/>
                    </a:cubicBezTo>
                    <a:close/>
                    <a:moveTo>
                      <a:pt x="2347" y="776"/>
                    </a:moveTo>
                    <a:cubicBezTo>
                      <a:pt x="2345" y="775"/>
                      <a:pt x="2343" y="775"/>
                      <a:pt x="2342" y="776"/>
                    </a:cubicBezTo>
                    <a:cubicBezTo>
                      <a:pt x="2341" y="778"/>
                      <a:pt x="2341" y="780"/>
                      <a:pt x="2343" y="781"/>
                    </a:cubicBezTo>
                    <a:cubicBezTo>
                      <a:pt x="2368" y="801"/>
                      <a:pt x="2368" y="801"/>
                      <a:pt x="2368" y="801"/>
                    </a:cubicBezTo>
                    <a:cubicBezTo>
                      <a:pt x="2369" y="802"/>
                      <a:pt x="2371" y="802"/>
                      <a:pt x="2372" y="800"/>
                    </a:cubicBezTo>
                    <a:cubicBezTo>
                      <a:pt x="2373" y="799"/>
                      <a:pt x="2373" y="798"/>
                      <a:pt x="2372" y="797"/>
                    </a:cubicBezTo>
                    <a:cubicBezTo>
                      <a:pt x="2347" y="776"/>
                      <a:pt x="2347" y="776"/>
                      <a:pt x="2347" y="776"/>
                    </a:cubicBezTo>
                    <a:close/>
                    <a:moveTo>
                      <a:pt x="2396" y="818"/>
                    </a:moveTo>
                    <a:cubicBezTo>
                      <a:pt x="2395" y="817"/>
                      <a:pt x="2394" y="817"/>
                      <a:pt x="2393" y="818"/>
                    </a:cubicBezTo>
                    <a:cubicBezTo>
                      <a:pt x="2392" y="819"/>
                      <a:pt x="2393" y="820"/>
                      <a:pt x="2394" y="821"/>
                    </a:cubicBezTo>
                    <a:cubicBezTo>
                      <a:pt x="2419" y="842"/>
                      <a:pt x="2419" y="842"/>
                      <a:pt x="2419" y="842"/>
                    </a:cubicBezTo>
                    <a:cubicBezTo>
                      <a:pt x="2419" y="843"/>
                      <a:pt x="2420" y="842"/>
                      <a:pt x="2421" y="842"/>
                    </a:cubicBezTo>
                    <a:cubicBezTo>
                      <a:pt x="2422" y="841"/>
                      <a:pt x="2422" y="840"/>
                      <a:pt x="2421" y="839"/>
                    </a:cubicBezTo>
                    <a:cubicBezTo>
                      <a:pt x="2396" y="818"/>
                      <a:pt x="2396" y="818"/>
                      <a:pt x="2396" y="818"/>
                    </a:cubicBezTo>
                    <a:close/>
                    <a:moveTo>
                      <a:pt x="2445" y="861"/>
                    </a:moveTo>
                    <a:cubicBezTo>
                      <a:pt x="2445" y="860"/>
                      <a:pt x="2444" y="860"/>
                      <a:pt x="2443" y="861"/>
                    </a:cubicBezTo>
                    <a:cubicBezTo>
                      <a:pt x="2443" y="861"/>
                      <a:pt x="2443" y="862"/>
                      <a:pt x="2443" y="863"/>
                    </a:cubicBezTo>
                    <a:cubicBezTo>
                      <a:pt x="2468" y="884"/>
                      <a:pt x="2468" y="884"/>
                      <a:pt x="2468" y="884"/>
                    </a:cubicBezTo>
                    <a:cubicBezTo>
                      <a:pt x="2469" y="884"/>
                      <a:pt x="2469" y="884"/>
                      <a:pt x="2469" y="884"/>
                    </a:cubicBezTo>
                    <a:cubicBezTo>
                      <a:pt x="2469" y="883"/>
                      <a:pt x="2469" y="883"/>
                      <a:pt x="2469" y="883"/>
                    </a:cubicBezTo>
                    <a:cubicBezTo>
                      <a:pt x="2445" y="861"/>
                      <a:pt x="2445" y="861"/>
                      <a:pt x="2445" y="861"/>
                    </a:cubicBezTo>
                    <a:close/>
                    <a:moveTo>
                      <a:pt x="2493" y="905"/>
                    </a:moveTo>
                    <a:cubicBezTo>
                      <a:pt x="2493" y="905"/>
                      <a:pt x="2493" y="905"/>
                      <a:pt x="2493" y="905"/>
                    </a:cubicBezTo>
                    <a:cubicBezTo>
                      <a:pt x="2493" y="906"/>
                      <a:pt x="2493" y="906"/>
                      <a:pt x="2493" y="906"/>
                    </a:cubicBezTo>
                    <a:cubicBezTo>
                      <a:pt x="2505" y="916"/>
                      <a:pt x="2505" y="916"/>
                      <a:pt x="2505" y="916"/>
                    </a:cubicBezTo>
                    <a:cubicBezTo>
                      <a:pt x="2493" y="905"/>
                      <a:pt x="2493" y="905"/>
                      <a:pt x="2493" y="905"/>
                    </a:cubicBezTo>
                    <a:close/>
                  </a:path>
                </a:pathLst>
              </a:custGeom>
              <a:solidFill>
                <a:schemeClr val="tx2">
                  <a:lumMod val="60000"/>
                  <a:lumOff val="40000"/>
                </a:schemeClr>
              </a:solidFill>
              <a:ln>
                <a:noFill/>
              </a:ln>
            </p:spPr>
            <p:txBody>
              <a:bodyPr vert="horz" wrap="square" lIns="89643" tIns="44822" rIns="89643" bIns="44822" numCol="1" anchor="t" anchorCtr="0" compatLnSpc="1">
                <a:prstTxWarp prst="textNoShape">
                  <a:avLst/>
                </a:prstTxWarp>
              </a:bodyPr>
              <a:lstStyle/>
              <a:p>
                <a:pPr defTabSz="914348"/>
                <a:endParaRPr lang="en-US" sz="1298" dirty="0">
                  <a:solidFill>
                    <a:prstClr val="black"/>
                  </a:solidFill>
                  <a:latin typeface="Calibri" panose="020F0502020204030204"/>
                  <a:ea typeface="Heiti SC Light" charset="-122"/>
                  <a:sym typeface="Gill Sans" charset="0"/>
                </a:endParaRPr>
              </a:p>
            </p:txBody>
          </p:sp>
          <p:sp>
            <p:nvSpPr>
              <p:cNvPr id="80" name="Freeform 618"/>
              <p:cNvSpPr>
                <a:spLocks noEditPoints="1"/>
              </p:cNvSpPr>
              <p:nvPr/>
            </p:nvSpPr>
            <p:spPr bwMode="auto">
              <a:xfrm>
                <a:off x="3008878" y="6045763"/>
                <a:ext cx="5432390" cy="1280476"/>
              </a:xfrm>
              <a:custGeom>
                <a:avLst/>
                <a:gdLst>
                  <a:gd name="T0" fmla="*/ 12 w 1969"/>
                  <a:gd name="T1" fmla="*/ 454 h 464"/>
                  <a:gd name="T2" fmla="*/ 64 w 1969"/>
                  <a:gd name="T3" fmla="*/ 415 h 464"/>
                  <a:gd name="T4" fmla="*/ 87 w 1969"/>
                  <a:gd name="T5" fmla="*/ 396 h 464"/>
                  <a:gd name="T6" fmla="*/ 114 w 1969"/>
                  <a:gd name="T7" fmla="*/ 374 h 464"/>
                  <a:gd name="T8" fmla="*/ 172 w 1969"/>
                  <a:gd name="T9" fmla="*/ 344 h 464"/>
                  <a:gd name="T10" fmla="*/ 140 w 1969"/>
                  <a:gd name="T11" fmla="*/ 360 h 464"/>
                  <a:gd name="T12" fmla="*/ 230 w 1969"/>
                  <a:gd name="T13" fmla="*/ 306 h 464"/>
                  <a:gd name="T14" fmla="*/ 257 w 1969"/>
                  <a:gd name="T15" fmla="*/ 297 h 464"/>
                  <a:gd name="T16" fmla="*/ 252 w 1969"/>
                  <a:gd name="T17" fmla="*/ 288 h 464"/>
                  <a:gd name="T18" fmla="*/ 343 w 1969"/>
                  <a:gd name="T19" fmla="*/ 254 h 464"/>
                  <a:gd name="T20" fmla="*/ 364 w 1969"/>
                  <a:gd name="T21" fmla="*/ 237 h 464"/>
                  <a:gd name="T22" fmla="*/ 396 w 1969"/>
                  <a:gd name="T23" fmla="*/ 215 h 464"/>
                  <a:gd name="T24" fmla="*/ 461 w 1969"/>
                  <a:gd name="T25" fmla="*/ 203 h 464"/>
                  <a:gd name="T26" fmla="*/ 422 w 1969"/>
                  <a:gd name="T27" fmla="*/ 211 h 464"/>
                  <a:gd name="T28" fmla="*/ 526 w 1969"/>
                  <a:gd name="T29" fmla="*/ 169 h 464"/>
                  <a:gd name="T30" fmla="*/ 552 w 1969"/>
                  <a:gd name="T31" fmla="*/ 168 h 464"/>
                  <a:gd name="T32" fmla="*/ 546 w 1969"/>
                  <a:gd name="T33" fmla="*/ 153 h 464"/>
                  <a:gd name="T34" fmla="*/ 643 w 1969"/>
                  <a:gd name="T35" fmla="*/ 138 h 464"/>
                  <a:gd name="T36" fmla="*/ 663 w 1969"/>
                  <a:gd name="T37" fmla="*/ 122 h 464"/>
                  <a:gd name="T38" fmla="*/ 700 w 1969"/>
                  <a:gd name="T39" fmla="*/ 102 h 464"/>
                  <a:gd name="T40" fmla="*/ 767 w 1969"/>
                  <a:gd name="T41" fmla="*/ 103 h 464"/>
                  <a:gd name="T42" fmla="*/ 725 w 1969"/>
                  <a:gd name="T43" fmla="*/ 104 h 464"/>
                  <a:gd name="T44" fmla="*/ 837 w 1969"/>
                  <a:gd name="T45" fmla="*/ 76 h 464"/>
                  <a:gd name="T46" fmla="*/ 861 w 1969"/>
                  <a:gd name="T47" fmla="*/ 80 h 464"/>
                  <a:gd name="T48" fmla="*/ 857 w 1969"/>
                  <a:gd name="T49" fmla="*/ 62 h 464"/>
                  <a:gd name="T50" fmla="*/ 956 w 1969"/>
                  <a:gd name="T51" fmla="*/ 60 h 464"/>
                  <a:gd name="T52" fmla="*/ 985 w 1969"/>
                  <a:gd name="T53" fmla="*/ 37 h 464"/>
                  <a:gd name="T54" fmla="*/ 1017 w 1969"/>
                  <a:gd name="T55" fmla="*/ 32 h 464"/>
                  <a:gd name="T56" fmla="*/ 1051 w 1969"/>
                  <a:gd name="T57" fmla="*/ 46 h 464"/>
                  <a:gd name="T58" fmla="*/ 1049 w 1969"/>
                  <a:gd name="T59" fmla="*/ 27 h 464"/>
                  <a:gd name="T60" fmla="*/ 1155 w 1969"/>
                  <a:gd name="T61" fmla="*/ 23 h 464"/>
                  <a:gd name="T62" fmla="*/ 1169 w 1969"/>
                  <a:gd name="T63" fmla="*/ 22 h 464"/>
                  <a:gd name="T64" fmla="*/ 1178 w 1969"/>
                  <a:gd name="T65" fmla="*/ 12 h 464"/>
                  <a:gd name="T66" fmla="*/ 1276 w 1969"/>
                  <a:gd name="T67" fmla="*/ 22 h 464"/>
                  <a:gd name="T68" fmla="*/ 1307 w 1969"/>
                  <a:gd name="T69" fmla="*/ 3 h 464"/>
                  <a:gd name="T70" fmla="*/ 1339 w 1969"/>
                  <a:gd name="T71" fmla="*/ 1 h 464"/>
                  <a:gd name="T72" fmla="*/ 1372 w 1969"/>
                  <a:gd name="T73" fmla="*/ 17 h 464"/>
                  <a:gd name="T74" fmla="*/ 1372 w 1969"/>
                  <a:gd name="T75" fmla="*/ 0 h 464"/>
                  <a:gd name="T76" fmla="*/ 1476 w 1969"/>
                  <a:gd name="T77" fmla="*/ 7 h 464"/>
                  <a:gd name="T78" fmla="*/ 1494 w 1969"/>
                  <a:gd name="T79" fmla="*/ 7 h 464"/>
                  <a:gd name="T80" fmla="*/ 1501 w 1969"/>
                  <a:gd name="T81" fmla="*/ 0 h 464"/>
                  <a:gd name="T82" fmla="*/ 1598 w 1969"/>
                  <a:gd name="T83" fmla="*/ 16 h 464"/>
                  <a:gd name="T84" fmla="*/ 1631 w 1969"/>
                  <a:gd name="T85" fmla="*/ 5 h 464"/>
                  <a:gd name="T86" fmla="*/ 1663 w 1969"/>
                  <a:gd name="T87" fmla="*/ 7 h 464"/>
                  <a:gd name="T88" fmla="*/ 1695 w 1969"/>
                  <a:gd name="T89" fmla="*/ 20 h 464"/>
                  <a:gd name="T90" fmla="*/ 1695 w 1969"/>
                  <a:gd name="T91" fmla="*/ 10 h 464"/>
                  <a:gd name="T92" fmla="*/ 1795 w 1969"/>
                  <a:gd name="T93" fmla="*/ 23 h 464"/>
                  <a:gd name="T94" fmla="*/ 1821 w 1969"/>
                  <a:gd name="T95" fmla="*/ 26 h 464"/>
                  <a:gd name="T96" fmla="*/ 1824 w 1969"/>
                  <a:gd name="T97" fmla="*/ 23 h 464"/>
                  <a:gd name="T98" fmla="*/ 1920 w 1969"/>
                  <a:gd name="T99" fmla="*/ 39 h 464"/>
                  <a:gd name="T100" fmla="*/ 1953 w 1969"/>
                  <a:gd name="T101" fmla="*/ 41 h 464"/>
                  <a:gd name="T102" fmla="*/ 1953 w 1969"/>
                  <a:gd name="T103" fmla="*/ 41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69" h="464">
                    <a:moveTo>
                      <a:pt x="0" y="464"/>
                    </a:moveTo>
                    <a:cubicBezTo>
                      <a:pt x="12" y="453"/>
                      <a:pt x="12" y="453"/>
                      <a:pt x="12" y="453"/>
                    </a:cubicBezTo>
                    <a:cubicBezTo>
                      <a:pt x="12" y="453"/>
                      <a:pt x="12" y="453"/>
                      <a:pt x="12" y="453"/>
                    </a:cubicBezTo>
                    <a:cubicBezTo>
                      <a:pt x="12" y="454"/>
                      <a:pt x="12" y="454"/>
                      <a:pt x="12" y="454"/>
                    </a:cubicBezTo>
                    <a:cubicBezTo>
                      <a:pt x="12" y="454"/>
                      <a:pt x="12" y="454"/>
                      <a:pt x="12" y="454"/>
                    </a:cubicBezTo>
                    <a:cubicBezTo>
                      <a:pt x="0" y="464"/>
                      <a:pt x="0" y="464"/>
                      <a:pt x="0" y="464"/>
                    </a:cubicBezTo>
                    <a:moveTo>
                      <a:pt x="36" y="434"/>
                    </a:moveTo>
                    <a:cubicBezTo>
                      <a:pt x="37" y="434"/>
                      <a:pt x="37" y="434"/>
                      <a:pt x="38" y="434"/>
                    </a:cubicBezTo>
                    <a:cubicBezTo>
                      <a:pt x="64" y="415"/>
                      <a:pt x="64" y="415"/>
                      <a:pt x="64" y="415"/>
                    </a:cubicBezTo>
                    <a:cubicBezTo>
                      <a:pt x="64" y="415"/>
                      <a:pt x="64" y="415"/>
                      <a:pt x="64" y="415"/>
                    </a:cubicBezTo>
                    <a:cubicBezTo>
                      <a:pt x="65" y="414"/>
                      <a:pt x="65" y="413"/>
                      <a:pt x="64" y="412"/>
                    </a:cubicBezTo>
                    <a:cubicBezTo>
                      <a:pt x="64" y="412"/>
                      <a:pt x="63" y="411"/>
                      <a:pt x="62" y="412"/>
                    </a:cubicBezTo>
                    <a:cubicBezTo>
                      <a:pt x="37" y="432"/>
                      <a:pt x="37" y="432"/>
                      <a:pt x="37" y="432"/>
                    </a:cubicBezTo>
                    <a:cubicBezTo>
                      <a:pt x="36" y="432"/>
                      <a:pt x="36" y="433"/>
                      <a:pt x="36" y="434"/>
                    </a:cubicBezTo>
                    <a:moveTo>
                      <a:pt x="87" y="396"/>
                    </a:moveTo>
                    <a:cubicBezTo>
                      <a:pt x="88" y="397"/>
                      <a:pt x="89" y="397"/>
                      <a:pt x="90" y="396"/>
                    </a:cubicBezTo>
                    <a:cubicBezTo>
                      <a:pt x="117" y="378"/>
                      <a:pt x="117" y="378"/>
                      <a:pt x="117" y="378"/>
                    </a:cubicBezTo>
                    <a:cubicBezTo>
                      <a:pt x="117" y="378"/>
                      <a:pt x="117" y="378"/>
                      <a:pt x="117" y="378"/>
                    </a:cubicBezTo>
                    <a:cubicBezTo>
                      <a:pt x="119" y="378"/>
                      <a:pt x="119" y="376"/>
                      <a:pt x="118" y="375"/>
                    </a:cubicBezTo>
                    <a:cubicBezTo>
                      <a:pt x="117" y="373"/>
                      <a:pt x="116" y="373"/>
                      <a:pt x="114" y="374"/>
                    </a:cubicBezTo>
                    <a:cubicBezTo>
                      <a:pt x="88" y="393"/>
                      <a:pt x="88" y="393"/>
                      <a:pt x="88" y="393"/>
                    </a:cubicBezTo>
                    <a:cubicBezTo>
                      <a:pt x="87" y="393"/>
                      <a:pt x="87" y="395"/>
                      <a:pt x="87" y="396"/>
                    </a:cubicBezTo>
                    <a:moveTo>
                      <a:pt x="140" y="360"/>
                    </a:moveTo>
                    <a:cubicBezTo>
                      <a:pt x="141" y="362"/>
                      <a:pt x="143" y="362"/>
                      <a:pt x="145" y="361"/>
                    </a:cubicBezTo>
                    <a:cubicBezTo>
                      <a:pt x="172" y="344"/>
                      <a:pt x="172" y="344"/>
                      <a:pt x="172" y="344"/>
                    </a:cubicBezTo>
                    <a:cubicBezTo>
                      <a:pt x="172" y="344"/>
                      <a:pt x="172" y="344"/>
                      <a:pt x="172" y="344"/>
                    </a:cubicBezTo>
                    <a:cubicBezTo>
                      <a:pt x="174" y="343"/>
                      <a:pt x="175" y="341"/>
                      <a:pt x="174" y="339"/>
                    </a:cubicBezTo>
                    <a:cubicBezTo>
                      <a:pt x="172" y="337"/>
                      <a:pt x="170" y="337"/>
                      <a:pt x="168" y="338"/>
                    </a:cubicBezTo>
                    <a:cubicBezTo>
                      <a:pt x="141" y="356"/>
                      <a:pt x="141" y="356"/>
                      <a:pt x="141" y="356"/>
                    </a:cubicBezTo>
                    <a:cubicBezTo>
                      <a:pt x="140" y="357"/>
                      <a:pt x="139" y="359"/>
                      <a:pt x="140" y="360"/>
                    </a:cubicBezTo>
                    <a:moveTo>
                      <a:pt x="194" y="327"/>
                    </a:moveTo>
                    <a:cubicBezTo>
                      <a:pt x="195" y="329"/>
                      <a:pt x="198" y="330"/>
                      <a:pt x="200" y="328"/>
                    </a:cubicBezTo>
                    <a:cubicBezTo>
                      <a:pt x="228" y="313"/>
                      <a:pt x="228" y="313"/>
                      <a:pt x="228" y="313"/>
                    </a:cubicBezTo>
                    <a:cubicBezTo>
                      <a:pt x="228" y="313"/>
                      <a:pt x="228" y="313"/>
                      <a:pt x="228" y="313"/>
                    </a:cubicBezTo>
                    <a:cubicBezTo>
                      <a:pt x="231" y="311"/>
                      <a:pt x="232" y="308"/>
                      <a:pt x="230" y="306"/>
                    </a:cubicBezTo>
                    <a:cubicBezTo>
                      <a:pt x="229" y="304"/>
                      <a:pt x="226" y="303"/>
                      <a:pt x="223" y="304"/>
                    </a:cubicBezTo>
                    <a:cubicBezTo>
                      <a:pt x="196" y="321"/>
                      <a:pt x="196" y="321"/>
                      <a:pt x="196" y="321"/>
                    </a:cubicBezTo>
                    <a:cubicBezTo>
                      <a:pt x="194" y="322"/>
                      <a:pt x="193" y="325"/>
                      <a:pt x="194" y="327"/>
                    </a:cubicBezTo>
                    <a:moveTo>
                      <a:pt x="250" y="295"/>
                    </a:moveTo>
                    <a:cubicBezTo>
                      <a:pt x="251" y="298"/>
                      <a:pt x="254" y="299"/>
                      <a:pt x="257" y="297"/>
                    </a:cubicBezTo>
                    <a:cubicBezTo>
                      <a:pt x="285" y="282"/>
                      <a:pt x="285" y="282"/>
                      <a:pt x="285" y="282"/>
                    </a:cubicBezTo>
                    <a:cubicBezTo>
                      <a:pt x="285" y="282"/>
                      <a:pt x="285" y="282"/>
                      <a:pt x="285" y="282"/>
                    </a:cubicBezTo>
                    <a:cubicBezTo>
                      <a:pt x="288" y="281"/>
                      <a:pt x="289" y="277"/>
                      <a:pt x="288" y="275"/>
                    </a:cubicBezTo>
                    <a:cubicBezTo>
                      <a:pt x="286" y="272"/>
                      <a:pt x="283" y="271"/>
                      <a:pt x="280" y="272"/>
                    </a:cubicBezTo>
                    <a:cubicBezTo>
                      <a:pt x="252" y="288"/>
                      <a:pt x="252" y="288"/>
                      <a:pt x="252" y="288"/>
                    </a:cubicBezTo>
                    <a:cubicBezTo>
                      <a:pt x="249" y="289"/>
                      <a:pt x="248" y="293"/>
                      <a:pt x="250" y="295"/>
                    </a:cubicBezTo>
                    <a:moveTo>
                      <a:pt x="306" y="265"/>
                    </a:moveTo>
                    <a:cubicBezTo>
                      <a:pt x="307" y="268"/>
                      <a:pt x="311" y="270"/>
                      <a:pt x="314" y="268"/>
                    </a:cubicBezTo>
                    <a:cubicBezTo>
                      <a:pt x="343" y="254"/>
                      <a:pt x="343" y="254"/>
                      <a:pt x="343" y="254"/>
                    </a:cubicBezTo>
                    <a:cubicBezTo>
                      <a:pt x="343" y="254"/>
                      <a:pt x="343" y="254"/>
                      <a:pt x="343" y="254"/>
                    </a:cubicBezTo>
                    <a:cubicBezTo>
                      <a:pt x="347" y="252"/>
                      <a:pt x="348" y="249"/>
                      <a:pt x="346" y="245"/>
                    </a:cubicBezTo>
                    <a:cubicBezTo>
                      <a:pt x="345" y="242"/>
                      <a:pt x="341" y="241"/>
                      <a:pt x="338" y="243"/>
                    </a:cubicBezTo>
                    <a:cubicBezTo>
                      <a:pt x="309" y="257"/>
                      <a:pt x="309" y="257"/>
                      <a:pt x="309" y="257"/>
                    </a:cubicBezTo>
                    <a:cubicBezTo>
                      <a:pt x="306" y="259"/>
                      <a:pt x="305" y="262"/>
                      <a:pt x="306" y="265"/>
                    </a:cubicBezTo>
                    <a:moveTo>
                      <a:pt x="364" y="237"/>
                    </a:moveTo>
                    <a:cubicBezTo>
                      <a:pt x="365" y="241"/>
                      <a:pt x="369" y="242"/>
                      <a:pt x="372" y="241"/>
                    </a:cubicBezTo>
                    <a:cubicBezTo>
                      <a:pt x="402" y="227"/>
                      <a:pt x="402" y="227"/>
                      <a:pt x="402" y="227"/>
                    </a:cubicBezTo>
                    <a:cubicBezTo>
                      <a:pt x="402" y="227"/>
                      <a:pt x="402" y="227"/>
                      <a:pt x="402" y="227"/>
                    </a:cubicBezTo>
                    <a:cubicBezTo>
                      <a:pt x="406" y="226"/>
                      <a:pt x="407" y="222"/>
                      <a:pt x="405" y="218"/>
                    </a:cubicBezTo>
                    <a:cubicBezTo>
                      <a:pt x="404" y="215"/>
                      <a:pt x="400" y="213"/>
                      <a:pt x="396" y="215"/>
                    </a:cubicBezTo>
                    <a:cubicBezTo>
                      <a:pt x="367" y="228"/>
                      <a:pt x="367" y="228"/>
                      <a:pt x="367" y="228"/>
                    </a:cubicBezTo>
                    <a:cubicBezTo>
                      <a:pt x="364" y="230"/>
                      <a:pt x="362" y="234"/>
                      <a:pt x="364" y="237"/>
                    </a:cubicBezTo>
                    <a:moveTo>
                      <a:pt x="422" y="211"/>
                    </a:moveTo>
                    <a:cubicBezTo>
                      <a:pt x="423" y="215"/>
                      <a:pt x="428" y="216"/>
                      <a:pt x="431" y="215"/>
                    </a:cubicBezTo>
                    <a:cubicBezTo>
                      <a:pt x="461" y="203"/>
                      <a:pt x="461" y="203"/>
                      <a:pt x="461" y="203"/>
                    </a:cubicBezTo>
                    <a:cubicBezTo>
                      <a:pt x="461" y="203"/>
                      <a:pt x="461" y="203"/>
                      <a:pt x="461" y="203"/>
                    </a:cubicBezTo>
                    <a:cubicBezTo>
                      <a:pt x="465" y="201"/>
                      <a:pt x="467" y="196"/>
                      <a:pt x="465" y="193"/>
                    </a:cubicBezTo>
                    <a:cubicBezTo>
                      <a:pt x="464" y="189"/>
                      <a:pt x="459" y="187"/>
                      <a:pt x="456" y="189"/>
                    </a:cubicBezTo>
                    <a:cubicBezTo>
                      <a:pt x="426" y="201"/>
                      <a:pt x="426" y="201"/>
                      <a:pt x="426" y="201"/>
                    </a:cubicBezTo>
                    <a:cubicBezTo>
                      <a:pt x="422" y="203"/>
                      <a:pt x="420" y="207"/>
                      <a:pt x="422" y="211"/>
                    </a:cubicBezTo>
                    <a:moveTo>
                      <a:pt x="481" y="186"/>
                    </a:moveTo>
                    <a:cubicBezTo>
                      <a:pt x="483" y="190"/>
                      <a:pt x="487" y="192"/>
                      <a:pt x="491" y="191"/>
                    </a:cubicBezTo>
                    <a:cubicBezTo>
                      <a:pt x="521" y="179"/>
                      <a:pt x="521" y="179"/>
                      <a:pt x="521" y="179"/>
                    </a:cubicBezTo>
                    <a:cubicBezTo>
                      <a:pt x="522" y="179"/>
                      <a:pt x="522" y="179"/>
                      <a:pt x="522" y="179"/>
                    </a:cubicBezTo>
                    <a:cubicBezTo>
                      <a:pt x="526" y="178"/>
                      <a:pt x="528" y="173"/>
                      <a:pt x="526" y="169"/>
                    </a:cubicBezTo>
                    <a:cubicBezTo>
                      <a:pt x="525" y="165"/>
                      <a:pt x="520" y="163"/>
                      <a:pt x="516" y="164"/>
                    </a:cubicBezTo>
                    <a:cubicBezTo>
                      <a:pt x="486" y="176"/>
                      <a:pt x="486" y="176"/>
                      <a:pt x="486" y="176"/>
                    </a:cubicBezTo>
                    <a:cubicBezTo>
                      <a:pt x="482" y="178"/>
                      <a:pt x="480" y="182"/>
                      <a:pt x="481" y="186"/>
                    </a:cubicBezTo>
                    <a:moveTo>
                      <a:pt x="541" y="163"/>
                    </a:moveTo>
                    <a:cubicBezTo>
                      <a:pt x="543" y="168"/>
                      <a:pt x="547" y="170"/>
                      <a:pt x="552" y="168"/>
                    </a:cubicBezTo>
                    <a:cubicBezTo>
                      <a:pt x="582" y="158"/>
                      <a:pt x="582" y="158"/>
                      <a:pt x="582" y="158"/>
                    </a:cubicBezTo>
                    <a:cubicBezTo>
                      <a:pt x="582" y="158"/>
                      <a:pt x="582" y="158"/>
                      <a:pt x="582" y="158"/>
                    </a:cubicBezTo>
                    <a:cubicBezTo>
                      <a:pt x="587" y="156"/>
                      <a:pt x="589" y="151"/>
                      <a:pt x="587" y="147"/>
                    </a:cubicBezTo>
                    <a:cubicBezTo>
                      <a:pt x="586" y="143"/>
                      <a:pt x="581" y="140"/>
                      <a:pt x="577" y="142"/>
                    </a:cubicBezTo>
                    <a:cubicBezTo>
                      <a:pt x="546" y="153"/>
                      <a:pt x="546" y="153"/>
                      <a:pt x="546" y="153"/>
                    </a:cubicBezTo>
                    <a:cubicBezTo>
                      <a:pt x="542" y="154"/>
                      <a:pt x="540" y="159"/>
                      <a:pt x="541" y="163"/>
                    </a:cubicBezTo>
                    <a:moveTo>
                      <a:pt x="602" y="142"/>
                    </a:moveTo>
                    <a:cubicBezTo>
                      <a:pt x="603" y="147"/>
                      <a:pt x="608" y="149"/>
                      <a:pt x="613" y="148"/>
                    </a:cubicBezTo>
                    <a:cubicBezTo>
                      <a:pt x="643" y="138"/>
                      <a:pt x="643" y="138"/>
                      <a:pt x="643" y="138"/>
                    </a:cubicBezTo>
                    <a:cubicBezTo>
                      <a:pt x="643" y="138"/>
                      <a:pt x="643" y="138"/>
                      <a:pt x="643" y="138"/>
                    </a:cubicBezTo>
                    <a:cubicBezTo>
                      <a:pt x="648" y="136"/>
                      <a:pt x="651" y="131"/>
                      <a:pt x="649" y="127"/>
                    </a:cubicBezTo>
                    <a:cubicBezTo>
                      <a:pt x="648" y="122"/>
                      <a:pt x="643" y="120"/>
                      <a:pt x="638" y="121"/>
                    </a:cubicBezTo>
                    <a:cubicBezTo>
                      <a:pt x="607" y="131"/>
                      <a:pt x="607" y="131"/>
                      <a:pt x="607" y="131"/>
                    </a:cubicBezTo>
                    <a:cubicBezTo>
                      <a:pt x="603" y="133"/>
                      <a:pt x="600" y="138"/>
                      <a:pt x="602" y="142"/>
                    </a:cubicBezTo>
                    <a:moveTo>
                      <a:pt x="663" y="122"/>
                    </a:moveTo>
                    <a:cubicBezTo>
                      <a:pt x="664" y="127"/>
                      <a:pt x="669" y="130"/>
                      <a:pt x="674" y="128"/>
                    </a:cubicBezTo>
                    <a:cubicBezTo>
                      <a:pt x="705" y="119"/>
                      <a:pt x="705" y="119"/>
                      <a:pt x="705" y="119"/>
                    </a:cubicBezTo>
                    <a:cubicBezTo>
                      <a:pt x="705" y="119"/>
                      <a:pt x="705" y="119"/>
                      <a:pt x="705" y="119"/>
                    </a:cubicBezTo>
                    <a:cubicBezTo>
                      <a:pt x="710" y="118"/>
                      <a:pt x="713" y="113"/>
                      <a:pt x="711" y="108"/>
                    </a:cubicBezTo>
                    <a:cubicBezTo>
                      <a:pt x="710" y="103"/>
                      <a:pt x="705" y="101"/>
                      <a:pt x="700" y="102"/>
                    </a:cubicBezTo>
                    <a:cubicBezTo>
                      <a:pt x="669" y="111"/>
                      <a:pt x="669" y="111"/>
                      <a:pt x="669" y="111"/>
                    </a:cubicBezTo>
                    <a:cubicBezTo>
                      <a:pt x="664" y="113"/>
                      <a:pt x="662" y="118"/>
                      <a:pt x="663" y="122"/>
                    </a:cubicBezTo>
                    <a:moveTo>
                      <a:pt x="725" y="104"/>
                    </a:moveTo>
                    <a:cubicBezTo>
                      <a:pt x="726" y="109"/>
                      <a:pt x="731" y="112"/>
                      <a:pt x="736" y="111"/>
                    </a:cubicBezTo>
                    <a:cubicBezTo>
                      <a:pt x="767" y="103"/>
                      <a:pt x="767" y="103"/>
                      <a:pt x="767" y="103"/>
                    </a:cubicBezTo>
                    <a:cubicBezTo>
                      <a:pt x="767" y="103"/>
                      <a:pt x="767" y="103"/>
                      <a:pt x="767" y="103"/>
                    </a:cubicBezTo>
                    <a:cubicBezTo>
                      <a:pt x="772" y="101"/>
                      <a:pt x="775" y="96"/>
                      <a:pt x="774" y="91"/>
                    </a:cubicBezTo>
                    <a:cubicBezTo>
                      <a:pt x="773" y="86"/>
                      <a:pt x="767" y="83"/>
                      <a:pt x="763" y="85"/>
                    </a:cubicBezTo>
                    <a:cubicBezTo>
                      <a:pt x="731" y="93"/>
                      <a:pt x="731" y="93"/>
                      <a:pt x="731" y="93"/>
                    </a:cubicBezTo>
                    <a:cubicBezTo>
                      <a:pt x="726" y="94"/>
                      <a:pt x="724" y="99"/>
                      <a:pt x="725" y="104"/>
                    </a:cubicBezTo>
                    <a:moveTo>
                      <a:pt x="787" y="88"/>
                    </a:moveTo>
                    <a:cubicBezTo>
                      <a:pt x="788" y="93"/>
                      <a:pt x="793" y="96"/>
                      <a:pt x="798" y="95"/>
                    </a:cubicBezTo>
                    <a:cubicBezTo>
                      <a:pt x="830" y="87"/>
                      <a:pt x="830" y="87"/>
                      <a:pt x="830" y="87"/>
                    </a:cubicBezTo>
                    <a:cubicBezTo>
                      <a:pt x="830" y="87"/>
                      <a:pt x="830" y="87"/>
                      <a:pt x="830" y="87"/>
                    </a:cubicBezTo>
                    <a:cubicBezTo>
                      <a:pt x="835" y="86"/>
                      <a:pt x="838" y="81"/>
                      <a:pt x="837" y="76"/>
                    </a:cubicBezTo>
                    <a:cubicBezTo>
                      <a:pt x="836" y="71"/>
                      <a:pt x="831" y="68"/>
                      <a:pt x="826" y="69"/>
                    </a:cubicBezTo>
                    <a:cubicBezTo>
                      <a:pt x="794" y="77"/>
                      <a:pt x="794" y="77"/>
                      <a:pt x="794" y="77"/>
                    </a:cubicBezTo>
                    <a:cubicBezTo>
                      <a:pt x="789" y="78"/>
                      <a:pt x="786" y="83"/>
                      <a:pt x="787" y="88"/>
                    </a:cubicBezTo>
                    <a:moveTo>
                      <a:pt x="850" y="73"/>
                    </a:moveTo>
                    <a:cubicBezTo>
                      <a:pt x="851" y="78"/>
                      <a:pt x="856" y="81"/>
                      <a:pt x="861" y="80"/>
                    </a:cubicBezTo>
                    <a:cubicBezTo>
                      <a:pt x="893" y="74"/>
                      <a:pt x="893" y="74"/>
                      <a:pt x="893" y="74"/>
                    </a:cubicBezTo>
                    <a:cubicBezTo>
                      <a:pt x="893" y="74"/>
                      <a:pt x="893" y="74"/>
                      <a:pt x="893" y="74"/>
                    </a:cubicBezTo>
                    <a:cubicBezTo>
                      <a:pt x="898" y="72"/>
                      <a:pt x="901" y="67"/>
                      <a:pt x="900" y="62"/>
                    </a:cubicBezTo>
                    <a:cubicBezTo>
                      <a:pt x="899" y="57"/>
                      <a:pt x="894" y="54"/>
                      <a:pt x="889" y="55"/>
                    </a:cubicBezTo>
                    <a:cubicBezTo>
                      <a:pt x="857" y="62"/>
                      <a:pt x="857" y="62"/>
                      <a:pt x="857" y="62"/>
                    </a:cubicBezTo>
                    <a:cubicBezTo>
                      <a:pt x="852" y="63"/>
                      <a:pt x="849" y="68"/>
                      <a:pt x="850" y="73"/>
                    </a:cubicBezTo>
                    <a:moveTo>
                      <a:pt x="913" y="60"/>
                    </a:moveTo>
                    <a:cubicBezTo>
                      <a:pt x="914" y="65"/>
                      <a:pt x="919" y="68"/>
                      <a:pt x="924" y="67"/>
                    </a:cubicBezTo>
                    <a:cubicBezTo>
                      <a:pt x="956" y="60"/>
                      <a:pt x="956" y="60"/>
                      <a:pt x="956" y="60"/>
                    </a:cubicBezTo>
                    <a:cubicBezTo>
                      <a:pt x="956" y="60"/>
                      <a:pt x="956" y="60"/>
                      <a:pt x="956" y="60"/>
                    </a:cubicBezTo>
                    <a:cubicBezTo>
                      <a:pt x="961" y="60"/>
                      <a:pt x="965" y="55"/>
                      <a:pt x="964" y="50"/>
                    </a:cubicBezTo>
                    <a:cubicBezTo>
                      <a:pt x="963" y="45"/>
                      <a:pt x="958" y="42"/>
                      <a:pt x="953" y="43"/>
                    </a:cubicBezTo>
                    <a:cubicBezTo>
                      <a:pt x="921" y="49"/>
                      <a:pt x="921" y="49"/>
                      <a:pt x="921" y="49"/>
                    </a:cubicBezTo>
                    <a:cubicBezTo>
                      <a:pt x="916" y="50"/>
                      <a:pt x="912" y="54"/>
                      <a:pt x="913" y="60"/>
                    </a:cubicBezTo>
                    <a:moveTo>
                      <a:pt x="985" y="37"/>
                    </a:moveTo>
                    <a:cubicBezTo>
                      <a:pt x="979" y="38"/>
                      <a:pt x="976" y="43"/>
                      <a:pt x="977" y="48"/>
                    </a:cubicBezTo>
                    <a:cubicBezTo>
                      <a:pt x="978" y="53"/>
                      <a:pt x="983" y="57"/>
                      <a:pt x="988" y="56"/>
                    </a:cubicBezTo>
                    <a:cubicBezTo>
                      <a:pt x="1020" y="51"/>
                      <a:pt x="1020" y="51"/>
                      <a:pt x="1020" y="51"/>
                    </a:cubicBezTo>
                    <a:cubicBezTo>
                      <a:pt x="1025" y="50"/>
                      <a:pt x="1028" y="45"/>
                      <a:pt x="1027" y="40"/>
                    </a:cubicBezTo>
                    <a:cubicBezTo>
                      <a:pt x="1027" y="35"/>
                      <a:pt x="1022" y="31"/>
                      <a:pt x="1017" y="32"/>
                    </a:cubicBezTo>
                    <a:cubicBezTo>
                      <a:pt x="985" y="37"/>
                      <a:pt x="985" y="37"/>
                      <a:pt x="985" y="37"/>
                    </a:cubicBezTo>
                    <a:cubicBezTo>
                      <a:pt x="985" y="37"/>
                      <a:pt x="985" y="37"/>
                      <a:pt x="985" y="37"/>
                    </a:cubicBezTo>
                    <a:moveTo>
                      <a:pt x="1049" y="27"/>
                    </a:moveTo>
                    <a:cubicBezTo>
                      <a:pt x="1044" y="28"/>
                      <a:pt x="1040" y="33"/>
                      <a:pt x="1041" y="38"/>
                    </a:cubicBezTo>
                    <a:cubicBezTo>
                      <a:pt x="1042" y="43"/>
                      <a:pt x="1046" y="46"/>
                      <a:pt x="1051" y="46"/>
                    </a:cubicBezTo>
                    <a:cubicBezTo>
                      <a:pt x="1083" y="41"/>
                      <a:pt x="1083" y="41"/>
                      <a:pt x="1083" y="41"/>
                    </a:cubicBezTo>
                    <a:cubicBezTo>
                      <a:pt x="1088" y="41"/>
                      <a:pt x="1092" y="36"/>
                      <a:pt x="1091" y="31"/>
                    </a:cubicBezTo>
                    <a:cubicBezTo>
                      <a:pt x="1091" y="26"/>
                      <a:pt x="1086" y="22"/>
                      <a:pt x="1081" y="23"/>
                    </a:cubicBezTo>
                    <a:cubicBezTo>
                      <a:pt x="1049" y="27"/>
                      <a:pt x="1049" y="27"/>
                      <a:pt x="1049" y="27"/>
                    </a:cubicBezTo>
                    <a:cubicBezTo>
                      <a:pt x="1049" y="27"/>
                      <a:pt x="1049" y="27"/>
                      <a:pt x="1049" y="27"/>
                    </a:cubicBezTo>
                    <a:moveTo>
                      <a:pt x="1113" y="19"/>
                    </a:moveTo>
                    <a:cubicBezTo>
                      <a:pt x="1108" y="19"/>
                      <a:pt x="1104" y="24"/>
                      <a:pt x="1105" y="29"/>
                    </a:cubicBezTo>
                    <a:cubicBezTo>
                      <a:pt x="1106" y="34"/>
                      <a:pt x="1110" y="38"/>
                      <a:pt x="1115" y="37"/>
                    </a:cubicBezTo>
                    <a:cubicBezTo>
                      <a:pt x="1147" y="33"/>
                      <a:pt x="1147" y="33"/>
                      <a:pt x="1147" y="33"/>
                    </a:cubicBezTo>
                    <a:cubicBezTo>
                      <a:pt x="1152" y="33"/>
                      <a:pt x="1156" y="28"/>
                      <a:pt x="1155" y="23"/>
                    </a:cubicBezTo>
                    <a:cubicBezTo>
                      <a:pt x="1155" y="18"/>
                      <a:pt x="1150" y="15"/>
                      <a:pt x="1145" y="15"/>
                    </a:cubicBezTo>
                    <a:cubicBezTo>
                      <a:pt x="1113" y="19"/>
                      <a:pt x="1113" y="19"/>
                      <a:pt x="1113" y="19"/>
                    </a:cubicBezTo>
                    <a:cubicBezTo>
                      <a:pt x="1113" y="19"/>
                      <a:pt x="1113" y="19"/>
                      <a:pt x="1113" y="19"/>
                    </a:cubicBezTo>
                    <a:moveTo>
                      <a:pt x="1178" y="12"/>
                    </a:moveTo>
                    <a:cubicBezTo>
                      <a:pt x="1172" y="12"/>
                      <a:pt x="1169" y="17"/>
                      <a:pt x="1169" y="22"/>
                    </a:cubicBezTo>
                    <a:cubicBezTo>
                      <a:pt x="1170" y="27"/>
                      <a:pt x="1174" y="31"/>
                      <a:pt x="1179" y="30"/>
                    </a:cubicBezTo>
                    <a:cubicBezTo>
                      <a:pt x="1211" y="27"/>
                      <a:pt x="1211" y="27"/>
                      <a:pt x="1211" y="27"/>
                    </a:cubicBezTo>
                    <a:cubicBezTo>
                      <a:pt x="1216" y="26"/>
                      <a:pt x="1220" y="22"/>
                      <a:pt x="1220" y="17"/>
                    </a:cubicBezTo>
                    <a:cubicBezTo>
                      <a:pt x="1219" y="12"/>
                      <a:pt x="1215" y="9"/>
                      <a:pt x="1210" y="9"/>
                    </a:cubicBezTo>
                    <a:cubicBezTo>
                      <a:pt x="1178" y="12"/>
                      <a:pt x="1178" y="12"/>
                      <a:pt x="1178" y="12"/>
                    </a:cubicBezTo>
                    <a:cubicBezTo>
                      <a:pt x="1178" y="12"/>
                      <a:pt x="1178" y="12"/>
                      <a:pt x="1178" y="12"/>
                    </a:cubicBezTo>
                    <a:moveTo>
                      <a:pt x="1242" y="7"/>
                    </a:moveTo>
                    <a:cubicBezTo>
                      <a:pt x="1237" y="7"/>
                      <a:pt x="1234" y="11"/>
                      <a:pt x="1234" y="16"/>
                    </a:cubicBezTo>
                    <a:cubicBezTo>
                      <a:pt x="1234" y="21"/>
                      <a:pt x="1239" y="25"/>
                      <a:pt x="1243" y="24"/>
                    </a:cubicBezTo>
                    <a:cubicBezTo>
                      <a:pt x="1276" y="22"/>
                      <a:pt x="1276" y="22"/>
                      <a:pt x="1276" y="22"/>
                    </a:cubicBezTo>
                    <a:cubicBezTo>
                      <a:pt x="1280" y="21"/>
                      <a:pt x="1284" y="17"/>
                      <a:pt x="1284" y="13"/>
                    </a:cubicBezTo>
                    <a:cubicBezTo>
                      <a:pt x="1283" y="8"/>
                      <a:pt x="1279" y="4"/>
                      <a:pt x="1275" y="5"/>
                    </a:cubicBezTo>
                    <a:cubicBezTo>
                      <a:pt x="1242" y="7"/>
                      <a:pt x="1242" y="7"/>
                      <a:pt x="1242" y="7"/>
                    </a:cubicBezTo>
                    <a:cubicBezTo>
                      <a:pt x="1242" y="7"/>
                      <a:pt x="1242" y="7"/>
                      <a:pt x="1242" y="7"/>
                    </a:cubicBezTo>
                    <a:moveTo>
                      <a:pt x="1307" y="3"/>
                    </a:moveTo>
                    <a:cubicBezTo>
                      <a:pt x="1302" y="3"/>
                      <a:pt x="1299" y="7"/>
                      <a:pt x="1299" y="12"/>
                    </a:cubicBezTo>
                    <a:cubicBezTo>
                      <a:pt x="1299" y="16"/>
                      <a:pt x="1303" y="20"/>
                      <a:pt x="1308" y="20"/>
                    </a:cubicBezTo>
                    <a:cubicBezTo>
                      <a:pt x="1340" y="18"/>
                      <a:pt x="1340" y="18"/>
                      <a:pt x="1340" y="18"/>
                    </a:cubicBezTo>
                    <a:cubicBezTo>
                      <a:pt x="1345" y="18"/>
                      <a:pt x="1348" y="14"/>
                      <a:pt x="1348" y="9"/>
                    </a:cubicBezTo>
                    <a:cubicBezTo>
                      <a:pt x="1348" y="5"/>
                      <a:pt x="1344" y="1"/>
                      <a:pt x="1339" y="1"/>
                    </a:cubicBezTo>
                    <a:cubicBezTo>
                      <a:pt x="1307" y="3"/>
                      <a:pt x="1307" y="3"/>
                      <a:pt x="1307" y="3"/>
                    </a:cubicBezTo>
                    <a:cubicBezTo>
                      <a:pt x="1307" y="3"/>
                      <a:pt x="1307" y="3"/>
                      <a:pt x="1307" y="3"/>
                    </a:cubicBezTo>
                    <a:moveTo>
                      <a:pt x="1372" y="0"/>
                    </a:moveTo>
                    <a:cubicBezTo>
                      <a:pt x="1367" y="0"/>
                      <a:pt x="1364" y="4"/>
                      <a:pt x="1364" y="9"/>
                    </a:cubicBezTo>
                    <a:cubicBezTo>
                      <a:pt x="1364" y="13"/>
                      <a:pt x="1368" y="17"/>
                      <a:pt x="1372" y="17"/>
                    </a:cubicBezTo>
                    <a:cubicBezTo>
                      <a:pt x="1405" y="16"/>
                      <a:pt x="1405" y="16"/>
                      <a:pt x="1405" y="16"/>
                    </a:cubicBezTo>
                    <a:cubicBezTo>
                      <a:pt x="1409" y="15"/>
                      <a:pt x="1412" y="12"/>
                      <a:pt x="1412" y="8"/>
                    </a:cubicBezTo>
                    <a:cubicBezTo>
                      <a:pt x="1412" y="3"/>
                      <a:pt x="1408" y="0"/>
                      <a:pt x="1404" y="0"/>
                    </a:cubicBezTo>
                    <a:cubicBezTo>
                      <a:pt x="1372" y="0"/>
                      <a:pt x="1372" y="0"/>
                      <a:pt x="1372" y="0"/>
                    </a:cubicBezTo>
                    <a:cubicBezTo>
                      <a:pt x="1372" y="0"/>
                      <a:pt x="1372" y="0"/>
                      <a:pt x="1372" y="0"/>
                    </a:cubicBezTo>
                    <a:moveTo>
                      <a:pt x="1436" y="0"/>
                    </a:moveTo>
                    <a:cubicBezTo>
                      <a:pt x="1432" y="0"/>
                      <a:pt x="1429" y="4"/>
                      <a:pt x="1429" y="8"/>
                    </a:cubicBezTo>
                    <a:cubicBezTo>
                      <a:pt x="1429" y="12"/>
                      <a:pt x="1432" y="15"/>
                      <a:pt x="1437" y="15"/>
                    </a:cubicBezTo>
                    <a:cubicBezTo>
                      <a:pt x="1469" y="14"/>
                      <a:pt x="1469" y="14"/>
                      <a:pt x="1469" y="14"/>
                    </a:cubicBezTo>
                    <a:cubicBezTo>
                      <a:pt x="1473" y="14"/>
                      <a:pt x="1476" y="11"/>
                      <a:pt x="1476" y="7"/>
                    </a:cubicBezTo>
                    <a:cubicBezTo>
                      <a:pt x="1476" y="3"/>
                      <a:pt x="1473" y="0"/>
                      <a:pt x="1469" y="0"/>
                    </a:cubicBezTo>
                    <a:cubicBezTo>
                      <a:pt x="1437" y="0"/>
                      <a:pt x="1437" y="0"/>
                      <a:pt x="1437" y="0"/>
                    </a:cubicBezTo>
                    <a:cubicBezTo>
                      <a:pt x="1436" y="0"/>
                      <a:pt x="1436" y="0"/>
                      <a:pt x="1436" y="0"/>
                    </a:cubicBezTo>
                    <a:moveTo>
                      <a:pt x="1501" y="0"/>
                    </a:moveTo>
                    <a:cubicBezTo>
                      <a:pt x="1497" y="0"/>
                      <a:pt x="1494" y="3"/>
                      <a:pt x="1494" y="7"/>
                    </a:cubicBezTo>
                    <a:cubicBezTo>
                      <a:pt x="1494" y="11"/>
                      <a:pt x="1497" y="14"/>
                      <a:pt x="1501" y="14"/>
                    </a:cubicBezTo>
                    <a:cubicBezTo>
                      <a:pt x="1534" y="14"/>
                      <a:pt x="1534" y="14"/>
                      <a:pt x="1534" y="14"/>
                    </a:cubicBezTo>
                    <a:cubicBezTo>
                      <a:pt x="1537" y="14"/>
                      <a:pt x="1540" y="12"/>
                      <a:pt x="1540" y="8"/>
                    </a:cubicBezTo>
                    <a:cubicBezTo>
                      <a:pt x="1540" y="4"/>
                      <a:pt x="1537" y="1"/>
                      <a:pt x="1534" y="1"/>
                    </a:cubicBezTo>
                    <a:cubicBezTo>
                      <a:pt x="1501" y="0"/>
                      <a:pt x="1501" y="0"/>
                      <a:pt x="1501" y="0"/>
                    </a:cubicBezTo>
                    <a:cubicBezTo>
                      <a:pt x="1501" y="0"/>
                      <a:pt x="1501" y="0"/>
                      <a:pt x="1501" y="0"/>
                    </a:cubicBezTo>
                    <a:moveTo>
                      <a:pt x="1566" y="2"/>
                    </a:moveTo>
                    <a:cubicBezTo>
                      <a:pt x="1562" y="2"/>
                      <a:pt x="1559" y="5"/>
                      <a:pt x="1559" y="8"/>
                    </a:cubicBezTo>
                    <a:cubicBezTo>
                      <a:pt x="1559" y="12"/>
                      <a:pt x="1562" y="15"/>
                      <a:pt x="1566" y="15"/>
                    </a:cubicBezTo>
                    <a:cubicBezTo>
                      <a:pt x="1598" y="16"/>
                      <a:pt x="1598" y="16"/>
                      <a:pt x="1598" y="16"/>
                    </a:cubicBezTo>
                    <a:cubicBezTo>
                      <a:pt x="1601" y="16"/>
                      <a:pt x="1604" y="13"/>
                      <a:pt x="1604" y="10"/>
                    </a:cubicBezTo>
                    <a:cubicBezTo>
                      <a:pt x="1604" y="6"/>
                      <a:pt x="1602" y="4"/>
                      <a:pt x="1598" y="3"/>
                    </a:cubicBezTo>
                    <a:cubicBezTo>
                      <a:pt x="1566" y="2"/>
                      <a:pt x="1566" y="2"/>
                      <a:pt x="1566" y="2"/>
                    </a:cubicBezTo>
                    <a:cubicBezTo>
                      <a:pt x="1566" y="2"/>
                      <a:pt x="1566" y="2"/>
                      <a:pt x="1566" y="2"/>
                    </a:cubicBezTo>
                    <a:moveTo>
                      <a:pt x="1631" y="5"/>
                    </a:moveTo>
                    <a:cubicBezTo>
                      <a:pt x="1628" y="5"/>
                      <a:pt x="1625" y="8"/>
                      <a:pt x="1625" y="11"/>
                    </a:cubicBezTo>
                    <a:cubicBezTo>
                      <a:pt x="1625" y="14"/>
                      <a:pt x="1627" y="16"/>
                      <a:pt x="1630" y="17"/>
                    </a:cubicBezTo>
                    <a:cubicBezTo>
                      <a:pt x="1663" y="18"/>
                      <a:pt x="1663" y="18"/>
                      <a:pt x="1663" y="18"/>
                    </a:cubicBezTo>
                    <a:cubicBezTo>
                      <a:pt x="1665" y="18"/>
                      <a:pt x="1668" y="16"/>
                      <a:pt x="1668" y="13"/>
                    </a:cubicBezTo>
                    <a:cubicBezTo>
                      <a:pt x="1668" y="10"/>
                      <a:pt x="1666" y="8"/>
                      <a:pt x="1663" y="7"/>
                    </a:cubicBezTo>
                    <a:cubicBezTo>
                      <a:pt x="1631" y="5"/>
                      <a:pt x="1631" y="5"/>
                      <a:pt x="1631" y="5"/>
                    </a:cubicBezTo>
                    <a:cubicBezTo>
                      <a:pt x="1631" y="5"/>
                      <a:pt x="1631" y="5"/>
                      <a:pt x="1631" y="5"/>
                    </a:cubicBezTo>
                    <a:moveTo>
                      <a:pt x="1695" y="10"/>
                    </a:moveTo>
                    <a:cubicBezTo>
                      <a:pt x="1693" y="10"/>
                      <a:pt x="1690" y="12"/>
                      <a:pt x="1690" y="14"/>
                    </a:cubicBezTo>
                    <a:cubicBezTo>
                      <a:pt x="1690" y="17"/>
                      <a:pt x="1692" y="19"/>
                      <a:pt x="1695" y="20"/>
                    </a:cubicBezTo>
                    <a:cubicBezTo>
                      <a:pt x="1727" y="22"/>
                      <a:pt x="1727" y="22"/>
                      <a:pt x="1727" y="22"/>
                    </a:cubicBezTo>
                    <a:cubicBezTo>
                      <a:pt x="1729" y="22"/>
                      <a:pt x="1731" y="20"/>
                      <a:pt x="1732" y="17"/>
                    </a:cubicBezTo>
                    <a:cubicBezTo>
                      <a:pt x="1732" y="15"/>
                      <a:pt x="1730" y="13"/>
                      <a:pt x="1728" y="13"/>
                    </a:cubicBezTo>
                    <a:cubicBezTo>
                      <a:pt x="1695" y="10"/>
                      <a:pt x="1695" y="10"/>
                      <a:pt x="1695" y="10"/>
                    </a:cubicBezTo>
                    <a:cubicBezTo>
                      <a:pt x="1695" y="10"/>
                      <a:pt x="1695" y="10"/>
                      <a:pt x="1695" y="10"/>
                    </a:cubicBezTo>
                    <a:moveTo>
                      <a:pt x="1760" y="16"/>
                    </a:moveTo>
                    <a:cubicBezTo>
                      <a:pt x="1758" y="16"/>
                      <a:pt x="1756" y="17"/>
                      <a:pt x="1756" y="19"/>
                    </a:cubicBezTo>
                    <a:cubicBezTo>
                      <a:pt x="1755" y="22"/>
                      <a:pt x="1757" y="23"/>
                      <a:pt x="1759" y="24"/>
                    </a:cubicBezTo>
                    <a:cubicBezTo>
                      <a:pt x="1791" y="26"/>
                      <a:pt x="1791" y="26"/>
                      <a:pt x="1791" y="26"/>
                    </a:cubicBezTo>
                    <a:cubicBezTo>
                      <a:pt x="1793" y="26"/>
                      <a:pt x="1795" y="25"/>
                      <a:pt x="1795" y="23"/>
                    </a:cubicBezTo>
                    <a:cubicBezTo>
                      <a:pt x="1795" y="21"/>
                      <a:pt x="1794" y="20"/>
                      <a:pt x="1792" y="19"/>
                    </a:cubicBezTo>
                    <a:cubicBezTo>
                      <a:pt x="1760" y="16"/>
                      <a:pt x="1760" y="16"/>
                      <a:pt x="1760" y="16"/>
                    </a:cubicBezTo>
                    <a:cubicBezTo>
                      <a:pt x="1760" y="16"/>
                      <a:pt x="1760" y="16"/>
                      <a:pt x="1760" y="16"/>
                    </a:cubicBezTo>
                    <a:moveTo>
                      <a:pt x="1824" y="23"/>
                    </a:moveTo>
                    <a:cubicBezTo>
                      <a:pt x="1823" y="23"/>
                      <a:pt x="1821" y="24"/>
                      <a:pt x="1821" y="26"/>
                    </a:cubicBezTo>
                    <a:cubicBezTo>
                      <a:pt x="1821" y="27"/>
                      <a:pt x="1822" y="29"/>
                      <a:pt x="1824" y="29"/>
                    </a:cubicBezTo>
                    <a:cubicBezTo>
                      <a:pt x="1856" y="32"/>
                      <a:pt x="1856" y="32"/>
                      <a:pt x="1856" y="32"/>
                    </a:cubicBezTo>
                    <a:cubicBezTo>
                      <a:pt x="1857" y="32"/>
                      <a:pt x="1858" y="31"/>
                      <a:pt x="1858" y="30"/>
                    </a:cubicBezTo>
                    <a:cubicBezTo>
                      <a:pt x="1858" y="29"/>
                      <a:pt x="1858" y="27"/>
                      <a:pt x="1856" y="27"/>
                    </a:cubicBezTo>
                    <a:cubicBezTo>
                      <a:pt x="1824" y="23"/>
                      <a:pt x="1824" y="23"/>
                      <a:pt x="1824" y="23"/>
                    </a:cubicBezTo>
                    <a:cubicBezTo>
                      <a:pt x="1824" y="23"/>
                      <a:pt x="1824" y="23"/>
                      <a:pt x="1824" y="23"/>
                    </a:cubicBezTo>
                    <a:moveTo>
                      <a:pt x="1888" y="32"/>
                    </a:moveTo>
                    <a:cubicBezTo>
                      <a:pt x="1887" y="32"/>
                      <a:pt x="1886" y="32"/>
                      <a:pt x="1886" y="33"/>
                    </a:cubicBezTo>
                    <a:cubicBezTo>
                      <a:pt x="1886" y="34"/>
                      <a:pt x="1887" y="35"/>
                      <a:pt x="1888" y="35"/>
                    </a:cubicBezTo>
                    <a:cubicBezTo>
                      <a:pt x="1920" y="39"/>
                      <a:pt x="1920" y="39"/>
                      <a:pt x="1920" y="39"/>
                    </a:cubicBezTo>
                    <a:cubicBezTo>
                      <a:pt x="1921" y="39"/>
                      <a:pt x="1921" y="38"/>
                      <a:pt x="1921" y="38"/>
                    </a:cubicBezTo>
                    <a:cubicBezTo>
                      <a:pt x="1921" y="37"/>
                      <a:pt x="1921" y="37"/>
                      <a:pt x="1920" y="36"/>
                    </a:cubicBezTo>
                    <a:cubicBezTo>
                      <a:pt x="1888" y="32"/>
                      <a:pt x="1888" y="32"/>
                      <a:pt x="1888" y="32"/>
                    </a:cubicBezTo>
                    <a:cubicBezTo>
                      <a:pt x="1888" y="32"/>
                      <a:pt x="1888" y="32"/>
                      <a:pt x="1888" y="32"/>
                    </a:cubicBezTo>
                    <a:moveTo>
                      <a:pt x="1953" y="41"/>
                    </a:moveTo>
                    <a:cubicBezTo>
                      <a:pt x="1952" y="42"/>
                      <a:pt x="1952" y="42"/>
                      <a:pt x="1952" y="42"/>
                    </a:cubicBezTo>
                    <a:cubicBezTo>
                      <a:pt x="1953" y="42"/>
                      <a:pt x="1953" y="42"/>
                      <a:pt x="1953" y="42"/>
                    </a:cubicBezTo>
                    <a:cubicBezTo>
                      <a:pt x="1969" y="44"/>
                      <a:pt x="1969" y="44"/>
                      <a:pt x="1969" y="44"/>
                    </a:cubicBezTo>
                    <a:cubicBezTo>
                      <a:pt x="1953" y="41"/>
                      <a:pt x="1953" y="41"/>
                      <a:pt x="1953" y="41"/>
                    </a:cubicBezTo>
                    <a:cubicBezTo>
                      <a:pt x="1953" y="41"/>
                      <a:pt x="1953" y="41"/>
                      <a:pt x="1953" y="41"/>
                    </a:cubicBezTo>
                  </a:path>
                </a:pathLst>
              </a:custGeom>
              <a:solidFill>
                <a:schemeClr val="accent4">
                  <a:lumMod val="60000"/>
                  <a:lumOff val="40000"/>
                  <a:alpha val="32000"/>
                </a:schemeClr>
              </a:solidFill>
              <a:ln>
                <a:noFill/>
              </a:ln>
            </p:spPr>
            <p:txBody>
              <a:bodyPr vert="horz" wrap="square" lIns="89643" tIns="44822" rIns="89643" bIns="44822" numCol="1" anchor="t" anchorCtr="0" compatLnSpc="1">
                <a:prstTxWarp prst="textNoShape">
                  <a:avLst/>
                </a:prstTxWarp>
              </a:bodyPr>
              <a:lstStyle/>
              <a:p>
                <a:pPr defTabSz="914348"/>
                <a:endParaRPr lang="en-US" sz="1298" dirty="0">
                  <a:solidFill>
                    <a:prstClr val="black"/>
                  </a:solidFill>
                  <a:latin typeface="Calibri" panose="020F0502020204030204"/>
                  <a:ea typeface="Heiti SC Light" charset="-122"/>
                  <a:sym typeface="Gill Sans" charset="0"/>
                </a:endParaRPr>
              </a:p>
            </p:txBody>
          </p:sp>
          <p:sp>
            <p:nvSpPr>
              <p:cNvPr id="81" name="Freeform 619"/>
              <p:cNvSpPr>
                <a:spLocks noEditPoints="1"/>
              </p:cNvSpPr>
              <p:nvPr/>
            </p:nvSpPr>
            <p:spPr bwMode="auto">
              <a:xfrm>
                <a:off x="164286" y="5319733"/>
                <a:ext cx="3633654" cy="3086213"/>
              </a:xfrm>
              <a:custGeom>
                <a:avLst/>
                <a:gdLst>
                  <a:gd name="T0" fmla="*/ 1 w 1317"/>
                  <a:gd name="T1" fmla="*/ 1108 h 1118"/>
                  <a:gd name="T2" fmla="*/ 4 w 1317"/>
                  <a:gd name="T3" fmla="*/ 1085 h 1118"/>
                  <a:gd name="T4" fmla="*/ 5 w 1317"/>
                  <a:gd name="T5" fmla="*/ 1086 h 1118"/>
                  <a:gd name="T6" fmla="*/ 0 w 1317"/>
                  <a:gd name="T7" fmla="*/ 1113 h 1118"/>
                  <a:gd name="T8" fmla="*/ 17 w 1317"/>
                  <a:gd name="T9" fmla="*/ 1033 h 1118"/>
                  <a:gd name="T10" fmla="*/ 24 w 1317"/>
                  <a:gd name="T11" fmla="*/ 997 h 1118"/>
                  <a:gd name="T12" fmla="*/ 14 w 1317"/>
                  <a:gd name="T13" fmla="*/ 1035 h 1118"/>
                  <a:gd name="T14" fmla="*/ 53 w 1317"/>
                  <a:gd name="T15" fmla="*/ 918 h 1118"/>
                  <a:gd name="T16" fmla="*/ 43 w 1317"/>
                  <a:gd name="T17" fmla="*/ 915 h 1118"/>
                  <a:gd name="T18" fmla="*/ 64 w 1317"/>
                  <a:gd name="T19" fmla="*/ 871 h 1118"/>
                  <a:gd name="T20" fmla="*/ 85 w 1317"/>
                  <a:gd name="T21" fmla="*/ 838 h 1118"/>
                  <a:gd name="T22" fmla="*/ 60 w 1317"/>
                  <a:gd name="T23" fmla="*/ 863 h 1118"/>
                  <a:gd name="T24" fmla="*/ 108 w 1317"/>
                  <a:gd name="T25" fmla="*/ 789 h 1118"/>
                  <a:gd name="T26" fmla="*/ 119 w 1317"/>
                  <a:gd name="T27" fmla="*/ 748 h 1118"/>
                  <a:gd name="T28" fmla="*/ 97 w 1317"/>
                  <a:gd name="T29" fmla="*/ 792 h 1118"/>
                  <a:gd name="T30" fmla="*/ 165 w 1317"/>
                  <a:gd name="T31" fmla="*/ 684 h 1118"/>
                  <a:gd name="T32" fmla="*/ 148 w 1317"/>
                  <a:gd name="T33" fmla="*/ 674 h 1118"/>
                  <a:gd name="T34" fmla="*/ 179 w 1317"/>
                  <a:gd name="T35" fmla="*/ 641 h 1118"/>
                  <a:gd name="T36" fmla="*/ 212 w 1317"/>
                  <a:gd name="T37" fmla="*/ 611 h 1118"/>
                  <a:gd name="T38" fmla="*/ 176 w 1317"/>
                  <a:gd name="T39" fmla="*/ 627 h 1118"/>
                  <a:gd name="T40" fmla="*/ 243 w 1317"/>
                  <a:gd name="T41" fmla="*/ 568 h 1118"/>
                  <a:gd name="T42" fmla="*/ 261 w 1317"/>
                  <a:gd name="T43" fmla="*/ 526 h 1118"/>
                  <a:gd name="T44" fmla="*/ 228 w 1317"/>
                  <a:gd name="T45" fmla="*/ 570 h 1118"/>
                  <a:gd name="T46" fmla="*/ 320 w 1317"/>
                  <a:gd name="T47" fmla="*/ 476 h 1118"/>
                  <a:gd name="T48" fmla="*/ 302 w 1317"/>
                  <a:gd name="T49" fmla="*/ 461 h 1118"/>
                  <a:gd name="T50" fmla="*/ 340 w 1317"/>
                  <a:gd name="T51" fmla="*/ 437 h 1118"/>
                  <a:gd name="T52" fmla="*/ 380 w 1317"/>
                  <a:gd name="T53" fmla="*/ 414 h 1118"/>
                  <a:gd name="T54" fmla="*/ 340 w 1317"/>
                  <a:gd name="T55" fmla="*/ 420 h 1118"/>
                  <a:gd name="T56" fmla="*/ 420 w 1317"/>
                  <a:gd name="T57" fmla="*/ 378 h 1118"/>
                  <a:gd name="T58" fmla="*/ 446 w 1317"/>
                  <a:gd name="T59" fmla="*/ 339 h 1118"/>
                  <a:gd name="T60" fmla="*/ 403 w 1317"/>
                  <a:gd name="T61" fmla="*/ 377 h 1118"/>
                  <a:gd name="T62" fmla="*/ 486 w 1317"/>
                  <a:gd name="T63" fmla="*/ 323 h 1118"/>
                  <a:gd name="T64" fmla="*/ 498 w 1317"/>
                  <a:gd name="T65" fmla="*/ 284 h 1118"/>
                  <a:gd name="T66" fmla="*/ 540 w 1317"/>
                  <a:gd name="T67" fmla="*/ 269 h 1118"/>
                  <a:gd name="T68" fmla="*/ 587 w 1317"/>
                  <a:gd name="T69" fmla="*/ 238 h 1118"/>
                  <a:gd name="T70" fmla="*/ 618 w 1317"/>
                  <a:gd name="T71" fmla="*/ 206 h 1118"/>
                  <a:gd name="T72" fmla="*/ 658 w 1317"/>
                  <a:gd name="T73" fmla="*/ 210 h 1118"/>
                  <a:gd name="T74" fmla="*/ 618 w 1317"/>
                  <a:gd name="T75" fmla="*/ 206 h 1118"/>
                  <a:gd name="T76" fmla="*/ 705 w 1317"/>
                  <a:gd name="T77" fmla="*/ 185 h 1118"/>
                  <a:gd name="T78" fmla="*/ 725 w 1317"/>
                  <a:gd name="T79" fmla="*/ 150 h 1118"/>
                  <a:gd name="T80" fmla="*/ 775 w 1317"/>
                  <a:gd name="T81" fmla="*/ 128 h 1118"/>
                  <a:gd name="T82" fmla="*/ 814 w 1317"/>
                  <a:gd name="T83" fmla="*/ 134 h 1118"/>
                  <a:gd name="T84" fmla="*/ 775 w 1317"/>
                  <a:gd name="T85" fmla="*/ 128 h 1118"/>
                  <a:gd name="T86" fmla="*/ 864 w 1317"/>
                  <a:gd name="T87" fmla="*/ 114 h 1118"/>
                  <a:gd name="T88" fmla="*/ 888 w 1317"/>
                  <a:gd name="T89" fmla="*/ 85 h 1118"/>
                  <a:gd name="T90" fmla="*/ 935 w 1317"/>
                  <a:gd name="T91" fmla="*/ 80 h 1118"/>
                  <a:gd name="T92" fmla="*/ 982 w 1317"/>
                  <a:gd name="T93" fmla="*/ 65 h 1118"/>
                  <a:gd name="T94" fmla="*/ 940 w 1317"/>
                  <a:gd name="T95" fmla="*/ 69 h 1118"/>
                  <a:gd name="T96" fmla="*/ 1029 w 1317"/>
                  <a:gd name="T97" fmla="*/ 60 h 1118"/>
                  <a:gd name="T98" fmla="*/ 1057 w 1317"/>
                  <a:gd name="T99" fmla="*/ 39 h 1118"/>
                  <a:gd name="T100" fmla="*/ 1106 w 1317"/>
                  <a:gd name="T101" fmla="*/ 34 h 1118"/>
                  <a:gd name="T102" fmla="*/ 1149 w 1317"/>
                  <a:gd name="T103" fmla="*/ 26 h 1118"/>
                  <a:gd name="T104" fmla="*/ 1111 w 1317"/>
                  <a:gd name="T105" fmla="*/ 28 h 1118"/>
                  <a:gd name="T106" fmla="*/ 1198 w 1317"/>
                  <a:gd name="T107" fmla="*/ 20 h 1118"/>
                  <a:gd name="T108" fmla="*/ 1230 w 1317"/>
                  <a:gd name="T109" fmla="*/ 9 h 1118"/>
                  <a:gd name="T110" fmla="*/ 1283 w 1317"/>
                  <a:gd name="T111" fmla="*/ 4 h 1118"/>
                  <a:gd name="T112" fmla="*/ 1317 w 1317"/>
                  <a:gd name="T113" fmla="*/ 0 h 1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17" h="1118">
                    <a:moveTo>
                      <a:pt x="0" y="1118"/>
                    </a:moveTo>
                    <a:cubicBezTo>
                      <a:pt x="0" y="1118"/>
                      <a:pt x="0" y="1116"/>
                      <a:pt x="0" y="1113"/>
                    </a:cubicBezTo>
                    <a:cubicBezTo>
                      <a:pt x="0" y="1111"/>
                      <a:pt x="0" y="1110"/>
                      <a:pt x="1" y="1108"/>
                    </a:cubicBezTo>
                    <a:cubicBezTo>
                      <a:pt x="1" y="1106"/>
                      <a:pt x="1" y="1104"/>
                      <a:pt x="1" y="1102"/>
                    </a:cubicBezTo>
                    <a:cubicBezTo>
                      <a:pt x="2" y="1094"/>
                      <a:pt x="3" y="1085"/>
                      <a:pt x="3" y="1085"/>
                    </a:cubicBezTo>
                    <a:cubicBezTo>
                      <a:pt x="3" y="1085"/>
                      <a:pt x="4" y="1084"/>
                      <a:pt x="4" y="1085"/>
                    </a:cubicBezTo>
                    <a:cubicBezTo>
                      <a:pt x="5" y="1085"/>
                      <a:pt x="5" y="1085"/>
                      <a:pt x="5" y="1086"/>
                    </a:cubicBezTo>
                    <a:cubicBezTo>
                      <a:pt x="5" y="1086"/>
                      <a:pt x="5" y="1086"/>
                      <a:pt x="5" y="1086"/>
                    </a:cubicBezTo>
                    <a:cubicBezTo>
                      <a:pt x="5" y="1086"/>
                      <a:pt x="5" y="1086"/>
                      <a:pt x="5" y="1086"/>
                    </a:cubicBezTo>
                    <a:cubicBezTo>
                      <a:pt x="5" y="1086"/>
                      <a:pt x="4" y="1094"/>
                      <a:pt x="2" y="1102"/>
                    </a:cubicBezTo>
                    <a:cubicBezTo>
                      <a:pt x="2" y="1104"/>
                      <a:pt x="2" y="1106"/>
                      <a:pt x="1" y="1108"/>
                    </a:cubicBezTo>
                    <a:cubicBezTo>
                      <a:pt x="1" y="1110"/>
                      <a:pt x="1" y="1111"/>
                      <a:pt x="0" y="1113"/>
                    </a:cubicBezTo>
                    <a:cubicBezTo>
                      <a:pt x="0" y="1116"/>
                      <a:pt x="0" y="1118"/>
                      <a:pt x="0" y="1118"/>
                    </a:cubicBezTo>
                    <a:close/>
                    <a:moveTo>
                      <a:pt x="14" y="1035"/>
                    </a:moveTo>
                    <a:cubicBezTo>
                      <a:pt x="16" y="1035"/>
                      <a:pt x="17" y="1034"/>
                      <a:pt x="17" y="1033"/>
                    </a:cubicBezTo>
                    <a:cubicBezTo>
                      <a:pt x="26" y="1001"/>
                      <a:pt x="26" y="1001"/>
                      <a:pt x="26" y="1001"/>
                    </a:cubicBezTo>
                    <a:cubicBezTo>
                      <a:pt x="26" y="1001"/>
                      <a:pt x="26" y="1001"/>
                      <a:pt x="26" y="1001"/>
                    </a:cubicBezTo>
                    <a:cubicBezTo>
                      <a:pt x="27" y="999"/>
                      <a:pt x="25" y="997"/>
                      <a:pt x="24" y="997"/>
                    </a:cubicBezTo>
                    <a:cubicBezTo>
                      <a:pt x="22" y="996"/>
                      <a:pt x="20" y="998"/>
                      <a:pt x="19" y="1000"/>
                    </a:cubicBezTo>
                    <a:cubicBezTo>
                      <a:pt x="12" y="1031"/>
                      <a:pt x="12" y="1031"/>
                      <a:pt x="12" y="1031"/>
                    </a:cubicBezTo>
                    <a:cubicBezTo>
                      <a:pt x="12" y="1033"/>
                      <a:pt x="13" y="1034"/>
                      <a:pt x="14" y="1035"/>
                    </a:cubicBezTo>
                    <a:close/>
                    <a:moveTo>
                      <a:pt x="36" y="952"/>
                    </a:moveTo>
                    <a:cubicBezTo>
                      <a:pt x="39" y="953"/>
                      <a:pt x="41" y="952"/>
                      <a:pt x="42" y="949"/>
                    </a:cubicBezTo>
                    <a:cubicBezTo>
                      <a:pt x="53" y="918"/>
                      <a:pt x="53" y="918"/>
                      <a:pt x="53" y="918"/>
                    </a:cubicBezTo>
                    <a:cubicBezTo>
                      <a:pt x="53" y="918"/>
                      <a:pt x="53" y="918"/>
                      <a:pt x="53" y="918"/>
                    </a:cubicBezTo>
                    <a:cubicBezTo>
                      <a:pt x="54" y="915"/>
                      <a:pt x="52" y="912"/>
                      <a:pt x="49" y="912"/>
                    </a:cubicBezTo>
                    <a:cubicBezTo>
                      <a:pt x="47" y="911"/>
                      <a:pt x="44" y="912"/>
                      <a:pt x="43" y="915"/>
                    </a:cubicBezTo>
                    <a:cubicBezTo>
                      <a:pt x="33" y="946"/>
                      <a:pt x="33" y="946"/>
                      <a:pt x="33" y="946"/>
                    </a:cubicBezTo>
                    <a:cubicBezTo>
                      <a:pt x="33" y="949"/>
                      <a:pt x="34" y="951"/>
                      <a:pt x="36" y="952"/>
                    </a:cubicBezTo>
                    <a:close/>
                    <a:moveTo>
                      <a:pt x="64" y="871"/>
                    </a:moveTo>
                    <a:cubicBezTo>
                      <a:pt x="67" y="873"/>
                      <a:pt x="71" y="871"/>
                      <a:pt x="72" y="868"/>
                    </a:cubicBezTo>
                    <a:cubicBezTo>
                      <a:pt x="85" y="838"/>
                      <a:pt x="85" y="838"/>
                      <a:pt x="85" y="838"/>
                    </a:cubicBezTo>
                    <a:cubicBezTo>
                      <a:pt x="85" y="838"/>
                      <a:pt x="85" y="838"/>
                      <a:pt x="85" y="838"/>
                    </a:cubicBezTo>
                    <a:cubicBezTo>
                      <a:pt x="87" y="834"/>
                      <a:pt x="85" y="830"/>
                      <a:pt x="81" y="828"/>
                    </a:cubicBezTo>
                    <a:cubicBezTo>
                      <a:pt x="78" y="827"/>
                      <a:pt x="74" y="829"/>
                      <a:pt x="72" y="833"/>
                    </a:cubicBezTo>
                    <a:cubicBezTo>
                      <a:pt x="60" y="863"/>
                      <a:pt x="60" y="863"/>
                      <a:pt x="60" y="863"/>
                    </a:cubicBezTo>
                    <a:cubicBezTo>
                      <a:pt x="59" y="866"/>
                      <a:pt x="61" y="870"/>
                      <a:pt x="64" y="871"/>
                    </a:cubicBezTo>
                    <a:close/>
                    <a:moveTo>
                      <a:pt x="97" y="792"/>
                    </a:moveTo>
                    <a:cubicBezTo>
                      <a:pt x="101" y="794"/>
                      <a:pt x="106" y="793"/>
                      <a:pt x="108" y="789"/>
                    </a:cubicBezTo>
                    <a:cubicBezTo>
                      <a:pt x="123" y="760"/>
                      <a:pt x="123" y="760"/>
                      <a:pt x="123" y="760"/>
                    </a:cubicBezTo>
                    <a:cubicBezTo>
                      <a:pt x="123" y="759"/>
                      <a:pt x="123" y="759"/>
                      <a:pt x="123" y="759"/>
                    </a:cubicBezTo>
                    <a:cubicBezTo>
                      <a:pt x="125" y="755"/>
                      <a:pt x="123" y="750"/>
                      <a:pt x="119" y="748"/>
                    </a:cubicBezTo>
                    <a:cubicBezTo>
                      <a:pt x="114" y="746"/>
                      <a:pt x="109" y="748"/>
                      <a:pt x="107" y="752"/>
                    </a:cubicBezTo>
                    <a:cubicBezTo>
                      <a:pt x="94" y="782"/>
                      <a:pt x="94" y="782"/>
                      <a:pt x="94" y="782"/>
                    </a:cubicBezTo>
                    <a:cubicBezTo>
                      <a:pt x="92" y="786"/>
                      <a:pt x="93" y="790"/>
                      <a:pt x="97" y="792"/>
                    </a:cubicBezTo>
                    <a:close/>
                    <a:moveTo>
                      <a:pt x="136" y="715"/>
                    </a:moveTo>
                    <a:cubicBezTo>
                      <a:pt x="140" y="718"/>
                      <a:pt x="146" y="716"/>
                      <a:pt x="148" y="712"/>
                    </a:cubicBezTo>
                    <a:cubicBezTo>
                      <a:pt x="165" y="684"/>
                      <a:pt x="165" y="684"/>
                      <a:pt x="165" y="684"/>
                    </a:cubicBezTo>
                    <a:cubicBezTo>
                      <a:pt x="165" y="684"/>
                      <a:pt x="165" y="684"/>
                      <a:pt x="165" y="684"/>
                    </a:cubicBezTo>
                    <a:cubicBezTo>
                      <a:pt x="167" y="679"/>
                      <a:pt x="166" y="673"/>
                      <a:pt x="161" y="671"/>
                    </a:cubicBezTo>
                    <a:cubicBezTo>
                      <a:pt x="157" y="668"/>
                      <a:pt x="151" y="670"/>
                      <a:pt x="148" y="674"/>
                    </a:cubicBezTo>
                    <a:cubicBezTo>
                      <a:pt x="132" y="703"/>
                      <a:pt x="132" y="703"/>
                      <a:pt x="132" y="703"/>
                    </a:cubicBezTo>
                    <a:cubicBezTo>
                      <a:pt x="130" y="707"/>
                      <a:pt x="131" y="713"/>
                      <a:pt x="136" y="715"/>
                    </a:cubicBezTo>
                    <a:close/>
                    <a:moveTo>
                      <a:pt x="179" y="641"/>
                    </a:moveTo>
                    <a:cubicBezTo>
                      <a:pt x="184" y="644"/>
                      <a:pt x="190" y="643"/>
                      <a:pt x="194" y="638"/>
                    </a:cubicBezTo>
                    <a:cubicBezTo>
                      <a:pt x="212" y="611"/>
                      <a:pt x="212" y="611"/>
                      <a:pt x="212" y="611"/>
                    </a:cubicBezTo>
                    <a:cubicBezTo>
                      <a:pt x="212" y="611"/>
                      <a:pt x="212" y="611"/>
                      <a:pt x="212" y="611"/>
                    </a:cubicBezTo>
                    <a:cubicBezTo>
                      <a:pt x="215" y="606"/>
                      <a:pt x="214" y="600"/>
                      <a:pt x="209" y="596"/>
                    </a:cubicBezTo>
                    <a:cubicBezTo>
                      <a:pt x="204" y="593"/>
                      <a:pt x="197" y="595"/>
                      <a:pt x="194" y="600"/>
                    </a:cubicBezTo>
                    <a:cubicBezTo>
                      <a:pt x="176" y="627"/>
                      <a:pt x="176" y="627"/>
                      <a:pt x="176" y="627"/>
                    </a:cubicBezTo>
                    <a:cubicBezTo>
                      <a:pt x="173" y="632"/>
                      <a:pt x="175" y="638"/>
                      <a:pt x="179" y="641"/>
                    </a:cubicBezTo>
                    <a:close/>
                    <a:moveTo>
                      <a:pt x="228" y="570"/>
                    </a:moveTo>
                    <a:cubicBezTo>
                      <a:pt x="233" y="573"/>
                      <a:pt x="240" y="572"/>
                      <a:pt x="243" y="568"/>
                    </a:cubicBezTo>
                    <a:cubicBezTo>
                      <a:pt x="263" y="542"/>
                      <a:pt x="263" y="542"/>
                      <a:pt x="263" y="542"/>
                    </a:cubicBezTo>
                    <a:cubicBezTo>
                      <a:pt x="264" y="542"/>
                      <a:pt x="264" y="542"/>
                      <a:pt x="264" y="542"/>
                    </a:cubicBezTo>
                    <a:cubicBezTo>
                      <a:pt x="267" y="537"/>
                      <a:pt x="266" y="530"/>
                      <a:pt x="261" y="526"/>
                    </a:cubicBezTo>
                    <a:cubicBezTo>
                      <a:pt x="256" y="522"/>
                      <a:pt x="249" y="523"/>
                      <a:pt x="246" y="528"/>
                    </a:cubicBezTo>
                    <a:cubicBezTo>
                      <a:pt x="226" y="554"/>
                      <a:pt x="226" y="554"/>
                      <a:pt x="226" y="554"/>
                    </a:cubicBezTo>
                    <a:cubicBezTo>
                      <a:pt x="222" y="559"/>
                      <a:pt x="223" y="566"/>
                      <a:pt x="228" y="570"/>
                    </a:cubicBezTo>
                    <a:close/>
                    <a:moveTo>
                      <a:pt x="282" y="501"/>
                    </a:moveTo>
                    <a:cubicBezTo>
                      <a:pt x="286" y="506"/>
                      <a:pt x="294" y="505"/>
                      <a:pt x="298" y="501"/>
                    </a:cubicBezTo>
                    <a:cubicBezTo>
                      <a:pt x="320" y="476"/>
                      <a:pt x="320" y="476"/>
                      <a:pt x="320" y="476"/>
                    </a:cubicBezTo>
                    <a:cubicBezTo>
                      <a:pt x="320" y="476"/>
                      <a:pt x="320" y="476"/>
                      <a:pt x="320" y="476"/>
                    </a:cubicBezTo>
                    <a:cubicBezTo>
                      <a:pt x="324" y="471"/>
                      <a:pt x="324" y="464"/>
                      <a:pt x="319" y="459"/>
                    </a:cubicBezTo>
                    <a:cubicBezTo>
                      <a:pt x="314" y="455"/>
                      <a:pt x="306" y="456"/>
                      <a:pt x="302" y="461"/>
                    </a:cubicBezTo>
                    <a:cubicBezTo>
                      <a:pt x="281" y="485"/>
                      <a:pt x="281" y="485"/>
                      <a:pt x="281" y="485"/>
                    </a:cubicBezTo>
                    <a:cubicBezTo>
                      <a:pt x="276" y="490"/>
                      <a:pt x="277" y="497"/>
                      <a:pt x="282" y="501"/>
                    </a:cubicBezTo>
                    <a:close/>
                    <a:moveTo>
                      <a:pt x="340" y="437"/>
                    </a:moveTo>
                    <a:cubicBezTo>
                      <a:pt x="344" y="442"/>
                      <a:pt x="352" y="442"/>
                      <a:pt x="357" y="437"/>
                    </a:cubicBezTo>
                    <a:cubicBezTo>
                      <a:pt x="380" y="414"/>
                      <a:pt x="380" y="414"/>
                      <a:pt x="380" y="414"/>
                    </a:cubicBezTo>
                    <a:cubicBezTo>
                      <a:pt x="380" y="414"/>
                      <a:pt x="380" y="414"/>
                      <a:pt x="380" y="414"/>
                    </a:cubicBezTo>
                    <a:cubicBezTo>
                      <a:pt x="385" y="410"/>
                      <a:pt x="385" y="402"/>
                      <a:pt x="380" y="397"/>
                    </a:cubicBezTo>
                    <a:cubicBezTo>
                      <a:pt x="375" y="393"/>
                      <a:pt x="368" y="393"/>
                      <a:pt x="363" y="397"/>
                    </a:cubicBezTo>
                    <a:cubicBezTo>
                      <a:pt x="340" y="420"/>
                      <a:pt x="340" y="420"/>
                      <a:pt x="340" y="420"/>
                    </a:cubicBezTo>
                    <a:cubicBezTo>
                      <a:pt x="335" y="425"/>
                      <a:pt x="335" y="432"/>
                      <a:pt x="340" y="437"/>
                    </a:cubicBezTo>
                    <a:close/>
                    <a:moveTo>
                      <a:pt x="403" y="377"/>
                    </a:moveTo>
                    <a:cubicBezTo>
                      <a:pt x="407" y="382"/>
                      <a:pt x="415" y="382"/>
                      <a:pt x="420" y="378"/>
                    </a:cubicBezTo>
                    <a:cubicBezTo>
                      <a:pt x="444" y="357"/>
                      <a:pt x="444" y="357"/>
                      <a:pt x="444" y="357"/>
                    </a:cubicBezTo>
                    <a:cubicBezTo>
                      <a:pt x="445" y="357"/>
                      <a:pt x="445" y="357"/>
                      <a:pt x="445" y="357"/>
                    </a:cubicBezTo>
                    <a:cubicBezTo>
                      <a:pt x="450" y="352"/>
                      <a:pt x="450" y="344"/>
                      <a:pt x="446" y="339"/>
                    </a:cubicBezTo>
                    <a:cubicBezTo>
                      <a:pt x="441" y="334"/>
                      <a:pt x="434" y="334"/>
                      <a:pt x="429" y="338"/>
                    </a:cubicBezTo>
                    <a:cubicBezTo>
                      <a:pt x="404" y="360"/>
                      <a:pt x="404" y="360"/>
                      <a:pt x="404" y="360"/>
                    </a:cubicBezTo>
                    <a:cubicBezTo>
                      <a:pt x="399" y="364"/>
                      <a:pt x="398" y="372"/>
                      <a:pt x="403" y="377"/>
                    </a:cubicBezTo>
                    <a:close/>
                    <a:moveTo>
                      <a:pt x="472" y="303"/>
                    </a:moveTo>
                    <a:cubicBezTo>
                      <a:pt x="466" y="308"/>
                      <a:pt x="465" y="315"/>
                      <a:pt x="469" y="321"/>
                    </a:cubicBezTo>
                    <a:cubicBezTo>
                      <a:pt x="473" y="326"/>
                      <a:pt x="481" y="327"/>
                      <a:pt x="486" y="323"/>
                    </a:cubicBezTo>
                    <a:cubicBezTo>
                      <a:pt x="512" y="303"/>
                      <a:pt x="512" y="303"/>
                      <a:pt x="512" y="303"/>
                    </a:cubicBezTo>
                    <a:cubicBezTo>
                      <a:pt x="518" y="299"/>
                      <a:pt x="519" y="292"/>
                      <a:pt x="515" y="286"/>
                    </a:cubicBezTo>
                    <a:cubicBezTo>
                      <a:pt x="511" y="281"/>
                      <a:pt x="503" y="280"/>
                      <a:pt x="498" y="284"/>
                    </a:cubicBezTo>
                    <a:cubicBezTo>
                      <a:pt x="472" y="303"/>
                      <a:pt x="472" y="303"/>
                      <a:pt x="472" y="303"/>
                    </a:cubicBezTo>
                    <a:close/>
                    <a:moveTo>
                      <a:pt x="543" y="252"/>
                    </a:moveTo>
                    <a:cubicBezTo>
                      <a:pt x="538" y="256"/>
                      <a:pt x="536" y="263"/>
                      <a:pt x="540" y="269"/>
                    </a:cubicBezTo>
                    <a:cubicBezTo>
                      <a:pt x="543" y="274"/>
                      <a:pt x="551" y="276"/>
                      <a:pt x="556" y="272"/>
                    </a:cubicBezTo>
                    <a:cubicBezTo>
                      <a:pt x="584" y="254"/>
                      <a:pt x="584" y="254"/>
                      <a:pt x="584" y="254"/>
                    </a:cubicBezTo>
                    <a:cubicBezTo>
                      <a:pt x="589" y="251"/>
                      <a:pt x="591" y="243"/>
                      <a:pt x="587" y="238"/>
                    </a:cubicBezTo>
                    <a:cubicBezTo>
                      <a:pt x="584" y="232"/>
                      <a:pt x="576" y="231"/>
                      <a:pt x="571" y="234"/>
                    </a:cubicBezTo>
                    <a:cubicBezTo>
                      <a:pt x="543" y="252"/>
                      <a:pt x="543" y="252"/>
                      <a:pt x="543" y="252"/>
                    </a:cubicBezTo>
                    <a:close/>
                    <a:moveTo>
                      <a:pt x="618" y="206"/>
                    </a:moveTo>
                    <a:cubicBezTo>
                      <a:pt x="612" y="209"/>
                      <a:pt x="610" y="216"/>
                      <a:pt x="614" y="222"/>
                    </a:cubicBezTo>
                    <a:cubicBezTo>
                      <a:pt x="617" y="228"/>
                      <a:pt x="624" y="230"/>
                      <a:pt x="630" y="226"/>
                    </a:cubicBezTo>
                    <a:cubicBezTo>
                      <a:pt x="658" y="210"/>
                      <a:pt x="658" y="210"/>
                      <a:pt x="658" y="210"/>
                    </a:cubicBezTo>
                    <a:cubicBezTo>
                      <a:pt x="664" y="207"/>
                      <a:pt x="666" y="200"/>
                      <a:pt x="662" y="194"/>
                    </a:cubicBezTo>
                    <a:cubicBezTo>
                      <a:pt x="659" y="189"/>
                      <a:pt x="652" y="187"/>
                      <a:pt x="647" y="190"/>
                    </a:cubicBezTo>
                    <a:cubicBezTo>
                      <a:pt x="618" y="206"/>
                      <a:pt x="618" y="206"/>
                      <a:pt x="618" y="206"/>
                    </a:cubicBezTo>
                    <a:close/>
                    <a:moveTo>
                      <a:pt x="695" y="164"/>
                    </a:moveTo>
                    <a:cubicBezTo>
                      <a:pt x="690" y="167"/>
                      <a:pt x="688" y="174"/>
                      <a:pt x="690" y="180"/>
                    </a:cubicBezTo>
                    <a:cubicBezTo>
                      <a:pt x="693" y="185"/>
                      <a:pt x="700" y="187"/>
                      <a:pt x="705" y="185"/>
                    </a:cubicBezTo>
                    <a:cubicBezTo>
                      <a:pt x="735" y="170"/>
                      <a:pt x="735" y="170"/>
                      <a:pt x="735" y="170"/>
                    </a:cubicBezTo>
                    <a:cubicBezTo>
                      <a:pt x="740" y="167"/>
                      <a:pt x="742" y="161"/>
                      <a:pt x="740" y="155"/>
                    </a:cubicBezTo>
                    <a:cubicBezTo>
                      <a:pt x="737" y="150"/>
                      <a:pt x="731" y="148"/>
                      <a:pt x="725" y="150"/>
                    </a:cubicBezTo>
                    <a:cubicBezTo>
                      <a:pt x="696" y="164"/>
                      <a:pt x="696" y="164"/>
                      <a:pt x="696" y="164"/>
                    </a:cubicBezTo>
                    <a:lnTo>
                      <a:pt x="695" y="164"/>
                    </a:lnTo>
                    <a:close/>
                    <a:moveTo>
                      <a:pt x="775" y="128"/>
                    </a:moveTo>
                    <a:cubicBezTo>
                      <a:pt x="770" y="130"/>
                      <a:pt x="767" y="136"/>
                      <a:pt x="770" y="142"/>
                    </a:cubicBezTo>
                    <a:cubicBezTo>
                      <a:pt x="772" y="147"/>
                      <a:pt x="778" y="150"/>
                      <a:pt x="784" y="147"/>
                    </a:cubicBezTo>
                    <a:cubicBezTo>
                      <a:pt x="814" y="134"/>
                      <a:pt x="814" y="134"/>
                      <a:pt x="814" y="134"/>
                    </a:cubicBezTo>
                    <a:cubicBezTo>
                      <a:pt x="819" y="132"/>
                      <a:pt x="821" y="126"/>
                      <a:pt x="819" y="121"/>
                    </a:cubicBezTo>
                    <a:cubicBezTo>
                      <a:pt x="817" y="116"/>
                      <a:pt x="811" y="113"/>
                      <a:pt x="806" y="115"/>
                    </a:cubicBezTo>
                    <a:cubicBezTo>
                      <a:pt x="775" y="128"/>
                      <a:pt x="775" y="128"/>
                      <a:pt x="775" y="128"/>
                    </a:cubicBezTo>
                    <a:close/>
                    <a:moveTo>
                      <a:pt x="857" y="96"/>
                    </a:moveTo>
                    <a:cubicBezTo>
                      <a:pt x="852" y="98"/>
                      <a:pt x="849" y="103"/>
                      <a:pt x="851" y="108"/>
                    </a:cubicBezTo>
                    <a:cubicBezTo>
                      <a:pt x="853" y="114"/>
                      <a:pt x="859" y="116"/>
                      <a:pt x="864" y="114"/>
                    </a:cubicBezTo>
                    <a:cubicBezTo>
                      <a:pt x="894" y="103"/>
                      <a:pt x="894" y="103"/>
                      <a:pt x="894" y="103"/>
                    </a:cubicBezTo>
                    <a:cubicBezTo>
                      <a:pt x="899" y="101"/>
                      <a:pt x="902" y="96"/>
                      <a:pt x="900" y="91"/>
                    </a:cubicBezTo>
                    <a:cubicBezTo>
                      <a:pt x="898" y="86"/>
                      <a:pt x="893" y="84"/>
                      <a:pt x="888" y="85"/>
                    </a:cubicBezTo>
                    <a:cubicBezTo>
                      <a:pt x="857" y="96"/>
                      <a:pt x="857" y="96"/>
                      <a:pt x="857" y="96"/>
                    </a:cubicBezTo>
                    <a:close/>
                    <a:moveTo>
                      <a:pt x="940" y="69"/>
                    </a:moveTo>
                    <a:cubicBezTo>
                      <a:pt x="936" y="70"/>
                      <a:pt x="933" y="75"/>
                      <a:pt x="935" y="80"/>
                    </a:cubicBezTo>
                    <a:cubicBezTo>
                      <a:pt x="936" y="84"/>
                      <a:pt x="941" y="87"/>
                      <a:pt x="946" y="85"/>
                    </a:cubicBezTo>
                    <a:cubicBezTo>
                      <a:pt x="977" y="75"/>
                      <a:pt x="977" y="75"/>
                      <a:pt x="977" y="75"/>
                    </a:cubicBezTo>
                    <a:cubicBezTo>
                      <a:pt x="981" y="74"/>
                      <a:pt x="983" y="70"/>
                      <a:pt x="982" y="65"/>
                    </a:cubicBezTo>
                    <a:cubicBezTo>
                      <a:pt x="981" y="61"/>
                      <a:pt x="976" y="58"/>
                      <a:pt x="972" y="60"/>
                    </a:cubicBezTo>
                    <a:cubicBezTo>
                      <a:pt x="941" y="69"/>
                      <a:pt x="941" y="69"/>
                      <a:pt x="941" y="69"/>
                    </a:cubicBezTo>
                    <a:lnTo>
                      <a:pt x="940" y="69"/>
                    </a:lnTo>
                    <a:close/>
                    <a:moveTo>
                      <a:pt x="1025" y="46"/>
                    </a:moveTo>
                    <a:cubicBezTo>
                      <a:pt x="1021" y="47"/>
                      <a:pt x="1019" y="51"/>
                      <a:pt x="1020" y="55"/>
                    </a:cubicBezTo>
                    <a:cubicBezTo>
                      <a:pt x="1021" y="59"/>
                      <a:pt x="1025" y="61"/>
                      <a:pt x="1029" y="60"/>
                    </a:cubicBezTo>
                    <a:cubicBezTo>
                      <a:pt x="1060" y="52"/>
                      <a:pt x="1060" y="52"/>
                      <a:pt x="1060" y="52"/>
                    </a:cubicBezTo>
                    <a:cubicBezTo>
                      <a:pt x="1064" y="51"/>
                      <a:pt x="1066" y="47"/>
                      <a:pt x="1065" y="44"/>
                    </a:cubicBezTo>
                    <a:cubicBezTo>
                      <a:pt x="1064" y="40"/>
                      <a:pt x="1061" y="38"/>
                      <a:pt x="1057" y="39"/>
                    </a:cubicBezTo>
                    <a:cubicBezTo>
                      <a:pt x="1025" y="46"/>
                      <a:pt x="1025" y="46"/>
                      <a:pt x="1025" y="46"/>
                    </a:cubicBezTo>
                    <a:close/>
                    <a:moveTo>
                      <a:pt x="1111" y="28"/>
                    </a:moveTo>
                    <a:cubicBezTo>
                      <a:pt x="1108" y="28"/>
                      <a:pt x="1106" y="31"/>
                      <a:pt x="1106" y="34"/>
                    </a:cubicBezTo>
                    <a:cubicBezTo>
                      <a:pt x="1107" y="37"/>
                      <a:pt x="1110" y="39"/>
                      <a:pt x="1113" y="39"/>
                    </a:cubicBezTo>
                    <a:cubicBezTo>
                      <a:pt x="1145" y="31"/>
                      <a:pt x="1145" y="31"/>
                      <a:pt x="1145" y="31"/>
                    </a:cubicBezTo>
                    <a:cubicBezTo>
                      <a:pt x="1148" y="31"/>
                      <a:pt x="1149" y="28"/>
                      <a:pt x="1149" y="26"/>
                    </a:cubicBezTo>
                    <a:cubicBezTo>
                      <a:pt x="1148" y="23"/>
                      <a:pt x="1146" y="21"/>
                      <a:pt x="1143" y="22"/>
                    </a:cubicBezTo>
                    <a:cubicBezTo>
                      <a:pt x="1111" y="27"/>
                      <a:pt x="1111" y="27"/>
                      <a:pt x="1111" y="27"/>
                    </a:cubicBezTo>
                    <a:lnTo>
                      <a:pt x="1111" y="28"/>
                    </a:lnTo>
                    <a:close/>
                    <a:moveTo>
                      <a:pt x="1197" y="13"/>
                    </a:moveTo>
                    <a:cubicBezTo>
                      <a:pt x="1195" y="13"/>
                      <a:pt x="1194" y="15"/>
                      <a:pt x="1194" y="17"/>
                    </a:cubicBezTo>
                    <a:cubicBezTo>
                      <a:pt x="1194" y="19"/>
                      <a:pt x="1196" y="21"/>
                      <a:pt x="1198" y="20"/>
                    </a:cubicBezTo>
                    <a:cubicBezTo>
                      <a:pt x="1230" y="14"/>
                      <a:pt x="1230" y="14"/>
                      <a:pt x="1230" y="14"/>
                    </a:cubicBezTo>
                    <a:cubicBezTo>
                      <a:pt x="1232" y="14"/>
                      <a:pt x="1233" y="13"/>
                      <a:pt x="1233" y="11"/>
                    </a:cubicBezTo>
                    <a:cubicBezTo>
                      <a:pt x="1233" y="10"/>
                      <a:pt x="1231" y="8"/>
                      <a:pt x="1230" y="9"/>
                    </a:cubicBezTo>
                    <a:cubicBezTo>
                      <a:pt x="1197" y="13"/>
                      <a:pt x="1197" y="13"/>
                      <a:pt x="1197" y="13"/>
                    </a:cubicBezTo>
                    <a:close/>
                    <a:moveTo>
                      <a:pt x="1284" y="3"/>
                    </a:moveTo>
                    <a:cubicBezTo>
                      <a:pt x="1283" y="3"/>
                      <a:pt x="1283" y="3"/>
                      <a:pt x="1283" y="4"/>
                    </a:cubicBezTo>
                    <a:cubicBezTo>
                      <a:pt x="1283" y="5"/>
                      <a:pt x="1283" y="5"/>
                      <a:pt x="1284" y="5"/>
                    </a:cubicBezTo>
                    <a:cubicBezTo>
                      <a:pt x="1317" y="0"/>
                      <a:pt x="1317" y="0"/>
                      <a:pt x="1317" y="0"/>
                    </a:cubicBezTo>
                    <a:cubicBezTo>
                      <a:pt x="1317" y="0"/>
                      <a:pt x="1317" y="0"/>
                      <a:pt x="1317" y="0"/>
                    </a:cubicBezTo>
                    <a:cubicBezTo>
                      <a:pt x="1316" y="0"/>
                      <a:pt x="1316" y="0"/>
                      <a:pt x="1316" y="0"/>
                    </a:cubicBezTo>
                    <a:cubicBezTo>
                      <a:pt x="1284" y="3"/>
                      <a:pt x="1284" y="3"/>
                      <a:pt x="1284" y="3"/>
                    </a:cubicBezTo>
                    <a:close/>
                  </a:path>
                </a:pathLst>
              </a:custGeom>
              <a:solidFill>
                <a:schemeClr val="tx2">
                  <a:lumMod val="60000"/>
                  <a:lumOff val="40000"/>
                </a:schemeClr>
              </a:solidFill>
              <a:ln>
                <a:noFill/>
              </a:ln>
            </p:spPr>
            <p:txBody>
              <a:bodyPr vert="horz" wrap="square" lIns="89643" tIns="44822" rIns="89643" bIns="44822" numCol="1" anchor="t" anchorCtr="0" compatLnSpc="1">
                <a:prstTxWarp prst="textNoShape">
                  <a:avLst/>
                </a:prstTxWarp>
              </a:bodyPr>
              <a:lstStyle/>
              <a:p>
                <a:pPr defTabSz="914348"/>
                <a:endParaRPr lang="en-US" sz="1298" dirty="0">
                  <a:solidFill>
                    <a:prstClr val="black"/>
                  </a:solidFill>
                  <a:latin typeface="Calibri" panose="020F0502020204030204"/>
                  <a:ea typeface="Heiti SC Light" charset="-122"/>
                  <a:sym typeface="Gill Sans" charset="0"/>
                </a:endParaRPr>
              </a:p>
            </p:txBody>
          </p:sp>
          <p:sp>
            <p:nvSpPr>
              <p:cNvPr id="82" name="Freeform 623"/>
              <p:cNvSpPr>
                <a:spLocks noEditPoints="1"/>
              </p:cNvSpPr>
              <p:nvPr/>
            </p:nvSpPr>
            <p:spPr bwMode="auto">
              <a:xfrm>
                <a:off x="834288" y="5382764"/>
                <a:ext cx="3556615" cy="1027182"/>
              </a:xfrm>
              <a:custGeom>
                <a:avLst/>
                <a:gdLst>
                  <a:gd name="T0" fmla="*/ 1288 w 1289"/>
                  <a:gd name="T1" fmla="*/ 194 h 372"/>
                  <a:gd name="T2" fmla="*/ 1285 w 1289"/>
                  <a:gd name="T3" fmla="*/ 210 h 372"/>
                  <a:gd name="T4" fmla="*/ 1282 w 1289"/>
                  <a:gd name="T5" fmla="*/ 217 h 372"/>
                  <a:gd name="T6" fmla="*/ 1217 w 1289"/>
                  <a:gd name="T7" fmla="*/ 275 h 372"/>
                  <a:gd name="T8" fmla="*/ 999 w 1289"/>
                  <a:gd name="T9" fmla="*/ 323 h 372"/>
                  <a:gd name="T10" fmla="*/ 954 w 1289"/>
                  <a:gd name="T11" fmla="*/ 328 h 372"/>
                  <a:gd name="T12" fmla="*/ 918 w 1289"/>
                  <a:gd name="T13" fmla="*/ 332 h 372"/>
                  <a:gd name="T14" fmla="*/ 906 w 1289"/>
                  <a:gd name="T15" fmla="*/ 335 h 372"/>
                  <a:gd name="T16" fmla="*/ 833 w 1289"/>
                  <a:gd name="T17" fmla="*/ 357 h 372"/>
                  <a:gd name="T18" fmla="*/ 753 w 1289"/>
                  <a:gd name="T19" fmla="*/ 361 h 372"/>
                  <a:gd name="T20" fmla="*/ 739 w 1289"/>
                  <a:gd name="T21" fmla="*/ 363 h 372"/>
                  <a:gd name="T22" fmla="*/ 697 w 1289"/>
                  <a:gd name="T23" fmla="*/ 370 h 372"/>
                  <a:gd name="T24" fmla="*/ 581 w 1289"/>
                  <a:gd name="T25" fmla="*/ 371 h 372"/>
                  <a:gd name="T26" fmla="*/ 336 w 1289"/>
                  <a:gd name="T27" fmla="*/ 349 h 372"/>
                  <a:gd name="T28" fmla="*/ 87 w 1289"/>
                  <a:gd name="T29" fmla="*/ 279 h 372"/>
                  <a:gd name="T30" fmla="*/ 10 w 1289"/>
                  <a:gd name="T31" fmla="*/ 219 h 372"/>
                  <a:gd name="T32" fmla="*/ 9 w 1289"/>
                  <a:gd name="T33" fmla="*/ 155 h 372"/>
                  <a:gd name="T34" fmla="*/ 19 w 1289"/>
                  <a:gd name="T35" fmla="*/ 142 h 372"/>
                  <a:gd name="T36" fmla="*/ 85 w 1289"/>
                  <a:gd name="T37" fmla="*/ 94 h 372"/>
                  <a:gd name="T38" fmla="*/ 334 w 1289"/>
                  <a:gd name="T39" fmla="*/ 24 h 372"/>
                  <a:gd name="T40" fmla="*/ 695 w 1289"/>
                  <a:gd name="T41" fmla="*/ 2 h 372"/>
                  <a:gd name="T42" fmla="*/ 1083 w 1289"/>
                  <a:gd name="T43" fmla="*/ 51 h 372"/>
                  <a:gd name="T44" fmla="*/ 1255 w 1289"/>
                  <a:gd name="T45" fmla="*/ 128 h 372"/>
                  <a:gd name="T46" fmla="*/ 1288 w 1289"/>
                  <a:gd name="T47" fmla="*/ 178 h 372"/>
                  <a:gd name="T48" fmla="*/ 1289 w 1289"/>
                  <a:gd name="T49" fmla="*/ 184 h 372"/>
                  <a:gd name="T50" fmla="*/ 1288 w 1289"/>
                  <a:gd name="T51" fmla="*/ 186 h 372"/>
                  <a:gd name="T52" fmla="*/ 1288 w 1289"/>
                  <a:gd name="T53" fmla="*/ 182 h 372"/>
                  <a:gd name="T54" fmla="*/ 1280 w 1289"/>
                  <a:gd name="T55" fmla="*/ 156 h 372"/>
                  <a:gd name="T56" fmla="*/ 1213 w 1289"/>
                  <a:gd name="T57" fmla="*/ 100 h 372"/>
                  <a:gd name="T58" fmla="*/ 907 w 1289"/>
                  <a:gd name="T59" fmla="*/ 18 h 372"/>
                  <a:gd name="T60" fmla="*/ 458 w 1289"/>
                  <a:gd name="T61" fmla="*/ 11 h 372"/>
                  <a:gd name="T62" fmla="*/ 208 w 1289"/>
                  <a:gd name="T63" fmla="*/ 52 h 372"/>
                  <a:gd name="T64" fmla="*/ 32 w 1289"/>
                  <a:gd name="T65" fmla="*/ 132 h 372"/>
                  <a:gd name="T66" fmla="*/ 15 w 1289"/>
                  <a:gd name="T67" fmla="*/ 150 h 372"/>
                  <a:gd name="T68" fmla="*/ 3 w 1289"/>
                  <a:gd name="T69" fmla="*/ 187 h 372"/>
                  <a:gd name="T70" fmla="*/ 33 w 1289"/>
                  <a:gd name="T71" fmla="*/ 242 h 372"/>
                  <a:gd name="T72" fmla="*/ 211 w 1289"/>
                  <a:gd name="T73" fmla="*/ 321 h 372"/>
                  <a:gd name="T74" fmla="*/ 461 w 1289"/>
                  <a:gd name="T75" fmla="*/ 361 h 372"/>
                  <a:gd name="T76" fmla="*/ 640 w 1289"/>
                  <a:gd name="T77" fmla="*/ 369 h 372"/>
                  <a:gd name="T78" fmla="*/ 725 w 1289"/>
                  <a:gd name="T79" fmla="*/ 364 h 372"/>
                  <a:gd name="T80" fmla="*/ 745 w 1289"/>
                  <a:gd name="T81" fmla="*/ 360 h 372"/>
                  <a:gd name="T82" fmla="*/ 806 w 1289"/>
                  <a:gd name="T83" fmla="*/ 357 h 372"/>
                  <a:gd name="T84" fmla="*/ 857 w 1289"/>
                  <a:gd name="T85" fmla="*/ 348 h 372"/>
                  <a:gd name="T86" fmla="*/ 912 w 1289"/>
                  <a:gd name="T87" fmla="*/ 332 h 372"/>
                  <a:gd name="T88" fmla="*/ 930 w 1289"/>
                  <a:gd name="T89" fmla="*/ 329 h 372"/>
                  <a:gd name="T90" fmla="*/ 977 w 1289"/>
                  <a:gd name="T91" fmla="*/ 324 h 372"/>
                  <a:gd name="T92" fmla="*/ 1084 w 1289"/>
                  <a:gd name="T93" fmla="*/ 313 h 372"/>
                  <a:gd name="T94" fmla="*/ 1259 w 1289"/>
                  <a:gd name="T95" fmla="*/ 246 h 372"/>
                  <a:gd name="T96" fmla="*/ 1283 w 1289"/>
                  <a:gd name="T97" fmla="*/ 213 h 372"/>
                  <a:gd name="T98" fmla="*/ 1286 w 1289"/>
                  <a:gd name="T99" fmla="*/ 204 h 372"/>
                  <a:gd name="T100" fmla="*/ 1288 w 1289"/>
                  <a:gd name="T101" fmla="*/ 186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89" h="372">
                    <a:moveTo>
                      <a:pt x="1289" y="186"/>
                    </a:moveTo>
                    <a:cubicBezTo>
                      <a:pt x="1289" y="186"/>
                      <a:pt x="1288" y="189"/>
                      <a:pt x="1288" y="194"/>
                    </a:cubicBezTo>
                    <a:cubicBezTo>
                      <a:pt x="1288" y="197"/>
                      <a:pt x="1287" y="200"/>
                      <a:pt x="1286" y="204"/>
                    </a:cubicBezTo>
                    <a:cubicBezTo>
                      <a:pt x="1286" y="206"/>
                      <a:pt x="1285" y="208"/>
                      <a:pt x="1285" y="210"/>
                    </a:cubicBezTo>
                    <a:cubicBezTo>
                      <a:pt x="1284" y="211"/>
                      <a:pt x="1284" y="212"/>
                      <a:pt x="1283" y="213"/>
                    </a:cubicBezTo>
                    <a:cubicBezTo>
                      <a:pt x="1283" y="214"/>
                      <a:pt x="1282" y="216"/>
                      <a:pt x="1282" y="217"/>
                    </a:cubicBezTo>
                    <a:cubicBezTo>
                      <a:pt x="1278" y="226"/>
                      <a:pt x="1270" y="237"/>
                      <a:pt x="1259" y="247"/>
                    </a:cubicBezTo>
                    <a:cubicBezTo>
                      <a:pt x="1248" y="257"/>
                      <a:pt x="1234" y="267"/>
                      <a:pt x="1217" y="275"/>
                    </a:cubicBezTo>
                    <a:cubicBezTo>
                      <a:pt x="1182" y="292"/>
                      <a:pt x="1137" y="306"/>
                      <a:pt x="1084" y="314"/>
                    </a:cubicBezTo>
                    <a:cubicBezTo>
                      <a:pt x="1058" y="319"/>
                      <a:pt x="1029" y="320"/>
                      <a:pt x="999" y="323"/>
                    </a:cubicBezTo>
                    <a:cubicBezTo>
                      <a:pt x="992" y="324"/>
                      <a:pt x="984" y="324"/>
                      <a:pt x="977" y="325"/>
                    </a:cubicBezTo>
                    <a:cubicBezTo>
                      <a:pt x="969" y="326"/>
                      <a:pt x="961" y="327"/>
                      <a:pt x="954" y="328"/>
                    </a:cubicBezTo>
                    <a:cubicBezTo>
                      <a:pt x="946" y="329"/>
                      <a:pt x="938" y="330"/>
                      <a:pt x="930" y="331"/>
                    </a:cubicBezTo>
                    <a:cubicBezTo>
                      <a:pt x="926" y="331"/>
                      <a:pt x="922" y="332"/>
                      <a:pt x="918" y="332"/>
                    </a:cubicBezTo>
                    <a:cubicBezTo>
                      <a:pt x="916" y="333"/>
                      <a:pt x="914" y="333"/>
                      <a:pt x="912" y="334"/>
                    </a:cubicBezTo>
                    <a:cubicBezTo>
                      <a:pt x="910" y="334"/>
                      <a:pt x="908" y="335"/>
                      <a:pt x="906" y="335"/>
                    </a:cubicBezTo>
                    <a:cubicBezTo>
                      <a:pt x="890" y="339"/>
                      <a:pt x="874" y="345"/>
                      <a:pt x="858" y="350"/>
                    </a:cubicBezTo>
                    <a:cubicBezTo>
                      <a:pt x="850" y="353"/>
                      <a:pt x="841" y="355"/>
                      <a:pt x="833" y="357"/>
                    </a:cubicBezTo>
                    <a:cubicBezTo>
                      <a:pt x="824" y="358"/>
                      <a:pt x="815" y="359"/>
                      <a:pt x="806" y="359"/>
                    </a:cubicBezTo>
                    <a:cubicBezTo>
                      <a:pt x="789" y="360"/>
                      <a:pt x="771" y="359"/>
                      <a:pt x="753" y="361"/>
                    </a:cubicBezTo>
                    <a:cubicBezTo>
                      <a:pt x="750" y="361"/>
                      <a:pt x="748" y="362"/>
                      <a:pt x="746" y="362"/>
                    </a:cubicBezTo>
                    <a:cubicBezTo>
                      <a:pt x="743" y="363"/>
                      <a:pt x="741" y="363"/>
                      <a:pt x="739" y="363"/>
                    </a:cubicBezTo>
                    <a:cubicBezTo>
                      <a:pt x="734" y="364"/>
                      <a:pt x="730" y="365"/>
                      <a:pt x="725" y="366"/>
                    </a:cubicBezTo>
                    <a:cubicBezTo>
                      <a:pt x="716" y="368"/>
                      <a:pt x="707" y="369"/>
                      <a:pt x="697" y="370"/>
                    </a:cubicBezTo>
                    <a:cubicBezTo>
                      <a:pt x="679" y="372"/>
                      <a:pt x="659" y="372"/>
                      <a:pt x="640" y="372"/>
                    </a:cubicBezTo>
                    <a:cubicBezTo>
                      <a:pt x="621" y="372"/>
                      <a:pt x="601" y="371"/>
                      <a:pt x="581" y="371"/>
                    </a:cubicBezTo>
                    <a:cubicBezTo>
                      <a:pt x="542" y="370"/>
                      <a:pt x="501" y="367"/>
                      <a:pt x="460" y="364"/>
                    </a:cubicBezTo>
                    <a:cubicBezTo>
                      <a:pt x="419" y="360"/>
                      <a:pt x="378" y="355"/>
                      <a:pt x="336" y="349"/>
                    </a:cubicBezTo>
                    <a:cubicBezTo>
                      <a:pt x="294" y="342"/>
                      <a:pt x="252" y="334"/>
                      <a:pt x="210" y="323"/>
                    </a:cubicBezTo>
                    <a:cubicBezTo>
                      <a:pt x="168" y="312"/>
                      <a:pt x="127" y="299"/>
                      <a:pt x="87" y="279"/>
                    </a:cubicBezTo>
                    <a:cubicBezTo>
                      <a:pt x="68" y="270"/>
                      <a:pt x="49" y="258"/>
                      <a:pt x="32" y="244"/>
                    </a:cubicBezTo>
                    <a:cubicBezTo>
                      <a:pt x="24" y="237"/>
                      <a:pt x="16" y="228"/>
                      <a:pt x="10" y="219"/>
                    </a:cubicBezTo>
                    <a:cubicBezTo>
                      <a:pt x="5" y="209"/>
                      <a:pt x="0" y="199"/>
                      <a:pt x="0" y="187"/>
                    </a:cubicBezTo>
                    <a:cubicBezTo>
                      <a:pt x="0" y="176"/>
                      <a:pt x="3" y="165"/>
                      <a:pt x="9" y="155"/>
                    </a:cubicBezTo>
                    <a:cubicBezTo>
                      <a:pt x="10" y="153"/>
                      <a:pt x="12" y="151"/>
                      <a:pt x="14" y="148"/>
                    </a:cubicBezTo>
                    <a:cubicBezTo>
                      <a:pt x="15" y="146"/>
                      <a:pt x="17" y="144"/>
                      <a:pt x="19" y="142"/>
                    </a:cubicBezTo>
                    <a:cubicBezTo>
                      <a:pt x="22" y="138"/>
                      <a:pt x="26" y="134"/>
                      <a:pt x="30" y="130"/>
                    </a:cubicBezTo>
                    <a:cubicBezTo>
                      <a:pt x="47" y="115"/>
                      <a:pt x="66" y="104"/>
                      <a:pt x="85" y="94"/>
                    </a:cubicBezTo>
                    <a:cubicBezTo>
                      <a:pt x="125" y="75"/>
                      <a:pt x="166" y="61"/>
                      <a:pt x="208" y="50"/>
                    </a:cubicBezTo>
                    <a:cubicBezTo>
                      <a:pt x="250" y="39"/>
                      <a:pt x="292" y="31"/>
                      <a:pt x="334" y="24"/>
                    </a:cubicBezTo>
                    <a:cubicBezTo>
                      <a:pt x="376" y="18"/>
                      <a:pt x="417" y="13"/>
                      <a:pt x="458" y="9"/>
                    </a:cubicBezTo>
                    <a:cubicBezTo>
                      <a:pt x="540" y="2"/>
                      <a:pt x="620" y="0"/>
                      <a:pt x="695" y="2"/>
                    </a:cubicBezTo>
                    <a:cubicBezTo>
                      <a:pt x="770" y="4"/>
                      <a:pt x="842" y="9"/>
                      <a:pt x="907" y="18"/>
                    </a:cubicBezTo>
                    <a:cubicBezTo>
                      <a:pt x="972" y="26"/>
                      <a:pt x="1032" y="37"/>
                      <a:pt x="1083" y="51"/>
                    </a:cubicBezTo>
                    <a:cubicBezTo>
                      <a:pt x="1135" y="65"/>
                      <a:pt x="1179" y="81"/>
                      <a:pt x="1213" y="99"/>
                    </a:cubicBezTo>
                    <a:cubicBezTo>
                      <a:pt x="1230" y="108"/>
                      <a:pt x="1244" y="118"/>
                      <a:pt x="1255" y="128"/>
                    </a:cubicBezTo>
                    <a:cubicBezTo>
                      <a:pt x="1267" y="137"/>
                      <a:pt x="1275" y="147"/>
                      <a:pt x="1280" y="156"/>
                    </a:cubicBezTo>
                    <a:cubicBezTo>
                      <a:pt x="1285" y="165"/>
                      <a:pt x="1287" y="173"/>
                      <a:pt x="1288" y="178"/>
                    </a:cubicBezTo>
                    <a:cubicBezTo>
                      <a:pt x="1288" y="179"/>
                      <a:pt x="1288" y="181"/>
                      <a:pt x="1288" y="182"/>
                    </a:cubicBezTo>
                    <a:cubicBezTo>
                      <a:pt x="1288" y="183"/>
                      <a:pt x="1289" y="183"/>
                      <a:pt x="1289" y="184"/>
                    </a:cubicBezTo>
                    <a:cubicBezTo>
                      <a:pt x="1289" y="185"/>
                      <a:pt x="1289" y="186"/>
                      <a:pt x="1289" y="186"/>
                    </a:cubicBezTo>
                    <a:close/>
                    <a:moveTo>
                      <a:pt x="1288" y="186"/>
                    </a:moveTo>
                    <a:cubicBezTo>
                      <a:pt x="1288" y="186"/>
                      <a:pt x="1288" y="185"/>
                      <a:pt x="1288" y="184"/>
                    </a:cubicBezTo>
                    <a:cubicBezTo>
                      <a:pt x="1288" y="183"/>
                      <a:pt x="1288" y="183"/>
                      <a:pt x="1288" y="182"/>
                    </a:cubicBezTo>
                    <a:cubicBezTo>
                      <a:pt x="1288" y="181"/>
                      <a:pt x="1288" y="179"/>
                      <a:pt x="1288" y="178"/>
                    </a:cubicBezTo>
                    <a:cubicBezTo>
                      <a:pt x="1287" y="173"/>
                      <a:pt x="1285" y="165"/>
                      <a:pt x="1280" y="156"/>
                    </a:cubicBezTo>
                    <a:cubicBezTo>
                      <a:pt x="1275" y="147"/>
                      <a:pt x="1267" y="137"/>
                      <a:pt x="1255" y="128"/>
                    </a:cubicBezTo>
                    <a:cubicBezTo>
                      <a:pt x="1244" y="118"/>
                      <a:pt x="1230" y="109"/>
                      <a:pt x="1213" y="100"/>
                    </a:cubicBezTo>
                    <a:cubicBezTo>
                      <a:pt x="1179" y="82"/>
                      <a:pt x="1135" y="65"/>
                      <a:pt x="1083" y="52"/>
                    </a:cubicBezTo>
                    <a:cubicBezTo>
                      <a:pt x="1031" y="38"/>
                      <a:pt x="972" y="27"/>
                      <a:pt x="907" y="18"/>
                    </a:cubicBezTo>
                    <a:cubicBezTo>
                      <a:pt x="842" y="10"/>
                      <a:pt x="770" y="5"/>
                      <a:pt x="695" y="3"/>
                    </a:cubicBezTo>
                    <a:cubicBezTo>
                      <a:pt x="620" y="2"/>
                      <a:pt x="540" y="4"/>
                      <a:pt x="458" y="11"/>
                    </a:cubicBezTo>
                    <a:cubicBezTo>
                      <a:pt x="417" y="14"/>
                      <a:pt x="376" y="19"/>
                      <a:pt x="334" y="26"/>
                    </a:cubicBezTo>
                    <a:cubicBezTo>
                      <a:pt x="292" y="32"/>
                      <a:pt x="250" y="41"/>
                      <a:pt x="208" y="52"/>
                    </a:cubicBezTo>
                    <a:cubicBezTo>
                      <a:pt x="167" y="63"/>
                      <a:pt x="125" y="77"/>
                      <a:pt x="86" y="96"/>
                    </a:cubicBezTo>
                    <a:cubicBezTo>
                      <a:pt x="67" y="106"/>
                      <a:pt x="48" y="117"/>
                      <a:pt x="32" y="132"/>
                    </a:cubicBezTo>
                    <a:cubicBezTo>
                      <a:pt x="28" y="135"/>
                      <a:pt x="24" y="139"/>
                      <a:pt x="20" y="143"/>
                    </a:cubicBezTo>
                    <a:cubicBezTo>
                      <a:pt x="19" y="145"/>
                      <a:pt x="17" y="148"/>
                      <a:pt x="15" y="150"/>
                    </a:cubicBezTo>
                    <a:cubicBezTo>
                      <a:pt x="14" y="152"/>
                      <a:pt x="12" y="154"/>
                      <a:pt x="11" y="157"/>
                    </a:cubicBezTo>
                    <a:cubicBezTo>
                      <a:pt x="5" y="166"/>
                      <a:pt x="2" y="176"/>
                      <a:pt x="3" y="187"/>
                    </a:cubicBezTo>
                    <a:cubicBezTo>
                      <a:pt x="3" y="198"/>
                      <a:pt x="7" y="209"/>
                      <a:pt x="12" y="218"/>
                    </a:cubicBezTo>
                    <a:cubicBezTo>
                      <a:pt x="18" y="227"/>
                      <a:pt x="25" y="235"/>
                      <a:pt x="33" y="242"/>
                    </a:cubicBezTo>
                    <a:cubicBezTo>
                      <a:pt x="50" y="257"/>
                      <a:pt x="69" y="268"/>
                      <a:pt x="88" y="277"/>
                    </a:cubicBezTo>
                    <a:cubicBezTo>
                      <a:pt x="128" y="296"/>
                      <a:pt x="169" y="310"/>
                      <a:pt x="211" y="321"/>
                    </a:cubicBezTo>
                    <a:cubicBezTo>
                      <a:pt x="253" y="332"/>
                      <a:pt x="295" y="340"/>
                      <a:pt x="336" y="346"/>
                    </a:cubicBezTo>
                    <a:cubicBezTo>
                      <a:pt x="378" y="353"/>
                      <a:pt x="420" y="358"/>
                      <a:pt x="461" y="361"/>
                    </a:cubicBezTo>
                    <a:cubicBezTo>
                      <a:pt x="502" y="365"/>
                      <a:pt x="542" y="367"/>
                      <a:pt x="581" y="368"/>
                    </a:cubicBezTo>
                    <a:cubicBezTo>
                      <a:pt x="601" y="369"/>
                      <a:pt x="621" y="369"/>
                      <a:pt x="640" y="369"/>
                    </a:cubicBezTo>
                    <a:cubicBezTo>
                      <a:pt x="659" y="369"/>
                      <a:pt x="679" y="369"/>
                      <a:pt x="697" y="368"/>
                    </a:cubicBezTo>
                    <a:cubicBezTo>
                      <a:pt x="707" y="367"/>
                      <a:pt x="716" y="366"/>
                      <a:pt x="725" y="364"/>
                    </a:cubicBezTo>
                    <a:cubicBezTo>
                      <a:pt x="729" y="363"/>
                      <a:pt x="734" y="362"/>
                      <a:pt x="739" y="361"/>
                    </a:cubicBezTo>
                    <a:cubicBezTo>
                      <a:pt x="741" y="360"/>
                      <a:pt x="743" y="360"/>
                      <a:pt x="745" y="360"/>
                    </a:cubicBezTo>
                    <a:cubicBezTo>
                      <a:pt x="748" y="360"/>
                      <a:pt x="750" y="359"/>
                      <a:pt x="752" y="359"/>
                    </a:cubicBezTo>
                    <a:cubicBezTo>
                      <a:pt x="771" y="357"/>
                      <a:pt x="789" y="358"/>
                      <a:pt x="806" y="357"/>
                    </a:cubicBezTo>
                    <a:cubicBezTo>
                      <a:pt x="815" y="357"/>
                      <a:pt x="824" y="356"/>
                      <a:pt x="832" y="355"/>
                    </a:cubicBezTo>
                    <a:cubicBezTo>
                      <a:pt x="841" y="353"/>
                      <a:pt x="849" y="351"/>
                      <a:pt x="857" y="348"/>
                    </a:cubicBezTo>
                    <a:cubicBezTo>
                      <a:pt x="874" y="343"/>
                      <a:pt x="889" y="337"/>
                      <a:pt x="906" y="333"/>
                    </a:cubicBezTo>
                    <a:cubicBezTo>
                      <a:pt x="908" y="333"/>
                      <a:pt x="910" y="332"/>
                      <a:pt x="912" y="332"/>
                    </a:cubicBezTo>
                    <a:cubicBezTo>
                      <a:pt x="914" y="332"/>
                      <a:pt x="916" y="331"/>
                      <a:pt x="918" y="331"/>
                    </a:cubicBezTo>
                    <a:cubicBezTo>
                      <a:pt x="922" y="330"/>
                      <a:pt x="926" y="330"/>
                      <a:pt x="930" y="329"/>
                    </a:cubicBezTo>
                    <a:cubicBezTo>
                      <a:pt x="938" y="328"/>
                      <a:pt x="946" y="327"/>
                      <a:pt x="953" y="326"/>
                    </a:cubicBezTo>
                    <a:cubicBezTo>
                      <a:pt x="961" y="326"/>
                      <a:pt x="969" y="325"/>
                      <a:pt x="977" y="324"/>
                    </a:cubicBezTo>
                    <a:cubicBezTo>
                      <a:pt x="984" y="323"/>
                      <a:pt x="992" y="322"/>
                      <a:pt x="999" y="322"/>
                    </a:cubicBezTo>
                    <a:cubicBezTo>
                      <a:pt x="1029" y="319"/>
                      <a:pt x="1058" y="317"/>
                      <a:pt x="1084" y="313"/>
                    </a:cubicBezTo>
                    <a:cubicBezTo>
                      <a:pt x="1137" y="305"/>
                      <a:pt x="1182" y="292"/>
                      <a:pt x="1216" y="275"/>
                    </a:cubicBezTo>
                    <a:cubicBezTo>
                      <a:pt x="1233" y="266"/>
                      <a:pt x="1248" y="256"/>
                      <a:pt x="1259" y="246"/>
                    </a:cubicBezTo>
                    <a:cubicBezTo>
                      <a:pt x="1270" y="236"/>
                      <a:pt x="1277" y="226"/>
                      <a:pt x="1281" y="217"/>
                    </a:cubicBezTo>
                    <a:cubicBezTo>
                      <a:pt x="1282" y="215"/>
                      <a:pt x="1283" y="214"/>
                      <a:pt x="1283" y="213"/>
                    </a:cubicBezTo>
                    <a:cubicBezTo>
                      <a:pt x="1284" y="212"/>
                      <a:pt x="1284" y="211"/>
                      <a:pt x="1284" y="210"/>
                    </a:cubicBezTo>
                    <a:cubicBezTo>
                      <a:pt x="1285" y="208"/>
                      <a:pt x="1286" y="206"/>
                      <a:pt x="1286" y="204"/>
                    </a:cubicBezTo>
                    <a:cubicBezTo>
                      <a:pt x="1287" y="200"/>
                      <a:pt x="1288" y="197"/>
                      <a:pt x="1288" y="194"/>
                    </a:cubicBezTo>
                    <a:cubicBezTo>
                      <a:pt x="1288" y="189"/>
                      <a:pt x="1288" y="186"/>
                      <a:pt x="1288" y="186"/>
                    </a:cubicBezTo>
                    <a:close/>
                  </a:path>
                </a:pathLst>
              </a:custGeom>
              <a:solidFill>
                <a:schemeClr val="tx2">
                  <a:lumMod val="60000"/>
                  <a:lumOff val="40000"/>
                </a:schemeClr>
              </a:solidFill>
              <a:ln>
                <a:noFill/>
              </a:ln>
            </p:spPr>
            <p:txBody>
              <a:bodyPr vert="horz" wrap="square" lIns="89643" tIns="44822" rIns="89643" bIns="44822" numCol="1" anchor="t" anchorCtr="0" compatLnSpc="1">
                <a:prstTxWarp prst="textNoShape">
                  <a:avLst/>
                </a:prstTxWarp>
              </a:bodyPr>
              <a:lstStyle/>
              <a:p>
                <a:pPr defTabSz="914348"/>
                <a:endParaRPr lang="en-US" sz="1298" dirty="0">
                  <a:solidFill>
                    <a:prstClr val="black"/>
                  </a:solidFill>
                  <a:latin typeface="Calibri" panose="020F0502020204030204"/>
                  <a:ea typeface="Heiti SC Light" charset="-122"/>
                  <a:sym typeface="Gill Sans" charset="0"/>
                </a:endParaRPr>
              </a:p>
            </p:txBody>
          </p:sp>
          <p:sp>
            <p:nvSpPr>
              <p:cNvPr id="83" name="Freeform 691"/>
              <p:cNvSpPr>
                <a:spLocks noEditPoints="1"/>
              </p:cNvSpPr>
              <p:nvPr/>
            </p:nvSpPr>
            <p:spPr bwMode="auto">
              <a:xfrm>
                <a:off x="-608435" y="6786968"/>
                <a:ext cx="1313158" cy="151742"/>
              </a:xfrm>
              <a:custGeom>
                <a:avLst/>
                <a:gdLst>
                  <a:gd name="T0" fmla="*/ 239 w 476"/>
                  <a:gd name="T1" fmla="*/ 22 h 55"/>
                  <a:gd name="T2" fmla="*/ 206 w 476"/>
                  <a:gd name="T3" fmla="*/ 27 h 55"/>
                  <a:gd name="T4" fmla="*/ 183 w 476"/>
                  <a:gd name="T5" fmla="*/ 9 h 55"/>
                  <a:gd name="T6" fmla="*/ 216 w 476"/>
                  <a:gd name="T7" fmla="*/ 4 h 55"/>
                  <a:gd name="T8" fmla="*/ 239 w 476"/>
                  <a:gd name="T9" fmla="*/ 22 h 55"/>
                  <a:gd name="T10" fmla="*/ 284 w 476"/>
                  <a:gd name="T11" fmla="*/ 9 h 55"/>
                  <a:gd name="T12" fmla="*/ 255 w 476"/>
                  <a:gd name="T13" fmla="*/ 14 h 55"/>
                  <a:gd name="T14" fmla="*/ 275 w 476"/>
                  <a:gd name="T15" fmla="*/ 30 h 55"/>
                  <a:gd name="T16" fmla="*/ 305 w 476"/>
                  <a:gd name="T17" fmla="*/ 25 h 55"/>
                  <a:gd name="T18" fmla="*/ 284 w 476"/>
                  <a:gd name="T19" fmla="*/ 9 h 55"/>
                  <a:gd name="T20" fmla="*/ 144 w 476"/>
                  <a:gd name="T21" fmla="*/ 3 h 55"/>
                  <a:gd name="T22" fmla="*/ 115 w 476"/>
                  <a:gd name="T23" fmla="*/ 10 h 55"/>
                  <a:gd name="T24" fmla="*/ 137 w 476"/>
                  <a:gd name="T25" fmla="*/ 24 h 55"/>
                  <a:gd name="T26" fmla="*/ 166 w 476"/>
                  <a:gd name="T27" fmla="*/ 18 h 55"/>
                  <a:gd name="T28" fmla="*/ 144 w 476"/>
                  <a:gd name="T29" fmla="*/ 3 h 55"/>
                  <a:gd name="T30" fmla="*/ 348 w 476"/>
                  <a:gd name="T31" fmla="*/ 17 h 55"/>
                  <a:gd name="T32" fmla="*/ 321 w 476"/>
                  <a:gd name="T33" fmla="*/ 22 h 55"/>
                  <a:gd name="T34" fmla="*/ 340 w 476"/>
                  <a:gd name="T35" fmla="*/ 37 h 55"/>
                  <a:gd name="T36" fmla="*/ 367 w 476"/>
                  <a:gd name="T37" fmla="*/ 32 h 55"/>
                  <a:gd name="T38" fmla="*/ 348 w 476"/>
                  <a:gd name="T39" fmla="*/ 17 h 55"/>
                  <a:gd name="T40" fmla="*/ 84 w 476"/>
                  <a:gd name="T41" fmla="*/ 9 h 55"/>
                  <a:gd name="T42" fmla="*/ 57 w 476"/>
                  <a:gd name="T43" fmla="*/ 14 h 55"/>
                  <a:gd name="T44" fmla="*/ 76 w 476"/>
                  <a:gd name="T45" fmla="*/ 29 h 55"/>
                  <a:gd name="T46" fmla="*/ 103 w 476"/>
                  <a:gd name="T47" fmla="*/ 24 h 55"/>
                  <a:gd name="T48" fmla="*/ 84 w 476"/>
                  <a:gd name="T49" fmla="*/ 9 h 55"/>
                  <a:gd name="T50" fmla="*/ 407 w 476"/>
                  <a:gd name="T51" fmla="*/ 28 h 55"/>
                  <a:gd name="T52" fmla="*/ 383 w 476"/>
                  <a:gd name="T53" fmla="*/ 32 h 55"/>
                  <a:gd name="T54" fmla="*/ 400 w 476"/>
                  <a:gd name="T55" fmla="*/ 45 h 55"/>
                  <a:gd name="T56" fmla="*/ 423 w 476"/>
                  <a:gd name="T57" fmla="*/ 40 h 55"/>
                  <a:gd name="T58" fmla="*/ 407 w 476"/>
                  <a:gd name="T59" fmla="*/ 28 h 55"/>
                  <a:gd name="T60" fmla="*/ 461 w 476"/>
                  <a:gd name="T61" fmla="*/ 40 h 55"/>
                  <a:gd name="T62" fmla="*/ 442 w 476"/>
                  <a:gd name="T63" fmla="*/ 43 h 55"/>
                  <a:gd name="T64" fmla="*/ 455 w 476"/>
                  <a:gd name="T65" fmla="*/ 53 h 55"/>
                  <a:gd name="T66" fmla="*/ 474 w 476"/>
                  <a:gd name="T67" fmla="*/ 50 h 55"/>
                  <a:gd name="T68" fmla="*/ 461 w 476"/>
                  <a:gd name="T69" fmla="*/ 40 h 55"/>
                  <a:gd name="T70" fmla="*/ 26 w 476"/>
                  <a:gd name="T71" fmla="*/ 20 h 55"/>
                  <a:gd name="T72" fmla="*/ 2 w 476"/>
                  <a:gd name="T73" fmla="*/ 24 h 55"/>
                  <a:gd name="T74" fmla="*/ 19 w 476"/>
                  <a:gd name="T75" fmla="*/ 37 h 55"/>
                  <a:gd name="T76" fmla="*/ 43 w 476"/>
                  <a:gd name="T77" fmla="*/ 33 h 55"/>
                  <a:gd name="T78" fmla="*/ 26 w 476"/>
                  <a:gd name="T79" fmla="*/ 2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76" h="55">
                    <a:moveTo>
                      <a:pt x="239" y="22"/>
                    </a:moveTo>
                    <a:cubicBezTo>
                      <a:pt x="236" y="28"/>
                      <a:pt x="221" y="31"/>
                      <a:pt x="206" y="27"/>
                    </a:cubicBezTo>
                    <a:cubicBezTo>
                      <a:pt x="191" y="24"/>
                      <a:pt x="180" y="16"/>
                      <a:pt x="183" y="9"/>
                    </a:cubicBezTo>
                    <a:cubicBezTo>
                      <a:pt x="186" y="3"/>
                      <a:pt x="201" y="0"/>
                      <a:pt x="216" y="4"/>
                    </a:cubicBezTo>
                    <a:cubicBezTo>
                      <a:pt x="231" y="7"/>
                      <a:pt x="242" y="15"/>
                      <a:pt x="239" y="22"/>
                    </a:cubicBezTo>
                    <a:close/>
                    <a:moveTo>
                      <a:pt x="284" y="9"/>
                    </a:moveTo>
                    <a:cubicBezTo>
                      <a:pt x="270" y="6"/>
                      <a:pt x="257" y="8"/>
                      <a:pt x="255" y="14"/>
                    </a:cubicBezTo>
                    <a:cubicBezTo>
                      <a:pt x="252" y="20"/>
                      <a:pt x="261" y="27"/>
                      <a:pt x="275" y="30"/>
                    </a:cubicBezTo>
                    <a:cubicBezTo>
                      <a:pt x="289" y="33"/>
                      <a:pt x="302" y="31"/>
                      <a:pt x="305" y="25"/>
                    </a:cubicBezTo>
                    <a:cubicBezTo>
                      <a:pt x="307" y="19"/>
                      <a:pt x="298" y="12"/>
                      <a:pt x="284" y="9"/>
                    </a:cubicBezTo>
                    <a:close/>
                    <a:moveTo>
                      <a:pt x="144" y="3"/>
                    </a:moveTo>
                    <a:cubicBezTo>
                      <a:pt x="130" y="1"/>
                      <a:pt x="117" y="4"/>
                      <a:pt x="115" y="10"/>
                    </a:cubicBezTo>
                    <a:cubicBezTo>
                      <a:pt x="113" y="15"/>
                      <a:pt x="123" y="22"/>
                      <a:pt x="137" y="24"/>
                    </a:cubicBezTo>
                    <a:cubicBezTo>
                      <a:pt x="151" y="27"/>
                      <a:pt x="164" y="24"/>
                      <a:pt x="166" y="18"/>
                    </a:cubicBezTo>
                    <a:cubicBezTo>
                      <a:pt x="168" y="12"/>
                      <a:pt x="158" y="6"/>
                      <a:pt x="144" y="3"/>
                    </a:cubicBezTo>
                    <a:close/>
                    <a:moveTo>
                      <a:pt x="348" y="17"/>
                    </a:moveTo>
                    <a:cubicBezTo>
                      <a:pt x="336" y="15"/>
                      <a:pt x="323" y="17"/>
                      <a:pt x="321" y="22"/>
                    </a:cubicBezTo>
                    <a:cubicBezTo>
                      <a:pt x="319" y="27"/>
                      <a:pt x="327" y="34"/>
                      <a:pt x="340" y="37"/>
                    </a:cubicBezTo>
                    <a:cubicBezTo>
                      <a:pt x="353" y="40"/>
                      <a:pt x="365" y="38"/>
                      <a:pt x="367" y="32"/>
                    </a:cubicBezTo>
                    <a:cubicBezTo>
                      <a:pt x="370" y="27"/>
                      <a:pt x="361" y="20"/>
                      <a:pt x="348" y="17"/>
                    </a:cubicBezTo>
                    <a:close/>
                    <a:moveTo>
                      <a:pt x="84" y="9"/>
                    </a:moveTo>
                    <a:cubicBezTo>
                      <a:pt x="71" y="7"/>
                      <a:pt x="59" y="9"/>
                      <a:pt x="57" y="14"/>
                    </a:cubicBezTo>
                    <a:cubicBezTo>
                      <a:pt x="55" y="19"/>
                      <a:pt x="63" y="26"/>
                      <a:pt x="76" y="29"/>
                    </a:cubicBezTo>
                    <a:cubicBezTo>
                      <a:pt x="89" y="32"/>
                      <a:pt x="101" y="30"/>
                      <a:pt x="103" y="24"/>
                    </a:cubicBezTo>
                    <a:cubicBezTo>
                      <a:pt x="105" y="19"/>
                      <a:pt x="97" y="12"/>
                      <a:pt x="84" y="9"/>
                    </a:cubicBezTo>
                    <a:close/>
                    <a:moveTo>
                      <a:pt x="407" y="28"/>
                    </a:moveTo>
                    <a:cubicBezTo>
                      <a:pt x="396" y="25"/>
                      <a:pt x="385" y="27"/>
                      <a:pt x="383" y="32"/>
                    </a:cubicBezTo>
                    <a:cubicBezTo>
                      <a:pt x="381" y="36"/>
                      <a:pt x="388" y="42"/>
                      <a:pt x="400" y="45"/>
                    </a:cubicBezTo>
                    <a:cubicBezTo>
                      <a:pt x="411" y="47"/>
                      <a:pt x="421" y="45"/>
                      <a:pt x="423" y="40"/>
                    </a:cubicBezTo>
                    <a:cubicBezTo>
                      <a:pt x="425" y="36"/>
                      <a:pt x="418" y="30"/>
                      <a:pt x="407" y="28"/>
                    </a:cubicBezTo>
                    <a:close/>
                    <a:moveTo>
                      <a:pt x="461" y="40"/>
                    </a:moveTo>
                    <a:cubicBezTo>
                      <a:pt x="452" y="38"/>
                      <a:pt x="444" y="39"/>
                      <a:pt x="442" y="43"/>
                    </a:cubicBezTo>
                    <a:cubicBezTo>
                      <a:pt x="440" y="47"/>
                      <a:pt x="446" y="51"/>
                      <a:pt x="455" y="53"/>
                    </a:cubicBezTo>
                    <a:cubicBezTo>
                      <a:pt x="464" y="55"/>
                      <a:pt x="473" y="54"/>
                      <a:pt x="474" y="50"/>
                    </a:cubicBezTo>
                    <a:cubicBezTo>
                      <a:pt x="476" y="46"/>
                      <a:pt x="470" y="42"/>
                      <a:pt x="461" y="40"/>
                    </a:cubicBezTo>
                    <a:close/>
                    <a:moveTo>
                      <a:pt x="26" y="20"/>
                    </a:moveTo>
                    <a:cubicBezTo>
                      <a:pt x="15" y="18"/>
                      <a:pt x="4" y="20"/>
                      <a:pt x="2" y="24"/>
                    </a:cubicBezTo>
                    <a:cubicBezTo>
                      <a:pt x="0" y="29"/>
                      <a:pt x="8" y="35"/>
                      <a:pt x="19" y="37"/>
                    </a:cubicBezTo>
                    <a:cubicBezTo>
                      <a:pt x="30" y="40"/>
                      <a:pt x="41" y="38"/>
                      <a:pt x="43" y="33"/>
                    </a:cubicBezTo>
                    <a:cubicBezTo>
                      <a:pt x="45" y="29"/>
                      <a:pt x="37" y="23"/>
                      <a:pt x="26" y="20"/>
                    </a:cubicBezTo>
                    <a:close/>
                  </a:path>
                </a:pathLst>
              </a:custGeom>
              <a:solidFill>
                <a:srgbClr val="FFFFFF">
                  <a:alpha val="84000"/>
                </a:srgbClr>
              </a:solidFill>
              <a:ln>
                <a:noFill/>
              </a:ln>
            </p:spPr>
            <p:txBody>
              <a:bodyPr vert="horz" wrap="square" lIns="89643" tIns="44822" rIns="89643" bIns="44822" numCol="1" anchor="t" anchorCtr="0" compatLnSpc="1">
                <a:prstTxWarp prst="textNoShape">
                  <a:avLst/>
                </a:prstTxWarp>
              </a:bodyPr>
              <a:lstStyle/>
              <a:p>
                <a:pPr defTabSz="914348"/>
                <a:endParaRPr lang="en-US" sz="1298" dirty="0">
                  <a:solidFill>
                    <a:prstClr val="black"/>
                  </a:solidFill>
                  <a:latin typeface="Calibri" panose="020F0502020204030204"/>
                  <a:ea typeface="Heiti SC Light" charset="-122"/>
                  <a:sym typeface="Gill Sans" charset="0"/>
                </a:endParaRPr>
              </a:p>
            </p:txBody>
          </p:sp>
          <p:sp>
            <p:nvSpPr>
              <p:cNvPr id="84" name="Freeform 695"/>
              <p:cNvSpPr>
                <a:spLocks noEditPoints="1"/>
              </p:cNvSpPr>
              <p:nvPr/>
            </p:nvSpPr>
            <p:spPr bwMode="auto">
              <a:xfrm>
                <a:off x="4747061" y="5846230"/>
                <a:ext cx="520594" cy="190262"/>
              </a:xfrm>
              <a:custGeom>
                <a:avLst/>
                <a:gdLst>
                  <a:gd name="T0" fmla="*/ 55 w 189"/>
                  <a:gd name="T1" fmla="*/ 45 h 69"/>
                  <a:gd name="T2" fmla="*/ 108 w 189"/>
                  <a:gd name="T3" fmla="*/ 46 h 69"/>
                  <a:gd name="T4" fmla="*/ 60 w 189"/>
                  <a:gd name="T5" fmla="*/ 43 h 69"/>
                  <a:gd name="T6" fmla="*/ 120 w 189"/>
                  <a:gd name="T7" fmla="*/ 31 h 69"/>
                  <a:gd name="T8" fmla="*/ 153 w 189"/>
                  <a:gd name="T9" fmla="*/ 31 h 69"/>
                  <a:gd name="T10" fmla="*/ 118 w 189"/>
                  <a:gd name="T11" fmla="*/ 35 h 69"/>
                  <a:gd name="T12" fmla="*/ 119 w 189"/>
                  <a:gd name="T13" fmla="*/ 61 h 69"/>
                  <a:gd name="T14" fmla="*/ 149 w 189"/>
                  <a:gd name="T15" fmla="*/ 62 h 69"/>
                  <a:gd name="T16" fmla="*/ 122 w 189"/>
                  <a:gd name="T17" fmla="*/ 61 h 69"/>
                  <a:gd name="T18" fmla="*/ 33 w 189"/>
                  <a:gd name="T19" fmla="*/ 17 h 69"/>
                  <a:gd name="T20" fmla="*/ 49 w 189"/>
                  <a:gd name="T21" fmla="*/ 19 h 69"/>
                  <a:gd name="T22" fmla="*/ 66 w 189"/>
                  <a:gd name="T23" fmla="*/ 13 h 69"/>
                  <a:gd name="T24" fmla="*/ 28 w 189"/>
                  <a:gd name="T25" fmla="*/ 15 h 69"/>
                  <a:gd name="T26" fmla="*/ 155 w 189"/>
                  <a:gd name="T27" fmla="*/ 47 h 69"/>
                  <a:gd name="T28" fmla="*/ 170 w 189"/>
                  <a:gd name="T29" fmla="*/ 51 h 69"/>
                  <a:gd name="T30" fmla="*/ 189 w 189"/>
                  <a:gd name="T31" fmla="*/ 49 h 69"/>
                  <a:gd name="T32" fmla="*/ 157 w 189"/>
                  <a:gd name="T33" fmla="*/ 46 h 69"/>
                  <a:gd name="T34" fmla="*/ 0 w 189"/>
                  <a:gd name="T35" fmla="*/ 37 h 69"/>
                  <a:gd name="T36" fmla="*/ 13 w 189"/>
                  <a:gd name="T37" fmla="*/ 40 h 69"/>
                  <a:gd name="T38" fmla="*/ 26 w 189"/>
                  <a:gd name="T39" fmla="*/ 36 h 69"/>
                  <a:gd name="T40" fmla="*/ 2 w 189"/>
                  <a:gd name="T41" fmla="*/ 36 h 69"/>
                  <a:gd name="T42" fmla="*/ 79 w 189"/>
                  <a:gd name="T43" fmla="*/ 66 h 69"/>
                  <a:gd name="T44" fmla="*/ 91 w 189"/>
                  <a:gd name="T45" fmla="*/ 68 h 69"/>
                  <a:gd name="T46" fmla="*/ 103 w 189"/>
                  <a:gd name="T47" fmla="*/ 67 h 69"/>
                  <a:gd name="T48" fmla="*/ 81 w 189"/>
                  <a:gd name="T49" fmla="*/ 6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9" h="69">
                    <a:moveTo>
                      <a:pt x="55" y="45"/>
                    </a:moveTo>
                    <a:cubicBezTo>
                      <a:pt x="70" y="32"/>
                      <a:pt x="94" y="21"/>
                      <a:pt x="108" y="46"/>
                    </a:cubicBezTo>
                    <a:cubicBezTo>
                      <a:pt x="92" y="48"/>
                      <a:pt x="75" y="51"/>
                      <a:pt x="60" y="43"/>
                    </a:cubicBezTo>
                    <a:moveTo>
                      <a:pt x="120" y="31"/>
                    </a:moveTo>
                    <a:cubicBezTo>
                      <a:pt x="126" y="38"/>
                      <a:pt x="143" y="35"/>
                      <a:pt x="153" y="31"/>
                    </a:cubicBezTo>
                    <a:cubicBezTo>
                      <a:pt x="147" y="15"/>
                      <a:pt x="122" y="22"/>
                      <a:pt x="118" y="35"/>
                    </a:cubicBezTo>
                    <a:moveTo>
                      <a:pt x="119" y="61"/>
                    </a:moveTo>
                    <a:cubicBezTo>
                      <a:pt x="130" y="64"/>
                      <a:pt x="137" y="66"/>
                      <a:pt x="149" y="62"/>
                    </a:cubicBezTo>
                    <a:cubicBezTo>
                      <a:pt x="145" y="51"/>
                      <a:pt x="127" y="52"/>
                      <a:pt x="122" y="61"/>
                    </a:cubicBezTo>
                    <a:moveTo>
                      <a:pt x="33" y="17"/>
                    </a:moveTo>
                    <a:cubicBezTo>
                      <a:pt x="40" y="14"/>
                      <a:pt x="43" y="19"/>
                      <a:pt x="49" y="19"/>
                    </a:cubicBezTo>
                    <a:cubicBezTo>
                      <a:pt x="56" y="19"/>
                      <a:pt x="60" y="16"/>
                      <a:pt x="66" y="13"/>
                    </a:cubicBezTo>
                    <a:cubicBezTo>
                      <a:pt x="53" y="0"/>
                      <a:pt x="40" y="20"/>
                      <a:pt x="28" y="15"/>
                    </a:cubicBezTo>
                    <a:moveTo>
                      <a:pt x="155" y="47"/>
                    </a:moveTo>
                    <a:cubicBezTo>
                      <a:pt x="159" y="46"/>
                      <a:pt x="165" y="51"/>
                      <a:pt x="170" y="51"/>
                    </a:cubicBezTo>
                    <a:cubicBezTo>
                      <a:pt x="177" y="52"/>
                      <a:pt x="183" y="50"/>
                      <a:pt x="189" y="49"/>
                    </a:cubicBezTo>
                    <a:cubicBezTo>
                      <a:pt x="181" y="37"/>
                      <a:pt x="167" y="46"/>
                      <a:pt x="157" y="46"/>
                    </a:cubicBezTo>
                    <a:moveTo>
                      <a:pt x="0" y="37"/>
                    </a:moveTo>
                    <a:cubicBezTo>
                      <a:pt x="4" y="36"/>
                      <a:pt x="9" y="40"/>
                      <a:pt x="13" y="40"/>
                    </a:cubicBezTo>
                    <a:cubicBezTo>
                      <a:pt x="18" y="40"/>
                      <a:pt x="23" y="38"/>
                      <a:pt x="26" y="36"/>
                    </a:cubicBezTo>
                    <a:cubicBezTo>
                      <a:pt x="18" y="30"/>
                      <a:pt x="11" y="30"/>
                      <a:pt x="2" y="36"/>
                    </a:cubicBezTo>
                    <a:moveTo>
                      <a:pt x="79" y="66"/>
                    </a:moveTo>
                    <a:cubicBezTo>
                      <a:pt x="83" y="63"/>
                      <a:pt x="87" y="68"/>
                      <a:pt x="91" y="68"/>
                    </a:cubicBezTo>
                    <a:cubicBezTo>
                      <a:pt x="95" y="69"/>
                      <a:pt x="99" y="69"/>
                      <a:pt x="103" y="67"/>
                    </a:cubicBezTo>
                    <a:cubicBezTo>
                      <a:pt x="95" y="56"/>
                      <a:pt x="92" y="64"/>
                      <a:pt x="81" y="65"/>
                    </a:cubicBezTo>
                  </a:path>
                </a:pathLst>
              </a:custGeom>
              <a:solidFill>
                <a:schemeClr val="tx2">
                  <a:lumMod val="60000"/>
                  <a:lumOff val="40000"/>
                </a:schemeClr>
              </a:solidFill>
              <a:ln>
                <a:noFill/>
              </a:ln>
            </p:spPr>
            <p:txBody>
              <a:bodyPr vert="horz" wrap="square" lIns="89643" tIns="44822" rIns="89643" bIns="44822" numCol="1" anchor="t" anchorCtr="0" compatLnSpc="1">
                <a:prstTxWarp prst="textNoShape">
                  <a:avLst/>
                </a:prstTxWarp>
              </a:bodyPr>
              <a:lstStyle/>
              <a:p>
                <a:pPr defTabSz="914348"/>
                <a:endParaRPr lang="en-US" sz="1298" dirty="0">
                  <a:solidFill>
                    <a:prstClr val="black"/>
                  </a:solidFill>
                  <a:latin typeface="Calibri" panose="020F0502020204030204"/>
                  <a:ea typeface="Heiti SC Light" charset="-122"/>
                  <a:sym typeface="Gill Sans" charset="0"/>
                </a:endParaRPr>
              </a:p>
            </p:txBody>
          </p:sp>
        </p:grpSp>
        <p:grpSp>
          <p:nvGrpSpPr>
            <p:cNvPr id="17" name="Group 16"/>
            <p:cNvGrpSpPr/>
            <p:nvPr/>
          </p:nvGrpSpPr>
          <p:grpSpPr>
            <a:xfrm>
              <a:off x="14516381" y="11270318"/>
              <a:ext cx="6667219" cy="1194872"/>
              <a:chOff x="14516381" y="11270318"/>
              <a:chExt cx="6667219" cy="1194872"/>
            </a:xfrm>
          </p:grpSpPr>
          <p:sp>
            <p:nvSpPr>
              <p:cNvPr id="85" name="Title 1"/>
              <p:cNvSpPr txBox="1">
                <a:spLocks/>
              </p:cNvSpPr>
              <p:nvPr/>
            </p:nvSpPr>
            <p:spPr>
              <a:xfrm>
                <a:off x="15343788" y="11270318"/>
                <a:ext cx="5839812" cy="1194872"/>
              </a:xfrm>
              <a:prstGeom prst="rect">
                <a:avLst/>
              </a:prstGeom>
            </p:spPr>
            <p:txBody>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pPr defTabSz="1243478"/>
                <a:r>
                  <a:rPr lang="en-US" sz="2667" dirty="0">
                    <a:solidFill>
                      <a:prstClr val="white"/>
                    </a:solidFill>
                    <a:latin typeface="Segoe UI Light" panose="020B0502040204020203" pitchFamily="34" charset="0"/>
                    <a:cs typeface="Segoe UI Light" panose="020B0502040204020203" pitchFamily="34" charset="0"/>
                    <a:sym typeface="Gill Sans" charset="0"/>
                  </a:rPr>
                  <a:t>Global Distribution</a:t>
                </a:r>
              </a:p>
            </p:txBody>
          </p:sp>
          <p:sp>
            <p:nvSpPr>
              <p:cNvPr id="73" name="Oval 72"/>
              <p:cNvSpPr/>
              <p:nvPr/>
            </p:nvSpPr>
            <p:spPr bwMode="auto">
              <a:xfrm>
                <a:off x="14516381" y="11300655"/>
                <a:ext cx="821934" cy="80303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ctr" anchorCtr="0" forceAA="0" compatLnSpc="1">
                <a:prstTxWarp prst="textNoShape">
                  <a:avLst/>
                </a:prstTxWarp>
                <a:noAutofit/>
              </a:bodyPr>
              <a:lstStyle/>
              <a:p>
                <a:pPr algn="ctr" defTabSz="466236" fontAlgn="base">
                  <a:lnSpc>
                    <a:spcPct val="90000"/>
                  </a:lnSpc>
                  <a:spcBef>
                    <a:spcPct val="0"/>
                  </a:spcBef>
                  <a:spcAft>
                    <a:spcPct val="0"/>
                  </a:spcAft>
                </a:pPr>
                <a:r>
                  <a:rPr lang="en-US" dirty="0">
                    <a:solidFill>
                      <a:prstClr val="black"/>
                    </a:solidFill>
                    <a:latin typeface="Calibri Light" panose="020F0302020204030204"/>
                    <a:ea typeface="Segoe UI" pitchFamily="34" charset="0"/>
                    <a:cs typeface="Segoe UI" pitchFamily="34" charset="0"/>
                    <a:sym typeface="Gill Sans" charset="0"/>
                  </a:rPr>
                  <a:t>1</a:t>
                </a:r>
              </a:p>
            </p:txBody>
          </p:sp>
        </p:grpSp>
      </p:grpSp>
      <p:grpSp>
        <p:nvGrpSpPr>
          <p:cNvPr id="3" name="Group 2"/>
          <p:cNvGrpSpPr/>
          <p:nvPr/>
        </p:nvGrpSpPr>
        <p:grpSpPr>
          <a:xfrm>
            <a:off x="6160027" y="1674608"/>
            <a:ext cx="6493876" cy="1486246"/>
            <a:chOff x="12320054" y="2892014"/>
            <a:chExt cx="12987751" cy="2972491"/>
          </a:xfrm>
        </p:grpSpPr>
        <p:sp>
          <p:nvSpPr>
            <p:cNvPr id="74" name="Title 1"/>
            <p:cNvSpPr txBox="1">
              <a:spLocks/>
            </p:cNvSpPr>
            <p:nvPr/>
          </p:nvSpPr>
          <p:spPr>
            <a:xfrm>
              <a:off x="12320054" y="4669633"/>
              <a:ext cx="12987751" cy="1194872"/>
            </a:xfrm>
            <a:prstGeom prst="rect">
              <a:avLst/>
            </a:prstGeom>
          </p:spPr>
          <p:txBody>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pPr algn="ctr" defTabSz="1243478"/>
              <a:r>
                <a:rPr lang="en-US" sz="2667" dirty="0">
                  <a:solidFill>
                    <a:prstClr val="white"/>
                  </a:solidFill>
                  <a:latin typeface="Segoe UI Light" panose="020B0502040204020203" pitchFamily="34" charset="0"/>
                  <a:cs typeface="Segoe UI Light" panose="020B0502040204020203" pitchFamily="34" charset="0"/>
                  <a:sym typeface="Gill Sans" charset="0"/>
                </a:rPr>
                <a:t>Elastic and unlimited scalability</a:t>
              </a:r>
            </a:p>
          </p:txBody>
        </p:sp>
        <p:grpSp>
          <p:nvGrpSpPr>
            <p:cNvPr id="20" name="Group 19"/>
            <p:cNvGrpSpPr/>
            <p:nvPr/>
          </p:nvGrpSpPr>
          <p:grpSpPr>
            <a:xfrm>
              <a:off x="13173114" y="2892014"/>
              <a:ext cx="11689958" cy="2577266"/>
              <a:chOff x="13173114" y="2892014"/>
              <a:chExt cx="11689958" cy="2577266"/>
            </a:xfrm>
          </p:grpSpPr>
          <p:grpSp>
            <p:nvGrpSpPr>
              <p:cNvPr id="2" name="Group 1"/>
              <p:cNvGrpSpPr/>
              <p:nvPr/>
            </p:nvGrpSpPr>
            <p:grpSpPr>
              <a:xfrm>
                <a:off x="13173114" y="2892014"/>
                <a:ext cx="11689958" cy="2319989"/>
                <a:chOff x="905445" y="3562144"/>
                <a:chExt cx="9903824" cy="2368037"/>
              </a:xfrm>
            </p:grpSpPr>
            <p:grpSp>
              <p:nvGrpSpPr>
                <p:cNvPr id="48" name="Group 47">
                  <a:extLst/>
                </p:cNvPr>
                <p:cNvGrpSpPr/>
                <p:nvPr/>
              </p:nvGrpSpPr>
              <p:grpSpPr>
                <a:xfrm>
                  <a:off x="1189037" y="4389205"/>
                  <a:ext cx="9620232" cy="1540976"/>
                  <a:chOff x="2652196" y="4246496"/>
                  <a:chExt cx="10263036" cy="1643939"/>
                </a:xfrm>
              </p:grpSpPr>
              <p:sp>
                <p:nvSpPr>
                  <p:cNvPr id="50" name="Rectangle 49">
                    <a:extLst/>
                  </p:cNvPr>
                  <p:cNvSpPr/>
                  <p:nvPr/>
                </p:nvSpPr>
                <p:spPr bwMode="auto">
                  <a:xfrm>
                    <a:off x="2652196" y="4280080"/>
                    <a:ext cx="9265683" cy="84056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56" tIns="134446" rIns="168056" bIns="134446" numCol="1" spcCol="0" rtlCol="0" fromWordArt="0" anchor="t" anchorCtr="0" forceAA="0" compatLnSpc="1">
                    <a:prstTxWarp prst="textNoShape">
                      <a:avLst/>
                    </a:prstTxWarp>
                    <a:noAutofit/>
                  </a:bodyPr>
                  <a:lstStyle/>
                  <a:p>
                    <a:pPr algn="ctr" defTabSz="856943" fontAlgn="base">
                      <a:lnSpc>
                        <a:spcPct val="90000"/>
                      </a:lnSpc>
                      <a:spcBef>
                        <a:spcPct val="0"/>
                      </a:spcBef>
                      <a:spcAft>
                        <a:spcPct val="0"/>
                      </a:spcAft>
                    </a:pPr>
                    <a:endParaRPr lang="en-US" sz="1372" kern="0"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sym typeface="Gill Sans" charset="0"/>
                    </a:endParaRPr>
                  </a:p>
                </p:txBody>
              </p:sp>
              <p:sp>
                <p:nvSpPr>
                  <p:cNvPr id="52" name="TextBox 51">
                    <a:extLst/>
                  </p:cNvPr>
                  <p:cNvSpPr txBox="1"/>
                  <p:nvPr/>
                </p:nvSpPr>
                <p:spPr>
                  <a:xfrm>
                    <a:off x="7617771" y="4246496"/>
                    <a:ext cx="5297461" cy="1643939"/>
                  </a:xfrm>
                  <a:prstGeom prst="rect">
                    <a:avLst/>
                  </a:prstGeom>
                  <a:noFill/>
                </p:spPr>
                <p:txBody>
                  <a:bodyPr wrap="square" lIns="168056" tIns="134446" rIns="168056" bIns="134446" rtlCol="0">
                    <a:spAutoFit/>
                  </a:bodyPr>
                  <a:lstStyle/>
                  <a:p>
                    <a:pPr defTabSz="857223">
                      <a:lnSpc>
                        <a:spcPct val="90000"/>
                      </a:lnSpc>
                      <a:spcAft>
                        <a:spcPts val="551"/>
                      </a:spcAft>
                    </a:pPr>
                    <a:r>
                      <a:rPr lang="en-US" sz="1467" kern="0" dirty="0">
                        <a:solidFill>
                          <a:prstClr val="black"/>
                        </a:solidFill>
                        <a:latin typeface="Segoe UI Light" panose="020B0502040204020203" pitchFamily="34" charset="0"/>
                        <a:ea typeface="Heiti SC Light" charset="-122"/>
                        <a:cs typeface="Segoe UI Light" panose="020B0502040204020203" pitchFamily="34" charset="0"/>
                        <a:sym typeface="Gill Sans" charset="0"/>
                      </a:rPr>
                      <a:t>Millions of transactions/sec</a:t>
                    </a:r>
                  </a:p>
                  <a:p>
                    <a:pPr defTabSz="857223">
                      <a:lnSpc>
                        <a:spcPct val="90000"/>
                      </a:lnSpc>
                      <a:spcAft>
                        <a:spcPts val="551"/>
                      </a:spcAft>
                    </a:pPr>
                    <a:endParaRPr lang="en-US" sz="1467" kern="0" dirty="0">
                      <a:solidFill>
                        <a:prstClr val="black"/>
                      </a:solidFill>
                      <a:latin typeface="Segoe UI Light" panose="020B0502040204020203" pitchFamily="34" charset="0"/>
                      <a:ea typeface="Heiti SC Light" charset="-122"/>
                      <a:cs typeface="Segoe UI Light" panose="020B0502040204020203" pitchFamily="34" charset="0"/>
                      <a:sym typeface="Gill Sans" charset="0"/>
                    </a:endParaRPr>
                  </a:p>
                </p:txBody>
              </p:sp>
            </p:grpSp>
            <p:grpSp>
              <p:nvGrpSpPr>
                <p:cNvPr id="60" name="Group 59">
                  <a:extLst/>
                </p:cNvPr>
                <p:cNvGrpSpPr/>
                <p:nvPr/>
              </p:nvGrpSpPr>
              <p:grpSpPr>
                <a:xfrm>
                  <a:off x="1189037" y="3562531"/>
                  <a:ext cx="9116362" cy="969094"/>
                  <a:chOff x="2652196" y="3364589"/>
                  <a:chExt cx="9725499" cy="1033848"/>
                </a:xfrm>
              </p:grpSpPr>
              <p:sp>
                <p:nvSpPr>
                  <p:cNvPr id="61" name="Rectangle 60">
                    <a:extLst/>
                  </p:cNvPr>
                  <p:cNvSpPr/>
                  <p:nvPr/>
                </p:nvSpPr>
                <p:spPr bwMode="auto">
                  <a:xfrm>
                    <a:off x="2652196" y="3407883"/>
                    <a:ext cx="9265683" cy="84056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56" tIns="134446" rIns="168056" bIns="134446" numCol="1" spcCol="0" rtlCol="0" fromWordArt="0" anchor="t" anchorCtr="0" forceAA="0" compatLnSpc="1">
                    <a:prstTxWarp prst="textNoShape">
                      <a:avLst/>
                    </a:prstTxWarp>
                    <a:noAutofit/>
                  </a:bodyPr>
                  <a:lstStyle/>
                  <a:p>
                    <a:pPr algn="ctr" defTabSz="856943" fontAlgn="base">
                      <a:lnSpc>
                        <a:spcPct val="90000"/>
                      </a:lnSpc>
                      <a:spcBef>
                        <a:spcPct val="0"/>
                      </a:spcBef>
                      <a:spcAft>
                        <a:spcPct val="0"/>
                      </a:spcAft>
                    </a:pPr>
                    <a:endParaRPr lang="en-US" sz="1372" kern="0"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sym typeface="Gill Sans" charset="0"/>
                    </a:endParaRPr>
                  </a:p>
                </p:txBody>
              </p:sp>
              <p:sp>
                <p:nvSpPr>
                  <p:cNvPr id="62" name="TextBox 61">
                    <a:extLst/>
                  </p:cNvPr>
                  <p:cNvSpPr txBox="1"/>
                  <p:nvPr/>
                </p:nvSpPr>
                <p:spPr>
                  <a:xfrm>
                    <a:off x="7670547" y="3364589"/>
                    <a:ext cx="4707148" cy="1033848"/>
                  </a:xfrm>
                  <a:prstGeom prst="rect">
                    <a:avLst/>
                  </a:prstGeom>
                  <a:noFill/>
                </p:spPr>
                <p:txBody>
                  <a:bodyPr wrap="square" lIns="168056" tIns="134446" rIns="168056" bIns="134446" rtlCol="0">
                    <a:spAutoFit/>
                  </a:bodyPr>
                  <a:lstStyle/>
                  <a:p>
                    <a:pPr defTabSz="857223">
                      <a:lnSpc>
                        <a:spcPct val="90000"/>
                      </a:lnSpc>
                      <a:spcAft>
                        <a:spcPts val="551"/>
                      </a:spcAft>
                    </a:pPr>
                    <a:r>
                      <a:rPr lang="en-US" sz="1467" kern="0" dirty="0">
                        <a:solidFill>
                          <a:prstClr val="black"/>
                        </a:solidFill>
                        <a:latin typeface="Segoe UI Light" panose="020B0502040204020203" pitchFamily="34" charset="0"/>
                        <a:ea typeface="Heiti SC Light" charset="-122"/>
                        <a:cs typeface="Segoe UI Light" panose="020B0502040204020203" pitchFamily="34" charset="0"/>
                        <a:sym typeface="Gill Sans" charset="0"/>
                      </a:rPr>
                      <a:t>Petabytes of data</a:t>
                    </a:r>
                  </a:p>
                </p:txBody>
              </p:sp>
            </p:grpSp>
            <p:grpSp>
              <p:nvGrpSpPr>
                <p:cNvPr id="64" name="Group 63">
                  <a:extLst/>
                </p:cNvPr>
                <p:cNvGrpSpPr/>
                <p:nvPr/>
              </p:nvGrpSpPr>
              <p:grpSpPr>
                <a:xfrm>
                  <a:off x="905445" y="4343477"/>
                  <a:ext cx="5550267" cy="969092"/>
                  <a:chOff x="2520755" y="4197707"/>
                  <a:chExt cx="5560826" cy="1033844"/>
                </a:xfrm>
              </p:grpSpPr>
              <p:sp>
                <p:nvSpPr>
                  <p:cNvPr id="65" name="Arrow: Pentagon 64">
                    <a:extLst/>
                  </p:cNvPr>
                  <p:cNvSpPr/>
                  <p:nvPr/>
                </p:nvSpPr>
                <p:spPr bwMode="auto">
                  <a:xfrm>
                    <a:off x="2652196" y="4280078"/>
                    <a:ext cx="4861441" cy="840561"/>
                  </a:xfrm>
                  <a:prstGeom prst="homePlat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56" tIns="134446" rIns="168056" bIns="134446" numCol="1" spcCol="0" rtlCol="0" fromWordArt="0" anchor="t" anchorCtr="0" forceAA="0" compatLnSpc="1">
                    <a:prstTxWarp prst="textNoShape">
                      <a:avLst/>
                    </a:prstTxWarp>
                    <a:noAutofit/>
                  </a:bodyPr>
                  <a:lstStyle/>
                  <a:p>
                    <a:pPr algn="ctr" defTabSz="856943" fontAlgn="base">
                      <a:lnSpc>
                        <a:spcPct val="90000"/>
                      </a:lnSpc>
                      <a:spcBef>
                        <a:spcPct val="0"/>
                      </a:spcBef>
                      <a:spcAft>
                        <a:spcPct val="0"/>
                      </a:spcAft>
                    </a:pPr>
                    <a:endParaRPr lang="en-US" sz="1372" kern="0"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sym typeface="Gill Sans" charset="0"/>
                    </a:endParaRPr>
                  </a:p>
                </p:txBody>
              </p:sp>
              <p:sp>
                <p:nvSpPr>
                  <p:cNvPr id="66" name="TextBox 65">
                    <a:extLst/>
                  </p:cNvPr>
                  <p:cNvSpPr txBox="1"/>
                  <p:nvPr/>
                </p:nvSpPr>
                <p:spPr>
                  <a:xfrm>
                    <a:off x="2520755" y="4197707"/>
                    <a:ext cx="5560826" cy="1033844"/>
                  </a:xfrm>
                  <a:prstGeom prst="rect">
                    <a:avLst/>
                  </a:prstGeom>
                  <a:noFill/>
                </p:spPr>
                <p:txBody>
                  <a:bodyPr wrap="square" lIns="168056" tIns="134446" rIns="168056" bIns="134446" rtlCol="0">
                    <a:spAutoFit/>
                  </a:bodyPr>
                  <a:lstStyle/>
                  <a:p>
                    <a:pPr defTabSz="857223">
                      <a:lnSpc>
                        <a:spcPct val="90000"/>
                      </a:lnSpc>
                      <a:spcAft>
                        <a:spcPts val="551"/>
                      </a:spcAft>
                    </a:pPr>
                    <a:r>
                      <a:rPr lang="en-US" sz="1467" kern="0" dirty="0">
                        <a:gradFill>
                          <a:gsLst>
                            <a:gs pos="2917">
                              <a:prstClr val="black"/>
                            </a:gs>
                            <a:gs pos="30000">
                              <a:prstClr val="black"/>
                            </a:gs>
                          </a:gsLst>
                          <a:lin ang="5400000" scaled="0"/>
                        </a:gradFill>
                        <a:latin typeface="Segoe UI Light" panose="020B0502040204020203" pitchFamily="34" charset="0"/>
                        <a:ea typeface="Heiti SC Light" charset="-122"/>
                        <a:cs typeface="Segoe UI Light" panose="020B0502040204020203" pitchFamily="34" charset="0"/>
                        <a:sym typeface="Gill Sans" charset="0"/>
                      </a:rPr>
                      <a:t>Hundreds transactions/sec</a:t>
                    </a:r>
                  </a:p>
                </p:txBody>
              </p:sp>
            </p:grpSp>
            <p:grpSp>
              <p:nvGrpSpPr>
                <p:cNvPr id="67" name="Group 66">
                  <a:extLst/>
                </p:cNvPr>
                <p:cNvGrpSpPr/>
                <p:nvPr/>
              </p:nvGrpSpPr>
              <p:grpSpPr>
                <a:xfrm>
                  <a:off x="1036637" y="3562144"/>
                  <a:ext cx="4852210" cy="969093"/>
                  <a:chOff x="2652196" y="3364175"/>
                  <a:chExt cx="4861441" cy="1033847"/>
                </a:xfrm>
              </p:grpSpPr>
              <p:sp>
                <p:nvSpPr>
                  <p:cNvPr id="68" name="Arrow: Pentagon 67">
                    <a:extLst/>
                  </p:cNvPr>
                  <p:cNvSpPr/>
                  <p:nvPr/>
                </p:nvSpPr>
                <p:spPr bwMode="auto">
                  <a:xfrm>
                    <a:off x="2652196" y="3407881"/>
                    <a:ext cx="4861441" cy="840561"/>
                  </a:xfrm>
                  <a:prstGeom prst="homePlat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56" tIns="134446" rIns="168056" bIns="134446" numCol="1" spcCol="0" rtlCol="0" fromWordArt="0" anchor="t" anchorCtr="0" forceAA="0" compatLnSpc="1">
                    <a:prstTxWarp prst="textNoShape">
                      <a:avLst/>
                    </a:prstTxWarp>
                    <a:noAutofit/>
                  </a:bodyPr>
                  <a:lstStyle/>
                  <a:p>
                    <a:pPr algn="ctr" defTabSz="856943" fontAlgn="base">
                      <a:lnSpc>
                        <a:spcPct val="90000"/>
                      </a:lnSpc>
                      <a:spcBef>
                        <a:spcPct val="0"/>
                      </a:spcBef>
                      <a:spcAft>
                        <a:spcPct val="0"/>
                      </a:spcAft>
                    </a:pPr>
                    <a:endParaRPr lang="en-US" sz="1372" kern="0"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sym typeface="Gill Sans" charset="0"/>
                    </a:endParaRPr>
                  </a:p>
                </p:txBody>
              </p:sp>
              <p:sp>
                <p:nvSpPr>
                  <p:cNvPr id="69" name="TextBox 68">
                    <a:extLst/>
                  </p:cNvPr>
                  <p:cNvSpPr txBox="1"/>
                  <p:nvPr/>
                </p:nvSpPr>
                <p:spPr>
                  <a:xfrm>
                    <a:off x="2869248" y="3364175"/>
                    <a:ext cx="4026914" cy="1033847"/>
                  </a:xfrm>
                  <a:prstGeom prst="rect">
                    <a:avLst/>
                  </a:prstGeom>
                  <a:noFill/>
                </p:spPr>
                <p:txBody>
                  <a:bodyPr wrap="square" lIns="168056" tIns="134446" rIns="168056" bIns="134446" rtlCol="0">
                    <a:spAutoFit/>
                  </a:bodyPr>
                  <a:lstStyle/>
                  <a:p>
                    <a:pPr defTabSz="857223">
                      <a:lnSpc>
                        <a:spcPct val="90000"/>
                      </a:lnSpc>
                      <a:spcAft>
                        <a:spcPts val="551"/>
                      </a:spcAft>
                    </a:pPr>
                    <a:r>
                      <a:rPr lang="en-US" sz="1467" kern="0" dirty="0">
                        <a:gradFill>
                          <a:gsLst>
                            <a:gs pos="2917">
                              <a:prstClr val="black"/>
                            </a:gs>
                            <a:gs pos="30000">
                              <a:prstClr val="black"/>
                            </a:gs>
                          </a:gsLst>
                          <a:lin ang="5400000" scaled="0"/>
                        </a:gradFill>
                        <a:latin typeface="Segoe UI Light" panose="020B0502040204020203" pitchFamily="34" charset="0"/>
                        <a:ea typeface="Heiti SC Light" charset="-122"/>
                        <a:cs typeface="Segoe UI Light" panose="020B0502040204020203" pitchFamily="34" charset="0"/>
                        <a:sym typeface="Gill Sans" charset="0"/>
                      </a:rPr>
                      <a:t>Gigabytes of data</a:t>
                    </a:r>
                  </a:p>
                </p:txBody>
              </p:sp>
            </p:grpSp>
            <p:sp>
              <p:nvSpPr>
                <p:cNvPr id="70" name="Rectangle 69">
                  <a:extLst/>
                </p:cNvPr>
                <p:cNvSpPr/>
                <p:nvPr/>
              </p:nvSpPr>
              <p:spPr bwMode="auto">
                <a:xfrm>
                  <a:off x="1189037" y="3603115"/>
                  <a:ext cx="557019" cy="787914"/>
                </a:xfrm>
                <a:prstGeom prst="rect">
                  <a:avLst/>
                </a:prstGeom>
                <a:gradFill>
                  <a:gsLst>
                    <a:gs pos="0">
                      <a:schemeClr val="bg1">
                        <a:lumMod val="50000"/>
                        <a:alpha val="0"/>
                      </a:schemeClr>
                    </a:gs>
                    <a:gs pos="100000">
                      <a:schemeClr val="bg1">
                        <a:lumMod val="50000"/>
                        <a:alpha val="33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56" tIns="134446" rIns="168056" bIns="134446" numCol="1" spcCol="0" rtlCol="0" fromWordArt="0" anchor="t" anchorCtr="0" forceAA="0" compatLnSpc="1">
                  <a:prstTxWarp prst="textNoShape">
                    <a:avLst/>
                  </a:prstTxWarp>
                  <a:noAutofit/>
                </a:bodyPr>
                <a:lstStyle/>
                <a:p>
                  <a:pPr algn="ctr" defTabSz="856943" fontAlgn="base">
                    <a:lnSpc>
                      <a:spcPct val="90000"/>
                    </a:lnSpc>
                    <a:spcBef>
                      <a:spcPct val="0"/>
                    </a:spcBef>
                    <a:spcAft>
                      <a:spcPct val="0"/>
                    </a:spcAft>
                  </a:pPr>
                  <a:endParaRPr lang="en-US" sz="1372" kern="0"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sym typeface="Gill Sans" charset="0"/>
                  </a:endParaRPr>
                </a:p>
              </p:txBody>
            </p:sp>
            <p:sp>
              <p:nvSpPr>
                <p:cNvPr id="71" name="Rectangle 70">
                  <a:extLst/>
                </p:cNvPr>
                <p:cNvSpPr/>
                <p:nvPr/>
              </p:nvSpPr>
              <p:spPr bwMode="auto">
                <a:xfrm>
                  <a:off x="1189037" y="4426296"/>
                  <a:ext cx="557020" cy="787914"/>
                </a:xfrm>
                <a:prstGeom prst="rect">
                  <a:avLst/>
                </a:prstGeom>
                <a:gradFill>
                  <a:gsLst>
                    <a:gs pos="0">
                      <a:schemeClr val="bg1">
                        <a:lumMod val="50000"/>
                        <a:alpha val="0"/>
                      </a:schemeClr>
                    </a:gs>
                    <a:gs pos="100000">
                      <a:schemeClr val="bg1">
                        <a:lumMod val="50000"/>
                        <a:alpha val="33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56" tIns="134446" rIns="168056" bIns="134446" numCol="1" spcCol="0" rtlCol="0" fromWordArt="0" anchor="t" anchorCtr="0" forceAA="0" compatLnSpc="1">
                  <a:prstTxWarp prst="textNoShape">
                    <a:avLst/>
                  </a:prstTxWarp>
                  <a:noAutofit/>
                </a:bodyPr>
                <a:lstStyle/>
                <a:p>
                  <a:pPr algn="ctr" defTabSz="856943" fontAlgn="base">
                    <a:lnSpc>
                      <a:spcPct val="90000"/>
                    </a:lnSpc>
                    <a:spcBef>
                      <a:spcPct val="0"/>
                    </a:spcBef>
                    <a:spcAft>
                      <a:spcPct val="0"/>
                    </a:spcAft>
                  </a:pPr>
                  <a:endParaRPr lang="en-US" sz="1372" kern="0"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sym typeface="Gill Sans" charset="0"/>
                  </a:endParaRPr>
                </a:p>
              </p:txBody>
            </p:sp>
          </p:grpSp>
          <p:sp>
            <p:nvSpPr>
              <p:cNvPr id="86" name="Oval 85"/>
              <p:cNvSpPr/>
              <p:nvPr/>
            </p:nvSpPr>
            <p:spPr bwMode="auto">
              <a:xfrm>
                <a:off x="13570694" y="4666246"/>
                <a:ext cx="821934" cy="80303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ctr" anchorCtr="0" forceAA="0" compatLnSpc="1">
                <a:prstTxWarp prst="textNoShape">
                  <a:avLst/>
                </a:prstTxWarp>
                <a:noAutofit/>
              </a:bodyPr>
              <a:lstStyle/>
              <a:p>
                <a:pPr algn="ctr" defTabSz="466236" fontAlgn="base">
                  <a:lnSpc>
                    <a:spcPct val="90000"/>
                  </a:lnSpc>
                  <a:spcBef>
                    <a:spcPct val="0"/>
                  </a:spcBef>
                  <a:spcAft>
                    <a:spcPct val="0"/>
                  </a:spcAft>
                </a:pPr>
                <a:r>
                  <a:rPr lang="en-US" dirty="0">
                    <a:solidFill>
                      <a:prstClr val="black"/>
                    </a:solidFill>
                    <a:latin typeface="Calibri Light" panose="020F0302020204030204"/>
                    <a:ea typeface="Segoe UI" pitchFamily="34" charset="0"/>
                    <a:cs typeface="Segoe UI" pitchFamily="34" charset="0"/>
                    <a:sym typeface="Gill Sans" charset="0"/>
                  </a:rPr>
                  <a:t>2</a:t>
                </a:r>
              </a:p>
            </p:txBody>
          </p:sp>
        </p:grpSp>
      </p:grpSp>
      <p:grpSp>
        <p:nvGrpSpPr>
          <p:cNvPr id="21" name="Group 20"/>
          <p:cNvGrpSpPr/>
          <p:nvPr/>
        </p:nvGrpSpPr>
        <p:grpSpPr>
          <a:xfrm>
            <a:off x="131047" y="1480417"/>
            <a:ext cx="6028981" cy="5464741"/>
            <a:chOff x="262093" y="2503634"/>
            <a:chExt cx="12057961" cy="10929480"/>
          </a:xfrm>
        </p:grpSpPr>
        <p:sp>
          <p:nvSpPr>
            <p:cNvPr id="72" name="Title 1"/>
            <p:cNvSpPr txBox="1">
              <a:spLocks/>
            </p:cNvSpPr>
            <p:nvPr/>
          </p:nvSpPr>
          <p:spPr>
            <a:xfrm>
              <a:off x="1406089" y="2503634"/>
              <a:ext cx="10913965" cy="1650055"/>
            </a:xfrm>
            <a:prstGeom prst="rect">
              <a:avLst/>
            </a:prstGeom>
          </p:spPr>
          <p:txBody>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pPr defTabSz="1243478"/>
              <a:r>
                <a:rPr lang="en-US" sz="2667" dirty="0">
                  <a:solidFill>
                    <a:prstClr val="white"/>
                  </a:solidFill>
                  <a:latin typeface="Segoe UI Light" panose="020B0502040204020203" pitchFamily="34" charset="0"/>
                  <a:cs typeface="Segoe UI Light" panose="020B0502040204020203" pitchFamily="34" charset="0"/>
                  <a:sym typeface="Gill Sans" charset="0"/>
                </a:rPr>
                <a:t>Cost efficiencies with fine-grained multi-tenancy</a:t>
              </a:r>
            </a:p>
          </p:txBody>
        </p:sp>
        <p:sp>
          <p:nvSpPr>
            <p:cNvPr id="87" name="Oval 86"/>
            <p:cNvSpPr/>
            <p:nvPr/>
          </p:nvSpPr>
          <p:spPr bwMode="auto">
            <a:xfrm>
              <a:off x="456300" y="2591674"/>
              <a:ext cx="821934" cy="80303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 rIns="91440" bIns="73152" numCol="1" spcCol="0" rtlCol="0" fromWordArt="0" anchor="ctr" anchorCtr="0" forceAA="0" compatLnSpc="1">
              <a:prstTxWarp prst="textNoShape">
                <a:avLst/>
              </a:prstTxWarp>
              <a:noAutofit/>
            </a:bodyPr>
            <a:lstStyle/>
            <a:p>
              <a:pPr algn="ctr" defTabSz="466236" fontAlgn="base">
                <a:lnSpc>
                  <a:spcPct val="90000"/>
                </a:lnSpc>
                <a:spcBef>
                  <a:spcPct val="0"/>
                </a:spcBef>
                <a:spcAft>
                  <a:spcPct val="0"/>
                </a:spcAft>
              </a:pPr>
              <a:r>
                <a:rPr lang="en-US" dirty="0">
                  <a:solidFill>
                    <a:prstClr val="black"/>
                  </a:solidFill>
                  <a:latin typeface="Calibri Light" panose="020F0302020204030204"/>
                  <a:ea typeface="Segoe UI" pitchFamily="34" charset="0"/>
                  <a:cs typeface="Segoe UI" pitchFamily="34" charset="0"/>
                  <a:sym typeface="Gill Sans" charset="0"/>
                </a:rPr>
                <a:t>3</a:t>
              </a:r>
            </a:p>
          </p:txBody>
        </p:sp>
        <p:grpSp>
          <p:nvGrpSpPr>
            <p:cNvPr id="88" name="Group 87"/>
            <p:cNvGrpSpPr/>
            <p:nvPr/>
          </p:nvGrpSpPr>
          <p:grpSpPr>
            <a:xfrm>
              <a:off x="1481235" y="6358948"/>
              <a:ext cx="10411957" cy="6301155"/>
              <a:chOff x="246786" y="3179437"/>
              <a:chExt cx="5206718" cy="3151024"/>
            </a:xfrm>
          </p:grpSpPr>
          <p:sp>
            <p:nvSpPr>
              <p:cNvPr id="89" name="Freeform 5"/>
              <p:cNvSpPr>
                <a:spLocks/>
              </p:cNvSpPr>
              <p:nvPr/>
            </p:nvSpPr>
            <p:spPr bwMode="auto">
              <a:xfrm>
                <a:off x="246786" y="3179437"/>
                <a:ext cx="5206718" cy="2488288"/>
              </a:xfrm>
              <a:custGeom>
                <a:avLst/>
                <a:gdLst>
                  <a:gd name="T0" fmla="*/ 1504 w 3009"/>
                  <a:gd name="T1" fmla="*/ 0 h 1438"/>
                  <a:gd name="T2" fmla="*/ 3009 w 3009"/>
                  <a:gd name="T3" fmla="*/ 717 h 1438"/>
                  <a:gd name="T4" fmla="*/ 1504 w 3009"/>
                  <a:gd name="T5" fmla="*/ 1438 h 1438"/>
                  <a:gd name="T6" fmla="*/ 0 w 3009"/>
                  <a:gd name="T7" fmla="*/ 717 h 1438"/>
                  <a:gd name="T8" fmla="*/ 1504 w 3009"/>
                  <a:gd name="T9" fmla="*/ 0 h 1438"/>
                </a:gdLst>
                <a:ahLst/>
                <a:cxnLst>
                  <a:cxn ang="0">
                    <a:pos x="T0" y="T1"/>
                  </a:cxn>
                  <a:cxn ang="0">
                    <a:pos x="T2" y="T3"/>
                  </a:cxn>
                  <a:cxn ang="0">
                    <a:pos x="T4" y="T5"/>
                  </a:cxn>
                  <a:cxn ang="0">
                    <a:pos x="T6" y="T7"/>
                  </a:cxn>
                  <a:cxn ang="0">
                    <a:pos x="T8" y="T9"/>
                  </a:cxn>
                </a:cxnLst>
                <a:rect l="0" t="0" r="r" b="b"/>
                <a:pathLst>
                  <a:path w="3009" h="1438">
                    <a:moveTo>
                      <a:pt x="1504" y="0"/>
                    </a:moveTo>
                    <a:lnTo>
                      <a:pt x="3009" y="717"/>
                    </a:lnTo>
                    <a:lnTo>
                      <a:pt x="1504" y="1438"/>
                    </a:lnTo>
                    <a:lnTo>
                      <a:pt x="0" y="717"/>
                    </a:lnTo>
                    <a:lnTo>
                      <a:pt x="1504"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30"/>
                <a:endParaRPr lang="en-US" kern="0" dirty="0">
                  <a:solidFill>
                    <a:sysClr val="windowText" lastClr="000000"/>
                  </a:solidFill>
                  <a:latin typeface="Calibri" panose="020F0502020204030204"/>
                  <a:ea typeface="Heiti SC Light" charset="-122"/>
                  <a:sym typeface="Gill Sans" charset="0"/>
                </a:endParaRPr>
              </a:p>
            </p:txBody>
          </p:sp>
          <p:sp>
            <p:nvSpPr>
              <p:cNvPr id="90" name="Freeform 6"/>
              <p:cNvSpPr>
                <a:spLocks/>
              </p:cNvSpPr>
              <p:nvPr/>
            </p:nvSpPr>
            <p:spPr bwMode="auto">
              <a:xfrm>
                <a:off x="2849280" y="4420120"/>
                <a:ext cx="2604224" cy="1910341"/>
              </a:xfrm>
              <a:custGeom>
                <a:avLst/>
                <a:gdLst>
                  <a:gd name="T0" fmla="*/ 0 w 1505"/>
                  <a:gd name="T1" fmla="*/ 1104 h 1104"/>
                  <a:gd name="T2" fmla="*/ 1505 w 1505"/>
                  <a:gd name="T3" fmla="*/ 387 h 1104"/>
                  <a:gd name="T4" fmla="*/ 1505 w 1505"/>
                  <a:gd name="T5" fmla="*/ 0 h 1104"/>
                  <a:gd name="T6" fmla="*/ 0 w 1505"/>
                  <a:gd name="T7" fmla="*/ 721 h 1104"/>
                  <a:gd name="T8" fmla="*/ 0 w 1505"/>
                  <a:gd name="T9" fmla="*/ 1104 h 1104"/>
                </a:gdLst>
                <a:ahLst/>
                <a:cxnLst>
                  <a:cxn ang="0">
                    <a:pos x="T0" y="T1"/>
                  </a:cxn>
                  <a:cxn ang="0">
                    <a:pos x="T2" y="T3"/>
                  </a:cxn>
                  <a:cxn ang="0">
                    <a:pos x="T4" y="T5"/>
                  </a:cxn>
                  <a:cxn ang="0">
                    <a:pos x="T6" y="T7"/>
                  </a:cxn>
                  <a:cxn ang="0">
                    <a:pos x="T8" y="T9"/>
                  </a:cxn>
                </a:cxnLst>
                <a:rect l="0" t="0" r="r" b="b"/>
                <a:pathLst>
                  <a:path w="1505" h="1104">
                    <a:moveTo>
                      <a:pt x="0" y="1104"/>
                    </a:moveTo>
                    <a:lnTo>
                      <a:pt x="1505" y="387"/>
                    </a:lnTo>
                    <a:lnTo>
                      <a:pt x="1505" y="0"/>
                    </a:lnTo>
                    <a:lnTo>
                      <a:pt x="0" y="721"/>
                    </a:lnTo>
                    <a:lnTo>
                      <a:pt x="0" y="110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30"/>
                <a:endParaRPr lang="en-US" kern="0" dirty="0">
                  <a:solidFill>
                    <a:sysClr val="windowText" lastClr="000000"/>
                  </a:solidFill>
                  <a:latin typeface="Calibri" panose="020F0502020204030204"/>
                  <a:ea typeface="Heiti SC Light" charset="-122"/>
                  <a:sym typeface="Gill Sans" charset="0"/>
                </a:endParaRPr>
              </a:p>
            </p:txBody>
          </p:sp>
          <p:sp>
            <p:nvSpPr>
              <p:cNvPr id="91" name="Freeform 7"/>
              <p:cNvSpPr>
                <a:spLocks/>
              </p:cNvSpPr>
              <p:nvPr/>
            </p:nvSpPr>
            <p:spPr bwMode="auto">
              <a:xfrm>
                <a:off x="246786" y="4420120"/>
                <a:ext cx="2602494" cy="1910341"/>
              </a:xfrm>
              <a:custGeom>
                <a:avLst/>
                <a:gdLst>
                  <a:gd name="T0" fmla="*/ 1504 w 1504"/>
                  <a:gd name="T1" fmla="*/ 1104 h 1104"/>
                  <a:gd name="T2" fmla="*/ 0 w 1504"/>
                  <a:gd name="T3" fmla="*/ 387 h 1104"/>
                  <a:gd name="T4" fmla="*/ 0 w 1504"/>
                  <a:gd name="T5" fmla="*/ 0 h 1104"/>
                  <a:gd name="T6" fmla="*/ 1504 w 1504"/>
                  <a:gd name="T7" fmla="*/ 721 h 1104"/>
                  <a:gd name="T8" fmla="*/ 1504 w 1504"/>
                  <a:gd name="T9" fmla="*/ 1104 h 1104"/>
                </a:gdLst>
                <a:ahLst/>
                <a:cxnLst>
                  <a:cxn ang="0">
                    <a:pos x="T0" y="T1"/>
                  </a:cxn>
                  <a:cxn ang="0">
                    <a:pos x="T2" y="T3"/>
                  </a:cxn>
                  <a:cxn ang="0">
                    <a:pos x="T4" y="T5"/>
                  </a:cxn>
                  <a:cxn ang="0">
                    <a:pos x="T6" y="T7"/>
                  </a:cxn>
                  <a:cxn ang="0">
                    <a:pos x="T8" y="T9"/>
                  </a:cxn>
                </a:cxnLst>
                <a:rect l="0" t="0" r="r" b="b"/>
                <a:pathLst>
                  <a:path w="1504" h="1104">
                    <a:moveTo>
                      <a:pt x="1504" y="1104"/>
                    </a:moveTo>
                    <a:lnTo>
                      <a:pt x="0" y="387"/>
                    </a:lnTo>
                    <a:lnTo>
                      <a:pt x="0" y="0"/>
                    </a:lnTo>
                    <a:lnTo>
                      <a:pt x="1504" y="721"/>
                    </a:lnTo>
                    <a:lnTo>
                      <a:pt x="1504" y="1104"/>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30"/>
                <a:endParaRPr lang="en-US" kern="0" dirty="0">
                  <a:solidFill>
                    <a:sysClr val="windowText" lastClr="000000"/>
                  </a:solidFill>
                  <a:latin typeface="Calibri" panose="020F0502020204030204"/>
                  <a:ea typeface="Heiti SC Light" charset="-122"/>
                  <a:sym typeface="Gill Sans" charset="0"/>
                </a:endParaRPr>
              </a:p>
            </p:txBody>
          </p:sp>
        </p:grpSp>
        <p:grpSp>
          <p:nvGrpSpPr>
            <p:cNvPr id="92" name="Group 91"/>
            <p:cNvGrpSpPr/>
            <p:nvPr/>
          </p:nvGrpSpPr>
          <p:grpSpPr>
            <a:xfrm>
              <a:off x="2468795" y="5746559"/>
              <a:ext cx="8418843" cy="5346120"/>
              <a:chOff x="748597" y="2819517"/>
              <a:chExt cx="4210018" cy="2673440"/>
            </a:xfrm>
          </p:grpSpPr>
          <p:sp>
            <p:nvSpPr>
              <p:cNvPr id="93" name="Freeform 8"/>
              <p:cNvSpPr>
                <a:spLocks/>
              </p:cNvSpPr>
              <p:nvPr/>
            </p:nvSpPr>
            <p:spPr bwMode="auto">
              <a:xfrm>
                <a:off x="748597" y="2819517"/>
                <a:ext cx="4210018" cy="2010703"/>
              </a:xfrm>
              <a:custGeom>
                <a:avLst/>
                <a:gdLst>
                  <a:gd name="T0" fmla="*/ 1214 w 2433"/>
                  <a:gd name="T1" fmla="*/ 0 h 1162"/>
                  <a:gd name="T2" fmla="*/ 2433 w 2433"/>
                  <a:gd name="T3" fmla="*/ 581 h 1162"/>
                  <a:gd name="T4" fmla="*/ 1214 w 2433"/>
                  <a:gd name="T5" fmla="*/ 1162 h 1162"/>
                  <a:gd name="T6" fmla="*/ 0 w 2433"/>
                  <a:gd name="T7" fmla="*/ 581 h 1162"/>
                  <a:gd name="T8" fmla="*/ 1214 w 2433"/>
                  <a:gd name="T9" fmla="*/ 0 h 1162"/>
                </a:gdLst>
                <a:ahLst/>
                <a:cxnLst>
                  <a:cxn ang="0">
                    <a:pos x="T0" y="T1"/>
                  </a:cxn>
                  <a:cxn ang="0">
                    <a:pos x="T2" y="T3"/>
                  </a:cxn>
                  <a:cxn ang="0">
                    <a:pos x="T4" y="T5"/>
                  </a:cxn>
                  <a:cxn ang="0">
                    <a:pos x="T6" y="T7"/>
                  </a:cxn>
                  <a:cxn ang="0">
                    <a:pos x="T8" y="T9"/>
                  </a:cxn>
                </a:cxnLst>
                <a:rect l="0" t="0" r="r" b="b"/>
                <a:pathLst>
                  <a:path w="2433" h="1162">
                    <a:moveTo>
                      <a:pt x="1214" y="0"/>
                    </a:moveTo>
                    <a:lnTo>
                      <a:pt x="2433" y="581"/>
                    </a:lnTo>
                    <a:lnTo>
                      <a:pt x="1214" y="1162"/>
                    </a:lnTo>
                    <a:lnTo>
                      <a:pt x="0" y="581"/>
                    </a:lnTo>
                    <a:lnTo>
                      <a:pt x="1214" y="0"/>
                    </a:lnTo>
                    <a:close/>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30"/>
                <a:endParaRPr lang="en-US" kern="0" dirty="0">
                  <a:solidFill>
                    <a:sysClr val="windowText" lastClr="000000"/>
                  </a:solidFill>
                  <a:latin typeface="Calibri" panose="020F0502020204030204"/>
                  <a:ea typeface="Heiti SC Light" charset="-122"/>
                  <a:sym typeface="Gill Sans" charset="0"/>
                </a:endParaRPr>
              </a:p>
            </p:txBody>
          </p:sp>
          <p:sp>
            <p:nvSpPr>
              <p:cNvPr id="94" name="Freeform 9"/>
              <p:cNvSpPr>
                <a:spLocks/>
              </p:cNvSpPr>
              <p:nvPr/>
            </p:nvSpPr>
            <p:spPr bwMode="auto">
              <a:xfrm>
                <a:off x="2849280" y="3824869"/>
                <a:ext cx="2109335" cy="1668088"/>
              </a:xfrm>
              <a:custGeom>
                <a:avLst/>
                <a:gdLst>
                  <a:gd name="T0" fmla="*/ 0 w 1219"/>
                  <a:gd name="T1" fmla="*/ 964 h 964"/>
                  <a:gd name="T2" fmla="*/ 1219 w 1219"/>
                  <a:gd name="T3" fmla="*/ 382 h 964"/>
                  <a:gd name="T4" fmla="*/ 1219 w 1219"/>
                  <a:gd name="T5" fmla="*/ 0 h 964"/>
                  <a:gd name="T6" fmla="*/ 0 w 1219"/>
                  <a:gd name="T7" fmla="*/ 581 h 964"/>
                  <a:gd name="T8" fmla="*/ 0 w 1219"/>
                  <a:gd name="T9" fmla="*/ 964 h 964"/>
                </a:gdLst>
                <a:ahLst/>
                <a:cxnLst>
                  <a:cxn ang="0">
                    <a:pos x="T0" y="T1"/>
                  </a:cxn>
                  <a:cxn ang="0">
                    <a:pos x="T2" y="T3"/>
                  </a:cxn>
                  <a:cxn ang="0">
                    <a:pos x="T4" y="T5"/>
                  </a:cxn>
                  <a:cxn ang="0">
                    <a:pos x="T6" y="T7"/>
                  </a:cxn>
                  <a:cxn ang="0">
                    <a:pos x="T8" y="T9"/>
                  </a:cxn>
                </a:cxnLst>
                <a:rect l="0" t="0" r="r" b="b"/>
                <a:pathLst>
                  <a:path w="1219" h="964">
                    <a:moveTo>
                      <a:pt x="0" y="964"/>
                    </a:moveTo>
                    <a:lnTo>
                      <a:pt x="1219" y="382"/>
                    </a:lnTo>
                    <a:lnTo>
                      <a:pt x="1219" y="0"/>
                    </a:lnTo>
                    <a:lnTo>
                      <a:pt x="0" y="581"/>
                    </a:lnTo>
                    <a:lnTo>
                      <a:pt x="0" y="964"/>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30"/>
                <a:endParaRPr lang="en-US" kern="0" dirty="0">
                  <a:solidFill>
                    <a:sysClr val="windowText" lastClr="000000"/>
                  </a:solidFill>
                  <a:latin typeface="Calibri" panose="020F0502020204030204"/>
                  <a:ea typeface="Heiti SC Light" charset="-122"/>
                  <a:sym typeface="Gill Sans" charset="0"/>
                </a:endParaRPr>
              </a:p>
            </p:txBody>
          </p:sp>
          <p:sp>
            <p:nvSpPr>
              <p:cNvPr id="95" name="Freeform 10"/>
              <p:cNvSpPr>
                <a:spLocks/>
              </p:cNvSpPr>
              <p:nvPr/>
            </p:nvSpPr>
            <p:spPr bwMode="auto">
              <a:xfrm>
                <a:off x="748597" y="3824869"/>
                <a:ext cx="2100683" cy="1668088"/>
              </a:xfrm>
              <a:custGeom>
                <a:avLst/>
                <a:gdLst>
                  <a:gd name="T0" fmla="*/ 1214 w 1214"/>
                  <a:gd name="T1" fmla="*/ 964 h 964"/>
                  <a:gd name="T2" fmla="*/ 0 w 1214"/>
                  <a:gd name="T3" fmla="*/ 382 h 964"/>
                  <a:gd name="T4" fmla="*/ 0 w 1214"/>
                  <a:gd name="T5" fmla="*/ 0 h 964"/>
                  <a:gd name="T6" fmla="*/ 1214 w 1214"/>
                  <a:gd name="T7" fmla="*/ 581 h 964"/>
                  <a:gd name="T8" fmla="*/ 1214 w 1214"/>
                  <a:gd name="T9" fmla="*/ 964 h 964"/>
                </a:gdLst>
                <a:ahLst/>
                <a:cxnLst>
                  <a:cxn ang="0">
                    <a:pos x="T0" y="T1"/>
                  </a:cxn>
                  <a:cxn ang="0">
                    <a:pos x="T2" y="T3"/>
                  </a:cxn>
                  <a:cxn ang="0">
                    <a:pos x="T4" y="T5"/>
                  </a:cxn>
                  <a:cxn ang="0">
                    <a:pos x="T6" y="T7"/>
                  </a:cxn>
                  <a:cxn ang="0">
                    <a:pos x="T8" y="T9"/>
                  </a:cxn>
                </a:cxnLst>
                <a:rect l="0" t="0" r="r" b="b"/>
                <a:pathLst>
                  <a:path w="1214" h="964">
                    <a:moveTo>
                      <a:pt x="1214" y="964"/>
                    </a:moveTo>
                    <a:lnTo>
                      <a:pt x="0" y="382"/>
                    </a:lnTo>
                    <a:lnTo>
                      <a:pt x="0" y="0"/>
                    </a:lnTo>
                    <a:lnTo>
                      <a:pt x="1214" y="581"/>
                    </a:lnTo>
                    <a:lnTo>
                      <a:pt x="1214" y="964"/>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30"/>
                <a:endParaRPr lang="en-US" kern="0" dirty="0">
                  <a:solidFill>
                    <a:sysClr val="windowText" lastClr="000000"/>
                  </a:solidFill>
                  <a:latin typeface="Calibri" panose="020F0502020204030204"/>
                  <a:ea typeface="Heiti SC Light" charset="-122"/>
                  <a:sym typeface="Gill Sans" charset="0"/>
                </a:endParaRPr>
              </a:p>
            </p:txBody>
          </p:sp>
        </p:grpSp>
        <p:grpSp>
          <p:nvGrpSpPr>
            <p:cNvPr id="96" name="Group 95"/>
            <p:cNvGrpSpPr/>
            <p:nvPr/>
          </p:nvGrpSpPr>
          <p:grpSpPr>
            <a:xfrm>
              <a:off x="3706192" y="5320864"/>
              <a:ext cx="5958587" cy="3986235"/>
              <a:chOff x="1359421" y="2660322"/>
              <a:chExt cx="2979717" cy="1993400"/>
            </a:xfrm>
          </p:grpSpPr>
          <p:sp>
            <p:nvSpPr>
              <p:cNvPr id="97" name="Freeform 11"/>
              <p:cNvSpPr>
                <a:spLocks/>
              </p:cNvSpPr>
              <p:nvPr/>
            </p:nvSpPr>
            <p:spPr bwMode="auto">
              <a:xfrm>
                <a:off x="1359421" y="2660322"/>
                <a:ext cx="2979717" cy="1424104"/>
              </a:xfrm>
              <a:custGeom>
                <a:avLst/>
                <a:gdLst>
                  <a:gd name="T0" fmla="*/ 861 w 1722"/>
                  <a:gd name="T1" fmla="*/ 0 h 823"/>
                  <a:gd name="T2" fmla="*/ 1722 w 1722"/>
                  <a:gd name="T3" fmla="*/ 411 h 823"/>
                  <a:gd name="T4" fmla="*/ 861 w 1722"/>
                  <a:gd name="T5" fmla="*/ 823 h 823"/>
                  <a:gd name="T6" fmla="*/ 0 w 1722"/>
                  <a:gd name="T7" fmla="*/ 411 h 823"/>
                  <a:gd name="T8" fmla="*/ 861 w 1722"/>
                  <a:gd name="T9" fmla="*/ 0 h 823"/>
                </a:gdLst>
                <a:ahLst/>
                <a:cxnLst>
                  <a:cxn ang="0">
                    <a:pos x="T0" y="T1"/>
                  </a:cxn>
                  <a:cxn ang="0">
                    <a:pos x="T2" y="T3"/>
                  </a:cxn>
                  <a:cxn ang="0">
                    <a:pos x="T4" y="T5"/>
                  </a:cxn>
                  <a:cxn ang="0">
                    <a:pos x="T6" y="T7"/>
                  </a:cxn>
                  <a:cxn ang="0">
                    <a:pos x="T8" y="T9"/>
                  </a:cxn>
                </a:cxnLst>
                <a:rect l="0" t="0" r="r" b="b"/>
                <a:pathLst>
                  <a:path w="1722" h="823">
                    <a:moveTo>
                      <a:pt x="861" y="0"/>
                    </a:moveTo>
                    <a:lnTo>
                      <a:pt x="1722" y="411"/>
                    </a:lnTo>
                    <a:lnTo>
                      <a:pt x="861" y="823"/>
                    </a:lnTo>
                    <a:lnTo>
                      <a:pt x="0" y="411"/>
                    </a:lnTo>
                    <a:lnTo>
                      <a:pt x="861" y="0"/>
                    </a:ln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30"/>
                <a:endParaRPr lang="en-US" kern="0" dirty="0">
                  <a:solidFill>
                    <a:sysClr val="windowText" lastClr="000000"/>
                  </a:solidFill>
                  <a:latin typeface="Calibri" panose="020F0502020204030204"/>
                  <a:ea typeface="Heiti SC Light" charset="-122"/>
                  <a:sym typeface="Gill Sans" charset="0"/>
                </a:endParaRPr>
              </a:p>
            </p:txBody>
          </p:sp>
          <p:sp>
            <p:nvSpPr>
              <p:cNvPr id="98" name="Freeform 12"/>
              <p:cNvSpPr>
                <a:spLocks/>
              </p:cNvSpPr>
              <p:nvPr/>
            </p:nvSpPr>
            <p:spPr bwMode="auto">
              <a:xfrm>
                <a:off x="2849280" y="3371509"/>
                <a:ext cx="1489858" cy="1282213"/>
              </a:xfrm>
              <a:custGeom>
                <a:avLst/>
                <a:gdLst>
                  <a:gd name="T0" fmla="*/ 0 w 861"/>
                  <a:gd name="T1" fmla="*/ 741 h 741"/>
                  <a:gd name="T2" fmla="*/ 861 w 861"/>
                  <a:gd name="T3" fmla="*/ 330 h 741"/>
                  <a:gd name="T4" fmla="*/ 861 w 861"/>
                  <a:gd name="T5" fmla="*/ 0 h 741"/>
                  <a:gd name="T6" fmla="*/ 0 w 861"/>
                  <a:gd name="T7" fmla="*/ 412 h 741"/>
                  <a:gd name="T8" fmla="*/ 0 w 861"/>
                  <a:gd name="T9" fmla="*/ 741 h 741"/>
                </a:gdLst>
                <a:ahLst/>
                <a:cxnLst>
                  <a:cxn ang="0">
                    <a:pos x="T0" y="T1"/>
                  </a:cxn>
                  <a:cxn ang="0">
                    <a:pos x="T2" y="T3"/>
                  </a:cxn>
                  <a:cxn ang="0">
                    <a:pos x="T4" y="T5"/>
                  </a:cxn>
                  <a:cxn ang="0">
                    <a:pos x="T6" y="T7"/>
                  </a:cxn>
                  <a:cxn ang="0">
                    <a:pos x="T8" y="T9"/>
                  </a:cxn>
                </a:cxnLst>
                <a:rect l="0" t="0" r="r" b="b"/>
                <a:pathLst>
                  <a:path w="861" h="741">
                    <a:moveTo>
                      <a:pt x="0" y="741"/>
                    </a:moveTo>
                    <a:lnTo>
                      <a:pt x="861" y="330"/>
                    </a:lnTo>
                    <a:lnTo>
                      <a:pt x="861" y="0"/>
                    </a:lnTo>
                    <a:lnTo>
                      <a:pt x="0" y="412"/>
                    </a:lnTo>
                    <a:lnTo>
                      <a:pt x="0" y="741"/>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30"/>
                <a:endParaRPr lang="en-US" kern="0" dirty="0">
                  <a:solidFill>
                    <a:sysClr val="windowText" lastClr="000000"/>
                  </a:solidFill>
                  <a:latin typeface="Calibri" panose="020F0502020204030204"/>
                  <a:ea typeface="Heiti SC Light" charset="-122"/>
                  <a:sym typeface="Gill Sans" charset="0"/>
                </a:endParaRPr>
              </a:p>
            </p:txBody>
          </p:sp>
          <p:sp>
            <p:nvSpPr>
              <p:cNvPr id="99" name="Freeform 13"/>
              <p:cNvSpPr>
                <a:spLocks/>
              </p:cNvSpPr>
              <p:nvPr/>
            </p:nvSpPr>
            <p:spPr bwMode="auto">
              <a:xfrm>
                <a:off x="1359421" y="3371509"/>
                <a:ext cx="1489858" cy="1282213"/>
              </a:xfrm>
              <a:custGeom>
                <a:avLst/>
                <a:gdLst>
                  <a:gd name="T0" fmla="*/ 861 w 861"/>
                  <a:gd name="T1" fmla="*/ 741 h 741"/>
                  <a:gd name="T2" fmla="*/ 0 w 861"/>
                  <a:gd name="T3" fmla="*/ 330 h 741"/>
                  <a:gd name="T4" fmla="*/ 0 w 861"/>
                  <a:gd name="T5" fmla="*/ 0 h 741"/>
                  <a:gd name="T6" fmla="*/ 861 w 861"/>
                  <a:gd name="T7" fmla="*/ 412 h 741"/>
                  <a:gd name="T8" fmla="*/ 861 w 861"/>
                  <a:gd name="T9" fmla="*/ 741 h 741"/>
                </a:gdLst>
                <a:ahLst/>
                <a:cxnLst>
                  <a:cxn ang="0">
                    <a:pos x="T0" y="T1"/>
                  </a:cxn>
                  <a:cxn ang="0">
                    <a:pos x="T2" y="T3"/>
                  </a:cxn>
                  <a:cxn ang="0">
                    <a:pos x="T4" y="T5"/>
                  </a:cxn>
                  <a:cxn ang="0">
                    <a:pos x="T6" y="T7"/>
                  </a:cxn>
                  <a:cxn ang="0">
                    <a:pos x="T8" y="T9"/>
                  </a:cxn>
                </a:cxnLst>
                <a:rect l="0" t="0" r="r" b="b"/>
                <a:pathLst>
                  <a:path w="861" h="741">
                    <a:moveTo>
                      <a:pt x="861" y="741"/>
                    </a:moveTo>
                    <a:lnTo>
                      <a:pt x="0" y="330"/>
                    </a:lnTo>
                    <a:lnTo>
                      <a:pt x="0" y="0"/>
                    </a:lnTo>
                    <a:lnTo>
                      <a:pt x="861" y="412"/>
                    </a:lnTo>
                    <a:lnTo>
                      <a:pt x="861" y="741"/>
                    </a:ln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30"/>
                <a:endParaRPr lang="en-US" kern="0" dirty="0">
                  <a:solidFill>
                    <a:sysClr val="windowText" lastClr="000000"/>
                  </a:solidFill>
                  <a:latin typeface="Calibri" panose="020F0502020204030204"/>
                  <a:ea typeface="Heiti SC Light" charset="-122"/>
                  <a:sym typeface="Gill Sans" charset="0"/>
                </a:endParaRPr>
              </a:p>
            </p:txBody>
          </p:sp>
        </p:grpSp>
        <p:grpSp>
          <p:nvGrpSpPr>
            <p:cNvPr id="100" name="Group 99"/>
            <p:cNvGrpSpPr/>
            <p:nvPr/>
          </p:nvGrpSpPr>
          <p:grpSpPr>
            <a:xfrm>
              <a:off x="4593751" y="4590198"/>
              <a:ext cx="4200771" cy="3100405"/>
              <a:chOff x="1804129" y="2333280"/>
              <a:chExt cx="2100684" cy="1550422"/>
            </a:xfrm>
          </p:grpSpPr>
          <p:sp>
            <p:nvSpPr>
              <p:cNvPr id="101" name="Freeform 14"/>
              <p:cNvSpPr>
                <a:spLocks/>
              </p:cNvSpPr>
              <p:nvPr/>
            </p:nvSpPr>
            <p:spPr bwMode="auto">
              <a:xfrm>
                <a:off x="1804129" y="2333280"/>
                <a:ext cx="2100683" cy="1005352"/>
              </a:xfrm>
              <a:custGeom>
                <a:avLst/>
                <a:gdLst>
                  <a:gd name="T0" fmla="*/ 604 w 1214"/>
                  <a:gd name="T1" fmla="*/ 0 h 581"/>
                  <a:gd name="T2" fmla="*/ 1214 w 1214"/>
                  <a:gd name="T3" fmla="*/ 290 h 581"/>
                  <a:gd name="T4" fmla="*/ 604 w 1214"/>
                  <a:gd name="T5" fmla="*/ 581 h 581"/>
                  <a:gd name="T6" fmla="*/ 0 w 1214"/>
                  <a:gd name="T7" fmla="*/ 290 h 581"/>
                  <a:gd name="T8" fmla="*/ 604 w 1214"/>
                  <a:gd name="T9" fmla="*/ 0 h 581"/>
                </a:gdLst>
                <a:ahLst/>
                <a:cxnLst>
                  <a:cxn ang="0">
                    <a:pos x="T0" y="T1"/>
                  </a:cxn>
                  <a:cxn ang="0">
                    <a:pos x="T2" y="T3"/>
                  </a:cxn>
                  <a:cxn ang="0">
                    <a:pos x="T4" y="T5"/>
                  </a:cxn>
                  <a:cxn ang="0">
                    <a:pos x="T6" y="T7"/>
                  </a:cxn>
                  <a:cxn ang="0">
                    <a:pos x="T8" y="T9"/>
                  </a:cxn>
                </a:cxnLst>
                <a:rect l="0" t="0" r="r" b="b"/>
                <a:pathLst>
                  <a:path w="1214" h="581">
                    <a:moveTo>
                      <a:pt x="604" y="0"/>
                    </a:moveTo>
                    <a:lnTo>
                      <a:pt x="1214" y="290"/>
                    </a:lnTo>
                    <a:lnTo>
                      <a:pt x="604" y="581"/>
                    </a:lnTo>
                    <a:lnTo>
                      <a:pt x="0" y="290"/>
                    </a:lnTo>
                    <a:lnTo>
                      <a:pt x="604" y="0"/>
                    </a:lnTo>
                    <a:close/>
                  </a:path>
                </a:pathLst>
              </a:cu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30"/>
                <a:endParaRPr lang="en-US" kern="0" dirty="0">
                  <a:solidFill>
                    <a:sysClr val="windowText" lastClr="000000"/>
                  </a:solidFill>
                  <a:latin typeface="Calibri" panose="020F0502020204030204"/>
                  <a:ea typeface="Heiti SC Light" charset="-122"/>
                  <a:sym typeface="Gill Sans" charset="0"/>
                </a:endParaRPr>
              </a:p>
            </p:txBody>
          </p:sp>
          <p:sp>
            <p:nvSpPr>
              <p:cNvPr id="102" name="Freeform 15"/>
              <p:cNvSpPr>
                <a:spLocks/>
              </p:cNvSpPr>
              <p:nvPr/>
            </p:nvSpPr>
            <p:spPr bwMode="auto">
              <a:xfrm>
                <a:off x="2849280" y="2835091"/>
                <a:ext cx="1055533" cy="1048611"/>
              </a:xfrm>
              <a:custGeom>
                <a:avLst/>
                <a:gdLst>
                  <a:gd name="T0" fmla="*/ 0 w 610"/>
                  <a:gd name="T1" fmla="*/ 606 h 606"/>
                  <a:gd name="T2" fmla="*/ 610 w 610"/>
                  <a:gd name="T3" fmla="*/ 315 h 606"/>
                  <a:gd name="T4" fmla="*/ 610 w 610"/>
                  <a:gd name="T5" fmla="*/ 0 h 606"/>
                  <a:gd name="T6" fmla="*/ 0 w 610"/>
                  <a:gd name="T7" fmla="*/ 291 h 606"/>
                  <a:gd name="T8" fmla="*/ 0 w 610"/>
                  <a:gd name="T9" fmla="*/ 606 h 606"/>
                </a:gdLst>
                <a:ahLst/>
                <a:cxnLst>
                  <a:cxn ang="0">
                    <a:pos x="T0" y="T1"/>
                  </a:cxn>
                  <a:cxn ang="0">
                    <a:pos x="T2" y="T3"/>
                  </a:cxn>
                  <a:cxn ang="0">
                    <a:pos x="T4" y="T5"/>
                  </a:cxn>
                  <a:cxn ang="0">
                    <a:pos x="T6" y="T7"/>
                  </a:cxn>
                  <a:cxn ang="0">
                    <a:pos x="T8" y="T9"/>
                  </a:cxn>
                </a:cxnLst>
                <a:rect l="0" t="0" r="r" b="b"/>
                <a:pathLst>
                  <a:path w="610" h="606">
                    <a:moveTo>
                      <a:pt x="0" y="606"/>
                    </a:moveTo>
                    <a:lnTo>
                      <a:pt x="610" y="315"/>
                    </a:lnTo>
                    <a:lnTo>
                      <a:pt x="610" y="0"/>
                    </a:lnTo>
                    <a:lnTo>
                      <a:pt x="0" y="291"/>
                    </a:lnTo>
                    <a:lnTo>
                      <a:pt x="0" y="606"/>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30"/>
                <a:endParaRPr lang="en-US" kern="0" dirty="0">
                  <a:solidFill>
                    <a:sysClr val="windowText" lastClr="000000"/>
                  </a:solidFill>
                  <a:latin typeface="Calibri" panose="020F0502020204030204"/>
                  <a:ea typeface="Heiti SC Light" charset="-122"/>
                  <a:sym typeface="Gill Sans" charset="0"/>
                </a:endParaRPr>
              </a:p>
            </p:txBody>
          </p:sp>
          <p:sp>
            <p:nvSpPr>
              <p:cNvPr id="103" name="Freeform 16"/>
              <p:cNvSpPr>
                <a:spLocks/>
              </p:cNvSpPr>
              <p:nvPr/>
            </p:nvSpPr>
            <p:spPr bwMode="auto">
              <a:xfrm>
                <a:off x="1804129" y="2835091"/>
                <a:ext cx="1045150" cy="1048611"/>
              </a:xfrm>
              <a:custGeom>
                <a:avLst/>
                <a:gdLst>
                  <a:gd name="T0" fmla="*/ 604 w 604"/>
                  <a:gd name="T1" fmla="*/ 606 h 606"/>
                  <a:gd name="T2" fmla="*/ 0 w 604"/>
                  <a:gd name="T3" fmla="*/ 315 h 606"/>
                  <a:gd name="T4" fmla="*/ 0 w 604"/>
                  <a:gd name="T5" fmla="*/ 0 h 606"/>
                  <a:gd name="T6" fmla="*/ 604 w 604"/>
                  <a:gd name="T7" fmla="*/ 291 h 606"/>
                  <a:gd name="T8" fmla="*/ 604 w 604"/>
                  <a:gd name="T9" fmla="*/ 606 h 606"/>
                </a:gdLst>
                <a:ahLst/>
                <a:cxnLst>
                  <a:cxn ang="0">
                    <a:pos x="T0" y="T1"/>
                  </a:cxn>
                  <a:cxn ang="0">
                    <a:pos x="T2" y="T3"/>
                  </a:cxn>
                  <a:cxn ang="0">
                    <a:pos x="T4" y="T5"/>
                  </a:cxn>
                  <a:cxn ang="0">
                    <a:pos x="T6" y="T7"/>
                  </a:cxn>
                  <a:cxn ang="0">
                    <a:pos x="T8" y="T9"/>
                  </a:cxn>
                </a:cxnLst>
                <a:rect l="0" t="0" r="r" b="b"/>
                <a:pathLst>
                  <a:path w="604" h="606">
                    <a:moveTo>
                      <a:pt x="604" y="606"/>
                    </a:moveTo>
                    <a:lnTo>
                      <a:pt x="0" y="315"/>
                    </a:lnTo>
                    <a:lnTo>
                      <a:pt x="0" y="0"/>
                    </a:lnTo>
                    <a:lnTo>
                      <a:pt x="604" y="291"/>
                    </a:lnTo>
                    <a:lnTo>
                      <a:pt x="604" y="606"/>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30"/>
                <a:endParaRPr lang="en-US" kern="0" dirty="0">
                  <a:solidFill>
                    <a:sysClr val="windowText" lastClr="000000"/>
                  </a:solidFill>
                  <a:latin typeface="Calibri" panose="020F0502020204030204"/>
                  <a:ea typeface="Heiti SC Light" charset="-122"/>
                  <a:sym typeface="Gill Sans" charset="0"/>
                </a:endParaRPr>
              </a:p>
            </p:txBody>
          </p:sp>
        </p:grpSp>
        <p:grpSp>
          <p:nvGrpSpPr>
            <p:cNvPr id="104" name="Group 103"/>
            <p:cNvGrpSpPr/>
            <p:nvPr/>
          </p:nvGrpSpPr>
          <p:grpSpPr>
            <a:xfrm>
              <a:off x="4996874" y="4030181"/>
              <a:ext cx="3380685" cy="2346064"/>
              <a:chOff x="2004854" y="2014890"/>
              <a:chExt cx="1690583" cy="1173199"/>
            </a:xfrm>
          </p:grpSpPr>
          <p:sp>
            <p:nvSpPr>
              <p:cNvPr id="105" name="Freeform 17"/>
              <p:cNvSpPr>
                <a:spLocks/>
              </p:cNvSpPr>
              <p:nvPr/>
            </p:nvSpPr>
            <p:spPr bwMode="auto">
              <a:xfrm>
                <a:off x="2004854" y="2014890"/>
                <a:ext cx="1690583" cy="1173199"/>
              </a:xfrm>
              <a:custGeom>
                <a:avLst/>
                <a:gdLst>
                  <a:gd name="T0" fmla="*/ 488 w 977"/>
                  <a:gd name="T1" fmla="*/ 0 h 678"/>
                  <a:gd name="T2" fmla="*/ 977 w 977"/>
                  <a:gd name="T3" fmla="*/ 445 h 678"/>
                  <a:gd name="T4" fmla="*/ 488 w 977"/>
                  <a:gd name="T5" fmla="*/ 678 h 678"/>
                  <a:gd name="T6" fmla="*/ 0 w 977"/>
                  <a:gd name="T7" fmla="*/ 445 h 678"/>
                  <a:gd name="T8" fmla="*/ 488 w 977"/>
                  <a:gd name="T9" fmla="*/ 0 h 678"/>
                </a:gdLst>
                <a:ahLst/>
                <a:cxnLst>
                  <a:cxn ang="0">
                    <a:pos x="T0" y="T1"/>
                  </a:cxn>
                  <a:cxn ang="0">
                    <a:pos x="T2" y="T3"/>
                  </a:cxn>
                  <a:cxn ang="0">
                    <a:pos x="T4" y="T5"/>
                  </a:cxn>
                  <a:cxn ang="0">
                    <a:pos x="T6" y="T7"/>
                  </a:cxn>
                  <a:cxn ang="0">
                    <a:pos x="T8" y="T9"/>
                  </a:cxn>
                </a:cxnLst>
                <a:rect l="0" t="0" r="r" b="b"/>
                <a:pathLst>
                  <a:path w="977" h="678">
                    <a:moveTo>
                      <a:pt x="488" y="0"/>
                    </a:moveTo>
                    <a:lnTo>
                      <a:pt x="977" y="445"/>
                    </a:lnTo>
                    <a:lnTo>
                      <a:pt x="488" y="678"/>
                    </a:lnTo>
                    <a:lnTo>
                      <a:pt x="0" y="445"/>
                    </a:lnTo>
                    <a:lnTo>
                      <a:pt x="488"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30"/>
                <a:endParaRPr lang="en-US" kern="0" dirty="0">
                  <a:solidFill>
                    <a:sysClr val="windowText" lastClr="000000"/>
                  </a:solidFill>
                  <a:latin typeface="Calibri" panose="020F0502020204030204"/>
                  <a:ea typeface="Heiti SC Light" charset="-122"/>
                  <a:sym typeface="Gill Sans" charset="0"/>
                </a:endParaRPr>
              </a:p>
            </p:txBody>
          </p:sp>
          <p:sp>
            <p:nvSpPr>
              <p:cNvPr id="106" name="Freeform 18"/>
              <p:cNvSpPr>
                <a:spLocks/>
              </p:cNvSpPr>
              <p:nvPr/>
            </p:nvSpPr>
            <p:spPr bwMode="auto">
              <a:xfrm>
                <a:off x="2004854" y="2014890"/>
                <a:ext cx="844426" cy="1173199"/>
              </a:xfrm>
              <a:custGeom>
                <a:avLst/>
                <a:gdLst>
                  <a:gd name="T0" fmla="*/ 488 w 488"/>
                  <a:gd name="T1" fmla="*/ 0 h 678"/>
                  <a:gd name="T2" fmla="*/ 488 w 488"/>
                  <a:gd name="T3" fmla="*/ 678 h 678"/>
                  <a:gd name="T4" fmla="*/ 0 w 488"/>
                  <a:gd name="T5" fmla="*/ 445 h 678"/>
                  <a:gd name="T6" fmla="*/ 488 w 488"/>
                  <a:gd name="T7" fmla="*/ 0 h 678"/>
                </a:gdLst>
                <a:ahLst/>
                <a:cxnLst>
                  <a:cxn ang="0">
                    <a:pos x="T0" y="T1"/>
                  </a:cxn>
                  <a:cxn ang="0">
                    <a:pos x="T2" y="T3"/>
                  </a:cxn>
                  <a:cxn ang="0">
                    <a:pos x="T4" y="T5"/>
                  </a:cxn>
                  <a:cxn ang="0">
                    <a:pos x="T6" y="T7"/>
                  </a:cxn>
                </a:cxnLst>
                <a:rect l="0" t="0" r="r" b="b"/>
                <a:pathLst>
                  <a:path w="488" h="678">
                    <a:moveTo>
                      <a:pt x="488" y="0"/>
                    </a:moveTo>
                    <a:lnTo>
                      <a:pt x="488" y="678"/>
                    </a:lnTo>
                    <a:lnTo>
                      <a:pt x="0" y="445"/>
                    </a:lnTo>
                    <a:lnTo>
                      <a:pt x="488" y="0"/>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30"/>
                <a:endParaRPr lang="en-US" kern="0" dirty="0">
                  <a:solidFill>
                    <a:sysClr val="windowText" lastClr="000000"/>
                  </a:solidFill>
                  <a:latin typeface="Calibri" panose="020F0502020204030204"/>
                  <a:ea typeface="Heiti SC Light" charset="-122"/>
                  <a:sym typeface="Gill Sans" charset="0"/>
                </a:endParaRPr>
              </a:p>
            </p:txBody>
          </p:sp>
        </p:grpSp>
        <p:sp>
          <p:nvSpPr>
            <p:cNvPr id="107" name="TextBox 106"/>
            <p:cNvSpPr txBox="1"/>
            <p:nvPr/>
          </p:nvSpPr>
          <p:spPr>
            <a:xfrm rot="20077867">
              <a:off x="7399444" y="10430611"/>
              <a:ext cx="3931206" cy="677108"/>
            </a:xfrm>
            <a:prstGeom prst="rect">
              <a:avLst/>
            </a:prstGeom>
            <a:noFill/>
          </p:spPr>
          <p:txBody>
            <a:bodyPr wrap="none" rtlCol="0">
              <a:spAutoFit/>
            </a:bodyPr>
            <a:lstStyle/>
            <a:p>
              <a:pPr defTabSz="914330"/>
              <a:r>
                <a:rPr lang="en-US" sz="1600" b="1" kern="0" dirty="0">
                  <a:solidFill>
                    <a:prstClr val="black"/>
                  </a:solidFill>
                  <a:latin typeface="Calibri Light" panose="020F0302020204030204"/>
                  <a:ea typeface="Heiti SC Light" charset="-122"/>
                  <a:sym typeface="Gill Sans" charset="0"/>
                </a:rPr>
                <a:t>Commodity Hardware</a:t>
              </a:r>
            </a:p>
          </p:txBody>
        </p:sp>
        <p:sp>
          <p:nvSpPr>
            <p:cNvPr id="108" name="TextBox 107"/>
            <p:cNvSpPr txBox="1"/>
            <p:nvPr/>
          </p:nvSpPr>
          <p:spPr>
            <a:xfrm rot="20077867">
              <a:off x="6631032" y="9109523"/>
              <a:ext cx="4431342" cy="646330"/>
            </a:xfrm>
            <a:prstGeom prst="rect">
              <a:avLst/>
            </a:prstGeom>
            <a:noFill/>
          </p:spPr>
          <p:txBody>
            <a:bodyPr wrap="none" rtlCol="0">
              <a:spAutoFit/>
            </a:bodyPr>
            <a:lstStyle/>
            <a:p>
              <a:pPr defTabSz="914330"/>
              <a:r>
                <a:rPr lang="en-US" sz="1500" b="1" kern="0" dirty="0">
                  <a:solidFill>
                    <a:prstClr val="black"/>
                  </a:solidFill>
                  <a:latin typeface="Calibri Light" panose="020F0302020204030204"/>
                  <a:ea typeface="Heiti SC Light" charset="-122"/>
                  <a:sym typeface="Gill Sans" charset="0"/>
                </a:rPr>
                <a:t>Fine grained multi-tenancy</a:t>
              </a:r>
            </a:p>
          </p:txBody>
        </p:sp>
        <p:sp>
          <p:nvSpPr>
            <p:cNvPr id="109" name="TextBox 108"/>
            <p:cNvSpPr txBox="1"/>
            <p:nvPr/>
          </p:nvSpPr>
          <p:spPr>
            <a:xfrm rot="20077867">
              <a:off x="6703256" y="7501846"/>
              <a:ext cx="2943756" cy="1046440"/>
            </a:xfrm>
            <a:prstGeom prst="rect">
              <a:avLst/>
            </a:prstGeom>
            <a:noFill/>
          </p:spPr>
          <p:txBody>
            <a:bodyPr wrap="none" rtlCol="0">
              <a:spAutoFit/>
            </a:bodyPr>
            <a:lstStyle/>
            <a:p>
              <a:pPr algn="ctr" defTabSz="914330"/>
              <a:r>
                <a:rPr lang="en-US" sz="1400" b="1" kern="0" dirty="0">
                  <a:solidFill>
                    <a:prstClr val="black"/>
                  </a:solidFill>
                  <a:latin typeface="Calibri Light" panose="020F0302020204030204"/>
                  <a:ea typeface="Heiti SC Light" charset="-122"/>
                  <a:sym typeface="Gill Sans" charset="0"/>
                </a:rPr>
                <a:t>Adaptive resource</a:t>
              </a:r>
            </a:p>
            <a:p>
              <a:pPr algn="ctr" defTabSz="914330"/>
              <a:r>
                <a:rPr lang="en-US" sz="1400" b="1" kern="0" dirty="0">
                  <a:solidFill>
                    <a:prstClr val="black"/>
                  </a:solidFill>
                  <a:latin typeface="Calibri Light" panose="020F0302020204030204"/>
                  <a:ea typeface="Heiti SC Light" charset="-122"/>
                  <a:sym typeface="Gill Sans" charset="0"/>
                </a:rPr>
                <a:t>governance</a:t>
              </a:r>
            </a:p>
          </p:txBody>
        </p:sp>
        <p:sp>
          <p:nvSpPr>
            <p:cNvPr id="110" name="TextBox 109"/>
            <p:cNvSpPr txBox="1"/>
            <p:nvPr/>
          </p:nvSpPr>
          <p:spPr>
            <a:xfrm rot="20077867">
              <a:off x="6211377" y="6063012"/>
              <a:ext cx="3347030" cy="984886"/>
            </a:xfrm>
            <a:prstGeom prst="rect">
              <a:avLst/>
            </a:prstGeom>
            <a:noFill/>
          </p:spPr>
          <p:txBody>
            <a:bodyPr wrap="square" rtlCol="0">
              <a:spAutoFit/>
            </a:bodyPr>
            <a:lstStyle/>
            <a:p>
              <a:pPr algn="ctr" defTabSz="914330"/>
              <a:r>
                <a:rPr lang="en-US" sz="1300" b="1" kern="0" dirty="0">
                  <a:solidFill>
                    <a:prstClr val="black"/>
                  </a:solidFill>
                  <a:latin typeface="Calibri Light" panose="020F0302020204030204"/>
                  <a:ea typeface="Heiti SC Light" charset="-122"/>
                  <a:sym typeface="Gill Sans" charset="0"/>
                </a:rPr>
                <a:t>Performance </a:t>
              </a:r>
            </a:p>
            <a:p>
              <a:pPr algn="ctr" defTabSz="914330"/>
              <a:r>
                <a:rPr lang="en-US" sz="1300" b="1" kern="0" dirty="0">
                  <a:solidFill>
                    <a:prstClr val="black"/>
                  </a:solidFill>
                  <a:latin typeface="Calibri Light" panose="020F0302020204030204"/>
                  <a:ea typeface="Heiti SC Light" charset="-122"/>
                  <a:sym typeface="Gill Sans" charset="0"/>
                </a:rPr>
                <a:t>isolation</a:t>
              </a:r>
            </a:p>
          </p:txBody>
        </p:sp>
        <p:grpSp>
          <p:nvGrpSpPr>
            <p:cNvPr id="111" name="Group 110"/>
            <p:cNvGrpSpPr/>
            <p:nvPr/>
          </p:nvGrpSpPr>
          <p:grpSpPr>
            <a:xfrm>
              <a:off x="262093" y="4666874"/>
              <a:ext cx="7732515" cy="8766240"/>
              <a:chOff x="133674" y="2379729"/>
              <a:chExt cx="3943783" cy="4471010"/>
            </a:xfrm>
          </p:grpSpPr>
          <p:sp>
            <p:nvSpPr>
              <p:cNvPr id="112" name="Left Brace 111"/>
              <p:cNvSpPr/>
              <p:nvPr/>
            </p:nvSpPr>
            <p:spPr>
              <a:xfrm>
                <a:off x="336206" y="2379729"/>
                <a:ext cx="450080" cy="3099982"/>
              </a:xfrm>
              <a:prstGeom prst="leftBrace">
                <a:avLst>
                  <a:gd name="adj1" fmla="val 39060"/>
                  <a:gd name="adj2" fmla="val 500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348"/>
                <a:endParaRPr lang="en-US" sz="1298" dirty="0">
                  <a:solidFill>
                    <a:prstClr val="black"/>
                  </a:solidFill>
                  <a:latin typeface="Calibri" panose="020F0502020204030204"/>
                  <a:sym typeface="Gill Sans" charset="0"/>
                </a:endParaRPr>
              </a:p>
            </p:txBody>
          </p:sp>
          <p:sp>
            <p:nvSpPr>
              <p:cNvPr id="113" name="Rectangle 112"/>
              <p:cNvSpPr/>
              <p:nvPr/>
            </p:nvSpPr>
            <p:spPr>
              <a:xfrm>
                <a:off x="133674" y="6086538"/>
                <a:ext cx="3943783" cy="764201"/>
              </a:xfrm>
              <a:prstGeom prst="rect">
                <a:avLst/>
              </a:prstGeom>
            </p:spPr>
            <p:txBody>
              <a:bodyPr wrap="square">
                <a:spAutoFit/>
              </a:bodyPr>
              <a:lstStyle/>
              <a:p>
                <a:pPr defTabSz="914348"/>
                <a:r>
                  <a:rPr lang="en-US" sz="2134" dirty="0">
                    <a:solidFill>
                      <a:srgbClr val="E7E6E6"/>
                    </a:solidFill>
                    <a:latin typeface="Segoe UI Light" panose="020B0502040204020203" pitchFamily="34" charset="0"/>
                    <a:ea typeface="Heiti SC Light" charset="-122"/>
                    <a:cs typeface="Segoe UI Light" panose="020B0502040204020203" pitchFamily="34" charset="0"/>
                    <a:sym typeface="Gill Sans" charset="0"/>
                  </a:rPr>
                  <a:t>IaaS hosted managed database offerings cannot match this!</a:t>
                </a:r>
              </a:p>
            </p:txBody>
          </p:sp>
          <p:cxnSp>
            <p:nvCxnSpPr>
              <p:cNvPr id="114" name="Straight Arrow Connector 113"/>
              <p:cNvCxnSpPr/>
              <p:nvPr/>
            </p:nvCxnSpPr>
            <p:spPr>
              <a:xfrm flipV="1">
                <a:off x="287653" y="4068685"/>
                <a:ext cx="0" cy="1533622"/>
              </a:xfrm>
              <a:prstGeom prst="straightConnector1">
                <a:avLst/>
              </a:prstGeom>
              <a:ln w="12700">
                <a:solidFill>
                  <a:schemeClr val="tx2"/>
                </a:solidFill>
                <a:headEnd type="diamond" w="med" len="med"/>
                <a:tailEnd type="triangle" w="med" len="med"/>
              </a:ln>
            </p:spPr>
            <p:style>
              <a:lnRef idx="1">
                <a:schemeClr val="accent1"/>
              </a:lnRef>
              <a:fillRef idx="0">
                <a:schemeClr val="accent1"/>
              </a:fillRef>
              <a:effectRef idx="0">
                <a:schemeClr val="accent1"/>
              </a:effectRef>
              <a:fontRef idx="minor">
                <a:schemeClr val="tx1"/>
              </a:fontRef>
            </p:style>
          </p:cxnSp>
        </p:grpSp>
      </p:grpSp>
    </p:spTree>
    <p:custDataLst>
      <p:tags r:id="rId1"/>
    </p:custDataLst>
    <p:extLst>
      <p:ext uri="{BB962C8B-B14F-4D97-AF65-F5344CB8AC3E}">
        <p14:creationId xmlns:p14="http://schemas.microsoft.com/office/powerpoint/2010/main" val="25250114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cell phone&#10;&#10;Description generated with very high confidence">
            <a:extLst>
              <a:ext uri="{FF2B5EF4-FFF2-40B4-BE49-F238E27FC236}">
                <a16:creationId xmlns:a16="http://schemas.microsoft.com/office/drawing/2014/main" id="{1F874AB6-472D-482B-A741-FA4C883CA348}"/>
              </a:ext>
            </a:extLst>
          </p:cNvPr>
          <p:cNvPicPr>
            <a:picLocks noChangeAspect="1"/>
          </p:cNvPicPr>
          <p:nvPr/>
        </p:nvPicPr>
        <p:blipFill>
          <a:blip r:embed="rId3"/>
          <a:stretch>
            <a:fillRect/>
          </a:stretch>
        </p:blipFill>
        <p:spPr>
          <a:xfrm>
            <a:off x="2072957" y="1790048"/>
            <a:ext cx="8048408" cy="4318058"/>
          </a:xfrm>
          <a:prstGeom prst="rect">
            <a:avLst/>
          </a:prstGeom>
        </p:spPr>
      </p:pic>
      <p:sp>
        <p:nvSpPr>
          <p:cNvPr id="6" name="Title 1">
            <a:extLst>
              <a:ext uri="{FF2B5EF4-FFF2-40B4-BE49-F238E27FC236}">
                <a16:creationId xmlns:a16="http://schemas.microsoft.com/office/drawing/2014/main" id="{732988AA-4DF5-45C6-AE1F-6B132740BEDC}"/>
              </a:ext>
            </a:extLst>
          </p:cNvPr>
          <p:cNvSpPr txBox="1">
            <a:spLocks/>
          </p:cNvSpPr>
          <p:nvPr/>
        </p:nvSpPr>
        <p:spPr>
          <a:xfrm>
            <a:off x="536923" y="518559"/>
            <a:ext cx="11655078"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r>
              <a:rPr lang="en-US" sz="4705" spc="-100" dirty="0">
                <a:gradFill>
                  <a:gsLst>
                    <a:gs pos="1250">
                      <a:srgbClr val="353535"/>
                    </a:gs>
                    <a:gs pos="100000">
                      <a:srgbClr val="353535"/>
                    </a:gs>
                  </a:gsLst>
                  <a:lin ang="5400000" scaled="0"/>
                </a:gradFill>
                <a:latin typeface="Segoe UI Light"/>
              </a:rPr>
              <a:t>Common Scenarios</a:t>
            </a:r>
          </a:p>
        </p:txBody>
      </p:sp>
    </p:spTree>
    <p:extLst>
      <p:ext uri="{BB962C8B-B14F-4D97-AF65-F5344CB8AC3E}">
        <p14:creationId xmlns:p14="http://schemas.microsoft.com/office/powerpoint/2010/main" val="2020623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FC8348-5A8D-4DD5-9DAD-FBFAAD438E51}"/>
              </a:ext>
            </a:extLst>
          </p:cNvPr>
          <p:cNvSpPr>
            <a:spLocks noGrp="1"/>
          </p:cNvSpPr>
          <p:nvPr>
            <p:ph type="title" idx="4294967295"/>
          </p:nvPr>
        </p:nvSpPr>
        <p:spPr>
          <a:xfrm>
            <a:off x="536923" y="518559"/>
            <a:ext cx="11655078" cy="899537"/>
          </a:xfrm>
          <a:prstGeom prst="rect">
            <a:avLst/>
          </a:prstGeom>
        </p:spPr>
        <p:txBody>
          <a:bodyPr/>
          <a:lstStyle/>
          <a:p>
            <a:r>
              <a:rPr lang="en-US" dirty="0"/>
              <a:t>Event Sourcing for Microservices</a:t>
            </a:r>
          </a:p>
        </p:txBody>
      </p:sp>
      <p:grpSp>
        <p:nvGrpSpPr>
          <p:cNvPr id="7" name="Group 6">
            <a:extLst>
              <a:ext uri="{FF2B5EF4-FFF2-40B4-BE49-F238E27FC236}">
                <a16:creationId xmlns:a16="http://schemas.microsoft.com/office/drawing/2014/main" id="{A5AE5D45-0F73-4D31-8B12-E626A8152A6C}"/>
              </a:ext>
            </a:extLst>
          </p:cNvPr>
          <p:cNvGrpSpPr/>
          <p:nvPr/>
        </p:nvGrpSpPr>
        <p:grpSpPr>
          <a:xfrm>
            <a:off x="2062088" y="3037890"/>
            <a:ext cx="1792850" cy="2091658"/>
            <a:chOff x="2103437" y="2865126"/>
            <a:chExt cx="1828800" cy="2133600"/>
          </a:xfrm>
        </p:grpSpPr>
        <p:pic>
          <p:nvPicPr>
            <p:cNvPr id="4" name="Picture 3">
              <a:extLst>
                <a:ext uri="{FF2B5EF4-FFF2-40B4-BE49-F238E27FC236}">
                  <a16:creationId xmlns:a16="http://schemas.microsoft.com/office/drawing/2014/main" id="{41AAE0DB-2121-479C-A756-9AF6FC9FABBA}"/>
                </a:ext>
              </a:extLst>
            </p:cNvPr>
            <p:cNvPicPr>
              <a:picLocks noChangeAspect="1"/>
            </p:cNvPicPr>
            <p:nvPr/>
          </p:nvPicPr>
          <p:blipFill>
            <a:blip r:embed="rId3"/>
            <a:stretch>
              <a:fillRect/>
            </a:stretch>
          </p:blipFill>
          <p:spPr>
            <a:xfrm>
              <a:off x="2484437" y="3320473"/>
              <a:ext cx="1219200" cy="1120030"/>
            </a:xfrm>
            <a:prstGeom prst="rect">
              <a:avLst/>
            </a:prstGeom>
          </p:spPr>
        </p:pic>
        <p:sp>
          <p:nvSpPr>
            <p:cNvPr id="5" name="Rectangle: Rounded Corners 4">
              <a:extLst>
                <a:ext uri="{FF2B5EF4-FFF2-40B4-BE49-F238E27FC236}">
                  <a16:creationId xmlns:a16="http://schemas.microsoft.com/office/drawing/2014/main" id="{25DCAB11-C3EE-4F79-9133-811978ADFB18}"/>
                </a:ext>
              </a:extLst>
            </p:cNvPr>
            <p:cNvSpPr/>
            <p:nvPr/>
          </p:nvSpPr>
          <p:spPr bwMode="auto">
            <a:xfrm>
              <a:off x="2103437" y="2865126"/>
              <a:ext cx="1828800" cy="2133600"/>
            </a:xfrm>
            <a:prstGeom prst="roundRect">
              <a:avLst/>
            </a:prstGeom>
            <a:no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 name="TextBox 5">
            <a:extLst>
              <a:ext uri="{FF2B5EF4-FFF2-40B4-BE49-F238E27FC236}">
                <a16:creationId xmlns:a16="http://schemas.microsoft.com/office/drawing/2014/main" id="{1E270811-13C2-4334-AE1F-C4316A868AFF}"/>
              </a:ext>
            </a:extLst>
          </p:cNvPr>
          <p:cNvSpPr txBox="1"/>
          <p:nvPr/>
        </p:nvSpPr>
        <p:spPr>
          <a:xfrm>
            <a:off x="4310707" y="2133999"/>
            <a:ext cx="1867552" cy="941386"/>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2353">
                <a:gradFill>
                  <a:gsLst>
                    <a:gs pos="2917">
                      <a:srgbClr val="353535"/>
                    </a:gs>
                    <a:gs pos="30000">
                      <a:srgbClr val="353535"/>
                    </a:gs>
                  </a:gsLst>
                  <a:lin ang="5400000" scaled="0"/>
                </a:gradFill>
                <a:latin typeface="Segoe UI Semilight"/>
              </a:rPr>
              <a:t>Persistent Event Store</a:t>
            </a:r>
          </a:p>
        </p:txBody>
      </p:sp>
      <p:cxnSp>
        <p:nvCxnSpPr>
          <p:cNvPr id="8" name="Straight Arrow Connector 7">
            <a:extLst>
              <a:ext uri="{FF2B5EF4-FFF2-40B4-BE49-F238E27FC236}">
                <a16:creationId xmlns:a16="http://schemas.microsoft.com/office/drawing/2014/main" id="{169FFDC9-E1F7-4EBC-8B25-11D867FA057F}"/>
              </a:ext>
            </a:extLst>
          </p:cNvPr>
          <p:cNvCxnSpPr/>
          <p:nvPr/>
        </p:nvCxnSpPr>
        <p:spPr>
          <a:xfrm>
            <a:off x="418644" y="4033293"/>
            <a:ext cx="1494041"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F1D1B14B-F38D-492D-A8D9-C726C16FFC6E}"/>
              </a:ext>
            </a:extLst>
          </p:cNvPr>
          <p:cNvSpPr txBox="1"/>
          <p:nvPr/>
        </p:nvSpPr>
        <p:spPr>
          <a:xfrm>
            <a:off x="230636" y="3569895"/>
            <a:ext cx="1375684" cy="534056"/>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765" i="1" dirty="0">
                <a:gradFill>
                  <a:gsLst>
                    <a:gs pos="2917">
                      <a:srgbClr val="353535"/>
                    </a:gs>
                    <a:gs pos="30000">
                      <a:srgbClr val="353535"/>
                    </a:gs>
                  </a:gsLst>
                  <a:lin ang="5400000" scaled="0"/>
                </a:gradFill>
                <a:latin typeface="Segoe UI Semilight"/>
              </a:rPr>
              <a:t>New Event</a:t>
            </a:r>
          </a:p>
        </p:txBody>
      </p:sp>
      <p:pic>
        <p:nvPicPr>
          <p:cNvPr id="10" name="Picture 9">
            <a:extLst>
              <a:ext uri="{FF2B5EF4-FFF2-40B4-BE49-F238E27FC236}">
                <a16:creationId xmlns:a16="http://schemas.microsoft.com/office/drawing/2014/main" id="{BB6FEF4E-C5E5-4CAC-8691-121559C32DAA}"/>
              </a:ext>
            </a:extLst>
          </p:cNvPr>
          <p:cNvPicPr>
            <a:picLocks noChangeAspect="1"/>
          </p:cNvPicPr>
          <p:nvPr/>
        </p:nvPicPr>
        <p:blipFill>
          <a:blip r:embed="rId4"/>
          <a:stretch>
            <a:fillRect/>
          </a:stretch>
        </p:blipFill>
        <p:spPr>
          <a:xfrm>
            <a:off x="4826065" y="3192116"/>
            <a:ext cx="836836" cy="1823670"/>
          </a:xfrm>
          <a:prstGeom prst="rect">
            <a:avLst/>
          </a:prstGeom>
        </p:spPr>
      </p:pic>
      <p:cxnSp>
        <p:nvCxnSpPr>
          <p:cNvPr id="13" name="Straight Arrow Connector 12">
            <a:extLst>
              <a:ext uri="{FF2B5EF4-FFF2-40B4-BE49-F238E27FC236}">
                <a16:creationId xmlns:a16="http://schemas.microsoft.com/office/drawing/2014/main" id="{E7687B88-8CC9-4357-B56E-F785800B1CA8}"/>
              </a:ext>
            </a:extLst>
          </p:cNvPr>
          <p:cNvCxnSpPr/>
          <p:nvPr/>
        </p:nvCxnSpPr>
        <p:spPr>
          <a:xfrm>
            <a:off x="4004343" y="4103951"/>
            <a:ext cx="821723"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 name="Rectangle: Rounded Corners 13">
            <a:extLst>
              <a:ext uri="{FF2B5EF4-FFF2-40B4-BE49-F238E27FC236}">
                <a16:creationId xmlns:a16="http://schemas.microsoft.com/office/drawing/2014/main" id="{93502D53-3D15-4CA8-BAC4-D3AA40889E3E}"/>
              </a:ext>
            </a:extLst>
          </p:cNvPr>
          <p:cNvSpPr/>
          <p:nvPr/>
        </p:nvSpPr>
        <p:spPr bwMode="auto">
          <a:xfrm>
            <a:off x="7365935" y="2317632"/>
            <a:ext cx="2091658" cy="804451"/>
          </a:xfrm>
          <a:prstGeom prst="round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961" dirty="0">
                <a:gradFill>
                  <a:gsLst>
                    <a:gs pos="0">
                      <a:srgbClr val="FFFFFF"/>
                    </a:gs>
                    <a:gs pos="100000">
                      <a:srgbClr val="FFFFFF"/>
                    </a:gs>
                  </a:gsLst>
                  <a:lin ang="5400000" scaled="0"/>
                </a:gradFill>
                <a:latin typeface="Segoe UI Semilight"/>
                <a:ea typeface="Segoe UI" pitchFamily="34" charset="0"/>
                <a:cs typeface="Segoe UI" pitchFamily="34" charset="0"/>
              </a:rPr>
              <a:t>Microservice </a:t>
            </a:r>
          </a:p>
          <a:p>
            <a:pPr algn="ctr" defTabSz="914102" fontAlgn="base">
              <a:lnSpc>
                <a:spcPct val="90000"/>
              </a:lnSpc>
              <a:spcBef>
                <a:spcPct val="0"/>
              </a:spcBef>
              <a:spcAft>
                <a:spcPct val="0"/>
              </a:spcAft>
              <a:defRPr/>
            </a:pPr>
            <a:r>
              <a:rPr lang="en-US" sz="1961" dirty="0">
                <a:gradFill>
                  <a:gsLst>
                    <a:gs pos="0">
                      <a:srgbClr val="FFFFFF"/>
                    </a:gs>
                    <a:gs pos="100000">
                      <a:srgbClr val="FFFFFF"/>
                    </a:gs>
                  </a:gsLst>
                  <a:lin ang="5400000" scaled="0"/>
                </a:gradFill>
                <a:latin typeface="Segoe UI Semilight"/>
                <a:ea typeface="Segoe UI" pitchFamily="34" charset="0"/>
                <a:cs typeface="Segoe UI" pitchFamily="34" charset="0"/>
              </a:rPr>
              <a:t>#1 </a:t>
            </a:r>
          </a:p>
        </p:txBody>
      </p:sp>
      <p:sp>
        <p:nvSpPr>
          <p:cNvPr id="15" name="Rectangle: Rounded Corners 14">
            <a:extLst>
              <a:ext uri="{FF2B5EF4-FFF2-40B4-BE49-F238E27FC236}">
                <a16:creationId xmlns:a16="http://schemas.microsoft.com/office/drawing/2014/main" id="{75464042-20CD-42CF-93A2-2C12A74192A7}"/>
              </a:ext>
            </a:extLst>
          </p:cNvPr>
          <p:cNvSpPr/>
          <p:nvPr/>
        </p:nvSpPr>
        <p:spPr bwMode="auto">
          <a:xfrm>
            <a:off x="7365935" y="4778132"/>
            <a:ext cx="2091658" cy="804451"/>
          </a:xfrm>
          <a:prstGeom prst="round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961" dirty="0">
                <a:gradFill>
                  <a:gsLst>
                    <a:gs pos="0">
                      <a:srgbClr val="FFFFFF"/>
                    </a:gs>
                    <a:gs pos="100000">
                      <a:srgbClr val="FFFFFF"/>
                    </a:gs>
                  </a:gsLst>
                  <a:lin ang="5400000" scaled="0"/>
                </a:gradFill>
                <a:latin typeface="Segoe UI Semilight"/>
                <a:ea typeface="Segoe UI" pitchFamily="34" charset="0"/>
                <a:cs typeface="Segoe UI" pitchFamily="34" charset="0"/>
              </a:rPr>
              <a:t>Microservice #N </a:t>
            </a:r>
          </a:p>
        </p:txBody>
      </p:sp>
      <p:sp>
        <p:nvSpPr>
          <p:cNvPr id="16" name="Rectangle: Rounded Corners 15">
            <a:extLst>
              <a:ext uri="{FF2B5EF4-FFF2-40B4-BE49-F238E27FC236}">
                <a16:creationId xmlns:a16="http://schemas.microsoft.com/office/drawing/2014/main" id="{44869E21-D1BE-440D-AFDF-540403F4A762}"/>
              </a:ext>
            </a:extLst>
          </p:cNvPr>
          <p:cNvSpPr/>
          <p:nvPr/>
        </p:nvSpPr>
        <p:spPr bwMode="auto">
          <a:xfrm>
            <a:off x="7365935" y="3257534"/>
            <a:ext cx="2091658" cy="804451"/>
          </a:xfrm>
          <a:prstGeom prst="round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961">
                <a:gradFill>
                  <a:gsLst>
                    <a:gs pos="0">
                      <a:srgbClr val="FFFFFF"/>
                    </a:gs>
                    <a:gs pos="100000">
                      <a:srgbClr val="FFFFFF"/>
                    </a:gs>
                  </a:gsLst>
                  <a:lin ang="5400000" scaled="0"/>
                </a:gradFill>
                <a:latin typeface="Segoe UI Semilight"/>
                <a:ea typeface="Segoe UI" pitchFamily="34" charset="0"/>
                <a:cs typeface="Segoe UI" pitchFamily="34" charset="0"/>
              </a:rPr>
              <a:t>Microservice #2 </a:t>
            </a:r>
          </a:p>
        </p:txBody>
      </p:sp>
      <p:cxnSp>
        <p:nvCxnSpPr>
          <p:cNvPr id="18" name="Straight Arrow Connector 17">
            <a:extLst>
              <a:ext uri="{FF2B5EF4-FFF2-40B4-BE49-F238E27FC236}">
                <a16:creationId xmlns:a16="http://schemas.microsoft.com/office/drawing/2014/main" id="{CAB12D2D-7ECB-44F7-AFB5-96DE08B48136}"/>
              </a:ext>
            </a:extLst>
          </p:cNvPr>
          <p:cNvCxnSpPr>
            <a:cxnSpLocks/>
            <a:stCxn id="14" idx="1"/>
          </p:cNvCxnSpPr>
          <p:nvPr/>
        </p:nvCxnSpPr>
        <p:spPr>
          <a:xfrm flipH="1">
            <a:off x="5894563" y="2719858"/>
            <a:ext cx="1471372" cy="1223597"/>
          </a:xfrm>
          <a:prstGeom prst="straightConnector1">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2A76189E-5152-471E-A06B-38600E17EFB9}"/>
              </a:ext>
            </a:extLst>
          </p:cNvPr>
          <p:cNvCxnSpPr>
            <a:cxnSpLocks/>
            <a:endCxn id="15" idx="1"/>
          </p:cNvCxnSpPr>
          <p:nvPr/>
        </p:nvCxnSpPr>
        <p:spPr>
          <a:xfrm>
            <a:off x="5894563" y="4197437"/>
            <a:ext cx="1471372" cy="98292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E4EABDA1-BC0E-46A4-804C-CBCBE6E3E7BB}"/>
              </a:ext>
            </a:extLst>
          </p:cNvPr>
          <p:cNvCxnSpPr>
            <a:stCxn id="16" idx="1"/>
          </p:cNvCxnSpPr>
          <p:nvPr/>
        </p:nvCxnSpPr>
        <p:spPr>
          <a:xfrm flipH="1">
            <a:off x="5894563" y="3659759"/>
            <a:ext cx="1471372" cy="373534"/>
          </a:xfrm>
          <a:prstGeom prst="straightConnector1">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0705BAB4-13B6-4657-A8B1-9F70F8B07099}"/>
              </a:ext>
            </a:extLst>
          </p:cNvPr>
          <p:cNvSpPr txBox="1"/>
          <p:nvPr/>
        </p:nvSpPr>
        <p:spPr>
          <a:xfrm>
            <a:off x="7297809" y="1493157"/>
            <a:ext cx="2159784" cy="778454"/>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765" i="1" dirty="0">
                <a:gradFill>
                  <a:gsLst>
                    <a:gs pos="2917">
                      <a:srgbClr val="353535"/>
                    </a:gs>
                    <a:gs pos="30000">
                      <a:srgbClr val="353535"/>
                    </a:gs>
                  </a:gsLst>
                  <a:lin ang="5400000" scaled="0"/>
                </a:gradFill>
                <a:latin typeface="Segoe UI Semilight"/>
              </a:rPr>
              <a:t>Trigger Action From Change Feed</a:t>
            </a:r>
          </a:p>
        </p:txBody>
      </p:sp>
      <p:sp>
        <p:nvSpPr>
          <p:cNvPr id="3" name="TextBox 2">
            <a:extLst>
              <a:ext uri="{FF2B5EF4-FFF2-40B4-BE49-F238E27FC236}">
                <a16:creationId xmlns:a16="http://schemas.microsoft.com/office/drawing/2014/main" id="{21E5D170-CB98-4CF1-963C-D3889DEAD00F}"/>
              </a:ext>
            </a:extLst>
          </p:cNvPr>
          <p:cNvSpPr txBox="1"/>
          <p:nvPr/>
        </p:nvSpPr>
        <p:spPr>
          <a:xfrm>
            <a:off x="8125440" y="4180022"/>
            <a:ext cx="572651" cy="615522"/>
          </a:xfrm>
          <a:prstGeom prst="rect">
            <a:avLst/>
          </a:prstGeom>
          <a:noFill/>
        </p:spPr>
        <p:txBody>
          <a:bodyPr wrap="none" lIns="179285" tIns="143428" rIns="179285" bIns="143428" rtlCol="0">
            <a:spAutoFit/>
          </a:bodyPr>
          <a:lstStyle/>
          <a:p>
            <a:pPr defTabSz="914367">
              <a:lnSpc>
                <a:spcPct val="90000"/>
              </a:lnSpc>
              <a:spcAft>
                <a:spcPts val="588"/>
              </a:spcAft>
            </a:pPr>
            <a:r>
              <a:rPr lang="en-US" sz="2353" dirty="0">
                <a:gradFill>
                  <a:gsLst>
                    <a:gs pos="2917">
                      <a:srgbClr val="353535"/>
                    </a:gs>
                    <a:gs pos="30000">
                      <a:srgbClr val="353535"/>
                    </a:gs>
                  </a:gsLst>
                  <a:lin ang="5400000" scaled="0"/>
                </a:gradFill>
                <a:latin typeface="Segoe UI Semilight"/>
              </a:rPr>
              <a:t>…</a:t>
            </a:r>
          </a:p>
        </p:txBody>
      </p:sp>
    </p:spTree>
    <p:extLst>
      <p:ext uri="{BB962C8B-B14F-4D97-AF65-F5344CB8AC3E}">
        <p14:creationId xmlns:p14="http://schemas.microsoft.com/office/powerpoint/2010/main" val="959073109"/>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FC8348-5A8D-4DD5-9DAD-FBFAAD438E51}"/>
              </a:ext>
            </a:extLst>
          </p:cNvPr>
          <p:cNvSpPr>
            <a:spLocks noGrp="1"/>
          </p:cNvSpPr>
          <p:nvPr>
            <p:ph type="title" idx="4294967295"/>
          </p:nvPr>
        </p:nvSpPr>
        <p:spPr>
          <a:xfrm>
            <a:off x="536923" y="518559"/>
            <a:ext cx="11655078" cy="899537"/>
          </a:xfrm>
        </p:spPr>
        <p:txBody>
          <a:bodyPr/>
          <a:lstStyle/>
          <a:p>
            <a:r>
              <a:rPr lang="en-US" dirty="0"/>
              <a:t>Materializing Views</a:t>
            </a:r>
          </a:p>
        </p:txBody>
      </p:sp>
      <p:graphicFrame>
        <p:nvGraphicFramePr>
          <p:cNvPr id="4" name="Table 3">
            <a:extLst>
              <a:ext uri="{FF2B5EF4-FFF2-40B4-BE49-F238E27FC236}">
                <a16:creationId xmlns:a16="http://schemas.microsoft.com/office/drawing/2014/main" id="{9C33E833-DF4D-4B44-837A-9322EBA6DAA7}"/>
              </a:ext>
            </a:extLst>
          </p:cNvPr>
          <p:cNvGraphicFramePr>
            <a:graphicFrameLocks noGrp="1"/>
          </p:cNvGraphicFramePr>
          <p:nvPr>
            <p:extLst/>
          </p:nvPr>
        </p:nvGraphicFramePr>
        <p:xfrm>
          <a:off x="1165665" y="3881706"/>
          <a:ext cx="3660401" cy="1639260"/>
        </p:xfrm>
        <a:graphic>
          <a:graphicData uri="http://schemas.openxmlformats.org/drawingml/2006/table">
            <a:tbl>
              <a:tblPr firstRow="1" bandRow="1">
                <a:tableStyleId>{5A111915-BE36-4E01-A7E5-04B1672EAD32}</a:tableStyleId>
              </a:tblPr>
              <a:tblGrid>
                <a:gridCol w="1180774">
                  <a:extLst>
                    <a:ext uri="{9D8B030D-6E8A-4147-A177-3AD203B41FA5}">
                      <a16:colId xmlns:a16="http://schemas.microsoft.com/office/drawing/2014/main" val="4232046326"/>
                    </a:ext>
                  </a:extLst>
                </a:gridCol>
                <a:gridCol w="761480">
                  <a:extLst>
                    <a:ext uri="{9D8B030D-6E8A-4147-A177-3AD203B41FA5}">
                      <a16:colId xmlns:a16="http://schemas.microsoft.com/office/drawing/2014/main" val="3171829340"/>
                    </a:ext>
                  </a:extLst>
                </a:gridCol>
                <a:gridCol w="958441">
                  <a:extLst>
                    <a:ext uri="{9D8B030D-6E8A-4147-A177-3AD203B41FA5}">
                      <a16:colId xmlns:a16="http://schemas.microsoft.com/office/drawing/2014/main" val="989213635"/>
                    </a:ext>
                  </a:extLst>
                </a:gridCol>
                <a:gridCol w="759706">
                  <a:extLst>
                    <a:ext uri="{9D8B030D-6E8A-4147-A177-3AD203B41FA5}">
                      <a16:colId xmlns:a16="http://schemas.microsoft.com/office/drawing/2014/main" val="1976668509"/>
                    </a:ext>
                  </a:extLst>
                </a:gridCol>
              </a:tblGrid>
              <a:tr h="298808">
                <a:tc>
                  <a:txBody>
                    <a:bodyPr/>
                    <a:lstStyle/>
                    <a:p>
                      <a:r>
                        <a:rPr lang="en-US" sz="1200"/>
                        <a:t>Subscription </a:t>
                      </a:r>
                    </a:p>
                  </a:txBody>
                  <a:tcPr marL="89642" marR="89642" marT="44821" marB="44821"/>
                </a:tc>
                <a:tc>
                  <a:txBody>
                    <a:bodyPr/>
                    <a:lstStyle/>
                    <a:p>
                      <a:r>
                        <a:rPr lang="en-US" sz="1200"/>
                        <a:t>User </a:t>
                      </a:r>
                    </a:p>
                  </a:txBody>
                  <a:tcPr marL="89642" marR="89642" marT="44821" marB="44821"/>
                </a:tc>
                <a:tc>
                  <a:txBody>
                    <a:bodyPr/>
                    <a:lstStyle/>
                    <a:p>
                      <a:r>
                        <a:rPr lang="en-US" sz="1200"/>
                        <a:t>Create Date </a:t>
                      </a:r>
                    </a:p>
                  </a:txBody>
                  <a:tcPr marL="89642" marR="89642" marT="44821" marB="44821"/>
                </a:tc>
                <a:tc>
                  <a:txBody>
                    <a:bodyPr/>
                    <a:lstStyle/>
                    <a:p>
                      <a:r>
                        <a:rPr lang="en-US" sz="1200"/>
                        <a:t>…</a:t>
                      </a:r>
                    </a:p>
                  </a:txBody>
                  <a:tcPr marL="89642" marR="89642" marT="44821" marB="44821"/>
                </a:tc>
                <a:extLst>
                  <a:ext uri="{0D108BD9-81ED-4DB2-BD59-A6C34878D82A}">
                    <a16:rowId xmlns:a16="http://schemas.microsoft.com/office/drawing/2014/main" val="2681137956"/>
                  </a:ext>
                </a:extLst>
              </a:tr>
              <a:tr h="335113">
                <a:tc>
                  <a:txBody>
                    <a:bodyPr/>
                    <a:lstStyle/>
                    <a:p>
                      <a:r>
                        <a:rPr lang="en-US" sz="1600"/>
                        <a:t>123abc</a:t>
                      </a:r>
                    </a:p>
                  </a:txBody>
                  <a:tcPr marL="89642" marR="89642" marT="44821" marB="44821"/>
                </a:tc>
                <a:tc>
                  <a:txBody>
                    <a:bodyPr/>
                    <a:lstStyle/>
                    <a:p>
                      <a:r>
                        <a:rPr lang="en-US" sz="1600"/>
                        <a:t>Ben6</a:t>
                      </a:r>
                    </a:p>
                  </a:txBody>
                  <a:tcPr marL="89642" marR="89642" marT="44821" marB="44821"/>
                </a:tc>
                <a:tc>
                  <a:txBody>
                    <a:bodyPr/>
                    <a:lstStyle/>
                    <a:p>
                      <a:r>
                        <a:rPr lang="en-US" sz="1600"/>
                        <a:t>6/17/17</a:t>
                      </a:r>
                    </a:p>
                  </a:txBody>
                  <a:tcPr marL="89642" marR="89642" marT="44821" marB="44821"/>
                </a:tc>
                <a:tc>
                  <a:txBody>
                    <a:bodyPr/>
                    <a:lstStyle/>
                    <a:p>
                      <a:endParaRPr lang="en-US" sz="1600"/>
                    </a:p>
                  </a:txBody>
                  <a:tcPr marL="89642" marR="89642" marT="44821" marB="44821"/>
                </a:tc>
                <a:extLst>
                  <a:ext uri="{0D108BD9-81ED-4DB2-BD59-A6C34878D82A}">
                    <a16:rowId xmlns:a16="http://schemas.microsoft.com/office/drawing/2014/main" val="23381889"/>
                  </a:ext>
                </a:extLst>
              </a:tr>
              <a:tr h="335113">
                <a:tc>
                  <a:txBody>
                    <a:bodyPr/>
                    <a:lstStyle/>
                    <a:p>
                      <a:r>
                        <a:rPr lang="en-US" sz="1600"/>
                        <a:t>456efg</a:t>
                      </a:r>
                    </a:p>
                  </a:txBody>
                  <a:tcPr marL="89642" marR="89642" marT="44821" marB="44821"/>
                </a:tc>
                <a:tc>
                  <a:txBody>
                    <a:bodyPr/>
                    <a:lstStyle/>
                    <a:p>
                      <a:r>
                        <a:rPr lang="en-US" sz="1600"/>
                        <a:t>Ben6</a:t>
                      </a:r>
                    </a:p>
                  </a:txBody>
                  <a:tcPr marL="89642" marR="89642" marT="44821" marB="44821"/>
                </a:tc>
                <a:tc>
                  <a:txBody>
                    <a:bodyPr/>
                    <a:lstStyle/>
                    <a:p>
                      <a:r>
                        <a:rPr lang="en-US" sz="1600"/>
                        <a:t>3/14/17</a:t>
                      </a:r>
                    </a:p>
                  </a:txBody>
                  <a:tcPr marL="89642" marR="89642" marT="44821" marB="44821"/>
                </a:tc>
                <a:tc>
                  <a:txBody>
                    <a:bodyPr/>
                    <a:lstStyle/>
                    <a:p>
                      <a:endParaRPr lang="en-US" sz="1600"/>
                    </a:p>
                  </a:txBody>
                  <a:tcPr marL="89642" marR="89642" marT="44821" marB="44821"/>
                </a:tc>
                <a:extLst>
                  <a:ext uri="{0D108BD9-81ED-4DB2-BD59-A6C34878D82A}">
                    <a16:rowId xmlns:a16="http://schemas.microsoft.com/office/drawing/2014/main" val="910572605"/>
                  </a:ext>
                </a:extLst>
              </a:tr>
              <a:tr h="335113">
                <a:tc>
                  <a:txBody>
                    <a:bodyPr/>
                    <a:lstStyle/>
                    <a:p>
                      <a:r>
                        <a:rPr lang="en-US" sz="1600"/>
                        <a:t>789hij</a:t>
                      </a:r>
                    </a:p>
                  </a:txBody>
                  <a:tcPr marL="89642" marR="89642" marT="44821" marB="44821"/>
                </a:tc>
                <a:tc>
                  <a:txBody>
                    <a:bodyPr/>
                    <a:lstStyle/>
                    <a:p>
                      <a:r>
                        <a:rPr lang="en-US" sz="1600"/>
                        <a:t>Jen4</a:t>
                      </a:r>
                    </a:p>
                  </a:txBody>
                  <a:tcPr marL="89642" marR="89642" marT="44821" marB="44821"/>
                </a:tc>
                <a:tc>
                  <a:txBody>
                    <a:bodyPr/>
                    <a:lstStyle/>
                    <a:p>
                      <a:r>
                        <a:rPr lang="en-US" sz="1600"/>
                        <a:t>8/1/16</a:t>
                      </a:r>
                    </a:p>
                  </a:txBody>
                  <a:tcPr marL="89642" marR="89642" marT="44821" marB="44821"/>
                </a:tc>
                <a:tc>
                  <a:txBody>
                    <a:bodyPr/>
                    <a:lstStyle/>
                    <a:p>
                      <a:endParaRPr lang="en-US" sz="1600"/>
                    </a:p>
                  </a:txBody>
                  <a:tcPr marL="89642" marR="89642" marT="44821" marB="44821"/>
                </a:tc>
                <a:extLst>
                  <a:ext uri="{0D108BD9-81ED-4DB2-BD59-A6C34878D82A}">
                    <a16:rowId xmlns:a16="http://schemas.microsoft.com/office/drawing/2014/main" val="1375666439"/>
                  </a:ext>
                </a:extLst>
              </a:tr>
              <a:tr h="335113">
                <a:tc>
                  <a:txBody>
                    <a:bodyPr/>
                    <a:lstStyle/>
                    <a:p>
                      <a:r>
                        <a:rPr lang="en-US" sz="1600"/>
                        <a:t>012klm</a:t>
                      </a:r>
                    </a:p>
                  </a:txBody>
                  <a:tcPr marL="89642" marR="89642" marT="44821" marB="44821"/>
                </a:tc>
                <a:tc>
                  <a:txBody>
                    <a:bodyPr/>
                    <a:lstStyle/>
                    <a:p>
                      <a:r>
                        <a:rPr lang="en-US" sz="1600"/>
                        <a:t>Joe3</a:t>
                      </a:r>
                    </a:p>
                  </a:txBody>
                  <a:tcPr marL="89642" marR="89642" marT="44821" marB="44821"/>
                </a:tc>
                <a:tc>
                  <a:txBody>
                    <a:bodyPr/>
                    <a:lstStyle/>
                    <a:p>
                      <a:r>
                        <a:rPr lang="en-US" sz="1600"/>
                        <a:t>3/4/17</a:t>
                      </a:r>
                    </a:p>
                  </a:txBody>
                  <a:tcPr marL="89642" marR="89642" marT="44821" marB="44821"/>
                </a:tc>
                <a:tc>
                  <a:txBody>
                    <a:bodyPr/>
                    <a:lstStyle/>
                    <a:p>
                      <a:endParaRPr lang="en-US" sz="1600"/>
                    </a:p>
                  </a:txBody>
                  <a:tcPr marL="89642" marR="89642" marT="44821" marB="44821"/>
                </a:tc>
                <a:extLst>
                  <a:ext uri="{0D108BD9-81ED-4DB2-BD59-A6C34878D82A}">
                    <a16:rowId xmlns:a16="http://schemas.microsoft.com/office/drawing/2014/main" val="177662649"/>
                  </a:ext>
                </a:extLst>
              </a:tr>
            </a:tbl>
          </a:graphicData>
        </a:graphic>
      </p:graphicFrame>
      <p:sp>
        <p:nvSpPr>
          <p:cNvPr id="5" name="Rectangle: Rounded Corners 4">
            <a:extLst>
              <a:ext uri="{FF2B5EF4-FFF2-40B4-BE49-F238E27FC236}">
                <a16:creationId xmlns:a16="http://schemas.microsoft.com/office/drawing/2014/main" id="{8679C08C-C1E1-4991-BB6C-062ECAC61120}"/>
              </a:ext>
            </a:extLst>
          </p:cNvPr>
          <p:cNvSpPr/>
          <p:nvPr/>
        </p:nvSpPr>
        <p:spPr bwMode="auto">
          <a:xfrm>
            <a:off x="5423681" y="2087928"/>
            <a:ext cx="2091658" cy="634655"/>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2353">
                <a:gradFill>
                  <a:gsLst>
                    <a:gs pos="0">
                      <a:srgbClr val="FFFFFF"/>
                    </a:gs>
                    <a:gs pos="100000">
                      <a:srgbClr val="FFFFFF"/>
                    </a:gs>
                  </a:gsLst>
                  <a:lin ang="5400000" scaled="0"/>
                </a:gradFill>
                <a:latin typeface="Segoe UI Semilight"/>
                <a:ea typeface="Segoe UI" pitchFamily="34" charset="0"/>
                <a:cs typeface="Segoe UI" pitchFamily="34" charset="0"/>
              </a:rPr>
              <a:t>Application</a:t>
            </a:r>
          </a:p>
        </p:txBody>
      </p:sp>
      <p:cxnSp>
        <p:nvCxnSpPr>
          <p:cNvPr id="7" name="Straight Arrow Connector 6">
            <a:extLst>
              <a:ext uri="{FF2B5EF4-FFF2-40B4-BE49-F238E27FC236}">
                <a16:creationId xmlns:a16="http://schemas.microsoft.com/office/drawing/2014/main" id="{B2944BDD-0709-489D-B35F-5D958DD92A20}"/>
              </a:ext>
            </a:extLst>
          </p:cNvPr>
          <p:cNvCxnSpPr>
            <a:cxnSpLocks/>
          </p:cNvCxnSpPr>
          <p:nvPr/>
        </p:nvCxnSpPr>
        <p:spPr>
          <a:xfrm flipH="1">
            <a:off x="4564609" y="2852601"/>
            <a:ext cx="1120531" cy="694503"/>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 name="Rectangle: Rounded Corners 7">
            <a:extLst>
              <a:ext uri="{FF2B5EF4-FFF2-40B4-BE49-F238E27FC236}">
                <a16:creationId xmlns:a16="http://schemas.microsoft.com/office/drawing/2014/main" id="{C0425A60-9289-49AC-B2C7-491112C68321}"/>
              </a:ext>
            </a:extLst>
          </p:cNvPr>
          <p:cNvSpPr/>
          <p:nvPr/>
        </p:nvSpPr>
        <p:spPr bwMode="auto">
          <a:xfrm>
            <a:off x="940003" y="3612468"/>
            <a:ext cx="4110169" cy="2211493"/>
          </a:xfrm>
          <a:prstGeom prst="roundRect">
            <a:avLst/>
          </a:prstGeom>
          <a:noFill/>
          <a:ln w="19050">
            <a:solidFill>
              <a:schemeClr val="accent5">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noFill/>
              <a:latin typeface="Segoe UI Semilight"/>
              <a:ea typeface="Segoe UI" pitchFamily="34" charset="0"/>
              <a:cs typeface="Segoe UI" pitchFamily="34" charset="0"/>
            </a:endParaRPr>
          </a:p>
        </p:txBody>
      </p:sp>
      <p:pic>
        <p:nvPicPr>
          <p:cNvPr id="10" name="Picture 9">
            <a:extLst>
              <a:ext uri="{FF2B5EF4-FFF2-40B4-BE49-F238E27FC236}">
                <a16:creationId xmlns:a16="http://schemas.microsoft.com/office/drawing/2014/main" id="{E5C30782-9960-48A3-845E-37E8E14D78EE}"/>
              </a:ext>
            </a:extLst>
          </p:cNvPr>
          <p:cNvPicPr>
            <a:picLocks noChangeAspect="1"/>
          </p:cNvPicPr>
          <p:nvPr/>
        </p:nvPicPr>
        <p:blipFill>
          <a:blip r:embed="rId3"/>
          <a:stretch>
            <a:fillRect/>
          </a:stretch>
        </p:blipFill>
        <p:spPr>
          <a:xfrm>
            <a:off x="1349289" y="2893177"/>
            <a:ext cx="698811" cy="641970"/>
          </a:xfrm>
          <a:prstGeom prst="rect">
            <a:avLst/>
          </a:prstGeom>
        </p:spPr>
      </p:pic>
      <p:sp>
        <p:nvSpPr>
          <p:cNvPr id="11" name="TextBox 10">
            <a:extLst>
              <a:ext uri="{FF2B5EF4-FFF2-40B4-BE49-F238E27FC236}">
                <a16:creationId xmlns:a16="http://schemas.microsoft.com/office/drawing/2014/main" id="{E83ABA7E-B87E-4072-997A-AC9A2BE7A7B0}"/>
              </a:ext>
            </a:extLst>
          </p:cNvPr>
          <p:cNvSpPr txBox="1"/>
          <p:nvPr/>
        </p:nvSpPr>
        <p:spPr>
          <a:xfrm>
            <a:off x="2040319" y="2987463"/>
            <a:ext cx="1909537" cy="615522"/>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2353">
                <a:gradFill>
                  <a:gsLst>
                    <a:gs pos="2917">
                      <a:srgbClr val="353535"/>
                    </a:gs>
                    <a:gs pos="30000">
                      <a:srgbClr val="353535"/>
                    </a:gs>
                  </a:gsLst>
                  <a:lin ang="5400000" scaled="0"/>
                </a:gradFill>
                <a:latin typeface="Segoe UI Semilight"/>
              </a:rPr>
              <a:t>Cosmos DB</a:t>
            </a:r>
          </a:p>
        </p:txBody>
      </p:sp>
      <p:pic>
        <p:nvPicPr>
          <p:cNvPr id="13" name="Picture 12">
            <a:extLst>
              <a:ext uri="{FF2B5EF4-FFF2-40B4-BE49-F238E27FC236}">
                <a16:creationId xmlns:a16="http://schemas.microsoft.com/office/drawing/2014/main" id="{E5A409C5-8607-420D-933C-5F8BDB149F9F}"/>
              </a:ext>
            </a:extLst>
          </p:cNvPr>
          <p:cNvPicPr>
            <a:picLocks noChangeAspect="1"/>
          </p:cNvPicPr>
          <p:nvPr/>
        </p:nvPicPr>
        <p:blipFill>
          <a:blip r:embed="rId4"/>
          <a:stretch>
            <a:fillRect/>
          </a:stretch>
        </p:blipFill>
        <p:spPr>
          <a:xfrm>
            <a:off x="5974609" y="3841242"/>
            <a:ext cx="989802" cy="2157022"/>
          </a:xfrm>
          <a:prstGeom prst="rect">
            <a:avLst/>
          </a:prstGeom>
        </p:spPr>
      </p:pic>
      <p:cxnSp>
        <p:nvCxnSpPr>
          <p:cNvPr id="16" name="Straight Arrow Connector 15">
            <a:extLst>
              <a:ext uri="{FF2B5EF4-FFF2-40B4-BE49-F238E27FC236}">
                <a16:creationId xmlns:a16="http://schemas.microsoft.com/office/drawing/2014/main" id="{BED769C9-D847-45E0-879B-ADBAF7DCA20A}"/>
              </a:ext>
            </a:extLst>
          </p:cNvPr>
          <p:cNvCxnSpPr>
            <a:cxnSpLocks/>
            <a:stCxn id="8" idx="3"/>
            <a:endCxn id="13" idx="1"/>
          </p:cNvCxnSpPr>
          <p:nvPr/>
        </p:nvCxnSpPr>
        <p:spPr>
          <a:xfrm>
            <a:off x="5050172" y="4718214"/>
            <a:ext cx="924438" cy="20154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aphicFrame>
        <p:nvGraphicFramePr>
          <p:cNvPr id="19" name="Table 18">
            <a:extLst>
              <a:ext uri="{FF2B5EF4-FFF2-40B4-BE49-F238E27FC236}">
                <a16:creationId xmlns:a16="http://schemas.microsoft.com/office/drawing/2014/main" id="{CA3A6ADA-F5EA-4184-B750-152C09876404}"/>
              </a:ext>
            </a:extLst>
          </p:cNvPr>
          <p:cNvGraphicFramePr>
            <a:graphicFrameLocks noGrp="1"/>
          </p:cNvGraphicFramePr>
          <p:nvPr>
            <p:extLst/>
          </p:nvPr>
        </p:nvGraphicFramePr>
        <p:xfrm>
          <a:off x="7888851" y="4166910"/>
          <a:ext cx="2353113" cy="1304147"/>
        </p:xfrm>
        <a:graphic>
          <a:graphicData uri="http://schemas.openxmlformats.org/drawingml/2006/table">
            <a:tbl>
              <a:tblPr firstRow="1" bandRow="1">
                <a:tableStyleId>{5A111915-BE36-4E01-A7E5-04B1672EAD32}</a:tableStyleId>
              </a:tblPr>
              <a:tblGrid>
                <a:gridCol w="784370">
                  <a:extLst>
                    <a:ext uri="{9D8B030D-6E8A-4147-A177-3AD203B41FA5}">
                      <a16:colId xmlns:a16="http://schemas.microsoft.com/office/drawing/2014/main" val="4232046326"/>
                    </a:ext>
                  </a:extLst>
                </a:gridCol>
                <a:gridCol w="1568743">
                  <a:extLst>
                    <a:ext uri="{9D8B030D-6E8A-4147-A177-3AD203B41FA5}">
                      <a16:colId xmlns:a16="http://schemas.microsoft.com/office/drawing/2014/main" val="3171829340"/>
                    </a:ext>
                  </a:extLst>
                </a:gridCol>
              </a:tblGrid>
              <a:tr h="298808">
                <a:tc>
                  <a:txBody>
                    <a:bodyPr/>
                    <a:lstStyle/>
                    <a:p>
                      <a:r>
                        <a:rPr lang="en-US" sz="1200"/>
                        <a:t>User</a:t>
                      </a:r>
                    </a:p>
                  </a:txBody>
                  <a:tcPr marL="89642" marR="89642" marT="44821" marB="44821"/>
                </a:tc>
                <a:tc>
                  <a:txBody>
                    <a:bodyPr/>
                    <a:lstStyle/>
                    <a:p>
                      <a:r>
                        <a:rPr lang="en-US" sz="1200"/>
                        <a:t>Total Subscriptions</a:t>
                      </a:r>
                    </a:p>
                  </a:txBody>
                  <a:tcPr marL="89642" marR="89642" marT="44821" marB="44821"/>
                </a:tc>
                <a:extLst>
                  <a:ext uri="{0D108BD9-81ED-4DB2-BD59-A6C34878D82A}">
                    <a16:rowId xmlns:a16="http://schemas.microsoft.com/office/drawing/2014/main" val="2681137956"/>
                  </a:ext>
                </a:extLst>
              </a:tr>
              <a:tr h="335113">
                <a:tc>
                  <a:txBody>
                    <a:bodyPr/>
                    <a:lstStyle/>
                    <a:p>
                      <a:r>
                        <a:rPr lang="en-US" sz="1600"/>
                        <a:t>Ben6</a:t>
                      </a:r>
                    </a:p>
                  </a:txBody>
                  <a:tcPr marL="89642" marR="89642" marT="44821" marB="44821"/>
                </a:tc>
                <a:tc>
                  <a:txBody>
                    <a:bodyPr/>
                    <a:lstStyle/>
                    <a:p>
                      <a:r>
                        <a:rPr lang="en-US" sz="1600"/>
                        <a:t>2</a:t>
                      </a:r>
                    </a:p>
                  </a:txBody>
                  <a:tcPr marL="89642" marR="89642" marT="44821" marB="44821"/>
                </a:tc>
                <a:extLst>
                  <a:ext uri="{0D108BD9-81ED-4DB2-BD59-A6C34878D82A}">
                    <a16:rowId xmlns:a16="http://schemas.microsoft.com/office/drawing/2014/main" val="23381889"/>
                  </a:ext>
                </a:extLst>
              </a:tr>
              <a:tr h="335113">
                <a:tc>
                  <a:txBody>
                    <a:bodyPr/>
                    <a:lstStyle/>
                    <a:p>
                      <a:r>
                        <a:rPr lang="en-US" sz="1600"/>
                        <a:t>Jen4</a:t>
                      </a:r>
                    </a:p>
                  </a:txBody>
                  <a:tcPr marL="89642" marR="89642" marT="44821" marB="44821"/>
                </a:tc>
                <a:tc>
                  <a:txBody>
                    <a:bodyPr/>
                    <a:lstStyle/>
                    <a:p>
                      <a:r>
                        <a:rPr lang="en-US" sz="1600"/>
                        <a:t>1</a:t>
                      </a:r>
                    </a:p>
                  </a:txBody>
                  <a:tcPr marL="89642" marR="89642" marT="44821" marB="44821"/>
                </a:tc>
                <a:extLst>
                  <a:ext uri="{0D108BD9-81ED-4DB2-BD59-A6C34878D82A}">
                    <a16:rowId xmlns:a16="http://schemas.microsoft.com/office/drawing/2014/main" val="910572605"/>
                  </a:ext>
                </a:extLst>
              </a:tr>
              <a:tr h="335113">
                <a:tc>
                  <a:txBody>
                    <a:bodyPr/>
                    <a:lstStyle/>
                    <a:p>
                      <a:r>
                        <a:rPr lang="en-US" sz="1600"/>
                        <a:t>Joe3</a:t>
                      </a:r>
                    </a:p>
                  </a:txBody>
                  <a:tcPr marL="89642" marR="89642" marT="44821" marB="44821"/>
                </a:tc>
                <a:tc>
                  <a:txBody>
                    <a:bodyPr/>
                    <a:lstStyle/>
                    <a:p>
                      <a:r>
                        <a:rPr lang="en-US" sz="1600"/>
                        <a:t>1</a:t>
                      </a:r>
                    </a:p>
                  </a:txBody>
                  <a:tcPr marL="89642" marR="89642" marT="44821" marB="44821"/>
                </a:tc>
                <a:extLst>
                  <a:ext uri="{0D108BD9-81ED-4DB2-BD59-A6C34878D82A}">
                    <a16:rowId xmlns:a16="http://schemas.microsoft.com/office/drawing/2014/main" val="1375666439"/>
                  </a:ext>
                </a:extLst>
              </a:tr>
            </a:tbl>
          </a:graphicData>
        </a:graphic>
      </p:graphicFrame>
      <p:cxnSp>
        <p:nvCxnSpPr>
          <p:cNvPr id="22" name="Straight Arrow Connector 21">
            <a:extLst>
              <a:ext uri="{FF2B5EF4-FFF2-40B4-BE49-F238E27FC236}">
                <a16:creationId xmlns:a16="http://schemas.microsoft.com/office/drawing/2014/main" id="{3864543E-341C-44C4-811C-ECA4F9C12226}"/>
              </a:ext>
            </a:extLst>
          </p:cNvPr>
          <p:cNvCxnSpPr>
            <a:cxnSpLocks/>
            <a:stCxn id="13" idx="3"/>
          </p:cNvCxnSpPr>
          <p:nvPr/>
        </p:nvCxnSpPr>
        <p:spPr>
          <a:xfrm flipV="1">
            <a:off x="6964412" y="4818983"/>
            <a:ext cx="775034" cy="10077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4" name="Rectangle: Rounded Corners 23">
            <a:extLst>
              <a:ext uri="{FF2B5EF4-FFF2-40B4-BE49-F238E27FC236}">
                <a16:creationId xmlns:a16="http://schemas.microsoft.com/office/drawing/2014/main" id="{31340B57-9D34-4CC9-BD54-CC0E147F88D8}"/>
              </a:ext>
            </a:extLst>
          </p:cNvPr>
          <p:cNvSpPr/>
          <p:nvPr/>
        </p:nvSpPr>
        <p:spPr bwMode="auto">
          <a:xfrm>
            <a:off x="7739446" y="4031112"/>
            <a:ext cx="2689274" cy="1643445"/>
          </a:xfrm>
          <a:prstGeom prst="roundRect">
            <a:avLst/>
          </a:prstGeom>
          <a:noFill/>
          <a:ln w="19050">
            <a:solidFill>
              <a:schemeClr val="accent5">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noFill/>
              <a:latin typeface="Segoe UI Semilight"/>
              <a:ea typeface="Segoe UI" pitchFamily="34" charset="0"/>
              <a:cs typeface="Segoe UI" pitchFamily="34" charset="0"/>
            </a:endParaRPr>
          </a:p>
        </p:txBody>
      </p:sp>
      <p:sp>
        <p:nvSpPr>
          <p:cNvPr id="25" name="TextBox 24">
            <a:extLst>
              <a:ext uri="{FF2B5EF4-FFF2-40B4-BE49-F238E27FC236}">
                <a16:creationId xmlns:a16="http://schemas.microsoft.com/office/drawing/2014/main" id="{194DFB11-0F1C-4CD3-9678-E3495872AD28}"/>
              </a:ext>
            </a:extLst>
          </p:cNvPr>
          <p:cNvSpPr txBox="1"/>
          <p:nvPr/>
        </p:nvSpPr>
        <p:spPr>
          <a:xfrm>
            <a:off x="8038254" y="3574214"/>
            <a:ext cx="2091658" cy="534056"/>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1765">
                <a:gradFill>
                  <a:gsLst>
                    <a:gs pos="2917">
                      <a:srgbClr val="353535"/>
                    </a:gs>
                    <a:gs pos="30000">
                      <a:srgbClr val="353535"/>
                    </a:gs>
                  </a:gsLst>
                  <a:lin ang="5400000" scaled="0"/>
                </a:gradFill>
                <a:latin typeface="Segoe UI Semilight"/>
              </a:rPr>
              <a:t>Materialized View</a:t>
            </a:r>
          </a:p>
        </p:txBody>
      </p:sp>
      <p:cxnSp>
        <p:nvCxnSpPr>
          <p:cNvPr id="27" name="Straight Arrow Connector 26">
            <a:extLst>
              <a:ext uri="{FF2B5EF4-FFF2-40B4-BE49-F238E27FC236}">
                <a16:creationId xmlns:a16="http://schemas.microsoft.com/office/drawing/2014/main" id="{F304698E-0E8A-411C-BEF8-13F953F9DD36}"/>
              </a:ext>
            </a:extLst>
          </p:cNvPr>
          <p:cNvCxnSpPr>
            <a:cxnSpLocks/>
          </p:cNvCxnSpPr>
          <p:nvPr/>
        </p:nvCxnSpPr>
        <p:spPr>
          <a:xfrm flipH="1" flipV="1">
            <a:off x="7541797" y="2891555"/>
            <a:ext cx="1243479" cy="65554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3528552"/>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FC8348-5A8D-4DD5-9DAD-FBFAAD438E51}"/>
              </a:ext>
            </a:extLst>
          </p:cNvPr>
          <p:cNvSpPr>
            <a:spLocks noGrp="1"/>
          </p:cNvSpPr>
          <p:nvPr>
            <p:ph type="title" idx="4294967295"/>
          </p:nvPr>
        </p:nvSpPr>
        <p:spPr>
          <a:xfrm>
            <a:off x="536923" y="518559"/>
            <a:ext cx="11655078" cy="899537"/>
          </a:xfrm>
        </p:spPr>
        <p:txBody>
          <a:bodyPr/>
          <a:lstStyle/>
          <a:p>
            <a:r>
              <a:rPr lang="en-US" dirty="0"/>
              <a:t>Replicating Data</a:t>
            </a:r>
          </a:p>
        </p:txBody>
      </p:sp>
      <p:pic>
        <p:nvPicPr>
          <p:cNvPr id="4" name="Picture 3">
            <a:extLst>
              <a:ext uri="{FF2B5EF4-FFF2-40B4-BE49-F238E27FC236}">
                <a16:creationId xmlns:a16="http://schemas.microsoft.com/office/drawing/2014/main" id="{EF284D3F-A8E3-420B-8773-57299A6A6D5A}"/>
              </a:ext>
            </a:extLst>
          </p:cNvPr>
          <p:cNvPicPr>
            <a:picLocks noChangeAspect="1"/>
          </p:cNvPicPr>
          <p:nvPr/>
        </p:nvPicPr>
        <p:blipFill>
          <a:blip r:embed="rId3"/>
          <a:stretch>
            <a:fillRect/>
          </a:stretch>
        </p:blipFill>
        <p:spPr>
          <a:xfrm>
            <a:off x="3780237" y="3484287"/>
            <a:ext cx="1195233" cy="1098013"/>
          </a:xfrm>
          <a:prstGeom prst="rect">
            <a:avLst/>
          </a:prstGeom>
        </p:spPr>
      </p:pic>
      <p:sp>
        <p:nvSpPr>
          <p:cNvPr id="5" name="Rectangle: Rounded Corners 4">
            <a:extLst>
              <a:ext uri="{FF2B5EF4-FFF2-40B4-BE49-F238E27FC236}">
                <a16:creationId xmlns:a16="http://schemas.microsoft.com/office/drawing/2014/main" id="{CCE0B4C1-0CF5-4AA0-BE04-2B251BCF925B}"/>
              </a:ext>
            </a:extLst>
          </p:cNvPr>
          <p:cNvSpPr/>
          <p:nvPr/>
        </p:nvSpPr>
        <p:spPr bwMode="auto">
          <a:xfrm>
            <a:off x="3406725" y="3037890"/>
            <a:ext cx="1942254" cy="2091658"/>
          </a:xfrm>
          <a:prstGeom prst="roundRect">
            <a:avLst/>
          </a:prstGeom>
          <a:no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8" name="Picture 7">
            <a:extLst>
              <a:ext uri="{FF2B5EF4-FFF2-40B4-BE49-F238E27FC236}">
                <a16:creationId xmlns:a16="http://schemas.microsoft.com/office/drawing/2014/main" id="{97EBDD36-0460-4B8F-8F41-3CDA72AF9111}"/>
              </a:ext>
            </a:extLst>
          </p:cNvPr>
          <p:cNvPicPr>
            <a:picLocks noChangeAspect="1"/>
          </p:cNvPicPr>
          <p:nvPr/>
        </p:nvPicPr>
        <p:blipFill>
          <a:blip r:embed="rId4"/>
          <a:stretch>
            <a:fillRect/>
          </a:stretch>
        </p:blipFill>
        <p:spPr>
          <a:xfrm>
            <a:off x="6150470" y="3007696"/>
            <a:ext cx="989802" cy="2157022"/>
          </a:xfrm>
          <a:prstGeom prst="rect">
            <a:avLst/>
          </a:prstGeom>
        </p:spPr>
      </p:pic>
      <p:sp>
        <p:nvSpPr>
          <p:cNvPr id="10" name="TextBox 9">
            <a:extLst>
              <a:ext uri="{FF2B5EF4-FFF2-40B4-BE49-F238E27FC236}">
                <a16:creationId xmlns:a16="http://schemas.microsoft.com/office/drawing/2014/main" id="{ECE4B16D-8983-4E7A-A6C0-D7D0D4D38127}"/>
              </a:ext>
            </a:extLst>
          </p:cNvPr>
          <p:cNvSpPr txBox="1"/>
          <p:nvPr/>
        </p:nvSpPr>
        <p:spPr>
          <a:xfrm>
            <a:off x="6630587" y="553836"/>
            <a:ext cx="4983053" cy="615522"/>
          </a:xfrm>
          <a:prstGeom prst="rect">
            <a:avLst/>
          </a:prstGeom>
          <a:noFill/>
        </p:spPr>
        <p:txBody>
          <a:bodyPr wrap="square" lIns="179285" tIns="143428" rIns="179285" bIns="143428" rtlCol="0">
            <a:spAutoFit/>
          </a:bodyPr>
          <a:lstStyle/>
          <a:p>
            <a:pPr defTabSz="914367">
              <a:lnSpc>
                <a:spcPct val="90000"/>
              </a:lnSpc>
              <a:spcAft>
                <a:spcPts val="588"/>
              </a:spcAft>
              <a:defRPr/>
            </a:pPr>
            <a:r>
              <a:rPr lang="en-US" sz="2353" dirty="0">
                <a:gradFill>
                  <a:gsLst>
                    <a:gs pos="2917">
                      <a:srgbClr val="353535"/>
                    </a:gs>
                    <a:gs pos="30000">
                      <a:srgbClr val="353535"/>
                    </a:gs>
                  </a:gsLst>
                  <a:lin ang="5400000" scaled="0"/>
                </a:gradFill>
                <a:latin typeface="Segoe UI Semilight"/>
              </a:rPr>
              <a:t>Secondary Datastore (e.g. archive)</a:t>
            </a:r>
          </a:p>
        </p:txBody>
      </p:sp>
      <p:cxnSp>
        <p:nvCxnSpPr>
          <p:cNvPr id="12" name="Straight Arrow Connector 11">
            <a:extLst>
              <a:ext uri="{FF2B5EF4-FFF2-40B4-BE49-F238E27FC236}">
                <a16:creationId xmlns:a16="http://schemas.microsoft.com/office/drawing/2014/main" id="{40D89B61-AE44-495C-9368-1AC29DB1B3F2}"/>
              </a:ext>
            </a:extLst>
          </p:cNvPr>
          <p:cNvCxnSpPr>
            <a:cxnSpLocks/>
          </p:cNvCxnSpPr>
          <p:nvPr/>
        </p:nvCxnSpPr>
        <p:spPr>
          <a:xfrm>
            <a:off x="2211493" y="4059284"/>
            <a:ext cx="1006158"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45CF6C03-21D1-42DE-8991-2923A8007EFB}"/>
              </a:ext>
            </a:extLst>
          </p:cNvPr>
          <p:cNvCxnSpPr>
            <a:cxnSpLocks/>
          </p:cNvCxnSpPr>
          <p:nvPr/>
        </p:nvCxnSpPr>
        <p:spPr>
          <a:xfrm>
            <a:off x="5404228" y="4083721"/>
            <a:ext cx="801490" cy="248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58F0AED3-97F9-4313-80B5-38AED04DAE89}"/>
              </a:ext>
            </a:extLst>
          </p:cNvPr>
          <p:cNvSpPr txBox="1"/>
          <p:nvPr/>
        </p:nvSpPr>
        <p:spPr>
          <a:xfrm>
            <a:off x="1552438" y="3648218"/>
            <a:ext cx="1537547" cy="534056"/>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765" i="1">
                <a:gradFill>
                  <a:gsLst>
                    <a:gs pos="2917">
                      <a:srgbClr val="353535"/>
                    </a:gs>
                    <a:gs pos="30000">
                      <a:srgbClr val="353535"/>
                    </a:gs>
                  </a:gsLst>
                  <a:lin ang="5400000" scaled="0"/>
                </a:gradFill>
                <a:latin typeface="Segoe UI Semilight"/>
              </a:rPr>
              <a:t>CRUD Data </a:t>
            </a:r>
          </a:p>
        </p:txBody>
      </p:sp>
      <p:sp>
        <p:nvSpPr>
          <p:cNvPr id="39" name="TextBox 38">
            <a:extLst>
              <a:ext uri="{FF2B5EF4-FFF2-40B4-BE49-F238E27FC236}">
                <a16:creationId xmlns:a16="http://schemas.microsoft.com/office/drawing/2014/main" id="{874BC51B-D8E2-4238-BD83-6FC304026EAC}"/>
              </a:ext>
            </a:extLst>
          </p:cNvPr>
          <p:cNvSpPr txBox="1"/>
          <p:nvPr/>
        </p:nvSpPr>
        <p:spPr>
          <a:xfrm>
            <a:off x="6076844" y="2543837"/>
            <a:ext cx="2021378" cy="534056"/>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765" i="1" dirty="0">
                <a:gradFill>
                  <a:gsLst>
                    <a:gs pos="2917">
                      <a:srgbClr val="353535"/>
                    </a:gs>
                    <a:gs pos="30000">
                      <a:srgbClr val="353535"/>
                    </a:gs>
                  </a:gsLst>
                  <a:lin ang="5400000" scaled="0"/>
                </a:gradFill>
                <a:latin typeface="Segoe UI Semilight"/>
              </a:rPr>
              <a:t>Replicate Records</a:t>
            </a:r>
          </a:p>
        </p:txBody>
      </p:sp>
      <p:grpSp>
        <p:nvGrpSpPr>
          <p:cNvPr id="34" name="Group 33">
            <a:extLst>
              <a:ext uri="{FF2B5EF4-FFF2-40B4-BE49-F238E27FC236}">
                <a16:creationId xmlns:a16="http://schemas.microsoft.com/office/drawing/2014/main" id="{75D15B76-BB4D-4E54-8179-1C70A3524E15}"/>
              </a:ext>
            </a:extLst>
          </p:cNvPr>
          <p:cNvGrpSpPr/>
          <p:nvPr/>
        </p:nvGrpSpPr>
        <p:grpSpPr>
          <a:xfrm>
            <a:off x="8139413" y="1285810"/>
            <a:ext cx="1870665" cy="5059509"/>
            <a:chOff x="7007224" y="1077911"/>
            <a:chExt cx="1908176" cy="5160963"/>
          </a:xfrm>
        </p:grpSpPr>
        <p:sp>
          <p:nvSpPr>
            <p:cNvPr id="7" name="Rectangle: Rounded Corners 6">
              <a:extLst>
                <a:ext uri="{FF2B5EF4-FFF2-40B4-BE49-F238E27FC236}">
                  <a16:creationId xmlns:a16="http://schemas.microsoft.com/office/drawing/2014/main" id="{FA689121-D7AD-4CD1-AD41-3648A342E7D0}"/>
                </a:ext>
              </a:extLst>
            </p:cNvPr>
            <p:cNvSpPr/>
            <p:nvPr/>
          </p:nvSpPr>
          <p:spPr bwMode="auto">
            <a:xfrm>
              <a:off x="7007224" y="1077911"/>
              <a:ext cx="1908176" cy="5160963"/>
            </a:xfrm>
            <a:prstGeom prst="roundRect">
              <a:avLst/>
            </a:prstGeom>
            <a:no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9" name="Graphic 18">
              <a:extLst>
                <a:ext uri="{FF2B5EF4-FFF2-40B4-BE49-F238E27FC236}">
                  <a16:creationId xmlns:a16="http://schemas.microsoft.com/office/drawing/2014/main" id="{5307655A-29DB-4C89-BC74-8340EDEA5F3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00169" y="4518533"/>
              <a:ext cx="998485" cy="998485"/>
            </a:xfrm>
            <a:prstGeom prst="rect">
              <a:avLst/>
            </a:prstGeom>
          </p:spPr>
        </p:pic>
        <p:pic>
          <p:nvPicPr>
            <p:cNvPr id="31" name="Graphic 30">
              <a:extLst>
                <a:ext uri="{FF2B5EF4-FFF2-40B4-BE49-F238E27FC236}">
                  <a16:creationId xmlns:a16="http://schemas.microsoft.com/office/drawing/2014/main" id="{7BD3066E-D80A-4FA8-8BFB-B8F007D3835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370884" y="2916119"/>
              <a:ext cx="1257056" cy="1257056"/>
            </a:xfrm>
            <a:prstGeom prst="rect">
              <a:avLst/>
            </a:prstGeom>
          </p:spPr>
        </p:pic>
        <p:pic>
          <p:nvPicPr>
            <p:cNvPr id="44" name="Picture 43">
              <a:extLst>
                <a:ext uri="{FF2B5EF4-FFF2-40B4-BE49-F238E27FC236}">
                  <a16:creationId xmlns:a16="http://schemas.microsoft.com/office/drawing/2014/main" id="{3D186530-40BF-4E83-BBA1-A0770349CCA3}"/>
                </a:ext>
              </a:extLst>
            </p:cNvPr>
            <p:cNvPicPr>
              <a:picLocks noChangeAspect="1"/>
            </p:cNvPicPr>
            <p:nvPr/>
          </p:nvPicPr>
          <p:blipFill>
            <a:blip r:embed="rId3"/>
            <a:stretch>
              <a:fillRect/>
            </a:stretch>
          </p:blipFill>
          <p:spPr>
            <a:xfrm>
              <a:off x="7370884" y="1382421"/>
              <a:ext cx="1219200" cy="1120030"/>
            </a:xfrm>
            <a:prstGeom prst="rect">
              <a:avLst/>
            </a:prstGeom>
          </p:spPr>
        </p:pic>
      </p:grpSp>
      <p:cxnSp>
        <p:nvCxnSpPr>
          <p:cNvPr id="49" name="Straight Arrow Connector 48">
            <a:extLst>
              <a:ext uri="{FF2B5EF4-FFF2-40B4-BE49-F238E27FC236}">
                <a16:creationId xmlns:a16="http://schemas.microsoft.com/office/drawing/2014/main" id="{3C30A35B-DF42-43DC-BB40-E041746B2BAC}"/>
              </a:ext>
            </a:extLst>
          </p:cNvPr>
          <p:cNvCxnSpPr>
            <a:cxnSpLocks/>
          </p:cNvCxnSpPr>
          <p:nvPr/>
        </p:nvCxnSpPr>
        <p:spPr>
          <a:xfrm>
            <a:off x="7173732" y="4065045"/>
            <a:ext cx="801490" cy="248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5865910"/>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12642A9D-3D27-400A-9844-7377154DD181}"/>
              </a:ext>
            </a:extLst>
          </p:cNvPr>
          <p:cNvSpPr txBox="1">
            <a:spLocks/>
          </p:cNvSpPr>
          <p:nvPr/>
        </p:nvSpPr>
        <p:spPr>
          <a:xfrm>
            <a:off x="536923" y="518559"/>
            <a:ext cx="11655078"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r>
              <a:rPr lang="en-US" sz="4705" spc="-100" dirty="0">
                <a:gradFill>
                  <a:gsLst>
                    <a:gs pos="1250">
                      <a:srgbClr val="353535"/>
                    </a:gs>
                    <a:gs pos="100000">
                      <a:srgbClr val="353535"/>
                    </a:gs>
                  </a:gsLst>
                  <a:lin ang="5400000" scaled="0"/>
                </a:gradFill>
                <a:latin typeface="Segoe UI Light"/>
              </a:rPr>
              <a:t>Working with Change Feed</a:t>
            </a:r>
          </a:p>
        </p:txBody>
      </p:sp>
      <p:pic>
        <p:nvPicPr>
          <p:cNvPr id="3" name="Picture 2">
            <a:extLst>
              <a:ext uri="{FF2B5EF4-FFF2-40B4-BE49-F238E27FC236}">
                <a16:creationId xmlns:a16="http://schemas.microsoft.com/office/drawing/2014/main" id="{E3A80DAA-157C-47A8-9357-A6E57CCF2C5F}"/>
              </a:ext>
            </a:extLst>
          </p:cNvPr>
          <p:cNvPicPr>
            <a:picLocks noChangeAspect="1"/>
          </p:cNvPicPr>
          <p:nvPr/>
        </p:nvPicPr>
        <p:blipFill>
          <a:blip r:embed="rId3"/>
          <a:stretch>
            <a:fillRect/>
          </a:stretch>
        </p:blipFill>
        <p:spPr>
          <a:xfrm>
            <a:off x="2617685" y="1257796"/>
            <a:ext cx="6956630" cy="4799608"/>
          </a:xfrm>
          <a:prstGeom prst="rect">
            <a:avLst/>
          </a:prstGeom>
        </p:spPr>
      </p:pic>
    </p:spTree>
    <p:extLst>
      <p:ext uri="{BB962C8B-B14F-4D97-AF65-F5344CB8AC3E}">
        <p14:creationId xmlns:p14="http://schemas.microsoft.com/office/powerpoint/2010/main" val="4235004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12642A9D-3D27-400A-9844-7377154DD181}"/>
              </a:ext>
            </a:extLst>
          </p:cNvPr>
          <p:cNvSpPr txBox="1">
            <a:spLocks/>
          </p:cNvSpPr>
          <p:nvPr/>
        </p:nvSpPr>
        <p:spPr>
          <a:xfrm>
            <a:off x="536923" y="518559"/>
            <a:ext cx="11655078"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r>
              <a:rPr lang="en-US" sz="4705" spc="-100" dirty="0">
                <a:gradFill>
                  <a:gsLst>
                    <a:gs pos="1250">
                      <a:srgbClr val="353535"/>
                    </a:gs>
                    <a:gs pos="100000">
                      <a:srgbClr val="353535"/>
                    </a:gs>
                  </a:gsLst>
                  <a:lin ang="5400000" scaled="0"/>
                </a:gradFill>
                <a:latin typeface="Segoe UI Light"/>
              </a:rPr>
              <a:t>Working with Change Feed</a:t>
            </a:r>
          </a:p>
        </p:txBody>
      </p:sp>
      <p:pic>
        <p:nvPicPr>
          <p:cNvPr id="4" name="Picture 3">
            <a:extLst>
              <a:ext uri="{FF2B5EF4-FFF2-40B4-BE49-F238E27FC236}">
                <a16:creationId xmlns:a16="http://schemas.microsoft.com/office/drawing/2014/main" id="{604635E7-6C8F-4D03-AC53-ED8ABE3065C2}"/>
              </a:ext>
            </a:extLst>
          </p:cNvPr>
          <p:cNvPicPr>
            <a:picLocks noChangeAspect="1"/>
          </p:cNvPicPr>
          <p:nvPr/>
        </p:nvPicPr>
        <p:blipFill>
          <a:blip r:embed="rId3"/>
          <a:stretch>
            <a:fillRect/>
          </a:stretch>
        </p:blipFill>
        <p:spPr>
          <a:xfrm>
            <a:off x="2356229" y="2881009"/>
            <a:ext cx="7479545" cy="3016096"/>
          </a:xfrm>
          <a:prstGeom prst="rect">
            <a:avLst/>
          </a:prstGeom>
        </p:spPr>
      </p:pic>
      <p:sp>
        <p:nvSpPr>
          <p:cNvPr id="7" name="TextBox 6">
            <a:extLst>
              <a:ext uri="{FF2B5EF4-FFF2-40B4-BE49-F238E27FC236}">
                <a16:creationId xmlns:a16="http://schemas.microsoft.com/office/drawing/2014/main" id="{C04AB280-0909-440D-BE6D-70E59DE8C02B}"/>
              </a:ext>
            </a:extLst>
          </p:cNvPr>
          <p:cNvSpPr txBox="1"/>
          <p:nvPr/>
        </p:nvSpPr>
        <p:spPr>
          <a:xfrm>
            <a:off x="2858822" y="2019208"/>
            <a:ext cx="6474356" cy="615522"/>
          </a:xfrm>
          <a:prstGeom prst="rect">
            <a:avLst/>
          </a:prstGeom>
          <a:noFill/>
        </p:spPr>
        <p:txBody>
          <a:bodyPr wrap="none" lIns="179285" tIns="143428" rIns="179285" bIns="143428" rtlCol="0">
            <a:spAutoFit/>
          </a:bodyPr>
          <a:lstStyle/>
          <a:p>
            <a:pPr defTabSz="914367">
              <a:lnSpc>
                <a:spcPct val="90000"/>
              </a:lnSpc>
              <a:spcAft>
                <a:spcPts val="588"/>
              </a:spcAft>
            </a:pPr>
            <a:r>
              <a:rPr lang="en-US" sz="2353" dirty="0">
                <a:gradFill>
                  <a:gsLst>
                    <a:gs pos="2917">
                      <a:srgbClr val="353535"/>
                    </a:gs>
                    <a:gs pos="30000">
                      <a:srgbClr val="353535"/>
                    </a:gs>
                  </a:gsLst>
                  <a:lin ang="5400000" scaled="0"/>
                </a:gradFill>
                <a:latin typeface="Segoe UI Semilight"/>
              </a:rPr>
              <a:t>Step 1: Retrieve a list of the partition key ranges</a:t>
            </a:r>
          </a:p>
        </p:txBody>
      </p:sp>
    </p:spTree>
    <p:extLst>
      <p:ext uri="{BB962C8B-B14F-4D97-AF65-F5344CB8AC3E}">
        <p14:creationId xmlns:p14="http://schemas.microsoft.com/office/powerpoint/2010/main" val="1176514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12642A9D-3D27-400A-9844-7377154DD181}"/>
              </a:ext>
            </a:extLst>
          </p:cNvPr>
          <p:cNvSpPr txBox="1">
            <a:spLocks/>
          </p:cNvSpPr>
          <p:nvPr/>
        </p:nvSpPr>
        <p:spPr>
          <a:xfrm>
            <a:off x="536923" y="518559"/>
            <a:ext cx="11655078"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r>
              <a:rPr lang="en-US" sz="4705" spc="-100" dirty="0">
                <a:gradFill>
                  <a:gsLst>
                    <a:gs pos="1250">
                      <a:srgbClr val="353535"/>
                    </a:gs>
                    <a:gs pos="100000">
                      <a:srgbClr val="353535"/>
                    </a:gs>
                  </a:gsLst>
                  <a:lin ang="5400000" scaled="0"/>
                </a:gradFill>
                <a:latin typeface="Segoe UI Light"/>
              </a:rPr>
              <a:t>Working with Change Feed</a:t>
            </a:r>
          </a:p>
        </p:txBody>
      </p:sp>
      <p:pic>
        <p:nvPicPr>
          <p:cNvPr id="3" name="Picture 2">
            <a:extLst>
              <a:ext uri="{FF2B5EF4-FFF2-40B4-BE49-F238E27FC236}">
                <a16:creationId xmlns:a16="http://schemas.microsoft.com/office/drawing/2014/main" id="{364382AD-F057-4FC9-BB5F-3C6D4BBA3AB4}"/>
              </a:ext>
            </a:extLst>
          </p:cNvPr>
          <p:cNvPicPr>
            <a:picLocks noChangeAspect="1"/>
          </p:cNvPicPr>
          <p:nvPr/>
        </p:nvPicPr>
        <p:blipFill>
          <a:blip r:embed="rId3"/>
          <a:stretch>
            <a:fillRect/>
          </a:stretch>
        </p:blipFill>
        <p:spPr>
          <a:xfrm>
            <a:off x="2085434" y="2109091"/>
            <a:ext cx="8021135" cy="4977025"/>
          </a:xfrm>
          <a:prstGeom prst="rect">
            <a:avLst/>
          </a:prstGeom>
        </p:spPr>
      </p:pic>
      <p:sp>
        <p:nvSpPr>
          <p:cNvPr id="7" name="TextBox 6">
            <a:extLst>
              <a:ext uri="{FF2B5EF4-FFF2-40B4-BE49-F238E27FC236}">
                <a16:creationId xmlns:a16="http://schemas.microsoft.com/office/drawing/2014/main" id="{A0DD517F-5F34-4BD4-8CD2-00CC841E4926}"/>
              </a:ext>
            </a:extLst>
          </p:cNvPr>
          <p:cNvSpPr txBox="1"/>
          <p:nvPr/>
        </p:nvSpPr>
        <p:spPr>
          <a:xfrm>
            <a:off x="1892670" y="1455831"/>
            <a:ext cx="8406662" cy="615522"/>
          </a:xfrm>
          <a:prstGeom prst="rect">
            <a:avLst/>
          </a:prstGeom>
          <a:noFill/>
        </p:spPr>
        <p:txBody>
          <a:bodyPr wrap="none" lIns="179285" tIns="143428" rIns="179285" bIns="143428" rtlCol="0">
            <a:spAutoFit/>
          </a:bodyPr>
          <a:lstStyle/>
          <a:p>
            <a:pPr defTabSz="914367">
              <a:lnSpc>
                <a:spcPct val="90000"/>
              </a:lnSpc>
              <a:spcAft>
                <a:spcPts val="588"/>
              </a:spcAft>
            </a:pPr>
            <a:r>
              <a:rPr lang="en-US" sz="2353" dirty="0">
                <a:gradFill>
                  <a:gsLst>
                    <a:gs pos="2917">
                      <a:srgbClr val="353535"/>
                    </a:gs>
                    <a:gs pos="30000">
                      <a:srgbClr val="353535"/>
                    </a:gs>
                  </a:gsLst>
                  <a:lin ang="5400000" scaled="0"/>
                </a:gradFill>
                <a:latin typeface="Segoe UI Semilight"/>
              </a:rPr>
              <a:t>Step 2: Consume the Change Feed on each </a:t>
            </a:r>
            <a:r>
              <a:rPr lang="en-US" sz="2353" dirty="0" err="1">
                <a:gradFill>
                  <a:gsLst>
                    <a:gs pos="2917">
                      <a:srgbClr val="353535"/>
                    </a:gs>
                    <a:gs pos="30000">
                      <a:srgbClr val="353535"/>
                    </a:gs>
                  </a:gsLst>
                  <a:lin ang="5400000" scaled="0"/>
                </a:gradFill>
                <a:latin typeface="Segoe UI Semilight"/>
              </a:rPr>
              <a:t>PartitionKeyRange</a:t>
            </a:r>
            <a:endParaRPr lang="en-US" sz="2353" dirty="0">
              <a:gradFill>
                <a:gsLst>
                  <a:gs pos="2917">
                    <a:srgbClr val="353535"/>
                  </a:gs>
                  <a:gs pos="30000">
                    <a:srgbClr val="353535"/>
                  </a:gs>
                </a:gsLst>
                <a:lin ang="5400000" scaled="0"/>
              </a:gradFill>
              <a:latin typeface="Segoe UI Semilight"/>
            </a:endParaRPr>
          </a:p>
        </p:txBody>
      </p:sp>
    </p:spTree>
    <p:extLst>
      <p:ext uri="{BB962C8B-B14F-4D97-AF65-F5344CB8AC3E}">
        <p14:creationId xmlns:p14="http://schemas.microsoft.com/office/powerpoint/2010/main" val="124137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7060FF8-BECD-4BAC-9DB4-11558AE1F0B0}"/>
              </a:ext>
            </a:extLst>
          </p:cNvPr>
          <p:cNvPicPr>
            <a:picLocks noChangeAspect="1"/>
          </p:cNvPicPr>
          <p:nvPr/>
        </p:nvPicPr>
        <p:blipFill>
          <a:blip r:embed="rId3"/>
          <a:stretch>
            <a:fillRect/>
          </a:stretch>
        </p:blipFill>
        <p:spPr>
          <a:xfrm>
            <a:off x="1992055" y="1930116"/>
            <a:ext cx="8207890" cy="3454971"/>
          </a:xfrm>
          <a:prstGeom prst="rect">
            <a:avLst/>
          </a:prstGeom>
        </p:spPr>
      </p:pic>
      <p:sp>
        <p:nvSpPr>
          <p:cNvPr id="7" name="Title 1">
            <a:extLst>
              <a:ext uri="{FF2B5EF4-FFF2-40B4-BE49-F238E27FC236}">
                <a16:creationId xmlns:a16="http://schemas.microsoft.com/office/drawing/2014/main" id="{F5388349-B720-44F9-BBBE-29F67720112D}"/>
              </a:ext>
            </a:extLst>
          </p:cNvPr>
          <p:cNvSpPr txBox="1">
            <a:spLocks/>
          </p:cNvSpPr>
          <p:nvPr/>
        </p:nvSpPr>
        <p:spPr>
          <a:xfrm>
            <a:off x="536923" y="518559"/>
            <a:ext cx="11655078"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r>
              <a:rPr lang="en-US" sz="4705" spc="-100" dirty="0">
                <a:gradFill>
                  <a:gsLst>
                    <a:gs pos="1250">
                      <a:srgbClr val="353535"/>
                    </a:gs>
                    <a:gs pos="100000">
                      <a:srgbClr val="353535"/>
                    </a:gs>
                  </a:gsLst>
                  <a:lin ang="5400000" scaled="0"/>
                </a:gradFill>
                <a:latin typeface="Segoe UI Light"/>
              </a:rPr>
              <a:t>Change Feed Processor Library</a:t>
            </a:r>
          </a:p>
        </p:txBody>
      </p:sp>
    </p:spTree>
    <p:extLst>
      <p:ext uri="{BB962C8B-B14F-4D97-AF65-F5344CB8AC3E}">
        <p14:creationId xmlns:p14="http://schemas.microsoft.com/office/powerpoint/2010/main" val="1983802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descr="A screenshot of a cell phone&#10;&#10;Description generated with very high confidence">
            <a:extLst>
              <a:ext uri="{FF2B5EF4-FFF2-40B4-BE49-F238E27FC236}">
                <a16:creationId xmlns:a16="http://schemas.microsoft.com/office/drawing/2014/main" id="{5B7E7773-0275-4095-A975-C5C5EBBB2DE8}"/>
              </a:ext>
            </a:extLst>
          </p:cNvPr>
          <p:cNvPicPr>
            <a:picLocks noChangeAspect="1"/>
          </p:cNvPicPr>
          <p:nvPr/>
        </p:nvPicPr>
        <p:blipFill>
          <a:blip r:embed="rId3"/>
          <a:stretch>
            <a:fillRect/>
          </a:stretch>
        </p:blipFill>
        <p:spPr>
          <a:xfrm>
            <a:off x="1539176" y="1491241"/>
            <a:ext cx="8226059" cy="4327371"/>
          </a:xfrm>
          <a:prstGeom prst="rect">
            <a:avLst/>
          </a:prstGeom>
        </p:spPr>
      </p:pic>
      <p:sp>
        <p:nvSpPr>
          <p:cNvPr id="6" name="Title 1">
            <a:extLst>
              <a:ext uri="{FF2B5EF4-FFF2-40B4-BE49-F238E27FC236}">
                <a16:creationId xmlns:a16="http://schemas.microsoft.com/office/drawing/2014/main" id="{12642A9D-3D27-400A-9844-7377154DD181}"/>
              </a:ext>
            </a:extLst>
          </p:cNvPr>
          <p:cNvSpPr txBox="1">
            <a:spLocks/>
          </p:cNvSpPr>
          <p:nvPr/>
        </p:nvSpPr>
        <p:spPr>
          <a:xfrm>
            <a:off x="536923" y="518559"/>
            <a:ext cx="11655078"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r>
              <a:rPr lang="en-US" sz="4705" spc="-100" dirty="0">
                <a:gradFill>
                  <a:gsLst>
                    <a:gs pos="1250">
                      <a:srgbClr val="353535"/>
                    </a:gs>
                    <a:gs pos="100000">
                      <a:srgbClr val="353535"/>
                    </a:gs>
                  </a:gsLst>
                  <a:lin ang="5400000" scaled="0"/>
                </a:gradFill>
                <a:latin typeface="Segoe UI Light"/>
              </a:rPr>
              <a:t>Behind the Scenes</a:t>
            </a:r>
          </a:p>
        </p:txBody>
      </p:sp>
    </p:spTree>
    <p:extLst>
      <p:ext uri="{BB962C8B-B14F-4D97-AF65-F5344CB8AC3E}">
        <p14:creationId xmlns:p14="http://schemas.microsoft.com/office/powerpoint/2010/main" val="461575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12642A9D-3D27-400A-9844-7377154DD181}"/>
              </a:ext>
            </a:extLst>
          </p:cNvPr>
          <p:cNvSpPr txBox="1">
            <a:spLocks/>
          </p:cNvSpPr>
          <p:nvPr/>
        </p:nvSpPr>
        <p:spPr>
          <a:xfrm>
            <a:off x="536923" y="518559"/>
            <a:ext cx="11655078"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r>
              <a:rPr lang="en-US" sz="4705" spc="-100" dirty="0">
                <a:gradFill>
                  <a:gsLst>
                    <a:gs pos="1250">
                      <a:srgbClr val="353535"/>
                    </a:gs>
                    <a:gs pos="100000">
                      <a:srgbClr val="353535"/>
                    </a:gs>
                  </a:gsLst>
                  <a:lin ang="5400000" scaled="0"/>
                </a:gradFill>
                <a:latin typeface="Segoe UI Light"/>
              </a:rPr>
              <a:t>Working with Change Feed Processor Library</a:t>
            </a:r>
          </a:p>
        </p:txBody>
      </p:sp>
      <p:pic>
        <p:nvPicPr>
          <p:cNvPr id="4" name="Picture 3">
            <a:extLst>
              <a:ext uri="{FF2B5EF4-FFF2-40B4-BE49-F238E27FC236}">
                <a16:creationId xmlns:a16="http://schemas.microsoft.com/office/drawing/2014/main" id="{9F8D6682-2735-4487-8855-D7BE1F150B7E}"/>
              </a:ext>
            </a:extLst>
          </p:cNvPr>
          <p:cNvPicPr>
            <a:picLocks noChangeAspect="1"/>
          </p:cNvPicPr>
          <p:nvPr/>
        </p:nvPicPr>
        <p:blipFill>
          <a:blip r:embed="rId3"/>
          <a:stretch>
            <a:fillRect/>
          </a:stretch>
        </p:blipFill>
        <p:spPr>
          <a:xfrm>
            <a:off x="2132123" y="3242070"/>
            <a:ext cx="7927757" cy="1858214"/>
          </a:xfrm>
          <a:prstGeom prst="rect">
            <a:avLst/>
          </a:prstGeom>
        </p:spPr>
      </p:pic>
      <p:sp>
        <p:nvSpPr>
          <p:cNvPr id="5" name="TextBox 4">
            <a:extLst>
              <a:ext uri="{FF2B5EF4-FFF2-40B4-BE49-F238E27FC236}">
                <a16:creationId xmlns:a16="http://schemas.microsoft.com/office/drawing/2014/main" id="{3F33A4A8-116D-46B9-9981-1CE80E00A1D4}"/>
              </a:ext>
            </a:extLst>
          </p:cNvPr>
          <p:cNvSpPr txBox="1"/>
          <p:nvPr/>
        </p:nvSpPr>
        <p:spPr>
          <a:xfrm>
            <a:off x="1503538" y="2320744"/>
            <a:ext cx="9184926" cy="615522"/>
          </a:xfrm>
          <a:prstGeom prst="rect">
            <a:avLst/>
          </a:prstGeom>
          <a:noFill/>
        </p:spPr>
        <p:txBody>
          <a:bodyPr wrap="none" lIns="179285" tIns="143428" rIns="179285" bIns="143428" rtlCol="0">
            <a:spAutoFit/>
          </a:bodyPr>
          <a:lstStyle/>
          <a:p>
            <a:pPr defTabSz="914367">
              <a:lnSpc>
                <a:spcPct val="90000"/>
              </a:lnSpc>
              <a:spcAft>
                <a:spcPts val="588"/>
              </a:spcAft>
            </a:pPr>
            <a:r>
              <a:rPr lang="en-US" sz="2353" dirty="0">
                <a:gradFill>
                  <a:gsLst>
                    <a:gs pos="2917">
                      <a:srgbClr val="353535"/>
                    </a:gs>
                    <a:gs pos="30000">
                      <a:srgbClr val="353535"/>
                    </a:gs>
                  </a:gsLst>
                  <a:lin ang="5400000" scaled="0"/>
                </a:gradFill>
                <a:latin typeface="Segoe UI Semilight"/>
              </a:rPr>
              <a:t>Step 1: Implement </a:t>
            </a:r>
            <a:r>
              <a:rPr lang="en-US" sz="2353" dirty="0" err="1">
                <a:gradFill>
                  <a:gsLst>
                    <a:gs pos="2917">
                      <a:srgbClr val="353535"/>
                    </a:gs>
                    <a:gs pos="30000">
                      <a:srgbClr val="353535"/>
                    </a:gs>
                  </a:gsLst>
                  <a:lin ang="5400000" scaled="0"/>
                </a:gradFill>
                <a:latin typeface="Segoe UI Semilight"/>
              </a:rPr>
              <a:t>ProcessChangesAsync</a:t>
            </a:r>
            <a:r>
              <a:rPr lang="en-US" sz="2353" dirty="0">
                <a:gradFill>
                  <a:gsLst>
                    <a:gs pos="2917">
                      <a:srgbClr val="353535"/>
                    </a:gs>
                    <a:gs pos="30000">
                      <a:srgbClr val="353535"/>
                    </a:gs>
                  </a:gsLst>
                  <a:lin ang="5400000" scaled="0"/>
                </a:gradFill>
                <a:latin typeface="Segoe UI Semilight"/>
              </a:rPr>
              <a:t>() on </a:t>
            </a:r>
            <a:r>
              <a:rPr lang="en-US" sz="2353" dirty="0" err="1">
                <a:gradFill>
                  <a:gsLst>
                    <a:gs pos="2917">
                      <a:srgbClr val="353535"/>
                    </a:gs>
                    <a:gs pos="30000">
                      <a:srgbClr val="353535"/>
                    </a:gs>
                  </a:gsLst>
                  <a:lin ang="5400000" scaled="0"/>
                </a:gradFill>
                <a:latin typeface="Segoe UI Semilight"/>
              </a:rPr>
              <a:t>IChangeFeedObserver</a:t>
            </a:r>
            <a:endParaRPr lang="en-US" sz="2353" dirty="0">
              <a:gradFill>
                <a:gsLst>
                  <a:gs pos="2917">
                    <a:srgbClr val="353535"/>
                  </a:gs>
                  <a:gs pos="30000">
                    <a:srgbClr val="353535"/>
                  </a:gs>
                </a:gsLst>
                <a:lin ang="5400000" scaled="0"/>
              </a:gradFill>
              <a:latin typeface="Segoe UI Semilight"/>
            </a:endParaRPr>
          </a:p>
        </p:txBody>
      </p:sp>
    </p:spTree>
    <p:extLst>
      <p:ext uri="{BB962C8B-B14F-4D97-AF65-F5344CB8AC3E}">
        <p14:creationId xmlns:p14="http://schemas.microsoft.com/office/powerpoint/2010/main" val="4014503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t="5" b="15625"/>
          <a:stretch/>
        </p:blipFill>
        <p:spPr>
          <a:xfrm>
            <a:off x="-9142" y="229088"/>
            <a:ext cx="12200277" cy="6857027"/>
          </a:xfrm>
          <a:prstGeom prst="rect">
            <a:avLst/>
          </a:prstGeom>
        </p:spPr>
      </p:pic>
      <p:sp>
        <p:nvSpPr>
          <p:cNvPr id="104" name="Rectangle 103"/>
          <p:cNvSpPr/>
          <p:nvPr/>
        </p:nvSpPr>
        <p:spPr>
          <a:xfrm rot="10800000">
            <a:off x="-9144" y="-1"/>
            <a:ext cx="12200277" cy="7315200"/>
          </a:xfrm>
          <a:prstGeom prst="rect">
            <a:avLst/>
          </a:prstGeom>
          <a:gradFill>
            <a:gsLst>
              <a:gs pos="0">
                <a:srgbClr val="000000">
                  <a:alpha val="0"/>
                </a:srgbClr>
              </a:gs>
              <a:gs pos="95000">
                <a:srgbClr val="000000">
                  <a:alpha val="53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457070" tIns="182828" rIns="457070" bIns="182828" rtlCol="0" anchor="b"/>
          <a:lstStyle/>
          <a:p>
            <a:pPr algn="r" defTabSz="913896">
              <a:lnSpc>
                <a:spcPts val="1200"/>
              </a:lnSpc>
              <a:defRPr/>
            </a:pPr>
            <a:br>
              <a:rPr lang="en-US" sz="2000" i="1" kern="0" dirty="0">
                <a:solidFill>
                  <a:prstClr val="white"/>
                </a:solidFill>
                <a:latin typeface="Segoe UI"/>
                <a:ea typeface="Segoe UI" pitchFamily="34" charset="0"/>
                <a:cs typeface="Segoe UI" pitchFamily="34" charset="0"/>
              </a:rPr>
            </a:br>
            <a:endParaRPr lang="da-DK" sz="1600" kern="0" dirty="0">
              <a:solidFill>
                <a:prstClr val="white"/>
              </a:solidFill>
              <a:latin typeface="Segoe UI"/>
              <a:ea typeface="Segoe UI" pitchFamily="34" charset="0"/>
              <a:cs typeface="Segoe UI" pitchFamily="34" charset="0"/>
            </a:endParaRPr>
          </a:p>
        </p:txBody>
      </p:sp>
      <p:sp>
        <p:nvSpPr>
          <p:cNvPr id="4" name="Title 3"/>
          <p:cNvSpPr>
            <a:spLocks noGrp="1"/>
          </p:cNvSpPr>
          <p:nvPr>
            <p:ph type="title"/>
          </p:nvPr>
        </p:nvSpPr>
        <p:spPr/>
        <p:txBody>
          <a:bodyPr/>
          <a:lstStyle/>
          <a:p>
            <a:r>
              <a:rPr lang="en-US" dirty="0">
                <a:solidFill>
                  <a:schemeClr val="bg1"/>
                </a:solidFill>
              </a:rPr>
              <a:t>Cosmos DB By Industries </a:t>
            </a:r>
            <a:r>
              <a:rPr lang="en-US" sz="3500" dirty="0">
                <a:solidFill>
                  <a:schemeClr val="bg1"/>
                </a:solidFill>
              </a:rPr>
              <a:t>(Our Customers)</a:t>
            </a:r>
          </a:p>
        </p:txBody>
      </p:sp>
      <p:sp>
        <p:nvSpPr>
          <p:cNvPr id="6" name="Rectangle 5"/>
          <p:cNvSpPr/>
          <p:nvPr/>
        </p:nvSpPr>
        <p:spPr bwMode="auto">
          <a:xfrm>
            <a:off x="122767" y="1516648"/>
            <a:ext cx="3946600" cy="853767"/>
          </a:xfrm>
          <a:prstGeom prst="rect">
            <a:avLst/>
          </a:prstGeom>
          <a:solidFill>
            <a:schemeClr val="accent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5698"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defRPr/>
            </a:pPr>
            <a:r>
              <a:rPr lang="en-US" sz="2000" kern="0" dirty="0">
                <a:solidFill>
                  <a:prstClr val="white"/>
                </a:solidFill>
                <a:latin typeface="Segoe UI"/>
                <a:ea typeface="Segoe UI" pitchFamily="34" charset="0"/>
                <a:cs typeface="Segoe UI" pitchFamily="34" charset="0"/>
              </a:rPr>
              <a:t>Retail</a:t>
            </a:r>
          </a:p>
        </p:txBody>
      </p:sp>
      <p:sp>
        <p:nvSpPr>
          <p:cNvPr id="7" name="Rectangle 6"/>
          <p:cNvSpPr/>
          <p:nvPr/>
        </p:nvSpPr>
        <p:spPr bwMode="auto">
          <a:xfrm>
            <a:off x="122767" y="2438046"/>
            <a:ext cx="3946600" cy="853767"/>
          </a:xfrm>
          <a:prstGeom prst="rect">
            <a:avLst/>
          </a:prstGeom>
          <a:solidFill>
            <a:schemeClr val="accent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5698"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defRPr/>
            </a:pPr>
            <a:r>
              <a:rPr lang="en-US" sz="2000" kern="0" dirty="0">
                <a:solidFill>
                  <a:prstClr val="white"/>
                </a:solidFill>
                <a:latin typeface="Segoe UI"/>
                <a:ea typeface="Segoe UI" pitchFamily="34" charset="0"/>
                <a:cs typeface="Segoe UI" pitchFamily="34" charset="0"/>
              </a:rPr>
              <a:t>Manufacturing</a:t>
            </a:r>
          </a:p>
        </p:txBody>
      </p:sp>
      <p:sp>
        <p:nvSpPr>
          <p:cNvPr id="8" name="Rectangle 7"/>
          <p:cNvSpPr/>
          <p:nvPr/>
        </p:nvSpPr>
        <p:spPr bwMode="auto">
          <a:xfrm>
            <a:off x="122767" y="3359444"/>
            <a:ext cx="3946600" cy="853767"/>
          </a:xfrm>
          <a:prstGeom prst="rect">
            <a:avLst/>
          </a:prstGeom>
          <a:solidFill>
            <a:schemeClr val="accent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5698"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defRPr/>
            </a:pPr>
            <a:r>
              <a:rPr lang="en-US" sz="2000" kern="0" dirty="0">
                <a:solidFill>
                  <a:prstClr val="white"/>
                </a:solidFill>
                <a:latin typeface="Segoe UI"/>
                <a:ea typeface="Segoe UI" pitchFamily="34" charset="0"/>
                <a:cs typeface="Segoe UI" pitchFamily="34" charset="0"/>
              </a:rPr>
              <a:t>Government </a:t>
            </a:r>
            <a:r>
              <a:rPr lang="en-US" sz="2000" kern="0">
                <a:solidFill>
                  <a:prstClr val="white"/>
                </a:solidFill>
                <a:latin typeface="Segoe UI"/>
                <a:ea typeface="Segoe UI" pitchFamily="34" charset="0"/>
                <a:cs typeface="Segoe UI" pitchFamily="34" charset="0"/>
              </a:rPr>
              <a:t>/ Edu</a:t>
            </a:r>
            <a:endParaRPr lang="en-US" sz="2000" kern="0" dirty="0">
              <a:solidFill>
                <a:prstClr val="white"/>
              </a:solidFill>
              <a:latin typeface="Segoe UI"/>
              <a:ea typeface="Segoe UI" pitchFamily="34" charset="0"/>
              <a:cs typeface="Segoe UI" pitchFamily="34" charset="0"/>
            </a:endParaRPr>
          </a:p>
        </p:txBody>
      </p:sp>
      <p:sp>
        <p:nvSpPr>
          <p:cNvPr id="9" name="Rectangle 8"/>
          <p:cNvSpPr/>
          <p:nvPr/>
        </p:nvSpPr>
        <p:spPr bwMode="auto">
          <a:xfrm>
            <a:off x="122767" y="4280843"/>
            <a:ext cx="3946600" cy="853767"/>
          </a:xfrm>
          <a:prstGeom prst="rect">
            <a:avLst/>
          </a:prstGeom>
          <a:solidFill>
            <a:schemeClr val="accent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5698"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defRPr/>
            </a:pPr>
            <a:r>
              <a:rPr lang="en-US" sz="2000" kern="0" dirty="0">
                <a:solidFill>
                  <a:prstClr val="white"/>
                </a:solidFill>
                <a:latin typeface="Segoe UI"/>
                <a:ea typeface="Segoe UI" pitchFamily="34" charset="0"/>
                <a:cs typeface="Segoe UI" pitchFamily="34" charset="0"/>
              </a:rPr>
              <a:t>Automotive/IoT</a:t>
            </a:r>
          </a:p>
        </p:txBody>
      </p:sp>
      <p:sp>
        <p:nvSpPr>
          <p:cNvPr id="10" name="Rectangle 9"/>
          <p:cNvSpPr/>
          <p:nvPr/>
        </p:nvSpPr>
        <p:spPr bwMode="auto">
          <a:xfrm>
            <a:off x="122767" y="5202241"/>
            <a:ext cx="3946600" cy="853767"/>
          </a:xfrm>
          <a:prstGeom prst="rect">
            <a:avLst/>
          </a:prstGeom>
          <a:solidFill>
            <a:schemeClr val="accent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5698"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defRPr/>
            </a:pPr>
            <a:r>
              <a:rPr lang="en-US" sz="2000" kern="0" dirty="0">
                <a:solidFill>
                  <a:prstClr val="white"/>
                </a:solidFill>
                <a:latin typeface="Segoe UI"/>
                <a:ea typeface="Segoe UI" pitchFamily="34" charset="0"/>
                <a:cs typeface="Segoe UI" pitchFamily="34" charset="0"/>
              </a:rPr>
              <a:t>Financial Services</a:t>
            </a:r>
          </a:p>
        </p:txBody>
      </p:sp>
      <p:sp>
        <p:nvSpPr>
          <p:cNvPr id="11" name="Rectangle 10"/>
          <p:cNvSpPr/>
          <p:nvPr/>
        </p:nvSpPr>
        <p:spPr bwMode="auto">
          <a:xfrm>
            <a:off x="122767" y="6123638"/>
            <a:ext cx="3946600" cy="853767"/>
          </a:xfrm>
          <a:prstGeom prst="rect">
            <a:avLst/>
          </a:prstGeom>
          <a:solidFill>
            <a:schemeClr val="accent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5698"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defRPr/>
            </a:pPr>
            <a:r>
              <a:rPr lang="en-US" sz="2000" kern="0" dirty="0">
                <a:solidFill>
                  <a:prstClr val="white"/>
                </a:solidFill>
                <a:latin typeface="Segoe UI"/>
                <a:ea typeface="Segoe UI" pitchFamily="34" charset="0"/>
                <a:cs typeface="Segoe UI" pitchFamily="34" charset="0"/>
              </a:rPr>
              <a:t>Professional Services</a:t>
            </a:r>
          </a:p>
        </p:txBody>
      </p:sp>
      <p:sp>
        <p:nvSpPr>
          <p:cNvPr id="12" name="Freeform 90"/>
          <p:cNvSpPr>
            <a:spLocks noEditPoints="1"/>
          </p:cNvSpPr>
          <p:nvPr/>
        </p:nvSpPr>
        <p:spPr bwMode="black">
          <a:xfrm>
            <a:off x="487254" y="1781130"/>
            <a:ext cx="305376" cy="335042"/>
          </a:xfrm>
          <a:custGeom>
            <a:avLst/>
            <a:gdLst>
              <a:gd name="T0" fmla="*/ 278 w 278"/>
              <a:gd name="T1" fmla="*/ 57 h 305"/>
              <a:gd name="T2" fmla="*/ 277 w 278"/>
              <a:gd name="T3" fmla="*/ 54 h 305"/>
              <a:gd name="T4" fmla="*/ 276 w 278"/>
              <a:gd name="T5" fmla="*/ 52 h 305"/>
              <a:gd name="T6" fmla="*/ 274 w 278"/>
              <a:gd name="T7" fmla="*/ 49 h 305"/>
              <a:gd name="T8" fmla="*/ 272 w 278"/>
              <a:gd name="T9" fmla="*/ 47 h 305"/>
              <a:gd name="T10" fmla="*/ 270 w 278"/>
              <a:gd name="T11" fmla="*/ 46 h 305"/>
              <a:gd name="T12" fmla="*/ 267 w 278"/>
              <a:gd name="T13" fmla="*/ 45 h 305"/>
              <a:gd name="T14" fmla="*/ 265 w 278"/>
              <a:gd name="T15" fmla="*/ 44 h 305"/>
              <a:gd name="T16" fmla="*/ 263 w 278"/>
              <a:gd name="T17" fmla="*/ 44 h 305"/>
              <a:gd name="T18" fmla="*/ 32 w 278"/>
              <a:gd name="T19" fmla="*/ 13 h 305"/>
              <a:gd name="T20" fmla="*/ 2 w 278"/>
              <a:gd name="T21" fmla="*/ 21 h 305"/>
              <a:gd name="T22" fmla="*/ 63 w 278"/>
              <a:gd name="T23" fmla="*/ 256 h 305"/>
              <a:gd name="T24" fmla="*/ 65 w 278"/>
              <a:gd name="T25" fmla="*/ 259 h 305"/>
              <a:gd name="T26" fmla="*/ 66 w 278"/>
              <a:gd name="T27" fmla="*/ 261 h 305"/>
              <a:gd name="T28" fmla="*/ 68 w 278"/>
              <a:gd name="T29" fmla="*/ 263 h 305"/>
              <a:gd name="T30" fmla="*/ 71 w 278"/>
              <a:gd name="T31" fmla="*/ 265 h 305"/>
              <a:gd name="T32" fmla="*/ 72 w 278"/>
              <a:gd name="T33" fmla="*/ 265 h 305"/>
              <a:gd name="T34" fmla="*/ 119 w 278"/>
              <a:gd name="T35" fmla="*/ 266 h 305"/>
              <a:gd name="T36" fmla="*/ 211 w 278"/>
              <a:gd name="T37" fmla="*/ 254 h 305"/>
              <a:gd name="T38" fmla="*/ 248 w 278"/>
              <a:gd name="T39" fmla="*/ 251 h 305"/>
              <a:gd name="T40" fmla="*/ 89 w 278"/>
              <a:gd name="T41" fmla="*/ 236 h 305"/>
              <a:gd name="T42" fmla="*/ 248 w 278"/>
              <a:gd name="T43" fmla="*/ 179 h 305"/>
              <a:gd name="T44" fmla="*/ 251 w 278"/>
              <a:gd name="T45" fmla="*/ 179 h 305"/>
              <a:gd name="T46" fmla="*/ 254 w 278"/>
              <a:gd name="T47" fmla="*/ 178 h 305"/>
              <a:gd name="T48" fmla="*/ 256 w 278"/>
              <a:gd name="T49" fmla="*/ 177 h 305"/>
              <a:gd name="T50" fmla="*/ 258 w 278"/>
              <a:gd name="T51" fmla="*/ 175 h 305"/>
              <a:gd name="T52" fmla="*/ 260 w 278"/>
              <a:gd name="T53" fmla="*/ 173 h 305"/>
              <a:gd name="T54" fmla="*/ 261 w 278"/>
              <a:gd name="T55" fmla="*/ 170 h 305"/>
              <a:gd name="T56" fmla="*/ 262 w 278"/>
              <a:gd name="T57" fmla="*/ 168 h 305"/>
              <a:gd name="T58" fmla="*/ 263 w 278"/>
              <a:gd name="T59" fmla="*/ 166 h 305"/>
              <a:gd name="T60" fmla="*/ 278 w 278"/>
              <a:gd name="T61" fmla="*/ 60 h 305"/>
              <a:gd name="T62" fmla="*/ 278 w 278"/>
              <a:gd name="T63" fmla="*/ 59 h 305"/>
              <a:gd name="T64" fmla="*/ 66 w 278"/>
              <a:gd name="T65" fmla="*/ 149 h 305"/>
              <a:gd name="T66" fmla="*/ 238 w 278"/>
              <a:gd name="T67" fmla="*/ 126 h 305"/>
              <a:gd name="T68" fmla="*/ 242 w 278"/>
              <a:gd name="T69" fmla="*/ 96 h 305"/>
              <a:gd name="T70" fmla="*/ 47 w 278"/>
              <a:gd name="T71" fmla="*/ 74 h 305"/>
              <a:gd name="T72" fmla="*/ 242 w 278"/>
              <a:gd name="T73" fmla="*/ 96 h 305"/>
              <a:gd name="T74" fmla="*/ 95 w 278"/>
              <a:gd name="T75" fmla="*/ 305 h 305"/>
              <a:gd name="T76" fmla="*/ 95 w 278"/>
              <a:gd name="T77" fmla="*/ 263 h 305"/>
              <a:gd name="T78" fmla="*/ 232 w 278"/>
              <a:gd name="T79" fmla="*/ 284 h 305"/>
              <a:gd name="T80" fmla="*/ 190 w 278"/>
              <a:gd name="T81" fmla="*/ 284 h 305"/>
              <a:gd name="T82" fmla="*/ 232 w 278"/>
              <a:gd name="T83" fmla="*/ 28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305">
                <a:moveTo>
                  <a:pt x="278" y="59"/>
                </a:moveTo>
                <a:cubicBezTo>
                  <a:pt x="278" y="58"/>
                  <a:pt x="278" y="57"/>
                  <a:pt x="278" y="57"/>
                </a:cubicBezTo>
                <a:cubicBezTo>
                  <a:pt x="278" y="56"/>
                  <a:pt x="278" y="56"/>
                  <a:pt x="278" y="56"/>
                </a:cubicBezTo>
                <a:cubicBezTo>
                  <a:pt x="277" y="55"/>
                  <a:pt x="277" y="55"/>
                  <a:pt x="277" y="54"/>
                </a:cubicBezTo>
                <a:cubicBezTo>
                  <a:pt x="277" y="54"/>
                  <a:pt x="277" y="53"/>
                  <a:pt x="277" y="53"/>
                </a:cubicBezTo>
                <a:cubicBezTo>
                  <a:pt x="276" y="52"/>
                  <a:pt x="276" y="52"/>
                  <a:pt x="276" y="52"/>
                </a:cubicBezTo>
                <a:cubicBezTo>
                  <a:pt x="276" y="51"/>
                  <a:pt x="275" y="51"/>
                  <a:pt x="275" y="50"/>
                </a:cubicBezTo>
                <a:cubicBezTo>
                  <a:pt x="275" y="50"/>
                  <a:pt x="275" y="50"/>
                  <a:pt x="274" y="49"/>
                </a:cubicBezTo>
                <a:cubicBezTo>
                  <a:pt x="274" y="49"/>
                  <a:pt x="274" y="48"/>
                  <a:pt x="273" y="48"/>
                </a:cubicBezTo>
                <a:cubicBezTo>
                  <a:pt x="273" y="48"/>
                  <a:pt x="273" y="48"/>
                  <a:pt x="272" y="47"/>
                </a:cubicBezTo>
                <a:cubicBezTo>
                  <a:pt x="272" y="47"/>
                  <a:pt x="271" y="47"/>
                  <a:pt x="271" y="46"/>
                </a:cubicBezTo>
                <a:cubicBezTo>
                  <a:pt x="271" y="46"/>
                  <a:pt x="270" y="46"/>
                  <a:pt x="270" y="46"/>
                </a:cubicBezTo>
                <a:cubicBezTo>
                  <a:pt x="269" y="45"/>
                  <a:pt x="269" y="45"/>
                  <a:pt x="268" y="45"/>
                </a:cubicBezTo>
                <a:cubicBezTo>
                  <a:pt x="268" y="45"/>
                  <a:pt x="268" y="45"/>
                  <a:pt x="267" y="45"/>
                </a:cubicBezTo>
                <a:cubicBezTo>
                  <a:pt x="267" y="44"/>
                  <a:pt x="266" y="44"/>
                  <a:pt x="266" y="44"/>
                </a:cubicBezTo>
                <a:cubicBezTo>
                  <a:pt x="265" y="44"/>
                  <a:pt x="265" y="44"/>
                  <a:pt x="265" y="44"/>
                </a:cubicBezTo>
                <a:cubicBezTo>
                  <a:pt x="265" y="44"/>
                  <a:pt x="264" y="44"/>
                  <a:pt x="264" y="44"/>
                </a:cubicBezTo>
                <a:cubicBezTo>
                  <a:pt x="264" y="44"/>
                  <a:pt x="263" y="44"/>
                  <a:pt x="263" y="44"/>
                </a:cubicBezTo>
                <a:cubicBezTo>
                  <a:pt x="39" y="44"/>
                  <a:pt x="39" y="44"/>
                  <a:pt x="39" y="44"/>
                </a:cubicBezTo>
                <a:cubicBezTo>
                  <a:pt x="32" y="13"/>
                  <a:pt x="32" y="13"/>
                  <a:pt x="32" y="13"/>
                </a:cubicBezTo>
                <a:cubicBezTo>
                  <a:pt x="29" y="5"/>
                  <a:pt x="21" y="0"/>
                  <a:pt x="13" y="2"/>
                </a:cubicBezTo>
                <a:cubicBezTo>
                  <a:pt x="5" y="5"/>
                  <a:pt x="0" y="13"/>
                  <a:pt x="2" y="21"/>
                </a:cubicBezTo>
                <a:cubicBezTo>
                  <a:pt x="62" y="255"/>
                  <a:pt x="62" y="255"/>
                  <a:pt x="62" y="255"/>
                </a:cubicBezTo>
                <a:cubicBezTo>
                  <a:pt x="63" y="255"/>
                  <a:pt x="63" y="256"/>
                  <a:pt x="63" y="256"/>
                </a:cubicBezTo>
                <a:cubicBezTo>
                  <a:pt x="63" y="256"/>
                  <a:pt x="63" y="257"/>
                  <a:pt x="63" y="257"/>
                </a:cubicBezTo>
                <a:cubicBezTo>
                  <a:pt x="64" y="258"/>
                  <a:pt x="64" y="259"/>
                  <a:pt x="65" y="259"/>
                </a:cubicBezTo>
                <a:cubicBezTo>
                  <a:pt x="65" y="259"/>
                  <a:pt x="65" y="259"/>
                  <a:pt x="65" y="259"/>
                </a:cubicBezTo>
                <a:cubicBezTo>
                  <a:pt x="65" y="260"/>
                  <a:pt x="66" y="261"/>
                  <a:pt x="66" y="261"/>
                </a:cubicBezTo>
                <a:cubicBezTo>
                  <a:pt x="66" y="262"/>
                  <a:pt x="67" y="262"/>
                  <a:pt x="67" y="262"/>
                </a:cubicBezTo>
                <a:cubicBezTo>
                  <a:pt x="67" y="262"/>
                  <a:pt x="68" y="263"/>
                  <a:pt x="68" y="263"/>
                </a:cubicBezTo>
                <a:cubicBezTo>
                  <a:pt x="69" y="263"/>
                  <a:pt x="69" y="264"/>
                  <a:pt x="69" y="264"/>
                </a:cubicBezTo>
                <a:cubicBezTo>
                  <a:pt x="70" y="264"/>
                  <a:pt x="70" y="264"/>
                  <a:pt x="71" y="265"/>
                </a:cubicBezTo>
                <a:cubicBezTo>
                  <a:pt x="71" y="265"/>
                  <a:pt x="71" y="265"/>
                  <a:pt x="72" y="265"/>
                </a:cubicBezTo>
                <a:cubicBezTo>
                  <a:pt x="72" y="265"/>
                  <a:pt x="72" y="265"/>
                  <a:pt x="72" y="265"/>
                </a:cubicBezTo>
                <a:cubicBezTo>
                  <a:pt x="77" y="258"/>
                  <a:pt x="86" y="254"/>
                  <a:pt x="95" y="254"/>
                </a:cubicBezTo>
                <a:cubicBezTo>
                  <a:pt x="105" y="254"/>
                  <a:pt x="113" y="259"/>
                  <a:pt x="119" y="266"/>
                </a:cubicBezTo>
                <a:cubicBezTo>
                  <a:pt x="187" y="266"/>
                  <a:pt x="187" y="266"/>
                  <a:pt x="187" y="266"/>
                </a:cubicBezTo>
                <a:cubicBezTo>
                  <a:pt x="193" y="259"/>
                  <a:pt x="201" y="254"/>
                  <a:pt x="211" y="254"/>
                </a:cubicBezTo>
                <a:cubicBezTo>
                  <a:pt x="221" y="254"/>
                  <a:pt x="229" y="259"/>
                  <a:pt x="235" y="266"/>
                </a:cubicBezTo>
                <a:cubicBezTo>
                  <a:pt x="242" y="265"/>
                  <a:pt x="248" y="259"/>
                  <a:pt x="248" y="251"/>
                </a:cubicBezTo>
                <a:cubicBezTo>
                  <a:pt x="248" y="243"/>
                  <a:pt x="241" y="236"/>
                  <a:pt x="233" y="236"/>
                </a:cubicBezTo>
                <a:cubicBezTo>
                  <a:pt x="89" y="236"/>
                  <a:pt x="89" y="236"/>
                  <a:pt x="89" y="236"/>
                </a:cubicBezTo>
                <a:cubicBezTo>
                  <a:pt x="74" y="179"/>
                  <a:pt x="74" y="179"/>
                  <a:pt x="74" y="179"/>
                </a:cubicBezTo>
                <a:cubicBezTo>
                  <a:pt x="248" y="179"/>
                  <a:pt x="248" y="179"/>
                  <a:pt x="248" y="179"/>
                </a:cubicBezTo>
                <a:cubicBezTo>
                  <a:pt x="248" y="179"/>
                  <a:pt x="248" y="179"/>
                  <a:pt x="248" y="179"/>
                </a:cubicBezTo>
                <a:cubicBezTo>
                  <a:pt x="249" y="179"/>
                  <a:pt x="250" y="179"/>
                  <a:pt x="251" y="179"/>
                </a:cubicBezTo>
                <a:cubicBezTo>
                  <a:pt x="251" y="179"/>
                  <a:pt x="251" y="179"/>
                  <a:pt x="252" y="178"/>
                </a:cubicBezTo>
                <a:cubicBezTo>
                  <a:pt x="252" y="178"/>
                  <a:pt x="253" y="178"/>
                  <a:pt x="254" y="178"/>
                </a:cubicBezTo>
                <a:cubicBezTo>
                  <a:pt x="254" y="178"/>
                  <a:pt x="254" y="178"/>
                  <a:pt x="255" y="177"/>
                </a:cubicBezTo>
                <a:cubicBezTo>
                  <a:pt x="255" y="177"/>
                  <a:pt x="256" y="177"/>
                  <a:pt x="256" y="177"/>
                </a:cubicBezTo>
                <a:cubicBezTo>
                  <a:pt x="256" y="176"/>
                  <a:pt x="257" y="176"/>
                  <a:pt x="257" y="176"/>
                </a:cubicBezTo>
                <a:cubicBezTo>
                  <a:pt x="257" y="176"/>
                  <a:pt x="258" y="175"/>
                  <a:pt x="258" y="175"/>
                </a:cubicBezTo>
                <a:cubicBezTo>
                  <a:pt x="259" y="175"/>
                  <a:pt x="259" y="174"/>
                  <a:pt x="259" y="174"/>
                </a:cubicBezTo>
                <a:cubicBezTo>
                  <a:pt x="259" y="174"/>
                  <a:pt x="260" y="173"/>
                  <a:pt x="260" y="173"/>
                </a:cubicBezTo>
                <a:cubicBezTo>
                  <a:pt x="260" y="173"/>
                  <a:pt x="261" y="172"/>
                  <a:pt x="261" y="172"/>
                </a:cubicBezTo>
                <a:cubicBezTo>
                  <a:pt x="261" y="171"/>
                  <a:pt x="261" y="171"/>
                  <a:pt x="261" y="170"/>
                </a:cubicBezTo>
                <a:cubicBezTo>
                  <a:pt x="262" y="170"/>
                  <a:pt x="262" y="170"/>
                  <a:pt x="262" y="169"/>
                </a:cubicBezTo>
                <a:cubicBezTo>
                  <a:pt x="262" y="169"/>
                  <a:pt x="262" y="168"/>
                  <a:pt x="262" y="168"/>
                </a:cubicBezTo>
                <a:cubicBezTo>
                  <a:pt x="263" y="167"/>
                  <a:pt x="263" y="167"/>
                  <a:pt x="263" y="167"/>
                </a:cubicBezTo>
                <a:cubicBezTo>
                  <a:pt x="263" y="166"/>
                  <a:pt x="263" y="166"/>
                  <a:pt x="263" y="166"/>
                </a:cubicBezTo>
                <a:cubicBezTo>
                  <a:pt x="278" y="61"/>
                  <a:pt x="278" y="61"/>
                  <a:pt x="278" y="61"/>
                </a:cubicBezTo>
                <a:cubicBezTo>
                  <a:pt x="278" y="61"/>
                  <a:pt x="278" y="60"/>
                  <a:pt x="278" y="60"/>
                </a:cubicBezTo>
                <a:cubicBezTo>
                  <a:pt x="278" y="60"/>
                  <a:pt x="278" y="59"/>
                  <a:pt x="278" y="59"/>
                </a:cubicBezTo>
                <a:cubicBezTo>
                  <a:pt x="278" y="59"/>
                  <a:pt x="278" y="59"/>
                  <a:pt x="278" y="59"/>
                </a:cubicBezTo>
                <a:close/>
                <a:moveTo>
                  <a:pt x="235" y="149"/>
                </a:moveTo>
                <a:cubicBezTo>
                  <a:pt x="66" y="149"/>
                  <a:pt x="66" y="149"/>
                  <a:pt x="66" y="149"/>
                </a:cubicBezTo>
                <a:cubicBezTo>
                  <a:pt x="61" y="126"/>
                  <a:pt x="61" y="126"/>
                  <a:pt x="61" y="126"/>
                </a:cubicBezTo>
                <a:cubicBezTo>
                  <a:pt x="238" y="126"/>
                  <a:pt x="238" y="126"/>
                  <a:pt x="238" y="126"/>
                </a:cubicBezTo>
                <a:lnTo>
                  <a:pt x="235" y="149"/>
                </a:lnTo>
                <a:close/>
                <a:moveTo>
                  <a:pt x="242" y="96"/>
                </a:moveTo>
                <a:cubicBezTo>
                  <a:pt x="53" y="96"/>
                  <a:pt x="53" y="96"/>
                  <a:pt x="53" y="96"/>
                </a:cubicBezTo>
                <a:cubicBezTo>
                  <a:pt x="47" y="74"/>
                  <a:pt x="47" y="74"/>
                  <a:pt x="47" y="74"/>
                </a:cubicBezTo>
                <a:cubicBezTo>
                  <a:pt x="246" y="74"/>
                  <a:pt x="246" y="74"/>
                  <a:pt x="246" y="74"/>
                </a:cubicBezTo>
                <a:lnTo>
                  <a:pt x="242" y="96"/>
                </a:lnTo>
                <a:close/>
                <a:moveTo>
                  <a:pt x="116" y="284"/>
                </a:moveTo>
                <a:cubicBezTo>
                  <a:pt x="116" y="296"/>
                  <a:pt x="107" y="305"/>
                  <a:pt x="95" y="305"/>
                </a:cubicBezTo>
                <a:cubicBezTo>
                  <a:pt x="83" y="305"/>
                  <a:pt x="74" y="296"/>
                  <a:pt x="74" y="284"/>
                </a:cubicBezTo>
                <a:cubicBezTo>
                  <a:pt x="74" y="272"/>
                  <a:pt x="83" y="263"/>
                  <a:pt x="95" y="263"/>
                </a:cubicBezTo>
                <a:cubicBezTo>
                  <a:pt x="107" y="263"/>
                  <a:pt x="116" y="272"/>
                  <a:pt x="116" y="284"/>
                </a:cubicBezTo>
                <a:close/>
                <a:moveTo>
                  <a:pt x="232" y="284"/>
                </a:moveTo>
                <a:cubicBezTo>
                  <a:pt x="232" y="296"/>
                  <a:pt x="223" y="305"/>
                  <a:pt x="211" y="305"/>
                </a:cubicBezTo>
                <a:cubicBezTo>
                  <a:pt x="200" y="305"/>
                  <a:pt x="190" y="296"/>
                  <a:pt x="190" y="284"/>
                </a:cubicBezTo>
                <a:cubicBezTo>
                  <a:pt x="190" y="272"/>
                  <a:pt x="200" y="263"/>
                  <a:pt x="211" y="263"/>
                </a:cubicBezTo>
                <a:cubicBezTo>
                  <a:pt x="223" y="263"/>
                  <a:pt x="232" y="272"/>
                  <a:pt x="232" y="284"/>
                </a:cubicBezTo>
                <a:close/>
              </a:path>
            </a:pathLst>
          </a:custGeom>
          <a:solidFill>
            <a:schemeClr val="bg1"/>
          </a:solidFill>
          <a:ln>
            <a:noFill/>
          </a:ln>
          <a:extLst/>
        </p:spPr>
        <p:txBody>
          <a:bodyPr vert="horz" wrap="square" lIns="83932" tIns="41967" rIns="83932" bIns="41967" numCol="1" anchor="t" anchorCtr="0" compatLnSpc="1">
            <a:prstTxWarp prst="textNoShape">
              <a:avLst/>
            </a:prstTxWarp>
          </a:bodyPr>
          <a:lstStyle/>
          <a:p>
            <a:pPr defTabSz="932440">
              <a:defRPr/>
            </a:pPr>
            <a:endParaRPr lang="en-US" sz="1631" kern="0" dirty="0">
              <a:solidFill>
                <a:srgbClr val="1B3B41"/>
              </a:solidFill>
              <a:latin typeface="Segoe UI"/>
            </a:endParaRPr>
          </a:p>
        </p:txBody>
      </p:sp>
      <p:grpSp>
        <p:nvGrpSpPr>
          <p:cNvPr id="13" name="Group 12"/>
          <p:cNvGrpSpPr/>
          <p:nvPr/>
        </p:nvGrpSpPr>
        <p:grpSpPr>
          <a:xfrm>
            <a:off x="444128" y="2723990"/>
            <a:ext cx="391626" cy="360789"/>
            <a:chOff x="2566141" y="5866860"/>
            <a:chExt cx="548568" cy="505373"/>
          </a:xfrm>
          <a:solidFill>
            <a:schemeClr val="bg1"/>
          </a:solidFill>
        </p:grpSpPr>
        <p:sp>
          <p:nvSpPr>
            <p:cNvPr id="14" name="Rectangle 513"/>
            <p:cNvSpPr>
              <a:spLocks noChangeArrowheads="1"/>
            </p:cNvSpPr>
            <p:nvPr/>
          </p:nvSpPr>
          <p:spPr bwMode="auto">
            <a:xfrm>
              <a:off x="2963360" y="6118353"/>
              <a:ext cx="126920" cy="141799"/>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3233" tIns="46616" rIns="46616" bIns="93233" numCol="1" spcCol="0" rtlCol="0" fromWordArt="0" anchor="b" anchorCtr="0" forceAA="0" compatLnSpc="1">
              <a:prstTxWarp prst="textNoShape">
                <a:avLst/>
              </a:prstTxWarp>
              <a:noAutofit/>
            </a:bodyPr>
            <a:lstStyle/>
            <a:p>
              <a:pPr algn="ctr" defTabSz="931932" fontAlgn="base">
                <a:spcBef>
                  <a:spcPct val="0"/>
                </a:spcBef>
                <a:spcAft>
                  <a:spcPct val="0"/>
                </a:spcAft>
                <a:defRPr/>
              </a:pPr>
              <a:endParaRPr lang="en-US" sz="1631" kern="0" spc="-51"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Rectangle 514"/>
            <p:cNvSpPr>
              <a:spLocks noChangeArrowheads="1"/>
            </p:cNvSpPr>
            <p:nvPr/>
          </p:nvSpPr>
          <p:spPr bwMode="auto">
            <a:xfrm>
              <a:off x="2963473" y="6007679"/>
              <a:ext cx="95375" cy="96628"/>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3210" tIns="46605" rIns="46605" bIns="93210" numCol="1" spcCol="0" rtlCol="0" fromWordArt="0" anchor="b" anchorCtr="0" forceAA="0" compatLnSpc="1">
              <a:prstTxWarp prst="textNoShape">
                <a:avLst/>
              </a:prstTxWarp>
              <a:noAutofit/>
            </a:bodyPr>
            <a:lstStyle/>
            <a:p>
              <a:pPr algn="ctr" defTabSz="931652" fontAlgn="base">
                <a:spcBef>
                  <a:spcPct val="0"/>
                </a:spcBef>
                <a:spcAft>
                  <a:spcPct val="0"/>
                </a:spcAft>
                <a:defRPr/>
              </a:pPr>
              <a:endParaRPr lang="en-US" sz="1631" kern="0" spc="-51"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6" name="Group 15"/>
            <p:cNvGrpSpPr/>
            <p:nvPr/>
          </p:nvGrpSpPr>
          <p:grpSpPr>
            <a:xfrm>
              <a:off x="2566141" y="5987944"/>
              <a:ext cx="346992" cy="384289"/>
              <a:chOff x="4409248" y="3552035"/>
              <a:chExt cx="811923" cy="899196"/>
            </a:xfrm>
            <a:grpFill/>
          </p:grpSpPr>
          <p:sp>
            <p:nvSpPr>
              <p:cNvPr id="31" name="Freeform 515"/>
              <p:cNvSpPr>
                <a:spLocks noEditPoints="1"/>
              </p:cNvSpPr>
              <p:nvPr/>
            </p:nvSpPr>
            <p:spPr bwMode="auto">
              <a:xfrm>
                <a:off x="4492298" y="4147654"/>
                <a:ext cx="302144" cy="303577"/>
              </a:xfrm>
              <a:custGeom>
                <a:avLst/>
                <a:gdLst>
                  <a:gd name="T0" fmla="*/ 385 w 846"/>
                  <a:gd name="T1" fmla="*/ 191 h 849"/>
                  <a:gd name="T2" fmla="*/ 315 w 846"/>
                  <a:gd name="T3" fmla="*/ 215 h 849"/>
                  <a:gd name="T4" fmla="*/ 257 w 846"/>
                  <a:gd name="T5" fmla="*/ 258 h 849"/>
                  <a:gd name="T6" fmla="*/ 214 w 846"/>
                  <a:gd name="T7" fmla="*/ 316 h 849"/>
                  <a:gd name="T8" fmla="*/ 191 w 846"/>
                  <a:gd name="T9" fmla="*/ 386 h 849"/>
                  <a:gd name="T10" fmla="*/ 191 w 846"/>
                  <a:gd name="T11" fmla="*/ 463 h 849"/>
                  <a:gd name="T12" fmla="*/ 214 w 846"/>
                  <a:gd name="T13" fmla="*/ 533 h 849"/>
                  <a:gd name="T14" fmla="*/ 257 w 846"/>
                  <a:gd name="T15" fmla="*/ 592 h 849"/>
                  <a:gd name="T16" fmla="*/ 315 w 846"/>
                  <a:gd name="T17" fmla="*/ 634 h 849"/>
                  <a:gd name="T18" fmla="*/ 385 w 846"/>
                  <a:gd name="T19" fmla="*/ 658 h 849"/>
                  <a:gd name="T20" fmla="*/ 461 w 846"/>
                  <a:gd name="T21" fmla="*/ 658 h 849"/>
                  <a:gd name="T22" fmla="*/ 532 w 846"/>
                  <a:gd name="T23" fmla="*/ 634 h 849"/>
                  <a:gd name="T24" fmla="*/ 590 w 846"/>
                  <a:gd name="T25" fmla="*/ 592 h 849"/>
                  <a:gd name="T26" fmla="*/ 632 w 846"/>
                  <a:gd name="T27" fmla="*/ 533 h 849"/>
                  <a:gd name="T28" fmla="*/ 656 w 846"/>
                  <a:gd name="T29" fmla="*/ 463 h 849"/>
                  <a:gd name="T30" fmla="*/ 656 w 846"/>
                  <a:gd name="T31" fmla="*/ 386 h 849"/>
                  <a:gd name="T32" fmla="*/ 632 w 846"/>
                  <a:gd name="T33" fmla="*/ 316 h 849"/>
                  <a:gd name="T34" fmla="*/ 590 w 846"/>
                  <a:gd name="T35" fmla="*/ 258 h 849"/>
                  <a:gd name="T36" fmla="*/ 532 w 846"/>
                  <a:gd name="T37" fmla="*/ 215 h 849"/>
                  <a:gd name="T38" fmla="*/ 461 w 846"/>
                  <a:gd name="T39" fmla="*/ 191 h 849"/>
                  <a:gd name="T40" fmla="*/ 423 w 846"/>
                  <a:gd name="T41" fmla="*/ 0 h 849"/>
                  <a:gd name="T42" fmla="*/ 520 w 846"/>
                  <a:gd name="T43" fmla="*/ 11 h 849"/>
                  <a:gd name="T44" fmla="*/ 609 w 846"/>
                  <a:gd name="T45" fmla="*/ 43 h 849"/>
                  <a:gd name="T46" fmla="*/ 687 w 846"/>
                  <a:gd name="T47" fmla="*/ 93 h 849"/>
                  <a:gd name="T48" fmla="*/ 754 w 846"/>
                  <a:gd name="T49" fmla="*/ 160 h 849"/>
                  <a:gd name="T50" fmla="*/ 803 w 846"/>
                  <a:gd name="T51" fmla="*/ 238 h 849"/>
                  <a:gd name="T52" fmla="*/ 835 w 846"/>
                  <a:gd name="T53" fmla="*/ 327 h 849"/>
                  <a:gd name="T54" fmla="*/ 846 w 846"/>
                  <a:gd name="T55" fmla="*/ 424 h 849"/>
                  <a:gd name="T56" fmla="*/ 835 w 846"/>
                  <a:gd name="T57" fmla="*/ 522 h 849"/>
                  <a:gd name="T58" fmla="*/ 803 w 846"/>
                  <a:gd name="T59" fmla="*/ 611 h 849"/>
                  <a:gd name="T60" fmla="*/ 754 w 846"/>
                  <a:gd name="T61" fmla="*/ 690 h 849"/>
                  <a:gd name="T62" fmla="*/ 687 w 846"/>
                  <a:gd name="T63" fmla="*/ 756 h 849"/>
                  <a:gd name="T64" fmla="*/ 609 w 846"/>
                  <a:gd name="T65" fmla="*/ 806 h 849"/>
                  <a:gd name="T66" fmla="*/ 520 w 846"/>
                  <a:gd name="T67" fmla="*/ 838 h 849"/>
                  <a:gd name="T68" fmla="*/ 423 w 846"/>
                  <a:gd name="T69" fmla="*/ 849 h 849"/>
                  <a:gd name="T70" fmla="*/ 326 w 846"/>
                  <a:gd name="T71" fmla="*/ 838 h 849"/>
                  <a:gd name="T72" fmla="*/ 237 w 846"/>
                  <a:gd name="T73" fmla="*/ 806 h 849"/>
                  <a:gd name="T74" fmla="*/ 159 w 846"/>
                  <a:gd name="T75" fmla="*/ 756 h 849"/>
                  <a:gd name="T76" fmla="*/ 93 w 846"/>
                  <a:gd name="T77" fmla="*/ 690 h 849"/>
                  <a:gd name="T78" fmla="*/ 43 w 846"/>
                  <a:gd name="T79" fmla="*/ 611 h 849"/>
                  <a:gd name="T80" fmla="*/ 11 w 846"/>
                  <a:gd name="T81" fmla="*/ 522 h 849"/>
                  <a:gd name="T82" fmla="*/ 0 w 846"/>
                  <a:gd name="T83" fmla="*/ 424 h 849"/>
                  <a:gd name="T84" fmla="*/ 11 w 846"/>
                  <a:gd name="T85" fmla="*/ 327 h 849"/>
                  <a:gd name="T86" fmla="*/ 43 w 846"/>
                  <a:gd name="T87" fmla="*/ 238 h 849"/>
                  <a:gd name="T88" fmla="*/ 93 w 846"/>
                  <a:gd name="T89" fmla="*/ 160 h 849"/>
                  <a:gd name="T90" fmla="*/ 159 w 846"/>
                  <a:gd name="T91" fmla="*/ 93 h 849"/>
                  <a:gd name="T92" fmla="*/ 237 w 846"/>
                  <a:gd name="T93" fmla="*/ 43 h 849"/>
                  <a:gd name="T94" fmla="*/ 326 w 846"/>
                  <a:gd name="T95" fmla="*/ 11 h 849"/>
                  <a:gd name="T96" fmla="*/ 423 w 846"/>
                  <a:gd name="T97" fmla="*/ 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6" h="849">
                    <a:moveTo>
                      <a:pt x="423" y="188"/>
                    </a:moveTo>
                    <a:lnTo>
                      <a:pt x="385" y="191"/>
                    </a:lnTo>
                    <a:lnTo>
                      <a:pt x="348" y="200"/>
                    </a:lnTo>
                    <a:lnTo>
                      <a:pt x="315" y="215"/>
                    </a:lnTo>
                    <a:lnTo>
                      <a:pt x="284" y="234"/>
                    </a:lnTo>
                    <a:lnTo>
                      <a:pt x="257" y="258"/>
                    </a:lnTo>
                    <a:lnTo>
                      <a:pt x="233" y="285"/>
                    </a:lnTo>
                    <a:lnTo>
                      <a:pt x="214" y="316"/>
                    </a:lnTo>
                    <a:lnTo>
                      <a:pt x="200" y="349"/>
                    </a:lnTo>
                    <a:lnTo>
                      <a:pt x="191" y="386"/>
                    </a:lnTo>
                    <a:lnTo>
                      <a:pt x="187" y="424"/>
                    </a:lnTo>
                    <a:lnTo>
                      <a:pt x="191" y="463"/>
                    </a:lnTo>
                    <a:lnTo>
                      <a:pt x="200" y="499"/>
                    </a:lnTo>
                    <a:lnTo>
                      <a:pt x="214" y="533"/>
                    </a:lnTo>
                    <a:lnTo>
                      <a:pt x="233" y="564"/>
                    </a:lnTo>
                    <a:lnTo>
                      <a:pt x="257" y="592"/>
                    </a:lnTo>
                    <a:lnTo>
                      <a:pt x="284" y="615"/>
                    </a:lnTo>
                    <a:lnTo>
                      <a:pt x="315" y="634"/>
                    </a:lnTo>
                    <a:lnTo>
                      <a:pt x="348" y="649"/>
                    </a:lnTo>
                    <a:lnTo>
                      <a:pt x="385" y="658"/>
                    </a:lnTo>
                    <a:lnTo>
                      <a:pt x="423" y="661"/>
                    </a:lnTo>
                    <a:lnTo>
                      <a:pt x="461" y="658"/>
                    </a:lnTo>
                    <a:lnTo>
                      <a:pt x="497" y="649"/>
                    </a:lnTo>
                    <a:lnTo>
                      <a:pt x="532" y="634"/>
                    </a:lnTo>
                    <a:lnTo>
                      <a:pt x="562" y="615"/>
                    </a:lnTo>
                    <a:lnTo>
                      <a:pt x="590" y="592"/>
                    </a:lnTo>
                    <a:lnTo>
                      <a:pt x="613" y="564"/>
                    </a:lnTo>
                    <a:lnTo>
                      <a:pt x="632" y="533"/>
                    </a:lnTo>
                    <a:lnTo>
                      <a:pt x="647" y="499"/>
                    </a:lnTo>
                    <a:lnTo>
                      <a:pt x="656" y="463"/>
                    </a:lnTo>
                    <a:lnTo>
                      <a:pt x="659" y="424"/>
                    </a:lnTo>
                    <a:lnTo>
                      <a:pt x="656" y="386"/>
                    </a:lnTo>
                    <a:lnTo>
                      <a:pt x="647" y="349"/>
                    </a:lnTo>
                    <a:lnTo>
                      <a:pt x="632" y="316"/>
                    </a:lnTo>
                    <a:lnTo>
                      <a:pt x="613" y="285"/>
                    </a:lnTo>
                    <a:lnTo>
                      <a:pt x="590" y="258"/>
                    </a:lnTo>
                    <a:lnTo>
                      <a:pt x="562" y="234"/>
                    </a:lnTo>
                    <a:lnTo>
                      <a:pt x="532" y="215"/>
                    </a:lnTo>
                    <a:lnTo>
                      <a:pt x="497" y="200"/>
                    </a:lnTo>
                    <a:lnTo>
                      <a:pt x="461" y="191"/>
                    </a:lnTo>
                    <a:lnTo>
                      <a:pt x="423" y="188"/>
                    </a:lnTo>
                    <a:close/>
                    <a:moveTo>
                      <a:pt x="423" y="0"/>
                    </a:moveTo>
                    <a:lnTo>
                      <a:pt x="473" y="2"/>
                    </a:lnTo>
                    <a:lnTo>
                      <a:pt x="520" y="11"/>
                    </a:lnTo>
                    <a:lnTo>
                      <a:pt x="565" y="25"/>
                    </a:lnTo>
                    <a:lnTo>
                      <a:pt x="609" y="43"/>
                    </a:lnTo>
                    <a:lnTo>
                      <a:pt x="650" y="67"/>
                    </a:lnTo>
                    <a:lnTo>
                      <a:pt x="687" y="93"/>
                    </a:lnTo>
                    <a:lnTo>
                      <a:pt x="722" y="125"/>
                    </a:lnTo>
                    <a:lnTo>
                      <a:pt x="754" y="160"/>
                    </a:lnTo>
                    <a:lnTo>
                      <a:pt x="780" y="197"/>
                    </a:lnTo>
                    <a:lnTo>
                      <a:pt x="803" y="238"/>
                    </a:lnTo>
                    <a:lnTo>
                      <a:pt x="822" y="281"/>
                    </a:lnTo>
                    <a:lnTo>
                      <a:pt x="835" y="327"/>
                    </a:lnTo>
                    <a:lnTo>
                      <a:pt x="843" y="375"/>
                    </a:lnTo>
                    <a:lnTo>
                      <a:pt x="846" y="424"/>
                    </a:lnTo>
                    <a:lnTo>
                      <a:pt x="843" y="474"/>
                    </a:lnTo>
                    <a:lnTo>
                      <a:pt x="835" y="522"/>
                    </a:lnTo>
                    <a:lnTo>
                      <a:pt x="822" y="567"/>
                    </a:lnTo>
                    <a:lnTo>
                      <a:pt x="803" y="611"/>
                    </a:lnTo>
                    <a:lnTo>
                      <a:pt x="780" y="652"/>
                    </a:lnTo>
                    <a:lnTo>
                      <a:pt x="754" y="690"/>
                    </a:lnTo>
                    <a:lnTo>
                      <a:pt x="722" y="724"/>
                    </a:lnTo>
                    <a:lnTo>
                      <a:pt x="687" y="756"/>
                    </a:lnTo>
                    <a:lnTo>
                      <a:pt x="650" y="783"/>
                    </a:lnTo>
                    <a:lnTo>
                      <a:pt x="609" y="806"/>
                    </a:lnTo>
                    <a:lnTo>
                      <a:pt x="565" y="824"/>
                    </a:lnTo>
                    <a:lnTo>
                      <a:pt x="520" y="838"/>
                    </a:lnTo>
                    <a:lnTo>
                      <a:pt x="473" y="846"/>
                    </a:lnTo>
                    <a:lnTo>
                      <a:pt x="423" y="849"/>
                    </a:lnTo>
                    <a:lnTo>
                      <a:pt x="374" y="846"/>
                    </a:lnTo>
                    <a:lnTo>
                      <a:pt x="326" y="838"/>
                    </a:lnTo>
                    <a:lnTo>
                      <a:pt x="280" y="824"/>
                    </a:lnTo>
                    <a:lnTo>
                      <a:pt x="237" y="806"/>
                    </a:lnTo>
                    <a:lnTo>
                      <a:pt x="197" y="783"/>
                    </a:lnTo>
                    <a:lnTo>
                      <a:pt x="159" y="756"/>
                    </a:lnTo>
                    <a:lnTo>
                      <a:pt x="124" y="724"/>
                    </a:lnTo>
                    <a:lnTo>
                      <a:pt x="93" y="690"/>
                    </a:lnTo>
                    <a:lnTo>
                      <a:pt x="66" y="652"/>
                    </a:lnTo>
                    <a:lnTo>
                      <a:pt x="43" y="611"/>
                    </a:lnTo>
                    <a:lnTo>
                      <a:pt x="25" y="567"/>
                    </a:lnTo>
                    <a:lnTo>
                      <a:pt x="11" y="522"/>
                    </a:lnTo>
                    <a:lnTo>
                      <a:pt x="2" y="474"/>
                    </a:lnTo>
                    <a:lnTo>
                      <a:pt x="0" y="424"/>
                    </a:lnTo>
                    <a:lnTo>
                      <a:pt x="2" y="375"/>
                    </a:lnTo>
                    <a:lnTo>
                      <a:pt x="11" y="327"/>
                    </a:lnTo>
                    <a:lnTo>
                      <a:pt x="25" y="281"/>
                    </a:lnTo>
                    <a:lnTo>
                      <a:pt x="43" y="238"/>
                    </a:lnTo>
                    <a:lnTo>
                      <a:pt x="66" y="197"/>
                    </a:lnTo>
                    <a:lnTo>
                      <a:pt x="93" y="160"/>
                    </a:lnTo>
                    <a:lnTo>
                      <a:pt x="124" y="125"/>
                    </a:lnTo>
                    <a:lnTo>
                      <a:pt x="159" y="93"/>
                    </a:lnTo>
                    <a:lnTo>
                      <a:pt x="197" y="67"/>
                    </a:lnTo>
                    <a:lnTo>
                      <a:pt x="237" y="43"/>
                    </a:lnTo>
                    <a:lnTo>
                      <a:pt x="280" y="25"/>
                    </a:lnTo>
                    <a:lnTo>
                      <a:pt x="326" y="11"/>
                    </a:lnTo>
                    <a:lnTo>
                      <a:pt x="374" y="2"/>
                    </a:lnTo>
                    <a:lnTo>
                      <a:pt x="423"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3210" tIns="46605" rIns="46605" bIns="93210" numCol="1" spcCol="0" rtlCol="0" fromWordArt="0" anchor="b" anchorCtr="0" forceAA="0" compatLnSpc="1">
                <a:prstTxWarp prst="textNoShape">
                  <a:avLst/>
                </a:prstTxWarp>
                <a:noAutofit/>
              </a:bodyPr>
              <a:lstStyle/>
              <a:p>
                <a:pPr algn="ctr" defTabSz="931652" fontAlgn="base">
                  <a:spcBef>
                    <a:spcPct val="0"/>
                  </a:spcBef>
                  <a:spcAft>
                    <a:spcPct val="0"/>
                  </a:spcAft>
                  <a:defRPr/>
                </a:pPr>
                <a:endParaRPr lang="en-US" sz="1631" kern="0" spc="-51"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 name="Freeform 516"/>
              <p:cNvSpPr>
                <a:spLocks noEditPoints="1"/>
              </p:cNvSpPr>
              <p:nvPr/>
            </p:nvSpPr>
            <p:spPr bwMode="auto">
              <a:xfrm>
                <a:off x="4919026" y="4147654"/>
                <a:ext cx="302145" cy="303577"/>
              </a:xfrm>
              <a:custGeom>
                <a:avLst/>
                <a:gdLst>
                  <a:gd name="T0" fmla="*/ 385 w 848"/>
                  <a:gd name="T1" fmla="*/ 191 h 849"/>
                  <a:gd name="T2" fmla="*/ 316 w 848"/>
                  <a:gd name="T3" fmla="*/ 215 h 849"/>
                  <a:gd name="T4" fmla="*/ 257 w 848"/>
                  <a:gd name="T5" fmla="*/ 258 h 849"/>
                  <a:gd name="T6" fmla="*/ 214 w 848"/>
                  <a:gd name="T7" fmla="*/ 316 h 849"/>
                  <a:gd name="T8" fmla="*/ 192 w 848"/>
                  <a:gd name="T9" fmla="*/ 386 h 849"/>
                  <a:gd name="T10" fmla="*/ 192 w 848"/>
                  <a:gd name="T11" fmla="*/ 463 h 849"/>
                  <a:gd name="T12" fmla="*/ 214 w 848"/>
                  <a:gd name="T13" fmla="*/ 533 h 849"/>
                  <a:gd name="T14" fmla="*/ 257 w 848"/>
                  <a:gd name="T15" fmla="*/ 592 h 849"/>
                  <a:gd name="T16" fmla="*/ 316 w 848"/>
                  <a:gd name="T17" fmla="*/ 634 h 849"/>
                  <a:gd name="T18" fmla="*/ 385 w 848"/>
                  <a:gd name="T19" fmla="*/ 658 h 849"/>
                  <a:gd name="T20" fmla="*/ 462 w 848"/>
                  <a:gd name="T21" fmla="*/ 658 h 849"/>
                  <a:gd name="T22" fmla="*/ 532 w 848"/>
                  <a:gd name="T23" fmla="*/ 634 h 849"/>
                  <a:gd name="T24" fmla="*/ 590 w 848"/>
                  <a:gd name="T25" fmla="*/ 592 h 849"/>
                  <a:gd name="T26" fmla="*/ 633 w 848"/>
                  <a:gd name="T27" fmla="*/ 533 h 849"/>
                  <a:gd name="T28" fmla="*/ 656 w 848"/>
                  <a:gd name="T29" fmla="*/ 463 h 849"/>
                  <a:gd name="T30" fmla="*/ 656 w 848"/>
                  <a:gd name="T31" fmla="*/ 386 h 849"/>
                  <a:gd name="T32" fmla="*/ 633 w 848"/>
                  <a:gd name="T33" fmla="*/ 316 h 849"/>
                  <a:gd name="T34" fmla="*/ 590 w 848"/>
                  <a:gd name="T35" fmla="*/ 258 h 849"/>
                  <a:gd name="T36" fmla="*/ 532 w 848"/>
                  <a:gd name="T37" fmla="*/ 215 h 849"/>
                  <a:gd name="T38" fmla="*/ 462 w 848"/>
                  <a:gd name="T39" fmla="*/ 191 h 849"/>
                  <a:gd name="T40" fmla="*/ 424 w 848"/>
                  <a:gd name="T41" fmla="*/ 0 h 849"/>
                  <a:gd name="T42" fmla="*/ 521 w 848"/>
                  <a:gd name="T43" fmla="*/ 11 h 849"/>
                  <a:gd name="T44" fmla="*/ 610 w 848"/>
                  <a:gd name="T45" fmla="*/ 43 h 849"/>
                  <a:gd name="T46" fmla="*/ 689 w 848"/>
                  <a:gd name="T47" fmla="*/ 93 h 849"/>
                  <a:gd name="T48" fmla="*/ 754 w 848"/>
                  <a:gd name="T49" fmla="*/ 160 h 849"/>
                  <a:gd name="T50" fmla="*/ 804 w 848"/>
                  <a:gd name="T51" fmla="*/ 238 h 849"/>
                  <a:gd name="T52" fmla="*/ 836 w 848"/>
                  <a:gd name="T53" fmla="*/ 327 h 849"/>
                  <a:gd name="T54" fmla="*/ 848 w 848"/>
                  <a:gd name="T55" fmla="*/ 424 h 849"/>
                  <a:gd name="T56" fmla="*/ 836 w 848"/>
                  <a:gd name="T57" fmla="*/ 522 h 849"/>
                  <a:gd name="T58" fmla="*/ 804 w 848"/>
                  <a:gd name="T59" fmla="*/ 611 h 849"/>
                  <a:gd name="T60" fmla="*/ 754 w 848"/>
                  <a:gd name="T61" fmla="*/ 690 h 849"/>
                  <a:gd name="T62" fmla="*/ 689 w 848"/>
                  <a:gd name="T63" fmla="*/ 756 h 849"/>
                  <a:gd name="T64" fmla="*/ 610 w 848"/>
                  <a:gd name="T65" fmla="*/ 806 h 849"/>
                  <a:gd name="T66" fmla="*/ 521 w 848"/>
                  <a:gd name="T67" fmla="*/ 838 h 849"/>
                  <a:gd name="T68" fmla="*/ 424 w 848"/>
                  <a:gd name="T69" fmla="*/ 849 h 849"/>
                  <a:gd name="T70" fmla="*/ 327 w 848"/>
                  <a:gd name="T71" fmla="*/ 838 h 849"/>
                  <a:gd name="T72" fmla="*/ 238 w 848"/>
                  <a:gd name="T73" fmla="*/ 806 h 849"/>
                  <a:gd name="T74" fmla="*/ 159 w 848"/>
                  <a:gd name="T75" fmla="*/ 756 h 849"/>
                  <a:gd name="T76" fmla="*/ 94 w 848"/>
                  <a:gd name="T77" fmla="*/ 690 h 849"/>
                  <a:gd name="T78" fmla="*/ 44 w 848"/>
                  <a:gd name="T79" fmla="*/ 611 h 849"/>
                  <a:gd name="T80" fmla="*/ 12 w 848"/>
                  <a:gd name="T81" fmla="*/ 522 h 849"/>
                  <a:gd name="T82" fmla="*/ 0 w 848"/>
                  <a:gd name="T83" fmla="*/ 424 h 849"/>
                  <a:gd name="T84" fmla="*/ 12 w 848"/>
                  <a:gd name="T85" fmla="*/ 327 h 849"/>
                  <a:gd name="T86" fmla="*/ 44 w 848"/>
                  <a:gd name="T87" fmla="*/ 238 h 849"/>
                  <a:gd name="T88" fmla="*/ 94 w 848"/>
                  <a:gd name="T89" fmla="*/ 160 h 849"/>
                  <a:gd name="T90" fmla="*/ 159 w 848"/>
                  <a:gd name="T91" fmla="*/ 93 h 849"/>
                  <a:gd name="T92" fmla="*/ 238 w 848"/>
                  <a:gd name="T93" fmla="*/ 43 h 849"/>
                  <a:gd name="T94" fmla="*/ 327 w 848"/>
                  <a:gd name="T95" fmla="*/ 11 h 849"/>
                  <a:gd name="T96" fmla="*/ 424 w 848"/>
                  <a:gd name="T97" fmla="*/ 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8" h="849">
                    <a:moveTo>
                      <a:pt x="424" y="188"/>
                    </a:moveTo>
                    <a:lnTo>
                      <a:pt x="385" y="191"/>
                    </a:lnTo>
                    <a:lnTo>
                      <a:pt x="350" y="200"/>
                    </a:lnTo>
                    <a:lnTo>
                      <a:pt x="316" y="215"/>
                    </a:lnTo>
                    <a:lnTo>
                      <a:pt x="284" y="234"/>
                    </a:lnTo>
                    <a:lnTo>
                      <a:pt x="257" y="258"/>
                    </a:lnTo>
                    <a:lnTo>
                      <a:pt x="234" y="285"/>
                    </a:lnTo>
                    <a:lnTo>
                      <a:pt x="214" y="316"/>
                    </a:lnTo>
                    <a:lnTo>
                      <a:pt x="200" y="349"/>
                    </a:lnTo>
                    <a:lnTo>
                      <a:pt x="192" y="386"/>
                    </a:lnTo>
                    <a:lnTo>
                      <a:pt x="189" y="424"/>
                    </a:lnTo>
                    <a:lnTo>
                      <a:pt x="192" y="463"/>
                    </a:lnTo>
                    <a:lnTo>
                      <a:pt x="200" y="499"/>
                    </a:lnTo>
                    <a:lnTo>
                      <a:pt x="214" y="533"/>
                    </a:lnTo>
                    <a:lnTo>
                      <a:pt x="234" y="564"/>
                    </a:lnTo>
                    <a:lnTo>
                      <a:pt x="257" y="592"/>
                    </a:lnTo>
                    <a:lnTo>
                      <a:pt x="284" y="615"/>
                    </a:lnTo>
                    <a:lnTo>
                      <a:pt x="316" y="634"/>
                    </a:lnTo>
                    <a:lnTo>
                      <a:pt x="350" y="649"/>
                    </a:lnTo>
                    <a:lnTo>
                      <a:pt x="385" y="658"/>
                    </a:lnTo>
                    <a:lnTo>
                      <a:pt x="424" y="661"/>
                    </a:lnTo>
                    <a:lnTo>
                      <a:pt x="462" y="658"/>
                    </a:lnTo>
                    <a:lnTo>
                      <a:pt x="498" y="649"/>
                    </a:lnTo>
                    <a:lnTo>
                      <a:pt x="532" y="634"/>
                    </a:lnTo>
                    <a:lnTo>
                      <a:pt x="563" y="615"/>
                    </a:lnTo>
                    <a:lnTo>
                      <a:pt x="590" y="592"/>
                    </a:lnTo>
                    <a:lnTo>
                      <a:pt x="614" y="564"/>
                    </a:lnTo>
                    <a:lnTo>
                      <a:pt x="633" y="533"/>
                    </a:lnTo>
                    <a:lnTo>
                      <a:pt x="648" y="499"/>
                    </a:lnTo>
                    <a:lnTo>
                      <a:pt x="656" y="463"/>
                    </a:lnTo>
                    <a:lnTo>
                      <a:pt x="659" y="424"/>
                    </a:lnTo>
                    <a:lnTo>
                      <a:pt x="656" y="386"/>
                    </a:lnTo>
                    <a:lnTo>
                      <a:pt x="648" y="349"/>
                    </a:lnTo>
                    <a:lnTo>
                      <a:pt x="633" y="316"/>
                    </a:lnTo>
                    <a:lnTo>
                      <a:pt x="614" y="285"/>
                    </a:lnTo>
                    <a:lnTo>
                      <a:pt x="590" y="258"/>
                    </a:lnTo>
                    <a:lnTo>
                      <a:pt x="563" y="234"/>
                    </a:lnTo>
                    <a:lnTo>
                      <a:pt x="532" y="215"/>
                    </a:lnTo>
                    <a:lnTo>
                      <a:pt x="498" y="200"/>
                    </a:lnTo>
                    <a:lnTo>
                      <a:pt x="462" y="191"/>
                    </a:lnTo>
                    <a:lnTo>
                      <a:pt x="424" y="188"/>
                    </a:lnTo>
                    <a:close/>
                    <a:moveTo>
                      <a:pt x="424" y="0"/>
                    </a:moveTo>
                    <a:lnTo>
                      <a:pt x="473" y="2"/>
                    </a:lnTo>
                    <a:lnTo>
                      <a:pt x="521" y="11"/>
                    </a:lnTo>
                    <a:lnTo>
                      <a:pt x="567" y="25"/>
                    </a:lnTo>
                    <a:lnTo>
                      <a:pt x="610" y="43"/>
                    </a:lnTo>
                    <a:lnTo>
                      <a:pt x="651" y="67"/>
                    </a:lnTo>
                    <a:lnTo>
                      <a:pt x="689" y="93"/>
                    </a:lnTo>
                    <a:lnTo>
                      <a:pt x="723" y="125"/>
                    </a:lnTo>
                    <a:lnTo>
                      <a:pt x="754" y="160"/>
                    </a:lnTo>
                    <a:lnTo>
                      <a:pt x="781" y="197"/>
                    </a:lnTo>
                    <a:lnTo>
                      <a:pt x="804" y="238"/>
                    </a:lnTo>
                    <a:lnTo>
                      <a:pt x="822" y="281"/>
                    </a:lnTo>
                    <a:lnTo>
                      <a:pt x="836" y="327"/>
                    </a:lnTo>
                    <a:lnTo>
                      <a:pt x="844" y="375"/>
                    </a:lnTo>
                    <a:lnTo>
                      <a:pt x="848" y="424"/>
                    </a:lnTo>
                    <a:lnTo>
                      <a:pt x="844" y="474"/>
                    </a:lnTo>
                    <a:lnTo>
                      <a:pt x="836" y="522"/>
                    </a:lnTo>
                    <a:lnTo>
                      <a:pt x="822" y="567"/>
                    </a:lnTo>
                    <a:lnTo>
                      <a:pt x="804" y="611"/>
                    </a:lnTo>
                    <a:lnTo>
                      <a:pt x="781" y="652"/>
                    </a:lnTo>
                    <a:lnTo>
                      <a:pt x="754" y="690"/>
                    </a:lnTo>
                    <a:lnTo>
                      <a:pt x="723" y="724"/>
                    </a:lnTo>
                    <a:lnTo>
                      <a:pt x="689" y="756"/>
                    </a:lnTo>
                    <a:lnTo>
                      <a:pt x="651" y="783"/>
                    </a:lnTo>
                    <a:lnTo>
                      <a:pt x="610" y="806"/>
                    </a:lnTo>
                    <a:lnTo>
                      <a:pt x="567" y="824"/>
                    </a:lnTo>
                    <a:lnTo>
                      <a:pt x="521" y="838"/>
                    </a:lnTo>
                    <a:lnTo>
                      <a:pt x="473" y="846"/>
                    </a:lnTo>
                    <a:lnTo>
                      <a:pt x="424" y="849"/>
                    </a:lnTo>
                    <a:lnTo>
                      <a:pt x="375" y="846"/>
                    </a:lnTo>
                    <a:lnTo>
                      <a:pt x="327" y="838"/>
                    </a:lnTo>
                    <a:lnTo>
                      <a:pt x="281" y="824"/>
                    </a:lnTo>
                    <a:lnTo>
                      <a:pt x="238" y="806"/>
                    </a:lnTo>
                    <a:lnTo>
                      <a:pt x="197" y="783"/>
                    </a:lnTo>
                    <a:lnTo>
                      <a:pt x="159" y="756"/>
                    </a:lnTo>
                    <a:lnTo>
                      <a:pt x="125" y="724"/>
                    </a:lnTo>
                    <a:lnTo>
                      <a:pt x="94" y="690"/>
                    </a:lnTo>
                    <a:lnTo>
                      <a:pt x="67" y="652"/>
                    </a:lnTo>
                    <a:lnTo>
                      <a:pt x="44" y="611"/>
                    </a:lnTo>
                    <a:lnTo>
                      <a:pt x="25" y="567"/>
                    </a:lnTo>
                    <a:lnTo>
                      <a:pt x="12" y="522"/>
                    </a:lnTo>
                    <a:lnTo>
                      <a:pt x="3" y="474"/>
                    </a:lnTo>
                    <a:lnTo>
                      <a:pt x="0" y="424"/>
                    </a:lnTo>
                    <a:lnTo>
                      <a:pt x="3" y="375"/>
                    </a:lnTo>
                    <a:lnTo>
                      <a:pt x="12" y="327"/>
                    </a:lnTo>
                    <a:lnTo>
                      <a:pt x="25" y="281"/>
                    </a:lnTo>
                    <a:lnTo>
                      <a:pt x="44" y="238"/>
                    </a:lnTo>
                    <a:lnTo>
                      <a:pt x="67" y="197"/>
                    </a:lnTo>
                    <a:lnTo>
                      <a:pt x="94" y="160"/>
                    </a:lnTo>
                    <a:lnTo>
                      <a:pt x="125" y="125"/>
                    </a:lnTo>
                    <a:lnTo>
                      <a:pt x="159" y="93"/>
                    </a:lnTo>
                    <a:lnTo>
                      <a:pt x="197" y="67"/>
                    </a:lnTo>
                    <a:lnTo>
                      <a:pt x="238" y="43"/>
                    </a:lnTo>
                    <a:lnTo>
                      <a:pt x="281" y="25"/>
                    </a:lnTo>
                    <a:lnTo>
                      <a:pt x="327" y="11"/>
                    </a:lnTo>
                    <a:lnTo>
                      <a:pt x="375" y="2"/>
                    </a:lnTo>
                    <a:lnTo>
                      <a:pt x="424"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3210" tIns="46605" rIns="46605" bIns="93210" numCol="1" spcCol="0" rtlCol="0" fromWordArt="0" anchor="b" anchorCtr="0" forceAA="0" compatLnSpc="1">
                <a:prstTxWarp prst="textNoShape">
                  <a:avLst/>
                </a:prstTxWarp>
                <a:noAutofit/>
              </a:bodyPr>
              <a:lstStyle/>
              <a:p>
                <a:pPr algn="ctr" defTabSz="931652" fontAlgn="base">
                  <a:spcBef>
                    <a:spcPct val="0"/>
                  </a:spcBef>
                  <a:spcAft>
                    <a:spcPct val="0"/>
                  </a:spcAft>
                  <a:defRPr/>
                </a:pPr>
                <a:endParaRPr lang="en-US" sz="1631" kern="0" spc="-51"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Freeform 517"/>
              <p:cNvSpPr>
                <a:spLocks/>
              </p:cNvSpPr>
              <p:nvPr/>
            </p:nvSpPr>
            <p:spPr bwMode="auto">
              <a:xfrm>
                <a:off x="4685776" y="3552035"/>
                <a:ext cx="473980" cy="524101"/>
              </a:xfrm>
              <a:custGeom>
                <a:avLst/>
                <a:gdLst>
                  <a:gd name="T0" fmla="*/ 805 w 1327"/>
                  <a:gd name="T1" fmla="*/ 1 h 1464"/>
                  <a:gd name="T2" fmla="*/ 828 w 1327"/>
                  <a:gd name="T3" fmla="*/ 8 h 1464"/>
                  <a:gd name="T4" fmla="*/ 848 w 1327"/>
                  <a:gd name="T5" fmla="*/ 19 h 1464"/>
                  <a:gd name="T6" fmla="*/ 869 w 1327"/>
                  <a:gd name="T7" fmla="*/ 36 h 1464"/>
                  <a:gd name="T8" fmla="*/ 891 w 1327"/>
                  <a:gd name="T9" fmla="*/ 61 h 1464"/>
                  <a:gd name="T10" fmla="*/ 921 w 1327"/>
                  <a:gd name="T11" fmla="*/ 102 h 1464"/>
                  <a:gd name="T12" fmla="*/ 945 w 1327"/>
                  <a:gd name="T13" fmla="*/ 149 h 1464"/>
                  <a:gd name="T14" fmla="*/ 957 w 1327"/>
                  <a:gd name="T15" fmla="*/ 183 h 1464"/>
                  <a:gd name="T16" fmla="*/ 979 w 1327"/>
                  <a:gd name="T17" fmla="*/ 245 h 1464"/>
                  <a:gd name="T18" fmla="*/ 1003 w 1327"/>
                  <a:gd name="T19" fmla="*/ 325 h 1464"/>
                  <a:gd name="T20" fmla="*/ 1034 w 1327"/>
                  <a:gd name="T21" fmla="*/ 426 h 1464"/>
                  <a:gd name="T22" fmla="*/ 1080 w 1327"/>
                  <a:gd name="T23" fmla="*/ 584 h 1464"/>
                  <a:gd name="T24" fmla="*/ 1161 w 1327"/>
                  <a:gd name="T25" fmla="*/ 867 h 1464"/>
                  <a:gd name="T26" fmla="*/ 1207 w 1327"/>
                  <a:gd name="T27" fmla="*/ 1033 h 1464"/>
                  <a:gd name="T28" fmla="*/ 1247 w 1327"/>
                  <a:gd name="T29" fmla="*/ 1180 h 1464"/>
                  <a:gd name="T30" fmla="*/ 1275 w 1327"/>
                  <a:gd name="T31" fmla="*/ 1281 h 1464"/>
                  <a:gd name="T32" fmla="*/ 1288 w 1327"/>
                  <a:gd name="T33" fmla="*/ 1330 h 1464"/>
                  <a:gd name="T34" fmla="*/ 1299 w 1327"/>
                  <a:gd name="T35" fmla="*/ 1368 h 1464"/>
                  <a:gd name="T36" fmla="*/ 1307 w 1327"/>
                  <a:gd name="T37" fmla="*/ 1394 h 1464"/>
                  <a:gd name="T38" fmla="*/ 1327 w 1327"/>
                  <a:gd name="T39" fmla="*/ 1464 h 1464"/>
                  <a:gd name="T40" fmla="*/ 1203 w 1327"/>
                  <a:gd name="T41" fmla="*/ 1370 h 1464"/>
                  <a:gd name="T42" fmla="*/ 1192 w 1327"/>
                  <a:gd name="T43" fmla="*/ 1334 h 1464"/>
                  <a:gd name="T44" fmla="*/ 1178 w 1327"/>
                  <a:gd name="T45" fmla="*/ 1282 h 1464"/>
                  <a:gd name="T46" fmla="*/ 1143 w 1327"/>
                  <a:gd name="T47" fmla="*/ 1152 h 1464"/>
                  <a:gd name="T48" fmla="*/ 1100 w 1327"/>
                  <a:gd name="T49" fmla="*/ 998 h 1464"/>
                  <a:gd name="T50" fmla="*/ 1020 w 1327"/>
                  <a:gd name="T51" fmla="*/ 715 h 1464"/>
                  <a:gd name="T52" fmla="*/ 973 w 1327"/>
                  <a:gd name="T53" fmla="*/ 548 h 1464"/>
                  <a:gd name="T54" fmla="*/ 928 w 1327"/>
                  <a:gd name="T55" fmla="*/ 398 h 1464"/>
                  <a:gd name="T56" fmla="*/ 904 w 1327"/>
                  <a:gd name="T57" fmla="*/ 320 h 1464"/>
                  <a:gd name="T58" fmla="*/ 886 w 1327"/>
                  <a:gd name="T59" fmla="*/ 264 h 1464"/>
                  <a:gd name="T60" fmla="*/ 867 w 1327"/>
                  <a:gd name="T61" fmla="*/ 207 h 1464"/>
                  <a:gd name="T62" fmla="*/ 854 w 1327"/>
                  <a:gd name="T63" fmla="*/ 177 h 1464"/>
                  <a:gd name="T64" fmla="*/ 851 w 1327"/>
                  <a:gd name="T65" fmla="*/ 168 h 1464"/>
                  <a:gd name="T66" fmla="*/ 823 w 1327"/>
                  <a:gd name="T67" fmla="*/ 125 h 1464"/>
                  <a:gd name="T68" fmla="*/ 803 w 1327"/>
                  <a:gd name="T69" fmla="*/ 102 h 1464"/>
                  <a:gd name="T70" fmla="*/ 795 w 1327"/>
                  <a:gd name="T71" fmla="*/ 97 h 1464"/>
                  <a:gd name="T72" fmla="*/ 789 w 1327"/>
                  <a:gd name="T73" fmla="*/ 94 h 1464"/>
                  <a:gd name="T74" fmla="*/ 233 w 1327"/>
                  <a:gd name="T75" fmla="*/ 96 h 1464"/>
                  <a:gd name="T76" fmla="*/ 188 w 1327"/>
                  <a:gd name="T77" fmla="*/ 103 h 1464"/>
                  <a:gd name="T78" fmla="*/ 149 w 1327"/>
                  <a:gd name="T79" fmla="*/ 119 h 1464"/>
                  <a:gd name="T80" fmla="*/ 127 w 1327"/>
                  <a:gd name="T81" fmla="*/ 134 h 1464"/>
                  <a:gd name="T82" fmla="*/ 117 w 1327"/>
                  <a:gd name="T83" fmla="*/ 145 h 1464"/>
                  <a:gd name="T84" fmla="*/ 99 w 1327"/>
                  <a:gd name="T85" fmla="*/ 186 h 1464"/>
                  <a:gd name="T86" fmla="*/ 95 w 1327"/>
                  <a:gd name="T87" fmla="*/ 217 h 1464"/>
                  <a:gd name="T88" fmla="*/ 95 w 1327"/>
                  <a:gd name="T89" fmla="*/ 284 h 1464"/>
                  <a:gd name="T90" fmla="*/ 2 w 1327"/>
                  <a:gd name="T91" fmla="*/ 1248 h 1464"/>
                  <a:gd name="T92" fmla="*/ 0 w 1327"/>
                  <a:gd name="T93" fmla="*/ 262 h 1464"/>
                  <a:gd name="T94" fmla="*/ 2 w 1327"/>
                  <a:gd name="T95" fmla="*/ 208 h 1464"/>
                  <a:gd name="T96" fmla="*/ 19 w 1327"/>
                  <a:gd name="T97" fmla="*/ 132 h 1464"/>
                  <a:gd name="T98" fmla="*/ 40 w 1327"/>
                  <a:gd name="T99" fmla="*/ 93 h 1464"/>
                  <a:gd name="T100" fmla="*/ 61 w 1327"/>
                  <a:gd name="T101" fmla="*/ 67 h 1464"/>
                  <a:gd name="T102" fmla="*/ 89 w 1327"/>
                  <a:gd name="T103" fmla="*/ 46 h 1464"/>
                  <a:gd name="T104" fmla="*/ 122 w 1327"/>
                  <a:gd name="T105" fmla="*/ 26 h 1464"/>
                  <a:gd name="T106" fmla="*/ 162 w 1327"/>
                  <a:gd name="T107" fmla="*/ 13 h 1464"/>
                  <a:gd name="T108" fmla="*/ 220 w 1327"/>
                  <a:gd name="T109" fmla="*/ 3 h 1464"/>
                  <a:gd name="T110" fmla="*/ 276 w 1327"/>
                  <a:gd name="T111" fmla="*/ 0 h 1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27" h="1464">
                    <a:moveTo>
                      <a:pt x="276" y="0"/>
                    </a:moveTo>
                    <a:lnTo>
                      <a:pt x="795" y="0"/>
                    </a:lnTo>
                    <a:lnTo>
                      <a:pt x="805" y="1"/>
                    </a:lnTo>
                    <a:lnTo>
                      <a:pt x="811" y="2"/>
                    </a:lnTo>
                    <a:lnTo>
                      <a:pt x="819" y="4"/>
                    </a:lnTo>
                    <a:lnTo>
                      <a:pt x="828" y="8"/>
                    </a:lnTo>
                    <a:lnTo>
                      <a:pt x="833" y="10"/>
                    </a:lnTo>
                    <a:lnTo>
                      <a:pt x="841" y="15"/>
                    </a:lnTo>
                    <a:lnTo>
                      <a:pt x="848" y="19"/>
                    </a:lnTo>
                    <a:lnTo>
                      <a:pt x="854" y="24"/>
                    </a:lnTo>
                    <a:lnTo>
                      <a:pt x="862" y="30"/>
                    </a:lnTo>
                    <a:lnTo>
                      <a:pt x="869" y="36"/>
                    </a:lnTo>
                    <a:lnTo>
                      <a:pt x="877" y="44"/>
                    </a:lnTo>
                    <a:lnTo>
                      <a:pt x="886" y="54"/>
                    </a:lnTo>
                    <a:lnTo>
                      <a:pt x="891" y="61"/>
                    </a:lnTo>
                    <a:lnTo>
                      <a:pt x="900" y="72"/>
                    </a:lnTo>
                    <a:lnTo>
                      <a:pt x="910" y="86"/>
                    </a:lnTo>
                    <a:lnTo>
                      <a:pt x="921" y="102"/>
                    </a:lnTo>
                    <a:lnTo>
                      <a:pt x="933" y="123"/>
                    </a:lnTo>
                    <a:lnTo>
                      <a:pt x="940" y="140"/>
                    </a:lnTo>
                    <a:lnTo>
                      <a:pt x="945" y="149"/>
                    </a:lnTo>
                    <a:lnTo>
                      <a:pt x="949" y="159"/>
                    </a:lnTo>
                    <a:lnTo>
                      <a:pt x="953" y="170"/>
                    </a:lnTo>
                    <a:lnTo>
                      <a:pt x="957" y="183"/>
                    </a:lnTo>
                    <a:lnTo>
                      <a:pt x="967" y="211"/>
                    </a:lnTo>
                    <a:lnTo>
                      <a:pt x="973" y="228"/>
                    </a:lnTo>
                    <a:lnTo>
                      <a:pt x="979" y="245"/>
                    </a:lnTo>
                    <a:lnTo>
                      <a:pt x="985" y="263"/>
                    </a:lnTo>
                    <a:lnTo>
                      <a:pt x="991" y="283"/>
                    </a:lnTo>
                    <a:lnTo>
                      <a:pt x="1003" y="325"/>
                    </a:lnTo>
                    <a:lnTo>
                      <a:pt x="1006" y="334"/>
                    </a:lnTo>
                    <a:lnTo>
                      <a:pt x="1019" y="379"/>
                    </a:lnTo>
                    <a:lnTo>
                      <a:pt x="1034" y="426"/>
                    </a:lnTo>
                    <a:lnTo>
                      <a:pt x="1049" y="477"/>
                    </a:lnTo>
                    <a:lnTo>
                      <a:pt x="1064" y="529"/>
                    </a:lnTo>
                    <a:lnTo>
                      <a:pt x="1080" y="584"/>
                    </a:lnTo>
                    <a:lnTo>
                      <a:pt x="1096" y="639"/>
                    </a:lnTo>
                    <a:lnTo>
                      <a:pt x="1112" y="696"/>
                    </a:lnTo>
                    <a:lnTo>
                      <a:pt x="1161" y="867"/>
                    </a:lnTo>
                    <a:lnTo>
                      <a:pt x="1176" y="923"/>
                    </a:lnTo>
                    <a:lnTo>
                      <a:pt x="1191" y="978"/>
                    </a:lnTo>
                    <a:lnTo>
                      <a:pt x="1207" y="1033"/>
                    </a:lnTo>
                    <a:lnTo>
                      <a:pt x="1221" y="1084"/>
                    </a:lnTo>
                    <a:lnTo>
                      <a:pt x="1234" y="1133"/>
                    </a:lnTo>
                    <a:lnTo>
                      <a:pt x="1247" y="1180"/>
                    </a:lnTo>
                    <a:lnTo>
                      <a:pt x="1260" y="1223"/>
                    </a:lnTo>
                    <a:lnTo>
                      <a:pt x="1270" y="1262"/>
                    </a:lnTo>
                    <a:lnTo>
                      <a:pt x="1275" y="1281"/>
                    </a:lnTo>
                    <a:lnTo>
                      <a:pt x="1280" y="1298"/>
                    </a:lnTo>
                    <a:lnTo>
                      <a:pt x="1284" y="1315"/>
                    </a:lnTo>
                    <a:lnTo>
                      <a:pt x="1288" y="1330"/>
                    </a:lnTo>
                    <a:lnTo>
                      <a:pt x="1292" y="1344"/>
                    </a:lnTo>
                    <a:lnTo>
                      <a:pt x="1296" y="1356"/>
                    </a:lnTo>
                    <a:lnTo>
                      <a:pt x="1299" y="1368"/>
                    </a:lnTo>
                    <a:lnTo>
                      <a:pt x="1301" y="1378"/>
                    </a:lnTo>
                    <a:lnTo>
                      <a:pt x="1304" y="1387"/>
                    </a:lnTo>
                    <a:lnTo>
                      <a:pt x="1307" y="1394"/>
                    </a:lnTo>
                    <a:lnTo>
                      <a:pt x="1308" y="1399"/>
                    </a:lnTo>
                    <a:lnTo>
                      <a:pt x="1309" y="1403"/>
                    </a:lnTo>
                    <a:lnTo>
                      <a:pt x="1327" y="1464"/>
                    </a:lnTo>
                    <a:lnTo>
                      <a:pt x="323" y="1464"/>
                    </a:lnTo>
                    <a:lnTo>
                      <a:pt x="323" y="1370"/>
                    </a:lnTo>
                    <a:lnTo>
                      <a:pt x="1203" y="1370"/>
                    </a:lnTo>
                    <a:lnTo>
                      <a:pt x="1201" y="1364"/>
                    </a:lnTo>
                    <a:lnTo>
                      <a:pt x="1197" y="1349"/>
                    </a:lnTo>
                    <a:lnTo>
                      <a:pt x="1192" y="1334"/>
                    </a:lnTo>
                    <a:lnTo>
                      <a:pt x="1188" y="1318"/>
                    </a:lnTo>
                    <a:lnTo>
                      <a:pt x="1183" y="1300"/>
                    </a:lnTo>
                    <a:lnTo>
                      <a:pt x="1178" y="1282"/>
                    </a:lnTo>
                    <a:lnTo>
                      <a:pt x="1168" y="1242"/>
                    </a:lnTo>
                    <a:lnTo>
                      <a:pt x="1156" y="1199"/>
                    </a:lnTo>
                    <a:lnTo>
                      <a:pt x="1143" y="1152"/>
                    </a:lnTo>
                    <a:lnTo>
                      <a:pt x="1129" y="1103"/>
                    </a:lnTo>
                    <a:lnTo>
                      <a:pt x="1115" y="1052"/>
                    </a:lnTo>
                    <a:lnTo>
                      <a:pt x="1100" y="998"/>
                    </a:lnTo>
                    <a:lnTo>
                      <a:pt x="1085" y="943"/>
                    </a:lnTo>
                    <a:lnTo>
                      <a:pt x="1069" y="887"/>
                    </a:lnTo>
                    <a:lnTo>
                      <a:pt x="1020" y="715"/>
                    </a:lnTo>
                    <a:lnTo>
                      <a:pt x="1004" y="659"/>
                    </a:lnTo>
                    <a:lnTo>
                      <a:pt x="989" y="604"/>
                    </a:lnTo>
                    <a:lnTo>
                      <a:pt x="973" y="548"/>
                    </a:lnTo>
                    <a:lnTo>
                      <a:pt x="957" y="496"/>
                    </a:lnTo>
                    <a:lnTo>
                      <a:pt x="942" y="445"/>
                    </a:lnTo>
                    <a:lnTo>
                      <a:pt x="928" y="398"/>
                    </a:lnTo>
                    <a:lnTo>
                      <a:pt x="917" y="361"/>
                    </a:lnTo>
                    <a:lnTo>
                      <a:pt x="917" y="361"/>
                    </a:lnTo>
                    <a:lnTo>
                      <a:pt x="904" y="320"/>
                    </a:lnTo>
                    <a:lnTo>
                      <a:pt x="898" y="300"/>
                    </a:lnTo>
                    <a:lnTo>
                      <a:pt x="892" y="282"/>
                    </a:lnTo>
                    <a:lnTo>
                      <a:pt x="886" y="264"/>
                    </a:lnTo>
                    <a:lnTo>
                      <a:pt x="881" y="248"/>
                    </a:lnTo>
                    <a:lnTo>
                      <a:pt x="871" y="219"/>
                    </a:lnTo>
                    <a:lnTo>
                      <a:pt x="867" y="207"/>
                    </a:lnTo>
                    <a:lnTo>
                      <a:pt x="863" y="196"/>
                    </a:lnTo>
                    <a:lnTo>
                      <a:pt x="859" y="186"/>
                    </a:lnTo>
                    <a:lnTo>
                      <a:pt x="854" y="177"/>
                    </a:lnTo>
                    <a:lnTo>
                      <a:pt x="851" y="170"/>
                    </a:lnTo>
                    <a:lnTo>
                      <a:pt x="852" y="170"/>
                    </a:lnTo>
                    <a:lnTo>
                      <a:pt x="851" y="168"/>
                    </a:lnTo>
                    <a:lnTo>
                      <a:pt x="843" y="154"/>
                    </a:lnTo>
                    <a:lnTo>
                      <a:pt x="833" y="138"/>
                    </a:lnTo>
                    <a:lnTo>
                      <a:pt x="823" y="125"/>
                    </a:lnTo>
                    <a:lnTo>
                      <a:pt x="817" y="117"/>
                    </a:lnTo>
                    <a:lnTo>
                      <a:pt x="811" y="110"/>
                    </a:lnTo>
                    <a:lnTo>
                      <a:pt x="803" y="102"/>
                    </a:lnTo>
                    <a:lnTo>
                      <a:pt x="802" y="101"/>
                    </a:lnTo>
                    <a:lnTo>
                      <a:pt x="802" y="102"/>
                    </a:lnTo>
                    <a:lnTo>
                      <a:pt x="795" y="97"/>
                    </a:lnTo>
                    <a:lnTo>
                      <a:pt x="793" y="96"/>
                    </a:lnTo>
                    <a:lnTo>
                      <a:pt x="791" y="95"/>
                    </a:lnTo>
                    <a:lnTo>
                      <a:pt x="789" y="94"/>
                    </a:lnTo>
                    <a:lnTo>
                      <a:pt x="276" y="94"/>
                    </a:lnTo>
                    <a:lnTo>
                      <a:pt x="252" y="95"/>
                    </a:lnTo>
                    <a:lnTo>
                      <a:pt x="233" y="96"/>
                    </a:lnTo>
                    <a:lnTo>
                      <a:pt x="218" y="98"/>
                    </a:lnTo>
                    <a:lnTo>
                      <a:pt x="199" y="101"/>
                    </a:lnTo>
                    <a:lnTo>
                      <a:pt x="188" y="103"/>
                    </a:lnTo>
                    <a:lnTo>
                      <a:pt x="173" y="108"/>
                    </a:lnTo>
                    <a:lnTo>
                      <a:pt x="159" y="113"/>
                    </a:lnTo>
                    <a:lnTo>
                      <a:pt x="149" y="119"/>
                    </a:lnTo>
                    <a:lnTo>
                      <a:pt x="142" y="123"/>
                    </a:lnTo>
                    <a:lnTo>
                      <a:pt x="135" y="129"/>
                    </a:lnTo>
                    <a:lnTo>
                      <a:pt x="127" y="134"/>
                    </a:lnTo>
                    <a:lnTo>
                      <a:pt x="119" y="143"/>
                    </a:lnTo>
                    <a:lnTo>
                      <a:pt x="119" y="143"/>
                    </a:lnTo>
                    <a:lnTo>
                      <a:pt x="117" y="145"/>
                    </a:lnTo>
                    <a:lnTo>
                      <a:pt x="112" y="153"/>
                    </a:lnTo>
                    <a:lnTo>
                      <a:pt x="105" y="168"/>
                    </a:lnTo>
                    <a:lnTo>
                      <a:pt x="99" y="186"/>
                    </a:lnTo>
                    <a:lnTo>
                      <a:pt x="96" y="204"/>
                    </a:lnTo>
                    <a:lnTo>
                      <a:pt x="95" y="217"/>
                    </a:lnTo>
                    <a:lnTo>
                      <a:pt x="95" y="217"/>
                    </a:lnTo>
                    <a:lnTo>
                      <a:pt x="94" y="240"/>
                    </a:lnTo>
                    <a:lnTo>
                      <a:pt x="94" y="262"/>
                    </a:lnTo>
                    <a:lnTo>
                      <a:pt x="95" y="284"/>
                    </a:lnTo>
                    <a:lnTo>
                      <a:pt x="96" y="304"/>
                    </a:lnTo>
                    <a:lnTo>
                      <a:pt x="96" y="1248"/>
                    </a:lnTo>
                    <a:lnTo>
                      <a:pt x="2" y="1248"/>
                    </a:lnTo>
                    <a:lnTo>
                      <a:pt x="2" y="304"/>
                    </a:lnTo>
                    <a:lnTo>
                      <a:pt x="1" y="284"/>
                    </a:lnTo>
                    <a:lnTo>
                      <a:pt x="0" y="262"/>
                    </a:lnTo>
                    <a:lnTo>
                      <a:pt x="0" y="240"/>
                    </a:lnTo>
                    <a:lnTo>
                      <a:pt x="1" y="217"/>
                    </a:lnTo>
                    <a:lnTo>
                      <a:pt x="2" y="208"/>
                    </a:lnTo>
                    <a:lnTo>
                      <a:pt x="4" y="185"/>
                    </a:lnTo>
                    <a:lnTo>
                      <a:pt x="8" y="162"/>
                    </a:lnTo>
                    <a:lnTo>
                      <a:pt x="19" y="132"/>
                    </a:lnTo>
                    <a:lnTo>
                      <a:pt x="29" y="110"/>
                    </a:lnTo>
                    <a:lnTo>
                      <a:pt x="34" y="103"/>
                    </a:lnTo>
                    <a:lnTo>
                      <a:pt x="40" y="93"/>
                    </a:lnTo>
                    <a:lnTo>
                      <a:pt x="47" y="84"/>
                    </a:lnTo>
                    <a:lnTo>
                      <a:pt x="53" y="76"/>
                    </a:lnTo>
                    <a:lnTo>
                      <a:pt x="61" y="67"/>
                    </a:lnTo>
                    <a:lnTo>
                      <a:pt x="71" y="59"/>
                    </a:lnTo>
                    <a:lnTo>
                      <a:pt x="78" y="53"/>
                    </a:lnTo>
                    <a:lnTo>
                      <a:pt x="89" y="46"/>
                    </a:lnTo>
                    <a:lnTo>
                      <a:pt x="101" y="38"/>
                    </a:lnTo>
                    <a:lnTo>
                      <a:pt x="109" y="34"/>
                    </a:lnTo>
                    <a:lnTo>
                      <a:pt x="122" y="26"/>
                    </a:lnTo>
                    <a:lnTo>
                      <a:pt x="137" y="21"/>
                    </a:lnTo>
                    <a:lnTo>
                      <a:pt x="153" y="16"/>
                    </a:lnTo>
                    <a:lnTo>
                      <a:pt x="162" y="13"/>
                    </a:lnTo>
                    <a:lnTo>
                      <a:pt x="179" y="9"/>
                    </a:lnTo>
                    <a:lnTo>
                      <a:pt x="199" y="6"/>
                    </a:lnTo>
                    <a:lnTo>
                      <a:pt x="220" y="3"/>
                    </a:lnTo>
                    <a:lnTo>
                      <a:pt x="229" y="2"/>
                    </a:lnTo>
                    <a:lnTo>
                      <a:pt x="252" y="1"/>
                    </a:lnTo>
                    <a:lnTo>
                      <a:pt x="276"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3210" tIns="46605" rIns="46605" bIns="93210" numCol="1" spcCol="0" rtlCol="0" fromWordArt="0" anchor="b" anchorCtr="0" forceAA="0" compatLnSpc="1">
                <a:prstTxWarp prst="textNoShape">
                  <a:avLst/>
                </a:prstTxWarp>
                <a:noAutofit/>
              </a:bodyPr>
              <a:lstStyle/>
              <a:p>
                <a:pPr algn="ctr" defTabSz="931652" fontAlgn="base">
                  <a:spcBef>
                    <a:spcPct val="0"/>
                  </a:spcBef>
                  <a:spcAft>
                    <a:spcPct val="0"/>
                  </a:spcAft>
                  <a:defRPr/>
                </a:pPr>
                <a:endParaRPr lang="en-US" sz="1631" kern="0" spc="-51"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Freeform 519"/>
              <p:cNvSpPr>
                <a:spLocks/>
              </p:cNvSpPr>
              <p:nvPr/>
            </p:nvSpPr>
            <p:spPr bwMode="auto">
              <a:xfrm>
                <a:off x="4409248" y="3968361"/>
                <a:ext cx="809062" cy="337946"/>
              </a:xfrm>
              <a:custGeom>
                <a:avLst/>
                <a:gdLst>
                  <a:gd name="T0" fmla="*/ 1211 w 2260"/>
                  <a:gd name="T1" fmla="*/ 0 h 944"/>
                  <a:gd name="T2" fmla="*/ 1234 w 2260"/>
                  <a:gd name="T3" fmla="*/ 11 h 944"/>
                  <a:gd name="T4" fmla="*/ 1244 w 2260"/>
                  <a:gd name="T5" fmla="*/ 34 h 944"/>
                  <a:gd name="T6" fmla="*/ 2227 w 2260"/>
                  <a:gd name="T7" fmla="*/ 157 h 944"/>
                  <a:gd name="T8" fmla="*/ 2251 w 2260"/>
                  <a:gd name="T9" fmla="*/ 166 h 944"/>
                  <a:gd name="T10" fmla="*/ 2260 w 2260"/>
                  <a:gd name="T11" fmla="*/ 190 h 944"/>
                  <a:gd name="T12" fmla="*/ 2225 w 2260"/>
                  <a:gd name="T13" fmla="*/ 483 h 944"/>
                  <a:gd name="T14" fmla="*/ 2144 w 2260"/>
                  <a:gd name="T15" fmla="*/ 421 h 944"/>
                  <a:gd name="T16" fmla="*/ 2053 w 2260"/>
                  <a:gd name="T17" fmla="*/ 373 h 944"/>
                  <a:gd name="T18" fmla="*/ 1953 w 2260"/>
                  <a:gd name="T19" fmla="*/ 344 h 944"/>
                  <a:gd name="T20" fmla="*/ 1846 w 2260"/>
                  <a:gd name="T21" fmla="*/ 333 h 944"/>
                  <a:gd name="T22" fmla="*/ 1734 w 2260"/>
                  <a:gd name="T23" fmla="*/ 345 h 944"/>
                  <a:gd name="T24" fmla="*/ 1629 w 2260"/>
                  <a:gd name="T25" fmla="*/ 377 h 944"/>
                  <a:gd name="T26" fmla="*/ 1534 w 2260"/>
                  <a:gd name="T27" fmla="*/ 428 h 944"/>
                  <a:gd name="T28" fmla="*/ 1453 w 2260"/>
                  <a:gd name="T29" fmla="*/ 497 h 944"/>
                  <a:gd name="T30" fmla="*/ 1385 w 2260"/>
                  <a:gd name="T31" fmla="*/ 580 h 944"/>
                  <a:gd name="T32" fmla="*/ 1333 w 2260"/>
                  <a:gd name="T33" fmla="*/ 675 h 944"/>
                  <a:gd name="T34" fmla="*/ 1300 w 2260"/>
                  <a:gd name="T35" fmla="*/ 779 h 944"/>
                  <a:gd name="T36" fmla="*/ 1289 w 2260"/>
                  <a:gd name="T37" fmla="*/ 891 h 944"/>
                  <a:gd name="T38" fmla="*/ 1208 w 2260"/>
                  <a:gd name="T39" fmla="*/ 944 h 944"/>
                  <a:gd name="T40" fmla="*/ 1208 w 2260"/>
                  <a:gd name="T41" fmla="*/ 835 h 944"/>
                  <a:gd name="T42" fmla="*/ 1185 w 2260"/>
                  <a:gd name="T43" fmla="*/ 726 h 944"/>
                  <a:gd name="T44" fmla="*/ 1143 w 2260"/>
                  <a:gd name="T45" fmla="*/ 625 h 944"/>
                  <a:gd name="T46" fmla="*/ 1083 w 2260"/>
                  <a:gd name="T47" fmla="*/ 537 h 944"/>
                  <a:gd name="T48" fmla="*/ 1008 w 2260"/>
                  <a:gd name="T49" fmla="*/ 461 h 944"/>
                  <a:gd name="T50" fmla="*/ 919 w 2260"/>
                  <a:gd name="T51" fmla="*/ 401 h 944"/>
                  <a:gd name="T52" fmla="*/ 820 w 2260"/>
                  <a:gd name="T53" fmla="*/ 358 h 944"/>
                  <a:gd name="T54" fmla="*/ 711 w 2260"/>
                  <a:gd name="T55" fmla="*/ 335 h 944"/>
                  <a:gd name="T56" fmla="*/ 598 w 2260"/>
                  <a:gd name="T57" fmla="*/ 335 h 944"/>
                  <a:gd name="T58" fmla="*/ 489 w 2260"/>
                  <a:gd name="T59" fmla="*/ 358 h 944"/>
                  <a:gd name="T60" fmla="*/ 389 w 2260"/>
                  <a:gd name="T61" fmla="*/ 401 h 944"/>
                  <a:gd name="T62" fmla="*/ 300 w 2260"/>
                  <a:gd name="T63" fmla="*/ 461 h 944"/>
                  <a:gd name="T64" fmla="*/ 225 w 2260"/>
                  <a:gd name="T65" fmla="*/ 537 h 944"/>
                  <a:gd name="T66" fmla="*/ 165 w 2260"/>
                  <a:gd name="T67" fmla="*/ 625 h 944"/>
                  <a:gd name="T68" fmla="*/ 122 w 2260"/>
                  <a:gd name="T69" fmla="*/ 726 h 944"/>
                  <a:gd name="T70" fmla="*/ 101 w 2260"/>
                  <a:gd name="T71" fmla="*/ 835 h 944"/>
                  <a:gd name="T72" fmla="*/ 100 w 2260"/>
                  <a:gd name="T73" fmla="*/ 944 h 944"/>
                  <a:gd name="T74" fmla="*/ 20 w 2260"/>
                  <a:gd name="T75" fmla="*/ 942 h 944"/>
                  <a:gd name="T76" fmla="*/ 3 w 2260"/>
                  <a:gd name="T77" fmla="*/ 924 h 944"/>
                  <a:gd name="T78" fmla="*/ 0 w 2260"/>
                  <a:gd name="T79" fmla="*/ 34 h 944"/>
                  <a:gd name="T80" fmla="*/ 10 w 2260"/>
                  <a:gd name="T81" fmla="*/ 11 h 944"/>
                  <a:gd name="T82" fmla="*/ 34 w 2260"/>
                  <a:gd name="T83" fmla="*/ 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60" h="944">
                    <a:moveTo>
                      <a:pt x="34" y="0"/>
                    </a:moveTo>
                    <a:lnTo>
                      <a:pt x="1211" y="0"/>
                    </a:lnTo>
                    <a:lnTo>
                      <a:pt x="1224" y="3"/>
                    </a:lnTo>
                    <a:lnTo>
                      <a:pt x="1234" y="11"/>
                    </a:lnTo>
                    <a:lnTo>
                      <a:pt x="1241" y="21"/>
                    </a:lnTo>
                    <a:lnTo>
                      <a:pt x="1244" y="34"/>
                    </a:lnTo>
                    <a:lnTo>
                      <a:pt x="1244" y="157"/>
                    </a:lnTo>
                    <a:lnTo>
                      <a:pt x="2227" y="157"/>
                    </a:lnTo>
                    <a:lnTo>
                      <a:pt x="2240" y="159"/>
                    </a:lnTo>
                    <a:lnTo>
                      <a:pt x="2251" y="166"/>
                    </a:lnTo>
                    <a:lnTo>
                      <a:pt x="2258" y="177"/>
                    </a:lnTo>
                    <a:lnTo>
                      <a:pt x="2260" y="190"/>
                    </a:lnTo>
                    <a:lnTo>
                      <a:pt x="2260" y="520"/>
                    </a:lnTo>
                    <a:lnTo>
                      <a:pt x="2225" y="483"/>
                    </a:lnTo>
                    <a:lnTo>
                      <a:pt x="2186" y="451"/>
                    </a:lnTo>
                    <a:lnTo>
                      <a:pt x="2144" y="421"/>
                    </a:lnTo>
                    <a:lnTo>
                      <a:pt x="2099" y="395"/>
                    </a:lnTo>
                    <a:lnTo>
                      <a:pt x="2053" y="373"/>
                    </a:lnTo>
                    <a:lnTo>
                      <a:pt x="2004" y="356"/>
                    </a:lnTo>
                    <a:lnTo>
                      <a:pt x="1953" y="344"/>
                    </a:lnTo>
                    <a:lnTo>
                      <a:pt x="1900" y="335"/>
                    </a:lnTo>
                    <a:lnTo>
                      <a:pt x="1846" y="333"/>
                    </a:lnTo>
                    <a:lnTo>
                      <a:pt x="1789" y="335"/>
                    </a:lnTo>
                    <a:lnTo>
                      <a:pt x="1734" y="345"/>
                    </a:lnTo>
                    <a:lnTo>
                      <a:pt x="1681" y="358"/>
                    </a:lnTo>
                    <a:lnTo>
                      <a:pt x="1629" y="377"/>
                    </a:lnTo>
                    <a:lnTo>
                      <a:pt x="1581" y="401"/>
                    </a:lnTo>
                    <a:lnTo>
                      <a:pt x="1534" y="428"/>
                    </a:lnTo>
                    <a:lnTo>
                      <a:pt x="1492" y="461"/>
                    </a:lnTo>
                    <a:lnTo>
                      <a:pt x="1453" y="497"/>
                    </a:lnTo>
                    <a:lnTo>
                      <a:pt x="1416" y="537"/>
                    </a:lnTo>
                    <a:lnTo>
                      <a:pt x="1385" y="580"/>
                    </a:lnTo>
                    <a:lnTo>
                      <a:pt x="1356" y="625"/>
                    </a:lnTo>
                    <a:lnTo>
                      <a:pt x="1333" y="675"/>
                    </a:lnTo>
                    <a:lnTo>
                      <a:pt x="1314" y="726"/>
                    </a:lnTo>
                    <a:lnTo>
                      <a:pt x="1300" y="779"/>
                    </a:lnTo>
                    <a:lnTo>
                      <a:pt x="1292" y="835"/>
                    </a:lnTo>
                    <a:lnTo>
                      <a:pt x="1289" y="891"/>
                    </a:lnTo>
                    <a:lnTo>
                      <a:pt x="1292" y="944"/>
                    </a:lnTo>
                    <a:lnTo>
                      <a:pt x="1208" y="944"/>
                    </a:lnTo>
                    <a:lnTo>
                      <a:pt x="1211" y="891"/>
                    </a:lnTo>
                    <a:lnTo>
                      <a:pt x="1208" y="835"/>
                    </a:lnTo>
                    <a:lnTo>
                      <a:pt x="1199" y="779"/>
                    </a:lnTo>
                    <a:lnTo>
                      <a:pt x="1185" y="726"/>
                    </a:lnTo>
                    <a:lnTo>
                      <a:pt x="1167" y="675"/>
                    </a:lnTo>
                    <a:lnTo>
                      <a:pt x="1143" y="625"/>
                    </a:lnTo>
                    <a:lnTo>
                      <a:pt x="1116" y="580"/>
                    </a:lnTo>
                    <a:lnTo>
                      <a:pt x="1083" y="537"/>
                    </a:lnTo>
                    <a:lnTo>
                      <a:pt x="1048" y="497"/>
                    </a:lnTo>
                    <a:lnTo>
                      <a:pt x="1008" y="461"/>
                    </a:lnTo>
                    <a:lnTo>
                      <a:pt x="965" y="428"/>
                    </a:lnTo>
                    <a:lnTo>
                      <a:pt x="919" y="401"/>
                    </a:lnTo>
                    <a:lnTo>
                      <a:pt x="871" y="377"/>
                    </a:lnTo>
                    <a:lnTo>
                      <a:pt x="820" y="358"/>
                    </a:lnTo>
                    <a:lnTo>
                      <a:pt x="766" y="345"/>
                    </a:lnTo>
                    <a:lnTo>
                      <a:pt x="711" y="335"/>
                    </a:lnTo>
                    <a:lnTo>
                      <a:pt x="654" y="333"/>
                    </a:lnTo>
                    <a:lnTo>
                      <a:pt x="598" y="335"/>
                    </a:lnTo>
                    <a:lnTo>
                      <a:pt x="542" y="345"/>
                    </a:lnTo>
                    <a:lnTo>
                      <a:pt x="489" y="358"/>
                    </a:lnTo>
                    <a:lnTo>
                      <a:pt x="438" y="377"/>
                    </a:lnTo>
                    <a:lnTo>
                      <a:pt x="389" y="401"/>
                    </a:lnTo>
                    <a:lnTo>
                      <a:pt x="343" y="428"/>
                    </a:lnTo>
                    <a:lnTo>
                      <a:pt x="300" y="461"/>
                    </a:lnTo>
                    <a:lnTo>
                      <a:pt x="261" y="497"/>
                    </a:lnTo>
                    <a:lnTo>
                      <a:pt x="225" y="537"/>
                    </a:lnTo>
                    <a:lnTo>
                      <a:pt x="192" y="580"/>
                    </a:lnTo>
                    <a:lnTo>
                      <a:pt x="165" y="625"/>
                    </a:lnTo>
                    <a:lnTo>
                      <a:pt x="142" y="675"/>
                    </a:lnTo>
                    <a:lnTo>
                      <a:pt x="122" y="726"/>
                    </a:lnTo>
                    <a:lnTo>
                      <a:pt x="109" y="779"/>
                    </a:lnTo>
                    <a:lnTo>
                      <a:pt x="101" y="835"/>
                    </a:lnTo>
                    <a:lnTo>
                      <a:pt x="98" y="891"/>
                    </a:lnTo>
                    <a:lnTo>
                      <a:pt x="100" y="944"/>
                    </a:lnTo>
                    <a:lnTo>
                      <a:pt x="34" y="944"/>
                    </a:lnTo>
                    <a:lnTo>
                      <a:pt x="20" y="942"/>
                    </a:lnTo>
                    <a:lnTo>
                      <a:pt x="10" y="935"/>
                    </a:lnTo>
                    <a:lnTo>
                      <a:pt x="3" y="924"/>
                    </a:lnTo>
                    <a:lnTo>
                      <a:pt x="0" y="910"/>
                    </a:lnTo>
                    <a:lnTo>
                      <a:pt x="0" y="34"/>
                    </a:lnTo>
                    <a:lnTo>
                      <a:pt x="3" y="21"/>
                    </a:lnTo>
                    <a:lnTo>
                      <a:pt x="10" y="11"/>
                    </a:lnTo>
                    <a:lnTo>
                      <a:pt x="20" y="3"/>
                    </a:lnTo>
                    <a:lnTo>
                      <a:pt x="34"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3210" tIns="46605" rIns="46605" bIns="93210" numCol="1" spcCol="0" rtlCol="0" fromWordArt="0" anchor="b" anchorCtr="0" forceAA="0" compatLnSpc="1">
                <a:prstTxWarp prst="textNoShape">
                  <a:avLst/>
                </a:prstTxWarp>
                <a:noAutofit/>
              </a:bodyPr>
              <a:lstStyle/>
              <a:p>
                <a:pPr algn="ctr" defTabSz="931652" fontAlgn="base">
                  <a:spcBef>
                    <a:spcPct val="0"/>
                  </a:spcBef>
                  <a:spcAft>
                    <a:spcPct val="0"/>
                  </a:spcAft>
                  <a:defRPr/>
                </a:pPr>
                <a:endParaRPr lang="en-US" sz="1631" kern="0" spc="-51"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7" name="Group 16"/>
            <p:cNvGrpSpPr>
              <a:grpSpLocks noChangeAspect="1"/>
            </p:cNvGrpSpPr>
            <p:nvPr/>
          </p:nvGrpSpPr>
          <p:grpSpPr>
            <a:xfrm>
              <a:off x="2983381" y="6153192"/>
              <a:ext cx="94214" cy="77354"/>
              <a:chOff x="-4435475" y="1371600"/>
              <a:chExt cx="4435475" cy="3641725"/>
            </a:xfrm>
            <a:grpFill/>
          </p:grpSpPr>
          <p:sp>
            <p:nvSpPr>
              <p:cNvPr id="21" name="Freeform 20"/>
              <p:cNvSpPr>
                <a:spLocks/>
              </p:cNvSpPr>
              <p:nvPr/>
            </p:nvSpPr>
            <p:spPr bwMode="auto">
              <a:xfrm>
                <a:off x="-4435475" y="1371600"/>
                <a:ext cx="4435475" cy="3641725"/>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grpFill/>
              <a:ln>
                <a:noFill/>
              </a:ln>
            </p:spPr>
            <p:txBody>
              <a:bodyPr vert="horz" wrap="square" lIns="93233" tIns="46616" rIns="93233" bIns="46616" numCol="1" anchor="t" anchorCtr="0" compatLnSpc="1">
                <a:prstTxWarp prst="textNoShape">
                  <a:avLst/>
                </a:prstTxWarp>
              </a:bodyPr>
              <a:lstStyle/>
              <a:p>
                <a:pPr defTabSz="932239">
                  <a:defRPr/>
                </a:pPr>
                <a:endParaRPr lang="en-US" sz="1836" kern="0" dirty="0">
                  <a:solidFill>
                    <a:srgbClr val="000000"/>
                  </a:solidFill>
                  <a:latin typeface="Segoe UI"/>
                </a:endParaRPr>
              </a:p>
            </p:txBody>
          </p:sp>
          <p:grpSp>
            <p:nvGrpSpPr>
              <p:cNvPr id="22" name="Group 21"/>
              <p:cNvGrpSpPr/>
              <p:nvPr/>
            </p:nvGrpSpPr>
            <p:grpSpPr>
              <a:xfrm>
                <a:off x="-4206871" y="1603382"/>
                <a:ext cx="3978266" cy="3168652"/>
                <a:chOff x="-4206875" y="1603375"/>
                <a:chExt cx="3978275" cy="3168650"/>
              </a:xfrm>
              <a:grpFill/>
            </p:grpSpPr>
            <p:sp>
              <p:nvSpPr>
                <p:cNvPr id="23" name="Freeform 73"/>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32239">
                    <a:defRPr/>
                  </a:pPr>
                  <a:endParaRPr lang="en-US" sz="1836" kern="0" dirty="0">
                    <a:solidFill>
                      <a:srgbClr val="000000"/>
                    </a:solidFill>
                    <a:latin typeface="Segoe UI"/>
                  </a:endParaRPr>
                </a:p>
              </p:txBody>
            </p:sp>
            <p:sp>
              <p:nvSpPr>
                <p:cNvPr id="24" name="Freeform 74"/>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32239">
                    <a:defRPr/>
                  </a:pPr>
                  <a:endParaRPr lang="en-US" sz="1836" kern="0" dirty="0">
                    <a:solidFill>
                      <a:srgbClr val="000000"/>
                    </a:solidFill>
                    <a:latin typeface="Segoe UI"/>
                  </a:endParaRPr>
                </a:p>
              </p:txBody>
            </p:sp>
            <p:sp>
              <p:nvSpPr>
                <p:cNvPr id="25"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32239">
                    <a:defRPr/>
                  </a:pPr>
                  <a:endParaRPr lang="en-US" sz="1836" kern="0" dirty="0">
                    <a:solidFill>
                      <a:srgbClr val="000000"/>
                    </a:solidFill>
                    <a:latin typeface="Segoe UI"/>
                  </a:endParaRPr>
                </a:p>
              </p:txBody>
            </p:sp>
            <p:sp>
              <p:nvSpPr>
                <p:cNvPr id="26"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32239">
                    <a:defRPr/>
                  </a:pPr>
                  <a:endParaRPr lang="en-US" sz="1836" kern="0" dirty="0">
                    <a:solidFill>
                      <a:srgbClr val="000000"/>
                    </a:solidFill>
                    <a:latin typeface="Segoe UI"/>
                  </a:endParaRPr>
                </a:p>
              </p:txBody>
            </p:sp>
            <p:sp>
              <p:nvSpPr>
                <p:cNvPr id="27"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32239">
                    <a:defRPr/>
                  </a:pPr>
                  <a:endParaRPr lang="en-US" sz="1836" kern="0" dirty="0">
                    <a:solidFill>
                      <a:srgbClr val="000000"/>
                    </a:solidFill>
                    <a:latin typeface="Segoe UI"/>
                  </a:endParaRPr>
                </a:p>
              </p:txBody>
            </p:sp>
            <p:sp>
              <p:nvSpPr>
                <p:cNvPr id="28"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32239">
                    <a:defRPr/>
                  </a:pPr>
                  <a:endParaRPr lang="en-US" sz="1836" kern="0" dirty="0">
                    <a:solidFill>
                      <a:srgbClr val="000000"/>
                    </a:solidFill>
                    <a:latin typeface="Segoe UI"/>
                  </a:endParaRPr>
                </a:p>
              </p:txBody>
            </p:sp>
            <p:sp>
              <p:nvSpPr>
                <p:cNvPr id="29"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32239">
                    <a:defRPr/>
                  </a:pPr>
                  <a:endParaRPr lang="en-US" sz="1836" kern="0" dirty="0">
                    <a:solidFill>
                      <a:srgbClr val="000000"/>
                    </a:solidFill>
                    <a:latin typeface="Segoe UI"/>
                  </a:endParaRPr>
                </a:p>
              </p:txBody>
            </p:sp>
            <p:sp>
              <p:nvSpPr>
                <p:cNvPr id="30"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33" tIns="46616" rIns="93233" bIns="46616" numCol="1" anchor="t" anchorCtr="0" compatLnSpc="1">
                  <a:prstTxWarp prst="textNoShape">
                    <a:avLst/>
                  </a:prstTxWarp>
                </a:bodyPr>
                <a:lstStyle/>
                <a:p>
                  <a:pPr defTabSz="932239">
                    <a:defRPr/>
                  </a:pPr>
                  <a:endParaRPr lang="en-US" sz="1836" kern="0" dirty="0">
                    <a:solidFill>
                      <a:srgbClr val="000000"/>
                    </a:solidFill>
                    <a:latin typeface="Segoe UI"/>
                  </a:endParaRPr>
                </a:p>
              </p:txBody>
            </p:sp>
          </p:grpSp>
        </p:grpSp>
        <p:sp>
          <p:nvSpPr>
            <p:cNvPr id="18" name="Rectangle 17"/>
            <p:cNvSpPr/>
            <p:nvPr/>
          </p:nvSpPr>
          <p:spPr bwMode="auto">
            <a:xfrm>
              <a:off x="2923356" y="5866860"/>
              <a:ext cx="23745" cy="431593"/>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3210" tIns="46605" rIns="46605" bIns="93210" numCol="1" spcCol="0" rtlCol="0" fromWordArt="0" anchor="b" anchorCtr="0" forceAA="0" compatLnSpc="1">
              <a:prstTxWarp prst="textNoShape">
                <a:avLst/>
              </a:prstTxWarp>
              <a:noAutofit/>
            </a:bodyPr>
            <a:lstStyle/>
            <a:p>
              <a:pPr algn="ctr" defTabSz="931652" fontAlgn="base">
                <a:spcBef>
                  <a:spcPct val="0"/>
                </a:spcBef>
                <a:spcAft>
                  <a:spcPct val="0"/>
                </a:spcAft>
                <a:defRPr/>
              </a:pPr>
              <a:endParaRPr lang="en-US" sz="1631" kern="0" spc="-51"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Rectangle 18"/>
            <p:cNvSpPr/>
            <p:nvPr/>
          </p:nvSpPr>
          <p:spPr bwMode="auto">
            <a:xfrm>
              <a:off x="2923356" y="6276104"/>
              <a:ext cx="191353" cy="25141"/>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3210" tIns="46605" rIns="46605" bIns="93210" numCol="1" spcCol="0" rtlCol="0" fromWordArt="0" anchor="b" anchorCtr="0" forceAA="0" compatLnSpc="1">
              <a:prstTxWarp prst="textNoShape">
                <a:avLst/>
              </a:prstTxWarp>
              <a:noAutofit/>
            </a:bodyPr>
            <a:lstStyle/>
            <a:p>
              <a:pPr algn="ctr" defTabSz="931652" fontAlgn="base">
                <a:spcBef>
                  <a:spcPct val="0"/>
                </a:spcBef>
                <a:spcAft>
                  <a:spcPct val="0"/>
                </a:spcAft>
                <a:defRPr/>
              </a:pPr>
              <a:endParaRPr lang="en-US" sz="1631" kern="0" spc="-51"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Rectangle 514"/>
            <p:cNvSpPr>
              <a:spLocks noChangeArrowheads="1"/>
            </p:cNvSpPr>
            <p:nvPr/>
          </p:nvSpPr>
          <p:spPr bwMode="auto">
            <a:xfrm>
              <a:off x="2963473" y="5898733"/>
              <a:ext cx="95375" cy="96628"/>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3210" tIns="46605" rIns="46605" bIns="93210" numCol="1" spcCol="0" rtlCol="0" fromWordArt="0" anchor="b" anchorCtr="0" forceAA="0" compatLnSpc="1">
              <a:prstTxWarp prst="textNoShape">
                <a:avLst/>
              </a:prstTxWarp>
              <a:noAutofit/>
            </a:bodyPr>
            <a:lstStyle/>
            <a:p>
              <a:pPr algn="ctr" defTabSz="931652" fontAlgn="base">
                <a:spcBef>
                  <a:spcPct val="0"/>
                </a:spcBef>
                <a:spcAft>
                  <a:spcPct val="0"/>
                </a:spcAft>
                <a:defRPr/>
              </a:pPr>
              <a:endParaRPr lang="en-US" sz="1631" kern="0" spc="-51"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5" name="Group 34"/>
          <p:cNvGrpSpPr/>
          <p:nvPr/>
        </p:nvGrpSpPr>
        <p:grpSpPr>
          <a:xfrm>
            <a:off x="424446" y="3692597"/>
            <a:ext cx="430993" cy="231013"/>
            <a:chOff x="2731967" y="1742645"/>
            <a:chExt cx="7143750" cy="3829050"/>
          </a:xfrm>
          <a:solidFill>
            <a:schemeClr val="bg1"/>
          </a:solidFill>
        </p:grpSpPr>
        <p:sp>
          <p:nvSpPr>
            <p:cNvPr id="36" name="Freeform 5"/>
            <p:cNvSpPr>
              <a:spLocks noEditPoints="1"/>
            </p:cNvSpPr>
            <p:nvPr/>
          </p:nvSpPr>
          <p:spPr bwMode="auto">
            <a:xfrm>
              <a:off x="2731967" y="3082498"/>
              <a:ext cx="7143750" cy="2489197"/>
            </a:xfrm>
            <a:custGeom>
              <a:avLst/>
              <a:gdLst>
                <a:gd name="T0" fmla="*/ 1242 w 4500"/>
                <a:gd name="T1" fmla="*/ 478 h 1568"/>
                <a:gd name="T2" fmla="*/ 1542 w 4500"/>
                <a:gd name="T3" fmla="*/ 0 h 1568"/>
                <a:gd name="T4" fmla="*/ 3170 w 4500"/>
                <a:gd name="T5" fmla="*/ 472 h 1568"/>
                <a:gd name="T6" fmla="*/ 4440 w 4500"/>
                <a:gd name="T7" fmla="*/ 606 h 1568"/>
                <a:gd name="T8" fmla="*/ 2872 w 4500"/>
                <a:gd name="T9" fmla="*/ 880 h 1568"/>
                <a:gd name="T10" fmla="*/ 2838 w 4500"/>
                <a:gd name="T11" fmla="*/ 822 h 1568"/>
                <a:gd name="T12" fmla="*/ 2232 w 4500"/>
                <a:gd name="T13" fmla="*/ 654 h 1568"/>
                <a:gd name="T14" fmla="*/ 1644 w 4500"/>
                <a:gd name="T15" fmla="*/ 832 h 1568"/>
                <a:gd name="T16" fmla="*/ 1630 w 4500"/>
                <a:gd name="T17" fmla="*/ 1568 h 1568"/>
                <a:gd name="T18" fmla="*/ 4074 w 4500"/>
                <a:gd name="T19" fmla="*/ 1224 h 1568"/>
                <a:gd name="T20" fmla="*/ 4372 w 4500"/>
                <a:gd name="T21" fmla="*/ 1224 h 1568"/>
                <a:gd name="T22" fmla="*/ 4372 w 4500"/>
                <a:gd name="T23" fmla="*/ 1224 h 1568"/>
                <a:gd name="T24" fmla="*/ 3176 w 4500"/>
                <a:gd name="T25" fmla="*/ 1072 h 1568"/>
                <a:gd name="T26" fmla="*/ 3114 w 4500"/>
                <a:gd name="T27" fmla="*/ 892 h 1568"/>
                <a:gd name="T28" fmla="*/ 3474 w 4500"/>
                <a:gd name="T29" fmla="*/ 918 h 1568"/>
                <a:gd name="T30" fmla="*/ 3314 w 4500"/>
                <a:gd name="T31" fmla="*/ 892 h 1568"/>
                <a:gd name="T32" fmla="*/ 3776 w 4500"/>
                <a:gd name="T33" fmla="*/ 1070 h 1568"/>
                <a:gd name="T34" fmla="*/ 3716 w 4500"/>
                <a:gd name="T35" fmla="*/ 892 h 1568"/>
                <a:gd name="T36" fmla="*/ 286 w 4500"/>
                <a:gd name="T37" fmla="*/ 894 h 1568"/>
                <a:gd name="T38" fmla="*/ 146 w 4500"/>
                <a:gd name="T39" fmla="*/ 900 h 1568"/>
                <a:gd name="T40" fmla="*/ 124 w 4500"/>
                <a:gd name="T41" fmla="*/ 1008 h 1568"/>
                <a:gd name="T42" fmla="*/ 728 w 4500"/>
                <a:gd name="T43" fmla="*/ 1224 h 1568"/>
                <a:gd name="T44" fmla="*/ 728 w 4500"/>
                <a:gd name="T45" fmla="*/ 1224 h 1568"/>
                <a:gd name="T46" fmla="*/ 1030 w 4500"/>
                <a:gd name="T47" fmla="*/ 1224 h 1568"/>
                <a:gd name="T48" fmla="*/ 1486 w 4500"/>
                <a:gd name="T49" fmla="*/ 896 h 1568"/>
                <a:gd name="T50" fmla="*/ 584 w 4500"/>
                <a:gd name="T51" fmla="*/ 896 h 1568"/>
                <a:gd name="T52" fmla="*/ 2964 w 4500"/>
                <a:gd name="T53" fmla="*/ 476 h 1568"/>
                <a:gd name="T54" fmla="*/ 3056 w 4500"/>
                <a:gd name="T55" fmla="*/ 366 h 1568"/>
                <a:gd name="T56" fmla="*/ 2986 w 4500"/>
                <a:gd name="T57" fmla="*/ 350 h 1568"/>
                <a:gd name="T58" fmla="*/ 2964 w 4500"/>
                <a:gd name="T59" fmla="*/ 476 h 1568"/>
                <a:gd name="T60" fmla="*/ 2484 w 4500"/>
                <a:gd name="T61" fmla="*/ 372 h 1568"/>
                <a:gd name="T62" fmla="*/ 2426 w 4500"/>
                <a:gd name="T63" fmla="*/ 342 h 1568"/>
                <a:gd name="T64" fmla="*/ 2390 w 4500"/>
                <a:gd name="T65" fmla="*/ 476 h 1568"/>
                <a:gd name="T66" fmla="*/ 1728 w 4500"/>
                <a:gd name="T67" fmla="*/ 390 h 1568"/>
                <a:gd name="T68" fmla="*/ 1676 w 4500"/>
                <a:gd name="T69" fmla="*/ 336 h 1568"/>
                <a:gd name="T70" fmla="*/ 1630 w 4500"/>
                <a:gd name="T71" fmla="*/ 380 h 1568"/>
                <a:gd name="T72" fmla="*/ 1818 w 4500"/>
                <a:gd name="T73" fmla="*/ 474 h 1568"/>
                <a:gd name="T74" fmla="*/ 1908 w 4500"/>
                <a:gd name="T75" fmla="*/ 348 h 1568"/>
                <a:gd name="T76" fmla="*/ 1842 w 4500"/>
                <a:gd name="T77" fmla="*/ 340 h 1568"/>
                <a:gd name="T78" fmla="*/ 1818 w 4500"/>
                <a:gd name="T79" fmla="*/ 474 h 1568"/>
                <a:gd name="T80" fmla="*/ 1530 w 4500"/>
                <a:gd name="T81" fmla="*/ 370 h 1568"/>
                <a:gd name="T82" fmla="*/ 1470 w 4500"/>
                <a:gd name="T83" fmla="*/ 342 h 1568"/>
                <a:gd name="T84" fmla="*/ 1436 w 4500"/>
                <a:gd name="T85" fmla="*/ 476 h 1568"/>
                <a:gd name="T86" fmla="*/ 2678 w 4500"/>
                <a:gd name="T87" fmla="*/ 380 h 1568"/>
                <a:gd name="T88" fmla="*/ 2636 w 4500"/>
                <a:gd name="T89" fmla="*/ 336 h 1568"/>
                <a:gd name="T90" fmla="*/ 2582 w 4500"/>
                <a:gd name="T91" fmla="*/ 386 h 1568"/>
                <a:gd name="T92" fmla="*/ 2110 w 4500"/>
                <a:gd name="T93" fmla="*/ 474 h 1568"/>
                <a:gd name="T94" fmla="*/ 2074 w 4500"/>
                <a:gd name="T95" fmla="*/ 342 h 1568"/>
                <a:gd name="T96" fmla="*/ 2016 w 4500"/>
                <a:gd name="T97" fmla="*/ 368 h 1568"/>
                <a:gd name="T98" fmla="*/ 2110 w 4500"/>
                <a:gd name="T99" fmla="*/ 474 h 1568"/>
                <a:gd name="T100" fmla="*/ 2864 w 4500"/>
                <a:gd name="T101" fmla="*/ 364 h 1568"/>
                <a:gd name="T102" fmla="*/ 2796 w 4500"/>
                <a:gd name="T103" fmla="*/ 350 h 1568"/>
                <a:gd name="T104" fmla="*/ 2774 w 4500"/>
                <a:gd name="T105" fmla="*/ 476 h 1568"/>
                <a:gd name="T106" fmla="*/ 2304 w 4500"/>
                <a:gd name="T107" fmla="*/ 402 h 1568"/>
                <a:gd name="T108" fmla="*/ 2252 w 4500"/>
                <a:gd name="T109" fmla="*/ 338 h 1568"/>
                <a:gd name="T110" fmla="*/ 2204 w 4500"/>
                <a:gd name="T111" fmla="*/ 380 h 1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00" h="1568">
                  <a:moveTo>
                    <a:pt x="0" y="608"/>
                  </a:moveTo>
                  <a:lnTo>
                    <a:pt x="0" y="608"/>
                  </a:lnTo>
                  <a:lnTo>
                    <a:pt x="1054" y="606"/>
                  </a:lnTo>
                  <a:lnTo>
                    <a:pt x="1054" y="606"/>
                  </a:lnTo>
                  <a:lnTo>
                    <a:pt x="1242" y="606"/>
                  </a:lnTo>
                  <a:lnTo>
                    <a:pt x="1242" y="606"/>
                  </a:lnTo>
                  <a:lnTo>
                    <a:pt x="1242" y="478"/>
                  </a:lnTo>
                  <a:lnTo>
                    <a:pt x="1242" y="478"/>
                  </a:lnTo>
                  <a:lnTo>
                    <a:pt x="1330" y="472"/>
                  </a:lnTo>
                  <a:lnTo>
                    <a:pt x="1330" y="472"/>
                  </a:lnTo>
                  <a:lnTo>
                    <a:pt x="1330" y="242"/>
                  </a:lnTo>
                  <a:lnTo>
                    <a:pt x="1330" y="242"/>
                  </a:lnTo>
                  <a:lnTo>
                    <a:pt x="1542" y="242"/>
                  </a:lnTo>
                  <a:lnTo>
                    <a:pt x="1542" y="242"/>
                  </a:lnTo>
                  <a:lnTo>
                    <a:pt x="1542" y="0"/>
                  </a:lnTo>
                  <a:lnTo>
                    <a:pt x="1542" y="0"/>
                  </a:lnTo>
                  <a:lnTo>
                    <a:pt x="2956" y="0"/>
                  </a:lnTo>
                  <a:lnTo>
                    <a:pt x="2956" y="0"/>
                  </a:lnTo>
                  <a:lnTo>
                    <a:pt x="2956" y="242"/>
                  </a:lnTo>
                  <a:lnTo>
                    <a:pt x="2956" y="242"/>
                  </a:lnTo>
                  <a:lnTo>
                    <a:pt x="3170" y="242"/>
                  </a:lnTo>
                  <a:lnTo>
                    <a:pt x="3170" y="242"/>
                  </a:lnTo>
                  <a:lnTo>
                    <a:pt x="3170" y="472"/>
                  </a:lnTo>
                  <a:lnTo>
                    <a:pt x="3170" y="472"/>
                  </a:lnTo>
                  <a:lnTo>
                    <a:pt x="3258" y="478"/>
                  </a:lnTo>
                  <a:lnTo>
                    <a:pt x="3258" y="478"/>
                  </a:lnTo>
                  <a:lnTo>
                    <a:pt x="3258" y="606"/>
                  </a:lnTo>
                  <a:lnTo>
                    <a:pt x="3258" y="606"/>
                  </a:lnTo>
                  <a:lnTo>
                    <a:pt x="3320" y="606"/>
                  </a:lnTo>
                  <a:lnTo>
                    <a:pt x="3320" y="606"/>
                  </a:lnTo>
                  <a:lnTo>
                    <a:pt x="4440" y="606"/>
                  </a:lnTo>
                  <a:lnTo>
                    <a:pt x="4440" y="606"/>
                  </a:lnTo>
                  <a:lnTo>
                    <a:pt x="4500" y="608"/>
                  </a:lnTo>
                  <a:lnTo>
                    <a:pt x="4500" y="608"/>
                  </a:lnTo>
                  <a:lnTo>
                    <a:pt x="4500" y="1568"/>
                  </a:lnTo>
                  <a:lnTo>
                    <a:pt x="4500" y="1568"/>
                  </a:lnTo>
                  <a:lnTo>
                    <a:pt x="2870" y="1568"/>
                  </a:lnTo>
                  <a:lnTo>
                    <a:pt x="2870" y="1568"/>
                  </a:lnTo>
                  <a:lnTo>
                    <a:pt x="2870" y="1224"/>
                  </a:lnTo>
                  <a:lnTo>
                    <a:pt x="2872" y="880"/>
                  </a:lnTo>
                  <a:lnTo>
                    <a:pt x="2872" y="880"/>
                  </a:lnTo>
                  <a:lnTo>
                    <a:pt x="2872" y="866"/>
                  </a:lnTo>
                  <a:lnTo>
                    <a:pt x="2870" y="856"/>
                  </a:lnTo>
                  <a:lnTo>
                    <a:pt x="2866" y="846"/>
                  </a:lnTo>
                  <a:lnTo>
                    <a:pt x="2862" y="838"/>
                  </a:lnTo>
                  <a:lnTo>
                    <a:pt x="2856" y="832"/>
                  </a:lnTo>
                  <a:lnTo>
                    <a:pt x="2848" y="826"/>
                  </a:lnTo>
                  <a:lnTo>
                    <a:pt x="2838" y="822"/>
                  </a:lnTo>
                  <a:lnTo>
                    <a:pt x="2826" y="818"/>
                  </a:lnTo>
                  <a:lnTo>
                    <a:pt x="2826" y="818"/>
                  </a:lnTo>
                  <a:lnTo>
                    <a:pt x="2556" y="738"/>
                  </a:lnTo>
                  <a:lnTo>
                    <a:pt x="2286" y="658"/>
                  </a:lnTo>
                  <a:lnTo>
                    <a:pt x="2286" y="658"/>
                  </a:lnTo>
                  <a:lnTo>
                    <a:pt x="2268" y="654"/>
                  </a:lnTo>
                  <a:lnTo>
                    <a:pt x="2250" y="654"/>
                  </a:lnTo>
                  <a:lnTo>
                    <a:pt x="2232" y="654"/>
                  </a:lnTo>
                  <a:lnTo>
                    <a:pt x="2214" y="658"/>
                  </a:lnTo>
                  <a:lnTo>
                    <a:pt x="2214" y="658"/>
                  </a:lnTo>
                  <a:lnTo>
                    <a:pt x="1944" y="738"/>
                  </a:lnTo>
                  <a:lnTo>
                    <a:pt x="1674" y="818"/>
                  </a:lnTo>
                  <a:lnTo>
                    <a:pt x="1674" y="818"/>
                  </a:lnTo>
                  <a:lnTo>
                    <a:pt x="1662" y="822"/>
                  </a:lnTo>
                  <a:lnTo>
                    <a:pt x="1654" y="826"/>
                  </a:lnTo>
                  <a:lnTo>
                    <a:pt x="1644" y="832"/>
                  </a:lnTo>
                  <a:lnTo>
                    <a:pt x="1638" y="838"/>
                  </a:lnTo>
                  <a:lnTo>
                    <a:pt x="1634" y="846"/>
                  </a:lnTo>
                  <a:lnTo>
                    <a:pt x="1630" y="856"/>
                  </a:lnTo>
                  <a:lnTo>
                    <a:pt x="1628" y="866"/>
                  </a:lnTo>
                  <a:lnTo>
                    <a:pt x="1628" y="880"/>
                  </a:lnTo>
                  <a:lnTo>
                    <a:pt x="1628" y="880"/>
                  </a:lnTo>
                  <a:lnTo>
                    <a:pt x="1630" y="1224"/>
                  </a:lnTo>
                  <a:lnTo>
                    <a:pt x="1630" y="1568"/>
                  </a:lnTo>
                  <a:lnTo>
                    <a:pt x="1630" y="1568"/>
                  </a:lnTo>
                  <a:lnTo>
                    <a:pt x="0" y="1568"/>
                  </a:lnTo>
                  <a:lnTo>
                    <a:pt x="0" y="1568"/>
                  </a:lnTo>
                  <a:lnTo>
                    <a:pt x="0" y="608"/>
                  </a:lnTo>
                  <a:lnTo>
                    <a:pt x="0" y="608"/>
                  </a:lnTo>
                  <a:close/>
                  <a:moveTo>
                    <a:pt x="3914" y="1224"/>
                  </a:moveTo>
                  <a:lnTo>
                    <a:pt x="3914" y="1224"/>
                  </a:lnTo>
                  <a:lnTo>
                    <a:pt x="4074" y="1224"/>
                  </a:lnTo>
                  <a:lnTo>
                    <a:pt x="4074" y="1224"/>
                  </a:lnTo>
                  <a:lnTo>
                    <a:pt x="4074" y="894"/>
                  </a:lnTo>
                  <a:lnTo>
                    <a:pt x="4074" y="894"/>
                  </a:lnTo>
                  <a:lnTo>
                    <a:pt x="3914" y="894"/>
                  </a:lnTo>
                  <a:lnTo>
                    <a:pt x="3914" y="894"/>
                  </a:lnTo>
                  <a:lnTo>
                    <a:pt x="3914" y="1224"/>
                  </a:lnTo>
                  <a:lnTo>
                    <a:pt x="3914" y="1224"/>
                  </a:lnTo>
                  <a:close/>
                  <a:moveTo>
                    <a:pt x="4372" y="1224"/>
                  </a:moveTo>
                  <a:lnTo>
                    <a:pt x="4372" y="1224"/>
                  </a:lnTo>
                  <a:lnTo>
                    <a:pt x="4372" y="896"/>
                  </a:lnTo>
                  <a:lnTo>
                    <a:pt x="4372" y="896"/>
                  </a:lnTo>
                  <a:lnTo>
                    <a:pt x="4216" y="896"/>
                  </a:lnTo>
                  <a:lnTo>
                    <a:pt x="4216" y="896"/>
                  </a:lnTo>
                  <a:lnTo>
                    <a:pt x="4216" y="1224"/>
                  </a:lnTo>
                  <a:lnTo>
                    <a:pt x="4216" y="1224"/>
                  </a:lnTo>
                  <a:lnTo>
                    <a:pt x="4372" y="1224"/>
                  </a:lnTo>
                  <a:lnTo>
                    <a:pt x="4372" y="1224"/>
                  </a:lnTo>
                  <a:close/>
                  <a:moveTo>
                    <a:pt x="3014" y="892"/>
                  </a:moveTo>
                  <a:lnTo>
                    <a:pt x="3014" y="892"/>
                  </a:lnTo>
                  <a:lnTo>
                    <a:pt x="3014" y="1224"/>
                  </a:lnTo>
                  <a:lnTo>
                    <a:pt x="3014" y="1224"/>
                  </a:lnTo>
                  <a:lnTo>
                    <a:pt x="3174" y="1224"/>
                  </a:lnTo>
                  <a:lnTo>
                    <a:pt x="3174" y="1224"/>
                  </a:lnTo>
                  <a:lnTo>
                    <a:pt x="3176" y="1072"/>
                  </a:lnTo>
                  <a:lnTo>
                    <a:pt x="3174" y="922"/>
                  </a:lnTo>
                  <a:lnTo>
                    <a:pt x="3174" y="922"/>
                  </a:lnTo>
                  <a:lnTo>
                    <a:pt x="3170" y="912"/>
                  </a:lnTo>
                  <a:lnTo>
                    <a:pt x="3164" y="904"/>
                  </a:lnTo>
                  <a:lnTo>
                    <a:pt x="3154" y="896"/>
                  </a:lnTo>
                  <a:lnTo>
                    <a:pt x="3146" y="892"/>
                  </a:lnTo>
                  <a:lnTo>
                    <a:pt x="3146" y="892"/>
                  </a:lnTo>
                  <a:lnTo>
                    <a:pt x="3114" y="892"/>
                  </a:lnTo>
                  <a:lnTo>
                    <a:pt x="3082" y="892"/>
                  </a:lnTo>
                  <a:lnTo>
                    <a:pt x="3014" y="892"/>
                  </a:lnTo>
                  <a:lnTo>
                    <a:pt x="3014" y="892"/>
                  </a:lnTo>
                  <a:close/>
                  <a:moveTo>
                    <a:pt x="3476" y="1226"/>
                  </a:moveTo>
                  <a:lnTo>
                    <a:pt x="3476" y="1226"/>
                  </a:lnTo>
                  <a:lnTo>
                    <a:pt x="3476" y="1070"/>
                  </a:lnTo>
                  <a:lnTo>
                    <a:pt x="3474" y="918"/>
                  </a:lnTo>
                  <a:lnTo>
                    <a:pt x="3474" y="918"/>
                  </a:lnTo>
                  <a:lnTo>
                    <a:pt x="3472" y="910"/>
                  </a:lnTo>
                  <a:lnTo>
                    <a:pt x="3466" y="902"/>
                  </a:lnTo>
                  <a:lnTo>
                    <a:pt x="3456" y="896"/>
                  </a:lnTo>
                  <a:lnTo>
                    <a:pt x="3448" y="892"/>
                  </a:lnTo>
                  <a:lnTo>
                    <a:pt x="3448" y="892"/>
                  </a:lnTo>
                  <a:lnTo>
                    <a:pt x="3416" y="892"/>
                  </a:lnTo>
                  <a:lnTo>
                    <a:pt x="3382" y="892"/>
                  </a:lnTo>
                  <a:lnTo>
                    <a:pt x="3314" y="892"/>
                  </a:lnTo>
                  <a:lnTo>
                    <a:pt x="3314" y="892"/>
                  </a:lnTo>
                  <a:lnTo>
                    <a:pt x="3314" y="1226"/>
                  </a:lnTo>
                  <a:lnTo>
                    <a:pt x="3314" y="1226"/>
                  </a:lnTo>
                  <a:lnTo>
                    <a:pt x="3476" y="1226"/>
                  </a:lnTo>
                  <a:lnTo>
                    <a:pt x="3476" y="1226"/>
                  </a:lnTo>
                  <a:close/>
                  <a:moveTo>
                    <a:pt x="3776" y="1226"/>
                  </a:moveTo>
                  <a:lnTo>
                    <a:pt x="3776" y="1226"/>
                  </a:lnTo>
                  <a:lnTo>
                    <a:pt x="3776" y="1070"/>
                  </a:lnTo>
                  <a:lnTo>
                    <a:pt x="3774" y="918"/>
                  </a:lnTo>
                  <a:lnTo>
                    <a:pt x="3774" y="918"/>
                  </a:lnTo>
                  <a:lnTo>
                    <a:pt x="3772" y="910"/>
                  </a:lnTo>
                  <a:lnTo>
                    <a:pt x="3766" y="902"/>
                  </a:lnTo>
                  <a:lnTo>
                    <a:pt x="3756" y="896"/>
                  </a:lnTo>
                  <a:lnTo>
                    <a:pt x="3748" y="892"/>
                  </a:lnTo>
                  <a:lnTo>
                    <a:pt x="3748" y="892"/>
                  </a:lnTo>
                  <a:lnTo>
                    <a:pt x="3716" y="892"/>
                  </a:lnTo>
                  <a:lnTo>
                    <a:pt x="3682" y="892"/>
                  </a:lnTo>
                  <a:lnTo>
                    <a:pt x="3614" y="892"/>
                  </a:lnTo>
                  <a:lnTo>
                    <a:pt x="3614" y="892"/>
                  </a:lnTo>
                  <a:lnTo>
                    <a:pt x="3614" y="1226"/>
                  </a:lnTo>
                  <a:lnTo>
                    <a:pt x="3614" y="1226"/>
                  </a:lnTo>
                  <a:lnTo>
                    <a:pt x="3776" y="1226"/>
                  </a:lnTo>
                  <a:lnTo>
                    <a:pt x="3776" y="1226"/>
                  </a:lnTo>
                  <a:close/>
                  <a:moveTo>
                    <a:pt x="286" y="894"/>
                  </a:moveTo>
                  <a:lnTo>
                    <a:pt x="286" y="894"/>
                  </a:lnTo>
                  <a:lnTo>
                    <a:pt x="242" y="892"/>
                  </a:lnTo>
                  <a:lnTo>
                    <a:pt x="242" y="892"/>
                  </a:lnTo>
                  <a:lnTo>
                    <a:pt x="202" y="892"/>
                  </a:lnTo>
                  <a:lnTo>
                    <a:pt x="174" y="892"/>
                  </a:lnTo>
                  <a:lnTo>
                    <a:pt x="162" y="894"/>
                  </a:lnTo>
                  <a:lnTo>
                    <a:pt x="152" y="896"/>
                  </a:lnTo>
                  <a:lnTo>
                    <a:pt x="146" y="900"/>
                  </a:lnTo>
                  <a:lnTo>
                    <a:pt x="138" y="904"/>
                  </a:lnTo>
                  <a:lnTo>
                    <a:pt x="134" y="910"/>
                  </a:lnTo>
                  <a:lnTo>
                    <a:pt x="130" y="918"/>
                  </a:lnTo>
                  <a:lnTo>
                    <a:pt x="128" y="928"/>
                  </a:lnTo>
                  <a:lnTo>
                    <a:pt x="126" y="940"/>
                  </a:lnTo>
                  <a:lnTo>
                    <a:pt x="124" y="968"/>
                  </a:lnTo>
                  <a:lnTo>
                    <a:pt x="124" y="1008"/>
                  </a:lnTo>
                  <a:lnTo>
                    <a:pt x="124" y="1008"/>
                  </a:lnTo>
                  <a:lnTo>
                    <a:pt x="124" y="1224"/>
                  </a:lnTo>
                  <a:lnTo>
                    <a:pt x="124" y="1224"/>
                  </a:lnTo>
                  <a:lnTo>
                    <a:pt x="286" y="1224"/>
                  </a:lnTo>
                  <a:lnTo>
                    <a:pt x="286" y="1224"/>
                  </a:lnTo>
                  <a:lnTo>
                    <a:pt x="286" y="894"/>
                  </a:lnTo>
                  <a:lnTo>
                    <a:pt x="286" y="894"/>
                  </a:lnTo>
                  <a:close/>
                  <a:moveTo>
                    <a:pt x="728" y="1224"/>
                  </a:moveTo>
                  <a:lnTo>
                    <a:pt x="728" y="1224"/>
                  </a:lnTo>
                  <a:lnTo>
                    <a:pt x="886" y="1224"/>
                  </a:lnTo>
                  <a:lnTo>
                    <a:pt x="886" y="1224"/>
                  </a:lnTo>
                  <a:lnTo>
                    <a:pt x="886" y="896"/>
                  </a:lnTo>
                  <a:lnTo>
                    <a:pt x="886" y="896"/>
                  </a:lnTo>
                  <a:lnTo>
                    <a:pt x="728" y="896"/>
                  </a:lnTo>
                  <a:lnTo>
                    <a:pt x="728" y="896"/>
                  </a:lnTo>
                  <a:lnTo>
                    <a:pt x="728" y="1224"/>
                  </a:lnTo>
                  <a:lnTo>
                    <a:pt x="728" y="1224"/>
                  </a:lnTo>
                  <a:close/>
                  <a:moveTo>
                    <a:pt x="1186" y="1224"/>
                  </a:moveTo>
                  <a:lnTo>
                    <a:pt x="1186" y="1224"/>
                  </a:lnTo>
                  <a:lnTo>
                    <a:pt x="1186" y="894"/>
                  </a:lnTo>
                  <a:lnTo>
                    <a:pt x="1186" y="894"/>
                  </a:lnTo>
                  <a:lnTo>
                    <a:pt x="1030" y="894"/>
                  </a:lnTo>
                  <a:lnTo>
                    <a:pt x="1030" y="894"/>
                  </a:lnTo>
                  <a:lnTo>
                    <a:pt x="1030" y="1224"/>
                  </a:lnTo>
                  <a:lnTo>
                    <a:pt x="1030" y="1224"/>
                  </a:lnTo>
                  <a:lnTo>
                    <a:pt x="1186" y="1224"/>
                  </a:lnTo>
                  <a:lnTo>
                    <a:pt x="1186" y="1224"/>
                  </a:lnTo>
                  <a:close/>
                  <a:moveTo>
                    <a:pt x="1328" y="1224"/>
                  </a:moveTo>
                  <a:lnTo>
                    <a:pt x="1328" y="1224"/>
                  </a:lnTo>
                  <a:lnTo>
                    <a:pt x="1486" y="1224"/>
                  </a:lnTo>
                  <a:lnTo>
                    <a:pt x="1486" y="1224"/>
                  </a:lnTo>
                  <a:lnTo>
                    <a:pt x="1486" y="896"/>
                  </a:lnTo>
                  <a:lnTo>
                    <a:pt x="1486" y="896"/>
                  </a:lnTo>
                  <a:lnTo>
                    <a:pt x="1328" y="896"/>
                  </a:lnTo>
                  <a:lnTo>
                    <a:pt x="1328" y="896"/>
                  </a:lnTo>
                  <a:lnTo>
                    <a:pt x="1328" y="1224"/>
                  </a:lnTo>
                  <a:lnTo>
                    <a:pt x="1328" y="1224"/>
                  </a:lnTo>
                  <a:close/>
                  <a:moveTo>
                    <a:pt x="584" y="1224"/>
                  </a:moveTo>
                  <a:lnTo>
                    <a:pt x="584" y="1224"/>
                  </a:lnTo>
                  <a:lnTo>
                    <a:pt x="584" y="896"/>
                  </a:lnTo>
                  <a:lnTo>
                    <a:pt x="584" y="896"/>
                  </a:lnTo>
                  <a:lnTo>
                    <a:pt x="430" y="896"/>
                  </a:lnTo>
                  <a:lnTo>
                    <a:pt x="430" y="896"/>
                  </a:lnTo>
                  <a:lnTo>
                    <a:pt x="430" y="1224"/>
                  </a:lnTo>
                  <a:lnTo>
                    <a:pt x="430" y="1224"/>
                  </a:lnTo>
                  <a:lnTo>
                    <a:pt x="584" y="1224"/>
                  </a:lnTo>
                  <a:lnTo>
                    <a:pt x="584" y="1224"/>
                  </a:lnTo>
                  <a:close/>
                  <a:moveTo>
                    <a:pt x="2964" y="476"/>
                  </a:moveTo>
                  <a:lnTo>
                    <a:pt x="2964" y="476"/>
                  </a:lnTo>
                  <a:lnTo>
                    <a:pt x="3064" y="476"/>
                  </a:lnTo>
                  <a:lnTo>
                    <a:pt x="3064" y="476"/>
                  </a:lnTo>
                  <a:lnTo>
                    <a:pt x="3066" y="428"/>
                  </a:lnTo>
                  <a:lnTo>
                    <a:pt x="3066" y="404"/>
                  </a:lnTo>
                  <a:lnTo>
                    <a:pt x="3062" y="382"/>
                  </a:lnTo>
                  <a:lnTo>
                    <a:pt x="3062" y="382"/>
                  </a:lnTo>
                  <a:lnTo>
                    <a:pt x="3060" y="374"/>
                  </a:lnTo>
                  <a:lnTo>
                    <a:pt x="3056" y="366"/>
                  </a:lnTo>
                  <a:lnTo>
                    <a:pt x="3044" y="352"/>
                  </a:lnTo>
                  <a:lnTo>
                    <a:pt x="3030" y="342"/>
                  </a:lnTo>
                  <a:lnTo>
                    <a:pt x="3022" y="338"/>
                  </a:lnTo>
                  <a:lnTo>
                    <a:pt x="3016" y="336"/>
                  </a:lnTo>
                  <a:lnTo>
                    <a:pt x="3016" y="336"/>
                  </a:lnTo>
                  <a:lnTo>
                    <a:pt x="3010" y="338"/>
                  </a:lnTo>
                  <a:lnTo>
                    <a:pt x="3002" y="340"/>
                  </a:lnTo>
                  <a:lnTo>
                    <a:pt x="2986" y="350"/>
                  </a:lnTo>
                  <a:lnTo>
                    <a:pt x="2974" y="364"/>
                  </a:lnTo>
                  <a:lnTo>
                    <a:pt x="2970" y="370"/>
                  </a:lnTo>
                  <a:lnTo>
                    <a:pt x="2966" y="378"/>
                  </a:lnTo>
                  <a:lnTo>
                    <a:pt x="2966" y="378"/>
                  </a:lnTo>
                  <a:lnTo>
                    <a:pt x="2964" y="388"/>
                  </a:lnTo>
                  <a:lnTo>
                    <a:pt x="2962" y="400"/>
                  </a:lnTo>
                  <a:lnTo>
                    <a:pt x="2962" y="424"/>
                  </a:lnTo>
                  <a:lnTo>
                    <a:pt x="2964" y="476"/>
                  </a:lnTo>
                  <a:lnTo>
                    <a:pt x="2964" y="476"/>
                  </a:lnTo>
                  <a:close/>
                  <a:moveTo>
                    <a:pt x="2490" y="476"/>
                  </a:moveTo>
                  <a:lnTo>
                    <a:pt x="2490" y="476"/>
                  </a:lnTo>
                  <a:lnTo>
                    <a:pt x="2492" y="426"/>
                  </a:lnTo>
                  <a:lnTo>
                    <a:pt x="2490" y="402"/>
                  </a:lnTo>
                  <a:lnTo>
                    <a:pt x="2488" y="380"/>
                  </a:lnTo>
                  <a:lnTo>
                    <a:pt x="2488" y="380"/>
                  </a:lnTo>
                  <a:lnTo>
                    <a:pt x="2484" y="372"/>
                  </a:lnTo>
                  <a:lnTo>
                    <a:pt x="2480" y="366"/>
                  </a:lnTo>
                  <a:lnTo>
                    <a:pt x="2468" y="352"/>
                  </a:lnTo>
                  <a:lnTo>
                    <a:pt x="2454" y="342"/>
                  </a:lnTo>
                  <a:lnTo>
                    <a:pt x="2446" y="338"/>
                  </a:lnTo>
                  <a:lnTo>
                    <a:pt x="2440" y="338"/>
                  </a:lnTo>
                  <a:lnTo>
                    <a:pt x="2440" y="338"/>
                  </a:lnTo>
                  <a:lnTo>
                    <a:pt x="2434" y="338"/>
                  </a:lnTo>
                  <a:lnTo>
                    <a:pt x="2426" y="342"/>
                  </a:lnTo>
                  <a:lnTo>
                    <a:pt x="2412" y="352"/>
                  </a:lnTo>
                  <a:lnTo>
                    <a:pt x="2398" y="364"/>
                  </a:lnTo>
                  <a:lnTo>
                    <a:pt x="2394" y="372"/>
                  </a:lnTo>
                  <a:lnTo>
                    <a:pt x="2392" y="378"/>
                  </a:lnTo>
                  <a:lnTo>
                    <a:pt x="2392" y="378"/>
                  </a:lnTo>
                  <a:lnTo>
                    <a:pt x="2388" y="402"/>
                  </a:lnTo>
                  <a:lnTo>
                    <a:pt x="2388" y="426"/>
                  </a:lnTo>
                  <a:lnTo>
                    <a:pt x="2390" y="476"/>
                  </a:lnTo>
                  <a:lnTo>
                    <a:pt x="2390" y="476"/>
                  </a:lnTo>
                  <a:lnTo>
                    <a:pt x="2490" y="476"/>
                  </a:lnTo>
                  <a:lnTo>
                    <a:pt x="2490" y="476"/>
                  </a:lnTo>
                  <a:close/>
                  <a:moveTo>
                    <a:pt x="1728" y="474"/>
                  </a:moveTo>
                  <a:lnTo>
                    <a:pt x="1728" y="474"/>
                  </a:lnTo>
                  <a:lnTo>
                    <a:pt x="1730" y="424"/>
                  </a:lnTo>
                  <a:lnTo>
                    <a:pt x="1730" y="400"/>
                  </a:lnTo>
                  <a:lnTo>
                    <a:pt x="1728" y="390"/>
                  </a:lnTo>
                  <a:lnTo>
                    <a:pt x="1726" y="378"/>
                  </a:lnTo>
                  <a:lnTo>
                    <a:pt x="1726" y="378"/>
                  </a:lnTo>
                  <a:lnTo>
                    <a:pt x="1722" y="372"/>
                  </a:lnTo>
                  <a:lnTo>
                    <a:pt x="1718" y="364"/>
                  </a:lnTo>
                  <a:lnTo>
                    <a:pt x="1706" y="350"/>
                  </a:lnTo>
                  <a:lnTo>
                    <a:pt x="1690" y="340"/>
                  </a:lnTo>
                  <a:lnTo>
                    <a:pt x="1682" y="338"/>
                  </a:lnTo>
                  <a:lnTo>
                    <a:pt x="1676" y="336"/>
                  </a:lnTo>
                  <a:lnTo>
                    <a:pt x="1676" y="336"/>
                  </a:lnTo>
                  <a:lnTo>
                    <a:pt x="1670" y="338"/>
                  </a:lnTo>
                  <a:lnTo>
                    <a:pt x="1662" y="342"/>
                  </a:lnTo>
                  <a:lnTo>
                    <a:pt x="1648" y="352"/>
                  </a:lnTo>
                  <a:lnTo>
                    <a:pt x="1636" y="366"/>
                  </a:lnTo>
                  <a:lnTo>
                    <a:pt x="1632" y="374"/>
                  </a:lnTo>
                  <a:lnTo>
                    <a:pt x="1630" y="380"/>
                  </a:lnTo>
                  <a:lnTo>
                    <a:pt x="1630" y="380"/>
                  </a:lnTo>
                  <a:lnTo>
                    <a:pt x="1626" y="402"/>
                  </a:lnTo>
                  <a:lnTo>
                    <a:pt x="1626" y="426"/>
                  </a:lnTo>
                  <a:lnTo>
                    <a:pt x="1628" y="474"/>
                  </a:lnTo>
                  <a:lnTo>
                    <a:pt x="1628" y="474"/>
                  </a:lnTo>
                  <a:lnTo>
                    <a:pt x="1728" y="474"/>
                  </a:lnTo>
                  <a:lnTo>
                    <a:pt x="1728" y="474"/>
                  </a:lnTo>
                  <a:close/>
                  <a:moveTo>
                    <a:pt x="1818" y="474"/>
                  </a:moveTo>
                  <a:lnTo>
                    <a:pt x="1818" y="474"/>
                  </a:lnTo>
                  <a:lnTo>
                    <a:pt x="1920" y="474"/>
                  </a:lnTo>
                  <a:lnTo>
                    <a:pt x="1920" y="474"/>
                  </a:lnTo>
                  <a:lnTo>
                    <a:pt x="1920" y="386"/>
                  </a:lnTo>
                  <a:lnTo>
                    <a:pt x="1920" y="386"/>
                  </a:lnTo>
                  <a:lnTo>
                    <a:pt x="1918" y="376"/>
                  </a:lnTo>
                  <a:lnTo>
                    <a:pt x="1916" y="364"/>
                  </a:lnTo>
                  <a:lnTo>
                    <a:pt x="1912" y="356"/>
                  </a:lnTo>
                  <a:lnTo>
                    <a:pt x="1908" y="348"/>
                  </a:lnTo>
                  <a:lnTo>
                    <a:pt x="1900" y="342"/>
                  </a:lnTo>
                  <a:lnTo>
                    <a:pt x="1892" y="338"/>
                  </a:lnTo>
                  <a:lnTo>
                    <a:pt x="1884" y="334"/>
                  </a:lnTo>
                  <a:lnTo>
                    <a:pt x="1872" y="334"/>
                  </a:lnTo>
                  <a:lnTo>
                    <a:pt x="1872" y="334"/>
                  </a:lnTo>
                  <a:lnTo>
                    <a:pt x="1862" y="334"/>
                  </a:lnTo>
                  <a:lnTo>
                    <a:pt x="1850" y="336"/>
                  </a:lnTo>
                  <a:lnTo>
                    <a:pt x="1842" y="340"/>
                  </a:lnTo>
                  <a:lnTo>
                    <a:pt x="1834" y="346"/>
                  </a:lnTo>
                  <a:lnTo>
                    <a:pt x="1828" y="354"/>
                  </a:lnTo>
                  <a:lnTo>
                    <a:pt x="1822" y="362"/>
                  </a:lnTo>
                  <a:lnTo>
                    <a:pt x="1820" y="372"/>
                  </a:lnTo>
                  <a:lnTo>
                    <a:pt x="1818" y="386"/>
                  </a:lnTo>
                  <a:lnTo>
                    <a:pt x="1818" y="386"/>
                  </a:lnTo>
                  <a:lnTo>
                    <a:pt x="1818" y="474"/>
                  </a:lnTo>
                  <a:lnTo>
                    <a:pt x="1818" y="474"/>
                  </a:lnTo>
                  <a:close/>
                  <a:moveTo>
                    <a:pt x="1536" y="476"/>
                  </a:moveTo>
                  <a:lnTo>
                    <a:pt x="1536" y="476"/>
                  </a:lnTo>
                  <a:lnTo>
                    <a:pt x="1538" y="422"/>
                  </a:lnTo>
                  <a:lnTo>
                    <a:pt x="1538" y="400"/>
                  </a:lnTo>
                  <a:lnTo>
                    <a:pt x="1536" y="388"/>
                  </a:lnTo>
                  <a:lnTo>
                    <a:pt x="1534" y="376"/>
                  </a:lnTo>
                  <a:lnTo>
                    <a:pt x="1534" y="376"/>
                  </a:lnTo>
                  <a:lnTo>
                    <a:pt x="1530" y="370"/>
                  </a:lnTo>
                  <a:lnTo>
                    <a:pt x="1526" y="364"/>
                  </a:lnTo>
                  <a:lnTo>
                    <a:pt x="1514" y="350"/>
                  </a:lnTo>
                  <a:lnTo>
                    <a:pt x="1498" y="342"/>
                  </a:lnTo>
                  <a:lnTo>
                    <a:pt x="1490" y="338"/>
                  </a:lnTo>
                  <a:lnTo>
                    <a:pt x="1484" y="338"/>
                  </a:lnTo>
                  <a:lnTo>
                    <a:pt x="1484" y="338"/>
                  </a:lnTo>
                  <a:lnTo>
                    <a:pt x="1476" y="340"/>
                  </a:lnTo>
                  <a:lnTo>
                    <a:pt x="1470" y="342"/>
                  </a:lnTo>
                  <a:lnTo>
                    <a:pt x="1456" y="354"/>
                  </a:lnTo>
                  <a:lnTo>
                    <a:pt x="1446" y="368"/>
                  </a:lnTo>
                  <a:lnTo>
                    <a:pt x="1440" y="374"/>
                  </a:lnTo>
                  <a:lnTo>
                    <a:pt x="1438" y="382"/>
                  </a:lnTo>
                  <a:lnTo>
                    <a:pt x="1438" y="382"/>
                  </a:lnTo>
                  <a:lnTo>
                    <a:pt x="1434" y="404"/>
                  </a:lnTo>
                  <a:lnTo>
                    <a:pt x="1434" y="428"/>
                  </a:lnTo>
                  <a:lnTo>
                    <a:pt x="1436" y="476"/>
                  </a:lnTo>
                  <a:lnTo>
                    <a:pt x="1436" y="476"/>
                  </a:lnTo>
                  <a:lnTo>
                    <a:pt x="1536" y="476"/>
                  </a:lnTo>
                  <a:lnTo>
                    <a:pt x="1536" y="476"/>
                  </a:lnTo>
                  <a:close/>
                  <a:moveTo>
                    <a:pt x="2680" y="476"/>
                  </a:moveTo>
                  <a:lnTo>
                    <a:pt x="2680" y="476"/>
                  </a:lnTo>
                  <a:lnTo>
                    <a:pt x="2682" y="426"/>
                  </a:lnTo>
                  <a:lnTo>
                    <a:pt x="2682" y="402"/>
                  </a:lnTo>
                  <a:lnTo>
                    <a:pt x="2678" y="380"/>
                  </a:lnTo>
                  <a:lnTo>
                    <a:pt x="2678" y="380"/>
                  </a:lnTo>
                  <a:lnTo>
                    <a:pt x="2676" y="372"/>
                  </a:lnTo>
                  <a:lnTo>
                    <a:pt x="2672" y="366"/>
                  </a:lnTo>
                  <a:lnTo>
                    <a:pt x="2660" y="352"/>
                  </a:lnTo>
                  <a:lnTo>
                    <a:pt x="2648" y="340"/>
                  </a:lnTo>
                  <a:lnTo>
                    <a:pt x="2642" y="338"/>
                  </a:lnTo>
                  <a:lnTo>
                    <a:pt x="2636" y="336"/>
                  </a:lnTo>
                  <a:lnTo>
                    <a:pt x="2636" y="336"/>
                  </a:lnTo>
                  <a:lnTo>
                    <a:pt x="2628" y="338"/>
                  </a:lnTo>
                  <a:lnTo>
                    <a:pt x="2620" y="340"/>
                  </a:lnTo>
                  <a:lnTo>
                    <a:pt x="2604" y="350"/>
                  </a:lnTo>
                  <a:lnTo>
                    <a:pt x="2590" y="362"/>
                  </a:lnTo>
                  <a:lnTo>
                    <a:pt x="2586" y="368"/>
                  </a:lnTo>
                  <a:lnTo>
                    <a:pt x="2584" y="374"/>
                  </a:lnTo>
                  <a:lnTo>
                    <a:pt x="2584" y="374"/>
                  </a:lnTo>
                  <a:lnTo>
                    <a:pt x="2582" y="386"/>
                  </a:lnTo>
                  <a:lnTo>
                    <a:pt x="2580" y="398"/>
                  </a:lnTo>
                  <a:lnTo>
                    <a:pt x="2580" y="424"/>
                  </a:lnTo>
                  <a:lnTo>
                    <a:pt x="2582" y="476"/>
                  </a:lnTo>
                  <a:lnTo>
                    <a:pt x="2582" y="476"/>
                  </a:lnTo>
                  <a:lnTo>
                    <a:pt x="2680" y="476"/>
                  </a:lnTo>
                  <a:lnTo>
                    <a:pt x="2680" y="476"/>
                  </a:lnTo>
                  <a:close/>
                  <a:moveTo>
                    <a:pt x="2110" y="474"/>
                  </a:moveTo>
                  <a:lnTo>
                    <a:pt x="2110" y="474"/>
                  </a:lnTo>
                  <a:lnTo>
                    <a:pt x="2112" y="424"/>
                  </a:lnTo>
                  <a:lnTo>
                    <a:pt x="2110" y="398"/>
                  </a:lnTo>
                  <a:lnTo>
                    <a:pt x="2108" y="376"/>
                  </a:lnTo>
                  <a:lnTo>
                    <a:pt x="2108" y="376"/>
                  </a:lnTo>
                  <a:lnTo>
                    <a:pt x="2104" y="368"/>
                  </a:lnTo>
                  <a:lnTo>
                    <a:pt x="2100" y="362"/>
                  </a:lnTo>
                  <a:lnTo>
                    <a:pt x="2088" y="350"/>
                  </a:lnTo>
                  <a:lnTo>
                    <a:pt x="2074" y="342"/>
                  </a:lnTo>
                  <a:lnTo>
                    <a:pt x="2068" y="340"/>
                  </a:lnTo>
                  <a:lnTo>
                    <a:pt x="2060" y="338"/>
                  </a:lnTo>
                  <a:lnTo>
                    <a:pt x="2060" y="338"/>
                  </a:lnTo>
                  <a:lnTo>
                    <a:pt x="2054" y="340"/>
                  </a:lnTo>
                  <a:lnTo>
                    <a:pt x="2046" y="342"/>
                  </a:lnTo>
                  <a:lnTo>
                    <a:pt x="2032" y="350"/>
                  </a:lnTo>
                  <a:lnTo>
                    <a:pt x="2020" y="362"/>
                  </a:lnTo>
                  <a:lnTo>
                    <a:pt x="2016" y="368"/>
                  </a:lnTo>
                  <a:lnTo>
                    <a:pt x="2014" y="374"/>
                  </a:lnTo>
                  <a:lnTo>
                    <a:pt x="2014" y="374"/>
                  </a:lnTo>
                  <a:lnTo>
                    <a:pt x="2010" y="398"/>
                  </a:lnTo>
                  <a:lnTo>
                    <a:pt x="2010" y="424"/>
                  </a:lnTo>
                  <a:lnTo>
                    <a:pt x="2010" y="474"/>
                  </a:lnTo>
                  <a:lnTo>
                    <a:pt x="2010" y="474"/>
                  </a:lnTo>
                  <a:lnTo>
                    <a:pt x="2110" y="474"/>
                  </a:lnTo>
                  <a:lnTo>
                    <a:pt x="2110" y="474"/>
                  </a:lnTo>
                  <a:close/>
                  <a:moveTo>
                    <a:pt x="2872" y="476"/>
                  </a:moveTo>
                  <a:lnTo>
                    <a:pt x="2872" y="476"/>
                  </a:lnTo>
                  <a:lnTo>
                    <a:pt x="2874" y="424"/>
                  </a:lnTo>
                  <a:lnTo>
                    <a:pt x="2874" y="400"/>
                  </a:lnTo>
                  <a:lnTo>
                    <a:pt x="2870" y="378"/>
                  </a:lnTo>
                  <a:lnTo>
                    <a:pt x="2870" y="378"/>
                  </a:lnTo>
                  <a:lnTo>
                    <a:pt x="2868" y="372"/>
                  </a:lnTo>
                  <a:lnTo>
                    <a:pt x="2864" y="364"/>
                  </a:lnTo>
                  <a:lnTo>
                    <a:pt x="2852" y="352"/>
                  </a:lnTo>
                  <a:lnTo>
                    <a:pt x="2838" y="342"/>
                  </a:lnTo>
                  <a:lnTo>
                    <a:pt x="2832" y="340"/>
                  </a:lnTo>
                  <a:lnTo>
                    <a:pt x="2824" y="338"/>
                  </a:lnTo>
                  <a:lnTo>
                    <a:pt x="2824" y="338"/>
                  </a:lnTo>
                  <a:lnTo>
                    <a:pt x="2818" y="340"/>
                  </a:lnTo>
                  <a:lnTo>
                    <a:pt x="2810" y="342"/>
                  </a:lnTo>
                  <a:lnTo>
                    <a:pt x="2796" y="350"/>
                  </a:lnTo>
                  <a:lnTo>
                    <a:pt x="2782" y="362"/>
                  </a:lnTo>
                  <a:lnTo>
                    <a:pt x="2778" y="368"/>
                  </a:lnTo>
                  <a:lnTo>
                    <a:pt x="2776" y="374"/>
                  </a:lnTo>
                  <a:lnTo>
                    <a:pt x="2776" y="374"/>
                  </a:lnTo>
                  <a:lnTo>
                    <a:pt x="2772" y="398"/>
                  </a:lnTo>
                  <a:lnTo>
                    <a:pt x="2772" y="424"/>
                  </a:lnTo>
                  <a:lnTo>
                    <a:pt x="2774" y="476"/>
                  </a:lnTo>
                  <a:lnTo>
                    <a:pt x="2774" y="476"/>
                  </a:lnTo>
                  <a:lnTo>
                    <a:pt x="2872" y="476"/>
                  </a:lnTo>
                  <a:lnTo>
                    <a:pt x="2872" y="476"/>
                  </a:lnTo>
                  <a:close/>
                  <a:moveTo>
                    <a:pt x="2202" y="474"/>
                  </a:moveTo>
                  <a:lnTo>
                    <a:pt x="2202" y="474"/>
                  </a:lnTo>
                  <a:lnTo>
                    <a:pt x="2302" y="474"/>
                  </a:lnTo>
                  <a:lnTo>
                    <a:pt x="2302" y="474"/>
                  </a:lnTo>
                  <a:lnTo>
                    <a:pt x="2304" y="426"/>
                  </a:lnTo>
                  <a:lnTo>
                    <a:pt x="2304" y="402"/>
                  </a:lnTo>
                  <a:lnTo>
                    <a:pt x="2300" y="380"/>
                  </a:lnTo>
                  <a:lnTo>
                    <a:pt x="2300" y="380"/>
                  </a:lnTo>
                  <a:lnTo>
                    <a:pt x="2296" y="374"/>
                  </a:lnTo>
                  <a:lnTo>
                    <a:pt x="2292" y="366"/>
                  </a:lnTo>
                  <a:lnTo>
                    <a:pt x="2280" y="352"/>
                  </a:lnTo>
                  <a:lnTo>
                    <a:pt x="2266" y="342"/>
                  </a:lnTo>
                  <a:lnTo>
                    <a:pt x="2258" y="340"/>
                  </a:lnTo>
                  <a:lnTo>
                    <a:pt x="2252" y="338"/>
                  </a:lnTo>
                  <a:lnTo>
                    <a:pt x="2252" y="338"/>
                  </a:lnTo>
                  <a:lnTo>
                    <a:pt x="2246" y="340"/>
                  </a:lnTo>
                  <a:lnTo>
                    <a:pt x="2238" y="342"/>
                  </a:lnTo>
                  <a:lnTo>
                    <a:pt x="2224" y="352"/>
                  </a:lnTo>
                  <a:lnTo>
                    <a:pt x="2210" y="366"/>
                  </a:lnTo>
                  <a:lnTo>
                    <a:pt x="2206" y="372"/>
                  </a:lnTo>
                  <a:lnTo>
                    <a:pt x="2204" y="380"/>
                  </a:lnTo>
                  <a:lnTo>
                    <a:pt x="2204" y="380"/>
                  </a:lnTo>
                  <a:lnTo>
                    <a:pt x="2202" y="390"/>
                  </a:lnTo>
                  <a:lnTo>
                    <a:pt x="2200" y="402"/>
                  </a:lnTo>
                  <a:lnTo>
                    <a:pt x="2200" y="424"/>
                  </a:lnTo>
                  <a:lnTo>
                    <a:pt x="2202" y="474"/>
                  </a:lnTo>
                  <a:lnTo>
                    <a:pt x="2202" y="474"/>
                  </a:lnTo>
                  <a:close/>
                </a:path>
              </a:pathLst>
            </a:custGeom>
            <a:grpFill/>
            <a:ln w="9525">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505050"/>
                </a:solidFill>
                <a:latin typeface="Segoe UI"/>
              </a:endParaRPr>
            </a:p>
          </p:txBody>
        </p:sp>
        <p:sp>
          <p:nvSpPr>
            <p:cNvPr id="37" name="Freeform 6"/>
            <p:cNvSpPr>
              <a:spLocks/>
            </p:cNvSpPr>
            <p:nvPr/>
          </p:nvSpPr>
          <p:spPr bwMode="auto">
            <a:xfrm>
              <a:off x="6843593" y="4527121"/>
              <a:ext cx="273046" cy="1044574"/>
            </a:xfrm>
            <a:custGeom>
              <a:avLst/>
              <a:gdLst>
                <a:gd name="T0" fmla="*/ 0 w 172"/>
                <a:gd name="T1" fmla="*/ 658 h 658"/>
                <a:gd name="T2" fmla="*/ 0 w 172"/>
                <a:gd name="T3" fmla="*/ 658 h 658"/>
                <a:gd name="T4" fmla="*/ 0 w 172"/>
                <a:gd name="T5" fmla="*/ 0 h 658"/>
                <a:gd name="T6" fmla="*/ 0 w 172"/>
                <a:gd name="T7" fmla="*/ 0 h 658"/>
                <a:gd name="T8" fmla="*/ 168 w 172"/>
                <a:gd name="T9" fmla="*/ 0 h 658"/>
                <a:gd name="T10" fmla="*/ 168 w 172"/>
                <a:gd name="T11" fmla="*/ 0 h 658"/>
                <a:gd name="T12" fmla="*/ 172 w 172"/>
                <a:gd name="T13" fmla="*/ 6 h 658"/>
                <a:gd name="T14" fmla="*/ 172 w 172"/>
                <a:gd name="T15" fmla="*/ 10 h 658"/>
                <a:gd name="T16" fmla="*/ 172 w 172"/>
                <a:gd name="T17" fmla="*/ 10 h 658"/>
                <a:gd name="T18" fmla="*/ 172 w 172"/>
                <a:gd name="T19" fmla="*/ 648 h 658"/>
                <a:gd name="T20" fmla="*/ 172 w 172"/>
                <a:gd name="T21" fmla="*/ 648 h 658"/>
                <a:gd name="T22" fmla="*/ 172 w 172"/>
                <a:gd name="T23" fmla="*/ 654 h 658"/>
                <a:gd name="T24" fmla="*/ 170 w 172"/>
                <a:gd name="T25" fmla="*/ 658 h 658"/>
                <a:gd name="T26" fmla="*/ 170 w 172"/>
                <a:gd name="T27" fmla="*/ 658 h 658"/>
                <a:gd name="T28" fmla="*/ 0 w 172"/>
                <a:gd name="T29" fmla="*/ 658 h 658"/>
                <a:gd name="T30" fmla="*/ 0 w 172"/>
                <a:gd name="T31" fmla="*/ 658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2" h="658">
                  <a:moveTo>
                    <a:pt x="0" y="658"/>
                  </a:moveTo>
                  <a:lnTo>
                    <a:pt x="0" y="658"/>
                  </a:lnTo>
                  <a:lnTo>
                    <a:pt x="0" y="0"/>
                  </a:lnTo>
                  <a:lnTo>
                    <a:pt x="0" y="0"/>
                  </a:lnTo>
                  <a:lnTo>
                    <a:pt x="168" y="0"/>
                  </a:lnTo>
                  <a:lnTo>
                    <a:pt x="168" y="0"/>
                  </a:lnTo>
                  <a:lnTo>
                    <a:pt x="172" y="6"/>
                  </a:lnTo>
                  <a:lnTo>
                    <a:pt x="172" y="10"/>
                  </a:lnTo>
                  <a:lnTo>
                    <a:pt x="172" y="10"/>
                  </a:lnTo>
                  <a:lnTo>
                    <a:pt x="172" y="648"/>
                  </a:lnTo>
                  <a:lnTo>
                    <a:pt x="172" y="648"/>
                  </a:lnTo>
                  <a:lnTo>
                    <a:pt x="172" y="654"/>
                  </a:lnTo>
                  <a:lnTo>
                    <a:pt x="170" y="658"/>
                  </a:lnTo>
                  <a:lnTo>
                    <a:pt x="170" y="658"/>
                  </a:lnTo>
                  <a:lnTo>
                    <a:pt x="0" y="658"/>
                  </a:lnTo>
                  <a:lnTo>
                    <a:pt x="0" y="658"/>
                  </a:lnTo>
                  <a:close/>
                </a:path>
              </a:pathLst>
            </a:custGeom>
            <a:grpFill/>
            <a:ln w="9525">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505050"/>
                </a:solidFill>
                <a:latin typeface="Segoe UI"/>
              </a:endParaRPr>
            </a:p>
          </p:txBody>
        </p:sp>
        <p:sp>
          <p:nvSpPr>
            <p:cNvPr id="38" name="Freeform 7"/>
            <p:cNvSpPr>
              <a:spLocks/>
            </p:cNvSpPr>
            <p:nvPr/>
          </p:nvSpPr>
          <p:spPr bwMode="auto">
            <a:xfrm>
              <a:off x="5938715" y="4527121"/>
              <a:ext cx="279405" cy="1044574"/>
            </a:xfrm>
            <a:custGeom>
              <a:avLst/>
              <a:gdLst>
                <a:gd name="T0" fmla="*/ 0 w 176"/>
                <a:gd name="T1" fmla="*/ 658 h 658"/>
                <a:gd name="T2" fmla="*/ 0 w 176"/>
                <a:gd name="T3" fmla="*/ 658 h 658"/>
                <a:gd name="T4" fmla="*/ 0 w 176"/>
                <a:gd name="T5" fmla="*/ 0 h 658"/>
                <a:gd name="T6" fmla="*/ 0 w 176"/>
                <a:gd name="T7" fmla="*/ 0 h 658"/>
                <a:gd name="T8" fmla="*/ 172 w 176"/>
                <a:gd name="T9" fmla="*/ 0 h 658"/>
                <a:gd name="T10" fmla="*/ 172 w 176"/>
                <a:gd name="T11" fmla="*/ 0 h 658"/>
                <a:gd name="T12" fmla="*/ 174 w 176"/>
                <a:gd name="T13" fmla="*/ 18 h 658"/>
                <a:gd name="T14" fmla="*/ 176 w 176"/>
                <a:gd name="T15" fmla="*/ 34 h 658"/>
                <a:gd name="T16" fmla="*/ 176 w 176"/>
                <a:gd name="T17" fmla="*/ 34 h 658"/>
                <a:gd name="T18" fmla="*/ 176 w 176"/>
                <a:gd name="T19" fmla="*/ 624 h 658"/>
                <a:gd name="T20" fmla="*/ 176 w 176"/>
                <a:gd name="T21" fmla="*/ 624 h 658"/>
                <a:gd name="T22" fmla="*/ 172 w 176"/>
                <a:gd name="T23" fmla="*/ 642 h 658"/>
                <a:gd name="T24" fmla="*/ 170 w 176"/>
                <a:gd name="T25" fmla="*/ 658 h 658"/>
                <a:gd name="T26" fmla="*/ 170 w 176"/>
                <a:gd name="T27" fmla="*/ 658 h 658"/>
                <a:gd name="T28" fmla="*/ 0 w 176"/>
                <a:gd name="T29" fmla="*/ 658 h 658"/>
                <a:gd name="T30" fmla="*/ 0 w 176"/>
                <a:gd name="T31" fmla="*/ 658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6" h="658">
                  <a:moveTo>
                    <a:pt x="0" y="658"/>
                  </a:moveTo>
                  <a:lnTo>
                    <a:pt x="0" y="658"/>
                  </a:lnTo>
                  <a:lnTo>
                    <a:pt x="0" y="0"/>
                  </a:lnTo>
                  <a:lnTo>
                    <a:pt x="0" y="0"/>
                  </a:lnTo>
                  <a:lnTo>
                    <a:pt x="172" y="0"/>
                  </a:lnTo>
                  <a:lnTo>
                    <a:pt x="172" y="0"/>
                  </a:lnTo>
                  <a:lnTo>
                    <a:pt x="174" y="18"/>
                  </a:lnTo>
                  <a:lnTo>
                    <a:pt x="176" y="34"/>
                  </a:lnTo>
                  <a:lnTo>
                    <a:pt x="176" y="34"/>
                  </a:lnTo>
                  <a:lnTo>
                    <a:pt x="176" y="624"/>
                  </a:lnTo>
                  <a:lnTo>
                    <a:pt x="176" y="624"/>
                  </a:lnTo>
                  <a:lnTo>
                    <a:pt x="172" y="642"/>
                  </a:lnTo>
                  <a:lnTo>
                    <a:pt x="170" y="658"/>
                  </a:lnTo>
                  <a:lnTo>
                    <a:pt x="170" y="658"/>
                  </a:lnTo>
                  <a:lnTo>
                    <a:pt x="0" y="658"/>
                  </a:lnTo>
                  <a:lnTo>
                    <a:pt x="0" y="658"/>
                  </a:lnTo>
                  <a:close/>
                </a:path>
              </a:pathLst>
            </a:custGeom>
            <a:grpFill/>
            <a:ln w="9525">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505050"/>
                </a:solidFill>
                <a:latin typeface="Segoe UI"/>
              </a:endParaRPr>
            </a:p>
          </p:txBody>
        </p:sp>
        <p:sp>
          <p:nvSpPr>
            <p:cNvPr id="39" name="Freeform 8"/>
            <p:cNvSpPr>
              <a:spLocks/>
            </p:cNvSpPr>
            <p:nvPr/>
          </p:nvSpPr>
          <p:spPr bwMode="auto">
            <a:xfrm>
              <a:off x="6399091" y="4527121"/>
              <a:ext cx="269878" cy="1044574"/>
            </a:xfrm>
            <a:custGeom>
              <a:avLst/>
              <a:gdLst>
                <a:gd name="T0" fmla="*/ 0 w 170"/>
                <a:gd name="T1" fmla="*/ 658 h 658"/>
                <a:gd name="T2" fmla="*/ 0 w 170"/>
                <a:gd name="T3" fmla="*/ 658 h 658"/>
                <a:gd name="T4" fmla="*/ 0 w 170"/>
                <a:gd name="T5" fmla="*/ 0 h 658"/>
                <a:gd name="T6" fmla="*/ 0 w 170"/>
                <a:gd name="T7" fmla="*/ 0 h 658"/>
                <a:gd name="T8" fmla="*/ 170 w 170"/>
                <a:gd name="T9" fmla="*/ 0 h 658"/>
                <a:gd name="T10" fmla="*/ 170 w 170"/>
                <a:gd name="T11" fmla="*/ 0 h 658"/>
                <a:gd name="T12" fmla="*/ 170 w 170"/>
                <a:gd name="T13" fmla="*/ 658 h 658"/>
                <a:gd name="T14" fmla="*/ 170 w 170"/>
                <a:gd name="T15" fmla="*/ 658 h 658"/>
                <a:gd name="T16" fmla="*/ 0 w 170"/>
                <a:gd name="T17" fmla="*/ 658 h 658"/>
                <a:gd name="T18" fmla="*/ 0 w 170"/>
                <a:gd name="T19" fmla="*/ 658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658">
                  <a:moveTo>
                    <a:pt x="0" y="658"/>
                  </a:moveTo>
                  <a:lnTo>
                    <a:pt x="0" y="658"/>
                  </a:lnTo>
                  <a:lnTo>
                    <a:pt x="0" y="0"/>
                  </a:lnTo>
                  <a:lnTo>
                    <a:pt x="0" y="0"/>
                  </a:lnTo>
                  <a:lnTo>
                    <a:pt x="170" y="0"/>
                  </a:lnTo>
                  <a:lnTo>
                    <a:pt x="170" y="0"/>
                  </a:lnTo>
                  <a:lnTo>
                    <a:pt x="170" y="658"/>
                  </a:lnTo>
                  <a:lnTo>
                    <a:pt x="170" y="658"/>
                  </a:lnTo>
                  <a:lnTo>
                    <a:pt x="0" y="658"/>
                  </a:lnTo>
                  <a:lnTo>
                    <a:pt x="0" y="658"/>
                  </a:lnTo>
                  <a:close/>
                </a:path>
              </a:pathLst>
            </a:custGeom>
            <a:grpFill/>
            <a:ln w="9525">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505050"/>
                </a:solidFill>
                <a:latin typeface="Segoe UI"/>
              </a:endParaRPr>
            </a:p>
          </p:txBody>
        </p:sp>
        <p:sp>
          <p:nvSpPr>
            <p:cNvPr id="40" name="Freeform 9"/>
            <p:cNvSpPr>
              <a:spLocks/>
            </p:cNvSpPr>
            <p:nvPr/>
          </p:nvSpPr>
          <p:spPr bwMode="auto">
            <a:xfrm>
              <a:off x="5494213" y="4527121"/>
              <a:ext cx="269878" cy="1044574"/>
            </a:xfrm>
            <a:custGeom>
              <a:avLst/>
              <a:gdLst>
                <a:gd name="T0" fmla="*/ 0 w 170"/>
                <a:gd name="T1" fmla="*/ 658 h 658"/>
                <a:gd name="T2" fmla="*/ 0 w 170"/>
                <a:gd name="T3" fmla="*/ 658 h 658"/>
                <a:gd name="T4" fmla="*/ 0 w 170"/>
                <a:gd name="T5" fmla="*/ 0 h 658"/>
                <a:gd name="T6" fmla="*/ 0 w 170"/>
                <a:gd name="T7" fmla="*/ 0 h 658"/>
                <a:gd name="T8" fmla="*/ 170 w 170"/>
                <a:gd name="T9" fmla="*/ 0 h 658"/>
                <a:gd name="T10" fmla="*/ 170 w 170"/>
                <a:gd name="T11" fmla="*/ 0 h 658"/>
                <a:gd name="T12" fmla="*/ 170 w 170"/>
                <a:gd name="T13" fmla="*/ 658 h 658"/>
                <a:gd name="T14" fmla="*/ 170 w 170"/>
                <a:gd name="T15" fmla="*/ 658 h 658"/>
                <a:gd name="T16" fmla="*/ 0 w 170"/>
                <a:gd name="T17" fmla="*/ 658 h 658"/>
                <a:gd name="T18" fmla="*/ 0 w 170"/>
                <a:gd name="T19" fmla="*/ 658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658">
                  <a:moveTo>
                    <a:pt x="0" y="658"/>
                  </a:moveTo>
                  <a:lnTo>
                    <a:pt x="0" y="658"/>
                  </a:lnTo>
                  <a:lnTo>
                    <a:pt x="0" y="0"/>
                  </a:lnTo>
                  <a:lnTo>
                    <a:pt x="0" y="0"/>
                  </a:lnTo>
                  <a:lnTo>
                    <a:pt x="170" y="0"/>
                  </a:lnTo>
                  <a:lnTo>
                    <a:pt x="170" y="0"/>
                  </a:lnTo>
                  <a:lnTo>
                    <a:pt x="170" y="658"/>
                  </a:lnTo>
                  <a:lnTo>
                    <a:pt x="170" y="658"/>
                  </a:lnTo>
                  <a:lnTo>
                    <a:pt x="0" y="658"/>
                  </a:lnTo>
                  <a:lnTo>
                    <a:pt x="0" y="658"/>
                  </a:lnTo>
                  <a:close/>
                </a:path>
              </a:pathLst>
            </a:custGeom>
            <a:grpFill/>
            <a:ln w="9525">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505050"/>
                </a:solidFill>
                <a:latin typeface="Segoe UI"/>
              </a:endParaRPr>
            </a:p>
          </p:txBody>
        </p:sp>
        <p:sp>
          <p:nvSpPr>
            <p:cNvPr id="41" name="Freeform 10"/>
            <p:cNvSpPr>
              <a:spLocks/>
            </p:cNvSpPr>
            <p:nvPr/>
          </p:nvSpPr>
          <p:spPr bwMode="auto">
            <a:xfrm>
              <a:off x="5300547" y="1742645"/>
              <a:ext cx="2003423" cy="1209672"/>
            </a:xfrm>
            <a:custGeom>
              <a:avLst/>
              <a:gdLst>
                <a:gd name="T0" fmla="*/ 1246 w 1262"/>
                <a:gd name="T1" fmla="*/ 658 h 762"/>
                <a:gd name="T2" fmla="*/ 1162 w 1262"/>
                <a:gd name="T3" fmla="*/ 658 h 762"/>
                <a:gd name="T4" fmla="*/ 1162 w 1262"/>
                <a:gd name="T5" fmla="*/ 658 h 762"/>
                <a:gd name="T6" fmla="*/ 1158 w 1262"/>
                <a:gd name="T7" fmla="*/ 612 h 762"/>
                <a:gd name="T8" fmla="*/ 1148 w 1262"/>
                <a:gd name="T9" fmla="*/ 566 h 762"/>
                <a:gd name="T10" fmla="*/ 1136 w 1262"/>
                <a:gd name="T11" fmla="*/ 522 h 762"/>
                <a:gd name="T12" fmla="*/ 1120 w 1262"/>
                <a:gd name="T13" fmla="*/ 478 h 762"/>
                <a:gd name="T14" fmla="*/ 1102 w 1262"/>
                <a:gd name="T15" fmla="*/ 438 h 762"/>
                <a:gd name="T16" fmla="*/ 1078 w 1262"/>
                <a:gd name="T17" fmla="*/ 398 h 762"/>
                <a:gd name="T18" fmla="*/ 1052 w 1262"/>
                <a:gd name="T19" fmla="*/ 362 h 762"/>
                <a:gd name="T20" fmla="*/ 1024 w 1262"/>
                <a:gd name="T21" fmla="*/ 328 h 762"/>
                <a:gd name="T22" fmla="*/ 992 w 1262"/>
                <a:gd name="T23" fmla="*/ 296 h 762"/>
                <a:gd name="T24" fmla="*/ 958 w 1262"/>
                <a:gd name="T25" fmla="*/ 268 h 762"/>
                <a:gd name="T26" fmla="*/ 922 w 1262"/>
                <a:gd name="T27" fmla="*/ 242 h 762"/>
                <a:gd name="T28" fmla="*/ 884 w 1262"/>
                <a:gd name="T29" fmla="*/ 218 h 762"/>
                <a:gd name="T30" fmla="*/ 844 w 1262"/>
                <a:gd name="T31" fmla="*/ 198 h 762"/>
                <a:gd name="T32" fmla="*/ 802 w 1262"/>
                <a:gd name="T33" fmla="*/ 182 h 762"/>
                <a:gd name="T34" fmla="*/ 758 w 1262"/>
                <a:gd name="T35" fmla="*/ 170 h 762"/>
                <a:gd name="T36" fmla="*/ 712 w 1262"/>
                <a:gd name="T37" fmla="*/ 160 h 762"/>
                <a:gd name="T38" fmla="*/ 652 w 1262"/>
                <a:gd name="T39" fmla="*/ 0 h 762"/>
                <a:gd name="T40" fmla="*/ 610 w 1262"/>
                <a:gd name="T41" fmla="*/ 0 h 762"/>
                <a:gd name="T42" fmla="*/ 550 w 1262"/>
                <a:gd name="T43" fmla="*/ 160 h 762"/>
                <a:gd name="T44" fmla="*/ 550 w 1262"/>
                <a:gd name="T45" fmla="*/ 160 h 762"/>
                <a:gd name="T46" fmla="*/ 504 w 1262"/>
                <a:gd name="T47" fmla="*/ 170 h 762"/>
                <a:gd name="T48" fmla="*/ 460 w 1262"/>
                <a:gd name="T49" fmla="*/ 182 h 762"/>
                <a:gd name="T50" fmla="*/ 418 w 1262"/>
                <a:gd name="T51" fmla="*/ 198 h 762"/>
                <a:gd name="T52" fmla="*/ 378 w 1262"/>
                <a:gd name="T53" fmla="*/ 218 h 762"/>
                <a:gd name="T54" fmla="*/ 340 w 1262"/>
                <a:gd name="T55" fmla="*/ 242 h 762"/>
                <a:gd name="T56" fmla="*/ 304 w 1262"/>
                <a:gd name="T57" fmla="*/ 268 h 762"/>
                <a:gd name="T58" fmla="*/ 270 w 1262"/>
                <a:gd name="T59" fmla="*/ 296 h 762"/>
                <a:gd name="T60" fmla="*/ 238 w 1262"/>
                <a:gd name="T61" fmla="*/ 328 h 762"/>
                <a:gd name="T62" fmla="*/ 210 w 1262"/>
                <a:gd name="T63" fmla="*/ 362 h 762"/>
                <a:gd name="T64" fmla="*/ 184 w 1262"/>
                <a:gd name="T65" fmla="*/ 398 h 762"/>
                <a:gd name="T66" fmla="*/ 160 w 1262"/>
                <a:gd name="T67" fmla="*/ 438 h 762"/>
                <a:gd name="T68" fmla="*/ 142 w 1262"/>
                <a:gd name="T69" fmla="*/ 478 h 762"/>
                <a:gd name="T70" fmla="*/ 126 w 1262"/>
                <a:gd name="T71" fmla="*/ 522 h 762"/>
                <a:gd name="T72" fmla="*/ 114 w 1262"/>
                <a:gd name="T73" fmla="*/ 566 h 762"/>
                <a:gd name="T74" fmla="*/ 106 w 1262"/>
                <a:gd name="T75" fmla="*/ 612 h 762"/>
                <a:gd name="T76" fmla="*/ 100 w 1262"/>
                <a:gd name="T77" fmla="*/ 658 h 762"/>
                <a:gd name="T78" fmla="*/ 16 w 1262"/>
                <a:gd name="T79" fmla="*/ 658 h 762"/>
                <a:gd name="T80" fmla="*/ 0 w 1262"/>
                <a:gd name="T81" fmla="*/ 762 h 762"/>
                <a:gd name="T82" fmla="*/ 1262 w 1262"/>
                <a:gd name="T83" fmla="*/ 762 h 762"/>
                <a:gd name="T84" fmla="*/ 1246 w 1262"/>
                <a:gd name="T85" fmla="*/ 658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62" h="762">
                  <a:moveTo>
                    <a:pt x="1246" y="658"/>
                  </a:moveTo>
                  <a:lnTo>
                    <a:pt x="1162" y="658"/>
                  </a:lnTo>
                  <a:lnTo>
                    <a:pt x="1162" y="658"/>
                  </a:lnTo>
                  <a:lnTo>
                    <a:pt x="1158" y="612"/>
                  </a:lnTo>
                  <a:lnTo>
                    <a:pt x="1148" y="566"/>
                  </a:lnTo>
                  <a:lnTo>
                    <a:pt x="1136" y="522"/>
                  </a:lnTo>
                  <a:lnTo>
                    <a:pt x="1120" y="478"/>
                  </a:lnTo>
                  <a:lnTo>
                    <a:pt x="1102" y="438"/>
                  </a:lnTo>
                  <a:lnTo>
                    <a:pt x="1078" y="398"/>
                  </a:lnTo>
                  <a:lnTo>
                    <a:pt x="1052" y="362"/>
                  </a:lnTo>
                  <a:lnTo>
                    <a:pt x="1024" y="328"/>
                  </a:lnTo>
                  <a:lnTo>
                    <a:pt x="992" y="296"/>
                  </a:lnTo>
                  <a:lnTo>
                    <a:pt x="958" y="268"/>
                  </a:lnTo>
                  <a:lnTo>
                    <a:pt x="922" y="242"/>
                  </a:lnTo>
                  <a:lnTo>
                    <a:pt x="884" y="218"/>
                  </a:lnTo>
                  <a:lnTo>
                    <a:pt x="844" y="198"/>
                  </a:lnTo>
                  <a:lnTo>
                    <a:pt x="802" y="182"/>
                  </a:lnTo>
                  <a:lnTo>
                    <a:pt x="758" y="170"/>
                  </a:lnTo>
                  <a:lnTo>
                    <a:pt x="712" y="160"/>
                  </a:lnTo>
                  <a:lnTo>
                    <a:pt x="652" y="0"/>
                  </a:lnTo>
                  <a:lnTo>
                    <a:pt x="610" y="0"/>
                  </a:lnTo>
                  <a:lnTo>
                    <a:pt x="550" y="160"/>
                  </a:lnTo>
                  <a:lnTo>
                    <a:pt x="550" y="160"/>
                  </a:lnTo>
                  <a:lnTo>
                    <a:pt x="504" y="170"/>
                  </a:lnTo>
                  <a:lnTo>
                    <a:pt x="460" y="182"/>
                  </a:lnTo>
                  <a:lnTo>
                    <a:pt x="418" y="198"/>
                  </a:lnTo>
                  <a:lnTo>
                    <a:pt x="378" y="218"/>
                  </a:lnTo>
                  <a:lnTo>
                    <a:pt x="340" y="242"/>
                  </a:lnTo>
                  <a:lnTo>
                    <a:pt x="304" y="268"/>
                  </a:lnTo>
                  <a:lnTo>
                    <a:pt x="270" y="296"/>
                  </a:lnTo>
                  <a:lnTo>
                    <a:pt x="238" y="328"/>
                  </a:lnTo>
                  <a:lnTo>
                    <a:pt x="210" y="362"/>
                  </a:lnTo>
                  <a:lnTo>
                    <a:pt x="184" y="398"/>
                  </a:lnTo>
                  <a:lnTo>
                    <a:pt x="160" y="438"/>
                  </a:lnTo>
                  <a:lnTo>
                    <a:pt x="142" y="478"/>
                  </a:lnTo>
                  <a:lnTo>
                    <a:pt x="126" y="522"/>
                  </a:lnTo>
                  <a:lnTo>
                    <a:pt x="114" y="566"/>
                  </a:lnTo>
                  <a:lnTo>
                    <a:pt x="106" y="612"/>
                  </a:lnTo>
                  <a:lnTo>
                    <a:pt x="100" y="658"/>
                  </a:lnTo>
                  <a:lnTo>
                    <a:pt x="16" y="658"/>
                  </a:lnTo>
                  <a:lnTo>
                    <a:pt x="0" y="762"/>
                  </a:lnTo>
                  <a:lnTo>
                    <a:pt x="1262" y="762"/>
                  </a:lnTo>
                  <a:lnTo>
                    <a:pt x="1246" y="658"/>
                  </a:lnTo>
                  <a:close/>
                </a:path>
              </a:pathLst>
            </a:custGeom>
            <a:grpFill/>
            <a:ln w="9525">
              <a:noFill/>
              <a:round/>
              <a:headEnd/>
              <a:tailEnd/>
            </a:ln>
          </p:spPr>
          <p:txBody>
            <a:bodyPr vert="horz" wrap="square" lIns="91427" tIns="45713" rIns="91427" bIns="45713" numCol="1" anchor="t" anchorCtr="0" compatLnSpc="1">
              <a:prstTxWarp prst="textNoShape">
                <a:avLst/>
              </a:prstTxWarp>
            </a:bodyPr>
            <a:lstStyle/>
            <a:p>
              <a:pPr defTabSz="932563">
                <a:defRPr/>
              </a:pPr>
              <a:endParaRPr lang="en-US" kern="0">
                <a:solidFill>
                  <a:srgbClr val="505050"/>
                </a:solidFill>
                <a:latin typeface="Segoe UI"/>
              </a:endParaRPr>
            </a:p>
          </p:txBody>
        </p:sp>
      </p:grpSp>
      <p:sp>
        <p:nvSpPr>
          <p:cNvPr id="45" name="Freeform 1276"/>
          <p:cNvSpPr>
            <a:spLocks noChangeAspect="1"/>
          </p:cNvSpPr>
          <p:nvPr/>
        </p:nvSpPr>
        <p:spPr bwMode="auto">
          <a:xfrm>
            <a:off x="416765" y="6398712"/>
            <a:ext cx="446354" cy="376983"/>
          </a:xfrm>
          <a:custGeom>
            <a:avLst/>
            <a:gdLst/>
            <a:ahLst/>
            <a:cxnLst/>
            <a:rect l="l" t="t" r="r" b="b"/>
            <a:pathLst>
              <a:path w="1925909" h="1626585">
                <a:moveTo>
                  <a:pt x="236312" y="1073307"/>
                </a:moveTo>
                <a:lnTo>
                  <a:pt x="236312" y="1436126"/>
                </a:lnTo>
                <a:lnTo>
                  <a:pt x="887735" y="1436126"/>
                </a:lnTo>
                <a:lnTo>
                  <a:pt x="887735" y="1073307"/>
                </a:lnTo>
                <a:close/>
                <a:moveTo>
                  <a:pt x="1331164" y="595313"/>
                </a:moveTo>
                <a:lnTo>
                  <a:pt x="1636493" y="595313"/>
                </a:lnTo>
                <a:lnTo>
                  <a:pt x="1651310" y="597959"/>
                </a:lnTo>
                <a:lnTo>
                  <a:pt x="1664539" y="603251"/>
                </a:lnTo>
                <a:lnTo>
                  <a:pt x="1676181" y="612247"/>
                </a:lnTo>
                <a:lnTo>
                  <a:pt x="1684648" y="623359"/>
                </a:lnTo>
                <a:lnTo>
                  <a:pt x="1689939" y="636588"/>
                </a:lnTo>
                <a:lnTo>
                  <a:pt x="1692585" y="651405"/>
                </a:lnTo>
                <a:lnTo>
                  <a:pt x="1692585" y="804863"/>
                </a:lnTo>
                <a:lnTo>
                  <a:pt x="1275072" y="804863"/>
                </a:lnTo>
                <a:lnTo>
                  <a:pt x="1275072" y="651405"/>
                </a:lnTo>
                <a:lnTo>
                  <a:pt x="1276660" y="636588"/>
                </a:lnTo>
                <a:lnTo>
                  <a:pt x="1283010" y="623359"/>
                </a:lnTo>
                <a:lnTo>
                  <a:pt x="1291476" y="612247"/>
                </a:lnTo>
                <a:lnTo>
                  <a:pt x="1302060" y="603251"/>
                </a:lnTo>
                <a:lnTo>
                  <a:pt x="1315818" y="597959"/>
                </a:lnTo>
                <a:close/>
                <a:moveTo>
                  <a:pt x="1645931" y="458788"/>
                </a:moveTo>
                <a:lnTo>
                  <a:pt x="1869817" y="458788"/>
                </a:lnTo>
                <a:lnTo>
                  <a:pt x="1884634" y="460894"/>
                </a:lnTo>
                <a:lnTo>
                  <a:pt x="1898392" y="466159"/>
                </a:lnTo>
                <a:lnTo>
                  <a:pt x="1909505" y="475109"/>
                </a:lnTo>
                <a:lnTo>
                  <a:pt x="1917971" y="486166"/>
                </a:lnTo>
                <a:lnTo>
                  <a:pt x="1923792" y="499328"/>
                </a:lnTo>
                <a:lnTo>
                  <a:pt x="1925909" y="514070"/>
                </a:lnTo>
                <a:lnTo>
                  <a:pt x="1925909" y="666751"/>
                </a:lnTo>
                <a:lnTo>
                  <a:pt x="1751897" y="666751"/>
                </a:lnTo>
                <a:lnTo>
                  <a:pt x="1751897" y="650392"/>
                </a:lnTo>
                <a:cubicBezTo>
                  <a:pt x="1751897" y="590113"/>
                  <a:pt x="1703032" y="541248"/>
                  <a:pt x="1642753" y="541248"/>
                </a:cubicBezTo>
                <a:lnTo>
                  <a:pt x="1617065" y="541248"/>
                </a:lnTo>
                <a:cubicBezTo>
                  <a:pt x="1635585" y="518566"/>
                  <a:pt x="1645596" y="489852"/>
                  <a:pt x="1645931" y="458788"/>
                </a:cubicBezTo>
                <a:close/>
                <a:moveTo>
                  <a:pt x="1484622" y="342900"/>
                </a:moveTo>
                <a:lnTo>
                  <a:pt x="1505260" y="344484"/>
                </a:lnTo>
                <a:lnTo>
                  <a:pt x="1524839" y="349764"/>
                </a:lnTo>
                <a:lnTo>
                  <a:pt x="1542301" y="358211"/>
                </a:lnTo>
                <a:lnTo>
                  <a:pt x="1558176" y="369825"/>
                </a:lnTo>
                <a:lnTo>
                  <a:pt x="1572464" y="383552"/>
                </a:lnTo>
                <a:lnTo>
                  <a:pt x="1583576" y="398862"/>
                </a:lnTo>
                <a:lnTo>
                  <a:pt x="1592043" y="417340"/>
                </a:lnTo>
                <a:lnTo>
                  <a:pt x="1597335" y="436874"/>
                </a:lnTo>
                <a:lnTo>
                  <a:pt x="1598922" y="456936"/>
                </a:lnTo>
                <a:lnTo>
                  <a:pt x="1597335" y="477526"/>
                </a:lnTo>
                <a:lnTo>
                  <a:pt x="1592043" y="496532"/>
                </a:lnTo>
                <a:lnTo>
                  <a:pt x="1583576" y="515010"/>
                </a:lnTo>
                <a:lnTo>
                  <a:pt x="1572464" y="530321"/>
                </a:lnTo>
                <a:lnTo>
                  <a:pt x="1558176" y="544047"/>
                </a:lnTo>
                <a:lnTo>
                  <a:pt x="1542301" y="555662"/>
                </a:lnTo>
                <a:lnTo>
                  <a:pt x="1524839" y="564109"/>
                </a:lnTo>
                <a:lnTo>
                  <a:pt x="1505260" y="569388"/>
                </a:lnTo>
                <a:lnTo>
                  <a:pt x="1484622" y="571500"/>
                </a:lnTo>
                <a:lnTo>
                  <a:pt x="1464514" y="569388"/>
                </a:lnTo>
                <a:lnTo>
                  <a:pt x="1444934" y="564109"/>
                </a:lnTo>
                <a:lnTo>
                  <a:pt x="1426943" y="555662"/>
                </a:lnTo>
                <a:lnTo>
                  <a:pt x="1411068" y="544047"/>
                </a:lnTo>
                <a:lnTo>
                  <a:pt x="1397310" y="530321"/>
                </a:lnTo>
                <a:lnTo>
                  <a:pt x="1386197" y="515010"/>
                </a:lnTo>
                <a:lnTo>
                  <a:pt x="1377730" y="496532"/>
                </a:lnTo>
                <a:lnTo>
                  <a:pt x="1372439" y="477526"/>
                </a:lnTo>
                <a:lnTo>
                  <a:pt x="1370322" y="456936"/>
                </a:lnTo>
                <a:lnTo>
                  <a:pt x="1372439" y="436874"/>
                </a:lnTo>
                <a:lnTo>
                  <a:pt x="1377730" y="417340"/>
                </a:lnTo>
                <a:lnTo>
                  <a:pt x="1386197" y="398862"/>
                </a:lnTo>
                <a:lnTo>
                  <a:pt x="1397310" y="383552"/>
                </a:lnTo>
                <a:lnTo>
                  <a:pt x="1411068" y="369825"/>
                </a:lnTo>
                <a:lnTo>
                  <a:pt x="1426943" y="358211"/>
                </a:lnTo>
                <a:lnTo>
                  <a:pt x="1444934" y="349764"/>
                </a:lnTo>
                <a:lnTo>
                  <a:pt x="1464514" y="344484"/>
                </a:lnTo>
                <a:close/>
                <a:moveTo>
                  <a:pt x="1179324" y="252413"/>
                </a:moveTo>
                <a:lnTo>
                  <a:pt x="1486101" y="252413"/>
                </a:lnTo>
                <a:lnTo>
                  <a:pt x="1500407" y="254525"/>
                </a:lnTo>
                <a:lnTo>
                  <a:pt x="1514182" y="259803"/>
                </a:lnTo>
                <a:lnTo>
                  <a:pt x="1525309" y="268776"/>
                </a:lnTo>
                <a:lnTo>
                  <a:pt x="1534316" y="279860"/>
                </a:lnTo>
                <a:lnTo>
                  <a:pt x="1539615" y="292528"/>
                </a:lnTo>
                <a:lnTo>
                  <a:pt x="1540705" y="300399"/>
                </a:lnTo>
                <a:lnTo>
                  <a:pt x="1483428" y="288835"/>
                </a:lnTo>
                <a:cubicBezTo>
                  <a:pt x="1393122" y="288835"/>
                  <a:pt x="1319915" y="362042"/>
                  <a:pt x="1319915" y="452348"/>
                </a:cubicBezTo>
                <a:cubicBezTo>
                  <a:pt x="1319915" y="455058"/>
                  <a:pt x="1319981" y="457752"/>
                  <a:pt x="1321174" y="460376"/>
                </a:cubicBezTo>
                <a:lnTo>
                  <a:pt x="1124221" y="460376"/>
                </a:lnTo>
                <a:lnTo>
                  <a:pt x="1124221" y="399397"/>
                </a:lnTo>
                <a:lnTo>
                  <a:pt x="631115" y="399397"/>
                </a:lnTo>
                <a:cubicBezTo>
                  <a:pt x="623803" y="415962"/>
                  <a:pt x="610160" y="428944"/>
                  <a:pt x="593383" y="435924"/>
                </a:cubicBezTo>
                <a:lnTo>
                  <a:pt x="593383" y="989726"/>
                </a:lnTo>
                <a:lnTo>
                  <a:pt x="918822" y="989726"/>
                </a:lnTo>
                <a:cubicBezTo>
                  <a:pt x="944449" y="989726"/>
                  <a:pt x="965223" y="1010500"/>
                  <a:pt x="965223" y="1036127"/>
                </a:cubicBezTo>
                <a:lnTo>
                  <a:pt x="965223" y="1435283"/>
                </a:lnTo>
                <a:lnTo>
                  <a:pt x="966309" y="1434921"/>
                </a:lnTo>
                <a:lnTo>
                  <a:pt x="1126029" y="1546725"/>
                </a:lnTo>
                <a:cubicBezTo>
                  <a:pt x="1130259" y="1597282"/>
                  <a:pt x="1093796" y="1616721"/>
                  <a:pt x="1038183" y="1626585"/>
                </a:cubicBezTo>
                <a:lnTo>
                  <a:pt x="59895" y="1626585"/>
                </a:lnTo>
                <a:cubicBezTo>
                  <a:pt x="27961" y="1617258"/>
                  <a:pt x="815" y="1593568"/>
                  <a:pt x="0" y="1562697"/>
                </a:cubicBezTo>
                <a:lnTo>
                  <a:pt x="158823" y="1447551"/>
                </a:lnTo>
                <a:lnTo>
                  <a:pt x="158823" y="1036127"/>
                </a:lnTo>
                <a:cubicBezTo>
                  <a:pt x="158823" y="1010500"/>
                  <a:pt x="179597" y="989726"/>
                  <a:pt x="205224" y="989726"/>
                </a:cubicBezTo>
                <a:lnTo>
                  <a:pt x="540061" y="989726"/>
                </a:lnTo>
                <a:lnTo>
                  <a:pt x="540061" y="436754"/>
                </a:lnTo>
                <a:cubicBezTo>
                  <a:pt x="510947" y="427237"/>
                  <a:pt x="490276" y="399697"/>
                  <a:pt x="490276" y="367330"/>
                </a:cubicBezTo>
                <a:cubicBezTo>
                  <a:pt x="490276" y="326245"/>
                  <a:pt x="523582" y="292939"/>
                  <a:pt x="564667" y="292939"/>
                </a:cubicBezTo>
                <a:cubicBezTo>
                  <a:pt x="598243" y="292939"/>
                  <a:pt x="626624" y="315183"/>
                  <a:pt x="634767" y="346075"/>
                </a:cubicBezTo>
                <a:lnTo>
                  <a:pt x="1124221" y="346075"/>
                </a:lnTo>
                <a:lnTo>
                  <a:pt x="1124221" y="307835"/>
                </a:lnTo>
                <a:lnTo>
                  <a:pt x="1125811" y="292528"/>
                </a:lnTo>
                <a:lnTo>
                  <a:pt x="1131109" y="279860"/>
                </a:lnTo>
                <a:lnTo>
                  <a:pt x="1140646" y="268776"/>
                </a:lnTo>
                <a:lnTo>
                  <a:pt x="1151243" y="259803"/>
                </a:lnTo>
                <a:lnTo>
                  <a:pt x="1165019" y="254525"/>
                </a:lnTo>
                <a:close/>
                <a:moveTo>
                  <a:pt x="1716888" y="204788"/>
                </a:moveTo>
                <a:lnTo>
                  <a:pt x="1736997" y="206383"/>
                </a:lnTo>
                <a:lnTo>
                  <a:pt x="1756576" y="212230"/>
                </a:lnTo>
                <a:lnTo>
                  <a:pt x="1774038" y="220736"/>
                </a:lnTo>
                <a:lnTo>
                  <a:pt x="1790442" y="231900"/>
                </a:lnTo>
                <a:lnTo>
                  <a:pt x="1804201" y="245722"/>
                </a:lnTo>
                <a:lnTo>
                  <a:pt x="1815313" y="261671"/>
                </a:lnTo>
                <a:lnTo>
                  <a:pt x="1823780" y="279746"/>
                </a:lnTo>
                <a:lnTo>
                  <a:pt x="1829072" y="299415"/>
                </a:lnTo>
                <a:lnTo>
                  <a:pt x="1830659" y="319616"/>
                </a:lnTo>
                <a:lnTo>
                  <a:pt x="1829072" y="340349"/>
                </a:lnTo>
                <a:lnTo>
                  <a:pt x="1823780" y="359487"/>
                </a:lnTo>
                <a:lnTo>
                  <a:pt x="1815313" y="378094"/>
                </a:lnTo>
                <a:lnTo>
                  <a:pt x="1804201" y="393511"/>
                </a:lnTo>
                <a:lnTo>
                  <a:pt x="1790442" y="407332"/>
                </a:lnTo>
                <a:lnTo>
                  <a:pt x="1774038" y="419028"/>
                </a:lnTo>
                <a:lnTo>
                  <a:pt x="1756576" y="427534"/>
                </a:lnTo>
                <a:lnTo>
                  <a:pt x="1736997" y="432850"/>
                </a:lnTo>
                <a:lnTo>
                  <a:pt x="1716888" y="434976"/>
                </a:lnTo>
                <a:lnTo>
                  <a:pt x="1695721" y="432850"/>
                </a:lnTo>
                <a:lnTo>
                  <a:pt x="1676671" y="427534"/>
                </a:lnTo>
                <a:lnTo>
                  <a:pt x="1658680" y="419028"/>
                </a:lnTo>
                <a:lnTo>
                  <a:pt x="1643334" y="407332"/>
                </a:lnTo>
                <a:lnTo>
                  <a:pt x="1636522" y="400743"/>
                </a:lnTo>
                <a:cubicBezTo>
                  <a:pt x="1631636" y="379979"/>
                  <a:pt x="1621045" y="361607"/>
                  <a:pt x="1606042" y="347099"/>
                </a:cubicBezTo>
                <a:lnTo>
                  <a:pt x="1604176" y="340349"/>
                </a:lnTo>
                <a:lnTo>
                  <a:pt x="1602059" y="319616"/>
                </a:lnTo>
                <a:lnTo>
                  <a:pt x="1604176" y="299415"/>
                </a:lnTo>
                <a:lnTo>
                  <a:pt x="1609467" y="279746"/>
                </a:lnTo>
                <a:lnTo>
                  <a:pt x="1617934" y="261671"/>
                </a:lnTo>
                <a:lnTo>
                  <a:pt x="1629047" y="245722"/>
                </a:lnTo>
                <a:lnTo>
                  <a:pt x="1643334" y="231900"/>
                </a:lnTo>
                <a:lnTo>
                  <a:pt x="1658680" y="220736"/>
                </a:lnTo>
                <a:lnTo>
                  <a:pt x="1676671" y="212230"/>
                </a:lnTo>
                <a:lnTo>
                  <a:pt x="1695721" y="206383"/>
                </a:lnTo>
                <a:close/>
                <a:moveTo>
                  <a:pt x="1332713" y="0"/>
                </a:moveTo>
                <a:lnTo>
                  <a:pt x="1353351" y="1058"/>
                </a:lnTo>
                <a:lnTo>
                  <a:pt x="1372401" y="6879"/>
                </a:lnTo>
                <a:lnTo>
                  <a:pt x="1390392" y="14816"/>
                </a:lnTo>
                <a:lnTo>
                  <a:pt x="1406267" y="26458"/>
                </a:lnTo>
                <a:lnTo>
                  <a:pt x="1420026" y="40216"/>
                </a:lnTo>
                <a:lnTo>
                  <a:pt x="1431667" y="56091"/>
                </a:lnTo>
                <a:lnTo>
                  <a:pt x="1440134" y="74083"/>
                </a:lnTo>
                <a:lnTo>
                  <a:pt x="1445426" y="93662"/>
                </a:lnTo>
                <a:lnTo>
                  <a:pt x="1446484" y="114300"/>
                </a:lnTo>
                <a:lnTo>
                  <a:pt x="1445426" y="134937"/>
                </a:lnTo>
                <a:lnTo>
                  <a:pt x="1440134" y="153987"/>
                </a:lnTo>
                <a:lnTo>
                  <a:pt x="1431667" y="171979"/>
                </a:lnTo>
                <a:lnTo>
                  <a:pt x="1420026" y="187854"/>
                </a:lnTo>
                <a:lnTo>
                  <a:pt x="1406267" y="201612"/>
                </a:lnTo>
                <a:lnTo>
                  <a:pt x="1390392" y="213254"/>
                </a:lnTo>
                <a:lnTo>
                  <a:pt x="1372401" y="221721"/>
                </a:lnTo>
                <a:lnTo>
                  <a:pt x="1353351" y="227012"/>
                </a:lnTo>
                <a:lnTo>
                  <a:pt x="1332713" y="228600"/>
                </a:lnTo>
                <a:lnTo>
                  <a:pt x="1311547" y="227012"/>
                </a:lnTo>
                <a:lnTo>
                  <a:pt x="1293026" y="221721"/>
                </a:lnTo>
                <a:lnTo>
                  <a:pt x="1274505" y="213254"/>
                </a:lnTo>
                <a:lnTo>
                  <a:pt x="1259159" y="201612"/>
                </a:lnTo>
                <a:lnTo>
                  <a:pt x="1245401" y="187854"/>
                </a:lnTo>
                <a:lnTo>
                  <a:pt x="1233759" y="171979"/>
                </a:lnTo>
                <a:lnTo>
                  <a:pt x="1225292" y="153987"/>
                </a:lnTo>
                <a:lnTo>
                  <a:pt x="1220001" y="134937"/>
                </a:lnTo>
                <a:lnTo>
                  <a:pt x="1217884" y="114300"/>
                </a:lnTo>
                <a:lnTo>
                  <a:pt x="1220001" y="93662"/>
                </a:lnTo>
                <a:lnTo>
                  <a:pt x="1225292" y="74083"/>
                </a:lnTo>
                <a:lnTo>
                  <a:pt x="1233759" y="56091"/>
                </a:lnTo>
                <a:lnTo>
                  <a:pt x="1245401" y="40216"/>
                </a:lnTo>
                <a:lnTo>
                  <a:pt x="1259159" y="26458"/>
                </a:lnTo>
                <a:lnTo>
                  <a:pt x="1274505" y="14816"/>
                </a:lnTo>
                <a:lnTo>
                  <a:pt x="1293026" y="6879"/>
                </a:lnTo>
                <a:lnTo>
                  <a:pt x="1311547" y="1058"/>
                </a:lnTo>
                <a:close/>
              </a:path>
            </a:pathLst>
          </a:custGeom>
          <a:solidFill>
            <a:schemeClr val="bg1"/>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latin typeface="Segoe UI"/>
            </a:endParaRPr>
          </a:p>
        </p:txBody>
      </p:sp>
      <p:sp>
        <p:nvSpPr>
          <p:cNvPr id="46" name="Rectangle 45"/>
          <p:cNvSpPr/>
          <p:nvPr/>
        </p:nvSpPr>
        <p:spPr bwMode="auto">
          <a:xfrm>
            <a:off x="4118625" y="1515719"/>
            <a:ext cx="7930266" cy="8537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5698"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defRPr/>
            </a:pPr>
            <a:endParaRPr lang="en-US" sz="2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Rectangle 46"/>
          <p:cNvSpPr/>
          <p:nvPr/>
        </p:nvSpPr>
        <p:spPr bwMode="auto">
          <a:xfrm>
            <a:off x="4118625" y="2438046"/>
            <a:ext cx="7930266" cy="8537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5698"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defRPr/>
            </a:pPr>
            <a:endParaRPr lang="en-US" sz="2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Rectangle 47"/>
          <p:cNvSpPr/>
          <p:nvPr/>
        </p:nvSpPr>
        <p:spPr bwMode="auto">
          <a:xfrm>
            <a:off x="4118625" y="3359444"/>
            <a:ext cx="7930266" cy="8537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5698"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defRPr/>
            </a:pPr>
            <a:endParaRPr lang="en-US" sz="2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 name="Rectangle 48"/>
          <p:cNvSpPr/>
          <p:nvPr/>
        </p:nvSpPr>
        <p:spPr bwMode="auto">
          <a:xfrm>
            <a:off x="4118625" y="4280843"/>
            <a:ext cx="7930266" cy="8537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5698"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defRPr/>
            </a:pPr>
            <a:endParaRPr lang="en-US" sz="2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Rectangle 49"/>
          <p:cNvSpPr/>
          <p:nvPr/>
        </p:nvSpPr>
        <p:spPr bwMode="auto">
          <a:xfrm>
            <a:off x="4118625" y="5202241"/>
            <a:ext cx="7930266" cy="8537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5698"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defRPr/>
            </a:pPr>
            <a:endParaRPr lang="en-US" sz="2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58" name="Picture 57">
            <a:hlinkClick r:id="rId5"/>
          </p:cNvPr>
          <p:cNvPicPr>
            <a:picLocks noChangeAspect="1"/>
          </p:cNvPicPr>
          <p:nvPr/>
        </p:nvPicPr>
        <p:blipFill>
          <a:blip r:embed="rId6"/>
          <a:stretch>
            <a:fillRect/>
          </a:stretch>
        </p:blipFill>
        <p:spPr>
          <a:xfrm>
            <a:off x="4245906" y="2959415"/>
            <a:ext cx="1260981" cy="248140"/>
          </a:xfrm>
          <a:prstGeom prst="rect">
            <a:avLst/>
          </a:prstGeom>
        </p:spPr>
      </p:pic>
      <p:pic>
        <p:nvPicPr>
          <p:cNvPr id="59" name="Picture 58">
            <a:hlinkClick r:id="rId7"/>
          </p:cNvPr>
          <p:cNvPicPr>
            <a:picLocks noChangeAspect="1"/>
          </p:cNvPicPr>
          <p:nvPr/>
        </p:nvPicPr>
        <p:blipFill>
          <a:blip r:embed="rId8"/>
          <a:stretch>
            <a:fillRect/>
          </a:stretch>
        </p:blipFill>
        <p:spPr>
          <a:xfrm>
            <a:off x="5396380" y="2528516"/>
            <a:ext cx="1067857" cy="281485"/>
          </a:xfrm>
          <a:prstGeom prst="rect">
            <a:avLst/>
          </a:prstGeom>
        </p:spPr>
      </p:pic>
      <p:pic>
        <p:nvPicPr>
          <p:cNvPr id="66" name="Picture 36" descr="http://pnptc.s3.amazonaws.com/wp-content/uploads/2015/08/Carnegie-Mellon.png">
            <a:hlinkClick r:id="rId9"/>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599451" y="3517626"/>
            <a:ext cx="897851" cy="582124"/>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66">
            <a:hlinkClick r:id="rId11"/>
          </p:cNvPr>
          <p:cNvPicPr>
            <a:picLocks noChangeAspect="1"/>
          </p:cNvPicPr>
          <p:nvPr/>
        </p:nvPicPr>
        <p:blipFill>
          <a:blip r:embed="rId12"/>
          <a:stretch>
            <a:fillRect/>
          </a:stretch>
        </p:blipFill>
        <p:spPr>
          <a:xfrm>
            <a:off x="9625456" y="3469052"/>
            <a:ext cx="1774119" cy="572097"/>
          </a:xfrm>
          <a:prstGeom prst="rect">
            <a:avLst/>
          </a:prstGeom>
        </p:spPr>
      </p:pic>
      <p:sp>
        <p:nvSpPr>
          <p:cNvPr id="72" name="Freeform 71"/>
          <p:cNvSpPr/>
          <p:nvPr/>
        </p:nvSpPr>
        <p:spPr bwMode="auto">
          <a:xfrm>
            <a:off x="447870" y="4526588"/>
            <a:ext cx="360135" cy="325170"/>
          </a:xfrm>
          <a:custGeom>
            <a:avLst/>
            <a:gdLst>
              <a:gd name="connsiteX0" fmla="*/ 782192 w 2805999"/>
              <a:gd name="connsiteY0" fmla="*/ 686 h 2533568"/>
              <a:gd name="connsiteX1" fmla="*/ 1420081 w 2805999"/>
              <a:gd name="connsiteY1" fmla="*/ 448632 h 2533568"/>
              <a:gd name="connsiteX2" fmla="*/ 1420081 w 2805999"/>
              <a:gd name="connsiteY2" fmla="*/ 2533568 h 2533568"/>
              <a:gd name="connsiteX3" fmla="*/ 417547 w 2805999"/>
              <a:gd name="connsiteY3" fmla="*/ 1680721 h 2533568"/>
              <a:gd name="connsiteX4" fmla="*/ 337157 w 2805999"/>
              <a:gd name="connsiteY4" fmla="*/ 1577791 h 2533568"/>
              <a:gd name="connsiteX5" fmla="*/ 842988 w 2805999"/>
              <a:gd name="connsiteY5" fmla="*/ 1577791 h 2533568"/>
              <a:gd name="connsiteX6" fmla="*/ 846747 w 2805999"/>
              <a:gd name="connsiteY6" fmla="*/ 1579063 h 2533568"/>
              <a:gd name="connsiteX7" fmla="*/ 929444 w 2805999"/>
              <a:gd name="connsiteY7" fmla="*/ 1334665 h 2533568"/>
              <a:gd name="connsiteX8" fmla="*/ 1098369 w 2805999"/>
              <a:gd name="connsiteY8" fmla="*/ 1833895 h 2533568"/>
              <a:gd name="connsiteX9" fmla="*/ 1098351 w 2805999"/>
              <a:gd name="connsiteY9" fmla="*/ 1834010 h 2533568"/>
              <a:gd name="connsiteX10" fmla="*/ 1131015 w 2805999"/>
              <a:gd name="connsiteY10" fmla="*/ 1930543 h 2533568"/>
              <a:gd name="connsiteX11" fmla="*/ 1131074 w 2805999"/>
              <a:gd name="connsiteY11" fmla="*/ 1930552 h 2533568"/>
              <a:gd name="connsiteX12" fmla="*/ 1132147 w 2805999"/>
              <a:gd name="connsiteY12" fmla="*/ 1933722 h 2533568"/>
              <a:gd name="connsiteX13" fmla="*/ 1138280 w 2805999"/>
              <a:gd name="connsiteY13" fmla="*/ 1931647 h 2533568"/>
              <a:gd name="connsiteX14" fmla="*/ 1142591 w 2805999"/>
              <a:gd name="connsiteY14" fmla="*/ 1932302 h 2533568"/>
              <a:gd name="connsiteX15" fmla="*/ 1283315 w 2805999"/>
              <a:gd name="connsiteY15" fmla="*/ 1006106 h 2533568"/>
              <a:gd name="connsiteX16" fmla="*/ 1390705 w 2805999"/>
              <a:gd name="connsiteY16" fmla="*/ 1574135 h 2533568"/>
              <a:gd name="connsiteX17" fmla="*/ 1431812 w 2805999"/>
              <a:gd name="connsiteY17" fmla="*/ 1574135 h 2533568"/>
              <a:gd name="connsiteX18" fmla="*/ 1716522 w 2805999"/>
              <a:gd name="connsiteY18" fmla="*/ 1574135 h 2533568"/>
              <a:gd name="connsiteX19" fmla="*/ 1970030 w 2805999"/>
              <a:gd name="connsiteY19" fmla="*/ 1574135 h 2533568"/>
              <a:gd name="connsiteX20" fmla="*/ 2058035 w 2805999"/>
              <a:gd name="connsiteY20" fmla="*/ 1574135 h 2533568"/>
              <a:gd name="connsiteX21" fmla="*/ 2061128 w 2805999"/>
              <a:gd name="connsiteY21" fmla="*/ 1589453 h 2533568"/>
              <a:gd name="connsiteX22" fmla="*/ 2168937 w 2805999"/>
              <a:gd name="connsiteY22" fmla="*/ 1660913 h 2533568"/>
              <a:gd name="connsiteX23" fmla="*/ 2285941 w 2805999"/>
              <a:gd name="connsiteY23" fmla="*/ 1543909 h 2533568"/>
              <a:gd name="connsiteX24" fmla="*/ 2168937 w 2805999"/>
              <a:gd name="connsiteY24" fmla="*/ 1426905 h 2533568"/>
              <a:gd name="connsiteX25" fmla="*/ 2061128 w 2805999"/>
              <a:gd name="connsiteY25" fmla="*/ 1498366 h 2533568"/>
              <a:gd name="connsiteX26" fmla="*/ 2057642 w 2805999"/>
              <a:gd name="connsiteY26" fmla="*/ 1515633 h 2533568"/>
              <a:gd name="connsiteX27" fmla="*/ 1970030 w 2805999"/>
              <a:gd name="connsiteY27" fmla="*/ 1515633 h 2533568"/>
              <a:gd name="connsiteX28" fmla="*/ 1716522 w 2805999"/>
              <a:gd name="connsiteY28" fmla="*/ 1515633 h 2533568"/>
              <a:gd name="connsiteX29" fmla="*/ 1439183 w 2805999"/>
              <a:gd name="connsiteY29" fmla="*/ 1515633 h 2533568"/>
              <a:gd name="connsiteX30" fmla="*/ 1280019 w 2805999"/>
              <a:gd name="connsiteY30" fmla="*/ 673746 h 2533568"/>
              <a:gd name="connsiteX31" fmla="*/ 1276235 w 2805999"/>
              <a:gd name="connsiteY31" fmla="*/ 674461 h 2533568"/>
              <a:gd name="connsiteX32" fmla="*/ 1274569 w 2805999"/>
              <a:gd name="connsiteY32" fmla="*/ 674208 h 2533568"/>
              <a:gd name="connsiteX33" fmla="*/ 1117507 w 2805999"/>
              <a:gd name="connsiteY33" fmla="*/ 1707934 h 2533568"/>
              <a:gd name="connsiteX34" fmla="*/ 932548 w 2805999"/>
              <a:gd name="connsiteY34" fmla="*/ 1161320 h 2533568"/>
              <a:gd name="connsiteX35" fmla="*/ 929445 w 2805999"/>
              <a:gd name="connsiteY35" fmla="*/ 1162370 h 2533568"/>
              <a:gd name="connsiteX36" fmla="*/ 926338 w 2805999"/>
              <a:gd name="connsiteY36" fmla="*/ 1161319 h 2533568"/>
              <a:gd name="connsiteX37" fmla="*/ 805212 w 2805999"/>
              <a:gd name="connsiteY37" fmla="*/ 1519289 h 2533568"/>
              <a:gd name="connsiteX38" fmla="*/ 308817 w 2805999"/>
              <a:gd name="connsiteY38" fmla="*/ 1519289 h 2533568"/>
              <a:gd name="connsiteX39" fmla="*/ 308817 w 2805999"/>
              <a:gd name="connsiteY39" fmla="*/ 1541506 h 2533568"/>
              <a:gd name="connsiteX40" fmla="*/ 295292 w 2805999"/>
              <a:gd name="connsiteY40" fmla="*/ 1524188 h 2533568"/>
              <a:gd name="connsiteX41" fmla="*/ 782192 w 2805999"/>
              <a:gd name="connsiteY41" fmla="*/ 686 h 253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805999" h="2533568">
                <a:moveTo>
                  <a:pt x="782192" y="686"/>
                </a:moveTo>
                <a:cubicBezTo>
                  <a:pt x="1034532" y="11500"/>
                  <a:pt x="1284025" y="150543"/>
                  <a:pt x="1420081" y="448632"/>
                </a:cubicBezTo>
                <a:cubicBezTo>
                  <a:pt x="1895726" y="-644665"/>
                  <a:pt x="4285409" y="583252"/>
                  <a:pt x="1420081" y="2533568"/>
                </a:cubicBezTo>
                <a:cubicBezTo>
                  <a:pt x="966420" y="2232800"/>
                  <a:pt x="641242" y="1946010"/>
                  <a:pt x="417547" y="1680721"/>
                </a:cubicBezTo>
                <a:lnTo>
                  <a:pt x="337157" y="1577791"/>
                </a:lnTo>
                <a:lnTo>
                  <a:pt x="842988" y="1577791"/>
                </a:lnTo>
                <a:lnTo>
                  <a:pt x="846747" y="1579063"/>
                </a:lnTo>
                <a:lnTo>
                  <a:pt x="929444" y="1334665"/>
                </a:lnTo>
                <a:lnTo>
                  <a:pt x="1098369" y="1833895"/>
                </a:lnTo>
                <a:lnTo>
                  <a:pt x="1098351" y="1834010"/>
                </a:lnTo>
                <a:lnTo>
                  <a:pt x="1131015" y="1930543"/>
                </a:lnTo>
                <a:lnTo>
                  <a:pt x="1131074" y="1930552"/>
                </a:lnTo>
                <a:lnTo>
                  <a:pt x="1132147" y="1933722"/>
                </a:lnTo>
                <a:lnTo>
                  <a:pt x="1138280" y="1931647"/>
                </a:lnTo>
                <a:lnTo>
                  <a:pt x="1142591" y="1932302"/>
                </a:lnTo>
                <a:lnTo>
                  <a:pt x="1283315" y="1006106"/>
                </a:lnTo>
                <a:lnTo>
                  <a:pt x="1390705" y="1574135"/>
                </a:lnTo>
                <a:lnTo>
                  <a:pt x="1431812" y="1574135"/>
                </a:lnTo>
                <a:lnTo>
                  <a:pt x="1716522" y="1574135"/>
                </a:lnTo>
                <a:lnTo>
                  <a:pt x="1970030" y="1574135"/>
                </a:lnTo>
                <a:lnTo>
                  <a:pt x="2058035" y="1574135"/>
                </a:lnTo>
                <a:lnTo>
                  <a:pt x="2061128" y="1589453"/>
                </a:lnTo>
                <a:cubicBezTo>
                  <a:pt x="2078890" y="1631447"/>
                  <a:pt x="2120472" y="1660913"/>
                  <a:pt x="2168937" y="1660913"/>
                </a:cubicBezTo>
                <a:cubicBezTo>
                  <a:pt x="2233557" y="1660913"/>
                  <a:pt x="2285941" y="1608529"/>
                  <a:pt x="2285941" y="1543909"/>
                </a:cubicBezTo>
                <a:cubicBezTo>
                  <a:pt x="2285941" y="1479289"/>
                  <a:pt x="2233557" y="1426905"/>
                  <a:pt x="2168937" y="1426905"/>
                </a:cubicBezTo>
                <a:cubicBezTo>
                  <a:pt x="2120472" y="1426905"/>
                  <a:pt x="2078890" y="1456371"/>
                  <a:pt x="2061128" y="1498366"/>
                </a:cubicBezTo>
                <a:lnTo>
                  <a:pt x="2057642" y="1515633"/>
                </a:lnTo>
                <a:lnTo>
                  <a:pt x="1970030" y="1515633"/>
                </a:lnTo>
                <a:lnTo>
                  <a:pt x="1716522" y="1515633"/>
                </a:lnTo>
                <a:lnTo>
                  <a:pt x="1439183" y="1515633"/>
                </a:lnTo>
                <a:lnTo>
                  <a:pt x="1280019" y="673746"/>
                </a:lnTo>
                <a:lnTo>
                  <a:pt x="1276235" y="674461"/>
                </a:lnTo>
                <a:lnTo>
                  <a:pt x="1274569" y="674208"/>
                </a:lnTo>
                <a:lnTo>
                  <a:pt x="1117507" y="1707934"/>
                </a:lnTo>
                <a:lnTo>
                  <a:pt x="932548" y="1161320"/>
                </a:lnTo>
                <a:lnTo>
                  <a:pt x="929445" y="1162370"/>
                </a:lnTo>
                <a:lnTo>
                  <a:pt x="926338" y="1161319"/>
                </a:lnTo>
                <a:lnTo>
                  <a:pt x="805212" y="1519289"/>
                </a:lnTo>
                <a:lnTo>
                  <a:pt x="308817" y="1519289"/>
                </a:lnTo>
                <a:lnTo>
                  <a:pt x="308817" y="1541506"/>
                </a:lnTo>
                <a:lnTo>
                  <a:pt x="295292" y="1524188"/>
                </a:lnTo>
                <a:cubicBezTo>
                  <a:pt x="-367763" y="601194"/>
                  <a:pt x="214425" y="-23643"/>
                  <a:pt x="782192" y="686"/>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5" name="Rectangle 74"/>
          <p:cNvSpPr/>
          <p:nvPr/>
        </p:nvSpPr>
        <p:spPr bwMode="auto">
          <a:xfrm>
            <a:off x="4118625" y="6123638"/>
            <a:ext cx="7930266" cy="8537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5698" tIns="146284" rIns="182854" bIns="146284"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defRPr/>
            </a:pPr>
            <a:endParaRPr lang="en-US" sz="2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0" name="Picture 79">
            <a:hlinkClick r:id="rId13"/>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676893" y="6622028"/>
            <a:ext cx="1107918" cy="243923"/>
          </a:xfrm>
          <a:prstGeom prst="rect">
            <a:avLst/>
          </a:prstGeom>
        </p:spPr>
      </p:pic>
      <p:grpSp>
        <p:nvGrpSpPr>
          <p:cNvPr id="5" name="Group 4"/>
          <p:cNvGrpSpPr/>
          <p:nvPr/>
        </p:nvGrpSpPr>
        <p:grpSpPr>
          <a:xfrm>
            <a:off x="500077" y="5502972"/>
            <a:ext cx="344856" cy="192682"/>
            <a:chOff x="267585" y="5200650"/>
            <a:chExt cx="412390" cy="230416"/>
          </a:xfrm>
        </p:grpSpPr>
        <p:sp>
          <p:nvSpPr>
            <p:cNvPr id="107" name="Rounded Rectangle 106"/>
            <p:cNvSpPr/>
            <p:nvPr/>
          </p:nvSpPr>
          <p:spPr bwMode="auto">
            <a:xfrm>
              <a:off x="267585" y="5200650"/>
              <a:ext cx="412390" cy="230416"/>
            </a:xfrm>
            <a:prstGeom prst="roundRect">
              <a:avLst>
                <a:gd name="adj" fmla="val 10712"/>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8" name="Rectangle 107"/>
            <p:cNvSpPr/>
            <p:nvPr/>
          </p:nvSpPr>
          <p:spPr bwMode="auto">
            <a:xfrm>
              <a:off x="267585" y="5247306"/>
              <a:ext cx="407740" cy="5137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9" name="Rounded Rectangle 108"/>
            <p:cNvSpPr/>
            <p:nvPr/>
          </p:nvSpPr>
          <p:spPr bwMode="auto">
            <a:xfrm>
              <a:off x="557034" y="5318620"/>
              <a:ext cx="89080" cy="85617"/>
            </a:xfrm>
            <a:prstGeom prst="roundRect">
              <a:avLst>
                <a:gd name="adj" fmla="val 1071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0" name="Rounded Rectangle 109"/>
            <p:cNvSpPr/>
            <p:nvPr/>
          </p:nvSpPr>
          <p:spPr bwMode="auto">
            <a:xfrm>
              <a:off x="296939" y="5369929"/>
              <a:ext cx="119866" cy="34248"/>
            </a:xfrm>
            <a:prstGeom prst="roundRect">
              <a:avLst>
                <a:gd name="adj" fmla="val 1071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88" name="Picture 10" descr="Image result for dominos logo 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703969" y="1533385"/>
            <a:ext cx="692411" cy="692411"/>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12" descr="Image result for walmart logo 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981724" y="1820946"/>
            <a:ext cx="1082830" cy="262044"/>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mage result for jet logo"/>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7351525" y="1760213"/>
            <a:ext cx="859130" cy="350923"/>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12" descr="Image result for wolters kluwer inc logo 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0430174" y="2925690"/>
            <a:ext cx="1456757" cy="232050"/>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14" descr="Image result for caterpillar logo 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8962232" y="2795319"/>
            <a:ext cx="993153" cy="216426"/>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20" descr="Image result for honeywell logo 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7460705" y="2748400"/>
            <a:ext cx="1001636" cy="177290"/>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2" descr="Image result for schneider electric logo 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6153163" y="2882067"/>
            <a:ext cx="1258284" cy="379452"/>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6" descr="Image result for ecolab logo 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10165455" y="2528516"/>
            <a:ext cx="993097" cy="275429"/>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8" descr="Image result for sulekha.com logo 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8532955" y="1698669"/>
            <a:ext cx="1225867" cy="350598"/>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28" descr="http://www.shaunbelding.com/customer-service-blog/wp-content/uploads/2016/07/asos-logo.jpg"/>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l="19053" t="13637" r="18822" b="19730"/>
          <a:stretch/>
        </p:blipFill>
        <p:spPr bwMode="auto">
          <a:xfrm>
            <a:off x="10577192" y="1744706"/>
            <a:ext cx="770038" cy="304561"/>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blackboard logo"/>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282167" y="3404170"/>
            <a:ext cx="2189130" cy="7121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4" descr="Image result for jpmc logo 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5844192" y="5294721"/>
            <a:ext cx="1995628" cy="222949"/>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20" descr="https://upload.wikimedia.org/wikipedia/commons/thumb/5/56/Deloitte.svg/2000px-Deloitte.svg.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6546370" y="5644529"/>
            <a:ext cx="1170142" cy="254506"/>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26" descr="http://old.onesky.org/sites/default/files/kcfinder/23/images/logos/capital_international_logo.jpg"/>
          <p:cNvPicPr>
            <a:picLocks noChangeAspect="1" noChangeArrowheads="1"/>
          </p:cNvPicPr>
          <p:nvPr/>
        </p:nvPicPr>
        <p:blipFill rotWithShape="1">
          <a:blip r:embed="rId28" cstate="print">
            <a:extLst>
              <a:ext uri="{28A0092B-C50C-407E-A947-70E740481C1C}">
                <a14:useLocalDpi xmlns:a14="http://schemas.microsoft.com/office/drawing/2010/main" val="0"/>
              </a:ext>
            </a:extLst>
          </a:blip>
          <a:srcRect l="7631" t="26750" r="5979" b="26998"/>
          <a:stretch/>
        </p:blipFill>
        <p:spPr bwMode="auto">
          <a:xfrm>
            <a:off x="4446677" y="5629124"/>
            <a:ext cx="1845423" cy="289932"/>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18" descr="Image result for bentley systems logo png"/>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5811516" y="4697810"/>
            <a:ext cx="1030490" cy="252881"/>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8" descr="Image result for esri logo png"/>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10962211" y="4654453"/>
            <a:ext cx="906176" cy="342648"/>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32" descr="http://www.carlogos.org/logo/Rolls-Royce-text-logo-2000x600.png"/>
          <p:cNvPicPr>
            <a:picLocks noChangeAspect="1" noChangeArrowheads="1"/>
          </p:cNvPicPr>
          <p:nvPr/>
        </p:nvPicPr>
        <p:blipFill rotWithShape="1">
          <a:blip r:embed="rId31" cstate="print">
            <a:extLst>
              <a:ext uri="{28A0092B-C50C-407E-A947-70E740481C1C}">
                <a14:useLocalDpi xmlns:a14="http://schemas.microsoft.com/office/drawing/2010/main" val="0"/>
              </a:ext>
            </a:extLst>
          </a:blip>
          <a:srcRect l="10302" t="21738" r="10345" b="22566"/>
          <a:stretch/>
        </p:blipFill>
        <p:spPr bwMode="auto">
          <a:xfrm>
            <a:off x="4491360" y="4415983"/>
            <a:ext cx="1208687" cy="254508"/>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22" descr="Image result for ford logo png"/>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7131441" y="4332962"/>
            <a:ext cx="686522" cy="257446"/>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14" descr="Image result for pwc logo png"/>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11042085" y="5327121"/>
            <a:ext cx="760791" cy="577440"/>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22" descr="http://www.quickenloans.com/press-room/wp-content/uploads/2016/11/QuickenLoans-Logo-Horiz.png"/>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7961523" y="5313093"/>
            <a:ext cx="1431323" cy="176927"/>
          </a:xfrm>
          <a:prstGeom prst="rect">
            <a:avLst/>
          </a:prstGeom>
          <a:noFill/>
          <a:extLst>
            <a:ext uri="{909E8E84-426E-40DD-AFC4-6F175D3DCCD1}">
              <a14:hiddenFill xmlns:a14="http://schemas.microsoft.com/office/drawing/2010/main">
                <a:solidFill>
                  <a:srgbClr val="FFFFFF"/>
                </a:solidFill>
              </a14:hiddenFill>
            </a:ext>
          </a:extLst>
        </p:spPr>
      </p:pic>
      <p:pic>
        <p:nvPicPr>
          <p:cNvPr id="114" name="Picture 2" descr="Image result for citrix logo png"/>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5755520" y="6202449"/>
            <a:ext cx="889740" cy="335432"/>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4" descr="Image result for adobe logo png"/>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4571632" y="6235827"/>
            <a:ext cx="824748" cy="342481"/>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2" descr="http://www.pngpix.com/wp-content/uploads/2016/07/PNGPIX-COM-Xerox-Logo-PNG-Transparent.png"/>
          <p:cNvPicPr>
            <a:picLocks noChangeAspect="1" noChangeArrowheads="1"/>
          </p:cNvPicPr>
          <p:nvPr/>
        </p:nvPicPr>
        <p:blipFill rotWithShape="1">
          <a:blip r:embed="rId37" cstate="print">
            <a:extLst>
              <a:ext uri="{28A0092B-C50C-407E-A947-70E740481C1C}">
                <a14:useLocalDpi xmlns:a14="http://schemas.microsoft.com/office/drawing/2010/main" val="0"/>
              </a:ext>
            </a:extLst>
          </a:blip>
          <a:srcRect t="5806" b="5215"/>
          <a:stretch/>
        </p:blipFill>
        <p:spPr bwMode="auto">
          <a:xfrm>
            <a:off x="7004400" y="6274613"/>
            <a:ext cx="966601" cy="270553"/>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30" descr="http://www.logospike.com/wp-content/uploads/2014/11/Samsung_logo-2.jpg"/>
          <p:cNvPicPr>
            <a:picLocks noChangeAspect="1" noChangeArrowheads="1"/>
          </p:cNvPicPr>
          <p:nvPr/>
        </p:nvPicPr>
        <p:blipFill rotWithShape="1">
          <a:blip r:embed="rId38" cstate="print">
            <a:extLst>
              <a:ext uri="{28A0092B-C50C-407E-A947-70E740481C1C}">
                <a14:useLocalDpi xmlns:a14="http://schemas.microsoft.com/office/drawing/2010/main" val="0"/>
              </a:ext>
            </a:extLst>
          </a:blip>
          <a:srcRect l="17185" t="32707" r="16658" b="31157"/>
          <a:stretch/>
        </p:blipFill>
        <p:spPr bwMode="auto">
          <a:xfrm>
            <a:off x="7116494" y="6640513"/>
            <a:ext cx="1251285" cy="225438"/>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8" descr="Image result for toyota logo png"/>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8462341" y="4450143"/>
            <a:ext cx="628127" cy="527251"/>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4" descr="Image result for rakuten logo png"/>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8532955" y="2496548"/>
            <a:ext cx="1280011" cy="204002"/>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8" descr="Image result for johnson and johnson logo png"/>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9714410" y="4107634"/>
            <a:ext cx="1596210" cy="957726"/>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121" descr="Image result for ericsson logo png"/>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7742136" y="3013591"/>
            <a:ext cx="1127712" cy="231308"/>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2" descr="Image result for fifa logo png"/>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9465165" y="6311626"/>
            <a:ext cx="498490" cy="434637"/>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6" descr="Image result for affinio logo pn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8532955" y="6115441"/>
            <a:ext cx="827008" cy="827008"/>
          </a:xfrm>
          <a:prstGeom prst="rect">
            <a:avLst/>
          </a:prstGeom>
          <a:noFill/>
          <a:extLst>
            <a:ext uri="{909E8E84-426E-40DD-AFC4-6F175D3DCCD1}">
              <a14:hiddenFill xmlns:a14="http://schemas.microsoft.com/office/drawing/2010/main">
                <a:solidFill>
                  <a:srgbClr val="FFFFFF"/>
                </a:solidFill>
              </a14:hiddenFill>
            </a:ext>
          </a:extLst>
        </p:spPr>
      </p:pic>
      <p:pic>
        <p:nvPicPr>
          <p:cNvPr id="125" name="Picture 12" descr="Image result for sitecore logo png"/>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10511062" y="6434553"/>
            <a:ext cx="1389921" cy="472727"/>
          </a:xfrm>
          <a:prstGeom prst="rect">
            <a:avLst/>
          </a:prstGeom>
          <a:noFill/>
          <a:extLst>
            <a:ext uri="{909E8E84-426E-40DD-AFC4-6F175D3DCCD1}">
              <a14:hiddenFill xmlns:a14="http://schemas.microsoft.com/office/drawing/2010/main">
                <a:solidFill>
                  <a:srgbClr val="FFFFFF"/>
                </a:solidFill>
              </a14:hiddenFill>
            </a:ext>
          </a:extLst>
        </p:spPr>
      </p:pic>
      <p:pic>
        <p:nvPicPr>
          <p:cNvPr id="10242" name="Picture 2" descr="Image result for fidelity investments logo">
            <a:extLst>
              <a:ext uri="{FF2B5EF4-FFF2-40B4-BE49-F238E27FC236}">
                <a16:creationId xmlns:a16="http://schemas.microsoft.com/office/drawing/2014/main" id="{856E5C0E-6791-4D06-AC88-63D27616B6ED}"/>
              </a:ext>
            </a:extLst>
          </p:cNvPr>
          <p:cNvPicPr>
            <a:picLocks noChangeAspect="1" noChangeArrowheads="1"/>
          </p:cNvPicPr>
          <p:nvPr/>
        </p:nvPicPr>
        <p:blipFill>
          <a:blip r:embed="rId46" cstate="print">
            <a:extLst>
              <a:ext uri="{28A0092B-C50C-407E-A947-70E740481C1C}">
                <a14:useLocalDpi xmlns:a14="http://schemas.microsoft.com/office/drawing/2010/main" val="0"/>
              </a:ext>
            </a:extLst>
          </a:blip>
          <a:srcRect/>
          <a:stretch>
            <a:fillRect/>
          </a:stretch>
        </p:blipFill>
        <p:spPr bwMode="auto">
          <a:xfrm>
            <a:off x="4435982" y="5246064"/>
            <a:ext cx="1406689" cy="364460"/>
          </a:xfrm>
          <a:prstGeom prst="rect">
            <a:avLst/>
          </a:prstGeom>
          <a:noFill/>
          <a:extLst>
            <a:ext uri="{909E8E84-426E-40DD-AFC4-6F175D3DCCD1}">
              <a14:hiddenFill xmlns:a14="http://schemas.microsoft.com/office/drawing/2010/main">
                <a:solidFill>
                  <a:srgbClr val="FFFFFF"/>
                </a:solidFill>
              </a14:hiddenFill>
            </a:ext>
          </a:extLst>
        </p:spPr>
      </p:pic>
      <p:pic>
        <p:nvPicPr>
          <p:cNvPr id="10244" name="Picture 4" descr="Image result for ernst and young logo">
            <a:extLst>
              <a:ext uri="{FF2B5EF4-FFF2-40B4-BE49-F238E27FC236}">
                <a16:creationId xmlns:a16="http://schemas.microsoft.com/office/drawing/2014/main" id="{98598F14-70B6-4B6E-8C6F-A1BDF48DE2C6}"/>
              </a:ext>
            </a:extLst>
          </p:cNvPr>
          <p:cNvPicPr>
            <a:picLocks noChangeAspect="1" noChangeArrowheads="1"/>
          </p:cNvPicPr>
          <p:nvPr/>
        </p:nvPicPr>
        <p:blipFill>
          <a:blip r:embed="rId47" cstate="print">
            <a:extLst>
              <a:ext uri="{28A0092B-C50C-407E-A947-70E740481C1C}">
                <a14:useLocalDpi xmlns:a14="http://schemas.microsoft.com/office/drawing/2010/main" val="0"/>
              </a:ext>
            </a:extLst>
          </a:blip>
          <a:srcRect/>
          <a:stretch>
            <a:fillRect/>
          </a:stretch>
        </p:blipFill>
        <p:spPr bwMode="auto">
          <a:xfrm>
            <a:off x="9473203" y="4997101"/>
            <a:ext cx="1596790" cy="1277432"/>
          </a:xfrm>
          <a:prstGeom prst="rect">
            <a:avLst/>
          </a:prstGeom>
          <a:noFill/>
          <a:extLst>
            <a:ext uri="{909E8E84-426E-40DD-AFC4-6F175D3DCCD1}">
              <a14:hiddenFill xmlns:a14="http://schemas.microsoft.com/office/drawing/2010/main">
                <a:solidFill>
                  <a:srgbClr val="FFFFFF"/>
                </a:solidFill>
              </a14:hiddenFill>
            </a:ext>
          </a:extLst>
        </p:spPr>
      </p:pic>
      <p:pic>
        <p:nvPicPr>
          <p:cNvPr id="10246" name="Picture 6" descr="Image result for servicelink logo">
            <a:extLst>
              <a:ext uri="{FF2B5EF4-FFF2-40B4-BE49-F238E27FC236}">
                <a16:creationId xmlns:a16="http://schemas.microsoft.com/office/drawing/2014/main" id="{63044C5A-221D-47EC-9F80-FEFB66852E6A}"/>
              </a:ext>
            </a:extLst>
          </p:cNvPr>
          <p:cNvPicPr>
            <a:picLocks noChangeAspect="1" noChangeArrowheads="1"/>
          </p:cNvPicPr>
          <p:nvPr/>
        </p:nvPicPr>
        <p:blipFill>
          <a:blip r:embed="rId48" cstate="print">
            <a:extLst>
              <a:ext uri="{28A0092B-C50C-407E-A947-70E740481C1C}">
                <a14:useLocalDpi xmlns:a14="http://schemas.microsoft.com/office/drawing/2010/main" val="0"/>
              </a:ext>
            </a:extLst>
          </a:blip>
          <a:srcRect/>
          <a:stretch>
            <a:fillRect/>
          </a:stretch>
        </p:blipFill>
        <p:spPr bwMode="auto">
          <a:xfrm>
            <a:off x="7781090" y="5635817"/>
            <a:ext cx="1824509" cy="2696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79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12642A9D-3D27-400A-9844-7377154DD181}"/>
              </a:ext>
            </a:extLst>
          </p:cNvPr>
          <p:cNvSpPr txBox="1">
            <a:spLocks/>
          </p:cNvSpPr>
          <p:nvPr/>
        </p:nvSpPr>
        <p:spPr>
          <a:xfrm>
            <a:off x="536923" y="518559"/>
            <a:ext cx="11655078"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r>
              <a:rPr lang="en-US" sz="4705" spc="-100" dirty="0">
                <a:gradFill>
                  <a:gsLst>
                    <a:gs pos="1250">
                      <a:srgbClr val="353535"/>
                    </a:gs>
                    <a:gs pos="100000">
                      <a:srgbClr val="353535"/>
                    </a:gs>
                  </a:gsLst>
                  <a:lin ang="5400000" scaled="0"/>
                </a:gradFill>
                <a:latin typeface="Segoe UI Light"/>
              </a:rPr>
              <a:t>Working with Change Feed Processor Library</a:t>
            </a:r>
          </a:p>
        </p:txBody>
      </p:sp>
      <p:pic>
        <p:nvPicPr>
          <p:cNvPr id="2" name="Picture 1">
            <a:extLst>
              <a:ext uri="{FF2B5EF4-FFF2-40B4-BE49-F238E27FC236}">
                <a16:creationId xmlns:a16="http://schemas.microsoft.com/office/drawing/2014/main" id="{44D65863-4836-45A2-91FE-F2F2DB8AF5AF}"/>
              </a:ext>
            </a:extLst>
          </p:cNvPr>
          <p:cNvPicPr>
            <a:picLocks noChangeAspect="1"/>
          </p:cNvPicPr>
          <p:nvPr/>
        </p:nvPicPr>
        <p:blipFill>
          <a:blip r:embed="rId3"/>
          <a:stretch>
            <a:fillRect/>
          </a:stretch>
        </p:blipFill>
        <p:spPr>
          <a:xfrm>
            <a:off x="871524" y="3186044"/>
            <a:ext cx="10448952" cy="980465"/>
          </a:xfrm>
          <a:prstGeom prst="rect">
            <a:avLst/>
          </a:prstGeom>
        </p:spPr>
      </p:pic>
      <p:sp>
        <p:nvSpPr>
          <p:cNvPr id="5" name="TextBox 4">
            <a:extLst>
              <a:ext uri="{FF2B5EF4-FFF2-40B4-BE49-F238E27FC236}">
                <a16:creationId xmlns:a16="http://schemas.microsoft.com/office/drawing/2014/main" id="{3F829F32-FDC4-4573-B99F-A7300580B1BC}"/>
              </a:ext>
            </a:extLst>
          </p:cNvPr>
          <p:cNvSpPr txBox="1"/>
          <p:nvPr/>
        </p:nvSpPr>
        <p:spPr>
          <a:xfrm>
            <a:off x="1113809" y="2320744"/>
            <a:ext cx="10070691" cy="615516"/>
          </a:xfrm>
          <a:prstGeom prst="rect">
            <a:avLst/>
          </a:prstGeom>
          <a:noFill/>
        </p:spPr>
        <p:txBody>
          <a:bodyPr wrap="none" lIns="179285" tIns="143428" rIns="179285" bIns="143428" rtlCol="0">
            <a:spAutoFit/>
          </a:bodyPr>
          <a:lstStyle/>
          <a:p>
            <a:pPr defTabSz="914367">
              <a:lnSpc>
                <a:spcPct val="90000"/>
              </a:lnSpc>
              <a:spcAft>
                <a:spcPts val="588"/>
              </a:spcAft>
            </a:pPr>
            <a:r>
              <a:rPr lang="en-US" sz="2353" dirty="0">
                <a:gradFill>
                  <a:gsLst>
                    <a:gs pos="2917">
                      <a:srgbClr val="353535"/>
                    </a:gs>
                    <a:gs pos="30000">
                      <a:srgbClr val="353535"/>
                    </a:gs>
                  </a:gsLst>
                  <a:lin ang="5400000" scaled="0"/>
                </a:gradFill>
                <a:latin typeface="Segoe UI Semilight"/>
              </a:rPr>
              <a:t>Step 2: Register the </a:t>
            </a:r>
            <a:r>
              <a:rPr lang="en-US" sz="2353" dirty="0" err="1">
                <a:gradFill>
                  <a:gsLst>
                    <a:gs pos="2917">
                      <a:srgbClr val="353535"/>
                    </a:gs>
                    <a:gs pos="30000">
                      <a:srgbClr val="353535"/>
                    </a:gs>
                  </a:gsLst>
                  <a:lin ang="5400000" scaled="0"/>
                </a:gradFill>
                <a:latin typeface="Segoe UI Semilight"/>
              </a:rPr>
              <a:t>IChangeFeedObserver</a:t>
            </a:r>
            <a:r>
              <a:rPr lang="en-US" sz="2353" dirty="0">
                <a:gradFill>
                  <a:gsLst>
                    <a:gs pos="2917">
                      <a:srgbClr val="353535"/>
                    </a:gs>
                    <a:gs pos="30000">
                      <a:srgbClr val="353535"/>
                    </a:gs>
                  </a:gsLst>
                  <a:lin ang="5400000" scaled="0"/>
                </a:gradFill>
                <a:latin typeface="Segoe UI Semilight"/>
              </a:rPr>
              <a:t> with to a </a:t>
            </a:r>
            <a:r>
              <a:rPr lang="en-US" sz="2353" dirty="0" err="1">
                <a:gradFill>
                  <a:gsLst>
                    <a:gs pos="2917">
                      <a:srgbClr val="353535"/>
                    </a:gs>
                    <a:gs pos="30000">
                      <a:srgbClr val="353535"/>
                    </a:gs>
                  </a:gsLst>
                  <a:lin ang="5400000" scaled="0"/>
                </a:gradFill>
                <a:latin typeface="Segoe UI Semilight"/>
              </a:rPr>
              <a:t>ChangeFeedEventHost</a:t>
            </a:r>
            <a:endParaRPr lang="en-US" sz="2353" dirty="0">
              <a:gradFill>
                <a:gsLst>
                  <a:gs pos="2917">
                    <a:srgbClr val="353535"/>
                  </a:gs>
                  <a:gs pos="30000">
                    <a:srgbClr val="353535"/>
                  </a:gs>
                </a:gsLst>
                <a:lin ang="5400000" scaled="0"/>
              </a:gradFill>
              <a:latin typeface="Segoe UI Semilight"/>
            </a:endParaRPr>
          </a:p>
        </p:txBody>
      </p:sp>
    </p:spTree>
    <p:extLst>
      <p:ext uri="{BB962C8B-B14F-4D97-AF65-F5344CB8AC3E}">
        <p14:creationId xmlns:p14="http://schemas.microsoft.com/office/powerpoint/2010/main" val="2823058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CBB8B40-F3D1-4331-B430-E127860A693D}"/>
              </a:ext>
            </a:extLst>
          </p:cNvPr>
          <p:cNvSpPr>
            <a:spLocks noGrp="1"/>
          </p:cNvSpPr>
          <p:nvPr>
            <p:ph type="title"/>
          </p:nvPr>
        </p:nvSpPr>
        <p:spPr>
          <a:xfrm>
            <a:off x="588262" y="2100144"/>
            <a:ext cx="5943600" cy="1661993"/>
          </a:xfrm>
        </p:spPr>
        <p:txBody>
          <a:bodyPr/>
          <a:lstStyle/>
          <a:p>
            <a:r>
              <a:rPr lang="en-US"/>
              <a:t>Advanced Azure Cosmos DB: Design patterns, tips and tricks</a:t>
            </a:r>
          </a:p>
        </p:txBody>
      </p:sp>
      <p:sp>
        <p:nvSpPr>
          <p:cNvPr id="7" name="Text Placeholder 6">
            <a:extLst>
              <a:ext uri="{FF2B5EF4-FFF2-40B4-BE49-F238E27FC236}">
                <a16:creationId xmlns:a16="http://schemas.microsoft.com/office/drawing/2014/main" id="{5B233F29-D5A5-4DF5-AA87-020831D2ED66}"/>
              </a:ext>
            </a:extLst>
          </p:cNvPr>
          <p:cNvSpPr>
            <a:spLocks noGrp="1"/>
          </p:cNvSpPr>
          <p:nvPr>
            <p:ph type="body" sz="quarter" idx="12"/>
          </p:nvPr>
        </p:nvSpPr>
        <p:spPr>
          <a:xfrm>
            <a:off x="582041" y="4191001"/>
            <a:ext cx="5943600" cy="307777"/>
          </a:xfrm>
        </p:spPr>
        <p:txBody>
          <a:bodyPr/>
          <a:lstStyle/>
          <a:p>
            <a:r>
              <a:rPr lang="en-US" dirty="0"/>
              <a:t>Azure Cosmos DB Engineering</a:t>
            </a:r>
          </a:p>
        </p:txBody>
      </p:sp>
    </p:spTree>
    <p:extLst>
      <p:ext uri="{BB962C8B-B14F-4D97-AF65-F5344CB8AC3E}">
        <p14:creationId xmlns:p14="http://schemas.microsoft.com/office/powerpoint/2010/main" val="1869999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5216" y="2765810"/>
            <a:ext cx="6400800" cy="997196"/>
          </a:xfrm>
        </p:spPr>
        <p:txBody>
          <a:bodyPr/>
          <a:lstStyle/>
          <a:p>
            <a:r>
              <a:rPr lang="en-US"/>
              <a:t>Building an application using the core SQL API</a:t>
            </a:r>
          </a:p>
        </p:txBody>
      </p:sp>
    </p:spTree>
    <p:extLst>
      <p:ext uri="{BB962C8B-B14F-4D97-AF65-F5344CB8AC3E}">
        <p14:creationId xmlns:p14="http://schemas.microsoft.com/office/powerpoint/2010/main" val="2987377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16">
            <a:extLst>
              <a:ext uri="{FF2B5EF4-FFF2-40B4-BE49-F238E27FC236}">
                <a16:creationId xmlns:a16="http://schemas.microsoft.com/office/drawing/2014/main" id="{1B0F14DB-9255-9144-857F-5D2BB867B49A}"/>
              </a:ext>
            </a:extLst>
          </p:cNvPr>
          <p:cNvSpPr txBox="1">
            <a:spLocks/>
          </p:cNvSpPr>
          <p:nvPr/>
        </p:nvSpPr>
        <p:spPr>
          <a:xfrm>
            <a:off x="470700" y="661152"/>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gradFill>
                  <a:gsLst>
                    <a:gs pos="1250">
                      <a:srgbClr val="1A1A1A"/>
                    </a:gs>
                    <a:gs pos="100000">
                      <a:srgbClr val="1A1A1A"/>
                    </a:gs>
                  </a:gsLst>
                  <a:lin ang="5400000" scaled="0"/>
                </a:gradFill>
                <a:latin typeface="Segoe UI Semibold"/>
              </a:rPr>
              <a:t>Core SQL API 101</a:t>
            </a:r>
          </a:p>
        </p:txBody>
      </p:sp>
      <p:sp>
        <p:nvSpPr>
          <p:cNvPr id="5" name="Text Placeholder 5">
            <a:extLst>
              <a:ext uri="{FF2B5EF4-FFF2-40B4-BE49-F238E27FC236}">
                <a16:creationId xmlns:a16="http://schemas.microsoft.com/office/drawing/2014/main" id="{DAA2AED5-62C8-D246-9E83-052FFCDC5A61}"/>
              </a:ext>
            </a:extLst>
          </p:cNvPr>
          <p:cNvSpPr>
            <a:spLocks noGrp="1"/>
          </p:cNvSpPr>
          <p:nvPr>
            <p:ph type="body" sz="quarter" idx="10"/>
          </p:nvPr>
        </p:nvSpPr>
        <p:spPr>
          <a:xfrm>
            <a:off x="584200" y="1664098"/>
            <a:ext cx="10905020" cy="2277547"/>
          </a:xfrm>
        </p:spPr>
        <p:txBody>
          <a:bodyPr/>
          <a:lstStyle/>
          <a:p>
            <a:pPr marL="457200" indent="-457200">
              <a:buFont typeface="Arial" panose="020B0604020202020204" pitchFamily="34" charset="0"/>
              <a:buChar char="•"/>
            </a:pPr>
            <a:r>
              <a:rPr lang="en-US"/>
              <a:t>Operations</a:t>
            </a:r>
          </a:p>
          <a:p>
            <a:pPr marL="685800" lvl="1" indent="-457200">
              <a:buFont typeface="Arial" panose="020B0604020202020204" pitchFamily="34" charset="0"/>
              <a:buChar char="•"/>
            </a:pPr>
            <a:r>
              <a:rPr lang="en-US"/>
              <a:t>CRUD: GET, POST, PUT, DELETE</a:t>
            </a:r>
          </a:p>
          <a:p>
            <a:pPr marL="685800" lvl="1" indent="-457200">
              <a:buFont typeface="Arial" panose="020B0604020202020204" pitchFamily="34" charset="0"/>
              <a:buChar char="•"/>
            </a:pPr>
            <a:r>
              <a:rPr lang="en-US"/>
              <a:t>SQL queries (single-partition and cross-partition)</a:t>
            </a:r>
          </a:p>
          <a:p>
            <a:pPr marL="685800" lvl="1" indent="-457200">
              <a:buFont typeface="Arial" panose="020B0604020202020204" pitchFamily="34" charset="0"/>
              <a:buChar char="•"/>
            </a:pPr>
            <a:r>
              <a:rPr lang="en-US"/>
              <a:t>Intra-partition stored procedures (transactions)</a:t>
            </a:r>
          </a:p>
          <a:p>
            <a:pPr marL="685800" lvl="1" indent="-457200">
              <a:buFont typeface="Arial" panose="020B0604020202020204" pitchFamily="34" charset="0"/>
              <a:buChar char="•"/>
            </a:pPr>
            <a:r>
              <a:rPr lang="en-US"/>
              <a:t>Read feed (scan)</a:t>
            </a:r>
          </a:p>
          <a:p>
            <a:pPr marL="685800" lvl="1" indent="-457200">
              <a:buFont typeface="Arial" panose="020B0604020202020204" pitchFamily="34" charset="0"/>
              <a:buChar char="•"/>
            </a:pPr>
            <a:r>
              <a:rPr lang="en-US" b="1"/>
              <a:t>Change feed</a:t>
            </a:r>
          </a:p>
        </p:txBody>
      </p:sp>
      <p:sp>
        <p:nvSpPr>
          <p:cNvPr id="4" name="Text Placeholder 5">
            <a:extLst>
              <a:ext uri="{FF2B5EF4-FFF2-40B4-BE49-F238E27FC236}">
                <a16:creationId xmlns:a16="http://schemas.microsoft.com/office/drawing/2014/main" id="{74F56C0D-2E73-8C4F-A57B-289E6EB58FCF}"/>
              </a:ext>
            </a:extLst>
          </p:cNvPr>
          <p:cNvSpPr txBox="1">
            <a:spLocks/>
          </p:cNvSpPr>
          <p:nvPr/>
        </p:nvSpPr>
        <p:spPr>
          <a:xfrm>
            <a:off x="584200" y="4390592"/>
            <a:ext cx="10905020" cy="1908215"/>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indent="-457200">
              <a:buFont typeface="Arial" panose="020B0604020202020204" pitchFamily="34" charset="0"/>
              <a:buChar char="•"/>
            </a:pPr>
            <a:r>
              <a:rPr lang="en-US">
                <a:gradFill>
                  <a:gsLst>
                    <a:gs pos="1250">
                      <a:srgbClr val="1A1A1A"/>
                    </a:gs>
                    <a:gs pos="100000">
                      <a:srgbClr val="1A1A1A"/>
                    </a:gs>
                  </a:gsLst>
                  <a:lin ang="5400000" scaled="0"/>
                </a:gradFill>
              </a:rPr>
              <a:t>Thumb rule of data access</a:t>
            </a:r>
          </a:p>
          <a:p>
            <a:pPr marL="685800" lvl="1" indent="-457200">
              <a:buFont typeface="Arial" panose="020B0604020202020204" pitchFamily="34" charset="0"/>
              <a:buChar char="•"/>
            </a:pPr>
            <a:r>
              <a:rPr lang="en-US">
                <a:gradFill>
                  <a:gsLst>
                    <a:gs pos="1250">
                      <a:srgbClr val="1A1A1A"/>
                    </a:gs>
                    <a:gs pos="100000">
                      <a:srgbClr val="1A1A1A"/>
                    </a:gs>
                  </a:gsLst>
                  <a:lin ang="5400000" scaled="0"/>
                </a:gradFill>
                <a:latin typeface="Segoe UI"/>
              </a:rPr>
              <a:t>GET</a:t>
            </a:r>
          </a:p>
          <a:p>
            <a:pPr marL="685800" lvl="1" indent="-457200">
              <a:buFont typeface="Arial" panose="020B0604020202020204" pitchFamily="34" charset="0"/>
              <a:buChar char="•"/>
            </a:pPr>
            <a:r>
              <a:rPr lang="en-US">
                <a:gradFill>
                  <a:gsLst>
                    <a:gs pos="1250">
                      <a:srgbClr val="1A1A1A"/>
                    </a:gs>
                    <a:gs pos="100000">
                      <a:srgbClr val="1A1A1A"/>
                    </a:gs>
                  </a:gsLst>
                  <a:lin ang="5400000" scaled="0"/>
                </a:gradFill>
                <a:latin typeface="Segoe UI"/>
              </a:rPr>
              <a:t>Single-partition query</a:t>
            </a:r>
          </a:p>
          <a:p>
            <a:pPr marL="685800" lvl="1" indent="-457200">
              <a:buFont typeface="Arial" panose="020B0604020202020204" pitchFamily="34" charset="0"/>
              <a:buChar char="•"/>
            </a:pPr>
            <a:r>
              <a:rPr lang="en-US">
                <a:gradFill>
                  <a:gsLst>
                    <a:gs pos="1250">
                      <a:srgbClr val="1A1A1A"/>
                    </a:gs>
                    <a:gs pos="100000">
                      <a:srgbClr val="1A1A1A"/>
                    </a:gs>
                  </a:gsLst>
                  <a:lin ang="5400000" scaled="0"/>
                </a:gradFill>
                <a:latin typeface="Segoe UI"/>
              </a:rPr>
              <a:t>Cross-partition query</a:t>
            </a:r>
          </a:p>
          <a:p>
            <a:pPr marL="685800" lvl="1" indent="-457200">
              <a:buFont typeface="Arial" panose="020B0604020202020204" pitchFamily="34" charset="0"/>
              <a:buChar char="•"/>
            </a:pPr>
            <a:r>
              <a:rPr lang="en-US">
                <a:gradFill>
                  <a:gsLst>
                    <a:gs pos="1250">
                      <a:srgbClr val="1A1A1A"/>
                    </a:gs>
                    <a:gs pos="100000">
                      <a:srgbClr val="1A1A1A"/>
                    </a:gs>
                  </a:gsLst>
                  <a:lin ang="5400000" scaled="0"/>
                </a:gradFill>
                <a:latin typeface="Segoe UI"/>
              </a:rPr>
              <a:t>Read feed (or) scan query</a:t>
            </a:r>
          </a:p>
        </p:txBody>
      </p:sp>
      <p:grpSp>
        <p:nvGrpSpPr>
          <p:cNvPr id="7" name="Group 6">
            <a:extLst>
              <a:ext uri="{FF2B5EF4-FFF2-40B4-BE49-F238E27FC236}">
                <a16:creationId xmlns:a16="http://schemas.microsoft.com/office/drawing/2014/main" id="{05EFB0E8-5F7E-AB4E-BF41-777A511D859A}"/>
              </a:ext>
            </a:extLst>
          </p:cNvPr>
          <p:cNvGrpSpPr/>
          <p:nvPr/>
        </p:nvGrpSpPr>
        <p:grpSpPr>
          <a:xfrm>
            <a:off x="5747731" y="4681022"/>
            <a:ext cx="3731984" cy="1617784"/>
            <a:chOff x="6067046" y="4347810"/>
            <a:chExt cx="3731984" cy="1617784"/>
          </a:xfrm>
        </p:grpSpPr>
        <p:cxnSp>
          <p:nvCxnSpPr>
            <p:cNvPr id="3" name="Straight Arrow Connector 2">
              <a:extLst>
                <a:ext uri="{FF2B5EF4-FFF2-40B4-BE49-F238E27FC236}">
                  <a16:creationId xmlns:a16="http://schemas.microsoft.com/office/drawing/2014/main" id="{CFBFC690-FD8C-1041-B913-E3BE44143068}"/>
                </a:ext>
              </a:extLst>
            </p:cNvPr>
            <p:cNvCxnSpPr/>
            <p:nvPr/>
          </p:nvCxnSpPr>
          <p:spPr>
            <a:xfrm>
              <a:off x="6067046" y="4347810"/>
              <a:ext cx="0" cy="1617784"/>
            </a:xfrm>
            <a:prstGeom prst="straightConnector1">
              <a:avLst/>
            </a:prstGeom>
            <a:ln w="31750">
              <a:solidFill>
                <a:schemeClr val="tx1"/>
              </a:solidFill>
              <a:headEnd type="none" w="lg" len="med"/>
              <a:tailEnd type="triangle" w="lg" len="lg"/>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3FFE5347-3AAA-0949-A736-614DCFDFF3E0}"/>
                </a:ext>
              </a:extLst>
            </p:cNvPr>
            <p:cNvSpPr/>
            <p:nvPr/>
          </p:nvSpPr>
          <p:spPr>
            <a:xfrm>
              <a:off x="6067046" y="4838922"/>
              <a:ext cx="3731984" cy="635559"/>
            </a:xfrm>
            <a:prstGeom prst="rect">
              <a:avLst/>
            </a:prstGeom>
          </p:spPr>
          <p:txBody>
            <a:bodyPr wrap="none">
              <a:spAutoFit/>
            </a:bodyPr>
            <a:lstStyle/>
            <a:p>
              <a:pPr marL="228600" lvl="1" algn="ctr" defTabSz="914367"/>
              <a:r>
                <a:rPr lang="en-US" sz="1765" dirty="0">
                  <a:solidFill>
                    <a:srgbClr val="D83B01">
                      <a:lumMod val="75000"/>
                    </a:srgbClr>
                  </a:solidFill>
                  <a:latin typeface="Segoe UI"/>
                </a:rPr>
                <a:t>In decreasing order of preference</a:t>
              </a:r>
            </a:p>
            <a:p>
              <a:pPr marL="228600" lvl="1" algn="ctr" defTabSz="914367"/>
              <a:r>
                <a:rPr lang="en-US" sz="1765" dirty="0">
                  <a:solidFill>
                    <a:srgbClr val="D83B01">
                      <a:lumMod val="75000"/>
                    </a:srgbClr>
                  </a:solidFill>
                  <a:latin typeface="Segoe UI"/>
                </a:rPr>
                <a:t>(latency and throughput)</a:t>
              </a:r>
            </a:p>
          </p:txBody>
        </p:sp>
      </p:grpSp>
      <p:sp>
        <p:nvSpPr>
          <p:cNvPr id="8" name="Rectangle 7">
            <a:extLst>
              <a:ext uri="{FF2B5EF4-FFF2-40B4-BE49-F238E27FC236}">
                <a16:creationId xmlns:a16="http://schemas.microsoft.com/office/drawing/2014/main" id="{94E3A60A-BE39-7F47-A2CD-055A42799166}"/>
              </a:ext>
            </a:extLst>
          </p:cNvPr>
          <p:cNvSpPr/>
          <p:nvPr/>
        </p:nvSpPr>
        <p:spPr>
          <a:xfrm>
            <a:off x="6705601" y="2247594"/>
            <a:ext cx="4400304" cy="400110"/>
          </a:xfrm>
          <a:prstGeom prst="rect">
            <a:avLst/>
          </a:prstGeom>
        </p:spPr>
        <p:txBody>
          <a:bodyPr wrap="square">
            <a:spAutoFit/>
          </a:bodyPr>
          <a:lstStyle/>
          <a:p>
            <a:pPr marL="228600" lvl="1" algn="ctr" defTabSz="914367"/>
            <a:r>
              <a:rPr lang="en-US" sz="2000" i="1" dirty="0">
                <a:solidFill>
                  <a:srgbClr val="D83B01">
                    <a:lumMod val="75000"/>
                  </a:srgbClr>
                </a:solidFill>
                <a:latin typeface="Segoe UI"/>
              </a:rPr>
              <a:t>Every operation consumes RUs</a:t>
            </a:r>
          </a:p>
        </p:txBody>
      </p:sp>
    </p:spTree>
    <p:extLst>
      <p:ext uri="{BB962C8B-B14F-4D97-AF65-F5344CB8AC3E}">
        <p14:creationId xmlns:p14="http://schemas.microsoft.com/office/powerpoint/2010/main" val="2846093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4" grpId="0"/>
      <p:bldP spid="8" grpId="0"/>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D649FA8-88B3-E44C-9A41-D81460F4AC15}"/>
              </a:ext>
            </a:extLst>
          </p:cNvPr>
          <p:cNvPicPr>
            <a:picLocks noChangeAspect="1"/>
          </p:cNvPicPr>
          <p:nvPr/>
        </p:nvPicPr>
        <p:blipFill>
          <a:blip r:embed="rId3"/>
          <a:stretch>
            <a:fillRect/>
          </a:stretch>
        </p:blipFill>
        <p:spPr>
          <a:xfrm>
            <a:off x="3737318" y="1646701"/>
            <a:ext cx="7924800" cy="4978400"/>
          </a:xfrm>
          <a:prstGeom prst="rect">
            <a:avLst/>
          </a:prstGeom>
        </p:spPr>
      </p:pic>
      <p:sp>
        <p:nvSpPr>
          <p:cNvPr id="23" name="Title 16">
            <a:extLst>
              <a:ext uri="{FF2B5EF4-FFF2-40B4-BE49-F238E27FC236}">
                <a16:creationId xmlns:a16="http://schemas.microsoft.com/office/drawing/2014/main" id="{1B0F14DB-9255-9144-857F-5D2BB867B49A}"/>
              </a:ext>
            </a:extLst>
          </p:cNvPr>
          <p:cNvSpPr txBox="1">
            <a:spLocks/>
          </p:cNvSpPr>
          <p:nvPr/>
        </p:nvSpPr>
        <p:spPr>
          <a:xfrm>
            <a:off x="470700" y="661152"/>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gradFill>
                  <a:gsLst>
                    <a:gs pos="1250">
                      <a:srgbClr val="1A1A1A"/>
                    </a:gs>
                    <a:gs pos="100000">
                      <a:srgbClr val="1A1A1A"/>
                    </a:gs>
                  </a:gsLst>
                  <a:lin ang="5400000" scaled="0"/>
                </a:gradFill>
                <a:latin typeface="Segoe UI Semibold"/>
              </a:rPr>
              <a:t>Looking to reduce the cost of your writes?</a:t>
            </a:r>
          </a:p>
        </p:txBody>
      </p:sp>
      <p:sp>
        <p:nvSpPr>
          <p:cNvPr id="24" name="Title 1">
            <a:extLst>
              <a:ext uri="{FF2B5EF4-FFF2-40B4-BE49-F238E27FC236}">
                <a16:creationId xmlns:a16="http://schemas.microsoft.com/office/drawing/2014/main" id="{6F050A00-986A-6742-A76D-E45976E9411B}"/>
              </a:ext>
            </a:extLst>
          </p:cNvPr>
          <p:cNvSpPr txBox="1">
            <a:spLocks/>
          </p:cNvSpPr>
          <p:nvPr/>
        </p:nvSpPr>
        <p:spPr>
          <a:xfrm>
            <a:off x="470701" y="3352423"/>
            <a:ext cx="3049633" cy="1329595"/>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sz="2400">
                <a:gradFill>
                  <a:gsLst>
                    <a:gs pos="62564">
                      <a:srgbClr val="1A1A1A"/>
                    </a:gs>
                    <a:gs pos="55000">
                      <a:srgbClr val="1A1A1A"/>
                    </a:gs>
                  </a:gsLst>
                  <a:lin ang="5400000" scaled="0"/>
                </a:gradFill>
                <a:latin typeface="Segoe UI Semibold"/>
                <a:cs typeface="Segoe UI Semibold"/>
              </a:rPr>
              <a:t>Customize your indexing policy based on your query workload</a:t>
            </a:r>
          </a:p>
        </p:txBody>
      </p:sp>
    </p:spTree>
    <p:extLst>
      <p:ext uri="{BB962C8B-B14F-4D97-AF65-F5344CB8AC3E}">
        <p14:creationId xmlns:p14="http://schemas.microsoft.com/office/powerpoint/2010/main" val="2071346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16">
            <a:extLst>
              <a:ext uri="{FF2B5EF4-FFF2-40B4-BE49-F238E27FC236}">
                <a16:creationId xmlns:a16="http://schemas.microsoft.com/office/drawing/2014/main" id="{1B0F14DB-9255-9144-857F-5D2BB867B49A}"/>
              </a:ext>
            </a:extLst>
          </p:cNvPr>
          <p:cNvSpPr txBox="1">
            <a:spLocks/>
          </p:cNvSpPr>
          <p:nvPr/>
        </p:nvSpPr>
        <p:spPr>
          <a:xfrm>
            <a:off x="470700" y="661152"/>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gradFill>
                  <a:gsLst>
                    <a:gs pos="1250">
                      <a:srgbClr val="1A1A1A"/>
                    </a:gs>
                    <a:gs pos="100000">
                      <a:srgbClr val="1A1A1A"/>
                    </a:gs>
                  </a:gsLst>
                  <a:lin ang="5400000" scaled="0"/>
                </a:gradFill>
                <a:latin typeface="Segoe UI Semibold"/>
              </a:rPr>
              <a:t>Core SQL API 101</a:t>
            </a:r>
          </a:p>
        </p:txBody>
      </p:sp>
      <p:sp>
        <p:nvSpPr>
          <p:cNvPr id="5" name="Text Placeholder 5">
            <a:extLst>
              <a:ext uri="{FF2B5EF4-FFF2-40B4-BE49-F238E27FC236}">
                <a16:creationId xmlns:a16="http://schemas.microsoft.com/office/drawing/2014/main" id="{DAA2AED5-62C8-D246-9E83-052FFCDC5A61}"/>
              </a:ext>
            </a:extLst>
          </p:cNvPr>
          <p:cNvSpPr>
            <a:spLocks noGrp="1"/>
          </p:cNvSpPr>
          <p:nvPr>
            <p:ph type="body" sz="quarter" idx="10"/>
          </p:nvPr>
        </p:nvSpPr>
        <p:spPr>
          <a:xfrm>
            <a:off x="584200" y="1664098"/>
            <a:ext cx="10905020" cy="4949047"/>
          </a:xfrm>
        </p:spPr>
        <p:txBody>
          <a:bodyPr/>
          <a:lstStyle/>
          <a:p>
            <a:pPr marL="457200" indent="-457200">
              <a:buFont typeface="Arial" panose="020B0604020202020204" pitchFamily="34" charset="0"/>
              <a:buChar char="•"/>
            </a:pPr>
            <a:r>
              <a:rPr lang="en-US"/>
              <a:t>Documents</a:t>
            </a:r>
          </a:p>
          <a:p>
            <a:pPr marL="685800" lvl="1" indent="-457200">
              <a:buFont typeface="Arial" panose="020B0604020202020204" pitchFamily="34" charset="0"/>
              <a:buChar char="•"/>
            </a:pPr>
            <a:r>
              <a:rPr lang="en-US"/>
              <a:t>Free-form JSON</a:t>
            </a:r>
          </a:p>
          <a:p>
            <a:pPr marL="685800" lvl="1" indent="-457200">
              <a:buFont typeface="Arial" panose="020B0604020202020204" pitchFamily="34" charset="0"/>
              <a:buChar char="•"/>
            </a:pPr>
            <a:r>
              <a:rPr lang="en-US"/>
              <a:t>Primary key (partition key + id)</a:t>
            </a:r>
          </a:p>
          <a:p>
            <a:pPr marL="457200" indent="-457200">
              <a:buFont typeface="Arial" panose="020B0604020202020204" pitchFamily="34" charset="0"/>
              <a:buChar char="•"/>
            </a:pPr>
            <a:r>
              <a:rPr lang="en-US"/>
              <a:t>Collections</a:t>
            </a:r>
          </a:p>
          <a:p>
            <a:pPr marL="685800" lvl="1" indent="-457200">
              <a:buFont typeface="Arial" panose="020B0604020202020204" pitchFamily="34" charset="0"/>
              <a:buChar char="•"/>
            </a:pPr>
            <a:r>
              <a:rPr lang="en-US"/>
              <a:t>Container for documents</a:t>
            </a:r>
          </a:p>
          <a:p>
            <a:pPr marL="685800" lvl="1" indent="-457200">
              <a:buFont typeface="Arial" panose="020B0604020202020204" pitchFamily="34" charset="0"/>
              <a:buChar char="•"/>
            </a:pPr>
            <a:r>
              <a:rPr lang="en-US"/>
              <a:t>Partition key choice</a:t>
            </a:r>
          </a:p>
          <a:p>
            <a:pPr marL="685800" lvl="1" indent="-457200">
              <a:buFont typeface="Arial" panose="020B0604020202020204" pitchFamily="34" charset="0"/>
              <a:buChar char="•"/>
            </a:pPr>
            <a:r>
              <a:rPr lang="en-US"/>
              <a:t>Provisioned throughput in RU/s</a:t>
            </a:r>
          </a:p>
          <a:p>
            <a:pPr marL="685800" lvl="1" indent="-457200">
              <a:buFont typeface="Arial" panose="020B0604020202020204" pitchFamily="34" charset="0"/>
              <a:buChar char="•"/>
            </a:pPr>
            <a:r>
              <a:rPr lang="en-US"/>
              <a:t>Optional indexing policy (automatic by default)</a:t>
            </a:r>
          </a:p>
          <a:p>
            <a:pPr marL="685800" lvl="1" indent="-457200">
              <a:buFont typeface="Arial" panose="020B0604020202020204" pitchFamily="34" charset="0"/>
              <a:buChar char="•"/>
            </a:pPr>
            <a:r>
              <a:rPr lang="en-US"/>
              <a:t>TTL expiration policy</a:t>
            </a:r>
          </a:p>
          <a:p>
            <a:pPr marL="685800" lvl="1" indent="-457200">
              <a:buFont typeface="Arial" panose="020B0604020202020204" pitchFamily="34" charset="0"/>
              <a:buChar char="•"/>
            </a:pPr>
            <a:r>
              <a:rPr lang="en-US"/>
              <a:t>Secondary unique key constraints</a:t>
            </a:r>
          </a:p>
          <a:p>
            <a:pPr marL="685800" lvl="1" indent="-457200">
              <a:buFont typeface="Arial" panose="020B0604020202020204" pitchFamily="34" charset="0"/>
              <a:buChar char="•"/>
            </a:pPr>
            <a:r>
              <a:rPr lang="en-US"/>
              <a:t>Collections have 1:N partitions hosting partition key ranges based on storage and throughput</a:t>
            </a:r>
          </a:p>
          <a:p>
            <a:pPr marL="685800" lvl="1" indent="-457200">
              <a:buFont typeface="Arial" panose="020B0604020202020204" pitchFamily="34" charset="0"/>
              <a:buChar char="•"/>
            </a:pPr>
            <a:r>
              <a:rPr lang="en-US"/>
              <a:t>Collections inherit consistency level, regional configuration from database account </a:t>
            </a:r>
          </a:p>
        </p:txBody>
      </p:sp>
    </p:spTree>
    <p:extLst>
      <p:ext uri="{BB962C8B-B14F-4D97-AF65-F5344CB8AC3E}">
        <p14:creationId xmlns:p14="http://schemas.microsoft.com/office/powerpoint/2010/main" val="535494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Title 16">
            <a:extLst>
              <a:ext uri="{FF2B5EF4-FFF2-40B4-BE49-F238E27FC236}">
                <a16:creationId xmlns:a16="http://schemas.microsoft.com/office/drawing/2014/main" id="{1B0F14DB-9255-9144-857F-5D2BB867B49A}"/>
              </a:ext>
            </a:extLst>
          </p:cNvPr>
          <p:cNvSpPr txBox="1">
            <a:spLocks/>
          </p:cNvSpPr>
          <p:nvPr/>
        </p:nvSpPr>
        <p:spPr>
          <a:xfrm>
            <a:off x="470700" y="661152"/>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gradFill>
                  <a:gsLst>
                    <a:gs pos="1250">
                      <a:srgbClr val="1A1A1A"/>
                    </a:gs>
                    <a:gs pos="100000">
                      <a:srgbClr val="1A1A1A"/>
                    </a:gs>
                  </a:gsLst>
                  <a:lin ang="5400000" scaled="0"/>
                </a:gradFill>
                <a:latin typeface="Segoe UI Semibold"/>
              </a:rPr>
              <a:t>Multi-player gaming scenario</a:t>
            </a:r>
          </a:p>
        </p:txBody>
      </p:sp>
      <p:pic>
        <p:nvPicPr>
          <p:cNvPr id="7" name="Picture 6">
            <a:extLst>
              <a:ext uri="{FF2B5EF4-FFF2-40B4-BE49-F238E27FC236}">
                <a16:creationId xmlns:a16="http://schemas.microsoft.com/office/drawing/2014/main" id="{D00DF35D-6570-B44E-AAFD-9360CDAD34BC}"/>
              </a:ext>
            </a:extLst>
          </p:cNvPr>
          <p:cNvPicPr>
            <a:picLocks noChangeAspect="1"/>
          </p:cNvPicPr>
          <p:nvPr/>
        </p:nvPicPr>
        <p:blipFill>
          <a:blip r:embed="rId3"/>
          <a:stretch>
            <a:fillRect/>
          </a:stretch>
        </p:blipFill>
        <p:spPr>
          <a:xfrm>
            <a:off x="470701" y="1770743"/>
            <a:ext cx="4585607" cy="4585607"/>
          </a:xfrm>
          <a:prstGeom prst="rect">
            <a:avLst/>
          </a:prstGeom>
        </p:spPr>
      </p:pic>
      <p:sp>
        <p:nvSpPr>
          <p:cNvPr id="10" name="Text Placeholder 5">
            <a:extLst>
              <a:ext uri="{FF2B5EF4-FFF2-40B4-BE49-F238E27FC236}">
                <a16:creationId xmlns:a16="http://schemas.microsoft.com/office/drawing/2014/main" id="{F9DE8687-5817-B048-8AF8-3DE213C2971F}"/>
              </a:ext>
            </a:extLst>
          </p:cNvPr>
          <p:cNvSpPr>
            <a:spLocks noGrp="1"/>
          </p:cNvSpPr>
          <p:nvPr>
            <p:ph type="body" sz="quarter" idx="10"/>
          </p:nvPr>
        </p:nvSpPr>
        <p:spPr>
          <a:xfrm>
            <a:off x="5369054" y="2578179"/>
            <a:ext cx="6590719" cy="2215991"/>
          </a:xfrm>
        </p:spPr>
        <p:txBody>
          <a:bodyPr/>
          <a:lstStyle/>
          <a:p>
            <a:pPr marL="685800" lvl="1" indent="-457200">
              <a:buFont typeface="Arial" panose="020B0604020202020204" pitchFamily="34" charset="0"/>
              <a:buChar char="•"/>
            </a:pPr>
            <a:r>
              <a:rPr lang="en-US" sz="2400"/>
              <a:t>Gaming use case with 100s to billions of active players and 1000s of games</a:t>
            </a:r>
          </a:p>
          <a:p>
            <a:pPr marL="914400" lvl="2" indent="-457200">
              <a:buFont typeface="Arial" panose="020B0604020202020204" pitchFamily="34" charset="0"/>
              <a:buChar char="•"/>
            </a:pPr>
            <a:r>
              <a:rPr lang="en-US" sz="2000" err="1"/>
              <a:t>GetGamesById</a:t>
            </a:r>
            <a:r>
              <a:rPr lang="en-US" sz="2000"/>
              <a:t>(</a:t>
            </a:r>
            <a:r>
              <a:rPr lang="en-US" sz="2000" err="1"/>
              <a:t>PlayerId</a:t>
            </a:r>
            <a:r>
              <a:rPr lang="en-US" sz="2000"/>
              <a:t>)</a:t>
            </a:r>
          </a:p>
          <a:p>
            <a:pPr marL="914400" lvl="2" indent="-457200">
              <a:buFont typeface="Arial" panose="020B0604020202020204" pitchFamily="34" charset="0"/>
              <a:buChar char="•"/>
            </a:pPr>
            <a:r>
              <a:rPr lang="en-US" sz="2000" err="1"/>
              <a:t>GetGameById</a:t>
            </a:r>
            <a:r>
              <a:rPr lang="en-US" sz="2000"/>
              <a:t>(</a:t>
            </a:r>
            <a:r>
              <a:rPr lang="en-US" sz="2000" err="1"/>
              <a:t>GameId</a:t>
            </a:r>
            <a:r>
              <a:rPr lang="en-US" sz="2000"/>
              <a:t>)</a:t>
            </a:r>
          </a:p>
          <a:p>
            <a:pPr marL="914400" lvl="2" indent="-457200">
              <a:buFont typeface="Arial" panose="020B0604020202020204" pitchFamily="34" charset="0"/>
              <a:buChar char="•"/>
            </a:pPr>
            <a:r>
              <a:rPr lang="en-US" sz="2000" err="1"/>
              <a:t>AddGame</a:t>
            </a:r>
            <a:endParaRPr lang="en-US" sz="2000"/>
          </a:p>
          <a:p>
            <a:pPr marL="914400" lvl="2" indent="-457200">
              <a:buFont typeface="Arial" panose="020B0604020202020204" pitchFamily="34" charset="0"/>
              <a:buChar char="•"/>
            </a:pPr>
            <a:r>
              <a:rPr lang="en-US" sz="2000" err="1"/>
              <a:t>RemoveGame</a:t>
            </a:r>
            <a:endParaRPr lang="en-US" sz="2000"/>
          </a:p>
        </p:txBody>
      </p:sp>
    </p:spTree>
    <p:extLst>
      <p:ext uri="{BB962C8B-B14F-4D97-AF65-F5344CB8AC3E}">
        <p14:creationId xmlns:p14="http://schemas.microsoft.com/office/powerpoint/2010/main" val="2511861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Title 16">
            <a:extLst>
              <a:ext uri="{FF2B5EF4-FFF2-40B4-BE49-F238E27FC236}">
                <a16:creationId xmlns:a16="http://schemas.microsoft.com/office/drawing/2014/main" id="{1B0F14DB-9255-9144-857F-5D2BB867B49A}"/>
              </a:ext>
            </a:extLst>
          </p:cNvPr>
          <p:cNvSpPr txBox="1">
            <a:spLocks/>
          </p:cNvSpPr>
          <p:nvPr/>
        </p:nvSpPr>
        <p:spPr>
          <a:xfrm>
            <a:off x="470700" y="661152"/>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gradFill>
                  <a:gsLst>
                    <a:gs pos="1250">
                      <a:srgbClr val="1A1A1A"/>
                    </a:gs>
                    <a:gs pos="100000">
                      <a:srgbClr val="1A1A1A"/>
                    </a:gs>
                  </a:gsLst>
                  <a:lin ang="5400000" scaled="0"/>
                </a:gradFill>
                <a:latin typeface="Segoe UI Semibold"/>
              </a:rPr>
              <a:t>Multi-player gaming scenario</a:t>
            </a:r>
          </a:p>
        </p:txBody>
      </p:sp>
      <p:pic>
        <p:nvPicPr>
          <p:cNvPr id="11" name="Picture 10">
            <a:extLst>
              <a:ext uri="{FF2B5EF4-FFF2-40B4-BE49-F238E27FC236}">
                <a16:creationId xmlns:a16="http://schemas.microsoft.com/office/drawing/2014/main" id="{C3141400-B4A9-1A4D-9433-8D6D30CB9599}"/>
              </a:ext>
            </a:extLst>
          </p:cNvPr>
          <p:cNvPicPr>
            <a:picLocks noChangeAspect="1"/>
          </p:cNvPicPr>
          <p:nvPr/>
        </p:nvPicPr>
        <p:blipFill>
          <a:blip r:embed="rId3"/>
          <a:stretch>
            <a:fillRect/>
          </a:stretch>
        </p:blipFill>
        <p:spPr>
          <a:xfrm>
            <a:off x="470701" y="1538513"/>
            <a:ext cx="5021943" cy="5167506"/>
          </a:xfrm>
          <a:prstGeom prst="rect">
            <a:avLst/>
          </a:prstGeom>
        </p:spPr>
      </p:pic>
      <p:sp>
        <p:nvSpPr>
          <p:cNvPr id="8" name="Text Placeholder 5">
            <a:extLst>
              <a:ext uri="{FF2B5EF4-FFF2-40B4-BE49-F238E27FC236}">
                <a16:creationId xmlns:a16="http://schemas.microsoft.com/office/drawing/2014/main" id="{9B3344EA-9B0F-5045-94BD-8213CB213685}"/>
              </a:ext>
            </a:extLst>
          </p:cNvPr>
          <p:cNvSpPr>
            <a:spLocks noGrp="1"/>
          </p:cNvSpPr>
          <p:nvPr>
            <p:ph type="body" sz="quarter" idx="10"/>
          </p:nvPr>
        </p:nvSpPr>
        <p:spPr>
          <a:xfrm>
            <a:off x="5492644" y="1853952"/>
            <a:ext cx="6590719" cy="4339650"/>
          </a:xfrm>
        </p:spPr>
        <p:txBody>
          <a:bodyPr/>
          <a:lstStyle/>
          <a:p>
            <a:pPr marL="685800" lvl="1" indent="-457200">
              <a:buFont typeface="Arial" panose="020B0604020202020204" pitchFamily="34" charset="0"/>
              <a:buChar char="•"/>
            </a:pPr>
            <a:r>
              <a:rPr lang="en-US"/>
              <a:t>Partition key = Player Id is OK if mix is skewed towards Player calls</a:t>
            </a:r>
          </a:p>
          <a:p>
            <a:pPr marL="914400" lvl="2" indent="-457200">
              <a:buFont typeface="Arial" panose="020B0604020202020204" pitchFamily="34" charset="0"/>
              <a:buChar char="•"/>
            </a:pPr>
            <a:r>
              <a:rPr lang="en-US"/>
              <a:t>We do have an index on Game Id and Game calls will result in cross-partition queries</a:t>
            </a:r>
          </a:p>
          <a:p>
            <a:pPr marL="685800" lvl="1" indent="-457200">
              <a:buFont typeface="Arial" panose="020B0604020202020204" pitchFamily="34" charset="0"/>
              <a:buChar char="•"/>
            </a:pPr>
            <a:endParaRPr lang="en-US"/>
          </a:p>
          <a:p>
            <a:pPr marL="685800" lvl="1" indent="-457200">
              <a:buFont typeface="Arial" panose="020B0604020202020204" pitchFamily="34" charset="0"/>
              <a:buChar char="•"/>
            </a:pPr>
            <a:r>
              <a:rPr lang="en-US"/>
              <a:t>If mix is 50:50, then preferable to store two pivots of the same data by Player Id and Game Id</a:t>
            </a:r>
          </a:p>
          <a:p>
            <a:pPr marL="914400" lvl="2" indent="-457200">
              <a:buFont typeface="Arial" panose="020B0604020202020204" pitchFamily="34" charset="0"/>
              <a:buChar char="•"/>
            </a:pPr>
            <a:r>
              <a:rPr lang="en-US" b="1"/>
              <a:t>Note</a:t>
            </a:r>
            <a:r>
              <a:rPr lang="en-US"/>
              <a:t>: latency of x-partition query may be good enough (10s of </a:t>
            </a:r>
            <a:r>
              <a:rPr lang="en-US" err="1"/>
              <a:t>ms</a:t>
            </a:r>
            <a:r>
              <a:rPr lang="en-US"/>
              <a:t> for &lt;100 partitions) by using </a:t>
            </a:r>
            <a:r>
              <a:rPr lang="en-US" err="1"/>
              <a:t>MaxDegreeOfParallelism</a:t>
            </a:r>
            <a:r>
              <a:rPr lang="en-US"/>
              <a:t>, compared to ~1ms for GETs</a:t>
            </a:r>
          </a:p>
          <a:p>
            <a:pPr marL="685800" lvl="1" indent="-457200">
              <a:buFont typeface="Arial" panose="020B0604020202020204" pitchFamily="34" charset="0"/>
              <a:buChar char="•"/>
            </a:pPr>
            <a:endParaRPr lang="en-US"/>
          </a:p>
          <a:p>
            <a:pPr marL="685800" lvl="1" indent="-457200">
              <a:buFont typeface="Arial" panose="020B0604020202020204" pitchFamily="34" charset="0"/>
              <a:buChar char="•"/>
            </a:pPr>
            <a:r>
              <a:rPr lang="en-US"/>
              <a:t>How to avoid the perils of double-write?</a:t>
            </a:r>
          </a:p>
          <a:p>
            <a:pPr marL="914400" lvl="2" indent="-457200">
              <a:buFont typeface="Arial" panose="020B0604020202020204" pitchFamily="34" charset="0"/>
              <a:buChar char="•"/>
            </a:pPr>
            <a:r>
              <a:rPr lang="en-US" sz="1800"/>
              <a:t>Utilize change feed to auto-synchronize and keep copies up-to-date</a:t>
            </a:r>
          </a:p>
        </p:txBody>
      </p:sp>
    </p:spTree>
    <p:extLst>
      <p:ext uri="{BB962C8B-B14F-4D97-AF65-F5344CB8AC3E}">
        <p14:creationId xmlns:p14="http://schemas.microsoft.com/office/powerpoint/2010/main" val="3213073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5215" y="2765810"/>
            <a:ext cx="6772188" cy="997196"/>
          </a:xfrm>
        </p:spPr>
        <p:txBody>
          <a:bodyPr/>
          <a:lstStyle/>
          <a:p>
            <a:r>
              <a:rPr lang="en-US"/>
              <a:t>Monitoring your Cosmos DB usage</a:t>
            </a:r>
          </a:p>
        </p:txBody>
      </p:sp>
    </p:spTree>
    <p:extLst>
      <p:ext uri="{BB962C8B-B14F-4D97-AF65-F5344CB8AC3E}">
        <p14:creationId xmlns:p14="http://schemas.microsoft.com/office/powerpoint/2010/main" val="4252191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 name="Title 16">
            <a:extLst>
              <a:ext uri="{FF2B5EF4-FFF2-40B4-BE49-F238E27FC236}">
                <a16:creationId xmlns:a16="http://schemas.microsoft.com/office/drawing/2014/main" id="{BBF91C7E-713D-DD46-9C9B-28C42005E073}"/>
              </a:ext>
            </a:extLst>
          </p:cNvPr>
          <p:cNvSpPr>
            <a:spLocks noGrp="1"/>
          </p:cNvSpPr>
          <p:nvPr>
            <p:ph type="title"/>
          </p:nvPr>
        </p:nvSpPr>
        <p:spPr>
          <a:xfrm>
            <a:off x="588263" y="685800"/>
            <a:ext cx="11018520" cy="553998"/>
          </a:xfrm>
        </p:spPr>
        <p:txBody>
          <a:bodyPr/>
          <a:lstStyle/>
          <a:p>
            <a:r>
              <a:rPr lang="en-US"/>
              <a:t>Storage (Capacity) Metrics</a:t>
            </a:r>
          </a:p>
        </p:txBody>
      </p:sp>
      <p:pic>
        <p:nvPicPr>
          <p:cNvPr id="5" name="Picture 4">
            <a:extLst>
              <a:ext uri="{FF2B5EF4-FFF2-40B4-BE49-F238E27FC236}">
                <a16:creationId xmlns:a16="http://schemas.microsoft.com/office/drawing/2014/main" id="{C6E1F8B4-D266-B840-97CC-6DF4AD1073C0}"/>
              </a:ext>
            </a:extLst>
          </p:cNvPr>
          <p:cNvPicPr>
            <a:picLocks noChangeAspect="1"/>
          </p:cNvPicPr>
          <p:nvPr/>
        </p:nvPicPr>
        <p:blipFill>
          <a:blip r:embed="rId3"/>
          <a:stretch>
            <a:fillRect/>
          </a:stretch>
        </p:blipFill>
        <p:spPr>
          <a:xfrm>
            <a:off x="901856" y="1537192"/>
            <a:ext cx="10391335" cy="5333921"/>
          </a:xfrm>
          <a:prstGeom prst="rect">
            <a:avLst/>
          </a:prstGeom>
        </p:spPr>
      </p:pic>
    </p:spTree>
    <p:extLst>
      <p:ext uri="{BB962C8B-B14F-4D97-AF65-F5344CB8AC3E}">
        <p14:creationId xmlns:p14="http://schemas.microsoft.com/office/powerpoint/2010/main" val="4116640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IMING" val="|2|92.4|24.7|92.6"/>
</p:tagLst>
</file>

<file path=ppt/tags/tag11.xml><?xml version="1.0" encoding="utf-8"?>
<p:tagLst xmlns:a="http://schemas.openxmlformats.org/drawingml/2006/main" xmlns:r="http://schemas.openxmlformats.org/officeDocument/2006/relationships" xmlns:p="http://schemas.openxmlformats.org/presentationml/2006/main">
  <p:tag name="TIMING" val="|2|92.4|24.7|92.6"/>
</p:tagLst>
</file>

<file path=ppt/tags/tag12.xml><?xml version="1.0" encoding="utf-8"?>
<p:tagLst xmlns:a="http://schemas.openxmlformats.org/drawingml/2006/main" xmlns:r="http://schemas.openxmlformats.org/officeDocument/2006/relationships" xmlns:p="http://schemas.openxmlformats.org/presentationml/2006/main">
  <p:tag name="TIMING" val="|2|92.4|24.7|92.6"/>
</p:tagLst>
</file>

<file path=ppt/tags/tag13.xml><?xml version="1.0" encoding="utf-8"?>
<p:tagLst xmlns:a="http://schemas.openxmlformats.org/drawingml/2006/main" xmlns:r="http://schemas.openxmlformats.org/officeDocument/2006/relationships" xmlns:p="http://schemas.openxmlformats.org/presentationml/2006/main">
  <p:tag name="TIMING" val="|2|92.4|24.7|92.6"/>
</p:tagLst>
</file>

<file path=ppt/tags/tag14.xml><?xml version="1.0" encoding="utf-8"?>
<p:tagLst xmlns:a="http://schemas.openxmlformats.org/drawingml/2006/main" xmlns:r="http://schemas.openxmlformats.org/officeDocument/2006/relationships" xmlns:p="http://schemas.openxmlformats.org/presentationml/2006/main">
  <p:tag name="TIMING" val="|2|92.4|24.7|92.6"/>
</p:tagLst>
</file>

<file path=ppt/tags/tag15.xml><?xml version="1.0" encoding="utf-8"?>
<p:tagLst xmlns:a="http://schemas.openxmlformats.org/drawingml/2006/main" xmlns:r="http://schemas.openxmlformats.org/officeDocument/2006/relationships" xmlns:p="http://schemas.openxmlformats.org/presentationml/2006/main">
  <p:tag name="TIMING" val="|2|92.4|24.7|92.6"/>
</p:tagLst>
</file>

<file path=ppt/tags/tag16.xml><?xml version="1.0" encoding="utf-8"?>
<p:tagLst xmlns:a="http://schemas.openxmlformats.org/drawingml/2006/main" xmlns:r="http://schemas.openxmlformats.org/officeDocument/2006/relationships" xmlns:p="http://schemas.openxmlformats.org/presentationml/2006/main">
  <p:tag name="TIMING" val="|2|92.4|24.7|92.6"/>
</p:tagLst>
</file>

<file path=ppt/tags/tag17.xml><?xml version="1.0" encoding="utf-8"?>
<p:tagLst xmlns:a="http://schemas.openxmlformats.org/drawingml/2006/main" xmlns:r="http://schemas.openxmlformats.org/officeDocument/2006/relationships" xmlns:p="http://schemas.openxmlformats.org/presentationml/2006/main">
  <p:tag name="TIMING" val="|2|92.4|24.7|92.6"/>
</p:tagLst>
</file>

<file path=ppt/tags/tag18.xml><?xml version="1.0" encoding="utf-8"?>
<p:tagLst xmlns:a="http://schemas.openxmlformats.org/drawingml/2006/main" xmlns:r="http://schemas.openxmlformats.org/officeDocument/2006/relationships" xmlns:p="http://schemas.openxmlformats.org/presentationml/2006/main">
  <p:tag name="TIMING" val="|2|92.4|24.7|92.6"/>
</p:tagLst>
</file>

<file path=ppt/tags/tag19.xml><?xml version="1.0" encoding="utf-8"?>
<p:tagLst xmlns:a="http://schemas.openxmlformats.org/drawingml/2006/main" xmlns:r="http://schemas.openxmlformats.org/officeDocument/2006/relationships" xmlns:p="http://schemas.openxmlformats.org/presentationml/2006/main">
  <p:tag name="TIMING" val="|2|92.4|24.7|9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IMING" val="|2|92.4|24.7|92.6"/>
</p:tagLst>
</file>

<file path=ppt/tags/tag9.xml><?xml version="1.0" encoding="utf-8"?>
<p:tagLst xmlns:a="http://schemas.openxmlformats.org/drawingml/2006/main" xmlns:r="http://schemas.openxmlformats.org/officeDocument/2006/relationships" xmlns:p="http://schemas.openxmlformats.org/presentationml/2006/main">
  <p:tag name="TIMING" val="|2|92.4|24.7|92.6"/>
</p:tagLst>
</file>

<file path=ppt/theme/theme1.xml><?xml version="1.0" encoding="utf-8"?>
<a:theme xmlns:a="http://schemas.openxmlformats.org/drawingml/2006/main" name="TR18_BO_CT_Template_16x9">
  <a:themeElements>
    <a:clrScheme name="Aspect">
      <a:dk1>
        <a:sysClr val="windowText" lastClr="000000"/>
      </a:dk1>
      <a:lt1>
        <a:sysClr val="window" lastClr="FFFFFF"/>
      </a:lt1>
      <a:dk2>
        <a:srgbClr val="323232"/>
      </a:dk2>
      <a:lt2>
        <a:srgbClr val="E3DED1"/>
      </a:lt2>
      <a:accent1>
        <a:srgbClr val="F07F09"/>
      </a:accent1>
      <a:accent2>
        <a:srgbClr val="9F2936"/>
      </a:accent2>
      <a:accent3>
        <a:srgbClr val="1B587C"/>
      </a:accent3>
      <a:accent4>
        <a:srgbClr val="4E8542"/>
      </a:accent4>
      <a:accent5>
        <a:srgbClr val="604878"/>
      </a:accent5>
      <a:accent6>
        <a:srgbClr val="C19859"/>
      </a:accent6>
      <a:hlink>
        <a:srgbClr val="6B9F25"/>
      </a:hlink>
      <a:folHlink>
        <a:srgbClr val="B26B0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8_BO_CT_Template_16x9" id="{72FF5726-0C02-49D9-AC1A-772C33DADA29}" vid="{49FE85E7-FAD7-4C3F-AE53-D9BCA16F5F2C}"/>
    </a:ext>
  </a:extLst>
</a:theme>
</file>

<file path=ppt/theme/theme10.xml><?xml version="1.0" encoding="utf-8"?>
<a:theme xmlns:a="http://schemas.openxmlformats.org/drawingml/2006/main" name="build-keynote-theme">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keynote-theme" id="{D02130AE-FEC3-4E86-BE11-D7F448B882B0}" vid="{51E4B90D-E523-46BF-8DEB-8B7F2992F5C3}"/>
    </a:ext>
  </a:extLst>
</a:theme>
</file>

<file path=ppt/theme/theme11.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2.xml><?xml version="1.0" encoding="utf-8"?>
<a:theme xmlns:a="http://schemas.openxmlformats.org/drawingml/2006/main" name="1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5_Office Theme">
  <a:themeElements>
    <a:clrScheme name="Custom 7">
      <a:dk1>
        <a:srgbClr val="000000"/>
      </a:dk1>
      <a:lt1>
        <a:srgbClr val="FFFFFF"/>
      </a:lt1>
      <a:dk2>
        <a:srgbClr val="44546A"/>
      </a:dk2>
      <a:lt2>
        <a:srgbClr val="E7E6E6"/>
      </a:lt2>
      <a:accent1>
        <a:srgbClr val="59B4D9"/>
      </a:accent1>
      <a:accent2>
        <a:srgbClr val="BAD80A"/>
      </a:accent2>
      <a:accent3>
        <a:srgbClr val="3999C6"/>
      </a:accent3>
      <a:accent4>
        <a:srgbClr val="7FBA00"/>
      </a:accent4>
      <a:accent5>
        <a:srgbClr val="379AC7"/>
      </a:accent5>
      <a:accent6>
        <a:srgbClr val="70AD47"/>
      </a:accent6>
      <a:hlink>
        <a:srgbClr val="7FBA00"/>
      </a:hlink>
      <a:folHlink>
        <a:srgbClr val="B8D43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2_TR18_BO_CT_Template_16x9">
  <a:themeElements>
    <a:clrScheme name="Aspect">
      <a:dk1>
        <a:sysClr val="windowText" lastClr="000000"/>
      </a:dk1>
      <a:lt1>
        <a:sysClr val="window" lastClr="FFFFFF"/>
      </a:lt1>
      <a:dk2>
        <a:srgbClr val="323232"/>
      </a:dk2>
      <a:lt2>
        <a:srgbClr val="E3DED1"/>
      </a:lt2>
      <a:accent1>
        <a:srgbClr val="F07F09"/>
      </a:accent1>
      <a:accent2>
        <a:srgbClr val="9F2936"/>
      </a:accent2>
      <a:accent3>
        <a:srgbClr val="1B587C"/>
      </a:accent3>
      <a:accent4>
        <a:srgbClr val="4E8542"/>
      </a:accent4>
      <a:accent5>
        <a:srgbClr val="604878"/>
      </a:accent5>
      <a:accent6>
        <a:srgbClr val="C19859"/>
      </a:accent6>
      <a:hlink>
        <a:srgbClr val="6B9F25"/>
      </a:hlink>
      <a:folHlink>
        <a:srgbClr val="B26B0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8_BO_CT_Template_16x9" id="{72FF5726-0C02-49D9-AC1A-772C33DADA29}" vid="{49FE85E7-FAD7-4C3F-AE53-D9BCA16F5F2C}"/>
    </a:ext>
  </a:extLst>
</a:theme>
</file>

<file path=ppt/theme/theme15.xml><?xml version="1.0" encoding="utf-8"?>
<a:theme xmlns:a="http://schemas.openxmlformats.org/drawingml/2006/main" name="1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7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1_5-50111_Build 2017_LIGHT GRAY TEMPLATE">
  <a:themeElements>
    <a:clrScheme name="Build 2017 Colors">
      <a:dk1>
        <a:srgbClr val="505050"/>
      </a:dk1>
      <a:lt1>
        <a:srgbClr val="FFFFFF"/>
      </a:lt1>
      <a:dk2>
        <a:srgbClr val="0078D7"/>
      </a:dk2>
      <a:lt2>
        <a:srgbClr val="EAEAEA"/>
      </a:lt2>
      <a:accent1>
        <a:srgbClr val="0078D7"/>
      </a:accent1>
      <a:accent2>
        <a:srgbClr val="00BCF2"/>
      </a:accent2>
      <a:accent3>
        <a:srgbClr val="505050"/>
      </a:accent3>
      <a:accent4>
        <a:srgbClr val="002050"/>
      </a:accent4>
      <a:accent5>
        <a:srgbClr val="FFB900"/>
      </a:accent5>
      <a:accent6>
        <a:srgbClr val="D2D2D2"/>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2017_Template [Read-Only]" id="{6F4885E9-16BF-45DA-8043-52AF389A1A37}" vid="{06FBAB65-A9D9-4EC4-8519-C553F3EA738E}"/>
    </a:ext>
  </a:extLst>
</a:theme>
</file>

<file path=ppt/theme/theme18.xml><?xml version="1.0" encoding="utf-8"?>
<a:theme xmlns:a="http://schemas.openxmlformats.org/drawingml/2006/main" name="10_Office Theme">
  <a:themeElements>
    <a:clrScheme name="The Zero_Colorful Scheme">
      <a:dk1>
        <a:sysClr val="windowText" lastClr="000000"/>
      </a:dk1>
      <a:lt1>
        <a:sysClr val="window" lastClr="FFFFFF"/>
      </a:lt1>
      <a:dk2>
        <a:srgbClr val="2980B9"/>
      </a:dk2>
      <a:lt2>
        <a:srgbClr val="16A085"/>
      </a:lt2>
      <a:accent1>
        <a:srgbClr val="9BBB59"/>
      </a:accent1>
      <a:accent2>
        <a:srgbClr val="F39C12"/>
      </a:accent2>
      <a:accent3>
        <a:srgbClr val="C0392B"/>
      </a:accent3>
      <a:accent4>
        <a:srgbClr val="4B2C50"/>
      </a:accent4>
      <a:accent5>
        <a:srgbClr val="2C3E50"/>
      </a:accent5>
      <a:accent6>
        <a:srgbClr val="95A5A6"/>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15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The Zero_Colorful Scheme">
      <a:dk1>
        <a:sysClr val="windowText" lastClr="000000"/>
      </a:dk1>
      <a:lt1>
        <a:sysClr val="window" lastClr="FFFFFF"/>
      </a:lt1>
      <a:dk2>
        <a:srgbClr val="2980B9"/>
      </a:dk2>
      <a:lt2>
        <a:srgbClr val="16A085"/>
      </a:lt2>
      <a:accent1>
        <a:srgbClr val="9BBB59"/>
      </a:accent1>
      <a:accent2>
        <a:srgbClr val="F39C12"/>
      </a:accent2>
      <a:accent3>
        <a:srgbClr val="C0392B"/>
      </a:accent3>
      <a:accent4>
        <a:srgbClr val="4B2C50"/>
      </a:accent4>
      <a:accent5>
        <a:srgbClr val="2C3E50"/>
      </a:accent5>
      <a:accent6>
        <a:srgbClr val="95A5A6"/>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21.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2.xml><?xml version="1.0" encoding="utf-8"?>
<a:theme xmlns:a="http://schemas.openxmlformats.org/drawingml/2006/main" name="Office 테마">
  <a:themeElements>
    <a:clrScheme name="Office 테마">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테마">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테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3.xml><?xml version="1.0" encoding="utf-8"?>
<a:theme xmlns:a="http://schemas.openxmlformats.org/drawingml/2006/main" name="17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4.xml><?xml version="1.0" encoding="utf-8"?>
<a:theme xmlns:a="http://schemas.openxmlformats.org/drawingml/2006/main" name="CloudOS">
  <a:themeElements>
    <a:clrScheme name="Custom 38">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1192D97-C069-469D-919F-BDBFA53A12D0}"/>
    </a:ext>
  </a:extLst>
</a:theme>
</file>

<file path=ppt/theme/theme25.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5-5017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BABC4CDB-E230-49BE-A9F6-33781B02F17C}"/>
    </a:ext>
  </a:extLst>
</a:theme>
</file>

<file path=ppt/theme/theme27.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8.xml><?xml version="1.0" encoding="utf-8"?>
<a:theme xmlns:a="http://schemas.openxmlformats.org/drawingml/2006/main" name="WHITE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Segoe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29.xml><?xml version="1.0" encoding="utf-8"?>
<a:theme xmlns:a="http://schemas.openxmlformats.org/drawingml/2006/main" name="1_WHITE TEMPLATE">
  <a:themeElements>
    <a:clrScheme name="BT - Dk Blue on white - variety">
      <a:dk1>
        <a:srgbClr val="353535"/>
      </a:dk1>
      <a:lt1>
        <a:srgbClr val="FFFFFF"/>
      </a:lt1>
      <a:dk2>
        <a:srgbClr val="002050"/>
      </a:dk2>
      <a:lt2>
        <a:srgbClr val="EAEAEA"/>
      </a:lt2>
      <a:accent1>
        <a:srgbClr val="002050"/>
      </a:accent1>
      <a:accent2>
        <a:srgbClr val="0078D7"/>
      </a:accent2>
      <a:accent3>
        <a:srgbClr val="BAD80A"/>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09.potx" id="{0C6760A6-C74D-4A06-AB24-83E977DCDFF1}" vid="{A6FC7881-1F85-4BCF-9AE6-5C2B8AA977A6}"/>
    </a:ext>
  </a:extLst>
</a:theme>
</file>

<file path=ppt/theme/theme3.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0.xml><?xml version="1.0" encoding="utf-8"?>
<a:theme xmlns:a="http://schemas.openxmlformats.org/drawingml/2006/main" name="2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0.potx" id="{2B9D109A-B5EA-4192-A8BC-1B4175E7EC76}" vid="{220B14D8-9A3D-4FDC-8AEC-2FC02735BAD7}"/>
    </a:ext>
  </a:extLst>
</a:theme>
</file>

<file path=ppt/theme/theme31.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 id="{F4E7AC97-C3BC-4DAC-B23A-C0D4DABB7CB5}" vid="{F1FB81AB-2433-4475-9273-C3E09225E34D}"/>
    </a:ext>
  </a:extLst>
</a:theme>
</file>

<file path=ppt/theme/theme32.xml><?xml version="1.0" encoding="utf-8"?>
<a:theme xmlns:a="http://schemas.openxmlformats.org/drawingml/2006/main" name="4_WHITE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Segoe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3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7">
      <a:dk1>
        <a:srgbClr val="000000"/>
      </a:dk1>
      <a:lt1>
        <a:srgbClr val="FFFFFF"/>
      </a:lt1>
      <a:dk2>
        <a:srgbClr val="44546A"/>
      </a:dk2>
      <a:lt2>
        <a:srgbClr val="E7E6E6"/>
      </a:lt2>
      <a:accent1>
        <a:srgbClr val="59B4D9"/>
      </a:accent1>
      <a:accent2>
        <a:srgbClr val="BAD80A"/>
      </a:accent2>
      <a:accent3>
        <a:srgbClr val="3999C6"/>
      </a:accent3>
      <a:accent4>
        <a:srgbClr val="7FBA00"/>
      </a:accent4>
      <a:accent5>
        <a:srgbClr val="379AC7"/>
      </a:accent5>
      <a:accent6>
        <a:srgbClr val="70AD47"/>
      </a:accent6>
      <a:hlink>
        <a:srgbClr val="7FBA00"/>
      </a:hlink>
      <a:folHlink>
        <a:srgbClr val="B8D43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MS Brand White 16-9_Dec-2013">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6.xml><?xml version="1.0" encoding="utf-8"?>
<a:theme xmlns:a="http://schemas.openxmlformats.org/drawingml/2006/main" name="8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9_Office Theme">
  <a:themeElements>
    <a:clrScheme name="The Zero_Colorful Scheme">
      <a:dk1>
        <a:sysClr val="windowText" lastClr="000000"/>
      </a:dk1>
      <a:lt1>
        <a:sysClr val="window" lastClr="FFFFFF"/>
      </a:lt1>
      <a:dk2>
        <a:srgbClr val="2980B9"/>
      </a:dk2>
      <a:lt2>
        <a:srgbClr val="16A085"/>
      </a:lt2>
      <a:accent1>
        <a:srgbClr val="9BBB59"/>
      </a:accent1>
      <a:accent2>
        <a:srgbClr val="F39C12"/>
      </a:accent2>
      <a:accent3>
        <a:srgbClr val="C0392B"/>
      </a:accent3>
      <a:accent4>
        <a:srgbClr val="4B2C50"/>
      </a:accent4>
      <a:accent5>
        <a:srgbClr val="2C3E50"/>
      </a:accent5>
      <a:accent6>
        <a:srgbClr val="95A5A6"/>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3_Modern DW">
  <a:themeElements>
    <a:clrScheme name="Custom 21">
      <a:dk1>
        <a:srgbClr val="505050"/>
      </a:dk1>
      <a:lt1>
        <a:srgbClr val="FFFFFF"/>
      </a:lt1>
      <a:dk2>
        <a:srgbClr val="002050"/>
      </a:dk2>
      <a:lt2>
        <a:srgbClr val="70C7FF"/>
      </a:lt2>
      <a:accent1>
        <a:srgbClr val="0078D7"/>
      </a:accent1>
      <a:accent2>
        <a:srgbClr val="B4009E"/>
      </a:accent2>
      <a:accent3>
        <a:srgbClr val="107C10"/>
      </a:accent3>
      <a:accent4>
        <a:srgbClr val="5C2D91"/>
      </a:accent4>
      <a:accent5>
        <a:srgbClr val="008272"/>
      </a:accent5>
      <a:accent6>
        <a:srgbClr val="D83B01"/>
      </a:accent6>
      <a:hlink>
        <a:srgbClr val="70C7FF"/>
      </a:hlink>
      <a:folHlink>
        <a:srgbClr val="0078D7"/>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5-50111_Build 2017_LIGHT GRAY TEMPLATE">
  <a:themeElements>
    <a:clrScheme name="Build 2017 Colors">
      <a:dk1>
        <a:srgbClr val="505050"/>
      </a:dk1>
      <a:lt1>
        <a:srgbClr val="FFFFFF"/>
      </a:lt1>
      <a:dk2>
        <a:srgbClr val="0078D7"/>
      </a:dk2>
      <a:lt2>
        <a:srgbClr val="EAEAEA"/>
      </a:lt2>
      <a:accent1>
        <a:srgbClr val="0078D7"/>
      </a:accent1>
      <a:accent2>
        <a:srgbClr val="00BCF2"/>
      </a:accent2>
      <a:accent3>
        <a:srgbClr val="505050"/>
      </a:accent3>
      <a:accent4>
        <a:srgbClr val="002050"/>
      </a:accent4>
      <a:accent5>
        <a:srgbClr val="FFB900"/>
      </a:accent5>
      <a:accent6>
        <a:srgbClr val="D2D2D2"/>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2017_Template [Read-Only]" id="{6F4885E9-16BF-45DA-8043-52AF389A1A37}" vid="{06FBAB65-A9D9-4EC4-8519-C553F3EA738E}"/>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Control xmlns="http://schemas.microsoft.com/VisualStudio/2011/storyboarding/control">
  <Id Name="System.Storyboarding.Annotation.CallOut" Revision="1" Stencil="System.Storyboarding.Annotation" StencilVersion="0.1"/>
</Control>
</file>

<file path=customXml/item10.xml><?xml version="1.0" encoding="utf-8"?>
<Control xmlns="http://schemas.microsoft.com/VisualStudio/2011/storyboarding/control">
  <Id Name="System.Storyboarding.Annotation.CallOut" Revision="1" Stencil="System.Storyboarding.Annotation" StencilVersion="0.1"/>
</Control>
</file>

<file path=customXml/item11.xml><?xml version="1.0" encoding="utf-8"?>
<Control xmlns="http://schemas.microsoft.com/VisualStudio/2011/storyboarding/control">
  <Id Name="System.Storyboarding.Annotation.CallOut" Revision="1" Stencil="System.Storyboarding.Annotation" StencilVersion="0.1"/>
</Control>
</file>

<file path=customXml/item12.xml><?xml version="1.0" encoding="utf-8"?>
<Control xmlns="http://schemas.microsoft.com/VisualStudio/2011/storyboarding/control">
  <Id Name="fd7d7bed-114e-464c-a4f1-01a512005949" Revision="1" Stencil="System.MyShapes" StencilVersion="1.0"/>
</Control>
</file>

<file path=customXml/item13.xml><?xml version="1.0" encoding="utf-8"?>
<Control xmlns="http://schemas.microsoft.com/VisualStudio/2011/storyboarding/control">
  <Id Name="System.Storyboarding.Annotation.CallOut" Revision="1" Stencil="System.Storyboarding.Annotation" StencilVersion="0.1"/>
</Control>
</file>

<file path=customXml/item14.xml><?xml version="1.0" encoding="utf-8"?>
<?mso-contentType ?>
<FormTemplates xmlns="http://schemas.microsoft.com/sharepoint/v3/contenttype/forms">
  <Display>DocumentLibraryForm</Display>
  <Edit>DocumentLibraryForm</Edit>
  <New>DocumentLibraryForm</New>
</FormTemplates>
</file>

<file path=customXml/item15.xml><?xml version="1.0" encoding="utf-8"?>
<Control xmlns="http://schemas.microsoft.com/VisualStudio/2011/storyboarding/control">
  <Id Name="fd7d7bed-114e-464c-a4f1-01a512005949" Revision="1" Stencil="System.MyShapes" StencilVersion="1.0"/>
</Control>
</file>

<file path=customXml/item16.xml><?xml version="1.0" encoding="utf-8"?>
<Control xmlns="http://schemas.microsoft.com/VisualStudio/2011/storyboarding/control">
  <Id Name="System.Storyboarding.Annotation.CallOut" Revision="1" Stencil="System.Storyboarding.Annotation" StencilVersion="0.1"/>
</Control>
</file>

<file path=customXml/item17.xml><?xml version="1.0" encoding="utf-8"?>
<Control xmlns="http://schemas.microsoft.com/VisualStudio/2011/storyboarding/control">
  <Id Name="fd7d7bed-114e-464c-a4f1-01a512005949" Revision="1" Stencil="System.MyShapes" StencilVersion="1.0"/>
</Control>
</file>

<file path=customXml/item18.xml><?xml version="1.0" encoding="utf-8"?>
<ct:contentTypeSchema xmlns:ct="http://schemas.microsoft.com/office/2006/metadata/contentType" xmlns:ma="http://schemas.microsoft.com/office/2006/metadata/properties/metaAttributes" ct:_="" ma:_="" ma:contentTypeName="Document" ma:contentTypeID="0x01010018996E0C9A2CA649919627E4EAEA184F" ma:contentTypeVersion="2" ma:contentTypeDescription="Create a new document." ma:contentTypeScope="" ma:versionID="23da869f001948a7aaf137b202ed7cb4">
  <xsd:schema xmlns:xsd="http://www.w3.org/2001/XMLSchema" xmlns:xs="http://www.w3.org/2001/XMLSchema" xmlns:p="http://schemas.microsoft.com/office/2006/metadata/properties" xmlns:ns2="94ae2f3e-634b-45d1-8e0a-3cd1b3f35925" xmlns:ns3="230e9df3-be65-4c73-a93b-d1236ebd677e" targetNamespace="http://schemas.microsoft.com/office/2006/metadata/properties" ma:root="true" ma:fieldsID="d7995b47b7249af1c0a7f80ea16f0b1d" ns2:_="" ns3:_="">
    <xsd:import namespace="94ae2f3e-634b-45d1-8e0a-3cd1b3f35925"/>
    <xsd:import namespace="230e9df3-be65-4c73-a93b-d1236ebd677e"/>
    <xsd:element name="properties">
      <xsd:complexType>
        <xsd:sequence>
          <xsd:element name="documentManagement">
            <xsd:complexType>
              <xsd:all>
                <xsd:element ref="ns2:n6e34d96214948e4b0b59679315fd09c" minOccurs="0"/>
                <xsd:element ref="ns3:TaxCatchAll" minOccurs="0"/>
                <xsd:element ref="ns3:TaxCatchAllLabel" minOccurs="0"/>
                <xsd:element ref="ns2:Event_x0020_Name" minOccurs="0"/>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4ae2f3e-634b-45d1-8e0a-3cd1b3f35925" elementFormDefault="qualified">
    <xsd:import namespace="http://schemas.microsoft.com/office/2006/documentManagement/types"/>
    <xsd:import namespace="http://schemas.microsoft.com/office/infopath/2007/PartnerControls"/>
    <xsd:element name="n6e34d96214948e4b0b59679315fd09c" ma:index="8" nillable="true" ma:taxonomy="true" ma:internalName="n6e34d96214948e4b0b59679315fd09c" ma:taxonomyFieldName="Community" ma:displayName="Community" ma:default="" ma:fieldId="{76e34d96-2149-48e4-b0b5-9679315fd09c}" ma:taxonomyMulti="true" ma:sspId="e385fb40-52d4-4fae-9c5b-3e8ff8a5878e" ma:termSetId="6b4b0b55-cf41-4ab9-bc84-658b4a4b0c13" ma:anchorId="00000000-0000-0000-0000-000000000000" ma:open="false" ma:isKeyword="false">
      <xsd:complexType>
        <xsd:sequence>
          <xsd:element ref="pc:Terms" minOccurs="0" maxOccurs="1"/>
        </xsd:sequence>
      </xsd:complexType>
    </xsd:element>
    <xsd:element name="Event_x0020_Name" ma:index="12" nillable="true" ma:displayName="Event Name" ma:list="{21021c26-4f53-49a7-b9bd-48c6f8856e6d}" ma:internalName="Event_x0020_Name" ma:showField="Title" ma:web="94ae2f3e-634b-45d1-8e0a-3cd1b3f35925">
      <xsd:simpleType>
        <xsd:restriction base="dms:Lookup"/>
      </xsd:simpleType>
    </xsd:element>
    <xsd:element name="SharedWithUsers" ma:index="13"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description="" ma:hidden="true" ma:list="{5cbac0fd-a36a-45d1-a162-9fe00c48345f}" ma:internalName="TaxCatchAll" ma:showField="CatchAllData" ma:web="94ae2f3e-634b-45d1-8e0a-3cd1b3f35925">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5cbac0fd-a36a-45d1-a162-9fe00c48345f}" ma:internalName="TaxCatchAllLabel" ma:readOnly="true" ma:showField="CatchAllDataLabel" ma:web="94ae2f3e-634b-45d1-8e0a-3cd1b3f3592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9.xml><?xml version="1.0" encoding="utf-8"?>
<Control xmlns="http://schemas.microsoft.com/VisualStudio/2011/storyboarding/control">
  <Id Name="fd7d7bed-114e-464c-a4f1-01a512005949" Revision="1" Stencil="System.MyShapes" StencilVersion="1.0"/>
</Control>
</file>

<file path=customXml/item2.xml><?xml version="1.0" encoding="utf-8"?>
<Control xmlns="http://schemas.microsoft.com/VisualStudio/2011/storyboarding/control">
  <Id Name="System.Storyboarding.Annotation.CallOut" Revision="1" Stencil="System.Storyboarding.Annotation" StencilVersion="0.1"/>
</Control>
</file>

<file path=customXml/item3.xml><?xml version="1.0" encoding="utf-8"?>
<Control xmlns="http://schemas.microsoft.com/VisualStudio/2011/storyboarding/control">
  <Id Name="System.Storyboarding.Annotation.CallOut" Revision="1" Stencil="System.Storyboarding.Annotation" StencilVersion="0.1"/>
</Control>
</file>

<file path=customXml/item4.xml><?xml version="1.0" encoding="utf-8"?>
<Control xmlns="http://schemas.microsoft.com/VisualStudio/2011/storyboarding/control">
  <Id Name="System.Storyboarding.Annotation.CallOut" Revision="1" Stencil="System.Storyboarding.Annotation" StencilVersion="0.1"/>
</Control>
</file>

<file path=customXml/item5.xml><?xml version="1.0" encoding="utf-8"?>
<Control xmlns="http://schemas.microsoft.com/VisualStudio/2011/storyboarding/control">
  <Id Name="fd7d7bed-114e-464c-a4f1-01a512005949" Revision="1" Stencil="System.MyShapes" StencilVersion="1.0"/>
</Control>
</file>

<file path=customXml/item6.xml><?xml version="1.0" encoding="utf-8"?>
<p:properties xmlns:p="http://schemas.microsoft.com/office/2006/metadata/properties" xmlns:xsi="http://www.w3.org/2001/XMLSchema-instance" xmlns:pc="http://schemas.microsoft.com/office/infopath/2007/PartnerControls">
  <documentManagement>
    <n6e34d96214948e4b0b59679315fd09c xmlns="94ae2f3e-634b-45d1-8e0a-3cd1b3f35925">
      <Terms xmlns="http://schemas.microsoft.com/office/infopath/2007/PartnerControls"/>
    </n6e34d96214948e4b0b59679315fd09c>
    <TaxCatchAll xmlns="230e9df3-be65-4c73-a93b-d1236ebd677e"/>
    <Event_x0020_Name xmlns="94ae2f3e-634b-45d1-8e0a-3cd1b3f35925" xsi:nil="true"/>
    <SharedWithUsers xmlns="94ae2f3e-634b-45d1-8e0a-3cd1b3f35925">
      <UserInfo>
        <DisplayName>Eric Good</DisplayName>
        <AccountId>580</AccountId>
        <AccountType/>
      </UserInfo>
      <UserInfo>
        <DisplayName>Sean Sutton</DisplayName>
        <AccountId>5259</AccountId>
        <AccountType/>
      </UserInfo>
      <UserInfo>
        <DisplayName>Mark Russinovich</DisplayName>
        <AccountId>122</AccountId>
        <AccountType/>
      </UserInfo>
      <UserInfo>
        <DisplayName>Tad Brockway</DisplayName>
        <AccountId>25</AccountId>
        <AccountType/>
      </UserInfo>
      <UserInfo>
        <DisplayName>Sreenivas Shetty</DisplayName>
        <AccountId>26</AccountId>
        <AccountType/>
      </UserInfo>
      <UserInfo>
        <DisplayName>Mike Miles</DisplayName>
        <AccountId>3209</AccountId>
        <AccountType/>
      </UserInfo>
    </SharedWithUsers>
  </documentManagement>
</p:properties>
</file>

<file path=customXml/item7.xml><?xml version="1.0" encoding="utf-8"?>
<Control xmlns="http://schemas.microsoft.com/VisualStudio/2011/storyboarding/control">
  <Id Name="fd7d7bed-114e-464c-a4f1-01a512005949" Revision="1" Stencil="System.MyShapes" StencilVersion="1.0"/>
</Control>
</file>

<file path=customXml/item8.xml><?xml version="1.0" encoding="utf-8"?>
<Control xmlns="http://schemas.microsoft.com/VisualStudio/2011/storyboarding/control">
  <Id Name="fd7d7bed-114e-464c-a4f1-01a512005949" Revision="1" Stencil="System.MyShapes" StencilVersion="1.0"/>
</Control>
</file>

<file path=customXml/item9.xml><?xml version="1.0" encoding="utf-8"?>
<Control xmlns="http://schemas.microsoft.com/VisualStudio/2011/storyboarding/control">
  <Id Name="fd7d7bed-114e-464c-a4f1-01a512005949" Revision="1" Stencil="System.MyShapes" StencilVersion="1.0"/>
</Control>
</file>

<file path=customXml/itemProps1.xml><?xml version="1.0" encoding="utf-8"?>
<ds:datastoreItem xmlns:ds="http://schemas.openxmlformats.org/officeDocument/2006/customXml" ds:itemID="{7B28E8C9-B3FB-4D4D-9EC2-3BD1723AF8FA}">
  <ds:schemaRefs>
    <ds:schemaRef ds:uri="http://schemas.microsoft.com/VisualStudio/2011/storyboarding/control"/>
  </ds:schemaRefs>
</ds:datastoreItem>
</file>

<file path=customXml/itemProps10.xml><?xml version="1.0" encoding="utf-8"?>
<ds:datastoreItem xmlns:ds="http://schemas.openxmlformats.org/officeDocument/2006/customXml" ds:itemID="{9E3BD7DD-E19D-4DC6-AFD1-13E4E2A012C3}">
  <ds:schemaRefs>
    <ds:schemaRef ds:uri="http://schemas.microsoft.com/VisualStudio/2011/storyboarding/control"/>
  </ds:schemaRefs>
</ds:datastoreItem>
</file>

<file path=customXml/itemProps11.xml><?xml version="1.0" encoding="utf-8"?>
<ds:datastoreItem xmlns:ds="http://schemas.openxmlformats.org/officeDocument/2006/customXml" ds:itemID="{231AB6EC-F375-41B3-925E-616B22577D97}">
  <ds:schemaRefs>
    <ds:schemaRef ds:uri="http://schemas.microsoft.com/VisualStudio/2011/storyboarding/control"/>
  </ds:schemaRefs>
</ds:datastoreItem>
</file>

<file path=customXml/itemProps12.xml><?xml version="1.0" encoding="utf-8"?>
<ds:datastoreItem xmlns:ds="http://schemas.openxmlformats.org/officeDocument/2006/customXml" ds:itemID="{9CD5DDFE-63FA-47B7-9A1B-4E842D4662AE}">
  <ds:schemaRefs>
    <ds:schemaRef ds:uri="http://schemas.microsoft.com/VisualStudio/2011/storyboarding/control"/>
  </ds:schemaRefs>
</ds:datastoreItem>
</file>

<file path=customXml/itemProps13.xml><?xml version="1.0" encoding="utf-8"?>
<ds:datastoreItem xmlns:ds="http://schemas.openxmlformats.org/officeDocument/2006/customXml" ds:itemID="{9A978F0D-91BD-4EA9-A3DD-11CED29F631D}">
  <ds:schemaRefs>
    <ds:schemaRef ds:uri="http://schemas.microsoft.com/VisualStudio/2011/storyboarding/control"/>
  </ds:schemaRefs>
</ds:datastoreItem>
</file>

<file path=customXml/itemProps14.xml><?xml version="1.0" encoding="utf-8"?>
<ds:datastoreItem xmlns:ds="http://schemas.openxmlformats.org/officeDocument/2006/customXml" ds:itemID="{D9EE4615-8CD3-4053-B53B-B80F63AD1555}">
  <ds:schemaRefs>
    <ds:schemaRef ds:uri="http://schemas.microsoft.com/sharepoint/v3/contenttype/forms"/>
  </ds:schemaRefs>
</ds:datastoreItem>
</file>

<file path=customXml/itemProps15.xml><?xml version="1.0" encoding="utf-8"?>
<ds:datastoreItem xmlns:ds="http://schemas.openxmlformats.org/officeDocument/2006/customXml" ds:itemID="{19E8A229-EE1C-40CB-A85D-EE9F8923DEA5}">
  <ds:schemaRefs>
    <ds:schemaRef ds:uri="http://schemas.microsoft.com/VisualStudio/2011/storyboarding/control"/>
  </ds:schemaRefs>
</ds:datastoreItem>
</file>

<file path=customXml/itemProps16.xml><?xml version="1.0" encoding="utf-8"?>
<ds:datastoreItem xmlns:ds="http://schemas.openxmlformats.org/officeDocument/2006/customXml" ds:itemID="{2F077CC0-777B-4AF5-87ED-05AE65DA7D43}">
  <ds:schemaRefs>
    <ds:schemaRef ds:uri="http://schemas.microsoft.com/VisualStudio/2011/storyboarding/control"/>
  </ds:schemaRefs>
</ds:datastoreItem>
</file>

<file path=customXml/itemProps17.xml><?xml version="1.0" encoding="utf-8"?>
<ds:datastoreItem xmlns:ds="http://schemas.openxmlformats.org/officeDocument/2006/customXml" ds:itemID="{281869E7-6C24-4F28-A8FE-C2DD81FC8389}">
  <ds:schemaRefs>
    <ds:schemaRef ds:uri="http://schemas.microsoft.com/VisualStudio/2011/storyboarding/control"/>
  </ds:schemaRefs>
</ds:datastoreItem>
</file>

<file path=customXml/itemProps18.xml><?xml version="1.0" encoding="utf-8"?>
<ds:datastoreItem xmlns:ds="http://schemas.openxmlformats.org/officeDocument/2006/customXml" ds:itemID="{5C1D2E16-923B-407F-BE9F-5AC33BEE317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4ae2f3e-634b-45d1-8e0a-3cd1b3f35925"/>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9.xml><?xml version="1.0" encoding="utf-8"?>
<ds:datastoreItem xmlns:ds="http://schemas.openxmlformats.org/officeDocument/2006/customXml" ds:itemID="{C7EDCA1C-3AE3-4E6E-B003-4575CE9AB597}">
  <ds:schemaRefs>
    <ds:schemaRef ds:uri="http://schemas.microsoft.com/VisualStudio/2011/storyboarding/control"/>
  </ds:schemaRefs>
</ds:datastoreItem>
</file>

<file path=customXml/itemProps2.xml><?xml version="1.0" encoding="utf-8"?>
<ds:datastoreItem xmlns:ds="http://schemas.openxmlformats.org/officeDocument/2006/customXml" ds:itemID="{1D52B550-71C0-4E61-95E2-514221458F73}">
  <ds:schemaRefs>
    <ds:schemaRef ds:uri="http://schemas.microsoft.com/VisualStudio/2011/storyboarding/control"/>
  </ds:schemaRefs>
</ds:datastoreItem>
</file>

<file path=customXml/itemProps3.xml><?xml version="1.0" encoding="utf-8"?>
<ds:datastoreItem xmlns:ds="http://schemas.openxmlformats.org/officeDocument/2006/customXml" ds:itemID="{7F2D66D0-5E88-4779-B5E0-6F7B39B2E2A4}">
  <ds:schemaRefs>
    <ds:schemaRef ds:uri="http://schemas.microsoft.com/VisualStudio/2011/storyboarding/control"/>
  </ds:schemaRefs>
</ds:datastoreItem>
</file>

<file path=customXml/itemProps4.xml><?xml version="1.0" encoding="utf-8"?>
<ds:datastoreItem xmlns:ds="http://schemas.openxmlformats.org/officeDocument/2006/customXml" ds:itemID="{B9DA7424-9562-4F94-AD96-82A36D4FFC6B}">
  <ds:schemaRefs>
    <ds:schemaRef ds:uri="http://schemas.microsoft.com/VisualStudio/2011/storyboarding/control"/>
  </ds:schemaRefs>
</ds:datastoreItem>
</file>

<file path=customXml/itemProps5.xml><?xml version="1.0" encoding="utf-8"?>
<ds:datastoreItem xmlns:ds="http://schemas.openxmlformats.org/officeDocument/2006/customXml" ds:itemID="{15ECFF19-0E00-4FFC-927F-0A2240AD7EE7}">
  <ds:schemaRefs>
    <ds:schemaRef ds:uri="http://schemas.microsoft.com/VisualStudio/2011/storyboarding/control"/>
  </ds:schemaRefs>
</ds:datastoreItem>
</file>

<file path=customXml/itemProps6.xml><?xml version="1.0" encoding="utf-8"?>
<ds:datastoreItem xmlns:ds="http://schemas.openxmlformats.org/officeDocument/2006/customXml" ds:itemID="{20FB917B-07A0-40A6-AA2C-12D9EFCB456E}">
  <ds:schemaRefs>
    <ds:schemaRef ds:uri="230e9df3-be65-4c73-a93b-d1236ebd677e"/>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94ae2f3e-634b-45d1-8e0a-3cd1b3f35925"/>
    <ds:schemaRef ds:uri="http://www.w3.org/XML/1998/namespace"/>
    <ds:schemaRef ds:uri="http://purl.org/dc/dcmitype/"/>
  </ds:schemaRefs>
</ds:datastoreItem>
</file>

<file path=customXml/itemProps7.xml><?xml version="1.0" encoding="utf-8"?>
<ds:datastoreItem xmlns:ds="http://schemas.openxmlformats.org/officeDocument/2006/customXml" ds:itemID="{1CF1E59F-C443-4632-B0ED-87DBE321E2F5}">
  <ds:schemaRefs>
    <ds:schemaRef ds:uri="http://schemas.microsoft.com/VisualStudio/2011/storyboarding/control"/>
  </ds:schemaRefs>
</ds:datastoreItem>
</file>

<file path=customXml/itemProps8.xml><?xml version="1.0" encoding="utf-8"?>
<ds:datastoreItem xmlns:ds="http://schemas.openxmlformats.org/officeDocument/2006/customXml" ds:itemID="{D82A573E-3F86-406F-9689-B00DF68F7FE6}">
  <ds:schemaRefs>
    <ds:schemaRef ds:uri="http://schemas.microsoft.com/VisualStudio/2011/storyboarding/control"/>
  </ds:schemaRefs>
</ds:datastoreItem>
</file>

<file path=customXml/itemProps9.xml><?xml version="1.0" encoding="utf-8"?>
<ds:datastoreItem xmlns:ds="http://schemas.openxmlformats.org/officeDocument/2006/customXml" ds:itemID="{6E911CCB-C95C-4E37-8779-190905CC093A}">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
  <TotalTime>30825</TotalTime>
  <Words>11989</Words>
  <Application>Microsoft Office PowerPoint</Application>
  <PresentationFormat>Custom</PresentationFormat>
  <Paragraphs>2198</Paragraphs>
  <Slides>156</Slides>
  <Notes>142</Notes>
  <HiddenSlides>24</HiddenSlides>
  <MMClips>0</MMClips>
  <ScaleCrop>false</ScaleCrop>
  <HeadingPairs>
    <vt:vector size="8" baseType="variant">
      <vt:variant>
        <vt:lpstr>Fonts Used</vt:lpstr>
      </vt:variant>
      <vt:variant>
        <vt:i4>25</vt:i4>
      </vt:variant>
      <vt:variant>
        <vt:lpstr>Theme</vt:lpstr>
      </vt:variant>
      <vt:variant>
        <vt:i4>32</vt:i4>
      </vt:variant>
      <vt:variant>
        <vt:lpstr>Embedded OLE Servers</vt:lpstr>
      </vt:variant>
      <vt:variant>
        <vt:i4>1</vt:i4>
      </vt:variant>
      <vt:variant>
        <vt:lpstr>Slide Titles</vt:lpstr>
      </vt:variant>
      <vt:variant>
        <vt:i4>156</vt:i4>
      </vt:variant>
    </vt:vector>
  </HeadingPairs>
  <TitlesOfParts>
    <vt:vector size="214" baseType="lpstr">
      <vt:lpstr>맑은 고딕</vt:lpstr>
      <vt:lpstr>2Dumb</vt:lpstr>
      <vt:lpstr>Arial</vt:lpstr>
      <vt:lpstr>Calibri</vt:lpstr>
      <vt:lpstr>Calibri Light</vt:lpstr>
      <vt:lpstr>Cambria Math</vt:lpstr>
      <vt:lpstr>Consolas</vt:lpstr>
      <vt:lpstr>Courier New</vt:lpstr>
      <vt:lpstr>EMprint</vt:lpstr>
      <vt:lpstr>Gill Sans</vt:lpstr>
      <vt:lpstr>Helvetica Light</vt:lpstr>
      <vt:lpstr>Helvetica Neue</vt:lpstr>
      <vt:lpstr>Lucida Console</vt:lpstr>
      <vt:lpstr>Mathlete Bulky</vt:lpstr>
      <vt:lpstr>Segoe Light</vt:lpstr>
      <vt:lpstr>Segoe Semibold</vt:lpstr>
      <vt:lpstr>Segoe UI</vt:lpstr>
      <vt:lpstr>Segoe UI Black</vt:lpstr>
      <vt:lpstr>Segoe UI Light</vt:lpstr>
      <vt:lpstr>Segoe UI Semibold</vt:lpstr>
      <vt:lpstr>Segoe UI Semilight</vt:lpstr>
      <vt:lpstr>Symbol</vt:lpstr>
      <vt:lpstr>Tahoma</vt:lpstr>
      <vt:lpstr>Times New Roman</vt:lpstr>
      <vt:lpstr>Wingdings</vt:lpstr>
      <vt:lpstr>TR18_BO_CT_Template_16x9</vt:lpstr>
      <vt:lpstr>2_Office Theme</vt:lpstr>
      <vt:lpstr>3_Office Theme</vt:lpstr>
      <vt:lpstr>Office Theme</vt:lpstr>
      <vt:lpstr>MS Brand White 16-9_Dec-2013</vt:lpstr>
      <vt:lpstr>8_Office Theme</vt:lpstr>
      <vt:lpstr>9_Office Theme</vt:lpstr>
      <vt:lpstr>3_Modern DW</vt:lpstr>
      <vt:lpstr>5-50111_Build 2017_LIGHT GRAY TEMPLATE</vt:lpstr>
      <vt:lpstr>build-keynote-theme</vt:lpstr>
      <vt:lpstr>5-50033_TR23_BO_CT_Template</vt:lpstr>
      <vt:lpstr>11_Office Theme</vt:lpstr>
      <vt:lpstr>5_Office Theme</vt:lpstr>
      <vt:lpstr>2_TR18_BO_CT_Template_16x9</vt:lpstr>
      <vt:lpstr>12_Office Theme</vt:lpstr>
      <vt:lpstr>7_Office Theme</vt:lpstr>
      <vt:lpstr>1_5-50111_Build 2017_LIGHT GRAY TEMPLATE</vt:lpstr>
      <vt:lpstr>10_Office Theme</vt:lpstr>
      <vt:lpstr>15_Office Theme</vt:lpstr>
      <vt:lpstr>5-30610_Microsoft_Ignite_Keynote_Template</vt:lpstr>
      <vt:lpstr>4_Office Theme</vt:lpstr>
      <vt:lpstr>Office 테마</vt:lpstr>
      <vt:lpstr>17_Office Theme</vt:lpstr>
      <vt:lpstr>CloudOS</vt:lpstr>
      <vt:lpstr>6_Office Theme</vt:lpstr>
      <vt:lpstr>5-50173_Microsoft_Ready_Light_Template</vt:lpstr>
      <vt:lpstr>1_Office Theme</vt:lpstr>
      <vt:lpstr>WHITE TEMPLATE</vt:lpstr>
      <vt:lpstr>1_WHITE TEMPLATE</vt:lpstr>
      <vt:lpstr>2_WHITE TEMPLATE</vt:lpstr>
      <vt:lpstr>5-50203_Microsoft_Ignite_Template</vt:lpstr>
      <vt:lpstr>4_WHITE TEMPLATE</vt:lpstr>
      <vt:lpstr>think-cell Slide</vt:lpstr>
      <vt:lpstr>PowerPoint Presentation</vt:lpstr>
      <vt:lpstr>PowerPoint Presentation</vt:lpstr>
      <vt:lpstr>PowerPoint Presentation</vt:lpstr>
      <vt:lpstr>PowerPoint Presentation</vt:lpstr>
      <vt:lpstr>PowerPoint Presentation</vt:lpstr>
      <vt:lpstr>Azure Cosmos DB</vt:lpstr>
      <vt:lpstr>Why Azure Cosmos DB?</vt:lpstr>
      <vt:lpstr>PowerPoint Presentation</vt:lpstr>
      <vt:lpstr>Cosmos DB By Industries (Our Customers)</vt:lpstr>
      <vt:lpstr>Industry Use Cases </vt:lpstr>
      <vt:lpstr>Some Recent Customer Use Cases</vt:lpstr>
      <vt:lpstr>PowerPoint Presentation</vt:lpstr>
      <vt:lpstr>Demo page</vt:lpstr>
      <vt:lpstr>PowerPoint Presentation</vt:lpstr>
      <vt:lpstr>PowerPoint Presentation</vt:lpstr>
      <vt:lpstr>System topology (physical)</vt:lpstr>
      <vt:lpstr>PowerPoint Presentation</vt:lpstr>
      <vt:lpstr>Azure Cosmos DB A globally distributed, massively scalable, multi-model database service</vt:lpstr>
      <vt:lpstr>PowerPoint Presentation</vt:lpstr>
      <vt:lpstr>Global distribution from the ground-up</vt:lpstr>
      <vt:lpstr>Azure Cosmos DB Multi-Master</vt:lpstr>
      <vt:lpstr>PowerPoint Presentation</vt:lpstr>
      <vt:lpstr>Azure Cosmos DB A globally distributed, massively scalable, multi-model database service</vt:lpstr>
      <vt:lpstr>Elastic Scaleout </vt:lpstr>
      <vt:lpstr>PowerPoint Presentation</vt:lpstr>
      <vt:lpstr>System Desig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ystem Design - Elastic Scale</vt:lpstr>
      <vt:lpstr>PowerPoint Presentation</vt:lpstr>
      <vt:lpstr>PowerPoint Presentation</vt:lpstr>
      <vt:lpstr>System Design - Global Distribution </vt:lpstr>
      <vt:lpstr>PowerPoint Presentation</vt:lpstr>
      <vt:lpstr>PowerPoint Presentation</vt:lpstr>
      <vt:lpstr>Azure Cosmos DB A globally distributed, massively scalable, multi-model database service</vt:lpstr>
      <vt:lpstr>Guaranteed Low Latency</vt:lpstr>
      <vt:lpstr>PowerPoint Presentation</vt:lpstr>
      <vt:lpstr>PowerPoint Presentation</vt:lpstr>
      <vt:lpstr>Azure Cosmos DB A globally distributed, massively scalable, multi-model database service</vt:lpstr>
      <vt:lpstr>Programmable Data Consistency </vt:lpstr>
      <vt:lpstr>The wild west of consistency models…</vt:lpstr>
      <vt:lpstr>Choices of Consistency </vt:lpstr>
      <vt:lpstr>Choices of Consistency </vt:lpstr>
      <vt:lpstr>Insights from production workloads</vt:lpstr>
      <vt:lpstr>PowerPoint Presentation</vt:lpstr>
      <vt:lpstr>Choosing the Right Consistency Level </vt:lpstr>
      <vt:lpstr>If you are interacting with Cosmos DB via any of the Cassandra, MongoDB and Gremlin client drivers,  </vt:lpstr>
      <vt:lpstr>PowerPoint Presentation</vt:lpstr>
      <vt:lpstr>Azure Cosmos DB A globally distributed, massively scalable, multi-model database service</vt:lpstr>
      <vt:lpstr>PowerPoint Presentation</vt:lpstr>
      <vt:lpstr>Comprehensive SLAs</vt:lpstr>
      <vt:lpstr>PowerPoint Presentation</vt:lpstr>
      <vt:lpstr>Azure Cosmos DB A globally distributed, massively scalable, multi-model database service</vt:lpstr>
      <vt:lpstr>PowerPoint Presentation</vt:lpstr>
      <vt:lpstr>Why Multi-Model?</vt:lpstr>
      <vt:lpstr>Native Support for Multiple Data Models</vt:lpstr>
      <vt:lpstr>PowerPoint Presentation</vt:lpstr>
      <vt:lpstr>How To Do Multi-Model</vt:lpstr>
      <vt:lpstr>Azure Cosmos DB A globally distributed, massively scalable, multi-model database service</vt:lpstr>
      <vt:lpstr>What Does our API Strategy Enable?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vent Sourcing for Microservices</vt:lpstr>
      <vt:lpstr>Materializing Views</vt:lpstr>
      <vt:lpstr>Replicating Dat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dvanced Azure Cosmos DB: Design patterns, tips and tricks</vt:lpstr>
      <vt:lpstr>Building an application using the core SQL API</vt:lpstr>
      <vt:lpstr>PowerPoint Presentation</vt:lpstr>
      <vt:lpstr>PowerPoint Presentation</vt:lpstr>
      <vt:lpstr>PowerPoint Presentation</vt:lpstr>
      <vt:lpstr>PowerPoint Presentation</vt:lpstr>
      <vt:lpstr>PowerPoint Presentation</vt:lpstr>
      <vt:lpstr>Monitoring your Cosmos DB usage</vt:lpstr>
      <vt:lpstr>Storage (Capacity) Metrics</vt:lpstr>
      <vt:lpstr>PowerPoint Presentation</vt:lpstr>
      <vt:lpstr>PowerPoint Presentation</vt:lpstr>
      <vt:lpstr>Storage – large documents – how to?</vt:lpstr>
      <vt:lpstr>Storage – large partition keys &gt; 10GB</vt:lpstr>
      <vt:lpstr>Monitoring throughput metrics</vt:lpstr>
      <vt:lpstr>Logging your application performance (Cosmos DB dependency)</vt:lpstr>
      <vt:lpstr>Analyzing Query Performance</vt:lpstr>
      <vt:lpstr>Profile your application at steady state to provision RU/s</vt:lpstr>
      <vt:lpstr>Building event driven architectures using Azure Cosmos DB Change Feed</vt:lpstr>
      <vt:lpstr>PowerPoint Presentation</vt:lpstr>
      <vt:lpstr>PowerPoint Presentation</vt:lpstr>
      <vt:lpstr>Demo: Real time financial securities inventory processing</vt:lpstr>
      <vt:lpstr>Real-time big data processing on Azure Cosmos DB</vt:lpstr>
      <vt:lpstr>PowerPoint Presentation</vt:lpstr>
      <vt:lpstr>Lambda architecture</vt:lpstr>
      <vt:lpstr>Kappa architecture</vt:lpstr>
      <vt:lpstr>Lambda vs Kappa ?</vt:lpstr>
      <vt:lpstr>Great! So how do we implement such a Lambda pipeline efficiently?</vt:lpstr>
      <vt:lpstr>Azure Cosmos DB &lt;3 Apache Spark</vt:lpstr>
      <vt:lpstr>Achieving Lambda with minimal moving parts using Azure Cosmos DB and Apache Spark</vt:lpstr>
      <vt:lpstr>Let’s consider a smart building scenario</vt:lpstr>
      <vt:lpstr>Streaming at scale in Azure demo</vt:lpstr>
      <vt:lpstr>PowerPoint Presentation</vt:lpstr>
      <vt:lpstr>Flexibility in modelling time series data on Azure Cosmos DB</vt:lpstr>
      <vt:lpstr>PowerPoint Presentation</vt:lpstr>
      <vt:lpstr>PowerPoint Presentation</vt:lpstr>
      <vt:lpstr>PowerPoint Presentation</vt:lpstr>
      <vt:lpstr>“This is too good to be true. Is there a total cost of ownership comparison?”</vt:lpstr>
      <vt:lpstr>The TCO perspective...</vt:lpstr>
      <vt:lpstr>“Awesome! I love Azure Cosmos DB! How do I migrate all my datasets to Cosmos DB?”</vt:lpstr>
      <vt:lpstr>PowerPoint Presentation</vt:lpstr>
      <vt:lpstr>PowerPoint Presentation</vt:lpstr>
      <vt:lpstr>PowerPoint Presentation</vt:lpstr>
      <vt:lpstr>Security &amp; Compliance</vt:lpstr>
      <vt:lpstr>PowerPoint Presentation</vt:lpstr>
      <vt:lpstr>PowerPoint Presentation</vt:lpstr>
      <vt:lpstr>PowerPoint Presentation</vt:lpstr>
      <vt:lpstr>Build 2018 Announcements</vt:lpstr>
      <vt:lpstr>Vnet Service Endpoints</vt:lpstr>
      <vt:lpstr>Azure Cosmos DB logical resources</vt:lpstr>
      <vt:lpstr>Provisioning throughput at database level</vt:lpstr>
      <vt:lpstr>Bulk Executor Library</vt:lpstr>
      <vt:lpstr>Asynchronous Java SDK</vt:lpstr>
      <vt:lpstr>Data Explorer</vt:lpstr>
      <vt:lpstr>Ignite 2018 Announcements</vt:lpstr>
      <vt:lpstr>Azure Cosmos DB Multi-Master</vt:lpstr>
      <vt:lpstr>Cassandra API</vt:lpstr>
      <vt:lpstr>Reserved Capacity</vt:lpstr>
      <vt:lpstr>Provisioning throughput at database level (min entry ↓ by 5X)</vt:lpstr>
      <vt:lpstr>JavaScript SDK v2</vt:lpstr>
      <vt:lpstr>Free options on Cosmos DB </vt:lpstr>
      <vt:lpstr>TCO Analysis</vt:lpstr>
      <vt:lpstr>Save vs On-Prem Cassandra</vt:lpstr>
      <vt:lpstr>Save vs Cassandra on iaaS</vt:lpstr>
      <vt:lpstr>Save vs MongoDB on iaas</vt:lpstr>
      <vt:lpstr>Azure Cosmos DB vs On-Prem NoSQL</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optimal summer conference</dc:title>
  <dc:creator>paulkle@microsoft.com</dc:creator>
  <cp:lastModifiedBy>Mark Brown</cp:lastModifiedBy>
  <cp:revision>2336</cp:revision>
  <cp:lastPrinted>2016-02-24T15:19:07Z</cp:lastPrinted>
  <dcterms:created xsi:type="dcterms:W3CDTF">2015-07-08T23:26:42Z</dcterms:created>
  <dcterms:modified xsi:type="dcterms:W3CDTF">2019-01-08T19:52: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8996E0C9A2CA649919627E4EAEA184F</vt:lpwstr>
  </property>
  <property fmtid="{D5CDD505-2E9C-101B-9397-08002B2CF9AE}" pid="3" name="Tfs.IsStoryboard">
    <vt:bool>true</vt:bool>
  </property>
  <property fmtid="{D5CDD505-2E9C-101B-9397-08002B2CF9AE}" pid="4" name="Community">
    <vt:lpwstr/>
  </property>
  <property fmtid="{D5CDD505-2E9C-101B-9397-08002B2CF9AE}" pid="5" name="MSIP_Label_f42aa342-8706-4288-bd11-ebb85995028c_Enabled">
    <vt:lpwstr>True</vt:lpwstr>
  </property>
  <property fmtid="{D5CDD505-2E9C-101B-9397-08002B2CF9AE}" pid="6" name="MSIP_Label_f42aa342-8706-4288-bd11-ebb85995028c_SiteId">
    <vt:lpwstr>72f988bf-86f1-41af-91ab-2d7cd011db47</vt:lpwstr>
  </property>
  <property fmtid="{D5CDD505-2E9C-101B-9397-08002B2CF9AE}" pid="7" name="MSIP_Label_f42aa342-8706-4288-bd11-ebb85995028c_Ref">
    <vt:lpwstr>https://api.informationprotection.azure.com/api/72f988bf-86f1-41af-91ab-2d7cd011db47</vt:lpwstr>
  </property>
  <property fmtid="{D5CDD505-2E9C-101B-9397-08002B2CF9AE}" pid="8" name="MSIP_Label_f42aa342-8706-4288-bd11-ebb85995028c_SetBy">
    <vt:lpwstr>dharmas@microsoft.com</vt:lpwstr>
  </property>
  <property fmtid="{D5CDD505-2E9C-101B-9397-08002B2CF9AE}" pid="9" name="MSIP_Label_f42aa342-8706-4288-bd11-ebb85995028c_SetDate">
    <vt:lpwstr>2017-05-15T12:55:27.9819930-07:00</vt:lpwstr>
  </property>
  <property fmtid="{D5CDD505-2E9C-101B-9397-08002B2CF9AE}" pid="10" name="MSIP_Label_f42aa342-8706-4288-bd11-ebb85995028c_Name">
    <vt:lpwstr>General</vt:lpwstr>
  </property>
  <property fmtid="{D5CDD505-2E9C-101B-9397-08002B2CF9AE}" pid="11" name="MSIP_Label_f42aa342-8706-4288-bd11-ebb85995028c_Application">
    <vt:lpwstr>Microsoft Azure Information Protection</vt:lpwstr>
  </property>
  <property fmtid="{D5CDD505-2E9C-101B-9397-08002B2CF9AE}" pid="12" name="MSIP_Label_f42aa342-8706-4288-bd11-ebb85995028c_Extended_MSFT_Method">
    <vt:lpwstr>Automatic</vt:lpwstr>
  </property>
  <property fmtid="{D5CDD505-2E9C-101B-9397-08002B2CF9AE}" pid="13" name="Sensitivity">
    <vt:lpwstr>General</vt:lpwstr>
  </property>
</Properties>
</file>